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notesSlides/notesSlide3.xml" ContentType="application/vnd.openxmlformats-officedocument.presentationml.notesSlid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charts/chart10.xml" ContentType="application/vnd.openxmlformats-officedocument.drawingml.chart+xml"/>
  <Override PartName="/ppt/theme/theme1.xml" ContentType="application/vnd.openxmlformats-officedocument.theme+xml"/>
  <Override PartName="/ppt/charts/chart9.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4.xml" ContentType="application/vnd.openxmlformats-officedocument.drawingml.chart+xml"/>
  <Override PartName="/ppt/theme/theme6.xml" ContentType="application/vnd.openxmlformats-officedocument.theme+xml"/>
  <Override PartName="/ppt/charts/chart15.xml" ContentType="application/vnd.openxmlformats-officedocument.drawingml.chart+xml"/>
  <Override PartName="/ppt/theme/theme7.xml" ContentType="application/vnd.openxmlformats-officedocument.theme+xml"/>
  <Override PartName="/ppt/theme/theme8.xml" ContentType="application/vnd.openxmlformats-officedocument.theme+xml"/>
  <Override PartName="/ppt/charts/chart16.xml" ContentType="application/vnd.openxmlformats-officedocument.drawingml.chart+xml"/>
  <Override PartName="/ppt/theme/theme9.xml" ContentType="application/vnd.openxmlformats-officedocument.theme+xml"/>
  <Override PartName="/ppt/theme/theme10.xml" ContentType="application/vnd.openxmlformats-officedocument.theme+xml"/>
  <Override PartName="/ppt/charts/chart17.xml" ContentType="application/vnd.openxmlformats-officedocument.drawingml.chart+xml"/>
  <Override PartName="/ppt/theme/theme11.xml" ContentType="application/vnd.openxmlformats-officedocument.theme+xml"/>
  <Override PartName="/ppt/theme/theme12.xml" ContentType="application/vnd.openxmlformats-officedocument.theme+xml"/>
  <Override PartName="/ppt/charts/chart18.xml" ContentType="application/vnd.openxmlformats-officedocument.drawingml.chart+xml"/>
  <Override PartName="/ppt/theme/theme13.xml" ContentType="application/vnd.openxmlformats-officedocument.theme+xml"/>
  <Override PartName="/ppt/theme/theme14.xml" ContentType="application/vnd.openxmlformats-officedocument.theme+xml"/>
  <Override PartName="/ppt/charts/chart19.xml" ContentType="application/vnd.openxmlformats-officedocument.drawingml.chart+xml"/>
  <Override PartName="/ppt/theme/theme15.xml" ContentType="application/vnd.openxmlformats-officedocument.theme+xml"/>
  <Override PartName="/ppt/theme/theme16.xml" ContentType="application/vnd.openxmlformats-officedocument.theme+xml"/>
  <Override PartName="/ppt/charts/chart20.xml" ContentType="application/vnd.openxmlformats-officedocument.drawingml.chart+xml"/>
  <Override PartName="/ppt/theme/theme17.xml" ContentType="application/vnd.openxmlformats-officedocument.theme+xml"/>
  <Override PartName="/ppt/theme/theme18.xml" ContentType="application/vnd.openxmlformats-officedocument.theme+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13.xml" ContentType="application/vnd.openxmlformats-officedocument.drawingml.chart+xml"/>
  <Override PartName="/ppt/authors.xml" ContentType="application/vnd.ms-powerpoint.authors+xml"/>
  <Override PartName="/ppt/charts/chart12.xml" ContentType="application/vnd.openxmlformats-officedocument.drawingml.chart+xml"/>
  <Override PartName="/ppt/charts/chart11.xml" ContentType="application/vnd.openxmlformats-officedocument.drawingml.chart+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233.xml" ContentType="application/vnd.openxmlformats-officedocument.presentationml.tags+xml"/>
  <Override PartName="/ppt/tags/tag446.xml" ContentType="application/vnd.openxmlformats-officedocument.presentationml.tags+xml"/>
  <Override PartName="/ppt/tags/tag234.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235.xml" ContentType="application/vnd.openxmlformats-officedocument.presentationml.tags+xml"/>
  <Override PartName="/ppt/tags/tag449.xml" ContentType="application/vnd.openxmlformats-officedocument.presentationml.tags+xml"/>
  <Override PartName="/ppt/tags/tag236.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237.xml" ContentType="application/vnd.openxmlformats-officedocument.presentationml.tags+xml"/>
  <Override PartName="/ppt/tags/tag452.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453.xml" ContentType="application/vnd.openxmlformats-officedocument.presentationml.tags+xml"/>
  <Override PartName="/docProps/core.xml" ContentType="application/vnd.openxmlformats-package.core-properties+xml"/>
  <Override PartName="/ppt/tags/tag238.xml" ContentType="application/vnd.openxmlformats-officedocument.presentationml.tags+xml"/>
  <Override PartName="/ppt/tags/tag239.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240.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306.xml" ContentType="application/vnd.openxmlformats-officedocument.presentationml.tags+xml"/>
  <Override PartName="/ppt/tags/tag227.xml" ContentType="application/vnd.openxmlformats-officedocument.presentationml.tags+xml"/>
  <Override PartName="/ppt/tags/tag226.xml" ContentType="application/vnd.openxmlformats-officedocument.presentationml.tags+xml"/>
  <Override PartName="/ppt/tags/tag307.xml" ContentType="application/vnd.openxmlformats-officedocument.presentationml.tags+xml"/>
  <Override PartName="/ppt/tags/tag230.xml" ContentType="application/vnd.openxmlformats-officedocument.presentationml.tags+xml"/>
  <Override PartName="/ppt/tags/tag225.xml" ContentType="application/vnd.openxmlformats-officedocument.presentationml.tags+xml"/>
  <Override PartName="/ppt/tags/tag224.xml" ContentType="application/vnd.openxmlformats-officedocument.presentationml.tags+xml"/>
  <Override PartName="/ppt/tags/tag223.xml" ContentType="application/vnd.openxmlformats-officedocument.presentationml.tags+xml"/>
  <Override PartName="/ppt/tags/tag222.xml" ContentType="application/vnd.openxmlformats-officedocument.presentationml.tags+xml"/>
  <Override PartName="/ppt/tags/tag308.xml" ContentType="application/vnd.openxmlformats-officedocument.presentationml.tags+xml"/>
  <Override PartName="/ppt/tags/tag231.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94.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218.xml" ContentType="application/vnd.openxmlformats-officedocument.presentationml.tags+xml"/>
  <Override PartName="/ppt/tags/tag217.xml" ContentType="application/vnd.openxmlformats-officedocument.presentationml.tags+xml"/>
  <Override PartName="/ppt/tags/tag216.xml" ContentType="application/vnd.openxmlformats-officedocument.presentationml.tags+xml"/>
  <Override PartName="/ppt/tags/tag215.xml" ContentType="application/vnd.openxmlformats-officedocument.presentationml.tags+xml"/>
  <Override PartName="/ppt/tags/tag214.xml" ContentType="application/vnd.openxmlformats-officedocument.presentationml.tags+xml"/>
  <Override PartName="/ppt/tags/tag213.xml" ContentType="application/vnd.openxmlformats-officedocument.presentationml.tags+xml"/>
  <Override PartName="/ppt/tags/tag212.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201.xml" ContentType="application/vnd.openxmlformats-officedocument.presentationml.tags+xml"/>
  <Override PartName="/ppt/tags/tag200.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399.xml" ContentType="application/vnd.openxmlformats-officedocument.presentationml.tags+xml"/>
  <Override PartName="/ppt/tags/tag241.xml" ContentType="application/vnd.openxmlformats-officedocument.presentationml.tags+xml"/>
  <Override PartName="/ppt/tags/tag254.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232.xml" ContentType="application/vnd.openxmlformats-officedocument.presentationml.tags+xml"/>
  <Override PartName="/ppt/tags/tag255.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426.xml" ContentType="application/vnd.openxmlformats-officedocument.presentationml.tags+xml"/>
  <Override PartName="/ppt/tags/tag242.xml" ContentType="application/vnd.openxmlformats-officedocument.presentationml.tags+xml"/>
  <Override PartName="/ppt/tags/tag157.xml" ContentType="application/vnd.openxmlformats-officedocument.presentationml.tags+xml"/>
  <Override PartName="/ppt/tags/tag243.xml" ContentType="application/vnd.openxmlformats-officedocument.presentationml.tags+xml"/>
  <Override PartName="/docProps/app.xml" ContentType="application/vnd.openxmlformats-officedocument.extended-propertie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277.xml" ContentType="application/vnd.openxmlformats-officedocument.presentationml.tags+xml"/>
  <Override PartName="/ppt/tags/tag431.xml" ContentType="application/vnd.openxmlformats-officedocument.presentationml.tags+xml"/>
  <Override PartName="/ppt/tags/tag278.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04" r:id="rId3"/>
    <p:sldMasterId id="2147483711" r:id="rId4"/>
    <p:sldMasterId id="2147483749" r:id="rId5"/>
    <p:sldMasterId id="2147483761" r:id="rId6"/>
    <p:sldMasterId id="2147483799" r:id="rId7"/>
    <p:sldMasterId id="2147483807" r:id="rId8"/>
    <p:sldMasterId id="2147483809" r:id="rId9"/>
    <p:sldMasterId id="2147483846" r:id="rId10"/>
    <p:sldMasterId id="2147483876" r:id="rId11"/>
    <p:sldMasterId id="2147483890" r:id="rId12"/>
    <p:sldMasterId id="2147483897" r:id="rId13"/>
    <p:sldMasterId id="2147483904" r:id="rId14"/>
    <p:sldMasterId id="2147483912" r:id="rId15"/>
    <p:sldMasterId id="2147483918" r:id="rId16"/>
    <p:sldMasterId id="2147483929" r:id="rId17"/>
  </p:sldMasterIdLst>
  <p:notesMasterIdLst>
    <p:notesMasterId r:id="rId55"/>
  </p:notesMasterIdLst>
  <p:sldIdLst>
    <p:sldId id="2147377180" r:id="rId18"/>
    <p:sldId id="6221" r:id="rId19"/>
    <p:sldId id="5099" r:id="rId20"/>
    <p:sldId id="2147377604" r:id="rId21"/>
    <p:sldId id="6227" r:id="rId22"/>
    <p:sldId id="2147376929" r:id="rId23"/>
    <p:sldId id="6231" r:id="rId24"/>
    <p:sldId id="6230" r:id="rId25"/>
    <p:sldId id="2147377582" r:id="rId26"/>
    <p:sldId id="6232" r:id="rId27"/>
    <p:sldId id="6233" r:id="rId28"/>
    <p:sldId id="6234" r:id="rId29"/>
    <p:sldId id="6235" r:id="rId30"/>
    <p:sldId id="2147377191" r:id="rId31"/>
    <p:sldId id="6236" r:id="rId32"/>
    <p:sldId id="6237" r:id="rId33"/>
    <p:sldId id="2147377216" r:id="rId34"/>
    <p:sldId id="2147377572" r:id="rId35"/>
    <p:sldId id="6239" r:id="rId36"/>
    <p:sldId id="2147377252" r:id="rId37"/>
    <p:sldId id="6240" r:id="rId38"/>
    <p:sldId id="2147377204" r:id="rId39"/>
    <p:sldId id="2147377580" r:id="rId40"/>
    <p:sldId id="2147377508" r:id="rId41"/>
    <p:sldId id="2147377581" r:id="rId42"/>
    <p:sldId id="2147377517" r:id="rId43"/>
    <p:sldId id="2147377524" r:id="rId44"/>
    <p:sldId id="2147377304" r:id="rId45"/>
    <p:sldId id="2147377609" r:id="rId46"/>
    <p:sldId id="6242" r:id="rId47"/>
    <p:sldId id="4606" r:id="rId48"/>
    <p:sldId id="4605" r:id="rId49"/>
    <p:sldId id="2147377801" r:id="rId50"/>
    <p:sldId id="2147377573" r:id="rId51"/>
    <p:sldId id="2147377793" r:id="rId52"/>
    <p:sldId id="2147377805" r:id="rId53"/>
    <p:sldId id="6218" r:id="rId54"/>
  </p:sldIdLst>
  <p:sldSz cx="12192000" cy="6858000"/>
  <p:notesSz cx="6858000" cy="91440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1B6F50-6449-9002-1629-CF9A0C89E932}" name="Chimelu Okongwu" initials="CO" userId="S::chimeluokongwu@WeAreRival.onmicrosoft.com::1349e715-e7ef-4be7-bdd2-68cdf614cd0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sioma George" initials="iG" lastIdx="5" clrIdx="0">
    <p:extLst>
      <p:ext uri="{19B8F6BF-5375-455C-9EA6-DF929625EA0E}">
        <p15:presenceInfo xmlns:p15="http://schemas.microsoft.com/office/powerpoint/2012/main" userId="8b8bc8a256e3aa4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EED"/>
    <a:srgbClr val="451032"/>
    <a:srgbClr val="4AA19E"/>
    <a:srgbClr val="FFFFFF"/>
    <a:srgbClr val="2C5B33"/>
    <a:srgbClr val="FFC000"/>
    <a:srgbClr val="377976"/>
    <a:srgbClr val="02263F"/>
    <a:srgbClr val="892064"/>
    <a:srgbClr val="044B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8" autoAdjust="0"/>
    <p:restoredTop sz="94947" autoAdjust="0"/>
  </p:normalViewPr>
  <p:slideViewPr>
    <p:cSldViewPr snapToGrid="0">
      <p:cViewPr varScale="1">
        <p:scale>
          <a:sx n="62" d="100"/>
          <a:sy n="62" d="100"/>
        </p:scale>
        <p:origin x="828" y="52"/>
      </p:cViewPr>
      <p:guideLst/>
    </p:cSldViewPr>
  </p:slideViewPr>
  <p:notesTextViewPr>
    <p:cViewPr>
      <p:scale>
        <a:sx n="200" d="100"/>
        <a:sy n="200" d="100"/>
      </p:scale>
      <p:origin x="0" y="0"/>
    </p:cViewPr>
  </p:notesTextViewPr>
  <p:sorterViewPr>
    <p:cViewPr>
      <p:scale>
        <a:sx n="100" d="100"/>
        <a:sy n="100" d="100"/>
      </p:scale>
      <p:origin x="0" y="-1528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notesMaster" Target="notesMasters/notesMaster1.xml"/><Relationship Id="rId63" Type="http://schemas.openxmlformats.org/officeDocument/2006/relationships/customXml" Target="../customXml/item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2.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2.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ags" Target="tags/tag1.xml"/><Relationship Id="rId64" Type="http://schemas.openxmlformats.org/officeDocument/2006/relationships/customXml" Target="../customXml/item2.xml"/><Relationship Id="rId8" Type="http://schemas.openxmlformats.org/officeDocument/2006/relationships/slideMaster" Target="slideMasters/slideMaster8.xml"/><Relationship Id="rId51" Type="http://schemas.openxmlformats.org/officeDocument/2006/relationships/slide" Target="slides/slide3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viewProps" Target="viewProps.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commentAuthors" Target="commentAuthors.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theme" Target="theme/theme1.xml"/><Relationship Id="rId65"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1.xml"/><Relationship Id="rId39" Type="http://schemas.openxmlformats.org/officeDocument/2006/relationships/slide" Target="slides/slide2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713936430317848E-2"/>
          <c:y val="7.6023391812865493E-2"/>
          <c:w val="0.97457212713936425"/>
          <c:h val="0.84795321637426901"/>
        </c:manualLayout>
      </c:layout>
      <c:barChart>
        <c:barDir val="col"/>
        <c:grouping val="clustered"/>
        <c:varyColors val="0"/>
        <c:ser>
          <c:idx val="0"/>
          <c:order val="0"/>
          <c:spPr>
            <a:solidFill>
              <a:schemeClr val="accent4"/>
            </a:solidFill>
            <a:ln w="6350" algn="ctr">
              <a:solidFill>
                <a:schemeClr val="bg1"/>
              </a:solidFill>
              <a:prstDash val="solid"/>
            </a:ln>
          </c:spPr>
          <c:invertIfNegative val="0"/>
          <c:val>
            <c:numRef>
              <c:f>Sheet1!$A$1:$D$1</c:f>
              <c:numCache>
                <c:formatCode>General</c:formatCode>
                <c:ptCount val="4"/>
                <c:pt idx="0">
                  <c:v>78.900000000000006</c:v>
                </c:pt>
                <c:pt idx="1">
                  <c:v>60.4</c:v>
                </c:pt>
                <c:pt idx="2">
                  <c:v>50.7</c:v>
                </c:pt>
                <c:pt idx="3">
                  <c:v>61.4</c:v>
                </c:pt>
              </c:numCache>
            </c:numRef>
          </c:val>
          <c:extLst>
            <c:ext xmlns:c16="http://schemas.microsoft.com/office/drawing/2014/chart" uri="{C3380CC4-5D6E-409C-BE32-E72D297353CC}">
              <c16:uniqueId val="{00000000-2561-4C37-80F8-22950B8B5197}"/>
            </c:ext>
          </c:extLst>
        </c:ser>
        <c:ser>
          <c:idx val="1"/>
          <c:order val="1"/>
          <c:spPr>
            <a:solidFill>
              <a:schemeClr val="tx2"/>
            </a:solidFill>
            <a:ln w="6350" algn="ctr">
              <a:solidFill>
                <a:schemeClr val="bg1"/>
              </a:solidFill>
              <a:prstDash val="solid"/>
            </a:ln>
          </c:spPr>
          <c:invertIfNegative val="0"/>
          <c:val>
            <c:numRef>
              <c:f>Sheet1!$A$2:$D$2</c:f>
              <c:numCache>
                <c:formatCode>General</c:formatCode>
                <c:ptCount val="4"/>
                <c:pt idx="0">
                  <c:v>96</c:v>
                </c:pt>
                <c:pt idx="1">
                  <c:v>87.9</c:v>
                </c:pt>
                <c:pt idx="2">
                  <c:v>92.44</c:v>
                </c:pt>
                <c:pt idx="3">
                  <c:v>86.78</c:v>
                </c:pt>
              </c:numCache>
            </c:numRef>
          </c:val>
          <c:extLst>
            <c:ext xmlns:c16="http://schemas.microsoft.com/office/drawing/2014/chart" uri="{C3380CC4-5D6E-409C-BE32-E72D297353CC}">
              <c16:uniqueId val="{00000001-2561-4C37-80F8-22950B8B5197}"/>
            </c:ext>
          </c:extLst>
        </c:ser>
        <c:ser>
          <c:idx val="2"/>
          <c:order val="2"/>
          <c:spPr>
            <a:solidFill>
              <a:schemeClr val="accent3"/>
            </a:solidFill>
            <a:ln w="6350" algn="ctr">
              <a:solidFill>
                <a:schemeClr val="bg1"/>
              </a:solidFill>
              <a:prstDash val="solid"/>
            </a:ln>
          </c:spPr>
          <c:invertIfNegative val="0"/>
          <c:val>
            <c:numRef>
              <c:f>Sheet1!$A$3:$D$3</c:f>
              <c:numCache>
                <c:formatCode>General</c:formatCode>
                <c:ptCount val="4"/>
                <c:pt idx="0">
                  <c:v>93.7</c:v>
                </c:pt>
                <c:pt idx="1">
                  <c:v>78.900000000000006</c:v>
                </c:pt>
                <c:pt idx="2">
                  <c:v>90.9</c:v>
                </c:pt>
                <c:pt idx="3">
                  <c:v>97</c:v>
                </c:pt>
              </c:numCache>
            </c:numRef>
          </c:val>
          <c:extLst>
            <c:ext xmlns:c16="http://schemas.microsoft.com/office/drawing/2014/chart" uri="{C3380CC4-5D6E-409C-BE32-E72D297353CC}">
              <c16:uniqueId val="{00000002-2561-4C37-80F8-22950B8B5197}"/>
            </c:ext>
          </c:extLst>
        </c:ser>
        <c:dLbls>
          <c:showLegendKey val="0"/>
          <c:showVal val="0"/>
          <c:showCatName val="0"/>
          <c:showSerName val="0"/>
          <c:showPercent val="0"/>
          <c:showBubbleSize val="0"/>
        </c:dLbls>
        <c:gapWidth val="150"/>
        <c:axId val="463793535"/>
        <c:axId val="1"/>
      </c:barChart>
      <c:catAx>
        <c:axId val="4637935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7"/>
          <c:min val="0"/>
        </c:scaling>
        <c:delete val="1"/>
        <c:axPos val="l"/>
        <c:numFmt formatCode="General" sourceLinked="1"/>
        <c:majorTickMark val="out"/>
        <c:minorTickMark val="none"/>
        <c:tickLblPos val="nextTo"/>
        <c:crossAx val="46379353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61807580174927E-2"/>
          <c:y val="5.7842046718576193E-2"/>
          <c:w val="0.97667638483965014"/>
          <c:h val="0.88431590656284764"/>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F6-4FFA-9FA4-D099F048C1E3}"/>
                </c:ext>
              </c:extLst>
            </c:dLbl>
            <c:dLbl>
              <c:idx val="1"/>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F6-4FFA-9FA4-D099F048C1E3}"/>
                </c:ext>
              </c:extLst>
            </c:dLbl>
            <c:dLbl>
              <c:idx val="2"/>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F6-4FFA-9FA4-D099F048C1E3}"/>
                </c:ext>
              </c:extLst>
            </c:dLbl>
            <c:dLbl>
              <c:idx val="3"/>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FF6-4FFA-9FA4-D099F048C1E3}"/>
                </c:ext>
              </c:extLst>
            </c:dLbl>
            <c:dLbl>
              <c:idx val="4"/>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F6-4FFA-9FA4-D099F048C1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8.1</c:v>
                </c:pt>
                <c:pt idx="1">
                  <c:v>92.31</c:v>
                </c:pt>
                <c:pt idx="2">
                  <c:v>94.81</c:v>
                </c:pt>
                <c:pt idx="3">
                  <c:v>98.33</c:v>
                </c:pt>
                <c:pt idx="4">
                  <c:v>91.3</c:v>
                </c:pt>
              </c:numCache>
            </c:numRef>
          </c:val>
          <c:extLst>
            <c:ext xmlns:c16="http://schemas.microsoft.com/office/drawing/2014/chart" uri="{C3380CC4-5D6E-409C-BE32-E72D297353CC}">
              <c16:uniqueId val="{00000005-EFF6-4FFA-9FA4-D099F048C1E3}"/>
            </c:ext>
          </c:extLst>
        </c:ser>
        <c:ser>
          <c:idx val="1"/>
          <c:order val="1"/>
          <c:spPr>
            <a:solidFill>
              <a:srgbClr val="C2F1ED"/>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FF6-4FFA-9FA4-D099F048C1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1.899999999999999</c:v>
                </c:pt>
                <c:pt idx="1">
                  <c:v>7.6899999999999968</c:v>
                </c:pt>
                <c:pt idx="2">
                  <c:v>5.1899999999999942</c:v>
                </c:pt>
                <c:pt idx="3">
                  <c:v>1.6700000000000048</c:v>
                </c:pt>
                <c:pt idx="4">
                  <c:v>8.6999999999999957</c:v>
                </c:pt>
              </c:numCache>
            </c:numRef>
          </c:val>
          <c:extLst>
            <c:ext xmlns:c16="http://schemas.microsoft.com/office/drawing/2014/chart" uri="{C3380CC4-5D6E-409C-BE32-E72D297353CC}">
              <c16:uniqueId val="{00000007-EFF6-4FFA-9FA4-D099F048C1E3}"/>
            </c:ext>
          </c:extLst>
        </c:ser>
        <c:dLbls>
          <c:showLegendKey val="0"/>
          <c:showVal val="0"/>
          <c:showCatName val="0"/>
          <c:showSerName val="0"/>
          <c:showPercent val="0"/>
          <c:showBubbleSize val="0"/>
        </c:dLbls>
        <c:gapWidth val="80"/>
        <c:overlap val="100"/>
        <c:axId val="1333824319"/>
        <c:axId val="1"/>
      </c:barChart>
      <c:catAx>
        <c:axId val="133382431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33824319"/>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37617554858934E-2"/>
          <c:y val="6.933333333333333E-2"/>
          <c:w val="0.95924764890282133"/>
          <c:h val="0.86133333333333328"/>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42-4D2A-94F7-BED9BBBF010F}"/>
                </c:ext>
              </c:extLst>
            </c:dLbl>
            <c:dLbl>
              <c:idx val="1"/>
              <c:layout>
                <c:manualLayout>
                  <c:x val="0"/>
                  <c:y val="-1.3333333333333333E-3"/>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42-4D2A-94F7-BED9BBBF010F}"/>
                </c:ext>
              </c:extLst>
            </c:dLbl>
            <c:dLbl>
              <c:idx val="2"/>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42-4D2A-94F7-BED9BBBF010F}"/>
                </c:ext>
              </c:extLst>
            </c:dLbl>
            <c:dLbl>
              <c:idx val="3"/>
              <c:layout>
                <c:manualLayout>
                  <c:x val="0"/>
                  <c:y val="-1.3333333333333333E-3"/>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242-4D2A-94F7-BED9BBBF010F}"/>
                </c:ext>
              </c:extLst>
            </c:dLbl>
            <c:dLbl>
              <c:idx val="4"/>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42-4D2A-94F7-BED9BBBF010F}"/>
                </c:ext>
              </c:extLst>
            </c:dLbl>
            <c:dLbl>
              <c:idx val="5"/>
              <c:layout>
                <c:manualLayout>
                  <c:x val="0"/>
                  <c:y val="-1.3333333333333333E-3"/>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42-4D2A-94F7-BED9BBBF010F}"/>
                </c:ext>
              </c:extLst>
            </c:dLbl>
            <c:dLbl>
              <c:idx val="6"/>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242-4D2A-94F7-BED9BBBF01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0</c:v>
                </c:pt>
                <c:pt idx="1">
                  <c:v>96.428571428571431</c:v>
                </c:pt>
                <c:pt idx="2">
                  <c:v>93.670886075949369</c:v>
                </c:pt>
                <c:pt idx="3">
                  <c:v>97.014925373134332</c:v>
                </c:pt>
                <c:pt idx="4">
                  <c:v>89.65517241379311</c:v>
                </c:pt>
                <c:pt idx="5">
                  <c:v>93.333333333333329</c:v>
                </c:pt>
                <c:pt idx="6">
                  <c:v>90</c:v>
                </c:pt>
              </c:numCache>
            </c:numRef>
          </c:val>
          <c:extLst>
            <c:ext xmlns:c16="http://schemas.microsoft.com/office/drawing/2014/chart" uri="{C3380CC4-5D6E-409C-BE32-E72D297353CC}">
              <c16:uniqueId val="{00000007-2242-4D2A-94F7-BED9BBBF010F}"/>
            </c:ext>
          </c:extLst>
        </c:ser>
        <c:ser>
          <c:idx val="1"/>
          <c:order val="1"/>
          <c:spPr>
            <a:solidFill>
              <a:srgbClr val="C2F1ED"/>
            </a:solidFill>
            <a:ln>
              <a:noFill/>
            </a:ln>
          </c:spPr>
          <c:invertIfNegative val="0"/>
          <c:val>
            <c:numRef>
              <c:f>Sheet1!$A$2:$G$2</c:f>
              <c:numCache>
                <c:formatCode>General</c:formatCode>
                <c:ptCount val="7"/>
                <c:pt idx="0">
                  <c:v>9.9999999999999982</c:v>
                </c:pt>
                <c:pt idx="1">
                  <c:v>3.5714285714285698</c:v>
                </c:pt>
                <c:pt idx="2">
                  <c:v>6.3291139240506329</c:v>
                </c:pt>
                <c:pt idx="3">
                  <c:v>2.9850746268656692</c:v>
                </c:pt>
                <c:pt idx="4">
                  <c:v>10.344827586206895</c:v>
                </c:pt>
                <c:pt idx="5">
                  <c:v>6.6666666666666652</c:v>
                </c:pt>
                <c:pt idx="6">
                  <c:v>9.9999999999999982</c:v>
                </c:pt>
              </c:numCache>
            </c:numRef>
          </c:val>
          <c:extLst>
            <c:ext xmlns:c16="http://schemas.microsoft.com/office/drawing/2014/chart" uri="{C3380CC4-5D6E-409C-BE32-E72D297353CC}">
              <c16:uniqueId val="{00000008-2242-4D2A-94F7-BED9BBBF010F}"/>
            </c:ext>
          </c:extLst>
        </c:ser>
        <c:dLbls>
          <c:showLegendKey val="0"/>
          <c:showVal val="0"/>
          <c:showCatName val="0"/>
          <c:showSerName val="0"/>
          <c:showPercent val="0"/>
          <c:showBubbleSize val="0"/>
        </c:dLbls>
        <c:gapWidth val="80"/>
        <c:overlap val="100"/>
        <c:axId val="1333816415"/>
        <c:axId val="1"/>
      </c:barChart>
      <c:catAx>
        <c:axId val="13338164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3381641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876221498371335E-2"/>
          <c:y val="2.2777047744196234E-2"/>
          <c:w val="0.93224755700325734"/>
          <c:h val="0.95444590451160749"/>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AF4-4868-8F38-30498D212461}"/>
                </c:ext>
              </c:extLst>
            </c:dLbl>
            <c:dLbl>
              <c:idx val="1"/>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AF4-4868-8F38-30498D212461}"/>
                </c:ext>
              </c:extLst>
            </c:dLbl>
            <c:dLbl>
              <c:idx val="2"/>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AF4-4868-8F38-30498D212461}"/>
                </c:ext>
              </c:extLst>
            </c:dLbl>
            <c:dLbl>
              <c:idx val="3"/>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AF4-4868-8F38-30498D212461}"/>
                </c:ext>
              </c:extLst>
            </c:dLbl>
            <c:dLbl>
              <c:idx val="4"/>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AF4-4868-8F38-30498D212461}"/>
                </c:ext>
              </c:extLst>
            </c:dLbl>
            <c:dLbl>
              <c:idx val="5"/>
              <c:layout>
                <c:manualLayout>
                  <c:x val="-6.5146579804560263E-4"/>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AF4-4868-8F38-30498D2124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8.569999999999993</c:v>
                </c:pt>
                <c:pt idx="1">
                  <c:v>92.31</c:v>
                </c:pt>
                <c:pt idx="2">
                  <c:v>94.59</c:v>
                </c:pt>
                <c:pt idx="3">
                  <c:v>96.49</c:v>
                </c:pt>
                <c:pt idx="4">
                  <c:v>95.89</c:v>
                </c:pt>
                <c:pt idx="5">
                  <c:v>100</c:v>
                </c:pt>
              </c:numCache>
            </c:numRef>
          </c:val>
          <c:extLst>
            <c:ext xmlns:c16="http://schemas.microsoft.com/office/drawing/2014/chart" uri="{C3380CC4-5D6E-409C-BE32-E72D297353CC}">
              <c16:uniqueId val="{00000006-5AF4-4868-8F38-30498D212461}"/>
            </c:ext>
          </c:extLst>
        </c:ser>
        <c:ser>
          <c:idx val="1"/>
          <c:order val="1"/>
          <c:spPr>
            <a:solidFill>
              <a:srgbClr val="C2F1ED"/>
            </a:solidFill>
            <a:ln>
              <a:noFill/>
            </a:ln>
          </c:spPr>
          <c:invertIfNegative val="0"/>
          <c:dLbls>
            <c:dLbl>
              <c:idx val="0"/>
              <c:layout>
                <c:manualLayout>
                  <c:x val="-6.5146579804560263E-4"/>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AF4-4868-8F38-30498D2124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1.430000000000003</c:v>
                </c:pt>
                <c:pt idx="1">
                  <c:v>7.6899999999999968</c:v>
                </c:pt>
                <c:pt idx="2">
                  <c:v>5.4100000000000037</c:v>
                </c:pt>
                <c:pt idx="3">
                  <c:v>3.510000000000002</c:v>
                </c:pt>
                <c:pt idx="4">
                  <c:v>4.110000000000003</c:v>
                </c:pt>
              </c:numCache>
            </c:numRef>
          </c:val>
          <c:extLst>
            <c:ext xmlns:c16="http://schemas.microsoft.com/office/drawing/2014/chart" uri="{C3380CC4-5D6E-409C-BE32-E72D297353CC}">
              <c16:uniqueId val="{00000008-5AF4-4868-8F38-30498D212461}"/>
            </c:ext>
          </c:extLst>
        </c:ser>
        <c:dLbls>
          <c:showLegendKey val="0"/>
          <c:showVal val="0"/>
          <c:showCatName val="0"/>
          <c:showSerName val="0"/>
          <c:showPercent val="0"/>
          <c:showBubbleSize val="0"/>
        </c:dLbls>
        <c:gapWidth val="20"/>
        <c:overlap val="100"/>
        <c:axId val="11098496"/>
        <c:axId val="1"/>
      </c:barChart>
      <c:catAx>
        <c:axId val="1109849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109849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532091097308487E-2"/>
          <c:y val="6.9892473118279563E-2"/>
          <c:w val="0.95693581780538306"/>
          <c:h val="0.86021505376344087"/>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63.1</c:v>
                </c:pt>
                <c:pt idx="1">
                  <c:v>65.900000000000006</c:v>
                </c:pt>
              </c:numCache>
            </c:numRef>
          </c:val>
          <c:extLst>
            <c:ext xmlns:c16="http://schemas.microsoft.com/office/drawing/2014/chart" uri="{C3380CC4-5D6E-409C-BE32-E72D297353CC}">
              <c16:uniqueId val="{00000000-3489-4797-ABD1-D0389F97DA80}"/>
            </c:ext>
          </c:extLst>
        </c:ser>
        <c:ser>
          <c:idx val="1"/>
          <c:order val="1"/>
          <c:spPr>
            <a:solidFill>
              <a:srgbClr val="C2F1ED"/>
            </a:solidFill>
            <a:ln>
              <a:noFill/>
            </a:ln>
          </c:spPr>
          <c:invertIfNegative val="0"/>
          <c:val>
            <c:numRef>
              <c:f>Sheet1!$A$2:$B$2</c:f>
              <c:numCache>
                <c:formatCode>General</c:formatCode>
                <c:ptCount val="2"/>
                <c:pt idx="0">
                  <c:v>36.9</c:v>
                </c:pt>
                <c:pt idx="1">
                  <c:v>34.099999999999994</c:v>
                </c:pt>
              </c:numCache>
            </c:numRef>
          </c:val>
          <c:extLst>
            <c:ext xmlns:c16="http://schemas.microsoft.com/office/drawing/2014/chart" uri="{C3380CC4-5D6E-409C-BE32-E72D297353CC}">
              <c16:uniqueId val="{00000001-3489-4797-ABD1-D0389F97DA80}"/>
            </c:ext>
          </c:extLst>
        </c:ser>
        <c:dLbls>
          <c:showLegendKey val="0"/>
          <c:showVal val="0"/>
          <c:showCatName val="0"/>
          <c:showSerName val="0"/>
          <c:showPercent val="0"/>
          <c:showBubbleSize val="0"/>
        </c:dLbls>
        <c:gapWidth val="80"/>
        <c:overlap val="100"/>
        <c:axId val="281105696"/>
        <c:axId val="1"/>
      </c:barChart>
      <c:catAx>
        <c:axId val="2811056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81105696"/>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4567474048443E-2"/>
          <c:y val="5.0241545893719805E-2"/>
          <c:w val="0.97750865051903113"/>
          <c:h val="0.89951690821256036"/>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0D-416A-BD44-D8847157DE98}"/>
                </c:ext>
              </c:extLst>
            </c:dLbl>
            <c:dLbl>
              <c:idx val="1"/>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0D-416A-BD44-D8847157DE98}"/>
                </c:ext>
              </c:extLst>
            </c:dLbl>
            <c:dLbl>
              <c:idx val="2"/>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20D-416A-BD44-D8847157DE98}"/>
                </c:ext>
              </c:extLst>
            </c:dLbl>
            <c:dLbl>
              <c:idx val="3"/>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20D-416A-BD44-D8847157DE98}"/>
                </c:ext>
              </c:extLst>
            </c:dLbl>
            <c:dLbl>
              <c:idx val="4"/>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20D-416A-BD44-D8847157DE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4</c:v>
                </c:pt>
                <c:pt idx="1">
                  <c:v>47.52</c:v>
                </c:pt>
                <c:pt idx="2">
                  <c:v>56.489999999999995</c:v>
                </c:pt>
                <c:pt idx="3">
                  <c:v>63.92</c:v>
                </c:pt>
                <c:pt idx="4">
                  <c:v>65.63</c:v>
                </c:pt>
              </c:numCache>
            </c:numRef>
          </c:val>
          <c:extLst>
            <c:ext xmlns:c16="http://schemas.microsoft.com/office/drawing/2014/chart" uri="{C3380CC4-5D6E-409C-BE32-E72D297353CC}">
              <c16:uniqueId val="{00000005-E20D-416A-BD44-D8847157DE98}"/>
            </c:ext>
          </c:extLst>
        </c:ser>
        <c:ser>
          <c:idx val="1"/>
          <c:order val="1"/>
          <c:spPr>
            <a:solidFill>
              <a:srgbClr val="C2F1ED"/>
            </a:solidFill>
            <a:ln>
              <a:noFill/>
            </a:ln>
          </c:spPr>
          <c:invertIfNegative val="0"/>
          <c:dLbls>
            <c:dLbl>
              <c:idx val="0"/>
              <c:layout>
                <c:manualLayout>
                  <c:x val="0"/>
                  <c:y val="-9.6618357487922703E-4"/>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20D-416A-BD44-D8847157DE98}"/>
                </c:ext>
              </c:extLst>
            </c:dLbl>
            <c:dLbl>
              <c:idx val="1"/>
              <c:layout>
                <c:manualLayout>
                  <c:x val="0"/>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20D-416A-BD44-D8847157DE98}"/>
                </c:ext>
              </c:extLst>
            </c:dLbl>
            <c:dLbl>
              <c:idx val="2"/>
              <c:layout>
                <c:manualLayout>
                  <c:x val="0"/>
                  <c:y val="-9.6618357487922703E-4"/>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20D-416A-BD44-D8847157DE98}"/>
                </c:ext>
              </c:extLst>
            </c:dLbl>
            <c:dLbl>
              <c:idx val="3"/>
              <c:layout>
                <c:manualLayout>
                  <c:x val="0"/>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20D-416A-BD44-D8847157DE98}"/>
                </c:ext>
              </c:extLst>
            </c:dLbl>
            <c:dLbl>
              <c:idx val="4"/>
              <c:layout>
                <c:manualLayout>
                  <c:x val="0"/>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20D-416A-BD44-D8847157DE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6.000000000000007</c:v>
                </c:pt>
                <c:pt idx="1">
                  <c:v>52.47999999999999</c:v>
                </c:pt>
                <c:pt idx="2">
                  <c:v>43.510000000000005</c:v>
                </c:pt>
                <c:pt idx="3">
                  <c:v>36.08</c:v>
                </c:pt>
                <c:pt idx="4">
                  <c:v>34.369999999999997</c:v>
                </c:pt>
              </c:numCache>
            </c:numRef>
          </c:val>
          <c:extLst>
            <c:ext xmlns:c16="http://schemas.microsoft.com/office/drawing/2014/chart" uri="{C3380CC4-5D6E-409C-BE32-E72D297353CC}">
              <c16:uniqueId val="{0000000B-E20D-416A-BD44-D8847157DE98}"/>
            </c:ext>
          </c:extLst>
        </c:ser>
        <c:dLbls>
          <c:showLegendKey val="0"/>
          <c:showVal val="0"/>
          <c:showCatName val="0"/>
          <c:showSerName val="0"/>
          <c:showPercent val="0"/>
          <c:showBubbleSize val="0"/>
        </c:dLbls>
        <c:gapWidth val="40"/>
        <c:overlap val="100"/>
        <c:axId val="281104032"/>
        <c:axId val="1"/>
      </c:barChart>
      <c:catAx>
        <c:axId val="2811040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81104032"/>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998673153471916E-2"/>
          <c:y val="6.9892473118279563E-2"/>
          <c:w val="0.95400265369305615"/>
          <c:h val="0.86021505376344087"/>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0F-46D6-8D2C-48C161AC4F11}"/>
                </c:ext>
              </c:extLst>
            </c:dLbl>
            <c:dLbl>
              <c:idx val="1"/>
              <c:layout>
                <c:manualLayout>
                  <c:x val="0"/>
                  <c:y val="-1.3440860215053765E-3"/>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30F-46D6-8D2C-48C161AC4F11}"/>
                </c:ext>
              </c:extLst>
            </c:dLbl>
            <c:dLbl>
              <c:idx val="2"/>
              <c:layout>
                <c:manualLayout>
                  <c:x val="0"/>
                  <c:y val="-1.3440860215053765E-3"/>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30F-46D6-8D2C-48C161AC4F11}"/>
                </c:ext>
              </c:extLst>
            </c:dLbl>
            <c:dLbl>
              <c:idx val="3"/>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30F-46D6-8D2C-48C161AC4F11}"/>
                </c:ext>
              </c:extLst>
            </c:dLbl>
            <c:dLbl>
              <c:idx val="4"/>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30F-46D6-8D2C-48C161AC4F11}"/>
                </c:ext>
              </c:extLst>
            </c:dLbl>
            <c:dLbl>
              <c:idx val="5"/>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30F-46D6-8D2C-48C161AC4F11}"/>
                </c:ext>
              </c:extLst>
            </c:dLbl>
            <c:dLbl>
              <c:idx val="6"/>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30F-46D6-8D2C-48C161AC4F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58.333333333333336</c:v>
                </c:pt>
                <c:pt idx="1">
                  <c:v>66.666666666666657</c:v>
                </c:pt>
                <c:pt idx="2">
                  <c:v>57.342657342657347</c:v>
                </c:pt>
                <c:pt idx="3">
                  <c:v>50.862068965517238</c:v>
                </c:pt>
                <c:pt idx="4">
                  <c:v>48.314606741573037</c:v>
                </c:pt>
                <c:pt idx="5">
                  <c:v>55.000000000000007</c:v>
                </c:pt>
                <c:pt idx="6">
                  <c:v>54.54545454545454</c:v>
                </c:pt>
              </c:numCache>
            </c:numRef>
          </c:val>
          <c:extLst>
            <c:ext xmlns:c16="http://schemas.microsoft.com/office/drawing/2014/chart" uri="{C3380CC4-5D6E-409C-BE32-E72D297353CC}">
              <c16:uniqueId val="{00000007-830F-46D6-8D2C-48C161AC4F11}"/>
            </c:ext>
          </c:extLst>
        </c:ser>
        <c:ser>
          <c:idx val="1"/>
          <c:order val="1"/>
          <c:spPr>
            <a:solidFill>
              <a:srgbClr val="C2F1ED"/>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30F-46D6-8D2C-48C161AC4F11}"/>
                </c:ext>
              </c:extLst>
            </c:dLbl>
            <c:dLbl>
              <c:idx val="1"/>
              <c:layout>
                <c:manualLayout>
                  <c:x val="0"/>
                  <c:y val="-1.3440860215053765E-3"/>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30F-46D6-8D2C-48C161AC4F11}"/>
                </c:ext>
              </c:extLst>
            </c:dLbl>
            <c:dLbl>
              <c:idx val="2"/>
              <c:layout>
                <c:manualLayout>
                  <c:x val="0"/>
                  <c:y val="-1.3440860215053765E-3"/>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30F-46D6-8D2C-48C161AC4F11}"/>
                </c:ext>
              </c:extLst>
            </c:dLbl>
            <c:dLbl>
              <c:idx val="3"/>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30F-46D6-8D2C-48C161AC4F11}"/>
                </c:ext>
              </c:extLst>
            </c:dLbl>
            <c:dLbl>
              <c:idx val="4"/>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30F-46D6-8D2C-48C161AC4F11}"/>
                </c:ext>
              </c:extLst>
            </c:dLbl>
            <c:dLbl>
              <c:idx val="5"/>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30F-46D6-8D2C-48C161AC4F11}"/>
                </c:ext>
              </c:extLst>
            </c:dLbl>
            <c:dLbl>
              <c:idx val="6"/>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30F-46D6-8D2C-48C161AC4F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41.666666666666664</c:v>
                </c:pt>
                <c:pt idx="1">
                  <c:v>33.333333333333336</c:v>
                </c:pt>
                <c:pt idx="2">
                  <c:v>42.657342657342653</c:v>
                </c:pt>
                <c:pt idx="3">
                  <c:v>49.137931034482762</c:v>
                </c:pt>
                <c:pt idx="4">
                  <c:v>51.685393258426956</c:v>
                </c:pt>
                <c:pt idx="5">
                  <c:v>44.999999999999993</c:v>
                </c:pt>
                <c:pt idx="6">
                  <c:v>45.45454545454546</c:v>
                </c:pt>
              </c:numCache>
            </c:numRef>
          </c:val>
          <c:extLst>
            <c:ext xmlns:c16="http://schemas.microsoft.com/office/drawing/2014/chart" uri="{C3380CC4-5D6E-409C-BE32-E72D297353CC}">
              <c16:uniqueId val="{0000000F-830F-46D6-8D2C-48C161AC4F11}"/>
            </c:ext>
          </c:extLst>
        </c:ser>
        <c:dLbls>
          <c:showLegendKey val="0"/>
          <c:showVal val="0"/>
          <c:showCatName val="0"/>
          <c:showSerName val="0"/>
          <c:showPercent val="0"/>
          <c:showBubbleSize val="0"/>
        </c:dLbls>
        <c:gapWidth val="80"/>
        <c:overlap val="100"/>
        <c:axId val="281093632"/>
        <c:axId val="1"/>
      </c:barChart>
      <c:catAx>
        <c:axId val="2810936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81093632"/>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426160337552744E-2"/>
          <c:y val="2.2807017543859651E-2"/>
          <c:w val="0.94514767932489452"/>
          <c:h val="0.95438596491228067"/>
        </c:manualLayout>
      </c:layout>
      <c:barChart>
        <c:barDir val="bar"/>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67-4D50-B195-144966C0CDFE}"/>
                </c:ext>
              </c:extLst>
            </c:dLbl>
            <c:dLbl>
              <c:idx val="1"/>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67-4D50-B195-144966C0CDFE}"/>
                </c:ext>
              </c:extLst>
            </c:dLbl>
            <c:dLbl>
              <c:idx val="2"/>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67-4D50-B195-144966C0CDFE}"/>
                </c:ext>
              </c:extLst>
            </c:dLbl>
            <c:dLbl>
              <c:idx val="3"/>
              <c:layout>
                <c:manualLayout>
                  <c:x val="-5.274261603375527E-4"/>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67-4D50-B195-144966C0CDFE}"/>
                </c:ext>
              </c:extLst>
            </c:dLbl>
            <c:dLbl>
              <c:idx val="4"/>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167-4D50-B195-144966C0CDFE}"/>
                </c:ext>
              </c:extLst>
            </c:dLbl>
            <c:dLbl>
              <c:idx val="5"/>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167-4D50-B195-144966C0CD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2.55</c:v>
                </c:pt>
                <c:pt idx="1">
                  <c:v>68.42</c:v>
                </c:pt>
                <c:pt idx="2">
                  <c:v>59.35</c:v>
                </c:pt>
                <c:pt idx="3">
                  <c:v>68.040000000000006</c:v>
                </c:pt>
                <c:pt idx="4">
                  <c:v>69.75</c:v>
                </c:pt>
                <c:pt idx="5">
                  <c:v>91.67</c:v>
                </c:pt>
              </c:numCache>
            </c:numRef>
          </c:val>
          <c:extLst>
            <c:ext xmlns:c16="http://schemas.microsoft.com/office/drawing/2014/chart" uri="{C3380CC4-5D6E-409C-BE32-E72D297353CC}">
              <c16:uniqueId val="{00000006-0167-4D50-B195-144966C0CDFE}"/>
            </c:ext>
          </c:extLst>
        </c:ser>
        <c:ser>
          <c:idx val="1"/>
          <c:order val="1"/>
          <c:spPr>
            <a:solidFill>
              <a:srgbClr val="C2F1ED"/>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67-4D50-B195-144966C0CDFE}"/>
                </c:ext>
              </c:extLst>
            </c:dLbl>
            <c:dLbl>
              <c:idx val="1"/>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167-4D50-B195-144966C0CDFE}"/>
                </c:ext>
              </c:extLst>
            </c:dLbl>
            <c:dLbl>
              <c:idx val="2"/>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167-4D50-B195-144966C0CDFE}"/>
                </c:ext>
              </c:extLst>
            </c:dLbl>
            <c:dLbl>
              <c:idx val="3"/>
              <c:layout>
                <c:manualLayout>
                  <c:x val="-5.274261603375527E-4"/>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167-4D50-B195-144966C0CDFE}"/>
                </c:ext>
              </c:extLst>
            </c:dLbl>
            <c:dLbl>
              <c:idx val="4"/>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167-4D50-B195-144966C0CDFE}"/>
                </c:ext>
              </c:extLst>
            </c:dLbl>
            <c:dLbl>
              <c:idx val="5"/>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167-4D50-B195-144966C0CD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7.45</c:v>
                </c:pt>
                <c:pt idx="1">
                  <c:v>31.58</c:v>
                </c:pt>
                <c:pt idx="2">
                  <c:v>40.65</c:v>
                </c:pt>
                <c:pt idx="3">
                  <c:v>31.96</c:v>
                </c:pt>
                <c:pt idx="4">
                  <c:v>30.25</c:v>
                </c:pt>
                <c:pt idx="5">
                  <c:v>8.3300000000000036</c:v>
                </c:pt>
              </c:numCache>
            </c:numRef>
          </c:val>
          <c:extLst>
            <c:ext xmlns:c16="http://schemas.microsoft.com/office/drawing/2014/chart" uri="{C3380CC4-5D6E-409C-BE32-E72D297353CC}">
              <c16:uniqueId val="{0000000D-0167-4D50-B195-144966C0CDFE}"/>
            </c:ext>
          </c:extLst>
        </c:ser>
        <c:dLbls>
          <c:showLegendKey val="0"/>
          <c:showVal val="0"/>
          <c:showCatName val="0"/>
          <c:showSerName val="0"/>
          <c:showPercent val="0"/>
          <c:showBubbleSize val="0"/>
        </c:dLbls>
        <c:gapWidth val="30"/>
        <c:overlap val="100"/>
        <c:axId val="1150387536"/>
        <c:axId val="1"/>
      </c:barChart>
      <c:catAx>
        <c:axId val="115038753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150387536"/>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61807580174927E-2"/>
          <c:y val="5.5555555555555552E-2"/>
          <c:w val="0.97667638483965014"/>
          <c:h val="0.88888888888888884"/>
        </c:manualLayout>
      </c:layout>
      <c:barChart>
        <c:barDir val="col"/>
        <c:grouping val="stacked"/>
        <c:varyColors val="0"/>
        <c:ser>
          <c:idx val="0"/>
          <c:order val="0"/>
          <c:spPr>
            <a:solidFill>
              <a:schemeClr val="accent1"/>
            </a:solidFill>
            <a:ln>
              <a:noFill/>
            </a:ln>
          </c:spPr>
          <c:invertIfNegative val="0"/>
          <c:dLbls>
            <c:dLbl>
              <c:idx val="0"/>
              <c:layout>
                <c:manualLayout>
                  <c:x val="0"/>
                  <c:y val="-1.0683760683760685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765-4751-979E-6D51F484C5B4}"/>
                </c:ext>
              </c:extLst>
            </c:dLbl>
            <c:dLbl>
              <c:idx val="1"/>
              <c:layout>
                <c:manualLayout>
                  <c:x val="0"/>
                  <c:y val="-1.0683760683760685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65-4751-979E-6D51F484C5B4}"/>
                </c:ext>
              </c:extLst>
            </c:dLbl>
            <c:dLbl>
              <c:idx val="2"/>
              <c:layout>
                <c:manualLayout>
                  <c:x val="0"/>
                  <c:y val="-1.0683760683760685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765-4751-979E-6D51F484C5B4}"/>
                </c:ext>
              </c:extLst>
            </c:dLbl>
            <c:dLbl>
              <c:idx val="3"/>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65-4751-979E-6D51F484C5B4}"/>
                </c:ext>
              </c:extLst>
            </c:dLbl>
            <c:dLbl>
              <c:idx val="4"/>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765-4751-979E-6D51F484C5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8.1</c:v>
                </c:pt>
                <c:pt idx="1">
                  <c:v>40</c:v>
                </c:pt>
                <c:pt idx="2">
                  <c:v>33.770000000000003</c:v>
                </c:pt>
                <c:pt idx="3">
                  <c:v>31.669999999999998</c:v>
                </c:pt>
                <c:pt idx="4">
                  <c:v>34.78</c:v>
                </c:pt>
              </c:numCache>
            </c:numRef>
          </c:val>
          <c:extLst>
            <c:ext xmlns:c16="http://schemas.microsoft.com/office/drawing/2014/chart" uri="{C3380CC4-5D6E-409C-BE32-E72D297353CC}">
              <c16:uniqueId val="{00000005-6765-4751-979E-6D51F484C5B4}"/>
            </c:ext>
          </c:extLst>
        </c:ser>
        <c:ser>
          <c:idx val="1"/>
          <c:order val="1"/>
          <c:spPr>
            <a:solidFill>
              <a:srgbClr val="C2F1ED"/>
            </a:solidFill>
            <a:ln>
              <a:noFill/>
            </a:ln>
          </c:spPr>
          <c:invertIfNegative val="0"/>
          <c:dLbls>
            <c:dLbl>
              <c:idx val="0"/>
              <c:layout>
                <c:manualLayout>
                  <c:x val="0"/>
                  <c:y val="-1.0683760683760685E-3"/>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765-4751-979E-6D51F484C5B4}"/>
                </c:ext>
              </c:extLst>
            </c:dLbl>
            <c:dLbl>
              <c:idx val="1"/>
              <c:layout>
                <c:manualLayout>
                  <c:x val="0"/>
                  <c:y val="-1.0683760683760685E-3"/>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765-4751-979E-6D51F484C5B4}"/>
                </c:ext>
              </c:extLst>
            </c:dLbl>
            <c:dLbl>
              <c:idx val="2"/>
              <c:layout>
                <c:manualLayout>
                  <c:x val="0"/>
                  <c:y val="-1.0683760683760685E-3"/>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765-4751-979E-6D51F484C5B4}"/>
                </c:ext>
              </c:extLst>
            </c:dLbl>
            <c:dLbl>
              <c:idx val="3"/>
              <c:layout>
                <c:manualLayout>
                  <c:x val="0"/>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765-4751-979E-6D51F484C5B4}"/>
                </c:ext>
              </c:extLst>
            </c:dLbl>
            <c:dLbl>
              <c:idx val="4"/>
              <c:layout>
                <c:manualLayout>
                  <c:x val="0"/>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765-4751-979E-6D51F484C5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1.9</c:v>
                </c:pt>
                <c:pt idx="1">
                  <c:v>60</c:v>
                </c:pt>
                <c:pt idx="2">
                  <c:v>66.23</c:v>
                </c:pt>
                <c:pt idx="3">
                  <c:v>68.33</c:v>
                </c:pt>
                <c:pt idx="4">
                  <c:v>65.22</c:v>
                </c:pt>
              </c:numCache>
            </c:numRef>
          </c:val>
          <c:extLst>
            <c:ext xmlns:c16="http://schemas.microsoft.com/office/drawing/2014/chart" uri="{C3380CC4-5D6E-409C-BE32-E72D297353CC}">
              <c16:uniqueId val="{0000000B-6765-4751-979E-6D51F484C5B4}"/>
            </c:ext>
          </c:extLst>
        </c:ser>
        <c:dLbls>
          <c:showLegendKey val="0"/>
          <c:showVal val="0"/>
          <c:showCatName val="0"/>
          <c:showSerName val="0"/>
          <c:showPercent val="0"/>
          <c:showBubbleSize val="0"/>
        </c:dLbls>
        <c:gapWidth val="80"/>
        <c:overlap val="100"/>
        <c:axId val="463748607"/>
        <c:axId val="1"/>
      </c:barChart>
      <c:catAx>
        <c:axId val="4637486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63748607"/>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15396458814474E-2"/>
          <c:y val="6.1104582843713277E-2"/>
          <c:w val="0.9599692070823711"/>
          <c:h val="0.87779083431257343"/>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896-435D-940E-720E73D207AA}"/>
                </c:ext>
              </c:extLst>
            </c:dLbl>
            <c:dLbl>
              <c:idx val="1"/>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896-435D-940E-720E73D207AA}"/>
                </c:ext>
              </c:extLst>
            </c:dLbl>
            <c:dLbl>
              <c:idx val="2"/>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896-435D-940E-720E73D207AA}"/>
                </c:ext>
              </c:extLst>
            </c:dLbl>
            <c:dLbl>
              <c:idx val="3"/>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896-435D-940E-720E73D207AA}"/>
                </c:ext>
              </c:extLst>
            </c:dLbl>
            <c:dLbl>
              <c:idx val="4"/>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896-435D-940E-720E73D207AA}"/>
                </c:ext>
              </c:extLst>
            </c:dLbl>
            <c:dLbl>
              <c:idx val="5"/>
              <c:layout>
                <c:manualLayout>
                  <c:x val="0"/>
                  <c:y val="-1.1750881316098707E-3"/>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896-435D-940E-720E73D207AA}"/>
                </c:ext>
              </c:extLst>
            </c:dLbl>
            <c:dLbl>
              <c:idx val="6"/>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896-435D-940E-720E73D207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30</c:v>
                </c:pt>
                <c:pt idx="1">
                  <c:v>28.571428571428569</c:v>
                </c:pt>
                <c:pt idx="2">
                  <c:v>32.911392405063289</c:v>
                </c:pt>
                <c:pt idx="3">
                  <c:v>38.805970149253731</c:v>
                </c:pt>
                <c:pt idx="4">
                  <c:v>39.655172413793103</c:v>
                </c:pt>
                <c:pt idx="5">
                  <c:v>40</c:v>
                </c:pt>
                <c:pt idx="6">
                  <c:v>30</c:v>
                </c:pt>
              </c:numCache>
            </c:numRef>
          </c:val>
          <c:extLst>
            <c:ext xmlns:c16="http://schemas.microsoft.com/office/drawing/2014/chart" uri="{C3380CC4-5D6E-409C-BE32-E72D297353CC}">
              <c16:uniqueId val="{00000007-2896-435D-940E-720E73D207AA}"/>
            </c:ext>
          </c:extLst>
        </c:ser>
        <c:ser>
          <c:idx val="1"/>
          <c:order val="1"/>
          <c:spPr>
            <a:solidFill>
              <a:srgbClr val="C2F1ED"/>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896-435D-940E-720E73D207AA}"/>
                </c:ext>
              </c:extLst>
            </c:dLbl>
            <c:dLbl>
              <c:idx val="1"/>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896-435D-940E-720E73D207AA}"/>
                </c:ext>
              </c:extLst>
            </c:dLbl>
            <c:dLbl>
              <c:idx val="2"/>
              <c:layout>
                <c:manualLayout>
                  <c:x val="0"/>
                  <c:y val="-1.1750881316098707E-3"/>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896-435D-940E-720E73D207AA}"/>
                </c:ext>
              </c:extLst>
            </c:dLbl>
            <c:dLbl>
              <c:idx val="3"/>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896-435D-940E-720E73D207AA}"/>
                </c:ext>
              </c:extLst>
            </c:dLbl>
            <c:dLbl>
              <c:idx val="4"/>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896-435D-940E-720E73D207AA}"/>
                </c:ext>
              </c:extLst>
            </c:dLbl>
            <c:dLbl>
              <c:idx val="5"/>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896-435D-940E-720E73D207AA}"/>
                </c:ext>
              </c:extLst>
            </c:dLbl>
            <c:dLbl>
              <c:idx val="6"/>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896-435D-940E-720E73D207A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70</c:v>
                </c:pt>
                <c:pt idx="1">
                  <c:v>71.428571428571431</c:v>
                </c:pt>
                <c:pt idx="2">
                  <c:v>67.088607594936718</c:v>
                </c:pt>
                <c:pt idx="3">
                  <c:v>59.701492537313428</c:v>
                </c:pt>
                <c:pt idx="4">
                  <c:v>60.344827586206897</c:v>
                </c:pt>
                <c:pt idx="5">
                  <c:v>60</c:v>
                </c:pt>
                <c:pt idx="6">
                  <c:v>70</c:v>
                </c:pt>
              </c:numCache>
            </c:numRef>
          </c:val>
          <c:extLst>
            <c:ext xmlns:c16="http://schemas.microsoft.com/office/drawing/2014/chart" uri="{C3380CC4-5D6E-409C-BE32-E72D297353CC}">
              <c16:uniqueId val="{0000000F-2896-435D-940E-720E73D207AA}"/>
            </c:ext>
          </c:extLst>
        </c:ser>
        <c:dLbls>
          <c:showLegendKey val="0"/>
          <c:showVal val="0"/>
          <c:showCatName val="0"/>
          <c:showSerName val="0"/>
          <c:showPercent val="0"/>
          <c:showBubbleSize val="0"/>
        </c:dLbls>
        <c:gapWidth val="80"/>
        <c:overlap val="100"/>
        <c:axId val="463758591"/>
        <c:axId val="1"/>
      </c:barChart>
      <c:catAx>
        <c:axId val="46375859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63758591"/>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80365296803651E-2"/>
          <c:y val="6.1104582843713277E-2"/>
          <c:w val="0.94063926940639264"/>
          <c:h val="0.87779083431257343"/>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35.870000000000005</c:v>
                </c:pt>
                <c:pt idx="1">
                  <c:v>34.94</c:v>
                </c:pt>
              </c:numCache>
            </c:numRef>
          </c:val>
          <c:extLst>
            <c:ext xmlns:c16="http://schemas.microsoft.com/office/drawing/2014/chart" uri="{C3380CC4-5D6E-409C-BE32-E72D297353CC}">
              <c16:uniqueId val="{00000000-D533-494F-B3F6-F88A9C9CC464}"/>
            </c:ext>
          </c:extLst>
        </c:ser>
        <c:ser>
          <c:idx val="1"/>
          <c:order val="1"/>
          <c:spPr>
            <a:solidFill>
              <a:srgbClr val="C2F1ED"/>
            </a:solidFill>
            <a:ln>
              <a:noFill/>
            </a:ln>
          </c:spPr>
          <c:invertIfNegative val="0"/>
          <c:val>
            <c:numRef>
              <c:f>Sheet1!$A$2:$B$2</c:f>
              <c:numCache>
                <c:formatCode>General</c:formatCode>
                <c:ptCount val="2"/>
                <c:pt idx="0">
                  <c:v>63.59</c:v>
                </c:pt>
                <c:pt idx="1">
                  <c:v>65.06</c:v>
                </c:pt>
              </c:numCache>
            </c:numRef>
          </c:val>
          <c:extLst>
            <c:ext xmlns:c16="http://schemas.microsoft.com/office/drawing/2014/chart" uri="{C3380CC4-5D6E-409C-BE32-E72D297353CC}">
              <c16:uniqueId val="{00000001-D533-494F-B3F6-F88A9C9CC464}"/>
            </c:ext>
          </c:extLst>
        </c:ser>
        <c:dLbls>
          <c:showLegendKey val="0"/>
          <c:showVal val="0"/>
          <c:showCatName val="0"/>
          <c:showSerName val="0"/>
          <c:showPercent val="0"/>
          <c:showBubbleSize val="0"/>
        </c:dLbls>
        <c:gapWidth val="80"/>
        <c:overlap val="100"/>
        <c:axId val="463746527"/>
        <c:axId val="1"/>
      </c:barChart>
      <c:catAx>
        <c:axId val="4637465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6374652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86020980727006E-2"/>
          <c:y val="7.7380952380952384E-2"/>
          <c:w val="0.97462795803854596"/>
          <c:h val="0.84523809523809523"/>
        </c:manualLayout>
      </c:layout>
      <c:barChart>
        <c:barDir val="col"/>
        <c:grouping val="clustered"/>
        <c:varyColors val="0"/>
        <c:ser>
          <c:idx val="0"/>
          <c:order val="0"/>
          <c:spPr>
            <a:solidFill>
              <a:schemeClr val="bg2"/>
            </a:solidFill>
            <a:ln>
              <a:noFill/>
            </a:ln>
          </c:spPr>
          <c:invertIfNegative val="0"/>
          <c:val>
            <c:numRef>
              <c:f>Sheet1!$A$1:$D$1</c:f>
              <c:numCache>
                <c:formatCode>General</c:formatCode>
                <c:ptCount val="4"/>
                <c:pt idx="0">
                  <c:v>75.599999999999994</c:v>
                </c:pt>
                <c:pt idx="1">
                  <c:v>56.8</c:v>
                </c:pt>
                <c:pt idx="2">
                  <c:v>43.3</c:v>
                </c:pt>
                <c:pt idx="3">
                  <c:v>44</c:v>
                </c:pt>
              </c:numCache>
            </c:numRef>
          </c:val>
          <c:extLst>
            <c:ext xmlns:c16="http://schemas.microsoft.com/office/drawing/2014/chart" uri="{C3380CC4-5D6E-409C-BE32-E72D297353CC}">
              <c16:uniqueId val="{00000000-B2F8-4A3D-9B67-283E70652830}"/>
            </c:ext>
          </c:extLst>
        </c:ser>
        <c:ser>
          <c:idx val="1"/>
          <c:order val="1"/>
          <c:spPr>
            <a:solidFill>
              <a:schemeClr val="accent2"/>
            </a:solidFill>
            <a:ln w="6350" algn="ctr">
              <a:solidFill>
                <a:schemeClr val="bg1"/>
              </a:solidFill>
              <a:prstDash val="solid"/>
            </a:ln>
          </c:spPr>
          <c:invertIfNegative val="0"/>
          <c:val>
            <c:numRef>
              <c:f>Sheet1!$A$2:$D$2</c:f>
              <c:numCache>
                <c:formatCode>General</c:formatCode>
                <c:ptCount val="4"/>
                <c:pt idx="0">
                  <c:v>96.2</c:v>
                </c:pt>
                <c:pt idx="2">
                  <c:v>85.2</c:v>
                </c:pt>
                <c:pt idx="3">
                  <c:v>73.599999999999994</c:v>
                </c:pt>
              </c:numCache>
            </c:numRef>
          </c:val>
          <c:extLst>
            <c:ext xmlns:c16="http://schemas.microsoft.com/office/drawing/2014/chart" uri="{C3380CC4-5D6E-409C-BE32-E72D297353CC}">
              <c16:uniqueId val="{00000001-B2F8-4A3D-9B67-283E70652830}"/>
            </c:ext>
          </c:extLst>
        </c:ser>
        <c:ser>
          <c:idx val="2"/>
          <c:order val="2"/>
          <c:spPr>
            <a:solidFill>
              <a:schemeClr val="accent3"/>
            </a:solidFill>
            <a:ln w="6350" algn="ctr">
              <a:solidFill>
                <a:schemeClr val="bg1"/>
              </a:solidFill>
              <a:prstDash val="solid"/>
            </a:ln>
          </c:spPr>
          <c:invertIfNegative val="0"/>
          <c:val>
            <c:numRef>
              <c:f>Sheet1!$A$3:$D$3</c:f>
              <c:numCache>
                <c:formatCode>General</c:formatCode>
                <c:ptCount val="4"/>
                <c:pt idx="0">
                  <c:v>94</c:v>
                </c:pt>
                <c:pt idx="2">
                  <c:v>52.1</c:v>
                </c:pt>
                <c:pt idx="3">
                  <c:v>52.400000000000006</c:v>
                </c:pt>
              </c:numCache>
            </c:numRef>
          </c:val>
          <c:extLst>
            <c:ext xmlns:c16="http://schemas.microsoft.com/office/drawing/2014/chart" uri="{C3380CC4-5D6E-409C-BE32-E72D297353CC}">
              <c16:uniqueId val="{00000002-B2F8-4A3D-9B67-283E70652830}"/>
            </c:ext>
          </c:extLst>
        </c:ser>
        <c:dLbls>
          <c:showLegendKey val="0"/>
          <c:showVal val="0"/>
          <c:showCatName val="0"/>
          <c:showSerName val="0"/>
          <c:showPercent val="0"/>
          <c:showBubbleSize val="0"/>
        </c:dLbls>
        <c:gapWidth val="80"/>
        <c:axId val="577471248"/>
        <c:axId val="1"/>
      </c:barChart>
      <c:catAx>
        <c:axId val="5774712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6.2"/>
          <c:min val="0"/>
        </c:scaling>
        <c:delete val="1"/>
        <c:axPos val="l"/>
        <c:numFmt formatCode="General" sourceLinked="1"/>
        <c:majorTickMark val="out"/>
        <c:minorTickMark val="none"/>
        <c:tickLblPos val="nextTo"/>
        <c:crossAx val="577471248"/>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508137432188065E-2"/>
          <c:y val="2.1576763485477178E-2"/>
          <c:w val="0.9529837251356239"/>
          <c:h val="0.95684647302904569"/>
        </c:manualLayout>
      </c:layout>
      <c:barChart>
        <c:barDir val="bar"/>
        <c:grouping val="stacked"/>
        <c:varyColors val="0"/>
        <c:ser>
          <c:idx val="0"/>
          <c:order val="0"/>
          <c:spPr>
            <a:solidFill>
              <a:schemeClr val="accent1"/>
            </a:solidFill>
            <a:ln>
              <a:noFill/>
            </a:ln>
          </c:spPr>
          <c:invertIfNegative val="0"/>
          <c:dLbls>
            <c:dLbl>
              <c:idx val="0"/>
              <c:layout>
                <c:manualLayout>
                  <c:x val="-4.5207956600361662E-4"/>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00-45EF-B8DF-E11605AF338D}"/>
                </c:ext>
              </c:extLst>
            </c:dLbl>
            <c:dLbl>
              <c:idx val="1"/>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00-45EF-B8DF-E11605AF338D}"/>
                </c:ext>
              </c:extLst>
            </c:dLbl>
            <c:dLbl>
              <c:idx val="2"/>
              <c:layout>
                <c:manualLayout>
                  <c:x val="-4.5207956600361662E-4"/>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00-45EF-B8DF-E11605AF338D}"/>
                </c:ext>
              </c:extLst>
            </c:dLbl>
            <c:dLbl>
              <c:idx val="3"/>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700-45EF-B8DF-E11605AF338D}"/>
                </c:ext>
              </c:extLst>
            </c:dLbl>
            <c:dLbl>
              <c:idx val="4"/>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700-45EF-B8DF-E11605AF338D}"/>
                </c:ext>
              </c:extLst>
            </c:dLbl>
            <c:dLbl>
              <c:idx val="5"/>
              <c:layout>
                <c:manualLayout>
                  <c:x val="0"/>
                  <c:y val="0"/>
                </c:manualLayout>
              </c:layout>
              <c:numFmt formatCode="#,##0&quot;%&quot;;&quot;-&quot;#,##0&quot;%&quot;" sourceLinked="0"/>
              <c:spPr>
                <a:noFill/>
                <a:ln>
                  <a:noFill/>
                </a:ln>
              </c:spPr>
              <c:txPr>
                <a:bodyPr wrap="none"/>
                <a:lstStyle/>
                <a:p>
                  <a:pPr>
                    <a:defRPr sz="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00-45EF-B8DF-E11605AF33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5</c:v>
                </c:pt>
                <c:pt idx="1">
                  <c:v>42.309999999999995</c:v>
                </c:pt>
                <c:pt idx="2">
                  <c:v>36.49</c:v>
                </c:pt>
                <c:pt idx="3">
                  <c:v>42.11</c:v>
                </c:pt>
                <c:pt idx="4">
                  <c:v>31.509999999999998</c:v>
                </c:pt>
                <c:pt idx="5">
                  <c:v>33.33</c:v>
                </c:pt>
              </c:numCache>
            </c:numRef>
          </c:val>
          <c:extLst>
            <c:ext xmlns:c16="http://schemas.microsoft.com/office/drawing/2014/chart" uri="{C3380CC4-5D6E-409C-BE32-E72D297353CC}">
              <c16:uniqueId val="{00000006-C700-45EF-B8DF-E11605AF338D}"/>
            </c:ext>
          </c:extLst>
        </c:ser>
        <c:ser>
          <c:idx val="1"/>
          <c:order val="1"/>
          <c:spPr>
            <a:solidFill>
              <a:srgbClr val="C2F1ED"/>
            </a:solidFill>
            <a:ln>
              <a:noFill/>
            </a:ln>
          </c:spPr>
          <c:invertIfNegative val="0"/>
          <c:dLbls>
            <c:dLbl>
              <c:idx val="0"/>
              <c:layout>
                <c:manualLayout>
                  <c:x val="-4.5207956600361662E-4"/>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700-45EF-B8DF-E11605AF338D}"/>
                </c:ext>
              </c:extLst>
            </c:dLbl>
            <c:dLbl>
              <c:idx val="1"/>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700-45EF-B8DF-E11605AF338D}"/>
                </c:ext>
              </c:extLst>
            </c:dLbl>
            <c:dLbl>
              <c:idx val="2"/>
              <c:layout>
                <c:manualLayout>
                  <c:x val="-4.5207956600361662E-4"/>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700-45EF-B8DF-E11605AF338D}"/>
                </c:ext>
              </c:extLst>
            </c:dLbl>
            <c:dLbl>
              <c:idx val="3"/>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700-45EF-B8DF-E11605AF338D}"/>
                </c:ext>
              </c:extLst>
            </c:dLbl>
            <c:dLbl>
              <c:idx val="4"/>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700-45EF-B8DF-E11605AF338D}"/>
                </c:ext>
              </c:extLst>
            </c:dLbl>
            <c:dLbl>
              <c:idx val="5"/>
              <c:layout>
                <c:manualLayout>
                  <c:x val="0"/>
                  <c:y val="0"/>
                </c:manualLayout>
              </c:layout>
              <c:numFmt formatCode="#,##0&quot;%&quot;;&quot;-&quot;#,##0&quot;%&quot;" sourceLinked="0"/>
              <c:spPr>
                <a:noFill/>
                <a:ln>
                  <a:noFill/>
                </a:ln>
              </c:spPr>
              <c:txPr>
                <a:bodyPr wrap="none"/>
                <a:lstStyle/>
                <a:p>
                  <a:pPr>
                    <a:defRPr sz="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700-45EF-B8DF-E11605AF33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5</c:v>
                </c:pt>
                <c:pt idx="1">
                  <c:v>57.69</c:v>
                </c:pt>
                <c:pt idx="2">
                  <c:v>63.51</c:v>
                </c:pt>
                <c:pt idx="3">
                  <c:v>57.89</c:v>
                </c:pt>
                <c:pt idx="4">
                  <c:v>68.490000000000009</c:v>
                </c:pt>
                <c:pt idx="5">
                  <c:v>66.67</c:v>
                </c:pt>
              </c:numCache>
            </c:numRef>
          </c:val>
          <c:extLst>
            <c:ext xmlns:c16="http://schemas.microsoft.com/office/drawing/2014/chart" uri="{C3380CC4-5D6E-409C-BE32-E72D297353CC}">
              <c16:uniqueId val="{0000000D-C700-45EF-B8DF-E11605AF338D}"/>
            </c:ext>
          </c:extLst>
        </c:ser>
        <c:dLbls>
          <c:showLegendKey val="0"/>
          <c:showVal val="0"/>
          <c:showCatName val="0"/>
          <c:showSerName val="0"/>
          <c:showPercent val="0"/>
          <c:showBubbleSize val="0"/>
        </c:dLbls>
        <c:gapWidth val="30"/>
        <c:overlap val="100"/>
        <c:axId val="1968163488"/>
        <c:axId val="1"/>
      </c:barChart>
      <c:catAx>
        <c:axId val="19681634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968163488"/>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61318051575931E-2"/>
          <c:y val="6.9350338780390597E-2"/>
          <c:w val="0.97707736389684818"/>
          <c:h val="0.90992427261857312"/>
        </c:manualLayout>
      </c:layout>
      <c:barChart>
        <c:barDir val="col"/>
        <c:grouping val="stacked"/>
        <c:varyColors val="0"/>
        <c:ser>
          <c:idx val="0"/>
          <c:order val="0"/>
          <c:spPr>
            <a:solidFill>
              <a:srgbClr val="6C346D"/>
            </a:solidFill>
            <a:ln>
              <a:noFill/>
            </a:ln>
          </c:spPr>
          <c:invertIfNegative val="0"/>
          <c:dPt>
            <c:idx val="0"/>
            <c:invertIfNegative val="0"/>
            <c:bubble3D val="0"/>
            <c:spPr>
              <a:solidFill>
                <a:schemeClr val="bg2"/>
              </a:solidFill>
              <a:ln>
                <a:noFill/>
              </a:ln>
            </c:spPr>
            <c:extLst>
              <c:ext xmlns:c16="http://schemas.microsoft.com/office/drawing/2014/chart" uri="{C3380CC4-5D6E-409C-BE32-E72D297353CC}">
                <c16:uniqueId val="{00000000-B917-4C06-B455-3AA0C7B85E23}"/>
              </c:ext>
            </c:extLst>
          </c:dPt>
          <c:dPt>
            <c:idx val="1"/>
            <c:invertIfNegative val="0"/>
            <c:bubble3D val="0"/>
            <c:spPr>
              <a:solidFill>
                <a:schemeClr val="bg2"/>
              </a:solidFill>
              <a:ln>
                <a:noFill/>
              </a:ln>
            </c:spPr>
            <c:extLst>
              <c:ext xmlns:c16="http://schemas.microsoft.com/office/drawing/2014/chart" uri="{C3380CC4-5D6E-409C-BE32-E72D297353CC}">
                <c16:uniqueId val="{00000001-B917-4C06-B455-3AA0C7B85E23}"/>
              </c:ext>
            </c:extLst>
          </c:dPt>
          <c:dPt>
            <c:idx val="2"/>
            <c:invertIfNegative val="0"/>
            <c:bubble3D val="0"/>
            <c:spPr>
              <a:solidFill>
                <a:schemeClr val="bg2"/>
              </a:solidFill>
              <a:ln>
                <a:noFill/>
              </a:ln>
            </c:spPr>
            <c:extLst>
              <c:ext xmlns:c16="http://schemas.microsoft.com/office/drawing/2014/chart" uri="{C3380CC4-5D6E-409C-BE32-E72D297353CC}">
                <c16:uniqueId val="{00000002-B917-4C06-B455-3AA0C7B85E23}"/>
              </c:ext>
            </c:extLst>
          </c:dPt>
          <c:dPt>
            <c:idx val="3"/>
            <c:invertIfNegative val="0"/>
            <c:bubble3D val="0"/>
            <c:spPr>
              <a:solidFill>
                <a:schemeClr val="bg2"/>
              </a:solidFill>
              <a:ln>
                <a:noFill/>
              </a:ln>
            </c:spPr>
            <c:extLst>
              <c:ext xmlns:c16="http://schemas.microsoft.com/office/drawing/2014/chart" uri="{C3380CC4-5D6E-409C-BE32-E72D297353CC}">
                <c16:uniqueId val="{00000003-B917-4C06-B455-3AA0C7B85E23}"/>
              </c:ext>
            </c:extLst>
          </c:dPt>
          <c:dLbls>
            <c:dLbl>
              <c:idx val="0"/>
              <c:layout>
                <c:manualLayout>
                  <c:x val="0"/>
                  <c:y val="-0.49023515344758867"/>
                </c:manualLayout>
              </c:layout>
              <c:numFmt formatCode="#,##0;&quot;-&quot;#,##0" sourceLinked="0"/>
              <c:spPr>
                <a:noFill/>
                <a:ln>
                  <a:noFill/>
                </a:ln>
              </c:spPr>
              <c:txPr>
                <a:bodyPr wrap="none"/>
                <a:lstStyle/>
                <a:p>
                  <a:pPr>
                    <a:defRPr sz="15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17-4C06-B455-3AA0C7B85E23}"/>
                </c:ext>
              </c:extLst>
            </c:dLbl>
            <c:dLbl>
              <c:idx val="1"/>
              <c:layout>
                <c:manualLayout>
                  <c:x val="0"/>
                  <c:y val="-0.2837783977680351"/>
                </c:manualLayout>
              </c:layout>
              <c:numFmt formatCode="#,##0;&quot;-&quot;#,##0" sourceLinked="0"/>
              <c:spPr>
                <a:noFill/>
                <a:ln>
                  <a:noFill/>
                </a:ln>
              </c:spPr>
              <c:txPr>
                <a:bodyPr wrap="none"/>
                <a:lstStyle/>
                <a:p>
                  <a:pPr>
                    <a:defRPr sz="15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17-4C06-B455-3AA0C7B85E23}"/>
                </c:ext>
              </c:extLst>
            </c:dLbl>
            <c:dLbl>
              <c:idx val="2"/>
              <c:layout>
                <c:manualLayout>
                  <c:x val="0"/>
                  <c:y val="-8.569151056197688E-2"/>
                </c:manualLayout>
              </c:layout>
              <c:numFmt formatCode="#,##0;&quot;-&quot;#,##0" sourceLinked="0"/>
              <c:spPr>
                <a:noFill/>
                <a:ln>
                  <a:noFill/>
                </a:ln>
              </c:spPr>
              <c:txPr>
                <a:bodyPr wrap="none"/>
                <a:lstStyle/>
                <a:p>
                  <a:pPr>
                    <a:defRPr sz="15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17-4C06-B455-3AA0C7B85E23}"/>
                </c:ext>
              </c:extLst>
            </c:dLbl>
            <c:dLbl>
              <c:idx val="3"/>
              <c:layout>
                <c:manualLayout>
                  <c:x val="0"/>
                  <c:y val="-5.4603427660422477E-2"/>
                </c:manualLayout>
              </c:layout>
              <c:numFmt formatCode="#,##0;&quot;-&quot;#,##0" sourceLinked="0"/>
              <c:spPr>
                <a:noFill/>
                <a:ln>
                  <a:noFill/>
                </a:ln>
              </c:spPr>
              <c:txPr>
                <a:bodyPr wrap="none"/>
                <a:lstStyle/>
                <a:p>
                  <a:pPr>
                    <a:defRPr sz="15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17-4C06-B455-3AA0C7B85E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5</c:v>
                </c:pt>
                <c:pt idx="1">
                  <c:v>35.5</c:v>
                </c:pt>
                <c:pt idx="2">
                  <c:v>7.2</c:v>
                </c:pt>
                <c:pt idx="3">
                  <c:v>2.8</c:v>
                </c:pt>
              </c:numCache>
            </c:numRef>
          </c:val>
          <c:extLst>
            <c:ext xmlns:c16="http://schemas.microsoft.com/office/drawing/2014/chart" uri="{C3380CC4-5D6E-409C-BE32-E72D297353CC}">
              <c16:uniqueId val="{00000004-B917-4C06-B455-3AA0C7B85E23}"/>
            </c:ext>
          </c:extLst>
        </c:ser>
        <c:dLbls>
          <c:showLegendKey val="0"/>
          <c:showVal val="0"/>
          <c:showCatName val="0"/>
          <c:showSerName val="0"/>
          <c:showPercent val="0"/>
          <c:showBubbleSize val="0"/>
        </c:dLbls>
        <c:gapWidth val="80"/>
        <c:overlap val="100"/>
        <c:axId val="674606928"/>
        <c:axId val="1"/>
      </c:barChart>
      <c:catAx>
        <c:axId val="6746069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5"/>
          <c:min val="0"/>
        </c:scaling>
        <c:delete val="1"/>
        <c:axPos val="l"/>
        <c:numFmt formatCode="General" sourceLinked="1"/>
        <c:majorTickMark val="out"/>
        <c:minorTickMark val="none"/>
        <c:tickLblPos val="nextTo"/>
        <c:crossAx val="67460692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287057769816391E-2"/>
          <c:y val="2.6625704045058884E-2"/>
          <c:w val="0.95342588446036725"/>
          <c:h val="0.94674859190988225"/>
        </c:manualLayout>
      </c:layout>
      <c:barChart>
        <c:barDir val="col"/>
        <c:grouping val="stacked"/>
        <c:varyColors val="0"/>
        <c:ser>
          <c:idx val="0"/>
          <c:order val="0"/>
          <c:spPr>
            <a:solidFill>
              <a:schemeClr val="accent1"/>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7D-4DA8-A505-4F9BB179FAEE}"/>
                </c:ext>
              </c:extLst>
            </c:dLbl>
            <c:dLbl>
              <c:idx val="1"/>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7D-4DA8-A505-4F9BB179FAEE}"/>
                </c:ext>
              </c:extLst>
            </c:dLbl>
            <c:dLbl>
              <c:idx val="2"/>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27D-4DA8-A505-4F9BB179FA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2.1</c:v>
                </c:pt>
                <c:pt idx="1">
                  <c:v>62.4</c:v>
                </c:pt>
                <c:pt idx="2">
                  <c:v>57.999999999999993</c:v>
                </c:pt>
              </c:numCache>
            </c:numRef>
          </c:val>
          <c:extLst>
            <c:ext xmlns:c16="http://schemas.microsoft.com/office/drawing/2014/chart" uri="{C3380CC4-5D6E-409C-BE32-E72D297353CC}">
              <c16:uniqueId val="{00000003-527D-4DA8-A505-4F9BB179FAEE}"/>
            </c:ext>
          </c:extLst>
        </c:ser>
        <c:ser>
          <c:idx val="1"/>
          <c:order val="1"/>
          <c:spPr>
            <a:solidFill>
              <a:srgbClr val="8ECBC9"/>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27D-4DA8-A505-4F9BB179FAEE}"/>
                </c:ext>
              </c:extLst>
            </c:dLbl>
            <c:dLbl>
              <c:idx val="1"/>
              <c:layout>
                <c:manualLayout>
                  <c:x val="0"/>
                  <c:y val="-2.0481310803891449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27D-4DA8-A505-4F9BB179FAEE}"/>
                </c:ext>
              </c:extLst>
            </c:dLbl>
            <c:dLbl>
              <c:idx val="2"/>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27D-4DA8-A505-4F9BB179FA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0.6</c:v>
                </c:pt>
                <c:pt idx="1">
                  <c:v>32.06</c:v>
                </c:pt>
                <c:pt idx="2">
                  <c:v>35</c:v>
                </c:pt>
              </c:numCache>
            </c:numRef>
          </c:val>
          <c:extLst>
            <c:ext xmlns:c16="http://schemas.microsoft.com/office/drawing/2014/chart" uri="{C3380CC4-5D6E-409C-BE32-E72D297353CC}">
              <c16:uniqueId val="{00000007-527D-4DA8-A505-4F9BB179FAEE}"/>
            </c:ext>
          </c:extLst>
        </c:ser>
        <c:ser>
          <c:idx val="2"/>
          <c:order val="2"/>
          <c:spPr>
            <a:solidFill>
              <a:srgbClr val="D9EEED"/>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27D-4DA8-A505-4F9BB179FAEE}"/>
                </c:ext>
              </c:extLst>
            </c:dLbl>
            <c:dLbl>
              <c:idx val="1"/>
              <c:layout>
                <c:manualLayout>
                  <c:x val="0"/>
                  <c:y val="-2.0481310803891449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27D-4DA8-A505-4F9BB179FAEE}"/>
                </c:ext>
              </c:extLst>
            </c:dLbl>
            <c:dLbl>
              <c:idx val="2"/>
              <c:layout>
                <c:manualLayout>
                  <c:x val="0"/>
                  <c:y val="-2.0481310803891449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27D-4DA8-A505-4F9BB179FA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6.6999999999999948</c:v>
                </c:pt>
                <c:pt idx="1">
                  <c:v>5.0499999999999989</c:v>
                </c:pt>
                <c:pt idx="2">
                  <c:v>7.0000000000000062</c:v>
                </c:pt>
              </c:numCache>
            </c:numRef>
          </c:val>
          <c:extLst>
            <c:ext xmlns:c16="http://schemas.microsoft.com/office/drawing/2014/chart" uri="{C3380CC4-5D6E-409C-BE32-E72D297353CC}">
              <c16:uniqueId val="{0000000B-527D-4DA8-A505-4F9BB179FAEE}"/>
            </c:ext>
          </c:extLst>
        </c:ser>
        <c:ser>
          <c:idx val="3"/>
          <c:order val="3"/>
          <c:spPr>
            <a:solidFill>
              <a:schemeClr val="accent2"/>
            </a:solidFill>
            <a:ln>
              <a:noFill/>
            </a:ln>
          </c:spPr>
          <c:invertIfNegative val="0"/>
          <c:val>
            <c:numRef>
              <c:f>Sheet1!$A$4:$C$4</c:f>
              <c:numCache>
                <c:formatCode>General</c:formatCode>
                <c:ptCount val="3"/>
                <c:pt idx="0">
                  <c:v>0</c:v>
                </c:pt>
                <c:pt idx="1">
                  <c:v>0</c:v>
                </c:pt>
                <c:pt idx="2">
                  <c:v>0</c:v>
                </c:pt>
              </c:numCache>
            </c:numRef>
          </c:val>
          <c:extLst>
            <c:ext xmlns:c16="http://schemas.microsoft.com/office/drawing/2014/chart" uri="{C3380CC4-5D6E-409C-BE32-E72D297353CC}">
              <c16:uniqueId val="{0000000C-527D-4DA8-A505-4F9BB179FAEE}"/>
            </c:ext>
          </c:extLst>
        </c:ser>
        <c:ser>
          <c:idx val="4"/>
          <c:order val="4"/>
          <c:spPr>
            <a:solidFill>
              <a:schemeClr val="accent3"/>
            </a:solidFill>
            <a:ln>
              <a:noFill/>
            </a:ln>
          </c:spPr>
          <c:invertIfNegative val="0"/>
          <c:val>
            <c:numRef>
              <c:f>Sheet1!$A$5:$C$5</c:f>
              <c:numCache>
                <c:formatCode>General</c:formatCode>
                <c:ptCount val="3"/>
                <c:pt idx="0">
                  <c:v>0.60000000000000053</c:v>
                </c:pt>
                <c:pt idx="1">
                  <c:v>0.48000000000000265</c:v>
                </c:pt>
                <c:pt idx="2">
                  <c:v>0</c:v>
                </c:pt>
              </c:numCache>
            </c:numRef>
          </c:val>
          <c:extLst>
            <c:ext xmlns:c16="http://schemas.microsoft.com/office/drawing/2014/chart" uri="{C3380CC4-5D6E-409C-BE32-E72D297353CC}">
              <c16:uniqueId val="{0000000D-527D-4DA8-A505-4F9BB179FAEE}"/>
            </c:ext>
          </c:extLst>
        </c:ser>
        <c:dLbls>
          <c:showLegendKey val="0"/>
          <c:showVal val="0"/>
          <c:showCatName val="0"/>
          <c:showSerName val="0"/>
          <c:showPercent val="0"/>
          <c:showBubbleSize val="0"/>
        </c:dLbls>
        <c:gapWidth val="20"/>
        <c:overlap val="100"/>
        <c:axId val="1034473215"/>
        <c:axId val="1"/>
      </c:barChart>
      <c:catAx>
        <c:axId val="10344732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034473215"/>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17343818261248E-2"/>
          <c:y val="2.6625704045058884E-2"/>
          <c:w val="0.95456531236347753"/>
          <c:h val="0.94674859190988225"/>
        </c:manualLayout>
      </c:layout>
      <c:barChart>
        <c:barDir val="col"/>
        <c:grouping val="stacked"/>
        <c:varyColors val="0"/>
        <c:ser>
          <c:idx val="0"/>
          <c:order val="0"/>
          <c:spPr>
            <a:solidFill>
              <a:schemeClr val="accent1"/>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AB-4967-9B82-F786F7BA6C3C}"/>
                </c:ext>
              </c:extLst>
            </c:dLbl>
            <c:dLbl>
              <c:idx val="1"/>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AB-4967-9B82-F786F7BA6C3C}"/>
                </c:ext>
              </c:extLst>
            </c:dLbl>
            <c:dLbl>
              <c:idx val="2"/>
              <c:layout>
                <c:manualLayout>
                  <c:x val="0"/>
                  <c:y val="-2.0481310803891449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AB-4967-9B82-F786F7BA6C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5.3</c:v>
                </c:pt>
                <c:pt idx="1">
                  <c:v>29.5</c:v>
                </c:pt>
                <c:pt idx="2">
                  <c:v>34</c:v>
                </c:pt>
              </c:numCache>
            </c:numRef>
          </c:val>
          <c:extLst>
            <c:ext xmlns:c16="http://schemas.microsoft.com/office/drawing/2014/chart" uri="{C3380CC4-5D6E-409C-BE32-E72D297353CC}">
              <c16:uniqueId val="{00000003-75AB-4967-9B82-F786F7BA6C3C}"/>
            </c:ext>
          </c:extLst>
        </c:ser>
        <c:ser>
          <c:idx val="1"/>
          <c:order val="1"/>
          <c:spPr>
            <a:solidFill>
              <a:srgbClr val="8ECBC9"/>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5AB-4967-9B82-F786F7BA6C3C}"/>
                </c:ext>
              </c:extLst>
            </c:dLbl>
            <c:dLbl>
              <c:idx val="1"/>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5AB-4967-9B82-F786F7BA6C3C}"/>
                </c:ext>
              </c:extLst>
            </c:dLbl>
            <c:dLbl>
              <c:idx val="2"/>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5AB-4967-9B82-F786F7BA6C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8.6</c:v>
                </c:pt>
                <c:pt idx="1">
                  <c:v>30.099999999999998</c:v>
                </c:pt>
                <c:pt idx="2">
                  <c:v>24.769999999999996</c:v>
                </c:pt>
              </c:numCache>
            </c:numRef>
          </c:val>
          <c:extLst>
            <c:ext xmlns:c16="http://schemas.microsoft.com/office/drawing/2014/chart" uri="{C3380CC4-5D6E-409C-BE32-E72D297353CC}">
              <c16:uniqueId val="{00000007-75AB-4967-9B82-F786F7BA6C3C}"/>
            </c:ext>
          </c:extLst>
        </c:ser>
        <c:ser>
          <c:idx val="2"/>
          <c:order val="2"/>
          <c:spPr>
            <a:solidFill>
              <a:srgbClr val="D9EEED"/>
            </a:solidFill>
            <a:ln>
              <a:noFill/>
            </a:ln>
          </c:spPr>
          <c:invertIfNegative val="0"/>
          <c:dLbls>
            <c:dLbl>
              <c:idx val="0"/>
              <c:layout>
                <c:manualLayout>
                  <c:x val="0"/>
                  <c:y val="-2.0481310803891449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5AB-4967-9B82-F786F7BA6C3C}"/>
                </c:ext>
              </c:extLst>
            </c:dLbl>
            <c:dLbl>
              <c:idx val="1"/>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5AB-4967-9B82-F786F7BA6C3C}"/>
                </c:ext>
              </c:extLst>
            </c:dLbl>
            <c:dLbl>
              <c:idx val="2"/>
              <c:layout>
                <c:manualLayout>
                  <c:x val="0"/>
                  <c:y val="-2.0481310803891449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5AB-4967-9B82-F786F7BA6C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1.099999999999998</c:v>
                </c:pt>
                <c:pt idx="1">
                  <c:v>39.900000000000006</c:v>
                </c:pt>
                <c:pt idx="2">
                  <c:v>39</c:v>
                </c:pt>
              </c:numCache>
            </c:numRef>
          </c:val>
          <c:extLst>
            <c:ext xmlns:c16="http://schemas.microsoft.com/office/drawing/2014/chart" uri="{C3380CC4-5D6E-409C-BE32-E72D297353CC}">
              <c16:uniqueId val="{0000000B-75AB-4967-9B82-F786F7BA6C3C}"/>
            </c:ext>
          </c:extLst>
        </c:ser>
        <c:ser>
          <c:idx val="3"/>
          <c:order val="3"/>
          <c:spPr>
            <a:solidFill>
              <a:schemeClr val="accent2"/>
            </a:solidFill>
            <a:ln>
              <a:noFill/>
            </a:ln>
          </c:spPr>
          <c:invertIfNegative val="0"/>
          <c:val>
            <c:numRef>
              <c:f>Sheet1!$A$4:$C$4</c:f>
              <c:numCache>
                <c:formatCode>General</c:formatCode>
                <c:ptCount val="3"/>
                <c:pt idx="0">
                  <c:v>0.9000000000000008</c:v>
                </c:pt>
                <c:pt idx="1">
                  <c:v>0.40000000000000036</c:v>
                </c:pt>
                <c:pt idx="2">
                  <c:v>2.0599999999999952</c:v>
                </c:pt>
              </c:numCache>
            </c:numRef>
          </c:val>
          <c:extLst>
            <c:ext xmlns:c16="http://schemas.microsoft.com/office/drawing/2014/chart" uri="{C3380CC4-5D6E-409C-BE32-E72D297353CC}">
              <c16:uniqueId val="{0000000C-75AB-4967-9B82-F786F7BA6C3C}"/>
            </c:ext>
          </c:extLst>
        </c:ser>
        <c:ser>
          <c:idx val="4"/>
          <c:order val="4"/>
          <c:spPr>
            <a:solidFill>
              <a:schemeClr val="accent3"/>
            </a:solidFill>
            <a:ln>
              <a:noFill/>
            </a:ln>
          </c:spPr>
          <c:invertIfNegative val="0"/>
          <c:val>
            <c:numRef>
              <c:f>Sheet1!$A$5:$C$5</c:f>
              <c:numCache>
                <c:formatCode>General</c:formatCode>
                <c:ptCount val="3"/>
                <c:pt idx="0">
                  <c:v>4.0000000000000036</c:v>
                </c:pt>
                <c:pt idx="1">
                  <c:v>0.10000000000000009</c:v>
                </c:pt>
                <c:pt idx="2">
                  <c:v>0</c:v>
                </c:pt>
              </c:numCache>
            </c:numRef>
          </c:val>
          <c:extLst>
            <c:ext xmlns:c16="http://schemas.microsoft.com/office/drawing/2014/chart" uri="{C3380CC4-5D6E-409C-BE32-E72D297353CC}">
              <c16:uniqueId val="{0000000D-75AB-4967-9B82-F786F7BA6C3C}"/>
            </c:ext>
          </c:extLst>
        </c:ser>
        <c:dLbls>
          <c:showLegendKey val="0"/>
          <c:showVal val="0"/>
          <c:showCatName val="0"/>
          <c:showSerName val="0"/>
          <c:showPercent val="0"/>
          <c:showBubbleSize val="0"/>
        </c:dLbls>
        <c:gapWidth val="15"/>
        <c:overlap val="100"/>
        <c:axId val="1034497343"/>
        <c:axId val="1"/>
      </c:barChart>
      <c:catAx>
        <c:axId val="10344973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034497343"/>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07423580786028E-2"/>
          <c:y val="2.6625704045058884E-2"/>
          <c:w val="0.95458515283842793"/>
          <c:h val="0.94674859190988225"/>
        </c:manualLayout>
      </c:layout>
      <c:barChart>
        <c:barDir val="col"/>
        <c:grouping val="stacked"/>
        <c:varyColors val="0"/>
        <c:ser>
          <c:idx val="0"/>
          <c:order val="0"/>
          <c:spPr>
            <a:solidFill>
              <a:schemeClr val="accent1"/>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84E-4465-9B9B-5595A62565D5}"/>
                </c:ext>
              </c:extLst>
            </c:dLbl>
            <c:dLbl>
              <c:idx val="1"/>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84E-4465-9B9B-5595A62565D5}"/>
                </c:ext>
              </c:extLst>
            </c:dLbl>
            <c:dLbl>
              <c:idx val="2"/>
              <c:layout>
                <c:manualLayout>
                  <c:x val="0"/>
                  <c:y val="-1.536098310291858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84E-4465-9B9B-5595A62565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8.57</c:v>
                </c:pt>
                <c:pt idx="1">
                  <c:v>60.34</c:v>
                </c:pt>
                <c:pt idx="2">
                  <c:v>45.2</c:v>
                </c:pt>
              </c:numCache>
            </c:numRef>
          </c:val>
          <c:extLst>
            <c:ext xmlns:c16="http://schemas.microsoft.com/office/drawing/2014/chart" uri="{C3380CC4-5D6E-409C-BE32-E72D297353CC}">
              <c16:uniqueId val="{00000003-284E-4465-9B9B-5595A62565D5}"/>
            </c:ext>
          </c:extLst>
        </c:ser>
        <c:ser>
          <c:idx val="1"/>
          <c:order val="1"/>
          <c:spPr>
            <a:solidFill>
              <a:srgbClr val="8ECBC9"/>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84E-4465-9B9B-5595A62565D5}"/>
                </c:ext>
              </c:extLst>
            </c:dLbl>
            <c:dLbl>
              <c:idx val="1"/>
              <c:layout>
                <c:manualLayout>
                  <c:x val="0"/>
                  <c:y val="-2.0481310803891449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84E-4465-9B9B-5595A62565D5}"/>
                </c:ext>
              </c:extLst>
            </c:dLbl>
            <c:dLbl>
              <c:idx val="2"/>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84E-4465-9B9B-5595A62565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4.289999999999997</c:v>
                </c:pt>
                <c:pt idx="1">
                  <c:v>11.2</c:v>
                </c:pt>
                <c:pt idx="2">
                  <c:v>16.799999999999997</c:v>
                </c:pt>
              </c:numCache>
            </c:numRef>
          </c:val>
          <c:extLst>
            <c:ext xmlns:c16="http://schemas.microsoft.com/office/drawing/2014/chart" uri="{C3380CC4-5D6E-409C-BE32-E72D297353CC}">
              <c16:uniqueId val="{00000007-284E-4465-9B9B-5595A62565D5}"/>
            </c:ext>
          </c:extLst>
        </c:ser>
        <c:ser>
          <c:idx val="2"/>
          <c:order val="2"/>
          <c:spPr>
            <a:solidFill>
              <a:srgbClr val="D9EEED"/>
            </a:solidFill>
            <a:ln>
              <a:noFill/>
            </a:ln>
          </c:spPr>
          <c:invertIfNegative val="0"/>
          <c:dLbls>
            <c:dLbl>
              <c:idx val="0"/>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84E-4465-9B9B-5595A62565D5}"/>
                </c:ext>
              </c:extLst>
            </c:dLbl>
            <c:dLbl>
              <c:idx val="1"/>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84E-4465-9B9B-5595A62565D5}"/>
                </c:ext>
              </c:extLst>
            </c:dLbl>
            <c:dLbl>
              <c:idx val="2"/>
              <c:layout>
                <c:manualLayout>
                  <c:x val="0"/>
                  <c:y val="-1.5360983102918587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84E-4465-9B9B-5595A62565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57.14</c:v>
                </c:pt>
                <c:pt idx="1">
                  <c:v>27.580000000000005</c:v>
                </c:pt>
                <c:pt idx="2">
                  <c:v>37.9</c:v>
                </c:pt>
              </c:numCache>
            </c:numRef>
          </c:val>
          <c:extLst>
            <c:ext xmlns:c16="http://schemas.microsoft.com/office/drawing/2014/chart" uri="{C3380CC4-5D6E-409C-BE32-E72D297353CC}">
              <c16:uniqueId val="{0000000B-284E-4465-9B9B-5595A62565D5}"/>
            </c:ext>
          </c:extLst>
        </c:ser>
        <c:ser>
          <c:idx val="3"/>
          <c:order val="3"/>
          <c:spPr>
            <a:solidFill>
              <a:schemeClr val="accent2"/>
            </a:solidFill>
            <a:ln>
              <a:noFill/>
            </a:ln>
          </c:spPr>
          <c:invertIfNegative val="0"/>
          <c:val>
            <c:numRef>
              <c:f>Sheet1!$A$4:$C$4</c:f>
              <c:numCache>
                <c:formatCode>General</c:formatCode>
                <c:ptCount val="3"/>
                <c:pt idx="1">
                  <c:v>0.8600000000000052</c:v>
                </c:pt>
              </c:numCache>
            </c:numRef>
          </c:val>
          <c:extLst>
            <c:ext xmlns:c16="http://schemas.microsoft.com/office/drawing/2014/chart" uri="{C3380CC4-5D6E-409C-BE32-E72D297353CC}">
              <c16:uniqueId val="{0000000C-284E-4465-9B9B-5595A62565D5}"/>
            </c:ext>
          </c:extLst>
        </c:ser>
        <c:dLbls>
          <c:showLegendKey val="0"/>
          <c:showVal val="0"/>
          <c:showCatName val="0"/>
          <c:showSerName val="0"/>
          <c:showPercent val="0"/>
          <c:showBubbleSize val="0"/>
        </c:dLbls>
        <c:gapWidth val="15"/>
        <c:overlap val="100"/>
        <c:axId val="1034485279"/>
        <c:axId val="1"/>
      </c:barChart>
      <c:catAx>
        <c:axId val="10344852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034485279"/>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42125792296439E-2"/>
          <c:y val="2.5565388397246803E-2"/>
          <c:w val="0.94100438810336418"/>
          <c:h val="0.94886922320550637"/>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1-350B-4CF7-AA22-7B515FFA7181}"/>
              </c:ext>
            </c:extLst>
          </c:dPt>
          <c:dPt>
            <c:idx val="1"/>
            <c:bubble3D val="0"/>
            <c:spPr>
              <a:solidFill>
                <a:schemeClr val="bg2">
                  <a:lumMod val="60000"/>
                  <a:lumOff val="40000"/>
                </a:schemeClr>
              </a:solidFill>
              <a:ln>
                <a:noFill/>
              </a:ln>
            </c:spPr>
            <c:extLst>
              <c:ext xmlns:c16="http://schemas.microsoft.com/office/drawing/2014/chart" uri="{C3380CC4-5D6E-409C-BE32-E72D297353CC}">
                <c16:uniqueId val="{00000003-350B-4CF7-AA22-7B515FFA7181}"/>
              </c:ext>
            </c:extLst>
          </c:dPt>
          <c:dPt>
            <c:idx val="2"/>
            <c:bubble3D val="0"/>
            <c:spPr>
              <a:solidFill>
                <a:schemeClr val="bg2">
                  <a:lumMod val="20000"/>
                  <a:lumOff val="80000"/>
                </a:schemeClr>
              </a:solidFill>
              <a:ln>
                <a:noFill/>
              </a:ln>
            </c:spPr>
            <c:extLst>
              <c:ext xmlns:c16="http://schemas.microsoft.com/office/drawing/2014/chart" uri="{C3380CC4-5D6E-409C-BE32-E72D297353CC}">
                <c16:uniqueId val="{00000005-350B-4CF7-AA22-7B515FFA7181}"/>
              </c:ext>
            </c:extLst>
          </c:dPt>
          <c:dLbls>
            <c:dLbl>
              <c:idx val="0"/>
              <c:layout>
                <c:manualLayout>
                  <c:x val="1.6186015822690905E-3"/>
                  <c:y val="-4.1655578866237185E-2"/>
                </c:manualLayout>
              </c:layout>
              <c:tx>
                <c:rich>
                  <a:bodyPr/>
                  <a:lstStyle/>
                  <a:p>
                    <a:pPr>
                      <a:defRPr sz="1400">
                        <a:solidFill>
                          <a:schemeClr val="tx2"/>
                        </a:solidFill>
                        <a:latin typeface="+mn-lt"/>
                      </a:defRPr>
                    </a:pPr>
                    <a:fld id="{230B0B69-02A6-47A8-AC85-C33F07CAE828}" type="VALUE">
                      <a:rPr lang="en-US" sz="1400">
                        <a:solidFill>
                          <a:schemeClr val="tx2"/>
                        </a:solidFill>
                        <a:latin typeface="+mn-lt"/>
                      </a:rPr>
                      <a:pPr>
                        <a:defRPr sz="1400">
                          <a:solidFill>
                            <a:schemeClr val="tx2"/>
                          </a:solidFill>
                          <a:latin typeface="+mn-lt"/>
                        </a:defRPr>
                      </a:pPr>
                      <a:t>[VALUE]</a:t>
                    </a:fld>
                    <a:endParaRPr lang="en-US"/>
                  </a:p>
                </c:rich>
              </c:tx>
              <c:numFmt formatCode="#,##0&quot;%&quot;;&quot;-&quot;#,##0&quot;%&quot;"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350B-4CF7-AA22-7B515FFA7181}"/>
                </c:ext>
              </c:extLst>
            </c:dLbl>
            <c:dLbl>
              <c:idx val="1"/>
              <c:layout>
                <c:manualLayout>
                  <c:x val="-4.9565896245967717E-2"/>
                  <c:y val="1.7610915378903779E-3"/>
                </c:manualLayout>
              </c:layout>
              <c:numFmt formatCode="#,##0&quot;%&quot;;&quot;-&quot;#,##0&quot;%&quot;" sourceLinked="0"/>
              <c:spPr>
                <a:noFill/>
                <a:ln>
                  <a:noFill/>
                </a:ln>
              </c:spPr>
              <c:txPr>
                <a:bodyPr/>
                <a:lstStyle/>
                <a:p>
                  <a:pPr>
                    <a:defRPr sz="1400">
                      <a:solidFill>
                        <a:schemeClr val="tx2"/>
                      </a:solidFill>
                      <a:latin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50B-4CF7-AA22-7B515FFA7181}"/>
                </c:ext>
              </c:extLst>
            </c:dLbl>
            <c:dLbl>
              <c:idx val="2"/>
              <c:layout>
                <c:manualLayout>
                  <c:x val="-2.2915672741725551E-2"/>
                  <c:y val="-7.8421562325066071E-2"/>
                </c:manualLayout>
              </c:layout>
              <c:numFmt formatCode="#,##0&quot;%&quot;;&quot;-&quot;#,##0&quot;%&quot;" sourceLinked="0"/>
              <c:spPr>
                <a:noFill/>
                <a:ln>
                  <a:noFill/>
                </a:ln>
              </c:spPr>
              <c:txPr>
                <a:bodyPr/>
                <a:lstStyle/>
                <a:p>
                  <a:pPr>
                    <a:defRPr sz="1400">
                      <a:solidFill>
                        <a:schemeClr val="tx2"/>
                      </a:solidFill>
                      <a:latin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50B-4CF7-AA22-7B515FFA7181}"/>
                </c:ext>
              </c:extLst>
            </c:dLbl>
            <c:spPr>
              <a:noFill/>
              <a:ln>
                <a:noFill/>
              </a:ln>
              <a:effectLst/>
            </c:spPr>
            <c:txPr>
              <a:bodyPr wrap="square" lIns="38100" tIns="19050" rIns="38100" bIns="19050" anchor="ctr">
                <a:spAutoFit/>
              </a:bodyPr>
              <a:lstStyle/>
              <a:p>
                <a:pPr>
                  <a:defRPr sz="1400">
                    <a:solidFill>
                      <a:schemeClr val="tx2"/>
                    </a:solidFill>
                    <a:latin typeface="+mn-lt"/>
                  </a:defRPr>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7.915057915057908</c:v>
                </c:pt>
                <c:pt idx="1">
                  <c:v>35.135135135135137</c:v>
                </c:pt>
                <c:pt idx="2">
                  <c:v>6.9498069498069501</c:v>
                </c:pt>
              </c:numCache>
            </c:numRef>
          </c:val>
          <c:extLst>
            <c:ext xmlns:c16="http://schemas.microsoft.com/office/drawing/2014/chart" uri="{C3380CC4-5D6E-409C-BE32-E72D297353CC}">
              <c16:uniqueId val="{00000006-350B-4CF7-AA22-7B515FFA7181}"/>
            </c:ext>
          </c:extLst>
        </c:ser>
        <c:dLbls>
          <c:showLegendKey val="0"/>
          <c:showVal val="0"/>
          <c:showCatName val="0"/>
          <c:showSerName val="0"/>
          <c:showPercent val="0"/>
          <c:showBubbleSize val="0"/>
          <c:showLeaderLines val="1"/>
        </c:dLbls>
        <c:firstSliceAng val="0"/>
        <c:holeSize val="36"/>
      </c:doughnutChart>
    </c:plotArea>
    <c:plotVisOnly val="0"/>
    <c:dispBlanksAs val="gap"/>
    <c:showDLblsOverMax val="1"/>
  </c:chart>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73701762744165E-2"/>
          <c:y val="5.2973635385053584E-2"/>
          <c:w val="0.93901858942674776"/>
          <c:h val="0.9276089427573273"/>
        </c:manualLayout>
      </c:layout>
      <c:barChart>
        <c:barDir val="bar"/>
        <c:grouping val="stacked"/>
        <c:varyColors val="0"/>
        <c:ser>
          <c:idx val="0"/>
          <c:order val="0"/>
          <c:spPr>
            <a:solidFill>
              <a:schemeClr val="accent1"/>
            </a:solidFill>
            <a:ln>
              <a:noFill/>
            </a:ln>
          </c:spPr>
          <c:invertIfNegative val="0"/>
          <c:dLbls>
            <c:dLbl>
              <c:idx val="0"/>
              <c:layout>
                <c:manualLayout>
                  <c:x val="-4.764173415912339E-4"/>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6F-463E-A514-6B314B94A7AF}"/>
                </c:ext>
              </c:extLst>
            </c:dLbl>
            <c:dLbl>
              <c:idx val="1"/>
              <c:layout>
                <c:manualLayout>
                  <c:x val="0"/>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6F-463E-A514-6B314B94A7AF}"/>
                </c:ext>
              </c:extLst>
            </c:dLbl>
            <c:dLbl>
              <c:idx val="2"/>
              <c:layout>
                <c:manualLayout>
                  <c:x val="-4.764173415912339E-4"/>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46F-463E-A514-6B314B94A7AF}"/>
                </c:ext>
              </c:extLst>
            </c:dLbl>
            <c:dLbl>
              <c:idx val="3"/>
              <c:layout>
                <c:manualLayout>
                  <c:x val="0"/>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6F-463E-A514-6B314B94A7AF}"/>
                </c:ext>
              </c:extLst>
            </c:dLbl>
            <c:dLbl>
              <c:idx val="4"/>
              <c:layout>
                <c:manualLayout>
                  <c:x val="0"/>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6F-463E-A514-6B314B94A7AF}"/>
                </c:ext>
              </c:extLst>
            </c:dLbl>
            <c:spPr>
              <a:noFill/>
              <a:ln>
                <a:noFill/>
              </a:ln>
              <a:effectLst/>
            </c:spPr>
            <c:txPr>
              <a:bodyPr wrap="square" lIns="38100" tIns="19050" rIns="38100" bIns="19050" anchor="ctr">
                <a:spAutoFit/>
              </a:bodyPr>
              <a:lstStyle/>
              <a:p>
                <a:pPr>
                  <a:defRPr>
                    <a:solidFill>
                      <a:schemeClr val="tx2"/>
                    </a:solidFill>
                    <a:latin typeface="+mn-lt"/>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7.894736842105267</c:v>
                </c:pt>
                <c:pt idx="1">
                  <c:v>58.333333333333336</c:v>
                </c:pt>
                <c:pt idx="2">
                  <c:v>56.000000000000007</c:v>
                </c:pt>
                <c:pt idx="3">
                  <c:v>55.73770491803279</c:v>
                </c:pt>
                <c:pt idx="4">
                  <c:v>68</c:v>
                </c:pt>
              </c:numCache>
            </c:numRef>
          </c:val>
          <c:extLst>
            <c:ext xmlns:c16="http://schemas.microsoft.com/office/drawing/2014/chart" uri="{C3380CC4-5D6E-409C-BE32-E72D297353CC}">
              <c16:uniqueId val="{00000005-346F-463E-A514-6B314B94A7AF}"/>
            </c:ext>
          </c:extLst>
        </c:ser>
        <c:ser>
          <c:idx val="1"/>
          <c:order val="1"/>
          <c:spPr>
            <a:solidFill>
              <a:schemeClr val="bg2">
                <a:lumMod val="60000"/>
                <a:lumOff val="40000"/>
              </a:schemeClr>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46F-463E-A514-6B314B94A7AF}"/>
                </c:ext>
              </c:extLst>
            </c:dLbl>
            <c:dLbl>
              <c:idx val="1"/>
              <c:layout>
                <c:manualLayout>
                  <c:x val="0"/>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46F-463E-A514-6B314B94A7AF}"/>
                </c:ext>
              </c:extLst>
            </c:dLbl>
            <c:dLbl>
              <c:idx val="2"/>
              <c:layout>
                <c:manualLayout>
                  <c:x val="0"/>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46F-463E-A514-6B314B94A7AF}"/>
                </c:ext>
              </c:extLst>
            </c:dLbl>
            <c:dLbl>
              <c:idx val="3"/>
              <c:layout>
                <c:manualLayout>
                  <c:x val="0"/>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46F-463E-A514-6B314B94A7AF}"/>
                </c:ext>
              </c:extLst>
            </c:dLbl>
            <c:dLbl>
              <c:idx val="4"/>
              <c:layout>
                <c:manualLayout>
                  <c:x val="0"/>
                  <c:y val="0"/>
                </c:manualLayout>
              </c:layout>
              <c:numFmt formatCode="#,##0&quot;%&quot;;&quot;-&quot;#,##0&quot;%&quot;" sourceLinked="0"/>
              <c:spPr>
                <a:noFill/>
                <a:ln>
                  <a:noFill/>
                </a:ln>
              </c:spPr>
              <c:txPr>
                <a:bodyPr wrap="none"/>
                <a:lstStyle/>
                <a:p>
                  <a:pPr>
                    <a:defRPr sz="1400">
                      <a:solidFill>
                        <a:schemeClr val="tx2"/>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46F-463E-A514-6B314B94A7AF}"/>
                </c:ext>
              </c:extLst>
            </c:dLbl>
            <c:spPr>
              <a:noFill/>
              <a:ln>
                <a:noFill/>
              </a:ln>
              <a:effectLst/>
            </c:spPr>
            <c:txPr>
              <a:bodyPr wrap="square" lIns="38100" tIns="19050" rIns="38100" bIns="19050" anchor="ctr">
                <a:spAutoFit/>
              </a:bodyPr>
              <a:lstStyle/>
              <a:p>
                <a:pPr>
                  <a:defRPr>
                    <a:solidFill>
                      <a:schemeClr val="tx2"/>
                    </a:solidFill>
                    <a:latin typeface="+mn-lt"/>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2.105263157894733</c:v>
                </c:pt>
                <c:pt idx="1">
                  <c:v>26.666666666666671</c:v>
                </c:pt>
                <c:pt idx="2">
                  <c:v>38.666666666666671</c:v>
                </c:pt>
                <c:pt idx="3">
                  <c:v>39.344262295081968</c:v>
                </c:pt>
                <c:pt idx="4">
                  <c:v>24</c:v>
                </c:pt>
              </c:numCache>
            </c:numRef>
          </c:val>
          <c:extLst>
            <c:ext xmlns:c16="http://schemas.microsoft.com/office/drawing/2014/chart" uri="{C3380CC4-5D6E-409C-BE32-E72D297353CC}">
              <c16:uniqueId val="{0000000B-346F-463E-A514-6B314B94A7AF}"/>
            </c:ext>
          </c:extLst>
        </c:ser>
        <c:ser>
          <c:idx val="2"/>
          <c:order val="2"/>
          <c:spPr>
            <a:solidFill>
              <a:schemeClr val="bg2">
                <a:lumMod val="20000"/>
                <a:lumOff val="80000"/>
              </a:schemeClr>
            </a:solidFill>
            <a:ln>
              <a:noFill/>
            </a:ln>
          </c:spPr>
          <c:invertIfNegative val="0"/>
          <c:dLbls>
            <c:dLbl>
              <c:idx val="1"/>
              <c:layout>
                <c:manualLayout>
                  <c:x val="0"/>
                  <c:y val="0"/>
                </c:manualLayout>
              </c:layout>
              <c:numFmt formatCode="#,##0&quot;%&quot;;&quot;-&quot;#,##0&quot;%&quot;" sourceLinked="0"/>
              <c:spPr>
                <a:noFill/>
                <a:ln>
                  <a:noFill/>
                </a:ln>
              </c:spPr>
              <c:txPr>
                <a:bodyPr wrap="none"/>
                <a:lstStyle/>
                <a:p>
                  <a:pPr>
                    <a:defRPr sz="14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46F-463E-A514-6B314B94A7AF}"/>
                </c:ext>
              </c:extLst>
            </c:dLbl>
            <c:spPr>
              <a:noFill/>
              <a:ln>
                <a:noFill/>
              </a:ln>
              <a:effectLst/>
            </c:spPr>
            <c:txPr>
              <a:bodyPr wrap="square" lIns="38100" tIns="19050" rIns="38100" bIns="19050" anchor="ctr">
                <a:spAutoFit/>
              </a:bodyPr>
              <a:lstStyle/>
              <a:p>
                <a:pPr>
                  <a:defRPr>
                    <a:solidFill>
                      <a:schemeClr val="tx2"/>
                    </a:solidFill>
                    <a:latin typeface="+mn-lt"/>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1">
                  <c:v>14.999999999999991</c:v>
                </c:pt>
                <c:pt idx="2">
                  <c:v>5.3333333333333233</c:v>
                </c:pt>
                <c:pt idx="3">
                  <c:v>4.9180327868852398</c:v>
                </c:pt>
                <c:pt idx="4">
                  <c:v>7.9999999999999964</c:v>
                </c:pt>
              </c:numCache>
            </c:numRef>
          </c:val>
          <c:extLst>
            <c:ext xmlns:c16="http://schemas.microsoft.com/office/drawing/2014/chart" uri="{C3380CC4-5D6E-409C-BE32-E72D297353CC}">
              <c16:uniqueId val="{0000000D-346F-463E-A514-6B314B94A7AF}"/>
            </c:ext>
          </c:extLst>
        </c:ser>
        <c:dLbls>
          <c:showLegendKey val="0"/>
          <c:showVal val="0"/>
          <c:showCatName val="0"/>
          <c:showSerName val="0"/>
          <c:showPercent val="0"/>
          <c:showBubbleSize val="0"/>
        </c:dLbls>
        <c:gapWidth val="80"/>
        <c:overlap val="100"/>
        <c:axId val="1213747312"/>
        <c:axId val="1"/>
      </c:barChart>
      <c:catAx>
        <c:axId val="121374731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213747312"/>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3943287549845E-2"/>
          <c:y val="2.9528676888131742E-2"/>
          <c:w val="0.95392113424900316"/>
          <c:h val="0.94094264622373647"/>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tx2"/>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53-4491-AB20-4FBC6F1DC38A}"/>
                </c:ext>
              </c:extLst>
            </c:dLbl>
            <c:dLbl>
              <c:idx val="1"/>
              <c:layout>
                <c:manualLayout>
                  <c:x val="0"/>
                  <c:y val="0"/>
                </c:manualLayout>
              </c:layout>
              <c:numFmt formatCode="#,##0&quot;%&quot;;&quot;-&quot;#,##0&quot;%&quot;" sourceLinked="0"/>
              <c:spPr>
                <a:noFill/>
                <a:ln>
                  <a:noFill/>
                </a:ln>
              </c:spPr>
              <c:txPr>
                <a:bodyPr wrap="none"/>
                <a:lstStyle/>
                <a:p>
                  <a:pPr>
                    <a:defRPr sz="1400">
                      <a:solidFill>
                        <a:schemeClr val="tx2"/>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53-4491-AB20-4FBC6F1DC38A}"/>
                </c:ext>
              </c:extLst>
            </c:dLbl>
            <c:dLbl>
              <c:idx val="2"/>
              <c:layout>
                <c:manualLayout>
                  <c:x val="0"/>
                  <c:y val="-5.6785917092561046E-4"/>
                </c:manualLayout>
              </c:layout>
              <c:numFmt formatCode="#,##0&quot;%&quot;;&quot;-&quot;#,##0&quot;%&quot;" sourceLinked="0"/>
              <c:spPr>
                <a:noFill/>
                <a:ln>
                  <a:noFill/>
                </a:ln>
              </c:spPr>
              <c:txPr>
                <a:bodyPr wrap="none"/>
                <a:lstStyle/>
                <a:p>
                  <a:pPr>
                    <a:defRPr sz="1400">
                      <a:solidFill>
                        <a:schemeClr val="tx2"/>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53-4491-AB20-4FBC6F1DC38A}"/>
                </c:ext>
              </c:extLst>
            </c:dLbl>
            <c:spPr>
              <a:noFill/>
              <a:ln>
                <a:noFill/>
              </a:ln>
              <a:effectLst/>
            </c:spPr>
            <c:txPr>
              <a:bodyPr wrap="square" lIns="38100" tIns="19050" rIns="38100" bIns="19050" anchor="ctr">
                <a:spAutoFit/>
              </a:bodyPr>
              <a:lstStyle/>
              <a:p>
                <a:pPr>
                  <a:defRPr>
                    <a:solidFill>
                      <a:schemeClr val="tx2"/>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7.915057915057922</c:v>
                </c:pt>
                <c:pt idx="1">
                  <c:v>64</c:v>
                </c:pt>
                <c:pt idx="2">
                  <c:v>55.434782608695656</c:v>
                </c:pt>
              </c:numCache>
            </c:numRef>
          </c:val>
          <c:extLst>
            <c:ext xmlns:c16="http://schemas.microsoft.com/office/drawing/2014/chart" uri="{C3380CC4-5D6E-409C-BE32-E72D297353CC}">
              <c16:uniqueId val="{00000003-8453-4491-AB20-4FBC6F1DC38A}"/>
            </c:ext>
          </c:extLst>
        </c:ser>
        <c:ser>
          <c:idx val="1"/>
          <c:order val="1"/>
          <c:spPr>
            <a:solidFill>
              <a:srgbClr val="8ECBC9"/>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tx2"/>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53-4491-AB20-4FBC6F1DC38A}"/>
                </c:ext>
              </c:extLst>
            </c:dLbl>
            <c:dLbl>
              <c:idx val="1"/>
              <c:layout>
                <c:manualLayout>
                  <c:x val="0"/>
                  <c:y val="0"/>
                </c:manualLayout>
              </c:layout>
              <c:numFmt formatCode="#,##0&quot;%&quot;;&quot;-&quot;#,##0&quot;%&quot;" sourceLinked="0"/>
              <c:spPr>
                <a:noFill/>
                <a:ln>
                  <a:noFill/>
                </a:ln>
              </c:spPr>
              <c:txPr>
                <a:bodyPr wrap="none"/>
                <a:lstStyle/>
                <a:p>
                  <a:pPr>
                    <a:defRPr sz="1400">
                      <a:solidFill>
                        <a:schemeClr val="tx2"/>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53-4491-AB20-4FBC6F1DC38A}"/>
                </c:ext>
              </c:extLst>
            </c:dLbl>
            <c:dLbl>
              <c:idx val="2"/>
              <c:layout>
                <c:manualLayout>
                  <c:x val="0"/>
                  <c:y val="-5.6785917092561046E-4"/>
                </c:manualLayout>
              </c:layout>
              <c:numFmt formatCode="#,##0&quot;%&quot;;&quot;-&quot;#,##0&quot;%&quot;" sourceLinked="0"/>
              <c:spPr>
                <a:noFill/>
                <a:ln>
                  <a:noFill/>
                </a:ln>
              </c:spPr>
              <c:txPr>
                <a:bodyPr wrap="none"/>
                <a:lstStyle/>
                <a:p>
                  <a:pPr>
                    <a:defRPr sz="1400">
                      <a:solidFill>
                        <a:schemeClr val="tx2"/>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453-4491-AB20-4FBC6F1DC38A}"/>
                </c:ext>
              </c:extLst>
            </c:dLbl>
            <c:spPr>
              <a:noFill/>
              <a:ln>
                <a:noFill/>
              </a:ln>
              <a:effectLst/>
            </c:spPr>
            <c:txPr>
              <a:bodyPr wrap="square" lIns="38100" tIns="19050" rIns="38100" bIns="19050" anchor="ctr">
                <a:spAutoFit/>
              </a:bodyPr>
              <a:lstStyle/>
              <a:p>
                <a:pPr>
                  <a:defRPr>
                    <a:solidFill>
                      <a:schemeClr val="tx2"/>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5.135135135135144</c:v>
                </c:pt>
                <c:pt idx="1">
                  <c:v>24</c:v>
                </c:pt>
                <c:pt idx="2">
                  <c:v>39.673913043478258</c:v>
                </c:pt>
              </c:numCache>
            </c:numRef>
          </c:val>
          <c:extLst>
            <c:ext xmlns:c16="http://schemas.microsoft.com/office/drawing/2014/chart" uri="{C3380CC4-5D6E-409C-BE32-E72D297353CC}">
              <c16:uniqueId val="{00000007-8453-4491-AB20-4FBC6F1DC38A}"/>
            </c:ext>
          </c:extLst>
        </c:ser>
        <c:ser>
          <c:idx val="2"/>
          <c:order val="2"/>
          <c:spPr>
            <a:solidFill>
              <a:srgbClr val="D9EEED"/>
            </a:solidFill>
            <a:ln>
              <a:noFill/>
            </a:ln>
          </c:spPr>
          <c:invertIfNegative val="0"/>
          <c:dLbls>
            <c:dLbl>
              <c:idx val="0"/>
              <c:layout>
                <c:manualLayout>
                  <c:x val="0"/>
                  <c:y val="-5.6785917092561046E-4"/>
                </c:manualLayout>
              </c:layout>
              <c:numFmt formatCode="#,##0&quot;%&quot;;&quot;-&quot;#,##0&quot;%&quot;" sourceLinked="0"/>
              <c:spPr>
                <a:noFill/>
                <a:ln>
                  <a:noFill/>
                </a:ln>
              </c:spPr>
              <c:txPr>
                <a:bodyPr wrap="none"/>
                <a:lstStyle/>
                <a:p>
                  <a:pPr>
                    <a:defRPr sz="1400">
                      <a:solidFill>
                        <a:schemeClr val="tx2"/>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453-4491-AB20-4FBC6F1DC38A}"/>
                </c:ext>
              </c:extLst>
            </c:dLbl>
            <c:dLbl>
              <c:idx val="1"/>
              <c:layout>
                <c:manualLayout>
                  <c:x val="0"/>
                  <c:y val="0"/>
                </c:manualLayout>
              </c:layout>
              <c:numFmt formatCode="#,##0&quot;%&quot;;&quot;-&quot;#,##0&quot;%&quot;" sourceLinked="0"/>
              <c:spPr>
                <a:noFill/>
                <a:ln>
                  <a:noFill/>
                </a:ln>
              </c:spPr>
              <c:txPr>
                <a:bodyPr wrap="none"/>
                <a:lstStyle/>
                <a:p>
                  <a:pPr>
                    <a:defRPr sz="1400">
                      <a:solidFill>
                        <a:schemeClr val="tx2"/>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453-4491-AB20-4FBC6F1DC38A}"/>
                </c:ext>
              </c:extLst>
            </c:dLbl>
            <c:spPr>
              <a:noFill/>
              <a:ln>
                <a:noFill/>
              </a:ln>
              <a:effectLst/>
            </c:spPr>
            <c:txPr>
              <a:bodyPr wrap="square" lIns="38100" tIns="19050" rIns="38100" bIns="19050" anchor="ctr">
                <a:spAutoFit/>
              </a:bodyPr>
              <a:lstStyle/>
              <a:p>
                <a:pPr>
                  <a:defRPr>
                    <a:solidFill>
                      <a:schemeClr val="tx2"/>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6.9498069498069581</c:v>
                </c:pt>
                <c:pt idx="1">
                  <c:v>12</c:v>
                </c:pt>
                <c:pt idx="2">
                  <c:v>4.891304347826086</c:v>
                </c:pt>
              </c:numCache>
            </c:numRef>
          </c:val>
          <c:extLst>
            <c:ext xmlns:c16="http://schemas.microsoft.com/office/drawing/2014/chart" uri="{C3380CC4-5D6E-409C-BE32-E72D297353CC}">
              <c16:uniqueId val="{0000000A-8453-4491-AB20-4FBC6F1DC38A}"/>
            </c:ext>
          </c:extLst>
        </c:ser>
        <c:dLbls>
          <c:showLegendKey val="0"/>
          <c:showVal val="0"/>
          <c:showCatName val="0"/>
          <c:showSerName val="0"/>
          <c:showPercent val="0"/>
          <c:showBubbleSize val="0"/>
        </c:dLbls>
        <c:gapWidth val="80"/>
        <c:overlap val="100"/>
        <c:axId val="270245887"/>
        <c:axId val="1"/>
      </c:barChart>
      <c:catAx>
        <c:axId val="2702458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270245887"/>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969359331476322E-2"/>
          <c:y val="2.8969359331476322E-2"/>
          <c:w val="0.94206128133704736"/>
          <c:h val="0.94206128133704736"/>
        </c:manualLayout>
      </c:layout>
      <c:pieChart>
        <c:varyColors val="0"/>
        <c:ser>
          <c:idx val="0"/>
          <c:order val="0"/>
          <c:dPt>
            <c:idx val="0"/>
            <c:bubble3D val="0"/>
            <c:spPr>
              <a:solidFill>
                <a:srgbClr val="387876"/>
              </a:solidFill>
              <a:ln>
                <a:noFill/>
              </a:ln>
            </c:spPr>
            <c:extLst>
              <c:ext xmlns:c16="http://schemas.microsoft.com/office/drawing/2014/chart" uri="{C3380CC4-5D6E-409C-BE32-E72D297353CC}">
                <c16:uniqueId val="{00000000-8EB8-4868-9CDA-52415DDBCD1E}"/>
              </c:ext>
            </c:extLst>
          </c:dPt>
          <c:dPt>
            <c:idx val="1"/>
            <c:bubble3D val="0"/>
            <c:spPr>
              <a:solidFill>
                <a:schemeClr val="accent1"/>
              </a:solidFill>
              <a:ln>
                <a:noFill/>
              </a:ln>
            </c:spPr>
            <c:extLst>
              <c:ext xmlns:c16="http://schemas.microsoft.com/office/drawing/2014/chart" uri="{C3380CC4-5D6E-409C-BE32-E72D297353CC}">
                <c16:uniqueId val="{00000001-8EB8-4868-9CDA-52415DDBCD1E}"/>
              </c:ext>
            </c:extLst>
          </c:dPt>
          <c:dPt>
            <c:idx val="2"/>
            <c:bubble3D val="0"/>
            <c:spPr>
              <a:solidFill>
                <a:srgbClr val="8ECBC9"/>
              </a:solidFill>
              <a:ln>
                <a:noFill/>
              </a:ln>
            </c:spPr>
            <c:extLst>
              <c:ext xmlns:c16="http://schemas.microsoft.com/office/drawing/2014/chart" uri="{C3380CC4-5D6E-409C-BE32-E72D297353CC}">
                <c16:uniqueId val="{00000002-8EB8-4868-9CDA-52415DDBCD1E}"/>
              </c:ext>
            </c:extLst>
          </c:dPt>
          <c:dPt>
            <c:idx val="3"/>
            <c:bubble3D val="0"/>
            <c:spPr>
              <a:solidFill>
                <a:srgbClr val="D9EEED"/>
              </a:solidFill>
              <a:ln>
                <a:noFill/>
              </a:ln>
            </c:spPr>
            <c:extLst>
              <c:ext xmlns:c16="http://schemas.microsoft.com/office/drawing/2014/chart" uri="{C3380CC4-5D6E-409C-BE32-E72D297353CC}">
                <c16:uniqueId val="{00000003-8EB8-4868-9CDA-52415DDBCD1E}"/>
              </c:ext>
            </c:extLst>
          </c:dPt>
          <c:dLbls>
            <c:dLbl>
              <c:idx val="0"/>
              <c:layout>
                <c:manualLayout>
                  <c:x val="0.14651810584958216"/>
                  <c:y val="-8.0222841225626743E-2"/>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EB8-4868-9CDA-52415DDBCD1E}"/>
                </c:ext>
              </c:extLst>
            </c:dLbl>
            <c:dLbl>
              <c:idx val="1"/>
              <c:layout>
                <c:manualLayout>
                  <c:x val="4.0111420612813371E-2"/>
                  <c:y val="0.17660167130919219"/>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EB8-4868-9CDA-52415DDBCD1E}"/>
                </c:ext>
              </c:extLst>
            </c:dLbl>
            <c:dLbl>
              <c:idx val="2"/>
              <c:layout>
                <c:manualLayout>
                  <c:x val="-0.16768802228412255"/>
                  <c:y val="-3.6211699164345405E-2"/>
                </c:manualLayout>
              </c:layout>
              <c:numFmt formatCode="#,##0&quot;%&quot;;&quot;-&quot;#,##0&quot;%&quot;" sourceLinked="0"/>
              <c:spPr>
                <a:noFill/>
                <a:ln>
                  <a:noFill/>
                </a:ln>
              </c:spPr>
              <c:txPr>
                <a:bodyPr wrap="none"/>
                <a:lstStyle/>
                <a:p>
                  <a:pPr>
                    <a:defRPr sz="1400">
                      <a:solidFill>
                        <a:schemeClr val="tx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EB8-4868-9CDA-52415DDBCD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34</c:v>
                </c:pt>
                <c:pt idx="1">
                  <c:v>24.77</c:v>
                </c:pt>
                <c:pt idx="2">
                  <c:v>39</c:v>
                </c:pt>
                <c:pt idx="3">
                  <c:v>2.06</c:v>
                </c:pt>
              </c:numCache>
            </c:numRef>
          </c:val>
          <c:extLst>
            <c:ext xmlns:c16="http://schemas.microsoft.com/office/drawing/2014/chart" uri="{C3380CC4-5D6E-409C-BE32-E72D297353CC}">
              <c16:uniqueId val="{00000004-8EB8-4868-9CDA-52415DDBCD1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12756264236904E-2"/>
          <c:y val="2.6612077789150462E-2"/>
          <c:w val="0.94077448747152614"/>
          <c:h val="0.94677584442169904"/>
        </c:manualLayout>
      </c:layout>
      <c:barChart>
        <c:barDir val="col"/>
        <c:grouping val="stacked"/>
        <c:varyColors val="0"/>
        <c:ser>
          <c:idx val="0"/>
          <c:order val="0"/>
          <c:spPr>
            <a:solidFill>
              <a:srgbClr val="38787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A2B-4121-9301-EC3BDCFAC43D}"/>
                </c:ext>
              </c:extLst>
            </c:dLbl>
            <c:dLbl>
              <c:idx val="1"/>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A2B-4121-9301-EC3BDCFAC4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9.849999999999994</c:v>
                </c:pt>
                <c:pt idx="1">
                  <c:v>30.869999999999997</c:v>
                </c:pt>
              </c:numCache>
            </c:numRef>
          </c:val>
          <c:extLst>
            <c:ext xmlns:c16="http://schemas.microsoft.com/office/drawing/2014/chart" uri="{C3380CC4-5D6E-409C-BE32-E72D297353CC}">
              <c16:uniqueId val="{00000002-9A2B-4121-9301-EC3BDCFAC43D}"/>
            </c:ext>
          </c:extLst>
        </c:ser>
        <c:ser>
          <c:idx val="1"/>
          <c:order val="1"/>
          <c:spPr>
            <a:solidFill>
              <a:schemeClr val="accent1"/>
            </a:solidFill>
            <a:ln>
              <a:noFill/>
            </a:ln>
          </c:spPr>
          <c:invertIfNegative val="0"/>
          <c:dLbls>
            <c:dLbl>
              <c:idx val="0"/>
              <c:layout>
                <c:manualLayout>
                  <c:x val="0"/>
                  <c:y val="-5.1177072671443195E-4"/>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A2B-4121-9301-EC3BDCFAC43D}"/>
                </c:ext>
              </c:extLst>
            </c:dLbl>
            <c:dLbl>
              <c:idx val="1"/>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A2B-4121-9301-EC3BDCFAC4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6.669999999999995</c:v>
                </c:pt>
                <c:pt idx="1">
                  <c:v>28.52</c:v>
                </c:pt>
              </c:numCache>
            </c:numRef>
          </c:val>
          <c:extLst>
            <c:ext xmlns:c16="http://schemas.microsoft.com/office/drawing/2014/chart" uri="{C3380CC4-5D6E-409C-BE32-E72D297353CC}">
              <c16:uniqueId val="{00000005-9A2B-4121-9301-EC3BDCFAC43D}"/>
            </c:ext>
          </c:extLst>
        </c:ser>
        <c:ser>
          <c:idx val="2"/>
          <c:order val="2"/>
          <c:spPr>
            <a:solidFill>
              <a:srgbClr val="8ECBC9"/>
            </a:solidFill>
            <a:ln>
              <a:noFill/>
            </a:ln>
          </c:spPr>
          <c:invertIfNegative val="0"/>
          <c:dLbls>
            <c:dLbl>
              <c:idx val="0"/>
              <c:layout>
                <c:manualLayout>
                  <c:x val="0"/>
                  <c:y val="-5.1177072671443195E-4"/>
                </c:manualLayout>
              </c:layout>
              <c:numFmt formatCode="#,##0&quot;%&quot;;&quot;-&quot;#,##0&quot;%&quot;" sourceLinked="0"/>
              <c:spPr>
                <a:noFill/>
                <a:ln>
                  <a:noFill/>
                </a:ln>
              </c:spPr>
              <c:txPr>
                <a:bodyPr wrap="none"/>
                <a:lstStyle/>
                <a:p>
                  <a:pPr>
                    <a:defRPr sz="1400">
                      <a:solidFill>
                        <a:schemeClr val="tx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A2B-4121-9301-EC3BDCFAC43D}"/>
                </c:ext>
              </c:extLst>
            </c:dLbl>
            <c:dLbl>
              <c:idx val="1"/>
              <c:layout>
                <c:manualLayout>
                  <c:x val="0"/>
                  <c:y val="-5.1177072671443195E-4"/>
                </c:manualLayout>
              </c:layout>
              <c:numFmt formatCode="#,##0&quot;%&quot;;&quot;-&quot;#,##0&quot;%&quot;" sourceLinked="0"/>
              <c:spPr>
                <a:noFill/>
                <a:ln>
                  <a:noFill/>
                </a:ln>
              </c:spPr>
              <c:txPr>
                <a:bodyPr wrap="none"/>
                <a:lstStyle/>
                <a:p>
                  <a:pPr>
                    <a:defRPr sz="1400">
                      <a:solidFill>
                        <a:schemeClr val="tx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A2B-4121-9301-EC3BDCFAC4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42.03</c:v>
                </c:pt>
                <c:pt idx="1">
                  <c:v>37.580000000000005</c:v>
                </c:pt>
              </c:numCache>
            </c:numRef>
          </c:val>
          <c:extLst>
            <c:ext xmlns:c16="http://schemas.microsoft.com/office/drawing/2014/chart" uri="{C3380CC4-5D6E-409C-BE32-E72D297353CC}">
              <c16:uniqueId val="{00000008-9A2B-4121-9301-EC3BDCFAC43D}"/>
            </c:ext>
          </c:extLst>
        </c:ser>
        <c:ser>
          <c:idx val="3"/>
          <c:order val="3"/>
          <c:spPr>
            <a:solidFill>
              <a:srgbClr val="D9EEED"/>
            </a:solidFill>
            <a:ln>
              <a:noFill/>
            </a:ln>
          </c:spPr>
          <c:invertIfNegative val="0"/>
          <c:val>
            <c:numRef>
              <c:f>Sheet1!$A$4:$B$4</c:f>
              <c:numCache>
                <c:formatCode>General</c:formatCode>
                <c:ptCount val="2"/>
                <c:pt idx="0">
                  <c:v>1.4499999999999957</c:v>
                </c:pt>
                <c:pt idx="1">
                  <c:v>3.0000000000000027</c:v>
                </c:pt>
              </c:numCache>
            </c:numRef>
          </c:val>
          <c:extLst>
            <c:ext xmlns:c16="http://schemas.microsoft.com/office/drawing/2014/chart" uri="{C3380CC4-5D6E-409C-BE32-E72D297353CC}">
              <c16:uniqueId val="{00000009-9A2B-4121-9301-EC3BDCFAC43D}"/>
            </c:ext>
          </c:extLst>
        </c:ser>
        <c:dLbls>
          <c:showLegendKey val="0"/>
          <c:showVal val="0"/>
          <c:showCatName val="0"/>
          <c:showSerName val="0"/>
          <c:showPercent val="0"/>
          <c:showBubbleSize val="0"/>
        </c:dLbls>
        <c:gapWidth val="50"/>
        <c:overlap val="100"/>
        <c:axId val="75825951"/>
        <c:axId val="1"/>
      </c:barChart>
      <c:catAx>
        <c:axId val="758259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99999999999986"/>
          <c:min val="0"/>
        </c:scaling>
        <c:delete val="1"/>
        <c:axPos val="l"/>
        <c:numFmt formatCode="General" sourceLinked="1"/>
        <c:majorTickMark val="out"/>
        <c:minorTickMark val="none"/>
        <c:tickLblPos val="nextTo"/>
        <c:crossAx val="7582595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60208741030658E-2"/>
          <c:y val="7.6023391812865493E-2"/>
          <c:w val="0.96607958251793868"/>
          <c:h val="0.84795321637426901"/>
        </c:manualLayout>
      </c:layout>
      <c:barChart>
        <c:barDir val="col"/>
        <c:grouping val="clustered"/>
        <c:varyColors val="0"/>
        <c:ser>
          <c:idx val="0"/>
          <c:order val="0"/>
          <c:spPr>
            <a:solidFill>
              <a:schemeClr val="accent4"/>
            </a:solidFill>
            <a:ln w="6350" algn="ctr">
              <a:solidFill>
                <a:schemeClr val="bg1"/>
              </a:solidFill>
              <a:prstDash val="solid"/>
            </a:ln>
          </c:spPr>
          <c:invertIfNegative val="0"/>
          <c:val>
            <c:numRef>
              <c:f>Sheet1!$A$1:$C$1</c:f>
              <c:numCache>
                <c:formatCode>General</c:formatCode>
                <c:ptCount val="3"/>
                <c:pt idx="0">
                  <c:v>62.4</c:v>
                </c:pt>
                <c:pt idx="1">
                  <c:v>6.1</c:v>
                </c:pt>
                <c:pt idx="2">
                  <c:v>74.400000000000006</c:v>
                </c:pt>
              </c:numCache>
            </c:numRef>
          </c:val>
          <c:extLst>
            <c:ext xmlns:c16="http://schemas.microsoft.com/office/drawing/2014/chart" uri="{C3380CC4-5D6E-409C-BE32-E72D297353CC}">
              <c16:uniqueId val="{00000000-E823-4951-9A70-482C40383004}"/>
            </c:ext>
          </c:extLst>
        </c:ser>
        <c:ser>
          <c:idx val="1"/>
          <c:order val="1"/>
          <c:spPr>
            <a:solidFill>
              <a:schemeClr val="tx2"/>
            </a:solidFill>
            <a:ln w="6350" algn="ctr">
              <a:solidFill>
                <a:schemeClr val="bg1"/>
              </a:solidFill>
              <a:prstDash val="solid"/>
            </a:ln>
          </c:spPr>
          <c:invertIfNegative val="0"/>
          <c:val>
            <c:numRef>
              <c:f>Sheet1!$A$2:$C$2</c:f>
              <c:numCache>
                <c:formatCode>General</c:formatCode>
                <c:ptCount val="3"/>
                <c:pt idx="0">
                  <c:v>87.460000000000008</c:v>
                </c:pt>
                <c:pt idx="1">
                  <c:v>6.8000000000000007</c:v>
                </c:pt>
                <c:pt idx="2">
                  <c:v>88.3</c:v>
                </c:pt>
              </c:numCache>
            </c:numRef>
          </c:val>
          <c:extLst>
            <c:ext xmlns:c16="http://schemas.microsoft.com/office/drawing/2014/chart" uri="{C3380CC4-5D6E-409C-BE32-E72D297353CC}">
              <c16:uniqueId val="{00000001-E823-4951-9A70-482C40383004}"/>
            </c:ext>
          </c:extLst>
        </c:ser>
        <c:ser>
          <c:idx val="2"/>
          <c:order val="2"/>
          <c:spPr>
            <a:solidFill>
              <a:schemeClr val="accent3"/>
            </a:solidFill>
            <a:ln w="6350" algn="ctr">
              <a:solidFill>
                <a:schemeClr val="bg1"/>
              </a:solidFill>
              <a:prstDash val="solid"/>
            </a:ln>
          </c:spPr>
          <c:invertIfNegative val="0"/>
          <c:val>
            <c:numRef>
              <c:f>Sheet1!$A$3:$C$3</c:f>
              <c:numCache>
                <c:formatCode>General</c:formatCode>
                <c:ptCount val="3"/>
                <c:pt idx="0">
                  <c:v>93.1</c:v>
                </c:pt>
                <c:pt idx="1">
                  <c:v>27.800000000000004</c:v>
                </c:pt>
                <c:pt idx="2">
                  <c:v>94.8</c:v>
                </c:pt>
              </c:numCache>
            </c:numRef>
          </c:val>
          <c:extLst>
            <c:ext xmlns:c16="http://schemas.microsoft.com/office/drawing/2014/chart" uri="{C3380CC4-5D6E-409C-BE32-E72D297353CC}">
              <c16:uniqueId val="{00000002-E823-4951-9A70-482C40383004}"/>
            </c:ext>
          </c:extLst>
        </c:ser>
        <c:dLbls>
          <c:showLegendKey val="0"/>
          <c:showVal val="0"/>
          <c:showCatName val="0"/>
          <c:showSerName val="0"/>
          <c:showPercent val="0"/>
          <c:showBubbleSize val="0"/>
        </c:dLbls>
        <c:gapWidth val="150"/>
        <c:axId val="836543920"/>
        <c:axId val="1"/>
      </c:barChart>
      <c:catAx>
        <c:axId val="8365439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4.8"/>
          <c:min val="0"/>
        </c:scaling>
        <c:delete val="1"/>
        <c:axPos val="l"/>
        <c:numFmt formatCode="General" sourceLinked="1"/>
        <c:majorTickMark val="out"/>
        <c:minorTickMark val="none"/>
        <c:tickLblPos val="nextTo"/>
        <c:crossAx val="836543920"/>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92768959435626E-2"/>
          <c:y val="2.8904947192884937E-2"/>
          <c:w val="0.95414462081128748"/>
          <c:h val="0.94219010561423011"/>
        </c:manualLayout>
      </c:layout>
      <c:barChart>
        <c:barDir val="col"/>
        <c:grouping val="stacked"/>
        <c:varyColors val="0"/>
        <c:ser>
          <c:idx val="0"/>
          <c:order val="0"/>
          <c:spPr>
            <a:solidFill>
              <a:srgbClr val="38787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E2-4824-B2F6-CE82208B5708}"/>
                </c:ext>
              </c:extLst>
            </c:dLbl>
            <c:dLbl>
              <c:idx val="1"/>
              <c:layout>
                <c:manualLayout>
                  <c:x val="0"/>
                  <c:y val="-5.5586436909394106E-4"/>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E2-4824-B2F6-CE82208B5708}"/>
                </c:ext>
              </c:extLst>
            </c:dLbl>
            <c:dLbl>
              <c:idx val="2"/>
              <c:layout>
                <c:manualLayout>
                  <c:x val="0"/>
                  <c:y val="-5.5586436909394106E-4"/>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E2-4824-B2F6-CE82208B5708}"/>
                </c:ext>
              </c:extLst>
            </c:dLbl>
            <c:dLbl>
              <c:idx val="3"/>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E2-4824-B2F6-CE82208B5708}"/>
                </c:ext>
              </c:extLst>
            </c:dLbl>
            <c:dLbl>
              <c:idx val="4"/>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E2-4824-B2F6-CE82208B57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9.330000000000002</c:v>
                </c:pt>
                <c:pt idx="1">
                  <c:v>28.71</c:v>
                </c:pt>
                <c:pt idx="2">
                  <c:v>29.770000000000003</c:v>
                </c:pt>
                <c:pt idx="3">
                  <c:v>44.330000000000005</c:v>
                </c:pt>
                <c:pt idx="4">
                  <c:v>50</c:v>
                </c:pt>
              </c:numCache>
            </c:numRef>
          </c:val>
          <c:extLst>
            <c:ext xmlns:c16="http://schemas.microsoft.com/office/drawing/2014/chart" uri="{C3380CC4-5D6E-409C-BE32-E72D297353CC}">
              <c16:uniqueId val="{00000005-B2E2-4824-B2F6-CE82208B5708}"/>
            </c:ext>
          </c:extLst>
        </c:ser>
        <c:ser>
          <c:idx val="1"/>
          <c:order val="1"/>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rgbClr val="000000"/>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2E2-4824-B2F6-CE82208B5708}"/>
                </c:ext>
              </c:extLst>
            </c:dLbl>
            <c:dLbl>
              <c:idx val="1"/>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2E2-4824-B2F6-CE82208B5708}"/>
                </c:ext>
              </c:extLst>
            </c:dLbl>
            <c:dLbl>
              <c:idx val="2"/>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E2-4824-B2F6-CE82208B5708}"/>
                </c:ext>
              </c:extLst>
            </c:dLbl>
            <c:dLbl>
              <c:idx val="3"/>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2E2-4824-B2F6-CE82208B5708}"/>
                </c:ext>
              </c:extLst>
            </c:dLbl>
            <c:dLbl>
              <c:idx val="4"/>
              <c:layout>
                <c:manualLayout>
                  <c:x val="0"/>
                  <c:y val="0"/>
                </c:manualLayout>
              </c:layout>
              <c:numFmt formatCode="#,##0&quot;%&quot;;&quot;-&quot;#,##0&quot;%&quot;" sourceLinked="0"/>
              <c:spPr>
                <a:noFill/>
                <a:ln>
                  <a:noFill/>
                </a:ln>
              </c:spPr>
              <c:txPr>
                <a:bodyPr wrap="none"/>
                <a:lstStyle/>
                <a:p>
                  <a:pPr>
                    <a:defRPr sz="1400">
                      <a:solidFill>
                        <a:schemeClr val="bg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2E2-4824-B2F6-CE82208B57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0000000000000018</c:v>
                </c:pt>
                <c:pt idx="1">
                  <c:v>20.79</c:v>
                </c:pt>
                <c:pt idx="2">
                  <c:v>29.770000000000003</c:v>
                </c:pt>
                <c:pt idx="3">
                  <c:v>32.990000000000009</c:v>
                </c:pt>
                <c:pt idx="4">
                  <c:v>31.25</c:v>
                </c:pt>
              </c:numCache>
            </c:numRef>
          </c:val>
          <c:extLst>
            <c:ext xmlns:c16="http://schemas.microsoft.com/office/drawing/2014/chart" uri="{C3380CC4-5D6E-409C-BE32-E72D297353CC}">
              <c16:uniqueId val="{0000000B-B2E2-4824-B2F6-CE82208B5708}"/>
            </c:ext>
          </c:extLst>
        </c:ser>
        <c:ser>
          <c:idx val="2"/>
          <c:order val="2"/>
          <c:spPr>
            <a:solidFill>
              <a:srgbClr val="8ECBC9"/>
            </a:solidFill>
            <a:ln>
              <a:noFill/>
            </a:ln>
          </c:spPr>
          <c:invertIfNegative val="0"/>
          <c:dLbls>
            <c:dLbl>
              <c:idx val="0"/>
              <c:layout>
                <c:manualLayout>
                  <c:x val="0"/>
                  <c:y val="-5.5586436909394106E-4"/>
                </c:manualLayout>
              </c:layout>
              <c:numFmt formatCode="#,##0&quot;%&quot;;&quot;-&quot;#,##0&quot;%&quot;" sourceLinked="0"/>
              <c:spPr>
                <a:noFill/>
                <a:ln>
                  <a:noFill/>
                </a:ln>
              </c:spPr>
              <c:txPr>
                <a:bodyPr wrap="none"/>
                <a:lstStyle/>
                <a:p>
                  <a:pPr>
                    <a:defRPr sz="1400">
                      <a:solidFill>
                        <a:schemeClr val="tx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2E2-4824-B2F6-CE82208B5708}"/>
                </c:ext>
              </c:extLst>
            </c:dLbl>
            <c:dLbl>
              <c:idx val="1"/>
              <c:layout>
                <c:manualLayout>
                  <c:x val="0"/>
                  <c:y val="0"/>
                </c:manualLayout>
              </c:layout>
              <c:numFmt formatCode="#,##0&quot;%&quot;;&quot;-&quot;#,##0&quot;%&quot;" sourceLinked="0"/>
              <c:spPr>
                <a:noFill/>
                <a:ln>
                  <a:noFill/>
                </a:ln>
              </c:spPr>
              <c:txPr>
                <a:bodyPr wrap="none"/>
                <a:lstStyle/>
                <a:p>
                  <a:pPr>
                    <a:defRPr sz="1400">
                      <a:solidFill>
                        <a:schemeClr val="tx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2E2-4824-B2F6-CE82208B5708}"/>
                </c:ext>
              </c:extLst>
            </c:dLbl>
            <c:dLbl>
              <c:idx val="2"/>
              <c:layout>
                <c:manualLayout>
                  <c:x val="0"/>
                  <c:y val="0"/>
                </c:manualLayout>
              </c:layout>
              <c:numFmt formatCode="#,##0&quot;%&quot;;&quot;-&quot;#,##0&quot;%&quot;" sourceLinked="0"/>
              <c:spPr>
                <a:noFill/>
                <a:ln>
                  <a:noFill/>
                </a:ln>
              </c:spPr>
              <c:txPr>
                <a:bodyPr wrap="none"/>
                <a:lstStyle/>
                <a:p>
                  <a:pPr>
                    <a:defRPr sz="1400">
                      <a:solidFill>
                        <a:schemeClr val="tx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2E2-4824-B2F6-CE82208B5708}"/>
                </c:ext>
              </c:extLst>
            </c:dLbl>
            <c:dLbl>
              <c:idx val="3"/>
              <c:layout>
                <c:manualLayout>
                  <c:x val="0"/>
                  <c:y val="0"/>
                </c:manualLayout>
              </c:layout>
              <c:numFmt formatCode="#,##0&quot;%&quot;;&quot;-&quot;#,##0&quot;%&quot;" sourceLinked="0"/>
              <c:spPr>
                <a:noFill/>
                <a:ln>
                  <a:noFill/>
                </a:ln>
              </c:spPr>
              <c:txPr>
                <a:bodyPr wrap="none"/>
                <a:lstStyle/>
                <a:p>
                  <a:pPr>
                    <a:defRPr sz="1400">
                      <a:solidFill>
                        <a:schemeClr val="tx1"/>
                      </a:solidFill>
                      <a:latin typeface="+mj-lt"/>
                      <a:ea typeface="+mj-ea"/>
                      <a:cs typeface="+mj-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2E2-4824-B2F6-CE82208B5708}"/>
                </c:ext>
              </c:extLst>
            </c:dLbl>
            <c:dLbl>
              <c:idx val="4"/>
              <c:layout>
                <c:manualLayout>
                  <c:x val="0"/>
                  <c:y val="0"/>
                </c:manualLayout>
              </c:layout>
              <c:numFmt formatCode="#,##0&quot;%&quot;;&quot;-&quot;#,##0&quot;%&quot;"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2E2-4824-B2F6-CE82208B570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0.000000000000007</c:v>
                </c:pt>
                <c:pt idx="1">
                  <c:v>48.51</c:v>
                </c:pt>
                <c:pt idx="2">
                  <c:v>38.93</c:v>
                </c:pt>
                <c:pt idx="3">
                  <c:v>19.589999999999996</c:v>
                </c:pt>
                <c:pt idx="4">
                  <c:v>18.75</c:v>
                </c:pt>
              </c:numCache>
            </c:numRef>
          </c:val>
          <c:extLst>
            <c:ext xmlns:c16="http://schemas.microsoft.com/office/drawing/2014/chart" uri="{C3380CC4-5D6E-409C-BE32-E72D297353CC}">
              <c16:uniqueId val="{00000011-B2E2-4824-B2F6-CE82208B5708}"/>
            </c:ext>
          </c:extLst>
        </c:ser>
        <c:ser>
          <c:idx val="3"/>
          <c:order val="3"/>
          <c:spPr>
            <a:solidFill>
              <a:srgbClr val="D9EEED"/>
            </a:solidFill>
            <a:ln>
              <a:noFill/>
            </a:ln>
          </c:spPr>
          <c:invertIfNegative val="0"/>
          <c:dPt>
            <c:idx val="4"/>
            <c:invertIfNegative val="0"/>
            <c:bubble3D val="0"/>
            <c:spPr>
              <a:solidFill>
                <a:srgbClr val="387876"/>
              </a:solidFill>
              <a:ln>
                <a:noFill/>
              </a:ln>
            </c:spPr>
            <c:extLst>
              <c:ext xmlns:c16="http://schemas.microsoft.com/office/drawing/2014/chart" uri="{C3380CC4-5D6E-409C-BE32-E72D297353CC}">
                <c16:uniqueId val="{00000012-B2E2-4824-B2F6-CE82208B5708}"/>
              </c:ext>
            </c:extLst>
          </c:dPt>
          <c:val>
            <c:numRef>
              <c:f>Sheet1!$A$4:$E$4</c:f>
              <c:numCache>
                <c:formatCode>General</c:formatCode>
                <c:ptCount val="5"/>
                <c:pt idx="0">
                  <c:v>2.6699999999999946</c:v>
                </c:pt>
                <c:pt idx="1">
                  <c:v>1.980000000000004</c:v>
                </c:pt>
                <c:pt idx="2">
                  <c:v>1.529999999999998</c:v>
                </c:pt>
                <c:pt idx="3">
                  <c:v>3.0899999999999928</c:v>
                </c:pt>
                <c:pt idx="4">
                  <c:v>0</c:v>
                </c:pt>
              </c:numCache>
            </c:numRef>
          </c:val>
          <c:extLst>
            <c:ext xmlns:c16="http://schemas.microsoft.com/office/drawing/2014/chart" uri="{C3380CC4-5D6E-409C-BE32-E72D297353CC}">
              <c16:uniqueId val="{00000013-B2E2-4824-B2F6-CE82208B5708}"/>
            </c:ext>
          </c:extLst>
        </c:ser>
        <c:dLbls>
          <c:showLegendKey val="0"/>
          <c:showVal val="0"/>
          <c:showCatName val="0"/>
          <c:showSerName val="0"/>
          <c:showPercent val="0"/>
          <c:showBubbleSize val="0"/>
        </c:dLbls>
        <c:gapWidth val="40"/>
        <c:overlap val="100"/>
        <c:axId val="1203251743"/>
        <c:axId val="1"/>
      </c:barChart>
      <c:catAx>
        <c:axId val="12032517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20325174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60208741030658E-2"/>
          <c:y val="7.7380952380952384E-2"/>
          <c:w val="0.96607958251793868"/>
          <c:h val="0.84523809523809523"/>
        </c:manualLayout>
      </c:layout>
      <c:barChart>
        <c:barDir val="col"/>
        <c:grouping val="clustered"/>
        <c:varyColors val="0"/>
        <c:ser>
          <c:idx val="0"/>
          <c:order val="0"/>
          <c:spPr>
            <a:solidFill>
              <a:schemeClr val="bg2"/>
            </a:solidFill>
            <a:ln w="6350" algn="ctr">
              <a:solidFill>
                <a:schemeClr val="bg1"/>
              </a:solidFill>
              <a:prstDash val="solid"/>
            </a:ln>
          </c:spPr>
          <c:invertIfNegative val="0"/>
          <c:val>
            <c:numRef>
              <c:f>Sheet1!$A$1:$C$1</c:f>
              <c:numCache>
                <c:formatCode>General</c:formatCode>
                <c:ptCount val="3"/>
                <c:pt idx="0">
                  <c:v>41.8</c:v>
                </c:pt>
                <c:pt idx="1">
                  <c:v>12</c:v>
                </c:pt>
                <c:pt idx="2">
                  <c:v>77.5</c:v>
                </c:pt>
              </c:numCache>
            </c:numRef>
          </c:val>
          <c:extLst>
            <c:ext xmlns:c16="http://schemas.microsoft.com/office/drawing/2014/chart" uri="{C3380CC4-5D6E-409C-BE32-E72D297353CC}">
              <c16:uniqueId val="{00000000-1355-4D73-9168-AEAE78C5E738}"/>
            </c:ext>
          </c:extLst>
        </c:ser>
        <c:ser>
          <c:idx val="1"/>
          <c:order val="1"/>
          <c:spPr>
            <a:solidFill>
              <a:schemeClr val="accent2"/>
            </a:solidFill>
            <a:ln w="6350" algn="ctr">
              <a:solidFill>
                <a:schemeClr val="bg1"/>
              </a:solidFill>
              <a:prstDash val="solid"/>
            </a:ln>
          </c:spPr>
          <c:invertIfNegative val="0"/>
          <c:val>
            <c:numRef>
              <c:f>Sheet1!$A$2:$C$2</c:f>
              <c:numCache>
                <c:formatCode>General</c:formatCode>
                <c:ptCount val="3"/>
                <c:pt idx="0">
                  <c:v>71.599999999999994</c:v>
                </c:pt>
                <c:pt idx="1">
                  <c:v>6.6000000000000005</c:v>
                </c:pt>
                <c:pt idx="2">
                  <c:v>77.5</c:v>
                </c:pt>
              </c:numCache>
            </c:numRef>
          </c:val>
          <c:extLst>
            <c:ext xmlns:c16="http://schemas.microsoft.com/office/drawing/2014/chart" uri="{C3380CC4-5D6E-409C-BE32-E72D297353CC}">
              <c16:uniqueId val="{00000001-1355-4D73-9168-AEAE78C5E738}"/>
            </c:ext>
          </c:extLst>
        </c:ser>
        <c:ser>
          <c:idx val="2"/>
          <c:order val="2"/>
          <c:spPr>
            <a:solidFill>
              <a:schemeClr val="accent3"/>
            </a:solidFill>
            <a:ln w="6350" algn="ctr">
              <a:solidFill>
                <a:schemeClr val="bg1"/>
              </a:solidFill>
              <a:prstDash val="solid"/>
            </a:ln>
          </c:spPr>
          <c:invertIfNegative val="0"/>
          <c:val>
            <c:numRef>
              <c:f>Sheet1!$A$3:$C$3</c:f>
              <c:numCache>
                <c:formatCode>General</c:formatCode>
                <c:ptCount val="3"/>
                <c:pt idx="0">
                  <c:v>50.2</c:v>
                </c:pt>
                <c:pt idx="1">
                  <c:v>9</c:v>
                </c:pt>
                <c:pt idx="2">
                  <c:v>47.599999999999994</c:v>
                </c:pt>
              </c:numCache>
            </c:numRef>
          </c:val>
          <c:extLst>
            <c:ext xmlns:c16="http://schemas.microsoft.com/office/drawing/2014/chart" uri="{C3380CC4-5D6E-409C-BE32-E72D297353CC}">
              <c16:uniqueId val="{00000002-1355-4D73-9168-AEAE78C5E738}"/>
            </c:ext>
          </c:extLst>
        </c:ser>
        <c:dLbls>
          <c:showLegendKey val="0"/>
          <c:showVal val="0"/>
          <c:showCatName val="0"/>
          <c:showSerName val="0"/>
          <c:showPercent val="0"/>
          <c:showBubbleSize val="0"/>
        </c:dLbls>
        <c:gapWidth val="200"/>
        <c:axId val="318629904"/>
        <c:axId val="1"/>
      </c:barChart>
      <c:catAx>
        <c:axId val="3186299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7.5"/>
          <c:min val="0"/>
        </c:scaling>
        <c:delete val="1"/>
        <c:axPos val="l"/>
        <c:numFmt formatCode="General" sourceLinked="1"/>
        <c:majorTickMark val="out"/>
        <c:minorTickMark val="none"/>
        <c:tickLblPos val="nextTo"/>
        <c:crossAx val="31862990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810129457188281E-2"/>
          <c:y val="7.6023391812865493E-2"/>
          <c:w val="0.97637974108562342"/>
          <c:h val="0.84795321637426901"/>
        </c:manualLayout>
      </c:layout>
      <c:barChart>
        <c:barDir val="col"/>
        <c:grouping val="clustered"/>
        <c:varyColors val="0"/>
        <c:ser>
          <c:idx val="0"/>
          <c:order val="0"/>
          <c:spPr>
            <a:solidFill>
              <a:schemeClr val="accent1"/>
            </a:solidFill>
            <a:ln w="6350" algn="ctr">
              <a:solidFill>
                <a:schemeClr val="bg1"/>
              </a:solidFill>
              <a:prstDash val="solid"/>
            </a:ln>
          </c:spPr>
          <c:invertIfNegative val="0"/>
          <c:val>
            <c:numRef>
              <c:f>Sheet1!$A$1:$D$1</c:f>
              <c:numCache>
                <c:formatCode>General</c:formatCode>
                <c:ptCount val="4"/>
                <c:pt idx="0">
                  <c:v>74</c:v>
                </c:pt>
                <c:pt idx="2">
                  <c:v>58.3</c:v>
                </c:pt>
              </c:numCache>
            </c:numRef>
          </c:val>
          <c:extLst>
            <c:ext xmlns:c16="http://schemas.microsoft.com/office/drawing/2014/chart" uri="{C3380CC4-5D6E-409C-BE32-E72D297353CC}">
              <c16:uniqueId val="{00000000-6E33-4175-9016-2C94165CEAB7}"/>
            </c:ext>
          </c:extLst>
        </c:ser>
        <c:ser>
          <c:idx val="1"/>
          <c:order val="1"/>
          <c:spPr>
            <a:solidFill>
              <a:srgbClr val="67184B"/>
            </a:solidFill>
            <a:ln w="6350" algn="ctr">
              <a:solidFill>
                <a:schemeClr val="bg1"/>
              </a:solidFill>
              <a:prstDash val="solid"/>
            </a:ln>
          </c:spPr>
          <c:invertIfNegative val="0"/>
          <c:val>
            <c:numRef>
              <c:f>Sheet1!$A$2:$D$2</c:f>
              <c:numCache>
                <c:formatCode>General</c:formatCode>
                <c:ptCount val="4"/>
                <c:pt idx="0">
                  <c:v>73.5</c:v>
                </c:pt>
                <c:pt idx="1">
                  <c:v>57.699999999999996</c:v>
                </c:pt>
                <c:pt idx="2">
                  <c:v>72.599999999999994</c:v>
                </c:pt>
                <c:pt idx="3">
                  <c:v>48.8</c:v>
                </c:pt>
              </c:numCache>
            </c:numRef>
          </c:val>
          <c:extLst>
            <c:ext xmlns:c16="http://schemas.microsoft.com/office/drawing/2014/chart" uri="{C3380CC4-5D6E-409C-BE32-E72D297353CC}">
              <c16:uniqueId val="{00000001-6E33-4175-9016-2C94165CEAB7}"/>
            </c:ext>
          </c:extLst>
        </c:ser>
        <c:ser>
          <c:idx val="2"/>
          <c:order val="2"/>
          <c:spPr>
            <a:solidFill>
              <a:schemeClr val="tx2"/>
            </a:solidFill>
            <a:ln w="6350" algn="ctr">
              <a:solidFill>
                <a:schemeClr val="bg1"/>
              </a:solidFill>
              <a:prstDash val="solid"/>
            </a:ln>
          </c:spPr>
          <c:invertIfNegative val="0"/>
          <c:val>
            <c:numRef>
              <c:f>Sheet1!$A$3:$D$3</c:f>
              <c:numCache>
                <c:formatCode>General</c:formatCode>
                <c:ptCount val="4"/>
                <c:pt idx="0">
                  <c:v>93.7</c:v>
                </c:pt>
                <c:pt idx="1">
                  <c:v>78.900000000000006</c:v>
                </c:pt>
                <c:pt idx="2">
                  <c:v>90.9</c:v>
                </c:pt>
                <c:pt idx="3">
                  <c:v>97</c:v>
                </c:pt>
              </c:numCache>
            </c:numRef>
          </c:val>
          <c:extLst>
            <c:ext xmlns:c16="http://schemas.microsoft.com/office/drawing/2014/chart" uri="{C3380CC4-5D6E-409C-BE32-E72D297353CC}">
              <c16:uniqueId val="{00000002-6E33-4175-9016-2C94165CEAB7}"/>
            </c:ext>
          </c:extLst>
        </c:ser>
        <c:dLbls>
          <c:showLegendKey val="0"/>
          <c:showVal val="0"/>
          <c:showCatName val="0"/>
          <c:showSerName val="0"/>
          <c:showPercent val="0"/>
          <c:showBubbleSize val="0"/>
        </c:dLbls>
        <c:gapWidth val="80"/>
        <c:axId val="836541840"/>
        <c:axId val="1"/>
      </c:barChart>
      <c:catAx>
        <c:axId val="8365418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7"/>
          <c:min val="0"/>
        </c:scaling>
        <c:delete val="1"/>
        <c:axPos val="l"/>
        <c:numFmt formatCode="General" sourceLinked="1"/>
        <c:majorTickMark val="out"/>
        <c:minorTickMark val="none"/>
        <c:tickLblPos val="nextTo"/>
        <c:crossAx val="836541840"/>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70031688546853E-2"/>
          <c:y val="7.7380952380952384E-2"/>
          <c:w val="0.97645993662290631"/>
          <c:h val="0.84523809523809523"/>
        </c:manualLayout>
      </c:layout>
      <c:barChart>
        <c:barDir val="col"/>
        <c:grouping val="clustered"/>
        <c:varyColors val="0"/>
        <c:ser>
          <c:idx val="0"/>
          <c:order val="0"/>
          <c:spPr>
            <a:solidFill>
              <a:schemeClr val="accent3"/>
            </a:solidFill>
            <a:ln>
              <a:noFill/>
            </a:ln>
          </c:spPr>
          <c:invertIfNegative val="0"/>
          <c:val>
            <c:numRef>
              <c:f>Sheet1!$A$1:$D$1</c:f>
              <c:numCache>
                <c:formatCode>General</c:formatCode>
                <c:ptCount val="4"/>
                <c:pt idx="0">
                  <c:v>79.900000000000006</c:v>
                </c:pt>
                <c:pt idx="1">
                  <c:v>0</c:v>
                </c:pt>
                <c:pt idx="2">
                  <c:v>46.300000000000004</c:v>
                </c:pt>
                <c:pt idx="3">
                  <c:v>37</c:v>
                </c:pt>
              </c:numCache>
            </c:numRef>
          </c:val>
          <c:extLst>
            <c:ext xmlns:c16="http://schemas.microsoft.com/office/drawing/2014/chart" uri="{C3380CC4-5D6E-409C-BE32-E72D297353CC}">
              <c16:uniqueId val="{00000000-E869-4750-A226-9FBD5A6BE05B}"/>
            </c:ext>
          </c:extLst>
        </c:ser>
        <c:ser>
          <c:idx val="1"/>
          <c:order val="1"/>
          <c:spPr>
            <a:solidFill>
              <a:srgbClr val="377976"/>
            </a:solidFill>
            <a:ln w="6350" algn="ctr">
              <a:solidFill>
                <a:schemeClr val="bg1"/>
              </a:solidFill>
              <a:prstDash val="solid"/>
            </a:ln>
          </c:spPr>
          <c:invertIfNegative val="0"/>
          <c:val>
            <c:numRef>
              <c:f>Sheet1!$A$2:$D$2</c:f>
              <c:numCache>
                <c:formatCode>General</c:formatCode>
                <c:ptCount val="4"/>
                <c:pt idx="0">
                  <c:v>92.9</c:v>
                </c:pt>
                <c:pt idx="1">
                  <c:v>0</c:v>
                </c:pt>
                <c:pt idx="2">
                  <c:v>62.1</c:v>
                </c:pt>
                <c:pt idx="3">
                  <c:v>56.3</c:v>
                </c:pt>
              </c:numCache>
            </c:numRef>
          </c:val>
          <c:extLst>
            <c:ext xmlns:c16="http://schemas.microsoft.com/office/drawing/2014/chart" uri="{C3380CC4-5D6E-409C-BE32-E72D297353CC}">
              <c16:uniqueId val="{00000001-E869-4750-A226-9FBD5A6BE05B}"/>
            </c:ext>
          </c:extLst>
        </c:ser>
        <c:ser>
          <c:idx val="2"/>
          <c:order val="2"/>
          <c:spPr>
            <a:solidFill>
              <a:schemeClr val="accent2"/>
            </a:solidFill>
            <a:ln w="6350" algn="ctr">
              <a:solidFill>
                <a:schemeClr val="bg1"/>
              </a:solidFill>
              <a:prstDash val="solid"/>
            </a:ln>
          </c:spPr>
          <c:invertIfNegative val="0"/>
          <c:val>
            <c:numRef>
              <c:f>Sheet1!$A$3:$D$3</c:f>
              <c:numCache>
                <c:formatCode>General</c:formatCode>
                <c:ptCount val="4"/>
                <c:pt idx="0">
                  <c:v>94</c:v>
                </c:pt>
                <c:pt idx="1">
                  <c:v>0</c:v>
                </c:pt>
                <c:pt idx="2">
                  <c:v>52.1</c:v>
                </c:pt>
                <c:pt idx="3">
                  <c:v>52.400000000000006</c:v>
                </c:pt>
              </c:numCache>
            </c:numRef>
          </c:val>
          <c:extLst>
            <c:ext xmlns:c16="http://schemas.microsoft.com/office/drawing/2014/chart" uri="{C3380CC4-5D6E-409C-BE32-E72D297353CC}">
              <c16:uniqueId val="{00000002-E869-4750-A226-9FBD5A6BE05B}"/>
            </c:ext>
          </c:extLst>
        </c:ser>
        <c:dLbls>
          <c:showLegendKey val="0"/>
          <c:showVal val="0"/>
          <c:showCatName val="0"/>
          <c:showSerName val="0"/>
          <c:showPercent val="0"/>
          <c:showBubbleSize val="0"/>
        </c:dLbls>
        <c:gapWidth val="80"/>
        <c:axId val="611231776"/>
        <c:axId val="1"/>
      </c:barChart>
      <c:catAx>
        <c:axId val="6112317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4"/>
          <c:min val="0"/>
        </c:scaling>
        <c:delete val="1"/>
        <c:axPos val="l"/>
        <c:numFmt formatCode="General" sourceLinked="1"/>
        <c:majorTickMark val="out"/>
        <c:minorTickMark val="none"/>
        <c:tickLblPos val="nextTo"/>
        <c:crossAx val="61123177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72563176895306E-2"/>
          <c:y val="7.6023391812865493E-2"/>
          <c:w val="0.96245487364620941"/>
          <c:h val="0.84795321637426901"/>
        </c:manualLayout>
      </c:layout>
      <c:barChart>
        <c:barDir val="col"/>
        <c:grouping val="clustered"/>
        <c:varyColors val="0"/>
        <c:ser>
          <c:idx val="0"/>
          <c:order val="0"/>
          <c:spPr>
            <a:solidFill>
              <a:srgbClr val="67184B"/>
            </a:solidFill>
            <a:ln w="6350" algn="ctr">
              <a:solidFill>
                <a:schemeClr val="bg1"/>
              </a:solidFill>
              <a:prstDash val="solid"/>
            </a:ln>
          </c:spPr>
          <c:invertIfNegative val="0"/>
          <c:val>
            <c:numRef>
              <c:f>Sheet1!$A$1:$C$1</c:f>
              <c:numCache>
                <c:formatCode>General</c:formatCode>
                <c:ptCount val="3"/>
                <c:pt idx="0">
                  <c:v>53.7</c:v>
                </c:pt>
                <c:pt idx="1">
                  <c:v>30.4</c:v>
                </c:pt>
                <c:pt idx="2">
                  <c:v>45.800000000000004</c:v>
                </c:pt>
              </c:numCache>
            </c:numRef>
          </c:val>
          <c:extLst>
            <c:ext xmlns:c16="http://schemas.microsoft.com/office/drawing/2014/chart" uri="{C3380CC4-5D6E-409C-BE32-E72D297353CC}">
              <c16:uniqueId val="{00000000-E693-4B29-AFBD-05D13E283DF2}"/>
            </c:ext>
          </c:extLst>
        </c:ser>
        <c:ser>
          <c:idx val="1"/>
          <c:order val="1"/>
          <c:spPr>
            <a:solidFill>
              <a:schemeClr val="tx2"/>
            </a:solidFill>
            <a:ln w="6350" algn="ctr">
              <a:solidFill>
                <a:schemeClr val="bg1"/>
              </a:solidFill>
              <a:prstDash val="solid"/>
            </a:ln>
          </c:spPr>
          <c:invertIfNegative val="0"/>
          <c:val>
            <c:numRef>
              <c:f>Sheet1!$A$2:$C$2</c:f>
              <c:numCache>
                <c:formatCode>General</c:formatCode>
                <c:ptCount val="3"/>
                <c:pt idx="0">
                  <c:v>93.1</c:v>
                </c:pt>
                <c:pt idx="1">
                  <c:v>27.800000000000004</c:v>
                </c:pt>
                <c:pt idx="2">
                  <c:v>94.8</c:v>
                </c:pt>
              </c:numCache>
            </c:numRef>
          </c:val>
          <c:extLst>
            <c:ext xmlns:c16="http://schemas.microsoft.com/office/drawing/2014/chart" uri="{C3380CC4-5D6E-409C-BE32-E72D297353CC}">
              <c16:uniqueId val="{00000001-E693-4B29-AFBD-05D13E283DF2}"/>
            </c:ext>
          </c:extLst>
        </c:ser>
        <c:dLbls>
          <c:showLegendKey val="0"/>
          <c:showVal val="0"/>
          <c:showCatName val="0"/>
          <c:showSerName val="0"/>
          <c:showPercent val="0"/>
          <c:showBubbleSize val="0"/>
        </c:dLbls>
        <c:gapWidth val="200"/>
        <c:axId val="334310800"/>
        <c:axId val="1"/>
      </c:barChart>
      <c:catAx>
        <c:axId val="3343108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4.8"/>
          <c:min val="0"/>
        </c:scaling>
        <c:delete val="1"/>
        <c:axPos val="l"/>
        <c:numFmt formatCode="General" sourceLinked="1"/>
        <c:majorTickMark val="out"/>
        <c:minorTickMark val="none"/>
        <c:tickLblPos val="nextTo"/>
        <c:crossAx val="33431080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72563176895306E-2"/>
          <c:y val="7.7380952380952384E-2"/>
          <c:w val="0.96245487364620941"/>
          <c:h val="0.84523809523809523"/>
        </c:manualLayout>
      </c:layout>
      <c:barChart>
        <c:barDir val="col"/>
        <c:grouping val="clustered"/>
        <c:varyColors val="0"/>
        <c:ser>
          <c:idx val="0"/>
          <c:order val="0"/>
          <c:spPr>
            <a:solidFill>
              <a:srgbClr val="377976"/>
            </a:solidFill>
            <a:ln w="6350" algn="ctr">
              <a:solidFill>
                <a:schemeClr val="bg1"/>
              </a:solidFill>
              <a:prstDash val="solid"/>
            </a:ln>
          </c:spPr>
          <c:invertIfNegative val="0"/>
          <c:val>
            <c:numRef>
              <c:f>Sheet1!$A$1:$C$1</c:f>
              <c:numCache>
                <c:formatCode>General</c:formatCode>
                <c:ptCount val="3"/>
                <c:pt idx="0">
                  <c:v>15.4</c:v>
                </c:pt>
                <c:pt idx="1">
                  <c:v>3.3000000000000003</c:v>
                </c:pt>
              </c:numCache>
            </c:numRef>
          </c:val>
          <c:extLst>
            <c:ext xmlns:c16="http://schemas.microsoft.com/office/drawing/2014/chart" uri="{C3380CC4-5D6E-409C-BE32-E72D297353CC}">
              <c16:uniqueId val="{00000000-AC7A-46A6-9ACF-B63ECB50E73F}"/>
            </c:ext>
          </c:extLst>
        </c:ser>
        <c:ser>
          <c:idx val="1"/>
          <c:order val="1"/>
          <c:spPr>
            <a:solidFill>
              <a:schemeClr val="accent2"/>
            </a:solidFill>
            <a:ln w="6350" algn="ctr">
              <a:solidFill>
                <a:schemeClr val="bg1"/>
              </a:solidFill>
              <a:prstDash val="solid"/>
            </a:ln>
          </c:spPr>
          <c:invertIfNegative val="0"/>
          <c:val>
            <c:numRef>
              <c:f>Sheet1!$A$2:$C$2</c:f>
              <c:numCache>
                <c:formatCode>General</c:formatCode>
                <c:ptCount val="3"/>
                <c:pt idx="0">
                  <c:v>50.2</c:v>
                </c:pt>
                <c:pt idx="1">
                  <c:v>9</c:v>
                </c:pt>
                <c:pt idx="2">
                  <c:v>48</c:v>
                </c:pt>
              </c:numCache>
            </c:numRef>
          </c:val>
          <c:extLst>
            <c:ext xmlns:c16="http://schemas.microsoft.com/office/drawing/2014/chart" uri="{C3380CC4-5D6E-409C-BE32-E72D297353CC}">
              <c16:uniqueId val="{00000001-AC7A-46A6-9ACF-B63ECB50E73F}"/>
            </c:ext>
          </c:extLst>
        </c:ser>
        <c:dLbls>
          <c:showLegendKey val="0"/>
          <c:showVal val="0"/>
          <c:showCatName val="0"/>
          <c:showSerName val="0"/>
          <c:showPercent val="0"/>
          <c:showBubbleSize val="0"/>
        </c:dLbls>
        <c:gapWidth val="200"/>
        <c:axId val="1014855120"/>
        <c:axId val="1"/>
      </c:barChart>
      <c:catAx>
        <c:axId val="1014855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2"/>
          <c:min val="0"/>
        </c:scaling>
        <c:delete val="1"/>
        <c:axPos val="l"/>
        <c:numFmt formatCode="General" sourceLinked="1"/>
        <c:majorTickMark val="out"/>
        <c:minorTickMark val="none"/>
        <c:tickLblPos val="nextTo"/>
        <c:crossAx val="101485512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96525096525095E-2"/>
          <c:y val="5.8823529411764705E-2"/>
          <c:w val="0.9498069498069498"/>
          <c:h val="0.88235294117647056"/>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95.65</c:v>
                </c:pt>
                <c:pt idx="1">
                  <c:v>89.16</c:v>
                </c:pt>
              </c:numCache>
            </c:numRef>
          </c:val>
          <c:extLst>
            <c:ext xmlns:c16="http://schemas.microsoft.com/office/drawing/2014/chart" uri="{C3380CC4-5D6E-409C-BE32-E72D297353CC}">
              <c16:uniqueId val="{00000000-A5A7-4515-BE1F-32D4E468030B}"/>
            </c:ext>
          </c:extLst>
        </c:ser>
        <c:ser>
          <c:idx val="1"/>
          <c:order val="1"/>
          <c:spPr>
            <a:solidFill>
              <a:srgbClr val="C2F1ED"/>
            </a:solidFill>
            <a:ln>
              <a:noFill/>
            </a:ln>
          </c:spPr>
          <c:invertIfNegative val="0"/>
          <c:val>
            <c:numRef>
              <c:f>Sheet1!$A$2:$B$2</c:f>
              <c:numCache>
                <c:formatCode>General</c:formatCode>
                <c:ptCount val="2"/>
                <c:pt idx="0">
                  <c:v>4.3499999999999943</c:v>
                </c:pt>
                <c:pt idx="1">
                  <c:v>10.840000000000003</c:v>
                </c:pt>
              </c:numCache>
            </c:numRef>
          </c:val>
          <c:extLst>
            <c:ext xmlns:c16="http://schemas.microsoft.com/office/drawing/2014/chart" uri="{C3380CC4-5D6E-409C-BE32-E72D297353CC}">
              <c16:uniqueId val="{00000001-A5A7-4515-BE1F-32D4E468030B}"/>
            </c:ext>
          </c:extLst>
        </c:ser>
        <c:dLbls>
          <c:showLegendKey val="0"/>
          <c:showVal val="0"/>
          <c:showCatName val="0"/>
          <c:showSerName val="0"/>
          <c:showPercent val="0"/>
          <c:showBubbleSize val="0"/>
        </c:dLbls>
        <c:gapWidth val="80"/>
        <c:overlap val="100"/>
        <c:axId val="1333830975"/>
        <c:axId val="1"/>
      </c:barChart>
      <c:catAx>
        <c:axId val="13338309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33830975"/>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0FE485-1DD9-4185-A066-93D46F4D1E1A}" type="datetimeFigureOut">
              <a:rPr lang="en-GB" smtClean="0"/>
              <a:t>06/07/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C1526B4-E6DF-4B1C-BD3C-4A3FF8B7D70E}" type="slidenum">
              <a:rPr lang="en-GB" smtClean="0"/>
              <a:t>‹#›</a:t>
            </a:fld>
            <a:endParaRPr lang="en-GB"/>
          </a:p>
        </p:txBody>
      </p:sp>
    </p:spTree>
    <p:extLst>
      <p:ext uri="{BB962C8B-B14F-4D97-AF65-F5344CB8AC3E}">
        <p14:creationId xmlns:p14="http://schemas.microsoft.com/office/powerpoint/2010/main" val="3508149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09926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7728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7728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4193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6234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007255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91302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7674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00345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9"/>
        <p:cNvGrpSpPr/>
        <p:nvPr/>
      </p:nvGrpSpPr>
      <p:grpSpPr>
        <a:xfrm>
          <a:off x="0" y="0"/>
          <a:ext cx="0" cy="0"/>
          <a:chOff x="0" y="0"/>
          <a:chExt cx="0" cy="0"/>
        </a:xfrm>
      </p:grpSpPr>
      <p:sp>
        <p:nvSpPr>
          <p:cNvPr id="1500" name="Google Shape;1500;p2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01" name="Google Shape;1501;p2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02" name="Google Shape;1502;p2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7</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327861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B4F300A2-A522-42AB-9824-572F0F18E80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40570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0.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eg"/><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7.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png"/><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7.xml"/><Relationship Id="rId4" Type="http://schemas.openxmlformats.org/officeDocument/2006/relationships/image" Target="../media/image3.png"/></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png"/><Relationship Id="rId1" Type="http://schemas.openxmlformats.org/officeDocument/2006/relationships/slideMaster" Target="../slideMasters/slideMaster17.xml"/><Relationship Id="rId4" Type="http://schemas.openxmlformats.org/officeDocument/2006/relationships/image" Target="../media/image16.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6.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png"/><Relationship Id="rId2" Type="http://schemas.openxmlformats.org/officeDocument/2006/relationships/slideMaster" Target="../slideMasters/slideMaster8.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6.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9.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6471160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280901" y="657131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3626530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ntent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bg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22741521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Slide + Image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34375" r="-34375"/>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68C1C284-BE90-81FA-43D1-CCC7F8CA51DE}"/>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3987259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Slide + Image Right - 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0000" r="-48816"/>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1963390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Slide + Image Lef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15000" r="-54400"/>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6D716C71-F9D5-2F3E-AB87-CA052EB34DF7}"/>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0908139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ontent Slide + Image Left - Dar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5869" r="-43517"/>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73421432-5ACF-5E59-45FF-A30B76110000}"/>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3739940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aller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B283EB-B931-E9ED-DD88-4147DBE5704E}"/>
              </a:ext>
            </a:extLst>
          </p:cNvPr>
          <p:cNvSpPr/>
          <p:nvPr userDrawn="1"/>
        </p:nvSpPr>
        <p:spPr>
          <a:xfrm>
            <a:off x="0" y="0"/>
            <a:ext cx="12192000" cy="6867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BC1488D-8F6A-287A-0FBE-4610D4B63277}"/>
              </a:ext>
            </a:extLst>
          </p:cNvPr>
          <p:cNvSpPr>
            <a:spLocks noGrp="1"/>
          </p:cNvSpPr>
          <p:nvPr>
            <p:ph type="title" hasCustomPrompt="1"/>
          </p:nvPr>
        </p:nvSpPr>
        <p:spPr>
          <a:xfrm>
            <a:off x="457201" y="685800"/>
            <a:ext cx="2438400" cy="2743200"/>
          </a:xfrm>
          <a:prstGeom prst="rect">
            <a:avLst/>
          </a:prstGeom>
        </p:spPr>
        <p:txBody>
          <a:bodyPr/>
          <a:lstStyle>
            <a:lvl1pPr>
              <a:defRPr>
                <a:solidFill>
                  <a:schemeClr val="bg1"/>
                </a:solidFill>
              </a:defRPr>
            </a:lvl1pPr>
          </a:lstStyle>
          <a:p>
            <a:r>
              <a:rPr lang="en-US"/>
              <a:t>Highlights Gallery</a:t>
            </a:r>
          </a:p>
        </p:txBody>
      </p:sp>
      <p:sp>
        <p:nvSpPr>
          <p:cNvPr id="3" name="Slide Number Placeholder 2">
            <a:extLst>
              <a:ext uri="{FF2B5EF4-FFF2-40B4-BE49-F238E27FC236}">
                <a16:creationId xmlns:a16="http://schemas.microsoft.com/office/drawing/2014/main" id="{6BDD0F41-27C5-CB1D-0173-664D1C326F4A}"/>
              </a:ext>
            </a:extLst>
          </p:cNvPr>
          <p:cNvSpPr>
            <a:spLocks noGrp="1"/>
          </p:cNvSpPr>
          <p:nvPr>
            <p:ph type="sldNum" sz="quarter" idx="10"/>
          </p:nvPr>
        </p:nvSpPr>
        <p:spPr>
          <a:ln>
            <a:noFill/>
          </a:ln>
        </p:spPr>
        <p:txBody>
          <a:bodyPr/>
          <a:lstStyle/>
          <a:p>
            <a:fld id="{4755468B-C2BA-8B42-ABD6-597061763577}" type="slidenum">
              <a:rPr lang="en-US" smtClean="0"/>
              <a:pPr/>
              <a:t>‹#›</a:t>
            </a:fld>
            <a:endParaRPr lang="en-US" dirty="0"/>
          </a:p>
        </p:txBody>
      </p:sp>
      <p:sp>
        <p:nvSpPr>
          <p:cNvPr id="4" name="Picture Placeholder 3">
            <a:extLst>
              <a:ext uri="{FF2B5EF4-FFF2-40B4-BE49-F238E27FC236}">
                <a16:creationId xmlns:a16="http://schemas.microsoft.com/office/drawing/2014/main" id="{4A082173-483D-FD56-572C-BE0ADCB5177A}"/>
              </a:ext>
            </a:extLst>
          </p:cNvPr>
          <p:cNvSpPr>
            <a:spLocks noGrp="1"/>
          </p:cNvSpPr>
          <p:nvPr>
            <p:ph type="pic" sz="quarter" idx="13"/>
          </p:nvPr>
        </p:nvSpPr>
        <p:spPr>
          <a:xfrm>
            <a:off x="3428999" y="0"/>
            <a:ext cx="3241181" cy="4557013"/>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5" name="Picture Placeholder 3">
            <a:extLst>
              <a:ext uri="{FF2B5EF4-FFF2-40B4-BE49-F238E27FC236}">
                <a16:creationId xmlns:a16="http://schemas.microsoft.com/office/drawing/2014/main" id="{D6180A4A-374D-C1A2-A83C-5EA92DC771BB}"/>
              </a:ext>
            </a:extLst>
          </p:cNvPr>
          <p:cNvSpPr>
            <a:spLocks noGrp="1"/>
          </p:cNvSpPr>
          <p:nvPr>
            <p:ph type="pic" sz="quarter" idx="14"/>
          </p:nvPr>
        </p:nvSpPr>
        <p:spPr>
          <a:xfrm>
            <a:off x="3428999" y="4664989"/>
            <a:ext cx="3241181"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6" name="Picture Placeholder 3">
            <a:extLst>
              <a:ext uri="{FF2B5EF4-FFF2-40B4-BE49-F238E27FC236}">
                <a16:creationId xmlns:a16="http://schemas.microsoft.com/office/drawing/2014/main" id="{40E0920E-A1F2-1BBD-C37D-74B237F0785C}"/>
              </a:ext>
            </a:extLst>
          </p:cNvPr>
          <p:cNvSpPr>
            <a:spLocks noGrp="1"/>
          </p:cNvSpPr>
          <p:nvPr>
            <p:ph type="pic" sz="quarter" idx="15"/>
          </p:nvPr>
        </p:nvSpPr>
        <p:spPr>
          <a:xfrm>
            <a:off x="6758288" y="1"/>
            <a:ext cx="5433712" cy="2642436"/>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7" name="Picture Placeholder 3">
            <a:extLst>
              <a:ext uri="{FF2B5EF4-FFF2-40B4-BE49-F238E27FC236}">
                <a16:creationId xmlns:a16="http://schemas.microsoft.com/office/drawing/2014/main" id="{2DD44070-F306-B47B-70A6-8C4CA6C48E78}"/>
              </a:ext>
            </a:extLst>
          </p:cNvPr>
          <p:cNvSpPr>
            <a:spLocks noGrp="1"/>
          </p:cNvSpPr>
          <p:nvPr>
            <p:ph type="pic" sz="quarter" idx="16"/>
          </p:nvPr>
        </p:nvSpPr>
        <p:spPr>
          <a:xfrm>
            <a:off x="6758288" y="2734961"/>
            <a:ext cx="2672802" cy="4132500"/>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8" name="Picture Placeholder 3">
            <a:extLst>
              <a:ext uri="{FF2B5EF4-FFF2-40B4-BE49-F238E27FC236}">
                <a16:creationId xmlns:a16="http://schemas.microsoft.com/office/drawing/2014/main" id="{0FAD81EF-A883-B40A-8558-1B969EA797ED}"/>
              </a:ext>
            </a:extLst>
          </p:cNvPr>
          <p:cNvSpPr>
            <a:spLocks noGrp="1"/>
          </p:cNvSpPr>
          <p:nvPr>
            <p:ph type="pic" sz="quarter" idx="17"/>
          </p:nvPr>
        </p:nvSpPr>
        <p:spPr>
          <a:xfrm>
            <a:off x="9550194" y="2734961"/>
            <a:ext cx="2641805" cy="1822052"/>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9" name="Picture Placeholder 3">
            <a:extLst>
              <a:ext uri="{FF2B5EF4-FFF2-40B4-BE49-F238E27FC236}">
                <a16:creationId xmlns:a16="http://schemas.microsoft.com/office/drawing/2014/main" id="{672BA0ED-4C48-294F-23C3-01D30C37BAD6}"/>
              </a:ext>
            </a:extLst>
          </p:cNvPr>
          <p:cNvSpPr>
            <a:spLocks noGrp="1"/>
          </p:cNvSpPr>
          <p:nvPr>
            <p:ph type="pic" sz="quarter" idx="18"/>
          </p:nvPr>
        </p:nvSpPr>
        <p:spPr>
          <a:xfrm>
            <a:off x="9550194" y="4664989"/>
            <a:ext cx="2641805"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Tree>
    <p:extLst>
      <p:ext uri="{BB962C8B-B14F-4D97-AF65-F5344CB8AC3E}">
        <p14:creationId xmlns:p14="http://schemas.microsoft.com/office/powerpoint/2010/main" val="179038858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280901" y="657131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6737200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1298810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3125257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326515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9908612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08063166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00980229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13018693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102528113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28558717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189766694"/>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dirty="0"/>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804431757"/>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243060927"/>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007781423"/>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8255205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08615606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015796279"/>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41857945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14716029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5766593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1D89A6-2965-894F-2659-21EE6BB35887}"/>
              </a:ext>
            </a:extLst>
          </p:cNvPr>
          <p:cNvSpPr>
            <a:spLocks noGrp="1"/>
          </p:cNvSpPr>
          <p:nvPr>
            <p:ph type="sldNum" sz="quarter" idx="10"/>
          </p:nvPr>
        </p:nvSpPr>
        <p:spPr/>
        <p:txBody>
          <a:bodyPr/>
          <a:lstStyle/>
          <a:p>
            <a:fld id="{4755468B-C2BA-8B42-ABD6-597061763577}" type="slidenum">
              <a:rPr lang="en-US" smtClean="0"/>
              <a:pPr/>
              <a:t>‹#›</a:t>
            </a:fld>
            <a:endParaRPr lang="en-US" dirty="0"/>
          </a:p>
        </p:txBody>
      </p:sp>
      <p:sp>
        <p:nvSpPr>
          <p:cNvPr id="4" name="Freeform 4">
            <a:extLst>
              <a:ext uri="{FF2B5EF4-FFF2-40B4-BE49-F238E27FC236}">
                <a16:creationId xmlns:a16="http://schemas.microsoft.com/office/drawing/2014/main" id="{D1AAC57B-14CE-ACB9-BA19-9F78A0AE1698}"/>
              </a:ext>
            </a:extLst>
          </p:cNvPr>
          <p:cNvSpPr/>
          <p:nvPr userDrawn="1"/>
        </p:nvSpPr>
        <p:spPr>
          <a:xfrm>
            <a:off x="2081157" y="629492"/>
            <a:ext cx="9651643" cy="5599016"/>
          </a:xfrm>
          <a:custGeom>
            <a:avLst/>
            <a:gdLst>
              <a:gd name="connsiteX0" fmla="*/ 7607668 w 8079933"/>
              <a:gd name="connsiteY0" fmla="*/ 4671984 h 4687251"/>
              <a:gd name="connsiteX1" fmla="*/ 7610056 w 8079933"/>
              <a:gd name="connsiteY1" fmla="*/ 4672092 h 4687251"/>
              <a:gd name="connsiteX2" fmla="*/ 7609404 w 8079933"/>
              <a:gd name="connsiteY2" fmla="*/ 4676423 h 4687251"/>
              <a:gd name="connsiteX3" fmla="*/ 7606474 w 8079933"/>
              <a:gd name="connsiteY3" fmla="*/ 4680213 h 4687251"/>
              <a:gd name="connsiteX4" fmla="*/ 7608536 w 8079933"/>
              <a:gd name="connsiteY4" fmla="*/ 4684544 h 4687251"/>
              <a:gd name="connsiteX5" fmla="*/ 7607450 w 8079933"/>
              <a:gd name="connsiteY5" fmla="*/ 4687251 h 4687251"/>
              <a:gd name="connsiteX6" fmla="*/ 7602676 w 8079933"/>
              <a:gd name="connsiteY6" fmla="*/ 4685194 h 4687251"/>
              <a:gd name="connsiteX7" fmla="*/ 7598335 w 8079933"/>
              <a:gd name="connsiteY7" fmla="*/ 4686926 h 4687251"/>
              <a:gd name="connsiteX8" fmla="*/ 7595948 w 8079933"/>
              <a:gd name="connsiteY8" fmla="*/ 4683678 h 4687251"/>
              <a:gd name="connsiteX9" fmla="*/ 2515090 w 8079933"/>
              <a:gd name="connsiteY9" fmla="*/ 4599009 h 4687251"/>
              <a:gd name="connsiteX10" fmla="*/ 2517477 w 8079933"/>
              <a:gd name="connsiteY10" fmla="*/ 4599009 h 4687251"/>
              <a:gd name="connsiteX11" fmla="*/ 2514221 w 8079933"/>
              <a:gd name="connsiteY11" fmla="*/ 4602258 h 4687251"/>
              <a:gd name="connsiteX12" fmla="*/ 2512160 w 8079933"/>
              <a:gd name="connsiteY12" fmla="*/ 4600742 h 4687251"/>
              <a:gd name="connsiteX13" fmla="*/ 2515090 w 8079933"/>
              <a:gd name="connsiteY13" fmla="*/ 4599009 h 4687251"/>
              <a:gd name="connsiteX14" fmla="*/ 2519647 w 8079933"/>
              <a:gd name="connsiteY14" fmla="*/ 4589589 h 4687251"/>
              <a:gd name="connsiteX15" fmla="*/ 2522795 w 8079933"/>
              <a:gd name="connsiteY15" fmla="*/ 4590781 h 4687251"/>
              <a:gd name="connsiteX16" fmla="*/ 2523446 w 8079933"/>
              <a:gd name="connsiteY16" fmla="*/ 4594353 h 4687251"/>
              <a:gd name="connsiteX17" fmla="*/ 2523229 w 8079933"/>
              <a:gd name="connsiteY17" fmla="*/ 4598359 h 4687251"/>
              <a:gd name="connsiteX18" fmla="*/ 2520516 w 8079933"/>
              <a:gd name="connsiteY18" fmla="*/ 4598143 h 4687251"/>
              <a:gd name="connsiteX19" fmla="*/ 2518237 w 8079933"/>
              <a:gd name="connsiteY19" fmla="*/ 4595653 h 4687251"/>
              <a:gd name="connsiteX20" fmla="*/ 2520950 w 8079933"/>
              <a:gd name="connsiteY20" fmla="*/ 4592188 h 4687251"/>
              <a:gd name="connsiteX21" fmla="*/ 2429470 w 8079933"/>
              <a:gd name="connsiteY21" fmla="*/ 4575623 h 4687251"/>
              <a:gd name="connsiteX22" fmla="*/ 2431423 w 8079933"/>
              <a:gd name="connsiteY22" fmla="*/ 4577247 h 4687251"/>
              <a:gd name="connsiteX23" fmla="*/ 2428711 w 8079933"/>
              <a:gd name="connsiteY23" fmla="*/ 4580279 h 4687251"/>
              <a:gd name="connsiteX24" fmla="*/ 2425564 w 8079933"/>
              <a:gd name="connsiteY24" fmla="*/ 4577464 h 4687251"/>
              <a:gd name="connsiteX25" fmla="*/ 2426757 w 8079933"/>
              <a:gd name="connsiteY25" fmla="*/ 4568693 h 4687251"/>
              <a:gd name="connsiteX26" fmla="*/ 2430121 w 8079933"/>
              <a:gd name="connsiteY26" fmla="*/ 4570318 h 4687251"/>
              <a:gd name="connsiteX27" fmla="*/ 2429796 w 8079933"/>
              <a:gd name="connsiteY27" fmla="*/ 4572916 h 4687251"/>
              <a:gd name="connsiteX28" fmla="*/ 2427083 w 8079933"/>
              <a:gd name="connsiteY28" fmla="*/ 4573024 h 4687251"/>
              <a:gd name="connsiteX29" fmla="*/ 2425564 w 8079933"/>
              <a:gd name="connsiteY29" fmla="*/ 4571509 h 4687251"/>
              <a:gd name="connsiteX30" fmla="*/ 2494254 w 8079933"/>
              <a:gd name="connsiteY30" fmla="*/ 4567611 h 4687251"/>
              <a:gd name="connsiteX31" fmla="*/ 2501634 w 8079933"/>
              <a:gd name="connsiteY31" fmla="*/ 4568261 h 4687251"/>
              <a:gd name="connsiteX32" fmla="*/ 2507493 w 8079933"/>
              <a:gd name="connsiteY32" fmla="*/ 4567828 h 4687251"/>
              <a:gd name="connsiteX33" fmla="*/ 2514438 w 8079933"/>
              <a:gd name="connsiteY33" fmla="*/ 4567611 h 4687251"/>
              <a:gd name="connsiteX34" fmla="*/ 2518887 w 8079933"/>
              <a:gd name="connsiteY34" fmla="*/ 4568803 h 4687251"/>
              <a:gd name="connsiteX35" fmla="*/ 2519755 w 8079933"/>
              <a:gd name="connsiteY35" fmla="*/ 4572916 h 4687251"/>
              <a:gd name="connsiteX36" fmla="*/ 2522143 w 8079933"/>
              <a:gd name="connsiteY36" fmla="*/ 4575299 h 4687251"/>
              <a:gd name="connsiteX37" fmla="*/ 2519755 w 8079933"/>
              <a:gd name="connsiteY37" fmla="*/ 4577789 h 4687251"/>
              <a:gd name="connsiteX38" fmla="*/ 2516174 w 8079933"/>
              <a:gd name="connsiteY38" fmla="*/ 4580171 h 4687251"/>
              <a:gd name="connsiteX39" fmla="*/ 2513896 w 8079933"/>
              <a:gd name="connsiteY39" fmla="*/ 4577248 h 4687251"/>
              <a:gd name="connsiteX40" fmla="*/ 2511291 w 8079933"/>
              <a:gd name="connsiteY40" fmla="*/ 4576056 h 4687251"/>
              <a:gd name="connsiteX41" fmla="*/ 2506842 w 8079933"/>
              <a:gd name="connsiteY41" fmla="*/ 4579197 h 4687251"/>
              <a:gd name="connsiteX42" fmla="*/ 2501308 w 8079933"/>
              <a:gd name="connsiteY42" fmla="*/ 4579413 h 4687251"/>
              <a:gd name="connsiteX43" fmla="*/ 2499246 w 8079933"/>
              <a:gd name="connsiteY43" fmla="*/ 4576598 h 4687251"/>
              <a:gd name="connsiteX44" fmla="*/ 2497184 w 8079933"/>
              <a:gd name="connsiteY44" fmla="*/ 4572050 h 4687251"/>
              <a:gd name="connsiteX45" fmla="*/ 2493603 w 8079933"/>
              <a:gd name="connsiteY45" fmla="*/ 4571942 h 4687251"/>
              <a:gd name="connsiteX46" fmla="*/ 2489914 w 8079933"/>
              <a:gd name="connsiteY46" fmla="*/ 4575732 h 4687251"/>
              <a:gd name="connsiteX47" fmla="*/ 2487201 w 8079933"/>
              <a:gd name="connsiteY47" fmla="*/ 4575732 h 4687251"/>
              <a:gd name="connsiteX48" fmla="*/ 2481558 w 8079933"/>
              <a:gd name="connsiteY48" fmla="*/ 4576598 h 4687251"/>
              <a:gd name="connsiteX49" fmla="*/ 2486007 w 8079933"/>
              <a:gd name="connsiteY49" fmla="*/ 4579954 h 4687251"/>
              <a:gd name="connsiteX50" fmla="*/ 2487201 w 8079933"/>
              <a:gd name="connsiteY50" fmla="*/ 4579413 h 4687251"/>
              <a:gd name="connsiteX51" fmla="*/ 2492844 w 8079933"/>
              <a:gd name="connsiteY51" fmla="*/ 4580712 h 4687251"/>
              <a:gd name="connsiteX52" fmla="*/ 2494906 w 8079933"/>
              <a:gd name="connsiteY52" fmla="*/ 4582336 h 4687251"/>
              <a:gd name="connsiteX53" fmla="*/ 2493386 w 8079933"/>
              <a:gd name="connsiteY53" fmla="*/ 4584068 h 4687251"/>
              <a:gd name="connsiteX54" fmla="*/ 2497293 w 8079933"/>
              <a:gd name="connsiteY54" fmla="*/ 4585693 h 4687251"/>
              <a:gd name="connsiteX55" fmla="*/ 2502393 w 8079933"/>
              <a:gd name="connsiteY55" fmla="*/ 4590023 h 4687251"/>
              <a:gd name="connsiteX56" fmla="*/ 2502393 w 8079933"/>
              <a:gd name="connsiteY56" fmla="*/ 4594246 h 4687251"/>
              <a:gd name="connsiteX57" fmla="*/ 2500440 w 8079933"/>
              <a:gd name="connsiteY57" fmla="*/ 4593921 h 4687251"/>
              <a:gd name="connsiteX58" fmla="*/ 2495122 w 8079933"/>
              <a:gd name="connsiteY58" fmla="*/ 4589157 h 4687251"/>
              <a:gd name="connsiteX59" fmla="*/ 2491650 w 8079933"/>
              <a:gd name="connsiteY59" fmla="*/ 4588183 h 4687251"/>
              <a:gd name="connsiteX60" fmla="*/ 2488069 w 8079933"/>
              <a:gd name="connsiteY60" fmla="*/ 4590132 h 4687251"/>
              <a:gd name="connsiteX61" fmla="*/ 2484597 w 8079933"/>
              <a:gd name="connsiteY61" fmla="*/ 4587750 h 4687251"/>
              <a:gd name="connsiteX62" fmla="*/ 2483077 w 8079933"/>
              <a:gd name="connsiteY62" fmla="*/ 4583419 h 4687251"/>
              <a:gd name="connsiteX63" fmla="*/ 2478086 w 8079933"/>
              <a:gd name="connsiteY63" fmla="*/ 4583960 h 4687251"/>
              <a:gd name="connsiteX64" fmla="*/ 2477543 w 8079933"/>
              <a:gd name="connsiteY64" fmla="*/ 4586126 h 4687251"/>
              <a:gd name="connsiteX65" fmla="*/ 2481124 w 8079933"/>
              <a:gd name="connsiteY65" fmla="*/ 4588183 h 4687251"/>
              <a:gd name="connsiteX66" fmla="*/ 2480690 w 8079933"/>
              <a:gd name="connsiteY66" fmla="*/ 4591864 h 4687251"/>
              <a:gd name="connsiteX67" fmla="*/ 2478628 w 8079933"/>
              <a:gd name="connsiteY67" fmla="*/ 4591972 h 4687251"/>
              <a:gd name="connsiteX68" fmla="*/ 2473094 w 8079933"/>
              <a:gd name="connsiteY68" fmla="*/ 4589482 h 4687251"/>
              <a:gd name="connsiteX69" fmla="*/ 2469947 w 8079933"/>
              <a:gd name="connsiteY69" fmla="*/ 4590782 h 4687251"/>
              <a:gd name="connsiteX70" fmla="*/ 2468753 w 8079933"/>
              <a:gd name="connsiteY70" fmla="*/ 4588399 h 4687251"/>
              <a:gd name="connsiteX71" fmla="*/ 2465498 w 8079933"/>
              <a:gd name="connsiteY71" fmla="*/ 4587209 h 4687251"/>
              <a:gd name="connsiteX72" fmla="*/ 2467017 w 8079933"/>
              <a:gd name="connsiteY72" fmla="*/ 4583636 h 4687251"/>
              <a:gd name="connsiteX73" fmla="*/ 2463545 w 8079933"/>
              <a:gd name="connsiteY73" fmla="*/ 4586559 h 4687251"/>
              <a:gd name="connsiteX74" fmla="*/ 2459855 w 8079933"/>
              <a:gd name="connsiteY74" fmla="*/ 4583744 h 4687251"/>
              <a:gd name="connsiteX75" fmla="*/ 2459964 w 8079933"/>
              <a:gd name="connsiteY75" fmla="*/ 4581687 h 4687251"/>
              <a:gd name="connsiteX76" fmla="*/ 2463761 w 8079933"/>
              <a:gd name="connsiteY76" fmla="*/ 4579846 h 4687251"/>
              <a:gd name="connsiteX77" fmla="*/ 2470706 w 8079933"/>
              <a:gd name="connsiteY77" fmla="*/ 4577248 h 4687251"/>
              <a:gd name="connsiteX78" fmla="*/ 2466800 w 8079933"/>
              <a:gd name="connsiteY78" fmla="*/ 4575299 h 4687251"/>
              <a:gd name="connsiteX79" fmla="*/ 2463978 w 8079933"/>
              <a:gd name="connsiteY79" fmla="*/ 4576706 h 4687251"/>
              <a:gd name="connsiteX80" fmla="*/ 2461374 w 8079933"/>
              <a:gd name="connsiteY80" fmla="*/ 4574324 h 4687251"/>
              <a:gd name="connsiteX81" fmla="*/ 2464738 w 8079933"/>
              <a:gd name="connsiteY81" fmla="*/ 4572591 h 4687251"/>
              <a:gd name="connsiteX82" fmla="*/ 2468536 w 8079933"/>
              <a:gd name="connsiteY82" fmla="*/ 4572591 h 4687251"/>
              <a:gd name="connsiteX83" fmla="*/ 2471032 w 8079933"/>
              <a:gd name="connsiteY83" fmla="*/ 4572050 h 4687251"/>
              <a:gd name="connsiteX84" fmla="*/ 2476566 w 8079933"/>
              <a:gd name="connsiteY84" fmla="*/ 4572916 h 4687251"/>
              <a:gd name="connsiteX85" fmla="*/ 2488069 w 8079933"/>
              <a:gd name="connsiteY85" fmla="*/ 4570318 h 4687251"/>
              <a:gd name="connsiteX86" fmla="*/ 2584759 w 8079933"/>
              <a:gd name="connsiteY86" fmla="*/ 4552236 h 4687251"/>
              <a:gd name="connsiteX87" fmla="*/ 2590293 w 8079933"/>
              <a:gd name="connsiteY87" fmla="*/ 4552561 h 4687251"/>
              <a:gd name="connsiteX88" fmla="*/ 2585952 w 8079933"/>
              <a:gd name="connsiteY88" fmla="*/ 4556567 h 4687251"/>
              <a:gd name="connsiteX89" fmla="*/ 2581069 w 8079933"/>
              <a:gd name="connsiteY89" fmla="*/ 4557758 h 4687251"/>
              <a:gd name="connsiteX90" fmla="*/ 2575860 w 8079933"/>
              <a:gd name="connsiteY90" fmla="*/ 4561114 h 4687251"/>
              <a:gd name="connsiteX91" fmla="*/ 2572062 w 8079933"/>
              <a:gd name="connsiteY91" fmla="*/ 4557758 h 4687251"/>
              <a:gd name="connsiteX92" fmla="*/ 2574992 w 8079933"/>
              <a:gd name="connsiteY92" fmla="*/ 4555918 h 4687251"/>
              <a:gd name="connsiteX93" fmla="*/ 2581503 w 8079933"/>
              <a:gd name="connsiteY93" fmla="*/ 4555593 h 4687251"/>
              <a:gd name="connsiteX94" fmla="*/ 2404619 w 8079933"/>
              <a:gd name="connsiteY94" fmla="*/ 4547040 h 4687251"/>
              <a:gd name="connsiteX95" fmla="*/ 2406790 w 8079933"/>
              <a:gd name="connsiteY95" fmla="*/ 4548014 h 4687251"/>
              <a:gd name="connsiteX96" fmla="*/ 2405922 w 8079933"/>
              <a:gd name="connsiteY96" fmla="*/ 4549314 h 4687251"/>
              <a:gd name="connsiteX97" fmla="*/ 2403643 w 8079933"/>
              <a:gd name="connsiteY97" fmla="*/ 4552887 h 4687251"/>
              <a:gd name="connsiteX98" fmla="*/ 2400496 w 8079933"/>
              <a:gd name="connsiteY98" fmla="*/ 4553861 h 4687251"/>
              <a:gd name="connsiteX99" fmla="*/ 2400496 w 8079933"/>
              <a:gd name="connsiteY99" fmla="*/ 4550722 h 4687251"/>
              <a:gd name="connsiteX100" fmla="*/ 2403209 w 8079933"/>
              <a:gd name="connsiteY100" fmla="*/ 4547581 h 4687251"/>
              <a:gd name="connsiteX101" fmla="*/ 2435656 w 8079933"/>
              <a:gd name="connsiteY101" fmla="*/ 4544766 h 4687251"/>
              <a:gd name="connsiteX102" fmla="*/ 2440105 w 8079933"/>
              <a:gd name="connsiteY102" fmla="*/ 4547148 h 4687251"/>
              <a:gd name="connsiteX103" fmla="*/ 2448135 w 8079933"/>
              <a:gd name="connsiteY103" fmla="*/ 4550396 h 4687251"/>
              <a:gd name="connsiteX104" fmla="*/ 2450196 w 8079933"/>
              <a:gd name="connsiteY104" fmla="*/ 4551262 h 4687251"/>
              <a:gd name="connsiteX105" fmla="*/ 2452041 w 8079933"/>
              <a:gd name="connsiteY105" fmla="*/ 4549746 h 4687251"/>
              <a:gd name="connsiteX106" fmla="*/ 2450523 w 8079933"/>
              <a:gd name="connsiteY106" fmla="*/ 4547689 h 4687251"/>
              <a:gd name="connsiteX107" fmla="*/ 2450848 w 8079933"/>
              <a:gd name="connsiteY107" fmla="*/ 4545740 h 4687251"/>
              <a:gd name="connsiteX108" fmla="*/ 2456382 w 8079933"/>
              <a:gd name="connsiteY108" fmla="*/ 4547689 h 4687251"/>
              <a:gd name="connsiteX109" fmla="*/ 2468428 w 8079933"/>
              <a:gd name="connsiteY109" fmla="*/ 4551262 h 4687251"/>
              <a:gd name="connsiteX110" fmla="*/ 2476675 w 8079933"/>
              <a:gd name="connsiteY110" fmla="*/ 4554402 h 4687251"/>
              <a:gd name="connsiteX111" fmla="*/ 2481124 w 8079933"/>
              <a:gd name="connsiteY111" fmla="*/ 4557325 h 4687251"/>
              <a:gd name="connsiteX112" fmla="*/ 2483837 w 8079933"/>
              <a:gd name="connsiteY112" fmla="*/ 4557217 h 4687251"/>
              <a:gd name="connsiteX113" fmla="*/ 2486116 w 8079933"/>
              <a:gd name="connsiteY113" fmla="*/ 4566203 h 4687251"/>
              <a:gd name="connsiteX114" fmla="*/ 2480690 w 8079933"/>
              <a:gd name="connsiteY114" fmla="*/ 4566203 h 4687251"/>
              <a:gd name="connsiteX115" fmla="*/ 2481124 w 8079933"/>
              <a:gd name="connsiteY115" fmla="*/ 4568802 h 4687251"/>
              <a:gd name="connsiteX116" fmla="*/ 2478737 w 8079933"/>
              <a:gd name="connsiteY116" fmla="*/ 4570318 h 4687251"/>
              <a:gd name="connsiteX117" fmla="*/ 2459855 w 8079933"/>
              <a:gd name="connsiteY117" fmla="*/ 4565554 h 4687251"/>
              <a:gd name="connsiteX118" fmla="*/ 2455622 w 8079933"/>
              <a:gd name="connsiteY118" fmla="*/ 4567611 h 4687251"/>
              <a:gd name="connsiteX119" fmla="*/ 2445530 w 8079933"/>
              <a:gd name="connsiteY119" fmla="*/ 4571509 h 4687251"/>
              <a:gd name="connsiteX120" fmla="*/ 2448135 w 8079933"/>
              <a:gd name="connsiteY120" fmla="*/ 4573241 h 4687251"/>
              <a:gd name="connsiteX121" fmla="*/ 2451282 w 8079933"/>
              <a:gd name="connsiteY121" fmla="*/ 4573999 h 4687251"/>
              <a:gd name="connsiteX122" fmla="*/ 2450631 w 8079933"/>
              <a:gd name="connsiteY122" fmla="*/ 4576056 h 4687251"/>
              <a:gd name="connsiteX123" fmla="*/ 2447810 w 8079933"/>
              <a:gd name="connsiteY123" fmla="*/ 4578005 h 4687251"/>
              <a:gd name="connsiteX124" fmla="*/ 2444337 w 8079933"/>
              <a:gd name="connsiteY124" fmla="*/ 4576489 h 4687251"/>
              <a:gd name="connsiteX125" fmla="*/ 2443143 w 8079933"/>
              <a:gd name="connsiteY125" fmla="*/ 4576705 h 4687251"/>
              <a:gd name="connsiteX126" fmla="*/ 2443794 w 8079933"/>
              <a:gd name="connsiteY126" fmla="*/ 4579196 h 4687251"/>
              <a:gd name="connsiteX127" fmla="*/ 2448461 w 8079933"/>
              <a:gd name="connsiteY127" fmla="*/ 4582011 h 4687251"/>
              <a:gd name="connsiteX128" fmla="*/ 2451391 w 8079933"/>
              <a:gd name="connsiteY128" fmla="*/ 4584068 h 4687251"/>
              <a:gd name="connsiteX129" fmla="*/ 2450739 w 8079933"/>
              <a:gd name="connsiteY129" fmla="*/ 4585692 h 4687251"/>
              <a:gd name="connsiteX130" fmla="*/ 2447918 w 8079933"/>
              <a:gd name="connsiteY130" fmla="*/ 4585692 h 4687251"/>
              <a:gd name="connsiteX131" fmla="*/ 2444012 w 8079933"/>
              <a:gd name="connsiteY131" fmla="*/ 4581686 h 4687251"/>
              <a:gd name="connsiteX132" fmla="*/ 2441190 w 8079933"/>
              <a:gd name="connsiteY132" fmla="*/ 4580495 h 4687251"/>
              <a:gd name="connsiteX133" fmla="*/ 2438151 w 8079933"/>
              <a:gd name="connsiteY133" fmla="*/ 4580604 h 4687251"/>
              <a:gd name="connsiteX134" fmla="*/ 2435439 w 8079933"/>
              <a:gd name="connsiteY134" fmla="*/ 4577572 h 4687251"/>
              <a:gd name="connsiteX135" fmla="*/ 2437500 w 8079933"/>
              <a:gd name="connsiteY135" fmla="*/ 4573241 h 4687251"/>
              <a:gd name="connsiteX136" fmla="*/ 2440973 w 8079933"/>
              <a:gd name="connsiteY136" fmla="*/ 4571617 h 4687251"/>
              <a:gd name="connsiteX137" fmla="*/ 2438043 w 8079933"/>
              <a:gd name="connsiteY137" fmla="*/ 4569776 h 4687251"/>
              <a:gd name="connsiteX138" fmla="*/ 2438043 w 8079933"/>
              <a:gd name="connsiteY138" fmla="*/ 4567070 h 4687251"/>
              <a:gd name="connsiteX139" fmla="*/ 2436632 w 8079933"/>
              <a:gd name="connsiteY139" fmla="*/ 4565337 h 4687251"/>
              <a:gd name="connsiteX140" fmla="*/ 2434245 w 8079933"/>
              <a:gd name="connsiteY140" fmla="*/ 4566421 h 4687251"/>
              <a:gd name="connsiteX141" fmla="*/ 2429687 w 8079933"/>
              <a:gd name="connsiteY141" fmla="*/ 4563389 h 4687251"/>
              <a:gd name="connsiteX142" fmla="*/ 2426866 w 8079933"/>
              <a:gd name="connsiteY142" fmla="*/ 4562089 h 4687251"/>
              <a:gd name="connsiteX143" fmla="*/ 2425563 w 8079933"/>
              <a:gd name="connsiteY143" fmla="*/ 4563064 h 4687251"/>
              <a:gd name="connsiteX144" fmla="*/ 2424262 w 8079933"/>
              <a:gd name="connsiteY144" fmla="*/ 4565229 h 4687251"/>
              <a:gd name="connsiteX145" fmla="*/ 2420029 w 8079933"/>
              <a:gd name="connsiteY145" fmla="*/ 4565446 h 4687251"/>
              <a:gd name="connsiteX146" fmla="*/ 2414821 w 8079933"/>
              <a:gd name="connsiteY146" fmla="*/ 4564471 h 4687251"/>
              <a:gd name="connsiteX147" fmla="*/ 2414061 w 8079933"/>
              <a:gd name="connsiteY147" fmla="*/ 4561764 h 4687251"/>
              <a:gd name="connsiteX148" fmla="*/ 2418619 w 8079933"/>
              <a:gd name="connsiteY148" fmla="*/ 4560682 h 4687251"/>
              <a:gd name="connsiteX149" fmla="*/ 2422417 w 8079933"/>
              <a:gd name="connsiteY149" fmla="*/ 4561440 h 4687251"/>
              <a:gd name="connsiteX150" fmla="*/ 2423176 w 8079933"/>
              <a:gd name="connsiteY150" fmla="*/ 4560140 h 4687251"/>
              <a:gd name="connsiteX151" fmla="*/ 2421440 w 8079933"/>
              <a:gd name="connsiteY151" fmla="*/ 4558408 h 4687251"/>
              <a:gd name="connsiteX152" fmla="*/ 2423176 w 8079933"/>
              <a:gd name="connsiteY152" fmla="*/ 4557325 h 4687251"/>
              <a:gd name="connsiteX153" fmla="*/ 2431098 w 8079933"/>
              <a:gd name="connsiteY153" fmla="*/ 4556784 h 4687251"/>
              <a:gd name="connsiteX154" fmla="*/ 2433919 w 8079933"/>
              <a:gd name="connsiteY154" fmla="*/ 4556243 h 4687251"/>
              <a:gd name="connsiteX155" fmla="*/ 2433485 w 8079933"/>
              <a:gd name="connsiteY155" fmla="*/ 4553103 h 4687251"/>
              <a:gd name="connsiteX156" fmla="*/ 2435113 w 8079933"/>
              <a:gd name="connsiteY156" fmla="*/ 4551803 h 4687251"/>
              <a:gd name="connsiteX157" fmla="*/ 2439996 w 8079933"/>
              <a:gd name="connsiteY157" fmla="*/ 4554835 h 4687251"/>
              <a:gd name="connsiteX158" fmla="*/ 2441407 w 8079933"/>
              <a:gd name="connsiteY158" fmla="*/ 4557542 h 4687251"/>
              <a:gd name="connsiteX159" fmla="*/ 2443143 w 8079933"/>
              <a:gd name="connsiteY159" fmla="*/ 4557217 h 4687251"/>
              <a:gd name="connsiteX160" fmla="*/ 2443360 w 8079933"/>
              <a:gd name="connsiteY160" fmla="*/ 4555268 h 4687251"/>
              <a:gd name="connsiteX161" fmla="*/ 2444337 w 8079933"/>
              <a:gd name="connsiteY161" fmla="*/ 4554835 h 4687251"/>
              <a:gd name="connsiteX162" fmla="*/ 2447375 w 8079933"/>
              <a:gd name="connsiteY162" fmla="*/ 4554835 h 4687251"/>
              <a:gd name="connsiteX163" fmla="*/ 2446725 w 8079933"/>
              <a:gd name="connsiteY163" fmla="*/ 4552995 h 4687251"/>
              <a:gd name="connsiteX164" fmla="*/ 2436416 w 8079933"/>
              <a:gd name="connsiteY164" fmla="*/ 4548123 h 4687251"/>
              <a:gd name="connsiteX165" fmla="*/ 2434571 w 8079933"/>
              <a:gd name="connsiteY165" fmla="*/ 4545849 h 4687251"/>
              <a:gd name="connsiteX166" fmla="*/ 2386606 w 8079933"/>
              <a:gd name="connsiteY166" fmla="*/ 4544332 h 4687251"/>
              <a:gd name="connsiteX167" fmla="*/ 2389102 w 8079933"/>
              <a:gd name="connsiteY167" fmla="*/ 4546714 h 4687251"/>
              <a:gd name="connsiteX168" fmla="*/ 2387366 w 8079933"/>
              <a:gd name="connsiteY168" fmla="*/ 4548338 h 4687251"/>
              <a:gd name="connsiteX169" fmla="*/ 2385303 w 8079933"/>
              <a:gd name="connsiteY169" fmla="*/ 4546930 h 4687251"/>
              <a:gd name="connsiteX170" fmla="*/ 2384110 w 8079933"/>
              <a:gd name="connsiteY170" fmla="*/ 4546173 h 4687251"/>
              <a:gd name="connsiteX171" fmla="*/ 2413192 w 8079933"/>
              <a:gd name="connsiteY171" fmla="*/ 4539568 h 4687251"/>
              <a:gd name="connsiteX172" fmla="*/ 2421656 w 8079933"/>
              <a:gd name="connsiteY172" fmla="*/ 4541842 h 4687251"/>
              <a:gd name="connsiteX173" fmla="*/ 2423609 w 8079933"/>
              <a:gd name="connsiteY173" fmla="*/ 4544873 h 4687251"/>
              <a:gd name="connsiteX174" fmla="*/ 2425779 w 8079933"/>
              <a:gd name="connsiteY174" fmla="*/ 4542816 h 4687251"/>
              <a:gd name="connsiteX175" fmla="*/ 2428058 w 8079933"/>
              <a:gd name="connsiteY175" fmla="*/ 4542384 h 4687251"/>
              <a:gd name="connsiteX176" fmla="*/ 2430011 w 8079933"/>
              <a:gd name="connsiteY176" fmla="*/ 4543574 h 4687251"/>
              <a:gd name="connsiteX177" fmla="*/ 2428167 w 8079933"/>
              <a:gd name="connsiteY177" fmla="*/ 4547147 h 4687251"/>
              <a:gd name="connsiteX178" fmla="*/ 2429360 w 8079933"/>
              <a:gd name="connsiteY178" fmla="*/ 4549854 h 4687251"/>
              <a:gd name="connsiteX179" fmla="*/ 2426539 w 8079933"/>
              <a:gd name="connsiteY179" fmla="*/ 4552019 h 4687251"/>
              <a:gd name="connsiteX180" fmla="*/ 2422633 w 8079933"/>
              <a:gd name="connsiteY180" fmla="*/ 4550829 h 4687251"/>
              <a:gd name="connsiteX181" fmla="*/ 2421113 w 8079933"/>
              <a:gd name="connsiteY181" fmla="*/ 4548554 h 4687251"/>
              <a:gd name="connsiteX182" fmla="*/ 2419051 w 8079933"/>
              <a:gd name="connsiteY182" fmla="*/ 4550395 h 4687251"/>
              <a:gd name="connsiteX183" fmla="*/ 2416338 w 8079933"/>
              <a:gd name="connsiteY183" fmla="*/ 4547905 h 4687251"/>
              <a:gd name="connsiteX184" fmla="*/ 2412107 w 8079933"/>
              <a:gd name="connsiteY184" fmla="*/ 4547256 h 4687251"/>
              <a:gd name="connsiteX185" fmla="*/ 2410045 w 8079933"/>
              <a:gd name="connsiteY185" fmla="*/ 4549313 h 4687251"/>
              <a:gd name="connsiteX186" fmla="*/ 2407875 w 8079933"/>
              <a:gd name="connsiteY186" fmla="*/ 4545523 h 4687251"/>
              <a:gd name="connsiteX187" fmla="*/ 2405162 w 8079933"/>
              <a:gd name="connsiteY187" fmla="*/ 4544007 h 4687251"/>
              <a:gd name="connsiteX188" fmla="*/ 2405162 w 8079933"/>
              <a:gd name="connsiteY188" fmla="*/ 4541625 h 4687251"/>
              <a:gd name="connsiteX189" fmla="*/ 2411564 w 8079933"/>
              <a:gd name="connsiteY189" fmla="*/ 4541084 h 4687251"/>
              <a:gd name="connsiteX190" fmla="*/ 2352424 w 8079933"/>
              <a:gd name="connsiteY190" fmla="*/ 4525385 h 4687251"/>
              <a:gd name="connsiteX191" fmla="*/ 2352424 w 8079933"/>
              <a:gd name="connsiteY191" fmla="*/ 4525386 h 4687251"/>
              <a:gd name="connsiteX192" fmla="*/ 2355461 w 8079933"/>
              <a:gd name="connsiteY192" fmla="*/ 4528525 h 4687251"/>
              <a:gd name="connsiteX193" fmla="*/ 2350362 w 8079933"/>
              <a:gd name="connsiteY193" fmla="*/ 4527009 h 4687251"/>
              <a:gd name="connsiteX194" fmla="*/ 2368810 w 8079933"/>
              <a:gd name="connsiteY194" fmla="*/ 4525060 h 4687251"/>
              <a:gd name="connsiteX195" fmla="*/ 2371306 w 8079933"/>
              <a:gd name="connsiteY195" fmla="*/ 4527442 h 4687251"/>
              <a:gd name="connsiteX196" fmla="*/ 2373585 w 8079933"/>
              <a:gd name="connsiteY196" fmla="*/ 4528525 h 4687251"/>
              <a:gd name="connsiteX197" fmla="*/ 2377817 w 8079933"/>
              <a:gd name="connsiteY197" fmla="*/ 4526793 h 4687251"/>
              <a:gd name="connsiteX198" fmla="*/ 2382917 w 8079933"/>
              <a:gd name="connsiteY198" fmla="*/ 4526576 h 4687251"/>
              <a:gd name="connsiteX199" fmla="*/ 2389537 w 8079933"/>
              <a:gd name="connsiteY199" fmla="*/ 4531340 h 4687251"/>
              <a:gd name="connsiteX200" fmla="*/ 2392467 w 8079933"/>
              <a:gd name="connsiteY200" fmla="*/ 4532639 h 4687251"/>
              <a:gd name="connsiteX201" fmla="*/ 2393661 w 8079933"/>
              <a:gd name="connsiteY201" fmla="*/ 4535238 h 4687251"/>
              <a:gd name="connsiteX202" fmla="*/ 2398544 w 8079933"/>
              <a:gd name="connsiteY202" fmla="*/ 4533722 h 4687251"/>
              <a:gd name="connsiteX203" fmla="*/ 2401908 w 8079933"/>
              <a:gd name="connsiteY203" fmla="*/ 4535129 h 4687251"/>
              <a:gd name="connsiteX204" fmla="*/ 2403536 w 8079933"/>
              <a:gd name="connsiteY204" fmla="*/ 4538594 h 4687251"/>
              <a:gd name="connsiteX205" fmla="*/ 2400063 w 8079933"/>
              <a:gd name="connsiteY205" fmla="*/ 4538378 h 4687251"/>
              <a:gd name="connsiteX206" fmla="*/ 2397676 w 8079933"/>
              <a:gd name="connsiteY206" fmla="*/ 4539460 h 4687251"/>
              <a:gd name="connsiteX207" fmla="*/ 2399629 w 8079933"/>
              <a:gd name="connsiteY207" fmla="*/ 4540868 h 4687251"/>
              <a:gd name="connsiteX208" fmla="*/ 2399846 w 8079933"/>
              <a:gd name="connsiteY208" fmla="*/ 4543358 h 4687251"/>
              <a:gd name="connsiteX209" fmla="*/ 2396265 w 8079933"/>
              <a:gd name="connsiteY209" fmla="*/ 4546715 h 4687251"/>
              <a:gd name="connsiteX210" fmla="*/ 2397567 w 8079933"/>
              <a:gd name="connsiteY210" fmla="*/ 4548988 h 4687251"/>
              <a:gd name="connsiteX211" fmla="*/ 2394204 w 8079933"/>
              <a:gd name="connsiteY211" fmla="*/ 4550395 h 4687251"/>
              <a:gd name="connsiteX212" fmla="*/ 2391164 w 8079933"/>
              <a:gd name="connsiteY212" fmla="*/ 4547472 h 4687251"/>
              <a:gd name="connsiteX213" fmla="*/ 2390731 w 8079933"/>
              <a:gd name="connsiteY213" fmla="*/ 4544224 h 4687251"/>
              <a:gd name="connsiteX214" fmla="*/ 2388235 w 8079933"/>
              <a:gd name="connsiteY214" fmla="*/ 4542709 h 4687251"/>
              <a:gd name="connsiteX215" fmla="*/ 2382917 w 8079933"/>
              <a:gd name="connsiteY215" fmla="*/ 4543683 h 4687251"/>
              <a:gd name="connsiteX216" fmla="*/ 2379445 w 8079933"/>
              <a:gd name="connsiteY216" fmla="*/ 4543142 h 4687251"/>
              <a:gd name="connsiteX217" fmla="*/ 2374670 w 8079933"/>
              <a:gd name="connsiteY217" fmla="*/ 4537511 h 4687251"/>
              <a:gd name="connsiteX218" fmla="*/ 2370221 w 8079933"/>
              <a:gd name="connsiteY218" fmla="*/ 4536428 h 4687251"/>
              <a:gd name="connsiteX219" fmla="*/ 2368484 w 8079933"/>
              <a:gd name="connsiteY219" fmla="*/ 4532206 h 4687251"/>
              <a:gd name="connsiteX220" fmla="*/ 2364035 w 8079933"/>
              <a:gd name="connsiteY220" fmla="*/ 4529824 h 4687251"/>
              <a:gd name="connsiteX221" fmla="*/ 2363710 w 8079933"/>
              <a:gd name="connsiteY221" fmla="*/ 4527334 h 4687251"/>
              <a:gd name="connsiteX222" fmla="*/ 2365120 w 8079933"/>
              <a:gd name="connsiteY222" fmla="*/ 4525385 h 4687251"/>
              <a:gd name="connsiteX223" fmla="*/ 7729206 w 8079933"/>
              <a:gd name="connsiteY223" fmla="*/ 4521163 h 4687251"/>
              <a:gd name="connsiteX224" fmla="*/ 7728663 w 8079933"/>
              <a:gd name="connsiteY224" fmla="*/ 4523220 h 4687251"/>
              <a:gd name="connsiteX225" fmla="*/ 7726493 w 8079933"/>
              <a:gd name="connsiteY225" fmla="*/ 4522787 h 4687251"/>
              <a:gd name="connsiteX226" fmla="*/ 2433051 w 8079933"/>
              <a:gd name="connsiteY226" fmla="*/ 4519322 h 4687251"/>
              <a:gd name="connsiteX227" fmla="*/ 2435872 w 8079933"/>
              <a:gd name="connsiteY227" fmla="*/ 4521055 h 4687251"/>
              <a:gd name="connsiteX228" fmla="*/ 2436740 w 8079933"/>
              <a:gd name="connsiteY228" fmla="*/ 4526035 h 4687251"/>
              <a:gd name="connsiteX229" fmla="*/ 2439780 w 8079933"/>
              <a:gd name="connsiteY229" fmla="*/ 4530583 h 4687251"/>
              <a:gd name="connsiteX230" fmla="*/ 2439237 w 8079933"/>
              <a:gd name="connsiteY230" fmla="*/ 4532315 h 4687251"/>
              <a:gd name="connsiteX231" fmla="*/ 2441298 w 8079933"/>
              <a:gd name="connsiteY231" fmla="*/ 4535021 h 4687251"/>
              <a:gd name="connsiteX232" fmla="*/ 2438151 w 8079933"/>
              <a:gd name="connsiteY232" fmla="*/ 4538161 h 4687251"/>
              <a:gd name="connsiteX233" fmla="*/ 2443360 w 8079933"/>
              <a:gd name="connsiteY233" fmla="*/ 4541951 h 4687251"/>
              <a:gd name="connsiteX234" fmla="*/ 2441624 w 8079933"/>
              <a:gd name="connsiteY234" fmla="*/ 4544116 h 4687251"/>
              <a:gd name="connsiteX235" fmla="*/ 2439997 w 8079933"/>
              <a:gd name="connsiteY235" fmla="*/ 4542600 h 4687251"/>
              <a:gd name="connsiteX236" fmla="*/ 2435438 w 8079933"/>
              <a:gd name="connsiteY236" fmla="*/ 4541410 h 4687251"/>
              <a:gd name="connsiteX237" fmla="*/ 2431206 w 8079933"/>
              <a:gd name="connsiteY237" fmla="*/ 4539028 h 4687251"/>
              <a:gd name="connsiteX238" fmla="*/ 2431206 w 8079933"/>
              <a:gd name="connsiteY238" fmla="*/ 4535455 h 4687251"/>
              <a:gd name="connsiteX239" fmla="*/ 2432834 w 8079933"/>
              <a:gd name="connsiteY239" fmla="*/ 4532640 h 4687251"/>
              <a:gd name="connsiteX240" fmla="*/ 2430664 w 8079933"/>
              <a:gd name="connsiteY240" fmla="*/ 4528526 h 4687251"/>
              <a:gd name="connsiteX241" fmla="*/ 2432292 w 8079933"/>
              <a:gd name="connsiteY241" fmla="*/ 4524086 h 4687251"/>
              <a:gd name="connsiteX242" fmla="*/ 8009722 w 8079933"/>
              <a:gd name="connsiteY242" fmla="*/ 4515155 h 4687251"/>
              <a:gd name="connsiteX243" fmla="*/ 8009506 w 8079933"/>
              <a:gd name="connsiteY243" fmla="*/ 4517645 h 4687251"/>
              <a:gd name="connsiteX244" fmla="*/ 8007335 w 8079933"/>
              <a:gd name="connsiteY244" fmla="*/ 4517212 h 4687251"/>
              <a:gd name="connsiteX245" fmla="*/ 8006358 w 8079933"/>
              <a:gd name="connsiteY245" fmla="*/ 4515480 h 4687251"/>
              <a:gd name="connsiteX246" fmla="*/ 7713255 w 8079933"/>
              <a:gd name="connsiteY246" fmla="*/ 4510986 h 4687251"/>
              <a:gd name="connsiteX247" fmla="*/ 7717379 w 8079933"/>
              <a:gd name="connsiteY247" fmla="*/ 4515100 h 4687251"/>
              <a:gd name="connsiteX248" fmla="*/ 7719440 w 8079933"/>
              <a:gd name="connsiteY248" fmla="*/ 4520189 h 4687251"/>
              <a:gd name="connsiteX249" fmla="*/ 7720200 w 8079933"/>
              <a:gd name="connsiteY249" fmla="*/ 4521705 h 4687251"/>
              <a:gd name="connsiteX250" fmla="*/ 7719983 w 8079933"/>
              <a:gd name="connsiteY250" fmla="*/ 4522788 h 4687251"/>
              <a:gd name="connsiteX251" fmla="*/ 7717270 w 8079933"/>
              <a:gd name="connsiteY251" fmla="*/ 4523220 h 4687251"/>
              <a:gd name="connsiteX252" fmla="*/ 7716294 w 8079933"/>
              <a:gd name="connsiteY252" fmla="*/ 4522137 h 4687251"/>
              <a:gd name="connsiteX253" fmla="*/ 7714123 w 8079933"/>
              <a:gd name="connsiteY253" fmla="*/ 4523004 h 4687251"/>
              <a:gd name="connsiteX254" fmla="*/ 7715643 w 8079933"/>
              <a:gd name="connsiteY254" fmla="*/ 4523329 h 4687251"/>
              <a:gd name="connsiteX255" fmla="*/ 7717487 w 8079933"/>
              <a:gd name="connsiteY255" fmla="*/ 4525169 h 4687251"/>
              <a:gd name="connsiteX256" fmla="*/ 7719658 w 8079933"/>
              <a:gd name="connsiteY256" fmla="*/ 4526252 h 4687251"/>
              <a:gd name="connsiteX257" fmla="*/ 7720092 w 8079933"/>
              <a:gd name="connsiteY257" fmla="*/ 4528092 h 4687251"/>
              <a:gd name="connsiteX258" fmla="*/ 7718573 w 8079933"/>
              <a:gd name="connsiteY258" fmla="*/ 4529933 h 4687251"/>
              <a:gd name="connsiteX259" fmla="*/ 7716836 w 8079933"/>
              <a:gd name="connsiteY259" fmla="*/ 4529283 h 4687251"/>
              <a:gd name="connsiteX260" fmla="*/ 7711736 w 8079933"/>
              <a:gd name="connsiteY260" fmla="*/ 4531015 h 4687251"/>
              <a:gd name="connsiteX261" fmla="*/ 7709240 w 8079933"/>
              <a:gd name="connsiteY261" fmla="*/ 4532856 h 4687251"/>
              <a:gd name="connsiteX262" fmla="*/ 7706744 w 8079933"/>
              <a:gd name="connsiteY262" fmla="*/ 4532640 h 4687251"/>
              <a:gd name="connsiteX263" fmla="*/ 7705334 w 8079933"/>
              <a:gd name="connsiteY263" fmla="*/ 4531773 h 4687251"/>
              <a:gd name="connsiteX264" fmla="*/ 7703814 w 8079933"/>
              <a:gd name="connsiteY264" fmla="*/ 4532098 h 4687251"/>
              <a:gd name="connsiteX265" fmla="*/ 7700341 w 8079933"/>
              <a:gd name="connsiteY265" fmla="*/ 4536212 h 4687251"/>
              <a:gd name="connsiteX266" fmla="*/ 7698063 w 8079933"/>
              <a:gd name="connsiteY266" fmla="*/ 4535996 h 4687251"/>
              <a:gd name="connsiteX267" fmla="*/ 7697303 w 8079933"/>
              <a:gd name="connsiteY267" fmla="*/ 4533939 h 4687251"/>
              <a:gd name="connsiteX268" fmla="*/ 7701969 w 8079933"/>
              <a:gd name="connsiteY268" fmla="*/ 4529175 h 4687251"/>
              <a:gd name="connsiteX269" fmla="*/ 7703922 w 8079933"/>
              <a:gd name="connsiteY269" fmla="*/ 4527984 h 4687251"/>
              <a:gd name="connsiteX270" fmla="*/ 7703922 w 8079933"/>
              <a:gd name="connsiteY270" fmla="*/ 4525061 h 4687251"/>
              <a:gd name="connsiteX271" fmla="*/ 7707395 w 8079933"/>
              <a:gd name="connsiteY271" fmla="*/ 4524303 h 4687251"/>
              <a:gd name="connsiteX272" fmla="*/ 7708697 w 8079933"/>
              <a:gd name="connsiteY272" fmla="*/ 4520080 h 4687251"/>
              <a:gd name="connsiteX273" fmla="*/ 7708372 w 8079933"/>
              <a:gd name="connsiteY273" fmla="*/ 4515425 h 4687251"/>
              <a:gd name="connsiteX274" fmla="*/ 7709131 w 8079933"/>
              <a:gd name="connsiteY274" fmla="*/ 4512177 h 4687251"/>
              <a:gd name="connsiteX275" fmla="*/ 2472009 w 8079933"/>
              <a:gd name="connsiteY275" fmla="*/ 4510119 h 4687251"/>
              <a:gd name="connsiteX276" fmla="*/ 2477217 w 8079933"/>
              <a:gd name="connsiteY276" fmla="*/ 4512068 h 4687251"/>
              <a:gd name="connsiteX277" fmla="*/ 2483077 w 8079933"/>
              <a:gd name="connsiteY277" fmla="*/ 4510986 h 4687251"/>
              <a:gd name="connsiteX278" fmla="*/ 2485681 w 8079933"/>
              <a:gd name="connsiteY278" fmla="*/ 4515749 h 4687251"/>
              <a:gd name="connsiteX279" fmla="*/ 2488394 w 8079933"/>
              <a:gd name="connsiteY279" fmla="*/ 4523653 h 4687251"/>
              <a:gd name="connsiteX280" fmla="*/ 2494580 w 8079933"/>
              <a:gd name="connsiteY280" fmla="*/ 4524411 h 4687251"/>
              <a:gd name="connsiteX281" fmla="*/ 2500657 w 8079933"/>
              <a:gd name="connsiteY281" fmla="*/ 4529500 h 4687251"/>
              <a:gd name="connsiteX282" fmla="*/ 2500983 w 8079933"/>
              <a:gd name="connsiteY282" fmla="*/ 4534913 h 4687251"/>
              <a:gd name="connsiteX283" fmla="*/ 2506083 w 8079933"/>
              <a:gd name="connsiteY283" fmla="*/ 4536645 h 4687251"/>
              <a:gd name="connsiteX284" fmla="*/ 2524748 w 8079933"/>
              <a:gd name="connsiteY284" fmla="*/ 4542708 h 4687251"/>
              <a:gd name="connsiteX285" fmla="*/ 2527026 w 8079933"/>
              <a:gd name="connsiteY285" fmla="*/ 4545307 h 4687251"/>
              <a:gd name="connsiteX286" fmla="*/ 2533863 w 8079933"/>
              <a:gd name="connsiteY286" fmla="*/ 4547364 h 4687251"/>
              <a:gd name="connsiteX287" fmla="*/ 2539723 w 8079933"/>
              <a:gd name="connsiteY287" fmla="*/ 4552669 h 4687251"/>
              <a:gd name="connsiteX288" fmla="*/ 2544715 w 8079933"/>
              <a:gd name="connsiteY288" fmla="*/ 4553210 h 4687251"/>
              <a:gd name="connsiteX289" fmla="*/ 2553504 w 8079933"/>
              <a:gd name="connsiteY289" fmla="*/ 4551153 h 4687251"/>
              <a:gd name="connsiteX290" fmla="*/ 2557628 w 8079933"/>
              <a:gd name="connsiteY290" fmla="*/ 4552669 h 4687251"/>
              <a:gd name="connsiteX291" fmla="*/ 2558496 w 8079933"/>
              <a:gd name="connsiteY291" fmla="*/ 4556783 h 4687251"/>
              <a:gd name="connsiteX292" fmla="*/ 2552528 w 8079933"/>
              <a:gd name="connsiteY292" fmla="*/ 4560248 h 4687251"/>
              <a:gd name="connsiteX293" fmla="*/ 2550249 w 8079933"/>
              <a:gd name="connsiteY293" fmla="*/ 4558299 h 4687251"/>
              <a:gd name="connsiteX294" fmla="*/ 2545040 w 8079933"/>
              <a:gd name="connsiteY294" fmla="*/ 4559815 h 4687251"/>
              <a:gd name="connsiteX295" fmla="*/ 2544063 w 8079933"/>
              <a:gd name="connsiteY295" fmla="*/ 4564038 h 4687251"/>
              <a:gd name="connsiteX296" fmla="*/ 2539723 w 8079933"/>
              <a:gd name="connsiteY296" fmla="*/ 4568260 h 4687251"/>
              <a:gd name="connsiteX297" fmla="*/ 2534406 w 8079933"/>
              <a:gd name="connsiteY297" fmla="*/ 4569667 h 4687251"/>
              <a:gd name="connsiteX298" fmla="*/ 2528871 w 8079933"/>
              <a:gd name="connsiteY298" fmla="*/ 4567827 h 4687251"/>
              <a:gd name="connsiteX299" fmla="*/ 2523554 w 8079933"/>
              <a:gd name="connsiteY299" fmla="*/ 4564904 h 4687251"/>
              <a:gd name="connsiteX300" fmla="*/ 2513679 w 8079933"/>
              <a:gd name="connsiteY300" fmla="*/ 4563821 h 4687251"/>
              <a:gd name="connsiteX301" fmla="*/ 2506843 w 8079933"/>
              <a:gd name="connsiteY301" fmla="*/ 4564362 h 4687251"/>
              <a:gd name="connsiteX302" fmla="*/ 2496859 w 8079933"/>
              <a:gd name="connsiteY302" fmla="*/ 4563496 h 4687251"/>
              <a:gd name="connsiteX303" fmla="*/ 2488720 w 8079933"/>
              <a:gd name="connsiteY303" fmla="*/ 4566202 h 4687251"/>
              <a:gd name="connsiteX304" fmla="*/ 2486116 w 8079933"/>
              <a:gd name="connsiteY304" fmla="*/ 4566202 h 4687251"/>
              <a:gd name="connsiteX305" fmla="*/ 2483837 w 8079933"/>
              <a:gd name="connsiteY305" fmla="*/ 4557216 h 4687251"/>
              <a:gd name="connsiteX306" fmla="*/ 2495231 w 8079933"/>
              <a:gd name="connsiteY306" fmla="*/ 4556783 h 4687251"/>
              <a:gd name="connsiteX307" fmla="*/ 2501633 w 8079933"/>
              <a:gd name="connsiteY307" fmla="*/ 4554510 h 4687251"/>
              <a:gd name="connsiteX308" fmla="*/ 2505540 w 8079933"/>
              <a:gd name="connsiteY308" fmla="*/ 4553752 h 4687251"/>
              <a:gd name="connsiteX309" fmla="*/ 2506408 w 8079933"/>
              <a:gd name="connsiteY309" fmla="*/ 4552128 h 4687251"/>
              <a:gd name="connsiteX310" fmla="*/ 2500006 w 8079933"/>
              <a:gd name="connsiteY310" fmla="*/ 4553427 h 4687251"/>
              <a:gd name="connsiteX311" fmla="*/ 2493386 w 8079933"/>
              <a:gd name="connsiteY311" fmla="*/ 4553427 h 4687251"/>
              <a:gd name="connsiteX312" fmla="*/ 2484922 w 8079933"/>
              <a:gd name="connsiteY312" fmla="*/ 4555051 h 4687251"/>
              <a:gd name="connsiteX313" fmla="*/ 2483186 w 8079933"/>
              <a:gd name="connsiteY313" fmla="*/ 4554618 h 4687251"/>
              <a:gd name="connsiteX314" fmla="*/ 2339184 w 8079933"/>
              <a:gd name="connsiteY314" fmla="*/ 4502540 h 4687251"/>
              <a:gd name="connsiteX315" fmla="*/ 2341897 w 8079933"/>
              <a:gd name="connsiteY315" fmla="*/ 4504273 h 4687251"/>
              <a:gd name="connsiteX316" fmla="*/ 2346997 w 8079933"/>
              <a:gd name="connsiteY316" fmla="*/ 4510228 h 4687251"/>
              <a:gd name="connsiteX317" fmla="*/ 2350253 w 8079933"/>
              <a:gd name="connsiteY317" fmla="*/ 4512177 h 4687251"/>
              <a:gd name="connsiteX318" fmla="*/ 2354159 w 8079933"/>
              <a:gd name="connsiteY318" fmla="*/ 4512285 h 4687251"/>
              <a:gd name="connsiteX319" fmla="*/ 2358282 w 8079933"/>
              <a:gd name="connsiteY319" fmla="*/ 4513909 h 4687251"/>
              <a:gd name="connsiteX320" fmla="*/ 2362080 w 8079933"/>
              <a:gd name="connsiteY320" fmla="*/ 4515967 h 4687251"/>
              <a:gd name="connsiteX321" fmla="*/ 2367615 w 8079933"/>
              <a:gd name="connsiteY321" fmla="*/ 4515967 h 4687251"/>
              <a:gd name="connsiteX322" fmla="*/ 2369676 w 8079933"/>
              <a:gd name="connsiteY322" fmla="*/ 4518240 h 4687251"/>
              <a:gd name="connsiteX323" fmla="*/ 2374234 w 8079933"/>
              <a:gd name="connsiteY323" fmla="*/ 4521597 h 4687251"/>
              <a:gd name="connsiteX324" fmla="*/ 2376296 w 8079933"/>
              <a:gd name="connsiteY324" fmla="*/ 4521813 h 4687251"/>
              <a:gd name="connsiteX325" fmla="*/ 2377598 w 8079933"/>
              <a:gd name="connsiteY325" fmla="*/ 4523654 h 4687251"/>
              <a:gd name="connsiteX326" fmla="*/ 2376839 w 8079933"/>
              <a:gd name="connsiteY326" fmla="*/ 4525061 h 4687251"/>
              <a:gd name="connsiteX327" fmla="*/ 2372173 w 8079933"/>
              <a:gd name="connsiteY327" fmla="*/ 4525061 h 4687251"/>
              <a:gd name="connsiteX328" fmla="*/ 2367832 w 8079933"/>
              <a:gd name="connsiteY328" fmla="*/ 4523329 h 4687251"/>
              <a:gd name="connsiteX329" fmla="*/ 2361430 w 8079933"/>
              <a:gd name="connsiteY329" fmla="*/ 4520947 h 4687251"/>
              <a:gd name="connsiteX330" fmla="*/ 2359585 w 8079933"/>
              <a:gd name="connsiteY330" fmla="*/ 4522030 h 4687251"/>
              <a:gd name="connsiteX331" fmla="*/ 2355896 w 8079933"/>
              <a:gd name="connsiteY331" fmla="*/ 4522030 h 4687251"/>
              <a:gd name="connsiteX332" fmla="*/ 2353616 w 8079933"/>
              <a:gd name="connsiteY332" fmla="*/ 4518673 h 4687251"/>
              <a:gd name="connsiteX333" fmla="*/ 2346997 w 8079933"/>
              <a:gd name="connsiteY333" fmla="*/ 4515750 h 4687251"/>
              <a:gd name="connsiteX334" fmla="*/ 2342005 w 8079933"/>
              <a:gd name="connsiteY334" fmla="*/ 4515100 h 4687251"/>
              <a:gd name="connsiteX335" fmla="*/ 2338967 w 8079933"/>
              <a:gd name="connsiteY335" fmla="*/ 4509361 h 4687251"/>
              <a:gd name="connsiteX336" fmla="*/ 2337882 w 8079933"/>
              <a:gd name="connsiteY336" fmla="*/ 4504706 h 4687251"/>
              <a:gd name="connsiteX337" fmla="*/ 8013846 w 8079933"/>
              <a:gd name="connsiteY337" fmla="*/ 4492743 h 4687251"/>
              <a:gd name="connsiteX338" fmla="*/ 8013086 w 8079933"/>
              <a:gd name="connsiteY338" fmla="*/ 4495125 h 4687251"/>
              <a:gd name="connsiteX339" fmla="*/ 8012110 w 8079933"/>
              <a:gd name="connsiteY339" fmla="*/ 4493610 h 4687251"/>
              <a:gd name="connsiteX340" fmla="*/ 2354486 w 8079933"/>
              <a:gd name="connsiteY340" fmla="*/ 4490955 h 4687251"/>
              <a:gd name="connsiteX341" fmla="*/ 2355896 w 8079933"/>
              <a:gd name="connsiteY341" fmla="*/ 4495502 h 4687251"/>
              <a:gd name="connsiteX342" fmla="*/ 2353509 w 8079933"/>
              <a:gd name="connsiteY342" fmla="*/ 4499400 h 4687251"/>
              <a:gd name="connsiteX343" fmla="*/ 2351447 w 8079933"/>
              <a:gd name="connsiteY343" fmla="*/ 4498318 h 4687251"/>
              <a:gd name="connsiteX344" fmla="*/ 2349060 w 8079933"/>
              <a:gd name="connsiteY344" fmla="*/ 4496152 h 4687251"/>
              <a:gd name="connsiteX345" fmla="*/ 2348191 w 8079933"/>
              <a:gd name="connsiteY345" fmla="*/ 4493662 h 4687251"/>
              <a:gd name="connsiteX346" fmla="*/ 2343634 w 8079933"/>
              <a:gd name="connsiteY346" fmla="*/ 4493986 h 4687251"/>
              <a:gd name="connsiteX347" fmla="*/ 2341898 w 8079933"/>
              <a:gd name="connsiteY347" fmla="*/ 4492471 h 4687251"/>
              <a:gd name="connsiteX348" fmla="*/ 2345479 w 8079933"/>
              <a:gd name="connsiteY348" fmla="*/ 4491063 h 4687251"/>
              <a:gd name="connsiteX349" fmla="*/ 2348734 w 8079933"/>
              <a:gd name="connsiteY349" fmla="*/ 4491821 h 4687251"/>
              <a:gd name="connsiteX350" fmla="*/ 8020899 w 8079933"/>
              <a:gd name="connsiteY350" fmla="*/ 4487113 h 4687251"/>
              <a:gd name="connsiteX351" fmla="*/ 8021224 w 8079933"/>
              <a:gd name="connsiteY351" fmla="*/ 4490902 h 4687251"/>
              <a:gd name="connsiteX352" fmla="*/ 8022744 w 8079933"/>
              <a:gd name="connsiteY352" fmla="*/ 4493068 h 4687251"/>
              <a:gd name="connsiteX353" fmla="*/ 8021224 w 8079933"/>
              <a:gd name="connsiteY353" fmla="*/ 4494042 h 4687251"/>
              <a:gd name="connsiteX354" fmla="*/ 8021875 w 8079933"/>
              <a:gd name="connsiteY354" fmla="*/ 4496317 h 4687251"/>
              <a:gd name="connsiteX355" fmla="*/ 8020899 w 8079933"/>
              <a:gd name="connsiteY355" fmla="*/ 4496966 h 4687251"/>
              <a:gd name="connsiteX356" fmla="*/ 8018186 w 8079933"/>
              <a:gd name="connsiteY356" fmla="*/ 4493501 h 4687251"/>
              <a:gd name="connsiteX357" fmla="*/ 2464846 w 8079933"/>
              <a:gd name="connsiteY357" fmla="*/ 4481861 h 4687251"/>
              <a:gd name="connsiteX358" fmla="*/ 2471683 w 8079933"/>
              <a:gd name="connsiteY358" fmla="*/ 4508929 h 4687251"/>
              <a:gd name="connsiteX359" fmla="*/ 2471358 w 8079933"/>
              <a:gd name="connsiteY359" fmla="*/ 4509903 h 4687251"/>
              <a:gd name="connsiteX360" fmla="*/ 2472009 w 8079933"/>
              <a:gd name="connsiteY360" fmla="*/ 4510120 h 4687251"/>
              <a:gd name="connsiteX361" fmla="*/ 2483186 w 8079933"/>
              <a:gd name="connsiteY361" fmla="*/ 4554619 h 4687251"/>
              <a:gd name="connsiteX362" fmla="*/ 2477760 w 8079933"/>
              <a:gd name="connsiteY362" fmla="*/ 4553319 h 4687251"/>
              <a:gd name="connsiteX363" fmla="*/ 2466366 w 8079933"/>
              <a:gd name="connsiteY363" fmla="*/ 4545740 h 4687251"/>
              <a:gd name="connsiteX364" fmla="*/ 2458227 w 8079933"/>
              <a:gd name="connsiteY364" fmla="*/ 4542817 h 4687251"/>
              <a:gd name="connsiteX365" fmla="*/ 2454320 w 8079933"/>
              <a:gd name="connsiteY365" fmla="*/ 4543250 h 4687251"/>
              <a:gd name="connsiteX366" fmla="*/ 2449111 w 8079933"/>
              <a:gd name="connsiteY366" fmla="*/ 4540003 h 4687251"/>
              <a:gd name="connsiteX367" fmla="*/ 2444771 w 8079933"/>
              <a:gd name="connsiteY367" fmla="*/ 4535671 h 4687251"/>
              <a:gd name="connsiteX368" fmla="*/ 2444120 w 8079933"/>
              <a:gd name="connsiteY368" fmla="*/ 4533614 h 4687251"/>
              <a:gd name="connsiteX369" fmla="*/ 2444120 w 8079933"/>
              <a:gd name="connsiteY369" fmla="*/ 4531557 h 4687251"/>
              <a:gd name="connsiteX370" fmla="*/ 2451499 w 8079933"/>
              <a:gd name="connsiteY370" fmla="*/ 4527876 h 4687251"/>
              <a:gd name="connsiteX371" fmla="*/ 2452367 w 8079933"/>
              <a:gd name="connsiteY371" fmla="*/ 4525494 h 4687251"/>
              <a:gd name="connsiteX372" fmla="*/ 2457033 w 8079933"/>
              <a:gd name="connsiteY372" fmla="*/ 4524194 h 4687251"/>
              <a:gd name="connsiteX373" fmla="*/ 2460289 w 8079933"/>
              <a:gd name="connsiteY373" fmla="*/ 4518673 h 4687251"/>
              <a:gd name="connsiteX374" fmla="*/ 2458878 w 8079933"/>
              <a:gd name="connsiteY374" fmla="*/ 4514667 h 4687251"/>
              <a:gd name="connsiteX375" fmla="*/ 2453777 w 8079933"/>
              <a:gd name="connsiteY375" fmla="*/ 4514451 h 4687251"/>
              <a:gd name="connsiteX376" fmla="*/ 2446833 w 8079933"/>
              <a:gd name="connsiteY376" fmla="*/ 4518240 h 4687251"/>
              <a:gd name="connsiteX377" fmla="*/ 2443468 w 8079933"/>
              <a:gd name="connsiteY377" fmla="*/ 4522246 h 4687251"/>
              <a:gd name="connsiteX378" fmla="*/ 2439996 w 8079933"/>
              <a:gd name="connsiteY378" fmla="*/ 4522354 h 4687251"/>
              <a:gd name="connsiteX379" fmla="*/ 2435330 w 8079933"/>
              <a:gd name="connsiteY379" fmla="*/ 4516508 h 4687251"/>
              <a:gd name="connsiteX380" fmla="*/ 2435004 w 8079933"/>
              <a:gd name="connsiteY380" fmla="*/ 4510986 h 4687251"/>
              <a:gd name="connsiteX381" fmla="*/ 2433594 w 8079933"/>
              <a:gd name="connsiteY381" fmla="*/ 4508171 h 4687251"/>
              <a:gd name="connsiteX382" fmla="*/ 2437609 w 8079933"/>
              <a:gd name="connsiteY382" fmla="*/ 4504165 h 4687251"/>
              <a:gd name="connsiteX383" fmla="*/ 2438260 w 8079933"/>
              <a:gd name="connsiteY383" fmla="*/ 4500700 h 4687251"/>
              <a:gd name="connsiteX384" fmla="*/ 2434679 w 8079933"/>
              <a:gd name="connsiteY384" fmla="*/ 4501241 h 4687251"/>
              <a:gd name="connsiteX385" fmla="*/ 2431749 w 8079933"/>
              <a:gd name="connsiteY385" fmla="*/ 4499076 h 4687251"/>
              <a:gd name="connsiteX386" fmla="*/ 2434679 w 8079933"/>
              <a:gd name="connsiteY386" fmla="*/ 4494853 h 4687251"/>
              <a:gd name="connsiteX387" fmla="*/ 2437609 w 8079933"/>
              <a:gd name="connsiteY387" fmla="*/ 4495720 h 4687251"/>
              <a:gd name="connsiteX388" fmla="*/ 2442383 w 8079933"/>
              <a:gd name="connsiteY388" fmla="*/ 4498535 h 4687251"/>
              <a:gd name="connsiteX389" fmla="*/ 2443577 w 8079933"/>
              <a:gd name="connsiteY389" fmla="*/ 4496478 h 4687251"/>
              <a:gd name="connsiteX390" fmla="*/ 2447701 w 8079933"/>
              <a:gd name="connsiteY390" fmla="*/ 4492471 h 4687251"/>
              <a:gd name="connsiteX391" fmla="*/ 2448461 w 8079933"/>
              <a:gd name="connsiteY391" fmla="*/ 4489332 h 4687251"/>
              <a:gd name="connsiteX392" fmla="*/ 2447375 w 8079933"/>
              <a:gd name="connsiteY392" fmla="*/ 4485650 h 4687251"/>
              <a:gd name="connsiteX393" fmla="*/ 2449329 w 8079933"/>
              <a:gd name="connsiteY393" fmla="*/ 4481969 h 4687251"/>
              <a:gd name="connsiteX394" fmla="*/ 2452693 w 8079933"/>
              <a:gd name="connsiteY394" fmla="*/ 4482835 h 4687251"/>
              <a:gd name="connsiteX395" fmla="*/ 2456382 w 8079933"/>
              <a:gd name="connsiteY395" fmla="*/ 4486300 h 4687251"/>
              <a:gd name="connsiteX396" fmla="*/ 2458444 w 8079933"/>
              <a:gd name="connsiteY396" fmla="*/ 4484567 h 4687251"/>
              <a:gd name="connsiteX397" fmla="*/ 2465824 w 8079933"/>
              <a:gd name="connsiteY397" fmla="*/ 4481536 h 4687251"/>
              <a:gd name="connsiteX398" fmla="*/ 2469405 w 8079933"/>
              <a:gd name="connsiteY398" fmla="*/ 4486841 h 4687251"/>
              <a:gd name="connsiteX399" fmla="*/ 2477218 w 8079933"/>
              <a:gd name="connsiteY399" fmla="*/ 4494528 h 4687251"/>
              <a:gd name="connsiteX400" fmla="*/ 2479605 w 8079933"/>
              <a:gd name="connsiteY400" fmla="*/ 4506222 h 4687251"/>
              <a:gd name="connsiteX401" fmla="*/ 2477001 w 8079933"/>
              <a:gd name="connsiteY401" fmla="*/ 4503623 h 4687251"/>
              <a:gd name="connsiteX402" fmla="*/ 2473420 w 8079933"/>
              <a:gd name="connsiteY402" fmla="*/ 4505247 h 4687251"/>
              <a:gd name="connsiteX403" fmla="*/ 2471683 w 8079933"/>
              <a:gd name="connsiteY403" fmla="*/ 4508928 h 4687251"/>
              <a:gd name="connsiteX404" fmla="*/ 2464847 w 8079933"/>
              <a:gd name="connsiteY404" fmla="*/ 4481860 h 4687251"/>
              <a:gd name="connsiteX405" fmla="*/ 2342548 w 8079933"/>
              <a:gd name="connsiteY405" fmla="*/ 4478287 h 4687251"/>
              <a:gd name="connsiteX406" fmla="*/ 2350252 w 8079933"/>
              <a:gd name="connsiteY406" fmla="*/ 4484241 h 4687251"/>
              <a:gd name="connsiteX407" fmla="*/ 2350035 w 8079933"/>
              <a:gd name="connsiteY407" fmla="*/ 4487706 h 4687251"/>
              <a:gd name="connsiteX408" fmla="*/ 2348191 w 8079933"/>
              <a:gd name="connsiteY408" fmla="*/ 4488464 h 4687251"/>
              <a:gd name="connsiteX409" fmla="*/ 2342982 w 8079933"/>
              <a:gd name="connsiteY409" fmla="*/ 4482834 h 4687251"/>
              <a:gd name="connsiteX410" fmla="*/ 2341246 w 8079933"/>
              <a:gd name="connsiteY410" fmla="*/ 4479911 h 4687251"/>
              <a:gd name="connsiteX411" fmla="*/ 2333974 w 8079933"/>
              <a:gd name="connsiteY411" fmla="*/ 4476664 h 4687251"/>
              <a:gd name="connsiteX412" fmla="*/ 2335167 w 8079933"/>
              <a:gd name="connsiteY412" fmla="*/ 4479046 h 4687251"/>
              <a:gd name="connsiteX413" fmla="*/ 2332997 w 8079933"/>
              <a:gd name="connsiteY413" fmla="*/ 4484351 h 4687251"/>
              <a:gd name="connsiteX414" fmla="*/ 2330827 w 8079933"/>
              <a:gd name="connsiteY414" fmla="*/ 4485542 h 4687251"/>
              <a:gd name="connsiteX415" fmla="*/ 2330068 w 8079933"/>
              <a:gd name="connsiteY415" fmla="*/ 4483918 h 4687251"/>
              <a:gd name="connsiteX416" fmla="*/ 2331803 w 8079933"/>
              <a:gd name="connsiteY416" fmla="*/ 4482186 h 4687251"/>
              <a:gd name="connsiteX417" fmla="*/ 2331695 w 8079933"/>
              <a:gd name="connsiteY417" fmla="*/ 4477530 h 4687251"/>
              <a:gd name="connsiteX418" fmla="*/ 2343742 w 8079933"/>
              <a:gd name="connsiteY418" fmla="*/ 4474498 h 4687251"/>
              <a:gd name="connsiteX419" fmla="*/ 2346998 w 8079933"/>
              <a:gd name="connsiteY419" fmla="*/ 4475255 h 4687251"/>
              <a:gd name="connsiteX420" fmla="*/ 2347865 w 8079933"/>
              <a:gd name="connsiteY420" fmla="*/ 4479045 h 4687251"/>
              <a:gd name="connsiteX421" fmla="*/ 2345912 w 8079933"/>
              <a:gd name="connsiteY421" fmla="*/ 4479262 h 4687251"/>
              <a:gd name="connsiteX422" fmla="*/ 2342223 w 8079933"/>
              <a:gd name="connsiteY422" fmla="*/ 4475689 h 4687251"/>
              <a:gd name="connsiteX423" fmla="*/ 2334952 w 8079933"/>
              <a:gd name="connsiteY423" fmla="*/ 4468543 h 4687251"/>
              <a:gd name="connsiteX424" fmla="*/ 2339726 w 8079933"/>
              <a:gd name="connsiteY424" fmla="*/ 4471033 h 4687251"/>
              <a:gd name="connsiteX425" fmla="*/ 2340811 w 8079933"/>
              <a:gd name="connsiteY425" fmla="*/ 4473632 h 4687251"/>
              <a:gd name="connsiteX426" fmla="*/ 2339509 w 8079933"/>
              <a:gd name="connsiteY426" fmla="*/ 4473848 h 4687251"/>
              <a:gd name="connsiteX427" fmla="*/ 2335929 w 8079933"/>
              <a:gd name="connsiteY427" fmla="*/ 4471249 h 4687251"/>
              <a:gd name="connsiteX428" fmla="*/ 7698714 w 8079933"/>
              <a:gd name="connsiteY428" fmla="*/ 4467136 h 4687251"/>
              <a:gd name="connsiteX429" fmla="*/ 7702729 w 8079933"/>
              <a:gd name="connsiteY429" fmla="*/ 4467352 h 4687251"/>
              <a:gd name="connsiteX430" fmla="*/ 7702729 w 8079933"/>
              <a:gd name="connsiteY430" fmla="*/ 4470167 h 4687251"/>
              <a:gd name="connsiteX431" fmla="*/ 7700885 w 8079933"/>
              <a:gd name="connsiteY431" fmla="*/ 4470600 h 4687251"/>
              <a:gd name="connsiteX432" fmla="*/ 7698606 w 8079933"/>
              <a:gd name="connsiteY432" fmla="*/ 4469301 h 4687251"/>
              <a:gd name="connsiteX433" fmla="*/ 7697846 w 8079933"/>
              <a:gd name="connsiteY433" fmla="*/ 4468760 h 4687251"/>
              <a:gd name="connsiteX434" fmla="*/ 2387751 w 8079933"/>
              <a:gd name="connsiteY434" fmla="*/ 4465107 h 4687251"/>
              <a:gd name="connsiteX435" fmla="*/ 2398869 w 8079933"/>
              <a:gd name="connsiteY435" fmla="*/ 4465945 h 4687251"/>
              <a:gd name="connsiteX436" fmla="*/ 2402884 w 8079933"/>
              <a:gd name="connsiteY436" fmla="*/ 4468219 h 4687251"/>
              <a:gd name="connsiteX437" fmla="*/ 2420138 w 8079933"/>
              <a:gd name="connsiteY437" fmla="*/ 4465296 h 4687251"/>
              <a:gd name="connsiteX438" fmla="*/ 2451065 w 8079933"/>
              <a:gd name="connsiteY438" fmla="*/ 4465296 h 4687251"/>
              <a:gd name="connsiteX439" fmla="*/ 2452693 w 8079933"/>
              <a:gd name="connsiteY439" fmla="*/ 4467244 h 4687251"/>
              <a:gd name="connsiteX440" fmla="*/ 2457793 w 8079933"/>
              <a:gd name="connsiteY440" fmla="*/ 4468002 h 4687251"/>
              <a:gd name="connsiteX441" fmla="*/ 2457793 w 8079933"/>
              <a:gd name="connsiteY441" fmla="*/ 4468002 h 4687251"/>
              <a:gd name="connsiteX442" fmla="*/ 2452693 w 8079933"/>
              <a:gd name="connsiteY442" fmla="*/ 4467244 h 4687251"/>
              <a:gd name="connsiteX443" fmla="*/ 2451065 w 8079933"/>
              <a:gd name="connsiteY443" fmla="*/ 4465295 h 4687251"/>
              <a:gd name="connsiteX444" fmla="*/ 2420138 w 8079933"/>
              <a:gd name="connsiteY444" fmla="*/ 4465295 h 4687251"/>
              <a:gd name="connsiteX445" fmla="*/ 2402883 w 8079933"/>
              <a:gd name="connsiteY445" fmla="*/ 4468218 h 4687251"/>
              <a:gd name="connsiteX446" fmla="*/ 2398869 w 8079933"/>
              <a:gd name="connsiteY446" fmla="*/ 4465944 h 4687251"/>
              <a:gd name="connsiteX447" fmla="*/ 2329309 w 8079933"/>
              <a:gd name="connsiteY447" fmla="*/ 4462913 h 4687251"/>
              <a:gd name="connsiteX448" fmla="*/ 2331371 w 8079933"/>
              <a:gd name="connsiteY448" fmla="*/ 4465078 h 4687251"/>
              <a:gd name="connsiteX449" fmla="*/ 2333758 w 8079933"/>
              <a:gd name="connsiteY449" fmla="*/ 4467460 h 4687251"/>
              <a:gd name="connsiteX450" fmla="*/ 2333866 w 8079933"/>
              <a:gd name="connsiteY450" fmla="*/ 4471682 h 4687251"/>
              <a:gd name="connsiteX451" fmla="*/ 2331045 w 8079933"/>
              <a:gd name="connsiteY451" fmla="*/ 4473631 h 4687251"/>
              <a:gd name="connsiteX452" fmla="*/ 2329092 w 8079933"/>
              <a:gd name="connsiteY452" fmla="*/ 4473090 h 4687251"/>
              <a:gd name="connsiteX453" fmla="*/ 2328658 w 8079933"/>
              <a:gd name="connsiteY453" fmla="*/ 4471033 h 4687251"/>
              <a:gd name="connsiteX454" fmla="*/ 2327790 w 8079933"/>
              <a:gd name="connsiteY454" fmla="*/ 4469733 h 4687251"/>
              <a:gd name="connsiteX455" fmla="*/ 2326922 w 8079933"/>
              <a:gd name="connsiteY455" fmla="*/ 4466269 h 4687251"/>
              <a:gd name="connsiteX456" fmla="*/ 2327899 w 8079933"/>
              <a:gd name="connsiteY456" fmla="*/ 4463887 h 4687251"/>
              <a:gd name="connsiteX457" fmla="*/ 2324427 w 8079933"/>
              <a:gd name="connsiteY457" fmla="*/ 4460964 h 4687251"/>
              <a:gd name="connsiteX458" fmla="*/ 2326163 w 8079933"/>
              <a:gd name="connsiteY458" fmla="*/ 4464104 h 4687251"/>
              <a:gd name="connsiteX459" fmla="*/ 2325946 w 8079933"/>
              <a:gd name="connsiteY459" fmla="*/ 4468651 h 4687251"/>
              <a:gd name="connsiteX460" fmla="*/ 2323558 w 8079933"/>
              <a:gd name="connsiteY460" fmla="*/ 4470383 h 4687251"/>
              <a:gd name="connsiteX461" fmla="*/ 2325946 w 8079933"/>
              <a:gd name="connsiteY461" fmla="*/ 4474064 h 4687251"/>
              <a:gd name="connsiteX462" fmla="*/ 2323124 w 8079933"/>
              <a:gd name="connsiteY462" fmla="*/ 4473523 h 4687251"/>
              <a:gd name="connsiteX463" fmla="*/ 2320845 w 8079933"/>
              <a:gd name="connsiteY463" fmla="*/ 4472007 h 4687251"/>
              <a:gd name="connsiteX464" fmla="*/ 2319543 w 8079933"/>
              <a:gd name="connsiteY464" fmla="*/ 4468434 h 4687251"/>
              <a:gd name="connsiteX465" fmla="*/ 2320736 w 8079933"/>
              <a:gd name="connsiteY465" fmla="*/ 4466053 h 4687251"/>
              <a:gd name="connsiteX466" fmla="*/ 2322690 w 8079933"/>
              <a:gd name="connsiteY466" fmla="*/ 4464320 h 4687251"/>
              <a:gd name="connsiteX467" fmla="*/ 2321605 w 8079933"/>
              <a:gd name="connsiteY467" fmla="*/ 4463346 h 4687251"/>
              <a:gd name="connsiteX468" fmla="*/ 2320628 w 8079933"/>
              <a:gd name="connsiteY468" fmla="*/ 4461397 h 4687251"/>
              <a:gd name="connsiteX469" fmla="*/ 2340270 w 8079933"/>
              <a:gd name="connsiteY469" fmla="*/ 4459232 h 4687251"/>
              <a:gd name="connsiteX470" fmla="*/ 2342766 w 8079933"/>
              <a:gd name="connsiteY470" fmla="*/ 4464862 h 4687251"/>
              <a:gd name="connsiteX471" fmla="*/ 2346889 w 8079933"/>
              <a:gd name="connsiteY471" fmla="*/ 4469301 h 4687251"/>
              <a:gd name="connsiteX472" fmla="*/ 2348083 w 8079933"/>
              <a:gd name="connsiteY472" fmla="*/ 4472008 h 4687251"/>
              <a:gd name="connsiteX473" fmla="*/ 2346672 w 8079933"/>
              <a:gd name="connsiteY473" fmla="*/ 4472116 h 4687251"/>
              <a:gd name="connsiteX474" fmla="*/ 2341029 w 8079933"/>
              <a:gd name="connsiteY474" fmla="*/ 4469409 h 4687251"/>
              <a:gd name="connsiteX475" fmla="*/ 2338316 w 8079933"/>
              <a:gd name="connsiteY475" fmla="*/ 4466378 h 4687251"/>
              <a:gd name="connsiteX476" fmla="*/ 2338208 w 8079933"/>
              <a:gd name="connsiteY476" fmla="*/ 4459340 h 4687251"/>
              <a:gd name="connsiteX477" fmla="*/ 2627296 w 8079933"/>
              <a:gd name="connsiteY477" fmla="*/ 4445048 h 4687251"/>
              <a:gd name="connsiteX478" fmla="*/ 2630334 w 8079933"/>
              <a:gd name="connsiteY478" fmla="*/ 4446997 h 4687251"/>
              <a:gd name="connsiteX479" fmla="*/ 2633264 w 8079933"/>
              <a:gd name="connsiteY479" fmla="*/ 4447538 h 4687251"/>
              <a:gd name="connsiteX480" fmla="*/ 2627079 w 8079933"/>
              <a:gd name="connsiteY480" fmla="*/ 4450028 h 4687251"/>
              <a:gd name="connsiteX481" fmla="*/ 2624909 w 8079933"/>
              <a:gd name="connsiteY481" fmla="*/ 4446997 h 4687251"/>
              <a:gd name="connsiteX482" fmla="*/ 2316396 w 8079933"/>
              <a:gd name="connsiteY482" fmla="*/ 4442233 h 4687251"/>
              <a:gd name="connsiteX483" fmla="*/ 2319651 w 8079933"/>
              <a:gd name="connsiteY483" fmla="*/ 4445156 h 4687251"/>
              <a:gd name="connsiteX484" fmla="*/ 2322690 w 8079933"/>
              <a:gd name="connsiteY484" fmla="*/ 4444939 h 4687251"/>
              <a:gd name="connsiteX485" fmla="*/ 2329418 w 8079933"/>
              <a:gd name="connsiteY485" fmla="*/ 4449379 h 4687251"/>
              <a:gd name="connsiteX486" fmla="*/ 2329201 w 8079933"/>
              <a:gd name="connsiteY486" fmla="*/ 4451978 h 4687251"/>
              <a:gd name="connsiteX487" fmla="*/ 2325511 w 8079933"/>
              <a:gd name="connsiteY487" fmla="*/ 4452194 h 4687251"/>
              <a:gd name="connsiteX488" fmla="*/ 2324969 w 8079933"/>
              <a:gd name="connsiteY488" fmla="*/ 4453710 h 4687251"/>
              <a:gd name="connsiteX489" fmla="*/ 2320194 w 8079933"/>
              <a:gd name="connsiteY489" fmla="*/ 4454143 h 4687251"/>
              <a:gd name="connsiteX490" fmla="*/ 2313574 w 8079933"/>
              <a:gd name="connsiteY490" fmla="*/ 4455442 h 4687251"/>
              <a:gd name="connsiteX491" fmla="*/ 2311404 w 8079933"/>
              <a:gd name="connsiteY491" fmla="*/ 4453818 h 4687251"/>
              <a:gd name="connsiteX492" fmla="*/ 2313466 w 8079933"/>
              <a:gd name="connsiteY492" fmla="*/ 4451761 h 4687251"/>
              <a:gd name="connsiteX493" fmla="*/ 2315745 w 8079933"/>
              <a:gd name="connsiteY493" fmla="*/ 4446997 h 4687251"/>
              <a:gd name="connsiteX494" fmla="*/ 2313357 w 8079933"/>
              <a:gd name="connsiteY494" fmla="*/ 4442990 h 4687251"/>
              <a:gd name="connsiteX495" fmla="*/ 2317806 w 8079933"/>
              <a:gd name="connsiteY495" fmla="*/ 4429999 h 4687251"/>
              <a:gd name="connsiteX496" fmla="*/ 2322907 w 8079933"/>
              <a:gd name="connsiteY496" fmla="*/ 4432814 h 4687251"/>
              <a:gd name="connsiteX497" fmla="*/ 2327790 w 8079933"/>
              <a:gd name="connsiteY497" fmla="*/ 4439851 h 4687251"/>
              <a:gd name="connsiteX498" fmla="*/ 2325837 w 8079933"/>
              <a:gd name="connsiteY498" fmla="*/ 4442991 h 4687251"/>
              <a:gd name="connsiteX499" fmla="*/ 2321821 w 8079933"/>
              <a:gd name="connsiteY499" fmla="*/ 4442774 h 4687251"/>
              <a:gd name="connsiteX500" fmla="*/ 2316721 w 8079933"/>
              <a:gd name="connsiteY500" fmla="*/ 4436711 h 4687251"/>
              <a:gd name="connsiteX501" fmla="*/ 2315528 w 8079933"/>
              <a:gd name="connsiteY501" fmla="*/ 4430648 h 4687251"/>
              <a:gd name="connsiteX502" fmla="*/ 2663758 w 8079933"/>
              <a:gd name="connsiteY502" fmla="*/ 4429457 h 4687251"/>
              <a:gd name="connsiteX503" fmla="*/ 2666036 w 8079933"/>
              <a:gd name="connsiteY503" fmla="*/ 4432922 h 4687251"/>
              <a:gd name="connsiteX504" fmla="*/ 2663649 w 8079933"/>
              <a:gd name="connsiteY504" fmla="*/ 4438444 h 4687251"/>
              <a:gd name="connsiteX505" fmla="*/ 2657572 w 8079933"/>
              <a:gd name="connsiteY505" fmla="*/ 4442883 h 4687251"/>
              <a:gd name="connsiteX506" fmla="*/ 2657463 w 8079933"/>
              <a:gd name="connsiteY506" fmla="*/ 4448079 h 4687251"/>
              <a:gd name="connsiteX507" fmla="*/ 2652255 w 8079933"/>
              <a:gd name="connsiteY507" fmla="*/ 4450570 h 4687251"/>
              <a:gd name="connsiteX508" fmla="*/ 2645201 w 8079933"/>
              <a:gd name="connsiteY508" fmla="*/ 4449920 h 4687251"/>
              <a:gd name="connsiteX509" fmla="*/ 2641077 w 8079933"/>
              <a:gd name="connsiteY509" fmla="*/ 4452302 h 4687251"/>
              <a:gd name="connsiteX510" fmla="*/ 2646178 w 8079933"/>
              <a:gd name="connsiteY510" fmla="*/ 4454684 h 4687251"/>
              <a:gd name="connsiteX511" fmla="*/ 2643465 w 8079933"/>
              <a:gd name="connsiteY511" fmla="*/ 4459231 h 4687251"/>
              <a:gd name="connsiteX512" fmla="*/ 2638798 w 8079933"/>
              <a:gd name="connsiteY512" fmla="*/ 4455767 h 4687251"/>
              <a:gd name="connsiteX513" fmla="*/ 2636194 w 8079933"/>
              <a:gd name="connsiteY513" fmla="*/ 4458581 h 4687251"/>
              <a:gd name="connsiteX514" fmla="*/ 2631094 w 8079933"/>
              <a:gd name="connsiteY514" fmla="*/ 4455767 h 4687251"/>
              <a:gd name="connsiteX515" fmla="*/ 2631202 w 8079933"/>
              <a:gd name="connsiteY515" fmla="*/ 4453493 h 4687251"/>
              <a:gd name="connsiteX516" fmla="*/ 2634566 w 8079933"/>
              <a:gd name="connsiteY516" fmla="*/ 4453709 h 4687251"/>
              <a:gd name="connsiteX517" fmla="*/ 2639233 w 8079933"/>
              <a:gd name="connsiteY517" fmla="*/ 4448838 h 4687251"/>
              <a:gd name="connsiteX518" fmla="*/ 2638365 w 8079933"/>
              <a:gd name="connsiteY518" fmla="*/ 4445914 h 4687251"/>
              <a:gd name="connsiteX519" fmla="*/ 2641620 w 8079933"/>
              <a:gd name="connsiteY519" fmla="*/ 4443857 h 4687251"/>
              <a:gd name="connsiteX520" fmla="*/ 2646937 w 8079933"/>
              <a:gd name="connsiteY520" fmla="*/ 4443857 h 4687251"/>
              <a:gd name="connsiteX521" fmla="*/ 2646937 w 8079933"/>
              <a:gd name="connsiteY521" fmla="*/ 4441691 h 4687251"/>
              <a:gd name="connsiteX522" fmla="*/ 2641620 w 8079933"/>
              <a:gd name="connsiteY522" fmla="*/ 4441042 h 4687251"/>
              <a:gd name="connsiteX523" fmla="*/ 2635868 w 8079933"/>
              <a:gd name="connsiteY523" fmla="*/ 4433246 h 4687251"/>
              <a:gd name="connsiteX524" fmla="*/ 2637605 w 8079933"/>
              <a:gd name="connsiteY524" fmla="*/ 4431189 h 4687251"/>
              <a:gd name="connsiteX525" fmla="*/ 2642271 w 8079933"/>
              <a:gd name="connsiteY525" fmla="*/ 4435087 h 4687251"/>
              <a:gd name="connsiteX526" fmla="*/ 2646937 w 8079933"/>
              <a:gd name="connsiteY526" fmla="*/ 4435845 h 4687251"/>
              <a:gd name="connsiteX527" fmla="*/ 2648674 w 8079933"/>
              <a:gd name="connsiteY527" fmla="*/ 4430864 h 4687251"/>
              <a:gd name="connsiteX528" fmla="*/ 2652906 w 8079933"/>
              <a:gd name="connsiteY528" fmla="*/ 4430323 h 4687251"/>
              <a:gd name="connsiteX529" fmla="*/ 2656270 w 8079933"/>
              <a:gd name="connsiteY529" fmla="*/ 4433571 h 4687251"/>
              <a:gd name="connsiteX530" fmla="*/ 2658766 w 8079933"/>
              <a:gd name="connsiteY530" fmla="*/ 4433463 h 4687251"/>
              <a:gd name="connsiteX531" fmla="*/ 2660502 w 8079933"/>
              <a:gd name="connsiteY531" fmla="*/ 4430540 h 4687251"/>
              <a:gd name="connsiteX532" fmla="*/ 2641838 w 8079933"/>
              <a:gd name="connsiteY532" fmla="*/ 4426317 h 4687251"/>
              <a:gd name="connsiteX533" fmla="*/ 2647589 w 8079933"/>
              <a:gd name="connsiteY533" fmla="*/ 4428590 h 4687251"/>
              <a:gd name="connsiteX534" fmla="*/ 2643900 w 8079933"/>
              <a:gd name="connsiteY534" fmla="*/ 4429781 h 4687251"/>
              <a:gd name="connsiteX535" fmla="*/ 2673958 w 8079933"/>
              <a:gd name="connsiteY535" fmla="*/ 4425668 h 4687251"/>
              <a:gd name="connsiteX536" fmla="*/ 2681012 w 8079933"/>
              <a:gd name="connsiteY536" fmla="*/ 4426967 h 4687251"/>
              <a:gd name="connsiteX537" fmla="*/ 2681121 w 8079933"/>
              <a:gd name="connsiteY537" fmla="*/ 4430431 h 4687251"/>
              <a:gd name="connsiteX538" fmla="*/ 2684484 w 8079933"/>
              <a:gd name="connsiteY538" fmla="*/ 4435088 h 4687251"/>
              <a:gd name="connsiteX539" fmla="*/ 2687414 w 8079933"/>
              <a:gd name="connsiteY539" fmla="*/ 4433572 h 4687251"/>
              <a:gd name="connsiteX540" fmla="*/ 2686004 w 8079933"/>
              <a:gd name="connsiteY540" fmla="*/ 4430973 h 4687251"/>
              <a:gd name="connsiteX541" fmla="*/ 2689476 w 8079933"/>
              <a:gd name="connsiteY541" fmla="*/ 4429674 h 4687251"/>
              <a:gd name="connsiteX542" fmla="*/ 2695228 w 8079933"/>
              <a:gd name="connsiteY542" fmla="*/ 4431298 h 4687251"/>
              <a:gd name="connsiteX543" fmla="*/ 2696964 w 8079933"/>
              <a:gd name="connsiteY543" fmla="*/ 4433788 h 4687251"/>
              <a:gd name="connsiteX544" fmla="*/ 2693600 w 8079933"/>
              <a:gd name="connsiteY544" fmla="*/ 4433572 h 4687251"/>
              <a:gd name="connsiteX545" fmla="*/ 2691212 w 8079933"/>
              <a:gd name="connsiteY545" fmla="*/ 4435521 h 4687251"/>
              <a:gd name="connsiteX546" fmla="*/ 2692298 w 8079933"/>
              <a:gd name="connsiteY546" fmla="*/ 4436603 h 4687251"/>
              <a:gd name="connsiteX547" fmla="*/ 2694685 w 8079933"/>
              <a:gd name="connsiteY547" fmla="*/ 4437577 h 4687251"/>
              <a:gd name="connsiteX548" fmla="*/ 2695336 w 8079933"/>
              <a:gd name="connsiteY548" fmla="*/ 4440392 h 4687251"/>
              <a:gd name="connsiteX549" fmla="*/ 2690887 w 8079933"/>
              <a:gd name="connsiteY549" fmla="*/ 4441584 h 4687251"/>
              <a:gd name="connsiteX550" fmla="*/ 2686655 w 8079933"/>
              <a:gd name="connsiteY550" fmla="*/ 4445265 h 4687251"/>
              <a:gd name="connsiteX551" fmla="*/ 2681012 w 8079933"/>
              <a:gd name="connsiteY551" fmla="*/ 4446239 h 4687251"/>
              <a:gd name="connsiteX552" fmla="*/ 2677214 w 8079933"/>
              <a:gd name="connsiteY552" fmla="*/ 4444940 h 4687251"/>
              <a:gd name="connsiteX553" fmla="*/ 2675043 w 8079933"/>
              <a:gd name="connsiteY553" fmla="*/ 4446456 h 4687251"/>
              <a:gd name="connsiteX554" fmla="*/ 2677540 w 8079933"/>
              <a:gd name="connsiteY554" fmla="*/ 4448513 h 4687251"/>
              <a:gd name="connsiteX555" fmla="*/ 2680903 w 8079933"/>
              <a:gd name="connsiteY555" fmla="*/ 4448621 h 4687251"/>
              <a:gd name="connsiteX556" fmla="*/ 2680686 w 8079933"/>
              <a:gd name="connsiteY556" fmla="*/ 4449812 h 4687251"/>
              <a:gd name="connsiteX557" fmla="*/ 2676345 w 8079933"/>
              <a:gd name="connsiteY557" fmla="*/ 4450786 h 4687251"/>
              <a:gd name="connsiteX558" fmla="*/ 2671679 w 8079933"/>
              <a:gd name="connsiteY558" fmla="*/ 4449920 h 4687251"/>
              <a:gd name="connsiteX559" fmla="*/ 2672005 w 8079933"/>
              <a:gd name="connsiteY559" fmla="*/ 4452952 h 4687251"/>
              <a:gd name="connsiteX560" fmla="*/ 2673958 w 8079933"/>
              <a:gd name="connsiteY560" fmla="*/ 4455550 h 4687251"/>
              <a:gd name="connsiteX561" fmla="*/ 2671788 w 8079933"/>
              <a:gd name="connsiteY561" fmla="*/ 4456417 h 4687251"/>
              <a:gd name="connsiteX562" fmla="*/ 2667664 w 8079933"/>
              <a:gd name="connsiteY562" fmla="*/ 4453818 h 4687251"/>
              <a:gd name="connsiteX563" fmla="*/ 2666145 w 8079933"/>
              <a:gd name="connsiteY563" fmla="*/ 4455443 h 4687251"/>
              <a:gd name="connsiteX564" fmla="*/ 2669184 w 8079933"/>
              <a:gd name="connsiteY564" fmla="*/ 4459664 h 4687251"/>
              <a:gd name="connsiteX565" fmla="*/ 2668966 w 8079933"/>
              <a:gd name="connsiteY565" fmla="*/ 4461397 h 4687251"/>
              <a:gd name="connsiteX566" fmla="*/ 2665711 w 8079933"/>
              <a:gd name="connsiteY566" fmla="*/ 4460856 h 4687251"/>
              <a:gd name="connsiteX567" fmla="*/ 2662346 w 8079933"/>
              <a:gd name="connsiteY567" fmla="*/ 4455117 h 4687251"/>
              <a:gd name="connsiteX568" fmla="*/ 2658983 w 8079933"/>
              <a:gd name="connsiteY568" fmla="*/ 4454143 h 4687251"/>
              <a:gd name="connsiteX569" fmla="*/ 2666796 w 8079933"/>
              <a:gd name="connsiteY569" fmla="*/ 4443208 h 4687251"/>
              <a:gd name="connsiteX570" fmla="*/ 2670485 w 8079933"/>
              <a:gd name="connsiteY570" fmla="*/ 4442450 h 4687251"/>
              <a:gd name="connsiteX571" fmla="*/ 2673307 w 8079933"/>
              <a:gd name="connsiteY571" fmla="*/ 4443966 h 4687251"/>
              <a:gd name="connsiteX572" fmla="*/ 2674284 w 8079933"/>
              <a:gd name="connsiteY572" fmla="*/ 4442125 h 4687251"/>
              <a:gd name="connsiteX573" fmla="*/ 2669834 w 8079933"/>
              <a:gd name="connsiteY573" fmla="*/ 4436278 h 4687251"/>
              <a:gd name="connsiteX574" fmla="*/ 2671245 w 8079933"/>
              <a:gd name="connsiteY574" fmla="*/ 4434113 h 4687251"/>
              <a:gd name="connsiteX575" fmla="*/ 2669943 w 8079933"/>
              <a:gd name="connsiteY575" fmla="*/ 4430973 h 4687251"/>
              <a:gd name="connsiteX576" fmla="*/ 2673307 w 8079933"/>
              <a:gd name="connsiteY576" fmla="*/ 4429457 h 4687251"/>
              <a:gd name="connsiteX577" fmla="*/ 2312163 w 8079933"/>
              <a:gd name="connsiteY577" fmla="*/ 4424910 h 4687251"/>
              <a:gd name="connsiteX578" fmla="*/ 2313465 w 8079933"/>
              <a:gd name="connsiteY578" fmla="*/ 4427508 h 4687251"/>
              <a:gd name="connsiteX579" fmla="*/ 2313465 w 8079933"/>
              <a:gd name="connsiteY579" fmla="*/ 4431622 h 4687251"/>
              <a:gd name="connsiteX580" fmla="*/ 2312272 w 8079933"/>
              <a:gd name="connsiteY580" fmla="*/ 4433355 h 4687251"/>
              <a:gd name="connsiteX581" fmla="*/ 2310970 w 8079933"/>
              <a:gd name="connsiteY581" fmla="*/ 4428375 h 4687251"/>
              <a:gd name="connsiteX582" fmla="*/ 2656052 w 8079933"/>
              <a:gd name="connsiteY582" fmla="*/ 4423610 h 4687251"/>
              <a:gd name="connsiteX583" fmla="*/ 2658982 w 8079933"/>
              <a:gd name="connsiteY583" fmla="*/ 4426966 h 4687251"/>
              <a:gd name="connsiteX584" fmla="*/ 2649867 w 8079933"/>
              <a:gd name="connsiteY584" fmla="*/ 4424476 h 4687251"/>
              <a:gd name="connsiteX585" fmla="*/ 2302831 w 8079933"/>
              <a:gd name="connsiteY585" fmla="*/ 4423503 h 4687251"/>
              <a:gd name="connsiteX586" fmla="*/ 2308365 w 8079933"/>
              <a:gd name="connsiteY586" fmla="*/ 4423503 h 4687251"/>
              <a:gd name="connsiteX587" fmla="*/ 2305218 w 8079933"/>
              <a:gd name="connsiteY587" fmla="*/ 4425776 h 4687251"/>
              <a:gd name="connsiteX588" fmla="*/ 2302831 w 8079933"/>
              <a:gd name="connsiteY588" fmla="*/ 4427508 h 4687251"/>
              <a:gd name="connsiteX589" fmla="*/ 2374452 w 8079933"/>
              <a:gd name="connsiteY589" fmla="*/ 4421878 h 4687251"/>
              <a:gd name="connsiteX590" fmla="*/ 2369461 w 8079933"/>
              <a:gd name="connsiteY590" fmla="*/ 4422095 h 4687251"/>
              <a:gd name="connsiteX591" fmla="*/ 2361864 w 8079933"/>
              <a:gd name="connsiteY591" fmla="*/ 4425776 h 4687251"/>
              <a:gd name="connsiteX592" fmla="*/ 2357741 w 8079933"/>
              <a:gd name="connsiteY592" fmla="*/ 4430432 h 4687251"/>
              <a:gd name="connsiteX593" fmla="*/ 2352750 w 8079933"/>
              <a:gd name="connsiteY593" fmla="*/ 4430323 h 4687251"/>
              <a:gd name="connsiteX594" fmla="*/ 2352750 w 8079933"/>
              <a:gd name="connsiteY594" fmla="*/ 4430324 h 4687251"/>
              <a:gd name="connsiteX595" fmla="*/ 2357741 w 8079933"/>
              <a:gd name="connsiteY595" fmla="*/ 4430432 h 4687251"/>
              <a:gd name="connsiteX596" fmla="*/ 2361864 w 8079933"/>
              <a:gd name="connsiteY596" fmla="*/ 4425776 h 4687251"/>
              <a:gd name="connsiteX597" fmla="*/ 2369461 w 8079933"/>
              <a:gd name="connsiteY597" fmla="*/ 4422095 h 4687251"/>
              <a:gd name="connsiteX598" fmla="*/ 2374452 w 8079933"/>
              <a:gd name="connsiteY598" fmla="*/ 4421879 h 4687251"/>
              <a:gd name="connsiteX599" fmla="*/ 2317914 w 8079933"/>
              <a:gd name="connsiteY599" fmla="*/ 4420688 h 4687251"/>
              <a:gd name="connsiteX600" fmla="*/ 2321170 w 8079933"/>
              <a:gd name="connsiteY600" fmla="*/ 4423287 h 4687251"/>
              <a:gd name="connsiteX601" fmla="*/ 2324208 w 8079933"/>
              <a:gd name="connsiteY601" fmla="*/ 4423503 h 4687251"/>
              <a:gd name="connsiteX602" fmla="*/ 2328223 w 8079933"/>
              <a:gd name="connsiteY602" fmla="*/ 4429999 h 4687251"/>
              <a:gd name="connsiteX603" fmla="*/ 2329851 w 8079933"/>
              <a:gd name="connsiteY603" fmla="*/ 4435087 h 4687251"/>
              <a:gd name="connsiteX604" fmla="*/ 2323991 w 8079933"/>
              <a:gd name="connsiteY604" fmla="*/ 4429890 h 4687251"/>
              <a:gd name="connsiteX605" fmla="*/ 2319650 w 8079933"/>
              <a:gd name="connsiteY605" fmla="*/ 4428266 h 4687251"/>
              <a:gd name="connsiteX606" fmla="*/ 2315744 w 8079933"/>
              <a:gd name="connsiteY606" fmla="*/ 4422528 h 4687251"/>
              <a:gd name="connsiteX607" fmla="*/ 2315961 w 8079933"/>
              <a:gd name="connsiteY607" fmla="*/ 4420796 h 4687251"/>
              <a:gd name="connsiteX608" fmla="*/ 2304676 w 8079933"/>
              <a:gd name="connsiteY608" fmla="*/ 4408560 h 4687251"/>
              <a:gd name="connsiteX609" fmla="*/ 2306846 w 8079933"/>
              <a:gd name="connsiteY609" fmla="*/ 4409643 h 4687251"/>
              <a:gd name="connsiteX610" fmla="*/ 2312272 w 8079933"/>
              <a:gd name="connsiteY610" fmla="*/ 4410400 h 4687251"/>
              <a:gd name="connsiteX611" fmla="*/ 2310210 w 8079933"/>
              <a:gd name="connsiteY611" fmla="*/ 4414407 h 4687251"/>
              <a:gd name="connsiteX612" fmla="*/ 2310427 w 8079933"/>
              <a:gd name="connsiteY612" fmla="*/ 4418521 h 4687251"/>
              <a:gd name="connsiteX613" fmla="*/ 2307714 w 8079933"/>
              <a:gd name="connsiteY613" fmla="*/ 4420686 h 4687251"/>
              <a:gd name="connsiteX614" fmla="*/ 2305652 w 8079933"/>
              <a:gd name="connsiteY614" fmla="*/ 4420578 h 4687251"/>
              <a:gd name="connsiteX615" fmla="*/ 2304351 w 8079933"/>
              <a:gd name="connsiteY615" fmla="*/ 4416897 h 4687251"/>
              <a:gd name="connsiteX616" fmla="*/ 2301529 w 8079933"/>
              <a:gd name="connsiteY616" fmla="*/ 4414731 h 4687251"/>
              <a:gd name="connsiteX617" fmla="*/ 2303374 w 8079933"/>
              <a:gd name="connsiteY617" fmla="*/ 4412349 h 4687251"/>
              <a:gd name="connsiteX618" fmla="*/ 2303482 w 8079933"/>
              <a:gd name="connsiteY618" fmla="*/ 4409534 h 4687251"/>
              <a:gd name="connsiteX619" fmla="*/ 2295670 w 8079933"/>
              <a:gd name="connsiteY619" fmla="*/ 4389830 h 4687251"/>
              <a:gd name="connsiteX620" fmla="*/ 2298491 w 8079933"/>
              <a:gd name="connsiteY620" fmla="*/ 4394485 h 4687251"/>
              <a:gd name="connsiteX621" fmla="*/ 2297406 w 8079933"/>
              <a:gd name="connsiteY621" fmla="*/ 4398491 h 4687251"/>
              <a:gd name="connsiteX622" fmla="*/ 2294367 w 8079933"/>
              <a:gd name="connsiteY622" fmla="*/ 4400657 h 4687251"/>
              <a:gd name="connsiteX623" fmla="*/ 2291871 w 8079933"/>
              <a:gd name="connsiteY623" fmla="*/ 4398058 h 4687251"/>
              <a:gd name="connsiteX624" fmla="*/ 2292739 w 8079933"/>
              <a:gd name="connsiteY624" fmla="*/ 4395351 h 4687251"/>
              <a:gd name="connsiteX625" fmla="*/ 2290461 w 8079933"/>
              <a:gd name="connsiteY625" fmla="*/ 4392645 h 4687251"/>
              <a:gd name="connsiteX626" fmla="*/ 2289592 w 8079933"/>
              <a:gd name="connsiteY626" fmla="*/ 4365145 h 4687251"/>
              <a:gd name="connsiteX627" fmla="*/ 2290460 w 8079933"/>
              <a:gd name="connsiteY627" fmla="*/ 4366552 h 4687251"/>
              <a:gd name="connsiteX628" fmla="*/ 2295994 w 8079933"/>
              <a:gd name="connsiteY628" fmla="*/ 4369043 h 4687251"/>
              <a:gd name="connsiteX629" fmla="*/ 2297839 w 8079933"/>
              <a:gd name="connsiteY629" fmla="*/ 4372940 h 4687251"/>
              <a:gd name="connsiteX630" fmla="*/ 2295126 w 8079933"/>
              <a:gd name="connsiteY630" fmla="*/ 4373915 h 4687251"/>
              <a:gd name="connsiteX631" fmla="*/ 2291003 w 8079933"/>
              <a:gd name="connsiteY631" fmla="*/ 4380411 h 4687251"/>
              <a:gd name="connsiteX632" fmla="*/ 2289158 w 8079933"/>
              <a:gd name="connsiteY632" fmla="*/ 4379328 h 4687251"/>
              <a:gd name="connsiteX633" fmla="*/ 2289483 w 8079933"/>
              <a:gd name="connsiteY633" fmla="*/ 4375647 h 4687251"/>
              <a:gd name="connsiteX634" fmla="*/ 2286988 w 8079933"/>
              <a:gd name="connsiteY634" fmla="*/ 4367635 h 4687251"/>
              <a:gd name="connsiteX635" fmla="*/ 2300445 w 8079933"/>
              <a:gd name="connsiteY635" fmla="*/ 4362330 h 4687251"/>
              <a:gd name="connsiteX636" fmla="*/ 2307172 w 8079933"/>
              <a:gd name="connsiteY636" fmla="*/ 4362330 h 4687251"/>
              <a:gd name="connsiteX637" fmla="*/ 2310211 w 8079933"/>
              <a:gd name="connsiteY637" fmla="*/ 4364603 h 4687251"/>
              <a:gd name="connsiteX638" fmla="*/ 2312706 w 8079933"/>
              <a:gd name="connsiteY638" fmla="*/ 4375106 h 4687251"/>
              <a:gd name="connsiteX639" fmla="*/ 2315419 w 8079933"/>
              <a:gd name="connsiteY639" fmla="*/ 4380195 h 4687251"/>
              <a:gd name="connsiteX640" fmla="*/ 2316070 w 8079933"/>
              <a:gd name="connsiteY640" fmla="*/ 4388964 h 4687251"/>
              <a:gd name="connsiteX641" fmla="*/ 2315094 w 8079933"/>
              <a:gd name="connsiteY641" fmla="*/ 4390697 h 4687251"/>
              <a:gd name="connsiteX642" fmla="*/ 2317698 w 8079933"/>
              <a:gd name="connsiteY642" fmla="*/ 4397301 h 4687251"/>
              <a:gd name="connsiteX643" fmla="*/ 2317481 w 8079933"/>
              <a:gd name="connsiteY643" fmla="*/ 4404447 h 4687251"/>
              <a:gd name="connsiteX644" fmla="*/ 2314225 w 8079933"/>
              <a:gd name="connsiteY644" fmla="*/ 4407046 h 4687251"/>
              <a:gd name="connsiteX645" fmla="*/ 2311621 w 8079933"/>
              <a:gd name="connsiteY645" fmla="*/ 4405530 h 4687251"/>
              <a:gd name="connsiteX646" fmla="*/ 2310753 w 8079933"/>
              <a:gd name="connsiteY646" fmla="*/ 4400333 h 4687251"/>
              <a:gd name="connsiteX647" fmla="*/ 2309342 w 8079933"/>
              <a:gd name="connsiteY647" fmla="*/ 4396219 h 4687251"/>
              <a:gd name="connsiteX648" fmla="*/ 2308149 w 8079933"/>
              <a:gd name="connsiteY648" fmla="*/ 4400983 h 4687251"/>
              <a:gd name="connsiteX649" fmla="*/ 2305979 w 8079933"/>
              <a:gd name="connsiteY649" fmla="*/ 4402607 h 4687251"/>
              <a:gd name="connsiteX650" fmla="*/ 2301855 w 8079933"/>
              <a:gd name="connsiteY650" fmla="*/ 4398817 h 4687251"/>
              <a:gd name="connsiteX651" fmla="*/ 2300228 w 8079933"/>
              <a:gd name="connsiteY651" fmla="*/ 4393079 h 4687251"/>
              <a:gd name="connsiteX652" fmla="*/ 2295453 w 8079933"/>
              <a:gd name="connsiteY652" fmla="*/ 4383660 h 4687251"/>
              <a:gd name="connsiteX653" fmla="*/ 2300228 w 8079933"/>
              <a:gd name="connsiteY653" fmla="*/ 4382793 h 4687251"/>
              <a:gd name="connsiteX654" fmla="*/ 2303699 w 8079933"/>
              <a:gd name="connsiteY654" fmla="*/ 4379870 h 4687251"/>
              <a:gd name="connsiteX655" fmla="*/ 2304025 w 8079933"/>
              <a:gd name="connsiteY655" fmla="*/ 4376622 h 4687251"/>
              <a:gd name="connsiteX656" fmla="*/ 2302181 w 8079933"/>
              <a:gd name="connsiteY656" fmla="*/ 4379328 h 4687251"/>
              <a:gd name="connsiteX657" fmla="*/ 2300119 w 8079933"/>
              <a:gd name="connsiteY657" fmla="*/ 4379545 h 4687251"/>
              <a:gd name="connsiteX658" fmla="*/ 2299359 w 8079933"/>
              <a:gd name="connsiteY658" fmla="*/ 4376946 h 4687251"/>
              <a:gd name="connsiteX659" fmla="*/ 2300770 w 8079933"/>
              <a:gd name="connsiteY659" fmla="*/ 4372832 h 4687251"/>
              <a:gd name="connsiteX660" fmla="*/ 2297948 w 8079933"/>
              <a:gd name="connsiteY660" fmla="*/ 4369908 h 4687251"/>
              <a:gd name="connsiteX661" fmla="*/ 2297840 w 8079933"/>
              <a:gd name="connsiteY661" fmla="*/ 4364603 h 4687251"/>
              <a:gd name="connsiteX662" fmla="*/ 2282105 w 8079933"/>
              <a:gd name="connsiteY662" fmla="*/ 4352152 h 4687251"/>
              <a:gd name="connsiteX663" fmla="*/ 2283950 w 8079933"/>
              <a:gd name="connsiteY663" fmla="*/ 4352693 h 4687251"/>
              <a:gd name="connsiteX664" fmla="*/ 2287313 w 8079933"/>
              <a:gd name="connsiteY664" fmla="*/ 4354101 h 4687251"/>
              <a:gd name="connsiteX665" fmla="*/ 2288832 w 8079933"/>
              <a:gd name="connsiteY665" fmla="*/ 4358756 h 4687251"/>
              <a:gd name="connsiteX666" fmla="*/ 2287965 w 8079933"/>
              <a:gd name="connsiteY666" fmla="*/ 4362221 h 4687251"/>
              <a:gd name="connsiteX667" fmla="*/ 2285252 w 8079933"/>
              <a:gd name="connsiteY667" fmla="*/ 4362654 h 4687251"/>
              <a:gd name="connsiteX668" fmla="*/ 2284926 w 8079933"/>
              <a:gd name="connsiteY668" fmla="*/ 4360597 h 4687251"/>
              <a:gd name="connsiteX669" fmla="*/ 2282322 w 8079933"/>
              <a:gd name="connsiteY669" fmla="*/ 4358648 h 4687251"/>
              <a:gd name="connsiteX670" fmla="*/ 2282864 w 8079933"/>
              <a:gd name="connsiteY670" fmla="*/ 4339594 h 4687251"/>
              <a:gd name="connsiteX671" fmla="*/ 2286879 w 8079933"/>
              <a:gd name="connsiteY671" fmla="*/ 4340785 h 4687251"/>
              <a:gd name="connsiteX672" fmla="*/ 2293065 w 8079933"/>
              <a:gd name="connsiteY672" fmla="*/ 4350421 h 4687251"/>
              <a:gd name="connsiteX673" fmla="*/ 2297188 w 8079933"/>
              <a:gd name="connsiteY673" fmla="*/ 4356592 h 4687251"/>
              <a:gd name="connsiteX674" fmla="*/ 2296971 w 8079933"/>
              <a:gd name="connsiteY674" fmla="*/ 4361681 h 4687251"/>
              <a:gd name="connsiteX675" fmla="*/ 2295452 w 8079933"/>
              <a:gd name="connsiteY675" fmla="*/ 4364280 h 4687251"/>
              <a:gd name="connsiteX676" fmla="*/ 2291653 w 8079933"/>
              <a:gd name="connsiteY676" fmla="*/ 4362006 h 4687251"/>
              <a:gd name="connsiteX677" fmla="*/ 2289700 w 8079933"/>
              <a:gd name="connsiteY677" fmla="*/ 4354969 h 4687251"/>
              <a:gd name="connsiteX678" fmla="*/ 2290243 w 8079933"/>
              <a:gd name="connsiteY678" fmla="*/ 4353128 h 4687251"/>
              <a:gd name="connsiteX679" fmla="*/ 2287204 w 8079933"/>
              <a:gd name="connsiteY679" fmla="*/ 4350637 h 4687251"/>
              <a:gd name="connsiteX680" fmla="*/ 2282321 w 8079933"/>
              <a:gd name="connsiteY680" fmla="*/ 4349771 h 4687251"/>
              <a:gd name="connsiteX681" fmla="*/ 2281236 w 8079933"/>
              <a:gd name="connsiteY681" fmla="*/ 4344141 h 4687251"/>
              <a:gd name="connsiteX682" fmla="*/ 2281453 w 8079933"/>
              <a:gd name="connsiteY682" fmla="*/ 4341326 h 4687251"/>
              <a:gd name="connsiteX683" fmla="*/ 2356335 w 8079933"/>
              <a:gd name="connsiteY683" fmla="*/ 4337271 h 4687251"/>
              <a:gd name="connsiteX684" fmla="*/ 2357198 w 8079933"/>
              <a:gd name="connsiteY684" fmla="*/ 4339918 h 4687251"/>
              <a:gd name="connsiteX685" fmla="*/ 2357863 w 8079933"/>
              <a:gd name="connsiteY685" fmla="*/ 4343415 h 4687251"/>
              <a:gd name="connsiteX686" fmla="*/ 2357198 w 8079933"/>
              <a:gd name="connsiteY686" fmla="*/ 4339917 h 4687251"/>
              <a:gd name="connsiteX687" fmla="*/ 2298165 w 8079933"/>
              <a:gd name="connsiteY687" fmla="*/ 4332664 h 4687251"/>
              <a:gd name="connsiteX688" fmla="*/ 2298708 w 8079933"/>
              <a:gd name="connsiteY688" fmla="*/ 4340134 h 4687251"/>
              <a:gd name="connsiteX689" fmla="*/ 2303157 w 8079933"/>
              <a:gd name="connsiteY689" fmla="*/ 4342083 h 4687251"/>
              <a:gd name="connsiteX690" fmla="*/ 2303483 w 8079933"/>
              <a:gd name="connsiteY690" fmla="*/ 4347280 h 4687251"/>
              <a:gd name="connsiteX691" fmla="*/ 2307281 w 8079933"/>
              <a:gd name="connsiteY691" fmla="*/ 4350636 h 4687251"/>
              <a:gd name="connsiteX692" fmla="*/ 2309668 w 8079933"/>
              <a:gd name="connsiteY692" fmla="*/ 4358540 h 4687251"/>
              <a:gd name="connsiteX693" fmla="*/ 2304676 w 8079933"/>
              <a:gd name="connsiteY693" fmla="*/ 4358107 h 4687251"/>
              <a:gd name="connsiteX694" fmla="*/ 2300118 w 8079933"/>
              <a:gd name="connsiteY694" fmla="*/ 4358540 h 4687251"/>
              <a:gd name="connsiteX695" fmla="*/ 2298925 w 8079933"/>
              <a:gd name="connsiteY695" fmla="*/ 4353235 h 4687251"/>
              <a:gd name="connsiteX696" fmla="*/ 2301855 w 8079933"/>
              <a:gd name="connsiteY696" fmla="*/ 4350636 h 4687251"/>
              <a:gd name="connsiteX697" fmla="*/ 2299576 w 8079933"/>
              <a:gd name="connsiteY697" fmla="*/ 4348796 h 4687251"/>
              <a:gd name="connsiteX698" fmla="*/ 2298491 w 8079933"/>
              <a:gd name="connsiteY698" fmla="*/ 4350528 h 4687251"/>
              <a:gd name="connsiteX699" fmla="*/ 2292848 w 8079933"/>
              <a:gd name="connsiteY699" fmla="*/ 4341866 h 4687251"/>
              <a:gd name="connsiteX700" fmla="*/ 2288399 w 8079933"/>
              <a:gd name="connsiteY700" fmla="*/ 4338077 h 4687251"/>
              <a:gd name="connsiteX701" fmla="*/ 2290244 w 8079933"/>
              <a:gd name="connsiteY701" fmla="*/ 4335370 h 4687251"/>
              <a:gd name="connsiteX702" fmla="*/ 2294367 w 8079933"/>
              <a:gd name="connsiteY702" fmla="*/ 4334829 h 4687251"/>
              <a:gd name="connsiteX703" fmla="*/ 7289172 w 8079933"/>
              <a:gd name="connsiteY703" fmla="*/ 4317831 h 4687251"/>
              <a:gd name="connsiteX704" fmla="*/ 7290257 w 8079933"/>
              <a:gd name="connsiteY704" fmla="*/ 4320430 h 4687251"/>
              <a:gd name="connsiteX705" fmla="*/ 7288086 w 8079933"/>
              <a:gd name="connsiteY705" fmla="*/ 4323461 h 4687251"/>
              <a:gd name="connsiteX706" fmla="*/ 7286459 w 8079933"/>
              <a:gd name="connsiteY706" fmla="*/ 4330282 h 4687251"/>
              <a:gd name="connsiteX707" fmla="*/ 7283420 w 8079933"/>
              <a:gd name="connsiteY707" fmla="*/ 4328550 h 4687251"/>
              <a:gd name="connsiteX708" fmla="*/ 7286784 w 8079933"/>
              <a:gd name="connsiteY708" fmla="*/ 4323136 h 4687251"/>
              <a:gd name="connsiteX709" fmla="*/ 7286784 w 8079933"/>
              <a:gd name="connsiteY709" fmla="*/ 4318914 h 4687251"/>
              <a:gd name="connsiteX710" fmla="*/ 7930395 w 8079933"/>
              <a:gd name="connsiteY710" fmla="*/ 4299641 h 4687251"/>
              <a:gd name="connsiteX711" fmla="*/ 7928551 w 8079933"/>
              <a:gd name="connsiteY711" fmla="*/ 4302347 h 4687251"/>
              <a:gd name="connsiteX712" fmla="*/ 7926272 w 8079933"/>
              <a:gd name="connsiteY712" fmla="*/ 4302455 h 4687251"/>
              <a:gd name="connsiteX713" fmla="*/ 7928334 w 8079933"/>
              <a:gd name="connsiteY713" fmla="*/ 4300182 h 4687251"/>
              <a:gd name="connsiteX714" fmla="*/ 7927359 w 8079933"/>
              <a:gd name="connsiteY714" fmla="*/ 4298991 h 4687251"/>
              <a:gd name="connsiteX715" fmla="*/ 7927142 w 8079933"/>
              <a:gd name="connsiteY715" fmla="*/ 4300182 h 4687251"/>
              <a:gd name="connsiteX716" fmla="*/ 7925079 w 8079933"/>
              <a:gd name="connsiteY716" fmla="*/ 4301264 h 4687251"/>
              <a:gd name="connsiteX717" fmla="*/ 7922583 w 8079933"/>
              <a:gd name="connsiteY717" fmla="*/ 4301481 h 4687251"/>
              <a:gd name="connsiteX718" fmla="*/ 7314021 w 8079933"/>
              <a:gd name="connsiteY718" fmla="*/ 4298125 h 4687251"/>
              <a:gd name="connsiteX719" fmla="*/ 7316625 w 8079933"/>
              <a:gd name="connsiteY719" fmla="*/ 4300723 h 4687251"/>
              <a:gd name="connsiteX720" fmla="*/ 7314021 w 8079933"/>
              <a:gd name="connsiteY720" fmla="*/ 4302130 h 4687251"/>
              <a:gd name="connsiteX721" fmla="*/ 7930722 w 8079933"/>
              <a:gd name="connsiteY721" fmla="*/ 4289031 h 4687251"/>
              <a:gd name="connsiteX722" fmla="*/ 7934520 w 8079933"/>
              <a:gd name="connsiteY722" fmla="*/ 4290005 h 4687251"/>
              <a:gd name="connsiteX723" fmla="*/ 7933651 w 8079933"/>
              <a:gd name="connsiteY723" fmla="*/ 4292278 h 4687251"/>
              <a:gd name="connsiteX724" fmla="*/ 7930613 w 8079933"/>
              <a:gd name="connsiteY724" fmla="*/ 4294011 h 4687251"/>
              <a:gd name="connsiteX725" fmla="*/ 7928442 w 8079933"/>
              <a:gd name="connsiteY725" fmla="*/ 4297259 h 4687251"/>
              <a:gd name="connsiteX726" fmla="*/ 7927249 w 8079933"/>
              <a:gd name="connsiteY726" fmla="*/ 4297476 h 4687251"/>
              <a:gd name="connsiteX727" fmla="*/ 7927792 w 8079933"/>
              <a:gd name="connsiteY727" fmla="*/ 4296176 h 4687251"/>
              <a:gd name="connsiteX728" fmla="*/ 7928009 w 8079933"/>
              <a:gd name="connsiteY728" fmla="*/ 4292712 h 4687251"/>
              <a:gd name="connsiteX729" fmla="*/ 7905763 w 8079933"/>
              <a:gd name="connsiteY729" fmla="*/ 4281668 h 4687251"/>
              <a:gd name="connsiteX730" fmla="*/ 7909669 w 8079933"/>
              <a:gd name="connsiteY730" fmla="*/ 4282210 h 4687251"/>
              <a:gd name="connsiteX731" fmla="*/ 7906848 w 8079933"/>
              <a:gd name="connsiteY731" fmla="*/ 4286215 h 4687251"/>
              <a:gd name="connsiteX732" fmla="*/ 7906306 w 8079933"/>
              <a:gd name="connsiteY732" fmla="*/ 4289247 h 4687251"/>
              <a:gd name="connsiteX733" fmla="*/ 7908259 w 8079933"/>
              <a:gd name="connsiteY733" fmla="*/ 4291629 h 4687251"/>
              <a:gd name="connsiteX734" fmla="*/ 7909995 w 8079933"/>
              <a:gd name="connsiteY734" fmla="*/ 4292604 h 4687251"/>
              <a:gd name="connsiteX735" fmla="*/ 7912491 w 8079933"/>
              <a:gd name="connsiteY735" fmla="*/ 4290762 h 4687251"/>
              <a:gd name="connsiteX736" fmla="*/ 7913902 w 8079933"/>
              <a:gd name="connsiteY736" fmla="*/ 4292170 h 4687251"/>
              <a:gd name="connsiteX737" fmla="*/ 7913685 w 8079933"/>
              <a:gd name="connsiteY737" fmla="*/ 4294119 h 4687251"/>
              <a:gd name="connsiteX738" fmla="*/ 7914987 w 8079933"/>
              <a:gd name="connsiteY738" fmla="*/ 4294661 h 4687251"/>
              <a:gd name="connsiteX739" fmla="*/ 7914118 w 8079933"/>
              <a:gd name="connsiteY739" fmla="*/ 4297042 h 4687251"/>
              <a:gd name="connsiteX740" fmla="*/ 7911840 w 8079933"/>
              <a:gd name="connsiteY740" fmla="*/ 4299749 h 4687251"/>
              <a:gd name="connsiteX741" fmla="*/ 7909886 w 8079933"/>
              <a:gd name="connsiteY741" fmla="*/ 4301265 h 4687251"/>
              <a:gd name="connsiteX742" fmla="*/ 7912057 w 8079933"/>
              <a:gd name="connsiteY742" fmla="*/ 4308086 h 4687251"/>
              <a:gd name="connsiteX743" fmla="*/ 7915204 w 8079933"/>
              <a:gd name="connsiteY743" fmla="*/ 4309602 h 4687251"/>
              <a:gd name="connsiteX744" fmla="*/ 7918351 w 8079933"/>
              <a:gd name="connsiteY744" fmla="*/ 4305163 h 4687251"/>
              <a:gd name="connsiteX745" fmla="*/ 7921389 w 8079933"/>
              <a:gd name="connsiteY745" fmla="*/ 4303214 h 4687251"/>
              <a:gd name="connsiteX746" fmla="*/ 7924319 w 8079933"/>
              <a:gd name="connsiteY746" fmla="*/ 4304080 h 4687251"/>
              <a:gd name="connsiteX747" fmla="*/ 7926381 w 8079933"/>
              <a:gd name="connsiteY747" fmla="*/ 4303972 h 4687251"/>
              <a:gd name="connsiteX748" fmla="*/ 7925839 w 8079933"/>
              <a:gd name="connsiteY748" fmla="*/ 4306786 h 4687251"/>
              <a:gd name="connsiteX749" fmla="*/ 7928225 w 8079933"/>
              <a:gd name="connsiteY749" fmla="*/ 4309169 h 4687251"/>
              <a:gd name="connsiteX750" fmla="*/ 7932567 w 8079933"/>
              <a:gd name="connsiteY750" fmla="*/ 4306137 h 4687251"/>
              <a:gd name="connsiteX751" fmla="*/ 7930614 w 8079933"/>
              <a:gd name="connsiteY751" fmla="*/ 4305596 h 4687251"/>
              <a:gd name="connsiteX752" fmla="*/ 7929419 w 8079933"/>
              <a:gd name="connsiteY752" fmla="*/ 4304404 h 4687251"/>
              <a:gd name="connsiteX753" fmla="*/ 7932350 w 8079933"/>
              <a:gd name="connsiteY753" fmla="*/ 4298882 h 4687251"/>
              <a:gd name="connsiteX754" fmla="*/ 7935822 w 8079933"/>
              <a:gd name="connsiteY754" fmla="*/ 4299641 h 4687251"/>
              <a:gd name="connsiteX755" fmla="*/ 7936039 w 8079933"/>
              <a:gd name="connsiteY755" fmla="*/ 4302347 h 4687251"/>
              <a:gd name="connsiteX756" fmla="*/ 7937341 w 8079933"/>
              <a:gd name="connsiteY756" fmla="*/ 4302347 h 4687251"/>
              <a:gd name="connsiteX757" fmla="*/ 7934520 w 8079933"/>
              <a:gd name="connsiteY757" fmla="*/ 4307436 h 4687251"/>
              <a:gd name="connsiteX758" fmla="*/ 7929528 w 8079933"/>
              <a:gd name="connsiteY758" fmla="*/ 4310359 h 4687251"/>
              <a:gd name="connsiteX759" fmla="*/ 7932892 w 8079933"/>
              <a:gd name="connsiteY759" fmla="*/ 4309818 h 4687251"/>
              <a:gd name="connsiteX760" fmla="*/ 7936473 w 8079933"/>
              <a:gd name="connsiteY760" fmla="*/ 4308844 h 4687251"/>
              <a:gd name="connsiteX761" fmla="*/ 7932024 w 8079933"/>
              <a:gd name="connsiteY761" fmla="*/ 4315016 h 4687251"/>
              <a:gd name="connsiteX762" fmla="*/ 7930505 w 8079933"/>
              <a:gd name="connsiteY762" fmla="*/ 4314582 h 4687251"/>
              <a:gd name="connsiteX763" fmla="*/ 7929311 w 8079933"/>
              <a:gd name="connsiteY763" fmla="*/ 4318480 h 4687251"/>
              <a:gd name="connsiteX764" fmla="*/ 7928877 w 8079933"/>
              <a:gd name="connsiteY764" fmla="*/ 4322702 h 4687251"/>
              <a:gd name="connsiteX765" fmla="*/ 7930938 w 8079933"/>
              <a:gd name="connsiteY765" fmla="*/ 4327358 h 4687251"/>
              <a:gd name="connsiteX766" fmla="*/ 7931373 w 8079933"/>
              <a:gd name="connsiteY766" fmla="*/ 4332014 h 4687251"/>
              <a:gd name="connsiteX767" fmla="*/ 7933868 w 8079933"/>
              <a:gd name="connsiteY767" fmla="*/ 4332771 h 4687251"/>
              <a:gd name="connsiteX768" fmla="*/ 7929528 w 8079933"/>
              <a:gd name="connsiteY768" fmla="*/ 4335370 h 4687251"/>
              <a:gd name="connsiteX769" fmla="*/ 7917157 w 8079933"/>
              <a:gd name="connsiteY769" fmla="*/ 4345981 h 4687251"/>
              <a:gd name="connsiteX770" fmla="*/ 7916398 w 8079933"/>
              <a:gd name="connsiteY770" fmla="*/ 4348796 h 4687251"/>
              <a:gd name="connsiteX771" fmla="*/ 7907933 w 8079933"/>
              <a:gd name="connsiteY771" fmla="*/ 4357350 h 4687251"/>
              <a:gd name="connsiteX772" fmla="*/ 7908476 w 8079933"/>
              <a:gd name="connsiteY772" fmla="*/ 4359298 h 4687251"/>
              <a:gd name="connsiteX773" fmla="*/ 7904677 w 8079933"/>
              <a:gd name="connsiteY773" fmla="*/ 4358973 h 4687251"/>
              <a:gd name="connsiteX774" fmla="*/ 7899686 w 8079933"/>
              <a:gd name="connsiteY774" fmla="*/ 4364062 h 4687251"/>
              <a:gd name="connsiteX775" fmla="*/ 7899034 w 8079933"/>
              <a:gd name="connsiteY775" fmla="*/ 4368501 h 4687251"/>
              <a:gd name="connsiteX776" fmla="*/ 7893717 w 8079933"/>
              <a:gd name="connsiteY776" fmla="*/ 4374889 h 4687251"/>
              <a:gd name="connsiteX777" fmla="*/ 7892632 w 8079933"/>
              <a:gd name="connsiteY777" fmla="*/ 4377704 h 4687251"/>
              <a:gd name="connsiteX778" fmla="*/ 7885579 w 8079933"/>
              <a:gd name="connsiteY778" fmla="*/ 4382143 h 4687251"/>
              <a:gd name="connsiteX779" fmla="*/ 7879068 w 8079933"/>
              <a:gd name="connsiteY779" fmla="*/ 4384200 h 4687251"/>
              <a:gd name="connsiteX780" fmla="*/ 7875595 w 8079933"/>
              <a:gd name="connsiteY780" fmla="*/ 4385608 h 4687251"/>
              <a:gd name="connsiteX781" fmla="*/ 7873859 w 8079933"/>
              <a:gd name="connsiteY781" fmla="*/ 4393078 h 4687251"/>
              <a:gd name="connsiteX782" fmla="*/ 7874402 w 8079933"/>
              <a:gd name="connsiteY782" fmla="*/ 4398600 h 4687251"/>
              <a:gd name="connsiteX783" fmla="*/ 7872991 w 8079933"/>
              <a:gd name="connsiteY783" fmla="*/ 4400658 h 4687251"/>
              <a:gd name="connsiteX784" fmla="*/ 7876246 w 8079933"/>
              <a:gd name="connsiteY784" fmla="*/ 4401415 h 4687251"/>
              <a:gd name="connsiteX785" fmla="*/ 7878308 w 8079933"/>
              <a:gd name="connsiteY785" fmla="*/ 4404664 h 4687251"/>
              <a:gd name="connsiteX786" fmla="*/ 7877657 w 8079933"/>
              <a:gd name="connsiteY786" fmla="*/ 4411051 h 4687251"/>
              <a:gd name="connsiteX787" fmla="*/ 7875378 w 8079933"/>
              <a:gd name="connsiteY787" fmla="*/ 4412675 h 4687251"/>
              <a:gd name="connsiteX788" fmla="*/ 7873859 w 8079933"/>
              <a:gd name="connsiteY788" fmla="*/ 4411484 h 4687251"/>
              <a:gd name="connsiteX789" fmla="*/ 7874402 w 8079933"/>
              <a:gd name="connsiteY789" fmla="*/ 4406721 h 4687251"/>
              <a:gd name="connsiteX790" fmla="*/ 7872991 w 8079933"/>
              <a:gd name="connsiteY790" fmla="*/ 4405529 h 4687251"/>
              <a:gd name="connsiteX791" fmla="*/ 7871797 w 8079933"/>
              <a:gd name="connsiteY791" fmla="*/ 4407045 h 4687251"/>
              <a:gd name="connsiteX792" fmla="*/ 7872014 w 8079933"/>
              <a:gd name="connsiteY792" fmla="*/ 4410510 h 4687251"/>
              <a:gd name="connsiteX793" fmla="*/ 7870603 w 8079933"/>
              <a:gd name="connsiteY793" fmla="*/ 4412675 h 4687251"/>
              <a:gd name="connsiteX794" fmla="*/ 7867023 w 8079933"/>
              <a:gd name="connsiteY794" fmla="*/ 4411376 h 4687251"/>
              <a:gd name="connsiteX795" fmla="*/ 7861922 w 8079933"/>
              <a:gd name="connsiteY795" fmla="*/ 4411160 h 4687251"/>
              <a:gd name="connsiteX796" fmla="*/ 7866263 w 8079933"/>
              <a:gd name="connsiteY796" fmla="*/ 4409427 h 4687251"/>
              <a:gd name="connsiteX797" fmla="*/ 7866263 w 8079933"/>
              <a:gd name="connsiteY797" fmla="*/ 4407587 h 4687251"/>
              <a:gd name="connsiteX798" fmla="*/ 7863008 w 8079933"/>
              <a:gd name="connsiteY798" fmla="*/ 4406396 h 4687251"/>
              <a:gd name="connsiteX799" fmla="*/ 7859860 w 8079933"/>
              <a:gd name="connsiteY799" fmla="*/ 4408561 h 4687251"/>
              <a:gd name="connsiteX800" fmla="*/ 7859751 w 8079933"/>
              <a:gd name="connsiteY800" fmla="*/ 4410618 h 4687251"/>
              <a:gd name="connsiteX801" fmla="*/ 7856822 w 8079933"/>
              <a:gd name="connsiteY801" fmla="*/ 4411701 h 4687251"/>
              <a:gd name="connsiteX802" fmla="*/ 7855085 w 8079933"/>
              <a:gd name="connsiteY802" fmla="*/ 4411160 h 4687251"/>
              <a:gd name="connsiteX803" fmla="*/ 7853349 w 8079933"/>
              <a:gd name="connsiteY803" fmla="*/ 4406396 h 4687251"/>
              <a:gd name="connsiteX804" fmla="*/ 7849334 w 8079933"/>
              <a:gd name="connsiteY804" fmla="*/ 4404664 h 4687251"/>
              <a:gd name="connsiteX805" fmla="*/ 7852481 w 8079933"/>
              <a:gd name="connsiteY805" fmla="*/ 4407911 h 4687251"/>
              <a:gd name="connsiteX806" fmla="*/ 7852807 w 8079933"/>
              <a:gd name="connsiteY806" fmla="*/ 4411484 h 4687251"/>
              <a:gd name="connsiteX807" fmla="*/ 7849877 w 8079933"/>
              <a:gd name="connsiteY807" fmla="*/ 4415490 h 4687251"/>
              <a:gd name="connsiteX808" fmla="*/ 7847381 w 8079933"/>
              <a:gd name="connsiteY808" fmla="*/ 4416140 h 4687251"/>
              <a:gd name="connsiteX809" fmla="*/ 7843366 w 8079933"/>
              <a:gd name="connsiteY809" fmla="*/ 4416356 h 4687251"/>
              <a:gd name="connsiteX810" fmla="*/ 7841955 w 8079933"/>
              <a:gd name="connsiteY810" fmla="*/ 4419929 h 4687251"/>
              <a:gd name="connsiteX811" fmla="*/ 7839242 w 8079933"/>
              <a:gd name="connsiteY811" fmla="*/ 4419929 h 4687251"/>
              <a:gd name="connsiteX812" fmla="*/ 7835986 w 8079933"/>
              <a:gd name="connsiteY812" fmla="*/ 4417331 h 4687251"/>
              <a:gd name="connsiteX813" fmla="*/ 7834902 w 8079933"/>
              <a:gd name="connsiteY813" fmla="*/ 4421662 h 4687251"/>
              <a:gd name="connsiteX814" fmla="*/ 7831320 w 8079933"/>
              <a:gd name="connsiteY814" fmla="*/ 4423394 h 4687251"/>
              <a:gd name="connsiteX815" fmla="*/ 7827197 w 8079933"/>
              <a:gd name="connsiteY815" fmla="*/ 4428158 h 4687251"/>
              <a:gd name="connsiteX816" fmla="*/ 7826980 w 8079933"/>
              <a:gd name="connsiteY816" fmla="*/ 4432272 h 4687251"/>
              <a:gd name="connsiteX817" fmla="*/ 7824376 w 8079933"/>
              <a:gd name="connsiteY817" fmla="*/ 4436062 h 4687251"/>
              <a:gd name="connsiteX818" fmla="*/ 7819818 w 8079933"/>
              <a:gd name="connsiteY818" fmla="*/ 4443857 h 4687251"/>
              <a:gd name="connsiteX819" fmla="*/ 7818842 w 8079933"/>
              <a:gd name="connsiteY819" fmla="*/ 4448838 h 4687251"/>
              <a:gd name="connsiteX820" fmla="*/ 7816453 w 8079933"/>
              <a:gd name="connsiteY820" fmla="*/ 4452952 h 4687251"/>
              <a:gd name="connsiteX821" fmla="*/ 7806144 w 8079933"/>
              <a:gd name="connsiteY821" fmla="*/ 4460314 h 4687251"/>
              <a:gd name="connsiteX822" fmla="*/ 7802672 w 8079933"/>
              <a:gd name="connsiteY822" fmla="*/ 4464320 h 4687251"/>
              <a:gd name="connsiteX823" fmla="*/ 7801045 w 8079933"/>
              <a:gd name="connsiteY823" fmla="*/ 4471358 h 4687251"/>
              <a:gd name="connsiteX824" fmla="*/ 7797247 w 8079933"/>
              <a:gd name="connsiteY824" fmla="*/ 4478179 h 4687251"/>
              <a:gd name="connsiteX825" fmla="*/ 7792146 w 8079933"/>
              <a:gd name="connsiteY825" fmla="*/ 4484134 h 4687251"/>
              <a:gd name="connsiteX826" fmla="*/ 7793123 w 8079933"/>
              <a:gd name="connsiteY826" fmla="*/ 4484892 h 4687251"/>
              <a:gd name="connsiteX827" fmla="*/ 7792363 w 8079933"/>
              <a:gd name="connsiteY827" fmla="*/ 4486408 h 4687251"/>
              <a:gd name="connsiteX828" fmla="*/ 7789867 w 8079933"/>
              <a:gd name="connsiteY828" fmla="*/ 4487924 h 4687251"/>
              <a:gd name="connsiteX829" fmla="*/ 7793882 w 8079933"/>
              <a:gd name="connsiteY829" fmla="*/ 4487165 h 4687251"/>
              <a:gd name="connsiteX830" fmla="*/ 7794425 w 8079933"/>
              <a:gd name="connsiteY830" fmla="*/ 4488465 h 4687251"/>
              <a:gd name="connsiteX831" fmla="*/ 7792254 w 8079933"/>
              <a:gd name="connsiteY831" fmla="*/ 4490088 h 4687251"/>
              <a:gd name="connsiteX832" fmla="*/ 7786069 w 8079933"/>
              <a:gd name="connsiteY832" fmla="*/ 4489873 h 4687251"/>
              <a:gd name="connsiteX833" fmla="*/ 7779124 w 8079933"/>
              <a:gd name="connsiteY833" fmla="*/ 4492904 h 4687251"/>
              <a:gd name="connsiteX834" fmla="*/ 7776086 w 8079933"/>
              <a:gd name="connsiteY834" fmla="*/ 4497452 h 4687251"/>
              <a:gd name="connsiteX835" fmla="*/ 7774349 w 8079933"/>
              <a:gd name="connsiteY835" fmla="*/ 4502649 h 4687251"/>
              <a:gd name="connsiteX836" fmla="*/ 7768815 w 8079933"/>
              <a:gd name="connsiteY836" fmla="*/ 4505031 h 4687251"/>
              <a:gd name="connsiteX837" fmla="*/ 7769683 w 8079933"/>
              <a:gd name="connsiteY837" fmla="*/ 4501782 h 4687251"/>
              <a:gd name="connsiteX838" fmla="*/ 7766752 w 8079933"/>
              <a:gd name="connsiteY838" fmla="*/ 4499400 h 4687251"/>
              <a:gd name="connsiteX839" fmla="*/ 7767838 w 8079933"/>
              <a:gd name="connsiteY839" fmla="*/ 4503298 h 4687251"/>
              <a:gd name="connsiteX840" fmla="*/ 7767405 w 8079933"/>
              <a:gd name="connsiteY840" fmla="*/ 4505680 h 4687251"/>
              <a:gd name="connsiteX841" fmla="*/ 7762955 w 8079933"/>
              <a:gd name="connsiteY841" fmla="*/ 4507521 h 4687251"/>
              <a:gd name="connsiteX842" fmla="*/ 7756118 w 8079933"/>
              <a:gd name="connsiteY842" fmla="*/ 4513584 h 4687251"/>
              <a:gd name="connsiteX843" fmla="*/ 7747871 w 8079933"/>
              <a:gd name="connsiteY843" fmla="*/ 4516941 h 4687251"/>
              <a:gd name="connsiteX844" fmla="*/ 7742011 w 8079933"/>
              <a:gd name="connsiteY844" fmla="*/ 4517698 h 4687251"/>
              <a:gd name="connsiteX845" fmla="*/ 7738105 w 8079933"/>
              <a:gd name="connsiteY845" fmla="*/ 4516616 h 4687251"/>
              <a:gd name="connsiteX846" fmla="*/ 7738105 w 8079933"/>
              <a:gd name="connsiteY846" fmla="*/ 4514125 h 4687251"/>
              <a:gd name="connsiteX847" fmla="*/ 7731811 w 8079933"/>
              <a:gd name="connsiteY847" fmla="*/ 4517157 h 4687251"/>
              <a:gd name="connsiteX848" fmla="*/ 7729423 w 8079933"/>
              <a:gd name="connsiteY848" fmla="*/ 4516616 h 4687251"/>
              <a:gd name="connsiteX849" fmla="*/ 7734089 w 8079933"/>
              <a:gd name="connsiteY849" fmla="*/ 4513909 h 4687251"/>
              <a:gd name="connsiteX850" fmla="*/ 7730942 w 8079933"/>
              <a:gd name="connsiteY850" fmla="*/ 4511527 h 4687251"/>
              <a:gd name="connsiteX851" fmla="*/ 7726385 w 8079933"/>
              <a:gd name="connsiteY851" fmla="*/ 4507521 h 4687251"/>
              <a:gd name="connsiteX852" fmla="*/ 7725734 w 8079933"/>
              <a:gd name="connsiteY852" fmla="*/ 4503190 h 4687251"/>
              <a:gd name="connsiteX853" fmla="*/ 7723998 w 8079933"/>
              <a:gd name="connsiteY853" fmla="*/ 4501241 h 4687251"/>
              <a:gd name="connsiteX854" fmla="*/ 7720091 w 8079933"/>
              <a:gd name="connsiteY854" fmla="*/ 4501241 h 4687251"/>
              <a:gd name="connsiteX855" fmla="*/ 7717595 w 8079933"/>
              <a:gd name="connsiteY855" fmla="*/ 4499076 h 4687251"/>
              <a:gd name="connsiteX856" fmla="*/ 7718897 w 8079933"/>
              <a:gd name="connsiteY856" fmla="*/ 4497452 h 4687251"/>
              <a:gd name="connsiteX857" fmla="*/ 7717487 w 8079933"/>
              <a:gd name="connsiteY857" fmla="*/ 4493662 h 4687251"/>
              <a:gd name="connsiteX858" fmla="*/ 7713797 w 8079933"/>
              <a:gd name="connsiteY858" fmla="*/ 4491930 h 4687251"/>
              <a:gd name="connsiteX859" fmla="*/ 7711409 w 8079933"/>
              <a:gd name="connsiteY859" fmla="*/ 4492255 h 4687251"/>
              <a:gd name="connsiteX860" fmla="*/ 7710867 w 8079933"/>
              <a:gd name="connsiteY860" fmla="*/ 4494962 h 4687251"/>
              <a:gd name="connsiteX861" fmla="*/ 7708914 w 8079933"/>
              <a:gd name="connsiteY861" fmla="*/ 4494745 h 4687251"/>
              <a:gd name="connsiteX862" fmla="*/ 7708371 w 8079933"/>
              <a:gd name="connsiteY862" fmla="*/ 4493446 h 4687251"/>
              <a:gd name="connsiteX863" fmla="*/ 7702294 w 8079933"/>
              <a:gd name="connsiteY863" fmla="*/ 4492904 h 4687251"/>
              <a:gd name="connsiteX864" fmla="*/ 7700232 w 8079933"/>
              <a:gd name="connsiteY864" fmla="*/ 4491821 h 4687251"/>
              <a:gd name="connsiteX865" fmla="*/ 7696869 w 8079933"/>
              <a:gd name="connsiteY865" fmla="*/ 4488357 h 4687251"/>
              <a:gd name="connsiteX866" fmla="*/ 7697628 w 8079933"/>
              <a:gd name="connsiteY866" fmla="*/ 4483918 h 4687251"/>
              <a:gd name="connsiteX867" fmla="*/ 7700232 w 8079933"/>
              <a:gd name="connsiteY867" fmla="*/ 4482402 h 4687251"/>
              <a:gd name="connsiteX868" fmla="*/ 7697954 w 8079933"/>
              <a:gd name="connsiteY868" fmla="*/ 4481752 h 4687251"/>
              <a:gd name="connsiteX869" fmla="*/ 7695132 w 8079933"/>
              <a:gd name="connsiteY869" fmla="*/ 4481319 h 4687251"/>
              <a:gd name="connsiteX870" fmla="*/ 7700667 w 8079933"/>
              <a:gd name="connsiteY870" fmla="*/ 4475039 h 4687251"/>
              <a:gd name="connsiteX871" fmla="*/ 7705658 w 8079933"/>
              <a:gd name="connsiteY871" fmla="*/ 4474390 h 4687251"/>
              <a:gd name="connsiteX872" fmla="*/ 7709565 w 8079933"/>
              <a:gd name="connsiteY872" fmla="*/ 4474498 h 4687251"/>
              <a:gd name="connsiteX873" fmla="*/ 7711301 w 8079933"/>
              <a:gd name="connsiteY873" fmla="*/ 4472982 h 4687251"/>
              <a:gd name="connsiteX874" fmla="*/ 7709565 w 8079933"/>
              <a:gd name="connsiteY874" fmla="*/ 4470708 h 4687251"/>
              <a:gd name="connsiteX875" fmla="*/ 7705984 w 8079933"/>
              <a:gd name="connsiteY875" fmla="*/ 4467352 h 4687251"/>
              <a:gd name="connsiteX876" fmla="*/ 7705658 w 8079933"/>
              <a:gd name="connsiteY876" fmla="*/ 4464320 h 4687251"/>
              <a:gd name="connsiteX877" fmla="*/ 7709782 w 8079933"/>
              <a:gd name="connsiteY877" fmla="*/ 4457500 h 4687251"/>
              <a:gd name="connsiteX878" fmla="*/ 7711409 w 8079933"/>
              <a:gd name="connsiteY878" fmla="*/ 4456308 h 4687251"/>
              <a:gd name="connsiteX879" fmla="*/ 7713146 w 8079933"/>
              <a:gd name="connsiteY879" fmla="*/ 4453385 h 4687251"/>
              <a:gd name="connsiteX880" fmla="*/ 7714991 w 8079933"/>
              <a:gd name="connsiteY880" fmla="*/ 4454360 h 4687251"/>
              <a:gd name="connsiteX881" fmla="*/ 7716835 w 8079933"/>
              <a:gd name="connsiteY881" fmla="*/ 4458474 h 4687251"/>
              <a:gd name="connsiteX882" fmla="*/ 7718680 w 8079933"/>
              <a:gd name="connsiteY882" fmla="*/ 4456200 h 4687251"/>
              <a:gd name="connsiteX883" fmla="*/ 7719114 w 8079933"/>
              <a:gd name="connsiteY883" fmla="*/ 4447972 h 4687251"/>
              <a:gd name="connsiteX884" fmla="*/ 7721285 w 8079933"/>
              <a:gd name="connsiteY884" fmla="*/ 4445048 h 4687251"/>
              <a:gd name="connsiteX885" fmla="*/ 7723238 w 8079933"/>
              <a:gd name="connsiteY885" fmla="*/ 4445048 h 4687251"/>
              <a:gd name="connsiteX886" fmla="*/ 7730182 w 8079933"/>
              <a:gd name="connsiteY886" fmla="*/ 4437252 h 4687251"/>
              <a:gd name="connsiteX887" fmla="*/ 7732353 w 8079933"/>
              <a:gd name="connsiteY887" fmla="*/ 4438877 h 4687251"/>
              <a:gd name="connsiteX888" fmla="*/ 7734415 w 8079933"/>
              <a:gd name="connsiteY888" fmla="*/ 4436495 h 4687251"/>
              <a:gd name="connsiteX889" fmla="*/ 7734415 w 8079933"/>
              <a:gd name="connsiteY889" fmla="*/ 4430757 h 4687251"/>
              <a:gd name="connsiteX890" fmla="*/ 7737237 w 8079933"/>
              <a:gd name="connsiteY890" fmla="*/ 4428916 h 4687251"/>
              <a:gd name="connsiteX891" fmla="*/ 7740275 w 8079933"/>
              <a:gd name="connsiteY891" fmla="*/ 4426209 h 4687251"/>
              <a:gd name="connsiteX892" fmla="*/ 7742336 w 8079933"/>
              <a:gd name="connsiteY892" fmla="*/ 4427833 h 4687251"/>
              <a:gd name="connsiteX893" fmla="*/ 7742988 w 8079933"/>
              <a:gd name="connsiteY893" fmla="*/ 4430757 h 4687251"/>
              <a:gd name="connsiteX894" fmla="*/ 7744073 w 8079933"/>
              <a:gd name="connsiteY894" fmla="*/ 4425235 h 4687251"/>
              <a:gd name="connsiteX895" fmla="*/ 7748197 w 8079933"/>
              <a:gd name="connsiteY895" fmla="*/ 4419929 h 4687251"/>
              <a:gd name="connsiteX896" fmla="*/ 7751886 w 8079933"/>
              <a:gd name="connsiteY896" fmla="*/ 4418847 h 4687251"/>
              <a:gd name="connsiteX897" fmla="*/ 7757638 w 8079933"/>
              <a:gd name="connsiteY897" fmla="*/ 4414191 h 4687251"/>
              <a:gd name="connsiteX898" fmla="*/ 7760459 w 8079933"/>
              <a:gd name="connsiteY898" fmla="*/ 4410618 h 4687251"/>
              <a:gd name="connsiteX899" fmla="*/ 7767947 w 8079933"/>
              <a:gd name="connsiteY899" fmla="*/ 4404122 h 4687251"/>
              <a:gd name="connsiteX900" fmla="*/ 7771527 w 8079933"/>
              <a:gd name="connsiteY900" fmla="*/ 4403905 h 4687251"/>
              <a:gd name="connsiteX901" fmla="*/ 7773698 w 8079933"/>
              <a:gd name="connsiteY901" fmla="*/ 4405638 h 4687251"/>
              <a:gd name="connsiteX902" fmla="*/ 7777930 w 8079933"/>
              <a:gd name="connsiteY902" fmla="*/ 4404555 h 4687251"/>
              <a:gd name="connsiteX903" fmla="*/ 7781836 w 8079933"/>
              <a:gd name="connsiteY903" fmla="*/ 4403364 h 4687251"/>
              <a:gd name="connsiteX904" fmla="*/ 7783682 w 8079933"/>
              <a:gd name="connsiteY904" fmla="*/ 4404122 h 4687251"/>
              <a:gd name="connsiteX905" fmla="*/ 7787697 w 8079933"/>
              <a:gd name="connsiteY905" fmla="*/ 4408020 h 4687251"/>
              <a:gd name="connsiteX906" fmla="*/ 7787154 w 8079933"/>
              <a:gd name="connsiteY906" fmla="*/ 4403148 h 4687251"/>
              <a:gd name="connsiteX907" fmla="*/ 7785526 w 8079933"/>
              <a:gd name="connsiteY907" fmla="*/ 4399358 h 4687251"/>
              <a:gd name="connsiteX908" fmla="*/ 7786286 w 8079933"/>
              <a:gd name="connsiteY908" fmla="*/ 4396651 h 4687251"/>
              <a:gd name="connsiteX909" fmla="*/ 7794642 w 8079933"/>
              <a:gd name="connsiteY909" fmla="*/ 4391454 h 4687251"/>
              <a:gd name="connsiteX910" fmla="*/ 7799308 w 8079933"/>
              <a:gd name="connsiteY910" fmla="*/ 4390480 h 4687251"/>
              <a:gd name="connsiteX911" fmla="*/ 7807012 w 8079933"/>
              <a:gd name="connsiteY911" fmla="*/ 4383117 h 4687251"/>
              <a:gd name="connsiteX912" fmla="*/ 7815911 w 8079933"/>
              <a:gd name="connsiteY912" fmla="*/ 4378678 h 4687251"/>
              <a:gd name="connsiteX913" fmla="*/ 7819818 w 8079933"/>
              <a:gd name="connsiteY913" fmla="*/ 4378895 h 4687251"/>
              <a:gd name="connsiteX914" fmla="*/ 7820469 w 8079933"/>
              <a:gd name="connsiteY914" fmla="*/ 4375430 h 4687251"/>
              <a:gd name="connsiteX915" fmla="*/ 7826437 w 8079933"/>
              <a:gd name="connsiteY915" fmla="*/ 4372290 h 4687251"/>
              <a:gd name="connsiteX916" fmla="*/ 7831429 w 8079933"/>
              <a:gd name="connsiteY916" fmla="*/ 4371641 h 4687251"/>
              <a:gd name="connsiteX917" fmla="*/ 7841087 w 8079933"/>
              <a:gd name="connsiteY917" fmla="*/ 4364711 h 4687251"/>
              <a:gd name="connsiteX918" fmla="*/ 7849769 w 8079933"/>
              <a:gd name="connsiteY918" fmla="*/ 4354642 h 4687251"/>
              <a:gd name="connsiteX919" fmla="*/ 7850202 w 8079933"/>
              <a:gd name="connsiteY919" fmla="*/ 4350853 h 4687251"/>
              <a:gd name="connsiteX920" fmla="*/ 7852481 w 8079933"/>
              <a:gd name="connsiteY920" fmla="*/ 4347929 h 4687251"/>
              <a:gd name="connsiteX921" fmla="*/ 7852699 w 8079933"/>
              <a:gd name="connsiteY921" fmla="*/ 4342732 h 4687251"/>
              <a:gd name="connsiteX922" fmla="*/ 7856496 w 8079933"/>
              <a:gd name="connsiteY922" fmla="*/ 4338510 h 4687251"/>
              <a:gd name="connsiteX923" fmla="*/ 7859101 w 8079933"/>
              <a:gd name="connsiteY923" fmla="*/ 4337210 h 4687251"/>
              <a:gd name="connsiteX924" fmla="*/ 7859318 w 8079933"/>
              <a:gd name="connsiteY924" fmla="*/ 4332447 h 4687251"/>
              <a:gd name="connsiteX925" fmla="*/ 7860620 w 8079933"/>
              <a:gd name="connsiteY925" fmla="*/ 4328224 h 4687251"/>
              <a:gd name="connsiteX926" fmla="*/ 7864526 w 8079933"/>
              <a:gd name="connsiteY926" fmla="*/ 4325301 h 4687251"/>
              <a:gd name="connsiteX927" fmla="*/ 7869410 w 8079933"/>
              <a:gd name="connsiteY927" fmla="*/ 4325734 h 4687251"/>
              <a:gd name="connsiteX928" fmla="*/ 7873425 w 8079933"/>
              <a:gd name="connsiteY928" fmla="*/ 4324110 h 4687251"/>
              <a:gd name="connsiteX929" fmla="*/ 7875053 w 8079933"/>
              <a:gd name="connsiteY929" fmla="*/ 4320537 h 4687251"/>
              <a:gd name="connsiteX930" fmla="*/ 7880478 w 8079933"/>
              <a:gd name="connsiteY930" fmla="*/ 4313933 h 4687251"/>
              <a:gd name="connsiteX931" fmla="*/ 7882540 w 8079933"/>
              <a:gd name="connsiteY931" fmla="*/ 4313175 h 4687251"/>
              <a:gd name="connsiteX932" fmla="*/ 7886880 w 8079933"/>
              <a:gd name="connsiteY932" fmla="*/ 4307436 h 4687251"/>
              <a:gd name="connsiteX933" fmla="*/ 7891222 w 8079933"/>
              <a:gd name="connsiteY933" fmla="*/ 4296609 h 4687251"/>
              <a:gd name="connsiteX934" fmla="*/ 7891982 w 8079933"/>
              <a:gd name="connsiteY934" fmla="*/ 4290655 h 4687251"/>
              <a:gd name="connsiteX935" fmla="*/ 7896214 w 8079933"/>
              <a:gd name="connsiteY935" fmla="*/ 4287190 h 4687251"/>
              <a:gd name="connsiteX936" fmla="*/ 7899360 w 8079933"/>
              <a:gd name="connsiteY936" fmla="*/ 4285890 h 4687251"/>
              <a:gd name="connsiteX937" fmla="*/ 2284276 w 8079933"/>
              <a:gd name="connsiteY937" fmla="*/ 4260772 h 4687251"/>
              <a:gd name="connsiteX938" fmla="*/ 2284927 w 8079933"/>
              <a:gd name="connsiteY938" fmla="*/ 4264886 h 4687251"/>
              <a:gd name="connsiteX939" fmla="*/ 2282323 w 8079933"/>
              <a:gd name="connsiteY939" fmla="*/ 4264669 h 4687251"/>
              <a:gd name="connsiteX940" fmla="*/ 2282214 w 8079933"/>
              <a:gd name="connsiteY940" fmla="*/ 4260988 h 4687251"/>
              <a:gd name="connsiteX941" fmla="*/ 2300769 w 8079933"/>
              <a:gd name="connsiteY941" fmla="*/ 4259256 h 4687251"/>
              <a:gd name="connsiteX942" fmla="*/ 2298164 w 8079933"/>
              <a:gd name="connsiteY942" fmla="*/ 4262288 h 4687251"/>
              <a:gd name="connsiteX943" fmla="*/ 2295886 w 8079933"/>
              <a:gd name="connsiteY943" fmla="*/ 4259364 h 4687251"/>
              <a:gd name="connsiteX944" fmla="*/ 2288182 w 8079933"/>
              <a:gd name="connsiteY944" fmla="*/ 4257957 h 4687251"/>
              <a:gd name="connsiteX945" fmla="*/ 2289593 w 8079933"/>
              <a:gd name="connsiteY945" fmla="*/ 4260122 h 4687251"/>
              <a:gd name="connsiteX946" fmla="*/ 2293716 w 8079933"/>
              <a:gd name="connsiteY946" fmla="*/ 4260988 h 4687251"/>
              <a:gd name="connsiteX947" fmla="*/ 2295561 w 8079933"/>
              <a:gd name="connsiteY947" fmla="*/ 4264670 h 4687251"/>
              <a:gd name="connsiteX948" fmla="*/ 2290787 w 8079933"/>
              <a:gd name="connsiteY948" fmla="*/ 4265752 h 4687251"/>
              <a:gd name="connsiteX949" fmla="*/ 2286337 w 8079933"/>
              <a:gd name="connsiteY949" fmla="*/ 4260772 h 4687251"/>
              <a:gd name="connsiteX950" fmla="*/ 2293716 w 8079933"/>
              <a:gd name="connsiteY950" fmla="*/ 4253409 h 4687251"/>
              <a:gd name="connsiteX951" fmla="*/ 2293499 w 8079933"/>
              <a:gd name="connsiteY951" fmla="*/ 4257848 h 4687251"/>
              <a:gd name="connsiteX952" fmla="*/ 2289701 w 8079933"/>
              <a:gd name="connsiteY952" fmla="*/ 4253733 h 4687251"/>
              <a:gd name="connsiteX953" fmla="*/ 2297188 w 8079933"/>
              <a:gd name="connsiteY953" fmla="*/ 4245614 h 4687251"/>
              <a:gd name="connsiteX954" fmla="*/ 2302288 w 8079933"/>
              <a:gd name="connsiteY954" fmla="*/ 4245614 h 4687251"/>
              <a:gd name="connsiteX955" fmla="*/ 2302831 w 8079933"/>
              <a:gd name="connsiteY955" fmla="*/ 4253192 h 4687251"/>
              <a:gd name="connsiteX956" fmla="*/ 2300227 w 8079933"/>
              <a:gd name="connsiteY956" fmla="*/ 4256873 h 4687251"/>
              <a:gd name="connsiteX957" fmla="*/ 2297188 w 8079933"/>
              <a:gd name="connsiteY957" fmla="*/ 4255249 h 4687251"/>
              <a:gd name="connsiteX958" fmla="*/ 2295560 w 8079933"/>
              <a:gd name="connsiteY958" fmla="*/ 4250161 h 4687251"/>
              <a:gd name="connsiteX959" fmla="*/ 2293065 w 8079933"/>
              <a:gd name="connsiteY959" fmla="*/ 4248104 h 4687251"/>
              <a:gd name="connsiteX960" fmla="*/ 2357250 w 8079933"/>
              <a:gd name="connsiteY960" fmla="*/ 4243263 h 4687251"/>
              <a:gd name="connsiteX961" fmla="*/ 2359911 w 8079933"/>
              <a:gd name="connsiteY961" fmla="*/ 4247996 h 4687251"/>
              <a:gd name="connsiteX962" fmla="*/ 2359914 w 8079933"/>
              <a:gd name="connsiteY962" fmla="*/ 4248105 h 4687251"/>
              <a:gd name="connsiteX963" fmla="*/ 2359911 w 8079933"/>
              <a:gd name="connsiteY963" fmla="*/ 4247995 h 4687251"/>
              <a:gd name="connsiteX964" fmla="*/ 2297732 w 8079933"/>
              <a:gd name="connsiteY964" fmla="*/ 4240633 h 4687251"/>
              <a:gd name="connsiteX965" fmla="*/ 2297297 w 8079933"/>
              <a:gd name="connsiteY965" fmla="*/ 4244638 h 4687251"/>
              <a:gd name="connsiteX966" fmla="*/ 2291112 w 8079933"/>
              <a:gd name="connsiteY966" fmla="*/ 4244746 h 4687251"/>
              <a:gd name="connsiteX967" fmla="*/ 2288833 w 8079933"/>
              <a:gd name="connsiteY967" fmla="*/ 4242690 h 4687251"/>
              <a:gd name="connsiteX968" fmla="*/ 2294259 w 8079933"/>
              <a:gd name="connsiteY968" fmla="*/ 4240957 h 4687251"/>
              <a:gd name="connsiteX969" fmla="*/ 2337448 w 8079933"/>
              <a:gd name="connsiteY969" fmla="*/ 4232189 h 4687251"/>
              <a:gd name="connsiteX970" fmla="*/ 2340487 w 8079933"/>
              <a:gd name="connsiteY970" fmla="*/ 4235004 h 4687251"/>
              <a:gd name="connsiteX971" fmla="*/ 2342006 w 8079933"/>
              <a:gd name="connsiteY971" fmla="*/ 4233596 h 4687251"/>
              <a:gd name="connsiteX972" fmla="*/ 2340487 w 8079933"/>
              <a:gd name="connsiteY972" fmla="*/ 4235003 h 4687251"/>
              <a:gd name="connsiteX973" fmla="*/ 2267129 w 8079933"/>
              <a:gd name="connsiteY973" fmla="*/ 4232188 h 4687251"/>
              <a:gd name="connsiteX974" fmla="*/ 2271686 w 8079933"/>
              <a:gd name="connsiteY974" fmla="*/ 4232188 h 4687251"/>
              <a:gd name="connsiteX975" fmla="*/ 2274182 w 8079933"/>
              <a:gd name="connsiteY975" fmla="*/ 4235002 h 4687251"/>
              <a:gd name="connsiteX976" fmla="*/ 2272663 w 8079933"/>
              <a:gd name="connsiteY976" fmla="*/ 4237925 h 4687251"/>
              <a:gd name="connsiteX977" fmla="*/ 2266695 w 8079933"/>
              <a:gd name="connsiteY977" fmla="*/ 4235327 h 4687251"/>
              <a:gd name="connsiteX978" fmla="*/ 2286878 w 8079933"/>
              <a:gd name="connsiteY978" fmla="*/ 4232081 h 4687251"/>
              <a:gd name="connsiteX979" fmla="*/ 2296862 w 8079933"/>
              <a:gd name="connsiteY979" fmla="*/ 4232081 h 4687251"/>
              <a:gd name="connsiteX980" fmla="*/ 2294583 w 8079933"/>
              <a:gd name="connsiteY980" fmla="*/ 4234462 h 4687251"/>
              <a:gd name="connsiteX981" fmla="*/ 2288507 w 8079933"/>
              <a:gd name="connsiteY981" fmla="*/ 4235653 h 4687251"/>
              <a:gd name="connsiteX982" fmla="*/ 2287638 w 8079933"/>
              <a:gd name="connsiteY982" fmla="*/ 4237601 h 4687251"/>
              <a:gd name="connsiteX983" fmla="*/ 2285685 w 8079933"/>
              <a:gd name="connsiteY983" fmla="*/ 4235869 h 4687251"/>
              <a:gd name="connsiteX984" fmla="*/ 2277655 w 8079933"/>
              <a:gd name="connsiteY984" fmla="*/ 4226991 h 4687251"/>
              <a:gd name="connsiteX985" fmla="*/ 2280151 w 8079933"/>
              <a:gd name="connsiteY985" fmla="*/ 4229481 h 4687251"/>
              <a:gd name="connsiteX986" fmla="*/ 2277113 w 8079933"/>
              <a:gd name="connsiteY986" fmla="*/ 4231755 h 4687251"/>
              <a:gd name="connsiteX987" fmla="*/ 2275268 w 8079933"/>
              <a:gd name="connsiteY987" fmla="*/ 4229914 h 4687251"/>
              <a:gd name="connsiteX988" fmla="*/ 2300444 w 8079933"/>
              <a:gd name="connsiteY988" fmla="*/ 4225476 h 4687251"/>
              <a:gd name="connsiteX989" fmla="*/ 2301854 w 8079933"/>
              <a:gd name="connsiteY989" fmla="*/ 4230889 h 4687251"/>
              <a:gd name="connsiteX990" fmla="*/ 2298382 w 8079933"/>
              <a:gd name="connsiteY990" fmla="*/ 4230457 h 4687251"/>
              <a:gd name="connsiteX991" fmla="*/ 2281779 w 8079933"/>
              <a:gd name="connsiteY991" fmla="*/ 4223311 h 4687251"/>
              <a:gd name="connsiteX992" fmla="*/ 2286662 w 8079933"/>
              <a:gd name="connsiteY992" fmla="*/ 4223419 h 4687251"/>
              <a:gd name="connsiteX993" fmla="*/ 2289049 w 8079933"/>
              <a:gd name="connsiteY993" fmla="*/ 4228075 h 4687251"/>
              <a:gd name="connsiteX994" fmla="*/ 2285469 w 8079933"/>
              <a:gd name="connsiteY994" fmla="*/ 4228832 h 4687251"/>
              <a:gd name="connsiteX995" fmla="*/ 2282539 w 8079933"/>
              <a:gd name="connsiteY995" fmla="*/ 4230024 h 4687251"/>
              <a:gd name="connsiteX996" fmla="*/ 2282864 w 8079933"/>
              <a:gd name="connsiteY996" fmla="*/ 4226234 h 4687251"/>
              <a:gd name="connsiteX997" fmla="*/ 2296862 w 8079933"/>
              <a:gd name="connsiteY997" fmla="*/ 4222119 h 4687251"/>
              <a:gd name="connsiteX998" fmla="*/ 2296862 w 8079933"/>
              <a:gd name="connsiteY998" fmla="*/ 4228291 h 4687251"/>
              <a:gd name="connsiteX999" fmla="*/ 2292196 w 8079933"/>
              <a:gd name="connsiteY999" fmla="*/ 4223851 h 4687251"/>
              <a:gd name="connsiteX1000" fmla="*/ 2312272 w 8079933"/>
              <a:gd name="connsiteY1000" fmla="*/ 4221361 h 4687251"/>
              <a:gd name="connsiteX1001" fmla="*/ 2316830 w 8079933"/>
              <a:gd name="connsiteY1001" fmla="*/ 4222227 h 4687251"/>
              <a:gd name="connsiteX1002" fmla="*/ 2317807 w 8079933"/>
              <a:gd name="connsiteY1002" fmla="*/ 4225692 h 4687251"/>
              <a:gd name="connsiteX1003" fmla="*/ 2321605 w 8079933"/>
              <a:gd name="connsiteY1003" fmla="*/ 4229806 h 4687251"/>
              <a:gd name="connsiteX1004" fmla="*/ 2319001 w 8079933"/>
              <a:gd name="connsiteY1004" fmla="*/ 4233596 h 4687251"/>
              <a:gd name="connsiteX1005" fmla="*/ 2317698 w 8079933"/>
              <a:gd name="connsiteY1005" fmla="*/ 4236843 h 4687251"/>
              <a:gd name="connsiteX1006" fmla="*/ 2314552 w 8079933"/>
              <a:gd name="connsiteY1006" fmla="*/ 4237602 h 4687251"/>
              <a:gd name="connsiteX1007" fmla="*/ 2312272 w 8079933"/>
              <a:gd name="connsiteY1007" fmla="*/ 4236302 h 4687251"/>
              <a:gd name="connsiteX1008" fmla="*/ 2309885 w 8079933"/>
              <a:gd name="connsiteY1008" fmla="*/ 4235869 h 4687251"/>
              <a:gd name="connsiteX1009" fmla="*/ 2306412 w 8079933"/>
              <a:gd name="connsiteY1009" fmla="*/ 4239442 h 4687251"/>
              <a:gd name="connsiteX1010" fmla="*/ 2306087 w 8079933"/>
              <a:gd name="connsiteY1010" fmla="*/ 4234137 h 4687251"/>
              <a:gd name="connsiteX1011" fmla="*/ 2305219 w 8079933"/>
              <a:gd name="connsiteY1011" fmla="*/ 4230347 h 4687251"/>
              <a:gd name="connsiteX1012" fmla="*/ 2307498 w 8079933"/>
              <a:gd name="connsiteY1012" fmla="*/ 4223310 h 4687251"/>
              <a:gd name="connsiteX1013" fmla="*/ 7340934 w 8079933"/>
              <a:gd name="connsiteY1013" fmla="*/ 4221254 h 4687251"/>
              <a:gd name="connsiteX1014" fmla="*/ 7339849 w 8079933"/>
              <a:gd name="connsiteY1014" fmla="*/ 4225151 h 4687251"/>
              <a:gd name="connsiteX1015" fmla="*/ 7337461 w 8079933"/>
              <a:gd name="connsiteY1015" fmla="*/ 4222444 h 4687251"/>
              <a:gd name="connsiteX1016" fmla="*/ 7255423 w 8079933"/>
              <a:gd name="connsiteY1016" fmla="*/ 4217248 h 4687251"/>
              <a:gd name="connsiteX1017" fmla="*/ 7260089 w 8079933"/>
              <a:gd name="connsiteY1017" fmla="*/ 4220604 h 4687251"/>
              <a:gd name="connsiteX1018" fmla="*/ 7264430 w 8079933"/>
              <a:gd name="connsiteY1018" fmla="*/ 4222769 h 4687251"/>
              <a:gd name="connsiteX1019" fmla="*/ 7268011 w 8079933"/>
              <a:gd name="connsiteY1019" fmla="*/ 4225693 h 4687251"/>
              <a:gd name="connsiteX1020" fmla="*/ 7268771 w 8079933"/>
              <a:gd name="connsiteY1020" fmla="*/ 4223203 h 4687251"/>
              <a:gd name="connsiteX1021" fmla="*/ 7270724 w 8079933"/>
              <a:gd name="connsiteY1021" fmla="*/ 4220820 h 4687251"/>
              <a:gd name="connsiteX1022" fmla="*/ 7270724 w 8079933"/>
              <a:gd name="connsiteY1022" fmla="*/ 4227858 h 4687251"/>
              <a:gd name="connsiteX1023" fmla="*/ 7279079 w 8079933"/>
              <a:gd name="connsiteY1023" fmla="*/ 4232405 h 4687251"/>
              <a:gd name="connsiteX1024" fmla="*/ 7285591 w 8079933"/>
              <a:gd name="connsiteY1024" fmla="*/ 4238360 h 4687251"/>
              <a:gd name="connsiteX1025" fmla="*/ 7290040 w 8079933"/>
              <a:gd name="connsiteY1025" fmla="*/ 4241609 h 4687251"/>
              <a:gd name="connsiteX1026" fmla="*/ 7293078 w 8079933"/>
              <a:gd name="connsiteY1026" fmla="*/ 4239335 h 4687251"/>
              <a:gd name="connsiteX1027" fmla="*/ 7297744 w 8079933"/>
              <a:gd name="connsiteY1027" fmla="*/ 4239335 h 4687251"/>
              <a:gd name="connsiteX1028" fmla="*/ 7301326 w 8079933"/>
              <a:gd name="connsiteY1028" fmla="*/ 4242799 h 4687251"/>
              <a:gd name="connsiteX1029" fmla="*/ 7301326 w 8079933"/>
              <a:gd name="connsiteY1029" fmla="*/ 4238468 h 4687251"/>
              <a:gd name="connsiteX1030" fmla="*/ 7304364 w 8079933"/>
              <a:gd name="connsiteY1030" fmla="*/ 4236519 h 4687251"/>
              <a:gd name="connsiteX1031" fmla="*/ 7318689 w 8079933"/>
              <a:gd name="connsiteY1031" fmla="*/ 4237386 h 4687251"/>
              <a:gd name="connsiteX1032" fmla="*/ 7321184 w 8079933"/>
              <a:gd name="connsiteY1032" fmla="*/ 4235762 h 4687251"/>
              <a:gd name="connsiteX1033" fmla="*/ 7324440 w 8079933"/>
              <a:gd name="connsiteY1033" fmla="*/ 4233272 h 4687251"/>
              <a:gd name="connsiteX1034" fmla="*/ 7327153 w 8079933"/>
              <a:gd name="connsiteY1034" fmla="*/ 4233272 h 4687251"/>
              <a:gd name="connsiteX1035" fmla="*/ 7328455 w 8079933"/>
              <a:gd name="connsiteY1035" fmla="*/ 4234138 h 4687251"/>
              <a:gd name="connsiteX1036" fmla="*/ 7331168 w 8079933"/>
              <a:gd name="connsiteY1036" fmla="*/ 4229807 h 4687251"/>
              <a:gd name="connsiteX1037" fmla="*/ 7331711 w 8079933"/>
              <a:gd name="connsiteY1037" fmla="*/ 4229049 h 4687251"/>
              <a:gd name="connsiteX1038" fmla="*/ 7337353 w 8079933"/>
              <a:gd name="connsiteY1038" fmla="*/ 4233055 h 4687251"/>
              <a:gd name="connsiteX1039" fmla="*/ 7335726 w 8079933"/>
              <a:gd name="connsiteY1039" fmla="*/ 4237169 h 4687251"/>
              <a:gd name="connsiteX1040" fmla="*/ 7333556 w 8079933"/>
              <a:gd name="connsiteY1040" fmla="*/ 4249403 h 4687251"/>
              <a:gd name="connsiteX1041" fmla="*/ 7329431 w 8079933"/>
              <a:gd name="connsiteY1041" fmla="*/ 4254384 h 4687251"/>
              <a:gd name="connsiteX1042" fmla="*/ 7329431 w 8079933"/>
              <a:gd name="connsiteY1042" fmla="*/ 4263263 h 4687251"/>
              <a:gd name="connsiteX1043" fmla="*/ 7325959 w 8079933"/>
              <a:gd name="connsiteY1043" fmla="*/ 4268351 h 4687251"/>
              <a:gd name="connsiteX1044" fmla="*/ 7327261 w 8079933"/>
              <a:gd name="connsiteY1044" fmla="*/ 4274305 h 4687251"/>
              <a:gd name="connsiteX1045" fmla="*/ 7325959 w 8079933"/>
              <a:gd name="connsiteY1045" fmla="*/ 4276471 h 4687251"/>
              <a:gd name="connsiteX1046" fmla="*/ 7325959 w 8079933"/>
              <a:gd name="connsiteY1046" fmla="*/ 4280802 h 4687251"/>
              <a:gd name="connsiteX1047" fmla="*/ 7323572 w 8079933"/>
              <a:gd name="connsiteY1047" fmla="*/ 4285999 h 4687251"/>
              <a:gd name="connsiteX1048" fmla="*/ 7322703 w 8079933"/>
              <a:gd name="connsiteY1048" fmla="*/ 4282643 h 4687251"/>
              <a:gd name="connsiteX1049" fmla="*/ 7321293 w 8079933"/>
              <a:gd name="connsiteY1049" fmla="*/ 4275713 h 4687251"/>
              <a:gd name="connsiteX1050" fmla="*/ 7318797 w 8079933"/>
              <a:gd name="connsiteY1050" fmla="*/ 4280260 h 4687251"/>
              <a:gd name="connsiteX1051" fmla="*/ 7315759 w 8079933"/>
              <a:gd name="connsiteY1051" fmla="*/ 4282426 h 4687251"/>
              <a:gd name="connsiteX1052" fmla="*/ 7315759 w 8079933"/>
              <a:gd name="connsiteY1052" fmla="*/ 4293253 h 4687251"/>
              <a:gd name="connsiteX1053" fmla="*/ 7313805 w 8079933"/>
              <a:gd name="connsiteY1053" fmla="*/ 4295202 h 4687251"/>
              <a:gd name="connsiteX1054" fmla="*/ 7310007 w 8079933"/>
              <a:gd name="connsiteY1054" fmla="*/ 4295202 h 4687251"/>
              <a:gd name="connsiteX1055" fmla="*/ 7310007 w 8079933"/>
              <a:gd name="connsiteY1055" fmla="*/ 4300615 h 4687251"/>
              <a:gd name="connsiteX1056" fmla="*/ 7306643 w 8079933"/>
              <a:gd name="connsiteY1056" fmla="*/ 4304946 h 4687251"/>
              <a:gd name="connsiteX1057" fmla="*/ 7310441 w 8079933"/>
              <a:gd name="connsiteY1057" fmla="*/ 4307437 h 4687251"/>
              <a:gd name="connsiteX1058" fmla="*/ 7310441 w 8079933"/>
              <a:gd name="connsiteY1058" fmla="*/ 4310360 h 4687251"/>
              <a:gd name="connsiteX1059" fmla="*/ 7305015 w 8079933"/>
              <a:gd name="connsiteY1059" fmla="*/ 4318155 h 4687251"/>
              <a:gd name="connsiteX1060" fmla="*/ 7303062 w 8079933"/>
              <a:gd name="connsiteY1060" fmla="*/ 4317506 h 4687251"/>
              <a:gd name="connsiteX1061" fmla="*/ 7298830 w 8079933"/>
              <a:gd name="connsiteY1061" fmla="*/ 4319563 h 4687251"/>
              <a:gd name="connsiteX1062" fmla="*/ 7298830 w 8079933"/>
              <a:gd name="connsiteY1062" fmla="*/ 4312526 h 4687251"/>
              <a:gd name="connsiteX1063" fmla="*/ 7303713 w 8079933"/>
              <a:gd name="connsiteY1063" fmla="*/ 4314583 h 4687251"/>
              <a:gd name="connsiteX1064" fmla="*/ 7304364 w 8079933"/>
              <a:gd name="connsiteY1064" fmla="*/ 4310577 h 4687251"/>
              <a:gd name="connsiteX1065" fmla="*/ 7301651 w 8079933"/>
              <a:gd name="connsiteY1065" fmla="*/ 4308194 h 4687251"/>
              <a:gd name="connsiteX1066" fmla="*/ 7297636 w 8079933"/>
              <a:gd name="connsiteY1066" fmla="*/ 4308953 h 4687251"/>
              <a:gd name="connsiteX1067" fmla="*/ 7295249 w 8079933"/>
              <a:gd name="connsiteY1067" fmla="*/ 4313067 h 4687251"/>
              <a:gd name="connsiteX1068" fmla="*/ 7292210 w 8079933"/>
              <a:gd name="connsiteY1068" fmla="*/ 4311984 h 4687251"/>
              <a:gd name="connsiteX1069" fmla="*/ 7292210 w 8079933"/>
              <a:gd name="connsiteY1069" fmla="*/ 4307004 h 4687251"/>
              <a:gd name="connsiteX1070" fmla="*/ 7290365 w 8079933"/>
              <a:gd name="connsiteY1070" fmla="*/ 4311984 h 4687251"/>
              <a:gd name="connsiteX1071" fmla="*/ 7286025 w 8079933"/>
              <a:gd name="connsiteY1071" fmla="*/ 4315448 h 4687251"/>
              <a:gd name="connsiteX1072" fmla="*/ 7284614 w 8079933"/>
              <a:gd name="connsiteY1072" fmla="*/ 4317939 h 4687251"/>
              <a:gd name="connsiteX1073" fmla="*/ 7281359 w 8079933"/>
              <a:gd name="connsiteY1073" fmla="*/ 4314907 h 4687251"/>
              <a:gd name="connsiteX1074" fmla="*/ 7279188 w 8079933"/>
              <a:gd name="connsiteY1074" fmla="*/ 4322703 h 4687251"/>
              <a:gd name="connsiteX1075" fmla="*/ 7278646 w 8079933"/>
              <a:gd name="connsiteY1075" fmla="*/ 4327033 h 4687251"/>
              <a:gd name="connsiteX1076" fmla="*/ 7274197 w 8079933"/>
              <a:gd name="connsiteY1076" fmla="*/ 4333854 h 4687251"/>
              <a:gd name="connsiteX1077" fmla="*/ 7270398 w 8079933"/>
              <a:gd name="connsiteY1077" fmla="*/ 4333854 h 4687251"/>
              <a:gd name="connsiteX1078" fmla="*/ 7268011 w 8079933"/>
              <a:gd name="connsiteY1078" fmla="*/ 4329524 h 4687251"/>
              <a:gd name="connsiteX1079" fmla="*/ 7268011 w 8079933"/>
              <a:gd name="connsiteY1079" fmla="*/ 4325518 h 4687251"/>
              <a:gd name="connsiteX1080" fmla="*/ 7264212 w 8079933"/>
              <a:gd name="connsiteY1080" fmla="*/ 4330498 h 4687251"/>
              <a:gd name="connsiteX1081" fmla="*/ 7260957 w 8079933"/>
              <a:gd name="connsiteY1081" fmla="*/ 4327250 h 4687251"/>
              <a:gd name="connsiteX1082" fmla="*/ 7256617 w 8079933"/>
              <a:gd name="connsiteY1082" fmla="*/ 4328116 h 4687251"/>
              <a:gd name="connsiteX1083" fmla="*/ 7254663 w 8079933"/>
              <a:gd name="connsiteY1083" fmla="*/ 4327250 h 4687251"/>
              <a:gd name="connsiteX1084" fmla="*/ 7254663 w 8079933"/>
              <a:gd name="connsiteY1084" fmla="*/ 4323027 h 4687251"/>
              <a:gd name="connsiteX1085" fmla="*/ 7257376 w 8079933"/>
              <a:gd name="connsiteY1085" fmla="*/ 4319996 h 4687251"/>
              <a:gd name="connsiteX1086" fmla="*/ 7252818 w 8079933"/>
              <a:gd name="connsiteY1086" fmla="*/ 4318372 h 4687251"/>
              <a:gd name="connsiteX1087" fmla="*/ 7251733 w 8079933"/>
              <a:gd name="connsiteY1087" fmla="*/ 4312200 h 4687251"/>
              <a:gd name="connsiteX1088" fmla="*/ 7252818 w 8079933"/>
              <a:gd name="connsiteY1088" fmla="*/ 4310251 h 4687251"/>
              <a:gd name="connsiteX1089" fmla="*/ 7250322 w 8079933"/>
              <a:gd name="connsiteY1089" fmla="*/ 4308302 h 4687251"/>
              <a:gd name="connsiteX1090" fmla="*/ 7250322 w 8079933"/>
              <a:gd name="connsiteY1090" fmla="*/ 4294986 h 4687251"/>
              <a:gd name="connsiteX1091" fmla="*/ 7251408 w 8079933"/>
              <a:gd name="connsiteY1091" fmla="*/ 4292495 h 4687251"/>
              <a:gd name="connsiteX1092" fmla="*/ 7248152 w 8079933"/>
              <a:gd name="connsiteY1092" fmla="*/ 4289788 h 4687251"/>
              <a:gd name="connsiteX1093" fmla="*/ 7248152 w 8079933"/>
              <a:gd name="connsiteY1093" fmla="*/ 4281452 h 4687251"/>
              <a:gd name="connsiteX1094" fmla="*/ 7250105 w 8079933"/>
              <a:gd name="connsiteY1094" fmla="*/ 4276796 h 4687251"/>
              <a:gd name="connsiteX1095" fmla="*/ 7254120 w 8079933"/>
              <a:gd name="connsiteY1095" fmla="*/ 4281235 h 4687251"/>
              <a:gd name="connsiteX1096" fmla="*/ 7259221 w 8079933"/>
              <a:gd name="connsiteY1096" fmla="*/ 4281235 h 4687251"/>
              <a:gd name="connsiteX1097" fmla="*/ 7254880 w 8079933"/>
              <a:gd name="connsiteY1097" fmla="*/ 4276904 h 4687251"/>
              <a:gd name="connsiteX1098" fmla="*/ 7254880 w 8079933"/>
              <a:gd name="connsiteY1098" fmla="*/ 4273873 h 4687251"/>
              <a:gd name="connsiteX1099" fmla="*/ 7252710 w 8079933"/>
              <a:gd name="connsiteY1099" fmla="*/ 4272465 h 4687251"/>
              <a:gd name="connsiteX1100" fmla="*/ 7254011 w 8079933"/>
              <a:gd name="connsiteY1100" fmla="*/ 4265753 h 4687251"/>
              <a:gd name="connsiteX1101" fmla="*/ 7252927 w 8079933"/>
              <a:gd name="connsiteY1101" fmla="*/ 4257307 h 4687251"/>
              <a:gd name="connsiteX1102" fmla="*/ 7252384 w 8079933"/>
              <a:gd name="connsiteY1102" fmla="*/ 4246480 h 4687251"/>
              <a:gd name="connsiteX1103" fmla="*/ 7253578 w 8079933"/>
              <a:gd name="connsiteY1103" fmla="*/ 4240417 h 4687251"/>
              <a:gd name="connsiteX1104" fmla="*/ 7252493 w 8079933"/>
              <a:gd name="connsiteY1104" fmla="*/ 4231106 h 4687251"/>
              <a:gd name="connsiteX1105" fmla="*/ 7252493 w 8079933"/>
              <a:gd name="connsiteY1105" fmla="*/ 4226126 h 4687251"/>
              <a:gd name="connsiteX1106" fmla="*/ 7253904 w 8079933"/>
              <a:gd name="connsiteY1106" fmla="*/ 4225043 h 4687251"/>
              <a:gd name="connsiteX1107" fmla="*/ 7253904 w 8079933"/>
              <a:gd name="connsiteY1107" fmla="*/ 4219521 h 4687251"/>
              <a:gd name="connsiteX1108" fmla="*/ 7264863 w 8079933"/>
              <a:gd name="connsiteY1108" fmla="*/ 4216381 h 4687251"/>
              <a:gd name="connsiteX1109" fmla="*/ 7268011 w 8079933"/>
              <a:gd name="connsiteY1109" fmla="*/ 4219304 h 4687251"/>
              <a:gd name="connsiteX1110" fmla="*/ 7265731 w 8079933"/>
              <a:gd name="connsiteY1110" fmla="*/ 4221577 h 4687251"/>
              <a:gd name="connsiteX1111" fmla="*/ 7262693 w 8079933"/>
              <a:gd name="connsiteY1111" fmla="*/ 4220603 h 4687251"/>
              <a:gd name="connsiteX1112" fmla="*/ 7261825 w 8079933"/>
              <a:gd name="connsiteY1112" fmla="*/ 4217030 h 4687251"/>
              <a:gd name="connsiteX1113" fmla="*/ 2306412 w 8079933"/>
              <a:gd name="connsiteY1113" fmla="*/ 4216381 h 4687251"/>
              <a:gd name="connsiteX1114" fmla="*/ 2310644 w 8079933"/>
              <a:gd name="connsiteY1114" fmla="*/ 4219629 h 4687251"/>
              <a:gd name="connsiteX1115" fmla="*/ 2305760 w 8079933"/>
              <a:gd name="connsiteY1115" fmla="*/ 4220062 h 4687251"/>
              <a:gd name="connsiteX1116" fmla="*/ 2304567 w 8079933"/>
              <a:gd name="connsiteY1116" fmla="*/ 4217680 h 4687251"/>
              <a:gd name="connsiteX1117" fmla="*/ 2283080 w 8079933"/>
              <a:gd name="connsiteY1117" fmla="*/ 4215839 h 4687251"/>
              <a:gd name="connsiteX1118" fmla="*/ 2286661 w 8079933"/>
              <a:gd name="connsiteY1118" fmla="*/ 4215947 h 4687251"/>
              <a:gd name="connsiteX1119" fmla="*/ 2289049 w 8079933"/>
              <a:gd name="connsiteY1119" fmla="*/ 4218546 h 4687251"/>
              <a:gd name="connsiteX1120" fmla="*/ 2288506 w 8079933"/>
              <a:gd name="connsiteY1120" fmla="*/ 4220495 h 4687251"/>
              <a:gd name="connsiteX1121" fmla="*/ 2284816 w 8079933"/>
              <a:gd name="connsiteY1121" fmla="*/ 4222011 h 4687251"/>
              <a:gd name="connsiteX1122" fmla="*/ 2282212 w 8079933"/>
              <a:gd name="connsiteY1122" fmla="*/ 4221361 h 4687251"/>
              <a:gd name="connsiteX1123" fmla="*/ 2281453 w 8079933"/>
              <a:gd name="connsiteY1123" fmla="*/ 4219087 h 4687251"/>
              <a:gd name="connsiteX1124" fmla="*/ 2351773 w 8079933"/>
              <a:gd name="connsiteY1124" fmla="*/ 4214973 h 4687251"/>
              <a:gd name="connsiteX1125" fmla="*/ 2348083 w 8079933"/>
              <a:gd name="connsiteY1125" fmla="*/ 4217463 h 4687251"/>
              <a:gd name="connsiteX1126" fmla="*/ 2343634 w 8079933"/>
              <a:gd name="connsiteY1126" fmla="*/ 4216597 h 4687251"/>
              <a:gd name="connsiteX1127" fmla="*/ 2343634 w 8079933"/>
              <a:gd name="connsiteY1127" fmla="*/ 4216598 h 4687251"/>
              <a:gd name="connsiteX1128" fmla="*/ 2348084 w 8079933"/>
              <a:gd name="connsiteY1128" fmla="*/ 4217464 h 4687251"/>
              <a:gd name="connsiteX1129" fmla="*/ 2288617 w 8079933"/>
              <a:gd name="connsiteY1129" fmla="*/ 4211833 h 4687251"/>
              <a:gd name="connsiteX1130" fmla="*/ 2290678 w 8079933"/>
              <a:gd name="connsiteY1130" fmla="*/ 4213240 h 4687251"/>
              <a:gd name="connsiteX1131" fmla="*/ 2289810 w 8079933"/>
              <a:gd name="connsiteY1131" fmla="*/ 4215838 h 4687251"/>
              <a:gd name="connsiteX1132" fmla="*/ 2287640 w 8079933"/>
              <a:gd name="connsiteY1132" fmla="*/ 4213132 h 4687251"/>
              <a:gd name="connsiteX1133" fmla="*/ 7343430 w 8079933"/>
              <a:gd name="connsiteY1133" fmla="*/ 4211401 h 4687251"/>
              <a:gd name="connsiteX1134" fmla="*/ 7348312 w 8079933"/>
              <a:gd name="connsiteY1134" fmla="*/ 4215948 h 4687251"/>
              <a:gd name="connsiteX1135" fmla="*/ 7347553 w 8079933"/>
              <a:gd name="connsiteY1135" fmla="*/ 4218655 h 4687251"/>
              <a:gd name="connsiteX1136" fmla="*/ 7343972 w 8079933"/>
              <a:gd name="connsiteY1136" fmla="*/ 4217139 h 4687251"/>
              <a:gd name="connsiteX1137" fmla="*/ 7336702 w 8079933"/>
              <a:gd name="connsiteY1137" fmla="*/ 4216815 h 4687251"/>
              <a:gd name="connsiteX1138" fmla="*/ 7335291 w 8079933"/>
              <a:gd name="connsiteY1138" fmla="*/ 4213783 h 4687251"/>
              <a:gd name="connsiteX1139" fmla="*/ 7338004 w 8079933"/>
              <a:gd name="connsiteY1139" fmla="*/ 4211942 h 4687251"/>
              <a:gd name="connsiteX1140" fmla="*/ 7266274 w 8079933"/>
              <a:gd name="connsiteY1140" fmla="*/ 4207177 h 4687251"/>
              <a:gd name="connsiteX1141" fmla="*/ 7266708 w 8079933"/>
              <a:gd name="connsiteY1141" fmla="*/ 4211508 h 4687251"/>
              <a:gd name="connsiteX1142" fmla="*/ 7263995 w 8079933"/>
              <a:gd name="connsiteY1142" fmla="*/ 4211724 h 4687251"/>
              <a:gd name="connsiteX1143" fmla="*/ 7263778 w 8079933"/>
              <a:gd name="connsiteY1143" fmla="*/ 4208260 h 4687251"/>
              <a:gd name="connsiteX1144" fmla="*/ 7261610 w 8079933"/>
              <a:gd name="connsiteY1144" fmla="*/ 4206529 h 4687251"/>
              <a:gd name="connsiteX1145" fmla="*/ 7261827 w 8079933"/>
              <a:gd name="connsiteY1145" fmla="*/ 4210643 h 4687251"/>
              <a:gd name="connsiteX1146" fmla="*/ 7260307 w 8079933"/>
              <a:gd name="connsiteY1146" fmla="*/ 4213891 h 4687251"/>
              <a:gd name="connsiteX1147" fmla="*/ 7257051 w 8079933"/>
              <a:gd name="connsiteY1147" fmla="*/ 4212051 h 4687251"/>
              <a:gd name="connsiteX1148" fmla="*/ 7258354 w 8079933"/>
              <a:gd name="connsiteY1148" fmla="*/ 4208369 h 4687251"/>
              <a:gd name="connsiteX1149" fmla="*/ 2296754 w 8079933"/>
              <a:gd name="connsiteY1149" fmla="*/ 4205338 h 4687251"/>
              <a:gd name="connsiteX1150" fmla="*/ 2300335 w 8079933"/>
              <a:gd name="connsiteY1150" fmla="*/ 4206421 h 4687251"/>
              <a:gd name="connsiteX1151" fmla="*/ 2300878 w 8079933"/>
              <a:gd name="connsiteY1151" fmla="*/ 4211076 h 4687251"/>
              <a:gd name="connsiteX1152" fmla="*/ 2297839 w 8079933"/>
              <a:gd name="connsiteY1152" fmla="*/ 4212808 h 4687251"/>
              <a:gd name="connsiteX1153" fmla="*/ 2297514 w 8079933"/>
              <a:gd name="connsiteY1153" fmla="*/ 4209993 h 4687251"/>
              <a:gd name="connsiteX1154" fmla="*/ 2294367 w 8079933"/>
              <a:gd name="connsiteY1154" fmla="*/ 4207395 h 4687251"/>
              <a:gd name="connsiteX1155" fmla="*/ 2308257 w 8079933"/>
              <a:gd name="connsiteY1155" fmla="*/ 4203171 h 4687251"/>
              <a:gd name="connsiteX1156" fmla="*/ 2308257 w 8079933"/>
              <a:gd name="connsiteY1156" fmla="*/ 4206419 h 4687251"/>
              <a:gd name="connsiteX1157" fmla="*/ 2305653 w 8079933"/>
              <a:gd name="connsiteY1157" fmla="*/ 4208908 h 4687251"/>
              <a:gd name="connsiteX1158" fmla="*/ 2304025 w 8079933"/>
              <a:gd name="connsiteY1158" fmla="*/ 4205986 h 4687251"/>
              <a:gd name="connsiteX1159" fmla="*/ 2286988 w 8079933"/>
              <a:gd name="connsiteY1159" fmla="*/ 4202414 h 4687251"/>
              <a:gd name="connsiteX1160" fmla="*/ 2293282 w 8079933"/>
              <a:gd name="connsiteY1160" fmla="*/ 4203821 h 4687251"/>
              <a:gd name="connsiteX1161" fmla="*/ 2288508 w 8079933"/>
              <a:gd name="connsiteY1161" fmla="*/ 4206961 h 4687251"/>
              <a:gd name="connsiteX1162" fmla="*/ 2285795 w 8079933"/>
              <a:gd name="connsiteY1162" fmla="*/ 4204255 h 4687251"/>
              <a:gd name="connsiteX1163" fmla="*/ 2272772 w 8079933"/>
              <a:gd name="connsiteY1163" fmla="*/ 4198841 h 4687251"/>
              <a:gd name="connsiteX1164" fmla="*/ 2276461 w 8079933"/>
              <a:gd name="connsiteY1164" fmla="*/ 4198841 h 4687251"/>
              <a:gd name="connsiteX1165" fmla="*/ 2279500 w 8079933"/>
              <a:gd name="connsiteY1165" fmla="*/ 4201114 h 4687251"/>
              <a:gd name="connsiteX1166" fmla="*/ 2273423 w 8079933"/>
              <a:gd name="connsiteY1166" fmla="*/ 4203388 h 4687251"/>
              <a:gd name="connsiteX1167" fmla="*/ 2271036 w 8079933"/>
              <a:gd name="connsiteY1167" fmla="*/ 4200898 h 4687251"/>
              <a:gd name="connsiteX1168" fmla="*/ 2336875 w 8079933"/>
              <a:gd name="connsiteY1168" fmla="*/ 4195364 h 4687251"/>
              <a:gd name="connsiteX1169" fmla="*/ 2336906 w 8079933"/>
              <a:gd name="connsiteY1169" fmla="*/ 4196026 h 4687251"/>
              <a:gd name="connsiteX1170" fmla="*/ 2341077 w 8079933"/>
              <a:gd name="connsiteY1170" fmla="*/ 4205059 h 4687251"/>
              <a:gd name="connsiteX1171" fmla="*/ 2336906 w 8079933"/>
              <a:gd name="connsiteY1171" fmla="*/ 4196025 h 4687251"/>
              <a:gd name="connsiteX1172" fmla="*/ 7340608 w 8079933"/>
              <a:gd name="connsiteY1172" fmla="*/ 4192669 h 4687251"/>
              <a:gd name="connsiteX1173" fmla="*/ 7348312 w 8079933"/>
              <a:gd name="connsiteY1173" fmla="*/ 4200356 h 4687251"/>
              <a:gd name="connsiteX1174" fmla="*/ 7348312 w 8079933"/>
              <a:gd name="connsiteY1174" fmla="*/ 4204579 h 4687251"/>
              <a:gd name="connsiteX1175" fmla="*/ 7339848 w 8079933"/>
              <a:gd name="connsiteY1175" fmla="*/ 4208368 h 4687251"/>
              <a:gd name="connsiteX1176" fmla="*/ 7338329 w 8079933"/>
              <a:gd name="connsiteY1176" fmla="*/ 4205012 h 4687251"/>
              <a:gd name="connsiteX1177" fmla="*/ 7336702 w 8079933"/>
              <a:gd name="connsiteY1177" fmla="*/ 4202197 h 4687251"/>
              <a:gd name="connsiteX1178" fmla="*/ 7338547 w 8079933"/>
              <a:gd name="connsiteY1178" fmla="*/ 4197866 h 4687251"/>
              <a:gd name="connsiteX1179" fmla="*/ 7337136 w 8079933"/>
              <a:gd name="connsiteY1179" fmla="*/ 4193860 h 4687251"/>
              <a:gd name="connsiteX1180" fmla="*/ 2329419 w 8079933"/>
              <a:gd name="connsiteY1180" fmla="*/ 4178486 h 4687251"/>
              <a:gd name="connsiteX1181" fmla="*/ 2337014 w 8079933"/>
              <a:gd name="connsiteY1181" fmla="*/ 4181085 h 4687251"/>
              <a:gd name="connsiteX1182" fmla="*/ 2337014 w 8079933"/>
              <a:gd name="connsiteY1182" fmla="*/ 4181084 h 4687251"/>
              <a:gd name="connsiteX1183" fmla="*/ 7252601 w 8079933"/>
              <a:gd name="connsiteY1183" fmla="*/ 4174806 h 4687251"/>
              <a:gd name="connsiteX1184" fmla="*/ 7255422 w 8079933"/>
              <a:gd name="connsiteY1184" fmla="*/ 4177188 h 4687251"/>
              <a:gd name="connsiteX1185" fmla="*/ 7254337 w 8079933"/>
              <a:gd name="connsiteY1185" fmla="*/ 4184117 h 4687251"/>
              <a:gd name="connsiteX1186" fmla="*/ 7255965 w 8079933"/>
              <a:gd name="connsiteY1186" fmla="*/ 4187473 h 4687251"/>
              <a:gd name="connsiteX1187" fmla="*/ 7252818 w 8079933"/>
              <a:gd name="connsiteY1187" fmla="*/ 4192454 h 4687251"/>
              <a:gd name="connsiteX1188" fmla="*/ 7251950 w 8079933"/>
              <a:gd name="connsiteY1188" fmla="*/ 4195052 h 4687251"/>
              <a:gd name="connsiteX1189" fmla="*/ 7248043 w 8079933"/>
              <a:gd name="connsiteY1189" fmla="*/ 4198192 h 4687251"/>
              <a:gd name="connsiteX1190" fmla="*/ 7244680 w 8079933"/>
              <a:gd name="connsiteY1190" fmla="*/ 4196568 h 4687251"/>
              <a:gd name="connsiteX1191" fmla="*/ 7245222 w 8079933"/>
              <a:gd name="connsiteY1191" fmla="*/ 4193103 h 4687251"/>
              <a:gd name="connsiteX1192" fmla="*/ 7244137 w 8079933"/>
              <a:gd name="connsiteY1192" fmla="*/ 4189206 h 4687251"/>
              <a:gd name="connsiteX1193" fmla="*/ 7247283 w 8079933"/>
              <a:gd name="connsiteY1193" fmla="*/ 4185091 h 4687251"/>
              <a:gd name="connsiteX1194" fmla="*/ 7246633 w 8079933"/>
              <a:gd name="connsiteY1194" fmla="*/ 4180977 h 4687251"/>
              <a:gd name="connsiteX1195" fmla="*/ 7249889 w 8079933"/>
              <a:gd name="connsiteY1195" fmla="*/ 4176971 h 4687251"/>
              <a:gd name="connsiteX1196" fmla="*/ 2302287 w 8079933"/>
              <a:gd name="connsiteY1196" fmla="*/ 4154558 h 4687251"/>
              <a:gd name="connsiteX1197" fmla="*/ 2304675 w 8079933"/>
              <a:gd name="connsiteY1197" fmla="*/ 4156940 h 4687251"/>
              <a:gd name="connsiteX1198" fmla="*/ 2303047 w 8079933"/>
              <a:gd name="connsiteY1198" fmla="*/ 4159538 h 4687251"/>
              <a:gd name="connsiteX1199" fmla="*/ 2298924 w 8079933"/>
              <a:gd name="connsiteY1199" fmla="*/ 4156074 h 4687251"/>
              <a:gd name="connsiteX1200" fmla="*/ 7323030 w 8079933"/>
              <a:gd name="connsiteY1200" fmla="*/ 4153368 h 4687251"/>
              <a:gd name="connsiteX1201" fmla="*/ 7321293 w 8079933"/>
              <a:gd name="connsiteY1201" fmla="*/ 4155425 h 4687251"/>
              <a:gd name="connsiteX1202" fmla="*/ 7318797 w 8079933"/>
              <a:gd name="connsiteY1202" fmla="*/ 4153693 h 4687251"/>
              <a:gd name="connsiteX1203" fmla="*/ 2279283 w 8079933"/>
              <a:gd name="connsiteY1203" fmla="*/ 4141133 h 4687251"/>
              <a:gd name="connsiteX1204" fmla="*/ 2284492 w 8079933"/>
              <a:gd name="connsiteY1204" fmla="*/ 4141241 h 4687251"/>
              <a:gd name="connsiteX1205" fmla="*/ 2288941 w 8079933"/>
              <a:gd name="connsiteY1205" fmla="*/ 4143190 h 4687251"/>
              <a:gd name="connsiteX1206" fmla="*/ 2293064 w 8079933"/>
              <a:gd name="connsiteY1206" fmla="*/ 4149145 h 4687251"/>
              <a:gd name="connsiteX1207" fmla="*/ 2292847 w 8079933"/>
              <a:gd name="connsiteY1207" fmla="*/ 4155533 h 4687251"/>
              <a:gd name="connsiteX1208" fmla="*/ 2293824 w 8079933"/>
              <a:gd name="connsiteY1208" fmla="*/ 4157265 h 4687251"/>
              <a:gd name="connsiteX1209" fmla="*/ 2293824 w 8079933"/>
              <a:gd name="connsiteY1209" fmla="*/ 4161920 h 4687251"/>
              <a:gd name="connsiteX1210" fmla="*/ 2288507 w 8079933"/>
              <a:gd name="connsiteY1210" fmla="*/ 4160405 h 4687251"/>
              <a:gd name="connsiteX1211" fmla="*/ 2294150 w 8079933"/>
              <a:gd name="connsiteY1211" fmla="*/ 4164411 h 4687251"/>
              <a:gd name="connsiteX1212" fmla="*/ 2295885 w 8079933"/>
              <a:gd name="connsiteY1212" fmla="*/ 4166684 h 4687251"/>
              <a:gd name="connsiteX1213" fmla="*/ 2295777 w 8079933"/>
              <a:gd name="connsiteY1213" fmla="*/ 4167767 h 4687251"/>
              <a:gd name="connsiteX1214" fmla="*/ 2291111 w 8079933"/>
              <a:gd name="connsiteY1214" fmla="*/ 4165169 h 4687251"/>
              <a:gd name="connsiteX1215" fmla="*/ 2288398 w 8079933"/>
              <a:gd name="connsiteY1215" fmla="*/ 4165385 h 4687251"/>
              <a:gd name="connsiteX1216" fmla="*/ 2288724 w 8079933"/>
              <a:gd name="connsiteY1216" fmla="*/ 4168092 h 4687251"/>
              <a:gd name="connsiteX1217" fmla="*/ 2294041 w 8079933"/>
              <a:gd name="connsiteY1217" fmla="*/ 4173397 h 4687251"/>
              <a:gd name="connsiteX1218" fmla="*/ 2291979 w 8079933"/>
              <a:gd name="connsiteY1218" fmla="*/ 4175455 h 4687251"/>
              <a:gd name="connsiteX1219" fmla="*/ 2297188 w 8079933"/>
              <a:gd name="connsiteY1219" fmla="*/ 4180326 h 4687251"/>
              <a:gd name="connsiteX1220" fmla="*/ 2296212 w 8079933"/>
              <a:gd name="connsiteY1220" fmla="*/ 4181301 h 4687251"/>
              <a:gd name="connsiteX1221" fmla="*/ 2291437 w 8079933"/>
              <a:gd name="connsiteY1221" fmla="*/ 4179677 h 4687251"/>
              <a:gd name="connsiteX1222" fmla="*/ 2289484 w 8079933"/>
              <a:gd name="connsiteY1222" fmla="*/ 4183141 h 4687251"/>
              <a:gd name="connsiteX1223" fmla="*/ 2289917 w 8079933"/>
              <a:gd name="connsiteY1223" fmla="*/ 4188122 h 4687251"/>
              <a:gd name="connsiteX1224" fmla="*/ 2289917 w 8079933"/>
              <a:gd name="connsiteY1224" fmla="*/ 4190179 h 4687251"/>
              <a:gd name="connsiteX1225" fmla="*/ 2281996 w 8079933"/>
              <a:gd name="connsiteY1225" fmla="*/ 4190937 h 4687251"/>
              <a:gd name="connsiteX1226" fmla="*/ 2276462 w 8079933"/>
              <a:gd name="connsiteY1226" fmla="*/ 4188555 h 4687251"/>
              <a:gd name="connsiteX1227" fmla="*/ 2278849 w 8079933"/>
              <a:gd name="connsiteY1227" fmla="*/ 4183358 h 4687251"/>
              <a:gd name="connsiteX1228" fmla="*/ 2277872 w 8079933"/>
              <a:gd name="connsiteY1228" fmla="*/ 4168741 h 4687251"/>
              <a:gd name="connsiteX1229" fmla="*/ 2275919 w 8079933"/>
              <a:gd name="connsiteY1229" fmla="*/ 4162787 h 4687251"/>
              <a:gd name="connsiteX1230" fmla="*/ 2274508 w 8079933"/>
              <a:gd name="connsiteY1230" fmla="*/ 4161488 h 4687251"/>
              <a:gd name="connsiteX1231" fmla="*/ 2273315 w 8079933"/>
              <a:gd name="connsiteY1231" fmla="*/ 4158564 h 4687251"/>
              <a:gd name="connsiteX1232" fmla="*/ 2274400 w 8079933"/>
              <a:gd name="connsiteY1232" fmla="*/ 4154991 h 4687251"/>
              <a:gd name="connsiteX1233" fmla="*/ 2277004 w 8079933"/>
              <a:gd name="connsiteY1233" fmla="*/ 4152934 h 4687251"/>
              <a:gd name="connsiteX1234" fmla="*/ 2277330 w 8079933"/>
              <a:gd name="connsiteY1234" fmla="*/ 4149145 h 4687251"/>
              <a:gd name="connsiteX1235" fmla="*/ 2275702 w 8079933"/>
              <a:gd name="connsiteY1235" fmla="*/ 4146871 h 4687251"/>
              <a:gd name="connsiteX1236" fmla="*/ 2275919 w 8079933"/>
              <a:gd name="connsiteY1236" fmla="*/ 4144272 h 4687251"/>
              <a:gd name="connsiteX1237" fmla="*/ 2325837 w 8079933"/>
              <a:gd name="connsiteY1237" fmla="*/ 4136585 h 4687251"/>
              <a:gd name="connsiteX1238" fmla="*/ 2325837 w 8079933"/>
              <a:gd name="connsiteY1238" fmla="*/ 4136586 h 4687251"/>
              <a:gd name="connsiteX1239" fmla="*/ 2330395 w 8079933"/>
              <a:gd name="connsiteY1239" fmla="*/ 4138751 h 4687251"/>
              <a:gd name="connsiteX1240" fmla="*/ 2331878 w 8079933"/>
              <a:gd name="connsiteY1240" fmla="*/ 4141647 h 4687251"/>
              <a:gd name="connsiteX1241" fmla="*/ 2330395 w 8079933"/>
              <a:gd name="connsiteY1241" fmla="*/ 4138751 h 4687251"/>
              <a:gd name="connsiteX1242" fmla="*/ 7297093 w 8079933"/>
              <a:gd name="connsiteY1242" fmla="*/ 4136369 h 4687251"/>
              <a:gd name="connsiteX1243" fmla="*/ 7298721 w 8079933"/>
              <a:gd name="connsiteY1243" fmla="*/ 4138534 h 4687251"/>
              <a:gd name="connsiteX1244" fmla="*/ 7297527 w 8079933"/>
              <a:gd name="connsiteY1244" fmla="*/ 4140158 h 4687251"/>
              <a:gd name="connsiteX1245" fmla="*/ 7294598 w 8079933"/>
              <a:gd name="connsiteY1245" fmla="*/ 4137343 h 4687251"/>
              <a:gd name="connsiteX1246" fmla="*/ 2323136 w 8079933"/>
              <a:gd name="connsiteY1246" fmla="*/ 4089610 h 4687251"/>
              <a:gd name="connsiteX1247" fmla="*/ 2324535 w 8079933"/>
              <a:gd name="connsiteY1247" fmla="*/ 4091869 h 4687251"/>
              <a:gd name="connsiteX1248" fmla="*/ 2324535 w 8079933"/>
              <a:gd name="connsiteY1248" fmla="*/ 4091869 h 4687251"/>
              <a:gd name="connsiteX1249" fmla="*/ 7979013 w 8079933"/>
              <a:gd name="connsiteY1249" fmla="*/ 4042173 h 4687251"/>
              <a:gd name="connsiteX1250" fmla="*/ 7981291 w 8079933"/>
              <a:gd name="connsiteY1250" fmla="*/ 4044555 h 4687251"/>
              <a:gd name="connsiteX1251" fmla="*/ 7979989 w 8079933"/>
              <a:gd name="connsiteY1251" fmla="*/ 4045096 h 4687251"/>
              <a:gd name="connsiteX1252" fmla="*/ 7979989 w 8079933"/>
              <a:gd name="connsiteY1252" fmla="*/ 4046612 h 4687251"/>
              <a:gd name="connsiteX1253" fmla="*/ 7979664 w 8079933"/>
              <a:gd name="connsiteY1253" fmla="*/ 4050726 h 4687251"/>
              <a:gd name="connsiteX1254" fmla="*/ 7980857 w 8079933"/>
              <a:gd name="connsiteY1254" fmla="*/ 4056789 h 4687251"/>
              <a:gd name="connsiteX1255" fmla="*/ 7982811 w 8079933"/>
              <a:gd name="connsiteY1255" fmla="*/ 4060038 h 4687251"/>
              <a:gd name="connsiteX1256" fmla="*/ 7981508 w 8079933"/>
              <a:gd name="connsiteY1256" fmla="*/ 4063827 h 4687251"/>
              <a:gd name="connsiteX1257" fmla="*/ 7984547 w 8079933"/>
              <a:gd name="connsiteY1257" fmla="*/ 4065126 h 4687251"/>
              <a:gd name="connsiteX1258" fmla="*/ 7986609 w 8079933"/>
              <a:gd name="connsiteY1258" fmla="*/ 4061770 h 4687251"/>
              <a:gd name="connsiteX1259" fmla="*/ 7986500 w 8079933"/>
              <a:gd name="connsiteY1259" fmla="*/ 4059280 h 4687251"/>
              <a:gd name="connsiteX1260" fmla="*/ 7988996 w 8079933"/>
              <a:gd name="connsiteY1260" fmla="*/ 4057547 h 4687251"/>
              <a:gd name="connsiteX1261" fmla="*/ 7991383 w 8079933"/>
              <a:gd name="connsiteY1261" fmla="*/ 4057872 h 4687251"/>
              <a:gd name="connsiteX1262" fmla="*/ 7989756 w 8079933"/>
              <a:gd name="connsiteY1262" fmla="*/ 4060687 h 4687251"/>
              <a:gd name="connsiteX1263" fmla="*/ 7987910 w 8079933"/>
              <a:gd name="connsiteY1263" fmla="*/ 4060687 h 4687251"/>
              <a:gd name="connsiteX1264" fmla="*/ 7988562 w 8079933"/>
              <a:gd name="connsiteY1264" fmla="*/ 4064801 h 4687251"/>
              <a:gd name="connsiteX1265" fmla="*/ 7991492 w 8079933"/>
              <a:gd name="connsiteY1265" fmla="*/ 4063611 h 4687251"/>
              <a:gd name="connsiteX1266" fmla="*/ 7994531 w 8079933"/>
              <a:gd name="connsiteY1266" fmla="*/ 4066317 h 4687251"/>
              <a:gd name="connsiteX1267" fmla="*/ 7998980 w 8079933"/>
              <a:gd name="connsiteY1267" fmla="*/ 4067400 h 4687251"/>
              <a:gd name="connsiteX1268" fmla="*/ 7999631 w 8079933"/>
              <a:gd name="connsiteY1268" fmla="*/ 4069998 h 4687251"/>
              <a:gd name="connsiteX1269" fmla="*/ 7995833 w 8079933"/>
              <a:gd name="connsiteY1269" fmla="*/ 4071622 h 4687251"/>
              <a:gd name="connsiteX1270" fmla="*/ 7994096 w 8079933"/>
              <a:gd name="connsiteY1270" fmla="*/ 4074437 h 4687251"/>
              <a:gd name="connsiteX1271" fmla="*/ 7996050 w 8079933"/>
              <a:gd name="connsiteY1271" fmla="*/ 4074762 h 4687251"/>
              <a:gd name="connsiteX1272" fmla="*/ 7998545 w 8079933"/>
              <a:gd name="connsiteY1272" fmla="*/ 4077144 h 4687251"/>
              <a:gd name="connsiteX1273" fmla="*/ 7996050 w 8079933"/>
              <a:gd name="connsiteY1273" fmla="*/ 4079418 h 4687251"/>
              <a:gd name="connsiteX1274" fmla="*/ 8000281 w 8079933"/>
              <a:gd name="connsiteY1274" fmla="*/ 4083748 h 4687251"/>
              <a:gd name="connsiteX1275" fmla="*/ 8006033 w 8079933"/>
              <a:gd name="connsiteY1275" fmla="*/ 4081258 h 4687251"/>
              <a:gd name="connsiteX1276" fmla="*/ 8008095 w 8079933"/>
              <a:gd name="connsiteY1276" fmla="*/ 4080501 h 4687251"/>
              <a:gd name="connsiteX1277" fmla="*/ 8007336 w 8079933"/>
              <a:gd name="connsiteY1277" fmla="*/ 4084398 h 4687251"/>
              <a:gd name="connsiteX1278" fmla="*/ 8009072 w 8079933"/>
              <a:gd name="connsiteY1278" fmla="*/ 4090570 h 4687251"/>
              <a:gd name="connsiteX1279" fmla="*/ 8009072 w 8079933"/>
              <a:gd name="connsiteY1279" fmla="*/ 4097282 h 4687251"/>
              <a:gd name="connsiteX1280" fmla="*/ 8007336 w 8079933"/>
              <a:gd name="connsiteY1280" fmla="*/ 4099015 h 4687251"/>
              <a:gd name="connsiteX1281" fmla="*/ 8006467 w 8079933"/>
              <a:gd name="connsiteY1281" fmla="*/ 4104212 h 4687251"/>
              <a:gd name="connsiteX1282" fmla="*/ 8002561 w 8079933"/>
              <a:gd name="connsiteY1282" fmla="*/ 4104970 h 4687251"/>
              <a:gd name="connsiteX1283" fmla="*/ 7999631 w 8079933"/>
              <a:gd name="connsiteY1283" fmla="*/ 4103345 h 4687251"/>
              <a:gd name="connsiteX1284" fmla="*/ 7999088 w 8079933"/>
              <a:gd name="connsiteY1284" fmla="*/ 4105727 h 4687251"/>
              <a:gd name="connsiteX1285" fmla="*/ 8004080 w 8079933"/>
              <a:gd name="connsiteY1285" fmla="*/ 4109300 h 4687251"/>
              <a:gd name="connsiteX1286" fmla="*/ 8003754 w 8079933"/>
              <a:gd name="connsiteY1286" fmla="*/ 4114606 h 4687251"/>
              <a:gd name="connsiteX1287" fmla="*/ 8005382 w 8079933"/>
              <a:gd name="connsiteY1287" fmla="*/ 4118612 h 4687251"/>
              <a:gd name="connsiteX1288" fmla="*/ 8004297 w 8079933"/>
              <a:gd name="connsiteY1288" fmla="*/ 4121210 h 4687251"/>
              <a:gd name="connsiteX1289" fmla="*/ 8005816 w 8079933"/>
              <a:gd name="connsiteY1289" fmla="*/ 4124783 h 4687251"/>
              <a:gd name="connsiteX1290" fmla="*/ 8004839 w 8079933"/>
              <a:gd name="connsiteY1290" fmla="*/ 4129655 h 4687251"/>
              <a:gd name="connsiteX1291" fmla="*/ 8001150 w 8079933"/>
              <a:gd name="connsiteY1291" fmla="*/ 4130521 h 4687251"/>
              <a:gd name="connsiteX1292" fmla="*/ 7998437 w 8079933"/>
              <a:gd name="connsiteY1292" fmla="*/ 4135827 h 4687251"/>
              <a:gd name="connsiteX1293" fmla="*/ 8002235 w 8079933"/>
              <a:gd name="connsiteY1293" fmla="*/ 4138858 h 4687251"/>
              <a:gd name="connsiteX1294" fmla="*/ 8000824 w 8079933"/>
              <a:gd name="connsiteY1294" fmla="*/ 4142106 h 4687251"/>
              <a:gd name="connsiteX1295" fmla="*/ 7997244 w 8079933"/>
              <a:gd name="connsiteY1295" fmla="*/ 4144272 h 4687251"/>
              <a:gd name="connsiteX1296" fmla="*/ 7997568 w 8079933"/>
              <a:gd name="connsiteY1296" fmla="*/ 4146653 h 4687251"/>
              <a:gd name="connsiteX1297" fmla="*/ 8000499 w 8079933"/>
              <a:gd name="connsiteY1297" fmla="*/ 4146112 h 4687251"/>
              <a:gd name="connsiteX1298" fmla="*/ 8004297 w 8079933"/>
              <a:gd name="connsiteY1298" fmla="*/ 4147845 h 4687251"/>
              <a:gd name="connsiteX1299" fmla="*/ 8004297 w 8079933"/>
              <a:gd name="connsiteY1299" fmla="*/ 4150010 h 4687251"/>
              <a:gd name="connsiteX1300" fmla="*/ 8009072 w 8079933"/>
              <a:gd name="connsiteY1300" fmla="*/ 4150768 h 4687251"/>
              <a:gd name="connsiteX1301" fmla="*/ 8009614 w 8079933"/>
              <a:gd name="connsiteY1301" fmla="*/ 4154666 h 4687251"/>
              <a:gd name="connsiteX1302" fmla="*/ 8012327 w 8079933"/>
              <a:gd name="connsiteY1302" fmla="*/ 4157806 h 4687251"/>
              <a:gd name="connsiteX1303" fmla="*/ 8016125 w 8079933"/>
              <a:gd name="connsiteY1303" fmla="*/ 4156614 h 4687251"/>
              <a:gd name="connsiteX1304" fmla="*/ 8016125 w 8079933"/>
              <a:gd name="connsiteY1304" fmla="*/ 4153800 h 4687251"/>
              <a:gd name="connsiteX1305" fmla="*/ 8013087 w 8079933"/>
              <a:gd name="connsiteY1305" fmla="*/ 4149902 h 4687251"/>
              <a:gd name="connsiteX1306" fmla="*/ 8012870 w 8079933"/>
              <a:gd name="connsiteY1306" fmla="*/ 4146653 h 4687251"/>
              <a:gd name="connsiteX1307" fmla="*/ 8016559 w 8079933"/>
              <a:gd name="connsiteY1307" fmla="*/ 4143189 h 4687251"/>
              <a:gd name="connsiteX1308" fmla="*/ 8015800 w 8079933"/>
              <a:gd name="connsiteY1308" fmla="*/ 4141457 h 4687251"/>
              <a:gd name="connsiteX1309" fmla="*/ 8016017 w 8079933"/>
              <a:gd name="connsiteY1309" fmla="*/ 4136801 h 4687251"/>
              <a:gd name="connsiteX1310" fmla="*/ 8012544 w 8079933"/>
              <a:gd name="connsiteY1310" fmla="*/ 4133445 h 4687251"/>
              <a:gd name="connsiteX1311" fmla="*/ 8013738 w 8079933"/>
              <a:gd name="connsiteY1311" fmla="*/ 4131496 h 4687251"/>
              <a:gd name="connsiteX1312" fmla="*/ 8017536 w 8079933"/>
              <a:gd name="connsiteY1312" fmla="*/ 4133770 h 4687251"/>
              <a:gd name="connsiteX1313" fmla="*/ 8019272 w 8079933"/>
              <a:gd name="connsiteY1313" fmla="*/ 4132579 h 4687251"/>
              <a:gd name="connsiteX1314" fmla="*/ 8020466 w 8079933"/>
              <a:gd name="connsiteY1314" fmla="*/ 4135502 h 4687251"/>
              <a:gd name="connsiteX1315" fmla="*/ 8021117 w 8079933"/>
              <a:gd name="connsiteY1315" fmla="*/ 4140807 h 4687251"/>
              <a:gd name="connsiteX1316" fmla="*/ 8023613 w 8079933"/>
              <a:gd name="connsiteY1316" fmla="*/ 4141349 h 4687251"/>
              <a:gd name="connsiteX1317" fmla="*/ 8022311 w 8079933"/>
              <a:gd name="connsiteY1317" fmla="*/ 4144596 h 4687251"/>
              <a:gd name="connsiteX1318" fmla="*/ 8021876 w 8079933"/>
              <a:gd name="connsiteY1318" fmla="*/ 4149252 h 4687251"/>
              <a:gd name="connsiteX1319" fmla="*/ 8023396 w 8079933"/>
              <a:gd name="connsiteY1319" fmla="*/ 4151743 h 4687251"/>
              <a:gd name="connsiteX1320" fmla="*/ 8023396 w 8079933"/>
              <a:gd name="connsiteY1320" fmla="*/ 4155532 h 4687251"/>
              <a:gd name="connsiteX1321" fmla="*/ 8026977 w 8079933"/>
              <a:gd name="connsiteY1321" fmla="*/ 4163002 h 4687251"/>
              <a:gd name="connsiteX1322" fmla="*/ 8026217 w 8079933"/>
              <a:gd name="connsiteY1322" fmla="*/ 4168308 h 4687251"/>
              <a:gd name="connsiteX1323" fmla="*/ 8023722 w 8079933"/>
              <a:gd name="connsiteY1323" fmla="*/ 4170907 h 4687251"/>
              <a:gd name="connsiteX1324" fmla="*/ 8025133 w 8079933"/>
              <a:gd name="connsiteY1324" fmla="*/ 4174155 h 4687251"/>
              <a:gd name="connsiteX1325" fmla="*/ 8028713 w 8079933"/>
              <a:gd name="connsiteY1325" fmla="*/ 4179243 h 4687251"/>
              <a:gd name="connsiteX1326" fmla="*/ 8031643 w 8079933"/>
              <a:gd name="connsiteY1326" fmla="*/ 4178810 h 4687251"/>
              <a:gd name="connsiteX1327" fmla="*/ 8041301 w 8079933"/>
              <a:gd name="connsiteY1327" fmla="*/ 4188771 h 4687251"/>
              <a:gd name="connsiteX1328" fmla="*/ 8045642 w 8079933"/>
              <a:gd name="connsiteY1328" fmla="*/ 4190612 h 4687251"/>
              <a:gd name="connsiteX1329" fmla="*/ 8048681 w 8079933"/>
              <a:gd name="connsiteY1329" fmla="*/ 4189096 h 4687251"/>
              <a:gd name="connsiteX1330" fmla="*/ 8054431 w 8079933"/>
              <a:gd name="connsiteY1330" fmla="*/ 4188554 h 4687251"/>
              <a:gd name="connsiteX1331" fmla="*/ 8063113 w 8079933"/>
              <a:gd name="connsiteY1331" fmla="*/ 4179459 h 4687251"/>
              <a:gd name="connsiteX1332" fmla="*/ 8068104 w 8079933"/>
              <a:gd name="connsiteY1332" fmla="*/ 4176212 h 4687251"/>
              <a:gd name="connsiteX1333" fmla="*/ 8073639 w 8079933"/>
              <a:gd name="connsiteY1333" fmla="*/ 4177186 h 4687251"/>
              <a:gd name="connsiteX1334" fmla="*/ 8073205 w 8079933"/>
              <a:gd name="connsiteY1334" fmla="*/ 4178593 h 4687251"/>
              <a:gd name="connsiteX1335" fmla="*/ 8071468 w 8079933"/>
              <a:gd name="connsiteY1335" fmla="*/ 4179243 h 4687251"/>
              <a:gd name="connsiteX1336" fmla="*/ 8073530 w 8079933"/>
              <a:gd name="connsiteY1336" fmla="*/ 4181950 h 4687251"/>
              <a:gd name="connsiteX1337" fmla="*/ 8079173 w 8079933"/>
              <a:gd name="connsiteY1337" fmla="*/ 4183899 h 4687251"/>
              <a:gd name="connsiteX1338" fmla="*/ 8079933 w 8079933"/>
              <a:gd name="connsiteY1338" fmla="*/ 4184981 h 4687251"/>
              <a:gd name="connsiteX1339" fmla="*/ 8075810 w 8079933"/>
              <a:gd name="connsiteY1339" fmla="*/ 4187580 h 4687251"/>
              <a:gd name="connsiteX1340" fmla="*/ 8072011 w 8079933"/>
              <a:gd name="connsiteY1340" fmla="*/ 4191911 h 4687251"/>
              <a:gd name="connsiteX1341" fmla="*/ 8070275 w 8079933"/>
              <a:gd name="connsiteY1341" fmla="*/ 4197541 h 4687251"/>
              <a:gd name="connsiteX1342" fmla="*/ 8070384 w 8079933"/>
              <a:gd name="connsiteY1342" fmla="*/ 4200789 h 4687251"/>
              <a:gd name="connsiteX1343" fmla="*/ 8070492 w 8079933"/>
              <a:gd name="connsiteY1343" fmla="*/ 4204037 h 4687251"/>
              <a:gd name="connsiteX1344" fmla="*/ 8064306 w 8079933"/>
              <a:gd name="connsiteY1344" fmla="*/ 4213998 h 4687251"/>
              <a:gd name="connsiteX1345" fmla="*/ 8061702 w 8079933"/>
              <a:gd name="connsiteY1345" fmla="*/ 4217679 h 4687251"/>
              <a:gd name="connsiteX1346" fmla="*/ 8059640 w 8079933"/>
              <a:gd name="connsiteY1346" fmla="*/ 4219736 h 4687251"/>
              <a:gd name="connsiteX1347" fmla="*/ 8058555 w 8079933"/>
              <a:gd name="connsiteY1347" fmla="*/ 4218112 h 4687251"/>
              <a:gd name="connsiteX1348" fmla="*/ 8054648 w 8079933"/>
              <a:gd name="connsiteY1348" fmla="*/ 4217896 h 4687251"/>
              <a:gd name="connsiteX1349" fmla="*/ 8051935 w 8079933"/>
              <a:gd name="connsiteY1349" fmla="*/ 4220927 h 4687251"/>
              <a:gd name="connsiteX1350" fmla="*/ 8048897 w 8079933"/>
              <a:gd name="connsiteY1350" fmla="*/ 4228398 h 4687251"/>
              <a:gd name="connsiteX1351" fmla="*/ 8048354 w 8079933"/>
              <a:gd name="connsiteY1351" fmla="*/ 4233054 h 4687251"/>
              <a:gd name="connsiteX1352" fmla="*/ 8053889 w 8079933"/>
              <a:gd name="connsiteY1352" fmla="*/ 4235327 h 4687251"/>
              <a:gd name="connsiteX1353" fmla="*/ 8051067 w 8079933"/>
              <a:gd name="connsiteY1353" fmla="*/ 4236951 h 4687251"/>
              <a:gd name="connsiteX1354" fmla="*/ 8047052 w 8079933"/>
              <a:gd name="connsiteY1354" fmla="*/ 4240849 h 4687251"/>
              <a:gd name="connsiteX1355" fmla="*/ 8046510 w 8079933"/>
              <a:gd name="connsiteY1355" fmla="*/ 4237493 h 4687251"/>
              <a:gd name="connsiteX1356" fmla="*/ 8047378 w 8079933"/>
              <a:gd name="connsiteY1356" fmla="*/ 4234461 h 4687251"/>
              <a:gd name="connsiteX1357" fmla="*/ 8043363 w 8079933"/>
              <a:gd name="connsiteY1357" fmla="*/ 4234137 h 4687251"/>
              <a:gd name="connsiteX1358" fmla="*/ 8035658 w 8079933"/>
              <a:gd name="connsiteY1358" fmla="*/ 4232945 h 4687251"/>
              <a:gd name="connsiteX1359" fmla="*/ 8030992 w 8079933"/>
              <a:gd name="connsiteY1359" fmla="*/ 4234678 h 4687251"/>
              <a:gd name="connsiteX1360" fmla="*/ 8020249 w 8079933"/>
              <a:gd name="connsiteY1360" fmla="*/ 4245938 h 4687251"/>
              <a:gd name="connsiteX1361" fmla="*/ 8017319 w 8079933"/>
              <a:gd name="connsiteY1361" fmla="*/ 4246804 h 4687251"/>
              <a:gd name="connsiteX1362" fmla="*/ 8014064 w 8079933"/>
              <a:gd name="connsiteY1362" fmla="*/ 4249619 h 4687251"/>
              <a:gd name="connsiteX1363" fmla="*/ 8017210 w 8079933"/>
              <a:gd name="connsiteY1363" fmla="*/ 4249078 h 4687251"/>
              <a:gd name="connsiteX1364" fmla="*/ 8021117 w 8079933"/>
              <a:gd name="connsiteY1364" fmla="*/ 4249727 h 4687251"/>
              <a:gd name="connsiteX1365" fmla="*/ 8024806 w 8079933"/>
              <a:gd name="connsiteY1365" fmla="*/ 4253192 h 4687251"/>
              <a:gd name="connsiteX1366" fmla="*/ 8022311 w 8079933"/>
              <a:gd name="connsiteY1366" fmla="*/ 4255466 h 4687251"/>
              <a:gd name="connsiteX1367" fmla="*/ 8022311 w 8079933"/>
              <a:gd name="connsiteY1367" fmla="*/ 4257523 h 4687251"/>
              <a:gd name="connsiteX1368" fmla="*/ 8017536 w 8079933"/>
              <a:gd name="connsiteY1368" fmla="*/ 4264669 h 4687251"/>
              <a:gd name="connsiteX1369" fmla="*/ 8014497 w 8079933"/>
              <a:gd name="connsiteY1369" fmla="*/ 4273980 h 4687251"/>
              <a:gd name="connsiteX1370" fmla="*/ 8009831 w 8079933"/>
              <a:gd name="connsiteY1370" fmla="*/ 4275929 h 4687251"/>
              <a:gd name="connsiteX1371" fmla="*/ 8007986 w 8079933"/>
              <a:gd name="connsiteY1371" fmla="*/ 4278311 h 4687251"/>
              <a:gd name="connsiteX1372" fmla="*/ 8007661 w 8079933"/>
              <a:gd name="connsiteY1372" fmla="*/ 4282100 h 4687251"/>
              <a:gd name="connsiteX1373" fmla="*/ 8005707 w 8079933"/>
              <a:gd name="connsiteY1373" fmla="*/ 4284590 h 4687251"/>
              <a:gd name="connsiteX1374" fmla="*/ 8002777 w 8079933"/>
              <a:gd name="connsiteY1374" fmla="*/ 4284807 h 4687251"/>
              <a:gd name="connsiteX1375" fmla="*/ 7998328 w 8079933"/>
              <a:gd name="connsiteY1375" fmla="*/ 4287730 h 4687251"/>
              <a:gd name="connsiteX1376" fmla="*/ 7990190 w 8079933"/>
              <a:gd name="connsiteY1376" fmla="*/ 4297800 h 4687251"/>
              <a:gd name="connsiteX1377" fmla="*/ 7983570 w 8079933"/>
              <a:gd name="connsiteY1377" fmla="*/ 4305378 h 4687251"/>
              <a:gd name="connsiteX1378" fmla="*/ 7976517 w 8079933"/>
              <a:gd name="connsiteY1378" fmla="*/ 4312741 h 4687251"/>
              <a:gd name="connsiteX1379" fmla="*/ 7968813 w 8079933"/>
              <a:gd name="connsiteY1379" fmla="*/ 4318912 h 4687251"/>
              <a:gd name="connsiteX1380" fmla="*/ 7960131 w 8079933"/>
              <a:gd name="connsiteY1380" fmla="*/ 4325300 h 4687251"/>
              <a:gd name="connsiteX1381" fmla="*/ 7956441 w 8079933"/>
              <a:gd name="connsiteY1381" fmla="*/ 4325733 h 4687251"/>
              <a:gd name="connsiteX1382" fmla="*/ 7955464 w 8079933"/>
              <a:gd name="connsiteY1382" fmla="*/ 4324326 h 4687251"/>
              <a:gd name="connsiteX1383" fmla="*/ 7955682 w 8079933"/>
              <a:gd name="connsiteY1383" fmla="*/ 4320536 h 4687251"/>
              <a:gd name="connsiteX1384" fmla="*/ 7954270 w 8079933"/>
              <a:gd name="connsiteY1384" fmla="*/ 4318804 h 4687251"/>
              <a:gd name="connsiteX1385" fmla="*/ 7952426 w 8079933"/>
              <a:gd name="connsiteY1385" fmla="*/ 4319454 h 4687251"/>
              <a:gd name="connsiteX1386" fmla="*/ 7951124 w 8079933"/>
              <a:gd name="connsiteY1386" fmla="*/ 4318804 h 4687251"/>
              <a:gd name="connsiteX1387" fmla="*/ 7951557 w 8079933"/>
              <a:gd name="connsiteY1387" fmla="*/ 4316422 h 4687251"/>
              <a:gd name="connsiteX1388" fmla="*/ 7951340 w 8079933"/>
              <a:gd name="connsiteY1388" fmla="*/ 4313065 h 4687251"/>
              <a:gd name="connsiteX1389" fmla="*/ 7949279 w 8079933"/>
              <a:gd name="connsiteY1389" fmla="*/ 4312957 h 4687251"/>
              <a:gd name="connsiteX1390" fmla="*/ 7948303 w 8079933"/>
              <a:gd name="connsiteY1390" fmla="*/ 4315664 h 4687251"/>
              <a:gd name="connsiteX1391" fmla="*/ 7943419 w 8079933"/>
              <a:gd name="connsiteY1391" fmla="*/ 4314581 h 4687251"/>
              <a:gd name="connsiteX1392" fmla="*/ 7942768 w 8079933"/>
              <a:gd name="connsiteY1392" fmla="*/ 4312091 h 4687251"/>
              <a:gd name="connsiteX1393" fmla="*/ 7945264 w 8079933"/>
              <a:gd name="connsiteY1393" fmla="*/ 4309059 h 4687251"/>
              <a:gd name="connsiteX1394" fmla="*/ 7952317 w 8079933"/>
              <a:gd name="connsiteY1394" fmla="*/ 4302780 h 4687251"/>
              <a:gd name="connsiteX1395" fmla="*/ 7959045 w 8079933"/>
              <a:gd name="connsiteY1395" fmla="*/ 4295742 h 4687251"/>
              <a:gd name="connsiteX1396" fmla="*/ 7968486 w 8079933"/>
              <a:gd name="connsiteY1396" fmla="*/ 4283833 h 4687251"/>
              <a:gd name="connsiteX1397" fmla="*/ 7970548 w 8079933"/>
              <a:gd name="connsiteY1397" fmla="*/ 4279394 h 4687251"/>
              <a:gd name="connsiteX1398" fmla="*/ 7970548 w 8079933"/>
              <a:gd name="connsiteY1398" fmla="*/ 4273763 h 4687251"/>
              <a:gd name="connsiteX1399" fmla="*/ 7971742 w 8079933"/>
              <a:gd name="connsiteY1399" fmla="*/ 4272680 h 4687251"/>
              <a:gd name="connsiteX1400" fmla="*/ 7971199 w 8079933"/>
              <a:gd name="connsiteY1400" fmla="*/ 4271598 h 4687251"/>
              <a:gd name="connsiteX1401" fmla="*/ 7970114 w 8079933"/>
              <a:gd name="connsiteY1401" fmla="*/ 4261312 h 4687251"/>
              <a:gd name="connsiteX1402" fmla="*/ 7967618 w 8079933"/>
              <a:gd name="connsiteY1402" fmla="*/ 4258713 h 4687251"/>
              <a:gd name="connsiteX1403" fmla="*/ 7961216 w 8079933"/>
              <a:gd name="connsiteY1403" fmla="*/ 4256656 h 4687251"/>
              <a:gd name="connsiteX1404" fmla="*/ 7957961 w 8079933"/>
              <a:gd name="connsiteY1404" fmla="*/ 4250485 h 4687251"/>
              <a:gd name="connsiteX1405" fmla="*/ 7951124 w 8079933"/>
              <a:gd name="connsiteY1405" fmla="*/ 4246262 h 4687251"/>
              <a:gd name="connsiteX1406" fmla="*/ 7947109 w 8079933"/>
              <a:gd name="connsiteY1406" fmla="*/ 4242798 h 4687251"/>
              <a:gd name="connsiteX1407" fmla="*/ 7946023 w 8079933"/>
              <a:gd name="connsiteY1407" fmla="*/ 4235327 h 4687251"/>
              <a:gd name="connsiteX1408" fmla="*/ 7947326 w 8079933"/>
              <a:gd name="connsiteY1408" fmla="*/ 4229913 h 4687251"/>
              <a:gd name="connsiteX1409" fmla="*/ 7951449 w 8079933"/>
              <a:gd name="connsiteY1409" fmla="*/ 4225366 h 4687251"/>
              <a:gd name="connsiteX1410" fmla="*/ 7960565 w 8079933"/>
              <a:gd name="connsiteY1410" fmla="*/ 4221036 h 4687251"/>
              <a:gd name="connsiteX1411" fmla="*/ 7965014 w 8079933"/>
              <a:gd name="connsiteY1411" fmla="*/ 4220494 h 4687251"/>
              <a:gd name="connsiteX1412" fmla="*/ 7969029 w 8079933"/>
              <a:gd name="connsiteY1412" fmla="*/ 4222010 h 4687251"/>
              <a:gd name="connsiteX1413" fmla="*/ 7972502 w 8079933"/>
              <a:gd name="connsiteY1413" fmla="*/ 4221686 h 4687251"/>
              <a:gd name="connsiteX1414" fmla="*/ 7975865 w 8079933"/>
              <a:gd name="connsiteY1414" fmla="*/ 4219195 h 4687251"/>
              <a:gd name="connsiteX1415" fmla="*/ 7976408 w 8079933"/>
              <a:gd name="connsiteY1415" fmla="*/ 4215189 h 4687251"/>
              <a:gd name="connsiteX1416" fmla="*/ 7979555 w 8079933"/>
              <a:gd name="connsiteY1416" fmla="*/ 4198299 h 4687251"/>
              <a:gd name="connsiteX1417" fmla="*/ 7981617 w 8079933"/>
              <a:gd name="connsiteY1417" fmla="*/ 4193102 h 4687251"/>
              <a:gd name="connsiteX1418" fmla="*/ 7984547 w 8079933"/>
              <a:gd name="connsiteY1418" fmla="*/ 4192885 h 4687251"/>
              <a:gd name="connsiteX1419" fmla="*/ 7987368 w 8079933"/>
              <a:gd name="connsiteY1419" fmla="*/ 4191369 h 4687251"/>
              <a:gd name="connsiteX1420" fmla="*/ 7984656 w 8079933"/>
              <a:gd name="connsiteY1420" fmla="*/ 4188663 h 4687251"/>
              <a:gd name="connsiteX1421" fmla="*/ 7984764 w 8079933"/>
              <a:gd name="connsiteY1421" fmla="*/ 4186389 h 4687251"/>
              <a:gd name="connsiteX1422" fmla="*/ 7986826 w 8079933"/>
              <a:gd name="connsiteY1422" fmla="*/ 4182708 h 4687251"/>
              <a:gd name="connsiteX1423" fmla="*/ 7990081 w 8079933"/>
              <a:gd name="connsiteY1423" fmla="*/ 4182383 h 4687251"/>
              <a:gd name="connsiteX1424" fmla="*/ 7991058 w 8079933"/>
              <a:gd name="connsiteY1424" fmla="*/ 4180651 h 4687251"/>
              <a:gd name="connsiteX1425" fmla="*/ 7988670 w 8079933"/>
              <a:gd name="connsiteY1425" fmla="*/ 4178161 h 4687251"/>
              <a:gd name="connsiteX1426" fmla="*/ 7989972 w 8079933"/>
              <a:gd name="connsiteY1426" fmla="*/ 4176753 h 4687251"/>
              <a:gd name="connsiteX1427" fmla="*/ 7989864 w 8079933"/>
              <a:gd name="connsiteY1427" fmla="*/ 4172530 h 4687251"/>
              <a:gd name="connsiteX1428" fmla="*/ 7992578 w 8079933"/>
              <a:gd name="connsiteY1428" fmla="*/ 4164410 h 4687251"/>
              <a:gd name="connsiteX1429" fmla="*/ 7994096 w 8079933"/>
              <a:gd name="connsiteY1429" fmla="*/ 4161054 h 4687251"/>
              <a:gd name="connsiteX1430" fmla="*/ 7992469 w 8079933"/>
              <a:gd name="connsiteY1430" fmla="*/ 4159430 h 4687251"/>
              <a:gd name="connsiteX1431" fmla="*/ 7992578 w 8079933"/>
              <a:gd name="connsiteY1431" fmla="*/ 4157697 h 4687251"/>
              <a:gd name="connsiteX1432" fmla="*/ 7997351 w 8079933"/>
              <a:gd name="connsiteY1432" fmla="*/ 4154557 h 4687251"/>
              <a:gd name="connsiteX1433" fmla="*/ 7995073 w 8079933"/>
              <a:gd name="connsiteY1433" fmla="*/ 4152934 h 4687251"/>
              <a:gd name="connsiteX1434" fmla="*/ 7994747 w 8079933"/>
              <a:gd name="connsiteY1434" fmla="*/ 4150659 h 4687251"/>
              <a:gd name="connsiteX1435" fmla="*/ 7993011 w 8079933"/>
              <a:gd name="connsiteY1435" fmla="*/ 4147520 h 4687251"/>
              <a:gd name="connsiteX1436" fmla="*/ 7991383 w 8079933"/>
              <a:gd name="connsiteY1436" fmla="*/ 4148386 h 4687251"/>
              <a:gd name="connsiteX1437" fmla="*/ 7989322 w 8079933"/>
              <a:gd name="connsiteY1437" fmla="*/ 4147737 h 4687251"/>
              <a:gd name="connsiteX1438" fmla="*/ 7986066 w 8079933"/>
              <a:gd name="connsiteY1438" fmla="*/ 4138533 h 4687251"/>
              <a:gd name="connsiteX1439" fmla="*/ 7985090 w 8079933"/>
              <a:gd name="connsiteY1439" fmla="*/ 4131279 h 4687251"/>
              <a:gd name="connsiteX1440" fmla="*/ 7987043 w 8079933"/>
              <a:gd name="connsiteY1440" fmla="*/ 4131279 h 4687251"/>
              <a:gd name="connsiteX1441" fmla="*/ 7988779 w 8079933"/>
              <a:gd name="connsiteY1441" fmla="*/ 4134094 h 4687251"/>
              <a:gd name="connsiteX1442" fmla="*/ 7990516 w 8079933"/>
              <a:gd name="connsiteY1442" fmla="*/ 4133553 h 4687251"/>
              <a:gd name="connsiteX1443" fmla="*/ 7990841 w 8079933"/>
              <a:gd name="connsiteY1443" fmla="*/ 4131279 h 4687251"/>
              <a:gd name="connsiteX1444" fmla="*/ 7992034 w 8079933"/>
              <a:gd name="connsiteY1444" fmla="*/ 4127490 h 4687251"/>
              <a:gd name="connsiteX1445" fmla="*/ 7994638 w 8079933"/>
              <a:gd name="connsiteY1445" fmla="*/ 4122834 h 4687251"/>
              <a:gd name="connsiteX1446" fmla="*/ 7994205 w 8079933"/>
              <a:gd name="connsiteY1446" fmla="*/ 4119478 h 4687251"/>
              <a:gd name="connsiteX1447" fmla="*/ 7992794 w 8079933"/>
              <a:gd name="connsiteY1447" fmla="*/ 4119911 h 4687251"/>
              <a:gd name="connsiteX1448" fmla="*/ 7993445 w 8079933"/>
              <a:gd name="connsiteY1448" fmla="*/ 4121319 h 4687251"/>
              <a:gd name="connsiteX1449" fmla="*/ 7993011 w 8079933"/>
              <a:gd name="connsiteY1449" fmla="*/ 4123267 h 4687251"/>
              <a:gd name="connsiteX1450" fmla="*/ 7990407 w 8079933"/>
              <a:gd name="connsiteY1450" fmla="*/ 4123700 h 4687251"/>
              <a:gd name="connsiteX1451" fmla="*/ 7990407 w 8079933"/>
              <a:gd name="connsiteY1451" fmla="*/ 4119586 h 4687251"/>
              <a:gd name="connsiteX1452" fmla="*/ 7988670 w 8079933"/>
              <a:gd name="connsiteY1452" fmla="*/ 4116988 h 4687251"/>
              <a:gd name="connsiteX1453" fmla="*/ 7987151 w 8079933"/>
              <a:gd name="connsiteY1453" fmla="*/ 4118178 h 4687251"/>
              <a:gd name="connsiteX1454" fmla="*/ 7988345 w 8079933"/>
              <a:gd name="connsiteY1454" fmla="*/ 4121102 h 4687251"/>
              <a:gd name="connsiteX1455" fmla="*/ 7987368 w 8079933"/>
              <a:gd name="connsiteY1455" fmla="*/ 4125325 h 4687251"/>
              <a:gd name="connsiteX1456" fmla="*/ 7984873 w 8079933"/>
              <a:gd name="connsiteY1456" fmla="*/ 4126624 h 4687251"/>
              <a:gd name="connsiteX1457" fmla="*/ 7984656 w 8079933"/>
              <a:gd name="connsiteY1457" fmla="*/ 4121643 h 4687251"/>
              <a:gd name="connsiteX1458" fmla="*/ 7984764 w 8079933"/>
              <a:gd name="connsiteY1458" fmla="*/ 4114389 h 4687251"/>
              <a:gd name="connsiteX1459" fmla="*/ 7983679 w 8079933"/>
              <a:gd name="connsiteY1459" fmla="*/ 4102263 h 4687251"/>
              <a:gd name="connsiteX1460" fmla="*/ 7980857 w 8079933"/>
              <a:gd name="connsiteY1460" fmla="*/ 4095767 h 4687251"/>
              <a:gd name="connsiteX1461" fmla="*/ 7979555 w 8079933"/>
              <a:gd name="connsiteY1461" fmla="*/ 4089920 h 4687251"/>
              <a:gd name="connsiteX1462" fmla="*/ 7982920 w 8079933"/>
              <a:gd name="connsiteY1462" fmla="*/ 4085914 h 4687251"/>
              <a:gd name="connsiteX1463" fmla="*/ 7986283 w 8079933"/>
              <a:gd name="connsiteY1463" fmla="*/ 4084831 h 4687251"/>
              <a:gd name="connsiteX1464" fmla="*/ 7981400 w 8079933"/>
              <a:gd name="connsiteY1464" fmla="*/ 4084831 h 4687251"/>
              <a:gd name="connsiteX1465" fmla="*/ 7977818 w 8079933"/>
              <a:gd name="connsiteY1465" fmla="*/ 4087430 h 4687251"/>
              <a:gd name="connsiteX1466" fmla="*/ 7976408 w 8079933"/>
              <a:gd name="connsiteY1466" fmla="*/ 4086023 h 4687251"/>
              <a:gd name="connsiteX1467" fmla="*/ 7973587 w 8079933"/>
              <a:gd name="connsiteY1467" fmla="*/ 4076170 h 4687251"/>
              <a:gd name="connsiteX1468" fmla="*/ 7974455 w 8079933"/>
              <a:gd name="connsiteY1468" fmla="*/ 4074870 h 4687251"/>
              <a:gd name="connsiteX1469" fmla="*/ 7976300 w 8079933"/>
              <a:gd name="connsiteY1469" fmla="*/ 4074870 h 4687251"/>
              <a:gd name="connsiteX1470" fmla="*/ 7978253 w 8079933"/>
              <a:gd name="connsiteY1470" fmla="*/ 4072921 h 4687251"/>
              <a:gd name="connsiteX1471" fmla="*/ 7979013 w 8079933"/>
              <a:gd name="connsiteY1471" fmla="*/ 4064909 h 4687251"/>
              <a:gd name="connsiteX1472" fmla="*/ 7978253 w 8079933"/>
              <a:gd name="connsiteY1472" fmla="*/ 4060579 h 4687251"/>
              <a:gd name="connsiteX1473" fmla="*/ 7973152 w 8079933"/>
              <a:gd name="connsiteY1473" fmla="*/ 4048128 h 4687251"/>
              <a:gd name="connsiteX1474" fmla="*/ 7970114 w 8079933"/>
              <a:gd name="connsiteY1474" fmla="*/ 4044771 h 4687251"/>
              <a:gd name="connsiteX1475" fmla="*/ 7970222 w 8079933"/>
              <a:gd name="connsiteY1475" fmla="*/ 4043364 h 4687251"/>
              <a:gd name="connsiteX1476" fmla="*/ 7976625 w 8079933"/>
              <a:gd name="connsiteY1476" fmla="*/ 4043797 h 4687251"/>
              <a:gd name="connsiteX1477" fmla="*/ 7138659 w 8079933"/>
              <a:gd name="connsiteY1477" fmla="*/ 4024092 h 4687251"/>
              <a:gd name="connsiteX1478" fmla="*/ 7137900 w 8079933"/>
              <a:gd name="connsiteY1478" fmla="*/ 4027881 h 4687251"/>
              <a:gd name="connsiteX1479" fmla="*/ 7138985 w 8079933"/>
              <a:gd name="connsiteY1479" fmla="*/ 4030263 h 4687251"/>
              <a:gd name="connsiteX1480" fmla="*/ 7141915 w 8079933"/>
              <a:gd name="connsiteY1480" fmla="*/ 4030263 h 4687251"/>
              <a:gd name="connsiteX1481" fmla="*/ 7140287 w 8079933"/>
              <a:gd name="connsiteY1481" fmla="*/ 4032212 h 4687251"/>
              <a:gd name="connsiteX1482" fmla="*/ 7144520 w 8079933"/>
              <a:gd name="connsiteY1482" fmla="*/ 4032429 h 4687251"/>
              <a:gd name="connsiteX1483" fmla="*/ 7147124 w 8079933"/>
              <a:gd name="connsiteY1483" fmla="*/ 4031345 h 4687251"/>
              <a:gd name="connsiteX1484" fmla="*/ 7150379 w 8079933"/>
              <a:gd name="connsiteY1484" fmla="*/ 4032970 h 4687251"/>
              <a:gd name="connsiteX1485" fmla="*/ 7147341 w 8079933"/>
              <a:gd name="connsiteY1485" fmla="*/ 4035676 h 4687251"/>
              <a:gd name="connsiteX1486" fmla="*/ 7138659 w 8079933"/>
              <a:gd name="connsiteY1486" fmla="*/ 4034486 h 4687251"/>
              <a:gd name="connsiteX1487" fmla="*/ 7137032 w 8079933"/>
              <a:gd name="connsiteY1487" fmla="*/ 4036759 h 4687251"/>
              <a:gd name="connsiteX1488" fmla="*/ 7134536 w 8079933"/>
              <a:gd name="connsiteY1488" fmla="*/ 4036867 h 4687251"/>
              <a:gd name="connsiteX1489" fmla="*/ 7134102 w 8079933"/>
              <a:gd name="connsiteY1489" fmla="*/ 4038275 h 4687251"/>
              <a:gd name="connsiteX1490" fmla="*/ 7131715 w 8079933"/>
              <a:gd name="connsiteY1490" fmla="*/ 4038383 h 4687251"/>
              <a:gd name="connsiteX1491" fmla="*/ 7129870 w 8079933"/>
              <a:gd name="connsiteY1491" fmla="*/ 4036001 h 4687251"/>
              <a:gd name="connsiteX1492" fmla="*/ 7126940 w 8079933"/>
              <a:gd name="connsiteY1492" fmla="*/ 4037084 h 4687251"/>
              <a:gd name="connsiteX1493" fmla="*/ 7122707 w 8079933"/>
              <a:gd name="connsiteY1493" fmla="*/ 4036435 h 4687251"/>
              <a:gd name="connsiteX1494" fmla="*/ 7120971 w 8079933"/>
              <a:gd name="connsiteY1494" fmla="*/ 4036759 h 4687251"/>
              <a:gd name="connsiteX1495" fmla="*/ 7115546 w 8079933"/>
              <a:gd name="connsiteY1495" fmla="*/ 4036543 h 4687251"/>
              <a:gd name="connsiteX1496" fmla="*/ 7112073 w 8079933"/>
              <a:gd name="connsiteY1496" fmla="*/ 4034161 h 4687251"/>
              <a:gd name="connsiteX1497" fmla="*/ 7112289 w 8079933"/>
              <a:gd name="connsiteY1497" fmla="*/ 4031345 h 4687251"/>
              <a:gd name="connsiteX1498" fmla="*/ 7117932 w 8079933"/>
              <a:gd name="connsiteY1498" fmla="*/ 4028422 h 4687251"/>
              <a:gd name="connsiteX1499" fmla="*/ 7130738 w 8079933"/>
              <a:gd name="connsiteY1499" fmla="*/ 4024958 h 4687251"/>
              <a:gd name="connsiteX1500" fmla="*/ 7134970 w 8079933"/>
              <a:gd name="connsiteY1500" fmla="*/ 4025391 h 4687251"/>
              <a:gd name="connsiteX1501" fmla="*/ 2326377 w 8079933"/>
              <a:gd name="connsiteY1501" fmla="*/ 3999863 h 4687251"/>
              <a:gd name="connsiteX1502" fmla="*/ 2326380 w 8079933"/>
              <a:gd name="connsiteY1502" fmla="*/ 4000057 h 4687251"/>
              <a:gd name="connsiteX1503" fmla="*/ 2326380 w 8079933"/>
              <a:gd name="connsiteY1503" fmla="*/ 4000056 h 4687251"/>
              <a:gd name="connsiteX1504" fmla="*/ 2333301 w 8079933"/>
              <a:gd name="connsiteY1504" fmla="*/ 3955120 h 4687251"/>
              <a:gd name="connsiteX1505" fmla="*/ 2335712 w 8079933"/>
              <a:gd name="connsiteY1505" fmla="*/ 3959130 h 4687251"/>
              <a:gd name="connsiteX1506" fmla="*/ 2335712 w 8079933"/>
              <a:gd name="connsiteY1506" fmla="*/ 3959129 h 4687251"/>
              <a:gd name="connsiteX1507" fmla="*/ 2330325 w 8079933"/>
              <a:gd name="connsiteY1507" fmla="*/ 3950591 h 4687251"/>
              <a:gd name="connsiteX1508" fmla="*/ 2330828 w 8079933"/>
              <a:gd name="connsiteY1508" fmla="*/ 3951010 h 4687251"/>
              <a:gd name="connsiteX1509" fmla="*/ 2330828 w 8079933"/>
              <a:gd name="connsiteY1509" fmla="*/ 3951009 h 4687251"/>
              <a:gd name="connsiteX1510" fmla="*/ 2331980 w 8079933"/>
              <a:gd name="connsiteY1510" fmla="*/ 3870500 h 4687251"/>
              <a:gd name="connsiteX1511" fmla="*/ 2333108 w 8079933"/>
              <a:gd name="connsiteY1511" fmla="*/ 3872622 h 4687251"/>
              <a:gd name="connsiteX1512" fmla="*/ 2333678 w 8079933"/>
              <a:gd name="connsiteY1512" fmla="*/ 3875341 h 4687251"/>
              <a:gd name="connsiteX1513" fmla="*/ 2333108 w 8079933"/>
              <a:gd name="connsiteY1513" fmla="*/ 3872621 h 4687251"/>
              <a:gd name="connsiteX1514" fmla="*/ 2606298 w 8079933"/>
              <a:gd name="connsiteY1514" fmla="*/ 3855430 h 4687251"/>
              <a:gd name="connsiteX1515" fmla="*/ 2607437 w 8079933"/>
              <a:gd name="connsiteY1515" fmla="*/ 3864718 h 4687251"/>
              <a:gd name="connsiteX1516" fmla="*/ 2609063 w 8079933"/>
              <a:gd name="connsiteY1516" fmla="*/ 3870863 h 4687251"/>
              <a:gd name="connsiteX1517" fmla="*/ 2607438 w 8079933"/>
              <a:gd name="connsiteY1517" fmla="*/ 3864718 h 4687251"/>
              <a:gd name="connsiteX1518" fmla="*/ 2608414 w 8079933"/>
              <a:gd name="connsiteY1518" fmla="*/ 3838949 h 4687251"/>
              <a:gd name="connsiteX1519" fmla="*/ 2605484 w 8079933"/>
              <a:gd name="connsiteY1519" fmla="*/ 3844146 h 4687251"/>
              <a:gd name="connsiteX1520" fmla="*/ 2607872 w 8079933"/>
              <a:gd name="connsiteY1520" fmla="*/ 3851508 h 4687251"/>
              <a:gd name="connsiteX1521" fmla="*/ 2606136 w 8079933"/>
              <a:gd name="connsiteY1521" fmla="*/ 3854107 h 4687251"/>
              <a:gd name="connsiteX1522" fmla="*/ 2606136 w 8079933"/>
              <a:gd name="connsiteY1522" fmla="*/ 3854108 h 4687251"/>
              <a:gd name="connsiteX1523" fmla="*/ 2607872 w 8079933"/>
              <a:gd name="connsiteY1523" fmla="*/ 3851509 h 4687251"/>
              <a:gd name="connsiteX1524" fmla="*/ 2605485 w 8079933"/>
              <a:gd name="connsiteY1524" fmla="*/ 3844147 h 4687251"/>
              <a:gd name="connsiteX1525" fmla="*/ 2608414 w 8079933"/>
              <a:gd name="connsiteY1525" fmla="*/ 3838949 h 4687251"/>
              <a:gd name="connsiteX1526" fmla="*/ 2610476 w 8079933"/>
              <a:gd name="connsiteY1526" fmla="*/ 3820435 h 4687251"/>
              <a:gd name="connsiteX1527" fmla="*/ 2609608 w 8079933"/>
              <a:gd name="connsiteY1527" fmla="*/ 3831045 h 4687251"/>
              <a:gd name="connsiteX1528" fmla="*/ 2607872 w 8079933"/>
              <a:gd name="connsiteY1528" fmla="*/ 3834835 h 4687251"/>
              <a:gd name="connsiteX1529" fmla="*/ 2608333 w 8079933"/>
              <a:gd name="connsiteY1529" fmla="*/ 3838332 h 4687251"/>
              <a:gd name="connsiteX1530" fmla="*/ 2607872 w 8079933"/>
              <a:gd name="connsiteY1530" fmla="*/ 3834835 h 4687251"/>
              <a:gd name="connsiteX1531" fmla="*/ 2609608 w 8079933"/>
              <a:gd name="connsiteY1531" fmla="*/ 3831045 h 4687251"/>
              <a:gd name="connsiteX1532" fmla="*/ 2667589 w 8079933"/>
              <a:gd name="connsiteY1532" fmla="*/ 3814913 h 4687251"/>
              <a:gd name="connsiteX1533" fmla="*/ 2668424 w 8079933"/>
              <a:gd name="connsiteY1533" fmla="*/ 3815021 h 4687251"/>
              <a:gd name="connsiteX1534" fmla="*/ 2673959 w 8079933"/>
              <a:gd name="connsiteY1534" fmla="*/ 3824008 h 4687251"/>
              <a:gd name="connsiteX1535" fmla="*/ 2680470 w 8079933"/>
              <a:gd name="connsiteY1535" fmla="*/ 3826931 h 4687251"/>
              <a:gd name="connsiteX1536" fmla="*/ 2686113 w 8079933"/>
              <a:gd name="connsiteY1536" fmla="*/ 3828122 h 4687251"/>
              <a:gd name="connsiteX1537" fmla="*/ 2691647 w 8079933"/>
              <a:gd name="connsiteY1537" fmla="*/ 3833644 h 4687251"/>
              <a:gd name="connsiteX1538" fmla="*/ 2691972 w 8079933"/>
              <a:gd name="connsiteY1538" fmla="*/ 3840141 h 4687251"/>
              <a:gd name="connsiteX1539" fmla="*/ 2696638 w 8079933"/>
              <a:gd name="connsiteY1539" fmla="*/ 3839166 h 4687251"/>
              <a:gd name="connsiteX1540" fmla="*/ 2705971 w 8079933"/>
              <a:gd name="connsiteY1540" fmla="*/ 3843281 h 4687251"/>
              <a:gd name="connsiteX1541" fmla="*/ 2711505 w 8079933"/>
              <a:gd name="connsiteY1541" fmla="*/ 3850210 h 4687251"/>
              <a:gd name="connsiteX1542" fmla="*/ 2717317 w 8079933"/>
              <a:gd name="connsiteY1542" fmla="*/ 3858799 h 4687251"/>
              <a:gd name="connsiteX1543" fmla="*/ 2711505 w 8079933"/>
              <a:gd name="connsiteY1543" fmla="*/ 3850101 h 4687251"/>
              <a:gd name="connsiteX1544" fmla="*/ 2705970 w 8079933"/>
              <a:gd name="connsiteY1544" fmla="*/ 3843172 h 4687251"/>
              <a:gd name="connsiteX1545" fmla="*/ 2696638 w 8079933"/>
              <a:gd name="connsiteY1545" fmla="*/ 3839057 h 4687251"/>
              <a:gd name="connsiteX1546" fmla="*/ 2691972 w 8079933"/>
              <a:gd name="connsiteY1546" fmla="*/ 3840032 h 4687251"/>
              <a:gd name="connsiteX1547" fmla="*/ 2691972 w 8079933"/>
              <a:gd name="connsiteY1547" fmla="*/ 3833536 h 4687251"/>
              <a:gd name="connsiteX1548" fmla="*/ 2686437 w 8079933"/>
              <a:gd name="connsiteY1548" fmla="*/ 3828014 h 4687251"/>
              <a:gd name="connsiteX1549" fmla="*/ 2680794 w 8079933"/>
              <a:gd name="connsiteY1549" fmla="*/ 3826824 h 4687251"/>
              <a:gd name="connsiteX1550" fmla="*/ 2674284 w 8079933"/>
              <a:gd name="connsiteY1550" fmla="*/ 3823900 h 4687251"/>
              <a:gd name="connsiteX1551" fmla="*/ 2668749 w 8079933"/>
              <a:gd name="connsiteY1551" fmla="*/ 3814913 h 4687251"/>
              <a:gd name="connsiteX1552" fmla="*/ 2611019 w 8079933"/>
              <a:gd name="connsiteY1552" fmla="*/ 3812856 h 4687251"/>
              <a:gd name="connsiteX1553" fmla="*/ 2609174 w 8079933"/>
              <a:gd name="connsiteY1553" fmla="*/ 3816429 h 4687251"/>
              <a:gd name="connsiteX1554" fmla="*/ 2609174 w 8079933"/>
              <a:gd name="connsiteY1554" fmla="*/ 3816429 h 4687251"/>
              <a:gd name="connsiteX1555" fmla="*/ 2611019 w 8079933"/>
              <a:gd name="connsiteY1555" fmla="*/ 3812857 h 4687251"/>
              <a:gd name="connsiteX1556" fmla="*/ 2649993 w 8079933"/>
              <a:gd name="connsiteY1556" fmla="*/ 3803906 h 4687251"/>
              <a:gd name="connsiteX1557" fmla="*/ 2652907 w 8079933"/>
              <a:gd name="connsiteY1557" fmla="*/ 3810474 h 4687251"/>
              <a:gd name="connsiteX1558" fmla="*/ 2658550 w 8079933"/>
              <a:gd name="connsiteY1558" fmla="*/ 3819786 h 4687251"/>
              <a:gd name="connsiteX1559" fmla="*/ 2658917 w 8079933"/>
              <a:gd name="connsiteY1559" fmla="*/ 3819786 h 4687251"/>
              <a:gd name="connsiteX1560" fmla="*/ 2653340 w 8079933"/>
              <a:gd name="connsiteY1560" fmla="*/ 3810583 h 4687251"/>
              <a:gd name="connsiteX1561" fmla="*/ 2650410 w 8079933"/>
              <a:gd name="connsiteY1561" fmla="*/ 3804086 h 4687251"/>
              <a:gd name="connsiteX1562" fmla="*/ 2620218 w 8079933"/>
              <a:gd name="connsiteY1562" fmla="*/ 3793368 h 4687251"/>
              <a:gd name="connsiteX1563" fmla="*/ 2622522 w 8079933"/>
              <a:gd name="connsiteY1563" fmla="*/ 3794667 h 4687251"/>
              <a:gd name="connsiteX1564" fmla="*/ 2622741 w 8079933"/>
              <a:gd name="connsiteY1564" fmla="*/ 3794601 h 4687251"/>
              <a:gd name="connsiteX1565" fmla="*/ 2620459 w 8079933"/>
              <a:gd name="connsiteY1565" fmla="*/ 3793368 h 4687251"/>
              <a:gd name="connsiteX1566" fmla="*/ 2635109 w 8079933"/>
              <a:gd name="connsiteY1566" fmla="*/ 3791202 h 4687251"/>
              <a:gd name="connsiteX1567" fmla="*/ 2634972 w 8079933"/>
              <a:gd name="connsiteY1567" fmla="*/ 3791243 h 4687251"/>
              <a:gd name="connsiteX1568" fmla="*/ 2639667 w 8079933"/>
              <a:gd name="connsiteY1568" fmla="*/ 3794233 h 4687251"/>
              <a:gd name="connsiteX1569" fmla="*/ 2645093 w 8079933"/>
              <a:gd name="connsiteY1569" fmla="*/ 3801813 h 4687251"/>
              <a:gd name="connsiteX1570" fmla="*/ 2646888 w 8079933"/>
              <a:gd name="connsiteY1570" fmla="*/ 3802569 h 4687251"/>
              <a:gd name="connsiteX1571" fmla="*/ 2645635 w 8079933"/>
              <a:gd name="connsiteY1571" fmla="*/ 3802029 h 4687251"/>
              <a:gd name="connsiteX1572" fmla="*/ 2640101 w 8079933"/>
              <a:gd name="connsiteY1572" fmla="*/ 3794450 h 4687251"/>
              <a:gd name="connsiteX1573" fmla="*/ 7567951 w 8079933"/>
              <a:gd name="connsiteY1573" fmla="*/ 3781566 h 4687251"/>
              <a:gd name="connsiteX1574" fmla="*/ 7569036 w 8079933"/>
              <a:gd name="connsiteY1574" fmla="*/ 3786980 h 4687251"/>
              <a:gd name="connsiteX1575" fmla="*/ 7566323 w 8079933"/>
              <a:gd name="connsiteY1575" fmla="*/ 3790336 h 4687251"/>
              <a:gd name="connsiteX1576" fmla="*/ 4571046 w 8079933"/>
              <a:gd name="connsiteY1576" fmla="*/ 3779497 h 4687251"/>
              <a:gd name="connsiteX1577" fmla="*/ 4571046 w 8079933"/>
              <a:gd name="connsiteY1577" fmla="*/ 3783081 h 4687251"/>
              <a:gd name="connsiteX1578" fmla="*/ 4574519 w 8079933"/>
              <a:gd name="connsiteY1578" fmla="*/ 3786005 h 4687251"/>
              <a:gd name="connsiteX1579" fmla="*/ 4577015 w 8079933"/>
              <a:gd name="connsiteY1579" fmla="*/ 3789470 h 4687251"/>
              <a:gd name="connsiteX1580" fmla="*/ 4582549 w 8079933"/>
              <a:gd name="connsiteY1580" fmla="*/ 3791743 h 4687251"/>
              <a:gd name="connsiteX1581" fmla="*/ 4582875 w 8079933"/>
              <a:gd name="connsiteY1581" fmla="*/ 3791743 h 4687251"/>
              <a:gd name="connsiteX1582" fmla="*/ 4586890 w 8079933"/>
              <a:gd name="connsiteY1582" fmla="*/ 3791743 h 4687251"/>
              <a:gd name="connsiteX1583" fmla="*/ 4587002 w 8079933"/>
              <a:gd name="connsiteY1583" fmla="*/ 3791537 h 4687251"/>
              <a:gd name="connsiteX1584" fmla="*/ 4582875 w 8079933"/>
              <a:gd name="connsiteY1584" fmla="*/ 3791743 h 4687251"/>
              <a:gd name="connsiteX1585" fmla="*/ 4577340 w 8079933"/>
              <a:gd name="connsiteY1585" fmla="*/ 3789469 h 4687251"/>
              <a:gd name="connsiteX1586" fmla="*/ 4574845 w 8079933"/>
              <a:gd name="connsiteY1586" fmla="*/ 3786005 h 4687251"/>
              <a:gd name="connsiteX1587" fmla="*/ 4571372 w 8079933"/>
              <a:gd name="connsiteY1587" fmla="*/ 3783081 h 4687251"/>
              <a:gd name="connsiteX1588" fmla="*/ 4610475 w 8079933"/>
              <a:gd name="connsiteY1588" fmla="*/ 3775480 h 4687251"/>
              <a:gd name="connsiteX1589" fmla="*/ 4606423 w 8079933"/>
              <a:gd name="connsiteY1589" fmla="*/ 3778210 h 4687251"/>
              <a:gd name="connsiteX1590" fmla="*/ 4603602 w 8079933"/>
              <a:gd name="connsiteY1590" fmla="*/ 3777343 h 4687251"/>
              <a:gd name="connsiteX1591" fmla="*/ 4599478 w 8079933"/>
              <a:gd name="connsiteY1591" fmla="*/ 3778101 h 4687251"/>
              <a:gd name="connsiteX1592" fmla="*/ 4596331 w 8079933"/>
              <a:gd name="connsiteY1592" fmla="*/ 3780158 h 4687251"/>
              <a:gd name="connsiteX1593" fmla="*/ 4592207 w 8079933"/>
              <a:gd name="connsiteY1593" fmla="*/ 3781349 h 4687251"/>
              <a:gd name="connsiteX1594" fmla="*/ 4592117 w 8079933"/>
              <a:gd name="connsiteY1594" fmla="*/ 3781606 h 4687251"/>
              <a:gd name="connsiteX1595" fmla="*/ 4596005 w 8079933"/>
              <a:gd name="connsiteY1595" fmla="*/ 3780483 h 4687251"/>
              <a:gd name="connsiteX1596" fmla="*/ 4599153 w 8079933"/>
              <a:gd name="connsiteY1596" fmla="*/ 3778426 h 4687251"/>
              <a:gd name="connsiteX1597" fmla="*/ 4603276 w 8079933"/>
              <a:gd name="connsiteY1597" fmla="*/ 3777668 h 4687251"/>
              <a:gd name="connsiteX1598" fmla="*/ 4606097 w 8079933"/>
              <a:gd name="connsiteY1598" fmla="*/ 3778534 h 4687251"/>
              <a:gd name="connsiteX1599" fmla="*/ 4610438 w 8079933"/>
              <a:gd name="connsiteY1599" fmla="*/ 3775611 h 4687251"/>
              <a:gd name="connsiteX1600" fmla="*/ 4615831 w 8079933"/>
              <a:gd name="connsiteY1600" fmla="*/ 3762911 h 4687251"/>
              <a:gd name="connsiteX1601" fmla="*/ 4613802 w 8079933"/>
              <a:gd name="connsiteY1601" fmla="*/ 3764676 h 4687251"/>
              <a:gd name="connsiteX1602" fmla="*/ 4609570 w 8079933"/>
              <a:gd name="connsiteY1602" fmla="*/ 3766841 h 4687251"/>
              <a:gd name="connsiteX1603" fmla="*/ 4609616 w 8079933"/>
              <a:gd name="connsiteY1603" fmla="*/ 3767252 h 4687251"/>
              <a:gd name="connsiteX1604" fmla="*/ 4613910 w 8079933"/>
              <a:gd name="connsiteY1604" fmla="*/ 3765109 h 4687251"/>
              <a:gd name="connsiteX1605" fmla="*/ 2647914 w 8079933"/>
              <a:gd name="connsiteY1605" fmla="*/ 3744645 h 4687251"/>
              <a:gd name="connsiteX1606" fmla="*/ 2640318 w 8079933"/>
              <a:gd name="connsiteY1606" fmla="*/ 3753848 h 4687251"/>
              <a:gd name="connsiteX1607" fmla="*/ 2638908 w 8079933"/>
              <a:gd name="connsiteY1607" fmla="*/ 3757529 h 4687251"/>
              <a:gd name="connsiteX1608" fmla="*/ 2639125 w 8079933"/>
              <a:gd name="connsiteY1608" fmla="*/ 3762835 h 4687251"/>
              <a:gd name="connsiteX1609" fmla="*/ 2635652 w 8079933"/>
              <a:gd name="connsiteY1609" fmla="*/ 3763809 h 4687251"/>
              <a:gd name="connsiteX1610" fmla="*/ 2633807 w 8079933"/>
              <a:gd name="connsiteY1610" fmla="*/ 3766732 h 4687251"/>
              <a:gd name="connsiteX1611" fmla="*/ 2628924 w 8079933"/>
              <a:gd name="connsiteY1611" fmla="*/ 3775503 h 4687251"/>
              <a:gd name="connsiteX1612" fmla="*/ 2625451 w 8079933"/>
              <a:gd name="connsiteY1612" fmla="*/ 3779184 h 4687251"/>
              <a:gd name="connsiteX1613" fmla="*/ 2621545 w 8079933"/>
              <a:gd name="connsiteY1613" fmla="*/ 3785680 h 4687251"/>
              <a:gd name="connsiteX1614" fmla="*/ 2621545 w 8079933"/>
              <a:gd name="connsiteY1614" fmla="*/ 3787954 h 4687251"/>
              <a:gd name="connsiteX1615" fmla="*/ 2617095 w 8079933"/>
              <a:gd name="connsiteY1615" fmla="*/ 3790986 h 4687251"/>
              <a:gd name="connsiteX1616" fmla="*/ 2616445 w 8079933"/>
              <a:gd name="connsiteY1616" fmla="*/ 3793150 h 4687251"/>
              <a:gd name="connsiteX1617" fmla="*/ 2616010 w 8079933"/>
              <a:gd name="connsiteY1617" fmla="*/ 3794450 h 4687251"/>
              <a:gd name="connsiteX1618" fmla="*/ 2613732 w 8079933"/>
              <a:gd name="connsiteY1618" fmla="*/ 3799755 h 4687251"/>
              <a:gd name="connsiteX1619" fmla="*/ 2609499 w 8079933"/>
              <a:gd name="connsiteY1619" fmla="*/ 3805277 h 4687251"/>
              <a:gd name="connsiteX1620" fmla="*/ 2609499 w 8079933"/>
              <a:gd name="connsiteY1620" fmla="*/ 3805277 h 4687251"/>
              <a:gd name="connsiteX1621" fmla="*/ 2613732 w 8079933"/>
              <a:gd name="connsiteY1621" fmla="*/ 3799755 h 4687251"/>
              <a:gd name="connsiteX1622" fmla="*/ 2616011 w 8079933"/>
              <a:gd name="connsiteY1622" fmla="*/ 3794450 h 4687251"/>
              <a:gd name="connsiteX1623" fmla="*/ 2616445 w 8079933"/>
              <a:gd name="connsiteY1623" fmla="*/ 3793151 h 4687251"/>
              <a:gd name="connsiteX1624" fmla="*/ 2616939 w 8079933"/>
              <a:gd name="connsiteY1624" fmla="*/ 3793166 h 4687251"/>
              <a:gd name="connsiteX1625" fmla="*/ 2617530 w 8079933"/>
              <a:gd name="connsiteY1625" fmla="*/ 3791202 h 4687251"/>
              <a:gd name="connsiteX1626" fmla="*/ 2621979 w 8079933"/>
              <a:gd name="connsiteY1626" fmla="*/ 3788062 h 4687251"/>
              <a:gd name="connsiteX1627" fmla="*/ 2621979 w 8079933"/>
              <a:gd name="connsiteY1627" fmla="*/ 3785788 h 4687251"/>
              <a:gd name="connsiteX1628" fmla="*/ 2625885 w 8079933"/>
              <a:gd name="connsiteY1628" fmla="*/ 3779292 h 4687251"/>
              <a:gd name="connsiteX1629" fmla="*/ 2629358 w 8079933"/>
              <a:gd name="connsiteY1629" fmla="*/ 3775719 h 4687251"/>
              <a:gd name="connsiteX1630" fmla="*/ 2634241 w 8079933"/>
              <a:gd name="connsiteY1630" fmla="*/ 3766950 h 4687251"/>
              <a:gd name="connsiteX1631" fmla="*/ 2636086 w 8079933"/>
              <a:gd name="connsiteY1631" fmla="*/ 3764026 h 4687251"/>
              <a:gd name="connsiteX1632" fmla="*/ 2639558 w 8079933"/>
              <a:gd name="connsiteY1632" fmla="*/ 3762944 h 4687251"/>
              <a:gd name="connsiteX1633" fmla="*/ 2639558 w 8079933"/>
              <a:gd name="connsiteY1633" fmla="*/ 3757639 h 4687251"/>
              <a:gd name="connsiteX1634" fmla="*/ 2640969 w 8079933"/>
              <a:gd name="connsiteY1634" fmla="*/ 3754066 h 4687251"/>
              <a:gd name="connsiteX1635" fmla="*/ 2648566 w 8079933"/>
              <a:gd name="connsiteY1635" fmla="*/ 3744754 h 4687251"/>
              <a:gd name="connsiteX1636" fmla="*/ 2648651 w 8079933"/>
              <a:gd name="connsiteY1636" fmla="*/ 3744754 h 4687251"/>
              <a:gd name="connsiteX1637" fmla="*/ 4368083 w 8079933"/>
              <a:gd name="connsiteY1637" fmla="*/ 3743671 h 4687251"/>
              <a:gd name="connsiteX1638" fmla="*/ 4368662 w 8079933"/>
              <a:gd name="connsiteY1638" fmla="*/ 3744754 h 4687251"/>
              <a:gd name="connsiteX1639" fmla="*/ 4369765 w 8079933"/>
              <a:gd name="connsiteY1639" fmla="*/ 3744754 h 4687251"/>
              <a:gd name="connsiteX1640" fmla="*/ 4369205 w 8079933"/>
              <a:gd name="connsiteY1640" fmla="*/ 3743671 h 4687251"/>
              <a:gd name="connsiteX1641" fmla="*/ 4608594 w 8079933"/>
              <a:gd name="connsiteY1641" fmla="*/ 3741831 h 4687251"/>
              <a:gd name="connsiteX1642" fmla="*/ 4604951 w 8079933"/>
              <a:gd name="connsiteY1642" fmla="*/ 3742900 h 4687251"/>
              <a:gd name="connsiteX1643" fmla="*/ 4605121 w 8079933"/>
              <a:gd name="connsiteY1643" fmla="*/ 3743021 h 4687251"/>
              <a:gd name="connsiteX1644" fmla="*/ 4608810 w 8079933"/>
              <a:gd name="connsiteY1644" fmla="*/ 3742047 h 4687251"/>
              <a:gd name="connsiteX1645" fmla="*/ 4613832 w 8079933"/>
              <a:gd name="connsiteY1645" fmla="*/ 3745909 h 4687251"/>
              <a:gd name="connsiteX1646" fmla="*/ 4613802 w 8079933"/>
              <a:gd name="connsiteY1646" fmla="*/ 3745837 h 4687251"/>
              <a:gd name="connsiteX1647" fmla="*/ 4601431 w 8079933"/>
              <a:gd name="connsiteY1647" fmla="*/ 3740423 h 4687251"/>
              <a:gd name="connsiteX1648" fmla="*/ 4600098 w 8079933"/>
              <a:gd name="connsiteY1648" fmla="*/ 3741446 h 4687251"/>
              <a:gd name="connsiteX1649" fmla="*/ 4600346 w 8079933"/>
              <a:gd name="connsiteY1649" fmla="*/ 3741614 h 4687251"/>
              <a:gd name="connsiteX1650" fmla="*/ 4601618 w 8079933"/>
              <a:gd name="connsiteY1650" fmla="*/ 3740557 h 4687251"/>
              <a:gd name="connsiteX1651" fmla="*/ 4596272 w 8079933"/>
              <a:gd name="connsiteY1651" fmla="*/ 3739882 h 4687251"/>
              <a:gd name="connsiteX1652" fmla="*/ 4597887 w 8079933"/>
              <a:gd name="connsiteY1652" fmla="*/ 3739986 h 4687251"/>
              <a:gd name="connsiteX1653" fmla="*/ 4597741 w 8079933"/>
              <a:gd name="connsiteY1653" fmla="*/ 3739882 h 4687251"/>
              <a:gd name="connsiteX1654" fmla="*/ 4594378 w 8079933"/>
              <a:gd name="connsiteY1654" fmla="*/ 3739882 h 4687251"/>
              <a:gd name="connsiteX1655" fmla="*/ 4593510 w 8079933"/>
              <a:gd name="connsiteY1655" fmla="*/ 3741722 h 4687251"/>
              <a:gd name="connsiteX1656" fmla="*/ 4590471 w 8079933"/>
              <a:gd name="connsiteY1656" fmla="*/ 3743563 h 4687251"/>
              <a:gd name="connsiteX1657" fmla="*/ 4588409 w 8079933"/>
              <a:gd name="connsiteY1657" fmla="*/ 3745837 h 4687251"/>
              <a:gd name="connsiteX1658" fmla="*/ 4579619 w 8079933"/>
              <a:gd name="connsiteY1658" fmla="*/ 3747353 h 4687251"/>
              <a:gd name="connsiteX1659" fmla="*/ 4574302 w 8079933"/>
              <a:gd name="connsiteY1659" fmla="*/ 3752008 h 4687251"/>
              <a:gd name="connsiteX1660" fmla="*/ 4572023 w 8079933"/>
              <a:gd name="connsiteY1660" fmla="*/ 3758179 h 4687251"/>
              <a:gd name="connsiteX1661" fmla="*/ 4565729 w 8079933"/>
              <a:gd name="connsiteY1661" fmla="*/ 3763052 h 4687251"/>
              <a:gd name="connsiteX1662" fmla="*/ 4562474 w 8079933"/>
              <a:gd name="connsiteY1662" fmla="*/ 3765325 h 4687251"/>
              <a:gd name="connsiteX1663" fmla="*/ 4564427 w 8079933"/>
              <a:gd name="connsiteY1663" fmla="*/ 3769873 h 4687251"/>
              <a:gd name="connsiteX1664" fmla="*/ 4567249 w 8079933"/>
              <a:gd name="connsiteY1664" fmla="*/ 3772579 h 4687251"/>
              <a:gd name="connsiteX1665" fmla="*/ 4567791 w 8079933"/>
              <a:gd name="connsiteY1665" fmla="*/ 3775069 h 4687251"/>
              <a:gd name="connsiteX1666" fmla="*/ 4570236 w 8079933"/>
              <a:gd name="connsiteY1666" fmla="*/ 3777510 h 4687251"/>
              <a:gd name="connsiteX1667" fmla="*/ 4568117 w 8079933"/>
              <a:gd name="connsiteY1667" fmla="*/ 3775070 h 4687251"/>
              <a:gd name="connsiteX1668" fmla="*/ 4567466 w 8079933"/>
              <a:gd name="connsiteY1668" fmla="*/ 3772688 h 4687251"/>
              <a:gd name="connsiteX1669" fmla="*/ 4564753 w 8079933"/>
              <a:gd name="connsiteY1669" fmla="*/ 3769873 h 4687251"/>
              <a:gd name="connsiteX1670" fmla="*/ 4562691 w 8079933"/>
              <a:gd name="connsiteY1670" fmla="*/ 3765325 h 4687251"/>
              <a:gd name="connsiteX1671" fmla="*/ 4565946 w 8079933"/>
              <a:gd name="connsiteY1671" fmla="*/ 3763051 h 4687251"/>
              <a:gd name="connsiteX1672" fmla="*/ 4572240 w 8079933"/>
              <a:gd name="connsiteY1672" fmla="*/ 3758180 h 4687251"/>
              <a:gd name="connsiteX1673" fmla="*/ 4574519 w 8079933"/>
              <a:gd name="connsiteY1673" fmla="*/ 3752008 h 4687251"/>
              <a:gd name="connsiteX1674" fmla="*/ 4579837 w 8079933"/>
              <a:gd name="connsiteY1674" fmla="*/ 3747352 h 4687251"/>
              <a:gd name="connsiteX1675" fmla="*/ 4588626 w 8079933"/>
              <a:gd name="connsiteY1675" fmla="*/ 3745837 h 4687251"/>
              <a:gd name="connsiteX1676" fmla="*/ 4590688 w 8079933"/>
              <a:gd name="connsiteY1676" fmla="*/ 3743455 h 4687251"/>
              <a:gd name="connsiteX1677" fmla="*/ 4593727 w 8079933"/>
              <a:gd name="connsiteY1677" fmla="*/ 3741723 h 4687251"/>
              <a:gd name="connsiteX1678" fmla="*/ 4594547 w 8079933"/>
              <a:gd name="connsiteY1678" fmla="*/ 3739882 h 4687251"/>
              <a:gd name="connsiteX1679" fmla="*/ 2654751 w 8079933"/>
              <a:gd name="connsiteY1679" fmla="*/ 3738137 h 4687251"/>
              <a:gd name="connsiteX1680" fmla="*/ 2654425 w 8079933"/>
              <a:gd name="connsiteY1680" fmla="*/ 3738257 h 4687251"/>
              <a:gd name="connsiteX1681" fmla="*/ 2654107 w 8079933"/>
              <a:gd name="connsiteY1681" fmla="*/ 3743972 h 4687251"/>
              <a:gd name="connsiteX1682" fmla="*/ 2654751 w 8079933"/>
              <a:gd name="connsiteY1682" fmla="*/ 3743779 h 4687251"/>
              <a:gd name="connsiteX1683" fmla="*/ 4335372 w 8079933"/>
              <a:gd name="connsiteY1683" fmla="*/ 3727934 h 4687251"/>
              <a:gd name="connsiteX1684" fmla="*/ 4334155 w 8079933"/>
              <a:gd name="connsiteY1684" fmla="*/ 3731003 h 4687251"/>
              <a:gd name="connsiteX1685" fmla="*/ 4337627 w 8079933"/>
              <a:gd name="connsiteY1685" fmla="*/ 3738041 h 4687251"/>
              <a:gd name="connsiteX1686" fmla="*/ 4338920 w 8079933"/>
              <a:gd name="connsiteY1686" fmla="*/ 3738316 h 4687251"/>
              <a:gd name="connsiteX1687" fmla="*/ 4336433 w 8079933"/>
              <a:gd name="connsiteY1687" fmla="*/ 3733277 h 4687251"/>
              <a:gd name="connsiteX1688" fmla="*/ 4338495 w 8079933"/>
              <a:gd name="connsiteY1688" fmla="*/ 3728079 h 4687251"/>
              <a:gd name="connsiteX1689" fmla="*/ 2672124 w 8079933"/>
              <a:gd name="connsiteY1689" fmla="*/ 3725617 h 4687251"/>
              <a:gd name="connsiteX1690" fmla="*/ 2672005 w 8079933"/>
              <a:gd name="connsiteY1690" fmla="*/ 3725698 h 4687251"/>
              <a:gd name="connsiteX1691" fmla="*/ 2670331 w 8079933"/>
              <a:gd name="connsiteY1691" fmla="*/ 3728449 h 4687251"/>
              <a:gd name="connsiteX1692" fmla="*/ 2670485 w 8079933"/>
              <a:gd name="connsiteY1692" fmla="*/ 3728405 h 4687251"/>
              <a:gd name="connsiteX1693" fmla="*/ 2635869 w 8079933"/>
              <a:gd name="connsiteY1693" fmla="*/ 3724832 h 4687251"/>
              <a:gd name="connsiteX1694" fmla="*/ 2637064 w 8079933"/>
              <a:gd name="connsiteY1694" fmla="*/ 3726132 h 4687251"/>
              <a:gd name="connsiteX1695" fmla="*/ 2635870 w 8079933"/>
              <a:gd name="connsiteY1695" fmla="*/ 3724832 h 4687251"/>
              <a:gd name="connsiteX1696" fmla="*/ 4331115 w 8079933"/>
              <a:gd name="connsiteY1696" fmla="*/ 3722991 h 4687251"/>
              <a:gd name="connsiteX1697" fmla="*/ 4330201 w 8079933"/>
              <a:gd name="connsiteY1697" fmla="*/ 3723329 h 4687251"/>
              <a:gd name="connsiteX1698" fmla="*/ 4331551 w 8079933"/>
              <a:gd name="connsiteY1698" fmla="*/ 3725807 h 4687251"/>
              <a:gd name="connsiteX1699" fmla="*/ 4332683 w 8079933"/>
              <a:gd name="connsiteY1699" fmla="*/ 3725807 h 4687251"/>
              <a:gd name="connsiteX1700" fmla="*/ 2687772 w 8079933"/>
              <a:gd name="connsiteY1700" fmla="*/ 3715179 h 4687251"/>
              <a:gd name="connsiteX1701" fmla="*/ 2687740 w 8079933"/>
              <a:gd name="connsiteY1701" fmla="*/ 3715196 h 4687251"/>
              <a:gd name="connsiteX1702" fmla="*/ 2686983 w 8079933"/>
              <a:gd name="connsiteY1702" fmla="*/ 3716801 h 4687251"/>
              <a:gd name="connsiteX1703" fmla="*/ 2687089 w 8079933"/>
              <a:gd name="connsiteY1703" fmla="*/ 3716712 h 4687251"/>
              <a:gd name="connsiteX1704" fmla="*/ 2351540 w 8079933"/>
              <a:gd name="connsiteY1704" fmla="*/ 3713684 h 4687251"/>
              <a:gd name="connsiteX1705" fmla="*/ 2351555 w 8079933"/>
              <a:gd name="connsiteY1705" fmla="*/ 3714006 h 4687251"/>
              <a:gd name="connsiteX1706" fmla="*/ 2353726 w 8079933"/>
              <a:gd name="connsiteY1706" fmla="*/ 3716387 h 4687251"/>
              <a:gd name="connsiteX1707" fmla="*/ 2353726 w 8079933"/>
              <a:gd name="connsiteY1707" fmla="*/ 3716387 h 4687251"/>
              <a:gd name="connsiteX1708" fmla="*/ 2351555 w 8079933"/>
              <a:gd name="connsiteY1708" fmla="*/ 3714005 h 4687251"/>
              <a:gd name="connsiteX1709" fmla="*/ 2346564 w 8079933"/>
              <a:gd name="connsiteY1709" fmla="*/ 3701445 h 4687251"/>
              <a:gd name="connsiteX1710" fmla="*/ 2346564 w 8079933"/>
              <a:gd name="connsiteY1710" fmla="*/ 3701446 h 4687251"/>
              <a:gd name="connsiteX1711" fmla="*/ 2348816 w 8079933"/>
              <a:gd name="connsiteY1711" fmla="*/ 3703277 h 4687251"/>
              <a:gd name="connsiteX1712" fmla="*/ 6608012 w 8079933"/>
              <a:gd name="connsiteY1712" fmla="*/ 3699821 h 4687251"/>
              <a:gd name="connsiteX1713" fmla="*/ 6610616 w 8079933"/>
              <a:gd name="connsiteY1713" fmla="*/ 3707725 h 4687251"/>
              <a:gd name="connsiteX1714" fmla="*/ 6608663 w 8079933"/>
              <a:gd name="connsiteY1714" fmla="*/ 3714762 h 4687251"/>
              <a:gd name="connsiteX1715" fmla="*/ 6605733 w 8079933"/>
              <a:gd name="connsiteY1715" fmla="*/ 3705343 h 4687251"/>
              <a:gd name="connsiteX1716" fmla="*/ 7574353 w 8079933"/>
              <a:gd name="connsiteY1716" fmla="*/ 3697440 h 4687251"/>
              <a:gd name="connsiteX1717" fmla="*/ 7576632 w 8079933"/>
              <a:gd name="connsiteY1717" fmla="*/ 3697764 h 4687251"/>
              <a:gd name="connsiteX1718" fmla="*/ 7577501 w 8079933"/>
              <a:gd name="connsiteY1718" fmla="*/ 3703178 h 4687251"/>
              <a:gd name="connsiteX1719" fmla="*/ 7576415 w 8079933"/>
              <a:gd name="connsiteY1719" fmla="*/ 3709891 h 4687251"/>
              <a:gd name="connsiteX1720" fmla="*/ 7571098 w 8079933"/>
              <a:gd name="connsiteY1720" fmla="*/ 3717145 h 4687251"/>
              <a:gd name="connsiteX1721" fmla="*/ 7569904 w 8079933"/>
              <a:gd name="connsiteY1721" fmla="*/ 3726780 h 4687251"/>
              <a:gd name="connsiteX1722" fmla="*/ 7571315 w 8079933"/>
              <a:gd name="connsiteY1722" fmla="*/ 3731436 h 4687251"/>
              <a:gd name="connsiteX1723" fmla="*/ 7568493 w 8079933"/>
              <a:gd name="connsiteY1723" fmla="*/ 3730570 h 4687251"/>
              <a:gd name="connsiteX1724" fmla="*/ 7566323 w 8079933"/>
              <a:gd name="connsiteY1724" fmla="*/ 3723533 h 4687251"/>
              <a:gd name="connsiteX1725" fmla="*/ 7567191 w 8079933"/>
              <a:gd name="connsiteY1725" fmla="*/ 3718660 h 4687251"/>
              <a:gd name="connsiteX1726" fmla="*/ 7567625 w 8079933"/>
              <a:gd name="connsiteY1726" fmla="*/ 3714438 h 4687251"/>
              <a:gd name="connsiteX1727" fmla="*/ 7571749 w 8079933"/>
              <a:gd name="connsiteY1727" fmla="*/ 3709566 h 4687251"/>
              <a:gd name="connsiteX1728" fmla="*/ 7574353 w 8079933"/>
              <a:gd name="connsiteY1728" fmla="*/ 3704369 h 4687251"/>
              <a:gd name="connsiteX1729" fmla="*/ 7573051 w 8079933"/>
              <a:gd name="connsiteY1729" fmla="*/ 3701121 h 4687251"/>
              <a:gd name="connsiteX1730" fmla="*/ 2593356 w 8079933"/>
              <a:gd name="connsiteY1730" fmla="*/ 3694633 h 4687251"/>
              <a:gd name="connsiteX1731" fmla="*/ 2594090 w 8079933"/>
              <a:gd name="connsiteY1731" fmla="*/ 3697440 h 4687251"/>
              <a:gd name="connsiteX1732" fmla="*/ 2590726 w 8079933"/>
              <a:gd name="connsiteY1732" fmla="*/ 3706751 h 4687251"/>
              <a:gd name="connsiteX1733" fmla="*/ 2583238 w 8079933"/>
              <a:gd name="connsiteY1733" fmla="*/ 3714330 h 4687251"/>
              <a:gd name="connsiteX1734" fmla="*/ 2581936 w 8079933"/>
              <a:gd name="connsiteY1734" fmla="*/ 3719634 h 4687251"/>
              <a:gd name="connsiteX1735" fmla="*/ 2581937 w 8079933"/>
              <a:gd name="connsiteY1735" fmla="*/ 3719634 h 4687251"/>
              <a:gd name="connsiteX1736" fmla="*/ 2583239 w 8079933"/>
              <a:gd name="connsiteY1736" fmla="*/ 3714330 h 4687251"/>
              <a:gd name="connsiteX1737" fmla="*/ 2590726 w 8079933"/>
              <a:gd name="connsiteY1737" fmla="*/ 3706751 h 4687251"/>
              <a:gd name="connsiteX1738" fmla="*/ 2594090 w 8079933"/>
              <a:gd name="connsiteY1738" fmla="*/ 3697440 h 4687251"/>
              <a:gd name="connsiteX1739" fmla="*/ 4684121 w 8079933"/>
              <a:gd name="connsiteY1739" fmla="*/ 3692134 h 4687251"/>
              <a:gd name="connsiteX1740" fmla="*/ 4684121 w 8079933"/>
              <a:gd name="connsiteY1740" fmla="*/ 3692134 h 4687251"/>
              <a:gd name="connsiteX1741" fmla="*/ 4684121 w 8079933"/>
              <a:gd name="connsiteY1741" fmla="*/ 3692138 h 4687251"/>
              <a:gd name="connsiteX1742" fmla="*/ 4659748 w 8079933"/>
              <a:gd name="connsiteY1742" fmla="*/ 3691422 h 4687251"/>
              <a:gd name="connsiteX1743" fmla="*/ 4662201 w 8079933"/>
              <a:gd name="connsiteY1743" fmla="*/ 3695924 h 4687251"/>
              <a:gd name="connsiteX1744" fmla="*/ 4662387 w 8079933"/>
              <a:gd name="connsiteY1744" fmla="*/ 3696027 h 4687251"/>
              <a:gd name="connsiteX1745" fmla="*/ 4659814 w 8079933"/>
              <a:gd name="connsiteY1745" fmla="*/ 3691484 h 4687251"/>
              <a:gd name="connsiteX1746" fmla="*/ 6611484 w 8079933"/>
              <a:gd name="connsiteY1746" fmla="*/ 3686073 h 4687251"/>
              <a:gd name="connsiteX1747" fmla="*/ 6611484 w 8079933"/>
              <a:gd name="connsiteY1747" fmla="*/ 3692569 h 4687251"/>
              <a:gd name="connsiteX1748" fmla="*/ 6609639 w 8079933"/>
              <a:gd name="connsiteY1748" fmla="*/ 3696900 h 4687251"/>
              <a:gd name="connsiteX1749" fmla="*/ 2698049 w 8079933"/>
              <a:gd name="connsiteY1749" fmla="*/ 3685541 h 4687251"/>
              <a:gd name="connsiteX1750" fmla="*/ 2697832 w 8079933"/>
              <a:gd name="connsiteY1750" fmla="*/ 3690943 h 4687251"/>
              <a:gd name="connsiteX1751" fmla="*/ 2698917 w 8079933"/>
              <a:gd name="connsiteY1751" fmla="*/ 3700254 h 4687251"/>
              <a:gd name="connsiteX1752" fmla="*/ 2699776 w 8079933"/>
              <a:gd name="connsiteY1752" fmla="*/ 3708715 h 4687251"/>
              <a:gd name="connsiteX1753" fmla="*/ 2700003 w 8079933"/>
              <a:gd name="connsiteY1753" fmla="*/ 3708159 h 4687251"/>
              <a:gd name="connsiteX1754" fmla="*/ 2699134 w 8079933"/>
              <a:gd name="connsiteY1754" fmla="*/ 3699605 h 4687251"/>
              <a:gd name="connsiteX1755" fmla="*/ 2698049 w 8079933"/>
              <a:gd name="connsiteY1755" fmla="*/ 3690294 h 4687251"/>
              <a:gd name="connsiteX1756" fmla="*/ 2346566 w 8079933"/>
              <a:gd name="connsiteY1756" fmla="*/ 3680322 h 4687251"/>
              <a:gd name="connsiteX1757" fmla="*/ 2346672 w 8079933"/>
              <a:gd name="connsiteY1757" fmla="*/ 3680983 h 4687251"/>
              <a:gd name="connsiteX1758" fmla="*/ 2351881 w 8079933"/>
              <a:gd name="connsiteY1758" fmla="*/ 3687478 h 4687251"/>
              <a:gd name="connsiteX1759" fmla="*/ 2351881 w 8079933"/>
              <a:gd name="connsiteY1759" fmla="*/ 3687478 h 4687251"/>
              <a:gd name="connsiteX1760" fmla="*/ 2346672 w 8079933"/>
              <a:gd name="connsiteY1760" fmla="*/ 3680983 h 4687251"/>
              <a:gd name="connsiteX1761" fmla="*/ 2676346 w 8079933"/>
              <a:gd name="connsiteY1761" fmla="*/ 3676651 h 4687251"/>
              <a:gd name="connsiteX1762" fmla="*/ 2676346 w 8079933"/>
              <a:gd name="connsiteY1762" fmla="*/ 3676652 h 4687251"/>
              <a:gd name="connsiteX1763" fmla="*/ 2676552 w 8079933"/>
              <a:gd name="connsiteY1763" fmla="*/ 3677243 h 4687251"/>
              <a:gd name="connsiteX1764" fmla="*/ 2604399 w 8079933"/>
              <a:gd name="connsiteY1764" fmla="*/ 3674594 h 4687251"/>
              <a:gd name="connsiteX1765" fmla="*/ 2602880 w 8079933"/>
              <a:gd name="connsiteY1765" fmla="*/ 3679791 h 4687251"/>
              <a:gd name="connsiteX1766" fmla="*/ 2599299 w 8079933"/>
              <a:gd name="connsiteY1766" fmla="*/ 3685422 h 4687251"/>
              <a:gd name="connsiteX1767" fmla="*/ 2595175 w 8079933"/>
              <a:gd name="connsiteY1767" fmla="*/ 3688561 h 4687251"/>
              <a:gd name="connsiteX1768" fmla="*/ 2592788 w 8079933"/>
              <a:gd name="connsiteY1768" fmla="*/ 3692459 h 4687251"/>
              <a:gd name="connsiteX1769" fmla="*/ 2592788 w 8079933"/>
              <a:gd name="connsiteY1769" fmla="*/ 3692459 h 4687251"/>
              <a:gd name="connsiteX1770" fmla="*/ 2595175 w 8079933"/>
              <a:gd name="connsiteY1770" fmla="*/ 3688562 h 4687251"/>
              <a:gd name="connsiteX1771" fmla="*/ 2599299 w 8079933"/>
              <a:gd name="connsiteY1771" fmla="*/ 3685422 h 4687251"/>
              <a:gd name="connsiteX1772" fmla="*/ 2602880 w 8079933"/>
              <a:gd name="connsiteY1772" fmla="*/ 3679792 h 4687251"/>
              <a:gd name="connsiteX1773" fmla="*/ 2604399 w 8079933"/>
              <a:gd name="connsiteY1773" fmla="*/ 3674596 h 4687251"/>
              <a:gd name="connsiteX1774" fmla="*/ 2693668 w 8079933"/>
              <a:gd name="connsiteY1774" fmla="*/ 3672152 h 4687251"/>
              <a:gd name="connsiteX1775" fmla="*/ 2693708 w 8079933"/>
              <a:gd name="connsiteY1775" fmla="*/ 3672753 h 4687251"/>
              <a:gd name="connsiteX1776" fmla="*/ 2698049 w 8079933"/>
              <a:gd name="connsiteY1776" fmla="*/ 3682576 h 4687251"/>
              <a:gd name="connsiteX1777" fmla="*/ 2698049 w 8079933"/>
              <a:gd name="connsiteY1777" fmla="*/ 3682173 h 4687251"/>
              <a:gd name="connsiteX1778" fmla="*/ 2678625 w 8079933"/>
              <a:gd name="connsiteY1778" fmla="*/ 3665429 h 4687251"/>
              <a:gd name="connsiteX1779" fmla="*/ 2678408 w 8079933"/>
              <a:gd name="connsiteY1779" fmla="*/ 3666258 h 4687251"/>
              <a:gd name="connsiteX1780" fmla="*/ 2678191 w 8079933"/>
              <a:gd name="connsiteY1780" fmla="*/ 3669073 h 4687251"/>
              <a:gd name="connsiteX1781" fmla="*/ 2682314 w 8079933"/>
              <a:gd name="connsiteY1781" fmla="*/ 3666365 h 4687251"/>
              <a:gd name="connsiteX1782" fmla="*/ 2693383 w 8079933"/>
              <a:gd name="connsiteY1782" fmla="*/ 3667881 h 4687251"/>
              <a:gd name="connsiteX1783" fmla="*/ 2693600 w 8079933"/>
              <a:gd name="connsiteY1783" fmla="*/ 3671128 h 4687251"/>
              <a:gd name="connsiteX1784" fmla="*/ 2693600 w 8079933"/>
              <a:gd name="connsiteY1784" fmla="*/ 3667124 h 4687251"/>
              <a:gd name="connsiteX1785" fmla="*/ 2682748 w 8079933"/>
              <a:gd name="connsiteY1785" fmla="*/ 3665608 h 4687251"/>
              <a:gd name="connsiteX1786" fmla="*/ 2678625 w 8079933"/>
              <a:gd name="connsiteY1786" fmla="*/ 3668315 h 4687251"/>
              <a:gd name="connsiteX1787" fmla="*/ 4527206 w 8079933"/>
              <a:gd name="connsiteY1787" fmla="*/ 3663768 h 4687251"/>
              <a:gd name="connsiteX1788" fmla="*/ 4526784 w 8079933"/>
              <a:gd name="connsiteY1788" fmla="*/ 3663828 h 4687251"/>
              <a:gd name="connsiteX1789" fmla="*/ 4526989 w 8079933"/>
              <a:gd name="connsiteY1789" fmla="*/ 3664093 h 4687251"/>
              <a:gd name="connsiteX1790" fmla="*/ 4527643 w 8079933"/>
              <a:gd name="connsiteY1790" fmla="*/ 3664359 h 4687251"/>
              <a:gd name="connsiteX1791" fmla="*/ 2679276 w 8079933"/>
              <a:gd name="connsiteY1791" fmla="*/ 3660390 h 4687251"/>
              <a:gd name="connsiteX1792" fmla="*/ 2679059 w 8079933"/>
              <a:gd name="connsiteY1792" fmla="*/ 3660736 h 4687251"/>
              <a:gd name="connsiteX1793" fmla="*/ 2679059 w 8079933"/>
              <a:gd name="connsiteY1793" fmla="*/ 3663732 h 4687251"/>
              <a:gd name="connsiteX1794" fmla="*/ 2679276 w 8079933"/>
              <a:gd name="connsiteY1794" fmla="*/ 3662902 h 4687251"/>
              <a:gd name="connsiteX1795" fmla="*/ 2342007 w 8079933"/>
              <a:gd name="connsiteY1795" fmla="*/ 3659328 h 4687251"/>
              <a:gd name="connsiteX1796" fmla="*/ 2342006 w 8079933"/>
              <a:gd name="connsiteY1796" fmla="*/ 3659329 h 4687251"/>
              <a:gd name="connsiteX1797" fmla="*/ 2346998 w 8079933"/>
              <a:gd name="connsiteY1797" fmla="*/ 3663443 h 4687251"/>
              <a:gd name="connsiteX1798" fmla="*/ 2346998 w 8079933"/>
              <a:gd name="connsiteY1798" fmla="*/ 3663442 h 4687251"/>
              <a:gd name="connsiteX1799" fmla="*/ 7529536 w 8079933"/>
              <a:gd name="connsiteY1799" fmla="*/ 3658571 h 4687251"/>
              <a:gd name="connsiteX1800" fmla="*/ 7531814 w 8079933"/>
              <a:gd name="connsiteY1800" fmla="*/ 3660195 h 4687251"/>
              <a:gd name="connsiteX1801" fmla="*/ 7534745 w 8079933"/>
              <a:gd name="connsiteY1801" fmla="*/ 3660520 h 4687251"/>
              <a:gd name="connsiteX1802" fmla="*/ 7534310 w 8079933"/>
              <a:gd name="connsiteY1802" fmla="*/ 3663551 h 4687251"/>
              <a:gd name="connsiteX1803" fmla="*/ 7536155 w 8079933"/>
              <a:gd name="connsiteY1803" fmla="*/ 3665717 h 4687251"/>
              <a:gd name="connsiteX1804" fmla="*/ 7535179 w 8079933"/>
              <a:gd name="connsiteY1804" fmla="*/ 3669939 h 4687251"/>
              <a:gd name="connsiteX1805" fmla="*/ 7532791 w 8079933"/>
              <a:gd name="connsiteY1805" fmla="*/ 3665717 h 4687251"/>
              <a:gd name="connsiteX1806" fmla="*/ 7528451 w 8079933"/>
              <a:gd name="connsiteY1806" fmla="*/ 3659761 h 4687251"/>
              <a:gd name="connsiteX1807" fmla="*/ 4490785 w 8079933"/>
              <a:gd name="connsiteY1807" fmla="*/ 3656504 h 4687251"/>
              <a:gd name="connsiteX1808" fmla="*/ 4491287 w 8079933"/>
              <a:gd name="connsiteY1808" fmla="*/ 3657163 h 4687251"/>
              <a:gd name="connsiteX1809" fmla="*/ 4491346 w 8079933"/>
              <a:gd name="connsiteY1809" fmla="*/ 3657163 h 4687251"/>
              <a:gd name="connsiteX1810" fmla="*/ 4490852 w 8079933"/>
              <a:gd name="connsiteY1810" fmla="*/ 3656513 h 4687251"/>
              <a:gd name="connsiteX1811" fmla="*/ 4410212 w 8079933"/>
              <a:gd name="connsiteY1811" fmla="*/ 3649570 h 4687251"/>
              <a:gd name="connsiteX1812" fmla="*/ 4412287 w 8079933"/>
              <a:gd name="connsiteY1812" fmla="*/ 3655214 h 4687251"/>
              <a:gd name="connsiteX1813" fmla="*/ 4418472 w 8079933"/>
              <a:gd name="connsiteY1813" fmla="*/ 3668640 h 4687251"/>
              <a:gd name="connsiteX1814" fmla="*/ 4418472 w 8079933"/>
              <a:gd name="connsiteY1814" fmla="*/ 3675136 h 4687251"/>
              <a:gd name="connsiteX1815" fmla="*/ 4415000 w 8079933"/>
              <a:gd name="connsiteY1815" fmla="*/ 3682823 h 4687251"/>
              <a:gd name="connsiteX1816" fmla="*/ 4415000 w 8079933"/>
              <a:gd name="connsiteY1816" fmla="*/ 3687370 h 4687251"/>
              <a:gd name="connsiteX1817" fmla="*/ 4417189 w 8079933"/>
              <a:gd name="connsiteY1817" fmla="*/ 3687074 h 4687251"/>
              <a:gd name="connsiteX1818" fmla="*/ 4417278 w 8079933"/>
              <a:gd name="connsiteY1818" fmla="*/ 3685206 h 4687251"/>
              <a:gd name="connsiteX1819" fmla="*/ 4420750 w 8079933"/>
              <a:gd name="connsiteY1819" fmla="*/ 3677518 h 4687251"/>
              <a:gd name="connsiteX1820" fmla="*/ 4420859 w 8079933"/>
              <a:gd name="connsiteY1820" fmla="*/ 3671022 h 4687251"/>
              <a:gd name="connsiteX1821" fmla="*/ 4414674 w 8079933"/>
              <a:gd name="connsiteY1821" fmla="*/ 3657596 h 4687251"/>
              <a:gd name="connsiteX1822" fmla="*/ 4412286 w 8079933"/>
              <a:gd name="connsiteY1822" fmla="*/ 3651100 h 4687251"/>
              <a:gd name="connsiteX1823" fmla="*/ 2681545 w 8079933"/>
              <a:gd name="connsiteY1823" fmla="*/ 3634320 h 4687251"/>
              <a:gd name="connsiteX1824" fmla="*/ 2681229 w 8079933"/>
              <a:gd name="connsiteY1824" fmla="*/ 3634860 h 4687251"/>
              <a:gd name="connsiteX1825" fmla="*/ 2680578 w 8079933"/>
              <a:gd name="connsiteY1825" fmla="*/ 3657269 h 4687251"/>
              <a:gd name="connsiteX1826" fmla="*/ 2680903 w 8079933"/>
              <a:gd name="connsiteY1826" fmla="*/ 3656405 h 4687251"/>
              <a:gd name="connsiteX1827" fmla="*/ 7521722 w 8079933"/>
              <a:gd name="connsiteY1827" fmla="*/ 3623274 h 4687251"/>
              <a:gd name="connsiteX1828" fmla="*/ 7522265 w 8079933"/>
              <a:gd name="connsiteY1828" fmla="*/ 3625981 h 4687251"/>
              <a:gd name="connsiteX1829" fmla="*/ 7519769 w 8079933"/>
              <a:gd name="connsiteY1829" fmla="*/ 3625331 h 4687251"/>
              <a:gd name="connsiteX1830" fmla="*/ 2444228 w 8079933"/>
              <a:gd name="connsiteY1830" fmla="*/ 3591442 h 4687251"/>
              <a:gd name="connsiteX1831" fmla="*/ 2441515 w 8079933"/>
              <a:gd name="connsiteY1831" fmla="*/ 3595990 h 4687251"/>
              <a:gd name="connsiteX1832" fmla="*/ 2444228 w 8079933"/>
              <a:gd name="connsiteY1832" fmla="*/ 3591442 h 4687251"/>
              <a:gd name="connsiteX1833" fmla="*/ 2429677 w 8079933"/>
              <a:gd name="connsiteY1833" fmla="*/ 3583645 h 4687251"/>
              <a:gd name="connsiteX1834" fmla="*/ 2433594 w 8079933"/>
              <a:gd name="connsiteY1834" fmla="*/ 3584297 h 4687251"/>
              <a:gd name="connsiteX1835" fmla="*/ 2434571 w 8079933"/>
              <a:gd name="connsiteY1835" fmla="*/ 3590468 h 4687251"/>
              <a:gd name="connsiteX1836" fmla="*/ 2433594 w 8079933"/>
              <a:gd name="connsiteY1836" fmla="*/ 3584296 h 4687251"/>
              <a:gd name="connsiteX1837" fmla="*/ 2448026 w 8079933"/>
              <a:gd name="connsiteY1837" fmla="*/ 3581482 h 4687251"/>
              <a:gd name="connsiteX1838" fmla="*/ 2444228 w 8079933"/>
              <a:gd name="connsiteY1838" fmla="*/ 3587003 h 4687251"/>
              <a:gd name="connsiteX1839" fmla="*/ 2444228 w 8079933"/>
              <a:gd name="connsiteY1839" fmla="*/ 3587003 h 4687251"/>
              <a:gd name="connsiteX1840" fmla="*/ 2398325 w 8079933"/>
              <a:gd name="connsiteY1840" fmla="*/ 3580399 h 4687251"/>
              <a:gd name="connsiteX1841" fmla="*/ 2392140 w 8079933"/>
              <a:gd name="connsiteY1841" fmla="*/ 3582456 h 4687251"/>
              <a:gd name="connsiteX1842" fmla="*/ 2382808 w 8079933"/>
              <a:gd name="connsiteY1842" fmla="*/ 3592092 h 4687251"/>
              <a:gd name="connsiteX1843" fmla="*/ 2378684 w 8079933"/>
              <a:gd name="connsiteY1843" fmla="*/ 3600753 h 4687251"/>
              <a:gd name="connsiteX1844" fmla="*/ 2375646 w 8079933"/>
              <a:gd name="connsiteY1844" fmla="*/ 3604543 h 4687251"/>
              <a:gd name="connsiteX1845" fmla="*/ 2371739 w 8079933"/>
              <a:gd name="connsiteY1845" fmla="*/ 3605192 h 4687251"/>
              <a:gd name="connsiteX1846" fmla="*/ 2370111 w 8079933"/>
              <a:gd name="connsiteY1846" fmla="*/ 3608332 h 4687251"/>
              <a:gd name="connsiteX1847" fmla="*/ 2363492 w 8079933"/>
              <a:gd name="connsiteY1847" fmla="*/ 3608332 h 4687251"/>
              <a:gd name="connsiteX1848" fmla="*/ 2363493 w 8079933"/>
              <a:gd name="connsiteY1848" fmla="*/ 3608333 h 4687251"/>
              <a:gd name="connsiteX1849" fmla="*/ 2370112 w 8079933"/>
              <a:gd name="connsiteY1849" fmla="*/ 3608333 h 4687251"/>
              <a:gd name="connsiteX1850" fmla="*/ 2371740 w 8079933"/>
              <a:gd name="connsiteY1850" fmla="*/ 3605194 h 4687251"/>
              <a:gd name="connsiteX1851" fmla="*/ 2375646 w 8079933"/>
              <a:gd name="connsiteY1851" fmla="*/ 3604544 h 4687251"/>
              <a:gd name="connsiteX1852" fmla="*/ 2376884 w 8079933"/>
              <a:gd name="connsiteY1852" fmla="*/ 3607099 h 4687251"/>
              <a:gd name="connsiteX1853" fmla="*/ 2375646 w 8079933"/>
              <a:gd name="connsiteY1853" fmla="*/ 3604543 h 4687251"/>
              <a:gd name="connsiteX1854" fmla="*/ 2378684 w 8079933"/>
              <a:gd name="connsiteY1854" fmla="*/ 3600754 h 4687251"/>
              <a:gd name="connsiteX1855" fmla="*/ 2382808 w 8079933"/>
              <a:gd name="connsiteY1855" fmla="*/ 3592092 h 4687251"/>
              <a:gd name="connsiteX1856" fmla="*/ 2392141 w 8079933"/>
              <a:gd name="connsiteY1856" fmla="*/ 3582456 h 4687251"/>
              <a:gd name="connsiteX1857" fmla="*/ 2398325 w 8079933"/>
              <a:gd name="connsiteY1857" fmla="*/ 3580399 h 4687251"/>
              <a:gd name="connsiteX1858" fmla="*/ 2404186 w 8079933"/>
              <a:gd name="connsiteY1858" fmla="*/ 3585596 h 4687251"/>
              <a:gd name="connsiteX1859" fmla="*/ 2411131 w 8079933"/>
              <a:gd name="connsiteY1859" fmla="*/ 3584946 h 4687251"/>
              <a:gd name="connsiteX1860" fmla="*/ 2415254 w 8079933"/>
              <a:gd name="connsiteY1860" fmla="*/ 3583864 h 4687251"/>
              <a:gd name="connsiteX1861" fmla="*/ 2420463 w 8079933"/>
              <a:gd name="connsiteY1861" fmla="*/ 3585271 h 4687251"/>
              <a:gd name="connsiteX1862" fmla="*/ 2429036 w 8079933"/>
              <a:gd name="connsiteY1862" fmla="*/ 3583539 h 4687251"/>
              <a:gd name="connsiteX1863" fmla="*/ 2429036 w 8079933"/>
              <a:gd name="connsiteY1863" fmla="*/ 3583539 h 4687251"/>
              <a:gd name="connsiteX1864" fmla="*/ 2420463 w 8079933"/>
              <a:gd name="connsiteY1864" fmla="*/ 3585271 h 4687251"/>
              <a:gd name="connsiteX1865" fmla="*/ 2415254 w 8079933"/>
              <a:gd name="connsiteY1865" fmla="*/ 3583863 h 4687251"/>
              <a:gd name="connsiteX1866" fmla="*/ 2411131 w 8079933"/>
              <a:gd name="connsiteY1866" fmla="*/ 3584946 h 4687251"/>
              <a:gd name="connsiteX1867" fmla="*/ 2404185 w 8079933"/>
              <a:gd name="connsiteY1867" fmla="*/ 3585596 h 4687251"/>
              <a:gd name="connsiteX1868" fmla="*/ 4664045 w 8079933"/>
              <a:gd name="connsiteY1868" fmla="*/ 3579209 h 4687251"/>
              <a:gd name="connsiteX1869" fmla="*/ 4663668 w 8079933"/>
              <a:gd name="connsiteY1869" fmla="*/ 3579265 h 4687251"/>
              <a:gd name="connsiteX1870" fmla="*/ 4670882 w 8079933"/>
              <a:gd name="connsiteY1870" fmla="*/ 3580724 h 4687251"/>
              <a:gd name="connsiteX1871" fmla="*/ 4675440 w 8079933"/>
              <a:gd name="connsiteY1871" fmla="*/ 3584513 h 4687251"/>
              <a:gd name="connsiteX1872" fmla="*/ 4676850 w 8079933"/>
              <a:gd name="connsiteY1872" fmla="*/ 3591010 h 4687251"/>
              <a:gd name="connsiteX1873" fmla="*/ 4678261 w 8079933"/>
              <a:gd name="connsiteY1873" fmla="*/ 3597181 h 4687251"/>
              <a:gd name="connsiteX1874" fmla="*/ 4681082 w 8079933"/>
              <a:gd name="connsiteY1874" fmla="*/ 3603027 h 4687251"/>
              <a:gd name="connsiteX1875" fmla="*/ 4681082 w 8079933"/>
              <a:gd name="connsiteY1875" fmla="*/ 3613855 h 4687251"/>
              <a:gd name="connsiteX1876" fmla="*/ 4681082 w 8079933"/>
              <a:gd name="connsiteY1876" fmla="*/ 3615263 h 4687251"/>
              <a:gd name="connsiteX1877" fmla="*/ 4681082 w 8079933"/>
              <a:gd name="connsiteY1877" fmla="*/ 3619809 h 4687251"/>
              <a:gd name="connsiteX1878" fmla="*/ 4682602 w 8079933"/>
              <a:gd name="connsiteY1878" fmla="*/ 3624357 h 4687251"/>
              <a:gd name="connsiteX1879" fmla="*/ 4684012 w 8079933"/>
              <a:gd name="connsiteY1879" fmla="*/ 3629771 h 4687251"/>
              <a:gd name="connsiteX1880" fmla="*/ 4684012 w 8079933"/>
              <a:gd name="connsiteY1880" fmla="*/ 3648393 h 4687251"/>
              <a:gd name="connsiteX1881" fmla="*/ 4682275 w 8079933"/>
              <a:gd name="connsiteY1881" fmla="*/ 3655755 h 4687251"/>
              <a:gd name="connsiteX1882" fmla="*/ 4682275 w 8079933"/>
              <a:gd name="connsiteY1882" fmla="*/ 3662685 h 4687251"/>
              <a:gd name="connsiteX1883" fmla="*/ 4682275 w 8079933"/>
              <a:gd name="connsiteY1883" fmla="*/ 3670805 h 4687251"/>
              <a:gd name="connsiteX1884" fmla="*/ 4678369 w 8079933"/>
              <a:gd name="connsiteY1884" fmla="*/ 3669073 h 4687251"/>
              <a:gd name="connsiteX1885" fmla="*/ 4674571 w 8079933"/>
              <a:gd name="connsiteY1885" fmla="*/ 3665824 h 4687251"/>
              <a:gd name="connsiteX1886" fmla="*/ 4668495 w 8079933"/>
              <a:gd name="connsiteY1886" fmla="*/ 3662360 h 4687251"/>
              <a:gd name="connsiteX1887" fmla="*/ 4664370 w 8079933"/>
              <a:gd name="connsiteY1887" fmla="*/ 3664417 h 4687251"/>
              <a:gd name="connsiteX1888" fmla="*/ 4663394 w 8079933"/>
              <a:gd name="connsiteY1888" fmla="*/ 3669073 h 4687251"/>
              <a:gd name="connsiteX1889" fmla="*/ 4657534 w 8079933"/>
              <a:gd name="connsiteY1889" fmla="*/ 3679900 h 4687251"/>
              <a:gd name="connsiteX1890" fmla="*/ 4655472 w 8079933"/>
              <a:gd name="connsiteY1890" fmla="*/ 3685638 h 4687251"/>
              <a:gd name="connsiteX1891" fmla="*/ 4656883 w 8079933"/>
              <a:gd name="connsiteY1891" fmla="*/ 3688562 h 4687251"/>
              <a:gd name="connsiteX1892" fmla="*/ 4657193 w 8079933"/>
              <a:gd name="connsiteY1892" fmla="*/ 3688845 h 4687251"/>
              <a:gd name="connsiteX1893" fmla="*/ 4655907 w 8079933"/>
              <a:gd name="connsiteY1893" fmla="*/ 3686178 h 4687251"/>
              <a:gd name="connsiteX1894" fmla="*/ 4657969 w 8079933"/>
              <a:gd name="connsiteY1894" fmla="*/ 3680441 h 4687251"/>
              <a:gd name="connsiteX1895" fmla="*/ 4663828 w 8079933"/>
              <a:gd name="connsiteY1895" fmla="*/ 3669613 h 4687251"/>
              <a:gd name="connsiteX1896" fmla="*/ 4664805 w 8079933"/>
              <a:gd name="connsiteY1896" fmla="*/ 3664958 h 4687251"/>
              <a:gd name="connsiteX1897" fmla="*/ 4668929 w 8079933"/>
              <a:gd name="connsiteY1897" fmla="*/ 3662901 h 4687251"/>
              <a:gd name="connsiteX1898" fmla="*/ 4675006 w 8079933"/>
              <a:gd name="connsiteY1898" fmla="*/ 3666366 h 4687251"/>
              <a:gd name="connsiteX1899" fmla="*/ 4678804 w 8079933"/>
              <a:gd name="connsiteY1899" fmla="*/ 3669613 h 4687251"/>
              <a:gd name="connsiteX1900" fmla="*/ 4682710 w 8079933"/>
              <a:gd name="connsiteY1900" fmla="*/ 3671346 h 4687251"/>
              <a:gd name="connsiteX1901" fmla="*/ 4682927 w 8079933"/>
              <a:gd name="connsiteY1901" fmla="*/ 3663335 h 4687251"/>
              <a:gd name="connsiteX1902" fmla="*/ 4682926 w 8079933"/>
              <a:gd name="connsiteY1902" fmla="*/ 3663387 h 4687251"/>
              <a:gd name="connsiteX1903" fmla="*/ 4682927 w 8079933"/>
              <a:gd name="connsiteY1903" fmla="*/ 3663335 h 4687251"/>
              <a:gd name="connsiteX1904" fmla="*/ 4683252 w 8079933"/>
              <a:gd name="connsiteY1904" fmla="*/ 3656406 h 4687251"/>
              <a:gd name="connsiteX1905" fmla="*/ 4684988 w 8079933"/>
              <a:gd name="connsiteY1905" fmla="*/ 3649043 h 4687251"/>
              <a:gd name="connsiteX1906" fmla="*/ 4685205 w 8079933"/>
              <a:gd name="connsiteY1906" fmla="*/ 3630421 h 4687251"/>
              <a:gd name="connsiteX1907" fmla="*/ 4683795 w 8079933"/>
              <a:gd name="connsiteY1907" fmla="*/ 3625008 h 4687251"/>
              <a:gd name="connsiteX1908" fmla="*/ 4682167 w 8079933"/>
              <a:gd name="connsiteY1908" fmla="*/ 3620460 h 4687251"/>
              <a:gd name="connsiteX1909" fmla="*/ 4682058 w 8079933"/>
              <a:gd name="connsiteY1909" fmla="*/ 3615804 h 4687251"/>
              <a:gd name="connsiteX1910" fmla="*/ 4682492 w 8079933"/>
              <a:gd name="connsiteY1910" fmla="*/ 3614505 h 4687251"/>
              <a:gd name="connsiteX1911" fmla="*/ 4682275 w 8079933"/>
              <a:gd name="connsiteY1911" fmla="*/ 3603353 h 4687251"/>
              <a:gd name="connsiteX1912" fmla="*/ 4679454 w 8079933"/>
              <a:gd name="connsiteY1912" fmla="*/ 3597506 h 4687251"/>
              <a:gd name="connsiteX1913" fmla="*/ 4678043 w 8079933"/>
              <a:gd name="connsiteY1913" fmla="*/ 3591227 h 4687251"/>
              <a:gd name="connsiteX1914" fmla="*/ 4676632 w 8079933"/>
              <a:gd name="connsiteY1914" fmla="*/ 3584731 h 4687251"/>
              <a:gd name="connsiteX1915" fmla="*/ 4676624 w 8079933"/>
              <a:gd name="connsiteY1915" fmla="*/ 3584723 h 4687251"/>
              <a:gd name="connsiteX1916" fmla="*/ 4672109 w 8079933"/>
              <a:gd name="connsiteY1916" fmla="*/ 3580968 h 4687251"/>
              <a:gd name="connsiteX1917" fmla="*/ 4672075 w 8079933"/>
              <a:gd name="connsiteY1917" fmla="*/ 3580941 h 4687251"/>
              <a:gd name="connsiteX1918" fmla="*/ 4647334 w 8079933"/>
              <a:gd name="connsiteY1918" fmla="*/ 3577585 h 4687251"/>
              <a:gd name="connsiteX1919" fmla="*/ 4646330 w 8079933"/>
              <a:gd name="connsiteY1919" fmla="*/ 3577673 h 4687251"/>
              <a:gd name="connsiteX1920" fmla="*/ 4651240 w 8079933"/>
              <a:gd name="connsiteY1920" fmla="*/ 3579966 h 4687251"/>
              <a:gd name="connsiteX1921" fmla="*/ 4652868 w 8079933"/>
              <a:gd name="connsiteY1921" fmla="*/ 3581482 h 4687251"/>
              <a:gd name="connsiteX1922" fmla="*/ 4653618 w 8079933"/>
              <a:gd name="connsiteY1922" fmla="*/ 3581178 h 4687251"/>
              <a:gd name="connsiteX1923" fmla="*/ 4652434 w 8079933"/>
              <a:gd name="connsiteY1923" fmla="*/ 3580075 h 4687251"/>
              <a:gd name="connsiteX1924" fmla="*/ 4640887 w 8079933"/>
              <a:gd name="connsiteY1924" fmla="*/ 3574463 h 4687251"/>
              <a:gd name="connsiteX1925" fmla="*/ 4642451 w 8079933"/>
              <a:gd name="connsiteY1925" fmla="*/ 3577584 h 4687251"/>
              <a:gd name="connsiteX1926" fmla="*/ 4643481 w 8079933"/>
              <a:gd name="connsiteY1926" fmla="*/ 3577584 h 4687251"/>
              <a:gd name="connsiteX1927" fmla="*/ 4642016 w 8079933"/>
              <a:gd name="connsiteY1927" fmla="*/ 3574662 h 4687251"/>
              <a:gd name="connsiteX1928" fmla="*/ 4625994 w 8079933"/>
              <a:gd name="connsiteY1928" fmla="*/ 3571996 h 4687251"/>
              <a:gd name="connsiteX1929" fmla="*/ 4626389 w 8079933"/>
              <a:gd name="connsiteY1929" fmla="*/ 3572496 h 4687251"/>
              <a:gd name="connsiteX1930" fmla="*/ 4626709 w 8079933"/>
              <a:gd name="connsiteY1930" fmla="*/ 3572865 h 4687251"/>
              <a:gd name="connsiteX1931" fmla="*/ 4626390 w 8079933"/>
              <a:gd name="connsiteY1931" fmla="*/ 3572496 h 4687251"/>
              <a:gd name="connsiteX1932" fmla="*/ 4429757 w 8079933"/>
              <a:gd name="connsiteY1932" fmla="*/ 3569138 h 4687251"/>
              <a:gd name="connsiteX1933" fmla="*/ 4408488 w 8079933"/>
              <a:gd name="connsiteY1933" fmla="*/ 3569464 h 4687251"/>
              <a:gd name="connsiteX1934" fmla="*/ 4406441 w 8079933"/>
              <a:gd name="connsiteY1934" fmla="*/ 3605854 h 4687251"/>
              <a:gd name="connsiteX1935" fmla="*/ 4408488 w 8079933"/>
              <a:gd name="connsiteY1935" fmla="*/ 3569464 h 4687251"/>
              <a:gd name="connsiteX1936" fmla="*/ 4429757 w 8079933"/>
              <a:gd name="connsiteY1936" fmla="*/ 3569139 h 4687251"/>
              <a:gd name="connsiteX1937" fmla="*/ 4624762 w 8079933"/>
              <a:gd name="connsiteY1937" fmla="*/ 3567840 h 4687251"/>
              <a:gd name="connsiteX1938" fmla="*/ 4624762 w 8079933"/>
              <a:gd name="connsiteY1938" fmla="*/ 3570438 h 4687251"/>
              <a:gd name="connsiteX1939" fmla="*/ 4624762 w 8079933"/>
              <a:gd name="connsiteY1939" fmla="*/ 3570439 h 4687251"/>
              <a:gd name="connsiteX1940" fmla="*/ 4624762 w 8079933"/>
              <a:gd name="connsiteY1940" fmla="*/ 3567841 h 4687251"/>
              <a:gd name="connsiteX1941" fmla="*/ 6683432 w 8079933"/>
              <a:gd name="connsiteY1941" fmla="*/ 3563833 h 4687251"/>
              <a:gd name="connsiteX1942" fmla="*/ 6682997 w 8079933"/>
              <a:gd name="connsiteY1942" fmla="*/ 3569138 h 4687251"/>
              <a:gd name="connsiteX1943" fmla="*/ 6680393 w 8079933"/>
              <a:gd name="connsiteY1943" fmla="*/ 3572387 h 4687251"/>
              <a:gd name="connsiteX1944" fmla="*/ 6678982 w 8079933"/>
              <a:gd name="connsiteY1944" fmla="*/ 3570005 h 4687251"/>
              <a:gd name="connsiteX1945" fmla="*/ 2486649 w 8079933"/>
              <a:gd name="connsiteY1945" fmla="*/ 3553611 h 4687251"/>
              <a:gd name="connsiteX1946" fmla="*/ 2487309 w 8079933"/>
              <a:gd name="connsiteY1946" fmla="*/ 3558636 h 4687251"/>
              <a:gd name="connsiteX1947" fmla="*/ 2486767 w 8079933"/>
              <a:gd name="connsiteY1947" fmla="*/ 3564916 h 4687251"/>
              <a:gd name="connsiteX1948" fmla="*/ 2480365 w 8079933"/>
              <a:gd name="connsiteY1948" fmla="*/ 3578017 h 4687251"/>
              <a:gd name="connsiteX1949" fmla="*/ 2478520 w 8079933"/>
              <a:gd name="connsiteY1949" fmla="*/ 3586029 h 4687251"/>
              <a:gd name="connsiteX1950" fmla="*/ 2478520 w 8079933"/>
              <a:gd name="connsiteY1950" fmla="*/ 3586029 h 4687251"/>
              <a:gd name="connsiteX1951" fmla="*/ 2480365 w 8079933"/>
              <a:gd name="connsiteY1951" fmla="*/ 3578018 h 4687251"/>
              <a:gd name="connsiteX1952" fmla="*/ 2486767 w 8079933"/>
              <a:gd name="connsiteY1952" fmla="*/ 3564918 h 4687251"/>
              <a:gd name="connsiteX1953" fmla="*/ 2487310 w 8079933"/>
              <a:gd name="connsiteY1953" fmla="*/ 3558637 h 4687251"/>
              <a:gd name="connsiteX1954" fmla="*/ 2331084 w 8079933"/>
              <a:gd name="connsiteY1954" fmla="*/ 3545819 h 4687251"/>
              <a:gd name="connsiteX1955" fmla="*/ 2334193 w 8079933"/>
              <a:gd name="connsiteY1955" fmla="*/ 3550084 h 4687251"/>
              <a:gd name="connsiteX1956" fmla="*/ 2345912 w 8079933"/>
              <a:gd name="connsiteY1956" fmla="*/ 3561128 h 4687251"/>
              <a:gd name="connsiteX1957" fmla="*/ 2352743 w 8079933"/>
              <a:gd name="connsiteY1957" fmla="*/ 3579470 h 4687251"/>
              <a:gd name="connsiteX1958" fmla="*/ 2345912 w 8079933"/>
              <a:gd name="connsiteY1958" fmla="*/ 3561127 h 4687251"/>
              <a:gd name="connsiteX1959" fmla="*/ 2334193 w 8079933"/>
              <a:gd name="connsiteY1959" fmla="*/ 3550083 h 4687251"/>
              <a:gd name="connsiteX1960" fmla="*/ 5253400 w 8079933"/>
              <a:gd name="connsiteY1960" fmla="*/ 3544238 h 4687251"/>
              <a:gd name="connsiteX1961" fmla="*/ 5258284 w 8079933"/>
              <a:gd name="connsiteY1961" fmla="*/ 3546403 h 4687251"/>
              <a:gd name="connsiteX1962" fmla="*/ 5261322 w 8079933"/>
              <a:gd name="connsiteY1962" fmla="*/ 3553224 h 4687251"/>
              <a:gd name="connsiteX1963" fmla="*/ 5263926 w 8079933"/>
              <a:gd name="connsiteY1963" fmla="*/ 3554523 h 4687251"/>
              <a:gd name="connsiteX1964" fmla="*/ 5257524 w 8079933"/>
              <a:gd name="connsiteY1964" fmla="*/ 3560045 h 4687251"/>
              <a:gd name="connsiteX1965" fmla="*/ 5254703 w 8079933"/>
              <a:gd name="connsiteY1965" fmla="*/ 3558746 h 4687251"/>
              <a:gd name="connsiteX1966" fmla="*/ 5250036 w 8079933"/>
              <a:gd name="connsiteY1966" fmla="*/ 3552466 h 4687251"/>
              <a:gd name="connsiteX1967" fmla="*/ 5250579 w 8079933"/>
              <a:gd name="connsiteY1967" fmla="*/ 3545428 h 4687251"/>
              <a:gd name="connsiteX1968" fmla="*/ 4704373 w 8079933"/>
              <a:gd name="connsiteY1968" fmla="*/ 3539317 h 4687251"/>
              <a:gd name="connsiteX1969" fmla="*/ 4704087 w 8079933"/>
              <a:gd name="connsiteY1969" fmla="*/ 3539798 h 4687251"/>
              <a:gd name="connsiteX1970" fmla="*/ 4704086 w 8079933"/>
              <a:gd name="connsiteY1970" fmla="*/ 3539901 h 4687251"/>
              <a:gd name="connsiteX1971" fmla="*/ 4704087 w 8079933"/>
              <a:gd name="connsiteY1971" fmla="*/ 3539799 h 4687251"/>
              <a:gd name="connsiteX1972" fmla="*/ 4588734 w 8079933"/>
              <a:gd name="connsiteY1972" fmla="*/ 3536875 h 4687251"/>
              <a:gd name="connsiteX1973" fmla="*/ 4587541 w 8079933"/>
              <a:gd name="connsiteY1973" fmla="*/ 3540014 h 4687251"/>
              <a:gd name="connsiteX1974" fmla="*/ 4588517 w 8079933"/>
              <a:gd name="connsiteY1974" fmla="*/ 3545536 h 4687251"/>
              <a:gd name="connsiteX1975" fmla="*/ 4588842 w 8079933"/>
              <a:gd name="connsiteY1975" fmla="*/ 3549326 h 4687251"/>
              <a:gd name="connsiteX1976" fmla="*/ 4590362 w 8079933"/>
              <a:gd name="connsiteY1976" fmla="*/ 3553224 h 4687251"/>
              <a:gd name="connsiteX1977" fmla="*/ 4592283 w 8079933"/>
              <a:gd name="connsiteY1977" fmla="*/ 3554684 h 4687251"/>
              <a:gd name="connsiteX1978" fmla="*/ 4590362 w 8079933"/>
              <a:gd name="connsiteY1978" fmla="*/ 3553224 h 4687251"/>
              <a:gd name="connsiteX1979" fmla="*/ 4588843 w 8079933"/>
              <a:gd name="connsiteY1979" fmla="*/ 3549327 h 4687251"/>
              <a:gd name="connsiteX1980" fmla="*/ 4588518 w 8079933"/>
              <a:gd name="connsiteY1980" fmla="*/ 3545537 h 4687251"/>
              <a:gd name="connsiteX1981" fmla="*/ 4587541 w 8079933"/>
              <a:gd name="connsiteY1981" fmla="*/ 3540015 h 4687251"/>
              <a:gd name="connsiteX1982" fmla="*/ 4588735 w 8079933"/>
              <a:gd name="connsiteY1982" fmla="*/ 3536875 h 4687251"/>
              <a:gd name="connsiteX1983" fmla="*/ 4583461 w 8079933"/>
              <a:gd name="connsiteY1983" fmla="*/ 3533587 h 4687251"/>
              <a:gd name="connsiteX1984" fmla="*/ 4584936 w 8079933"/>
              <a:gd name="connsiteY1984" fmla="*/ 3534168 h 4687251"/>
              <a:gd name="connsiteX1985" fmla="*/ 4587870 w 8079933"/>
              <a:gd name="connsiteY1985" fmla="*/ 3536259 h 4687251"/>
              <a:gd name="connsiteX1986" fmla="*/ 4584937 w 8079933"/>
              <a:gd name="connsiteY1986" fmla="*/ 3534168 h 4687251"/>
              <a:gd name="connsiteX1987" fmla="*/ 2494689 w 8079933"/>
              <a:gd name="connsiteY1987" fmla="*/ 3528212 h 4687251"/>
              <a:gd name="connsiteX1988" fmla="*/ 2491542 w 8079933"/>
              <a:gd name="connsiteY1988" fmla="*/ 3537091 h 4687251"/>
              <a:gd name="connsiteX1989" fmla="*/ 2484054 w 8079933"/>
              <a:gd name="connsiteY1989" fmla="*/ 3548242 h 4687251"/>
              <a:gd name="connsiteX1990" fmla="*/ 2484054 w 8079933"/>
              <a:gd name="connsiteY1990" fmla="*/ 3548243 h 4687251"/>
              <a:gd name="connsiteX1991" fmla="*/ 2491542 w 8079933"/>
              <a:gd name="connsiteY1991" fmla="*/ 3537092 h 4687251"/>
              <a:gd name="connsiteX1992" fmla="*/ 2494689 w 8079933"/>
              <a:gd name="connsiteY1992" fmla="*/ 3528213 h 4687251"/>
              <a:gd name="connsiteX1993" fmla="*/ 4580053 w 8079933"/>
              <a:gd name="connsiteY1993" fmla="*/ 3527347 h 4687251"/>
              <a:gd name="connsiteX1994" fmla="*/ 4580053 w 8079933"/>
              <a:gd name="connsiteY1994" fmla="*/ 3528646 h 4687251"/>
              <a:gd name="connsiteX1995" fmla="*/ 4579836 w 8079933"/>
              <a:gd name="connsiteY1995" fmla="*/ 3530162 h 4687251"/>
              <a:gd name="connsiteX1996" fmla="*/ 4580813 w 8079933"/>
              <a:gd name="connsiteY1996" fmla="*/ 3532543 h 4687251"/>
              <a:gd name="connsiteX1997" fmla="*/ 4580813 w 8079933"/>
              <a:gd name="connsiteY1997" fmla="*/ 3532543 h 4687251"/>
              <a:gd name="connsiteX1998" fmla="*/ 4579836 w 8079933"/>
              <a:gd name="connsiteY1998" fmla="*/ 3530162 h 4687251"/>
              <a:gd name="connsiteX1999" fmla="*/ 4580053 w 8079933"/>
              <a:gd name="connsiteY1999" fmla="*/ 3528646 h 4687251"/>
              <a:gd name="connsiteX2000" fmla="*/ 4580053 w 8079933"/>
              <a:gd name="connsiteY2000" fmla="*/ 3527347 h 4687251"/>
              <a:gd name="connsiteX2001" fmla="*/ 5308200 w 8079933"/>
              <a:gd name="connsiteY2001" fmla="*/ 3525289 h 4687251"/>
              <a:gd name="connsiteX2002" fmla="*/ 5311347 w 8079933"/>
              <a:gd name="connsiteY2002" fmla="*/ 3526913 h 4687251"/>
              <a:gd name="connsiteX2003" fmla="*/ 5311890 w 8079933"/>
              <a:gd name="connsiteY2003" fmla="*/ 3530702 h 4687251"/>
              <a:gd name="connsiteX2004" fmla="*/ 5309285 w 8079933"/>
              <a:gd name="connsiteY2004" fmla="*/ 3533084 h 4687251"/>
              <a:gd name="connsiteX2005" fmla="*/ 5309828 w 8079933"/>
              <a:gd name="connsiteY2005" fmla="*/ 3537740 h 4687251"/>
              <a:gd name="connsiteX2006" fmla="*/ 5304619 w 8079933"/>
              <a:gd name="connsiteY2006" fmla="*/ 3541204 h 4687251"/>
              <a:gd name="connsiteX2007" fmla="*/ 5298108 w 8079933"/>
              <a:gd name="connsiteY2007" fmla="*/ 3534924 h 4687251"/>
              <a:gd name="connsiteX2008" fmla="*/ 5301146 w 8079933"/>
              <a:gd name="connsiteY2008" fmla="*/ 3532435 h 4687251"/>
              <a:gd name="connsiteX2009" fmla="*/ 5302123 w 8079933"/>
              <a:gd name="connsiteY2009" fmla="*/ 3526696 h 4687251"/>
              <a:gd name="connsiteX2010" fmla="*/ 5305270 w 8079933"/>
              <a:gd name="connsiteY2010" fmla="*/ 3527021 h 4687251"/>
              <a:gd name="connsiteX2011" fmla="*/ 4567583 w 8079933"/>
              <a:gd name="connsiteY2011" fmla="*/ 3518505 h 4687251"/>
              <a:gd name="connsiteX2012" fmla="*/ 4570395 w 8079933"/>
              <a:gd name="connsiteY2012" fmla="*/ 3520201 h 4687251"/>
              <a:gd name="connsiteX2013" fmla="*/ 4573435 w 8079933"/>
              <a:gd name="connsiteY2013" fmla="*/ 3522516 h 4687251"/>
              <a:gd name="connsiteX2014" fmla="*/ 4570395 w 8079933"/>
              <a:gd name="connsiteY2014" fmla="*/ 3520201 h 4687251"/>
              <a:gd name="connsiteX2015" fmla="*/ 4563791 w 8079933"/>
              <a:gd name="connsiteY2015" fmla="*/ 3514410 h 4687251"/>
              <a:gd name="connsiteX2016" fmla="*/ 4565729 w 8079933"/>
              <a:gd name="connsiteY2016" fmla="*/ 3517386 h 4687251"/>
              <a:gd name="connsiteX2017" fmla="*/ 4565729 w 8079933"/>
              <a:gd name="connsiteY2017" fmla="*/ 3517386 h 4687251"/>
              <a:gd name="connsiteX2018" fmla="*/ 7434801 w 8079933"/>
              <a:gd name="connsiteY2018" fmla="*/ 3510781 h 4687251"/>
              <a:gd name="connsiteX2019" fmla="*/ 7435452 w 8079933"/>
              <a:gd name="connsiteY2019" fmla="*/ 3518576 h 4687251"/>
              <a:gd name="connsiteX2020" fmla="*/ 7433499 w 8079933"/>
              <a:gd name="connsiteY2020" fmla="*/ 3523340 h 4687251"/>
              <a:gd name="connsiteX2021" fmla="*/ 7431220 w 8079933"/>
              <a:gd name="connsiteY2021" fmla="*/ 3520525 h 4687251"/>
              <a:gd name="connsiteX2022" fmla="*/ 7432848 w 8079933"/>
              <a:gd name="connsiteY2022" fmla="*/ 3516627 h 4687251"/>
              <a:gd name="connsiteX2023" fmla="*/ 7429375 w 8079933"/>
              <a:gd name="connsiteY2023" fmla="*/ 3512621 h 4687251"/>
              <a:gd name="connsiteX2024" fmla="*/ 7433282 w 8079933"/>
              <a:gd name="connsiteY2024" fmla="*/ 3511647 h 4687251"/>
              <a:gd name="connsiteX2025" fmla="*/ 4556939 w 8079933"/>
              <a:gd name="connsiteY2025" fmla="*/ 3503636 h 4687251"/>
              <a:gd name="connsiteX2026" fmla="*/ 4558271 w 8079933"/>
              <a:gd name="connsiteY2026" fmla="*/ 3505852 h 4687251"/>
              <a:gd name="connsiteX2027" fmla="*/ 4556939 w 8079933"/>
              <a:gd name="connsiteY2027" fmla="*/ 3503636 h 4687251"/>
              <a:gd name="connsiteX2028" fmla="*/ 4549837 w 8079933"/>
              <a:gd name="connsiteY2028" fmla="*/ 3495794 h 4687251"/>
              <a:gd name="connsiteX2029" fmla="*/ 4552056 w 8079933"/>
              <a:gd name="connsiteY2029" fmla="*/ 3498114 h 4687251"/>
              <a:gd name="connsiteX2030" fmla="*/ 4553140 w 8079933"/>
              <a:gd name="connsiteY2030" fmla="*/ 3501578 h 4687251"/>
              <a:gd name="connsiteX2031" fmla="*/ 4553141 w 8079933"/>
              <a:gd name="connsiteY2031" fmla="*/ 3501579 h 4687251"/>
              <a:gd name="connsiteX2032" fmla="*/ 4552057 w 8079933"/>
              <a:gd name="connsiteY2032" fmla="*/ 3498114 h 4687251"/>
              <a:gd name="connsiteX2033" fmla="*/ 4714287 w 8079933"/>
              <a:gd name="connsiteY2033" fmla="*/ 3495299 h 4687251"/>
              <a:gd name="connsiteX2034" fmla="*/ 4711358 w 8079933"/>
              <a:gd name="connsiteY2034" fmla="*/ 3496381 h 4687251"/>
              <a:gd name="connsiteX2035" fmla="*/ 4711358 w 8079933"/>
              <a:gd name="connsiteY2035" fmla="*/ 3496382 h 4687251"/>
              <a:gd name="connsiteX2036" fmla="*/ 4714831 w 8079933"/>
              <a:gd name="connsiteY2036" fmla="*/ 3490535 h 4687251"/>
              <a:gd name="connsiteX2037" fmla="*/ 4714797 w 8079933"/>
              <a:gd name="connsiteY2037" fmla="*/ 3490834 h 4687251"/>
              <a:gd name="connsiteX2038" fmla="*/ 4714831 w 8079933"/>
              <a:gd name="connsiteY2038" fmla="*/ 3490536 h 4687251"/>
              <a:gd name="connsiteX2039" fmla="*/ 4546413 w 8079933"/>
              <a:gd name="connsiteY2039" fmla="*/ 3487720 h 4687251"/>
              <a:gd name="connsiteX2040" fmla="*/ 4548800 w 8079933"/>
              <a:gd name="connsiteY2040" fmla="*/ 3491725 h 4687251"/>
              <a:gd name="connsiteX2041" fmla="*/ 4549777 w 8079933"/>
              <a:gd name="connsiteY2041" fmla="*/ 3495731 h 4687251"/>
              <a:gd name="connsiteX2042" fmla="*/ 4549777 w 8079933"/>
              <a:gd name="connsiteY2042" fmla="*/ 3495732 h 4687251"/>
              <a:gd name="connsiteX2043" fmla="*/ 4548800 w 8079933"/>
              <a:gd name="connsiteY2043" fmla="*/ 3491726 h 4687251"/>
              <a:gd name="connsiteX2044" fmla="*/ 4433990 w 8079933"/>
              <a:gd name="connsiteY2044" fmla="*/ 3483388 h 4687251"/>
              <a:gd name="connsiteX2045" fmla="*/ 4433990 w 8079933"/>
              <a:gd name="connsiteY2045" fmla="*/ 3483389 h 4687251"/>
              <a:gd name="connsiteX2046" fmla="*/ 4451895 w 8079933"/>
              <a:gd name="connsiteY2046" fmla="*/ 3484147 h 4687251"/>
              <a:gd name="connsiteX2047" fmla="*/ 4489890 w 8079933"/>
              <a:gd name="connsiteY2047" fmla="*/ 3483008 h 4687251"/>
              <a:gd name="connsiteX2048" fmla="*/ 4489441 w 8079933"/>
              <a:gd name="connsiteY2048" fmla="*/ 3483605 h 4687251"/>
              <a:gd name="connsiteX2049" fmla="*/ 4489212 w 8079933"/>
              <a:gd name="connsiteY2049" fmla="*/ 3485322 h 4687251"/>
              <a:gd name="connsiteX2050" fmla="*/ 4489442 w 8079933"/>
              <a:gd name="connsiteY2050" fmla="*/ 3483605 h 4687251"/>
              <a:gd name="connsiteX2051" fmla="*/ 2319052 w 8079933"/>
              <a:gd name="connsiteY2051" fmla="*/ 3482087 h 4687251"/>
              <a:gd name="connsiteX2052" fmla="*/ 2320302 w 8079933"/>
              <a:gd name="connsiteY2052" fmla="*/ 3483280 h 4687251"/>
              <a:gd name="connsiteX2053" fmla="*/ 2320302 w 8079933"/>
              <a:gd name="connsiteY2053" fmla="*/ 3483280 h 4687251"/>
              <a:gd name="connsiteX2054" fmla="*/ 4720147 w 8079933"/>
              <a:gd name="connsiteY2054" fmla="*/ 3480249 h 4687251"/>
              <a:gd name="connsiteX2055" fmla="*/ 4717379 w 8079933"/>
              <a:gd name="connsiteY2055" fmla="*/ 3480710 h 4687251"/>
              <a:gd name="connsiteX2056" fmla="*/ 4720147 w 8079933"/>
              <a:gd name="connsiteY2056" fmla="*/ 3480250 h 4687251"/>
              <a:gd name="connsiteX2057" fmla="*/ 7276040 w 8079933"/>
              <a:gd name="connsiteY2057" fmla="*/ 3476352 h 4687251"/>
              <a:gd name="connsiteX2058" fmla="*/ 7276366 w 8079933"/>
              <a:gd name="connsiteY2058" fmla="*/ 3478951 h 4687251"/>
              <a:gd name="connsiteX2059" fmla="*/ 7273870 w 8079933"/>
              <a:gd name="connsiteY2059" fmla="*/ 3480250 h 4687251"/>
              <a:gd name="connsiteX2060" fmla="*/ 7272459 w 8079933"/>
              <a:gd name="connsiteY2060" fmla="*/ 3478084 h 4687251"/>
              <a:gd name="connsiteX2061" fmla="*/ 4486295 w 8079933"/>
              <a:gd name="connsiteY2061" fmla="*/ 3475810 h 4687251"/>
              <a:gd name="connsiteX2062" fmla="*/ 4485209 w 8079933"/>
              <a:gd name="connsiteY2062" fmla="*/ 3476351 h 4687251"/>
              <a:gd name="connsiteX2063" fmla="*/ 4482062 w 8079933"/>
              <a:gd name="connsiteY2063" fmla="*/ 3476676 h 4687251"/>
              <a:gd name="connsiteX2064" fmla="*/ 4475009 w 8079933"/>
              <a:gd name="connsiteY2064" fmla="*/ 3478841 h 4687251"/>
              <a:gd name="connsiteX2065" fmla="*/ 4482063 w 8079933"/>
              <a:gd name="connsiteY2065" fmla="*/ 3476676 h 4687251"/>
              <a:gd name="connsiteX2066" fmla="*/ 4485210 w 8079933"/>
              <a:gd name="connsiteY2066" fmla="*/ 3476351 h 4687251"/>
              <a:gd name="connsiteX2067" fmla="*/ 4486295 w 8079933"/>
              <a:gd name="connsiteY2067" fmla="*/ 3475810 h 4687251"/>
              <a:gd name="connsiteX2068" fmla="*/ 4487705 w 8079933"/>
              <a:gd name="connsiteY2068" fmla="*/ 3476784 h 4687251"/>
              <a:gd name="connsiteX2069" fmla="*/ 4488471 w 8079933"/>
              <a:gd name="connsiteY2069" fmla="*/ 3478758 h 4687251"/>
              <a:gd name="connsiteX2070" fmla="*/ 4487705 w 8079933"/>
              <a:gd name="connsiteY2070" fmla="*/ 3476784 h 4687251"/>
              <a:gd name="connsiteX2071" fmla="*/ 4513423 w 8079933"/>
              <a:gd name="connsiteY2071" fmla="*/ 3470504 h 4687251"/>
              <a:gd name="connsiteX2072" fmla="*/ 4508215 w 8079933"/>
              <a:gd name="connsiteY2072" fmla="*/ 3471154 h 4687251"/>
              <a:gd name="connsiteX2073" fmla="*/ 4503440 w 8079933"/>
              <a:gd name="connsiteY2073" fmla="*/ 3476026 h 4687251"/>
              <a:gd name="connsiteX2074" fmla="*/ 4498882 w 8079933"/>
              <a:gd name="connsiteY2074" fmla="*/ 3481764 h 4687251"/>
              <a:gd name="connsiteX2075" fmla="*/ 4491069 w 8079933"/>
              <a:gd name="connsiteY2075" fmla="*/ 3487286 h 4687251"/>
              <a:gd name="connsiteX2076" fmla="*/ 4491069 w 8079933"/>
              <a:gd name="connsiteY2076" fmla="*/ 3487286 h 4687251"/>
              <a:gd name="connsiteX2077" fmla="*/ 4498882 w 8079933"/>
              <a:gd name="connsiteY2077" fmla="*/ 3481764 h 4687251"/>
              <a:gd name="connsiteX2078" fmla="*/ 4503440 w 8079933"/>
              <a:gd name="connsiteY2078" fmla="*/ 3476027 h 4687251"/>
              <a:gd name="connsiteX2079" fmla="*/ 4508215 w 8079933"/>
              <a:gd name="connsiteY2079" fmla="*/ 3471154 h 4687251"/>
              <a:gd name="connsiteX2080" fmla="*/ 4513424 w 8079933"/>
              <a:gd name="connsiteY2080" fmla="*/ 3470505 h 4687251"/>
              <a:gd name="connsiteX2081" fmla="*/ 4392345 w 8079933"/>
              <a:gd name="connsiteY2081" fmla="*/ 3468615 h 4687251"/>
              <a:gd name="connsiteX2082" fmla="*/ 4392645 w 8079933"/>
              <a:gd name="connsiteY2082" fmla="*/ 3469313 h 4687251"/>
              <a:gd name="connsiteX2083" fmla="*/ 4392645 w 8079933"/>
              <a:gd name="connsiteY2083" fmla="*/ 3469314 h 4687251"/>
              <a:gd name="connsiteX2084" fmla="*/ 4559977 w 8079933"/>
              <a:gd name="connsiteY2084" fmla="*/ 3468122 h 4687251"/>
              <a:gd name="connsiteX2085" fmla="*/ 4554659 w 8079933"/>
              <a:gd name="connsiteY2085" fmla="*/ 3468772 h 4687251"/>
              <a:gd name="connsiteX2086" fmla="*/ 4550427 w 8079933"/>
              <a:gd name="connsiteY2086" fmla="*/ 3471695 h 4687251"/>
              <a:gd name="connsiteX2087" fmla="*/ 4548148 w 8079933"/>
              <a:gd name="connsiteY2087" fmla="*/ 3471586 h 4687251"/>
              <a:gd name="connsiteX2088" fmla="*/ 4546909 w 8079933"/>
              <a:gd name="connsiteY2088" fmla="*/ 3470575 h 4687251"/>
              <a:gd name="connsiteX2089" fmla="*/ 4548150 w 8079933"/>
              <a:gd name="connsiteY2089" fmla="*/ 3471588 h 4687251"/>
              <a:gd name="connsiteX2090" fmla="*/ 4550428 w 8079933"/>
              <a:gd name="connsiteY2090" fmla="*/ 3471696 h 4687251"/>
              <a:gd name="connsiteX2091" fmla="*/ 4554660 w 8079933"/>
              <a:gd name="connsiteY2091" fmla="*/ 3468773 h 4687251"/>
              <a:gd name="connsiteX2092" fmla="*/ 4559978 w 8079933"/>
              <a:gd name="connsiteY2092" fmla="*/ 3468123 h 4687251"/>
              <a:gd name="connsiteX2093" fmla="*/ 4562365 w 8079933"/>
              <a:gd name="connsiteY2093" fmla="*/ 3469206 h 4687251"/>
              <a:gd name="connsiteX2094" fmla="*/ 4563559 w 8079933"/>
              <a:gd name="connsiteY2094" fmla="*/ 3469097 h 4687251"/>
              <a:gd name="connsiteX2095" fmla="*/ 4564969 w 8079933"/>
              <a:gd name="connsiteY2095" fmla="*/ 3469638 h 4687251"/>
              <a:gd name="connsiteX2096" fmla="*/ 4565511 w 8079933"/>
              <a:gd name="connsiteY2096" fmla="*/ 3469963 h 4687251"/>
              <a:gd name="connsiteX2097" fmla="*/ 4565511 w 8079933"/>
              <a:gd name="connsiteY2097" fmla="*/ 3469962 h 4687251"/>
              <a:gd name="connsiteX2098" fmla="*/ 4564969 w 8079933"/>
              <a:gd name="connsiteY2098" fmla="*/ 3469638 h 4687251"/>
              <a:gd name="connsiteX2099" fmla="*/ 4563558 w 8079933"/>
              <a:gd name="connsiteY2099" fmla="*/ 3469096 h 4687251"/>
              <a:gd name="connsiteX2100" fmla="*/ 4562364 w 8079933"/>
              <a:gd name="connsiteY2100" fmla="*/ 3469205 h 4687251"/>
              <a:gd name="connsiteX2101" fmla="*/ 4533400 w 8079933"/>
              <a:gd name="connsiteY2101" fmla="*/ 3466625 h 4687251"/>
              <a:gd name="connsiteX2102" fmla="*/ 4534476 w 8079933"/>
              <a:gd name="connsiteY2102" fmla="*/ 3468880 h 4687251"/>
              <a:gd name="connsiteX2103" fmla="*/ 4533825 w 8079933"/>
              <a:gd name="connsiteY2103" fmla="*/ 3470937 h 4687251"/>
              <a:gd name="connsiteX2104" fmla="*/ 4534259 w 8079933"/>
              <a:gd name="connsiteY2104" fmla="*/ 3472670 h 4687251"/>
              <a:gd name="connsiteX2105" fmla="*/ 4534476 w 8079933"/>
              <a:gd name="connsiteY2105" fmla="*/ 3475269 h 4687251"/>
              <a:gd name="connsiteX2106" fmla="*/ 4537840 w 8079933"/>
              <a:gd name="connsiteY2106" fmla="*/ 3477867 h 4687251"/>
              <a:gd name="connsiteX2107" fmla="*/ 4539576 w 8079933"/>
              <a:gd name="connsiteY2107" fmla="*/ 3479708 h 4687251"/>
              <a:gd name="connsiteX2108" fmla="*/ 4542614 w 8079933"/>
              <a:gd name="connsiteY2108" fmla="*/ 3481657 h 4687251"/>
              <a:gd name="connsiteX2109" fmla="*/ 4544568 w 8079933"/>
              <a:gd name="connsiteY2109" fmla="*/ 3484363 h 4687251"/>
              <a:gd name="connsiteX2110" fmla="*/ 4545111 w 8079933"/>
              <a:gd name="connsiteY2110" fmla="*/ 3486853 h 4687251"/>
              <a:gd name="connsiteX2111" fmla="*/ 4545111 w 8079933"/>
              <a:gd name="connsiteY2111" fmla="*/ 3486854 h 4687251"/>
              <a:gd name="connsiteX2112" fmla="*/ 4544569 w 8079933"/>
              <a:gd name="connsiteY2112" fmla="*/ 3484364 h 4687251"/>
              <a:gd name="connsiteX2113" fmla="*/ 4542615 w 8079933"/>
              <a:gd name="connsiteY2113" fmla="*/ 3481657 h 4687251"/>
              <a:gd name="connsiteX2114" fmla="*/ 4539577 w 8079933"/>
              <a:gd name="connsiteY2114" fmla="*/ 3479708 h 4687251"/>
              <a:gd name="connsiteX2115" fmla="*/ 4537841 w 8079933"/>
              <a:gd name="connsiteY2115" fmla="*/ 3477867 h 4687251"/>
              <a:gd name="connsiteX2116" fmla="*/ 4534476 w 8079933"/>
              <a:gd name="connsiteY2116" fmla="*/ 3475269 h 4687251"/>
              <a:gd name="connsiteX2117" fmla="*/ 4534260 w 8079933"/>
              <a:gd name="connsiteY2117" fmla="*/ 3472670 h 4687251"/>
              <a:gd name="connsiteX2118" fmla="*/ 4533825 w 8079933"/>
              <a:gd name="connsiteY2118" fmla="*/ 3470938 h 4687251"/>
              <a:gd name="connsiteX2119" fmla="*/ 4534476 w 8079933"/>
              <a:gd name="connsiteY2119" fmla="*/ 3468881 h 4687251"/>
              <a:gd name="connsiteX2120" fmla="*/ 4533396 w 8079933"/>
              <a:gd name="connsiteY2120" fmla="*/ 3466616 h 4687251"/>
              <a:gd name="connsiteX2121" fmla="*/ 4533396 w 8079933"/>
              <a:gd name="connsiteY2121" fmla="*/ 3466617 h 4687251"/>
              <a:gd name="connsiteX2122" fmla="*/ 4535778 w 8079933"/>
              <a:gd name="connsiteY2122" fmla="*/ 3466824 h 4687251"/>
              <a:gd name="connsiteX2123" fmla="*/ 4541421 w 8079933"/>
              <a:gd name="connsiteY2123" fmla="*/ 3467473 h 4687251"/>
              <a:gd name="connsiteX2124" fmla="*/ 4544338 w 8079933"/>
              <a:gd name="connsiteY2124" fmla="*/ 3468928 h 4687251"/>
              <a:gd name="connsiteX2125" fmla="*/ 4541420 w 8079933"/>
              <a:gd name="connsiteY2125" fmla="*/ 3467472 h 4687251"/>
              <a:gd name="connsiteX2126" fmla="*/ 4535778 w 8079933"/>
              <a:gd name="connsiteY2126" fmla="*/ 3466823 h 4687251"/>
              <a:gd name="connsiteX2127" fmla="*/ 4533282 w 8079933"/>
              <a:gd name="connsiteY2127" fmla="*/ 3466606 h 4687251"/>
              <a:gd name="connsiteX2128" fmla="*/ 4533282 w 8079933"/>
              <a:gd name="connsiteY2128" fmla="*/ 3466607 h 4687251"/>
              <a:gd name="connsiteX2129" fmla="*/ 4528290 w 8079933"/>
              <a:gd name="connsiteY2129" fmla="*/ 3468014 h 4687251"/>
              <a:gd name="connsiteX2130" fmla="*/ 4520586 w 8079933"/>
              <a:gd name="connsiteY2130" fmla="*/ 3470721 h 4687251"/>
              <a:gd name="connsiteX2131" fmla="*/ 4517547 w 8079933"/>
              <a:gd name="connsiteY2131" fmla="*/ 3472778 h 4687251"/>
              <a:gd name="connsiteX2132" fmla="*/ 4514618 w 8079933"/>
              <a:gd name="connsiteY2132" fmla="*/ 3472345 h 4687251"/>
              <a:gd name="connsiteX2133" fmla="*/ 4513602 w 8079933"/>
              <a:gd name="connsiteY2133" fmla="*/ 3470780 h 4687251"/>
              <a:gd name="connsiteX2134" fmla="*/ 4514617 w 8079933"/>
              <a:gd name="connsiteY2134" fmla="*/ 3472345 h 4687251"/>
              <a:gd name="connsiteX2135" fmla="*/ 4517547 w 8079933"/>
              <a:gd name="connsiteY2135" fmla="*/ 3472778 h 4687251"/>
              <a:gd name="connsiteX2136" fmla="*/ 4520586 w 8079933"/>
              <a:gd name="connsiteY2136" fmla="*/ 3470721 h 4687251"/>
              <a:gd name="connsiteX2137" fmla="*/ 4528291 w 8079933"/>
              <a:gd name="connsiteY2137" fmla="*/ 3468014 h 4687251"/>
              <a:gd name="connsiteX2138" fmla="*/ 4533282 w 8079933"/>
              <a:gd name="connsiteY2138" fmla="*/ 3466607 h 4687251"/>
              <a:gd name="connsiteX2139" fmla="*/ 4533287 w 8079933"/>
              <a:gd name="connsiteY2139" fmla="*/ 3466607 h 4687251"/>
              <a:gd name="connsiteX2140" fmla="*/ 2306698 w 8079933"/>
              <a:gd name="connsiteY2140" fmla="*/ 3465702 h 4687251"/>
              <a:gd name="connsiteX2141" fmla="*/ 2307715 w 8079933"/>
              <a:gd name="connsiteY2141" fmla="*/ 3466824 h 4687251"/>
              <a:gd name="connsiteX2142" fmla="*/ 2310753 w 8079933"/>
              <a:gd name="connsiteY2142" fmla="*/ 3467257 h 4687251"/>
              <a:gd name="connsiteX2143" fmla="*/ 2311295 w 8079933"/>
              <a:gd name="connsiteY2143" fmla="*/ 3470288 h 4687251"/>
              <a:gd name="connsiteX2144" fmla="*/ 2307932 w 8079933"/>
              <a:gd name="connsiteY2144" fmla="*/ 3469530 h 4687251"/>
              <a:gd name="connsiteX2145" fmla="*/ 2305544 w 8079933"/>
              <a:gd name="connsiteY2145" fmla="*/ 3473428 h 4687251"/>
              <a:gd name="connsiteX2146" fmla="*/ 2303917 w 8079933"/>
              <a:gd name="connsiteY2146" fmla="*/ 3477650 h 4687251"/>
              <a:gd name="connsiteX2147" fmla="*/ 2303917 w 8079933"/>
              <a:gd name="connsiteY2147" fmla="*/ 3477651 h 4687251"/>
              <a:gd name="connsiteX2148" fmla="*/ 2305545 w 8079933"/>
              <a:gd name="connsiteY2148" fmla="*/ 3473429 h 4687251"/>
              <a:gd name="connsiteX2149" fmla="*/ 2307932 w 8079933"/>
              <a:gd name="connsiteY2149" fmla="*/ 3469531 h 4687251"/>
              <a:gd name="connsiteX2150" fmla="*/ 2311296 w 8079933"/>
              <a:gd name="connsiteY2150" fmla="*/ 3470288 h 4687251"/>
              <a:gd name="connsiteX2151" fmla="*/ 2312380 w 8079933"/>
              <a:gd name="connsiteY2151" fmla="*/ 3470613 h 4687251"/>
              <a:gd name="connsiteX2152" fmla="*/ 2312380 w 8079933"/>
              <a:gd name="connsiteY2152" fmla="*/ 3470612 h 4687251"/>
              <a:gd name="connsiteX2153" fmla="*/ 2311295 w 8079933"/>
              <a:gd name="connsiteY2153" fmla="*/ 3470288 h 4687251"/>
              <a:gd name="connsiteX2154" fmla="*/ 2310753 w 8079933"/>
              <a:gd name="connsiteY2154" fmla="*/ 3467256 h 4687251"/>
              <a:gd name="connsiteX2155" fmla="*/ 2307714 w 8079933"/>
              <a:gd name="connsiteY2155" fmla="*/ 3466823 h 4687251"/>
              <a:gd name="connsiteX2156" fmla="*/ 4529143 w 8079933"/>
              <a:gd name="connsiteY2156" fmla="*/ 3462226 h 4687251"/>
              <a:gd name="connsiteX2157" fmla="*/ 4529810 w 8079933"/>
              <a:gd name="connsiteY2157" fmla="*/ 3462492 h 4687251"/>
              <a:gd name="connsiteX2158" fmla="*/ 4529809 w 8079933"/>
              <a:gd name="connsiteY2158" fmla="*/ 3462491 h 4687251"/>
              <a:gd name="connsiteX2159" fmla="*/ 7273761 w 8079933"/>
              <a:gd name="connsiteY2159" fmla="*/ 3461194 h 4687251"/>
              <a:gd name="connsiteX2160" fmla="*/ 7279947 w 8079933"/>
              <a:gd name="connsiteY2160" fmla="*/ 3462710 h 4687251"/>
              <a:gd name="connsiteX2161" fmla="*/ 7279730 w 8079933"/>
              <a:gd name="connsiteY2161" fmla="*/ 3464550 h 4687251"/>
              <a:gd name="connsiteX2162" fmla="*/ 7274521 w 8079933"/>
              <a:gd name="connsiteY2162" fmla="*/ 3465308 h 4687251"/>
              <a:gd name="connsiteX2163" fmla="*/ 7271699 w 8079933"/>
              <a:gd name="connsiteY2163" fmla="*/ 3468881 h 4687251"/>
              <a:gd name="connsiteX2164" fmla="*/ 7268878 w 8079933"/>
              <a:gd name="connsiteY2164" fmla="*/ 3469855 h 4687251"/>
              <a:gd name="connsiteX2165" fmla="*/ 7266817 w 8079933"/>
              <a:gd name="connsiteY2165" fmla="*/ 3467690 h 4687251"/>
              <a:gd name="connsiteX2166" fmla="*/ 7267902 w 8079933"/>
              <a:gd name="connsiteY2166" fmla="*/ 3464550 h 4687251"/>
              <a:gd name="connsiteX2167" fmla="*/ 4512664 w 8079933"/>
              <a:gd name="connsiteY2167" fmla="*/ 3460327 h 4687251"/>
              <a:gd name="connsiteX2168" fmla="*/ 4490201 w 8079933"/>
              <a:gd name="connsiteY2168" fmla="*/ 3465415 h 4687251"/>
              <a:gd name="connsiteX2169" fmla="*/ 4490201 w 8079933"/>
              <a:gd name="connsiteY2169" fmla="*/ 3465416 h 4687251"/>
              <a:gd name="connsiteX2170" fmla="*/ 4512664 w 8079933"/>
              <a:gd name="connsiteY2170" fmla="*/ 3460327 h 4687251"/>
              <a:gd name="connsiteX2171" fmla="*/ 4520585 w 8079933"/>
              <a:gd name="connsiteY2171" fmla="*/ 3459135 h 4687251"/>
              <a:gd name="connsiteX2172" fmla="*/ 4515159 w 8079933"/>
              <a:gd name="connsiteY2172" fmla="*/ 3460543 h 4687251"/>
              <a:gd name="connsiteX2173" fmla="*/ 4520586 w 8079933"/>
              <a:gd name="connsiteY2173" fmla="*/ 3459136 h 4687251"/>
              <a:gd name="connsiteX2174" fmla="*/ 4522214 w 8079933"/>
              <a:gd name="connsiteY2174" fmla="*/ 3460002 h 4687251"/>
              <a:gd name="connsiteX2175" fmla="*/ 4523190 w 8079933"/>
              <a:gd name="connsiteY2175" fmla="*/ 3460002 h 4687251"/>
              <a:gd name="connsiteX2176" fmla="*/ 4524818 w 8079933"/>
              <a:gd name="connsiteY2176" fmla="*/ 3461301 h 4687251"/>
              <a:gd name="connsiteX2177" fmla="*/ 4523190 w 8079933"/>
              <a:gd name="connsiteY2177" fmla="*/ 3460001 h 4687251"/>
              <a:gd name="connsiteX2178" fmla="*/ 4522213 w 8079933"/>
              <a:gd name="connsiteY2178" fmla="*/ 3460001 h 4687251"/>
              <a:gd name="connsiteX2179" fmla="*/ 4371593 w 8079933"/>
              <a:gd name="connsiteY2179" fmla="*/ 3457729 h 4687251"/>
              <a:gd name="connsiteX2180" fmla="*/ 4373980 w 8079933"/>
              <a:gd name="connsiteY2180" fmla="*/ 3462276 h 4687251"/>
              <a:gd name="connsiteX2181" fmla="*/ 4373980 w 8079933"/>
              <a:gd name="connsiteY2181" fmla="*/ 3462276 h 4687251"/>
              <a:gd name="connsiteX2182" fmla="*/ 4371593 w 8079933"/>
              <a:gd name="connsiteY2182" fmla="*/ 3457729 h 4687251"/>
              <a:gd name="connsiteX2183" fmla="*/ 4482930 w 8079933"/>
              <a:gd name="connsiteY2183" fmla="*/ 3456754 h 4687251"/>
              <a:gd name="connsiteX2184" fmla="*/ 4482931 w 8079933"/>
              <a:gd name="connsiteY2184" fmla="*/ 3456755 h 4687251"/>
              <a:gd name="connsiteX2185" fmla="*/ 4485861 w 8079933"/>
              <a:gd name="connsiteY2185" fmla="*/ 3460220 h 4687251"/>
              <a:gd name="connsiteX2186" fmla="*/ 4488791 w 8079933"/>
              <a:gd name="connsiteY2186" fmla="*/ 3461627 h 4687251"/>
              <a:gd name="connsiteX2187" fmla="*/ 4489029 w 8079933"/>
              <a:gd name="connsiteY2187" fmla="*/ 3462268 h 4687251"/>
              <a:gd name="connsiteX2188" fmla="*/ 4488790 w 8079933"/>
              <a:gd name="connsiteY2188" fmla="*/ 3461625 h 4687251"/>
              <a:gd name="connsiteX2189" fmla="*/ 4485860 w 8079933"/>
              <a:gd name="connsiteY2189" fmla="*/ 3460218 h 4687251"/>
              <a:gd name="connsiteX2190" fmla="*/ 4257107 w 8079933"/>
              <a:gd name="connsiteY2190" fmla="*/ 3450691 h 4687251"/>
              <a:gd name="connsiteX2191" fmla="*/ 4256565 w 8079933"/>
              <a:gd name="connsiteY2191" fmla="*/ 3452856 h 4687251"/>
              <a:gd name="connsiteX2192" fmla="*/ 4257108 w 8079933"/>
              <a:gd name="connsiteY2192" fmla="*/ 3450692 h 4687251"/>
              <a:gd name="connsiteX2193" fmla="*/ 4253961 w 8079933"/>
              <a:gd name="connsiteY2193" fmla="*/ 3448093 h 4687251"/>
              <a:gd name="connsiteX2194" fmla="*/ 4254204 w 8079933"/>
              <a:gd name="connsiteY2194" fmla="*/ 3449227 h 4687251"/>
              <a:gd name="connsiteX2195" fmla="*/ 4253961 w 8079933"/>
              <a:gd name="connsiteY2195" fmla="*/ 3448094 h 4687251"/>
              <a:gd name="connsiteX2196" fmla="*/ 4471781 w 8079933"/>
              <a:gd name="connsiteY2196" fmla="*/ 3446935 h 4687251"/>
              <a:gd name="connsiteX2197" fmla="*/ 4474467 w 8079933"/>
              <a:gd name="connsiteY2197" fmla="*/ 3450151 h 4687251"/>
              <a:gd name="connsiteX2198" fmla="*/ 4477613 w 8079933"/>
              <a:gd name="connsiteY2198" fmla="*/ 3452857 h 4687251"/>
              <a:gd name="connsiteX2199" fmla="*/ 4481195 w 8079933"/>
              <a:gd name="connsiteY2199" fmla="*/ 3454265 h 4687251"/>
              <a:gd name="connsiteX2200" fmla="*/ 4482798 w 8079933"/>
              <a:gd name="connsiteY2200" fmla="*/ 3456565 h 4687251"/>
              <a:gd name="connsiteX2201" fmla="*/ 4481194 w 8079933"/>
              <a:gd name="connsiteY2201" fmla="*/ 3454264 h 4687251"/>
              <a:gd name="connsiteX2202" fmla="*/ 4477612 w 8079933"/>
              <a:gd name="connsiteY2202" fmla="*/ 3452856 h 4687251"/>
              <a:gd name="connsiteX2203" fmla="*/ 4474466 w 8079933"/>
              <a:gd name="connsiteY2203" fmla="*/ 3450149 h 4687251"/>
              <a:gd name="connsiteX2204" fmla="*/ 4718638 w 8079933"/>
              <a:gd name="connsiteY2204" fmla="*/ 3443256 h 4687251"/>
              <a:gd name="connsiteX2205" fmla="*/ 4720907 w 8079933"/>
              <a:gd name="connsiteY2205" fmla="*/ 3443438 h 4687251"/>
              <a:gd name="connsiteX2206" fmla="*/ 4720907 w 8079933"/>
              <a:gd name="connsiteY2206" fmla="*/ 3443437 h 4687251"/>
              <a:gd name="connsiteX2207" fmla="*/ 5126001 w 8079933"/>
              <a:gd name="connsiteY2207" fmla="*/ 3441055 h 4687251"/>
              <a:gd name="connsiteX2208" fmla="*/ 5124699 w 8079933"/>
              <a:gd name="connsiteY2208" fmla="*/ 3445169 h 4687251"/>
              <a:gd name="connsiteX2209" fmla="*/ 5123179 w 8079933"/>
              <a:gd name="connsiteY2209" fmla="*/ 3447984 h 4687251"/>
              <a:gd name="connsiteX2210" fmla="*/ 5121118 w 8079933"/>
              <a:gd name="connsiteY2210" fmla="*/ 3452423 h 4687251"/>
              <a:gd name="connsiteX2211" fmla="*/ 5121009 w 8079933"/>
              <a:gd name="connsiteY2211" fmla="*/ 3449283 h 4687251"/>
              <a:gd name="connsiteX2212" fmla="*/ 5121334 w 8079933"/>
              <a:gd name="connsiteY2212" fmla="*/ 3446251 h 4687251"/>
              <a:gd name="connsiteX2213" fmla="*/ 5122745 w 8079933"/>
              <a:gd name="connsiteY2213" fmla="*/ 3443870 h 4687251"/>
              <a:gd name="connsiteX2214" fmla="*/ 5124156 w 8079933"/>
              <a:gd name="connsiteY2214" fmla="*/ 3443870 h 4687251"/>
              <a:gd name="connsiteX2215" fmla="*/ 7217875 w 8079933"/>
              <a:gd name="connsiteY2215" fmla="*/ 3437807 h 4687251"/>
              <a:gd name="connsiteX2216" fmla="*/ 7220479 w 8079933"/>
              <a:gd name="connsiteY2216" fmla="*/ 3441380 h 4687251"/>
              <a:gd name="connsiteX2217" fmla="*/ 7217984 w 8079933"/>
              <a:gd name="connsiteY2217" fmla="*/ 3444628 h 4687251"/>
              <a:gd name="connsiteX2218" fmla="*/ 7216356 w 8079933"/>
              <a:gd name="connsiteY2218" fmla="*/ 3441705 h 4687251"/>
              <a:gd name="connsiteX2219" fmla="*/ 6910882 w 8079933"/>
              <a:gd name="connsiteY2219" fmla="*/ 3434992 h 4687251"/>
              <a:gd name="connsiteX2220" fmla="*/ 6913269 w 8079933"/>
              <a:gd name="connsiteY2220" fmla="*/ 3438565 h 4687251"/>
              <a:gd name="connsiteX2221" fmla="*/ 6913704 w 8079933"/>
              <a:gd name="connsiteY2221" fmla="*/ 3443653 h 4687251"/>
              <a:gd name="connsiteX2222" fmla="*/ 6911316 w 8079933"/>
              <a:gd name="connsiteY2222" fmla="*/ 3442029 h 4687251"/>
              <a:gd name="connsiteX2223" fmla="*/ 4458406 w 8079933"/>
              <a:gd name="connsiteY2223" fmla="*/ 3433476 h 4687251"/>
              <a:gd name="connsiteX2224" fmla="*/ 4458407 w 8079933"/>
              <a:gd name="connsiteY2224" fmla="*/ 3433477 h 4687251"/>
              <a:gd name="connsiteX2225" fmla="*/ 4461661 w 8079933"/>
              <a:gd name="connsiteY2225" fmla="*/ 3437375 h 4687251"/>
              <a:gd name="connsiteX2226" fmla="*/ 4464483 w 8079933"/>
              <a:gd name="connsiteY2226" fmla="*/ 3439973 h 4687251"/>
              <a:gd name="connsiteX2227" fmla="*/ 4466545 w 8079933"/>
              <a:gd name="connsiteY2227" fmla="*/ 3442572 h 4687251"/>
              <a:gd name="connsiteX2228" fmla="*/ 4469583 w 8079933"/>
              <a:gd name="connsiteY2228" fmla="*/ 3444303 h 4687251"/>
              <a:gd name="connsiteX2229" fmla="*/ 4469583 w 8079933"/>
              <a:gd name="connsiteY2229" fmla="*/ 3444303 h 4687251"/>
              <a:gd name="connsiteX2230" fmla="*/ 4466544 w 8079933"/>
              <a:gd name="connsiteY2230" fmla="*/ 3442570 h 4687251"/>
              <a:gd name="connsiteX2231" fmla="*/ 4464482 w 8079933"/>
              <a:gd name="connsiteY2231" fmla="*/ 3439972 h 4687251"/>
              <a:gd name="connsiteX2232" fmla="*/ 4461660 w 8079933"/>
              <a:gd name="connsiteY2232" fmla="*/ 3437373 h 4687251"/>
              <a:gd name="connsiteX2233" fmla="*/ 2313140 w 8079933"/>
              <a:gd name="connsiteY2233" fmla="*/ 3425356 h 4687251"/>
              <a:gd name="connsiteX2234" fmla="*/ 2319977 w 8079933"/>
              <a:gd name="connsiteY2234" fmla="*/ 3441163 h 4687251"/>
              <a:gd name="connsiteX2235" fmla="*/ 2319977 w 8079933"/>
              <a:gd name="connsiteY2235" fmla="*/ 3441163 h 4687251"/>
              <a:gd name="connsiteX2236" fmla="*/ 6914897 w 8079933"/>
              <a:gd name="connsiteY2236" fmla="*/ 3424706 h 4687251"/>
              <a:gd name="connsiteX2237" fmla="*/ 6918261 w 8079933"/>
              <a:gd name="connsiteY2237" fmla="*/ 3428928 h 4687251"/>
              <a:gd name="connsiteX2238" fmla="*/ 6914355 w 8079933"/>
              <a:gd name="connsiteY2238" fmla="*/ 3429686 h 4687251"/>
              <a:gd name="connsiteX2239" fmla="*/ 6912618 w 8079933"/>
              <a:gd name="connsiteY2239" fmla="*/ 3427304 h 4687251"/>
              <a:gd name="connsiteX2240" fmla="*/ 6914897 w 8079933"/>
              <a:gd name="connsiteY2240" fmla="*/ 3424706 h 4687251"/>
              <a:gd name="connsiteX2241" fmla="*/ 4679454 w 8079933"/>
              <a:gd name="connsiteY2241" fmla="*/ 3424165 h 4687251"/>
              <a:gd name="connsiteX2242" fmla="*/ 4677934 w 8079933"/>
              <a:gd name="connsiteY2242" fmla="*/ 3426547 h 4687251"/>
              <a:gd name="connsiteX2243" fmla="*/ 4677935 w 8079933"/>
              <a:gd name="connsiteY2243" fmla="*/ 3426547 h 4687251"/>
              <a:gd name="connsiteX2244" fmla="*/ 4789273 w 8079933"/>
              <a:gd name="connsiteY2244" fmla="*/ 3423841 h 4687251"/>
              <a:gd name="connsiteX2245" fmla="*/ 4786018 w 8079933"/>
              <a:gd name="connsiteY2245" fmla="*/ 3426547 h 4687251"/>
              <a:gd name="connsiteX2246" fmla="*/ 4783161 w 8079933"/>
              <a:gd name="connsiteY2246" fmla="*/ 3427370 h 4687251"/>
              <a:gd name="connsiteX2247" fmla="*/ 4786017 w 8079933"/>
              <a:gd name="connsiteY2247" fmla="*/ 3426547 h 4687251"/>
              <a:gd name="connsiteX2248" fmla="*/ 4643535 w 8079933"/>
              <a:gd name="connsiteY2248" fmla="*/ 3413662 h 4687251"/>
              <a:gd name="connsiteX2249" fmla="*/ 4638652 w 8079933"/>
              <a:gd name="connsiteY2249" fmla="*/ 3415502 h 4687251"/>
              <a:gd name="connsiteX2250" fmla="*/ 4635396 w 8079933"/>
              <a:gd name="connsiteY2250" fmla="*/ 3417018 h 4687251"/>
              <a:gd name="connsiteX2251" fmla="*/ 4631598 w 8079933"/>
              <a:gd name="connsiteY2251" fmla="*/ 3418101 h 4687251"/>
              <a:gd name="connsiteX2252" fmla="*/ 4624978 w 8079933"/>
              <a:gd name="connsiteY2252" fmla="*/ 3421565 h 4687251"/>
              <a:gd name="connsiteX2253" fmla="*/ 4623025 w 8079933"/>
              <a:gd name="connsiteY2253" fmla="*/ 3425138 h 4687251"/>
              <a:gd name="connsiteX2254" fmla="*/ 4623676 w 8079933"/>
              <a:gd name="connsiteY2254" fmla="*/ 3427304 h 4687251"/>
              <a:gd name="connsiteX2255" fmla="*/ 4622482 w 8079933"/>
              <a:gd name="connsiteY2255" fmla="*/ 3429686 h 4687251"/>
              <a:gd name="connsiteX2256" fmla="*/ 4623025 w 8079933"/>
              <a:gd name="connsiteY2256" fmla="*/ 3431852 h 4687251"/>
              <a:gd name="connsiteX2257" fmla="*/ 4622591 w 8079933"/>
              <a:gd name="connsiteY2257" fmla="*/ 3433583 h 4687251"/>
              <a:gd name="connsiteX2258" fmla="*/ 4620529 w 8079933"/>
              <a:gd name="connsiteY2258" fmla="*/ 3435208 h 4687251"/>
              <a:gd name="connsiteX2259" fmla="*/ 4612499 w 8079933"/>
              <a:gd name="connsiteY2259" fmla="*/ 3438023 h 4687251"/>
              <a:gd name="connsiteX2260" fmla="*/ 4598392 w 8079933"/>
              <a:gd name="connsiteY2260" fmla="*/ 3447550 h 4687251"/>
              <a:gd name="connsiteX2261" fmla="*/ 4587106 w 8079933"/>
              <a:gd name="connsiteY2261" fmla="*/ 3461517 h 4687251"/>
              <a:gd name="connsiteX2262" fmla="*/ 4580052 w 8079933"/>
              <a:gd name="connsiteY2262" fmla="*/ 3471695 h 4687251"/>
              <a:gd name="connsiteX2263" fmla="*/ 4573541 w 8079933"/>
              <a:gd name="connsiteY2263" fmla="*/ 3473752 h 4687251"/>
              <a:gd name="connsiteX2264" fmla="*/ 4569092 w 8079933"/>
              <a:gd name="connsiteY2264" fmla="*/ 3472778 h 4687251"/>
              <a:gd name="connsiteX2265" fmla="*/ 4567302 w 8079933"/>
              <a:gd name="connsiteY2265" fmla="*/ 3471371 h 4687251"/>
              <a:gd name="connsiteX2266" fmla="*/ 4569093 w 8079933"/>
              <a:gd name="connsiteY2266" fmla="*/ 3472779 h 4687251"/>
              <a:gd name="connsiteX2267" fmla="*/ 4573542 w 8079933"/>
              <a:gd name="connsiteY2267" fmla="*/ 3473753 h 4687251"/>
              <a:gd name="connsiteX2268" fmla="*/ 4580053 w 8079933"/>
              <a:gd name="connsiteY2268" fmla="*/ 3471696 h 4687251"/>
              <a:gd name="connsiteX2269" fmla="*/ 4587107 w 8079933"/>
              <a:gd name="connsiteY2269" fmla="*/ 3461518 h 4687251"/>
              <a:gd name="connsiteX2270" fmla="*/ 4598393 w 8079933"/>
              <a:gd name="connsiteY2270" fmla="*/ 3447552 h 4687251"/>
              <a:gd name="connsiteX2271" fmla="*/ 4612500 w 8079933"/>
              <a:gd name="connsiteY2271" fmla="*/ 3438024 h 4687251"/>
              <a:gd name="connsiteX2272" fmla="*/ 4620530 w 8079933"/>
              <a:gd name="connsiteY2272" fmla="*/ 3435208 h 4687251"/>
              <a:gd name="connsiteX2273" fmla="*/ 4622592 w 8079933"/>
              <a:gd name="connsiteY2273" fmla="*/ 3433585 h 4687251"/>
              <a:gd name="connsiteX2274" fmla="*/ 4623026 w 8079933"/>
              <a:gd name="connsiteY2274" fmla="*/ 3431852 h 4687251"/>
              <a:gd name="connsiteX2275" fmla="*/ 4622483 w 8079933"/>
              <a:gd name="connsiteY2275" fmla="*/ 3429687 h 4687251"/>
              <a:gd name="connsiteX2276" fmla="*/ 4623677 w 8079933"/>
              <a:gd name="connsiteY2276" fmla="*/ 3427304 h 4687251"/>
              <a:gd name="connsiteX2277" fmla="*/ 4623026 w 8079933"/>
              <a:gd name="connsiteY2277" fmla="*/ 3425140 h 4687251"/>
              <a:gd name="connsiteX2278" fmla="*/ 4624979 w 8079933"/>
              <a:gd name="connsiteY2278" fmla="*/ 3421567 h 4687251"/>
              <a:gd name="connsiteX2279" fmla="*/ 4631598 w 8079933"/>
              <a:gd name="connsiteY2279" fmla="*/ 3418102 h 4687251"/>
              <a:gd name="connsiteX2280" fmla="*/ 4635396 w 8079933"/>
              <a:gd name="connsiteY2280" fmla="*/ 3417019 h 4687251"/>
              <a:gd name="connsiteX2281" fmla="*/ 4638652 w 8079933"/>
              <a:gd name="connsiteY2281" fmla="*/ 3415503 h 4687251"/>
              <a:gd name="connsiteX2282" fmla="*/ 4643536 w 8079933"/>
              <a:gd name="connsiteY2282" fmla="*/ 3413663 h 4687251"/>
              <a:gd name="connsiteX2283" fmla="*/ 4650047 w 8079933"/>
              <a:gd name="connsiteY2283" fmla="*/ 3413771 h 4687251"/>
              <a:gd name="connsiteX2284" fmla="*/ 4650046 w 8079933"/>
              <a:gd name="connsiteY2284" fmla="*/ 3413770 h 4687251"/>
              <a:gd name="connsiteX2285" fmla="*/ 4661451 w 8079933"/>
              <a:gd name="connsiteY2285" fmla="*/ 3412829 h 4687251"/>
              <a:gd name="connsiteX2286" fmla="*/ 4661548 w 8079933"/>
              <a:gd name="connsiteY2286" fmla="*/ 3415069 h 4687251"/>
              <a:gd name="connsiteX2287" fmla="*/ 4660680 w 8079933"/>
              <a:gd name="connsiteY2287" fmla="*/ 3415177 h 4687251"/>
              <a:gd name="connsiteX2288" fmla="*/ 4658618 w 8079933"/>
              <a:gd name="connsiteY2288" fmla="*/ 3415502 h 4687251"/>
              <a:gd name="connsiteX2289" fmla="*/ 4653736 w 8079933"/>
              <a:gd name="connsiteY2289" fmla="*/ 3414853 h 4687251"/>
              <a:gd name="connsiteX2290" fmla="*/ 4651239 w 8079933"/>
              <a:gd name="connsiteY2290" fmla="*/ 3415177 h 4687251"/>
              <a:gd name="connsiteX2291" fmla="*/ 4650483 w 8079933"/>
              <a:gd name="connsiteY2291" fmla="*/ 3414286 h 4687251"/>
              <a:gd name="connsiteX2292" fmla="*/ 4651240 w 8079933"/>
              <a:gd name="connsiteY2292" fmla="*/ 3415179 h 4687251"/>
              <a:gd name="connsiteX2293" fmla="*/ 4653736 w 8079933"/>
              <a:gd name="connsiteY2293" fmla="*/ 3414853 h 4687251"/>
              <a:gd name="connsiteX2294" fmla="*/ 4658619 w 8079933"/>
              <a:gd name="connsiteY2294" fmla="*/ 3415503 h 4687251"/>
              <a:gd name="connsiteX2295" fmla="*/ 4660681 w 8079933"/>
              <a:gd name="connsiteY2295" fmla="*/ 3415179 h 4687251"/>
              <a:gd name="connsiteX2296" fmla="*/ 4661549 w 8079933"/>
              <a:gd name="connsiteY2296" fmla="*/ 3415070 h 4687251"/>
              <a:gd name="connsiteX2297" fmla="*/ 2313182 w 8079933"/>
              <a:gd name="connsiteY2297" fmla="*/ 3411169 h 4687251"/>
              <a:gd name="connsiteX2298" fmla="*/ 2313466 w 8079933"/>
              <a:gd name="connsiteY2298" fmla="*/ 3412472 h 4687251"/>
              <a:gd name="connsiteX2299" fmla="*/ 2313939 w 8079933"/>
              <a:gd name="connsiteY2299" fmla="*/ 3413415 h 4687251"/>
              <a:gd name="connsiteX2300" fmla="*/ 2313466 w 8079933"/>
              <a:gd name="connsiteY2300" fmla="*/ 3412471 h 4687251"/>
              <a:gd name="connsiteX2301" fmla="*/ 6932369 w 8079933"/>
              <a:gd name="connsiteY2301" fmla="*/ 3405759 h 4687251"/>
              <a:gd name="connsiteX2302" fmla="*/ 6934322 w 8079933"/>
              <a:gd name="connsiteY2302" fmla="*/ 3406083 h 4687251"/>
              <a:gd name="connsiteX2303" fmla="*/ 6933780 w 8079933"/>
              <a:gd name="connsiteY2303" fmla="*/ 3408573 h 4687251"/>
              <a:gd name="connsiteX2304" fmla="*/ 6930958 w 8079933"/>
              <a:gd name="connsiteY2304" fmla="*/ 3408248 h 4687251"/>
              <a:gd name="connsiteX2305" fmla="*/ 4791334 w 8079933"/>
              <a:gd name="connsiteY2305" fmla="*/ 3402294 h 4687251"/>
              <a:gd name="connsiteX2306" fmla="*/ 4788731 w 8079933"/>
              <a:gd name="connsiteY2306" fmla="*/ 3402619 h 4687251"/>
              <a:gd name="connsiteX2307" fmla="*/ 4788731 w 8079933"/>
              <a:gd name="connsiteY2307" fmla="*/ 3402619 h 4687251"/>
              <a:gd name="connsiteX2308" fmla="*/ 4791334 w 8079933"/>
              <a:gd name="connsiteY2308" fmla="*/ 3402295 h 4687251"/>
              <a:gd name="connsiteX2309" fmla="*/ 4761710 w 8079933"/>
              <a:gd name="connsiteY2309" fmla="*/ 3397205 h 4687251"/>
              <a:gd name="connsiteX2310" fmla="*/ 4761167 w 8079933"/>
              <a:gd name="connsiteY2310" fmla="*/ 3402619 h 4687251"/>
              <a:gd name="connsiteX2311" fmla="*/ 4756175 w 8079933"/>
              <a:gd name="connsiteY2311" fmla="*/ 3408033 h 4687251"/>
              <a:gd name="connsiteX2312" fmla="*/ 4754981 w 8079933"/>
              <a:gd name="connsiteY2312" fmla="*/ 3413446 h 4687251"/>
              <a:gd name="connsiteX2313" fmla="*/ 4751834 w 8079933"/>
              <a:gd name="connsiteY2313" fmla="*/ 3417778 h 4687251"/>
              <a:gd name="connsiteX2314" fmla="*/ 4752377 w 8079933"/>
              <a:gd name="connsiteY2314" fmla="*/ 3421784 h 4687251"/>
              <a:gd name="connsiteX2315" fmla="*/ 4754439 w 8079933"/>
              <a:gd name="connsiteY2315" fmla="*/ 3427088 h 4687251"/>
              <a:gd name="connsiteX2316" fmla="*/ 4754981 w 8079933"/>
              <a:gd name="connsiteY2316" fmla="*/ 3430878 h 4687251"/>
              <a:gd name="connsiteX2317" fmla="*/ 4759105 w 8079933"/>
              <a:gd name="connsiteY2317" fmla="*/ 3435859 h 4687251"/>
              <a:gd name="connsiteX2318" fmla="*/ 4763120 w 8079933"/>
              <a:gd name="connsiteY2318" fmla="*/ 3439648 h 4687251"/>
              <a:gd name="connsiteX2319" fmla="*/ 4766158 w 8079933"/>
              <a:gd name="connsiteY2319" fmla="*/ 3441380 h 4687251"/>
              <a:gd name="connsiteX2320" fmla="*/ 4768871 w 8079933"/>
              <a:gd name="connsiteY2320" fmla="*/ 3443545 h 4687251"/>
              <a:gd name="connsiteX2321" fmla="*/ 4772019 w 8079933"/>
              <a:gd name="connsiteY2321" fmla="*/ 3447877 h 4687251"/>
              <a:gd name="connsiteX2322" fmla="*/ 4770499 w 8079933"/>
              <a:gd name="connsiteY2322" fmla="*/ 3450800 h 4687251"/>
              <a:gd name="connsiteX2323" fmla="*/ 4771693 w 8079933"/>
              <a:gd name="connsiteY2323" fmla="*/ 3454265 h 4687251"/>
              <a:gd name="connsiteX2324" fmla="*/ 4776359 w 8079933"/>
              <a:gd name="connsiteY2324" fmla="*/ 3453182 h 4687251"/>
              <a:gd name="connsiteX2325" fmla="*/ 4776359 w 8079933"/>
              <a:gd name="connsiteY2325" fmla="*/ 3453181 h 4687251"/>
              <a:gd name="connsiteX2326" fmla="*/ 4771694 w 8079933"/>
              <a:gd name="connsiteY2326" fmla="*/ 3454264 h 4687251"/>
              <a:gd name="connsiteX2327" fmla="*/ 4770500 w 8079933"/>
              <a:gd name="connsiteY2327" fmla="*/ 3450800 h 4687251"/>
              <a:gd name="connsiteX2328" fmla="*/ 4772020 w 8079933"/>
              <a:gd name="connsiteY2328" fmla="*/ 3447877 h 4687251"/>
              <a:gd name="connsiteX2329" fmla="*/ 4768872 w 8079933"/>
              <a:gd name="connsiteY2329" fmla="*/ 3443545 h 4687251"/>
              <a:gd name="connsiteX2330" fmla="*/ 4766159 w 8079933"/>
              <a:gd name="connsiteY2330" fmla="*/ 3441380 h 4687251"/>
              <a:gd name="connsiteX2331" fmla="*/ 4763121 w 8079933"/>
              <a:gd name="connsiteY2331" fmla="*/ 3439648 h 4687251"/>
              <a:gd name="connsiteX2332" fmla="*/ 4759106 w 8079933"/>
              <a:gd name="connsiteY2332" fmla="*/ 3435858 h 4687251"/>
              <a:gd name="connsiteX2333" fmla="*/ 4754983 w 8079933"/>
              <a:gd name="connsiteY2333" fmla="*/ 3430878 h 4687251"/>
              <a:gd name="connsiteX2334" fmla="*/ 4754440 w 8079933"/>
              <a:gd name="connsiteY2334" fmla="*/ 3427088 h 4687251"/>
              <a:gd name="connsiteX2335" fmla="*/ 4752378 w 8079933"/>
              <a:gd name="connsiteY2335" fmla="*/ 3421783 h 4687251"/>
              <a:gd name="connsiteX2336" fmla="*/ 4751835 w 8079933"/>
              <a:gd name="connsiteY2336" fmla="*/ 3417777 h 4687251"/>
              <a:gd name="connsiteX2337" fmla="*/ 4754983 w 8079933"/>
              <a:gd name="connsiteY2337" fmla="*/ 3413446 h 4687251"/>
              <a:gd name="connsiteX2338" fmla="*/ 4756176 w 8079933"/>
              <a:gd name="connsiteY2338" fmla="*/ 3408033 h 4687251"/>
              <a:gd name="connsiteX2339" fmla="*/ 4761168 w 8079933"/>
              <a:gd name="connsiteY2339" fmla="*/ 3402619 h 4687251"/>
              <a:gd name="connsiteX2340" fmla="*/ 7214077 w 8079933"/>
              <a:gd name="connsiteY2340" fmla="*/ 3388436 h 4687251"/>
              <a:gd name="connsiteX2341" fmla="*/ 7214186 w 8079933"/>
              <a:gd name="connsiteY2341" fmla="*/ 3392225 h 4687251"/>
              <a:gd name="connsiteX2342" fmla="*/ 7218093 w 8079933"/>
              <a:gd name="connsiteY2342" fmla="*/ 3391142 h 4687251"/>
              <a:gd name="connsiteX2343" fmla="*/ 7218636 w 8079933"/>
              <a:gd name="connsiteY2343" fmla="*/ 3392117 h 4687251"/>
              <a:gd name="connsiteX2344" fmla="*/ 7214621 w 8079933"/>
              <a:gd name="connsiteY2344" fmla="*/ 3395907 h 4687251"/>
              <a:gd name="connsiteX2345" fmla="*/ 7215706 w 8079933"/>
              <a:gd name="connsiteY2345" fmla="*/ 3397206 h 4687251"/>
              <a:gd name="connsiteX2346" fmla="*/ 7217659 w 8079933"/>
              <a:gd name="connsiteY2346" fmla="*/ 3396773 h 4687251"/>
              <a:gd name="connsiteX2347" fmla="*/ 7219396 w 8079933"/>
              <a:gd name="connsiteY2347" fmla="*/ 3397530 h 4687251"/>
              <a:gd name="connsiteX2348" fmla="*/ 7217985 w 8079933"/>
              <a:gd name="connsiteY2348" fmla="*/ 3401213 h 4687251"/>
              <a:gd name="connsiteX2349" fmla="*/ 7211691 w 8079933"/>
              <a:gd name="connsiteY2349" fmla="*/ 3400238 h 4687251"/>
              <a:gd name="connsiteX2350" fmla="*/ 7207892 w 8079933"/>
              <a:gd name="connsiteY2350" fmla="*/ 3401645 h 4687251"/>
              <a:gd name="connsiteX2351" fmla="*/ 7206265 w 8079933"/>
              <a:gd name="connsiteY2351" fmla="*/ 3401320 h 4687251"/>
              <a:gd name="connsiteX2352" fmla="*/ 7208652 w 8079933"/>
              <a:gd name="connsiteY2352" fmla="*/ 3399263 h 4687251"/>
              <a:gd name="connsiteX2353" fmla="*/ 7207025 w 8079933"/>
              <a:gd name="connsiteY2353" fmla="*/ 3393958 h 4687251"/>
              <a:gd name="connsiteX2354" fmla="*/ 7207892 w 8079933"/>
              <a:gd name="connsiteY2354" fmla="*/ 3392983 h 4687251"/>
              <a:gd name="connsiteX2355" fmla="*/ 7206916 w 8079933"/>
              <a:gd name="connsiteY2355" fmla="*/ 3391684 h 4687251"/>
              <a:gd name="connsiteX2356" fmla="*/ 7210605 w 8079933"/>
              <a:gd name="connsiteY2356" fmla="*/ 3391901 h 4687251"/>
              <a:gd name="connsiteX2357" fmla="*/ 7211365 w 8079933"/>
              <a:gd name="connsiteY2357" fmla="*/ 3389735 h 4687251"/>
              <a:gd name="connsiteX2358" fmla="*/ 4743045 w 8079933"/>
              <a:gd name="connsiteY2358" fmla="*/ 3387678 h 4687251"/>
              <a:gd name="connsiteX2359" fmla="*/ 4742483 w 8079933"/>
              <a:gd name="connsiteY2359" fmla="*/ 3388008 h 4687251"/>
              <a:gd name="connsiteX2360" fmla="*/ 4743045 w 8079933"/>
              <a:gd name="connsiteY2360" fmla="*/ 3387678 h 4687251"/>
              <a:gd name="connsiteX2361" fmla="*/ 4745975 w 8079933"/>
              <a:gd name="connsiteY2361" fmla="*/ 3387678 h 4687251"/>
              <a:gd name="connsiteX2362" fmla="*/ 4745975 w 8079933"/>
              <a:gd name="connsiteY2362" fmla="*/ 3387678 h 4687251"/>
              <a:gd name="connsiteX2363" fmla="*/ 7202792 w 8079933"/>
              <a:gd name="connsiteY2363" fmla="*/ 3387353 h 4687251"/>
              <a:gd name="connsiteX2364" fmla="*/ 7205178 w 8079933"/>
              <a:gd name="connsiteY2364" fmla="*/ 3390601 h 4687251"/>
              <a:gd name="connsiteX2365" fmla="*/ 7202465 w 8079933"/>
              <a:gd name="connsiteY2365" fmla="*/ 3393632 h 4687251"/>
              <a:gd name="connsiteX2366" fmla="*/ 7201815 w 8079933"/>
              <a:gd name="connsiteY2366" fmla="*/ 3391250 h 4687251"/>
              <a:gd name="connsiteX2367" fmla="*/ 7200513 w 8079933"/>
              <a:gd name="connsiteY2367" fmla="*/ 3392116 h 4687251"/>
              <a:gd name="connsiteX2368" fmla="*/ 7200079 w 8079933"/>
              <a:gd name="connsiteY2368" fmla="*/ 3389951 h 4687251"/>
              <a:gd name="connsiteX2369" fmla="*/ 4753029 w 8079933"/>
              <a:gd name="connsiteY2369" fmla="*/ 3385296 h 4687251"/>
              <a:gd name="connsiteX2370" fmla="*/ 4748037 w 8079933"/>
              <a:gd name="connsiteY2370" fmla="*/ 3385512 h 4687251"/>
              <a:gd name="connsiteX2371" fmla="*/ 4748037 w 8079933"/>
              <a:gd name="connsiteY2371" fmla="*/ 3385513 h 4687251"/>
              <a:gd name="connsiteX2372" fmla="*/ 4753028 w 8079933"/>
              <a:gd name="connsiteY2372" fmla="*/ 3385296 h 4687251"/>
              <a:gd name="connsiteX2373" fmla="*/ 4759430 w 8079933"/>
              <a:gd name="connsiteY2373" fmla="*/ 3386812 h 4687251"/>
              <a:gd name="connsiteX2374" fmla="*/ 4761710 w 8079933"/>
              <a:gd name="connsiteY2374" fmla="*/ 3390601 h 4687251"/>
              <a:gd name="connsiteX2375" fmla="*/ 4761710 w 8079933"/>
              <a:gd name="connsiteY2375" fmla="*/ 3390601 h 4687251"/>
              <a:gd name="connsiteX2376" fmla="*/ 4759431 w 8079933"/>
              <a:gd name="connsiteY2376" fmla="*/ 3386811 h 4687251"/>
              <a:gd name="connsiteX2377" fmla="*/ 4643100 w 8079933"/>
              <a:gd name="connsiteY2377" fmla="*/ 3357903 h 4687251"/>
              <a:gd name="connsiteX2378" fmla="*/ 4643535 w 8079933"/>
              <a:gd name="connsiteY2378" fmla="*/ 3359310 h 4687251"/>
              <a:gd name="connsiteX2379" fmla="*/ 4643101 w 8079933"/>
              <a:gd name="connsiteY2379" fmla="*/ 3357903 h 4687251"/>
              <a:gd name="connsiteX2380" fmla="*/ 5096701 w 8079933"/>
              <a:gd name="connsiteY2380" fmla="*/ 3356821 h 4687251"/>
              <a:gd name="connsiteX2381" fmla="*/ 5097786 w 8079933"/>
              <a:gd name="connsiteY2381" fmla="*/ 3358770 h 4687251"/>
              <a:gd name="connsiteX2382" fmla="*/ 5096701 w 8079933"/>
              <a:gd name="connsiteY2382" fmla="*/ 3360069 h 4687251"/>
              <a:gd name="connsiteX2383" fmla="*/ 5096159 w 8079933"/>
              <a:gd name="connsiteY2383" fmla="*/ 3358120 h 4687251"/>
              <a:gd name="connsiteX2384" fmla="*/ 5089322 w 8079933"/>
              <a:gd name="connsiteY2384" fmla="*/ 3355955 h 4687251"/>
              <a:gd name="connsiteX2385" fmla="*/ 5090190 w 8079933"/>
              <a:gd name="connsiteY2385" fmla="*/ 3356929 h 4687251"/>
              <a:gd name="connsiteX2386" fmla="*/ 5092794 w 8079933"/>
              <a:gd name="connsiteY2386" fmla="*/ 3358445 h 4687251"/>
              <a:gd name="connsiteX2387" fmla="*/ 5091818 w 8079933"/>
              <a:gd name="connsiteY2387" fmla="*/ 3362992 h 4687251"/>
              <a:gd name="connsiteX2388" fmla="*/ 5089322 w 8079933"/>
              <a:gd name="connsiteY2388" fmla="*/ 3360718 h 4687251"/>
              <a:gd name="connsiteX2389" fmla="*/ 5086067 w 8079933"/>
              <a:gd name="connsiteY2389" fmla="*/ 3360611 h 4687251"/>
              <a:gd name="connsiteX2390" fmla="*/ 5088454 w 8079933"/>
              <a:gd name="connsiteY2390" fmla="*/ 3356929 h 4687251"/>
              <a:gd name="connsiteX2391" fmla="*/ 5100608 w 8079933"/>
              <a:gd name="connsiteY2391" fmla="*/ 3344694 h 4687251"/>
              <a:gd name="connsiteX2392" fmla="*/ 5100500 w 8079933"/>
              <a:gd name="connsiteY2392" fmla="*/ 3346318 h 4687251"/>
              <a:gd name="connsiteX2393" fmla="*/ 5097678 w 8079933"/>
              <a:gd name="connsiteY2393" fmla="*/ 3350648 h 4687251"/>
              <a:gd name="connsiteX2394" fmla="*/ 5096593 w 8079933"/>
              <a:gd name="connsiteY2394" fmla="*/ 3348700 h 4687251"/>
              <a:gd name="connsiteX2395" fmla="*/ 7186624 w 8079933"/>
              <a:gd name="connsiteY2395" fmla="*/ 3343287 h 4687251"/>
              <a:gd name="connsiteX2396" fmla="*/ 7186949 w 8079933"/>
              <a:gd name="connsiteY2396" fmla="*/ 3344694 h 4687251"/>
              <a:gd name="connsiteX2397" fmla="*/ 7182717 w 8079933"/>
              <a:gd name="connsiteY2397" fmla="*/ 3346426 h 4687251"/>
              <a:gd name="connsiteX2398" fmla="*/ 7180872 w 8079933"/>
              <a:gd name="connsiteY2398" fmla="*/ 3345019 h 4687251"/>
              <a:gd name="connsiteX2399" fmla="*/ 5017049 w 8079933"/>
              <a:gd name="connsiteY2399" fmla="*/ 3342530 h 4687251"/>
              <a:gd name="connsiteX2400" fmla="*/ 5019979 w 8079933"/>
              <a:gd name="connsiteY2400" fmla="*/ 3346211 h 4687251"/>
              <a:gd name="connsiteX2401" fmla="*/ 5015530 w 8079933"/>
              <a:gd name="connsiteY2401" fmla="*/ 3353465 h 4687251"/>
              <a:gd name="connsiteX2402" fmla="*/ 5014011 w 8079933"/>
              <a:gd name="connsiteY2402" fmla="*/ 3351408 h 4687251"/>
              <a:gd name="connsiteX2403" fmla="*/ 5014879 w 8079933"/>
              <a:gd name="connsiteY2403" fmla="*/ 3347077 h 4687251"/>
              <a:gd name="connsiteX2404" fmla="*/ 5014336 w 8079933"/>
              <a:gd name="connsiteY2404" fmla="*/ 3343179 h 4687251"/>
              <a:gd name="connsiteX2405" fmla="*/ 7196498 w 8079933"/>
              <a:gd name="connsiteY2405" fmla="*/ 3337657 h 4687251"/>
              <a:gd name="connsiteX2406" fmla="*/ 7195087 w 8079933"/>
              <a:gd name="connsiteY2406" fmla="*/ 3340256 h 4687251"/>
              <a:gd name="connsiteX2407" fmla="*/ 7190963 w 8079933"/>
              <a:gd name="connsiteY2407" fmla="*/ 3340797 h 4687251"/>
              <a:gd name="connsiteX2408" fmla="*/ 7188468 w 8079933"/>
              <a:gd name="connsiteY2408" fmla="*/ 3343288 h 4687251"/>
              <a:gd name="connsiteX2409" fmla="*/ 7188034 w 8079933"/>
              <a:gd name="connsiteY2409" fmla="*/ 3340473 h 4687251"/>
              <a:gd name="connsiteX2410" fmla="*/ 7192592 w 8079933"/>
              <a:gd name="connsiteY2410" fmla="*/ 3337873 h 4687251"/>
              <a:gd name="connsiteX2411" fmla="*/ 4639737 w 8079933"/>
              <a:gd name="connsiteY2411" fmla="*/ 3335058 h 4687251"/>
              <a:gd name="connsiteX2412" fmla="*/ 4641038 w 8079933"/>
              <a:gd name="connsiteY2412" fmla="*/ 3337331 h 4687251"/>
              <a:gd name="connsiteX2413" fmla="*/ 4639845 w 8079933"/>
              <a:gd name="connsiteY2413" fmla="*/ 3337981 h 4687251"/>
              <a:gd name="connsiteX2414" fmla="*/ 4630079 w 8079933"/>
              <a:gd name="connsiteY2414" fmla="*/ 3337872 h 4687251"/>
              <a:gd name="connsiteX2415" fmla="*/ 4629250 w 8079933"/>
              <a:gd name="connsiteY2415" fmla="*/ 3336809 h 4687251"/>
              <a:gd name="connsiteX2416" fmla="*/ 4630079 w 8079933"/>
              <a:gd name="connsiteY2416" fmla="*/ 3337873 h 4687251"/>
              <a:gd name="connsiteX2417" fmla="*/ 4639845 w 8079933"/>
              <a:gd name="connsiteY2417" fmla="*/ 3337981 h 4687251"/>
              <a:gd name="connsiteX2418" fmla="*/ 4641039 w 8079933"/>
              <a:gd name="connsiteY2418" fmla="*/ 3337331 h 4687251"/>
              <a:gd name="connsiteX2419" fmla="*/ 7197366 w 8079933"/>
              <a:gd name="connsiteY2419" fmla="*/ 3334300 h 4687251"/>
              <a:gd name="connsiteX2420" fmla="*/ 7197366 w 8079933"/>
              <a:gd name="connsiteY2420" fmla="*/ 3336573 h 4687251"/>
              <a:gd name="connsiteX2421" fmla="*/ 7194544 w 8079933"/>
              <a:gd name="connsiteY2421" fmla="*/ 3336356 h 4687251"/>
              <a:gd name="connsiteX2422" fmla="*/ 4976465 w 8079933"/>
              <a:gd name="connsiteY2422" fmla="*/ 3333434 h 4687251"/>
              <a:gd name="connsiteX2423" fmla="*/ 4979177 w 8079933"/>
              <a:gd name="connsiteY2423" fmla="*/ 3333650 h 4687251"/>
              <a:gd name="connsiteX2424" fmla="*/ 4981347 w 8079933"/>
              <a:gd name="connsiteY2424" fmla="*/ 3336573 h 4687251"/>
              <a:gd name="connsiteX2425" fmla="*/ 4977115 w 8079933"/>
              <a:gd name="connsiteY2425" fmla="*/ 3336140 h 4687251"/>
              <a:gd name="connsiteX2426" fmla="*/ 4975488 w 8079933"/>
              <a:gd name="connsiteY2426" fmla="*/ 3334517 h 4687251"/>
              <a:gd name="connsiteX2427" fmla="*/ 4597632 w 8079933"/>
              <a:gd name="connsiteY2427" fmla="*/ 3333001 h 4687251"/>
              <a:gd name="connsiteX2428" fmla="*/ 4606422 w 8079933"/>
              <a:gd name="connsiteY2428" fmla="*/ 3335924 h 4687251"/>
              <a:gd name="connsiteX2429" fmla="*/ 4611739 w 8079933"/>
              <a:gd name="connsiteY2429" fmla="*/ 3339388 h 4687251"/>
              <a:gd name="connsiteX2430" fmla="*/ 4606422 w 8079933"/>
              <a:gd name="connsiteY2430" fmla="*/ 3335924 h 4687251"/>
              <a:gd name="connsiteX2431" fmla="*/ 7203226 w 8079933"/>
              <a:gd name="connsiteY2431" fmla="*/ 3331810 h 4687251"/>
              <a:gd name="connsiteX2432" fmla="*/ 7206048 w 8079933"/>
              <a:gd name="connsiteY2432" fmla="*/ 3331810 h 4687251"/>
              <a:gd name="connsiteX2433" fmla="*/ 7204528 w 8079933"/>
              <a:gd name="connsiteY2433" fmla="*/ 3333650 h 4687251"/>
              <a:gd name="connsiteX2434" fmla="*/ 4644403 w 8079933"/>
              <a:gd name="connsiteY2434" fmla="*/ 3331485 h 4687251"/>
              <a:gd name="connsiteX2435" fmla="*/ 4639194 w 8079933"/>
              <a:gd name="connsiteY2435" fmla="*/ 3332351 h 4687251"/>
              <a:gd name="connsiteX2436" fmla="*/ 4644403 w 8079933"/>
              <a:gd name="connsiteY2436" fmla="*/ 3331485 h 4687251"/>
              <a:gd name="connsiteX2437" fmla="*/ 4647441 w 8079933"/>
              <a:gd name="connsiteY2437" fmla="*/ 3332676 h 4687251"/>
              <a:gd name="connsiteX2438" fmla="*/ 5001207 w 8079933"/>
              <a:gd name="connsiteY2438" fmla="*/ 3329103 h 4687251"/>
              <a:gd name="connsiteX2439" fmla="*/ 5003595 w 8079933"/>
              <a:gd name="connsiteY2439" fmla="*/ 3333975 h 4687251"/>
              <a:gd name="connsiteX2440" fmla="*/ 5001642 w 8079933"/>
              <a:gd name="connsiteY2440" fmla="*/ 3336249 h 4687251"/>
              <a:gd name="connsiteX2441" fmla="*/ 4998603 w 8079933"/>
              <a:gd name="connsiteY2441" fmla="*/ 3333434 h 4687251"/>
              <a:gd name="connsiteX2442" fmla="*/ 4995456 w 8079933"/>
              <a:gd name="connsiteY2442" fmla="*/ 3331918 h 4687251"/>
              <a:gd name="connsiteX2443" fmla="*/ 4999146 w 8079933"/>
              <a:gd name="connsiteY2443" fmla="*/ 3331052 h 4687251"/>
              <a:gd name="connsiteX2444" fmla="*/ 7209195 w 8079933"/>
              <a:gd name="connsiteY2444" fmla="*/ 3328887 h 4687251"/>
              <a:gd name="connsiteX2445" fmla="*/ 7209629 w 8079933"/>
              <a:gd name="connsiteY2445" fmla="*/ 3331485 h 4687251"/>
              <a:gd name="connsiteX2446" fmla="*/ 7206916 w 8079933"/>
              <a:gd name="connsiteY2446" fmla="*/ 3330078 h 4687251"/>
              <a:gd name="connsiteX2447" fmla="*/ 4622284 w 8079933"/>
              <a:gd name="connsiteY2447" fmla="*/ 3326641 h 4687251"/>
              <a:gd name="connsiteX2448" fmla="*/ 4626389 w 8079933"/>
              <a:gd name="connsiteY2448" fmla="*/ 3331161 h 4687251"/>
              <a:gd name="connsiteX2449" fmla="*/ 4626710 w 8079933"/>
              <a:gd name="connsiteY2449" fmla="*/ 3332023 h 4687251"/>
              <a:gd name="connsiteX2450" fmla="*/ 4626389 w 8079933"/>
              <a:gd name="connsiteY2450" fmla="*/ 3331160 h 4687251"/>
              <a:gd name="connsiteX2451" fmla="*/ 5116668 w 8079933"/>
              <a:gd name="connsiteY2451" fmla="*/ 3326180 h 4687251"/>
              <a:gd name="connsiteX2452" fmla="*/ 5118295 w 8079933"/>
              <a:gd name="connsiteY2452" fmla="*/ 3330943 h 4687251"/>
              <a:gd name="connsiteX2453" fmla="*/ 5115908 w 8079933"/>
              <a:gd name="connsiteY2453" fmla="*/ 3335816 h 4687251"/>
              <a:gd name="connsiteX2454" fmla="*/ 5120139 w 8079933"/>
              <a:gd name="connsiteY2454" fmla="*/ 3337657 h 4687251"/>
              <a:gd name="connsiteX2455" fmla="*/ 5120682 w 8079933"/>
              <a:gd name="connsiteY2455" fmla="*/ 3342420 h 4687251"/>
              <a:gd name="connsiteX2456" fmla="*/ 5124806 w 8079933"/>
              <a:gd name="connsiteY2456" fmla="*/ 3347726 h 4687251"/>
              <a:gd name="connsiteX2457" fmla="*/ 5126650 w 8079933"/>
              <a:gd name="connsiteY2457" fmla="*/ 3346968 h 4687251"/>
              <a:gd name="connsiteX2458" fmla="*/ 5128495 w 8079933"/>
              <a:gd name="connsiteY2458" fmla="*/ 3350649 h 4687251"/>
              <a:gd name="connsiteX2459" fmla="*/ 5128930 w 8079933"/>
              <a:gd name="connsiteY2459" fmla="*/ 3361260 h 4687251"/>
              <a:gd name="connsiteX2460" fmla="*/ 5132510 w 8079933"/>
              <a:gd name="connsiteY2460" fmla="*/ 3365915 h 4687251"/>
              <a:gd name="connsiteX2461" fmla="*/ 5131968 w 8079933"/>
              <a:gd name="connsiteY2461" fmla="*/ 3378150 h 4687251"/>
              <a:gd name="connsiteX2462" fmla="*/ 5130883 w 8079933"/>
              <a:gd name="connsiteY2462" fmla="*/ 3380748 h 4687251"/>
              <a:gd name="connsiteX2463" fmla="*/ 5132402 w 8079933"/>
              <a:gd name="connsiteY2463" fmla="*/ 3387244 h 4687251"/>
              <a:gd name="connsiteX2464" fmla="*/ 5132402 w 8079933"/>
              <a:gd name="connsiteY2464" fmla="*/ 3392441 h 4687251"/>
              <a:gd name="connsiteX2465" fmla="*/ 5131100 w 8079933"/>
              <a:gd name="connsiteY2465" fmla="*/ 3394607 h 4687251"/>
              <a:gd name="connsiteX2466" fmla="*/ 5132293 w 8079933"/>
              <a:gd name="connsiteY2466" fmla="*/ 3398938 h 4687251"/>
              <a:gd name="connsiteX2467" fmla="*/ 5136960 w 8079933"/>
              <a:gd name="connsiteY2467" fmla="*/ 3405217 h 4687251"/>
              <a:gd name="connsiteX2468" fmla="*/ 5137285 w 8079933"/>
              <a:gd name="connsiteY2468" fmla="*/ 3410089 h 4687251"/>
              <a:gd name="connsiteX2469" fmla="*/ 5135549 w 8079933"/>
              <a:gd name="connsiteY2469" fmla="*/ 3411714 h 4687251"/>
              <a:gd name="connsiteX2470" fmla="*/ 5135006 w 8079933"/>
              <a:gd name="connsiteY2470" fmla="*/ 3415936 h 4687251"/>
              <a:gd name="connsiteX2471" fmla="*/ 5133704 w 8079933"/>
              <a:gd name="connsiteY2471" fmla="*/ 3417452 h 4687251"/>
              <a:gd name="connsiteX2472" fmla="*/ 5133487 w 8079933"/>
              <a:gd name="connsiteY2472" fmla="*/ 3421566 h 4687251"/>
              <a:gd name="connsiteX2473" fmla="*/ 5131751 w 8079933"/>
              <a:gd name="connsiteY2473" fmla="*/ 3424598 h 4687251"/>
              <a:gd name="connsiteX2474" fmla="*/ 5128821 w 8079933"/>
              <a:gd name="connsiteY2474" fmla="*/ 3423948 h 4687251"/>
              <a:gd name="connsiteX2475" fmla="*/ 5124697 w 8079933"/>
              <a:gd name="connsiteY2475" fmla="*/ 3418534 h 4687251"/>
              <a:gd name="connsiteX2476" fmla="*/ 5123721 w 8079933"/>
              <a:gd name="connsiteY2476" fmla="*/ 3413554 h 4687251"/>
              <a:gd name="connsiteX2477" fmla="*/ 5121334 w 8079933"/>
              <a:gd name="connsiteY2477" fmla="*/ 3411714 h 4687251"/>
              <a:gd name="connsiteX2478" fmla="*/ 5118186 w 8079933"/>
              <a:gd name="connsiteY2478" fmla="*/ 3413230 h 4687251"/>
              <a:gd name="connsiteX2479" fmla="*/ 5118295 w 8079933"/>
              <a:gd name="connsiteY2479" fmla="*/ 3418968 h 4687251"/>
              <a:gd name="connsiteX2480" fmla="*/ 5120139 w 8079933"/>
              <a:gd name="connsiteY2480" fmla="*/ 3420159 h 4687251"/>
              <a:gd name="connsiteX2481" fmla="*/ 5120465 w 8079933"/>
              <a:gd name="connsiteY2481" fmla="*/ 3426005 h 4687251"/>
              <a:gd name="connsiteX2482" fmla="*/ 5118295 w 8079933"/>
              <a:gd name="connsiteY2482" fmla="*/ 3430120 h 4687251"/>
              <a:gd name="connsiteX2483" fmla="*/ 5120248 w 8079933"/>
              <a:gd name="connsiteY2483" fmla="*/ 3431960 h 4687251"/>
              <a:gd name="connsiteX2484" fmla="*/ 5121116 w 8079933"/>
              <a:gd name="connsiteY2484" fmla="*/ 3437807 h 4687251"/>
              <a:gd name="connsiteX2485" fmla="*/ 5117644 w 8079933"/>
              <a:gd name="connsiteY2485" fmla="*/ 3441813 h 4687251"/>
              <a:gd name="connsiteX2486" fmla="*/ 5118295 w 8079933"/>
              <a:gd name="connsiteY2486" fmla="*/ 3445170 h 4687251"/>
              <a:gd name="connsiteX2487" fmla="*/ 5113303 w 8079933"/>
              <a:gd name="connsiteY2487" fmla="*/ 3451990 h 4687251"/>
              <a:gd name="connsiteX2488" fmla="*/ 5112110 w 8079933"/>
              <a:gd name="connsiteY2488" fmla="*/ 3457945 h 4687251"/>
              <a:gd name="connsiteX2489" fmla="*/ 5114171 w 8079933"/>
              <a:gd name="connsiteY2489" fmla="*/ 3461518 h 4687251"/>
              <a:gd name="connsiteX2490" fmla="*/ 5112869 w 8079933"/>
              <a:gd name="connsiteY2490" fmla="*/ 3468556 h 4687251"/>
              <a:gd name="connsiteX2491" fmla="*/ 5110698 w 8079933"/>
              <a:gd name="connsiteY2491" fmla="*/ 3471046 h 4687251"/>
              <a:gd name="connsiteX2492" fmla="*/ 5108420 w 8079933"/>
              <a:gd name="connsiteY2492" fmla="*/ 3480790 h 4687251"/>
              <a:gd name="connsiteX2493" fmla="*/ 5105707 w 8079933"/>
              <a:gd name="connsiteY2493" fmla="*/ 3494108 h 4687251"/>
              <a:gd name="connsiteX2494" fmla="*/ 5100281 w 8079933"/>
              <a:gd name="connsiteY2494" fmla="*/ 3502661 h 4687251"/>
              <a:gd name="connsiteX2495" fmla="*/ 5099521 w 8079933"/>
              <a:gd name="connsiteY2495" fmla="*/ 3506018 h 4687251"/>
              <a:gd name="connsiteX2496" fmla="*/ 5094747 w 8079933"/>
              <a:gd name="connsiteY2496" fmla="*/ 3514787 h 4687251"/>
              <a:gd name="connsiteX2497" fmla="*/ 5094747 w 8079933"/>
              <a:gd name="connsiteY2497" fmla="*/ 3523557 h 4687251"/>
              <a:gd name="connsiteX2498" fmla="*/ 5090298 w 8079933"/>
              <a:gd name="connsiteY2498" fmla="*/ 3530053 h 4687251"/>
              <a:gd name="connsiteX2499" fmla="*/ 5084112 w 8079933"/>
              <a:gd name="connsiteY2499" fmla="*/ 3549434 h 4687251"/>
              <a:gd name="connsiteX2500" fmla="*/ 5077601 w 8079933"/>
              <a:gd name="connsiteY2500" fmla="*/ 3560911 h 4687251"/>
              <a:gd name="connsiteX2501" fmla="*/ 5075539 w 8079933"/>
              <a:gd name="connsiteY2501" fmla="*/ 3570547 h 4687251"/>
              <a:gd name="connsiteX2502" fmla="*/ 5071850 w 8079933"/>
              <a:gd name="connsiteY2502" fmla="*/ 3574228 h 4687251"/>
              <a:gd name="connsiteX2503" fmla="*/ 5069354 w 8079933"/>
              <a:gd name="connsiteY2503" fmla="*/ 3582998 h 4687251"/>
              <a:gd name="connsiteX2504" fmla="*/ 5065990 w 8079933"/>
              <a:gd name="connsiteY2504" fmla="*/ 3599022 h 4687251"/>
              <a:gd name="connsiteX2505" fmla="*/ 5061541 w 8079933"/>
              <a:gd name="connsiteY2505" fmla="*/ 3606060 h 4687251"/>
              <a:gd name="connsiteX2506" fmla="*/ 5059804 w 8079933"/>
              <a:gd name="connsiteY2506" fmla="*/ 3606060 h 4687251"/>
              <a:gd name="connsiteX2507" fmla="*/ 5060347 w 8079933"/>
              <a:gd name="connsiteY2507" fmla="*/ 3607359 h 4687251"/>
              <a:gd name="connsiteX2508" fmla="*/ 5058286 w 8079933"/>
              <a:gd name="connsiteY2508" fmla="*/ 3615262 h 4687251"/>
              <a:gd name="connsiteX2509" fmla="*/ 5054921 w 8079933"/>
              <a:gd name="connsiteY2509" fmla="*/ 3617753 h 4687251"/>
              <a:gd name="connsiteX2510" fmla="*/ 5056115 w 8079933"/>
              <a:gd name="connsiteY2510" fmla="*/ 3618727 h 4687251"/>
              <a:gd name="connsiteX2511" fmla="*/ 5056549 w 8079933"/>
              <a:gd name="connsiteY2511" fmla="*/ 3625981 h 4687251"/>
              <a:gd name="connsiteX2512" fmla="*/ 5051775 w 8079933"/>
              <a:gd name="connsiteY2512" fmla="*/ 3628905 h 4687251"/>
              <a:gd name="connsiteX2513" fmla="*/ 5051557 w 8079933"/>
              <a:gd name="connsiteY2513" fmla="*/ 3633127 h 4687251"/>
              <a:gd name="connsiteX2514" fmla="*/ 5047759 w 8079933"/>
              <a:gd name="connsiteY2514" fmla="*/ 3639299 h 4687251"/>
              <a:gd name="connsiteX2515" fmla="*/ 5045263 w 8079933"/>
              <a:gd name="connsiteY2515" fmla="*/ 3646769 h 4687251"/>
              <a:gd name="connsiteX2516" fmla="*/ 5041465 w 8079933"/>
              <a:gd name="connsiteY2516" fmla="*/ 3647311 h 4687251"/>
              <a:gd name="connsiteX2517" fmla="*/ 5039295 w 8079933"/>
              <a:gd name="connsiteY2517" fmla="*/ 3651533 h 4687251"/>
              <a:gd name="connsiteX2518" fmla="*/ 5031482 w 8079933"/>
              <a:gd name="connsiteY2518" fmla="*/ 3654565 h 4687251"/>
              <a:gd name="connsiteX2519" fmla="*/ 5026816 w 8079933"/>
              <a:gd name="connsiteY2519" fmla="*/ 3653482 h 4687251"/>
              <a:gd name="connsiteX2520" fmla="*/ 5011949 w 8079933"/>
              <a:gd name="connsiteY2520" fmla="*/ 3654890 h 4687251"/>
              <a:gd name="connsiteX2521" fmla="*/ 5007283 w 8079933"/>
              <a:gd name="connsiteY2521" fmla="*/ 3660303 h 4687251"/>
              <a:gd name="connsiteX2522" fmla="*/ 5001640 w 8079933"/>
              <a:gd name="connsiteY2522" fmla="*/ 3663660 h 4687251"/>
              <a:gd name="connsiteX2523" fmla="*/ 4996540 w 8079933"/>
              <a:gd name="connsiteY2523" fmla="*/ 3663227 h 4687251"/>
              <a:gd name="connsiteX2524" fmla="*/ 4993501 w 8079933"/>
              <a:gd name="connsiteY2524" fmla="*/ 3665175 h 4687251"/>
              <a:gd name="connsiteX2525" fmla="*/ 4992199 w 8079933"/>
              <a:gd name="connsiteY2525" fmla="*/ 3664092 h 4687251"/>
              <a:gd name="connsiteX2526" fmla="*/ 4992199 w 8079933"/>
              <a:gd name="connsiteY2526" fmla="*/ 3661927 h 4687251"/>
              <a:gd name="connsiteX2527" fmla="*/ 4989160 w 8079933"/>
              <a:gd name="connsiteY2527" fmla="*/ 3661278 h 4687251"/>
              <a:gd name="connsiteX2528" fmla="*/ 4985146 w 8079933"/>
              <a:gd name="connsiteY2528" fmla="*/ 3655972 h 4687251"/>
              <a:gd name="connsiteX2529" fmla="*/ 4981347 w 8079933"/>
              <a:gd name="connsiteY2529" fmla="*/ 3655106 h 4687251"/>
              <a:gd name="connsiteX2530" fmla="*/ 4980154 w 8079933"/>
              <a:gd name="connsiteY2530" fmla="*/ 3653482 h 4687251"/>
              <a:gd name="connsiteX2531" fmla="*/ 4976789 w 8079933"/>
              <a:gd name="connsiteY2531" fmla="*/ 3654673 h 4687251"/>
              <a:gd name="connsiteX2532" fmla="*/ 4973643 w 8079933"/>
              <a:gd name="connsiteY2532" fmla="*/ 3650992 h 4687251"/>
              <a:gd name="connsiteX2533" fmla="*/ 4971581 w 8079933"/>
              <a:gd name="connsiteY2533" fmla="*/ 3647744 h 4687251"/>
              <a:gd name="connsiteX2534" fmla="*/ 4968977 w 8079933"/>
              <a:gd name="connsiteY2534" fmla="*/ 3646336 h 4687251"/>
              <a:gd name="connsiteX2535" fmla="*/ 4965829 w 8079933"/>
              <a:gd name="connsiteY2535" fmla="*/ 3641464 h 4687251"/>
              <a:gd name="connsiteX2536" fmla="*/ 4963117 w 8079933"/>
              <a:gd name="connsiteY2536" fmla="*/ 3639840 h 4687251"/>
              <a:gd name="connsiteX2537" fmla="*/ 4962791 w 8079933"/>
              <a:gd name="connsiteY2537" fmla="*/ 3636592 h 4687251"/>
              <a:gd name="connsiteX2538" fmla="*/ 4961163 w 8079933"/>
              <a:gd name="connsiteY2538" fmla="*/ 3634535 h 4687251"/>
              <a:gd name="connsiteX2539" fmla="*/ 4961814 w 8079933"/>
              <a:gd name="connsiteY2539" fmla="*/ 3624574 h 4687251"/>
              <a:gd name="connsiteX2540" fmla="*/ 4961163 w 8079933"/>
              <a:gd name="connsiteY2540" fmla="*/ 3616778 h 4687251"/>
              <a:gd name="connsiteX2541" fmla="*/ 4960837 w 8079933"/>
              <a:gd name="connsiteY2541" fmla="*/ 3611797 h 4687251"/>
              <a:gd name="connsiteX2542" fmla="*/ 4965612 w 8079933"/>
              <a:gd name="connsiteY2542" fmla="*/ 3610715 h 4687251"/>
              <a:gd name="connsiteX2543" fmla="*/ 4967132 w 8079933"/>
              <a:gd name="connsiteY2543" fmla="*/ 3609199 h 4687251"/>
              <a:gd name="connsiteX2544" fmla="*/ 4965504 w 8079933"/>
              <a:gd name="connsiteY2544" fmla="*/ 3609633 h 4687251"/>
              <a:gd name="connsiteX2545" fmla="*/ 4962465 w 8079933"/>
              <a:gd name="connsiteY2545" fmla="*/ 3607792 h 4687251"/>
              <a:gd name="connsiteX2546" fmla="*/ 4961381 w 8079933"/>
              <a:gd name="connsiteY2546" fmla="*/ 3604436 h 4687251"/>
              <a:gd name="connsiteX2547" fmla="*/ 4962357 w 8079933"/>
              <a:gd name="connsiteY2547" fmla="*/ 3598914 h 4687251"/>
              <a:gd name="connsiteX2548" fmla="*/ 4956171 w 8079933"/>
              <a:gd name="connsiteY2548" fmla="*/ 3591552 h 4687251"/>
              <a:gd name="connsiteX2549" fmla="*/ 4955955 w 8079933"/>
              <a:gd name="connsiteY2549" fmla="*/ 3583972 h 4687251"/>
              <a:gd name="connsiteX2550" fmla="*/ 4954761 w 8079933"/>
              <a:gd name="connsiteY2550" fmla="*/ 3581049 h 4687251"/>
              <a:gd name="connsiteX2551" fmla="*/ 4956388 w 8079933"/>
              <a:gd name="connsiteY2551" fmla="*/ 3577259 h 4687251"/>
              <a:gd name="connsiteX2552" fmla="*/ 4955846 w 8079933"/>
              <a:gd name="connsiteY2552" fmla="*/ 3570980 h 4687251"/>
              <a:gd name="connsiteX2553" fmla="*/ 4961055 w 8079933"/>
              <a:gd name="connsiteY2553" fmla="*/ 3565458 h 4687251"/>
              <a:gd name="connsiteX2554" fmla="*/ 4960512 w 8079933"/>
              <a:gd name="connsiteY2554" fmla="*/ 3557771 h 4687251"/>
              <a:gd name="connsiteX2555" fmla="*/ 4962249 w 8079933"/>
              <a:gd name="connsiteY2555" fmla="*/ 3555497 h 4687251"/>
              <a:gd name="connsiteX2556" fmla="*/ 4969194 w 8079933"/>
              <a:gd name="connsiteY2556" fmla="*/ 3553873 h 4687251"/>
              <a:gd name="connsiteX2557" fmla="*/ 4972015 w 8079933"/>
              <a:gd name="connsiteY2557" fmla="*/ 3550625 h 4687251"/>
              <a:gd name="connsiteX2558" fmla="*/ 4972449 w 8079933"/>
              <a:gd name="connsiteY2558" fmla="*/ 3541747 h 4687251"/>
              <a:gd name="connsiteX2559" fmla="*/ 4976789 w 8079933"/>
              <a:gd name="connsiteY2559" fmla="*/ 3538282 h 4687251"/>
              <a:gd name="connsiteX2560" fmla="*/ 4978201 w 8079933"/>
              <a:gd name="connsiteY2560" fmla="*/ 3534168 h 4687251"/>
              <a:gd name="connsiteX2561" fmla="*/ 4981022 w 8079933"/>
              <a:gd name="connsiteY2561" fmla="*/ 3533626 h 4687251"/>
              <a:gd name="connsiteX2562" fmla="*/ 4982324 w 8079933"/>
              <a:gd name="connsiteY2562" fmla="*/ 3527455 h 4687251"/>
              <a:gd name="connsiteX2563" fmla="*/ 4987099 w 8079933"/>
              <a:gd name="connsiteY2563" fmla="*/ 3524423 h 4687251"/>
              <a:gd name="connsiteX2564" fmla="*/ 4989377 w 8079933"/>
              <a:gd name="connsiteY2564" fmla="*/ 3513380 h 4687251"/>
              <a:gd name="connsiteX2565" fmla="*/ 4988292 w 8079933"/>
              <a:gd name="connsiteY2565" fmla="*/ 3510132 h 4687251"/>
              <a:gd name="connsiteX2566" fmla="*/ 4991548 w 8079933"/>
              <a:gd name="connsiteY2566" fmla="*/ 3506884 h 4687251"/>
              <a:gd name="connsiteX2567" fmla="*/ 4991440 w 8079933"/>
              <a:gd name="connsiteY2567" fmla="*/ 3504826 h 4687251"/>
              <a:gd name="connsiteX2568" fmla="*/ 4987315 w 8079933"/>
              <a:gd name="connsiteY2568" fmla="*/ 3500171 h 4687251"/>
              <a:gd name="connsiteX2569" fmla="*/ 4987750 w 8079933"/>
              <a:gd name="connsiteY2569" fmla="*/ 3496706 h 4687251"/>
              <a:gd name="connsiteX2570" fmla="*/ 4981130 w 8079933"/>
              <a:gd name="connsiteY2570" fmla="*/ 3484039 h 4687251"/>
              <a:gd name="connsiteX2571" fmla="*/ 4981456 w 8079933"/>
              <a:gd name="connsiteY2571" fmla="*/ 3478192 h 4687251"/>
              <a:gd name="connsiteX2572" fmla="*/ 4979177 w 8079933"/>
              <a:gd name="connsiteY2572" fmla="*/ 3471262 h 4687251"/>
              <a:gd name="connsiteX2573" fmla="*/ 4982324 w 8079933"/>
              <a:gd name="connsiteY2573" fmla="*/ 3466823 h 4687251"/>
              <a:gd name="connsiteX2574" fmla="*/ 4978634 w 8079933"/>
              <a:gd name="connsiteY2574" fmla="*/ 3463792 h 4687251"/>
              <a:gd name="connsiteX2575" fmla="*/ 4978634 w 8079933"/>
              <a:gd name="connsiteY2575" fmla="*/ 3460111 h 4687251"/>
              <a:gd name="connsiteX2576" fmla="*/ 4985362 w 8079933"/>
              <a:gd name="connsiteY2576" fmla="*/ 3453073 h 4687251"/>
              <a:gd name="connsiteX2577" fmla="*/ 4985146 w 8079933"/>
              <a:gd name="connsiteY2577" fmla="*/ 3451016 h 4687251"/>
              <a:gd name="connsiteX2578" fmla="*/ 4992199 w 8079933"/>
              <a:gd name="connsiteY2578" fmla="*/ 3439972 h 4687251"/>
              <a:gd name="connsiteX2579" fmla="*/ 4991331 w 8079933"/>
              <a:gd name="connsiteY2579" fmla="*/ 3432610 h 4687251"/>
              <a:gd name="connsiteX2580" fmla="*/ 4993501 w 8079933"/>
              <a:gd name="connsiteY2580" fmla="*/ 3429254 h 4687251"/>
              <a:gd name="connsiteX2581" fmla="*/ 4998384 w 8079933"/>
              <a:gd name="connsiteY2581" fmla="*/ 3429362 h 4687251"/>
              <a:gd name="connsiteX2582" fmla="*/ 5000229 w 8079933"/>
              <a:gd name="connsiteY2582" fmla="*/ 3431203 h 4687251"/>
              <a:gd name="connsiteX2583" fmla="*/ 5002725 w 8079933"/>
              <a:gd name="connsiteY2583" fmla="*/ 3430878 h 4687251"/>
              <a:gd name="connsiteX2584" fmla="*/ 5012275 w 8079933"/>
              <a:gd name="connsiteY2584" fmla="*/ 3422216 h 4687251"/>
              <a:gd name="connsiteX2585" fmla="*/ 5014661 w 8079933"/>
              <a:gd name="connsiteY2585" fmla="*/ 3426005 h 4687251"/>
              <a:gd name="connsiteX2586" fmla="*/ 5017266 w 8079933"/>
              <a:gd name="connsiteY2586" fmla="*/ 3422216 h 4687251"/>
              <a:gd name="connsiteX2587" fmla="*/ 5019654 w 8079933"/>
              <a:gd name="connsiteY2587" fmla="*/ 3423407 h 4687251"/>
              <a:gd name="connsiteX2588" fmla="*/ 5019762 w 8079933"/>
              <a:gd name="connsiteY2588" fmla="*/ 3426980 h 4687251"/>
              <a:gd name="connsiteX2589" fmla="*/ 5021390 w 8079933"/>
              <a:gd name="connsiteY2589" fmla="*/ 3426438 h 4687251"/>
              <a:gd name="connsiteX2590" fmla="*/ 5023234 w 8079933"/>
              <a:gd name="connsiteY2590" fmla="*/ 3426872 h 4687251"/>
              <a:gd name="connsiteX2591" fmla="*/ 5022475 w 8079933"/>
              <a:gd name="connsiteY2591" fmla="*/ 3420050 h 4687251"/>
              <a:gd name="connsiteX2592" fmla="*/ 5024645 w 8079933"/>
              <a:gd name="connsiteY2592" fmla="*/ 3419834 h 4687251"/>
              <a:gd name="connsiteX2593" fmla="*/ 5025839 w 8079933"/>
              <a:gd name="connsiteY2593" fmla="*/ 3417993 h 4687251"/>
              <a:gd name="connsiteX2594" fmla="*/ 5032024 w 8079933"/>
              <a:gd name="connsiteY2594" fmla="*/ 3422324 h 4687251"/>
              <a:gd name="connsiteX2595" fmla="*/ 5037559 w 8079933"/>
              <a:gd name="connsiteY2595" fmla="*/ 3416477 h 4687251"/>
              <a:gd name="connsiteX2596" fmla="*/ 5039837 w 8079933"/>
              <a:gd name="connsiteY2596" fmla="*/ 3416802 h 4687251"/>
              <a:gd name="connsiteX2597" fmla="*/ 5039729 w 8079933"/>
              <a:gd name="connsiteY2597" fmla="*/ 3422974 h 4687251"/>
              <a:gd name="connsiteX2598" fmla="*/ 5041791 w 8079933"/>
              <a:gd name="connsiteY2598" fmla="*/ 3424706 h 4687251"/>
              <a:gd name="connsiteX2599" fmla="*/ 5044721 w 8079933"/>
              <a:gd name="connsiteY2599" fmla="*/ 3425681 h 4687251"/>
              <a:gd name="connsiteX2600" fmla="*/ 5046023 w 8079933"/>
              <a:gd name="connsiteY2600" fmla="*/ 3422758 h 4687251"/>
              <a:gd name="connsiteX2601" fmla="*/ 5044938 w 8079933"/>
              <a:gd name="connsiteY2601" fmla="*/ 3420050 h 4687251"/>
              <a:gd name="connsiteX2602" fmla="*/ 5046349 w 8079933"/>
              <a:gd name="connsiteY2602" fmla="*/ 3413121 h 4687251"/>
              <a:gd name="connsiteX2603" fmla="*/ 5055138 w 8079933"/>
              <a:gd name="connsiteY2603" fmla="*/ 3405759 h 4687251"/>
              <a:gd name="connsiteX2604" fmla="*/ 5057200 w 8079933"/>
              <a:gd name="connsiteY2604" fmla="*/ 3407275 h 4687251"/>
              <a:gd name="connsiteX2605" fmla="*/ 5054921 w 8079933"/>
              <a:gd name="connsiteY2605" fmla="*/ 3411064 h 4687251"/>
              <a:gd name="connsiteX2606" fmla="*/ 5057200 w 8079933"/>
              <a:gd name="connsiteY2606" fmla="*/ 3411497 h 4687251"/>
              <a:gd name="connsiteX2607" fmla="*/ 5057742 w 8079933"/>
              <a:gd name="connsiteY2607" fmla="*/ 3414528 h 4687251"/>
              <a:gd name="connsiteX2608" fmla="*/ 5061541 w 8079933"/>
              <a:gd name="connsiteY2608" fmla="*/ 3411930 h 4687251"/>
              <a:gd name="connsiteX2609" fmla="*/ 5064579 w 8079933"/>
              <a:gd name="connsiteY2609" fmla="*/ 3411172 h 4687251"/>
              <a:gd name="connsiteX2610" fmla="*/ 5064797 w 8079933"/>
              <a:gd name="connsiteY2610" fmla="*/ 3408791 h 4687251"/>
              <a:gd name="connsiteX2611" fmla="*/ 5061649 w 8079933"/>
              <a:gd name="connsiteY2611" fmla="*/ 3407816 h 4687251"/>
              <a:gd name="connsiteX2612" fmla="*/ 5059479 w 8079933"/>
              <a:gd name="connsiteY2612" fmla="*/ 3403269 h 4687251"/>
              <a:gd name="connsiteX2613" fmla="*/ 5065122 w 8079933"/>
              <a:gd name="connsiteY2613" fmla="*/ 3400020 h 4687251"/>
              <a:gd name="connsiteX2614" fmla="*/ 5066099 w 8079933"/>
              <a:gd name="connsiteY2614" fmla="*/ 3397963 h 4687251"/>
              <a:gd name="connsiteX2615" fmla="*/ 5063277 w 8079933"/>
              <a:gd name="connsiteY2615" fmla="*/ 3396448 h 4687251"/>
              <a:gd name="connsiteX2616" fmla="*/ 5067727 w 8079933"/>
              <a:gd name="connsiteY2616" fmla="*/ 3392225 h 4687251"/>
              <a:gd name="connsiteX2617" fmla="*/ 5069463 w 8079933"/>
              <a:gd name="connsiteY2617" fmla="*/ 3395040 h 4687251"/>
              <a:gd name="connsiteX2618" fmla="*/ 5068377 w 8079933"/>
              <a:gd name="connsiteY2618" fmla="*/ 3396556 h 4687251"/>
              <a:gd name="connsiteX2619" fmla="*/ 5068377 w 8079933"/>
              <a:gd name="connsiteY2619" fmla="*/ 3401753 h 4687251"/>
              <a:gd name="connsiteX2620" fmla="*/ 5074997 w 8079933"/>
              <a:gd name="connsiteY2620" fmla="*/ 3396231 h 4687251"/>
              <a:gd name="connsiteX2621" fmla="*/ 5075865 w 8079933"/>
              <a:gd name="connsiteY2621" fmla="*/ 3393416 h 4687251"/>
              <a:gd name="connsiteX2622" fmla="*/ 5079446 w 8079933"/>
              <a:gd name="connsiteY2622" fmla="*/ 3392009 h 4687251"/>
              <a:gd name="connsiteX2623" fmla="*/ 5081725 w 8079933"/>
              <a:gd name="connsiteY2623" fmla="*/ 3394607 h 4687251"/>
              <a:gd name="connsiteX2624" fmla="*/ 5083787 w 8079933"/>
              <a:gd name="connsiteY2624" fmla="*/ 3392116 h 4687251"/>
              <a:gd name="connsiteX2625" fmla="*/ 5083136 w 8079933"/>
              <a:gd name="connsiteY2625" fmla="*/ 3389302 h 4687251"/>
              <a:gd name="connsiteX2626" fmla="*/ 5078469 w 8079933"/>
              <a:gd name="connsiteY2626" fmla="*/ 3387895 h 4687251"/>
              <a:gd name="connsiteX2627" fmla="*/ 5077276 w 8079933"/>
              <a:gd name="connsiteY2627" fmla="*/ 3383347 h 4687251"/>
              <a:gd name="connsiteX2628" fmla="*/ 5082593 w 8079933"/>
              <a:gd name="connsiteY2628" fmla="*/ 3382372 h 4687251"/>
              <a:gd name="connsiteX2629" fmla="*/ 5084980 w 8079933"/>
              <a:gd name="connsiteY2629" fmla="*/ 3383022 h 4687251"/>
              <a:gd name="connsiteX2630" fmla="*/ 5086825 w 8079933"/>
              <a:gd name="connsiteY2630" fmla="*/ 3381398 h 4687251"/>
              <a:gd name="connsiteX2631" fmla="*/ 5085632 w 8079933"/>
              <a:gd name="connsiteY2631" fmla="*/ 3379232 h 4687251"/>
              <a:gd name="connsiteX2632" fmla="*/ 5080857 w 8079933"/>
              <a:gd name="connsiteY2632" fmla="*/ 3374469 h 4687251"/>
              <a:gd name="connsiteX2633" fmla="*/ 5081291 w 8079933"/>
              <a:gd name="connsiteY2633" fmla="*/ 3368838 h 4687251"/>
              <a:gd name="connsiteX2634" fmla="*/ 5084438 w 8079933"/>
              <a:gd name="connsiteY2634" fmla="*/ 3365915 h 4687251"/>
              <a:gd name="connsiteX2635" fmla="*/ 5086608 w 8079933"/>
              <a:gd name="connsiteY2635" fmla="*/ 3366998 h 4687251"/>
              <a:gd name="connsiteX2636" fmla="*/ 5087042 w 8079933"/>
              <a:gd name="connsiteY2636" fmla="*/ 3372087 h 4687251"/>
              <a:gd name="connsiteX2637" fmla="*/ 5089646 w 8079933"/>
              <a:gd name="connsiteY2637" fmla="*/ 3373711 h 4687251"/>
              <a:gd name="connsiteX2638" fmla="*/ 5092685 w 8079933"/>
              <a:gd name="connsiteY2638" fmla="*/ 3371437 h 4687251"/>
              <a:gd name="connsiteX2639" fmla="*/ 5093228 w 8079933"/>
              <a:gd name="connsiteY2639" fmla="*/ 3367431 h 4687251"/>
              <a:gd name="connsiteX2640" fmla="*/ 5097243 w 8079933"/>
              <a:gd name="connsiteY2640" fmla="*/ 3362992 h 4687251"/>
              <a:gd name="connsiteX2641" fmla="*/ 5100389 w 8079933"/>
              <a:gd name="connsiteY2641" fmla="*/ 3364075 h 4687251"/>
              <a:gd name="connsiteX2642" fmla="*/ 5103320 w 8079933"/>
              <a:gd name="connsiteY2642" fmla="*/ 3359419 h 4687251"/>
              <a:gd name="connsiteX2643" fmla="*/ 5103320 w 8079933"/>
              <a:gd name="connsiteY2643" fmla="*/ 3352273 h 4687251"/>
              <a:gd name="connsiteX2644" fmla="*/ 5108094 w 8079933"/>
              <a:gd name="connsiteY2644" fmla="*/ 3347834 h 4687251"/>
              <a:gd name="connsiteX2645" fmla="*/ 5108094 w 8079933"/>
              <a:gd name="connsiteY2645" fmla="*/ 3346426 h 4687251"/>
              <a:gd name="connsiteX2646" fmla="*/ 5105164 w 8079933"/>
              <a:gd name="connsiteY2646" fmla="*/ 3343503 h 4687251"/>
              <a:gd name="connsiteX2647" fmla="*/ 5105164 w 8079933"/>
              <a:gd name="connsiteY2647" fmla="*/ 3340363 h 4687251"/>
              <a:gd name="connsiteX2648" fmla="*/ 5101257 w 8079933"/>
              <a:gd name="connsiteY2648" fmla="*/ 3335167 h 4687251"/>
              <a:gd name="connsiteX2649" fmla="*/ 5103862 w 8079933"/>
              <a:gd name="connsiteY2649" fmla="*/ 3335058 h 4687251"/>
              <a:gd name="connsiteX2650" fmla="*/ 5107877 w 8079933"/>
              <a:gd name="connsiteY2650" fmla="*/ 3337765 h 4687251"/>
              <a:gd name="connsiteX2651" fmla="*/ 5112110 w 8079933"/>
              <a:gd name="connsiteY2651" fmla="*/ 3334949 h 4687251"/>
              <a:gd name="connsiteX2652" fmla="*/ 5110590 w 8079933"/>
              <a:gd name="connsiteY2652" fmla="*/ 3331810 h 4687251"/>
              <a:gd name="connsiteX2653" fmla="*/ 7620038 w 8079933"/>
              <a:gd name="connsiteY2653" fmla="*/ 3326072 h 4687251"/>
              <a:gd name="connsiteX2654" fmla="*/ 7625030 w 8079933"/>
              <a:gd name="connsiteY2654" fmla="*/ 3329753 h 4687251"/>
              <a:gd name="connsiteX2655" fmla="*/ 7629046 w 8079933"/>
              <a:gd name="connsiteY2655" fmla="*/ 3329536 h 4687251"/>
              <a:gd name="connsiteX2656" fmla="*/ 7630130 w 8079933"/>
              <a:gd name="connsiteY2656" fmla="*/ 3332243 h 4687251"/>
              <a:gd name="connsiteX2657" fmla="*/ 7628610 w 8079933"/>
              <a:gd name="connsiteY2657" fmla="*/ 3333326 h 4687251"/>
              <a:gd name="connsiteX2658" fmla="*/ 7625789 w 8079933"/>
              <a:gd name="connsiteY2658" fmla="*/ 3332027 h 4687251"/>
              <a:gd name="connsiteX2659" fmla="*/ 7622751 w 8079933"/>
              <a:gd name="connsiteY2659" fmla="*/ 3332135 h 4687251"/>
              <a:gd name="connsiteX2660" fmla="*/ 7617108 w 8079933"/>
              <a:gd name="connsiteY2660" fmla="*/ 3326180 h 4687251"/>
              <a:gd name="connsiteX2661" fmla="*/ 4760073 w 8079933"/>
              <a:gd name="connsiteY2661" fmla="*/ 3325973 h 4687251"/>
              <a:gd name="connsiteX2662" fmla="*/ 4757398 w 8079933"/>
              <a:gd name="connsiteY2662" fmla="*/ 3335709 h 4687251"/>
              <a:gd name="connsiteX2663" fmla="*/ 4757396 w 8079933"/>
              <a:gd name="connsiteY2663" fmla="*/ 3335718 h 4687251"/>
              <a:gd name="connsiteX2664" fmla="*/ 7065410 w 8079933"/>
              <a:gd name="connsiteY2664" fmla="*/ 3324447 h 4687251"/>
              <a:gd name="connsiteX2665" fmla="*/ 7067363 w 8079933"/>
              <a:gd name="connsiteY2665" fmla="*/ 3333000 h 4687251"/>
              <a:gd name="connsiteX2666" fmla="*/ 7071378 w 8079933"/>
              <a:gd name="connsiteY2666" fmla="*/ 3334408 h 4687251"/>
              <a:gd name="connsiteX2667" fmla="*/ 7072029 w 8079933"/>
              <a:gd name="connsiteY2667" fmla="*/ 3335815 h 4687251"/>
              <a:gd name="connsiteX2668" fmla="*/ 7066495 w 8079933"/>
              <a:gd name="connsiteY2668" fmla="*/ 3334624 h 4687251"/>
              <a:gd name="connsiteX2669" fmla="*/ 7064542 w 8079933"/>
              <a:gd name="connsiteY2669" fmla="*/ 3334732 h 4687251"/>
              <a:gd name="connsiteX2670" fmla="*/ 7059550 w 8079933"/>
              <a:gd name="connsiteY2670" fmla="*/ 3333434 h 4687251"/>
              <a:gd name="connsiteX2671" fmla="*/ 7059767 w 8079933"/>
              <a:gd name="connsiteY2671" fmla="*/ 3330835 h 4687251"/>
              <a:gd name="connsiteX2672" fmla="*/ 7061287 w 8079933"/>
              <a:gd name="connsiteY2672" fmla="*/ 3330618 h 4687251"/>
              <a:gd name="connsiteX2673" fmla="*/ 7063565 w 8079933"/>
              <a:gd name="connsiteY2673" fmla="*/ 3331268 h 4687251"/>
              <a:gd name="connsiteX2674" fmla="*/ 7063565 w 8079933"/>
              <a:gd name="connsiteY2674" fmla="*/ 3329969 h 4687251"/>
              <a:gd name="connsiteX2675" fmla="*/ 7062480 w 8079933"/>
              <a:gd name="connsiteY2675" fmla="*/ 3329428 h 4687251"/>
              <a:gd name="connsiteX2676" fmla="*/ 7062697 w 8079933"/>
              <a:gd name="connsiteY2676" fmla="*/ 3326829 h 4687251"/>
              <a:gd name="connsiteX2677" fmla="*/ 7062046 w 8079933"/>
              <a:gd name="connsiteY2677" fmla="*/ 3326071 h 4687251"/>
              <a:gd name="connsiteX2678" fmla="*/ 7640005 w 8079933"/>
              <a:gd name="connsiteY2678" fmla="*/ 3323040 h 4687251"/>
              <a:gd name="connsiteX2679" fmla="*/ 7644130 w 8079933"/>
              <a:gd name="connsiteY2679" fmla="*/ 3324014 h 4687251"/>
              <a:gd name="connsiteX2680" fmla="*/ 7643370 w 8079933"/>
              <a:gd name="connsiteY2680" fmla="*/ 3326828 h 4687251"/>
              <a:gd name="connsiteX2681" fmla="*/ 7639572 w 8079933"/>
              <a:gd name="connsiteY2681" fmla="*/ 3327478 h 4687251"/>
              <a:gd name="connsiteX2682" fmla="*/ 7637185 w 8079933"/>
              <a:gd name="connsiteY2682" fmla="*/ 3326937 h 4687251"/>
              <a:gd name="connsiteX2683" fmla="*/ 7637076 w 8079933"/>
              <a:gd name="connsiteY2683" fmla="*/ 3325638 h 4687251"/>
              <a:gd name="connsiteX2684" fmla="*/ 7066278 w 8079933"/>
              <a:gd name="connsiteY2684" fmla="*/ 3321741 h 4687251"/>
              <a:gd name="connsiteX2685" fmla="*/ 7067689 w 8079933"/>
              <a:gd name="connsiteY2685" fmla="*/ 3321741 h 4687251"/>
              <a:gd name="connsiteX2686" fmla="*/ 7070619 w 8079933"/>
              <a:gd name="connsiteY2686" fmla="*/ 3324772 h 4687251"/>
              <a:gd name="connsiteX2687" fmla="*/ 7073440 w 8079933"/>
              <a:gd name="connsiteY2687" fmla="*/ 3325206 h 4687251"/>
              <a:gd name="connsiteX2688" fmla="*/ 7074091 w 8079933"/>
              <a:gd name="connsiteY2688" fmla="*/ 3326722 h 4687251"/>
              <a:gd name="connsiteX2689" fmla="*/ 7076913 w 8079933"/>
              <a:gd name="connsiteY2689" fmla="*/ 3328237 h 4687251"/>
              <a:gd name="connsiteX2690" fmla="*/ 7079626 w 8079933"/>
              <a:gd name="connsiteY2690" fmla="*/ 3324881 h 4687251"/>
              <a:gd name="connsiteX2691" fmla="*/ 7086028 w 8079933"/>
              <a:gd name="connsiteY2691" fmla="*/ 3324772 h 4687251"/>
              <a:gd name="connsiteX2692" fmla="*/ 7088958 w 8079933"/>
              <a:gd name="connsiteY2692" fmla="*/ 3323365 h 4687251"/>
              <a:gd name="connsiteX2693" fmla="*/ 7091020 w 8079933"/>
              <a:gd name="connsiteY2693" fmla="*/ 3323365 h 4687251"/>
              <a:gd name="connsiteX2694" fmla="*/ 7092431 w 8079933"/>
              <a:gd name="connsiteY2694" fmla="*/ 3326397 h 4687251"/>
              <a:gd name="connsiteX2695" fmla="*/ 7094384 w 8079933"/>
              <a:gd name="connsiteY2695" fmla="*/ 3328020 h 4687251"/>
              <a:gd name="connsiteX2696" fmla="*/ 7092105 w 8079933"/>
              <a:gd name="connsiteY2696" fmla="*/ 3329861 h 4687251"/>
              <a:gd name="connsiteX2697" fmla="*/ 7091780 w 8079933"/>
              <a:gd name="connsiteY2697" fmla="*/ 3332351 h 4687251"/>
              <a:gd name="connsiteX2698" fmla="*/ 7089718 w 8079933"/>
              <a:gd name="connsiteY2698" fmla="*/ 3332026 h 4687251"/>
              <a:gd name="connsiteX2699" fmla="*/ 7081579 w 8079933"/>
              <a:gd name="connsiteY2699" fmla="*/ 3340580 h 4687251"/>
              <a:gd name="connsiteX2700" fmla="*/ 7074959 w 8079933"/>
              <a:gd name="connsiteY2700" fmla="*/ 3337873 h 4687251"/>
              <a:gd name="connsiteX2701" fmla="*/ 7071596 w 8079933"/>
              <a:gd name="connsiteY2701" fmla="*/ 3333434 h 4687251"/>
              <a:gd name="connsiteX2702" fmla="*/ 7067689 w 8079933"/>
              <a:gd name="connsiteY2702" fmla="*/ 3328887 h 4687251"/>
              <a:gd name="connsiteX2703" fmla="*/ 7067038 w 8079933"/>
              <a:gd name="connsiteY2703" fmla="*/ 3323257 h 4687251"/>
              <a:gd name="connsiteX2704" fmla="*/ 4806310 w 8079933"/>
              <a:gd name="connsiteY2704" fmla="*/ 3318710 h 4687251"/>
              <a:gd name="connsiteX2705" fmla="*/ 4805659 w 8079933"/>
              <a:gd name="connsiteY2705" fmla="*/ 3320767 h 4687251"/>
              <a:gd name="connsiteX2706" fmla="*/ 4805659 w 8079933"/>
              <a:gd name="connsiteY2706" fmla="*/ 3320767 h 4687251"/>
              <a:gd name="connsiteX2707" fmla="*/ 7218311 w 8079933"/>
              <a:gd name="connsiteY2707" fmla="*/ 3317843 h 4687251"/>
              <a:gd name="connsiteX2708" fmla="*/ 7220155 w 8079933"/>
              <a:gd name="connsiteY2708" fmla="*/ 3320116 h 4687251"/>
              <a:gd name="connsiteX2709" fmla="*/ 7216031 w 8079933"/>
              <a:gd name="connsiteY2709" fmla="*/ 3323906 h 4687251"/>
              <a:gd name="connsiteX2710" fmla="*/ 7215163 w 8079933"/>
              <a:gd name="connsiteY2710" fmla="*/ 3327587 h 4687251"/>
              <a:gd name="connsiteX2711" fmla="*/ 7212016 w 8079933"/>
              <a:gd name="connsiteY2711" fmla="*/ 3326071 h 4687251"/>
              <a:gd name="connsiteX2712" fmla="*/ 7213427 w 8079933"/>
              <a:gd name="connsiteY2712" fmla="*/ 3323148 h 4687251"/>
              <a:gd name="connsiteX2713" fmla="*/ 7121839 w 8079933"/>
              <a:gd name="connsiteY2713" fmla="*/ 3316977 h 4687251"/>
              <a:gd name="connsiteX2714" fmla="*/ 7120428 w 8079933"/>
              <a:gd name="connsiteY2714" fmla="*/ 3321308 h 4687251"/>
              <a:gd name="connsiteX2715" fmla="*/ 7120103 w 8079933"/>
              <a:gd name="connsiteY2715" fmla="*/ 3325747 h 4687251"/>
              <a:gd name="connsiteX2716" fmla="*/ 7117390 w 8079933"/>
              <a:gd name="connsiteY2716" fmla="*/ 3320983 h 4687251"/>
              <a:gd name="connsiteX2717" fmla="*/ 7118258 w 8079933"/>
              <a:gd name="connsiteY2717" fmla="*/ 3317627 h 4687251"/>
              <a:gd name="connsiteX2718" fmla="*/ 4584538 w 8079933"/>
              <a:gd name="connsiteY2718" fmla="*/ 3316038 h 4687251"/>
              <a:gd name="connsiteX2719" fmla="*/ 4583525 w 8079933"/>
              <a:gd name="connsiteY2719" fmla="*/ 3316543 h 4687251"/>
              <a:gd name="connsiteX2720" fmla="*/ 4580487 w 8079933"/>
              <a:gd name="connsiteY2720" fmla="*/ 3317085 h 4687251"/>
              <a:gd name="connsiteX2721" fmla="*/ 4583525 w 8079933"/>
              <a:gd name="connsiteY2721" fmla="*/ 3316544 h 4687251"/>
              <a:gd name="connsiteX2722" fmla="*/ 4587195 w 8079933"/>
              <a:gd name="connsiteY2722" fmla="*/ 3315960 h 4687251"/>
              <a:gd name="connsiteX2723" fmla="*/ 4587648 w 8079933"/>
              <a:gd name="connsiteY2723" fmla="*/ 3316111 h 4687251"/>
              <a:gd name="connsiteX2724" fmla="*/ 4587648 w 8079933"/>
              <a:gd name="connsiteY2724" fmla="*/ 3322931 h 4687251"/>
              <a:gd name="connsiteX2725" fmla="*/ 4591229 w 8079933"/>
              <a:gd name="connsiteY2725" fmla="*/ 3327154 h 4687251"/>
              <a:gd name="connsiteX2726" fmla="*/ 4587649 w 8079933"/>
              <a:gd name="connsiteY2726" fmla="*/ 3322931 h 4687251"/>
              <a:gd name="connsiteX2727" fmla="*/ 4587649 w 8079933"/>
              <a:gd name="connsiteY2727" fmla="*/ 3316111 h 4687251"/>
              <a:gd name="connsiteX2728" fmla="*/ 4825083 w 8079933"/>
              <a:gd name="connsiteY2728" fmla="*/ 3314163 h 4687251"/>
              <a:gd name="connsiteX2729" fmla="*/ 4825409 w 8079933"/>
              <a:gd name="connsiteY2729" fmla="*/ 3315678 h 4687251"/>
              <a:gd name="connsiteX2730" fmla="*/ 4825409 w 8079933"/>
              <a:gd name="connsiteY2730" fmla="*/ 3315678 h 4687251"/>
              <a:gd name="connsiteX2731" fmla="*/ 4825084 w 8079933"/>
              <a:gd name="connsiteY2731" fmla="*/ 3314163 h 4687251"/>
              <a:gd name="connsiteX2732" fmla="*/ 7358839 w 8079933"/>
              <a:gd name="connsiteY2732" fmla="*/ 3313838 h 4687251"/>
              <a:gd name="connsiteX2733" fmla="*/ 7358622 w 8079933"/>
              <a:gd name="connsiteY2733" fmla="*/ 3316977 h 4687251"/>
              <a:gd name="connsiteX2734" fmla="*/ 7363722 w 8079933"/>
              <a:gd name="connsiteY2734" fmla="*/ 3318060 h 4687251"/>
              <a:gd name="connsiteX2735" fmla="*/ 7365132 w 8079933"/>
              <a:gd name="connsiteY2735" fmla="*/ 3324665 h 4687251"/>
              <a:gd name="connsiteX2736" fmla="*/ 7366544 w 8079933"/>
              <a:gd name="connsiteY2736" fmla="*/ 3327263 h 4687251"/>
              <a:gd name="connsiteX2737" fmla="*/ 7364807 w 8079933"/>
              <a:gd name="connsiteY2737" fmla="*/ 3338632 h 4687251"/>
              <a:gd name="connsiteX2738" fmla="*/ 7367845 w 8079933"/>
              <a:gd name="connsiteY2738" fmla="*/ 3341446 h 4687251"/>
              <a:gd name="connsiteX2739" fmla="*/ 7371861 w 8079933"/>
              <a:gd name="connsiteY2739" fmla="*/ 3340580 h 4687251"/>
              <a:gd name="connsiteX2740" fmla="*/ 7375116 w 8079933"/>
              <a:gd name="connsiteY2740" fmla="*/ 3342313 h 4687251"/>
              <a:gd name="connsiteX2741" fmla="*/ 7372186 w 8079933"/>
              <a:gd name="connsiteY2741" fmla="*/ 3345236 h 4687251"/>
              <a:gd name="connsiteX2742" fmla="*/ 7371970 w 8079933"/>
              <a:gd name="connsiteY2742" fmla="*/ 3351191 h 4687251"/>
              <a:gd name="connsiteX2743" fmla="*/ 7374574 w 8079933"/>
              <a:gd name="connsiteY2743" fmla="*/ 3352815 h 4687251"/>
              <a:gd name="connsiteX2744" fmla="*/ 7374682 w 8079933"/>
              <a:gd name="connsiteY2744" fmla="*/ 3357038 h 4687251"/>
              <a:gd name="connsiteX2745" fmla="*/ 7378372 w 8079933"/>
              <a:gd name="connsiteY2745" fmla="*/ 3361910 h 4687251"/>
              <a:gd name="connsiteX2746" fmla="*/ 7376201 w 8079933"/>
              <a:gd name="connsiteY2746" fmla="*/ 3366024 h 4687251"/>
              <a:gd name="connsiteX2747" fmla="*/ 7377938 w 8079933"/>
              <a:gd name="connsiteY2747" fmla="*/ 3370355 h 4687251"/>
              <a:gd name="connsiteX2748" fmla="*/ 7379999 w 8079933"/>
              <a:gd name="connsiteY2748" fmla="*/ 3369380 h 4687251"/>
              <a:gd name="connsiteX2749" fmla="*/ 7381084 w 8079933"/>
              <a:gd name="connsiteY2749" fmla="*/ 3380099 h 4687251"/>
              <a:gd name="connsiteX2750" fmla="*/ 7379240 w 8079933"/>
              <a:gd name="connsiteY2750" fmla="*/ 3388869 h 4687251"/>
              <a:gd name="connsiteX2751" fmla="*/ 7382278 w 8079933"/>
              <a:gd name="connsiteY2751" fmla="*/ 3395582 h 4687251"/>
              <a:gd name="connsiteX2752" fmla="*/ 7381735 w 8079933"/>
              <a:gd name="connsiteY2752" fmla="*/ 3399588 h 4687251"/>
              <a:gd name="connsiteX2753" fmla="*/ 7386618 w 8079933"/>
              <a:gd name="connsiteY2753" fmla="*/ 3406951 h 4687251"/>
              <a:gd name="connsiteX2754" fmla="*/ 7390634 w 8079933"/>
              <a:gd name="connsiteY2754" fmla="*/ 3406733 h 4687251"/>
              <a:gd name="connsiteX2755" fmla="*/ 7393347 w 8079933"/>
              <a:gd name="connsiteY2755" fmla="*/ 3401537 h 4687251"/>
              <a:gd name="connsiteX2756" fmla="*/ 7395735 w 8079933"/>
              <a:gd name="connsiteY2756" fmla="*/ 3403161 h 4687251"/>
              <a:gd name="connsiteX2757" fmla="*/ 7400617 w 8079933"/>
              <a:gd name="connsiteY2757" fmla="*/ 3399913 h 4687251"/>
              <a:gd name="connsiteX2758" fmla="*/ 7406043 w 8079933"/>
              <a:gd name="connsiteY2758" fmla="*/ 3405326 h 4687251"/>
              <a:gd name="connsiteX2759" fmla="*/ 7404524 w 8079933"/>
              <a:gd name="connsiteY2759" fmla="*/ 3407492 h 4687251"/>
              <a:gd name="connsiteX2760" fmla="*/ 7409624 w 8079933"/>
              <a:gd name="connsiteY2760" fmla="*/ 3410523 h 4687251"/>
              <a:gd name="connsiteX2761" fmla="*/ 7417981 w 8079933"/>
              <a:gd name="connsiteY2761" fmla="*/ 3418535 h 4687251"/>
              <a:gd name="connsiteX2762" fmla="*/ 7417438 w 8079933"/>
              <a:gd name="connsiteY2762" fmla="*/ 3422000 h 4687251"/>
              <a:gd name="connsiteX2763" fmla="*/ 7415810 w 8079933"/>
              <a:gd name="connsiteY2763" fmla="*/ 3423408 h 4687251"/>
              <a:gd name="connsiteX2764" fmla="*/ 7417004 w 8079933"/>
              <a:gd name="connsiteY2764" fmla="*/ 3428063 h 4687251"/>
              <a:gd name="connsiteX2765" fmla="*/ 7415810 w 8079933"/>
              <a:gd name="connsiteY2765" fmla="*/ 3432069 h 4687251"/>
              <a:gd name="connsiteX2766" fmla="*/ 7416895 w 8079933"/>
              <a:gd name="connsiteY2766" fmla="*/ 3446902 h 4687251"/>
              <a:gd name="connsiteX2767" fmla="*/ 7419065 w 8079933"/>
              <a:gd name="connsiteY2767" fmla="*/ 3449501 h 4687251"/>
              <a:gd name="connsiteX2768" fmla="*/ 7418848 w 8079933"/>
              <a:gd name="connsiteY2768" fmla="*/ 3452099 h 4687251"/>
              <a:gd name="connsiteX2769" fmla="*/ 7417004 w 8079933"/>
              <a:gd name="connsiteY2769" fmla="*/ 3453507 h 4687251"/>
              <a:gd name="connsiteX2770" fmla="*/ 7417221 w 8079933"/>
              <a:gd name="connsiteY2770" fmla="*/ 3465200 h 4687251"/>
              <a:gd name="connsiteX2771" fmla="*/ 7421778 w 8079933"/>
              <a:gd name="connsiteY2771" fmla="*/ 3474620 h 4687251"/>
              <a:gd name="connsiteX2772" fmla="*/ 7425360 w 8079933"/>
              <a:gd name="connsiteY2772" fmla="*/ 3474620 h 4687251"/>
              <a:gd name="connsiteX2773" fmla="*/ 7428397 w 8079933"/>
              <a:gd name="connsiteY2773" fmla="*/ 3477543 h 4687251"/>
              <a:gd name="connsiteX2774" fmla="*/ 7425902 w 8079933"/>
              <a:gd name="connsiteY2774" fmla="*/ 3478842 h 4687251"/>
              <a:gd name="connsiteX2775" fmla="*/ 7428832 w 8079933"/>
              <a:gd name="connsiteY2775" fmla="*/ 3484581 h 4687251"/>
              <a:gd name="connsiteX2776" fmla="*/ 7431545 w 8079933"/>
              <a:gd name="connsiteY2776" fmla="*/ 3497140 h 4687251"/>
              <a:gd name="connsiteX2777" fmla="*/ 7429483 w 8079933"/>
              <a:gd name="connsiteY2777" fmla="*/ 3506776 h 4687251"/>
              <a:gd name="connsiteX2778" fmla="*/ 7427204 w 8079933"/>
              <a:gd name="connsiteY2778" fmla="*/ 3507642 h 4687251"/>
              <a:gd name="connsiteX2779" fmla="*/ 7426986 w 8079933"/>
              <a:gd name="connsiteY2779" fmla="*/ 3512190 h 4687251"/>
              <a:gd name="connsiteX2780" fmla="*/ 7429917 w 8079933"/>
              <a:gd name="connsiteY2780" fmla="*/ 3517819 h 4687251"/>
              <a:gd name="connsiteX2781" fmla="*/ 7430785 w 8079933"/>
              <a:gd name="connsiteY2781" fmla="*/ 3526373 h 4687251"/>
              <a:gd name="connsiteX2782" fmla="*/ 7435125 w 8079933"/>
              <a:gd name="connsiteY2782" fmla="*/ 3535035 h 4687251"/>
              <a:gd name="connsiteX2783" fmla="*/ 7445110 w 8079933"/>
              <a:gd name="connsiteY2783" fmla="*/ 3540664 h 4687251"/>
              <a:gd name="connsiteX2784" fmla="*/ 7447388 w 8079933"/>
              <a:gd name="connsiteY2784" fmla="*/ 3540664 h 4687251"/>
              <a:gd name="connsiteX2785" fmla="*/ 7448690 w 8079933"/>
              <a:gd name="connsiteY2785" fmla="*/ 3543588 h 4687251"/>
              <a:gd name="connsiteX2786" fmla="*/ 7452814 w 8079933"/>
              <a:gd name="connsiteY2786" fmla="*/ 3543913 h 4687251"/>
              <a:gd name="connsiteX2787" fmla="*/ 7458240 w 8079933"/>
              <a:gd name="connsiteY2787" fmla="*/ 3543372 h 4687251"/>
              <a:gd name="connsiteX2788" fmla="*/ 7459759 w 8079933"/>
              <a:gd name="connsiteY2788" fmla="*/ 3546078 h 4687251"/>
              <a:gd name="connsiteX2789" fmla="*/ 7459325 w 8079933"/>
              <a:gd name="connsiteY2789" fmla="*/ 3549543 h 4687251"/>
              <a:gd name="connsiteX2790" fmla="*/ 7454659 w 8079933"/>
              <a:gd name="connsiteY2790" fmla="*/ 3550734 h 4687251"/>
              <a:gd name="connsiteX2791" fmla="*/ 7451946 w 8079933"/>
              <a:gd name="connsiteY2791" fmla="*/ 3555065 h 4687251"/>
              <a:gd name="connsiteX2792" fmla="*/ 7455201 w 8079933"/>
              <a:gd name="connsiteY2792" fmla="*/ 3552033 h 4687251"/>
              <a:gd name="connsiteX2793" fmla="*/ 7460410 w 8079933"/>
              <a:gd name="connsiteY2793" fmla="*/ 3553874 h 4687251"/>
              <a:gd name="connsiteX2794" fmla="*/ 7462472 w 8079933"/>
              <a:gd name="connsiteY2794" fmla="*/ 3556580 h 4687251"/>
              <a:gd name="connsiteX2795" fmla="*/ 7464968 w 8079933"/>
              <a:gd name="connsiteY2795" fmla="*/ 3553874 h 4687251"/>
              <a:gd name="connsiteX2796" fmla="*/ 7469308 w 8079933"/>
              <a:gd name="connsiteY2796" fmla="*/ 3557663 h 4687251"/>
              <a:gd name="connsiteX2797" fmla="*/ 7472889 w 8079933"/>
              <a:gd name="connsiteY2797" fmla="*/ 3557771 h 4687251"/>
              <a:gd name="connsiteX2798" fmla="*/ 7477664 w 8079933"/>
              <a:gd name="connsiteY2798" fmla="*/ 3564484 h 4687251"/>
              <a:gd name="connsiteX2799" fmla="*/ 7481788 w 8079933"/>
              <a:gd name="connsiteY2799" fmla="*/ 3565025 h 4687251"/>
              <a:gd name="connsiteX2800" fmla="*/ 7483742 w 8079933"/>
              <a:gd name="connsiteY2800" fmla="*/ 3563943 h 4687251"/>
              <a:gd name="connsiteX2801" fmla="*/ 7487539 w 8079933"/>
              <a:gd name="connsiteY2801" fmla="*/ 3570764 h 4687251"/>
              <a:gd name="connsiteX2802" fmla="*/ 7487539 w 8079933"/>
              <a:gd name="connsiteY2802" fmla="*/ 3575527 h 4687251"/>
              <a:gd name="connsiteX2803" fmla="*/ 7483199 w 8079933"/>
              <a:gd name="connsiteY2803" fmla="*/ 3574445 h 4687251"/>
              <a:gd name="connsiteX2804" fmla="*/ 7483633 w 8079933"/>
              <a:gd name="connsiteY2804" fmla="*/ 3579967 h 4687251"/>
              <a:gd name="connsiteX2805" fmla="*/ 7485803 w 8079933"/>
              <a:gd name="connsiteY2805" fmla="*/ 3584731 h 4687251"/>
              <a:gd name="connsiteX2806" fmla="*/ 7493507 w 8079933"/>
              <a:gd name="connsiteY2806" fmla="*/ 3591335 h 4687251"/>
              <a:gd name="connsiteX2807" fmla="*/ 7492422 w 8079933"/>
              <a:gd name="connsiteY2807" fmla="*/ 3595558 h 4687251"/>
              <a:gd name="connsiteX2808" fmla="*/ 7495895 w 8079933"/>
              <a:gd name="connsiteY2808" fmla="*/ 3598265 h 4687251"/>
              <a:gd name="connsiteX2809" fmla="*/ 7494051 w 8079933"/>
              <a:gd name="connsiteY2809" fmla="*/ 3602163 h 4687251"/>
              <a:gd name="connsiteX2810" fmla="*/ 7498608 w 8079933"/>
              <a:gd name="connsiteY2810" fmla="*/ 3605086 h 4687251"/>
              <a:gd name="connsiteX2811" fmla="*/ 7498608 w 8079933"/>
              <a:gd name="connsiteY2811" fmla="*/ 3608333 h 4687251"/>
              <a:gd name="connsiteX2812" fmla="*/ 7497197 w 8079933"/>
              <a:gd name="connsiteY2812" fmla="*/ 3609741 h 4687251"/>
              <a:gd name="connsiteX2813" fmla="*/ 7498066 w 8079933"/>
              <a:gd name="connsiteY2813" fmla="*/ 3623167 h 4687251"/>
              <a:gd name="connsiteX2814" fmla="*/ 7500019 w 8079933"/>
              <a:gd name="connsiteY2814" fmla="*/ 3626956 h 4687251"/>
              <a:gd name="connsiteX2815" fmla="*/ 7500019 w 8079933"/>
              <a:gd name="connsiteY2815" fmla="*/ 3631395 h 4687251"/>
              <a:gd name="connsiteX2816" fmla="*/ 7502623 w 8079933"/>
              <a:gd name="connsiteY2816" fmla="*/ 3628581 h 4687251"/>
              <a:gd name="connsiteX2817" fmla="*/ 7507832 w 8079933"/>
              <a:gd name="connsiteY2817" fmla="*/ 3634860 h 4687251"/>
              <a:gd name="connsiteX2818" fmla="*/ 7505336 w 8079933"/>
              <a:gd name="connsiteY2818" fmla="*/ 3627498 h 4687251"/>
              <a:gd name="connsiteX2819" fmla="*/ 7506529 w 8079933"/>
              <a:gd name="connsiteY2819" fmla="*/ 3623816 h 4687251"/>
              <a:gd name="connsiteX2820" fmla="*/ 7506529 w 8079933"/>
              <a:gd name="connsiteY2820" fmla="*/ 3620569 h 4687251"/>
              <a:gd name="connsiteX2821" fmla="*/ 7508591 w 8079933"/>
              <a:gd name="connsiteY2821" fmla="*/ 3619594 h 4687251"/>
              <a:gd name="connsiteX2822" fmla="*/ 7510871 w 8079933"/>
              <a:gd name="connsiteY2822" fmla="*/ 3625116 h 4687251"/>
              <a:gd name="connsiteX2823" fmla="*/ 7521613 w 8079933"/>
              <a:gd name="connsiteY2823" fmla="*/ 3634860 h 4687251"/>
              <a:gd name="connsiteX2824" fmla="*/ 7523349 w 8079933"/>
              <a:gd name="connsiteY2824" fmla="*/ 3632369 h 4687251"/>
              <a:gd name="connsiteX2825" fmla="*/ 7521939 w 8079933"/>
              <a:gd name="connsiteY2825" fmla="*/ 3630205 h 4687251"/>
              <a:gd name="connsiteX2826" fmla="*/ 7522807 w 8079933"/>
              <a:gd name="connsiteY2826" fmla="*/ 3627714 h 4687251"/>
              <a:gd name="connsiteX2827" fmla="*/ 7526062 w 8079933"/>
              <a:gd name="connsiteY2827" fmla="*/ 3629446 h 4687251"/>
              <a:gd name="connsiteX2828" fmla="*/ 7525411 w 8079933"/>
              <a:gd name="connsiteY2828" fmla="*/ 3634102 h 4687251"/>
              <a:gd name="connsiteX2829" fmla="*/ 7526822 w 8079933"/>
              <a:gd name="connsiteY2829" fmla="*/ 3637567 h 4687251"/>
              <a:gd name="connsiteX2830" fmla="*/ 7525737 w 8079933"/>
              <a:gd name="connsiteY2830" fmla="*/ 3644821 h 4687251"/>
              <a:gd name="connsiteX2831" fmla="*/ 7521180 w 8079933"/>
              <a:gd name="connsiteY2831" fmla="*/ 3650560 h 4687251"/>
              <a:gd name="connsiteX2832" fmla="*/ 7524435 w 8079933"/>
              <a:gd name="connsiteY2832" fmla="*/ 3656297 h 4687251"/>
              <a:gd name="connsiteX2833" fmla="*/ 7523242 w 8079933"/>
              <a:gd name="connsiteY2833" fmla="*/ 3659979 h 4687251"/>
              <a:gd name="connsiteX2834" fmla="*/ 7525954 w 8079933"/>
              <a:gd name="connsiteY2834" fmla="*/ 3662469 h 4687251"/>
              <a:gd name="connsiteX2835" fmla="*/ 7531706 w 8079933"/>
              <a:gd name="connsiteY2835" fmla="*/ 3667558 h 4687251"/>
              <a:gd name="connsiteX2836" fmla="*/ 7532248 w 8079933"/>
              <a:gd name="connsiteY2836" fmla="*/ 3671022 h 4687251"/>
              <a:gd name="connsiteX2837" fmla="*/ 7534636 w 8079933"/>
              <a:gd name="connsiteY2837" fmla="*/ 3671997 h 4687251"/>
              <a:gd name="connsiteX2838" fmla="*/ 7535287 w 8079933"/>
              <a:gd name="connsiteY2838" fmla="*/ 3678168 h 4687251"/>
              <a:gd name="connsiteX2839" fmla="*/ 7538542 w 8079933"/>
              <a:gd name="connsiteY2839" fmla="*/ 3681199 h 4687251"/>
              <a:gd name="connsiteX2840" fmla="*/ 7542232 w 8079933"/>
              <a:gd name="connsiteY2840" fmla="*/ 3679576 h 4687251"/>
              <a:gd name="connsiteX2841" fmla="*/ 7545270 w 8079933"/>
              <a:gd name="connsiteY2841" fmla="*/ 3679792 h 4687251"/>
              <a:gd name="connsiteX2842" fmla="*/ 7548308 w 8079933"/>
              <a:gd name="connsiteY2842" fmla="*/ 3685531 h 4687251"/>
              <a:gd name="connsiteX2843" fmla="*/ 7549827 w 8079933"/>
              <a:gd name="connsiteY2843" fmla="*/ 3692243 h 4687251"/>
              <a:gd name="connsiteX2844" fmla="*/ 7553192 w 8079933"/>
              <a:gd name="connsiteY2844" fmla="*/ 3699064 h 4687251"/>
              <a:gd name="connsiteX2845" fmla="*/ 7558618 w 8079933"/>
              <a:gd name="connsiteY2845" fmla="*/ 3703829 h 4687251"/>
              <a:gd name="connsiteX2846" fmla="*/ 7558509 w 8079933"/>
              <a:gd name="connsiteY2846" fmla="*/ 3709242 h 4687251"/>
              <a:gd name="connsiteX2847" fmla="*/ 7560788 w 8079933"/>
              <a:gd name="connsiteY2847" fmla="*/ 3713897 h 4687251"/>
              <a:gd name="connsiteX2848" fmla="*/ 7565454 w 8079933"/>
              <a:gd name="connsiteY2848" fmla="*/ 3715847 h 4687251"/>
              <a:gd name="connsiteX2849" fmla="*/ 7562958 w 8079933"/>
              <a:gd name="connsiteY2849" fmla="*/ 3721152 h 4687251"/>
              <a:gd name="connsiteX2850" fmla="*/ 7565020 w 8079933"/>
              <a:gd name="connsiteY2850" fmla="*/ 3721801 h 4687251"/>
              <a:gd name="connsiteX2851" fmla="*/ 7564803 w 8079933"/>
              <a:gd name="connsiteY2851" fmla="*/ 3731221 h 4687251"/>
              <a:gd name="connsiteX2852" fmla="*/ 7566105 w 8079933"/>
              <a:gd name="connsiteY2852" fmla="*/ 3736093 h 4687251"/>
              <a:gd name="connsiteX2853" fmla="*/ 7568059 w 8079933"/>
              <a:gd name="connsiteY2853" fmla="*/ 3738800 h 4687251"/>
              <a:gd name="connsiteX2854" fmla="*/ 7565346 w 8079933"/>
              <a:gd name="connsiteY2854" fmla="*/ 3743455 h 4687251"/>
              <a:gd name="connsiteX2855" fmla="*/ 7565671 w 8079933"/>
              <a:gd name="connsiteY2855" fmla="*/ 3757422 h 4687251"/>
              <a:gd name="connsiteX2856" fmla="*/ 7566105 w 8079933"/>
              <a:gd name="connsiteY2856" fmla="*/ 3759588 h 4687251"/>
              <a:gd name="connsiteX2857" fmla="*/ 7561874 w 8079933"/>
              <a:gd name="connsiteY2857" fmla="*/ 3766733 h 4687251"/>
              <a:gd name="connsiteX2858" fmla="*/ 7561765 w 8079933"/>
              <a:gd name="connsiteY2858" fmla="*/ 3772364 h 4687251"/>
              <a:gd name="connsiteX2859" fmla="*/ 7560137 w 8079933"/>
              <a:gd name="connsiteY2859" fmla="*/ 3774529 h 4687251"/>
              <a:gd name="connsiteX2860" fmla="*/ 7560245 w 8079933"/>
              <a:gd name="connsiteY2860" fmla="*/ 3779401 h 4687251"/>
              <a:gd name="connsiteX2861" fmla="*/ 7561765 w 8079933"/>
              <a:gd name="connsiteY2861" fmla="*/ 3782324 h 4687251"/>
              <a:gd name="connsiteX2862" fmla="*/ 7565128 w 8079933"/>
              <a:gd name="connsiteY2862" fmla="*/ 3791311 h 4687251"/>
              <a:gd name="connsiteX2863" fmla="*/ 7564587 w 8079933"/>
              <a:gd name="connsiteY2863" fmla="*/ 3797050 h 4687251"/>
              <a:gd name="connsiteX2864" fmla="*/ 7568276 w 8079933"/>
              <a:gd name="connsiteY2864" fmla="*/ 3807877 h 4687251"/>
              <a:gd name="connsiteX2865" fmla="*/ 7564260 w 8079933"/>
              <a:gd name="connsiteY2865" fmla="*/ 3812748 h 4687251"/>
              <a:gd name="connsiteX2866" fmla="*/ 7566105 w 8079933"/>
              <a:gd name="connsiteY2866" fmla="*/ 3819786 h 4687251"/>
              <a:gd name="connsiteX2867" fmla="*/ 7563718 w 8079933"/>
              <a:gd name="connsiteY2867" fmla="*/ 3826283 h 4687251"/>
              <a:gd name="connsiteX2868" fmla="*/ 7557206 w 8079933"/>
              <a:gd name="connsiteY2868" fmla="*/ 3831696 h 4687251"/>
              <a:gd name="connsiteX2869" fmla="*/ 7552649 w 8079933"/>
              <a:gd name="connsiteY2869" fmla="*/ 3842956 h 4687251"/>
              <a:gd name="connsiteX2870" fmla="*/ 7553084 w 8079933"/>
              <a:gd name="connsiteY2870" fmla="*/ 3848695 h 4687251"/>
              <a:gd name="connsiteX2871" fmla="*/ 7544402 w 8079933"/>
              <a:gd name="connsiteY2871" fmla="*/ 3864177 h 4687251"/>
              <a:gd name="connsiteX2872" fmla="*/ 7542774 w 8079933"/>
              <a:gd name="connsiteY2872" fmla="*/ 3872514 h 4687251"/>
              <a:gd name="connsiteX2873" fmla="*/ 7536046 w 8079933"/>
              <a:gd name="connsiteY2873" fmla="*/ 3887997 h 4687251"/>
              <a:gd name="connsiteX2874" fmla="*/ 7535287 w 8079933"/>
              <a:gd name="connsiteY2874" fmla="*/ 3891786 h 4687251"/>
              <a:gd name="connsiteX2875" fmla="*/ 7537349 w 8079933"/>
              <a:gd name="connsiteY2875" fmla="*/ 3894168 h 4687251"/>
              <a:gd name="connsiteX2876" fmla="*/ 7534636 w 8079933"/>
              <a:gd name="connsiteY2876" fmla="*/ 3901422 h 4687251"/>
              <a:gd name="connsiteX2877" fmla="*/ 7535287 w 8079933"/>
              <a:gd name="connsiteY2877" fmla="*/ 3905861 h 4687251"/>
              <a:gd name="connsiteX2878" fmla="*/ 7530077 w 8079933"/>
              <a:gd name="connsiteY2878" fmla="*/ 3914739 h 4687251"/>
              <a:gd name="connsiteX2879" fmla="*/ 7524652 w 8079933"/>
              <a:gd name="connsiteY2879" fmla="*/ 3916905 h 4687251"/>
              <a:gd name="connsiteX2880" fmla="*/ 7524435 w 8079933"/>
              <a:gd name="connsiteY2880" fmla="*/ 3921994 h 4687251"/>
              <a:gd name="connsiteX2881" fmla="*/ 7516730 w 8079933"/>
              <a:gd name="connsiteY2881" fmla="*/ 3927949 h 4687251"/>
              <a:gd name="connsiteX2882" fmla="*/ 7515646 w 8079933"/>
              <a:gd name="connsiteY2882" fmla="*/ 3932821 h 4687251"/>
              <a:gd name="connsiteX2883" fmla="*/ 7516730 w 8079933"/>
              <a:gd name="connsiteY2883" fmla="*/ 3935636 h 4687251"/>
              <a:gd name="connsiteX2884" fmla="*/ 7515103 w 8079933"/>
              <a:gd name="connsiteY2884" fmla="*/ 3941266 h 4687251"/>
              <a:gd name="connsiteX2885" fmla="*/ 7507506 w 8079933"/>
              <a:gd name="connsiteY2885" fmla="*/ 3946679 h 4687251"/>
              <a:gd name="connsiteX2886" fmla="*/ 7498933 w 8079933"/>
              <a:gd name="connsiteY2886" fmla="*/ 3947221 h 4687251"/>
              <a:gd name="connsiteX2887" fmla="*/ 7497197 w 8079933"/>
              <a:gd name="connsiteY2887" fmla="*/ 3949603 h 4687251"/>
              <a:gd name="connsiteX2888" fmla="*/ 7504359 w 8079933"/>
              <a:gd name="connsiteY2888" fmla="*/ 3949603 h 4687251"/>
              <a:gd name="connsiteX2889" fmla="*/ 7500019 w 8079933"/>
              <a:gd name="connsiteY2889" fmla="*/ 3951768 h 4687251"/>
              <a:gd name="connsiteX2890" fmla="*/ 7492965 w 8079933"/>
              <a:gd name="connsiteY2890" fmla="*/ 3953934 h 4687251"/>
              <a:gd name="connsiteX2891" fmla="*/ 7489384 w 8079933"/>
              <a:gd name="connsiteY2891" fmla="*/ 3961620 h 4687251"/>
              <a:gd name="connsiteX2892" fmla="*/ 7486346 w 8079933"/>
              <a:gd name="connsiteY2892" fmla="*/ 3964761 h 4687251"/>
              <a:gd name="connsiteX2893" fmla="*/ 7481245 w 8079933"/>
              <a:gd name="connsiteY2893" fmla="*/ 3972232 h 4687251"/>
              <a:gd name="connsiteX2894" fmla="*/ 7473866 w 8079933"/>
              <a:gd name="connsiteY2894" fmla="*/ 3975696 h 4687251"/>
              <a:gd name="connsiteX2895" fmla="*/ 7476904 w 8079933"/>
              <a:gd name="connsiteY2895" fmla="*/ 3978619 h 4687251"/>
              <a:gd name="connsiteX2896" fmla="*/ 7473106 w 8079933"/>
              <a:gd name="connsiteY2896" fmla="*/ 3987822 h 4687251"/>
              <a:gd name="connsiteX2897" fmla="*/ 7468983 w 8079933"/>
              <a:gd name="connsiteY2897" fmla="*/ 3989987 h 4687251"/>
              <a:gd name="connsiteX2898" fmla="*/ 7469526 w 8079933"/>
              <a:gd name="connsiteY2898" fmla="*/ 3995185 h 4687251"/>
              <a:gd name="connsiteX2899" fmla="*/ 7463774 w 8079933"/>
              <a:gd name="connsiteY2899" fmla="*/ 4000923 h 4687251"/>
              <a:gd name="connsiteX2900" fmla="*/ 7460193 w 8079933"/>
              <a:gd name="connsiteY2900" fmla="*/ 4011101 h 4687251"/>
              <a:gd name="connsiteX2901" fmla="*/ 7454333 w 8079933"/>
              <a:gd name="connsiteY2901" fmla="*/ 4018680 h 4687251"/>
              <a:gd name="connsiteX2902" fmla="*/ 7451838 w 8079933"/>
              <a:gd name="connsiteY2902" fmla="*/ 4028424 h 4687251"/>
              <a:gd name="connsiteX2903" fmla="*/ 7447822 w 8079933"/>
              <a:gd name="connsiteY2903" fmla="*/ 4029182 h 4687251"/>
              <a:gd name="connsiteX2904" fmla="*/ 7433389 w 8079933"/>
              <a:gd name="connsiteY2904" fmla="*/ 4047262 h 4687251"/>
              <a:gd name="connsiteX2905" fmla="*/ 7433715 w 8079933"/>
              <a:gd name="connsiteY2905" fmla="*/ 4051919 h 4687251"/>
              <a:gd name="connsiteX2906" fmla="*/ 7429049 w 8079933"/>
              <a:gd name="connsiteY2906" fmla="*/ 4054084 h 4687251"/>
              <a:gd name="connsiteX2907" fmla="*/ 7427421 w 8079933"/>
              <a:gd name="connsiteY2907" fmla="*/ 4063612 h 4687251"/>
              <a:gd name="connsiteX2908" fmla="*/ 7423515 w 8079933"/>
              <a:gd name="connsiteY2908" fmla="*/ 4069025 h 4687251"/>
              <a:gd name="connsiteX2909" fmla="*/ 7423515 w 8079933"/>
              <a:gd name="connsiteY2909" fmla="*/ 4083100 h 4687251"/>
              <a:gd name="connsiteX2910" fmla="*/ 7415376 w 8079933"/>
              <a:gd name="connsiteY2910" fmla="*/ 4091221 h 4687251"/>
              <a:gd name="connsiteX2911" fmla="*/ 7415592 w 8079933"/>
              <a:gd name="connsiteY2911" fmla="*/ 4096201 h 4687251"/>
              <a:gd name="connsiteX2912" fmla="*/ 7417438 w 8079933"/>
              <a:gd name="connsiteY2912" fmla="*/ 4105620 h 4687251"/>
              <a:gd name="connsiteX2913" fmla="*/ 7413206 w 8079933"/>
              <a:gd name="connsiteY2913" fmla="*/ 4114174 h 4687251"/>
              <a:gd name="connsiteX2914" fmla="*/ 7408756 w 8079933"/>
              <a:gd name="connsiteY2914" fmla="*/ 4117206 h 4687251"/>
              <a:gd name="connsiteX2915" fmla="*/ 7404415 w 8079933"/>
              <a:gd name="connsiteY2915" fmla="*/ 4117206 h 4687251"/>
              <a:gd name="connsiteX2916" fmla="*/ 7404415 w 8079933"/>
              <a:gd name="connsiteY2916" fmla="*/ 4121103 h 4687251"/>
              <a:gd name="connsiteX2917" fmla="*/ 7398230 w 8079933"/>
              <a:gd name="connsiteY2917" fmla="*/ 4124785 h 4687251"/>
              <a:gd name="connsiteX2918" fmla="*/ 7383364 w 8079933"/>
              <a:gd name="connsiteY2918" fmla="*/ 4121861 h 4687251"/>
              <a:gd name="connsiteX2919" fmla="*/ 7364915 w 8079933"/>
              <a:gd name="connsiteY2919" fmla="*/ 4125542 h 4687251"/>
              <a:gd name="connsiteX2920" fmla="*/ 7355909 w 8079933"/>
              <a:gd name="connsiteY2920" fmla="*/ 4128249 h 4687251"/>
              <a:gd name="connsiteX2921" fmla="*/ 7349723 w 8079933"/>
              <a:gd name="connsiteY2921" fmla="*/ 4128249 h 4687251"/>
              <a:gd name="connsiteX2922" fmla="*/ 7345274 w 8079933"/>
              <a:gd name="connsiteY2922" fmla="*/ 4128574 h 4687251"/>
              <a:gd name="connsiteX2923" fmla="*/ 7349398 w 8079933"/>
              <a:gd name="connsiteY2923" fmla="*/ 4129981 h 4687251"/>
              <a:gd name="connsiteX2924" fmla="*/ 7348312 w 8079933"/>
              <a:gd name="connsiteY2924" fmla="*/ 4131497 h 4687251"/>
              <a:gd name="connsiteX2925" fmla="*/ 7351025 w 8079933"/>
              <a:gd name="connsiteY2925" fmla="*/ 4129873 h 4687251"/>
              <a:gd name="connsiteX2926" fmla="*/ 7354715 w 8079933"/>
              <a:gd name="connsiteY2926" fmla="*/ 4129873 h 4687251"/>
              <a:gd name="connsiteX2927" fmla="*/ 7347770 w 8079933"/>
              <a:gd name="connsiteY2927" fmla="*/ 4135936 h 4687251"/>
              <a:gd name="connsiteX2928" fmla="*/ 7335507 w 8079933"/>
              <a:gd name="connsiteY2928" fmla="*/ 4143407 h 4687251"/>
              <a:gd name="connsiteX2929" fmla="*/ 7329539 w 8079933"/>
              <a:gd name="connsiteY2929" fmla="*/ 4151528 h 4687251"/>
              <a:gd name="connsiteX2930" fmla="*/ 7327912 w 8079933"/>
              <a:gd name="connsiteY2930" fmla="*/ 4154234 h 4687251"/>
              <a:gd name="connsiteX2931" fmla="*/ 7326392 w 8079933"/>
              <a:gd name="connsiteY2931" fmla="*/ 4151852 h 4687251"/>
              <a:gd name="connsiteX2932" fmla="*/ 7314672 w 8079933"/>
              <a:gd name="connsiteY2932" fmla="*/ 4151528 h 4687251"/>
              <a:gd name="connsiteX2933" fmla="*/ 7311742 w 8079933"/>
              <a:gd name="connsiteY2933" fmla="*/ 4154775 h 4687251"/>
              <a:gd name="connsiteX2934" fmla="*/ 7312719 w 8079933"/>
              <a:gd name="connsiteY2934" fmla="*/ 4157482 h 4687251"/>
              <a:gd name="connsiteX2935" fmla="*/ 7316517 w 8079933"/>
              <a:gd name="connsiteY2935" fmla="*/ 4154559 h 4687251"/>
              <a:gd name="connsiteX2936" fmla="*/ 7316843 w 8079933"/>
              <a:gd name="connsiteY2936" fmla="*/ 4161056 h 4687251"/>
              <a:gd name="connsiteX2937" fmla="*/ 7313370 w 8079933"/>
              <a:gd name="connsiteY2937" fmla="*/ 4167010 h 4687251"/>
              <a:gd name="connsiteX2938" fmla="*/ 7310006 w 8079933"/>
              <a:gd name="connsiteY2938" fmla="*/ 4161921 h 4687251"/>
              <a:gd name="connsiteX2939" fmla="*/ 7309572 w 8079933"/>
              <a:gd name="connsiteY2939" fmla="*/ 4157050 h 4687251"/>
              <a:gd name="connsiteX2940" fmla="*/ 7306316 w 8079933"/>
              <a:gd name="connsiteY2940" fmla="*/ 4156724 h 4687251"/>
              <a:gd name="connsiteX2941" fmla="*/ 7304038 w 8079933"/>
              <a:gd name="connsiteY2941" fmla="*/ 4158132 h 4687251"/>
              <a:gd name="connsiteX2942" fmla="*/ 7302736 w 8079933"/>
              <a:gd name="connsiteY2942" fmla="*/ 4150012 h 4687251"/>
              <a:gd name="connsiteX2943" fmla="*/ 7296441 w 8079933"/>
              <a:gd name="connsiteY2943" fmla="*/ 4142649 h 4687251"/>
              <a:gd name="connsiteX2944" fmla="*/ 7300239 w 8079933"/>
              <a:gd name="connsiteY2944" fmla="*/ 4138859 h 4687251"/>
              <a:gd name="connsiteX2945" fmla="*/ 7303170 w 8079933"/>
              <a:gd name="connsiteY2945" fmla="*/ 4138968 h 4687251"/>
              <a:gd name="connsiteX2946" fmla="*/ 7303603 w 8079933"/>
              <a:gd name="connsiteY2946" fmla="*/ 4134420 h 4687251"/>
              <a:gd name="connsiteX2947" fmla="*/ 7298721 w 8079933"/>
              <a:gd name="connsiteY2947" fmla="*/ 4131714 h 4687251"/>
              <a:gd name="connsiteX2948" fmla="*/ 7294814 w 8079933"/>
              <a:gd name="connsiteY2948" fmla="*/ 4134637 h 4687251"/>
              <a:gd name="connsiteX2949" fmla="*/ 7291341 w 8079933"/>
              <a:gd name="connsiteY2949" fmla="*/ 4138318 h 4687251"/>
              <a:gd name="connsiteX2950" fmla="*/ 7288303 w 8079933"/>
              <a:gd name="connsiteY2950" fmla="*/ 4137561 h 4687251"/>
              <a:gd name="connsiteX2951" fmla="*/ 7286132 w 8079933"/>
              <a:gd name="connsiteY2951" fmla="*/ 4133122 h 4687251"/>
              <a:gd name="connsiteX2952" fmla="*/ 7295682 w 8079933"/>
              <a:gd name="connsiteY2952" fmla="*/ 4127924 h 4687251"/>
              <a:gd name="connsiteX2953" fmla="*/ 7295899 w 8079933"/>
              <a:gd name="connsiteY2953" fmla="*/ 4122619 h 4687251"/>
              <a:gd name="connsiteX2954" fmla="*/ 7288086 w 8079933"/>
              <a:gd name="connsiteY2954" fmla="*/ 4117206 h 4687251"/>
              <a:gd name="connsiteX2955" fmla="*/ 7278753 w 8079933"/>
              <a:gd name="connsiteY2955" fmla="*/ 4123377 h 4687251"/>
              <a:gd name="connsiteX2956" fmla="*/ 7277017 w 8079933"/>
              <a:gd name="connsiteY2956" fmla="*/ 4126517 h 4687251"/>
              <a:gd name="connsiteX2957" fmla="*/ 7282226 w 8079933"/>
              <a:gd name="connsiteY2957" fmla="*/ 4128032 h 4687251"/>
              <a:gd name="connsiteX2958" fmla="*/ 7283420 w 8079933"/>
              <a:gd name="connsiteY2958" fmla="*/ 4130414 h 4687251"/>
              <a:gd name="connsiteX2959" fmla="*/ 7281466 w 8079933"/>
              <a:gd name="connsiteY2959" fmla="*/ 4132689 h 4687251"/>
              <a:gd name="connsiteX2960" fmla="*/ 7277017 w 8079933"/>
              <a:gd name="connsiteY2960" fmla="*/ 4131822 h 4687251"/>
              <a:gd name="connsiteX2961" fmla="*/ 7270832 w 8079933"/>
              <a:gd name="connsiteY2961" fmla="*/ 4137993 h 4687251"/>
              <a:gd name="connsiteX2962" fmla="*/ 7265080 w 8079933"/>
              <a:gd name="connsiteY2962" fmla="*/ 4138102 h 4687251"/>
              <a:gd name="connsiteX2963" fmla="*/ 7262258 w 8079933"/>
              <a:gd name="connsiteY2963" fmla="*/ 4142216 h 4687251"/>
              <a:gd name="connsiteX2964" fmla="*/ 7253035 w 8079933"/>
              <a:gd name="connsiteY2964" fmla="*/ 4146655 h 4687251"/>
              <a:gd name="connsiteX2965" fmla="*/ 7251407 w 8079933"/>
              <a:gd name="connsiteY2965" fmla="*/ 4149903 h 4687251"/>
              <a:gd name="connsiteX2966" fmla="*/ 7247718 w 8079933"/>
              <a:gd name="connsiteY2966" fmla="*/ 4149903 h 4687251"/>
              <a:gd name="connsiteX2967" fmla="*/ 7242942 w 8079933"/>
              <a:gd name="connsiteY2967" fmla="*/ 4144057 h 4687251"/>
              <a:gd name="connsiteX2968" fmla="*/ 7238168 w 8079933"/>
              <a:gd name="connsiteY2968" fmla="*/ 4142432 h 4687251"/>
              <a:gd name="connsiteX2969" fmla="*/ 7237517 w 8079933"/>
              <a:gd name="connsiteY2969" fmla="*/ 4137561 h 4687251"/>
              <a:gd name="connsiteX2970" fmla="*/ 7231440 w 8079933"/>
              <a:gd name="connsiteY2970" fmla="*/ 4132039 h 4687251"/>
              <a:gd name="connsiteX2971" fmla="*/ 7226014 w 8079933"/>
              <a:gd name="connsiteY2971" fmla="*/ 4131497 h 4687251"/>
              <a:gd name="connsiteX2972" fmla="*/ 7221022 w 8079933"/>
              <a:gd name="connsiteY2972" fmla="*/ 4125326 h 4687251"/>
              <a:gd name="connsiteX2973" fmla="*/ 7214837 w 8079933"/>
              <a:gd name="connsiteY2973" fmla="*/ 4123377 h 4687251"/>
              <a:gd name="connsiteX2974" fmla="*/ 7211798 w 8079933"/>
              <a:gd name="connsiteY2974" fmla="*/ 4124459 h 4687251"/>
              <a:gd name="connsiteX2975" fmla="*/ 7210713 w 8079933"/>
              <a:gd name="connsiteY2975" fmla="*/ 4126517 h 4687251"/>
              <a:gd name="connsiteX2976" fmla="*/ 7205831 w 8079933"/>
              <a:gd name="connsiteY2976" fmla="*/ 4126192 h 4687251"/>
              <a:gd name="connsiteX2977" fmla="*/ 7203660 w 8079933"/>
              <a:gd name="connsiteY2977" fmla="*/ 4120454 h 4687251"/>
              <a:gd name="connsiteX2978" fmla="*/ 7199102 w 8079933"/>
              <a:gd name="connsiteY2978" fmla="*/ 4117206 h 4687251"/>
              <a:gd name="connsiteX2979" fmla="*/ 7192591 w 8079933"/>
              <a:gd name="connsiteY2979" fmla="*/ 4115581 h 4687251"/>
              <a:gd name="connsiteX2980" fmla="*/ 7184127 w 8079933"/>
              <a:gd name="connsiteY2980" fmla="*/ 4104213 h 4687251"/>
              <a:gd name="connsiteX2981" fmla="*/ 7183042 w 8079933"/>
              <a:gd name="connsiteY2981" fmla="*/ 4096418 h 4687251"/>
              <a:gd name="connsiteX2982" fmla="*/ 7179352 w 8079933"/>
              <a:gd name="connsiteY2982" fmla="*/ 4090138 h 4687251"/>
              <a:gd name="connsiteX2983" fmla="*/ 7175228 w 8079933"/>
              <a:gd name="connsiteY2983" fmla="*/ 4086565 h 4687251"/>
              <a:gd name="connsiteX2984" fmla="*/ 7176096 w 8079933"/>
              <a:gd name="connsiteY2984" fmla="*/ 4078228 h 4687251"/>
              <a:gd name="connsiteX2985" fmla="*/ 7175120 w 8079933"/>
              <a:gd name="connsiteY2985" fmla="*/ 4075196 h 4687251"/>
              <a:gd name="connsiteX2986" fmla="*/ 7180980 w 8079933"/>
              <a:gd name="connsiteY2986" fmla="*/ 4068809 h 4687251"/>
              <a:gd name="connsiteX2987" fmla="*/ 7181956 w 8079933"/>
              <a:gd name="connsiteY2987" fmla="*/ 4057873 h 4687251"/>
              <a:gd name="connsiteX2988" fmla="*/ 7181522 w 8079933"/>
              <a:gd name="connsiteY2988" fmla="*/ 4048995 h 4687251"/>
              <a:gd name="connsiteX2989" fmla="*/ 7178484 w 8079933"/>
              <a:gd name="connsiteY2989" fmla="*/ 4041416 h 4687251"/>
              <a:gd name="connsiteX2990" fmla="*/ 7176747 w 8079933"/>
              <a:gd name="connsiteY2990" fmla="*/ 4036219 h 4687251"/>
              <a:gd name="connsiteX2991" fmla="*/ 7172515 w 8079933"/>
              <a:gd name="connsiteY2991" fmla="*/ 4030048 h 4687251"/>
              <a:gd name="connsiteX2992" fmla="*/ 7173601 w 8079933"/>
              <a:gd name="connsiteY2992" fmla="*/ 4027449 h 4687251"/>
              <a:gd name="connsiteX2993" fmla="*/ 7177941 w 8079933"/>
              <a:gd name="connsiteY2993" fmla="*/ 4027774 h 4687251"/>
              <a:gd name="connsiteX2994" fmla="*/ 7180329 w 8079933"/>
              <a:gd name="connsiteY2994" fmla="*/ 4023876 h 4687251"/>
              <a:gd name="connsiteX2995" fmla="*/ 7182716 w 8079933"/>
              <a:gd name="connsiteY2995" fmla="*/ 4019762 h 4687251"/>
              <a:gd name="connsiteX2996" fmla="*/ 7179677 w 8079933"/>
              <a:gd name="connsiteY2996" fmla="*/ 4020195 h 4687251"/>
              <a:gd name="connsiteX2997" fmla="*/ 7175663 w 8079933"/>
              <a:gd name="connsiteY2997" fmla="*/ 4019004 h 4687251"/>
              <a:gd name="connsiteX2998" fmla="*/ 7170562 w 8079933"/>
              <a:gd name="connsiteY2998" fmla="*/ 4023118 h 4687251"/>
              <a:gd name="connsiteX2999" fmla="*/ 7166439 w 8079933"/>
              <a:gd name="connsiteY2999" fmla="*/ 4024201 h 4687251"/>
              <a:gd name="connsiteX3000" fmla="*/ 7163726 w 8079933"/>
              <a:gd name="connsiteY3000" fmla="*/ 4026908 h 4687251"/>
              <a:gd name="connsiteX3001" fmla="*/ 7157540 w 8079933"/>
              <a:gd name="connsiteY3001" fmla="*/ 4026800 h 4687251"/>
              <a:gd name="connsiteX3002" fmla="*/ 7151680 w 8079933"/>
              <a:gd name="connsiteY3002" fmla="*/ 4027558 h 4687251"/>
              <a:gd name="connsiteX3003" fmla="*/ 7150269 w 8079933"/>
              <a:gd name="connsiteY3003" fmla="*/ 4024309 h 4687251"/>
              <a:gd name="connsiteX3004" fmla="*/ 7159385 w 8079933"/>
              <a:gd name="connsiteY3004" fmla="*/ 4020628 h 4687251"/>
              <a:gd name="connsiteX3005" fmla="*/ 7164593 w 8079933"/>
              <a:gd name="connsiteY3005" fmla="*/ 4010884 h 4687251"/>
              <a:gd name="connsiteX3006" fmla="*/ 7163834 w 8079933"/>
              <a:gd name="connsiteY3006" fmla="*/ 3999515 h 4687251"/>
              <a:gd name="connsiteX3007" fmla="*/ 7166004 w 8079933"/>
              <a:gd name="connsiteY3007" fmla="*/ 3998866 h 4687251"/>
              <a:gd name="connsiteX3008" fmla="*/ 7163509 w 8079933"/>
              <a:gd name="connsiteY3008" fmla="*/ 3992153 h 4687251"/>
              <a:gd name="connsiteX3009" fmla="*/ 7163292 w 8079933"/>
              <a:gd name="connsiteY3009" fmla="*/ 3980785 h 4687251"/>
              <a:gd name="connsiteX3010" fmla="*/ 7161556 w 8079933"/>
              <a:gd name="connsiteY3010" fmla="*/ 3978619 h 4687251"/>
              <a:gd name="connsiteX3011" fmla="*/ 7154828 w 8079933"/>
              <a:gd name="connsiteY3011" fmla="*/ 3985440 h 4687251"/>
              <a:gd name="connsiteX3012" fmla="*/ 7152657 w 8079933"/>
              <a:gd name="connsiteY3012" fmla="*/ 3997783 h 4687251"/>
              <a:gd name="connsiteX3013" fmla="*/ 7144736 w 8079933"/>
              <a:gd name="connsiteY3013" fmla="*/ 4011101 h 4687251"/>
              <a:gd name="connsiteX3014" fmla="*/ 7136488 w 8079933"/>
              <a:gd name="connsiteY3014" fmla="*/ 4008177 h 4687251"/>
              <a:gd name="connsiteX3015" fmla="*/ 7129652 w 8079933"/>
              <a:gd name="connsiteY3015" fmla="*/ 4011317 h 4687251"/>
              <a:gd name="connsiteX3016" fmla="*/ 7122597 w 8079933"/>
              <a:gd name="connsiteY3016" fmla="*/ 4013049 h 4687251"/>
              <a:gd name="connsiteX3017" fmla="*/ 7122597 w 8079933"/>
              <a:gd name="connsiteY3017" fmla="*/ 4011317 h 4687251"/>
              <a:gd name="connsiteX3018" fmla="*/ 7125528 w 8079933"/>
              <a:gd name="connsiteY3018" fmla="*/ 4006228 h 4687251"/>
              <a:gd name="connsiteX3019" fmla="*/ 7127807 w 8079933"/>
              <a:gd name="connsiteY3019" fmla="*/ 3999948 h 4687251"/>
              <a:gd name="connsiteX3020" fmla="*/ 7139201 w 8079933"/>
              <a:gd name="connsiteY3020" fmla="*/ 4001140 h 4687251"/>
              <a:gd name="connsiteX3021" fmla="*/ 7143433 w 8079933"/>
              <a:gd name="connsiteY3021" fmla="*/ 3989663 h 4687251"/>
              <a:gd name="connsiteX3022" fmla="*/ 7141588 w 8079933"/>
              <a:gd name="connsiteY3022" fmla="*/ 3987281 h 4687251"/>
              <a:gd name="connsiteX3023" fmla="*/ 7147340 w 8079933"/>
              <a:gd name="connsiteY3023" fmla="*/ 3979161 h 4687251"/>
              <a:gd name="connsiteX3024" fmla="*/ 7147014 w 8079933"/>
              <a:gd name="connsiteY3024" fmla="*/ 3973747 h 4687251"/>
              <a:gd name="connsiteX3025" fmla="*/ 7149944 w 8079933"/>
              <a:gd name="connsiteY3025" fmla="*/ 3969958 h 4687251"/>
              <a:gd name="connsiteX3026" fmla="*/ 7151355 w 8079933"/>
              <a:gd name="connsiteY3026" fmla="*/ 3964761 h 4687251"/>
              <a:gd name="connsiteX3027" fmla="*/ 7161338 w 8079933"/>
              <a:gd name="connsiteY3027" fmla="*/ 3958265 h 4687251"/>
              <a:gd name="connsiteX3028" fmla="*/ 7162749 w 8079933"/>
              <a:gd name="connsiteY3028" fmla="*/ 3946138 h 4687251"/>
              <a:gd name="connsiteX3029" fmla="*/ 7165679 w 8079933"/>
              <a:gd name="connsiteY3029" fmla="*/ 3942349 h 4687251"/>
              <a:gd name="connsiteX3030" fmla="*/ 7165679 w 8079933"/>
              <a:gd name="connsiteY3030" fmla="*/ 3936394 h 4687251"/>
              <a:gd name="connsiteX3031" fmla="*/ 7165462 w 8079933"/>
              <a:gd name="connsiteY3031" fmla="*/ 3930222 h 4687251"/>
              <a:gd name="connsiteX3032" fmla="*/ 7162532 w 8079933"/>
              <a:gd name="connsiteY3032" fmla="*/ 3923618 h 4687251"/>
              <a:gd name="connsiteX3033" fmla="*/ 7161556 w 8079933"/>
              <a:gd name="connsiteY3033" fmla="*/ 3929356 h 4687251"/>
              <a:gd name="connsiteX3034" fmla="*/ 7163292 w 8079933"/>
              <a:gd name="connsiteY3034" fmla="*/ 3934445 h 4687251"/>
              <a:gd name="connsiteX3035" fmla="*/ 7160579 w 8079933"/>
              <a:gd name="connsiteY3035" fmla="*/ 3938343 h 4687251"/>
              <a:gd name="connsiteX3036" fmla="*/ 7153742 w 8079933"/>
              <a:gd name="connsiteY3036" fmla="*/ 3939859 h 4687251"/>
              <a:gd name="connsiteX3037" fmla="*/ 7147340 w 8079933"/>
              <a:gd name="connsiteY3037" fmla="*/ 3949603 h 4687251"/>
              <a:gd name="connsiteX3038" fmla="*/ 7145386 w 8079933"/>
              <a:gd name="connsiteY3038" fmla="*/ 3956207 h 4687251"/>
              <a:gd name="connsiteX3039" fmla="*/ 7137464 w 8079933"/>
              <a:gd name="connsiteY3039" fmla="*/ 3959997 h 4687251"/>
              <a:gd name="connsiteX3040" fmla="*/ 7135403 w 8079933"/>
              <a:gd name="connsiteY3040" fmla="*/ 3959997 h 4687251"/>
              <a:gd name="connsiteX3041" fmla="*/ 7134426 w 8079933"/>
              <a:gd name="connsiteY3041" fmla="*/ 3963136 h 4687251"/>
              <a:gd name="connsiteX3042" fmla="*/ 7124226 w 8079933"/>
              <a:gd name="connsiteY3042" fmla="*/ 3968117 h 4687251"/>
              <a:gd name="connsiteX3043" fmla="*/ 7119885 w 8079933"/>
              <a:gd name="connsiteY3043" fmla="*/ 3973747 h 4687251"/>
              <a:gd name="connsiteX3044" fmla="*/ 7118691 w 8079933"/>
              <a:gd name="connsiteY3044" fmla="*/ 3977861 h 4687251"/>
              <a:gd name="connsiteX3045" fmla="*/ 7114459 w 8079933"/>
              <a:gd name="connsiteY3045" fmla="*/ 3979702 h 4687251"/>
              <a:gd name="connsiteX3046" fmla="*/ 7112288 w 8079933"/>
              <a:gd name="connsiteY3046" fmla="*/ 3983708 h 4687251"/>
              <a:gd name="connsiteX3047" fmla="*/ 7108490 w 8079933"/>
              <a:gd name="connsiteY3047" fmla="*/ 3984358 h 4687251"/>
              <a:gd name="connsiteX3048" fmla="*/ 7106212 w 8079933"/>
              <a:gd name="connsiteY3048" fmla="*/ 3989122 h 4687251"/>
              <a:gd name="connsiteX3049" fmla="*/ 7103391 w 8079933"/>
              <a:gd name="connsiteY3049" fmla="*/ 3991936 h 4687251"/>
              <a:gd name="connsiteX3050" fmla="*/ 7105777 w 8079933"/>
              <a:gd name="connsiteY3050" fmla="*/ 3995726 h 4687251"/>
              <a:gd name="connsiteX3051" fmla="*/ 7105560 w 8079933"/>
              <a:gd name="connsiteY3051" fmla="*/ 3999948 h 4687251"/>
              <a:gd name="connsiteX3052" fmla="*/ 7101437 w 8079933"/>
              <a:gd name="connsiteY3052" fmla="*/ 3996701 h 4687251"/>
              <a:gd name="connsiteX3053" fmla="*/ 7097422 w 8079933"/>
              <a:gd name="connsiteY3053" fmla="*/ 3998108 h 4687251"/>
              <a:gd name="connsiteX3054" fmla="*/ 7095686 w 8079933"/>
              <a:gd name="connsiteY3054" fmla="*/ 3993236 h 4687251"/>
              <a:gd name="connsiteX3055" fmla="*/ 7091996 w 8079933"/>
              <a:gd name="connsiteY3055" fmla="*/ 3991287 h 4687251"/>
              <a:gd name="connsiteX3056" fmla="*/ 7088307 w 8079933"/>
              <a:gd name="connsiteY3056" fmla="*/ 3986415 h 4687251"/>
              <a:gd name="connsiteX3057" fmla="*/ 7089717 w 8079933"/>
              <a:gd name="connsiteY3057" fmla="*/ 3984899 h 4687251"/>
              <a:gd name="connsiteX3058" fmla="*/ 7092539 w 8079933"/>
              <a:gd name="connsiteY3058" fmla="*/ 3986740 h 4687251"/>
              <a:gd name="connsiteX3059" fmla="*/ 7094600 w 8079933"/>
              <a:gd name="connsiteY3059" fmla="*/ 3983167 h 4687251"/>
              <a:gd name="connsiteX3060" fmla="*/ 7095468 w 8079933"/>
              <a:gd name="connsiteY3060" fmla="*/ 3976995 h 4687251"/>
              <a:gd name="connsiteX3061" fmla="*/ 7093298 w 8079933"/>
              <a:gd name="connsiteY3061" fmla="*/ 3974071 h 4687251"/>
              <a:gd name="connsiteX3062" fmla="*/ 7095143 w 8079933"/>
              <a:gd name="connsiteY3062" fmla="*/ 3968875 h 4687251"/>
              <a:gd name="connsiteX3063" fmla="*/ 7089934 w 8079933"/>
              <a:gd name="connsiteY3063" fmla="*/ 3957290 h 4687251"/>
              <a:gd name="connsiteX3064" fmla="*/ 7090802 w 8079933"/>
              <a:gd name="connsiteY3064" fmla="*/ 3952310 h 4687251"/>
              <a:gd name="connsiteX3065" fmla="*/ 7089175 w 8079933"/>
              <a:gd name="connsiteY3065" fmla="*/ 3945597 h 4687251"/>
              <a:gd name="connsiteX3066" fmla="*/ 7084291 w 8079933"/>
              <a:gd name="connsiteY3066" fmla="*/ 3940400 h 4687251"/>
              <a:gd name="connsiteX3067" fmla="*/ 7079951 w 8079933"/>
              <a:gd name="connsiteY3067" fmla="*/ 3939967 h 4687251"/>
              <a:gd name="connsiteX3068" fmla="*/ 7075718 w 8079933"/>
              <a:gd name="connsiteY3068" fmla="*/ 3930763 h 4687251"/>
              <a:gd name="connsiteX3069" fmla="*/ 7076695 w 8079933"/>
              <a:gd name="connsiteY3069" fmla="*/ 3927516 h 4687251"/>
              <a:gd name="connsiteX3070" fmla="*/ 7080711 w 8079933"/>
              <a:gd name="connsiteY3070" fmla="*/ 3927516 h 4687251"/>
              <a:gd name="connsiteX3071" fmla="*/ 7082121 w 8079933"/>
              <a:gd name="connsiteY3071" fmla="*/ 3924159 h 4687251"/>
              <a:gd name="connsiteX3072" fmla="*/ 7078431 w 8079933"/>
              <a:gd name="connsiteY3072" fmla="*/ 3920370 h 4687251"/>
              <a:gd name="connsiteX3073" fmla="*/ 7075285 w 8079933"/>
              <a:gd name="connsiteY3073" fmla="*/ 3920153 h 4687251"/>
              <a:gd name="connsiteX3074" fmla="*/ 7076153 w 8079933"/>
              <a:gd name="connsiteY3074" fmla="*/ 3915606 h 4687251"/>
              <a:gd name="connsiteX3075" fmla="*/ 7065627 w 8079933"/>
              <a:gd name="connsiteY3075" fmla="*/ 3908243 h 4687251"/>
              <a:gd name="connsiteX3076" fmla="*/ 7063131 w 8079933"/>
              <a:gd name="connsiteY3076" fmla="*/ 3909867 h 4687251"/>
              <a:gd name="connsiteX3077" fmla="*/ 7056945 w 8079933"/>
              <a:gd name="connsiteY3077" fmla="*/ 3908784 h 4687251"/>
              <a:gd name="connsiteX3078" fmla="*/ 7052496 w 8079933"/>
              <a:gd name="connsiteY3078" fmla="*/ 3902829 h 4687251"/>
              <a:gd name="connsiteX3079" fmla="*/ 7047395 w 8079933"/>
              <a:gd name="connsiteY3079" fmla="*/ 3901531 h 4687251"/>
              <a:gd name="connsiteX3080" fmla="*/ 7044682 w 8079933"/>
              <a:gd name="connsiteY3080" fmla="*/ 3902829 h 4687251"/>
              <a:gd name="connsiteX3081" fmla="*/ 7042512 w 8079933"/>
              <a:gd name="connsiteY3081" fmla="*/ 3900448 h 4687251"/>
              <a:gd name="connsiteX3082" fmla="*/ 7039583 w 8079933"/>
              <a:gd name="connsiteY3082" fmla="*/ 3901531 h 4687251"/>
              <a:gd name="connsiteX3083" fmla="*/ 7036544 w 8079933"/>
              <a:gd name="connsiteY3083" fmla="*/ 3904129 h 4687251"/>
              <a:gd name="connsiteX3084" fmla="*/ 7032204 w 8079933"/>
              <a:gd name="connsiteY3084" fmla="*/ 3902614 h 4687251"/>
              <a:gd name="connsiteX3085" fmla="*/ 7026561 w 8079933"/>
              <a:gd name="connsiteY3085" fmla="*/ 3893086 h 4687251"/>
              <a:gd name="connsiteX3086" fmla="*/ 7019398 w 8079933"/>
              <a:gd name="connsiteY3086" fmla="*/ 3886264 h 4687251"/>
              <a:gd name="connsiteX3087" fmla="*/ 7013538 w 8079933"/>
              <a:gd name="connsiteY3087" fmla="*/ 3885507 h 4687251"/>
              <a:gd name="connsiteX3088" fmla="*/ 7006268 w 8079933"/>
              <a:gd name="connsiteY3088" fmla="*/ 3887997 h 4687251"/>
              <a:gd name="connsiteX3089" fmla="*/ 7000516 w 8079933"/>
              <a:gd name="connsiteY3089" fmla="*/ 3887888 h 4687251"/>
              <a:gd name="connsiteX3090" fmla="*/ 6992052 w 8079933"/>
              <a:gd name="connsiteY3090" fmla="*/ 3885507 h 4687251"/>
              <a:gd name="connsiteX3091" fmla="*/ 6965791 w 8079933"/>
              <a:gd name="connsiteY3091" fmla="*/ 3887455 h 4687251"/>
              <a:gd name="connsiteX3092" fmla="*/ 6955916 w 8079933"/>
              <a:gd name="connsiteY3092" fmla="*/ 3888213 h 4687251"/>
              <a:gd name="connsiteX3093" fmla="*/ 6949189 w 8079933"/>
              <a:gd name="connsiteY3093" fmla="*/ 3893086 h 4687251"/>
              <a:gd name="connsiteX3094" fmla="*/ 6945499 w 8079933"/>
              <a:gd name="connsiteY3094" fmla="*/ 3893086 h 4687251"/>
              <a:gd name="connsiteX3095" fmla="*/ 6939748 w 8079933"/>
              <a:gd name="connsiteY3095" fmla="*/ 3897200 h 4687251"/>
              <a:gd name="connsiteX3096" fmla="*/ 6931934 w 8079933"/>
              <a:gd name="connsiteY3096" fmla="*/ 3899040 h 4687251"/>
              <a:gd name="connsiteX3097" fmla="*/ 6918804 w 8079933"/>
              <a:gd name="connsiteY3097" fmla="*/ 3903696 h 4687251"/>
              <a:gd name="connsiteX3098" fmla="*/ 6909254 w 8079933"/>
              <a:gd name="connsiteY3098" fmla="*/ 3903155 h 4687251"/>
              <a:gd name="connsiteX3099" fmla="*/ 6904697 w 8079933"/>
              <a:gd name="connsiteY3099" fmla="*/ 3904778 h 4687251"/>
              <a:gd name="connsiteX3100" fmla="*/ 6898185 w 8079933"/>
              <a:gd name="connsiteY3100" fmla="*/ 3904454 h 4687251"/>
              <a:gd name="connsiteX3101" fmla="*/ 6891132 w 8079933"/>
              <a:gd name="connsiteY3101" fmla="*/ 3901422 h 4687251"/>
              <a:gd name="connsiteX3102" fmla="*/ 6886900 w 8079933"/>
              <a:gd name="connsiteY3102" fmla="*/ 3901531 h 4687251"/>
              <a:gd name="connsiteX3103" fmla="*/ 6883536 w 8079933"/>
              <a:gd name="connsiteY3103" fmla="*/ 3901422 h 4687251"/>
              <a:gd name="connsiteX3104" fmla="*/ 6879955 w 8079933"/>
              <a:gd name="connsiteY3104" fmla="*/ 3902829 h 4687251"/>
              <a:gd name="connsiteX3105" fmla="*/ 6872142 w 8079933"/>
              <a:gd name="connsiteY3105" fmla="*/ 3910084 h 4687251"/>
              <a:gd name="connsiteX3106" fmla="*/ 6859445 w 8079933"/>
              <a:gd name="connsiteY3106" fmla="*/ 3917771 h 4687251"/>
              <a:gd name="connsiteX3107" fmla="*/ 6849570 w 8079933"/>
              <a:gd name="connsiteY3107" fmla="*/ 3921236 h 4687251"/>
              <a:gd name="connsiteX3108" fmla="*/ 6846966 w 8079933"/>
              <a:gd name="connsiteY3108" fmla="*/ 3919612 h 4687251"/>
              <a:gd name="connsiteX3109" fmla="*/ 6840129 w 8079933"/>
              <a:gd name="connsiteY3109" fmla="*/ 3921561 h 4687251"/>
              <a:gd name="connsiteX3110" fmla="*/ 6834269 w 8079933"/>
              <a:gd name="connsiteY3110" fmla="*/ 3926108 h 4687251"/>
              <a:gd name="connsiteX3111" fmla="*/ 6831448 w 8079933"/>
              <a:gd name="connsiteY3111" fmla="*/ 3934553 h 4687251"/>
              <a:gd name="connsiteX3112" fmla="*/ 6826348 w 8079933"/>
              <a:gd name="connsiteY3112" fmla="*/ 3939641 h 4687251"/>
              <a:gd name="connsiteX3113" fmla="*/ 6823960 w 8079933"/>
              <a:gd name="connsiteY3113" fmla="*/ 3940400 h 4687251"/>
              <a:gd name="connsiteX3114" fmla="*/ 6821681 w 8079933"/>
              <a:gd name="connsiteY3114" fmla="*/ 3946138 h 4687251"/>
              <a:gd name="connsiteX3115" fmla="*/ 6815387 w 8079933"/>
              <a:gd name="connsiteY3115" fmla="*/ 3950469 h 4687251"/>
              <a:gd name="connsiteX3116" fmla="*/ 6810070 w 8079933"/>
              <a:gd name="connsiteY3116" fmla="*/ 3949061 h 4687251"/>
              <a:gd name="connsiteX3117" fmla="*/ 6804861 w 8079933"/>
              <a:gd name="connsiteY3117" fmla="*/ 3954042 h 4687251"/>
              <a:gd name="connsiteX3118" fmla="*/ 6803233 w 8079933"/>
              <a:gd name="connsiteY3118" fmla="*/ 3953393 h 4687251"/>
              <a:gd name="connsiteX3119" fmla="*/ 6803776 w 8079933"/>
              <a:gd name="connsiteY3119" fmla="*/ 3949386 h 4687251"/>
              <a:gd name="connsiteX3120" fmla="*/ 6794335 w 8079933"/>
              <a:gd name="connsiteY3120" fmla="*/ 3949386 h 4687251"/>
              <a:gd name="connsiteX3121" fmla="*/ 6790537 w 8079933"/>
              <a:gd name="connsiteY3121" fmla="*/ 3951877 h 4687251"/>
              <a:gd name="connsiteX3122" fmla="*/ 6788366 w 8079933"/>
              <a:gd name="connsiteY3122" fmla="*/ 3949386 h 4687251"/>
              <a:gd name="connsiteX3123" fmla="*/ 6784568 w 8079933"/>
              <a:gd name="connsiteY3123" fmla="*/ 3951335 h 4687251"/>
              <a:gd name="connsiteX3124" fmla="*/ 6781747 w 8079933"/>
              <a:gd name="connsiteY3124" fmla="*/ 3951335 h 4687251"/>
              <a:gd name="connsiteX3125" fmla="*/ 6779902 w 8079933"/>
              <a:gd name="connsiteY3125" fmla="*/ 3946355 h 4687251"/>
              <a:gd name="connsiteX3126" fmla="*/ 6775019 w 8079933"/>
              <a:gd name="connsiteY3126" fmla="*/ 3948087 h 4687251"/>
              <a:gd name="connsiteX3127" fmla="*/ 6771220 w 8079933"/>
              <a:gd name="connsiteY3127" fmla="*/ 3947762 h 4687251"/>
              <a:gd name="connsiteX3128" fmla="*/ 6768834 w 8079933"/>
              <a:gd name="connsiteY3128" fmla="*/ 3946138 h 4687251"/>
              <a:gd name="connsiteX3129" fmla="*/ 6760695 w 8079933"/>
              <a:gd name="connsiteY3129" fmla="*/ 3947979 h 4687251"/>
              <a:gd name="connsiteX3130" fmla="*/ 6759067 w 8079933"/>
              <a:gd name="connsiteY3130" fmla="*/ 3945380 h 4687251"/>
              <a:gd name="connsiteX3131" fmla="*/ 6746480 w 8079933"/>
              <a:gd name="connsiteY3131" fmla="*/ 3948087 h 4687251"/>
              <a:gd name="connsiteX3132" fmla="*/ 6742138 w 8079933"/>
              <a:gd name="connsiteY3132" fmla="*/ 3951010 h 4687251"/>
              <a:gd name="connsiteX3133" fmla="*/ 6738883 w 8079933"/>
              <a:gd name="connsiteY3133" fmla="*/ 3949061 h 4687251"/>
              <a:gd name="connsiteX3134" fmla="*/ 6733783 w 8079933"/>
              <a:gd name="connsiteY3134" fmla="*/ 3948304 h 4687251"/>
              <a:gd name="connsiteX3135" fmla="*/ 6720543 w 8079933"/>
              <a:gd name="connsiteY3135" fmla="*/ 3956424 h 4687251"/>
              <a:gd name="connsiteX3136" fmla="*/ 6719350 w 8079933"/>
              <a:gd name="connsiteY3136" fmla="*/ 3962162 h 4687251"/>
              <a:gd name="connsiteX3137" fmla="*/ 6716962 w 8079933"/>
              <a:gd name="connsiteY3137" fmla="*/ 3963461 h 4687251"/>
              <a:gd name="connsiteX3138" fmla="*/ 6715009 w 8079933"/>
              <a:gd name="connsiteY3138" fmla="*/ 3962595 h 4687251"/>
              <a:gd name="connsiteX3139" fmla="*/ 6711211 w 8079933"/>
              <a:gd name="connsiteY3139" fmla="*/ 3967792 h 4687251"/>
              <a:gd name="connsiteX3140" fmla="*/ 6707521 w 8079933"/>
              <a:gd name="connsiteY3140" fmla="*/ 3964002 h 4687251"/>
              <a:gd name="connsiteX3141" fmla="*/ 6703941 w 8079933"/>
              <a:gd name="connsiteY3141" fmla="*/ 3964002 h 4687251"/>
              <a:gd name="connsiteX3142" fmla="*/ 6699383 w 8079933"/>
              <a:gd name="connsiteY3142" fmla="*/ 3966493 h 4687251"/>
              <a:gd name="connsiteX3143" fmla="*/ 6699383 w 8079933"/>
              <a:gd name="connsiteY3143" fmla="*/ 3970716 h 4687251"/>
              <a:gd name="connsiteX3144" fmla="*/ 6692330 w 8079933"/>
              <a:gd name="connsiteY3144" fmla="*/ 3969741 h 4687251"/>
              <a:gd name="connsiteX3145" fmla="*/ 6688422 w 8079933"/>
              <a:gd name="connsiteY3145" fmla="*/ 3975696 h 4687251"/>
              <a:gd name="connsiteX3146" fmla="*/ 6684733 w 8079933"/>
              <a:gd name="connsiteY3146" fmla="*/ 3976453 h 4687251"/>
              <a:gd name="connsiteX3147" fmla="*/ 6684082 w 8079933"/>
              <a:gd name="connsiteY3147" fmla="*/ 3979377 h 4687251"/>
              <a:gd name="connsiteX3148" fmla="*/ 6678114 w 8079933"/>
              <a:gd name="connsiteY3148" fmla="*/ 3979918 h 4687251"/>
              <a:gd name="connsiteX3149" fmla="*/ 6671169 w 8079933"/>
              <a:gd name="connsiteY3149" fmla="*/ 3981109 h 4687251"/>
              <a:gd name="connsiteX3150" fmla="*/ 6669758 w 8079933"/>
              <a:gd name="connsiteY3150" fmla="*/ 3980026 h 4687251"/>
              <a:gd name="connsiteX3151" fmla="*/ 6667045 w 8079933"/>
              <a:gd name="connsiteY3151" fmla="*/ 3982192 h 4687251"/>
              <a:gd name="connsiteX3152" fmla="*/ 6665417 w 8079933"/>
              <a:gd name="connsiteY3152" fmla="*/ 3978836 h 4687251"/>
              <a:gd name="connsiteX3153" fmla="*/ 6659231 w 8079933"/>
              <a:gd name="connsiteY3153" fmla="*/ 3980026 h 4687251"/>
              <a:gd name="connsiteX3154" fmla="*/ 6654023 w 8079933"/>
              <a:gd name="connsiteY3154" fmla="*/ 3979377 h 4687251"/>
              <a:gd name="connsiteX3155" fmla="*/ 6652612 w 8079933"/>
              <a:gd name="connsiteY3155" fmla="*/ 3977320 h 4687251"/>
              <a:gd name="connsiteX3156" fmla="*/ 6649899 w 8079933"/>
              <a:gd name="connsiteY3156" fmla="*/ 3977861 h 4687251"/>
              <a:gd name="connsiteX3157" fmla="*/ 6642954 w 8079933"/>
              <a:gd name="connsiteY3157" fmla="*/ 3976779 h 4687251"/>
              <a:gd name="connsiteX3158" fmla="*/ 6640675 w 8079933"/>
              <a:gd name="connsiteY3158" fmla="*/ 3973964 h 4687251"/>
              <a:gd name="connsiteX3159" fmla="*/ 6635358 w 8079933"/>
              <a:gd name="connsiteY3159" fmla="*/ 3972989 h 4687251"/>
              <a:gd name="connsiteX3160" fmla="*/ 6633622 w 8079933"/>
              <a:gd name="connsiteY3160" fmla="*/ 3970824 h 4687251"/>
              <a:gd name="connsiteX3161" fmla="*/ 6633731 w 8079933"/>
              <a:gd name="connsiteY3161" fmla="*/ 3967034 h 4687251"/>
              <a:gd name="connsiteX3162" fmla="*/ 6623638 w 8079933"/>
              <a:gd name="connsiteY3162" fmla="*/ 3956749 h 4687251"/>
              <a:gd name="connsiteX3163" fmla="*/ 6619948 w 8079933"/>
              <a:gd name="connsiteY3163" fmla="*/ 3956640 h 4687251"/>
              <a:gd name="connsiteX3164" fmla="*/ 6616802 w 8079933"/>
              <a:gd name="connsiteY3164" fmla="*/ 3953717 h 4687251"/>
              <a:gd name="connsiteX3165" fmla="*/ 6616368 w 8079933"/>
              <a:gd name="connsiteY3165" fmla="*/ 3938884 h 4687251"/>
              <a:gd name="connsiteX3166" fmla="*/ 6622337 w 8079933"/>
              <a:gd name="connsiteY3166" fmla="*/ 3929898 h 4687251"/>
              <a:gd name="connsiteX3167" fmla="*/ 6625809 w 8079933"/>
              <a:gd name="connsiteY3167" fmla="*/ 3932929 h 4687251"/>
              <a:gd name="connsiteX3168" fmla="*/ 6633622 w 8079933"/>
              <a:gd name="connsiteY3168" fmla="*/ 3926974 h 4687251"/>
              <a:gd name="connsiteX3169" fmla="*/ 6632646 w 8079933"/>
              <a:gd name="connsiteY3169" fmla="*/ 3920802 h 4687251"/>
              <a:gd name="connsiteX3170" fmla="*/ 6636877 w 8079933"/>
              <a:gd name="connsiteY3170" fmla="*/ 3917771 h 4687251"/>
              <a:gd name="connsiteX3171" fmla="*/ 6638071 w 8079933"/>
              <a:gd name="connsiteY3171" fmla="*/ 3911492 h 4687251"/>
              <a:gd name="connsiteX3172" fmla="*/ 6636877 w 8079933"/>
              <a:gd name="connsiteY3172" fmla="*/ 3908460 h 4687251"/>
              <a:gd name="connsiteX3173" fmla="*/ 6641001 w 8079933"/>
              <a:gd name="connsiteY3173" fmla="*/ 3904671 h 4687251"/>
              <a:gd name="connsiteX3174" fmla="*/ 6641869 w 8079933"/>
              <a:gd name="connsiteY3174" fmla="*/ 3894168 h 4687251"/>
              <a:gd name="connsiteX3175" fmla="*/ 6643497 w 8079933"/>
              <a:gd name="connsiteY3175" fmla="*/ 3887888 h 4687251"/>
              <a:gd name="connsiteX3176" fmla="*/ 6641218 w 8079933"/>
              <a:gd name="connsiteY3176" fmla="*/ 3885290 h 4687251"/>
              <a:gd name="connsiteX3177" fmla="*/ 6645667 w 8079933"/>
              <a:gd name="connsiteY3177" fmla="*/ 3882042 h 4687251"/>
              <a:gd name="connsiteX3178" fmla="*/ 6645559 w 8079933"/>
              <a:gd name="connsiteY3178" fmla="*/ 3876303 h 4687251"/>
              <a:gd name="connsiteX3179" fmla="*/ 6640458 w 8079933"/>
              <a:gd name="connsiteY3179" fmla="*/ 3864610 h 4687251"/>
              <a:gd name="connsiteX3180" fmla="*/ 6640675 w 8079933"/>
              <a:gd name="connsiteY3180" fmla="*/ 3856274 h 4687251"/>
              <a:gd name="connsiteX3181" fmla="*/ 6638071 w 8079933"/>
              <a:gd name="connsiteY3181" fmla="*/ 3848911 h 4687251"/>
              <a:gd name="connsiteX3182" fmla="*/ 6639156 w 8079933"/>
              <a:gd name="connsiteY3182" fmla="*/ 3845230 h 4687251"/>
              <a:gd name="connsiteX3183" fmla="*/ 6638505 w 8079933"/>
              <a:gd name="connsiteY3183" fmla="*/ 3818595 h 4687251"/>
              <a:gd name="connsiteX3184" fmla="*/ 6641001 w 8079933"/>
              <a:gd name="connsiteY3184" fmla="*/ 3812207 h 4687251"/>
              <a:gd name="connsiteX3185" fmla="*/ 6633731 w 8079933"/>
              <a:gd name="connsiteY3185" fmla="*/ 3794343 h 4687251"/>
              <a:gd name="connsiteX3186" fmla="*/ 6631235 w 8079933"/>
              <a:gd name="connsiteY3186" fmla="*/ 3780809 h 4687251"/>
              <a:gd name="connsiteX3187" fmla="*/ 6627762 w 8079933"/>
              <a:gd name="connsiteY3187" fmla="*/ 3776369 h 4687251"/>
              <a:gd name="connsiteX3188" fmla="*/ 6628739 w 8079933"/>
              <a:gd name="connsiteY3188" fmla="*/ 3752117 h 4687251"/>
              <a:gd name="connsiteX3189" fmla="*/ 6623855 w 8079933"/>
              <a:gd name="connsiteY3189" fmla="*/ 3738583 h 4687251"/>
              <a:gd name="connsiteX3190" fmla="*/ 6615499 w 8079933"/>
              <a:gd name="connsiteY3190" fmla="*/ 3728298 h 4687251"/>
              <a:gd name="connsiteX3191" fmla="*/ 6611376 w 8079933"/>
              <a:gd name="connsiteY3191" fmla="*/ 3720394 h 4687251"/>
              <a:gd name="connsiteX3192" fmla="*/ 6614089 w 8079933"/>
              <a:gd name="connsiteY3192" fmla="*/ 3718986 h 4687251"/>
              <a:gd name="connsiteX3193" fmla="*/ 6616259 w 8079933"/>
              <a:gd name="connsiteY3193" fmla="*/ 3715305 h 4687251"/>
              <a:gd name="connsiteX3194" fmla="*/ 6617453 w 8079933"/>
              <a:gd name="connsiteY3194" fmla="*/ 3723859 h 4687251"/>
              <a:gd name="connsiteX3195" fmla="*/ 6622878 w 8079933"/>
              <a:gd name="connsiteY3195" fmla="*/ 3731004 h 4687251"/>
              <a:gd name="connsiteX3196" fmla="*/ 6629607 w 8079933"/>
              <a:gd name="connsiteY3196" fmla="*/ 3729921 h 4687251"/>
              <a:gd name="connsiteX3197" fmla="*/ 6625049 w 8079933"/>
              <a:gd name="connsiteY3197" fmla="*/ 3720935 h 4687251"/>
              <a:gd name="connsiteX3198" fmla="*/ 6618538 w 8079933"/>
              <a:gd name="connsiteY3198" fmla="*/ 3714439 h 4687251"/>
              <a:gd name="connsiteX3199" fmla="*/ 6617453 w 8079933"/>
              <a:gd name="connsiteY3199" fmla="*/ 3703937 h 4687251"/>
              <a:gd name="connsiteX3200" fmla="*/ 6620600 w 8079933"/>
              <a:gd name="connsiteY3200" fmla="*/ 3698740 h 4687251"/>
              <a:gd name="connsiteX3201" fmla="*/ 6625483 w 8079933"/>
              <a:gd name="connsiteY3201" fmla="*/ 3709242 h 4687251"/>
              <a:gd name="connsiteX3202" fmla="*/ 6625049 w 8079933"/>
              <a:gd name="connsiteY3202" fmla="*/ 3716821 h 4687251"/>
              <a:gd name="connsiteX3203" fmla="*/ 6626569 w 8079933"/>
              <a:gd name="connsiteY3203" fmla="*/ 3718445 h 4687251"/>
              <a:gd name="connsiteX3204" fmla="*/ 6629607 w 8079933"/>
              <a:gd name="connsiteY3204" fmla="*/ 3713897 h 4687251"/>
              <a:gd name="connsiteX3205" fmla="*/ 6629933 w 8079933"/>
              <a:gd name="connsiteY3205" fmla="*/ 3722235 h 4687251"/>
              <a:gd name="connsiteX3206" fmla="*/ 6632102 w 8079933"/>
              <a:gd name="connsiteY3206" fmla="*/ 3726024 h 4687251"/>
              <a:gd name="connsiteX3207" fmla="*/ 6637203 w 8079933"/>
              <a:gd name="connsiteY3207" fmla="*/ 3723967 h 4687251"/>
              <a:gd name="connsiteX3208" fmla="*/ 6635358 w 8079933"/>
              <a:gd name="connsiteY3208" fmla="*/ 3717687 h 4687251"/>
              <a:gd name="connsiteX3209" fmla="*/ 6638505 w 8079933"/>
              <a:gd name="connsiteY3209" fmla="*/ 3710649 h 4687251"/>
              <a:gd name="connsiteX3210" fmla="*/ 6635032 w 8079933"/>
              <a:gd name="connsiteY3210" fmla="*/ 3706643 h 4687251"/>
              <a:gd name="connsiteX3211" fmla="*/ 6634708 w 8079933"/>
              <a:gd name="connsiteY3211" fmla="*/ 3701230 h 4687251"/>
              <a:gd name="connsiteX3212" fmla="*/ 6626351 w 8079933"/>
              <a:gd name="connsiteY3212" fmla="*/ 3687154 h 4687251"/>
              <a:gd name="connsiteX3213" fmla="*/ 6627653 w 8079933"/>
              <a:gd name="connsiteY3213" fmla="*/ 3675786 h 4687251"/>
              <a:gd name="connsiteX3214" fmla="*/ 6625049 w 8079933"/>
              <a:gd name="connsiteY3214" fmla="*/ 3667666 h 4687251"/>
              <a:gd name="connsiteX3215" fmla="*/ 6628739 w 8079933"/>
              <a:gd name="connsiteY3215" fmla="*/ 3651967 h 4687251"/>
              <a:gd name="connsiteX3216" fmla="*/ 6637962 w 8079933"/>
              <a:gd name="connsiteY3216" fmla="*/ 3640490 h 4687251"/>
              <a:gd name="connsiteX3217" fmla="*/ 6637528 w 8079933"/>
              <a:gd name="connsiteY3217" fmla="*/ 3629446 h 4687251"/>
              <a:gd name="connsiteX3218" fmla="*/ 6640133 w 8079933"/>
              <a:gd name="connsiteY3218" fmla="*/ 3623492 h 4687251"/>
              <a:gd name="connsiteX3219" fmla="*/ 6636444 w 8079933"/>
              <a:gd name="connsiteY3219" fmla="*/ 3616238 h 4687251"/>
              <a:gd name="connsiteX3220" fmla="*/ 6641869 w 8079933"/>
              <a:gd name="connsiteY3220" fmla="*/ 3605951 h 4687251"/>
              <a:gd name="connsiteX3221" fmla="*/ 6643714 w 8079933"/>
              <a:gd name="connsiteY3221" fmla="*/ 3598914 h 4687251"/>
              <a:gd name="connsiteX3222" fmla="*/ 6651310 w 8079933"/>
              <a:gd name="connsiteY3222" fmla="*/ 3593176 h 4687251"/>
              <a:gd name="connsiteX3223" fmla="*/ 6651528 w 8079933"/>
              <a:gd name="connsiteY3223" fmla="*/ 3597506 h 4687251"/>
              <a:gd name="connsiteX3224" fmla="*/ 6648923 w 8079933"/>
              <a:gd name="connsiteY3224" fmla="*/ 3603461 h 4687251"/>
              <a:gd name="connsiteX3225" fmla="*/ 6649683 w 8079933"/>
              <a:gd name="connsiteY3225" fmla="*/ 3607251 h 4687251"/>
              <a:gd name="connsiteX3226" fmla="*/ 6647838 w 8079933"/>
              <a:gd name="connsiteY3226" fmla="*/ 3609958 h 4687251"/>
              <a:gd name="connsiteX3227" fmla="*/ 6651636 w 8079933"/>
              <a:gd name="connsiteY3227" fmla="*/ 3612448 h 4687251"/>
              <a:gd name="connsiteX3228" fmla="*/ 6657062 w 8079933"/>
              <a:gd name="connsiteY3228" fmla="*/ 3607792 h 4687251"/>
              <a:gd name="connsiteX3229" fmla="*/ 6657278 w 8079933"/>
              <a:gd name="connsiteY3229" fmla="*/ 3600214 h 4687251"/>
              <a:gd name="connsiteX3230" fmla="*/ 6663247 w 8079933"/>
              <a:gd name="connsiteY3230" fmla="*/ 3591877 h 4687251"/>
              <a:gd name="connsiteX3231" fmla="*/ 6676812 w 8079933"/>
              <a:gd name="connsiteY3231" fmla="*/ 3587762 h 4687251"/>
              <a:gd name="connsiteX3232" fmla="*/ 6687121 w 8079933"/>
              <a:gd name="connsiteY3232" fmla="*/ 3582890 h 4687251"/>
              <a:gd name="connsiteX3233" fmla="*/ 6695043 w 8079933"/>
              <a:gd name="connsiteY3233" fmla="*/ 3575853 h 4687251"/>
              <a:gd name="connsiteX3234" fmla="*/ 6697756 w 8079933"/>
              <a:gd name="connsiteY3234" fmla="*/ 3575853 h 4687251"/>
              <a:gd name="connsiteX3235" fmla="*/ 6698623 w 8079933"/>
              <a:gd name="connsiteY3235" fmla="*/ 3573687 h 4687251"/>
              <a:gd name="connsiteX3236" fmla="*/ 6708824 w 8079933"/>
              <a:gd name="connsiteY3236" fmla="*/ 3571847 h 4687251"/>
              <a:gd name="connsiteX3237" fmla="*/ 6712622 w 8079933"/>
              <a:gd name="connsiteY3237" fmla="*/ 3566108 h 4687251"/>
              <a:gd name="connsiteX3238" fmla="*/ 6716637 w 8079933"/>
              <a:gd name="connsiteY3238" fmla="*/ 3564159 h 4687251"/>
              <a:gd name="connsiteX3239" fmla="*/ 6718048 w 8079933"/>
              <a:gd name="connsiteY3239" fmla="*/ 3566866 h 4687251"/>
              <a:gd name="connsiteX3240" fmla="*/ 6721846 w 8079933"/>
              <a:gd name="connsiteY3240" fmla="*/ 3566433 h 4687251"/>
              <a:gd name="connsiteX3241" fmla="*/ 6725861 w 8079933"/>
              <a:gd name="connsiteY3241" fmla="*/ 3568057 h 4687251"/>
              <a:gd name="connsiteX3242" fmla="*/ 6733240 w 8079933"/>
              <a:gd name="connsiteY3242" fmla="*/ 3568057 h 4687251"/>
              <a:gd name="connsiteX3243" fmla="*/ 6743007 w 8079933"/>
              <a:gd name="connsiteY3243" fmla="*/ 3564159 h 4687251"/>
              <a:gd name="connsiteX3244" fmla="*/ 6744309 w 8079933"/>
              <a:gd name="connsiteY3244" fmla="*/ 3559937 h 4687251"/>
              <a:gd name="connsiteX3245" fmla="*/ 6748216 w 8079933"/>
              <a:gd name="connsiteY3245" fmla="*/ 3557663 h 4687251"/>
              <a:gd name="connsiteX3246" fmla="*/ 6763733 w 8079933"/>
              <a:gd name="connsiteY3246" fmla="*/ 3558204 h 4687251"/>
              <a:gd name="connsiteX3247" fmla="*/ 6768725 w 8079933"/>
              <a:gd name="connsiteY3247" fmla="*/ 3555823 h 4687251"/>
              <a:gd name="connsiteX3248" fmla="*/ 6769593 w 8079933"/>
              <a:gd name="connsiteY3248" fmla="*/ 3551492 h 4687251"/>
              <a:gd name="connsiteX3249" fmla="*/ 6776972 w 8079933"/>
              <a:gd name="connsiteY3249" fmla="*/ 3548568 h 4687251"/>
              <a:gd name="connsiteX3250" fmla="*/ 6782832 w 8079933"/>
              <a:gd name="connsiteY3250" fmla="*/ 3550084 h 4687251"/>
              <a:gd name="connsiteX3251" fmla="*/ 6788584 w 8079933"/>
              <a:gd name="connsiteY3251" fmla="*/ 3548568 h 4687251"/>
              <a:gd name="connsiteX3252" fmla="*/ 6795854 w 8079933"/>
              <a:gd name="connsiteY3252" fmla="*/ 3548027 h 4687251"/>
              <a:gd name="connsiteX3253" fmla="*/ 6800738 w 8079933"/>
              <a:gd name="connsiteY3253" fmla="*/ 3546295 h 4687251"/>
              <a:gd name="connsiteX3254" fmla="*/ 6813217 w 8079933"/>
              <a:gd name="connsiteY3254" fmla="*/ 3545212 h 4687251"/>
              <a:gd name="connsiteX3255" fmla="*/ 6827432 w 8079933"/>
              <a:gd name="connsiteY3255" fmla="*/ 3536658 h 4687251"/>
              <a:gd name="connsiteX3256" fmla="*/ 6834920 w 8079933"/>
              <a:gd name="connsiteY3256" fmla="*/ 3526373 h 4687251"/>
              <a:gd name="connsiteX3257" fmla="*/ 6837959 w 8079933"/>
              <a:gd name="connsiteY3257" fmla="*/ 3523558 h 4687251"/>
              <a:gd name="connsiteX3258" fmla="*/ 6837741 w 8079933"/>
              <a:gd name="connsiteY3258" fmla="*/ 3517386 h 4687251"/>
              <a:gd name="connsiteX3259" fmla="*/ 6843385 w 8079933"/>
              <a:gd name="connsiteY3259" fmla="*/ 3513813 h 4687251"/>
              <a:gd name="connsiteX3260" fmla="*/ 6842842 w 8079933"/>
              <a:gd name="connsiteY3260" fmla="*/ 3511107 h 4687251"/>
              <a:gd name="connsiteX3261" fmla="*/ 6849353 w 8079933"/>
              <a:gd name="connsiteY3261" fmla="*/ 3509266 h 4687251"/>
              <a:gd name="connsiteX3262" fmla="*/ 6851848 w 8079933"/>
              <a:gd name="connsiteY3262" fmla="*/ 3504611 h 4687251"/>
              <a:gd name="connsiteX3263" fmla="*/ 6856190 w 8079933"/>
              <a:gd name="connsiteY3263" fmla="*/ 3502229 h 4687251"/>
              <a:gd name="connsiteX3264" fmla="*/ 6856190 w 8079933"/>
              <a:gd name="connsiteY3264" fmla="*/ 3497897 h 4687251"/>
              <a:gd name="connsiteX3265" fmla="*/ 6853910 w 8079933"/>
              <a:gd name="connsiteY3265" fmla="*/ 3496707 h 4687251"/>
              <a:gd name="connsiteX3266" fmla="*/ 6853910 w 8079933"/>
              <a:gd name="connsiteY3266" fmla="*/ 3484256 h 4687251"/>
              <a:gd name="connsiteX3267" fmla="*/ 6852934 w 8079933"/>
              <a:gd name="connsiteY3267" fmla="*/ 3478084 h 4687251"/>
              <a:gd name="connsiteX3268" fmla="*/ 6856949 w 8079933"/>
              <a:gd name="connsiteY3268" fmla="*/ 3474620 h 4687251"/>
              <a:gd name="connsiteX3269" fmla="*/ 6859662 w 8079933"/>
              <a:gd name="connsiteY3269" fmla="*/ 3471046 h 4687251"/>
              <a:gd name="connsiteX3270" fmla="*/ 6864328 w 8079933"/>
              <a:gd name="connsiteY3270" fmla="*/ 3471371 h 4687251"/>
              <a:gd name="connsiteX3271" fmla="*/ 6864871 w 8079933"/>
              <a:gd name="connsiteY3271" fmla="*/ 3468665 h 4687251"/>
              <a:gd name="connsiteX3272" fmla="*/ 6868669 w 8079933"/>
              <a:gd name="connsiteY3272" fmla="*/ 3467799 h 4687251"/>
              <a:gd name="connsiteX3273" fmla="*/ 6869971 w 8079933"/>
              <a:gd name="connsiteY3273" fmla="*/ 3461411 h 4687251"/>
              <a:gd name="connsiteX3274" fmla="*/ 6875071 w 8079933"/>
              <a:gd name="connsiteY3274" fmla="*/ 3457729 h 4687251"/>
              <a:gd name="connsiteX3275" fmla="*/ 6876808 w 8079933"/>
              <a:gd name="connsiteY3275" fmla="*/ 3455022 h 4687251"/>
              <a:gd name="connsiteX3276" fmla="*/ 6875614 w 8079933"/>
              <a:gd name="connsiteY3276" fmla="*/ 3460761 h 4687251"/>
              <a:gd name="connsiteX3277" fmla="*/ 6878326 w 8079933"/>
              <a:gd name="connsiteY3277" fmla="*/ 3464550 h 4687251"/>
              <a:gd name="connsiteX3278" fmla="*/ 6883319 w 8079933"/>
              <a:gd name="connsiteY3278" fmla="*/ 3474403 h 4687251"/>
              <a:gd name="connsiteX3279" fmla="*/ 6890915 w 8079933"/>
              <a:gd name="connsiteY3279" fmla="*/ 3490644 h 4687251"/>
              <a:gd name="connsiteX3280" fmla="*/ 6891674 w 8079933"/>
              <a:gd name="connsiteY3280" fmla="*/ 3484689 h 4687251"/>
              <a:gd name="connsiteX3281" fmla="*/ 6893628 w 8079933"/>
              <a:gd name="connsiteY3281" fmla="*/ 3479383 h 4687251"/>
              <a:gd name="connsiteX3282" fmla="*/ 6892760 w 8079933"/>
              <a:gd name="connsiteY3282" fmla="*/ 3474295 h 4687251"/>
              <a:gd name="connsiteX3283" fmla="*/ 6895255 w 8079933"/>
              <a:gd name="connsiteY3283" fmla="*/ 3474295 h 4687251"/>
              <a:gd name="connsiteX3284" fmla="*/ 6897209 w 8079933"/>
              <a:gd name="connsiteY3284" fmla="*/ 3476136 h 4687251"/>
              <a:gd name="connsiteX3285" fmla="*/ 6897426 w 8079933"/>
              <a:gd name="connsiteY3285" fmla="*/ 3471696 h 4687251"/>
              <a:gd name="connsiteX3286" fmla="*/ 6899596 w 8079933"/>
              <a:gd name="connsiteY3286" fmla="*/ 3467799 h 4687251"/>
              <a:gd name="connsiteX3287" fmla="*/ 6894713 w 8079933"/>
              <a:gd name="connsiteY3287" fmla="*/ 3468015 h 4687251"/>
              <a:gd name="connsiteX3288" fmla="*/ 6889830 w 8079933"/>
              <a:gd name="connsiteY3288" fmla="*/ 3463576 h 4687251"/>
              <a:gd name="connsiteX3289" fmla="*/ 6892434 w 8079933"/>
              <a:gd name="connsiteY3289" fmla="*/ 3458920 h 4687251"/>
              <a:gd name="connsiteX3290" fmla="*/ 6894604 w 8079933"/>
              <a:gd name="connsiteY3290" fmla="*/ 3457838 h 4687251"/>
              <a:gd name="connsiteX3291" fmla="*/ 6888636 w 8079933"/>
              <a:gd name="connsiteY3291" fmla="*/ 3453724 h 4687251"/>
              <a:gd name="connsiteX3292" fmla="*/ 6891891 w 8079933"/>
              <a:gd name="connsiteY3292" fmla="*/ 3451016 h 4687251"/>
              <a:gd name="connsiteX3293" fmla="*/ 6896340 w 8079933"/>
              <a:gd name="connsiteY3293" fmla="*/ 3453832 h 4687251"/>
              <a:gd name="connsiteX3294" fmla="*/ 6897968 w 8079933"/>
              <a:gd name="connsiteY3294" fmla="*/ 3457297 h 4687251"/>
              <a:gd name="connsiteX3295" fmla="*/ 6901658 w 8079933"/>
              <a:gd name="connsiteY3295" fmla="*/ 3454265 h 4687251"/>
              <a:gd name="connsiteX3296" fmla="*/ 6905456 w 8079933"/>
              <a:gd name="connsiteY3296" fmla="*/ 3456755 h 4687251"/>
              <a:gd name="connsiteX3297" fmla="*/ 6907952 w 8079933"/>
              <a:gd name="connsiteY3297" fmla="*/ 3460220 h 4687251"/>
              <a:gd name="connsiteX3298" fmla="*/ 6912510 w 8079933"/>
              <a:gd name="connsiteY3298" fmla="*/ 3461302 h 4687251"/>
              <a:gd name="connsiteX3299" fmla="*/ 6913595 w 8079933"/>
              <a:gd name="connsiteY3299" fmla="*/ 3459137 h 4687251"/>
              <a:gd name="connsiteX3300" fmla="*/ 6918804 w 8079933"/>
              <a:gd name="connsiteY3300" fmla="*/ 3456430 h 4687251"/>
              <a:gd name="connsiteX3301" fmla="*/ 6910448 w 8079933"/>
              <a:gd name="connsiteY3301" fmla="*/ 3455022 h 4687251"/>
              <a:gd name="connsiteX3302" fmla="*/ 6912943 w 8079933"/>
              <a:gd name="connsiteY3302" fmla="*/ 3451666 h 4687251"/>
              <a:gd name="connsiteX3303" fmla="*/ 6916958 w 8079933"/>
              <a:gd name="connsiteY3303" fmla="*/ 3449717 h 4687251"/>
              <a:gd name="connsiteX3304" fmla="*/ 6914680 w 8079933"/>
              <a:gd name="connsiteY3304" fmla="*/ 3446361 h 4687251"/>
              <a:gd name="connsiteX3305" fmla="*/ 6918044 w 8079933"/>
              <a:gd name="connsiteY3305" fmla="*/ 3441597 h 4687251"/>
              <a:gd name="connsiteX3306" fmla="*/ 6915222 w 8079933"/>
              <a:gd name="connsiteY3306" fmla="*/ 3442571 h 4687251"/>
              <a:gd name="connsiteX3307" fmla="*/ 6914789 w 8079933"/>
              <a:gd name="connsiteY3307" fmla="*/ 3439540 h 4687251"/>
              <a:gd name="connsiteX3308" fmla="*/ 6913920 w 8079933"/>
              <a:gd name="connsiteY3308" fmla="*/ 3436292 h 4687251"/>
              <a:gd name="connsiteX3309" fmla="*/ 6912943 w 8079933"/>
              <a:gd name="connsiteY3309" fmla="*/ 3432827 h 4687251"/>
              <a:gd name="connsiteX3310" fmla="*/ 6917718 w 8079933"/>
              <a:gd name="connsiteY3310" fmla="*/ 3432069 h 4687251"/>
              <a:gd name="connsiteX3311" fmla="*/ 6921733 w 8079933"/>
              <a:gd name="connsiteY3311" fmla="*/ 3427522 h 4687251"/>
              <a:gd name="connsiteX3312" fmla="*/ 6926400 w 8079933"/>
              <a:gd name="connsiteY3312" fmla="*/ 3433151 h 4687251"/>
              <a:gd name="connsiteX3313" fmla="*/ 6929656 w 8079933"/>
              <a:gd name="connsiteY3313" fmla="*/ 3432394 h 4687251"/>
              <a:gd name="connsiteX3314" fmla="*/ 6931934 w 8079933"/>
              <a:gd name="connsiteY3314" fmla="*/ 3428605 h 4687251"/>
              <a:gd name="connsiteX3315" fmla="*/ 6925314 w 8079933"/>
              <a:gd name="connsiteY3315" fmla="*/ 3427738 h 4687251"/>
              <a:gd name="connsiteX3316" fmla="*/ 6924230 w 8079933"/>
              <a:gd name="connsiteY3316" fmla="*/ 3424274 h 4687251"/>
              <a:gd name="connsiteX3317" fmla="*/ 6929872 w 8079933"/>
              <a:gd name="connsiteY3317" fmla="*/ 3420485 h 4687251"/>
              <a:gd name="connsiteX3318" fmla="*/ 6934539 w 8079933"/>
              <a:gd name="connsiteY3318" fmla="*/ 3422974 h 4687251"/>
              <a:gd name="connsiteX3319" fmla="*/ 6940616 w 8079933"/>
              <a:gd name="connsiteY3319" fmla="*/ 3417886 h 4687251"/>
              <a:gd name="connsiteX3320" fmla="*/ 6933345 w 8079933"/>
              <a:gd name="connsiteY3320" fmla="*/ 3415829 h 4687251"/>
              <a:gd name="connsiteX3321" fmla="*/ 6934213 w 8079933"/>
              <a:gd name="connsiteY3321" fmla="*/ 3410523 h 4687251"/>
              <a:gd name="connsiteX3322" fmla="*/ 6936383 w 8079933"/>
              <a:gd name="connsiteY3322" fmla="*/ 3407708 h 4687251"/>
              <a:gd name="connsiteX3323" fmla="*/ 6941375 w 8079933"/>
              <a:gd name="connsiteY3323" fmla="*/ 3406409 h 4687251"/>
              <a:gd name="connsiteX3324" fmla="*/ 6943220 w 8079933"/>
              <a:gd name="connsiteY3324" fmla="*/ 3401320 h 4687251"/>
              <a:gd name="connsiteX3325" fmla="*/ 6946800 w 8079933"/>
              <a:gd name="connsiteY3325" fmla="*/ 3401212 h 4687251"/>
              <a:gd name="connsiteX3326" fmla="*/ 6943437 w 8079933"/>
              <a:gd name="connsiteY3326" fmla="*/ 3405110 h 4687251"/>
              <a:gd name="connsiteX3327" fmla="*/ 6944305 w 8079933"/>
              <a:gd name="connsiteY3327" fmla="*/ 3407708 h 4687251"/>
              <a:gd name="connsiteX3328" fmla="*/ 6947018 w 8079933"/>
              <a:gd name="connsiteY3328" fmla="*/ 3407816 h 4687251"/>
              <a:gd name="connsiteX3329" fmla="*/ 6949189 w 8079933"/>
              <a:gd name="connsiteY3329" fmla="*/ 3411281 h 4687251"/>
              <a:gd name="connsiteX3330" fmla="*/ 6954072 w 8079933"/>
              <a:gd name="connsiteY3330" fmla="*/ 3408358 h 4687251"/>
              <a:gd name="connsiteX3331" fmla="*/ 6952443 w 8079933"/>
              <a:gd name="connsiteY3331" fmla="*/ 3405543 h 4687251"/>
              <a:gd name="connsiteX3332" fmla="*/ 6954072 w 8079933"/>
              <a:gd name="connsiteY3332" fmla="*/ 3400671 h 4687251"/>
              <a:gd name="connsiteX3333" fmla="*/ 6958738 w 8079933"/>
              <a:gd name="connsiteY3333" fmla="*/ 3397206 h 4687251"/>
              <a:gd name="connsiteX3334" fmla="*/ 6955374 w 8079933"/>
              <a:gd name="connsiteY3334" fmla="*/ 3395257 h 4687251"/>
              <a:gd name="connsiteX3335" fmla="*/ 6956025 w 8079933"/>
              <a:gd name="connsiteY3335" fmla="*/ 3391251 h 4687251"/>
              <a:gd name="connsiteX3336" fmla="*/ 6958738 w 8079933"/>
              <a:gd name="connsiteY3336" fmla="*/ 3392009 h 4687251"/>
              <a:gd name="connsiteX3337" fmla="*/ 6961993 w 8079933"/>
              <a:gd name="connsiteY3337" fmla="*/ 3398830 h 4687251"/>
              <a:gd name="connsiteX3338" fmla="*/ 6963078 w 8079933"/>
              <a:gd name="connsiteY3338" fmla="*/ 3395907 h 4687251"/>
              <a:gd name="connsiteX3339" fmla="*/ 6967419 w 8079933"/>
              <a:gd name="connsiteY3339" fmla="*/ 3394716 h 4687251"/>
              <a:gd name="connsiteX3340" fmla="*/ 6966334 w 8079933"/>
              <a:gd name="connsiteY3340" fmla="*/ 3397423 h 4687251"/>
              <a:gd name="connsiteX3341" fmla="*/ 6969589 w 8079933"/>
              <a:gd name="connsiteY3341" fmla="*/ 3397964 h 4687251"/>
              <a:gd name="connsiteX3342" fmla="*/ 6972845 w 8079933"/>
              <a:gd name="connsiteY3342" fmla="*/ 3393092 h 4687251"/>
              <a:gd name="connsiteX3343" fmla="*/ 6975558 w 8079933"/>
              <a:gd name="connsiteY3343" fmla="*/ 3392117 h 4687251"/>
              <a:gd name="connsiteX3344" fmla="*/ 6973278 w 8079933"/>
              <a:gd name="connsiteY3344" fmla="*/ 3389843 h 4687251"/>
              <a:gd name="connsiteX3345" fmla="*/ 6976100 w 8079933"/>
              <a:gd name="connsiteY3345" fmla="*/ 3388003 h 4687251"/>
              <a:gd name="connsiteX3346" fmla="*/ 6980658 w 8079933"/>
              <a:gd name="connsiteY3346" fmla="*/ 3390926 h 4687251"/>
              <a:gd name="connsiteX3347" fmla="*/ 6987386 w 8079933"/>
              <a:gd name="connsiteY3347" fmla="*/ 3392551 h 4687251"/>
              <a:gd name="connsiteX3348" fmla="*/ 6990967 w 8079933"/>
              <a:gd name="connsiteY3348" fmla="*/ 3397964 h 4687251"/>
              <a:gd name="connsiteX3349" fmla="*/ 6997804 w 8079933"/>
              <a:gd name="connsiteY3349" fmla="*/ 3410415 h 4687251"/>
              <a:gd name="connsiteX3350" fmla="*/ 7001819 w 8079933"/>
              <a:gd name="connsiteY3350" fmla="*/ 3410957 h 4687251"/>
              <a:gd name="connsiteX3351" fmla="*/ 7004206 w 8079933"/>
              <a:gd name="connsiteY3351" fmla="*/ 3413988 h 4687251"/>
              <a:gd name="connsiteX3352" fmla="*/ 7000408 w 8079933"/>
              <a:gd name="connsiteY3352" fmla="*/ 3418643 h 4687251"/>
              <a:gd name="connsiteX3353" fmla="*/ 7000734 w 8079933"/>
              <a:gd name="connsiteY3353" fmla="*/ 3426114 h 4687251"/>
              <a:gd name="connsiteX3354" fmla="*/ 6997044 w 8079933"/>
              <a:gd name="connsiteY3354" fmla="*/ 3430987 h 4687251"/>
              <a:gd name="connsiteX3355" fmla="*/ 6991618 w 8079933"/>
              <a:gd name="connsiteY3355" fmla="*/ 3433477 h 4687251"/>
              <a:gd name="connsiteX3356" fmla="*/ 6998563 w 8079933"/>
              <a:gd name="connsiteY3356" fmla="*/ 3432177 h 4687251"/>
              <a:gd name="connsiteX3357" fmla="*/ 7003229 w 8079933"/>
              <a:gd name="connsiteY3357" fmla="*/ 3429471 h 4687251"/>
              <a:gd name="connsiteX3358" fmla="*/ 7003229 w 8079933"/>
              <a:gd name="connsiteY3358" fmla="*/ 3427197 h 4687251"/>
              <a:gd name="connsiteX3359" fmla="*/ 7005617 w 8079933"/>
              <a:gd name="connsiteY3359" fmla="*/ 3426655 h 4687251"/>
              <a:gd name="connsiteX3360" fmla="*/ 7006268 w 8079933"/>
              <a:gd name="connsiteY3360" fmla="*/ 3428605 h 4687251"/>
              <a:gd name="connsiteX3361" fmla="*/ 7007244 w 8079933"/>
              <a:gd name="connsiteY3361" fmla="*/ 3425898 h 4687251"/>
              <a:gd name="connsiteX3362" fmla="*/ 7003772 w 8079933"/>
              <a:gd name="connsiteY3362" fmla="*/ 3421351 h 4687251"/>
              <a:gd name="connsiteX3363" fmla="*/ 7005942 w 8079933"/>
              <a:gd name="connsiteY3363" fmla="*/ 3418535 h 4687251"/>
              <a:gd name="connsiteX3364" fmla="*/ 7007895 w 8079933"/>
              <a:gd name="connsiteY3364" fmla="*/ 3418535 h 4687251"/>
              <a:gd name="connsiteX3365" fmla="*/ 7010501 w 8079933"/>
              <a:gd name="connsiteY3365" fmla="*/ 3420700 h 4687251"/>
              <a:gd name="connsiteX3366" fmla="*/ 7012996 w 8079933"/>
              <a:gd name="connsiteY3366" fmla="*/ 3418102 h 4687251"/>
              <a:gd name="connsiteX3367" fmla="*/ 7010608 w 8079933"/>
              <a:gd name="connsiteY3367" fmla="*/ 3415396 h 4687251"/>
              <a:gd name="connsiteX3368" fmla="*/ 7018096 w 8079933"/>
              <a:gd name="connsiteY3368" fmla="*/ 3413988 h 4687251"/>
              <a:gd name="connsiteX3369" fmla="*/ 7028188 w 8079933"/>
              <a:gd name="connsiteY3369" fmla="*/ 3420485 h 4687251"/>
              <a:gd name="connsiteX3370" fmla="*/ 7028731 w 8079933"/>
              <a:gd name="connsiteY3370" fmla="*/ 3424274 h 4687251"/>
              <a:gd name="connsiteX3371" fmla="*/ 7030575 w 8079933"/>
              <a:gd name="connsiteY3371" fmla="*/ 3421026 h 4687251"/>
              <a:gd name="connsiteX3372" fmla="*/ 7030684 w 8079933"/>
              <a:gd name="connsiteY3372" fmla="*/ 3418102 h 4687251"/>
              <a:gd name="connsiteX3373" fmla="*/ 7035242 w 8079933"/>
              <a:gd name="connsiteY3373" fmla="*/ 3418643 h 4687251"/>
              <a:gd name="connsiteX3374" fmla="*/ 7039040 w 8079933"/>
              <a:gd name="connsiteY3374" fmla="*/ 3425681 h 4687251"/>
              <a:gd name="connsiteX3375" fmla="*/ 7045225 w 8079933"/>
              <a:gd name="connsiteY3375" fmla="*/ 3430661 h 4687251"/>
              <a:gd name="connsiteX3376" fmla="*/ 7041102 w 8079933"/>
              <a:gd name="connsiteY3376" fmla="*/ 3425031 h 4687251"/>
              <a:gd name="connsiteX3377" fmla="*/ 7041210 w 8079933"/>
              <a:gd name="connsiteY3377" fmla="*/ 3419835 h 4687251"/>
              <a:gd name="connsiteX3378" fmla="*/ 7037195 w 8079933"/>
              <a:gd name="connsiteY3378" fmla="*/ 3416695 h 4687251"/>
              <a:gd name="connsiteX3379" fmla="*/ 7037086 w 8079933"/>
              <a:gd name="connsiteY3379" fmla="*/ 3413771 h 4687251"/>
              <a:gd name="connsiteX3380" fmla="*/ 7039040 w 8079933"/>
              <a:gd name="connsiteY3380" fmla="*/ 3416695 h 4687251"/>
              <a:gd name="connsiteX3381" fmla="*/ 7045225 w 8079933"/>
              <a:gd name="connsiteY3381" fmla="*/ 3417453 h 4687251"/>
              <a:gd name="connsiteX3382" fmla="*/ 7049024 w 8079933"/>
              <a:gd name="connsiteY3382" fmla="*/ 3415829 h 4687251"/>
              <a:gd name="connsiteX3383" fmla="*/ 7039257 w 8079933"/>
              <a:gd name="connsiteY3383" fmla="*/ 3412580 h 4687251"/>
              <a:gd name="connsiteX3384" fmla="*/ 7041102 w 8079933"/>
              <a:gd name="connsiteY3384" fmla="*/ 3409116 h 4687251"/>
              <a:gd name="connsiteX3385" fmla="*/ 7044141 w 8079933"/>
              <a:gd name="connsiteY3385" fmla="*/ 3408249 h 4687251"/>
              <a:gd name="connsiteX3386" fmla="*/ 7036002 w 8079933"/>
              <a:gd name="connsiteY3386" fmla="*/ 3406733 h 4687251"/>
              <a:gd name="connsiteX3387" fmla="*/ 7032746 w 8079933"/>
              <a:gd name="connsiteY3387" fmla="*/ 3403378 h 4687251"/>
              <a:gd name="connsiteX3388" fmla="*/ 7036544 w 8079933"/>
              <a:gd name="connsiteY3388" fmla="*/ 3400996 h 4687251"/>
              <a:gd name="connsiteX3389" fmla="*/ 7037955 w 8079933"/>
              <a:gd name="connsiteY3389" fmla="*/ 3394716 h 4687251"/>
              <a:gd name="connsiteX3390" fmla="*/ 7041102 w 8079933"/>
              <a:gd name="connsiteY3390" fmla="*/ 3393741 h 4687251"/>
              <a:gd name="connsiteX3391" fmla="*/ 7044791 w 8079933"/>
              <a:gd name="connsiteY3391" fmla="*/ 3386162 h 4687251"/>
              <a:gd name="connsiteX3392" fmla="*/ 7049024 w 8079933"/>
              <a:gd name="connsiteY3392" fmla="*/ 3379558 h 4687251"/>
              <a:gd name="connsiteX3393" fmla="*/ 7053147 w 8079933"/>
              <a:gd name="connsiteY3393" fmla="*/ 3379558 h 4687251"/>
              <a:gd name="connsiteX3394" fmla="*/ 7056620 w 8079933"/>
              <a:gd name="connsiteY3394" fmla="*/ 3376635 h 4687251"/>
              <a:gd name="connsiteX3395" fmla="*/ 7060852 w 8079933"/>
              <a:gd name="connsiteY3395" fmla="*/ 3379017 h 4687251"/>
              <a:gd name="connsiteX3396" fmla="*/ 7059875 w 8079933"/>
              <a:gd name="connsiteY3396" fmla="*/ 3376418 h 4687251"/>
              <a:gd name="connsiteX3397" fmla="*/ 7056294 w 8079933"/>
              <a:gd name="connsiteY3397" fmla="*/ 3372629 h 4687251"/>
              <a:gd name="connsiteX3398" fmla="*/ 7055860 w 8079933"/>
              <a:gd name="connsiteY3398" fmla="*/ 3369706 h 4687251"/>
              <a:gd name="connsiteX3399" fmla="*/ 7059875 w 8079933"/>
              <a:gd name="connsiteY3399" fmla="*/ 3367431 h 4687251"/>
              <a:gd name="connsiteX3400" fmla="*/ 7062371 w 8079933"/>
              <a:gd name="connsiteY3400" fmla="*/ 3366133 h 4687251"/>
              <a:gd name="connsiteX3401" fmla="*/ 7060092 w 8079933"/>
              <a:gd name="connsiteY3401" fmla="*/ 3363643 h 4687251"/>
              <a:gd name="connsiteX3402" fmla="*/ 7063131 w 8079933"/>
              <a:gd name="connsiteY3402" fmla="*/ 3360611 h 4687251"/>
              <a:gd name="connsiteX3403" fmla="*/ 7069099 w 8079933"/>
              <a:gd name="connsiteY3403" fmla="*/ 3362451 h 4687251"/>
              <a:gd name="connsiteX3404" fmla="*/ 7069425 w 8079933"/>
              <a:gd name="connsiteY3404" fmla="*/ 3360394 h 4687251"/>
              <a:gd name="connsiteX3405" fmla="*/ 7067254 w 8079933"/>
              <a:gd name="connsiteY3405" fmla="*/ 3357362 h 4687251"/>
              <a:gd name="connsiteX3406" fmla="*/ 7069425 w 8079933"/>
              <a:gd name="connsiteY3406" fmla="*/ 3354115 h 4687251"/>
              <a:gd name="connsiteX3407" fmla="*/ 7075068 w 8079933"/>
              <a:gd name="connsiteY3407" fmla="*/ 3355847 h 4687251"/>
              <a:gd name="connsiteX3408" fmla="*/ 7076695 w 8079933"/>
              <a:gd name="connsiteY3408" fmla="*/ 3358229 h 4687251"/>
              <a:gd name="connsiteX3409" fmla="*/ 7075285 w 8079933"/>
              <a:gd name="connsiteY3409" fmla="*/ 3351949 h 4687251"/>
              <a:gd name="connsiteX3410" fmla="*/ 7079734 w 8079933"/>
              <a:gd name="connsiteY3410" fmla="*/ 3352815 h 4687251"/>
              <a:gd name="connsiteX3411" fmla="*/ 7079191 w 8079933"/>
              <a:gd name="connsiteY3411" fmla="*/ 3348376 h 4687251"/>
              <a:gd name="connsiteX3412" fmla="*/ 7084617 w 8079933"/>
              <a:gd name="connsiteY3412" fmla="*/ 3346319 h 4687251"/>
              <a:gd name="connsiteX3413" fmla="*/ 7085377 w 8079933"/>
              <a:gd name="connsiteY3413" fmla="*/ 3344370 h 4687251"/>
              <a:gd name="connsiteX3414" fmla="*/ 7090585 w 8079933"/>
              <a:gd name="connsiteY3414" fmla="*/ 3348917 h 4687251"/>
              <a:gd name="connsiteX3415" fmla="*/ 7104367 w 8079933"/>
              <a:gd name="connsiteY3415" fmla="*/ 3348160 h 4687251"/>
              <a:gd name="connsiteX3416" fmla="*/ 7108166 w 8079933"/>
              <a:gd name="connsiteY3416" fmla="*/ 3345670 h 4687251"/>
              <a:gd name="connsiteX3417" fmla="*/ 7111746 w 8079933"/>
              <a:gd name="connsiteY3417" fmla="*/ 3346752 h 4687251"/>
              <a:gd name="connsiteX3418" fmla="*/ 7113374 w 8079933"/>
              <a:gd name="connsiteY3418" fmla="*/ 3349892 h 4687251"/>
              <a:gd name="connsiteX3419" fmla="*/ 7115218 w 8079933"/>
              <a:gd name="connsiteY3419" fmla="*/ 3344587 h 4687251"/>
              <a:gd name="connsiteX3420" fmla="*/ 7120102 w 8079933"/>
              <a:gd name="connsiteY3420" fmla="*/ 3344154 h 4687251"/>
              <a:gd name="connsiteX3421" fmla="*/ 7118691 w 8079933"/>
              <a:gd name="connsiteY3421" fmla="*/ 3336574 h 4687251"/>
              <a:gd name="connsiteX3422" fmla="*/ 7119125 w 8079933"/>
              <a:gd name="connsiteY3422" fmla="*/ 3333326 h 4687251"/>
              <a:gd name="connsiteX3423" fmla="*/ 7112288 w 8079933"/>
              <a:gd name="connsiteY3423" fmla="*/ 3327588 h 4687251"/>
              <a:gd name="connsiteX3424" fmla="*/ 7108273 w 8079933"/>
              <a:gd name="connsiteY3424" fmla="*/ 3329320 h 4687251"/>
              <a:gd name="connsiteX3425" fmla="*/ 7103824 w 8079933"/>
              <a:gd name="connsiteY3425" fmla="*/ 3328238 h 4687251"/>
              <a:gd name="connsiteX3426" fmla="*/ 7105235 w 8079933"/>
              <a:gd name="connsiteY3426" fmla="*/ 3327047 h 4687251"/>
              <a:gd name="connsiteX3427" fmla="*/ 7100569 w 8079933"/>
              <a:gd name="connsiteY3427" fmla="*/ 3323366 h 4687251"/>
              <a:gd name="connsiteX3428" fmla="*/ 7104584 w 8079933"/>
              <a:gd name="connsiteY3428" fmla="*/ 3320334 h 4687251"/>
              <a:gd name="connsiteX3429" fmla="*/ 7107840 w 8079933"/>
              <a:gd name="connsiteY3429" fmla="*/ 3322716 h 4687251"/>
              <a:gd name="connsiteX3430" fmla="*/ 7108708 w 8079933"/>
              <a:gd name="connsiteY3430" fmla="*/ 3320875 h 4687251"/>
              <a:gd name="connsiteX3431" fmla="*/ 7115001 w 8079933"/>
              <a:gd name="connsiteY3431" fmla="*/ 3324556 h 4687251"/>
              <a:gd name="connsiteX3432" fmla="*/ 7119017 w 8079933"/>
              <a:gd name="connsiteY3432" fmla="*/ 3325964 h 4687251"/>
              <a:gd name="connsiteX3433" fmla="*/ 7120861 w 8079933"/>
              <a:gd name="connsiteY3433" fmla="*/ 3330295 h 4687251"/>
              <a:gd name="connsiteX3434" fmla="*/ 7128023 w 8079933"/>
              <a:gd name="connsiteY3434" fmla="*/ 3328129 h 4687251"/>
              <a:gd name="connsiteX3435" fmla="*/ 7127481 w 8079933"/>
              <a:gd name="connsiteY3435" fmla="*/ 3326072 h 4687251"/>
              <a:gd name="connsiteX3436" fmla="*/ 7129652 w 8079933"/>
              <a:gd name="connsiteY3436" fmla="*/ 3325531 h 4687251"/>
              <a:gd name="connsiteX3437" fmla="*/ 7133233 w 8079933"/>
              <a:gd name="connsiteY3437" fmla="*/ 3330078 h 4687251"/>
              <a:gd name="connsiteX3438" fmla="*/ 7132907 w 8079933"/>
              <a:gd name="connsiteY3438" fmla="*/ 3333543 h 4687251"/>
              <a:gd name="connsiteX3439" fmla="*/ 7138116 w 8079933"/>
              <a:gd name="connsiteY3439" fmla="*/ 3335925 h 4687251"/>
              <a:gd name="connsiteX3440" fmla="*/ 7143976 w 8079933"/>
              <a:gd name="connsiteY3440" fmla="*/ 3336791 h 4687251"/>
              <a:gd name="connsiteX3441" fmla="*/ 7149402 w 8079933"/>
              <a:gd name="connsiteY3441" fmla="*/ 3334193 h 4687251"/>
              <a:gd name="connsiteX3442" fmla="*/ 7152115 w 8079933"/>
              <a:gd name="connsiteY3442" fmla="*/ 3339282 h 4687251"/>
              <a:gd name="connsiteX3443" fmla="*/ 7154285 w 8079933"/>
              <a:gd name="connsiteY3443" fmla="*/ 3339823 h 4687251"/>
              <a:gd name="connsiteX3444" fmla="*/ 7156130 w 8079933"/>
              <a:gd name="connsiteY3444" fmla="*/ 3343287 h 4687251"/>
              <a:gd name="connsiteX3445" fmla="*/ 7158408 w 8079933"/>
              <a:gd name="connsiteY3445" fmla="*/ 3341772 h 4687251"/>
              <a:gd name="connsiteX3446" fmla="*/ 7162424 w 8079933"/>
              <a:gd name="connsiteY3446" fmla="*/ 3343503 h 4687251"/>
              <a:gd name="connsiteX3447" fmla="*/ 7167958 w 8079933"/>
              <a:gd name="connsiteY3447" fmla="*/ 3340364 h 4687251"/>
              <a:gd name="connsiteX3448" fmla="*/ 7170019 w 8079933"/>
              <a:gd name="connsiteY3448" fmla="*/ 3340905 h 4687251"/>
              <a:gd name="connsiteX3449" fmla="*/ 7173601 w 8079933"/>
              <a:gd name="connsiteY3449" fmla="*/ 3345994 h 4687251"/>
              <a:gd name="connsiteX3450" fmla="*/ 7173818 w 8079933"/>
              <a:gd name="connsiteY3450" fmla="*/ 3348160 h 4687251"/>
              <a:gd name="connsiteX3451" fmla="*/ 7178376 w 8079933"/>
              <a:gd name="connsiteY3451" fmla="*/ 3348484 h 4687251"/>
              <a:gd name="connsiteX3452" fmla="*/ 7179786 w 8079933"/>
              <a:gd name="connsiteY3452" fmla="*/ 3350433 h 4687251"/>
              <a:gd name="connsiteX3453" fmla="*/ 7182608 w 8079933"/>
              <a:gd name="connsiteY3453" fmla="*/ 3349892 h 4687251"/>
              <a:gd name="connsiteX3454" fmla="*/ 7183367 w 8079933"/>
              <a:gd name="connsiteY3454" fmla="*/ 3347943 h 4687251"/>
              <a:gd name="connsiteX3455" fmla="*/ 7188794 w 8079933"/>
              <a:gd name="connsiteY3455" fmla="*/ 3346211 h 4687251"/>
              <a:gd name="connsiteX3456" fmla="*/ 7191288 w 8079933"/>
              <a:gd name="connsiteY3456" fmla="*/ 3343287 h 4687251"/>
              <a:gd name="connsiteX3457" fmla="*/ 7194761 w 8079933"/>
              <a:gd name="connsiteY3457" fmla="*/ 3341772 h 4687251"/>
              <a:gd name="connsiteX3458" fmla="*/ 7193676 w 8079933"/>
              <a:gd name="connsiteY3458" fmla="*/ 3344154 h 4687251"/>
              <a:gd name="connsiteX3459" fmla="*/ 7190963 w 8079933"/>
              <a:gd name="connsiteY3459" fmla="*/ 3347077 h 4687251"/>
              <a:gd name="connsiteX3460" fmla="*/ 7190747 w 8079933"/>
              <a:gd name="connsiteY3460" fmla="*/ 3350109 h 4687251"/>
              <a:gd name="connsiteX3461" fmla="*/ 7194001 w 8079933"/>
              <a:gd name="connsiteY3461" fmla="*/ 3349242 h 4687251"/>
              <a:gd name="connsiteX3462" fmla="*/ 7195737 w 8079933"/>
              <a:gd name="connsiteY3462" fmla="*/ 3346211 h 4687251"/>
              <a:gd name="connsiteX3463" fmla="*/ 7197692 w 8079933"/>
              <a:gd name="connsiteY3463" fmla="*/ 3348917 h 4687251"/>
              <a:gd name="connsiteX3464" fmla="*/ 7198559 w 8079933"/>
              <a:gd name="connsiteY3464" fmla="*/ 3351733 h 4687251"/>
              <a:gd name="connsiteX3465" fmla="*/ 7202358 w 8079933"/>
              <a:gd name="connsiteY3465" fmla="*/ 3354115 h 4687251"/>
              <a:gd name="connsiteX3466" fmla="*/ 7206372 w 8079933"/>
              <a:gd name="connsiteY3466" fmla="*/ 3352166 h 4687251"/>
              <a:gd name="connsiteX3467" fmla="*/ 7206372 w 8079933"/>
              <a:gd name="connsiteY3467" fmla="*/ 3348917 h 4687251"/>
              <a:gd name="connsiteX3468" fmla="*/ 7203442 w 8079933"/>
              <a:gd name="connsiteY3468" fmla="*/ 3347618 h 4687251"/>
              <a:gd name="connsiteX3469" fmla="*/ 7209085 w 8079933"/>
              <a:gd name="connsiteY3469" fmla="*/ 3340905 h 4687251"/>
              <a:gd name="connsiteX3470" fmla="*/ 7213101 w 8079933"/>
              <a:gd name="connsiteY3470" fmla="*/ 3339065 h 4687251"/>
              <a:gd name="connsiteX3471" fmla="*/ 7213752 w 8079933"/>
              <a:gd name="connsiteY3471" fmla="*/ 3347185 h 4687251"/>
              <a:gd name="connsiteX3472" fmla="*/ 7216790 w 8079933"/>
              <a:gd name="connsiteY3472" fmla="*/ 3348484 h 4687251"/>
              <a:gd name="connsiteX3473" fmla="*/ 7219938 w 8079933"/>
              <a:gd name="connsiteY3473" fmla="*/ 3344911 h 4687251"/>
              <a:gd name="connsiteX3474" fmla="*/ 7224821 w 8079933"/>
              <a:gd name="connsiteY3474" fmla="*/ 3347185 h 4687251"/>
              <a:gd name="connsiteX3475" fmla="*/ 7224604 w 8079933"/>
              <a:gd name="connsiteY3475" fmla="*/ 3349567 h 4687251"/>
              <a:gd name="connsiteX3476" fmla="*/ 7221348 w 8079933"/>
              <a:gd name="connsiteY3476" fmla="*/ 3353897 h 4687251"/>
              <a:gd name="connsiteX3477" fmla="*/ 7218309 w 8079933"/>
              <a:gd name="connsiteY3477" fmla="*/ 3355522 h 4687251"/>
              <a:gd name="connsiteX3478" fmla="*/ 7215922 w 8079933"/>
              <a:gd name="connsiteY3478" fmla="*/ 3363643 h 4687251"/>
              <a:gd name="connsiteX3479" fmla="*/ 7212450 w 8079933"/>
              <a:gd name="connsiteY3479" fmla="*/ 3362776 h 4687251"/>
              <a:gd name="connsiteX3480" fmla="*/ 7209194 w 8079933"/>
              <a:gd name="connsiteY3480" fmla="*/ 3365266 h 4687251"/>
              <a:gd name="connsiteX3481" fmla="*/ 7213426 w 8079933"/>
              <a:gd name="connsiteY3481" fmla="*/ 3368731 h 4687251"/>
              <a:gd name="connsiteX3482" fmla="*/ 7211364 w 8079933"/>
              <a:gd name="connsiteY3482" fmla="*/ 3374145 h 4687251"/>
              <a:gd name="connsiteX3483" fmla="*/ 7205504 w 8079933"/>
              <a:gd name="connsiteY3483" fmla="*/ 3376851 h 4687251"/>
              <a:gd name="connsiteX3484" fmla="*/ 7201056 w 8079933"/>
              <a:gd name="connsiteY3484" fmla="*/ 3375985 h 4687251"/>
              <a:gd name="connsiteX3485" fmla="*/ 7199862 w 8079933"/>
              <a:gd name="connsiteY3485" fmla="*/ 3374145 h 4687251"/>
              <a:gd name="connsiteX3486" fmla="*/ 7196932 w 8079933"/>
              <a:gd name="connsiteY3486" fmla="*/ 3375444 h 4687251"/>
              <a:gd name="connsiteX3487" fmla="*/ 7194436 w 8079933"/>
              <a:gd name="connsiteY3487" fmla="*/ 3375227 h 4687251"/>
              <a:gd name="connsiteX3488" fmla="*/ 7195304 w 8079933"/>
              <a:gd name="connsiteY3488" fmla="*/ 3380315 h 4687251"/>
              <a:gd name="connsiteX3489" fmla="*/ 7190421 w 8079933"/>
              <a:gd name="connsiteY3489" fmla="*/ 3383564 h 4687251"/>
              <a:gd name="connsiteX3490" fmla="*/ 7193893 w 8079933"/>
              <a:gd name="connsiteY3490" fmla="*/ 3389952 h 4687251"/>
              <a:gd name="connsiteX3491" fmla="*/ 7198017 w 8079933"/>
              <a:gd name="connsiteY3491" fmla="*/ 3386920 h 4687251"/>
              <a:gd name="connsiteX3492" fmla="*/ 7196064 w 8079933"/>
              <a:gd name="connsiteY3492" fmla="*/ 3391251 h 4687251"/>
              <a:gd name="connsiteX3493" fmla="*/ 7194544 w 8079933"/>
              <a:gd name="connsiteY3493" fmla="*/ 3397964 h 4687251"/>
              <a:gd name="connsiteX3494" fmla="*/ 7189878 w 8079933"/>
              <a:gd name="connsiteY3494" fmla="*/ 3401212 h 4687251"/>
              <a:gd name="connsiteX3495" fmla="*/ 7188794 w 8079933"/>
              <a:gd name="connsiteY3495" fmla="*/ 3406951 h 4687251"/>
              <a:gd name="connsiteX3496" fmla="*/ 7184235 w 8079933"/>
              <a:gd name="connsiteY3496" fmla="*/ 3414204 h 4687251"/>
              <a:gd name="connsiteX3497" fmla="*/ 7184452 w 8079933"/>
              <a:gd name="connsiteY3497" fmla="*/ 3420159 h 4687251"/>
              <a:gd name="connsiteX3498" fmla="*/ 7189661 w 8079933"/>
              <a:gd name="connsiteY3498" fmla="*/ 3426222 h 4687251"/>
              <a:gd name="connsiteX3499" fmla="*/ 7193676 w 8079933"/>
              <a:gd name="connsiteY3499" fmla="*/ 3426764 h 4687251"/>
              <a:gd name="connsiteX3500" fmla="*/ 7199862 w 8079933"/>
              <a:gd name="connsiteY3500" fmla="*/ 3433151 h 4687251"/>
              <a:gd name="connsiteX3501" fmla="*/ 7200947 w 8079933"/>
              <a:gd name="connsiteY3501" fmla="*/ 3437808 h 4687251"/>
              <a:gd name="connsiteX3502" fmla="*/ 7206915 w 8079933"/>
              <a:gd name="connsiteY3502" fmla="*/ 3442680 h 4687251"/>
              <a:gd name="connsiteX3503" fmla="*/ 7205613 w 8079933"/>
              <a:gd name="connsiteY3503" fmla="*/ 3444628 h 4687251"/>
              <a:gd name="connsiteX3504" fmla="*/ 7209953 w 8079933"/>
              <a:gd name="connsiteY3504" fmla="*/ 3445711 h 4687251"/>
              <a:gd name="connsiteX3505" fmla="*/ 7215163 w 8079933"/>
              <a:gd name="connsiteY3505" fmla="*/ 3445603 h 4687251"/>
              <a:gd name="connsiteX3506" fmla="*/ 7217876 w 8079933"/>
              <a:gd name="connsiteY3506" fmla="*/ 3447769 h 4687251"/>
              <a:gd name="connsiteX3507" fmla="*/ 7221022 w 8079933"/>
              <a:gd name="connsiteY3507" fmla="*/ 3448093 h 4687251"/>
              <a:gd name="connsiteX3508" fmla="*/ 7221348 w 8079933"/>
              <a:gd name="connsiteY3508" fmla="*/ 3451125 h 4687251"/>
              <a:gd name="connsiteX3509" fmla="*/ 7226990 w 8079933"/>
              <a:gd name="connsiteY3509" fmla="*/ 3454806 h 4687251"/>
              <a:gd name="connsiteX3510" fmla="*/ 7233285 w 8079933"/>
              <a:gd name="connsiteY3510" fmla="*/ 3455348 h 4687251"/>
              <a:gd name="connsiteX3511" fmla="*/ 7238494 w 8079933"/>
              <a:gd name="connsiteY3511" fmla="*/ 3461952 h 4687251"/>
              <a:gd name="connsiteX3512" fmla="*/ 7239795 w 8079933"/>
              <a:gd name="connsiteY3512" fmla="*/ 3465958 h 4687251"/>
              <a:gd name="connsiteX3513" fmla="*/ 7246632 w 8079933"/>
              <a:gd name="connsiteY3513" fmla="*/ 3470289 h 4687251"/>
              <a:gd name="connsiteX3514" fmla="*/ 7254120 w 8079933"/>
              <a:gd name="connsiteY3514" fmla="*/ 3470830 h 4687251"/>
              <a:gd name="connsiteX3515" fmla="*/ 7258786 w 8079933"/>
              <a:gd name="connsiteY3515" fmla="*/ 3472779 h 4687251"/>
              <a:gd name="connsiteX3516" fmla="*/ 7264429 w 8079933"/>
              <a:gd name="connsiteY3516" fmla="*/ 3473753 h 4687251"/>
              <a:gd name="connsiteX3517" fmla="*/ 7265840 w 8079933"/>
              <a:gd name="connsiteY3517" fmla="*/ 3478950 h 4687251"/>
              <a:gd name="connsiteX3518" fmla="*/ 7267468 w 8079933"/>
              <a:gd name="connsiteY3518" fmla="*/ 3481116 h 4687251"/>
              <a:gd name="connsiteX3519" fmla="*/ 7267684 w 8079933"/>
              <a:gd name="connsiteY3519" fmla="*/ 3484039 h 4687251"/>
              <a:gd name="connsiteX3520" fmla="*/ 7273653 w 8079933"/>
              <a:gd name="connsiteY3520" fmla="*/ 3488695 h 4687251"/>
              <a:gd name="connsiteX3521" fmla="*/ 7276691 w 8079933"/>
              <a:gd name="connsiteY3521" fmla="*/ 3492917 h 4687251"/>
              <a:gd name="connsiteX3522" fmla="*/ 7282986 w 8079933"/>
              <a:gd name="connsiteY3522" fmla="*/ 3493350 h 4687251"/>
              <a:gd name="connsiteX3523" fmla="*/ 7289171 w 8079933"/>
              <a:gd name="connsiteY3523" fmla="*/ 3497789 h 4687251"/>
              <a:gd name="connsiteX3524" fmla="*/ 7304363 w 8079933"/>
              <a:gd name="connsiteY3524" fmla="*/ 3491726 h 4687251"/>
              <a:gd name="connsiteX3525" fmla="*/ 7311742 w 8079933"/>
              <a:gd name="connsiteY3525" fmla="*/ 3486204 h 4687251"/>
              <a:gd name="connsiteX3526" fmla="*/ 7312285 w 8079933"/>
              <a:gd name="connsiteY3526" fmla="*/ 3477110 h 4687251"/>
              <a:gd name="connsiteX3527" fmla="*/ 7316625 w 8079933"/>
              <a:gd name="connsiteY3527" fmla="*/ 3472779 h 4687251"/>
              <a:gd name="connsiteX3528" fmla="*/ 7319447 w 8079933"/>
              <a:gd name="connsiteY3528" fmla="*/ 3465417 h 4687251"/>
              <a:gd name="connsiteX3529" fmla="*/ 7317927 w 8079933"/>
              <a:gd name="connsiteY3529" fmla="*/ 3460544 h 4687251"/>
              <a:gd name="connsiteX3530" fmla="*/ 7322160 w 8079933"/>
              <a:gd name="connsiteY3530" fmla="*/ 3455889 h 4687251"/>
              <a:gd name="connsiteX3531" fmla="*/ 7323028 w 8079933"/>
              <a:gd name="connsiteY3531" fmla="*/ 3442355 h 4687251"/>
              <a:gd name="connsiteX3532" fmla="*/ 7327912 w 8079933"/>
              <a:gd name="connsiteY3532" fmla="*/ 3433151 h 4687251"/>
              <a:gd name="connsiteX3533" fmla="*/ 7327912 w 8079933"/>
              <a:gd name="connsiteY3533" fmla="*/ 3429146 h 4687251"/>
              <a:gd name="connsiteX3534" fmla="*/ 7332469 w 8079933"/>
              <a:gd name="connsiteY3534" fmla="*/ 3425031 h 4687251"/>
              <a:gd name="connsiteX3535" fmla="*/ 7332903 w 8079933"/>
              <a:gd name="connsiteY3535" fmla="*/ 3417994 h 4687251"/>
              <a:gd name="connsiteX3536" fmla="*/ 7330625 w 8079933"/>
              <a:gd name="connsiteY3536" fmla="*/ 3411823 h 4687251"/>
              <a:gd name="connsiteX3537" fmla="*/ 7332252 w 8079933"/>
              <a:gd name="connsiteY3537" fmla="*/ 3403161 h 4687251"/>
              <a:gd name="connsiteX3538" fmla="*/ 7330081 w 8079933"/>
              <a:gd name="connsiteY3538" fmla="*/ 3395257 h 4687251"/>
              <a:gd name="connsiteX3539" fmla="*/ 7332252 w 8079933"/>
              <a:gd name="connsiteY3539" fmla="*/ 3383564 h 4687251"/>
              <a:gd name="connsiteX3540" fmla="*/ 7334964 w 8079933"/>
              <a:gd name="connsiteY3540" fmla="*/ 3381507 h 4687251"/>
              <a:gd name="connsiteX3541" fmla="*/ 7338546 w 8079933"/>
              <a:gd name="connsiteY3541" fmla="*/ 3383023 h 4687251"/>
              <a:gd name="connsiteX3542" fmla="*/ 7338004 w 8079933"/>
              <a:gd name="connsiteY3542" fmla="*/ 3379017 h 4687251"/>
              <a:gd name="connsiteX3543" fmla="*/ 7334531 w 8079933"/>
              <a:gd name="connsiteY3543" fmla="*/ 3373386 h 4687251"/>
              <a:gd name="connsiteX3544" fmla="*/ 7337136 w 8079933"/>
              <a:gd name="connsiteY3544" fmla="*/ 3368731 h 4687251"/>
              <a:gd name="connsiteX3545" fmla="*/ 7339089 w 8079933"/>
              <a:gd name="connsiteY3545" fmla="*/ 3363967 h 4687251"/>
              <a:gd name="connsiteX3546" fmla="*/ 7342127 w 8079933"/>
              <a:gd name="connsiteY3546" fmla="*/ 3364617 h 4687251"/>
              <a:gd name="connsiteX3547" fmla="*/ 7345057 w 8079933"/>
              <a:gd name="connsiteY3547" fmla="*/ 3362560 h 4687251"/>
              <a:gd name="connsiteX3548" fmla="*/ 7340608 w 8079933"/>
              <a:gd name="connsiteY3548" fmla="*/ 3358986 h 4687251"/>
              <a:gd name="connsiteX3549" fmla="*/ 7336918 w 8079933"/>
              <a:gd name="connsiteY3549" fmla="*/ 3355522 h 4687251"/>
              <a:gd name="connsiteX3550" fmla="*/ 7341042 w 8079933"/>
              <a:gd name="connsiteY3550" fmla="*/ 3349784 h 4687251"/>
              <a:gd name="connsiteX3551" fmla="*/ 7344189 w 8079933"/>
              <a:gd name="connsiteY3551" fmla="*/ 3341988 h 4687251"/>
              <a:gd name="connsiteX3552" fmla="*/ 7346902 w 8079933"/>
              <a:gd name="connsiteY3552" fmla="*/ 3342313 h 4687251"/>
              <a:gd name="connsiteX3553" fmla="*/ 7347987 w 8079933"/>
              <a:gd name="connsiteY3553" fmla="*/ 3337549 h 4687251"/>
              <a:gd name="connsiteX3554" fmla="*/ 7347987 w 8079933"/>
              <a:gd name="connsiteY3554" fmla="*/ 3335492 h 4687251"/>
              <a:gd name="connsiteX3555" fmla="*/ 7350483 w 8079933"/>
              <a:gd name="connsiteY3555" fmla="*/ 3328238 h 4687251"/>
              <a:gd name="connsiteX3556" fmla="*/ 7350483 w 8079933"/>
              <a:gd name="connsiteY3556" fmla="*/ 3319793 h 4687251"/>
              <a:gd name="connsiteX3557" fmla="*/ 7353196 w 8079933"/>
              <a:gd name="connsiteY3557" fmla="*/ 3316003 h 4687251"/>
              <a:gd name="connsiteX3558" fmla="*/ 4796274 w 8079933"/>
              <a:gd name="connsiteY3558" fmla="*/ 3313282 h 4687251"/>
              <a:gd name="connsiteX3559" fmla="*/ 4797845 w 8079933"/>
              <a:gd name="connsiteY3559" fmla="*/ 3313730 h 4687251"/>
              <a:gd name="connsiteX3560" fmla="*/ 4800775 w 8079933"/>
              <a:gd name="connsiteY3560" fmla="*/ 3315787 h 4687251"/>
              <a:gd name="connsiteX3561" fmla="*/ 4801475 w 8079933"/>
              <a:gd name="connsiteY3561" fmla="*/ 3315883 h 4687251"/>
              <a:gd name="connsiteX3562" fmla="*/ 4800776 w 8079933"/>
              <a:gd name="connsiteY3562" fmla="*/ 3315787 h 4687251"/>
              <a:gd name="connsiteX3563" fmla="*/ 4797846 w 8079933"/>
              <a:gd name="connsiteY3563" fmla="*/ 3313729 h 4687251"/>
              <a:gd name="connsiteX3564" fmla="*/ 4540335 w 8079933"/>
              <a:gd name="connsiteY3564" fmla="*/ 3311563 h 4687251"/>
              <a:gd name="connsiteX3565" fmla="*/ 4541637 w 8079933"/>
              <a:gd name="connsiteY3565" fmla="*/ 3313728 h 4687251"/>
              <a:gd name="connsiteX3566" fmla="*/ 4542072 w 8079933"/>
              <a:gd name="connsiteY3566" fmla="*/ 3317085 h 4687251"/>
              <a:gd name="connsiteX3567" fmla="*/ 4541746 w 8079933"/>
              <a:gd name="connsiteY3567" fmla="*/ 3318817 h 4687251"/>
              <a:gd name="connsiteX3568" fmla="*/ 4543591 w 8079933"/>
              <a:gd name="connsiteY3568" fmla="*/ 3318925 h 4687251"/>
              <a:gd name="connsiteX3569" fmla="*/ 4548257 w 8079933"/>
              <a:gd name="connsiteY3569" fmla="*/ 3321091 h 4687251"/>
              <a:gd name="connsiteX3570" fmla="*/ 4543591 w 8079933"/>
              <a:gd name="connsiteY3570" fmla="*/ 3318925 h 4687251"/>
              <a:gd name="connsiteX3571" fmla="*/ 4541746 w 8079933"/>
              <a:gd name="connsiteY3571" fmla="*/ 3318817 h 4687251"/>
              <a:gd name="connsiteX3572" fmla="*/ 4542072 w 8079933"/>
              <a:gd name="connsiteY3572" fmla="*/ 3317085 h 4687251"/>
              <a:gd name="connsiteX3573" fmla="*/ 4541638 w 8079933"/>
              <a:gd name="connsiteY3573" fmla="*/ 3313729 h 4687251"/>
              <a:gd name="connsiteX3574" fmla="*/ 4794590 w 8079933"/>
              <a:gd name="connsiteY3574" fmla="*/ 3310915 h 4687251"/>
              <a:gd name="connsiteX3575" fmla="*/ 4794807 w 8079933"/>
              <a:gd name="connsiteY3575" fmla="*/ 3312863 h 4687251"/>
              <a:gd name="connsiteX3576" fmla="*/ 4794808 w 8079933"/>
              <a:gd name="connsiteY3576" fmla="*/ 3312863 h 4687251"/>
              <a:gd name="connsiteX3577" fmla="*/ 4794591 w 8079933"/>
              <a:gd name="connsiteY3577" fmla="*/ 3310915 h 4687251"/>
              <a:gd name="connsiteX3578" fmla="*/ 4971473 w 8079933"/>
              <a:gd name="connsiteY3578" fmla="*/ 3309073 h 4687251"/>
              <a:gd name="connsiteX3579" fmla="*/ 4974077 w 8079933"/>
              <a:gd name="connsiteY3579" fmla="*/ 3309397 h 4687251"/>
              <a:gd name="connsiteX3580" fmla="*/ 4976248 w 8079933"/>
              <a:gd name="connsiteY3580" fmla="*/ 3314053 h 4687251"/>
              <a:gd name="connsiteX3581" fmla="*/ 4974512 w 8079933"/>
              <a:gd name="connsiteY3581" fmla="*/ 3316435 h 4687251"/>
              <a:gd name="connsiteX3582" fmla="*/ 4976031 w 8079933"/>
              <a:gd name="connsiteY3582" fmla="*/ 3321091 h 4687251"/>
              <a:gd name="connsiteX3583" fmla="*/ 4974186 w 8079933"/>
              <a:gd name="connsiteY3583" fmla="*/ 3323797 h 4687251"/>
              <a:gd name="connsiteX3584" fmla="*/ 4971907 w 8079933"/>
              <a:gd name="connsiteY3584" fmla="*/ 3324447 h 4687251"/>
              <a:gd name="connsiteX3585" fmla="*/ 4969628 w 8079933"/>
              <a:gd name="connsiteY3585" fmla="*/ 3323473 h 4687251"/>
              <a:gd name="connsiteX3586" fmla="*/ 4968977 w 8079933"/>
              <a:gd name="connsiteY3586" fmla="*/ 3318059 h 4687251"/>
              <a:gd name="connsiteX3587" fmla="*/ 4967892 w 8079933"/>
              <a:gd name="connsiteY3587" fmla="*/ 3314919 h 4687251"/>
              <a:gd name="connsiteX3588" fmla="*/ 4532414 w 8079933"/>
              <a:gd name="connsiteY3588" fmla="*/ 3308207 h 4687251"/>
              <a:gd name="connsiteX3589" fmla="*/ 4530894 w 8079933"/>
              <a:gd name="connsiteY3589" fmla="*/ 3309831 h 4687251"/>
              <a:gd name="connsiteX3590" fmla="*/ 4529104 w 8079933"/>
              <a:gd name="connsiteY3590" fmla="*/ 3309885 h 4687251"/>
              <a:gd name="connsiteX3591" fmla="*/ 4530894 w 8079933"/>
              <a:gd name="connsiteY3591" fmla="*/ 3309831 h 4687251"/>
              <a:gd name="connsiteX3592" fmla="*/ 4852973 w 8079933"/>
              <a:gd name="connsiteY3592" fmla="*/ 3308100 h 4687251"/>
              <a:gd name="connsiteX3593" fmla="*/ 4856227 w 8079933"/>
              <a:gd name="connsiteY3593" fmla="*/ 3310481 h 4687251"/>
              <a:gd name="connsiteX3594" fmla="*/ 4856228 w 8079933"/>
              <a:gd name="connsiteY3594" fmla="*/ 3310481 h 4687251"/>
              <a:gd name="connsiteX3595" fmla="*/ 7349398 w 8079933"/>
              <a:gd name="connsiteY3595" fmla="*/ 3306259 h 4687251"/>
              <a:gd name="connsiteX3596" fmla="*/ 7352437 w 8079933"/>
              <a:gd name="connsiteY3596" fmla="*/ 3306801 h 4687251"/>
              <a:gd name="connsiteX3597" fmla="*/ 7354174 w 8079933"/>
              <a:gd name="connsiteY3597" fmla="*/ 3310590 h 4687251"/>
              <a:gd name="connsiteX3598" fmla="*/ 7351785 w 8079933"/>
              <a:gd name="connsiteY3598" fmla="*/ 3310806 h 4687251"/>
              <a:gd name="connsiteX3599" fmla="*/ 7349507 w 8079933"/>
              <a:gd name="connsiteY3599" fmla="*/ 3312106 h 4687251"/>
              <a:gd name="connsiteX3600" fmla="*/ 4467087 w 8079933"/>
              <a:gd name="connsiteY3600" fmla="*/ 3306041 h 4687251"/>
              <a:gd name="connsiteX3601" fmla="*/ 4467087 w 8079933"/>
              <a:gd name="connsiteY3601" fmla="*/ 3306042 h 4687251"/>
              <a:gd name="connsiteX3602" fmla="*/ 4467350 w 8079933"/>
              <a:gd name="connsiteY3602" fmla="*/ 3306740 h 4687251"/>
              <a:gd name="connsiteX3603" fmla="*/ 4475334 w 8079933"/>
              <a:gd name="connsiteY3603" fmla="*/ 3304201 h 4687251"/>
              <a:gd name="connsiteX3604" fmla="*/ 4474032 w 8079933"/>
              <a:gd name="connsiteY3604" fmla="*/ 3305067 h 4687251"/>
              <a:gd name="connsiteX3605" fmla="*/ 4471970 w 8079933"/>
              <a:gd name="connsiteY3605" fmla="*/ 3305717 h 4687251"/>
              <a:gd name="connsiteX3606" fmla="*/ 4470451 w 8079933"/>
              <a:gd name="connsiteY3606" fmla="*/ 3307341 h 4687251"/>
              <a:gd name="connsiteX3607" fmla="*/ 4467738 w 8079933"/>
              <a:gd name="connsiteY3607" fmla="*/ 3307774 h 4687251"/>
              <a:gd name="connsiteX3608" fmla="*/ 4467739 w 8079933"/>
              <a:gd name="connsiteY3608" fmla="*/ 3307775 h 4687251"/>
              <a:gd name="connsiteX3609" fmla="*/ 4470452 w 8079933"/>
              <a:gd name="connsiteY3609" fmla="*/ 3307342 h 4687251"/>
              <a:gd name="connsiteX3610" fmla="*/ 4471971 w 8079933"/>
              <a:gd name="connsiteY3610" fmla="*/ 3305718 h 4687251"/>
              <a:gd name="connsiteX3611" fmla="*/ 4474032 w 8079933"/>
              <a:gd name="connsiteY3611" fmla="*/ 3305068 h 4687251"/>
              <a:gd name="connsiteX3612" fmla="*/ 4475335 w 8079933"/>
              <a:gd name="connsiteY3612" fmla="*/ 3304202 h 4687251"/>
              <a:gd name="connsiteX3613" fmla="*/ 4477613 w 8079933"/>
              <a:gd name="connsiteY3613" fmla="*/ 3304202 h 4687251"/>
              <a:gd name="connsiteX3614" fmla="*/ 4480343 w 8079933"/>
              <a:gd name="connsiteY3614" fmla="*/ 3306134 h 4687251"/>
              <a:gd name="connsiteX3615" fmla="*/ 4477613 w 8079933"/>
              <a:gd name="connsiteY3615" fmla="*/ 3304201 h 4687251"/>
              <a:gd name="connsiteX3616" fmla="*/ 6896884 w 8079933"/>
              <a:gd name="connsiteY3616" fmla="*/ 3303552 h 4687251"/>
              <a:gd name="connsiteX3617" fmla="*/ 6898077 w 8079933"/>
              <a:gd name="connsiteY3617" fmla="*/ 3306258 h 4687251"/>
              <a:gd name="connsiteX3618" fmla="*/ 6896558 w 8079933"/>
              <a:gd name="connsiteY3618" fmla="*/ 3310048 h 4687251"/>
              <a:gd name="connsiteX3619" fmla="*/ 6885707 w 8079933"/>
              <a:gd name="connsiteY3619" fmla="*/ 3314595 h 4687251"/>
              <a:gd name="connsiteX3620" fmla="*/ 6882343 w 8079933"/>
              <a:gd name="connsiteY3620" fmla="*/ 3313296 h 4687251"/>
              <a:gd name="connsiteX3621" fmla="*/ 6885924 w 8079933"/>
              <a:gd name="connsiteY3621" fmla="*/ 3310048 h 4687251"/>
              <a:gd name="connsiteX3622" fmla="*/ 6893303 w 8079933"/>
              <a:gd name="connsiteY3622" fmla="*/ 3306475 h 4687251"/>
              <a:gd name="connsiteX3623" fmla="*/ 6892435 w 8079933"/>
              <a:gd name="connsiteY3623" fmla="*/ 3305609 h 4687251"/>
              <a:gd name="connsiteX3624" fmla="*/ 4509083 w 8079933"/>
              <a:gd name="connsiteY3624" fmla="*/ 3302576 h 4687251"/>
              <a:gd name="connsiteX3625" fmla="*/ 4504633 w 8079933"/>
              <a:gd name="connsiteY3625" fmla="*/ 3303118 h 4687251"/>
              <a:gd name="connsiteX3626" fmla="*/ 4500836 w 8079933"/>
              <a:gd name="connsiteY3626" fmla="*/ 3304634 h 4687251"/>
              <a:gd name="connsiteX3627" fmla="*/ 4496712 w 8079933"/>
              <a:gd name="connsiteY3627" fmla="*/ 3306583 h 4687251"/>
              <a:gd name="connsiteX3628" fmla="*/ 4494541 w 8079933"/>
              <a:gd name="connsiteY3628" fmla="*/ 3307449 h 4687251"/>
              <a:gd name="connsiteX3629" fmla="*/ 4491937 w 8079933"/>
              <a:gd name="connsiteY3629" fmla="*/ 3308098 h 4687251"/>
              <a:gd name="connsiteX3630" fmla="*/ 4489766 w 8079933"/>
              <a:gd name="connsiteY3630" fmla="*/ 3307666 h 4687251"/>
              <a:gd name="connsiteX3631" fmla="*/ 4483582 w 8079933"/>
              <a:gd name="connsiteY3631" fmla="*/ 3307449 h 4687251"/>
              <a:gd name="connsiteX3632" fmla="*/ 4480977 w 8079933"/>
              <a:gd name="connsiteY3632" fmla="*/ 3306583 h 4687251"/>
              <a:gd name="connsiteX3633" fmla="*/ 4480978 w 8079933"/>
              <a:gd name="connsiteY3633" fmla="*/ 3306583 h 4687251"/>
              <a:gd name="connsiteX3634" fmla="*/ 4483582 w 8079933"/>
              <a:gd name="connsiteY3634" fmla="*/ 3307450 h 4687251"/>
              <a:gd name="connsiteX3635" fmla="*/ 4489767 w 8079933"/>
              <a:gd name="connsiteY3635" fmla="*/ 3307667 h 4687251"/>
              <a:gd name="connsiteX3636" fmla="*/ 4491938 w 8079933"/>
              <a:gd name="connsiteY3636" fmla="*/ 3308099 h 4687251"/>
              <a:gd name="connsiteX3637" fmla="*/ 4494542 w 8079933"/>
              <a:gd name="connsiteY3637" fmla="*/ 3307450 h 4687251"/>
              <a:gd name="connsiteX3638" fmla="*/ 4496712 w 8079933"/>
              <a:gd name="connsiteY3638" fmla="*/ 3306583 h 4687251"/>
              <a:gd name="connsiteX3639" fmla="*/ 4500836 w 8079933"/>
              <a:gd name="connsiteY3639" fmla="*/ 3304635 h 4687251"/>
              <a:gd name="connsiteX3640" fmla="*/ 4504634 w 8079933"/>
              <a:gd name="connsiteY3640" fmla="*/ 3303119 h 4687251"/>
              <a:gd name="connsiteX3641" fmla="*/ 4509083 w 8079933"/>
              <a:gd name="connsiteY3641" fmla="*/ 3302577 h 4687251"/>
              <a:gd name="connsiteX3642" fmla="*/ 6861400 w 8079933"/>
              <a:gd name="connsiteY3642" fmla="*/ 3302470 h 4687251"/>
              <a:gd name="connsiteX3643" fmla="*/ 6864004 w 8079933"/>
              <a:gd name="connsiteY3643" fmla="*/ 3304202 h 4687251"/>
              <a:gd name="connsiteX3644" fmla="*/ 6864547 w 8079933"/>
              <a:gd name="connsiteY3644" fmla="*/ 3306585 h 4687251"/>
              <a:gd name="connsiteX3645" fmla="*/ 6861508 w 8079933"/>
              <a:gd name="connsiteY3645" fmla="*/ 3308101 h 4687251"/>
              <a:gd name="connsiteX3646" fmla="*/ 6857168 w 8079933"/>
              <a:gd name="connsiteY3646" fmla="*/ 3307884 h 4687251"/>
              <a:gd name="connsiteX3647" fmla="*/ 6859447 w 8079933"/>
              <a:gd name="connsiteY3647" fmla="*/ 3303986 h 4687251"/>
              <a:gd name="connsiteX3648" fmla="*/ 4616297 w 8079933"/>
              <a:gd name="connsiteY3648" fmla="*/ 3302468 h 4687251"/>
              <a:gd name="connsiteX3649" fmla="*/ 4616622 w 8079933"/>
              <a:gd name="connsiteY3649" fmla="*/ 3315678 h 4687251"/>
              <a:gd name="connsiteX3650" fmla="*/ 4616948 w 8079933"/>
              <a:gd name="connsiteY3650" fmla="*/ 3321849 h 4687251"/>
              <a:gd name="connsiteX3651" fmla="*/ 4618710 w 8079933"/>
              <a:gd name="connsiteY3651" fmla="*/ 3323182 h 4687251"/>
              <a:gd name="connsiteX3652" fmla="*/ 4616948 w 8079933"/>
              <a:gd name="connsiteY3652" fmla="*/ 3321848 h 4687251"/>
              <a:gd name="connsiteX3653" fmla="*/ 4616622 w 8079933"/>
              <a:gd name="connsiteY3653" fmla="*/ 3315677 h 4687251"/>
              <a:gd name="connsiteX3654" fmla="*/ 2397563 w 8079933"/>
              <a:gd name="connsiteY3654" fmla="*/ 3298129 h 4687251"/>
              <a:gd name="connsiteX3655" fmla="*/ 2397024 w 8079933"/>
              <a:gd name="connsiteY3655" fmla="*/ 3299112 h 4687251"/>
              <a:gd name="connsiteX3656" fmla="*/ 2400062 w 8079933"/>
              <a:gd name="connsiteY3656" fmla="*/ 3310156 h 4687251"/>
              <a:gd name="connsiteX3657" fmla="*/ 2398000 w 8079933"/>
              <a:gd name="connsiteY3657" fmla="*/ 3314920 h 4687251"/>
              <a:gd name="connsiteX3658" fmla="*/ 2402124 w 8079933"/>
              <a:gd name="connsiteY3658" fmla="*/ 3323906 h 4687251"/>
              <a:gd name="connsiteX3659" fmla="*/ 2407658 w 8079933"/>
              <a:gd name="connsiteY3659" fmla="*/ 3326288 h 4687251"/>
              <a:gd name="connsiteX3660" fmla="*/ 2409394 w 8079933"/>
              <a:gd name="connsiteY3660" fmla="*/ 3333543 h 4687251"/>
              <a:gd name="connsiteX3661" fmla="*/ 2414929 w 8079933"/>
              <a:gd name="connsiteY3661" fmla="*/ 3336249 h 4687251"/>
              <a:gd name="connsiteX3662" fmla="*/ 2422525 w 8079933"/>
              <a:gd name="connsiteY3662" fmla="*/ 3341121 h 4687251"/>
              <a:gd name="connsiteX3663" fmla="*/ 2427734 w 8079933"/>
              <a:gd name="connsiteY3663" fmla="*/ 3345994 h 4687251"/>
              <a:gd name="connsiteX3664" fmla="*/ 2429796 w 8079933"/>
              <a:gd name="connsiteY3664" fmla="*/ 3343503 h 4687251"/>
              <a:gd name="connsiteX3665" fmla="*/ 2439779 w 8079933"/>
              <a:gd name="connsiteY3665" fmla="*/ 3341121 h 4687251"/>
              <a:gd name="connsiteX3666" fmla="*/ 2448026 w 8079933"/>
              <a:gd name="connsiteY3666" fmla="*/ 3349349 h 4687251"/>
              <a:gd name="connsiteX3667" fmla="*/ 2454320 w 8079933"/>
              <a:gd name="connsiteY3667" fmla="*/ 3347618 h 4687251"/>
              <a:gd name="connsiteX3668" fmla="*/ 2462893 w 8079933"/>
              <a:gd name="connsiteY3668" fmla="*/ 3356929 h 4687251"/>
              <a:gd name="connsiteX3669" fmla="*/ 2466691 w 8079933"/>
              <a:gd name="connsiteY3669" fmla="*/ 3356604 h 4687251"/>
              <a:gd name="connsiteX3670" fmla="*/ 2477000 w 8079933"/>
              <a:gd name="connsiteY3670" fmla="*/ 3360069 h 4687251"/>
              <a:gd name="connsiteX3671" fmla="*/ 2483620 w 8079933"/>
              <a:gd name="connsiteY3671" fmla="*/ 3362451 h 4687251"/>
              <a:gd name="connsiteX3672" fmla="*/ 2485031 w 8079933"/>
              <a:gd name="connsiteY3672" fmla="*/ 3369380 h 4687251"/>
              <a:gd name="connsiteX3673" fmla="*/ 2489806 w 8079933"/>
              <a:gd name="connsiteY3673" fmla="*/ 3370679 h 4687251"/>
              <a:gd name="connsiteX3674" fmla="*/ 2495990 w 8079933"/>
              <a:gd name="connsiteY3674" fmla="*/ 3374144 h 4687251"/>
              <a:gd name="connsiteX3675" fmla="*/ 2509881 w 8079933"/>
              <a:gd name="connsiteY3675" fmla="*/ 3372844 h 4687251"/>
              <a:gd name="connsiteX3676" fmla="*/ 2519539 w 8079933"/>
              <a:gd name="connsiteY3676" fmla="*/ 3378366 h 4687251"/>
              <a:gd name="connsiteX3677" fmla="*/ 2521601 w 8079933"/>
              <a:gd name="connsiteY3677" fmla="*/ 3382481 h 4687251"/>
              <a:gd name="connsiteX3678" fmla="*/ 2520190 w 8079933"/>
              <a:gd name="connsiteY3678" fmla="*/ 3393416 h 4687251"/>
              <a:gd name="connsiteX3679" fmla="*/ 2522251 w 8079933"/>
              <a:gd name="connsiteY3679" fmla="*/ 3402402 h 4687251"/>
              <a:gd name="connsiteX3680" fmla="*/ 2519539 w 8079933"/>
              <a:gd name="connsiteY3680" fmla="*/ 3407924 h 4687251"/>
              <a:gd name="connsiteX3681" fmla="*/ 2528437 w 8079933"/>
              <a:gd name="connsiteY3681" fmla="*/ 3423082 h 4687251"/>
              <a:gd name="connsiteX3682" fmla="*/ 2527786 w 8079933"/>
              <a:gd name="connsiteY3682" fmla="*/ 3434125 h 4687251"/>
              <a:gd name="connsiteX3683" fmla="*/ 2569891 w 8079933"/>
              <a:gd name="connsiteY3683" fmla="*/ 3434775 h 4687251"/>
              <a:gd name="connsiteX3684" fmla="*/ 2571952 w 8079933"/>
              <a:gd name="connsiteY3684" fmla="*/ 3449933 h 4687251"/>
              <a:gd name="connsiteX3685" fmla="*/ 2571302 w 8079933"/>
              <a:gd name="connsiteY3685" fmla="*/ 3459569 h 4687251"/>
              <a:gd name="connsiteX3686" fmla="*/ 2583672 w 8079933"/>
              <a:gd name="connsiteY3686" fmla="*/ 3462384 h 4687251"/>
              <a:gd name="connsiteX3687" fmla="*/ 2596152 w 8079933"/>
              <a:gd name="connsiteY3687" fmla="*/ 3484363 h 4687251"/>
              <a:gd name="connsiteX3688" fmla="*/ 2596803 w 8079933"/>
              <a:gd name="connsiteY3688" fmla="*/ 3496056 h 4687251"/>
              <a:gd name="connsiteX3689" fmla="*/ 2585083 w 8079933"/>
              <a:gd name="connsiteY3689" fmla="*/ 3519442 h 4687251"/>
              <a:gd name="connsiteX3690" fmla="*/ 2585734 w 8079933"/>
              <a:gd name="connsiteY3690" fmla="*/ 3522907 h 4687251"/>
              <a:gd name="connsiteX3691" fmla="*/ 2582588 w 8079933"/>
              <a:gd name="connsiteY3691" fmla="*/ 3527346 h 4687251"/>
              <a:gd name="connsiteX3692" fmla="*/ 2584758 w 8079933"/>
              <a:gd name="connsiteY3692" fmla="*/ 3529836 h 4687251"/>
              <a:gd name="connsiteX3693" fmla="*/ 2579875 w 8079933"/>
              <a:gd name="connsiteY3693" fmla="*/ 3524315 h 4687251"/>
              <a:gd name="connsiteX3694" fmla="*/ 2576076 w 8079933"/>
              <a:gd name="connsiteY3694" fmla="*/ 3523557 h 4687251"/>
              <a:gd name="connsiteX3695" fmla="*/ 2560233 w 8079933"/>
              <a:gd name="connsiteY3695" fmla="*/ 3511971 h 4687251"/>
              <a:gd name="connsiteX3696" fmla="*/ 2532995 w 8079933"/>
              <a:gd name="connsiteY3696" fmla="*/ 3511539 h 4687251"/>
              <a:gd name="connsiteX3697" fmla="*/ 2500223 w 8079933"/>
              <a:gd name="connsiteY3697" fmla="*/ 3520634 h 4687251"/>
              <a:gd name="connsiteX3698" fmla="*/ 2494689 w 8079933"/>
              <a:gd name="connsiteY3698" fmla="*/ 3524206 h 4687251"/>
              <a:gd name="connsiteX3699" fmla="*/ 2494689 w 8079933"/>
              <a:gd name="connsiteY3699" fmla="*/ 3524207 h 4687251"/>
              <a:gd name="connsiteX3700" fmla="*/ 2500223 w 8079933"/>
              <a:gd name="connsiteY3700" fmla="*/ 3520635 h 4687251"/>
              <a:gd name="connsiteX3701" fmla="*/ 2532995 w 8079933"/>
              <a:gd name="connsiteY3701" fmla="*/ 3511540 h 4687251"/>
              <a:gd name="connsiteX3702" fmla="*/ 2560233 w 8079933"/>
              <a:gd name="connsiteY3702" fmla="*/ 3511973 h 4687251"/>
              <a:gd name="connsiteX3703" fmla="*/ 2576077 w 8079933"/>
              <a:gd name="connsiteY3703" fmla="*/ 3523558 h 4687251"/>
              <a:gd name="connsiteX3704" fmla="*/ 2579875 w 8079933"/>
              <a:gd name="connsiteY3704" fmla="*/ 3524316 h 4687251"/>
              <a:gd name="connsiteX3705" fmla="*/ 2584758 w 8079933"/>
              <a:gd name="connsiteY3705" fmla="*/ 3529837 h 4687251"/>
              <a:gd name="connsiteX3706" fmla="*/ 2583347 w 8079933"/>
              <a:gd name="connsiteY3706" fmla="*/ 3535035 h 4687251"/>
              <a:gd name="connsiteX3707" fmla="*/ 2589207 w 8079933"/>
              <a:gd name="connsiteY3707" fmla="*/ 3539474 h 4687251"/>
              <a:gd name="connsiteX3708" fmla="*/ 2589532 w 8079933"/>
              <a:gd name="connsiteY3708" fmla="*/ 3546727 h 4687251"/>
              <a:gd name="connsiteX3709" fmla="*/ 2594416 w 8079933"/>
              <a:gd name="connsiteY3709" fmla="*/ 3553874 h 4687251"/>
              <a:gd name="connsiteX3710" fmla="*/ 2591920 w 8079933"/>
              <a:gd name="connsiteY3710" fmla="*/ 3568382 h 4687251"/>
              <a:gd name="connsiteX3711" fmla="*/ 2593330 w 8079933"/>
              <a:gd name="connsiteY3711" fmla="*/ 3574228 h 4687251"/>
              <a:gd name="connsiteX3712" fmla="*/ 2591594 w 8079933"/>
              <a:gd name="connsiteY3712" fmla="*/ 3579426 h 4687251"/>
              <a:gd name="connsiteX3713" fmla="*/ 2593330 w 8079933"/>
              <a:gd name="connsiteY3713" fmla="*/ 3584622 h 4687251"/>
              <a:gd name="connsiteX3714" fmla="*/ 2602338 w 8079933"/>
              <a:gd name="connsiteY3714" fmla="*/ 3583865 h 4687251"/>
              <a:gd name="connsiteX3715" fmla="*/ 2606136 w 8079933"/>
              <a:gd name="connsiteY3715" fmla="*/ 3585597 h 4687251"/>
              <a:gd name="connsiteX3716" fmla="*/ 2617205 w 8079933"/>
              <a:gd name="connsiteY3716" fmla="*/ 3584947 h 4687251"/>
              <a:gd name="connsiteX3717" fmla="*/ 2624041 w 8079933"/>
              <a:gd name="connsiteY3717" fmla="*/ 3587329 h 4687251"/>
              <a:gd name="connsiteX3718" fmla="*/ 2635110 w 8079933"/>
              <a:gd name="connsiteY3718" fmla="*/ 3582890 h 4687251"/>
              <a:gd name="connsiteX3719" fmla="*/ 2640969 w 8079933"/>
              <a:gd name="connsiteY3719" fmla="*/ 3587004 h 4687251"/>
              <a:gd name="connsiteX3720" fmla="*/ 2645419 w 8079933"/>
              <a:gd name="connsiteY3720" fmla="*/ 3588304 h 4687251"/>
              <a:gd name="connsiteX3721" fmla="*/ 2647155 w 8079933"/>
              <a:gd name="connsiteY3721" fmla="*/ 3593826 h 4687251"/>
              <a:gd name="connsiteX3722" fmla="*/ 2653232 w 8079933"/>
              <a:gd name="connsiteY3722" fmla="*/ 3619810 h 4687251"/>
              <a:gd name="connsiteX3723" fmla="*/ 2657356 w 8079933"/>
              <a:gd name="connsiteY3723" fmla="*/ 3628905 h 4687251"/>
              <a:gd name="connsiteX3724" fmla="*/ 2661696 w 8079933"/>
              <a:gd name="connsiteY3724" fmla="*/ 3630096 h 4687251"/>
              <a:gd name="connsiteX3725" fmla="*/ 2671137 w 8079933"/>
              <a:gd name="connsiteY3725" fmla="*/ 3624899 h 4687251"/>
              <a:gd name="connsiteX3726" fmla="*/ 2676455 w 8079933"/>
              <a:gd name="connsiteY3726" fmla="*/ 3626956 h 4687251"/>
              <a:gd name="connsiteX3727" fmla="*/ 2680144 w 8079933"/>
              <a:gd name="connsiteY3727" fmla="*/ 3630312 h 4687251"/>
              <a:gd name="connsiteX3728" fmla="*/ 2683345 w 8079933"/>
              <a:gd name="connsiteY3728" fmla="*/ 3630931 h 4687251"/>
              <a:gd name="connsiteX3729" fmla="*/ 2683833 w 8079933"/>
              <a:gd name="connsiteY3729" fmla="*/ 3630095 h 4687251"/>
              <a:gd name="connsiteX3730" fmla="*/ 2680361 w 8079933"/>
              <a:gd name="connsiteY3730" fmla="*/ 3629446 h 4687251"/>
              <a:gd name="connsiteX3731" fmla="*/ 2676779 w 8079933"/>
              <a:gd name="connsiteY3731" fmla="*/ 3626198 h 4687251"/>
              <a:gd name="connsiteX3732" fmla="*/ 2671462 w 8079933"/>
              <a:gd name="connsiteY3732" fmla="*/ 3624141 h 4687251"/>
              <a:gd name="connsiteX3733" fmla="*/ 2662021 w 8079933"/>
              <a:gd name="connsiteY3733" fmla="*/ 3629337 h 4687251"/>
              <a:gd name="connsiteX3734" fmla="*/ 2657681 w 8079933"/>
              <a:gd name="connsiteY3734" fmla="*/ 3628147 h 4687251"/>
              <a:gd name="connsiteX3735" fmla="*/ 2653557 w 8079933"/>
              <a:gd name="connsiteY3735" fmla="*/ 3619052 h 4687251"/>
              <a:gd name="connsiteX3736" fmla="*/ 2647480 w 8079933"/>
              <a:gd name="connsiteY3736" fmla="*/ 3593067 h 4687251"/>
              <a:gd name="connsiteX3737" fmla="*/ 2645744 w 8079933"/>
              <a:gd name="connsiteY3737" fmla="*/ 3587545 h 4687251"/>
              <a:gd name="connsiteX3738" fmla="*/ 2641295 w 8079933"/>
              <a:gd name="connsiteY3738" fmla="*/ 3586138 h 4687251"/>
              <a:gd name="connsiteX3739" fmla="*/ 2635435 w 8079933"/>
              <a:gd name="connsiteY3739" fmla="*/ 3582023 h 4687251"/>
              <a:gd name="connsiteX3740" fmla="*/ 2624583 w 8079933"/>
              <a:gd name="connsiteY3740" fmla="*/ 3586462 h 4687251"/>
              <a:gd name="connsiteX3741" fmla="*/ 2617638 w 8079933"/>
              <a:gd name="connsiteY3741" fmla="*/ 3584080 h 4687251"/>
              <a:gd name="connsiteX3742" fmla="*/ 2606786 w 8079933"/>
              <a:gd name="connsiteY3742" fmla="*/ 3584731 h 4687251"/>
              <a:gd name="connsiteX3743" fmla="*/ 2602988 w 8079933"/>
              <a:gd name="connsiteY3743" fmla="*/ 3582998 h 4687251"/>
              <a:gd name="connsiteX3744" fmla="*/ 2593981 w 8079933"/>
              <a:gd name="connsiteY3744" fmla="*/ 3583648 h 4687251"/>
              <a:gd name="connsiteX3745" fmla="*/ 2592245 w 8079933"/>
              <a:gd name="connsiteY3745" fmla="*/ 3578450 h 4687251"/>
              <a:gd name="connsiteX3746" fmla="*/ 2593981 w 8079933"/>
              <a:gd name="connsiteY3746" fmla="*/ 3573253 h 4687251"/>
              <a:gd name="connsiteX3747" fmla="*/ 2592571 w 8079933"/>
              <a:gd name="connsiteY3747" fmla="*/ 3567407 h 4687251"/>
              <a:gd name="connsiteX3748" fmla="*/ 2594958 w 8079933"/>
              <a:gd name="connsiteY3748" fmla="*/ 3552899 h 4687251"/>
              <a:gd name="connsiteX3749" fmla="*/ 2590075 w 8079933"/>
              <a:gd name="connsiteY3749" fmla="*/ 3545753 h 4687251"/>
              <a:gd name="connsiteX3750" fmla="*/ 2590075 w 8079933"/>
              <a:gd name="connsiteY3750" fmla="*/ 3538498 h 4687251"/>
              <a:gd name="connsiteX3751" fmla="*/ 2584215 w 8079933"/>
              <a:gd name="connsiteY3751" fmla="*/ 3534059 h 4687251"/>
              <a:gd name="connsiteX3752" fmla="*/ 2585626 w 8079933"/>
              <a:gd name="connsiteY3752" fmla="*/ 3528863 h 4687251"/>
              <a:gd name="connsiteX3753" fmla="*/ 2583456 w 8079933"/>
              <a:gd name="connsiteY3753" fmla="*/ 3526372 h 4687251"/>
              <a:gd name="connsiteX3754" fmla="*/ 2586711 w 8079933"/>
              <a:gd name="connsiteY3754" fmla="*/ 3521933 h 4687251"/>
              <a:gd name="connsiteX3755" fmla="*/ 2586059 w 8079933"/>
              <a:gd name="connsiteY3755" fmla="*/ 3518469 h 4687251"/>
              <a:gd name="connsiteX3756" fmla="*/ 2597780 w 8079933"/>
              <a:gd name="connsiteY3756" fmla="*/ 3494974 h 4687251"/>
              <a:gd name="connsiteX3757" fmla="*/ 2597128 w 8079933"/>
              <a:gd name="connsiteY3757" fmla="*/ 3483280 h 4687251"/>
              <a:gd name="connsiteX3758" fmla="*/ 2584649 w 8079933"/>
              <a:gd name="connsiteY3758" fmla="*/ 3461627 h 4687251"/>
              <a:gd name="connsiteX3759" fmla="*/ 2572278 w 8079933"/>
              <a:gd name="connsiteY3759" fmla="*/ 3458919 h 4687251"/>
              <a:gd name="connsiteX3760" fmla="*/ 2572929 w 8079933"/>
              <a:gd name="connsiteY3760" fmla="*/ 3449284 h 4687251"/>
              <a:gd name="connsiteX3761" fmla="*/ 2570867 w 8079933"/>
              <a:gd name="connsiteY3761" fmla="*/ 3434125 h 4687251"/>
              <a:gd name="connsiteX3762" fmla="*/ 2528763 w 8079933"/>
              <a:gd name="connsiteY3762" fmla="*/ 3433476 h 4687251"/>
              <a:gd name="connsiteX3763" fmla="*/ 2529414 w 8079933"/>
              <a:gd name="connsiteY3763" fmla="*/ 3422649 h 4687251"/>
              <a:gd name="connsiteX3764" fmla="*/ 2520407 w 8079933"/>
              <a:gd name="connsiteY3764" fmla="*/ 3407491 h 4687251"/>
              <a:gd name="connsiteX3765" fmla="*/ 2523120 w 8079933"/>
              <a:gd name="connsiteY3765" fmla="*/ 3401970 h 4687251"/>
              <a:gd name="connsiteX3766" fmla="*/ 2521058 w 8079933"/>
              <a:gd name="connsiteY3766" fmla="*/ 3392983 h 4687251"/>
              <a:gd name="connsiteX3767" fmla="*/ 2522469 w 8079933"/>
              <a:gd name="connsiteY3767" fmla="*/ 3382156 h 4687251"/>
              <a:gd name="connsiteX3768" fmla="*/ 2520407 w 8079933"/>
              <a:gd name="connsiteY3768" fmla="*/ 3378042 h 4687251"/>
              <a:gd name="connsiteX3769" fmla="*/ 2510749 w 8079933"/>
              <a:gd name="connsiteY3769" fmla="*/ 3372520 h 4687251"/>
              <a:gd name="connsiteX3770" fmla="*/ 2496968 w 8079933"/>
              <a:gd name="connsiteY3770" fmla="*/ 3373927 h 4687251"/>
              <a:gd name="connsiteX3771" fmla="*/ 2490782 w 8079933"/>
              <a:gd name="connsiteY3771" fmla="*/ 3370463 h 4687251"/>
              <a:gd name="connsiteX3772" fmla="*/ 2485899 w 8079933"/>
              <a:gd name="connsiteY3772" fmla="*/ 3369055 h 4687251"/>
              <a:gd name="connsiteX3773" fmla="*/ 2484488 w 8079933"/>
              <a:gd name="connsiteY3773" fmla="*/ 3362126 h 4687251"/>
              <a:gd name="connsiteX3774" fmla="*/ 2477977 w 8079933"/>
              <a:gd name="connsiteY3774" fmla="*/ 3359744 h 4687251"/>
              <a:gd name="connsiteX3775" fmla="*/ 2467126 w 8079933"/>
              <a:gd name="connsiteY3775" fmla="*/ 3356279 h 4687251"/>
              <a:gd name="connsiteX3776" fmla="*/ 2463328 w 8079933"/>
              <a:gd name="connsiteY3776" fmla="*/ 3356279 h 4687251"/>
              <a:gd name="connsiteX3777" fmla="*/ 2454755 w 8079933"/>
              <a:gd name="connsiteY3777" fmla="*/ 3346968 h 4687251"/>
              <a:gd name="connsiteX3778" fmla="*/ 2448569 w 8079933"/>
              <a:gd name="connsiteY3778" fmla="*/ 3348700 h 4687251"/>
              <a:gd name="connsiteX3779" fmla="*/ 2440322 w 8079933"/>
              <a:gd name="connsiteY3779" fmla="*/ 3340471 h 4687251"/>
              <a:gd name="connsiteX3780" fmla="*/ 2430339 w 8079933"/>
              <a:gd name="connsiteY3780" fmla="*/ 3342853 h 4687251"/>
              <a:gd name="connsiteX3781" fmla="*/ 2428276 w 8079933"/>
              <a:gd name="connsiteY3781" fmla="*/ 3345235 h 4687251"/>
              <a:gd name="connsiteX3782" fmla="*/ 2423068 w 8079933"/>
              <a:gd name="connsiteY3782" fmla="*/ 3340471 h 4687251"/>
              <a:gd name="connsiteX3783" fmla="*/ 2415472 w 8079933"/>
              <a:gd name="connsiteY3783" fmla="*/ 3335600 h 4687251"/>
              <a:gd name="connsiteX3784" fmla="*/ 2409937 w 8079933"/>
              <a:gd name="connsiteY3784" fmla="*/ 3332893 h 4687251"/>
              <a:gd name="connsiteX3785" fmla="*/ 2408201 w 8079933"/>
              <a:gd name="connsiteY3785" fmla="*/ 3325639 h 4687251"/>
              <a:gd name="connsiteX3786" fmla="*/ 2402666 w 8079933"/>
              <a:gd name="connsiteY3786" fmla="*/ 3323257 h 4687251"/>
              <a:gd name="connsiteX3787" fmla="*/ 2398543 w 8079933"/>
              <a:gd name="connsiteY3787" fmla="*/ 3314270 h 4687251"/>
              <a:gd name="connsiteX3788" fmla="*/ 2400605 w 8079933"/>
              <a:gd name="connsiteY3788" fmla="*/ 3309506 h 4687251"/>
              <a:gd name="connsiteX3789" fmla="*/ 2397458 w 8079933"/>
              <a:gd name="connsiteY3789" fmla="*/ 3298679 h 4687251"/>
              <a:gd name="connsiteX3790" fmla="*/ 6896342 w 8079933"/>
              <a:gd name="connsiteY3790" fmla="*/ 3295324 h 4687251"/>
              <a:gd name="connsiteX3791" fmla="*/ 6898186 w 8079933"/>
              <a:gd name="connsiteY3791" fmla="*/ 3295324 h 4687251"/>
              <a:gd name="connsiteX3792" fmla="*/ 6896342 w 8079933"/>
              <a:gd name="connsiteY3792" fmla="*/ 3300196 h 4687251"/>
              <a:gd name="connsiteX3793" fmla="*/ 6893846 w 8079933"/>
              <a:gd name="connsiteY3793" fmla="*/ 3299222 h 4687251"/>
              <a:gd name="connsiteX3794" fmla="*/ 7352763 w 8079933"/>
              <a:gd name="connsiteY3794" fmla="*/ 3294024 h 4687251"/>
              <a:gd name="connsiteX3795" fmla="*/ 7356018 w 8079933"/>
              <a:gd name="connsiteY3795" fmla="*/ 3294457 h 4687251"/>
              <a:gd name="connsiteX3796" fmla="*/ 7354065 w 8079933"/>
              <a:gd name="connsiteY3796" fmla="*/ 3297056 h 4687251"/>
              <a:gd name="connsiteX3797" fmla="*/ 4467196 w 8079933"/>
              <a:gd name="connsiteY3797" fmla="*/ 3292833 h 4687251"/>
              <a:gd name="connsiteX3798" fmla="*/ 4467196 w 8079933"/>
              <a:gd name="connsiteY3798" fmla="*/ 3292834 h 4687251"/>
              <a:gd name="connsiteX3799" fmla="*/ 4470017 w 8079933"/>
              <a:gd name="connsiteY3799" fmla="*/ 3294998 h 4687251"/>
              <a:gd name="connsiteX3800" fmla="*/ 4470017 w 8079933"/>
              <a:gd name="connsiteY3800" fmla="*/ 3294997 h 4687251"/>
              <a:gd name="connsiteX3801" fmla="*/ 4624356 w 8079933"/>
              <a:gd name="connsiteY3801" fmla="*/ 3287585 h 4687251"/>
              <a:gd name="connsiteX3802" fmla="*/ 4624001 w 8079933"/>
              <a:gd name="connsiteY3802" fmla="*/ 3289909 h 4687251"/>
              <a:gd name="connsiteX3803" fmla="*/ 4623141 w 8079933"/>
              <a:gd name="connsiteY3803" fmla="*/ 3290364 h 4687251"/>
              <a:gd name="connsiteX3804" fmla="*/ 4624001 w 8079933"/>
              <a:gd name="connsiteY3804" fmla="*/ 3289909 h 4687251"/>
              <a:gd name="connsiteX3805" fmla="*/ 4624721 w 8079933"/>
              <a:gd name="connsiteY3805" fmla="*/ 3284652 h 4687251"/>
              <a:gd name="connsiteX3806" fmla="*/ 4624761 w 8079933"/>
              <a:gd name="connsiteY3806" fmla="*/ 3284929 h 4687251"/>
              <a:gd name="connsiteX3807" fmla="*/ 4624761 w 8079933"/>
              <a:gd name="connsiteY3807" fmla="*/ 3284928 h 4687251"/>
              <a:gd name="connsiteX3808" fmla="*/ 7560029 w 8079933"/>
              <a:gd name="connsiteY3808" fmla="*/ 3284063 h 4687251"/>
              <a:gd name="connsiteX3809" fmla="*/ 7563176 w 8079933"/>
              <a:gd name="connsiteY3809" fmla="*/ 3284604 h 4687251"/>
              <a:gd name="connsiteX3810" fmla="*/ 7565238 w 8079933"/>
              <a:gd name="connsiteY3810" fmla="*/ 3286661 h 4687251"/>
              <a:gd name="connsiteX3811" fmla="*/ 7565564 w 8079933"/>
              <a:gd name="connsiteY3811" fmla="*/ 3287852 h 4687251"/>
              <a:gd name="connsiteX3812" fmla="*/ 7567300 w 8079933"/>
              <a:gd name="connsiteY3812" fmla="*/ 3288393 h 4687251"/>
              <a:gd name="connsiteX3813" fmla="*/ 7567951 w 8079933"/>
              <a:gd name="connsiteY3813" fmla="*/ 3289909 h 4687251"/>
              <a:gd name="connsiteX3814" fmla="*/ 7570989 w 8079933"/>
              <a:gd name="connsiteY3814" fmla="*/ 3287527 h 4687251"/>
              <a:gd name="connsiteX3815" fmla="*/ 7573159 w 8079933"/>
              <a:gd name="connsiteY3815" fmla="*/ 3287419 h 4687251"/>
              <a:gd name="connsiteX3816" fmla="*/ 7573485 w 8079933"/>
              <a:gd name="connsiteY3816" fmla="*/ 3289801 h 4687251"/>
              <a:gd name="connsiteX3817" fmla="*/ 7571314 w 8079933"/>
              <a:gd name="connsiteY3817" fmla="*/ 3291425 h 4687251"/>
              <a:gd name="connsiteX3818" fmla="*/ 7570772 w 8079933"/>
              <a:gd name="connsiteY3818" fmla="*/ 3293373 h 4687251"/>
              <a:gd name="connsiteX3819" fmla="*/ 7568167 w 8079933"/>
              <a:gd name="connsiteY3819" fmla="*/ 3294240 h 4687251"/>
              <a:gd name="connsiteX3820" fmla="*/ 7564912 w 8079933"/>
              <a:gd name="connsiteY3820" fmla="*/ 3293373 h 4687251"/>
              <a:gd name="connsiteX3821" fmla="*/ 7565129 w 8079933"/>
              <a:gd name="connsiteY3821" fmla="*/ 3290450 h 4687251"/>
              <a:gd name="connsiteX3822" fmla="*/ 7563936 w 8079933"/>
              <a:gd name="connsiteY3822" fmla="*/ 3289909 h 4687251"/>
              <a:gd name="connsiteX3823" fmla="*/ 7561982 w 8079933"/>
              <a:gd name="connsiteY3823" fmla="*/ 3285903 h 4687251"/>
              <a:gd name="connsiteX3824" fmla="*/ 7560246 w 8079933"/>
              <a:gd name="connsiteY3824" fmla="*/ 3285146 h 4687251"/>
              <a:gd name="connsiteX3825" fmla="*/ 4464483 w 8079933"/>
              <a:gd name="connsiteY3825" fmla="*/ 3280924 h 4687251"/>
              <a:gd name="connsiteX3826" fmla="*/ 4467521 w 8079933"/>
              <a:gd name="connsiteY3826" fmla="*/ 3283846 h 4687251"/>
              <a:gd name="connsiteX3827" fmla="*/ 4467521 w 8079933"/>
              <a:gd name="connsiteY3827" fmla="*/ 3283846 h 4687251"/>
              <a:gd name="connsiteX3828" fmla="*/ 7556665 w 8079933"/>
              <a:gd name="connsiteY3828" fmla="*/ 3275834 h 4687251"/>
              <a:gd name="connsiteX3829" fmla="*/ 7559378 w 8079933"/>
              <a:gd name="connsiteY3829" fmla="*/ 3276375 h 4687251"/>
              <a:gd name="connsiteX3830" fmla="*/ 7561224 w 8079933"/>
              <a:gd name="connsiteY3830" fmla="*/ 3276375 h 4687251"/>
              <a:gd name="connsiteX3831" fmla="*/ 7562091 w 8079933"/>
              <a:gd name="connsiteY3831" fmla="*/ 3278324 h 4687251"/>
              <a:gd name="connsiteX3832" fmla="*/ 7561440 w 8079933"/>
              <a:gd name="connsiteY3832" fmla="*/ 3279190 h 4687251"/>
              <a:gd name="connsiteX3833" fmla="*/ 7562959 w 8079933"/>
              <a:gd name="connsiteY3833" fmla="*/ 3279190 h 4687251"/>
              <a:gd name="connsiteX3834" fmla="*/ 7564261 w 8079933"/>
              <a:gd name="connsiteY3834" fmla="*/ 3281247 h 4687251"/>
              <a:gd name="connsiteX3835" fmla="*/ 7563068 w 8079933"/>
              <a:gd name="connsiteY3835" fmla="*/ 3282871 h 4687251"/>
              <a:gd name="connsiteX3836" fmla="*/ 7562091 w 8079933"/>
              <a:gd name="connsiteY3836" fmla="*/ 3281464 h 4687251"/>
              <a:gd name="connsiteX3837" fmla="*/ 7558835 w 8079933"/>
              <a:gd name="connsiteY3837" fmla="*/ 3281788 h 4687251"/>
              <a:gd name="connsiteX3838" fmla="*/ 7556557 w 8079933"/>
              <a:gd name="connsiteY3838" fmla="*/ 3280597 h 4687251"/>
              <a:gd name="connsiteX3839" fmla="*/ 7555689 w 8079933"/>
              <a:gd name="connsiteY3839" fmla="*/ 3276483 h 4687251"/>
              <a:gd name="connsiteX3840" fmla="*/ 4737402 w 8079933"/>
              <a:gd name="connsiteY3840" fmla="*/ 3273560 h 4687251"/>
              <a:gd name="connsiteX3841" fmla="*/ 4737185 w 8079933"/>
              <a:gd name="connsiteY3841" fmla="*/ 3275293 h 4687251"/>
              <a:gd name="connsiteX3842" fmla="*/ 4734472 w 8079933"/>
              <a:gd name="connsiteY3842" fmla="*/ 3281356 h 4687251"/>
              <a:gd name="connsiteX3843" fmla="*/ 4735014 w 8079933"/>
              <a:gd name="connsiteY3843" fmla="*/ 3283630 h 4687251"/>
              <a:gd name="connsiteX3844" fmla="*/ 4739138 w 8079933"/>
              <a:gd name="connsiteY3844" fmla="*/ 3286553 h 4687251"/>
              <a:gd name="connsiteX3845" fmla="*/ 4740440 w 8079933"/>
              <a:gd name="connsiteY3845" fmla="*/ 3290126 h 4687251"/>
              <a:gd name="connsiteX3846" fmla="*/ 4740765 w 8079933"/>
              <a:gd name="connsiteY3846" fmla="*/ 3295106 h 4687251"/>
              <a:gd name="connsiteX3847" fmla="*/ 4739572 w 8079933"/>
              <a:gd name="connsiteY3847" fmla="*/ 3296730 h 4687251"/>
              <a:gd name="connsiteX3848" fmla="*/ 4739572 w 8079933"/>
              <a:gd name="connsiteY3848" fmla="*/ 3298138 h 4687251"/>
              <a:gd name="connsiteX3849" fmla="*/ 4734146 w 8079933"/>
              <a:gd name="connsiteY3849" fmla="*/ 3303660 h 4687251"/>
              <a:gd name="connsiteX3850" fmla="*/ 4733387 w 8079933"/>
              <a:gd name="connsiteY3850" fmla="*/ 3307665 h 4687251"/>
              <a:gd name="connsiteX3851" fmla="*/ 4734905 w 8079933"/>
              <a:gd name="connsiteY3851" fmla="*/ 3311780 h 4687251"/>
              <a:gd name="connsiteX3852" fmla="*/ 4735340 w 8079933"/>
              <a:gd name="connsiteY3852" fmla="*/ 3315352 h 4687251"/>
              <a:gd name="connsiteX3853" fmla="*/ 4736208 w 8079933"/>
              <a:gd name="connsiteY3853" fmla="*/ 3318276 h 4687251"/>
              <a:gd name="connsiteX3854" fmla="*/ 4734363 w 8079933"/>
              <a:gd name="connsiteY3854" fmla="*/ 3321307 h 4687251"/>
              <a:gd name="connsiteX3855" fmla="*/ 4736534 w 8079933"/>
              <a:gd name="connsiteY3855" fmla="*/ 3325097 h 4687251"/>
              <a:gd name="connsiteX3856" fmla="*/ 4735557 w 8079933"/>
              <a:gd name="connsiteY3856" fmla="*/ 3327587 h 4687251"/>
              <a:gd name="connsiteX3857" fmla="*/ 4734363 w 8079933"/>
              <a:gd name="connsiteY3857" fmla="*/ 3328670 h 4687251"/>
              <a:gd name="connsiteX3858" fmla="*/ 4735340 w 8079933"/>
              <a:gd name="connsiteY3858" fmla="*/ 3331810 h 4687251"/>
              <a:gd name="connsiteX3859" fmla="*/ 4735774 w 8079933"/>
              <a:gd name="connsiteY3859" fmla="*/ 3334084 h 4687251"/>
              <a:gd name="connsiteX3860" fmla="*/ 4738270 w 8079933"/>
              <a:gd name="connsiteY3860" fmla="*/ 3335707 h 4687251"/>
              <a:gd name="connsiteX3861" fmla="*/ 4738703 w 8079933"/>
              <a:gd name="connsiteY3861" fmla="*/ 3337440 h 4687251"/>
              <a:gd name="connsiteX3862" fmla="*/ 4736425 w 8079933"/>
              <a:gd name="connsiteY3862" fmla="*/ 3338089 h 4687251"/>
              <a:gd name="connsiteX3863" fmla="*/ 4735123 w 8079933"/>
              <a:gd name="connsiteY3863" fmla="*/ 3340471 h 4687251"/>
              <a:gd name="connsiteX3864" fmla="*/ 4731759 w 8079933"/>
              <a:gd name="connsiteY3864" fmla="*/ 3342095 h 4687251"/>
              <a:gd name="connsiteX3865" fmla="*/ 4726441 w 8079933"/>
              <a:gd name="connsiteY3865" fmla="*/ 3345993 h 4687251"/>
              <a:gd name="connsiteX3866" fmla="*/ 4725464 w 8079933"/>
              <a:gd name="connsiteY3866" fmla="*/ 3347833 h 4687251"/>
              <a:gd name="connsiteX3867" fmla="*/ 4725682 w 8079933"/>
              <a:gd name="connsiteY3867" fmla="*/ 3351190 h 4687251"/>
              <a:gd name="connsiteX3868" fmla="*/ 4726333 w 8079933"/>
              <a:gd name="connsiteY3868" fmla="*/ 3353139 h 4687251"/>
              <a:gd name="connsiteX3869" fmla="*/ 4725573 w 8079933"/>
              <a:gd name="connsiteY3869" fmla="*/ 3355737 h 4687251"/>
              <a:gd name="connsiteX3870" fmla="*/ 4725573 w 8079933"/>
              <a:gd name="connsiteY3870" fmla="*/ 3359094 h 4687251"/>
              <a:gd name="connsiteX3871" fmla="*/ 4721883 w 8079933"/>
              <a:gd name="connsiteY3871" fmla="*/ 3363316 h 4687251"/>
              <a:gd name="connsiteX3872" fmla="*/ 4719388 w 8079933"/>
              <a:gd name="connsiteY3872" fmla="*/ 3364616 h 4687251"/>
              <a:gd name="connsiteX3873" fmla="*/ 4720147 w 8079933"/>
              <a:gd name="connsiteY3873" fmla="*/ 3366780 h 4687251"/>
              <a:gd name="connsiteX3874" fmla="*/ 4723511 w 8079933"/>
              <a:gd name="connsiteY3874" fmla="*/ 3370895 h 4687251"/>
              <a:gd name="connsiteX3875" fmla="*/ 4725573 w 8079933"/>
              <a:gd name="connsiteY3875" fmla="*/ 3375443 h 4687251"/>
              <a:gd name="connsiteX3876" fmla="*/ 4726008 w 8079933"/>
              <a:gd name="connsiteY3876" fmla="*/ 3377716 h 4687251"/>
              <a:gd name="connsiteX3877" fmla="*/ 4725790 w 8079933"/>
              <a:gd name="connsiteY3877" fmla="*/ 3377716 h 4687251"/>
              <a:gd name="connsiteX3878" fmla="*/ 4718737 w 8079933"/>
              <a:gd name="connsiteY3878" fmla="*/ 3380098 h 4687251"/>
              <a:gd name="connsiteX3879" fmla="*/ 4704521 w 8079933"/>
              <a:gd name="connsiteY3879" fmla="*/ 3385836 h 4687251"/>
              <a:gd name="connsiteX3880" fmla="*/ 4700180 w 8079933"/>
              <a:gd name="connsiteY3880" fmla="*/ 3386702 h 4687251"/>
              <a:gd name="connsiteX3881" fmla="*/ 4675872 w 8079933"/>
              <a:gd name="connsiteY3881" fmla="*/ 3396772 h 4687251"/>
              <a:gd name="connsiteX3882" fmla="*/ 4670881 w 8079933"/>
              <a:gd name="connsiteY3882" fmla="*/ 3396772 h 4687251"/>
              <a:gd name="connsiteX3883" fmla="*/ 4661548 w 8079933"/>
              <a:gd name="connsiteY3883" fmla="*/ 3401644 h 4687251"/>
              <a:gd name="connsiteX3884" fmla="*/ 4659487 w 8079933"/>
              <a:gd name="connsiteY3884" fmla="*/ 3405217 h 4687251"/>
              <a:gd name="connsiteX3885" fmla="*/ 4659487 w 8079933"/>
              <a:gd name="connsiteY3885" fmla="*/ 3405218 h 4687251"/>
              <a:gd name="connsiteX3886" fmla="*/ 4661549 w 8079933"/>
              <a:gd name="connsiteY3886" fmla="*/ 3401645 h 4687251"/>
              <a:gd name="connsiteX3887" fmla="*/ 4670881 w 8079933"/>
              <a:gd name="connsiteY3887" fmla="*/ 3396773 h 4687251"/>
              <a:gd name="connsiteX3888" fmla="*/ 4675873 w 8079933"/>
              <a:gd name="connsiteY3888" fmla="*/ 3396773 h 4687251"/>
              <a:gd name="connsiteX3889" fmla="*/ 4700180 w 8079933"/>
              <a:gd name="connsiteY3889" fmla="*/ 3386703 h 4687251"/>
              <a:gd name="connsiteX3890" fmla="*/ 4704521 w 8079933"/>
              <a:gd name="connsiteY3890" fmla="*/ 3385837 h 4687251"/>
              <a:gd name="connsiteX3891" fmla="*/ 4718737 w 8079933"/>
              <a:gd name="connsiteY3891" fmla="*/ 3380099 h 4687251"/>
              <a:gd name="connsiteX3892" fmla="*/ 4725790 w 8079933"/>
              <a:gd name="connsiteY3892" fmla="*/ 3377717 h 4687251"/>
              <a:gd name="connsiteX3893" fmla="*/ 4726008 w 8079933"/>
              <a:gd name="connsiteY3893" fmla="*/ 3377717 h 4687251"/>
              <a:gd name="connsiteX3894" fmla="*/ 4732410 w 8079933"/>
              <a:gd name="connsiteY3894" fmla="*/ 3376201 h 4687251"/>
              <a:gd name="connsiteX3895" fmla="*/ 4733929 w 8079933"/>
              <a:gd name="connsiteY3895" fmla="*/ 3378691 h 4687251"/>
              <a:gd name="connsiteX3896" fmla="*/ 4734797 w 8079933"/>
              <a:gd name="connsiteY3896" fmla="*/ 3380965 h 4687251"/>
              <a:gd name="connsiteX3897" fmla="*/ 4736859 w 8079933"/>
              <a:gd name="connsiteY3897" fmla="*/ 3383456 h 4687251"/>
              <a:gd name="connsiteX3898" fmla="*/ 4737185 w 8079933"/>
              <a:gd name="connsiteY3898" fmla="*/ 3386270 h 4687251"/>
              <a:gd name="connsiteX3899" fmla="*/ 4741200 w 8079933"/>
              <a:gd name="connsiteY3899" fmla="*/ 3388760 h 4687251"/>
              <a:gd name="connsiteX3900" fmla="*/ 4741200 w 8079933"/>
              <a:gd name="connsiteY3900" fmla="*/ 3388760 h 4687251"/>
              <a:gd name="connsiteX3901" fmla="*/ 4737186 w 8079933"/>
              <a:gd name="connsiteY3901" fmla="*/ 3386270 h 4687251"/>
              <a:gd name="connsiteX3902" fmla="*/ 4736860 w 8079933"/>
              <a:gd name="connsiteY3902" fmla="*/ 3383455 h 4687251"/>
              <a:gd name="connsiteX3903" fmla="*/ 4734798 w 8079933"/>
              <a:gd name="connsiteY3903" fmla="*/ 3380965 h 4687251"/>
              <a:gd name="connsiteX3904" fmla="*/ 4733930 w 8079933"/>
              <a:gd name="connsiteY3904" fmla="*/ 3378692 h 4687251"/>
              <a:gd name="connsiteX3905" fmla="*/ 4732411 w 8079933"/>
              <a:gd name="connsiteY3905" fmla="*/ 3376201 h 4687251"/>
              <a:gd name="connsiteX3906" fmla="*/ 4726009 w 8079933"/>
              <a:gd name="connsiteY3906" fmla="*/ 3377717 h 4687251"/>
              <a:gd name="connsiteX3907" fmla="*/ 4725574 w 8079933"/>
              <a:gd name="connsiteY3907" fmla="*/ 3375443 h 4687251"/>
              <a:gd name="connsiteX3908" fmla="*/ 4723512 w 8079933"/>
              <a:gd name="connsiteY3908" fmla="*/ 3370896 h 4687251"/>
              <a:gd name="connsiteX3909" fmla="*/ 4720149 w 8079933"/>
              <a:gd name="connsiteY3909" fmla="*/ 3366782 h 4687251"/>
              <a:gd name="connsiteX3910" fmla="*/ 4719389 w 8079933"/>
              <a:gd name="connsiteY3910" fmla="*/ 3364616 h 4687251"/>
              <a:gd name="connsiteX3911" fmla="*/ 4721884 w 8079933"/>
              <a:gd name="connsiteY3911" fmla="*/ 3363317 h 4687251"/>
              <a:gd name="connsiteX3912" fmla="*/ 4725574 w 8079933"/>
              <a:gd name="connsiteY3912" fmla="*/ 3359094 h 4687251"/>
              <a:gd name="connsiteX3913" fmla="*/ 4725574 w 8079933"/>
              <a:gd name="connsiteY3913" fmla="*/ 3355738 h 4687251"/>
              <a:gd name="connsiteX3914" fmla="*/ 4726334 w 8079933"/>
              <a:gd name="connsiteY3914" fmla="*/ 3353139 h 4687251"/>
              <a:gd name="connsiteX3915" fmla="*/ 4725683 w 8079933"/>
              <a:gd name="connsiteY3915" fmla="*/ 3351191 h 4687251"/>
              <a:gd name="connsiteX3916" fmla="*/ 4725465 w 8079933"/>
              <a:gd name="connsiteY3916" fmla="*/ 3347834 h 4687251"/>
              <a:gd name="connsiteX3917" fmla="*/ 4726442 w 8079933"/>
              <a:gd name="connsiteY3917" fmla="*/ 3345994 h 4687251"/>
              <a:gd name="connsiteX3918" fmla="*/ 4731760 w 8079933"/>
              <a:gd name="connsiteY3918" fmla="*/ 3342095 h 4687251"/>
              <a:gd name="connsiteX3919" fmla="*/ 4735124 w 8079933"/>
              <a:gd name="connsiteY3919" fmla="*/ 3340472 h 4687251"/>
              <a:gd name="connsiteX3920" fmla="*/ 4736426 w 8079933"/>
              <a:gd name="connsiteY3920" fmla="*/ 3338090 h 4687251"/>
              <a:gd name="connsiteX3921" fmla="*/ 4738704 w 8079933"/>
              <a:gd name="connsiteY3921" fmla="*/ 3337440 h 4687251"/>
              <a:gd name="connsiteX3922" fmla="*/ 4738271 w 8079933"/>
              <a:gd name="connsiteY3922" fmla="*/ 3335708 h 4687251"/>
              <a:gd name="connsiteX3923" fmla="*/ 4735775 w 8079933"/>
              <a:gd name="connsiteY3923" fmla="*/ 3334084 h 4687251"/>
              <a:gd name="connsiteX3924" fmla="*/ 4735341 w 8079933"/>
              <a:gd name="connsiteY3924" fmla="*/ 3331810 h 4687251"/>
              <a:gd name="connsiteX3925" fmla="*/ 4734364 w 8079933"/>
              <a:gd name="connsiteY3925" fmla="*/ 3328670 h 4687251"/>
              <a:gd name="connsiteX3926" fmla="*/ 4735558 w 8079933"/>
              <a:gd name="connsiteY3926" fmla="*/ 3327587 h 4687251"/>
              <a:gd name="connsiteX3927" fmla="*/ 4736535 w 8079933"/>
              <a:gd name="connsiteY3927" fmla="*/ 3325097 h 4687251"/>
              <a:gd name="connsiteX3928" fmla="*/ 4734364 w 8079933"/>
              <a:gd name="connsiteY3928" fmla="*/ 3321308 h 4687251"/>
              <a:gd name="connsiteX3929" fmla="*/ 4736209 w 8079933"/>
              <a:gd name="connsiteY3929" fmla="*/ 3318276 h 4687251"/>
              <a:gd name="connsiteX3930" fmla="*/ 4735341 w 8079933"/>
              <a:gd name="connsiteY3930" fmla="*/ 3315353 h 4687251"/>
              <a:gd name="connsiteX3931" fmla="*/ 4734906 w 8079933"/>
              <a:gd name="connsiteY3931" fmla="*/ 3311780 h 4687251"/>
              <a:gd name="connsiteX3932" fmla="*/ 4733388 w 8079933"/>
              <a:gd name="connsiteY3932" fmla="*/ 3307666 h 4687251"/>
              <a:gd name="connsiteX3933" fmla="*/ 4734147 w 8079933"/>
              <a:gd name="connsiteY3933" fmla="*/ 3303660 h 4687251"/>
              <a:gd name="connsiteX3934" fmla="*/ 4739573 w 8079933"/>
              <a:gd name="connsiteY3934" fmla="*/ 3298138 h 4687251"/>
              <a:gd name="connsiteX3935" fmla="*/ 4739573 w 8079933"/>
              <a:gd name="connsiteY3935" fmla="*/ 3296730 h 4687251"/>
              <a:gd name="connsiteX3936" fmla="*/ 4740767 w 8079933"/>
              <a:gd name="connsiteY3936" fmla="*/ 3295106 h 4687251"/>
              <a:gd name="connsiteX3937" fmla="*/ 4740441 w 8079933"/>
              <a:gd name="connsiteY3937" fmla="*/ 3290126 h 4687251"/>
              <a:gd name="connsiteX3938" fmla="*/ 4739139 w 8079933"/>
              <a:gd name="connsiteY3938" fmla="*/ 3286553 h 4687251"/>
              <a:gd name="connsiteX3939" fmla="*/ 4735015 w 8079933"/>
              <a:gd name="connsiteY3939" fmla="*/ 3283630 h 4687251"/>
              <a:gd name="connsiteX3940" fmla="*/ 4734473 w 8079933"/>
              <a:gd name="connsiteY3940" fmla="*/ 3281356 h 4687251"/>
              <a:gd name="connsiteX3941" fmla="*/ 4737186 w 8079933"/>
              <a:gd name="connsiteY3941" fmla="*/ 3275293 h 4687251"/>
              <a:gd name="connsiteX3942" fmla="*/ 4737403 w 8079933"/>
              <a:gd name="connsiteY3942" fmla="*/ 3273561 h 4687251"/>
              <a:gd name="connsiteX3943" fmla="*/ 2378793 w 8079933"/>
              <a:gd name="connsiteY3943" fmla="*/ 3273127 h 4687251"/>
              <a:gd name="connsiteX3944" fmla="*/ 2371197 w 8079933"/>
              <a:gd name="connsiteY3944" fmla="*/ 3276917 h 4687251"/>
              <a:gd name="connsiteX3945" fmla="*/ 2363275 w 8079933"/>
              <a:gd name="connsiteY3945" fmla="*/ 3278324 h 4687251"/>
              <a:gd name="connsiteX3946" fmla="*/ 2352424 w 8079933"/>
              <a:gd name="connsiteY3946" fmla="*/ 3285578 h 4687251"/>
              <a:gd name="connsiteX3947" fmla="*/ 2348300 w 8079933"/>
              <a:gd name="connsiteY3947" fmla="*/ 3296406 h 4687251"/>
              <a:gd name="connsiteX3948" fmla="*/ 2341355 w 8079933"/>
              <a:gd name="connsiteY3948" fmla="*/ 3298463 h 4687251"/>
              <a:gd name="connsiteX3949" fmla="*/ 2335495 w 8079933"/>
              <a:gd name="connsiteY3949" fmla="*/ 3298463 h 4687251"/>
              <a:gd name="connsiteX3950" fmla="*/ 2330286 w 8079933"/>
              <a:gd name="connsiteY3950" fmla="*/ 3302576 h 4687251"/>
              <a:gd name="connsiteX3951" fmla="*/ 2326488 w 8079933"/>
              <a:gd name="connsiteY3951" fmla="*/ 3302576 h 4687251"/>
              <a:gd name="connsiteX3952" fmla="*/ 2319543 w 8079933"/>
              <a:gd name="connsiteY3952" fmla="*/ 3306366 h 4687251"/>
              <a:gd name="connsiteX3953" fmla="*/ 2312597 w 8079933"/>
              <a:gd name="connsiteY3953" fmla="*/ 3306366 h 4687251"/>
              <a:gd name="connsiteX3954" fmla="*/ 2297405 w 8079933"/>
              <a:gd name="connsiteY3954" fmla="*/ 3306366 h 4687251"/>
              <a:gd name="connsiteX3955" fmla="*/ 2296754 w 8079933"/>
              <a:gd name="connsiteY3955" fmla="*/ 3306366 h 4687251"/>
              <a:gd name="connsiteX3956" fmla="*/ 2294367 w 8079933"/>
              <a:gd name="connsiteY3956" fmla="*/ 3305284 h 4687251"/>
              <a:gd name="connsiteX3957" fmla="*/ 2291763 w 8079933"/>
              <a:gd name="connsiteY3957" fmla="*/ 3305284 h 4687251"/>
              <a:gd name="connsiteX3958" fmla="*/ 2286554 w 8079933"/>
              <a:gd name="connsiteY3958" fmla="*/ 3305284 h 4687251"/>
              <a:gd name="connsiteX3959" fmla="*/ 2281996 w 8079933"/>
              <a:gd name="connsiteY3959" fmla="*/ 3306583 h 4687251"/>
              <a:gd name="connsiteX3960" fmla="*/ 2277222 w 8079933"/>
              <a:gd name="connsiteY3960" fmla="*/ 3307341 h 4687251"/>
              <a:gd name="connsiteX3961" fmla="*/ 2275431 w 8079933"/>
              <a:gd name="connsiteY3961" fmla="*/ 3305621 h 4687251"/>
              <a:gd name="connsiteX3962" fmla="*/ 2275485 w 8079933"/>
              <a:gd name="connsiteY3962" fmla="*/ 3307016 h 4687251"/>
              <a:gd name="connsiteX3963" fmla="*/ 2278415 w 8079933"/>
              <a:gd name="connsiteY3963" fmla="*/ 3309832 h 4687251"/>
              <a:gd name="connsiteX3964" fmla="*/ 2283190 w 8079933"/>
              <a:gd name="connsiteY3964" fmla="*/ 3308965 h 4687251"/>
              <a:gd name="connsiteX3965" fmla="*/ 2287747 w 8079933"/>
              <a:gd name="connsiteY3965" fmla="*/ 3307775 h 4687251"/>
              <a:gd name="connsiteX3966" fmla="*/ 2292957 w 8079933"/>
              <a:gd name="connsiteY3966" fmla="*/ 3307341 h 4687251"/>
              <a:gd name="connsiteX3967" fmla="*/ 2295561 w 8079933"/>
              <a:gd name="connsiteY3967" fmla="*/ 3307016 h 4687251"/>
              <a:gd name="connsiteX3968" fmla="*/ 2297948 w 8079933"/>
              <a:gd name="connsiteY3968" fmla="*/ 3308099 h 4687251"/>
              <a:gd name="connsiteX3969" fmla="*/ 2298599 w 8079933"/>
              <a:gd name="connsiteY3969" fmla="*/ 3308423 h 4687251"/>
              <a:gd name="connsiteX3970" fmla="*/ 2313791 w 8079933"/>
              <a:gd name="connsiteY3970" fmla="*/ 3308423 h 4687251"/>
              <a:gd name="connsiteX3971" fmla="*/ 2320736 w 8079933"/>
              <a:gd name="connsiteY3971" fmla="*/ 3308749 h 4687251"/>
              <a:gd name="connsiteX3972" fmla="*/ 2327681 w 8079933"/>
              <a:gd name="connsiteY3972" fmla="*/ 3304959 h 4687251"/>
              <a:gd name="connsiteX3973" fmla="*/ 2331371 w 8079933"/>
              <a:gd name="connsiteY3973" fmla="*/ 3304959 h 4687251"/>
              <a:gd name="connsiteX3974" fmla="*/ 2336579 w 8079933"/>
              <a:gd name="connsiteY3974" fmla="*/ 3300844 h 4687251"/>
              <a:gd name="connsiteX3975" fmla="*/ 2342440 w 8079933"/>
              <a:gd name="connsiteY3975" fmla="*/ 3300844 h 4687251"/>
              <a:gd name="connsiteX3976" fmla="*/ 2349385 w 8079933"/>
              <a:gd name="connsiteY3976" fmla="*/ 3298787 h 4687251"/>
              <a:gd name="connsiteX3977" fmla="*/ 2353508 w 8079933"/>
              <a:gd name="connsiteY3977" fmla="*/ 3288069 h 4687251"/>
              <a:gd name="connsiteX3978" fmla="*/ 2364902 w 8079933"/>
              <a:gd name="connsiteY3978" fmla="*/ 3280815 h 4687251"/>
              <a:gd name="connsiteX3979" fmla="*/ 2372824 w 8079933"/>
              <a:gd name="connsiteY3979" fmla="*/ 3279515 h 4687251"/>
              <a:gd name="connsiteX3980" fmla="*/ 2380420 w 8079933"/>
              <a:gd name="connsiteY3980" fmla="*/ 3275726 h 4687251"/>
              <a:gd name="connsiteX3981" fmla="*/ 2385629 w 8079933"/>
              <a:gd name="connsiteY3981" fmla="*/ 3275726 h 4687251"/>
              <a:gd name="connsiteX3982" fmla="*/ 2390404 w 8079933"/>
              <a:gd name="connsiteY3982" fmla="*/ 3279191 h 4687251"/>
              <a:gd name="connsiteX3983" fmla="*/ 2395938 w 8079933"/>
              <a:gd name="connsiteY3983" fmla="*/ 3275726 h 4687251"/>
              <a:gd name="connsiteX3984" fmla="*/ 2397001 w 8079933"/>
              <a:gd name="connsiteY3984" fmla="*/ 3276623 h 4687251"/>
              <a:gd name="connsiteX3985" fmla="*/ 2397132 w 8079933"/>
              <a:gd name="connsiteY3985" fmla="*/ 3275509 h 4687251"/>
              <a:gd name="connsiteX3986" fmla="*/ 2394419 w 8079933"/>
              <a:gd name="connsiteY3986" fmla="*/ 3273127 h 4687251"/>
              <a:gd name="connsiteX3987" fmla="*/ 2388885 w 8079933"/>
              <a:gd name="connsiteY3987" fmla="*/ 3276592 h 4687251"/>
              <a:gd name="connsiteX3988" fmla="*/ 2384001 w 8079933"/>
              <a:gd name="connsiteY3988" fmla="*/ 3273127 h 4687251"/>
              <a:gd name="connsiteX3989" fmla="*/ 4463072 w 8079933"/>
              <a:gd name="connsiteY3989" fmla="*/ 3272044 h 4687251"/>
              <a:gd name="connsiteX3990" fmla="*/ 4463073 w 8079933"/>
              <a:gd name="connsiteY3990" fmla="*/ 3272045 h 4687251"/>
              <a:gd name="connsiteX3991" fmla="*/ 4465025 w 8079933"/>
              <a:gd name="connsiteY3991" fmla="*/ 3272370 h 4687251"/>
              <a:gd name="connsiteX3992" fmla="*/ 4465025 w 8079933"/>
              <a:gd name="connsiteY3992" fmla="*/ 3272369 h 4687251"/>
              <a:gd name="connsiteX3993" fmla="*/ 6802475 w 8079933"/>
              <a:gd name="connsiteY3993" fmla="*/ 3271721 h 4687251"/>
              <a:gd name="connsiteX3994" fmla="*/ 6808877 w 8079933"/>
              <a:gd name="connsiteY3994" fmla="*/ 3276702 h 4687251"/>
              <a:gd name="connsiteX3995" fmla="*/ 6813218 w 8079933"/>
              <a:gd name="connsiteY3995" fmla="*/ 3276702 h 4687251"/>
              <a:gd name="connsiteX3996" fmla="*/ 6817559 w 8079933"/>
              <a:gd name="connsiteY3996" fmla="*/ 3274320 h 4687251"/>
              <a:gd name="connsiteX3997" fmla="*/ 6823202 w 8079933"/>
              <a:gd name="connsiteY3997" fmla="*/ 3277135 h 4687251"/>
              <a:gd name="connsiteX3998" fmla="*/ 6824720 w 8079933"/>
              <a:gd name="connsiteY3998" fmla="*/ 3281357 h 4687251"/>
              <a:gd name="connsiteX3999" fmla="*/ 6829387 w 8079933"/>
              <a:gd name="connsiteY3999" fmla="*/ 3281357 h 4687251"/>
              <a:gd name="connsiteX4000" fmla="*/ 6833403 w 8079933"/>
              <a:gd name="connsiteY4000" fmla="*/ 3287420 h 4687251"/>
              <a:gd name="connsiteX4001" fmla="*/ 6837309 w 8079933"/>
              <a:gd name="connsiteY4001" fmla="*/ 3291210 h 4687251"/>
              <a:gd name="connsiteX4002" fmla="*/ 6837526 w 8079933"/>
              <a:gd name="connsiteY4002" fmla="*/ 3294241 h 4687251"/>
              <a:gd name="connsiteX4003" fmla="*/ 6831449 w 8079933"/>
              <a:gd name="connsiteY4003" fmla="*/ 3297381 h 4687251"/>
              <a:gd name="connsiteX4004" fmla="*/ 6824720 w 8079933"/>
              <a:gd name="connsiteY4004" fmla="*/ 3298030 h 4687251"/>
              <a:gd name="connsiteX4005" fmla="*/ 6819186 w 8079933"/>
              <a:gd name="connsiteY4005" fmla="*/ 3295649 h 4687251"/>
              <a:gd name="connsiteX4006" fmla="*/ 6815279 w 8079933"/>
              <a:gd name="connsiteY4006" fmla="*/ 3289910 h 4687251"/>
              <a:gd name="connsiteX4007" fmla="*/ 6811264 w 8079933"/>
              <a:gd name="connsiteY4007" fmla="*/ 3289153 h 4687251"/>
              <a:gd name="connsiteX4008" fmla="*/ 6807467 w 8079933"/>
              <a:gd name="connsiteY4008" fmla="*/ 3284496 h 4687251"/>
              <a:gd name="connsiteX4009" fmla="*/ 6802149 w 8079933"/>
              <a:gd name="connsiteY4009" fmla="*/ 3285363 h 4687251"/>
              <a:gd name="connsiteX4010" fmla="*/ 6795638 w 8079933"/>
              <a:gd name="connsiteY4010" fmla="*/ 3283955 h 4687251"/>
              <a:gd name="connsiteX4011" fmla="*/ 6791840 w 8079933"/>
              <a:gd name="connsiteY4011" fmla="*/ 3280490 h 4687251"/>
              <a:gd name="connsiteX4012" fmla="*/ 6792165 w 8079933"/>
              <a:gd name="connsiteY4012" fmla="*/ 3277135 h 4687251"/>
              <a:gd name="connsiteX4013" fmla="*/ 7547766 w 8079933"/>
              <a:gd name="connsiteY4013" fmla="*/ 3270637 h 4687251"/>
              <a:gd name="connsiteX4014" fmla="*/ 7550479 w 8079933"/>
              <a:gd name="connsiteY4014" fmla="*/ 3272153 h 4687251"/>
              <a:gd name="connsiteX4015" fmla="*/ 7553192 w 8079933"/>
              <a:gd name="connsiteY4015" fmla="*/ 3276050 h 4687251"/>
              <a:gd name="connsiteX4016" fmla="*/ 7552975 w 8079933"/>
              <a:gd name="connsiteY4016" fmla="*/ 3279298 h 4687251"/>
              <a:gd name="connsiteX4017" fmla="*/ 7551130 w 8079933"/>
              <a:gd name="connsiteY4017" fmla="*/ 3278757 h 4687251"/>
              <a:gd name="connsiteX4018" fmla="*/ 7549177 w 8079933"/>
              <a:gd name="connsiteY4018" fmla="*/ 3276267 h 4687251"/>
              <a:gd name="connsiteX4019" fmla="*/ 7547115 w 8079933"/>
              <a:gd name="connsiteY4019" fmla="*/ 3276483 h 4687251"/>
              <a:gd name="connsiteX4020" fmla="*/ 7545488 w 8079933"/>
              <a:gd name="connsiteY4020" fmla="*/ 3272261 h 4687251"/>
              <a:gd name="connsiteX4021" fmla="*/ 4626063 w 8079933"/>
              <a:gd name="connsiteY4021" fmla="*/ 3270420 h 4687251"/>
              <a:gd name="connsiteX4022" fmla="*/ 4625738 w 8079933"/>
              <a:gd name="connsiteY4022" fmla="*/ 3273235 h 4687251"/>
              <a:gd name="connsiteX4023" fmla="*/ 4625243 w 8079933"/>
              <a:gd name="connsiteY4023" fmla="*/ 3273729 h 4687251"/>
              <a:gd name="connsiteX4024" fmla="*/ 4625738 w 8079933"/>
              <a:gd name="connsiteY4024" fmla="*/ 3273236 h 4687251"/>
              <a:gd name="connsiteX4025" fmla="*/ 5053294 w 8079933"/>
              <a:gd name="connsiteY4025" fmla="*/ 3270096 h 4687251"/>
              <a:gd name="connsiteX4026" fmla="*/ 5052317 w 8079933"/>
              <a:gd name="connsiteY4026" fmla="*/ 3272262 h 4687251"/>
              <a:gd name="connsiteX4027" fmla="*/ 5051666 w 8079933"/>
              <a:gd name="connsiteY4027" fmla="*/ 3270312 h 4687251"/>
              <a:gd name="connsiteX4028" fmla="*/ 4460034 w 8079933"/>
              <a:gd name="connsiteY4028" fmla="*/ 3268038 h 4687251"/>
              <a:gd name="connsiteX4029" fmla="*/ 4460034 w 8079933"/>
              <a:gd name="connsiteY4029" fmla="*/ 3268039 h 4687251"/>
              <a:gd name="connsiteX4030" fmla="*/ 4461553 w 8079933"/>
              <a:gd name="connsiteY4030" fmla="*/ 3269122 h 4687251"/>
              <a:gd name="connsiteX4031" fmla="*/ 4461552 w 8079933"/>
              <a:gd name="connsiteY4031" fmla="*/ 3269121 h 4687251"/>
              <a:gd name="connsiteX4032" fmla="*/ 2273423 w 8079933"/>
              <a:gd name="connsiteY4032" fmla="*/ 3266523 h 4687251"/>
              <a:gd name="connsiteX4033" fmla="*/ 2264850 w 8079933"/>
              <a:gd name="connsiteY4033" fmla="*/ 3271503 h 4687251"/>
              <a:gd name="connsiteX4034" fmla="*/ 2254759 w 8079933"/>
              <a:gd name="connsiteY4034" fmla="*/ 3280706 h 4687251"/>
              <a:gd name="connsiteX4035" fmla="*/ 2242605 w 8079933"/>
              <a:gd name="connsiteY4035" fmla="*/ 3279948 h 4687251"/>
              <a:gd name="connsiteX4036" fmla="*/ 2232999 w 8079933"/>
              <a:gd name="connsiteY4036" fmla="*/ 3279948 h 4687251"/>
              <a:gd name="connsiteX4037" fmla="*/ 2233489 w 8079933"/>
              <a:gd name="connsiteY4037" fmla="*/ 3282114 h 4687251"/>
              <a:gd name="connsiteX4038" fmla="*/ 2243798 w 8079933"/>
              <a:gd name="connsiteY4038" fmla="*/ 3282547 h 4687251"/>
              <a:gd name="connsiteX4039" fmla="*/ 2255952 w 8079933"/>
              <a:gd name="connsiteY4039" fmla="*/ 3283305 h 4687251"/>
              <a:gd name="connsiteX4040" fmla="*/ 2266044 w 8079933"/>
              <a:gd name="connsiteY4040" fmla="*/ 3274102 h 4687251"/>
              <a:gd name="connsiteX4041" fmla="*/ 2274508 w 8079933"/>
              <a:gd name="connsiteY4041" fmla="*/ 3269121 h 4687251"/>
              <a:gd name="connsiteX4042" fmla="*/ 2275582 w 8079933"/>
              <a:gd name="connsiteY4042" fmla="*/ 3270239 h 4687251"/>
              <a:gd name="connsiteX4043" fmla="*/ 2275811 w 8079933"/>
              <a:gd name="connsiteY4043" fmla="*/ 3269121 h 4687251"/>
              <a:gd name="connsiteX4044" fmla="*/ 2218514 w 8079933"/>
              <a:gd name="connsiteY4044" fmla="*/ 3264466 h 4687251"/>
              <a:gd name="connsiteX4045" fmla="*/ 2206887 w 8079933"/>
              <a:gd name="connsiteY4045" fmla="*/ 3265397 h 4687251"/>
              <a:gd name="connsiteX4046" fmla="*/ 2204949 w 8079933"/>
              <a:gd name="connsiteY4046" fmla="*/ 3267823 h 4687251"/>
              <a:gd name="connsiteX4047" fmla="*/ 2219708 w 8079933"/>
              <a:gd name="connsiteY4047" fmla="*/ 3266631 h 4687251"/>
              <a:gd name="connsiteX4048" fmla="*/ 2226761 w 8079933"/>
              <a:gd name="connsiteY4048" fmla="*/ 3267823 h 4687251"/>
              <a:gd name="connsiteX4049" fmla="*/ 2230921 w 8079933"/>
              <a:gd name="connsiteY4049" fmla="*/ 3273875 h 4687251"/>
              <a:gd name="connsiteX4050" fmla="*/ 2230776 w 8079933"/>
              <a:gd name="connsiteY4050" fmla="*/ 3273235 h 4687251"/>
              <a:gd name="connsiteX4051" fmla="*/ 2225568 w 8079933"/>
              <a:gd name="connsiteY4051" fmla="*/ 3265657 h 4687251"/>
              <a:gd name="connsiteX4052" fmla="*/ 7605714 w 8079933"/>
              <a:gd name="connsiteY4052" fmla="*/ 3263600 h 4687251"/>
              <a:gd name="connsiteX4053" fmla="*/ 7612442 w 8079933"/>
              <a:gd name="connsiteY4053" fmla="*/ 3269879 h 4687251"/>
              <a:gd name="connsiteX4054" fmla="*/ 7612876 w 8079933"/>
              <a:gd name="connsiteY4054" fmla="*/ 3272802 h 4687251"/>
              <a:gd name="connsiteX4055" fmla="*/ 7607558 w 8079933"/>
              <a:gd name="connsiteY4055" fmla="*/ 3269230 h 4687251"/>
              <a:gd name="connsiteX4056" fmla="*/ 7605714 w 8079933"/>
              <a:gd name="connsiteY4056" fmla="*/ 3269879 h 4687251"/>
              <a:gd name="connsiteX4057" fmla="*/ 7604412 w 8079933"/>
              <a:gd name="connsiteY4057" fmla="*/ 3267281 h 4687251"/>
              <a:gd name="connsiteX4058" fmla="*/ 4458525 w 8079933"/>
              <a:gd name="connsiteY4058" fmla="*/ 3263408 h 4687251"/>
              <a:gd name="connsiteX4059" fmla="*/ 4460034 w 8079933"/>
              <a:gd name="connsiteY4059" fmla="*/ 3265441 h 4687251"/>
              <a:gd name="connsiteX4060" fmla="*/ 4460034 w 8079933"/>
              <a:gd name="connsiteY4060" fmla="*/ 3265440 h 4687251"/>
              <a:gd name="connsiteX4061" fmla="*/ 4726876 w 8079933"/>
              <a:gd name="connsiteY4061" fmla="*/ 3262193 h 4687251"/>
              <a:gd name="connsiteX4062" fmla="*/ 4726984 w 8079933"/>
              <a:gd name="connsiteY4062" fmla="*/ 3262516 h 4687251"/>
              <a:gd name="connsiteX4063" fmla="*/ 4728286 w 8079933"/>
              <a:gd name="connsiteY4063" fmla="*/ 3265981 h 4687251"/>
              <a:gd name="connsiteX4064" fmla="*/ 4729914 w 8079933"/>
              <a:gd name="connsiteY4064" fmla="*/ 3267280 h 4687251"/>
              <a:gd name="connsiteX4065" fmla="*/ 4731108 w 8079933"/>
              <a:gd name="connsiteY4065" fmla="*/ 3270637 h 4687251"/>
              <a:gd name="connsiteX4066" fmla="*/ 4733381 w 8079933"/>
              <a:gd name="connsiteY4066" fmla="*/ 3271954 h 4687251"/>
              <a:gd name="connsiteX4067" fmla="*/ 4731109 w 8079933"/>
              <a:gd name="connsiteY4067" fmla="*/ 3270637 h 4687251"/>
              <a:gd name="connsiteX4068" fmla="*/ 4729915 w 8079933"/>
              <a:gd name="connsiteY4068" fmla="*/ 3267281 h 4687251"/>
              <a:gd name="connsiteX4069" fmla="*/ 4728287 w 8079933"/>
              <a:gd name="connsiteY4069" fmla="*/ 3265981 h 4687251"/>
              <a:gd name="connsiteX4070" fmla="*/ 4726985 w 8079933"/>
              <a:gd name="connsiteY4070" fmla="*/ 3262517 h 4687251"/>
              <a:gd name="connsiteX4071" fmla="*/ 4726877 w 8079933"/>
              <a:gd name="connsiteY4071" fmla="*/ 3262193 h 4687251"/>
              <a:gd name="connsiteX4072" fmla="*/ 5048194 w 8079933"/>
              <a:gd name="connsiteY4072" fmla="*/ 3260027 h 4687251"/>
              <a:gd name="connsiteX4073" fmla="*/ 5051775 w 8079933"/>
              <a:gd name="connsiteY4073" fmla="*/ 3261543 h 4687251"/>
              <a:gd name="connsiteX4074" fmla="*/ 5053837 w 8079933"/>
              <a:gd name="connsiteY4074" fmla="*/ 3262084 h 4687251"/>
              <a:gd name="connsiteX4075" fmla="*/ 5052752 w 8079933"/>
              <a:gd name="connsiteY4075" fmla="*/ 3263492 h 4687251"/>
              <a:gd name="connsiteX4076" fmla="*/ 5048085 w 8079933"/>
              <a:gd name="connsiteY4076" fmla="*/ 3264466 h 4687251"/>
              <a:gd name="connsiteX4077" fmla="*/ 5045590 w 8079933"/>
              <a:gd name="connsiteY4077" fmla="*/ 3263274 h 4687251"/>
              <a:gd name="connsiteX4078" fmla="*/ 6810180 w 8079933"/>
              <a:gd name="connsiteY4078" fmla="*/ 3256563 h 4687251"/>
              <a:gd name="connsiteX4079" fmla="*/ 6812242 w 8079933"/>
              <a:gd name="connsiteY4079" fmla="*/ 3257862 h 4687251"/>
              <a:gd name="connsiteX4080" fmla="*/ 6811808 w 8079933"/>
              <a:gd name="connsiteY4080" fmla="*/ 3260786 h 4687251"/>
              <a:gd name="connsiteX4081" fmla="*/ 6808552 w 8079933"/>
              <a:gd name="connsiteY4081" fmla="*/ 3261327 h 4687251"/>
              <a:gd name="connsiteX4082" fmla="*/ 6712514 w 8079933"/>
              <a:gd name="connsiteY4082" fmla="*/ 3256563 h 4687251"/>
              <a:gd name="connsiteX4083" fmla="*/ 6714034 w 8079933"/>
              <a:gd name="connsiteY4083" fmla="*/ 3259161 h 4687251"/>
              <a:gd name="connsiteX4084" fmla="*/ 6711537 w 8079933"/>
              <a:gd name="connsiteY4084" fmla="*/ 3260461 h 4687251"/>
              <a:gd name="connsiteX4085" fmla="*/ 6710235 w 8079933"/>
              <a:gd name="connsiteY4085" fmla="*/ 3258945 h 4687251"/>
              <a:gd name="connsiteX4086" fmla="*/ 7390092 w 8079933"/>
              <a:gd name="connsiteY4086" fmla="*/ 3254505 h 4687251"/>
              <a:gd name="connsiteX4087" fmla="*/ 7390743 w 8079933"/>
              <a:gd name="connsiteY4087" fmla="*/ 3256671 h 4687251"/>
              <a:gd name="connsiteX4088" fmla="*/ 7388790 w 8079933"/>
              <a:gd name="connsiteY4088" fmla="*/ 3255263 h 4687251"/>
              <a:gd name="connsiteX4089" fmla="*/ 7381628 w 8079933"/>
              <a:gd name="connsiteY4089" fmla="*/ 3254505 h 4687251"/>
              <a:gd name="connsiteX4090" fmla="*/ 7388356 w 8079933"/>
              <a:gd name="connsiteY4090" fmla="*/ 3257319 h 4687251"/>
              <a:gd name="connsiteX4091" fmla="*/ 7391503 w 8079933"/>
              <a:gd name="connsiteY4091" fmla="*/ 3261000 h 4687251"/>
              <a:gd name="connsiteX4092" fmla="*/ 6895799 w 8079933"/>
              <a:gd name="connsiteY4092" fmla="*/ 3254072 h 4687251"/>
              <a:gd name="connsiteX4093" fmla="*/ 6891892 w 8079933"/>
              <a:gd name="connsiteY4093" fmla="*/ 3255912 h 4687251"/>
              <a:gd name="connsiteX4094" fmla="*/ 6889179 w 8079933"/>
              <a:gd name="connsiteY4094" fmla="*/ 3258727 h 4687251"/>
              <a:gd name="connsiteX4095" fmla="*/ 6890807 w 8079933"/>
              <a:gd name="connsiteY4095" fmla="*/ 3254938 h 4687251"/>
              <a:gd name="connsiteX4096" fmla="*/ 4719171 w 8079933"/>
              <a:gd name="connsiteY4096" fmla="*/ 3253748 h 4687251"/>
              <a:gd name="connsiteX4097" fmla="*/ 4720690 w 8079933"/>
              <a:gd name="connsiteY4097" fmla="*/ 3257536 h 4687251"/>
              <a:gd name="connsiteX4098" fmla="*/ 4725031 w 8079933"/>
              <a:gd name="connsiteY4098" fmla="*/ 3262192 h 4687251"/>
              <a:gd name="connsiteX4099" fmla="*/ 4720691 w 8079933"/>
              <a:gd name="connsiteY4099" fmla="*/ 3257537 h 4687251"/>
              <a:gd name="connsiteX4100" fmla="*/ 4719172 w 8079933"/>
              <a:gd name="connsiteY4100" fmla="*/ 3253748 h 4687251"/>
              <a:gd name="connsiteX4101" fmla="*/ 6989883 w 8079933"/>
              <a:gd name="connsiteY4101" fmla="*/ 3253531 h 4687251"/>
              <a:gd name="connsiteX4102" fmla="*/ 6992162 w 8079933"/>
              <a:gd name="connsiteY4102" fmla="*/ 3255804 h 4687251"/>
              <a:gd name="connsiteX4103" fmla="*/ 6992053 w 8079933"/>
              <a:gd name="connsiteY4103" fmla="*/ 3257753 h 4687251"/>
              <a:gd name="connsiteX4104" fmla="*/ 6987387 w 8079933"/>
              <a:gd name="connsiteY4104" fmla="*/ 3260893 h 4687251"/>
              <a:gd name="connsiteX4105" fmla="*/ 6984674 w 8079933"/>
              <a:gd name="connsiteY4105" fmla="*/ 3261218 h 4687251"/>
              <a:gd name="connsiteX4106" fmla="*/ 6982829 w 8079933"/>
              <a:gd name="connsiteY4106" fmla="*/ 3264141 h 4687251"/>
              <a:gd name="connsiteX4107" fmla="*/ 6975885 w 8079933"/>
              <a:gd name="connsiteY4107" fmla="*/ 3266090 h 4687251"/>
              <a:gd name="connsiteX4108" fmla="*/ 6969156 w 8079933"/>
              <a:gd name="connsiteY4108" fmla="*/ 3270204 h 4687251"/>
              <a:gd name="connsiteX4109" fmla="*/ 6959390 w 8079933"/>
              <a:gd name="connsiteY4109" fmla="*/ 3272045 h 4687251"/>
              <a:gd name="connsiteX4110" fmla="*/ 6954941 w 8079933"/>
              <a:gd name="connsiteY4110" fmla="*/ 3271720 h 4687251"/>
              <a:gd name="connsiteX4111" fmla="*/ 6951034 w 8079933"/>
              <a:gd name="connsiteY4111" fmla="*/ 3272912 h 4687251"/>
              <a:gd name="connsiteX4112" fmla="*/ 6946585 w 8079933"/>
              <a:gd name="connsiteY4112" fmla="*/ 3277242 h 4687251"/>
              <a:gd name="connsiteX4113" fmla="*/ 6945934 w 8079933"/>
              <a:gd name="connsiteY4113" fmla="*/ 3277567 h 4687251"/>
              <a:gd name="connsiteX4114" fmla="*/ 6943438 w 8079933"/>
              <a:gd name="connsiteY4114" fmla="*/ 3278541 h 4687251"/>
              <a:gd name="connsiteX4115" fmla="*/ 6941268 w 8079933"/>
              <a:gd name="connsiteY4115" fmla="*/ 3281465 h 4687251"/>
              <a:gd name="connsiteX4116" fmla="*/ 6932261 w 8079933"/>
              <a:gd name="connsiteY4116" fmla="*/ 3288177 h 4687251"/>
              <a:gd name="connsiteX4117" fmla="*/ 6929331 w 8079933"/>
              <a:gd name="connsiteY4117" fmla="*/ 3292616 h 4687251"/>
              <a:gd name="connsiteX4118" fmla="*/ 6924882 w 8079933"/>
              <a:gd name="connsiteY4118" fmla="*/ 3295865 h 4687251"/>
              <a:gd name="connsiteX4119" fmla="*/ 6920975 w 8079933"/>
              <a:gd name="connsiteY4119" fmla="*/ 3295540 h 4687251"/>
              <a:gd name="connsiteX4120" fmla="*/ 6916743 w 8079933"/>
              <a:gd name="connsiteY4120" fmla="*/ 3296839 h 4687251"/>
              <a:gd name="connsiteX4121" fmla="*/ 6909907 w 8079933"/>
              <a:gd name="connsiteY4121" fmla="*/ 3301279 h 4687251"/>
              <a:gd name="connsiteX4122" fmla="*/ 6902093 w 8079933"/>
              <a:gd name="connsiteY4122" fmla="*/ 3301711 h 4687251"/>
              <a:gd name="connsiteX4123" fmla="*/ 6899706 w 8079933"/>
              <a:gd name="connsiteY4123" fmla="*/ 3299871 h 4687251"/>
              <a:gd name="connsiteX4124" fmla="*/ 6901117 w 8079933"/>
              <a:gd name="connsiteY4124" fmla="*/ 3294890 h 4687251"/>
              <a:gd name="connsiteX4125" fmla="*/ 6903070 w 8079933"/>
              <a:gd name="connsiteY4125" fmla="*/ 3296298 h 4687251"/>
              <a:gd name="connsiteX4126" fmla="*/ 6905674 w 8079933"/>
              <a:gd name="connsiteY4126" fmla="*/ 3296298 h 4687251"/>
              <a:gd name="connsiteX4127" fmla="*/ 6904915 w 8079933"/>
              <a:gd name="connsiteY4127" fmla="*/ 3294241 h 4687251"/>
              <a:gd name="connsiteX4128" fmla="*/ 6902961 w 8079933"/>
              <a:gd name="connsiteY4128" fmla="*/ 3292508 h 4687251"/>
              <a:gd name="connsiteX4129" fmla="*/ 6903612 w 8079933"/>
              <a:gd name="connsiteY4129" fmla="*/ 3290451 h 4687251"/>
              <a:gd name="connsiteX4130" fmla="*/ 6908170 w 8079933"/>
              <a:gd name="connsiteY4130" fmla="*/ 3283089 h 4687251"/>
              <a:gd name="connsiteX4131" fmla="*/ 6909798 w 8079933"/>
              <a:gd name="connsiteY4131" fmla="*/ 3278108 h 4687251"/>
              <a:gd name="connsiteX4132" fmla="*/ 6914464 w 8079933"/>
              <a:gd name="connsiteY4132" fmla="*/ 3275293 h 4687251"/>
              <a:gd name="connsiteX4133" fmla="*/ 6915875 w 8079933"/>
              <a:gd name="connsiteY4133" fmla="*/ 3273994 h 4687251"/>
              <a:gd name="connsiteX4134" fmla="*/ 6919672 w 8079933"/>
              <a:gd name="connsiteY4134" fmla="*/ 3270421 h 4687251"/>
              <a:gd name="connsiteX4135" fmla="*/ 6926075 w 8079933"/>
              <a:gd name="connsiteY4135" fmla="*/ 3269663 h 4687251"/>
              <a:gd name="connsiteX4136" fmla="*/ 6929005 w 8079933"/>
              <a:gd name="connsiteY4136" fmla="*/ 3268797 h 4687251"/>
              <a:gd name="connsiteX4137" fmla="*/ 6933129 w 8079933"/>
              <a:gd name="connsiteY4137" fmla="*/ 3267606 h 4687251"/>
              <a:gd name="connsiteX4138" fmla="*/ 6935191 w 8079933"/>
              <a:gd name="connsiteY4138" fmla="*/ 3266631 h 4687251"/>
              <a:gd name="connsiteX4139" fmla="*/ 6940834 w 8079933"/>
              <a:gd name="connsiteY4139" fmla="*/ 3263816 h 4687251"/>
              <a:gd name="connsiteX4140" fmla="*/ 6948430 w 8079933"/>
              <a:gd name="connsiteY4140" fmla="*/ 3257104 h 4687251"/>
              <a:gd name="connsiteX4141" fmla="*/ 6958413 w 8079933"/>
              <a:gd name="connsiteY4141" fmla="*/ 3257645 h 4687251"/>
              <a:gd name="connsiteX4142" fmla="*/ 6965033 w 8079933"/>
              <a:gd name="connsiteY4142" fmla="*/ 3256562 h 4687251"/>
              <a:gd name="connsiteX4143" fmla="*/ 6969807 w 8079933"/>
              <a:gd name="connsiteY4143" fmla="*/ 3256562 h 4687251"/>
              <a:gd name="connsiteX4144" fmla="*/ 6975125 w 8079933"/>
              <a:gd name="connsiteY4144" fmla="*/ 3255480 h 4687251"/>
              <a:gd name="connsiteX4145" fmla="*/ 6980876 w 8079933"/>
              <a:gd name="connsiteY4145" fmla="*/ 3255696 h 4687251"/>
              <a:gd name="connsiteX4146" fmla="*/ 6803885 w 8079933"/>
              <a:gd name="connsiteY4146" fmla="*/ 3252773 h 4687251"/>
              <a:gd name="connsiteX4147" fmla="*/ 6808008 w 8079933"/>
              <a:gd name="connsiteY4147" fmla="*/ 3254072 h 4687251"/>
              <a:gd name="connsiteX4148" fmla="*/ 6806164 w 8079933"/>
              <a:gd name="connsiteY4148" fmla="*/ 3255913 h 4687251"/>
              <a:gd name="connsiteX4149" fmla="*/ 6804645 w 8079933"/>
              <a:gd name="connsiteY4149" fmla="*/ 3261651 h 4687251"/>
              <a:gd name="connsiteX4150" fmla="*/ 6802149 w 8079933"/>
              <a:gd name="connsiteY4150" fmla="*/ 3258187 h 4687251"/>
              <a:gd name="connsiteX4151" fmla="*/ 7387487 w 8079933"/>
              <a:gd name="connsiteY4151" fmla="*/ 3252448 h 4687251"/>
              <a:gd name="connsiteX4152" fmla="*/ 7386293 w 8079933"/>
              <a:gd name="connsiteY4152" fmla="*/ 3253963 h 4687251"/>
              <a:gd name="connsiteX4153" fmla="*/ 7383364 w 8079933"/>
              <a:gd name="connsiteY4153" fmla="*/ 3252556 h 4687251"/>
              <a:gd name="connsiteX4154" fmla="*/ 4714076 w 8079933"/>
              <a:gd name="connsiteY4154" fmla="*/ 3251371 h 4687251"/>
              <a:gd name="connsiteX4155" fmla="*/ 4716024 w 8079933"/>
              <a:gd name="connsiteY4155" fmla="*/ 3253314 h 4687251"/>
              <a:gd name="connsiteX4156" fmla="*/ 4716024 w 8079933"/>
              <a:gd name="connsiteY4156" fmla="*/ 3253314 h 4687251"/>
              <a:gd name="connsiteX4157" fmla="*/ 7391937 w 8079933"/>
              <a:gd name="connsiteY4157" fmla="*/ 3249741 h 4687251"/>
              <a:gd name="connsiteX4158" fmla="*/ 7395626 w 8079933"/>
              <a:gd name="connsiteY4158" fmla="*/ 3249741 h 4687251"/>
              <a:gd name="connsiteX4159" fmla="*/ 7394432 w 8079933"/>
              <a:gd name="connsiteY4159" fmla="*/ 3252448 h 4687251"/>
              <a:gd name="connsiteX4160" fmla="*/ 7389224 w 8079933"/>
              <a:gd name="connsiteY4160" fmla="*/ 3252448 h 4687251"/>
              <a:gd name="connsiteX4161" fmla="*/ 6923471 w 8079933"/>
              <a:gd name="connsiteY4161" fmla="*/ 3249634 h 4687251"/>
              <a:gd name="connsiteX4162" fmla="*/ 6923905 w 8079933"/>
              <a:gd name="connsiteY4162" fmla="*/ 3251691 h 4687251"/>
              <a:gd name="connsiteX4163" fmla="*/ 6920216 w 8079933"/>
              <a:gd name="connsiteY4163" fmla="*/ 3256671 h 4687251"/>
              <a:gd name="connsiteX4164" fmla="*/ 6917828 w 8079933"/>
              <a:gd name="connsiteY4164" fmla="*/ 3254505 h 4687251"/>
              <a:gd name="connsiteX4165" fmla="*/ 6914573 w 8079933"/>
              <a:gd name="connsiteY4165" fmla="*/ 3254505 h 4687251"/>
              <a:gd name="connsiteX4166" fmla="*/ 6916743 w 8079933"/>
              <a:gd name="connsiteY4166" fmla="*/ 3252340 h 4687251"/>
              <a:gd name="connsiteX4167" fmla="*/ 6921084 w 8079933"/>
              <a:gd name="connsiteY4167" fmla="*/ 3251799 h 4687251"/>
              <a:gd name="connsiteX4168" fmla="*/ 7572509 w 8079933"/>
              <a:gd name="connsiteY4168" fmla="*/ 3248658 h 4687251"/>
              <a:gd name="connsiteX4169" fmla="*/ 7573269 w 8079933"/>
              <a:gd name="connsiteY4169" fmla="*/ 3254937 h 4687251"/>
              <a:gd name="connsiteX4170" fmla="*/ 7572618 w 8079933"/>
              <a:gd name="connsiteY4170" fmla="*/ 3258835 h 4687251"/>
              <a:gd name="connsiteX4171" fmla="*/ 7571749 w 8079933"/>
              <a:gd name="connsiteY4171" fmla="*/ 3258835 h 4687251"/>
              <a:gd name="connsiteX4172" fmla="*/ 7572183 w 8079933"/>
              <a:gd name="connsiteY4172" fmla="*/ 3257427 h 4687251"/>
              <a:gd name="connsiteX4173" fmla="*/ 7571749 w 8079933"/>
              <a:gd name="connsiteY4173" fmla="*/ 3254180 h 4687251"/>
              <a:gd name="connsiteX4174" fmla="*/ 7570664 w 8079933"/>
              <a:gd name="connsiteY4174" fmla="*/ 3254396 h 4687251"/>
              <a:gd name="connsiteX4175" fmla="*/ 7568819 w 8079933"/>
              <a:gd name="connsiteY4175" fmla="*/ 3251039 h 4687251"/>
              <a:gd name="connsiteX4176" fmla="*/ 7569905 w 8079933"/>
              <a:gd name="connsiteY4176" fmla="*/ 3249200 h 4687251"/>
              <a:gd name="connsiteX4177" fmla="*/ 6730636 w 8079933"/>
              <a:gd name="connsiteY4177" fmla="*/ 3247793 h 4687251"/>
              <a:gd name="connsiteX4178" fmla="*/ 6738232 w 8079933"/>
              <a:gd name="connsiteY4178" fmla="*/ 3250283 h 4687251"/>
              <a:gd name="connsiteX4179" fmla="*/ 6737148 w 8079933"/>
              <a:gd name="connsiteY4179" fmla="*/ 3255913 h 4687251"/>
              <a:gd name="connsiteX4180" fmla="*/ 6734977 w 8079933"/>
              <a:gd name="connsiteY4180" fmla="*/ 3258944 h 4687251"/>
              <a:gd name="connsiteX4181" fmla="*/ 6735411 w 8079933"/>
              <a:gd name="connsiteY4181" fmla="*/ 3262951 h 4687251"/>
              <a:gd name="connsiteX4182" fmla="*/ 6732155 w 8079933"/>
              <a:gd name="connsiteY4182" fmla="*/ 3261760 h 4687251"/>
              <a:gd name="connsiteX4183" fmla="*/ 6727598 w 8079933"/>
              <a:gd name="connsiteY4183" fmla="*/ 3263492 h 4687251"/>
              <a:gd name="connsiteX4184" fmla="*/ 6719893 w 8079933"/>
              <a:gd name="connsiteY4184" fmla="*/ 3261218 h 4687251"/>
              <a:gd name="connsiteX4185" fmla="*/ 6718265 w 8079933"/>
              <a:gd name="connsiteY4185" fmla="*/ 3259053 h 4687251"/>
              <a:gd name="connsiteX4186" fmla="*/ 6720327 w 8079933"/>
              <a:gd name="connsiteY4186" fmla="*/ 3257646 h 4687251"/>
              <a:gd name="connsiteX4187" fmla="*/ 6724559 w 8079933"/>
              <a:gd name="connsiteY4187" fmla="*/ 3257862 h 4687251"/>
              <a:gd name="connsiteX4188" fmla="*/ 6725645 w 8079933"/>
              <a:gd name="connsiteY4188" fmla="*/ 3251474 h 4687251"/>
              <a:gd name="connsiteX4189" fmla="*/ 6912184 w 8079933"/>
              <a:gd name="connsiteY4189" fmla="*/ 3247684 h 4687251"/>
              <a:gd name="connsiteX4190" fmla="*/ 6914030 w 8079933"/>
              <a:gd name="connsiteY4190" fmla="*/ 3248875 h 4687251"/>
              <a:gd name="connsiteX4191" fmla="*/ 6909146 w 8079933"/>
              <a:gd name="connsiteY4191" fmla="*/ 3253422 h 4687251"/>
              <a:gd name="connsiteX4192" fmla="*/ 6906867 w 8079933"/>
              <a:gd name="connsiteY4192" fmla="*/ 3256129 h 4687251"/>
              <a:gd name="connsiteX4193" fmla="*/ 6901984 w 8079933"/>
              <a:gd name="connsiteY4193" fmla="*/ 3257103 h 4687251"/>
              <a:gd name="connsiteX4194" fmla="*/ 6899814 w 8079933"/>
              <a:gd name="connsiteY4194" fmla="*/ 3255371 h 4687251"/>
              <a:gd name="connsiteX4195" fmla="*/ 6904480 w 8079933"/>
              <a:gd name="connsiteY4195" fmla="*/ 3252014 h 4687251"/>
              <a:gd name="connsiteX4196" fmla="*/ 6903503 w 8079933"/>
              <a:gd name="connsiteY4196" fmla="*/ 3249849 h 4687251"/>
              <a:gd name="connsiteX4197" fmla="*/ 6905565 w 8079933"/>
              <a:gd name="connsiteY4197" fmla="*/ 3248983 h 4687251"/>
              <a:gd name="connsiteX4198" fmla="*/ 6908929 w 8079933"/>
              <a:gd name="connsiteY4198" fmla="*/ 3249524 h 4687251"/>
              <a:gd name="connsiteX4199" fmla="*/ 6898294 w 8079933"/>
              <a:gd name="connsiteY4199" fmla="*/ 3246927 h 4687251"/>
              <a:gd name="connsiteX4200" fmla="*/ 6899054 w 8079933"/>
              <a:gd name="connsiteY4200" fmla="*/ 3248984 h 4687251"/>
              <a:gd name="connsiteX4201" fmla="*/ 6897644 w 8079933"/>
              <a:gd name="connsiteY4201" fmla="*/ 3251040 h 4687251"/>
              <a:gd name="connsiteX4202" fmla="*/ 6895148 w 8079933"/>
              <a:gd name="connsiteY4202" fmla="*/ 3249633 h 4687251"/>
              <a:gd name="connsiteX4203" fmla="*/ 7036545 w 8079933"/>
              <a:gd name="connsiteY4203" fmla="*/ 3246819 h 4687251"/>
              <a:gd name="connsiteX4204" fmla="*/ 7038498 w 8079933"/>
              <a:gd name="connsiteY4204" fmla="*/ 3248009 h 4687251"/>
              <a:gd name="connsiteX4205" fmla="*/ 7034592 w 8079933"/>
              <a:gd name="connsiteY4205" fmla="*/ 3248334 h 4687251"/>
              <a:gd name="connsiteX4206" fmla="*/ 7032096 w 8079933"/>
              <a:gd name="connsiteY4206" fmla="*/ 3247143 h 4687251"/>
              <a:gd name="connsiteX4207" fmla="*/ 6953530 w 8079933"/>
              <a:gd name="connsiteY4207" fmla="*/ 3245736 h 4687251"/>
              <a:gd name="connsiteX4208" fmla="*/ 6954832 w 8079933"/>
              <a:gd name="connsiteY4208" fmla="*/ 3247360 h 4687251"/>
              <a:gd name="connsiteX4209" fmla="*/ 6952987 w 8079933"/>
              <a:gd name="connsiteY4209" fmla="*/ 3248768 h 4687251"/>
              <a:gd name="connsiteX4210" fmla="*/ 6952119 w 8079933"/>
              <a:gd name="connsiteY4210" fmla="*/ 3247793 h 4687251"/>
              <a:gd name="connsiteX4211" fmla="*/ 7004641 w 8079933"/>
              <a:gd name="connsiteY4211" fmla="*/ 3245195 h 4687251"/>
              <a:gd name="connsiteX4212" fmla="*/ 7004424 w 8079933"/>
              <a:gd name="connsiteY4212" fmla="*/ 3247793 h 4687251"/>
              <a:gd name="connsiteX4213" fmla="*/ 7001386 w 8079933"/>
              <a:gd name="connsiteY4213" fmla="*/ 3246169 h 4687251"/>
              <a:gd name="connsiteX4214" fmla="*/ 6931935 w 8079933"/>
              <a:gd name="connsiteY4214" fmla="*/ 3245195 h 4687251"/>
              <a:gd name="connsiteX4215" fmla="*/ 6933996 w 8079933"/>
              <a:gd name="connsiteY4215" fmla="*/ 3246385 h 4687251"/>
              <a:gd name="connsiteX4216" fmla="*/ 6940617 w 8079933"/>
              <a:gd name="connsiteY4216" fmla="*/ 3245736 h 4687251"/>
              <a:gd name="connsiteX4217" fmla="*/ 6943004 w 8079933"/>
              <a:gd name="connsiteY4217" fmla="*/ 3247360 h 4687251"/>
              <a:gd name="connsiteX4218" fmla="*/ 6940291 w 8079933"/>
              <a:gd name="connsiteY4218" fmla="*/ 3250392 h 4687251"/>
              <a:gd name="connsiteX4219" fmla="*/ 6932152 w 8079933"/>
              <a:gd name="connsiteY4219" fmla="*/ 3253207 h 4687251"/>
              <a:gd name="connsiteX4220" fmla="*/ 6927920 w 8079933"/>
              <a:gd name="connsiteY4220" fmla="*/ 3252233 h 4687251"/>
              <a:gd name="connsiteX4221" fmla="*/ 6927486 w 8079933"/>
              <a:gd name="connsiteY4221" fmla="*/ 3250392 h 4687251"/>
              <a:gd name="connsiteX4222" fmla="*/ 6929114 w 8079933"/>
              <a:gd name="connsiteY4222" fmla="*/ 3248768 h 4687251"/>
              <a:gd name="connsiteX4223" fmla="*/ 6927160 w 8079933"/>
              <a:gd name="connsiteY4223" fmla="*/ 3247360 h 4687251"/>
              <a:gd name="connsiteX4224" fmla="*/ 7018966 w 8079933"/>
              <a:gd name="connsiteY4224" fmla="*/ 3244003 h 4687251"/>
              <a:gd name="connsiteX4225" fmla="*/ 7018966 w 8079933"/>
              <a:gd name="connsiteY4225" fmla="*/ 3246493 h 4687251"/>
              <a:gd name="connsiteX4226" fmla="*/ 7013323 w 8079933"/>
              <a:gd name="connsiteY4226" fmla="*/ 3248442 h 4687251"/>
              <a:gd name="connsiteX4227" fmla="*/ 7008656 w 8079933"/>
              <a:gd name="connsiteY4227" fmla="*/ 3246168 h 4687251"/>
              <a:gd name="connsiteX4228" fmla="*/ 7008005 w 8079933"/>
              <a:gd name="connsiteY4228" fmla="*/ 3244219 h 4687251"/>
              <a:gd name="connsiteX4229" fmla="*/ 7015059 w 8079933"/>
              <a:gd name="connsiteY4229" fmla="*/ 3244760 h 4687251"/>
              <a:gd name="connsiteX4230" fmla="*/ 6993465 w 8079933"/>
              <a:gd name="connsiteY4230" fmla="*/ 3243138 h 4687251"/>
              <a:gd name="connsiteX4231" fmla="*/ 6995852 w 8079933"/>
              <a:gd name="connsiteY4231" fmla="*/ 3245087 h 4687251"/>
              <a:gd name="connsiteX4232" fmla="*/ 6992922 w 8079933"/>
              <a:gd name="connsiteY4232" fmla="*/ 3246602 h 4687251"/>
              <a:gd name="connsiteX4233" fmla="*/ 6990426 w 8079933"/>
              <a:gd name="connsiteY4233" fmla="*/ 3244654 h 4687251"/>
              <a:gd name="connsiteX4234" fmla="*/ 7388356 w 8079933"/>
              <a:gd name="connsiteY4234" fmla="*/ 3242920 h 4687251"/>
              <a:gd name="connsiteX4235" fmla="*/ 7392589 w 8079933"/>
              <a:gd name="connsiteY4235" fmla="*/ 3243786 h 4687251"/>
              <a:gd name="connsiteX4236" fmla="*/ 7391503 w 8079933"/>
              <a:gd name="connsiteY4236" fmla="*/ 3244869 h 4687251"/>
              <a:gd name="connsiteX4237" fmla="*/ 7389116 w 8079933"/>
              <a:gd name="connsiteY4237" fmla="*/ 3244328 h 4687251"/>
              <a:gd name="connsiteX4238" fmla="*/ 6769920 w 8079933"/>
              <a:gd name="connsiteY4238" fmla="*/ 3242704 h 4687251"/>
              <a:gd name="connsiteX4239" fmla="*/ 6773826 w 8079933"/>
              <a:gd name="connsiteY4239" fmla="*/ 3244436 h 4687251"/>
              <a:gd name="connsiteX4240" fmla="*/ 6778275 w 8079933"/>
              <a:gd name="connsiteY4240" fmla="*/ 3247143 h 4687251"/>
              <a:gd name="connsiteX4241" fmla="*/ 6783159 w 8079933"/>
              <a:gd name="connsiteY4241" fmla="*/ 3245410 h 4687251"/>
              <a:gd name="connsiteX4242" fmla="*/ 6787933 w 8079933"/>
              <a:gd name="connsiteY4242" fmla="*/ 3248334 h 4687251"/>
              <a:gd name="connsiteX4243" fmla="*/ 6787933 w 8079933"/>
              <a:gd name="connsiteY4243" fmla="*/ 3252448 h 4687251"/>
              <a:gd name="connsiteX4244" fmla="*/ 6790321 w 8079933"/>
              <a:gd name="connsiteY4244" fmla="*/ 3251474 h 4687251"/>
              <a:gd name="connsiteX4245" fmla="*/ 6789669 w 8079933"/>
              <a:gd name="connsiteY4245" fmla="*/ 3247685 h 4687251"/>
              <a:gd name="connsiteX4246" fmla="*/ 6794661 w 8079933"/>
              <a:gd name="connsiteY4246" fmla="*/ 3249092 h 4687251"/>
              <a:gd name="connsiteX4247" fmla="*/ 6794661 w 8079933"/>
              <a:gd name="connsiteY4247" fmla="*/ 3252665 h 4687251"/>
              <a:gd name="connsiteX4248" fmla="*/ 6796072 w 8079933"/>
              <a:gd name="connsiteY4248" fmla="*/ 3256995 h 4687251"/>
              <a:gd name="connsiteX4249" fmla="*/ 6797808 w 8079933"/>
              <a:gd name="connsiteY4249" fmla="*/ 3254938 h 4687251"/>
              <a:gd name="connsiteX4250" fmla="*/ 6797808 w 8079933"/>
              <a:gd name="connsiteY4250" fmla="*/ 3260136 h 4687251"/>
              <a:gd name="connsiteX4251" fmla="*/ 6791623 w 8079933"/>
              <a:gd name="connsiteY4251" fmla="*/ 3260136 h 4687251"/>
              <a:gd name="connsiteX4252" fmla="*/ 6794770 w 8079933"/>
              <a:gd name="connsiteY4252" fmla="*/ 3262734 h 4687251"/>
              <a:gd name="connsiteX4253" fmla="*/ 6788042 w 8079933"/>
              <a:gd name="connsiteY4253" fmla="*/ 3261868 h 4687251"/>
              <a:gd name="connsiteX4254" fmla="*/ 6783593 w 8079933"/>
              <a:gd name="connsiteY4254" fmla="*/ 3262517 h 4687251"/>
              <a:gd name="connsiteX4255" fmla="*/ 6782073 w 8079933"/>
              <a:gd name="connsiteY4255" fmla="*/ 3259269 h 4687251"/>
              <a:gd name="connsiteX4256" fmla="*/ 6776865 w 8079933"/>
              <a:gd name="connsiteY4256" fmla="*/ 3263708 h 4687251"/>
              <a:gd name="connsiteX4257" fmla="*/ 6771982 w 8079933"/>
              <a:gd name="connsiteY4257" fmla="*/ 3262842 h 4687251"/>
              <a:gd name="connsiteX4258" fmla="*/ 6766773 w 8079933"/>
              <a:gd name="connsiteY4258" fmla="*/ 3265116 h 4687251"/>
              <a:gd name="connsiteX4259" fmla="*/ 6762432 w 8079933"/>
              <a:gd name="connsiteY4259" fmla="*/ 3263600 h 4687251"/>
              <a:gd name="connsiteX4260" fmla="*/ 6760370 w 8079933"/>
              <a:gd name="connsiteY4260" fmla="*/ 3266307 h 4687251"/>
              <a:gd name="connsiteX4261" fmla="*/ 6755271 w 8079933"/>
              <a:gd name="connsiteY4261" fmla="*/ 3268039 h 4687251"/>
              <a:gd name="connsiteX4262" fmla="*/ 6751798 w 8079933"/>
              <a:gd name="connsiteY4262" fmla="*/ 3266632 h 4687251"/>
              <a:gd name="connsiteX4263" fmla="*/ 6745613 w 8079933"/>
              <a:gd name="connsiteY4263" fmla="*/ 3268039 h 4687251"/>
              <a:gd name="connsiteX4264" fmla="*/ 6741271 w 8079933"/>
              <a:gd name="connsiteY4264" fmla="*/ 3266199 h 4687251"/>
              <a:gd name="connsiteX4265" fmla="*/ 6738667 w 8079933"/>
              <a:gd name="connsiteY4265" fmla="*/ 3263492 h 4687251"/>
              <a:gd name="connsiteX4266" fmla="*/ 6740078 w 8079933"/>
              <a:gd name="connsiteY4266" fmla="*/ 3261434 h 4687251"/>
              <a:gd name="connsiteX4267" fmla="*/ 6738342 w 8079933"/>
              <a:gd name="connsiteY4267" fmla="*/ 3259702 h 4687251"/>
              <a:gd name="connsiteX4268" fmla="*/ 6738993 w 8079933"/>
              <a:gd name="connsiteY4268" fmla="*/ 3256779 h 4687251"/>
              <a:gd name="connsiteX4269" fmla="*/ 6742140 w 8079933"/>
              <a:gd name="connsiteY4269" fmla="*/ 3252989 h 4687251"/>
              <a:gd name="connsiteX4270" fmla="*/ 6748976 w 8079933"/>
              <a:gd name="connsiteY4270" fmla="*/ 3250391 h 4687251"/>
              <a:gd name="connsiteX4271" fmla="*/ 6753317 w 8079933"/>
              <a:gd name="connsiteY4271" fmla="*/ 3251474 h 4687251"/>
              <a:gd name="connsiteX4272" fmla="*/ 6757224 w 8079933"/>
              <a:gd name="connsiteY4272" fmla="*/ 3250391 h 4687251"/>
              <a:gd name="connsiteX4273" fmla="*/ 6760479 w 8079933"/>
              <a:gd name="connsiteY4273" fmla="*/ 3251041 h 4687251"/>
              <a:gd name="connsiteX4274" fmla="*/ 6761673 w 8079933"/>
              <a:gd name="connsiteY4274" fmla="*/ 3255155 h 4687251"/>
              <a:gd name="connsiteX4275" fmla="*/ 6767316 w 8079933"/>
              <a:gd name="connsiteY4275" fmla="*/ 3258836 h 4687251"/>
              <a:gd name="connsiteX4276" fmla="*/ 6771113 w 8079933"/>
              <a:gd name="connsiteY4276" fmla="*/ 3257104 h 4687251"/>
              <a:gd name="connsiteX4277" fmla="*/ 6777516 w 8079933"/>
              <a:gd name="connsiteY4277" fmla="*/ 3256238 h 4687251"/>
              <a:gd name="connsiteX4278" fmla="*/ 6773718 w 8079933"/>
              <a:gd name="connsiteY4278" fmla="*/ 3252448 h 4687251"/>
              <a:gd name="connsiteX4279" fmla="*/ 6764060 w 8079933"/>
              <a:gd name="connsiteY4279" fmla="*/ 3248875 h 4687251"/>
              <a:gd name="connsiteX4280" fmla="*/ 6764060 w 8079933"/>
              <a:gd name="connsiteY4280" fmla="*/ 3246277 h 4687251"/>
              <a:gd name="connsiteX4281" fmla="*/ 4692801 w 8079933"/>
              <a:gd name="connsiteY4281" fmla="*/ 3242595 h 4687251"/>
              <a:gd name="connsiteX4282" fmla="*/ 4693127 w 8079933"/>
              <a:gd name="connsiteY4282" fmla="*/ 3244544 h 4687251"/>
              <a:gd name="connsiteX4283" fmla="*/ 4693128 w 8079933"/>
              <a:gd name="connsiteY4283" fmla="*/ 3244545 h 4687251"/>
              <a:gd name="connsiteX4284" fmla="*/ 4692802 w 8079933"/>
              <a:gd name="connsiteY4284" fmla="*/ 3242596 h 4687251"/>
              <a:gd name="connsiteX4285" fmla="*/ 7060529 w 8079933"/>
              <a:gd name="connsiteY4285" fmla="*/ 3242487 h 4687251"/>
              <a:gd name="connsiteX4286" fmla="*/ 7058466 w 8079933"/>
              <a:gd name="connsiteY4286" fmla="*/ 3245085 h 4687251"/>
              <a:gd name="connsiteX4287" fmla="*/ 7055536 w 8079933"/>
              <a:gd name="connsiteY4287" fmla="*/ 3245085 h 4687251"/>
              <a:gd name="connsiteX4288" fmla="*/ 7272786 w 8079933"/>
              <a:gd name="connsiteY4288" fmla="*/ 3242379 h 4687251"/>
              <a:gd name="connsiteX4289" fmla="*/ 7274413 w 8079933"/>
              <a:gd name="connsiteY4289" fmla="*/ 3242812 h 4687251"/>
              <a:gd name="connsiteX4290" fmla="*/ 7276150 w 8079933"/>
              <a:gd name="connsiteY4290" fmla="*/ 3248226 h 4687251"/>
              <a:gd name="connsiteX4291" fmla="*/ 7274739 w 8079933"/>
              <a:gd name="connsiteY4291" fmla="*/ 3249633 h 4687251"/>
              <a:gd name="connsiteX4292" fmla="*/ 7270289 w 8079933"/>
              <a:gd name="connsiteY4292" fmla="*/ 3248117 h 4687251"/>
              <a:gd name="connsiteX4293" fmla="*/ 7268228 w 8079933"/>
              <a:gd name="connsiteY4293" fmla="*/ 3247684 h 4687251"/>
              <a:gd name="connsiteX4294" fmla="*/ 7270289 w 8079933"/>
              <a:gd name="connsiteY4294" fmla="*/ 3244003 h 4687251"/>
              <a:gd name="connsiteX4295" fmla="*/ 7088632 w 8079933"/>
              <a:gd name="connsiteY4295" fmla="*/ 3242055 h 4687251"/>
              <a:gd name="connsiteX4296" fmla="*/ 7091237 w 8079933"/>
              <a:gd name="connsiteY4296" fmla="*/ 3242271 h 4687251"/>
              <a:gd name="connsiteX4297" fmla="*/ 7090152 w 8079933"/>
              <a:gd name="connsiteY4297" fmla="*/ 3243787 h 4687251"/>
              <a:gd name="connsiteX4298" fmla="*/ 7087005 w 8079933"/>
              <a:gd name="connsiteY4298" fmla="*/ 3246169 h 4687251"/>
              <a:gd name="connsiteX4299" fmla="*/ 7083533 w 8079933"/>
              <a:gd name="connsiteY4299" fmla="*/ 3246819 h 4687251"/>
              <a:gd name="connsiteX4300" fmla="*/ 7084293 w 8079933"/>
              <a:gd name="connsiteY4300" fmla="*/ 3244978 h 4687251"/>
              <a:gd name="connsiteX4301" fmla="*/ 6704702 w 8079933"/>
              <a:gd name="connsiteY4301" fmla="*/ 3241838 h 4687251"/>
              <a:gd name="connsiteX4302" fmla="*/ 6710996 w 8079933"/>
              <a:gd name="connsiteY4302" fmla="*/ 3243245 h 4687251"/>
              <a:gd name="connsiteX4303" fmla="*/ 6716205 w 8079933"/>
              <a:gd name="connsiteY4303" fmla="*/ 3249416 h 4687251"/>
              <a:gd name="connsiteX4304" fmla="*/ 6715011 w 8079933"/>
              <a:gd name="connsiteY4304" fmla="*/ 3252123 h 4687251"/>
              <a:gd name="connsiteX4305" fmla="*/ 6710671 w 8079933"/>
              <a:gd name="connsiteY4305" fmla="*/ 3252989 h 4687251"/>
              <a:gd name="connsiteX4306" fmla="*/ 6709151 w 8079933"/>
              <a:gd name="connsiteY4306" fmla="*/ 3254722 h 4687251"/>
              <a:gd name="connsiteX4307" fmla="*/ 6705353 w 8079933"/>
              <a:gd name="connsiteY4307" fmla="*/ 3256562 h 4687251"/>
              <a:gd name="connsiteX4308" fmla="*/ 6703291 w 8079933"/>
              <a:gd name="connsiteY4308" fmla="*/ 3259594 h 4687251"/>
              <a:gd name="connsiteX4309" fmla="*/ 6702098 w 8079933"/>
              <a:gd name="connsiteY4309" fmla="*/ 3256779 h 4687251"/>
              <a:gd name="connsiteX4310" fmla="*/ 6696238 w 8079933"/>
              <a:gd name="connsiteY4310" fmla="*/ 3252340 h 4687251"/>
              <a:gd name="connsiteX4311" fmla="*/ 6689618 w 8079933"/>
              <a:gd name="connsiteY4311" fmla="*/ 3250932 h 4687251"/>
              <a:gd name="connsiteX4312" fmla="*/ 6687448 w 8079933"/>
              <a:gd name="connsiteY4312" fmla="*/ 3247793 h 4687251"/>
              <a:gd name="connsiteX4313" fmla="*/ 6687448 w 8079933"/>
              <a:gd name="connsiteY4313" fmla="*/ 3244220 h 4687251"/>
              <a:gd name="connsiteX4314" fmla="*/ 6692766 w 8079933"/>
              <a:gd name="connsiteY4314" fmla="*/ 3242704 h 4687251"/>
              <a:gd name="connsiteX4315" fmla="*/ 6698082 w 8079933"/>
              <a:gd name="connsiteY4315" fmla="*/ 3244111 h 4687251"/>
              <a:gd name="connsiteX4316" fmla="*/ 6888421 w 8079933"/>
              <a:gd name="connsiteY4316" fmla="*/ 3241297 h 4687251"/>
              <a:gd name="connsiteX4317" fmla="*/ 6893413 w 8079933"/>
              <a:gd name="connsiteY4317" fmla="*/ 3243354 h 4687251"/>
              <a:gd name="connsiteX4318" fmla="*/ 6893413 w 8079933"/>
              <a:gd name="connsiteY4318" fmla="*/ 3247685 h 4687251"/>
              <a:gd name="connsiteX4319" fmla="*/ 6891133 w 8079933"/>
              <a:gd name="connsiteY4319" fmla="*/ 3251691 h 4687251"/>
              <a:gd name="connsiteX4320" fmla="*/ 6887987 w 8079933"/>
              <a:gd name="connsiteY4320" fmla="*/ 3253098 h 4687251"/>
              <a:gd name="connsiteX4321" fmla="*/ 6884514 w 8079933"/>
              <a:gd name="connsiteY4321" fmla="*/ 3257754 h 4687251"/>
              <a:gd name="connsiteX4322" fmla="*/ 6879306 w 8079933"/>
              <a:gd name="connsiteY4322" fmla="*/ 3258403 h 4687251"/>
              <a:gd name="connsiteX4323" fmla="*/ 6877244 w 8079933"/>
              <a:gd name="connsiteY4323" fmla="*/ 3260677 h 4687251"/>
              <a:gd name="connsiteX4324" fmla="*/ 6873771 w 8079933"/>
              <a:gd name="connsiteY4324" fmla="*/ 3259486 h 4687251"/>
              <a:gd name="connsiteX4325" fmla="*/ 6867260 w 8079933"/>
              <a:gd name="connsiteY4325" fmla="*/ 3258620 h 4687251"/>
              <a:gd name="connsiteX4326" fmla="*/ 6860532 w 8079933"/>
              <a:gd name="connsiteY4326" fmla="*/ 3261651 h 4687251"/>
              <a:gd name="connsiteX4327" fmla="*/ 6852827 w 8079933"/>
              <a:gd name="connsiteY4327" fmla="*/ 3260244 h 4687251"/>
              <a:gd name="connsiteX4328" fmla="*/ 6847619 w 8079933"/>
              <a:gd name="connsiteY4328" fmla="*/ 3262517 h 4687251"/>
              <a:gd name="connsiteX4329" fmla="*/ 6846533 w 8079933"/>
              <a:gd name="connsiteY4329" fmla="*/ 3263817 h 4687251"/>
              <a:gd name="connsiteX4330" fmla="*/ 6843060 w 8079933"/>
              <a:gd name="connsiteY4330" fmla="*/ 3263817 h 4687251"/>
              <a:gd name="connsiteX4331" fmla="*/ 6840347 w 8079933"/>
              <a:gd name="connsiteY4331" fmla="*/ 3262409 h 4687251"/>
              <a:gd name="connsiteX4332" fmla="*/ 6836007 w 8079933"/>
              <a:gd name="connsiteY4332" fmla="*/ 3264250 h 4687251"/>
              <a:gd name="connsiteX4333" fmla="*/ 6833294 w 8079933"/>
              <a:gd name="connsiteY4333" fmla="*/ 3261976 h 4687251"/>
              <a:gd name="connsiteX4334" fmla="*/ 6829605 w 8079933"/>
              <a:gd name="connsiteY4334" fmla="*/ 3261976 h 4687251"/>
              <a:gd name="connsiteX4335" fmla="*/ 6826240 w 8079933"/>
              <a:gd name="connsiteY4335" fmla="*/ 3262626 h 4687251"/>
              <a:gd name="connsiteX4336" fmla="*/ 6822659 w 8079933"/>
              <a:gd name="connsiteY4336" fmla="*/ 3261651 h 4687251"/>
              <a:gd name="connsiteX4337" fmla="*/ 6819404 w 8079933"/>
              <a:gd name="connsiteY4337" fmla="*/ 3261651 h 4687251"/>
              <a:gd name="connsiteX4338" fmla="*/ 6815389 w 8079933"/>
              <a:gd name="connsiteY4338" fmla="*/ 3260677 h 4687251"/>
              <a:gd name="connsiteX4339" fmla="*/ 6813978 w 8079933"/>
              <a:gd name="connsiteY4339" fmla="*/ 3256671 h 4687251"/>
              <a:gd name="connsiteX4340" fmla="*/ 6815171 w 8079933"/>
              <a:gd name="connsiteY4340" fmla="*/ 3252340 h 4687251"/>
              <a:gd name="connsiteX4341" fmla="*/ 6822443 w 8079933"/>
              <a:gd name="connsiteY4341" fmla="*/ 3248334 h 4687251"/>
              <a:gd name="connsiteX4342" fmla="*/ 6834162 w 8079933"/>
              <a:gd name="connsiteY4342" fmla="*/ 3245736 h 4687251"/>
              <a:gd name="connsiteX4343" fmla="*/ 6840023 w 8079933"/>
              <a:gd name="connsiteY4343" fmla="*/ 3248659 h 4687251"/>
              <a:gd name="connsiteX4344" fmla="*/ 6843277 w 8079933"/>
              <a:gd name="connsiteY4344" fmla="*/ 3247793 h 4687251"/>
              <a:gd name="connsiteX4345" fmla="*/ 6849463 w 8079933"/>
              <a:gd name="connsiteY4345" fmla="*/ 3249309 h 4687251"/>
              <a:gd name="connsiteX4346" fmla="*/ 6855974 w 8079933"/>
              <a:gd name="connsiteY4346" fmla="*/ 3253423 h 4687251"/>
              <a:gd name="connsiteX4347" fmla="*/ 6860966 w 8079933"/>
              <a:gd name="connsiteY4347" fmla="*/ 3251366 h 4687251"/>
              <a:gd name="connsiteX4348" fmla="*/ 6867911 w 8079933"/>
              <a:gd name="connsiteY4348" fmla="*/ 3251366 h 4687251"/>
              <a:gd name="connsiteX4349" fmla="*/ 6871058 w 8079933"/>
              <a:gd name="connsiteY4349" fmla="*/ 3253748 h 4687251"/>
              <a:gd name="connsiteX4350" fmla="*/ 6876376 w 8079933"/>
              <a:gd name="connsiteY4350" fmla="*/ 3253748 h 4687251"/>
              <a:gd name="connsiteX4351" fmla="*/ 6879088 w 8079933"/>
              <a:gd name="connsiteY4351" fmla="*/ 3250499 h 4687251"/>
              <a:gd name="connsiteX4352" fmla="*/ 6883429 w 8079933"/>
              <a:gd name="connsiteY4352" fmla="*/ 3249092 h 4687251"/>
              <a:gd name="connsiteX4353" fmla="*/ 6886142 w 8079933"/>
              <a:gd name="connsiteY4353" fmla="*/ 3244978 h 4687251"/>
              <a:gd name="connsiteX4354" fmla="*/ 6884297 w 8079933"/>
              <a:gd name="connsiteY4354" fmla="*/ 3244003 h 4687251"/>
              <a:gd name="connsiteX4355" fmla="*/ 7395192 w 8079933"/>
              <a:gd name="connsiteY4355" fmla="*/ 3235017 h 4687251"/>
              <a:gd name="connsiteX4356" fmla="*/ 7396711 w 8079933"/>
              <a:gd name="connsiteY4356" fmla="*/ 3239997 h 4687251"/>
              <a:gd name="connsiteX4357" fmla="*/ 7396060 w 8079933"/>
              <a:gd name="connsiteY4357" fmla="*/ 3241946 h 4687251"/>
              <a:gd name="connsiteX4358" fmla="*/ 7394325 w 8079933"/>
              <a:gd name="connsiteY4358" fmla="*/ 3242054 h 4687251"/>
              <a:gd name="connsiteX4359" fmla="*/ 7392371 w 8079933"/>
              <a:gd name="connsiteY4359" fmla="*/ 3239672 h 4687251"/>
              <a:gd name="connsiteX4360" fmla="*/ 7392588 w 8079933"/>
              <a:gd name="connsiteY4360" fmla="*/ 3237398 h 4687251"/>
              <a:gd name="connsiteX4361" fmla="*/ 7055319 w 8079933"/>
              <a:gd name="connsiteY4361" fmla="*/ 3234151 h 4687251"/>
              <a:gd name="connsiteX4362" fmla="*/ 7058467 w 8079933"/>
              <a:gd name="connsiteY4362" fmla="*/ 3235991 h 4687251"/>
              <a:gd name="connsiteX4363" fmla="*/ 7059335 w 8079933"/>
              <a:gd name="connsiteY4363" fmla="*/ 3239781 h 4687251"/>
              <a:gd name="connsiteX4364" fmla="*/ 7055754 w 8079933"/>
              <a:gd name="connsiteY4364" fmla="*/ 3240539 h 4687251"/>
              <a:gd name="connsiteX4365" fmla="*/ 7052714 w 8079933"/>
              <a:gd name="connsiteY4365" fmla="*/ 3238049 h 4687251"/>
              <a:gd name="connsiteX4366" fmla="*/ 7052498 w 8079933"/>
              <a:gd name="connsiteY4366" fmla="*/ 3235450 h 4687251"/>
              <a:gd name="connsiteX4367" fmla="*/ 2192952 w 8079933"/>
              <a:gd name="connsiteY4367" fmla="*/ 3234089 h 4687251"/>
              <a:gd name="connsiteX4368" fmla="*/ 2192687 w 8079933"/>
              <a:gd name="connsiteY4368" fmla="*/ 3234908 h 4687251"/>
              <a:gd name="connsiteX4369" fmla="*/ 2199198 w 8079933"/>
              <a:gd name="connsiteY4369" fmla="*/ 3241405 h 4687251"/>
              <a:gd name="connsiteX4370" fmla="*/ 2209604 w 8079933"/>
              <a:gd name="connsiteY4370" fmla="*/ 3258228 h 4687251"/>
              <a:gd name="connsiteX4371" fmla="*/ 2209724 w 8079933"/>
              <a:gd name="connsiteY4371" fmla="*/ 3258078 h 4687251"/>
              <a:gd name="connsiteX4372" fmla="*/ 2198004 w 8079933"/>
              <a:gd name="connsiteY4372" fmla="*/ 3239130 h 4687251"/>
              <a:gd name="connsiteX4373" fmla="*/ 7397145 w 8079933"/>
              <a:gd name="connsiteY4373" fmla="*/ 3233284 h 4687251"/>
              <a:gd name="connsiteX4374" fmla="*/ 7399315 w 8079933"/>
              <a:gd name="connsiteY4374" fmla="*/ 3235016 h 4687251"/>
              <a:gd name="connsiteX4375" fmla="*/ 7400835 w 8079933"/>
              <a:gd name="connsiteY4375" fmla="*/ 3237723 h 4687251"/>
              <a:gd name="connsiteX4376" fmla="*/ 7399207 w 8079933"/>
              <a:gd name="connsiteY4376" fmla="*/ 3237182 h 4687251"/>
              <a:gd name="connsiteX4377" fmla="*/ 7425686 w 8079933"/>
              <a:gd name="connsiteY4377" fmla="*/ 3232418 h 4687251"/>
              <a:gd name="connsiteX4378" fmla="*/ 7425686 w 8079933"/>
              <a:gd name="connsiteY4378" fmla="*/ 3235990 h 4687251"/>
              <a:gd name="connsiteX4379" fmla="*/ 7424166 w 8079933"/>
              <a:gd name="connsiteY4379" fmla="*/ 3233717 h 4687251"/>
              <a:gd name="connsiteX4380" fmla="*/ 7408865 w 8079933"/>
              <a:gd name="connsiteY4380" fmla="*/ 3231768 h 4687251"/>
              <a:gd name="connsiteX4381" fmla="*/ 7411035 w 8079933"/>
              <a:gd name="connsiteY4381" fmla="*/ 3233392 h 4687251"/>
              <a:gd name="connsiteX4382" fmla="*/ 7411361 w 8079933"/>
              <a:gd name="connsiteY4382" fmla="*/ 3234800 h 4687251"/>
              <a:gd name="connsiteX4383" fmla="*/ 7408540 w 8079933"/>
              <a:gd name="connsiteY4383" fmla="*/ 3234367 h 4687251"/>
              <a:gd name="connsiteX4384" fmla="*/ 7417329 w 8079933"/>
              <a:gd name="connsiteY4384" fmla="*/ 3231552 h 4687251"/>
              <a:gd name="connsiteX4385" fmla="*/ 7416027 w 8079933"/>
              <a:gd name="connsiteY4385" fmla="*/ 3233718 h 4687251"/>
              <a:gd name="connsiteX4386" fmla="*/ 7415376 w 8079933"/>
              <a:gd name="connsiteY4386" fmla="*/ 3231877 h 4687251"/>
              <a:gd name="connsiteX4387" fmla="*/ 6980226 w 8079933"/>
              <a:gd name="connsiteY4387" fmla="*/ 3228954 h 4687251"/>
              <a:gd name="connsiteX4388" fmla="*/ 6984024 w 8079933"/>
              <a:gd name="connsiteY4388" fmla="*/ 3230578 h 4687251"/>
              <a:gd name="connsiteX4389" fmla="*/ 6985001 w 8079933"/>
              <a:gd name="connsiteY4389" fmla="*/ 3233176 h 4687251"/>
              <a:gd name="connsiteX4390" fmla="*/ 6981419 w 8079933"/>
              <a:gd name="connsiteY4390" fmla="*/ 3235125 h 4687251"/>
              <a:gd name="connsiteX4391" fmla="*/ 6977947 w 8079933"/>
              <a:gd name="connsiteY4391" fmla="*/ 3237723 h 4687251"/>
              <a:gd name="connsiteX4392" fmla="*/ 6976753 w 8079933"/>
              <a:gd name="connsiteY4392" fmla="*/ 3239889 h 4687251"/>
              <a:gd name="connsiteX4393" fmla="*/ 6974149 w 8079933"/>
              <a:gd name="connsiteY4393" fmla="*/ 3237832 h 4687251"/>
              <a:gd name="connsiteX4394" fmla="*/ 6966661 w 8079933"/>
              <a:gd name="connsiteY4394" fmla="*/ 3236207 h 4687251"/>
              <a:gd name="connsiteX4395" fmla="*/ 6961452 w 8079933"/>
              <a:gd name="connsiteY4395" fmla="*/ 3239239 h 4687251"/>
              <a:gd name="connsiteX4396" fmla="*/ 6960475 w 8079933"/>
              <a:gd name="connsiteY4396" fmla="*/ 3237182 h 4687251"/>
              <a:gd name="connsiteX4397" fmla="*/ 6962212 w 8079933"/>
              <a:gd name="connsiteY4397" fmla="*/ 3232093 h 4687251"/>
              <a:gd name="connsiteX4398" fmla="*/ 6965901 w 8079933"/>
              <a:gd name="connsiteY4398" fmla="*/ 3230361 h 4687251"/>
              <a:gd name="connsiteX4399" fmla="*/ 6968397 w 8079933"/>
              <a:gd name="connsiteY4399" fmla="*/ 3232418 h 4687251"/>
              <a:gd name="connsiteX4400" fmla="*/ 6976427 w 8079933"/>
              <a:gd name="connsiteY4400" fmla="*/ 3231768 h 4687251"/>
              <a:gd name="connsiteX4401" fmla="*/ 7412664 w 8079933"/>
              <a:gd name="connsiteY4401" fmla="*/ 3228196 h 4687251"/>
              <a:gd name="connsiteX4402" fmla="*/ 7415051 w 8079933"/>
              <a:gd name="connsiteY4402" fmla="*/ 3228520 h 4687251"/>
              <a:gd name="connsiteX4403" fmla="*/ 7414074 w 8079933"/>
              <a:gd name="connsiteY4403" fmla="*/ 3231877 h 4687251"/>
              <a:gd name="connsiteX4404" fmla="*/ 7414400 w 8079933"/>
              <a:gd name="connsiteY4404" fmla="*/ 3233933 h 4687251"/>
              <a:gd name="connsiteX4405" fmla="*/ 7411361 w 8079933"/>
              <a:gd name="connsiteY4405" fmla="*/ 3230685 h 4687251"/>
              <a:gd name="connsiteX4406" fmla="*/ 7084836 w 8079933"/>
              <a:gd name="connsiteY4406" fmla="*/ 3227329 h 4687251"/>
              <a:gd name="connsiteX4407" fmla="*/ 7084076 w 8079933"/>
              <a:gd name="connsiteY4407" fmla="*/ 3228736 h 4687251"/>
              <a:gd name="connsiteX4408" fmla="*/ 7082123 w 8079933"/>
              <a:gd name="connsiteY4408" fmla="*/ 3228736 h 4687251"/>
              <a:gd name="connsiteX4409" fmla="*/ 6997045 w 8079933"/>
              <a:gd name="connsiteY4409" fmla="*/ 3226139 h 4687251"/>
              <a:gd name="connsiteX4410" fmla="*/ 6999868 w 8079933"/>
              <a:gd name="connsiteY4410" fmla="*/ 3227546 h 4687251"/>
              <a:gd name="connsiteX4411" fmla="*/ 6995418 w 8079933"/>
              <a:gd name="connsiteY4411" fmla="*/ 3230686 h 4687251"/>
              <a:gd name="connsiteX4412" fmla="*/ 6995092 w 8079933"/>
              <a:gd name="connsiteY4412" fmla="*/ 3227871 h 4687251"/>
              <a:gd name="connsiteX4413" fmla="*/ 7264539 w 8079933"/>
              <a:gd name="connsiteY4413" fmla="*/ 3225165 h 4687251"/>
              <a:gd name="connsiteX4414" fmla="*/ 7273112 w 8079933"/>
              <a:gd name="connsiteY4414" fmla="*/ 3225165 h 4687251"/>
              <a:gd name="connsiteX4415" fmla="*/ 7274631 w 8079933"/>
              <a:gd name="connsiteY4415" fmla="*/ 3226573 h 4687251"/>
              <a:gd name="connsiteX4416" fmla="*/ 7278212 w 8079933"/>
              <a:gd name="connsiteY4416" fmla="*/ 3229279 h 4687251"/>
              <a:gd name="connsiteX4417" fmla="*/ 7277344 w 8079933"/>
              <a:gd name="connsiteY4417" fmla="*/ 3231012 h 4687251"/>
              <a:gd name="connsiteX4418" fmla="*/ 7276367 w 8079933"/>
              <a:gd name="connsiteY4418" fmla="*/ 3235018 h 4687251"/>
              <a:gd name="connsiteX4419" fmla="*/ 7275282 w 8079933"/>
              <a:gd name="connsiteY4419" fmla="*/ 3236209 h 4687251"/>
              <a:gd name="connsiteX4420" fmla="*/ 7275065 w 8079933"/>
              <a:gd name="connsiteY4420" fmla="*/ 3239781 h 4687251"/>
              <a:gd name="connsiteX4421" fmla="*/ 7273221 w 8079933"/>
              <a:gd name="connsiteY4421" fmla="*/ 3242163 h 4687251"/>
              <a:gd name="connsiteX4422" fmla="*/ 7269531 w 8079933"/>
              <a:gd name="connsiteY4422" fmla="*/ 3243138 h 4687251"/>
              <a:gd name="connsiteX4423" fmla="*/ 7265842 w 8079933"/>
              <a:gd name="connsiteY4423" fmla="*/ 3247469 h 4687251"/>
              <a:gd name="connsiteX4424" fmla="*/ 7261935 w 8079933"/>
              <a:gd name="connsiteY4424" fmla="*/ 3249310 h 4687251"/>
              <a:gd name="connsiteX4425" fmla="*/ 7255858 w 8079933"/>
              <a:gd name="connsiteY4425" fmla="*/ 3248336 h 4687251"/>
              <a:gd name="connsiteX4426" fmla="*/ 7252602 w 8079933"/>
              <a:gd name="connsiteY4426" fmla="*/ 3248985 h 4687251"/>
              <a:gd name="connsiteX4427" fmla="*/ 7244463 w 8079933"/>
              <a:gd name="connsiteY4427" fmla="*/ 3248985 h 4687251"/>
              <a:gd name="connsiteX4428" fmla="*/ 7254229 w 8079933"/>
              <a:gd name="connsiteY4428" fmla="*/ 3239349 h 4687251"/>
              <a:gd name="connsiteX4429" fmla="*/ 7256725 w 8079933"/>
              <a:gd name="connsiteY4429" fmla="*/ 3234477 h 4687251"/>
              <a:gd name="connsiteX4430" fmla="*/ 7259222 w 8079933"/>
              <a:gd name="connsiteY4430" fmla="*/ 3227655 h 4687251"/>
              <a:gd name="connsiteX4431" fmla="*/ 7090804 w 8079933"/>
              <a:gd name="connsiteY4431" fmla="*/ 3225056 h 4687251"/>
              <a:gd name="connsiteX4432" fmla="*/ 7090153 w 8079933"/>
              <a:gd name="connsiteY4432" fmla="*/ 3226138 h 4687251"/>
              <a:gd name="connsiteX4433" fmla="*/ 7087657 w 8079933"/>
              <a:gd name="connsiteY4433" fmla="*/ 3226787 h 4687251"/>
              <a:gd name="connsiteX4434" fmla="*/ 7084618 w 8079933"/>
              <a:gd name="connsiteY4434" fmla="*/ 3225489 h 4687251"/>
              <a:gd name="connsiteX4435" fmla="*/ 6722824 w 8079933"/>
              <a:gd name="connsiteY4435" fmla="*/ 3222241 h 4687251"/>
              <a:gd name="connsiteX4436" fmla="*/ 6722498 w 8079933"/>
              <a:gd name="connsiteY4436" fmla="*/ 3223540 h 4687251"/>
              <a:gd name="connsiteX4437" fmla="*/ 6719026 w 8079933"/>
              <a:gd name="connsiteY4437" fmla="*/ 3223540 h 4687251"/>
              <a:gd name="connsiteX4438" fmla="*/ 6718158 w 8079933"/>
              <a:gd name="connsiteY4438" fmla="*/ 3222349 h 4687251"/>
              <a:gd name="connsiteX4439" fmla="*/ 6721739 w 8079933"/>
              <a:gd name="connsiteY4439" fmla="*/ 3222457 h 4687251"/>
              <a:gd name="connsiteX4440" fmla="*/ 4349825 w 8079933"/>
              <a:gd name="connsiteY4440" fmla="*/ 3219896 h 4687251"/>
              <a:gd name="connsiteX4441" fmla="*/ 4350540 w 8079933"/>
              <a:gd name="connsiteY4441" fmla="*/ 3220941 h 4687251"/>
              <a:gd name="connsiteX4442" fmla="*/ 4350540 w 8079933"/>
              <a:gd name="connsiteY4442" fmla="*/ 3220940 h 4687251"/>
              <a:gd name="connsiteX4443" fmla="*/ 7101222 w 8079933"/>
              <a:gd name="connsiteY4443" fmla="*/ 3219209 h 4687251"/>
              <a:gd name="connsiteX4444" fmla="*/ 7103935 w 8079933"/>
              <a:gd name="connsiteY4444" fmla="*/ 3219859 h 4687251"/>
              <a:gd name="connsiteX4445" fmla="*/ 7104369 w 8079933"/>
              <a:gd name="connsiteY4445" fmla="*/ 3221591 h 4687251"/>
              <a:gd name="connsiteX4446" fmla="*/ 7103066 w 8079933"/>
              <a:gd name="connsiteY4446" fmla="*/ 3224081 h 4687251"/>
              <a:gd name="connsiteX4447" fmla="*/ 7104043 w 8079933"/>
              <a:gd name="connsiteY4447" fmla="*/ 3227437 h 4687251"/>
              <a:gd name="connsiteX4448" fmla="*/ 7102198 w 8079933"/>
              <a:gd name="connsiteY4448" fmla="*/ 3233284 h 4687251"/>
              <a:gd name="connsiteX4449" fmla="*/ 7096772 w 8079933"/>
              <a:gd name="connsiteY4449" fmla="*/ 3240106 h 4687251"/>
              <a:gd name="connsiteX4450" fmla="*/ 7093842 w 8079933"/>
              <a:gd name="connsiteY4450" fmla="*/ 3240971 h 4687251"/>
              <a:gd name="connsiteX4451" fmla="*/ 7090261 w 8079933"/>
              <a:gd name="connsiteY4451" fmla="*/ 3238048 h 4687251"/>
              <a:gd name="connsiteX4452" fmla="*/ 7090370 w 8079933"/>
              <a:gd name="connsiteY4452" fmla="*/ 3234475 h 4687251"/>
              <a:gd name="connsiteX4453" fmla="*/ 7092974 w 8079933"/>
              <a:gd name="connsiteY4453" fmla="*/ 3232310 h 4687251"/>
              <a:gd name="connsiteX4454" fmla="*/ 7092106 w 8079933"/>
              <a:gd name="connsiteY4454" fmla="*/ 3230686 h 4687251"/>
              <a:gd name="connsiteX4455" fmla="*/ 7092431 w 8079933"/>
              <a:gd name="connsiteY4455" fmla="*/ 3228412 h 4687251"/>
              <a:gd name="connsiteX4456" fmla="*/ 7098834 w 8079933"/>
              <a:gd name="connsiteY4456" fmla="*/ 3222674 h 4687251"/>
              <a:gd name="connsiteX4457" fmla="*/ 7098943 w 8079933"/>
              <a:gd name="connsiteY4457" fmla="*/ 3220833 h 4687251"/>
              <a:gd name="connsiteX4458" fmla="*/ 7105345 w 8079933"/>
              <a:gd name="connsiteY4458" fmla="*/ 3217585 h 4687251"/>
              <a:gd name="connsiteX4459" fmla="*/ 7109685 w 8079933"/>
              <a:gd name="connsiteY4459" fmla="*/ 3218342 h 4687251"/>
              <a:gd name="connsiteX4460" fmla="*/ 7111314 w 8079933"/>
              <a:gd name="connsiteY4460" fmla="*/ 3220724 h 4687251"/>
              <a:gd name="connsiteX4461" fmla="*/ 7028840 w 8079933"/>
              <a:gd name="connsiteY4461" fmla="*/ 3217477 h 4687251"/>
              <a:gd name="connsiteX4462" fmla="*/ 7031228 w 8079933"/>
              <a:gd name="connsiteY4462" fmla="*/ 3219209 h 4687251"/>
              <a:gd name="connsiteX4463" fmla="*/ 7030034 w 8079933"/>
              <a:gd name="connsiteY4463" fmla="*/ 3221158 h 4687251"/>
              <a:gd name="connsiteX4464" fmla="*/ 7027430 w 8079933"/>
              <a:gd name="connsiteY4464" fmla="*/ 3221050 h 4687251"/>
              <a:gd name="connsiteX4465" fmla="*/ 7026670 w 8079933"/>
              <a:gd name="connsiteY4465" fmla="*/ 3219209 h 4687251"/>
              <a:gd name="connsiteX4466" fmla="*/ 6835790 w 8079933"/>
              <a:gd name="connsiteY4466" fmla="*/ 3217369 h 4687251"/>
              <a:gd name="connsiteX4467" fmla="*/ 6839044 w 8079933"/>
              <a:gd name="connsiteY4467" fmla="*/ 3219101 h 4687251"/>
              <a:gd name="connsiteX4468" fmla="*/ 6836549 w 8079933"/>
              <a:gd name="connsiteY4468" fmla="*/ 3221266 h 4687251"/>
              <a:gd name="connsiteX4469" fmla="*/ 6833945 w 8079933"/>
              <a:gd name="connsiteY4469" fmla="*/ 3219101 h 4687251"/>
              <a:gd name="connsiteX4470" fmla="*/ 7111964 w 8079933"/>
              <a:gd name="connsiteY4470" fmla="*/ 3212821 h 4687251"/>
              <a:gd name="connsiteX4471" fmla="*/ 7113267 w 8079933"/>
              <a:gd name="connsiteY4471" fmla="*/ 3213578 h 4687251"/>
              <a:gd name="connsiteX4472" fmla="*/ 7109469 w 8079933"/>
              <a:gd name="connsiteY4472" fmla="*/ 3215635 h 4687251"/>
              <a:gd name="connsiteX4473" fmla="*/ 6650986 w 8079933"/>
              <a:gd name="connsiteY4473" fmla="*/ 3212389 h 4687251"/>
              <a:gd name="connsiteX4474" fmla="*/ 6653481 w 8079933"/>
              <a:gd name="connsiteY4474" fmla="*/ 3214120 h 4687251"/>
              <a:gd name="connsiteX4475" fmla="*/ 6666286 w 8079933"/>
              <a:gd name="connsiteY4475" fmla="*/ 3214554 h 4687251"/>
              <a:gd name="connsiteX4476" fmla="*/ 6669976 w 8079933"/>
              <a:gd name="connsiteY4476" fmla="*/ 3215745 h 4687251"/>
              <a:gd name="connsiteX4477" fmla="*/ 6676378 w 8079933"/>
              <a:gd name="connsiteY4477" fmla="*/ 3214771 h 4687251"/>
              <a:gd name="connsiteX4478" fmla="*/ 6678767 w 8079933"/>
              <a:gd name="connsiteY4478" fmla="*/ 3215962 h 4687251"/>
              <a:gd name="connsiteX4479" fmla="*/ 6676705 w 8079933"/>
              <a:gd name="connsiteY4479" fmla="*/ 3218777 h 4687251"/>
              <a:gd name="connsiteX4480" fmla="*/ 6671387 w 8079933"/>
              <a:gd name="connsiteY4480" fmla="*/ 3219426 h 4687251"/>
              <a:gd name="connsiteX4481" fmla="*/ 6667046 w 8079933"/>
              <a:gd name="connsiteY4481" fmla="*/ 3221375 h 4687251"/>
              <a:gd name="connsiteX4482" fmla="*/ 6658907 w 8079933"/>
              <a:gd name="connsiteY4482" fmla="*/ 3220942 h 4687251"/>
              <a:gd name="connsiteX4483" fmla="*/ 6655868 w 8079933"/>
              <a:gd name="connsiteY4483" fmla="*/ 3222674 h 4687251"/>
              <a:gd name="connsiteX4484" fmla="*/ 6652288 w 8079933"/>
              <a:gd name="connsiteY4484" fmla="*/ 3222241 h 4687251"/>
              <a:gd name="connsiteX4485" fmla="*/ 6647513 w 8079933"/>
              <a:gd name="connsiteY4485" fmla="*/ 3217261 h 4687251"/>
              <a:gd name="connsiteX4486" fmla="*/ 6706220 w 8079933"/>
              <a:gd name="connsiteY4486" fmla="*/ 3212064 h 4687251"/>
              <a:gd name="connsiteX4487" fmla="*/ 6710561 w 8079933"/>
              <a:gd name="connsiteY4487" fmla="*/ 3212605 h 4687251"/>
              <a:gd name="connsiteX4488" fmla="*/ 6713599 w 8079933"/>
              <a:gd name="connsiteY4488" fmla="*/ 3213905 h 4687251"/>
              <a:gd name="connsiteX4489" fmla="*/ 6714468 w 8079933"/>
              <a:gd name="connsiteY4489" fmla="*/ 3215203 h 4687251"/>
              <a:gd name="connsiteX4490" fmla="*/ 6712948 w 8079933"/>
              <a:gd name="connsiteY4490" fmla="*/ 3215203 h 4687251"/>
              <a:gd name="connsiteX4491" fmla="*/ 6710670 w 8079933"/>
              <a:gd name="connsiteY4491" fmla="*/ 3214879 h 4687251"/>
              <a:gd name="connsiteX4492" fmla="*/ 6707631 w 8079933"/>
              <a:gd name="connsiteY4492" fmla="*/ 3218235 h 4687251"/>
              <a:gd name="connsiteX4493" fmla="*/ 6704376 w 8079933"/>
              <a:gd name="connsiteY4493" fmla="*/ 3215095 h 4687251"/>
              <a:gd name="connsiteX4494" fmla="*/ 6704267 w 8079933"/>
              <a:gd name="connsiteY4494" fmla="*/ 3213796 h 4687251"/>
              <a:gd name="connsiteX4495" fmla="*/ 4343378 w 8079933"/>
              <a:gd name="connsiteY4495" fmla="*/ 3211847 h 4687251"/>
              <a:gd name="connsiteX4496" fmla="*/ 4343378 w 8079933"/>
              <a:gd name="connsiteY4496" fmla="*/ 3211847 h 4687251"/>
              <a:gd name="connsiteX4497" fmla="*/ 4345440 w 8079933"/>
              <a:gd name="connsiteY4497" fmla="*/ 3213362 h 4687251"/>
              <a:gd name="connsiteX4498" fmla="*/ 4430734 w 8079933"/>
              <a:gd name="connsiteY4498" fmla="*/ 3211088 h 4687251"/>
              <a:gd name="connsiteX4499" fmla="*/ 4430734 w 8079933"/>
              <a:gd name="connsiteY4499" fmla="*/ 3211089 h 4687251"/>
              <a:gd name="connsiteX4500" fmla="*/ 4458514 w 8079933"/>
              <a:gd name="connsiteY4500" fmla="*/ 3213146 h 4687251"/>
              <a:gd name="connsiteX4501" fmla="*/ 4458514 w 8079933"/>
              <a:gd name="connsiteY4501" fmla="*/ 3213145 h 4687251"/>
              <a:gd name="connsiteX4502" fmla="*/ 7051737 w 8079933"/>
              <a:gd name="connsiteY4502" fmla="*/ 3206542 h 4687251"/>
              <a:gd name="connsiteX4503" fmla="*/ 7052605 w 8079933"/>
              <a:gd name="connsiteY4503" fmla="*/ 3208599 h 4687251"/>
              <a:gd name="connsiteX4504" fmla="*/ 7049350 w 8079933"/>
              <a:gd name="connsiteY4504" fmla="*/ 3208382 h 4687251"/>
              <a:gd name="connsiteX4505" fmla="*/ 7177834 w 8079933"/>
              <a:gd name="connsiteY4505" fmla="*/ 3206109 h 4687251"/>
              <a:gd name="connsiteX4506" fmla="*/ 7178376 w 8079933"/>
              <a:gd name="connsiteY4506" fmla="*/ 3208057 h 4687251"/>
              <a:gd name="connsiteX4507" fmla="*/ 7177291 w 8079933"/>
              <a:gd name="connsiteY4507" fmla="*/ 3209248 h 4687251"/>
              <a:gd name="connsiteX4508" fmla="*/ 7175989 w 8079933"/>
              <a:gd name="connsiteY4508" fmla="*/ 3208166 h 4687251"/>
              <a:gd name="connsiteX4509" fmla="*/ 6470739 w 8079933"/>
              <a:gd name="connsiteY4509" fmla="*/ 3204593 h 4687251"/>
              <a:gd name="connsiteX4510" fmla="*/ 6473235 w 8079933"/>
              <a:gd name="connsiteY4510" fmla="*/ 3204593 h 4687251"/>
              <a:gd name="connsiteX4511" fmla="*/ 6473018 w 8079933"/>
              <a:gd name="connsiteY4511" fmla="*/ 3206757 h 4687251"/>
              <a:gd name="connsiteX4512" fmla="*/ 6471282 w 8079933"/>
              <a:gd name="connsiteY4512" fmla="*/ 3206865 h 4687251"/>
              <a:gd name="connsiteX4513" fmla="*/ 4424440 w 8079933"/>
              <a:gd name="connsiteY4513" fmla="*/ 3202751 h 4687251"/>
              <a:gd name="connsiteX4514" fmla="*/ 4424332 w 8079933"/>
              <a:gd name="connsiteY4514" fmla="*/ 3204916 h 4687251"/>
              <a:gd name="connsiteX4515" fmla="*/ 4401000 w 8079933"/>
              <a:gd name="connsiteY4515" fmla="*/ 3205349 h 4687251"/>
              <a:gd name="connsiteX4516" fmla="*/ 4400349 w 8079933"/>
              <a:gd name="connsiteY4516" fmla="*/ 3212171 h 4687251"/>
              <a:gd name="connsiteX4517" fmla="*/ 4398613 w 8079933"/>
              <a:gd name="connsiteY4517" fmla="*/ 3215960 h 4687251"/>
              <a:gd name="connsiteX4518" fmla="*/ 4396551 w 8079933"/>
              <a:gd name="connsiteY4518" fmla="*/ 3217043 h 4687251"/>
              <a:gd name="connsiteX4519" fmla="*/ 4397311 w 8079933"/>
              <a:gd name="connsiteY4519" fmla="*/ 3221698 h 4687251"/>
              <a:gd name="connsiteX4520" fmla="*/ 4397419 w 8079933"/>
              <a:gd name="connsiteY4520" fmla="*/ 3228195 h 4687251"/>
              <a:gd name="connsiteX4521" fmla="*/ 4379297 w 8079933"/>
              <a:gd name="connsiteY4521" fmla="*/ 3229385 h 4687251"/>
              <a:gd name="connsiteX4522" fmla="*/ 4376258 w 8079933"/>
              <a:gd name="connsiteY4522" fmla="*/ 3231118 h 4687251"/>
              <a:gd name="connsiteX4523" fmla="*/ 4368011 w 8079933"/>
              <a:gd name="connsiteY4523" fmla="*/ 3230577 h 4687251"/>
              <a:gd name="connsiteX4524" fmla="*/ 4365407 w 8079933"/>
              <a:gd name="connsiteY4524" fmla="*/ 3229710 h 4687251"/>
              <a:gd name="connsiteX4525" fmla="*/ 4360957 w 8079933"/>
              <a:gd name="connsiteY4525" fmla="*/ 3230577 h 4687251"/>
              <a:gd name="connsiteX4526" fmla="*/ 4354555 w 8079933"/>
              <a:gd name="connsiteY4526" fmla="*/ 3230901 h 4687251"/>
              <a:gd name="connsiteX4527" fmla="*/ 4351951 w 8079933"/>
              <a:gd name="connsiteY4527" fmla="*/ 3229494 h 4687251"/>
              <a:gd name="connsiteX4528" fmla="*/ 4351951 w 8079933"/>
              <a:gd name="connsiteY4528" fmla="*/ 3229495 h 4687251"/>
              <a:gd name="connsiteX4529" fmla="*/ 4354556 w 8079933"/>
              <a:gd name="connsiteY4529" fmla="*/ 3230902 h 4687251"/>
              <a:gd name="connsiteX4530" fmla="*/ 4360958 w 8079933"/>
              <a:gd name="connsiteY4530" fmla="*/ 3230578 h 4687251"/>
              <a:gd name="connsiteX4531" fmla="*/ 4365408 w 8079933"/>
              <a:gd name="connsiteY4531" fmla="*/ 3229711 h 4687251"/>
              <a:gd name="connsiteX4532" fmla="*/ 4368012 w 8079933"/>
              <a:gd name="connsiteY4532" fmla="*/ 3230578 h 4687251"/>
              <a:gd name="connsiteX4533" fmla="*/ 4376259 w 8079933"/>
              <a:gd name="connsiteY4533" fmla="*/ 3231119 h 4687251"/>
              <a:gd name="connsiteX4534" fmla="*/ 4379298 w 8079933"/>
              <a:gd name="connsiteY4534" fmla="*/ 3229386 h 4687251"/>
              <a:gd name="connsiteX4535" fmla="*/ 4397420 w 8079933"/>
              <a:gd name="connsiteY4535" fmla="*/ 3228196 h 4687251"/>
              <a:gd name="connsiteX4536" fmla="*/ 4397312 w 8079933"/>
              <a:gd name="connsiteY4536" fmla="*/ 3221699 h 4687251"/>
              <a:gd name="connsiteX4537" fmla="*/ 4396552 w 8079933"/>
              <a:gd name="connsiteY4537" fmla="*/ 3217044 h 4687251"/>
              <a:gd name="connsiteX4538" fmla="*/ 4398613 w 8079933"/>
              <a:gd name="connsiteY4538" fmla="*/ 3215961 h 4687251"/>
              <a:gd name="connsiteX4539" fmla="*/ 4400350 w 8079933"/>
              <a:gd name="connsiteY4539" fmla="*/ 3212172 h 4687251"/>
              <a:gd name="connsiteX4540" fmla="*/ 4401001 w 8079933"/>
              <a:gd name="connsiteY4540" fmla="*/ 3205350 h 4687251"/>
              <a:gd name="connsiteX4541" fmla="*/ 4424332 w 8079933"/>
              <a:gd name="connsiteY4541" fmla="*/ 3204917 h 4687251"/>
              <a:gd name="connsiteX4542" fmla="*/ 4424441 w 8079933"/>
              <a:gd name="connsiteY4542" fmla="*/ 3202752 h 4687251"/>
              <a:gd name="connsiteX4543" fmla="*/ 4431710 w 8079933"/>
              <a:gd name="connsiteY4543" fmla="*/ 3203401 h 4687251"/>
              <a:gd name="connsiteX4544" fmla="*/ 4431710 w 8079933"/>
              <a:gd name="connsiteY4544" fmla="*/ 3203400 h 4687251"/>
              <a:gd name="connsiteX4545" fmla="*/ 4654899 w 8079933"/>
              <a:gd name="connsiteY4545" fmla="*/ 3200766 h 4687251"/>
              <a:gd name="connsiteX4546" fmla="*/ 4666106 w 8079933"/>
              <a:gd name="connsiteY4546" fmla="*/ 3216177 h 4687251"/>
              <a:gd name="connsiteX4547" fmla="*/ 4671857 w 8079933"/>
              <a:gd name="connsiteY4547" fmla="*/ 3235016 h 4687251"/>
              <a:gd name="connsiteX4548" fmla="*/ 4668494 w 8079933"/>
              <a:gd name="connsiteY4548" fmla="*/ 3233283 h 4687251"/>
              <a:gd name="connsiteX4549" fmla="*/ 4629427 w 8079933"/>
              <a:gd name="connsiteY4549" fmla="*/ 3242811 h 4687251"/>
              <a:gd name="connsiteX4550" fmla="*/ 4619661 w 8079933"/>
              <a:gd name="connsiteY4550" fmla="*/ 3261434 h 4687251"/>
              <a:gd name="connsiteX4551" fmla="*/ 4619661 w 8079933"/>
              <a:gd name="connsiteY4551" fmla="*/ 3261434 h 4687251"/>
              <a:gd name="connsiteX4552" fmla="*/ 4629427 w 8079933"/>
              <a:gd name="connsiteY4552" fmla="*/ 3242812 h 4687251"/>
              <a:gd name="connsiteX4553" fmla="*/ 4668493 w 8079933"/>
              <a:gd name="connsiteY4553" fmla="*/ 3233284 h 4687251"/>
              <a:gd name="connsiteX4554" fmla="*/ 4671857 w 8079933"/>
              <a:gd name="connsiteY4554" fmla="*/ 3235016 h 4687251"/>
              <a:gd name="connsiteX4555" fmla="*/ 4671858 w 8079933"/>
              <a:gd name="connsiteY4555" fmla="*/ 3235017 h 4687251"/>
              <a:gd name="connsiteX4556" fmla="*/ 4666107 w 8079933"/>
              <a:gd name="connsiteY4556" fmla="*/ 3216177 h 4687251"/>
              <a:gd name="connsiteX4557" fmla="*/ 7172408 w 8079933"/>
              <a:gd name="connsiteY4557" fmla="*/ 3199288 h 4687251"/>
              <a:gd name="connsiteX4558" fmla="*/ 7174795 w 8079933"/>
              <a:gd name="connsiteY4558" fmla="*/ 3201237 h 4687251"/>
              <a:gd name="connsiteX4559" fmla="*/ 7175663 w 8079933"/>
              <a:gd name="connsiteY4559" fmla="*/ 3203619 h 4687251"/>
              <a:gd name="connsiteX4560" fmla="*/ 7172950 w 8079933"/>
              <a:gd name="connsiteY4560" fmla="*/ 3204052 h 4687251"/>
              <a:gd name="connsiteX4561" fmla="*/ 7170997 w 8079933"/>
              <a:gd name="connsiteY4561" fmla="*/ 3202536 h 4687251"/>
              <a:gd name="connsiteX4562" fmla="*/ 7170997 w 8079933"/>
              <a:gd name="connsiteY4562" fmla="*/ 3200262 h 4687251"/>
              <a:gd name="connsiteX4563" fmla="*/ 7172408 w 8079933"/>
              <a:gd name="connsiteY4563" fmla="*/ 3199288 h 4687251"/>
              <a:gd name="connsiteX4564" fmla="*/ 7161990 w 8079933"/>
              <a:gd name="connsiteY4564" fmla="*/ 3196256 h 4687251"/>
              <a:gd name="connsiteX4565" fmla="*/ 7163835 w 8079933"/>
              <a:gd name="connsiteY4565" fmla="*/ 3197663 h 4687251"/>
              <a:gd name="connsiteX4566" fmla="*/ 7168175 w 8079933"/>
              <a:gd name="connsiteY4566" fmla="*/ 3201345 h 4687251"/>
              <a:gd name="connsiteX4567" fmla="*/ 7169695 w 8079933"/>
              <a:gd name="connsiteY4567" fmla="*/ 3204592 h 4687251"/>
              <a:gd name="connsiteX4568" fmla="*/ 7171865 w 8079933"/>
              <a:gd name="connsiteY4568" fmla="*/ 3205892 h 4687251"/>
              <a:gd name="connsiteX4569" fmla="*/ 7170997 w 8079933"/>
              <a:gd name="connsiteY4569" fmla="*/ 3208057 h 4687251"/>
              <a:gd name="connsiteX4570" fmla="*/ 7166656 w 8079933"/>
              <a:gd name="connsiteY4570" fmla="*/ 3212063 h 4687251"/>
              <a:gd name="connsiteX4571" fmla="*/ 7164269 w 8079933"/>
              <a:gd name="connsiteY4571" fmla="*/ 3212388 h 4687251"/>
              <a:gd name="connsiteX4572" fmla="*/ 7161990 w 8079933"/>
              <a:gd name="connsiteY4572" fmla="*/ 3210222 h 4687251"/>
              <a:gd name="connsiteX4573" fmla="*/ 7162424 w 8079933"/>
              <a:gd name="connsiteY4573" fmla="*/ 3205784 h 4687251"/>
              <a:gd name="connsiteX4574" fmla="*/ 7163943 w 8079933"/>
              <a:gd name="connsiteY4574" fmla="*/ 3205892 h 4687251"/>
              <a:gd name="connsiteX4575" fmla="*/ 7165680 w 8079933"/>
              <a:gd name="connsiteY4575" fmla="*/ 3207516 h 4687251"/>
              <a:gd name="connsiteX4576" fmla="*/ 7164594 w 8079933"/>
              <a:gd name="connsiteY4576" fmla="*/ 3204918 h 4687251"/>
              <a:gd name="connsiteX4577" fmla="*/ 7162641 w 8079933"/>
              <a:gd name="connsiteY4577" fmla="*/ 3203185 h 4687251"/>
              <a:gd name="connsiteX4578" fmla="*/ 7162533 w 8079933"/>
              <a:gd name="connsiteY4578" fmla="*/ 3198205 h 4687251"/>
              <a:gd name="connsiteX4579" fmla="*/ 7063566 w 8079933"/>
              <a:gd name="connsiteY4579" fmla="*/ 3196148 h 4687251"/>
              <a:gd name="connsiteX4580" fmla="*/ 7066062 w 8079933"/>
              <a:gd name="connsiteY4580" fmla="*/ 3197338 h 4687251"/>
              <a:gd name="connsiteX4581" fmla="*/ 7062698 w 8079933"/>
              <a:gd name="connsiteY4581" fmla="*/ 3199396 h 4687251"/>
              <a:gd name="connsiteX4582" fmla="*/ 7163184 w 8079933"/>
              <a:gd name="connsiteY4582" fmla="*/ 3191492 h 4687251"/>
              <a:gd name="connsiteX4583" fmla="*/ 7165896 w 8079933"/>
              <a:gd name="connsiteY4583" fmla="*/ 3192141 h 4687251"/>
              <a:gd name="connsiteX4584" fmla="*/ 7166656 w 8079933"/>
              <a:gd name="connsiteY4584" fmla="*/ 3194740 h 4687251"/>
              <a:gd name="connsiteX4585" fmla="*/ 7170563 w 8079933"/>
              <a:gd name="connsiteY4585" fmla="*/ 3198530 h 4687251"/>
              <a:gd name="connsiteX4586" fmla="*/ 7169261 w 8079933"/>
              <a:gd name="connsiteY4586" fmla="*/ 3199396 h 4687251"/>
              <a:gd name="connsiteX4587" fmla="*/ 7166331 w 8079933"/>
              <a:gd name="connsiteY4587" fmla="*/ 3197880 h 4687251"/>
              <a:gd name="connsiteX4588" fmla="*/ 7162750 w 8079933"/>
              <a:gd name="connsiteY4588" fmla="*/ 3193874 h 4687251"/>
              <a:gd name="connsiteX4589" fmla="*/ 7174795 w 8079933"/>
              <a:gd name="connsiteY4589" fmla="*/ 3188569 h 4687251"/>
              <a:gd name="connsiteX4590" fmla="*/ 7176098 w 8079933"/>
              <a:gd name="connsiteY4590" fmla="*/ 3188893 h 4687251"/>
              <a:gd name="connsiteX4591" fmla="*/ 7177508 w 8079933"/>
              <a:gd name="connsiteY4591" fmla="*/ 3191059 h 4687251"/>
              <a:gd name="connsiteX4592" fmla="*/ 7177075 w 8079933"/>
              <a:gd name="connsiteY4592" fmla="*/ 3192358 h 4687251"/>
              <a:gd name="connsiteX4593" fmla="*/ 7178160 w 8079933"/>
              <a:gd name="connsiteY4593" fmla="*/ 3192899 h 4687251"/>
              <a:gd name="connsiteX4594" fmla="*/ 7177617 w 8079933"/>
              <a:gd name="connsiteY4594" fmla="*/ 3195606 h 4687251"/>
              <a:gd name="connsiteX4595" fmla="*/ 7175230 w 8079933"/>
              <a:gd name="connsiteY4595" fmla="*/ 3198530 h 4687251"/>
              <a:gd name="connsiteX4596" fmla="*/ 7173168 w 8079933"/>
              <a:gd name="connsiteY4596" fmla="*/ 3197122 h 4687251"/>
              <a:gd name="connsiteX4597" fmla="*/ 7168176 w 8079933"/>
              <a:gd name="connsiteY4597" fmla="*/ 3194415 h 4687251"/>
              <a:gd name="connsiteX4598" fmla="*/ 7167416 w 8079933"/>
              <a:gd name="connsiteY4598" fmla="*/ 3193116 h 4687251"/>
              <a:gd name="connsiteX4599" fmla="*/ 7170780 w 8079933"/>
              <a:gd name="connsiteY4599" fmla="*/ 3190085 h 4687251"/>
              <a:gd name="connsiteX4600" fmla="*/ 6492008 w 8079933"/>
              <a:gd name="connsiteY4600" fmla="*/ 3187486 h 4687251"/>
              <a:gd name="connsiteX4601" fmla="*/ 6494179 w 8079933"/>
              <a:gd name="connsiteY4601" fmla="*/ 3189651 h 4687251"/>
              <a:gd name="connsiteX4602" fmla="*/ 6499821 w 8079933"/>
              <a:gd name="connsiteY4602" fmla="*/ 3189651 h 4687251"/>
              <a:gd name="connsiteX4603" fmla="*/ 6507526 w 8079933"/>
              <a:gd name="connsiteY4603" fmla="*/ 3190842 h 4687251"/>
              <a:gd name="connsiteX4604" fmla="*/ 6511108 w 8079933"/>
              <a:gd name="connsiteY4604" fmla="*/ 3193765 h 4687251"/>
              <a:gd name="connsiteX4605" fmla="*/ 6513061 w 8079933"/>
              <a:gd name="connsiteY4605" fmla="*/ 3192033 h 4687251"/>
              <a:gd name="connsiteX4606" fmla="*/ 6515231 w 8079933"/>
              <a:gd name="connsiteY4606" fmla="*/ 3189651 h 4687251"/>
              <a:gd name="connsiteX4607" fmla="*/ 6522610 w 8079933"/>
              <a:gd name="connsiteY4607" fmla="*/ 3190085 h 4687251"/>
              <a:gd name="connsiteX4608" fmla="*/ 6527276 w 8079933"/>
              <a:gd name="connsiteY4608" fmla="*/ 3193765 h 4687251"/>
              <a:gd name="connsiteX4609" fmla="*/ 6535741 w 8079933"/>
              <a:gd name="connsiteY4609" fmla="*/ 3195823 h 4687251"/>
              <a:gd name="connsiteX4610" fmla="*/ 6546266 w 8079933"/>
              <a:gd name="connsiteY4610" fmla="*/ 3196906 h 4687251"/>
              <a:gd name="connsiteX4611" fmla="*/ 6548979 w 8079933"/>
              <a:gd name="connsiteY4611" fmla="*/ 3201886 h 4687251"/>
              <a:gd name="connsiteX4612" fmla="*/ 6548111 w 8079933"/>
              <a:gd name="connsiteY4612" fmla="*/ 3206542 h 4687251"/>
              <a:gd name="connsiteX4613" fmla="*/ 6550064 w 8079933"/>
              <a:gd name="connsiteY4613" fmla="*/ 3208599 h 4687251"/>
              <a:gd name="connsiteX4614" fmla="*/ 6558203 w 8079933"/>
              <a:gd name="connsiteY4614" fmla="*/ 3212280 h 4687251"/>
              <a:gd name="connsiteX4615" fmla="*/ 6572636 w 8079933"/>
              <a:gd name="connsiteY4615" fmla="*/ 3212063 h 4687251"/>
              <a:gd name="connsiteX4616" fmla="*/ 6585441 w 8079933"/>
              <a:gd name="connsiteY4616" fmla="*/ 3214120 h 4687251"/>
              <a:gd name="connsiteX4617" fmla="*/ 6596293 w 8079933"/>
              <a:gd name="connsiteY4617" fmla="*/ 3212280 h 4687251"/>
              <a:gd name="connsiteX4618" fmla="*/ 6599223 w 8079933"/>
              <a:gd name="connsiteY4618" fmla="*/ 3208382 h 4687251"/>
              <a:gd name="connsiteX4619" fmla="*/ 6600633 w 8079933"/>
              <a:gd name="connsiteY4619" fmla="*/ 3198963 h 4687251"/>
              <a:gd name="connsiteX4620" fmla="*/ 6605083 w 8079933"/>
              <a:gd name="connsiteY4620" fmla="*/ 3198746 h 4687251"/>
              <a:gd name="connsiteX4621" fmla="*/ 6611050 w 8079933"/>
              <a:gd name="connsiteY4621" fmla="*/ 3204918 h 4687251"/>
              <a:gd name="connsiteX4622" fmla="*/ 6614740 w 8079933"/>
              <a:gd name="connsiteY4622" fmla="*/ 3204918 h 4687251"/>
              <a:gd name="connsiteX4623" fmla="*/ 6619082 w 8079933"/>
              <a:gd name="connsiteY4623" fmla="*/ 3204051 h 4687251"/>
              <a:gd name="connsiteX4624" fmla="*/ 6622337 w 8079933"/>
              <a:gd name="connsiteY4624" fmla="*/ 3206108 h 4687251"/>
              <a:gd name="connsiteX4625" fmla="*/ 6627437 w 8079933"/>
              <a:gd name="connsiteY4625" fmla="*/ 3210439 h 4687251"/>
              <a:gd name="connsiteX4626" fmla="*/ 6631560 w 8079933"/>
              <a:gd name="connsiteY4626" fmla="*/ 3210222 h 4687251"/>
              <a:gd name="connsiteX4627" fmla="*/ 6634925 w 8079933"/>
              <a:gd name="connsiteY4627" fmla="*/ 3213904 h 4687251"/>
              <a:gd name="connsiteX4628" fmla="*/ 6637963 w 8079933"/>
              <a:gd name="connsiteY4628" fmla="*/ 3212388 h 4687251"/>
              <a:gd name="connsiteX4629" fmla="*/ 6644366 w 8079933"/>
              <a:gd name="connsiteY4629" fmla="*/ 3212496 h 4687251"/>
              <a:gd name="connsiteX4630" fmla="*/ 6644691 w 8079933"/>
              <a:gd name="connsiteY4630" fmla="*/ 3218884 h 4687251"/>
              <a:gd name="connsiteX4631" fmla="*/ 6649249 w 8079933"/>
              <a:gd name="connsiteY4631" fmla="*/ 3224947 h 4687251"/>
              <a:gd name="connsiteX4632" fmla="*/ 6649575 w 8079933"/>
              <a:gd name="connsiteY4632" fmla="*/ 3228412 h 4687251"/>
              <a:gd name="connsiteX4633" fmla="*/ 6652830 w 8079933"/>
              <a:gd name="connsiteY4633" fmla="*/ 3232093 h 4687251"/>
              <a:gd name="connsiteX4634" fmla="*/ 6658147 w 8079933"/>
              <a:gd name="connsiteY4634" fmla="*/ 3234583 h 4687251"/>
              <a:gd name="connsiteX4635" fmla="*/ 6663356 w 8079933"/>
              <a:gd name="connsiteY4635" fmla="*/ 3232743 h 4687251"/>
              <a:gd name="connsiteX4636" fmla="*/ 6667046 w 8079933"/>
              <a:gd name="connsiteY4636" fmla="*/ 3235017 h 4687251"/>
              <a:gd name="connsiteX4637" fmla="*/ 6670952 w 8079933"/>
              <a:gd name="connsiteY4637" fmla="*/ 3234800 h 4687251"/>
              <a:gd name="connsiteX4638" fmla="*/ 6674099 w 8079933"/>
              <a:gd name="connsiteY4638" fmla="*/ 3232851 h 4687251"/>
              <a:gd name="connsiteX4639" fmla="*/ 6678006 w 8079933"/>
              <a:gd name="connsiteY4639" fmla="*/ 3232743 h 4687251"/>
              <a:gd name="connsiteX4640" fmla="*/ 6679091 w 8079933"/>
              <a:gd name="connsiteY4640" fmla="*/ 3234259 h 4687251"/>
              <a:gd name="connsiteX4641" fmla="*/ 6683214 w 8079933"/>
              <a:gd name="connsiteY4641" fmla="*/ 3235017 h 4687251"/>
              <a:gd name="connsiteX4642" fmla="*/ 6685928 w 8079933"/>
              <a:gd name="connsiteY4642" fmla="*/ 3237940 h 4687251"/>
              <a:gd name="connsiteX4643" fmla="*/ 6684408 w 8079933"/>
              <a:gd name="connsiteY4643" fmla="*/ 3248334 h 4687251"/>
              <a:gd name="connsiteX4644" fmla="*/ 6682021 w 8079933"/>
              <a:gd name="connsiteY4644" fmla="*/ 3251365 h 4687251"/>
              <a:gd name="connsiteX4645" fmla="*/ 6684734 w 8079933"/>
              <a:gd name="connsiteY4645" fmla="*/ 3253206 h 4687251"/>
              <a:gd name="connsiteX4646" fmla="*/ 6686036 w 8079933"/>
              <a:gd name="connsiteY4646" fmla="*/ 3260352 h 4687251"/>
              <a:gd name="connsiteX4647" fmla="*/ 6683214 w 8079933"/>
              <a:gd name="connsiteY4647" fmla="*/ 3261218 h 4687251"/>
              <a:gd name="connsiteX4648" fmla="*/ 6679742 w 8079933"/>
              <a:gd name="connsiteY4648" fmla="*/ 3257536 h 4687251"/>
              <a:gd name="connsiteX4649" fmla="*/ 6674316 w 8079933"/>
              <a:gd name="connsiteY4649" fmla="*/ 3258187 h 4687251"/>
              <a:gd name="connsiteX4650" fmla="*/ 6668239 w 8079933"/>
              <a:gd name="connsiteY4650" fmla="*/ 3253097 h 4687251"/>
              <a:gd name="connsiteX4651" fmla="*/ 6663248 w 8079933"/>
              <a:gd name="connsiteY4651" fmla="*/ 3251799 h 4687251"/>
              <a:gd name="connsiteX4652" fmla="*/ 6658690 w 8079933"/>
              <a:gd name="connsiteY4652" fmla="*/ 3246927 h 4687251"/>
              <a:gd name="connsiteX4653" fmla="*/ 6655109 w 8079933"/>
              <a:gd name="connsiteY4653" fmla="*/ 3246818 h 4687251"/>
              <a:gd name="connsiteX4654" fmla="*/ 6648273 w 8079933"/>
              <a:gd name="connsiteY4654" fmla="*/ 3250391 h 4687251"/>
              <a:gd name="connsiteX4655" fmla="*/ 6641110 w 8079933"/>
              <a:gd name="connsiteY4655" fmla="*/ 3250716 h 4687251"/>
              <a:gd name="connsiteX4656" fmla="*/ 6635033 w 8079933"/>
              <a:gd name="connsiteY4656" fmla="*/ 3247251 h 4687251"/>
              <a:gd name="connsiteX4657" fmla="*/ 6628414 w 8079933"/>
              <a:gd name="connsiteY4657" fmla="*/ 3245844 h 4687251"/>
              <a:gd name="connsiteX4658" fmla="*/ 6622880 w 8079933"/>
              <a:gd name="connsiteY4658" fmla="*/ 3250499 h 4687251"/>
              <a:gd name="connsiteX4659" fmla="*/ 6616802 w 8079933"/>
              <a:gd name="connsiteY4659" fmla="*/ 3246168 h 4687251"/>
              <a:gd name="connsiteX4660" fmla="*/ 6608555 w 8079933"/>
              <a:gd name="connsiteY4660" fmla="*/ 3245736 h 4687251"/>
              <a:gd name="connsiteX4661" fmla="*/ 6603564 w 8079933"/>
              <a:gd name="connsiteY4661" fmla="*/ 3248442 h 4687251"/>
              <a:gd name="connsiteX4662" fmla="*/ 6590976 w 8079933"/>
              <a:gd name="connsiteY4662" fmla="*/ 3243678 h 4687251"/>
              <a:gd name="connsiteX4663" fmla="*/ 6579473 w 8079933"/>
              <a:gd name="connsiteY4663" fmla="*/ 3236424 h 4687251"/>
              <a:gd name="connsiteX4664" fmla="*/ 6571876 w 8079933"/>
              <a:gd name="connsiteY4664" fmla="*/ 3236532 h 4687251"/>
              <a:gd name="connsiteX4665" fmla="*/ 6566125 w 8079933"/>
              <a:gd name="connsiteY4665" fmla="*/ 3232634 h 4687251"/>
              <a:gd name="connsiteX4666" fmla="*/ 6562762 w 8079933"/>
              <a:gd name="connsiteY4666" fmla="*/ 3232851 h 4687251"/>
              <a:gd name="connsiteX4667" fmla="*/ 6559832 w 8079933"/>
              <a:gd name="connsiteY4667" fmla="*/ 3236207 h 4687251"/>
              <a:gd name="connsiteX4668" fmla="*/ 6555274 w 8079933"/>
              <a:gd name="connsiteY4668" fmla="*/ 3235342 h 4687251"/>
              <a:gd name="connsiteX4669" fmla="*/ 6551692 w 8079933"/>
              <a:gd name="connsiteY4669" fmla="*/ 3231552 h 4687251"/>
              <a:gd name="connsiteX4670" fmla="*/ 6548437 w 8079933"/>
              <a:gd name="connsiteY4670" fmla="*/ 3231877 h 4687251"/>
              <a:gd name="connsiteX4671" fmla="*/ 6544096 w 8079933"/>
              <a:gd name="connsiteY4671" fmla="*/ 3236857 h 4687251"/>
              <a:gd name="connsiteX4672" fmla="*/ 6533462 w 8079933"/>
              <a:gd name="connsiteY4672" fmla="*/ 3233826 h 4687251"/>
              <a:gd name="connsiteX4673" fmla="*/ 6526083 w 8079933"/>
              <a:gd name="connsiteY4673" fmla="*/ 3228195 h 4687251"/>
              <a:gd name="connsiteX4674" fmla="*/ 6518811 w 8079933"/>
              <a:gd name="connsiteY4674" fmla="*/ 3227762 h 4687251"/>
              <a:gd name="connsiteX4675" fmla="*/ 6515556 w 8079933"/>
              <a:gd name="connsiteY4675" fmla="*/ 3226030 h 4687251"/>
              <a:gd name="connsiteX4676" fmla="*/ 6511108 w 8079933"/>
              <a:gd name="connsiteY4676" fmla="*/ 3228629 h 4687251"/>
              <a:gd name="connsiteX4677" fmla="*/ 6505573 w 8079933"/>
              <a:gd name="connsiteY4677" fmla="*/ 3226571 h 4687251"/>
              <a:gd name="connsiteX4678" fmla="*/ 6499170 w 8079933"/>
              <a:gd name="connsiteY4678" fmla="*/ 3225597 h 4687251"/>
              <a:gd name="connsiteX4679" fmla="*/ 6497001 w 8079933"/>
              <a:gd name="connsiteY4679" fmla="*/ 3223540 h 4687251"/>
              <a:gd name="connsiteX4680" fmla="*/ 6500364 w 8079933"/>
              <a:gd name="connsiteY4680" fmla="*/ 3217585 h 4687251"/>
              <a:gd name="connsiteX4681" fmla="*/ 6502426 w 8079933"/>
              <a:gd name="connsiteY4681" fmla="*/ 3215528 h 4687251"/>
              <a:gd name="connsiteX4682" fmla="*/ 6499062 w 8079933"/>
              <a:gd name="connsiteY4682" fmla="*/ 3215420 h 4687251"/>
              <a:gd name="connsiteX4683" fmla="*/ 6496132 w 8079933"/>
              <a:gd name="connsiteY4683" fmla="*/ 3216935 h 4687251"/>
              <a:gd name="connsiteX4684" fmla="*/ 6492985 w 8079933"/>
              <a:gd name="connsiteY4684" fmla="*/ 3214987 h 4687251"/>
              <a:gd name="connsiteX4685" fmla="*/ 6490815 w 8079933"/>
              <a:gd name="connsiteY4685" fmla="*/ 3210873 h 4687251"/>
              <a:gd name="connsiteX4686" fmla="*/ 6485606 w 8079933"/>
              <a:gd name="connsiteY4686" fmla="*/ 3212930 h 4687251"/>
              <a:gd name="connsiteX4687" fmla="*/ 6475948 w 8079933"/>
              <a:gd name="connsiteY4687" fmla="*/ 3212713 h 4687251"/>
              <a:gd name="connsiteX4688" fmla="*/ 6472909 w 8079933"/>
              <a:gd name="connsiteY4688" fmla="*/ 3210873 h 4687251"/>
              <a:gd name="connsiteX4689" fmla="*/ 6472692 w 8079933"/>
              <a:gd name="connsiteY4689" fmla="*/ 3208165 h 4687251"/>
              <a:gd name="connsiteX4690" fmla="*/ 6474320 w 8079933"/>
              <a:gd name="connsiteY4690" fmla="*/ 3207841 h 4687251"/>
              <a:gd name="connsiteX4691" fmla="*/ 6476273 w 8079933"/>
              <a:gd name="connsiteY4691" fmla="*/ 3209898 h 4687251"/>
              <a:gd name="connsiteX4692" fmla="*/ 6479854 w 8079933"/>
              <a:gd name="connsiteY4692" fmla="*/ 3208599 h 4687251"/>
              <a:gd name="connsiteX4693" fmla="*/ 6480288 w 8079933"/>
              <a:gd name="connsiteY4693" fmla="*/ 3203726 h 4687251"/>
              <a:gd name="connsiteX4694" fmla="*/ 6485280 w 8079933"/>
              <a:gd name="connsiteY4694" fmla="*/ 3203077 h 4687251"/>
              <a:gd name="connsiteX4695" fmla="*/ 6487560 w 8079933"/>
              <a:gd name="connsiteY4695" fmla="*/ 3198096 h 4687251"/>
              <a:gd name="connsiteX4696" fmla="*/ 6487233 w 8079933"/>
              <a:gd name="connsiteY4696" fmla="*/ 3193116 h 4687251"/>
              <a:gd name="connsiteX4697" fmla="*/ 6834053 w 8079933"/>
              <a:gd name="connsiteY4697" fmla="*/ 3185971 h 4687251"/>
              <a:gd name="connsiteX4698" fmla="*/ 6837851 w 8079933"/>
              <a:gd name="connsiteY4698" fmla="*/ 3193549 h 4687251"/>
              <a:gd name="connsiteX4699" fmla="*/ 6836007 w 8079933"/>
              <a:gd name="connsiteY4699" fmla="*/ 3197123 h 4687251"/>
              <a:gd name="connsiteX4700" fmla="*/ 6834162 w 8079933"/>
              <a:gd name="connsiteY4700" fmla="*/ 3202103 h 4687251"/>
              <a:gd name="connsiteX4701" fmla="*/ 6833076 w 8079933"/>
              <a:gd name="connsiteY4701" fmla="*/ 3198530 h 4687251"/>
              <a:gd name="connsiteX4702" fmla="*/ 6831014 w 8079933"/>
              <a:gd name="connsiteY4702" fmla="*/ 3195174 h 4687251"/>
              <a:gd name="connsiteX4703" fmla="*/ 6832642 w 8079933"/>
              <a:gd name="connsiteY4703" fmla="*/ 3192251 h 4687251"/>
              <a:gd name="connsiteX4704" fmla="*/ 6832967 w 8079933"/>
              <a:gd name="connsiteY4704" fmla="*/ 3188461 h 4687251"/>
              <a:gd name="connsiteX4705" fmla="*/ 7164270 w 8079933"/>
              <a:gd name="connsiteY4705" fmla="*/ 3183372 h 4687251"/>
              <a:gd name="connsiteX4706" fmla="*/ 7165572 w 8079933"/>
              <a:gd name="connsiteY4706" fmla="*/ 3183372 h 4687251"/>
              <a:gd name="connsiteX4707" fmla="*/ 7165572 w 8079933"/>
              <a:gd name="connsiteY4707" fmla="*/ 3184996 h 4687251"/>
              <a:gd name="connsiteX4708" fmla="*/ 7163619 w 8079933"/>
              <a:gd name="connsiteY4708" fmla="*/ 3184996 h 4687251"/>
              <a:gd name="connsiteX4709" fmla="*/ 7127482 w 8079933"/>
              <a:gd name="connsiteY4709" fmla="*/ 3178824 h 4687251"/>
              <a:gd name="connsiteX4710" fmla="*/ 7130846 w 8079933"/>
              <a:gd name="connsiteY4710" fmla="*/ 3183479 h 4687251"/>
              <a:gd name="connsiteX4711" fmla="*/ 7130738 w 8079933"/>
              <a:gd name="connsiteY4711" fmla="*/ 3189001 h 4687251"/>
              <a:gd name="connsiteX4712" fmla="*/ 7129002 w 8079933"/>
              <a:gd name="connsiteY4712" fmla="*/ 3187160 h 4687251"/>
              <a:gd name="connsiteX4713" fmla="*/ 7128784 w 8079933"/>
              <a:gd name="connsiteY4713" fmla="*/ 3183371 h 4687251"/>
              <a:gd name="connsiteX4714" fmla="*/ 7169912 w 8079933"/>
              <a:gd name="connsiteY4714" fmla="*/ 3177742 h 4687251"/>
              <a:gd name="connsiteX4715" fmla="*/ 7172191 w 8079933"/>
              <a:gd name="connsiteY4715" fmla="*/ 3178066 h 4687251"/>
              <a:gd name="connsiteX4716" fmla="*/ 7175012 w 8079933"/>
              <a:gd name="connsiteY4716" fmla="*/ 3180232 h 4687251"/>
              <a:gd name="connsiteX4717" fmla="*/ 7176965 w 8079933"/>
              <a:gd name="connsiteY4717" fmla="*/ 3180448 h 4687251"/>
              <a:gd name="connsiteX4718" fmla="*/ 7177074 w 8079933"/>
              <a:gd name="connsiteY4718" fmla="*/ 3184672 h 4687251"/>
              <a:gd name="connsiteX4719" fmla="*/ 7175989 w 8079933"/>
              <a:gd name="connsiteY4719" fmla="*/ 3186837 h 4687251"/>
              <a:gd name="connsiteX4720" fmla="*/ 7173168 w 8079933"/>
              <a:gd name="connsiteY4720" fmla="*/ 3186729 h 4687251"/>
              <a:gd name="connsiteX4721" fmla="*/ 7169912 w 8079933"/>
              <a:gd name="connsiteY4721" fmla="*/ 3189111 h 4687251"/>
              <a:gd name="connsiteX4722" fmla="*/ 7168176 w 8079933"/>
              <a:gd name="connsiteY4722" fmla="*/ 3189219 h 4687251"/>
              <a:gd name="connsiteX4723" fmla="*/ 7167525 w 8079933"/>
              <a:gd name="connsiteY4723" fmla="*/ 3186404 h 4687251"/>
              <a:gd name="connsiteX4724" fmla="*/ 7170779 w 8079933"/>
              <a:gd name="connsiteY4724" fmla="*/ 3184130 h 4687251"/>
              <a:gd name="connsiteX4725" fmla="*/ 7168502 w 8079933"/>
              <a:gd name="connsiteY4725" fmla="*/ 3184563 h 4687251"/>
              <a:gd name="connsiteX4726" fmla="*/ 7168176 w 8079933"/>
              <a:gd name="connsiteY4726" fmla="*/ 3182615 h 4687251"/>
              <a:gd name="connsiteX4727" fmla="*/ 7165680 w 8079933"/>
              <a:gd name="connsiteY4727" fmla="*/ 3181965 h 4687251"/>
              <a:gd name="connsiteX4728" fmla="*/ 7167850 w 8079933"/>
              <a:gd name="connsiteY4728" fmla="*/ 3181315 h 4687251"/>
              <a:gd name="connsiteX4729" fmla="*/ 7175121 w 8079933"/>
              <a:gd name="connsiteY4729" fmla="*/ 3176334 h 4687251"/>
              <a:gd name="connsiteX4730" fmla="*/ 7177075 w 8079933"/>
              <a:gd name="connsiteY4730" fmla="*/ 3179257 h 4687251"/>
              <a:gd name="connsiteX4731" fmla="*/ 7175338 w 8079933"/>
              <a:gd name="connsiteY4731" fmla="*/ 3179149 h 4687251"/>
              <a:gd name="connsiteX4732" fmla="*/ 7173059 w 8079933"/>
              <a:gd name="connsiteY4732" fmla="*/ 3176550 h 4687251"/>
              <a:gd name="connsiteX4733" fmla="*/ 7493942 w 8079933"/>
              <a:gd name="connsiteY4733" fmla="*/ 3175793 h 4687251"/>
              <a:gd name="connsiteX4734" fmla="*/ 7497740 w 8079933"/>
              <a:gd name="connsiteY4734" fmla="*/ 3178932 h 4687251"/>
              <a:gd name="connsiteX4735" fmla="*/ 7498934 w 8079933"/>
              <a:gd name="connsiteY4735" fmla="*/ 3183264 h 4687251"/>
              <a:gd name="connsiteX4736" fmla="*/ 7497740 w 8079933"/>
              <a:gd name="connsiteY4736" fmla="*/ 3185429 h 4687251"/>
              <a:gd name="connsiteX4737" fmla="*/ 7493508 w 8079933"/>
              <a:gd name="connsiteY4737" fmla="*/ 3182939 h 4687251"/>
              <a:gd name="connsiteX4738" fmla="*/ 7491012 w 8079933"/>
              <a:gd name="connsiteY4738" fmla="*/ 3179041 h 4687251"/>
              <a:gd name="connsiteX4739" fmla="*/ 7140395 w 8079933"/>
              <a:gd name="connsiteY4739" fmla="*/ 3174169 h 4687251"/>
              <a:gd name="connsiteX4740" fmla="*/ 7138225 w 8079933"/>
              <a:gd name="connsiteY4740" fmla="*/ 3178391 h 4687251"/>
              <a:gd name="connsiteX4741" fmla="*/ 7134969 w 8079933"/>
              <a:gd name="connsiteY4741" fmla="*/ 3188244 h 4687251"/>
              <a:gd name="connsiteX4742" fmla="*/ 7131823 w 8079933"/>
              <a:gd name="connsiteY4742" fmla="*/ 3189435 h 4687251"/>
              <a:gd name="connsiteX4743" fmla="*/ 7133559 w 8079933"/>
              <a:gd name="connsiteY4743" fmla="*/ 3186620 h 4687251"/>
              <a:gd name="connsiteX4744" fmla="*/ 7135621 w 8079933"/>
              <a:gd name="connsiteY4744" fmla="*/ 3176659 h 4687251"/>
              <a:gd name="connsiteX4745" fmla="*/ 6400203 w 8079933"/>
              <a:gd name="connsiteY4745" fmla="*/ 3172545 h 4687251"/>
              <a:gd name="connsiteX4746" fmla="*/ 6403242 w 8079933"/>
              <a:gd name="connsiteY4746" fmla="*/ 3174819 h 4687251"/>
              <a:gd name="connsiteX4747" fmla="*/ 6403350 w 8079933"/>
              <a:gd name="connsiteY4747" fmla="*/ 3178176 h 4687251"/>
              <a:gd name="connsiteX4748" fmla="*/ 6397273 w 8079933"/>
              <a:gd name="connsiteY4748" fmla="*/ 3173736 h 4687251"/>
              <a:gd name="connsiteX4749" fmla="*/ 7477339 w 8079933"/>
              <a:gd name="connsiteY4749" fmla="*/ 3169621 h 4687251"/>
              <a:gd name="connsiteX4750" fmla="*/ 7480270 w 8079933"/>
              <a:gd name="connsiteY4750" fmla="*/ 3171678 h 4687251"/>
              <a:gd name="connsiteX4751" fmla="*/ 7480270 w 8079933"/>
              <a:gd name="connsiteY4751" fmla="*/ 3175792 h 4687251"/>
              <a:gd name="connsiteX4752" fmla="*/ 7477339 w 8079933"/>
              <a:gd name="connsiteY4752" fmla="*/ 3176550 h 4687251"/>
              <a:gd name="connsiteX4753" fmla="*/ 7475277 w 8079933"/>
              <a:gd name="connsiteY4753" fmla="*/ 3173627 h 4687251"/>
              <a:gd name="connsiteX4754" fmla="*/ 6868236 w 8079933"/>
              <a:gd name="connsiteY4754" fmla="*/ 3167998 h 4687251"/>
              <a:gd name="connsiteX4755" fmla="*/ 6871058 w 8079933"/>
              <a:gd name="connsiteY4755" fmla="*/ 3172112 h 4687251"/>
              <a:gd name="connsiteX4756" fmla="*/ 6872251 w 8079933"/>
              <a:gd name="connsiteY4756" fmla="*/ 3176875 h 4687251"/>
              <a:gd name="connsiteX4757" fmla="*/ 6868671 w 8079933"/>
              <a:gd name="connsiteY4757" fmla="*/ 3179257 h 4687251"/>
              <a:gd name="connsiteX4758" fmla="*/ 6866609 w 8079933"/>
              <a:gd name="connsiteY4758" fmla="*/ 3178391 h 4687251"/>
              <a:gd name="connsiteX4759" fmla="*/ 6864872 w 8079933"/>
              <a:gd name="connsiteY4759" fmla="*/ 3173195 h 4687251"/>
              <a:gd name="connsiteX4760" fmla="*/ 6866283 w 8079933"/>
              <a:gd name="connsiteY4760" fmla="*/ 3171787 h 4687251"/>
              <a:gd name="connsiteX4761" fmla="*/ 6866283 w 8079933"/>
              <a:gd name="connsiteY4761" fmla="*/ 3168755 h 4687251"/>
              <a:gd name="connsiteX4762" fmla="*/ 4238334 w 8079933"/>
              <a:gd name="connsiteY4762" fmla="*/ 3162368 h 4687251"/>
              <a:gd name="connsiteX4763" fmla="*/ 4238767 w 8079933"/>
              <a:gd name="connsiteY4763" fmla="*/ 3171029 h 4687251"/>
              <a:gd name="connsiteX4764" fmla="*/ 4238768 w 8079933"/>
              <a:gd name="connsiteY4764" fmla="*/ 3171028 h 4687251"/>
              <a:gd name="connsiteX4765" fmla="*/ 7550914 w 8079933"/>
              <a:gd name="connsiteY4765" fmla="*/ 3159985 h 4687251"/>
              <a:gd name="connsiteX4766" fmla="*/ 7554061 w 8079933"/>
              <a:gd name="connsiteY4766" fmla="*/ 3164641 h 4687251"/>
              <a:gd name="connsiteX4767" fmla="*/ 7551457 w 8079933"/>
              <a:gd name="connsiteY4767" fmla="*/ 3167563 h 4687251"/>
              <a:gd name="connsiteX4768" fmla="*/ 7546682 w 8079933"/>
              <a:gd name="connsiteY4768" fmla="*/ 3162800 h 4687251"/>
              <a:gd name="connsiteX4769" fmla="*/ 7547550 w 8079933"/>
              <a:gd name="connsiteY4769" fmla="*/ 3160310 h 4687251"/>
              <a:gd name="connsiteX4770" fmla="*/ 6886141 w 8079933"/>
              <a:gd name="connsiteY4770" fmla="*/ 3159769 h 4687251"/>
              <a:gd name="connsiteX4771" fmla="*/ 6888312 w 8079933"/>
              <a:gd name="connsiteY4771" fmla="*/ 3163775 h 4687251"/>
              <a:gd name="connsiteX4772" fmla="*/ 6888312 w 8079933"/>
              <a:gd name="connsiteY4772" fmla="*/ 3166265 h 4687251"/>
              <a:gd name="connsiteX4773" fmla="*/ 6885273 w 8079933"/>
              <a:gd name="connsiteY4773" fmla="*/ 3169405 h 4687251"/>
              <a:gd name="connsiteX4774" fmla="*/ 6885273 w 8079933"/>
              <a:gd name="connsiteY4774" fmla="*/ 3173411 h 4687251"/>
              <a:gd name="connsiteX4775" fmla="*/ 6883428 w 8079933"/>
              <a:gd name="connsiteY4775" fmla="*/ 3173411 h 4687251"/>
              <a:gd name="connsiteX4776" fmla="*/ 6882886 w 8079933"/>
              <a:gd name="connsiteY4776" fmla="*/ 3175360 h 4687251"/>
              <a:gd name="connsiteX4777" fmla="*/ 6878762 w 8079933"/>
              <a:gd name="connsiteY4777" fmla="*/ 3175360 h 4687251"/>
              <a:gd name="connsiteX4778" fmla="*/ 6876917 w 8079933"/>
              <a:gd name="connsiteY4778" fmla="*/ 3173844 h 4687251"/>
              <a:gd name="connsiteX4779" fmla="*/ 6876157 w 8079933"/>
              <a:gd name="connsiteY4779" fmla="*/ 3172653 h 4687251"/>
              <a:gd name="connsiteX4780" fmla="*/ 6880389 w 8079933"/>
              <a:gd name="connsiteY4780" fmla="*/ 3167889 h 4687251"/>
              <a:gd name="connsiteX4781" fmla="*/ 6878979 w 8079933"/>
              <a:gd name="connsiteY4781" fmla="*/ 3165074 h 4687251"/>
              <a:gd name="connsiteX4782" fmla="*/ 6882126 w 8079933"/>
              <a:gd name="connsiteY4782" fmla="*/ 3161826 h 4687251"/>
              <a:gd name="connsiteX4783" fmla="*/ 7453792 w 8079933"/>
              <a:gd name="connsiteY4783" fmla="*/ 3154355 h 4687251"/>
              <a:gd name="connsiteX4784" fmla="*/ 7453249 w 8079933"/>
              <a:gd name="connsiteY4784" fmla="*/ 3157278 h 4687251"/>
              <a:gd name="connsiteX4785" fmla="*/ 7449994 w 8079933"/>
              <a:gd name="connsiteY4785" fmla="*/ 3159876 h 4687251"/>
              <a:gd name="connsiteX4786" fmla="*/ 7448474 w 8079933"/>
              <a:gd name="connsiteY4786" fmla="*/ 3156412 h 4687251"/>
              <a:gd name="connsiteX4787" fmla="*/ 6896341 w 8079933"/>
              <a:gd name="connsiteY4787" fmla="*/ 3153056 h 4687251"/>
              <a:gd name="connsiteX4788" fmla="*/ 6899814 w 8079933"/>
              <a:gd name="connsiteY4788" fmla="*/ 3153597 h 4687251"/>
              <a:gd name="connsiteX4789" fmla="*/ 6899814 w 8079933"/>
              <a:gd name="connsiteY4789" fmla="*/ 3156629 h 4687251"/>
              <a:gd name="connsiteX4790" fmla="*/ 6901333 w 8079933"/>
              <a:gd name="connsiteY4790" fmla="*/ 3159877 h 4687251"/>
              <a:gd name="connsiteX4791" fmla="*/ 6901116 w 8079933"/>
              <a:gd name="connsiteY4791" fmla="*/ 3162042 h 4687251"/>
              <a:gd name="connsiteX4792" fmla="*/ 6899922 w 8079933"/>
              <a:gd name="connsiteY4792" fmla="*/ 3160202 h 4687251"/>
              <a:gd name="connsiteX4793" fmla="*/ 6899162 w 8079933"/>
              <a:gd name="connsiteY4793" fmla="*/ 3162259 h 4687251"/>
              <a:gd name="connsiteX4794" fmla="*/ 6896341 w 8079933"/>
              <a:gd name="connsiteY4794" fmla="*/ 3164424 h 4687251"/>
              <a:gd name="connsiteX4795" fmla="*/ 6894930 w 8079933"/>
              <a:gd name="connsiteY4795" fmla="*/ 3166266 h 4687251"/>
              <a:gd name="connsiteX4796" fmla="*/ 6896015 w 8079933"/>
              <a:gd name="connsiteY4796" fmla="*/ 3169838 h 4687251"/>
              <a:gd name="connsiteX4797" fmla="*/ 6899814 w 8079933"/>
              <a:gd name="connsiteY4797" fmla="*/ 3170812 h 4687251"/>
              <a:gd name="connsiteX4798" fmla="*/ 6900574 w 8079933"/>
              <a:gd name="connsiteY4798" fmla="*/ 3172870 h 4687251"/>
              <a:gd name="connsiteX4799" fmla="*/ 6898945 w 8079933"/>
              <a:gd name="connsiteY4799" fmla="*/ 3174927 h 4687251"/>
              <a:gd name="connsiteX4800" fmla="*/ 6896015 w 8079933"/>
              <a:gd name="connsiteY4800" fmla="*/ 3175793 h 4687251"/>
              <a:gd name="connsiteX4801" fmla="*/ 6893411 w 8079933"/>
              <a:gd name="connsiteY4801" fmla="*/ 3180449 h 4687251"/>
              <a:gd name="connsiteX4802" fmla="*/ 6890373 w 8079933"/>
              <a:gd name="connsiteY4802" fmla="*/ 3181965 h 4687251"/>
              <a:gd name="connsiteX4803" fmla="*/ 6887117 w 8079933"/>
              <a:gd name="connsiteY4803" fmla="*/ 3180233 h 4687251"/>
              <a:gd name="connsiteX4804" fmla="*/ 6887768 w 8079933"/>
              <a:gd name="connsiteY4804" fmla="*/ 3176659 h 4687251"/>
              <a:gd name="connsiteX4805" fmla="*/ 6891784 w 8079933"/>
              <a:gd name="connsiteY4805" fmla="*/ 3169730 h 4687251"/>
              <a:gd name="connsiteX4806" fmla="*/ 6893953 w 8079933"/>
              <a:gd name="connsiteY4806" fmla="*/ 3162259 h 4687251"/>
              <a:gd name="connsiteX4807" fmla="*/ 6894388 w 8079933"/>
              <a:gd name="connsiteY4807" fmla="*/ 3154788 h 4687251"/>
              <a:gd name="connsiteX4808" fmla="*/ 5268374 w 8079933"/>
              <a:gd name="connsiteY4808" fmla="*/ 3149375 h 4687251"/>
              <a:gd name="connsiteX4809" fmla="*/ 5272281 w 8079933"/>
              <a:gd name="connsiteY4809" fmla="*/ 3151215 h 4687251"/>
              <a:gd name="connsiteX4810" fmla="*/ 5273801 w 8079933"/>
              <a:gd name="connsiteY4810" fmla="*/ 3153814 h 4687251"/>
              <a:gd name="connsiteX4811" fmla="*/ 5268592 w 8079933"/>
              <a:gd name="connsiteY4811" fmla="*/ 3155654 h 4687251"/>
              <a:gd name="connsiteX4812" fmla="*/ 5265770 w 8079933"/>
              <a:gd name="connsiteY4812" fmla="*/ 3152622 h 4687251"/>
              <a:gd name="connsiteX4813" fmla="*/ 4298886 w 8079933"/>
              <a:gd name="connsiteY4813" fmla="*/ 3147858 h 4687251"/>
              <a:gd name="connsiteX4814" fmla="*/ 4298886 w 8079933"/>
              <a:gd name="connsiteY4814" fmla="*/ 3147858 h 4687251"/>
              <a:gd name="connsiteX4815" fmla="*/ 4295413 w 8079933"/>
              <a:gd name="connsiteY4815" fmla="*/ 3153055 h 4687251"/>
              <a:gd name="connsiteX4816" fmla="*/ 4291923 w 8079933"/>
              <a:gd name="connsiteY4816" fmla="*/ 3154529 h 4687251"/>
              <a:gd name="connsiteX4817" fmla="*/ 4295413 w 8079933"/>
              <a:gd name="connsiteY4817" fmla="*/ 3153055 h 4687251"/>
              <a:gd name="connsiteX4818" fmla="*/ 7600940 w 8079933"/>
              <a:gd name="connsiteY4818" fmla="*/ 3143853 h 4687251"/>
              <a:gd name="connsiteX4819" fmla="*/ 7606258 w 8079933"/>
              <a:gd name="connsiteY4819" fmla="*/ 3148508 h 4687251"/>
              <a:gd name="connsiteX4820" fmla="*/ 7606475 w 8079933"/>
              <a:gd name="connsiteY4820" fmla="*/ 3159335 h 4687251"/>
              <a:gd name="connsiteX4821" fmla="*/ 7600723 w 8079933"/>
              <a:gd name="connsiteY4821" fmla="*/ 3164641 h 4687251"/>
              <a:gd name="connsiteX4822" fmla="*/ 7598119 w 8079933"/>
              <a:gd name="connsiteY4822" fmla="*/ 3163234 h 4687251"/>
              <a:gd name="connsiteX4823" fmla="*/ 7594863 w 8079933"/>
              <a:gd name="connsiteY4823" fmla="*/ 3165182 h 4687251"/>
              <a:gd name="connsiteX4824" fmla="*/ 7595189 w 8079933"/>
              <a:gd name="connsiteY4824" fmla="*/ 3168430 h 4687251"/>
              <a:gd name="connsiteX4825" fmla="*/ 7600397 w 8079933"/>
              <a:gd name="connsiteY4825" fmla="*/ 3173194 h 4687251"/>
              <a:gd name="connsiteX4826" fmla="*/ 7597576 w 8079933"/>
              <a:gd name="connsiteY4826" fmla="*/ 3177525 h 4687251"/>
              <a:gd name="connsiteX4827" fmla="*/ 7591824 w 8079933"/>
              <a:gd name="connsiteY4827" fmla="*/ 3179258 h 4687251"/>
              <a:gd name="connsiteX4828" fmla="*/ 7588678 w 8079933"/>
              <a:gd name="connsiteY4828" fmla="*/ 3176876 h 4687251"/>
              <a:gd name="connsiteX4829" fmla="*/ 7585205 w 8079933"/>
              <a:gd name="connsiteY4829" fmla="*/ 3177742 h 4687251"/>
              <a:gd name="connsiteX4830" fmla="*/ 7585205 w 8079933"/>
              <a:gd name="connsiteY4830" fmla="*/ 3181098 h 4687251"/>
              <a:gd name="connsiteX4831" fmla="*/ 7576741 w 8079933"/>
              <a:gd name="connsiteY4831" fmla="*/ 3191600 h 4687251"/>
              <a:gd name="connsiteX4832" fmla="*/ 7570555 w 8079933"/>
              <a:gd name="connsiteY4832" fmla="*/ 3191816 h 4687251"/>
              <a:gd name="connsiteX4833" fmla="*/ 7570772 w 8079933"/>
              <a:gd name="connsiteY4833" fmla="*/ 3195281 h 4687251"/>
              <a:gd name="connsiteX4834" fmla="*/ 7568819 w 8079933"/>
              <a:gd name="connsiteY4834" fmla="*/ 3197879 h 4687251"/>
              <a:gd name="connsiteX4835" fmla="*/ 7563068 w 8079933"/>
              <a:gd name="connsiteY4835" fmla="*/ 3195389 h 4687251"/>
              <a:gd name="connsiteX4836" fmla="*/ 7559053 w 8079933"/>
              <a:gd name="connsiteY4836" fmla="*/ 3197122 h 4687251"/>
              <a:gd name="connsiteX4837" fmla="*/ 7554387 w 8079933"/>
              <a:gd name="connsiteY4837" fmla="*/ 3195715 h 4687251"/>
              <a:gd name="connsiteX4838" fmla="*/ 7545597 w 8079933"/>
              <a:gd name="connsiteY4838" fmla="*/ 3197447 h 4687251"/>
              <a:gd name="connsiteX4839" fmla="*/ 7541798 w 8079933"/>
              <a:gd name="connsiteY4839" fmla="*/ 3198205 h 4687251"/>
              <a:gd name="connsiteX4840" fmla="*/ 7536155 w 8079933"/>
              <a:gd name="connsiteY4840" fmla="*/ 3197338 h 4687251"/>
              <a:gd name="connsiteX4841" fmla="*/ 7533768 w 8079933"/>
              <a:gd name="connsiteY4841" fmla="*/ 3192791 h 4687251"/>
              <a:gd name="connsiteX4842" fmla="*/ 7525738 w 8079933"/>
              <a:gd name="connsiteY4842" fmla="*/ 3192466 h 4687251"/>
              <a:gd name="connsiteX4843" fmla="*/ 7522374 w 8079933"/>
              <a:gd name="connsiteY4843" fmla="*/ 3195065 h 4687251"/>
              <a:gd name="connsiteX4844" fmla="*/ 7521506 w 8079933"/>
              <a:gd name="connsiteY4844" fmla="*/ 3192358 h 4687251"/>
              <a:gd name="connsiteX4845" fmla="*/ 7513693 w 8079933"/>
              <a:gd name="connsiteY4845" fmla="*/ 3186078 h 4687251"/>
              <a:gd name="connsiteX4846" fmla="*/ 7508592 w 8079933"/>
              <a:gd name="connsiteY4846" fmla="*/ 3185645 h 4687251"/>
              <a:gd name="connsiteX4847" fmla="*/ 7504577 w 8079933"/>
              <a:gd name="connsiteY4847" fmla="*/ 3180665 h 4687251"/>
              <a:gd name="connsiteX4848" fmla="*/ 7508050 w 8079933"/>
              <a:gd name="connsiteY4848" fmla="*/ 3174277 h 4687251"/>
              <a:gd name="connsiteX4849" fmla="*/ 7512716 w 8079933"/>
              <a:gd name="connsiteY4849" fmla="*/ 3177092 h 4687251"/>
              <a:gd name="connsiteX4850" fmla="*/ 7518575 w 8079933"/>
              <a:gd name="connsiteY4850" fmla="*/ 3175685 h 4687251"/>
              <a:gd name="connsiteX4851" fmla="*/ 7522808 w 8079933"/>
              <a:gd name="connsiteY4851" fmla="*/ 3175685 h 4687251"/>
              <a:gd name="connsiteX4852" fmla="*/ 7526172 w 8079933"/>
              <a:gd name="connsiteY4852" fmla="*/ 3177308 h 4687251"/>
              <a:gd name="connsiteX4853" fmla="*/ 7530295 w 8079933"/>
              <a:gd name="connsiteY4853" fmla="*/ 3177525 h 4687251"/>
              <a:gd name="connsiteX4854" fmla="*/ 7535830 w 8079933"/>
              <a:gd name="connsiteY4854" fmla="*/ 3175251 h 4687251"/>
              <a:gd name="connsiteX4855" fmla="*/ 7540605 w 8079933"/>
              <a:gd name="connsiteY4855" fmla="*/ 3175793 h 4687251"/>
              <a:gd name="connsiteX4856" fmla="*/ 7544186 w 8079933"/>
              <a:gd name="connsiteY4856" fmla="*/ 3173411 h 4687251"/>
              <a:gd name="connsiteX4857" fmla="*/ 7543535 w 8079933"/>
              <a:gd name="connsiteY4857" fmla="*/ 3170163 h 4687251"/>
              <a:gd name="connsiteX4858" fmla="*/ 7545922 w 8079933"/>
              <a:gd name="connsiteY4858" fmla="*/ 3167781 h 4687251"/>
              <a:gd name="connsiteX4859" fmla="*/ 7549612 w 8079933"/>
              <a:gd name="connsiteY4859" fmla="*/ 3169621 h 4687251"/>
              <a:gd name="connsiteX4860" fmla="*/ 7548526 w 8079933"/>
              <a:gd name="connsiteY4860" fmla="*/ 3173411 h 4687251"/>
              <a:gd name="connsiteX4861" fmla="*/ 7549937 w 8079933"/>
              <a:gd name="connsiteY4861" fmla="*/ 3179365 h 4687251"/>
              <a:gd name="connsiteX4862" fmla="*/ 7552976 w 8079933"/>
              <a:gd name="connsiteY4862" fmla="*/ 3180123 h 4687251"/>
              <a:gd name="connsiteX4863" fmla="*/ 7556448 w 8079933"/>
              <a:gd name="connsiteY4863" fmla="*/ 3175793 h 4687251"/>
              <a:gd name="connsiteX4864" fmla="*/ 7559378 w 8079933"/>
              <a:gd name="connsiteY4864" fmla="*/ 3175685 h 4687251"/>
              <a:gd name="connsiteX4865" fmla="*/ 7562526 w 8079933"/>
              <a:gd name="connsiteY4865" fmla="*/ 3179040 h 4687251"/>
              <a:gd name="connsiteX4866" fmla="*/ 7565889 w 8079933"/>
              <a:gd name="connsiteY4866" fmla="*/ 3176876 h 4687251"/>
              <a:gd name="connsiteX4867" fmla="*/ 7568385 w 8079933"/>
              <a:gd name="connsiteY4867" fmla="*/ 3177850 h 4687251"/>
              <a:gd name="connsiteX4868" fmla="*/ 7571315 w 8079933"/>
              <a:gd name="connsiteY4868" fmla="*/ 3175685 h 4687251"/>
              <a:gd name="connsiteX4869" fmla="*/ 7573051 w 8079933"/>
              <a:gd name="connsiteY4869" fmla="*/ 3171029 h 4687251"/>
              <a:gd name="connsiteX4870" fmla="*/ 7582167 w 8079933"/>
              <a:gd name="connsiteY4870" fmla="*/ 3163558 h 4687251"/>
              <a:gd name="connsiteX4871" fmla="*/ 7586725 w 8079933"/>
              <a:gd name="connsiteY4871" fmla="*/ 3163775 h 4687251"/>
              <a:gd name="connsiteX4872" fmla="*/ 7589220 w 8079933"/>
              <a:gd name="connsiteY4872" fmla="*/ 3161176 h 4687251"/>
              <a:gd name="connsiteX4873" fmla="*/ 7587484 w 8079933"/>
              <a:gd name="connsiteY4873" fmla="*/ 3159335 h 4687251"/>
              <a:gd name="connsiteX4874" fmla="*/ 7585096 w 8079933"/>
              <a:gd name="connsiteY4874" fmla="*/ 3149050 h 4687251"/>
              <a:gd name="connsiteX4875" fmla="*/ 7587484 w 8079933"/>
              <a:gd name="connsiteY4875" fmla="*/ 3145369 h 4687251"/>
              <a:gd name="connsiteX4876" fmla="*/ 7593127 w 8079933"/>
              <a:gd name="connsiteY4876" fmla="*/ 3145585 h 4687251"/>
              <a:gd name="connsiteX4877" fmla="*/ 7596274 w 8079933"/>
              <a:gd name="connsiteY4877" fmla="*/ 3147967 h 4687251"/>
              <a:gd name="connsiteX4878" fmla="*/ 7598010 w 8079933"/>
              <a:gd name="connsiteY4878" fmla="*/ 3145910 h 4687251"/>
              <a:gd name="connsiteX4879" fmla="*/ 2046081 w 8079933"/>
              <a:gd name="connsiteY4879" fmla="*/ 3143636 h 4687251"/>
              <a:gd name="connsiteX4880" fmla="*/ 2046081 w 8079933"/>
              <a:gd name="connsiteY4880" fmla="*/ 3143637 h 4687251"/>
              <a:gd name="connsiteX4881" fmla="*/ 2048251 w 8079933"/>
              <a:gd name="connsiteY4881" fmla="*/ 3147209 h 4687251"/>
              <a:gd name="connsiteX4882" fmla="*/ 2055522 w 8079933"/>
              <a:gd name="connsiteY4882" fmla="*/ 3148725 h 4687251"/>
              <a:gd name="connsiteX4883" fmla="*/ 2059754 w 8079933"/>
              <a:gd name="connsiteY4883" fmla="*/ 3150457 h 4687251"/>
              <a:gd name="connsiteX4884" fmla="*/ 2066699 w 8079933"/>
              <a:gd name="connsiteY4884" fmla="*/ 3160202 h 4687251"/>
              <a:gd name="connsiteX4885" fmla="*/ 2069846 w 8079933"/>
              <a:gd name="connsiteY4885" fmla="*/ 3160202 h 4687251"/>
              <a:gd name="connsiteX4886" fmla="*/ 2069846 w 8079933"/>
              <a:gd name="connsiteY4886" fmla="*/ 3160201 h 4687251"/>
              <a:gd name="connsiteX4887" fmla="*/ 2066699 w 8079933"/>
              <a:gd name="connsiteY4887" fmla="*/ 3160201 h 4687251"/>
              <a:gd name="connsiteX4888" fmla="*/ 2059754 w 8079933"/>
              <a:gd name="connsiteY4888" fmla="*/ 3150457 h 4687251"/>
              <a:gd name="connsiteX4889" fmla="*/ 2055522 w 8079933"/>
              <a:gd name="connsiteY4889" fmla="*/ 3148725 h 4687251"/>
              <a:gd name="connsiteX4890" fmla="*/ 2048252 w 8079933"/>
              <a:gd name="connsiteY4890" fmla="*/ 3147209 h 4687251"/>
              <a:gd name="connsiteX4891" fmla="*/ 2276462 w 8079933"/>
              <a:gd name="connsiteY4891" fmla="*/ 3143550 h 4687251"/>
              <a:gd name="connsiteX4892" fmla="*/ 2276462 w 8079933"/>
              <a:gd name="connsiteY4892" fmla="*/ 3144502 h 4687251"/>
              <a:gd name="connsiteX4893" fmla="*/ 2278001 w 8079933"/>
              <a:gd name="connsiteY4893" fmla="*/ 3144918 h 4687251"/>
              <a:gd name="connsiteX4894" fmla="*/ 2278089 w 8079933"/>
              <a:gd name="connsiteY4894" fmla="*/ 3144610 h 4687251"/>
              <a:gd name="connsiteX4895" fmla="*/ 4242999 w 8079933"/>
              <a:gd name="connsiteY4895" fmla="*/ 3142120 h 4687251"/>
              <a:gd name="connsiteX4896" fmla="*/ 4238985 w 8079933"/>
              <a:gd name="connsiteY4896" fmla="*/ 3145476 h 4687251"/>
              <a:gd name="connsiteX4897" fmla="*/ 4235512 w 8079933"/>
              <a:gd name="connsiteY4897" fmla="*/ 3146126 h 4687251"/>
              <a:gd name="connsiteX4898" fmla="*/ 4235512 w 8079933"/>
              <a:gd name="connsiteY4898" fmla="*/ 3146127 h 4687251"/>
              <a:gd name="connsiteX4899" fmla="*/ 4238984 w 8079933"/>
              <a:gd name="connsiteY4899" fmla="*/ 3145477 h 4687251"/>
              <a:gd name="connsiteX4900" fmla="*/ 4243000 w 8079933"/>
              <a:gd name="connsiteY4900" fmla="*/ 3142121 h 4687251"/>
              <a:gd name="connsiteX4901" fmla="*/ 4245062 w 8079933"/>
              <a:gd name="connsiteY4901" fmla="*/ 3142121 h 4687251"/>
              <a:gd name="connsiteX4902" fmla="*/ 4247557 w 8079933"/>
              <a:gd name="connsiteY4902" fmla="*/ 3144286 h 4687251"/>
              <a:gd name="connsiteX4903" fmla="*/ 4249837 w 8079933"/>
              <a:gd name="connsiteY4903" fmla="*/ 3147426 h 4687251"/>
              <a:gd name="connsiteX4904" fmla="*/ 4249945 w 8079933"/>
              <a:gd name="connsiteY4904" fmla="*/ 3151323 h 4687251"/>
              <a:gd name="connsiteX4905" fmla="*/ 4249837 w 8079933"/>
              <a:gd name="connsiteY4905" fmla="*/ 3147425 h 4687251"/>
              <a:gd name="connsiteX4906" fmla="*/ 4247558 w 8079933"/>
              <a:gd name="connsiteY4906" fmla="*/ 3144285 h 4687251"/>
              <a:gd name="connsiteX4907" fmla="*/ 4245062 w 8079933"/>
              <a:gd name="connsiteY4907" fmla="*/ 3142120 h 4687251"/>
              <a:gd name="connsiteX4908" fmla="*/ 4284314 w 8079933"/>
              <a:gd name="connsiteY4908" fmla="*/ 3141366 h 4687251"/>
              <a:gd name="connsiteX4909" fmla="*/ 4284236 w 8079933"/>
              <a:gd name="connsiteY4909" fmla="*/ 3141795 h 4687251"/>
              <a:gd name="connsiteX4910" fmla="*/ 4283145 w 8079933"/>
              <a:gd name="connsiteY4910" fmla="*/ 3143885 h 4687251"/>
              <a:gd name="connsiteX4911" fmla="*/ 4284236 w 8079933"/>
              <a:gd name="connsiteY4911" fmla="*/ 3141795 h 4687251"/>
              <a:gd name="connsiteX4912" fmla="*/ 4310280 w 8079933"/>
              <a:gd name="connsiteY4912" fmla="*/ 3134757 h 4687251"/>
              <a:gd name="connsiteX4913" fmla="*/ 4308652 w 8079933"/>
              <a:gd name="connsiteY4913" fmla="*/ 3138438 h 4687251"/>
              <a:gd name="connsiteX4914" fmla="*/ 4299491 w 8079933"/>
              <a:gd name="connsiteY4914" fmla="*/ 3147275 h 4687251"/>
              <a:gd name="connsiteX4915" fmla="*/ 4308653 w 8079933"/>
              <a:gd name="connsiteY4915" fmla="*/ 3138439 h 4687251"/>
              <a:gd name="connsiteX4916" fmla="*/ 2279500 w 8079933"/>
              <a:gd name="connsiteY4916" fmla="*/ 3132592 h 4687251"/>
              <a:gd name="connsiteX4917" fmla="*/ 2273423 w 8079933"/>
              <a:gd name="connsiteY4917" fmla="*/ 3133134 h 4687251"/>
              <a:gd name="connsiteX4918" fmla="*/ 2268106 w 8079933"/>
              <a:gd name="connsiteY4918" fmla="*/ 3133675 h 4687251"/>
              <a:gd name="connsiteX4919" fmla="*/ 2268106 w 8079933"/>
              <a:gd name="connsiteY4919" fmla="*/ 3133675 h 4687251"/>
              <a:gd name="connsiteX4920" fmla="*/ 2273423 w 8079933"/>
              <a:gd name="connsiteY4920" fmla="*/ 3133134 h 4687251"/>
              <a:gd name="connsiteX4921" fmla="*/ 2279500 w 8079933"/>
              <a:gd name="connsiteY4921" fmla="*/ 3132592 h 4687251"/>
              <a:gd name="connsiteX4922" fmla="*/ 2283081 w 8079933"/>
              <a:gd name="connsiteY4922" fmla="*/ 3136490 h 4687251"/>
              <a:gd name="connsiteX4923" fmla="*/ 2283223 w 8079933"/>
              <a:gd name="connsiteY4923" fmla="*/ 3137107 h 4687251"/>
              <a:gd name="connsiteX4924" fmla="*/ 2283595 w 8079933"/>
              <a:gd name="connsiteY4924" fmla="*/ 3138729 h 4687251"/>
              <a:gd name="connsiteX4925" fmla="*/ 2283596 w 8079933"/>
              <a:gd name="connsiteY4925" fmla="*/ 3138728 h 4687251"/>
              <a:gd name="connsiteX4926" fmla="*/ 2283082 w 8079933"/>
              <a:gd name="connsiteY4926" fmla="*/ 3136489 h 4687251"/>
              <a:gd name="connsiteX4927" fmla="*/ 7026127 w 8079933"/>
              <a:gd name="connsiteY4927" fmla="*/ 3131944 h 4687251"/>
              <a:gd name="connsiteX4928" fmla="*/ 7028514 w 8079933"/>
              <a:gd name="connsiteY4928" fmla="*/ 3131944 h 4687251"/>
              <a:gd name="connsiteX4929" fmla="*/ 7028949 w 8079933"/>
              <a:gd name="connsiteY4929" fmla="*/ 3134217 h 4687251"/>
              <a:gd name="connsiteX4930" fmla="*/ 7026561 w 8079933"/>
              <a:gd name="connsiteY4930" fmla="*/ 3134217 h 4687251"/>
              <a:gd name="connsiteX4931" fmla="*/ 7033290 w 8079933"/>
              <a:gd name="connsiteY4931" fmla="*/ 3131185 h 4687251"/>
              <a:gd name="connsiteX4932" fmla="*/ 7033399 w 8079933"/>
              <a:gd name="connsiteY4932" fmla="*/ 3133026 h 4687251"/>
              <a:gd name="connsiteX4933" fmla="*/ 7031662 w 8079933"/>
              <a:gd name="connsiteY4933" fmla="*/ 3133567 h 4687251"/>
              <a:gd name="connsiteX4934" fmla="*/ 7030577 w 8079933"/>
              <a:gd name="connsiteY4934" fmla="*/ 3131618 h 4687251"/>
              <a:gd name="connsiteX4935" fmla="*/ 7021787 w 8079933"/>
              <a:gd name="connsiteY4935" fmla="*/ 3130968 h 4687251"/>
              <a:gd name="connsiteX4936" fmla="*/ 7024283 w 8079933"/>
              <a:gd name="connsiteY4936" fmla="*/ 3132159 h 4687251"/>
              <a:gd name="connsiteX4937" fmla="*/ 7021353 w 8079933"/>
              <a:gd name="connsiteY4937" fmla="*/ 3137247 h 4687251"/>
              <a:gd name="connsiteX4938" fmla="*/ 7020593 w 8079933"/>
              <a:gd name="connsiteY4938" fmla="*/ 3134973 h 4687251"/>
              <a:gd name="connsiteX4939" fmla="*/ 7017012 w 8079933"/>
              <a:gd name="connsiteY4939" fmla="*/ 3137139 h 4687251"/>
              <a:gd name="connsiteX4940" fmla="*/ 7013865 w 8079933"/>
              <a:gd name="connsiteY4940" fmla="*/ 3134432 h 4687251"/>
              <a:gd name="connsiteX4941" fmla="*/ 7019399 w 8079933"/>
              <a:gd name="connsiteY4941" fmla="*/ 3132700 h 4687251"/>
              <a:gd name="connsiteX4942" fmla="*/ 6735194 w 8079933"/>
              <a:gd name="connsiteY4942" fmla="*/ 3128586 h 4687251"/>
              <a:gd name="connsiteX4943" fmla="*/ 6736388 w 8079933"/>
              <a:gd name="connsiteY4943" fmla="*/ 3129669 h 4687251"/>
              <a:gd name="connsiteX4944" fmla="*/ 6735845 w 8079933"/>
              <a:gd name="connsiteY4944" fmla="*/ 3136057 h 4687251"/>
              <a:gd name="connsiteX4945" fmla="*/ 6734542 w 8079933"/>
              <a:gd name="connsiteY4945" fmla="*/ 3136490 h 4687251"/>
              <a:gd name="connsiteX4946" fmla="*/ 6734326 w 8079933"/>
              <a:gd name="connsiteY4946" fmla="*/ 3130426 h 4687251"/>
              <a:gd name="connsiteX4947" fmla="*/ 4673342 w 8079933"/>
              <a:gd name="connsiteY4947" fmla="*/ 3127733 h 4687251"/>
              <a:gd name="connsiteX4948" fmla="*/ 4670773 w 8079933"/>
              <a:gd name="connsiteY4948" fmla="*/ 3129886 h 4687251"/>
              <a:gd name="connsiteX4949" fmla="*/ 4664588 w 8079933"/>
              <a:gd name="connsiteY4949" fmla="*/ 3136707 h 4687251"/>
              <a:gd name="connsiteX4950" fmla="*/ 4660355 w 8079933"/>
              <a:gd name="connsiteY4950" fmla="*/ 3142662 h 4687251"/>
              <a:gd name="connsiteX4951" fmla="*/ 4652434 w 8079933"/>
              <a:gd name="connsiteY4951" fmla="*/ 3144827 h 4687251"/>
              <a:gd name="connsiteX4952" fmla="*/ 4652434 w 8079933"/>
              <a:gd name="connsiteY4952" fmla="*/ 3144827 h 4687251"/>
              <a:gd name="connsiteX4953" fmla="*/ 4660356 w 8079933"/>
              <a:gd name="connsiteY4953" fmla="*/ 3142662 h 4687251"/>
              <a:gd name="connsiteX4954" fmla="*/ 4664588 w 8079933"/>
              <a:gd name="connsiteY4954" fmla="*/ 3136707 h 4687251"/>
              <a:gd name="connsiteX4955" fmla="*/ 4670774 w 8079933"/>
              <a:gd name="connsiteY4955" fmla="*/ 3129886 h 4687251"/>
              <a:gd name="connsiteX4956" fmla="*/ 6731939 w 8079933"/>
              <a:gd name="connsiteY4956" fmla="*/ 3126963 h 4687251"/>
              <a:gd name="connsiteX4957" fmla="*/ 6733133 w 8079933"/>
              <a:gd name="connsiteY4957" fmla="*/ 3128803 h 4687251"/>
              <a:gd name="connsiteX4958" fmla="*/ 6733458 w 8079933"/>
              <a:gd name="connsiteY4958" fmla="*/ 3137141 h 4687251"/>
              <a:gd name="connsiteX4959" fmla="*/ 6732156 w 8079933"/>
              <a:gd name="connsiteY4959" fmla="*/ 3141904 h 4687251"/>
              <a:gd name="connsiteX4960" fmla="*/ 6728466 w 8079933"/>
              <a:gd name="connsiteY4960" fmla="*/ 3144503 h 4687251"/>
              <a:gd name="connsiteX4961" fmla="*/ 6726621 w 8079933"/>
              <a:gd name="connsiteY4961" fmla="*/ 3142121 h 4687251"/>
              <a:gd name="connsiteX4962" fmla="*/ 6727272 w 8079933"/>
              <a:gd name="connsiteY4962" fmla="*/ 3135192 h 4687251"/>
              <a:gd name="connsiteX4963" fmla="*/ 6729768 w 8079933"/>
              <a:gd name="connsiteY4963" fmla="*/ 3128371 h 4687251"/>
              <a:gd name="connsiteX4964" fmla="*/ 7012021 w 8079933"/>
              <a:gd name="connsiteY4964" fmla="*/ 3119817 h 4687251"/>
              <a:gd name="connsiteX4965" fmla="*/ 7012021 w 8079933"/>
              <a:gd name="connsiteY4965" fmla="*/ 3122849 h 4687251"/>
              <a:gd name="connsiteX4966" fmla="*/ 7009308 w 8079933"/>
              <a:gd name="connsiteY4966" fmla="*/ 3122307 h 4687251"/>
              <a:gd name="connsiteX4967" fmla="*/ 6979464 w 8079933"/>
              <a:gd name="connsiteY4967" fmla="*/ 3119493 h 4687251"/>
              <a:gd name="connsiteX4968" fmla="*/ 6988580 w 8079933"/>
              <a:gd name="connsiteY4968" fmla="*/ 3119926 h 4687251"/>
              <a:gd name="connsiteX4969" fmla="*/ 6995308 w 8079933"/>
              <a:gd name="connsiteY4969" fmla="*/ 3122741 h 4687251"/>
              <a:gd name="connsiteX4970" fmla="*/ 6995633 w 8079933"/>
              <a:gd name="connsiteY4970" fmla="*/ 3125448 h 4687251"/>
              <a:gd name="connsiteX4971" fmla="*/ 6999757 w 8079933"/>
              <a:gd name="connsiteY4971" fmla="*/ 3130212 h 4687251"/>
              <a:gd name="connsiteX4972" fmla="*/ 6999431 w 8079933"/>
              <a:gd name="connsiteY4972" fmla="*/ 3133893 h 4687251"/>
              <a:gd name="connsiteX4973" fmla="*/ 6995525 w 8079933"/>
              <a:gd name="connsiteY4973" fmla="*/ 3133677 h 4687251"/>
              <a:gd name="connsiteX4974" fmla="*/ 6990642 w 8079933"/>
              <a:gd name="connsiteY4974" fmla="*/ 3138007 h 4687251"/>
              <a:gd name="connsiteX4975" fmla="*/ 6985107 w 8079933"/>
              <a:gd name="connsiteY4975" fmla="*/ 3137466 h 4687251"/>
              <a:gd name="connsiteX4976" fmla="*/ 6979464 w 8079933"/>
              <a:gd name="connsiteY4976" fmla="*/ 3138007 h 4687251"/>
              <a:gd name="connsiteX4977" fmla="*/ 6977402 w 8079933"/>
              <a:gd name="connsiteY4977" fmla="*/ 3136059 h 4687251"/>
              <a:gd name="connsiteX4978" fmla="*/ 6970350 w 8079933"/>
              <a:gd name="connsiteY4978" fmla="*/ 3134760 h 4687251"/>
              <a:gd name="connsiteX4979" fmla="*/ 6966551 w 8079933"/>
              <a:gd name="connsiteY4979" fmla="*/ 3129562 h 4687251"/>
              <a:gd name="connsiteX4980" fmla="*/ 6967202 w 8079933"/>
              <a:gd name="connsiteY4980" fmla="*/ 3123499 h 4687251"/>
              <a:gd name="connsiteX4981" fmla="*/ 6971217 w 8079933"/>
              <a:gd name="connsiteY4981" fmla="*/ 3120792 h 4687251"/>
              <a:gd name="connsiteX4982" fmla="*/ 6975666 w 8079933"/>
              <a:gd name="connsiteY4982" fmla="*/ 3122741 h 4687251"/>
              <a:gd name="connsiteX4983" fmla="*/ 4217715 w 8079933"/>
              <a:gd name="connsiteY4983" fmla="*/ 3119058 h 4687251"/>
              <a:gd name="connsiteX4984" fmla="*/ 4219804 w 8079933"/>
              <a:gd name="connsiteY4984" fmla="*/ 3120705 h 4687251"/>
              <a:gd name="connsiteX4985" fmla="*/ 4217716 w 8079933"/>
              <a:gd name="connsiteY4985" fmla="*/ 3119058 h 4687251"/>
              <a:gd name="connsiteX4986" fmla="*/ 6512085 w 8079933"/>
              <a:gd name="connsiteY4986" fmla="*/ 3116135 h 4687251"/>
              <a:gd name="connsiteX4987" fmla="*/ 6514256 w 8079933"/>
              <a:gd name="connsiteY4987" fmla="*/ 3117651 h 4687251"/>
              <a:gd name="connsiteX4988" fmla="*/ 6511434 w 8079933"/>
              <a:gd name="connsiteY4988" fmla="*/ 3120140 h 4687251"/>
              <a:gd name="connsiteX4989" fmla="*/ 2094881 w 8079933"/>
              <a:gd name="connsiteY4989" fmla="*/ 3115317 h 4687251"/>
              <a:gd name="connsiteX4990" fmla="*/ 2092960 w 8079933"/>
              <a:gd name="connsiteY4990" fmla="*/ 3117109 h 4687251"/>
              <a:gd name="connsiteX4991" fmla="*/ 2092388 w 8079933"/>
              <a:gd name="connsiteY4991" fmla="*/ 3118292 h 4687251"/>
              <a:gd name="connsiteX4992" fmla="*/ 2092960 w 8079933"/>
              <a:gd name="connsiteY4992" fmla="*/ 3117110 h 4687251"/>
              <a:gd name="connsiteX4993" fmla="*/ 7017121 w 8079933"/>
              <a:gd name="connsiteY4993" fmla="*/ 3114945 h 4687251"/>
              <a:gd name="connsiteX4994" fmla="*/ 7016361 w 8079933"/>
              <a:gd name="connsiteY4994" fmla="*/ 3117110 h 4687251"/>
              <a:gd name="connsiteX4995" fmla="*/ 7013974 w 8079933"/>
              <a:gd name="connsiteY4995" fmla="*/ 3117327 h 4687251"/>
              <a:gd name="connsiteX4996" fmla="*/ 7012998 w 8079933"/>
              <a:gd name="connsiteY4996" fmla="*/ 3115161 h 4687251"/>
              <a:gd name="connsiteX4997" fmla="*/ 6352999 w 8079933"/>
              <a:gd name="connsiteY4997" fmla="*/ 3113646 h 4687251"/>
              <a:gd name="connsiteX4998" fmla="*/ 6357990 w 8079933"/>
              <a:gd name="connsiteY4998" fmla="*/ 3117435 h 4687251"/>
              <a:gd name="connsiteX4999" fmla="*/ 6357665 w 8079933"/>
              <a:gd name="connsiteY4999" fmla="*/ 3121441 h 4687251"/>
              <a:gd name="connsiteX5000" fmla="*/ 6358749 w 8079933"/>
              <a:gd name="connsiteY5000" fmla="*/ 3126097 h 4687251"/>
              <a:gd name="connsiteX5001" fmla="*/ 6349960 w 8079933"/>
              <a:gd name="connsiteY5001" fmla="*/ 3117977 h 4687251"/>
              <a:gd name="connsiteX5002" fmla="*/ 7051954 w 8079933"/>
              <a:gd name="connsiteY5002" fmla="*/ 3112021 h 4687251"/>
              <a:gd name="connsiteX5003" fmla="*/ 7057164 w 8079933"/>
              <a:gd name="connsiteY5003" fmla="*/ 3112563 h 4687251"/>
              <a:gd name="connsiteX5004" fmla="*/ 7061939 w 8079933"/>
              <a:gd name="connsiteY5004" fmla="*/ 3116568 h 4687251"/>
              <a:gd name="connsiteX5005" fmla="*/ 7071814 w 8079933"/>
              <a:gd name="connsiteY5005" fmla="*/ 3118409 h 4687251"/>
              <a:gd name="connsiteX5006" fmla="*/ 7083642 w 8079933"/>
              <a:gd name="connsiteY5006" fmla="*/ 3125122 h 4687251"/>
              <a:gd name="connsiteX5007" fmla="*/ 7085921 w 8079933"/>
              <a:gd name="connsiteY5007" fmla="*/ 3134108 h 4687251"/>
              <a:gd name="connsiteX5008" fmla="*/ 7084076 w 8079933"/>
              <a:gd name="connsiteY5008" fmla="*/ 3138330 h 4687251"/>
              <a:gd name="connsiteX5009" fmla="*/ 7079084 w 8079933"/>
              <a:gd name="connsiteY5009" fmla="*/ 3138330 h 4687251"/>
              <a:gd name="connsiteX5010" fmla="*/ 7073875 w 8079933"/>
              <a:gd name="connsiteY5010" fmla="*/ 3132808 h 4687251"/>
              <a:gd name="connsiteX5011" fmla="*/ 7069534 w 8079933"/>
              <a:gd name="connsiteY5011" fmla="*/ 3131943 h 4687251"/>
              <a:gd name="connsiteX5012" fmla="*/ 7060093 w 8079933"/>
              <a:gd name="connsiteY5012" fmla="*/ 3126312 h 4687251"/>
              <a:gd name="connsiteX5013" fmla="*/ 7055211 w 8079933"/>
              <a:gd name="connsiteY5013" fmla="*/ 3126312 h 4687251"/>
              <a:gd name="connsiteX5014" fmla="*/ 7053040 w 8079933"/>
              <a:gd name="connsiteY5014" fmla="*/ 3129453 h 4687251"/>
              <a:gd name="connsiteX5015" fmla="*/ 7042731 w 8079933"/>
              <a:gd name="connsiteY5015" fmla="*/ 3128153 h 4687251"/>
              <a:gd name="connsiteX5016" fmla="*/ 7040127 w 8079933"/>
              <a:gd name="connsiteY5016" fmla="*/ 3123714 h 4687251"/>
              <a:gd name="connsiteX5017" fmla="*/ 7037196 w 8079933"/>
              <a:gd name="connsiteY5017" fmla="*/ 3123714 h 4687251"/>
              <a:gd name="connsiteX5018" fmla="*/ 7032748 w 8079933"/>
              <a:gd name="connsiteY5018" fmla="*/ 3128153 h 4687251"/>
              <a:gd name="connsiteX5019" fmla="*/ 7028406 w 8079933"/>
              <a:gd name="connsiteY5019" fmla="*/ 3128586 h 4687251"/>
              <a:gd name="connsiteX5020" fmla="*/ 7026345 w 8079933"/>
              <a:gd name="connsiteY5020" fmla="*/ 3125447 h 4687251"/>
              <a:gd name="connsiteX5021" fmla="*/ 7022656 w 8079933"/>
              <a:gd name="connsiteY5021" fmla="*/ 3121549 h 4687251"/>
              <a:gd name="connsiteX5022" fmla="*/ 7018423 w 8079933"/>
              <a:gd name="connsiteY5022" fmla="*/ 3128370 h 4687251"/>
              <a:gd name="connsiteX5023" fmla="*/ 7015601 w 8079933"/>
              <a:gd name="connsiteY5023" fmla="*/ 3128370 h 4687251"/>
              <a:gd name="connsiteX5024" fmla="*/ 7014408 w 8079933"/>
              <a:gd name="connsiteY5024" fmla="*/ 3125230 h 4687251"/>
              <a:gd name="connsiteX5025" fmla="*/ 7016035 w 8079933"/>
              <a:gd name="connsiteY5025" fmla="*/ 3121115 h 4687251"/>
              <a:gd name="connsiteX5026" fmla="*/ 7019943 w 8079933"/>
              <a:gd name="connsiteY5026" fmla="*/ 3119816 h 4687251"/>
              <a:gd name="connsiteX5027" fmla="*/ 7020267 w 8079933"/>
              <a:gd name="connsiteY5027" fmla="*/ 3117002 h 4687251"/>
              <a:gd name="connsiteX5028" fmla="*/ 7022330 w 8079933"/>
              <a:gd name="connsiteY5028" fmla="*/ 3114294 h 4687251"/>
              <a:gd name="connsiteX5029" fmla="*/ 7032205 w 8079933"/>
              <a:gd name="connsiteY5029" fmla="*/ 3114403 h 4687251"/>
              <a:gd name="connsiteX5030" fmla="*/ 7039259 w 8079933"/>
              <a:gd name="connsiteY5030" fmla="*/ 3113970 h 4687251"/>
              <a:gd name="connsiteX5031" fmla="*/ 7042731 w 8079933"/>
              <a:gd name="connsiteY5031" fmla="*/ 3115377 h 4687251"/>
              <a:gd name="connsiteX5032" fmla="*/ 7047723 w 8079933"/>
              <a:gd name="connsiteY5032" fmla="*/ 3115810 h 4687251"/>
              <a:gd name="connsiteX5033" fmla="*/ 6345945 w 8079933"/>
              <a:gd name="connsiteY5033" fmla="*/ 3108990 h 4687251"/>
              <a:gd name="connsiteX5034" fmla="*/ 6350285 w 8079933"/>
              <a:gd name="connsiteY5034" fmla="*/ 3110938 h 4687251"/>
              <a:gd name="connsiteX5035" fmla="*/ 6346705 w 8079933"/>
              <a:gd name="connsiteY5035" fmla="*/ 3114186 h 4687251"/>
              <a:gd name="connsiteX5036" fmla="*/ 2042500 w 8079933"/>
              <a:gd name="connsiteY5036" fmla="*/ 3107474 h 4687251"/>
              <a:gd name="connsiteX5037" fmla="*/ 2042825 w 8079933"/>
              <a:gd name="connsiteY5037" fmla="*/ 3108664 h 4687251"/>
              <a:gd name="connsiteX5038" fmla="*/ 2041523 w 8079933"/>
              <a:gd name="connsiteY5038" fmla="*/ 3111913 h 4687251"/>
              <a:gd name="connsiteX5039" fmla="*/ 2041849 w 8079933"/>
              <a:gd name="connsiteY5039" fmla="*/ 3114837 h 4687251"/>
              <a:gd name="connsiteX5040" fmla="*/ 2040113 w 8079933"/>
              <a:gd name="connsiteY5040" fmla="*/ 3118301 h 4687251"/>
              <a:gd name="connsiteX5041" fmla="*/ 2037291 w 8079933"/>
              <a:gd name="connsiteY5041" fmla="*/ 3119167 h 4687251"/>
              <a:gd name="connsiteX5042" fmla="*/ 2035880 w 8079933"/>
              <a:gd name="connsiteY5042" fmla="*/ 3117327 h 4687251"/>
              <a:gd name="connsiteX5043" fmla="*/ 2035555 w 8079933"/>
              <a:gd name="connsiteY5043" fmla="*/ 3115594 h 4687251"/>
              <a:gd name="connsiteX5044" fmla="*/ 2038159 w 8079933"/>
              <a:gd name="connsiteY5044" fmla="*/ 3111372 h 4687251"/>
              <a:gd name="connsiteX5045" fmla="*/ 6529990 w 8079933"/>
              <a:gd name="connsiteY5045" fmla="*/ 3106391 h 4687251"/>
              <a:gd name="connsiteX5046" fmla="*/ 6538019 w 8079933"/>
              <a:gd name="connsiteY5046" fmla="*/ 3107907 h 4687251"/>
              <a:gd name="connsiteX5047" fmla="*/ 6545941 w 8079933"/>
              <a:gd name="connsiteY5047" fmla="*/ 3112995 h 4687251"/>
              <a:gd name="connsiteX5048" fmla="*/ 6548111 w 8079933"/>
              <a:gd name="connsiteY5048" fmla="*/ 3117759 h 4687251"/>
              <a:gd name="connsiteX5049" fmla="*/ 6544531 w 8079933"/>
              <a:gd name="connsiteY5049" fmla="*/ 3119491 h 4687251"/>
              <a:gd name="connsiteX5050" fmla="*/ 6543011 w 8079933"/>
              <a:gd name="connsiteY5050" fmla="*/ 3122848 h 4687251"/>
              <a:gd name="connsiteX5051" fmla="*/ 6539431 w 8079933"/>
              <a:gd name="connsiteY5051" fmla="*/ 3122090 h 4687251"/>
              <a:gd name="connsiteX5052" fmla="*/ 6536935 w 8079933"/>
              <a:gd name="connsiteY5052" fmla="*/ 3118409 h 4687251"/>
              <a:gd name="connsiteX5053" fmla="*/ 6532811 w 8079933"/>
              <a:gd name="connsiteY5053" fmla="*/ 3124689 h 4687251"/>
              <a:gd name="connsiteX5054" fmla="*/ 6529230 w 8079933"/>
              <a:gd name="connsiteY5054" fmla="*/ 3120899 h 4687251"/>
              <a:gd name="connsiteX5055" fmla="*/ 6529338 w 8079933"/>
              <a:gd name="connsiteY5055" fmla="*/ 3114186 h 4687251"/>
              <a:gd name="connsiteX5056" fmla="*/ 6526192 w 8079933"/>
              <a:gd name="connsiteY5056" fmla="*/ 3115811 h 4687251"/>
              <a:gd name="connsiteX5057" fmla="*/ 6526300 w 8079933"/>
              <a:gd name="connsiteY5057" fmla="*/ 3117327 h 4687251"/>
              <a:gd name="connsiteX5058" fmla="*/ 6522502 w 8079933"/>
              <a:gd name="connsiteY5058" fmla="*/ 3117110 h 4687251"/>
              <a:gd name="connsiteX5059" fmla="*/ 6524130 w 8079933"/>
              <a:gd name="connsiteY5059" fmla="*/ 3114728 h 4687251"/>
              <a:gd name="connsiteX5060" fmla="*/ 6529013 w 8079933"/>
              <a:gd name="connsiteY5060" fmla="*/ 3113537 h 4687251"/>
              <a:gd name="connsiteX5061" fmla="*/ 6529230 w 8079933"/>
              <a:gd name="connsiteY5061" fmla="*/ 3111263 h 4687251"/>
              <a:gd name="connsiteX5062" fmla="*/ 6527494 w 8079933"/>
              <a:gd name="connsiteY5062" fmla="*/ 3107148 h 4687251"/>
              <a:gd name="connsiteX5063" fmla="*/ 4635613 w 8079933"/>
              <a:gd name="connsiteY5063" fmla="*/ 3105091 h 4687251"/>
              <a:gd name="connsiteX5064" fmla="*/ 4636047 w 8079933"/>
              <a:gd name="connsiteY5064" fmla="*/ 3110396 h 4687251"/>
              <a:gd name="connsiteX5065" fmla="*/ 4636047 w 8079933"/>
              <a:gd name="connsiteY5065" fmla="*/ 3116568 h 4687251"/>
              <a:gd name="connsiteX5066" fmla="*/ 4640388 w 8079933"/>
              <a:gd name="connsiteY5066" fmla="*/ 3144610 h 4687251"/>
              <a:gd name="connsiteX5067" fmla="*/ 4643535 w 8079933"/>
              <a:gd name="connsiteY5067" fmla="*/ 3164748 h 4687251"/>
              <a:gd name="connsiteX5068" fmla="*/ 4648393 w 8079933"/>
              <a:gd name="connsiteY5068" fmla="*/ 3188983 h 4687251"/>
              <a:gd name="connsiteX5069" fmla="*/ 4649178 w 8079933"/>
              <a:gd name="connsiteY5069" fmla="*/ 3192899 h 4687251"/>
              <a:gd name="connsiteX5070" fmla="*/ 4649178 w 8079933"/>
              <a:gd name="connsiteY5070" fmla="*/ 3192898 h 4687251"/>
              <a:gd name="connsiteX5071" fmla="*/ 4648393 w 8079933"/>
              <a:gd name="connsiteY5071" fmla="*/ 3188983 h 4687251"/>
              <a:gd name="connsiteX5072" fmla="*/ 4643536 w 8079933"/>
              <a:gd name="connsiteY5072" fmla="*/ 3164749 h 4687251"/>
              <a:gd name="connsiteX5073" fmla="*/ 4640389 w 8079933"/>
              <a:gd name="connsiteY5073" fmla="*/ 3144611 h 4687251"/>
              <a:gd name="connsiteX5074" fmla="*/ 4640388 w 8079933"/>
              <a:gd name="connsiteY5074" fmla="*/ 3144611 h 4687251"/>
              <a:gd name="connsiteX5075" fmla="*/ 4636048 w 8079933"/>
              <a:gd name="connsiteY5075" fmla="*/ 3116568 h 4687251"/>
              <a:gd name="connsiteX5076" fmla="*/ 4636048 w 8079933"/>
              <a:gd name="connsiteY5076" fmla="*/ 3110397 h 4687251"/>
              <a:gd name="connsiteX5077" fmla="*/ 4635613 w 8079933"/>
              <a:gd name="connsiteY5077" fmla="*/ 3105092 h 4687251"/>
              <a:gd name="connsiteX5078" fmla="*/ 4673555 w 8079933"/>
              <a:gd name="connsiteY5078" fmla="*/ 3105074 h 4687251"/>
              <a:gd name="connsiteX5079" fmla="*/ 4675765 w 8079933"/>
              <a:gd name="connsiteY5079" fmla="*/ 3106283 h 4687251"/>
              <a:gd name="connsiteX5080" fmla="*/ 4676741 w 8079933"/>
              <a:gd name="connsiteY5080" fmla="*/ 3109315 h 4687251"/>
              <a:gd name="connsiteX5081" fmla="*/ 4679780 w 8079933"/>
              <a:gd name="connsiteY5081" fmla="*/ 3109748 h 4687251"/>
              <a:gd name="connsiteX5082" fmla="*/ 4681082 w 8079933"/>
              <a:gd name="connsiteY5082" fmla="*/ 3116785 h 4687251"/>
              <a:gd name="connsiteX5083" fmla="*/ 4680648 w 8079933"/>
              <a:gd name="connsiteY5083" fmla="*/ 3120250 h 4687251"/>
              <a:gd name="connsiteX5084" fmla="*/ 4676741 w 8079933"/>
              <a:gd name="connsiteY5084" fmla="*/ 3124148 h 4687251"/>
              <a:gd name="connsiteX5085" fmla="*/ 4673584 w 8079933"/>
              <a:gd name="connsiteY5085" fmla="*/ 3127509 h 4687251"/>
              <a:gd name="connsiteX5086" fmla="*/ 4673486 w 8079933"/>
              <a:gd name="connsiteY5086" fmla="*/ 3127613 h 4687251"/>
              <a:gd name="connsiteX5087" fmla="*/ 4673487 w 8079933"/>
              <a:gd name="connsiteY5087" fmla="*/ 3127612 h 4687251"/>
              <a:gd name="connsiteX5088" fmla="*/ 4673584 w 8079933"/>
              <a:gd name="connsiteY5088" fmla="*/ 3127509 h 4687251"/>
              <a:gd name="connsiteX5089" fmla="*/ 4676742 w 8079933"/>
              <a:gd name="connsiteY5089" fmla="*/ 3124148 h 4687251"/>
              <a:gd name="connsiteX5090" fmla="*/ 4680649 w 8079933"/>
              <a:gd name="connsiteY5090" fmla="*/ 3120250 h 4687251"/>
              <a:gd name="connsiteX5091" fmla="*/ 4681082 w 8079933"/>
              <a:gd name="connsiteY5091" fmla="*/ 3116786 h 4687251"/>
              <a:gd name="connsiteX5092" fmla="*/ 4679781 w 8079933"/>
              <a:gd name="connsiteY5092" fmla="*/ 3109748 h 4687251"/>
              <a:gd name="connsiteX5093" fmla="*/ 4676742 w 8079933"/>
              <a:gd name="connsiteY5093" fmla="*/ 3109315 h 4687251"/>
              <a:gd name="connsiteX5094" fmla="*/ 4675765 w 8079933"/>
              <a:gd name="connsiteY5094" fmla="*/ 3106283 h 4687251"/>
              <a:gd name="connsiteX5095" fmla="*/ 7567843 w 8079933"/>
              <a:gd name="connsiteY5095" fmla="*/ 3104983 h 4687251"/>
              <a:gd name="connsiteX5096" fmla="*/ 7578477 w 8079933"/>
              <a:gd name="connsiteY5096" fmla="*/ 3111371 h 4687251"/>
              <a:gd name="connsiteX5097" fmla="*/ 7585965 w 8079933"/>
              <a:gd name="connsiteY5097" fmla="*/ 3113428 h 4687251"/>
              <a:gd name="connsiteX5098" fmla="*/ 7594755 w 8079933"/>
              <a:gd name="connsiteY5098" fmla="*/ 3120791 h 4687251"/>
              <a:gd name="connsiteX5099" fmla="*/ 7601374 w 8079933"/>
              <a:gd name="connsiteY5099" fmla="*/ 3122198 h 4687251"/>
              <a:gd name="connsiteX5100" fmla="*/ 7605063 w 8079933"/>
              <a:gd name="connsiteY5100" fmla="*/ 3126313 h 4687251"/>
              <a:gd name="connsiteX5101" fmla="*/ 7610598 w 8079933"/>
              <a:gd name="connsiteY5101" fmla="*/ 3128911 h 4687251"/>
              <a:gd name="connsiteX5102" fmla="*/ 7614722 w 8079933"/>
              <a:gd name="connsiteY5102" fmla="*/ 3135732 h 4687251"/>
              <a:gd name="connsiteX5103" fmla="*/ 7617977 w 8079933"/>
              <a:gd name="connsiteY5103" fmla="*/ 3135948 h 4687251"/>
              <a:gd name="connsiteX5104" fmla="*/ 7619822 w 8079933"/>
              <a:gd name="connsiteY5104" fmla="*/ 3146017 h 4687251"/>
              <a:gd name="connsiteX5105" fmla="*/ 7622426 w 8079933"/>
              <a:gd name="connsiteY5105" fmla="*/ 3146884 h 4687251"/>
              <a:gd name="connsiteX5106" fmla="*/ 7622643 w 8079933"/>
              <a:gd name="connsiteY5106" fmla="*/ 3151107 h 4687251"/>
              <a:gd name="connsiteX5107" fmla="*/ 7620364 w 8079933"/>
              <a:gd name="connsiteY5107" fmla="*/ 3155654 h 4687251"/>
              <a:gd name="connsiteX5108" fmla="*/ 7618629 w 8079933"/>
              <a:gd name="connsiteY5108" fmla="*/ 3161609 h 4687251"/>
              <a:gd name="connsiteX5109" fmla="*/ 7613854 w 8079933"/>
              <a:gd name="connsiteY5109" fmla="*/ 3156195 h 4687251"/>
              <a:gd name="connsiteX5110" fmla="*/ 7612443 w 8079933"/>
              <a:gd name="connsiteY5110" fmla="*/ 3151107 h 4687251"/>
              <a:gd name="connsiteX5111" fmla="*/ 7614179 w 8079933"/>
              <a:gd name="connsiteY5111" fmla="*/ 3147100 h 4687251"/>
              <a:gd name="connsiteX5112" fmla="*/ 7610707 w 8079933"/>
              <a:gd name="connsiteY5112" fmla="*/ 3134866 h 4687251"/>
              <a:gd name="connsiteX5113" fmla="*/ 7602242 w 8079933"/>
              <a:gd name="connsiteY5113" fmla="*/ 3126204 h 4687251"/>
              <a:gd name="connsiteX5114" fmla="*/ 7596599 w 8079933"/>
              <a:gd name="connsiteY5114" fmla="*/ 3125662 h 4687251"/>
              <a:gd name="connsiteX5115" fmla="*/ 7588026 w 8079933"/>
              <a:gd name="connsiteY5115" fmla="*/ 3120791 h 4687251"/>
              <a:gd name="connsiteX5116" fmla="*/ 7571424 w 8079933"/>
              <a:gd name="connsiteY5116" fmla="*/ 3111154 h 4687251"/>
              <a:gd name="connsiteX5117" fmla="*/ 7568494 w 8079933"/>
              <a:gd name="connsiteY5117" fmla="*/ 3108230 h 4687251"/>
              <a:gd name="connsiteX5118" fmla="*/ 4218728 w 8079933"/>
              <a:gd name="connsiteY5118" fmla="*/ 3104345 h 4687251"/>
              <a:gd name="connsiteX5119" fmla="*/ 4219994 w 8079933"/>
              <a:gd name="connsiteY5119" fmla="*/ 3105308 h 4687251"/>
              <a:gd name="connsiteX5120" fmla="*/ 4224118 w 8079933"/>
              <a:gd name="connsiteY5120" fmla="*/ 3108340 h 4687251"/>
              <a:gd name="connsiteX5121" fmla="*/ 4224660 w 8079933"/>
              <a:gd name="connsiteY5121" fmla="*/ 3120250 h 4687251"/>
              <a:gd name="connsiteX5122" fmla="*/ 4224443 w 8079933"/>
              <a:gd name="connsiteY5122" fmla="*/ 3124363 h 4687251"/>
              <a:gd name="connsiteX5123" fmla="*/ 4224444 w 8079933"/>
              <a:gd name="connsiteY5123" fmla="*/ 3124363 h 4687251"/>
              <a:gd name="connsiteX5124" fmla="*/ 4224661 w 8079933"/>
              <a:gd name="connsiteY5124" fmla="*/ 3120249 h 4687251"/>
              <a:gd name="connsiteX5125" fmla="*/ 4224118 w 8079933"/>
              <a:gd name="connsiteY5125" fmla="*/ 3108339 h 4687251"/>
              <a:gd name="connsiteX5126" fmla="*/ 4219995 w 8079933"/>
              <a:gd name="connsiteY5126" fmla="*/ 3105308 h 4687251"/>
              <a:gd name="connsiteX5127" fmla="*/ 4217715 w 8079933"/>
              <a:gd name="connsiteY5127" fmla="*/ 3103575 h 4687251"/>
              <a:gd name="connsiteX5128" fmla="*/ 4214026 w 8079933"/>
              <a:gd name="connsiteY5128" fmla="*/ 3104442 h 4687251"/>
              <a:gd name="connsiteX5129" fmla="*/ 4210336 w 8079933"/>
              <a:gd name="connsiteY5129" fmla="*/ 3105632 h 4687251"/>
              <a:gd name="connsiteX5130" fmla="*/ 4210336 w 8079933"/>
              <a:gd name="connsiteY5130" fmla="*/ 3105633 h 4687251"/>
              <a:gd name="connsiteX5131" fmla="*/ 4214026 w 8079933"/>
              <a:gd name="connsiteY5131" fmla="*/ 3104442 h 4687251"/>
              <a:gd name="connsiteX5132" fmla="*/ 7554603 w 8079933"/>
              <a:gd name="connsiteY5132" fmla="*/ 3102276 h 4687251"/>
              <a:gd name="connsiteX5133" fmla="*/ 7557858 w 8079933"/>
              <a:gd name="connsiteY5133" fmla="*/ 3104333 h 4687251"/>
              <a:gd name="connsiteX5134" fmla="*/ 7557858 w 8079933"/>
              <a:gd name="connsiteY5134" fmla="*/ 3108989 h 4687251"/>
              <a:gd name="connsiteX5135" fmla="*/ 7552976 w 8079933"/>
              <a:gd name="connsiteY5135" fmla="*/ 3110288 h 4687251"/>
              <a:gd name="connsiteX5136" fmla="*/ 7549395 w 8079933"/>
              <a:gd name="connsiteY5136" fmla="*/ 3108123 h 4687251"/>
              <a:gd name="connsiteX5137" fmla="*/ 7549069 w 8079933"/>
              <a:gd name="connsiteY5137" fmla="*/ 3104333 h 4687251"/>
              <a:gd name="connsiteX5138" fmla="*/ 2282430 w 8079933"/>
              <a:gd name="connsiteY5138" fmla="*/ 3101302 h 4687251"/>
              <a:gd name="connsiteX5139" fmla="*/ 2278785 w 8079933"/>
              <a:gd name="connsiteY5139" fmla="*/ 3102486 h 4687251"/>
              <a:gd name="connsiteX5140" fmla="*/ 2282430 w 8079933"/>
              <a:gd name="connsiteY5140" fmla="*/ 3101302 h 4687251"/>
              <a:gd name="connsiteX5141" fmla="*/ 2282756 w 8079933"/>
              <a:gd name="connsiteY5141" fmla="*/ 3104550 h 4687251"/>
              <a:gd name="connsiteX5142" fmla="*/ 4650590 w 8079933"/>
              <a:gd name="connsiteY5142" fmla="*/ 3101194 h 4687251"/>
              <a:gd name="connsiteX5143" fmla="*/ 4648962 w 8079933"/>
              <a:gd name="connsiteY5143" fmla="*/ 3101735 h 4687251"/>
              <a:gd name="connsiteX5144" fmla="*/ 4648961 w 8079933"/>
              <a:gd name="connsiteY5144" fmla="*/ 3101735 h 4687251"/>
              <a:gd name="connsiteX5145" fmla="*/ 4650589 w 8079933"/>
              <a:gd name="connsiteY5145" fmla="*/ 3101194 h 4687251"/>
              <a:gd name="connsiteX5146" fmla="*/ 4652868 w 8079933"/>
              <a:gd name="connsiteY5146" fmla="*/ 3103576 h 4687251"/>
              <a:gd name="connsiteX5147" fmla="*/ 4657643 w 8079933"/>
              <a:gd name="connsiteY5147" fmla="*/ 3101952 h 4687251"/>
              <a:gd name="connsiteX5148" fmla="*/ 4657643 w 8079933"/>
              <a:gd name="connsiteY5148" fmla="*/ 3101951 h 4687251"/>
              <a:gd name="connsiteX5149" fmla="*/ 4652868 w 8079933"/>
              <a:gd name="connsiteY5149" fmla="*/ 3103575 h 4687251"/>
              <a:gd name="connsiteX5150" fmla="*/ 4639086 w 8079933"/>
              <a:gd name="connsiteY5150" fmla="*/ 3096863 h 4687251"/>
              <a:gd name="connsiteX5151" fmla="*/ 4641582 w 8079933"/>
              <a:gd name="connsiteY5151" fmla="*/ 3097838 h 4687251"/>
              <a:gd name="connsiteX5152" fmla="*/ 4643427 w 8079933"/>
              <a:gd name="connsiteY5152" fmla="*/ 3101735 h 4687251"/>
              <a:gd name="connsiteX5153" fmla="*/ 4647551 w 8079933"/>
              <a:gd name="connsiteY5153" fmla="*/ 3103251 h 4687251"/>
              <a:gd name="connsiteX5154" fmla="*/ 4648815 w 8079933"/>
              <a:gd name="connsiteY5154" fmla="*/ 3101892 h 4687251"/>
              <a:gd name="connsiteX5155" fmla="*/ 4647551 w 8079933"/>
              <a:gd name="connsiteY5155" fmla="*/ 3103251 h 4687251"/>
              <a:gd name="connsiteX5156" fmla="*/ 4643427 w 8079933"/>
              <a:gd name="connsiteY5156" fmla="*/ 3101735 h 4687251"/>
              <a:gd name="connsiteX5157" fmla="*/ 4641582 w 8079933"/>
              <a:gd name="connsiteY5157" fmla="*/ 3097837 h 4687251"/>
              <a:gd name="connsiteX5158" fmla="*/ 4639087 w 8079933"/>
              <a:gd name="connsiteY5158" fmla="*/ 3096863 h 4687251"/>
              <a:gd name="connsiteX5159" fmla="*/ 4222227 w 8079933"/>
              <a:gd name="connsiteY5159" fmla="*/ 3096456 h 4687251"/>
              <a:gd name="connsiteX5160" fmla="*/ 4221188 w 8079933"/>
              <a:gd name="connsiteY5160" fmla="*/ 3097296 h 4687251"/>
              <a:gd name="connsiteX5161" fmla="*/ 4221188 w 8079933"/>
              <a:gd name="connsiteY5161" fmla="*/ 3097296 h 4687251"/>
              <a:gd name="connsiteX5162" fmla="*/ 4210390 w 8079933"/>
              <a:gd name="connsiteY5162" fmla="*/ 3096375 h 4687251"/>
              <a:gd name="connsiteX5163" fmla="*/ 4209251 w 8079933"/>
              <a:gd name="connsiteY5163" fmla="*/ 3097512 h 4687251"/>
              <a:gd name="connsiteX5164" fmla="*/ 4211096 w 8079933"/>
              <a:gd name="connsiteY5164" fmla="*/ 3100977 h 4687251"/>
              <a:gd name="connsiteX5165" fmla="*/ 4210432 w 8079933"/>
              <a:gd name="connsiteY5165" fmla="*/ 3105047 h 4687251"/>
              <a:gd name="connsiteX5166" fmla="*/ 4211096 w 8079933"/>
              <a:gd name="connsiteY5166" fmla="*/ 3100977 h 4687251"/>
              <a:gd name="connsiteX5167" fmla="*/ 4209251 w 8079933"/>
              <a:gd name="connsiteY5167" fmla="*/ 3097512 h 4687251"/>
              <a:gd name="connsiteX5168" fmla="*/ 2240543 w 8079933"/>
              <a:gd name="connsiteY5168" fmla="*/ 3094047 h 4687251"/>
              <a:gd name="connsiteX5169" fmla="*/ 2232946 w 8079933"/>
              <a:gd name="connsiteY5169" fmla="*/ 3097512 h 4687251"/>
              <a:gd name="connsiteX5170" fmla="*/ 2230560 w 8079933"/>
              <a:gd name="connsiteY5170" fmla="*/ 3099569 h 4687251"/>
              <a:gd name="connsiteX5171" fmla="*/ 2224699 w 8079933"/>
              <a:gd name="connsiteY5171" fmla="*/ 3099786 h 4687251"/>
              <a:gd name="connsiteX5172" fmla="*/ 2220576 w 8079933"/>
              <a:gd name="connsiteY5172" fmla="*/ 3098703 h 4687251"/>
              <a:gd name="connsiteX5173" fmla="*/ 2215584 w 8079933"/>
              <a:gd name="connsiteY5173" fmla="*/ 3099894 h 4687251"/>
              <a:gd name="connsiteX5174" fmla="*/ 2211135 w 8079933"/>
              <a:gd name="connsiteY5174" fmla="*/ 3098054 h 4687251"/>
              <a:gd name="connsiteX5175" fmla="*/ 2209724 w 8079933"/>
              <a:gd name="connsiteY5175" fmla="*/ 3094589 h 4687251"/>
              <a:gd name="connsiteX5176" fmla="*/ 2209879 w 8079933"/>
              <a:gd name="connsiteY5176" fmla="*/ 3094347 h 4687251"/>
              <a:gd name="connsiteX5177" fmla="*/ 2209724 w 8079933"/>
              <a:gd name="connsiteY5177" fmla="*/ 3094590 h 4687251"/>
              <a:gd name="connsiteX5178" fmla="*/ 2211135 w 8079933"/>
              <a:gd name="connsiteY5178" fmla="*/ 3098055 h 4687251"/>
              <a:gd name="connsiteX5179" fmla="*/ 2215584 w 8079933"/>
              <a:gd name="connsiteY5179" fmla="*/ 3099895 h 4687251"/>
              <a:gd name="connsiteX5180" fmla="*/ 2220576 w 8079933"/>
              <a:gd name="connsiteY5180" fmla="*/ 3098704 h 4687251"/>
              <a:gd name="connsiteX5181" fmla="*/ 2224699 w 8079933"/>
              <a:gd name="connsiteY5181" fmla="*/ 3099787 h 4687251"/>
              <a:gd name="connsiteX5182" fmla="*/ 2230559 w 8079933"/>
              <a:gd name="connsiteY5182" fmla="*/ 3099570 h 4687251"/>
              <a:gd name="connsiteX5183" fmla="*/ 2232947 w 8079933"/>
              <a:gd name="connsiteY5183" fmla="*/ 3097513 h 4687251"/>
              <a:gd name="connsiteX5184" fmla="*/ 2240543 w 8079933"/>
              <a:gd name="connsiteY5184" fmla="*/ 3094048 h 4687251"/>
              <a:gd name="connsiteX5185" fmla="*/ 2247054 w 8079933"/>
              <a:gd name="connsiteY5185" fmla="*/ 3095239 h 4687251"/>
              <a:gd name="connsiteX5186" fmla="*/ 2252805 w 8079933"/>
              <a:gd name="connsiteY5186" fmla="*/ 3098055 h 4687251"/>
              <a:gd name="connsiteX5187" fmla="*/ 2261053 w 8079933"/>
              <a:gd name="connsiteY5187" fmla="*/ 3094482 h 4687251"/>
              <a:gd name="connsiteX5188" fmla="*/ 2265393 w 8079933"/>
              <a:gd name="connsiteY5188" fmla="*/ 3094482 h 4687251"/>
              <a:gd name="connsiteX5189" fmla="*/ 2267238 w 8079933"/>
              <a:gd name="connsiteY5189" fmla="*/ 3097188 h 4687251"/>
              <a:gd name="connsiteX5190" fmla="*/ 2270059 w 8079933"/>
              <a:gd name="connsiteY5190" fmla="*/ 3096972 h 4687251"/>
              <a:gd name="connsiteX5191" fmla="*/ 2275376 w 8079933"/>
              <a:gd name="connsiteY5191" fmla="*/ 3099570 h 4687251"/>
              <a:gd name="connsiteX5192" fmla="*/ 2277764 w 8079933"/>
              <a:gd name="connsiteY5192" fmla="*/ 3102818 h 4687251"/>
              <a:gd name="connsiteX5193" fmla="*/ 2277764 w 8079933"/>
              <a:gd name="connsiteY5193" fmla="*/ 3102818 h 4687251"/>
              <a:gd name="connsiteX5194" fmla="*/ 2275377 w 8079933"/>
              <a:gd name="connsiteY5194" fmla="*/ 3099569 h 4687251"/>
              <a:gd name="connsiteX5195" fmla="*/ 2270060 w 8079933"/>
              <a:gd name="connsiteY5195" fmla="*/ 3096971 h 4687251"/>
              <a:gd name="connsiteX5196" fmla="*/ 2267238 w 8079933"/>
              <a:gd name="connsiteY5196" fmla="*/ 3097187 h 4687251"/>
              <a:gd name="connsiteX5197" fmla="*/ 2265393 w 8079933"/>
              <a:gd name="connsiteY5197" fmla="*/ 3094481 h 4687251"/>
              <a:gd name="connsiteX5198" fmla="*/ 2261052 w 8079933"/>
              <a:gd name="connsiteY5198" fmla="*/ 3094481 h 4687251"/>
              <a:gd name="connsiteX5199" fmla="*/ 2252805 w 8079933"/>
              <a:gd name="connsiteY5199" fmla="*/ 3098054 h 4687251"/>
              <a:gd name="connsiteX5200" fmla="*/ 2247054 w 8079933"/>
              <a:gd name="connsiteY5200" fmla="*/ 3095239 h 4687251"/>
              <a:gd name="connsiteX5201" fmla="*/ 6966769 w 8079933"/>
              <a:gd name="connsiteY5201" fmla="*/ 3093940 h 4687251"/>
              <a:gd name="connsiteX5202" fmla="*/ 6966769 w 8079933"/>
              <a:gd name="connsiteY5202" fmla="*/ 3097729 h 4687251"/>
              <a:gd name="connsiteX5203" fmla="*/ 6970025 w 8079933"/>
              <a:gd name="connsiteY5203" fmla="*/ 3103034 h 4687251"/>
              <a:gd name="connsiteX5204" fmla="*/ 6969916 w 8079933"/>
              <a:gd name="connsiteY5204" fmla="*/ 3105308 h 4687251"/>
              <a:gd name="connsiteX5205" fmla="*/ 6967963 w 8079933"/>
              <a:gd name="connsiteY5205" fmla="*/ 3104442 h 4687251"/>
              <a:gd name="connsiteX5206" fmla="*/ 6965901 w 8079933"/>
              <a:gd name="connsiteY5206" fmla="*/ 3098812 h 4687251"/>
              <a:gd name="connsiteX5207" fmla="*/ 6965033 w 8079933"/>
              <a:gd name="connsiteY5207" fmla="*/ 3094914 h 4687251"/>
              <a:gd name="connsiteX5208" fmla="*/ 6337155 w 8079933"/>
              <a:gd name="connsiteY5208" fmla="*/ 3093940 h 4687251"/>
              <a:gd name="connsiteX5209" fmla="*/ 6342907 w 8079933"/>
              <a:gd name="connsiteY5209" fmla="*/ 3101952 h 4687251"/>
              <a:gd name="connsiteX5210" fmla="*/ 6337481 w 8079933"/>
              <a:gd name="connsiteY5210" fmla="*/ 3100328 h 4687251"/>
              <a:gd name="connsiteX5211" fmla="*/ 6334768 w 8079933"/>
              <a:gd name="connsiteY5211" fmla="*/ 3096646 h 4687251"/>
              <a:gd name="connsiteX5212" fmla="*/ 4272408 w 8079933"/>
              <a:gd name="connsiteY5212" fmla="*/ 3092965 h 4687251"/>
              <a:gd name="connsiteX5213" fmla="*/ 4273818 w 8079933"/>
              <a:gd name="connsiteY5213" fmla="*/ 3096213 h 4687251"/>
              <a:gd name="connsiteX5214" fmla="*/ 4273819 w 8079933"/>
              <a:gd name="connsiteY5214" fmla="*/ 3096213 h 4687251"/>
              <a:gd name="connsiteX5215" fmla="*/ 4272408 w 8079933"/>
              <a:gd name="connsiteY5215" fmla="*/ 3092965 h 4687251"/>
              <a:gd name="connsiteX5216" fmla="*/ 4667307 w 8079933"/>
              <a:gd name="connsiteY5216" fmla="*/ 3090947 h 4687251"/>
              <a:gd name="connsiteX5217" fmla="*/ 4668277 w 8079933"/>
              <a:gd name="connsiteY5217" fmla="*/ 3093940 h 4687251"/>
              <a:gd name="connsiteX5218" fmla="*/ 4670990 w 8079933"/>
              <a:gd name="connsiteY5218" fmla="*/ 3095456 h 4687251"/>
              <a:gd name="connsiteX5219" fmla="*/ 4670990 w 8079933"/>
              <a:gd name="connsiteY5219" fmla="*/ 3096863 h 4687251"/>
              <a:gd name="connsiteX5220" fmla="*/ 4670990 w 8079933"/>
              <a:gd name="connsiteY5220" fmla="*/ 3099245 h 4687251"/>
              <a:gd name="connsiteX5221" fmla="*/ 4672400 w 8079933"/>
              <a:gd name="connsiteY5221" fmla="*/ 3101194 h 4687251"/>
              <a:gd name="connsiteX5222" fmla="*/ 4672400 w 8079933"/>
              <a:gd name="connsiteY5222" fmla="*/ 3104442 h 4687251"/>
              <a:gd name="connsiteX5223" fmla="*/ 4672402 w 8079933"/>
              <a:gd name="connsiteY5223" fmla="*/ 3104443 h 4687251"/>
              <a:gd name="connsiteX5224" fmla="*/ 4672402 w 8079933"/>
              <a:gd name="connsiteY5224" fmla="*/ 3101194 h 4687251"/>
              <a:gd name="connsiteX5225" fmla="*/ 4670990 w 8079933"/>
              <a:gd name="connsiteY5225" fmla="*/ 3099245 h 4687251"/>
              <a:gd name="connsiteX5226" fmla="*/ 4670990 w 8079933"/>
              <a:gd name="connsiteY5226" fmla="*/ 3096864 h 4687251"/>
              <a:gd name="connsiteX5227" fmla="*/ 4671967 w 8079933"/>
              <a:gd name="connsiteY5227" fmla="*/ 3097946 h 4687251"/>
              <a:gd name="connsiteX5228" fmla="*/ 4674571 w 8079933"/>
              <a:gd name="connsiteY5228" fmla="*/ 3098488 h 4687251"/>
              <a:gd name="connsiteX5229" fmla="*/ 4677068 w 8079933"/>
              <a:gd name="connsiteY5229" fmla="*/ 3096972 h 4687251"/>
              <a:gd name="connsiteX5230" fmla="*/ 4679021 w 8079933"/>
              <a:gd name="connsiteY5230" fmla="*/ 3095023 h 4687251"/>
              <a:gd name="connsiteX5231" fmla="*/ 4679021 w 8079933"/>
              <a:gd name="connsiteY5231" fmla="*/ 3095022 h 4687251"/>
              <a:gd name="connsiteX5232" fmla="*/ 4677067 w 8079933"/>
              <a:gd name="connsiteY5232" fmla="*/ 3096971 h 4687251"/>
              <a:gd name="connsiteX5233" fmla="*/ 4674572 w 8079933"/>
              <a:gd name="connsiteY5233" fmla="*/ 3098486 h 4687251"/>
              <a:gd name="connsiteX5234" fmla="*/ 4671968 w 8079933"/>
              <a:gd name="connsiteY5234" fmla="*/ 3097945 h 4687251"/>
              <a:gd name="connsiteX5235" fmla="*/ 4670991 w 8079933"/>
              <a:gd name="connsiteY5235" fmla="*/ 3096863 h 4687251"/>
              <a:gd name="connsiteX5236" fmla="*/ 4670991 w 8079933"/>
              <a:gd name="connsiteY5236" fmla="*/ 3095455 h 4687251"/>
              <a:gd name="connsiteX5237" fmla="*/ 4668278 w 8079933"/>
              <a:gd name="connsiteY5237" fmla="*/ 3093939 h 4687251"/>
              <a:gd name="connsiteX5238" fmla="*/ 4267633 w 8079933"/>
              <a:gd name="connsiteY5238" fmla="*/ 3090908 h 4687251"/>
              <a:gd name="connsiteX5239" fmla="*/ 4269502 w 8079933"/>
              <a:gd name="connsiteY5239" fmla="*/ 3091713 h 4687251"/>
              <a:gd name="connsiteX5240" fmla="*/ 4267633 w 8079933"/>
              <a:gd name="connsiteY5240" fmla="*/ 3090908 h 4687251"/>
              <a:gd name="connsiteX5241" fmla="*/ 6901116 w 8079933"/>
              <a:gd name="connsiteY5241" fmla="*/ 3090259 h 4687251"/>
              <a:gd name="connsiteX5242" fmla="*/ 6900139 w 8079933"/>
              <a:gd name="connsiteY5242" fmla="*/ 3092966 h 4687251"/>
              <a:gd name="connsiteX5243" fmla="*/ 6897535 w 8079933"/>
              <a:gd name="connsiteY5243" fmla="*/ 3091775 h 4687251"/>
              <a:gd name="connsiteX5244" fmla="*/ 4681191 w 8079933"/>
              <a:gd name="connsiteY5244" fmla="*/ 3088634 h 4687251"/>
              <a:gd name="connsiteX5245" fmla="*/ 4680078 w 8079933"/>
              <a:gd name="connsiteY5245" fmla="*/ 3091504 h 4687251"/>
              <a:gd name="connsiteX5246" fmla="*/ 4681191 w 8079933"/>
              <a:gd name="connsiteY5246" fmla="*/ 3088635 h 4687251"/>
              <a:gd name="connsiteX5247" fmla="*/ 7476037 w 8079933"/>
              <a:gd name="connsiteY5247" fmla="*/ 3088201 h 4687251"/>
              <a:gd name="connsiteX5248" fmla="*/ 7478967 w 8079933"/>
              <a:gd name="connsiteY5248" fmla="*/ 3090258 h 4687251"/>
              <a:gd name="connsiteX5249" fmla="*/ 7482548 w 8079933"/>
              <a:gd name="connsiteY5249" fmla="*/ 3089392 h 4687251"/>
              <a:gd name="connsiteX5250" fmla="*/ 7485370 w 8079933"/>
              <a:gd name="connsiteY5250" fmla="*/ 3091666 h 4687251"/>
              <a:gd name="connsiteX5251" fmla="*/ 7480161 w 8079933"/>
              <a:gd name="connsiteY5251" fmla="*/ 3095996 h 4687251"/>
              <a:gd name="connsiteX5252" fmla="*/ 7474084 w 8079933"/>
              <a:gd name="connsiteY5252" fmla="*/ 3095996 h 4687251"/>
              <a:gd name="connsiteX5253" fmla="*/ 7472023 w 8079933"/>
              <a:gd name="connsiteY5253" fmla="*/ 3094048 h 4687251"/>
              <a:gd name="connsiteX5254" fmla="*/ 7468224 w 8079933"/>
              <a:gd name="connsiteY5254" fmla="*/ 3094048 h 4687251"/>
              <a:gd name="connsiteX5255" fmla="*/ 7466705 w 8079933"/>
              <a:gd name="connsiteY5255" fmla="*/ 3090583 h 4687251"/>
              <a:gd name="connsiteX5256" fmla="*/ 7468224 w 8079933"/>
              <a:gd name="connsiteY5256" fmla="*/ 3089392 h 4687251"/>
              <a:gd name="connsiteX5257" fmla="*/ 7472023 w 8079933"/>
              <a:gd name="connsiteY5257" fmla="*/ 3089392 h 4687251"/>
              <a:gd name="connsiteX5258" fmla="*/ 4660247 w 8079933"/>
              <a:gd name="connsiteY5258" fmla="*/ 3087984 h 4687251"/>
              <a:gd name="connsiteX5259" fmla="*/ 4660247 w 8079933"/>
              <a:gd name="connsiteY5259" fmla="*/ 3087985 h 4687251"/>
              <a:gd name="connsiteX5260" fmla="*/ 4662200 w 8079933"/>
              <a:gd name="connsiteY5260" fmla="*/ 3087985 h 4687251"/>
              <a:gd name="connsiteX5261" fmla="*/ 4664370 w 8079933"/>
              <a:gd name="connsiteY5261" fmla="*/ 3089825 h 4687251"/>
              <a:gd name="connsiteX5262" fmla="*/ 4665831 w 8079933"/>
              <a:gd name="connsiteY5262" fmla="*/ 3090058 h 4687251"/>
              <a:gd name="connsiteX5263" fmla="*/ 4664371 w 8079933"/>
              <a:gd name="connsiteY5263" fmla="*/ 3089825 h 4687251"/>
              <a:gd name="connsiteX5264" fmla="*/ 4662201 w 8079933"/>
              <a:gd name="connsiteY5264" fmla="*/ 3087984 h 4687251"/>
              <a:gd name="connsiteX5265" fmla="*/ 4275121 w 8079933"/>
              <a:gd name="connsiteY5265" fmla="*/ 3087552 h 4687251"/>
              <a:gd name="connsiteX5266" fmla="*/ 4275121 w 8079933"/>
              <a:gd name="connsiteY5266" fmla="*/ 3087552 h 4687251"/>
              <a:gd name="connsiteX5267" fmla="*/ 4276314 w 8079933"/>
              <a:gd name="connsiteY5267" fmla="*/ 3091883 h 4687251"/>
              <a:gd name="connsiteX5268" fmla="*/ 4276097 w 8079933"/>
              <a:gd name="connsiteY5268" fmla="*/ 3096213 h 4687251"/>
              <a:gd name="connsiteX5269" fmla="*/ 4276098 w 8079933"/>
              <a:gd name="connsiteY5269" fmla="*/ 3096213 h 4687251"/>
              <a:gd name="connsiteX5270" fmla="*/ 4276315 w 8079933"/>
              <a:gd name="connsiteY5270" fmla="*/ 3091882 h 4687251"/>
              <a:gd name="connsiteX5271" fmla="*/ 6906217 w 8079933"/>
              <a:gd name="connsiteY5271" fmla="*/ 3087335 h 4687251"/>
              <a:gd name="connsiteX5272" fmla="*/ 6907628 w 8079933"/>
              <a:gd name="connsiteY5272" fmla="*/ 3089717 h 4687251"/>
              <a:gd name="connsiteX5273" fmla="*/ 6904155 w 8079933"/>
              <a:gd name="connsiteY5273" fmla="*/ 3089176 h 4687251"/>
              <a:gd name="connsiteX5274" fmla="*/ 6963187 w 8079933"/>
              <a:gd name="connsiteY5274" fmla="*/ 3086795 h 4687251"/>
              <a:gd name="connsiteX5275" fmla="*/ 6972086 w 8079933"/>
              <a:gd name="connsiteY5275" fmla="*/ 3087985 h 4687251"/>
              <a:gd name="connsiteX5276" fmla="*/ 6976861 w 8079933"/>
              <a:gd name="connsiteY5276" fmla="*/ 3088852 h 4687251"/>
              <a:gd name="connsiteX5277" fmla="*/ 6971218 w 8079933"/>
              <a:gd name="connsiteY5277" fmla="*/ 3090260 h 4687251"/>
              <a:gd name="connsiteX5278" fmla="*/ 6960801 w 8079933"/>
              <a:gd name="connsiteY5278" fmla="*/ 3092642 h 4687251"/>
              <a:gd name="connsiteX5279" fmla="*/ 6955591 w 8079933"/>
              <a:gd name="connsiteY5279" fmla="*/ 3091234 h 4687251"/>
              <a:gd name="connsiteX5280" fmla="*/ 6955483 w 8079933"/>
              <a:gd name="connsiteY5280" fmla="*/ 3089393 h 4687251"/>
              <a:gd name="connsiteX5281" fmla="*/ 6953530 w 8079933"/>
              <a:gd name="connsiteY5281" fmla="*/ 3088203 h 4687251"/>
              <a:gd name="connsiteX5282" fmla="*/ 6956134 w 8079933"/>
              <a:gd name="connsiteY5282" fmla="*/ 3087011 h 4687251"/>
              <a:gd name="connsiteX5283" fmla="*/ 6959824 w 8079933"/>
              <a:gd name="connsiteY5283" fmla="*/ 3088311 h 4687251"/>
              <a:gd name="connsiteX5284" fmla="*/ 7071704 w 8079933"/>
              <a:gd name="connsiteY5284" fmla="*/ 3085062 h 4687251"/>
              <a:gd name="connsiteX5285" fmla="*/ 7073766 w 8079933"/>
              <a:gd name="connsiteY5285" fmla="*/ 3087119 h 4687251"/>
              <a:gd name="connsiteX5286" fmla="*/ 7074201 w 8079933"/>
              <a:gd name="connsiteY5286" fmla="*/ 3090800 h 4687251"/>
              <a:gd name="connsiteX5287" fmla="*/ 7076045 w 8079933"/>
              <a:gd name="connsiteY5287" fmla="*/ 3091775 h 4687251"/>
              <a:gd name="connsiteX5288" fmla="*/ 7069426 w 8079933"/>
              <a:gd name="connsiteY5288" fmla="*/ 3093832 h 4687251"/>
              <a:gd name="connsiteX5289" fmla="*/ 7061830 w 8079933"/>
              <a:gd name="connsiteY5289" fmla="*/ 3091233 h 4687251"/>
              <a:gd name="connsiteX5290" fmla="*/ 7059768 w 8079933"/>
              <a:gd name="connsiteY5290" fmla="*/ 3089284 h 4687251"/>
              <a:gd name="connsiteX5291" fmla="*/ 7062914 w 8079933"/>
              <a:gd name="connsiteY5291" fmla="*/ 3087227 h 4687251"/>
              <a:gd name="connsiteX5292" fmla="*/ 6938230 w 8079933"/>
              <a:gd name="connsiteY5292" fmla="*/ 3084954 h 4687251"/>
              <a:gd name="connsiteX5293" fmla="*/ 6943005 w 8079933"/>
              <a:gd name="connsiteY5293" fmla="*/ 3086145 h 4687251"/>
              <a:gd name="connsiteX5294" fmla="*/ 6946043 w 8079933"/>
              <a:gd name="connsiteY5294" fmla="*/ 3087769 h 4687251"/>
              <a:gd name="connsiteX5295" fmla="*/ 6949081 w 8079933"/>
              <a:gd name="connsiteY5295" fmla="*/ 3085496 h 4687251"/>
              <a:gd name="connsiteX5296" fmla="*/ 6952120 w 8079933"/>
              <a:gd name="connsiteY5296" fmla="*/ 3086578 h 4687251"/>
              <a:gd name="connsiteX5297" fmla="*/ 6952228 w 8079933"/>
              <a:gd name="connsiteY5297" fmla="*/ 3090692 h 4687251"/>
              <a:gd name="connsiteX5298" fmla="*/ 6948539 w 8079933"/>
              <a:gd name="connsiteY5298" fmla="*/ 3090259 h 4687251"/>
              <a:gd name="connsiteX5299" fmla="*/ 6944306 w 8079933"/>
              <a:gd name="connsiteY5299" fmla="*/ 3092208 h 4687251"/>
              <a:gd name="connsiteX5300" fmla="*/ 6940942 w 8079933"/>
              <a:gd name="connsiteY5300" fmla="*/ 3091341 h 4687251"/>
              <a:gd name="connsiteX5301" fmla="*/ 6935734 w 8079933"/>
              <a:gd name="connsiteY5301" fmla="*/ 3094481 h 4687251"/>
              <a:gd name="connsiteX5302" fmla="*/ 6931284 w 8079933"/>
              <a:gd name="connsiteY5302" fmla="*/ 3093507 h 4687251"/>
              <a:gd name="connsiteX5303" fmla="*/ 6929548 w 8079933"/>
              <a:gd name="connsiteY5303" fmla="*/ 3090908 h 4687251"/>
              <a:gd name="connsiteX5304" fmla="*/ 6929873 w 8079933"/>
              <a:gd name="connsiteY5304" fmla="*/ 3088635 h 4687251"/>
              <a:gd name="connsiteX5305" fmla="*/ 6932912 w 8079933"/>
              <a:gd name="connsiteY5305" fmla="*/ 3085496 h 4687251"/>
              <a:gd name="connsiteX5306" fmla="*/ 6935299 w 8079933"/>
              <a:gd name="connsiteY5306" fmla="*/ 3086145 h 4687251"/>
              <a:gd name="connsiteX5307" fmla="*/ 6562327 w 8079933"/>
              <a:gd name="connsiteY5307" fmla="*/ 3084846 h 4687251"/>
              <a:gd name="connsiteX5308" fmla="*/ 6564281 w 8079933"/>
              <a:gd name="connsiteY5308" fmla="*/ 3086903 h 4687251"/>
              <a:gd name="connsiteX5309" fmla="*/ 6562653 w 8079933"/>
              <a:gd name="connsiteY5309" fmla="*/ 3088959 h 4687251"/>
              <a:gd name="connsiteX5310" fmla="*/ 6559071 w 8079933"/>
              <a:gd name="connsiteY5310" fmla="*/ 3087335 h 4687251"/>
              <a:gd name="connsiteX5311" fmla="*/ 6558746 w 8079933"/>
              <a:gd name="connsiteY5311" fmla="*/ 3084954 h 4687251"/>
              <a:gd name="connsiteX5312" fmla="*/ 6912402 w 8079933"/>
              <a:gd name="connsiteY5312" fmla="*/ 3082464 h 4687251"/>
              <a:gd name="connsiteX5313" fmla="*/ 6913270 w 8079933"/>
              <a:gd name="connsiteY5313" fmla="*/ 3085712 h 4687251"/>
              <a:gd name="connsiteX5314" fmla="*/ 6909689 w 8079933"/>
              <a:gd name="connsiteY5314" fmla="*/ 3084521 h 4687251"/>
              <a:gd name="connsiteX5315" fmla="*/ 6484846 w 8079933"/>
              <a:gd name="connsiteY5315" fmla="*/ 3082247 h 4687251"/>
              <a:gd name="connsiteX5316" fmla="*/ 6487775 w 8079933"/>
              <a:gd name="connsiteY5316" fmla="*/ 3082247 h 4687251"/>
              <a:gd name="connsiteX5317" fmla="*/ 6491248 w 8079933"/>
              <a:gd name="connsiteY5317" fmla="*/ 3083871 h 4687251"/>
              <a:gd name="connsiteX5318" fmla="*/ 6491899 w 8079933"/>
              <a:gd name="connsiteY5318" fmla="*/ 3087877 h 4687251"/>
              <a:gd name="connsiteX5319" fmla="*/ 6493744 w 8079933"/>
              <a:gd name="connsiteY5319" fmla="*/ 3089609 h 4687251"/>
              <a:gd name="connsiteX5320" fmla="*/ 6495697 w 8079933"/>
              <a:gd name="connsiteY5320" fmla="*/ 3100436 h 4687251"/>
              <a:gd name="connsiteX5321" fmla="*/ 6500689 w 8079933"/>
              <a:gd name="connsiteY5321" fmla="*/ 3106066 h 4687251"/>
              <a:gd name="connsiteX5322" fmla="*/ 6508610 w 8079933"/>
              <a:gd name="connsiteY5322" fmla="*/ 3107799 h 4687251"/>
              <a:gd name="connsiteX5323" fmla="*/ 6506114 w 8079933"/>
              <a:gd name="connsiteY5323" fmla="*/ 3113645 h 4687251"/>
              <a:gd name="connsiteX5324" fmla="*/ 6507742 w 8079933"/>
              <a:gd name="connsiteY5324" fmla="*/ 3118517 h 4687251"/>
              <a:gd name="connsiteX5325" fmla="*/ 6505355 w 8079933"/>
              <a:gd name="connsiteY5325" fmla="*/ 3122090 h 4687251"/>
              <a:gd name="connsiteX5326" fmla="*/ 6503076 w 8079933"/>
              <a:gd name="connsiteY5326" fmla="*/ 3120142 h 4687251"/>
              <a:gd name="connsiteX5327" fmla="*/ 6501557 w 8079933"/>
              <a:gd name="connsiteY5327" fmla="*/ 3115485 h 4687251"/>
              <a:gd name="connsiteX5328" fmla="*/ 6496782 w 8079933"/>
              <a:gd name="connsiteY5328" fmla="*/ 3116027 h 4687251"/>
              <a:gd name="connsiteX5329" fmla="*/ 6491465 w 8079933"/>
              <a:gd name="connsiteY5329" fmla="*/ 3112562 h 4687251"/>
              <a:gd name="connsiteX5330" fmla="*/ 6489946 w 8079933"/>
              <a:gd name="connsiteY5330" fmla="*/ 3106175 h 4687251"/>
              <a:gd name="connsiteX5331" fmla="*/ 6487342 w 8079933"/>
              <a:gd name="connsiteY5331" fmla="*/ 3104442 h 4687251"/>
              <a:gd name="connsiteX5332" fmla="*/ 6487124 w 8079933"/>
              <a:gd name="connsiteY5332" fmla="*/ 3099787 h 4687251"/>
              <a:gd name="connsiteX5333" fmla="*/ 6484846 w 8079933"/>
              <a:gd name="connsiteY5333" fmla="*/ 3097404 h 4687251"/>
              <a:gd name="connsiteX5334" fmla="*/ 6476056 w 8079933"/>
              <a:gd name="connsiteY5334" fmla="*/ 3096755 h 4687251"/>
              <a:gd name="connsiteX5335" fmla="*/ 6473126 w 8079933"/>
              <a:gd name="connsiteY5335" fmla="*/ 3092857 h 4687251"/>
              <a:gd name="connsiteX5336" fmla="*/ 6477575 w 8079933"/>
              <a:gd name="connsiteY5336" fmla="*/ 3089501 h 4687251"/>
              <a:gd name="connsiteX5337" fmla="*/ 6477684 w 8079933"/>
              <a:gd name="connsiteY5337" fmla="*/ 3085603 h 4687251"/>
              <a:gd name="connsiteX5338" fmla="*/ 6479311 w 8079933"/>
              <a:gd name="connsiteY5338" fmla="*/ 3084737 h 4687251"/>
              <a:gd name="connsiteX5339" fmla="*/ 6482350 w 8079933"/>
              <a:gd name="connsiteY5339" fmla="*/ 3087985 h 4687251"/>
              <a:gd name="connsiteX5340" fmla="*/ 6486907 w 8079933"/>
              <a:gd name="connsiteY5340" fmla="*/ 3089609 h 4687251"/>
              <a:gd name="connsiteX5341" fmla="*/ 6485280 w 8079933"/>
              <a:gd name="connsiteY5341" fmla="*/ 3086469 h 4687251"/>
              <a:gd name="connsiteX5342" fmla="*/ 7196607 w 8079933"/>
              <a:gd name="connsiteY5342" fmla="*/ 3082139 h 4687251"/>
              <a:gd name="connsiteX5343" fmla="*/ 7205396 w 8079933"/>
              <a:gd name="connsiteY5343" fmla="*/ 3085279 h 4687251"/>
              <a:gd name="connsiteX5344" fmla="*/ 7210280 w 8079933"/>
              <a:gd name="connsiteY5344" fmla="*/ 3082896 h 4687251"/>
              <a:gd name="connsiteX5345" fmla="*/ 7217550 w 8079933"/>
              <a:gd name="connsiteY5345" fmla="*/ 3084954 h 4687251"/>
              <a:gd name="connsiteX5346" fmla="*/ 7221457 w 8079933"/>
              <a:gd name="connsiteY5346" fmla="*/ 3083980 h 4687251"/>
              <a:gd name="connsiteX5347" fmla="*/ 7229596 w 8079933"/>
              <a:gd name="connsiteY5347" fmla="*/ 3085712 h 4687251"/>
              <a:gd name="connsiteX5348" fmla="*/ 7226883 w 8079933"/>
              <a:gd name="connsiteY5348" fmla="*/ 3087336 h 4687251"/>
              <a:gd name="connsiteX5349" fmla="*/ 7216899 w 8079933"/>
              <a:gd name="connsiteY5349" fmla="*/ 3088852 h 4687251"/>
              <a:gd name="connsiteX5350" fmla="*/ 7206048 w 8079933"/>
              <a:gd name="connsiteY5350" fmla="*/ 3087336 h 4687251"/>
              <a:gd name="connsiteX5351" fmla="*/ 7198452 w 8079933"/>
              <a:gd name="connsiteY5351" fmla="*/ 3084196 h 4687251"/>
              <a:gd name="connsiteX5352" fmla="*/ 7196607 w 8079933"/>
              <a:gd name="connsiteY5352" fmla="*/ 3082139 h 4687251"/>
              <a:gd name="connsiteX5353" fmla="*/ 4679941 w 8079933"/>
              <a:gd name="connsiteY5353" fmla="*/ 3081747 h 4687251"/>
              <a:gd name="connsiteX5354" fmla="*/ 4680540 w 8079933"/>
              <a:gd name="connsiteY5354" fmla="*/ 3083870 h 4687251"/>
              <a:gd name="connsiteX5355" fmla="*/ 4680978 w 8079933"/>
              <a:gd name="connsiteY5355" fmla="*/ 3087074 h 4687251"/>
              <a:gd name="connsiteX5356" fmla="*/ 4680540 w 8079933"/>
              <a:gd name="connsiteY5356" fmla="*/ 3083871 h 4687251"/>
              <a:gd name="connsiteX5357" fmla="*/ 4237885 w 8079933"/>
              <a:gd name="connsiteY5357" fmla="*/ 3081625 h 4687251"/>
              <a:gd name="connsiteX5358" fmla="*/ 4237031 w 8079933"/>
              <a:gd name="connsiteY5358" fmla="*/ 3082679 h 4687251"/>
              <a:gd name="connsiteX5359" fmla="*/ 4237899 w 8079933"/>
              <a:gd name="connsiteY5359" fmla="*/ 3088418 h 4687251"/>
              <a:gd name="connsiteX5360" fmla="*/ 4236815 w 8079933"/>
              <a:gd name="connsiteY5360" fmla="*/ 3092315 h 4687251"/>
              <a:gd name="connsiteX5361" fmla="*/ 4237900 w 8079933"/>
              <a:gd name="connsiteY5361" fmla="*/ 3088418 h 4687251"/>
              <a:gd name="connsiteX5362" fmla="*/ 4237032 w 8079933"/>
              <a:gd name="connsiteY5362" fmla="*/ 3082679 h 4687251"/>
              <a:gd name="connsiteX5363" fmla="*/ 7187058 w 8079933"/>
              <a:gd name="connsiteY5363" fmla="*/ 3080731 h 4687251"/>
              <a:gd name="connsiteX5364" fmla="*/ 7193244 w 8079933"/>
              <a:gd name="connsiteY5364" fmla="*/ 3080731 h 4687251"/>
              <a:gd name="connsiteX5365" fmla="*/ 7190531 w 8079933"/>
              <a:gd name="connsiteY5365" fmla="*/ 3081922 h 4687251"/>
              <a:gd name="connsiteX5366" fmla="*/ 4243619 w 8079933"/>
              <a:gd name="connsiteY5366" fmla="*/ 3080376 h 4687251"/>
              <a:gd name="connsiteX5367" fmla="*/ 4243867 w 8079933"/>
              <a:gd name="connsiteY5367" fmla="*/ 3080406 h 4687251"/>
              <a:gd name="connsiteX5368" fmla="*/ 4247774 w 8079933"/>
              <a:gd name="connsiteY5368" fmla="*/ 3090041 h 4687251"/>
              <a:gd name="connsiteX5369" fmla="*/ 4247775 w 8079933"/>
              <a:gd name="connsiteY5369" fmla="*/ 3090042 h 4687251"/>
              <a:gd name="connsiteX5370" fmla="*/ 4243868 w 8079933"/>
              <a:gd name="connsiteY5370" fmla="*/ 3080406 h 4687251"/>
              <a:gd name="connsiteX5371" fmla="*/ 2203643 w 8079933"/>
              <a:gd name="connsiteY5371" fmla="*/ 3078344 h 4687251"/>
              <a:gd name="connsiteX5372" fmla="*/ 2203538 w 8079933"/>
              <a:gd name="connsiteY5372" fmla="*/ 3083762 h 4687251"/>
              <a:gd name="connsiteX5373" fmla="*/ 2205274 w 8079933"/>
              <a:gd name="connsiteY5373" fmla="*/ 3084304 h 4687251"/>
              <a:gd name="connsiteX5374" fmla="*/ 2209181 w 8079933"/>
              <a:gd name="connsiteY5374" fmla="*/ 3086145 h 4687251"/>
              <a:gd name="connsiteX5375" fmla="*/ 2210909 w 8079933"/>
              <a:gd name="connsiteY5375" fmla="*/ 3091223 h 4687251"/>
              <a:gd name="connsiteX5376" fmla="*/ 2209182 w 8079933"/>
              <a:gd name="connsiteY5376" fmla="*/ 3086144 h 4687251"/>
              <a:gd name="connsiteX5377" fmla="*/ 2205275 w 8079933"/>
              <a:gd name="connsiteY5377" fmla="*/ 3084303 h 4687251"/>
              <a:gd name="connsiteX5378" fmla="*/ 2203539 w 8079933"/>
              <a:gd name="connsiteY5378" fmla="*/ 3083762 h 4687251"/>
              <a:gd name="connsiteX5379" fmla="*/ 7009415 w 8079933"/>
              <a:gd name="connsiteY5379" fmla="*/ 3077916 h 4687251"/>
              <a:gd name="connsiteX5380" fmla="*/ 7015166 w 8079933"/>
              <a:gd name="connsiteY5380" fmla="*/ 3078240 h 4687251"/>
              <a:gd name="connsiteX5381" fmla="*/ 7021026 w 8079933"/>
              <a:gd name="connsiteY5381" fmla="*/ 3084087 h 4687251"/>
              <a:gd name="connsiteX5382" fmla="*/ 7019723 w 8079933"/>
              <a:gd name="connsiteY5382" fmla="*/ 3086902 h 4687251"/>
              <a:gd name="connsiteX5383" fmla="*/ 7016793 w 8079933"/>
              <a:gd name="connsiteY5383" fmla="*/ 3086902 h 4687251"/>
              <a:gd name="connsiteX5384" fmla="*/ 7012778 w 8079933"/>
              <a:gd name="connsiteY5384" fmla="*/ 3086902 h 4687251"/>
              <a:gd name="connsiteX5385" fmla="*/ 7009523 w 8079933"/>
              <a:gd name="connsiteY5385" fmla="*/ 3087552 h 4687251"/>
              <a:gd name="connsiteX5386" fmla="*/ 7005400 w 8079933"/>
              <a:gd name="connsiteY5386" fmla="*/ 3085712 h 4687251"/>
              <a:gd name="connsiteX5387" fmla="*/ 7002687 w 8079933"/>
              <a:gd name="connsiteY5387" fmla="*/ 3082896 h 4687251"/>
              <a:gd name="connsiteX5388" fmla="*/ 6897753 w 8079933"/>
              <a:gd name="connsiteY5388" fmla="*/ 3073694 h 4687251"/>
              <a:gd name="connsiteX5389" fmla="*/ 6904372 w 8079933"/>
              <a:gd name="connsiteY5389" fmla="*/ 3074235 h 4687251"/>
              <a:gd name="connsiteX5390" fmla="*/ 6904805 w 8079933"/>
              <a:gd name="connsiteY5390" fmla="*/ 3076292 h 4687251"/>
              <a:gd name="connsiteX5391" fmla="*/ 6903287 w 8079933"/>
              <a:gd name="connsiteY5391" fmla="*/ 3078999 h 4687251"/>
              <a:gd name="connsiteX5392" fmla="*/ 6906976 w 8079933"/>
              <a:gd name="connsiteY5392" fmla="*/ 3078241 h 4687251"/>
              <a:gd name="connsiteX5393" fmla="*/ 6908604 w 8079933"/>
              <a:gd name="connsiteY5393" fmla="*/ 3075318 h 4687251"/>
              <a:gd name="connsiteX5394" fmla="*/ 6912077 w 8079933"/>
              <a:gd name="connsiteY5394" fmla="*/ 3077808 h 4687251"/>
              <a:gd name="connsiteX5395" fmla="*/ 6911208 w 8079933"/>
              <a:gd name="connsiteY5395" fmla="*/ 3081489 h 4687251"/>
              <a:gd name="connsiteX5396" fmla="*/ 6906976 w 8079933"/>
              <a:gd name="connsiteY5396" fmla="*/ 3082464 h 4687251"/>
              <a:gd name="connsiteX5397" fmla="*/ 6905565 w 8079933"/>
              <a:gd name="connsiteY5397" fmla="*/ 3080732 h 4687251"/>
              <a:gd name="connsiteX5398" fmla="*/ 6903287 w 8079933"/>
              <a:gd name="connsiteY5398" fmla="*/ 3084088 h 4687251"/>
              <a:gd name="connsiteX5399" fmla="*/ 6899380 w 8079933"/>
              <a:gd name="connsiteY5399" fmla="*/ 3081057 h 4687251"/>
              <a:gd name="connsiteX5400" fmla="*/ 6896233 w 8079933"/>
              <a:gd name="connsiteY5400" fmla="*/ 3083872 h 4687251"/>
              <a:gd name="connsiteX5401" fmla="*/ 6892651 w 8079933"/>
              <a:gd name="connsiteY5401" fmla="*/ 3081273 h 4687251"/>
              <a:gd name="connsiteX5402" fmla="*/ 6892435 w 8079933"/>
              <a:gd name="connsiteY5402" fmla="*/ 3076942 h 4687251"/>
              <a:gd name="connsiteX5403" fmla="*/ 6574806 w 8079933"/>
              <a:gd name="connsiteY5403" fmla="*/ 3071311 h 4687251"/>
              <a:gd name="connsiteX5404" fmla="*/ 6580665 w 8079933"/>
              <a:gd name="connsiteY5404" fmla="*/ 3071527 h 4687251"/>
              <a:gd name="connsiteX5405" fmla="*/ 6584138 w 8079933"/>
              <a:gd name="connsiteY5405" fmla="*/ 3074017 h 4687251"/>
              <a:gd name="connsiteX5406" fmla="*/ 6579581 w 8079933"/>
              <a:gd name="connsiteY5406" fmla="*/ 3078781 h 4687251"/>
              <a:gd name="connsiteX5407" fmla="*/ 6576542 w 8079933"/>
              <a:gd name="connsiteY5407" fmla="*/ 3079647 h 4687251"/>
              <a:gd name="connsiteX5408" fmla="*/ 6574589 w 8079933"/>
              <a:gd name="connsiteY5408" fmla="*/ 3077157 h 4687251"/>
              <a:gd name="connsiteX5409" fmla="*/ 6575240 w 8079933"/>
              <a:gd name="connsiteY5409" fmla="*/ 3074125 h 4687251"/>
              <a:gd name="connsiteX5410" fmla="*/ 7534962 w 8079933"/>
              <a:gd name="connsiteY5410" fmla="*/ 3069362 h 4687251"/>
              <a:gd name="connsiteX5411" fmla="*/ 7539195 w 8079933"/>
              <a:gd name="connsiteY5411" fmla="*/ 3069578 h 4687251"/>
              <a:gd name="connsiteX5412" fmla="*/ 7542016 w 8079933"/>
              <a:gd name="connsiteY5412" fmla="*/ 3073693 h 4687251"/>
              <a:gd name="connsiteX5413" fmla="*/ 7541799 w 8079933"/>
              <a:gd name="connsiteY5413" fmla="*/ 3076616 h 4687251"/>
              <a:gd name="connsiteX5414" fmla="*/ 7535830 w 8079933"/>
              <a:gd name="connsiteY5414" fmla="*/ 3072719 h 4687251"/>
              <a:gd name="connsiteX5415" fmla="*/ 4336758 w 8079933"/>
              <a:gd name="connsiteY5415" fmla="*/ 3068820 h 4687251"/>
              <a:gd name="connsiteX5416" fmla="*/ 4332200 w 8079933"/>
              <a:gd name="connsiteY5416" fmla="*/ 3074451 h 4687251"/>
              <a:gd name="connsiteX5417" fmla="*/ 4332092 w 8079933"/>
              <a:gd name="connsiteY5417" fmla="*/ 3079647 h 4687251"/>
              <a:gd name="connsiteX5418" fmla="*/ 4324821 w 8079933"/>
              <a:gd name="connsiteY5418" fmla="*/ 3087226 h 4687251"/>
              <a:gd name="connsiteX5419" fmla="*/ 4322217 w 8079933"/>
              <a:gd name="connsiteY5419" fmla="*/ 3092315 h 4687251"/>
              <a:gd name="connsiteX5420" fmla="*/ 4323194 w 8079933"/>
              <a:gd name="connsiteY5420" fmla="*/ 3099028 h 4687251"/>
              <a:gd name="connsiteX5421" fmla="*/ 4324604 w 8079933"/>
              <a:gd name="connsiteY5421" fmla="*/ 3100977 h 4687251"/>
              <a:gd name="connsiteX5422" fmla="*/ 4323736 w 8079933"/>
              <a:gd name="connsiteY5422" fmla="*/ 3113969 h 4687251"/>
              <a:gd name="connsiteX5423" fmla="*/ 4322109 w 8079933"/>
              <a:gd name="connsiteY5423" fmla="*/ 3120574 h 4687251"/>
              <a:gd name="connsiteX5424" fmla="*/ 4323737 w 8079933"/>
              <a:gd name="connsiteY5424" fmla="*/ 3113969 h 4687251"/>
              <a:gd name="connsiteX5425" fmla="*/ 4324605 w 8079933"/>
              <a:gd name="connsiteY5425" fmla="*/ 3100977 h 4687251"/>
              <a:gd name="connsiteX5426" fmla="*/ 4323194 w 8079933"/>
              <a:gd name="connsiteY5426" fmla="*/ 3099028 h 4687251"/>
              <a:gd name="connsiteX5427" fmla="*/ 4322217 w 8079933"/>
              <a:gd name="connsiteY5427" fmla="*/ 3092315 h 4687251"/>
              <a:gd name="connsiteX5428" fmla="*/ 4324822 w 8079933"/>
              <a:gd name="connsiteY5428" fmla="*/ 3087227 h 4687251"/>
              <a:gd name="connsiteX5429" fmla="*/ 4332092 w 8079933"/>
              <a:gd name="connsiteY5429" fmla="*/ 3079648 h 4687251"/>
              <a:gd name="connsiteX5430" fmla="*/ 4332201 w 8079933"/>
              <a:gd name="connsiteY5430" fmla="*/ 3074450 h 4687251"/>
              <a:gd name="connsiteX5431" fmla="*/ 6316211 w 8079933"/>
              <a:gd name="connsiteY5431" fmla="*/ 3068281 h 4687251"/>
              <a:gd name="connsiteX5432" fmla="*/ 6321528 w 8079933"/>
              <a:gd name="connsiteY5432" fmla="*/ 3070012 h 4687251"/>
              <a:gd name="connsiteX5433" fmla="*/ 6328583 w 8079933"/>
              <a:gd name="connsiteY5433" fmla="*/ 3080190 h 4687251"/>
              <a:gd name="connsiteX5434" fmla="*/ 6328583 w 8079933"/>
              <a:gd name="connsiteY5434" fmla="*/ 3089068 h 4687251"/>
              <a:gd name="connsiteX5435" fmla="*/ 6322505 w 8079933"/>
              <a:gd name="connsiteY5435" fmla="*/ 3087228 h 4687251"/>
              <a:gd name="connsiteX5436" fmla="*/ 6316320 w 8079933"/>
              <a:gd name="connsiteY5436" fmla="*/ 3077916 h 4687251"/>
              <a:gd name="connsiteX5437" fmla="*/ 6311220 w 8079933"/>
              <a:gd name="connsiteY5437" fmla="*/ 3076076 h 4687251"/>
              <a:gd name="connsiteX5438" fmla="*/ 6311220 w 8079933"/>
              <a:gd name="connsiteY5438" fmla="*/ 3072287 h 4687251"/>
              <a:gd name="connsiteX5439" fmla="*/ 4647764 w 8079933"/>
              <a:gd name="connsiteY5439" fmla="*/ 3068173 h 4687251"/>
              <a:gd name="connsiteX5440" fmla="*/ 4641365 w 8079933"/>
              <a:gd name="connsiteY5440" fmla="*/ 3073909 h 4687251"/>
              <a:gd name="connsiteX5441" fmla="*/ 4636915 w 8079933"/>
              <a:gd name="connsiteY5441" fmla="*/ 3079323 h 4687251"/>
              <a:gd name="connsiteX5442" fmla="*/ 4633334 w 8079933"/>
              <a:gd name="connsiteY5442" fmla="*/ 3093722 h 4687251"/>
              <a:gd name="connsiteX5443" fmla="*/ 4632792 w 8079933"/>
              <a:gd name="connsiteY5443" fmla="*/ 3097403 h 4687251"/>
              <a:gd name="connsiteX5444" fmla="*/ 4632466 w 8079933"/>
              <a:gd name="connsiteY5444" fmla="*/ 3100111 h 4687251"/>
              <a:gd name="connsiteX5445" fmla="*/ 4633458 w 8079933"/>
              <a:gd name="connsiteY5445" fmla="*/ 3101680 h 4687251"/>
              <a:gd name="connsiteX5446" fmla="*/ 4632467 w 8079933"/>
              <a:gd name="connsiteY5446" fmla="*/ 3100111 h 4687251"/>
              <a:gd name="connsiteX5447" fmla="*/ 4632792 w 8079933"/>
              <a:gd name="connsiteY5447" fmla="*/ 3097405 h 4687251"/>
              <a:gd name="connsiteX5448" fmla="*/ 4634069 w 8079933"/>
              <a:gd name="connsiteY5448" fmla="*/ 3097086 h 4687251"/>
              <a:gd name="connsiteX5449" fmla="*/ 4632793 w 8079933"/>
              <a:gd name="connsiteY5449" fmla="*/ 3097404 h 4687251"/>
              <a:gd name="connsiteX5450" fmla="*/ 4633335 w 8079933"/>
              <a:gd name="connsiteY5450" fmla="*/ 3093723 h 4687251"/>
              <a:gd name="connsiteX5451" fmla="*/ 4636916 w 8079933"/>
              <a:gd name="connsiteY5451" fmla="*/ 3079323 h 4687251"/>
              <a:gd name="connsiteX5452" fmla="*/ 4641365 w 8079933"/>
              <a:gd name="connsiteY5452" fmla="*/ 3073909 h 4687251"/>
              <a:gd name="connsiteX5453" fmla="*/ 4645343 w 8079933"/>
              <a:gd name="connsiteY5453" fmla="*/ 3070354 h 4687251"/>
              <a:gd name="connsiteX5454" fmla="*/ 4641365 w 8079933"/>
              <a:gd name="connsiteY5454" fmla="*/ 3073909 h 4687251"/>
              <a:gd name="connsiteX5455" fmla="*/ 4647638 w 8079933"/>
              <a:gd name="connsiteY5455" fmla="*/ 3068288 h 4687251"/>
              <a:gd name="connsiteX5456" fmla="*/ 4655689 w 8079933"/>
              <a:gd name="connsiteY5456" fmla="*/ 3065789 h 4687251"/>
              <a:gd name="connsiteX5457" fmla="*/ 4651782 w 8079933"/>
              <a:gd name="connsiteY5457" fmla="*/ 3068929 h 4687251"/>
              <a:gd name="connsiteX5458" fmla="*/ 4647876 w 8079933"/>
              <a:gd name="connsiteY5458" fmla="*/ 3069686 h 4687251"/>
              <a:gd name="connsiteX5459" fmla="*/ 4646574 w 8079933"/>
              <a:gd name="connsiteY5459" fmla="*/ 3069254 h 4687251"/>
              <a:gd name="connsiteX5460" fmla="*/ 4647877 w 8079933"/>
              <a:gd name="connsiteY5460" fmla="*/ 3069687 h 4687251"/>
              <a:gd name="connsiteX5461" fmla="*/ 4651783 w 8079933"/>
              <a:gd name="connsiteY5461" fmla="*/ 3068929 h 4687251"/>
              <a:gd name="connsiteX5462" fmla="*/ 7182718 w 8079933"/>
              <a:gd name="connsiteY5462" fmla="*/ 3065574 h 4687251"/>
              <a:gd name="connsiteX5463" fmla="*/ 7185647 w 8079933"/>
              <a:gd name="connsiteY5463" fmla="*/ 3068713 h 4687251"/>
              <a:gd name="connsiteX5464" fmla="*/ 7182610 w 8079933"/>
              <a:gd name="connsiteY5464" fmla="*/ 3069363 h 4687251"/>
              <a:gd name="connsiteX5465" fmla="*/ 7179788 w 8079933"/>
              <a:gd name="connsiteY5465" fmla="*/ 3066548 h 4687251"/>
              <a:gd name="connsiteX5466" fmla="*/ 7089284 w 8079933"/>
              <a:gd name="connsiteY5466" fmla="*/ 3065357 h 4687251"/>
              <a:gd name="connsiteX5467" fmla="*/ 7092974 w 8079933"/>
              <a:gd name="connsiteY5467" fmla="*/ 3066764 h 4687251"/>
              <a:gd name="connsiteX5468" fmla="*/ 7091781 w 8079933"/>
              <a:gd name="connsiteY5468" fmla="*/ 3074776 h 4687251"/>
              <a:gd name="connsiteX5469" fmla="*/ 7089501 w 8079933"/>
              <a:gd name="connsiteY5469" fmla="*/ 3076400 h 4687251"/>
              <a:gd name="connsiteX5470" fmla="*/ 7084402 w 8079933"/>
              <a:gd name="connsiteY5470" fmla="*/ 3075317 h 4687251"/>
              <a:gd name="connsiteX5471" fmla="*/ 7084402 w 8079933"/>
              <a:gd name="connsiteY5471" fmla="*/ 3068930 h 4687251"/>
              <a:gd name="connsiteX5472" fmla="*/ 6569814 w 8079933"/>
              <a:gd name="connsiteY5472" fmla="*/ 3063733 h 4687251"/>
              <a:gd name="connsiteX5473" fmla="*/ 6576000 w 8079933"/>
              <a:gd name="connsiteY5473" fmla="*/ 3064816 h 4687251"/>
              <a:gd name="connsiteX5474" fmla="*/ 6578604 w 8079933"/>
              <a:gd name="connsiteY5474" fmla="*/ 3067306 h 4687251"/>
              <a:gd name="connsiteX5475" fmla="*/ 6580558 w 8079933"/>
              <a:gd name="connsiteY5475" fmla="*/ 3067955 h 4687251"/>
              <a:gd name="connsiteX5476" fmla="*/ 6580666 w 8079933"/>
              <a:gd name="connsiteY5476" fmla="*/ 3069687 h 4687251"/>
              <a:gd name="connsiteX5477" fmla="*/ 6575023 w 8079933"/>
              <a:gd name="connsiteY5477" fmla="*/ 3069363 h 4687251"/>
              <a:gd name="connsiteX5478" fmla="*/ 6572744 w 8079933"/>
              <a:gd name="connsiteY5478" fmla="*/ 3069471 h 4687251"/>
              <a:gd name="connsiteX5479" fmla="*/ 6569380 w 8079933"/>
              <a:gd name="connsiteY5479" fmla="*/ 3065573 h 4687251"/>
              <a:gd name="connsiteX5480" fmla="*/ 7081689 w 8079933"/>
              <a:gd name="connsiteY5480" fmla="*/ 3063408 h 4687251"/>
              <a:gd name="connsiteX5481" fmla="*/ 7086572 w 8079933"/>
              <a:gd name="connsiteY5481" fmla="*/ 3065248 h 4687251"/>
              <a:gd name="connsiteX5482" fmla="*/ 7080929 w 8079933"/>
              <a:gd name="connsiteY5482" fmla="*/ 3066331 h 4687251"/>
              <a:gd name="connsiteX5483" fmla="*/ 7077130 w 8079933"/>
              <a:gd name="connsiteY5483" fmla="*/ 3064382 h 4687251"/>
              <a:gd name="connsiteX5484" fmla="*/ 4669470 w 8079933"/>
              <a:gd name="connsiteY5484" fmla="*/ 3063299 h 4687251"/>
              <a:gd name="connsiteX5485" fmla="*/ 4665564 w 8079933"/>
              <a:gd name="connsiteY5485" fmla="*/ 3064056 h 4687251"/>
              <a:gd name="connsiteX5486" fmla="*/ 4665456 w 8079933"/>
              <a:gd name="connsiteY5486" fmla="*/ 3067305 h 4687251"/>
              <a:gd name="connsiteX5487" fmla="*/ 4663719 w 8079933"/>
              <a:gd name="connsiteY5487" fmla="*/ 3068929 h 4687251"/>
              <a:gd name="connsiteX5488" fmla="*/ 4663720 w 8079933"/>
              <a:gd name="connsiteY5488" fmla="*/ 3068929 h 4687251"/>
              <a:gd name="connsiteX5489" fmla="*/ 4665456 w 8079933"/>
              <a:gd name="connsiteY5489" fmla="*/ 3067305 h 4687251"/>
              <a:gd name="connsiteX5490" fmla="*/ 4665565 w 8079933"/>
              <a:gd name="connsiteY5490" fmla="*/ 3064056 h 4687251"/>
              <a:gd name="connsiteX5491" fmla="*/ 2160113 w 8079933"/>
              <a:gd name="connsiteY5491" fmla="*/ 3063149 h 4687251"/>
              <a:gd name="connsiteX5492" fmla="*/ 2159589 w 8079933"/>
              <a:gd name="connsiteY5492" fmla="*/ 3065573 h 4687251"/>
              <a:gd name="connsiteX5493" fmla="*/ 2158504 w 8079933"/>
              <a:gd name="connsiteY5493" fmla="*/ 3067738 h 4687251"/>
              <a:gd name="connsiteX5494" fmla="*/ 2159589 w 8079933"/>
              <a:gd name="connsiteY5494" fmla="*/ 3065574 h 4687251"/>
              <a:gd name="connsiteX5495" fmla="*/ 7090043 w 8079933"/>
              <a:gd name="connsiteY5495" fmla="*/ 3061784 h 4687251"/>
              <a:gd name="connsiteX5496" fmla="*/ 7088199 w 8079933"/>
              <a:gd name="connsiteY5496" fmla="*/ 3064707 h 4687251"/>
              <a:gd name="connsiteX5497" fmla="*/ 7086137 w 8079933"/>
              <a:gd name="connsiteY5497" fmla="*/ 3062433 h 4687251"/>
              <a:gd name="connsiteX5498" fmla="*/ 6998240 w 8079933"/>
              <a:gd name="connsiteY5498" fmla="*/ 3060918 h 4687251"/>
              <a:gd name="connsiteX5499" fmla="*/ 6999759 w 8079933"/>
              <a:gd name="connsiteY5499" fmla="*/ 3062109 h 4687251"/>
              <a:gd name="connsiteX5500" fmla="*/ 7001496 w 8079933"/>
              <a:gd name="connsiteY5500" fmla="*/ 3065573 h 4687251"/>
              <a:gd name="connsiteX5501" fmla="*/ 6996503 w 8079933"/>
              <a:gd name="connsiteY5501" fmla="*/ 3064166 h 4687251"/>
              <a:gd name="connsiteX5502" fmla="*/ 7196065 w 8079933"/>
              <a:gd name="connsiteY5502" fmla="*/ 3057561 h 4687251"/>
              <a:gd name="connsiteX5503" fmla="*/ 7202793 w 8079933"/>
              <a:gd name="connsiteY5503" fmla="*/ 3058752 h 4687251"/>
              <a:gd name="connsiteX5504" fmla="*/ 7206590 w 8079933"/>
              <a:gd name="connsiteY5504" fmla="*/ 3058752 h 4687251"/>
              <a:gd name="connsiteX5505" fmla="*/ 7210498 w 8079933"/>
              <a:gd name="connsiteY5505" fmla="*/ 3061350 h 4687251"/>
              <a:gd name="connsiteX5506" fmla="*/ 7213644 w 8079933"/>
              <a:gd name="connsiteY5506" fmla="*/ 3066331 h 4687251"/>
              <a:gd name="connsiteX5507" fmla="*/ 7217008 w 8079933"/>
              <a:gd name="connsiteY5507" fmla="*/ 3068063 h 4687251"/>
              <a:gd name="connsiteX5508" fmla="*/ 7219070 w 8079933"/>
              <a:gd name="connsiteY5508" fmla="*/ 3070121 h 4687251"/>
              <a:gd name="connsiteX5509" fmla="*/ 7213644 w 8079933"/>
              <a:gd name="connsiteY5509" fmla="*/ 3071095 h 4687251"/>
              <a:gd name="connsiteX5510" fmla="*/ 7211474 w 8079933"/>
              <a:gd name="connsiteY5510" fmla="*/ 3070121 h 4687251"/>
              <a:gd name="connsiteX5511" fmla="*/ 7210172 w 8079933"/>
              <a:gd name="connsiteY5511" fmla="*/ 3070121 h 4687251"/>
              <a:gd name="connsiteX5512" fmla="*/ 7206590 w 8079933"/>
              <a:gd name="connsiteY5512" fmla="*/ 3069363 h 4687251"/>
              <a:gd name="connsiteX5513" fmla="*/ 7207242 w 8079933"/>
              <a:gd name="connsiteY5513" fmla="*/ 3066331 h 4687251"/>
              <a:gd name="connsiteX5514" fmla="*/ 7203118 w 8079933"/>
              <a:gd name="connsiteY5514" fmla="*/ 3060809 h 4687251"/>
              <a:gd name="connsiteX5515" fmla="*/ 7200623 w 8079933"/>
              <a:gd name="connsiteY5515" fmla="*/ 3060701 h 4687251"/>
              <a:gd name="connsiteX5516" fmla="*/ 7200840 w 8079933"/>
              <a:gd name="connsiteY5516" fmla="*/ 3063408 h 4687251"/>
              <a:gd name="connsiteX5517" fmla="*/ 7196933 w 8079933"/>
              <a:gd name="connsiteY5517" fmla="*/ 3059402 h 4687251"/>
              <a:gd name="connsiteX5518" fmla="*/ 2180096 w 8079933"/>
              <a:gd name="connsiteY5518" fmla="*/ 3057150 h 4687251"/>
              <a:gd name="connsiteX5519" fmla="*/ 2180424 w 8079933"/>
              <a:gd name="connsiteY5519" fmla="*/ 3059834 h 4687251"/>
              <a:gd name="connsiteX5520" fmla="*/ 2184439 w 8079933"/>
              <a:gd name="connsiteY5520" fmla="*/ 3067305 h 4687251"/>
              <a:gd name="connsiteX5521" fmla="*/ 2187478 w 8079933"/>
              <a:gd name="connsiteY5521" fmla="*/ 3067305 h 4687251"/>
              <a:gd name="connsiteX5522" fmla="*/ 2198872 w 8079933"/>
              <a:gd name="connsiteY5522" fmla="*/ 3070987 h 4687251"/>
              <a:gd name="connsiteX5523" fmla="*/ 2203647 w 8079933"/>
              <a:gd name="connsiteY5523" fmla="*/ 3078132 h 4687251"/>
              <a:gd name="connsiteX5524" fmla="*/ 2203647 w 8079933"/>
              <a:gd name="connsiteY5524" fmla="*/ 3078131 h 4687251"/>
              <a:gd name="connsiteX5525" fmla="*/ 2198872 w 8079933"/>
              <a:gd name="connsiteY5525" fmla="*/ 3070986 h 4687251"/>
              <a:gd name="connsiteX5526" fmla="*/ 2187478 w 8079933"/>
              <a:gd name="connsiteY5526" fmla="*/ 3067305 h 4687251"/>
              <a:gd name="connsiteX5527" fmla="*/ 2184440 w 8079933"/>
              <a:gd name="connsiteY5527" fmla="*/ 3067305 h 4687251"/>
              <a:gd name="connsiteX5528" fmla="*/ 2180424 w 8079933"/>
              <a:gd name="connsiteY5528" fmla="*/ 3059834 h 4687251"/>
              <a:gd name="connsiteX5529" fmla="*/ 6454679 w 8079933"/>
              <a:gd name="connsiteY5529" fmla="*/ 3056262 h 4687251"/>
              <a:gd name="connsiteX5530" fmla="*/ 6458694 w 8079933"/>
              <a:gd name="connsiteY5530" fmla="*/ 3056262 h 4687251"/>
              <a:gd name="connsiteX5531" fmla="*/ 6460323 w 8079933"/>
              <a:gd name="connsiteY5531" fmla="*/ 3060701 h 4687251"/>
              <a:gd name="connsiteX5532" fmla="*/ 6456090 w 8079933"/>
              <a:gd name="connsiteY5532" fmla="*/ 3063191 h 4687251"/>
              <a:gd name="connsiteX5533" fmla="*/ 6452292 w 8079933"/>
              <a:gd name="connsiteY5533" fmla="*/ 3059402 h 4687251"/>
              <a:gd name="connsiteX5534" fmla="*/ 7006812 w 8079933"/>
              <a:gd name="connsiteY5534" fmla="*/ 3054530 h 4687251"/>
              <a:gd name="connsiteX5535" fmla="*/ 7009416 w 8079933"/>
              <a:gd name="connsiteY5535" fmla="*/ 3056479 h 4687251"/>
              <a:gd name="connsiteX5536" fmla="*/ 7009198 w 8079933"/>
              <a:gd name="connsiteY5536" fmla="*/ 3060052 h 4687251"/>
              <a:gd name="connsiteX5537" fmla="*/ 7012562 w 8079933"/>
              <a:gd name="connsiteY5537" fmla="*/ 3061460 h 4687251"/>
              <a:gd name="connsiteX5538" fmla="*/ 7013865 w 8079933"/>
              <a:gd name="connsiteY5538" fmla="*/ 3063408 h 4687251"/>
              <a:gd name="connsiteX5539" fmla="*/ 7011586 w 8079933"/>
              <a:gd name="connsiteY5539" fmla="*/ 3065682 h 4687251"/>
              <a:gd name="connsiteX5540" fmla="*/ 7009090 w 8079933"/>
              <a:gd name="connsiteY5540" fmla="*/ 3063300 h 4687251"/>
              <a:gd name="connsiteX5541" fmla="*/ 7004967 w 8079933"/>
              <a:gd name="connsiteY5541" fmla="*/ 3063408 h 4687251"/>
              <a:gd name="connsiteX5542" fmla="*/ 7002363 w 8079933"/>
              <a:gd name="connsiteY5542" fmla="*/ 3059403 h 4687251"/>
              <a:gd name="connsiteX5543" fmla="*/ 7002037 w 8079933"/>
              <a:gd name="connsiteY5543" fmla="*/ 3056587 h 4687251"/>
              <a:gd name="connsiteX5544" fmla="*/ 7003556 w 8079933"/>
              <a:gd name="connsiteY5544" fmla="*/ 3055179 h 4687251"/>
              <a:gd name="connsiteX5545" fmla="*/ 6863896 w 8079933"/>
              <a:gd name="connsiteY5545" fmla="*/ 3054530 h 4687251"/>
              <a:gd name="connsiteX5546" fmla="*/ 6866066 w 8079933"/>
              <a:gd name="connsiteY5546" fmla="*/ 3054530 h 4687251"/>
              <a:gd name="connsiteX5547" fmla="*/ 6869322 w 8079933"/>
              <a:gd name="connsiteY5547" fmla="*/ 3056479 h 4687251"/>
              <a:gd name="connsiteX5548" fmla="*/ 6865958 w 8079933"/>
              <a:gd name="connsiteY5548" fmla="*/ 3057237 h 4687251"/>
              <a:gd name="connsiteX5549" fmla="*/ 6307964 w 8079933"/>
              <a:gd name="connsiteY5549" fmla="*/ 3054530 h 4687251"/>
              <a:gd name="connsiteX5550" fmla="*/ 6311763 w 8079933"/>
              <a:gd name="connsiteY5550" fmla="*/ 3056154 h 4687251"/>
              <a:gd name="connsiteX5551" fmla="*/ 6311763 w 8079933"/>
              <a:gd name="connsiteY5551" fmla="*/ 3059619 h 4687251"/>
              <a:gd name="connsiteX5552" fmla="*/ 6308507 w 8079933"/>
              <a:gd name="connsiteY5552" fmla="*/ 3062975 h 4687251"/>
              <a:gd name="connsiteX5553" fmla="*/ 6305577 w 8079933"/>
              <a:gd name="connsiteY5553" fmla="*/ 3059727 h 4687251"/>
              <a:gd name="connsiteX5554" fmla="*/ 6567536 w 8079933"/>
              <a:gd name="connsiteY5554" fmla="*/ 3053339 h 4687251"/>
              <a:gd name="connsiteX5555" fmla="*/ 6573396 w 8079933"/>
              <a:gd name="connsiteY5555" fmla="*/ 3055071 h 4687251"/>
              <a:gd name="connsiteX5556" fmla="*/ 6574264 w 8079933"/>
              <a:gd name="connsiteY5556" fmla="*/ 3056370 h 4687251"/>
              <a:gd name="connsiteX5557" fmla="*/ 6571877 w 8079933"/>
              <a:gd name="connsiteY5557" fmla="*/ 3057778 h 4687251"/>
              <a:gd name="connsiteX5558" fmla="*/ 6567536 w 8079933"/>
              <a:gd name="connsiteY5558" fmla="*/ 3056262 h 4687251"/>
              <a:gd name="connsiteX5559" fmla="*/ 6566668 w 8079933"/>
              <a:gd name="connsiteY5559" fmla="*/ 3053988 h 4687251"/>
              <a:gd name="connsiteX5560" fmla="*/ 4281198 w 8079933"/>
              <a:gd name="connsiteY5560" fmla="*/ 3053230 h 4687251"/>
              <a:gd name="connsiteX5561" fmla="*/ 4281198 w 8079933"/>
              <a:gd name="connsiteY5561" fmla="*/ 3053230 h 4687251"/>
              <a:gd name="connsiteX5562" fmla="*/ 4283693 w 8079933"/>
              <a:gd name="connsiteY5562" fmla="*/ 3055612 h 4687251"/>
              <a:gd name="connsiteX5563" fmla="*/ 4283588 w 8079933"/>
              <a:gd name="connsiteY5563" fmla="*/ 3057987 h 4687251"/>
              <a:gd name="connsiteX5564" fmla="*/ 4283694 w 8079933"/>
              <a:gd name="connsiteY5564" fmla="*/ 3055612 h 4687251"/>
              <a:gd name="connsiteX5565" fmla="*/ 6996828 w 8079933"/>
              <a:gd name="connsiteY5565" fmla="*/ 3052472 h 4687251"/>
              <a:gd name="connsiteX5566" fmla="*/ 6999541 w 8079933"/>
              <a:gd name="connsiteY5566" fmla="*/ 3052580 h 4687251"/>
              <a:gd name="connsiteX5567" fmla="*/ 6999650 w 8079933"/>
              <a:gd name="connsiteY5567" fmla="*/ 3054961 h 4687251"/>
              <a:gd name="connsiteX5568" fmla="*/ 6998347 w 8079933"/>
              <a:gd name="connsiteY5568" fmla="*/ 3058209 h 4687251"/>
              <a:gd name="connsiteX5569" fmla="*/ 6995417 w 8079933"/>
              <a:gd name="connsiteY5569" fmla="*/ 3057127 h 4687251"/>
              <a:gd name="connsiteX5570" fmla="*/ 6871165 w 8079933"/>
              <a:gd name="connsiteY5570" fmla="*/ 3052365 h 4687251"/>
              <a:gd name="connsiteX5571" fmla="*/ 6871057 w 8079933"/>
              <a:gd name="connsiteY5571" fmla="*/ 3054963 h 4687251"/>
              <a:gd name="connsiteX5572" fmla="*/ 6867259 w 8079933"/>
              <a:gd name="connsiteY5572" fmla="*/ 3053448 h 4687251"/>
              <a:gd name="connsiteX5573" fmla="*/ 7129328 w 8079933"/>
              <a:gd name="connsiteY5573" fmla="*/ 3050308 h 4687251"/>
              <a:gd name="connsiteX5574" fmla="*/ 7141590 w 8079933"/>
              <a:gd name="connsiteY5574" fmla="*/ 3054963 h 4687251"/>
              <a:gd name="connsiteX5575" fmla="*/ 7149186 w 8079933"/>
              <a:gd name="connsiteY5575" fmla="*/ 3060160 h 4687251"/>
              <a:gd name="connsiteX5576" fmla="*/ 7156891 w 8079933"/>
              <a:gd name="connsiteY5576" fmla="*/ 3059835 h 4687251"/>
              <a:gd name="connsiteX5577" fmla="*/ 7164813 w 8079933"/>
              <a:gd name="connsiteY5577" fmla="*/ 3060485 h 4687251"/>
              <a:gd name="connsiteX5578" fmla="*/ 7166766 w 8079933"/>
              <a:gd name="connsiteY5578" fmla="*/ 3062542 h 4687251"/>
              <a:gd name="connsiteX5579" fmla="*/ 7165139 w 8079933"/>
              <a:gd name="connsiteY5579" fmla="*/ 3065141 h 4687251"/>
              <a:gd name="connsiteX5580" fmla="*/ 7165139 w 8079933"/>
              <a:gd name="connsiteY5580" fmla="*/ 3070987 h 4687251"/>
              <a:gd name="connsiteX5581" fmla="*/ 7169261 w 8079933"/>
              <a:gd name="connsiteY5581" fmla="*/ 3074344 h 4687251"/>
              <a:gd name="connsiteX5582" fmla="*/ 7170889 w 8079933"/>
              <a:gd name="connsiteY5582" fmla="*/ 3078675 h 4687251"/>
              <a:gd name="connsiteX5583" fmla="*/ 7167959 w 8079933"/>
              <a:gd name="connsiteY5583" fmla="*/ 3083005 h 4687251"/>
              <a:gd name="connsiteX5584" fmla="*/ 7165355 w 8079933"/>
              <a:gd name="connsiteY5584" fmla="*/ 3087444 h 4687251"/>
              <a:gd name="connsiteX5585" fmla="*/ 7167092 w 8079933"/>
              <a:gd name="connsiteY5585" fmla="*/ 3093832 h 4687251"/>
              <a:gd name="connsiteX5586" fmla="*/ 7167416 w 8079933"/>
              <a:gd name="connsiteY5586" fmla="*/ 3104768 h 4687251"/>
              <a:gd name="connsiteX5587" fmla="*/ 7170564 w 8079933"/>
              <a:gd name="connsiteY5587" fmla="*/ 3110181 h 4687251"/>
              <a:gd name="connsiteX5588" fmla="*/ 7173277 w 8079933"/>
              <a:gd name="connsiteY5588" fmla="*/ 3113538 h 4687251"/>
              <a:gd name="connsiteX5589" fmla="*/ 7175230 w 8079933"/>
              <a:gd name="connsiteY5589" fmla="*/ 3113754 h 4687251"/>
              <a:gd name="connsiteX5590" fmla="*/ 7174687 w 8079933"/>
              <a:gd name="connsiteY5590" fmla="*/ 3107799 h 4687251"/>
              <a:gd name="connsiteX5591" fmla="*/ 7176857 w 8079933"/>
              <a:gd name="connsiteY5591" fmla="*/ 3105309 h 4687251"/>
              <a:gd name="connsiteX5592" fmla="*/ 7179679 w 8079933"/>
              <a:gd name="connsiteY5592" fmla="*/ 3107042 h 4687251"/>
              <a:gd name="connsiteX5593" fmla="*/ 7179462 w 8079933"/>
              <a:gd name="connsiteY5593" fmla="*/ 3111914 h 4687251"/>
              <a:gd name="connsiteX5594" fmla="*/ 7181090 w 8079933"/>
              <a:gd name="connsiteY5594" fmla="*/ 3116569 h 4687251"/>
              <a:gd name="connsiteX5595" fmla="*/ 7182609 w 8079933"/>
              <a:gd name="connsiteY5595" fmla="*/ 3115487 h 4687251"/>
              <a:gd name="connsiteX5596" fmla="*/ 7184129 w 8079933"/>
              <a:gd name="connsiteY5596" fmla="*/ 3119817 h 4687251"/>
              <a:gd name="connsiteX5597" fmla="*/ 7189446 w 8079933"/>
              <a:gd name="connsiteY5597" fmla="*/ 3124040 h 4687251"/>
              <a:gd name="connsiteX5598" fmla="*/ 7192268 w 8079933"/>
              <a:gd name="connsiteY5598" fmla="*/ 3126963 h 4687251"/>
              <a:gd name="connsiteX5599" fmla="*/ 7196174 w 8079933"/>
              <a:gd name="connsiteY5599" fmla="*/ 3126963 h 4687251"/>
              <a:gd name="connsiteX5600" fmla="*/ 7200840 w 8079933"/>
              <a:gd name="connsiteY5600" fmla="*/ 3124906 h 4687251"/>
              <a:gd name="connsiteX5601" fmla="*/ 7202033 w 8079933"/>
              <a:gd name="connsiteY5601" fmla="*/ 3120684 h 4687251"/>
              <a:gd name="connsiteX5602" fmla="*/ 7204638 w 8079933"/>
              <a:gd name="connsiteY5602" fmla="*/ 3118518 h 4687251"/>
              <a:gd name="connsiteX5603" fmla="*/ 7207351 w 8079933"/>
              <a:gd name="connsiteY5603" fmla="*/ 3117544 h 4687251"/>
              <a:gd name="connsiteX5604" fmla="*/ 7207351 w 8079933"/>
              <a:gd name="connsiteY5604" fmla="*/ 3111589 h 4687251"/>
              <a:gd name="connsiteX5605" fmla="*/ 7210390 w 8079933"/>
              <a:gd name="connsiteY5605" fmla="*/ 3106717 h 4687251"/>
              <a:gd name="connsiteX5606" fmla="*/ 7215056 w 8079933"/>
              <a:gd name="connsiteY5606" fmla="*/ 3106283 h 4687251"/>
              <a:gd name="connsiteX5607" fmla="*/ 7219613 w 8079933"/>
              <a:gd name="connsiteY5607" fmla="*/ 3103577 h 4687251"/>
              <a:gd name="connsiteX5608" fmla="*/ 7220156 w 8079933"/>
              <a:gd name="connsiteY5608" fmla="*/ 3099246 h 4687251"/>
              <a:gd name="connsiteX5609" fmla="*/ 7221784 w 8079933"/>
              <a:gd name="connsiteY5609" fmla="*/ 3096755 h 4687251"/>
              <a:gd name="connsiteX5610" fmla="*/ 7223954 w 8079933"/>
              <a:gd name="connsiteY5610" fmla="*/ 3097730 h 4687251"/>
              <a:gd name="connsiteX5611" fmla="*/ 7226884 w 8079933"/>
              <a:gd name="connsiteY5611" fmla="*/ 3097514 h 4687251"/>
              <a:gd name="connsiteX5612" fmla="*/ 7231333 w 8079933"/>
              <a:gd name="connsiteY5612" fmla="*/ 3095889 h 4687251"/>
              <a:gd name="connsiteX5613" fmla="*/ 7238279 w 8079933"/>
              <a:gd name="connsiteY5613" fmla="*/ 3095024 h 4687251"/>
              <a:gd name="connsiteX5614" fmla="*/ 7239146 w 8079933"/>
              <a:gd name="connsiteY5614" fmla="*/ 3091559 h 4687251"/>
              <a:gd name="connsiteX5615" fmla="*/ 7236976 w 8079933"/>
              <a:gd name="connsiteY5615" fmla="*/ 3087336 h 4687251"/>
              <a:gd name="connsiteX5616" fmla="*/ 7237844 w 8079933"/>
              <a:gd name="connsiteY5616" fmla="*/ 3085063 h 4687251"/>
              <a:gd name="connsiteX5617" fmla="*/ 7249673 w 8079933"/>
              <a:gd name="connsiteY5617" fmla="*/ 3078025 h 4687251"/>
              <a:gd name="connsiteX5618" fmla="*/ 7255316 w 8079933"/>
              <a:gd name="connsiteY5618" fmla="*/ 3078566 h 4687251"/>
              <a:gd name="connsiteX5619" fmla="*/ 7259222 w 8079933"/>
              <a:gd name="connsiteY5619" fmla="*/ 3082140 h 4687251"/>
              <a:gd name="connsiteX5620" fmla="*/ 7266493 w 8079933"/>
              <a:gd name="connsiteY5620" fmla="*/ 3085279 h 4687251"/>
              <a:gd name="connsiteX5621" fmla="*/ 7274957 w 8079933"/>
              <a:gd name="connsiteY5621" fmla="*/ 3087228 h 4687251"/>
              <a:gd name="connsiteX5622" fmla="*/ 7279515 w 8079933"/>
              <a:gd name="connsiteY5622" fmla="*/ 3091017 h 4687251"/>
              <a:gd name="connsiteX5623" fmla="*/ 7284290 w 8079933"/>
              <a:gd name="connsiteY5623" fmla="*/ 3091450 h 4687251"/>
              <a:gd name="connsiteX5624" fmla="*/ 7290366 w 8079933"/>
              <a:gd name="connsiteY5624" fmla="*/ 3093183 h 4687251"/>
              <a:gd name="connsiteX5625" fmla="*/ 7304148 w 8079933"/>
              <a:gd name="connsiteY5625" fmla="*/ 3099462 h 4687251"/>
              <a:gd name="connsiteX5626" fmla="*/ 7307729 w 8079933"/>
              <a:gd name="connsiteY5626" fmla="*/ 3098813 h 4687251"/>
              <a:gd name="connsiteX5627" fmla="*/ 7310984 w 8079933"/>
              <a:gd name="connsiteY5627" fmla="*/ 3099354 h 4687251"/>
              <a:gd name="connsiteX5628" fmla="*/ 7316953 w 8079933"/>
              <a:gd name="connsiteY5628" fmla="*/ 3100762 h 4687251"/>
              <a:gd name="connsiteX5629" fmla="*/ 7321293 w 8079933"/>
              <a:gd name="connsiteY5629" fmla="*/ 3100654 h 4687251"/>
              <a:gd name="connsiteX5630" fmla="*/ 7324766 w 8079933"/>
              <a:gd name="connsiteY5630" fmla="*/ 3103144 h 4687251"/>
              <a:gd name="connsiteX5631" fmla="*/ 7324115 w 8079933"/>
              <a:gd name="connsiteY5631" fmla="*/ 3105201 h 4687251"/>
              <a:gd name="connsiteX5632" fmla="*/ 7324332 w 8079933"/>
              <a:gd name="connsiteY5632" fmla="*/ 3107799 h 4687251"/>
              <a:gd name="connsiteX5633" fmla="*/ 7327370 w 8079933"/>
              <a:gd name="connsiteY5633" fmla="*/ 3108774 h 4687251"/>
              <a:gd name="connsiteX5634" fmla="*/ 7331277 w 8079933"/>
              <a:gd name="connsiteY5634" fmla="*/ 3107691 h 4687251"/>
              <a:gd name="connsiteX5635" fmla="*/ 7331384 w 8079933"/>
              <a:gd name="connsiteY5635" fmla="*/ 3107691 h 4687251"/>
              <a:gd name="connsiteX5636" fmla="*/ 7331384 w 8079933"/>
              <a:gd name="connsiteY5636" fmla="*/ 3107690 h 4687251"/>
              <a:gd name="connsiteX5637" fmla="*/ 7335616 w 8079933"/>
              <a:gd name="connsiteY5637" fmla="*/ 3107906 h 4687251"/>
              <a:gd name="connsiteX5638" fmla="*/ 7343429 w 8079933"/>
              <a:gd name="connsiteY5638" fmla="*/ 3111263 h 4687251"/>
              <a:gd name="connsiteX5639" fmla="*/ 7348096 w 8079933"/>
              <a:gd name="connsiteY5639" fmla="*/ 3112995 h 4687251"/>
              <a:gd name="connsiteX5640" fmla="*/ 7350267 w 8079933"/>
              <a:gd name="connsiteY5640" fmla="*/ 3115269 h 4687251"/>
              <a:gd name="connsiteX5641" fmla="*/ 7359599 w 8079933"/>
              <a:gd name="connsiteY5641" fmla="*/ 3119058 h 4687251"/>
              <a:gd name="connsiteX5642" fmla="*/ 7361226 w 8079933"/>
              <a:gd name="connsiteY5642" fmla="*/ 3118192 h 4687251"/>
              <a:gd name="connsiteX5643" fmla="*/ 7363614 w 8079933"/>
              <a:gd name="connsiteY5643" fmla="*/ 3118192 h 4687251"/>
              <a:gd name="connsiteX5644" fmla="*/ 7366110 w 8079933"/>
              <a:gd name="connsiteY5644" fmla="*/ 3121332 h 4687251"/>
              <a:gd name="connsiteX5645" fmla="*/ 7371101 w 8079933"/>
              <a:gd name="connsiteY5645" fmla="*/ 3123389 h 4687251"/>
              <a:gd name="connsiteX5646" fmla="*/ 7384015 w 8079933"/>
              <a:gd name="connsiteY5646" fmla="*/ 3124580 h 4687251"/>
              <a:gd name="connsiteX5647" fmla="*/ 7392805 w 8079933"/>
              <a:gd name="connsiteY5647" fmla="*/ 3129885 h 4687251"/>
              <a:gd name="connsiteX5648" fmla="*/ 7398231 w 8079933"/>
              <a:gd name="connsiteY5648" fmla="*/ 3131185 h 4687251"/>
              <a:gd name="connsiteX5649" fmla="*/ 7403221 w 8079933"/>
              <a:gd name="connsiteY5649" fmla="*/ 3135082 h 4687251"/>
              <a:gd name="connsiteX5650" fmla="*/ 7408540 w 8079933"/>
              <a:gd name="connsiteY5650" fmla="*/ 3135516 h 4687251"/>
              <a:gd name="connsiteX5651" fmla="*/ 7412988 w 8079933"/>
              <a:gd name="connsiteY5651" fmla="*/ 3137789 h 4687251"/>
              <a:gd name="connsiteX5652" fmla="*/ 7414942 w 8079933"/>
              <a:gd name="connsiteY5652" fmla="*/ 3137139 h 4687251"/>
              <a:gd name="connsiteX5653" fmla="*/ 7417546 w 8079933"/>
              <a:gd name="connsiteY5653" fmla="*/ 3140604 h 4687251"/>
              <a:gd name="connsiteX5654" fmla="*/ 7422538 w 8079933"/>
              <a:gd name="connsiteY5654" fmla="*/ 3141579 h 4687251"/>
              <a:gd name="connsiteX5655" fmla="*/ 7423949 w 8079933"/>
              <a:gd name="connsiteY5655" fmla="*/ 3145044 h 4687251"/>
              <a:gd name="connsiteX5656" fmla="*/ 7428290 w 8079933"/>
              <a:gd name="connsiteY5656" fmla="*/ 3148183 h 4687251"/>
              <a:gd name="connsiteX5657" fmla="*/ 7430135 w 8079933"/>
              <a:gd name="connsiteY5657" fmla="*/ 3151864 h 4687251"/>
              <a:gd name="connsiteX5658" fmla="*/ 7432956 w 8079933"/>
              <a:gd name="connsiteY5658" fmla="*/ 3150673 h 4687251"/>
              <a:gd name="connsiteX5659" fmla="*/ 7435018 w 8079933"/>
              <a:gd name="connsiteY5659" fmla="*/ 3150348 h 4687251"/>
              <a:gd name="connsiteX5660" fmla="*/ 7443699 w 8079933"/>
              <a:gd name="connsiteY5660" fmla="*/ 3159443 h 4687251"/>
              <a:gd name="connsiteX5661" fmla="*/ 7446737 w 8079933"/>
              <a:gd name="connsiteY5661" fmla="*/ 3163341 h 4687251"/>
              <a:gd name="connsiteX5662" fmla="*/ 7446195 w 8079933"/>
              <a:gd name="connsiteY5662" fmla="*/ 3167563 h 4687251"/>
              <a:gd name="connsiteX5663" fmla="*/ 7442939 w 8079933"/>
              <a:gd name="connsiteY5663" fmla="*/ 3172977 h 4687251"/>
              <a:gd name="connsiteX5664" fmla="*/ 7444133 w 8079933"/>
              <a:gd name="connsiteY5664" fmla="*/ 3176225 h 4687251"/>
              <a:gd name="connsiteX5665" fmla="*/ 7455744 w 8079933"/>
              <a:gd name="connsiteY5665" fmla="*/ 3180339 h 4687251"/>
              <a:gd name="connsiteX5666" fmla="*/ 7460519 w 8079933"/>
              <a:gd name="connsiteY5666" fmla="*/ 3179798 h 4687251"/>
              <a:gd name="connsiteX5667" fmla="*/ 7464751 w 8079933"/>
              <a:gd name="connsiteY5667" fmla="*/ 3184345 h 4687251"/>
              <a:gd name="connsiteX5668" fmla="*/ 7473324 w 8079933"/>
              <a:gd name="connsiteY5668" fmla="*/ 3187918 h 4687251"/>
              <a:gd name="connsiteX5669" fmla="*/ 7478749 w 8079933"/>
              <a:gd name="connsiteY5669" fmla="*/ 3190517 h 4687251"/>
              <a:gd name="connsiteX5670" fmla="*/ 7480920 w 8079933"/>
              <a:gd name="connsiteY5670" fmla="*/ 3189001 h 4687251"/>
              <a:gd name="connsiteX5671" fmla="*/ 7485912 w 8079933"/>
              <a:gd name="connsiteY5671" fmla="*/ 3189976 h 4687251"/>
              <a:gd name="connsiteX5672" fmla="*/ 7492748 w 8079933"/>
              <a:gd name="connsiteY5672" fmla="*/ 3197121 h 4687251"/>
              <a:gd name="connsiteX5673" fmla="*/ 7493183 w 8079933"/>
              <a:gd name="connsiteY5673" fmla="*/ 3202101 h 4687251"/>
              <a:gd name="connsiteX5674" fmla="*/ 7490687 w 8079933"/>
              <a:gd name="connsiteY5674" fmla="*/ 3206325 h 4687251"/>
              <a:gd name="connsiteX5675" fmla="*/ 7482113 w 8079933"/>
              <a:gd name="connsiteY5675" fmla="*/ 3210764 h 4687251"/>
              <a:gd name="connsiteX5676" fmla="*/ 7472347 w 8079933"/>
              <a:gd name="connsiteY5676" fmla="*/ 3209897 h 4687251"/>
              <a:gd name="connsiteX5677" fmla="*/ 7471804 w 8079933"/>
              <a:gd name="connsiteY5677" fmla="*/ 3211846 h 4687251"/>
              <a:gd name="connsiteX5678" fmla="*/ 7474517 w 8079933"/>
              <a:gd name="connsiteY5678" fmla="*/ 3216826 h 4687251"/>
              <a:gd name="connsiteX5679" fmla="*/ 7478207 w 8079933"/>
              <a:gd name="connsiteY5679" fmla="*/ 3219858 h 4687251"/>
              <a:gd name="connsiteX5680" fmla="*/ 7479292 w 8079933"/>
              <a:gd name="connsiteY5680" fmla="*/ 3225380 h 4687251"/>
              <a:gd name="connsiteX5681" fmla="*/ 7484501 w 8079933"/>
              <a:gd name="connsiteY5681" fmla="*/ 3230793 h 4687251"/>
              <a:gd name="connsiteX5682" fmla="*/ 7487105 w 8079933"/>
              <a:gd name="connsiteY5682" fmla="*/ 3235882 h 4687251"/>
              <a:gd name="connsiteX5683" fmla="*/ 7490470 w 8079933"/>
              <a:gd name="connsiteY5683" fmla="*/ 3237723 h 4687251"/>
              <a:gd name="connsiteX5684" fmla="*/ 7495678 w 8079933"/>
              <a:gd name="connsiteY5684" fmla="*/ 3237723 h 4687251"/>
              <a:gd name="connsiteX5685" fmla="*/ 7496980 w 8079933"/>
              <a:gd name="connsiteY5685" fmla="*/ 3241296 h 4687251"/>
              <a:gd name="connsiteX5686" fmla="*/ 7499259 w 8079933"/>
              <a:gd name="connsiteY5686" fmla="*/ 3242270 h 4687251"/>
              <a:gd name="connsiteX5687" fmla="*/ 7503599 w 8079933"/>
              <a:gd name="connsiteY5687" fmla="*/ 3252880 h 4687251"/>
              <a:gd name="connsiteX5688" fmla="*/ 7507181 w 8079933"/>
              <a:gd name="connsiteY5688" fmla="*/ 3254613 h 4687251"/>
              <a:gd name="connsiteX5689" fmla="*/ 7508049 w 8079933"/>
              <a:gd name="connsiteY5689" fmla="*/ 3261217 h 4687251"/>
              <a:gd name="connsiteX5690" fmla="*/ 7512281 w 8079933"/>
              <a:gd name="connsiteY5690" fmla="*/ 3265765 h 4687251"/>
              <a:gd name="connsiteX5691" fmla="*/ 7514886 w 8079933"/>
              <a:gd name="connsiteY5691" fmla="*/ 3265657 h 4687251"/>
              <a:gd name="connsiteX5692" fmla="*/ 7518575 w 8079933"/>
              <a:gd name="connsiteY5692" fmla="*/ 3266523 h 4687251"/>
              <a:gd name="connsiteX5693" fmla="*/ 7520420 w 8079933"/>
              <a:gd name="connsiteY5693" fmla="*/ 3264898 h 4687251"/>
              <a:gd name="connsiteX5694" fmla="*/ 7523458 w 8079933"/>
              <a:gd name="connsiteY5694" fmla="*/ 3265007 h 4687251"/>
              <a:gd name="connsiteX5695" fmla="*/ 7526063 w 8079933"/>
              <a:gd name="connsiteY5695" fmla="*/ 3267714 h 4687251"/>
              <a:gd name="connsiteX5696" fmla="*/ 7524760 w 8079933"/>
              <a:gd name="connsiteY5696" fmla="*/ 3270745 h 4687251"/>
              <a:gd name="connsiteX5697" fmla="*/ 7522048 w 8079933"/>
              <a:gd name="connsiteY5697" fmla="*/ 3273777 h 4687251"/>
              <a:gd name="connsiteX5698" fmla="*/ 7522156 w 8079933"/>
              <a:gd name="connsiteY5698" fmla="*/ 3277350 h 4687251"/>
              <a:gd name="connsiteX5699" fmla="*/ 7525195 w 8079933"/>
              <a:gd name="connsiteY5699" fmla="*/ 3279948 h 4687251"/>
              <a:gd name="connsiteX5700" fmla="*/ 7533008 w 8079933"/>
              <a:gd name="connsiteY5700" fmla="*/ 3281139 h 4687251"/>
              <a:gd name="connsiteX5701" fmla="*/ 7541038 w 8079933"/>
              <a:gd name="connsiteY5701" fmla="*/ 3281139 h 4687251"/>
              <a:gd name="connsiteX5702" fmla="*/ 7544293 w 8079933"/>
              <a:gd name="connsiteY5702" fmla="*/ 3283088 h 4687251"/>
              <a:gd name="connsiteX5703" fmla="*/ 7542124 w 8079933"/>
              <a:gd name="connsiteY5703" fmla="*/ 3284820 h 4687251"/>
              <a:gd name="connsiteX5704" fmla="*/ 7538759 w 8079933"/>
              <a:gd name="connsiteY5704" fmla="*/ 3284604 h 4687251"/>
              <a:gd name="connsiteX5705" fmla="*/ 7533116 w 8079933"/>
              <a:gd name="connsiteY5705" fmla="*/ 3286986 h 4687251"/>
              <a:gd name="connsiteX5706" fmla="*/ 7535396 w 8079933"/>
              <a:gd name="connsiteY5706" fmla="*/ 3289692 h 4687251"/>
              <a:gd name="connsiteX5707" fmla="*/ 7541689 w 8079933"/>
              <a:gd name="connsiteY5707" fmla="*/ 3293049 h 4687251"/>
              <a:gd name="connsiteX5708" fmla="*/ 7551998 w 8079933"/>
              <a:gd name="connsiteY5708" fmla="*/ 3294348 h 4687251"/>
              <a:gd name="connsiteX5709" fmla="*/ 7561005 w 8079933"/>
              <a:gd name="connsiteY5709" fmla="*/ 3296081 h 4687251"/>
              <a:gd name="connsiteX5710" fmla="*/ 7556882 w 8079933"/>
              <a:gd name="connsiteY5710" fmla="*/ 3298896 h 4687251"/>
              <a:gd name="connsiteX5711" fmla="*/ 7552975 w 8079933"/>
              <a:gd name="connsiteY5711" fmla="*/ 3297271 h 4687251"/>
              <a:gd name="connsiteX5712" fmla="*/ 7548743 w 8079933"/>
              <a:gd name="connsiteY5712" fmla="*/ 3298787 h 4687251"/>
              <a:gd name="connsiteX5713" fmla="*/ 7548743 w 8079933"/>
              <a:gd name="connsiteY5713" fmla="*/ 3300844 h 4687251"/>
              <a:gd name="connsiteX5714" fmla="*/ 7550587 w 8079933"/>
              <a:gd name="connsiteY5714" fmla="*/ 3300953 h 4687251"/>
              <a:gd name="connsiteX5715" fmla="*/ 7556448 w 8079933"/>
              <a:gd name="connsiteY5715" fmla="*/ 3304418 h 4687251"/>
              <a:gd name="connsiteX5716" fmla="*/ 7555037 w 8079933"/>
              <a:gd name="connsiteY5716" fmla="*/ 3307449 h 4687251"/>
              <a:gd name="connsiteX5717" fmla="*/ 7549611 w 8079933"/>
              <a:gd name="connsiteY5717" fmla="*/ 3308856 h 4687251"/>
              <a:gd name="connsiteX5718" fmla="*/ 7544185 w 8079933"/>
              <a:gd name="connsiteY5718" fmla="*/ 3305608 h 4687251"/>
              <a:gd name="connsiteX5719" fmla="*/ 7539411 w 8079933"/>
              <a:gd name="connsiteY5719" fmla="*/ 3304418 h 4687251"/>
              <a:gd name="connsiteX5720" fmla="*/ 7542124 w 8079933"/>
              <a:gd name="connsiteY5720" fmla="*/ 3302360 h 4687251"/>
              <a:gd name="connsiteX5721" fmla="*/ 7541364 w 8079933"/>
              <a:gd name="connsiteY5721" fmla="*/ 3300844 h 4687251"/>
              <a:gd name="connsiteX5722" fmla="*/ 7536480 w 8079933"/>
              <a:gd name="connsiteY5722" fmla="*/ 3301061 h 4687251"/>
              <a:gd name="connsiteX5723" fmla="*/ 7534093 w 8079933"/>
              <a:gd name="connsiteY5723" fmla="*/ 3298138 h 4687251"/>
              <a:gd name="connsiteX5724" fmla="*/ 7528776 w 8079933"/>
              <a:gd name="connsiteY5724" fmla="*/ 3299004 h 4687251"/>
              <a:gd name="connsiteX5725" fmla="*/ 7525303 w 8079933"/>
              <a:gd name="connsiteY5725" fmla="*/ 3296947 h 4687251"/>
              <a:gd name="connsiteX5726" fmla="*/ 7517924 w 8079933"/>
              <a:gd name="connsiteY5726" fmla="*/ 3295648 h 4687251"/>
              <a:gd name="connsiteX5727" fmla="*/ 7513692 w 8079933"/>
              <a:gd name="connsiteY5727" fmla="*/ 3295973 h 4687251"/>
              <a:gd name="connsiteX5728" fmla="*/ 7508700 w 8079933"/>
              <a:gd name="connsiteY5728" fmla="*/ 3294023 h 4687251"/>
              <a:gd name="connsiteX5729" fmla="*/ 7501430 w 8079933"/>
              <a:gd name="connsiteY5729" fmla="*/ 3295106 h 4687251"/>
              <a:gd name="connsiteX5730" fmla="*/ 7497632 w 8079933"/>
              <a:gd name="connsiteY5730" fmla="*/ 3293591 h 4687251"/>
              <a:gd name="connsiteX5731" fmla="*/ 7495244 w 8079933"/>
              <a:gd name="connsiteY5731" fmla="*/ 3293591 h 4687251"/>
              <a:gd name="connsiteX5732" fmla="*/ 7492640 w 8079933"/>
              <a:gd name="connsiteY5732" fmla="*/ 3294565 h 4687251"/>
              <a:gd name="connsiteX5733" fmla="*/ 7485912 w 8079933"/>
              <a:gd name="connsiteY5733" fmla="*/ 3292291 h 4687251"/>
              <a:gd name="connsiteX5734" fmla="*/ 7481571 w 8079933"/>
              <a:gd name="connsiteY5734" fmla="*/ 3289367 h 4687251"/>
              <a:gd name="connsiteX5735" fmla="*/ 7481245 w 8079933"/>
              <a:gd name="connsiteY5735" fmla="*/ 3285795 h 4687251"/>
              <a:gd name="connsiteX5736" fmla="*/ 7470177 w 8079933"/>
              <a:gd name="connsiteY5736" fmla="*/ 3274426 h 4687251"/>
              <a:gd name="connsiteX5737" fmla="*/ 7469308 w 8079933"/>
              <a:gd name="connsiteY5737" fmla="*/ 3271720 h 4687251"/>
              <a:gd name="connsiteX5738" fmla="*/ 7466813 w 8079933"/>
              <a:gd name="connsiteY5738" fmla="*/ 3267930 h 4687251"/>
              <a:gd name="connsiteX5739" fmla="*/ 7462255 w 8079933"/>
              <a:gd name="connsiteY5739" fmla="*/ 3266739 h 4687251"/>
              <a:gd name="connsiteX5740" fmla="*/ 7461279 w 8079933"/>
              <a:gd name="connsiteY5740" fmla="*/ 3263491 h 4687251"/>
              <a:gd name="connsiteX5741" fmla="*/ 7454876 w 8079933"/>
              <a:gd name="connsiteY5741" fmla="*/ 3255371 h 4687251"/>
              <a:gd name="connsiteX5742" fmla="*/ 7452922 w 8079933"/>
              <a:gd name="connsiteY5742" fmla="*/ 3248766 h 4687251"/>
              <a:gd name="connsiteX5743" fmla="*/ 7449341 w 8079933"/>
              <a:gd name="connsiteY5743" fmla="*/ 3244435 h 4687251"/>
              <a:gd name="connsiteX5744" fmla="*/ 7445435 w 8079933"/>
              <a:gd name="connsiteY5744" fmla="*/ 3242270 h 4687251"/>
              <a:gd name="connsiteX5745" fmla="*/ 7432412 w 8079933"/>
              <a:gd name="connsiteY5745" fmla="*/ 3239239 h 4687251"/>
              <a:gd name="connsiteX5746" fmla="*/ 7429375 w 8079933"/>
              <a:gd name="connsiteY5746" fmla="*/ 3236099 h 4687251"/>
              <a:gd name="connsiteX5747" fmla="*/ 7426879 w 8079933"/>
              <a:gd name="connsiteY5747" fmla="*/ 3235449 h 4687251"/>
              <a:gd name="connsiteX5748" fmla="*/ 7426770 w 8079933"/>
              <a:gd name="connsiteY5748" fmla="*/ 3232525 h 4687251"/>
              <a:gd name="connsiteX5749" fmla="*/ 7427096 w 8079933"/>
              <a:gd name="connsiteY5749" fmla="*/ 3229278 h 4687251"/>
              <a:gd name="connsiteX5750" fmla="*/ 7424817 w 8079933"/>
              <a:gd name="connsiteY5750" fmla="*/ 3232092 h 4687251"/>
              <a:gd name="connsiteX5751" fmla="*/ 7423297 w 8079933"/>
              <a:gd name="connsiteY5751" fmla="*/ 3230793 h 4687251"/>
              <a:gd name="connsiteX5752" fmla="*/ 7420367 w 8079933"/>
              <a:gd name="connsiteY5752" fmla="*/ 3231010 h 4687251"/>
              <a:gd name="connsiteX5753" fmla="*/ 7417221 w 8079933"/>
              <a:gd name="connsiteY5753" fmla="*/ 3230360 h 4687251"/>
              <a:gd name="connsiteX5754" fmla="*/ 7415919 w 8079933"/>
              <a:gd name="connsiteY5754" fmla="*/ 3226896 h 4687251"/>
              <a:gd name="connsiteX5755" fmla="*/ 7410058 w 8079933"/>
              <a:gd name="connsiteY5755" fmla="*/ 3224946 h 4687251"/>
              <a:gd name="connsiteX5756" fmla="*/ 7407996 w 8079933"/>
              <a:gd name="connsiteY5756" fmla="*/ 3222457 h 4687251"/>
              <a:gd name="connsiteX5757" fmla="*/ 7406586 w 8079933"/>
              <a:gd name="connsiteY5757" fmla="*/ 3227437 h 4687251"/>
              <a:gd name="connsiteX5758" fmla="*/ 7407996 w 8079933"/>
              <a:gd name="connsiteY5758" fmla="*/ 3230144 h 4687251"/>
              <a:gd name="connsiteX5759" fmla="*/ 7407780 w 8079933"/>
              <a:gd name="connsiteY5759" fmla="*/ 3233392 h 4687251"/>
              <a:gd name="connsiteX5760" fmla="*/ 7405827 w 8079933"/>
              <a:gd name="connsiteY5760" fmla="*/ 3233717 h 4687251"/>
              <a:gd name="connsiteX5761" fmla="*/ 7404633 w 8079933"/>
              <a:gd name="connsiteY5761" fmla="*/ 3229494 h 4687251"/>
              <a:gd name="connsiteX5762" fmla="*/ 7403439 w 8079933"/>
              <a:gd name="connsiteY5762" fmla="*/ 3228411 h 4687251"/>
              <a:gd name="connsiteX5763" fmla="*/ 7404307 w 8079933"/>
              <a:gd name="connsiteY5763" fmla="*/ 3231660 h 4687251"/>
              <a:gd name="connsiteX5764" fmla="*/ 7404090 w 8079933"/>
              <a:gd name="connsiteY5764" fmla="*/ 3233933 h 4687251"/>
              <a:gd name="connsiteX5765" fmla="*/ 7400508 w 8079933"/>
              <a:gd name="connsiteY5765" fmla="*/ 3233067 h 4687251"/>
              <a:gd name="connsiteX5766" fmla="*/ 7395842 w 8079933"/>
              <a:gd name="connsiteY5766" fmla="*/ 3228736 h 4687251"/>
              <a:gd name="connsiteX5767" fmla="*/ 7394215 w 8079933"/>
              <a:gd name="connsiteY5767" fmla="*/ 3225813 h 4687251"/>
              <a:gd name="connsiteX5768" fmla="*/ 7390092 w 8079933"/>
              <a:gd name="connsiteY5768" fmla="*/ 3223972 h 4687251"/>
              <a:gd name="connsiteX5769" fmla="*/ 7390092 w 8079933"/>
              <a:gd name="connsiteY5769" fmla="*/ 3225596 h 4687251"/>
              <a:gd name="connsiteX5770" fmla="*/ 7393673 w 8079933"/>
              <a:gd name="connsiteY5770" fmla="*/ 3228845 h 4687251"/>
              <a:gd name="connsiteX5771" fmla="*/ 7394106 w 8079933"/>
              <a:gd name="connsiteY5771" fmla="*/ 3232525 h 4687251"/>
              <a:gd name="connsiteX5772" fmla="*/ 7393781 w 8079933"/>
              <a:gd name="connsiteY5772" fmla="*/ 3235124 h 4687251"/>
              <a:gd name="connsiteX5773" fmla="*/ 7391503 w 8079933"/>
              <a:gd name="connsiteY5773" fmla="*/ 3236749 h 4687251"/>
              <a:gd name="connsiteX5774" fmla="*/ 7391394 w 8079933"/>
              <a:gd name="connsiteY5774" fmla="*/ 3240213 h 4687251"/>
              <a:gd name="connsiteX5775" fmla="*/ 7393565 w 8079933"/>
              <a:gd name="connsiteY5775" fmla="*/ 3242812 h 4687251"/>
              <a:gd name="connsiteX5776" fmla="*/ 7389115 w 8079933"/>
              <a:gd name="connsiteY5776" fmla="*/ 3242053 h 4687251"/>
              <a:gd name="connsiteX5777" fmla="*/ 7385534 w 8079933"/>
              <a:gd name="connsiteY5777" fmla="*/ 3237939 h 4687251"/>
              <a:gd name="connsiteX5778" fmla="*/ 7380867 w 8079933"/>
              <a:gd name="connsiteY5778" fmla="*/ 3239130 h 4687251"/>
              <a:gd name="connsiteX5779" fmla="*/ 7378155 w 8079933"/>
              <a:gd name="connsiteY5779" fmla="*/ 3236640 h 4687251"/>
              <a:gd name="connsiteX5780" fmla="*/ 7379891 w 8079933"/>
              <a:gd name="connsiteY5780" fmla="*/ 3239996 h 4687251"/>
              <a:gd name="connsiteX5781" fmla="*/ 7383147 w 8079933"/>
              <a:gd name="connsiteY5781" fmla="*/ 3239563 h 4687251"/>
              <a:gd name="connsiteX5782" fmla="*/ 7384883 w 8079933"/>
              <a:gd name="connsiteY5782" fmla="*/ 3242919 h 4687251"/>
              <a:gd name="connsiteX5783" fmla="*/ 7388355 w 8079933"/>
              <a:gd name="connsiteY5783" fmla="*/ 3245085 h 4687251"/>
              <a:gd name="connsiteX5784" fmla="*/ 7389549 w 8079933"/>
              <a:gd name="connsiteY5784" fmla="*/ 3247143 h 4687251"/>
              <a:gd name="connsiteX5785" fmla="*/ 7385534 w 8079933"/>
              <a:gd name="connsiteY5785" fmla="*/ 3248333 h 4687251"/>
              <a:gd name="connsiteX5786" fmla="*/ 7380867 w 8079933"/>
              <a:gd name="connsiteY5786" fmla="*/ 3248117 h 4687251"/>
              <a:gd name="connsiteX5787" fmla="*/ 7374139 w 8079933"/>
              <a:gd name="connsiteY5787" fmla="*/ 3249741 h 4687251"/>
              <a:gd name="connsiteX5788" fmla="*/ 7368497 w 8079933"/>
              <a:gd name="connsiteY5788" fmla="*/ 3249524 h 4687251"/>
              <a:gd name="connsiteX5789" fmla="*/ 7366001 w 8079933"/>
              <a:gd name="connsiteY5789" fmla="*/ 3249957 h 4687251"/>
              <a:gd name="connsiteX5790" fmla="*/ 7362745 w 8079933"/>
              <a:gd name="connsiteY5790" fmla="*/ 3247034 h 4687251"/>
              <a:gd name="connsiteX5791" fmla="*/ 7356669 w 8079933"/>
              <a:gd name="connsiteY5791" fmla="*/ 3245302 h 4687251"/>
              <a:gd name="connsiteX5792" fmla="*/ 7354824 w 8079933"/>
              <a:gd name="connsiteY5792" fmla="*/ 3245085 h 4687251"/>
              <a:gd name="connsiteX5793" fmla="*/ 7354281 w 8079933"/>
              <a:gd name="connsiteY5793" fmla="*/ 3240321 h 4687251"/>
              <a:gd name="connsiteX5794" fmla="*/ 7353413 w 8079933"/>
              <a:gd name="connsiteY5794" fmla="*/ 3236315 h 4687251"/>
              <a:gd name="connsiteX5795" fmla="*/ 7348096 w 8079933"/>
              <a:gd name="connsiteY5795" fmla="*/ 3232850 h 4687251"/>
              <a:gd name="connsiteX5796" fmla="*/ 7345274 w 8079933"/>
              <a:gd name="connsiteY5796" fmla="*/ 3232092 h 4687251"/>
              <a:gd name="connsiteX5797" fmla="*/ 7344081 w 8079933"/>
              <a:gd name="connsiteY5797" fmla="*/ 3228628 h 4687251"/>
              <a:gd name="connsiteX5798" fmla="*/ 7340717 w 8079933"/>
              <a:gd name="connsiteY5798" fmla="*/ 3226571 h 4687251"/>
              <a:gd name="connsiteX5799" fmla="*/ 7343429 w 8079933"/>
              <a:gd name="connsiteY5799" fmla="*/ 3229278 h 4687251"/>
              <a:gd name="connsiteX5800" fmla="*/ 7344406 w 8079933"/>
              <a:gd name="connsiteY5800" fmla="*/ 3232525 h 4687251"/>
              <a:gd name="connsiteX5801" fmla="*/ 7348855 w 8079933"/>
              <a:gd name="connsiteY5801" fmla="*/ 3234583 h 4687251"/>
              <a:gd name="connsiteX5802" fmla="*/ 7352979 w 8079933"/>
              <a:gd name="connsiteY5802" fmla="*/ 3239996 h 4687251"/>
              <a:gd name="connsiteX5803" fmla="*/ 7354064 w 8079933"/>
              <a:gd name="connsiteY5803" fmla="*/ 3245735 h 4687251"/>
              <a:gd name="connsiteX5804" fmla="*/ 7356560 w 8079933"/>
              <a:gd name="connsiteY5804" fmla="*/ 3247684 h 4687251"/>
              <a:gd name="connsiteX5805" fmla="*/ 7358079 w 8079933"/>
              <a:gd name="connsiteY5805" fmla="*/ 3247575 h 4687251"/>
              <a:gd name="connsiteX5806" fmla="*/ 7361661 w 8079933"/>
              <a:gd name="connsiteY5806" fmla="*/ 3248875 h 4687251"/>
              <a:gd name="connsiteX5807" fmla="*/ 7364156 w 8079933"/>
              <a:gd name="connsiteY5807" fmla="*/ 3251040 h 4687251"/>
              <a:gd name="connsiteX5808" fmla="*/ 7370016 w 8079933"/>
              <a:gd name="connsiteY5808" fmla="*/ 3252014 h 4687251"/>
              <a:gd name="connsiteX5809" fmla="*/ 7376961 w 8079933"/>
              <a:gd name="connsiteY5809" fmla="*/ 3254937 h 4687251"/>
              <a:gd name="connsiteX5810" fmla="*/ 7383147 w 8079933"/>
              <a:gd name="connsiteY5810" fmla="*/ 3259702 h 4687251"/>
              <a:gd name="connsiteX5811" fmla="*/ 7383472 w 8079933"/>
              <a:gd name="connsiteY5811" fmla="*/ 3266414 h 4687251"/>
              <a:gd name="connsiteX5812" fmla="*/ 7381302 w 8079933"/>
              <a:gd name="connsiteY5812" fmla="*/ 3269013 h 4687251"/>
              <a:gd name="connsiteX5813" fmla="*/ 7379131 w 8079933"/>
              <a:gd name="connsiteY5813" fmla="*/ 3267280 h 4687251"/>
              <a:gd name="connsiteX5814" fmla="*/ 7378481 w 8079933"/>
              <a:gd name="connsiteY5814" fmla="*/ 3269554 h 4687251"/>
              <a:gd name="connsiteX5815" fmla="*/ 7370016 w 8079933"/>
              <a:gd name="connsiteY5815" fmla="*/ 3271936 h 4687251"/>
              <a:gd name="connsiteX5816" fmla="*/ 7364915 w 8079933"/>
              <a:gd name="connsiteY5816" fmla="*/ 3274968 h 4687251"/>
              <a:gd name="connsiteX5817" fmla="*/ 7361118 w 8079933"/>
              <a:gd name="connsiteY5817" fmla="*/ 3273993 h 4687251"/>
              <a:gd name="connsiteX5818" fmla="*/ 7358188 w 8079933"/>
              <a:gd name="connsiteY5818" fmla="*/ 3270962 h 4687251"/>
              <a:gd name="connsiteX5819" fmla="*/ 7356994 w 8079933"/>
              <a:gd name="connsiteY5819" fmla="*/ 3267930 h 4687251"/>
              <a:gd name="connsiteX5820" fmla="*/ 7353847 w 8079933"/>
              <a:gd name="connsiteY5820" fmla="*/ 3268796 h 4687251"/>
              <a:gd name="connsiteX5821" fmla="*/ 7341151 w 8079933"/>
              <a:gd name="connsiteY5821" fmla="*/ 3268363 h 4687251"/>
              <a:gd name="connsiteX5822" fmla="*/ 7336810 w 8079933"/>
              <a:gd name="connsiteY5822" fmla="*/ 3269554 h 4687251"/>
              <a:gd name="connsiteX5823" fmla="*/ 7334206 w 8079933"/>
              <a:gd name="connsiteY5823" fmla="*/ 3267930 h 4687251"/>
              <a:gd name="connsiteX5824" fmla="*/ 7325959 w 8079933"/>
              <a:gd name="connsiteY5824" fmla="*/ 3267822 h 4687251"/>
              <a:gd name="connsiteX5825" fmla="*/ 7325959 w 8079933"/>
              <a:gd name="connsiteY5825" fmla="*/ 3267823 h 4687251"/>
              <a:gd name="connsiteX5826" fmla="*/ 7324549 w 8079933"/>
              <a:gd name="connsiteY5826" fmla="*/ 3267823 h 4687251"/>
              <a:gd name="connsiteX5827" fmla="*/ 7318689 w 8079933"/>
              <a:gd name="connsiteY5827" fmla="*/ 3265766 h 4687251"/>
              <a:gd name="connsiteX5828" fmla="*/ 7312069 w 8079933"/>
              <a:gd name="connsiteY5828" fmla="*/ 3258512 h 4687251"/>
              <a:gd name="connsiteX5829" fmla="*/ 7310442 w 8079933"/>
              <a:gd name="connsiteY5829" fmla="*/ 3255048 h 4687251"/>
              <a:gd name="connsiteX5830" fmla="*/ 7310659 w 8079933"/>
              <a:gd name="connsiteY5830" fmla="*/ 3253532 h 4687251"/>
              <a:gd name="connsiteX5831" fmla="*/ 7305776 w 8079933"/>
              <a:gd name="connsiteY5831" fmla="*/ 3249201 h 4687251"/>
              <a:gd name="connsiteX5832" fmla="*/ 7303605 w 8079933"/>
              <a:gd name="connsiteY5832" fmla="*/ 3247793 h 4687251"/>
              <a:gd name="connsiteX5833" fmla="*/ 7302737 w 8079933"/>
              <a:gd name="connsiteY5833" fmla="*/ 3244112 h 4687251"/>
              <a:gd name="connsiteX5834" fmla="*/ 7304907 w 8079933"/>
              <a:gd name="connsiteY5834" fmla="*/ 3240647 h 4687251"/>
              <a:gd name="connsiteX5835" fmla="*/ 7304690 w 8079933"/>
              <a:gd name="connsiteY5835" fmla="*/ 3235342 h 4687251"/>
              <a:gd name="connsiteX5836" fmla="*/ 7303605 w 8079933"/>
              <a:gd name="connsiteY5836" fmla="*/ 3240647 h 4687251"/>
              <a:gd name="connsiteX5837" fmla="*/ 7300458 w 8079933"/>
              <a:gd name="connsiteY5837" fmla="*/ 3242596 h 4687251"/>
              <a:gd name="connsiteX5838" fmla="*/ 7293296 w 8079933"/>
              <a:gd name="connsiteY5838" fmla="*/ 3242055 h 4687251"/>
              <a:gd name="connsiteX5839" fmla="*/ 7289281 w 8079933"/>
              <a:gd name="connsiteY5839" fmla="*/ 3244220 h 4687251"/>
              <a:gd name="connsiteX5840" fmla="*/ 7285917 w 8079933"/>
              <a:gd name="connsiteY5840" fmla="*/ 3244112 h 4687251"/>
              <a:gd name="connsiteX5841" fmla="*/ 7283747 w 8079933"/>
              <a:gd name="connsiteY5841" fmla="*/ 3242055 h 4687251"/>
              <a:gd name="connsiteX5842" fmla="*/ 7278212 w 8079933"/>
              <a:gd name="connsiteY5842" fmla="*/ 3245087 h 4687251"/>
              <a:gd name="connsiteX5843" fmla="*/ 7275282 w 8079933"/>
              <a:gd name="connsiteY5843" fmla="*/ 3241730 h 4687251"/>
              <a:gd name="connsiteX5844" fmla="*/ 7277452 w 8079933"/>
              <a:gd name="connsiteY5844" fmla="*/ 3240322 h 4687251"/>
              <a:gd name="connsiteX5845" fmla="*/ 7278864 w 8079933"/>
              <a:gd name="connsiteY5845" fmla="*/ 3236641 h 4687251"/>
              <a:gd name="connsiteX5846" fmla="*/ 7278864 w 8079933"/>
              <a:gd name="connsiteY5846" fmla="*/ 3233935 h 4687251"/>
              <a:gd name="connsiteX5847" fmla="*/ 7280057 w 8079933"/>
              <a:gd name="connsiteY5847" fmla="*/ 3232310 h 4687251"/>
              <a:gd name="connsiteX5848" fmla="*/ 7280925 w 8079933"/>
              <a:gd name="connsiteY5848" fmla="*/ 3226247 h 4687251"/>
              <a:gd name="connsiteX5849" fmla="*/ 7277887 w 8079933"/>
              <a:gd name="connsiteY5849" fmla="*/ 3224948 h 4687251"/>
              <a:gd name="connsiteX5850" fmla="*/ 7275174 w 8079933"/>
              <a:gd name="connsiteY5850" fmla="*/ 3221592 h 4687251"/>
              <a:gd name="connsiteX5851" fmla="*/ 7277778 w 8079933"/>
              <a:gd name="connsiteY5851" fmla="*/ 3220942 h 4687251"/>
              <a:gd name="connsiteX5852" fmla="*/ 7279948 w 8079933"/>
              <a:gd name="connsiteY5852" fmla="*/ 3221700 h 4687251"/>
              <a:gd name="connsiteX5853" fmla="*/ 7284614 w 8079933"/>
              <a:gd name="connsiteY5853" fmla="*/ 3219751 h 4687251"/>
              <a:gd name="connsiteX5854" fmla="*/ 7287653 w 8079933"/>
              <a:gd name="connsiteY5854" fmla="*/ 3219426 h 4687251"/>
              <a:gd name="connsiteX5855" fmla="*/ 7284181 w 8079933"/>
              <a:gd name="connsiteY5855" fmla="*/ 3218452 h 4687251"/>
              <a:gd name="connsiteX5856" fmla="*/ 7278972 w 8079933"/>
              <a:gd name="connsiteY5856" fmla="*/ 3219210 h 4687251"/>
              <a:gd name="connsiteX5857" fmla="*/ 7274740 w 8079933"/>
              <a:gd name="connsiteY5857" fmla="*/ 3217261 h 4687251"/>
              <a:gd name="connsiteX5858" fmla="*/ 7270725 w 8079933"/>
              <a:gd name="connsiteY5858" fmla="*/ 3214229 h 4687251"/>
              <a:gd name="connsiteX5859" fmla="*/ 7272027 w 8079933"/>
              <a:gd name="connsiteY5859" fmla="*/ 3211090 h 4687251"/>
              <a:gd name="connsiteX5860" fmla="*/ 7274198 w 8079933"/>
              <a:gd name="connsiteY5860" fmla="*/ 3210873 h 4687251"/>
              <a:gd name="connsiteX5861" fmla="*/ 7277887 w 8079933"/>
              <a:gd name="connsiteY5861" fmla="*/ 3211306 h 4687251"/>
              <a:gd name="connsiteX5862" fmla="*/ 7275934 w 8079933"/>
              <a:gd name="connsiteY5862" fmla="*/ 3208816 h 4687251"/>
              <a:gd name="connsiteX5863" fmla="*/ 7269748 w 8079933"/>
              <a:gd name="connsiteY5863" fmla="*/ 3204376 h 4687251"/>
              <a:gd name="connsiteX5864" fmla="*/ 7265624 w 8079933"/>
              <a:gd name="connsiteY5864" fmla="*/ 3201562 h 4687251"/>
              <a:gd name="connsiteX5865" fmla="*/ 7264213 w 8079933"/>
              <a:gd name="connsiteY5865" fmla="*/ 3198530 h 4687251"/>
              <a:gd name="connsiteX5866" fmla="*/ 7265408 w 8079933"/>
              <a:gd name="connsiteY5866" fmla="*/ 3193549 h 4687251"/>
              <a:gd name="connsiteX5867" fmla="*/ 7260091 w 8079933"/>
              <a:gd name="connsiteY5867" fmla="*/ 3188028 h 4687251"/>
              <a:gd name="connsiteX5868" fmla="*/ 7260091 w 8079933"/>
              <a:gd name="connsiteY5868" fmla="*/ 3185971 h 4687251"/>
              <a:gd name="connsiteX5869" fmla="*/ 7264973 w 8079933"/>
              <a:gd name="connsiteY5869" fmla="*/ 3181965 h 4687251"/>
              <a:gd name="connsiteX5870" fmla="*/ 7260415 w 8079933"/>
              <a:gd name="connsiteY5870" fmla="*/ 3182398 h 4687251"/>
              <a:gd name="connsiteX5871" fmla="*/ 7257702 w 8079933"/>
              <a:gd name="connsiteY5871" fmla="*/ 3180449 h 4687251"/>
              <a:gd name="connsiteX5872" fmla="*/ 7258679 w 8079933"/>
              <a:gd name="connsiteY5872" fmla="*/ 3178717 h 4687251"/>
              <a:gd name="connsiteX5873" fmla="*/ 7256834 w 8079933"/>
              <a:gd name="connsiteY5873" fmla="*/ 3176551 h 4687251"/>
              <a:gd name="connsiteX5874" fmla="*/ 7260307 w 8079933"/>
              <a:gd name="connsiteY5874" fmla="*/ 3173736 h 4687251"/>
              <a:gd name="connsiteX5875" fmla="*/ 7254772 w 8079933"/>
              <a:gd name="connsiteY5875" fmla="*/ 3174819 h 4687251"/>
              <a:gd name="connsiteX5876" fmla="*/ 7253254 w 8079933"/>
              <a:gd name="connsiteY5876" fmla="*/ 3172870 h 4687251"/>
              <a:gd name="connsiteX5877" fmla="*/ 7250649 w 8079933"/>
              <a:gd name="connsiteY5877" fmla="*/ 3173953 h 4687251"/>
              <a:gd name="connsiteX5878" fmla="*/ 7248804 w 8079933"/>
              <a:gd name="connsiteY5878" fmla="*/ 3172545 h 4687251"/>
              <a:gd name="connsiteX5879" fmla="*/ 7252711 w 8079933"/>
              <a:gd name="connsiteY5879" fmla="*/ 3167890 h 4687251"/>
              <a:gd name="connsiteX5880" fmla="*/ 7249238 w 8079933"/>
              <a:gd name="connsiteY5880" fmla="*/ 3169947 h 4687251"/>
              <a:gd name="connsiteX5881" fmla="*/ 7244898 w 8079933"/>
              <a:gd name="connsiteY5881" fmla="*/ 3170163 h 4687251"/>
              <a:gd name="connsiteX5882" fmla="*/ 7238604 w 8079933"/>
              <a:gd name="connsiteY5882" fmla="*/ 3167564 h 4687251"/>
              <a:gd name="connsiteX5883" fmla="*/ 7236868 w 8079933"/>
              <a:gd name="connsiteY5883" fmla="*/ 3163125 h 4687251"/>
              <a:gd name="connsiteX5884" fmla="*/ 7230248 w 8079933"/>
              <a:gd name="connsiteY5884" fmla="*/ 3160852 h 4687251"/>
              <a:gd name="connsiteX5885" fmla="*/ 7226125 w 8079933"/>
              <a:gd name="connsiteY5885" fmla="*/ 3161610 h 4687251"/>
              <a:gd name="connsiteX5886" fmla="*/ 7212017 w 8079933"/>
              <a:gd name="connsiteY5886" fmla="*/ 3157062 h 4687251"/>
              <a:gd name="connsiteX5887" fmla="*/ 7197367 w 8079933"/>
              <a:gd name="connsiteY5887" fmla="*/ 3152623 h 4687251"/>
              <a:gd name="connsiteX5888" fmla="*/ 7190206 w 8079933"/>
              <a:gd name="connsiteY5888" fmla="*/ 3152190 h 4687251"/>
              <a:gd name="connsiteX5889" fmla="*/ 7184563 w 8079933"/>
              <a:gd name="connsiteY5889" fmla="*/ 3149484 h 4687251"/>
              <a:gd name="connsiteX5890" fmla="*/ 7183369 w 8079933"/>
              <a:gd name="connsiteY5890" fmla="*/ 3147427 h 4687251"/>
              <a:gd name="connsiteX5891" fmla="*/ 7182826 w 8079933"/>
              <a:gd name="connsiteY5891" fmla="*/ 3145477 h 4687251"/>
              <a:gd name="connsiteX5892" fmla="*/ 7177726 w 8079933"/>
              <a:gd name="connsiteY5892" fmla="*/ 3144395 h 4687251"/>
              <a:gd name="connsiteX5893" fmla="*/ 7177943 w 8079933"/>
              <a:gd name="connsiteY5893" fmla="*/ 3140930 h 4687251"/>
              <a:gd name="connsiteX5894" fmla="*/ 7181416 w 8079933"/>
              <a:gd name="connsiteY5894" fmla="*/ 3140497 h 4687251"/>
              <a:gd name="connsiteX5895" fmla="*/ 7183369 w 8079933"/>
              <a:gd name="connsiteY5895" fmla="*/ 3140930 h 4687251"/>
              <a:gd name="connsiteX5896" fmla="*/ 7183043 w 8079933"/>
              <a:gd name="connsiteY5896" fmla="*/ 3139848 h 4687251"/>
              <a:gd name="connsiteX5897" fmla="*/ 7179570 w 8079933"/>
              <a:gd name="connsiteY5897" fmla="*/ 3139198 h 4687251"/>
              <a:gd name="connsiteX5898" fmla="*/ 7175447 w 8079933"/>
              <a:gd name="connsiteY5898" fmla="*/ 3140930 h 4687251"/>
              <a:gd name="connsiteX5899" fmla="*/ 7172300 w 8079933"/>
              <a:gd name="connsiteY5899" fmla="*/ 3139631 h 4687251"/>
              <a:gd name="connsiteX5900" fmla="*/ 7170672 w 8079933"/>
              <a:gd name="connsiteY5900" fmla="*/ 3137682 h 4687251"/>
              <a:gd name="connsiteX5901" fmla="*/ 7169370 w 8079933"/>
              <a:gd name="connsiteY5901" fmla="*/ 3137249 h 4687251"/>
              <a:gd name="connsiteX5902" fmla="*/ 7167308 w 8079933"/>
              <a:gd name="connsiteY5902" fmla="*/ 3139631 h 4687251"/>
              <a:gd name="connsiteX5903" fmla="*/ 7166332 w 8079933"/>
              <a:gd name="connsiteY5903" fmla="*/ 3134975 h 4687251"/>
              <a:gd name="connsiteX5904" fmla="*/ 7164486 w 8079933"/>
              <a:gd name="connsiteY5904" fmla="*/ 3133676 h 4687251"/>
              <a:gd name="connsiteX5905" fmla="*/ 7162642 w 8079933"/>
              <a:gd name="connsiteY5905" fmla="*/ 3134542 h 4687251"/>
              <a:gd name="connsiteX5906" fmla="*/ 7161449 w 8079933"/>
              <a:gd name="connsiteY5906" fmla="*/ 3136491 h 4687251"/>
              <a:gd name="connsiteX5907" fmla="*/ 7158736 w 8079933"/>
              <a:gd name="connsiteY5907" fmla="*/ 3133568 h 4687251"/>
              <a:gd name="connsiteX5908" fmla="*/ 7157325 w 8079933"/>
              <a:gd name="connsiteY5908" fmla="*/ 3127721 h 4687251"/>
              <a:gd name="connsiteX5909" fmla="*/ 7155154 w 8079933"/>
              <a:gd name="connsiteY5909" fmla="*/ 3122741 h 4687251"/>
              <a:gd name="connsiteX5910" fmla="*/ 7158084 w 8079933"/>
              <a:gd name="connsiteY5910" fmla="*/ 3118952 h 4687251"/>
              <a:gd name="connsiteX5911" fmla="*/ 7158084 w 8079933"/>
              <a:gd name="connsiteY5911" fmla="*/ 3113213 h 4687251"/>
              <a:gd name="connsiteX5912" fmla="*/ 7155697 w 8079933"/>
              <a:gd name="connsiteY5912" fmla="*/ 3117868 h 4687251"/>
              <a:gd name="connsiteX5913" fmla="*/ 7153852 w 8079933"/>
              <a:gd name="connsiteY5913" fmla="*/ 3123066 h 4687251"/>
              <a:gd name="connsiteX5914" fmla="*/ 7153092 w 8079933"/>
              <a:gd name="connsiteY5914" fmla="*/ 3126638 h 4687251"/>
              <a:gd name="connsiteX5915" fmla="*/ 7151031 w 8079933"/>
              <a:gd name="connsiteY5915" fmla="*/ 3127721 h 4687251"/>
              <a:gd name="connsiteX5916" fmla="*/ 7147450 w 8079933"/>
              <a:gd name="connsiteY5916" fmla="*/ 3134217 h 4687251"/>
              <a:gd name="connsiteX5917" fmla="*/ 7147993 w 8079933"/>
              <a:gd name="connsiteY5917" fmla="*/ 3138223 h 4687251"/>
              <a:gd name="connsiteX5918" fmla="*/ 7143109 w 8079933"/>
              <a:gd name="connsiteY5918" fmla="*/ 3144178 h 4687251"/>
              <a:gd name="connsiteX5919" fmla="*/ 7138334 w 8079933"/>
              <a:gd name="connsiteY5919" fmla="*/ 3145261 h 4687251"/>
              <a:gd name="connsiteX5920" fmla="*/ 7133994 w 8079933"/>
              <a:gd name="connsiteY5920" fmla="*/ 3143854 h 4687251"/>
              <a:gd name="connsiteX5921" fmla="*/ 7130413 w 8079933"/>
              <a:gd name="connsiteY5921" fmla="*/ 3135733 h 4687251"/>
              <a:gd name="connsiteX5922" fmla="*/ 7130522 w 8079933"/>
              <a:gd name="connsiteY5922" fmla="*/ 3132810 h 4687251"/>
              <a:gd name="connsiteX5923" fmla="*/ 7132583 w 8079933"/>
              <a:gd name="connsiteY5923" fmla="*/ 3131944 h 4687251"/>
              <a:gd name="connsiteX5924" fmla="*/ 7133126 w 8079933"/>
              <a:gd name="connsiteY5924" fmla="*/ 3128695 h 4687251"/>
              <a:gd name="connsiteX5925" fmla="*/ 7132475 w 8079933"/>
              <a:gd name="connsiteY5925" fmla="*/ 3125448 h 4687251"/>
              <a:gd name="connsiteX5926" fmla="*/ 7129545 w 8079933"/>
              <a:gd name="connsiteY5926" fmla="*/ 3126422 h 4687251"/>
              <a:gd name="connsiteX5927" fmla="*/ 7127809 w 8079933"/>
              <a:gd name="connsiteY5927" fmla="*/ 3124797 h 4687251"/>
              <a:gd name="connsiteX5928" fmla="*/ 7125421 w 8079933"/>
              <a:gd name="connsiteY5928" fmla="*/ 3118952 h 4687251"/>
              <a:gd name="connsiteX5929" fmla="*/ 7121080 w 8079933"/>
              <a:gd name="connsiteY5929" fmla="*/ 3116677 h 4687251"/>
              <a:gd name="connsiteX5930" fmla="*/ 7115546 w 8079933"/>
              <a:gd name="connsiteY5930" fmla="*/ 3115811 h 4687251"/>
              <a:gd name="connsiteX5931" fmla="*/ 7113809 w 8079933"/>
              <a:gd name="connsiteY5931" fmla="*/ 3113429 h 4687251"/>
              <a:gd name="connsiteX5932" fmla="*/ 7116739 w 8079933"/>
              <a:gd name="connsiteY5932" fmla="*/ 3109856 h 4687251"/>
              <a:gd name="connsiteX5933" fmla="*/ 7122491 w 8079933"/>
              <a:gd name="connsiteY5933" fmla="*/ 3109315 h 4687251"/>
              <a:gd name="connsiteX5934" fmla="*/ 7124336 w 8079933"/>
              <a:gd name="connsiteY5934" fmla="*/ 3111156 h 4687251"/>
              <a:gd name="connsiteX5935" fmla="*/ 7129328 w 8079933"/>
              <a:gd name="connsiteY5935" fmla="*/ 3111697 h 4687251"/>
              <a:gd name="connsiteX5936" fmla="*/ 7133018 w 8079933"/>
              <a:gd name="connsiteY5936" fmla="*/ 3113538 h 4687251"/>
              <a:gd name="connsiteX5937" fmla="*/ 7137575 w 8079933"/>
              <a:gd name="connsiteY5937" fmla="*/ 3110831 h 4687251"/>
              <a:gd name="connsiteX5938" fmla="*/ 7139203 w 8079933"/>
              <a:gd name="connsiteY5938" fmla="*/ 3105201 h 4687251"/>
              <a:gd name="connsiteX5939" fmla="*/ 7142783 w 8079933"/>
              <a:gd name="connsiteY5939" fmla="*/ 3104010 h 4687251"/>
              <a:gd name="connsiteX5940" fmla="*/ 7150163 w 8079933"/>
              <a:gd name="connsiteY5940" fmla="*/ 3107366 h 4687251"/>
              <a:gd name="connsiteX5941" fmla="*/ 7153092 w 8079933"/>
              <a:gd name="connsiteY5941" fmla="*/ 3111697 h 4687251"/>
              <a:gd name="connsiteX5942" fmla="*/ 7155154 w 8079933"/>
              <a:gd name="connsiteY5942" fmla="*/ 3107042 h 4687251"/>
              <a:gd name="connsiteX5943" fmla="*/ 7157759 w 8079933"/>
              <a:gd name="connsiteY5943" fmla="*/ 3103577 h 4687251"/>
              <a:gd name="connsiteX5944" fmla="*/ 7160146 w 8079933"/>
              <a:gd name="connsiteY5944" fmla="*/ 3104443 h 4687251"/>
              <a:gd name="connsiteX5945" fmla="*/ 7160906 w 8079933"/>
              <a:gd name="connsiteY5945" fmla="*/ 3099354 h 4687251"/>
              <a:gd name="connsiteX5946" fmla="*/ 7159495 w 8079933"/>
              <a:gd name="connsiteY5946" fmla="*/ 3096214 h 4687251"/>
              <a:gd name="connsiteX5947" fmla="*/ 7147450 w 8079933"/>
              <a:gd name="connsiteY5947" fmla="*/ 3094807 h 4687251"/>
              <a:gd name="connsiteX5948" fmla="*/ 7149186 w 8079933"/>
              <a:gd name="connsiteY5948" fmla="*/ 3097297 h 4687251"/>
              <a:gd name="connsiteX5949" fmla="*/ 7146256 w 8079933"/>
              <a:gd name="connsiteY5949" fmla="*/ 3097947 h 4687251"/>
              <a:gd name="connsiteX5950" fmla="*/ 7143869 w 8079933"/>
              <a:gd name="connsiteY5950" fmla="*/ 3097297 h 4687251"/>
              <a:gd name="connsiteX5951" fmla="*/ 7136381 w 8079933"/>
              <a:gd name="connsiteY5951" fmla="*/ 3098813 h 4687251"/>
              <a:gd name="connsiteX5952" fmla="*/ 7133451 w 8079933"/>
              <a:gd name="connsiteY5952" fmla="*/ 3097838 h 4687251"/>
              <a:gd name="connsiteX5953" fmla="*/ 7130738 w 8079933"/>
              <a:gd name="connsiteY5953" fmla="*/ 3099138 h 4687251"/>
              <a:gd name="connsiteX5954" fmla="*/ 7127809 w 8079933"/>
              <a:gd name="connsiteY5954" fmla="*/ 3097405 h 4687251"/>
              <a:gd name="connsiteX5955" fmla="*/ 7123468 w 8079933"/>
              <a:gd name="connsiteY5955" fmla="*/ 3098488 h 4687251"/>
              <a:gd name="connsiteX5956" fmla="*/ 7119019 w 8079933"/>
              <a:gd name="connsiteY5956" fmla="*/ 3097838 h 4687251"/>
              <a:gd name="connsiteX5957" fmla="*/ 7114027 w 8079933"/>
              <a:gd name="connsiteY5957" fmla="*/ 3093616 h 4687251"/>
              <a:gd name="connsiteX5958" fmla="*/ 7112616 w 8079933"/>
              <a:gd name="connsiteY5958" fmla="*/ 3088203 h 4687251"/>
              <a:gd name="connsiteX5959" fmla="*/ 7113701 w 8079933"/>
              <a:gd name="connsiteY5959" fmla="*/ 3086795 h 4687251"/>
              <a:gd name="connsiteX5960" fmla="*/ 7111096 w 8079933"/>
              <a:gd name="connsiteY5960" fmla="*/ 3082356 h 4687251"/>
              <a:gd name="connsiteX5961" fmla="*/ 7104368 w 8079933"/>
              <a:gd name="connsiteY5961" fmla="*/ 3078566 h 4687251"/>
              <a:gd name="connsiteX5962" fmla="*/ 7101764 w 8079933"/>
              <a:gd name="connsiteY5962" fmla="*/ 3075751 h 4687251"/>
              <a:gd name="connsiteX5963" fmla="*/ 7100462 w 8079933"/>
              <a:gd name="connsiteY5963" fmla="*/ 3077700 h 4687251"/>
              <a:gd name="connsiteX5964" fmla="*/ 7096556 w 8079933"/>
              <a:gd name="connsiteY5964" fmla="*/ 3079757 h 4687251"/>
              <a:gd name="connsiteX5965" fmla="*/ 7091130 w 8079933"/>
              <a:gd name="connsiteY5965" fmla="*/ 3078891 h 4687251"/>
              <a:gd name="connsiteX5966" fmla="*/ 7091998 w 8079933"/>
              <a:gd name="connsiteY5966" fmla="*/ 3075968 h 4687251"/>
              <a:gd name="connsiteX5967" fmla="*/ 7097641 w 8079933"/>
              <a:gd name="connsiteY5967" fmla="*/ 3072287 h 4687251"/>
              <a:gd name="connsiteX5968" fmla="*/ 7098184 w 8079933"/>
              <a:gd name="connsiteY5968" fmla="*/ 3068930 h 4687251"/>
              <a:gd name="connsiteX5969" fmla="*/ 7096448 w 8079933"/>
              <a:gd name="connsiteY5969" fmla="*/ 3065790 h 4687251"/>
              <a:gd name="connsiteX5970" fmla="*/ 7100028 w 8079933"/>
              <a:gd name="connsiteY5970" fmla="*/ 3062759 h 4687251"/>
              <a:gd name="connsiteX5971" fmla="*/ 7106648 w 8079933"/>
              <a:gd name="connsiteY5971" fmla="*/ 3062542 h 4687251"/>
              <a:gd name="connsiteX5972" fmla="*/ 7109903 w 8079933"/>
              <a:gd name="connsiteY5972" fmla="*/ 3059402 h 4687251"/>
              <a:gd name="connsiteX5973" fmla="*/ 7113701 w 8079933"/>
              <a:gd name="connsiteY5973" fmla="*/ 3058428 h 4687251"/>
              <a:gd name="connsiteX5974" fmla="*/ 7119887 w 8079933"/>
              <a:gd name="connsiteY5974" fmla="*/ 3053555 h 4687251"/>
              <a:gd name="connsiteX5975" fmla="*/ 7121732 w 8079933"/>
              <a:gd name="connsiteY5975" fmla="*/ 3051932 h 4687251"/>
              <a:gd name="connsiteX5976" fmla="*/ 2175088 w 8079933"/>
              <a:gd name="connsiteY5976" fmla="*/ 3049692 h 4687251"/>
              <a:gd name="connsiteX5977" fmla="*/ 2179882 w 8079933"/>
              <a:gd name="connsiteY5977" fmla="*/ 3055396 h 4687251"/>
              <a:gd name="connsiteX5978" fmla="*/ 2179882 w 8079933"/>
              <a:gd name="connsiteY5978" fmla="*/ 3055395 h 4687251"/>
              <a:gd name="connsiteX5979" fmla="*/ 2744493 w 8079933"/>
              <a:gd name="connsiteY5979" fmla="*/ 3049549 h 4687251"/>
              <a:gd name="connsiteX5980" fmla="*/ 2745578 w 8079933"/>
              <a:gd name="connsiteY5980" fmla="*/ 3050632 h 4687251"/>
              <a:gd name="connsiteX5981" fmla="*/ 2744384 w 8079933"/>
              <a:gd name="connsiteY5981" fmla="*/ 3053663 h 4687251"/>
              <a:gd name="connsiteX5982" fmla="*/ 2740803 w 8079933"/>
              <a:gd name="connsiteY5982" fmla="*/ 3054421 h 4687251"/>
              <a:gd name="connsiteX5983" fmla="*/ 2739393 w 8079933"/>
              <a:gd name="connsiteY5983" fmla="*/ 3053988 h 4687251"/>
              <a:gd name="connsiteX5984" fmla="*/ 2741238 w 8079933"/>
              <a:gd name="connsiteY5984" fmla="*/ 3051606 h 4687251"/>
              <a:gd name="connsiteX5985" fmla="*/ 6458476 w 8079933"/>
              <a:gd name="connsiteY5985" fmla="*/ 3045868 h 4687251"/>
              <a:gd name="connsiteX5986" fmla="*/ 6462383 w 8079933"/>
              <a:gd name="connsiteY5986" fmla="*/ 3046842 h 4687251"/>
              <a:gd name="connsiteX5987" fmla="*/ 6469545 w 8079933"/>
              <a:gd name="connsiteY5987" fmla="*/ 3053555 h 4687251"/>
              <a:gd name="connsiteX5988" fmla="*/ 6467700 w 8079933"/>
              <a:gd name="connsiteY5988" fmla="*/ 3055179 h 4687251"/>
              <a:gd name="connsiteX5989" fmla="*/ 6462166 w 8079933"/>
              <a:gd name="connsiteY5989" fmla="*/ 3052147 h 4687251"/>
              <a:gd name="connsiteX5990" fmla="*/ 6458259 w 8079933"/>
              <a:gd name="connsiteY5990" fmla="*/ 3053446 h 4687251"/>
              <a:gd name="connsiteX5991" fmla="*/ 6455872 w 8079933"/>
              <a:gd name="connsiteY5991" fmla="*/ 3050523 h 4687251"/>
              <a:gd name="connsiteX5992" fmla="*/ 2283282 w 8079933"/>
              <a:gd name="connsiteY5992" fmla="*/ 3044228 h 4687251"/>
              <a:gd name="connsiteX5993" fmla="*/ 2283299 w 8079933"/>
              <a:gd name="connsiteY5993" fmla="*/ 3044568 h 4687251"/>
              <a:gd name="connsiteX5994" fmla="*/ 2287422 w 8079933"/>
              <a:gd name="connsiteY5994" fmla="*/ 3049873 h 4687251"/>
              <a:gd name="connsiteX5995" fmla="*/ 2295748 w 8079933"/>
              <a:gd name="connsiteY5995" fmla="*/ 3056279 h 4687251"/>
              <a:gd name="connsiteX5996" fmla="*/ 2294801 w 8079933"/>
              <a:gd name="connsiteY5996" fmla="*/ 3054529 h 4687251"/>
              <a:gd name="connsiteX5997" fmla="*/ 2285903 w 8079933"/>
              <a:gd name="connsiteY5997" fmla="*/ 3047599 h 4687251"/>
              <a:gd name="connsiteX5998" fmla="*/ 7086680 w 8079933"/>
              <a:gd name="connsiteY5998" fmla="*/ 3044027 h 4687251"/>
              <a:gd name="connsiteX5999" fmla="*/ 7094711 w 8079933"/>
              <a:gd name="connsiteY5999" fmla="*/ 3044027 h 4687251"/>
              <a:gd name="connsiteX6000" fmla="*/ 7100462 w 8079933"/>
              <a:gd name="connsiteY6000" fmla="*/ 3047492 h 4687251"/>
              <a:gd name="connsiteX6001" fmla="*/ 7101331 w 8079933"/>
              <a:gd name="connsiteY6001" fmla="*/ 3050739 h 4687251"/>
              <a:gd name="connsiteX6002" fmla="*/ 7097424 w 8079933"/>
              <a:gd name="connsiteY6002" fmla="*/ 3052147 h 4687251"/>
              <a:gd name="connsiteX6003" fmla="*/ 7094385 w 8079933"/>
              <a:gd name="connsiteY6003" fmla="*/ 3051064 h 4687251"/>
              <a:gd name="connsiteX6004" fmla="*/ 7087440 w 8079933"/>
              <a:gd name="connsiteY6004" fmla="*/ 3047167 h 4687251"/>
              <a:gd name="connsiteX6005" fmla="*/ 7085812 w 8079933"/>
              <a:gd name="connsiteY6005" fmla="*/ 3048141 h 4687251"/>
              <a:gd name="connsiteX6006" fmla="*/ 7086464 w 8079933"/>
              <a:gd name="connsiteY6006" fmla="*/ 3049116 h 4687251"/>
              <a:gd name="connsiteX6007" fmla="*/ 7090262 w 8079933"/>
              <a:gd name="connsiteY6007" fmla="*/ 3050739 h 4687251"/>
              <a:gd name="connsiteX6008" fmla="*/ 7090370 w 8079933"/>
              <a:gd name="connsiteY6008" fmla="*/ 3052689 h 4687251"/>
              <a:gd name="connsiteX6009" fmla="*/ 7086464 w 8079933"/>
              <a:gd name="connsiteY6009" fmla="*/ 3053338 h 4687251"/>
              <a:gd name="connsiteX6010" fmla="*/ 7082014 w 8079933"/>
              <a:gd name="connsiteY6010" fmla="*/ 3051281 h 4687251"/>
              <a:gd name="connsiteX6011" fmla="*/ 7075069 w 8079933"/>
              <a:gd name="connsiteY6011" fmla="*/ 3050306 h 4687251"/>
              <a:gd name="connsiteX6012" fmla="*/ 7078325 w 8079933"/>
              <a:gd name="connsiteY6012" fmla="*/ 3049332 h 4687251"/>
              <a:gd name="connsiteX6013" fmla="*/ 7076806 w 8079933"/>
              <a:gd name="connsiteY6013" fmla="*/ 3047708 h 4687251"/>
              <a:gd name="connsiteX6014" fmla="*/ 7078325 w 8079933"/>
              <a:gd name="connsiteY6014" fmla="*/ 3046842 h 4687251"/>
              <a:gd name="connsiteX6015" fmla="*/ 7083099 w 8079933"/>
              <a:gd name="connsiteY6015" fmla="*/ 3046733 h 4687251"/>
              <a:gd name="connsiteX6016" fmla="*/ 7046637 w 8079933"/>
              <a:gd name="connsiteY6016" fmla="*/ 3041429 h 4687251"/>
              <a:gd name="connsiteX6017" fmla="*/ 7055752 w 8079933"/>
              <a:gd name="connsiteY6017" fmla="*/ 3045976 h 4687251"/>
              <a:gd name="connsiteX6018" fmla="*/ 7056403 w 8079933"/>
              <a:gd name="connsiteY6018" fmla="*/ 3048358 h 4687251"/>
              <a:gd name="connsiteX6019" fmla="*/ 7049892 w 8079933"/>
              <a:gd name="connsiteY6019" fmla="*/ 3044894 h 4687251"/>
              <a:gd name="connsiteX6020" fmla="*/ 2748509 w 8079933"/>
              <a:gd name="connsiteY6020" fmla="*/ 3040346 h 4687251"/>
              <a:gd name="connsiteX6021" fmla="*/ 2749485 w 8079933"/>
              <a:gd name="connsiteY6021" fmla="*/ 3042187 h 4687251"/>
              <a:gd name="connsiteX6022" fmla="*/ 2745470 w 8079933"/>
              <a:gd name="connsiteY6022" fmla="*/ 3046409 h 4687251"/>
              <a:gd name="connsiteX6023" fmla="*/ 2742974 w 8079933"/>
              <a:gd name="connsiteY6023" fmla="*/ 3046626 h 4687251"/>
              <a:gd name="connsiteX6024" fmla="*/ 2737657 w 8079933"/>
              <a:gd name="connsiteY6024" fmla="*/ 3051714 h 4687251"/>
              <a:gd name="connsiteX6025" fmla="*/ 2736898 w 8079933"/>
              <a:gd name="connsiteY6025" fmla="*/ 3053447 h 4687251"/>
              <a:gd name="connsiteX6026" fmla="*/ 2735053 w 8079933"/>
              <a:gd name="connsiteY6026" fmla="*/ 3053880 h 4687251"/>
              <a:gd name="connsiteX6027" fmla="*/ 2737874 w 8079933"/>
              <a:gd name="connsiteY6027" fmla="*/ 3046193 h 4687251"/>
              <a:gd name="connsiteX6028" fmla="*/ 2742323 w 8079933"/>
              <a:gd name="connsiteY6028" fmla="*/ 3041645 h 4687251"/>
              <a:gd name="connsiteX6029" fmla="*/ 2744602 w 8079933"/>
              <a:gd name="connsiteY6029" fmla="*/ 3040670 h 4687251"/>
              <a:gd name="connsiteX6030" fmla="*/ 2746772 w 8079933"/>
              <a:gd name="connsiteY6030" fmla="*/ 3040887 h 4687251"/>
              <a:gd name="connsiteX6031" fmla="*/ 4270369 w 8079933"/>
              <a:gd name="connsiteY6031" fmla="*/ 3040178 h 4687251"/>
              <a:gd name="connsiteX6032" fmla="*/ 4271865 w 8079933"/>
              <a:gd name="connsiteY6032" fmla="*/ 3041970 h 4687251"/>
              <a:gd name="connsiteX6033" fmla="*/ 4272733 w 8079933"/>
              <a:gd name="connsiteY6033" fmla="*/ 3043919 h 4687251"/>
              <a:gd name="connsiteX6034" fmla="*/ 4275555 w 8079933"/>
              <a:gd name="connsiteY6034" fmla="*/ 3045218 h 4687251"/>
              <a:gd name="connsiteX6035" fmla="*/ 4276423 w 8079933"/>
              <a:gd name="connsiteY6035" fmla="*/ 3047384 h 4687251"/>
              <a:gd name="connsiteX6036" fmla="*/ 4280112 w 8079933"/>
              <a:gd name="connsiteY6036" fmla="*/ 3050415 h 4687251"/>
              <a:gd name="connsiteX6037" fmla="*/ 4280988 w 8079933"/>
              <a:gd name="connsiteY6037" fmla="*/ 3052685 h 4687251"/>
              <a:gd name="connsiteX6038" fmla="*/ 4280113 w 8079933"/>
              <a:gd name="connsiteY6038" fmla="*/ 3050414 h 4687251"/>
              <a:gd name="connsiteX6039" fmla="*/ 4276423 w 8079933"/>
              <a:gd name="connsiteY6039" fmla="*/ 3047382 h 4687251"/>
              <a:gd name="connsiteX6040" fmla="*/ 4275555 w 8079933"/>
              <a:gd name="connsiteY6040" fmla="*/ 3045218 h 4687251"/>
              <a:gd name="connsiteX6041" fmla="*/ 4272733 w 8079933"/>
              <a:gd name="connsiteY6041" fmla="*/ 3043918 h 4687251"/>
              <a:gd name="connsiteX6042" fmla="*/ 4271865 w 8079933"/>
              <a:gd name="connsiteY6042" fmla="*/ 3041969 h 4687251"/>
              <a:gd name="connsiteX6043" fmla="*/ 2156117 w 8079933"/>
              <a:gd name="connsiteY6043" fmla="*/ 3040129 h 4687251"/>
              <a:gd name="connsiteX6044" fmla="*/ 2154381 w 8079933"/>
              <a:gd name="connsiteY6044" fmla="*/ 3040237 h 4687251"/>
              <a:gd name="connsiteX6045" fmla="*/ 2154381 w 8079933"/>
              <a:gd name="connsiteY6045" fmla="*/ 3040238 h 4687251"/>
              <a:gd name="connsiteX6046" fmla="*/ 2156117 w 8079933"/>
              <a:gd name="connsiteY6046" fmla="*/ 3040130 h 4687251"/>
              <a:gd name="connsiteX6047" fmla="*/ 2158938 w 8079933"/>
              <a:gd name="connsiteY6047" fmla="*/ 3042836 h 4687251"/>
              <a:gd name="connsiteX6048" fmla="*/ 2167511 w 8079933"/>
              <a:gd name="connsiteY6048" fmla="*/ 3044893 h 4687251"/>
              <a:gd name="connsiteX6049" fmla="*/ 2172828 w 8079933"/>
              <a:gd name="connsiteY6049" fmla="*/ 3046085 h 4687251"/>
              <a:gd name="connsiteX6050" fmla="*/ 2173991 w 8079933"/>
              <a:gd name="connsiteY6050" fmla="*/ 3048226 h 4687251"/>
              <a:gd name="connsiteX6051" fmla="*/ 2172828 w 8079933"/>
              <a:gd name="connsiteY6051" fmla="*/ 3046084 h 4687251"/>
              <a:gd name="connsiteX6052" fmla="*/ 2167511 w 8079933"/>
              <a:gd name="connsiteY6052" fmla="*/ 3044893 h 4687251"/>
              <a:gd name="connsiteX6053" fmla="*/ 2158938 w 8079933"/>
              <a:gd name="connsiteY6053" fmla="*/ 3042835 h 4687251"/>
              <a:gd name="connsiteX6054" fmla="*/ 6313824 w 8079933"/>
              <a:gd name="connsiteY6054" fmla="*/ 3038073 h 4687251"/>
              <a:gd name="connsiteX6055" fmla="*/ 6319467 w 8079933"/>
              <a:gd name="connsiteY6055" fmla="*/ 3040022 h 4687251"/>
              <a:gd name="connsiteX6056" fmla="*/ 6318924 w 8079933"/>
              <a:gd name="connsiteY6056" fmla="*/ 3043162 h 4687251"/>
              <a:gd name="connsiteX6057" fmla="*/ 6316862 w 8079933"/>
              <a:gd name="connsiteY6057" fmla="*/ 3041646 h 4687251"/>
              <a:gd name="connsiteX6058" fmla="*/ 6311220 w 8079933"/>
              <a:gd name="connsiteY6058" fmla="*/ 3041538 h 4687251"/>
              <a:gd name="connsiteX6059" fmla="*/ 2778785 w 8079933"/>
              <a:gd name="connsiteY6059" fmla="*/ 3037098 h 4687251"/>
              <a:gd name="connsiteX6060" fmla="*/ 2781389 w 8079933"/>
              <a:gd name="connsiteY6060" fmla="*/ 3039155 h 4687251"/>
              <a:gd name="connsiteX6061" fmla="*/ 2779762 w 8079933"/>
              <a:gd name="connsiteY6061" fmla="*/ 3041862 h 4687251"/>
              <a:gd name="connsiteX6062" fmla="*/ 2774336 w 8079933"/>
              <a:gd name="connsiteY6062" fmla="*/ 3042187 h 4687251"/>
              <a:gd name="connsiteX6063" fmla="*/ 2770864 w 8079933"/>
              <a:gd name="connsiteY6063" fmla="*/ 3040887 h 4687251"/>
              <a:gd name="connsiteX6064" fmla="*/ 2774444 w 8079933"/>
              <a:gd name="connsiteY6064" fmla="*/ 3039372 h 4687251"/>
              <a:gd name="connsiteX6065" fmla="*/ 2775530 w 8079933"/>
              <a:gd name="connsiteY6065" fmla="*/ 3037314 h 4687251"/>
              <a:gd name="connsiteX6066" fmla="*/ 2752090 w 8079933"/>
              <a:gd name="connsiteY6066" fmla="*/ 3033525 h 4687251"/>
              <a:gd name="connsiteX6067" fmla="*/ 2755020 w 8079933"/>
              <a:gd name="connsiteY6067" fmla="*/ 3034933 h 4687251"/>
              <a:gd name="connsiteX6068" fmla="*/ 2755671 w 8079933"/>
              <a:gd name="connsiteY6068" fmla="*/ 3036882 h 4687251"/>
              <a:gd name="connsiteX6069" fmla="*/ 2755454 w 8079933"/>
              <a:gd name="connsiteY6069" fmla="*/ 3039156 h 4687251"/>
              <a:gd name="connsiteX6070" fmla="*/ 2753066 w 8079933"/>
              <a:gd name="connsiteY6070" fmla="*/ 3038289 h 4687251"/>
              <a:gd name="connsiteX6071" fmla="*/ 2751656 w 8079933"/>
              <a:gd name="connsiteY6071" fmla="*/ 3036232 h 4687251"/>
              <a:gd name="connsiteX6072" fmla="*/ 2104572 w 8079933"/>
              <a:gd name="connsiteY6072" fmla="*/ 3032225 h 4687251"/>
              <a:gd name="connsiteX6073" fmla="*/ 2104572 w 8079933"/>
              <a:gd name="connsiteY6073" fmla="*/ 3032226 h 4687251"/>
              <a:gd name="connsiteX6074" fmla="*/ 2111951 w 8079933"/>
              <a:gd name="connsiteY6074" fmla="*/ 3032875 h 4687251"/>
              <a:gd name="connsiteX6075" fmla="*/ 2120307 w 8079933"/>
              <a:gd name="connsiteY6075" fmla="*/ 3036989 h 4687251"/>
              <a:gd name="connsiteX6076" fmla="*/ 2121133 w 8079933"/>
              <a:gd name="connsiteY6076" fmla="*/ 3037560 h 4687251"/>
              <a:gd name="connsiteX6077" fmla="*/ 2120306 w 8079933"/>
              <a:gd name="connsiteY6077" fmla="*/ 3036989 h 4687251"/>
              <a:gd name="connsiteX6078" fmla="*/ 2111950 w 8079933"/>
              <a:gd name="connsiteY6078" fmla="*/ 3032874 h 4687251"/>
              <a:gd name="connsiteX6079" fmla="*/ 4753951 w 8079933"/>
              <a:gd name="connsiteY6079" fmla="*/ 3031900 h 4687251"/>
              <a:gd name="connsiteX6080" fmla="*/ 4753463 w 8079933"/>
              <a:gd name="connsiteY6080" fmla="*/ 3035256 h 4687251"/>
              <a:gd name="connsiteX6081" fmla="*/ 4747169 w 8079933"/>
              <a:gd name="connsiteY6081" fmla="*/ 3058534 h 4687251"/>
              <a:gd name="connsiteX6082" fmla="*/ 4714180 w 8079933"/>
              <a:gd name="connsiteY6082" fmla="*/ 3060267 h 4687251"/>
              <a:gd name="connsiteX6083" fmla="*/ 4696492 w 8079933"/>
              <a:gd name="connsiteY6083" fmla="*/ 3060809 h 4687251"/>
              <a:gd name="connsiteX6084" fmla="*/ 4696508 w 8079933"/>
              <a:gd name="connsiteY6084" fmla="*/ 3060809 h 4687251"/>
              <a:gd name="connsiteX6085" fmla="*/ 4714180 w 8079933"/>
              <a:gd name="connsiteY6085" fmla="*/ 3060268 h 4687251"/>
              <a:gd name="connsiteX6086" fmla="*/ 4704956 w 8079933"/>
              <a:gd name="connsiteY6086" fmla="*/ 3060809 h 4687251"/>
              <a:gd name="connsiteX6087" fmla="*/ 4704815 w 8079933"/>
              <a:gd name="connsiteY6087" fmla="*/ 3060809 h 4687251"/>
              <a:gd name="connsiteX6088" fmla="*/ 4675874 w 8079933"/>
              <a:gd name="connsiteY6088" fmla="*/ 3060917 h 4687251"/>
              <a:gd name="connsiteX6089" fmla="*/ 4695949 w 8079933"/>
              <a:gd name="connsiteY6089" fmla="*/ 3060809 h 4687251"/>
              <a:gd name="connsiteX6090" fmla="*/ 4695948 w 8079933"/>
              <a:gd name="connsiteY6090" fmla="*/ 3060809 h 4687251"/>
              <a:gd name="connsiteX6091" fmla="*/ 4675873 w 8079933"/>
              <a:gd name="connsiteY6091" fmla="*/ 3060916 h 4687251"/>
              <a:gd name="connsiteX6092" fmla="*/ 4673812 w 8079933"/>
              <a:gd name="connsiteY6092" fmla="*/ 3062973 h 4687251"/>
              <a:gd name="connsiteX6093" fmla="*/ 4671641 w 8079933"/>
              <a:gd name="connsiteY6093" fmla="*/ 3062540 h 4687251"/>
              <a:gd name="connsiteX6094" fmla="*/ 4670230 w 8079933"/>
              <a:gd name="connsiteY6094" fmla="*/ 3064381 h 4687251"/>
              <a:gd name="connsiteX6095" fmla="*/ 4670091 w 8079933"/>
              <a:gd name="connsiteY6095" fmla="*/ 3064183 h 4687251"/>
              <a:gd name="connsiteX6096" fmla="*/ 4670231 w 8079933"/>
              <a:gd name="connsiteY6096" fmla="*/ 3064382 h 4687251"/>
              <a:gd name="connsiteX6097" fmla="*/ 4670231 w 8079933"/>
              <a:gd name="connsiteY6097" fmla="*/ 3064382 h 4687251"/>
              <a:gd name="connsiteX6098" fmla="*/ 4671642 w 8079933"/>
              <a:gd name="connsiteY6098" fmla="*/ 3062542 h 4687251"/>
              <a:gd name="connsiteX6099" fmla="*/ 4673812 w 8079933"/>
              <a:gd name="connsiteY6099" fmla="*/ 3062975 h 4687251"/>
              <a:gd name="connsiteX6100" fmla="*/ 4675874 w 8079933"/>
              <a:gd name="connsiteY6100" fmla="*/ 3060918 h 4687251"/>
              <a:gd name="connsiteX6101" fmla="*/ 4704956 w 8079933"/>
              <a:gd name="connsiteY6101" fmla="*/ 3060809 h 4687251"/>
              <a:gd name="connsiteX6102" fmla="*/ 4714180 w 8079933"/>
              <a:gd name="connsiteY6102" fmla="*/ 3060268 h 4687251"/>
              <a:gd name="connsiteX6103" fmla="*/ 4747169 w 8079933"/>
              <a:gd name="connsiteY6103" fmla="*/ 3058536 h 4687251"/>
              <a:gd name="connsiteX6104" fmla="*/ 4753897 w 8079933"/>
              <a:gd name="connsiteY6104" fmla="*/ 3058103 h 4687251"/>
              <a:gd name="connsiteX6105" fmla="*/ 4841687 w 8079933"/>
              <a:gd name="connsiteY6105" fmla="*/ 3109315 h 4687251"/>
              <a:gd name="connsiteX6106" fmla="*/ 4843010 w 8079933"/>
              <a:gd name="connsiteY6106" fmla="*/ 3111486 h 4687251"/>
              <a:gd name="connsiteX6107" fmla="*/ 4841687 w 8079933"/>
              <a:gd name="connsiteY6107" fmla="*/ 3109314 h 4687251"/>
              <a:gd name="connsiteX6108" fmla="*/ 4753897 w 8079933"/>
              <a:gd name="connsiteY6108" fmla="*/ 3058102 h 4687251"/>
              <a:gd name="connsiteX6109" fmla="*/ 4747169 w 8079933"/>
              <a:gd name="connsiteY6109" fmla="*/ 3058535 h 4687251"/>
              <a:gd name="connsiteX6110" fmla="*/ 4753463 w 8079933"/>
              <a:gd name="connsiteY6110" fmla="*/ 3035256 h 4687251"/>
              <a:gd name="connsiteX6111" fmla="*/ 4366483 w 8079933"/>
              <a:gd name="connsiteY6111" fmla="*/ 3031789 h 4687251"/>
              <a:gd name="connsiteX6112" fmla="*/ 4363996 w 8079933"/>
              <a:gd name="connsiteY6112" fmla="*/ 3032874 h 4687251"/>
              <a:gd name="connsiteX6113" fmla="*/ 4361934 w 8079933"/>
              <a:gd name="connsiteY6113" fmla="*/ 3040778 h 4687251"/>
              <a:gd name="connsiteX6114" fmla="*/ 4361826 w 8079933"/>
              <a:gd name="connsiteY6114" fmla="*/ 3048898 h 4687251"/>
              <a:gd name="connsiteX6115" fmla="*/ 4354230 w 8079933"/>
              <a:gd name="connsiteY6115" fmla="*/ 3061349 h 4687251"/>
              <a:gd name="connsiteX6116" fmla="*/ 4349563 w 8079933"/>
              <a:gd name="connsiteY6116" fmla="*/ 3062649 h 4687251"/>
              <a:gd name="connsiteX6117" fmla="*/ 4345439 w 8079933"/>
              <a:gd name="connsiteY6117" fmla="*/ 3065897 h 4687251"/>
              <a:gd name="connsiteX6118" fmla="*/ 4345440 w 8079933"/>
              <a:gd name="connsiteY6118" fmla="*/ 3065897 h 4687251"/>
              <a:gd name="connsiteX6119" fmla="*/ 4349563 w 8079933"/>
              <a:gd name="connsiteY6119" fmla="*/ 3062649 h 4687251"/>
              <a:gd name="connsiteX6120" fmla="*/ 4354230 w 8079933"/>
              <a:gd name="connsiteY6120" fmla="*/ 3061350 h 4687251"/>
              <a:gd name="connsiteX6121" fmla="*/ 4361826 w 8079933"/>
              <a:gd name="connsiteY6121" fmla="*/ 3048899 h 4687251"/>
              <a:gd name="connsiteX6122" fmla="*/ 4361934 w 8079933"/>
              <a:gd name="connsiteY6122" fmla="*/ 3040779 h 4687251"/>
              <a:gd name="connsiteX6123" fmla="*/ 4363996 w 8079933"/>
              <a:gd name="connsiteY6123" fmla="*/ 3032875 h 4687251"/>
              <a:gd name="connsiteX6124" fmla="*/ 2768694 w 8079933"/>
              <a:gd name="connsiteY6124" fmla="*/ 3031035 h 4687251"/>
              <a:gd name="connsiteX6125" fmla="*/ 2771298 w 8079933"/>
              <a:gd name="connsiteY6125" fmla="*/ 3033200 h 4687251"/>
              <a:gd name="connsiteX6126" fmla="*/ 2770430 w 8079933"/>
              <a:gd name="connsiteY6126" fmla="*/ 3036232 h 4687251"/>
              <a:gd name="connsiteX6127" fmla="*/ 2767282 w 8079933"/>
              <a:gd name="connsiteY6127" fmla="*/ 3037748 h 4687251"/>
              <a:gd name="connsiteX6128" fmla="*/ 2765438 w 8079933"/>
              <a:gd name="connsiteY6128" fmla="*/ 3036556 h 4687251"/>
              <a:gd name="connsiteX6129" fmla="*/ 2759578 w 8079933"/>
              <a:gd name="connsiteY6129" fmla="*/ 3036449 h 4687251"/>
              <a:gd name="connsiteX6130" fmla="*/ 2757408 w 8079933"/>
              <a:gd name="connsiteY6130" fmla="*/ 3035258 h 4687251"/>
              <a:gd name="connsiteX6131" fmla="*/ 2758385 w 8079933"/>
              <a:gd name="connsiteY6131" fmla="*/ 3033200 h 4687251"/>
              <a:gd name="connsiteX6132" fmla="*/ 2761966 w 8079933"/>
              <a:gd name="connsiteY6132" fmla="*/ 3032767 h 4687251"/>
              <a:gd name="connsiteX6133" fmla="*/ 4273276 w 8079933"/>
              <a:gd name="connsiteY6133" fmla="*/ 3030817 h 4687251"/>
              <a:gd name="connsiteX6134" fmla="*/ 4273276 w 8079933"/>
              <a:gd name="connsiteY6134" fmla="*/ 3030818 h 4687251"/>
              <a:gd name="connsiteX6135" fmla="*/ 4274469 w 8079933"/>
              <a:gd name="connsiteY6135" fmla="*/ 3032225 h 4687251"/>
              <a:gd name="connsiteX6136" fmla="*/ 4275333 w 8079933"/>
              <a:gd name="connsiteY6136" fmla="*/ 3034654 h 4687251"/>
              <a:gd name="connsiteX6137" fmla="*/ 4274470 w 8079933"/>
              <a:gd name="connsiteY6137" fmla="*/ 3032225 h 4687251"/>
              <a:gd name="connsiteX6138" fmla="*/ 2137018 w 8079933"/>
              <a:gd name="connsiteY6138" fmla="*/ 3030276 h 4687251"/>
              <a:gd name="connsiteX6139" fmla="*/ 2133545 w 8079933"/>
              <a:gd name="connsiteY6139" fmla="*/ 3033092 h 4687251"/>
              <a:gd name="connsiteX6140" fmla="*/ 2133762 w 8079933"/>
              <a:gd name="connsiteY6140" fmla="*/ 3037963 h 4687251"/>
              <a:gd name="connsiteX6141" fmla="*/ 2130832 w 8079933"/>
              <a:gd name="connsiteY6141" fmla="*/ 3040670 h 4687251"/>
              <a:gd name="connsiteX6142" fmla="*/ 2123128 w 8079933"/>
              <a:gd name="connsiteY6142" fmla="*/ 3038938 h 4687251"/>
              <a:gd name="connsiteX6143" fmla="*/ 2123128 w 8079933"/>
              <a:gd name="connsiteY6143" fmla="*/ 3038938 h 4687251"/>
              <a:gd name="connsiteX6144" fmla="*/ 2130833 w 8079933"/>
              <a:gd name="connsiteY6144" fmla="*/ 3040671 h 4687251"/>
              <a:gd name="connsiteX6145" fmla="*/ 2133763 w 8079933"/>
              <a:gd name="connsiteY6145" fmla="*/ 3037964 h 4687251"/>
              <a:gd name="connsiteX6146" fmla="*/ 2133546 w 8079933"/>
              <a:gd name="connsiteY6146" fmla="*/ 3033092 h 4687251"/>
              <a:gd name="connsiteX6147" fmla="*/ 2137018 w 8079933"/>
              <a:gd name="connsiteY6147" fmla="*/ 3030277 h 4687251"/>
              <a:gd name="connsiteX6148" fmla="*/ 2138646 w 8079933"/>
              <a:gd name="connsiteY6148" fmla="*/ 3030385 h 4687251"/>
              <a:gd name="connsiteX6149" fmla="*/ 2145917 w 8079933"/>
              <a:gd name="connsiteY6149" fmla="*/ 3032875 h 4687251"/>
              <a:gd name="connsiteX6150" fmla="*/ 2149606 w 8079933"/>
              <a:gd name="connsiteY6150" fmla="*/ 3034932 h 4687251"/>
              <a:gd name="connsiteX6151" fmla="*/ 2149801 w 8079933"/>
              <a:gd name="connsiteY6151" fmla="*/ 3035497 h 4687251"/>
              <a:gd name="connsiteX6152" fmla="*/ 2149606 w 8079933"/>
              <a:gd name="connsiteY6152" fmla="*/ 3034932 h 4687251"/>
              <a:gd name="connsiteX6153" fmla="*/ 2145916 w 8079933"/>
              <a:gd name="connsiteY6153" fmla="*/ 3032874 h 4687251"/>
              <a:gd name="connsiteX6154" fmla="*/ 2138646 w 8079933"/>
              <a:gd name="connsiteY6154" fmla="*/ 3030384 h 4687251"/>
              <a:gd name="connsiteX6155" fmla="*/ 4096503 w 8079933"/>
              <a:gd name="connsiteY6155" fmla="*/ 3027787 h 4687251"/>
              <a:gd name="connsiteX6156" fmla="*/ 4100735 w 8079933"/>
              <a:gd name="connsiteY6156" fmla="*/ 3030386 h 4687251"/>
              <a:gd name="connsiteX6157" fmla="*/ 4098999 w 8079933"/>
              <a:gd name="connsiteY6157" fmla="*/ 3033850 h 4687251"/>
              <a:gd name="connsiteX6158" fmla="*/ 4096286 w 8079933"/>
              <a:gd name="connsiteY6158" fmla="*/ 3035582 h 4687251"/>
              <a:gd name="connsiteX6159" fmla="*/ 4094441 w 8079933"/>
              <a:gd name="connsiteY6159" fmla="*/ 3035258 h 4687251"/>
              <a:gd name="connsiteX6160" fmla="*/ 4093681 w 8079933"/>
              <a:gd name="connsiteY6160" fmla="*/ 3030818 h 4687251"/>
              <a:gd name="connsiteX6161" fmla="*/ 4273602 w 8079933"/>
              <a:gd name="connsiteY6161" fmla="*/ 3027461 h 4687251"/>
              <a:gd name="connsiteX6162" fmla="*/ 4273601 w 8079933"/>
              <a:gd name="connsiteY6162" fmla="*/ 3027462 h 4687251"/>
              <a:gd name="connsiteX6163" fmla="*/ 4273307 w 8079933"/>
              <a:gd name="connsiteY6163" fmla="*/ 3030504 h 4687251"/>
              <a:gd name="connsiteX6164" fmla="*/ 4367143 w 8079933"/>
              <a:gd name="connsiteY6164" fmla="*/ 3023238 h 4687251"/>
              <a:gd name="connsiteX6165" fmla="*/ 4367143 w 8079933"/>
              <a:gd name="connsiteY6165" fmla="*/ 3023239 h 4687251"/>
              <a:gd name="connsiteX6166" fmla="*/ 4368120 w 8079933"/>
              <a:gd name="connsiteY6166" fmla="*/ 3024646 h 4687251"/>
              <a:gd name="connsiteX6167" fmla="*/ 4368120 w 8079933"/>
              <a:gd name="connsiteY6167" fmla="*/ 3024645 h 4687251"/>
              <a:gd name="connsiteX6168" fmla="*/ 2303115 w 8079933"/>
              <a:gd name="connsiteY6168" fmla="*/ 3022474 h 4687251"/>
              <a:gd name="connsiteX6169" fmla="*/ 2302723 w 8079933"/>
              <a:gd name="connsiteY6169" fmla="*/ 3022914 h 4687251"/>
              <a:gd name="connsiteX6170" fmla="*/ 2303841 w 8079933"/>
              <a:gd name="connsiteY6170" fmla="*/ 3024073 h 4687251"/>
              <a:gd name="connsiteX6171" fmla="*/ 2304025 w 8079933"/>
              <a:gd name="connsiteY6171" fmla="*/ 3023455 h 4687251"/>
              <a:gd name="connsiteX6172" fmla="*/ 2763158 w 8079933"/>
              <a:gd name="connsiteY6172" fmla="*/ 3021183 h 4687251"/>
              <a:gd name="connsiteX6173" fmla="*/ 2765328 w 8079933"/>
              <a:gd name="connsiteY6173" fmla="*/ 3021507 h 4687251"/>
              <a:gd name="connsiteX6174" fmla="*/ 2763266 w 8079933"/>
              <a:gd name="connsiteY6174" fmla="*/ 3024864 h 4687251"/>
              <a:gd name="connsiteX6175" fmla="*/ 2760663 w 8079933"/>
              <a:gd name="connsiteY6175" fmla="*/ 3025730 h 4687251"/>
              <a:gd name="connsiteX6176" fmla="*/ 2758275 w 8079933"/>
              <a:gd name="connsiteY6176" fmla="*/ 3029411 h 4687251"/>
              <a:gd name="connsiteX6177" fmla="*/ 2755671 w 8079933"/>
              <a:gd name="connsiteY6177" fmla="*/ 3032010 h 4687251"/>
              <a:gd name="connsiteX6178" fmla="*/ 2754803 w 8079933"/>
              <a:gd name="connsiteY6178" fmla="*/ 3027787 h 4687251"/>
              <a:gd name="connsiteX6179" fmla="*/ 2757516 w 8079933"/>
              <a:gd name="connsiteY6179" fmla="*/ 3024756 h 4687251"/>
              <a:gd name="connsiteX6180" fmla="*/ 2759903 w 8079933"/>
              <a:gd name="connsiteY6180" fmla="*/ 3023565 h 4687251"/>
              <a:gd name="connsiteX6181" fmla="*/ 2094815 w 8079933"/>
              <a:gd name="connsiteY6181" fmla="*/ 3019669 h 4687251"/>
              <a:gd name="connsiteX6182" fmla="*/ 2098929 w 8079933"/>
              <a:gd name="connsiteY6182" fmla="*/ 3019775 h 4687251"/>
              <a:gd name="connsiteX6183" fmla="*/ 2103897 w 8079933"/>
              <a:gd name="connsiteY6183" fmla="*/ 3024922 h 4687251"/>
              <a:gd name="connsiteX6184" fmla="*/ 2098928 w 8079933"/>
              <a:gd name="connsiteY6184" fmla="*/ 3019774 h 4687251"/>
              <a:gd name="connsiteX6185" fmla="*/ 4282174 w 8079933"/>
              <a:gd name="connsiteY6185" fmla="*/ 3016743 h 4687251"/>
              <a:gd name="connsiteX6186" fmla="*/ 4283693 w 8079933"/>
              <a:gd name="connsiteY6186" fmla="*/ 3019233 h 4687251"/>
              <a:gd name="connsiteX6187" fmla="*/ 4283042 w 8079933"/>
              <a:gd name="connsiteY6187" fmla="*/ 3023672 h 4687251"/>
              <a:gd name="connsiteX6188" fmla="*/ 4283043 w 8079933"/>
              <a:gd name="connsiteY6188" fmla="*/ 3023672 h 4687251"/>
              <a:gd name="connsiteX6189" fmla="*/ 4283694 w 8079933"/>
              <a:gd name="connsiteY6189" fmla="*/ 3019232 h 4687251"/>
              <a:gd name="connsiteX6190" fmla="*/ 4765616 w 8079933"/>
              <a:gd name="connsiteY6190" fmla="*/ 3015010 h 4687251"/>
              <a:gd name="connsiteX6191" fmla="*/ 4761710 w 8079933"/>
              <a:gd name="connsiteY6191" fmla="*/ 3018691 h 4687251"/>
              <a:gd name="connsiteX6192" fmla="*/ 4758997 w 8079933"/>
              <a:gd name="connsiteY6192" fmla="*/ 3024213 h 4687251"/>
              <a:gd name="connsiteX6193" fmla="*/ 4756718 w 8079933"/>
              <a:gd name="connsiteY6193" fmla="*/ 3026378 h 4687251"/>
              <a:gd name="connsiteX6194" fmla="*/ 4758997 w 8079933"/>
              <a:gd name="connsiteY6194" fmla="*/ 3024213 h 4687251"/>
              <a:gd name="connsiteX6195" fmla="*/ 4761710 w 8079933"/>
              <a:gd name="connsiteY6195" fmla="*/ 3018691 h 4687251"/>
              <a:gd name="connsiteX6196" fmla="*/ 6410729 w 8079933"/>
              <a:gd name="connsiteY6196" fmla="*/ 3014036 h 4687251"/>
              <a:gd name="connsiteX6197" fmla="*/ 6416915 w 8079933"/>
              <a:gd name="connsiteY6197" fmla="*/ 3015226 h 4687251"/>
              <a:gd name="connsiteX6198" fmla="*/ 6422123 w 8079933"/>
              <a:gd name="connsiteY6198" fmla="*/ 3019666 h 4687251"/>
              <a:gd name="connsiteX6199" fmla="*/ 6423643 w 8079933"/>
              <a:gd name="connsiteY6199" fmla="*/ 3026595 h 4687251"/>
              <a:gd name="connsiteX6200" fmla="*/ 6421906 w 8079933"/>
              <a:gd name="connsiteY6200" fmla="*/ 3028111 h 4687251"/>
              <a:gd name="connsiteX6201" fmla="*/ 6416264 w 8079933"/>
              <a:gd name="connsiteY6201" fmla="*/ 3025404 h 4687251"/>
              <a:gd name="connsiteX6202" fmla="*/ 6408016 w 8079933"/>
              <a:gd name="connsiteY6202" fmla="*/ 3024430 h 4687251"/>
              <a:gd name="connsiteX6203" fmla="*/ 6407148 w 8079933"/>
              <a:gd name="connsiteY6203" fmla="*/ 3019991 h 4687251"/>
              <a:gd name="connsiteX6204" fmla="*/ 4174635 w 8079933"/>
              <a:gd name="connsiteY6204" fmla="*/ 3013061 h 4687251"/>
              <a:gd name="connsiteX6205" fmla="*/ 4172413 w 8079933"/>
              <a:gd name="connsiteY6205" fmla="*/ 3013505 h 4687251"/>
              <a:gd name="connsiteX6206" fmla="*/ 4174634 w 8079933"/>
              <a:gd name="connsiteY6206" fmla="*/ 3013062 h 4687251"/>
              <a:gd name="connsiteX6207" fmla="*/ 4175936 w 8079933"/>
              <a:gd name="connsiteY6207" fmla="*/ 3014036 h 4687251"/>
              <a:gd name="connsiteX6208" fmla="*/ 4367794 w 8079933"/>
              <a:gd name="connsiteY6208" fmla="*/ 3013061 h 4687251"/>
              <a:gd name="connsiteX6209" fmla="*/ 4367794 w 8079933"/>
              <a:gd name="connsiteY6209" fmla="*/ 3013061 h 4687251"/>
              <a:gd name="connsiteX6210" fmla="*/ 4368445 w 8079933"/>
              <a:gd name="connsiteY6210" fmla="*/ 3015984 h 4687251"/>
              <a:gd name="connsiteX6211" fmla="*/ 4367400 w 8079933"/>
              <a:gd name="connsiteY6211" fmla="*/ 3021805 h 4687251"/>
              <a:gd name="connsiteX6212" fmla="*/ 4368445 w 8079933"/>
              <a:gd name="connsiteY6212" fmla="*/ 3015984 h 4687251"/>
              <a:gd name="connsiteX6213" fmla="*/ 6447625 w 8079933"/>
              <a:gd name="connsiteY6213" fmla="*/ 3011546 h 4687251"/>
              <a:gd name="connsiteX6214" fmla="*/ 6448602 w 8079933"/>
              <a:gd name="connsiteY6214" fmla="*/ 3014902 h 4687251"/>
              <a:gd name="connsiteX6215" fmla="*/ 6446214 w 8079933"/>
              <a:gd name="connsiteY6215" fmla="*/ 3019558 h 4687251"/>
              <a:gd name="connsiteX6216" fmla="*/ 6441114 w 8079933"/>
              <a:gd name="connsiteY6216" fmla="*/ 3017934 h 4687251"/>
              <a:gd name="connsiteX6217" fmla="*/ 6461407 w 8079933"/>
              <a:gd name="connsiteY6217" fmla="*/ 3011006 h 4687251"/>
              <a:gd name="connsiteX6218" fmla="*/ 6459453 w 8079933"/>
              <a:gd name="connsiteY6218" fmla="*/ 3014795 h 4687251"/>
              <a:gd name="connsiteX6219" fmla="*/ 6461841 w 8079933"/>
              <a:gd name="connsiteY6219" fmla="*/ 3017286 h 4687251"/>
              <a:gd name="connsiteX6220" fmla="*/ 6460322 w 8079933"/>
              <a:gd name="connsiteY6220" fmla="*/ 3024540 h 4687251"/>
              <a:gd name="connsiteX6221" fmla="*/ 6457283 w 8079933"/>
              <a:gd name="connsiteY6221" fmla="*/ 3025623 h 4687251"/>
              <a:gd name="connsiteX6222" fmla="*/ 6455764 w 8079933"/>
              <a:gd name="connsiteY6222" fmla="*/ 3019668 h 4687251"/>
              <a:gd name="connsiteX6223" fmla="*/ 6450664 w 8079933"/>
              <a:gd name="connsiteY6223" fmla="*/ 3018260 h 4687251"/>
              <a:gd name="connsiteX6224" fmla="*/ 6452834 w 8079933"/>
              <a:gd name="connsiteY6224" fmla="*/ 3013496 h 4687251"/>
              <a:gd name="connsiteX6225" fmla="*/ 6456523 w 8079933"/>
              <a:gd name="connsiteY6225" fmla="*/ 3013712 h 4687251"/>
              <a:gd name="connsiteX6226" fmla="*/ 6458802 w 8079933"/>
              <a:gd name="connsiteY6226" fmla="*/ 3011655 h 4687251"/>
              <a:gd name="connsiteX6227" fmla="*/ 4283643 w 8079933"/>
              <a:gd name="connsiteY6227" fmla="*/ 3009299 h 4687251"/>
              <a:gd name="connsiteX6228" fmla="*/ 4283910 w 8079933"/>
              <a:gd name="connsiteY6228" fmla="*/ 3013711 h 4687251"/>
              <a:gd name="connsiteX6229" fmla="*/ 4282992 w 8079933"/>
              <a:gd name="connsiteY6229" fmla="*/ 3015315 h 4687251"/>
              <a:gd name="connsiteX6230" fmla="*/ 4283911 w 8079933"/>
              <a:gd name="connsiteY6230" fmla="*/ 3013711 h 4687251"/>
              <a:gd name="connsiteX6231" fmla="*/ 2291876 w 8079933"/>
              <a:gd name="connsiteY6231" fmla="*/ 3008982 h 4687251"/>
              <a:gd name="connsiteX6232" fmla="*/ 2292739 w 8079933"/>
              <a:gd name="connsiteY6232" fmla="*/ 3011221 h 4687251"/>
              <a:gd name="connsiteX6233" fmla="*/ 2301702 w 8079933"/>
              <a:gd name="connsiteY6233" fmla="*/ 3013535 h 4687251"/>
              <a:gd name="connsiteX6234" fmla="*/ 2300444 w 8079933"/>
              <a:gd name="connsiteY6234" fmla="*/ 3011221 h 4687251"/>
              <a:gd name="connsiteX6235" fmla="*/ 6661836 w 8079933"/>
              <a:gd name="connsiteY6235" fmla="*/ 3006889 h 4687251"/>
              <a:gd name="connsiteX6236" fmla="*/ 6650225 w 8079933"/>
              <a:gd name="connsiteY6236" fmla="*/ 3007214 h 4687251"/>
              <a:gd name="connsiteX6237" fmla="*/ 6646643 w 8079933"/>
              <a:gd name="connsiteY6237" fmla="*/ 3010354 h 4687251"/>
              <a:gd name="connsiteX6238" fmla="*/ 6633405 w 8079933"/>
              <a:gd name="connsiteY6238" fmla="*/ 3015767 h 4687251"/>
              <a:gd name="connsiteX6239" fmla="*/ 6620274 w 8079933"/>
              <a:gd name="connsiteY6239" fmla="*/ 3015010 h 4687251"/>
              <a:gd name="connsiteX6240" fmla="*/ 6616909 w 8079933"/>
              <a:gd name="connsiteY6240" fmla="*/ 3016742 h 4687251"/>
              <a:gd name="connsiteX6241" fmla="*/ 6610942 w 8079933"/>
              <a:gd name="connsiteY6241" fmla="*/ 3016308 h 4687251"/>
              <a:gd name="connsiteX6242" fmla="*/ 6610182 w 8079933"/>
              <a:gd name="connsiteY6242" fmla="*/ 3019124 h 4687251"/>
              <a:gd name="connsiteX6243" fmla="*/ 6603237 w 8079933"/>
              <a:gd name="connsiteY6243" fmla="*/ 3020964 h 4687251"/>
              <a:gd name="connsiteX6244" fmla="*/ 6599767 w 8079933"/>
              <a:gd name="connsiteY6244" fmla="*/ 3020532 h 4687251"/>
              <a:gd name="connsiteX6245" fmla="*/ 6599767 w 8079933"/>
              <a:gd name="connsiteY6245" fmla="*/ 3020533 h 4687251"/>
              <a:gd name="connsiteX6246" fmla="*/ 6603239 w 8079933"/>
              <a:gd name="connsiteY6246" fmla="*/ 3020966 h 4687251"/>
              <a:gd name="connsiteX6247" fmla="*/ 6610184 w 8079933"/>
              <a:gd name="connsiteY6247" fmla="*/ 3019125 h 4687251"/>
              <a:gd name="connsiteX6248" fmla="*/ 6610944 w 8079933"/>
              <a:gd name="connsiteY6248" fmla="*/ 3016310 h 4687251"/>
              <a:gd name="connsiteX6249" fmla="*/ 6616912 w 8079933"/>
              <a:gd name="connsiteY6249" fmla="*/ 3016743 h 4687251"/>
              <a:gd name="connsiteX6250" fmla="*/ 6620276 w 8079933"/>
              <a:gd name="connsiteY6250" fmla="*/ 3015011 h 4687251"/>
              <a:gd name="connsiteX6251" fmla="*/ 6633407 w 8079933"/>
              <a:gd name="connsiteY6251" fmla="*/ 3015769 h 4687251"/>
              <a:gd name="connsiteX6252" fmla="*/ 6646646 w 8079933"/>
              <a:gd name="connsiteY6252" fmla="*/ 3010355 h 4687251"/>
              <a:gd name="connsiteX6253" fmla="*/ 6650227 w 8079933"/>
              <a:gd name="connsiteY6253" fmla="*/ 3007215 h 4687251"/>
              <a:gd name="connsiteX6254" fmla="*/ 6661838 w 8079933"/>
              <a:gd name="connsiteY6254" fmla="*/ 3006891 h 4687251"/>
              <a:gd name="connsiteX6255" fmla="*/ 6667913 w 8079933"/>
              <a:gd name="connsiteY6255" fmla="*/ 3009813 h 4687251"/>
              <a:gd name="connsiteX6256" fmla="*/ 6667913 w 8079933"/>
              <a:gd name="connsiteY6256" fmla="*/ 3009812 h 4687251"/>
              <a:gd name="connsiteX6257" fmla="*/ 6283982 w 8079933"/>
              <a:gd name="connsiteY6257" fmla="*/ 3006675 h 4687251"/>
              <a:gd name="connsiteX6258" fmla="*/ 6287129 w 8079933"/>
              <a:gd name="connsiteY6258" fmla="*/ 3007865 h 4687251"/>
              <a:gd name="connsiteX6259" fmla="*/ 6290710 w 8079933"/>
              <a:gd name="connsiteY6259" fmla="*/ 3014579 h 4687251"/>
              <a:gd name="connsiteX6260" fmla="*/ 6296244 w 8079933"/>
              <a:gd name="connsiteY6260" fmla="*/ 3018909 h 4687251"/>
              <a:gd name="connsiteX6261" fmla="*/ 6294725 w 8079933"/>
              <a:gd name="connsiteY6261" fmla="*/ 3022266 h 4687251"/>
              <a:gd name="connsiteX6262" fmla="*/ 6293748 w 8079933"/>
              <a:gd name="connsiteY6262" fmla="*/ 3028546 h 4687251"/>
              <a:gd name="connsiteX6263" fmla="*/ 6291578 w 8079933"/>
              <a:gd name="connsiteY6263" fmla="*/ 3029520 h 4687251"/>
              <a:gd name="connsiteX6264" fmla="*/ 6287129 w 8079933"/>
              <a:gd name="connsiteY6264" fmla="*/ 3021075 h 4687251"/>
              <a:gd name="connsiteX6265" fmla="*/ 6283656 w 8079933"/>
              <a:gd name="connsiteY6265" fmla="*/ 3020209 h 4687251"/>
              <a:gd name="connsiteX6266" fmla="*/ 6282572 w 8079933"/>
              <a:gd name="connsiteY6266" fmla="*/ 3014903 h 4687251"/>
              <a:gd name="connsiteX6267" fmla="*/ 6277037 w 8079933"/>
              <a:gd name="connsiteY6267" fmla="*/ 3009381 h 4687251"/>
              <a:gd name="connsiteX6268" fmla="*/ 6281703 w 8079933"/>
              <a:gd name="connsiteY6268" fmla="*/ 3009273 h 4687251"/>
              <a:gd name="connsiteX6269" fmla="*/ 6399662 w 8079933"/>
              <a:gd name="connsiteY6269" fmla="*/ 3006458 h 4687251"/>
              <a:gd name="connsiteX6270" fmla="*/ 6405956 w 8079933"/>
              <a:gd name="connsiteY6270" fmla="*/ 3008731 h 4687251"/>
              <a:gd name="connsiteX6271" fmla="*/ 6408452 w 8079933"/>
              <a:gd name="connsiteY6271" fmla="*/ 3012304 h 4687251"/>
              <a:gd name="connsiteX6272" fmla="*/ 6405414 w 8079933"/>
              <a:gd name="connsiteY6272" fmla="*/ 3017501 h 4687251"/>
              <a:gd name="connsiteX6273" fmla="*/ 6403135 w 8079933"/>
              <a:gd name="connsiteY6273" fmla="*/ 3015444 h 4687251"/>
              <a:gd name="connsiteX6274" fmla="*/ 6397166 w 8079933"/>
              <a:gd name="connsiteY6274" fmla="*/ 3006674 h 4687251"/>
              <a:gd name="connsiteX6275" fmla="*/ 2558279 w 8079933"/>
              <a:gd name="connsiteY6275" fmla="*/ 3006239 h 4687251"/>
              <a:gd name="connsiteX6276" fmla="*/ 2557278 w 8079933"/>
              <a:gd name="connsiteY6276" fmla="*/ 3006506 h 4687251"/>
              <a:gd name="connsiteX6277" fmla="*/ 2557303 w 8079933"/>
              <a:gd name="connsiteY6277" fmla="*/ 3006565 h 4687251"/>
              <a:gd name="connsiteX6278" fmla="*/ 2558419 w 8079933"/>
              <a:gd name="connsiteY6278" fmla="*/ 3006565 h 4687251"/>
              <a:gd name="connsiteX6279" fmla="*/ 4769740 w 8079933"/>
              <a:gd name="connsiteY6279" fmla="*/ 3006132 h 4687251"/>
              <a:gd name="connsiteX6280" fmla="*/ 4769957 w 8079933"/>
              <a:gd name="connsiteY6280" fmla="*/ 3008189 h 4687251"/>
              <a:gd name="connsiteX6281" fmla="*/ 4769741 w 8079933"/>
              <a:gd name="connsiteY6281" fmla="*/ 3006132 h 4687251"/>
              <a:gd name="connsiteX6282" fmla="*/ 4273276 w 8079933"/>
              <a:gd name="connsiteY6282" fmla="*/ 3004616 h 4687251"/>
              <a:gd name="connsiteX6283" fmla="*/ 4268067 w 8079933"/>
              <a:gd name="connsiteY6283" fmla="*/ 3006564 h 4687251"/>
              <a:gd name="connsiteX6284" fmla="*/ 4262750 w 8079933"/>
              <a:gd name="connsiteY6284" fmla="*/ 3007972 h 4687251"/>
              <a:gd name="connsiteX6285" fmla="*/ 4259386 w 8079933"/>
              <a:gd name="connsiteY6285" fmla="*/ 3007106 h 4687251"/>
              <a:gd name="connsiteX6286" fmla="*/ 4255697 w 8079933"/>
              <a:gd name="connsiteY6286" fmla="*/ 3009163 h 4687251"/>
              <a:gd name="connsiteX6287" fmla="*/ 4253309 w 8079933"/>
              <a:gd name="connsiteY6287" fmla="*/ 3007864 h 4687251"/>
              <a:gd name="connsiteX6288" fmla="*/ 4253633 w 8079933"/>
              <a:gd name="connsiteY6288" fmla="*/ 3006895 h 4687251"/>
              <a:gd name="connsiteX6289" fmla="*/ 4253309 w 8079933"/>
              <a:gd name="connsiteY6289" fmla="*/ 3007864 h 4687251"/>
              <a:gd name="connsiteX6290" fmla="*/ 4255696 w 8079933"/>
              <a:gd name="connsiteY6290" fmla="*/ 3009164 h 4687251"/>
              <a:gd name="connsiteX6291" fmla="*/ 4259386 w 8079933"/>
              <a:gd name="connsiteY6291" fmla="*/ 3007107 h 4687251"/>
              <a:gd name="connsiteX6292" fmla="*/ 4262750 w 8079933"/>
              <a:gd name="connsiteY6292" fmla="*/ 3007973 h 4687251"/>
              <a:gd name="connsiteX6293" fmla="*/ 4268067 w 8079933"/>
              <a:gd name="connsiteY6293" fmla="*/ 3006566 h 4687251"/>
              <a:gd name="connsiteX6294" fmla="*/ 4273276 w 8079933"/>
              <a:gd name="connsiteY6294" fmla="*/ 3004617 h 4687251"/>
              <a:gd name="connsiteX6295" fmla="*/ 4280872 w 8079933"/>
              <a:gd name="connsiteY6295" fmla="*/ 3004725 h 4687251"/>
              <a:gd name="connsiteX6296" fmla="*/ 4283476 w 8079933"/>
              <a:gd name="connsiteY6296" fmla="*/ 3006565 h 4687251"/>
              <a:gd name="connsiteX6297" fmla="*/ 4283476 w 8079933"/>
              <a:gd name="connsiteY6297" fmla="*/ 3006564 h 4687251"/>
              <a:gd name="connsiteX6298" fmla="*/ 4280872 w 8079933"/>
              <a:gd name="connsiteY6298" fmla="*/ 3004724 h 4687251"/>
              <a:gd name="connsiteX6299" fmla="*/ 6943112 w 8079933"/>
              <a:gd name="connsiteY6299" fmla="*/ 3003426 h 4687251"/>
              <a:gd name="connsiteX6300" fmla="*/ 6949840 w 8079933"/>
              <a:gd name="connsiteY6300" fmla="*/ 3004942 h 4687251"/>
              <a:gd name="connsiteX6301" fmla="*/ 6950382 w 8079933"/>
              <a:gd name="connsiteY6301" fmla="*/ 3007756 h 4687251"/>
              <a:gd name="connsiteX6302" fmla="*/ 6952553 w 8079933"/>
              <a:gd name="connsiteY6302" fmla="*/ 3010138 h 4687251"/>
              <a:gd name="connsiteX6303" fmla="*/ 6950382 w 8079933"/>
              <a:gd name="connsiteY6303" fmla="*/ 3011871 h 4687251"/>
              <a:gd name="connsiteX6304" fmla="*/ 6948211 w 8079933"/>
              <a:gd name="connsiteY6304" fmla="*/ 3015227 h 4687251"/>
              <a:gd name="connsiteX6305" fmla="*/ 6946693 w 8079933"/>
              <a:gd name="connsiteY6305" fmla="*/ 3019450 h 4687251"/>
              <a:gd name="connsiteX6306" fmla="*/ 6943437 w 8079933"/>
              <a:gd name="connsiteY6306" fmla="*/ 3021615 h 4687251"/>
              <a:gd name="connsiteX6307" fmla="*/ 6940832 w 8079933"/>
              <a:gd name="connsiteY6307" fmla="*/ 3024755 h 4687251"/>
              <a:gd name="connsiteX6308" fmla="*/ 6937795 w 8079933"/>
              <a:gd name="connsiteY6308" fmla="*/ 3025080 h 4687251"/>
              <a:gd name="connsiteX6309" fmla="*/ 6935733 w 8079933"/>
              <a:gd name="connsiteY6309" fmla="*/ 3028978 h 4687251"/>
              <a:gd name="connsiteX6310" fmla="*/ 6928137 w 8079933"/>
              <a:gd name="connsiteY6310" fmla="*/ 3034175 h 4687251"/>
              <a:gd name="connsiteX6311" fmla="*/ 6910014 w 8079933"/>
              <a:gd name="connsiteY6311" fmla="*/ 3038289 h 4687251"/>
              <a:gd name="connsiteX6312" fmla="*/ 6905239 w 8079933"/>
              <a:gd name="connsiteY6312" fmla="*/ 3036774 h 4687251"/>
              <a:gd name="connsiteX6313" fmla="*/ 6904045 w 8079933"/>
              <a:gd name="connsiteY6313" fmla="*/ 3034391 h 4687251"/>
              <a:gd name="connsiteX6314" fmla="*/ 6900247 w 8079933"/>
              <a:gd name="connsiteY6314" fmla="*/ 3032226 h 4687251"/>
              <a:gd name="connsiteX6315" fmla="*/ 6894497 w 8079933"/>
              <a:gd name="connsiteY6315" fmla="*/ 3032117 h 4687251"/>
              <a:gd name="connsiteX6316" fmla="*/ 6893520 w 8079933"/>
              <a:gd name="connsiteY6316" fmla="*/ 3033525 h 4687251"/>
              <a:gd name="connsiteX6317" fmla="*/ 6888094 w 8079933"/>
              <a:gd name="connsiteY6317" fmla="*/ 3033850 h 4687251"/>
              <a:gd name="connsiteX6318" fmla="*/ 6878002 w 8079933"/>
              <a:gd name="connsiteY6318" fmla="*/ 3032767 h 4687251"/>
              <a:gd name="connsiteX6319" fmla="*/ 6875071 w 8079933"/>
              <a:gd name="connsiteY6319" fmla="*/ 3034175 h 4687251"/>
              <a:gd name="connsiteX6320" fmla="*/ 6870080 w 8079933"/>
              <a:gd name="connsiteY6320" fmla="*/ 3034175 h 4687251"/>
              <a:gd name="connsiteX6321" fmla="*/ 6868019 w 8079933"/>
              <a:gd name="connsiteY6321" fmla="*/ 3031468 h 4687251"/>
              <a:gd name="connsiteX6322" fmla="*/ 6862267 w 8079933"/>
              <a:gd name="connsiteY6322" fmla="*/ 3030710 h 4687251"/>
              <a:gd name="connsiteX6323" fmla="*/ 6853694 w 8079933"/>
              <a:gd name="connsiteY6323" fmla="*/ 3035041 h 4687251"/>
              <a:gd name="connsiteX6324" fmla="*/ 6845989 w 8079933"/>
              <a:gd name="connsiteY6324" fmla="*/ 3034824 h 4687251"/>
              <a:gd name="connsiteX6325" fmla="*/ 6839370 w 8079933"/>
              <a:gd name="connsiteY6325" fmla="*/ 3031793 h 4687251"/>
              <a:gd name="connsiteX6326" fmla="*/ 6833836 w 8079933"/>
              <a:gd name="connsiteY6326" fmla="*/ 3033633 h 4687251"/>
              <a:gd name="connsiteX6327" fmla="*/ 6829603 w 8079933"/>
              <a:gd name="connsiteY6327" fmla="*/ 3037964 h 4687251"/>
              <a:gd name="connsiteX6328" fmla="*/ 6825806 w 8079933"/>
              <a:gd name="connsiteY6328" fmla="*/ 3046951 h 4687251"/>
              <a:gd name="connsiteX6329" fmla="*/ 6825046 w 8079933"/>
              <a:gd name="connsiteY6329" fmla="*/ 3056154 h 4687251"/>
              <a:gd name="connsiteX6330" fmla="*/ 6828410 w 8079933"/>
              <a:gd name="connsiteY6330" fmla="*/ 3064599 h 4687251"/>
              <a:gd name="connsiteX6331" fmla="*/ 6834595 w 8079933"/>
              <a:gd name="connsiteY6331" fmla="*/ 3069904 h 4687251"/>
              <a:gd name="connsiteX6332" fmla="*/ 6840781 w 8079933"/>
              <a:gd name="connsiteY6332" fmla="*/ 3076833 h 4687251"/>
              <a:gd name="connsiteX6333" fmla="*/ 6841974 w 8079933"/>
              <a:gd name="connsiteY6333" fmla="*/ 3078999 h 4687251"/>
              <a:gd name="connsiteX6334" fmla="*/ 6846966 w 8079933"/>
              <a:gd name="connsiteY6334" fmla="*/ 3079757 h 4687251"/>
              <a:gd name="connsiteX6335" fmla="*/ 6851632 w 8079933"/>
              <a:gd name="connsiteY6335" fmla="*/ 3077375 h 4687251"/>
              <a:gd name="connsiteX6336" fmla="*/ 6854888 w 8079933"/>
              <a:gd name="connsiteY6336" fmla="*/ 3069362 h 4687251"/>
              <a:gd name="connsiteX6337" fmla="*/ 6859554 w 8079933"/>
              <a:gd name="connsiteY6337" fmla="*/ 3063408 h 4687251"/>
              <a:gd name="connsiteX6338" fmla="*/ 6863895 w 8079933"/>
              <a:gd name="connsiteY6338" fmla="*/ 3064599 h 4687251"/>
              <a:gd name="connsiteX6339" fmla="*/ 6868343 w 8079933"/>
              <a:gd name="connsiteY6339" fmla="*/ 3067305 h 4687251"/>
              <a:gd name="connsiteX6340" fmla="*/ 6871816 w 8079933"/>
              <a:gd name="connsiteY6340" fmla="*/ 3066548 h 4687251"/>
              <a:gd name="connsiteX6341" fmla="*/ 6876265 w 8079933"/>
              <a:gd name="connsiteY6341" fmla="*/ 3066872 h 4687251"/>
              <a:gd name="connsiteX6342" fmla="*/ 6880389 w 8079933"/>
              <a:gd name="connsiteY6342" fmla="*/ 3062542 h 4687251"/>
              <a:gd name="connsiteX6343" fmla="*/ 6883862 w 8079933"/>
              <a:gd name="connsiteY6343" fmla="*/ 3061567 h 4687251"/>
              <a:gd name="connsiteX6344" fmla="*/ 6890915 w 8079933"/>
              <a:gd name="connsiteY6344" fmla="*/ 3061567 h 4687251"/>
              <a:gd name="connsiteX6345" fmla="*/ 6895581 w 8079933"/>
              <a:gd name="connsiteY6345" fmla="*/ 3058211 h 4687251"/>
              <a:gd name="connsiteX6346" fmla="*/ 6906216 w 8079933"/>
              <a:gd name="connsiteY6346" fmla="*/ 3057236 h 4687251"/>
              <a:gd name="connsiteX6347" fmla="*/ 6911208 w 8079933"/>
              <a:gd name="connsiteY6347" fmla="*/ 3059077 h 4687251"/>
              <a:gd name="connsiteX6348" fmla="*/ 6911208 w 8079933"/>
              <a:gd name="connsiteY6348" fmla="*/ 3062867 h 4687251"/>
              <a:gd name="connsiteX6349" fmla="*/ 6907084 w 8079933"/>
              <a:gd name="connsiteY6349" fmla="*/ 3068713 h 4687251"/>
              <a:gd name="connsiteX6350" fmla="*/ 6904154 w 8079933"/>
              <a:gd name="connsiteY6350" fmla="*/ 3068388 h 4687251"/>
              <a:gd name="connsiteX6351" fmla="*/ 6899488 w 8079933"/>
              <a:gd name="connsiteY6351" fmla="*/ 3066006 h 4687251"/>
              <a:gd name="connsiteX6352" fmla="*/ 6894388 w 8079933"/>
              <a:gd name="connsiteY6352" fmla="*/ 3067198 h 4687251"/>
              <a:gd name="connsiteX6353" fmla="*/ 6894171 w 8079933"/>
              <a:gd name="connsiteY6353" fmla="*/ 3070445 h 4687251"/>
              <a:gd name="connsiteX6354" fmla="*/ 6889830 w 8079933"/>
              <a:gd name="connsiteY6354" fmla="*/ 3072719 h 4687251"/>
              <a:gd name="connsiteX6355" fmla="*/ 6886575 w 8079933"/>
              <a:gd name="connsiteY6355" fmla="*/ 3078241 h 4687251"/>
              <a:gd name="connsiteX6356" fmla="*/ 6879738 w 8079933"/>
              <a:gd name="connsiteY6356" fmla="*/ 3083546 h 4687251"/>
              <a:gd name="connsiteX6357" fmla="*/ 6870080 w 8079933"/>
              <a:gd name="connsiteY6357" fmla="*/ 3087011 h 4687251"/>
              <a:gd name="connsiteX6358" fmla="*/ 6868995 w 8079933"/>
              <a:gd name="connsiteY6358" fmla="*/ 3089934 h 4687251"/>
              <a:gd name="connsiteX6359" fmla="*/ 6865197 w 8079933"/>
              <a:gd name="connsiteY6359" fmla="*/ 3092749 h 4687251"/>
              <a:gd name="connsiteX6360" fmla="*/ 6860964 w 8079933"/>
              <a:gd name="connsiteY6360" fmla="*/ 3092641 h 4687251"/>
              <a:gd name="connsiteX6361" fmla="*/ 6859880 w 8079933"/>
              <a:gd name="connsiteY6361" fmla="*/ 3090259 h 4687251"/>
              <a:gd name="connsiteX6362" fmla="*/ 6858034 w 8079933"/>
              <a:gd name="connsiteY6362" fmla="*/ 3090043 h 4687251"/>
              <a:gd name="connsiteX6363" fmla="*/ 6857492 w 8079933"/>
              <a:gd name="connsiteY6363" fmla="*/ 3091883 h 4687251"/>
              <a:gd name="connsiteX6364" fmla="*/ 6859880 w 8079933"/>
              <a:gd name="connsiteY6364" fmla="*/ 3096214 h 4687251"/>
              <a:gd name="connsiteX6365" fmla="*/ 6863895 w 8079933"/>
              <a:gd name="connsiteY6365" fmla="*/ 3099029 h 4687251"/>
              <a:gd name="connsiteX6366" fmla="*/ 6870405 w 8079933"/>
              <a:gd name="connsiteY6366" fmla="*/ 3106391 h 4687251"/>
              <a:gd name="connsiteX6367" fmla="*/ 6871599 w 8079933"/>
              <a:gd name="connsiteY6367" fmla="*/ 3110830 h 4687251"/>
              <a:gd name="connsiteX6368" fmla="*/ 6874312 w 8079933"/>
              <a:gd name="connsiteY6368" fmla="*/ 3111047 h 4687251"/>
              <a:gd name="connsiteX6369" fmla="*/ 6878436 w 8079933"/>
              <a:gd name="connsiteY6369" fmla="*/ 3113753 h 4687251"/>
              <a:gd name="connsiteX6370" fmla="*/ 6878978 w 8079933"/>
              <a:gd name="connsiteY6370" fmla="*/ 3116352 h 4687251"/>
              <a:gd name="connsiteX6371" fmla="*/ 6877676 w 8079933"/>
              <a:gd name="connsiteY6371" fmla="*/ 3118518 h 4687251"/>
              <a:gd name="connsiteX6372" fmla="*/ 6880932 w 8079933"/>
              <a:gd name="connsiteY6372" fmla="*/ 3119600 h 4687251"/>
              <a:gd name="connsiteX6373" fmla="*/ 6883102 w 8079933"/>
              <a:gd name="connsiteY6373" fmla="*/ 3121874 h 4687251"/>
              <a:gd name="connsiteX6374" fmla="*/ 6882126 w 8079933"/>
              <a:gd name="connsiteY6374" fmla="*/ 3124256 h 4687251"/>
              <a:gd name="connsiteX6375" fmla="*/ 6880064 w 8079933"/>
              <a:gd name="connsiteY6375" fmla="*/ 3124581 h 4687251"/>
              <a:gd name="connsiteX6376" fmla="*/ 6881366 w 8079933"/>
              <a:gd name="connsiteY6376" fmla="*/ 3127504 h 4687251"/>
              <a:gd name="connsiteX6377" fmla="*/ 6879738 w 8079933"/>
              <a:gd name="connsiteY6377" fmla="*/ 3126855 h 4687251"/>
              <a:gd name="connsiteX6378" fmla="*/ 6878653 w 8079933"/>
              <a:gd name="connsiteY6378" fmla="*/ 3129020 h 4687251"/>
              <a:gd name="connsiteX6379" fmla="*/ 6875940 w 8079933"/>
              <a:gd name="connsiteY6379" fmla="*/ 3131835 h 4687251"/>
              <a:gd name="connsiteX6380" fmla="*/ 6877242 w 8079933"/>
              <a:gd name="connsiteY6380" fmla="*/ 3134758 h 4687251"/>
              <a:gd name="connsiteX6381" fmla="*/ 6881366 w 8079933"/>
              <a:gd name="connsiteY6381" fmla="*/ 3135949 h 4687251"/>
              <a:gd name="connsiteX6382" fmla="*/ 6881583 w 8079933"/>
              <a:gd name="connsiteY6382" fmla="*/ 3138548 h 4687251"/>
              <a:gd name="connsiteX6383" fmla="*/ 6883645 w 8079933"/>
              <a:gd name="connsiteY6383" fmla="*/ 3137248 h 4687251"/>
              <a:gd name="connsiteX6384" fmla="*/ 6885707 w 8079933"/>
              <a:gd name="connsiteY6384" fmla="*/ 3137790 h 4687251"/>
              <a:gd name="connsiteX6385" fmla="*/ 6885598 w 8079933"/>
              <a:gd name="connsiteY6385" fmla="*/ 3140063 h 4687251"/>
              <a:gd name="connsiteX6386" fmla="*/ 6887768 w 8079933"/>
              <a:gd name="connsiteY6386" fmla="*/ 3140388 h 4687251"/>
              <a:gd name="connsiteX6387" fmla="*/ 6888094 w 8079933"/>
              <a:gd name="connsiteY6387" fmla="*/ 3143853 h 4687251"/>
              <a:gd name="connsiteX6388" fmla="*/ 6892651 w 8079933"/>
              <a:gd name="connsiteY6388" fmla="*/ 3143312 h 4687251"/>
              <a:gd name="connsiteX6389" fmla="*/ 6894713 w 8079933"/>
              <a:gd name="connsiteY6389" fmla="*/ 3143961 h 4687251"/>
              <a:gd name="connsiteX6390" fmla="*/ 6896558 w 8079933"/>
              <a:gd name="connsiteY6390" fmla="*/ 3143203 h 4687251"/>
              <a:gd name="connsiteX6391" fmla="*/ 6902743 w 8079933"/>
              <a:gd name="connsiteY6391" fmla="*/ 3143636 h 4687251"/>
              <a:gd name="connsiteX6392" fmla="*/ 6903503 w 8079933"/>
              <a:gd name="connsiteY6392" fmla="*/ 3145693 h 4687251"/>
              <a:gd name="connsiteX6393" fmla="*/ 6901441 w 8079933"/>
              <a:gd name="connsiteY6393" fmla="*/ 3149158 h 4687251"/>
              <a:gd name="connsiteX6394" fmla="*/ 6897969 w 8079933"/>
              <a:gd name="connsiteY6394" fmla="*/ 3149158 h 4687251"/>
              <a:gd name="connsiteX6395" fmla="*/ 6896124 w 8079933"/>
              <a:gd name="connsiteY6395" fmla="*/ 3148184 h 4687251"/>
              <a:gd name="connsiteX6396" fmla="*/ 6893520 w 8079933"/>
              <a:gd name="connsiteY6396" fmla="*/ 3150890 h 4687251"/>
              <a:gd name="connsiteX6397" fmla="*/ 6886466 w 8079933"/>
              <a:gd name="connsiteY6397" fmla="*/ 3150349 h 4687251"/>
              <a:gd name="connsiteX6398" fmla="*/ 6880714 w 8079933"/>
              <a:gd name="connsiteY6398" fmla="*/ 3153597 h 4687251"/>
              <a:gd name="connsiteX6399" fmla="*/ 6876591 w 8079933"/>
              <a:gd name="connsiteY6399" fmla="*/ 3154680 h 4687251"/>
              <a:gd name="connsiteX6400" fmla="*/ 6872468 w 8079933"/>
              <a:gd name="connsiteY6400" fmla="*/ 3158469 h 4687251"/>
              <a:gd name="connsiteX6401" fmla="*/ 6873878 w 8079933"/>
              <a:gd name="connsiteY6401" fmla="*/ 3161934 h 4687251"/>
              <a:gd name="connsiteX6402" fmla="*/ 6874204 w 8079933"/>
              <a:gd name="connsiteY6402" fmla="*/ 3163558 h 4687251"/>
              <a:gd name="connsiteX6403" fmla="*/ 6870188 w 8079933"/>
              <a:gd name="connsiteY6403" fmla="*/ 3164316 h 4687251"/>
              <a:gd name="connsiteX6404" fmla="*/ 6864871 w 8079933"/>
              <a:gd name="connsiteY6404" fmla="*/ 3162042 h 4687251"/>
              <a:gd name="connsiteX6405" fmla="*/ 6862267 w 8079933"/>
              <a:gd name="connsiteY6405" fmla="*/ 3162909 h 4687251"/>
              <a:gd name="connsiteX6406" fmla="*/ 6858794 w 8079933"/>
              <a:gd name="connsiteY6406" fmla="*/ 3161718 h 4687251"/>
              <a:gd name="connsiteX6407" fmla="*/ 6857167 w 8079933"/>
              <a:gd name="connsiteY6407" fmla="*/ 3156953 h 4687251"/>
              <a:gd name="connsiteX6408" fmla="*/ 6858360 w 8079933"/>
              <a:gd name="connsiteY6408" fmla="*/ 3148184 h 4687251"/>
              <a:gd name="connsiteX6409" fmla="*/ 6860205 w 8079933"/>
              <a:gd name="connsiteY6409" fmla="*/ 3148508 h 4687251"/>
              <a:gd name="connsiteX6410" fmla="*/ 6859337 w 8079933"/>
              <a:gd name="connsiteY6410" fmla="*/ 3143961 h 4687251"/>
              <a:gd name="connsiteX6411" fmla="*/ 6853911 w 8079933"/>
              <a:gd name="connsiteY6411" fmla="*/ 3140713 h 4687251"/>
              <a:gd name="connsiteX6412" fmla="*/ 6850982 w 8079933"/>
              <a:gd name="connsiteY6412" fmla="*/ 3137140 h 4687251"/>
              <a:gd name="connsiteX6413" fmla="*/ 6847617 w 8079933"/>
              <a:gd name="connsiteY6413" fmla="*/ 3136599 h 4687251"/>
              <a:gd name="connsiteX6414" fmla="*/ 6845121 w 8079933"/>
              <a:gd name="connsiteY6414" fmla="*/ 3131835 h 4687251"/>
              <a:gd name="connsiteX6415" fmla="*/ 6846098 w 8079933"/>
              <a:gd name="connsiteY6415" fmla="*/ 3127504 h 4687251"/>
              <a:gd name="connsiteX6416" fmla="*/ 6849896 w 8079933"/>
              <a:gd name="connsiteY6416" fmla="*/ 3123173 h 4687251"/>
              <a:gd name="connsiteX6417" fmla="*/ 6849896 w 8079933"/>
              <a:gd name="connsiteY6417" fmla="*/ 3118409 h 4687251"/>
              <a:gd name="connsiteX6418" fmla="*/ 6847617 w 8079933"/>
              <a:gd name="connsiteY6418" fmla="*/ 3114404 h 4687251"/>
              <a:gd name="connsiteX6419" fmla="*/ 6848160 w 8079933"/>
              <a:gd name="connsiteY6419" fmla="*/ 3112021 h 4687251"/>
              <a:gd name="connsiteX6420" fmla="*/ 6843385 w 8079933"/>
              <a:gd name="connsiteY6420" fmla="*/ 3110289 h 4687251"/>
              <a:gd name="connsiteX6421" fmla="*/ 6838502 w 8079933"/>
              <a:gd name="connsiteY6421" fmla="*/ 3111372 h 4687251"/>
              <a:gd name="connsiteX6422" fmla="*/ 6836440 w 8079933"/>
              <a:gd name="connsiteY6422" fmla="*/ 3114620 h 4687251"/>
              <a:gd name="connsiteX6423" fmla="*/ 6831232 w 8079933"/>
              <a:gd name="connsiteY6423" fmla="*/ 3117868 h 4687251"/>
              <a:gd name="connsiteX6424" fmla="*/ 6831232 w 8079933"/>
              <a:gd name="connsiteY6424" fmla="*/ 3120141 h 4687251"/>
              <a:gd name="connsiteX6425" fmla="*/ 6834378 w 8079933"/>
              <a:gd name="connsiteY6425" fmla="*/ 3122849 h 4687251"/>
              <a:gd name="connsiteX6426" fmla="*/ 6835789 w 8079933"/>
              <a:gd name="connsiteY6426" fmla="*/ 3130211 h 4687251"/>
              <a:gd name="connsiteX6427" fmla="*/ 6834162 w 8079933"/>
              <a:gd name="connsiteY6427" fmla="*/ 3136491 h 4687251"/>
              <a:gd name="connsiteX6428" fmla="*/ 6829603 w 8079933"/>
              <a:gd name="connsiteY6428" fmla="*/ 3143312 h 4687251"/>
              <a:gd name="connsiteX6429" fmla="*/ 6831449 w 8079933"/>
              <a:gd name="connsiteY6429" fmla="*/ 3145369 h 4687251"/>
              <a:gd name="connsiteX6430" fmla="*/ 6832316 w 8079933"/>
              <a:gd name="connsiteY6430" fmla="*/ 3152731 h 4687251"/>
              <a:gd name="connsiteX6431" fmla="*/ 6831232 w 8079933"/>
              <a:gd name="connsiteY6431" fmla="*/ 3160743 h 4687251"/>
              <a:gd name="connsiteX6432" fmla="*/ 6828736 w 8079933"/>
              <a:gd name="connsiteY6432" fmla="*/ 3164966 h 4687251"/>
              <a:gd name="connsiteX6433" fmla="*/ 6829387 w 8079933"/>
              <a:gd name="connsiteY6433" fmla="*/ 3171137 h 4687251"/>
              <a:gd name="connsiteX6434" fmla="*/ 6832642 w 8079933"/>
              <a:gd name="connsiteY6434" fmla="*/ 3173411 h 4687251"/>
              <a:gd name="connsiteX6435" fmla="*/ 6833185 w 8079933"/>
              <a:gd name="connsiteY6435" fmla="*/ 3178283 h 4687251"/>
              <a:gd name="connsiteX6436" fmla="*/ 6832316 w 8079933"/>
              <a:gd name="connsiteY6436" fmla="*/ 3181964 h 4687251"/>
              <a:gd name="connsiteX6437" fmla="*/ 6829387 w 8079933"/>
              <a:gd name="connsiteY6437" fmla="*/ 3179799 h 4687251"/>
              <a:gd name="connsiteX6438" fmla="*/ 6825480 w 8079933"/>
              <a:gd name="connsiteY6438" fmla="*/ 3180448 h 4687251"/>
              <a:gd name="connsiteX6439" fmla="*/ 6820922 w 8079933"/>
              <a:gd name="connsiteY6439" fmla="*/ 3179365 h 4687251"/>
              <a:gd name="connsiteX6440" fmla="*/ 6818752 w 8079933"/>
              <a:gd name="connsiteY6440" fmla="*/ 3181964 h 4687251"/>
              <a:gd name="connsiteX6441" fmla="*/ 6813760 w 8079933"/>
              <a:gd name="connsiteY6441" fmla="*/ 3182181 h 4687251"/>
              <a:gd name="connsiteX6442" fmla="*/ 6810396 w 8079933"/>
              <a:gd name="connsiteY6442" fmla="*/ 3180124 h 4687251"/>
              <a:gd name="connsiteX6443" fmla="*/ 6807900 w 8079933"/>
              <a:gd name="connsiteY6443" fmla="*/ 3180124 h 4687251"/>
              <a:gd name="connsiteX6444" fmla="*/ 6807140 w 8079933"/>
              <a:gd name="connsiteY6444" fmla="*/ 3172003 h 4687251"/>
              <a:gd name="connsiteX6445" fmla="*/ 6807684 w 8079933"/>
              <a:gd name="connsiteY6445" fmla="*/ 3161718 h 4687251"/>
              <a:gd name="connsiteX6446" fmla="*/ 6811155 w 8079933"/>
              <a:gd name="connsiteY6446" fmla="*/ 3156737 h 4687251"/>
              <a:gd name="connsiteX6447" fmla="*/ 6812458 w 8079933"/>
              <a:gd name="connsiteY6447" fmla="*/ 3150565 h 4687251"/>
              <a:gd name="connsiteX6448" fmla="*/ 6814194 w 8079933"/>
              <a:gd name="connsiteY6448" fmla="*/ 3147859 h 4687251"/>
              <a:gd name="connsiteX6449" fmla="*/ 6810070 w 8079933"/>
              <a:gd name="connsiteY6449" fmla="*/ 3136816 h 4687251"/>
              <a:gd name="connsiteX6450" fmla="*/ 6808551 w 8079933"/>
              <a:gd name="connsiteY6450" fmla="*/ 3130752 h 4687251"/>
              <a:gd name="connsiteX6451" fmla="*/ 6806164 w 8079933"/>
              <a:gd name="connsiteY6451" fmla="*/ 3129561 h 4687251"/>
              <a:gd name="connsiteX6452" fmla="*/ 6803559 w 8079933"/>
              <a:gd name="connsiteY6452" fmla="*/ 3131510 h 4687251"/>
              <a:gd name="connsiteX6453" fmla="*/ 6799978 w 8079933"/>
              <a:gd name="connsiteY6453" fmla="*/ 3131510 h 4687251"/>
              <a:gd name="connsiteX6454" fmla="*/ 6798242 w 8079933"/>
              <a:gd name="connsiteY6454" fmla="*/ 3132485 h 4687251"/>
              <a:gd name="connsiteX6455" fmla="*/ 6795638 w 8079933"/>
              <a:gd name="connsiteY6455" fmla="*/ 3128695 h 4687251"/>
              <a:gd name="connsiteX6456" fmla="*/ 6792816 w 8079933"/>
              <a:gd name="connsiteY6456" fmla="*/ 3120467 h 4687251"/>
              <a:gd name="connsiteX6457" fmla="*/ 6794986 w 8079933"/>
              <a:gd name="connsiteY6457" fmla="*/ 3117759 h 4687251"/>
              <a:gd name="connsiteX6458" fmla="*/ 6794119 w 8079933"/>
              <a:gd name="connsiteY6458" fmla="*/ 3115811 h 4687251"/>
              <a:gd name="connsiteX6459" fmla="*/ 6795746 w 8079933"/>
              <a:gd name="connsiteY6459" fmla="*/ 3109639 h 4687251"/>
              <a:gd name="connsiteX6460" fmla="*/ 6801281 w 8079933"/>
              <a:gd name="connsiteY6460" fmla="*/ 3105308 h 4687251"/>
              <a:gd name="connsiteX6461" fmla="*/ 6801172 w 8079933"/>
              <a:gd name="connsiteY6461" fmla="*/ 3099353 h 4687251"/>
              <a:gd name="connsiteX6462" fmla="*/ 6804211 w 8079933"/>
              <a:gd name="connsiteY6462" fmla="*/ 3097946 h 4687251"/>
              <a:gd name="connsiteX6463" fmla="*/ 6804971 w 8079933"/>
              <a:gd name="connsiteY6463" fmla="*/ 3093940 h 4687251"/>
              <a:gd name="connsiteX6464" fmla="*/ 6806164 w 8079933"/>
              <a:gd name="connsiteY6464" fmla="*/ 3091774 h 4687251"/>
              <a:gd name="connsiteX6465" fmla="*/ 6804971 w 8079933"/>
              <a:gd name="connsiteY6465" fmla="*/ 3081814 h 4687251"/>
              <a:gd name="connsiteX6466" fmla="*/ 6806598 w 8079933"/>
              <a:gd name="connsiteY6466" fmla="*/ 3078241 h 4687251"/>
              <a:gd name="connsiteX6467" fmla="*/ 6805947 w 8079933"/>
              <a:gd name="connsiteY6467" fmla="*/ 3072719 h 4687251"/>
              <a:gd name="connsiteX6468" fmla="*/ 6806815 w 8079933"/>
              <a:gd name="connsiteY6468" fmla="*/ 3068064 h 4687251"/>
              <a:gd name="connsiteX6469" fmla="*/ 6810613 w 8079933"/>
              <a:gd name="connsiteY6469" fmla="*/ 3066006 h 4687251"/>
              <a:gd name="connsiteX6470" fmla="*/ 6813760 w 8079933"/>
              <a:gd name="connsiteY6470" fmla="*/ 3062217 h 4687251"/>
              <a:gd name="connsiteX6471" fmla="*/ 6816798 w 8079933"/>
              <a:gd name="connsiteY6471" fmla="*/ 3061351 h 4687251"/>
              <a:gd name="connsiteX6472" fmla="*/ 6818209 w 8079933"/>
              <a:gd name="connsiteY6472" fmla="*/ 3064923 h 4687251"/>
              <a:gd name="connsiteX6473" fmla="*/ 6820054 w 8079933"/>
              <a:gd name="connsiteY6473" fmla="*/ 3067305 h 4687251"/>
              <a:gd name="connsiteX6474" fmla="*/ 6819402 w 8079933"/>
              <a:gd name="connsiteY6474" fmla="*/ 3062867 h 4687251"/>
              <a:gd name="connsiteX6475" fmla="*/ 6817016 w 8079933"/>
              <a:gd name="connsiteY6475" fmla="*/ 3057236 h 4687251"/>
              <a:gd name="connsiteX6476" fmla="*/ 6818209 w 8079933"/>
              <a:gd name="connsiteY6476" fmla="*/ 3054421 h 4687251"/>
              <a:gd name="connsiteX6477" fmla="*/ 6818535 w 8079933"/>
              <a:gd name="connsiteY6477" fmla="*/ 3046517 h 4687251"/>
              <a:gd name="connsiteX6478" fmla="*/ 6817341 w 8079933"/>
              <a:gd name="connsiteY6478" fmla="*/ 3042620 h 4687251"/>
              <a:gd name="connsiteX6479" fmla="*/ 6817341 w 8079933"/>
              <a:gd name="connsiteY6479" fmla="*/ 3035691 h 4687251"/>
              <a:gd name="connsiteX6480" fmla="*/ 6823310 w 8079933"/>
              <a:gd name="connsiteY6480" fmla="*/ 3030060 h 4687251"/>
              <a:gd name="connsiteX6481" fmla="*/ 6822875 w 8079933"/>
              <a:gd name="connsiteY6481" fmla="*/ 3028329 h 4687251"/>
              <a:gd name="connsiteX6482" fmla="*/ 6825046 w 8079933"/>
              <a:gd name="connsiteY6482" fmla="*/ 3025730 h 4687251"/>
              <a:gd name="connsiteX6483" fmla="*/ 6830797 w 8079933"/>
              <a:gd name="connsiteY6483" fmla="*/ 3024430 h 4687251"/>
              <a:gd name="connsiteX6484" fmla="*/ 6836982 w 8079933"/>
              <a:gd name="connsiteY6484" fmla="*/ 3026379 h 4687251"/>
              <a:gd name="connsiteX6485" fmla="*/ 6840021 w 8079933"/>
              <a:gd name="connsiteY6485" fmla="*/ 3023672 h 4687251"/>
              <a:gd name="connsiteX6486" fmla="*/ 6842083 w 8079933"/>
              <a:gd name="connsiteY6486" fmla="*/ 3019233 h 4687251"/>
              <a:gd name="connsiteX6487" fmla="*/ 6845772 w 8079933"/>
              <a:gd name="connsiteY6487" fmla="*/ 3016852 h 4687251"/>
              <a:gd name="connsiteX6488" fmla="*/ 6845772 w 8079933"/>
              <a:gd name="connsiteY6488" fmla="*/ 3011654 h 4687251"/>
              <a:gd name="connsiteX6489" fmla="*/ 6850113 w 8079933"/>
              <a:gd name="connsiteY6489" fmla="*/ 3011438 h 4687251"/>
              <a:gd name="connsiteX6490" fmla="*/ 6857167 w 8079933"/>
              <a:gd name="connsiteY6490" fmla="*/ 3012846 h 4687251"/>
              <a:gd name="connsiteX6491" fmla="*/ 6861833 w 8079933"/>
              <a:gd name="connsiteY6491" fmla="*/ 3017285 h 4687251"/>
              <a:gd name="connsiteX6492" fmla="*/ 6865413 w 8079933"/>
              <a:gd name="connsiteY6492" fmla="*/ 3019450 h 4687251"/>
              <a:gd name="connsiteX6493" fmla="*/ 6868669 w 8079933"/>
              <a:gd name="connsiteY6493" fmla="*/ 3017285 h 4687251"/>
              <a:gd name="connsiteX6494" fmla="*/ 6874855 w 8079933"/>
              <a:gd name="connsiteY6494" fmla="*/ 3018367 h 4687251"/>
              <a:gd name="connsiteX6495" fmla="*/ 6879413 w 8079933"/>
              <a:gd name="connsiteY6495" fmla="*/ 3019450 h 4687251"/>
              <a:gd name="connsiteX6496" fmla="*/ 6883536 w 8079933"/>
              <a:gd name="connsiteY6496" fmla="*/ 3019233 h 4687251"/>
              <a:gd name="connsiteX6497" fmla="*/ 6887117 w 8079933"/>
              <a:gd name="connsiteY6497" fmla="*/ 3019558 h 4687251"/>
              <a:gd name="connsiteX6498" fmla="*/ 6891784 w 8079933"/>
              <a:gd name="connsiteY6498" fmla="*/ 3023672 h 4687251"/>
              <a:gd name="connsiteX6499" fmla="*/ 6893954 w 8079933"/>
              <a:gd name="connsiteY6499" fmla="*/ 3023348 h 4687251"/>
              <a:gd name="connsiteX6500" fmla="*/ 6895690 w 8079933"/>
              <a:gd name="connsiteY6500" fmla="*/ 3020749 h 4687251"/>
              <a:gd name="connsiteX6501" fmla="*/ 6905348 w 8079933"/>
              <a:gd name="connsiteY6501" fmla="*/ 3021615 h 4687251"/>
              <a:gd name="connsiteX6502" fmla="*/ 6916743 w 8079933"/>
              <a:gd name="connsiteY6502" fmla="*/ 3023889 h 4687251"/>
              <a:gd name="connsiteX6503" fmla="*/ 6922385 w 8079933"/>
              <a:gd name="connsiteY6503" fmla="*/ 3022482 h 4687251"/>
              <a:gd name="connsiteX6504" fmla="*/ 6924881 w 8079933"/>
              <a:gd name="connsiteY6504" fmla="*/ 3018801 h 4687251"/>
              <a:gd name="connsiteX6505" fmla="*/ 6928679 w 8079933"/>
              <a:gd name="connsiteY6505" fmla="*/ 3018367 h 4687251"/>
              <a:gd name="connsiteX6506" fmla="*/ 6933671 w 8079933"/>
              <a:gd name="connsiteY6506" fmla="*/ 3014794 h 4687251"/>
              <a:gd name="connsiteX6507" fmla="*/ 6933996 w 8079933"/>
              <a:gd name="connsiteY6507" fmla="*/ 3012304 h 4687251"/>
              <a:gd name="connsiteX6508" fmla="*/ 6937577 w 8079933"/>
              <a:gd name="connsiteY6508" fmla="*/ 3009597 h 4687251"/>
              <a:gd name="connsiteX6509" fmla="*/ 6938446 w 8079933"/>
              <a:gd name="connsiteY6509" fmla="*/ 3004942 h 4687251"/>
              <a:gd name="connsiteX6510" fmla="*/ 2353253 w 8079933"/>
              <a:gd name="connsiteY6510" fmla="*/ 2997911 h 4687251"/>
              <a:gd name="connsiteX6511" fmla="*/ 2355787 w 8079933"/>
              <a:gd name="connsiteY6511" fmla="*/ 3004292 h 4687251"/>
              <a:gd name="connsiteX6512" fmla="*/ 2356163 w 8079933"/>
              <a:gd name="connsiteY6512" fmla="*/ 3008317 h 4687251"/>
              <a:gd name="connsiteX6513" fmla="*/ 2356164 w 8079933"/>
              <a:gd name="connsiteY6513" fmla="*/ 3008318 h 4687251"/>
              <a:gd name="connsiteX6514" fmla="*/ 2355788 w 8079933"/>
              <a:gd name="connsiteY6514" fmla="*/ 3004291 h 4687251"/>
              <a:gd name="connsiteX6515" fmla="*/ 4372485 w 8079933"/>
              <a:gd name="connsiteY6515" fmla="*/ 2995387 h 4687251"/>
              <a:gd name="connsiteX6516" fmla="*/ 4372243 w 8079933"/>
              <a:gd name="connsiteY6516" fmla="*/ 2996279 h 4687251"/>
              <a:gd name="connsiteX6517" fmla="*/ 4371918 w 8079933"/>
              <a:gd name="connsiteY6517" fmla="*/ 3001584 h 4687251"/>
              <a:gd name="connsiteX6518" fmla="*/ 4368445 w 8079933"/>
              <a:gd name="connsiteY6518" fmla="*/ 3006023 h 4687251"/>
              <a:gd name="connsiteX6519" fmla="*/ 4367843 w 8079933"/>
              <a:gd name="connsiteY6519" fmla="*/ 3012535 h 4687251"/>
              <a:gd name="connsiteX6520" fmla="*/ 4368445 w 8079933"/>
              <a:gd name="connsiteY6520" fmla="*/ 3006024 h 4687251"/>
              <a:gd name="connsiteX6521" fmla="*/ 4371918 w 8079933"/>
              <a:gd name="connsiteY6521" fmla="*/ 3001584 h 4687251"/>
              <a:gd name="connsiteX6522" fmla="*/ 4372243 w 8079933"/>
              <a:gd name="connsiteY6522" fmla="*/ 2996279 h 4687251"/>
              <a:gd name="connsiteX6523" fmla="*/ 4320264 w 8079933"/>
              <a:gd name="connsiteY6523" fmla="*/ 2992491 h 4687251"/>
              <a:gd name="connsiteX6524" fmla="*/ 4320914 w 8079933"/>
              <a:gd name="connsiteY6524" fmla="*/ 2993897 h 4687251"/>
              <a:gd name="connsiteX6525" fmla="*/ 4320915 w 8079933"/>
              <a:gd name="connsiteY6525" fmla="*/ 2993897 h 4687251"/>
              <a:gd name="connsiteX6526" fmla="*/ 4320265 w 8079933"/>
              <a:gd name="connsiteY6526" fmla="*/ 2992491 h 4687251"/>
              <a:gd name="connsiteX6527" fmla="*/ 6387615 w 8079933"/>
              <a:gd name="connsiteY6527" fmla="*/ 2991732 h 4687251"/>
              <a:gd name="connsiteX6528" fmla="*/ 6391956 w 8079933"/>
              <a:gd name="connsiteY6528" fmla="*/ 2996604 h 4687251"/>
              <a:gd name="connsiteX6529" fmla="*/ 6387615 w 8079933"/>
              <a:gd name="connsiteY6529" fmla="*/ 3001477 h 4687251"/>
              <a:gd name="connsiteX6530" fmla="*/ 6383274 w 8079933"/>
              <a:gd name="connsiteY6530" fmla="*/ 3002126 h 4687251"/>
              <a:gd name="connsiteX6531" fmla="*/ 6380670 w 8079933"/>
              <a:gd name="connsiteY6531" fmla="*/ 2994980 h 4687251"/>
              <a:gd name="connsiteX6532" fmla="*/ 6384793 w 8079933"/>
              <a:gd name="connsiteY6532" fmla="*/ 2994222 h 4687251"/>
              <a:gd name="connsiteX6533" fmla="*/ 2613426 w 8079933"/>
              <a:gd name="connsiteY6533" fmla="*/ 2991360 h 4687251"/>
              <a:gd name="connsiteX6534" fmla="*/ 2613949 w 8079933"/>
              <a:gd name="connsiteY6534" fmla="*/ 2991732 h 4687251"/>
              <a:gd name="connsiteX6535" fmla="*/ 2615200 w 8079933"/>
              <a:gd name="connsiteY6535" fmla="*/ 2992066 h 4687251"/>
              <a:gd name="connsiteX6536" fmla="*/ 2614274 w 8079933"/>
              <a:gd name="connsiteY6536" fmla="*/ 2991407 h 4687251"/>
              <a:gd name="connsiteX6537" fmla="*/ 6280293 w 8079933"/>
              <a:gd name="connsiteY6537" fmla="*/ 2990109 h 4687251"/>
              <a:gd name="connsiteX6538" fmla="*/ 6282355 w 8079933"/>
              <a:gd name="connsiteY6538" fmla="*/ 2993141 h 4687251"/>
              <a:gd name="connsiteX6539" fmla="*/ 6276820 w 8079933"/>
              <a:gd name="connsiteY6539" fmla="*/ 2991300 h 4687251"/>
              <a:gd name="connsiteX6540" fmla="*/ 2598105 w 8079933"/>
              <a:gd name="connsiteY6540" fmla="*/ 2989891 h 4687251"/>
              <a:gd name="connsiteX6541" fmla="*/ 2596892 w 8079933"/>
              <a:gd name="connsiteY6541" fmla="*/ 2989947 h 4687251"/>
              <a:gd name="connsiteX6542" fmla="*/ 2598105 w 8079933"/>
              <a:gd name="connsiteY6542" fmla="*/ 2991298 h 4687251"/>
              <a:gd name="connsiteX6543" fmla="*/ 2599218 w 8079933"/>
              <a:gd name="connsiteY6543" fmla="*/ 2991132 h 4687251"/>
              <a:gd name="connsiteX6544" fmla="*/ 2343633 w 8079933"/>
              <a:gd name="connsiteY6544" fmla="*/ 2989350 h 4687251"/>
              <a:gd name="connsiteX6545" fmla="*/ 2342769 w 8079933"/>
              <a:gd name="connsiteY6545" fmla="*/ 2989576 h 4687251"/>
              <a:gd name="connsiteX6546" fmla="*/ 2343417 w 8079933"/>
              <a:gd name="connsiteY6546" fmla="*/ 2991407 h 4687251"/>
              <a:gd name="connsiteX6547" fmla="*/ 2347431 w 8079933"/>
              <a:gd name="connsiteY6547" fmla="*/ 2996279 h 4687251"/>
              <a:gd name="connsiteX6548" fmla="*/ 2348408 w 8079933"/>
              <a:gd name="connsiteY6548" fmla="*/ 3001585 h 4687251"/>
              <a:gd name="connsiteX6549" fmla="*/ 2348408 w 8079933"/>
              <a:gd name="connsiteY6549" fmla="*/ 3008081 h 4687251"/>
              <a:gd name="connsiteX6550" fmla="*/ 2349740 w 8079933"/>
              <a:gd name="connsiteY6550" fmla="*/ 3007920 h 4687251"/>
              <a:gd name="connsiteX6551" fmla="*/ 2349819 w 8079933"/>
              <a:gd name="connsiteY6551" fmla="*/ 3003100 h 4687251"/>
              <a:gd name="connsiteX6552" fmla="*/ 2348843 w 8079933"/>
              <a:gd name="connsiteY6552" fmla="*/ 2997903 h 4687251"/>
              <a:gd name="connsiteX6553" fmla="*/ 2344936 w 8079933"/>
              <a:gd name="connsiteY6553" fmla="*/ 2993031 h 4687251"/>
              <a:gd name="connsiteX6554" fmla="*/ 7018967 w 8079933"/>
              <a:gd name="connsiteY6554" fmla="*/ 2988485 h 4687251"/>
              <a:gd name="connsiteX6555" fmla="*/ 7018424 w 8079933"/>
              <a:gd name="connsiteY6555" fmla="*/ 2992274 h 4687251"/>
              <a:gd name="connsiteX6556" fmla="*/ 7014734 w 8079933"/>
              <a:gd name="connsiteY6556" fmla="*/ 2996389 h 4687251"/>
              <a:gd name="connsiteX6557" fmla="*/ 7015602 w 8079933"/>
              <a:gd name="connsiteY6557" fmla="*/ 2998987 h 4687251"/>
              <a:gd name="connsiteX6558" fmla="*/ 7019726 w 8079933"/>
              <a:gd name="connsiteY6558" fmla="*/ 3000611 h 4687251"/>
              <a:gd name="connsiteX6559" fmla="*/ 7019726 w 8079933"/>
              <a:gd name="connsiteY6559" fmla="*/ 3007866 h 4687251"/>
              <a:gd name="connsiteX6560" fmla="*/ 7017881 w 8079933"/>
              <a:gd name="connsiteY6560" fmla="*/ 3013929 h 4687251"/>
              <a:gd name="connsiteX6561" fmla="*/ 7014083 w 8079933"/>
              <a:gd name="connsiteY6561" fmla="*/ 3014037 h 4687251"/>
              <a:gd name="connsiteX6562" fmla="*/ 7010610 w 8079933"/>
              <a:gd name="connsiteY6562" fmla="*/ 3017502 h 4687251"/>
              <a:gd name="connsiteX6563" fmla="*/ 7012672 w 8079933"/>
              <a:gd name="connsiteY6563" fmla="*/ 3021399 h 4687251"/>
              <a:gd name="connsiteX6564" fmla="*/ 7015494 w 8079933"/>
              <a:gd name="connsiteY6564" fmla="*/ 3020966 h 4687251"/>
              <a:gd name="connsiteX6565" fmla="*/ 7017013 w 8079933"/>
              <a:gd name="connsiteY6565" fmla="*/ 3017177 h 4687251"/>
              <a:gd name="connsiteX6566" fmla="*/ 7021137 w 8079933"/>
              <a:gd name="connsiteY6566" fmla="*/ 3015228 h 4687251"/>
              <a:gd name="connsiteX6567" fmla="*/ 7023198 w 8079933"/>
              <a:gd name="connsiteY6567" fmla="*/ 3012846 h 4687251"/>
              <a:gd name="connsiteX6568" fmla="*/ 7020811 w 8079933"/>
              <a:gd name="connsiteY6568" fmla="*/ 3012738 h 4687251"/>
              <a:gd name="connsiteX6569" fmla="*/ 7021354 w 8079933"/>
              <a:gd name="connsiteY6569" fmla="*/ 3009382 h 4687251"/>
              <a:gd name="connsiteX6570" fmla="*/ 7028516 w 8079933"/>
              <a:gd name="connsiteY6570" fmla="*/ 3005808 h 4687251"/>
              <a:gd name="connsiteX6571" fmla="*/ 7036112 w 8079933"/>
              <a:gd name="connsiteY6571" fmla="*/ 3003101 h 4687251"/>
              <a:gd name="connsiteX6572" fmla="*/ 7038933 w 8079933"/>
              <a:gd name="connsiteY6572" fmla="*/ 3006025 h 4687251"/>
              <a:gd name="connsiteX6573" fmla="*/ 7039258 w 8079933"/>
              <a:gd name="connsiteY6573" fmla="*/ 3009382 h 4687251"/>
              <a:gd name="connsiteX6574" fmla="*/ 7035569 w 8079933"/>
              <a:gd name="connsiteY6574" fmla="*/ 3017827 h 4687251"/>
              <a:gd name="connsiteX6575" fmla="*/ 7026996 w 8079933"/>
              <a:gd name="connsiteY6575" fmla="*/ 3020750 h 4687251"/>
              <a:gd name="connsiteX6576" fmla="*/ 7023850 w 8079933"/>
              <a:gd name="connsiteY6576" fmla="*/ 3024431 h 4687251"/>
              <a:gd name="connsiteX6577" fmla="*/ 7025803 w 8079933"/>
              <a:gd name="connsiteY6577" fmla="*/ 3027679 h 4687251"/>
              <a:gd name="connsiteX6578" fmla="*/ 7028949 w 8079933"/>
              <a:gd name="connsiteY6578" fmla="*/ 3028004 h 4687251"/>
              <a:gd name="connsiteX6579" fmla="*/ 7034918 w 8079933"/>
              <a:gd name="connsiteY6579" fmla="*/ 3032227 h 4687251"/>
              <a:gd name="connsiteX6580" fmla="*/ 7035786 w 8079933"/>
              <a:gd name="connsiteY6580" fmla="*/ 3035691 h 4687251"/>
              <a:gd name="connsiteX6581" fmla="*/ 7038065 w 8079933"/>
              <a:gd name="connsiteY6581" fmla="*/ 3037640 h 4687251"/>
              <a:gd name="connsiteX6582" fmla="*/ 7033399 w 8079933"/>
              <a:gd name="connsiteY6582" fmla="*/ 3037964 h 4687251"/>
              <a:gd name="connsiteX6583" fmla="*/ 7030143 w 8079933"/>
              <a:gd name="connsiteY6583" fmla="*/ 3035366 h 4687251"/>
              <a:gd name="connsiteX6584" fmla="*/ 7023850 w 8079933"/>
              <a:gd name="connsiteY6584" fmla="*/ 3035258 h 4687251"/>
              <a:gd name="connsiteX6585" fmla="*/ 7018424 w 8079933"/>
              <a:gd name="connsiteY6585" fmla="*/ 3033525 h 4687251"/>
              <a:gd name="connsiteX6586" fmla="*/ 7014951 w 8079933"/>
              <a:gd name="connsiteY6586" fmla="*/ 3034717 h 4687251"/>
              <a:gd name="connsiteX6587" fmla="*/ 7014951 w 8079933"/>
              <a:gd name="connsiteY6587" fmla="*/ 3043595 h 4687251"/>
              <a:gd name="connsiteX6588" fmla="*/ 7018967 w 8079933"/>
              <a:gd name="connsiteY6588" fmla="*/ 3051390 h 4687251"/>
              <a:gd name="connsiteX6589" fmla="*/ 7020811 w 8079933"/>
              <a:gd name="connsiteY6589" fmla="*/ 3058104 h 4687251"/>
              <a:gd name="connsiteX6590" fmla="*/ 7026996 w 8079933"/>
              <a:gd name="connsiteY6590" fmla="*/ 3063517 h 4687251"/>
              <a:gd name="connsiteX6591" fmla="*/ 7028407 w 8079933"/>
              <a:gd name="connsiteY6591" fmla="*/ 3065790 h 4687251"/>
              <a:gd name="connsiteX6592" fmla="*/ 7026454 w 8079933"/>
              <a:gd name="connsiteY6592" fmla="*/ 3066549 h 4687251"/>
              <a:gd name="connsiteX6593" fmla="*/ 7026128 w 8079933"/>
              <a:gd name="connsiteY6593" fmla="*/ 3069363 h 4687251"/>
              <a:gd name="connsiteX6594" fmla="*/ 7025152 w 8079933"/>
              <a:gd name="connsiteY6594" fmla="*/ 3065574 h 4687251"/>
              <a:gd name="connsiteX6595" fmla="*/ 7021028 w 8079933"/>
              <a:gd name="connsiteY6595" fmla="*/ 3063950 h 4687251"/>
              <a:gd name="connsiteX6596" fmla="*/ 7017231 w 8079933"/>
              <a:gd name="connsiteY6596" fmla="*/ 3056154 h 4687251"/>
              <a:gd name="connsiteX6597" fmla="*/ 7012130 w 8079933"/>
              <a:gd name="connsiteY6597" fmla="*/ 3053123 h 4687251"/>
              <a:gd name="connsiteX6598" fmla="*/ 7009091 w 8079933"/>
              <a:gd name="connsiteY6598" fmla="*/ 3047709 h 4687251"/>
              <a:gd name="connsiteX6599" fmla="*/ 7010936 w 8079933"/>
              <a:gd name="connsiteY6599" fmla="*/ 3042729 h 4687251"/>
              <a:gd name="connsiteX6600" fmla="*/ 7010177 w 8079933"/>
              <a:gd name="connsiteY6600" fmla="*/ 3040022 h 4687251"/>
              <a:gd name="connsiteX6601" fmla="*/ 7010827 w 8079933"/>
              <a:gd name="connsiteY6601" fmla="*/ 3037099 h 4687251"/>
              <a:gd name="connsiteX6602" fmla="*/ 7006161 w 8079933"/>
              <a:gd name="connsiteY6602" fmla="*/ 3033309 h 4687251"/>
              <a:gd name="connsiteX6603" fmla="*/ 7007030 w 8079933"/>
              <a:gd name="connsiteY6603" fmla="*/ 3028545 h 4687251"/>
              <a:gd name="connsiteX6604" fmla="*/ 7008874 w 8079933"/>
              <a:gd name="connsiteY6604" fmla="*/ 3025405 h 4687251"/>
              <a:gd name="connsiteX6605" fmla="*/ 7006161 w 8079933"/>
              <a:gd name="connsiteY6605" fmla="*/ 3020425 h 4687251"/>
              <a:gd name="connsiteX6606" fmla="*/ 7003774 w 8079933"/>
              <a:gd name="connsiteY6606" fmla="*/ 3017285 h 4687251"/>
              <a:gd name="connsiteX6607" fmla="*/ 7005293 w 8079933"/>
              <a:gd name="connsiteY6607" fmla="*/ 3011330 h 4687251"/>
              <a:gd name="connsiteX6608" fmla="*/ 7008223 w 8079933"/>
              <a:gd name="connsiteY6608" fmla="*/ 3009056 h 4687251"/>
              <a:gd name="connsiteX6609" fmla="*/ 7007681 w 8079933"/>
              <a:gd name="connsiteY6609" fmla="*/ 3003101 h 4687251"/>
              <a:gd name="connsiteX6610" fmla="*/ 7009309 w 8079933"/>
              <a:gd name="connsiteY6610" fmla="*/ 2996172 h 4687251"/>
              <a:gd name="connsiteX6611" fmla="*/ 7016471 w 8079933"/>
              <a:gd name="connsiteY6611" fmla="*/ 2989134 h 4687251"/>
              <a:gd name="connsiteX6612" fmla="*/ 2676275 w 8079933"/>
              <a:gd name="connsiteY6612" fmla="*/ 2986649 h 4687251"/>
              <a:gd name="connsiteX6613" fmla="*/ 2676779 w 8079933"/>
              <a:gd name="connsiteY6613" fmla="*/ 2988159 h 4687251"/>
              <a:gd name="connsiteX6614" fmla="*/ 2678516 w 8079933"/>
              <a:gd name="connsiteY6614" fmla="*/ 2988917 h 4687251"/>
              <a:gd name="connsiteX6615" fmla="*/ 2678516 w 8079933"/>
              <a:gd name="connsiteY6615" fmla="*/ 2995197 h 4687251"/>
              <a:gd name="connsiteX6616" fmla="*/ 2681338 w 8079933"/>
              <a:gd name="connsiteY6616" fmla="*/ 2996171 h 4687251"/>
              <a:gd name="connsiteX6617" fmla="*/ 2681395 w 8079933"/>
              <a:gd name="connsiteY6617" fmla="*/ 2996129 h 4687251"/>
              <a:gd name="connsiteX6618" fmla="*/ 2680577 w 8079933"/>
              <a:gd name="connsiteY6618" fmla="*/ 2995847 h 4687251"/>
              <a:gd name="connsiteX6619" fmla="*/ 2680360 w 8079933"/>
              <a:gd name="connsiteY6619" fmla="*/ 2989567 h 4687251"/>
              <a:gd name="connsiteX6620" fmla="*/ 2678624 w 8079933"/>
              <a:gd name="connsiteY6620" fmla="*/ 2988809 h 4687251"/>
              <a:gd name="connsiteX6621" fmla="*/ 2677973 w 8079933"/>
              <a:gd name="connsiteY6621" fmla="*/ 2986861 h 4687251"/>
              <a:gd name="connsiteX6622" fmla="*/ 4208708 w 8079933"/>
              <a:gd name="connsiteY6622" fmla="*/ 2985995 h 4687251"/>
              <a:gd name="connsiteX6623" fmla="*/ 4208708 w 8079933"/>
              <a:gd name="connsiteY6623" fmla="*/ 2986102 h 4687251"/>
              <a:gd name="connsiteX6624" fmla="*/ 4208708 w 8079933"/>
              <a:gd name="connsiteY6624" fmla="*/ 3014469 h 4687251"/>
              <a:gd name="connsiteX6625" fmla="*/ 4208708 w 8079933"/>
              <a:gd name="connsiteY6625" fmla="*/ 3014469 h 4687251"/>
              <a:gd name="connsiteX6626" fmla="*/ 4208708 w 8079933"/>
              <a:gd name="connsiteY6626" fmla="*/ 2986102 h 4687251"/>
              <a:gd name="connsiteX6627" fmla="*/ 4208709 w 8079933"/>
              <a:gd name="connsiteY6627" fmla="*/ 2986101 h 4687251"/>
              <a:gd name="connsiteX6628" fmla="*/ 4208709 w 8079933"/>
              <a:gd name="connsiteY6628" fmla="*/ 2985995 h 4687251"/>
              <a:gd name="connsiteX6629" fmla="*/ 4252983 w 8079933"/>
              <a:gd name="connsiteY6629" fmla="*/ 2985669 h 4687251"/>
              <a:gd name="connsiteX6630" fmla="*/ 4251789 w 8079933"/>
              <a:gd name="connsiteY6630" fmla="*/ 2990542 h 4687251"/>
              <a:gd name="connsiteX6631" fmla="*/ 4253417 w 8079933"/>
              <a:gd name="connsiteY6631" fmla="*/ 2995089 h 4687251"/>
              <a:gd name="connsiteX6632" fmla="*/ 4253417 w 8079933"/>
              <a:gd name="connsiteY6632" fmla="*/ 2995088 h 4687251"/>
              <a:gd name="connsiteX6633" fmla="*/ 4251790 w 8079933"/>
              <a:gd name="connsiteY6633" fmla="*/ 2990540 h 4687251"/>
              <a:gd name="connsiteX6634" fmla="*/ 4252984 w 8079933"/>
              <a:gd name="connsiteY6634" fmla="*/ 2985669 h 4687251"/>
              <a:gd name="connsiteX6635" fmla="*/ 7030035 w 8079933"/>
              <a:gd name="connsiteY6635" fmla="*/ 2983937 h 4687251"/>
              <a:gd name="connsiteX6636" fmla="*/ 7033181 w 8079933"/>
              <a:gd name="connsiteY6636" fmla="*/ 2985994 h 4687251"/>
              <a:gd name="connsiteX6637" fmla="*/ 7034593 w 8079933"/>
              <a:gd name="connsiteY6637" fmla="*/ 2989675 h 4687251"/>
              <a:gd name="connsiteX6638" fmla="*/ 7031120 w 8079933"/>
              <a:gd name="connsiteY6638" fmla="*/ 2993032 h 4687251"/>
              <a:gd name="connsiteX6639" fmla="*/ 7027538 w 8079933"/>
              <a:gd name="connsiteY6639" fmla="*/ 2992707 h 4687251"/>
              <a:gd name="connsiteX6640" fmla="*/ 7024826 w 8079933"/>
              <a:gd name="connsiteY6640" fmla="*/ 2995089 h 4687251"/>
              <a:gd name="connsiteX6641" fmla="*/ 7023415 w 8079933"/>
              <a:gd name="connsiteY6641" fmla="*/ 2987510 h 4687251"/>
              <a:gd name="connsiteX6642" fmla="*/ 7026996 w 8079933"/>
              <a:gd name="connsiteY6642" fmla="*/ 2986210 h 4687251"/>
              <a:gd name="connsiteX6643" fmla="*/ 4242023 w 8079933"/>
              <a:gd name="connsiteY6643" fmla="*/ 2983071 h 4687251"/>
              <a:gd name="connsiteX6644" fmla="*/ 4242457 w 8079933"/>
              <a:gd name="connsiteY6644" fmla="*/ 2984154 h 4687251"/>
              <a:gd name="connsiteX6645" fmla="*/ 4248535 w 8079933"/>
              <a:gd name="connsiteY6645" fmla="*/ 2984587 h 4687251"/>
              <a:gd name="connsiteX6646" fmla="*/ 4242458 w 8079933"/>
              <a:gd name="connsiteY6646" fmla="*/ 2984153 h 4687251"/>
              <a:gd name="connsiteX6647" fmla="*/ 4242024 w 8079933"/>
              <a:gd name="connsiteY6647" fmla="*/ 2983071 h 4687251"/>
              <a:gd name="connsiteX6648" fmla="*/ 4225095 w 8079933"/>
              <a:gd name="connsiteY6648" fmla="*/ 2982638 h 4687251"/>
              <a:gd name="connsiteX6649" fmla="*/ 4232583 w 8079933"/>
              <a:gd name="connsiteY6649" fmla="*/ 2983071 h 4687251"/>
              <a:gd name="connsiteX6650" fmla="*/ 4233591 w 8079933"/>
              <a:gd name="connsiteY6650" fmla="*/ 2983423 h 4687251"/>
              <a:gd name="connsiteX6651" fmla="*/ 4232583 w 8079933"/>
              <a:gd name="connsiteY6651" fmla="*/ 2983071 h 4687251"/>
              <a:gd name="connsiteX6652" fmla="*/ 6621795 w 8079933"/>
              <a:gd name="connsiteY6652" fmla="*/ 2981988 h 4687251"/>
              <a:gd name="connsiteX6653" fmla="*/ 6622988 w 8079933"/>
              <a:gd name="connsiteY6653" fmla="*/ 2984261 h 4687251"/>
              <a:gd name="connsiteX6654" fmla="*/ 6619082 w 8079933"/>
              <a:gd name="connsiteY6654" fmla="*/ 2985885 h 4687251"/>
              <a:gd name="connsiteX6655" fmla="*/ 6623856 w 8079933"/>
              <a:gd name="connsiteY6655" fmla="*/ 2980797 h 4687251"/>
              <a:gd name="connsiteX6656" fmla="*/ 6626460 w 8079933"/>
              <a:gd name="connsiteY6656" fmla="*/ 2982962 h 4687251"/>
              <a:gd name="connsiteX6657" fmla="*/ 6623856 w 8079933"/>
              <a:gd name="connsiteY6657" fmla="*/ 2984045 h 4687251"/>
              <a:gd name="connsiteX6658" fmla="*/ 6622879 w 8079933"/>
              <a:gd name="connsiteY6658" fmla="*/ 2981988 h 4687251"/>
              <a:gd name="connsiteX6659" fmla="*/ 2752307 w 8079933"/>
              <a:gd name="connsiteY6659" fmla="*/ 2979931 h 4687251"/>
              <a:gd name="connsiteX6660" fmla="*/ 2755020 w 8079933"/>
              <a:gd name="connsiteY6660" fmla="*/ 2981880 h 4687251"/>
              <a:gd name="connsiteX6661" fmla="*/ 2758492 w 8079933"/>
              <a:gd name="connsiteY6661" fmla="*/ 2988051 h 4687251"/>
              <a:gd name="connsiteX6662" fmla="*/ 2758492 w 8079933"/>
              <a:gd name="connsiteY6662" fmla="*/ 2991299 h 4687251"/>
              <a:gd name="connsiteX6663" fmla="*/ 2755888 w 8079933"/>
              <a:gd name="connsiteY6663" fmla="*/ 2991299 h 4687251"/>
              <a:gd name="connsiteX6664" fmla="*/ 2753501 w 8079933"/>
              <a:gd name="connsiteY6664" fmla="*/ 2987726 h 4687251"/>
              <a:gd name="connsiteX6665" fmla="*/ 2751656 w 8079933"/>
              <a:gd name="connsiteY6665" fmla="*/ 2981663 h 4687251"/>
              <a:gd name="connsiteX6666" fmla="*/ 2346181 w 8079933"/>
              <a:gd name="connsiteY6666" fmla="*/ 2978302 h 4687251"/>
              <a:gd name="connsiteX6667" fmla="*/ 2347106 w 8079933"/>
              <a:gd name="connsiteY6667" fmla="*/ 2978848 h 4687251"/>
              <a:gd name="connsiteX6668" fmla="*/ 2347757 w 8079933"/>
              <a:gd name="connsiteY6668" fmla="*/ 2980061 h 4687251"/>
              <a:gd name="connsiteX6669" fmla="*/ 2347106 w 8079933"/>
              <a:gd name="connsiteY6669" fmla="*/ 2978847 h 4687251"/>
              <a:gd name="connsiteX6670" fmla="*/ 2601188 w 8079933"/>
              <a:gd name="connsiteY6670" fmla="*/ 2977182 h 4687251"/>
              <a:gd name="connsiteX6671" fmla="*/ 2601686 w 8079933"/>
              <a:gd name="connsiteY6671" fmla="*/ 2977764 h 4687251"/>
              <a:gd name="connsiteX6672" fmla="*/ 2602233 w 8079933"/>
              <a:gd name="connsiteY6672" fmla="*/ 2981218 h 4687251"/>
              <a:gd name="connsiteX6673" fmla="*/ 2601687 w 8079933"/>
              <a:gd name="connsiteY6673" fmla="*/ 2977765 h 4687251"/>
              <a:gd name="connsiteX6674" fmla="*/ 6623421 w 8079933"/>
              <a:gd name="connsiteY6674" fmla="*/ 2976141 h 4687251"/>
              <a:gd name="connsiteX6675" fmla="*/ 6623421 w 8079933"/>
              <a:gd name="connsiteY6675" fmla="*/ 2976357 h 4687251"/>
              <a:gd name="connsiteX6676" fmla="*/ 6623205 w 8079933"/>
              <a:gd name="connsiteY6676" fmla="*/ 2980147 h 4687251"/>
              <a:gd name="connsiteX6677" fmla="*/ 6622337 w 8079933"/>
              <a:gd name="connsiteY6677" fmla="*/ 2980580 h 4687251"/>
              <a:gd name="connsiteX6678" fmla="*/ 6621794 w 8079933"/>
              <a:gd name="connsiteY6678" fmla="*/ 2979172 h 4687251"/>
              <a:gd name="connsiteX6679" fmla="*/ 6629173 w 8079933"/>
              <a:gd name="connsiteY6679" fmla="*/ 2975492 h 4687251"/>
              <a:gd name="connsiteX6680" fmla="*/ 6630692 w 8079933"/>
              <a:gd name="connsiteY6680" fmla="*/ 2981013 h 4687251"/>
              <a:gd name="connsiteX6681" fmla="*/ 6627653 w 8079933"/>
              <a:gd name="connsiteY6681" fmla="*/ 2982529 h 4687251"/>
              <a:gd name="connsiteX6682" fmla="*/ 6624290 w 8079933"/>
              <a:gd name="connsiteY6682" fmla="*/ 2979065 h 4687251"/>
              <a:gd name="connsiteX6683" fmla="*/ 6624290 w 8079933"/>
              <a:gd name="connsiteY6683" fmla="*/ 2976682 h 4687251"/>
              <a:gd name="connsiteX6684" fmla="*/ 6625700 w 8079933"/>
              <a:gd name="connsiteY6684" fmla="*/ 2976358 h 4687251"/>
              <a:gd name="connsiteX6685" fmla="*/ 6625918 w 8079933"/>
              <a:gd name="connsiteY6685" fmla="*/ 2976358 h 4687251"/>
              <a:gd name="connsiteX6686" fmla="*/ 4783304 w 8079933"/>
              <a:gd name="connsiteY6686" fmla="*/ 2974517 h 4687251"/>
              <a:gd name="connsiteX6687" fmla="*/ 4782012 w 8079933"/>
              <a:gd name="connsiteY6687" fmla="*/ 2976349 h 4687251"/>
              <a:gd name="connsiteX6688" fmla="*/ 4783305 w 8079933"/>
              <a:gd name="connsiteY6688" fmla="*/ 2974517 h 4687251"/>
              <a:gd name="connsiteX6689" fmla="*/ 2416491 w 8079933"/>
              <a:gd name="connsiteY6689" fmla="*/ 2974491 h 4687251"/>
              <a:gd name="connsiteX6690" fmla="*/ 2416340 w 8079933"/>
              <a:gd name="connsiteY6690" fmla="*/ 2975274 h 4687251"/>
              <a:gd name="connsiteX6691" fmla="*/ 2427300 w 8079933"/>
              <a:gd name="connsiteY6691" fmla="*/ 2978956 h 4687251"/>
              <a:gd name="connsiteX6692" fmla="*/ 2434896 w 8079933"/>
              <a:gd name="connsiteY6692" fmla="*/ 2978090 h 4687251"/>
              <a:gd name="connsiteX6693" fmla="*/ 2441298 w 8079933"/>
              <a:gd name="connsiteY6693" fmla="*/ 2979367 h 4687251"/>
              <a:gd name="connsiteX6694" fmla="*/ 2441298 w 8079933"/>
              <a:gd name="connsiteY6694" fmla="*/ 2978306 h 4687251"/>
              <a:gd name="connsiteX6695" fmla="*/ 2433702 w 8079933"/>
              <a:gd name="connsiteY6695" fmla="*/ 2976790 h 4687251"/>
              <a:gd name="connsiteX6696" fmla="*/ 2426106 w 8079933"/>
              <a:gd name="connsiteY6696" fmla="*/ 2977657 h 4687251"/>
              <a:gd name="connsiteX6697" fmla="*/ 2665385 w 8079933"/>
              <a:gd name="connsiteY6697" fmla="*/ 2973110 h 4687251"/>
              <a:gd name="connsiteX6698" fmla="*/ 2659634 w 8079933"/>
              <a:gd name="connsiteY6698" fmla="*/ 2977007 h 4687251"/>
              <a:gd name="connsiteX6699" fmla="*/ 2658440 w 8079933"/>
              <a:gd name="connsiteY6699" fmla="*/ 2976790 h 4687251"/>
              <a:gd name="connsiteX6700" fmla="*/ 2656404 w 8079933"/>
              <a:gd name="connsiteY6700" fmla="*/ 2976316 h 4687251"/>
              <a:gd name="connsiteX6701" fmla="*/ 2657246 w 8079933"/>
              <a:gd name="connsiteY6701" fmla="*/ 2978523 h 4687251"/>
              <a:gd name="connsiteX6702" fmla="*/ 2658766 w 8079933"/>
              <a:gd name="connsiteY6702" fmla="*/ 2982421 h 4687251"/>
              <a:gd name="connsiteX6703" fmla="*/ 2660068 w 8079933"/>
              <a:gd name="connsiteY6703" fmla="*/ 2983504 h 4687251"/>
              <a:gd name="connsiteX6704" fmla="*/ 2660068 w 8079933"/>
              <a:gd name="connsiteY6704" fmla="*/ 2985885 h 4687251"/>
              <a:gd name="connsiteX6705" fmla="*/ 2663324 w 8079933"/>
              <a:gd name="connsiteY6705" fmla="*/ 2989567 h 4687251"/>
              <a:gd name="connsiteX6706" fmla="*/ 2665198 w 8079933"/>
              <a:gd name="connsiteY6706" fmla="*/ 2989911 h 4687251"/>
              <a:gd name="connsiteX6707" fmla="*/ 2662021 w 8079933"/>
              <a:gd name="connsiteY6707" fmla="*/ 2986319 h 4687251"/>
              <a:gd name="connsiteX6708" fmla="*/ 2662021 w 8079933"/>
              <a:gd name="connsiteY6708" fmla="*/ 2984045 h 4687251"/>
              <a:gd name="connsiteX6709" fmla="*/ 2660719 w 8079933"/>
              <a:gd name="connsiteY6709" fmla="*/ 2982854 h 4687251"/>
              <a:gd name="connsiteX6710" fmla="*/ 2659308 w 8079933"/>
              <a:gd name="connsiteY6710" fmla="*/ 2978957 h 4687251"/>
              <a:gd name="connsiteX6711" fmla="*/ 2658440 w 8079933"/>
              <a:gd name="connsiteY6711" fmla="*/ 2976791 h 4687251"/>
              <a:gd name="connsiteX6712" fmla="*/ 2659634 w 8079933"/>
              <a:gd name="connsiteY6712" fmla="*/ 2977008 h 4687251"/>
              <a:gd name="connsiteX6713" fmla="*/ 2342658 w 8079933"/>
              <a:gd name="connsiteY6713" fmla="*/ 2972568 h 4687251"/>
              <a:gd name="connsiteX6714" fmla="*/ 2340378 w 8079933"/>
              <a:gd name="connsiteY6714" fmla="*/ 2974192 h 4687251"/>
              <a:gd name="connsiteX6715" fmla="*/ 2339145 w 8079933"/>
              <a:gd name="connsiteY6715" fmla="*/ 2973833 h 4687251"/>
              <a:gd name="connsiteX6716" fmla="*/ 2340378 w 8079933"/>
              <a:gd name="connsiteY6716" fmla="*/ 2974192 h 4687251"/>
              <a:gd name="connsiteX6717" fmla="*/ 2342657 w 8079933"/>
              <a:gd name="connsiteY6717" fmla="*/ 2972568 h 4687251"/>
              <a:gd name="connsiteX6718" fmla="*/ 2343379 w 8079933"/>
              <a:gd name="connsiteY6718" fmla="*/ 2973288 h 4687251"/>
              <a:gd name="connsiteX6719" fmla="*/ 2648938 w 8079933"/>
              <a:gd name="connsiteY6719" fmla="*/ 2971619 h 4687251"/>
              <a:gd name="connsiteX6720" fmla="*/ 2653123 w 8079933"/>
              <a:gd name="connsiteY6720" fmla="*/ 2975600 h 4687251"/>
              <a:gd name="connsiteX6721" fmla="*/ 2655156 w 8079933"/>
              <a:gd name="connsiteY6721" fmla="*/ 2976005 h 4687251"/>
              <a:gd name="connsiteX6722" fmla="*/ 2650519 w 8079933"/>
              <a:gd name="connsiteY6722" fmla="*/ 2971702 h 4687251"/>
              <a:gd name="connsiteX6723" fmla="*/ 6244266 w 8079933"/>
              <a:gd name="connsiteY6723" fmla="*/ 2970295 h 4687251"/>
              <a:gd name="connsiteX6724" fmla="*/ 6247846 w 8079933"/>
              <a:gd name="connsiteY6724" fmla="*/ 2972893 h 4687251"/>
              <a:gd name="connsiteX6725" fmla="*/ 6251102 w 8079933"/>
              <a:gd name="connsiteY6725" fmla="*/ 2977332 h 4687251"/>
              <a:gd name="connsiteX6726" fmla="*/ 6245568 w 8079933"/>
              <a:gd name="connsiteY6726" fmla="*/ 2978090 h 4687251"/>
              <a:gd name="connsiteX6727" fmla="*/ 6241010 w 8079933"/>
              <a:gd name="connsiteY6727" fmla="*/ 2975275 h 4687251"/>
              <a:gd name="connsiteX6728" fmla="*/ 6242312 w 8079933"/>
              <a:gd name="connsiteY6728" fmla="*/ 2972352 h 4687251"/>
              <a:gd name="connsiteX6729" fmla="*/ 6496565 w 8079933"/>
              <a:gd name="connsiteY6729" fmla="*/ 2968779 h 4687251"/>
              <a:gd name="connsiteX6730" fmla="*/ 6499061 w 8079933"/>
              <a:gd name="connsiteY6730" fmla="*/ 2971269 h 4687251"/>
              <a:gd name="connsiteX6731" fmla="*/ 6496565 w 8079933"/>
              <a:gd name="connsiteY6731" fmla="*/ 2972676 h 4687251"/>
              <a:gd name="connsiteX6732" fmla="*/ 2339158 w 8079933"/>
              <a:gd name="connsiteY6732" fmla="*/ 2966172 h 4687251"/>
              <a:gd name="connsiteX6733" fmla="*/ 2337123 w 8079933"/>
              <a:gd name="connsiteY6733" fmla="*/ 2969861 h 4687251"/>
              <a:gd name="connsiteX6734" fmla="*/ 2337123 w 8079933"/>
              <a:gd name="connsiteY6734" fmla="*/ 2969861 h 4687251"/>
              <a:gd name="connsiteX6735" fmla="*/ 6485063 w 8079933"/>
              <a:gd name="connsiteY6735" fmla="*/ 2964665 h 4687251"/>
              <a:gd name="connsiteX6736" fmla="*/ 6488862 w 8079933"/>
              <a:gd name="connsiteY6736" fmla="*/ 2966181 h 4687251"/>
              <a:gd name="connsiteX6737" fmla="*/ 6484195 w 8079933"/>
              <a:gd name="connsiteY6737" fmla="*/ 2971161 h 4687251"/>
              <a:gd name="connsiteX6738" fmla="*/ 6481590 w 8079933"/>
              <a:gd name="connsiteY6738" fmla="*/ 2969537 h 4687251"/>
              <a:gd name="connsiteX6739" fmla="*/ 6482133 w 8079933"/>
              <a:gd name="connsiteY6739" fmla="*/ 2965422 h 4687251"/>
              <a:gd name="connsiteX6740" fmla="*/ 4386401 w 8079933"/>
              <a:gd name="connsiteY6740" fmla="*/ 2963570 h 4687251"/>
              <a:gd name="connsiteX6741" fmla="*/ 4382986 w 8079933"/>
              <a:gd name="connsiteY6741" fmla="*/ 2965313 h 4687251"/>
              <a:gd name="connsiteX6742" fmla="*/ 4381901 w 8079933"/>
              <a:gd name="connsiteY6742" fmla="*/ 2969644 h 4687251"/>
              <a:gd name="connsiteX6743" fmla="*/ 4376747 w 8079933"/>
              <a:gd name="connsiteY6743" fmla="*/ 2976249 h 4687251"/>
              <a:gd name="connsiteX6744" fmla="*/ 4381901 w 8079933"/>
              <a:gd name="connsiteY6744" fmla="*/ 2969645 h 4687251"/>
              <a:gd name="connsiteX6745" fmla="*/ 4382987 w 8079933"/>
              <a:gd name="connsiteY6745" fmla="*/ 2965314 h 4687251"/>
              <a:gd name="connsiteX6746" fmla="*/ 4772676 w 8079933"/>
              <a:gd name="connsiteY6746" fmla="*/ 2962065 h 4687251"/>
              <a:gd name="connsiteX6747" fmla="*/ 4774406 w 8079933"/>
              <a:gd name="connsiteY6747" fmla="*/ 2963690 h 4687251"/>
              <a:gd name="connsiteX6748" fmla="*/ 4775608 w 8079933"/>
              <a:gd name="connsiteY6748" fmla="*/ 2966710 h 4687251"/>
              <a:gd name="connsiteX6749" fmla="*/ 4774407 w 8079933"/>
              <a:gd name="connsiteY6749" fmla="*/ 2963690 h 4687251"/>
              <a:gd name="connsiteX6750" fmla="*/ 6497108 w 8079933"/>
              <a:gd name="connsiteY6750" fmla="*/ 2960984 h 4687251"/>
              <a:gd name="connsiteX6751" fmla="*/ 6498845 w 8079933"/>
              <a:gd name="connsiteY6751" fmla="*/ 2964232 h 4687251"/>
              <a:gd name="connsiteX6752" fmla="*/ 6495698 w 8079933"/>
              <a:gd name="connsiteY6752" fmla="*/ 2963799 h 4687251"/>
              <a:gd name="connsiteX6753" fmla="*/ 4338234 w 8079933"/>
              <a:gd name="connsiteY6753" fmla="*/ 2959609 h 4687251"/>
              <a:gd name="connsiteX6754" fmla="*/ 4327643 w 8079933"/>
              <a:gd name="connsiteY6754" fmla="*/ 2977115 h 4687251"/>
              <a:gd name="connsiteX6755" fmla="*/ 4327643 w 8079933"/>
              <a:gd name="connsiteY6755" fmla="*/ 2977116 h 4687251"/>
              <a:gd name="connsiteX6756" fmla="*/ 4327119 w 8079933"/>
              <a:gd name="connsiteY6756" fmla="*/ 2978059 h 4687251"/>
              <a:gd name="connsiteX6757" fmla="*/ 4327131 w 8079933"/>
              <a:gd name="connsiteY6757" fmla="*/ 2978037 h 4687251"/>
              <a:gd name="connsiteX6758" fmla="*/ 4327644 w 8079933"/>
              <a:gd name="connsiteY6758" fmla="*/ 2977117 h 4687251"/>
              <a:gd name="connsiteX6759" fmla="*/ 4337578 w 8079933"/>
              <a:gd name="connsiteY6759" fmla="*/ 2960700 h 4687251"/>
              <a:gd name="connsiteX6760" fmla="*/ 6765145 w 8079933"/>
              <a:gd name="connsiteY6760" fmla="*/ 2956437 h 4687251"/>
              <a:gd name="connsiteX6761" fmla="*/ 6767424 w 8079933"/>
              <a:gd name="connsiteY6761" fmla="*/ 2957736 h 4687251"/>
              <a:gd name="connsiteX6762" fmla="*/ 6767424 w 8079933"/>
              <a:gd name="connsiteY6762" fmla="*/ 2961958 h 4687251"/>
              <a:gd name="connsiteX6763" fmla="*/ 6765796 w 8079933"/>
              <a:gd name="connsiteY6763" fmla="*/ 2961417 h 4687251"/>
              <a:gd name="connsiteX6764" fmla="*/ 2669183 w 8079933"/>
              <a:gd name="connsiteY6764" fmla="*/ 2955029 h 4687251"/>
              <a:gd name="connsiteX6765" fmla="*/ 2665386 w 8079933"/>
              <a:gd name="connsiteY6765" fmla="*/ 2958709 h 4687251"/>
              <a:gd name="connsiteX6766" fmla="*/ 2665386 w 8079933"/>
              <a:gd name="connsiteY6766" fmla="*/ 2958710 h 4687251"/>
              <a:gd name="connsiteX6767" fmla="*/ 6496131 w 8079933"/>
              <a:gd name="connsiteY6767" fmla="*/ 2954596 h 4687251"/>
              <a:gd name="connsiteX6768" fmla="*/ 6499061 w 8079933"/>
              <a:gd name="connsiteY6768" fmla="*/ 2956003 h 4687251"/>
              <a:gd name="connsiteX6769" fmla="*/ 6496565 w 8079933"/>
              <a:gd name="connsiteY6769" fmla="*/ 2958818 h 4687251"/>
              <a:gd name="connsiteX6770" fmla="*/ 2590834 w 8079933"/>
              <a:gd name="connsiteY6770" fmla="*/ 2954378 h 4687251"/>
              <a:gd name="connsiteX6771" fmla="*/ 2592679 w 8079933"/>
              <a:gd name="connsiteY6771" fmla="*/ 2955894 h 4687251"/>
              <a:gd name="connsiteX6772" fmla="*/ 2593547 w 8079933"/>
              <a:gd name="connsiteY6772" fmla="*/ 2959358 h 4687251"/>
              <a:gd name="connsiteX6773" fmla="*/ 2595501 w 8079933"/>
              <a:gd name="connsiteY6773" fmla="*/ 2966613 h 4687251"/>
              <a:gd name="connsiteX6774" fmla="*/ 2593547 w 8079933"/>
              <a:gd name="connsiteY6774" fmla="*/ 2959359 h 4687251"/>
              <a:gd name="connsiteX6775" fmla="*/ 2592679 w 8079933"/>
              <a:gd name="connsiteY6775" fmla="*/ 2955894 h 4687251"/>
              <a:gd name="connsiteX6776" fmla="*/ 4387435 w 8079933"/>
              <a:gd name="connsiteY6776" fmla="*/ 2953295 h 4687251"/>
              <a:gd name="connsiteX6777" fmla="*/ 4387652 w 8079933"/>
              <a:gd name="connsiteY6777" fmla="*/ 2962931 h 4687251"/>
              <a:gd name="connsiteX6778" fmla="*/ 4387653 w 8079933"/>
              <a:gd name="connsiteY6778" fmla="*/ 2962931 h 4687251"/>
              <a:gd name="connsiteX6779" fmla="*/ 6770245 w 8079933"/>
              <a:gd name="connsiteY6779" fmla="*/ 2951565 h 4687251"/>
              <a:gd name="connsiteX6780" fmla="*/ 6768943 w 8079933"/>
              <a:gd name="connsiteY6780" fmla="*/ 2953731 h 4687251"/>
              <a:gd name="connsiteX6781" fmla="*/ 6765362 w 8079933"/>
              <a:gd name="connsiteY6781" fmla="*/ 2952756 h 4687251"/>
              <a:gd name="connsiteX6782" fmla="*/ 4683164 w 8079933"/>
              <a:gd name="connsiteY6782" fmla="*/ 2950980 h 4687251"/>
              <a:gd name="connsiteX6783" fmla="*/ 4683143 w 8079933"/>
              <a:gd name="connsiteY6783" fmla="*/ 2951022 h 4687251"/>
              <a:gd name="connsiteX6784" fmla="*/ 4681950 w 8079933"/>
              <a:gd name="connsiteY6784" fmla="*/ 2955461 h 4687251"/>
              <a:gd name="connsiteX6785" fmla="*/ 4679562 w 8079933"/>
              <a:gd name="connsiteY6785" fmla="*/ 2958601 h 4687251"/>
              <a:gd name="connsiteX6786" fmla="*/ 4679562 w 8079933"/>
              <a:gd name="connsiteY6786" fmla="*/ 2965314 h 4687251"/>
              <a:gd name="connsiteX6787" fmla="*/ 4678152 w 8079933"/>
              <a:gd name="connsiteY6787" fmla="*/ 2973434 h 4687251"/>
              <a:gd name="connsiteX6788" fmla="*/ 4677609 w 8079933"/>
              <a:gd name="connsiteY6788" fmla="*/ 2979497 h 4687251"/>
              <a:gd name="connsiteX6789" fmla="*/ 4680322 w 8079933"/>
              <a:gd name="connsiteY6789" fmla="*/ 2981446 h 4687251"/>
              <a:gd name="connsiteX6790" fmla="*/ 4682601 w 8079933"/>
              <a:gd name="connsiteY6790" fmla="*/ 2984478 h 4687251"/>
              <a:gd name="connsiteX6791" fmla="*/ 4684445 w 8079933"/>
              <a:gd name="connsiteY6791" fmla="*/ 2988484 h 4687251"/>
              <a:gd name="connsiteX6792" fmla="*/ 4684012 w 8079933"/>
              <a:gd name="connsiteY6792" fmla="*/ 2991190 h 4687251"/>
              <a:gd name="connsiteX6793" fmla="*/ 4671749 w 8079933"/>
              <a:gd name="connsiteY6793" fmla="*/ 3007431 h 4687251"/>
              <a:gd name="connsiteX6794" fmla="*/ 4664153 w 8079933"/>
              <a:gd name="connsiteY6794" fmla="*/ 3015876 h 4687251"/>
              <a:gd name="connsiteX6795" fmla="*/ 4662091 w 8079933"/>
              <a:gd name="connsiteY6795" fmla="*/ 3019449 h 4687251"/>
              <a:gd name="connsiteX6796" fmla="*/ 4652759 w 8079933"/>
              <a:gd name="connsiteY6796" fmla="*/ 3036123 h 4687251"/>
              <a:gd name="connsiteX6797" fmla="*/ 4651023 w 8079933"/>
              <a:gd name="connsiteY6797" fmla="*/ 3039046 h 4687251"/>
              <a:gd name="connsiteX6798" fmla="*/ 4650914 w 8079933"/>
              <a:gd name="connsiteY6798" fmla="*/ 3045217 h 4687251"/>
              <a:gd name="connsiteX6799" fmla="*/ 4650154 w 8079933"/>
              <a:gd name="connsiteY6799" fmla="*/ 3053987 h 4687251"/>
              <a:gd name="connsiteX6800" fmla="*/ 4647116 w 8079933"/>
              <a:gd name="connsiteY6800" fmla="*/ 3062649 h 4687251"/>
              <a:gd name="connsiteX6801" fmla="*/ 4647767 w 8079933"/>
              <a:gd name="connsiteY6801" fmla="*/ 3068171 h 4687251"/>
              <a:gd name="connsiteX6802" fmla="*/ 4647767 w 8079933"/>
              <a:gd name="connsiteY6802" fmla="*/ 3068170 h 4687251"/>
              <a:gd name="connsiteX6803" fmla="*/ 4647116 w 8079933"/>
              <a:gd name="connsiteY6803" fmla="*/ 3062649 h 4687251"/>
              <a:gd name="connsiteX6804" fmla="*/ 4650155 w 8079933"/>
              <a:gd name="connsiteY6804" fmla="*/ 3053987 h 4687251"/>
              <a:gd name="connsiteX6805" fmla="*/ 4650914 w 8079933"/>
              <a:gd name="connsiteY6805" fmla="*/ 3045217 h 4687251"/>
              <a:gd name="connsiteX6806" fmla="*/ 4651023 w 8079933"/>
              <a:gd name="connsiteY6806" fmla="*/ 3039046 h 4687251"/>
              <a:gd name="connsiteX6807" fmla="*/ 4652759 w 8079933"/>
              <a:gd name="connsiteY6807" fmla="*/ 3036123 h 4687251"/>
              <a:gd name="connsiteX6808" fmla="*/ 4662091 w 8079933"/>
              <a:gd name="connsiteY6808" fmla="*/ 3019449 h 4687251"/>
              <a:gd name="connsiteX6809" fmla="*/ 4664153 w 8079933"/>
              <a:gd name="connsiteY6809" fmla="*/ 3015876 h 4687251"/>
              <a:gd name="connsiteX6810" fmla="*/ 4671750 w 8079933"/>
              <a:gd name="connsiteY6810" fmla="*/ 3007431 h 4687251"/>
              <a:gd name="connsiteX6811" fmla="*/ 4684012 w 8079933"/>
              <a:gd name="connsiteY6811" fmla="*/ 2991190 h 4687251"/>
              <a:gd name="connsiteX6812" fmla="*/ 4684446 w 8079933"/>
              <a:gd name="connsiteY6812" fmla="*/ 2988484 h 4687251"/>
              <a:gd name="connsiteX6813" fmla="*/ 4682601 w 8079933"/>
              <a:gd name="connsiteY6813" fmla="*/ 2984478 h 4687251"/>
              <a:gd name="connsiteX6814" fmla="*/ 4680323 w 8079933"/>
              <a:gd name="connsiteY6814" fmla="*/ 2981446 h 4687251"/>
              <a:gd name="connsiteX6815" fmla="*/ 4677609 w 8079933"/>
              <a:gd name="connsiteY6815" fmla="*/ 2979497 h 4687251"/>
              <a:gd name="connsiteX6816" fmla="*/ 4678152 w 8079933"/>
              <a:gd name="connsiteY6816" fmla="*/ 2973434 h 4687251"/>
              <a:gd name="connsiteX6817" fmla="*/ 4679563 w 8079933"/>
              <a:gd name="connsiteY6817" fmla="*/ 2965314 h 4687251"/>
              <a:gd name="connsiteX6818" fmla="*/ 4679563 w 8079933"/>
              <a:gd name="connsiteY6818" fmla="*/ 2958601 h 4687251"/>
              <a:gd name="connsiteX6819" fmla="*/ 4681950 w 8079933"/>
              <a:gd name="connsiteY6819" fmla="*/ 2955461 h 4687251"/>
              <a:gd name="connsiteX6820" fmla="*/ 4683144 w 8079933"/>
              <a:gd name="connsiteY6820" fmla="*/ 2951022 h 4687251"/>
              <a:gd name="connsiteX6821" fmla="*/ 4683165 w 8079933"/>
              <a:gd name="connsiteY6821" fmla="*/ 2950980 h 4687251"/>
              <a:gd name="connsiteX6822" fmla="*/ 4768058 w 8079933"/>
              <a:gd name="connsiteY6822" fmla="*/ 2950968 h 4687251"/>
              <a:gd name="connsiteX6823" fmla="*/ 4768872 w 8079933"/>
              <a:gd name="connsiteY6823" fmla="*/ 2953621 h 4687251"/>
              <a:gd name="connsiteX6824" fmla="*/ 4768872 w 8079933"/>
              <a:gd name="connsiteY6824" fmla="*/ 2953620 h 4687251"/>
              <a:gd name="connsiteX6825" fmla="*/ 6955809 w 8079933"/>
              <a:gd name="connsiteY6825" fmla="*/ 2948966 h 4687251"/>
              <a:gd name="connsiteX6826" fmla="*/ 6960693 w 8079933"/>
              <a:gd name="connsiteY6826" fmla="*/ 2954380 h 4687251"/>
              <a:gd name="connsiteX6827" fmla="*/ 6962213 w 8079933"/>
              <a:gd name="connsiteY6827" fmla="*/ 2959360 h 4687251"/>
              <a:gd name="connsiteX6828" fmla="*/ 6960151 w 8079933"/>
              <a:gd name="connsiteY6828" fmla="*/ 2961850 h 4687251"/>
              <a:gd name="connsiteX6829" fmla="*/ 6955809 w 8079933"/>
              <a:gd name="connsiteY6829" fmla="*/ 2958060 h 4687251"/>
              <a:gd name="connsiteX6830" fmla="*/ 6954941 w 8079933"/>
              <a:gd name="connsiteY6830" fmla="*/ 2951997 h 4687251"/>
              <a:gd name="connsiteX6831" fmla="*/ 4878474 w 8079933"/>
              <a:gd name="connsiteY6831" fmla="*/ 2948857 h 4687251"/>
              <a:gd name="connsiteX6832" fmla="*/ 4882706 w 8079933"/>
              <a:gd name="connsiteY6832" fmla="*/ 2950373 h 4687251"/>
              <a:gd name="connsiteX6833" fmla="*/ 4886070 w 8079933"/>
              <a:gd name="connsiteY6833" fmla="*/ 2950373 h 4687251"/>
              <a:gd name="connsiteX6834" fmla="*/ 4890844 w 8079933"/>
              <a:gd name="connsiteY6834" fmla="*/ 2950048 h 4687251"/>
              <a:gd name="connsiteX6835" fmla="*/ 4890845 w 8079933"/>
              <a:gd name="connsiteY6835" fmla="*/ 2950048 h 4687251"/>
              <a:gd name="connsiteX6836" fmla="*/ 4886071 w 8079933"/>
              <a:gd name="connsiteY6836" fmla="*/ 2950372 h 4687251"/>
              <a:gd name="connsiteX6837" fmla="*/ 4882707 w 8079933"/>
              <a:gd name="connsiteY6837" fmla="*/ 2950372 h 4687251"/>
              <a:gd name="connsiteX6838" fmla="*/ 4878474 w 8079933"/>
              <a:gd name="connsiteY6838" fmla="*/ 2948857 h 4687251"/>
              <a:gd name="connsiteX6839" fmla="*/ 2584365 w 8079933"/>
              <a:gd name="connsiteY6839" fmla="*/ 2948222 h 4687251"/>
              <a:gd name="connsiteX6840" fmla="*/ 2584757 w 8079933"/>
              <a:gd name="connsiteY6840" fmla="*/ 2948748 h 4687251"/>
              <a:gd name="connsiteX6841" fmla="*/ 2584975 w 8079933"/>
              <a:gd name="connsiteY6841" fmla="*/ 2951780 h 4687251"/>
              <a:gd name="connsiteX6842" fmla="*/ 2584758 w 8079933"/>
              <a:gd name="connsiteY6842" fmla="*/ 2948749 h 4687251"/>
              <a:gd name="connsiteX6843" fmla="*/ 4866754 w 8079933"/>
              <a:gd name="connsiteY6843" fmla="*/ 2947449 h 4687251"/>
              <a:gd name="connsiteX6844" fmla="*/ 4871962 w 8079933"/>
              <a:gd name="connsiteY6844" fmla="*/ 2949832 h 4687251"/>
              <a:gd name="connsiteX6845" fmla="*/ 4876640 w 8079933"/>
              <a:gd name="connsiteY6845" fmla="*/ 2949131 h 4687251"/>
              <a:gd name="connsiteX6846" fmla="*/ 4871963 w 8079933"/>
              <a:gd name="connsiteY6846" fmla="*/ 2949831 h 4687251"/>
              <a:gd name="connsiteX6847" fmla="*/ 4866755 w 8079933"/>
              <a:gd name="connsiteY6847" fmla="*/ 2947449 h 4687251"/>
              <a:gd name="connsiteX6848" fmla="*/ 4764531 w 8079933"/>
              <a:gd name="connsiteY6848" fmla="*/ 2943551 h 4687251"/>
              <a:gd name="connsiteX6849" fmla="*/ 4764097 w 8079933"/>
              <a:gd name="connsiteY6849" fmla="*/ 2947666 h 4687251"/>
              <a:gd name="connsiteX6850" fmla="*/ 4765919 w 8079933"/>
              <a:gd name="connsiteY6850" fmla="*/ 2948042 h 4687251"/>
              <a:gd name="connsiteX6851" fmla="*/ 4764098 w 8079933"/>
              <a:gd name="connsiteY6851" fmla="*/ 2947665 h 4687251"/>
              <a:gd name="connsiteX6852" fmla="*/ 6985433 w 8079933"/>
              <a:gd name="connsiteY6852" fmla="*/ 2943445 h 4687251"/>
              <a:gd name="connsiteX6853" fmla="*/ 6988037 w 8079933"/>
              <a:gd name="connsiteY6853" fmla="*/ 2944094 h 4687251"/>
              <a:gd name="connsiteX6854" fmla="*/ 6989556 w 8079933"/>
              <a:gd name="connsiteY6854" fmla="*/ 2948534 h 4687251"/>
              <a:gd name="connsiteX6855" fmla="*/ 6987712 w 8079933"/>
              <a:gd name="connsiteY6855" fmla="*/ 2948534 h 4687251"/>
              <a:gd name="connsiteX6856" fmla="*/ 4149350 w 8079933"/>
              <a:gd name="connsiteY6856" fmla="*/ 2943119 h 4687251"/>
              <a:gd name="connsiteX6857" fmla="*/ 4150977 w 8079933"/>
              <a:gd name="connsiteY6857" fmla="*/ 2944743 h 4687251"/>
              <a:gd name="connsiteX6858" fmla="*/ 4151412 w 8079933"/>
              <a:gd name="connsiteY6858" fmla="*/ 2951564 h 4687251"/>
              <a:gd name="connsiteX6859" fmla="*/ 4148048 w 8079933"/>
              <a:gd name="connsiteY6859" fmla="*/ 2960875 h 4687251"/>
              <a:gd name="connsiteX6860" fmla="*/ 4143382 w 8079933"/>
              <a:gd name="connsiteY6860" fmla="*/ 2960117 h 4687251"/>
              <a:gd name="connsiteX6861" fmla="*/ 4138933 w 8079933"/>
              <a:gd name="connsiteY6861" fmla="*/ 2957735 h 4687251"/>
              <a:gd name="connsiteX6862" fmla="*/ 4139258 w 8079933"/>
              <a:gd name="connsiteY6862" fmla="*/ 2954055 h 4687251"/>
              <a:gd name="connsiteX6863" fmla="*/ 4142405 w 8079933"/>
              <a:gd name="connsiteY6863" fmla="*/ 2953838 h 4687251"/>
              <a:gd name="connsiteX6864" fmla="*/ 4144250 w 8079933"/>
              <a:gd name="connsiteY6864" fmla="*/ 2948316 h 4687251"/>
              <a:gd name="connsiteX6865" fmla="*/ 6767423 w 8079933"/>
              <a:gd name="connsiteY6865" fmla="*/ 2940845 h 4687251"/>
              <a:gd name="connsiteX6866" fmla="*/ 6768725 w 8079933"/>
              <a:gd name="connsiteY6866" fmla="*/ 2943335 h 4687251"/>
              <a:gd name="connsiteX6867" fmla="*/ 6766338 w 8079933"/>
              <a:gd name="connsiteY6867" fmla="*/ 2942252 h 4687251"/>
              <a:gd name="connsiteX6868" fmla="*/ 4947597 w 8079933"/>
              <a:gd name="connsiteY6868" fmla="*/ 2940087 h 4687251"/>
              <a:gd name="connsiteX6869" fmla="*/ 4925353 w 8079933"/>
              <a:gd name="connsiteY6869" fmla="*/ 2961200 h 4687251"/>
              <a:gd name="connsiteX6870" fmla="*/ 4924918 w 8079933"/>
              <a:gd name="connsiteY6870" fmla="*/ 3055611 h 4687251"/>
              <a:gd name="connsiteX6871" fmla="*/ 4924919 w 8079933"/>
              <a:gd name="connsiteY6871" fmla="*/ 3055612 h 4687251"/>
              <a:gd name="connsiteX6872" fmla="*/ 4925353 w 8079933"/>
              <a:gd name="connsiteY6872" fmla="*/ 2961200 h 4687251"/>
              <a:gd name="connsiteX6873" fmla="*/ 4947599 w 8079933"/>
              <a:gd name="connsiteY6873" fmla="*/ 2940087 h 4687251"/>
              <a:gd name="connsiteX6874" fmla="*/ 4386784 w 8079933"/>
              <a:gd name="connsiteY6874" fmla="*/ 2940087 h 4687251"/>
              <a:gd name="connsiteX6875" fmla="*/ 4386430 w 8079933"/>
              <a:gd name="connsiteY6875" fmla="*/ 2941000 h 4687251"/>
              <a:gd name="connsiteX6876" fmla="*/ 4385482 w 8079933"/>
              <a:gd name="connsiteY6876" fmla="*/ 2943443 h 4687251"/>
              <a:gd name="connsiteX6877" fmla="*/ 4385479 w 8079933"/>
              <a:gd name="connsiteY6877" fmla="*/ 2943498 h 4687251"/>
              <a:gd name="connsiteX6878" fmla="*/ 4385482 w 8079933"/>
              <a:gd name="connsiteY6878" fmla="*/ 2943443 h 4687251"/>
              <a:gd name="connsiteX6879" fmla="*/ 4386430 w 8079933"/>
              <a:gd name="connsiteY6879" fmla="*/ 2941000 h 4687251"/>
              <a:gd name="connsiteX6880" fmla="*/ 4386784 w 8079933"/>
              <a:gd name="connsiteY6880" fmla="*/ 2940087 h 4687251"/>
              <a:gd name="connsiteX6881" fmla="*/ 4948141 w 8079933"/>
              <a:gd name="connsiteY6881" fmla="*/ 2939871 h 4687251"/>
              <a:gd name="connsiteX6882" fmla="*/ 4947276 w 8079933"/>
              <a:gd name="connsiteY6882" fmla="*/ 2940086 h 4687251"/>
              <a:gd name="connsiteX6883" fmla="*/ 4947277 w 8079933"/>
              <a:gd name="connsiteY6883" fmla="*/ 2940086 h 4687251"/>
              <a:gd name="connsiteX6884" fmla="*/ 4670242 w 8079933"/>
              <a:gd name="connsiteY6884" fmla="*/ 2939810 h 4687251"/>
              <a:gd name="connsiteX6885" fmla="*/ 4671206 w 8079933"/>
              <a:gd name="connsiteY6885" fmla="*/ 2942035 h 4687251"/>
              <a:gd name="connsiteX6886" fmla="*/ 4672726 w 8079933"/>
              <a:gd name="connsiteY6886" fmla="*/ 2943876 h 4687251"/>
              <a:gd name="connsiteX6887" fmla="*/ 4673377 w 8079933"/>
              <a:gd name="connsiteY6887" fmla="*/ 2945608 h 4687251"/>
              <a:gd name="connsiteX6888" fmla="*/ 4672726 w 8079933"/>
              <a:gd name="connsiteY6888" fmla="*/ 2943876 h 4687251"/>
              <a:gd name="connsiteX6889" fmla="*/ 4671207 w 8079933"/>
              <a:gd name="connsiteY6889" fmla="*/ 2942035 h 4687251"/>
              <a:gd name="connsiteX6890" fmla="*/ 2409287 w 8079933"/>
              <a:gd name="connsiteY6890" fmla="*/ 2939449 h 4687251"/>
              <a:gd name="connsiteX6891" fmla="*/ 2410155 w 8079933"/>
              <a:gd name="connsiteY6891" fmla="*/ 2941061 h 4687251"/>
              <a:gd name="connsiteX6892" fmla="*/ 2415146 w 8079933"/>
              <a:gd name="connsiteY6892" fmla="*/ 2942902 h 4687251"/>
              <a:gd name="connsiteX6893" fmla="*/ 2419595 w 8079933"/>
              <a:gd name="connsiteY6893" fmla="*/ 2947151 h 4687251"/>
              <a:gd name="connsiteX6894" fmla="*/ 2419161 w 8079933"/>
              <a:gd name="connsiteY6894" fmla="*/ 2946042 h 4687251"/>
              <a:gd name="connsiteX6895" fmla="*/ 2413952 w 8079933"/>
              <a:gd name="connsiteY6895" fmla="*/ 2941170 h 4687251"/>
              <a:gd name="connsiteX6896" fmla="*/ 2338208 w 8079933"/>
              <a:gd name="connsiteY6896" fmla="*/ 2938517 h 4687251"/>
              <a:gd name="connsiteX6897" fmla="*/ 2339510 w 8079933"/>
              <a:gd name="connsiteY6897" fmla="*/ 2940412 h 4687251"/>
              <a:gd name="connsiteX6898" fmla="*/ 2339615 w 8079933"/>
              <a:gd name="connsiteY6898" fmla="*/ 2943016 h 4687251"/>
              <a:gd name="connsiteX6899" fmla="*/ 2339510 w 8079933"/>
              <a:gd name="connsiteY6899" fmla="*/ 2940411 h 4687251"/>
              <a:gd name="connsiteX6900" fmla="*/ 2724047 w 8079933"/>
              <a:gd name="connsiteY6900" fmla="*/ 2938472 h 4687251"/>
              <a:gd name="connsiteX6901" fmla="*/ 2723959 w 8079933"/>
              <a:gd name="connsiteY6901" fmla="*/ 2938588 h 4687251"/>
              <a:gd name="connsiteX6902" fmla="*/ 2723984 w 8079933"/>
              <a:gd name="connsiteY6902" fmla="*/ 2938571 h 4687251"/>
              <a:gd name="connsiteX6903" fmla="*/ 6767533 w 8079933"/>
              <a:gd name="connsiteY6903" fmla="*/ 2938247 h 4687251"/>
              <a:gd name="connsiteX6904" fmla="*/ 6772633 w 8079933"/>
              <a:gd name="connsiteY6904" fmla="*/ 2940087 h 4687251"/>
              <a:gd name="connsiteX6905" fmla="*/ 6772742 w 8079933"/>
              <a:gd name="connsiteY6905" fmla="*/ 2941711 h 4687251"/>
              <a:gd name="connsiteX6906" fmla="*/ 6768726 w 8079933"/>
              <a:gd name="connsiteY6906" fmla="*/ 2941603 h 4687251"/>
              <a:gd name="connsiteX6907" fmla="*/ 6767424 w 8079933"/>
              <a:gd name="connsiteY6907" fmla="*/ 2939221 h 4687251"/>
              <a:gd name="connsiteX6908" fmla="*/ 2537444 w 8079933"/>
              <a:gd name="connsiteY6908" fmla="*/ 2938029 h 4687251"/>
              <a:gd name="connsiteX6909" fmla="*/ 2537010 w 8079933"/>
              <a:gd name="connsiteY6909" fmla="*/ 2938060 h 4687251"/>
              <a:gd name="connsiteX6910" fmla="*/ 2537010 w 8079933"/>
              <a:gd name="connsiteY6910" fmla="*/ 2939221 h 4687251"/>
              <a:gd name="connsiteX6911" fmla="*/ 2532670 w 8079933"/>
              <a:gd name="connsiteY6911" fmla="*/ 2944526 h 4687251"/>
              <a:gd name="connsiteX6912" fmla="*/ 2531150 w 8079933"/>
              <a:gd name="connsiteY6912" fmla="*/ 2951022 h 4687251"/>
              <a:gd name="connsiteX6913" fmla="*/ 2526484 w 8079933"/>
              <a:gd name="connsiteY6913" fmla="*/ 2959143 h 4687251"/>
              <a:gd name="connsiteX6914" fmla="*/ 2526484 w 8079933"/>
              <a:gd name="connsiteY6914" fmla="*/ 2964339 h 4687251"/>
              <a:gd name="connsiteX6915" fmla="*/ 2524748 w 8079933"/>
              <a:gd name="connsiteY6915" fmla="*/ 2967804 h 4687251"/>
              <a:gd name="connsiteX6916" fmla="*/ 2524096 w 8079933"/>
              <a:gd name="connsiteY6916" fmla="*/ 2972135 h 4687251"/>
              <a:gd name="connsiteX6917" fmla="*/ 2525291 w 8079933"/>
              <a:gd name="connsiteY6917" fmla="*/ 2974517 h 4687251"/>
              <a:gd name="connsiteX6918" fmla="*/ 2524205 w 8079933"/>
              <a:gd name="connsiteY6918" fmla="*/ 2977765 h 4687251"/>
              <a:gd name="connsiteX6919" fmla="*/ 2524205 w 8079933"/>
              <a:gd name="connsiteY6919" fmla="*/ 2982637 h 4687251"/>
              <a:gd name="connsiteX6920" fmla="*/ 2528546 w 8079933"/>
              <a:gd name="connsiteY6920" fmla="*/ 2987077 h 4687251"/>
              <a:gd name="connsiteX6921" fmla="*/ 2533755 w 8079933"/>
              <a:gd name="connsiteY6921" fmla="*/ 2992273 h 4687251"/>
              <a:gd name="connsiteX6922" fmla="*/ 2533755 w 8079933"/>
              <a:gd name="connsiteY6922" fmla="*/ 2995738 h 4687251"/>
              <a:gd name="connsiteX6923" fmla="*/ 2537227 w 8079933"/>
              <a:gd name="connsiteY6923" fmla="*/ 3000069 h 4687251"/>
              <a:gd name="connsiteX6924" fmla="*/ 2546668 w 8079933"/>
              <a:gd name="connsiteY6924" fmla="*/ 3008189 h 4687251"/>
              <a:gd name="connsiteX6925" fmla="*/ 2547334 w 8079933"/>
              <a:gd name="connsiteY6925" fmla="*/ 3008455 h 4687251"/>
              <a:gd name="connsiteX6926" fmla="*/ 2538855 w 8079933"/>
              <a:gd name="connsiteY6926" fmla="*/ 3001259 h 4687251"/>
              <a:gd name="connsiteX6927" fmla="*/ 2535382 w 8079933"/>
              <a:gd name="connsiteY6927" fmla="*/ 2996928 h 4687251"/>
              <a:gd name="connsiteX6928" fmla="*/ 2535165 w 8079933"/>
              <a:gd name="connsiteY6928" fmla="*/ 2993464 h 4687251"/>
              <a:gd name="connsiteX6929" fmla="*/ 2530065 w 8079933"/>
              <a:gd name="connsiteY6929" fmla="*/ 2988375 h 4687251"/>
              <a:gd name="connsiteX6930" fmla="*/ 2525724 w 8079933"/>
              <a:gd name="connsiteY6930" fmla="*/ 2983936 h 4687251"/>
              <a:gd name="connsiteX6931" fmla="*/ 2525182 w 8079933"/>
              <a:gd name="connsiteY6931" fmla="*/ 2979064 h 4687251"/>
              <a:gd name="connsiteX6932" fmla="*/ 2526267 w 8079933"/>
              <a:gd name="connsiteY6932" fmla="*/ 2975815 h 4687251"/>
              <a:gd name="connsiteX6933" fmla="*/ 2525073 w 8079933"/>
              <a:gd name="connsiteY6933" fmla="*/ 2973434 h 4687251"/>
              <a:gd name="connsiteX6934" fmla="*/ 2525724 w 8079933"/>
              <a:gd name="connsiteY6934" fmla="*/ 2969103 h 4687251"/>
              <a:gd name="connsiteX6935" fmla="*/ 2527460 w 8079933"/>
              <a:gd name="connsiteY6935" fmla="*/ 2965638 h 4687251"/>
              <a:gd name="connsiteX6936" fmla="*/ 2527135 w 8079933"/>
              <a:gd name="connsiteY6936" fmla="*/ 2960550 h 4687251"/>
              <a:gd name="connsiteX6937" fmla="*/ 2531801 w 8079933"/>
              <a:gd name="connsiteY6937" fmla="*/ 2952429 h 4687251"/>
              <a:gd name="connsiteX6938" fmla="*/ 2533320 w 8079933"/>
              <a:gd name="connsiteY6938" fmla="*/ 2945824 h 4687251"/>
              <a:gd name="connsiteX6939" fmla="*/ 2537552 w 8079933"/>
              <a:gd name="connsiteY6939" fmla="*/ 2940520 h 4687251"/>
              <a:gd name="connsiteX6940" fmla="*/ 6760043 w 8079933"/>
              <a:gd name="connsiteY6940" fmla="*/ 2934348 h 4687251"/>
              <a:gd name="connsiteX6941" fmla="*/ 6753316 w 8079933"/>
              <a:gd name="connsiteY6941" fmla="*/ 2934565 h 4687251"/>
              <a:gd name="connsiteX6942" fmla="*/ 6753317 w 8079933"/>
              <a:gd name="connsiteY6942" fmla="*/ 2934566 h 4687251"/>
              <a:gd name="connsiteX6943" fmla="*/ 6760045 w 8079933"/>
              <a:gd name="connsiteY6943" fmla="*/ 2934349 h 4687251"/>
              <a:gd name="connsiteX6944" fmla="*/ 6542903 w 8079933"/>
              <a:gd name="connsiteY6944" fmla="*/ 2933916 h 4687251"/>
              <a:gd name="connsiteX6945" fmla="*/ 6548329 w 8079933"/>
              <a:gd name="connsiteY6945" fmla="*/ 2941169 h 4687251"/>
              <a:gd name="connsiteX6946" fmla="*/ 6546376 w 8079933"/>
              <a:gd name="connsiteY6946" fmla="*/ 2947882 h 4687251"/>
              <a:gd name="connsiteX6947" fmla="*/ 6542794 w 8079933"/>
              <a:gd name="connsiteY6947" fmla="*/ 2947882 h 4687251"/>
              <a:gd name="connsiteX6948" fmla="*/ 6543771 w 8079933"/>
              <a:gd name="connsiteY6948" fmla="*/ 2944201 h 4687251"/>
              <a:gd name="connsiteX6949" fmla="*/ 6541167 w 8079933"/>
              <a:gd name="connsiteY6949" fmla="*/ 2944201 h 4687251"/>
              <a:gd name="connsiteX6950" fmla="*/ 6536392 w 8079933"/>
              <a:gd name="connsiteY6950" fmla="*/ 2939654 h 4687251"/>
              <a:gd name="connsiteX6951" fmla="*/ 6538779 w 8079933"/>
              <a:gd name="connsiteY6951" fmla="*/ 2936298 h 4687251"/>
              <a:gd name="connsiteX6952" fmla="*/ 6731012 w 8079933"/>
              <a:gd name="connsiteY6952" fmla="*/ 2932430 h 4687251"/>
              <a:gd name="connsiteX6953" fmla="*/ 6732699 w 8079933"/>
              <a:gd name="connsiteY6953" fmla="*/ 2933158 h 4687251"/>
              <a:gd name="connsiteX6954" fmla="*/ 6740187 w 8079933"/>
              <a:gd name="connsiteY6954" fmla="*/ 2932509 h 4687251"/>
              <a:gd name="connsiteX6955" fmla="*/ 6750712 w 8079933"/>
              <a:gd name="connsiteY6955" fmla="*/ 2932616 h 4687251"/>
              <a:gd name="connsiteX6956" fmla="*/ 6750711 w 8079933"/>
              <a:gd name="connsiteY6956" fmla="*/ 2932616 h 4687251"/>
              <a:gd name="connsiteX6957" fmla="*/ 6740184 w 8079933"/>
              <a:gd name="connsiteY6957" fmla="*/ 2932508 h 4687251"/>
              <a:gd name="connsiteX6958" fmla="*/ 6732697 w 8079933"/>
              <a:gd name="connsiteY6958" fmla="*/ 2933157 h 4687251"/>
              <a:gd name="connsiteX6959" fmla="*/ 4921881 w 8079933"/>
              <a:gd name="connsiteY6959" fmla="*/ 2932291 h 4687251"/>
              <a:gd name="connsiteX6960" fmla="*/ 4925353 w 8079933"/>
              <a:gd name="connsiteY6960" fmla="*/ 2934024 h 4687251"/>
              <a:gd name="connsiteX6961" fmla="*/ 4928174 w 8079933"/>
              <a:gd name="connsiteY6961" fmla="*/ 2939220 h 4687251"/>
              <a:gd name="connsiteX6962" fmla="*/ 4932297 w 8079933"/>
              <a:gd name="connsiteY6962" fmla="*/ 2941494 h 4687251"/>
              <a:gd name="connsiteX6963" fmla="*/ 4937649 w 8079933"/>
              <a:gd name="connsiteY6963" fmla="*/ 2940594 h 4687251"/>
              <a:gd name="connsiteX6964" fmla="*/ 4932299 w 8079933"/>
              <a:gd name="connsiteY6964" fmla="*/ 2941494 h 4687251"/>
              <a:gd name="connsiteX6965" fmla="*/ 4928175 w 8079933"/>
              <a:gd name="connsiteY6965" fmla="*/ 2939220 h 4687251"/>
              <a:gd name="connsiteX6966" fmla="*/ 4925354 w 8079933"/>
              <a:gd name="connsiteY6966" fmla="*/ 2934024 h 4687251"/>
              <a:gd name="connsiteX6967" fmla="*/ 4921882 w 8079933"/>
              <a:gd name="connsiteY6967" fmla="*/ 2932291 h 4687251"/>
              <a:gd name="connsiteX6968" fmla="*/ 4964962 w 8079933"/>
              <a:gd name="connsiteY6968" fmla="*/ 2931642 h 4687251"/>
              <a:gd name="connsiteX6969" fmla="*/ 4957909 w 8079933"/>
              <a:gd name="connsiteY6969" fmla="*/ 2932724 h 4687251"/>
              <a:gd name="connsiteX6970" fmla="*/ 4957908 w 8079933"/>
              <a:gd name="connsiteY6970" fmla="*/ 2932725 h 4687251"/>
              <a:gd name="connsiteX6971" fmla="*/ 4964961 w 8079933"/>
              <a:gd name="connsiteY6971" fmla="*/ 2931642 h 4687251"/>
              <a:gd name="connsiteX6972" fmla="*/ 6728681 w 8079933"/>
              <a:gd name="connsiteY6972" fmla="*/ 2931425 h 4687251"/>
              <a:gd name="connsiteX6973" fmla="*/ 6723690 w 8079933"/>
              <a:gd name="connsiteY6973" fmla="*/ 2937488 h 4687251"/>
              <a:gd name="connsiteX6974" fmla="*/ 6724015 w 8079933"/>
              <a:gd name="connsiteY6974" fmla="*/ 2940520 h 4687251"/>
              <a:gd name="connsiteX6975" fmla="*/ 6721628 w 8079933"/>
              <a:gd name="connsiteY6975" fmla="*/ 2944742 h 4687251"/>
              <a:gd name="connsiteX6976" fmla="*/ 6721628 w 8079933"/>
              <a:gd name="connsiteY6976" fmla="*/ 2948315 h 4687251"/>
              <a:gd name="connsiteX6977" fmla="*/ 6716419 w 8079933"/>
              <a:gd name="connsiteY6977" fmla="*/ 2966721 h 4687251"/>
              <a:gd name="connsiteX6978" fmla="*/ 6709257 w 8079933"/>
              <a:gd name="connsiteY6978" fmla="*/ 2977548 h 4687251"/>
              <a:gd name="connsiteX6979" fmla="*/ 6705459 w 8079933"/>
              <a:gd name="connsiteY6979" fmla="*/ 2987617 h 4687251"/>
              <a:gd name="connsiteX6980" fmla="*/ 6695909 w 8079933"/>
              <a:gd name="connsiteY6980" fmla="*/ 3001909 h 4687251"/>
              <a:gd name="connsiteX6981" fmla="*/ 6696669 w 8079933"/>
              <a:gd name="connsiteY6981" fmla="*/ 3005590 h 4687251"/>
              <a:gd name="connsiteX6982" fmla="*/ 6685275 w 8079933"/>
              <a:gd name="connsiteY6982" fmla="*/ 3007214 h 4687251"/>
              <a:gd name="connsiteX6983" fmla="*/ 6675400 w 8079933"/>
              <a:gd name="connsiteY6983" fmla="*/ 3012627 h 4687251"/>
              <a:gd name="connsiteX6984" fmla="*/ 6669758 w 8079933"/>
              <a:gd name="connsiteY6984" fmla="*/ 3012736 h 4687251"/>
              <a:gd name="connsiteX6985" fmla="*/ 6669759 w 8079933"/>
              <a:gd name="connsiteY6985" fmla="*/ 3012737 h 4687251"/>
              <a:gd name="connsiteX6986" fmla="*/ 6675403 w 8079933"/>
              <a:gd name="connsiteY6986" fmla="*/ 3012629 h 4687251"/>
              <a:gd name="connsiteX6987" fmla="*/ 6685278 w 8079933"/>
              <a:gd name="connsiteY6987" fmla="*/ 3007215 h 4687251"/>
              <a:gd name="connsiteX6988" fmla="*/ 6696672 w 8079933"/>
              <a:gd name="connsiteY6988" fmla="*/ 3005592 h 4687251"/>
              <a:gd name="connsiteX6989" fmla="*/ 6695912 w 8079933"/>
              <a:gd name="connsiteY6989" fmla="*/ 3001910 h 4687251"/>
              <a:gd name="connsiteX6990" fmla="*/ 6705461 w 8079933"/>
              <a:gd name="connsiteY6990" fmla="*/ 2987619 h 4687251"/>
              <a:gd name="connsiteX6991" fmla="*/ 6709260 w 8079933"/>
              <a:gd name="connsiteY6991" fmla="*/ 2977549 h 4687251"/>
              <a:gd name="connsiteX6992" fmla="*/ 6716422 w 8079933"/>
              <a:gd name="connsiteY6992" fmla="*/ 2966723 h 4687251"/>
              <a:gd name="connsiteX6993" fmla="*/ 6721631 w 8079933"/>
              <a:gd name="connsiteY6993" fmla="*/ 2948316 h 4687251"/>
              <a:gd name="connsiteX6994" fmla="*/ 6721631 w 8079933"/>
              <a:gd name="connsiteY6994" fmla="*/ 2944743 h 4687251"/>
              <a:gd name="connsiteX6995" fmla="*/ 6724018 w 8079933"/>
              <a:gd name="connsiteY6995" fmla="*/ 2940520 h 4687251"/>
              <a:gd name="connsiteX6996" fmla="*/ 6723692 w 8079933"/>
              <a:gd name="connsiteY6996" fmla="*/ 2937489 h 4687251"/>
              <a:gd name="connsiteX6997" fmla="*/ 6728684 w 8079933"/>
              <a:gd name="connsiteY6997" fmla="*/ 2931426 h 4687251"/>
              <a:gd name="connsiteX6998" fmla="*/ 4384506 w 8079933"/>
              <a:gd name="connsiteY6998" fmla="*/ 2930235 h 4687251"/>
              <a:gd name="connsiteX6999" fmla="*/ 4384506 w 8079933"/>
              <a:gd name="connsiteY6999" fmla="*/ 2932942 h 4687251"/>
              <a:gd name="connsiteX7000" fmla="*/ 4388304 w 8079933"/>
              <a:gd name="connsiteY7000" fmla="*/ 2938030 h 4687251"/>
              <a:gd name="connsiteX7001" fmla="*/ 4388304 w 8079933"/>
              <a:gd name="connsiteY7001" fmla="*/ 2938029 h 4687251"/>
              <a:gd name="connsiteX7002" fmla="*/ 4384506 w 8079933"/>
              <a:gd name="connsiteY7002" fmla="*/ 2932941 h 4687251"/>
              <a:gd name="connsiteX7003" fmla="*/ 4384506 w 8079933"/>
              <a:gd name="connsiteY7003" fmla="*/ 2930235 h 4687251"/>
              <a:gd name="connsiteX7004" fmla="*/ 6987280 w 8079933"/>
              <a:gd name="connsiteY7004" fmla="*/ 2930127 h 4687251"/>
              <a:gd name="connsiteX7005" fmla="*/ 6990426 w 8079933"/>
              <a:gd name="connsiteY7005" fmla="*/ 2932184 h 4687251"/>
              <a:gd name="connsiteX7006" fmla="*/ 6991620 w 8079933"/>
              <a:gd name="connsiteY7006" fmla="*/ 2936731 h 4687251"/>
              <a:gd name="connsiteX7007" fmla="*/ 6989667 w 8079933"/>
              <a:gd name="connsiteY7007" fmla="*/ 2940845 h 4687251"/>
              <a:gd name="connsiteX7008" fmla="*/ 6987280 w 8079933"/>
              <a:gd name="connsiteY7008" fmla="*/ 2941928 h 4687251"/>
              <a:gd name="connsiteX7009" fmla="*/ 6986737 w 8079933"/>
              <a:gd name="connsiteY7009" fmla="*/ 2937489 h 4687251"/>
              <a:gd name="connsiteX7010" fmla="*/ 6985000 w 8079933"/>
              <a:gd name="connsiteY7010" fmla="*/ 2931643 h 4687251"/>
              <a:gd name="connsiteX7011" fmla="*/ 4473706 w 8079933"/>
              <a:gd name="connsiteY7011" fmla="*/ 2928394 h 4687251"/>
              <a:gd name="connsiteX7012" fmla="*/ 4474140 w 8079933"/>
              <a:gd name="connsiteY7012" fmla="*/ 2930992 h 4687251"/>
              <a:gd name="connsiteX7013" fmla="*/ 4476636 w 8079933"/>
              <a:gd name="connsiteY7013" fmla="*/ 2933049 h 4687251"/>
              <a:gd name="connsiteX7014" fmla="*/ 4475768 w 8079933"/>
              <a:gd name="connsiteY7014" fmla="*/ 2934997 h 4687251"/>
              <a:gd name="connsiteX7015" fmla="*/ 4476636 w 8079933"/>
              <a:gd name="connsiteY7015" fmla="*/ 2933049 h 4687251"/>
              <a:gd name="connsiteX7016" fmla="*/ 4474141 w 8079933"/>
              <a:gd name="connsiteY7016" fmla="*/ 2930991 h 4687251"/>
              <a:gd name="connsiteX7017" fmla="*/ 6690376 w 8079933"/>
              <a:gd name="connsiteY7017" fmla="*/ 2928178 h 4687251"/>
              <a:gd name="connsiteX7018" fmla="*/ 6694499 w 8079933"/>
              <a:gd name="connsiteY7018" fmla="*/ 2935215 h 4687251"/>
              <a:gd name="connsiteX7019" fmla="*/ 6697361 w 8079933"/>
              <a:gd name="connsiteY7019" fmla="*/ 2937406 h 4687251"/>
              <a:gd name="connsiteX7020" fmla="*/ 6694500 w 8079933"/>
              <a:gd name="connsiteY7020" fmla="*/ 2935215 h 4687251"/>
              <a:gd name="connsiteX7021" fmla="*/ 2337045 w 8079933"/>
              <a:gd name="connsiteY7021" fmla="*/ 2927893 h 4687251"/>
              <a:gd name="connsiteX7022" fmla="*/ 2336689 w 8079933"/>
              <a:gd name="connsiteY7022" fmla="*/ 2929043 h 4687251"/>
              <a:gd name="connsiteX7023" fmla="*/ 2336689 w 8079933"/>
              <a:gd name="connsiteY7023" fmla="*/ 2929043 h 4687251"/>
              <a:gd name="connsiteX7024" fmla="*/ 4655655 w 8079933"/>
              <a:gd name="connsiteY7024" fmla="*/ 2926341 h 4687251"/>
              <a:gd name="connsiteX7025" fmla="*/ 4656665 w 8079933"/>
              <a:gd name="connsiteY7025" fmla="*/ 2928393 h 4687251"/>
              <a:gd name="connsiteX7026" fmla="*/ 4659378 w 8079933"/>
              <a:gd name="connsiteY7026" fmla="*/ 2931533 h 4687251"/>
              <a:gd name="connsiteX7027" fmla="*/ 4660680 w 8079933"/>
              <a:gd name="connsiteY7027" fmla="*/ 2933590 h 4687251"/>
              <a:gd name="connsiteX7028" fmla="*/ 4659378 w 8079933"/>
              <a:gd name="connsiteY7028" fmla="*/ 2931533 h 4687251"/>
              <a:gd name="connsiteX7029" fmla="*/ 4656665 w 8079933"/>
              <a:gd name="connsiteY7029" fmla="*/ 2928394 h 4687251"/>
              <a:gd name="connsiteX7030" fmla="*/ 4830956 w 8079933"/>
              <a:gd name="connsiteY7030" fmla="*/ 2925851 h 4687251"/>
              <a:gd name="connsiteX7031" fmla="*/ 4834633 w 8079933"/>
              <a:gd name="connsiteY7031" fmla="*/ 2928177 h 4687251"/>
              <a:gd name="connsiteX7032" fmla="*/ 4844725 w 8079933"/>
              <a:gd name="connsiteY7032" fmla="*/ 2937705 h 4687251"/>
              <a:gd name="connsiteX7033" fmla="*/ 4850585 w 8079933"/>
              <a:gd name="connsiteY7033" fmla="*/ 2941711 h 4687251"/>
              <a:gd name="connsiteX7034" fmla="*/ 4854492 w 8079933"/>
              <a:gd name="connsiteY7034" fmla="*/ 2946258 h 4687251"/>
              <a:gd name="connsiteX7035" fmla="*/ 4858290 w 8079933"/>
              <a:gd name="connsiteY7035" fmla="*/ 2947449 h 4687251"/>
              <a:gd name="connsiteX7036" fmla="*/ 4858291 w 8079933"/>
              <a:gd name="connsiteY7036" fmla="*/ 2947449 h 4687251"/>
              <a:gd name="connsiteX7037" fmla="*/ 4854493 w 8079933"/>
              <a:gd name="connsiteY7037" fmla="*/ 2946258 h 4687251"/>
              <a:gd name="connsiteX7038" fmla="*/ 4850586 w 8079933"/>
              <a:gd name="connsiteY7038" fmla="*/ 2941711 h 4687251"/>
              <a:gd name="connsiteX7039" fmla="*/ 4844726 w 8079933"/>
              <a:gd name="connsiteY7039" fmla="*/ 2937704 h 4687251"/>
              <a:gd name="connsiteX7040" fmla="*/ 4834634 w 8079933"/>
              <a:gd name="connsiteY7040" fmla="*/ 2928177 h 4687251"/>
              <a:gd name="connsiteX7041" fmla="*/ 4389715 w 8079933"/>
              <a:gd name="connsiteY7041" fmla="*/ 2925795 h 4687251"/>
              <a:gd name="connsiteX7042" fmla="*/ 4389714 w 8079933"/>
              <a:gd name="connsiteY7042" fmla="*/ 2925796 h 4687251"/>
              <a:gd name="connsiteX7043" fmla="*/ 4389714 w 8079933"/>
              <a:gd name="connsiteY7043" fmla="*/ 2928394 h 4687251"/>
              <a:gd name="connsiteX7044" fmla="*/ 4389715 w 8079933"/>
              <a:gd name="connsiteY7044" fmla="*/ 2928393 h 4687251"/>
              <a:gd name="connsiteX7045" fmla="*/ 4608126 w 8079933"/>
              <a:gd name="connsiteY7045" fmla="*/ 2925644 h 4687251"/>
              <a:gd name="connsiteX7046" fmla="*/ 4608375 w 8079933"/>
              <a:gd name="connsiteY7046" fmla="*/ 2925903 h 4687251"/>
              <a:gd name="connsiteX7047" fmla="*/ 4608376 w 8079933"/>
              <a:gd name="connsiteY7047" fmla="*/ 2925903 h 4687251"/>
              <a:gd name="connsiteX7048" fmla="*/ 4975922 w 8079933"/>
              <a:gd name="connsiteY7048" fmla="*/ 2925470 h 4687251"/>
              <a:gd name="connsiteX7049" fmla="*/ 4972536 w 8079933"/>
              <a:gd name="connsiteY7049" fmla="*/ 2927435 h 4687251"/>
              <a:gd name="connsiteX7050" fmla="*/ 4975922 w 8079933"/>
              <a:gd name="connsiteY7050" fmla="*/ 2925471 h 4687251"/>
              <a:gd name="connsiteX7051" fmla="*/ 2659591 w 8079933"/>
              <a:gd name="connsiteY7051" fmla="*/ 2923041 h 4687251"/>
              <a:gd name="connsiteX7052" fmla="*/ 2659851 w 8079933"/>
              <a:gd name="connsiteY7052" fmla="*/ 2923738 h 4687251"/>
              <a:gd name="connsiteX7053" fmla="*/ 2659540 w 8079933"/>
              <a:gd name="connsiteY7053" fmla="*/ 2926838 h 4687251"/>
              <a:gd name="connsiteX7054" fmla="*/ 2659851 w 8079933"/>
              <a:gd name="connsiteY7054" fmla="*/ 2923739 h 4687251"/>
              <a:gd name="connsiteX7055" fmla="*/ 4601911 w 8079933"/>
              <a:gd name="connsiteY7055" fmla="*/ 2921093 h 4687251"/>
              <a:gd name="connsiteX7056" fmla="*/ 4602841 w 8079933"/>
              <a:gd name="connsiteY7056" fmla="*/ 2922222 h 4687251"/>
              <a:gd name="connsiteX7057" fmla="*/ 4601912 w 8079933"/>
              <a:gd name="connsiteY7057" fmla="*/ 2921094 h 4687251"/>
              <a:gd name="connsiteX7058" fmla="*/ 6808226 w 8079933"/>
              <a:gd name="connsiteY7058" fmla="*/ 2919841 h 4687251"/>
              <a:gd name="connsiteX7059" fmla="*/ 6809420 w 8079933"/>
              <a:gd name="connsiteY7059" fmla="*/ 2923306 h 4687251"/>
              <a:gd name="connsiteX7060" fmla="*/ 6809420 w 8079933"/>
              <a:gd name="connsiteY7060" fmla="*/ 2927095 h 4687251"/>
              <a:gd name="connsiteX7061" fmla="*/ 6807358 w 8079933"/>
              <a:gd name="connsiteY7061" fmla="*/ 2922765 h 4687251"/>
              <a:gd name="connsiteX7062" fmla="*/ 4392428 w 8079933"/>
              <a:gd name="connsiteY7062" fmla="*/ 2919732 h 4687251"/>
              <a:gd name="connsiteX7063" fmla="*/ 4392427 w 8079933"/>
              <a:gd name="connsiteY7063" fmla="*/ 2919733 h 4687251"/>
              <a:gd name="connsiteX7064" fmla="*/ 4391884 w 8079933"/>
              <a:gd name="connsiteY7064" fmla="*/ 2923089 h 4687251"/>
              <a:gd name="connsiteX7065" fmla="*/ 4391136 w 8079933"/>
              <a:gd name="connsiteY7065" fmla="*/ 2924022 h 4687251"/>
              <a:gd name="connsiteX7066" fmla="*/ 4391885 w 8079933"/>
              <a:gd name="connsiteY7066" fmla="*/ 2923088 h 4687251"/>
              <a:gd name="connsiteX7067" fmla="*/ 4987967 w 8079933"/>
              <a:gd name="connsiteY7067" fmla="*/ 2917242 h 4687251"/>
              <a:gd name="connsiteX7068" fmla="*/ 4983844 w 8079933"/>
              <a:gd name="connsiteY7068" fmla="*/ 2917567 h 4687251"/>
              <a:gd name="connsiteX7069" fmla="*/ 4983843 w 8079933"/>
              <a:gd name="connsiteY7069" fmla="*/ 2917567 h 4687251"/>
              <a:gd name="connsiteX7070" fmla="*/ 4987967 w 8079933"/>
              <a:gd name="connsiteY7070" fmla="*/ 2917242 h 4687251"/>
              <a:gd name="connsiteX7071" fmla="*/ 2524639 w 8079933"/>
              <a:gd name="connsiteY7071" fmla="*/ 2915296 h 4687251"/>
              <a:gd name="connsiteX7072" fmla="*/ 2524639 w 8079933"/>
              <a:gd name="connsiteY7072" fmla="*/ 2920057 h 4687251"/>
              <a:gd name="connsiteX7073" fmla="*/ 2521709 w 8079933"/>
              <a:gd name="connsiteY7073" fmla="*/ 2924713 h 4687251"/>
              <a:gd name="connsiteX7074" fmla="*/ 2519648 w 8079933"/>
              <a:gd name="connsiteY7074" fmla="*/ 2927636 h 4687251"/>
              <a:gd name="connsiteX7075" fmla="*/ 2521042 w 8079933"/>
              <a:gd name="connsiteY7075" fmla="*/ 2928331 h 4687251"/>
              <a:gd name="connsiteX7076" fmla="*/ 2522143 w 8079933"/>
              <a:gd name="connsiteY7076" fmla="*/ 2926769 h 4687251"/>
              <a:gd name="connsiteX7077" fmla="*/ 2525073 w 8079933"/>
              <a:gd name="connsiteY7077" fmla="*/ 2922114 h 4687251"/>
              <a:gd name="connsiteX7078" fmla="*/ 2525073 w 8079933"/>
              <a:gd name="connsiteY7078" fmla="*/ 2915834 h 4687251"/>
              <a:gd name="connsiteX7079" fmla="*/ 4151931 w 8079933"/>
              <a:gd name="connsiteY7079" fmla="*/ 2915264 h 4687251"/>
              <a:gd name="connsiteX7080" fmla="*/ 4146095 w 8079933"/>
              <a:gd name="connsiteY7080" fmla="*/ 2922005 h 4687251"/>
              <a:gd name="connsiteX7081" fmla="*/ 4146095 w 8079933"/>
              <a:gd name="connsiteY7081" fmla="*/ 2922006 h 4687251"/>
              <a:gd name="connsiteX7082" fmla="*/ 4598750 w 8079933"/>
              <a:gd name="connsiteY7082" fmla="*/ 2914851 h 4687251"/>
              <a:gd name="connsiteX7083" fmla="*/ 4598717 w 8079933"/>
              <a:gd name="connsiteY7083" fmla="*/ 2915184 h 4687251"/>
              <a:gd name="connsiteX7084" fmla="*/ 4598717 w 8079933"/>
              <a:gd name="connsiteY7084" fmla="*/ 2915184 h 4687251"/>
              <a:gd name="connsiteX7085" fmla="*/ 4598751 w 8079933"/>
              <a:gd name="connsiteY7085" fmla="*/ 2914852 h 4687251"/>
              <a:gd name="connsiteX7086" fmla="*/ 5007393 w 8079933"/>
              <a:gd name="connsiteY7086" fmla="*/ 2913777 h 4687251"/>
              <a:gd name="connsiteX7087" fmla="*/ 4992526 w 8079933"/>
              <a:gd name="connsiteY7087" fmla="*/ 2914426 h 4687251"/>
              <a:gd name="connsiteX7088" fmla="*/ 4992525 w 8079933"/>
              <a:gd name="connsiteY7088" fmla="*/ 2914427 h 4687251"/>
              <a:gd name="connsiteX7089" fmla="*/ 5007391 w 8079933"/>
              <a:gd name="connsiteY7089" fmla="*/ 2913778 h 4687251"/>
              <a:gd name="connsiteX7090" fmla="*/ 5022041 w 8079933"/>
              <a:gd name="connsiteY7090" fmla="*/ 2914210 h 4687251"/>
              <a:gd name="connsiteX7091" fmla="*/ 5022042 w 8079933"/>
              <a:gd name="connsiteY7091" fmla="*/ 2914210 h 4687251"/>
              <a:gd name="connsiteX7092" fmla="*/ 4154776 w 8079933"/>
              <a:gd name="connsiteY7092" fmla="*/ 2908905 h 4687251"/>
              <a:gd name="connsiteX7093" fmla="*/ 4153707 w 8079933"/>
              <a:gd name="connsiteY7093" fmla="*/ 2911456 h 4687251"/>
              <a:gd name="connsiteX7094" fmla="*/ 4154776 w 8079933"/>
              <a:gd name="connsiteY7094" fmla="*/ 2908906 h 4687251"/>
              <a:gd name="connsiteX7095" fmla="*/ 4547227 w 8079933"/>
              <a:gd name="connsiteY7095" fmla="*/ 2908062 h 4687251"/>
              <a:gd name="connsiteX7096" fmla="*/ 4547063 w 8079933"/>
              <a:gd name="connsiteY7096" fmla="*/ 2909447 h 4687251"/>
              <a:gd name="connsiteX7097" fmla="*/ 4548040 w 8079933"/>
              <a:gd name="connsiteY7097" fmla="*/ 2911071 h 4687251"/>
              <a:gd name="connsiteX7098" fmla="*/ 4548040 w 8079933"/>
              <a:gd name="connsiteY7098" fmla="*/ 2911070 h 4687251"/>
              <a:gd name="connsiteX7099" fmla="*/ 4547063 w 8079933"/>
              <a:gd name="connsiteY7099" fmla="*/ 2909446 h 4687251"/>
              <a:gd name="connsiteX7100" fmla="*/ 6828193 w 8079933"/>
              <a:gd name="connsiteY7100" fmla="*/ 2907714 h 4687251"/>
              <a:gd name="connsiteX7101" fmla="*/ 6828627 w 8079933"/>
              <a:gd name="connsiteY7101" fmla="*/ 2911287 h 4687251"/>
              <a:gd name="connsiteX7102" fmla="*/ 6823093 w 8079933"/>
              <a:gd name="connsiteY7102" fmla="*/ 2915184 h 4687251"/>
              <a:gd name="connsiteX7103" fmla="*/ 6817884 w 8079933"/>
              <a:gd name="connsiteY7103" fmla="*/ 2916375 h 4687251"/>
              <a:gd name="connsiteX7104" fmla="*/ 6816581 w 8079933"/>
              <a:gd name="connsiteY7104" fmla="*/ 2914860 h 4687251"/>
              <a:gd name="connsiteX7105" fmla="*/ 6824503 w 8079933"/>
              <a:gd name="connsiteY7105" fmla="*/ 2908363 h 4687251"/>
              <a:gd name="connsiteX7106" fmla="*/ 4798388 w 8079933"/>
              <a:gd name="connsiteY7106" fmla="*/ 2906523 h 4687251"/>
              <a:gd name="connsiteX7107" fmla="*/ 4798388 w 8079933"/>
              <a:gd name="connsiteY7107" fmla="*/ 2920923 h 4687251"/>
              <a:gd name="connsiteX7108" fmla="*/ 4802512 w 8079933"/>
              <a:gd name="connsiteY7108" fmla="*/ 2925471 h 4687251"/>
              <a:gd name="connsiteX7109" fmla="*/ 4807178 w 8079933"/>
              <a:gd name="connsiteY7109" fmla="*/ 2926445 h 4687251"/>
              <a:gd name="connsiteX7110" fmla="*/ 4812604 w 8079933"/>
              <a:gd name="connsiteY7110" fmla="*/ 2924604 h 4687251"/>
              <a:gd name="connsiteX7111" fmla="*/ 4818573 w 8079933"/>
              <a:gd name="connsiteY7111" fmla="*/ 2926120 h 4687251"/>
              <a:gd name="connsiteX7112" fmla="*/ 4823988 w 8079933"/>
              <a:gd name="connsiteY7112" fmla="*/ 2925766 h 4687251"/>
              <a:gd name="connsiteX7113" fmla="*/ 4818573 w 8079933"/>
              <a:gd name="connsiteY7113" fmla="*/ 2926120 h 4687251"/>
              <a:gd name="connsiteX7114" fmla="*/ 4812605 w 8079933"/>
              <a:gd name="connsiteY7114" fmla="*/ 2924604 h 4687251"/>
              <a:gd name="connsiteX7115" fmla="*/ 4807178 w 8079933"/>
              <a:gd name="connsiteY7115" fmla="*/ 2926444 h 4687251"/>
              <a:gd name="connsiteX7116" fmla="*/ 4802512 w 8079933"/>
              <a:gd name="connsiteY7116" fmla="*/ 2925470 h 4687251"/>
              <a:gd name="connsiteX7117" fmla="*/ 4798389 w 8079933"/>
              <a:gd name="connsiteY7117" fmla="*/ 2920922 h 4687251"/>
              <a:gd name="connsiteX7118" fmla="*/ 4798389 w 8079933"/>
              <a:gd name="connsiteY7118" fmla="*/ 2906523 h 4687251"/>
              <a:gd name="connsiteX7119" fmla="*/ 2345045 w 8079933"/>
              <a:gd name="connsiteY7119" fmla="*/ 2906414 h 4687251"/>
              <a:gd name="connsiteX7120" fmla="*/ 2339294 w 8079933"/>
              <a:gd name="connsiteY7120" fmla="*/ 2908147 h 4687251"/>
              <a:gd name="connsiteX7121" fmla="*/ 2339294 w 8079933"/>
              <a:gd name="connsiteY7121" fmla="*/ 2908147 h 4687251"/>
              <a:gd name="connsiteX7122" fmla="*/ 2345044 w 8079933"/>
              <a:gd name="connsiteY7122" fmla="*/ 2906415 h 4687251"/>
              <a:gd name="connsiteX7123" fmla="*/ 4786214 w 8079933"/>
              <a:gd name="connsiteY7123" fmla="*/ 2903880 h 4687251"/>
              <a:gd name="connsiteX7124" fmla="*/ 4785693 w 8079933"/>
              <a:gd name="connsiteY7124" fmla="*/ 2904465 h 4687251"/>
              <a:gd name="connsiteX7125" fmla="*/ 4785693 w 8079933"/>
              <a:gd name="connsiteY7125" fmla="*/ 2904465 h 4687251"/>
              <a:gd name="connsiteX7126" fmla="*/ 2346564 w 8079933"/>
              <a:gd name="connsiteY7126" fmla="*/ 2903491 h 4687251"/>
              <a:gd name="connsiteX7127" fmla="*/ 2345762 w 8079933"/>
              <a:gd name="connsiteY7127" fmla="*/ 2905034 h 4687251"/>
              <a:gd name="connsiteX7128" fmla="*/ 2346564 w 8079933"/>
              <a:gd name="connsiteY7128" fmla="*/ 2903492 h 4687251"/>
              <a:gd name="connsiteX7129" fmla="*/ 6345944 w 8079933"/>
              <a:gd name="connsiteY7129" fmla="*/ 2902626 h 4687251"/>
              <a:gd name="connsiteX7130" fmla="*/ 6348006 w 8079933"/>
              <a:gd name="connsiteY7130" fmla="*/ 2903168 h 4687251"/>
              <a:gd name="connsiteX7131" fmla="*/ 6350503 w 8079933"/>
              <a:gd name="connsiteY7131" fmla="*/ 2906524 h 4687251"/>
              <a:gd name="connsiteX7132" fmla="*/ 6351370 w 8079933"/>
              <a:gd name="connsiteY7132" fmla="*/ 2909772 h 4687251"/>
              <a:gd name="connsiteX7133" fmla="*/ 6349417 w 8079933"/>
              <a:gd name="connsiteY7133" fmla="*/ 2911071 h 4687251"/>
              <a:gd name="connsiteX7134" fmla="*/ 6346921 w 8079933"/>
              <a:gd name="connsiteY7134" fmla="*/ 2907606 h 4687251"/>
              <a:gd name="connsiteX7135" fmla="*/ 4787429 w 8079933"/>
              <a:gd name="connsiteY7135" fmla="*/ 2902517 h 4687251"/>
              <a:gd name="connsiteX7136" fmla="*/ 4787429 w 8079933"/>
              <a:gd name="connsiteY7136" fmla="*/ 2902517 h 4687251"/>
              <a:gd name="connsiteX7137" fmla="*/ 4790033 w 8079933"/>
              <a:gd name="connsiteY7137" fmla="*/ 2906956 h 4687251"/>
              <a:gd name="connsiteX7138" fmla="*/ 4794699 w 8079933"/>
              <a:gd name="connsiteY7138" fmla="*/ 2905982 h 4687251"/>
              <a:gd name="connsiteX7139" fmla="*/ 4796696 w 8079933"/>
              <a:gd name="connsiteY7139" fmla="*/ 2906275 h 4687251"/>
              <a:gd name="connsiteX7140" fmla="*/ 4794699 w 8079933"/>
              <a:gd name="connsiteY7140" fmla="*/ 2905981 h 4687251"/>
              <a:gd name="connsiteX7141" fmla="*/ 4790033 w 8079933"/>
              <a:gd name="connsiteY7141" fmla="*/ 2906955 h 4687251"/>
              <a:gd name="connsiteX7142" fmla="*/ 6233956 w 8079933"/>
              <a:gd name="connsiteY7142" fmla="*/ 2901544 h 4687251"/>
              <a:gd name="connsiteX7143" fmla="*/ 6243831 w 8079933"/>
              <a:gd name="connsiteY7143" fmla="*/ 2902951 h 4687251"/>
              <a:gd name="connsiteX7144" fmla="*/ 6254792 w 8079933"/>
              <a:gd name="connsiteY7144" fmla="*/ 2910531 h 4687251"/>
              <a:gd name="connsiteX7145" fmla="*/ 6258264 w 8079933"/>
              <a:gd name="connsiteY7145" fmla="*/ 2912695 h 4687251"/>
              <a:gd name="connsiteX7146" fmla="*/ 6265317 w 8079933"/>
              <a:gd name="connsiteY7146" fmla="*/ 2910855 h 4687251"/>
              <a:gd name="connsiteX7147" fmla="*/ 6271395 w 8079933"/>
              <a:gd name="connsiteY7147" fmla="*/ 2911072 h 4687251"/>
              <a:gd name="connsiteX7148" fmla="*/ 6273999 w 8079933"/>
              <a:gd name="connsiteY7148" fmla="*/ 2912695 h 4687251"/>
              <a:gd name="connsiteX7149" fmla="*/ 6277255 w 8079933"/>
              <a:gd name="connsiteY7149" fmla="*/ 2911505 h 4687251"/>
              <a:gd name="connsiteX7150" fmla="*/ 6282246 w 8079933"/>
              <a:gd name="connsiteY7150" fmla="*/ 2911505 h 4687251"/>
              <a:gd name="connsiteX7151" fmla="*/ 6287780 w 8079933"/>
              <a:gd name="connsiteY7151" fmla="*/ 2913562 h 4687251"/>
              <a:gd name="connsiteX7152" fmla="*/ 6291253 w 8079933"/>
              <a:gd name="connsiteY7152" fmla="*/ 2919733 h 4687251"/>
              <a:gd name="connsiteX7153" fmla="*/ 6293206 w 8079933"/>
              <a:gd name="connsiteY7153" fmla="*/ 2920491 h 4687251"/>
              <a:gd name="connsiteX7154" fmla="*/ 6296028 w 8079933"/>
              <a:gd name="connsiteY7154" fmla="*/ 2926338 h 4687251"/>
              <a:gd name="connsiteX7155" fmla="*/ 6300803 w 8079933"/>
              <a:gd name="connsiteY7155" fmla="*/ 2928828 h 4687251"/>
              <a:gd name="connsiteX7156" fmla="*/ 6302104 w 8079933"/>
              <a:gd name="connsiteY7156" fmla="*/ 2936407 h 4687251"/>
              <a:gd name="connsiteX7157" fmla="*/ 6303624 w 8079933"/>
              <a:gd name="connsiteY7157" fmla="*/ 2940088 h 4687251"/>
              <a:gd name="connsiteX7158" fmla="*/ 6309266 w 8079933"/>
              <a:gd name="connsiteY7158" fmla="*/ 2940955 h 4687251"/>
              <a:gd name="connsiteX7159" fmla="*/ 6314910 w 8079933"/>
              <a:gd name="connsiteY7159" fmla="*/ 2947234 h 4687251"/>
              <a:gd name="connsiteX7160" fmla="*/ 6319576 w 8079933"/>
              <a:gd name="connsiteY7160" fmla="*/ 2947775 h 4687251"/>
              <a:gd name="connsiteX7161" fmla="*/ 6333358 w 8079933"/>
              <a:gd name="connsiteY7161" fmla="*/ 2956870 h 4687251"/>
              <a:gd name="connsiteX7162" fmla="*/ 6335311 w 8079933"/>
              <a:gd name="connsiteY7162" fmla="*/ 2960118 h 4687251"/>
              <a:gd name="connsiteX7163" fmla="*/ 6340411 w 8079933"/>
              <a:gd name="connsiteY7163" fmla="*/ 2961201 h 4687251"/>
              <a:gd name="connsiteX7164" fmla="*/ 6344752 w 8079933"/>
              <a:gd name="connsiteY7164" fmla="*/ 2966723 h 4687251"/>
              <a:gd name="connsiteX7165" fmla="*/ 6345078 w 8079933"/>
              <a:gd name="connsiteY7165" fmla="*/ 2973761 h 4687251"/>
              <a:gd name="connsiteX7166" fmla="*/ 6347573 w 8079933"/>
              <a:gd name="connsiteY7166" fmla="*/ 2977225 h 4687251"/>
              <a:gd name="connsiteX7167" fmla="*/ 6350828 w 8079933"/>
              <a:gd name="connsiteY7167" fmla="*/ 2973977 h 4687251"/>
              <a:gd name="connsiteX7168" fmla="*/ 6352240 w 8079933"/>
              <a:gd name="connsiteY7168" fmla="*/ 2980257 h 4687251"/>
              <a:gd name="connsiteX7169" fmla="*/ 6354953 w 8079933"/>
              <a:gd name="connsiteY7169" fmla="*/ 2982206 h 4687251"/>
              <a:gd name="connsiteX7170" fmla="*/ 6356146 w 8079933"/>
              <a:gd name="connsiteY7170" fmla="*/ 2979932 h 4687251"/>
              <a:gd name="connsiteX7171" fmla="*/ 6361789 w 8079933"/>
              <a:gd name="connsiteY7171" fmla="*/ 2980257 h 4687251"/>
              <a:gd name="connsiteX7172" fmla="*/ 6370796 w 8079933"/>
              <a:gd name="connsiteY7172" fmla="*/ 2985237 h 4687251"/>
              <a:gd name="connsiteX7173" fmla="*/ 6377633 w 8079933"/>
              <a:gd name="connsiteY7173" fmla="*/ 2992166 h 4687251"/>
              <a:gd name="connsiteX7174" fmla="*/ 6378826 w 8079933"/>
              <a:gd name="connsiteY7174" fmla="*/ 3000936 h 4687251"/>
              <a:gd name="connsiteX7175" fmla="*/ 6382624 w 8079933"/>
              <a:gd name="connsiteY7175" fmla="*/ 3003968 h 4687251"/>
              <a:gd name="connsiteX7176" fmla="*/ 6385771 w 8079933"/>
              <a:gd name="connsiteY7176" fmla="*/ 3002993 h 4687251"/>
              <a:gd name="connsiteX7177" fmla="*/ 6389027 w 8079933"/>
              <a:gd name="connsiteY7177" fmla="*/ 3003751 h 4687251"/>
              <a:gd name="connsiteX7178" fmla="*/ 6399119 w 8079933"/>
              <a:gd name="connsiteY7178" fmla="*/ 3013604 h 4687251"/>
              <a:gd name="connsiteX7179" fmla="*/ 6399878 w 8079933"/>
              <a:gd name="connsiteY7179" fmla="*/ 3019775 h 4687251"/>
              <a:gd name="connsiteX7180" fmla="*/ 6399878 w 8079933"/>
              <a:gd name="connsiteY7180" fmla="*/ 3022915 h 4687251"/>
              <a:gd name="connsiteX7181" fmla="*/ 6405847 w 8079933"/>
              <a:gd name="connsiteY7181" fmla="*/ 3027895 h 4687251"/>
              <a:gd name="connsiteX7182" fmla="*/ 6414203 w 8079933"/>
              <a:gd name="connsiteY7182" fmla="*/ 3027571 h 4687251"/>
              <a:gd name="connsiteX7183" fmla="*/ 6419629 w 8079933"/>
              <a:gd name="connsiteY7183" fmla="*/ 3030169 h 4687251"/>
              <a:gd name="connsiteX7184" fmla="*/ 6420714 w 8079933"/>
              <a:gd name="connsiteY7184" fmla="*/ 3033201 h 4687251"/>
              <a:gd name="connsiteX7185" fmla="*/ 6418434 w 8079933"/>
              <a:gd name="connsiteY7185" fmla="*/ 3036449 h 4687251"/>
              <a:gd name="connsiteX7186" fmla="*/ 6416156 w 8079933"/>
              <a:gd name="connsiteY7186" fmla="*/ 3037099 h 4687251"/>
              <a:gd name="connsiteX7187" fmla="*/ 6413877 w 8079933"/>
              <a:gd name="connsiteY7187" fmla="*/ 3039156 h 4687251"/>
              <a:gd name="connsiteX7188" fmla="*/ 6410513 w 8079933"/>
              <a:gd name="connsiteY7188" fmla="*/ 3039914 h 4687251"/>
              <a:gd name="connsiteX7189" fmla="*/ 6416481 w 8079933"/>
              <a:gd name="connsiteY7189" fmla="*/ 3039481 h 4687251"/>
              <a:gd name="connsiteX7190" fmla="*/ 6421473 w 8079933"/>
              <a:gd name="connsiteY7190" fmla="*/ 3036449 h 4687251"/>
              <a:gd name="connsiteX7191" fmla="*/ 6427008 w 8079933"/>
              <a:gd name="connsiteY7191" fmla="*/ 3032767 h 4687251"/>
              <a:gd name="connsiteX7192" fmla="*/ 6431131 w 8079933"/>
              <a:gd name="connsiteY7192" fmla="*/ 3033309 h 4687251"/>
              <a:gd name="connsiteX7193" fmla="*/ 6438511 w 8079933"/>
              <a:gd name="connsiteY7193" fmla="*/ 3041430 h 4687251"/>
              <a:gd name="connsiteX7194" fmla="*/ 6439921 w 8079933"/>
              <a:gd name="connsiteY7194" fmla="*/ 3046301 h 4687251"/>
              <a:gd name="connsiteX7195" fmla="*/ 6432759 w 8079933"/>
              <a:gd name="connsiteY7195" fmla="*/ 3047493 h 4687251"/>
              <a:gd name="connsiteX7196" fmla="*/ 6427116 w 8079933"/>
              <a:gd name="connsiteY7196" fmla="*/ 3051715 h 4687251"/>
              <a:gd name="connsiteX7197" fmla="*/ 6423427 w 8079933"/>
              <a:gd name="connsiteY7197" fmla="*/ 3055072 h 4687251"/>
              <a:gd name="connsiteX7198" fmla="*/ 6428635 w 8079933"/>
              <a:gd name="connsiteY7198" fmla="*/ 3053123 h 4687251"/>
              <a:gd name="connsiteX7199" fmla="*/ 6431456 w 8079933"/>
              <a:gd name="connsiteY7199" fmla="*/ 3054313 h 4687251"/>
              <a:gd name="connsiteX7200" fmla="*/ 6436666 w 8079933"/>
              <a:gd name="connsiteY7200" fmla="*/ 3053448 h 4687251"/>
              <a:gd name="connsiteX7201" fmla="*/ 6440247 w 8079933"/>
              <a:gd name="connsiteY7201" fmla="*/ 3055397 h 4687251"/>
              <a:gd name="connsiteX7202" fmla="*/ 6434712 w 8079933"/>
              <a:gd name="connsiteY7202" fmla="*/ 3058536 h 4687251"/>
              <a:gd name="connsiteX7203" fmla="*/ 6429829 w 8079933"/>
              <a:gd name="connsiteY7203" fmla="*/ 3060701 h 4687251"/>
              <a:gd name="connsiteX7204" fmla="*/ 6429720 w 8079933"/>
              <a:gd name="connsiteY7204" fmla="*/ 3064707 h 4687251"/>
              <a:gd name="connsiteX7205" fmla="*/ 6437751 w 8079933"/>
              <a:gd name="connsiteY7205" fmla="*/ 3070229 h 4687251"/>
              <a:gd name="connsiteX7206" fmla="*/ 6447083 w 8079933"/>
              <a:gd name="connsiteY7206" fmla="*/ 3070338 h 4687251"/>
              <a:gd name="connsiteX7207" fmla="*/ 6449579 w 8079933"/>
              <a:gd name="connsiteY7207" fmla="*/ 3072611 h 4687251"/>
              <a:gd name="connsiteX7208" fmla="*/ 6455222 w 8079933"/>
              <a:gd name="connsiteY7208" fmla="*/ 3070338 h 4687251"/>
              <a:gd name="connsiteX7209" fmla="*/ 6455872 w 8079933"/>
              <a:gd name="connsiteY7209" fmla="*/ 3082031 h 4687251"/>
              <a:gd name="connsiteX7210" fmla="*/ 6457826 w 8079933"/>
              <a:gd name="connsiteY7210" fmla="*/ 3087228 h 4687251"/>
              <a:gd name="connsiteX7211" fmla="*/ 6455548 w 8079933"/>
              <a:gd name="connsiteY7211" fmla="*/ 3091884 h 4687251"/>
              <a:gd name="connsiteX7212" fmla="*/ 6458694 w 8079933"/>
              <a:gd name="connsiteY7212" fmla="*/ 3089935 h 4687251"/>
              <a:gd name="connsiteX7213" fmla="*/ 6462167 w 8079933"/>
              <a:gd name="connsiteY7213" fmla="*/ 3094590 h 4687251"/>
              <a:gd name="connsiteX7214" fmla="*/ 6462818 w 8079933"/>
              <a:gd name="connsiteY7214" fmla="*/ 3101628 h 4687251"/>
              <a:gd name="connsiteX7215" fmla="*/ 6467484 w 8079933"/>
              <a:gd name="connsiteY7215" fmla="*/ 3102386 h 4687251"/>
              <a:gd name="connsiteX7216" fmla="*/ 6474646 w 8079933"/>
              <a:gd name="connsiteY7216" fmla="*/ 3101412 h 4687251"/>
              <a:gd name="connsiteX7217" fmla="*/ 6479204 w 8079933"/>
              <a:gd name="connsiteY7217" fmla="*/ 3103360 h 4687251"/>
              <a:gd name="connsiteX7218" fmla="*/ 6480506 w 8079933"/>
              <a:gd name="connsiteY7218" fmla="*/ 3107150 h 4687251"/>
              <a:gd name="connsiteX7219" fmla="*/ 6483437 w 8079933"/>
              <a:gd name="connsiteY7219" fmla="*/ 3108666 h 4687251"/>
              <a:gd name="connsiteX7220" fmla="*/ 6485390 w 8079933"/>
              <a:gd name="connsiteY7220" fmla="*/ 3114188 h 4687251"/>
              <a:gd name="connsiteX7221" fmla="*/ 6489622 w 8079933"/>
              <a:gd name="connsiteY7221" fmla="*/ 3117652 h 4687251"/>
              <a:gd name="connsiteX7222" fmla="*/ 6493311 w 8079933"/>
              <a:gd name="connsiteY7222" fmla="*/ 3119384 h 4687251"/>
              <a:gd name="connsiteX7223" fmla="*/ 6493962 w 8079933"/>
              <a:gd name="connsiteY7223" fmla="*/ 3123823 h 4687251"/>
              <a:gd name="connsiteX7224" fmla="*/ 6492118 w 8079933"/>
              <a:gd name="connsiteY7224" fmla="*/ 3127288 h 4687251"/>
              <a:gd name="connsiteX7225" fmla="*/ 6487776 w 8079933"/>
              <a:gd name="connsiteY7225" fmla="*/ 3129129 h 4687251"/>
              <a:gd name="connsiteX7226" fmla="*/ 6487452 w 8079933"/>
              <a:gd name="connsiteY7226" fmla="*/ 3136708 h 4687251"/>
              <a:gd name="connsiteX7227" fmla="*/ 6489513 w 8079933"/>
              <a:gd name="connsiteY7227" fmla="*/ 3140281 h 4687251"/>
              <a:gd name="connsiteX7228" fmla="*/ 6485499 w 8079933"/>
              <a:gd name="connsiteY7228" fmla="*/ 3149808 h 4687251"/>
              <a:gd name="connsiteX7229" fmla="*/ 6488103 w 8079933"/>
              <a:gd name="connsiteY7229" fmla="*/ 3158579 h 4687251"/>
              <a:gd name="connsiteX7230" fmla="*/ 6485715 w 8079933"/>
              <a:gd name="connsiteY7230" fmla="*/ 3171571 h 4687251"/>
              <a:gd name="connsiteX7231" fmla="*/ 6486258 w 8079933"/>
              <a:gd name="connsiteY7231" fmla="*/ 3182289 h 4687251"/>
              <a:gd name="connsiteX7232" fmla="*/ 6483002 w 8079933"/>
              <a:gd name="connsiteY7232" fmla="*/ 3185538 h 4687251"/>
              <a:gd name="connsiteX7233" fmla="*/ 6480180 w 8079933"/>
              <a:gd name="connsiteY7233" fmla="*/ 3184347 h 4687251"/>
              <a:gd name="connsiteX7234" fmla="*/ 6475840 w 8079933"/>
              <a:gd name="connsiteY7234" fmla="*/ 3177634 h 4687251"/>
              <a:gd name="connsiteX7235" fmla="*/ 6471933 w 8079933"/>
              <a:gd name="connsiteY7235" fmla="*/ 3176768 h 4687251"/>
              <a:gd name="connsiteX7236" fmla="*/ 6469980 w 8079933"/>
              <a:gd name="connsiteY7236" fmla="*/ 3180016 h 4687251"/>
              <a:gd name="connsiteX7237" fmla="*/ 6469872 w 8079933"/>
              <a:gd name="connsiteY7237" fmla="*/ 3186187 h 4687251"/>
              <a:gd name="connsiteX7238" fmla="*/ 6467919 w 8079933"/>
              <a:gd name="connsiteY7238" fmla="*/ 3187811 h 4687251"/>
              <a:gd name="connsiteX7239" fmla="*/ 6458694 w 8079933"/>
              <a:gd name="connsiteY7239" fmla="*/ 3179150 h 4687251"/>
              <a:gd name="connsiteX7240" fmla="*/ 6454354 w 8079933"/>
              <a:gd name="connsiteY7240" fmla="*/ 3178283 h 4687251"/>
              <a:gd name="connsiteX7241" fmla="*/ 6454354 w 8079933"/>
              <a:gd name="connsiteY7241" fmla="*/ 3180882 h 4687251"/>
              <a:gd name="connsiteX7242" fmla="*/ 6455764 w 8079933"/>
              <a:gd name="connsiteY7242" fmla="*/ 3183264 h 4687251"/>
              <a:gd name="connsiteX7243" fmla="*/ 6455764 w 8079933"/>
              <a:gd name="connsiteY7243" fmla="*/ 3187920 h 4687251"/>
              <a:gd name="connsiteX7244" fmla="*/ 6454028 w 8079933"/>
              <a:gd name="connsiteY7244" fmla="*/ 3189977 h 4687251"/>
              <a:gd name="connsiteX7245" fmla="*/ 6450773 w 8079933"/>
              <a:gd name="connsiteY7245" fmla="*/ 3184455 h 4687251"/>
              <a:gd name="connsiteX7246" fmla="*/ 6447626 w 8079933"/>
              <a:gd name="connsiteY7246" fmla="*/ 3183156 h 4687251"/>
              <a:gd name="connsiteX7247" fmla="*/ 6446432 w 8079933"/>
              <a:gd name="connsiteY7247" fmla="*/ 3178175 h 4687251"/>
              <a:gd name="connsiteX7248" fmla="*/ 6432325 w 8079933"/>
              <a:gd name="connsiteY7248" fmla="*/ 3165724 h 4687251"/>
              <a:gd name="connsiteX7249" fmla="*/ 6425380 w 8079933"/>
              <a:gd name="connsiteY7249" fmla="*/ 3163883 h 4687251"/>
              <a:gd name="connsiteX7250" fmla="*/ 6422992 w 8079933"/>
              <a:gd name="connsiteY7250" fmla="*/ 3158686 h 4687251"/>
              <a:gd name="connsiteX7251" fmla="*/ 6412357 w 8079933"/>
              <a:gd name="connsiteY7251" fmla="*/ 3151974 h 4687251"/>
              <a:gd name="connsiteX7252" fmla="*/ 6406064 w 8079933"/>
              <a:gd name="connsiteY7252" fmla="*/ 3145153 h 4687251"/>
              <a:gd name="connsiteX7253" fmla="*/ 6400964 w 8079933"/>
              <a:gd name="connsiteY7253" fmla="*/ 3141904 h 4687251"/>
              <a:gd name="connsiteX7254" fmla="*/ 6400096 w 8079933"/>
              <a:gd name="connsiteY7254" fmla="*/ 3134975 h 4687251"/>
              <a:gd name="connsiteX7255" fmla="*/ 6394236 w 8079933"/>
              <a:gd name="connsiteY7255" fmla="*/ 3131186 h 4687251"/>
              <a:gd name="connsiteX7256" fmla="*/ 6391848 w 8079933"/>
              <a:gd name="connsiteY7256" fmla="*/ 3128479 h 4687251"/>
              <a:gd name="connsiteX7257" fmla="*/ 6385121 w 8079933"/>
              <a:gd name="connsiteY7257" fmla="*/ 3127071 h 4687251"/>
              <a:gd name="connsiteX7258" fmla="*/ 6382624 w 8079933"/>
              <a:gd name="connsiteY7258" fmla="*/ 3121225 h 4687251"/>
              <a:gd name="connsiteX7259" fmla="*/ 6373943 w 8079933"/>
              <a:gd name="connsiteY7259" fmla="*/ 3110398 h 4687251"/>
              <a:gd name="connsiteX7260" fmla="*/ 6365262 w 8079933"/>
              <a:gd name="connsiteY7260" fmla="*/ 3103902 h 4687251"/>
              <a:gd name="connsiteX7261" fmla="*/ 6363091 w 8079933"/>
              <a:gd name="connsiteY7261" fmla="*/ 3097839 h 4687251"/>
              <a:gd name="connsiteX7262" fmla="*/ 6363525 w 8079933"/>
              <a:gd name="connsiteY7262" fmla="*/ 3091125 h 4687251"/>
              <a:gd name="connsiteX7263" fmla="*/ 6354627 w 8079933"/>
              <a:gd name="connsiteY7263" fmla="*/ 3074668 h 4687251"/>
              <a:gd name="connsiteX7264" fmla="*/ 6353541 w 8079933"/>
              <a:gd name="connsiteY7264" fmla="*/ 3062975 h 4687251"/>
              <a:gd name="connsiteX7265" fmla="*/ 6348116 w 8079933"/>
              <a:gd name="connsiteY7265" fmla="*/ 3058861 h 4687251"/>
              <a:gd name="connsiteX7266" fmla="*/ 6342147 w 8079933"/>
              <a:gd name="connsiteY7266" fmla="*/ 3048576 h 4687251"/>
              <a:gd name="connsiteX7267" fmla="*/ 6342147 w 8079933"/>
              <a:gd name="connsiteY7267" fmla="*/ 3044461 h 4687251"/>
              <a:gd name="connsiteX7268" fmla="*/ 6335094 w 8079933"/>
              <a:gd name="connsiteY7268" fmla="*/ 3039589 h 4687251"/>
              <a:gd name="connsiteX7269" fmla="*/ 6328908 w 8079933"/>
              <a:gd name="connsiteY7269" fmla="*/ 3037640 h 4687251"/>
              <a:gd name="connsiteX7270" fmla="*/ 6326630 w 8079933"/>
              <a:gd name="connsiteY7270" fmla="*/ 3030819 h 4687251"/>
              <a:gd name="connsiteX7271" fmla="*/ 6321855 w 8079933"/>
              <a:gd name="connsiteY7271" fmla="*/ 3018152 h 4687251"/>
              <a:gd name="connsiteX7272" fmla="*/ 6322072 w 8079933"/>
              <a:gd name="connsiteY7272" fmla="*/ 3016527 h 4687251"/>
              <a:gd name="connsiteX7273" fmla="*/ 6319793 w 8079933"/>
              <a:gd name="connsiteY7273" fmla="*/ 3010573 h 4687251"/>
              <a:gd name="connsiteX7274" fmla="*/ 6316754 w 8079933"/>
              <a:gd name="connsiteY7274" fmla="*/ 3007216 h 4687251"/>
              <a:gd name="connsiteX7275" fmla="*/ 6318600 w 8079933"/>
              <a:gd name="connsiteY7275" fmla="*/ 3003859 h 4687251"/>
              <a:gd name="connsiteX7276" fmla="*/ 6317731 w 8079933"/>
              <a:gd name="connsiteY7276" fmla="*/ 3001261 h 4687251"/>
              <a:gd name="connsiteX7277" fmla="*/ 6314910 w 8079933"/>
              <a:gd name="connsiteY7277" fmla="*/ 3001694 h 4687251"/>
              <a:gd name="connsiteX7278" fmla="*/ 6311654 w 8079933"/>
              <a:gd name="connsiteY7278" fmla="*/ 2999854 h 4687251"/>
              <a:gd name="connsiteX7279" fmla="*/ 6305252 w 8079933"/>
              <a:gd name="connsiteY7279" fmla="*/ 2991841 h 4687251"/>
              <a:gd name="connsiteX7280" fmla="*/ 6300260 w 8079933"/>
              <a:gd name="connsiteY7280" fmla="*/ 2991841 h 4687251"/>
              <a:gd name="connsiteX7281" fmla="*/ 6297221 w 8079933"/>
              <a:gd name="connsiteY7281" fmla="*/ 2989135 h 4687251"/>
              <a:gd name="connsiteX7282" fmla="*/ 6296353 w 8079933"/>
              <a:gd name="connsiteY7282" fmla="*/ 2982963 h 4687251"/>
              <a:gd name="connsiteX7283" fmla="*/ 6294075 w 8079933"/>
              <a:gd name="connsiteY7283" fmla="*/ 2981123 h 4687251"/>
              <a:gd name="connsiteX7284" fmla="*/ 6294075 w 8079933"/>
              <a:gd name="connsiteY7284" fmla="*/ 2974951 h 4687251"/>
              <a:gd name="connsiteX7285" fmla="*/ 6291687 w 8079933"/>
              <a:gd name="connsiteY7285" fmla="*/ 2974951 h 4687251"/>
              <a:gd name="connsiteX7286" fmla="*/ 6283223 w 8079933"/>
              <a:gd name="connsiteY7286" fmla="*/ 2966831 h 4687251"/>
              <a:gd name="connsiteX7287" fmla="*/ 6274867 w 8079933"/>
              <a:gd name="connsiteY7287" fmla="*/ 2953406 h 4687251"/>
              <a:gd name="connsiteX7288" fmla="*/ 6267054 w 8079933"/>
              <a:gd name="connsiteY7288" fmla="*/ 2946909 h 4687251"/>
              <a:gd name="connsiteX7289" fmla="*/ 6264015 w 8079933"/>
              <a:gd name="connsiteY7289" fmla="*/ 2948100 h 4687251"/>
              <a:gd name="connsiteX7290" fmla="*/ 6260326 w 8079933"/>
              <a:gd name="connsiteY7290" fmla="*/ 2946801 h 4687251"/>
              <a:gd name="connsiteX7291" fmla="*/ 6254032 w 8079933"/>
              <a:gd name="connsiteY7291" fmla="*/ 2938898 h 4687251"/>
              <a:gd name="connsiteX7292" fmla="*/ 6250885 w 8079933"/>
              <a:gd name="connsiteY7292" fmla="*/ 2938898 h 4687251"/>
              <a:gd name="connsiteX7293" fmla="*/ 6240576 w 8079933"/>
              <a:gd name="connsiteY7293" fmla="*/ 2927529 h 4687251"/>
              <a:gd name="connsiteX7294" fmla="*/ 6236778 w 8079933"/>
              <a:gd name="connsiteY7294" fmla="*/ 2925796 h 4687251"/>
              <a:gd name="connsiteX7295" fmla="*/ 6230700 w 8079933"/>
              <a:gd name="connsiteY7295" fmla="*/ 2912804 h 4687251"/>
              <a:gd name="connsiteX7296" fmla="*/ 6229507 w 8079933"/>
              <a:gd name="connsiteY7296" fmla="*/ 2905875 h 4687251"/>
              <a:gd name="connsiteX7297" fmla="*/ 6230592 w 8079933"/>
              <a:gd name="connsiteY7297" fmla="*/ 2903276 h 4687251"/>
              <a:gd name="connsiteX7298" fmla="*/ 2595609 w 8079933"/>
              <a:gd name="connsiteY7298" fmla="*/ 2898619 h 4687251"/>
              <a:gd name="connsiteX7299" fmla="*/ 2594416 w 8079933"/>
              <a:gd name="connsiteY7299" fmla="*/ 2903383 h 4687251"/>
              <a:gd name="connsiteX7300" fmla="*/ 2594524 w 8079933"/>
              <a:gd name="connsiteY7300" fmla="*/ 2906739 h 4687251"/>
              <a:gd name="connsiteX7301" fmla="*/ 2591160 w 8079933"/>
              <a:gd name="connsiteY7301" fmla="*/ 2910637 h 4687251"/>
              <a:gd name="connsiteX7302" fmla="*/ 2586820 w 8079933"/>
              <a:gd name="connsiteY7302" fmla="*/ 2912910 h 4687251"/>
              <a:gd name="connsiteX7303" fmla="*/ 2580959 w 8079933"/>
              <a:gd name="connsiteY7303" fmla="*/ 2913127 h 4687251"/>
              <a:gd name="connsiteX7304" fmla="*/ 2577921 w 8079933"/>
              <a:gd name="connsiteY7304" fmla="*/ 2918973 h 4687251"/>
              <a:gd name="connsiteX7305" fmla="*/ 2577704 w 8079933"/>
              <a:gd name="connsiteY7305" fmla="*/ 2924062 h 4687251"/>
              <a:gd name="connsiteX7306" fmla="*/ 2573689 w 8079933"/>
              <a:gd name="connsiteY7306" fmla="*/ 2934023 h 4687251"/>
              <a:gd name="connsiteX7307" fmla="*/ 2574123 w 8079933"/>
              <a:gd name="connsiteY7307" fmla="*/ 2937055 h 4687251"/>
              <a:gd name="connsiteX7308" fmla="*/ 2574123 w 8079933"/>
              <a:gd name="connsiteY7308" fmla="*/ 2937055 h 4687251"/>
              <a:gd name="connsiteX7309" fmla="*/ 2573689 w 8079933"/>
              <a:gd name="connsiteY7309" fmla="*/ 2934023 h 4687251"/>
              <a:gd name="connsiteX7310" fmla="*/ 2577704 w 8079933"/>
              <a:gd name="connsiteY7310" fmla="*/ 2924063 h 4687251"/>
              <a:gd name="connsiteX7311" fmla="*/ 2577921 w 8079933"/>
              <a:gd name="connsiteY7311" fmla="*/ 2918974 h 4687251"/>
              <a:gd name="connsiteX7312" fmla="*/ 2580959 w 8079933"/>
              <a:gd name="connsiteY7312" fmla="*/ 2913127 h 4687251"/>
              <a:gd name="connsiteX7313" fmla="*/ 2586820 w 8079933"/>
              <a:gd name="connsiteY7313" fmla="*/ 2912911 h 4687251"/>
              <a:gd name="connsiteX7314" fmla="*/ 2591160 w 8079933"/>
              <a:gd name="connsiteY7314" fmla="*/ 2910637 h 4687251"/>
              <a:gd name="connsiteX7315" fmla="*/ 2594524 w 8079933"/>
              <a:gd name="connsiteY7315" fmla="*/ 2906739 h 4687251"/>
              <a:gd name="connsiteX7316" fmla="*/ 2594416 w 8079933"/>
              <a:gd name="connsiteY7316" fmla="*/ 2903383 h 4687251"/>
              <a:gd name="connsiteX7317" fmla="*/ 2595609 w 8079933"/>
              <a:gd name="connsiteY7317" fmla="*/ 2898619 h 4687251"/>
              <a:gd name="connsiteX7318" fmla="*/ 3877299 w 8079933"/>
              <a:gd name="connsiteY7318" fmla="*/ 2897646 h 4687251"/>
              <a:gd name="connsiteX7319" fmla="*/ 3882833 w 8079933"/>
              <a:gd name="connsiteY7319" fmla="*/ 2899270 h 4687251"/>
              <a:gd name="connsiteX7320" fmla="*/ 3885112 w 8079933"/>
              <a:gd name="connsiteY7320" fmla="*/ 2903168 h 4687251"/>
              <a:gd name="connsiteX7321" fmla="*/ 3885112 w 8079933"/>
              <a:gd name="connsiteY7321" fmla="*/ 2903167 h 4687251"/>
              <a:gd name="connsiteX7322" fmla="*/ 3882833 w 8079933"/>
              <a:gd name="connsiteY7322" fmla="*/ 2899269 h 4687251"/>
              <a:gd name="connsiteX7323" fmla="*/ 4589533 w 8079933"/>
              <a:gd name="connsiteY7323" fmla="*/ 2897634 h 4687251"/>
              <a:gd name="connsiteX7324" fmla="*/ 4588950 w 8079933"/>
              <a:gd name="connsiteY7324" fmla="*/ 2899378 h 4687251"/>
              <a:gd name="connsiteX7325" fmla="*/ 4589818 w 8079933"/>
              <a:gd name="connsiteY7325" fmla="*/ 2906631 h 4687251"/>
              <a:gd name="connsiteX7326" fmla="*/ 4589839 w 8079933"/>
              <a:gd name="connsiteY7326" fmla="*/ 2906647 h 4687251"/>
              <a:gd name="connsiteX7327" fmla="*/ 4589839 w 8079933"/>
              <a:gd name="connsiteY7327" fmla="*/ 2906646 h 4687251"/>
              <a:gd name="connsiteX7328" fmla="*/ 4589819 w 8079933"/>
              <a:gd name="connsiteY7328" fmla="*/ 2906631 h 4687251"/>
              <a:gd name="connsiteX7329" fmla="*/ 4588951 w 8079933"/>
              <a:gd name="connsiteY7329" fmla="*/ 2899377 h 4687251"/>
              <a:gd name="connsiteX7330" fmla="*/ 4156404 w 8079933"/>
              <a:gd name="connsiteY7330" fmla="*/ 2896346 h 4687251"/>
              <a:gd name="connsiteX7331" fmla="*/ 4153583 w 8079933"/>
              <a:gd name="connsiteY7331" fmla="*/ 2898186 h 4687251"/>
              <a:gd name="connsiteX7332" fmla="*/ 4153583 w 8079933"/>
              <a:gd name="connsiteY7332" fmla="*/ 2898187 h 4687251"/>
              <a:gd name="connsiteX7333" fmla="*/ 4156404 w 8079933"/>
              <a:gd name="connsiteY7333" fmla="*/ 2896347 h 4687251"/>
              <a:gd name="connsiteX7334" fmla="*/ 6384251 w 8079933"/>
              <a:gd name="connsiteY7334" fmla="*/ 2894504 h 4687251"/>
              <a:gd name="connsiteX7335" fmla="*/ 6379910 w 8079933"/>
              <a:gd name="connsiteY7335" fmla="*/ 2895046 h 4687251"/>
              <a:gd name="connsiteX7336" fmla="*/ 6374593 w 8079933"/>
              <a:gd name="connsiteY7336" fmla="*/ 2899593 h 4687251"/>
              <a:gd name="connsiteX7337" fmla="*/ 6368191 w 8079933"/>
              <a:gd name="connsiteY7337" fmla="*/ 2898078 h 4687251"/>
              <a:gd name="connsiteX7338" fmla="*/ 6368191 w 8079933"/>
              <a:gd name="connsiteY7338" fmla="*/ 2898079 h 4687251"/>
              <a:gd name="connsiteX7339" fmla="*/ 6374593 w 8079933"/>
              <a:gd name="connsiteY7339" fmla="*/ 2899594 h 4687251"/>
              <a:gd name="connsiteX7340" fmla="*/ 6379910 w 8079933"/>
              <a:gd name="connsiteY7340" fmla="*/ 2895047 h 4687251"/>
              <a:gd name="connsiteX7341" fmla="*/ 6384252 w 8079933"/>
              <a:gd name="connsiteY7341" fmla="*/ 2894506 h 4687251"/>
              <a:gd name="connsiteX7342" fmla="*/ 6387506 w 8079933"/>
              <a:gd name="connsiteY7342" fmla="*/ 2897212 h 4687251"/>
              <a:gd name="connsiteX7343" fmla="*/ 6390762 w 8079933"/>
              <a:gd name="connsiteY7343" fmla="*/ 2894830 h 4687251"/>
              <a:gd name="connsiteX7344" fmla="*/ 6390762 w 8079933"/>
              <a:gd name="connsiteY7344" fmla="*/ 2894830 h 4687251"/>
              <a:gd name="connsiteX7345" fmla="*/ 6387506 w 8079933"/>
              <a:gd name="connsiteY7345" fmla="*/ 2897212 h 4687251"/>
              <a:gd name="connsiteX7346" fmla="*/ 4781869 w 8079933"/>
              <a:gd name="connsiteY7346" fmla="*/ 2893516 h 4687251"/>
              <a:gd name="connsiteX7347" fmla="*/ 4781869 w 8079933"/>
              <a:gd name="connsiteY7347" fmla="*/ 2893517 h 4687251"/>
              <a:gd name="connsiteX7348" fmla="*/ 4784172 w 8079933"/>
              <a:gd name="connsiteY7348" fmla="*/ 2896129 h 4687251"/>
              <a:gd name="connsiteX7349" fmla="*/ 4784388 w 8079933"/>
              <a:gd name="connsiteY7349" fmla="*/ 2897317 h 4687251"/>
              <a:gd name="connsiteX7350" fmla="*/ 4784390 w 8079933"/>
              <a:gd name="connsiteY7350" fmla="*/ 2897319 h 4687251"/>
              <a:gd name="connsiteX7351" fmla="*/ 4785006 w 8079933"/>
              <a:gd name="connsiteY7351" fmla="*/ 2900700 h 4687251"/>
              <a:gd name="connsiteX7352" fmla="*/ 4784174 w 8079933"/>
              <a:gd name="connsiteY7352" fmla="*/ 2896129 h 4687251"/>
              <a:gd name="connsiteX7353" fmla="*/ 6850547 w 8079933"/>
              <a:gd name="connsiteY7353" fmla="*/ 2890391 h 4687251"/>
              <a:gd name="connsiteX7354" fmla="*/ 6855973 w 8079933"/>
              <a:gd name="connsiteY7354" fmla="*/ 2891474 h 4687251"/>
              <a:gd name="connsiteX7355" fmla="*/ 6856081 w 8079933"/>
              <a:gd name="connsiteY7355" fmla="*/ 2893531 h 4687251"/>
              <a:gd name="connsiteX7356" fmla="*/ 6852717 w 8079933"/>
              <a:gd name="connsiteY7356" fmla="*/ 2895263 h 4687251"/>
              <a:gd name="connsiteX7357" fmla="*/ 6850547 w 8079933"/>
              <a:gd name="connsiteY7357" fmla="*/ 2893964 h 4687251"/>
              <a:gd name="connsiteX7358" fmla="*/ 6848594 w 8079933"/>
              <a:gd name="connsiteY7358" fmla="*/ 2895371 h 4687251"/>
              <a:gd name="connsiteX7359" fmla="*/ 6844470 w 8079933"/>
              <a:gd name="connsiteY7359" fmla="*/ 2895263 h 4687251"/>
              <a:gd name="connsiteX7360" fmla="*/ 6843059 w 8079933"/>
              <a:gd name="connsiteY7360" fmla="*/ 2893639 h 4687251"/>
              <a:gd name="connsiteX7361" fmla="*/ 6844904 w 8079933"/>
              <a:gd name="connsiteY7361" fmla="*/ 2891582 h 4687251"/>
              <a:gd name="connsiteX7362" fmla="*/ 4575930 w 8079933"/>
              <a:gd name="connsiteY7362" fmla="*/ 2889817 h 4687251"/>
              <a:gd name="connsiteX7363" fmla="*/ 4575928 w 8079933"/>
              <a:gd name="connsiteY7363" fmla="*/ 2889850 h 4687251"/>
              <a:gd name="connsiteX7364" fmla="*/ 4575930 w 8079933"/>
              <a:gd name="connsiteY7364" fmla="*/ 2889852 h 4687251"/>
              <a:gd name="connsiteX7365" fmla="*/ 4575930 w 8079933"/>
              <a:gd name="connsiteY7365" fmla="*/ 2889850 h 4687251"/>
              <a:gd name="connsiteX7366" fmla="*/ 4575929 w 8079933"/>
              <a:gd name="connsiteY7366" fmla="*/ 2889849 h 4687251"/>
              <a:gd name="connsiteX7367" fmla="*/ 4575930 w 8079933"/>
              <a:gd name="connsiteY7367" fmla="*/ 2889837 h 4687251"/>
              <a:gd name="connsiteX7368" fmla="*/ 2347179 w 8079933"/>
              <a:gd name="connsiteY7368" fmla="*/ 2887371 h 4687251"/>
              <a:gd name="connsiteX7369" fmla="*/ 2348517 w 8079933"/>
              <a:gd name="connsiteY7369" fmla="*/ 2895479 h 4687251"/>
              <a:gd name="connsiteX7370" fmla="*/ 2346564 w 8079933"/>
              <a:gd name="connsiteY7370" fmla="*/ 2899269 h 4687251"/>
              <a:gd name="connsiteX7371" fmla="*/ 2348517 w 8079933"/>
              <a:gd name="connsiteY7371" fmla="*/ 2895479 h 4687251"/>
              <a:gd name="connsiteX7372" fmla="*/ 2319379 w 8079933"/>
              <a:gd name="connsiteY7372" fmla="*/ 2886229 h 4687251"/>
              <a:gd name="connsiteX7373" fmla="*/ 2321930 w 8079933"/>
              <a:gd name="connsiteY7373" fmla="*/ 2887684 h 4687251"/>
              <a:gd name="connsiteX7374" fmla="*/ 2323371 w 8079933"/>
              <a:gd name="connsiteY7374" fmla="*/ 2886897 h 4687251"/>
              <a:gd name="connsiteX7375" fmla="*/ 2321931 w 8079933"/>
              <a:gd name="connsiteY7375" fmla="*/ 2887683 h 4687251"/>
              <a:gd name="connsiteX7376" fmla="*/ 2314009 w 8079933"/>
              <a:gd name="connsiteY7376" fmla="*/ 2884544 h 4687251"/>
              <a:gd name="connsiteX7377" fmla="*/ 2313407 w 8079933"/>
              <a:gd name="connsiteY7377" fmla="*/ 2884756 h 4687251"/>
              <a:gd name="connsiteX7378" fmla="*/ 2314009 w 8079933"/>
              <a:gd name="connsiteY7378" fmla="*/ 2884544 h 4687251"/>
              <a:gd name="connsiteX7379" fmla="*/ 2317259 w 8079933"/>
              <a:gd name="connsiteY7379" fmla="*/ 2885481 h 4687251"/>
              <a:gd name="connsiteX7380" fmla="*/ 3963353 w 8079933"/>
              <a:gd name="connsiteY7380" fmla="*/ 2884437 h 4687251"/>
              <a:gd name="connsiteX7381" fmla="*/ 3965848 w 8079933"/>
              <a:gd name="connsiteY7381" fmla="*/ 2885519 h 4687251"/>
              <a:gd name="connsiteX7382" fmla="*/ 3965849 w 8079933"/>
              <a:gd name="connsiteY7382" fmla="*/ 2885519 h 4687251"/>
              <a:gd name="connsiteX7383" fmla="*/ 2343091 w 8079933"/>
              <a:gd name="connsiteY7383" fmla="*/ 2884219 h 4687251"/>
              <a:gd name="connsiteX7384" fmla="*/ 2339181 w 8079933"/>
              <a:gd name="connsiteY7384" fmla="*/ 2884425 h 4687251"/>
              <a:gd name="connsiteX7385" fmla="*/ 2343091 w 8079933"/>
              <a:gd name="connsiteY7385" fmla="*/ 2884220 h 4687251"/>
              <a:gd name="connsiteX7386" fmla="*/ 2345320 w 8079933"/>
              <a:gd name="connsiteY7386" fmla="*/ 2885393 h 4687251"/>
              <a:gd name="connsiteX7387" fmla="*/ 3752938 w 8079933"/>
              <a:gd name="connsiteY7387" fmla="*/ 2883029 h 4687251"/>
              <a:gd name="connsiteX7388" fmla="*/ 3755760 w 8079933"/>
              <a:gd name="connsiteY7388" fmla="*/ 2886493 h 4687251"/>
              <a:gd name="connsiteX7389" fmla="*/ 3752939 w 8079933"/>
              <a:gd name="connsiteY7389" fmla="*/ 2883029 h 4687251"/>
              <a:gd name="connsiteX7390" fmla="*/ 6363742 w 8079933"/>
              <a:gd name="connsiteY7390" fmla="*/ 2881296 h 4687251"/>
              <a:gd name="connsiteX7391" fmla="*/ 6363742 w 8079933"/>
              <a:gd name="connsiteY7391" fmla="*/ 2881296 h 4687251"/>
              <a:gd name="connsiteX7392" fmla="*/ 6368733 w 8079933"/>
              <a:gd name="connsiteY7392" fmla="*/ 2881296 h 4687251"/>
              <a:gd name="connsiteX7393" fmla="*/ 6371880 w 8079933"/>
              <a:gd name="connsiteY7393" fmla="*/ 2884327 h 4687251"/>
              <a:gd name="connsiteX7394" fmla="*/ 6371880 w 8079933"/>
              <a:gd name="connsiteY7394" fmla="*/ 2884327 h 4687251"/>
              <a:gd name="connsiteX7395" fmla="*/ 6368733 w 8079933"/>
              <a:gd name="connsiteY7395" fmla="*/ 2881296 h 4687251"/>
              <a:gd name="connsiteX7396" fmla="*/ 6838502 w 8079933"/>
              <a:gd name="connsiteY7396" fmla="*/ 2879456 h 4687251"/>
              <a:gd name="connsiteX7397" fmla="*/ 6839587 w 8079933"/>
              <a:gd name="connsiteY7397" fmla="*/ 2881621 h 4687251"/>
              <a:gd name="connsiteX7398" fmla="*/ 6838285 w 8079933"/>
              <a:gd name="connsiteY7398" fmla="*/ 2884003 h 4687251"/>
              <a:gd name="connsiteX7399" fmla="*/ 6835464 w 8079933"/>
              <a:gd name="connsiteY7399" fmla="*/ 2883029 h 4687251"/>
              <a:gd name="connsiteX7400" fmla="*/ 3741762 w 8079933"/>
              <a:gd name="connsiteY7400" fmla="*/ 2878156 h 4687251"/>
              <a:gd name="connsiteX7401" fmla="*/ 3741761 w 8079933"/>
              <a:gd name="connsiteY7401" fmla="*/ 2878157 h 4687251"/>
              <a:gd name="connsiteX7402" fmla="*/ 3743064 w 8079933"/>
              <a:gd name="connsiteY7402" fmla="*/ 2882813 h 4687251"/>
              <a:gd name="connsiteX7403" fmla="*/ 3744343 w 8079933"/>
              <a:gd name="connsiteY7403" fmla="*/ 2883273 h 4687251"/>
              <a:gd name="connsiteX7404" fmla="*/ 3743064 w 8079933"/>
              <a:gd name="connsiteY7404" fmla="*/ 2882813 h 4687251"/>
              <a:gd name="connsiteX7405" fmla="*/ 6356037 w 8079933"/>
              <a:gd name="connsiteY7405" fmla="*/ 2876640 h 4687251"/>
              <a:gd name="connsiteX7406" fmla="*/ 6356037 w 8079933"/>
              <a:gd name="connsiteY7406" fmla="*/ 2876641 h 4687251"/>
              <a:gd name="connsiteX7407" fmla="*/ 6362548 w 8079933"/>
              <a:gd name="connsiteY7407" fmla="*/ 2878481 h 4687251"/>
              <a:gd name="connsiteX7408" fmla="*/ 6362982 w 8079933"/>
              <a:gd name="connsiteY7408" fmla="*/ 2879504 h 4687251"/>
              <a:gd name="connsiteX7409" fmla="*/ 6362548 w 8079933"/>
              <a:gd name="connsiteY7409" fmla="*/ 2878480 h 4687251"/>
              <a:gd name="connsiteX7410" fmla="*/ 3872741 w 8079933"/>
              <a:gd name="connsiteY7410" fmla="*/ 2876532 h 4687251"/>
              <a:gd name="connsiteX7411" fmla="*/ 3870680 w 8079933"/>
              <a:gd name="connsiteY7411" fmla="*/ 2877940 h 4687251"/>
              <a:gd name="connsiteX7412" fmla="*/ 3872741 w 8079933"/>
              <a:gd name="connsiteY7412" fmla="*/ 2876533 h 4687251"/>
              <a:gd name="connsiteX7413" fmla="*/ 4173240 w 8079933"/>
              <a:gd name="connsiteY7413" fmla="*/ 2874944 h 4687251"/>
              <a:gd name="connsiteX7414" fmla="*/ 4173658 w 8079933"/>
              <a:gd name="connsiteY7414" fmla="*/ 2878697 h 4687251"/>
              <a:gd name="connsiteX7415" fmla="*/ 4166496 w 8079933"/>
              <a:gd name="connsiteY7415" fmla="*/ 2883894 h 4687251"/>
              <a:gd name="connsiteX7416" fmla="*/ 4164434 w 8079933"/>
              <a:gd name="connsiteY7416" fmla="*/ 2886493 h 4687251"/>
              <a:gd name="connsiteX7417" fmla="*/ 4160310 w 8079933"/>
              <a:gd name="connsiteY7417" fmla="*/ 2889200 h 4687251"/>
              <a:gd name="connsiteX7418" fmla="*/ 4156404 w 8079933"/>
              <a:gd name="connsiteY7418" fmla="*/ 2892881 h 4687251"/>
              <a:gd name="connsiteX7419" fmla="*/ 4156404 w 8079933"/>
              <a:gd name="connsiteY7419" fmla="*/ 2892882 h 4687251"/>
              <a:gd name="connsiteX7420" fmla="*/ 4160311 w 8079933"/>
              <a:gd name="connsiteY7420" fmla="*/ 2889200 h 4687251"/>
              <a:gd name="connsiteX7421" fmla="*/ 4164434 w 8079933"/>
              <a:gd name="connsiteY7421" fmla="*/ 2886494 h 4687251"/>
              <a:gd name="connsiteX7422" fmla="*/ 4166496 w 8079933"/>
              <a:gd name="connsiteY7422" fmla="*/ 2883895 h 4687251"/>
              <a:gd name="connsiteX7423" fmla="*/ 4173658 w 8079933"/>
              <a:gd name="connsiteY7423" fmla="*/ 2878698 h 4687251"/>
              <a:gd name="connsiteX7424" fmla="*/ 6334115 w 8079933"/>
              <a:gd name="connsiteY7424" fmla="*/ 2874584 h 4687251"/>
              <a:gd name="connsiteX7425" fmla="*/ 6335851 w 8079933"/>
              <a:gd name="connsiteY7425" fmla="*/ 2875341 h 4687251"/>
              <a:gd name="connsiteX7426" fmla="*/ 6336503 w 8079933"/>
              <a:gd name="connsiteY7426" fmla="*/ 2878373 h 4687251"/>
              <a:gd name="connsiteX7427" fmla="*/ 6334767 w 8079933"/>
              <a:gd name="connsiteY7427" fmla="*/ 2879023 h 4687251"/>
              <a:gd name="connsiteX7428" fmla="*/ 6332922 w 8079933"/>
              <a:gd name="connsiteY7428" fmla="*/ 2875233 h 4687251"/>
              <a:gd name="connsiteX7429" fmla="*/ 6873010 w 8079933"/>
              <a:gd name="connsiteY7429" fmla="*/ 2873826 h 4687251"/>
              <a:gd name="connsiteX7430" fmla="*/ 6875940 w 8079933"/>
              <a:gd name="connsiteY7430" fmla="*/ 2875666 h 4687251"/>
              <a:gd name="connsiteX7431" fmla="*/ 6878653 w 8079933"/>
              <a:gd name="connsiteY7431" fmla="*/ 2876641 h 4687251"/>
              <a:gd name="connsiteX7432" fmla="*/ 6878219 w 8079933"/>
              <a:gd name="connsiteY7432" fmla="*/ 2878373 h 4687251"/>
              <a:gd name="connsiteX7433" fmla="*/ 6872143 w 8079933"/>
              <a:gd name="connsiteY7433" fmla="*/ 2883787 h 4687251"/>
              <a:gd name="connsiteX7434" fmla="*/ 6869430 w 8079933"/>
              <a:gd name="connsiteY7434" fmla="*/ 2882920 h 4687251"/>
              <a:gd name="connsiteX7435" fmla="*/ 6866608 w 8079933"/>
              <a:gd name="connsiteY7435" fmla="*/ 2878698 h 4687251"/>
              <a:gd name="connsiteX7436" fmla="*/ 6866391 w 8079933"/>
              <a:gd name="connsiteY7436" fmla="*/ 2876316 h 4687251"/>
              <a:gd name="connsiteX7437" fmla="*/ 6870623 w 8079933"/>
              <a:gd name="connsiteY7437" fmla="*/ 2875991 h 4687251"/>
              <a:gd name="connsiteX7438" fmla="*/ 4567268 w 8079933"/>
              <a:gd name="connsiteY7438" fmla="*/ 2872958 h 4687251"/>
              <a:gd name="connsiteX7439" fmla="*/ 4567465 w 8079933"/>
              <a:gd name="connsiteY7439" fmla="*/ 2877169 h 4687251"/>
              <a:gd name="connsiteX7440" fmla="*/ 4567465 w 8079933"/>
              <a:gd name="connsiteY7440" fmla="*/ 2877157 h 4687251"/>
              <a:gd name="connsiteX7441" fmla="*/ 4567268 w 8079933"/>
              <a:gd name="connsiteY7441" fmla="*/ 2872959 h 4687251"/>
              <a:gd name="connsiteX7442" fmla="*/ 4771910 w 8079933"/>
              <a:gd name="connsiteY7442" fmla="*/ 2872851 h 4687251"/>
              <a:gd name="connsiteX7443" fmla="*/ 4774732 w 8079933"/>
              <a:gd name="connsiteY7443" fmla="*/ 2876532 h 4687251"/>
              <a:gd name="connsiteX7444" fmla="*/ 4776685 w 8079933"/>
              <a:gd name="connsiteY7444" fmla="*/ 2880213 h 4687251"/>
              <a:gd name="connsiteX7445" fmla="*/ 4780699 w 8079933"/>
              <a:gd name="connsiteY7445" fmla="*/ 2884544 h 4687251"/>
              <a:gd name="connsiteX7446" fmla="*/ 4780834 w 8079933"/>
              <a:gd name="connsiteY7446" fmla="*/ 2885646 h 4687251"/>
              <a:gd name="connsiteX7447" fmla="*/ 4780836 w 8079933"/>
              <a:gd name="connsiteY7447" fmla="*/ 2885647 h 4687251"/>
              <a:gd name="connsiteX7448" fmla="*/ 4780701 w 8079933"/>
              <a:gd name="connsiteY7448" fmla="*/ 2884544 h 4687251"/>
              <a:gd name="connsiteX7449" fmla="*/ 4776686 w 8079933"/>
              <a:gd name="connsiteY7449" fmla="*/ 2880213 h 4687251"/>
              <a:gd name="connsiteX7450" fmla="*/ 4774733 w 8079933"/>
              <a:gd name="connsiteY7450" fmla="*/ 2876531 h 4687251"/>
              <a:gd name="connsiteX7451" fmla="*/ 4771911 w 8079933"/>
              <a:gd name="connsiteY7451" fmla="*/ 2872851 h 4687251"/>
              <a:gd name="connsiteX7452" fmla="*/ 2507603 w 8079933"/>
              <a:gd name="connsiteY7452" fmla="*/ 2871660 h 4687251"/>
              <a:gd name="connsiteX7453" fmla="*/ 2507602 w 8079933"/>
              <a:gd name="connsiteY7453" fmla="*/ 2871660 h 4687251"/>
              <a:gd name="connsiteX7454" fmla="*/ 2511725 w 8079933"/>
              <a:gd name="connsiteY7454" fmla="*/ 2873175 h 4687251"/>
              <a:gd name="connsiteX7455" fmla="*/ 2511726 w 8079933"/>
              <a:gd name="connsiteY7455" fmla="*/ 2873175 h 4687251"/>
              <a:gd name="connsiteX7456" fmla="*/ 4765725 w 8079933"/>
              <a:gd name="connsiteY7456" fmla="*/ 2871226 h 4687251"/>
              <a:gd name="connsiteX7457" fmla="*/ 4765725 w 8079933"/>
              <a:gd name="connsiteY7457" fmla="*/ 2871228 h 4687251"/>
              <a:gd name="connsiteX7458" fmla="*/ 4767352 w 8079933"/>
              <a:gd name="connsiteY7458" fmla="*/ 2872850 h 4687251"/>
              <a:gd name="connsiteX7459" fmla="*/ 4767353 w 8079933"/>
              <a:gd name="connsiteY7459" fmla="*/ 2872850 h 4687251"/>
              <a:gd name="connsiteX7460" fmla="*/ 4191997 w 8079933"/>
              <a:gd name="connsiteY7460" fmla="*/ 2871118 h 4687251"/>
              <a:gd name="connsiteX7461" fmla="*/ 4189502 w 8079933"/>
              <a:gd name="connsiteY7461" fmla="*/ 2871336 h 4687251"/>
              <a:gd name="connsiteX7462" fmla="*/ 4191997 w 8079933"/>
              <a:gd name="connsiteY7462" fmla="*/ 2871119 h 4687251"/>
              <a:gd name="connsiteX7463" fmla="*/ 4194651 w 8079933"/>
              <a:gd name="connsiteY7463" fmla="*/ 2872443 h 4687251"/>
              <a:gd name="connsiteX7464" fmla="*/ 4765616 w 8079933"/>
              <a:gd name="connsiteY7464" fmla="*/ 2869061 h 4687251"/>
              <a:gd name="connsiteX7465" fmla="*/ 4765554 w 8079933"/>
              <a:gd name="connsiteY7465" fmla="*/ 2870173 h 4687251"/>
              <a:gd name="connsiteX7466" fmla="*/ 4765555 w 8079933"/>
              <a:gd name="connsiteY7466" fmla="*/ 2870174 h 4687251"/>
              <a:gd name="connsiteX7467" fmla="*/ 4765617 w 8079933"/>
              <a:gd name="connsiteY7467" fmla="*/ 2869061 h 4687251"/>
              <a:gd name="connsiteX7468" fmla="*/ 4181905 w 8079933"/>
              <a:gd name="connsiteY7468" fmla="*/ 2868087 h 4687251"/>
              <a:gd name="connsiteX7469" fmla="*/ 4179627 w 8079933"/>
              <a:gd name="connsiteY7469" fmla="*/ 2871118 h 4687251"/>
              <a:gd name="connsiteX7470" fmla="*/ 4174309 w 8079933"/>
              <a:gd name="connsiteY7470" fmla="*/ 2871336 h 4687251"/>
              <a:gd name="connsiteX7471" fmla="*/ 4173116 w 8079933"/>
              <a:gd name="connsiteY7471" fmla="*/ 2873825 h 4687251"/>
              <a:gd name="connsiteX7472" fmla="*/ 4173116 w 8079933"/>
              <a:gd name="connsiteY7472" fmla="*/ 2873826 h 4687251"/>
              <a:gd name="connsiteX7473" fmla="*/ 4174309 w 8079933"/>
              <a:gd name="connsiteY7473" fmla="*/ 2871336 h 4687251"/>
              <a:gd name="connsiteX7474" fmla="*/ 4179627 w 8079933"/>
              <a:gd name="connsiteY7474" fmla="*/ 2871119 h 4687251"/>
              <a:gd name="connsiteX7475" fmla="*/ 4181905 w 8079933"/>
              <a:gd name="connsiteY7475" fmla="*/ 2868087 h 4687251"/>
              <a:gd name="connsiteX7476" fmla="*/ 4182990 w 8079933"/>
              <a:gd name="connsiteY7476" fmla="*/ 2869278 h 4687251"/>
              <a:gd name="connsiteX7477" fmla="*/ 4187127 w 8079933"/>
              <a:gd name="connsiteY7477" fmla="*/ 2870585 h 4687251"/>
              <a:gd name="connsiteX7478" fmla="*/ 4182990 w 8079933"/>
              <a:gd name="connsiteY7478" fmla="*/ 2869278 h 4687251"/>
              <a:gd name="connsiteX7479" fmla="*/ 6752013 w 8079933"/>
              <a:gd name="connsiteY7479" fmla="*/ 2867654 h 4687251"/>
              <a:gd name="connsiteX7480" fmla="*/ 6756895 w 8079933"/>
              <a:gd name="connsiteY7480" fmla="*/ 2870686 h 4687251"/>
              <a:gd name="connsiteX7481" fmla="*/ 6757004 w 8079933"/>
              <a:gd name="connsiteY7481" fmla="*/ 2877182 h 4687251"/>
              <a:gd name="connsiteX7482" fmla="*/ 6761454 w 8079933"/>
              <a:gd name="connsiteY7482" fmla="*/ 2881404 h 4687251"/>
              <a:gd name="connsiteX7483" fmla="*/ 6763624 w 8079933"/>
              <a:gd name="connsiteY7483" fmla="*/ 2879996 h 4687251"/>
              <a:gd name="connsiteX7484" fmla="*/ 6769267 w 8079933"/>
              <a:gd name="connsiteY7484" fmla="*/ 2883786 h 4687251"/>
              <a:gd name="connsiteX7485" fmla="*/ 6769484 w 8079933"/>
              <a:gd name="connsiteY7485" fmla="*/ 2886818 h 4687251"/>
              <a:gd name="connsiteX7486" fmla="*/ 6765251 w 8079933"/>
              <a:gd name="connsiteY7486" fmla="*/ 2888441 h 4687251"/>
              <a:gd name="connsiteX7487" fmla="*/ 6765143 w 8079933"/>
              <a:gd name="connsiteY7487" fmla="*/ 2895479 h 4687251"/>
              <a:gd name="connsiteX7488" fmla="*/ 6766988 w 8079933"/>
              <a:gd name="connsiteY7488" fmla="*/ 2896345 h 4687251"/>
              <a:gd name="connsiteX7489" fmla="*/ 6769050 w 8079933"/>
              <a:gd name="connsiteY7489" fmla="*/ 2898835 h 4687251"/>
              <a:gd name="connsiteX7490" fmla="*/ 6772306 w 8079933"/>
              <a:gd name="connsiteY7490" fmla="*/ 2894396 h 4687251"/>
              <a:gd name="connsiteX7491" fmla="*/ 6774476 w 8079933"/>
              <a:gd name="connsiteY7491" fmla="*/ 2893747 h 4687251"/>
              <a:gd name="connsiteX7492" fmla="*/ 6776972 w 8079933"/>
              <a:gd name="connsiteY7492" fmla="*/ 2896887 h 4687251"/>
              <a:gd name="connsiteX7493" fmla="*/ 6771871 w 8079933"/>
              <a:gd name="connsiteY7493" fmla="*/ 2901326 h 4687251"/>
              <a:gd name="connsiteX7494" fmla="*/ 6774150 w 8079933"/>
              <a:gd name="connsiteY7494" fmla="*/ 2903383 h 4687251"/>
              <a:gd name="connsiteX7495" fmla="*/ 6777840 w 8079933"/>
              <a:gd name="connsiteY7495" fmla="*/ 2899702 h 4687251"/>
              <a:gd name="connsiteX7496" fmla="*/ 6781204 w 8079933"/>
              <a:gd name="connsiteY7496" fmla="*/ 2899702 h 4687251"/>
              <a:gd name="connsiteX7497" fmla="*/ 6786955 w 8079933"/>
              <a:gd name="connsiteY7497" fmla="*/ 2905440 h 4687251"/>
              <a:gd name="connsiteX7498" fmla="*/ 6791187 w 8079933"/>
              <a:gd name="connsiteY7498" fmla="*/ 2905116 h 4687251"/>
              <a:gd name="connsiteX7499" fmla="*/ 6795311 w 8079933"/>
              <a:gd name="connsiteY7499" fmla="*/ 2908797 h 4687251"/>
              <a:gd name="connsiteX7500" fmla="*/ 6800845 w 8079933"/>
              <a:gd name="connsiteY7500" fmla="*/ 2909879 h 4687251"/>
              <a:gd name="connsiteX7501" fmla="*/ 6804535 w 8079933"/>
              <a:gd name="connsiteY7501" fmla="*/ 2909879 h 4687251"/>
              <a:gd name="connsiteX7502" fmla="*/ 6805620 w 8079933"/>
              <a:gd name="connsiteY7502" fmla="*/ 2913669 h 4687251"/>
              <a:gd name="connsiteX7503" fmla="*/ 6800628 w 8079933"/>
              <a:gd name="connsiteY7503" fmla="*/ 2917458 h 4687251"/>
              <a:gd name="connsiteX7504" fmla="*/ 6792706 w 8079933"/>
              <a:gd name="connsiteY7504" fmla="*/ 2919299 h 4687251"/>
              <a:gd name="connsiteX7505" fmla="*/ 6783048 w 8079933"/>
              <a:gd name="connsiteY7505" fmla="*/ 2918541 h 4687251"/>
              <a:gd name="connsiteX7506" fmla="*/ 6780118 w 8079933"/>
              <a:gd name="connsiteY7506" fmla="*/ 2920598 h 4687251"/>
              <a:gd name="connsiteX7507" fmla="*/ 6780118 w 8079933"/>
              <a:gd name="connsiteY7507" fmla="*/ 2926769 h 4687251"/>
              <a:gd name="connsiteX7508" fmla="*/ 6786521 w 8079933"/>
              <a:gd name="connsiteY7508" fmla="*/ 2932075 h 4687251"/>
              <a:gd name="connsiteX7509" fmla="*/ 6786521 w 8079933"/>
              <a:gd name="connsiteY7509" fmla="*/ 2934781 h 4687251"/>
              <a:gd name="connsiteX7510" fmla="*/ 6780335 w 8079933"/>
              <a:gd name="connsiteY7510" fmla="*/ 2936081 h 4687251"/>
              <a:gd name="connsiteX7511" fmla="*/ 6775344 w 8079933"/>
              <a:gd name="connsiteY7511" fmla="*/ 2938571 h 4687251"/>
              <a:gd name="connsiteX7512" fmla="*/ 6771329 w 8079933"/>
              <a:gd name="connsiteY7512" fmla="*/ 2937597 h 4687251"/>
              <a:gd name="connsiteX7513" fmla="*/ 6765686 w 8079933"/>
              <a:gd name="connsiteY7513" fmla="*/ 2933807 h 4687251"/>
              <a:gd name="connsiteX7514" fmla="*/ 6765251 w 8079933"/>
              <a:gd name="connsiteY7514" fmla="*/ 2935972 h 4687251"/>
              <a:gd name="connsiteX7515" fmla="*/ 6765254 w 8079933"/>
              <a:gd name="connsiteY7515" fmla="*/ 2935973 h 4687251"/>
              <a:gd name="connsiteX7516" fmla="*/ 6764929 w 8079933"/>
              <a:gd name="connsiteY7516" fmla="*/ 2937272 h 4687251"/>
              <a:gd name="connsiteX7517" fmla="*/ 6762541 w 8079933"/>
              <a:gd name="connsiteY7517" fmla="*/ 2937705 h 4687251"/>
              <a:gd name="connsiteX7518" fmla="*/ 6762867 w 8079933"/>
              <a:gd name="connsiteY7518" fmla="*/ 2939979 h 4687251"/>
              <a:gd name="connsiteX7519" fmla="*/ 6761348 w 8079933"/>
              <a:gd name="connsiteY7519" fmla="*/ 2942362 h 4687251"/>
              <a:gd name="connsiteX7520" fmla="*/ 6766340 w 8079933"/>
              <a:gd name="connsiteY7520" fmla="*/ 2944310 h 4687251"/>
              <a:gd name="connsiteX7521" fmla="*/ 6771006 w 8079933"/>
              <a:gd name="connsiteY7521" fmla="*/ 2949724 h 4687251"/>
              <a:gd name="connsiteX7522" fmla="*/ 6765688 w 8079933"/>
              <a:gd name="connsiteY7522" fmla="*/ 2951131 h 4687251"/>
              <a:gd name="connsiteX7523" fmla="*/ 6760262 w 8079933"/>
              <a:gd name="connsiteY7523" fmla="*/ 2950265 h 4687251"/>
              <a:gd name="connsiteX7524" fmla="*/ 6758092 w 8079933"/>
              <a:gd name="connsiteY7524" fmla="*/ 2951672 h 4687251"/>
              <a:gd name="connsiteX7525" fmla="*/ 6761890 w 8079933"/>
              <a:gd name="connsiteY7525" fmla="*/ 2956111 h 4687251"/>
              <a:gd name="connsiteX7526" fmla="*/ 6763844 w 8079933"/>
              <a:gd name="connsiteY7526" fmla="*/ 2957303 h 4687251"/>
              <a:gd name="connsiteX7527" fmla="*/ 6764386 w 8079933"/>
              <a:gd name="connsiteY7527" fmla="*/ 2959901 h 4687251"/>
              <a:gd name="connsiteX7528" fmla="*/ 6762324 w 8079933"/>
              <a:gd name="connsiteY7528" fmla="*/ 2960442 h 4687251"/>
              <a:gd name="connsiteX7529" fmla="*/ 6760697 w 8079933"/>
              <a:gd name="connsiteY7529" fmla="*/ 2964015 h 4687251"/>
              <a:gd name="connsiteX7530" fmla="*/ 6764603 w 8079933"/>
              <a:gd name="connsiteY7530" fmla="*/ 2967480 h 4687251"/>
              <a:gd name="connsiteX7531" fmla="*/ 6766123 w 8079933"/>
              <a:gd name="connsiteY7531" fmla="*/ 2972460 h 4687251"/>
              <a:gd name="connsiteX7532" fmla="*/ 6774153 w 8079933"/>
              <a:gd name="connsiteY7532" fmla="*/ 2980689 h 4687251"/>
              <a:gd name="connsiteX7533" fmla="*/ 6777734 w 8079933"/>
              <a:gd name="connsiteY7533" fmla="*/ 2983937 h 4687251"/>
              <a:gd name="connsiteX7534" fmla="*/ 6775346 w 8079933"/>
              <a:gd name="connsiteY7534" fmla="*/ 2988485 h 4687251"/>
              <a:gd name="connsiteX7535" fmla="*/ 6769053 w 8079933"/>
              <a:gd name="connsiteY7535" fmla="*/ 2989784 h 4687251"/>
              <a:gd name="connsiteX7536" fmla="*/ 6768184 w 8079933"/>
              <a:gd name="connsiteY7536" fmla="*/ 2992707 h 4687251"/>
              <a:gd name="connsiteX7537" fmla="*/ 6770246 w 8079933"/>
              <a:gd name="connsiteY7537" fmla="*/ 2994439 h 4687251"/>
              <a:gd name="connsiteX7538" fmla="*/ 6771331 w 8079933"/>
              <a:gd name="connsiteY7538" fmla="*/ 2998554 h 4687251"/>
              <a:gd name="connsiteX7539" fmla="*/ 6774912 w 8079933"/>
              <a:gd name="connsiteY7539" fmla="*/ 3000611 h 4687251"/>
              <a:gd name="connsiteX7540" fmla="*/ 6785113 w 8079933"/>
              <a:gd name="connsiteY7540" fmla="*/ 3010139 h 4687251"/>
              <a:gd name="connsiteX7541" fmla="*/ 6788586 w 8079933"/>
              <a:gd name="connsiteY7541" fmla="*/ 3010139 h 4687251"/>
              <a:gd name="connsiteX7542" fmla="*/ 6792492 w 8079933"/>
              <a:gd name="connsiteY7542" fmla="*/ 3014578 h 4687251"/>
              <a:gd name="connsiteX7543" fmla="*/ 6793903 w 8079933"/>
              <a:gd name="connsiteY7543" fmla="*/ 3017502 h 4687251"/>
              <a:gd name="connsiteX7544" fmla="*/ 6797701 w 8079933"/>
              <a:gd name="connsiteY7544" fmla="*/ 3018368 h 4687251"/>
              <a:gd name="connsiteX7545" fmla="*/ 6796507 w 8079933"/>
              <a:gd name="connsiteY7545" fmla="*/ 3022698 h 4687251"/>
              <a:gd name="connsiteX7546" fmla="*/ 6793577 w 8079933"/>
              <a:gd name="connsiteY7546" fmla="*/ 3023890 h 4687251"/>
              <a:gd name="connsiteX7547" fmla="*/ 6790430 w 8079933"/>
              <a:gd name="connsiteY7547" fmla="*/ 3022698 h 4687251"/>
              <a:gd name="connsiteX7548" fmla="*/ 6786849 w 8079933"/>
              <a:gd name="connsiteY7548" fmla="*/ 3025188 h 4687251"/>
              <a:gd name="connsiteX7549" fmla="*/ 6781314 w 8079933"/>
              <a:gd name="connsiteY7549" fmla="*/ 3024539 h 4687251"/>
              <a:gd name="connsiteX7550" fmla="*/ 6773610 w 8079933"/>
              <a:gd name="connsiteY7550" fmla="*/ 3016960 h 4687251"/>
              <a:gd name="connsiteX7551" fmla="*/ 6775130 w 8079933"/>
              <a:gd name="connsiteY7551" fmla="*/ 3023348 h 4687251"/>
              <a:gd name="connsiteX7552" fmla="*/ 6773719 w 8079933"/>
              <a:gd name="connsiteY7552" fmla="*/ 3025730 h 4687251"/>
              <a:gd name="connsiteX7553" fmla="*/ 6771440 w 8079933"/>
              <a:gd name="connsiteY7553" fmla="*/ 3022807 h 4687251"/>
              <a:gd name="connsiteX7554" fmla="*/ 6766448 w 8079933"/>
              <a:gd name="connsiteY7554" fmla="*/ 3027787 h 4687251"/>
              <a:gd name="connsiteX7555" fmla="*/ 6766448 w 8079933"/>
              <a:gd name="connsiteY7555" fmla="*/ 3031252 h 4687251"/>
              <a:gd name="connsiteX7556" fmla="*/ 6764278 w 8079933"/>
              <a:gd name="connsiteY7556" fmla="*/ 3033850 h 4687251"/>
              <a:gd name="connsiteX7557" fmla="*/ 6763410 w 8079933"/>
              <a:gd name="connsiteY7557" fmla="*/ 3042945 h 4687251"/>
              <a:gd name="connsiteX7558" fmla="*/ 6761348 w 8079933"/>
              <a:gd name="connsiteY7558" fmla="*/ 3046193 h 4687251"/>
              <a:gd name="connsiteX7559" fmla="*/ 6759611 w 8079933"/>
              <a:gd name="connsiteY7559" fmla="*/ 3054421 h 4687251"/>
              <a:gd name="connsiteX7560" fmla="*/ 6753209 w 8079933"/>
              <a:gd name="connsiteY7560" fmla="*/ 3059402 h 4687251"/>
              <a:gd name="connsiteX7561" fmla="*/ 6755596 w 8079933"/>
              <a:gd name="connsiteY7561" fmla="*/ 3065574 h 4687251"/>
              <a:gd name="connsiteX7562" fmla="*/ 6752667 w 8079933"/>
              <a:gd name="connsiteY7562" fmla="*/ 3069904 h 4687251"/>
              <a:gd name="connsiteX7563" fmla="*/ 6748543 w 8079933"/>
              <a:gd name="connsiteY7563" fmla="*/ 3074235 h 4687251"/>
              <a:gd name="connsiteX7564" fmla="*/ 6746590 w 8079933"/>
              <a:gd name="connsiteY7564" fmla="*/ 3069688 h 4687251"/>
              <a:gd name="connsiteX7565" fmla="*/ 6744202 w 8079933"/>
              <a:gd name="connsiteY7565" fmla="*/ 3068497 h 4687251"/>
              <a:gd name="connsiteX7566" fmla="*/ 6745504 w 8079933"/>
              <a:gd name="connsiteY7566" fmla="*/ 3071745 h 4687251"/>
              <a:gd name="connsiteX7567" fmla="*/ 6745070 w 8079933"/>
              <a:gd name="connsiteY7567" fmla="*/ 3076833 h 4687251"/>
              <a:gd name="connsiteX7568" fmla="*/ 6741055 w 8079933"/>
              <a:gd name="connsiteY7568" fmla="*/ 3081489 h 4687251"/>
              <a:gd name="connsiteX7569" fmla="*/ 6740296 w 8079933"/>
              <a:gd name="connsiteY7569" fmla="*/ 3085712 h 4687251"/>
              <a:gd name="connsiteX7570" fmla="*/ 6736280 w 8079933"/>
              <a:gd name="connsiteY7570" fmla="*/ 3087336 h 4687251"/>
              <a:gd name="connsiteX7571" fmla="*/ 6732699 w 8079933"/>
              <a:gd name="connsiteY7571" fmla="*/ 3086794 h 4687251"/>
              <a:gd name="connsiteX7572" fmla="*/ 6733567 w 8079933"/>
              <a:gd name="connsiteY7572" fmla="*/ 3088960 h 4687251"/>
              <a:gd name="connsiteX7573" fmla="*/ 6731723 w 8079933"/>
              <a:gd name="connsiteY7573" fmla="*/ 3091667 h 4687251"/>
              <a:gd name="connsiteX7574" fmla="*/ 6737474 w 8079933"/>
              <a:gd name="connsiteY7574" fmla="*/ 3091342 h 4687251"/>
              <a:gd name="connsiteX7575" fmla="*/ 6738451 w 8079933"/>
              <a:gd name="connsiteY7575" fmla="*/ 3092316 h 4687251"/>
              <a:gd name="connsiteX7576" fmla="*/ 6737800 w 8079933"/>
              <a:gd name="connsiteY7576" fmla="*/ 3096539 h 4687251"/>
              <a:gd name="connsiteX7577" fmla="*/ 6734979 w 8079933"/>
              <a:gd name="connsiteY7577" fmla="*/ 3098488 h 4687251"/>
              <a:gd name="connsiteX7578" fmla="*/ 6736497 w 8079933"/>
              <a:gd name="connsiteY7578" fmla="*/ 3099571 h 4687251"/>
              <a:gd name="connsiteX7579" fmla="*/ 6739319 w 8079933"/>
              <a:gd name="connsiteY7579" fmla="*/ 3099245 h 4687251"/>
              <a:gd name="connsiteX7580" fmla="*/ 6739970 w 8079933"/>
              <a:gd name="connsiteY7580" fmla="*/ 3102602 h 4687251"/>
              <a:gd name="connsiteX7581" fmla="*/ 6738451 w 8079933"/>
              <a:gd name="connsiteY7581" fmla="*/ 3106283 h 4687251"/>
              <a:gd name="connsiteX7582" fmla="*/ 6734653 w 8079933"/>
              <a:gd name="connsiteY7582" fmla="*/ 3105200 h 4687251"/>
              <a:gd name="connsiteX7583" fmla="*/ 6733893 w 8079933"/>
              <a:gd name="connsiteY7583" fmla="*/ 3104226 h 4687251"/>
              <a:gd name="connsiteX7584" fmla="*/ 6733676 w 8079933"/>
              <a:gd name="connsiteY7584" fmla="*/ 3106067 h 4687251"/>
              <a:gd name="connsiteX7585" fmla="*/ 6735846 w 8079933"/>
              <a:gd name="connsiteY7585" fmla="*/ 3108124 h 4687251"/>
              <a:gd name="connsiteX7586" fmla="*/ 6737365 w 8079933"/>
              <a:gd name="connsiteY7586" fmla="*/ 3109532 h 4687251"/>
              <a:gd name="connsiteX7587" fmla="*/ 6733676 w 8079933"/>
              <a:gd name="connsiteY7587" fmla="*/ 3117218 h 4687251"/>
              <a:gd name="connsiteX7588" fmla="*/ 6731180 w 8079933"/>
              <a:gd name="connsiteY7588" fmla="*/ 3117218 h 4687251"/>
              <a:gd name="connsiteX7589" fmla="*/ 6730204 w 8079933"/>
              <a:gd name="connsiteY7589" fmla="*/ 3115378 h 4687251"/>
              <a:gd name="connsiteX7590" fmla="*/ 6728793 w 8079933"/>
              <a:gd name="connsiteY7590" fmla="*/ 3121333 h 4687251"/>
              <a:gd name="connsiteX7591" fmla="*/ 6728793 w 8079933"/>
              <a:gd name="connsiteY7591" fmla="*/ 3124581 h 4687251"/>
              <a:gd name="connsiteX7592" fmla="*/ 6723801 w 8079933"/>
              <a:gd name="connsiteY7592" fmla="*/ 3133676 h 4687251"/>
              <a:gd name="connsiteX7593" fmla="*/ 6715662 w 8079933"/>
              <a:gd name="connsiteY7593" fmla="*/ 3139198 h 4687251"/>
              <a:gd name="connsiteX7594" fmla="*/ 6708825 w 8079933"/>
              <a:gd name="connsiteY7594" fmla="*/ 3140389 h 4687251"/>
              <a:gd name="connsiteX7595" fmla="*/ 6698951 w 8079933"/>
              <a:gd name="connsiteY7595" fmla="*/ 3145044 h 4687251"/>
              <a:gd name="connsiteX7596" fmla="*/ 6694284 w 8079933"/>
              <a:gd name="connsiteY7596" fmla="*/ 3145694 h 4687251"/>
              <a:gd name="connsiteX7597" fmla="*/ 6692983 w 8079933"/>
              <a:gd name="connsiteY7597" fmla="*/ 3139198 h 4687251"/>
              <a:gd name="connsiteX7598" fmla="*/ 6693742 w 8079933"/>
              <a:gd name="connsiteY7598" fmla="*/ 3135625 h 4687251"/>
              <a:gd name="connsiteX7599" fmla="*/ 6691354 w 8079933"/>
              <a:gd name="connsiteY7599" fmla="*/ 3131943 h 4687251"/>
              <a:gd name="connsiteX7600" fmla="*/ 6690486 w 8079933"/>
              <a:gd name="connsiteY7600" fmla="*/ 3130211 h 4687251"/>
              <a:gd name="connsiteX7601" fmla="*/ 6688316 w 8079933"/>
              <a:gd name="connsiteY7601" fmla="*/ 3131294 h 4687251"/>
              <a:gd name="connsiteX7602" fmla="*/ 6685711 w 8079933"/>
              <a:gd name="connsiteY7602" fmla="*/ 3127830 h 4687251"/>
              <a:gd name="connsiteX7603" fmla="*/ 6683433 w 8079933"/>
              <a:gd name="connsiteY7603" fmla="*/ 3129020 h 4687251"/>
              <a:gd name="connsiteX7604" fmla="*/ 6679635 w 8079933"/>
              <a:gd name="connsiteY7604" fmla="*/ 3128046 h 4687251"/>
              <a:gd name="connsiteX7605" fmla="*/ 6677573 w 8079933"/>
              <a:gd name="connsiteY7605" fmla="*/ 3124256 h 4687251"/>
              <a:gd name="connsiteX7606" fmla="*/ 6675945 w 8079933"/>
              <a:gd name="connsiteY7606" fmla="*/ 3128046 h 4687251"/>
              <a:gd name="connsiteX7607" fmla="*/ 6677573 w 8079933"/>
              <a:gd name="connsiteY7607" fmla="*/ 3131186 h 4687251"/>
              <a:gd name="connsiteX7608" fmla="*/ 6673124 w 8079933"/>
              <a:gd name="connsiteY7608" fmla="*/ 3129995 h 4687251"/>
              <a:gd name="connsiteX7609" fmla="*/ 6671171 w 8079933"/>
              <a:gd name="connsiteY7609" fmla="*/ 3127504 h 4687251"/>
              <a:gd name="connsiteX7610" fmla="*/ 6671171 w 8079933"/>
              <a:gd name="connsiteY7610" fmla="*/ 3123715 h 4687251"/>
              <a:gd name="connsiteX7611" fmla="*/ 6668675 w 8079933"/>
              <a:gd name="connsiteY7611" fmla="*/ 3121549 h 4687251"/>
              <a:gd name="connsiteX7612" fmla="*/ 6665853 w 8079933"/>
              <a:gd name="connsiteY7612" fmla="*/ 3123173 h 4687251"/>
              <a:gd name="connsiteX7613" fmla="*/ 6661621 w 8079933"/>
              <a:gd name="connsiteY7613" fmla="*/ 3120683 h 4687251"/>
              <a:gd name="connsiteX7614" fmla="*/ 6659017 w 8079933"/>
              <a:gd name="connsiteY7614" fmla="*/ 3121008 h 4687251"/>
              <a:gd name="connsiteX7615" fmla="*/ 6655327 w 8079933"/>
              <a:gd name="connsiteY7615" fmla="*/ 3124906 h 4687251"/>
              <a:gd name="connsiteX7616" fmla="*/ 6649468 w 8079933"/>
              <a:gd name="connsiteY7616" fmla="*/ 3125772 h 4687251"/>
              <a:gd name="connsiteX7617" fmla="*/ 6648491 w 8079933"/>
              <a:gd name="connsiteY7617" fmla="*/ 3128154 h 4687251"/>
              <a:gd name="connsiteX7618" fmla="*/ 6645018 w 8079933"/>
              <a:gd name="connsiteY7618" fmla="*/ 3128587 h 4687251"/>
              <a:gd name="connsiteX7619" fmla="*/ 6642522 w 8079933"/>
              <a:gd name="connsiteY7619" fmla="*/ 3126422 h 4687251"/>
              <a:gd name="connsiteX7620" fmla="*/ 6639700 w 8079933"/>
              <a:gd name="connsiteY7620" fmla="*/ 3127179 h 4687251"/>
              <a:gd name="connsiteX7621" fmla="*/ 6634166 w 8079933"/>
              <a:gd name="connsiteY7621" fmla="*/ 3134000 h 4687251"/>
              <a:gd name="connsiteX7622" fmla="*/ 6630694 w 8079933"/>
              <a:gd name="connsiteY7622" fmla="*/ 3134000 h 4687251"/>
              <a:gd name="connsiteX7623" fmla="*/ 6631236 w 8079933"/>
              <a:gd name="connsiteY7623" fmla="*/ 3130103 h 4687251"/>
              <a:gd name="connsiteX7624" fmla="*/ 6630585 w 8079933"/>
              <a:gd name="connsiteY7624" fmla="*/ 3122091 h 4687251"/>
              <a:gd name="connsiteX7625" fmla="*/ 6628523 w 8079933"/>
              <a:gd name="connsiteY7625" fmla="*/ 3116244 h 4687251"/>
              <a:gd name="connsiteX7626" fmla="*/ 6629500 w 8079933"/>
              <a:gd name="connsiteY7626" fmla="*/ 3112130 h 4687251"/>
              <a:gd name="connsiteX7627" fmla="*/ 6628089 w 8079933"/>
              <a:gd name="connsiteY7627" fmla="*/ 3108882 h 4687251"/>
              <a:gd name="connsiteX7628" fmla="*/ 6628523 w 8079933"/>
              <a:gd name="connsiteY7628" fmla="*/ 3111481 h 4687251"/>
              <a:gd name="connsiteX7629" fmla="*/ 6626353 w 8079933"/>
              <a:gd name="connsiteY7629" fmla="*/ 3116136 h 4687251"/>
              <a:gd name="connsiteX7630" fmla="*/ 6623314 w 8079933"/>
              <a:gd name="connsiteY7630" fmla="*/ 3118085 h 4687251"/>
              <a:gd name="connsiteX7631" fmla="*/ 6620385 w 8079933"/>
              <a:gd name="connsiteY7631" fmla="*/ 3116028 h 4687251"/>
              <a:gd name="connsiteX7632" fmla="*/ 6616261 w 8079933"/>
              <a:gd name="connsiteY7632" fmla="*/ 3118951 h 4687251"/>
              <a:gd name="connsiteX7633" fmla="*/ 6610293 w 8079933"/>
              <a:gd name="connsiteY7633" fmla="*/ 3119492 h 4687251"/>
              <a:gd name="connsiteX7634" fmla="*/ 6606603 w 8079933"/>
              <a:gd name="connsiteY7634" fmla="*/ 3118085 h 4687251"/>
              <a:gd name="connsiteX7635" fmla="*/ 6601611 w 8079933"/>
              <a:gd name="connsiteY7635" fmla="*/ 3117760 h 4687251"/>
              <a:gd name="connsiteX7636" fmla="*/ 6600092 w 8079933"/>
              <a:gd name="connsiteY7636" fmla="*/ 3114728 h 4687251"/>
              <a:gd name="connsiteX7637" fmla="*/ 6596402 w 8079933"/>
              <a:gd name="connsiteY7637" fmla="*/ 3117869 h 4687251"/>
              <a:gd name="connsiteX7638" fmla="*/ 6593689 w 8079933"/>
              <a:gd name="connsiteY7638" fmla="*/ 3117869 h 4687251"/>
              <a:gd name="connsiteX7639" fmla="*/ 6590976 w 8079933"/>
              <a:gd name="connsiteY7639" fmla="*/ 3111264 h 4687251"/>
              <a:gd name="connsiteX7640" fmla="*/ 6590868 w 8079933"/>
              <a:gd name="connsiteY7640" fmla="*/ 3105525 h 4687251"/>
              <a:gd name="connsiteX7641" fmla="*/ 6589566 w 8079933"/>
              <a:gd name="connsiteY7641" fmla="*/ 3094915 h 4687251"/>
              <a:gd name="connsiteX7642" fmla="*/ 6585442 w 8079933"/>
              <a:gd name="connsiteY7642" fmla="*/ 3092208 h 4687251"/>
              <a:gd name="connsiteX7643" fmla="*/ 6584248 w 8079933"/>
              <a:gd name="connsiteY7643" fmla="*/ 3089284 h 4687251"/>
              <a:gd name="connsiteX7644" fmla="*/ 6586961 w 8079933"/>
              <a:gd name="connsiteY7644" fmla="*/ 3086145 h 4687251"/>
              <a:gd name="connsiteX7645" fmla="*/ 6590217 w 8079933"/>
              <a:gd name="connsiteY7645" fmla="*/ 3081381 h 4687251"/>
              <a:gd name="connsiteX7646" fmla="*/ 6589566 w 8079933"/>
              <a:gd name="connsiteY7646" fmla="*/ 3077159 h 4687251"/>
              <a:gd name="connsiteX7647" fmla="*/ 6587287 w 8079933"/>
              <a:gd name="connsiteY7647" fmla="*/ 3072936 h 4687251"/>
              <a:gd name="connsiteX7648" fmla="*/ 6580451 w 8079933"/>
              <a:gd name="connsiteY7648" fmla="*/ 3066115 h 4687251"/>
              <a:gd name="connsiteX7649" fmla="*/ 6574590 w 8079933"/>
              <a:gd name="connsiteY7649" fmla="*/ 3062759 h 4687251"/>
              <a:gd name="connsiteX7650" fmla="*/ 6568948 w 8079933"/>
              <a:gd name="connsiteY7650" fmla="*/ 3061351 h 4687251"/>
              <a:gd name="connsiteX7651" fmla="*/ 6568731 w 8079933"/>
              <a:gd name="connsiteY7651" fmla="*/ 3059510 h 4687251"/>
              <a:gd name="connsiteX7652" fmla="*/ 6573071 w 8079933"/>
              <a:gd name="connsiteY7652" fmla="*/ 3058969 h 4687251"/>
              <a:gd name="connsiteX7653" fmla="*/ 6576761 w 8079933"/>
              <a:gd name="connsiteY7653" fmla="*/ 3055721 h 4687251"/>
              <a:gd name="connsiteX7654" fmla="*/ 6585117 w 8079933"/>
              <a:gd name="connsiteY7654" fmla="*/ 3053772 h 4687251"/>
              <a:gd name="connsiteX7655" fmla="*/ 6590759 w 8079933"/>
              <a:gd name="connsiteY7655" fmla="*/ 3049333 h 4687251"/>
              <a:gd name="connsiteX7656" fmla="*/ 6595426 w 8079933"/>
              <a:gd name="connsiteY7656" fmla="*/ 3049658 h 4687251"/>
              <a:gd name="connsiteX7657" fmla="*/ 6591085 w 8079933"/>
              <a:gd name="connsiteY7657" fmla="*/ 3048358 h 4687251"/>
              <a:gd name="connsiteX7658" fmla="*/ 6584683 w 8079933"/>
              <a:gd name="connsiteY7658" fmla="*/ 3052365 h 4687251"/>
              <a:gd name="connsiteX7659" fmla="*/ 6577195 w 8079933"/>
              <a:gd name="connsiteY7659" fmla="*/ 3053447 h 4687251"/>
              <a:gd name="connsiteX7660" fmla="*/ 6574156 w 8079933"/>
              <a:gd name="connsiteY7660" fmla="*/ 3054205 h 4687251"/>
              <a:gd name="connsiteX7661" fmla="*/ 6569273 w 8079933"/>
              <a:gd name="connsiteY7661" fmla="*/ 3052690 h 4687251"/>
              <a:gd name="connsiteX7662" fmla="*/ 6566235 w 8079933"/>
              <a:gd name="connsiteY7662" fmla="*/ 3047167 h 4687251"/>
              <a:gd name="connsiteX7663" fmla="*/ 6567754 w 8079933"/>
              <a:gd name="connsiteY7663" fmla="*/ 3045760 h 4687251"/>
              <a:gd name="connsiteX7664" fmla="*/ 6570467 w 8079933"/>
              <a:gd name="connsiteY7664" fmla="*/ 3047059 h 4687251"/>
              <a:gd name="connsiteX7665" fmla="*/ 6568297 w 8079933"/>
              <a:gd name="connsiteY7665" fmla="*/ 3043486 h 4687251"/>
              <a:gd name="connsiteX7666" fmla="*/ 6561243 w 8079933"/>
              <a:gd name="connsiteY7666" fmla="*/ 3034608 h 4687251"/>
              <a:gd name="connsiteX7667" fmla="*/ 6560592 w 8079933"/>
              <a:gd name="connsiteY7667" fmla="*/ 3025513 h 4687251"/>
              <a:gd name="connsiteX7668" fmla="*/ 6563847 w 8079933"/>
              <a:gd name="connsiteY7668" fmla="*/ 3023564 h 4687251"/>
              <a:gd name="connsiteX7669" fmla="*/ 6564390 w 8079933"/>
              <a:gd name="connsiteY7669" fmla="*/ 3020749 h 4687251"/>
              <a:gd name="connsiteX7670" fmla="*/ 6563088 w 8079933"/>
              <a:gd name="connsiteY7670" fmla="*/ 3017502 h 4687251"/>
              <a:gd name="connsiteX7671" fmla="*/ 6563414 w 8079933"/>
              <a:gd name="connsiteY7671" fmla="*/ 3014253 h 4687251"/>
              <a:gd name="connsiteX7672" fmla="*/ 6567103 w 8079933"/>
              <a:gd name="connsiteY7672" fmla="*/ 3007756 h 4687251"/>
              <a:gd name="connsiteX7673" fmla="*/ 6572854 w 8079933"/>
              <a:gd name="connsiteY7673" fmla="*/ 3000178 h 4687251"/>
              <a:gd name="connsiteX7674" fmla="*/ 6575242 w 8079933"/>
              <a:gd name="connsiteY7674" fmla="*/ 2996497 h 4687251"/>
              <a:gd name="connsiteX7675" fmla="*/ 6578930 w 8079933"/>
              <a:gd name="connsiteY7675" fmla="*/ 2995306 h 4687251"/>
              <a:gd name="connsiteX7676" fmla="*/ 6578929 w 8079933"/>
              <a:gd name="connsiteY7676" fmla="*/ 2995304 h 4687251"/>
              <a:gd name="connsiteX7677" fmla="*/ 6580774 w 8079933"/>
              <a:gd name="connsiteY7677" fmla="*/ 2994763 h 4687251"/>
              <a:gd name="connsiteX7678" fmla="*/ 6584897 w 8079933"/>
              <a:gd name="connsiteY7678" fmla="*/ 2999418 h 4687251"/>
              <a:gd name="connsiteX7679" fmla="*/ 6587501 w 8079933"/>
              <a:gd name="connsiteY7679" fmla="*/ 3003208 h 4687251"/>
              <a:gd name="connsiteX7680" fmla="*/ 6594338 w 8079933"/>
              <a:gd name="connsiteY7680" fmla="*/ 3003100 h 4687251"/>
              <a:gd name="connsiteX7681" fmla="*/ 6604214 w 8079933"/>
              <a:gd name="connsiteY7681" fmla="*/ 3006673 h 4687251"/>
              <a:gd name="connsiteX7682" fmla="*/ 6613655 w 8079933"/>
              <a:gd name="connsiteY7682" fmla="*/ 3007863 h 4687251"/>
              <a:gd name="connsiteX7683" fmla="*/ 6613546 w 8079933"/>
              <a:gd name="connsiteY7683" fmla="*/ 3006023 h 4687251"/>
              <a:gd name="connsiteX7684" fmla="*/ 6617669 w 8079933"/>
              <a:gd name="connsiteY7684" fmla="*/ 3000284 h 4687251"/>
              <a:gd name="connsiteX7685" fmla="*/ 6617778 w 8079933"/>
              <a:gd name="connsiteY7685" fmla="*/ 2993464 h 4687251"/>
              <a:gd name="connsiteX7686" fmla="*/ 6619297 w 8079933"/>
              <a:gd name="connsiteY7686" fmla="*/ 2988483 h 4687251"/>
              <a:gd name="connsiteX7687" fmla="*/ 6621901 w 8079933"/>
              <a:gd name="connsiteY7687" fmla="*/ 2985235 h 4687251"/>
              <a:gd name="connsiteX7688" fmla="*/ 6627544 w 8079933"/>
              <a:gd name="connsiteY7688" fmla="*/ 2984586 h 4687251"/>
              <a:gd name="connsiteX7689" fmla="*/ 6630908 w 8079933"/>
              <a:gd name="connsiteY7689" fmla="*/ 2982853 h 4687251"/>
              <a:gd name="connsiteX7690" fmla="*/ 6633947 w 8079933"/>
              <a:gd name="connsiteY7690" fmla="*/ 2983936 h 4687251"/>
              <a:gd name="connsiteX7691" fmla="*/ 6631668 w 8079933"/>
              <a:gd name="connsiteY7691" fmla="*/ 2981446 h 4687251"/>
              <a:gd name="connsiteX7692" fmla="*/ 6630366 w 8079933"/>
              <a:gd name="connsiteY7692" fmla="*/ 2975166 h 4687251"/>
              <a:gd name="connsiteX7693" fmla="*/ 6632428 w 8079933"/>
              <a:gd name="connsiteY7693" fmla="*/ 2974192 h 4687251"/>
              <a:gd name="connsiteX7694" fmla="*/ 6651961 w 8079933"/>
              <a:gd name="connsiteY7694" fmla="*/ 2969536 h 4687251"/>
              <a:gd name="connsiteX7695" fmla="*/ 6658363 w 8079933"/>
              <a:gd name="connsiteY7695" fmla="*/ 2964014 h 4687251"/>
              <a:gd name="connsiteX7696" fmla="*/ 6664223 w 8079933"/>
              <a:gd name="connsiteY7696" fmla="*/ 2956868 h 4687251"/>
              <a:gd name="connsiteX7697" fmla="*/ 6665742 w 8079933"/>
              <a:gd name="connsiteY7697" fmla="*/ 2952538 h 4687251"/>
              <a:gd name="connsiteX7698" fmla="*/ 6672470 w 8079933"/>
              <a:gd name="connsiteY7698" fmla="*/ 2946150 h 4687251"/>
              <a:gd name="connsiteX7699" fmla="*/ 6674641 w 8079933"/>
              <a:gd name="connsiteY7699" fmla="*/ 2941386 h 4687251"/>
              <a:gd name="connsiteX7700" fmla="*/ 6680826 w 8079933"/>
              <a:gd name="connsiteY7700" fmla="*/ 2936081 h 4687251"/>
              <a:gd name="connsiteX7701" fmla="*/ 6681043 w 8079933"/>
              <a:gd name="connsiteY7701" fmla="*/ 2930342 h 4687251"/>
              <a:gd name="connsiteX7702" fmla="*/ 6684298 w 8079933"/>
              <a:gd name="connsiteY7702" fmla="*/ 2926336 h 4687251"/>
              <a:gd name="connsiteX7703" fmla="*/ 6684299 w 8079933"/>
              <a:gd name="connsiteY7703" fmla="*/ 2926337 h 4687251"/>
              <a:gd name="connsiteX7704" fmla="*/ 6685385 w 8079933"/>
              <a:gd name="connsiteY7704" fmla="*/ 2924821 h 4687251"/>
              <a:gd name="connsiteX7705" fmla="*/ 6694174 w 8079933"/>
              <a:gd name="connsiteY7705" fmla="*/ 2922223 h 4687251"/>
              <a:gd name="connsiteX7706" fmla="*/ 6699818 w 8079933"/>
              <a:gd name="connsiteY7706" fmla="*/ 2918000 h 4687251"/>
              <a:gd name="connsiteX7707" fmla="*/ 6704484 w 8079933"/>
              <a:gd name="connsiteY7707" fmla="*/ 2916268 h 4687251"/>
              <a:gd name="connsiteX7708" fmla="*/ 6704809 w 8079933"/>
              <a:gd name="connsiteY7708" fmla="*/ 2921032 h 4687251"/>
              <a:gd name="connsiteX7709" fmla="*/ 6704700 w 8079933"/>
              <a:gd name="connsiteY7709" fmla="*/ 2922764 h 4687251"/>
              <a:gd name="connsiteX7710" fmla="*/ 6704699 w 8079933"/>
              <a:gd name="connsiteY7710" fmla="*/ 2922764 h 4687251"/>
              <a:gd name="connsiteX7711" fmla="*/ 6704699 w 8079933"/>
              <a:gd name="connsiteY7711" fmla="*/ 2923846 h 4687251"/>
              <a:gd name="connsiteX7712" fmla="*/ 6705459 w 8079933"/>
              <a:gd name="connsiteY7712" fmla="*/ 2923630 h 4687251"/>
              <a:gd name="connsiteX7713" fmla="*/ 6706436 w 8079933"/>
              <a:gd name="connsiteY7713" fmla="*/ 2927960 h 4687251"/>
              <a:gd name="connsiteX7714" fmla="*/ 6706870 w 8079933"/>
              <a:gd name="connsiteY7714" fmla="*/ 2933915 h 4687251"/>
              <a:gd name="connsiteX7715" fmla="*/ 6710125 w 8079933"/>
              <a:gd name="connsiteY7715" fmla="*/ 2935648 h 4687251"/>
              <a:gd name="connsiteX7716" fmla="*/ 6710126 w 8079933"/>
              <a:gd name="connsiteY7716" fmla="*/ 2935646 h 4687251"/>
              <a:gd name="connsiteX7717" fmla="*/ 6706870 w 8079933"/>
              <a:gd name="connsiteY7717" fmla="*/ 2933914 h 4687251"/>
              <a:gd name="connsiteX7718" fmla="*/ 6706437 w 8079933"/>
              <a:gd name="connsiteY7718" fmla="*/ 2927960 h 4687251"/>
              <a:gd name="connsiteX7719" fmla="*/ 6705460 w 8079933"/>
              <a:gd name="connsiteY7719" fmla="*/ 2923629 h 4687251"/>
              <a:gd name="connsiteX7720" fmla="*/ 6707630 w 8079933"/>
              <a:gd name="connsiteY7720" fmla="*/ 2923088 h 4687251"/>
              <a:gd name="connsiteX7721" fmla="*/ 6708823 w 8079933"/>
              <a:gd name="connsiteY7721" fmla="*/ 2921465 h 4687251"/>
              <a:gd name="connsiteX7722" fmla="*/ 6708823 w 8079933"/>
              <a:gd name="connsiteY7722" fmla="*/ 2921464 h 4687251"/>
              <a:gd name="connsiteX7723" fmla="*/ 6709474 w 8079933"/>
              <a:gd name="connsiteY7723" fmla="*/ 2920598 h 4687251"/>
              <a:gd name="connsiteX7724" fmla="*/ 6713273 w 8079933"/>
              <a:gd name="connsiteY7724" fmla="*/ 2918649 h 4687251"/>
              <a:gd name="connsiteX7725" fmla="*/ 6715551 w 8079933"/>
              <a:gd name="connsiteY7725" fmla="*/ 2915185 h 4687251"/>
              <a:gd name="connsiteX7726" fmla="*/ 6710017 w 8079933"/>
              <a:gd name="connsiteY7726" fmla="*/ 2916808 h 4687251"/>
              <a:gd name="connsiteX7727" fmla="*/ 6707738 w 8079933"/>
              <a:gd name="connsiteY7727" fmla="*/ 2915942 h 4687251"/>
              <a:gd name="connsiteX7728" fmla="*/ 6709474 w 8079933"/>
              <a:gd name="connsiteY7728" fmla="*/ 2913343 h 4687251"/>
              <a:gd name="connsiteX7729" fmla="*/ 6706870 w 8079933"/>
              <a:gd name="connsiteY7729" fmla="*/ 2913452 h 4687251"/>
              <a:gd name="connsiteX7730" fmla="*/ 6709257 w 8079933"/>
              <a:gd name="connsiteY7730" fmla="*/ 2910420 h 4687251"/>
              <a:gd name="connsiteX7731" fmla="*/ 6716202 w 8079933"/>
              <a:gd name="connsiteY7731" fmla="*/ 2907822 h 4687251"/>
              <a:gd name="connsiteX7732" fmla="*/ 6720326 w 8079933"/>
              <a:gd name="connsiteY7732" fmla="*/ 2907822 h 4687251"/>
              <a:gd name="connsiteX7733" fmla="*/ 6728899 w 8079933"/>
              <a:gd name="connsiteY7733" fmla="*/ 2898728 h 4687251"/>
              <a:gd name="connsiteX7734" fmla="*/ 6729767 w 8079933"/>
              <a:gd name="connsiteY7734" fmla="*/ 2892556 h 4687251"/>
              <a:gd name="connsiteX7735" fmla="*/ 6734759 w 8079933"/>
              <a:gd name="connsiteY7735" fmla="*/ 2881080 h 4687251"/>
              <a:gd name="connsiteX7736" fmla="*/ 6738231 w 8079933"/>
              <a:gd name="connsiteY7736" fmla="*/ 2880105 h 4687251"/>
              <a:gd name="connsiteX7737" fmla="*/ 6741487 w 8079933"/>
              <a:gd name="connsiteY7737" fmla="*/ 2869494 h 4687251"/>
              <a:gd name="connsiteX7738" fmla="*/ 6744634 w 8079933"/>
              <a:gd name="connsiteY7738" fmla="*/ 2869711 h 4687251"/>
              <a:gd name="connsiteX7739" fmla="*/ 6745501 w 8079933"/>
              <a:gd name="connsiteY7739" fmla="*/ 2873609 h 4687251"/>
              <a:gd name="connsiteX7740" fmla="*/ 6743982 w 8079933"/>
              <a:gd name="connsiteY7740" fmla="*/ 2877939 h 4687251"/>
              <a:gd name="connsiteX7741" fmla="*/ 6746044 w 8079933"/>
              <a:gd name="connsiteY7741" fmla="*/ 2878264 h 4687251"/>
              <a:gd name="connsiteX7742" fmla="*/ 6751144 w 8079933"/>
              <a:gd name="connsiteY7742" fmla="*/ 2873284 h 4687251"/>
              <a:gd name="connsiteX7743" fmla="*/ 6749843 w 8079933"/>
              <a:gd name="connsiteY7743" fmla="*/ 2868953 h 4687251"/>
              <a:gd name="connsiteX7744" fmla="*/ 2253348 w 8079933"/>
              <a:gd name="connsiteY7744" fmla="*/ 2864838 h 4687251"/>
              <a:gd name="connsiteX7745" fmla="*/ 2249441 w 8079933"/>
              <a:gd name="connsiteY7745" fmla="*/ 2866787 h 4687251"/>
              <a:gd name="connsiteX7746" fmla="*/ 2245576 w 8079933"/>
              <a:gd name="connsiteY7746" fmla="*/ 2864943 h 4687251"/>
              <a:gd name="connsiteX7747" fmla="*/ 2249441 w 8079933"/>
              <a:gd name="connsiteY7747" fmla="*/ 2866788 h 4687251"/>
              <a:gd name="connsiteX7748" fmla="*/ 2253348 w 8079933"/>
              <a:gd name="connsiteY7748" fmla="*/ 2864839 h 4687251"/>
              <a:gd name="connsiteX7749" fmla="*/ 2259425 w 8079933"/>
              <a:gd name="connsiteY7749" fmla="*/ 2865055 h 4687251"/>
              <a:gd name="connsiteX7750" fmla="*/ 2265285 w 8079933"/>
              <a:gd name="connsiteY7750" fmla="*/ 2866788 h 4687251"/>
              <a:gd name="connsiteX7751" fmla="*/ 2266153 w 8079933"/>
              <a:gd name="connsiteY7751" fmla="*/ 2866030 h 4687251"/>
              <a:gd name="connsiteX7752" fmla="*/ 2265284 w 8079933"/>
              <a:gd name="connsiteY7752" fmla="*/ 2866787 h 4687251"/>
              <a:gd name="connsiteX7753" fmla="*/ 2259425 w 8079933"/>
              <a:gd name="connsiteY7753" fmla="*/ 2865055 h 4687251"/>
              <a:gd name="connsiteX7754" fmla="*/ 3874694 w 8079933"/>
              <a:gd name="connsiteY7754" fmla="*/ 2862566 h 4687251"/>
              <a:gd name="connsiteX7755" fmla="*/ 3872416 w 8079933"/>
              <a:gd name="connsiteY7755" fmla="*/ 2865814 h 4687251"/>
              <a:gd name="connsiteX7756" fmla="*/ 3872416 w 8079933"/>
              <a:gd name="connsiteY7756" fmla="*/ 2865814 h 4687251"/>
              <a:gd name="connsiteX7757" fmla="*/ 3747407 w 8079933"/>
              <a:gd name="connsiteY7757" fmla="*/ 2861045 h 4687251"/>
              <a:gd name="connsiteX7758" fmla="*/ 3747405 w 8079933"/>
              <a:gd name="connsiteY7758" fmla="*/ 2861049 h 4687251"/>
              <a:gd name="connsiteX7759" fmla="*/ 3747404 w 8079933"/>
              <a:gd name="connsiteY7759" fmla="*/ 2861050 h 4687251"/>
              <a:gd name="connsiteX7760" fmla="*/ 3749032 w 8079933"/>
              <a:gd name="connsiteY7760" fmla="*/ 2865597 h 4687251"/>
              <a:gd name="connsiteX7761" fmla="*/ 3745125 w 8079933"/>
              <a:gd name="connsiteY7761" fmla="*/ 2874584 h 4687251"/>
              <a:gd name="connsiteX7762" fmla="*/ 3741880 w 8079933"/>
              <a:gd name="connsiteY7762" fmla="*/ 2878031 h 4687251"/>
              <a:gd name="connsiteX7763" fmla="*/ 3745125 w 8079933"/>
              <a:gd name="connsiteY7763" fmla="*/ 2874584 h 4687251"/>
              <a:gd name="connsiteX7764" fmla="*/ 3749032 w 8079933"/>
              <a:gd name="connsiteY7764" fmla="*/ 2865597 h 4687251"/>
              <a:gd name="connsiteX7765" fmla="*/ 3747405 w 8079933"/>
              <a:gd name="connsiteY7765" fmla="*/ 2861050 h 4687251"/>
              <a:gd name="connsiteX7766" fmla="*/ 4222331 w 8079933"/>
              <a:gd name="connsiteY7766" fmla="*/ 2860991 h 4687251"/>
              <a:gd name="connsiteX7767" fmla="*/ 4222599 w 8079933"/>
              <a:gd name="connsiteY7767" fmla="*/ 2863756 h 4687251"/>
              <a:gd name="connsiteX7768" fmla="*/ 4219777 w 8079933"/>
              <a:gd name="connsiteY7768" fmla="*/ 2868087 h 4687251"/>
              <a:gd name="connsiteX7769" fmla="*/ 4216088 w 8079933"/>
              <a:gd name="connsiteY7769" fmla="*/ 2869278 h 4687251"/>
              <a:gd name="connsiteX7770" fmla="*/ 4214243 w 8079933"/>
              <a:gd name="connsiteY7770" fmla="*/ 2871985 h 4687251"/>
              <a:gd name="connsiteX7771" fmla="*/ 4214243 w 8079933"/>
              <a:gd name="connsiteY7771" fmla="*/ 2874042 h 4687251"/>
              <a:gd name="connsiteX7772" fmla="*/ 4211096 w 8079933"/>
              <a:gd name="connsiteY7772" fmla="*/ 2879347 h 4687251"/>
              <a:gd name="connsiteX7773" fmla="*/ 4205996 w 8079933"/>
              <a:gd name="connsiteY7773" fmla="*/ 2882271 h 4687251"/>
              <a:gd name="connsiteX7774" fmla="*/ 4203283 w 8079933"/>
              <a:gd name="connsiteY7774" fmla="*/ 2881188 h 4687251"/>
              <a:gd name="connsiteX7775" fmla="*/ 4199160 w 8079933"/>
              <a:gd name="connsiteY7775" fmla="*/ 2878156 h 4687251"/>
              <a:gd name="connsiteX7776" fmla="*/ 4203283 w 8079933"/>
              <a:gd name="connsiteY7776" fmla="*/ 2881188 h 4687251"/>
              <a:gd name="connsiteX7777" fmla="*/ 4205996 w 8079933"/>
              <a:gd name="connsiteY7777" fmla="*/ 2882271 h 4687251"/>
              <a:gd name="connsiteX7778" fmla="*/ 4211096 w 8079933"/>
              <a:gd name="connsiteY7778" fmla="*/ 2879348 h 4687251"/>
              <a:gd name="connsiteX7779" fmla="*/ 4214244 w 8079933"/>
              <a:gd name="connsiteY7779" fmla="*/ 2874043 h 4687251"/>
              <a:gd name="connsiteX7780" fmla="*/ 4214244 w 8079933"/>
              <a:gd name="connsiteY7780" fmla="*/ 2871986 h 4687251"/>
              <a:gd name="connsiteX7781" fmla="*/ 4216088 w 8079933"/>
              <a:gd name="connsiteY7781" fmla="*/ 2869278 h 4687251"/>
              <a:gd name="connsiteX7782" fmla="*/ 4219778 w 8079933"/>
              <a:gd name="connsiteY7782" fmla="*/ 2868087 h 4687251"/>
              <a:gd name="connsiteX7783" fmla="*/ 4222599 w 8079933"/>
              <a:gd name="connsiteY7783" fmla="*/ 2863756 h 4687251"/>
              <a:gd name="connsiteX7784" fmla="*/ 6194563 w 8079933"/>
              <a:gd name="connsiteY7784" fmla="*/ 2860292 h 4687251"/>
              <a:gd name="connsiteX7785" fmla="*/ 6197276 w 8079933"/>
              <a:gd name="connsiteY7785" fmla="*/ 2862782 h 4687251"/>
              <a:gd name="connsiteX7786" fmla="*/ 6196951 w 8079933"/>
              <a:gd name="connsiteY7786" fmla="*/ 2867329 h 4687251"/>
              <a:gd name="connsiteX7787" fmla="*/ 6198362 w 8079933"/>
              <a:gd name="connsiteY7787" fmla="*/ 2871335 h 4687251"/>
              <a:gd name="connsiteX7788" fmla="*/ 6195540 w 8079933"/>
              <a:gd name="connsiteY7788" fmla="*/ 2874691 h 4687251"/>
              <a:gd name="connsiteX7789" fmla="*/ 6193695 w 8079933"/>
              <a:gd name="connsiteY7789" fmla="*/ 2869820 h 4687251"/>
              <a:gd name="connsiteX7790" fmla="*/ 6191200 w 8079933"/>
              <a:gd name="connsiteY7790" fmla="*/ 2868412 h 4687251"/>
              <a:gd name="connsiteX7791" fmla="*/ 6191200 w 8079933"/>
              <a:gd name="connsiteY7791" fmla="*/ 2863648 h 4687251"/>
              <a:gd name="connsiteX7792" fmla="*/ 6755486 w 8079933"/>
              <a:gd name="connsiteY7792" fmla="*/ 2858993 h 4687251"/>
              <a:gd name="connsiteX7793" fmla="*/ 6757657 w 8079933"/>
              <a:gd name="connsiteY7793" fmla="*/ 2859642 h 4687251"/>
              <a:gd name="connsiteX7794" fmla="*/ 6757548 w 8079933"/>
              <a:gd name="connsiteY7794" fmla="*/ 2863107 h 4687251"/>
              <a:gd name="connsiteX7795" fmla="*/ 6752339 w 8079933"/>
              <a:gd name="connsiteY7795" fmla="*/ 2864623 h 4687251"/>
              <a:gd name="connsiteX7796" fmla="*/ 6751146 w 8079933"/>
              <a:gd name="connsiteY7796" fmla="*/ 2863107 h 4687251"/>
              <a:gd name="connsiteX7797" fmla="*/ 6749301 w 8079933"/>
              <a:gd name="connsiteY7797" fmla="*/ 2858884 h 4687251"/>
              <a:gd name="connsiteX7798" fmla="*/ 6749192 w 8079933"/>
              <a:gd name="connsiteY7798" fmla="*/ 2860616 h 4687251"/>
              <a:gd name="connsiteX7799" fmla="*/ 6746153 w 8079933"/>
              <a:gd name="connsiteY7799" fmla="*/ 2862349 h 4687251"/>
              <a:gd name="connsiteX7800" fmla="*/ 6743115 w 8079933"/>
              <a:gd name="connsiteY7800" fmla="*/ 2862457 h 4687251"/>
              <a:gd name="connsiteX7801" fmla="*/ 4756718 w 8079933"/>
              <a:gd name="connsiteY7801" fmla="*/ 2858884 h 4687251"/>
              <a:gd name="connsiteX7802" fmla="*/ 4761384 w 8079933"/>
              <a:gd name="connsiteY7802" fmla="*/ 2867112 h 4687251"/>
              <a:gd name="connsiteX7803" fmla="*/ 4761385 w 8079933"/>
              <a:gd name="connsiteY7803" fmla="*/ 2867112 h 4687251"/>
              <a:gd name="connsiteX7804" fmla="*/ 4756718 w 8079933"/>
              <a:gd name="connsiteY7804" fmla="*/ 2858884 h 4687251"/>
              <a:gd name="connsiteX7805" fmla="*/ 6191525 w 8079933"/>
              <a:gd name="connsiteY7805" fmla="*/ 2854554 h 4687251"/>
              <a:gd name="connsiteX7806" fmla="*/ 6194347 w 8079933"/>
              <a:gd name="connsiteY7806" fmla="*/ 2854662 h 4687251"/>
              <a:gd name="connsiteX7807" fmla="*/ 6190548 w 8079933"/>
              <a:gd name="connsiteY7807" fmla="*/ 2859101 h 4687251"/>
              <a:gd name="connsiteX7808" fmla="*/ 6189029 w 8079933"/>
              <a:gd name="connsiteY7808" fmla="*/ 2857694 h 4687251"/>
              <a:gd name="connsiteX7809" fmla="*/ 3644749 w 8079933"/>
              <a:gd name="connsiteY7809" fmla="*/ 2853687 h 4687251"/>
              <a:gd name="connsiteX7810" fmla="*/ 3647244 w 8079933"/>
              <a:gd name="connsiteY7810" fmla="*/ 2854336 h 4687251"/>
              <a:gd name="connsiteX7811" fmla="*/ 3649197 w 8079933"/>
              <a:gd name="connsiteY7811" fmla="*/ 2856502 h 4687251"/>
              <a:gd name="connsiteX7812" fmla="*/ 3649631 w 8079933"/>
              <a:gd name="connsiteY7812" fmla="*/ 2859859 h 4687251"/>
              <a:gd name="connsiteX7813" fmla="*/ 3647570 w 8079933"/>
              <a:gd name="connsiteY7813" fmla="*/ 2859642 h 4687251"/>
              <a:gd name="connsiteX7814" fmla="*/ 3644314 w 8079933"/>
              <a:gd name="connsiteY7814" fmla="*/ 2857693 h 4687251"/>
              <a:gd name="connsiteX7815" fmla="*/ 3643772 w 8079933"/>
              <a:gd name="connsiteY7815" fmla="*/ 2855528 h 4687251"/>
              <a:gd name="connsiteX7816" fmla="*/ 3876756 w 8079933"/>
              <a:gd name="connsiteY7816" fmla="*/ 2853471 h 4687251"/>
              <a:gd name="connsiteX7817" fmla="*/ 3875739 w 8079933"/>
              <a:gd name="connsiteY7817" fmla="*/ 2855502 h 4687251"/>
              <a:gd name="connsiteX7818" fmla="*/ 3876756 w 8079933"/>
              <a:gd name="connsiteY7818" fmla="*/ 2853471 h 4687251"/>
              <a:gd name="connsiteX7819" fmla="*/ 6317948 w 8079933"/>
              <a:gd name="connsiteY7819" fmla="*/ 2851847 h 4687251"/>
              <a:gd name="connsiteX7820" fmla="*/ 6319141 w 8079933"/>
              <a:gd name="connsiteY7820" fmla="*/ 2852063 h 4687251"/>
              <a:gd name="connsiteX7821" fmla="*/ 6319467 w 8079933"/>
              <a:gd name="connsiteY7821" fmla="*/ 2854120 h 4687251"/>
              <a:gd name="connsiteX7822" fmla="*/ 6318816 w 8079933"/>
              <a:gd name="connsiteY7822" fmla="*/ 2856719 h 4687251"/>
              <a:gd name="connsiteX7823" fmla="*/ 2228918 w 8079933"/>
              <a:gd name="connsiteY7823" fmla="*/ 2851075 h 4687251"/>
              <a:gd name="connsiteX7824" fmla="*/ 2227738 w 8079933"/>
              <a:gd name="connsiteY7824" fmla="*/ 2853037 h 4687251"/>
              <a:gd name="connsiteX7825" fmla="*/ 2228063 w 8079933"/>
              <a:gd name="connsiteY7825" fmla="*/ 2856502 h 4687251"/>
              <a:gd name="connsiteX7826" fmla="*/ 2233489 w 8079933"/>
              <a:gd name="connsiteY7826" fmla="*/ 2860941 h 4687251"/>
              <a:gd name="connsiteX7827" fmla="*/ 2236741 w 8079933"/>
              <a:gd name="connsiteY7827" fmla="*/ 2862353 h 4687251"/>
              <a:gd name="connsiteX7828" fmla="*/ 2233489 w 8079933"/>
              <a:gd name="connsiteY7828" fmla="*/ 2860941 h 4687251"/>
              <a:gd name="connsiteX7829" fmla="*/ 2228064 w 8079933"/>
              <a:gd name="connsiteY7829" fmla="*/ 2856502 h 4687251"/>
              <a:gd name="connsiteX7830" fmla="*/ 2227738 w 8079933"/>
              <a:gd name="connsiteY7830" fmla="*/ 2853038 h 4687251"/>
              <a:gd name="connsiteX7831" fmla="*/ 4747602 w 8079933"/>
              <a:gd name="connsiteY7831" fmla="*/ 2847299 h 4687251"/>
              <a:gd name="connsiteX7832" fmla="*/ 4749881 w 8079933"/>
              <a:gd name="connsiteY7832" fmla="*/ 2850222 h 4687251"/>
              <a:gd name="connsiteX7833" fmla="*/ 4754222 w 8079933"/>
              <a:gd name="connsiteY7833" fmla="*/ 2854444 h 4687251"/>
              <a:gd name="connsiteX7834" fmla="*/ 4754981 w 8079933"/>
              <a:gd name="connsiteY7834" fmla="*/ 2857801 h 4687251"/>
              <a:gd name="connsiteX7835" fmla="*/ 4756451 w 8079933"/>
              <a:gd name="connsiteY7835" fmla="*/ 2858717 h 4687251"/>
              <a:gd name="connsiteX7836" fmla="*/ 4754982 w 8079933"/>
              <a:gd name="connsiteY7836" fmla="*/ 2857801 h 4687251"/>
              <a:gd name="connsiteX7837" fmla="*/ 4754223 w 8079933"/>
              <a:gd name="connsiteY7837" fmla="*/ 2854445 h 4687251"/>
              <a:gd name="connsiteX7838" fmla="*/ 4749882 w 8079933"/>
              <a:gd name="connsiteY7838" fmla="*/ 2850222 h 4687251"/>
              <a:gd name="connsiteX7839" fmla="*/ 4747603 w 8079933"/>
              <a:gd name="connsiteY7839" fmla="*/ 2847299 h 4687251"/>
              <a:gd name="connsiteX7840" fmla="*/ 4734684 w 8079933"/>
              <a:gd name="connsiteY7840" fmla="*/ 2846356 h 4687251"/>
              <a:gd name="connsiteX7841" fmla="*/ 4737618 w 8079933"/>
              <a:gd name="connsiteY7841" fmla="*/ 2847407 h 4687251"/>
              <a:gd name="connsiteX7842" fmla="*/ 4747377 w 8079933"/>
              <a:gd name="connsiteY7842" fmla="*/ 2847301 h 4687251"/>
              <a:gd name="connsiteX7843" fmla="*/ 4737619 w 8079933"/>
              <a:gd name="connsiteY7843" fmla="*/ 2847407 h 4687251"/>
              <a:gd name="connsiteX7844" fmla="*/ 2516392 w 8079933"/>
              <a:gd name="connsiteY7844" fmla="*/ 2844314 h 4687251"/>
              <a:gd name="connsiteX7845" fmla="*/ 2515741 w 8079933"/>
              <a:gd name="connsiteY7845" fmla="*/ 2844808 h 4687251"/>
              <a:gd name="connsiteX7846" fmla="*/ 2512160 w 8079933"/>
              <a:gd name="connsiteY7846" fmla="*/ 2844484 h 4687251"/>
              <a:gd name="connsiteX7847" fmla="*/ 2515741 w 8079933"/>
              <a:gd name="connsiteY7847" fmla="*/ 2844809 h 4687251"/>
              <a:gd name="connsiteX7848" fmla="*/ 4337627 w 8079933"/>
              <a:gd name="connsiteY7848" fmla="*/ 2843834 h 4687251"/>
              <a:gd name="connsiteX7849" fmla="*/ 4336433 w 8079933"/>
              <a:gd name="connsiteY7849" fmla="*/ 2845026 h 4687251"/>
              <a:gd name="connsiteX7850" fmla="*/ 4337627 w 8079933"/>
              <a:gd name="connsiteY7850" fmla="*/ 2843835 h 4687251"/>
              <a:gd name="connsiteX7851" fmla="*/ 4340122 w 8079933"/>
              <a:gd name="connsiteY7851" fmla="*/ 2846109 h 4687251"/>
              <a:gd name="connsiteX7852" fmla="*/ 4341750 w 8079933"/>
              <a:gd name="connsiteY7852" fmla="*/ 2851631 h 4687251"/>
              <a:gd name="connsiteX7853" fmla="*/ 4343811 w 8079933"/>
              <a:gd name="connsiteY7853" fmla="*/ 2853688 h 4687251"/>
              <a:gd name="connsiteX7854" fmla="*/ 4348261 w 8079933"/>
              <a:gd name="connsiteY7854" fmla="*/ 2853038 h 4687251"/>
              <a:gd name="connsiteX7855" fmla="*/ 4348261 w 8079933"/>
              <a:gd name="connsiteY7855" fmla="*/ 2853037 h 4687251"/>
              <a:gd name="connsiteX7856" fmla="*/ 4343813 w 8079933"/>
              <a:gd name="connsiteY7856" fmla="*/ 2853687 h 4687251"/>
              <a:gd name="connsiteX7857" fmla="*/ 4341751 w 8079933"/>
              <a:gd name="connsiteY7857" fmla="*/ 2851630 h 4687251"/>
              <a:gd name="connsiteX7858" fmla="*/ 4340123 w 8079933"/>
              <a:gd name="connsiteY7858" fmla="*/ 2846108 h 4687251"/>
              <a:gd name="connsiteX7859" fmla="*/ 4732085 w 8079933"/>
              <a:gd name="connsiteY7859" fmla="*/ 2843380 h 4687251"/>
              <a:gd name="connsiteX7860" fmla="*/ 4732085 w 8079933"/>
              <a:gd name="connsiteY7860" fmla="*/ 2843380 h 4687251"/>
              <a:gd name="connsiteX7861" fmla="*/ 4733387 w 8079933"/>
              <a:gd name="connsiteY7861" fmla="*/ 2845891 h 4687251"/>
              <a:gd name="connsiteX7862" fmla="*/ 6185340 w 8079933"/>
              <a:gd name="connsiteY7862" fmla="*/ 2842644 h 4687251"/>
              <a:gd name="connsiteX7863" fmla="*/ 6187728 w 8079933"/>
              <a:gd name="connsiteY7863" fmla="*/ 2847300 h 4687251"/>
              <a:gd name="connsiteX7864" fmla="*/ 6185449 w 8079933"/>
              <a:gd name="connsiteY7864" fmla="*/ 2848816 h 4687251"/>
              <a:gd name="connsiteX7865" fmla="*/ 6182302 w 8079933"/>
              <a:gd name="connsiteY7865" fmla="*/ 2846758 h 4687251"/>
              <a:gd name="connsiteX7866" fmla="*/ 6181108 w 8079933"/>
              <a:gd name="connsiteY7866" fmla="*/ 2843510 h 4687251"/>
              <a:gd name="connsiteX7867" fmla="*/ 6301236 w 8079933"/>
              <a:gd name="connsiteY7867" fmla="*/ 2839936 h 4687251"/>
              <a:gd name="connsiteX7868" fmla="*/ 6304057 w 8079933"/>
              <a:gd name="connsiteY7868" fmla="*/ 2839936 h 4687251"/>
              <a:gd name="connsiteX7869" fmla="*/ 6304057 w 8079933"/>
              <a:gd name="connsiteY7869" fmla="*/ 2845675 h 4687251"/>
              <a:gd name="connsiteX7870" fmla="*/ 6301236 w 8079933"/>
              <a:gd name="connsiteY7870" fmla="*/ 2849897 h 4687251"/>
              <a:gd name="connsiteX7871" fmla="*/ 6301236 w 8079933"/>
              <a:gd name="connsiteY7871" fmla="*/ 2845026 h 4687251"/>
              <a:gd name="connsiteX7872" fmla="*/ 6300151 w 8079933"/>
              <a:gd name="connsiteY7872" fmla="*/ 2843077 h 4687251"/>
              <a:gd name="connsiteX7873" fmla="*/ 6750060 w 8079933"/>
              <a:gd name="connsiteY7873" fmla="*/ 2838963 h 4687251"/>
              <a:gd name="connsiteX7874" fmla="*/ 6751579 w 8079933"/>
              <a:gd name="connsiteY7874" fmla="*/ 2840154 h 4687251"/>
              <a:gd name="connsiteX7875" fmla="*/ 6750819 w 8079933"/>
              <a:gd name="connsiteY7875" fmla="*/ 2842103 h 4687251"/>
              <a:gd name="connsiteX7876" fmla="*/ 6750712 w 8079933"/>
              <a:gd name="connsiteY7876" fmla="*/ 2848165 h 4687251"/>
              <a:gd name="connsiteX7877" fmla="*/ 6748433 w 8079933"/>
              <a:gd name="connsiteY7877" fmla="*/ 2848165 h 4687251"/>
              <a:gd name="connsiteX7878" fmla="*/ 6745720 w 8079933"/>
              <a:gd name="connsiteY7878" fmla="*/ 2843726 h 4687251"/>
              <a:gd name="connsiteX7879" fmla="*/ 6745829 w 8079933"/>
              <a:gd name="connsiteY7879" fmla="*/ 2840479 h 4687251"/>
              <a:gd name="connsiteX7880" fmla="*/ 2230568 w 8079933"/>
              <a:gd name="connsiteY7880" fmla="*/ 2838199 h 4687251"/>
              <a:gd name="connsiteX7881" fmla="*/ 2231536 w 8079933"/>
              <a:gd name="connsiteY7881" fmla="*/ 2841886 h 4687251"/>
              <a:gd name="connsiteX7882" fmla="*/ 2229040 w 8079933"/>
              <a:gd name="connsiteY7882" fmla="*/ 2846974 h 4687251"/>
              <a:gd name="connsiteX7883" fmla="*/ 2229366 w 8079933"/>
              <a:gd name="connsiteY7883" fmla="*/ 2850330 h 4687251"/>
              <a:gd name="connsiteX7884" fmla="*/ 2229041 w 8079933"/>
              <a:gd name="connsiteY7884" fmla="*/ 2846974 h 4687251"/>
              <a:gd name="connsiteX7885" fmla="*/ 2231536 w 8079933"/>
              <a:gd name="connsiteY7885" fmla="*/ 2841885 h 4687251"/>
              <a:gd name="connsiteX7886" fmla="*/ 4389873 w 8079933"/>
              <a:gd name="connsiteY7886" fmla="*/ 2835557 h 4687251"/>
              <a:gd name="connsiteX7887" fmla="*/ 4387436 w 8079933"/>
              <a:gd name="connsiteY7887" fmla="*/ 2838312 h 4687251"/>
              <a:gd name="connsiteX7888" fmla="*/ 4381359 w 8079933"/>
              <a:gd name="connsiteY7888" fmla="*/ 2838312 h 4687251"/>
              <a:gd name="connsiteX7889" fmla="*/ 4367035 w 8079933"/>
              <a:gd name="connsiteY7889" fmla="*/ 2841561 h 4687251"/>
              <a:gd name="connsiteX7890" fmla="*/ 4361066 w 8079933"/>
              <a:gd name="connsiteY7890" fmla="*/ 2845674 h 4687251"/>
              <a:gd name="connsiteX7891" fmla="*/ 4354906 w 8079933"/>
              <a:gd name="connsiteY7891" fmla="*/ 2848194 h 4687251"/>
              <a:gd name="connsiteX7892" fmla="*/ 4361066 w 8079933"/>
              <a:gd name="connsiteY7892" fmla="*/ 2845675 h 4687251"/>
              <a:gd name="connsiteX7893" fmla="*/ 4367034 w 8079933"/>
              <a:gd name="connsiteY7893" fmla="*/ 2841562 h 4687251"/>
              <a:gd name="connsiteX7894" fmla="*/ 4381358 w 8079933"/>
              <a:gd name="connsiteY7894" fmla="*/ 2838313 h 4687251"/>
              <a:gd name="connsiteX7895" fmla="*/ 4387436 w 8079933"/>
              <a:gd name="connsiteY7895" fmla="*/ 2838313 h 4687251"/>
              <a:gd name="connsiteX7896" fmla="*/ 5856860 w 8079933"/>
              <a:gd name="connsiteY7896" fmla="*/ 2834848 h 4687251"/>
              <a:gd name="connsiteX7897" fmla="*/ 5856534 w 8079933"/>
              <a:gd name="connsiteY7897" fmla="*/ 2835931 h 4687251"/>
              <a:gd name="connsiteX7898" fmla="*/ 5855232 w 8079933"/>
              <a:gd name="connsiteY7898" fmla="*/ 2836580 h 4687251"/>
              <a:gd name="connsiteX7899" fmla="*/ 5856101 w 8079933"/>
              <a:gd name="connsiteY7899" fmla="*/ 2840262 h 4687251"/>
              <a:gd name="connsiteX7900" fmla="*/ 5853605 w 8079933"/>
              <a:gd name="connsiteY7900" fmla="*/ 2845675 h 4687251"/>
              <a:gd name="connsiteX7901" fmla="*/ 5854365 w 8079933"/>
              <a:gd name="connsiteY7901" fmla="*/ 2840153 h 4687251"/>
              <a:gd name="connsiteX7902" fmla="*/ 5854039 w 8079933"/>
              <a:gd name="connsiteY7902" fmla="*/ 2836039 h 4687251"/>
              <a:gd name="connsiteX7903" fmla="*/ 3888801 w 8079933"/>
              <a:gd name="connsiteY7903" fmla="*/ 2834415 h 4687251"/>
              <a:gd name="connsiteX7904" fmla="*/ 3883919 w 8079933"/>
              <a:gd name="connsiteY7904" fmla="*/ 2837447 h 4687251"/>
              <a:gd name="connsiteX7905" fmla="*/ 3880664 w 8079933"/>
              <a:gd name="connsiteY7905" fmla="*/ 2842226 h 4687251"/>
              <a:gd name="connsiteX7906" fmla="*/ 3883919 w 8079933"/>
              <a:gd name="connsiteY7906" fmla="*/ 2837447 h 4687251"/>
              <a:gd name="connsiteX7907" fmla="*/ 3888801 w 8079933"/>
              <a:gd name="connsiteY7907" fmla="*/ 2834416 h 4687251"/>
              <a:gd name="connsiteX7908" fmla="*/ 6188053 w 8079933"/>
              <a:gd name="connsiteY7908" fmla="*/ 2834199 h 4687251"/>
              <a:gd name="connsiteX7909" fmla="*/ 6189790 w 8079933"/>
              <a:gd name="connsiteY7909" fmla="*/ 2835931 h 4687251"/>
              <a:gd name="connsiteX7910" fmla="*/ 6190006 w 8079933"/>
              <a:gd name="connsiteY7910" fmla="*/ 2839612 h 4687251"/>
              <a:gd name="connsiteX7911" fmla="*/ 6188162 w 8079933"/>
              <a:gd name="connsiteY7911" fmla="*/ 2841669 h 4687251"/>
              <a:gd name="connsiteX7912" fmla="*/ 6186100 w 8079933"/>
              <a:gd name="connsiteY7912" fmla="*/ 2838205 h 4687251"/>
              <a:gd name="connsiteX7913" fmla="*/ 6756789 w 8079933"/>
              <a:gd name="connsiteY7913" fmla="*/ 2833332 h 4687251"/>
              <a:gd name="connsiteX7914" fmla="*/ 6757873 w 8079933"/>
              <a:gd name="connsiteY7914" fmla="*/ 2836364 h 4687251"/>
              <a:gd name="connsiteX7915" fmla="*/ 6755269 w 8079933"/>
              <a:gd name="connsiteY7915" fmla="*/ 2835065 h 4687251"/>
              <a:gd name="connsiteX7916" fmla="*/ 6754401 w 8079933"/>
              <a:gd name="connsiteY7916" fmla="*/ 2832683 h 4687251"/>
              <a:gd name="connsiteX7917" fmla="*/ 6754076 w 8079933"/>
              <a:gd name="connsiteY7917" fmla="*/ 2834631 h 4687251"/>
              <a:gd name="connsiteX7918" fmla="*/ 6752014 w 8079933"/>
              <a:gd name="connsiteY7918" fmla="*/ 2834955 h 4687251"/>
              <a:gd name="connsiteX7919" fmla="*/ 4737983 w 8079933"/>
              <a:gd name="connsiteY7919" fmla="*/ 2831955 h 4687251"/>
              <a:gd name="connsiteX7920" fmla="*/ 4737837 w 8079933"/>
              <a:gd name="connsiteY7920" fmla="*/ 2834282 h 4687251"/>
              <a:gd name="connsiteX7921" fmla="*/ 4737837 w 8079933"/>
              <a:gd name="connsiteY7921" fmla="*/ 2834299 h 4687251"/>
              <a:gd name="connsiteX7922" fmla="*/ 4737984 w 8079933"/>
              <a:gd name="connsiteY7922" fmla="*/ 2831955 h 4687251"/>
              <a:gd name="connsiteX7923" fmla="*/ 6175465 w 8079933"/>
              <a:gd name="connsiteY7923" fmla="*/ 2831167 h 4687251"/>
              <a:gd name="connsiteX7924" fmla="*/ 6178829 w 8079933"/>
              <a:gd name="connsiteY7924" fmla="*/ 2832033 h 4687251"/>
              <a:gd name="connsiteX7925" fmla="*/ 6180674 w 8079933"/>
              <a:gd name="connsiteY7925" fmla="*/ 2838421 h 4687251"/>
              <a:gd name="connsiteX7926" fmla="*/ 6176767 w 8079933"/>
              <a:gd name="connsiteY7926" fmla="*/ 2834740 h 4687251"/>
              <a:gd name="connsiteX7927" fmla="*/ 6175465 w 8079933"/>
              <a:gd name="connsiteY7927" fmla="*/ 2831167 h 4687251"/>
              <a:gd name="connsiteX7928" fmla="*/ 4397636 w 8079933"/>
              <a:gd name="connsiteY7928" fmla="*/ 2830084 h 4687251"/>
              <a:gd name="connsiteX7929" fmla="*/ 4390691 w 8079933"/>
              <a:gd name="connsiteY7929" fmla="*/ 2834631 h 4687251"/>
              <a:gd name="connsiteX7930" fmla="*/ 4390691 w 8079933"/>
              <a:gd name="connsiteY7930" fmla="*/ 2834632 h 4687251"/>
              <a:gd name="connsiteX7931" fmla="*/ 4397636 w 8079933"/>
              <a:gd name="connsiteY7931" fmla="*/ 2830085 h 4687251"/>
              <a:gd name="connsiteX7932" fmla="*/ 3714199 w 8079933"/>
              <a:gd name="connsiteY7932" fmla="*/ 2826836 h 4687251"/>
              <a:gd name="connsiteX7933" fmla="*/ 3703998 w 8079933"/>
              <a:gd name="connsiteY7933" fmla="*/ 2830084 h 4687251"/>
              <a:gd name="connsiteX7934" fmla="*/ 3701937 w 8079933"/>
              <a:gd name="connsiteY7934" fmla="*/ 2829326 h 4687251"/>
              <a:gd name="connsiteX7935" fmla="*/ 3696404 w 8079933"/>
              <a:gd name="connsiteY7935" fmla="*/ 2831815 h 4687251"/>
              <a:gd name="connsiteX7936" fmla="*/ 3696404 w 8079933"/>
              <a:gd name="connsiteY7936" fmla="*/ 2831816 h 4687251"/>
              <a:gd name="connsiteX7937" fmla="*/ 3701936 w 8079933"/>
              <a:gd name="connsiteY7937" fmla="*/ 2829327 h 4687251"/>
              <a:gd name="connsiteX7938" fmla="*/ 3703997 w 8079933"/>
              <a:gd name="connsiteY7938" fmla="*/ 2830085 h 4687251"/>
              <a:gd name="connsiteX7939" fmla="*/ 3714198 w 8079933"/>
              <a:gd name="connsiteY7939" fmla="*/ 2826837 h 4687251"/>
              <a:gd name="connsiteX7940" fmla="*/ 3718756 w 8079933"/>
              <a:gd name="connsiteY7940" fmla="*/ 2828894 h 4687251"/>
              <a:gd name="connsiteX7941" fmla="*/ 3721686 w 8079933"/>
              <a:gd name="connsiteY7941" fmla="*/ 2834416 h 4687251"/>
              <a:gd name="connsiteX7942" fmla="*/ 3726352 w 8079933"/>
              <a:gd name="connsiteY7942" fmla="*/ 2836906 h 4687251"/>
              <a:gd name="connsiteX7943" fmla="*/ 3725809 w 8079933"/>
              <a:gd name="connsiteY7943" fmla="*/ 2846326 h 4687251"/>
              <a:gd name="connsiteX7944" fmla="*/ 3724941 w 8079933"/>
              <a:gd name="connsiteY7944" fmla="*/ 2851414 h 4687251"/>
              <a:gd name="connsiteX7945" fmla="*/ 3731127 w 8079933"/>
              <a:gd name="connsiteY7945" fmla="*/ 2858452 h 4687251"/>
              <a:gd name="connsiteX7946" fmla="*/ 3733840 w 8079933"/>
              <a:gd name="connsiteY7946" fmla="*/ 2857585 h 4687251"/>
              <a:gd name="connsiteX7947" fmla="*/ 3741002 w 8079933"/>
              <a:gd name="connsiteY7947" fmla="*/ 2852281 h 4687251"/>
              <a:gd name="connsiteX7948" fmla="*/ 3743606 w 8079933"/>
              <a:gd name="connsiteY7948" fmla="*/ 2853038 h 4687251"/>
              <a:gd name="connsiteX7949" fmla="*/ 3747187 w 8079933"/>
              <a:gd name="connsiteY7949" fmla="*/ 2856395 h 4687251"/>
              <a:gd name="connsiteX7950" fmla="*/ 3748327 w 8079933"/>
              <a:gd name="connsiteY7950" fmla="*/ 2858875 h 4687251"/>
              <a:gd name="connsiteX7951" fmla="*/ 3748327 w 8079933"/>
              <a:gd name="connsiteY7951" fmla="*/ 2858874 h 4687251"/>
              <a:gd name="connsiteX7952" fmla="*/ 3748327 w 8079933"/>
              <a:gd name="connsiteY7952" fmla="*/ 2858873 h 4687251"/>
              <a:gd name="connsiteX7953" fmla="*/ 3748598 w 8079933"/>
              <a:gd name="connsiteY7953" fmla="*/ 2858234 h 4687251"/>
              <a:gd name="connsiteX7954" fmla="*/ 3752722 w 8079933"/>
              <a:gd name="connsiteY7954" fmla="*/ 2856936 h 4687251"/>
              <a:gd name="connsiteX7955" fmla="*/ 3759233 w 8079933"/>
              <a:gd name="connsiteY7955" fmla="*/ 2842860 h 4687251"/>
              <a:gd name="connsiteX7956" fmla="*/ 3752722 w 8079933"/>
              <a:gd name="connsiteY7956" fmla="*/ 2856935 h 4687251"/>
              <a:gd name="connsiteX7957" fmla="*/ 3748598 w 8079933"/>
              <a:gd name="connsiteY7957" fmla="*/ 2858234 h 4687251"/>
              <a:gd name="connsiteX7958" fmla="*/ 3748327 w 8079933"/>
              <a:gd name="connsiteY7958" fmla="*/ 2858873 h 4687251"/>
              <a:gd name="connsiteX7959" fmla="*/ 3747188 w 8079933"/>
              <a:gd name="connsiteY7959" fmla="*/ 2856393 h 4687251"/>
              <a:gd name="connsiteX7960" fmla="*/ 3743607 w 8079933"/>
              <a:gd name="connsiteY7960" fmla="*/ 2853037 h 4687251"/>
              <a:gd name="connsiteX7961" fmla="*/ 3741002 w 8079933"/>
              <a:gd name="connsiteY7961" fmla="*/ 2852279 h 4687251"/>
              <a:gd name="connsiteX7962" fmla="*/ 3733840 w 8079933"/>
              <a:gd name="connsiteY7962" fmla="*/ 2857585 h 4687251"/>
              <a:gd name="connsiteX7963" fmla="*/ 3731127 w 8079933"/>
              <a:gd name="connsiteY7963" fmla="*/ 2858451 h 4687251"/>
              <a:gd name="connsiteX7964" fmla="*/ 3724942 w 8079933"/>
              <a:gd name="connsiteY7964" fmla="*/ 2851413 h 4687251"/>
              <a:gd name="connsiteX7965" fmla="*/ 3725810 w 8079933"/>
              <a:gd name="connsiteY7965" fmla="*/ 2846325 h 4687251"/>
              <a:gd name="connsiteX7966" fmla="*/ 3726353 w 8079933"/>
              <a:gd name="connsiteY7966" fmla="*/ 2836905 h 4687251"/>
              <a:gd name="connsiteX7967" fmla="*/ 3721686 w 8079933"/>
              <a:gd name="connsiteY7967" fmla="*/ 2834415 h 4687251"/>
              <a:gd name="connsiteX7968" fmla="*/ 3718756 w 8079933"/>
              <a:gd name="connsiteY7968" fmla="*/ 2828893 h 4687251"/>
              <a:gd name="connsiteX7969" fmla="*/ 4509042 w 8079933"/>
              <a:gd name="connsiteY7969" fmla="*/ 2824129 h 4687251"/>
              <a:gd name="connsiteX7970" fmla="*/ 4508215 w 8079933"/>
              <a:gd name="connsiteY7970" fmla="*/ 2825212 h 4687251"/>
              <a:gd name="connsiteX7971" fmla="*/ 4508042 w 8079933"/>
              <a:gd name="connsiteY7971" fmla="*/ 2825209 h 4687251"/>
              <a:gd name="connsiteX7972" fmla="*/ 4508041 w 8079933"/>
              <a:gd name="connsiteY7972" fmla="*/ 2825210 h 4687251"/>
              <a:gd name="connsiteX7973" fmla="*/ 4508214 w 8079933"/>
              <a:gd name="connsiteY7973" fmla="*/ 2825213 h 4687251"/>
              <a:gd name="connsiteX7974" fmla="*/ 4509042 w 8079933"/>
              <a:gd name="connsiteY7974" fmla="*/ 2824129 h 4687251"/>
              <a:gd name="connsiteX7975" fmla="*/ 3760969 w 8079933"/>
              <a:gd name="connsiteY7975" fmla="*/ 2823155 h 4687251"/>
              <a:gd name="connsiteX7976" fmla="*/ 3760535 w 8079933"/>
              <a:gd name="connsiteY7976" fmla="*/ 2826402 h 4687251"/>
              <a:gd name="connsiteX7977" fmla="*/ 3756629 w 8079933"/>
              <a:gd name="connsiteY7977" fmla="*/ 2825970 h 4687251"/>
              <a:gd name="connsiteX7978" fmla="*/ 3753590 w 8079933"/>
              <a:gd name="connsiteY7978" fmla="*/ 2827594 h 4687251"/>
              <a:gd name="connsiteX7979" fmla="*/ 3753590 w 8079933"/>
              <a:gd name="connsiteY7979" fmla="*/ 2830734 h 4687251"/>
              <a:gd name="connsiteX7980" fmla="*/ 3755203 w 8079933"/>
              <a:gd name="connsiteY7980" fmla="*/ 2832493 h 4687251"/>
              <a:gd name="connsiteX7981" fmla="*/ 3753590 w 8079933"/>
              <a:gd name="connsiteY7981" fmla="*/ 2830734 h 4687251"/>
              <a:gd name="connsiteX7982" fmla="*/ 3753590 w 8079933"/>
              <a:gd name="connsiteY7982" fmla="*/ 2827594 h 4687251"/>
              <a:gd name="connsiteX7983" fmla="*/ 3756629 w 8079933"/>
              <a:gd name="connsiteY7983" fmla="*/ 2825970 h 4687251"/>
              <a:gd name="connsiteX7984" fmla="*/ 3760536 w 8079933"/>
              <a:gd name="connsiteY7984" fmla="*/ 2826403 h 4687251"/>
              <a:gd name="connsiteX7985" fmla="*/ 1983358 w 8079933"/>
              <a:gd name="connsiteY7985" fmla="*/ 2822938 h 4687251"/>
              <a:gd name="connsiteX7986" fmla="*/ 1979560 w 8079933"/>
              <a:gd name="connsiteY7986" fmla="*/ 2825861 h 4687251"/>
              <a:gd name="connsiteX7987" fmla="*/ 1979560 w 8079933"/>
              <a:gd name="connsiteY7987" fmla="*/ 2825862 h 4687251"/>
              <a:gd name="connsiteX7988" fmla="*/ 1983358 w 8079933"/>
              <a:gd name="connsiteY7988" fmla="*/ 2822938 h 4687251"/>
              <a:gd name="connsiteX7989" fmla="*/ 4294397 w 8079933"/>
              <a:gd name="connsiteY7989" fmla="*/ 2822127 h 4687251"/>
              <a:gd name="connsiteX7990" fmla="*/ 4301925 w 8079933"/>
              <a:gd name="connsiteY7990" fmla="*/ 2830409 h 4687251"/>
              <a:gd name="connsiteX7991" fmla="*/ 4305614 w 8079933"/>
              <a:gd name="connsiteY7991" fmla="*/ 2833549 h 4687251"/>
              <a:gd name="connsiteX7992" fmla="*/ 4309196 w 8079933"/>
              <a:gd name="connsiteY7992" fmla="*/ 2839612 h 4687251"/>
              <a:gd name="connsiteX7993" fmla="*/ 4313319 w 8079933"/>
              <a:gd name="connsiteY7993" fmla="*/ 2846000 h 4687251"/>
              <a:gd name="connsiteX7994" fmla="*/ 4313427 w 8079933"/>
              <a:gd name="connsiteY7994" fmla="*/ 2850114 h 4687251"/>
              <a:gd name="connsiteX7995" fmla="*/ 4313427 w 8079933"/>
              <a:gd name="connsiteY7995" fmla="*/ 2850115 h 4687251"/>
              <a:gd name="connsiteX7996" fmla="*/ 4316032 w 8079933"/>
              <a:gd name="connsiteY7996" fmla="*/ 2853038 h 4687251"/>
              <a:gd name="connsiteX7997" fmla="*/ 4317008 w 8079933"/>
              <a:gd name="connsiteY7997" fmla="*/ 2857802 h 4687251"/>
              <a:gd name="connsiteX7998" fmla="*/ 4321566 w 8079933"/>
              <a:gd name="connsiteY7998" fmla="*/ 2857802 h 4687251"/>
              <a:gd name="connsiteX7999" fmla="*/ 4325473 w 8079933"/>
              <a:gd name="connsiteY7999" fmla="*/ 2856936 h 4687251"/>
              <a:gd name="connsiteX8000" fmla="*/ 4331875 w 8079933"/>
              <a:gd name="connsiteY8000" fmla="*/ 2856719 h 4687251"/>
              <a:gd name="connsiteX8001" fmla="*/ 4332058 w 8079933"/>
              <a:gd name="connsiteY8001" fmla="*/ 2856386 h 4687251"/>
              <a:gd name="connsiteX8002" fmla="*/ 4331875 w 8079933"/>
              <a:gd name="connsiteY8002" fmla="*/ 2856718 h 4687251"/>
              <a:gd name="connsiteX8003" fmla="*/ 4325473 w 8079933"/>
              <a:gd name="connsiteY8003" fmla="*/ 2856935 h 4687251"/>
              <a:gd name="connsiteX8004" fmla="*/ 4321566 w 8079933"/>
              <a:gd name="connsiteY8004" fmla="*/ 2857801 h 4687251"/>
              <a:gd name="connsiteX8005" fmla="*/ 4317008 w 8079933"/>
              <a:gd name="connsiteY8005" fmla="*/ 2857801 h 4687251"/>
              <a:gd name="connsiteX8006" fmla="*/ 4316032 w 8079933"/>
              <a:gd name="connsiteY8006" fmla="*/ 2853037 h 4687251"/>
              <a:gd name="connsiteX8007" fmla="*/ 4313427 w 8079933"/>
              <a:gd name="connsiteY8007" fmla="*/ 2850114 h 4687251"/>
              <a:gd name="connsiteX8008" fmla="*/ 4313319 w 8079933"/>
              <a:gd name="connsiteY8008" fmla="*/ 2845999 h 4687251"/>
              <a:gd name="connsiteX8009" fmla="*/ 4309196 w 8079933"/>
              <a:gd name="connsiteY8009" fmla="*/ 2839611 h 4687251"/>
              <a:gd name="connsiteX8010" fmla="*/ 4305614 w 8079933"/>
              <a:gd name="connsiteY8010" fmla="*/ 2833548 h 4687251"/>
              <a:gd name="connsiteX8011" fmla="*/ 4301925 w 8079933"/>
              <a:gd name="connsiteY8011" fmla="*/ 2830409 h 4687251"/>
              <a:gd name="connsiteX8012" fmla="*/ 3959230 w 8079933"/>
              <a:gd name="connsiteY8012" fmla="*/ 2819366 h 4687251"/>
              <a:gd name="connsiteX8013" fmla="*/ 3961508 w 8079933"/>
              <a:gd name="connsiteY8013" fmla="*/ 2821206 h 4687251"/>
              <a:gd name="connsiteX8014" fmla="*/ 3961508 w 8079933"/>
              <a:gd name="connsiteY8014" fmla="*/ 2821206 h 4687251"/>
              <a:gd name="connsiteX8015" fmla="*/ 3888801 w 8079933"/>
              <a:gd name="connsiteY8015" fmla="*/ 2818391 h 4687251"/>
              <a:gd name="connsiteX8016" fmla="*/ 3890863 w 8079933"/>
              <a:gd name="connsiteY8016" fmla="*/ 2824346 h 4687251"/>
              <a:gd name="connsiteX8017" fmla="*/ 3888801 w 8079933"/>
              <a:gd name="connsiteY8017" fmla="*/ 2829652 h 4687251"/>
              <a:gd name="connsiteX8018" fmla="*/ 3890864 w 8079933"/>
              <a:gd name="connsiteY8018" fmla="*/ 2824346 h 4687251"/>
              <a:gd name="connsiteX8019" fmla="*/ 3693256 w 8079933"/>
              <a:gd name="connsiteY8019" fmla="*/ 2814927 h 4687251"/>
              <a:gd name="connsiteX8020" fmla="*/ 3697813 w 8079933"/>
              <a:gd name="connsiteY8020" fmla="*/ 2819257 h 4687251"/>
              <a:gd name="connsiteX8021" fmla="*/ 3697813 w 8079933"/>
              <a:gd name="connsiteY8021" fmla="*/ 2819257 h 4687251"/>
              <a:gd name="connsiteX8022" fmla="*/ 4498837 w 8079933"/>
              <a:gd name="connsiteY8022" fmla="*/ 2814233 h 4687251"/>
              <a:gd name="connsiteX8023" fmla="*/ 4498556 w 8079933"/>
              <a:gd name="connsiteY8023" fmla="*/ 2815035 h 4687251"/>
              <a:gd name="connsiteX8024" fmla="*/ 4498773 w 8079933"/>
              <a:gd name="connsiteY8024" fmla="*/ 2822289 h 4687251"/>
              <a:gd name="connsiteX8025" fmla="*/ 4499317 w 8079933"/>
              <a:gd name="connsiteY8025" fmla="*/ 2822744 h 4687251"/>
              <a:gd name="connsiteX8026" fmla="*/ 4499317 w 8079933"/>
              <a:gd name="connsiteY8026" fmla="*/ 2822743 h 4687251"/>
              <a:gd name="connsiteX8027" fmla="*/ 4498774 w 8079933"/>
              <a:gd name="connsiteY8027" fmla="*/ 2822289 h 4687251"/>
              <a:gd name="connsiteX8028" fmla="*/ 4498557 w 8079933"/>
              <a:gd name="connsiteY8028" fmla="*/ 2815034 h 4687251"/>
              <a:gd name="connsiteX8029" fmla="*/ 4432121 w 8079933"/>
              <a:gd name="connsiteY8029" fmla="*/ 2813929 h 4687251"/>
              <a:gd name="connsiteX8030" fmla="*/ 4428672 w 8079933"/>
              <a:gd name="connsiteY8030" fmla="*/ 2816550 h 4687251"/>
              <a:gd name="connsiteX8031" fmla="*/ 4419666 w 8079933"/>
              <a:gd name="connsiteY8031" fmla="*/ 2817741 h 4687251"/>
              <a:gd name="connsiteX8032" fmla="*/ 4413046 w 8079933"/>
              <a:gd name="connsiteY8032" fmla="*/ 2818607 h 4687251"/>
              <a:gd name="connsiteX8033" fmla="*/ 4406752 w 8079933"/>
              <a:gd name="connsiteY8033" fmla="*/ 2817741 h 4687251"/>
              <a:gd name="connsiteX8034" fmla="*/ 4402846 w 8079933"/>
              <a:gd name="connsiteY8034" fmla="*/ 2816117 h 4687251"/>
              <a:gd name="connsiteX8035" fmla="*/ 4397420 w 8079933"/>
              <a:gd name="connsiteY8035" fmla="*/ 2816766 h 4687251"/>
              <a:gd name="connsiteX8036" fmla="*/ 4393730 w 8079933"/>
              <a:gd name="connsiteY8036" fmla="*/ 2815901 h 4687251"/>
              <a:gd name="connsiteX8037" fmla="*/ 4390474 w 8079933"/>
              <a:gd name="connsiteY8037" fmla="*/ 2817958 h 4687251"/>
              <a:gd name="connsiteX8038" fmla="*/ 4393729 w 8079933"/>
              <a:gd name="connsiteY8038" fmla="*/ 2815901 h 4687251"/>
              <a:gd name="connsiteX8039" fmla="*/ 4397419 w 8079933"/>
              <a:gd name="connsiteY8039" fmla="*/ 2816767 h 4687251"/>
              <a:gd name="connsiteX8040" fmla="*/ 4402845 w 8079933"/>
              <a:gd name="connsiteY8040" fmla="*/ 2816118 h 4687251"/>
              <a:gd name="connsiteX8041" fmla="*/ 4406751 w 8079933"/>
              <a:gd name="connsiteY8041" fmla="*/ 2817742 h 4687251"/>
              <a:gd name="connsiteX8042" fmla="*/ 4413045 w 8079933"/>
              <a:gd name="connsiteY8042" fmla="*/ 2818608 h 4687251"/>
              <a:gd name="connsiteX8043" fmla="*/ 4419665 w 8079933"/>
              <a:gd name="connsiteY8043" fmla="*/ 2817742 h 4687251"/>
              <a:gd name="connsiteX8044" fmla="*/ 4428672 w 8079933"/>
              <a:gd name="connsiteY8044" fmla="*/ 2816551 h 4687251"/>
              <a:gd name="connsiteX8045" fmla="*/ 2214499 w 8079933"/>
              <a:gd name="connsiteY8045" fmla="*/ 2813627 h 4687251"/>
              <a:gd name="connsiteX8046" fmla="*/ 2216561 w 8079933"/>
              <a:gd name="connsiteY8046" fmla="*/ 2813735 h 4687251"/>
              <a:gd name="connsiteX8047" fmla="*/ 2220967 w 8079933"/>
              <a:gd name="connsiteY8047" fmla="*/ 2821769 h 4687251"/>
              <a:gd name="connsiteX8048" fmla="*/ 2216561 w 8079933"/>
              <a:gd name="connsiteY8048" fmla="*/ 2813735 h 4687251"/>
              <a:gd name="connsiteX8049" fmla="*/ 4758564 w 8079933"/>
              <a:gd name="connsiteY8049" fmla="*/ 2813154 h 4687251"/>
              <a:gd name="connsiteX8050" fmla="*/ 4758564 w 8079933"/>
              <a:gd name="connsiteY8050" fmla="*/ 2813167 h 4687251"/>
              <a:gd name="connsiteX8051" fmla="*/ 4758780 w 8079933"/>
              <a:gd name="connsiteY8051" fmla="*/ 2816875 h 4687251"/>
              <a:gd name="connsiteX8052" fmla="*/ 4757912 w 8079933"/>
              <a:gd name="connsiteY8052" fmla="*/ 2828135 h 4687251"/>
              <a:gd name="connsiteX8053" fmla="*/ 4757727 w 8079933"/>
              <a:gd name="connsiteY8053" fmla="*/ 2828281 h 4687251"/>
              <a:gd name="connsiteX8054" fmla="*/ 4757727 w 8079933"/>
              <a:gd name="connsiteY8054" fmla="*/ 2828281 h 4687251"/>
              <a:gd name="connsiteX8055" fmla="*/ 4757913 w 8079933"/>
              <a:gd name="connsiteY8055" fmla="*/ 2828135 h 4687251"/>
              <a:gd name="connsiteX8056" fmla="*/ 4758781 w 8079933"/>
              <a:gd name="connsiteY8056" fmla="*/ 2816875 h 4687251"/>
              <a:gd name="connsiteX8057" fmla="*/ 4018846 w 8079933"/>
              <a:gd name="connsiteY8057" fmla="*/ 2812703 h 4687251"/>
              <a:gd name="connsiteX8058" fmla="*/ 4018479 w 8079933"/>
              <a:gd name="connsiteY8058" fmla="*/ 2812761 h 4687251"/>
              <a:gd name="connsiteX8059" fmla="*/ 4017249 w 8079933"/>
              <a:gd name="connsiteY8059" fmla="*/ 2813252 h 4687251"/>
              <a:gd name="connsiteX8060" fmla="*/ 4018480 w 8079933"/>
              <a:gd name="connsiteY8060" fmla="*/ 2812761 h 4687251"/>
              <a:gd name="connsiteX8061" fmla="*/ 4246167 w 8079933"/>
              <a:gd name="connsiteY8061" fmla="*/ 2812382 h 4687251"/>
              <a:gd name="connsiteX8062" fmla="*/ 4246906 w 8079933"/>
              <a:gd name="connsiteY8062" fmla="*/ 2817958 h 4687251"/>
              <a:gd name="connsiteX8063" fmla="*/ 4245062 w 8079933"/>
              <a:gd name="connsiteY8063" fmla="*/ 2821422 h 4687251"/>
              <a:gd name="connsiteX8064" fmla="*/ 4244628 w 8079933"/>
              <a:gd name="connsiteY8064" fmla="*/ 2826403 h 4687251"/>
              <a:gd name="connsiteX8065" fmla="*/ 4239745 w 8079933"/>
              <a:gd name="connsiteY8065" fmla="*/ 2829651 h 4687251"/>
              <a:gd name="connsiteX8066" fmla="*/ 4233559 w 8079933"/>
              <a:gd name="connsiteY8066" fmla="*/ 2836255 h 4687251"/>
              <a:gd name="connsiteX8067" fmla="*/ 4231280 w 8079933"/>
              <a:gd name="connsiteY8067" fmla="*/ 2839937 h 4687251"/>
              <a:gd name="connsiteX8068" fmla="*/ 4232474 w 8079933"/>
              <a:gd name="connsiteY8068" fmla="*/ 2843402 h 4687251"/>
              <a:gd name="connsiteX8069" fmla="*/ 4231497 w 8079933"/>
              <a:gd name="connsiteY8069" fmla="*/ 2847299 h 4687251"/>
              <a:gd name="connsiteX8070" fmla="*/ 4224118 w 8079933"/>
              <a:gd name="connsiteY8070" fmla="*/ 2854553 h 4687251"/>
              <a:gd name="connsiteX8071" fmla="*/ 4222273 w 8079933"/>
              <a:gd name="connsiteY8071" fmla="*/ 2860400 h 4687251"/>
              <a:gd name="connsiteX8072" fmla="*/ 4222273 w 8079933"/>
              <a:gd name="connsiteY8072" fmla="*/ 2860401 h 4687251"/>
              <a:gd name="connsiteX8073" fmla="*/ 4224119 w 8079933"/>
              <a:gd name="connsiteY8073" fmla="*/ 2854554 h 4687251"/>
              <a:gd name="connsiteX8074" fmla="*/ 4231498 w 8079933"/>
              <a:gd name="connsiteY8074" fmla="*/ 2847299 h 4687251"/>
              <a:gd name="connsiteX8075" fmla="*/ 4232474 w 8079933"/>
              <a:gd name="connsiteY8075" fmla="*/ 2843402 h 4687251"/>
              <a:gd name="connsiteX8076" fmla="*/ 4231281 w 8079933"/>
              <a:gd name="connsiteY8076" fmla="*/ 2839937 h 4687251"/>
              <a:gd name="connsiteX8077" fmla="*/ 4233559 w 8079933"/>
              <a:gd name="connsiteY8077" fmla="*/ 2836256 h 4687251"/>
              <a:gd name="connsiteX8078" fmla="*/ 4239745 w 8079933"/>
              <a:gd name="connsiteY8078" fmla="*/ 2829652 h 4687251"/>
              <a:gd name="connsiteX8079" fmla="*/ 4244628 w 8079933"/>
              <a:gd name="connsiteY8079" fmla="*/ 2826403 h 4687251"/>
              <a:gd name="connsiteX8080" fmla="*/ 4245062 w 8079933"/>
              <a:gd name="connsiteY8080" fmla="*/ 2821423 h 4687251"/>
              <a:gd name="connsiteX8081" fmla="*/ 4246907 w 8079933"/>
              <a:gd name="connsiteY8081" fmla="*/ 2817958 h 4687251"/>
              <a:gd name="connsiteX8082" fmla="*/ 6169714 w 8079933"/>
              <a:gd name="connsiteY8082" fmla="*/ 2812220 h 4687251"/>
              <a:gd name="connsiteX8083" fmla="*/ 6168194 w 8079933"/>
              <a:gd name="connsiteY8083" fmla="*/ 2815143 h 4687251"/>
              <a:gd name="connsiteX8084" fmla="*/ 6165265 w 8079933"/>
              <a:gd name="connsiteY8084" fmla="*/ 2813627 h 4687251"/>
              <a:gd name="connsiteX8085" fmla="*/ 4280439 w 8079933"/>
              <a:gd name="connsiteY8085" fmla="*/ 2812003 h 4687251"/>
              <a:gd name="connsiteX8086" fmla="*/ 4280439 w 8079933"/>
              <a:gd name="connsiteY8086" fmla="*/ 2812003 h 4687251"/>
              <a:gd name="connsiteX8087" fmla="*/ 4283060 w 8079933"/>
              <a:gd name="connsiteY8087" fmla="*/ 2812966 h 4687251"/>
              <a:gd name="connsiteX8088" fmla="*/ 1981297 w 8079933"/>
              <a:gd name="connsiteY8088" fmla="*/ 2810919 h 4687251"/>
              <a:gd name="connsiteX8089" fmla="*/ 1978367 w 8079933"/>
              <a:gd name="connsiteY8089" fmla="*/ 2814168 h 4687251"/>
              <a:gd name="connsiteX8090" fmla="*/ 1978367 w 8079933"/>
              <a:gd name="connsiteY8090" fmla="*/ 2814168 h 4687251"/>
              <a:gd name="connsiteX8091" fmla="*/ 1981297 w 8079933"/>
              <a:gd name="connsiteY8091" fmla="*/ 2810920 h 4687251"/>
              <a:gd name="connsiteX8092" fmla="*/ 6909256 w 8079933"/>
              <a:gd name="connsiteY8092" fmla="*/ 2808430 h 4687251"/>
              <a:gd name="connsiteX8093" fmla="*/ 6910776 w 8079933"/>
              <a:gd name="connsiteY8093" fmla="*/ 2809620 h 4687251"/>
              <a:gd name="connsiteX8094" fmla="*/ 6910341 w 8079933"/>
              <a:gd name="connsiteY8094" fmla="*/ 2812436 h 4687251"/>
              <a:gd name="connsiteX8095" fmla="*/ 6906543 w 8079933"/>
              <a:gd name="connsiteY8095" fmla="*/ 2813951 h 4687251"/>
              <a:gd name="connsiteX8096" fmla="*/ 6903504 w 8079933"/>
              <a:gd name="connsiteY8096" fmla="*/ 2811677 h 4687251"/>
              <a:gd name="connsiteX8097" fmla="*/ 6904915 w 8079933"/>
              <a:gd name="connsiteY8097" fmla="*/ 2808971 h 4687251"/>
              <a:gd name="connsiteX8098" fmla="*/ 4277401 w 8079933"/>
              <a:gd name="connsiteY8098" fmla="*/ 2807564 h 4687251"/>
              <a:gd name="connsiteX8099" fmla="*/ 4279787 w 8079933"/>
              <a:gd name="connsiteY8099" fmla="*/ 2809405 h 4687251"/>
              <a:gd name="connsiteX8100" fmla="*/ 4280184 w 8079933"/>
              <a:gd name="connsiteY8100" fmla="*/ 2810987 h 4687251"/>
              <a:gd name="connsiteX8101" fmla="*/ 4279788 w 8079933"/>
              <a:gd name="connsiteY8101" fmla="*/ 2809404 h 4687251"/>
              <a:gd name="connsiteX8102" fmla="*/ 5864348 w 8079933"/>
              <a:gd name="connsiteY8102" fmla="*/ 2806914 h 4687251"/>
              <a:gd name="connsiteX8103" fmla="*/ 5869666 w 8079933"/>
              <a:gd name="connsiteY8103" fmla="*/ 2808321 h 4687251"/>
              <a:gd name="connsiteX8104" fmla="*/ 5869231 w 8079933"/>
              <a:gd name="connsiteY8104" fmla="*/ 2810161 h 4687251"/>
              <a:gd name="connsiteX8105" fmla="*/ 5872379 w 8079933"/>
              <a:gd name="connsiteY8105" fmla="*/ 2811245 h 4687251"/>
              <a:gd name="connsiteX8106" fmla="*/ 5873573 w 8079933"/>
              <a:gd name="connsiteY8106" fmla="*/ 2809620 h 4687251"/>
              <a:gd name="connsiteX8107" fmla="*/ 5880517 w 8079933"/>
              <a:gd name="connsiteY8107" fmla="*/ 2812111 h 4687251"/>
              <a:gd name="connsiteX8108" fmla="*/ 5880517 w 8079933"/>
              <a:gd name="connsiteY8108" fmla="*/ 2814818 h 4687251"/>
              <a:gd name="connsiteX8109" fmla="*/ 5881929 w 8079933"/>
              <a:gd name="connsiteY8109" fmla="*/ 2816658 h 4687251"/>
              <a:gd name="connsiteX8110" fmla="*/ 5883339 w 8079933"/>
              <a:gd name="connsiteY8110" fmla="*/ 2821206 h 4687251"/>
              <a:gd name="connsiteX8111" fmla="*/ 5885726 w 8079933"/>
              <a:gd name="connsiteY8111" fmla="*/ 2820989 h 4687251"/>
              <a:gd name="connsiteX8112" fmla="*/ 5888764 w 8079933"/>
              <a:gd name="connsiteY8112" fmla="*/ 2826619 h 4687251"/>
              <a:gd name="connsiteX8113" fmla="*/ 5890826 w 8079933"/>
              <a:gd name="connsiteY8113" fmla="*/ 2827485 h 4687251"/>
              <a:gd name="connsiteX8114" fmla="*/ 5891477 w 8079933"/>
              <a:gd name="connsiteY8114" fmla="*/ 2829651 h 4687251"/>
              <a:gd name="connsiteX8115" fmla="*/ 5886811 w 8079933"/>
              <a:gd name="connsiteY8115" fmla="*/ 2832141 h 4687251"/>
              <a:gd name="connsiteX8116" fmla="*/ 5890393 w 8079933"/>
              <a:gd name="connsiteY8116" fmla="*/ 2832574 h 4687251"/>
              <a:gd name="connsiteX8117" fmla="*/ 5890610 w 8079933"/>
              <a:gd name="connsiteY8117" fmla="*/ 2833440 h 4687251"/>
              <a:gd name="connsiteX8118" fmla="*/ 5894733 w 8079933"/>
              <a:gd name="connsiteY8118" fmla="*/ 2832899 h 4687251"/>
              <a:gd name="connsiteX8119" fmla="*/ 5897880 w 8079933"/>
              <a:gd name="connsiteY8119" fmla="*/ 2840261 h 4687251"/>
              <a:gd name="connsiteX8120" fmla="*/ 5901786 w 8079933"/>
              <a:gd name="connsiteY8120" fmla="*/ 2850981 h 4687251"/>
              <a:gd name="connsiteX8121" fmla="*/ 5905368 w 8079933"/>
              <a:gd name="connsiteY8121" fmla="*/ 2854012 h 4687251"/>
              <a:gd name="connsiteX8122" fmla="*/ 5904174 w 8079933"/>
              <a:gd name="connsiteY8122" fmla="*/ 2857693 h 4687251"/>
              <a:gd name="connsiteX8123" fmla="*/ 5906128 w 8079933"/>
              <a:gd name="connsiteY8123" fmla="*/ 2860616 h 4687251"/>
              <a:gd name="connsiteX8124" fmla="*/ 5906345 w 8079933"/>
              <a:gd name="connsiteY8124" fmla="*/ 2867113 h 4687251"/>
              <a:gd name="connsiteX8125" fmla="*/ 5905259 w 8079933"/>
              <a:gd name="connsiteY8125" fmla="*/ 2868412 h 4687251"/>
              <a:gd name="connsiteX8126" fmla="*/ 5905693 w 8079933"/>
              <a:gd name="connsiteY8126" fmla="*/ 2872418 h 4687251"/>
              <a:gd name="connsiteX8127" fmla="*/ 5904065 w 8079933"/>
              <a:gd name="connsiteY8127" fmla="*/ 2876641 h 4687251"/>
              <a:gd name="connsiteX8128" fmla="*/ 5900702 w 8079933"/>
              <a:gd name="connsiteY8128" fmla="*/ 2883462 h 4687251"/>
              <a:gd name="connsiteX8129" fmla="*/ 5892997 w 8079933"/>
              <a:gd name="connsiteY8129" fmla="*/ 2891474 h 4687251"/>
              <a:gd name="connsiteX8130" fmla="*/ 5885401 w 8079933"/>
              <a:gd name="connsiteY8130" fmla="*/ 2893748 h 4687251"/>
              <a:gd name="connsiteX8131" fmla="*/ 5877262 w 8079933"/>
              <a:gd name="connsiteY8131" fmla="*/ 2894830 h 4687251"/>
              <a:gd name="connsiteX8132" fmla="*/ 5872487 w 8079933"/>
              <a:gd name="connsiteY8132" fmla="*/ 2896021 h 4687251"/>
              <a:gd name="connsiteX8133" fmla="*/ 5866845 w 8079933"/>
              <a:gd name="connsiteY8133" fmla="*/ 2892990 h 4687251"/>
              <a:gd name="connsiteX8134" fmla="*/ 5863480 w 8079933"/>
              <a:gd name="connsiteY8134" fmla="*/ 2887359 h 4687251"/>
              <a:gd name="connsiteX8135" fmla="*/ 5859682 w 8079933"/>
              <a:gd name="connsiteY8135" fmla="*/ 2874583 h 4687251"/>
              <a:gd name="connsiteX8136" fmla="*/ 5856535 w 8079933"/>
              <a:gd name="connsiteY8136" fmla="*/ 2863323 h 4687251"/>
              <a:gd name="connsiteX8137" fmla="*/ 5857404 w 8079933"/>
              <a:gd name="connsiteY8137" fmla="*/ 2859967 h 4687251"/>
              <a:gd name="connsiteX8138" fmla="*/ 5855233 w 8079933"/>
              <a:gd name="connsiteY8138" fmla="*/ 2850981 h 4687251"/>
              <a:gd name="connsiteX8139" fmla="*/ 5856427 w 8079933"/>
              <a:gd name="connsiteY8139" fmla="*/ 2849681 h 4687251"/>
              <a:gd name="connsiteX8140" fmla="*/ 5855884 w 8079933"/>
              <a:gd name="connsiteY8140" fmla="*/ 2846650 h 4687251"/>
              <a:gd name="connsiteX8141" fmla="*/ 5857404 w 8079933"/>
              <a:gd name="connsiteY8141" fmla="*/ 2835930 h 4687251"/>
              <a:gd name="connsiteX8142" fmla="*/ 5859031 w 8079933"/>
              <a:gd name="connsiteY8142" fmla="*/ 2833549 h 4687251"/>
              <a:gd name="connsiteX8143" fmla="*/ 5858922 w 8079933"/>
              <a:gd name="connsiteY8143" fmla="*/ 2827161 h 4687251"/>
              <a:gd name="connsiteX8144" fmla="*/ 5856969 w 8079933"/>
              <a:gd name="connsiteY8144" fmla="*/ 2822613 h 4687251"/>
              <a:gd name="connsiteX8145" fmla="*/ 5857946 w 8079933"/>
              <a:gd name="connsiteY8145" fmla="*/ 2821422 h 4687251"/>
              <a:gd name="connsiteX8146" fmla="*/ 5856427 w 8079933"/>
              <a:gd name="connsiteY8146" fmla="*/ 2819257 h 4687251"/>
              <a:gd name="connsiteX8147" fmla="*/ 5853931 w 8079933"/>
              <a:gd name="connsiteY8147" fmla="*/ 2818065 h 4687251"/>
              <a:gd name="connsiteX8148" fmla="*/ 5853931 w 8079933"/>
              <a:gd name="connsiteY8148" fmla="*/ 2816875 h 4687251"/>
              <a:gd name="connsiteX8149" fmla="*/ 5856969 w 8079933"/>
              <a:gd name="connsiteY8149" fmla="*/ 2817200 h 4687251"/>
              <a:gd name="connsiteX8150" fmla="*/ 5859466 w 8079933"/>
              <a:gd name="connsiteY8150" fmla="*/ 2819581 h 4687251"/>
              <a:gd name="connsiteX8151" fmla="*/ 5860876 w 8079933"/>
              <a:gd name="connsiteY8151" fmla="*/ 2820231 h 4687251"/>
              <a:gd name="connsiteX8152" fmla="*/ 5863372 w 8079933"/>
              <a:gd name="connsiteY8152" fmla="*/ 2815900 h 4687251"/>
              <a:gd name="connsiteX8153" fmla="*/ 5863589 w 8079933"/>
              <a:gd name="connsiteY8153" fmla="*/ 2812652 h 4687251"/>
              <a:gd name="connsiteX8154" fmla="*/ 5863046 w 8079933"/>
              <a:gd name="connsiteY8154" fmla="*/ 2811028 h 4687251"/>
              <a:gd name="connsiteX8155" fmla="*/ 5864456 w 8079933"/>
              <a:gd name="connsiteY8155" fmla="*/ 2810812 h 4687251"/>
              <a:gd name="connsiteX8156" fmla="*/ 5865108 w 8079933"/>
              <a:gd name="connsiteY8156" fmla="*/ 2809837 h 4687251"/>
              <a:gd name="connsiteX8157" fmla="*/ 5864240 w 8079933"/>
              <a:gd name="connsiteY8157" fmla="*/ 2808213 h 4687251"/>
              <a:gd name="connsiteX8158" fmla="*/ 6932368 w 8079933"/>
              <a:gd name="connsiteY8158" fmla="*/ 2806157 h 4687251"/>
              <a:gd name="connsiteX8159" fmla="*/ 6936599 w 8079933"/>
              <a:gd name="connsiteY8159" fmla="*/ 2809621 h 4687251"/>
              <a:gd name="connsiteX8160" fmla="*/ 6935948 w 8079933"/>
              <a:gd name="connsiteY8160" fmla="*/ 2813735 h 4687251"/>
              <a:gd name="connsiteX8161" fmla="*/ 6932477 w 8079933"/>
              <a:gd name="connsiteY8161" fmla="*/ 2811462 h 4687251"/>
              <a:gd name="connsiteX8162" fmla="*/ 6931500 w 8079933"/>
              <a:gd name="connsiteY8162" fmla="*/ 2808538 h 4687251"/>
              <a:gd name="connsiteX8163" fmla="*/ 4502418 w 8079933"/>
              <a:gd name="connsiteY8163" fmla="*/ 2805630 h 4687251"/>
              <a:gd name="connsiteX8164" fmla="*/ 4501812 w 8079933"/>
              <a:gd name="connsiteY8164" fmla="*/ 2808213 h 4687251"/>
              <a:gd name="connsiteX8165" fmla="*/ 4501812 w 8079933"/>
              <a:gd name="connsiteY8165" fmla="*/ 2808213 h 4687251"/>
              <a:gd name="connsiteX8166" fmla="*/ 4276423 w 8079933"/>
              <a:gd name="connsiteY8166" fmla="*/ 2804965 h 4687251"/>
              <a:gd name="connsiteX8167" fmla="*/ 4276423 w 8079933"/>
              <a:gd name="connsiteY8167" fmla="*/ 2804966 h 4687251"/>
              <a:gd name="connsiteX8168" fmla="*/ 4276980 w 8079933"/>
              <a:gd name="connsiteY8168" fmla="*/ 2806446 h 4687251"/>
              <a:gd name="connsiteX8169" fmla="*/ 3957992 w 8079933"/>
              <a:gd name="connsiteY8169" fmla="*/ 2802663 h 4687251"/>
              <a:gd name="connsiteX8170" fmla="*/ 3959013 w 8079933"/>
              <a:gd name="connsiteY8170" fmla="*/ 2803450 h 4687251"/>
              <a:gd name="connsiteX8171" fmla="*/ 3961073 w 8079933"/>
              <a:gd name="connsiteY8171" fmla="*/ 2804208 h 4687251"/>
              <a:gd name="connsiteX8172" fmla="*/ 3959012 w 8079933"/>
              <a:gd name="connsiteY8172" fmla="*/ 2803449 h 4687251"/>
              <a:gd name="connsiteX8173" fmla="*/ 4027684 w 8079933"/>
              <a:gd name="connsiteY8173" fmla="*/ 2802417 h 4687251"/>
              <a:gd name="connsiteX8174" fmla="*/ 4025532 w 8079933"/>
              <a:gd name="connsiteY8174" fmla="*/ 2806157 h 4687251"/>
              <a:gd name="connsiteX8175" fmla="*/ 4024398 w 8079933"/>
              <a:gd name="connsiteY8175" fmla="*/ 2808539 h 4687251"/>
              <a:gd name="connsiteX8176" fmla="*/ 4025533 w 8079933"/>
              <a:gd name="connsiteY8176" fmla="*/ 2806156 h 4687251"/>
              <a:gd name="connsiteX8177" fmla="*/ 3984441 w 8079933"/>
              <a:gd name="connsiteY8177" fmla="*/ 2802162 h 4687251"/>
              <a:gd name="connsiteX8178" fmla="*/ 3985923 w 8079933"/>
              <a:gd name="connsiteY8178" fmla="*/ 2809404 h 4687251"/>
              <a:gd name="connsiteX8179" fmla="*/ 3985707 w 8079933"/>
              <a:gd name="connsiteY8179" fmla="*/ 2816118 h 4687251"/>
              <a:gd name="connsiteX8180" fmla="*/ 3985924 w 8079933"/>
              <a:gd name="connsiteY8180" fmla="*/ 2809405 h 4687251"/>
              <a:gd name="connsiteX8181" fmla="*/ 6341930 w 8079933"/>
              <a:gd name="connsiteY8181" fmla="*/ 2801176 h 4687251"/>
              <a:gd name="connsiteX8182" fmla="*/ 6343342 w 8079933"/>
              <a:gd name="connsiteY8182" fmla="*/ 2804641 h 4687251"/>
              <a:gd name="connsiteX8183" fmla="*/ 6342365 w 8079933"/>
              <a:gd name="connsiteY8183" fmla="*/ 2809405 h 4687251"/>
              <a:gd name="connsiteX8184" fmla="*/ 6338892 w 8079933"/>
              <a:gd name="connsiteY8184" fmla="*/ 2806481 h 4687251"/>
              <a:gd name="connsiteX8185" fmla="*/ 6338566 w 8079933"/>
              <a:gd name="connsiteY8185" fmla="*/ 2803341 h 4687251"/>
              <a:gd name="connsiteX8186" fmla="*/ 5868255 w 8079933"/>
              <a:gd name="connsiteY8186" fmla="*/ 2799877 h 4687251"/>
              <a:gd name="connsiteX8187" fmla="*/ 5871727 w 8079933"/>
              <a:gd name="connsiteY8187" fmla="*/ 2800743 h 4687251"/>
              <a:gd name="connsiteX8188" fmla="*/ 5872595 w 8079933"/>
              <a:gd name="connsiteY8188" fmla="*/ 2804316 h 4687251"/>
              <a:gd name="connsiteX8189" fmla="*/ 5878130 w 8079933"/>
              <a:gd name="connsiteY8189" fmla="*/ 2807780 h 4687251"/>
              <a:gd name="connsiteX8190" fmla="*/ 5879107 w 8079933"/>
              <a:gd name="connsiteY8190" fmla="*/ 2810054 h 4687251"/>
              <a:gd name="connsiteX8191" fmla="*/ 5876719 w 8079933"/>
              <a:gd name="connsiteY8191" fmla="*/ 2808213 h 4687251"/>
              <a:gd name="connsiteX8192" fmla="*/ 5872812 w 8079933"/>
              <a:gd name="connsiteY8192" fmla="*/ 2808321 h 4687251"/>
              <a:gd name="connsiteX8193" fmla="*/ 5870641 w 8079933"/>
              <a:gd name="connsiteY8193" fmla="*/ 2806373 h 4687251"/>
              <a:gd name="connsiteX8194" fmla="*/ 5865758 w 8079933"/>
              <a:gd name="connsiteY8194" fmla="*/ 2804316 h 4687251"/>
              <a:gd name="connsiteX8195" fmla="*/ 5866084 w 8079933"/>
              <a:gd name="connsiteY8195" fmla="*/ 2802583 h 4687251"/>
              <a:gd name="connsiteX8196" fmla="*/ 5868797 w 8079933"/>
              <a:gd name="connsiteY8196" fmla="*/ 2802258 h 4687251"/>
              <a:gd name="connsiteX8197" fmla="*/ 5867386 w 8079933"/>
              <a:gd name="connsiteY8197" fmla="*/ 2801393 h 4687251"/>
              <a:gd name="connsiteX8198" fmla="*/ 3885112 w 8079933"/>
              <a:gd name="connsiteY8198" fmla="*/ 2798469 h 4687251"/>
              <a:gd name="connsiteX8199" fmla="*/ 3883267 w 8079933"/>
              <a:gd name="connsiteY8199" fmla="*/ 2806048 h 4687251"/>
              <a:gd name="connsiteX8200" fmla="*/ 3883268 w 8079933"/>
              <a:gd name="connsiteY8200" fmla="*/ 2806049 h 4687251"/>
              <a:gd name="connsiteX8201" fmla="*/ 3885112 w 8079933"/>
              <a:gd name="connsiteY8201" fmla="*/ 2798470 h 4687251"/>
              <a:gd name="connsiteX8202" fmla="*/ 5864347 w 8079933"/>
              <a:gd name="connsiteY8202" fmla="*/ 2797928 h 4687251"/>
              <a:gd name="connsiteX8203" fmla="*/ 5865542 w 8079933"/>
              <a:gd name="connsiteY8203" fmla="*/ 2798794 h 4687251"/>
              <a:gd name="connsiteX8204" fmla="*/ 5863805 w 8079933"/>
              <a:gd name="connsiteY8204" fmla="*/ 2802908 h 4687251"/>
              <a:gd name="connsiteX8205" fmla="*/ 5862394 w 8079933"/>
              <a:gd name="connsiteY8205" fmla="*/ 2803233 h 4687251"/>
              <a:gd name="connsiteX8206" fmla="*/ 5862829 w 8079933"/>
              <a:gd name="connsiteY8206" fmla="*/ 2805290 h 4687251"/>
              <a:gd name="connsiteX8207" fmla="*/ 5856644 w 8079933"/>
              <a:gd name="connsiteY8207" fmla="*/ 2801284 h 4687251"/>
              <a:gd name="connsiteX8208" fmla="*/ 5856535 w 8079933"/>
              <a:gd name="connsiteY8208" fmla="*/ 2798361 h 4687251"/>
              <a:gd name="connsiteX8209" fmla="*/ 4441911 w 8079933"/>
              <a:gd name="connsiteY8209" fmla="*/ 2797711 h 4687251"/>
              <a:gd name="connsiteX8210" fmla="*/ 4438439 w 8079933"/>
              <a:gd name="connsiteY8210" fmla="*/ 2800093 h 4687251"/>
              <a:gd name="connsiteX8211" fmla="*/ 4438439 w 8079933"/>
              <a:gd name="connsiteY8211" fmla="*/ 2800094 h 4687251"/>
              <a:gd name="connsiteX8212" fmla="*/ 4441911 w 8079933"/>
              <a:gd name="connsiteY8212" fmla="*/ 2797712 h 4687251"/>
              <a:gd name="connsiteX8213" fmla="*/ 6963621 w 8079933"/>
              <a:gd name="connsiteY8213" fmla="*/ 2797386 h 4687251"/>
              <a:gd name="connsiteX8214" fmla="*/ 6966008 w 8079933"/>
              <a:gd name="connsiteY8214" fmla="*/ 2799443 h 4687251"/>
              <a:gd name="connsiteX8215" fmla="*/ 6965140 w 8079933"/>
              <a:gd name="connsiteY8215" fmla="*/ 2802366 h 4687251"/>
              <a:gd name="connsiteX8216" fmla="*/ 6963078 w 8079933"/>
              <a:gd name="connsiteY8216" fmla="*/ 2800092 h 4687251"/>
              <a:gd name="connsiteX8217" fmla="*/ 2214120 w 8079933"/>
              <a:gd name="connsiteY8217" fmla="*/ 2796423 h 4687251"/>
              <a:gd name="connsiteX8218" fmla="*/ 2213522 w 8079933"/>
              <a:gd name="connsiteY8218" fmla="*/ 2803774 h 4687251"/>
              <a:gd name="connsiteX8219" fmla="*/ 2209941 w 8079933"/>
              <a:gd name="connsiteY8219" fmla="*/ 2811462 h 4687251"/>
              <a:gd name="connsiteX8220" fmla="*/ 2209398 w 8079933"/>
              <a:gd name="connsiteY8220" fmla="*/ 2813843 h 4687251"/>
              <a:gd name="connsiteX8221" fmla="*/ 2209399 w 8079933"/>
              <a:gd name="connsiteY8221" fmla="*/ 2813843 h 4687251"/>
              <a:gd name="connsiteX8222" fmla="*/ 2209941 w 8079933"/>
              <a:gd name="connsiteY8222" fmla="*/ 2811461 h 4687251"/>
              <a:gd name="connsiteX8223" fmla="*/ 2213522 w 8079933"/>
              <a:gd name="connsiteY8223" fmla="*/ 2803774 h 4687251"/>
              <a:gd name="connsiteX8224" fmla="*/ 6950708 w 8079933"/>
              <a:gd name="connsiteY8224" fmla="*/ 2796304 h 4687251"/>
              <a:gd name="connsiteX8225" fmla="*/ 6954507 w 8079933"/>
              <a:gd name="connsiteY8225" fmla="*/ 2797170 h 4687251"/>
              <a:gd name="connsiteX8226" fmla="*/ 6956026 w 8079933"/>
              <a:gd name="connsiteY8226" fmla="*/ 2796737 h 4687251"/>
              <a:gd name="connsiteX8227" fmla="*/ 6957002 w 8079933"/>
              <a:gd name="connsiteY8227" fmla="*/ 2800743 h 4687251"/>
              <a:gd name="connsiteX8228" fmla="*/ 6963622 w 8079933"/>
              <a:gd name="connsiteY8228" fmla="*/ 2806048 h 4687251"/>
              <a:gd name="connsiteX8229" fmla="*/ 6968288 w 8079933"/>
              <a:gd name="connsiteY8229" fmla="*/ 2810704 h 4687251"/>
              <a:gd name="connsiteX8230" fmla="*/ 6971327 w 8079933"/>
              <a:gd name="connsiteY8230" fmla="*/ 2807997 h 4687251"/>
              <a:gd name="connsiteX8231" fmla="*/ 6971218 w 8079933"/>
              <a:gd name="connsiteY8231" fmla="*/ 2811570 h 4687251"/>
              <a:gd name="connsiteX8232" fmla="*/ 6974582 w 8079933"/>
              <a:gd name="connsiteY8232" fmla="*/ 2816659 h 4687251"/>
              <a:gd name="connsiteX8233" fmla="*/ 6974582 w 8079933"/>
              <a:gd name="connsiteY8233" fmla="*/ 2822722 h 4687251"/>
              <a:gd name="connsiteX8234" fmla="*/ 6971327 w 8079933"/>
              <a:gd name="connsiteY8234" fmla="*/ 2822181 h 4687251"/>
              <a:gd name="connsiteX8235" fmla="*/ 6970675 w 8079933"/>
              <a:gd name="connsiteY8235" fmla="*/ 2824779 h 4687251"/>
              <a:gd name="connsiteX8236" fmla="*/ 6973388 w 8079933"/>
              <a:gd name="connsiteY8236" fmla="*/ 2828244 h 4687251"/>
              <a:gd name="connsiteX8237" fmla="*/ 6975341 w 8079933"/>
              <a:gd name="connsiteY8237" fmla="*/ 2828460 h 4687251"/>
              <a:gd name="connsiteX8238" fmla="*/ 6975016 w 8079933"/>
              <a:gd name="connsiteY8238" fmla="*/ 2831275 h 4687251"/>
              <a:gd name="connsiteX8239" fmla="*/ 6975125 w 8079933"/>
              <a:gd name="connsiteY8239" fmla="*/ 2837013 h 4687251"/>
              <a:gd name="connsiteX8240" fmla="*/ 6976861 w 8079933"/>
              <a:gd name="connsiteY8240" fmla="*/ 2834199 h 4687251"/>
              <a:gd name="connsiteX8241" fmla="*/ 6977620 w 8079933"/>
              <a:gd name="connsiteY8241" fmla="*/ 2839720 h 4687251"/>
              <a:gd name="connsiteX8242" fmla="*/ 6977620 w 8079933"/>
              <a:gd name="connsiteY8242" fmla="*/ 2845026 h 4687251"/>
              <a:gd name="connsiteX8243" fmla="*/ 6980116 w 8079933"/>
              <a:gd name="connsiteY8243" fmla="*/ 2849032 h 4687251"/>
              <a:gd name="connsiteX8244" fmla="*/ 6982938 w 8079933"/>
              <a:gd name="connsiteY8244" fmla="*/ 2853579 h 4687251"/>
              <a:gd name="connsiteX8245" fmla="*/ 6983806 w 8079933"/>
              <a:gd name="connsiteY8245" fmla="*/ 2861266 h 4687251"/>
              <a:gd name="connsiteX8246" fmla="*/ 6981310 w 8079933"/>
              <a:gd name="connsiteY8246" fmla="*/ 2867654 h 4687251"/>
              <a:gd name="connsiteX8247" fmla="*/ 6979356 w 8079933"/>
              <a:gd name="connsiteY8247" fmla="*/ 2867438 h 4687251"/>
              <a:gd name="connsiteX8248" fmla="*/ 6979465 w 8079933"/>
              <a:gd name="connsiteY8248" fmla="*/ 2870361 h 4687251"/>
              <a:gd name="connsiteX8249" fmla="*/ 6977838 w 8079933"/>
              <a:gd name="connsiteY8249" fmla="*/ 2867221 h 4687251"/>
              <a:gd name="connsiteX8250" fmla="*/ 6975125 w 8079933"/>
              <a:gd name="connsiteY8250" fmla="*/ 2867654 h 4687251"/>
              <a:gd name="connsiteX8251" fmla="*/ 6974257 w 8079933"/>
              <a:gd name="connsiteY8251" fmla="*/ 2870578 h 4687251"/>
              <a:gd name="connsiteX8252" fmla="*/ 6975993 w 8079933"/>
              <a:gd name="connsiteY8252" fmla="*/ 2877507 h 4687251"/>
              <a:gd name="connsiteX8253" fmla="*/ 6975450 w 8079933"/>
              <a:gd name="connsiteY8253" fmla="*/ 2882812 h 4687251"/>
              <a:gd name="connsiteX8254" fmla="*/ 6975341 w 8079933"/>
              <a:gd name="connsiteY8254" fmla="*/ 2886168 h 4687251"/>
              <a:gd name="connsiteX8255" fmla="*/ 6973714 w 8079933"/>
              <a:gd name="connsiteY8255" fmla="*/ 2882812 h 4687251"/>
              <a:gd name="connsiteX8256" fmla="*/ 6971544 w 8079933"/>
              <a:gd name="connsiteY8256" fmla="*/ 2875666 h 4687251"/>
              <a:gd name="connsiteX8257" fmla="*/ 6971761 w 8079933"/>
              <a:gd name="connsiteY8257" fmla="*/ 2871335 h 4687251"/>
              <a:gd name="connsiteX8258" fmla="*/ 6969482 w 8079933"/>
              <a:gd name="connsiteY8258" fmla="*/ 2867654 h 4687251"/>
              <a:gd name="connsiteX8259" fmla="*/ 6968288 w 8079933"/>
              <a:gd name="connsiteY8259" fmla="*/ 2862999 h 4687251"/>
              <a:gd name="connsiteX8260" fmla="*/ 6964925 w 8079933"/>
              <a:gd name="connsiteY8260" fmla="*/ 2858234 h 4687251"/>
              <a:gd name="connsiteX8261" fmla="*/ 6961777 w 8079933"/>
              <a:gd name="connsiteY8261" fmla="*/ 2860076 h 4687251"/>
              <a:gd name="connsiteX8262" fmla="*/ 6955917 w 8079933"/>
              <a:gd name="connsiteY8262" fmla="*/ 2870361 h 4687251"/>
              <a:gd name="connsiteX8263" fmla="*/ 6954940 w 8079933"/>
              <a:gd name="connsiteY8263" fmla="*/ 2874150 h 4687251"/>
              <a:gd name="connsiteX8264" fmla="*/ 6959064 w 8079933"/>
              <a:gd name="connsiteY8264" fmla="*/ 2877290 h 4687251"/>
              <a:gd name="connsiteX8265" fmla="*/ 6961669 w 8079933"/>
              <a:gd name="connsiteY8265" fmla="*/ 2883570 h 4687251"/>
              <a:gd name="connsiteX8266" fmla="*/ 6963839 w 8079933"/>
              <a:gd name="connsiteY8266" fmla="*/ 2886601 h 4687251"/>
              <a:gd name="connsiteX8267" fmla="*/ 6963622 w 8079933"/>
              <a:gd name="connsiteY8267" fmla="*/ 2891474 h 4687251"/>
              <a:gd name="connsiteX8268" fmla="*/ 6957002 w 8079933"/>
              <a:gd name="connsiteY8268" fmla="*/ 2899919 h 4687251"/>
              <a:gd name="connsiteX8269" fmla="*/ 6953638 w 8079933"/>
              <a:gd name="connsiteY8269" fmla="*/ 2902409 h 4687251"/>
              <a:gd name="connsiteX8270" fmla="*/ 6952119 w 8079933"/>
              <a:gd name="connsiteY8270" fmla="*/ 2900461 h 4687251"/>
              <a:gd name="connsiteX8271" fmla="*/ 6950600 w 8079933"/>
              <a:gd name="connsiteY8271" fmla="*/ 2896021 h 4687251"/>
              <a:gd name="connsiteX8272" fmla="*/ 6952336 w 8079933"/>
              <a:gd name="connsiteY8272" fmla="*/ 2893314 h 4687251"/>
              <a:gd name="connsiteX8273" fmla="*/ 6950817 w 8079933"/>
              <a:gd name="connsiteY8273" fmla="*/ 2891365 h 4687251"/>
              <a:gd name="connsiteX8274" fmla="*/ 6948321 w 8079933"/>
              <a:gd name="connsiteY8274" fmla="*/ 2893098 h 4687251"/>
              <a:gd name="connsiteX8275" fmla="*/ 6947778 w 8079933"/>
              <a:gd name="connsiteY8275" fmla="*/ 2895696 h 4687251"/>
              <a:gd name="connsiteX8276" fmla="*/ 6943872 w 8079933"/>
              <a:gd name="connsiteY8276" fmla="*/ 2897970 h 4687251"/>
              <a:gd name="connsiteX8277" fmla="*/ 6938880 w 8079933"/>
              <a:gd name="connsiteY8277" fmla="*/ 2895913 h 4687251"/>
              <a:gd name="connsiteX8278" fmla="*/ 6934756 w 8079933"/>
              <a:gd name="connsiteY8278" fmla="*/ 2892123 h 4687251"/>
              <a:gd name="connsiteX8279" fmla="*/ 6929439 w 8079933"/>
              <a:gd name="connsiteY8279" fmla="*/ 2892123 h 4687251"/>
              <a:gd name="connsiteX8280" fmla="*/ 6924881 w 8079933"/>
              <a:gd name="connsiteY8280" fmla="*/ 2886927 h 4687251"/>
              <a:gd name="connsiteX8281" fmla="*/ 6924122 w 8079933"/>
              <a:gd name="connsiteY8281" fmla="*/ 2882920 h 4687251"/>
              <a:gd name="connsiteX8282" fmla="*/ 6920757 w 8079933"/>
              <a:gd name="connsiteY8282" fmla="*/ 2878481 h 4687251"/>
              <a:gd name="connsiteX8283" fmla="*/ 6921843 w 8079933"/>
              <a:gd name="connsiteY8283" fmla="*/ 2875450 h 4687251"/>
              <a:gd name="connsiteX8284" fmla="*/ 6921300 w 8079933"/>
              <a:gd name="connsiteY8284" fmla="*/ 2871768 h 4687251"/>
              <a:gd name="connsiteX8285" fmla="*/ 6919021 w 8079933"/>
              <a:gd name="connsiteY8285" fmla="*/ 2869062 h 4687251"/>
              <a:gd name="connsiteX8286" fmla="*/ 6921191 w 8079933"/>
              <a:gd name="connsiteY8286" fmla="*/ 2866354 h 4687251"/>
              <a:gd name="connsiteX8287" fmla="*/ 6920975 w 8079933"/>
              <a:gd name="connsiteY8287" fmla="*/ 2863865 h 4687251"/>
              <a:gd name="connsiteX8288" fmla="*/ 6922820 w 8079933"/>
              <a:gd name="connsiteY8288" fmla="*/ 2862890 h 4687251"/>
              <a:gd name="connsiteX8289" fmla="*/ 6927052 w 8079933"/>
              <a:gd name="connsiteY8289" fmla="*/ 2864406 h 4687251"/>
              <a:gd name="connsiteX8290" fmla="*/ 6923253 w 8079933"/>
              <a:gd name="connsiteY8290" fmla="*/ 2860725 h 4687251"/>
              <a:gd name="connsiteX8291" fmla="*/ 6922277 w 8079933"/>
              <a:gd name="connsiteY8291" fmla="*/ 2856719 h 4687251"/>
              <a:gd name="connsiteX8292" fmla="*/ 6917718 w 8079933"/>
              <a:gd name="connsiteY8292" fmla="*/ 2852929 h 4687251"/>
              <a:gd name="connsiteX8293" fmla="*/ 6913704 w 8079933"/>
              <a:gd name="connsiteY8293" fmla="*/ 2852172 h 4687251"/>
              <a:gd name="connsiteX8294" fmla="*/ 6909146 w 8079933"/>
              <a:gd name="connsiteY8294" fmla="*/ 2848166 h 4687251"/>
              <a:gd name="connsiteX8295" fmla="*/ 6906976 w 8079933"/>
              <a:gd name="connsiteY8295" fmla="*/ 2848057 h 4687251"/>
              <a:gd name="connsiteX8296" fmla="*/ 6905023 w 8079933"/>
              <a:gd name="connsiteY8296" fmla="*/ 2850114 h 4687251"/>
              <a:gd name="connsiteX8297" fmla="*/ 6906107 w 8079933"/>
              <a:gd name="connsiteY8297" fmla="*/ 2852280 h 4687251"/>
              <a:gd name="connsiteX8298" fmla="*/ 6904480 w 8079933"/>
              <a:gd name="connsiteY8298" fmla="*/ 2854337 h 4687251"/>
              <a:gd name="connsiteX8299" fmla="*/ 6907084 w 8079933"/>
              <a:gd name="connsiteY8299" fmla="*/ 2858018 h 4687251"/>
              <a:gd name="connsiteX8300" fmla="*/ 6905131 w 8079933"/>
              <a:gd name="connsiteY8300" fmla="*/ 2857802 h 4687251"/>
              <a:gd name="connsiteX8301" fmla="*/ 6901333 w 8079933"/>
              <a:gd name="connsiteY8301" fmla="*/ 2854986 h 4687251"/>
              <a:gd name="connsiteX8302" fmla="*/ 6898837 w 8079933"/>
              <a:gd name="connsiteY8302" fmla="*/ 2855311 h 4687251"/>
              <a:gd name="connsiteX8303" fmla="*/ 6900030 w 8079933"/>
              <a:gd name="connsiteY8303" fmla="*/ 2852388 h 4687251"/>
              <a:gd name="connsiteX8304" fmla="*/ 6897644 w 8079933"/>
              <a:gd name="connsiteY8304" fmla="*/ 2851522 h 4687251"/>
              <a:gd name="connsiteX8305" fmla="*/ 6895799 w 8079933"/>
              <a:gd name="connsiteY8305" fmla="*/ 2852929 h 4687251"/>
              <a:gd name="connsiteX8306" fmla="*/ 6895473 w 8079933"/>
              <a:gd name="connsiteY8306" fmla="*/ 2857260 h 4687251"/>
              <a:gd name="connsiteX8307" fmla="*/ 6893086 w 8079933"/>
              <a:gd name="connsiteY8307" fmla="*/ 2855852 h 4687251"/>
              <a:gd name="connsiteX8308" fmla="*/ 6890915 w 8079933"/>
              <a:gd name="connsiteY8308" fmla="*/ 2857044 h 4687251"/>
              <a:gd name="connsiteX8309" fmla="*/ 6889505 w 8079933"/>
              <a:gd name="connsiteY8309" fmla="*/ 2855636 h 4687251"/>
              <a:gd name="connsiteX8310" fmla="*/ 6890481 w 8079933"/>
              <a:gd name="connsiteY8310" fmla="*/ 2850764 h 4687251"/>
              <a:gd name="connsiteX8311" fmla="*/ 6887334 w 8079933"/>
              <a:gd name="connsiteY8311" fmla="*/ 2847732 h 4687251"/>
              <a:gd name="connsiteX8312" fmla="*/ 6884730 w 8079933"/>
              <a:gd name="connsiteY8312" fmla="*/ 2848923 h 4687251"/>
              <a:gd name="connsiteX8313" fmla="*/ 6882125 w 8079933"/>
              <a:gd name="connsiteY8313" fmla="*/ 2854770 h 4687251"/>
              <a:gd name="connsiteX8314" fmla="*/ 6879412 w 8079933"/>
              <a:gd name="connsiteY8314" fmla="*/ 2857152 h 4687251"/>
              <a:gd name="connsiteX8315" fmla="*/ 6875831 w 8079933"/>
              <a:gd name="connsiteY8315" fmla="*/ 2867221 h 4687251"/>
              <a:gd name="connsiteX8316" fmla="*/ 6873878 w 8079933"/>
              <a:gd name="connsiteY8316" fmla="*/ 2870361 h 4687251"/>
              <a:gd name="connsiteX8317" fmla="*/ 6868886 w 8079933"/>
              <a:gd name="connsiteY8317" fmla="*/ 2865056 h 4687251"/>
              <a:gd name="connsiteX8318" fmla="*/ 6872142 w 8079933"/>
              <a:gd name="connsiteY8318" fmla="*/ 2858343 h 4687251"/>
              <a:gd name="connsiteX8319" fmla="*/ 6873552 w 8079933"/>
              <a:gd name="connsiteY8319" fmla="*/ 2851413 h 4687251"/>
              <a:gd name="connsiteX8320" fmla="*/ 6871925 w 8079933"/>
              <a:gd name="connsiteY8320" fmla="*/ 2848057 h 4687251"/>
              <a:gd name="connsiteX8321" fmla="*/ 6876265 w 8079933"/>
              <a:gd name="connsiteY8321" fmla="*/ 2842860 h 4687251"/>
              <a:gd name="connsiteX8322" fmla="*/ 6880932 w 8079933"/>
              <a:gd name="connsiteY8322" fmla="*/ 2841669 h 4687251"/>
              <a:gd name="connsiteX8323" fmla="*/ 6884404 w 8079933"/>
              <a:gd name="connsiteY8323" fmla="*/ 2838205 h 4687251"/>
              <a:gd name="connsiteX8324" fmla="*/ 6888853 w 8079933"/>
              <a:gd name="connsiteY8324" fmla="*/ 2839612 h 4687251"/>
              <a:gd name="connsiteX8325" fmla="*/ 6895581 w 8079933"/>
              <a:gd name="connsiteY8325" fmla="*/ 2838205 h 4687251"/>
              <a:gd name="connsiteX8326" fmla="*/ 6893519 w 8079933"/>
              <a:gd name="connsiteY8326" fmla="*/ 2834199 h 4687251"/>
              <a:gd name="connsiteX8327" fmla="*/ 6895690 w 8079933"/>
              <a:gd name="connsiteY8327" fmla="*/ 2829976 h 4687251"/>
              <a:gd name="connsiteX8328" fmla="*/ 6901224 w 8079933"/>
              <a:gd name="connsiteY8328" fmla="*/ 2827594 h 4687251"/>
              <a:gd name="connsiteX8329" fmla="*/ 6904046 w 8079933"/>
              <a:gd name="connsiteY8329" fmla="*/ 2823371 h 4687251"/>
              <a:gd name="connsiteX8330" fmla="*/ 6907844 w 8079933"/>
              <a:gd name="connsiteY8330" fmla="*/ 2823046 h 4687251"/>
              <a:gd name="connsiteX8331" fmla="*/ 6914138 w 8079933"/>
              <a:gd name="connsiteY8331" fmla="*/ 2828460 h 4687251"/>
              <a:gd name="connsiteX8332" fmla="*/ 6914464 w 8079933"/>
              <a:gd name="connsiteY8332" fmla="*/ 2836364 h 4687251"/>
              <a:gd name="connsiteX8333" fmla="*/ 6909580 w 8079933"/>
              <a:gd name="connsiteY8333" fmla="*/ 2843835 h 4687251"/>
              <a:gd name="connsiteX8334" fmla="*/ 6913812 w 8079933"/>
              <a:gd name="connsiteY8334" fmla="*/ 2839612 h 4687251"/>
              <a:gd name="connsiteX8335" fmla="*/ 6918370 w 8079933"/>
              <a:gd name="connsiteY8335" fmla="*/ 2838529 h 4687251"/>
              <a:gd name="connsiteX8336" fmla="*/ 6923796 w 8079933"/>
              <a:gd name="connsiteY8336" fmla="*/ 2835715 h 4687251"/>
              <a:gd name="connsiteX8337" fmla="*/ 6926400 w 8079933"/>
              <a:gd name="connsiteY8337" fmla="*/ 2827594 h 4687251"/>
              <a:gd name="connsiteX8338" fmla="*/ 6931392 w 8079933"/>
              <a:gd name="connsiteY8338" fmla="*/ 2825537 h 4687251"/>
              <a:gd name="connsiteX8339" fmla="*/ 6933779 w 8079933"/>
              <a:gd name="connsiteY8339" fmla="*/ 2830842 h 4687251"/>
              <a:gd name="connsiteX8340" fmla="*/ 6936710 w 8079933"/>
              <a:gd name="connsiteY8340" fmla="*/ 2829434 h 4687251"/>
              <a:gd name="connsiteX8341" fmla="*/ 6937252 w 8079933"/>
              <a:gd name="connsiteY8341" fmla="*/ 2825645 h 4687251"/>
              <a:gd name="connsiteX8342" fmla="*/ 6935407 w 8079933"/>
              <a:gd name="connsiteY8342" fmla="*/ 2824238 h 4687251"/>
              <a:gd name="connsiteX8343" fmla="*/ 6937795 w 8079933"/>
              <a:gd name="connsiteY8343" fmla="*/ 2815034 h 4687251"/>
              <a:gd name="connsiteX8344" fmla="*/ 6942895 w 8079933"/>
              <a:gd name="connsiteY8344" fmla="*/ 2817092 h 4687251"/>
              <a:gd name="connsiteX8345" fmla="*/ 6945825 w 8079933"/>
              <a:gd name="connsiteY8345" fmla="*/ 2819258 h 4687251"/>
              <a:gd name="connsiteX8346" fmla="*/ 6947019 w 8079933"/>
              <a:gd name="connsiteY8346" fmla="*/ 2817092 h 4687251"/>
              <a:gd name="connsiteX8347" fmla="*/ 6947019 w 8079933"/>
              <a:gd name="connsiteY8347" fmla="*/ 2810920 h 4687251"/>
              <a:gd name="connsiteX8348" fmla="*/ 6948755 w 8079933"/>
              <a:gd name="connsiteY8348" fmla="*/ 2810487 h 4687251"/>
              <a:gd name="connsiteX8349" fmla="*/ 6952444 w 8079933"/>
              <a:gd name="connsiteY8349" fmla="*/ 2814493 h 4687251"/>
              <a:gd name="connsiteX8350" fmla="*/ 6952553 w 8079933"/>
              <a:gd name="connsiteY8350" fmla="*/ 2810920 h 4687251"/>
              <a:gd name="connsiteX8351" fmla="*/ 6950491 w 8079933"/>
              <a:gd name="connsiteY8351" fmla="*/ 2801609 h 4687251"/>
              <a:gd name="connsiteX8352" fmla="*/ 6340844 w 8079933"/>
              <a:gd name="connsiteY8352" fmla="*/ 2796088 h 4687251"/>
              <a:gd name="connsiteX8353" fmla="*/ 6339651 w 8079933"/>
              <a:gd name="connsiteY8353" fmla="*/ 2798578 h 4687251"/>
              <a:gd name="connsiteX8354" fmla="*/ 6336504 w 8079933"/>
              <a:gd name="connsiteY8354" fmla="*/ 2797712 h 4687251"/>
              <a:gd name="connsiteX8355" fmla="*/ 4303414 w 8079933"/>
              <a:gd name="connsiteY8355" fmla="*/ 2794911 h 4687251"/>
              <a:gd name="connsiteX8356" fmla="*/ 4304312 w 8079933"/>
              <a:gd name="connsiteY8356" fmla="*/ 2795004 h 4687251"/>
              <a:gd name="connsiteX8357" fmla="*/ 4306917 w 8079933"/>
              <a:gd name="connsiteY8357" fmla="*/ 2796520 h 4687251"/>
              <a:gd name="connsiteX8358" fmla="*/ 4307434 w 8079933"/>
              <a:gd name="connsiteY8358" fmla="*/ 2796606 h 4687251"/>
              <a:gd name="connsiteX8359" fmla="*/ 4306917 w 8079933"/>
              <a:gd name="connsiteY8359" fmla="*/ 2796520 h 4687251"/>
              <a:gd name="connsiteX8360" fmla="*/ 4304313 w 8079933"/>
              <a:gd name="connsiteY8360" fmla="*/ 2795004 h 4687251"/>
              <a:gd name="connsiteX8361" fmla="*/ 4260905 w 8079933"/>
              <a:gd name="connsiteY8361" fmla="*/ 2794788 h 4687251"/>
              <a:gd name="connsiteX8362" fmla="*/ 4260037 w 8079933"/>
              <a:gd name="connsiteY8362" fmla="*/ 2800310 h 4687251"/>
              <a:gd name="connsiteX8363" fmla="*/ 4255914 w 8079933"/>
              <a:gd name="connsiteY8363" fmla="*/ 2805507 h 4687251"/>
              <a:gd name="connsiteX8364" fmla="*/ 4249403 w 8079933"/>
              <a:gd name="connsiteY8364" fmla="*/ 2807347 h 4687251"/>
              <a:gd name="connsiteX8365" fmla="*/ 4245930 w 8079933"/>
              <a:gd name="connsiteY8365" fmla="*/ 2810595 h 4687251"/>
              <a:gd name="connsiteX8366" fmla="*/ 4245930 w 8079933"/>
              <a:gd name="connsiteY8366" fmla="*/ 2810596 h 4687251"/>
              <a:gd name="connsiteX8367" fmla="*/ 4249403 w 8079933"/>
              <a:gd name="connsiteY8367" fmla="*/ 2807348 h 4687251"/>
              <a:gd name="connsiteX8368" fmla="*/ 4255914 w 8079933"/>
              <a:gd name="connsiteY8368" fmla="*/ 2805507 h 4687251"/>
              <a:gd name="connsiteX8369" fmla="*/ 4260037 w 8079933"/>
              <a:gd name="connsiteY8369" fmla="*/ 2800310 h 4687251"/>
              <a:gd name="connsiteX8370" fmla="*/ 4260905 w 8079933"/>
              <a:gd name="connsiteY8370" fmla="*/ 2794789 h 4687251"/>
              <a:gd name="connsiteX8371" fmla="*/ 4287599 w 8079933"/>
              <a:gd name="connsiteY8371" fmla="*/ 2794749 h 4687251"/>
              <a:gd name="connsiteX8372" fmla="*/ 4288252 w 8079933"/>
              <a:gd name="connsiteY8372" fmla="*/ 2795004 h 4687251"/>
              <a:gd name="connsiteX8373" fmla="*/ 4288252 w 8079933"/>
              <a:gd name="connsiteY8373" fmla="*/ 2795004 h 4687251"/>
              <a:gd name="connsiteX8374" fmla="*/ 3755072 w 8079933"/>
              <a:gd name="connsiteY8374" fmla="*/ 2794401 h 4687251"/>
              <a:gd name="connsiteX8375" fmla="*/ 3755977 w 8079933"/>
              <a:gd name="connsiteY8375" fmla="*/ 2804641 h 4687251"/>
              <a:gd name="connsiteX8376" fmla="*/ 3755272 w 8079933"/>
              <a:gd name="connsiteY8376" fmla="*/ 2806373 h 4687251"/>
              <a:gd name="connsiteX8377" fmla="*/ 3755978 w 8079933"/>
              <a:gd name="connsiteY8377" fmla="*/ 2804640 h 4687251"/>
              <a:gd name="connsiteX8378" fmla="*/ 4033211 w 8079933"/>
              <a:gd name="connsiteY8378" fmla="*/ 2794040 h 4687251"/>
              <a:gd name="connsiteX8379" fmla="*/ 4030199 w 8079933"/>
              <a:gd name="connsiteY8379" fmla="*/ 2796845 h 4687251"/>
              <a:gd name="connsiteX8380" fmla="*/ 4029077 w 8079933"/>
              <a:gd name="connsiteY8380" fmla="*/ 2799830 h 4687251"/>
              <a:gd name="connsiteX8381" fmla="*/ 4030200 w 8079933"/>
              <a:gd name="connsiteY8381" fmla="*/ 2796845 h 4687251"/>
              <a:gd name="connsiteX8382" fmla="*/ 4306433 w 8079933"/>
              <a:gd name="connsiteY8382" fmla="*/ 2790763 h 4687251"/>
              <a:gd name="connsiteX8383" fmla="*/ 4310823 w 8079933"/>
              <a:gd name="connsiteY8383" fmla="*/ 2794463 h 4687251"/>
              <a:gd name="connsiteX8384" fmla="*/ 4312884 w 8079933"/>
              <a:gd name="connsiteY8384" fmla="*/ 2795221 h 4687251"/>
              <a:gd name="connsiteX8385" fmla="*/ 4312885 w 8079933"/>
              <a:gd name="connsiteY8385" fmla="*/ 2795221 h 4687251"/>
              <a:gd name="connsiteX8386" fmla="*/ 4310824 w 8079933"/>
              <a:gd name="connsiteY8386" fmla="*/ 2794463 h 4687251"/>
              <a:gd name="connsiteX8387" fmla="*/ 4445167 w 8079933"/>
              <a:gd name="connsiteY8387" fmla="*/ 2790132 h 4687251"/>
              <a:gd name="connsiteX8388" fmla="*/ 4442538 w 8079933"/>
              <a:gd name="connsiteY8388" fmla="*/ 2793083 h 4687251"/>
              <a:gd name="connsiteX8389" fmla="*/ 4445166 w 8079933"/>
              <a:gd name="connsiteY8389" fmla="*/ 2790133 h 4687251"/>
              <a:gd name="connsiteX8390" fmla="*/ 4447011 w 8079933"/>
              <a:gd name="connsiteY8390" fmla="*/ 2791324 h 4687251"/>
              <a:gd name="connsiteX8391" fmla="*/ 4449507 w 8079933"/>
              <a:gd name="connsiteY8391" fmla="*/ 2791107 h 4687251"/>
              <a:gd name="connsiteX8392" fmla="*/ 4449507 w 8079933"/>
              <a:gd name="connsiteY8392" fmla="*/ 2791107 h 4687251"/>
              <a:gd name="connsiteX8393" fmla="*/ 4447012 w 8079933"/>
              <a:gd name="connsiteY8393" fmla="*/ 2791323 h 4687251"/>
              <a:gd name="connsiteX8394" fmla="*/ 2213360 w 8079933"/>
              <a:gd name="connsiteY8394" fmla="*/ 2789265 h 4687251"/>
              <a:gd name="connsiteX8395" fmla="*/ 2212654 w 8079933"/>
              <a:gd name="connsiteY8395" fmla="*/ 2791648 h 4687251"/>
              <a:gd name="connsiteX8396" fmla="*/ 2214173 w 8079933"/>
              <a:gd name="connsiteY8396" fmla="*/ 2795762 h 4687251"/>
              <a:gd name="connsiteX8397" fmla="*/ 2214173 w 8079933"/>
              <a:gd name="connsiteY8397" fmla="*/ 2795762 h 4687251"/>
              <a:gd name="connsiteX8398" fmla="*/ 2212654 w 8079933"/>
              <a:gd name="connsiteY8398" fmla="*/ 2791647 h 4687251"/>
              <a:gd name="connsiteX8399" fmla="*/ 6945824 w 8079933"/>
              <a:gd name="connsiteY8399" fmla="*/ 2787101 h 4687251"/>
              <a:gd name="connsiteX8400" fmla="*/ 6948211 w 8079933"/>
              <a:gd name="connsiteY8400" fmla="*/ 2791431 h 4687251"/>
              <a:gd name="connsiteX8401" fmla="*/ 6948211 w 8079933"/>
              <a:gd name="connsiteY8401" fmla="*/ 2795004 h 4687251"/>
              <a:gd name="connsiteX8402" fmla="*/ 6944956 w 8079933"/>
              <a:gd name="connsiteY8402" fmla="*/ 2791215 h 4687251"/>
              <a:gd name="connsiteX8403" fmla="*/ 6966986 w 8079933"/>
              <a:gd name="connsiteY8403" fmla="*/ 2786776 h 4687251"/>
              <a:gd name="connsiteX8404" fmla="*/ 6969264 w 8079933"/>
              <a:gd name="connsiteY8404" fmla="*/ 2791214 h 4687251"/>
              <a:gd name="connsiteX8405" fmla="*/ 6971001 w 8079933"/>
              <a:gd name="connsiteY8405" fmla="*/ 2795761 h 4687251"/>
              <a:gd name="connsiteX8406" fmla="*/ 6967637 w 8079933"/>
              <a:gd name="connsiteY8406" fmla="*/ 2796952 h 4687251"/>
              <a:gd name="connsiteX8407" fmla="*/ 6965358 w 8079933"/>
              <a:gd name="connsiteY8407" fmla="*/ 2793921 h 4687251"/>
              <a:gd name="connsiteX8408" fmla="*/ 6966118 w 8079933"/>
              <a:gd name="connsiteY8408" fmla="*/ 2791972 h 4687251"/>
              <a:gd name="connsiteX8409" fmla="*/ 6926725 w 8079933"/>
              <a:gd name="connsiteY8409" fmla="*/ 2786343 h 4687251"/>
              <a:gd name="connsiteX8410" fmla="*/ 6929329 w 8079933"/>
              <a:gd name="connsiteY8410" fmla="*/ 2788725 h 4687251"/>
              <a:gd name="connsiteX8411" fmla="*/ 6929764 w 8079933"/>
              <a:gd name="connsiteY8411" fmla="*/ 2793814 h 4687251"/>
              <a:gd name="connsiteX8412" fmla="*/ 6927918 w 8079933"/>
              <a:gd name="connsiteY8412" fmla="*/ 2796953 h 4687251"/>
              <a:gd name="connsiteX8413" fmla="*/ 6920756 w 8079933"/>
              <a:gd name="connsiteY8413" fmla="*/ 2800310 h 4687251"/>
              <a:gd name="connsiteX8414" fmla="*/ 6914788 w 8079933"/>
              <a:gd name="connsiteY8414" fmla="*/ 2800635 h 4687251"/>
              <a:gd name="connsiteX8415" fmla="*/ 6915222 w 8079933"/>
              <a:gd name="connsiteY8415" fmla="*/ 2798361 h 4687251"/>
              <a:gd name="connsiteX8416" fmla="*/ 6912943 w 8079933"/>
              <a:gd name="connsiteY8416" fmla="*/ 2795221 h 4687251"/>
              <a:gd name="connsiteX8417" fmla="*/ 6915765 w 8079933"/>
              <a:gd name="connsiteY8417" fmla="*/ 2791323 h 4687251"/>
              <a:gd name="connsiteX8418" fmla="*/ 6924012 w 8079933"/>
              <a:gd name="connsiteY8418" fmla="*/ 2786451 h 4687251"/>
              <a:gd name="connsiteX8419" fmla="*/ 4456669 w 8079933"/>
              <a:gd name="connsiteY8419" fmla="*/ 2783095 h 4687251"/>
              <a:gd name="connsiteX8420" fmla="*/ 4453848 w 8079933"/>
              <a:gd name="connsiteY8420" fmla="*/ 2784177 h 4687251"/>
              <a:gd name="connsiteX8421" fmla="*/ 4453848 w 8079933"/>
              <a:gd name="connsiteY8421" fmla="*/ 2784178 h 4687251"/>
              <a:gd name="connsiteX8422" fmla="*/ 4456669 w 8079933"/>
              <a:gd name="connsiteY8422" fmla="*/ 2783095 h 4687251"/>
              <a:gd name="connsiteX8423" fmla="*/ 4034270 w 8079933"/>
              <a:gd name="connsiteY8423" fmla="*/ 2782482 h 4687251"/>
              <a:gd name="connsiteX8424" fmla="*/ 4033237 w 8079933"/>
              <a:gd name="connsiteY8424" fmla="*/ 2784178 h 4687251"/>
              <a:gd name="connsiteX8425" fmla="*/ 4032912 w 8079933"/>
              <a:gd name="connsiteY8425" fmla="*/ 2786343 h 4687251"/>
              <a:gd name="connsiteX8426" fmla="*/ 4038012 w 8079933"/>
              <a:gd name="connsiteY8426" fmla="*/ 2791865 h 4687251"/>
              <a:gd name="connsiteX8427" fmla="*/ 4038012 w 8079933"/>
              <a:gd name="connsiteY8427" fmla="*/ 2791864 h 4687251"/>
              <a:gd name="connsiteX8428" fmla="*/ 4032913 w 8079933"/>
              <a:gd name="connsiteY8428" fmla="*/ 2786343 h 4687251"/>
              <a:gd name="connsiteX8429" fmla="*/ 4033238 w 8079933"/>
              <a:gd name="connsiteY8429" fmla="*/ 2784177 h 4687251"/>
              <a:gd name="connsiteX8430" fmla="*/ 6436665 w 8079933"/>
              <a:gd name="connsiteY8430" fmla="*/ 2780496 h 4687251"/>
              <a:gd name="connsiteX8431" fmla="*/ 6438075 w 8079933"/>
              <a:gd name="connsiteY8431" fmla="*/ 2783743 h 4687251"/>
              <a:gd name="connsiteX8432" fmla="*/ 6439594 w 8079933"/>
              <a:gd name="connsiteY8432" fmla="*/ 2784394 h 4687251"/>
              <a:gd name="connsiteX8433" fmla="*/ 6438510 w 8079933"/>
              <a:gd name="connsiteY8433" fmla="*/ 2791539 h 4687251"/>
              <a:gd name="connsiteX8434" fmla="*/ 6435905 w 8079933"/>
              <a:gd name="connsiteY8434" fmla="*/ 2792839 h 4687251"/>
              <a:gd name="connsiteX8435" fmla="*/ 6433843 w 8079933"/>
              <a:gd name="connsiteY8435" fmla="*/ 2788941 h 4687251"/>
              <a:gd name="connsiteX8436" fmla="*/ 6434928 w 8079933"/>
              <a:gd name="connsiteY8436" fmla="*/ 2786451 h 4687251"/>
              <a:gd name="connsiteX8437" fmla="*/ 6432215 w 8079933"/>
              <a:gd name="connsiteY8437" fmla="*/ 2783202 h 4687251"/>
              <a:gd name="connsiteX8438" fmla="*/ 3774099 w 8079933"/>
              <a:gd name="connsiteY8438" fmla="*/ 2779197 h 4687251"/>
              <a:gd name="connsiteX8439" fmla="*/ 3771060 w 8079933"/>
              <a:gd name="connsiteY8439" fmla="*/ 2779413 h 4687251"/>
              <a:gd name="connsiteX8440" fmla="*/ 3764116 w 8079933"/>
              <a:gd name="connsiteY8440" fmla="*/ 2783310 h 4687251"/>
              <a:gd name="connsiteX8441" fmla="*/ 3764116 w 8079933"/>
              <a:gd name="connsiteY8441" fmla="*/ 2783312 h 4687251"/>
              <a:gd name="connsiteX8442" fmla="*/ 3762177 w 8079933"/>
              <a:gd name="connsiteY8442" fmla="*/ 2784494 h 4687251"/>
              <a:gd name="connsiteX8443" fmla="*/ 3762218 w 8079933"/>
              <a:gd name="connsiteY8443" fmla="*/ 2784470 h 4687251"/>
              <a:gd name="connsiteX8444" fmla="*/ 3764117 w 8079933"/>
              <a:gd name="connsiteY8444" fmla="*/ 2783312 h 4687251"/>
              <a:gd name="connsiteX8445" fmla="*/ 3770978 w 8079933"/>
              <a:gd name="connsiteY8445" fmla="*/ 2779461 h 4687251"/>
              <a:gd name="connsiteX8446" fmla="*/ 3771061 w 8079933"/>
              <a:gd name="connsiteY8446" fmla="*/ 2779414 h 4687251"/>
              <a:gd name="connsiteX8447" fmla="*/ 3774100 w 8079933"/>
              <a:gd name="connsiteY8447" fmla="*/ 2779197 h 4687251"/>
              <a:gd name="connsiteX8448" fmla="*/ 3791787 w 8079933"/>
              <a:gd name="connsiteY8448" fmla="*/ 2778764 h 4687251"/>
              <a:gd name="connsiteX8449" fmla="*/ 3791570 w 8079933"/>
              <a:gd name="connsiteY8449" fmla="*/ 2780821 h 4687251"/>
              <a:gd name="connsiteX8450" fmla="*/ 3789508 w 8079933"/>
              <a:gd name="connsiteY8450" fmla="*/ 2782662 h 4687251"/>
              <a:gd name="connsiteX8451" fmla="*/ 3789509 w 8079933"/>
              <a:gd name="connsiteY8451" fmla="*/ 2782662 h 4687251"/>
              <a:gd name="connsiteX8452" fmla="*/ 3791571 w 8079933"/>
              <a:gd name="connsiteY8452" fmla="*/ 2780821 h 4687251"/>
              <a:gd name="connsiteX8453" fmla="*/ 3791788 w 8079933"/>
              <a:gd name="connsiteY8453" fmla="*/ 2778764 h 4687251"/>
              <a:gd name="connsiteX8454" fmla="*/ 6956785 w 8079933"/>
              <a:gd name="connsiteY8454" fmla="*/ 2778223 h 4687251"/>
              <a:gd name="connsiteX8455" fmla="*/ 6957978 w 8079933"/>
              <a:gd name="connsiteY8455" fmla="*/ 2780929 h 4687251"/>
              <a:gd name="connsiteX8456" fmla="*/ 6956242 w 8079933"/>
              <a:gd name="connsiteY8456" fmla="*/ 2782012 h 4687251"/>
              <a:gd name="connsiteX8457" fmla="*/ 6956242 w 8079933"/>
              <a:gd name="connsiteY8457" fmla="*/ 2786451 h 4687251"/>
              <a:gd name="connsiteX8458" fmla="*/ 6959498 w 8079933"/>
              <a:gd name="connsiteY8458" fmla="*/ 2790457 h 4687251"/>
              <a:gd name="connsiteX8459" fmla="*/ 6958412 w 8079933"/>
              <a:gd name="connsiteY8459" fmla="*/ 2795870 h 4687251"/>
              <a:gd name="connsiteX8460" fmla="*/ 6956567 w 8079933"/>
              <a:gd name="connsiteY8460" fmla="*/ 2795546 h 4687251"/>
              <a:gd name="connsiteX8461" fmla="*/ 6955590 w 8079933"/>
              <a:gd name="connsiteY8461" fmla="*/ 2793272 h 4687251"/>
              <a:gd name="connsiteX8462" fmla="*/ 6956242 w 8079933"/>
              <a:gd name="connsiteY8462" fmla="*/ 2790349 h 4687251"/>
              <a:gd name="connsiteX8463" fmla="*/ 6953529 w 8079933"/>
              <a:gd name="connsiteY8463" fmla="*/ 2784502 h 4687251"/>
              <a:gd name="connsiteX8464" fmla="*/ 6954397 w 8079933"/>
              <a:gd name="connsiteY8464" fmla="*/ 2779197 h 4687251"/>
              <a:gd name="connsiteX8465" fmla="*/ 3799601 w 8079933"/>
              <a:gd name="connsiteY8465" fmla="*/ 2777140 h 4687251"/>
              <a:gd name="connsiteX8466" fmla="*/ 3797915 w 8079933"/>
              <a:gd name="connsiteY8466" fmla="*/ 2777490 h 4687251"/>
              <a:gd name="connsiteX8467" fmla="*/ 3799601 w 8079933"/>
              <a:gd name="connsiteY8467" fmla="*/ 2777140 h 4687251"/>
              <a:gd name="connsiteX8468" fmla="*/ 3945448 w 8079933"/>
              <a:gd name="connsiteY8468" fmla="*/ 2775083 h 4687251"/>
              <a:gd name="connsiteX8469" fmla="*/ 3945448 w 8079933"/>
              <a:gd name="connsiteY8469" fmla="*/ 2775083 h 4687251"/>
              <a:gd name="connsiteX8470" fmla="*/ 3950657 w 8079933"/>
              <a:gd name="connsiteY8470" fmla="*/ 2779848 h 4687251"/>
              <a:gd name="connsiteX8471" fmla="*/ 3952719 w 8079933"/>
              <a:gd name="connsiteY8471" fmla="*/ 2782771 h 4687251"/>
              <a:gd name="connsiteX8472" fmla="*/ 3957710 w 8079933"/>
              <a:gd name="connsiteY8472" fmla="*/ 2786451 h 4687251"/>
              <a:gd name="connsiteX8473" fmla="*/ 3957710 w 8079933"/>
              <a:gd name="connsiteY8473" fmla="*/ 2786451 h 4687251"/>
              <a:gd name="connsiteX8474" fmla="*/ 3952718 w 8079933"/>
              <a:gd name="connsiteY8474" fmla="*/ 2782770 h 4687251"/>
              <a:gd name="connsiteX8475" fmla="*/ 3950656 w 8079933"/>
              <a:gd name="connsiteY8475" fmla="*/ 2779847 h 4687251"/>
              <a:gd name="connsiteX8476" fmla="*/ 4485359 w 8079933"/>
              <a:gd name="connsiteY8476" fmla="*/ 2774305 h 4687251"/>
              <a:gd name="connsiteX8477" fmla="*/ 4484774 w 8079933"/>
              <a:gd name="connsiteY8477" fmla="*/ 2775083 h 4687251"/>
              <a:gd name="connsiteX8478" fmla="*/ 4489875 w 8079933"/>
              <a:gd name="connsiteY8478" fmla="*/ 2779306 h 4687251"/>
              <a:gd name="connsiteX8479" fmla="*/ 4490743 w 8079933"/>
              <a:gd name="connsiteY8479" fmla="*/ 2781796 h 4687251"/>
              <a:gd name="connsiteX8480" fmla="*/ 4497146 w 8079933"/>
              <a:gd name="connsiteY8480" fmla="*/ 2790241 h 4687251"/>
              <a:gd name="connsiteX8481" fmla="*/ 4501269 w 8079933"/>
              <a:gd name="connsiteY8481" fmla="*/ 2799552 h 4687251"/>
              <a:gd name="connsiteX8482" fmla="*/ 4503005 w 8079933"/>
              <a:gd name="connsiteY8482" fmla="*/ 2803125 h 4687251"/>
              <a:gd name="connsiteX8483" fmla="*/ 4503006 w 8079933"/>
              <a:gd name="connsiteY8483" fmla="*/ 2803124 h 4687251"/>
              <a:gd name="connsiteX8484" fmla="*/ 4501270 w 8079933"/>
              <a:gd name="connsiteY8484" fmla="*/ 2799551 h 4687251"/>
              <a:gd name="connsiteX8485" fmla="*/ 4497146 w 8079933"/>
              <a:gd name="connsiteY8485" fmla="*/ 2790240 h 4687251"/>
              <a:gd name="connsiteX8486" fmla="*/ 4490743 w 8079933"/>
              <a:gd name="connsiteY8486" fmla="*/ 2781795 h 4687251"/>
              <a:gd name="connsiteX8487" fmla="*/ 4489875 w 8079933"/>
              <a:gd name="connsiteY8487" fmla="*/ 2779305 h 4687251"/>
              <a:gd name="connsiteX8488" fmla="*/ 4484775 w 8079933"/>
              <a:gd name="connsiteY8488" fmla="*/ 2775082 h 4687251"/>
              <a:gd name="connsiteX8489" fmla="*/ 6814520 w 8079933"/>
              <a:gd name="connsiteY8489" fmla="*/ 2773676 h 4687251"/>
              <a:gd name="connsiteX8490" fmla="*/ 6815931 w 8079933"/>
              <a:gd name="connsiteY8490" fmla="*/ 2775841 h 4687251"/>
              <a:gd name="connsiteX8491" fmla="*/ 6817776 w 8079933"/>
              <a:gd name="connsiteY8491" fmla="*/ 2777357 h 4687251"/>
              <a:gd name="connsiteX8492" fmla="*/ 6817668 w 8079933"/>
              <a:gd name="connsiteY8492" fmla="*/ 2780063 h 4687251"/>
              <a:gd name="connsiteX8493" fmla="*/ 6814086 w 8079933"/>
              <a:gd name="connsiteY8493" fmla="*/ 2780280 h 4687251"/>
              <a:gd name="connsiteX8494" fmla="*/ 6810722 w 8079933"/>
              <a:gd name="connsiteY8494" fmla="*/ 2779955 h 4687251"/>
              <a:gd name="connsiteX8495" fmla="*/ 6811915 w 8079933"/>
              <a:gd name="connsiteY8495" fmla="*/ 2776924 h 4687251"/>
              <a:gd name="connsiteX8496" fmla="*/ 6813761 w 8079933"/>
              <a:gd name="connsiteY8496" fmla="*/ 2775625 h 4687251"/>
              <a:gd name="connsiteX8497" fmla="*/ 4770297 w 8079933"/>
              <a:gd name="connsiteY8497" fmla="*/ 2772545 h 4687251"/>
              <a:gd name="connsiteX8498" fmla="*/ 4769848 w 8079933"/>
              <a:gd name="connsiteY8498" fmla="*/ 2772592 h 4687251"/>
              <a:gd name="connsiteX8499" fmla="*/ 4768980 w 8079933"/>
              <a:gd name="connsiteY8499" fmla="*/ 2775840 h 4687251"/>
              <a:gd name="connsiteX8500" fmla="*/ 4763879 w 8079933"/>
              <a:gd name="connsiteY8500" fmla="*/ 2782012 h 4687251"/>
              <a:gd name="connsiteX8501" fmla="*/ 4762034 w 8079933"/>
              <a:gd name="connsiteY8501" fmla="*/ 2786992 h 4687251"/>
              <a:gd name="connsiteX8502" fmla="*/ 4763771 w 8079933"/>
              <a:gd name="connsiteY8502" fmla="*/ 2789698 h 4687251"/>
              <a:gd name="connsiteX8503" fmla="*/ 4763879 w 8079933"/>
              <a:gd name="connsiteY8503" fmla="*/ 2794896 h 4687251"/>
              <a:gd name="connsiteX8504" fmla="*/ 4759973 w 8079933"/>
              <a:gd name="connsiteY8504" fmla="*/ 2800851 h 4687251"/>
              <a:gd name="connsiteX8505" fmla="*/ 4758237 w 8079933"/>
              <a:gd name="connsiteY8505" fmla="*/ 2807563 h 4687251"/>
              <a:gd name="connsiteX8506" fmla="*/ 4758316 w 8079933"/>
              <a:gd name="connsiteY8506" fmla="*/ 2808920 h 4687251"/>
              <a:gd name="connsiteX8507" fmla="*/ 4758317 w 8079933"/>
              <a:gd name="connsiteY8507" fmla="*/ 2808921 h 4687251"/>
              <a:gd name="connsiteX8508" fmla="*/ 4758238 w 8079933"/>
              <a:gd name="connsiteY8508" fmla="*/ 2807564 h 4687251"/>
              <a:gd name="connsiteX8509" fmla="*/ 4759974 w 8079933"/>
              <a:gd name="connsiteY8509" fmla="*/ 2800850 h 4687251"/>
              <a:gd name="connsiteX8510" fmla="*/ 4763881 w 8079933"/>
              <a:gd name="connsiteY8510" fmla="*/ 2794896 h 4687251"/>
              <a:gd name="connsiteX8511" fmla="*/ 4763772 w 8079933"/>
              <a:gd name="connsiteY8511" fmla="*/ 2789699 h 4687251"/>
              <a:gd name="connsiteX8512" fmla="*/ 4762036 w 8079933"/>
              <a:gd name="connsiteY8512" fmla="*/ 2786992 h 4687251"/>
              <a:gd name="connsiteX8513" fmla="*/ 4763881 w 8079933"/>
              <a:gd name="connsiteY8513" fmla="*/ 2782012 h 4687251"/>
              <a:gd name="connsiteX8514" fmla="*/ 4768981 w 8079933"/>
              <a:gd name="connsiteY8514" fmla="*/ 2775840 h 4687251"/>
              <a:gd name="connsiteX8515" fmla="*/ 4769849 w 8079933"/>
              <a:gd name="connsiteY8515" fmla="*/ 2772592 h 4687251"/>
              <a:gd name="connsiteX8516" fmla="*/ 6882775 w 8079933"/>
              <a:gd name="connsiteY8516" fmla="*/ 2772268 h 4687251"/>
              <a:gd name="connsiteX8517" fmla="*/ 6884511 w 8079933"/>
              <a:gd name="connsiteY8517" fmla="*/ 2773351 h 4687251"/>
              <a:gd name="connsiteX8518" fmla="*/ 6884295 w 8079933"/>
              <a:gd name="connsiteY8518" fmla="*/ 2776382 h 4687251"/>
              <a:gd name="connsiteX8519" fmla="*/ 6880172 w 8079933"/>
              <a:gd name="connsiteY8519" fmla="*/ 2780713 h 4687251"/>
              <a:gd name="connsiteX8520" fmla="*/ 6877350 w 8079933"/>
              <a:gd name="connsiteY8520" fmla="*/ 2778331 h 4687251"/>
              <a:gd name="connsiteX8521" fmla="*/ 6878869 w 8079933"/>
              <a:gd name="connsiteY8521" fmla="*/ 2773567 h 4687251"/>
              <a:gd name="connsiteX8522" fmla="*/ 6161793 w 8079933"/>
              <a:gd name="connsiteY8522" fmla="*/ 2771510 h 4687251"/>
              <a:gd name="connsiteX8523" fmla="*/ 6163312 w 8079933"/>
              <a:gd name="connsiteY8523" fmla="*/ 2777032 h 4687251"/>
              <a:gd name="connsiteX8524" fmla="*/ 6160924 w 8079933"/>
              <a:gd name="connsiteY8524" fmla="*/ 2783204 h 4687251"/>
              <a:gd name="connsiteX8525" fmla="*/ 6156258 w 8079933"/>
              <a:gd name="connsiteY8525" fmla="*/ 2783204 h 4687251"/>
              <a:gd name="connsiteX8526" fmla="*/ 6156258 w 8079933"/>
              <a:gd name="connsiteY8526" fmla="*/ 2779089 h 4687251"/>
              <a:gd name="connsiteX8527" fmla="*/ 6156258 w 8079933"/>
              <a:gd name="connsiteY8527" fmla="*/ 2773892 h 4687251"/>
              <a:gd name="connsiteX8528" fmla="*/ 4294872 w 8079933"/>
              <a:gd name="connsiteY8528" fmla="*/ 2771510 h 4687251"/>
              <a:gd name="connsiteX8529" fmla="*/ 4294871 w 8079933"/>
              <a:gd name="connsiteY8529" fmla="*/ 2771510 h 4687251"/>
              <a:gd name="connsiteX8530" fmla="*/ 4295088 w 8079933"/>
              <a:gd name="connsiteY8530" fmla="*/ 2776057 h 4687251"/>
              <a:gd name="connsiteX8531" fmla="*/ 4299320 w 8079933"/>
              <a:gd name="connsiteY8531" fmla="*/ 2782229 h 4687251"/>
              <a:gd name="connsiteX8532" fmla="*/ 4303118 w 8079933"/>
              <a:gd name="connsiteY8532" fmla="*/ 2783961 h 4687251"/>
              <a:gd name="connsiteX8533" fmla="*/ 4303625 w 8079933"/>
              <a:gd name="connsiteY8533" fmla="*/ 2785827 h 4687251"/>
              <a:gd name="connsiteX8534" fmla="*/ 4303118 w 8079933"/>
              <a:gd name="connsiteY8534" fmla="*/ 2783960 h 4687251"/>
              <a:gd name="connsiteX8535" fmla="*/ 4299320 w 8079933"/>
              <a:gd name="connsiteY8535" fmla="*/ 2782228 h 4687251"/>
              <a:gd name="connsiteX8536" fmla="*/ 4295088 w 8079933"/>
              <a:gd name="connsiteY8536" fmla="*/ 2776057 h 4687251"/>
              <a:gd name="connsiteX8537" fmla="*/ 2504563 w 8079933"/>
              <a:gd name="connsiteY8537" fmla="*/ 2771510 h 4687251"/>
              <a:gd name="connsiteX8538" fmla="*/ 2504889 w 8079933"/>
              <a:gd name="connsiteY8538" fmla="*/ 2773350 h 4687251"/>
              <a:gd name="connsiteX8539" fmla="*/ 2499463 w 8079933"/>
              <a:gd name="connsiteY8539" fmla="*/ 2778872 h 4687251"/>
              <a:gd name="connsiteX8540" fmla="*/ 2501959 w 8079933"/>
              <a:gd name="connsiteY8540" fmla="*/ 2783095 h 4687251"/>
              <a:gd name="connsiteX8541" fmla="*/ 2502068 w 8079933"/>
              <a:gd name="connsiteY8541" fmla="*/ 2788292 h 4687251"/>
              <a:gd name="connsiteX8542" fmla="*/ 2497184 w 8079933"/>
              <a:gd name="connsiteY8542" fmla="*/ 2792406 h 4687251"/>
              <a:gd name="connsiteX8543" fmla="*/ 2485464 w 8079933"/>
              <a:gd name="connsiteY8543" fmla="*/ 2794355 h 4687251"/>
              <a:gd name="connsiteX8544" fmla="*/ 2479930 w 8079933"/>
              <a:gd name="connsiteY8544" fmla="*/ 2792189 h 4687251"/>
              <a:gd name="connsiteX8545" fmla="*/ 2484922 w 8079933"/>
              <a:gd name="connsiteY8545" fmla="*/ 2790240 h 4687251"/>
              <a:gd name="connsiteX8546" fmla="*/ 2489588 w 8079933"/>
              <a:gd name="connsiteY8546" fmla="*/ 2786234 h 4687251"/>
              <a:gd name="connsiteX8547" fmla="*/ 2489263 w 8079933"/>
              <a:gd name="connsiteY8547" fmla="*/ 2781904 h 4687251"/>
              <a:gd name="connsiteX8548" fmla="*/ 2484596 w 8079933"/>
              <a:gd name="connsiteY8548" fmla="*/ 2777898 h 4687251"/>
              <a:gd name="connsiteX8549" fmla="*/ 2486115 w 8079933"/>
              <a:gd name="connsiteY8549" fmla="*/ 2775083 h 4687251"/>
              <a:gd name="connsiteX8550" fmla="*/ 2491432 w 8079933"/>
              <a:gd name="connsiteY8550" fmla="*/ 2773459 h 4687251"/>
              <a:gd name="connsiteX8551" fmla="*/ 2495774 w 8079933"/>
              <a:gd name="connsiteY8551" fmla="*/ 2775299 h 4687251"/>
              <a:gd name="connsiteX8552" fmla="*/ 6923253 w 8079933"/>
              <a:gd name="connsiteY8552" fmla="*/ 2771185 h 4687251"/>
              <a:gd name="connsiteX8553" fmla="*/ 6923144 w 8079933"/>
              <a:gd name="connsiteY8553" fmla="*/ 2775840 h 4687251"/>
              <a:gd name="connsiteX8554" fmla="*/ 6921517 w 8079933"/>
              <a:gd name="connsiteY8554" fmla="*/ 2773350 h 4687251"/>
              <a:gd name="connsiteX8555" fmla="*/ 1948850 w 8079933"/>
              <a:gd name="connsiteY8555" fmla="*/ 2771044 h 4687251"/>
              <a:gd name="connsiteX8556" fmla="*/ 1948850 w 8079933"/>
              <a:gd name="connsiteY8556" fmla="*/ 2772592 h 4687251"/>
              <a:gd name="connsiteX8557" fmla="*/ 1948958 w 8079933"/>
              <a:gd name="connsiteY8557" fmla="*/ 2772687 h 4687251"/>
              <a:gd name="connsiteX8558" fmla="*/ 1948958 w 8079933"/>
              <a:gd name="connsiteY8558" fmla="*/ 2771077 h 4687251"/>
              <a:gd name="connsiteX8559" fmla="*/ 6956243 w 8079933"/>
              <a:gd name="connsiteY8559" fmla="*/ 2770968 h 4687251"/>
              <a:gd name="connsiteX8560" fmla="*/ 6959281 w 8079933"/>
              <a:gd name="connsiteY8560" fmla="*/ 2772700 h 4687251"/>
              <a:gd name="connsiteX8561" fmla="*/ 6958088 w 8079933"/>
              <a:gd name="connsiteY8561" fmla="*/ 2774757 h 4687251"/>
              <a:gd name="connsiteX8562" fmla="*/ 6956459 w 8079933"/>
              <a:gd name="connsiteY8562" fmla="*/ 2773567 h 4687251"/>
              <a:gd name="connsiteX8563" fmla="*/ 4482604 w 8079933"/>
              <a:gd name="connsiteY8563" fmla="*/ 2769344 h 4687251"/>
              <a:gd name="connsiteX8564" fmla="*/ 4476420 w 8079933"/>
              <a:gd name="connsiteY8564" fmla="*/ 2772051 h 4687251"/>
              <a:gd name="connsiteX8565" fmla="*/ 4473382 w 8079933"/>
              <a:gd name="connsiteY8565" fmla="*/ 2770210 h 4687251"/>
              <a:gd name="connsiteX8566" fmla="*/ 4467630 w 8079933"/>
              <a:gd name="connsiteY8566" fmla="*/ 2770210 h 4687251"/>
              <a:gd name="connsiteX8567" fmla="*/ 4463289 w 8079933"/>
              <a:gd name="connsiteY8567" fmla="*/ 2773242 h 4687251"/>
              <a:gd name="connsiteX8568" fmla="*/ 4457321 w 8079933"/>
              <a:gd name="connsiteY8568" fmla="*/ 2776707 h 4687251"/>
              <a:gd name="connsiteX8569" fmla="*/ 4457321 w 8079933"/>
              <a:gd name="connsiteY8569" fmla="*/ 2776708 h 4687251"/>
              <a:gd name="connsiteX8570" fmla="*/ 4463288 w 8079933"/>
              <a:gd name="connsiteY8570" fmla="*/ 2773243 h 4687251"/>
              <a:gd name="connsiteX8571" fmla="*/ 4467629 w 8079933"/>
              <a:gd name="connsiteY8571" fmla="*/ 2770211 h 4687251"/>
              <a:gd name="connsiteX8572" fmla="*/ 4473380 w 8079933"/>
              <a:gd name="connsiteY8572" fmla="*/ 2770211 h 4687251"/>
              <a:gd name="connsiteX8573" fmla="*/ 4476419 w 8079933"/>
              <a:gd name="connsiteY8573" fmla="*/ 2772051 h 4687251"/>
              <a:gd name="connsiteX8574" fmla="*/ 4482604 w 8079933"/>
              <a:gd name="connsiteY8574" fmla="*/ 2769345 h 4687251"/>
              <a:gd name="connsiteX8575" fmla="*/ 3942843 w 8079933"/>
              <a:gd name="connsiteY8575" fmla="*/ 2769344 h 4687251"/>
              <a:gd name="connsiteX8576" fmla="*/ 3942843 w 8079933"/>
              <a:gd name="connsiteY8576" fmla="*/ 2769345 h 4687251"/>
              <a:gd name="connsiteX8577" fmla="*/ 3944905 w 8079933"/>
              <a:gd name="connsiteY8577" fmla="*/ 2771510 h 4687251"/>
              <a:gd name="connsiteX8578" fmla="*/ 3944905 w 8079933"/>
              <a:gd name="connsiteY8578" fmla="*/ 2771509 h 4687251"/>
              <a:gd name="connsiteX8579" fmla="*/ 4957365 w 8079933"/>
              <a:gd name="connsiteY8579" fmla="*/ 2769020 h 4687251"/>
              <a:gd name="connsiteX8580" fmla="*/ 4951722 w 8079933"/>
              <a:gd name="connsiteY8580" fmla="*/ 2772701 h 4687251"/>
              <a:gd name="connsiteX8581" fmla="*/ 4951724 w 8079933"/>
              <a:gd name="connsiteY8581" fmla="*/ 2772701 h 4687251"/>
              <a:gd name="connsiteX8582" fmla="*/ 4957365 w 8079933"/>
              <a:gd name="connsiteY8582" fmla="*/ 2769020 h 4687251"/>
              <a:gd name="connsiteX8583" fmla="*/ 4483473 w 8079933"/>
              <a:gd name="connsiteY8583" fmla="*/ 2767287 h 4687251"/>
              <a:gd name="connsiteX8584" fmla="*/ 4483473 w 8079933"/>
              <a:gd name="connsiteY8584" fmla="*/ 2767288 h 4687251"/>
              <a:gd name="connsiteX8585" fmla="*/ 4486077 w 8079933"/>
              <a:gd name="connsiteY8585" fmla="*/ 2770103 h 4687251"/>
              <a:gd name="connsiteX8586" fmla="*/ 4486077 w 8079933"/>
              <a:gd name="connsiteY8586" fmla="*/ 2773350 h 4687251"/>
              <a:gd name="connsiteX8587" fmla="*/ 4486077 w 8079933"/>
              <a:gd name="connsiteY8587" fmla="*/ 2773350 h 4687251"/>
              <a:gd name="connsiteX8588" fmla="*/ 4486077 w 8079933"/>
              <a:gd name="connsiteY8588" fmla="*/ 2770102 h 4687251"/>
              <a:gd name="connsiteX8589" fmla="*/ 3753589 w 8079933"/>
              <a:gd name="connsiteY8589" fmla="*/ 2767070 h 4687251"/>
              <a:gd name="connsiteX8590" fmla="*/ 3750659 w 8079933"/>
              <a:gd name="connsiteY8590" fmla="*/ 2767287 h 4687251"/>
              <a:gd name="connsiteX8591" fmla="*/ 3748163 w 8079933"/>
              <a:gd name="connsiteY8591" fmla="*/ 2770535 h 4687251"/>
              <a:gd name="connsiteX8592" fmla="*/ 3744040 w 8079933"/>
              <a:gd name="connsiteY8592" fmla="*/ 2770968 h 4687251"/>
              <a:gd name="connsiteX8593" fmla="*/ 3748164 w 8079933"/>
              <a:gd name="connsiteY8593" fmla="*/ 2770535 h 4687251"/>
              <a:gd name="connsiteX8594" fmla="*/ 3750660 w 8079933"/>
              <a:gd name="connsiteY8594" fmla="*/ 2767288 h 4687251"/>
              <a:gd name="connsiteX8595" fmla="*/ 3753589 w 8079933"/>
              <a:gd name="connsiteY8595" fmla="*/ 2767071 h 4687251"/>
              <a:gd name="connsiteX8596" fmla="*/ 6478334 w 8079933"/>
              <a:gd name="connsiteY8596" fmla="*/ 2766962 h 4687251"/>
              <a:gd name="connsiteX8597" fmla="*/ 6467157 w 8079933"/>
              <a:gd name="connsiteY8597" fmla="*/ 2769669 h 4687251"/>
              <a:gd name="connsiteX8598" fmla="*/ 6467158 w 8079933"/>
              <a:gd name="connsiteY8598" fmla="*/ 2769669 h 4687251"/>
              <a:gd name="connsiteX8599" fmla="*/ 6895038 w 8079933"/>
              <a:gd name="connsiteY8599" fmla="*/ 2766529 h 4687251"/>
              <a:gd name="connsiteX8600" fmla="*/ 6898076 w 8079933"/>
              <a:gd name="connsiteY8600" fmla="*/ 2768045 h 4687251"/>
              <a:gd name="connsiteX8601" fmla="*/ 6900355 w 8079933"/>
              <a:gd name="connsiteY8601" fmla="*/ 2766637 h 4687251"/>
              <a:gd name="connsiteX8602" fmla="*/ 6904044 w 8079933"/>
              <a:gd name="connsiteY8602" fmla="*/ 2769452 h 4687251"/>
              <a:gd name="connsiteX8603" fmla="*/ 6903828 w 8079933"/>
              <a:gd name="connsiteY8603" fmla="*/ 2773350 h 4687251"/>
              <a:gd name="connsiteX8604" fmla="*/ 6899487 w 8079933"/>
              <a:gd name="connsiteY8604" fmla="*/ 2777898 h 4687251"/>
              <a:gd name="connsiteX8605" fmla="*/ 6896557 w 8079933"/>
              <a:gd name="connsiteY8605" fmla="*/ 2791431 h 4687251"/>
              <a:gd name="connsiteX8606" fmla="*/ 6897209 w 8079933"/>
              <a:gd name="connsiteY8606" fmla="*/ 2800743 h 4687251"/>
              <a:gd name="connsiteX8607" fmla="*/ 6900355 w 8079933"/>
              <a:gd name="connsiteY8607" fmla="*/ 2806806 h 4687251"/>
              <a:gd name="connsiteX8608" fmla="*/ 6900247 w 8079933"/>
              <a:gd name="connsiteY8608" fmla="*/ 2811028 h 4687251"/>
              <a:gd name="connsiteX8609" fmla="*/ 6895906 w 8079933"/>
              <a:gd name="connsiteY8609" fmla="*/ 2813627 h 4687251"/>
              <a:gd name="connsiteX8610" fmla="*/ 6892217 w 8079933"/>
              <a:gd name="connsiteY8610" fmla="*/ 2811678 h 4687251"/>
              <a:gd name="connsiteX8611" fmla="*/ 6892108 w 8079933"/>
              <a:gd name="connsiteY8611" fmla="*/ 2806265 h 4687251"/>
              <a:gd name="connsiteX8612" fmla="*/ 6887225 w 8079933"/>
              <a:gd name="connsiteY8612" fmla="*/ 2805831 h 4687251"/>
              <a:gd name="connsiteX8613" fmla="*/ 6881799 w 8079933"/>
              <a:gd name="connsiteY8613" fmla="*/ 2802475 h 4687251"/>
              <a:gd name="connsiteX8614" fmla="*/ 6878435 w 8079933"/>
              <a:gd name="connsiteY8614" fmla="*/ 2801933 h 4687251"/>
              <a:gd name="connsiteX8615" fmla="*/ 6877133 w 8079933"/>
              <a:gd name="connsiteY8615" fmla="*/ 2794571 h 4687251"/>
              <a:gd name="connsiteX8616" fmla="*/ 6879195 w 8079933"/>
              <a:gd name="connsiteY8616" fmla="*/ 2791647 h 4687251"/>
              <a:gd name="connsiteX8617" fmla="*/ 6886791 w 8079933"/>
              <a:gd name="connsiteY8617" fmla="*/ 2789699 h 4687251"/>
              <a:gd name="connsiteX8618" fmla="*/ 6889287 w 8079933"/>
              <a:gd name="connsiteY8618" fmla="*/ 2784177 h 4687251"/>
              <a:gd name="connsiteX8619" fmla="*/ 6888527 w 8079933"/>
              <a:gd name="connsiteY8619" fmla="*/ 2777898 h 4687251"/>
              <a:gd name="connsiteX8620" fmla="*/ 6891240 w 8079933"/>
              <a:gd name="connsiteY8620" fmla="*/ 2773567 h 4687251"/>
              <a:gd name="connsiteX8621" fmla="*/ 6891240 w 8079933"/>
              <a:gd name="connsiteY8621" fmla="*/ 2769127 h 4687251"/>
              <a:gd name="connsiteX8622" fmla="*/ 6959390 w 8079933"/>
              <a:gd name="connsiteY8622" fmla="*/ 2766097 h 4687251"/>
              <a:gd name="connsiteX8623" fmla="*/ 6960692 w 8079933"/>
              <a:gd name="connsiteY8623" fmla="*/ 2767613 h 4687251"/>
              <a:gd name="connsiteX8624" fmla="*/ 6958521 w 8079933"/>
              <a:gd name="connsiteY8624" fmla="*/ 2768263 h 4687251"/>
              <a:gd name="connsiteX8625" fmla="*/ 6957545 w 8079933"/>
              <a:gd name="connsiteY8625" fmla="*/ 2766313 h 4687251"/>
              <a:gd name="connsiteX8626" fmla="*/ 2511834 w 8079933"/>
              <a:gd name="connsiteY8626" fmla="*/ 2765447 h 4687251"/>
              <a:gd name="connsiteX8627" fmla="*/ 2510966 w 8079933"/>
              <a:gd name="connsiteY8627" fmla="*/ 2769344 h 4687251"/>
              <a:gd name="connsiteX8628" fmla="*/ 2506951 w 8079933"/>
              <a:gd name="connsiteY8628" fmla="*/ 2767612 h 4687251"/>
              <a:gd name="connsiteX8629" fmla="*/ 2434678 w 8079933"/>
              <a:gd name="connsiteY8629" fmla="*/ 2764364 h 4687251"/>
              <a:gd name="connsiteX8630" fmla="*/ 2436740 w 8079933"/>
              <a:gd name="connsiteY8630" fmla="*/ 2767504 h 4687251"/>
              <a:gd name="connsiteX8631" fmla="*/ 2432942 w 8079933"/>
              <a:gd name="connsiteY8631" fmla="*/ 2772159 h 4687251"/>
              <a:gd name="connsiteX8632" fmla="*/ 2428059 w 8079933"/>
              <a:gd name="connsiteY8632" fmla="*/ 2770860 h 4687251"/>
              <a:gd name="connsiteX8633" fmla="*/ 2422958 w 8079933"/>
              <a:gd name="connsiteY8633" fmla="*/ 2771943 h 4687251"/>
              <a:gd name="connsiteX8634" fmla="*/ 2420463 w 8079933"/>
              <a:gd name="connsiteY8634" fmla="*/ 2770102 h 4687251"/>
              <a:gd name="connsiteX8635" fmla="*/ 2425346 w 8079933"/>
              <a:gd name="connsiteY8635" fmla="*/ 2766529 h 4687251"/>
              <a:gd name="connsiteX8636" fmla="*/ 2427625 w 8079933"/>
              <a:gd name="connsiteY8636" fmla="*/ 2769669 h 4687251"/>
              <a:gd name="connsiteX8637" fmla="*/ 2235480 w 8079933"/>
              <a:gd name="connsiteY8637" fmla="*/ 2763586 h 4687251"/>
              <a:gd name="connsiteX8638" fmla="*/ 2233381 w 8079933"/>
              <a:gd name="connsiteY8638" fmla="*/ 2766204 h 4687251"/>
              <a:gd name="connsiteX8639" fmla="*/ 2229148 w 8079933"/>
              <a:gd name="connsiteY8639" fmla="*/ 2767287 h 4687251"/>
              <a:gd name="connsiteX8640" fmla="*/ 2225350 w 8079933"/>
              <a:gd name="connsiteY8640" fmla="*/ 2772809 h 4687251"/>
              <a:gd name="connsiteX8641" fmla="*/ 2223506 w 8079933"/>
              <a:gd name="connsiteY8641" fmla="*/ 2774433 h 4687251"/>
              <a:gd name="connsiteX8642" fmla="*/ 2225351 w 8079933"/>
              <a:gd name="connsiteY8642" fmla="*/ 2772809 h 4687251"/>
              <a:gd name="connsiteX8643" fmla="*/ 2229149 w 8079933"/>
              <a:gd name="connsiteY8643" fmla="*/ 2767287 h 4687251"/>
              <a:gd name="connsiteX8644" fmla="*/ 2233381 w 8079933"/>
              <a:gd name="connsiteY8644" fmla="*/ 2766204 h 4687251"/>
              <a:gd name="connsiteX8645" fmla="*/ 3942626 w 8079933"/>
              <a:gd name="connsiteY8645" fmla="*/ 2762523 h 4687251"/>
              <a:gd name="connsiteX8646" fmla="*/ 3967476 w 8079933"/>
              <a:gd name="connsiteY8646" fmla="*/ 2768802 h 4687251"/>
              <a:gd name="connsiteX8647" fmla="*/ 3966174 w 8079933"/>
              <a:gd name="connsiteY8647" fmla="*/ 2771834 h 4687251"/>
              <a:gd name="connsiteX8648" fmla="*/ 3966174 w 8079933"/>
              <a:gd name="connsiteY8648" fmla="*/ 2771835 h 4687251"/>
              <a:gd name="connsiteX8649" fmla="*/ 3968453 w 8079933"/>
              <a:gd name="connsiteY8649" fmla="*/ 2766638 h 4687251"/>
              <a:gd name="connsiteX8650" fmla="*/ 3974638 w 8079933"/>
              <a:gd name="connsiteY8650" fmla="*/ 2765231 h 4687251"/>
              <a:gd name="connsiteX8651" fmla="*/ 3974638 w 8079933"/>
              <a:gd name="connsiteY8651" fmla="*/ 2765229 h 4687251"/>
              <a:gd name="connsiteX8652" fmla="*/ 3968453 w 8079933"/>
              <a:gd name="connsiteY8652" fmla="*/ 2766637 h 4687251"/>
              <a:gd name="connsiteX8653" fmla="*/ 3968435 w 8079933"/>
              <a:gd name="connsiteY8653" fmla="*/ 2766678 h 4687251"/>
              <a:gd name="connsiteX8654" fmla="*/ 3966174 w 8079933"/>
              <a:gd name="connsiteY8654" fmla="*/ 2771834 h 4687251"/>
              <a:gd name="connsiteX8655" fmla="*/ 3967476 w 8079933"/>
              <a:gd name="connsiteY8655" fmla="*/ 2768803 h 4687251"/>
              <a:gd name="connsiteX8656" fmla="*/ 3967476 w 8079933"/>
              <a:gd name="connsiteY8656" fmla="*/ 2768802 h 4687251"/>
              <a:gd name="connsiteX8657" fmla="*/ 3942627 w 8079933"/>
              <a:gd name="connsiteY8657" fmla="*/ 2762523 h 4687251"/>
              <a:gd name="connsiteX8658" fmla="*/ 3939045 w 8079933"/>
              <a:gd name="connsiteY8658" fmla="*/ 2762414 h 4687251"/>
              <a:gd name="connsiteX8659" fmla="*/ 3933511 w 8079933"/>
              <a:gd name="connsiteY8659" fmla="*/ 2765013 h 4687251"/>
              <a:gd name="connsiteX8660" fmla="*/ 3928085 w 8079933"/>
              <a:gd name="connsiteY8660" fmla="*/ 2765229 h 4687251"/>
              <a:gd name="connsiteX8661" fmla="*/ 3919078 w 8079933"/>
              <a:gd name="connsiteY8661" fmla="*/ 2766637 h 4687251"/>
              <a:gd name="connsiteX8662" fmla="*/ 3906707 w 8079933"/>
              <a:gd name="connsiteY8662" fmla="*/ 2766637 h 4687251"/>
              <a:gd name="connsiteX8663" fmla="*/ 3904537 w 8079933"/>
              <a:gd name="connsiteY8663" fmla="*/ 2767503 h 4687251"/>
              <a:gd name="connsiteX8664" fmla="*/ 3886957 w 8079933"/>
              <a:gd name="connsiteY8664" fmla="*/ 2767503 h 4687251"/>
              <a:gd name="connsiteX8665" fmla="*/ 3878601 w 8079933"/>
              <a:gd name="connsiteY8665" fmla="*/ 2767936 h 4687251"/>
              <a:gd name="connsiteX8666" fmla="*/ 3877950 w 8079933"/>
              <a:gd name="connsiteY8666" fmla="*/ 2773242 h 4687251"/>
              <a:gd name="connsiteX8667" fmla="*/ 3877950 w 8079933"/>
              <a:gd name="connsiteY8667" fmla="*/ 2773242 h 4687251"/>
              <a:gd name="connsiteX8668" fmla="*/ 3878601 w 8079933"/>
              <a:gd name="connsiteY8668" fmla="*/ 2767938 h 4687251"/>
              <a:gd name="connsiteX8669" fmla="*/ 3886957 w 8079933"/>
              <a:gd name="connsiteY8669" fmla="*/ 2767505 h 4687251"/>
              <a:gd name="connsiteX8670" fmla="*/ 3904537 w 8079933"/>
              <a:gd name="connsiteY8670" fmla="*/ 2767505 h 4687251"/>
              <a:gd name="connsiteX8671" fmla="*/ 3906707 w 8079933"/>
              <a:gd name="connsiteY8671" fmla="*/ 2766638 h 4687251"/>
              <a:gd name="connsiteX8672" fmla="*/ 3919078 w 8079933"/>
              <a:gd name="connsiteY8672" fmla="*/ 2766638 h 4687251"/>
              <a:gd name="connsiteX8673" fmla="*/ 3928085 w 8079933"/>
              <a:gd name="connsiteY8673" fmla="*/ 2765231 h 4687251"/>
              <a:gd name="connsiteX8674" fmla="*/ 3933511 w 8079933"/>
              <a:gd name="connsiteY8674" fmla="*/ 2765014 h 4687251"/>
              <a:gd name="connsiteX8675" fmla="*/ 3939045 w 8079933"/>
              <a:gd name="connsiteY8675" fmla="*/ 2762416 h 4687251"/>
              <a:gd name="connsiteX8676" fmla="*/ 3940890 w 8079933"/>
              <a:gd name="connsiteY8676" fmla="*/ 2762957 h 4687251"/>
              <a:gd name="connsiteX8677" fmla="*/ 3940890 w 8079933"/>
              <a:gd name="connsiteY8677" fmla="*/ 2762956 h 4687251"/>
              <a:gd name="connsiteX8678" fmla="*/ 3820978 w 8079933"/>
              <a:gd name="connsiteY8678" fmla="*/ 2761766 h 4687251"/>
              <a:gd name="connsiteX8679" fmla="*/ 3820761 w 8079933"/>
              <a:gd name="connsiteY8679" fmla="*/ 2766638 h 4687251"/>
              <a:gd name="connsiteX8680" fmla="*/ 3822822 w 8079933"/>
              <a:gd name="connsiteY8680" fmla="*/ 2770211 h 4687251"/>
              <a:gd name="connsiteX8681" fmla="*/ 3821412 w 8079933"/>
              <a:gd name="connsiteY8681" fmla="*/ 2775949 h 4687251"/>
              <a:gd name="connsiteX8682" fmla="*/ 3818482 w 8079933"/>
              <a:gd name="connsiteY8682" fmla="*/ 2778006 h 4687251"/>
              <a:gd name="connsiteX8683" fmla="*/ 3814141 w 8079933"/>
              <a:gd name="connsiteY8683" fmla="*/ 2784719 h 4687251"/>
              <a:gd name="connsiteX8684" fmla="*/ 3813506 w 8079933"/>
              <a:gd name="connsiteY8684" fmla="*/ 2784529 h 4687251"/>
              <a:gd name="connsiteX8685" fmla="*/ 3814143 w 8079933"/>
              <a:gd name="connsiteY8685" fmla="*/ 2784719 h 4687251"/>
              <a:gd name="connsiteX8686" fmla="*/ 3818483 w 8079933"/>
              <a:gd name="connsiteY8686" fmla="*/ 2778006 h 4687251"/>
              <a:gd name="connsiteX8687" fmla="*/ 3818518 w 8079933"/>
              <a:gd name="connsiteY8687" fmla="*/ 2777982 h 4687251"/>
              <a:gd name="connsiteX8688" fmla="*/ 3821414 w 8079933"/>
              <a:gd name="connsiteY8688" fmla="*/ 2775949 h 4687251"/>
              <a:gd name="connsiteX8689" fmla="*/ 3822166 w 8079933"/>
              <a:gd name="connsiteY8689" fmla="*/ 2775520 h 4687251"/>
              <a:gd name="connsiteX8690" fmla="*/ 3822172 w 8079933"/>
              <a:gd name="connsiteY8690" fmla="*/ 2775516 h 4687251"/>
              <a:gd name="connsiteX8691" fmla="*/ 3822173 w 8079933"/>
              <a:gd name="connsiteY8691" fmla="*/ 2775516 h 4687251"/>
              <a:gd name="connsiteX8692" fmla="*/ 3829009 w 8079933"/>
              <a:gd name="connsiteY8692" fmla="*/ 2781037 h 4687251"/>
              <a:gd name="connsiteX8693" fmla="*/ 3838016 w 8079933"/>
              <a:gd name="connsiteY8693" fmla="*/ 2785801 h 4687251"/>
              <a:gd name="connsiteX8694" fmla="*/ 3841380 w 8079933"/>
              <a:gd name="connsiteY8694" fmla="*/ 2785801 h 4687251"/>
              <a:gd name="connsiteX8695" fmla="*/ 3844202 w 8079933"/>
              <a:gd name="connsiteY8695" fmla="*/ 2787642 h 4687251"/>
              <a:gd name="connsiteX8696" fmla="*/ 3847891 w 8079933"/>
              <a:gd name="connsiteY8696" fmla="*/ 2787642 h 4687251"/>
              <a:gd name="connsiteX8697" fmla="*/ 3852883 w 8079933"/>
              <a:gd name="connsiteY8697" fmla="*/ 2790024 h 4687251"/>
              <a:gd name="connsiteX8698" fmla="*/ 3855488 w 8079933"/>
              <a:gd name="connsiteY8698" fmla="*/ 2793597 h 4687251"/>
              <a:gd name="connsiteX8699" fmla="*/ 3862975 w 8079933"/>
              <a:gd name="connsiteY8699" fmla="*/ 2797495 h 4687251"/>
              <a:gd name="connsiteX8700" fmla="*/ 3868726 w 8079933"/>
              <a:gd name="connsiteY8700" fmla="*/ 2796412 h 4687251"/>
              <a:gd name="connsiteX8701" fmla="*/ 3873284 w 8079933"/>
              <a:gd name="connsiteY8701" fmla="*/ 2793272 h 4687251"/>
              <a:gd name="connsiteX8702" fmla="*/ 3876431 w 8079933"/>
              <a:gd name="connsiteY8702" fmla="*/ 2793381 h 4687251"/>
              <a:gd name="connsiteX8703" fmla="*/ 3879904 w 8079933"/>
              <a:gd name="connsiteY8703" fmla="*/ 2795762 h 4687251"/>
              <a:gd name="connsiteX8704" fmla="*/ 3885004 w 8079933"/>
              <a:gd name="connsiteY8704" fmla="*/ 2796628 h 4687251"/>
              <a:gd name="connsiteX8705" fmla="*/ 3885004 w 8079933"/>
              <a:gd name="connsiteY8705" fmla="*/ 2796628 h 4687251"/>
              <a:gd name="connsiteX8706" fmla="*/ 3879904 w 8079933"/>
              <a:gd name="connsiteY8706" fmla="*/ 2795762 h 4687251"/>
              <a:gd name="connsiteX8707" fmla="*/ 3876431 w 8079933"/>
              <a:gd name="connsiteY8707" fmla="*/ 2793379 h 4687251"/>
              <a:gd name="connsiteX8708" fmla="*/ 3873284 w 8079933"/>
              <a:gd name="connsiteY8708" fmla="*/ 2793271 h 4687251"/>
              <a:gd name="connsiteX8709" fmla="*/ 3868726 w 8079933"/>
              <a:gd name="connsiteY8709" fmla="*/ 2796411 h 4687251"/>
              <a:gd name="connsiteX8710" fmla="*/ 3862975 w 8079933"/>
              <a:gd name="connsiteY8710" fmla="*/ 2797494 h 4687251"/>
              <a:gd name="connsiteX8711" fmla="*/ 3855488 w 8079933"/>
              <a:gd name="connsiteY8711" fmla="*/ 2793596 h 4687251"/>
              <a:gd name="connsiteX8712" fmla="*/ 3852883 w 8079933"/>
              <a:gd name="connsiteY8712" fmla="*/ 2790024 h 4687251"/>
              <a:gd name="connsiteX8713" fmla="*/ 3847891 w 8079933"/>
              <a:gd name="connsiteY8713" fmla="*/ 2787642 h 4687251"/>
              <a:gd name="connsiteX8714" fmla="*/ 3844202 w 8079933"/>
              <a:gd name="connsiteY8714" fmla="*/ 2787642 h 4687251"/>
              <a:gd name="connsiteX8715" fmla="*/ 3841380 w 8079933"/>
              <a:gd name="connsiteY8715" fmla="*/ 2785800 h 4687251"/>
              <a:gd name="connsiteX8716" fmla="*/ 3838016 w 8079933"/>
              <a:gd name="connsiteY8716" fmla="*/ 2785800 h 4687251"/>
              <a:gd name="connsiteX8717" fmla="*/ 3829009 w 8079933"/>
              <a:gd name="connsiteY8717" fmla="*/ 2781037 h 4687251"/>
              <a:gd name="connsiteX8718" fmla="*/ 3822173 w 8079933"/>
              <a:gd name="connsiteY8718" fmla="*/ 2775516 h 4687251"/>
              <a:gd name="connsiteX8719" fmla="*/ 3822172 w 8079933"/>
              <a:gd name="connsiteY8719" fmla="*/ 2775515 h 4687251"/>
              <a:gd name="connsiteX8720" fmla="*/ 3821413 w 8079933"/>
              <a:gd name="connsiteY8720" fmla="*/ 2775948 h 4687251"/>
              <a:gd name="connsiteX8721" fmla="*/ 3822824 w 8079933"/>
              <a:gd name="connsiteY8721" fmla="*/ 2770210 h 4687251"/>
              <a:gd name="connsiteX8722" fmla="*/ 3820762 w 8079933"/>
              <a:gd name="connsiteY8722" fmla="*/ 2766637 h 4687251"/>
              <a:gd name="connsiteX8723" fmla="*/ 3820979 w 8079933"/>
              <a:gd name="connsiteY8723" fmla="*/ 2761766 h 4687251"/>
              <a:gd name="connsiteX8724" fmla="*/ 3601617 w 8079933"/>
              <a:gd name="connsiteY8724" fmla="*/ 2761055 h 4687251"/>
              <a:gd name="connsiteX8725" fmla="*/ 3597435 w 8079933"/>
              <a:gd name="connsiteY8725" fmla="*/ 2761982 h 4687251"/>
              <a:gd name="connsiteX8726" fmla="*/ 3595261 w 8079933"/>
              <a:gd name="connsiteY8726" fmla="*/ 2766404 h 4687251"/>
              <a:gd name="connsiteX8727" fmla="*/ 3597436 w 8079933"/>
              <a:gd name="connsiteY8727" fmla="*/ 2761982 h 4687251"/>
              <a:gd name="connsiteX8728" fmla="*/ 6916200 w 8079933"/>
              <a:gd name="connsiteY8728" fmla="*/ 2760358 h 4687251"/>
              <a:gd name="connsiteX8729" fmla="*/ 6916417 w 8079933"/>
              <a:gd name="connsiteY8729" fmla="*/ 2769452 h 4687251"/>
              <a:gd name="connsiteX8730" fmla="*/ 6914681 w 8079933"/>
              <a:gd name="connsiteY8730" fmla="*/ 2772376 h 4687251"/>
              <a:gd name="connsiteX8731" fmla="*/ 6915332 w 8079933"/>
              <a:gd name="connsiteY8731" fmla="*/ 2776599 h 4687251"/>
              <a:gd name="connsiteX8732" fmla="*/ 6914138 w 8079933"/>
              <a:gd name="connsiteY8732" fmla="*/ 2781254 h 4687251"/>
              <a:gd name="connsiteX8733" fmla="*/ 6907626 w 8079933"/>
              <a:gd name="connsiteY8733" fmla="*/ 2788725 h 4687251"/>
              <a:gd name="connsiteX8734" fmla="*/ 6905890 w 8079933"/>
              <a:gd name="connsiteY8734" fmla="*/ 2798794 h 4687251"/>
              <a:gd name="connsiteX8735" fmla="*/ 6902309 w 8079933"/>
              <a:gd name="connsiteY8735" fmla="*/ 2802909 h 4687251"/>
              <a:gd name="connsiteX8736" fmla="*/ 6901224 w 8079933"/>
              <a:gd name="connsiteY8736" fmla="*/ 2799011 h 4687251"/>
              <a:gd name="connsiteX8737" fmla="*/ 6901440 w 8079933"/>
              <a:gd name="connsiteY8737" fmla="*/ 2794031 h 4687251"/>
              <a:gd name="connsiteX8738" fmla="*/ 6905022 w 8079933"/>
              <a:gd name="connsiteY8738" fmla="*/ 2789591 h 4687251"/>
              <a:gd name="connsiteX8739" fmla="*/ 6907084 w 8079933"/>
              <a:gd name="connsiteY8739" fmla="*/ 2782662 h 4687251"/>
              <a:gd name="connsiteX8740" fmla="*/ 6907626 w 8079933"/>
              <a:gd name="connsiteY8740" fmla="*/ 2777140 h 4687251"/>
              <a:gd name="connsiteX8741" fmla="*/ 6912076 w 8079933"/>
              <a:gd name="connsiteY8741" fmla="*/ 2769994 h 4687251"/>
              <a:gd name="connsiteX8742" fmla="*/ 6913704 w 8079933"/>
              <a:gd name="connsiteY8742" fmla="*/ 2761332 h 4687251"/>
              <a:gd name="connsiteX8743" fmla="*/ 4297809 w 8079933"/>
              <a:gd name="connsiteY8743" fmla="*/ 2760254 h 4687251"/>
              <a:gd name="connsiteX8744" fmla="*/ 4299646 w 8079933"/>
              <a:gd name="connsiteY8744" fmla="*/ 2762307 h 4687251"/>
              <a:gd name="connsiteX8745" fmla="*/ 4299646 w 8079933"/>
              <a:gd name="connsiteY8745" fmla="*/ 2762307 h 4687251"/>
              <a:gd name="connsiteX8746" fmla="*/ 4485341 w 8079933"/>
              <a:gd name="connsiteY8746" fmla="*/ 2758302 h 4687251"/>
              <a:gd name="connsiteX8747" fmla="*/ 4486077 w 8079933"/>
              <a:gd name="connsiteY8747" fmla="*/ 2759491 h 4687251"/>
              <a:gd name="connsiteX8748" fmla="*/ 4486077 w 8079933"/>
              <a:gd name="connsiteY8748" fmla="*/ 2759491 h 4687251"/>
              <a:gd name="connsiteX8749" fmla="*/ 6925858 w 8079933"/>
              <a:gd name="connsiteY8749" fmla="*/ 2756135 h 4687251"/>
              <a:gd name="connsiteX8750" fmla="*/ 6930199 w 8079933"/>
              <a:gd name="connsiteY8750" fmla="*/ 2758084 h 4687251"/>
              <a:gd name="connsiteX8751" fmla="*/ 6935082 w 8079933"/>
              <a:gd name="connsiteY8751" fmla="*/ 2756459 h 4687251"/>
              <a:gd name="connsiteX8752" fmla="*/ 6935949 w 8079933"/>
              <a:gd name="connsiteY8752" fmla="*/ 2758408 h 4687251"/>
              <a:gd name="connsiteX8753" fmla="*/ 6938555 w 8079933"/>
              <a:gd name="connsiteY8753" fmla="*/ 2764363 h 4687251"/>
              <a:gd name="connsiteX8754" fmla="*/ 6939314 w 8079933"/>
              <a:gd name="connsiteY8754" fmla="*/ 2771618 h 4687251"/>
              <a:gd name="connsiteX8755" fmla="*/ 6942570 w 8079933"/>
              <a:gd name="connsiteY8755" fmla="*/ 2773783 h 4687251"/>
              <a:gd name="connsiteX8756" fmla="*/ 6946802 w 8079933"/>
              <a:gd name="connsiteY8756" fmla="*/ 2781037 h 4687251"/>
              <a:gd name="connsiteX8757" fmla="*/ 6946367 w 8079933"/>
              <a:gd name="connsiteY8757" fmla="*/ 2784718 h 4687251"/>
              <a:gd name="connsiteX8758" fmla="*/ 6942244 w 8079933"/>
              <a:gd name="connsiteY8758" fmla="*/ 2785801 h 4687251"/>
              <a:gd name="connsiteX8759" fmla="*/ 6939640 w 8079933"/>
              <a:gd name="connsiteY8759" fmla="*/ 2782336 h 4687251"/>
              <a:gd name="connsiteX8760" fmla="*/ 6939206 w 8079933"/>
              <a:gd name="connsiteY8760" fmla="*/ 2788941 h 4687251"/>
              <a:gd name="connsiteX8761" fmla="*/ 6935299 w 8079933"/>
              <a:gd name="connsiteY8761" fmla="*/ 2786234 h 4687251"/>
              <a:gd name="connsiteX8762" fmla="*/ 6934540 w 8079933"/>
              <a:gd name="connsiteY8762" fmla="*/ 2779196 h 4687251"/>
              <a:gd name="connsiteX8763" fmla="*/ 6932260 w 8079933"/>
              <a:gd name="connsiteY8763" fmla="*/ 2774974 h 4687251"/>
              <a:gd name="connsiteX8764" fmla="*/ 6932586 w 8079933"/>
              <a:gd name="connsiteY8764" fmla="*/ 2768694 h 4687251"/>
              <a:gd name="connsiteX8765" fmla="*/ 6929873 w 8079933"/>
              <a:gd name="connsiteY8765" fmla="*/ 2766204 h 4687251"/>
              <a:gd name="connsiteX8766" fmla="*/ 6927486 w 8079933"/>
              <a:gd name="connsiteY8766" fmla="*/ 2768586 h 4687251"/>
              <a:gd name="connsiteX8767" fmla="*/ 6924556 w 8079933"/>
              <a:gd name="connsiteY8767" fmla="*/ 2765663 h 4687251"/>
              <a:gd name="connsiteX8768" fmla="*/ 6924556 w 8079933"/>
              <a:gd name="connsiteY8768" fmla="*/ 2760790 h 4687251"/>
              <a:gd name="connsiteX8769" fmla="*/ 6922711 w 8079933"/>
              <a:gd name="connsiteY8769" fmla="*/ 2756243 h 4687251"/>
              <a:gd name="connsiteX8770" fmla="*/ 6802691 w 8079933"/>
              <a:gd name="connsiteY8770" fmla="*/ 2755703 h 4687251"/>
              <a:gd name="connsiteX8771" fmla="*/ 6803233 w 8079933"/>
              <a:gd name="connsiteY8771" fmla="*/ 2762632 h 4687251"/>
              <a:gd name="connsiteX8772" fmla="*/ 6802908 w 8079933"/>
              <a:gd name="connsiteY8772" fmla="*/ 2767071 h 4687251"/>
              <a:gd name="connsiteX8773" fmla="*/ 6806272 w 8079933"/>
              <a:gd name="connsiteY8773" fmla="*/ 2771294 h 4687251"/>
              <a:gd name="connsiteX8774" fmla="*/ 6808876 w 8079933"/>
              <a:gd name="connsiteY8774" fmla="*/ 2777140 h 4687251"/>
              <a:gd name="connsiteX8775" fmla="*/ 6806815 w 8079933"/>
              <a:gd name="connsiteY8775" fmla="*/ 2781146 h 4687251"/>
              <a:gd name="connsiteX8776" fmla="*/ 6803016 w 8079933"/>
              <a:gd name="connsiteY8776" fmla="*/ 2781796 h 4687251"/>
              <a:gd name="connsiteX8777" fmla="*/ 6799544 w 8079933"/>
              <a:gd name="connsiteY8777" fmla="*/ 2785260 h 4687251"/>
              <a:gd name="connsiteX8778" fmla="*/ 6797807 w 8079933"/>
              <a:gd name="connsiteY8778" fmla="*/ 2790024 h 4687251"/>
              <a:gd name="connsiteX8779" fmla="*/ 6790646 w 8079933"/>
              <a:gd name="connsiteY8779" fmla="*/ 2790566 h 4687251"/>
              <a:gd name="connsiteX8780" fmla="*/ 6787825 w 8079933"/>
              <a:gd name="connsiteY8780" fmla="*/ 2793814 h 4687251"/>
              <a:gd name="connsiteX8781" fmla="*/ 6787825 w 8079933"/>
              <a:gd name="connsiteY8781" fmla="*/ 2801068 h 4687251"/>
              <a:gd name="connsiteX8782" fmla="*/ 6784569 w 8079933"/>
              <a:gd name="connsiteY8782" fmla="*/ 2804965 h 4687251"/>
              <a:gd name="connsiteX8783" fmla="*/ 6784243 w 8079933"/>
              <a:gd name="connsiteY8783" fmla="*/ 2807455 h 4687251"/>
              <a:gd name="connsiteX8784" fmla="*/ 6780445 w 8079933"/>
              <a:gd name="connsiteY8784" fmla="*/ 2810704 h 4687251"/>
              <a:gd name="connsiteX8785" fmla="*/ 6774911 w 8079933"/>
              <a:gd name="connsiteY8785" fmla="*/ 2812544 h 4687251"/>
              <a:gd name="connsiteX8786" fmla="*/ 6769593 w 8079933"/>
              <a:gd name="connsiteY8786" fmla="*/ 2820665 h 4687251"/>
              <a:gd name="connsiteX8787" fmla="*/ 6764493 w 8079933"/>
              <a:gd name="connsiteY8787" fmla="*/ 2822614 h 4687251"/>
              <a:gd name="connsiteX8788" fmla="*/ 6761347 w 8079933"/>
              <a:gd name="connsiteY8788" fmla="*/ 2825861 h 4687251"/>
              <a:gd name="connsiteX8789" fmla="*/ 6758199 w 8079933"/>
              <a:gd name="connsiteY8789" fmla="*/ 2826403 h 4687251"/>
              <a:gd name="connsiteX8790" fmla="*/ 6753642 w 8079933"/>
              <a:gd name="connsiteY8790" fmla="*/ 2830084 h 4687251"/>
              <a:gd name="connsiteX8791" fmla="*/ 6753099 w 8079933"/>
              <a:gd name="connsiteY8791" fmla="*/ 2828460 h 4687251"/>
              <a:gd name="connsiteX8792" fmla="*/ 6754292 w 8079933"/>
              <a:gd name="connsiteY8792" fmla="*/ 2825970 h 4687251"/>
              <a:gd name="connsiteX8793" fmla="*/ 6761129 w 8079933"/>
              <a:gd name="connsiteY8793" fmla="*/ 2817092 h 4687251"/>
              <a:gd name="connsiteX8794" fmla="*/ 6763951 w 8079933"/>
              <a:gd name="connsiteY8794" fmla="*/ 2816225 h 4687251"/>
              <a:gd name="connsiteX8795" fmla="*/ 6767423 w 8079933"/>
              <a:gd name="connsiteY8795" fmla="*/ 2809621 h 4687251"/>
              <a:gd name="connsiteX8796" fmla="*/ 6771112 w 8079933"/>
              <a:gd name="connsiteY8796" fmla="*/ 2809188 h 4687251"/>
              <a:gd name="connsiteX8797" fmla="*/ 6778057 w 8079933"/>
              <a:gd name="connsiteY8797" fmla="*/ 2802475 h 4687251"/>
              <a:gd name="connsiteX8798" fmla="*/ 6782832 w 8079933"/>
              <a:gd name="connsiteY8798" fmla="*/ 2792298 h 4687251"/>
              <a:gd name="connsiteX8799" fmla="*/ 6787716 w 8079933"/>
              <a:gd name="connsiteY8799" fmla="*/ 2789591 h 4687251"/>
              <a:gd name="connsiteX8800" fmla="*/ 6788042 w 8079933"/>
              <a:gd name="connsiteY8800" fmla="*/ 2785910 h 4687251"/>
              <a:gd name="connsiteX8801" fmla="*/ 6792382 w 8079933"/>
              <a:gd name="connsiteY8801" fmla="*/ 2780929 h 4687251"/>
              <a:gd name="connsiteX8802" fmla="*/ 6795421 w 8079933"/>
              <a:gd name="connsiteY8802" fmla="*/ 2781255 h 4687251"/>
              <a:gd name="connsiteX8803" fmla="*/ 6799436 w 8079933"/>
              <a:gd name="connsiteY8803" fmla="*/ 2776599 h 4687251"/>
              <a:gd name="connsiteX8804" fmla="*/ 6799544 w 8079933"/>
              <a:gd name="connsiteY8804" fmla="*/ 2773243 h 4687251"/>
              <a:gd name="connsiteX8805" fmla="*/ 6796614 w 8079933"/>
              <a:gd name="connsiteY8805" fmla="*/ 2768587 h 4687251"/>
              <a:gd name="connsiteX8806" fmla="*/ 6800303 w 8079933"/>
              <a:gd name="connsiteY8806" fmla="*/ 2770860 h 4687251"/>
              <a:gd name="connsiteX8807" fmla="*/ 6799544 w 8079933"/>
              <a:gd name="connsiteY8807" fmla="*/ 2763931 h 4687251"/>
              <a:gd name="connsiteX8808" fmla="*/ 6800629 w 8079933"/>
              <a:gd name="connsiteY8808" fmla="*/ 2756569 h 4687251"/>
              <a:gd name="connsiteX8809" fmla="*/ 3618483 w 8079933"/>
              <a:gd name="connsiteY8809" fmla="*/ 2754419 h 4687251"/>
              <a:gd name="connsiteX8810" fmla="*/ 3616968 w 8079933"/>
              <a:gd name="connsiteY8810" fmla="*/ 2755594 h 4687251"/>
              <a:gd name="connsiteX8811" fmla="*/ 3608721 w 8079933"/>
              <a:gd name="connsiteY8811" fmla="*/ 2757218 h 4687251"/>
              <a:gd name="connsiteX8812" fmla="*/ 3606141 w 8079933"/>
              <a:gd name="connsiteY8812" fmla="*/ 2758702 h 4687251"/>
              <a:gd name="connsiteX8813" fmla="*/ 3608721 w 8079933"/>
              <a:gd name="connsiteY8813" fmla="*/ 2757218 h 4687251"/>
              <a:gd name="connsiteX8814" fmla="*/ 3616968 w 8079933"/>
              <a:gd name="connsiteY8814" fmla="*/ 2755594 h 4687251"/>
              <a:gd name="connsiteX8815" fmla="*/ 6150615 w 8079933"/>
              <a:gd name="connsiteY8815" fmla="*/ 2754294 h 4687251"/>
              <a:gd name="connsiteX8816" fmla="*/ 6152568 w 8079933"/>
              <a:gd name="connsiteY8816" fmla="*/ 2757542 h 4687251"/>
              <a:gd name="connsiteX8817" fmla="*/ 6147142 w 8079933"/>
              <a:gd name="connsiteY8817" fmla="*/ 2756135 h 4687251"/>
              <a:gd name="connsiteX8818" fmla="*/ 4285567 w 8079933"/>
              <a:gd name="connsiteY8818" fmla="*/ 2751773 h 4687251"/>
              <a:gd name="connsiteX8819" fmla="*/ 4286623 w 8079933"/>
              <a:gd name="connsiteY8819" fmla="*/ 2755594 h 4687251"/>
              <a:gd name="connsiteX8820" fmla="*/ 4286190 w 8079933"/>
              <a:gd name="connsiteY8820" fmla="*/ 2758625 h 4687251"/>
              <a:gd name="connsiteX8821" fmla="*/ 4280655 w 8079933"/>
              <a:gd name="connsiteY8821" fmla="*/ 2761116 h 4687251"/>
              <a:gd name="connsiteX8822" fmla="*/ 4277400 w 8079933"/>
              <a:gd name="connsiteY8822" fmla="*/ 2764689 h 4687251"/>
              <a:gd name="connsiteX8823" fmla="*/ 4274687 w 8079933"/>
              <a:gd name="connsiteY8823" fmla="*/ 2764580 h 4687251"/>
              <a:gd name="connsiteX8824" fmla="*/ 4270129 w 8079933"/>
              <a:gd name="connsiteY8824" fmla="*/ 2768154 h 4687251"/>
              <a:gd name="connsiteX8825" fmla="*/ 4269369 w 8079933"/>
              <a:gd name="connsiteY8825" fmla="*/ 2770211 h 4687251"/>
              <a:gd name="connsiteX8826" fmla="*/ 4266873 w 8079933"/>
              <a:gd name="connsiteY8826" fmla="*/ 2772376 h 4687251"/>
              <a:gd name="connsiteX8827" fmla="*/ 4262967 w 8079933"/>
              <a:gd name="connsiteY8827" fmla="*/ 2780387 h 4687251"/>
              <a:gd name="connsiteX8828" fmla="*/ 4260254 w 8079933"/>
              <a:gd name="connsiteY8828" fmla="*/ 2784935 h 4687251"/>
              <a:gd name="connsiteX8829" fmla="*/ 4260905 w 8079933"/>
              <a:gd name="connsiteY8829" fmla="*/ 2788617 h 4687251"/>
              <a:gd name="connsiteX8830" fmla="*/ 4260255 w 8079933"/>
              <a:gd name="connsiteY8830" fmla="*/ 2784936 h 4687251"/>
              <a:gd name="connsiteX8831" fmla="*/ 4262968 w 8079933"/>
              <a:gd name="connsiteY8831" fmla="*/ 2780388 h 4687251"/>
              <a:gd name="connsiteX8832" fmla="*/ 4266875 w 8079933"/>
              <a:gd name="connsiteY8832" fmla="*/ 2772376 h 4687251"/>
              <a:gd name="connsiteX8833" fmla="*/ 4269370 w 8079933"/>
              <a:gd name="connsiteY8833" fmla="*/ 2770211 h 4687251"/>
              <a:gd name="connsiteX8834" fmla="*/ 4270129 w 8079933"/>
              <a:gd name="connsiteY8834" fmla="*/ 2768154 h 4687251"/>
              <a:gd name="connsiteX8835" fmla="*/ 4274687 w 8079933"/>
              <a:gd name="connsiteY8835" fmla="*/ 2764581 h 4687251"/>
              <a:gd name="connsiteX8836" fmla="*/ 4277401 w 8079933"/>
              <a:gd name="connsiteY8836" fmla="*/ 2764689 h 4687251"/>
              <a:gd name="connsiteX8837" fmla="*/ 4280655 w 8079933"/>
              <a:gd name="connsiteY8837" fmla="*/ 2761116 h 4687251"/>
              <a:gd name="connsiteX8838" fmla="*/ 4286190 w 8079933"/>
              <a:gd name="connsiteY8838" fmla="*/ 2758626 h 4687251"/>
              <a:gd name="connsiteX8839" fmla="*/ 4286624 w 8079933"/>
              <a:gd name="connsiteY8839" fmla="*/ 2755594 h 4687251"/>
              <a:gd name="connsiteX8840" fmla="*/ 3823257 w 8079933"/>
              <a:gd name="connsiteY8840" fmla="*/ 2749639 h 4687251"/>
              <a:gd name="connsiteX8841" fmla="*/ 3823257 w 8079933"/>
              <a:gd name="connsiteY8841" fmla="*/ 2749639 h 4687251"/>
              <a:gd name="connsiteX8842" fmla="*/ 3824885 w 8079933"/>
              <a:gd name="connsiteY8842" fmla="*/ 2753970 h 4687251"/>
              <a:gd name="connsiteX8843" fmla="*/ 3825535 w 8079933"/>
              <a:gd name="connsiteY8843" fmla="*/ 2760899 h 4687251"/>
              <a:gd name="connsiteX8844" fmla="*/ 3825537 w 8079933"/>
              <a:gd name="connsiteY8844" fmla="*/ 2760898 h 4687251"/>
              <a:gd name="connsiteX8845" fmla="*/ 3824885 w 8079933"/>
              <a:gd name="connsiteY8845" fmla="*/ 2753969 h 4687251"/>
              <a:gd name="connsiteX8846" fmla="*/ 4032349 w 8079933"/>
              <a:gd name="connsiteY8846" fmla="*/ 2749590 h 4687251"/>
              <a:gd name="connsiteX8847" fmla="*/ 4032152 w 8079933"/>
              <a:gd name="connsiteY8847" fmla="*/ 2749748 h 4687251"/>
              <a:gd name="connsiteX8848" fmla="*/ 4031067 w 8079933"/>
              <a:gd name="connsiteY8848" fmla="*/ 2754728 h 4687251"/>
              <a:gd name="connsiteX8849" fmla="*/ 4032152 w 8079933"/>
              <a:gd name="connsiteY8849" fmla="*/ 2758517 h 4687251"/>
              <a:gd name="connsiteX8850" fmla="*/ 4038663 w 8079933"/>
              <a:gd name="connsiteY8850" fmla="*/ 2763715 h 4687251"/>
              <a:gd name="connsiteX8851" fmla="*/ 4038771 w 8079933"/>
              <a:gd name="connsiteY8851" fmla="*/ 2769561 h 4687251"/>
              <a:gd name="connsiteX8852" fmla="*/ 4041159 w 8079933"/>
              <a:gd name="connsiteY8852" fmla="*/ 2778115 h 4687251"/>
              <a:gd name="connsiteX8853" fmla="*/ 4040291 w 8079933"/>
              <a:gd name="connsiteY8853" fmla="*/ 2780821 h 4687251"/>
              <a:gd name="connsiteX8854" fmla="*/ 4039694 w 8079933"/>
              <a:gd name="connsiteY8854" fmla="*/ 2780858 h 4687251"/>
              <a:gd name="connsiteX8855" fmla="*/ 4040292 w 8079933"/>
              <a:gd name="connsiteY8855" fmla="*/ 2780821 h 4687251"/>
              <a:gd name="connsiteX8856" fmla="*/ 4041160 w 8079933"/>
              <a:gd name="connsiteY8856" fmla="*/ 2778114 h 4687251"/>
              <a:gd name="connsiteX8857" fmla="*/ 4038772 w 8079933"/>
              <a:gd name="connsiteY8857" fmla="*/ 2769561 h 4687251"/>
              <a:gd name="connsiteX8858" fmla="*/ 4038664 w 8079933"/>
              <a:gd name="connsiteY8858" fmla="*/ 2763714 h 4687251"/>
              <a:gd name="connsiteX8859" fmla="*/ 4032153 w 8079933"/>
              <a:gd name="connsiteY8859" fmla="*/ 2758517 h 4687251"/>
              <a:gd name="connsiteX8860" fmla="*/ 4031068 w 8079933"/>
              <a:gd name="connsiteY8860" fmla="*/ 2754728 h 4687251"/>
              <a:gd name="connsiteX8861" fmla="*/ 4032153 w 8079933"/>
              <a:gd name="connsiteY8861" fmla="*/ 2749748 h 4687251"/>
              <a:gd name="connsiteX8862" fmla="*/ 6929113 w 8079933"/>
              <a:gd name="connsiteY8862" fmla="*/ 2748990 h 4687251"/>
              <a:gd name="connsiteX8863" fmla="*/ 6928136 w 8079933"/>
              <a:gd name="connsiteY8863" fmla="*/ 2753537 h 4687251"/>
              <a:gd name="connsiteX8864" fmla="*/ 6924446 w 8079933"/>
              <a:gd name="connsiteY8864" fmla="*/ 2753970 h 4687251"/>
              <a:gd name="connsiteX8865" fmla="*/ 6920974 w 8079933"/>
              <a:gd name="connsiteY8865" fmla="*/ 2751696 h 4687251"/>
              <a:gd name="connsiteX8866" fmla="*/ 6923470 w 8079933"/>
              <a:gd name="connsiteY8866" fmla="*/ 2749856 h 4687251"/>
              <a:gd name="connsiteX8867" fmla="*/ 3996234 w 8079933"/>
              <a:gd name="connsiteY8867" fmla="*/ 2747798 h 4687251"/>
              <a:gd name="connsiteX8868" fmla="*/ 3992110 w 8079933"/>
              <a:gd name="connsiteY8868" fmla="*/ 2748014 h 4687251"/>
              <a:gd name="connsiteX8869" fmla="*/ 3984514 w 8079933"/>
              <a:gd name="connsiteY8869" fmla="*/ 2751912 h 4687251"/>
              <a:gd name="connsiteX8870" fmla="*/ 3982018 w 8079933"/>
              <a:gd name="connsiteY8870" fmla="*/ 2750721 h 4687251"/>
              <a:gd name="connsiteX8871" fmla="*/ 3977135 w 8079933"/>
              <a:gd name="connsiteY8871" fmla="*/ 2753104 h 4687251"/>
              <a:gd name="connsiteX8872" fmla="*/ 3982018 w 8079933"/>
              <a:gd name="connsiteY8872" fmla="*/ 2750722 h 4687251"/>
              <a:gd name="connsiteX8873" fmla="*/ 3984513 w 8079933"/>
              <a:gd name="connsiteY8873" fmla="*/ 2751913 h 4687251"/>
              <a:gd name="connsiteX8874" fmla="*/ 3992109 w 8079933"/>
              <a:gd name="connsiteY8874" fmla="*/ 2748015 h 4687251"/>
              <a:gd name="connsiteX8875" fmla="*/ 3996233 w 8079933"/>
              <a:gd name="connsiteY8875" fmla="*/ 2747799 h 4687251"/>
              <a:gd name="connsiteX8876" fmla="*/ 2255234 w 8079933"/>
              <a:gd name="connsiteY8876" fmla="*/ 2747484 h 4687251"/>
              <a:gd name="connsiteX8877" fmla="*/ 2254976 w 8079933"/>
              <a:gd name="connsiteY8877" fmla="*/ 2747690 h 4687251"/>
              <a:gd name="connsiteX8878" fmla="*/ 2242713 w 8079933"/>
              <a:gd name="connsiteY8878" fmla="*/ 2752454 h 4687251"/>
              <a:gd name="connsiteX8879" fmla="*/ 2236735 w 8079933"/>
              <a:gd name="connsiteY8879" fmla="*/ 2761672 h 4687251"/>
              <a:gd name="connsiteX8880" fmla="*/ 2242713 w 8079933"/>
              <a:gd name="connsiteY8880" fmla="*/ 2752454 h 4687251"/>
              <a:gd name="connsiteX8881" fmla="*/ 2254975 w 8079933"/>
              <a:gd name="connsiteY8881" fmla="*/ 2747690 h 4687251"/>
              <a:gd name="connsiteX8882" fmla="*/ 6484519 w 8079933"/>
              <a:gd name="connsiteY8882" fmla="*/ 2746283 h 4687251"/>
              <a:gd name="connsiteX8883" fmla="*/ 6479745 w 8079933"/>
              <a:gd name="connsiteY8883" fmla="*/ 2749747 h 4687251"/>
              <a:gd name="connsiteX8884" fmla="*/ 6480722 w 8079933"/>
              <a:gd name="connsiteY8884" fmla="*/ 2758192 h 4687251"/>
              <a:gd name="connsiteX8885" fmla="*/ 6486039 w 8079933"/>
              <a:gd name="connsiteY8885" fmla="*/ 2759708 h 4687251"/>
              <a:gd name="connsiteX8886" fmla="*/ 6490379 w 8079933"/>
              <a:gd name="connsiteY8886" fmla="*/ 2764147 h 4687251"/>
              <a:gd name="connsiteX8887" fmla="*/ 6489511 w 8079933"/>
              <a:gd name="connsiteY8887" fmla="*/ 2767395 h 4687251"/>
              <a:gd name="connsiteX8888" fmla="*/ 6491790 w 8079933"/>
              <a:gd name="connsiteY8888" fmla="*/ 2772376 h 4687251"/>
              <a:gd name="connsiteX8889" fmla="*/ 6484195 w 8079933"/>
              <a:gd name="connsiteY8889" fmla="*/ 2772917 h 4687251"/>
              <a:gd name="connsiteX8890" fmla="*/ 6484195 w 8079933"/>
              <a:gd name="connsiteY8890" fmla="*/ 2772917 h 4687251"/>
              <a:gd name="connsiteX8891" fmla="*/ 6491791 w 8079933"/>
              <a:gd name="connsiteY8891" fmla="*/ 2772376 h 4687251"/>
              <a:gd name="connsiteX8892" fmla="*/ 6489512 w 8079933"/>
              <a:gd name="connsiteY8892" fmla="*/ 2767396 h 4687251"/>
              <a:gd name="connsiteX8893" fmla="*/ 6490380 w 8079933"/>
              <a:gd name="connsiteY8893" fmla="*/ 2764147 h 4687251"/>
              <a:gd name="connsiteX8894" fmla="*/ 6486040 w 8079933"/>
              <a:gd name="connsiteY8894" fmla="*/ 2759708 h 4687251"/>
              <a:gd name="connsiteX8895" fmla="*/ 6480723 w 8079933"/>
              <a:gd name="connsiteY8895" fmla="*/ 2758192 h 4687251"/>
              <a:gd name="connsiteX8896" fmla="*/ 6479745 w 8079933"/>
              <a:gd name="connsiteY8896" fmla="*/ 2749747 h 4687251"/>
              <a:gd name="connsiteX8897" fmla="*/ 6484520 w 8079933"/>
              <a:gd name="connsiteY8897" fmla="*/ 2746283 h 4687251"/>
              <a:gd name="connsiteX8898" fmla="*/ 4295400 w 8079933"/>
              <a:gd name="connsiteY8898" fmla="*/ 2744454 h 4687251"/>
              <a:gd name="connsiteX8899" fmla="*/ 4295522 w 8079933"/>
              <a:gd name="connsiteY8899" fmla="*/ 2744984 h 4687251"/>
              <a:gd name="connsiteX8900" fmla="*/ 4296177 w 8079933"/>
              <a:gd name="connsiteY8900" fmla="*/ 2746491 h 4687251"/>
              <a:gd name="connsiteX8901" fmla="*/ 4295522 w 8079933"/>
              <a:gd name="connsiteY8901" fmla="*/ 2744983 h 4687251"/>
              <a:gd name="connsiteX8902" fmla="*/ 4283680 w 8079933"/>
              <a:gd name="connsiteY8902" fmla="*/ 2744278 h 4687251"/>
              <a:gd name="connsiteX8903" fmla="*/ 4284670 w 8079933"/>
              <a:gd name="connsiteY8903" fmla="*/ 2746716 h 4687251"/>
              <a:gd name="connsiteX8904" fmla="*/ 4284852 w 8079933"/>
              <a:gd name="connsiteY8904" fmla="*/ 2748881 h 4687251"/>
              <a:gd name="connsiteX8905" fmla="*/ 4284671 w 8079933"/>
              <a:gd name="connsiteY8905" fmla="*/ 2746716 h 4687251"/>
              <a:gd name="connsiteX8906" fmla="*/ 4472929 w 8079933"/>
              <a:gd name="connsiteY8906" fmla="*/ 2741501 h 4687251"/>
              <a:gd name="connsiteX8907" fmla="*/ 4473598 w 8079933"/>
              <a:gd name="connsiteY8907" fmla="*/ 2742710 h 4687251"/>
              <a:gd name="connsiteX8908" fmla="*/ 4473923 w 8079933"/>
              <a:gd name="connsiteY8908" fmla="*/ 2748881 h 4687251"/>
              <a:gd name="connsiteX8909" fmla="*/ 4474328 w 8079933"/>
              <a:gd name="connsiteY8909" fmla="*/ 2751053 h 4687251"/>
              <a:gd name="connsiteX8910" fmla="*/ 4473923 w 8079933"/>
              <a:gd name="connsiteY8910" fmla="*/ 2748880 h 4687251"/>
              <a:gd name="connsiteX8911" fmla="*/ 4473598 w 8079933"/>
              <a:gd name="connsiteY8911" fmla="*/ 2742709 h 4687251"/>
              <a:gd name="connsiteX8912" fmla="*/ 6808878 w 8079933"/>
              <a:gd name="connsiteY8912" fmla="*/ 2740978 h 4687251"/>
              <a:gd name="connsiteX8913" fmla="*/ 6813761 w 8079933"/>
              <a:gd name="connsiteY8913" fmla="*/ 2742277 h 4687251"/>
              <a:gd name="connsiteX8914" fmla="*/ 6815280 w 8079933"/>
              <a:gd name="connsiteY8914" fmla="*/ 2745850 h 4687251"/>
              <a:gd name="connsiteX8915" fmla="*/ 6813544 w 8079933"/>
              <a:gd name="connsiteY8915" fmla="*/ 2747041 h 4687251"/>
              <a:gd name="connsiteX8916" fmla="*/ 6811916 w 8079933"/>
              <a:gd name="connsiteY8916" fmla="*/ 2749206 h 4687251"/>
              <a:gd name="connsiteX8917" fmla="*/ 6809746 w 8079933"/>
              <a:gd name="connsiteY8917" fmla="*/ 2749206 h 4687251"/>
              <a:gd name="connsiteX8918" fmla="*/ 6808335 w 8079933"/>
              <a:gd name="connsiteY8918" fmla="*/ 2743793 h 4687251"/>
              <a:gd name="connsiteX8919" fmla="*/ 5191219 w 8079933"/>
              <a:gd name="connsiteY8919" fmla="*/ 2740870 h 4687251"/>
              <a:gd name="connsiteX8920" fmla="*/ 5197513 w 8079933"/>
              <a:gd name="connsiteY8920" fmla="*/ 2742710 h 4687251"/>
              <a:gd name="connsiteX8921" fmla="*/ 5192413 w 8079933"/>
              <a:gd name="connsiteY8921" fmla="*/ 2743468 h 4687251"/>
              <a:gd name="connsiteX8922" fmla="*/ 5186227 w 8079933"/>
              <a:gd name="connsiteY8922" fmla="*/ 2742494 h 4687251"/>
              <a:gd name="connsiteX8923" fmla="*/ 6866607 w 8079933"/>
              <a:gd name="connsiteY8923" fmla="*/ 2740762 h 4687251"/>
              <a:gd name="connsiteX8924" fmla="*/ 6871165 w 8079933"/>
              <a:gd name="connsiteY8924" fmla="*/ 2745309 h 4687251"/>
              <a:gd name="connsiteX8925" fmla="*/ 6874637 w 8079933"/>
              <a:gd name="connsiteY8925" fmla="*/ 2746825 h 4687251"/>
              <a:gd name="connsiteX8926" fmla="*/ 6873769 w 8079933"/>
              <a:gd name="connsiteY8926" fmla="*/ 2748666 h 4687251"/>
              <a:gd name="connsiteX8927" fmla="*/ 6876373 w 8079933"/>
              <a:gd name="connsiteY8927" fmla="*/ 2748990 h 4687251"/>
              <a:gd name="connsiteX8928" fmla="*/ 6881366 w 8079933"/>
              <a:gd name="connsiteY8928" fmla="*/ 2748557 h 4687251"/>
              <a:gd name="connsiteX8929" fmla="*/ 6884729 w 8079933"/>
              <a:gd name="connsiteY8929" fmla="*/ 2749532 h 4687251"/>
              <a:gd name="connsiteX8930" fmla="*/ 6887551 w 8079933"/>
              <a:gd name="connsiteY8930" fmla="*/ 2753971 h 4687251"/>
              <a:gd name="connsiteX8931" fmla="*/ 6890698 w 8079933"/>
              <a:gd name="connsiteY8931" fmla="*/ 2750073 h 4687251"/>
              <a:gd name="connsiteX8932" fmla="*/ 6893519 w 8079933"/>
              <a:gd name="connsiteY8932" fmla="*/ 2748233 h 4687251"/>
              <a:gd name="connsiteX8933" fmla="*/ 6895690 w 8079933"/>
              <a:gd name="connsiteY8933" fmla="*/ 2751697 h 4687251"/>
              <a:gd name="connsiteX8934" fmla="*/ 6894930 w 8079933"/>
              <a:gd name="connsiteY8934" fmla="*/ 2755703 h 4687251"/>
              <a:gd name="connsiteX8935" fmla="*/ 6892325 w 8079933"/>
              <a:gd name="connsiteY8935" fmla="*/ 2757760 h 4687251"/>
              <a:gd name="connsiteX8936" fmla="*/ 6890046 w 8079933"/>
              <a:gd name="connsiteY8936" fmla="*/ 2762849 h 4687251"/>
              <a:gd name="connsiteX8937" fmla="*/ 6884296 w 8079933"/>
              <a:gd name="connsiteY8937" fmla="*/ 2767505 h 4687251"/>
              <a:gd name="connsiteX8938" fmla="*/ 6882450 w 8079933"/>
              <a:gd name="connsiteY8938" fmla="*/ 2770753 h 4687251"/>
              <a:gd name="connsiteX8939" fmla="*/ 6879846 w 8079933"/>
              <a:gd name="connsiteY8939" fmla="*/ 2770753 h 4687251"/>
              <a:gd name="connsiteX8940" fmla="*/ 6879304 w 8079933"/>
              <a:gd name="connsiteY8940" fmla="*/ 2772269 h 4687251"/>
              <a:gd name="connsiteX8941" fmla="*/ 6876157 w 8079933"/>
              <a:gd name="connsiteY8941" fmla="*/ 2772161 h 4687251"/>
              <a:gd name="connsiteX8942" fmla="*/ 6870839 w 8079933"/>
              <a:gd name="connsiteY8942" fmla="*/ 2775517 h 4687251"/>
              <a:gd name="connsiteX8943" fmla="*/ 6869320 w 8079933"/>
              <a:gd name="connsiteY8943" fmla="*/ 2777466 h 4687251"/>
              <a:gd name="connsiteX8944" fmla="*/ 6867150 w 8079933"/>
              <a:gd name="connsiteY8944" fmla="*/ 2778332 h 4687251"/>
              <a:gd name="connsiteX8945" fmla="*/ 6865305 w 8079933"/>
              <a:gd name="connsiteY8945" fmla="*/ 2770320 h 4687251"/>
              <a:gd name="connsiteX8946" fmla="*/ 6867041 w 8079933"/>
              <a:gd name="connsiteY8946" fmla="*/ 2764582 h 4687251"/>
              <a:gd name="connsiteX8947" fmla="*/ 6866824 w 8079933"/>
              <a:gd name="connsiteY8947" fmla="*/ 2756461 h 4687251"/>
              <a:gd name="connsiteX8948" fmla="*/ 6867800 w 8079933"/>
              <a:gd name="connsiteY8948" fmla="*/ 2752022 h 4687251"/>
              <a:gd name="connsiteX8949" fmla="*/ 6867909 w 8079933"/>
              <a:gd name="connsiteY8949" fmla="*/ 2747366 h 4687251"/>
              <a:gd name="connsiteX8950" fmla="*/ 6865630 w 8079933"/>
              <a:gd name="connsiteY8950" fmla="*/ 2746825 h 4687251"/>
              <a:gd name="connsiteX8951" fmla="*/ 6860747 w 8079933"/>
              <a:gd name="connsiteY8951" fmla="*/ 2744984 h 4687251"/>
              <a:gd name="connsiteX8952" fmla="*/ 6861615 w 8079933"/>
              <a:gd name="connsiteY8952" fmla="*/ 2742061 h 4687251"/>
              <a:gd name="connsiteX8953" fmla="*/ 6323999 w 8079933"/>
              <a:gd name="connsiteY8953" fmla="*/ 2740336 h 4687251"/>
              <a:gd name="connsiteX8954" fmla="*/ 6325001 w 8079933"/>
              <a:gd name="connsiteY8954" fmla="*/ 2742060 h 4687251"/>
              <a:gd name="connsiteX8955" fmla="*/ 6325001 w 8079933"/>
              <a:gd name="connsiteY8955" fmla="*/ 2742060 h 4687251"/>
              <a:gd name="connsiteX8956" fmla="*/ 3691409 w 8079933"/>
              <a:gd name="connsiteY8956" fmla="*/ 2740219 h 4687251"/>
              <a:gd name="connsiteX8957" fmla="*/ 3686092 w 8079933"/>
              <a:gd name="connsiteY8957" fmla="*/ 2742493 h 4687251"/>
              <a:gd name="connsiteX8958" fmla="*/ 3686093 w 8079933"/>
              <a:gd name="connsiteY8958" fmla="*/ 2742493 h 4687251"/>
              <a:gd name="connsiteX8959" fmla="*/ 3691410 w 8079933"/>
              <a:gd name="connsiteY8959" fmla="*/ 2740220 h 4687251"/>
              <a:gd name="connsiteX8960" fmla="*/ 2490782 w 8079933"/>
              <a:gd name="connsiteY8960" fmla="*/ 2738813 h 4687251"/>
              <a:gd name="connsiteX8961" fmla="*/ 2492736 w 8079933"/>
              <a:gd name="connsiteY8961" fmla="*/ 2741736 h 4687251"/>
              <a:gd name="connsiteX8962" fmla="*/ 2489805 w 8079933"/>
              <a:gd name="connsiteY8962" fmla="*/ 2745742 h 4687251"/>
              <a:gd name="connsiteX8963" fmla="*/ 2484054 w 8079933"/>
              <a:gd name="connsiteY8963" fmla="*/ 2745525 h 4687251"/>
              <a:gd name="connsiteX8964" fmla="*/ 2485790 w 8079933"/>
              <a:gd name="connsiteY8964" fmla="*/ 2739895 h 4687251"/>
              <a:gd name="connsiteX8965" fmla="*/ 6387941 w 8079933"/>
              <a:gd name="connsiteY8965" fmla="*/ 2737188 h 4687251"/>
              <a:gd name="connsiteX8966" fmla="*/ 6394236 w 8079933"/>
              <a:gd name="connsiteY8966" fmla="*/ 2743576 h 4687251"/>
              <a:gd name="connsiteX8967" fmla="*/ 6391740 w 8079933"/>
              <a:gd name="connsiteY8967" fmla="*/ 2744117 h 4687251"/>
              <a:gd name="connsiteX8968" fmla="*/ 6388375 w 8079933"/>
              <a:gd name="connsiteY8968" fmla="*/ 2741302 h 4687251"/>
              <a:gd name="connsiteX8969" fmla="*/ 4959535 w 8079933"/>
              <a:gd name="connsiteY8969" fmla="*/ 2737188 h 4687251"/>
              <a:gd name="connsiteX8970" fmla="*/ 4955467 w 8079933"/>
              <a:gd name="connsiteY8970" fmla="*/ 2738348 h 4687251"/>
              <a:gd name="connsiteX8971" fmla="*/ 4955221 w 8079933"/>
              <a:gd name="connsiteY8971" fmla="*/ 2738418 h 4687251"/>
              <a:gd name="connsiteX8972" fmla="*/ 4955130 w 8079933"/>
              <a:gd name="connsiteY8972" fmla="*/ 2738444 h 4687251"/>
              <a:gd name="connsiteX8973" fmla="*/ 4954219 w 8079933"/>
              <a:gd name="connsiteY8973" fmla="*/ 2738703 h 4687251"/>
              <a:gd name="connsiteX8974" fmla="*/ 4954219 w 8079933"/>
              <a:gd name="connsiteY8974" fmla="*/ 2738704 h 4687251"/>
              <a:gd name="connsiteX8975" fmla="*/ 4955130 w 8079933"/>
              <a:gd name="connsiteY8975" fmla="*/ 2738444 h 4687251"/>
              <a:gd name="connsiteX8976" fmla="*/ 4955467 w 8079933"/>
              <a:gd name="connsiteY8976" fmla="*/ 2738348 h 4687251"/>
              <a:gd name="connsiteX8977" fmla="*/ 4959535 w 8079933"/>
              <a:gd name="connsiteY8977" fmla="*/ 2737188 h 4687251"/>
              <a:gd name="connsiteX8978" fmla="*/ 2328875 w 8079933"/>
              <a:gd name="connsiteY8978" fmla="*/ 2736431 h 4687251"/>
              <a:gd name="connsiteX8979" fmla="*/ 2333324 w 8079933"/>
              <a:gd name="connsiteY8979" fmla="*/ 2740870 h 4687251"/>
              <a:gd name="connsiteX8980" fmla="*/ 2332348 w 8079933"/>
              <a:gd name="connsiteY8980" fmla="*/ 2744876 h 4687251"/>
              <a:gd name="connsiteX8981" fmla="*/ 2329526 w 8079933"/>
              <a:gd name="connsiteY8981" fmla="*/ 2741303 h 4687251"/>
              <a:gd name="connsiteX8982" fmla="*/ 2326271 w 8079933"/>
              <a:gd name="connsiteY8982" fmla="*/ 2740761 h 4687251"/>
              <a:gd name="connsiteX8983" fmla="*/ 2324209 w 8079933"/>
              <a:gd name="connsiteY8983" fmla="*/ 2736756 h 4687251"/>
              <a:gd name="connsiteX8984" fmla="*/ 6165591 w 8079933"/>
              <a:gd name="connsiteY8984" fmla="*/ 2736214 h 4687251"/>
              <a:gd name="connsiteX8985" fmla="*/ 6165591 w 8079933"/>
              <a:gd name="connsiteY8985" fmla="*/ 2738487 h 4687251"/>
              <a:gd name="connsiteX8986" fmla="*/ 6162878 w 8079933"/>
              <a:gd name="connsiteY8986" fmla="*/ 2740869 h 4687251"/>
              <a:gd name="connsiteX8987" fmla="*/ 6161250 w 8079933"/>
              <a:gd name="connsiteY8987" fmla="*/ 2746066 h 4687251"/>
              <a:gd name="connsiteX8988" fmla="*/ 6162986 w 8079933"/>
              <a:gd name="connsiteY8988" fmla="*/ 2749098 h 4687251"/>
              <a:gd name="connsiteX8989" fmla="*/ 6163529 w 8079933"/>
              <a:gd name="connsiteY8989" fmla="*/ 2753537 h 4687251"/>
              <a:gd name="connsiteX8990" fmla="*/ 6160056 w 8079933"/>
              <a:gd name="connsiteY8990" fmla="*/ 2761116 h 4687251"/>
              <a:gd name="connsiteX8991" fmla="*/ 6158753 w 8079933"/>
              <a:gd name="connsiteY8991" fmla="*/ 2757868 h 4687251"/>
              <a:gd name="connsiteX8992" fmla="*/ 6160056 w 8079933"/>
              <a:gd name="connsiteY8992" fmla="*/ 2753970 h 4687251"/>
              <a:gd name="connsiteX8993" fmla="*/ 6157560 w 8079933"/>
              <a:gd name="connsiteY8993" fmla="*/ 2748448 h 4687251"/>
              <a:gd name="connsiteX8994" fmla="*/ 6159080 w 8079933"/>
              <a:gd name="connsiteY8994" fmla="*/ 2745308 h 4687251"/>
              <a:gd name="connsiteX8995" fmla="*/ 6159080 w 8079933"/>
              <a:gd name="connsiteY8995" fmla="*/ 2738487 h 4687251"/>
              <a:gd name="connsiteX8996" fmla="*/ 4008387 w 8079933"/>
              <a:gd name="connsiteY8996" fmla="*/ 2736105 h 4687251"/>
              <a:gd name="connsiteX8997" fmla="*/ 4004046 w 8079933"/>
              <a:gd name="connsiteY8997" fmla="*/ 2737512 h 4687251"/>
              <a:gd name="connsiteX8998" fmla="*/ 4001551 w 8079933"/>
              <a:gd name="connsiteY8998" fmla="*/ 2737729 h 4687251"/>
              <a:gd name="connsiteX8999" fmla="*/ 4001551 w 8079933"/>
              <a:gd name="connsiteY8999" fmla="*/ 2737730 h 4687251"/>
              <a:gd name="connsiteX9000" fmla="*/ 4004046 w 8079933"/>
              <a:gd name="connsiteY9000" fmla="*/ 2737513 h 4687251"/>
              <a:gd name="connsiteX9001" fmla="*/ 4008387 w 8079933"/>
              <a:gd name="connsiteY9001" fmla="*/ 2736106 h 4687251"/>
              <a:gd name="connsiteX9002" fmla="*/ 2308365 w 8079933"/>
              <a:gd name="connsiteY9002" fmla="*/ 2734698 h 4687251"/>
              <a:gd name="connsiteX9003" fmla="*/ 2312815 w 8079933"/>
              <a:gd name="connsiteY9003" fmla="*/ 2739894 h 4687251"/>
              <a:gd name="connsiteX9004" fmla="*/ 2316938 w 8079933"/>
              <a:gd name="connsiteY9004" fmla="*/ 2740328 h 4687251"/>
              <a:gd name="connsiteX9005" fmla="*/ 2314551 w 8079933"/>
              <a:gd name="connsiteY9005" fmla="*/ 2742926 h 4687251"/>
              <a:gd name="connsiteX9006" fmla="*/ 2309234 w 8079933"/>
              <a:gd name="connsiteY9006" fmla="*/ 2741735 h 4687251"/>
              <a:gd name="connsiteX9007" fmla="*/ 2306955 w 8079933"/>
              <a:gd name="connsiteY9007" fmla="*/ 2737080 h 4687251"/>
              <a:gd name="connsiteX9008" fmla="*/ 3723096 w 8079933"/>
              <a:gd name="connsiteY9008" fmla="*/ 2734698 h 4687251"/>
              <a:gd name="connsiteX9009" fmla="*/ 3718538 w 8079933"/>
              <a:gd name="connsiteY9009" fmla="*/ 2734915 h 4687251"/>
              <a:gd name="connsiteX9010" fmla="*/ 3713872 w 8079933"/>
              <a:gd name="connsiteY9010" fmla="*/ 2741627 h 4687251"/>
              <a:gd name="connsiteX9011" fmla="*/ 3710725 w 8079933"/>
              <a:gd name="connsiteY9011" fmla="*/ 2741844 h 4687251"/>
              <a:gd name="connsiteX9012" fmla="*/ 3705842 w 8079933"/>
              <a:gd name="connsiteY9012" fmla="*/ 2745309 h 4687251"/>
              <a:gd name="connsiteX9013" fmla="*/ 3705843 w 8079933"/>
              <a:gd name="connsiteY9013" fmla="*/ 2745309 h 4687251"/>
              <a:gd name="connsiteX9014" fmla="*/ 3710726 w 8079933"/>
              <a:gd name="connsiteY9014" fmla="*/ 2741844 h 4687251"/>
              <a:gd name="connsiteX9015" fmla="*/ 3713873 w 8079933"/>
              <a:gd name="connsiteY9015" fmla="*/ 2741627 h 4687251"/>
              <a:gd name="connsiteX9016" fmla="*/ 3718539 w 8079933"/>
              <a:gd name="connsiteY9016" fmla="*/ 2734915 h 4687251"/>
              <a:gd name="connsiteX9017" fmla="*/ 3723097 w 8079933"/>
              <a:gd name="connsiteY9017" fmla="*/ 2734698 h 4687251"/>
              <a:gd name="connsiteX9018" fmla="*/ 3725779 w 8079933"/>
              <a:gd name="connsiteY9018" fmla="*/ 2735877 h 4687251"/>
              <a:gd name="connsiteX9019" fmla="*/ 3736010 w 8079933"/>
              <a:gd name="connsiteY9019" fmla="*/ 2734265 h 4687251"/>
              <a:gd name="connsiteX9020" fmla="*/ 3731669 w 8079933"/>
              <a:gd name="connsiteY9020" fmla="*/ 2735672 h 4687251"/>
              <a:gd name="connsiteX9021" fmla="*/ 3729499 w 8079933"/>
              <a:gd name="connsiteY9021" fmla="*/ 2737513 h 4687251"/>
              <a:gd name="connsiteX9022" fmla="*/ 3729499 w 8079933"/>
              <a:gd name="connsiteY9022" fmla="*/ 2737513 h 4687251"/>
              <a:gd name="connsiteX9023" fmla="*/ 3731670 w 8079933"/>
              <a:gd name="connsiteY9023" fmla="*/ 2735672 h 4687251"/>
              <a:gd name="connsiteX9024" fmla="*/ 3736010 w 8079933"/>
              <a:gd name="connsiteY9024" fmla="*/ 2734265 h 4687251"/>
              <a:gd name="connsiteX9025" fmla="*/ 3671010 w 8079933"/>
              <a:gd name="connsiteY9025" fmla="*/ 2734048 h 4687251"/>
              <a:gd name="connsiteX9026" fmla="*/ 3671009 w 8079933"/>
              <a:gd name="connsiteY9026" fmla="*/ 2734048 h 4687251"/>
              <a:gd name="connsiteX9027" fmla="*/ 3675567 w 8079933"/>
              <a:gd name="connsiteY9027" fmla="*/ 2734265 h 4687251"/>
              <a:gd name="connsiteX9028" fmla="*/ 3677846 w 8079933"/>
              <a:gd name="connsiteY9028" fmla="*/ 2736756 h 4687251"/>
              <a:gd name="connsiteX9029" fmla="*/ 3682946 w 8079933"/>
              <a:gd name="connsiteY9029" fmla="*/ 2737188 h 4687251"/>
              <a:gd name="connsiteX9030" fmla="*/ 3683380 w 8079933"/>
              <a:gd name="connsiteY9030" fmla="*/ 2740867 h 4687251"/>
              <a:gd name="connsiteX9031" fmla="*/ 3683380 w 8079933"/>
              <a:gd name="connsiteY9031" fmla="*/ 2740865 h 4687251"/>
              <a:gd name="connsiteX9032" fmla="*/ 3682947 w 8079933"/>
              <a:gd name="connsiteY9032" fmla="*/ 2737188 h 4687251"/>
              <a:gd name="connsiteX9033" fmla="*/ 3677847 w 8079933"/>
              <a:gd name="connsiteY9033" fmla="*/ 2736755 h 4687251"/>
              <a:gd name="connsiteX9034" fmla="*/ 3675568 w 8079933"/>
              <a:gd name="connsiteY9034" fmla="*/ 2734265 h 4687251"/>
              <a:gd name="connsiteX9035" fmla="*/ 4965504 w 8079933"/>
              <a:gd name="connsiteY9035" fmla="*/ 2733831 h 4687251"/>
              <a:gd name="connsiteX9036" fmla="*/ 4961490 w 8079933"/>
              <a:gd name="connsiteY9036" fmla="*/ 2734914 h 4687251"/>
              <a:gd name="connsiteX9037" fmla="*/ 4961489 w 8079933"/>
              <a:gd name="connsiteY9037" fmla="*/ 2734915 h 4687251"/>
              <a:gd name="connsiteX9038" fmla="*/ 4965503 w 8079933"/>
              <a:gd name="connsiteY9038" fmla="*/ 2733832 h 4687251"/>
              <a:gd name="connsiteX9039" fmla="*/ 3561842 w 8079933"/>
              <a:gd name="connsiteY9039" fmla="*/ 2732424 h 4687251"/>
              <a:gd name="connsiteX9040" fmla="*/ 3555059 w 8079933"/>
              <a:gd name="connsiteY9040" fmla="*/ 2735808 h 4687251"/>
              <a:gd name="connsiteX9041" fmla="*/ 3561842 w 8079933"/>
              <a:gd name="connsiteY9041" fmla="*/ 2732424 h 4687251"/>
              <a:gd name="connsiteX9042" fmla="*/ 3577902 w 8079933"/>
              <a:gd name="connsiteY9042" fmla="*/ 2733832 h 4687251"/>
              <a:gd name="connsiteX9043" fmla="*/ 3577903 w 8079933"/>
              <a:gd name="connsiteY9043" fmla="*/ 2733832 h 4687251"/>
              <a:gd name="connsiteX9044" fmla="*/ 4472730 w 8079933"/>
              <a:gd name="connsiteY9044" fmla="*/ 2731557 h 4687251"/>
              <a:gd name="connsiteX9045" fmla="*/ 4470017 w 8079933"/>
              <a:gd name="connsiteY9045" fmla="*/ 2733398 h 4687251"/>
              <a:gd name="connsiteX9046" fmla="*/ 4470017 w 8079933"/>
              <a:gd name="connsiteY9046" fmla="*/ 2733398 h 4687251"/>
              <a:gd name="connsiteX9047" fmla="*/ 4472730 w 8079933"/>
              <a:gd name="connsiteY9047" fmla="*/ 2731558 h 4687251"/>
              <a:gd name="connsiteX9048" fmla="*/ 2494580 w 8079933"/>
              <a:gd name="connsiteY9048" fmla="*/ 2731234 h 4687251"/>
              <a:gd name="connsiteX9049" fmla="*/ 2496968 w 8079933"/>
              <a:gd name="connsiteY9049" fmla="*/ 2735673 h 4687251"/>
              <a:gd name="connsiteX9050" fmla="*/ 2493387 w 8079933"/>
              <a:gd name="connsiteY9050" fmla="*/ 2735673 h 4687251"/>
              <a:gd name="connsiteX9051" fmla="*/ 2494580 w 8079933"/>
              <a:gd name="connsiteY9051" fmla="*/ 2731234 h 4687251"/>
              <a:gd name="connsiteX9052" fmla="*/ 3994714 w 8079933"/>
              <a:gd name="connsiteY9052" fmla="*/ 2731016 h 4687251"/>
              <a:gd name="connsiteX9053" fmla="*/ 3994714 w 8079933"/>
              <a:gd name="connsiteY9053" fmla="*/ 2731016 h 4687251"/>
              <a:gd name="connsiteX9054" fmla="*/ 3995676 w 8079933"/>
              <a:gd name="connsiteY9054" fmla="*/ 2732295 h 4687251"/>
              <a:gd name="connsiteX9055" fmla="*/ 6809636 w 8079933"/>
              <a:gd name="connsiteY9055" fmla="*/ 2730800 h 4687251"/>
              <a:gd name="connsiteX9056" fmla="*/ 6813434 w 8079933"/>
              <a:gd name="connsiteY9056" fmla="*/ 2731341 h 4687251"/>
              <a:gd name="connsiteX9057" fmla="*/ 6816256 w 8079933"/>
              <a:gd name="connsiteY9057" fmla="*/ 2734590 h 4687251"/>
              <a:gd name="connsiteX9058" fmla="*/ 6821139 w 8079933"/>
              <a:gd name="connsiteY9058" fmla="*/ 2735564 h 4687251"/>
              <a:gd name="connsiteX9059" fmla="*/ 6822116 w 8079933"/>
              <a:gd name="connsiteY9059" fmla="*/ 2738054 h 4687251"/>
              <a:gd name="connsiteX9060" fmla="*/ 6820054 w 8079933"/>
              <a:gd name="connsiteY9060" fmla="*/ 2740544 h 4687251"/>
              <a:gd name="connsiteX9061" fmla="*/ 6816907 w 8079933"/>
              <a:gd name="connsiteY9061" fmla="*/ 2739137 h 4687251"/>
              <a:gd name="connsiteX9062" fmla="*/ 6811806 w 8079933"/>
              <a:gd name="connsiteY9062" fmla="*/ 2738812 h 4687251"/>
              <a:gd name="connsiteX9063" fmla="*/ 6809636 w 8079933"/>
              <a:gd name="connsiteY9063" fmla="*/ 2736322 h 4687251"/>
              <a:gd name="connsiteX9064" fmla="*/ 6808008 w 8079933"/>
              <a:gd name="connsiteY9064" fmla="*/ 2732749 h 4687251"/>
              <a:gd name="connsiteX9065" fmla="*/ 4944301 w 8079933"/>
              <a:gd name="connsiteY9065" fmla="*/ 2730043 h 4687251"/>
              <a:gd name="connsiteX9066" fmla="*/ 4947708 w 8079933"/>
              <a:gd name="connsiteY9066" fmla="*/ 2730150 h 4687251"/>
              <a:gd name="connsiteX9067" fmla="*/ 4948773 w 8079933"/>
              <a:gd name="connsiteY9067" fmla="*/ 2731548 h 4687251"/>
              <a:gd name="connsiteX9068" fmla="*/ 4947708 w 8079933"/>
              <a:gd name="connsiteY9068" fmla="*/ 2730150 h 4687251"/>
              <a:gd name="connsiteX9069" fmla="*/ 2285686 w 8079933"/>
              <a:gd name="connsiteY9069" fmla="*/ 2729501 h 4687251"/>
              <a:gd name="connsiteX9070" fmla="*/ 2289266 w 8079933"/>
              <a:gd name="connsiteY9070" fmla="*/ 2729934 h 4687251"/>
              <a:gd name="connsiteX9071" fmla="*/ 2293390 w 8079933"/>
              <a:gd name="connsiteY9071" fmla="*/ 2733724 h 4687251"/>
              <a:gd name="connsiteX9072" fmla="*/ 2288724 w 8079933"/>
              <a:gd name="connsiteY9072" fmla="*/ 2733832 h 4687251"/>
              <a:gd name="connsiteX9073" fmla="*/ 4009798 w 8079933"/>
              <a:gd name="connsiteY9073" fmla="*/ 2728959 h 4687251"/>
              <a:gd name="connsiteX9074" fmla="*/ 4008944 w 8079933"/>
              <a:gd name="connsiteY9074" fmla="*/ 2730798 h 4687251"/>
              <a:gd name="connsiteX9075" fmla="*/ 4009798 w 8079933"/>
              <a:gd name="connsiteY9075" fmla="*/ 2728960 h 4687251"/>
              <a:gd name="connsiteX9076" fmla="*/ 4017611 w 8079933"/>
              <a:gd name="connsiteY9076" fmla="*/ 2735456 h 4687251"/>
              <a:gd name="connsiteX9077" fmla="*/ 4021951 w 8079933"/>
              <a:gd name="connsiteY9077" fmla="*/ 2741411 h 4687251"/>
              <a:gd name="connsiteX9078" fmla="*/ 4027486 w 8079933"/>
              <a:gd name="connsiteY9078" fmla="*/ 2742494 h 4687251"/>
              <a:gd name="connsiteX9079" fmla="*/ 4032694 w 8079933"/>
              <a:gd name="connsiteY9079" fmla="*/ 2749314 h 4687251"/>
              <a:gd name="connsiteX9080" fmla="*/ 4032695 w 8079933"/>
              <a:gd name="connsiteY9080" fmla="*/ 2749314 h 4687251"/>
              <a:gd name="connsiteX9081" fmla="*/ 4036385 w 8079933"/>
              <a:gd name="connsiteY9081" fmla="*/ 2746391 h 4687251"/>
              <a:gd name="connsiteX9082" fmla="*/ 4036168 w 8079933"/>
              <a:gd name="connsiteY9082" fmla="*/ 2743793 h 4687251"/>
              <a:gd name="connsiteX9083" fmla="*/ 4036167 w 8079933"/>
              <a:gd name="connsiteY9083" fmla="*/ 2743793 h 4687251"/>
              <a:gd name="connsiteX9084" fmla="*/ 4036385 w 8079933"/>
              <a:gd name="connsiteY9084" fmla="*/ 2746391 h 4687251"/>
              <a:gd name="connsiteX9085" fmla="*/ 4032695 w 8079933"/>
              <a:gd name="connsiteY9085" fmla="*/ 2749314 h 4687251"/>
              <a:gd name="connsiteX9086" fmla="*/ 4027486 w 8079933"/>
              <a:gd name="connsiteY9086" fmla="*/ 2742493 h 4687251"/>
              <a:gd name="connsiteX9087" fmla="*/ 4021951 w 8079933"/>
              <a:gd name="connsiteY9087" fmla="*/ 2741410 h 4687251"/>
              <a:gd name="connsiteX9088" fmla="*/ 4017611 w 8079933"/>
              <a:gd name="connsiteY9088" fmla="*/ 2735455 h 4687251"/>
              <a:gd name="connsiteX9089" fmla="*/ 4276722 w 8079933"/>
              <a:gd name="connsiteY9089" fmla="*/ 2728770 h 4687251"/>
              <a:gd name="connsiteX9090" fmla="*/ 4276721 w 8079933"/>
              <a:gd name="connsiteY9090" fmla="*/ 2728770 h 4687251"/>
              <a:gd name="connsiteX9091" fmla="*/ 4276966 w 8079933"/>
              <a:gd name="connsiteY9091" fmla="*/ 2730150 h 4687251"/>
              <a:gd name="connsiteX9092" fmla="*/ 4276748 w 8079933"/>
              <a:gd name="connsiteY9092" fmla="*/ 2737405 h 4687251"/>
              <a:gd name="connsiteX9093" fmla="*/ 4278810 w 8079933"/>
              <a:gd name="connsiteY9093" fmla="*/ 2741627 h 4687251"/>
              <a:gd name="connsiteX9094" fmla="*/ 4279865 w 8079933"/>
              <a:gd name="connsiteY9094" fmla="*/ 2741897 h 4687251"/>
              <a:gd name="connsiteX9095" fmla="*/ 4278811 w 8079933"/>
              <a:gd name="connsiteY9095" fmla="*/ 2741627 h 4687251"/>
              <a:gd name="connsiteX9096" fmla="*/ 4276749 w 8079933"/>
              <a:gd name="connsiteY9096" fmla="*/ 2737405 h 4687251"/>
              <a:gd name="connsiteX9097" fmla="*/ 4276966 w 8079933"/>
              <a:gd name="connsiteY9097" fmla="*/ 2730151 h 4687251"/>
              <a:gd name="connsiteX9098" fmla="*/ 6321369 w 8079933"/>
              <a:gd name="connsiteY9098" fmla="*/ 2728124 h 4687251"/>
              <a:gd name="connsiteX9099" fmla="*/ 6322179 w 8079933"/>
              <a:gd name="connsiteY9099" fmla="*/ 2729827 h 4687251"/>
              <a:gd name="connsiteX9100" fmla="*/ 6322179 w 8079933"/>
              <a:gd name="connsiteY9100" fmla="*/ 2729826 h 4687251"/>
              <a:gd name="connsiteX9101" fmla="*/ 4470017 w 8079933"/>
              <a:gd name="connsiteY9101" fmla="*/ 2727443 h 4687251"/>
              <a:gd name="connsiteX9102" fmla="*/ 4472730 w 8079933"/>
              <a:gd name="connsiteY9102" fmla="*/ 2728093 h 4687251"/>
              <a:gd name="connsiteX9103" fmla="*/ 4472730 w 8079933"/>
              <a:gd name="connsiteY9103" fmla="*/ 2728093 h 4687251"/>
              <a:gd name="connsiteX9104" fmla="*/ 3997427 w 8079933"/>
              <a:gd name="connsiteY9104" fmla="*/ 2727443 h 4687251"/>
              <a:gd name="connsiteX9105" fmla="*/ 3995619 w 8079933"/>
              <a:gd name="connsiteY9105" fmla="*/ 2729825 h 4687251"/>
              <a:gd name="connsiteX9106" fmla="*/ 3997427 w 8079933"/>
              <a:gd name="connsiteY9106" fmla="*/ 2727444 h 4687251"/>
              <a:gd name="connsiteX9107" fmla="*/ 5221929 w 8079933"/>
              <a:gd name="connsiteY9107" fmla="*/ 2727335 h 4687251"/>
              <a:gd name="connsiteX9108" fmla="*/ 5224968 w 8079933"/>
              <a:gd name="connsiteY9108" fmla="*/ 2727768 h 4687251"/>
              <a:gd name="connsiteX9109" fmla="*/ 5226269 w 8079933"/>
              <a:gd name="connsiteY9109" fmla="*/ 2730258 h 4687251"/>
              <a:gd name="connsiteX9110" fmla="*/ 5229308 w 8079933"/>
              <a:gd name="connsiteY9110" fmla="*/ 2730908 h 4687251"/>
              <a:gd name="connsiteX9111" fmla="*/ 5232672 w 8079933"/>
              <a:gd name="connsiteY9111" fmla="*/ 2729933 h 4687251"/>
              <a:gd name="connsiteX9112" fmla="*/ 5237339 w 8079933"/>
              <a:gd name="connsiteY9112" fmla="*/ 2728959 h 4687251"/>
              <a:gd name="connsiteX9113" fmla="*/ 5240594 w 8079933"/>
              <a:gd name="connsiteY9113" fmla="*/ 2730583 h 4687251"/>
              <a:gd name="connsiteX9114" fmla="*/ 5244392 w 8079933"/>
              <a:gd name="connsiteY9114" fmla="*/ 2731341 h 4687251"/>
              <a:gd name="connsiteX9115" fmla="*/ 5244718 w 8079933"/>
              <a:gd name="connsiteY9115" fmla="*/ 2733181 h 4687251"/>
              <a:gd name="connsiteX9116" fmla="*/ 5242873 w 8079933"/>
              <a:gd name="connsiteY9116" fmla="*/ 2735347 h 4687251"/>
              <a:gd name="connsiteX9117" fmla="*/ 5239292 w 8079933"/>
              <a:gd name="connsiteY9117" fmla="*/ 2735563 h 4687251"/>
              <a:gd name="connsiteX9118" fmla="*/ 5234083 w 8079933"/>
              <a:gd name="connsiteY9118" fmla="*/ 2738920 h 4687251"/>
              <a:gd name="connsiteX9119" fmla="*/ 5226921 w 8079933"/>
              <a:gd name="connsiteY9119" fmla="*/ 2740002 h 4687251"/>
              <a:gd name="connsiteX9120" fmla="*/ 5221820 w 8079933"/>
              <a:gd name="connsiteY9120" fmla="*/ 2739028 h 4687251"/>
              <a:gd name="connsiteX9121" fmla="*/ 5218890 w 8079933"/>
              <a:gd name="connsiteY9121" fmla="*/ 2736646 h 4687251"/>
              <a:gd name="connsiteX9122" fmla="*/ 5215852 w 8079933"/>
              <a:gd name="connsiteY9122" fmla="*/ 2734914 h 4687251"/>
              <a:gd name="connsiteX9123" fmla="*/ 5218782 w 8079933"/>
              <a:gd name="connsiteY9123" fmla="*/ 2733398 h 4687251"/>
              <a:gd name="connsiteX9124" fmla="*/ 5219216 w 8079933"/>
              <a:gd name="connsiteY9124" fmla="*/ 2729717 h 4687251"/>
              <a:gd name="connsiteX9125" fmla="*/ 6878219 w 8079933"/>
              <a:gd name="connsiteY9125" fmla="*/ 2726361 h 4687251"/>
              <a:gd name="connsiteX9126" fmla="*/ 6881475 w 8079933"/>
              <a:gd name="connsiteY9126" fmla="*/ 2727985 h 4687251"/>
              <a:gd name="connsiteX9127" fmla="*/ 6881149 w 8079933"/>
              <a:gd name="connsiteY9127" fmla="*/ 2730367 h 4687251"/>
              <a:gd name="connsiteX9128" fmla="*/ 6876700 w 8079933"/>
              <a:gd name="connsiteY9128" fmla="*/ 2730692 h 4687251"/>
              <a:gd name="connsiteX9129" fmla="*/ 6876049 w 8079933"/>
              <a:gd name="connsiteY9129" fmla="*/ 2727985 h 4687251"/>
              <a:gd name="connsiteX9130" fmla="*/ 4795459 w 8079933"/>
              <a:gd name="connsiteY9130" fmla="*/ 2725711 h 4687251"/>
              <a:gd name="connsiteX9131" fmla="*/ 4795458 w 8079933"/>
              <a:gd name="connsiteY9131" fmla="*/ 2725711 h 4687251"/>
              <a:gd name="connsiteX9132" fmla="*/ 4794807 w 8079933"/>
              <a:gd name="connsiteY9132" fmla="*/ 2729825 h 4687251"/>
              <a:gd name="connsiteX9133" fmla="*/ 4788947 w 8079933"/>
              <a:gd name="connsiteY9133" fmla="*/ 2739353 h 4687251"/>
              <a:gd name="connsiteX9134" fmla="*/ 4788839 w 8079933"/>
              <a:gd name="connsiteY9134" fmla="*/ 2743034 h 4687251"/>
              <a:gd name="connsiteX9135" fmla="*/ 4782111 w 8079933"/>
              <a:gd name="connsiteY9135" fmla="*/ 2747906 h 4687251"/>
              <a:gd name="connsiteX9136" fmla="*/ 4779181 w 8079933"/>
              <a:gd name="connsiteY9136" fmla="*/ 2755377 h 4687251"/>
              <a:gd name="connsiteX9137" fmla="*/ 4774515 w 8079933"/>
              <a:gd name="connsiteY9137" fmla="*/ 2773133 h 4687251"/>
              <a:gd name="connsiteX9138" fmla="*/ 4773725 w 8079933"/>
              <a:gd name="connsiteY9138" fmla="*/ 2772904 h 4687251"/>
              <a:gd name="connsiteX9139" fmla="*/ 4774515 w 8079933"/>
              <a:gd name="connsiteY9139" fmla="*/ 2773134 h 4687251"/>
              <a:gd name="connsiteX9140" fmla="*/ 4779181 w 8079933"/>
              <a:gd name="connsiteY9140" fmla="*/ 2755377 h 4687251"/>
              <a:gd name="connsiteX9141" fmla="*/ 4782112 w 8079933"/>
              <a:gd name="connsiteY9141" fmla="*/ 2747906 h 4687251"/>
              <a:gd name="connsiteX9142" fmla="*/ 4788840 w 8079933"/>
              <a:gd name="connsiteY9142" fmla="*/ 2743034 h 4687251"/>
              <a:gd name="connsiteX9143" fmla="*/ 4788948 w 8079933"/>
              <a:gd name="connsiteY9143" fmla="*/ 2739353 h 4687251"/>
              <a:gd name="connsiteX9144" fmla="*/ 4794808 w 8079933"/>
              <a:gd name="connsiteY9144" fmla="*/ 2729826 h 4687251"/>
              <a:gd name="connsiteX9145" fmla="*/ 3623154 w 8079933"/>
              <a:gd name="connsiteY9145" fmla="*/ 2725387 h 4687251"/>
              <a:gd name="connsiteX9146" fmla="*/ 3618596 w 8079933"/>
              <a:gd name="connsiteY9146" fmla="*/ 2726253 h 4687251"/>
              <a:gd name="connsiteX9147" fmla="*/ 3623154 w 8079933"/>
              <a:gd name="connsiteY9147" fmla="*/ 2725387 h 4687251"/>
              <a:gd name="connsiteX9148" fmla="*/ 3638346 w 8079933"/>
              <a:gd name="connsiteY9148" fmla="*/ 2725603 h 4687251"/>
              <a:gd name="connsiteX9149" fmla="*/ 3648004 w 8079933"/>
              <a:gd name="connsiteY9149" fmla="*/ 2730367 h 4687251"/>
              <a:gd name="connsiteX9150" fmla="*/ 3652127 w 8079933"/>
              <a:gd name="connsiteY9150" fmla="*/ 2733615 h 4687251"/>
              <a:gd name="connsiteX9151" fmla="*/ 3659507 w 8079933"/>
              <a:gd name="connsiteY9151" fmla="*/ 2733182 h 4687251"/>
              <a:gd name="connsiteX9152" fmla="*/ 3667103 w 8079933"/>
              <a:gd name="connsiteY9152" fmla="*/ 2736322 h 4687251"/>
              <a:gd name="connsiteX9153" fmla="*/ 3667104 w 8079933"/>
              <a:gd name="connsiteY9153" fmla="*/ 2736322 h 4687251"/>
              <a:gd name="connsiteX9154" fmla="*/ 3659507 w 8079933"/>
              <a:gd name="connsiteY9154" fmla="*/ 2733182 h 4687251"/>
              <a:gd name="connsiteX9155" fmla="*/ 3652128 w 8079933"/>
              <a:gd name="connsiteY9155" fmla="*/ 2733615 h 4687251"/>
              <a:gd name="connsiteX9156" fmla="*/ 3648004 w 8079933"/>
              <a:gd name="connsiteY9156" fmla="*/ 2730367 h 4687251"/>
              <a:gd name="connsiteX9157" fmla="*/ 3638346 w 8079933"/>
              <a:gd name="connsiteY9157" fmla="*/ 2725603 h 4687251"/>
              <a:gd name="connsiteX9158" fmla="*/ 3612628 w 8079933"/>
              <a:gd name="connsiteY9158" fmla="*/ 2724845 h 4687251"/>
              <a:gd name="connsiteX9159" fmla="*/ 3618596 w 8079933"/>
              <a:gd name="connsiteY9159" fmla="*/ 2726469 h 4687251"/>
              <a:gd name="connsiteX9160" fmla="*/ 3618596 w 8079933"/>
              <a:gd name="connsiteY9160" fmla="*/ 2726469 h 4687251"/>
              <a:gd name="connsiteX9161" fmla="*/ 6894279 w 8079933"/>
              <a:gd name="connsiteY9161" fmla="*/ 2724412 h 4687251"/>
              <a:gd name="connsiteX9162" fmla="*/ 6897643 w 8079933"/>
              <a:gd name="connsiteY9162" fmla="*/ 2725386 h 4687251"/>
              <a:gd name="connsiteX9163" fmla="*/ 6897209 w 8079933"/>
              <a:gd name="connsiteY9163" fmla="*/ 2727010 h 4687251"/>
              <a:gd name="connsiteX9164" fmla="*/ 6898945 w 8079933"/>
              <a:gd name="connsiteY9164" fmla="*/ 2726794 h 4687251"/>
              <a:gd name="connsiteX9165" fmla="*/ 6903069 w 8079933"/>
              <a:gd name="connsiteY9165" fmla="*/ 2730691 h 4687251"/>
              <a:gd name="connsiteX9166" fmla="*/ 6906215 w 8079933"/>
              <a:gd name="connsiteY9166" fmla="*/ 2731233 h 4687251"/>
              <a:gd name="connsiteX9167" fmla="*/ 6913594 w 8079933"/>
              <a:gd name="connsiteY9167" fmla="*/ 2735997 h 4687251"/>
              <a:gd name="connsiteX9168" fmla="*/ 6916416 w 8079933"/>
              <a:gd name="connsiteY9168" fmla="*/ 2739677 h 4687251"/>
              <a:gd name="connsiteX9169" fmla="*/ 6916416 w 8079933"/>
              <a:gd name="connsiteY9169" fmla="*/ 2742601 h 4687251"/>
              <a:gd name="connsiteX9170" fmla="*/ 6912618 w 8079933"/>
              <a:gd name="connsiteY9170" fmla="*/ 2743034 h 4687251"/>
              <a:gd name="connsiteX9171" fmla="*/ 6906758 w 8079933"/>
              <a:gd name="connsiteY9171" fmla="*/ 2740652 h 4687251"/>
              <a:gd name="connsiteX9172" fmla="*/ 6901658 w 8079933"/>
              <a:gd name="connsiteY9172" fmla="*/ 2734156 h 4687251"/>
              <a:gd name="connsiteX9173" fmla="*/ 6898076 w 8079933"/>
              <a:gd name="connsiteY9173" fmla="*/ 2734481 h 4687251"/>
              <a:gd name="connsiteX9174" fmla="*/ 6894279 w 8079933"/>
              <a:gd name="connsiteY9174" fmla="*/ 2740760 h 4687251"/>
              <a:gd name="connsiteX9175" fmla="*/ 6893193 w 8079933"/>
              <a:gd name="connsiteY9175" fmla="*/ 2738054 h 4687251"/>
              <a:gd name="connsiteX9176" fmla="*/ 6893302 w 8079933"/>
              <a:gd name="connsiteY9176" fmla="*/ 2735238 h 4687251"/>
              <a:gd name="connsiteX9177" fmla="*/ 6895363 w 8079933"/>
              <a:gd name="connsiteY9177" fmla="*/ 2733398 h 4687251"/>
              <a:gd name="connsiteX9178" fmla="*/ 6894387 w 8079933"/>
              <a:gd name="connsiteY9178" fmla="*/ 2729608 h 4687251"/>
              <a:gd name="connsiteX9179" fmla="*/ 4281313 w 8079933"/>
              <a:gd name="connsiteY9179" fmla="*/ 2724189 h 4687251"/>
              <a:gd name="connsiteX9180" fmla="*/ 4281312 w 8079933"/>
              <a:gd name="connsiteY9180" fmla="*/ 2724189 h 4687251"/>
              <a:gd name="connsiteX9181" fmla="*/ 4285973 w 8079933"/>
              <a:gd name="connsiteY9181" fmla="*/ 2726578 h 4687251"/>
              <a:gd name="connsiteX9182" fmla="*/ 4291399 w 8079933"/>
              <a:gd name="connsiteY9182" fmla="*/ 2731666 h 4687251"/>
              <a:gd name="connsiteX9183" fmla="*/ 4285973 w 8079933"/>
              <a:gd name="connsiteY9183" fmla="*/ 2726577 h 4687251"/>
              <a:gd name="connsiteX9184" fmla="*/ 6902092 w 8079933"/>
              <a:gd name="connsiteY9184" fmla="*/ 2723546 h 4687251"/>
              <a:gd name="connsiteX9185" fmla="*/ 6905348 w 8079933"/>
              <a:gd name="connsiteY9185" fmla="*/ 2724628 h 4687251"/>
              <a:gd name="connsiteX9186" fmla="*/ 6909364 w 8079933"/>
              <a:gd name="connsiteY9186" fmla="*/ 2729718 h 4687251"/>
              <a:gd name="connsiteX9187" fmla="*/ 6907302 w 8079933"/>
              <a:gd name="connsiteY9187" fmla="*/ 2729718 h 4687251"/>
              <a:gd name="connsiteX9188" fmla="*/ 6903503 w 8079933"/>
              <a:gd name="connsiteY9188" fmla="*/ 2725928 h 4687251"/>
              <a:gd name="connsiteX9189" fmla="*/ 6935081 w 8079933"/>
              <a:gd name="connsiteY9189" fmla="*/ 2723113 h 4687251"/>
              <a:gd name="connsiteX9190" fmla="*/ 6937252 w 8079933"/>
              <a:gd name="connsiteY9190" fmla="*/ 2724196 h 4687251"/>
              <a:gd name="connsiteX9191" fmla="*/ 6938879 w 8079933"/>
              <a:gd name="connsiteY9191" fmla="*/ 2723438 h 4687251"/>
              <a:gd name="connsiteX9192" fmla="*/ 6941700 w 8079933"/>
              <a:gd name="connsiteY9192" fmla="*/ 2723763 h 4687251"/>
              <a:gd name="connsiteX9193" fmla="*/ 6944196 w 8079933"/>
              <a:gd name="connsiteY9193" fmla="*/ 2728094 h 4687251"/>
              <a:gd name="connsiteX9194" fmla="*/ 6948211 w 8079933"/>
              <a:gd name="connsiteY9194" fmla="*/ 2733507 h 4687251"/>
              <a:gd name="connsiteX9195" fmla="*/ 6950164 w 8079933"/>
              <a:gd name="connsiteY9195" fmla="*/ 2735023 h 4687251"/>
              <a:gd name="connsiteX9196" fmla="*/ 6949622 w 8079933"/>
              <a:gd name="connsiteY9196" fmla="*/ 2737621 h 4687251"/>
              <a:gd name="connsiteX9197" fmla="*/ 6950490 w 8079933"/>
              <a:gd name="connsiteY9197" fmla="*/ 2746066 h 4687251"/>
              <a:gd name="connsiteX9198" fmla="*/ 6950164 w 8079933"/>
              <a:gd name="connsiteY9198" fmla="*/ 2752887 h 4687251"/>
              <a:gd name="connsiteX9199" fmla="*/ 6952769 w 8079933"/>
              <a:gd name="connsiteY9199" fmla="*/ 2755269 h 4687251"/>
              <a:gd name="connsiteX9200" fmla="*/ 6954180 w 8079933"/>
              <a:gd name="connsiteY9200" fmla="*/ 2759600 h 4687251"/>
              <a:gd name="connsiteX9201" fmla="*/ 6956458 w 8079933"/>
              <a:gd name="connsiteY9201" fmla="*/ 2762415 h 4687251"/>
              <a:gd name="connsiteX9202" fmla="*/ 6953963 w 8079933"/>
              <a:gd name="connsiteY9202" fmla="*/ 2761332 h 4687251"/>
              <a:gd name="connsiteX9203" fmla="*/ 6952877 w 8079933"/>
              <a:gd name="connsiteY9203" fmla="*/ 2762523 h 4687251"/>
              <a:gd name="connsiteX9204" fmla="*/ 6951467 w 8079933"/>
              <a:gd name="connsiteY9204" fmla="*/ 2761873 h 4687251"/>
              <a:gd name="connsiteX9205" fmla="*/ 6944413 w 8079933"/>
              <a:gd name="connsiteY9205" fmla="*/ 2761440 h 4687251"/>
              <a:gd name="connsiteX9206" fmla="*/ 6943003 w 8079933"/>
              <a:gd name="connsiteY9206" fmla="*/ 2758192 h 4687251"/>
              <a:gd name="connsiteX9207" fmla="*/ 6939097 w 8079933"/>
              <a:gd name="connsiteY9207" fmla="*/ 2755702 h 4687251"/>
              <a:gd name="connsiteX9208" fmla="*/ 6937360 w 8079933"/>
              <a:gd name="connsiteY9208" fmla="*/ 2754511 h 4687251"/>
              <a:gd name="connsiteX9209" fmla="*/ 6936492 w 8079933"/>
              <a:gd name="connsiteY9209" fmla="*/ 2753104 h 4687251"/>
              <a:gd name="connsiteX9210" fmla="*/ 6934213 w 8079933"/>
              <a:gd name="connsiteY9210" fmla="*/ 2753970 h 4687251"/>
              <a:gd name="connsiteX9211" fmla="*/ 6934973 w 8079933"/>
              <a:gd name="connsiteY9211" fmla="*/ 2752887 h 4687251"/>
              <a:gd name="connsiteX9212" fmla="*/ 6937252 w 8079933"/>
              <a:gd name="connsiteY9212" fmla="*/ 2749964 h 4687251"/>
              <a:gd name="connsiteX9213" fmla="*/ 6937903 w 8079933"/>
              <a:gd name="connsiteY9213" fmla="*/ 2747798 h 4687251"/>
              <a:gd name="connsiteX9214" fmla="*/ 6935515 w 8079933"/>
              <a:gd name="connsiteY9214" fmla="*/ 2746282 h 4687251"/>
              <a:gd name="connsiteX9215" fmla="*/ 6929981 w 8079933"/>
              <a:gd name="connsiteY9215" fmla="*/ 2739894 h 4687251"/>
              <a:gd name="connsiteX9216" fmla="*/ 6924013 w 8079933"/>
              <a:gd name="connsiteY9216" fmla="*/ 2735131 h 4687251"/>
              <a:gd name="connsiteX9217" fmla="*/ 6920215 w 8079933"/>
              <a:gd name="connsiteY9217" fmla="*/ 2727552 h 4687251"/>
              <a:gd name="connsiteX9218" fmla="*/ 6920323 w 8079933"/>
              <a:gd name="connsiteY9218" fmla="*/ 2724304 h 4687251"/>
              <a:gd name="connsiteX9219" fmla="*/ 6922385 w 8079933"/>
              <a:gd name="connsiteY9219" fmla="*/ 2725278 h 4687251"/>
              <a:gd name="connsiteX9220" fmla="*/ 6926074 w 8079933"/>
              <a:gd name="connsiteY9220" fmla="*/ 2725170 h 4687251"/>
              <a:gd name="connsiteX9221" fmla="*/ 6930958 w 8079933"/>
              <a:gd name="connsiteY9221" fmla="*/ 2725386 h 4687251"/>
              <a:gd name="connsiteX9222" fmla="*/ 6932585 w 8079933"/>
              <a:gd name="connsiteY9222" fmla="*/ 2723654 h 4687251"/>
              <a:gd name="connsiteX9223" fmla="*/ 4148157 w 8079933"/>
              <a:gd name="connsiteY9223" fmla="*/ 2723004 h 4687251"/>
              <a:gd name="connsiteX9224" fmla="*/ 4148157 w 8079933"/>
              <a:gd name="connsiteY9224" fmla="*/ 2723004 h 4687251"/>
              <a:gd name="connsiteX9225" fmla="*/ 4153040 w 8079933"/>
              <a:gd name="connsiteY9225" fmla="*/ 2723654 h 4687251"/>
              <a:gd name="connsiteX9226" fmla="*/ 4162806 w 8079933"/>
              <a:gd name="connsiteY9226" fmla="*/ 2727227 h 4687251"/>
              <a:gd name="connsiteX9227" fmla="*/ 4167147 w 8079933"/>
              <a:gd name="connsiteY9227" fmla="*/ 2728310 h 4687251"/>
              <a:gd name="connsiteX9228" fmla="*/ 4173007 w 8079933"/>
              <a:gd name="connsiteY9228" fmla="*/ 2724412 h 4687251"/>
              <a:gd name="connsiteX9229" fmla="*/ 4167147 w 8079933"/>
              <a:gd name="connsiteY9229" fmla="*/ 2728310 h 4687251"/>
              <a:gd name="connsiteX9230" fmla="*/ 4162807 w 8079933"/>
              <a:gd name="connsiteY9230" fmla="*/ 2727227 h 4687251"/>
              <a:gd name="connsiteX9231" fmla="*/ 4153040 w 8079933"/>
              <a:gd name="connsiteY9231" fmla="*/ 2723654 h 4687251"/>
              <a:gd name="connsiteX9232" fmla="*/ 3996567 w 8079933"/>
              <a:gd name="connsiteY9232" fmla="*/ 2722363 h 4687251"/>
              <a:gd name="connsiteX9233" fmla="*/ 3996993 w 8079933"/>
              <a:gd name="connsiteY9233" fmla="*/ 2722788 h 4687251"/>
              <a:gd name="connsiteX9234" fmla="*/ 3997138 w 8079933"/>
              <a:gd name="connsiteY9234" fmla="*/ 2724340 h 4687251"/>
              <a:gd name="connsiteX9235" fmla="*/ 3996993 w 8079933"/>
              <a:gd name="connsiteY9235" fmla="*/ 2722788 h 4687251"/>
              <a:gd name="connsiteX9236" fmla="*/ 6868886 w 8079933"/>
              <a:gd name="connsiteY9236" fmla="*/ 2720731 h 4687251"/>
              <a:gd name="connsiteX9237" fmla="*/ 6867801 w 8079933"/>
              <a:gd name="connsiteY9237" fmla="*/ 2726253 h 4687251"/>
              <a:gd name="connsiteX9238" fmla="*/ 6869430 w 8079933"/>
              <a:gd name="connsiteY9238" fmla="*/ 2730475 h 4687251"/>
              <a:gd name="connsiteX9239" fmla="*/ 6867584 w 8079933"/>
              <a:gd name="connsiteY9239" fmla="*/ 2736322 h 4687251"/>
              <a:gd name="connsiteX9240" fmla="*/ 6864655 w 8079933"/>
              <a:gd name="connsiteY9240" fmla="*/ 2737296 h 4687251"/>
              <a:gd name="connsiteX9241" fmla="*/ 6862158 w 8079933"/>
              <a:gd name="connsiteY9241" fmla="*/ 2731125 h 4687251"/>
              <a:gd name="connsiteX9242" fmla="*/ 6865088 w 8079933"/>
              <a:gd name="connsiteY9242" fmla="*/ 2727119 h 4687251"/>
              <a:gd name="connsiteX9243" fmla="*/ 6867150 w 8079933"/>
              <a:gd name="connsiteY9243" fmla="*/ 2722463 h 4687251"/>
              <a:gd name="connsiteX9244" fmla="*/ 4235408 w 8079933"/>
              <a:gd name="connsiteY9244" fmla="*/ 2720614 h 4687251"/>
              <a:gd name="connsiteX9245" fmla="*/ 4235404 w 8079933"/>
              <a:gd name="connsiteY9245" fmla="*/ 2720622 h 4687251"/>
              <a:gd name="connsiteX9246" fmla="*/ 4231823 w 8079933"/>
              <a:gd name="connsiteY9246" fmla="*/ 2721488 h 4687251"/>
              <a:gd name="connsiteX9247" fmla="*/ 4231789 w 8079933"/>
              <a:gd name="connsiteY9247" fmla="*/ 2721464 h 4687251"/>
              <a:gd name="connsiteX9248" fmla="*/ 4231823 w 8079933"/>
              <a:gd name="connsiteY9248" fmla="*/ 2721489 h 4687251"/>
              <a:gd name="connsiteX9249" fmla="*/ 4235404 w 8079933"/>
              <a:gd name="connsiteY9249" fmla="*/ 2720622 h 4687251"/>
              <a:gd name="connsiteX9250" fmla="*/ 4109480 w 8079933"/>
              <a:gd name="connsiteY9250" fmla="*/ 2719456 h 4687251"/>
              <a:gd name="connsiteX9251" fmla="*/ 4107680 w 8079933"/>
              <a:gd name="connsiteY9251" fmla="*/ 2720081 h 4687251"/>
              <a:gd name="connsiteX9252" fmla="*/ 4107680 w 8079933"/>
              <a:gd name="connsiteY9252" fmla="*/ 2720081 h 4687251"/>
              <a:gd name="connsiteX9253" fmla="*/ 4135569 w 8079933"/>
              <a:gd name="connsiteY9253" fmla="*/ 2716941 h 4687251"/>
              <a:gd name="connsiteX9254" fmla="*/ 4135569 w 8079933"/>
              <a:gd name="connsiteY9254" fmla="*/ 2716941 h 4687251"/>
              <a:gd name="connsiteX9255" fmla="*/ 4140452 w 8079933"/>
              <a:gd name="connsiteY9255" fmla="*/ 2718674 h 4687251"/>
              <a:gd name="connsiteX9256" fmla="*/ 4140452 w 8079933"/>
              <a:gd name="connsiteY9256" fmla="*/ 2718673 h 4687251"/>
              <a:gd name="connsiteX9257" fmla="*/ 3991892 w 8079933"/>
              <a:gd name="connsiteY9257" fmla="*/ 2716616 h 4687251"/>
              <a:gd name="connsiteX9258" fmla="*/ 3981584 w 8079933"/>
              <a:gd name="connsiteY9258" fmla="*/ 2722138 h 4687251"/>
              <a:gd name="connsiteX9259" fmla="*/ 3991893 w 8079933"/>
              <a:gd name="connsiteY9259" fmla="*/ 2716617 h 4687251"/>
              <a:gd name="connsiteX9260" fmla="*/ 6316428 w 8079933"/>
              <a:gd name="connsiteY9260" fmla="*/ 2715534 h 4687251"/>
              <a:gd name="connsiteX9261" fmla="*/ 6316428 w 8079933"/>
              <a:gd name="connsiteY9261" fmla="*/ 2715534 h 4687251"/>
              <a:gd name="connsiteX9262" fmla="*/ 6319141 w 8079933"/>
              <a:gd name="connsiteY9262" fmla="*/ 2718458 h 4687251"/>
              <a:gd name="connsiteX9263" fmla="*/ 6319245 w 8079933"/>
              <a:gd name="connsiteY9263" fmla="*/ 2719204 h 4687251"/>
              <a:gd name="connsiteX9264" fmla="*/ 6319141 w 8079933"/>
              <a:gd name="connsiteY9264" fmla="*/ 2718457 h 4687251"/>
              <a:gd name="connsiteX9265" fmla="*/ 6393547 w 8079933"/>
              <a:gd name="connsiteY9265" fmla="*/ 2715317 h 4687251"/>
              <a:gd name="connsiteX9266" fmla="*/ 6394234 w 8079933"/>
              <a:gd name="connsiteY9266" fmla="*/ 2718457 h 4687251"/>
              <a:gd name="connsiteX9267" fmla="*/ 6398358 w 8079933"/>
              <a:gd name="connsiteY9267" fmla="*/ 2720623 h 4687251"/>
              <a:gd name="connsiteX9268" fmla="*/ 6399118 w 8079933"/>
              <a:gd name="connsiteY9268" fmla="*/ 2722210 h 4687251"/>
              <a:gd name="connsiteX9269" fmla="*/ 6398358 w 8079933"/>
              <a:gd name="connsiteY9269" fmla="*/ 2720622 h 4687251"/>
              <a:gd name="connsiteX9270" fmla="*/ 6394234 w 8079933"/>
              <a:gd name="connsiteY9270" fmla="*/ 2718457 h 4687251"/>
              <a:gd name="connsiteX9271" fmla="*/ 4038989 w 8079933"/>
              <a:gd name="connsiteY9271" fmla="*/ 2713802 h 4687251"/>
              <a:gd name="connsiteX9272" fmla="*/ 4038663 w 8079933"/>
              <a:gd name="connsiteY9272" fmla="*/ 2715209 h 4687251"/>
              <a:gd name="connsiteX9273" fmla="*/ 4037686 w 8079933"/>
              <a:gd name="connsiteY9273" fmla="*/ 2717049 h 4687251"/>
              <a:gd name="connsiteX9274" fmla="*/ 4038771 w 8079933"/>
              <a:gd name="connsiteY9274" fmla="*/ 2721381 h 4687251"/>
              <a:gd name="connsiteX9275" fmla="*/ 4040399 w 8079933"/>
              <a:gd name="connsiteY9275" fmla="*/ 2723330 h 4687251"/>
              <a:gd name="connsiteX9276" fmla="*/ 4040616 w 8079933"/>
              <a:gd name="connsiteY9276" fmla="*/ 2726685 h 4687251"/>
              <a:gd name="connsiteX9277" fmla="*/ 4036276 w 8079933"/>
              <a:gd name="connsiteY9277" fmla="*/ 2726794 h 4687251"/>
              <a:gd name="connsiteX9278" fmla="*/ 4031284 w 8079933"/>
              <a:gd name="connsiteY9278" fmla="*/ 2731883 h 4687251"/>
              <a:gd name="connsiteX9279" fmla="*/ 4032260 w 8079933"/>
              <a:gd name="connsiteY9279" fmla="*/ 2734373 h 4687251"/>
              <a:gd name="connsiteX9280" fmla="*/ 4030633 w 8079933"/>
              <a:gd name="connsiteY9280" fmla="*/ 2736863 h 4687251"/>
              <a:gd name="connsiteX9281" fmla="*/ 4033455 w 8079933"/>
              <a:gd name="connsiteY9281" fmla="*/ 2743684 h 4687251"/>
              <a:gd name="connsiteX9282" fmla="*/ 4030633 w 8079933"/>
              <a:gd name="connsiteY9282" fmla="*/ 2736863 h 4687251"/>
              <a:gd name="connsiteX9283" fmla="*/ 4032261 w 8079933"/>
              <a:gd name="connsiteY9283" fmla="*/ 2734373 h 4687251"/>
              <a:gd name="connsiteX9284" fmla="*/ 4031284 w 8079933"/>
              <a:gd name="connsiteY9284" fmla="*/ 2731883 h 4687251"/>
              <a:gd name="connsiteX9285" fmla="*/ 4036276 w 8079933"/>
              <a:gd name="connsiteY9285" fmla="*/ 2726794 h 4687251"/>
              <a:gd name="connsiteX9286" fmla="*/ 4040617 w 8079933"/>
              <a:gd name="connsiteY9286" fmla="*/ 2726686 h 4687251"/>
              <a:gd name="connsiteX9287" fmla="*/ 4040400 w 8079933"/>
              <a:gd name="connsiteY9287" fmla="*/ 2723330 h 4687251"/>
              <a:gd name="connsiteX9288" fmla="*/ 4038772 w 8079933"/>
              <a:gd name="connsiteY9288" fmla="*/ 2721381 h 4687251"/>
              <a:gd name="connsiteX9289" fmla="*/ 4037687 w 8079933"/>
              <a:gd name="connsiteY9289" fmla="*/ 2717049 h 4687251"/>
              <a:gd name="connsiteX9290" fmla="*/ 4038664 w 8079933"/>
              <a:gd name="connsiteY9290" fmla="*/ 2715209 h 4687251"/>
              <a:gd name="connsiteX9291" fmla="*/ 4201872 w 8079933"/>
              <a:gd name="connsiteY9291" fmla="*/ 2712718 h 4687251"/>
              <a:gd name="connsiteX9292" fmla="*/ 4196664 w 8079933"/>
              <a:gd name="connsiteY9292" fmla="*/ 2715317 h 4687251"/>
              <a:gd name="connsiteX9293" fmla="*/ 4184184 w 8079933"/>
              <a:gd name="connsiteY9293" fmla="*/ 2714451 h 4687251"/>
              <a:gd name="connsiteX9294" fmla="*/ 4179084 w 8079933"/>
              <a:gd name="connsiteY9294" fmla="*/ 2715859 h 4687251"/>
              <a:gd name="connsiteX9295" fmla="*/ 4179084 w 8079933"/>
              <a:gd name="connsiteY9295" fmla="*/ 2715859 h 4687251"/>
              <a:gd name="connsiteX9296" fmla="*/ 4184184 w 8079933"/>
              <a:gd name="connsiteY9296" fmla="*/ 2714451 h 4687251"/>
              <a:gd name="connsiteX9297" fmla="*/ 4196664 w 8079933"/>
              <a:gd name="connsiteY9297" fmla="*/ 2715318 h 4687251"/>
              <a:gd name="connsiteX9298" fmla="*/ 4201872 w 8079933"/>
              <a:gd name="connsiteY9298" fmla="*/ 2712719 h 4687251"/>
              <a:gd name="connsiteX9299" fmla="*/ 4212507 w 8079933"/>
              <a:gd name="connsiteY9299" fmla="*/ 2714018 h 4687251"/>
              <a:gd name="connsiteX9300" fmla="*/ 4220212 w 8079933"/>
              <a:gd name="connsiteY9300" fmla="*/ 2717699 h 4687251"/>
              <a:gd name="connsiteX9301" fmla="*/ 4226939 w 8079933"/>
              <a:gd name="connsiteY9301" fmla="*/ 2717916 h 4687251"/>
              <a:gd name="connsiteX9302" fmla="*/ 4226956 w 8079933"/>
              <a:gd name="connsiteY9302" fmla="*/ 2717928 h 4687251"/>
              <a:gd name="connsiteX9303" fmla="*/ 4226940 w 8079933"/>
              <a:gd name="connsiteY9303" fmla="*/ 2717916 h 4687251"/>
              <a:gd name="connsiteX9304" fmla="*/ 4220212 w 8079933"/>
              <a:gd name="connsiteY9304" fmla="*/ 2717699 h 4687251"/>
              <a:gd name="connsiteX9305" fmla="*/ 4212507 w 8079933"/>
              <a:gd name="connsiteY9305" fmla="*/ 2714018 h 4687251"/>
              <a:gd name="connsiteX9306" fmla="*/ 4126453 w 8079933"/>
              <a:gd name="connsiteY9306" fmla="*/ 2712610 h 4687251"/>
              <a:gd name="connsiteX9307" fmla="*/ 4119726 w 8079933"/>
              <a:gd name="connsiteY9307" fmla="*/ 2713910 h 4687251"/>
              <a:gd name="connsiteX9308" fmla="*/ 4116144 w 8079933"/>
              <a:gd name="connsiteY9308" fmla="*/ 2715642 h 4687251"/>
              <a:gd name="connsiteX9309" fmla="*/ 4112780 w 8079933"/>
              <a:gd name="connsiteY9309" fmla="*/ 2715967 h 4687251"/>
              <a:gd name="connsiteX9310" fmla="*/ 4111478 w 8079933"/>
              <a:gd name="connsiteY9310" fmla="*/ 2717591 h 4687251"/>
              <a:gd name="connsiteX9311" fmla="*/ 4112781 w 8079933"/>
              <a:gd name="connsiteY9311" fmla="*/ 2715967 h 4687251"/>
              <a:gd name="connsiteX9312" fmla="*/ 4116144 w 8079933"/>
              <a:gd name="connsiteY9312" fmla="*/ 2715642 h 4687251"/>
              <a:gd name="connsiteX9313" fmla="*/ 4119726 w 8079933"/>
              <a:gd name="connsiteY9313" fmla="*/ 2713910 h 4687251"/>
              <a:gd name="connsiteX9314" fmla="*/ 4126453 w 8079933"/>
              <a:gd name="connsiteY9314" fmla="*/ 2712610 h 4687251"/>
              <a:gd name="connsiteX9315" fmla="*/ 3672744 w 8079933"/>
              <a:gd name="connsiteY9315" fmla="*/ 2712069 h 4687251"/>
              <a:gd name="connsiteX9316" fmla="*/ 3671681 w 8079933"/>
              <a:gd name="connsiteY9316" fmla="*/ 2712254 h 4687251"/>
              <a:gd name="connsiteX9317" fmla="*/ 3672745 w 8079933"/>
              <a:gd name="connsiteY9317" fmla="*/ 2712069 h 4687251"/>
              <a:gd name="connsiteX9318" fmla="*/ 4127430 w 8079933"/>
              <a:gd name="connsiteY9318" fmla="*/ 2711636 h 4687251"/>
              <a:gd name="connsiteX9319" fmla="*/ 4126757 w 8079933"/>
              <a:gd name="connsiteY9319" fmla="*/ 2712308 h 4687251"/>
              <a:gd name="connsiteX9320" fmla="*/ 4127430 w 8079933"/>
              <a:gd name="connsiteY9320" fmla="*/ 2711636 h 4687251"/>
              <a:gd name="connsiteX9321" fmla="*/ 4131336 w 8079933"/>
              <a:gd name="connsiteY9321" fmla="*/ 2711853 h 4687251"/>
              <a:gd name="connsiteX9322" fmla="*/ 4135569 w 8079933"/>
              <a:gd name="connsiteY9322" fmla="*/ 2715101 h 4687251"/>
              <a:gd name="connsiteX9323" fmla="*/ 4135569 w 8079933"/>
              <a:gd name="connsiteY9323" fmla="*/ 2715101 h 4687251"/>
              <a:gd name="connsiteX9324" fmla="*/ 4131337 w 8079933"/>
              <a:gd name="connsiteY9324" fmla="*/ 2711853 h 4687251"/>
              <a:gd name="connsiteX9325" fmla="*/ 2540157 w 8079933"/>
              <a:gd name="connsiteY9325" fmla="*/ 2711095 h 4687251"/>
              <a:gd name="connsiteX9326" fmla="*/ 2544498 w 8079933"/>
              <a:gd name="connsiteY9326" fmla="*/ 2715209 h 4687251"/>
              <a:gd name="connsiteX9327" fmla="*/ 2544606 w 8079933"/>
              <a:gd name="connsiteY9327" fmla="*/ 2719648 h 4687251"/>
              <a:gd name="connsiteX9328" fmla="*/ 2538638 w 8079933"/>
              <a:gd name="connsiteY9328" fmla="*/ 2719866 h 4687251"/>
              <a:gd name="connsiteX9329" fmla="*/ 2535600 w 8079933"/>
              <a:gd name="connsiteY9329" fmla="*/ 2715642 h 4687251"/>
              <a:gd name="connsiteX9330" fmla="*/ 4246183 w 8079933"/>
              <a:gd name="connsiteY9330" fmla="*/ 2710842 h 4687251"/>
              <a:gd name="connsiteX9331" fmla="*/ 4244085 w 8079933"/>
              <a:gd name="connsiteY9331" fmla="*/ 2711420 h 4687251"/>
              <a:gd name="connsiteX9332" fmla="*/ 4243919 w 8079933"/>
              <a:gd name="connsiteY9332" fmla="*/ 2711778 h 4687251"/>
              <a:gd name="connsiteX9333" fmla="*/ 4244085 w 8079933"/>
              <a:gd name="connsiteY9333" fmla="*/ 2711420 h 4687251"/>
              <a:gd name="connsiteX9334" fmla="*/ 4247232 w 8079933"/>
              <a:gd name="connsiteY9334" fmla="*/ 2710553 h 4687251"/>
              <a:gd name="connsiteX9335" fmla="*/ 4250813 w 8079933"/>
              <a:gd name="connsiteY9335" fmla="*/ 2712069 h 4687251"/>
              <a:gd name="connsiteX9336" fmla="*/ 4247233 w 8079933"/>
              <a:gd name="connsiteY9336" fmla="*/ 2710553 h 4687251"/>
              <a:gd name="connsiteX9337" fmla="*/ 6888311 w 8079933"/>
              <a:gd name="connsiteY9337" fmla="*/ 2709579 h 4687251"/>
              <a:gd name="connsiteX9338" fmla="*/ 6893086 w 8079933"/>
              <a:gd name="connsiteY9338" fmla="*/ 2714560 h 4687251"/>
              <a:gd name="connsiteX9339" fmla="*/ 6893737 w 8079933"/>
              <a:gd name="connsiteY9339" fmla="*/ 2717266 h 4687251"/>
              <a:gd name="connsiteX9340" fmla="*/ 6892543 w 8079933"/>
              <a:gd name="connsiteY9340" fmla="*/ 2719540 h 4687251"/>
              <a:gd name="connsiteX9341" fmla="*/ 6886358 w 8079933"/>
              <a:gd name="connsiteY9341" fmla="*/ 2712719 h 4687251"/>
              <a:gd name="connsiteX9342" fmla="*/ 6886466 w 8079933"/>
              <a:gd name="connsiteY9342" fmla="*/ 2710012 h 4687251"/>
              <a:gd name="connsiteX9343" fmla="*/ 2498704 w 8079933"/>
              <a:gd name="connsiteY9343" fmla="*/ 2709579 h 4687251"/>
              <a:gd name="connsiteX9344" fmla="*/ 2500874 w 8079933"/>
              <a:gd name="connsiteY9344" fmla="*/ 2714884 h 4687251"/>
              <a:gd name="connsiteX9345" fmla="*/ 2497185 w 8079933"/>
              <a:gd name="connsiteY9345" fmla="*/ 2722030 h 4687251"/>
              <a:gd name="connsiteX9346" fmla="*/ 3851255 w 8079933"/>
              <a:gd name="connsiteY9346" fmla="*/ 2709254 h 4687251"/>
              <a:gd name="connsiteX9347" fmla="*/ 3851254 w 8079933"/>
              <a:gd name="connsiteY9347" fmla="*/ 2709254 h 4687251"/>
              <a:gd name="connsiteX9348" fmla="*/ 3845828 w 8079933"/>
              <a:gd name="connsiteY9348" fmla="*/ 2718674 h 4687251"/>
              <a:gd name="connsiteX9349" fmla="*/ 3845612 w 8079933"/>
              <a:gd name="connsiteY9349" fmla="*/ 2722138 h 4687251"/>
              <a:gd name="connsiteX9350" fmla="*/ 3840511 w 8079933"/>
              <a:gd name="connsiteY9350" fmla="*/ 2728960 h 4687251"/>
              <a:gd name="connsiteX9351" fmla="*/ 3833566 w 8079933"/>
              <a:gd name="connsiteY9351" fmla="*/ 2741627 h 4687251"/>
              <a:gd name="connsiteX9352" fmla="*/ 3827597 w 8079933"/>
              <a:gd name="connsiteY9352" fmla="*/ 2746174 h 4687251"/>
              <a:gd name="connsiteX9353" fmla="*/ 3824902 w 8079933"/>
              <a:gd name="connsiteY9353" fmla="*/ 2748326 h 4687251"/>
              <a:gd name="connsiteX9354" fmla="*/ 3827598 w 8079933"/>
              <a:gd name="connsiteY9354" fmla="*/ 2746174 h 4687251"/>
              <a:gd name="connsiteX9355" fmla="*/ 3833567 w 8079933"/>
              <a:gd name="connsiteY9355" fmla="*/ 2741627 h 4687251"/>
              <a:gd name="connsiteX9356" fmla="*/ 3840512 w 8079933"/>
              <a:gd name="connsiteY9356" fmla="*/ 2728959 h 4687251"/>
              <a:gd name="connsiteX9357" fmla="*/ 3845612 w 8079933"/>
              <a:gd name="connsiteY9357" fmla="*/ 2722138 h 4687251"/>
              <a:gd name="connsiteX9358" fmla="*/ 3845829 w 8079933"/>
              <a:gd name="connsiteY9358" fmla="*/ 2718674 h 4687251"/>
              <a:gd name="connsiteX9359" fmla="*/ 3600108 w 8079933"/>
              <a:gd name="connsiteY9359" fmla="*/ 2707990 h 4687251"/>
              <a:gd name="connsiteX9360" fmla="*/ 3604164 w 8079933"/>
              <a:gd name="connsiteY9360" fmla="*/ 2709363 h 4687251"/>
              <a:gd name="connsiteX9361" fmla="*/ 3605867 w 8079933"/>
              <a:gd name="connsiteY9361" fmla="*/ 2710070 h 4687251"/>
              <a:gd name="connsiteX9362" fmla="*/ 3604163 w 8079933"/>
              <a:gd name="connsiteY9362" fmla="*/ 2709362 h 4687251"/>
              <a:gd name="connsiteX9363" fmla="*/ 3592987 w 8079933"/>
              <a:gd name="connsiteY9363" fmla="*/ 2707197 h 4687251"/>
              <a:gd name="connsiteX9364" fmla="*/ 3592987 w 8079933"/>
              <a:gd name="connsiteY9364" fmla="*/ 2707197 h 4687251"/>
              <a:gd name="connsiteX9365" fmla="*/ 3598087 w 8079933"/>
              <a:gd name="connsiteY9365" fmla="*/ 2707305 h 4687251"/>
              <a:gd name="connsiteX9366" fmla="*/ 3598086 w 8079933"/>
              <a:gd name="connsiteY9366" fmla="*/ 2707305 h 4687251"/>
              <a:gd name="connsiteX9367" fmla="*/ 3617077 w 8079933"/>
              <a:gd name="connsiteY9367" fmla="*/ 2706764 h 4687251"/>
              <a:gd name="connsiteX9368" fmla="*/ 3618921 w 8079933"/>
              <a:gd name="connsiteY9368" fmla="*/ 2709795 h 4687251"/>
              <a:gd name="connsiteX9369" fmla="*/ 3617293 w 8079933"/>
              <a:gd name="connsiteY9369" fmla="*/ 2712827 h 4687251"/>
              <a:gd name="connsiteX9370" fmla="*/ 3615422 w 8079933"/>
              <a:gd name="connsiteY9370" fmla="*/ 2712751 h 4687251"/>
              <a:gd name="connsiteX9371" fmla="*/ 3617294 w 8079933"/>
              <a:gd name="connsiteY9371" fmla="*/ 2712827 h 4687251"/>
              <a:gd name="connsiteX9372" fmla="*/ 3618921 w 8079933"/>
              <a:gd name="connsiteY9372" fmla="*/ 2709796 h 4687251"/>
              <a:gd name="connsiteX9373" fmla="*/ 6315886 w 8079933"/>
              <a:gd name="connsiteY9373" fmla="*/ 2705790 h 4687251"/>
              <a:gd name="connsiteX9374" fmla="*/ 6315886 w 8079933"/>
              <a:gd name="connsiteY9374" fmla="*/ 2705790 h 4687251"/>
              <a:gd name="connsiteX9375" fmla="*/ 6316862 w 8079933"/>
              <a:gd name="connsiteY9375" fmla="*/ 2710337 h 4687251"/>
              <a:gd name="connsiteX9376" fmla="*/ 6316862 w 8079933"/>
              <a:gd name="connsiteY9376" fmla="*/ 2710337 h 4687251"/>
              <a:gd name="connsiteX9377" fmla="*/ 3855486 w 8079933"/>
              <a:gd name="connsiteY9377" fmla="*/ 2704924 h 4687251"/>
              <a:gd name="connsiteX9378" fmla="*/ 3854510 w 8079933"/>
              <a:gd name="connsiteY9378" fmla="*/ 2708171 h 4687251"/>
              <a:gd name="connsiteX9379" fmla="*/ 3851304 w 8079933"/>
              <a:gd name="connsiteY9379" fmla="*/ 2709238 h 4687251"/>
              <a:gd name="connsiteX9380" fmla="*/ 3854511 w 8079933"/>
              <a:gd name="connsiteY9380" fmla="*/ 2708172 h 4687251"/>
              <a:gd name="connsiteX9381" fmla="*/ 3855488 w 8079933"/>
              <a:gd name="connsiteY9381" fmla="*/ 2704924 h 4687251"/>
              <a:gd name="connsiteX9382" fmla="*/ 3584956 w 8079933"/>
              <a:gd name="connsiteY9382" fmla="*/ 2704490 h 4687251"/>
              <a:gd name="connsiteX9383" fmla="*/ 3584955 w 8079933"/>
              <a:gd name="connsiteY9383" fmla="*/ 2704490 h 4687251"/>
              <a:gd name="connsiteX9384" fmla="*/ 3581375 w 8079933"/>
              <a:gd name="connsiteY9384" fmla="*/ 2707305 h 4687251"/>
              <a:gd name="connsiteX9385" fmla="*/ 3581375 w 8079933"/>
              <a:gd name="connsiteY9385" fmla="*/ 2707305 h 4687251"/>
              <a:gd name="connsiteX9386" fmla="*/ 3563036 w 8079933"/>
              <a:gd name="connsiteY9386" fmla="*/ 2703949 h 4687251"/>
              <a:gd name="connsiteX9387" fmla="*/ 3563035 w 8079933"/>
              <a:gd name="connsiteY9387" fmla="*/ 2703949 h 4687251"/>
              <a:gd name="connsiteX9388" fmla="*/ 3567267 w 8079933"/>
              <a:gd name="connsiteY9388" fmla="*/ 2703949 h 4687251"/>
              <a:gd name="connsiteX9389" fmla="*/ 3567268 w 8079933"/>
              <a:gd name="connsiteY9389" fmla="*/ 2703949 h 4687251"/>
              <a:gd name="connsiteX9390" fmla="*/ 4466327 w 8079933"/>
              <a:gd name="connsiteY9390" fmla="*/ 2703732 h 4687251"/>
              <a:gd name="connsiteX9391" fmla="*/ 4466327 w 8079933"/>
              <a:gd name="connsiteY9391" fmla="*/ 2703732 h 4687251"/>
              <a:gd name="connsiteX9392" fmla="*/ 4469139 w 8079933"/>
              <a:gd name="connsiteY9392" fmla="*/ 2705415 h 4687251"/>
              <a:gd name="connsiteX9393" fmla="*/ 4256674 w 8079933"/>
              <a:gd name="connsiteY9393" fmla="*/ 2703624 h 4687251"/>
              <a:gd name="connsiteX9394" fmla="*/ 4256674 w 8079933"/>
              <a:gd name="connsiteY9394" fmla="*/ 2703624 h 4687251"/>
              <a:gd name="connsiteX9395" fmla="*/ 4261122 w 8079933"/>
              <a:gd name="connsiteY9395" fmla="*/ 2705357 h 4687251"/>
              <a:gd name="connsiteX9396" fmla="*/ 4264269 w 8079933"/>
              <a:gd name="connsiteY9396" fmla="*/ 2706547 h 4687251"/>
              <a:gd name="connsiteX9397" fmla="*/ 4269935 w 8079933"/>
              <a:gd name="connsiteY9397" fmla="*/ 2713887 h 4687251"/>
              <a:gd name="connsiteX9398" fmla="*/ 4269935 w 8079933"/>
              <a:gd name="connsiteY9398" fmla="*/ 2713886 h 4687251"/>
              <a:gd name="connsiteX9399" fmla="*/ 4264269 w 8079933"/>
              <a:gd name="connsiteY9399" fmla="*/ 2706547 h 4687251"/>
              <a:gd name="connsiteX9400" fmla="*/ 4261123 w 8079933"/>
              <a:gd name="connsiteY9400" fmla="*/ 2705356 h 4687251"/>
              <a:gd name="connsiteX9401" fmla="*/ 4261123 w 8079933"/>
              <a:gd name="connsiteY9401" fmla="*/ 2705356 h 4687251"/>
              <a:gd name="connsiteX9402" fmla="*/ 4084458 w 8079933"/>
              <a:gd name="connsiteY9402" fmla="*/ 2703516 h 4687251"/>
              <a:gd name="connsiteX9403" fmla="*/ 4088364 w 8079933"/>
              <a:gd name="connsiteY9403" fmla="*/ 2704274 h 4687251"/>
              <a:gd name="connsiteX9404" fmla="*/ 4093490 w 8079933"/>
              <a:gd name="connsiteY9404" fmla="*/ 2706133 h 4687251"/>
              <a:gd name="connsiteX9405" fmla="*/ 4088364 w 8079933"/>
              <a:gd name="connsiteY9405" fmla="*/ 2704273 h 4687251"/>
              <a:gd name="connsiteX9406" fmla="*/ 3587342 w 8079933"/>
              <a:gd name="connsiteY9406" fmla="*/ 2703516 h 4687251"/>
              <a:gd name="connsiteX9407" fmla="*/ 3585012 w 8079933"/>
              <a:gd name="connsiteY9407" fmla="*/ 2704467 h 4687251"/>
              <a:gd name="connsiteX9408" fmla="*/ 3587343 w 8079933"/>
              <a:gd name="connsiteY9408" fmla="*/ 2703516 h 4687251"/>
              <a:gd name="connsiteX9409" fmla="*/ 3966608 w 8079933"/>
              <a:gd name="connsiteY9409" fmla="*/ 2701980 h 4687251"/>
              <a:gd name="connsiteX9410" fmla="*/ 3972794 w 8079933"/>
              <a:gd name="connsiteY9410" fmla="*/ 2706114 h 4687251"/>
              <a:gd name="connsiteX9411" fmla="*/ 3972924 w 8079933"/>
              <a:gd name="connsiteY9411" fmla="*/ 2708973 h 4687251"/>
              <a:gd name="connsiteX9412" fmla="*/ 3972794 w 8079933"/>
              <a:gd name="connsiteY9412" fmla="*/ 2706114 h 4687251"/>
              <a:gd name="connsiteX9413" fmla="*/ 6167544 w 8079933"/>
              <a:gd name="connsiteY9413" fmla="*/ 2701676 h 4687251"/>
              <a:gd name="connsiteX9414" fmla="*/ 6168521 w 8079933"/>
              <a:gd name="connsiteY9414" fmla="*/ 2704382 h 4687251"/>
              <a:gd name="connsiteX9415" fmla="*/ 6167001 w 8079933"/>
              <a:gd name="connsiteY9415" fmla="*/ 2708388 h 4687251"/>
              <a:gd name="connsiteX9416" fmla="*/ 6168521 w 8079933"/>
              <a:gd name="connsiteY9416" fmla="*/ 2710121 h 4687251"/>
              <a:gd name="connsiteX9417" fmla="*/ 6168303 w 8079933"/>
              <a:gd name="connsiteY9417" fmla="*/ 2715101 h 4687251"/>
              <a:gd name="connsiteX9418" fmla="*/ 6164723 w 8079933"/>
              <a:gd name="connsiteY9418" fmla="*/ 2720406 h 4687251"/>
              <a:gd name="connsiteX9419" fmla="*/ 6167978 w 8079933"/>
              <a:gd name="connsiteY9419" fmla="*/ 2722463 h 4687251"/>
              <a:gd name="connsiteX9420" fmla="*/ 6167978 w 8079933"/>
              <a:gd name="connsiteY9420" fmla="*/ 2729176 h 4687251"/>
              <a:gd name="connsiteX9421" fmla="*/ 6162660 w 8079933"/>
              <a:gd name="connsiteY9421" fmla="*/ 2733291 h 4687251"/>
              <a:gd name="connsiteX9422" fmla="*/ 6160490 w 8079933"/>
              <a:gd name="connsiteY9422" fmla="*/ 2731233 h 4687251"/>
              <a:gd name="connsiteX9423" fmla="*/ 6163203 w 8079933"/>
              <a:gd name="connsiteY9423" fmla="*/ 2720947 h 4687251"/>
              <a:gd name="connsiteX9424" fmla="*/ 6162335 w 8079933"/>
              <a:gd name="connsiteY9424" fmla="*/ 2717700 h 4687251"/>
              <a:gd name="connsiteX9425" fmla="*/ 6163746 w 8079933"/>
              <a:gd name="connsiteY9425" fmla="*/ 2714885 h 4687251"/>
              <a:gd name="connsiteX9426" fmla="*/ 6162877 w 8079933"/>
              <a:gd name="connsiteY9426" fmla="*/ 2706981 h 4687251"/>
              <a:gd name="connsiteX9427" fmla="*/ 4076786 w 8079933"/>
              <a:gd name="connsiteY9427" fmla="*/ 2701178 h 4687251"/>
              <a:gd name="connsiteX9428" fmla="*/ 4081636 w 8079933"/>
              <a:gd name="connsiteY9428" fmla="*/ 2701892 h 4687251"/>
              <a:gd name="connsiteX9429" fmla="*/ 4081636 w 8079933"/>
              <a:gd name="connsiteY9429" fmla="*/ 2701892 h 4687251"/>
              <a:gd name="connsiteX9430" fmla="*/ 3604598 w 8079933"/>
              <a:gd name="connsiteY9430" fmla="*/ 2700701 h 4687251"/>
              <a:gd name="connsiteX9431" fmla="*/ 3615014 w 8079933"/>
              <a:gd name="connsiteY9431" fmla="*/ 2707089 h 4687251"/>
              <a:gd name="connsiteX9432" fmla="*/ 3615015 w 8079933"/>
              <a:gd name="connsiteY9432" fmla="*/ 2707089 h 4687251"/>
              <a:gd name="connsiteX9433" fmla="*/ 4072055 w 8079933"/>
              <a:gd name="connsiteY9433" fmla="*/ 2699963 h 4687251"/>
              <a:gd name="connsiteX9434" fmla="*/ 4068506 w 8079933"/>
              <a:gd name="connsiteY9434" fmla="*/ 2700159 h 4687251"/>
              <a:gd name="connsiteX9435" fmla="*/ 4066444 w 8079933"/>
              <a:gd name="connsiteY9435" fmla="*/ 2702000 h 4687251"/>
              <a:gd name="connsiteX9436" fmla="*/ 4059173 w 8079933"/>
              <a:gd name="connsiteY9436" fmla="*/ 2701892 h 4687251"/>
              <a:gd name="connsiteX9437" fmla="*/ 4057220 w 8079933"/>
              <a:gd name="connsiteY9437" fmla="*/ 2702000 h 4687251"/>
              <a:gd name="connsiteX9438" fmla="*/ 4053422 w 8079933"/>
              <a:gd name="connsiteY9438" fmla="*/ 2701783 h 4687251"/>
              <a:gd name="connsiteX9439" fmla="*/ 4048538 w 8079933"/>
              <a:gd name="connsiteY9439" fmla="*/ 2702866 h 4687251"/>
              <a:gd name="connsiteX9440" fmla="*/ 4046694 w 8079933"/>
              <a:gd name="connsiteY9440" fmla="*/ 2703949 h 4687251"/>
              <a:gd name="connsiteX9441" fmla="*/ 4044089 w 8079933"/>
              <a:gd name="connsiteY9441" fmla="*/ 2705031 h 4687251"/>
              <a:gd name="connsiteX9442" fmla="*/ 4038771 w 8079933"/>
              <a:gd name="connsiteY9442" fmla="*/ 2709363 h 4687251"/>
              <a:gd name="connsiteX9443" fmla="*/ 4038012 w 8079933"/>
              <a:gd name="connsiteY9443" fmla="*/ 2711744 h 4687251"/>
              <a:gd name="connsiteX9444" fmla="*/ 4038772 w 8079933"/>
              <a:gd name="connsiteY9444" fmla="*/ 2709363 h 4687251"/>
              <a:gd name="connsiteX9445" fmla="*/ 4044090 w 8079933"/>
              <a:gd name="connsiteY9445" fmla="*/ 2705032 h 4687251"/>
              <a:gd name="connsiteX9446" fmla="*/ 4046694 w 8079933"/>
              <a:gd name="connsiteY9446" fmla="*/ 2703949 h 4687251"/>
              <a:gd name="connsiteX9447" fmla="*/ 4048538 w 8079933"/>
              <a:gd name="connsiteY9447" fmla="*/ 2702867 h 4687251"/>
              <a:gd name="connsiteX9448" fmla="*/ 4053422 w 8079933"/>
              <a:gd name="connsiteY9448" fmla="*/ 2701784 h 4687251"/>
              <a:gd name="connsiteX9449" fmla="*/ 4057220 w 8079933"/>
              <a:gd name="connsiteY9449" fmla="*/ 2702000 h 4687251"/>
              <a:gd name="connsiteX9450" fmla="*/ 4059173 w 8079933"/>
              <a:gd name="connsiteY9450" fmla="*/ 2701892 h 4687251"/>
              <a:gd name="connsiteX9451" fmla="*/ 4066444 w 8079933"/>
              <a:gd name="connsiteY9451" fmla="*/ 2702000 h 4687251"/>
              <a:gd name="connsiteX9452" fmla="*/ 4068506 w 8079933"/>
              <a:gd name="connsiteY9452" fmla="*/ 2700159 h 4687251"/>
              <a:gd name="connsiteX9453" fmla="*/ 4072412 w 8079933"/>
              <a:gd name="connsiteY9453" fmla="*/ 2699943 h 4687251"/>
              <a:gd name="connsiteX9454" fmla="*/ 4073714 w 8079933"/>
              <a:gd name="connsiteY9454" fmla="*/ 2700430 h 4687251"/>
              <a:gd name="connsiteX9455" fmla="*/ 4072412 w 8079933"/>
              <a:gd name="connsiteY9455" fmla="*/ 2699943 h 4687251"/>
              <a:gd name="connsiteX9456" fmla="*/ 4906905 w 8079933"/>
              <a:gd name="connsiteY9456" fmla="*/ 2699401 h 4687251"/>
              <a:gd name="connsiteX9457" fmla="*/ 4906906 w 8079933"/>
              <a:gd name="connsiteY9457" fmla="*/ 2699402 h 4687251"/>
              <a:gd name="connsiteX9458" fmla="*/ 4913136 w 8079933"/>
              <a:gd name="connsiteY9458" fmla="*/ 2700372 h 4687251"/>
              <a:gd name="connsiteX9459" fmla="*/ 6825046 w 8079933"/>
              <a:gd name="connsiteY9459" fmla="*/ 2699294 h 4687251"/>
              <a:gd name="connsiteX9460" fmla="*/ 6830580 w 8079933"/>
              <a:gd name="connsiteY9460" fmla="*/ 2701351 h 4687251"/>
              <a:gd name="connsiteX9461" fmla="*/ 6836332 w 8079933"/>
              <a:gd name="connsiteY9461" fmla="*/ 2700052 h 4687251"/>
              <a:gd name="connsiteX9462" fmla="*/ 6846315 w 8079933"/>
              <a:gd name="connsiteY9462" fmla="*/ 2708822 h 4687251"/>
              <a:gd name="connsiteX9463" fmla="*/ 6851090 w 8079933"/>
              <a:gd name="connsiteY9463" fmla="*/ 2710663 h 4687251"/>
              <a:gd name="connsiteX9464" fmla="*/ 6851090 w 8079933"/>
              <a:gd name="connsiteY9464" fmla="*/ 2714993 h 4687251"/>
              <a:gd name="connsiteX9465" fmla="*/ 6849354 w 8079933"/>
              <a:gd name="connsiteY9465" fmla="*/ 2718241 h 4687251"/>
              <a:gd name="connsiteX9466" fmla="*/ 6851741 w 8079933"/>
              <a:gd name="connsiteY9466" fmla="*/ 2721814 h 4687251"/>
              <a:gd name="connsiteX9467" fmla="*/ 6851741 w 8079933"/>
              <a:gd name="connsiteY9467" fmla="*/ 2725929 h 4687251"/>
              <a:gd name="connsiteX9468" fmla="*/ 6849571 w 8079933"/>
              <a:gd name="connsiteY9468" fmla="*/ 2727445 h 4687251"/>
              <a:gd name="connsiteX9469" fmla="*/ 6849571 w 8079933"/>
              <a:gd name="connsiteY9469" fmla="*/ 2731234 h 4687251"/>
              <a:gd name="connsiteX9470" fmla="*/ 6845230 w 8079933"/>
              <a:gd name="connsiteY9470" fmla="*/ 2734916 h 4687251"/>
              <a:gd name="connsiteX9471" fmla="*/ 6841324 w 8079933"/>
              <a:gd name="connsiteY9471" fmla="*/ 2734157 h 4687251"/>
              <a:gd name="connsiteX9472" fmla="*/ 6836657 w 8079933"/>
              <a:gd name="connsiteY9472" fmla="*/ 2728527 h 4687251"/>
              <a:gd name="connsiteX9473" fmla="*/ 6836440 w 8079933"/>
              <a:gd name="connsiteY9473" fmla="*/ 2724196 h 4687251"/>
              <a:gd name="connsiteX9474" fmla="*/ 6832642 w 8079933"/>
              <a:gd name="connsiteY9474" fmla="*/ 2722031 h 4687251"/>
              <a:gd name="connsiteX9475" fmla="*/ 6832642 w 8079933"/>
              <a:gd name="connsiteY9475" fmla="*/ 2714561 h 4687251"/>
              <a:gd name="connsiteX9476" fmla="*/ 6829603 w 8079933"/>
              <a:gd name="connsiteY9476" fmla="*/ 2710446 h 4687251"/>
              <a:gd name="connsiteX9477" fmla="*/ 6826240 w 8079933"/>
              <a:gd name="connsiteY9477" fmla="*/ 2709255 h 4687251"/>
              <a:gd name="connsiteX9478" fmla="*/ 6825046 w 8079933"/>
              <a:gd name="connsiteY9478" fmla="*/ 2703625 h 4687251"/>
              <a:gd name="connsiteX9479" fmla="*/ 6821791 w 8079933"/>
              <a:gd name="connsiteY9479" fmla="*/ 2703733 h 4687251"/>
              <a:gd name="connsiteX9480" fmla="*/ 6820705 w 8079933"/>
              <a:gd name="connsiteY9480" fmla="*/ 2701567 h 4687251"/>
              <a:gd name="connsiteX9481" fmla="*/ 6859446 w 8079933"/>
              <a:gd name="connsiteY9481" fmla="*/ 2697453 h 4687251"/>
              <a:gd name="connsiteX9482" fmla="*/ 6863895 w 8079933"/>
              <a:gd name="connsiteY9482" fmla="*/ 2699077 h 4687251"/>
              <a:gd name="connsiteX9483" fmla="*/ 6866282 w 8079933"/>
              <a:gd name="connsiteY9483" fmla="*/ 2703083 h 4687251"/>
              <a:gd name="connsiteX9484" fmla="*/ 6864329 w 8079933"/>
              <a:gd name="connsiteY9484" fmla="*/ 2705573 h 4687251"/>
              <a:gd name="connsiteX9485" fmla="*/ 6863244 w 8079933"/>
              <a:gd name="connsiteY9485" fmla="*/ 2708171 h 4687251"/>
              <a:gd name="connsiteX9486" fmla="*/ 6857710 w 8079933"/>
              <a:gd name="connsiteY9486" fmla="*/ 2704382 h 4687251"/>
              <a:gd name="connsiteX9487" fmla="*/ 6856950 w 8079933"/>
              <a:gd name="connsiteY9487" fmla="*/ 2700918 h 4687251"/>
              <a:gd name="connsiteX9488" fmla="*/ 7408757 w 8079933"/>
              <a:gd name="connsiteY9488" fmla="*/ 2697344 h 4687251"/>
              <a:gd name="connsiteX9489" fmla="*/ 7410494 w 8079933"/>
              <a:gd name="connsiteY9489" fmla="*/ 2698535 h 4687251"/>
              <a:gd name="connsiteX9490" fmla="*/ 7406370 w 8079933"/>
              <a:gd name="connsiteY9490" fmla="*/ 2706114 h 4687251"/>
              <a:gd name="connsiteX9491" fmla="*/ 7402897 w 8079933"/>
              <a:gd name="connsiteY9491" fmla="*/ 2707197 h 4687251"/>
              <a:gd name="connsiteX9492" fmla="*/ 7401052 w 8079933"/>
              <a:gd name="connsiteY9492" fmla="*/ 2705464 h 4687251"/>
              <a:gd name="connsiteX9493" fmla="*/ 7401920 w 8079933"/>
              <a:gd name="connsiteY9493" fmla="*/ 2702540 h 4687251"/>
              <a:gd name="connsiteX9494" fmla="*/ 7404091 w 8079933"/>
              <a:gd name="connsiteY9494" fmla="*/ 2698535 h 4687251"/>
              <a:gd name="connsiteX9495" fmla="*/ 3879795 w 8079933"/>
              <a:gd name="connsiteY9495" fmla="*/ 2696911 h 4687251"/>
              <a:gd name="connsiteX9496" fmla="*/ 3879794 w 8079933"/>
              <a:gd name="connsiteY9496" fmla="*/ 2696912 h 4687251"/>
              <a:gd name="connsiteX9497" fmla="*/ 3877732 w 8079933"/>
              <a:gd name="connsiteY9497" fmla="*/ 2701675 h 4687251"/>
              <a:gd name="connsiteX9498" fmla="*/ 3877733 w 8079933"/>
              <a:gd name="connsiteY9498" fmla="*/ 2701675 h 4687251"/>
              <a:gd name="connsiteX9499" fmla="*/ 3582569 w 8079933"/>
              <a:gd name="connsiteY9499" fmla="*/ 2694638 h 4687251"/>
              <a:gd name="connsiteX9500" fmla="*/ 3586583 w 8079933"/>
              <a:gd name="connsiteY9500" fmla="*/ 2695829 h 4687251"/>
              <a:gd name="connsiteX9501" fmla="*/ 3592660 w 8079933"/>
              <a:gd name="connsiteY9501" fmla="*/ 2696046 h 4687251"/>
              <a:gd name="connsiteX9502" fmla="*/ 3600148 w 8079933"/>
              <a:gd name="connsiteY9502" fmla="*/ 2700701 h 4687251"/>
              <a:gd name="connsiteX9503" fmla="*/ 3600148 w 8079933"/>
              <a:gd name="connsiteY9503" fmla="*/ 2700701 h 4687251"/>
              <a:gd name="connsiteX9504" fmla="*/ 3592661 w 8079933"/>
              <a:gd name="connsiteY9504" fmla="*/ 2696045 h 4687251"/>
              <a:gd name="connsiteX9505" fmla="*/ 3586584 w 8079933"/>
              <a:gd name="connsiteY9505" fmla="*/ 2695829 h 4687251"/>
              <a:gd name="connsiteX9506" fmla="*/ 6396794 w 8079933"/>
              <a:gd name="connsiteY9506" fmla="*/ 2693667 h 4687251"/>
              <a:gd name="connsiteX9507" fmla="*/ 6396622 w 8079933"/>
              <a:gd name="connsiteY9507" fmla="*/ 2694421 h 4687251"/>
              <a:gd name="connsiteX9508" fmla="*/ 6394017 w 8079933"/>
              <a:gd name="connsiteY9508" fmla="*/ 2697958 h 4687251"/>
              <a:gd name="connsiteX9509" fmla="*/ 6396622 w 8079933"/>
              <a:gd name="connsiteY9509" fmla="*/ 2694422 h 4687251"/>
              <a:gd name="connsiteX9510" fmla="*/ 1861168 w 8079933"/>
              <a:gd name="connsiteY9510" fmla="*/ 2693663 h 4687251"/>
              <a:gd name="connsiteX9511" fmla="*/ 1857153 w 8079933"/>
              <a:gd name="connsiteY9511" fmla="*/ 2694096 h 4687251"/>
              <a:gd name="connsiteX9512" fmla="*/ 1856067 w 8079933"/>
              <a:gd name="connsiteY9512" fmla="*/ 2696804 h 4687251"/>
              <a:gd name="connsiteX9513" fmla="*/ 1855200 w 8079933"/>
              <a:gd name="connsiteY9513" fmla="*/ 2698968 h 4687251"/>
              <a:gd name="connsiteX9514" fmla="*/ 1855200 w 8079933"/>
              <a:gd name="connsiteY9514" fmla="*/ 2698969 h 4687251"/>
              <a:gd name="connsiteX9515" fmla="*/ 1856068 w 8079933"/>
              <a:gd name="connsiteY9515" fmla="*/ 2696803 h 4687251"/>
              <a:gd name="connsiteX9516" fmla="*/ 1857153 w 8079933"/>
              <a:gd name="connsiteY9516" fmla="*/ 2694097 h 4687251"/>
              <a:gd name="connsiteX9517" fmla="*/ 1861168 w 8079933"/>
              <a:gd name="connsiteY9517" fmla="*/ 2693663 h 4687251"/>
              <a:gd name="connsiteX9518" fmla="*/ 2505432 w 8079933"/>
              <a:gd name="connsiteY9518" fmla="*/ 2692797 h 4687251"/>
              <a:gd name="connsiteX9519" fmla="*/ 2507059 w 8079933"/>
              <a:gd name="connsiteY9519" fmla="*/ 2700376 h 4687251"/>
              <a:gd name="connsiteX9520" fmla="*/ 2504564 w 8079933"/>
              <a:gd name="connsiteY9520" fmla="*/ 2706873 h 4687251"/>
              <a:gd name="connsiteX9521" fmla="*/ 2500657 w 8079933"/>
              <a:gd name="connsiteY9521" fmla="*/ 2704924 h 4687251"/>
              <a:gd name="connsiteX9522" fmla="*/ 2499789 w 8079933"/>
              <a:gd name="connsiteY9522" fmla="*/ 2700376 h 4687251"/>
              <a:gd name="connsiteX9523" fmla="*/ 1823404 w 8079933"/>
              <a:gd name="connsiteY9523" fmla="*/ 2691497 h 4687251"/>
              <a:gd name="connsiteX9524" fmla="*/ 1819281 w 8079933"/>
              <a:gd name="connsiteY9524" fmla="*/ 2692688 h 4687251"/>
              <a:gd name="connsiteX9525" fmla="*/ 1813421 w 8079933"/>
              <a:gd name="connsiteY9525" fmla="*/ 2693988 h 4687251"/>
              <a:gd name="connsiteX9526" fmla="*/ 1808972 w 8079933"/>
              <a:gd name="connsiteY9526" fmla="*/ 2698860 h 4687251"/>
              <a:gd name="connsiteX9527" fmla="*/ 1808940 w 8079933"/>
              <a:gd name="connsiteY9527" fmla="*/ 2699216 h 4687251"/>
              <a:gd name="connsiteX9528" fmla="*/ 1808972 w 8079933"/>
              <a:gd name="connsiteY9528" fmla="*/ 2698861 h 4687251"/>
              <a:gd name="connsiteX9529" fmla="*/ 1813421 w 8079933"/>
              <a:gd name="connsiteY9529" fmla="*/ 2693989 h 4687251"/>
              <a:gd name="connsiteX9530" fmla="*/ 1819281 w 8079933"/>
              <a:gd name="connsiteY9530" fmla="*/ 2692689 h 4687251"/>
              <a:gd name="connsiteX9531" fmla="*/ 1823404 w 8079933"/>
              <a:gd name="connsiteY9531" fmla="*/ 2691498 h 4687251"/>
              <a:gd name="connsiteX9532" fmla="*/ 6812566 w 8079933"/>
              <a:gd name="connsiteY9532" fmla="*/ 2691173 h 4687251"/>
              <a:gd name="connsiteX9533" fmla="*/ 6815713 w 8079933"/>
              <a:gd name="connsiteY9533" fmla="*/ 2691173 h 4687251"/>
              <a:gd name="connsiteX9534" fmla="*/ 6820162 w 8079933"/>
              <a:gd name="connsiteY9534" fmla="*/ 2695829 h 4687251"/>
              <a:gd name="connsiteX9535" fmla="*/ 6818969 w 8079933"/>
              <a:gd name="connsiteY9535" fmla="*/ 2697020 h 4687251"/>
              <a:gd name="connsiteX9536" fmla="*/ 6813109 w 8079933"/>
              <a:gd name="connsiteY9536" fmla="*/ 2694530 h 4687251"/>
              <a:gd name="connsiteX9537" fmla="*/ 1843697 w 8079933"/>
              <a:gd name="connsiteY9537" fmla="*/ 2689441 h 4687251"/>
              <a:gd name="connsiteX9538" fmla="*/ 1839031 w 8079933"/>
              <a:gd name="connsiteY9538" fmla="*/ 2690091 h 4687251"/>
              <a:gd name="connsiteX9539" fmla="*/ 1843697 w 8079933"/>
              <a:gd name="connsiteY9539" fmla="*/ 2689441 h 4687251"/>
              <a:gd name="connsiteX9540" fmla="*/ 4815100 w 8079933"/>
              <a:gd name="connsiteY9540" fmla="*/ 2689224 h 4687251"/>
              <a:gd name="connsiteX9541" fmla="*/ 4813906 w 8079933"/>
              <a:gd name="connsiteY9541" fmla="*/ 2690956 h 4687251"/>
              <a:gd name="connsiteX9542" fmla="*/ 4811302 w 8079933"/>
              <a:gd name="connsiteY9542" fmla="*/ 2698211 h 4687251"/>
              <a:gd name="connsiteX9543" fmla="*/ 4811302 w 8079933"/>
              <a:gd name="connsiteY9543" fmla="*/ 2706438 h 4687251"/>
              <a:gd name="connsiteX9544" fmla="*/ 4804791 w 8079933"/>
              <a:gd name="connsiteY9544" fmla="*/ 2717482 h 4687251"/>
              <a:gd name="connsiteX9545" fmla="*/ 4802077 w 8079933"/>
              <a:gd name="connsiteY9545" fmla="*/ 2725061 h 4687251"/>
              <a:gd name="connsiteX9546" fmla="*/ 4802079 w 8079933"/>
              <a:gd name="connsiteY9546" fmla="*/ 2725061 h 4687251"/>
              <a:gd name="connsiteX9547" fmla="*/ 4804792 w 8079933"/>
              <a:gd name="connsiteY9547" fmla="*/ 2717482 h 4687251"/>
              <a:gd name="connsiteX9548" fmla="*/ 4811303 w 8079933"/>
              <a:gd name="connsiteY9548" fmla="*/ 2706439 h 4687251"/>
              <a:gd name="connsiteX9549" fmla="*/ 4811303 w 8079933"/>
              <a:gd name="connsiteY9549" fmla="*/ 2698210 h 4687251"/>
              <a:gd name="connsiteX9550" fmla="*/ 4813907 w 8079933"/>
              <a:gd name="connsiteY9550" fmla="*/ 2690956 h 4687251"/>
              <a:gd name="connsiteX9551" fmla="*/ 4815101 w 8079933"/>
              <a:gd name="connsiteY9551" fmla="*/ 2689224 h 4687251"/>
              <a:gd name="connsiteX9552" fmla="*/ 4471536 w 8079933"/>
              <a:gd name="connsiteY9552" fmla="*/ 2686409 h 4687251"/>
              <a:gd name="connsiteX9553" fmla="*/ 4471753 w 8079933"/>
              <a:gd name="connsiteY9553" fmla="*/ 2689765 h 4687251"/>
              <a:gd name="connsiteX9554" fmla="*/ 4472926 w 8079933"/>
              <a:gd name="connsiteY9554" fmla="*/ 2690935 h 4687251"/>
              <a:gd name="connsiteX9555" fmla="*/ 4471753 w 8079933"/>
              <a:gd name="connsiteY9555" fmla="*/ 2689765 h 4687251"/>
              <a:gd name="connsiteX9556" fmla="*/ 6472288 w 8079933"/>
              <a:gd name="connsiteY9556" fmla="*/ 2686264 h 4687251"/>
              <a:gd name="connsiteX9557" fmla="*/ 6473450 w 8079933"/>
              <a:gd name="connsiteY9557" fmla="*/ 2686301 h 4687251"/>
              <a:gd name="connsiteX9558" fmla="*/ 6477792 w 8079933"/>
              <a:gd name="connsiteY9558" fmla="*/ 2693338 h 4687251"/>
              <a:gd name="connsiteX9559" fmla="*/ 6485279 w 8079933"/>
              <a:gd name="connsiteY9559" fmla="*/ 2696045 h 4687251"/>
              <a:gd name="connsiteX9560" fmla="*/ 6477794 w 8079933"/>
              <a:gd name="connsiteY9560" fmla="*/ 2693338 h 4687251"/>
              <a:gd name="connsiteX9561" fmla="*/ 6473453 w 8079933"/>
              <a:gd name="connsiteY9561" fmla="*/ 2686301 h 4687251"/>
              <a:gd name="connsiteX9562" fmla="*/ 4891213 w 8079933"/>
              <a:gd name="connsiteY9562" fmla="*/ 2685990 h 4687251"/>
              <a:gd name="connsiteX9563" fmla="*/ 4892799 w 8079933"/>
              <a:gd name="connsiteY9563" fmla="*/ 2687492 h 4687251"/>
              <a:gd name="connsiteX9564" fmla="*/ 4896705 w 8079933"/>
              <a:gd name="connsiteY9564" fmla="*/ 2688249 h 4687251"/>
              <a:gd name="connsiteX9565" fmla="*/ 4905061 w 8079933"/>
              <a:gd name="connsiteY9565" fmla="*/ 2695720 h 4687251"/>
              <a:gd name="connsiteX9566" fmla="*/ 4905061 w 8079933"/>
              <a:gd name="connsiteY9566" fmla="*/ 2695720 h 4687251"/>
              <a:gd name="connsiteX9567" fmla="*/ 4896705 w 8079933"/>
              <a:gd name="connsiteY9567" fmla="*/ 2688249 h 4687251"/>
              <a:gd name="connsiteX9568" fmla="*/ 4892798 w 8079933"/>
              <a:gd name="connsiteY9568" fmla="*/ 2687491 h 4687251"/>
              <a:gd name="connsiteX9569" fmla="*/ 6915657 w 8079933"/>
              <a:gd name="connsiteY9569" fmla="*/ 2684893 h 4687251"/>
              <a:gd name="connsiteX9570" fmla="*/ 6919129 w 8079933"/>
              <a:gd name="connsiteY9570" fmla="*/ 2688466 h 4687251"/>
              <a:gd name="connsiteX9571" fmla="*/ 6921409 w 8079933"/>
              <a:gd name="connsiteY9571" fmla="*/ 2693338 h 4687251"/>
              <a:gd name="connsiteX9572" fmla="*/ 6919672 w 8079933"/>
              <a:gd name="connsiteY9572" fmla="*/ 2698318 h 4687251"/>
              <a:gd name="connsiteX9573" fmla="*/ 6913378 w 8079933"/>
              <a:gd name="connsiteY9573" fmla="*/ 2699617 h 4687251"/>
              <a:gd name="connsiteX9574" fmla="*/ 6911208 w 8079933"/>
              <a:gd name="connsiteY9574" fmla="*/ 2697019 h 4687251"/>
              <a:gd name="connsiteX9575" fmla="*/ 6912836 w 8079933"/>
              <a:gd name="connsiteY9575" fmla="*/ 2695719 h 4687251"/>
              <a:gd name="connsiteX9576" fmla="*/ 6914246 w 8079933"/>
              <a:gd name="connsiteY9576" fmla="*/ 2692039 h 4687251"/>
              <a:gd name="connsiteX9577" fmla="*/ 6913378 w 8079933"/>
              <a:gd name="connsiteY9577" fmla="*/ 2686733 h 4687251"/>
              <a:gd name="connsiteX9578" fmla="*/ 1829373 w 8079933"/>
              <a:gd name="connsiteY9578" fmla="*/ 2684461 h 4687251"/>
              <a:gd name="connsiteX9579" fmla="*/ 1827539 w 8079933"/>
              <a:gd name="connsiteY9579" fmla="*/ 2685859 h 4687251"/>
              <a:gd name="connsiteX9580" fmla="*/ 1827528 w 8079933"/>
              <a:gd name="connsiteY9580" fmla="*/ 2685868 h 4687251"/>
              <a:gd name="connsiteX9581" fmla="*/ 1823790 w 8079933"/>
              <a:gd name="connsiteY9581" fmla="*/ 2688616 h 4687251"/>
              <a:gd name="connsiteX9582" fmla="*/ 1827529 w 8079933"/>
              <a:gd name="connsiteY9582" fmla="*/ 2685869 h 4687251"/>
              <a:gd name="connsiteX9583" fmla="*/ 1829374 w 8079933"/>
              <a:gd name="connsiteY9583" fmla="*/ 2684461 h 4687251"/>
              <a:gd name="connsiteX9584" fmla="*/ 1831012 w 8079933"/>
              <a:gd name="connsiteY9584" fmla="*/ 2684814 h 4687251"/>
              <a:gd name="connsiteX9585" fmla="*/ 1829430 w 8079933"/>
              <a:gd name="connsiteY9585" fmla="*/ 2684390 h 4687251"/>
              <a:gd name="connsiteX9586" fmla="*/ 1823405 w 8079933"/>
              <a:gd name="connsiteY9586" fmla="*/ 2688899 h 4687251"/>
              <a:gd name="connsiteX9587" fmla="*/ 1823405 w 8079933"/>
              <a:gd name="connsiteY9587" fmla="*/ 2688899 h 4687251"/>
              <a:gd name="connsiteX9588" fmla="*/ 1823416 w 8079933"/>
              <a:gd name="connsiteY9588" fmla="*/ 2688892 h 4687251"/>
              <a:gd name="connsiteX9589" fmla="*/ 4883683 w 8079933"/>
              <a:gd name="connsiteY9589" fmla="*/ 2682511 h 4687251"/>
              <a:gd name="connsiteX9590" fmla="*/ 4879776 w 8079933"/>
              <a:gd name="connsiteY9590" fmla="*/ 2683268 h 4687251"/>
              <a:gd name="connsiteX9591" fmla="*/ 4879125 w 8079933"/>
              <a:gd name="connsiteY9591" fmla="*/ 2684676 h 4687251"/>
              <a:gd name="connsiteX9592" fmla="*/ 4879125 w 8079933"/>
              <a:gd name="connsiteY9592" fmla="*/ 2684676 h 4687251"/>
              <a:gd name="connsiteX9593" fmla="*/ 4879777 w 8079933"/>
              <a:gd name="connsiteY9593" fmla="*/ 2683269 h 4687251"/>
              <a:gd name="connsiteX9594" fmla="*/ 4883683 w 8079933"/>
              <a:gd name="connsiteY9594" fmla="*/ 2682511 h 4687251"/>
              <a:gd name="connsiteX9595" fmla="*/ 3903358 w 8079933"/>
              <a:gd name="connsiteY9595" fmla="*/ 2682413 h 4687251"/>
              <a:gd name="connsiteX9596" fmla="*/ 3892924 w 8079933"/>
              <a:gd name="connsiteY9596" fmla="*/ 2688142 h 4687251"/>
              <a:gd name="connsiteX9597" fmla="*/ 3884050 w 8079933"/>
              <a:gd name="connsiteY9597" fmla="*/ 2694070 h 4687251"/>
              <a:gd name="connsiteX9598" fmla="*/ 3892926 w 8079933"/>
              <a:gd name="connsiteY9598" fmla="*/ 2688141 h 4687251"/>
              <a:gd name="connsiteX9599" fmla="*/ 7419283 w 8079933"/>
              <a:gd name="connsiteY9599" fmla="*/ 2681212 h 4687251"/>
              <a:gd name="connsiteX9600" fmla="*/ 7420802 w 8079933"/>
              <a:gd name="connsiteY9600" fmla="*/ 2684136 h 4687251"/>
              <a:gd name="connsiteX9601" fmla="*/ 7418089 w 8079933"/>
              <a:gd name="connsiteY9601" fmla="*/ 2684461 h 4687251"/>
              <a:gd name="connsiteX9602" fmla="*/ 7414942 w 8079933"/>
              <a:gd name="connsiteY9602" fmla="*/ 2683810 h 4687251"/>
              <a:gd name="connsiteX9603" fmla="*/ 6506114 w 8079933"/>
              <a:gd name="connsiteY9603" fmla="*/ 2680779 h 4687251"/>
              <a:gd name="connsiteX9604" fmla="*/ 6509044 w 8079933"/>
              <a:gd name="connsiteY9604" fmla="*/ 2688141 h 4687251"/>
              <a:gd name="connsiteX9605" fmla="*/ 6513277 w 8079933"/>
              <a:gd name="connsiteY9605" fmla="*/ 2690415 h 4687251"/>
              <a:gd name="connsiteX9606" fmla="*/ 6517400 w 8079933"/>
              <a:gd name="connsiteY9606" fmla="*/ 2700051 h 4687251"/>
              <a:gd name="connsiteX9607" fmla="*/ 6516423 w 8079933"/>
              <a:gd name="connsiteY9607" fmla="*/ 2707414 h 4687251"/>
              <a:gd name="connsiteX9608" fmla="*/ 6518159 w 8079933"/>
              <a:gd name="connsiteY9608" fmla="*/ 2712069 h 4687251"/>
              <a:gd name="connsiteX9609" fmla="*/ 6516532 w 8079933"/>
              <a:gd name="connsiteY9609" fmla="*/ 2718457 h 4687251"/>
              <a:gd name="connsiteX9610" fmla="*/ 6517400 w 8079933"/>
              <a:gd name="connsiteY9610" fmla="*/ 2723979 h 4687251"/>
              <a:gd name="connsiteX9611" fmla="*/ 6514036 w 8079933"/>
              <a:gd name="connsiteY9611" fmla="*/ 2731017 h 4687251"/>
              <a:gd name="connsiteX9612" fmla="*/ 6510238 w 8079933"/>
              <a:gd name="connsiteY9612" fmla="*/ 2732532 h 4687251"/>
              <a:gd name="connsiteX9613" fmla="*/ 6509153 w 8079933"/>
              <a:gd name="connsiteY9613" fmla="*/ 2735672 h 4687251"/>
              <a:gd name="connsiteX9614" fmla="*/ 6502641 w 8079933"/>
              <a:gd name="connsiteY9614" fmla="*/ 2737513 h 4687251"/>
              <a:gd name="connsiteX9615" fmla="*/ 6495697 w 8079933"/>
              <a:gd name="connsiteY9615" fmla="*/ 2742060 h 4687251"/>
              <a:gd name="connsiteX9616" fmla="*/ 6493309 w 8079933"/>
              <a:gd name="connsiteY9616" fmla="*/ 2746607 h 4687251"/>
              <a:gd name="connsiteX9617" fmla="*/ 6493310 w 8079933"/>
              <a:gd name="connsiteY9617" fmla="*/ 2746607 h 4687251"/>
              <a:gd name="connsiteX9618" fmla="*/ 6495698 w 8079933"/>
              <a:gd name="connsiteY9618" fmla="*/ 2742060 h 4687251"/>
              <a:gd name="connsiteX9619" fmla="*/ 6502642 w 8079933"/>
              <a:gd name="connsiteY9619" fmla="*/ 2737513 h 4687251"/>
              <a:gd name="connsiteX9620" fmla="*/ 6509154 w 8079933"/>
              <a:gd name="connsiteY9620" fmla="*/ 2735672 h 4687251"/>
              <a:gd name="connsiteX9621" fmla="*/ 6510239 w 8079933"/>
              <a:gd name="connsiteY9621" fmla="*/ 2732532 h 4687251"/>
              <a:gd name="connsiteX9622" fmla="*/ 6514037 w 8079933"/>
              <a:gd name="connsiteY9622" fmla="*/ 2731017 h 4687251"/>
              <a:gd name="connsiteX9623" fmla="*/ 6517401 w 8079933"/>
              <a:gd name="connsiteY9623" fmla="*/ 2723979 h 4687251"/>
              <a:gd name="connsiteX9624" fmla="*/ 6516533 w 8079933"/>
              <a:gd name="connsiteY9624" fmla="*/ 2718457 h 4687251"/>
              <a:gd name="connsiteX9625" fmla="*/ 6518160 w 8079933"/>
              <a:gd name="connsiteY9625" fmla="*/ 2712069 h 4687251"/>
              <a:gd name="connsiteX9626" fmla="*/ 6516424 w 8079933"/>
              <a:gd name="connsiteY9626" fmla="*/ 2707414 h 4687251"/>
              <a:gd name="connsiteX9627" fmla="*/ 6517401 w 8079933"/>
              <a:gd name="connsiteY9627" fmla="*/ 2700051 h 4687251"/>
              <a:gd name="connsiteX9628" fmla="*/ 6513278 w 8079933"/>
              <a:gd name="connsiteY9628" fmla="*/ 2690415 h 4687251"/>
              <a:gd name="connsiteX9629" fmla="*/ 6509045 w 8079933"/>
              <a:gd name="connsiteY9629" fmla="*/ 2688141 h 4687251"/>
              <a:gd name="connsiteX9630" fmla="*/ 6506115 w 8079933"/>
              <a:gd name="connsiteY9630" fmla="*/ 2680779 h 4687251"/>
              <a:gd name="connsiteX9631" fmla="*/ 1759982 w 8079933"/>
              <a:gd name="connsiteY9631" fmla="*/ 2680080 h 4687251"/>
              <a:gd name="connsiteX9632" fmla="*/ 1759271 w 8079933"/>
              <a:gd name="connsiteY9632" fmla="*/ 2681970 h 4687251"/>
              <a:gd name="connsiteX9633" fmla="*/ 1759220 w 8079933"/>
              <a:gd name="connsiteY9633" fmla="*/ 2682014 h 4687251"/>
              <a:gd name="connsiteX9634" fmla="*/ 1759272 w 8079933"/>
              <a:gd name="connsiteY9634" fmla="*/ 2681970 h 4687251"/>
              <a:gd name="connsiteX9635" fmla="*/ 6859012 w 8079933"/>
              <a:gd name="connsiteY9635" fmla="*/ 2679046 h 4687251"/>
              <a:gd name="connsiteX9636" fmla="*/ 6862376 w 8079933"/>
              <a:gd name="connsiteY9636" fmla="*/ 2681319 h 4687251"/>
              <a:gd name="connsiteX9637" fmla="*/ 6863245 w 8079933"/>
              <a:gd name="connsiteY9637" fmla="*/ 2685001 h 4687251"/>
              <a:gd name="connsiteX9638" fmla="*/ 6859880 w 8079933"/>
              <a:gd name="connsiteY9638" fmla="*/ 2683052 h 4687251"/>
              <a:gd name="connsiteX9639" fmla="*/ 3953130 w 8079933"/>
              <a:gd name="connsiteY9639" fmla="*/ 2678678 h 4687251"/>
              <a:gd name="connsiteX9640" fmla="*/ 3953044 w 8079933"/>
              <a:gd name="connsiteY9640" fmla="*/ 2679263 h 4687251"/>
              <a:gd name="connsiteX9641" fmla="*/ 3951579 w 8079933"/>
              <a:gd name="connsiteY9641" fmla="*/ 2681645 h 4687251"/>
              <a:gd name="connsiteX9642" fmla="*/ 3953044 w 8079933"/>
              <a:gd name="connsiteY9642" fmla="*/ 2679263 h 4687251"/>
              <a:gd name="connsiteX9643" fmla="*/ 1944526 w 8079933"/>
              <a:gd name="connsiteY9643" fmla="*/ 2678519 h 4687251"/>
              <a:gd name="connsiteX9644" fmla="*/ 1945160 w 8079933"/>
              <a:gd name="connsiteY9644" fmla="*/ 2680021 h 4687251"/>
              <a:gd name="connsiteX9645" fmla="*/ 1945488 w 8079933"/>
              <a:gd name="connsiteY9645" fmla="*/ 2679972 h 4687251"/>
              <a:gd name="connsiteX9646" fmla="*/ 1945051 w 8079933"/>
              <a:gd name="connsiteY9646" fmla="*/ 2678939 h 4687251"/>
              <a:gd name="connsiteX9647" fmla="*/ 4867405 w 8079933"/>
              <a:gd name="connsiteY9647" fmla="*/ 2678505 h 4687251"/>
              <a:gd name="connsiteX9648" fmla="*/ 4865669 w 8079933"/>
              <a:gd name="connsiteY9648" fmla="*/ 2680345 h 4687251"/>
              <a:gd name="connsiteX9649" fmla="*/ 4865670 w 8079933"/>
              <a:gd name="connsiteY9649" fmla="*/ 2680346 h 4687251"/>
              <a:gd name="connsiteX9650" fmla="*/ 4867406 w 8079933"/>
              <a:gd name="connsiteY9650" fmla="*/ 2678505 h 4687251"/>
              <a:gd name="connsiteX9651" fmla="*/ 4862305 w 8079933"/>
              <a:gd name="connsiteY9651" fmla="*/ 2677314 h 4687251"/>
              <a:gd name="connsiteX9652" fmla="*/ 4857639 w 8079933"/>
              <a:gd name="connsiteY9652" fmla="*/ 2677855 h 4687251"/>
              <a:gd name="connsiteX9653" fmla="*/ 4853298 w 8079933"/>
              <a:gd name="connsiteY9653" fmla="*/ 2681753 h 4687251"/>
              <a:gd name="connsiteX9654" fmla="*/ 4853299 w 8079933"/>
              <a:gd name="connsiteY9654" fmla="*/ 2681753 h 4687251"/>
              <a:gd name="connsiteX9655" fmla="*/ 4857639 w 8079933"/>
              <a:gd name="connsiteY9655" fmla="*/ 2677855 h 4687251"/>
              <a:gd name="connsiteX9656" fmla="*/ 4862305 w 8079933"/>
              <a:gd name="connsiteY9656" fmla="*/ 2677314 h 4687251"/>
              <a:gd name="connsiteX9657" fmla="*/ 4864445 w 8079933"/>
              <a:gd name="connsiteY9657" fmla="*/ 2679242 h 4687251"/>
              <a:gd name="connsiteX9658" fmla="*/ 6418083 w 8079933"/>
              <a:gd name="connsiteY9658" fmla="*/ 2676995 h 4687251"/>
              <a:gd name="connsiteX9659" fmla="*/ 6407907 w 8079933"/>
              <a:gd name="connsiteY9659" fmla="*/ 2680346 h 4687251"/>
              <a:gd name="connsiteX9660" fmla="*/ 6403241 w 8079933"/>
              <a:gd name="connsiteY9660" fmla="*/ 2680346 h 4687251"/>
              <a:gd name="connsiteX9661" fmla="*/ 6402000 w 8079933"/>
              <a:gd name="connsiteY9661" fmla="*/ 2682069 h 4687251"/>
              <a:gd name="connsiteX9662" fmla="*/ 6403241 w 8079933"/>
              <a:gd name="connsiteY9662" fmla="*/ 2680346 h 4687251"/>
              <a:gd name="connsiteX9663" fmla="*/ 6407907 w 8079933"/>
              <a:gd name="connsiteY9663" fmla="*/ 2680346 h 4687251"/>
              <a:gd name="connsiteX9664" fmla="*/ 6419085 w 8079933"/>
              <a:gd name="connsiteY9664" fmla="*/ 2676665 h 4687251"/>
              <a:gd name="connsiteX9665" fmla="*/ 6419084 w 8079933"/>
              <a:gd name="connsiteY9665" fmla="*/ 2676665 h 4687251"/>
              <a:gd name="connsiteX9666" fmla="*/ 6422689 w 8079933"/>
              <a:gd name="connsiteY9666" fmla="*/ 2676779 h 4687251"/>
              <a:gd name="connsiteX9667" fmla="*/ 6434710 w 8079933"/>
              <a:gd name="connsiteY9667" fmla="*/ 2676448 h 4687251"/>
              <a:gd name="connsiteX9668" fmla="*/ 6427982 w 8079933"/>
              <a:gd name="connsiteY9668" fmla="*/ 2678938 h 4687251"/>
              <a:gd name="connsiteX9669" fmla="*/ 6426608 w 8079933"/>
              <a:gd name="connsiteY9669" fmla="*/ 2677567 h 4687251"/>
              <a:gd name="connsiteX9670" fmla="*/ 6427982 w 8079933"/>
              <a:gd name="connsiteY9670" fmla="*/ 2678939 h 4687251"/>
              <a:gd name="connsiteX9671" fmla="*/ 6434710 w 8079933"/>
              <a:gd name="connsiteY9671" fmla="*/ 2676449 h 4687251"/>
              <a:gd name="connsiteX9672" fmla="*/ 6439920 w 8079933"/>
              <a:gd name="connsiteY9672" fmla="*/ 2676449 h 4687251"/>
              <a:gd name="connsiteX9673" fmla="*/ 6445019 w 8079933"/>
              <a:gd name="connsiteY9673" fmla="*/ 2677856 h 4687251"/>
              <a:gd name="connsiteX9674" fmla="*/ 6439920 w 8079933"/>
              <a:gd name="connsiteY9674" fmla="*/ 2676448 h 4687251"/>
              <a:gd name="connsiteX9675" fmla="*/ 1762589 w 8079933"/>
              <a:gd name="connsiteY9675" fmla="*/ 2676129 h 4687251"/>
              <a:gd name="connsiteX9676" fmla="*/ 1762418 w 8079933"/>
              <a:gd name="connsiteY9676" fmla="*/ 2677747 h 4687251"/>
              <a:gd name="connsiteX9677" fmla="*/ 1762418 w 8079933"/>
              <a:gd name="connsiteY9677" fmla="*/ 2677747 h 4687251"/>
              <a:gd name="connsiteX9678" fmla="*/ 6297463 w 8079933"/>
              <a:gd name="connsiteY9678" fmla="*/ 2675574 h 4687251"/>
              <a:gd name="connsiteX9679" fmla="*/ 6300693 w 8079933"/>
              <a:gd name="connsiteY9679" fmla="*/ 2679589 h 4687251"/>
              <a:gd name="connsiteX9680" fmla="*/ 6307964 w 8079933"/>
              <a:gd name="connsiteY9680" fmla="*/ 2685218 h 4687251"/>
              <a:gd name="connsiteX9681" fmla="*/ 6314475 w 8079933"/>
              <a:gd name="connsiteY9681" fmla="*/ 2691607 h 4687251"/>
              <a:gd name="connsiteX9682" fmla="*/ 6317513 w 8079933"/>
              <a:gd name="connsiteY9682" fmla="*/ 2701784 h 4687251"/>
              <a:gd name="connsiteX9683" fmla="*/ 6317513 w 8079933"/>
              <a:gd name="connsiteY9683" fmla="*/ 2701784 h 4687251"/>
              <a:gd name="connsiteX9684" fmla="*/ 6314475 w 8079933"/>
              <a:gd name="connsiteY9684" fmla="*/ 2691606 h 4687251"/>
              <a:gd name="connsiteX9685" fmla="*/ 6307964 w 8079933"/>
              <a:gd name="connsiteY9685" fmla="*/ 2685218 h 4687251"/>
              <a:gd name="connsiteX9686" fmla="*/ 6300693 w 8079933"/>
              <a:gd name="connsiteY9686" fmla="*/ 2679588 h 4687251"/>
              <a:gd name="connsiteX9687" fmla="*/ 4835393 w 8079933"/>
              <a:gd name="connsiteY9687" fmla="*/ 2674066 h 4687251"/>
              <a:gd name="connsiteX9688" fmla="*/ 4828882 w 8079933"/>
              <a:gd name="connsiteY9688" fmla="*/ 2687708 h 4687251"/>
              <a:gd name="connsiteX9689" fmla="*/ 4825084 w 8079933"/>
              <a:gd name="connsiteY9689" fmla="*/ 2687925 h 4687251"/>
              <a:gd name="connsiteX9690" fmla="*/ 4823348 w 8079933"/>
              <a:gd name="connsiteY9690" fmla="*/ 2690739 h 4687251"/>
              <a:gd name="connsiteX9691" fmla="*/ 4823348 w 8079933"/>
              <a:gd name="connsiteY9691" fmla="*/ 2690739 h 4687251"/>
              <a:gd name="connsiteX9692" fmla="*/ 4825084 w 8079933"/>
              <a:gd name="connsiteY9692" fmla="*/ 2687925 h 4687251"/>
              <a:gd name="connsiteX9693" fmla="*/ 4828882 w 8079933"/>
              <a:gd name="connsiteY9693" fmla="*/ 2687708 h 4687251"/>
              <a:gd name="connsiteX9694" fmla="*/ 4835393 w 8079933"/>
              <a:gd name="connsiteY9694" fmla="*/ 2674066 h 4687251"/>
              <a:gd name="connsiteX9695" fmla="*/ 1761008 w 8079933"/>
              <a:gd name="connsiteY9695" fmla="*/ 2673200 h 4687251"/>
              <a:gd name="connsiteX9696" fmla="*/ 1761007 w 8079933"/>
              <a:gd name="connsiteY9696" fmla="*/ 2673201 h 4687251"/>
              <a:gd name="connsiteX9697" fmla="*/ 1761984 w 8079933"/>
              <a:gd name="connsiteY9697" fmla="*/ 2675041 h 4687251"/>
              <a:gd name="connsiteX9698" fmla="*/ 1762635 w 8079933"/>
              <a:gd name="connsiteY9698" fmla="*/ 2675691 h 4687251"/>
              <a:gd name="connsiteX9699" fmla="*/ 1762635 w 8079933"/>
              <a:gd name="connsiteY9699" fmla="*/ 2675690 h 4687251"/>
              <a:gd name="connsiteX9700" fmla="*/ 1761984 w 8079933"/>
              <a:gd name="connsiteY9700" fmla="*/ 2675041 h 4687251"/>
              <a:gd name="connsiteX9701" fmla="*/ 6492118 w 8079933"/>
              <a:gd name="connsiteY9701" fmla="*/ 2673092 h 4687251"/>
              <a:gd name="connsiteX9702" fmla="*/ 6492116 w 8079933"/>
              <a:gd name="connsiteY9702" fmla="*/ 2673092 h 4687251"/>
              <a:gd name="connsiteX9703" fmla="*/ 6494395 w 8079933"/>
              <a:gd name="connsiteY9703" fmla="*/ 2676881 h 4687251"/>
              <a:gd name="connsiteX9704" fmla="*/ 6497759 w 8079933"/>
              <a:gd name="connsiteY9704" fmla="*/ 2677856 h 4687251"/>
              <a:gd name="connsiteX9705" fmla="*/ 6502641 w 8079933"/>
              <a:gd name="connsiteY9705" fmla="*/ 2680996 h 4687251"/>
              <a:gd name="connsiteX9706" fmla="*/ 6502643 w 8079933"/>
              <a:gd name="connsiteY9706" fmla="*/ 2680996 h 4687251"/>
              <a:gd name="connsiteX9707" fmla="*/ 6497761 w 8079933"/>
              <a:gd name="connsiteY9707" fmla="*/ 2677856 h 4687251"/>
              <a:gd name="connsiteX9708" fmla="*/ 6494396 w 8079933"/>
              <a:gd name="connsiteY9708" fmla="*/ 2676881 h 4687251"/>
              <a:gd name="connsiteX9709" fmla="*/ 2495449 w 8079933"/>
              <a:gd name="connsiteY9709" fmla="*/ 2672551 h 4687251"/>
              <a:gd name="connsiteX9710" fmla="*/ 2505323 w 8079933"/>
              <a:gd name="connsiteY9710" fmla="*/ 2675041 h 4687251"/>
              <a:gd name="connsiteX9711" fmla="*/ 2507711 w 8079933"/>
              <a:gd name="connsiteY9711" fmla="*/ 2683702 h 4687251"/>
              <a:gd name="connsiteX9712" fmla="*/ 2507385 w 8079933"/>
              <a:gd name="connsiteY9712" fmla="*/ 2687926 h 4687251"/>
              <a:gd name="connsiteX9713" fmla="*/ 2503587 w 8079933"/>
              <a:gd name="connsiteY9713" fmla="*/ 2686085 h 4687251"/>
              <a:gd name="connsiteX9714" fmla="*/ 2500440 w 8079933"/>
              <a:gd name="connsiteY9714" fmla="*/ 2685760 h 4687251"/>
              <a:gd name="connsiteX9715" fmla="*/ 2501525 w 8079933"/>
              <a:gd name="connsiteY9715" fmla="*/ 2682404 h 4687251"/>
              <a:gd name="connsiteX9716" fmla="*/ 2495449 w 8079933"/>
              <a:gd name="connsiteY9716" fmla="*/ 2676232 h 4687251"/>
              <a:gd name="connsiteX9717" fmla="*/ 4265268 w 8079933"/>
              <a:gd name="connsiteY9717" fmla="*/ 2671064 h 4687251"/>
              <a:gd name="connsiteX9718" fmla="*/ 4265138 w 8079933"/>
              <a:gd name="connsiteY9718" fmla="*/ 2671359 h 4687251"/>
              <a:gd name="connsiteX9719" fmla="*/ 4263920 w 8079933"/>
              <a:gd name="connsiteY9719" fmla="*/ 2671782 h 4687251"/>
              <a:gd name="connsiteX9720" fmla="*/ 4265138 w 8079933"/>
              <a:gd name="connsiteY9720" fmla="*/ 2671360 h 4687251"/>
              <a:gd name="connsiteX9721" fmla="*/ 3955539 w 8079933"/>
              <a:gd name="connsiteY9721" fmla="*/ 2669410 h 4687251"/>
              <a:gd name="connsiteX9722" fmla="*/ 3955461 w 8079933"/>
              <a:gd name="connsiteY9722" fmla="*/ 2669578 h 4687251"/>
              <a:gd name="connsiteX9723" fmla="*/ 3955540 w 8079933"/>
              <a:gd name="connsiteY9723" fmla="*/ 2669411 h 4687251"/>
              <a:gd name="connsiteX9724" fmla="*/ 3977676 w 8079933"/>
              <a:gd name="connsiteY9724" fmla="*/ 2669194 h 4687251"/>
              <a:gd name="connsiteX9725" fmla="*/ 3961074 w 8079933"/>
              <a:gd name="connsiteY9725" fmla="*/ 2670818 h 4687251"/>
              <a:gd name="connsiteX9726" fmla="*/ 3977677 w 8079933"/>
              <a:gd name="connsiteY9726" fmla="*/ 2669194 h 4687251"/>
              <a:gd name="connsiteX9727" fmla="*/ 1970986 w 8079933"/>
              <a:gd name="connsiteY9727" fmla="*/ 2669086 h 4687251"/>
              <a:gd name="connsiteX9728" fmla="*/ 1971746 w 8079933"/>
              <a:gd name="connsiteY9728" fmla="*/ 2670602 h 4687251"/>
              <a:gd name="connsiteX9729" fmla="*/ 1972181 w 8079933"/>
              <a:gd name="connsiteY9729" fmla="*/ 2670602 h 4687251"/>
              <a:gd name="connsiteX9730" fmla="*/ 1971421 w 8079933"/>
              <a:gd name="connsiteY9730" fmla="*/ 2669086 h 4687251"/>
              <a:gd name="connsiteX9731" fmla="*/ 3924612 w 8079933"/>
              <a:gd name="connsiteY9731" fmla="*/ 2668978 h 4687251"/>
              <a:gd name="connsiteX9732" fmla="*/ 3917233 w 8079933"/>
              <a:gd name="connsiteY9732" fmla="*/ 2673092 h 4687251"/>
              <a:gd name="connsiteX9733" fmla="*/ 3912367 w 8079933"/>
              <a:gd name="connsiteY9733" fmla="*/ 2677152 h 4687251"/>
              <a:gd name="connsiteX9734" fmla="*/ 3917234 w 8079933"/>
              <a:gd name="connsiteY9734" fmla="*/ 2673091 h 4687251"/>
              <a:gd name="connsiteX9735" fmla="*/ 3989396 w 8079933"/>
              <a:gd name="connsiteY9735" fmla="*/ 2666596 h 4687251"/>
              <a:gd name="connsiteX9736" fmla="*/ 3985265 w 8079933"/>
              <a:gd name="connsiteY9736" fmla="*/ 2668620 h 4687251"/>
              <a:gd name="connsiteX9737" fmla="*/ 3989397 w 8079933"/>
              <a:gd name="connsiteY9737" fmla="*/ 2666596 h 4687251"/>
              <a:gd name="connsiteX9738" fmla="*/ 4008868 w 8079933"/>
              <a:gd name="connsiteY9738" fmla="*/ 2663723 h 4687251"/>
              <a:gd name="connsiteX9739" fmla="*/ 4004480 w 8079933"/>
              <a:gd name="connsiteY9739" fmla="*/ 2666596 h 4687251"/>
              <a:gd name="connsiteX9740" fmla="*/ 4004481 w 8079933"/>
              <a:gd name="connsiteY9740" fmla="*/ 2666596 h 4687251"/>
              <a:gd name="connsiteX9741" fmla="*/ 4486295 w 8079933"/>
              <a:gd name="connsiteY9741" fmla="*/ 2663455 h 4687251"/>
              <a:gd name="connsiteX9742" fmla="*/ 4486295 w 8079933"/>
              <a:gd name="connsiteY9742" fmla="*/ 2663456 h 4687251"/>
              <a:gd name="connsiteX9743" fmla="*/ 4488790 w 8079933"/>
              <a:gd name="connsiteY9743" fmla="*/ 2666595 h 4687251"/>
              <a:gd name="connsiteX9744" fmla="*/ 1841636 w 8079933"/>
              <a:gd name="connsiteY9744" fmla="*/ 2663239 h 4687251"/>
              <a:gd name="connsiteX9745" fmla="*/ 1841636 w 8079933"/>
              <a:gd name="connsiteY9745" fmla="*/ 2663239 h 4687251"/>
              <a:gd name="connsiteX9746" fmla="*/ 1845325 w 8079933"/>
              <a:gd name="connsiteY9746" fmla="*/ 2663456 h 4687251"/>
              <a:gd name="connsiteX9747" fmla="*/ 1845325 w 8079933"/>
              <a:gd name="connsiteY9747" fmla="*/ 2663455 h 4687251"/>
              <a:gd name="connsiteX9748" fmla="*/ 3395920 w 8079933"/>
              <a:gd name="connsiteY9748" fmla="*/ 2662698 h 4687251"/>
              <a:gd name="connsiteX9749" fmla="*/ 3398199 w 8079933"/>
              <a:gd name="connsiteY9749" fmla="*/ 2665405 h 4687251"/>
              <a:gd name="connsiteX9750" fmla="*/ 3395378 w 8079933"/>
              <a:gd name="connsiteY9750" fmla="*/ 2666488 h 4687251"/>
              <a:gd name="connsiteX9751" fmla="*/ 3394401 w 8079933"/>
              <a:gd name="connsiteY9751" fmla="*/ 2664106 h 4687251"/>
              <a:gd name="connsiteX9752" fmla="*/ 3381270 w 8079933"/>
              <a:gd name="connsiteY9752" fmla="*/ 2662481 h 4687251"/>
              <a:gd name="connsiteX9753" fmla="*/ 3385177 w 8079933"/>
              <a:gd name="connsiteY9753" fmla="*/ 2663563 h 4687251"/>
              <a:gd name="connsiteX9754" fmla="*/ 3390059 w 8079933"/>
              <a:gd name="connsiteY9754" fmla="*/ 2668869 h 4687251"/>
              <a:gd name="connsiteX9755" fmla="*/ 3388865 w 8079933"/>
              <a:gd name="connsiteY9755" fmla="*/ 2672442 h 4687251"/>
              <a:gd name="connsiteX9756" fmla="*/ 3383548 w 8079933"/>
              <a:gd name="connsiteY9756" fmla="*/ 2671467 h 4687251"/>
              <a:gd name="connsiteX9757" fmla="*/ 3383332 w 8079933"/>
              <a:gd name="connsiteY9757" fmla="*/ 2665946 h 4687251"/>
              <a:gd name="connsiteX9758" fmla="*/ 3637586 w 8079933"/>
              <a:gd name="connsiteY9758" fmla="*/ 2660207 h 4687251"/>
              <a:gd name="connsiteX9759" fmla="*/ 3637586 w 8079933"/>
              <a:gd name="connsiteY9759" fmla="*/ 2660208 h 4687251"/>
              <a:gd name="connsiteX9760" fmla="*/ 3642904 w 8079933"/>
              <a:gd name="connsiteY9760" fmla="*/ 2661182 h 4687251"/>
              <a:gd name="connsiteX9761" fmla="*/ 3644314 w 8079933"/>
              <a:gd name="connsiteY9761" fmla="*/ 2666163 h 4687251"/>
              <a:gd name="connsiteX9762" fmla="*/ 3646583 w 8079933"/>
              <a:gd name="connsiteY9762" fmla="*/ 2667056 h 4687251"/>
              <a:gd name="connsiteX9763" fmla="*/ 3644314 w 8079933"/>
              <a:gd name="connsiteY9763" fmla="*/ 2666162 h 4687251"/>
              <a:gd name="connsiteX9764" fmla="*/ 3642904 w 8079933"/>
              <a:gd name="connsiteY9764" fmla="*/ 2661182 h 4687251"/>
              <a:gd name="connsiteX9765" fmla="*/ 6290818 w 8079933"/>
              <a:gd name="connsiteY9765" fmla="*/ 2659342 h 4687251"/>
              <a:gd name="connsiteX9766" fmla="*/ 6294291 w 8079933"/>
              <a:gd name="connsiteY9766" fmla="*/ 2667571 h 4687251"/>
              <a:gd name="connsiteX9767" fmla="*/ 6294296 w 8079933"/>
              <a:gd name="connsiteY9767" fmla="*/ 2667675 h 4687251"/>
              <a:gd name="connsiteX9768" fmla="*/ 6294291 w 8079933"/>
              <a:gd name="connsiteY9768" fmla="*/ 2667570 h 4687251"/>
              <a:gd name="connsiteX9769" fmla="*/ 6860531 w 8079933"/>
              <a:gd name="connsiteY9769" fmla="*/ 2657718 h 4687251"/>
              <a:gd name="connsiteX9770" fmla="*/ 6863677 w 8079933"/>
              <a:gd name="connsiteY9770" fmla="*/ 2659991 h 4687251"/>
              <a:gd name="connsiteX9771" fmla="*/ 6861290 w 8079933"/>
              <a:gd name="connsiteY9771" fmla="*/ 2662373 h 4687251"/>
              <a:gd name="connsiteX9772" fmla="*/ 6860747 w 8079933"/>
              <a:gd name="connsiteY9772" fmla="*/ 2669519 h 4687251"/>
              <a:gd name="connsiteX9773" fmla="*/ 6857492 w 8079933"/>
              <a:gd name="connsiteY9773" fmla="*/ 2672659 h 4687251"/>
              <a:gd name="connsiteX9774" fmla="*/ 6856624 w 8079933"/>
              <a:gd name="connsiteY9774" fmla="*/ 2669411 h 4687251"/>
              <a:gd name="connsiteX9775" fmla="*/ 6857275 w 8079933"/>
              <a:gd name="connsiteY9775" fmla="*/ 2667354 h 4687251"/>
              <a:gd name="connsiteX9776" fmla="*/ 6854888 w 8079933"/>
              <a:gd name="connsiteY9776" fmla="*/ 2660966 h 4687251"/>
              <a:gd name="connsiteX9777" fmla="*/ 6295843 w 8079933"/>
              <a:gd name="connsiteY9777" fmla="*/ 2656259 h 4687251"/>
              <a:gd name="connsiteX9778" fmla="*/ 6295810 w 8079933"/>
              <a:gd name="connsiteY9778" fmla="*/ 2656418 h 4687251"/>
              <a:gd name="connsiteX9779" fmla="*/ 6294449 w 8079933"/>
              <a:gd name="connsiteY9779" fmla="*/ 2657216 h 4687251"/>
              <a:gd name="connsiteX9780" fmla="*/ 6295810 w 8079933"/>
              <a:gd name="connsiteY9780" fmla="*/ 2656419 h 4687251"/>
              <a:gd name="connsiteX9781" fmla="*/ 1766844 w 8079933"/>
              <a:gd name="connsiteY9781" fmla="*/ 2655824 h 4687251"/>
              <a:gd name="connsiteX9782" fmla="*/ 1760573 w 8079933"/>
              <a:gd name="connsiteY9782" fmla="*/ 2665730 h 4687251"/>
              <a:gd name="connsiteX9783" fmla="*/ 1761007 w 8079933"/>
              <a:gd name="connsiteY9783" fmla="*/ 2669519 h 4687251"/>
              <a:gd name="connsiteX9784" fmla="*/ 1761333 w 8079933"/>
              <a:gd name="connsiteY9784" fmla="*/ 2670710 h 4687251"/>
              <a:gd name="connsiteX9785" fmla="*/ 1761333 w 8079933"/>
              <a:gd name="connsiteY9785" fmla="*/ 2670709 h 4687251"/>
              <a:gd name="connsiteX9786" fmla="*/ 1761007 w 8079933"/>
              <a:gd name="connsiteY9786" fmla="*/ 2669519 h 4687251"/>
              <a:gd name="connsiteX9787" fmla="*/ 1760574 w 8079933"/>
              <a:gd name="connsiteY9787" fmla="*/ 2665729 h 4687251"/>
              <a:gd name="connsiteX9788" fmla="*/ 3725375 w 8079933"/>
              <a:gd name="connsiteY9788" fmla="*/ 2655444 h 4687251"/>
              <a:gd name="connsiteX9789" fmla="*/ 3728197 w 8079933"/>
              <a:gd name="connsiteY9789" fmla="*/ 2659125 h 4687251"/>
              <a:gd name="connsiteX9790" fmla="*/ 3730692 w 8079933"/>
              <a:gd name="connsiteY9790" fmla="*/ 2660208 h 4687251"/>
              <a:gd name="connsiteX9791" fmla="*/ 3815769 w 8079933"/>
              <a:gd name="connsiteY9791" fmla="*/ 2659883 h 4687251"/>
              <a:gd name="connsiteX9792" fmla="*/ 3815769 w 8079933"/>
              <a:gd name="connsiteY9792" fmla="*/ 2659883 h 4687251"/>
              <a:gd name="connsiteX9793" fmla="*/ 3730693 w 8079933"/>
              <a:gd name="connsiteY9793" fmla="*/ 2660207 h 4687251"/>
              <a:gd name="connsiteX9794" fmla="*/ 3728198 w 8079933"/>
              <a:gd name="connsiteY9794" fmla="*/ 2659125 h 4687251"/>
              <a:gd name="connsiteX9795" fmla="*/ 3725376 w 8079933"/>
              <a:gd name="connsiteY9795" fmla="*/ 2655444 h 4687251"/>
              <a:gd name="connsiteX9796" fmla="*/ 2495991 w 8079933"/>
              <a:gd name="connsiteY9796" fmla="*/ 2654361 h 4687251"/>
              <a:gd name="connsiteX9797" fmla="*/ 2499572 w 8079933"/>
              <a:gd name="connsiteY9797" fmla="*/ 2658150 h 4687251"/>
              <a:gd name="connsiteX9798" fmla="*/ 2499572 w 8079933"/>
              <a:gd name="connsiteY9798" fmla="*/ 2664863 h 4687251"/>
              <a:gd name="connsiteX9799" fmla="*/ 2495123 w 8079933"/>
              <a:gd name="connsiteY9799" fmla="*/ 2665946 h 4687251"/>
              <a:gd name="connsiteX9800" fmla="*/ 2493387 w 8079933"/>
              <a:gd name="connsiteY9800" fmla="*/ 2658475 h 4687251"/>
              <a:gd name="connsiteX9801" fmla="*/ 3672896 w 8079933"/>
              <a:gd name="connsiteY9801" fmla="*/ 2651265 h 4687251"/>
              <a:gd name="connsiteX9802" fmla="*/ 3671443 w 8079933"/>
              <a:gd name="connsiteY9802" fmla="*/ 2651762 h 4687251"/>
              <a:gd name="connsiteX9803" fmla="*/ 3671443 w 8079933"/>
              <a:gd name="connsiteY9803" fmla="*/ 2651763 h 4687251"/>
              <a:gd name="connsiteX9804" fmla="*/ 3632595 w 8079933"/>
              <a:gd name="connsiteY9804" fmla="*/ 2650355 h 4687251"/>
              <a:gd name="connsiteX9805" fmla="*/ 3632595 w 8079933"/>
              <a:gd name="connsiteY9805" fmla="*/ 2650355 h 4687251"/>
              <a:gd name="connsiteX9806" fmla="*/ 3637586 w 8079933"/>
              <a:gd name="connsiteY9806" fmla="*/ 2654686 h 4687251"/>
              <a:gd name="connsiteX9807" fmla="*/ 7428290 w 8079933"/>
              <a:gd name="connsiteY9807" fmla="*/ 2650139 h 4687251"/>
              <a:gd name="connsiteX9808" fmla="*/ 7429592 w 8079933"/>
              <a:gd name="connsiteY9808" fmla="*/ 2652629 h 4687251"/>
              <a:gd name="connsiteX9809" fmla="*/ 7427205 w 8079933"/>
              <a:gd name="connsiteY9809" fmla="*/ 2655769 h 4687251"/>
              <a:gd name="connsiteX9810" fmla="*/ 7427422 w 8079933"/>
              <a:gd name="connsiteY9810" fmla="*/ 2660750 h 4687251"/>
              <a:gd name="connsiteX9811" fmla="*/ 7423732 w 8079933"/>
              <a:gd name="connsiteY9811" fmla="*/ 2653712 h 4687251"/>
              <a:gd name="connsiteX9812" fmla="*/ 3680494 w 8079933"/>
              <a:gd name="connsiteY9812" fmla="*/ 2649339 h 4687251"/>
              <a:gd name="connsiteX9813" fmla="*/ 3684464 w 8079933"/>
              <a:gd name="connsiteY9813" fmla="*/ 2649489 h 4687251"/>
              <a:gd name="connsiteX9814" fmla="*/ 3685224 w 8079933"/>
              <a:gd name="connsiteY9814" fmla="*/ 2655443 h 4687251"/>
              <a:gd name="connsiteX9815" fmla="*/ 3689347 w 8079933"/>
              <a:gd name="connsiteY9815" fmla="*/ 2663239 h 4687251"/>
              <a:gd name="connsiteX9816" fmla="*/ 3691843 w 8079933"/>
              <a:gd name="connsiteY9816" fmla="*/ 2664863 h 4687251"/>
              <a:gd name="connsiteX9817" fmla="*/ 3691843 w 8079933"/>
              <a:gd name="connsiteY9817" fmla="*/ 2664863 h 4687251"/>
              <a:gd name="connsiteX9818" fmla="*/ 3689348 w 8079933"/>
              <a:gd name="connsiteY9818" fmla="*/ 2663239 h 4687251"/>
              <a:gd name="connsiteX9819" fmla="*/ 3685225 w 8079933"/>
              <a:gd name="connsiteY9819" fmla="*/ 2655444 h 4687251"/>
              <a:gd name="connsiteX9820" fmla="*/ 3684465 w 8079933"/>
              <a:gd name="connsiteY9820" fmla="*/ 2649489 h 4687251"/>
              <a:gd name="connsiteX9821" fmla="*/ 3709749 w 8079933"/>
              <a:gd name="connsiteY9821" fmla="*/ 2648298 h 4687251"/>
              <a:gd name="connsiteX9822" fmla="*/ 3709749 w 8079933"/>
              <a:gd name="connsiteY9822" fmla="*/ 2648298 h 4687251"/>
              <a:gd name="connsiteX9823" fmla="*/ 3715283 w 8079933"/>
              <a:gd name="connsiteY9823" fmla="*/ 2650355 h 4687251"/>
              <a:gd name="connsiteX9824" fmla="*/ 3715500 w 8079933"/>
              <a:gd name="connsiteY9824" fmla="*/ 2657284 h 4687251"/>
              <a:gd name="connsiteX9825" fmla="*/ 3718213 w 8079933"/>
              <a:gd name="connsiteY9825" fmla="*/ 2660208 h 4687251"/>
              <a:gd name="connsiteX9826" fmla="*/ 3718214 w 8079933"/>
              <a:gd name="connsiteY9826" fmla="*/ 2660207 h 4687251"/>
              <a:gd name="connsiteX9827" fmla="*/ 3715501 w 8079933"/>
              <a:gd name="connsiteY9827" fmla="*/ 2657284 h 4687251"/>
              <a:gd name="connsiteX9828" fmla="*/ 3715284 w 8079933"/>
              <a:gd name="connsiteY9828" fmla="*/ 2650355 h 4687251"/>
              <a:gd name="connsiteX9829" fmla="*/ 2501633 w 8079933"/>
              <a:gd name="connsiteY9829" fmla="*/ 2644942 h 4687251"/>
              <a:gd name="connsiteX9830" fmla="*/ 2501199 w 8079933"/>
              <a:gd name="connsiteY9830" fmla="*/ 2649273 h 4687251"/>
              <a:gd name="connsiteX9831" fmla="*/ 2497727 w 8079933"/>
              <a:gd name="connsiteY9831" fmla="*/ 2647758 h 4687251"/>
              <a:gd name="connsiteX9832" fmla="*/ 4818830 w 8079933"/>
              <a:gd name="connsiteY9832" fmla="*/ 2644717 h 4687251"/>
              <a:gd name="connsiteX9833" fmla="*/ 4817053 w 8079933"/>
              <a:gd name="connsiteY9833" fmla="*/ 2655552 h 4687251"/>
              <a:gd name="connsiteX9834" fmla="*/ 4813255 w 8079933"/>
              <a:gd name="connsiteY9834" fmla="*/ 2661398 h 4687251"/>
              <a:gd name="connsiteX9835" fmla="*/ 4812929 w 8079933"/>
              <a:gd name="connsiteY9835" fmla="*/ 2665404 h 4687251"/>
              <a:gd name="connsiteX9836" fmla="*/ 4810434 w 8079933"/>
              <a:gd name="connsiteY9836" fmla="*/ 2668111 h 4687251"/>
              <a:gd name="connsiteX9837" fmla="*/ 4809999 w 8079933"/>
              <a:gd name="connsiteY9837" fmla="*/ 2673850 h 4687251"/>
              <a:gd name="connsiteX9838" fmla="*/ 4812929 w 8079933"/>
              <a:gd name="connsiteY9838" fmla="*/ 2683918 h 4687251"/>
              <a:gd name="connsiteX9839" fmla="*/ 4813906 w 8079933"/>
              <a:gd name="connsiteY9839" fmla="*/ 2688683 h 4687251"/>
              <a:gd name="connsiteX9840" fmla="*/ 4814811 w 8079933"/>
              <a:gd name="connsiteY9840" fmla="*/ 2689093 h 4687251"/>
              <a:gd name="connsiteX9841" fmla="*/ 4813907 w 8079933"/>
              <a:gd name="connsiteY9841" fmla="*/ 2688683 h 4687251"/>
              <a:gd name="connsiteX9842" fmla="*/ 4818303 w 8079933"/>
              <a:gd name="connsiteY9842" fmla="*/ 2690502 h 4687251"/>
              <a:gd name="connsiteX9843" fmla="*/ 4818344 w 8079933"/>
              <a:gd name="connsiteY9843" fmla="*/ 2690518 h 4687251"/>
              <a:gd name="connsiteX9844" fmla="*/ 4813906 w 8079933"/>
              <a:gd name="connsiteY9844" fmla="*/ 2688682 h 4687251"/>
              <a:gd name="connsiteX9845" fmla="*/ 4812930 w 8079933"/>
              <a:gd name="connsiteY9845" fmla="*/ 2683919 h 4687251"/>
              <a:gd name="connsiteX9846" fmla="*/ 4810000 w 8079933"/>
              <a:gd name="connsiteY9846" fmla="*/ 2673849 h 4687251"/>
              <a:gd name="connsiteX9847" fmla="*/ 4810434 w 8079933"/>
              <a:gd name="connsiteY9847" fmla="*/ 2668111 h 4687251"/>
              <a:gd name="connsiteX9848" fmla="*/ 4812930 w 8079933"/>
              <a:gd name="connsiteY9848" fmla="*/ 2665404 h 4687251"/>
              <a:gd name="connsiteX9849" fmla="*/ 4813255 w 8079933"/>
              <a:gd name="connsiteY9849" fmla="*/ 2661398 h 4687251"/>
              <a:gd name="connsiteX9850" fmla="*/ 4817053 w 8079933"/>
              <a:gd name="connsiteY9850" fmla="*/ 2655552 h 4687251"/>
              <a:gd name="connsiteX9851" fmla="*/ 3629556 w 8079933"/>
              <a:gd name="connsiteY9851" fmla="*/ 2642560 h 4687251"/>
              <a:gd name="connsiteX9852" fmla="*/ 3625758 w 8079933"/>
              <a:gd name="connsiteY9852" fmla="*/ 2643101 h 4687251"/>
              <a:gd name="connsiteX9853" fmla="*/ 3629556 w 8079933"/>
              <a:gd name="connsiteY9853" fmla="*/ 2642560 h 4687251"/>
              <a:gd name="connsiteX9854" fmla="*/ 3624130 w 8079933"/>
              <a:gd name="connsiteY9854" fmla="*/ 2641910 h 4687251"/>
              <a:gd name="connsiteX9855" fmla="*/ 3619898 w 8079933"/>
              <a:gd name="connsiteY9855" fmla="*/ 2643534 h 4687251"/>
              <a:gd name="connsiteX9856" fmla="*/ 3616752 w 8079933"/>
              <a:gd name="connsiteY9856" fmla="*/ 2642126 h 4687251"/>
              <a:gd name="connsiteX9857" fmla="*/ 3616752 w 8079933"/>
              <a:gd name="connsiteY9857" fmla="*/ 2642127 h 4687251"/>
              <a:gd name="connsiteX9858" fmla="*/ 3619898 w 8079933"/>
              <a:gd name="connsiteY9858" fmla="*/ 2643535 h 4687251"/>
              <a:gd name="connsiteX9859" fmla="*/ 3624131 w 8079933"/>
              <a:gd name="connsiteY9859" fmla="*/ 2641910 h 4687251"/>
              <a:gd name="connsiteX9860" fmla="*/ 3625037 w 8079933"/>
              <a:gd name="connsiteY9860" fmla="*/ 2642573 h 4687251"/>
              <a:gd name="connsiteX9861" fmla="*/ 6293748 w 8079933"/>
              <a:gd name="connsiteY9861" fmla="*/ 2640611 h 4687251"/>
              <a:gd name="connsiteX9862" fmla="*/ 6293748 w 8079933"/>
              <a:gd name="connsiteY9862" fmla="*/ 2640611 h 4687251"/>
              <a:gd name="connsiteX9863" fmla="*/ 6294017 w 8079933"/>
              <a:gd name="connsiteY9863" fmla="*/ 2641766 h 4687251"/>
              <a:gd name="connsiteX9864" fmla="*/ 3401997 w 8079933"/>
              <a:gd name="connsiteY9864" fmla="*/ 2638229 h 4687251"/>
              <a:gd name="connsiteX9865" fmla="*/ 3404819 w 8079933"/>
              <a:gd name="connsiteY9865" fmla="*/ 2639312 h 4687251"/>
              <a:gd name="connsiteX9866" fmla="*/ 3405687 w 8079933"/>
              <a:gd name="connsiteY9866" fmla="*/ 2643209 h 4687251"/>
              <a:gd name="connsiteX9867" fmla="*/ 3403625 w 8079933"/>
              <a:gd name="connsiteY9867" fmla="*/ 2644833 h 4687251"/>
              <a:gd name="connsiteX9868" fmla="*/ 3401129 w 8079933"/>
              <a:gd name="connsiteY9868" fmla="*/ 2644833 h 4687251"/>
              <a:gd name="connsiteX9869" fmla="*/ 3398850 w 8079933"/>
              <a:gd name="connsiteY9869" fmla="*/ 2641369 h 4687251"/>
              <a:gd name="connsiteX9870" fmla="*/ 6456631 w 8079933"/>
              <a:gd name="connsiteY9870" fmla="*/ 2637363 h 4687251"/>
              <a:gd name="connsiteX9871" fmla="*/ 6460755 w 8079933"/>
              <a:gd name="connsiteY9871" fmla="*/ 2638987 h 4687251"/>
              <a:gd name="connsiteX9872" fmla="*/ 6459235 w 8079933"/>
              <a:gd name="connsiteY9872" fmla="*/ 2641585 h 4687251"/>
              <a:gd name="connsiteX9873" fmla="*/ 6465205 w 8079933"/>
              <a:gd name="connsiteY9873" fmla="*/ 2645591 h 4687251"/>
              <a:gd name="connsiteX9874" fmla="*/ 6466289 w 8079933"/>
              <a:gd name="connsiteY9874" fmla="*/ 2648839 h 4687251"/>
              <a:gd name="connsiteX9875" fmla="*/ 6464661 w 8079933"/>
              <a:gd name="connsiteY9875" fmla="*/ 2654144 h 4687251"/>
              <a:gd name="connsiteX9876" fmla="*/ 6465096 w 8079933"/>
              <a:gd name="connsiteY9876" fmla="*/ 2657284 h 4687251"/>
              <a:gd name="connsiteX9877" fmla="*/ 6463359 w 8079933"/>
              <a:gd name="connsiteY9877" fmla="*/ 2661723 h 4687251"/>
              <a:gd name="connsiteX9878" fmla="*/ 6465096 w 8079933"/>
              <a:gd name="connsiteY9878" fmla="*/ 2665513 h 4687251"/>
              <a:gd name="connsiteX9879" fmla="*/ 6464661 w 8079933"/>
              <a:gd name="connsiteY9879" fmla="*/ 2674066 h 4687251"/>
              <a:gd name="connsiteX9880" fmla="*/ 6461623 w 8079933"/>
              <a:gd name="connsiteY9880" fmla="*/ 2677531 h 4687251"/>
              <a:gd name="connsiteX9881" fmla="*/ 6459226 w 8079933"/>
              <a:gd name="connsiteY9881" fmla="*/ 2678704 h 4687251"/>
              <a:gd name="connsiteX9882" fmla="*/ 6461624 w 8079933"/>
              <a:gd name="connsiteY9882" fmla="*/ 2677531 h 4687251"/>
              <a:gd name="connsiteX9883" fmla="*/ 6459019 w 8079933"/>
              <a:gd name="connsiteY9883" fmla="*/ 2678830 h 4687251"/>
              <a:gd name="connsiteX9884" fmla="*/ 6455929 w 8079933"/>
              <a:gd name="connsiteY9884" fmla="*/ 2680317 h 4687251"/>
              <a:gd name="connsiteX9885" fmla="*/ 6455871 w 8079933"/>
              <a:gd name="connsiteY9885" fmla="*/ 2680346 h 4687251"/>
              <a:gd name="connsiteX9886" fmla="*/ 6451748 w 8079933"/>
              <a:gd name="connsiteY9886" fmla="*/ 2676990 h 4687251"/>
              <a:gd name="connsiteX9887" fmla="*/ 6451747 w 8079933"/>
              <a:gd name="connsiteY9887" fmla="*/ 2676990 h 4687251"/>
              <a:gd name="connsiteX9888" fmla="*/ 6455871 w 8079933"/>
              <a:gd name="connsiteY9888" fmla="*/ 2680346 h 4687251"/>
              <a:gd name="connsiteX9889" fmla="*/ 6459019 w 8079933"/>
              <a:gd name="connsiteY9889" fmla="*/ 2678830 h 4687251"/>
              <a:gd name="connsiteX9890" fmla="*/ 6464552 w 8079933"/>
              <a:gd name="connsiteY9890" fmla="*/ 2682836 h 4687251"/>
              <a:gd name="connsiteX9891" fmla="*/ 6466614 w 8079933"/>
              <a:gd name="connsiteY9891" fmla="*/ 2686084 h 4687251"/>
              <a:gd name="connsiteX9892" fmla="*/ 6466616 w 8079933"/>
              <a:gd name="connsiteY9892" fmla="*/ 2686084 h 4687251"/>
              <a:gd name="connsiteX9893" fmla="*/ 6464554 w 8079933"/>
              <a:gd name="connsiteY9893" fmla="*/ 2682836 h 4687251"/>
              <a:gd name="connsiteX9894" fmla="*/ 6459020 w 8079933"/>
              <a:gd name="connsiteY9894" fmla="*/ 2678830 h 4687251"/>
              <a:gd name="connsiteX9895" fmla="*/ 6461624 w 8079933"/>
              <a:gd name="connsiteY9895" fmla="*/ 2677531 h 4687251"/>
              <a:gd name="connsiteX9896" fmla="*/ 6464663 w 8079933"/>
              <a:gd name="connsiteY9896" fmla="*/ 2674066 h 4687251"/>
              <a:gd name="connsiteX9897" fmla="*/ 6465097 w 8079933"/>
              <a:gd name="connsiteY9897" fmla="*/ 2665513 h 4687251"/>
              <a:gd name="connsiteX9898" fmla="*/ 6463360 w 8079933"/>
              <a:gd name="connsiteY9898" fmla="*/ 2661724 h 4687251"/>
              <a:gd name="connsiteX9899" fmla="*/ 6465097 w 8079933"/>
              <a:gd name="connsiteY9899" fmla="*/ 2657285 h 4687251"/>
              <a:gd name="connsiteX9900" fmla="*/ 6464663 w 8079933"/>
              <a:gd name="connsiteY9900" fmla="*/ 2654145 h 4687251"/>
              <a:gd name="connsiteX9901" fmla="*/ 6466290 w 8079933"/>
              <a:gd name="connsiteY9901" fmla="*/ 2648839 h 4687251"/>
              <a:gd name="connsiteX9902" fmla="*/ 6465206 w 8079933"/>
              <a:gd name="connsiteY9902" fmla="*/ 2645591 h 4687251"/>
              <a:gd name="connsiteX9903" fmla="*/ 6459237 w 8079933"/>
              <a:gd name="connsiteY9903" fmla="*/ 2641585 h 4687251"/>
              <a:gd name="connsiteX9904" fmla="*/ 6460756 w 8079933"/>
              <a:gd name="connsiteY9904" fmla="*/ 2638987 h 4687251"/>
              <a:gd name="connsiteX9905" fmla="*/ 6456633 w 8079933"/>
              <a:gd name="connsiteY9905" fmla="*/ 2637363 h 4687251"/>
              <a:gd name="connsiteX9906" fmla="*/ 4042851 w 8079933"/>
              <a:gd name="connsiteY9906" fmla="*/ 2635986 h 4687251"/>
              <a:gd name="connsiteX9907" fmla="*/ 4039965 w 8079933"/>
              <a:gd name="connsiteY9907" fmla="*/ 2637796 h 4687251"/>
              <a:gd name="connsiteX9908" fmla="*/ 4039205 w 8079933"/>
              <a:gd name="connsiteY9908" fmla="*/ 2646024 h 4687251"/>
              <a:gd name="connsiteX9909" fmla="*/ 4037577 w 8079933"/>
              <a:gd name="connsiteY9909" fmla="*/ 2651330 h 4687251"/>
              <a:gd name="connsiteX9910" fmla="*/ 4037453 w 8079933"/>
              <a:gd name="connsiteY9910" fmla="*/ 2651399 h 4687251"/>
              <a:gd name="connsiteX9911" fmla="*/ 4037578 w 8079933"/>
              <a:gd name="connsiteY9911" fmla="*/ 2651329 h 4687251"/>
              <a:gd name="connsiteX9912" fmla="*/ 4039206 w 8079933"/>
              <a:gd name="connsiteY9912" fmla="*/ 2646024 h 4687251"/>
              <a:gd name="connsiteX9913" fmla="*/ 4039966 w 8079933"/>
              <a:gd name="connsiteY9913" fmla="*/ 2637796 h 4687251"/>
              <a:gd name="connsiteX9914" fmla="*/ 3612812 w 8079933"/>
              <a:gd name="connsiteY9914" fmla="*/ 2634751 h 4687251"/>
              <a:gd name="connsiteX9915" fmla="*/ 3616751 w 8079933"/>
              <a:gd name="connsiteY9915" fmla="*/ 2639853 h 4687251"/>
              <a:gd name="connsiteX9916" fmla="*/ 3616751 w 8079933"/>
              <a:gd name="connsiteY9916" fmla="*/ 2639852 h 4687251"/>
              <a:gd name="connsiteX9917" fmla="*/ 6504108 w 8079933"/>
              <a:gd name="connsiteY9917" fmla="*/ 2634272 h 4687251"/>
              <a:gd name="connsiteX9918" fmla="*/ 6504705 w 8079933"/>
              <a:gd name="connsiteY9918" fmla="*/ 2635089 h 4687251"/>
              <a:gd name="connsiteX9919" fmla="*/ 6506303 w 8079933"/>
              <a:gd name="connsiteY9919" fmla="*/ 2635524 h 4687251"/>
              <a:gd name="connsiteX9920" fmla="*/ 6504705 w 8079933"/>
              <a:gd name="connsiteY9920" fmla="*/ 2635089 h 4687251"/>
              <a:gd name="connsiteX9921" fmla="*/ 2490348 w 8079933"/>
              <a:gd name="connsiteY9921" fmla="*/ 2634006 h 4687251"/>
              <a:gd name="connsiteX9922" fmla="*/ 2494797 w 8079933"/>
              <a:gd name="connsiteY9922" fmla="*/ 2639095 h 4687251"/>
              <a:gd name="connsiteX9923" fmla="*/ 2491650 w 8079933"/>
              <a:gd name="connsiteY9923" fmla="*/ 2648082 h 4687251"/>
              <a:gd name="connsiteX9924" fmla="*/ 2485682 w 8079933"/>
              <a:gd name="connsiteY9924" fmla="*/ 2638987 h 4687251"/>
              <a:gd name="connsiteX9925" fmla="*/ 2487201 w 8079933"/>
              <a:gd name="connsiteY9925" fmla="*/ 2634114 h 4687251"/>
              <a:gd name="connsiteX9926" fmla="*/ 6511758 w 8079933"/>
              <a:gd name="connsiteY9926" fmla="*/ 2633898 h 4687251"/>
              <a:gd name="connsiteX9927" fmla="*/ 6507092 w 8079933"/>
              <a:gd name="connsiteY9927" fmla="*/ 2635738 h 4687251"/>
              <a:gd name="connsiteX9928" fmla="*/ 6507093 w 8079933"/>
              <a:gd name="connsiteY9928" fmla="*/ 2635739 h 4687251"/>
              <a:gd name="connsiteX9929" fmla="*/ 6511758 w 8079933"/>
              <a:gd name="connsiteY9929" fmla="*/ 2633899 h 4687251"/>
              <a:gd name="connsiteX9930" fmla="*/ 6496458 w 8079933"/>
              <a:gd name="connsiteY9930" fmla="*/ 2630758 h 4687251"/>
              <a:gd name="connsiteX9931" fmla="*/ 6496458 w 8079933"/>
              <a:gd name="connsiteY9931" fmla="*/ 2630758 h 4687251"/>
              <a:gd name="connsiteX9932" fmla="*/ 6501774 w 8079933"/>
              <a:gd name="connsiteY9932" fmla="*/ 2631083 h 4687251"/>
              <a:gd name="connsiteX9933" fmla="*/ 6501774 w 8079933"/>
              <a:gd name="connsiteY9933" fmla="*/ 2631082 h 4687251"/>
              <a:gd name="connsiteX9934" fmla="*/ 2499464 w 8079933"/>
              <a:gd name="connsiteY9934" fmla="*/ 2629134 h 4687251"/>
              <a:gd name="connsiteX9935" fmla="*/ 2502936 w 8079933"/>
              <a:gd name="connsiteY9935" fmla="*/ 2639095 h 4687251"/>
              <a:gd name="connsiteX9936" fmla="*/ 2497402 w 8079933"/>
              <a:gd name="connsiteY9936" fmla="*/ 2638662 h 4687251"/>
              <a:gd name="connsiteX9937" fmla="*/ 2494581 w 8079933"/>
              <a:gd name="connsiteY9937" fmla="*/ 2633681 h 4687251"/>
              <a:gd name="connsiteX9938" fmla="*/ 3596612 w 8079933"/>
              <a:gd name="connsiteY9938" fmla="*/ 2628953 h 4687251"/>
              <a:gd name="connsiteX9939" fmla="*/ 3605466 w 8079933"/>
              <a:gd name="connsiteY9939" fmla="*/ 2631841 h 4687251"/>
              <a:gd name="connsiteX9940" fmla="*/ 3611651 w 8079933"/>
              <a:gd name="connsiteY9940" fmla="*/ 2633249 h 4687251"/>
              <a:gd name="connsiteX9941" fmla="*/ 3611651 w 8079933"/>
              <a:gd name="connsiteY9941" fmla="*/ 2633248 h 4687251"/>
              <a:gd name="connsiteX9942" fmla="*/ 3605465 w 8079933"/>
              <a:gd name="connsiteY9942" fmla="*/ 2631840 h 4687251"/>
              <a:gd name="connsiteX9943" fmla="*/ 3378990 w 8079933"/>
              <a:gd name="connsiteY9943" fmla="*/ 2627618 h 4687251"/>
              <a:gd name="connsiteX9944" fmla="*/ 3382354 w 8079933"/>
              <a:gd name="connsiteY9944" fmla="*/ 2630324 h 4687251"/>
              <a:gd name="connsiteX9945" fmla="*/ 3378882 w 8079933"/>
              <a:gd name="connsiteY9945" fmla="*/ 2631732 h 4687251"/>
              <a:gd name="connsiteX9946" fmla="*/ 3377255 w 8079933"/>
              <a:gd name="connsiteY9946" fmla="*/ 2629458 h 4687251"/>
              <a:gd name="connsiteX9947" fmla="*/ 3369550 w 8079933"/>
              <a:gd name="connsiteY9947" fmla="*/ 2627510 h 4687251"/>
              <a:gd name="connsiteX9948" fmla="*/ 3372263 w 8079933"/>
              <a:gd name="connsiteY9948" fmla="*/ 2627510 h 4687251"/>
              <a:gd name="connsiteX9949" fmla="*/ 3374650 w 8079933"/>
              <a:gd name="connsiteY9949" fmla="*/ 2628918 h 4687251"/>
              <a:gd name="connsiteX9950" fmla="*/ 3374867 w 8079933"/>
              <a:gd name="connsiteY9950" fmla="*/ 2630325 h 4687251"/>
              <a:gd name="connsiteX9951" fmla="*/ 3373782 w 8079933"/>
              <a:gd name="connsiteY9951" fmla="*/ 2630650 h 4687251"/>
              <a:gd name="connsiteX9952" fmla="*/ 3372263 w 8079933"/>
              <a:gd name="connsiteY9952" fmla="*/ 2630650 h 4687251"/>
              <a:gd name="connsiteX9953" fmla="*/ 3371069 w 8079933"/>
              <a:gd name="connsiteY9953" fmla="*/ 2631408 h 4687251"/>
              <a:gd name="connsiteX9954" fmla="*/ 3368573 w 8079933"/>
              <a:gd name="connsiteY9954" fmla="*/ 2629350 h 4687251"/>
              <a:gd name="connsiteX9955" fmla="*/ 2477000 w 8079933"/>
              <a:gd name="connsiteY9955" fmla="*/ 2623937 h 4687251"/>
              <a:gd name="connsiteX9956" fmla="*/ 2478736 w 8079933"/>
              <a:gd name="connsiteY9956" fmla="*/ 2627943 h 4687251"/>
              <a:gd name="connsiteX9957" fmla="*/ 2475264 w 8079933"/>
              <a:gd name="connsiteY9957" fmla="*/ 2628592 h 4687251"/>
              <a:gd name="connsiteX9958" fmla="*/ 5031743 w 8079933"/>
              <a:gd name="connsiteY9958" fmla="*/ 2623399 h 4687251"/>
              <a:gd name="connsiteX9959" fmla="*/ 5043094 w 8079933"/>
              <a:gd name="connsiteY9959" fmla="*/ 2628917 h 4687251"/>
              <a:gd name="connsiteX9960" fmla="*/ 5043116 w 8079933"/>
              <a:gd name="connsiteY9960" fmla="*/ 2629406 h 4687251"/>
              <a:gd name="connsiteX9961" fmla="*/ 5043094 w 8079933"/>
              <a:gd name="connsiteY9961" fmla="*/ 2628917 h 4687251"/>
              <a:gd name="connsiteX9962" fmla="*/ 6491791 w 8079933"/>
              <a:gd name="connsiteY9962" fmla="*/ 2622854 h 4687251"/>
              <a:gd name="connsiteX9963" fmla="*/ 6489730 w 8079933"/>
              <a:gd name="connsiteY9963" fmla="*/ 2623612 h 4687251"/>
              <a:gd name="connsiteX9964" fmla="*/ 6491792 w 8079933"/>
              <a:gd name="connsiteY9964" fmla="*/ 2622855 h 4687251"/>
              <a:gd name="connsiteX9965" fmla="*/ 6493307 w 8079933"/>
              <a:gd name="connsiteY9965" fmla="*/ 2623496 h 4687251"/>
              <a:gd name="connsiteX9966" fmla="*/ 3404058 w 8079933"/>
              <a:gd name="connsiteY9966" fmla="*/ 2622313 h 4687251"/>
              <a:gd name="connsiteX9967" fmla="*/ 3404058 w 8079933"/>
              <a:gd name="connsiteY9967" fmla="*/ 2626428 h 4687251"/>
              <a:gd name="connsiteX9968" fmla="*/ 3402648 w 8079933"/>
              <a:gd name="connsiteY9968" fmla="*/ 2628485 h 4687251"/>
              <a:gd name="connsiteX9969" fmla="*/ 3401563 w 8079933"/>
              <a:gd name="connsiteY9969" fmla="*/ 2624695 h 4687251"/>
              <a:gd name="connsiteX9970" fmla="*/ 3355768 w 8079933"/>
              <a:gd name="connsiteY9970" fmla="*/ 2620364 h 4687251"/>
              <a:gd name="connsiteX9971" fmla="*/ 3358047 w 8079933"/>
              <a:gd name="connsiteY9971" fmla="*/ 2621013 h 4687251"/>
              <a:gd name="connsiteX9972" fmla="*/ 3358047 w 8079933"/>
              <a:gd name="connsiteY9972" fmla="*/ 2623721 h 4687251"/>
              <a:gd name="connsiteX9973" fmla="*/ 3355877 w 8079933"/>
              <a:gd name="connsiteY9973" fmla="*/ 2625236 h 4687251"/>
              <a:gd name="connsiteX9974" fmla="*/ 3354358 w 8079933"/>
              <a:gd name="connsiteY9974" fmla="*/ 2622313 h 4687251"/>
              <a:gd name="connsiteX9975" fmla="*/ 4969411 w 8079933"/>
              <a:gd name="connsiteY9975" fmla="*/ 2618090 h 4687251"/>
              <a:gd name="connsiteX9976" fmla="*/ 4969411 w 8079933"/>
              <a:gd name="connsiteY9976" fmla="*/ 2618090 h 4687251"/>
              <a:gd name="connsiteX9977" fmla="*/ 4973751 w 8079933"/>
              <a:gd name="connsiteY9977" fmla="*/ 2626102 h 4687251"/>
              <a:gd name="connsiteX9978" fmla="*/ 4967457 w 8079933"/>
              <a:gd name="connsiteY9978" fmla="*/ 2630217 h 4687251"/>
              <a:gd name="connsiteX9979" fmla="*/ 4964853 w 8079933"/>
              <a:gd name="connsiteY9979" fmla="*/ 2635088 h 4687251"/>
              <a:gd name="connsiteX9980" fmla="*/ 4964854 w 8079933"/>
              <a:gd name="connsiteY9980" fmla="*/ 2635089 h 4687251"/>
              <a:gd name="connsiteX9981" fmla="*/ 4967458 w 8079933"/>
              <a:gd name="connsiteY9981" fmla="*/ 2630216 h 4687251"/>
              <a:gd name="connsiteX9982" fmla="*/ 4973752 w 8079933"/>
              <a:gd name="connsiteY9982" fmla="*/ 2626102 h 4687251"/>
              <a:gd name="connsiteX9983" fmla="*/ 3349800 w 8079933"/>
              <a:gd name="connsiteY9983" fmla="*/ 2615817 h 4687251"/>
              <a:gd name="connsiteX9984" fmla="*/ 3353272 w 8079933"/>
              <a:gd name="connsiteY9984" fmla="*/ 2615817 h 4687251"/>
              <a:gd name="connsiteX9985" fmla="*/ 3354466 w 8079933"/>
              <a:gd name="connsiteY9985" fmla="*/ 2618307 h 4687251"/>
              <a:gd name="connsiteX9986" fmla="*/ 3349257 w 8079933"/>
              <a:gd name="connsiteY9986" fmla="*/ 2621555 h 4687251"/>
              <a:gd name="connsiteX9987" fmla="*/ 3346002 w 8079933"/>
              <a:gd name="connsiteY9987" fmla="*/ 2621555 h 4687251"/>
              <a:gd name="connsiteX9988" fmla="*/ 3344700 w 8079933"/>
              <a:gd name="connsiteY9988" fmla="*/ 2617874 h 4687251"/>
              <a:gd name="connsiteX9989" fmla="*/ 3346653 w 8079933"/>
              <a:gd name="connsiteY9989" fmla="*/ 2617224 h 4687251"/>
              <a:gd name="connsiteX9990" fmla="*/ 6287238 w 8079933"/>
              <a:gd name="connsiteY9990" fmla="*/ 2614843 h 4687251"/>
              <a:gd name="connsiteX9991" fmla="*/ 6287238 w 8079933"/>
              <a:gd name="connsiteY9991" fmla="*/ 2614843 h 4687251"/>
              <a:gd name="connsiteX9992" fmla="*/ 6291035 w 8079933"/>
              <a:gd name="connsiteY9992" fmla="*/ 2616142 h 4687251"/>
              <a:gd name="connsiteX9993" fmla="*/ 6293748 w 8079933"/>
              <a:gd name="connsiteY9993" fmla="*/ 2622314 h 4687251"/>
              <a:gd name="connsiteX9994" fmla="*/ 6294616 w 8079933"/>
              <a:gd name="connsiteY9994" fmla="*/ 2627510 h 4687251"/>
              <a:gd name="connsiteX9995" fmla="*/ 6299608 w 8079933"/>
              <a:gd name="connsiteY9995" fmla="*/ 2629892 h 4687251"/>
              <a:gd name="connsiteX9996" fmla="*/ 6294616 w 8079933"/>
              <a:gd name="connsiteY9996" fmla="*/ 2627510 h 4687251"/>
              <a:gd name="connsiteX9997" fmla="*/ 6293748 w 8079933"/>
              <a:gd name="connsiteY9997" fmla="*/ 2622313 h 4687251"/>
              <a:gd name="connsiteX9998" fmla="*/ 6291035 w 8079933"/>
              <a:gd name="connsiteY9998" fmla="*/ 2616142 h 4687251"/>
              <a:gd name="connsiteX9999" fmla="*/ 1782060 w 8079933"/>
              <a:gd name="connsiteY9999" fmla="*/ 2614302 h 4687251"/>
              <a:gd name="connsiteX10000" fmla="*/ 1785532 w 8079933"/>
              <a:gd name="connsiteY10000" fmla="*/ 2617225 h 4687251"/>
              <a:gd name="connsiteX10001" fmla="*/ 1786834 w 8079933"/>
              <a:gd name="connsiteY10001" fmla="*/ 2619606 h 4687251"/>
              <a:gd name="connsiteX10002" fmla="*/ 1790632 w 8079933"/>
              <a:gd name="connsiteY10002" fmla="*/ 2624371 h 4687251"/>
              <a:gd name="connsiteX10003" fmla="*/ 1794430 w 8079933"/>
              <a:gd name="connsiteY10003" fmla="*/ 2626861 h 4687251"/>
              <a:gd name="connsiteX10004" fmla="*/ 1797143 w 8079933"/>
              <a:gd name="connsiteY10004" fmla="*/ 2626861 h 4687251"/>
              <a:gd name="connsiteX10005" fmla="*/ 1798988 w 8079933"/>
              <a:gd name="connsiteY10005" fmla="*/ 2630109 h 4687251"/>
              <a:gd name="connsiteX10006" fmla="*/ 1799422 w 8079933"/>
              <a:gd name="connsiteY10006" fmla="*/ 2633465 h 4687251"/>
              <a:gd name="connsiteX10007" fmla="*/ 1801050 w 8079933"/>
              <a:gd name="connsiteY10007" fmla="*/ 2635306 h 4687251"/>
              <a:gd name="connsiteX10008" fmla="*/ 1805173 w 8079933"/>
              <a:gd name="connsiteY10008" fmla="*/ 2635630 h 4687251"/>
              <a:gd name="connsiteX10009" fmla="*/ 1807778 w 8079933"/>
              <a:gd name="connsiteY10009" fmla="*/ 2637038 h 4687251"/>
              <a:gd name="connsiteX10010" fmla="*/ 1807886 w 8079933"/>
              <a:gd name="connsiteY10010" fmla="*/ 2640178 h 4687251"/>
              <a:gd name="connsiteX10011" fmla="*/ 1807887 w 8079933"/>
              <a:gd name="connsiteY10011" fmla="*/ 2640177 h 4687251"/>
              <a:gd name="connsiteX10012" fmla="*/ 1807778 w 8079933"/>
              <a:gd name="connsiteY10012" fmla="*/ 2637037 h 4687251"/>
              <a:gd name="connsiteX10013" fmla="*/ 1805174 w 8079933"/>
              <a:gd name="connsiteY10013" fmla="*/ 2635630 h 4687251"/>
              <a:gd name="connsiteX10014" fmla="*/ 1801050 w 8079933"/>
              <a:gd name="connsiteY10014" fmla="*/ 2635305 h 4687251"/>
              <a:gd name="connsiteX10015" fmla="*/ 1799423 w 8079933"/>
              <a:gd name="connsiteY10015" fmla="*/ 2633464 h 4687251"/>
              <a:gd name="connsiteX10016" fmla="*/ 1798989 w 8079933"/>
              <a:gd name="connsiteY10016" fmla="*/ 2630108 h 4687251"/>
              <a:gd name="connsiteX10017" fmla="*/ 1797144 w 8079933"/>
              <a:gd name="connsiteY10017" fmla="*/ 2626860 h 4687251"/>
              <a:gd name="connsiteX10018" fmla="*/ 1794431 w 8079933"/>
              <a:gd name="connsiteY10018" fmla="*/ 2626860 h 4687251"/>
              <a:gd name="connsiteX10019" fmla="*/ 1790633 w 8079933"/>
              <a:gd name="connsiteY10019" fmla="*/ 2624370 h 4687251"/>
              <a:gd name="connsiteX10020" fmla="*/ 1786835 w 8079933"/>
              <a:gd name="connsiteY10020" fmla="*/ 2619606 h 4687251"/>
              <a:gd name="connsiteX10021" fmla="*/ 1785533 w 8079933"/>
              <a:gd name="connsiteY10021" fmla="*/ 2617224 h 4687251"/>
              <a:gd name="connsiteX10022" fmla="*/ 1782061 w 8079933"/>
              <a:gd name="connsiteY10022" fmla="*/ 2614302 h 4687251"/>
              <a:gd name="connsiteX10023" fmla="*/ 2483619 w 8079933"/>
              <a:gd name="connsiteY10023" fmla="*/ 2612460 h 4687251"/>
              <a:gd name="connsiteX10024" fmla="*/ 2490781 w 8079933"/>
              <a:gd name="connsiteY10024" fmla="*/ 2617115 h 4687251"/>
              <a:gd name="connsiteX10025" fmla="*/ 2485464 w 8079933"/>
              <a:gd name="connsiteY10025" fmla="*/ 2619064 h 4687251"/>
              <a:gd name="connsiteX10026" fmla="*/ 2483294 w 8079933"/>
              <a:gd name="connsiteY10026" fmla="*/ 2616466 h 4687251"/>
              <a:gd name="connsiteX10027" fmla="*/ 4835079 w 8079933"/>
              <a:gd name="connsiteY10027" fmla="*/ 2610058 h 4687251"/>
              <a:gd name="connsiteX10028" fmla="*/ 4831268 w 8079933"/>
              <a:gd name="connsiteY10028" fmla="*/ 2610835 h 4687251"/>
              <a:gd name="connsiteX10029" fmla="*/ 4830943 w 8079933"/>
              <a:gd name="connsiteY10029" fmla="*/ 2613218 h 4687251"/>
              <a:gd name="connsiteX10030" fmla="*/ 4832028 w 8079933"/>
              <a:gd name="connsiteY10030" fmla="*/ 2615492 h 4687251"/>
              <a:gd name="connsiteX10031" fmla="*/ 4831486 w 8079933"/>
              <a:gd name="connsiteY10031" fmla="*/ 2618198 h 4687251"/>
              <a:gd name="connsiteX10032" fmla="*/ 4825083 w 8079933"/>
              <a:gd name="connsiteY10032" fmla="*/ 2618198 h 4687251"/>
              <a:gd name="connsiteX10033" fmla="*/ 4822370 w 8079933"/>
              <a:gd name="connsiteY10033" fmla="*/ 2619930 h 4687251"/>
              <a:gd name="connsiteX10034" fmla="*/ 4822370 w 8079933"/>
              <a:gd name="connsiteY10034" fmla="*/ 2624802 h 4687251"/>
              <a:gd name="connsiteX10035" fmla="*/ 4820091 w 8079933"/>
              <a:gd name="connsiteY10035" fmla="*/ 2630324 h 4687251"/>
              <a:gd name="connsiteX10036" fmla="*/ 4822262 w 8079933"/>
              <a:gd name="connsiteY10036" fmla="*/ 2631732 h 4687251"/>
              <a:gd name="connsiteX10037" fmla="*/ 4823564 w 8079933"/>
              <a:gd name="connsiteY10037" fmla="*/ 2633897 h 4687251"/>
              <a:gd name="connsiteX10038" fmla="*/ 4821719 w 8079933"/>
              <a:gd name="connsiteY10038" fmla="*/ 2636279 h 4687251"/>
              <a:gd name="connsiteX10039" fmla="*/ 4819446 w 8079933"/>
              <a:gd name="connsiteY10039" fmla="*/ 2642448 h 4687251"/>
              <a:gd name="connsiteX10040" fmla="*/ 4821719 w 8079933"/>
              <a:gd name="connsiteY10040" fmla="*/ 2636279 h 4687251"/>
              <a:gd name="connsiteX10041" fmla="*/ 4823564 w 8079933"/>
              <a:gd name="connsiteY10041" fmla="*/ 2633897 h 4687251"/>
              <a:gd name="connsiteX10042" fmla="*/ 4822262 w 8079933"/>
              <a:gd name="connsiteY10042" fmla="*/ 2631732 h 4687251"/>
              <a:gd name="connsiteX10043" fmla="*/ 4820092 w 8079933"/>
              <a:gd name="connsiteY10043" fmla="*/ 2630324 h 4687251"/>
              <a:gd name="connsiteX10044" fmla="*/ 4822371 w 8079933"/>
              <a:gd name="connsiteY10044" fmla="*/ 2624803 h 4687251"/>
              <a:gd name="connsiteX10045" fmla="*/ 4822371 w 8079933"/>
              <a:gd name="connsiteY10045" fmla="*/ 2619930 h 4687251"/>
              <a:gd name="connsiteX10046" fmla="*/ 4825084 w 8079933"/>
              <a:gd name="connsiteY10046" fmla="*/ 2618199 h 4687251"/>
              <a:gd name="connsiteX10047" fmla="*/ 4831487 w 8079933"/>
              <a:gd name="connsiteY10047" fmla="*/ 2618199 h 4687251"/>
              <a:gd name="connsiteX10048" fmla="*/ 4832028 w 8079933"/>
              <a:gd name="connsiteY10048" fmla="*/ 2615491 h 4687251"/>
              <a:gd name="connsiteX10049" fmla="*/ 4830943 w 8079933"/>
              <a:gd name="connsiteY10049" fmla="*/ 2613218 h 4687251"/>
              <a:gd name="connsiteX10050" fmla="*/ 4831269 w 8079933"/>
              <a:gd name="connsiteY10050" fmla="*/ 2610836 h 4687251"/>
              <a:gd name="connsiteX10051" fmla="*/ 4838973 w 8079933"/>
              <a:gd name="connsiteY10051" fmla="*/ 2607371 h 4687251"/>
              <a:gd name="connsiteX10052" fmla="*/ 4836043 w 8079933"/>
              <a:gd name="connsiteY10052" fmla="*/ 2609861 h 4687251"/>
              <a:gd name="connsiteX10053" fmla="*/ 4836044 w 8079933"/>
              <a:gd name="connsiteY10053" fmla="*/ 2609861 h 4687251"/>
              <a:gd name="connsiteX10054" fmla="*/ 4838974 w 8079933"/>
              <a:gd name="connsiteY10054" fmla="*/ 2607371 h 4687251"/>
              <a:gd name="connsiteX10055" fmla="*/ 2463761 w 8079933"/>
              <a:gd name="connsiteY10055" fmla="*/ 2606506 h 4687251"/>
              <a:gd name="connsiteX10056" fmla="*/ 2467885 w 8079933"/>
              <a:gd name="connsiteY10056" fmla="*/ 2613110 h 4687251"/>
              <a:gd name="connsiteX10057" fmla="*/ 2462893 w 8079933"/>
              <a:gd name="connsiteY10057" fmla="*/ 2612461 h 4687251"/>
              <a:gd name="connsiteX10058" fmla="*/ 2460289 w 8079933"/>
              <a:gd name="connsiteY10058" fmla="*/ 2608888 h 4687251"/>
              <a:gd name="connsiteX10059" fmla="*/ 4975436 w 8079933"/>
              <a:gd name="connsiteY10059" fmla="*/ 2605456 h 4687251"/>
              <a:gd name="connsiteX10060" fmla="*/ 4972558 w 8079933"/>
              <a:gd name="connsiteY10060" fmla="*/ 2606722 h 4687251"/>
              <a:gd name="connsiteX10061" fmla="*/ 4969905 w 8079933"/>
              <a:gd name="connsiteY10061" fmla="*/ 2616305 h 4687251"/>
              <a:gd name="connsiteX10062" fmla="*/ 4972559 w 8079933"/>
              <a:gd name="connsiteY10062" fmla="*/ 2606722 h 4687251"/>
              <a:gd name="connsiteX10063" fmla="*/ 4849686 w 8079933"/>
              <a:gd name="connsiteY10063" fmla="*/ 2603865 h 4687251"/>
              <a:gd name="connsiteX10064" fmla="*/ 4846027 w 8079933"/>
              <a:gd name="connsiteY10064" fmla="*/ 2604556 h 4687251"/>
              <a:gd name="connsiteX10065" fmla="*/ 4844291 w 8079933"/>
              <a:gd name="connsiteY10065" fmla="*/ 2607912 h 4687251"/>
              <a:gd name="connsiteX10066" fmla="*/ 4844291 w 8079933"/>
              <a:gd name="connsiteY10066" fmla="*/ 2607912 h 4687251"/>
              <a:gd name="connsiteX10067" fmla="*/ 4846027 w 8079933"/>
              <a:gd name="connsiteY10067" fmla="*/ 2604556 h 4687251"/>
              <a:gd name="connsiteX10068" fmla="*/ 1792956 w 8079933"/>
              <a:gd name="connsiteY10068" fmla="*/ 2601701 h 4687251"/>
              <a:gd name="connsiteX10069" fmla="*/ 1792043 w 8079933"/>
              <a:gd name="connsiteY10069" fmla="*/ 2613434 h 4687251"/>
              <a:gd name="connsiteX10070" fmla="*/ 1792044 w 8079933"/>
              <a:gd name="connsiteY10070" fmla="*/ 2613434 h 4687251"/>
              <a:gd name="connsiteX10071" fmla="*/ 2487092 w 8079933"/>
              <a:gd name="connsiteY10071" fmla="*/ 2598602 h 4687251"/>
              <a:gd name="connsiteX10072" fmla="*/ 2488937 w 8079933"/>
              <a:gd name="connsiteY10072" fmla="*/ 2602500 h 4687251"/>
              <a:gd name="connsiteX10073" fmla="*/ 2487743 w 8079933"/>
              <a:gd name="connsiteY10073" fmla="*/ 2606831 h 4687251"/>
              <a:gd name="connsiteX10074" fmla="*/ 2483620 w 8079933"/>
              <a:gd name="connsiteY10074" fmla="*/ 2603041 h 4687251"/>
              <a:gd name="connsiteX10075" fmla="*/ 2420897 w 8079933"/>
              <a:gd name="connsiteY10075" fmla="*/ 2598170 h 4687251"/>
              <a:gd name="connsiteX10076" fmla="*/ 2423502 w 8079933"/>
              <a:gd name="connsiteY10076" fmla="*/ 2600768 h 4687251"/>
              <a:gd name="connsiteX10077" fmla="*/ 2415906 w 8079933"/>
              <a:gd name="connsiteY10077" fmla="*/ 2601852 h 4687251"/>
              <a:gd name="connsiteX10078" fmla="*/ 1843046 w 8079933"/>
              <a:gd name="connsiteY10078" fmla="*/ 2597844 h 4687251"/>
              <a:gd name="connsiteX10079" fmla="*/ 1843046 w 8079933"/>
              <a:gd name="connsiteY10079" fmla="*/ 2597844 h 4687251"/>
              <a:gd name="connsiteX10080" fmla="*/ 1842562 w 8079933"/>
              <a:gd name="connsiteY10080" fmla="*/ 2598508 h 4687251"/>
              <a:gd name="connsiteX10081" fmla="*/ 1836774 w 8079933"/>
              <a:gd name="connsiteY10081" fmla="*/ 2596765 h 4687251"/>
              <a:gd name="connsiteX10082" fmla="*/ 1834907 w 8079933"/>
              <a:gd name="connsiteY10082" fmla="*/ 2598061 h 4687251"/>
              <a:gd name="connsiteX10083" fmla="*/ 1834473 w 8079933"/>
              <a:gd name="connsiteY10083" fmla="*/ 2601524 h 4687251"/>
              <a:gd name="connsiteX10084" fmla="*/ 1834474 w 8079933"/>
              <a:gd name="connsiteY10084" fmla="*/ 2601524 h 4687251"/>
              <a:gd name="connsiteX10085" fmla="*/ 1834908 w 8079933"/>
              <a:gd name="connsiteY10085" fmla="*/ 2598061 h 4687251"/>
              <a:gd name="connsiteX10086" fmla="*/ 2403752 w 8079933"/>
              <a:gd name="connsiteY10086" fmla="*/ 2592323 h 4687251"/>
              <a:gd name="connsiteX10087" fmla="*/ 2410371 w 8079933"/>
              <a:gd name="connsiteY10087" fmla="*/ 2594163 h 4687251"/>
              <a:gd name="connsiteX10088" fmla="*/ 2408526 w 8079933"/>
              <a:gd name="connsiteY10088" fmla="*/ 2595679 h 4687251"/>
              <a:gd name="connsiteX10089" fmla="*/ 2399737 w 8079933"/>
              <a:gd name="connsiteY10089" fmla="*/ 2596221 h 4687251"/>
              <a:gd name="connsiteX10090" fmla="*/ 6363307 w 8079933"/>
              <a:gd name="connsiteY10090" fmla="*/ 2591564 h 4687251"/>
              <a:gd name="connsiteX10091" fmla="*/ 6359311 w 8079933"/>
              <a:gd name="connsiteY10091" fmla="*/ 2592450 h 4687251"/>
              <a:gd name="connsiteX10092" fmla="*/ 6363307 w 8079933"/>
              <a:gd name="connsiteY10092" fmla="*/ 2591565 h 4687251"/>
              <a:gd name="connsiteX10093" fmla="*/ 2327574 w 8079933"/>
              <a:gd name="connsiteY10093" fmla="*/ 2588858 h 4687251"/>
              <a:gd name="connsiteX10094" fmla="*/ 2330287 w 8079933"/>
              <a:gd name="connsiteY10094" fmla="*/ 2591672 h 4687251"/>
              <a:gd name="connsiteX10095" fmla="*/ 2334085 w 8079933"/>
              <a:gd name="connsiteY10095" fmla="*/ 2592214 h 4687251"/>
              <a:gd name="connsiteX10096" fmla="*/ 2331155 w 8079933"/>
              <a:gd name="connsiteY10096" fmla="*/ 2594380 h 4687251"/>
              <a:gd name="connsiteX10097" fmla="*/ 2327791 w 8079933"/>
              <a:gd name="connsiteY10097" fmla="*/ 2592972 h 4687251"/>
              <a:gd name="connsiteX10098" fmla="*/ 2326055 w 8079933"/>
              <a:gd name="connsiteY10098" fmla="*/ 2589615 h 4687251"/>
              <a:gd name="connsiteX10099" fmla="*/ 2462567 w 8079933"/>
              <a:gd name="connsiteY10099" fmla="*/ 2587883 h 4687251"/>
              <a:gd name="connsiteX10100" fmla="*/ 2458986 w 8079933"/>
              <a:gd name="connsiteY10100" fmla="*/ 2591997 h 4687251"/>
              <a:gd name="connsiteX10101" fmla="*/ 2458769 w 8079933"/>
              <a:gd name="connsiteY10101" fmla="*/ 2597195 h 4687251"/>
              <a:gd name="connsiteX10102" fmla="*/ 2453126 w 8079933"/>
              <a:gd name="connsiteY10102" fmla="*/ 2593297 h 4687251"/>
              <a:gd name="connsiteX10103" fmla="*/ 2452367 w 8079933"/>
              <a:gd name="connsiteY10103" fmla="*/ 2591022 h 4687251"/>
              <a:gd name="connsiteX10104" fmla="*/ 2456382 w 8079933"/>
              <a:gd name="connsiteY10104" fmla="*/ 2588099 h 4687251"/>
              <a:gd name="connsiteX10105" fmla="*/ 6384360 w 8079933"/>
              <a:gd name="connsiteY10105" fmla="*/ 2587017 h 4687251"/>
              <a:gd name="connsiteX10106" fmla="*/ 6388483 w 8079933"/>
              <a:gd name="connsiteY10106" fmla="*/ 2592214 h 4687251"/>
              <a:gd name="connsiteX10107" fmla="*/ 6388484 w 8079933"/>
              <a:gd name="connsiteY10107" fmla="*/ 2592214 h 4687251"/>
              <a:gd name="connsiteX10108" fmla="*/ 6384361 w 8079933"/>
              <a:gd name="connsiteY10108" fmla="*/ 2587017 h 4687251"/>
              <a:gd name="connsiteX10109" fmla="*/ 1850100 w 8079933"/>
              <a:gd name="connsiteY10109" fmla="*/ 2586800 h 4687251"/>
              <a:gd name="connsiteX10110" fmla="*/ 1850099 w 8079933"/>
              <a:gd name="connsiteY10110" fmla="*/ 2586800 h 4687251"/>
              <a:gd name="connsiteX10111" fmla="*/ 1849122 w 8079933"/>
              <a:gd name="connsiteY10111" fmla="*/ 2588641 h 4687251"/>
              <a:gd name="connsiteX10112" fmla="*/ 1848146 w 8079933"/>
              <a:gd name="connsiteY10112" fmla="*/ 2592214 h 4687251"/>
              <a:gd name="connsiteX10113" fmla="*/ 1847386 w 8079933"/>
              <a:gd name="connsiteY10113" fmla="*/ 2593244 h 4687251"/>
              <a:gd name="connsiteX10114" fmla="*/ 1848147 w 8079933"/>
              <a:gd name="connsiteY10114" fmla="*/ 2592214 h 4687251"/>
              <a:gd name="connsiteX10115" fmla="*/ 1849123 w 8079933"/>
              <a:gd name="connsiteY10115" fmla="*/ 2588641 h 4687251"/>
              <a:gd name="connsiteX10116" fmla="*/ 6371556 w 8079933"/>
              <a:gd name="connsiteY10116" fmla="*/ 2583227 h 4687251"/>
              <a:gd name="connsiteX10117" fmla="*/ 6371555 w 8079933"/>
              <a:gd name="connsiteY10117" fmla="*/ 2583228 h 4687251"/>
              <a:gd name="connsiteX10118" fmla="*/ 6379476 w 8079933"/>
              <a:gd name="connsiteY10118" fmla="*/ 2587450 h 4687251"/>
              <a:gd name="connsiteX10119" fmla="*/ 6379478 w 8079933"/>
              <a:gd name="connsiteY10119" fmla="*/ 2587449 h 4687251"/>
              <a:gd name="connsiteX10120" fmla="*/ 2364902 w 8079933"/>
              <a:gd name="connsiteY10120" fmla="*/ 2582470 h 4687251"/>
              <a:gd name="connsiteX10121" fmla="*/ 2382264 w 8079933"/>
              <a:gd name="connsiteY10121" fmla="*/ 2583986 h 4687251"/>
              <a:gd name="connsiteX10122" fmla="*/ 2392140 w 8079933"/>
              <a:gd name="connsiteY10122" fmla="*/ 2582578 h 4687251"/>
              <a:gd name="connsiteX10123" fmla="*/ 2395069 w 8079933"/>
              <a:gd name="connsiteY10123" fmla="*/ 2583986 h 4687251"/>
              <a:gd name="connsiteX10124" fmla="*/ 2396263 w 8079933"/>
              <a:gd name="connsiteY10124" fmla="*/ 2586909 h 4687251"/>
              <a:gd name="connsiteX10125" fmla="*/ 2400712 w 8079933"/>
              <a:gd name="connsiteY10125" fmla="*/ 2588209 h 4687251"/>
              <a:gd name="connsiteX10126" fmla="*/ 2394526 w 8079933"/>
              <a:gd name="connsiteY10126" fmla="*/ 2594921 h 4687251"/>
              <a:gd name="connsiteX10127" fmla="*/ 2386605 w 8079933"/>
              <a:gd name="connsiteY10127" fmla="*/ 2598603 h 4687251"/>
              <a:gd name="connsiteX10128" fmla="*/ 2383458 w 8079933"/>
              <a:gd name="connsiteY10128" fmla="*/ 2596978 h 4687251"/>
              <a:gd name="connsiteX10129" fmla="*/ 2375211 w 8079933"/>
              <a:gd name="connsiteY10129" fmla="*/ 2599144 h 4687251"/>
              <a:gd name="connsiteX10130" fmla="*/ 2372064 w 8079933"/>
              <a:gd name="connsiteY10130" fmla="*/ 2598062 h 4687251"/>
              <a:gd name="connsiteX10131" fmla="*/ 2360779 w 8079933"/>
              <a:gd name="connsiteY10131" fmla="*/ 2597520 h 4687251"/>
              <a:gd name="connsiteX10132" fmla="*/ 2358717 w 8079933"/>
              <a:gd name="connsiteY10132" fmla="*/ 2593513 h 4687251"/>
              <a:gd name="connsiteX10133" fmla="*/ 2359368 w 8079933"/>
              <a:gd name="connsiteY10133" fmla="*/ 2591132 h 4687251"/>
              <a:gd name="connsiteX10134" fmla="*/ 2358825 w 8079933"/>
              <a:gd name="connsiteY10134" fmla="*/ 2587884 h 4687251"/>
              <a:gd name="connsiteX10135" fmla="*/ 2362949 w 8079933"/>
              <a:gd name="connsiteY10135" fmla="*/ 2585827 h 4687251"/>
              <a:gd name="connsiteX10136" fmla="*/ 2115205 w 8079933"/>
              <a:gd name="connsiteY10136" fmla="*/ 2581928 h 4687251"/>
              <a:gd name="connsiteX10137" fmla="*/ 2133436 w 8079933"/>
              <a:gd name="connsiteY10137" fmla="*/ 2582902 h 4687251"/>
              <a:gd name="connsiteX10138" fmla="*/ 2137994 w 8079933"/>
              <a:gd name="connsiteY10138" fmla="*/ 2590373 h 4687251"/>
              <a:gd name="connsiteX10139" fmla="*/ 2143962 w 8079933"/>
              <a:gd name="connsiteY10139" fmla="*/ 2591456 h 4687251"/>
              <a:gd name="connsiteX10140" fmla="*/ 2147977 w 8079933"/>
              <a:gd name="connsiteY10140" fmla="*/ 2595679 h 4687251"/>
              <a:gd name="connsiteX10141" fmla="*/ 2147434 w 8079933"/>
              <a:gd name="connsiteY10141" fmla="*/ 2597844 h 4687251"/>
              <a:gd name="connsiteX10142" fmla="*/ 2139513 w 8079933"/>
              <a:gd name="connsiteY10142" fmla="*/ 2597844 h 4687251"/>
              <a:gd name="connsiteX10143" fmla="*/ 2136257 w 8079933"/>
              <a:gd name="connsiteY10143" fmla="*/ 2596112 h 4687251"/>
              <a:gd name="connsiteX10144" fmla="*/ 2134412 w 8079933"/>
              <a:gd name="connsiteY10144" fmla="*/ 2600118 h 4687251"/>
              <a:gd name="connsiteX10145" fmla="*/ 2131917 w 8079933"/>
              <a:gd name="connsiteY10145" fmla="*/ 2600767 h 4687251"/>
              <a:gd name="connsiteX10146" fmla="*/ 2130072 w 8079933"/>
              <a:gd name="connsiteY10146" fmla="*/ 2598602 h 4687251"/>
              <a:gd name="connsiteX10147" fmla="*/ 2125948 w 8079933"/>
              <a:gd name="connsiteY10147" fmla="*/ 2598602 h 4687251"/>
              <a:gd name="connsiteX10148" fmla="*/ 2125731 w 8079933"/>
              <a:gd name="connsiteY10148" fmla="*/ 2603583 h 4687251"/>
              <a:gd name="connsiteX10149" fmla="*/ 2120088 w 8079933"/>
              <a:gd name="connsiteY10149" fmla="*/ 2603365 h 4687251"/>
              <a:gd name="connsiteX10150" fmla="*/ 2116290 w 8079933"/>
              <a:gd name="connsiteY10150" fmla="*/ 2600442 h 4687251"/>
              <a:gd name="connsiteX10151" fmla="*/ 2110756 w 8079933"/>
              <a:gd name="connsiteY10151" fmla="*/ 2600659 h 4687251"/>
              <a:gd name="connsiteX10152" fmla="*/ 2107501 w 8079933"/>
              <a:gd name="connsiteY10152" fmla="*/ 2598060 h 4687251"/>
              <a:gd name="connsiteX10153" fmla="*/ 2104788 w 8079933"/>
              <a:gd name="connsiteY10153" fmla="*/ 2591889 h 4687251"/>
              <a:gd name="connsiteX10154" fmla="*/ 2101749 w 8079933"/>
              <a:gd name="connsiteY10154" fmla="*/ 2590481 h 4687251"/>
              <a:gd name="connsiteX10155" fmla="*/ 2098711 w 8079933"/>
              <a:gd name="connsiteY10155" fmla="*/ 2591456 h 4687251"/>
              <a:gd name="connsiteX10156" fmla="*/ 2094262 w 8079933"/>
              <a:gd name="connsiteY10156" fmla="*/ 2588099 h 4687251"/>
              <a:gd name="connsiteX10157" fmla="*/ 2096975 w 8079933"/>
              <a:gd name="connsiteY10157" fmla="*/ 2584093 h 4687251"/>
              <a:gd name="connsiteX10158" fmla="*/ 2100881 w 8079933"/>
              <a:gd name="connsiteY10158" fmla="*/ 2583227 h 4687251"/>
              <a:gd name="connsiteX10159" fmla="*/ 2106307 w 8079933"/>
              <a:gd name="connsiteY10159" fmla="*/ 2583769 h 4687251"/>
              <a:gd name="connsiteX10160" fmla="*/ 6262387 w 8079933"/>
              <a:gd name="connsiteY10160" fmla="*/ 2579547 h 4687251"/>
              <a:gd name="connsiteX10161" fmla="*/ 6262930 w 8079933"/>
              <a:gd name="connsiteY10161" fmla="*/ 2583336 h 4687251"/>
              <a:gd name="connsiteX10162" fmla="*/ 6266619 w 8079933"/>
              <a:gd name="connsiteY10162" fmla="*/ 2584419 h 4687251"/>
              <a:gd name="connsiteX10163" fmla="*/ 6270526 w 8079933"/>
              <a:gd name="connsiteY10163" fmla="*/ 2591239 h 4687251"/>
              <a:gd name="connsiteX10164" fmla="*/ 6273998 w 8079933"/>
              <a:gd name="connsiteY10164" fmla="*/ 2594488 h 4687251"/>
              <a:gd name="connsiteX10165" fmla="*/ 6275301 w 8079933"/>
              <a:gd name="connsiteY10165" fmla="*/ 2598169 h 4687251"/>
              <a:gd name="connsiteX10166" fmla="*/ 6281594 w 8079933"/>
              <a:gd name="connsiteY10166" fmla="*/ 2602392 h 4687251"/>
              <a:gd name="connsiteX10167" fmla="*/ 6282398 w 8079933"/>
              <a:gd name="connsiteY10167" fmla="*/ 2604166 h 4687251"/>
              <a:gd name="connsiteX10168" fmla="*/ 6281594 w 8079933"/>
              <a:gd name="connsiteY10168" fmla="*/ 2602391 h 4687251"/>
              <a:gd name="connsiteX10169" fmla="*/ 6275301 w 8079933"/>
              <a:gd name="connsiteY10169" fmla="*/ 2598169 h 4687251"/>
              <a:gd name="connsiteX10170" fmla="*/ 6273998 w 8079933"/>
              <a:gd name="connsiteY10170" fmla="*/ 2594488 h 4687251"/>
              <a:gd name="connsiteX10171" fmla="*/ 6270526 w 8079933"/>
              <a:gd name="connsiteY10171" fmla="*/ 2591239 h 4687251"/>
              <a:gd name="connsiteX10172" fmla="*/ 6266619 w 8079933"/>
              <a:gd name="connsiteY10172" fmla="*/ 2584418 h 4687251"/>
              <a:gd name="connsiteX10173" fmla="*/ 6262930 w 8079933"/>
              <a:gd name="connsiteY10173" fmla="*/ 2583336 h 4687251"/>
              <a:gd name="connsiteX10174" fmla="*/ 6411599 w 8079933"/>
              <a:gd name="connsiteY10174" fmla="*/ 2578788 h 4687251"/>
              <a:gd name="connsiteX10175" fmla="*/ 6411598 w 8079933"/>
              <a:gd name="connsiteY10175" fmla="*/ 2578788 h 4687251"/>
              <a:gd name="connsiteX10176" fmla="*/ 6422340 w 8079933"/>
              <a:gd name="connsiteY10176" fmla="*/ 2581604 h 4687251"/>
              <a:gd name="connsiteX10177" fmla="*/ 6425813 w 8079933"/>
              <a:gd name="connsiteY10177" fmla="*/ 2588424 h 4687251"/>
              <a:gd name="connsiteX10178" fmla="*/ 6436121 w 8079933"/>
              <a:gd name="connsiteY10178" fmla="*/ 2595895 h 4687251"/>
              <a:gd name="connsiteX10179" fmla="*/ 6441982 w 8079933"/>
              <a:gd name="connsiteY10179" fmla="*/ 2600226 h 4687251"/>
              <a:gd name="connsiteX10180" fmla="*/ 6444369 w 8079933"/>
              <a:gd name="connsiteY10180" fmla="*/ 2605314 h 4687251"/>
              <a:gd name="connsiteX10181" fmla="*/ 6443501 w 8079933"/>
              <a:gd name="connsiteY10181" fmla="*/ 2609429 h 4687251"/>
              <a:gd name="connsiteX10182" fmla="*/ 6441765 w 8079933"/>
              <a:gd name="connsiteY10182" fmla="*/ 2612352 h 4687251"/>
              <a:gd name="connsiteX10183" fmla="*/ 6444369 w 8079933"/>
              <a:gd name="connsiteY10183" fmla="*/ 2618091 h 4687251"/>
              <a:gd name="connsiteX10184" fmla="*/ 6444043 w 8079933"/>
              <a:gd name="connsiteY10184" fmla="*/ 2624803 h 4687251"/>
              <a:gd name="connsiteX10185" fmla="*/ 6442849 w 8079933"/>
              <a:gd name="connsiteY10185" fmla="*/ 2628376 h 4687251"/>
              <a:gd name="connsiteX10186" fmla="*/ 6447191 w 8079933"/>
              <a:gd name="connsiteY10186" fmla="*/ 2631516 h 4687251"/>
              <a:gd name="connsiteX10187" fmla="*/ 6452182 w 8079933"/>
              <a:gd name="connsiteY10187" fmla="*/ 2636930 h 4687251"/>
              <a:gd name="connsiteX10188" fmla="*/ 6452184 w 8079933"/>
              <a:gd name="connsiteY10188" fmla="*/ 2636930 h 4687251"/>
              <a:gd name="connsiteX10189" fmla="*/ 6447192 w 8079933"/>
              <a:gd name="connsiteY10189" fmla="*/ 2631516 h 4687251"/>
              <a:gd name="connsiteX10190" fmla="*/ 6442851 w 8079933"/>
              <a:gd name="connsiteY10190" fmla="*/ 2628376 h 4687251"/>
              <a:gd name="connsiteX10191" fmla="*/ 6444045 w 8079933"/>
              <a:gd name="connsiteY10191" fmla="*/ 2624803 h 4687251"/>
              <a:gd name="connsiteX10192" fmla="*/ 6444370 w 8079933"/>
              <a:gd name="connsiteY10192" fmla="*/ 2618090 h 4687251"/>
              <a:gd name="connsiteX10193" fmla="*/ 6441766 w 8079933"/>
              <a:gd name="connsiteY10193" fmla="*/ 2612352 h 4687251"/>
              <a:gd name="connsiteX10194" fmla="*/ 6443503 w 8079933"/>
              <a:gd name="connsiteY10194" fmla="*/ 2609429 h 4687251"/>
              <a:gd name="connsiteX10195" fmla="*/ 6444370 w 8079933"/>
              <a:gd name="connsiteY10195" fmla="*/ 2605314 h 4687251"/>
              <a:gd name="connsiteX10196" fmla="*/ 6441983 w 8079933"/>
              <a:gd name="connsiteY10196" fmla="*/ 2600226 h 4687251"/>
              <a:gd name="connsiteX10197" fmla="*/ 6436123 w 8079933"/>
              <a:gd name="connsiteY10197" fmla="*/ 2595895 h 4687251"/>
              <a:gd name="connsiteX10198" fmla="*/ 6425814 w 8079933"/>
              <a:gd name="connsiteY10198" fmla="*/ 2588424 h 4687251"/>
              <a:gd name="connsiteX10199" fmla="*/ 6422341 w 8079933"/>
              <a:gd name="connsiteY10199" fmla="*/ 2581603 h 4687251"/>
              <a:gd name="connsiteX10200" fmla="*/ 6436936 w 8079933"/>
              <a:gd name="connsiteY10200" fmla="*/ 2570963 h 4687251"/>
              <a:gd name="connsiteX10201" fmla="*/ 6442634 w 8079933"/>
              <a:gd name="connsiteY10201" fmla="*/ 2574025 h 4687251"/>
              <a:gd name="connsiteX10202" fmla="*/ 6446058 w 8079933"/>
              <a:gd name="connsiteY10202" fmla="*/ 2574404 h 4687251"/>
              <a:gd name="connsiteX10203" fmla="*/ 6442633 w 8079933"/>
              <a:gd name="connsiteY10203" fmla="*/ 2574024 h 4687251"/>
              <a:gd name="connsiteX10204" fmla="*/ 4308473 w 8079933"/>
              <a:gd name="connsiteY10204" fmla="*/ 2570188 h 4687251"/>
              <a:gd name="connsiteX10205" fmla="*/ 4305180 w 8079933"/>
              <a:gd name="connsiteY10205" fmla="*/ 2593297 h 4687251"/>
              <a:gd name="connsiteX10206" fmla="*/ 4306048 w 8079933"/>
              <a:gd name="connsiteY10206" fmla="*/ 2628160 h 4687251"/>
              <a:gd name="connsiteX10207" fmla="*/ 4289152 w 8079933"/>
              <a:gd name="connsiteY10207" fmla="*/ 2645387 h 4687251"/>
              <a:gd name="connsiteX10208" fmla="*/ 4306049 w 8079933"/>
              <a:gd name="connsiteY10208" fmla="*/ 2628160 h 4687251"/>
              <a:gd name="connsiteX10209" fmla="*/ 4305181 w 8079933"/>
              <a:gd name="connsiteY10209" fmla="*/ 2593297 h 4687251"/>
              <a:gd name="connsiteX10210" fmla="*/ 6166459 w 8079933"/>
              <a:gd name="connsiteY10210" fmla="*/ 2569911 h 4687251"/>
              <a:gd name="connsiteX10211" fmla="*/ 6170257 w 8079933"/>
              <a:gd name="connsiteY10211" fmla="*/ 2573700 h 4687251"/>
              <a:gd name="connsiteX10212" fmla="*/ 6169063 w 8079933"/>
              <a:gd name="connsiteY10212" fmla="*/ 2577815 h 4687251"/>
              <a:gd name="connsiteX10213" fmla="*/ 6164180 w 8079933"/>
              <a:gd name="connsiteY10213" fmla="*/ 2575000 h 4687251"/>
              <a:gd name="connsiteX10214" fmla="*/ 6162769 w 8079933"/>
              <a:gd name="connsiteY10214" fmla="*/ 2571643 h 4687251"/>
              <a:gd name="connsiteX10215" fmla="*/ 6271394 w 8079933"/>
              <a:gd name="connsiteY10215" fmla="*/ 2569802 h 4687251"/>
              <a:gd name="connsiteX10216" fmla="*/ 6271394 w 8079933"/>
              <a:gd name="connsiteY10216" fmla="*/ 2569802 h 4687251"/>
              <a:gd name="connsiteX10217" fmla="*/ 6273130 w 8079933"/>
              <a:gd name="connsiteY10217" fmla="*/ 2573700 h 4687251"/>
              <a:gd name="connsiteX10218" fmla="*/ 6428202 w 8079933"/>
              <a:gd name="connsiteY10218" fmla="*/ 2569801 h 4687251"/>
              <a:gd name="connsiteX10219" fmla="*/ 6428202 w 8079933"/>
              <a:gd name="connsiteY10219" fmla="*/ 2569802 h 4687251"/>
              <a:gd name="connsiteX10220" fmla="*/ 6435580 w 8079933"/>
              <a:gd name="connsiteY10220" fmla="*/ 2570235 h 4687251"/>
              <a:gd name="connsiteX10221" fmla="*/ 6435579 w 8079933"/>
              <a:gd name="connsiteY10221" fmla="*/ 2570234 h 4687251"/>
              <a:gd name="connsiteX10222" fmla="*/ 4041165 w 8079933"/>
              <a:gd name="connsiteY10222" fmla="*/ 2569489 h 4687251"/>
              <a:gd name="connsiteX10223" fmla="*/ 4037579 w 8079933"/>
              <a:gd name="connsiteY10223" fmla="*/ 2570667 h 4687251"/>
              <a:gd name="connsiteX10224" fmla="*/ 4028489 w 8079933"/>
              <a:gd name="connsiteY10224" fmla="*/ 2571745 h 4687251"/>
              <a:gd name="connsiteX10225" fmla="*/ 4037577 w 8079933"/>
              <a:gd name="connsiteY10225" fmla="*/ 2570668 h 4687251"/>
              <a:gd name="connsiteX10226" fmla="*/ 2222202 w 8079933"/>
              <a:gd name="connsiteY10226" fmla="*/ 2568935 h 4687251"/>
              <a:gd name="connsiteX10227" fmla="*/ 2226869 w 8079933"/>
              <a:gd name="connsiteY10227" fmla="*/ 2572400 h 4687251"/>
              <a:gd name="connsiteX10228" fmla="*/ 2227954 w 8079933"/>
              <a:gd name="connsiteY10228" fmla="*/ 2576081 h 4687251"/>
              <a:gd name="connsiteX10229" fmla="*/ 2221226 w 8079933"/>
              <a:gd name="connsiteY10229" fmla="*/ 2573699 h 4687251"/>
              <a:gd name="connsiteX10230" fmla="*/ 2218079 w 8079933"/>
              <a:gd name="connsiteY10230" fmla="*/ 2571100 h 4687251"/>
              <a:gd name="connsiteX10231" fmla="*/ 6825045 w 8079933"/>
              <a:gd name="connsiteY10231" fmla="*/ 2567962 h 4687251"/>
              <a:gd name="connsiteX10232" fmla="*/ 6834161 w 8079933"/>
              <a:gd name="connsiteY10232" fmla="*/ 2569694 h 4687251"/>
              <a:gd name="connsiteX10233" fmla="*/ 6838176 w 8079933"/>
              <a:gd name="connsiteY10233" fmla="*/ 2574133 h 4687251"/>
              <a:gd name="connsiteX10234" fmla="*/ 6841648 w 8079933"/>
              <a:gd name="connsiteY10234" fmla="*/ 2576407 h 4687251"/>
              <a:gd name="connsiteX10235" fmla="*/ 6842842 w 8079933"/>
              <a:gd name="connsiteY10235" fmla="*/ 2574025 h 4687251"/>
              <a:gd name="connsiteX10236" fmla="*/ 6849570 w 8079933"/>
              <a:gd name="connsiteY10236" fmla="*/ 2574025 h 4687251"/>
              <a:gd name="connsiteX10237" fmla="*/ 6852826 w 8079933"/>
              <a:gd name="connsiteY10237" fmla="*/ 2571210 h 4687251"/>
              <a:gd name="connsiteX10238" fmla="*/ 6853151 w 8079933"/>
              <a:gd name="connsiteY10238" fmla="*/ 2569045 h 4687251"/>
              <a:gd name="connsiteX10239" fmla="*/ 6855429 w 8079933"/>
              <a:gd name="connsiteY10239" fmla="*/ 2568178 h 4687251"/>
              <a:gd name="connsiteX10240" fmla="*/ 6858468 w 8079933"/>
              <a:gd name="connsiteY10240" fmla="*/ 2572293 h 4687251"/>
              <a:gd name="connsiteX10241" fmla="*/ 6858142 w 8079933"/>
              <a:gd name="connsiteY10241" fmla="*/ 2575757 h 4687251"/>
              <a:gd name="connsiteX10242" fmla="*/ 6855429 w 8079933"/>
              <a:gd name="connsiteY10242" fmla="*/ 2579005 h 4687251"/>
              <a:gd name="connsiteX10243" fmla="*/ 6854344 w 8079933"/>
              <a:gd name="connsiteY10243" fmla="*/ 2588317 h 4687251"/>
              <a:gd name="connsiteX10244" fmla="*/ 6858685 w 8079933"/>
              <a:gd name="connsiteY10244" fmla="*/ 2595679 h 4687251"/>
              <a:gd name="connsiteX10245" fmla="*/ 6861398 w 8079933"/>
              <a:gd name="connsiteY10245" fmla="*/ 2596653 h 4687251"/>
              <a:gd name="connsiteX10246" fmla="*/ 6863026 w 8079933"/>
              <a:gd name="connsiteY10246" fmla="*/ 2602717 h 4687251"/>
              <a:gd name="connsiteX10247" fmla="*/ 6865413 w 8079933"/>
              <a:gd name="connsiteY10247" fmla="*/ 2605640 h 4687251"/>
              <a:gd name="connsiteX10248" fmla="*/ 6863135 w 8079933"/>
              <a:gd name="connsiteY10248" fmla="*/ 2616792 h 4687251"/>
              <a:gd name="connsiteX10249" fmla="*/ 6860204 w 8079933"/>
              <a:gd name="connsiteY10249" fmla="*/ 2623613 h 4687251"/>
              <a:gd name="connsiteX10250" fmla="*/ 6861615 w 8079933"/>
              <a:gd name="connsiteY10250" fmla="*/ 2629351 h 4687251"/>
              <a:gd name="connsiteX10251" fmla="*/ 6857600 w 8079933"/>
              <a:gd name="connsiteY10251" fmla="*/ 2635739 h 4687251"/>
              <a:gd name="connsiteX10252" fmla="*/ 6857274 w 8079933"/>
              <a:gd name="connsiteY10252" fmla="*/ 2633357 h 4687251"/>
              <a:gd name="connsiteX10253" fmla="*/ 6858793 w 8079933"/>
              <a:gd name="connsiteY10253" fmla="*/ 2629892 h 4687251"/>
              <a:gd name="connsiteX10254" fmla="*/ 6855972 w 8079933"/>
              <a:gd name="connsiteY10254" fmla="*/ 2631625 h 4687251"/>
              <a:gd name="connsiteX10255" fmla="*/ 6848484 w 8079933"/>
              <a:gd name="connsiteY10255" fmla="*/ 2638663 h 4687251"/>
              <a:gd name="connsiteX10256" fmla="*/ 6846748 w 8079933"/>
              <a:gd name="connsiteY10256" fmla="*/ 2642885 h 4687251"/>
              <a:gd name="connsiteX10257" fmla="*/ 6847291 w 8079933"/>
              <a:gd name="connsiteY10257" fmla="*/ 2648299 h 4687251"/>
              <a:gd name="connsiteX10258" fmla="*/ 6844904 w 8079933"/>
              <a:gd name="connsiteY10258" fmla="*/ 2651871 h 4687251"/>
              <a:gd name="connsiteX10259" fmla="*/ 6844035 w 8079933"/>
              <a:gd name="connsiteY10259" fmla="*/ 2657718 h 4687251"/>
              <a:gd name="connsiteX10260" fmla="*/ 6846640 w 8079933"/>
              <a:gd name="connsiteY10260" fmla="*/ 2659775 h 4687251"/>
              <a:gd name="connsiteX10261" fmla="*/ 6849028 w 8079933"/>
              <a:gd name="connsiteY10261" fmla="*/ 2665946 h 4687251"/>
              <a:gd name="connsiteX10262" fmla="*/ 6852174 w 8079933"/>
              <a:gd name="connsiteY10262" fmla="*/ 2669411 h 4687251"/>
              <a:gd name="connsiteX10263" fmla="*/ 6850221 w 8079933"/>
              <a:gd name="connsiteY10263" fmla="*/ 2672118 h 4687251"/>
              <a:gd name="connsiteX10264" fmla="*/ 6850221 w 8079933"/>
              <a:gd name="connsiteY10264" fmla="*/ 2677315 h 4687251"/>
              <a:gd name="connsiteX10265" fmla="*/ 6853910 w 8079933"/>
              <a:gd name="connsiteY10265" fmla="*/ 2680238 h 4687251"/>
              <a:gd name="connsiteX10266" fmla="*/ 6856189 w 8079933"/>
              <a:gd name="connsiteY10266" fmla="*/ 2684894 h 4687251"/>
              <a:gd name="connsiteX10267" fmla="*/ 6861615 w 8079933"/>
              <a:gd name="connsiteY10267" fmla="*/ 2686734 h 4687251"/>
              <a:gd name="connsiteX10268" fmla="*/ 6865413 w 8079933"/>
              <a:gd name="connsiteY10268" fmla="*/ 2685435 h 4687251"/>
              <a:gd name="connsiteX10269" fmla="*/ 6866498 w 8079933"/>
              <a:gd name="connsiteY10269" fmla="*/ 2681754 h 4687251"/>
              <a:gd name="connsiteX10270" fmla="*/ 6872900 w 8079933"/>
              <a:gd name="connsiteY10270" fmla="*/ 2676666 h 4687251"/>
              <a:gd name="connsiteX10271" fmla="*/ 6877567 w 8079933"/>
              <a:gd name="connsiteY10271" fmla="*/ 2676558 h 4687251"/>
              <a:gd name="connsiteX10272" fmla="*/ 6884620 w 8079933"/>
              <a:gd name="connsiteY10272" fmla="*/ 2680996 h 4687251"/>
              <a:gd name="connsiteX10273" fmla="*/ 6887550 w 8079933"/>
              <a:gd name="connsiteY10273" fmla="*/ 2686626 h 4687251"/>
              <a:gd name="connsiteX10274" fmla="*/ 6886900 w 8079933"/>
              <a:gd name="connsiteY10274" fmla="*/ 2691607 h 4687251"/>
              <a:gd name="connsiteX10275" fmla="*/ 6889178 w 8079933"/>
              <a:gd name="connsiteY10275" fmla="*/ 2693989 h 4687251"/>
              <a:gd name="connsiteX10276" fmla="*/ 6892325 w 8079933"/>
              <a:gd name="connsiteY10276" fmla="*/ 2691932 h 4687251"/>
              <a:gd name="connsiteX10277" fmla="*/ 6891999 w 8079933"/>
              <a:gd name="connsiteY10277" fmla="*/ 2687276 h 4687251"/>
              <a:gd name="connsiteX10278" fmla="*/ 6894061 w 8079933"/>
              <a:gd name="connsiteY10278" fmla="*/ 2685544 h 4687251"/>
              <a:gd name="connsiteX10279" fmla="*/ 6896774 w 8079933"/>
              <a:gd name="connsiteY10279" fmla="*/ 2690199 h 4687251"/>
              <a:gd name="connsiteX10280" fmla="*/ 6902417 w 8079933"/>
              <a:gd name="connsiteY10280" fmla="*/ 2690416 h 4687251"/>
              <a:gd name="connsiteX10281" fmla="*/ 6907083 w 8079933"/>
              <a:gd name="connsiteY10281" fmla="*/ 2693447 h 4687251"/>
              <a:gd name="connsiteX10282" fmla="*/ 6908168 w 8079933"/>
              <a:gd name="connsiteY10282" fmla="*/ 2695072 h 4687251"/>
              <a:gd name="connsiteX10283" fmla="*/ 6904697 w 8079933"/>
              <a:gd name="connsiteY10283" fmla="*/ 2695613 h 4687251"/>
              <a:gd name="connsiteX10284" fmla="*/ 6902308 w 8079933"/>
              <a:gd name="connsiteY10284" fmla="*/ 2694205 h 4687251"/>
              <a:gd name="connsiteX10285" fmla="*/ 6899922 w 8079933"/>
              <a:gd name="connsiteY10285" fmla="*/ 2695829 h 4687251"/>
              <a:gd name="connsiteX10286" fmla="*/ 6900898 w 8079933"/>
              <a:gd name="connsiteY10286" fmla="*/ 2699944 h 4687251"/>
              <a:gd name="connsiteX10287" fmla="*/ 6904153 w 8079933"/>
              <a:gd name="connsiteY10287" fmla="*/ 2708280 h 4687251"/>
              <a:gd name="connsiteX10288" fmla="*/ 6904044 w 8079933"/>
              <a:gd name="connsiteY10288" fmla="*/ 2711529 h 4687251"/>
              <a:gd name="connsiteX10289" fmla="*/ 6908819 w 8079933"/>
              <a:gd name="connsiteY10289" fmla="*/ 2711529 h 4687251"/>
              <a:gd name="connsiteX10290" fmla="*/ 6912292 w 8079933"/>
              <a:gd name="connsiteY10290" fmla="*/ 2713261 h 4687251"/>
              <a:gd name="connsiteX10291" fmla="*/ 6916199 w 8079933"/>
              <a:gd name="connsiteY10291" fmla="*/ 2713044 h 4687251"/>
              <a:gd name="connsiteX10292" fmla="*/ 6918152 w 8079933"/>
              <a:gd name="connsiteY10292" fmla="*/ 2715643 h 4687251"/>
              <a:gd name="connsiteX10293" fmla="*/ 6916091 w 8079933"/>
              <a:gd name="connsiteY10293" fmla="*/ 2717700 h 4687251"/>
              <a:gd name="connsiteX10294" fmla="*/ 6916632 w 8079933"/>
              <a:gd name="connsiteY10294" fmla="*/ 2720623 h 4687251"/>
              <a:gd name="connsiteX10295" fmla="*/ 6914896 w 8079933"/>
              <a:gd name="connsiteY10295" fmla="*/ 2727445 h 4687251"/>
              <a:gd name="connsiteX10296" fmla="*/ 6910665 w 8079933"/>
              <a:gd name="connsiteY10296" fmla="*/ 2726145 h 4687251"/>
              <a:gd name="connsiteX10297" fmla="*/ 6906757 w 8079933"/>
              <a:gd name="connsiteY10297" fmla="*/ 2721381 h 4687251"/>
              <a:gd name="connsiteX10298" fmla="*/ 6910556 w 8079933"/>
              <a:gd name="connsiteY10298" fmla="*/ 2719107 h 4687251"/>
              <a:gd name="connsiteX10299" fmla="*/ 6910881 w 8079933"/>
              <a:gd name="connsiteY10299" fmla="*/ 2716617 h 4687251"/>
              <a:gd name="connsiteX10300" fmla="*/ 6906975 w 8079933"/>
              <a:gd name="connsiteY10300" fmla="*/ 2715859 h 4687251"/>
              <a:gd name="connsiteX10301" fmla="*/ 6907083 w 8079933"/>
              <a:gd name="connsiteY10301" fmla="*/ 2717592 h 4687251"/>
              <a:gd name="connsiteX10302" fmla="*/ 6902960 w 8079933"/>
              <a:gd name="connsiteY10302" fmla="*/ 2718782 h 4687251"/>
              <a:gd name="connsiteX10303" fmla="*/ 6897642 w 8079933"/>
              <a:gd name="connsiteY10303" fmla="*/ 2712503 h 4687251"/>
              <a:gd name="connsiteX10304" fmla="*/ 6893952 w 8079933"/>
              <a:gd name="connsiteY10304" fmla="*/ 2711312 h 4687251"/>
              <a:gd name="connsiteX10305" fmla="*/ 6893952 w 8079933"/>
              <a:gd name="connsiteY10305" fmla="*/ 2706223 h 4687251"/>
              <a:gd name="connsiteX10306" fmla="*/ 6892108 w 8079933"/>
              <a:gd name="connsiteY10306" fmla="*/ 2701676 h 4687251"/>
              <a:gd name="connsiteX10307" fmla="*/ 6885271 w 8079933"/>
              <a:gd name="connsiteY10307" fmla="*/ 2699186 h 4687251"/>
              <a:gd name="connsiteX10308" fmla="*/ 6882125 w 8079933"/>
              <a:gd name="connsiteY10308" fmla="*/ 2693664 h 4687251"/>
              <a:gd name="connsiteX10309" fmla="*/ 6878977 w 8079933"/>
              <a:gd name="connsiteY10309" fmla="*/ 2692040 h 4687251"/>
              <a:gd name="connsiteX10310" fmla="*/ 6876265 w 8079933"/>
              <a:gd name="connsiteY10310" fmla="*/ 2689333 h 4687251"/>
              <a:gd name="connsiteX10311" fmla="*/ 6873660 w 8079933"/>
              <a:gd name="connsiteY10311" fmla="*/ 2688791 h 4687251"/>
              <a:gd name="connsiteX10312" fmla="*/ 6873009 w 8079933"/>
              <a:gd name="connsiteY10312" fmla="*/ 2691282 h 4687251"/>
              <a:gd name="connsiteX10313" fmla="*/ 6878001 w 8079933"/>
              <a:gd name="connsiteY10313" fmla="*/ 2700052 h 4687251"/>
              <a:gd name="connsiteX10314" fmla="*/ 6879521 w 8079933"/>
              <a:gd name="connsiteY10314" fmla="*/ 2707956 h 4687251"/>
              <a:gd name="connsiteX10315" fmla="*/ 6877675 w 8079933"/>
              <a:gd name="connsiteY10315" fmla="*/ 2708280 h 4687251"/>
              <a:gd name="connsiteX10316" fmla="*/ 6873009 w 8079933"/>
              <a:gd name="connsiteY10316" fmla="*/ 2700376 h 4687251"/>
              <a:gd name="connsiteX10317" fmla="*/ 6867692 w 8079933"/>
              <a:gd name="connsiteY10317" fmla="*/ 2696587 h 4687251"/>
              <a:gd name="connsiteX10318" fmla="*/ 6865738 w 8079933"/>
              <a:gd name="connsiteY10318" fmla="*/ 2692906 h 4687251"/>
              <a:gd name="connsiteX10319" fmla="*/ 6855972 w 8079933"/>
              <a:gd name="connsiteY10319" fmla="*/ 2689009 h 4687251"/>
              <a:gd name="connsiteX10320" fmla="*/ 6850438 w 8079933"/>
              <a:gd name="connsiteY10320" fmla="*/ 2689550 h 4687251"/>
              <a:gd name="connsiteX10321" fmla="*/ 6848376 w 8079933"/>
              <a:gd name="connsiteY10321" fmla="*/ 2692581 h 4687251"/>
              <a:gd name="connsiteX10322" fmla="*/ 6849353 w 8079933"/>
              <a:gd name="connsiteY10322" fmla="*/ 2695938 h 4687251"/>
              <a:gd name="connsiteX10323" fmla="*/ 6844904 w 8079933"/>
              <a:gd name="connsiteY10323" fmla="*/ 2698644 h 4687251"/>
              <a:gd name="connsiteX10324" fmla="*/ 6839369 w 8079933"/>
              <a:gd name="connsiteY10324" fmla="*/ 2693123 h 4687251"/>
              <a:gd name="connsiteX10325" fmla="*/ 6836114 w 8079933"/>
              <a:gd name="connsiteY10325" fmla="*/ 2696046 h 4687251"/>
              <a:gd name="connsiteX10326" fmla="*/ 6832315 w 8079933"/>
              <a:gd name="connsiteY10326" fmla="*/ 2696912 h 4687251"/>
              <a:gd name="connsiteX10327" fmla="*/ 6834594 w 8079933"/>
              <a:gd name="connsiteY10327" fmla="*/ 2692906 h 4687251"/>
              <a:gd name="connsiteX10328" fmla="*/ 6832641 w 8079933"/>
              <a:gd name="connsiteY10328" fmla="*/ 2688791 h 4687251"/>
              <a:gd name="connsiteX10329" fmla="*/ 6829928 w 8079933"/>
              <a:gd name="connsiteY10329" fmla="*/ 2689874 h 4687251"/>
              <a:gd name="connsiteX10330" fmla="*/ 6828518 w 8079933"/>
              <a:gd name="connsiteY10330" fmla="*/ 2694638 h 4687251"/>
              <a:gd name="connsiteX10331" fmla="*/ 6825479 w 8079933"/>
              <a:gd name="connsiteY10331" fmla="*/ 2689333 h 4687251"/>
              <a:gd name="connsiteX10332" fmla="*/ 6825913 w 8079933"/>
              <a:gd name="connsiteY10332" fmla="*/ 2683703 h 4687251"/>
              <a:gd name="connsiteX10333" fmla="*/ 6825479 w 8079933"/>
              <a:gd name="connsiteY10333" fmla="*/ 2680888 h 4687251"/>
              <a:gd name="connsiteX10334" fmla="*/ 6827975 w 8079933"/>
              <a:gd name="connsiteY10334" fmla="*/ 2677856 h 4687251"/>
              <a:gd name="connsiteX10335" fmla="*/ 6833184 w 8079933"/>
              <a:gd name="connsiteY10335" fmla="*/ 2671144 h 4687251"/>
              <a:gd name="connsiteX10336" fmla="*/ 6829060 w 8079933"/>
              <a:gd name="connsiteY10336" fmla="*/ 2668004 h 4687251"/>
              <a:gd name="connsiteX10337" fmla="*/ 6823852 w 8079933"/>
              <a:gd name="connsiteY10337" fmla="*/ 2667571 h 4687251"/>
              <a:gd name="connsiteX10338" fmla="*/ 6823743 w 8079933"/>
              <a:gd name="connsiteY10338" fmla="*/ 2670385 h 4687251"/>
              <a:gd name="connsiteX10339" fmla="*/ 6826239 w 8079933"/>
              <a:gd name="connsiteY10339" fmla="*/ 2673201 h 4687251"/>
              <a:gd name="connsiteX10340" fmla="*/ 6823526 w 8079933"/>
              <a:gd name="connsiteY10340" fmla="*/ 2676774 h 4687251"/>
              <a:gd name="connsiteX10341" fmla="*/ 6820379 w 8079933"/>
              <a:gd name="connsiteY10341" fmla="*/ 2676666 h 4687251"/>
              <a:gd name="connsiteX10342" fmla="*/ 6815821 w 8079933"/>
              <a:gd name="connsiteY10342" fmla="*/ 2670603 h 4687251"/>
              <a:gd name="connsiteX10343" fmla="*/ 6815604 w 8079933"/>
              <a:gd name="connsiteY10343" fmla="*/ 2665838 h 4687251"/>
              <a:gd name="connsiteX10344" fmla="*/ 6813759 w 8079933"/>
              <a:gd name="connsiteY10344" fmla="*/ 2665081 h 4687251"/>
              <a:gd name="connsiteX10345" fmla="*/ 6812023 w 8079933"/>
              <a:gd name="connsiteY10345" fmla="*/ 2666488 h 4687251"/>
              <a:gd name="connsiteX10346" fmla="*/ 6809852 w 8079933"/>
              <a:gd name="connsiteY10346" fmla="*/ 2664972 h 4687251"/>
              <a:gd name="connsiteX10347" fmla="*/ 6809745 w 8079933"/>
              <a:gd name="connsiteY10347" fmla="*/ 2656310 h 4687251"/>
              <a:gd name="connsiteX10348" fmla="*/ 6806163 w 8079933"/>
              <a:gd name="connsiteY10348" fmla="*/ 2649814 h 4687251"/>
              <a:gd name="connsiteX10349" fmla="*/ 6804427 w 8079933"/>
              <a:gd name="connsiteY10349" fmla="*/ 2642885 h 4687251"/>
              <a:gd name="connsiteX10350" fmla="*/ 6806163 w 8079933"/>
              <a:gd name="connsiteY10350" fmla="*/ 2639637 h 4687251"/>
              <a:gd name="connsiteX10351" fmla="*/ 6805295 w 8079933"/>
              <a:gd name="connsiteY10351" fmla="*/ 2637904 h 4687251"/>
              <a:gd name="connsiteX10352" fmla="*/ 6802473 w 8079933"/>
              <a:gd name="connsiteY10352" fmla="*/ 2637797 h 4687251"/>
              <a:gd name="connsiteX10353" fmla="*/ 6801280 w 8079933"/>
              <a:gd name="connsiteY10353" fmla="*/ 2632599 h 4687251"/>
              <a:gd name="connsiteX10354" fmla="*/ 6802040 w 8079933"/>
              <a:gd name="connsiteY10354" fmla="*/ 2626753 h 4687251"/>
              <a:gd name="connsiteX10355" fmla="*/ 6805295 w 8079933"/>
              <a:gd name="connsiteY10355" fmla="*/ 2630759 h 4687251"/>
              <a:gd name="connsiteX10356" fmla="*/ 6809419 w 8079933"/>
              <a:gd name="connsiteY10356" fmla="*/ 2631408 h 4687251"/>
              <a:gd name="connsiteX10357" fmla="*/ 6812891 w 8079933"/>
              <a:gd name="connsiteY10357" fmla="*/ 2629568 h 4687251"/>
              <a:gd name="connsiteX10358" fmla="*/ 6812891 w 8079933"/>
              <a:gd name="connsiteY10358" fmla="*/ 2626428 h 4687251"/>
              <a:gd name="connsiteX10359" fmla="*/ 6809093 w 8079933"/>
              <a:gd name="connsiteY10359" fmla="*/ 2618524 h 4687251"/>
              <a:gd name="connsiteX10360" fmla="*/ 6811264 w 8079933"/>
              <a:gd name="connsiteY10360" fmla="*/ 2612894 h 4687251"/>
              <a:gd name="connsiteX10361" fmla="*/ 6814085 w 8079933"/>
              <a:gd name="connsiteY10361" fmla="*/ 2600984 h 4687251"/>
              <a:gd name="connsiteX10362" fmla="*/ 6813868 w 8079933"/>
              <a:gd name="connsiteY10362" fmla="*/ 2591240 h 4687251"/>
              <a:gd name="connsiteX10363" fmla="*/ 6812458 w 8079933"/>
              <a:gd name="connsiteY10363" fmla="*/ 2585285 h 4687251"/>
              <a:gd name="connsiteX10364" fmla="*/ 6817340 w 8079933"/>
              <a:gd name="connsiteY10364" fmla="*/ 2575757 h 4687251"/>
              <a:gd name="connsiteX10365" fmla="*/ 6818209 w 8079933"/>
              <a:gd name="connsiteY10365" fmla="*/ 2570344 h 4687251"/>
              <a:gd name="connsiteX10366" fmla="*/ 4046477 w 8079933"/>
              <a:gd name="connsiteY10366" fmla="*/ 2567744 h 4687251"/>
              <a:gd name="connsiteX10367" fmla="*/ 4046476 w 8079933"/>
              <a:gd name="connsiteY10367" fmla="*/ 2567745 h 4687251"/>
              <a:gd name="connsiteX10368" fmla="*/ 4046584 w 8079933"/>
              <a:gd name="connsiteY10368" fmla="*/ 2567853 h 4687251"/>
              <a:gd name="connsiteX10369" fmla="*/ 4045390 w 8079933"/>
              <a:gd name="connsiteY10369" fmla="*/ 2613976 h 4687251"/>
              <a:gd name="connsiteX10370" fmla="*/ 4043763 w 8079933"/>
              <a:gd name="connsiteY10370" fmla="*/ 2635414 h 4687251"/>
              <a:gd name="connsiteX10371" fmla="*/ 4043764 w 8079933"/>
              <a:gd name="connsiteY10371" fmla="*/ 2635413 h 4687251"/>
              <a:gd name="connsiteX10372" fmla="*/ 4045391 w 8079933"/>
              <a:gd name="connsiteY10372" fmla="*/ 2613976 h 4687251"/>
              <a:gd name="connsiteX10373" fmla="*/ 4046585 w 8079933"/>
              <a:gd name="connsiteY10373" fmla="*/ 2567853 h 4687251"/>
              <a:gd name="connsiteX10374" fmla="*/ 4046586 w 8079933"/>
              <a:gd name="connsiteY10374" fmla="*/ 2567853 h 4687251"/>
              <a:gd name="connsiteX10375" fmla="*/ 6420931 w 8079933"/>
              <a:gd name="connsiteY10375" fmla="*/ 2563522 h 4687251"/>
              <a:gd name="connsiteX10376" fmla="*/ 6420931 w 8079933"/>
              <a:gd name="connsiteY10376" fmla="*/ 2563522 h 4687251"/>
              <a:gd name="connsiteX10377" fmla="*/ 6424728 w 8079933"/>
              <a:gd name="connsiteY10377" fmla="*/ 2563522 h 4687251"/>
              <a:gd name="connsiteX10378" fmla="*/ 6424728 w 8079933"/>
              <a:gd name="connsiteY10378" fmla="*/ 2563522 h 4687251"/>
              <a:gd name="connsiteX10379" fmla="*/ 6830797 w 8079933"/>
              <a:gd name="connsiteY10379" fmla="*/ 2560924 h 4687251"/>
              <a:gd name="connsiteX10380" fmla="*/ 6836766 w 8079933"/>
              <a:gd name="connsiteY10380" fmla="*/ 2560924 h 4687251"/>
              <a:gd name="connsiteX10381" fmla="*/ 6832967 w 8079933"/>
              <a:gd name="connsiteY10381" fmla="*/ 2562981 h 4687251"/>
              <a:gd name="connsiteX10382" fmla="*/ 2028935 w 8079933"/>
              <a:gd name="connsiteY10382" fmla="*/ 2560599 h 4687251"/>
              <a:gd name="connsiteX10383" fmla="*/ 2027308 w 8079933"/>
              <a:gd name="connsiteY10383" fmla="*/ 2563955 h 4687251"/>
              <a:gd name="connsiteX10384" fmla="*/ 2022533 w 8079933"/>
              <a:gd name="connsiteY10384" fmla="*/ 2564713 h 4687251"/>
              <a:gd name="connsiteX10385" fmla="*/ 2024052 w 8079933"/>
              <a:gd name="connsiteY10385" fmla="*/ 2560707 h 4687251"/>
              <a:gd name="connsiteX10386" fmla="*/ 4083047 w 8079933"/>
              <a:gd name="connsiteY10386" fmla="*/ 2559083 h 4687251"/>
              <a:gd name="connsiteX10387" fmla="*/ 4053361 w 8079933"/>
              <a:gd name="connsiteY10387" fmla="*/ 2566223 h 4687251"/>
              <a:gd name="connsiteX10388" fmla="*/ 4083047 w 8079933"/>
              <a:gd name="connsiteY10388" fmla="*/ 2559083 h 4687251"/>
              <a:gd name="connsiteX10389" fmla="*/ 6848158 w 8079933"/>
              <a:gd name="connsiteY10389" fmla="*/ 2555943 h 4687251"/>
              <a:gd name="connsiteX10390" fmla="*/ 6849787 w 8079933"/>
              <a:gd name="connsiteY10390" fmla="*/ 2558325 h 4687251"/>
              <a:gd name="connsiteX10391" fmla="*/ 6847942 w 8079933"/>
              <a:gd name="connsiteY10391" fmla="*/ 2561790 h 4687251"/>
              <a:gd name="connsiteX10392" fmla="*/ 6845229 w 8079933"/>
              <a:gd name="connsiteY10392" fmla="*/ 2559516 h 4687251"/>
              <a:gd name="connsiteX10393" fmla="*/ 6848158 w 8079933"/>
              <a:gd name="connsiteY10393" fmla="*/ 2555943 h 4687251"/>
              <a:gd name="connsiteX10394" fmla="*/ 6848159 w 8079933"/>
              <a:gd name="connsiteY10394" fmla="*/ 2555943 h 4687251"/>
              <a:gd name="connsiteX10395" fmla="*/ 6848158 w 8079933"/>
              <a:gd name="connsiteY10395" fmla="*/ 2555943 h 4687251"/>
              <a:gd name="connsiteX10396" fmla="*/ 5225318 w 8079933"/>
              <a:gd name="connsiteY10396" fmla="*/ 2550811 h 4687251"/>
              <a:gd name="connsiteX10397" fmla="*/ 5177871 w 8079933"/>
              <a:gd name="connsiteY10397" fmla="*/ 2564929 h 4687251"/>
              <a:gd name="connsiteX10398" fmla="*/ 5150212 w 8079933"/>
              <a:gd name="connsiteY10398" fmla="*/ 2573178 h 4687251"/>
              <a:gd name="connsiteX10399" fmla="*/ 5177872 w 8079933"/>
              <a:gd name="connsiteY10399" fmla="*/ 2564929 h 4687251"/>
              <a:gd name="connsiteX10400" fmla="*/ 6827649 w 8079933"/>
              <a:gd name="connsiteY10400" fmla="*/ 2550638 h 4687251"/>
              <a:gd name="connsiteX10401" fmla="*/ 6830905 w 8079933"/>
              <a:gd name="connsiteY10401" fmla="*/ 2553777 h 4687251"/>
              <a:gd name="connsiteX10402" fmla="*/ 6826456 w 8079933"/>
              <a:gd name="connsiteY10402" fmla="*/ 2554536 h 4687251"/>
              <a:gd name="connsiteX10403" fmla="*/ 6342365 w 8079933"/>
              <a:gd name="connsiteY10403" fmla="*/ 2547931 h 4687251"/>
              <a:gd name="connsiteX10404" fmla="*/ 6351153 w 8079933"/>
              <a:gd name="connsiteY10404" fmla="*/ 2548148 h 4687251"/>
              <a:gd name="connsiteX10405" fmla="*/ 6351370 w 8079933"/>
              <a:gd name="connsiteY10405" fmla="*/ 2552262 h 4687251"/>
              <a:gd name="connsiteX10406" fmla="*/ 6348549 w 8079933"/>
              <a:gd name="connsiteY10406" fmla="*/ 2557676 h 4687251"/>
              <a:gd name="connsiteX10407" fmla="*/ 6351370 w 8079933"/>
              <a:gd name="connsiteY10407" fmla="*/ 2562331 h 4687251"/>
              <a:gd name="connsiteX10408" fmla="*/ 6351153 w 8079933"/>
              <a:gd name="connsiteY10408" fmla="*/ 2566121 h 4687251"/>
              <a:gd name="connsiteX10409" fmla="*/ 6348441 w 8079933"/>
              <a:gd name="connsiteY10409" fmla="*/ 2569802 h 4687251"/>
              <a:gd name="connsiteX10410" fmla="*/ 6350503 w 8079933"/>
              <a:gd name="connsiteY10410" fmla="*/ 2575649 h 4687251"/>
              <a:gd name="connsiteX10411" fmla="*/ 6350503 w 8079933"/>
              <a:gd name="connsiteY10411" fmla="*/ 2583877 h 4687251"/>
              <a:gd name="connsiteX10412" fmla="*/ 6350936 w 8079933"/>
              <a:gd name="connsiteY10412" fmla="*/ 2596328 h 4687251"/>
              <a:gd name="connsiteX10413" fmla="*/ 6350937 w 8079933"/>
              <a:gd name="connsiteY10413" fmla="*/ 2596328 h 4687251"/>
              <a:gd name="connsiteX10414" fmla="*/ 6350504 w 8079933"/>
              <a:gd name="connsiteY10414" fmla="*/ 2583877 h 4687251"/>
              <a:gd name="connsiteX10415" fmla="*/ 6350504 w 8079933"/>
              <a:gd name="connsiteY10415" fmla="*/ 2575648 h 4687251"/>
              <a:gd name="connsiteX10416" fmla="*/ 6348442 w 8079933"/>
              <a:gd name="connsiteY10416" fmla="*/ 2569802 h 4687251"/>
              <a:gd name="connsiteX10417" fmla="*/ 6351154 w 8079933"/>
              <a:gd name="connsiteY10417" fmla="*/ 2566121 h 4687251"/>
              <a:gd name="connsiteX10418" fmla="*/ 6351371 w 8079933"/>
              <a:gd name="connsiteY10418" fmla="*/ 2562331 h 4687251"/>
              <a:gd name="connsiteX10419" fmla="*/ 6348550 w 8079933"/>
              <a:gd name="connsiteY10419" fmla="*/ 2557676 h 4687251"/>
              <a:gd name="connsiteX10420" fmla="*/ 6351371 w 8079933"/>
              <a:gd name="connsiteY10420" fmla="*/ 2552262 h 4687251"/>
              <a:gd name="connsiteX10421" fmla="*/ 6351154 w 8079933"/>
              <a:gd name="connsiteY10421" fmla="*/ 2548148 h 4687251"/>
              <a:gd name="connsiteX10422" fmla="*/ 2272230 w 8079933"/>
              <a:gd name="connsiteY10422" fmla="*/ 2545982 h 4687251"/>
              <a:gd name="connsiteX10423" fmla="*/ 2292197 w 8079933"/>
              <a:gd name="connsiteY10423" fmla="*/ 2550313 h 4687251"/>
              <a:gd name="connsiteX10424" fmla="*/ 2295235 w 8079933"/>
              <a:gd name="connsiteY10424" fmla="*/ 2552478 h 4687251"/>
              <a:gd name="connsiteX10425" fmla="*/ 2297406 w 8079933"/>
              <a:gd name="connsiteY10425" fmla="*/ 2551612 h 4687251"/>
              <a:gd name="connsiteX10426" fmla="*/ 2301638 w 8079933"/>
              <a:gd name="connsiteY10426" fmla="*/ 2551612 h 4687251"/>
              <a:gd name="connsiteX10427" fmla="*/ 2305436 w 8079933"/>
              <a:gd name="connsiteY10427" fmla="*/ 2558975 h 4687251"/>
              <a:gd name="connsiteX10428" fmla="*/ 2313140 w 8079933"/>
              <a:gd name="connsiteY10428" fmla="*/ 2560598 h 4687251"/>
              <a:gd name="connsiteX10429" fmla="*/ 2315962 w 8079933"/>
              <a:gd name="connsiteY10429" fmla="*/ 2560057 h 4687251"/>
              <a:gd name="connsiteX10430" fmla="*/ 2319109 w 8079933"/>
              <a:gd name="connsiteY10430" fmla="*/ 2562439 h 4687251"/>
              <a:gd name="connsiteX10431" fmla="*/ 2314877 w 8079933"/>
              <a:gd name="connsiteY10431" fmla="*/ 2563955 h 4687251"/>
              <a:gd name="connsiteX10432" fmla="*/ 2304567 w 8079933"/>
              <a:gd name="connsiteY10432" fmla="*/ 2562980 h 4687251"/>
              <a:gd name="connsiteX10433" fmla="*/ 2297840 w 8079933"/>
              <a:gd name="connsiteY10433" fmla="*/ 2561031 h 4687251"/>
              <a:gd name="connsiteX10434" fmla="*/ 2294584 w 8079933"/>
              <a:gd name="connsiteY10434" fmla="*/ 2562331 h 4687251"/>
              <a:gd name="connsiteX10435" fmla="*/ 2299251 w 8079933"/>
              <a:gd name="connsiteY10435" fmla="*/ 2562331 h 4687251"/>
              <a:gd name="connsiteX10436" fmla="*/ 2305979 w 8079933"/>
              <a:gd name="connsiteY10436" fmla="*/ 2566229 h 4687251"/>
              <a:gd name="connsiteX10437" fmla="*/ 2312381 w 8079933"/>
              <a:gd name="connsiteY10437" fmla="*/ 2569369 h 4687251"/>
              <a:gd name="connsiteX10438" fmla="*/ 2316288 w 8079933"/>
              <a:gd name="connsiteY10438" fmla="*/ 2569152 h 4687251"/>
              <a:gd name="connsiteX10439" fmla="*/ 2322148 w 8079933"/>
              <a:gd name="connsiteY10439" fmla="*/ 2571101 h 4687251"/>
              <a:gd name="connsiteX10440" fmla="*/ 2325729 w 8079933"/>
              <a:gd name="connsiteY10440" fmla="*/ 2571101 h 4687251"/>
              <a:gd name="connsiteX10441" fmla="*/ 2335386 w 8079933"/>
              <a:gd name="connsiteY10441" fmla="*/ 2576623 h 4687251"/>
              <a:gd name="connsiteX10442" fmla="*/ 2337448 w 8079933"/>
              <a:gd name="connsiteY10442" fmla="*/ 2579979 h 4687251"/>
              <a:gd name="connsiteX10443" fmla="*/ 2335278 w 8079933"/>
              <a:gd name="connsiteY10443" fmla="*/ 2583769 h 4687251"/>
              <a:gd name="connsiteX10444" fmla="*/ 2332348 w 8079933"/>
              <a:gd name="connsiteY10444" fmla="*/ 2583769 h 4687251"/>
              <a:gd name="connsiteX10445" fmla="*/ 2330937 w 8079933"/>
              <a:gd name="connsiteY10445" fmla="*/ 2587559 h 4687251"/>
              <a:gd name="connsiteX10446" fmla="*/ 2324209 w 8079933"/>
              <a:gd name="connsiteY10446" fmla="*/ 2585826 h 4687251"/>
              <a:gd name="connsiteX10447" fmla="*/ 2318675 w 8079933"/>
              <a:gd name="connsiteY10447" fmla="*/ 2585501 h 4687251"/>
              <a:gd name="connsiteX10448" fmla="*/ 2315203 w 8079933"/>
              <a:gd name="connsiteY10448" fmla="*/ 2582686 h 4687251"/>
              <a:gd name="connsiteX10449" fmla="*/ 2310645 w 8079933"/>
              <a:gd name="connsiteY10449" fmla="*/ 2584527 h 4687251"/>
              <a:gd name="connsiteX10450" fmla="*/ 2303157 w 8079933"/>
              <a:gd name="connsiteY10450" fmla="*/ 2583444 h 4687251"/>
              <a:gd name="connsiteX10451" fmla="*/ 2296320 w 8079933"/>
              <a:gd name="connsiteY10451" fmla="*/ 2584635 h 4687251"/>
              <a:gd name="connsiteX10452" fmla="*/ 2289918 w 8079933"/>
              <a:gd name="connsiteY10452" fmla="*/ 2590482 h 4687251"/>
              <a:gd name="connsiteX10453" fmla="*/ 2283624 w 8079933"/>
              <a:gd name="connsiteY10453" fmla="*/ 2592214 h 4687251"/>
              <a:gd name="connsiteX10454" fmla="*/ 2280803 w 8079933"/>
              <a:gd name="connsiteY10454" fmla="*/ 2590482 h 4687251"/>
              <a:gd name="connsiteX10455" fmla="*/ 2280477 w 8079933"/>
              <a:gd name="connsiteY10455" fmla="*/ 2585826 h 4687251"/>
              <a:gd name="connsiteX10456" fmla="*/ 2277005 w 8079933"/>
              <a:gd name="connsiteY10456" fmla="*/ 2583769 h 4687251"/>
              <a:gd name="connsiteX10457" fmla="*/ 2274075 w 8079933"/>
              <a:gd name="connsiteY10457" fmla="*/ 2589615 h 4687251"/>
              <a:gd name="connsiteX10458" fmla="*/ 2270819 w 8079933"/>
              <a:gd name="connsiteY10458" fmla="*/ 2589290 h 4687251"/>
              <a:gd name="connsiteX10459" fmla="*/ 2267997 w 8079933"/>
              <a:gd name="connsiteY10459" fmla="*/ 2586692 h 4687251"/>
              <a:gd name="connsiteX10460" fmla="*/ 2265936 w 8079933"/>
              <a:gd name="connsiteY10460" fmla="*/ 2590157 h 4687251"/>
              <a:gd name="connsiteX10461" fmla="*/ 2266696 w 8079933"/>
              <a:gd name="connsiteY10461" fmla="*/ 2592539 h 4687251"/>
              <a:gd name="connsiteX10462" fmla="*/ 2260835 w 8079933"/>
              <a:gd name="connsiteY10462" fmla="*/ 2600226 h 4687251"/>
              <a:gd name="connsiteX10463" fmla="*/ 2257905 w 8079933"/>
              <a:gd name="connsiteY10463" fmla="*/ 2607372 h 4687251"/>
              <a:gd name="connsiteX10464" fmla="*/ 2254758 w 8079933"/>
              <a:gd name="connsiteY10464" fmla="*/ 2605748 h 4687251"/>
              <a:gd name="connsiteX10465" fmla="*/ 2253565 w 8079933"/>
              <a:gd name="connsiteY10465" fmla="*/ 2603366 h 4687251"/>
              <a:gd name="connsiteX10466" fmla="*/ 2249224 w 8079933"/>
              <a:gd name="connsiteY10466" fmla="*/ 2601633 h 4687251"/>
              <a:gd name="connsiteX10467" fmla="*/ 2250852 w 8079933"/>
              <a:gd name="connsiteY10467" fmla="*/ 2597735 h 4687251"/>
              <a:gd name="connsiteX10468" fmla="*/ 2248247 w 8079933"/>
              <a:gd name="connsiteY10468" fmla="*/ 2592431 h 4687251"/>
              <a:gd name="connsiteX10469" fmla="*/ 2245643 w 8079933"/>
              <a:gd name="connsiteY10469" fmla="*/ 2592214 h 4687251"/>
              <a:gd name="connsiteX10470" fmla="*/ 2245209 w 8079933"/>
              <a:gd name="connsiteY10470" fmla="*/ 2589507 h 4687251"/>
              <a:gd name="connsiteX10471" fmla="*/ 2250849 w 8079933"/>
              <a:gd name="connsiteY10471" fmla="*/ 2583555 h 4687251"/>
              <a:gd name="connsiteX10472" fmla="*/ 2245101 w 8079933"/>
              <a:gd name="connsiteY10472" fmla="*/ 2588857 h 4687251"/>
              <a:gd name="connsiteX10473" fmla="*/ 2245101 w 8079933"/>
              <a:gd name="connsiteY10473" fmla="*/ 2591564 h 4687251"/>
              <a:gd name="connsiteX10474" fmla="*/ 2241520 w 8079933"/>
              <a:gd name="connsiteY10474" fmla="*/ 2591564 h 4687251"/>
              <a:gd name="connsiteX10475" fmla="*/ 2237613 w 8079933"/>
              <a:gd name="connsiteY10475" fmla="*/ 2589615 h 4687251"/>
              <a:gd name="connsiteX10476" fmla="*/ 2235226 w 8079933"/>
              <a:gd name="connsiteY10476" fmla="*/ 2591131 h 4687251"/>
              <a:gd name="connsiteX10477" fmla="*/ 2222096 w 8079933"/>
              <a:gd name="connsiteY10477" fmla="*/ 2591131 h 4687251"/>
              <a:gd name="connsiteX10478" fmla="*/ 2217646 w 8079933"/>
              <a:gd name="connsiteY10478" fmla="*/ 2588748 h 4687251"/>
              <a:gd name="connsiteX10479" fmla="*/ 2206794 w 8079933"/>
              <a:gd name="connsiteY10479" fmla="*/ 2588748 h 4687251"/>
              <a:gd name="connsiteX10480" fmla="*/ 2204190 w 8079933"/>
              <a:gd name="connsiteY10480" fmla="*/ 2590806 h 4687251"/>
              <a:gd name="connsiteX10481" fmla="*/ 2204190 w 8079933"/>
              <a:gd name="connsiteY10481" fmla="*/ 2594921 h 4687251"/>
              <a:gd name="connsiteX10482" fmla="*/ 2201586 w 8079933"/>
              <a:gd name="connsiteY10482" fmla="*/ 2594054 h 4687251"/>
              <a:gd name="connsiteX10483" fmla="*/ 2195726 w 8079933"/>
              <a:gd name="connsiteY10483" fmla="*/ 2587341 h 4687251"/>
              <a:gd name="connsiteX10484" fmla="*/ 2190083 w 8079933"/>
              <a:gd name="connsiteY10484" fmla="*/ 2586584 h 4687251"/>
              <a:gd name="connsiteX10485" fmla="*/ 2188347 w 8079933"/>
              <a:gd name="connsiteY10485" fmla="*/ 2582577 h 4687251"/>
              <a:gd name="connsiteX10486" fmla="*/ 2190300 w 8079933"/>
              <a:gd name="connsiteY10486" fmla="*/ 2579654 h 4687251"/>
              <a:gd name="connsiteX10487" fmla="*/ 2195292 w 8079933"/>
              <a:gd name="connsiteY10487" fmla="*/ 2577056 h 4687251"/>
              <a:gd name="connsiteX10488" fmla="*/ 2199307 w 8079933"/>
              <a:gd name="connsiteY10488" fmla="*/ 2580845 h 4687251"/>
              <a:gd name="connsiteX10489" fmla="*/ 2206686 w 8079933"/>
              <a:gd name="connsiteY10489" fmla="*/ 2579005 h 4687251"/>
              <a:gd name="connsiteX10490" fmla="*/ 2208748 w 8079933"/>
              <a:gd name="connsiteY10490" fmla="*/ 2579871 h 4687251"/>
              <a:gd name="connsiteX10491" fmla="*/ 2208748 w 8079933"/>
              <a:gd name="connsiteY10491" fmla="*/ 2582252 h 4687251"/>
              <a:gd name="connsiteX10492" fmla="*/ 2214608 w 8079933"/>
              <a:gd name="connsiteY10492" fmla="*/ 2579871 h 4687251"/>
              <a:gd name="connsiteX10493" fmla="*/ 2219600 w 8079933"/>
              <a:gd name="connsiteY10493" fmla="*/ 2581928 h 4687251"/>
              <a:gd name="connsiteX10494" fmla="*/ 2225243 w 8079933"/>
              <a:gd name="connsiteY10494" fmla="*/ 2581928 h 4687251"/>
              <a:gd name="connsiteX10495" fmla="*/ 2229366 w 8079933"/>
              <a:gd name="connsiteY10495" fmla="*/ 2583119 h 4687251"/>
              <a:gd name="connsiteX10496" fmla="*/ 2231211 w 8079933"/>
              <a:gd name="connsiteY10496" fmla="*/ 2581711 h 4687251"/>
              <a:gd name="connsiteX10497" fmla="*/ 2240978 w 8079933"/>
              <a:gd name="connsiteY10497" fmla="*/ 2581711 h 4687251"/>
              <a:gd name="connsiteX10498" fmla="*/ 2242171 w 8079933"/>
              <a:gd name="connsiteY10498" fmla="*/ 2578788 h 4687251"/>
              <a:gd name="connsiteX10499" fmla="*/ 2236962 w 8079933"/>
              <a:gd name="connsiteY10499" fmla="*/ 2574132 h 4687251"/>
              <a:gd name="connsiteX10500" fmla="*/ 2232513 w 8079933"/>
              <a:gd name="connsiteY10500" fmla="*/ 2572942 h 4687251"/>
              <a:gd name="connsiteX10501" fmla="*/ 2230234 w 8079933"/>
              <a:gd name="connsiteY10501" fmla="*/ 2568827 h 4687251"/>
              <a:gd name="connsiteX10502" fmla="*/ 2231970 w 8079933"/>
              <a:gd name="connsiteY10502" fmla="*/ 2562872 h 4687251"/>
              <a:gd name="connsiteX10503" fmla="*/ 2230234 w 8079933"/>
              <a:gd name="connsiteY10503" fmla="*/ 2559083 h 4687251"/>
              <a:gd name="connsiteX10504" fmla="*/ 2231645 w 8079933"/>
              <a:gd name="connsiteY10504" fmla="*/ 2556701 h 4687251"/>
              <a:gd name="connsiteX10505" fmla="*/ 2218948 w 8079933"/>
              <a:gd name="connsiteY10505" fmla="*/ 2552370 h 4687251"/>
              <a:gd name="connsiteX10506" fmla="*/ 2214065 w 8079933"/>
              <a:gd name="connsiteY10506" fmla="*/ 2549555 h 4687251"/>
              <a:gd name="connsiteX10507" fmla="*/ 2215476 w 8079933"/>
              <a:gd name="connsiteY10507" fmla="*/ 2546957 h 4687251"/>
              <a:gd name="connsiteX10508" fmla="*/ 2224483 w 8079933"/>
              <a:gd name="connsiteY10508" fmla="*/ 2546957 h 4687251"/>
              <a:gd name="connsiteX10509" fmla="*/ 2228607 w 8079933"/>
              <a:gd name="connsiteY10509" fmla="*/ 2548364 h 4687251"/>
              <a:gd name="connsiteX10510" fmla="*/ 2231537 w 8079933"/>
              <a:gd name="connsiteY10510" fmla="*/ 2546632 h 4687251"/>
              <a:gd name="connsiteX10511" fmla="*/ 2241737 w 8079933"/>
              <a:gd name="connsiteY10511" fmla="*/ 2547822 h 4687251"/>
              <a:gd name="connsiteX10512" fmla="*/ 2245861 w 8079933"/>
              <a:gd name="connsiteY10512" fmla="*/ 2551937 h 4687251"/>
              <a:gd name="connsiteX10513" fmla="*/ 2249984 w 8079933"/>
              <a:gd name="connsiteY10513" fmla="*/ 2551071 h 4687251"/>
              <a:gd name="connsiteX10514" fmla="*/ 2254325 w 8079933"/>
              <a:gd name="connsiteY10514" fmla="*/ 2552153 h 4687251"/>
              <a:gd name="connsiteX10515" fmla="*/ 2254976 w 8079933"/>
              <a:gd name="connsiteY10515" fmla="*/ 2554536 h 4687251"/>
              <a:gd name="connsiteX10516" fmla="*/ 2252588 w 8079933"/>
              <a:gd name="connsiteY10516" fmla="*/ 2558975 h 4687251"/>
              <a:gd name="connsiteX10517" fmla="*/ 2254542 w 8079933"/>
              <a:gd name="connsiteY10517" fmla="*/ 2562764 h 4687251"/>
              <a:gd name="connsiteX10518" fmla="*/ 2253023 w 8079933"/>
              <a:gd name="connsiteY10518" fmla="*/ 2567961 h 4687251"/>
              <a:gd name="connsiteX10519" fmla="*/ 2249225 w 8079933"/>
              <a:gd name="connsiteY10519" fmla="*/ 2569801 h 4687251"/>
              <a:gd name="connsiteX10520" fmla="*/ 2248574 w 8079933"/>
              <a:gd name="connsiteY10520" fmla="*/ 2571642 h 4687251"/>
              <a:gd name="connsiteX10521" fmla="*/ 2250852 w 8079933"/>
              <a:gd name="connsiteY10521" fmla="*/ 2576623 h 4687251"/>
              <a:gd name="connsiteX10522" fmla="*/ 2250852 w 8079933"/>
              <a:gd name="connsiteY10522" fmla="*/ 2580628 h 4687251"/>
              <a:gd name="connsiteX10523" fmla="*/ 2250852 w 8079933"/>
              <a:gd name="connsiteY10523" fmla="*/ 2583549 h 4687251"/>
              <a:gd name="connsiteX10524" fmla="*/ 2251286 w 8079933"/>
              <a:gd name="connsiteY10524" fmla="*/ 2580521 h 4687251"/>
              <a:gd name="connsiteX10525" fmla="*/ 2251394 w 8079933"/>
              <a:gd name="connsiteY10525" fmla="*/ 2576623 h 4687251"/>
              <a:gd name="connsiteX10526" fmla="*/ 2249224 w 8079933"/>
              <a:gd name="connsiteY10526" fmla="*/ 2571643 h 4687251"/>
              <a:gd name="connsiteX10527" fmla="*/ 2249875 w 8079933"/>
              <a:gd name="connsiteY10527" fmla="*/ 2569802 h 4687251"/>
              <a:gd name="connsiteX10528" fmla="*/ 2253673 w 8079933"/>
              <a:gd name="connsiteY10528" fmla="*/ 2567853 h 4687251"/>
              <a:gd name="connsiteX10529" fmla="*/ 2255192 w 8079933"/>
              <a:gd name="connsiteY10529" fmla="*/ 2562656 h 4687251"/>
              <a:gd name="connsiteX10530" fmla="*/ 2253347 w 8079933"/>
              <a:gd name="connsiteY10530" fmla="*/ 2558975 h 4687251"/>
              <a:gd name="connsiteX10531" fmla="*/ 2255735 w 8079933"/>
              <a:gd name="connsiteY10531" fmla="*/ 2554427 h 4687251"/>
              <a:gd name="connsiteX10532" fmla="*/ 2255084 w 8079933"/>
              <a:gd name="connsiteY10532" fmla="*/ 2552045 h 4687251"/>
              <a:gd name="connsiteX10533" fmla="*/ 2257580 w 8079933"/>
              <a:gd name="connsiteY10533" fmla="*/ 2547498 h 4687251"/>
              <a:gd name="connsiteX10534" fmla="*/ 2265501 w 8079933"/>
              <a:gd name="connsiteY10534" fmla="*/ 2546090 h 4687251"/>
              <a:gd name="connsiteX10535" fmla="*/ 2269950 w 8079933"/>
              <a:gd name="connsiteY10535" fmla="*/ 2547281 h 4687251"/>
              <a:gd name="connsiteX10536" fmla="*/ 6837851 w 8079933"/>
              <a:gd name="connsiteY10536" fmla="*/ 2544034 h 4687251"/>
              <a:gd name="connsiteX10537" fmla="*/ 6837091 w 8079933"/>
              <a:gd name="connsiteY10537" fmla="*/ 2549230 h 4687251"/>
              <a:gd name="connsiteX10538" fmla="*/ 6834162 w 8079933"/>
              <a:gd name="connsiteY10538" fmla="*/ 2546632 h 4687251"/>
              <a:gd name="connsiteX10539" fmla="*/ 4000249 w 8079933"/>
              <a:gd name="connsiteY10539" fmla="*/ 2541976 h 4687251"/>
              <a:gd name="connsiteX10540" fmla="*/ 3992076 w 8079933"/>
              <a:gd name="connsiteY10540" fmla="*/ 2542379 h 4687251"/>
              <a:gd name="connsiteX10541" fmla="*/ 4000247 w 8079933"/>
              <a:gd name="connsiteY10541" fmla="*/ 2541977 h 4687251"/>
              <a:gd name="connsiteX10542" fmla="*/ 4007084 w 8079933"/>
              <a:gd name="connsiteY10542" fmla="*/ 2544250 h 4687251"/>
              <a:gd name="connsiteX10543" fmla="*/ 4011425 w 8079933"/>
              <a:gd name="connsiteY10543" fmla="*/ 2549555 h 4687251"/>
              <a:gd name="connsiteX10544" fmla="*/ 4017176 w 8079933"/>
              <a:gd name="connsiteY10544" fmla="*/ 2551179 h 4687251"/>
              <a:gd name="connsiteX10545" fmla="*/ 4021733 w 8079933"/>
              <a:gd name="connsiteY10545" fmla="*/ 2555185 h 4687251"/>
              <a:gd name="connsiteX10546" fmla="*/ 4021517 w 8079933"/>
              <a:gd name="connsiteY10546" fmla="*/ 2558975 h 4687251"/>
              <a:gd name="connsiteX10547" fmla="*/ 4019238 w 8079933"/>
              <a:gd name="connsiteY10547" fmla="*/ 2566229 h 4687251"/>
              <a:gd name="connsiteX10548" fmla="*/ 4020865 w 8079933"/>
              <a:gd name="connsiteY10548" fmla="*/ 2569910 h 4687251"/>
              <a:gd name="connsiteX10549" fmla="*/ 4026617 w 8079933"/>
              <a:gd name="connsiteY10549" fmla="*/ 2571967 h 4687251"/>
              <a:gd name="connsiteX10550" fmla="*/ 4026618 w 8079933"/>
              <a:gd name="connsiteY10550" fmla="*/ 2571967 h 4687251"/>
              <a:gd name="connsiteX10551" fmla="*/ 4020867 w 8079933"/>
              <a:gd name="connsiteY10551" fmla="*/ 2569910 h 4687251"/>
              <a:gd name="connsiteX10552" fmla="*/ 4019239 w 8079933"/>
              <a:gd name="connsiteY10552" fmla="*/ 2566228 h 4687251"/>
              <a:gd name="connsiteX10553" fmla="*/ 4021518 w 8079933"/>
              <a:gd name="connsiteY10553" fmla="*/ 2558975 h 4687251"/>
              <a:gd name="connsiteX10554" fmla="*/ 4021735 w 8079933"/>
              <a:gd name="connsiteY10554" fmla="*/ 2555185 h 4687251"/>
              <a:gd name="connsiteX10555" fmla="*/ 4017177 w 8079933"/>
              <a:gd name="connsiteY10555" fmla="*/ 2551179 h 4687251"/>
              <a:gd name="connsiteX10556" fmla="*/ 4011426 w 8079933"/>
              <a:gd name="connsiteY10556" fmla="*/ 2549555 h 4687251"/>
              <a:gd name="connsiteX10557" fmla="*/ 4007085 w 8079933"/>
              <a:gd name="connsiteY10557" fmla="*/ 2544250 h 4687251"/>
              <a:gd name="connsiteX10558" fmla="*/ 2231319 w 8079933"/>
              <a:gd name="connsiteY10558" fmla="*/ 2539052 h 4687251"/>
              <a:gd name="connsiteX10559" fmla="*/ 2239675 w 8079933"/>
              <a:gd name="connsiteY10559" fmla="*/ 2543924 h 4687251"/>
              <a:gd name="connsiteX10560" fmla="*/ 2230668 w 8079933"/>
              <a:gd name="connsiteY10560" fmla="*/ 2544033 h 4687251"/>
              <a:gd name="connsiteX10561" fmla="*/ 2227087 w 8079933"/>
              <a:gd name="connsiteY10561" fmla="*/ 2541434 h 4687251"/>
              <a:gd name="connsiteX10562" fmla="*/ 6571985 w 8079933"/>
              <a:gd name="connsiteY10562" fmla="*/ 2529850 h 4687251"/>
              <a:gd name="connsiteX10563" fmla="*/ 6577193 w 8079933"/>
              <a:gd name="connsiteY10563" fmla="*/ 2531691 h 4687251"/>
              <a:gd name="connsiteX10564" fmla="*/ 6582185 w 8079933"/>
              <a:gd name="connsiteY10564" fmla="*/ 2534939 h 4687251"/>
              <a:gd name="connsiteX10565" fmla="*/ 6584247 w 8079933"/>
              <a:gd name="connsiteY10565" fmla="*/ 2541110 h 4687251"/>
              <a:gd name="connsiteX10566" fmla="*/ 6580666 w 8079933"/>
              <a:gd name="connsiteY10566" fmla="*/ 2546957 h 4687251"/>
              <a:gd name="connsiteX10567" fmla="*/ 6579689 w 8079933"/>
              <a:gd name="connsiteY10567" fmla="*/ 2550421 h 4687251"/>
              <a:gd name="connsiteX10568" fmla="*/ 6577302 w 8079933"/>
              <a:gd name="connsiteY10568" fmla="*/ 2552370 h 4687251"/>
              <a:gd name="connsiteX10569" fmla="*/ 6574915 w 8079933"/>
              <a:gd name="connsiteY10569" fmla="*/ 2559733 h 4687251"/>
              <a:gd name="connsiteX10570" fmla="*/ 6575782 w 8079933"/>
              <a:gd name="connsiteY10570" fmla="*/ 2563847 h 4687251"/>
              <a:gd name="connsiteX10571" fmla="*/ 6572309 w 8079933"/>
              <a:gd name="connsiteY10571" fmla="*/ 2567420 h 4687251"/>
              <a:gd name="connsiteX10572" fmla="*/ 6567861 w 8079933"/>
              <a:gd name="connsiteY10572" fmla="*/ 2568286 h 4687251"/>
              <a:gd name="connsiteX10573" fmla="*/ 6567861 w 8079933"/>
              <a:gd name="connsiteY10573" fmla="*/ 2570994 h 4687251"/>
              <a:gd name="connsiteX10574" fmla="*/ 6564930 w 8079933"/>
              <a:gd name="connsiteY10574" fmla="*/ 2574783 h 4687251"/>
              <a:gd name="connsiteX10575" fmla="*/ 6560915 w 8079933"/>
              <a:gd name="connsiteY10575" fmla="*/ 2573808 h 4687251"/>
              <a:gd name="connsiteX10576" fmla="*/ 6557118 w 8079933"/>
              <a:gd name="connsiteY10576" fmla="*/ 2574458 h 4687251"/>
              <a:gd name="connsiteX10577" fmla="*/ 6555924 w 8079933"/>
              <a:gd name="connsiteY10577" fmla="*/ 2578789 h 4687251"/>
              <a:gd name="connsiteX10578" fmla="*/ 6552994 w 8079933"/>
              <a:gd name="connsiteY10578" fmla="*/ 2580305 h 4687251"/>
              <a:gd name="connsiteX10579" fmla="*/ 6548653 w 8079933"/>
              <a:gd name="connsiteY10579" fmla="*/ 2577382 h 4687251"/>
              <a:gd name="connsiteX10580" fmla="*/ 6545180 w 8079933"/>
              <a:gd name="connsiteY10580" fmla="*/ 2577382 h 4687251"/>
              <a:gd name="connsiteX10581" fmla="*/ 6541925 w 8079933"/>
              <a:gd name="connsiteY10581" fmla="*/ 2574783 h 4687251"/>
              <a:gd name="connsiteX10582" fmla="*/ 6536933 w 8079933"/>
              <a:gd name="connsiteY10582" fmla="*/ 2574783 h 4687251"/>
              <a:gd name="connsiteX10583" fmla="*/ 6532375 w 8079933"/>
              <a:gd name="connsiteY10583" fmla="*/ 2570994 h 4687251"/>
              <a:gd name="connsiteX10584" fmla="*/ 6532375 w 8079933"/>
              <a:gd name="connsiteY10584" fmla="*/ 2568286 h 4687251"/>
              <a:gd name="connsiteX10585" fmla="*/ 6529663 w 8079933"/>
              <a:gd name="connsiteY10585" fmla="*/ 2563631 h 4687251"/>
              <a:gd name="connsiteX10586" fmla="*/ 6529663 w 8079933"/>
              <a:gd name="connsiteY10586" fmla="*/ 2554753 h 4687251"/>
              <a:gd name="connsiteX10587" fmla="*/ 6527384 w 8079933"/>
              <a:gd name="connsiteY10587" fmla="*/ 2550963 h 4687251"/>
              <a:gd name="connsiteX10588" fmla="*/ 6533570 w 8079933"/>
              <a:gd name="connsiteY10588" fmla="*/ 2544466 h 4687251"/>
              <a:gd name="connsiteX10589" fmla="*/ 6540731 w 8079933"/>
              <a:gd name="connsiteY10589" fmla="*/ 2540136 h 4687251"/>
              <a:gd name="connsiteX10590" fmla="*/ 6541708 w 8079933"/>
              <a:gd name="connsiteY10590" fmla="*/ 2535697 h 4687251"/>
              <a:gd name="connsiteX10591" fmla="*/ 6546049 w 8079933"/>
              <a:gd name="connsiteY10591" fmla="*/ 2535047 h 4687251"/>
              <a:gd name="connsiteX10592" fmla="*/ 6550715 w 8079933"/>
              <a:gd name="connsiteY10592" fmla="*/ 2532665 h 4687251"/>
              <a:gd name="connsiteX10593" fmla="*/ 6555165 w 8079933"/>
              <a:gd name="connsiteY10593" fmla="*/ 2532665 h 4687251"/>
              <a:gd name="connsiteX10594" fmla="*/ 6558528 w 8079933"/>
              <a:gd name="connsiteY10594" fmla="*/ 2530392 h 4687251"/>
              <a:gd name="connsiteX10595" fmla="*/ 6561024 w 8079933"/>
              <a:gd name="connsiteY10595" fmla="*/ 2531149 h 4687251"/>
              <a:gd name="connsiteX10596" fmla="*/ 6565907 w 8079933"/>
              <a:gd name="connsiteY10596" fmla="*/ 2530175 h 4687251"/>
              <a:gd name="connsiteX10597" fmla="*/ 6568512 w 8079933"/>
              <a:gd name="connsiteY10597" fmla="*/ 2532232 h 4687251"/>
              <a:gd name="connsiteX10598" fmla="*/ 6328908 w 8079933"/>
              <a:gd name="connsiteY10598" fmla="*/ 2527468 h 4687251"/>
              <a:gd name="connsiteX10599" fmla="*/ 6328907 w 8079933"/>
              <a:gd name="connsiteY10599" fmla="*/ 2527468 h 4687251"/>
              <a:gd name="connsiteX10600" fmla="*/ 6333574 w 8079933"/>
              <a:gd name="connsiteY10600" fmla="*/ 2532990 h 4687251"/>
              <a:gd name="connsiteX10601" fmla="*/ 6334767 w 8079933"/>
              <a:gd name="connsiteY10601" fmla="*/ 2541219 h 4687251"/>
              <a:gd name="connsiteX10602" fmla="*/ 6330969 w 8079933"/>
              <a:gd name="connsiteY10602" fmla="*/ 2543925 h 4687251"/>
              <a:gd name="connsiteX10603" fmla="*/ 6334442 w 8079933"/>
              <a:gd name="connsiteY10603" fmla="*/ 2549988 h 4687251"/>
              <a:gd name="connsiteX10604" fmla="*/ 6338240 w 8079933"/>
              <a:gd name="connsiteY10604" fmla="*/ 2551396 h 4687251"/>
              <a:gd name="connsiteX10605" fmla="*/ 6338241 w 8079933"/>
              <a:gd name="connsiteY10605" fmla="*/ 2551395 h 4687251"/>
              <a:gd name="connsiteX10606" fmla="*/ 6334443 w 8079933"/>
              <a:gd name="connsiteY10606" fmla="*/ 2549988 h 4687251"/>
              <a:gd name="connsiteX10607" fmla="*/ 6330970 w 8079933"/>
              <a:gd name="connsiteY10607" fmla="*/ 2543925 h 4687251"/>
              <a:gd name="connsiteX10608" fmla="*/ 6334768 w 8079933"/>
              <a:gd name="connsiteY10608" fmla="*/ 2541219 h 4687251"/>
              <a:gd name="connsiteX10609" fmla="*/ 6333575 w 8079933"/>
              <a:gd name="connsiteY10609" fmla="*/ 2532989 h 4687251"/>
              <a:gd name="connsiteX10610" fmla="*/ 6439684 w 8079933"/>
              <a:gd name="connsiteY10610" fmla="*/ 2526880 h 4687251"/>
              <a:gd name="connsiteX10611" fmla="*/ 6441547 w 8079933"/>
              <a:gd name="connsiteY10611" fmla="*/ 2527359 h 4687251"/>
              <a:gd name="connsiteX10612" fmla="*/ 6441547 w 8079933"/>
              <a:gd name="connsiteY10612" fmla="*/ 2527359 h 4687251"/>
              <a:gd name="connsiteX10613" fmla="*/ 6322505 w 8079933"/>
              <a:gd name="connsiteY10613" fmla="*/ 2517291 h 4687251"/>
              <a:gd name="connsiteX10614" fmla="*/ 6319792 w 8079933"/>
              <a:gd name="connsiteY10614" fmla="*/ 2523354 h 4687251"/>
              <a:gd name="connsiteX10615" fmla="*/ 6322505 w 8079933"/>
              <a:gd name="connsiteY10615" fmla="*/ 2528984 h 4687251"/>
              <a:gd name="connsiteX10616" fmla="*/ 6322506 w 8079933"/>
              <a:gd name="connsiteY10616" fmla="*/ 2528984 h 4687251"/>
              <a:gd name="connsiteX10617" fmla="*/ 6319793 w 8079933"/>
              <a:gd name="connsiteY10617" fmla="*/ 2523354 h 4687251"/>
              <a:gd name="connsiteX10618" fmla="*/ 6322506 w 8079933"/>
              <a:gd name="connsiteY10618" fmla="*/ 2517291 h 4687251"/>
              <a:gd name="connsiteX10619" fmla="*/ 6431824 w 8079933"/>
              <a:gd name="connsiteY10619" fmla="*/ 2516210 h 4687251"/>
              <a:gd name="connsiteX10620" fmla="*/ 6434060 w 8079933"/>
              <a:gd name="connsiteY10620" fmla="*/ 2516641 h 4687251"/>
              <a:gd name="connsiteX10621" fmla="*/ 6434060 w 8079933"/>
              <a:gd name="connsiteY10621" fmla="*/ 2516641 h 4687251"/>
              <a:gd name="connsiteX10622" fmla="*/ 6396955 w 8079933"/>
              <a:gd name="connsiteY10622" fmla="*/ 2512531 h 4687251"/>
              <a:gd name="connsiteX10623" fmla="*/ 6406498 w 8079933"/>
              <a:gd name="connsiteY10623" fmla="*/ 2512635 h 4687251"/>
              <a:gd name="connsiteX10624" fmla="*/ 6407533 w 8079933"/>
              <a:gd name="connsiteY10624" fmla="*/ 2512941 h 4687251"/>
              <a:gd name="connsiteX10625" fmla="*/ 6406497 w 8079933"/>
              <a:gd name="connsiteY10625" fmla="*/ 2512635 h 4687251"/>
              <a:gd name="connsiteX10626" fmla="*/ 4301241 w 8079933"/>
              <a:gd name="connsiteY10626" fmla="*/ 2511219 h 4687251"/>
              <a:gd name="connsiteX10627" fmla="*/ 4301057 w 8079933"/>
              <a:gd name="connsiteY10627" fmla="*/ 2513934 h 4687251"/>
              <a:gd name="connsiteX10628" fmla="*/ 4300351 w 8079933"/>
              <a:gd name="connsiteY10628" fmla="*/ 2515288 h 4687251"/>
              <a:gd name="connsiteX10629" fmla="*/ 4301057 w 8079933"/>
              <a:gd name="connsiteY10629" fmla="*/ 2513934 h 4687251"/>
              <a:gd name="connsiteX10630" fmla="*/ 6417675 w 8079933"/>
              <a:gd name="connsiteY10630" fmla="*/ 2511119 h 4687251"/>
              <a:gd name="connsiteX10631" fmla="*/ 6412357 w 8079933"/>
              <a:gd name="connsiteY10631" fmla="*/ 2514367 h 4687251"/>
              <a:gd name="connsiteX10632" fmla="*/ 6412358 w 8079933"/>
              <a:gd name="connsiteY10632" fmla="*/ 2514367 h 4687251"/>
              <a:gd name="connsiteX10633" fmla="*/ 6417675 w 8079933"/>
              <a:gd name="connsiteY10633" fmla="*/ 2511119 h 4687251"/>
              <a:gd name="connsiteX10634" fmla="*/ 6424402 w 8079933"/>
              <a:gd name="connsiteY10634" fmla="*/ 2511119 h 4687251"/>
              <a:gd name="connsiteX10635" fmla="*/ 6424402 w 8079933"/>
              <a:gd name="connsiteY10635" fmla="*/ 2511119 h 4687251"/>
              <a:gd name="connsiteX10636" fmla="*/ 2226652 w 8079933"/>
              <a:gd name="connsiteY10636" fmla="*/ 2509712 h 4687251"/>
              <a:gd name="connsiteX10637" fmla="*/ 2226652 w 8079933"/>
              <a:gd name="connsiteY10637" fmla="*/ 2515342 h 4687251"/>
              <a:gd name="connsiteX10638" fmla="*/ 2222746 w 8079933"/>
              <a:gd name="connsiteY10638" fmla="*/ 2520647 h 4687251"/>
              <a:gd name="connsiteX10639" fmla="*/ 2210375 w 8079933"/>
              <a:gd name="connsiteY10639" fmla="*/ 2522055 h 4687251"/>
              <a:gd name="connsiteX10640" fmla="*/ 2211568 w 8079933"/>
              <a:gd name="connsiteY10640" fmla="*/ 2515017 h 4687251"/>
              <a:gd name="connsiteX10641" fmla="*/ 2217211 w 8079933"/>
              <a:gd name="connsiteY10641" fmla="*/ 2511444 h 4687251"/>
              <a:gd name="connsiteX10642" fmla="*/ 2222094 w 8079933"/>
              <a:gd name="connsiteY10642" fmla="*/ 2514151 h 4687251"/>
              <a:gd name="connsiteX10643" fmla="*/ 2225024 w 8079933"/>
              <a:gd name="connsiteY10643" fmla="*/ 2510686 h 4687251"/>
              <a:gd name="connsiteX10644" fmla="*/ 6571334 w 8079933"/>
              <a:gd name="connsiteY10644" fmla="*/ 2505056 h 4687251"/>
              <a:gd name="connsiteX10645" fmla="*/ 6575675 w 8079933"/>
              <a:gd name="connsiteY10645" fmla="*/ 2506788 h 4687251"/>
              <a:gd name="connsiteX10646" fmla="*/ 6575675 w 8079933"/>
              <a:gd name="connsiteY10646" fmla="*/ 2508846 h 4687251"/>
              <a:gd name="connsiteX10647" fmla="*/ 6571009 w 8079933"/>
              <a:gd name="connsiteY10647" fmla="*/ 2507980 h 4687251"/>
              <a:gd name="connsiteX10648" fmla="*/ 6567753 w 8079933"/>
              <a:gd name="connsiteY10648" fmla="*/ 2508196 h 4687251"/>
              <a:gd name="connsiteX10649" fmla="*/ 6565583 w 8079933"/>
              <a:gd name="connsiteY10649" fmla="*/ 2505814 h 4687251"/>
              <a:gd name="connsiteX10650" fmla="*/ 2229256 w 8079933"/>
              <a:gd name="connsiteY10650" fmla="*/ 2502783 h 4687251"/>
              <a:gd name="connsiteX10651" fmla="*/ 2229256 w 8079933"/>
              <a:gd name="connsiteY10651" fmla="*/ 2507114 h 4687251"/>
              <a:gd name="connsiteX10652" fmla="*/ 2226652 w 8079933"/>
              <a:gd name="connsiteY10652" fmla="*/ 2505598 h 4687251"/>
              <a:gd name="connsiteX10653" fmla="*/ 6330645 w 8079933"/>
              <a:gd name="connsiteY10653" fmla="*/ 2502024 h 4687251"/>
              <a:gd name="connsiteX10654" fmla="*/ 6330644 w 8079933"/>
              <a:gd name="connsiteY10654" fmla="*/ 2502024 h 4687251"/>
              <a:gd name="connsiteX10655" fmla="*/ 6330535 w 8079933"/>
              <a:gd name="connsiteY10655" fmla="*/ 2506464 h 4687251"/>
              <a:gd name="connsiteX10656" fmla="*/ 6327714 w 8079933"/>
              <a:gd name="connsiteY10656" fmla="*/ 2510254 h 4687251"/>
              <a:gd name="connsiteX10657" fmla="*/ 6329993 w 8079933"/>
              <a:gd name="connsiteY10657" fmla="*/ 2513393 h 4687251"/>
              <a:gd name="connsiteX10658" fmla="*/ 6325218 w 8079933"/>
              <a:gd name="connsiteY10658" fmla="*/ 2517291 h 4687251"/>
              <a:gd name="connsiteX10659" fmla="*/ 6325219 w 8079933"/>
              <a:gd name="connsiteY10659" fmla="*/ 2517291 h 4687251"/>
              <a:gd name="connsiteX10660" fmla="*/ 6329994 w 8079933"/>
              <a:gd name="connsiteY10660" fmla="*/ 2513393 h 4687251"/>
              <a:gd name="connsiteX10661" fmla="*/ 6327715 w 8079933"/>
              <a:gd name="connsiteY10661" fmla="*/ 2510253 h 4687251"/>
              <a:gd name="connsiteX10662" fmla="*/ 6330536 w 8079933"/>
              <a:gd name="connsiteY10662" fmla="*/ 2506463 h 4687251"/>
              <a:gd name="connsiteX10663" fmla="*/ 6136943 w 8079933"/>
              <a:gd name="connsiteY10663" fmla="*/ 2501807 h 4687251"/>
              <a:gd name="connsiteX10664" fmla="*/ 6136942 w 8079933"/>
              <a:gd name="connsiteY10664" fmla="*/ 2501808 h 4687251"/>
              <a:gd name="connsiteX10665" fmla="*/ 6138895 w 8079933"/>
              <a:gd name="connsiteY10665" fmla="*/ 2503107 h 4687251"/>
              <a:gd name="connsiteX10666" fmla="*/ 6138895 w 8079933"/>
              <a:gd name="connsiteY10666" fmla="*/ 2503106 h 4687251"/>
              <a:gd name="connsiteX10667" fmla="*/ 6354164 w 8079933"/>
              <a:gd name="connsiteY10667" fmla="*/ 2501006 h 4687251"/>
              <a:gd name="connsiteX10668" fmla="*/ 6357556 w 8079933"/>
              <a:gd name="connsiteY10668" fmla="*/ 2501808 h 4687251"/>
              <a:gd name="connsiteX10669" fmla="*/ 6357556 w 8079933"/>
              <a:gd name="connsiteY10669" fmla="*/ 2501807 h 4687251"/>
              <a:gd name="connsiteX10670" fmla="*/ 6353432 w 8079933"/>
              <a:gd name="connsiteY10670" fmla="*/ 2500833 h 4687251"/>
              <a:gd name="connsiteX10671" fmla="*/ 6347247 w 8079933"/>
              <a:gd name="connsiteY10671" fmla="*/ 2502674 h 4687251"/>
              <a:gd name="connsiteX10672" fmla="*/ 6347247 w 8079933"/>
              <a:gd name="connsiteY10672" fmla="*/ 2502674 h 4687251"/>
              <a:gd name="connsiteX10673" fmla="*/ 6353433 w 8079933"/>
              <a:gd name="connsiteY10673" fmla="*/ 2500834 h 4687251"/>
              <a:gd name="connsiteX10674" fmla="*/ 6337438 w 8079933"/>
              <a:gd name="connsiteY10674" fmla="*/ 2500560 h 4687251"/>
              <a:gd name="connsiteX10675" fmla="*/ 6337372 w 8079933"/>
              <a:gd name="connsiteY10675" fmla="*/ 2500617 h 4687251"/>
              <a:gd name="connsiteX10676" fmla="*/ 6332259 w 8079933"/>
              <a:gd name="connsiteY10676" fmla="*/ 2501687 h 4687251"/>
              <a:gd name="connsiteX10677" fmla="*/ 6337373 w 8079933"/>
              <a:gd name="connsiteY10677" fmla="*/ 2500617 h 4687251"/>
              <a:gd name="connsiteX10678" fmla="*/ 6344473 w 8079933"/>
              <a:gd name="connsiteY10678" fmla="*/ 2498262 h 4687251"/>
              <a:gd name="connsiteX10679" fmla="*/ 6345185 w 8079933"/>
              <a:gd name="connsiteY10679" fmla="*/ 2498776 h 4687251"/>
              <a:gd name="connsiteX10680" fmla="*/ 6345485 w 8079933"/>
              <a:gd name="connsiteY10680" fmla="*/ 2499344 h 4687251"/>
              <a:gd name="connsiteX10681" fmla="*/ 6345185 w 8079933"/>
              <a:gd name="connsiteY10681" fmla="*/ 2498776 h 4687251"/>
              <a:gd name="connsiteX10682" fmla="*/ 6043834 w 8079933"/>
              <a:gd name="connsiteY10682" fmla="*/ 2496179 h 4687251"/>
              <a:gd name="connsiteX10683" fmla="*/ 6045354 w 8079933"/>
              <a:gd name="connsiteY10683" fmla="*/ 2498669 h 4687251"/>
              <a:gd name="connsiteX10684" fmla="*/ 6043834 w 8079933"/>
              <a:gd name="connsiteY10684" fmla="*/ 2500293 h 4687251"/>
              <a:gd name="connsiteX10685" fmla="*/ 6034827 w 8079933"/>
              <a:gd name="connsiteY10685" fmla="*/ 2495420 h 4687251"/>
              <a:gd name="connsiteX10686" fmla="*/ 6037214 w 8079933"/>
              <a:gd name="connsiteY10686" fmla="*/ 2497693 h 4687251"/>
              <a:gd name="connsiteX10687" fmla="*/ 6037866 w 8079933"/>
              <a:gd name="connsiteY10687" fmla="*/ 2501916 h 4687251"/>
              <a:gd name="connsiteX10688" fmla="*/ 6035261 w 8079933"/>
              <a:gd name="connsiteY10688" fmla="*/ 2500075 h 4687251"/>
              <a:gd name="connsiteX10689" fmla="*/ 6041447 w 8079933"/>
              <a:gd name="connsiteY10689" fmla="*/ 2494446 h 4687251"/>
              <a:gd name="connsiteX10690" fmla="*/ 6041772 w 8079933"/>
              <a:gd name="connsiteY10690" fmla="*/ 2496936 h 4687251"/>
              <a:gd name="connsiteX10691" fmla="*/ 6041229 w 8079933"/>
              <a:gd name="connsiteY10691" fmla="*/ 2499860 h 4687251"/>
              <a:gd name="connsiteX10692" fmla="*/ 6039602 w 8079933"/>
              <a:gd name="connsiteY10692" fmla="*/ 2498668 h 4687251"/>
              <a:gd name="connsiteX10693" fmla="*/ 6038625 w 8079933"/>
              <a:gd name="connsiteY10693" fmla="*/ 2495962 h 4687251"/>
              <a:gd name="connsiteX10694" fmla="*/ 6314844 w 8079933"/>
              <a:gd name="connsiteY10694" fmla="*/ 2493312 h 4687251"/>
              <a:gd name="connsiteX10695" fmla="*/ 6315017 w 8079933"/>
              <a:gd name="connsiteY10695" fmla="*/ 2493796 h 4687251"/>
              <a:gd name="connsiteX10696" fmla="*/ 6320451 w 8079933"/>
              <a:gd name="connsiteY10696" fmla="*/ 2496454 h 4687251"/>
              <a:gd name="connsiteX10697" fmla="*/ 6315017 w 8079933"/>
              <a:gd name="connsiteY10697" fmla="*/ 2493795 h 4687251"/>
              <a:gd name="connsiteX10698" fmla="*/ 1992690 w 8079933"/>
              <a:gd name="connsiteY10698" fmla="*/ 2493146 h 4687251"/>
              <a:gd name="connsiteX10699" fmla="*/ 1997030 w 8079933"/>
              <a:gd name="connsiteY10699" fmla="*/ 2494012 h 4687251"/>
              <a:gd name="connsiteX10700" fmla="*/ 2001262 w 8079933"/>
              <a:gd name="connsiteY10700" fmla="*/ 2498993 h 4687251"/>
              <a:gd name="connsiteX10701" fmla="*/ 2000503 w 8079933"/>
              <a:gd name="connsiteY10701" fmla="*/ 2503324 h 4687251"/>
              <a:gd name="connsiteX10702" fmla="*/ 1993775 w 8079933"/>
              <a:gd name="connsiteY10702" fmla="*/ 2505273 h 4687251"/>
              <a:gd name="connsiteX10703" fmla="*/ 1988458 w 8079933"/>
              <a:gd name="connsiteY10703" fmla="*/ 2503215 h 4687251"/>
              <a:gd name="connsiteX10704" fmla="*/ 1987807 w 8079933"/>
              <a:gd name="connsiteY10704" fmla="*/ 2500725 h 4687251"/>
              <a:gd name="connsiteX10705" fmla="*/ 1989869 w 8079933"/>
              <a:gd name="connsiteY10705" fmla="*/ 2502132 h 4687251"/>
              <a:gd name="connsiteX10706" fmla="*/ 1992256 w 8079933"/>
              <a:gd name="connsiteY10706" fmla="*/ 2502566 h 4687251"/>
              <a:gd name="connsiteX10707" fmla="*/ 1994535 w 8079933"/>
              <a:gd name="connsiteY10707" fmla="*/ 2500725 h 4687251"/>
              <a:gd name="connsiteX10708" fmla="*/ 1992256 w 8079933"/>
              <a:gd name="connsiteY10708" fmla="*/ 2499317 h 4687251"/>
              <a:gd name="connsiteX10709" fmla="*/ 1990954 w 8079933"/>
              <a:gd name="connsiteY10709" fmla="*/ 2496503 h 4687251"/>
              <a:gd name="connsiteX10710" fmla="*/ 6508828 w 8079933"/>
              <a:gd name="connsiteY10710" fmla="*/ 2492171 h 4687251"/>
              <a:gd name="connsiteX10711" fmla="*/ 6508828 w 8079933"/>
              <a:gd name="connsiteY10711" fmla="*/ 2492172 h 4687251"/>
              <a:gd name="connsiteX10712" fmla="*/ 6508937 w 8079933"/>
              <a:gd name="connsiteY10712" fmla="*/ 2492172 h 4687251"/>
              <a:gd name="connsiteX10713" fmla="*/ 6508936 w 8079933"/>
              <a:gd name="connsiteY10713" fmla="*/ 2492171 h 4687251"/>
              <a:gd name="connsiteX10714" fmla="*/ 6030703 w 8079933"/>
              <a:gd name="connsiteY10714" fmla="*/ 2490440 h 4687251"/>
              <a:gd name="connsiteX10715" fmla="*/ 6032222 w 8079933"/>
              <a:gd name="connsiteY10715" fmla="*/ 2492822 h 4687251"/>
              <a:gd name="connsiteX10716" fmla="*/ 6029944 w 8079933"/>
              <a:gd name="connsiteY10716" fmla="*/ 2498560 h 4687251"/>
              <a:gd name="connsiteX10717" fmla="*/ 6028208 w 8079933"/>
              <a:gd name="connsiteY10717" fmla="*/ 2499426 h 4687251"/>
              <a:gd name="connsiteX10718" fmla="*/ 6028099 w 8079933"/>
              <a:gd name="connsiteY10718" fmla="*/ 2496936 h 4687251"/>
              <a:gd name="connsiteX10719" fmla="*/ 6355822 w 8079933"/>
              <a:gd name="connsiteY10719" fmla="*/ 2490157 h 4687251"/>
              <a:gd name="connsiteX10720" fmla="*/ 6356144 w 8079933"/>
              <a:gd name="connsiteY10720" fmla="*/ 2495852 h 4687251"/>
              <a:gd name="connsiteX10721" fmla="*/ 6357513 w 8079933"/>
              <a:gd name="connsiteY10721" fmla="*/ 2501625 h 4687251"/>
              <a:gd name="connsiteX10722" fmla="*/ 6356146 w 8079933"/>
              <a:gd name="connsiteY10722" fmla="*/ 2495853 h 4687251"/>
              <a:gd name="connsiteX10723" fmla="*/ 6139979 w 8079933"/>
              <a:gd name="connsiteY10723" fmla="*/ 2489589 h 4687251"/>
              <a:gd name="connsiteX10724" fmla="*/ 6140632 w 8079933"/>
              <a:gd name="connsiteY10724" fmla="*/ 2490656 h 4687251"/>
              <a:gd name="connsiteX10725" fmla="*/ 6141225 w 8079933"/>
              <a:gd name="connsiteY10725" fmla="*/ 2491247 h 4687251"/>
              <a:gd name="connsiteX10726" fmla="*/ 6140632 w 8079933"/>
              <a:gd name="connsiteY10726" fmla="*/ 2490655 h 4687251"/>
              <a:gd name="connsiteX10727" fmla="*/ 6499929 w 8079933"/>
              <a:gd name="connsiteY10727" fmla="*/ 2489140 h 4687251"/>
              <a:gd name="connsiteX10728" fmla="*/ 6496306 w 8079933"/>
              <a:gd name="connsiteY10728" fmla="*/ 2490265 h 4687251"/>
              <a:gd name="connsiteX10729" fmla="*/ 6499930 w 8079933"/>
              <a:gd name="connsiteY10729" fmla="*/ 2489140 h 4687251"/>
              <a:gd name="connsiteX10730" fmla="*/ 6339976 w 8079933"/>
              <a:gd name="connsiteY10730" fmla="*/ 2488815 h 4687251"/>
              <a:gd name="connsiteX10731" fmla="*/ 6329124 w 8079933"/>
              <a:gd name="connsiteY10731" fmla="*/ 2493362 h 4687251"/>
              <a:gd name="connsiteX10732" fmla="*/ 6323807 w 8079933"/>
              <a:gd name="connsiteY10732" fmla="*/ 2493362 h 4687251"/>
              <a:gd name="connsiteX10733" fmla="*/ 6320551 w 8079933"/>
              <a:gd name="connsiteY10733" fmla="*/ 2496502 h 4687251"/>
              <a:gd name="connsiteX10734" fmla="*/ 6320552 w 8079933"/>
              <a:gd name="connsiteY10734" fmla="*/ 2496503 h 4687251"/>
              <a:gd name="connsiteX10735" fmla="*/ 6323808 w 8079933"/>
              <a:gd name="connsiteY10735" fmla="*/ 2493363 h 4687251"/>
              <a:gd name="connsiteX10736" fmla="*/ 6329124 w 8079933"/>
              <a:gd name="connsiteY10736" fmla="*/ 2493363 h 4687251"/>
              <a:gd name="connsiteX10737" fmla="*/ 6339976 w 8079933"/>
              <a:gd name="connsiteY10737" fmla="*/ 2488816 h 4687251"/>
              <a:gd name="connsiteX10738" fmla="*/ 6344642 w 8079933"/>
              <a:gd name="connsiteY10738" fmla="*/ 2490332 h 4687251"/>
              <a:gd name="connsiteX10739" fmla="*/ 6344642 w 8079933"/>
              <a:gd name="connsiteY10739" fmla="*/ 2490331 h 4687251"/>
              <a:gd name="connsiteX10740" fmla="*/ 2228280 w 8079933"/>
              <a:gd name="connsiteY10740" fmla="*/ 2480695 h 4687251"/>
              <a:gd name="connsiteX10741" fmla="*/ 2235443 w 8079933"/>
              <a:gd name="connsiteY10741" fmla="*/ 2484809 h 4687251"/>
              <a:gd name="connsiteX10742" fmla="*/ 2235117 w 8079933"/>
              <a:gd name="connsiteY10742" fmla="*/ 2486650 h 4687251"/>
              <a:gd name="connsiteX10743" fmla="*/ 2230668 w 8079933"/>
              <a:gd name="connsiteY10743" fmla="*/ 2484593 h 4687251"/>
              <a:gd name="connsiteX10744" fmla="*/ 2226218 w 8079933"/>
              <a:gd name="connsiteY10744" fmla="*/ 2484917 h 4687251"/>
              <a:gd name="connsiteX10745" fmla="*/ 2224157 w 8079933"/>
              <a:gd name="connsiteY10745" fmla="*/ 2482535 h 4687251"/>
              <a:gd name="connsiteX10746" fmla="*/ 6311545 w 8079933"/>
              <a:gd name="connsiteY10746" fmla="*/ 2478638 h 4687251"/>
              <a:gd name="connsiteX10747" fmla="*/ 6307963 w 8079933"/>
              <a:gd name="connsiteY10747" fmla="*/ 2481885 h 4687251"/>
              <a:gd name="connsiteX10748" fmla="*/ 6306662 w 8079933"/>
              <a:gd name="connsiteY10748" fmla="*/ 2480478 h 4687251"/>
              <a:gd name="connsiteX10749" fmla="*/ 6299174 w 8079933"/>
              <a:gd name="connsiteY10749" fmla="*/ 2479612 h 4687251"/>
              <a:gd name="connsiteX10750" fmla="*/ 6295749 w 8079933"/>
              <a:gd name="connsiteY10750" fmla="*/ 2481321 h 4687251"/>
              <a:gd name="connsiteX10751" fmla="*/ 6299174 w 8079933"/>
              <a:gd name="connsiteY10751" fmla="*/ 2479613 h 4687251"/>
              <a:gd name="connsiteX10752" fmla="*/ 6306661 w 8079933"/>
              <a:gd name="connsiteY10752" fmla="*/ 2480479 h 4687251"/>
              <a:gd name="connsiteX10753" fmla="*/ 6307964 w 8079933"/>
              <a:gd name="connsiteY10753" fmla="*/ 2481887 h 4687251"/>
              <a:gd name="connsiteX10754" fmla="*/ 6311545 w 8079933"/>
              <a:gd name="connsiteY10754" fmla="*/ 2478638 h 4687251"/>
              <a:gd name="connsiteX10755" fmla="*/ 6314800 w 8079933"/>
              <a:gd name="connsiteY10755" fmla="*/ 2482969 h 4687251"/>
              <a:gd name="connsiteX10756" fmla="*/ 6314800 w 8079933"/>
              <a:gd name="connsiteY10756" fmla="*/ 2482968 h 4687251"/>
              <a:gd name="connsiteX10757" fmla="*/ 6294616 w 8079933"/>
              <a:gd name="connsiteY10757" fmla="*/ 2478097 h 4687251"/>
              <a:gd name="connsiteX10758" fmla="*/ 6295484 w 8079933"/>
              <a:gd name="connsiteY10758" fmla="*/ 2481453 h 4687251"/>
              <a:gd name="connsiteX10759" fmla="*/ 6295485 w 8079933"/>
              <a:gd name="connsiteY10759" fmla="*/ 2481452 h 4687251"/>
              <a:gd name="connsiteX10760" fmla="*/ 6150072 w 8079933"/>
              <a:gd name="connsiteY10760" fmla="*/ 2476256 h 4687251"/>
              <a:gd name="connsiteX10761" fmla="*/ 6147359 w 8079933"/>
              <a:gd name="connsiteY10761" fmla="*/ 2484158 h 4687251"/>
              <a:gd name="connsiteX10762" fmla="*/ 6144755 w 8079933"/>
              <a:gd name="connsiteY10762" fmla="*/ 2485458 h 4687251"/>
              <a:gd name="connsiteX10763" fmla="*/ 6142476 w 8079933"/>
              <a:gd name="connsiteY10763" fmla="*/ 2484484 h 4687251"/>
              <a:gd name="connsiteX10764" fmla="*/ 6142279 w 8079933"/>
              <a:gd name="connsiteY10764" fmla="*/ 2485380 h 4687251"/>
              <a:gd name="connsiteX10765" fmla="*/ 6142476 w 8079933"/>
              <a:gd name="connsiteY10765" fmla="*/ 2484485 h 4687251"/>
              <a:gd name="connsiteX10766" fmla="*/ 6144755 w 8079933"/>
              <a:gd name="connsiteY10766" fmla="*/ 2485459 h 4687251"/>
              <a:gd name="connsiteX10767" fmla="*/ 6147359 w 8079933"/>
              <a:gd name="connsiteY10767" fmla="*/ 2484160 h 4687251"/>
              <a:gd name="connsiteX10768" fmla="*/ 6150072 w 8079933"/>
              <a:gd name="connsiteY10768" fmla="*/ 2476256 h 4687251"/>
              <a:gd name="connsiteX10769" fmla="*/ 6473596 w 8079933"/>
              <a:gd name="connsiteY10769" fmla="*/ 2475967 h 4687251"/>
              <a:gd name="connsiteX10770" fmla="*/ 6474537 w 8079933"/>
              <a:gd name="connsiteY10770" fmla="*/ 2479288 h 4687251"/>
              <a:gd name="connsiteX10771" fmla="*/ 6480976 w 8079933"/>
              <a:gd name="connsiteY10771" fmla="*/ 2481597 h 4687251"/>
              <a:gd name="connsiteX10772" fmla="*/ 6474537 w 8079933"/>
              <a:gd name="connsiteY10772" fmla="*/ 2479287 h 4687251"/>
              <a:gd name="connsiteX10773" fmla="*/ 5243744 w 8079933"/>
              <a:gd name="connsiteY10773" fmla="*/ 2473435 h 4687251"/>
              <a:gd name="connsiteX10774" fmla="*/ 5243741 w 8079933"/>
              <a:gd name="connsiteY10774" fmla="*/ 2473441 h 4687251"/>
              <a:gd name="connsiteX10775" fmla="*/ 5243742 w 8079933"/>
              <a:gd name="connsiteY10775" fmla="*/ 2473437 h 4687251"/>
              <a:gd name="connsiteX10776" fmla="*/ 5243740 w 8079933"/>
              <a:gd name="connsiteY10776" fmla="*/ 2473441 h 4687251"/>
              <a:gd name="connsiteX10777" fmla="*/ 5249275 w 8079933"/>
              <a:gd name="connsiteY10777" fmla="*/ 2492713 h 4687251"/>
              <a:gd name="connsiteX10778" fmla="*/ 5245911 w 8079933"/>
              <a:gd name="connsiteY10778" fmla="*/ 2544683 h 4687251"/>
              <a:gd name="connsiteX10779" fmla="*/ 5245912 w 8079933"/>
              <a:gd name="connsiteY10779" fmla="*/ 2544683 h 4687251"/>
              <a:gd name="connsiteX10780" fmla="*/ 5249276 w 8079933"/>
              <a:gd name="connsiteY10780" fmla="*/ 2492713 h 4687251"/>
              <a:gd name="connsiteX10781" fmla="*/ 5243742 w 8079933"/>
              <a:gd name="connsiteY10781" fmla="*/ 2473441 h 4687251"/>
              <a:gd name="connsiteX10782" fmla="*/ 6470413 w 8079933"/>
              <a:gd name="connsiteY10782" fmla="*/ 2473332 h 4687251"/>
              <a:gd name="connsiteX10783" fmla="*/ 6470413 w 8079933"/>
              <a:gd name="connsiteY10783" fmla="*/ 2473333 h 4687251"/>
              <a:gd name="connsiteX10784" fmla="*/ 6472222 w 8079933"/>
              <a:gd name="connsiteY10784" fmla="*/ 2473982 h 4687251"/>
              <a:gd name="connsiteX10785" fmla="*/ 6366020 w 8079933"/>
              <a:gd name="connsiteY10785" fmla="*/ 2471059 h 4687251"/>
              <a:gd name="connsiteX10786" fmla="*/ 6357013 w 8079933"/>
              <a:gd name="connsiteY10786" fmla="*/ 2471383 h 4687251"/>
              <a:gd name="connsiteX10787" fmla="*/ 6357013 w 8079933"/>
              <a:gd name="connsiteY10787" fmla="*/ 2474848 h 4687251"/>
              <a:gd name="connsiteX10788" fmla="*/ 6353758 w 8079933"/>
              <a:gd name="connsiteY10788" fmla="*/ 2477122 h 4687251"/>
              <a:gd name="connsiteX10789" fmla="*/ 6354083 w 8079933"/>
              <a:gd name="connsiteY10789" fmla="*/ 2485134 h 4687251"/>
              <a:gd name="connsiteX10790" fmla="*/ 6355653 w 8079933"/>
              <a:gd name="connsiteY10790" fmla="*/ 2489637 h 4687251"/>
              <a:gd name="connsiteX10791" fmla="*/ 6354084 w 8079933"/>
              <a:gd name="connsiteY10791" fmla="*/ 2485134 h 4687251"/>
              <a:gd name="connsiteX10792" fmla="*/ 6353759 w 8079933"/>
              <a:gd name="connsiteY10792" fmla="*/ 2477122 h 4687251"/>
              <a:gd name="connsiteX10793" fmla="*/ 6357014 w 8079933"/>
              <a:gd name="connsiteY10793" fmla="*/ 2474848 h 4687251"/>
              <a:gd name="connsiteX10794" fmla="*/ 6357014 w 8079933"/>
              <a:gd name="connsiteY10794" fmla="*/ 2471384 h 4687251"/>
              <a:gd name="connsiteX10795" fmla="*/ 6366020 w 8079933"/>
              <a:gd name="connsiteY10795" fmla="*/ 2471059 h 4687251"/>
              <a:gd name="connsiteX10796" fmla="*/ 6107534 w 8079933"/>
              <a:gd name="connsiteY10796" fmla="*/ 2470843 h 4687251"/>
              <a:gd name="connsiteX10797" fmla="*/ 6109054 w 8079933"/>
              <a:gd name="connsiteY10797" fmla="*/ 2472467 h 4687251"/>
              <a:gd name="connsiteX10798" fmla="*/ 6108510 w 8079933"/>
              <a:gd name="connsiteY10798" fmla="*/ 2475823 h 4687251"/>
              <a:gd name="connsiteX10799" fmla="*/ 6106232 w 8079933"/>
              <a:gd name="connsiteY10799" fmla="*/ 2476906 h 4687251"/>
              <a:gd name="connsiteX10800" fmla="*/ 6105581 w 8079933"/>
              <a:gd name="connsiteY10800" fmla="*/ 2471925 h 4687251"/>
              <a:gd name="connsiteX10801" fmla="*/ 2211026 w 8079933"/>
              <a:gd name="connsiteY10801" fmla="*/ 2470843 h 4687251"/>
              <a:gd name="connsiteX10802" fmla="*/ 2211894 w 8079933"/>
              <a:gd name="connsiteY10802" fmla="*/ 2473117 h 4687251"/>
              <a:gd name="connsiteX10803" fmla="*/ 2211568 w 8079933"/>
              <a:gd name="connsiteY10803" fmla="*/ 2478639 h 4687251"/>
              <a:gd name="connsiteX10804" fmla="*/ 2201151 w 8079933"/>
              <a:gd name="connsiteY10804" fmla="*/ 2484594 h 4687251"/>
              <a:gd name="connsiteX10805" fmla="*/ 2198764 w 8079933"/>
              <a:gd name="connsiteY10805" fmla="*/ 2484485 h 4687251"/>
              <a:gd name="connsiteX10806" fmla="*/ 2199306 w 8079933"/>
              <a:gd name="connsiteY10806" fmla="*/ 2481886 h 4687251"/>
              <a:gd name="connsiteX10807" fmla="*/ 2201911 w 8079933"/>
              <a:gd name="connsiteY10807" fmla="*/ 2481453 h 4687251"/>
              <a:gd name="connsiteX10808" fmla="*/ 2206685 w 8079933"/>
              <a:gd name="connsiteY10808" fmla="*/ 2476148 h 4687251"/>
              <a:gd name="connsiteX10809" fmla="*/ 2206360 w 8079933"/>
              <a:gd name="connsiteY10809" fmla="*/ 2472251 h 4687251"/>
              <a:gd name="connsiteX10810" fmla="*/ 6051866 w 8079933"/>
              <a:gd name="connsiteY10810" fmla="*/ 2470678 h 4687251"/>
              <a:gd name="connsiteX10811" fmla="*/ 6051973 w 8079933"/>
              <a:gd name="connsiteY10811" fmla="*/ 2477121 h 4687251"/>
              <a:gd name="connsiteX10812" fmla="*/ 6053311 w 8079933"/>
              <a:gd name="connsiteY10812" fmla="*/ 2480413 h 4687251"/>
              <a:gd name="connsiteX10813" fmla="*/ 6051974 w 8079933"/>
              <a:gd name="connsiteY10813" fmla="*/ 2477122 h 4687251"/>
              <a:gd name="connsiteX10814" fmla="*/ 6096573 w 8079933"/>
              <a:gd name="connsiteY10814" fmla="*/ 2469002 h 4687251"/>
              <a:gd name="connsiteX10815" fmla="*/ 6103084 w 8079933"/>
              <a:gd name="connsiteY10815" fmla="*/ 2473333 h 4687251"/>
              <a:gd name="connsiteX10816" fmla="*/ 6104278 w 8079933"/>
              <a:gd name="connsiteY10816" fmla="*/ 2477122 h 4687251"/>
              <a:gd name="connsiteX10817" fmla="*/ 6101022 w 8079933"/>
              <a:gd name="connsiteY10817" fmla="*/ 2483294 h 4687251"/>
              <a:gd name="connsiteX10818" fmla="*/ 6098960 w 8079933"/>
              <a:gd name="connsiteY10818" fmla="*/ 2480154 h 4687251"/>
              <a:gd name="connsiteX10819" fmla="*/ 6098960 w 8079933"/>
              <a:gd name="connsiteY10819" fmla="*/ 2476256 h 4687251"/>
              <a:gd name="connsiteX10820" fmla="*/ 6096573 w 8079933"/>
              <a:gd name="connsiteY10820" fmla="*/ 2471276 h 4687251"/>
              <a:gd name="connsiteX10821" fmla="*/ 6096573 w 8079933"/>
              <a:gd name="connsiteY10821" fmla="*/ 2469002 h 4687251"/>
              <a:gd name="connsiteX10822" fmla="*/ 6091797 w 8079933"/>
              <a:gd name="connsiteY10822" fmla="*/ 2467810 h 4687251"/>
              <a:gd name="connsiteX10823" fmla="*/ 6094728 w 8079933"/>
              <a:gd name="connsiteY10823" fmla="*/ 2471924 h 4687251"/>
              <a:gd name="connsiteX10824" fmla="*/ 6095270 w 8079933"/>
              <a:gd name="connsiteY10824" fmla="*/ 2478963 h 4687251"/>
              <a:gd name="connsiteX10825" fmla="*/ 6090930 w 8079933"/>
              <a:gd name="connsiteY10825" fmla="*/ 2478746 h 4687251"/>
              <a:gd name="connsiteX10826" fmla="*/ 6087674 w 8079933"/>
              <a:gd name="connsiteY10826" fmla="*/ 2471708 h 4687251"/>
              <a:gd name="connsiteX10827" fmla="*/ 6087457 w 8079933"/>
              <a:gd name="connsiteY10827" fmla="*/ 2469651 h 4687251"/>
              <a:gd name="connsiteX10828" fmla="*/ 6381538 w 8079933"/>
              <a:gd name="connsiteY10828" fmla="*/ 2467053 h 4687251"/>
              <a:gd name="connsiteX10829" fmla="*/ 6381538 w 8079933"/>
              <a:gd name="connsiteY10829" fmla="*/ 2467053 h 4687251"/>
              <a:gd name="connsiteX10830" fmla="*/ 6383600 w 8079933"/>
              <a:gd name="connsiteY10830" fmla="*/ 2468785 h 4687251"/>
              <a:gd name="connsiteX10831" fmla="*/ 6385282 w 8079933"/>
              <a:gd name="connsiteY10831" fmla="*/ 2468731 h 4687251"/>
              <a:gd name="connsiteX10832" fmla="*/ 6383600 w 8079933"/>
              <a:gd name="connsiteY10832" fmla="*/ 2468785 h 4687251"/>
              <a:gd name="connsiteX10833" fmla="*/ 2197244 w 8079933"/>
              <a:gd name="connsiteY10833" fmla="*/ 2466944 h 4687251"/>
              <a:gd name="connsiteX10834" fmla="*/ 2202887 w 8079933"/>
              <a:gd name="connsiteY10834" fmla="*/ 2469975 h 4687251"/>
              <a:gd name="connsiteX10835" fmla="*/ 2203430 w 8079933"/>
              <a:gd name="connsiteY10835" fmla="*/ 2473981 h 4687251"/>
              <a:gd name="connsiteX10836" fmla="*/ 2199849 w 8079933"/>
              <a:gd name="connsiteY10836" fmla="*/ 2473223 h 4687251"/>
              <a:gd name="connsiteX10837" fmla="*/ 2196919 w 8079933"/>
              <a:gd name="connsiteY10837" fmla="*/ 2469867 h 4687251"/>
              <a:gd name="connsiteX10838" fmla="*/ 6149747 w 8079933"/>
              <a:gd name="connsiteY10838" fmla="*/ 2465537 h 4687251"/>
              <a:gd name="connsiteX10839" fmla="*/ 6149563 w 8079933"/>
              <a:gd name="connsiteY10839" fmla="*/ 2466772 h 4687251"/>
              <a:gd name="connsiteX10840" fmla="*/ 6149747 w 8079933"/>
              <a:gd name="connsiteY10840" fmla="*/ 2465538 h 4687251"/>
              <a:gd name="connsiteX10841" fmla="*/ 6378716 w 8079933"/>
              <a:gd name="connsiteY10841" fmla="*/ 2463046 h 4687251"/>
              <a:gd name="connsiteX10842" fmla="*/ 6373617 w 8079933"/>
              <a:gd name="connsiteY10842" fmla="*/ 2464995 h 4687251"/>
              <a:gd name="connsiteX10843" fmla="*/ 6371011 w 8079933"/>
              <a:gd name="connsiteY10843" fmla="*/ 2467269 h 4687251"/>
              <a:gd name="connsiteX10844" fmla="*/ 6370030 w 8079933"/>
              <a:gd name="connsiteY10844" fmla="*/ 2469228 h 4687251"/>
              <a:gd name="connsiteX10845" fmla="*/ 6371012 w 8079933"/>
              <a:gd name="connsiteY10845" fmla="*/ 2467269 h 4687251"/>
              <a:gd name="connsiteX10846" fmla="*/ 6373617 w 8079933"/>
              <a:gd name="connsiteY10846" fmla="*/ 2464996 h 4687251"/>
              <a:gd name="connsiteX10847" fmla="*/ 6378717 w 8079933"/>
              <a:gd name="connsiteY10847" fmla="*/ 2463047 h 4687251"/>
              <a:gd name="connsiteX10848" fmla="*/ 6381863 w 8079933"/>
              <a:gd name="connsiteY10848" fmla="*/ 2463372 h 4687251"/>
              <a:gd name="connsiteX10849" fmla="*/ 6381863 w 8079933"/>
              <a:gd name="connsiteY10849" fmla="*/ 2463371 h 4687251"/>
              <a:gd name="connsiteX10850" fmla="*/ 6398684 w 8079933"/>
              <a:gd name="connsiteY10850" fmla="*/ 2462830 h 4687251"/>
              <a:gd name="connsiteX10851" fmla="*/ 6397436 w 8079933"/>
              <a:gd name="connsiteY10851" fmla="*/ 2464508 h 4687251"/>
              <a:gd name="connsiteX10852" fmla="*/ 6398684 w 8079933"/>
              <a:gd name="connsiteY10852" fmla="*/ 2462830 h 4687251"/>
              <a:gd name="connsiteX10853" fmla="*/ 6401396 w 8079933"/>
              <a:gd name="connsiteY10853" fmla="*/ 2463047 h 4687251"/>
              <a:gd name="connsiteX10854" fmla="*/ 6401396 w 8079933"/>
              <a:gd name="connsiteY10854" fmla="*/ 2463046 h 4687251"/>
              <a:gd name="connsiteX10855" fmla="*/ 6476589 w 8079933"/>
              <a:gd name="connsiteY10855" fmla="*/ 2462328 h 4687251"/>
              <a:gd name="connsiteX10856" fmla="*/ 6476273 w 8079933"/>
              <a:gd name="connsiteY10856" fmla="*/ 2464021 h 4687251"/>
              <a:gd name="connsiteX10857" fmla="*/ 6475226 w 8079933"/>
              <a:gd name="connsiteY10857" fmla="*/ 2464184 h 4687251"/>
              <a:gd name="connsiteX10858" fmla="*/ 6476273 w 8079933"/>
              <a:gd name="connsiteY10858" fmla="*/ 2464021 h 4687251"/>
              <a:gd name="connsiteX10859" fmla="*/ 4314404 w 8079933"/>
              <a:gd name="connsiteY10859" fmla="*/ 2460231 h 4687251"/>
              <a:gd name="connsiteX10860" fmla="*/ 4287275 w 8079933"/>
              <a:gd name="connsiteY10860" fmla="*/ 2471492 h 4687251"/>
              <a:gd name="connsiteX10861" fmla="*/ 4266006 w 8079933"/>
              <a:gd name="connsiteY10861" fmla="*/ 2480261 h 4687251"/>
              <a:gd name="connsiteX10862" fmla="*/ 4262099 w 8079933"/>
              <a:gd name="connsiteY10862" fmla="*/ 2476147 h 4687251"/>
              <a:gd name="connsiteX10863" fmla="*/ 4220104 w 8079933"/>
              <a:gd name="connsiteY10863" fmla="*/ 2465754 h 4687251"/>
              <a:gd name="connsiteX10864" fmla="*/ 4220104 w 8079933"/>
              <a:gd name="connsiteY10864" fmla="*/ 2465754 h 4687251"/>
              <a:gd name="connsiteX10865" fmla="*/ 4262099 w 8079933"/>
              <a:gd name="connsiteY10865" fmla="*/ 2476148 h 4687251"/>
              <a:gd name="connsiteX10866" fmla="*/ 4266006 w 8079933"/>
              <a:gd name="connsiteY10866" fmla="*/ 2480262 h 4687251"/>
              <a:gd name="connsiteX10867" fmla="*/ 4287275 w 8079933"/>
              <a:gd name="connsiteY10867" fmla="*/ 2471493 h 4687251"/>
              <a:gd name="connsiteX10868" fmla="*/ 4287275 w 8079933"/>
              <a:gd name="connsiteY10868" fmla="*/ 2471492 h 4687251"/>
              <a:gd name="connsiteX10869" fmla="*/ 4314404 w 8079933"/>
              <a:gd name="connsiteY10869" fmla="*/ 2460232 h 4687251"/>
              <a:gd name="connsiteX10870" fmla="*/ 4507130 w 8079933"/>
              <a:gd name="connsiteY10870" fmla="*/ 2558000 h 4687251"/>
              <a:gd name="connsiteX10871" fmla="*/ 4507130 w 8079933"/>
              <a:gd name="connsiteY10871" fmla="*/ 2558000 h 4687251"/>
              <a:gd name="connsiteX10872" fmla="*/ 3654190 w 8079933"/>
              <a:gd name="connsiteY10872" fmla="*/ 2459798 h 4687251"/>
              <a:gd name="connsiteX10873" fmla="*/ 3648329 w 8079933"/>
              <a:gd name="connsiteY10873" fmla="*/ 2460664 h 4687251"/>
              <a:gd name="connsiteX10874" fmla="*/ 3643121 w 8079933"/>
              <a:gd name="connsiteY10874" fmla="*/ 2464346 h 4687251"/>
              <a:gd name="connsiteX10875" fmla="*/ 3643121 w 8079933"/>
              <a:gd name="connsiteY10875" fmla="*/ 2464346 h 4687251"/>
              <a:gd name="connsiteX10876" fmla="*/ 3648330 w 8079933"/>
              <a:gd name="connsiteY10876" fmla="*/ 2460665 h 4687251"/>
              <a:gd name="connsiteX10877" fmla="*/ 3654189 w 8079933"/>
              <a:gd name="connsiteY10877" fmla="*/ 2459799 h 4687251"/>
              <a:gd name="connsiteX10878" fmla="*/ 3662545 w 8079933"/>
              <a:gd name="connsiteY10878" fmla="*/ 2459799 h 4687251"/>
              <a:gd name="connsiteX10879" fmla="*/ 3662545 w 8079933"/>
              <a:gd name="connsiteY10879" fmla="*/ 2459798 h 4687251"/>
              <a:gd name="connsiteX10880" fmla="*/ 6148879 w 8079933"/>
              <a:gd name="connsiteY10880" fmla="*/ 2459256 h 4687251"/>
              <a:gd name="connsiteX10881" fmla="*/ 6148879 w 8079933"/>
              <a:gd name="connsiteY10881" fmla="*/ 2459257 h 4687251"/>
              <a:gd name="connsiteX10882" fmla="*/ 6153870 w 8079933"/>
              <a:gd name="connsiteY10882" fmla="*/ 2459907 h 4687251"/>
              <a:gd name="connsiteX10883" fmla="*/ 6153870 w 8079933"/>
              <a:gd name="connsiteY10883" fmla="*/ 2459906 h 4687251"/>
              <a:gd name="connsiteX10884" fmla="*/ 2017215 w 8079933"/>
              <a:gd name="connsiteY10884" fmla="*/ 2459149 h 4687251"/>
              <a:gd name="connsiteX10885" fmla="*/ 2028175 w 8079933"/>
              <a:gd name="connsiteY10885" fmla="*/ 2461098 h 4687251"/>
              <a:gd name="connsiteX10886" fmla="*/ 2032515 w 8079933"/>
              <a:gd name="connsiteY10886" fmla="*/ 2466186 h 4687251"/>
              <a:gd name="connsiteX10887" fmla="*/ 2039895 w 8079933"/>
              <a:gd name="connsiteY10887" fmla="*/ 2467702 h 4687251"/>
              <a:gd name="connsiteX10888" fmla="*/ 2045754 w 8079933"/>
              <a:gd name="connsiteY10888" fmla="*/ 2465537 h 4687251"/>
              <a:gd name="connsiteX10889" fmla="*/ 2063551 w 8079933"/>
              <a:gd name="connsiteY10889" fmla="*/ 2468135 h 4687251"/>
              <a:gd name="connsiteX10890" fmla="*/ 2065830 w 8079933"/>
              <a:gd name="connsiteY10890" fmla="*/ 2470842 h 4687251"/>
              <a:gd name="connsiteX10891" fmla="*/ 2070062 w 8079933"/>
              <a:gd name="connsiteY10891" fmla="*/ 2469867 h 4687251"/>
              <a:gd name="connsiteX10892" fmla="*/ 2075597 w 8079933"/>
              <a:gd name="connsiteY10892" fmla="*/ 2475822 h 4687251"/>
              <a:gd name="connsiteX10893" fmla="*/ 2077333 w 8079933"/>
              <a:gd name="connsiteY10893" fmla="*/ 2481020 h 4687251"/>
              <a:gd name="connsiteX10894" fmla="*/ 2082216 w 8079933"/>
              <a:gd name="connsiteY10894" fmla="*/ 2483185 h 4687251"/>
              <a:gd name="connsiteX10895" fmla="*/ 2095455 w 8079933"/>
              <a:gd name="connsiteY10895" fmla="*/ 2483943 h 4687251"/>
              <a:gd name="connsiteX10896" fmla="*/ 2101423 w 8079933"/>
              <a:gd name="connsiteY10896" fmla="*/ 2488598 h 4687251"/>
              <a:gd name="connsiteX10897" fmla="*/ 2106958 w 8079933"/>
              <a:gd name="connsiteY10897" fmla="*/ 2491630 h 4687251"/>
              <a:gd name="connsiteX10898" fmla="*/ 2113035 w 8079933"/>
              <a:gd name="connsiteY10898" fmla="*/ 2497368 h 4687251"/>
              <a:gd name="connsiteX10899" fmla="*/ 2122150 w 8079933"/>
              <a:gd name="connsiteY10899" fmla="*/ 2499426 h 4687251"/>
              <a:gd name="connsiteX10900" fmla="*/ 2125080 w 8079933"/>
              <a:gd name="connsiteY10900" fmla="*/ 2502457 h 4687251"/>
              <a:gd name="connsiteX10901" fmla="*/ 2126599 w 8079933"/>
              <a:gd name="connsiteY10901" fmla="*/ 2499534 h 4687251"/>
              <a:gd name="connsiteX10902" fmla="*/ 2129204 w 8079933"/>
              <a:gd name="connsiteY10902" fmla="*/ 2500724 h 4687251"/>
              <a:gd name="connsiteX10903" fmla="*/ 2128119 w 8079933"/>
              <a:gd name="connsiteY10903" fmla="*/ 2503648 h 4687251"/>
              <a:gd name="connsiteX10904" fmla="*/ 2130072 w 8079933"/>
              <a:gd name="connsiteY10904" fmla="*/ 2505922 h 4687251"/>
              <a:gd name="connsiteX10905" fmla="*/ 2133870 w 8079933"/>
              <a:gd name="connsiteY10905" fmla="*/ 2501916 h 4687251"/>
              <a:gd name="connsiteX10906" fmla="*/ 2140164 w 8079933"/>
              <a:gd name="connsiteY10906" fmla="*/ 2506788 h 4687251"/>
              <a:gd name="connsiteX10907" fmla="*/ 2143962 w 8079933"/>
              <a:gd name="connsiteY10907" fmla="*/ 2510252 h 4687251"/>
              <a:gd name="connsiteX10908" fmla="*/ 2146458 w 8079933"/>
              <a:gd name="connsiteY10908" fmla="*/ 2507979 h 4687251"/>
              <a:gd name="connsiteX10909" fmla="*/ 2155030 w 8079933"/>
              <a:gd name="connsiteY10909" fmla="*/ 2514367 h 4687251"/>
              <a:gd name="connsiteX10910" fmla="*/ 2159480 w 8079933"/>
              <a:gd name="connsiteY10910" fmla="*/ 2514691 h 4687251"/>
              <a:gd name="connsiteX10911" fmla="*/ 2163495 w 8079933"/>
              <a:gd name="connsiteY10911" fmla="*/ 2513175 h 4687251"/>
              <a:gd name="connsiteX10912" fmla="*/ 2166425 w 8079933"/>
              <a:gd name="connsiteY10912" fmla="*/ 2514150 h 4687251"/>
              <a:gd name="connsiteX10913" fmla="*/ 2164689 w 8079933"/>
              <a:gd name="connsiteY10913" fmla="*/ 2519997 h 4687251"/>
              <a:gd name="connsiteX10914" fmla="*/ 2162084 w 8079933"/>
              <a:gd name="connsiteY10914" fmla="*/ 2522379 h 4687251"/>
              <a:gd name="connsiteX10915" fmla="*/ 2165339 w 8079933"/>
              <a:gd name="connsiteY10915" fmla="*/ 2523678 h 4687251"/>
              <a:gd name="connsiteX10916" fmla="*/ 2177819 w 8079933"/>
              <a:gd name="connsiteY10916" fmla="*/ 2523678 h 4687251"/>
              <a:gd name="connsiteX10917" fmla="*/ 2188345 w 8079933"/>
              <a:gd name="connsiteY10917" fmla="*/ 2527901 h 4687251"/>
              <a:gd name="connsiteX10918" fmla="*/ 2191167 w 8079933"/>
              <a:gd name="connsiteY10918" fmla="*/ 2534505 h 4687251"/>
              <a:gd name="connsiteX10919" fmla="*/ 2195507 w 8079933"/>
              <a:gd name="connsiteY10919" fmla="*/ 2534938 h 4687251"/>
              <a:gd name="connsiteX10920" fmla="*/ 2197569 w 8079933"/>
              <a:gd name="connsiteY10920" fmla="*/ 2537211 h 4687251"/>
              <a:gd name="connsiteX10921" fmla="*/ 2194965 w 8079933"/>
              <a:gd name="connsiteY10921" fmla="*/ 2541976 h 4687251"/>
              <a:gd name="connsiteX10922" fmla="*/ 2188996 w 8079933"/>
              <a:gd name="connsiteY10922" fmla="*/ 2543599 h 4687251"/>
              <a:gd name="connsiteX10923" fmla="*/ 2180858 w 8079933"/>
              <a:gd name="connsiteY10923" fmla="*/ 2542517 h 4687251"/>
              <a:gd name="connsiteX10924" fmla="*/ 2177385 w 8079933"/>
              <a:gd name="connsiteY10924" fmla="*/ 2545332 h 4687251"/>
              <a:gd name="connsiteX10925" fmla="*/ 2174455 w 8079933"/>
              <a:gd name="connsiteY10925" fmla="*/ 2544791 h 4687251"/>
              <a:gd name="connsiteX10926" fmla="*/ 2172827 w 8079933"/>
              <a:gd name="connsiteY10926" fmla="*/ 2547389 h 4687251"/>
              <a:gd name="connsiteX10927" fmla="*/ 2160565 w 8079933"/>
              <a:gd name="connsiteY10927" fmla="*/ 2550313 h 4687251"/>
              <a:gd name="connsiteX10928" fmla="*/ 2152318 w 8079933"/>
              <a:gd name="connsiteY10928" fmla="*/ 2546631 h 4687251"/>
              <a:gd name="connsiteX10929" fmla="*/ 2145807 w 8079933"/>
              <a:gd name="connsiteY10929" fmla="*/ 2545765 h 4687251"/>
              <a:gd name="connsiteX10930" fmla="*/ 2134195 w 8079933"/>
              <a:gd name="connsiteY10930" fmla="*/ 2548472 h 4687251"/>
              <a:gd name="connsiteX10931" fmla="*/ 2129964 w 8079933"/>
              <a:gd name="connsiteY10931" fmla="*/ 2546739 h 4687251"/>
              <a:gd name="connsiteX10932" fmla="*/ 2124429 w 8079933"/>
              <a:gd name="connsiteY10932" fmla="*/ 2549663 h 4687251"/>
              <a:gd name="connsiteX10933" fmla="*/ 2116073 w 8079933"/>
              <a:gd name="connsiteY10933" fmla="*/ 2548255 h 4687251"/>
              <a:gd name="connsiteX10934" fmla="*/ 2116290 w 8079933"/>
              <a:gd name="connsiteY10934" fmla="*/ 2543925 h 4687251"/>
              <a:gd name="connsiteX10935" fmla="*/ 2124212 w 8079933"/>
              <a:gd name="connsiteY10935" fmla="*/ 2536779 h 4687251"/>
              <a:gd name="connsiteX10936" fmla="*/ 2130289 w 8079933"/>
              <a:gd name="connsiteY10936" fmla="*/ 2535263 h 4687251"/>
              <a:gd name="connsiteX10937" fmla="*/ 2130940 w 8079933"/>
              <a:gd name="connsiteY10937" fmla="*/ 2530607 h 4687251"/>
              <a:gd name="connsiteX10938" fmla="*/ 2127034 w 8079933"/>
              <a:gd name="connsiteY10938" fmla="*/ 2529308 h 4687251"/>
              <a:gd name="connsiteX10939" fmla="*/ 2125839 w 8079933"/>
              <a:gd name="connsiteY10939" fmla="*/ 2526818 h 4687251"/>
              <a:gd name="connsiteX10940" fmla="*/ 2117267 w 8079933"/>
              <a:gd name="connsiteY10940" fmla="*/ 2526818 h 4687251"/>
              <a:gd name="connsiteX10941" fmla="*/ 2111950 w 8079933"/>
              <a:gd name="connsiteY10941" fmla="*/ 2523570 h 4687251"/>
              <a:gd name="connsiteX10942" fmla="*/ 2110214 w 8079933"/>
              <a:gd name="connsiteY10942" fmla="*/ 2525085 h 4687251"/>
              <a:gd name="connsiteX10943" fmla="*/ 2106307 w 8079933"/>
              <a:gd name="connsiteY10943" fmla="*/ 2525085 h 4687251"/>
              <a:gd name="connsiteX10944" fmla="*/ 2098385 w 8079933"/>
              <a:gd name="connsiteY10944" fmla="*/ 2515666 h 4687251"/>
              <a:gd name="connsiteX10945" fmla="*/ 2094478 w 8079933"/>
              <a:gd name="connsiteY10945" fmla="*/ 2501483 h 4687251"/>
              <a:gd name="connsiteX10946" fmla="*/ 2091657 w 8079933"/>
              <a:gd name="connsiteY10946" fmla="*/ 2500400 h 4687251"/>
              <a:gd name="connsiteX10947" fmla="*/ 2084929 w 8079933"/>
              <a:gd name="connsiteY10947" fmla="*/ 2502673 h 4687251"/>
              <a:gd name="connsiteX10948" fmla="*/ 2081456 w 8079933"/>
              <a:gd name="connsiteY10948" fmla="*/ 2501050 h 4687251"/>
              <a:gd name="connsiteX10949" fmla="*/ 2076898 w 8079933"/>
              <a:gd name="connsiteY10949" fmla="*/ 2501699 h 4687251"/>
              <a:gd name="connsiteX10950" fmla="*/ 2072884 w 8079933"/>
              <a:gd name="connsiteY10950" fmla="*/ 2498234 h 4687251"/>
              <a:gd name="connsiteX10951" fmla="*/ 2070279 w 8079933"/>
              <a:gd name="connsiteY10951" fmla="*/ 2499750 h 4687251"/>
              <a:gd name="connsiteX10952" fmla="*/ 2064094 w 8079933"/>
              <a:gd name="connsiteY10952" fmla="*/ 2498667 h 4687251"/>
              <a:gd name="connsiteX10953" fmla="*/ 2056389 w 8079933"/>
              <a:gd name="connsiteY10953" fmla="*/ 2493146 h 4687251"/>
              <a:gd name="connsiteX10954" fmla="*/ 2056063 w 8079933"/>
              <a:gd name="connsiteY10954" fmla="*/ 2490547 h 4687251"/>
              <a:gd name="connsiteX10955" fmla="*/ 2052917 w 8079933"/>
              <a:gd name="connsiteY10955" fmla="*/ 2488165 h 4687251"/>
              <a:gd name="connsiteX10956" fmla="*/ 2051180 w 8079933"/>
              <a:gd name="connsiteY10956" fmla="*/ 2490764 h 4687251"/>
              <a:gd name="connsiteX10957" fmla="*/ 2047925 w 8079933"/>
              <a:gd name="connsiteY10957" fmla="*/ 2490981 h 4687251"/>
              <a:gd name="connsiteX10958" fmla="*/ 2041197 w 8079933"/>
              <a:gd name="connsiteY10958" fmla="*/ 2490114 h 4687251"/>
              <a:gd name="connsiteX10959" fmla="*/ 2037398 w 8079933"/>
              <a:gd name="connsiteY10959" fmla="*/ 2486866 h 4687251"/>
              <a:gd name="connsiteX10960" fmla="*/ 2033058 w 8079933"/>
              <a:gd name="connsiteY10960" fmla="*/ 2486866 h 4687251"/>
              <a:gd name="connsiteX10961" fmla="*/ 2030128 w 8079933"/>
              <a:gd name="connsiteY10961" fmla="*/ 2487840 h 4687251"/>
              <a:gd name="connsiteX10962" fmla="*/ 2016021 w 8079933"/>
              <a:gd name="connsiteY10962" fmla="*/ 2485675 h 4687251"/>
              <a:gd name="connsiteX10963" fmla="*/ 2012332 w 8079933"/>
              <a:gd name="connsiteY10963" fmla="*/ 2482751 h 4687251"/>
              <a:gd name="connsiteX10964" fmla="*/ 2016021 w 8079933"/>
              <a:gd name="connsiteY10964" fmla="*/ 2480153 h 4687251"/>
              <a:gd name="connsiteX10965" fmla="*/ 2021338 w 8079933"/>
              <a:gd name="connsiteY10965" fmla="*/ 2480694 h 4687251"/>
              <a:gd name="connsiteX10966" fmla="*/ 2024051 w 8079933"/>
              <a:gd name="connsiteY10966" fmla="*/ 2478421 h 4687251"/>
              <a:gd name="connsiteX10967" fmla="*/ 2021338 w 8079933"/>
              <a:gd name="connsiteY10967" fmla="*/ 2475822 h 4687251"/>
              <a:gd name="connsiteX10968" fmla="*/ 2010812 w 8079933"/>
              <a:gd name="connsiteY10968" fmla="*/ 2474631 h 4687251"/>
              <a:gd name="connsiteX10969" fmla="*/ 2006146 w 8079933"/>
              <a:gd name="connsiteY10969" fmla="*/ 2474848 h 4687251"/>
              <a:gd name="connsiteX10970" fmla="*/ 1999635 w 8079933"/>
              <a:gd name="connsiteY10970" fmla="*/ 2473765 h 4687251"/>
              <a:gd name="connsiteX10971" fmla="*/ 1996705 w 8079933"/>
              <a:gd name="connsiteY10971" fmla="*/ 2477014 h 4687251"/>
              <a:gd name="connsiteX10972" fmla="*/ 1992582 w 8079933"/>
              <a:gd name="connsiteY10972" fmla="*/ 2477879 h 4687251"/>
              <a:gd name="connsiteX10973" fmla="*/ 1985528 w 8079933"/>
              <a:gd name="connsiteY10973" fmla="*/ 2486433 h 4687251"/>
              <a:gd name="connsiteX10974" fmla="*/ 1980645 w 8079933"/>
              <a:gd name="connsiteY10974" fmla="*/ 2487407 h 4687251"/>
              <a:gd name="connsiteX10975" fmla="*/ 1977606 w 8079933"/>
              <a:gd name="connsiteY10975" fmla="*/ 2484917 h 4687251"/>
              <a:gd name="connsiteX10976" fmla="*/ 1975110 w 8079933"/>
              <a:gd name="connsiteY10976" fmla="*/ 2486975 h 4687251"/>
              <a:gd name="connsiteX10977" fmla="*/ 1968925 w 8079933"/>
              <a:gd name="connsiteY10977" fmla="*/ 2485783 h 4687251"/>
              <a:gd name="connsiteX10978" fmla="*/ 1964150 w 8079933"/>
              <a:gd name="connsiteY10978" fmla="*/ 2493146 h 4687251"/>
              <a:gd name="connsiteX10979" fmla="*/ 1960026 w 8079933"/>
              <a:gd name="connsiteY10979" fmla="*/ 2493579 h 4687251"/>
              <a:gd name="connsiteX10980" fmla="*/ 1954167 w 8079933"/>
              <a:gd name="connsiteY10980" fmla="*/ 2496935 h 4687251"/>
              <a:gd name="connsiteX10981" fmla="*/ 1953949 w 8079933"/>
              <a:gd name="connsiteY10981" fmla="*/ 2493146 h 4687251"/>
              <a:gd name="connsiteX10982" fmla="*/ 1952214 w 8079933"/>
              <a:gd name="connsiteY10982" fmla="*/ 2492171 h 4687251"/>
              <a:gd name="connsiteX10983" fmla="*/ 1947439 w 8079933"/>
              <a:gd name="connsiteY10983" fmla="*/ 2497693 h 4687251"/>
              <a:gd name="connsiteX10984" fmla="*/ 1942881 w 8079933"/>
              <a:gd name="connsiteY10984" fmla="*/ 2495420 h 4687251"/>
              <a:gd name="connsiteX10985" fmla="*/ 1943098 w 8079933"/>
              <a:gd name="connsiteY10985" fmla="*/ 2492279 h 4687251"/>
              <a:gd name="connsiteX10986" fmla="*/ 1946571 w 8079933"/>
              <a:gd name="connsiteY10986" fmla="*/ 2493362 h 4687251"/>
              <a:gd name="connsiteX10987" fmla="*/ 1955035 w 8079933"/>
              <a:gd name="connsiteY10987" fmla="*/ 2488382 h 4687251"/>
              <a:gd name="connsiteX10988" fmla="*/ 1958942 w 8079933"/>
              <a:gd name="connsiteY10988" fmla="*/ 2490655 h 4687251"/>
              <a:gd name="connsiteX10989" fmla="*/ 1960135 w 8079933"/>
              <a:gd name="connsiteY10989" fmla="*/ 2488382 h 4687251"/>
              <a:gd name="connsiteX10990" fmla="*/ 1957422 w 8079933"/>
              <a:gd name="connsiteY10990" fmla="*/ 2484809 h 4687251"/>
              <a:gd name="connsiteX10991" fmla="*/ 1958073 w 8079933"/>
              <a:gd name="connsiteY10991" fmla="*/ 2479287 h 4687251"/>
              <a:gd name="connsiteX10992" fmla="*/ 1962414 w 8079933"/>
              <a:gd name="connsiteY10992" fmla="*/ 2476905 h 4687251"/>
              <a:gd name="connsiteX10993" fmla="*/ 1965886 w 8079933"/>
              <a:gd name="connsiteY10993" fmla="*/ 2472683 h 4687251"/>
              <a:gd name="connsiteX10994" fmla="*/ 1975978 w 8079933"/>
              <a:gd name="connsiteY10994" fmla="*/ 2469867 h 4687251"/>
              <a:gd name="connsiteX10995" fmla="*/ 1979668 w 8079933"/>
              <a:gd name="connsiteY10995" fmla="*/ 2466512 h 4687251"/>
              <a:gd name="connsiteX10996" fmla="*/ 1989651 w 8079933"/>
              <a:gd name="connsiteY10996" fmla="*/ 2464129 h 4687251"/>
              <a:gd name="connsiteX10997" fmla="*/ 2002673 w 8079933"/>
              <a:gd name="connsiteY10997" fmla="*/ 2463480 h 4687251"/>
              <a:gd name="connsiteX10998" fmla="*/ 2007557 w 8079933"/>
              <a:gd name="connsiteY10998" fmla="*/ 2459474 h 4687251"/>
              <a:gd name="connsiteX10999" fmla="*/ 6469816 w 8079933"/>
              <a:gd name="connsiteY10999" fmla="*/ 2457417 h 4687251"/>
              <a:gd name="connsiteX11000" fmla="*/ 6466615 w 8079933"/>
              <a:gd name="connsiteY11000" fmla="*/ 2458716 h 4687251"/>
              <a:gd name="connsiteX11001" fmla="*/ 6466311 w 8079933"/>
              <a:gd name="connsiteY11001" fmla="*/ 2458346 h 4687251"/>
              <a:gd name="connsiteX11002" fmla="*/ 6466615 w 8079933"/>
              <a:gd name="connsiteY11002" fmla="*/ 2458716 h 4687251"/>
              <a:gd name="connsiteX11003" fmla="*/ 6474517 w 8079933"/>
              <a:gd name="connsiteY11003" fmla="*/ 2457298 h 4687251"/>
              <a:gd name="connsiteX11004" fmla="*/ 6477141 w 8079933"/>
              <a:gd name="connsiteY11004" fmla="*/ 2459366 h 4687251"/>
              <a:gd name="connsiteX11005" fmla="*/ 6477141 w 8079933"/>
              <a:gd name="connsiteY11005" fmla="*/ 2459365 h 4687251"/>
              <a:gd name="connsiteX11006" fmla="*/ 6044060 w 8079933"/>
              <a:gd name="connsiteY11006" fmla="*/ 2454908 h 4687251"/>
              <a:gd name="connsiteX11007" fmla="*/ 6045028 w 8079933"/>
              <a:gd name="connsiteY11007" fmla="*/ 2460881 h 4687251"/>
              <a:gd name="connsiteX11008" fmla="*/ 6049225 w 8079933"/>
              <a:gd name="connsiteY11008" fmla="*/ 2466863 h 4687251"/>
              <a:gd name="connsiteX11009" fmla="*/ 6045029 w 8079933"/>
              <a:gd name="connsiteY11009" fmla="*/ 2460881 h 4687251"/>
              <a:gd name="connsiteX11010" fmla="*/ 6452310 w 8079933"/>
              <a:gd name="connsiteY11010" fmla="*/ 2454238 h 4687251"/>
              <a:gd name="connsiteX11011" fmla="*/ 6453810 w 8079933"/>
              <a:gd name="connsiteY11011" fmla="*/ 2456443 h 4687251"/>
              <a:gd name="connsiteX11012" fmla="*/ 6461133 w 8079933"/>
              <a:gd name="connsiteY11012" fmla="*/ 2456369 h 4687251"/>
              <a:gd name="connsiteX11013" fmla="*/ 6453810 w 8079933"/>
              <a:gd name="connsiteY11013" fmla="*/ 2456442 h 4687251"/>
              <a:gd name="connsiteX11014" fmla="*/ 6446431 w 8079933"/>
              <a:gd name="connsiteY11014" fmla="*/ 2452328 h 4687251"/>
              <a:gd name="connsiteX11015" fmla="*/ 6446431 w 8079933"/>
              <a:gd name="connsiteY11015" fmla="*/ 2452328 h 4687251"/>
              <a:gd name="connsiteX11016" fmla="*/ 6450298 w 8079933"/>
              <a:gd name="connsiteY11016" fmla="*/ 2453115 h 4687251"/>
              <a:gd name="connsiteX11017" fmla="*/ 6292229 w 8079933"/>
              <a:gd name="connsiteY11017" fmla="*/ 2451354 h 4687251"/>
              <a:gd name="connsiteX11018" fmla="*/ 6294182 w 8079933"/>
              <a:gd name="connsiteY11018" fmla="*/ 2454385 h 4687251"/>
              <a:gd name="connsiteX11019" fmla="*/ 6294942 w 8079933"/>
              <a:gd name="connsiteY11019" fmla="*/ 2452545 h 4687251"/>
              <a:gd name="connsiteX11020" fmla="*/ 6301670 w 8079933"/>
              <a:gd name="connsiteY11020" fmla="*/ 2451679 h 4687251"/>
              <a:gd name="connsiteX11021" fmla="*/ 6306552 w 8079933"/>
              <a:gd name="connsiteY11021" fmla="*/ 2454710 h 4687251"/>
              <a:gd name="connsiteX11022" fmla="*/ 6306552 w 8079933"/>
              <a:gd name="connsiteY11022" fmla="*/ 2458391 h 4687251"/>
              <a:gd name="connsiteX11023" fmla="*/ 6305767 w 8079933"/>
              <a:gd name="connsiteY11023" fmla="*/ 2459959 h 4687251"/>
              <a:gd name="connsiteX11024" fmla="*/ 6306553 w 8079933"/>
              <a:gd name="connsiteY11024" fmla="*/ 2458391 h 4687251"/>
              <a:gd name="connsiteX11025" fmla="*/ 6306553 w 8079933"/>
              <a:gd name="connsiteY11025" fmla="*/ 2454710 h 4687251"/>
              <a:gd name="connsiteX11026" fmla="*/ 6301670 w 8079933"/>
              <a:gd name="connsiteY11026" fmla="*/ 2451678 h 4687251"/>
              <a:gd name="connsiteX11027" fmla="*/ 6294942 w 8079933"/>
              <a:gd name="connsiteY11027" fmla="*/ 2452544 h 4687251"/>
              <a:gd name="connsiteX11028" fmla="*/ 6294182 w 8079933"/>
              <a:gd name="connsiteY11028" fmla="*/ 2454385 h 4687251"/>
              <a:gd name="connsiteX11029" fmla="*/ 6427007 w 8079933"/>
              <a:gd name="connsiteY11029" fmla="*/ 2451354 h 4687251"/>
              <a:gd name="connsiteX11030" fmla="*/ 6427331 w 8079933"/>
              <a:gd name="connsiteY11030" fmla="*/ 2458716 h 4687251"/>
              <a:gd name="connsiteX11031" fmla="*/ 6419302 w 8079933"/>
              <a:gd name="connsiteY11031" fmla="*/ 2461314 h 4687251"/>
              <a:gd name="connsiteX11032" fmla="*/ 6414636 w 8079933"/>
              <a:gd name="connsiteY11032" fmla="*/ 2458608 h 4687251"/>
              <a:gd name="connsiteX11033" fmla="*/ 6408775 w 8079933"/>
              <a:gd name="connsiteY11033" fmla="*/ 2460340 h 4687251"/>
              <a:gd name="connsiteX11034" fmla="*/ 6407907 w 8079933"/>
              <a:gd name="connsiteY11034" fmla="*/ 2463913 h 4687251"/>
              <a:gd name="connsiteX11035" fmla="*/ 6405252 w 8079933"/>
              <a:gd name="connsiteY11035" fmla="*/ 2465211 h 4687251"/>
              <a:gd name="connsiteX11036" fmla="*/ 6407908 w 8079933"/>
              <a:gd name="connsiteY11036" fmla="*/ 2463913 h 4687251"/>
              <a:gd name="connsiteX11037" fmla="*/ 6408776 w 8079933"/>
              <a:gd name="connsiteY11037" fmla="*/ 2460340 h 4687251"/>
              <a:gd name="connsiteX11038" fmla="*/ 6414636 w 8079933"/>
              <a:gd name="connsiteY11038" fmla="*/ 2458608 h 4687251"/>
              <a:gd name="connsiteX11039" fmla="*/ 6419302 w 8079933"/>
              <a:gd name="connsiteY11039" fmla="*/ 2461314 h 4687251"/>
              <a:gd name="connsiteX11040" fmla="*/ 6427332 w 8079933"/>
              <a:gd name="connsiteY11040" fmla="*/ 2458716 h 4687251"/>
              <a:gd name="connsiteX11041" fmla="*/ 6154416 w 8079933"/>
              <a:gd name="connsiteY11041" fmla="*/ 2451181 h 4687251"/>
              <a:gd name="connsiteX11042" fmla="*/ 6154413 w 8079933"/>
              <a:gd name="connsiteY11042" fmla="*/ 2451353 h 4687251"/>
              <a:gd name="connsiteX11043" fmla="*/ 6154365 w 8079933"/>
              <a:gd name="connsiteY11043" fmla="*/ 2452116 h 4687251"/>
              <a:gd name="connsiteX11044" fmla="*/ 6154413 w 8079933"/>
              <a:gd name="connsiteY11044" fmla="*/ 2451354 h 4687251"/>
              <a:gd name="connsiteX11045" fmla="*/ 2178580 w 8079933"/>
              <a:gd name="connsiteY11045" fmla="*/ 2448106 h 4687251"/>
              <a:gd name="connsiteX11046" fmla="*/ 2182812 w 8079933"/>
              <a:gd name="connsiteY11046" fmla="*/ 2455685 h 4687251"/>
              <a:gd name="connsiteX11047" fmla="*/ 2184114 w 8079933"/>
              <a:gd name="connsiteY11047" fmla="*/ 2461532 h 4687251"/>
              <a:gd name="connsiteX11048" fmla="*/ 2188346 w 8079933"/>
              <a:gd name="connsiteY11048" fmla="*/ 2469110 h 4687251"/>
              <a:gd name="connsiteX11049" fmla="*/ 2185308 w 8079933"/>
              <a:gd name="connsiteY11049" fmla="*/ 2468785 h 4687251"/>
              <a:gd name="connsiteX11050" fmla="*/ 2182486 w 8079933"/>
              <a:gd name="connsiteY11050" fmla="*/ 2465212 h 4687251"/>
              <a:gd name="connsiteX11051" fmla="*/ 2178471 w 8079933"/>
              <a:gd name="connsiteY11051" fmla="*/ 2458824 h 4687251"/>
              <a:gd name="connsiteX11052" fmla="*/ 2181076 w 8079933"/>
              <a:gd name="connsiteY11052" fmla="*/ 2457092 h 4687251"/>
              <a:gd name="connsiteX11053" fmla="*/ 2177929 w 8079933"/>
              <a:gd name="connsiteY11053" fmla="*/ 2451030 h 4687251"/>
              <a:gd name="connsiteX11054" fmla="*/ 6104279 w 8079933"/>
              <a:gd name="connsiteY11054" fmla="*/ 2448031 h 4687251"/>
              <a:gd name="connsiteX11055" fmla="*/ 6105039 w 8079933"/>
              <a:gd name="connsiteY11055" fmla="*/ 2448755 h 4687251"/>
              <a:gd name="connsiteX11056" fmla="*/ 6106015 w 8079933"/>
              <a:gd name="connsiteY11056" fmla="*/ 2451137 h 4687251"/>
              <a:gd name="connsiteX11057" fmla="*/ 6108047 w 8079933"/>
              <a:gd name="connsiteY11057" fmla="*/ 2453105 h 4687251"/>
              <a:gd name="connsiteX11058" fmla="*/ 6106015 w 8079933"/>
              <a:gd name="connsiteY11058" fmla="*/ 2451136 h 4687251"/>
              <a:gd name="connsiteX11059" fmla="*/ 6105039 w 8079933"/>
              <a:gd name="connsiteY11059" fmla="*/ 2448754 h 4687251"/>
              <a:gd name="connsiteX11060" fmla="*/ 6287238 w 8079933"/>
              <a:gd name="connsiteY11060" fmla="*/ 2447673 h 4687251"/>
              <a:gd name="connsiteX11061" fmla="*/ 6287238 w 8079933"/>
              <a:gd name="connsiteY11061" fmla="*/ 2447673 h 4687251"/>
              <a:gd name="connsiteX11062" fmla="*/ 6293422 w 8079933"/>
              <a:gd name="connsiteY11062" fmla="*/ 2449080 h 4687251"/>
              <a:gd name="connsiteX11063" fmla="*/ 6293422 w 8079933"/>
              <a:gd name="connsiteY11063" fmla="*/ 2449079 h 4687251"/>
              <a:gd name="connsiteX11064" fmla="*/ 2161542 w 8079933"/>
              <a:gd name="connsiteY11064" fmla="*/ 2445940 h 4687251"/>
              <a:gd name="connsiteX11065" fmla="*/ 2164472 w 8079933"/>
              <a:gd name="connsiteY11065" fmla="*/ 2449838 h 4687251"/>
              <a:gd name="connsiteX11066" fmla="*/ 2160674 w 8079933"/>
              <a:gd name="connsiteY11066" fmla="*/ 2449838 h 4687251"/>
              <a:gd name="connsiteX11067" fmla="*/ 6441331 w 8079933"/>
              <a:gd name="connsiteY11067" fmla="*/ 2445073 h 4687251"/>
              <a:gd name="connsiteX11068" fmla="*/ 6437966 w 8079933"/>
              <a:gd name="connsiteY11068" fmla="*/ 2448430 h 4687251"/>
              <a:gd name="connsiteX11069" fmla="*/ 6432215 w 8079933"/>
              <a:gd name="connsiteY11069" fmla="*/ 2448430 h 4687251"/>
              <a:gd name="connsiteX11070" fmla="*/ 6428901 w 8079933"/>
              <a:gd name="connsiteY11070" fmla="*/ 2450291 h 4687251"/>
              <a:gd name="connsiteX11071" fmla="*/ 6432215 w 8079933"/>
              <a:gd name="connsiteY11071" fmla="*/ 2448431 h 4687251"/>
              <a:gd name="connsiteX11072" fmla="*/ 6437967 w 8079933"/>
              <a:gd name="connsiteY11072" fmla="*/ 2448431 h 4687251"/>
              <a:gd name="connsiteX11073" fmla="*/ 6441331 w 8079933"/>
              <a:gd name="connsiteY11073" fmla="*/ 2445074 h 4687251"/>
              <a:gd name="connsiteX11074" fmla="*/ 6444731 w 8079933"/>
              <a:gd name="connsiteY11074" fmla="*/ 2447889 h 4687251"/>
              <a:gd name="connsiteX11075" fmla="*/ 6120427 w 8079933"/>
              <a:gd name="connsiteY11075" fmla="*/ 2442906 h 4687251"/>
              <a:gd name="connsiteX11076" fmla="*/ 6122510 w 8079933"/>
              <a:gd name="connsiteY11076" fmla="*/ 2444316 h 4687251"/>
              <a:gd name="connsiteX11077" fmla="*/ 6126633 w 8079933"/>
              <a:gd name="connsiteY11077" fmla="*/ 2443991 h 4687251"/>
              <a:gd name="connsiteX11078" fmla="*/ 6126633 w 8079933"/>
              <a:gd name="connsiteY11078" fmla="*/ 2443991 h 4687251"/>
              <a:gd name="connsiteX11079" fmla="*/ 6122510 w 8079933"/>
              <a:gd name="connsiteY11079" fmla="*/ 2444315 h 4687251"/>
              <a:gd name="connsiteX11080" fmla="*/ 6119470 w 8079933"/>
              <a:gd name="connsiteY11080" fmla="*/ 2442258 h 4687251"/>
              <a:gd name="connsiteX11081" fmla="*/ 6117300 w 8079933"/>
              <a:gd name="connsiteY11081" fmla="*/ 2443991 h 4687251"/>
              <a:gd name="connsiteX11082" fmla="*/ 6118711 w 8079933"/>
              <a:gd name="connsiteY11082" fmla="*/ 2446264 h 4687251"/>
              <a:gd name="connsiteX11083" fmla="*/ 6117409 w 8079933"/>
              <a:gd name="connsiteY11083" fmla="*/ 2448430 h 4687251"/>
              <a:gd name="connsiteX11084" fmla="*/ 6117300 w 8079933"/>
              <a:gd name="connsiteY11084" fmla="*/ 2451028 h 4687251"/>
              <a:gd name="connsiteX11085" fmla="*/ 6114804 w 8079933"/>
              <a:gd name="connsiteY11085" fmla="*/ 2454601 h 4687251"/>
              <a:gd name="connsiteX11086" fmla="*/ 6116324 w 8079933"/>
              <a:gd name="connsiteY11086" fmla="*/ 2455792 h 4687251"/>
              <a:gd name="connsiteX11087" fmla="*/ 6115890 w 8079933"/>
              <a:gd name="connsiteY11087" fmla="*/ 2459581 h 4687251"/>
              <a:gd name="connsiteX11088" fmla="*/ 6113503 w 8079933"/>
              <a:gd name="connsiteY11088" fmla="*/ 2459689 h 4687251"/>
              <a:gd name="connsiteX11089" fmla="*/ 6113503 w 8079933"/>
              <a:gd name="connsiteY11089" fmla="*/ 2459690 h 4687251"/>
              <a:gd name="connsiteX11090" fmla="*/ 6115890 w 8079933"/>
              <a:gd name="connsiteY11090" fmla="*/ 2459582 h 4687251"/>
              <a:gd name="connsiteX11091" fmla="*/ 6116325 w 8079933"/>
              <a:gd name="connsiteY11091" fmla="*/ 2455793 h 4687251"/>
              <a:gd name="connsiteX11092" fmla="*/ 6114805 w 8079933"/>
              <a:gd name="connsiteY11092" fmla="*/ 2454601 h 4687251"/>
              <a:gd name="connsiteX11093" fmla="*/ 6117301 w 8079933"/>
              <a:gd name="connsiteY11093" fmla="*/ 2451028 h 4687251"/>
              <a:gd name="connsiteX11094" fmla="*/ 6117409 w 8079933"/>
              <a:gd name="connsiteY11094" fmla="*/ 2448430 h 4687251"/>
              <a:gd name="connsiteX11095" fmla="*/ 6118712 w 8079933"/>
              <a:gd name="connsiteY11095" fmla="*/ 2446265 h 4687251"/>
              <a:gd name="connsiteX11096" fmla="*/ 6117301 w 8079933"/>
              <a:gd name="connsiteY11096" fmla="*/ 2443991 h 4687251"/>
              <a:gd name="connsiteX11097" fmla="*/ 6119471 w 8079933"/>
              <a:gd name="connsiteY11097" fmla="*/ 2442259 h 4687251"/>
              <a:gd name="connsiteX11098" fmla="*/ 4181146 w 8079933"/>
              <a:gd name="connsiteY11098" fmla="*/ 2438686 h 4687251"/>
              <a:gd name="connsiteX11099" fmla="*/ 4181146 w 8079933"/>
              <a:gd name="connsiteY11099" fmla="*/ 2438686 h 4687251"/>
              <a:gd name="connsiteX11100" fmla="*/ 4190804 w 8079933"/>
              <a:gd name="connsiteY11100" fmla="*/ 2438686 h 4687251"/>
              <a:gd name="connsiteX11101" fmla="*/ 4199703 w 8079933"/>
              <a:gd name="connsiteY11101" fmla="*/ 2439336 h 4687251"/>
              <a:gd name="connsiteX11102" fmla="*/ 4199702 w 8079933"/>
              <a:gd name="connsiteY11102" fmla="*/ 2439335 h 4687251"/>
              <a:gd name="connsiteX11103" fmla="*/ 4190804 w 8079933"/>
              <a:gd name="connsiteY11103" fmla="*/ 2438686 h 4687251"/>
              <a:gd name="connsiteX11104" fmla="*/ 5155080 w 8079933"/>
              <a:gd name="connsiteY11104" fmla="*/ 2436532 h 4687251"/>
              <a:gd name="connsiteX11105" fmla="*/ 5154865 w 8079933"/>
              <a:gd name="connsiteY11105" fmla="*/ 2444532 h 4687251"/>
              <a:gd name="connsiteX11106" fmla="*/ 5160617 w 8079933"/>
              <a:gd name="connsiteY11106" fmla="*/ 2451354 h 4687251"/>
              <a:gd name="connsiteX11107" fmla="*/ 5165826 w 8079933"/>
              <a:gd name="connsiteY11107" fmla="*/ 2469976 h 4687251"/>
              <a:gd name="connsiteX11108" fmla="*/ 5235819 w 8079933"/>
              <a:gd name="connsiteY11108" fmla="*/ 2480695 h 4687251"/>
              <a:gd name="connsiteX11109" fmla="*/ 5243795 w 8079933"/>
              <a:gd name="connsiteY11109" fmla="*/ 2473274 h 4687251"/>
              <a:gd name="connsiteX11110" fmla="*/ 5243795 w 8079933"/>
              <a:gd name="connsiteY11110" fmla="*/ 2473274 h 4687251"/>
              <a:gd name="connsiteX11111" fmla="*/ 5235819 w 8079933"/>
              <a:gd name="connsiteY11111" fmla="*/ 2480694 h 4687251"/>
              <a:gd name="connsiteX11112" fmla="*/ 5165826 w 8079933"/>
              <a:gd name="connsiteY11112" fmla="*/ 2469975 h 4687251"/>
              <a:gd name="connsiteX11113" fmla="*/ 5160617 w 8079933"/>
              <a:gd name="connsiteY11113" fmla="*/ 2451353 h 4687251"/>
              <a:gd name="connsiteX11114" fmla="*/ 5154866 w 8079933"/>
              <a:gd name="connsiteY11114" fmla="*/ 2444532 h 4687251"/>
              <a:gd name="connsiteX11115" fmla="*/ 2198764 w 8079933"/>
              <a:gd name="connsiteY11115" fmla="*/ 2436087 h 4687251"/>
              <a:gd name="connsiteX11116" fmla="*/ 2200391 w 8079933"/>
              <a:gd name="connsiteY11116" fmla="*/ 2439226 h 4687251"/>
              <a:gd name="connsiteX11117" fmla="*/ 2198221 w 8079933"/>
              <a:gd name="connsiteY11117" fmla="*/ 2443124 h 4687251"/>
              <a:gd name="connsiteX11118" fmla="*/ 2195834 w 8079933"/>
              <a:gd name="connsiteY11118" fmla="*/ 2440959 h 4687251"/>
              <a:gd name="connsiteX11119" fmla="*/ 6284849 w 8079933"/>
              <a:gd name="connsiteY11119" fmla="*/ 2435654 h 4687251"/>
              <a:gd name="connsiteX11120" fmla="*/ 6278697 w 8079933"/>
              <a:gd name="connsiteY11120" fmla="*/ 2437163 h 4687251"/>
              <a:gd name="connsiteX11121" fmla="*/ 6284849 w 8079933"/>
              <a:gd name="connsiteY11121" fmla="*/ 2435655 h 4687251"/>
              <a:gd name="connsiteX11122" fmla="*/ 6286043 w 8079933"/>
              <a:gd name="connsiteY11122" fmla="*/ 2439769 h 4687251"/>
              <a:gd name="connsiteX11123" fmla="*/ 6285377 w 8079933"/>
              <a:gd name="connsiteY11123" fmla="*/ 2441575 h 4687251"/>
              <a:gd name="connsiteX11124" fmla="*/ 6286044 w 8079933"/>
              <a:gd name="connsiteY11124" fmla="*/ 2439769 h 4687251"/>
              <a:gd name="connsiteX11125" fmla="*/ 6719133 w 8079933"/>
              <a:gd name="connsiteY11125" fmla="*/ 2435546 h 4687251"/>
              <a:gd name="connsiteX11126" fmla="*/ 6722064 w 8079933"/>
              <a:gd name="connsiteY11126" fmla="*/ 2438361 h 4687251"/>
              <a:gd name="connsiteX11127" fmla="*/ 6720435 w 8079933"/>
              <a:gd name="connsiteY11127" fmla="*/ 2439768 h 4687251"/>
              <a:gd name="connsiteX11128" fmla="*/ 6716203 w 8079933"/>
              <a:gd name="connsiteY11128" fmla="*/ 2439551 h 4687251"/>
              <a:gd name="connsiteX11129" fmla="*/ 6715552 w 8079933"/>
              <a:gd name="connsiteY11129" fmla="*/ 2437278 h 4687251"/>
              <a:gd name="connsiteX11130" fmla="*/ 4178477 w 8079933"/>
              <a:gd name="connsiteY11130" fmla="*/ 2435502 h 4687251"/>
              <a:gd name="connsiteX11131" fmla="*/ 4178650 w 8079933"/>
              <a:gd name="connsiteY11131" fmla="*/ 2436195 h 4687251"/>
              <a:gd name="connsiteX11132" fmla="*/ 4181018 w 8079933"/>
              <a:gd name="connsiteY11132" fmla="*/ 2438558 h 4687251"/>
              <a:gd name="connsiteX11133" fmla="*/ 4178650 w 8079933"/>
              <a:gd name="connsiteY11133" fmla="*/ 2436195 h 4687251"/>
              <a:gd name="connsiteX11134" fmla="*/ 2125732 w 8079933"/>
              <a:gd name="connsiteY11134" fmla="*/ 2435222 h 4687251"/>
              <a:gd name="connsiteX11135" fmla="*/ 2127577 w 8079933"/>
              <a:gd name="connsiteY11135" fmla="*/ 2437171 h 4687251"/>
              <a:gd name="connsiteX11136" fmla="*/ 2127033 w 8079933"/>
              <a:gd name="connsiteY11136" fmla="*/ 2440527 h 4687251"/>
              <a:gd name="connsiteX11137" fmla="*/ 2128336 w 8079933"/>
              <a:gd name="connsiteY11137" fmla="*/ 2443559 h 4687251"/>
              <a:gd name="connsiteX11138" fmla="*/ 2126166 w 8079933"/>
              <a:gd name="connsiteY11138" fmla="*/ 2447781 h 4687251"/>
              <a:gd name="connsiteX11139" fmla="*/ 2122151 w 8079933"/>
              <a:gd name="connsiteY11139" fmla="*/ 2448539 h 4687251"/>
              <a:gd name="connsiteX11140" fmla="*/ 2119764 w 8079933"/>
              <a:gd name="connsiteY11140" fmla="*/ 2442693 h 4687251"/>
              <a:gd name="connsiteX11141" fmla="*/ 2119547 w 8079933"/>
              <a:gd name="connsiteY11141" fmla="*/ 2438579 h 4687251"/>
              <a:gd name="connsiteX11142" fmla="*/ 6275734 w 8079933"/>
              <a:gd name="connsiteY11142" fmla="*/ 2434788 h 4687251"/>
              <a:gd name="connsiteX11143" fmla="*/ 6275734 w 8079933"/>
              <a:gd name="connsiteY11143" fmla="*/ 2434789 h 4687251"/>
              <a:gd name="connsiteX11144" fmla="*/ 6278664 w 8079933"/>
              <a:gd name="connsiteY11144" fmla="*/ 2437171 h 4687251"/>
              <a:gd name="connsiteX11145" fmla="*/ 6278665 w 8079933"/>
              <a:gd name="connsiteY11145" fmla="*/ 2437170 h 4687251"/>
              <a:gd name="connsiteX11146" fmla="*/ 2119981 w 8079933"/>
              <a:gd name="connsiteY11146" fmla="*/ 2433706 h 4687251"/>
              <a:gd name="connsiteX11147" fmla="*/ 2120415 w 8079933"/>
              <a:gd name="connsiteY11147" fmla="*/ 2436738 h 4687251"/>
              <a:gd name="connsiteX11148" fmla="*/ 2117811 w 8079933"/>
              <a:gd name="connsiteY11148" fmla="*/ 2435547 h 4687251"/>
              <a:gd name="connsiteX11149" fmla="*/ 6151592 w 8079933"/>
              <a:gd name="connsiteY11149" fmla="*/ 2433380 h 4687251"/>
              <a:gd name="connsiteX11150" fmla="*/ 6151592 w 8079933"/>
              <a:gd name="connsiteY11150" fmla="*/ 2433381 h 4687251"/>
              <a:gd name="connsiteX11151" fmla="*/ 6156692 w 8079933"/>
              <a:gd name="connsiteY11151" fmla="*/ 2433706 h 4687251"/>
              <a:gd name="connsiteX11152" fmla="*/ 6160815 w 8079933"/>
              <a:gd name="connsiteY11152" fmla="*/ 2435114 h 4687251"/>
              <a:gd name="connsiteX11153" fmla="*/ 6167109 w 8079933"/>
              <a:gd name="connsiteY11153" fmla="*/ 2435005 h 4687251"/>
              <a:gd name="connsiteX11154" fmla="*/ 6167109 w 8079933"/>
              <a:gd name="connsiteY11154" fmla="*/ 2435004 h 4687251"/>
              <a:gd name="connsiteX11155" fmla="*/ 6160815 w 8079933"/>
              <a:gd name="connsiteY11155" fmla="*/ 2435112 h 4687251"/>
              <a:gd name="connsiteX11156" fmla="*/ 6156692 w 8079933"/>
              <a:gd name="connsiteY11156" fmla="*/ 2433705 h 4687251"/>
              <a:gd name="connsiteX11157" fmla="*/ 6038941 w 8079933"/>
              <a:gd name="connsiteY11157" fmla="*/ 2430952 h 4687251"/>
              <a:gd name="connsiteX11158" fmla="*/ 6042424 w 8079933"/>
              <a:gd name="connsiteY11158" fmla="*/ 2435328 h 4687251"/>
              <a:gd name="connsiteX11159" fmla="*/ 6042424 w 8079933"/>
              <a:gd name="connsiteY11159" fmla="*/ 2443232 h 4687251"/>
              <a:gd name="connsiteX11160" fmla="*/ 6044594 w 8079933"/>
              <a:gd name="connsiteY11160" fmla="*/ 2449295 h 4687251"/>
              <a:gd name="connsiteX11161" fmla="*/ 6043835 w 8079933"/>
              <a:gd name="connsiteY11161" fmla="*/ 2453518 h 4687251"/>
              <a:gd name="connsiteX11162" fmla="*/ 6043835 w 8079933"/>
              <a:gd name="connsiteY11162" fmla="*/ 2453519 h 4687251"/>
              <a:gd name="connsiteX11163" fmla="*/ 6044595 w 8079933"/>
              <a:gd name="connsiteY11163" fmla="*/ 2449296 h 4687251"/>
              <a:gd name="connsiteX11164" fmla="*/ 6042425 w 8079933"/>
              <a:gd name="connsiteY11164" fmla="*/ 2443233 h 4687251"/>
              <a:gd name="connsiteX11165" fmla="*/ 6042425 w 8079933"/>
              <a:gd name="connsiteY11165" fmla="*/ 2435329 h 4687251"/>
              <a:gd name="connsiteX11166" fmla="*/ 2125298 w 8079933"/>
              <a:gd name="connsiteY11166" fmla="*/ 2430782 h 4687251"/>
              <a:gd name="connsiteX11167" fmla="*/ 2122585 w 8079933"/>
              <a:gd name="connsiteY11167" fmla="*/ 2434355 h 4687251"/>
              <a:gd name="connsiteX11168" fmla="*/ 2121066 w 8079933"/>
              <a:gd name="connsiteY11168" fmla="*/ 2432081 h 4687251"/>
              <a:gd name="connsiteX11169" fmla="*/ 6276276 w 8079933"/>
              <a:gd name="connsiteY11169" fmla="*/ 2428075 h 4687251"/>
              <a:gd name="connsiteX11170" fmla="*/ 6265425 w 8079933"/>
              <a:gd name="connsiteY11170" fmla="*/ 2430349 h 4687251"/>
              <a:gd name="connsiteX11171" fmla="*/ 6259674 w 8079933"/>
              <a:gd name="connsiteY11171" fmla="*/ 2434463 h 4687251"/>
              <a:gd name="connsiteX11172" fmla="*/ 6257395 w 8079933"/>
              <a:gd name="connsiteY11172" fmla="*/ 2428941 h 4687251"/>
              <a:gd name="connsiteX11173" fmla="*/ 6257395 w 8079933"/>
              <a:gd name="connsiteY11173" fmla="*/ 2428941 h 4687251"/>
              <a:gd name="connsiteX11174" fmla="*/ 6259674 w 8079933"/>
              <a:gd name="connsiteY11174" fmla="*/ 2434463 h 4687251"/>
              <a:gd name="connsiteX11175" fmla="*/ 6265425 w 8079933"/>
              <a:gd name="connsiteY11175" fmla="*/ 2430349 h 4687251"/>
              <a:gd name="connsiteX11176" fmla="*/ 6276276 w 8079933"/>
              <a:gd name="connsiteY11176" fmla="*/ 2428076 h 4687251"/>
              <a:gd name="connsiteX11177" fmla="*/ 5617697 w 8079933"/>
              <a:gd name="connsiteY11177" fmla="*/ 2426453 h 4687251"/>
              <a:gd name="connsiteX11178" fmla="*/ 5618341 w 8079933"/>
              <a:gd name="connsiteY11178" fmla="*/ 2427208 h 4687251"/>
              <a:gd name="connsiteX11179" fmla="*/ 5618341 w 8079933"/>
              <a:gd name="connsiteY11179" fmla="*/ 2427208 h 4687251"/>
              <a:gd name="connsiteX11180" fmla="*/ 5608140 w 8079933"/>
              <a:gd name="connsiteY11180" fmla="*/ 2425909 h 4687251"/>
              <a:gd name="connsiteX11181" fmla="*/ 5602714 w 8079933"/>
              <a:gd name="connsiteY11181" fmla="*/ 2427533 h 4687251"/>
              <a:gd name="connsiteX11182" fmla="*/ 5602063 w 8079933"/>
              <a:gd name="connsiteY11182" fmla="*/ 2428219 h 4687251"/>
              <a:gd name="connsiteX11183" fmla="*/ 5602714 w 8079933"/>
              <a:gd name="connsiteY11183" fmla="*/ 2427534 h 4687251"/>
              <a:gd name="connsiteX11184" fmla="*/ 5608140 w 8079933"/>
              <a:gd name="connsiteY11184" fmla="*/ 2425909 h 4687251"/>
              <a:gd name="connsiteX11185" fmla="*/ 6171356 w 8079933"/>
              <a:gd name="connsiteY11185" fmla="*/ 2424012 h 4687251"/>
              <a:gd name="connsiteX11186" fmla="*/ 6170907 w 8079933"/>
              <a:gd name="connsiteY11186" fmla="*/ 2426018 h 4687251"/>
              <a:gd name="connsiteX11187" fmla="*/ 6169759 w 8079933"/>
              <a:gd name="connsiteY11187" fmla="*/ 2428735 h 4687251"/>
              <a:gd name="connsiteX11188" fmla="*/ 6170907 w 8079933"/>
              <a:gd name="connsiteY11188" fmla="*/ 2426018 h 4687251"/>
              <a:gd name="connsiteX11189" fmla="*/ 2172611 w 8079933"/>
              <a:gd name="connsiteY11189" fmla="*/ 2422878 h 4687251"/>
              <a:gd name="connsiteX11190" fmla="*/ 2177277 w 8079933"/>
              <a:gd name="connsiteY11190" fmla="*/ 2426343 h 4687251"/>
              <a:gd name="connsiteX11191" fmla="*/ 2178579 w 8079933"/>
              <a:gd name="connsiteY11191" fmla="*/ 2431431 h 4687251"/>
              <a:gd name="connsiteX11192" fmla="*/ 2182268 w 8079933"/>
              <a:gd name="connsiteY11192" fmla="*/ 2438144 h 4687251"/>
              <a:gd name="connsiteX11193" fmla="*/ 2182051 w 8079933"/>
              <a:gd name="connsiteY11193" fmla="*/ 2440959 h 4687251"/>
              <a:gd name="connsiteX11194" fmla="*/ 2176409 w 8079933"/>
              <a:gd name="connsiteY11194" fmla="*/ 2441392 h 4687251"/>
              <a:gd name="connsiteX11195" fmla="*/ 2174347 w 8079933"/>
              <a:gd name="connsiteY11195" fmla="*/ 2438794 h 4687251"/>
              <a:gd name="connsiteX11196" fmla="*/ 2176409 w 8079933"/>
              <a:gd name="connsiteY11196" fmla="*/ 2436520 h 4687251"/>
              <a:gd name="connsiteX11197" fmla="*/ 2175432 w 8079933"/>
              <a:gd name="connsiteY11197" fmla="*/ 2430024 h 4687251"/>
              <a:gd name="connsiteX11198" fmla="*/ 2171743 w 8079933"/>
              <a:gd name="connsiteY11198" fmla="*/ 2425802 h 4687251"/>
              <a:gd name="connsiteX11199" fmla="*/ 6256881 w 8079933"/>
              <a:gd name="connsiteY11199" fmla="*/ 2422123 h 4687251"/>
              <a:gd name="connsiteX11200" fmla="*/ 6258155 w 8079933"/>
              <a:gd name="connsiteY11200" fmla="*/ 2423312 h 4687251"/>
              <a:gd name="connsiteX11201" fmla="*/ 6258155 w 8079933"/>
              <a:gd name="connsiteY11201" fmla="*/ 2423312 h 4687251"/>
              <a:gd name="connsiteX11202" fmla="*/ 1651839 w 8079933"/>
              <a:gd name="connsiteY11202" fmla="*/ 2419197 h 4687251"/>
              <a:gd name="connsiteX11203" fmla="*/ 1652056 w 8079933"/>
              <a:gd name="connsiteY11203" fmla="*/ 2422770 h 4687251"/>
              <a:gd name="connsiteX11204" fmla="*/ 1649778 w 8079933"/>
              <a:gd name="connsiteY11204" fmla="*/ 2426885 h 4687251"/>
              <a:gd name="connsiteX11205" fmla="*/ 1347667 w 8079933"/>
              <a:gd name="connsiteY11205" fmla="*/ 2417682 h 4687251"/>
              <a:gd name="connsiteX11206" fmla="*/ 1350055 w 8079933"/>
              <a:gd name="connsiteY11206" fmla="*/ 2418331 h 4687251"/>
              <a:gd name="connsiteX11207" fmla="*/ 1349404 w 8079933"/>
              <a:gd name="connsiteY11207" fmla="*/ 2420931 h 4687251"/>
              <a:gd name="connsiteX11208" fmla="*/ 1347342 w 8079933"/>
              <a:gd name="connsiteY11208" fmla="*/ 2420713 h 4687251"/>
              <a:gd name="connsiteX11209" fmla="*/ 6249039 w 8079933"/>
              <a:gd name="connsiteY11209" fmla="*/ 2415408 h 4687251"/>
              <a:gd name="connsiteX11210" fmla="*/ 6249039 w 8079933"/>
              <a:gd name="connsiteY11210" fmla="*/ 2415408 h 4687251"/>
              <a:gd name="connsiteX11211" fmla="*/ 6253054 w 8079933"/>
              <a:gd name="connsiteY11211" fmla="*/ 2417032 h 4687251"/>
              <a:gd name="connsiteX11212" fmla="*/ 6253563 w 8079933"/>
              <a:gd name="connsiteY11212" fmla="*/ 2417953 h 4687251"/>
              <a:gd name="connsiteX11213" fmla="*/ 6253054 w 8079933"/>
              <a:gd name="connsiteY11213" fmla="*/ 2417032 h 4687251"/>
              <a:gd name="connsiteX11214" fmla="*/ 1653142 w 8079933"/>
              <a:gd name="connsiteY11214" fmla="*/ 2413134 h 4687251"/>
              <a:gd name="connsiteX11215" fmla="*/ 1654445 w 8079933"/>
              <a:gd name="connsiteY11215" fmla="*/ 2413134 h 4687251"/>
              <a:gd name="connsiteX11216" fmla="*/ 1653251 w 8079933"/>
              <a:gd name="connsiteY11216" fmla="*/ 2417140 h 4687251"/>
              <a:gd name="connsiteX11217" fmla="*/ 1652600 w 8079933"/>
              <a:gd name="connsiteY11217" fmla="*/ 2416490 h 4687251"/>
              <a:gd name="connsiteX11218" fmla="*/ 6878545 w 8079933"/>
              <a:gd name="connsiteY11218" fmla="*/ 2410536 h 4687251"/>
              <a:gd name="connsiteX11219" fmla="*/ 6879738 w 8079933"/>
              <a:gd name="connsiteY11219" fmla="*/ 2413459 h 4687251"/>
              <a:gd name="connsiteX11220" fmla="*/ 6878111 w 8079933"/>
              <a:gd name="connsiteY11220" fmla="*/ 2415083 h 4687251"/>
              <a:gd name="connsiteX11221" fmla="*/ 6874856 w 8079933"/>
              <a:gd name="connsiteY11221" fmla="*/ 2415083 h 4687251"/>
              <a:gd name="connsiteX11222" fmla="*/ 6875832 w 8079933"/>
              <a:gd name="connsiteY11222" fmla="*/ 2410644 h 4687251"/>
              <a:gd name="connsiteX11223" fmla="*/ 2116182 w 8079933"/>
              <a:gd name="connsiteY11223" fmla="*/ 2410536 h 4687251"/>
              <a:gd name="connsiteX11224" fmla="*/ 2119437 w 8079933"/>
              <a:gd name="connsiteY11224" fmla="*/ 2411835 h 4687251"/>
              <a:gd name="connsiteX11225" fmla="*/ 2120523 w 8079933"/>
              <a:gd name="connsiteY11225" fmla="*/ 2417465 h 4687251"/>
              <a:gd name="connsiteX11226" fmla="*/ 2124646 w 8079933"/>
              <a:gd name="connsiteY11226" fmla="*/ 2424935 h 4687251"/>
              <a:gd name="connsiteX11227" fmla="*/ 2119004 w 8079933"/>
              <a:gd name="connsiteY11227" fmla="*/ 2428725 h 4687251"/>
              <a:gd name="connsiteX11228" fmla="*/ 2117918 w 8079933"/>
              <a:gd name="connsiteY11228" fmla="*/ 2424502 h 4687251"/>
              <a:gd name="connsiteX11229" fmla="*/ 2113903 w 8079933"/>
              <a:gd name="connsiteY11229" fmla="*/ 2426668 h 4687251"/>
              <a:gd name="connsiteX11230" fmla="*/ 2110648 w 8079933"/>
              <a:gd name="connsiteY11230" fmla="*/ 2423528 h 4687251"/>
              <a:gd name="connsiteX11231" fmla="*/ 2114338 w 8079933"/>
              <a:gd name="connsiteY11231" fmla="*/ 2416924 h 4687251"/>
              <a:gd name="connsiteX11232" fmla="*/ 2135173 w 8079933"/>
              <a:gd name="connsiteY11232" fmla="*/ 2408262 h 4687251"/>
              <a:gd name="connsiteX11233" fmla="*/ 2140708 w 8079933"/>
              <a:gd name="connsiteY11233" fmla="*/ 2409561 h 4687251"/>
              <a:gd name="connsiteX11234" fmla="*/ 2138755 w 8079933"/>
              <a:gd name="connsiteY11234" fmla="*/ 2413135 h 4687251"/>
              <a:gd name="connsiteX11235" fmla="*/ 2132243 w 8079933"/>
              <a:gd name="connsiteY11235" fmla="*/ 2413026 h 4687251"/>
              <a:gd name="connsiteX11236" fmla="*/ 2129205 w 8079933"/>
              <a:gd name="connsiteY11236" fmla="*/ 2411510 h 4687251"/>
              <a:gd name="connsiteX11237" fmla="*/ 1655854 w 8079933"/>
              <a:gd name="connsiteY11237" fmla="*/ 2407288 h 4687251"/>
              <a:gd name="connsiteX11238" fmla="*/ 1654986 w 8079933"/>
              <a:gd name="connsiteY11238" fmla="*/ 2409994 h 4687251"/>
              <a:gd name="connsiteX11239" fmla="*/ 1653576 w 8079933"/>
              <a:gd name="connsiteY11239" fmla="*/ 2410645 h 4687251"/>
              <a:gd name="connsiteX11240" fmla="*/ 1654226 w 8079933"/>
              <a:gd name="connsiteY11240" fmla="*/ 2407396 h 4687251"/>
              <a:gd name="connsiteX11241" fmla="*/ 6885489 w 8079933"/>
              <a:gd name="connsiteY11241" fmla="*/ 2406746 h 4687251"/>
              <a:gd name="connsiteX11242" fmla="*/ 6887767 w 8079933"/>
              <a:gd name="connsiteY11242" fmla="*/ 2408803 h 4687251"/>
              <a:gd name="connsiteX11243" fmla="*/ 6886466 w 8079933"/>
              <a:gd name="connsiteY11243" fmla="*/ 2413134 h 4687251"/>
              <a:gd name="connsiteX11244" fmla="*/ 6883970 w 8079933"/>
              <a:gd name="connsiteY11244" fmla="*/ 2412484 h 4687251"/>
              <a:gd name="connsiteX11245" fmla="*/ 6882885 w 8079933"/>
              <a:gd name="connsiteY11245" fmla="*/ 2409452 h 4687251"/>
              <a:gd name="connsiteX11246" fmla="*/ 6249960 w 8079933"/>
              <a:gd name="connsiteY11246" fmla="*/ 2405926 h 4687251"/>
              <a:gd name="connsiteX11247" fmla="*/ 6251209 w 8079933"/>
              <a:gd name="connsiteY11247" fmla="*/ 2407829 h 4687251"/>
              <a:gd name="connsiteX11248" fmla="*/ 6249583 w 8079933"/>
              <a:gd name="connsiteY11248" fmla="*/ 2410506 h 4687251"/>
              <a:gd name="connsiteX11249" fmla="*/ 6251210 w 8079933"/>
              <a:gd name="connsiteY11249" fmla="*/ 2407829 h 4687251"/>
              <a:gd name="connsiteX11250" fmla="*/ 6120773 w 8079933"/>
              <a:gd name="connsiteY11250" fmla="*/ 2404688 h 4687251"/>
              <a:gd name="connsiteX11251" fmla="*/ 6120774 w 8079933"/>
              <a:gd name="connsiteY11251" fmla="*/ 2404689 h 4687251"/>
              <a:gd name="connsiteX11252" fmla="*/ 6122419 w 8079933"/>
              <a:gd name="connsiteY11252" fmla="*/ 2405435 h 4687251"/>
              <a:gd name="connsiteX11253" fmla="*/ 2153404 w 8079933"/>
              <a:gd name="connsiteY11253" fmla="*/ 2402523 h 4687251"/>
              <a:gd name="connsiteX11254" fmla="*/ 2160024 w 8079933"/>
              <a:gd name="connsiteY11254" fmla="*/ 2406313 h 4687251"/>
              <a:gd name="connsiteX11255" fmla="*/ 2164256 w 8079933"/>
              <a:gd name="connsiteY11255" fmla="*/ 2412376 h 4687251"/>
              <a:gd name="connsiteX11256" fmla="*/ 2162303 w 8079933"/>
              <a:gd name="connsiteY11256" fmla="*/ 2419847 h 4687251"/>
              <a:gd name="connsiteX11257" fmla="*/ 2159698 w 8079933"/>
              <a:gd name="connsiteY11257" fmla="*/ 2420605 h 4687251"/>
              <a:gd name="connsiteX11258" fmla="*/ 2157637 w 8079933"/>
              <a:gd name="connsiteY11258" fmla="*/ 2418223 h 4687251"/>
              <a:gd name="connsiteX11259" fmla="*/ 2160458 w 8079933"/>
              <a:gd name="connsiteY11259" fmla="*/ 2416707 h 4687251"/>
              <a:gd name="connsiteX11260" fmla="*/ 2162085 w 8079933"/>
              <a:gd name="connsiteY11260" fmla="*/ 2413134 h 4687251"/>
              <a:gd name="connsiteX11261" fmla="*/ 2158505 w 8079933"/>
              <a:gd name="connsiteY11261" fmla="*/ 2408153 h 4687251"/>
              <a:gd name="connsiteX11262" fmla="*/ 2152862 w 8079933"/>
              <a:gd name="connsiteY11262" fmla="*/ 2405988 h 4687251"/>
              <a:gd name="connsiteX11263" fmla="*/ 6116649 w 8079933"/>
              <a:gd name="connsiteY11263" fmla="*/ 2400465 h 4687251"/>
              <a:gd name="connsiteX11264" fmla="*/ 6113937 w 8079933"/>
              <a:gd name="connsiteY11264" fmla="*/ 2401116 h 4687251"/>
              <a:gd name="connsiteX11265" fmla="*/ 6113937 w 8079933"/>
              <a:gd name="connsiteY11265" fmla="*/ 2401116 h 4687251"/>
              <a:gd name="connsiteX11266" fmla="*/ 6116649 w 8079933"/>
              <a:gd name="connsiteY11266" fmla="*/ 2400466 h 4687251"/>
              <a:gd name="connsiteX11267" fmla="*/ 6120345 w 8079933"/>
              <a:gd name="connsiteY11267" fmla="*/ 2404249 h 4687251"/>
              <a:gd name="connsiteX11268" fmla="*/ 5607164 w 8079933"/>
              <a:gd name="connsiteY11268" fmla="*/ 2400249 h 4687251"/>
              <a:gd name="connsiteX11269" fmla="*/ 5607164 w 8079933"/>
              <a:gd name="connsiteY11269" fmla="*/ 2400249 h 4687251"/>
              <a:gd name="connsiteX11270" fmla="*/ 5611830 w 8079933"/>
              <a:gd name="connsiteY11270" fmla="*/ 2406421 h 4687251"/>
              <a:gd name="connsiteX11271" fmla="*/ 5612556 w 8079933"/>
              <a:gd name="connsiteY11271" fmla="*/ 2408490 h 4687251"/>
              <a:gd name="connsiteX11272" fmla="*/ 5611830 w 8079933"/>
              <a:gd name="connsiteY11272" fmla="*/ 2406420 h 4687251"/>
              <a:gd name="connsiteX11273" fmla="*/ 6035153 w 8079933"/>
              <a:gd name="connsiteY11273" fmla="*/ 2400249 h 4687251"/>
              <a:gd name="connsiteX11274" fmla="*/ 6031681 w 8079933"/>
              <a:gd name="connsiteY11274" fmla="*/ 2402306 h 4687251"/>
              <a:gd name="connsiteX11275" fmla="*/ 6029619 w 8079933"/>
              <a:gd name="connsiteY11275" fmla="*/ 2408694 h 4687251"/>
              <a:gd name="connsiteX11276" fmla="*/ 6025170 w 8079933"/>
              <a:gd name="connsiteY11276" fmla="*/ 2409669 h 4687251"/>
              <a:gd name="connsiteX11277" fmla="*/ 6024953 w 8079933"/>
              <a:gd name="connsiteY11277" fmla="*/ 2419196 h 4687251"/>
              <a:gd name="connsiteX11278" fmla="*/ 6025170 w 8079933"/>
              <a:gd name="connsiteY11278" fmla="*/ 2409669 h 4687251"/>
              <a:gd name="connsiteX11279" fmla="*/ 6029619 w 8079933"/>
              <a:gd name="connsiteY11279" fmla="*/ 2408694 h 4687251"/>
              <a:gd name="connsiteX11280" fmla="*/ 6031681 w 8079933"/>
              <a:gd name="connsiteY11280" fmla="*/ 2402306 h 4687251"/>
              <a:gd name="connsiteX11281" fmla="*/ 6035154 w 8079933"/>
              <a:gd name="connsiteY11281" fmla="*/ 2400249 h 4687251"/>
              <a:gd name="connsiteX11282" fmla="*/ 6041231 w 8079933"/>
              <a:gd name="connsiteY11282" fmla="*/ 2398841 h 4687251"/>
              <a:gd name="connsiteX11283" fmla="*/ 6038083 w 8079933"/>
              <a:gd name="connsiteY11283" fmla="*/ 2401332 h 4687251"/>
              <a:gd name="connsiteX11284" fmla="*/ 6035634 w 8079933"/>
              <a:gd name="connsiteY11284" fmla="*/ 2400427 h 4687251"/>
              <a:gd name="connsiteX11285" fmla="*/ 6038083 w 8079933"/>
              <a:gd name="connsiteY11285" fmla="*/ 2401332 h 4687251"/>
              <a:gd name="connsiteX11286" fmla="*/ 6041231 w 8079933"/>
              <a:gd name="connsiteY11286" fmla="*/ 2398842 h 4687251"/>
              <a:gd name="connsiteX11287" fmla="*/ 6073336 w 8079933"/>
              <a:gd name="connsiteY11287" fmla="*/ 2398778 h 4687251"/>
              <a:gd name="connsiteX11288" fmla="*/ 6077042 w 8079933"/>
              <a:gd name="connsiteY11288" fmla="*/ 2400466 h 4687251"/>
              <a:gd name="connsiteX11289" fmla="*/ 6083227 w 8079933"/>
              <a:gd name="connsiteY11289" fmla="*/ 2400466 h 4687251"/>
              <a:gd name="connsiteX11290" fmla="*/ 6092885 w 8079933"/>
              <a:gd name="connsiteY11290" fmla="*/ 2399708 h 4687251"/>
              <a:gd name="connsiteX11291" fmla="*/ 6100156 w 8079933"/>
              <a:gd name="connsiteY11291" fmla="*/ 2400575 h 4687251"/>
              <a:gd name="connsiteX11292" fmla="*/ 6108186 w 8079933"/>
              <a:gd name="connsiteY11292" fmla="*/ 2400249 h 4687251"/>
              <a:gd name="connsiteX11293" fmla="*/ 6112200 w 8079933"/>
              <a:gd name="connsiteY11293" fmla="*/ 2399925 h 4687251"/>
              <a:gd name="connsiteX11294" fmla="*/ 6112200 w 8079933"/>
              <a:gd name="connsiteY11294" fmla="*/ 2399924 h 4687251"/>
              <a:gd name="connsiteX11295" fmla="*/ 6108185 w 8079933"/>
              <a:gd name="connsiteY11295" fmla="*/ 2400249 h 4687251"/>
              <a:gd name="connsiteX11296" fmla="*/ 6100155 w 8079933"/>
              <a:gd name="connsiteY11296" fmla="*/ 2400574 h 4687251"/>
              <a:gd name="connsiteX11297" fmla="*/ 6092884 w 8079933"/>
              <a:gd name="connsiteY11297" fmla="*/ 2399708 h 4687251"/>
              <a:gd name="connsiteX11298" fmla="*/ 6083227 w 8079933"/>
              <a:gd name="connsiteY11298" fmla="*/ 2400465 h 4687251"/>
              <a:gd name="connsiteX11299" fmla="*/ 6077041 w 8079933"/>
              <a:gd name="connsiteY11299" fmla="*/ 2400465 h 4687251"/>
              <a:gd name="connsiteX11300" fmla="*/ 1342350 w 8079933"/>
              <a:gd name="connsiteY11300" fmla="*/ 2398193 h 4687251"/>
              <a:gd name="connsiteX11301" fmla="*/ 1345063 w 8079933"/>
              <a:gd name="connsiteY11301" fmla="*/ 2401982 h 4687251"/>
              <a:gd name="connsiteX11302" fmla="*/ 1345823 w 8079933"/>
              <a:gd name="connsiteY11302" fmla="*/ 2405447 h 4687251"/>
              <a:gd name="connsiteX11303" fmla="*/ 1343219 w 8079933"/>
              <a:gd name="connsiteY11303" fmla="*/ 2407179 h 4687251"/>
              <a:gd name="connsiteX11304" fmla="*/ 1342350 w 8079933"/>
              <a:gd name="connsiteY11304" fmla="*/ 2402307 h 4687251"/>
              <a:gd name="connsiteX11305" fmla="*/ 1341157 w 8079933"/>
              <a:gd name="connsiteY11305" fmla="*/ 2400250 h 4687251"/>
              <a:gd name="connsiteX11306" fmla="*/ 6072049 w 8079933"/>
              <a:gd name="connsiteY11306" fmla="*/ 2398192 h 4687251"/>
              <a:gd name="connsiteX11307" fmla="*/ 6067600 w 8079933"/>
              <a:gd name="connsiteY11307" fmla="*/ 2398517 h 4687251"/>
              <a:gd name="connsiteX11308" fmla="*/ 6067601 w 8079933"/>
              <a:gd name="connsiteY11308" fmla="*/ 2398517 h 4687251"/>
              <a:gd name="connsiteX11309" fmla="*/ 6072050 w 8079933"/>
              <a:gd name="connsiteY11309" fmla="*/ 2398192 h 4687251"/>
              <a:gd name="connsiteX11310" fmla="*/ 3663630 w 8079933"/>
              <a:gd name="connsiteY11310" fmla="*/ 2396893 h 4687251"/>
              <a:gd name="connsiteX11311" fmla="*/ 3663017 w 8079933"/>
              <a:gd name="connsiteY11311" fmla="*/ 2432455 h 4687251"/>
              <a:gd name="connsiteX11312" fmla="*/ 3663630 w 8079933"/>
              <a:gd name="connsiteY11312" fmla="*/ 2396894 h 4687251"/>
              <a:gd name="connsiteX11313" fmla="*/ 3739375 w 8079933"/>
              <a:gd name="connsiteY11313" fmla="*/ 2398193 h 4687251"/>
              <a:gd name="connsiteX11314" fmla="*/ 3739375 w 8079933"/>
              <a:gd name="connsiteY11314" fmla="*/ 2398192 h 4687251"/>
              <a:gd name="connsiteX11315" fmla="*/ 6063042 w 8079933"/>
              <a:gd name="connsiteY11315" fmla="*/ 2396784 h 4687251"/>
              <a:gd name="connsiteX11316" fmla="*/ 6063042 w 8079933"/>
              <a:gd name="connsiteY11316" fmla="*/ 2396785 h 4687251"/>
              <a:gd name="connsiteX11317" fmla="*/ 6066838 w 8079933"/>
              <a:gd name="connsiteY11317" fmla="*/ 2398227 h 4687251"/>
              <a:gd name="connsiteX11318" fmla="*/ 5607346 w 8079933"/>
              <a:gd name="connsiteY11318" fmla="*/ 2396127 h 4687251"/>
              <a:gd name="connsiteX11319" fmla="*/ 5608357 w 8079933"/>
              <a:gd name="connsiteY11319" fmla="*/ 2397001 h 4687251"/>
              <a:gd name="connsiteX11320" fmla="*/ 5607336 w 8079933"/>
              <a:gd name="connsiteY11320" fmla="*/ 2399781 h 4687251"/>
              <a:gd name="connsiteX11321" fmla="*/ 5608358 w 8079933"/>
              <a:gd name="connsiteY11321" fmla="*/ 2397001 h 4687251"/>
              <a:gd name="connsiteX11322" fmla="*/ 6905348 w 8079933"/>
              <a:gd name="connsiteY11322" fmla="*/ 2393104 h 4687251"/>
              <a:gd name="connsiteX11323" fmla="*/ 6910774 w 8079933"/>
              <a:gd name="connsiteY11323" fmla="*/ 2395702 h 4687251"/>
              <a:gd name="connsiteX11324" fmla="*/ 6909905 w 8079933"/>
              <a:gd name="connsiteY11324" fmla="*/ 2400141 h 4687251"/>
              <a:gd name="connsiteX11325" fmla="*/ 6906650 w 8079933"/>
              <a:gd name="connsiteY11325" fmla="*/ 2399816 h 4687251"/>
              <a:gd name="connsiteX11326" fmla="*/ 6904805 w 8079933"/>
              <a:gd name="connsiteY11326" fmla="*/ 2398085 h 4687251"/>
              <a:gd name="connsiteX11327" fmla="*/ 5594507 w 8079933"/>
              <a:gd name="connsiteY11327" fmla="*/ 2390786 h 4687251"/>
              <a:gd name="connsiteX11328" fmla="*/ 5600436 w 8079933"/>
              <a:gd name="connsiteY11328" fmla="*/ 2394619 h 4687251"/>
              <a:gd name="connsiteX11329" fmla="*/ 5605102 w 8079933"/>
              <a:gd name="connsiteY11329" fmla="*/ 2394186 h 4687251"/>
              <a:gd name="connsiteX11330" fmla="*/ 5605102 w 8079933"/>
              <a:gd name="connsiteY11330" fmla="*/ 2394186 h 4687251"/>
              <a:gd name="connsiteX11331" fmla="*/ 5600436 w 8079933"/>
              <a:gd name="connsiteY11331" fmla="*/ 2394619 h 4687251"/>
              <a:gd name="connsiteX11332" fmla="*/ 6040796 w 8079933"/>
              <a:gd name="connsiteY11332" fmla="*/ 2389747 h 4687251"/>
              <a:gd name="connsiteX11333" fmla="*/ 6039820 w 8079933"/>
              <a:gd name="connsiteY11333" fmla="*/ 2392670 h 4687251"/>
              <a:gd name="connsiteX11334" fmla="*/ 6039820 w 8079933"/>
              <a:gd name="connsiteY11334" fmla="*/ 2392670 h 4687251"/>
              <a:gd name="connsiteX11335" fmla="*/ 5591646 w 8079933"/>
              <a:gd name="connsiteY11335" fmla="*/ 2380868 h 4687251"/>
              <a:gd name="connsiteX11336" fmla="*/ 5591646 w 8079933"/>
              <a:gd name="connsiteY11336" fmla="*/ 2380869 h 4687251"/>
              <a:gd name="connsiteX11337" fmla="*/ 5591711 w 8079933"/>
              <a:gd name="connsiteY11337" fmla="*/ 2381391 h 4687251"/>
              <a:gd name="connsiteX11338" fmla="*/ 6814519 w 8079933"/>
              <a:gd name="connsiteY11338" fmla="*/ 2378488 h 4687251"/>
              <a:gd name="connsiteX11339" fmla="*/ 6819837 w 8079933"/>
              <a:gd name="connsiteY11339" fmla="*/ 2380329 h 4687251"/>
              <a:gd name="connsiteX11340" fmla="*/ 6822441 w 8079933"/>
              <a:gd name="connsiteY11340" fmla="*/ 2385742 h 4687251"/>
              <a:gd name="connsiteX11341" fmla="*/ 6823960 w 8079933"/>
              <a:gd name="connsiteY11341" fmla="*/ 2385742 h 4687251"/>
              <a:gd name="connsiteX11342" fmla="*/ 6828083 w 8079933"/>
              <a:gd name="connsiteY11342" fmla="*/ 2388774 h 4687251"/>
              <a:gd name="connsiteX11343" fmla="*/ 6828952 w 8079933"/>
              <a:gd name="connsiteY11343" fmla="*/ 2392888 h 4687251"/>
              <a:gd name="connsiteX11344" fmla="*/ 6827216 w 8079933"/>
              <a:gd name="connsiteY11344" fmla="*/ 2393213 h 4687251"/>
              <a:gd name="connsiteX11345" fmla="*/ 6825696 w 8079933"/>
              <a:gd name="connsiteY11345" fmla="*/ 2399601 h 4687251"/>
              <a:gd name="connsiteX11346" fmla="*/ 6824503 w 8079933"/>
              <a:gd name="connsiteY11346" fmla="*/ 2412052 h 4687251"/>
              <a:gd name="connsiteX11347" fmla="*/ 6821898 w 8079933"/>
              <a:gd name="connsiteY11347" fmla="*/ 2417032 h 4687251"/>
              <a:gd name="connsiteX11348" fmla="*/ 6822983 w 8079933"/>
              <a:gd name="connsiteY11348" fmla="*/ 2423853 h 4687251"/>
              <a:gd name="connsiteX11349" fmla="*/ 6822441 w 8079933"/>
              <a:gd name="connsiteY11349" fmla="*/ 2430242 h 4687251"/>
              <a:gd name="connsiteX11350" fmla="*/ 6821030 w 8079933"/>
              <a:gd name="connsiteY11350" fmla="*/ 2439336 h 4687251"/>
              <a:gd name="connsiteX11351" fmla="*/ 6823310 w 8079933"/>
              <a:gd name="connsiteY11351" fmla="*/ 2440203 h 4687251"/>
              <a:gd name="connsiteX11352" fmla="*/ 6821573 w 8079933"/>
              <a:gd name="connsiteY11352" fmla="*/ 2441935 h 4687251"/>
              <a:gd name="connsiteX11353" fmla="*/ 6821356 w 8079933"/>
              <a:gd name="connsiteY11353" fmla="*/ 2447781 h 4687251"/>
              <a:gd name="connsiteX11354" fmla="*/ 6815387 w 8079933"/>
              <a:gd name="connsiteY11354" fmla="*/ 2456877 h 4687251"/>
              <a:gd name="connsiteX11355" fmla="*/ 6811372 w 8079933"/>
              <a:gd name="connsiteY11355" fmla="*/ 2462181 h 4687251"/>
              <a:gd name="connsiteX11356" fmla="*/ 6813760 w 8079933"/>
              <a:gd name="connsiteY11356" fmla="*/ 2469219 h 4687251"/>
              <a:gd name="connsiteX11357" fmla="*/ 6812566 w 8079933"/>
              <a:gd name="connsiteY11357" fmla="*/ 2474957 h 4687251"/>
              <a:gd name="connsiteX11358" fmla="*/ 6813651 w 8079933"/>
              <a:gd name="connsiteY11358" fmla="*/ 2479722 h 4687251"/>
              <a:gd name="connsiteX11359" fmla="*/ 6810179 w 8079933"/>
              <a:gd name="connsiteY11359" fmla="*/ 2478530 h 4687251"/>
              <a:gd name="connsiteX11360" fmla="*/ 6806706 w 8079933"/>
              <a:gd name="connsiteY11360" fmla="*/ 2479722 h 4687251"/>
              <a:gd name="connsiteX11361" fmla="*/ 6806380 w 8079933"/>
              <a:gd name="connsiteY11361" fmla="*/ 2475824 h 4687251"/>
              <a:gd name="connsiteX11362" fmla="*/ 6806706 w 8079933"/>
              <a:gd name="connsiteY11362" fmla="*/ 2470302 h 4687251"/>
              <a:gd name="connsiteX11363" fmla="*/ 6803343 w 8079933"/>
              <a:gd name="connsiteY11363" fmla="*/ 2465105 h 4687251"/>
              <a:gd name="connsiteX11364" fmla="*/ 6796615 w 8079933"/>
              <a:gd name="connsiteY11364" fmla="*/ 2462940 h 4687251"/>
              <a:gd name="connsiteX11365" fmla="*/ 6795855 w 8079933"/>
              <a:gd name="connsiteY11365" fmla="*/ 2459800 h 4687251"/>
              <a:gd name="connsiteX11366" fmla="*/ 6793359 w 8079933"/>
              <a:gd name="connsiteY11366" fmla="*/ 2459150 h 4687251"/>
              <a:gd name="connsiteX11367" fmla="*/ 6790755 w 8079933"/>
              <a:gd name="connsiteY11367" fmla="*/ 2455144 h 4687251"/>
              <a:gd name="connsiteX11368" fmla="*/ 6790863 w 8079933"/>
              <a:gd name="connsiteY11368" fmla="*/ 2452220 h 4687251"/>
              <a:gd name="connsiteX11369" fmla="*/ 6791949 w 8079933"/>
              <a:gd name="connsiteY11369" fmla="*/ 2451896 h 4687251"/>
              <a:gd name="connsiteX11370" fmla="*/ 6791297 w 8079933"/>
              <a:gd name="connsiteY11370" fmla="*/ 2449189 h 4687251"/>
              <a:gd name="connsiteX11371" fmla="*/ 6788801 w 8079933"/>
              <a:gd name="connsiteY11371" fmla="*/ 2447565 h 4687251"/>
              <a:gd name="connsiteX11372" fmla="*/ 6788150 w 8079933"/>
              <a:gd name="connsiteY11372" fmla="*/ 2437929 h 4687251"/>
              <a:gd name="connsiteX11373" fmla="*/ 6787933 w 8079933"/>
              <a:gd name="connsiteY11373" fmla="*/ 2428618 h 4687251"/>
              <a:gd name="connsiteX11374" fmla="*/ 6786414 w 8079933"/>
              <a:gd name="connsiteY11374" fmla="*/ 2426452 h 4687251"/>
              <a:gd name="connsiteX11375" fmla="*/ 6788150 w 8079933"/>
              <a:gd name="connsiteY11375" fmla="*/ 2425045 h 4687251"/>
              <a:gd name="connsiteX11376" fmla="*/ 6790755 w 8079933"/>
              <a:gd name="connsiteY11376" fmla="*/ 2415625 h 4687251"/>
              <a:gd name="connsiteX11377" fmla="*/ 6795855 w 8079933"/>
              <a:gd name="connsiteY11377" fmla="*/ 2406530 h 4687251"/>
              <a:gd name="connsiteX11378" fmla="*/ 6797916 w 8079933"/>
              <a:gd name="connsiteY11378" fmla="*/ 2404581 h 4687251"/>
              <a:gd name="connsiteX11379" fmla="*/ 6798785 w 8079933"/>
              <a:gd name="connsiteY11379" fmla="*/ 2401333 h 4687251"/>
              <a:gd name="connsiteX11380" fmla="*/ 6797591 w 8079933"/>
              <a:gd name="connsiteY11380" fmla="*/ 2399168 h 4687251"/>
              <a:gd name="connsiteX11381" fmla="*/ 6802474 w 8079933"/>
              <a:gd name="connsiteY11381" fmla="*/ 2390831 h 4687251"/>
              <a:gd name="connsiteX11382" fmla="*/ 6807574 w 8079933"/>
              <a:gd name="connsiteY11382" fmla="*/ 2384984 h 4687251"/>
              <a:gd name="connsiteX11383" fmla="*/ 6811915 w 8079933"/>
              <a:gd name="connsiteY11383" fmla="*/ 2383469 h 4687251"/>
              <a:gd name="connsiteX11384" fmla="*/ 6811372 w 8079933"/>
              <a:gd name="connsiteY11384" fmla="*/ 2380220 h 4687251"/>
              <a:gd name="connsiteX11385" fmla="*/ 5398702 w 8079933"/>
              <a:gd name="connsiteY11385" fmla="*/ 2378272 h 4687251"/>
              <a:gd name="connsiteX11386" fmla="*/ 5396206 w 8079933"/>
              <a:gd name="connsiteY11386" fmla="*/ 2382927 h 4687251"/>
              <a:gd name="connsiteX11387" fmla="*/ 5397509 w 8079933"/>
              <a:gd name="connsiteY11387" fmla="*/ 2387041 h 4687251"/>
              <a:gd name="connsiteX11388" fmla="*/ 5397510 w 8079933"/>
              <a:gd name="connsiteY11388" fmla="*/ 2387040 h 4687251"/>
              <a:gd name="connsiteX11389" fmla="*/ 5396207 w 8079933"/>
              <a:gd name="connsiteY11389" fmla="*/ 2382926 h 4687251"/>
              <a:gd name="connsiteX11390" fmla="*/ 6182302 w 8079933"/>
              <a:gd name="connsiteY11390" fmla="*/ 2376647 h 4687251"/>
              <a:gd name="connsiteX11391" fmla="*/ 6179046 w 8079933"/>
              <a:gd name="connsiteY11391" fmla="*/ 2386174 h 4687251"/>
              <a:gd name="connsiteX11392" fmla="*/ 6176484 w 8079933"/>
              <a:gd name="connsiteY11392" fmla="*/ 2390297 h 4687251"/>
              <a:gd name="connsiteX11393" fmla="*/ 6179046 w 8079933"/>
              <a:gd name="connsiteY11393" fmla="*/ 2386175 h 4687251"/>
              <a:gd name="connsiteX11394" fmla="*/ 6182302 w 8079933"/>
              <a:gd name="connsiteY11394" fmla="*/ 2376647 h 4687251"/>
              <a:gd name="connsiteX11395" fmla="*/ 6768400 w 8079933"/>
              <a:gd name="connsiteY11395" fmla="*/ 2374699 h 4687251"/>
              <a:gd name="connsiteX11396" fmla="*/ 6770136 w 8079933"/>
              <a:gd name="connsiteY11396" fmla="*/ 2376540 h 4687251"/>
              <a:gd name="connsiteX11397" fmla="*/ 6770028 w 8079933"/>
              <a:gd name="connsiteY11397" fmla="*/ 2380005 h 4687251"/>
              <a:gd name="connsiteX11398" fmla="*/ 6767532 w 8079933"/>
              <a:gd name="connsiteY11398" fmla="*/ 2380871 h 4687251"/>
              <a:gd name="connsiteX11399" fmla="*/ 6766555 w 8079933"/>
              <a:gd name="connsiteY11399" fmla="*/ 2375565 h 4687251"/>
              <a:gd name="connsiteX11400" fmla="*/ 6036022 w 8079933"/>
              <a:gd name="connsiteY11400" fmla="*/ 2374264 h 4687251"/>
              <a:gd name="connsiteX11401" fmla="*/ 6036022 w 8079933"/>
              <a:gd name="connsiteY11401" fmla="*/ 2374264 h 4687251"/>
              <a:gd name="connsiteX11402" fmla="*/ 6041013 w 8079933"/>
              <a:gd name="connsiteY11402" fmla="*/ 2374914 h 4687251"/>
              <a:gd name="connsiteX11403" fmla="*/ 6041014 w 8079933"/>
              <a:gd name="connsiteY11403" fmla="*/ 2374914 h 4687251"/>
              <a:gd name="connsiteX11404" fmla="*/ 5407327 w 8079933"/>
              <a:gd name="connsiteY11404" fmla="*/ 2373875 h 4687251"/>
              <a:gd name="connsiteX11405" fmla="*/ 5405973 w 8079933"/>
              <a:gd name="connsiteY11405" fmla="*/ 2375348 h 4687251"/>
              <a:gd name="connsiteX11406" fmla="*/ 5405974 w 8079933"/>
              <a:gd name="connsiteY11406" fmla="*/ 2375347 h 4687251"/>
              <a:gd name="connsiteX11407" fmla="*/ 6040037 w 8079933"/>
              <a:gd name="connsiteY11407" fmla="*/ 2371666 h 4687251"/>
              <a:gd name="connsiteX11408" fmla="*/ 6043400 w 8079933"/>
              <a:gd name="connsiteY11408" fmla="*/ 2373723 h 4687251"/>
              <a:gd name="connsiteX11409" fmla="*/ 6041549 w 8079933"/>
              <a:gd name="connsiteY11409" fmla="*/ 2374647 h 4687251"/>
              <a:gd name="connsiteX11410" fmla="*/ 6043401 w 8079933"/>
              <a:gd name="connsiteY11410" fmla="*/ 2373723 h 4687251"/>
              <a:gd name="connsiteX11411" fmla="*/ 6045788 w 8079933"/>
              <a:gd name="connsiteY11411" fmla="*/ 2371435 h 4687251"/>
              <a:gd name="connsiteX11412" fmla="*/ 6046548 w 8079933"/>
              <a:gd name="connsiteY11412" fmla="*/ 2372099 h 4687251"/>
              <a:gd name="connsiteX11413" fmla="*/ 6048935 w 8079933"/>
              <a:gd name="connsiteY11413" fmla="*/ 2374481 h 4687251"/>
              <a:gd name="connsiteX11414" fmla="*/ 6053601 w 8079933"/>
              <a:gd name="connsiteY11414" fmla="*/ 2375996 h 4687251"/>
              <a:gd name="connsiteX11415" fmla="*/ 6053927 w 8079933"/>
              <a:gd name="connsiteY11415" fmla="*/ 2374264 h 4687251"/>
              <a:gd name="connsiteX11416" fmla="*/ 6056314 w 8079933"/>
              <a:gd name="connsiteY11416" fmla="*/ 2373723 h 4687251"/>
              <a:gd name="connsiteX11417" fmla="*/ 6059678 w 8079933"/>
              <a:gd name="connsiteY11417" fmla="*/ 2379570 h 4687251"/>
              <a:gd name="connsiteX11418" fmla="*/ 6060655 w 8079933"/>
              <a:gd name="connsiteY11418" fmla="*/ 2385308 h 4687251"/>
              <a:gd name="connsiteX11419" fmla="*/ 6061306 w 8079933"/>
              <a:gd name="connsiteY11419" fmla="*/ 2388231 h 4687251"/>
              <a:gd name="connsiteX11420" fmla="*/ 6063259 w 8079933"/>
              <a:gd name="connsiteY11420" fmla="*/ 2393320 h 4687251"/>
              <a:gd name="connsiteX11421" fmla="*/ 6063259 w 8079933"/>
              <a:gd name="connsiteY11421" fmla="*/ 2393320 h 4687251"/>
              <a:gd name="connsiteX11422" fmla="*/ 6061306 w 8079933"/>
              <a:gd name="connsiteY11422" fmla="*/ 2388231 h 4687251"/>
              <a:gd name="connsiteX11423" fmla="*/ 6060655 w 8079933"/>
              <a:gd name="connsiteY11423" fmla="*/ 2385308 h 4687251"/>
              <a:gd name="connsiteX11424" fmla="*/ 6059678 w 8079933"/>
              <a:gd name="connsiteY11424" fmla="*/ 2379569 h 4687251"/>
              <a:gd name="connsiteX11425" fmla="*/ 6056314 w 8079933"/>
              <a:gd name="connsiteY11425" fmla="*/ 2373723 h 4687251"/>
              <a:gd name="connsiteX11426" fmla="*/ 6053927 w 8079933"/>
              <a:gd name="connsiteY11426" fmla="*/ 2374264 h 4687251"/>
              <a:gd name="connsiteX11427" fmla="*/ 6053601 w 8079933"/>
              <a:gd name="connsiteY11427" fmla="*/ 2375996 h 4687251"/>
              <a:gd name="connsiteX11428" fmla="*/ 6048935 w 8079933"/>
              <a:gd name="connsiteY11428" fmla="*/ 2374480 h 4687251"/>
              <a:gd name="connsiteX11429" fmla="*/ 6046548 w 8079933"/>
              <a:gd name="connsiteY11429" fmla="*/ 2372098 h 4687251"/>
              <a:gd name="connsiteX11430" fmla="*/ 6032549 w 8079933"/>
              <a:gd name="connsiteY11430" fmla="*/ 2369933 h 4687251"/>
              <a:gd name="connsiteX11431" fmla="*/ 6032549 w 8079933"/>
              <a:gd name="connsiteY11431" fmla="*/ 2369933 h 4687251"/>
              <a:gd name="connsiteX11432" fmla="*/ 6033086 w 8079933"/>
              <a:gd name="connsiteY11432" fmla="*/ 2370603 h 4687251"/>
              <a:gd name="connsiteX11433" fmla="*/ 6026689 w 8079933"/>
              <a:gd name="connsiteY11433" fmla="*/ 2369825 h 4687251"/>
              <a:gd name="connsiteX11434" fmla="*/ 6024518 w 8079933"/>
              <a:gd name="connsiteY11434" fmla="*/ 2375996 h 4687251"/>
              <a:gd name="connsiteX11435" fmla="*/ 6019852 w 8079933"/>
              <a:gd name="connsiteY11435" fmla="*/ 2381302 h 4687251"/>
              <a:gd name="connsiteX11436" fmla="*/ 6019093 w 8079933"/>
              <a:gd name="connsiteY11436" fmla="*/ 2387040 h 4687251"/>
              <a:gd name="connsiteX11437" fmla="*/ 6019853 w 8079933"/>
              <a:gd name="connsiteY11437" fmla="*/ 2381302 h 4687251"/>
              <a:gd name="connsiteX11438" fmla="*/ 6024519 w 8079933"/>
              <a:gd name="connsiteY11438" fmla="*/ 2375996 h 4687251"/>
              <a:gd name="connsiteX11439" fmla="*/ 3747258 w 8079933"/>
              <a:gd name="connsiteY11439" fmla="*/ 2369152 h 4687251"/>
              <a:gd name="connsiteX11440" fmla="*/ 3827056 w 8079933"/>
              <a:gd name="connsiteY11440" fmla="*/ 2422662 h 4687251"/>
              <a:gd name="connsiteX11441" fmla="*/ 3827056 w 8079933"/>
              <a:gd name="connsiteY11441" fmla="*/ 2422771 h 4687251"/>
              <a:gd name="connsiteX11442" fmla="*/ 3826839 w 8079933"/>
              <a:gd name="connsiteY11442" fmla="*/ 2422554 h 4687251"/>
              <a:gd name="connsiteX11443" fmla="*/ 3826838 w 8079933"/>
              <a:gd name="connsiteY11443" fmla="*/ 2422554 h 4687251"/>
              <a:gd name="connsiteX11444" fmla="*/ 3827055 w 8079933"/>
              <a:gd name="connsiteY11444" fmla="*/ 2422770 h 4687251"/>
              <a:gd name="connsiteX11445" fmla="*/ 3983645 w 8079933"/>
              <a:gd name="connsiteY11445" fmla="*/ 2526385 h 4687251"/>
              <a:gd name="connsiteX11446" fmla="*/ 3986466 w 8079933"/>
              <a:gd name="connsiteY11446" fmla="*/ 2537754 h 4687251"/>
              <a:gd name="connsiteX11447" fmla="*/ 3991458 w 8079933"/>
              <a:gd name="connsiteY11447" fmla="*/ 2542409 h 4687251"/>
              <a:gd name="connsiteX11448" fmla="*/ 3991459 w 8079933"/>
              <a:gd name="connsiteY11448" fmla="*/ 2542409 h 4687251"/>
              <a:gd name="connsiteX11449" fmla="*/ 3986467 w 8079933"/>
              <a:gd name="connsiteY11449" fmla="*/ 2537753 h 4687251"/>
              <a:gd name="connsiteX11450" fmla="*/ 3983646 w 8079933"/>
              <a:gd name="connsiteY11450" fmla="*/ 2526385 h 4687251"/>
              <a:gd name="connsiteX11451" fmla="*/ 3827056 w 8079933"/>
              <a:gd name="connsiteY11451" fmla="*/ 2422770 h 4687251"/>
              <a:gd name="connsiteX11452" fmla="*/ 3827056 w 8079933"/>
              <a:gd name="connsiteY11452" fmla="*/ 2422662 h 4687251"/>
              <a:gd name="connsiteX11453" fmla="*/ 5584050 w 8079933"/>
              <a:gd name="connsiteY11453" fmla="*/ 2367443 h 4687251"/>
              <a:gd name="connsiteX11454" fmla="*/ 5581446 w 8079933"/>
              <a:gd name="connsiteY11454" fmla="*/ 2368742 h 4687251"/>
              <a:gd name="connsiteX11455" fmla="*/ 5584050 w 8079933"/>
              <a:gd name="connsiteY11455" fmla="*/ 2367443 h 4687251"/>
              <a:gd name="connsiteX11456" fmla="*/ 5588607 w 8079933"/>
              <a:gd name="connsiteY11456" fmla="*/ 2367552 h 4687251"/>
              <a:gd name="connsiteX11457" fmla="*/ 5589453 w 8079933"/>
              <a:gd name="connsiteY11457" fmla="*/ 2369403 h 4687251"/>
              <a:gd name="connsiteX11458" fmla="*/ 5588607 w 8079933"/>
              <a:gd name="connsiteY11458" fmla="*/ 2367551 h 4687251"/>
              <a:gd name="connsiteX11459" fmla="*/ 5574688 w 8079933"/>
              <a:gd name="connsiteY11459" fmla="*/ 2366964 h 4687251"/>
              <a:gd name="connsiteX11460" fmla="*/ 5571896 w 8079933"/>
              <a:gd name="connsiteY11460" fmla="*/ 2367118 h 4687251"/>
              <a:gd name="connsiteX11461" fmla="*/ 5571896 w 8079933"/>
              <a:gd name="connsiteY11461" fmla="*/ 2367119 h 4687251"/>
              <a:gd name="connsiteX11462" fmla="*/ 3740351 w 8079933"/>
              <a:gd name="connsiteY11462" fmla="*/ 2364521 h 4687251"/>
              <a:gd name="connsiteX11463" fmla="*/ 3740351 w 8079933"/>
              <a:gd name="connsiteY11463" fmla="*/ 2364735 h 4687251"/>
              <a:gd name="connsiteX11464" fmla="*/ 3740351 w 8079933"/>
              <a:gd name="connsiteY11464" fmla="*/ 2364736 h 4687251"/>
              <a:gd name="connsiteX11465" fmla="*/ 3740351 w 8079933"/>
              <a:gd name="connsiteY11465" fmla="*/ 2364521 h 4687251"/>
              <a:gd name="connsiteX11466" fmla="*/ 2115422 w 8079933"/>
              <a:gd name="connsiteY11466" fmla="*/ 2363979 h 4687251"/>
              <a:gd name="connsiteX11467" fmla="*/ 2122801 w 8079933"/>
              <a:gd name="connsiteY11467" fmla="*/ 2363979 h 4687251"/>
              <a:gd name="connsiteX11468" fmla="*/ 2128010 w 8079933"/>
              <a:gd name="connsiteY11468" fmla="*/ 2368742 h 4687251"/>
              <a:gd name="connsiteX11469" fmla="*/ 2124212 w 8079933"/>
              <a:gd name="connsiteY11469" fmla="*/ 2368201 h 4687251"/>
              <a:gd name="connsiteX11470" fmla="*/ 2119546 w 8079933"/>
              <a:gd name="connsiteY11470" fmla="*/ 2367227 h 4687251"/>
              <a:gd name="connsiteX11471" fmla="*/ 2110539 w 8079933"/>
              <a:gd name="connsiteY11471" fmla="*/ 2373507 h 4687251"/>
              <a:gd name="connsiteX11472" fmla="*/ 2105764 w 8079933"/>
              <a:gd name="connsiteY11472" fmla="*/ 2372640 h 4687251"/>
              <a:gd name="connsiteX11473" fmla="*/ 2099688 w 8079933"/>
              <a:gd name="connsiteY11473" fmla="*/ 2366036 h 4687251"/>
              <a:gd name="connsiteX11474" fmla="*/ 2105764 w 8079933"/>
              <a:gd name="connsiteY11474" fmla="*/ 2366036 h 4687251"/>
              <a:gd name="connsiteX11475" fmla="*/ 2108694 w 8079933"/>
              <a:gd name="connsiteY11475" fmla="*/ 2368093 h 4687251"/>
              <a:gd name="connsiteX11476" fmla="*/ 2135173 w 8079933"/>
              <a:gd name="connsiteY11476" fmla="*/ 2360948 h 4687251"/>
              <a:gd name="connsiteX11477" fmla="*/ 2142444 w 8079933"/>
              <a:gd name="connsiteY11477" fmla="*/ 2366037 h 4687251"/>
              <a:gd name="connsiteX11478" fmla="*/ 2143313 w 8079933"/>
              <a:gd name="connsiteY11478" fmla="*/ 2370584 h 4687251"/>
              <a:gd name="connsiteX11479" fmla="*/ 2146785 w 8079933"/>
              <a:gd name="connsiteY11479" fmla="*/ 2372858 h 4687251"/>
              <a:gd name="connsiteX11480" fmla="*/ 2146785 w 8079933"/>
              <a:gd name="connsiteY11480" fmla="*/ 2379354 h 4687251"/>
              <a:gd name="connsiteX11481" fmla="*/ 2142119 w 8079933"/>
              <a:gd name="connsiteY11481" fmla="*/ 2382277 h 4687251"/>
              <a:gd name="connsiteX11482" fmla="*/ 2142444 w 8079933"/>
              <a:gd name="connsiteY11482" fmla="*/ 2386500 h 4687251"/>
              <a:gd name="connsiteX11483" fmla="*/ 2138429 w 8079933"/>
              <a:gd name="connsiteY11483" fmla="*/ 2390505 h 4687251"/>
              <a:gd name="connsiteX11484" fmla="*/ 2140165 w 8079933"/>
              <a:gd name="connsiteY11484" fmla="*/ 2382602 h 4687251"/>
              <a:gd name="connsiteX11485" fmla="*/ 2138863 w 8079933"/>
              <a:gd name="connsiteY11485" fmla="*/ 2378162 h 4687251"/>
              <a:gd name="connsiteX11486" fmla="*/ 2141902 w 8079933"/>
              <a:gd name="connsiteY11486" fmla="*/ 2375239 h 4687251"/>
              <a:gd name="connsiteX11487" fmla="*/ 2136584 w 8079933"/>
              <a:gd name="connsiteY11487" fmla="*/ 2368419 h 4687251"/>
              <a:gd name="connsiteX11488" fmla="*/ 2135716 w 8079933"/>
              <a:gd name="connsiteY11488" fmla="*/ 2363546 h 4687251"/>
              <a:gd name="connsiteX11489" fmla="*/ 2128554 w 8079933"/>
              <a:gd name="connsiteY11489" fmla="*/ 2361164 h 4687251"/>
              <a:gd name="connsiteX11490" fmla="*/ 6027557 w 8079933"/>
              <a:gd name="connsiteY11490" fmla="*/ 2360839 h 4687251"/>
              <a:gd name="connsiteX11491" fmla="*/ 6026147 w 8079933"/>
              <a:gd name="connsiteY11491" fmla="*/ 2364303 h 4687251"/>
              <a:gd name="connsiteX11492" fmla="*/ 6024085 w 8079933"/>
              <a:gd name="connsiteY11492" fmla="*/ 2364520 h 4687251"/>
              <a:gd name="connsiteX11493" fmla="*/ 6026147 w 8079933"/>
              <a:gd name="connsiteY11493" fmla="*/ 2364304 h 4687251"/>
              <a:gd name="connsiteX11494" fmla="*/ 6027558 w 8079933"/>
              <a:gd name="connsiteY11494" fmla="*/ 2360840 h 4687251"/>
              <a:gd name="connsiteX11495" fmla="*/ 3740351 w 8079933"/>
              <a:gd name="connsiteY11495" fmla="*/ 2357838 h 4687251"/>
              <a:gd name="connsiteX11496" fmla="*/ 3740350 w 8079933"/>
              <a:gd name="connsiteY11496" fmla="*/ 2357937 h 4687251"/>
              <a:gd name="connsiteX11497" fmla="*/ 3740351 w 8079933"/>
              <a:gd name="connsiteY11497" fmla="*/ 2357838 h 4687251"/>
              <a:gd name="connsiteX11498" fmla="*/ 6098675 w 8079933"/>
              <a:gd name="connsiteY11498" fmla="*/ 2355150 h 4687251"/>
              <a:gd name="connsiteX11499" fmla="*/ 6095163 w 8079933"/>
              <a:gd name="connsiteY11499" fmla="*/ 2356291 h 4687251"/>
              <a:gd name="connsiteX11500" fmla="*/ 6092766 w 8079933"/>
              <a:gd name="connsiteY11500" fmla="*/ 2356135 h 4687251"/>
              <a:gd name="connsiteX11501" fmla="*/ 6095163 w 8079933"/>
              <a:gd name="connsiteY11501" fmla="*/ 2356292 h 4687251"/>
              <a:gd name="connsiteX11502" fmla="*/ 6033673 w 8079933"/>
              <a:gd name="connsiteY11502" fmla="*/ 2353575 h 4687251"/>
              <a:gd name="connsiteX11503" fmla="*/ 6035370 w 8079933"/>
              <a:gd name="connsiteY11503" fmla="*/ 2356292 h 4687251"/>
              <a:gd name="connsiteX11504" fmla="*/ 6041717 w 8079933"/>
              <a:gd name="connsiteY11504" fmla="*/ 2357575 h 4687251"/>
              <a:gd name="connsiteX11505" fmla="*/ 6035370 w 8079933"/>
              <a:gd name="connsiteY11505" fmla="*/ 2356291 h 4687251"/>
              <a:gd name="connsiteX11506" fmla="*/ 3526140 w 8079933"/>
              <a:gd name="connsiteY11506" fmla="*/ 2352719 h 4687251"/>
              <a:gd name="connsiteX11507" fmla="*/ 3527659 w 8079933"/>
              <a:gd name="connsiteY11507" fmla="*/ 2353152 h 4687251"/>
              <a:gd name="connsiteX11508" fmla="*/ 3527659 w 8079933"/>
              <a:gd name="connsiteY11508" fmla="*/ 2356184 h 4687251"/>
              <a:gd name="connsiteX11509" fmla="*/ 3525923 w 8079933"/>
              <a:gd name="connsiteY11509" fmla="*/ 2357483 h 4687251"/>
              <a:gd name="connsiteX11510" fmla="*/ 3524621 w 8079933"/>
              <a:gd name="connsiteY11510" fmla="*/ 2356833 h 4687251"/>
              <a:gd name="connsiteX11511" fmla="*/ 3523644 w 8079933"/>
              <a:gd name="connsiteY11511" fmla="*/ 2354451 h 4687251"/>
              <a:gd name="connsiteX11512" fmla="*/ 6104604 w 8079933"/>
              <a:gd name="connsiteY11512" fmla="*/ 2349362 h 4687251"/>
              <a:gd name="connsiteX11513" fmla="*/ 6104604 w 8079933"/>
              <a:gd name="connsiteY11513" fmla="*/ 2349362 h 4687251"/>
              <a:gd name="connsiteX11514" fmla="*/ 6104821 w 8079933"/>
              <a:gd name="connsiteY11514" fmla="*/ 2353151 h 4687251"/>
              <a:gd name="connsiteX11515" fmla="*/ 4169147 w 8079933"/>
              <a:gd name="connsiteY11515" fmla="*/ 2348776 h 4687251"/>
              <a:gd name="connsiteX11516" fmla="*/ 4169752 w 8079933"/>
              <a:gd name="connsiteY11516" fmla="*/ 2350229 h 4687251"/>
              <a:gd name="connsiteX11517" fmla="*/ 4169752 w 8079933"/>
              <a:gd name="connsiteY11517" fmla="*/ 2350228 h 4687251"/>
              <a:gd name="connsiteX11518" fmla="*/ 6263689 w 8079933"/>
              <a:gd name="connsiteY11518" fmla="*/ 2347305 h 4687251"/>
              <a:gd name="connsiteX11519" fmla="*/ 6263689 w 8079933"/>
              <a:gd name="connsiteY11519" fmla="*/ 2347305 h 4687251"/>
              <a:gd name="connsiteX11520" fmla="*/ 6267596 w 8079933"/>
              <a:gd name="connsiteY11520" fmla="*/ 2355317 h 4687251"/>
              <a:gd name="connsiteX11521" fmla="*/ 1668768 w 8079933"/>
              <a:gd name="connsiteY11521" fmla="*/ 2346656 h 4687251"/>
              <a:gd name="connsiteX11522" fmla="*/ 1666272 w 8079933"/>
              <a:gd name="connsiteY11522" fmla="*/ 2358024 h 4687251"/>
              <a:gd name="connsiteX11523" fmla="*/ 1665621 w 8079933"/>
              <a:gd name="connsiteY11523" fmla="*/ 2368851 h 4687251"/>
              <a:gd name="connsiteX11524" fmla="*/ 1667791 w 8079933"/>
              <a:gd name="connsiteY11524" fmla="*/ 2376538 h 4687251"/>
              <a:gd name="connsiteX11525" fmla="*/ 1664428 w 8079933"/>
              <a:gd name="connsiteY11525" fmla="*/ 2368310 h 4687251"/>
              <a:gd name="connsiteX11526" fmla="*/ 1664428 w 8079933"/>
              <a:gd name="connsiteY11526" fmla="*/ 2357483 h 4687251"/>
              <a:gd name="connsiteX11527" fmla="*/ 6014101 w 8079933"/>
              <a:gd name="connsiteY11527" fmla="*/ 2346006 h 4687251"/>
              <a:gd name="connsiteX11528" fmla="*/ 6014101 w 8079933"/>
              <a:gd name="connsiteY11528" fmla="*/ 2346007 h 4687251"/>
              <a:gd name="connsiteX11529" fmla="*/ 6018550 w 8079933"/>
              <a:gd name="connsiteY11529" fmla="*/ 2355318 h 4687251"/>
              <a:gd name="connsiteX11530" fmla="*/ 6018550 w 8079933"/>
              <a:gd name="connsiteY11530" fmla="*/ 2355317 h 4687251"/>
              <a:gd name="connsiteX11531" fmla="*/ 5582476 w 8079933"/>
              <a:gd name="connsiteY11531" fmla="*/ 2345681 h 4687251"/>
              <a:gd name="connsiteX11532" fmla="*/ 5579275 w 8079933"/>
              <a:gd name="connsiteY11532" fmla="*/ 2350228 h 4687251"/>
              <a:gd name="connsiteX11533" fmla="*/ 5578081 w 8079933"/>
              <a:gd name="connsiteY11533" fmla="*/ 2350625 h 4687251"/>
              <a:gd name="connsiteX11534" fmla="*/ 5579275 w 8079933"/>
              <a:gd name="connsiteY11534" fmla="*/ 2350228 h 4687251"/>
              <a:gd name="connsiteX11535" fmla="*/ 6200918 w 8079933"/>
              <a:gd name="connsiteY11535" fmla="*/ 2344685 h 4687251"/>
              <a:gd name="connsiteX11536" fmla="*/ 6200098 w 8079933"/>
              <a:gd name="connsiteY11536" fmla="*/ 2346655 h 4687251"/>
              <a:gd name="connsiteX11537" fmla="*/ 6194347 w 8079933"/>
              <a:gd name="connsiteY11537" fmla="*/ 2353693 h 4687251"/>
              <a:gd name="connsiteX11538" fmla="*/ 6189030 w 8079933"/>
              <a:gd name="connsiteY11538" fmla="*/ 2355533 h 4687251"/>
              <a:gd name="connsiteX11539" fmla="*/ 6181108 w 8079933"/>
              <a:gd name="connsiteY11539" fmla="*/ 2367984 h 4687251"/>
              <a:gd name="connsiteX11540" fmla="*/ 6180749 w 8079933"/>
              <a:gd name="connsiteY11540" fmla="*/ 2369676 h 4687251"/>
              <a:gd name="connsiteX11541" fmla="*/ 6181108 w 8079933"/>
              <a:gd name="connsiteY11541" fmla="*/ 2367986 h 4687251"/>
              <a:gd name="connsiteX11542" fmla="*/ 6189030 w 8079933"/>
              <a:gd name="connsiteY11542" fmla="*/ 2355534 h 4687251"/>
              <a:gd name="connsiteX11543" fmla="*/ 6194347 w 8079933"/>
              <a:gd name="connsiteY11543" fmla="*/ 2353694 h 4687251"/>
              <a:gd name="connsiteX11544" fmla="*/ 6200098 w 8079933"/>
              <a:gd name="connsiteY11544" fmla="*/ 2346656 h 4687251"/>
              <a:gd name="connsiteX11545" fmla="*/ 6032476 w 8079933"/>
              <a:gd name="connsiteY11545" fmla="*/ 2344622 h 4687251"/>
              <a:gd name="connsiteX11546" fmla="*/ 6032441 w 8079933"/>
              <a:gd name="connsiteY11546" fmla="*/ 2344923 h 4687251"/>
              <a:gd name="connsiteX11547" fmla="*/ 6030704 w 8079933"/>
              <a:gd name="connsiteY11547" fmla="*/ 2348821 h 4687251"/>
              <a:gd name="connsiteX11548" fmla="*/ 6030704 w 8079933"/>
              <a:gd name="connsiteY11548" fmla="*/ 2348821 h 4687251"/>
              <a:gd name="connsiteX11549" fmla="*/ 6032441 w 8079933"/>
              <a:gd name="connsiteY11549" fmla="*/ 2344923 h 4687251"/>
              <a:gd name="connsiteX11550" fmla="*/ 3576491 w 8079933"/>
              <a:gd name="connsiteY11550" fmla="*/ 2343949 h 4687251"/>
              <a:gd name="connsiteX11551" fmla="*/ 3580940 w 8079933"/>
              <a:gd name="connsiteY11551" fmla="*/ 2343949 h 4687251"/>
              <a:gd name="connsiteX11552" fmla="*/ 3584955 w 8079933"/>
              <a:gd name="connsiteY11552" fmla="*/ 2345140 h 4687251"/>
              <a:gd name="connsiteX11553" fmla="*/ 3585823 w 8079933"/>
              <a:gd name="connsiteY11553" fmla="*/ 2350661 h 4687251"/>
              <a:gd name="connsiteX11554" fmla="*/ 3583002 w 8079933"/>
              <a:gd name="connsiteY11554" fmla="*/ 2351744 h 4687251"/>
              <a:gd name="connsiteX11555" fmla="*/ 3578878 w 8079933"/>
              <a:gd name="connsiteY11555" fmla="*/ 2354451 h 4687251"/>
              <a:gd name="connsiteX11556" fmla="*/ 3574430 w 8079933"/>
              <a:gd name="connsiteY11556" fmla="*/ 2350878 h 4687251"/>
              <a:gd name="connsiteX11557" fmla="*/ 3540898 w 8079933"/>
              <a:gd name="connsiteY11557" fmla="*/ 2343842 h 4687251"/>
              <a:gd name="connsiteX11558" fmla="*/ 3542851 w 8079933"/>
              <a:gd name="connsiteY11558" fmla="*/ 2343842 h 4687251"/>
              <a:gd name="connsiteX11559" fmla="*/ 3543502 w 8079933"/>
              <a:gd name="connsiteY11559" fmla="*/ 2345899 h 4687251"/>
              <a:gd name="connsiteX11560" fmla="*/ 3542526 w 8079933"/>
              <a:gd name="connsiteY11560" fmla="*/ 2347307 h 4687251"/>
              <a:gd name="connsiteX11561" fmla="*/ 3540898 w 8079933"/>
              <a:gd name="connsiteY11561" fmla="*/ 2345791 h 4687251"/>
              <a:gd name="connsiteX11562" fmla="*/ 5607183 w 8079933"/>
              <a:gd name="connsiteY11562" fmla="*/ 2338358 h 4687251"/>
              <a:gd name="connsiteX11563" fmla="*/ 5603908 w 8079933"/>
              <a:gd name="connsiteY11563" fmla="*/ 2340051 h 4687251"/>
              <a:gd name="connsiteX11564" fmla="*/ 5602751 w 8079933"/>
              <a:gd name="connsiteY11564" fmla="*/ 2339834 h 4687251"/>
              <a:gd name="connsiteX11565" fmla="*/ 5603908 w 8079933"/>
              <a:gd name="connsiteY11565" fmla="*/ 2340051 h 4687251"/>
              <a:gd name="connsiteX11566" fmla="*/ 3563252 w 8079933"/>
              <a:gd name="connsiteY11566" fmla="*/ 2335721 h 4687251"/>
              <a:gd name="connsiteX11567" fmla="*/ 3568026 w 8079933"/>
              <a:gd name="connsiteY11567" fmla="*/ 2336696 h 4687251"/>
              <a:gd name="connsiteX11568" fmla="*/ 3566832 w 8079933"/>
              <a:gd name="connsiteY11568" fmla="*/ 2343084 h 4687251"/>
              <a:gd name="connsiteX11569" fmla="*/ 3561841 w 8079933"/>
              <a:gd name="connsiteY11569" fmla="*/ 2342975 h 4687251"/>
              <a:gd name="connsiteX11570" fmla="*/ 3554245 w 8079933"/>
              <a:gd name="connsiteY11570" fmla="*/ 2348497 h 4687251"/>
              <a:gd name="connsiteX11571" fmla="*/ 3550447 w 8079933"/>
              <a:gd name="connsiteY11571" fmla="*/ 2346007 h 4687251"/>
              <a:gd name="connsiteX11572" fmla="*/ 3547843 w 8079933"/>
              <a:gd name="connsiteY11572" fmla="*/ 2342109 h 4687251"/>
              <a:gd name="connsiteX11573" fmla="*/ 3551641 w 8079933"/>
              <a:gd name="connsiteY11573" fmla="*/ 2339186 h 4687251"/>
              <a:gd name="connsiteX11574" fmla="*/ 3555981 w 8079933"/>
              <a:gd name="connsiteY11574" fmla="*/ 2339511 h 4687251"/>
              <a:gd name="connsiteX11575" fmla="*/ 3561299 w 8079933"/>
              <a:gd name="connsiteY11575" fmla="*/ 2337453 h 4687251"/>
              <a:gd name="connsiteX11576" fmla="*/ 1673217 w 8079933"/>
              <a:gd name="connsiteY11576" fmla="*/ 2334963 h 4687251"/>
              <a:gd name="connsiteX11577" fmla="*/ 1673434 w 8079933"/>
              <a:gd name="connsiteY11577" fmla="*/ 2337345 h 4687251"/>
              <a:gd name="connsiteX11578" fmla="*/ 1671155 w 8079933"/>
              <a:gd name="connsiteY11578" fmla="*/ 2343192 h 4687251"/>
              <a:gd name="connsiteX11579" fmla="*/ 1669528 w 8079933"/>
              <a:gd name="connsiteY11579" fmla="*/ 2344275 h 4687251"/>
              <a:gd name="connsiteX11580" fmla="*/ 6096465 w 8079933"/>
              <a:gd name="connsiteY11580" fmla="*/ 2334637 h 4687251"/>
              <a:gd name="connsiteX11581" fmla="*/ 6096465 w 8079933"/>
              <a:gd name="connsiteY11581" fmla="*/ 2334638 h 4687251"/>
              <a:gd name="connsiteX11582" fmla="*/ 6097225 w 8079933"/>
              <a:gd name="connsiteY11582" fmla="*/ 2339401 h 4687251"/>
              <a:gd name="connsiteX11583" fmla="*/ 6104604 w 8079933"/>
              <a:gd name="connsiteY11583" fmla="*/ 2342650 h 4687251"/>
              <a:gd name="connsiteX11584" fmla="*/ 6104604 w 8079933"/>
              <a:gd name="connsiteY11584" fmla="*/ 2342649 h 4687251"/>
              <a:gd name="connsiteX11585" fmla="*/ 6097225 w 8079933"/>
              <a:gd name="connsiteY11585" fmla="*/ 2339401 h 4687251"/>
              <a:gd name="connsiteX11586" fmla="*/ 6255045 w 8079933"/>
              <a:gd name="connsiteY11586" fmla="*/ 2334459 h 4687251"/>
              <a:gd name="connsiteX11587" fmla="*/ 6255225 w 8079933"/>
              <a:gd name="connsiteY11587" fmla="*/ 2335396 h 4687251"/>
              <a:gd name="connsiteX11588" fmla="*/ 6259348 w 8079933"/>
              <a:gd name="connsiteY11588" fmla="*/ 2335288 h 4687251"/>
              <a:gd name="connsiteX11589" fmla="*/ 6263689 w 8079933"/>
              <a:gd name="connsiteY11589" fmla="*/ 2340052 h 4687251"/>
              <a:gd name="connsiteX11590" fmla="*/ 6263689 w 8079933"/>
              <a:gd name="connsiteY11590" fmla="*/ 2340051 h 4687251"/>
              <a:gd name="connsiteX11591" fmla="*/ 6259348 w 8079933"/>
              <a:gd name="connsiteY11591" fmla="*/ 2335287 h 4687251"/>
              <a:gd name="connsiteX11592" fmla="*/ 6255225 w 8079933"/>
              <a:gd name="connsiteY11592" fmla="*/ 2335395 h 4687251"/>
              <a:gd name="connsiteX11593" fmla="*/ 6216919 w 8079933"/>
              <a:gd name="connsiteY11593" fmla="*/ 2333662 h 4687251"/>
              <a:gd name="connsiteX11594" fmla="*/ 6210191 w 8079933"/>
              <a:gd name="connsiteY11594" fmla="*/ 2338535 h 4687251"/>
              <a:gd name="connsiteX11595" fmla="*/ 6202486 w 8079933"/>
              <a:gd name="connsiteY11595" fmla="*/ 2340917 h 4687251"/>
              <a:gd name="connsiteX11596" fmla="*/ 6202486 w 8079933"/>
              <a:gd name="connsiteY11596" fmla="*/ 2340917 h 4687251"/>
              <a:gd name="connsiteX11597" fmla="*/ 6210191 w 8079933"/>
              <a:gd name="connsiteY11597" fmla="*/ 2338536 h 4687251"/>
              <a:gd name="connsiteX11598" fmla="*/ 6216919 w 8079933"/>
              <a:gd name="connsiteY11598" fmla="*/ 2333664 h 4687251"/>
              <a:gd name="connsiteX11599" fmla="*/ 6220934 w 8079933"/>
              <a:gd name="connsiteY11599" fmla="*/ 2337020 h 4687251"/>
              <a:gd name="connsiteX11600" fmla="*/ 6225600 w 8079933"/>
              <a:gd name="connsiteY11600" fmla="*/ 2339077 h 4687251"/>
              <a:gd name="connsiteX11601" fmla="*/ 6225600 w 8079933"/>
              <a:gd name="connsiteY11601" fmla="*/ 2339076 h 4687251"/>
              <a:gd name="connsiteX11602" fmla="*/ 6220934 w 8079933"/>
              <a:gd name="connsiteY11602" fmla="*/ 2337019 h 4687251"/>
              <a:gd name="connsiteX11603" fmla="*/ 5594250 w 8079933"/>
              <a:gd name="connsiteY11603" fmla="*/ 2332472 h 4687251"/>
              <a:gd name="connsiteX11604" fmla="*/ 5592160 w 8079933"/>
              <a:gd name="connsiteY11604" fmla="*/ 2333982 h 4687251"/>
              <a:gd name="connsiteX11605" fmla="*/ 5594251 w 8079933"/>
              <a:gd name="connsiteY11605" fmla="*/ 2332472 h 4687251"/>
              <a:gd name="connsiteX11606" fmla="*/ 3619896 w 8079933"/>
              <a:gd name="connsiteY11606" fmla="*/ 2332257 h 4687251"/>
              <a:gd name="connsiteX11607" fmla="*/ 3620222 w 8079933"/>
              <a:gd name="connsiteY11607" fmla="*/ 2337995 h 4687251"/>
              <a:gd name="connsiteX11608" fmla="*/ 3615122 w 8079933"/>
              <a:gd name="connsiteY11608" fmla="*/ 2345141 h 4687251"/>
              <a:gd name="connsiteX11609" fmla="*/ 3610022 w 8079933"/>
              <a:gd name="connsiteY11609" fmla="*/ 2346549 h 4687251"/>
              <a:gd name="connsiteX11610" fmla="*/ 3606984 w 8079933"/>
              <a:gd name="connsiteY11610" fmla="*/ 2345682 h 4687251"/>
              <a:gd name="connsiteX11611" fmla="*/ 3612192 w 8079933"/>
              <a:gd name="connsiteY11611" fmla="*/ 2339294 h 4687251"/>
              <a:gd name="connsiteX11612" fmla="*/ 3612518 w 8079933"/>
              <a:gd name="connsiteY11612" fmla="*/ 2336046 h 4687251"/>
              <a:gd name="connsiteX11613" fmla="*/ 6966118 w 8079933"/>
              <a:gd name="connsiteY11613" fmla="*/ 2330524 h 4687251"/>
              <a:gd name="connsiteX11614" fmla="*/ 6968180 w 8079933"/>
              <a:gd name="connsiteY11614" fmla="*/ 2335396 h 4687251"/>
              <a:gd name="connsiteX11615" fmla="*/ 6965900 w 8079933"/>
              <a:gd name="connsiteY11615" fmla="*/ 2338320 h 4687251"/>
              <a:gd name="connsiteX11616" fmla="*/ 6965791 w 8079933"/>
              <a:gd name="connsiteY11616" fmla="*/ 2342434 h 4687251"/>
              <a:gd name="connsiteX11617" fmla="*/ 6959932 w 8079933"/>
              <a:gd name="connsiteY11617" fmla="*/ 2346006 h 4687251"/>
              <a:gd name="connsiteX11618" fmla="*/ 6959715 w 8079933"/>
              <a:gd name="connsiteY11618" fmla="*/ 2350338 h 4687251"/>
              <a:gd name="connsiteX11619" fmla="*/ 6957328 w 8079933"/>
              <a:gd name="connsiteY11619" fmla="*/ 2351204 h 4687251"/>
              <a:gd name="connsiteX11620" fmla="*/ 6955483 w 8079933"/>
              <a:gd name="connsiteY11620" fmla="*/ 2344816 h 4687251"/>
              <a:gd name="connsiteX11621" fmla="*/ 6959932 w 8079933"/>
              <a:gd name="connsiteY11621" fmla="*/ 2341676 h 4687251"/>
              <a:gd name="connsiteX11622" fmla="*/ 6960583 w 8079933"/>
              <a:gd name="connsiteY11622" fmla="*/ 2339510 h 4687251"/>
              <a:gd name="connsiteX11623" fmla="*/ 6959607 w 8079933"/>
              <a:gd name="connsiteY11623" fmla="*/ 2337778 h 4687251"/>
              <a:gd name="connsiteX11624" fmla="*/ 6963730 w 8079933"/>
              <a:gd name="connsiteY11624" fmla="*/ 2335396 h 4687251"/>
              <a:gd name="connsiteX11625" fmla="*/ 6098092 w 8079933"/>
              <a:gd name="connsiteY11625" fmla="*/ 2328791 h 4687251"/>
              <a:gd name="connsiteX11626" fmla="*/ 6097008 w 8079933"/>
              <a:gd name="connsiteY11626" fmla="*/ 2328899 h 4687251"/>
              <a:gd name="connsiteX11627" fmla="*/ 6097008 w 8079933"/>
              <a:gd name="connsiteY11627" fmla="*/ 2328899 h 4687251"/>
              <a:gd name="connsiteX11628" fmla="*/ 6098093 w 8079933"/>
              <a:gd name="connsiteY11628" fmla="*/ 2328791 h 4687251"/>
              <a:gd name="connsiteX11629" fmla="*/ 6098093 w 8079933"/>
              <a:gd name="connsiteY11629" fmla="*/ 2328791 h 4687251"/>
              <a:gd name="connsiteX11630" fmla="*/ 6043075 w 8079933"/>
              <a:gd name="connsiteY11630" fmla="*/ 2326626 h 4687251"/>
              <a:gd name="connsiteX11631" fmla="*/ 6037757 w 8079933"/>
              <a:gd name="connsiteY11631" fmla="*/ 2337128 h 4687251"/>
              <a:gd name="connsiteX11632" fmla="*/ 6035562 w 8079933"/>
              <a:gd name="connsiteY11632" fmla="*/ 2338198 h 4687251"/>
              <a:gd name="connsiteX11633" fmla="*/ 6037758 w 8079933"/>
              <a:gd name="connsiteY11633" fmla="*/ 2337128 h 4687251"/>
              <a:gd name="connsiteX11634" fmla="*/ 3529612 w 8079933"/>
              <a:gd name="connsiteY11634" fmla="*/ 2325328 h 4687251"/>
              <a:gd name="connsiteX11635" fmla="*/ 3532868 w 8079933"/>
              <a:gd name="connsiteY11635" fmla="*/ 2327277 h 4687251"/>
              <a:gd name="connsiteX11636" fmla="*/ 3532325 w 8079933"/>
              <a:gd name="connsiteY11636" fmla="*/ 2334205 h 4687251"/>
              <a:gd name="connsiteX11637" fmla="*/ 3529612 w 8079933"/>
              <a:gd name="connsiteY11637" fmla="*/ 2336046 h 4687251"/>
              <a:gd name="connsiteX11638" fmla="*/ 3529612 w 8079933"/>
              <a:gd name="connsiteY11638" fmla="*/ 2330741 h 4687251"/>
              <a:gd name="connsiteX11639" fmla="*/ 3528093 w 8079933"/>
              <a:gd name="connsiteY11639" fmla="*/ 2328034 h 4687251"/>
              <a:gd name="connsiteX11640" fmla="*/ 3529612 w 8079933"/>
              <a:gd name="connsiteY11640" fmla="*/ 2325328 h 4687251"/>
              <a:gd name="connsiteX11641" fmla="*/ 3755355 w 8079933"/>
              <a:gd name="connsiteY11641" fmla="*/ 2325027 h 4687251"/>
              <a:gd name="connsiteX11642" fmla="*/ 3751854 w 8079933"/>
              <a:gd name="connsiteY11642" fmla="*/ 2329658 h 4687251"/>
              <a:gd name="connsiteX11643" fmla="*/ 3740785 w 8079933"/>
              <a:gd name="connsiteY11643" fmla="*/ 2337453 h 4687251"/>
              <a:gd name="connsiteX11644" fmla="*/ 3740459 w 8079933"/>
              <a:gd name="connsiteY11644" fmla="*/ 2357808 h 4687251"/>
              <a:gd name="connsiteX11645" fmla="*/ 3740427 w 8079933"/>
              <a:gd name="connsiteY11645" fmla="*/ 2357841 h 4687251"/>
              <a:gd name="connsiteX11646" fmla="*/ 3740460 w 8079933"/>
              <a:gd name="connsiteY11646" fmla="*/ 2357808 h 4687251"/>
              <a:gd name="connsiteX11647" fmla="*/ 3740785 w 8079933"/>
              <a:gd name="connsiteY11647" fmla="*/ 2337453 h 4687251"/>
              <a:gd name="connsiteX11648" fmla="*/ 3751854 w 8079933"/>
              <a:gd name="connsiteY11648" fmla="*/ 2329658 h 4687251"/>
              <a:gd name="connsiteX11649" fmla="*/ 6084212 w 8079933"/>
              <a:gd name="connsiteY11649" fmla="*/ 2324677 h 4687251"/>
              <a:gd name="connsiteX11650" fmla="*/ 6080838 w 8079933"/>
              <a:gd name="connsiteY11650" fmla="*/ 2325976 h 4687251"/>
              <a:gd name="connsiteX11651" fmla="*/ 6080839 w 8079933"/>
              <a:gd name="connsiteY11651" fmla="*/ 2325976 h 4687251"/>
              <a:gd name="connsiteX11652" fmla="*/ 6228964 w 8079933"/>
              <a:gd name="connsiteY11652" fmla="*/ 2324460 h 4687251"/>
              <a:gd name="connsiteX11653" fmla="*/ 6224407 w 8079933"/>
              <a:gd name="connsiteY11653" fmla="*/ 2328790 h 4687251"/>
              <a:gd name="connsiteX11654" fmla="*/ 6224407 w 8079933"/>
              <a:gd name="connsiteY11654" fmla="*/ 2328791 h 4687251"/>
              <a:gd name="connsiteX11655" fmla="*/ 6228964 w 8079933"/>
              <a:gd name="connsiteY11655" fmla="*/ 2324460 h 4687251"/>
              <a:gd name="connsiteX11656" fmla="*/ 1685371 w 8079933"/>
              <a:gd name="connsiteY11656" fmla="*/ 2319806 h 4687251"/>
              <a:gd name="connsiteX11657" fmla="*/ 1682007 w 8079933"/>
              <a:gd name="connsiteY11657" fmla="*/ 2324353 h 4687251"/>
              <a:gd name="connsiteX11658" fmla="*/ 1676907 w 8079933"/>
              <a:gd name="connsiteY11658" fmla="*/ 2330524 h 4687251"/>
              <a:gd name="connsiteX11659" fmla="*/ 1674954 w 8079933"/>
              <a:gd name="connsiteY11659" fmla="*/ 2331932 h 4687251"/>
              <a:gd name="connsiteX11660" fmla="*/ 1680488 w 8079933"/>
              <a:gd name="connsiteY11660" fmla="*/ 2323379 h 4687251"/>
              <a:gd name="connsiteX11661" fmla="*/ 4165411 w 8079933"/>
              <a:gd name="connsiteY11661" fmla="*/ 2319804 h 4687251"/>
              <a:gd name="connsiteX11662" fmla="*/ 4165411 w 8079933"/>
              <a:gd name="connsiteY11662" fmla="*/ 2319805 h 4687251"/>
              <a:gd name="connsiteX11663" fmla="*/ 4165438 w 8079933"/>
              <a:gd name="connsiteY11663" fmla="*/ 2320163 h 4687251"/>
              <a:gd name="connsiteX11664" fmla="*/ 3627494 w 8079933"/>
              <a:gd name="connsiteY11664" fmla="*/ 2319697 h 4687251"/>
              <a:gd name="connsiteX11665" fmla="*/ 3631401 w 8079933"/>
              <a:gd name="connsiteY11665" fmla="*/ 2322512 h 4687251"/>
              <a:gd name="connsiteX11666" fmla="*/ 3626626 w 8079933"/>
              <a:gd name="connsiteY11666" fmla="*/ 2323162 h 4687251"/>
              <a:gd name="connsiteX11667" fmla="*/ 3621417 w 8079933"/>
              <a:gd name="connsiteY11667" fmla="*/ 2326085 h 4687251"/>
              <a:gd name="connsiteX11668" fmla="*/ 3623695 w 8079933"/>
              <a:gd name="connsiteY11668" fmla="*/ 2319913 h 4687251"/>
              <a:gd name="connsiteX11669" fmla="*/ 6062390 w 8079933"/>
              <a:gd name="connsiteY11669" fmla="*/ 2318722 h 4687251"/>
              <a:gd name="connsiteX11670" fmla="*/ 6060818 w 8079933"/>
              <a:gd name="connsiteY11670" fmla="*/ 2318946 h 4687251"/>
              <a:gd name="connsiteX11671" fmla="*/ 6062390 w 8079933"/>
              <a:gd name="connsiteY11671" fmla="*/ 2318722 h 4687251"/>
              <a:gd name="connsiteX11672" fmla="*/ 6229721 w 8079933"/>
              <a:gd name="connsiteY11672" fmla="*/ 2318592 h 4687251"/>
              <a:gd name="connsiteX11673" fmla="*/ 6227445 w 8079933"/>
              <a:gd name="connsiteY11673" fmla="*/ 2319696 h 4687251"/>
              <a:gd name="connsiteX11674" fmla="*/ 6227445 w 8079933"/>
              <a:gd name="connsiteY11674" fmla="*/ 2319696 h 4687251"/>
              <a:gd name="connsiteX11675" fmla="*/ 6231460 w 8079933"/>
              <a:gd name="connsiteY11675" fmla="*/ 2317748 h 4687251"/>
              <a:gd name="connsiteX11676" fmla="*/ 6231459 w 8079933"/>
              <a:gd name="connsiteY11676" fmla="*/ 2317748 h 4687251"/>
              <a:gd name="connsiteX11677" fmla="*/ 6236994 w 8079933"/>
              <a:gd name="connsiteY11677" fmla="*/ 2320130 h 4687251"/>
              <a:gd name="connsiteX11678" fmla="*/ 6240575 w 8079933"/>
              <a:gd name="connsiteY11678" fmla="*/ 2318073 h 4687251"/>
              <a:gd name="connsiteX11679" fmla="*/ 6246109 w 8079933"/>
              <a:gd name="connsiteY11679" fmla="*/ 2318289 h 4687251"/>
              <a:gd name="connsiteX11680" fmla="*/ 6246109 w 8079933"/>
              <a:gd name="connsiteY11680" fmla="*/ 2318289 h 4687251"/>
              <a:gd name="connsiteX11681" fmla="*/ 6240575 w 8079933"/>
              <a:gd name="connsiteY11681" fmla="*/ 2318072 h 4687251"/>
              <a:gd name="connsiteX11682" fmla="*/ 6236994 w 8079933"/>
              <a:gd name="connsiteY11682" fmla="*/ 2320129 h 4687251"/>
              <a:gd name="connsiteX11683" fmla="*/ 6120012 w 8079933"/>
              <a:gd name="connsiteY11683" fmla="*/ 2317748 h 4687251"/>
              <a:gd name="connsiteX11684" fmla="*/ 6116432 w 8079933"/>
              <a:gd name="connsiteY11684" fmla="*/ 2320346 h 4687251"/>
              <a:gd name="connsiteX11685" fmla="*/ 6114044 w 8079933"/>
              <a:gd name="connsiteY11685" fmla="*/ 2326192 h 4687251"/>
              <a:gd name="connsiteX11686" fmla="*/ 6114045 w 8079933"/>
              <a:gd name="connsiteY11686" fmla="*/ 2326192 h 4687251"/>
              <a:gd name="connsiteX11687" fmla="*/ 6116433 w 8079933"/>
              <a:gd name="connsiteY11687" fmla="*/ 2320345 h 4687251"/>
              <a:gd name="connsiteX11688" fmla="*/ 5045707 w 8079933"/>
              <a:gd name="connsiteY11688" fmla="*/ 2317236 h 4687251"/>
              <a:gd name="connsiteX11689" fmla="*/ 5054053 w 8079933"/>
              <a:gd name="connsiteY11689" fmla="*/ 2319805 h 4687251"/>
              <a:gd name="connsiteX11690" fmla="*/ 5055464 w 8079933"/>
              <a:gd name="connsiteY11690" fmla="*/ 2328575 h 4687251"/>
              <a:gd name="connsiteX11691" fmla="*/ 5055465 w 8079933"/>
              <a:gd name="connsiteY11691" fmla="*/ 2328574 h 4687251"/>
              <a:gd name="connsiteX11692" fmla="*/ 5054054 w 8079933"/>
              <a:gd name="connsiteY11692" fmla="*/ 2319805 h 4687251"/>
              <a:gd name="connsiteX11693" fmla="*/ 3771496 w 8079933"/>
              <a:gd name="connsiteY11693" fmla="*/ 2317079 h 4687251"/>
              <a:gd name="connsiteX11694" fmla="*/ 3763465 w 8079933"/>
              <a:gd name="connsiteY11694" fmla="*/ 2318722 h 4687251"/>
              <a:gd name="connsiteX11695" fmla="*/ 3757824 w 8079933"/>
              <a:gd name="connsiteY11695" fmla="*/ 2322592 h 4687251"/>
              <a:gd name="connsiteX11696" fmla="*/ 3763465 w 8079933"/>
              <a:gd name="connsiteY11696" fmla="*/ 2318723 h 4687251"/>
              <a:gd name="connsiteX11697" fmla="*/ 6123812 w 8079933"/>
              <a:gd name="connsiteY11697" fmla="*/ 2315799 h 4687251"/>
              <a:gd name="connsiteX11698" fmla="*/ 6123811 w 8079933"/>
              <a:gd name="connsiteY11698" fmla="*/ 2315799 h 4687251"/>
              <a:gd name="connsiteX11699" fmla="*/ 6123705 w 8079933"/>
              <a:gd name="connsiteY11699" fmla="*/ 2318886 h 4687251"/>
              <a:gd name="connsiteX11700" fmla="*/ 5962304 w 8079933"/>
              <a:gd name="connsiteY11700" fmla="*/ 2313645 h 4687251"/>
              <a:gd name="connsiteX11701" fmla="*/ 5958648 w 8079933"/>
              <a:gd name="connsiteY11701" fmla="*/ 2317748 h 4687251"/>
              <a:gd name="connsiteX11702" fmla="*/ 5953548 w 8079933"/>
              <a:gd name="connsiteY11702" fmla="*/ 2319264 h 4687251"/>
              <a:gd name="connsiteX11703" fmla="*/ 5950618 w 8079933"/>
              <a:gd name="connsiteY11703" fmla="*/ 2321862 h 4687251"/>
              <a:gd name="connsiteX11704" fmla="*/ 5943890 w 8079933"/>
              <a:gd name="connsiteY11704" fmla="*/ 2318613 h 4687251"/>
              <a:gd name="connsiteX11705" fmla="*/ 5939875 w 8079933"/>
              <a:gd name="connsiteY11705" fmla="*/ 2319480 h 4687251"/>
              <a:gd name="connsiteX11706" fmla="*/ 5937162 w 8079933"/>
              <a:gd name="connsiteY11706" fmla="*/ 2313958 h 4687251"/>
              <a:gd name="connsiteX11707" fmla="*/ 5937162 w 8079933"/>
              <a:gd name="connsiteY11707" fmla="*/ 2313959 h 4687251"/>
              <a:gd name="connsiteX11708" fmla="*/ 5939875 w 8079933"/>
              <a:gd name="connsiteY11708" fmla="*/ 2319481 h 4687251"/>
              <a:gd name="connsiteX11709" fmla="*/ 5943890 w 8079933"/>
              <a:gd name="connsiteY11709" fmla="*/ 2318614 h 4687251"/>
              <a:gd name="connsiteX11710" fmla="*/ 5950618 w 8079933"/>
              <a:gd name="connsiteY11710" fmla="*/ 2321862 h 4687251"/>
              <a:gd name="connsiteX11711" fmla="*/ 5953548 w 8079933"/>
              <a:gd name="connsiteY11711" fmla="*/ 2319264 h 4687251"/>
              <a:gd name="connsiteX11712" fmla="*/ 5958648 w 8079933"/>
              <a:gd name="connsiteY11712" fmla="*/ 2317748 h 4687251"/>
              <a:gd name="connsiteX11713" fmla="*/ 5962990 w 8079933"/>
              <a:gd name="connsiteY11713" fmla="*/ 2312875 h 4687251"/>
              <a:gd name="connsiteX11714" fmla="*/ 5962989 w 8079933"/>
              <a:gd name="connsiteY11714" fmla="*/ 2312876 h 4687251"/>
              <a:gd name="connsiteX11715" fmla="*/ 5971996 w 8079933"/>
              <a:gd name="connsiteY11715" fmla="*/ 2313959 h 4687251"/>
              <a:gd name="connsiteX11716" fmla="*/ 5977747 w 8079933"/>
              <a:gd name="connsiteY11716" fmla="*/ 2316882 h 4687251"/>
              <a:gd name="connsiteX11717" fmla="*/ 5979158 w 8079933"/>
              <a:gd name="connsiteY11717" fmla="*/ 2322512 h 4687251"/>
              <a:gd name="connsiteX11718" fmla="*/ 5986212 w 8079933"/>
              <a:gd name="connsiteY11718" fmla="*/ 2325327 h 4687251"/>
              <a:gd name="connsiteX11719" fmla="*/ 5991095 w 8079933"/>
              <a:gd name="connsiteY11719" fmla="*/ 2331823 h 4687251"/>
              <a:gd name="connsiteX11720" fmla="*/ 5995218 w 8079933"/>
              <a:gd name="connsiteY11720" fmla="*/ 2332906 h 4687251"/>
              <a:gd name="connsiteX11721" fmla="*/ 6001187 w 8079933"/>
              <a:gd name="connsiteY11721" fmla="*/ 2330307 h 4687251"/>
              <a:gd name="connsiteX11722" fmla="*/ 6003683 w 8079933"/>
              <a:gd name="connsiteY11722" fmla="*/ 2331282 h 4687251"/>
              <a:gd name="connsiteX11723" fmla="*/ 6010194 w 8079933"/>
              <a:gd name="connsiteY11723" fmla="*/ 2329225 h 4687251"/>
              <a:gd name="connsiteX11724" fmla="*/ 6014534 w 8079933"/>
              <a:gd name="connsiteY11724" fmla="*/ 2329550 h 4687251"/>
              <a:gd name="connsiteX11725" fmla="*/ 6016163 w 8079933"/>
              <a:gd name="connsiteY11725" fmla="*/ 2334638 h 4687251"/>
              <a:gd name="connsiteX11726" fmla="*/ 6016163 w 8079933"/>
              <a:gd name="connsiteY11726" fmla="*/ 2334637 h 4687251"/>
              <a:gd name="connsiteX11727" fmla="*/ 6014535 w 8079933"/>
              <a:gd name="connsiteY11727" fmla="*/ 2329549 h 4687251"/>
              <a:gd name="connsiteX11728" fmla="*/ 6010194 w 8079933"/>
              <a:gd name="connsiteY11728" fmla="*/ 2329225 h 4687251"/>
              <a:gd name="connsiteX11729" fmla="*/ 6003683 w 8079933"/>
              <a:gd name="connsiteY11729" fmla="*/ 2331282 h 4687251"/>
              <a:gd name="connsiteX11730" fmla="*/ 6001187 w 8079933"/>
              <a:gd name="connsiteY11730" fmla="*/ 2330307 h 4687251"/>
              <a:gd name="connsiteX11731" fmla="*/ 5995218 w 8079933"/>
              <a:gd name="connsiteY11731" fmla="*/ 2332905 h 4687251"/>
              <a:gd name="connsiteX11732" fmla="*/ 5991095 w 8079933"/>
              <a:gd name="connsiteY11732" fmla="*/ 2331823 h 4687251"/>
              <a:gd name="connsiteX11733" fmla="*/ 5986212 w 8079933"/>
              <a:gd name="connsiteY11733" fmla="*/ 2325327 h 4687251"/>
              <a:gd name="connsiteX11734" fmla="*/ 5979158 w 8079933"/>
              <a:gd name="connsiteY11734" fmla="*/ 2322511 h 4687251"/>
              <a:gd name="connsiteX11735" fmla="*/ 5977747 w 8079933"/>
              <a:gd name="connsiteY11735" fmla="*/ 2316881 h 4687251"/>
              <a:gd name="connsiteX11736" fmla="*/ 5971996 w 8079933"/>
              <a:gd name="connsiteY11736" fmla="*/ 2313958 h 4687251"/>
              <a:gd name="connsiteX11737" fmla="*/ 6130431 w 8079933"/>
              <a:gd name="connsiteY11737" fmla="*/ 2309518 h 4687251"/>
              <a:gd name="connsiteX11738" fmla="*/ 6130430 w 8079933"/>
              <a:gd name="connsiteY11738" fmla="*/ 2309519 h 4687251"/>
              <a:gd name="connsiteX11739" fmla="*/ 6128980 w 8079933"/>
              <a:gd name="connsiteY11739" fmla="*/ 2313860 h 4687251"/>
              <a:gd name="connsiteX11740" fmla="*/ 6213663 w 8079933"/>
              <a:gd name="connsiteY11740" fmla="*/ 2306162 h 4687251"/>
              <a:gd name="connsiteX11741" fmla="*/ 6211783 w 8079933"/>
              <a:gd name="connsiteY11741" fmla="*/ 2308252 h 4687251"/>
              <a:gd name="connsiteX11742" fmla="*/ 6213663 w 8079933"/>
              <a:gd name="connsiteY11742" fmla="*/ 2306162 h 4687251"/>
              <a:gd name="connsiteX11743" fmla="*/ 3819062 w 8079933"/>
              <a:gd name="connsiteY11743" fmla="*/ 2305116 h 4687251"/>
              <a:gd name="connsiteX11744" fmla="*/ 3806112 w 8079933"/>
              <a:gd name="connsiteY11744" fmla="*/ 2312767 h 4687251"/>
              <a:gd name="connsiteX11745" fmla="*/ 3796671 w 8079933"/>
              <a:gd name="connsiteY11745" fmla="*/ 2314824 h 4687251"/>
              <a:gd name="connsiteX11746" fmla="*/ 3792013 w 8079933"/>
              <a:gd name="connsiteY11746" fmla="*/ 2314935 h 4687251"/>
              <a:gd name="connsiteX11747" fmla="*/ 3796671 w 8079933"/>
              <a:gd name="connsiteY11747" fmla="*/ 2314825 h 4687251"/>
              <a:gd name="connsiteX11748" fmla="*/ 3806112 w 8079933"/>
              <a:gd name="connsiteY11748" fmla="*/ 2312768 h 4687251"/>
              <a:gd name="connsiteX11749" fmla="*/ 6979139 w 8079933"/>
              <a:gd name="connsiteY11749" fmla="*/ 2303023 h 4687251"/>
              <a:gd name="connsiteX11750" fmla="*/ 6982177 w 8079933"/>
              <a:gd name="connsiteY11750" fmla="*/ 2305513 h 4687251"/>
              <a:gd name="connsiteX11751" fmla="*/ 6983045 w 8079933"/>
              <a:gd name="connsiteY11751" fmla="*/ 2309411 h 4687251"/>
              <a:gd name="connsiteX11752" fmla="*/ 6981635 w 8079933"/>
              <a:gd name="connsiteY11752" fmla="*/ 2310386 h 4687251"/>
              <a:gd name="connsiteX11753" fmla="*/ 6978162 w 8079933"/>
              <a:gd name="connsiteY11753" fmla="*/ 2307570 h 4687251"/>
              <a:gd name="connsiteX11754" fmla="*/ 6977946 w 8079933"/>
              <a:gd name="connsiteY11754" fmla="*/ 2304647 h 4687251"/>
              <a:gd name="connsiteX11755" fmla="*/ 4806788 w 8079933"/>
              <a:gd name="connsiteY11755" fmla="*/ 2302500 h 4687251"/>
              <a:gd name="connsiteX11756" fmla="*/ 4803380 w 8079933"/>
              <a:gd name="connsiteY11756" fmla="*/ 2303023 h 4687251"/>
              <a:gd name="connsiteX11757" fmla="*/ 4786126 w 8079933"/>
              <a:gd name="connsiteY11757" fmla="*/ 2319805 h 4687251"/>
              <a:gd name="connsiteX11758" fmla="*/ 4786126 w 8079933"/>
              <a:gd name="connsiteY11758" fmla="*/ 2319805 h 4687251"/>
              <a:gd name="connsiteX11759" fmla="*/ 4803381 w 8079933"/>
              <a:gd name="connsiteY11759" fmla="*/ 2303023 h 4687251"/>
              <a:gd name="connsiteX11760" fmla="*/ 4163995 w 8079933"/>
              <a:gd name="connsiteY11760" fmla="*/ 2301539 h 4687251"/>
              <a:gd name="connsiteX11761" fmla="*/ 4165411 w 8079933"/>
              <a:gd name="connsiteY11761" fmla="*/ 2304214 h 4687251"/>
              <a:gd name="connsiteX11762" fmla="*/ 4165411 w 8079933"/>
              <a:gd name="connsiteY11762" fmla="*/ 2304214 h 4687251"/>
              <a:gd name="connsiteX11763" fmla="*/ 4160094 w 8079933"/>
              <a:gd name="connsiteY11763" fmla="*/ 2296851 h 4687251"/>
              <a:gd name="connsiteX11764" fmla="*/ 4160094 w 8079933"/>
              <a:gd name="connsiteY11764" fmla="*/ 2296852 h 4687251"/>
              <a:gd name="connsiteX11765" fmla="*/ 4162373 w 8079933"/>
              <a:gd name="connsiteY11765" fmla="*/ 2298476 h 4687251"/>
              <a:gd name="connsiteX11766" fmla="*/ 4162373 w 8079933"/>
              <a:gd name="connsiteY11766" fmla="*/ 2298475 h 4687251"/>
              <a:gd name="connsiteX11767" fmla="*/ 5825282 w 8079933"/>
              <a:gd name="connsiteY11767" fmla="*/ 2295118 h 4687251"/>
              <a:gd name="connsiteX11768" fmla="*/ 5820870 w 8079933"/>
              <a:gd name="connsiteY11768" fmla="*/ 2301679 h 4687251"/>
              <a:gd name="connsiteX11769" fmla="*/ 5825282 w 8079933"/>
              <a:gd name="connsiteY11769" fmla="*/ 2295120 h 4687251"/>
              <a:gd name="connsiteX11770" fmla="*/ 5039513 w 8079933"/>
              <a:gd name="connsiteY11770" fmla="*/ 2291331 h 4687251"/>
              <a:gd name="connsiteX11771" fmla="*/ 5039512 w 8079933"/>
              <a:gd name="connsiteY11771" fmla="*/ 2291331 h 4687251"/>
              <a:gd name="connsiteX11772" fmla="*/ 5034303 w 8079933"/>
              <a:gd name="connsiteY11772" fmla="*/ 2303024 h 4687251"/>
              <a:gd name="connsiteX11773" fmla="*/ 5028986 w 8079933"/>
              <a:gd name="connsiteY11773" fmla="*/ 2312984 h 4687251"/>
              <a:gd name="connsiteX11774" fmla="*/ 5028987 w 8079933"/>
              <a:gd name="connsiteY11774" fmla="*/ 2312984 h 4687251"/>
              <a:gd name="connsiteX11775" fmla="*/ 5034304 w 8079933"/>
              <a:gd name="connsiteY11775" fmla="*/ 2303023 h 4687251"/>
              <a:gd name="connsiteX11776" fmla="*/ 5364195 w 8079933"/>
              <a:gd name="connsiteY11776" fmla="*/ 2291113 h 4687251"/>
              <a:gd name="connsiteX11777" fmla="*/ 5364194 w 8079933"/>
              <a:gd name="connsiteY11777" fmla="*/ 2291114 h 4687251"/>
              <a:gd name="connsiteX11778" fmla="*/ 5376565 w 8079933"/>
              <a:gd name="connsiteY11778" fmla="*/ 2307571 h 4687251"/>
              <a:gd name="connsiteX11779" fmla="*/ 5379386 w 8079933"/>
              <a:gd name="connsiteY11779" fmla="*/ 2313093 h 4687251"/>
              <a:gd name="connsiteX11780" fmla="*/ 5385572 w 8079933"/>
              <a:gd name="connsiteY11780" fmla="*/ 2319589 h 4687251"/>
              <a:gd name="connsiteX11781" fmla="*/ 5391649 w 8079933"/>
              <a:gd name="connsiteY11781" fmla="*/ 2322837 h 4687251"/>
              <a:gd name="connsiteX11782" fmla="*/ 5393711 w 8079933"/>
              <a:gd name="connsiteY11782" fmla="*/ 2325327 h 4687251"/>
              <a:gd name="connsiteX11783" fmla="*/ 5401632 w 8079933"/>
              <a:gd name="connsiteY11783" fmla="*/ 2325977 h 4687251"/>
              <a:gd name="connsiteX11784" fmla="*/ 5406082 w 8079933"/>
              <a:gd name="connsiteY11784" fmla="*/ 2327709 h 4687251"/>
              <a:gd name="connsiteX11785" fmla="*/ 5406841 w 8079933"/>
              <a:gd name="connsiteY11785" fmla="*/ 2330308 h 4687251"/>
              <a:gd name="connsiteX11786" fmla="*/ 5413353 w 8079933"/>
              <a:gd name="connsiteY11786" fmla="*/ 2330957 h 4687251"/>
              <a:gd name="connsiteX11787" fmla="*/ 5413569 w 8079933"/>
              <a:gd name="connsiteY11787" fmla="*/ 2339077 h 4687251"/>
              <a:gd name="connsiteX11788" fmla="*/ 5415197 w 8079933"/>
              <a:gd name="connsiteY11788" fmla="*/ 2344491 h 4687251"/>
              <a:gd name="connsiteX11789" fmla="*/ 5415522 w 8079933"/>
              <a:gd name="connsiteY11789" fmla="*/ 2351095 h 4687251"/>
              <a:gd name="connsiteX11790" fmla="*/ 5416825 w 8079933"/>
              <a:gd name="connsiteY11790" fmla="*/ 2355318 h 4687251"/>
              <a:gd name="connsiteX11791" fmla="*/ 5422685 w 8079933"/>
              <a:gd name="connsiteY11791" fmla="*/ 2354993 h 4687251"/>
              <a:gd name="connsiteX11792" fmla="*/ 5428870 w 8079933"/>
              <a:gd name="connsiteY11792" fmla="*/ 2359107 h 4687251"/>
              <a:gd name="connsiteX11793" fmla="*/ 5429521 w 8079933"/>
              <a:gd name="connsiteY11793" fmla="*/ 2368419 h 4687251"/>
              <a:gd name="connsiteX11794" fmla="*/ 5429522 w 8079933"/>
              <a:gd name="connsiteY11794" fmla="*/ 2368418 h 4687251"/>
              <a:gd name="connsiteX11795" fmla="*/ 5428871 w 8079933"/>
              <a:gd name="connsiteY11795" fmla="*/ 2359107 h 4687251"/>
              <a:gd name="connsiteX11796" fmla="*/ 5422685 w 8079933"/>
              <a:gd name="connsiteY11796" fmla="*/ 2354992 h 4687251"/>
              <a:gd name="connsiteX11797" fmla="*/ 5416826 w 8079933"/>
              <a:gd name="connsiteY11797" fmla="*/ 2355317 h 4687251"/>
              <a:gd name="connsiteX11798" fmla="*/ 5415523 w 8079933"/>
              <a:gd name="connsiteY11798" fmla="*/ 2351095 h 4687251"/>
              <a:gd name="connsiteX11799" fmla="*/ 5415198 w 8079933"/>
              <a:gd name="connsiteY11799" fmla="*/ 2344490 h 4687251"/>
              <a:gd name="connsiteX11800" fmla="*/ 5413570 w 8079933"/>
              <a:gd name="connsiteY11800" fmla="*/ 2339077 h 4687251"/>
              <a:gd name="connsiteX11801" fmla="*/ 5413353 w 8079933"/>
              <a:gd name="connsiteY11801" fmla="*/ 2330956 h 4687251"/>
              <a:gd name="connsiteX11802" fmla="*/ 5406842 w 8079933"/>
              <a:gd name="connsiteY11802" fmla="*/ 2330306 h 4687251"/>
              <a:gd name="connsiteX11803" fmla="*/ 5406083 w 8079933"/>
              <a:gd name="connsiteY11803" fmla="*/ 2327708 h 4687251"/>
              <a:gd name="connsiteX11804" fmla="*/ 5401633 w 8079933"/>
              <a:gd name="connsiteY11804" fmla="*/ 2325975 h 4687251"/>
              <a:gd name="connsiteX11805" fmla="*/ 5393711 w 8079933"/>
              <a:gd name="connsiteY11805" fmla="*/ 2325326 h 4687251"/>
              <a:gd name="connsiteX11806" fmla="*/ 5391649 w 8079933"/>
              <a:gd name="connsiteY11806" fmla="*/ 2322836 h 4687251"/>
              <a:gd name="connsiteX11807" fmla="*/ 5385573 w 8079933"/>
              <a:gd name="connsiteY11807" fmla="*/ 2319588 h 4687251"/>
              <a:gd name="connsiteX11808" fmla="*/ 5379387 w 8079933"/>
              <a:gd name="connsiteY11808" fmla="*/ 2313091 h 4687251"/>
              <a:gd name="connsiteX11809" fmla="*/ 5376565 w 8079933"/>
              <a:gd name="connsiteY11809" fmla="*/ 2307569 h 4687251"/>
              <a:gd name="connsiteX11810" fmla="*/ 5364195 w 8079933"/>
              <a:gd name="connsiteY11810" fmla="*/ 2291113 h 4687251"/>
              <a:gd name="connsiteX11811" fmla="*/ 6202218 w 8079933"/>
              <a:gd name="connsiteY11811" fmla="*/ 2290840 h 4687251"/>
              <a:gd name="connsiteX11812" fmla="*/ 6201292 w 8079933"/>
              <a:gd name="connsiteY11812" fmla="*/ 2292628 h 4687251"/>
              <a:gd name="connsiteX11813" fmla="*/ 6201292 w 8079933"/>
              <a:gd name="connsiteY11813" fmla="*/ 2292628 h 4687251"/>
              <a:gd name="connsiteX11814" fmla="*/ 1545276 w 8079933"/>
              <a:gd name="connsiteY11814" fmla="*/ 2290247 h 4687251"/>
              <a:gd name="connsiteX11815" fmla="*/ 1543851 w 8079933"/>
              <a:gd name="connsiteY11815" fmla="*/ 2290654 h 4687251"/>
              <a:gd name="connsiteX11816" fmla="*/ 1545276 w 8079933"/>
              <a:gd name="connsiteY11816" fmla="*/ 2290248 h 4687251"/>
              <a:gd name="connsiteX11817" fmla="*/ 6153328 w 8079933"/>
              <a:gd name="connsiteY11817" fmla="*/ 2289922 h 4687251"/>
              <a:gd name="connsiteX11818" fmla="*/ 6153327 w 8079933"/>
              <a:gd name="connsiteY11818" fmla="*/ 2289922 h 4687251"/>
              <a:gd name="connsiteX11819" fmla="*/ 6153762 w 8079933"/>
              <a:gd name="connsiteY11819" fmla="*/ 2295011 h 4687251"/>
              <a:gd name="connsiteX11820" fmla="*/ 6151445 w 8079933"/>
              <a:gd name="connsiteY11820" fmla="*/ 2297877 h 4687251"/>
              <a:gd name="connsiteX11821" fmla="*/ 6153763 w 8079933"/>
              <a:gd name="connsiteY11821" fmla="*/ 2295010 h 4687251"/>
              <a:gd name="connsiteX11822" fmla="*/ 5654458 w 8079933"/>
              <a:gd name="connsiteY11822" fmla="*/ 2288829 h 4687251"/>
              <a:gd name="connsiteX11823" fmla="*/ 5652524 w 8079933"/>
              <a:gd name="connsiteY11823" fmla="*/ 2291545 h 4687251"/>
              <a:gd name="connsiteX11824" fmla="*/ 5652129 w 8079933"/>
              <a:gd name="connsiteY11824" fmla="*/ 2294380 h 4687251"/>
              <a:gd name="connsiteX11825" fmla="*/ 5652524 w 8079933"/>
              <a:gd name="connsiteY11825" fmla="*/ 2291546 h 4687251"/>
              <a:gd name="connsiteX11826" fmla="*/ 4760407 w 8079933"/>
              <a:gd name="connsiteY11826" fmla="*/ 2286783 h 4687251"/>
              <a:gd name="connsiteX11827" fmla="*/ 4758562 w 8079933"/>
              <a:gd name="connsiteY11827" fmla="*/ 2292737 h 4687251"/>
              <a:gd name="connsiteX11828" fmla="*/ 4758562 w 8079933"/>
              <a:gd name="connsiteY11828" fmla="*/ 2298151 h 4687251"/>
              <a:gd name="connsiteX11829" fmla="*/ 4756283 w 8079933"/>
              <a:gd name="connsiteY11829" fmla="*/ 2300533 h 4687251"/>
              <a:gd name="connsiteX11830" fmla="*/ 4756478 w 8079933"/>
              <a:gd name="connsiteY11830" fmla="*/ 2303351 h 4687251"/>
              <a:gd name="connsiteX11831" fmla="*/ 4756284 w 8079933"/>
              <a:gd name="connsiteY11831" fmla="*/ 2300533 h 4687251"/>
              <a:gd name="connsiteX11832" fmla="*/ 4758563 w 8079933"/>
              <a:gd name="connsiteY11832" fmla="*/ 2298151 h 4687251"/>
              <a:gd name="connsiteX11833" fmla="*/ 4758563 w 8079933"/>
              <a:gd name="connsiteY11833" fmla="*/ 2292738 h 4687251"/>
              <a:gd name="connsiteX11834" fmla="*/ 1519015 w 8079933"/>
              <a:gd name="connsiteY11834" fmla="*/ 2286133 h 4687251"/>
              <a:gd name="connsiteX11835" fmla="*/ 1523898 w 8079933"/>
              <a:gd name="connsiteY11835" fmla="*/ 2288624 h 4687251"/>
              <a:gd name="connsiteX11836" fmla="*/ 1524550 w 8079933"/>
              <a:gd name="connsiteY11836" fmla="*/ 2290248 h 4687251"/>
              <a:gd name="connsiteX11837" fmla="*/ 1528565 w 8079933"/>
              <a:gd name="connsiteY11837" fmla="*/ 2291547 h 4687251"/>
              <a:gd name="connsiteX11838" fmla="*/ 1533339 w 8079933"/>
              <a:gd name="connsiteY11838" fmla="*/ 2294037 h 4687251"/>
              <a:gd name="connsiteX11839" fmla="*/ 1534750 w 8079933"/>
              <a:gd name="connsiteY11839" fmla="*/ 2295661 h 4687251"/>
              <a:gd name="connsiteX11840" fmla="*/ 1536812 w 8079933"/>
              <a:gd name="connsiteY11840" fmla="*/ 2295986 h 4687251"/>
              <a:gd name="connsiteX11841" fmla="*/ 1536812 w 8079933"/>
              <a:gd name="connsiteY11841" fmla="*/ 2295986 h 4687251"/>
              <a:gd name="connsiteX11842" fmla="*/ 1534751 w 8079933"/>
              <a:gd name="connsiteY11842" fmla="*/ 2295661 h 4687251"/>
              <a:gd name="connsiteX11843" fmla="*/ 1533340 w 8079933"/>
              <a:gd name="connsiteY11843" fmla="*/ 2294037 h 4687251"/>
              <a:gd name="connsiteX11844" fmla="*/ 1528565 w 8079933"/>
              <a:gd name="connsiteY11844" fmla="*/ 2291547 h 4687251"/>
              <a:gd name="connsiteX11845" fmla="*/ 1524550 w 8079933"/>
              <a:gd name="connsiteY11845" fmla="*/ 2290247 h 4687251"/>
              <a:gd name="connsiteX11846" fmla="*/ 1523899 w 8079933"/>
              <a:gd name="connsiteY11846" fmla="*/ 2288624 h 4687251"/>
              <a:gd name="connsiteX11847" fmla="*/ 1519016 w 8079933"/>
              <a:gd name="connsiteY11847" fmla="*/ 2286133 h 4687251"/>
              <a:gd name="connsiteX11848" fmla="*/ 6162117 w 8079933"/>
              <a:gd name="connsiteY11848" fmla="*/ 2285375 h 4687251"/>
              <a:gd name="connsiteX11849" fmla="*/ 6161319 w 8079933"/>
              <a:gd name="connsiteY11849" fmla="*/ 2285944 h 4687251"/>
              <a:gd name="connsiteX11850" fmla="*/ 6162117 w 8079933"/>
              <a:gd name="connsiteY11850" fmla="*/ 2285375 h 4687251"/>
              <a:gd name="connsiteX11851" fmla="*/ 5490470 w 8079933"/>
              <a:gd name="connsiteY11851" fmla="*/ 2284256 h 4687251"/>
              <a:gd name="connsiteX11852" fmla="*/ 5489640 w 8079933"/>
              <a:gd name="connsiteY11852" fmla="*/ 2287648 h 4687251"/>
              <a:gd name="connsiteX11853" fmla="*/ 5489641 w 8079933"/>
              <a:gd name="connsiteY11853" fmla="*/ 2287648 h 4687251"/>
              <a:gd name="connsiteX11854" fmla="*/ 4170077 w 8079933"/>
              <a:gd name="connsiteY11854" fmla="*/ 2283209 h 4687251"/>
              <a:gd name="connsiteX11855" fmla="*/ 4166387 w 8079933"/>
              <a:gd name="connsiteY11855" fmla="*/ 2285482 h 4687251"/>
              <a:gd name="connsiteX11856" fmla="*/ 4164977 w 8079933"/>
              <a:gd name="connsiteY11856" fmla="*/ 2286782 h 4687251"/>
              <a:gd name="connsiteX11857" fmla="*/ 4162048 w 8079933"/>
              <a:gd name="connsiteY11857" fmla="*/ 2286782 h 4687251"/>
              <a:gd name="connsiteX11858" fmla="*/ 4162048 w 8079933"/>
              <a:gd name="connsiteY11858" fmla="*/ 2286782 h 4687251"/>
              <a:gd name="connsiteX11859" fmla="*/ 4164977 w 8079933"/>
              <a:gd name="connsiteY11859" fmla="*/ 2286782 h 4687251"/>
              <a:gd name="connsiteX11860" fmla="*/ 4166387 w 8079933"/>
              <a:gd name="connsiteY11860" fmla="*/ 2285483 h 4687251"/>
              <a:gd name="connsiteX11861" fmla="*/ 5826621 w 8079933"/>
              <a:gd name="connsiteY11861" fmla="*/ 2282641 h 4687251"/>
              <a:gd name="connsiteX11862" fmla="*/ 5825282 w 8079933"/>
              <a:gd name="connsiteY11862" fmla="*/ 2287107 h 4687251"/>
              <a:gd name="connsiteX11863" fmla="*/ 5825282 w 8079933"/>
              <a:gd name="connsiteY11863" fmla="*/ 2287108 h 4687251"/>
              <a:gd name="connsiteX11864" fmla="*/ 6997371 w 8079933"/>
              <a:gd name="connsiteY11864" fmla="*/ 2282344 h 4687251"/>
              <a:gd name="connsiteX11865" fmla="*/ 6994658 w 8079933"/>
              <a:gd name="connsiteY11865" fmla="*/ 2286999 h 4687251"/>
              <a:gd name="connsiteX11866" fmla="*/ 6990316 w 8079933"/>
              <a:gd name="connsiteY11866" fmla="*/ 2289923 h 4687251"/>
              <a:gd name="connsiteX11867" fmla="*/ 6990100 w 8079933"/>
              <a:gd name="connsiteY11867" fmla="*/ 2292846 h 4687251"/>
              <a:gd name="connsiteX11868" fmla="*/ 6988906 w 8079933"/>
              <a:gd name="connsiteY11868" fmla="*/ 2294254 h 4687251"/>
              <a:gd name="connsiteX11869" fmla="*/ 6986953 w 8079933"/>
              <a:gd name="connsiteY11869" fmla="*/ 2292629 h 4687251"/>
              <a:gd name="connsiteX11870" fmla="*/ 6983046 w 8079933"/>
              <a:gd name="connsiteY11870" fmla="*/ 2292521 h 4687251"/>
              <a:gd name="connsiteX11871" fmla="*/ 6981744 w 8079933"/>
              <a:gd name="connsiteY11871" fmla="*/ 2291438 h 4687251"/>
              <a:gd name="connsiteX11872" fmla="*/ 6983480 w 8079933"/>
              <a:gd name="connsiteY11872" fmla="*/ 2288082 h 4687251"/>
              <a:gd name="connsiteX11873" fmla="*/ 6987603 w 8079933"/>
              <a:gd name="connsiteY11873" fmla="*/ 2286242 h 4687251"/>
              <a:gd name="connsiteX11874" fmla="*/ 6988906 w 8079933"/>
              <a:gd name="connsiteY11874" fmla="*/ 2285809 h 4687251"/>
              <a:gd name="connsiteX11875" fmla="*/ 6989775 w 8079933"/>
              <a:gd name="connsiteY11875" fmla="*/ 2284401 h 4687251"/>
              <a:gd name="connsiteX11876" fmla="*/ 6992379 w 8079933"/>
              <a:gd name="connsiteY11876" fmla="*/ 2284185 h 4687251"/>
              <a:gd name="connsiteX11877" fmla="*/ 6993898 w 8079933"/>
              <a:gd name="connsiteY11877" fmla="*/ 2283210 h 4687251"/>
              <a:gd name="connsiteX11878" fmla="*/ 1548872 w 8079933"/>
              <a:gd name="connsiteY11878" fmla="*/ 2281671 h 4687251"/>
              <a:gd name="connsiteX11879" fmla="*/ 1547447 w 8079933"/>
              <a:gd name="connsiteY11879" fmla="*/ 2284292 h 4687251"/>
              <a:gd name="connsiteX11880" fmla="*/ 1545385 w 8079933"/>
              <a:gd name="connsiteY11880" fmla="*/ 2286999 h 4687251"/>
              <a:gd name="connsiteX11881" fmla="*/ 1547447 w 8079933"/>
              <a:gd name="connsiteY11881" fmla="*/ 2284293 h 4687251"/>
              <a:gd name="connsiteX11882" fmla="*/ 6194021 w 8079933"/>
              <a:gd name="connsiteY11882" fmla="*/ 2280069 h 4687251"/>
              <a:gd name="connsiteX11883" fmla="*/ 6183712 w 8079933"/>
              <a:gd name="connsiteY11883" fmla="*/ 2286132 h 4687251"/>
              <a:gd name="connsiteX11884" fmla="*/ 6184363 w 8079933"/>
              <a:gd name="connsiteY11884" fmla="*/ 2290355 h 4687251"/>
              <a:gd name="connsiteX11885" fmla="*/ 6183550 w 8079933"/>
              <a:gd name="connsiteY11885" fmla="*/ 2291133 h 4687251"/>
              <a:gd name="connsiteX11886" fmla="*/ 6184364 w 8079933"/>
              <a:gd name="connsiteY11886" fmla="*/ 2290354 h 4687251"/>
              <a:gd name="connsiteX11887" fmla="*/ 6183713 w 8079933"/>
              <a:gd name="connsiteY11887" fmla="*/ 2286132 h 4687251"/>
              <a:gd name="connsiteX11888" fmla="*/ 5488772 w 8079933"/>
              <a:gd name="connsiteY11888" fmla="*/ 2278553 h 4687251"/>
              <a:gd name="connsiteX11889" fmla="*/ 5488772 w 8079933"/>
              <a:gd name="connsiteY11889" fmla="*/ 2278554 h 4687251"/>
              <a:gd name="connsiteX11890" fmla="*/ 5490726 w 8079933"/>
              <a:gd name="connsiteY11890" fmla="*/ 2283209 h 4687251"/>
              <a:gd name="connsiteX11891" fmla="*/ 5490726 w 8079933"/>
              <a:gd name="connsiteY11891" fmla="*/ 2283209 h 4687251"/>
              <a:gd name="connsiteX11892" fmla="*/ 1506425 w 8079933"/>
              <a:gd name="connsiteY11892" fmla="*/ 2277175 h 4687251"/>
              <a:gd name="connsiteX11893" fmla="*/ 1506318 w 8079933"/>
              <a:gd name="connsiteY11893" fmla="*/ 2278446 h 4687251"/>
              <a:gd name="connsiteX11894" fmla="*/ 1507730 w 8079933"/>
              <a:gd name="connsiteY11894" fmla="*/ 2278446 h 4687251"/>
              <a:gd name="connsiteX11895" fmla="*/ 1509683 w 8079933"/>
              <a:gd name="connsiteY11895" fmla="*/ 2280395 h 4687251"/>
              <a:gd name="connsiteX11896" fmla="*/ 1511202 w 8079933"/>
              <a:gd name="connsiteY11896" fmla="*/ 2280287 h 4687251"/>
              <a:gd name="connsiteX11897" fmla="*/ 1513481 w 8079933"/>
              <a:gd name="connsiteY11897" fmla="*/ 2281261 h 4687251"/>
              <a:gd name="connsiteX11898" fmla="*/ 1514349 w 8079933"/>
              <a:gd name="connsiteY11898" fmla="*/ 2282993 h 4687251"/>
              <a:gd name="connsiteX11899" fmla="*/ 1514674 w 8079933"/>
              <a:gd name="connsiteY11899" fmla="*/ 2284509 h 4687251"/>
              <a:gd name="connsiteX11900" fmla="*/ 1516302 w 8079933"/>
              <a:gd name="connsiteY11900" fmla="*/ 2286133 h 4687251"/>
              <a:gd name="connsiteX11901" fmla="*/ 1516303 w 8079933"/>
              <a:gd name="connsiteY11901" fmla="*/ 2286133 h 4687251"/>
              <a:gd name="connsiteX11902" fmla="*/ 1514675 w 8079933"/>
              <a:gd name="connsiteY11902" fmla="*/ 2284509 h 4687251"/>
              <a:gd name="connsiteX11903" fmla="*/ 1514350 w 8079933"/>
              <a:gd name="connsiteY11903" fmla="*/ 2282993 h 4687251"/>
              <a:gd name="connsiteX11904" fmla="*/ 1513481 w 8079933"/>
              <a:gd name="connsiteY11904" fmla="*/ 2281261 h 4687251"/>
              <a:gd name="connsiteX11905" fmla="*/ 1511202 w 8079933"/>
              <a:gd name="connsiteY11905" fmla="*/ 2280286 h 4687251"/>
              <a:gd name="connsiteX11906" fmla="*/ 1509683 w 8079933"/>
              <a:gd name="connsiteY11906" fmla="*/ 2280394 h 4687251"/>
              <a:gd name="connsiteX11907" fmla="*/ 1507730 w 8079933"/>
              <a:gd name="connsiteY11907" fmla="*/ 2278446 h 4687251"/>
              <a:gd name="connsiteX11908" fmla="*/ 1506319 w 8079933"/>
              <a:gd name="connsiteY11908" fmla="*/ 2278446 h 4687251"/>
              <a:gd name="connsiteX11909" fmla="*/ 4174201 w 8079933"/>
              <a:gd name="connsiteY11909" fmla="*/ 2276821 h 4687251"/>
              <a:gd name="connsiteX11910" fmla="*/ 4173799 w 8079933"/>
              <a:gd name="connsiteY11910" fmla="*/ 2277376 h 4687251"/>
              <a:gd name="connsiteX11911" fmla="*/ 4174201 w 8079933"/>
              <a:gd name="connsiteY11911" fmla="*/ 2276821 h 4687251"/>
              <a:gd name="connsiteX11912" fmla="*/ 4520477 w 8079933"/>
              <a:gd name="connsiteY11912" fmla="*/ 2276713 h 4687251"/>
              <a:gd name="connsiteX11913" fmla="*/ 4517114 w 8079933"/>
              <a:gd name="connsiteY11913" fmla="*/ 2284941 h 4687251"/>
              <a:gd name="connsiteX11914" fmla="*/ 4514292 w 8079933"/>
              <a:gd name="connsiteY11914" fmla="*/ 2292521 h 4687251"/>
              <a:gd name="connsiteX11915" fmla="*/ 4517114 w 8079933"/>
              <a:gd name="connsiteY11915" fmla="*/ 2284942 h 4687251"/>
              <a:gd name="connsiteX11916" fmla="*/ 4520477 w 8079933"/>
              <a:gd name="connsiteY11916" fmla="*/ 2276713 h 4687251"/>
              <a:gd name="connsiteX11917" fmla="*/ 5060239 w 8079933"/>
              <a:gd name="connsiteY11917" fmla="*/ 2275739 h 4687251"/>
              <a:gd name="connsiteX11918" fmla="*/ 5060239 w 8079933"/>
              <a:gd name="connsiteY11918" fmla="*/ 2275740 h 4687251"/>
              <a:gd name="connsiteX11919" fmla="*/ 5062304 w 8079933"/>
              <a:gd name="connsiteY11919" fmla="*/ 2277166 h 4687251"/>
              <a:gd name="connsiteX11920" fmla="*/ 1556128 w 8079933"/>
              <a:gd name="connsiteY11920" fmla="*/ 2274440 h 4687251"/>
              <a:gd name="connsiteX11921" fmla="*/ 1556128 w 8079933"/>
              <a:gd name="connsiteY11921" fmla="*/ 2274440 h 4687251"/>
              <a:gd name="connsiteX11922" fmla="*/ 1557972 w 8079933"/>
              <a:gd name="connsiteY11922" fmla="*/ 2274873 h 4687251"/>
              <a:gd name="connsiteX11923" fmla="*/ 1558407 w 8079933"/>
              <a:gd name="connsiteY11923" fmla="*/ 2275523 h 4687251"/>
              <a:gd name="connsiteX11924" fmla="*/ 1560252 w 8079933"/>
              <a:gd name="connsiteY11924" fmla="*/ 2275198 h 4687251"/>
              <a:gd name="connsiteX11925" fmla="*/ 1558408 w 8079933"/>
              <a:gd name="connsiteY11925" fmla="*/ 2275522 h 4687251"/>
              <a:gd name="connsiteX11926" fmla="*/ 1557973 w 8079933"/>
              <a:gd name="connsiteY11926" fmla="*/ 2274873 h 4687251"/>
              <a:gd name="connsiteX11927" fmla="*/ 1580544 w 8079933"/>
              <a:gd name="connsiteY11927" fmla="*/ 2274332 h 4687251"/>
              <a:gd name="connsiteX11928" fmla="*/ 1578879 w 8079933"/>
              <a:gd name="connsiteY11928" fmla="*/ 2274619 h 4687251"/>
              <a:gd name="connsiteX11929" fmla="*/ 1580544 w 8079933"/>
              <a:gd name="connsiteY11929" fmla="*/ 2274332 h 4687251"/>
              <a:gd name="connsiteX11930" fmla="*/ 1583691 w 8079933"/>
              <a:gd name="connsiteY11930" fmla="*/ 2275956 h 4687251"/>
              <a:gd name="connsiteX11931" fmla="*/ 1585753 w 8079933"/>
              <a:gd name="connsiteY11931" fmla="*/ 2279529 h 4687251"/>
              <a:gd name="connsiteX11932" fmla="*/ 1590419 w 8079933"/>
              <a:gd name="connsiteY11932" fmla="*/ 2283318 h 4687251"/>
              <a:gd name="connsiteX11933" fmla="*/ 1594109 w 8079933"/>
              <a:gd name="connsiteY11933" fmla="*/ 2289057 h 4687251"/>
              <a:gd name="connsiteX11934" fmla="*/ 1595954 w 8079933"/>
              <a:gd name="connsiteY11934" fmla="*/ 2294037 h 4687251"/>
              <a:gd name="connsiteX11935" fmla="*/ 1597256 w 8079933"/>
              <a:gd name="connsiteY11935" fmla="*/ 2296095 h 4687251"/>
              <a:gd name="connsiteX11936" fmla="*/ 1597798 w 8079933"/>
              <a:gd name="connsiteY11936" fmla="*/ 2299775 h 4687251"/>
              <a:gd name="connsiteX11937" fmla="*/ 1598124 w 8079933"/>
              <a:gd name="connsiteY11937" fmla="*/ 2305405 h 4687251"/>
              <a:gd name="connsiteX11938" fmla="*/ 1600728 w 8079933"/>
              <a:gd name="connsiteY11938" fmla="*/ 2306705 h 4687251"/>
              <a:gd name="connsiteX11939" fmla="*/ 1601922 w 8079933"/>
              <a:gd name="connsiteY11939" fmla="*/ 2309953 h 4687251"/>
              <a:gd name="connsiteX11940" fmla="*/ 1605068 w 8079933"/>
              <a:gd name="connsiteY11940" fmla="*/ 2318614 h 4687251"/>
              <a:gd name="connsiteX11941" fmla="*/ 1607022 w 8079933"/>
              <a:gd name="connsiteY11941" fmla="*/ 2319914 h 4687251"/>
              <a:gd name="connsiteX11942" fmla="*/ 1608107 w 8079933"/>
              <a:gd name="connsiteY11942" fmla="*/ 2322946 h 4687251"/>
              <a:gd name="connsiteX11943" fmla="*/ 1611797 w 8079933"/>
              <a:gd name="connsiteY11943" fmla="*/ 2325003 h 4687251"/>
              <a:gd name="connsiteX11944" fmla="*/ 1612882 w 8079933"/>
              <a:gd name="connsiteY11944" fmla="*/ 2329550 h 4687251"/>
              <a:gd name="connsiteX11945" fmla="*/ 1615161 w 8079933"/>
              <a:gd name="connsiteY11945" fmla="*/ 2333556 h 4687251"/>
              <a:gd name="connsiteX11946" fmla="*/ 1619176 w 8079933"/>
              <a:gd name="connsiteY11946" fmla="*/ 2337670 h 4687251"/>
              <a:gd name="connsiteX11947" fmla="*/ 1618742 w 8079933"/>
              <a:gd name="connsiteY11947" fmla="*/ 2342001 h 4687251"/>
              <a:gd name="connsiteX11948" fmla="*/ 1618308 w 8079933"/>
              <a:gd name="connsiteY11948" fmla="*/ 2346332 h 4687251"/>
              <a:gd name="connsiteX11949" fmla="*/ 1618199 w 8079933"/>
              <a:gd name="connsiteY11949" fmla="*/ 2347631 h 4687251"/>
              <a:gd name="connsiteX11950" fmla="*/ 1618634 w 8079933"/>
              <a:gd name="connsiteY11950" fmla="*/ 2349039 h 4687251"/>
              <a:gd name="connsiteX11951" fmla="*/ 1623408 w 8079933"/>
              <a:gd name="connsiteY11951" fmla="*/ 2363005 h 4687251"/>
              <a:gd name="connsiteX11952" fmla="*/ 1623191 w 8079933"/>
              <a:gd name="connsiteY11952" fmla="*/ 2369177 h 4687251"/>
              <a:gd name="connsiteX11953" fmla="*/ 1625253 w 8079933"/>
              <a:gd name="connsiteY11953" fmla="*/ 2371558 h 4687251"/>
              <a:gd name="connsiteX11954" fmla="*/ 1625795 w 8079933"/>
              <a:gd name="connsiteY11954" fmla="*/ 2372209 h 4687251"/>
              <a:gd name="connsiteX11955" fmla="*/ 1628617 w 8079933"/>
              <a:gd name="connsiteY11955" fmla="*/ 2373291 h 4687251"/>
              <a:gd name="connsiteX11956" fmla="*/ 1628618 w 8079933"/>
              <a:gd name="connsiteY11956" fmla="*/ 2373291 h 4687251"/>
              <a:gd name="connsiteX11957" fmla="*/ 1625796 w 8079933"/>
              <a:gd name="connsiteY11957" fmla="*/ 2372208 h 4687251"/>
              <a:gd name="connsiteX11958" fmla="*/ 1625254 w 8079933"/>
              <a:gd name="connsiteY11958" fmla="*/ 2371558 h 4687251"/>
              <a:gd name="connsiteX11959" fmla="*/ 1623192 w 8079933"/>
              <a:gd name="connsiteY11959" fmla="*/ 2369177 h 4687251"/>
              <a:gd name="connsiteX11960" fmla="*/ 1623409 w 8079933"/>
              <a:gd name="connsiteY11960" fmla="*/ 2363005 h 4687251"/>
              <a:gd name="connsiteX11961" fmla="*/ 1618634 w 8079933"/>
              <a:gd name="connsiteY11961" fmla="*/ 2349038 h 4687251"/>
              <a:gd name="connsiteX11962" fmla="*/ 1618200 w 8079933"/>
              <a:gd name="connsiteY11962" fmla="*/ 2347631 h 4687251"/>
              <a:gd name="connsiteX11963" fmla="*/ 1618308 w 8079933"/>
              <a:gd name="connsiteY11963" fmla="*/ 2346332 h 4687251"/>
              <a:gd name="connsiteX11964" fmla="*/ 1618742 w 8079933"/>
              <a:gd name="connsiteY11964" fmla="*/ 2342001 h 4687251"/>
              <a:gd name="connsiteX11965" fmla="*/ 1619176 w 8079933"/>
              <a:gd name="connsiteY11965" fmla="*/ 2337670 h 4687251"/>
              <a:gd name="connsiteX11966" fmla="*/ 1615161 w 8079933"/>
              <a:gd name="connsiteY11966" fmla="*/ 2333556 h 4687251"/>
              <a:gd name="connsiteX11967" fmla="*/ 1612883 w 8079933"/>
              <a:gd name="connsiteY11967" fmla="*/ 2329550 h 4687251"/>
              <a:gd name="connsiteX11968" fmla="*/ 1611798 w 8079933"/>
              <a:gd name="connsiteY11968" fmla="*/ 2325003 h 4687251"/>
              <a:gd name="connsiteX11969" fmla="*/ 1608108 w 8079933"/>
              <a:gd name="connsiteY11969" fmla="*/ 2322945 h 4687251"/>
              <a:gd name="connsiteX11970" fmla="*/ 1607023 w 8079933"/>
              <a:gd name="connsiteY11970" fmla="*/ 2319914 h 4687251"/>
              <a:gd name="connsiteX11971" fmla="*/ 1605069 w 8079933"/>
              <a:gd name="connsiteY11971" fmla="*/ 2318614 h 4687251"/>
              <a:gd name="connsiteX11972" fmla="*/ 1601922 w 8079933"/>
              <a:gd name="connsiteY11972" fmla="*/ 2309953 h 4687251"/>
              <a:gd name="connsiteX11973" fmla="*/ 1600729 w 8079933"/>
              <a:gd name="connsiteY11973" fmla="*/ 2306705 h 4687251"/>
              <a:gd name="connsiteX11974" fmla="*/ 1598124 w 8079933"/>
              <a:gd name="connsiteY11974" fmla="*/ 2305405 h 4687251"/>
              <a:gd name="connsiteX11975" fmla="*/ 1597799 w 8079933"/>
              <a:gd name="connsiteY11975" fmla="*/ 2299775 h 4687251"/>
              <a:gd name="connsiteX11976" fmla="*/ 1597256 w 8079933"/>
              <a:gd name="connsiteY11976" fmla="*/ 2296094 h 4687251"/>
              <a:gd name="connsiteX11977" fmla="*/ 1595954 w 8079933"/>
              <a:gd name="connsiteY11977" fmla="*/ 2294037 h 4687251"/>
              <a:gd name="connsiteX11978" fmla="*/ 1594109 w 8079933"/>
              <a:gd name="connsiteY11978" fmla="*/ 2289057 h 4687251"/>
              <a:gd name="connsiteX11979" fmla="*/ 1590420 w 8079933"/>
              <a:gd name="connsiteY11979" fmla="*/ 2283318 h 4687251"/>
              <a:gd name="connsiteX11980" fmla="*/ 1585754 w 8079933"/>
              <a:gd name="connsiteY11980" fmla="*/ 2279528 h 4687251"/>
              <a:gd name="connsiteX11981" fmla="*/ 1583692 w 8079933"/>
              <a:gd name="connsiteY11981" fmla="*/ 2275955 h 4687251"/>
              <a:gd name="connsiteX11982" fmla="*/ 1505342 w 8079933"/>
              <a:gd name="connsiteY11982" fmla="*/ 2273790 h 4687251"/>
              <a:gd name="connsiteX11983" fmla="*/ 1506427 w 8079933"/>
              <a:gd name="connsiteY11983" fmla="*/ 2277147 h 4687251"/>
              <a:gd name="connsiteX11984" fmla="*/ 1506427 w 8079933"/>
              <a:gd name="connsiteY11984" fmla="*/ 2277147 h 4687251"/>
              <a:gd name="connsiteX11985" fmla="*/ 4174902 w 8079933"/>
              <a:gd name="connsiteY11985" fmla="*/ 2273778 h 4687251"/>
              <a:gd name="connsiteX11986" fmla="*/ 4173984 w 8079933"/>
              <a:gd name="connsiteY11986" fmla="*/ 2274764 h 4687251"/>
              <a:gd name="connsiteX11987" fmla="*/ 4174189 w 8079933"/>
              <a:gd name="connsiteY11987" fmla="*/ 2276708 h 4687251"/>
              <a:gd name="connsiteX11988" fmla="*/ 4173984 w 8079933"/>
              <a:gd name="connsiteY11988" fmla="*/ 2274764 h 4687251"/>
              <a:gd name="connsiteX11989" fmla="*/ 5871650 w 8079933"/>
              <a:gd name="connsiteY11989" fmla="*/ 2273497 h 4687251"/>
              <a:gd name="connsiteX11990" fmla="*/ 5874874 w 8079933"/>
              <a:gd name="connsiteY11990" fmla="*/ 2275740 h 4687251"/>
              <a:gd name="connsiteX11991" fmla="*/ 5881927 w 8079933"/>
              <a:gd name="connsiteY11991" fmla="*/ 2283210 h 4687251"/>
              <a:gd name="connsiteX11992" fmla="*/ 5887461 w 8079933"/>
              <a:gd name="connsiteY11992" fmla="*/ 2283318 h 4687251"/>
              <a:gd name="connsiteX11993" fmla="*/ 5892671 w 8079933"/>
              <a:gd name="connsiteY11993" fmla="*/ 2285917 h 4687251"/>
              <a:gd name="connsiteX11994" fmla="*/ 5894624 w 8079933"/>
              <a:gd name="connsiteY11994" fmla="*/ 2289057 h 4687251"/>
              <a:gd name="connsiteX11995" fmla="*/ 5898856 w 8079933"/>
              <a:gd name="connsiteY11995" fmla="*/ 2294037 h 4687251"/>
              <a:gd name="connsiteX11996" fmla="*/ 5900918 w 8079933"/>
              <a:gd name="connsiteY11996" fmla="*/ 2299126 h 4687251"/>
              <a:gd name="connsiteX11997" fmla="*/ 5903305 w 8079933"/>
              <a:gd name="connsiteY11997" fmla="*/ 2298151 h 4687251"/>
              <a:gd name="connsiteX11998" fmla="*/ 5903848 w 8079933"/>
              <a:gd name="connsiteY11998" fmla="*/ 2291114 h 4687251"/>
              <a:gd name="connsiteX11999" fmla="*/ 5906669 w 8079933"/>
              <a:gd name="connsiteY11999" fmla="*/ 2288515 h 4687251"/>
              <a:gd name="connsiteX12000" fmla="*/ 5908297 w 8079933"/>
              <a:gd name="connsiteY12000" fmla="*/ 2290572 h 4687251"/>
              <a:gd name="connsiteX12001" fmla="*/ 5913289 w 8079933"/>
              <a:gd name="connsiteY12001" fmla="*/ 2290572 h 4687251"/>
              <a:gd name="connsiteX12002" fmla="*/ 5918389 w 8079933"/>
              <a:gd name="connsiteY12002" fmla="*/ 2293604 h 4687251"/>
              <a:gd name="connsiteX12003" fmla="*/ 5919040 w 8079933"/>
              <a:gd name="connsiteY12003" fmla="*/ 2300208 h 4687251"/>
              <a:gd name="connsiteX12004" fmla="*/ 5924900 w 8079933"/>
              <a:gd name="connsiteY12004" fmla="*/ 2305405 h 4687251"/>
              <a:gd name="connsiteX12005" fmla="*/ 5932496 w 8079933"/>
              <a:gd name="connsiteY12005" fmla="*/ 2303348 h 4687251"/>
              <a:gd name="connsiteX12006" fmla="*/ 5938573 w 8079933"/>
              <a:gd name="connsiteY12006" fmla="*/ 2304106 h 4687251"/>
              <a:gd name="connsiteX12007" fmla="*/ 5938573 w 8079933"/>
              <a:gd name="connsiteY12007" fmla="*/ 2304105 h 4687251"/>
              <a:gd name="connsiteX12008" fmla="*/ 5932496 w 8079933"/>
              <a:gd name="connsiteY12008" fmla="*/ 2303348 h 4687251"/>
              <a:gd name="connsiteX12009" fmla="*/ 5924900 w 8079933"/>
              <a:gd name="connsiteY12009" fmla="*/ 2305405 h 4687251"/>
              <a:gd name="connsiteX12010" fmla="*/ 5919040 w 8079933"/>
              <a:gd name="connsiteY12010" fmla="*/ 2300208 h 4687251"/>
              <a:gd name="connsiteX12011" fmla="*/ 5918389 w 8079933"/>
              <a:gd name="connsiteY12011" fmla="*/ 2293603 h 4687251"/>
              <a:gd name="connsiteX12012" fmla="*/ 5913289 w 8079933"/>
              <a:gd name="connsiteY12012" fmla="*/ 2290571 h 4687251"/>
              <a:gd name="connsiteX12013" fmla="*/ 5908297 w 8079933"/>
              <a:gd name="connsiteY12013" fmla="*/ 2290571 h 4687251"/>
              <a:gd name="connsiteX12014" fmla="*/ 5906669 w 8079933"/>
              <a:gd name="connsiteY12014" fmla="*/ 2288514 h 4687251"/>
              <a:gd name="connsiteX12015" fmla="*/ 5903848 w 8079933"/>
              <a:gd name="connsiteY12015" fmla="*/ 2291113 h 4687251"/>
              <a:gd name="connsiteX12016" fmla="*/ 5903305 w 8079933"/>
              <a:gd name="connsiteY12016" fmla="*/ 2298150 h 4687251"/>
              <a:gd name="connsiteX12017" fmla="*/ 5900918 w 8079933"/>
              <a:gd name="connsiteY12017" fmla="*/ 2299125 h 4687251"/>
              <a:gd name="connsiteX12018" fmla="*/ 5898856 w 8079933"/>
              <a:gd name="connsiteY12018" fmla="*/ 2294036 h 4687251"/>
              <a:gd name="connsiteX12019" fmla="*/ 5894624 w 8079933"/>
              <a:gd name="connsiteY12019" fmla="*/ 2289056 h 4687251"/>
              <a:gd name="connsiteX12020" fmla="*/ 5892671 w 8079933"/>
              <a:gd name="connsiteY12020" fmla="*/ 2285916 h 4687251"/>
              <a:gd name="connsiteX12021" fmla="*/ 5887461 w 8079933"/>
              <a:gd name="connsiteY12021" fmla="*/ 2283318 h 4687251"/>
              <a:gd name="connsiteX12022" fmla="*/ 5881927 w 8079933"/>
              <a:gd name="connsiteY12022" fmla="*/ 2283209 h 4687251"/>
              <a:gd name="connsiteX12023" fmla="*/ 5874874 w 8079933"/>
              <a:gd name="connsiteY12023" fmla="*/ 2275738 h 4687251"/>
              <a:gd name="connsiteX12024" fmla="*/ 1574576 w 8079933"/>
              <a:gd name="connsiteY12024" fmla="*/ 2272599 h 4687251"/>
              <a:gd name="connsiteX12025" fmla="*/ 1570835 w 8079933"/>
              <a:gd name="connsiteY12025" fmla="*/ 2272955 h 4687251"/>
              <a:gd name="connsiteX12026" fmla="*/ 1574576 w 8079933"/>
              <a:gd name="connsiteY12026" fmla="*/ 2272600 h 4687251"/>
              <a:gd name="connsiteX12027" fmla="*/ 1576421 w 8079933"/>
              <a:gd name="connsiteY12027" fmla="*/ 2273574 h 4687251"/>
              <a:gd name="connsiteX12028" fmla="*/ 1577397 w 8079933"/>
              <a:gd name="connsiteY12028" fmla="*/ 2274873 h 4687251"/>
              <a:gd name="connsiteX12029" fmla="*/ 1577398 w 8079933"/>
              <a:gd name="connsiteY12029" fmla="*/ 2274873 h 4687251"/>
              <a:gd name="connsiteX12030" fmla="*/ 1576421 w 8079933"/>
              <a:gd name="connsiteY12030" fmla="*/ 2273574 h 4687251"/>
              <a:gd name="connsiteX12031" fmla="*/ 1561663 w 8079933"/>
              <a:gd name="connsiteY12031" fmla="*/ 2272383 h 4687251"/>
              <a:gd name="connsiteX12032" fmla="*/ 1561663 w 8079933"/>
              <a:gd name="connsiteY12032" fmla="*/ 2272383 h 4687251"/>
              <a:gd name="connsiteX12033" fmla="*/ 1566003 w 8079933"/>
              <a:gd name="connsiteY12033" fmla="*/ 2272383 h 4687251"/>
              <a:gd name="connsiteX12034" fmla="*/ 1570018 w 8079933"/>
              <a:gd name="connsiteY12034" fmla="*/ 2273032 h 4687251"/>
              <a:gd name="connsiteX12035" fmla="*/ 1570018 w 8079933"/>
              <a:gd name="connsiteY12035" fmla="*/ 2273032 h 4687251"/>
              <a:gd name="connsiteX12036" fmla="*/ 1566004 w 8079933"/>
              <a:gd name="connsiteY12036" fmla="*/ 2272383 h 4687251"/>
              <a:gd name="connsiteX12037" fmla="*/ 3869452 w 8079933"/>
              <a:gd name="connsiteY12037" fmla="*/ 2271109 h 4687251"/>
              <a:gd name="connsiteX12038" fmla="*/ 3867641 w 8079933"/>
              <a:gd name="connsiteY12038" fmla="*/ 2275198 h 4687251"/>
              <a:gd name="connsiteX12039" fmla="*/ 3857711 w 8079933"/>
              <a:gd name="connsiteY12039" fmla="*/ 2281997 h 4687251"/>
              <a:gd name="connsiteX12040" fmla="*/ 3867642 w 8079933"/>
              <a:gd name="connsiteY12040" fmla="*/ 2275197 h 4687251"/>
              <a:gd name="connsiteX12041" fmla="*/ 5665944 w 8079933"/>
              <a:gd name="connsiteY12041" fmla="*/ 2268303 h 4687251"/>
              <a:gd name="connsiteX12042" fmla="*/ 5668042 w 8079933"/>
              <a:gd name="connsiteY12042" fmla="*/ 2269892 h 4687251"/>
              <a:gd name="connsiteX12043" fmla="*/ 5668043 w 8079933"/>
              <a:gd name="connsiteY12043" fmla="*/ 2269945 h 4687251"/>
              <a:gd name="connsiteX12044" fmla="*/ 5668042 w 8079933"/>
              <a:gd name="connsiteY12044" fmla="*/ 2269891 h 4687251"/>
              <a:gd name="connsiteX12045" fmla="*/ 5829405 w 8079933"/>
              <a:gd name="connsiteY12045" fmla="*/ 2264803 h 4687251"/>
              <a:gd name="connsiteX12046" fmla="*/ 5828428 w 8079933"/>
              <a:gd name="connsiteY12046" fmla="*/ 2266210 h 4687251"/>
              <a:gd name="connsiteX12047" fmla="*/ 5828104 w 8079933"/>
              <a:gd name="connsiteY12047" fmla="*/ 2266643 h 4687251"/>
              <a:gd name="connsiteX12048" fmla="*/ 5828104 w 8079933"/>
              <a:gd name="connsiteY12048" fmla="*/ 2266644 h 4687251"/>
              <a:gd name="connsiteX12049" fmla="*/ 5828429 w 8079933"/>
              <a:gd name="connsiteY12049" fmla="*/ 2266210 h 4687251"/>
              <a:gd name="connsiteX12050" fmla="*/ 5828429 w 8079933"/>
              <a:gd name="connsiteY12050" fmla="*/ 2266210 h 4687251"/>
              <a:gd name="connsiteX12051" fmla="*/ 5829405 w 8079933"/>
              <a:gd name="connsiteY12051" fmla="*/ 2264804 h 4687251"/>
              <a:gd name="connsiteX12052" fmla="*/ 5836459 w 8079933"/>
              <a:gd name="connsiteY12052" fmla="*/ 2268377 h 4687251"/>
              <a:gd name="connsiteX12053" fmla="*/ 5838195 w 8079933"/>
              <a:gd name="connsiteY12053" fmla="*/ 2270975 h 4687251"/>
              <a:gd name="connsiteX12054" fmla="*/ 5843079 w 8079933"/>
              <a:gd name="connsiteY12054" fmla="*/ 2270759 h 4687251"/>
              <a:gd name="connsiteX12055" fmla="*/ 5845574 w 8079933"/>
              <a:gd name="connsiteY12055" fmla="*/ 2271950 h 4687251"/>
              <a:gd name="connsiteX12056" fmla="*/ 5848613 w 8079933"/>
              <a:gd name="connsiteY12056" fmla="*/ 2267728 h 4687251"/>
              <a:gd name="connsiteX12057" fmla="*/ 5854473 w 8079933"/>
              <a:gd name="connsiteY12057" fmla="*/ 2267186 h 4687251"/>
              <a:gd name="connsiteX12058" fmla="*/ 5863153 w 8079933"/>
              <a:gd name="connsiteY12058" fmla="*/ 2270434 h 4687251"/>
              <a:gd name="connsiteX12059" fmla="*/ 5865650 w 8079933"/>
              <a:gd name="connsiteY12059" fmla="*/ 2272924 h 4687251"/>
              <a:gd name="connsiteX12060" fmla="*/ 5871293 w 8079933"/>
              <a:gd name="connsiteY12060" fmla="*/ 2273249 h 4687251"/>
              <a:gd name="connsiteX12061" fmla="*/ 5871292 w 8079933"/>
              <a:gd name="connsiteY12061" fmla="*/ 2273248 h 4687251"/>
              <a:gd name="connsiteX12062" fmla="*/ 5865650 w 8079933"/>
              <a:gd name="connsiteY12062" fmla="*/ 2272924 h 4687251"/>
              <a:gd name="connsiteX12063" fmla="*/ 5863154 w 8079933"/>
              <a:gd name="connsiteY12063" fmla="*/ 2270434 h 4687251"/>
              <a:gd name="connsiteX12064" fmla="*/ 5854472 w 8079933"/>
              <a:gd name="connsiteY12064" fmla="*/ 2267185 h 4687251"/>
              <a:gd name="connsiteX12065" fmla="*/ 5848613 w 8079933"/>
              <a:gd name="connsiteY12065" fmla="*/ 2267726 h 4687251"/>
              <a:gd name="connsiteX12066" fmla="*/ 5845574 w 8079933"/>
              <a:gd name="connsiteY12066" fmla="*/ 2271949 h 4687251"/>
              <a:gd name="connsiteX12067" fmla="*/ 5843079 w 8079933"/>
              <a:gd name="connsiteY12067" fmla="*/ 2270758 h 4687251"/>
              <a:gd name="connsiteX12068" fmla="*/ 5838195 w 8079933"/>
              <a:gd name="connsiteY12068" fmla="*/ 2270975 h 4687251"/>
              <a:gd name="connsiteX12069" fmla="*/ 5836459 w 8079933"/>
              <a:gd name="connsiteY12069" fmla="*/ 2268376 h 4687251"/>
              <a:gd name="connsiteX12070" fmla="*/ 4762689 w 8079933"/>
              <a:gd name="connsiteY12070" fmla="*/ 2264640 h 4687251"/>
              <a:gd name="connsiteX12071" fmla="*/ 4762903 w 8079933"/>
              <a:gd name="connsiteY12071" fmla="*/ 2268268 h 4687251"/>
              <a:gd name="connsiteX12072" fmla="*/ 4761818 w 8079933"/>
              <a:gd name="connsiteY12072" fmla="*/ 2273574 h 4687251"/>
              <a:gd name="connsiteX12073" fmla="*/ 4761818 w 8079933"/>
              <a:gd name="connsiteY12073" fmla="*/ 2278770 h 4687251"/>
              <a:gd name="connsiteX12074" fmla="*/ 4760299 w 8079933"/>
              <a:gd name="connsiteY12074" fmla="*/ 2279745 h 4687251"/>
              <a:gd name="connsiteX12075" fmla="*/ 4760299 w 8079933"/>
              <a:gd name="connsiteY12075" fmla="*/ 2279745 h 4687251"/>
              <a:gd name="connsiteX12076" fmla="*/ 4761818 w 8079933"/>
              <a:gd name="connsiteY12076" fmla="*/ 2278771 h 4687251"/>
              <a:gd name="connsiteX12077" fmla="*/ 4761818 w 8079933"/>
              <a:gd name="connsiteY12077" fmla="*/ 2273574 h 4687251"/>
              <a:gd name="connsiteX12078" fmla="*/ 4762904 w 8079933"/>
              <a:gd name="connsiteY12078" fmla="*/ 2268269 h 4687251"/>
              <a:gd name="connsiteX12079" fmla="*/ 4762687 w 8079933"/>
              <a:gd name="connsiteY12079" fmla="*/ 2264582 h 4687251"/>
              <a:gd name="connsiteX12080" fmla="*/ 4762686 w 8079933"/>
              <a:gd name="connsiteY12080" fmla="*/ 2264587 h 4687251"/>
              <a:gd name="connsiteX12081" fmla="*/ 4762686 w 8079933"/>
              <a:gd name="connsiteY12081" fmla="*/ 2264587 h 4687251"/>
              <a:gd name="connsiteX12082" fmla="*/ 5384053 w 8079933"/>
              <a:gd name="connsiteY12082" fmla="*/ 2263721 h 4687251"/>
              <a:gd name="connsiteX12083" fmla="*/ 5382099 w 8079933"/>
              <a:gd name="connsiteY12083" fmla="*/ 2266645 h 4687251"/>
              <a:gd name="connsiteX12084" fmla="*/ 5364199 w 8079933"/>
              <a:gd name="connsiteY12084" fmla="*/ 2291107 h 4687251"/>
              <a:gd name="connsiteX12085" fmla="*/ 5364196 w 8079933"/>
              <a:gd name="connsiteY12085" fmla="*/ 2291112 h 4687251"/>
              <a:gd name="connsiteX12086" fmla="*/ 5364198 w 8079933"/>
              <a:gd name="connsiteY12086" fmla="*/ 2291109 h 4687251"/>
              <a:gd name="connsiteX12087" fmla="*/ 5364199 w 8079933"/>
              <a:gd name="connsiteY12087" fmla="*/ 2291107 h 4687251"/>
              <a:gd name="connsiteX12088" fmla="*/ 5381868 w 8079933"/>
              <a:gd name="connsiteY12088" fmla="*/ 2266963 h 4687251"/>
              <a:gd name="connsiteX12089" fmla="*/ 5382100 w 8079933"/>
              <a:gd name="connsiteY12089" fmla="*/ 2266644 h 4687251"/>
              <a:gd name="connsiteX12090" fmla="*/ 5384053 w 8079933"/>
              <a:gd name="connsiteY12090" fmla="*/ 2263721 h 4687251"/>
              <a:gd name="connsiteX12091" fmla="*/ 5668313 w 8079933"/>
              <a:gd name="connsiteY12091" fmla="*/ 2263720 h 4687251"/>
              <a:gd name="connsiteX12092" fmla="*/ 5664895 w 8079933"/>
              <a:gd name="connsiteY12092" fmla="*/ 2267509 h 4687251"/>
              <a:gd name="connsiteX12093" fmla="*/ 5664895 w 8079933"/>
              <a:gd name="connsiteY12093" fmla="*/ 2267509 h 4687251"/>
              <a:gd name="connsiteX12094" fmla="*/ 1501224 w 8079933"/>
              <a:gd name="connsiteY12094" fmla="*/ 2262152 h 4687251"/>
              <a:gd name="connsiteX12095" fmla="*/ 1500675 w 8079933"/>
              <a:gd name="connsiteY12095" fmla="*/ 2262530 h 4687251"/>
              <a:gd name="connsiteX12096" fmla="*/ 1497962 w 8079933"/>
              <a:gd name="connsiteY12096" fmla="*/ 2263288 h 4687251"/>
              <a:gd name="connsiteX12097" fmla="*/ 1497962 w 8079933"/>
              <a:gd name="connsiteY12097" fmla="*/ 2265020 h 4687251"/>
              <a:gd name="connsiteX12098" fmla="*/ 1502087 w 8079933"/>
              <a:gd name="connsiteY12098" fmla="*/ 2269892 h 4687251"/>
              <a:gd name="connsiteX12099" fmla="*/ 1497963 w 8079933"/>
              <a:gd name="connsiteY12099" fmla="*/ 2265020 h 4687251"/>
              <a:gd name="connsiteX12100" fmla="*/ 1497963 w 8079933"/>
              <a:gd name="connsiteY12100" fmla="*/ 2263288 h 4687251"/>
              <a:gd name="connsiteX12101" fmla="*/ 1500676 w 8079933"/>
              <a:gd name="connsiteY12101" fmla="*/ 2262530 h 4687251"/>
              <a:gd name="connsiteX12102" fmla="*/ 5487036 w 8079933"/>
              <a:gd name="connsiteY12102" fmla="*/ 2259282 h 4687251"/>
              <a:gd name="connsiteX12103" fmla="*/ 5487469 w 8079933"/>
              <a:gd name="connsiteY12103" fmla="*/ 2265778 h 4687251"/>
              <a:gd name="connsiteX12104" fmla="*/ 5489097 w 8079933"/>
              <a:gd name="connsiteY12104" fmla="*/ 2273574 h 4687251"/>
              <a:gd name="connsiteX12105" fmla="*/ 5489097 w 8079933"/>
              <a:gd name="connsiteY12105" fmla="*/ 2273573 h 4687251"/>
              <a:gd name="connsiteX12106" fmla="*/ 5487470 w 8079933"/>
              <a:gd name="connsiteY12106" fmla="*/ 2265777 h 4687251"/>
              <a:gd name="connsiteX12107" fmla="*/ 4734942 w 8079933"/>
              <a:gd name="connsiteY12107" fmla="*/ 2258776 h 4687251"/>
              <a:gd name="connsiteX12108" fmla="*/ 4738053 w 8079933"/>
              <a:gd name="connsiteY12108" fmla="*/ 2263396 h 4687251"/>
              <a:gd name="connsiteX12109" fmla="*/ 4740548 w 8079933"/>
              <a:gd name="connsiteY12109" fmla="*/ 2272166 h 4687251"/>
              <a:gd name="connsiteX12110" fmla="*/ 4744530 w 8079933"/>
              <a:gd name="connsiteY12110" fmla="*/ 2278189 h 4687251"/>
              <a:gd name="connsiteX12111" fmla="*/ 4740549 w 8079933"/>
              <a:gd name="connsiteY12111" fmla="*/ 2272166 h 4687251"/>
              <a:gd name="connsiteX12112" fmla="*/ 4738053 w 8079933"/>
              <a:gd name="connsiteY12112" fmla="*/ 2263396 h 4687251"/>
              <a:gd name="connsiteX12113" fmla="*/ 4173501 w 8079933"/>
              <a:gd name="connsiteY12113" fmla="*/ 2255499 h 4687251"/>
              <a:gd name="connsiteX12114" fmla="*/ 4173332 w 8079933"/>
              <a:gd name="connsiteY12114" fmla="*/ 2256791 h 4687251"/>
              <a:gd name="connsiteX12115" fmla="*/ 4172464 w 8079933"/>
              <a:gd name="connsiteY12115" fmla="*/ 2260039 h 4687251"/>
              <a:gd name="connsiteX12116" fmla="*/ 4174852 w 8079933"/>
              <a:gd name="connsiteY12116" fmla="*/ 2267510 h 4687251"/>
              <a:gd name="connsiteX12117" fmla="*/ 4175394 w 8079933"/>
              <a:gd name="connsiteY12117" fmla="*/ 2273248 h 4687251"/>
              <a:gd name="connsiteX12118" fmla="*/ 4175395 w 8079933"/>
              <a:gd name="connsiteY12118" fmla="*/ 2273248 h 4687251"/>
              <a:gd name="connsiteX12119" fmla="*/ 4174852 w 8079933"/>
              <a:gd name="connsiteY12119" fmla="*/ 2267510 h 4687251"/>
              <a:gd name="connsiteX12120" fmla="*/ 4172465 w 8079933"/>
              <a:gd name="connsiteY12120" fmla="*/ 2260039 h 4687251"/>
              <a:gd name="connsiteX12121" fmla="*/ 4173333 w 8079933"/>
              <a:gd name="connsiteY12121" fmla="*/ 2256791 h 4687251"/>
              <a:gd name="connsiteX12122" fmla="*/ 4805442 w 8079933"/>
              <a:gd name="connsiteY12122" fmla="*/ 2252028 h 4687251"/>
              <a:gd name="connsiteX12123" fmla="*/ 4832463 w 8079933"/>
              <a:gd name="connsiteY12123" fmla="*/ 2281261 h 4687251"/>
              <a:gd name="connsiteX12124" fmla="*/ 4805442 w 8079933"/>
              <a:gd name="connsiteY12124" fmla="*/ 2252028 h 4687251"/>
              <a:gd name="connsiteX12125" fmla="*/ 4177022 w 8079933"/>
              <a:gd name="connsiteY12125" fmla="*/ 2251811 h 4687251"/>
              <a:gd name="connsiteX12126" fmla="*/ 4174089 w 8079933"/>
              <a:gd name="connsiteY12126" fmla="*/ 2253982 h 4687251"/>
              <a:gd name="connsiteX12127" fmla="*/ 4177022 w 8079933"/>
              <a:gd name="connsiteY12127" fmla="*/ 2251811 h 4687251"/>
              <a:gd name="connsiteX12128" fmla="*/ 4182556 w 8079933"/>
              <a:gd name="connsiteY12128" fmla="*/ 2252027 h 4687251"/>
              <a:gd name="connsiteX12129" fmla="*/ 5049581 w 8079933"/>
              <a:gd name="connsiteY12129" fmla="*/ 2248088 h 4687251"/>
              <a:gd name="connsiteX12130" fmla="*/ 5049278 w 8079933"/>
              <a:gd name="connsiteY12130" fmla="*/ 2254627 h 4687251"/>
              <a:gd name="connsiteX12131" fmla="*/ 5051123 w 8079933"/>
              <a:gd name="connsiteY12131" fmla="*/ 2261015 h 4687251"/>
              <a:gd name="connsiteX12132" fmla="*/ 5058719 w 8079933"/>
              <a:gd name="connsiteY12132" fmla="*/ 2261015 h 4687251"/>
              <a:gd name="connsiteX12133" fmla="*/ 5059602 w 8079933"/>
              <a:gd name="connsiteY12133" fmla="*/ 2269570 h 4687251"/>
              <a:gd name="connsiteX12134" fmla="*/ 5058720 w 8079933"/>
              <a:gd name="connsiteY12134" fmla="*/ 2261014 h 4687251"/>
              <a:gd name="connsiteX12135" fmla="*/ 5051123 w 8079933"/>
              <a:gd name="connsiteY12135" fmla="*/ 2261014 h 4687251"/>
              <a:gd name="connsiteX12136" fmla="*/ 5049279 w 8079933"/>
              <a:gd name="connsiteY12136" fmla="*/ 2254627 h 4687251"/>
              <a:gd name="connsiteX12137" fmla="*/ 4753788 w 8079933"/>
              <a:gd name="connsiteY12137" fmla="*/ 2247263 h 4687251"/>
              <a:gd name="connsiteX12138" fmla="*/ 4752702 w 8079933"/>
              <a:gd name="connsiteY12138" fmla="*/ 2254626 h 4687251"/>
              <a:gd name="connsiteX12139" fmla="*/ 4753630 w 8079933"/>
              <a:gd name="connsiteY12139" fmla="*/ 2255552 h 4687251"/>
              <a:gd name="connsiteX12140" fmla="*/ 4752703 w 8079933"/>
              <a:gd name="connsiteY12140" fmla="*/ 2254627 h 4687251"/>
              <a:gd name="connsiteX12141" fmla="*/ 4753788 w 8079933"/>
              <a:gd name="connsiteY12141" fmla="*/ 2247264 h 4687251"/>
              <a:gd name="connsiteX12142" fmla="*/ 5497453 w 8079933"/>
              <a:gd name="connsiteY12142" fmla="*/ 2246398 h 4687251"/>
              <a:gd name="connsiteX12143" fmla="*/ 5496491 w 8079933"/>
              <a:gd name="connsiteY12143" fmla="*/ 2248378 h 4687251"/>
              <a:gd name="connsiteX12144" fmla="*/ 5497454 w 8079933"/>
              <a:gd name="connsiteY12144" fmla="*/ 2246398 h 4687251"/>
              <a:gd name="connsiteX12145" fmla="*/ 3882508 w 8079933"/>
              <a:gd name="connsiteY12145" fmla="*/ 2244016 h 4687251"/>
              <a:gd name="connsiteX12146" fmla="*/ 3876756 w 8079933"/>
              <a:gd name="connsiteY12146" fmla="*/ 2253110 h 4687251"/>
              <a:gd name="connsiteX12147" fmla="*/ 3871765 w 8079933"/>
              <a:gd name="connsiteY12147" fmla="*/ 2257549 h 4687251"/>
              <a:gd name="connsiteX12148" fmla="*/ 3869797 w 8079933"/>
              <a:gd name="connsiteY12148" fmla="*/ 2262223 h 4687251"/>
              <a:gd name="connsiteX12149" fmla="*/ 3871765 w 8079933"/>
              <a:gd name="connsiteY12149" fmla="*/ 2257550 h 4687251"/>
              <a:gd name="connsiteX12150" fmla="*/ 3876757 w 8079933"/>
              <a:gd name="connsiteY12150" fmla="*/ 2253111 h 4687251"/>
              <a:gd name="connsiteX12151" fmla="*/ 3882508 w 8079933"/>
              <a:gd name="connsiteY12151" fmla="*/ 2244016 h 4687251"/>
              <a:gd name="connsiteX12152" fmla="*/ 5378742 w 8079933"/>
              <a:gd name="connsiteY12152" fmla="*/ 2240210 h 4687251"/>
              <a:gd name="connsiteX12153" fmla="*/ 5382099 w 8079933"/>
              <a:gd name="connsiteY12153" fmla="*/ 2247698 h 4687251"/>
              <a:gd name="connsiteX12154" fmla="*/ 5381665 w 8079933"/>
              <a:gd name="connsiteY12154" fmla="*/ 2254302 h 4687251"/>
              <a:gd name="connsiteX12155" fmla="*/ 5383816 w 8079933"/>
              <a:gd name="connsiteY12155" fmla="*/ 2262785 h 4687251"/>
              <a:gd name="connsiteX12156" fmla="*/ 5381666 w 8079933"/>
              <a:gd name="connsiteY12156" fmla="*/ 2254301 h 4687251"/>
              <a:gd name="connsiteX12157" fmla="*/ 5382100 w 8079933"/>
              <a:gd name="connsiteY12157" fmla="*/ 2247697 h 4687251"/>
              <a:gd name="connsiteX12158" fmla="*/ 4191909 w 8079933"/>
              <a:gd name="connsiteY12158" fmla="*/ 2240108 h 4687251"/>
              <a:gd name="connsiteX12159" fmla="*/ 4186897 w 8079933"/>
              <a:gd name="connsiteY12159" fmla="*/ 2243257 h 4687251"/>
              <a:gd name="connsiteX12160" fmla="*/ 4186897 w 8079933"/>
              <a:gd name="connsiteY12160" fmla="*/ 2243258 h 4687251"/>
              <a:gd name="connsiteX12161" fmla="*/ 5513623 w 8079933"/>
              <a:gd name="connsiteY12161" fmla="*/ 2238493 h 4687251"/>
              <a:gd name="connsiteX12162" fmla="*/ 5513622 w 8079933"/>
              <a:gd name="connsiteY12162" fmla="*/ 2238494 h 4687251"/>
              <a:gd name="connsiteX12163" fmla="*/ 5517528 w 8079933"/>
              <a:gd name="connsiteY12163" fmla="*/ 2239685 h 4687251"/>
              <a:gd name="connsiteX12164" fmla="*/ 5517529 w 8079933"/>
              <a:gd name="connsiteY12164" fmla="*/ 2239684 h 4687251"/>
              <a:gd name="connsiteX12165" fmla="*/ 6803560 w 8079933"/>
              <a:gd name="connsiteY12165" fmla="*/ 2238169 h 4687251"/>
              <a:gd name="connsiteX12166" fmla="*/ 6805513 w 8079933"/>
              <a:gd name="connsiteY12166" fmla="*/ 2238926 h 4687251"/>
              <a:gd name="connsiteX12167" fmla="*/ 6808335 w 8079933"/>
              <a:gd name="connsiteY12167" fmla="*/ 2238602 h 4687251"/>
              <a:gd name="connsiteX12168" fmla="*/ 6812892 w 8079933"/>
              <a:gd name="connsiteY12168" fmla="*/ 2241308 h 4687251"/>
              <a:gd name="connsiteX12169" fmla="*/ 6812784 w 8079933"/>
              <a:gd name="connsiteY12169" fmla="*/ 2245206 h 4687251"/>
              <a:gd name="connsiteX12170" fmla="*/ 6809419 w 8079933"/>
              <a:gd name="connsiteY12170" fmla="*/ 2242932 h 4687251"/>
              <a:gd name="connsiteX12171" fmla="*/ 6804753 w 8079933"/>
              <a:gd name="connsiteY12171" fmla="*/ 2241417 h 4687251"/>
              <a:gd name="connsiteX12172" fmla="*/ 3919187 w 8079933"/>
              <a:gd name="connsiteY12172" fmla="*/ 2236761 h 4687251"/>
              <a:gd name="connsiteX12173" fmla="*/ 3919729 w 8079933"/>
              <a:gd name="connsiteY12173" fmla="*/ 2238169 h 4687251"/>
              <a:gd name="connsiteX12174" fmla="*/ 3919729 w 8079933"/>
              <a:gd name="connsiteY12174" fmla="*/ 2238169 h 4687251"/>
              <a:gd name="connsiteX12175" fmla="*/ 1487941 w 8079933"/>
              <a:gd name="connsiteY12175" fmla="*/ 2235831 h 4687251"/>
              <a:gd name="connsiteX12176" fmla="*/ 1487653 w 8079933"/>
              <a:gd name="connsiteY12176" fmla="*/ 2237737 h 4687251"/>
              <a:gd name="connsiteX12177" fmla="*/ 1486460 w 8079933"/>
              <a:gd name="connsiteY12177" fmla="*/ 2239577 h 4687251"/>
              <a:gd name="connsiteX12178" fmla="*/ 1489390 w 8079933"/>
              <a:gd name="connsiteY12178" fmla="*/ 2240443 h 4687251"/>
              <a:gd name="connsiteX12179" fmla="*/ 1492646 w 8079933"/>
              <a:gd name="connsiteY12179" fmla="*/ 2242608 h 4687251"/>
              <a:gd name="connsiteX12180" fmla="*/ 1494816 w 8079933"/>
              <a:gd name="connsiteY12180" fmla="*/ 2246073 h 4687251"/>
              <a:gd name="connsiteX12181" fmla="*/ 1495359 w 8079933"/>
              <a:gd name="connsiteY12181" fmla="*/ 2251270 h 4687251"/>
              <a:gd name="connsiteX12182" fmla="*/ 1496986 w 8079933"/>
              <a:gd name="connsiteY12182" fmla="*/ 2253219 h 4687251"/>
              <a:gd name="connsiteX12183" fmla="*/ 1498397 w 8079933"/>
              <a:gd name="connsiteY12183" fmla="*/ 2253544 h 4687251"/>
              <a:gd name="connsiteX12184" fmla="*/ 1499157 w 8079933"/>
              <a:gd name="connsiteY12184" fmla="*/ 2255384 h 4687251"/>
              <a:gd name="connsiteX12185" fmla="*/ 1501978 w 8079933"/>
              <a:gd name="connsiteY12185" fmla="*/ 2257875 h 4687251"/>
              <a:gd name="connsiteX12186" fmla="*/ 1502087 w 8079933"/>
              <a:gd name="connsiteY12186" fmla="*/ 2261555 h 4687251"/>
              <a:gd name="connsiteX12187" fmla="*/ 1501979 w 8079933"/>
              <a:gd name="connsiteY12187" fmla="*/ 2257874 h 4687251"/>
              <a:gd name="connsiteX12188" fmla="*/ 1499157 w 8079933"/>
              <a:gd name="connsiteY12188" fmla="*/ 2255384 h 4687251"/>
              <a:gd name="connsiteX12189" fmla="*/ 1498398 w 8079933"/>
              <a:gd name="connsiteY12189" fmla="*/ 2253543 h 4687251"/>
              <a:gd name="connsiteX12190" fmla="*/ 1496986 w 8079933"/>
              <a:gd name="connsiteY12190" fmla="*/ 2253219 h 4687251"/>
              <a:gd name="connsiteX12191" fmla="*/ 1495359 w 8079933"/>
              <a:gd name="connsiteY12191" fmla="*/ 2251270 h 4687251"/>
              <a:gd name="connsiteX12192" fmla="*/ 1494816 w 8079933"/>
              <a:gd name="connsiteY12192" fmla="*/ 2246073 h 4687251"/>
              <a:gd name="connsiteX12193" fmla="*/ 1492646 w 8079933"/>
              <a:gd name="connsiteY12193" fmla="*/ 2242608 h 4687251"/>
              <a:gd name="connsiteX12194" fmla="*/ 1489390 w 8079933"/>
              <a:gd name="connsiteY12194" fmla="*/ 2240443 h 4687251"/>
              <a:gd name="connsiteX12195" fmla="*/ 1486461 w 8079933"/>
              <a:gd name="connsiteY12195" fmla="*/ 2239577 h 4687251"/>
              <a:gd name="connsiteX12196" fmla="*/ 1487654 w 8079933"/>
              <a:gd name="connsiteY12196" fmla="*/ 2237736 h 4687251"/>
              <a:gd name="connsiteX12197" fmla="*/ 5675963 w 8079933"/>
              <a:gd name="connsiteY12197" fmla="*/ 2233886 h 4687251"/>
              <a:gd name="connsiteX12198" fmla="*/ 5677483 w 8079933"/>
              <a:gd name="connsiteY12198" fmla="*/ 2239468 h 4687251"/>
              <a:gd name="connsiteX12199" fmla="*/ 5677483 w 8079933"/>
              <a:gd name="connsiteY12199" fmla="*/ 2239467 h 4687251"/>
              <a:gd name="connsiteX12200" fmla="*/ 4141276 w 8079933"/>
              <a:gd name="connsiteY12200" fmla="*/ 2232609 h 4687251"/>
              <a:gd name="connsiteX12201" fmla="*/ 4147180 w 8079933"/>
              <a:gd name="connsiteY12201" fmla="*/ 2239144 h 4687251"/>
              <a:gd name="connsiteX12202" fmla="*/ 4147180 w 8079933"/>
              <a:gd name="connsiteY12202" fmla="*/ 2239143 h 4687251"/>
              <a:gd name="connsiteX12203" fmla="*/ 4849614 w 8079933"/>
              <a:gd name="connsiteY12203" fmla="*/ 2232107 h 4687251"/>
              <a:gd name="connsiteX12204" fmla="*/ 4851875 w 8079933"/>
              <a:gd name="connsiteY12204" fmla="*/ 2232379 h 4687251"/>
              <a:gd name="connsiteX12205" fmla="*/ 4849615 w 8079933"/>
              <a:gd name="connsiteY12205" fmla="*/ 2232107 h 4687251"/>
              <a:gd name="connsiteX12206" fmla="*/ 4137414 w 8079933"/>
              <a:gd name="connsiteY12206" fmla="*/ 2231672 h 4687251"/>
              <a:gd name="connsiteX12207" fmla="*/ 4137414 w 8079933"/>
              <a:gd name="connsiteY12207" fmla="*/ 2231673 h 4687251"/>
              <a:gd name="connsiteX12208" fmla="*/ 4141212 w 8079933"/>
              <a:gd name="connsiteY12208" fmla="*/ 2232539 h 4687251"/>
              <a:gd name="connsiteX12209" fmla="*/ 4141212 w 8079933"/>
              <a:gd name="connsiteY12209" fmla="*/ 2232538 h 4687251"/>
              <a:gd name="connsiteX12210" fmla="*/ 4765182 w 8079933"/>
              <a:gd name="connsiteY12210" fmla="*/ 2230266 h 4687251"/>
              <a:gd name="connsiteX12211" fmla="*/ 4765616 w 8079933"/>
              <a:gd name="connsiteY12211" fmla="*/ 2233081 h 4687251"/>
              <a:gd name="connsiteX12212" fmla="*/ 4764748 w 8079933"/>
              <a:gd name="connsiteY12212" fmla="*/ 2235354 h 4687251"/>
              <a:gd name="connsiteX12213" fmla="*/ 4764314 w 8079933"/>
              <a:gd name="connsiteY12213" fmla="*/ 2241742 h 4687251"/>
              <a:gd name="connsiteX12214" fmla="*/ 4764748 w 8079933"/>
              <a:gd name="connsiteY12214" fmla="*/ 2235355 h 4687251"/>
              <a:gd name="connsiteX12215" fmla="*/ 4765617 w 8079933"/>
              <a:gd name="connsiteY12215" fmla="*/ 2233081 h 4687251"/>
              <a:gd name="connsiteX12216" fmla="*/ 4765073 w 8079933"/>
              <a:gd name="connsiteY12216" fmla="*/ 2228641 h 4687251"/>
              <a:gd name="connsiteX12217" fmla="*/ 4762252 w 8079933"/>
              <a:gd name="connsiteY12217" fmla="*/ 2231240 h 4687251"/>
              <a:gd name="connsiteX12218" fmla="*/ 4759756 w 8079933"/>
              <a:gd name="connsiteY12218" fmla="*/ 2230915 h 4687251"/>
              <a:gd name="connsiteX12219" fmla="*/ 4759756 w 8079933"/>
              <a:gd name="connsiteY12219" fmla="*/ 2230915 h 4687251"/>
              <a:gd name="connsiteX12220" fmla="*/ 4762253 w 8079933"/>
              <a:gd name="connsiteY12220" fmla="*/ 2231240 h 4687251"/>
              <a:gd name="connsiteX12221" fmla="*/ 4765073 w 8079933"/>
              <a:gd name="connsiteY12221" fmla="*/ 2228642 h 4687251"/>
              <a:gd name="connsiteX12222" fmla="*/ 4765073 w 8079933"/>
              <a:gd name="connsiteY12222" fmla="*/ 2228642 h 4687251"/>
              <a:gd name="connsiteX12223" fmla="*/ 5524148 w 8079933"/>
              <a:gd name="connsiteY12223" fmla="*/ 2228534 h 4687251"/>
              <a:gd name="connsiteX12224" fmla="*/ 5522629 w 8079933"/>
              <a:gd name="connsiteY12224" fmla="*/ 2231565 h 4687251"/>
              <a:gd name="connsiteX12225" fmla="*/ 5522630 w 8079933"/>
              <a:gd name="connsiteY12225" fmla="*/ 2231564 h 4687251"/>
              <a:gd name="connsiteX12226" fmla="*/ 4132355 w 8079933"/>
              <a:gd name="connsiteY12226" fmla="*/ 2228040 h 4687251"/>
              <a:gd name="connsiteX12227" fmla="*/ 4135135 w 8079933"/>
              <a:gd name="connsiteY12227" fmla="*/ 2229183 h 4687251"/>
              <a:gd name="connsiteX12228" fmla="*/ 4135134 w 8079933"/>
              <a:gd name="connsiteY12228" fmla="*/ 2229182 h 4687251"/>
              <a:gd name="connsiteX12229" fmla="*/ 5538764 w 8079933"/>
              <a:gd name="connsiteY12229" fmla="*/ 2227353 h 4687251"/>
              <a:gd name="connsiteX12230" fmla="*/ 5538472 w 8079933"/>
              <a:gd name="connsiteY12230" fmla="*/ 2230264 h 4687251"/>
              <a:gd name="connsiteX12231" fmla="*/ 5538473 w 8079933"/>
              <a:gd name="connsiteY12231" fmla="*/ 2230264 h 4687251"/>
              <a:gd name="connsiteX12232" fmla="*/ 4753570 w 8079933"/>
              <a:gd name="connsiteY12232" fmla="*/ 2227126 h 4687251"/>
              <a:gd name="connsiteX12233" fmla="*/ 4752377 w 8079933"/>
              <a:gd name="connsiteY12233" fmla="*/ 2233622 h 4687251"/>
              <a:gd name="connsiteX12234" fmla="*/ 4753617 w 8079933"/>
              <a:gd name="connsiteY12234" fmla="*/ 2235809 h 4687251"/>
              <a:gd name="connsiteX12235" fmla="*/ 4752378 w 8079933"/>
              <a:gd name="connsiteY12235" fmla="*/ 2233622 h 4687251"/>
              <a:gd name="connsiteX12236" fmla="*/ 4753571 w 8079933"/>
              <a:gd name="connsiteY12236" fmla="*/ 2227126 h 4687251"/>
              <a:gd name="connsiteX12237" fmla="*/ 4759322 w 8079933"/>
              <a:gd name="connsiteY12237" fmla="*/ 2227126 h 4687251"/>
              <a:gd name="connsiteX12238" fmla="*/ 4759343 w 8079933"/>
              <a:gd name="connsiteY12238" fmla="*/ 2227308 h 4687251"/>
              <a:gd name="connsiteX12239" fmla="*/ 4759322 w 8079933"/>
              <a:gd name="connsiteY12239" fmla="*/ 2227126 h 4687251"/>
              <a:gd name="connsiteX12240" fmla="*/ 3912466 w 8079933"/>
              <a:gd name="connsiteY12240" fmla="*/ 2225593 h 4687251"/>
              <a:gd name="connsiteX12241" fmla="*/ 3914737 w 8079933"/>
              <a:gd name="connsiteY12241" fmla="*/ 2226259 h 4687251"/>
              <a:gd name="connsiteX12242" fmla="*/ 3917124 w 8079933"/>
              <a:gd name="connsiteY12242" fmla="*/ 2228425 h 4687251"/>
              <a:gd name="connsiteX12243" fmla="*/ 3919729 w 8079933"/>
              <a:gd name="connsiteY12243" fmla="*/ 2228533 h 4687251"/>
              <a:gd name="connsiteX12244" fmla="*/ 3921899 w 8079933"/>
              <a:gd name="connsiteY12244" fmla="*/ 2230157 h 4687251"/>
              <a:gd name="connsiteX12245" fmla="*/ 3919800 w 8079933"/>
              <a:gd name="connsiteY12245" fmla="*/ 2235268 h 4687251"/>
              <a:gd name="connsiteX12246" fmla="*/ 3921900 w 8079933"/>
              <a:gd name="connsiteY12246" fmla="*/ 2230157 h 4687251"/>
              <a:gd name="connsiteX12247" fmla="*/ 3919729 w 8079933"/>
              <a:gd name="connsiteY12247" fmla="*/ 2228533 h 4687251"/>
              <a:gd name="connsiteX12248" fmla="*/ 3917125 w 8079933"/>
              <a:gd name="connsiteY12248" fmla="*/ 2228424 h 4687251"/>
              <a:gd name="connsiteX12249" fmla="*/ 3914738 w 8079933"/>
              <a:gd name="connsiteY12249" fmla="*/ 2226259 h 4687251"/>
              <a:gd name="connsiteX12250" fmla="*/ 4204472 w 8079933"/>
              <a:gd name="connsiteY12250" fmla="*/ 2225063 h 4687251"/>
              <a:gd name="connsiteX12251" fmla="*/ 4205996 w 8079933"/>
              <a:gd name="connsiteY12251" fmla="*/ 2226583 h 4687251"/>
              <a:gd name="connsiteX12252" fmla="*/ 4202186 w 8079933"/>
              <a:gd name="connsiteY12252" fmla="*/ 2232324 h 4687251"/>
              <a:gd name="connsiteX12253" fmla="*/ 4205996 w 8079933"/>
              <a:gd name="connsiteY12253" fmla="*/ 2226583 h 4687251"/>
              <a:gd name="connsiteX12254" fmla="*/ 7007897 w 8079933"/>
              <a:gd name="connsiteY12254" fmla="*/ 2221170 h 4687251"/>
              <a:gd name="connsiteX12255" fmla="*/ 7010827 w 8079933"/>
              <a:gd name="connsiteY12255" fmla="*/ 2224743 h 4687251"/>
              <a:gd name="connsiteX12256" fmla="*/ 7011696 w 8079933"/>
              <a:gd name="connsiteY12256" fmla="*/ 2227991 h 4687251"/>
              <a:gd name="connsiteX12257" fmla="*/ 7010502 w 8079933"/>
              <a:gd name="connsiteY12257" fmla="*/ 2230048 h 4687251"/>
              <a:gd name="connsiteX12258" fmla="*/ 7006378 w 8079933"/>
              <a:gd name="connsiteY12258" fmla="*/ 2229398 h 4687251"/>
              <a:gd name="connsiteX12259" fmla="*/ 7003665 w 8079933"/>
              <a:gd name="connsiteY12259" fmla="*/ 2224635 h 4687251"/>
              <a:gd name="connsiteX12260" fmla="*/ 7004858 w 8079933"/>
              <a:gd name="connsiteY12260" fmla="*/ 2221711 h 4687251"/>
              <a:gd name="connsiteX12261" fmla="*/ 4771368 w 8079933"/>
              <a:gd name="connsiteY12261" fmla="*/ 2221063 h 4687251"/>
              <a:gd name="connsiteX12262" fmla="*/ 4768438 w 8079933"/>
              <a:gd name="connsiteY12262" fmla="*/ 2223661 h 4687251"/>
              <a:gd name="connsiteX12263" fmla="*/ 4771368 w 8079933"/>
              <a:gd name="connsiteY12263" fmla="*/ 2221063 h 4687251"/>
              <a:gd name="connsiteX12264" fmla="*/ 4771368 w 8079933"/>
              <a:gd name="connsiteY12264" fmla="*/ 2221063 h 4687251"/>
              <a:gd name="connsiteX12265" fmla="*/ 5039132 w 8079933"/>
              <a:gd name="connsiteY12265" fmla="*/ 2220576 h 4687251"/>
              <a:gd name="connsiteX12266" fmla="*/ 5040597 w 8079933"/>
              <a:gd name="connsiteY12266" fmla="*/ 2221604 h 4687251"/>
              <a:gd name="connsiteX12267" fmla="*/ 5045155 w 8079933"/>
              <a:gd name="connsiteY12267" fmla="*/ 2230049 h 4687251"/>
              <a:gd name="connsiteX12268" fmla="*/ 5049604 w 8079933"/>
              <a:gd name="connsiteY12268" fmla="*/ 2232432 h 4687251"/>
              <a:gd name="connsiteX12269" fmla="*/ 5054596 w 8079933"/>
              <a:gd name="connsiteY12269" fmla="*/ 2243150 h 4687251"/>
              <a:gd name="connsiteX12270" fmla="*/ 5054596 w 8079933"/>
              <a:gd name="connsiteY12270" fmla="*/ 2243150 h 4687251"/>
              <a:gd name="connsiteX12271" fmla="*/ 5049604 w 8079933"/>
              <a:gd name="connsiteY12271" fmla="*/ 2232431 h 4687251"/>
              <a:gd name="connsiteX12272" fmla="*/ 5045155 w 8079933"/>
              <a:gd name="connsiteY12272" fmla="*/ 2230049 h 4687251"/>
              <a:gd name="connsiteX12273" fmla="*/ 5040597 w 8079933"/>
              <a:gd name="connsiteY12273" fmla="*/ 2221604 h 4687251"/>
              <a:gd name="connsiteX12274" fmla="*/ 3553594 w 8079933"/>
              <a:gd name="connsiteY12274" fmla="*/ 2219546 h 4687251"/>
              <a:gd name="connsiteX12275" fmla="*/ 3556089 w 8079933"/>
              <a:gd name="connsiteY12275" fmla="*/ 2223444 h 4687251"/>
              <a:gd name="connsiteX12276" fmla="*/ 3553050 w 8079933"/>
              <a:gd name="connsiteY12276" fmla="*/ 2224852 h 4687251"/>
              <a:gd name="connsiteX12277" fmla="*/ 3548601 w 8079933"/>
              <a:gd name="connsiteY12277" fmla="*/ 2223011 h 4687251"/>
              <a:gd name="connsiteX12278" fmla="*/ 3547191 w 8079933"/>
              <a:gd name="connsiteY12278" fmla="*/ 2220412 h 4687251"/>
              <a:gd name="connsiteX12279" fmla="*/ 4119928 w 8079933"/>
              <a:gd name="connsiteY12279" fmla="*/ 2214817 h 4687251"/>
              <a:gd name="connsiteX12280" fmla="*/ 4121028 w 8079933"/>
              <a:gd name="connsiteY12280" fmla="*/ 2215216 h 4687251"/>
              <a:gd name="connsiteX12281" fmla="*/ 4121027 w 8079933"/>
              <a:gd name="connsiteY12281" fmla="*/ 2215215 h 4687251"/>
              <a:gd name="connsiteX12282" fmla="*/ 5549433 w 8079933"/>
              <a:gd name="connsiteY12282" fmla="*/ 2214566 h 4687251"/>
              <a:gd name="connsiteX12283" fmla="*/ 5549433 w 8079933"/>
              <a:gd name="connsiteY12283" fmla="*/ 2214567 h 4687251"/>
              <a:gd name="connsiteX12284" fmla="*/ 5551277 w 8079933"/>
              <a:gd name="connsiteY12284" fmla="*/ 2225177 h 4687251"/>
              <a:gd name="connsiteX12285" fmla="*/ 5549763 w 8079933"/>
              <a:gd name="connsiteY12285" fmla="*/ 2227381 h 4687251"/>
              <a:gd name="connsiteX12286" fmla="*/ 5551278 w 8079933"/>
              <a:gd name="connsiteY12286" fmla="*/ 2225176 h 4687251"/>
              <a:gd name="connsiteX12287" fmla="*/ 1427211 w 8079933"/>
              <a:gd name="connsiteY12287" fmla="*/ 2211535 h 4687251"/>
              <a:gd name="connsiteX12288" fmla="*/ 1465950 w 8079933"/>
              <a:gd name="connsiteY12288" fmla="*/ 2212726 h 4687251"/>
              <a:gd name="connsiteX12289" fmla="*/ 1470400 w 8079933"/>
              <a:gd name="connsiteY12289" fmla="*/ 2215541 h 4687251"/>
              <a:gd name="connsiteX12290" fmla="*/ 1474198 w 8079933"/>
              <a:gd name="connsiteY12290" fmla="*/ 2220955 h 4687251"/>
              <a:gd name="connsiteX12291" fmla="*/ 1476259 w 8079933"/>
              <a:gd name="connsiteY12291" fmla="*/ 2223445 h 4687251"/>
              <a:gd name="connsiteX12292" fmla="*/ 1476694 w 8079933"/>
              <a:gd name="connsiteY12292" fmla="*/ 2225610 h 4687251"/>
              <a:gd name="connsiteX12293" fmla="*/ 1479189 w 8079933"/>
              <a:gd name="connsiteY12293" fmla="*/ 2225718 h 4687251"/>
              <a:gd name="connsiteX12294" fmla="*/ 1481360 w 8079933"/>
              <a:gd name="connsiteY12294" fmla="*/ 2228858 h 4687251"/>
              <a:gd name="connsiteX12295" fmla="*/ 1480600 w 8079933"/>
              <a:gd name="connsiteY12295" fmla="*/ 2231240 h 4687251"/>
              <a:gd name="connsiteX12296" fmla="*/ 1484290 w 8079933"/>
              <a:gd name="connsiteY12296" fmla="*/ 2232539 h 4687251"/>
              <a:gd name="connsiteX12297" fmla="*/ 1487980 w 8079933"/>
              <a:gd name="connsiteY12297" fmla="*/ 2235571 h 4687251"/>
              <a:gd name="connsiteX12298" fmla="*/ 1487980 w 8079933"/>
              <a:gd name="connsiteY12298" fmla="*/ 2235570 h 4687251"/>
              <a:gd name="connsiteX12299" fmla="*/ 1484291 w 8079933"/>
              <a:gd name="connsiteY12299" fmla="*/ 2232539 h 4687251"/>
              <a:gd name="connsiteX12300" fmla="*/ 1480601 w 8079933"/>
              <a:gd name="connsiteY12300" fmla="*/ 2231240 h 4687251"/>
              <a:gd name="connsiteX12301" fmla="*/ 1481361 w 8079933"/>
              <a:gd name="connsiteY12301" fmla="*/ 2228858 h 4687251"/>
              <a:gd name="connsiteX12302" fmla="*/ 1479190 w 8079933"/>
              <a:gd name="connsiteY12302" fmla="*/ 2225718 h 4687251"/>
              <a:gd name="connsiteX12303" fmla="*/ 1476695 w 8079933"/>
              <a:gd name="connsiteY12303" fmla="*/ 2225610 h 4687251"/>
              <a:gd name="connsiteX12304" fmla="*/ 1476260 w 8079933"/>
              <a:gd name="connsiteY12304" fmla="*/ 2223445 h 4687251"/>
              <a:gd name="connsiteX12305" fmla="*/ 1474198 w 8079933"/>
              <a:gd name="connsiteY12305" fmla="*/ 2220954 h 4687251"/>
              <a:gd name="connsiteX12306" fmla="*/ 1470400 w 8079933"/>
              <a:gd name="connsiteY12306" fmla="*/ 2215541 h 4687251"/>
              <a:gd name="connsiteX12307" fmla="*/ 1465951 w 8079933"/>
              <a:gd name="connsiteY12307" fmla="*/ 2212725 h 4687251"/>
              <a:gd name="connsiteX12308" fmla="*/ 5009186 w 8079933"/>
              <a:gd name="connsiteY12308" fmla="*/ 2209720 h 4687251"/>
              <a:gd name="connsiteX12309" fmla="*/ 5010863 w 8079933"/>
              <a:gd name="connsiteY12309" fmla="*/ 2210994 h 4687251"/>
              <a:gd name="connsiteX12310" fmla="*/ 5010863 w 8079933"/>
              <a:gd name="connsiteY12310" fmla="*/ 2210994 h 4687251"/>
              <a:gd name="connsiteX12311" fmla="*/ 5017374 w 8079933"/>
              <a:gd name="connsiteY12311" fmla="*/ 2208937 h 4687251"/>
              <a:gd name="connsiteX12312" fmla="*/ 5035171 w 8079933"/>
              <a:gd name="connsiteY12312" fmla="*/ 2220630 h 4687251"/>
              <a:gd name="connsiteX12313" fmla="*/ 5037667 w 8079933"/>
              <a:gd name="connsiteY12313" fmla="*/ 2219547 h 4687251"/>
              <a:gd name="connsiteX12314" fmla="*/ 5037667 w 8079933"/>
              <a:gd name="connsiteY12314" fmla="*/ 2219547 h 4687251"/>
              <a:gd name="connsiteX12315" fmla="*/ 5035171 w 8079933"/>
              <a:gd name="connsiteY12315" fmla="*/ 2220629 h 4687251"/>
              <a:gd name="connsiteX12316" fmla="*/ 5017375 w 8079933"/>
              <a:gd name="connsiteY12316" fmla="*/ 2208937 h 4687251"/>
              <a:gd name="connsiteX12317" fmla="*/ 7013865 w 8079933"/>
              <a:gd name="connsiteY12317" fmla="*/ 2208611 h 4687251"/>
              <a:gd name="connsiteX12318" fmla="*/ 7016577 w 8079933"/>
              <a:gd name="connsiteY12318" fmla="*/ 2210885 h 4687251"/>
              <a:gd name="connsiteX12319" fmla="*/ 7017011 w 8079933"/>
              <a:gd name="connsiteY12319" fmla="*/ 2214891 h 4687251"/>
              <a:gd name="connsiteX12320" fmla="*/ 7015926 w 8079933"/>
              <a:gd name="connsiteY12320" fmla="*/ 2218139 h 4687251"/>
              <a:gd name="connsiteX12321" fmla="*/ 7014732 w 8079933"/>
              <a:gd name="connsiteY12321" fmla="*/ 2219438 h 4687251"/>
              <a:gd name="connsiteX12322" fmla="*/ 7013756 w 8079933"/>
              <a:gd name="connsiteY12322" fmla="*/ 2211750 h 4687251"/>
              <a:gd name="connsiteX12323" fmla="*/ 5691265 w 8079933"/>
              <a:gd name="connsiteY12323" fmla="*/ 2205579 h 4687251"/>
              <a:gd name="connsiteX12324" fmla="*/ 5685513 w 8079933"/>
              <a:gd name="connsiteY12324" fmla="*/ 2207744 h 4687251"/>
              <a:gd name="connsiteX12325" fmla="*/ 5678243 w 8079933"/>
              <a:gd name="connsiteY12325" fmla="*/ 2206229 h 4687251"/>
              <a:gd name="connsiteX12326" fmla="*/ 5677964 w 8079933"/>
              <a:gd name="connsiteY12326" fmla="*/ 2205652 h 4687251"/>
              <a:gd name="connsiteX12327" fmla="*/ 5678243 w 8079933"/>
              <a:gd name="connsiteY12327" fmla="*/ 2206229 h 4687251"/>
              <a:gd name="connsiteX12328" fmla="*/ 5685513 w 8079933"/>
              <a:gd name="connsiteY12328" fmla="*/ 2207744 h 4687251"/>
              <a:gd name="connsiteX12329" fmla="*/ 4767352 w 8079933"/>
              <a:gd name="connsiteY12329" fmla="*/ 2203739 h 4687251"/>
              <a:gd name="connsiteX12330" fmla="*/ 4766050 w 8079933"/>
              <a:gd name="connsiteY12330" fmla="*/ 2206554 h 4687251"/>
              <a:gd name="connsiteX12331" fmla="*/ 4764856 w 8079933"/>
              <a:gd name="connsiteY12331" fmla="*/ 2212617 h 4687251"/>
              <a:gd name="connsiteX12332" fmla="*/ 4763554 w 8079933"/>
              <a:gd name="connsiteY12332" fmla="*/ 2219655 h 4687251"/>
              <a:gd name="connsiteX12333" fmla="*/ 4764531 w 8079933"/>
              <a:gd name="connsiteY12333" fmla="*/ 2223877 h 4687251"/>
              <a:gd name="connsiteX12334" fmla="*/ 4765616 w 8079933"/>
              <a:gd name="connsiteY12334" fmla="*/ 2225934 h 4687251"/>
              <a:gd name="connsiteX12335" fmla="*/ 4764965 w 8079933"/>
              <a:gd name="connsiteY12335" fmla="*/ 2225934 h 4687251"/>
              <a:gd name="connsiteX12336" fmla="*/ 4764965 w 8079933"/>
              <a:gd name="connsiteY12336" fmla="*/ 2225935 h 4687251"/>
              <a:gd name="connsiteX12337" fmla="*/ 4765092 w 8079933"/>
              <a:gd name="connsiteY12337" fmla="*/ 2225942 h 4687251"/>
              <a:gd name="connsiteX12338" fmla="*/ 4764966 w 8079933"/>
              <a:gd name="connsiteY12338" fmla="*/ 2225935 h 4687251"/>
              <a:gd name="connsiteX12339" fmla="*/ 4765616 w 8079933"/>
              <a:gd name="connsiteY12339" fmla="*/ 2225935 h 4687251"/>
              <a:gd name="connsiteX12340" fmla="*/ 4766787 w 8079933"/>
              <a:gd name="connsiteY12340" fmla="*/ 2226042 h 4687251"/>
              <a:gd name="connsiteX12341" fmla="*/ 4766810 w 8079933"/>
              <a:gd name="connsiteY12341" fmla="*/ 2226043 h 4687251"/>
              <a:gd name="connsiteX12342" fmla="*/ 4766810 w 8079933"/>
              <a:gd name="connsiteY12342" fmla="*/ 2226043 h 4687251"/>
              <a:gd name="connsiteX12343" fmla="*/ 4765617 w 8079933"/>
              <a:gd name="connsiteY12343" fmla="*/ 2225935 h 4687251"/>
              <a:gd name="connsiteX12344" fmla="*/ 4764532 w 8079933"/>
              <a:gd name="connsiteY12344" fmla="*/ 2223877 h 4687251"/>
              <a:gd name="connsiteX12345" fmla="*/ 4763555 w 8079933"/>
              <a:gd name="connsiteY12345" fmla="*/ 2219655 h 4687251"/>
              <a:gd name="connsiteX12346" fmla="*/ 4764857 w 8079933"/>
              <a:gd name="connsiteY12346" fmla="*/ 2212617 h 4687251"/>
              <a:gd name="connsiteX12347" fmla="*/ 4766050 w 8079933"/>
              <a:gd name="connsiteY12347" fmla="*/ 2206554 h 4687251"/>
              <a:gd name="connsiteX12348" fmla="*/ 4767353 w 8079933"/>
              <a:gd name="connsiteY12348" fmla="*/ 2203739 h 4687251"/>
              <a:gd name="connsiteX12349" fmla="*/ 4767570 w 8079933"/>
              <a:gd name="connsiteY12349" fmla="*/ 2203739 h 4687251"/>
              <a:gd name="connsiteX12350" fmla="*/ 4768872 w 8079933"/>
              <a:gd name="connsiteY12350" fmla="*/ 2205471 h 4687251"/>
              <a:gd name="connsiteX12351" fmla="*/ 4772235 w 8079933"/>
              <a:gd name="connsiteY12351" fmla="*/ 2208827 h 4687251"/>
              <a:gd name="connsiteX12352" fmla="*/ 4772235 w 8079933"/>
              <a:gd name="connsiteY12352" fmla="*/ 2208827 h 4687251"/>
              <a:gd name="connsiteX12353" fmla="*/ 4768872 w 8079933"/>
              <a:gd name="connsiteY12353" fmla="*/ 2205470 h 4687251"/>
              <a:gd name="connsiteX12354" fmla="*/ 5005329 w 8079933"/>
              <a:gd name="connsiteY12354" fmla="*/ 2202549 h 4687251"/>
              <a:gd name="connsiteX12355" fmla="*/ 5006740 w 8079933"/>
              <a:gd name="connsiteY12355" fmla="*/ 2204281 h 4687251"/>
              <a:gd name="connsiteX12356" fmla="*/ 5006332 w 8079933"/>
              <a:gd name="connsiteY12356" fmla="*/ 2205655 h 4687251"/>
              <a:gd name="connsiteX12357" fmla="*/ 5006740 w 8079933"/>
              <a:gd name="connsiteY12357" fmla="*/ 2204281 h 4687251"/>
              <a:gd name="connsiteX12358" fmla="*/ 5779272 w 8079933"/>
              <a:gd name="connsiteY12358" fmla="*/ 2198974 h 4687251"/>
              <a:gd name="connsiteX12359" fmla="*/ 5779271 w 8079933"/>
              <a:gd name="connsiteY12359" fmla="*/ 2198975 h 4687251"/>
              <a:gd name="connsiteX12360" fmla="*/ 5783285 w 8079933"/>
              <a:gd name="connsiteY12360" fmla="*/ 2200274 h 4687251"/>
              <a:gd name="connsiteX12361" fmla="*/ 5784154 w 8079933"/>
              <a:gd name="connsiteY12361" fmla="*/ 2203630 h 4687251"/>
              <a:gd name="connsiteX12362" fmla="*/ 5784155 w 8079933"/>
              <a:gd name="connsiteY12362" fmla="*/ 2203629 h 4687251"/>
              <a:gd name="connsiteX12363" fmla="*/ 5783287 w 8079933"/>
              <a:gd name="connsiteY12363" fmla="*/ 2200274 h 4687251"/>
              <a:gd name="connsiteX12364" fmla="*/ 4183859 w 8079933"/>
              <a:gd name="connsiteY12364" fmla="*/ 2194969 h 4687251"/>
              <a:gd name="connsiteX12365" fmla="*/ 4188200 w 8079933"/>
              <a:gd name="connsiteY12365" fmla="*/ 2194969 h 4687251"/>
              <a:gd name="connsiteX12366" fmla="*/ 4190045 w 8079933"/>
              <a:gd name="connsiteY12366" fmla="*/ 2197134 h 4687251"/>
              <a:gd name="connsiteX12367" fmla="*/ 4187006 w 8079933"/>
              <a:gd name="connsiteY12367" fmla="*/ 2199624 h 4687251"/>
              <a:gd name="connsiteX12368" fmla="*/ 4183208 w 8079933"/>
              <a:gd name="connsiteY12368" fmla="*/ 2196701 h 4687251"/>
              <a:gd name="connsiteX12369" fmla="*/ 5750696 w 8079933"/>
              <a:gd name="connsiteY12369" fmla="*/ 2192746 h 4687251"/>
              <a:gd name="connsiteX12370" fmla="*/ 5754095 w 8079933"/>
              <a:gd name="connsiteY12370" fmla="*/ 2194102 h 4687251"/>
              <a:gd name="connsiteX12371" fmla="*/ 5756591 w 8079933"/>
              <a:gd name="connsiteY12371" fmla="*/ 2200706 h 4687251"/>
              <a:gd name="connsiteX12372" fmla="*/ 5756592 w 8079933"/>
              <a:gd name="connsiteY12372" fmla="*/ 2200706 h 4687251"/>
              <a:gd name="connsiteX12373" fmla="*/ 5754096 w 8079933"/>
              <a:gd name="connsiteY12373" fmla="*/ 2194102 h 4687251"/>
              <a:gd name="connsiteX12374" fmla="*/ 6777516 w 8079933"/>
              <a:gd name="connsiteY12374" fmla="*/ 2191396 h 4687251"/>
              <a:gd name="connsiteX12375" fmla="*/ 6783268 w 8079933"/>
              <a:gd name="connsiteY12375" fmla="*/ 2192371 h 4687251"/>
              <a:gd name="connsiteX12376" fmla="*/ 6785437 w 8079933"/>
              <a:gd name="connsiteY12376" fmla="*/ 2193778 h 4687251"/>
              <a:gd name="connsiteX12377" fmla="*/ 6789452 w 8079933"/>
              <a:gd name="connsiteY12377" fmla="*/ 2193453 h 4687251"/>
              <a:gd name="connsiteX12378" fmla="*/ 6789995 w 8079933"/>
              <a:gd name="connsiteY12378" fmla="*/ 2198543 h 4687251"/>
              <a:gd name="connsiteX12379" fmla="*/ 6784895 w 8079933"/>
              <a:gd name="connsiteY12379" fmla="*/ 2196269 h 4687251"/>
              <a:gd name="connsiteX12380" fmla="*/ 6779795 w 8079933"/>
              <a:gd name="connsiteY12380" fmla="*/ 2196160 h 4687251"/>
              <a:gd name="connsiteX12381" fmla="*/ 6776973 w 8079933"/>
              <a:gd name="connsiteY12381" fmla="*/ 2193237 h 4687251"/>
              <a:gd name="connsiteX12382" fmla="*/ 5001600 w 8079933"/>
              <a:gd name="connsiteY12382" fmla="*/ 2191065 h 4687251"/>
              <a:gd name="connsiteX12383" fmla="*/ 5002182 w 8079933"/>
              <a:gd name="connsiteY12383" fmla="*/ 2193129 h 4687251"/>
              <a:gd name="connsiteX12384" fmla="*/ 5007608 w 8079933"/>
              <a:gd name="connsiteY12384" fmla="*/ 2197568 h 4687251"/>
              <a:gd name="connsiteX12385" fmla="*/ 5006732 w 8079933"/>
              <a:gd name="connsiteY12385" fmla="*/ 2199482 h 4687251"/>
              <a:gd name="connsiteX12386" fmla="*/ 5007608 w 8079933"/>
              <a:gd name="connsiteY12386" fmla="*/ 2197568 h 4687251"/>
              <a:gd name="connsiteX12387" fmla="*/ 5002182 w 8079933"/>
              <a:gd name="connsiteY12387" fmla="*/ 2193129 h 4687251"/>
              <a:gd name="connsiteX12388" fmla="*/ 4995997 w 8079933"/>
              <a:gd name="connsiteY12388" fmla="*/ 2188581 h 4687251"/>
              <a:gd name="connsiteX12389" fmla="*/ 4995997 w 8079933"/>
              <a:gd name="connsiteY12389" fmla="*/ 2188582 h 4687251"/>
              <a:gd name="connsiteX12390" fmla="*/ 5001205 w 8079933"/>
              <a:gd name="connsiteY12390" fmla="*/ 2189665 h 4687251"/>
              <a:gd name="connsiteX12391" fmla="*/ 5001205 w 8079933"/>
              <a:gd name="connsiteY12391" fmla="*/ 2189664 h 4687251"/>
              <a:gd name="connsiteX12392" fmla="*/ 5354861 w 8079933"/>
              <a:gd name="connsiteY12392" fmla="*/ 2183926 h 4687251"/>
              <a:gd name="connsiteX12393" fmla="*/ 5347483 w 8079933"/>
              <a:gd name="connsiteY12393" fmla="*/ 2193129 h 4687251"/>
              <a:gd name="connsiteX12394" fmla="*/ 5346289 w 8079933"/>
              <a:gd name="connsiteY12394" fmla="*/ 2199300 h 4687251"/>
              <a:gd name="connsiteX12395" fmla="*/ 5352692 w 8079933"/>
              <a:gd name="connsiteY12395" fmla="*/ 2211643 h 4687251"/>
              <a:gd name="connsiteX12396" fmla="*/ 5356164 w 8079933"/>
              <a:gd name="connsiteY12396" fmla="*/ 2222795 h 4687251"/>
              <a:gd name="connsiteX12397" fmla="*/ 5354428 w 8079933"/>
              <a:gd name="connsiteY12397" fmla="*/ 2226043 h 4687251"/>
              <a:gd name="connsiteX12398" fmla="*/ 5356815 w 8079933"/>
              <a:gd name="connsiteY12398" fmla="*/ 2230374 h 4687251"/>
              <a:gd name="connsiteX12399" fmla="*/ 5357466 w 8079933"/>
              <a:gd name="connsiteY12399" fmla="*/ 2239144 h 4687251"/>
              <a:gd name="connsiteX12400" fmla="*/ 5357467 w 8079933"/>
              <a:gd name="connsiteY12400" fmla="*/ 2239144 h 4687251"/>
              <a:gd name="connsiteX12401" fmla="*/ 5356816 w 8079933"/>
              <a:gd name="connsiteY12401" fmla="*/ 2230373 h 4687251"/>
              <a:gd name="connsiteX12402" fmla="*/ 5354429 w 8079933"/>
              <a:gd name="connsiteY12402" fmla="*/ 2226043 h 4687251"/>
              <a:gd name="connsiteX12403" fmla="*/ 5356165 w 8079933"/>
              <a:gd name="connsiteY12403" fmla="*/ 2222795 h 4687251"/>
              <a:gd name="connsiteX12404" fmla="*/ 5352692 w 8079933"/>
              <a:gd name="connsiteY12404" fmla="*/ 2211643 h 4687251"/>
              <a:gd name="connsiteX12405" fmla="*/ 5346290 w 8079933"/>
              <a:gd name="connsiteY12405" fmla="*/ 2199300 h 4687251"/>
              <a:gd name="connsiteX12406" fmla="*/ 5347484 w 8079933"/>
              <a:gd name="connsiteY12406" fmla="*/ 2193129 h 4687251"/>
              <a:gd name="connsiteX12407" fmla="*/ 5354862 w 8079933"/>
              <a:gd name="connsiteY12407" fmla="*/ 2183926 h 4687251"/>
              <a:gd name="connsiteX12408" fmla="*/ 1276698 w 8079933"/>
              <a:gd name="connsiteY12408" fmla="*/ 2177105 h 4687251"/>
              <a:gd name="connsiteX12409" fmla="*/ 1277891 w 8079933"/>
              <a:gd name="connsiteY12409" fmla="*/ 2179162 h 4687251"/>
              <a:gd name="connsiteX12410" fmla="*/ 1277023 w 8079933"/>
              <a:gd name="connsiteY12410" fmla="*/ 2181003 h 4687251"/>
              <a:gd name="connsiteX12411" fmla="*/ 1358411 w 8079933"/>
              <a:gd name="connsiteY12411" fmla="*/ 2218139 h 4687251"/>
              <a:gd name="connsiteX12412" fmla="*/ 1426776 w 8079933"/>
              <a:gd name="connsiteY12412" fmla="*/ 2220196 h 4687251"/>
              <a:gd name="connsiteX12413" fmla="*/ 1358411 w 8079933"/>
              <a:gd name="connsiteY12413" fmla="*/ 2218139 h 4687251"/>
              <a:gd name="connsiteX12414" fmla="*/ 1277023 w 8079933"/>
              <a:gd name="connsiteY12414" fmla="*/ 2181003 h 4687251"/>
              <a:gd name="connsiteX12415" fmla="*/ 1277892 w 8079933"/>
              <a:gd name="connsiteY12415" fmla="*/ 2179162 h 4687251"/>
              <a:gd name="connsiteX12416" fmla="*/ 3903235 w 8079933"/>
              <a:gd name="connsiteY12416" fmla="*/ 2175047 h 4687251"/>
              <a:gd name="connsiteX12417" fmla="*/ 3903669 w 8079933"/>
              <a:gd name="connsiteY12417" fmla="*/ 2182735 h 4687251"/>
              <a:gd name="connsiteX12418" fmla="*/ 3903560 w 8079933"/>
              <a:gd name="connsiteY12418" fmla="*/ 2192046 h 4687251"/>
              <a:gd name="connsiteX12419" fmla="*/ 3904537 w 8079933"/>
              <a:gd name="connsiteY12419" fmla="*/ 2195835 h 4687251"/>
              <a:gd name="connsiteX12420" fmla="*/ 3906490 w 8079933"/>
              <a:gd name="connsiteY12420" fmla="*/ 2213484 h 4687251"/>
              <a:gd name="connsiteX12421" fmla="*/ 3909854 w 8079933"/>
              <a:gd name="connsiteY12421" fmla="*/ 2220521 h 4687251"/>
              <a:gd name="connsiteX12422" fmla="*/ 3911048 w 8079933"/>
              <a:gd name="connsiteY12422" fmla="*/ 2225176 h 4687251"/>
              <a:gd name="connsiteX12423" fmla="*/ 3911048 w 8079933"/>
              <a:gd name="connsiteY12423" fmla="*/ 2225177 h 4687251"/>
              <a:gd name="connsiteX12424" fmla="*/ 3909855 w 8079933"/>
              <a:gd name="connsiteY12424" fmla="*/ 2220521 h 4687251"/>
              <a:gd name="connsiteX12425" fmla="*/ 3906490 w 8079933"/>
              <a:gd name="connsiteY12425" fmla="*/ 2213483 h 4687251"/>
              <a:gd name="connsiteX12426" fmla="*/ 3904537 w 8079933"/>
              <a:gd name="connsiteY12426" fmla="*/ 2195835 h 4687251"/>
              <a:gd name="connsiteX12427" fmla="*/ 3903560 w 8079933"/>
              <a:gd name="connsiteY12427" fmla="*/ 2192046 h 4687251"/>
              <a:gd name="connsiteX12428" fmla="*/ 3903669 w 8079933"/>
              <a:gd name="connsiteY12428" fmla="*/ 2182735 h 4687251"/>
              <a:gd name="connsiteX12429" fmla="*/ 5557138 w 8079933"/>
              <a:gd name="connsiteY12429" fmla="*/ 2168659 h 4687251"/>
              <a:gd name="connsiteX12430" fmla="*/ 5557137 w 8079933"/>
              <a:gd name="connsiteY12430" fmla="*/ 2168659 h 4687251"/>
              <a:gd name="connsiteX12431" fmla="*/ 5559742 w 8079933"/>
              <a:gd name="connsiteY12431" fmla="*/ 2174831 h 4687251"/>
              <a:gd name="connsiteX12432" fmla="*/ 5564733 w 8079933"/>
              <a:gd name="connsiteY12432" fmla="*/ 2177646 h 4687251"/>
              <a:gd name="connsiteX12433" fmla="*/ 5567772 w 8079933"/>
              <a:gd name="connsiteY12433" fmla="*/ 2184142 h 4687251"/>
              <a:gd name="connsiteX12434" fmla="*/ 5566919 w 8079933"/>
              <a:gd name="connsiteY12434" fmla="*/ 2187376 h 4687251"/>
              <a:gd name="connsiteX12435" fmla="*/ 5567773 w 8079933"/>
              <a:gd name="connsiteY12435" fmla="*/ 2184142 h 4687251"/>
              <a:gd name="connsiteX12436" fmla="*/ 5564734 w 8079933"/>
              <a:gd name="connsiteY12436" fmla="*/ 2177645 h 4687251"/>
              <a:gd name="connsiteX12437" fmla="*/ 5559742 w 8079933"/>
              <a:gd name="connsiteY12437" fmla="*/ 2174830 h 4687251"/>
              <a:gd name="connsiteX12438" fmla="*/ 6981418 w 8079933"/>
              <a:gd name="connsiteY12438" fmla="*/ 2165845 h 4687251"/>
              <a:gd name="connsiteX12439" fmla="*/ 6982829 w 8079933"/>
              <a:gd name="connsiteY12439" fmla="*/ 2166495 h 4687251"/>
              <a:gd name="connsiteX12440" fmla="*/ 6981093 w 8079933"/>
              <a:gd name="connsiteY12440" fmla="*/ 2169418 h 4687251"/>
              <a:gd name="connsiteX12441" fmla="*/ 6979574 w 8079933"/>
              <a:gd name="connsiteY12441" fmla="*/ 2167902 h 4687251"/>
              <a:gd name="connsiteX12442" fmla="*/ 5583652 w 8079933"/>
              <a:gd name="connsiteY12442" fmla="*/ 2163786 h 4687251"/>
              <a:gd name="connsiteX12443" fmla="*/ 5580577 w 8079933"/>
              <a:gd name="connsiteY12443" fmla="*/ 2168334 h 4687251"/>
              <a:gd name="connsiteX12444" fmla="*/ 5580578 w 8079933"/>
              <a:gd name="connsiteY12444" fmla="*/ 2168334 h 4687251"/>
              <a:gd name="connsiteX12445" fmla="*/ 4130230 w 8079933"/>
              <a:gd name="connsiteY12445" fmla="*/ 2162599 h 4687251"/>
              <a:gd name="connsiteX12446" fmla="*/ 4132639 w 8079933"/>
              <a:gd name="connsiteY12446" fmla="*/ 2165086 h 4687251"/>
              <a:gd name="connsiteX12447" fmla="*/ 4132639 w 8079933"/>
              <a:gd name="connsiteY12447" fmla="*/ 2165086 h 4687251"/>
              <a:gd name="connsiteX12448" fmla="*/ 4887263 w 8079933"/>
              <a:gd name="connsiteY12448" fmla="*/ 2161405 h 4687251"/>
              <a:gd name="connsiteX12449" fmla="*/ 4883465 w 8079933"/>
              <a:gd name="connsiteY12449" fmla="*/ 2166926 h 4687251"/>
              <a:gd name="connsiteX12450" fmla="*/ 4881295 w 8079933"/>
              <a:gd name="connsiteY12450" fmla="*/ 2170607 h 4687251"/>
              <a:gd name="connsiteX12451" fmla="*/ 4838756 w 8079933"/>
              <a:gd name="connsiteY12451" fmla="*/ 2200815 h 4687251"/>
              <a:gd name="connsiteX12452" fmla="*/ 4838648 w 8079933"/>
              <a:gd name="connsiteY12452" fmla="*/ 2201031 h 4687251"/>
              <a:gd name="connsiteX12453" fmla="*/ 4791551 w 8079933"/>
              <a:gd name="connsiteY12453" fmla="*/ 2230590 h 4687251"/>
              <a:gd name="connsiteX12454" fmla="*/ 4788187 w 8079933"/>
              <a:gd name="connsiteY12454" fmla="*/ 2228532 h 4687251"/>
              <a:gd name="connsiteX12455" fmla="*/ 4786451 w 8079933"/>
              <a:gd name="connsiteY12455" fmla="*/ 2228532 h 4687251"/>
              <a:gd name="connsiteX12456" fmla="*/ 4781676 w 8079933"/>
              <a:gd name="connsiteY12456" fmla="*/ 2224743 h 4687251"/>
              <a:gd name="connsiteX12457" fmla="*/ 4773755 w 8079933"/>
              <a:gd name="connsiteY12457" fmla="*/ 2221278 h 4687251"/>
              <a:gd name="connsiteX12458" fmla="*/ 4773736 w 8079933"/>
              <a:gd name="connsiteY12458" fmla="*/ 2221277 h 4687251"/>
              <a:gd name="connsiteX12459" fmla="*/ 4773755 w 8079933"/>
              <a:gd name="connsiteY12459" fmla="*/ 2221279 h 4687251"/>
              <a:gd name="connsiteX12460" fmla="*/ 4773744 w 8079933"/>
              <a:gd name="connsiteY12460" fmla="*/ 2221278 h 4687251"/>
              <a:gd name="connsiteX12461" fmla="*/ 4773755 w 8079933"/>
              <a:gd name="connsiteY12461" fmla="*/ 2221279 h 4687251"/>
              <a:gd name="connsiteX12462" fmla="*/ 4781677 w 8079933"/>
              <a:gd name="connsiteY12462" fmla="*/ 2224744 h 4687251"/>
              <a:gd name="connsiteX12463" fmla="*/ 4786451 w 8079933"/>
              <a:gd name="connsiteY12463" fmla="*/ 2228534 h 4687251"/>
              <a:gd name="connsiteX12464" fmla="*/ 4788188 w 8079933"/>
              <a:gd name="connsiteY12464" fmla="*/ 2228534 h 4687251"/>
              <a:gd name="connsiteX12465" fmla="*/ 4791551 w 8079933"/>
              <a:gd name="connsiteY12465" fmla="*/ 2230591 h 4687251"/>
              <a:gd name="connsiteX12466" fmla="*/ 4838648 w 8079933"/>
              <a:gd name="connsiteY12466" fmla="*/ 2201033 h 4687251"/>
              <a:gd name="connsiteX12467" fmla="*/ 4838648 w 8079933"/>
              <a:gd name="connsiteY12467" fmla="*/ 2201033 h 4687251"/>
              <a:gd name="connsiteX12468" fmla="*/ 4838756 w 8079933"/>
              <a:gd name="connsiteY12468" fmla="*/ 2200816 h 4687251"/>
              <a:gd name="connsiteX12469" fmla="*/ 4881295 w 8079933"/>
              <a:gd name="connsiteY12469" fmla="*/ 2170609 h 4687251"/>
              <a:gd name="connsiteX12470" fmla="*/ 4883465 w 8079933"/>
              <a:gd name="connsiteY12470" fmla="*/ 2166927 h 4687251"/>
              <a:gd name="connsiteX12471" fmla="*/ 4887263 w 8079933"/>
              <a:gd name="connsiteY12471" fmla="*/ 2161406 h 4687251"/>
              <a:gd name="connsiteX12472" fmla="*/ 6984675 w 8079933"/>
              <a:gd name="connsiteY12472" fmla="*/ 2156316 h 4687251"/>
              <a:gd name="connsiteX12473" fmla="*/ 6986411 w 8079933"/>
              <a:gd name="connsiteY12473" fmla="*/ 2157290 h 4687251"/>
              <a:gd name="connsiteX12474" fmla="*/ 6985977 w 8079933"/>
              <a:gd name="connsiteY12474" fmla="*/ 2160213 h 4687251"/>
              <a:gd name="connsiteX12475" fmla="*/ 6983589 w 8079933"/>
              <a:gd name="connsiteY12475" fmla="*/ 2160430 h 4687251"/>
              <a:gd name="connsiteX12476" fmla="*/ 6983264 w 8079933"/>
              <a:gd name="connsiteY12476" fmla="*/ 2157832 h 4687251"/>
              <a:gd name="connsiteX12477" fmla="*/ 6977729 w 8079933"/>
              <a:gd name="connsiteY12477" fmla="*/ 2155559 h 4687251"/>
              <a:gd name="connsiteX12478" fmla="*/ 6978813 w 8079933"/>
              <a:gd name="connsiteY12478" fmla="*/ 2155775 h 4687251"/>
              <a:gd name="connsiteX12479" fmla="*/ 6978922 w 8079933"/>
              <a:gd name="connsiteY12479" fmla="*/ 2157291 h 4687251"/>
              <a:gd name="connsiteX12480" fmla="*/ 6981526 w 8079933"/>
              <a:gd name="connsiteY12480" fmla="*/ 2161838 h 4687251"/>
              <a:gd name="connsiteX12481" fmla="*/ 6980550 w 8079933"/>
              <a:gd name="connsiteY12481" fmla="*/ 2165736 h 4687251"/>
              <a:gd name="connsiteX12482" fmla="*/ 6978380 w 8079933"/>
              <a:gd name="connsiteY12482" fmla="*/ 2165736 h 4687251"/>
              <a:gd name="connsiteX12483" fmla="*/ 6976643 w 8079933"/>
              <a:gd name="connsiteY12483" fmla="*/ 2162379 h 4687251"/>
              <a:gd name="connsiteX12484" fmla="*/ 6975884 w 8079933"/>
              <a:gd name="connsiteY12484" fmla="*/ 2157832 h 4687251"/>
              <a:gd name="connsiteX12485" fmla="*/ 4995454 w 8079933"/>
              <a:gd name="connsiteY12485" fmla="*/ 2155126 h 4687251"/>
              <a:gd name="connsiteX12486" fmla="*/ 4994586 w 8079933"/>
              <a:gd name="connsiteY12486" fmla="*/ 2162488 h 4687251"/>
              <a:gd name="connsiteX12487" fmla="*/ 4992090 w 8079933"/>
              <a:gd name="connsiteY12487" fmla="*/ 2164762 h 4687251"/>
              <a:gd name="connsiteX12488" fmla="*/ 4991873 w 8079933"/>
              <a:gd name="connsiteY12488" fmla="*/ 2173532 h 4687251"/>
              <a:gd name="connsiteX12489" fmla="*/ 4990462 w 8079933"/>
              <a:gd name="connsiteY12489" fmla="*/ 2176780 h 4687251"/>
              <a:gd name="connsiteX12490" fmla="*/ 4992090 w 8079933"/>
              <a:gd name="connsiteY12490" fmla="*/ 2179162 h 4687251"/>
              <a:gd name="connsiteX12491" fmla="*/ 4990710 w 8079933"/>
              <a:gd name="connsiteY12491" fmla="*/ 2180999 h 4687251"/>
              <a:gd name="connsiteX12492" fmla="*/ 4992091 w 8079933"/>
              <a:gd name="connsiteY12492" fmla="*/ 2179162 h 4687251"/>
              <a:gd name="connsiteX12493" fmla="*/ 4990463 w 8079933"/>
              <a:gd name="connsiteY12493" fmla="*/ 2176780 h 4687251"/>
              <a:gd name="connsiteX12494" fmla="*/ 4991873 w 8079933"/>
              <a:gd name="connsiteY12494" fmla="*/ 2173532 h 4687251"/>
              <a:gd name="connsiteX12495" fmla="*/ 4992091 w 8079933"/>
              <a:gd name="connsiteY12495" fmla="*/ 2164762 h 4687251"/>
              <a:gd name="connsiteX12496" fmla="*/ 4994586 w 8079933"/>
              <a:gd name="connsiteY12496" fmla="*/ 2162489 h 4687251"/>
              <a:gd name="connsiteX12497" fmla="*/ 4995454 w 8079933"/>
              <a:gd name="connsiteY12497" fmla="*/ 2155126 h 4687251"/>
              <a:gd name="connsiteX12498" fmla="*/ 5340430 w 8079933"/>
              <a:gd name="connsiteY12498" fmla="*/ 2155126 h 4687251"/>
              <a:gd name="connsiteX12499" fmla="*/ 5340429 w 8079933"/>
              <a:gd name="connsiteY12499" fmla="*/ 2155126 h 4687251"/>
              <a:gd name="connsiteX12500" fmla="*/ 5342491 w 8079933"/>
              <a:gd name="connsiteY12500" fmla="*/ 2158374 h 4687251"/>
              <a:gd name="connsiteX12501" fmla="*/ 5346506 w 8079933"/>
              <a:gd name="connsiteY12501" fmla="*/ 2161405 h 4687251"/>
              <a:gd name="connsiteX12502" fmla="*/ 5342057 w 8079933"/>
              <a:gd name="connsiteY12502" fmla="*/ 2167793 h 4687251"/>
              <a:gd name="connsiteX12503" fmla="*/ 5343142 w 8079933"/>
              <a:gd name="connsiteY12503" fmla="*/ 2168876 h 4687251"/>
              <a:gd name="connsiteX12504" fmla="*/ 5344770 w 8079933"/>
              <a:gd name="connsiteY12504" fmla="*/ 2177430 h 4687251"/>
              <a:gd name="connsiteX12505" fmla="*/ 5344770 w 8079933"/>
              <a:gd name="connsiteY12505" fmla="*/ 2182085 h 4687251"/>
              <a:gd name="connsiteX12506" fmla="*/ 5344771 w 8079933"/>
              <a:gd name="connsiteY12506" fmla="*/ 2182085 h 4687251"/>
              <a:gd name="connsiteX12507" fmla="*/ 5344771 w 8079933"/>
              <a:gd name="connsiteY12507" fmla="*/ 2177429 h 4687251"/>
              <a:gd name="connsiteX12508" fmla="*/ 5343143 w 8079933"/>
              <a:gd name="connsiteY12508" fmla="*/ 2168876 h 4687251"/>
              <a:gd name="connsiteX12509" fmla="*/ 5342058 w 8079933"/>
              <a:gd name="connsiteY12509" fmla="*/ 2167794 h 4687251"/>
              <a:gd name="connsiteX12510" fmla="*/ 5346507 w 8079933"/>
              <a:gd name="connsiteY12510" fmla="*/ 2161406 h 4687251"/>
              <a:gd name="connsiteX12511" fmla="*/ 5342492 w 8079933"/>
              <a:gd name="connsiteY12511" fmla="*/ 2158374 h 4687251"/>
              <a:gd name="connsiteX12512" fmla="*/ 4129675 w 8079933"/>
              <a:gd name="connsiteY12512" fmla="*/ 2149932 h 4687251"/>
              <a:gd name="connsiteX12513" fmla="*/ 4130035 w 8079933"/>
              <a:gd name="connsiteY12513" fmla="*/ 2151445 h 4687251"/>
              <a:gd name="connsiteX12514" fmla="*/ 4132170 w 8079933"/>
              <a:gd name="connsiteY12514" fmla="*/ 2153869 h 4687251"/>
              <a:gd name="connsiteX12515" fmla="*/ 4130035 w 8079933"/>
              <a:gd name="connsiteY12515" fmla="*/ 2151444 h 4687251"/>
              <a:gd name="connsiteX12516" fmla="*/ 5639937 w 8079933"/>
              <a:gd name="connsiteY12516" fmla="*/ 2149147 h 4687251"/>
              <a:gd name="connsiteX12517" fmla="*/ 5640044 w 8079933"/>
              <a:gd name="connsiteY12517" fmla="*/ 2156424 h 4687251"/>
              <a:gd name="connsiteX12518" fmla="*/ 5644386 w 8079933"/>
              <a:gd name="connsiteY12518" fmla="*/ 2163462 h 4687251"/>
              <a:gd name="connsiteX12519" fmla="*/ 5648183 w 8079933"/>
              <a:gd name="connsiteY12519" fmla="*/ 2179703 h 4687251"/>
              <a:gd name="connsiteX12520" fmla="*/ 5649377 w 8079933"/>
              <a:gd name="connsiteY12520" fmla="*/ 2186740 h 4687251"/>
              <a:gd name="connsiteX12521" fmla="*/ 5657950 w 8079933"/>
              <a:gd name="connsiteY12521" fmla="*/ 2194535 h 4687251"/>
              <a:gd name="connsiteX12522" fmla="*/ 5666956 w 8079933"/>
              <a:gd name="connsiteY12522" fmla="*/ 2196701 h 4687251"/>
              <a:gd name="connsiteX12523" fmla="*/ 5668881 w 8079933"/>
              <a:gd name="connsiteY12523" fmla="*/ 2197499 h 4687251"/>
              <a:gd name="connsiteX12524" fmla="*/ 5666956 w 8079933"/>
              <a:gd name="connsiteY12524" fmla="*/ 2196701 h 4687251"/>
              <a:gd name="connsiteX12525" fmla="*/ 5657951 w 8079933"/>
              <a:gd name="connsiteY12525" fmla="*/ 2194535 h 4687251"/>
              <a:gd name="connsiteX12526" fmla="*/ 5649377 w 8079933"/>
              <a:gd name="connsiteY12526" fmla="*/ 2186740 h 4687251"/>
              <a:gd name="connsiteX12527" fmla="*/ 5648183 w 8079933"/>
              <a:gd name="connsiteY12527" fmla="*/ 2179702 h 4687251"/>
              <a:gd name="connsiteX12528" fmla="*/ 5644386 w 8079933"/>
              <a:gd name="connsiteY12528" fmla="*/ 2163462 h 4687251"/>
              <a:gd name="connsiteX12529" fmla="*/ 5640045 w 8079933"/>
              <a:gd name="connsiteY12529" fmla="*/ 2156424 h 4687251"/>
              <a:gd name="connsiteX12530" fmla="*/ 6948321 w 8079933"/>
              <a:gd name="connsiteY12530" fmla="*/ 2148088 h 4687251"/>
              <a:gd name="connsiteX12531" fmla="*/ 6948647 w 8079933"/>
              <a:gd name="connsiteY12531" fmla="*/ 2150903 h 4687251"/>
              <a:gd name="connsiteX12532" fmla="*/ 6951468 w 8079933"/>
              <a:gd name="connsiteY12532" fmla="*/ 2152419 h 4687251"/>
              <a:gd name="connsiteX12533" fmla="*/ 6953096 w 8079933"/>
              <a:gd name="connsiteY12533" fmla="*/ 2155667 h 4687251"/>
              <a:gd name="connsiteX12534" fmla="*/ 6950383 w 8079933"/>
              <a:gd name="connsiteY12534" fmla="*/ 2157941 h 4687251"/>
              <a:gd name="connsiteX12535" fmla="*/ 6947236 w 8079933"/>
              <a:gd name="connsiteY12535" fmla="*/ 2157508 h 4687251"/>
              <a:gd name="connsiteX12536" fmla="*/ 6945608 w 8079933"/>
              <a:gd name="connsiteY12536" fmla="*/ 2152419 h 4687251"/>
              <a:gd name="connsiteX12537" fmla="*/ 6945825 w 8079933"/>
              <a:gd name="connsiteY12537" fmla="*/ 2149279 h 4687251"/>
              <a:gd name="connsiteX12538" fmla="*/ 5643843 w 8079933"/>
              <a:gd name="connsiteY12538" fmla="*/ 2147330 h 4687251"/>
              <a:gd name="connsiteX12539" fmla="*/ 5639936 w 8079933"/>
              <a:gd name="connsiteY12539" fmla="*/ 2149061 h 4687251"/>
              <a:gd name="connsiteX12540" fmla="*/ 5639936 w 8079933"/>
              <a:gd name="connsiteY12540" fmla="*/ 2149062 h 4687251"/>
              <a:gd name="connsiteX12541" fmla="*/ 6950708 w 8079933"/>
              <a:gd name="connsiteY12541" fmla="*/ 2145706 h 4687251"/>
              <a:gd name="connsiteX12542" fmla="*/ 6954072 w 8079933"/>
              <a:gd name="connsiteY12542" fmla="*/ 2146247 h 4687251"/>
              <a:gd name="connsiteX12543" fmla="*/ 6951251 w 8079933"/>
              <a:gd name="connsiteY12543" fmla="*/ 2147872 h 4687251"/>
              <a:gd name="connsiteX12544" fmla="*/ 5352692 w 8079933"/>
              <a:gd name="connsiteY12544" fmla="*/ 2145273 h 4687251"/>
              <a:gd name="connsiteX12545" fmla="*/ 5351498 w 8079933"/>
              <a:gd name="connsiteY12545" fmla="*/ 2146464 h 4687251"/>
              <a:gd name="connsiteX12546" fmla="*/ 5351823 w 8079933"/>
              <a:gd name="connsiteY12546" fmla="*/ 2149604 h 4687251"/>
              <a:gd name="connsiteX12547" fmla="*/ 5345638 w 8079933"/>
              <a:gd name="connsiteY12547" fmla="*/ 2153718 h 4687251"/>
              <a:gd name="connsiteX12548" fmla="*/ 5342051 w 8079933"/>
              <a:gd name="connsiteY12548" fmla="*/ 2154688 h 4687251"/>
              <a:gd name="connsiteX12549" fmla="*/ 5345639 w 8079933"/>
              <a:gd name="connsiteY12549" fmla="*/ 2153718 h 4687251"/>
              <a:gd name="connsiteX12550" fmla="*/ 5351824 w 8079933"/>
              <a:gd name="connsiteY12550" fmla="*/ 2149604 h 4687251"/>
              <a:gd name="connsiteX12551" fmla="*/ 5351499 w 8079933"/>
              <a:gd name="connsiteY12551" fmla="*/ 2146464 h 4687251"/>
              <a:gd name="connsiteX12552" fmla="*/ 4482713 w 8079933"/>
              <a:gd name="connsiteY12552" fmla="*/ 2144840 h 4687251"/>
              <a:gd name="connsiteX12553" fmla="*/ 4483798 w 8079933"/>
              <a:gd name="connsiteY12553" fmla="*/ 2145165 h 4687251"/>
              <a:gd name="connsiteX12554" fmla="*/ 4484666 w 8079933"/>
              <a:gd name="connsiteY12554" fmla="*/ 2148738 h 4687251"/>
              <a:gd name="connsiteX12555" fmla="*/ 4488247 w 8079933"/>
              <a:gd name="connsiteY12555" fmla="*/ 2148521 h 4687251"/>
              <a:gd name="connsiteX12556" fmla="*/ 4489658 w 8079933"/>
              <a:gd name="connsiteY12556" fmla="*/ 2147330 h 4687251"/>
              <a:gd name="connsiteX12557" fmla="*/ 4488464 w 8079933"/>
              <a:gd name="connsiteY12557" fmla="*/ 2147005 h 4687251"/>
              <a:gd name="connsiteX12558" fmla="*/ 4487704 w 8079933"/>
              <a:gd name="connsiteY12558" fmla="*/ 2145165 h 4687251"/>
              <a:gd name="connsiteX12559" fmla="*/ 4491394 w 8079933"/>
              <a:gd name="connsiteY12559" fmla="*/ 2144840 h 4687251"/>
              <a:gd name="connsiteX12560" fmla="*/ 4493130 w 8079933"/>
              <a:gd name="connsiteY12560" fmla="*/ 2147763 h 4687251"/>
              <a:gd name="connsiteX12561" fmla="*/ 4491177 w 8079933"/>
              <a:gd name="connsiteY12561" fmla="*/ 2149495 h 4687251"/>
              <a:gd name="connsiteX12562" fmla="*/ 4493999 w 8079933"/>
              <a:gd name="connsiteY12562" fmla="*/ 2149171 h 4687251"/>
              <a:gd name="connsiteX12563" fmla="*/ 4495735 w 8079933"/>
              <a:gd name="connsiteY12563" fmla="*/ 2151011 h 4687251"/>
              <a:gd name="connsiteX12564" fmla="*/ 4499425 w 8079933"/>
              <a:gd name="connsiteY12564" fmla="*/ 2152960 h 4687251"/>
              <a:gd name="connsiteX12565" fmla="*/ 4503656 w 8079933"/>
              <a:gd name="connsiteY12565" fmla="*/ 2151769 h 4687251"/>
              <a:gd name="connsiteX12566" fmla="*/ 4509299 w 8079933"/>
              <a:gd name="connsiteY12566" fmla="*/ 2148305 h 4687251"/>
              <a:gd name="connsiteX12567" fmla="*/ 4516027 w 8079933"/>
              <a:gd name="connsiteY12567" fmla="*/ 2147979 h 4687251"/>
              <a:gd name="connsiteX12568" fmla="*/ 4521128 w 8079933"/>
              <a:gd name="connsiteY12568" fmla="*/ 2150254 h 4687251"/>
              <a:gd name="connsiteX12569" fmla="*/ 4527638 w 8079933"/>
              <a:gd name="connsiteY12569" fmla="*/ 2151120 h 4687251"/>
              <a:gd name="connsiteX12570" fmla="*/ 4529917 w 8079933"/>
              <a:gd name="connsiteY12570" fmla="*/ 2151011 h 4687251"/>
              <a:gd name="connsiteX12571" fmla="*/ 4531219 w 8079933"/>
              <a:gd name="connsiteY12571" fmla="*/ 2154151 h 4687251"/>
              <a:gd name="connsiteX12572" fmla="*/ 4530677 w 8079933"/>
              <a:gd name="connsiteY12572" fmla="*/ 2156317 h 4687251"/>
              <a:gd name="connsiteX12573" fmla="*/ 4533172 w 8079933"/>
              <a:gd name="connsiteY12573" fmla="*/ 2156750 h 4687251"/>
              <a:gd name="connsiteX12574" fmla="*/ 4535669 w 8079933"/>
              <a:gd name="connsiteY12574" fmla="*/ 2155775 h 4687251"/>
              <a:gd name="connsiteX12575" fmla="*/ 4537730 w 8079933"/>
              <a:gd name="connsiteY12575" fmla="*/ 2157616 h 4687251"/>
              <a:gd name="connsiteX12576" fmla="*/ 4540660 w 8079933"/>
              <a:gd name="connsiteY12576" fmla="*/ 2155126 h 4687251"/>
              <a:gd name="connsiteX12577" fmla="*/ 4540768 w 8079933"/>
              <a:gd name="connsiteY12577" fmla="*/ 2152744 h 4687251"/>
              <a:gd name="connsiteX12578" fmla="*/ 4542071 w 8079933"/>
              <a:gd name="connsiteY12578" fmla="*/ 2150903 h 4687251"/>
              <a:gd name="connsiteX12579" fmla="*/ 4542071 w 8079933"/>
              <a:gd name="connsiteY12579" fmla="*/ 2152960 h 4687251"/>
              <a:gd name="connsiteX12580" fmla="*/ 4542939 w 8079933"/>
              <a:gd name="connsiteY12580" fmla="*/ 2156208 h 4687251"/>
              <a:gd name="connsiteX12581" fmla="*/ 4541420 w 8079933"/>
              <a:gd name="connsiteY12581" fmla="*/ 2159565 h 4687251"/>
              <a:gd name="connsiteX12582" fmla="*/ 4537947 w 8079933"/>
              <a:gd name="connsiteY12582" fmla="*/ 2161730 h 4687251"/>
              <a:gd name="connsiteX12583" fmla="*/ 4531979 w 8079933"/>
              <a:gd name="connsiteY12583" fmla="*/ 2161513 h 4687251"/>
              <a:gd name="connsiteX12584" fmla="*/ 4523081 w 8079933"/>
              <a:gd name="connsiteY12584" fmla="*/ 2161838 h 4687251"/>
              <a:gd name="connsiteX12585" fmla="*/ 4517655 w 8079933"/>
              <a:gd name="connsiteY12585" fmla="*/ 2161297 h 4687251"/>
              <a:gd name="connsiteX12586" fmla="*/ 4512663 w 8079933"/>
              <a:gd name="connsiteY12586" fmla="*/ 2164437 h 4687251"/>
              <a:gd name="connsiteX12587" fmla="*/ 4506694 w 8079933"/>
              <a:gd name="connsiteY12587" fmla="*/ 2164654 h 4687251"/>
              <a:gd name="connsiteX12588" fmla="*/ 4506152 w 8079933"/>
              <a:gd name="connsiteY12588" fmla="*/ 2161513 h 4687251"/>
              <a:gd name="connsiteX12589" fmla="*/ 4500943 w 8079933"/>
              <a:gd name="connsiteY12589" fmla="*/ 2158482 h 4687251"/>
              <a:gd name="connsiteX12590" fmla="*/ 4496168 w 8079933"/>
              <a:gd name="connsiteY12590" fmla="*/ 2157183 h 4687251"/>
              <a:gd name="connsiteX12591" fmla="*/ 4493022 w 8079933"/>
              <a:gd name="connsiteY12591" fmla="*/ 2158265 h 4687251"/>
              <a:gd name="connsiteX12592" fmla="*/ 4489766 w 8079933"/>
              <a:gd name="connsiteY12592" fmla="*/ 2157399 h 4687251"/>
              <a:gd name="connsiteX12593" fmla="*/ 4481736 w 8079933"/>
              <a:gd name="connsiteY12593" fmla="*/ 2158374 h 4687251"/>
              <a:gd name="connsiteX12594" fmla="*/ 4478263 w 8079933"/>
              <a:gd name="connsiteY12594" fmla="*/ 2156858 h 4687251"/>
              <a:gd name="connsiteX12595" fmla="*/ 4477830 w 8079933"/>
              <a:gd name="connsiteY12595" fmla="*/ 2153285 h 4687251"/>
              <a:gd name="connsiteX12596" fmla="*/ 4479349 w 8079933"/>
              <a:gd name="connsiteY12596" fmla="*/ 2150254 h 4687251"/>
              <a:gd name="connsiteX12597" fmla="*/ 4479566 w 8079933"/>
              <a:gd name="connsiteY12597" fmla="*/ 2146897 h 4687251"/>
              <a:gd name="connsiteX12598" fmla="*/ 4481085 w 8079933"/>
              <a:gd name="connsiteY12598" fmla="*/ 2149820 h 4687251"/>
              <a:gd name="connsiteX12599" fmla="*/ 4482929 w 8079933"/>
              <a:gd name="connsiteY12599" fmla="*/ 2149171 h 4687251"/>
              <a:gd name="connsiteX12600" fmla="*/ 4482279 w 8079933"/>
              <a:gd name="connsiteY12600" fmla="*/ 2146789 h 4687251"/>
              <a:gd name="connsiteX12601" fmla="*/ 5583897 w 8079933"/>
              <a:gd name="connsiteY12601" fmla="*/ 2143106 h 4687251"/>
              <a:gd name="connsiteX12602" fmla="*/ 5580902 w 8079933"/>
              <a:gd name="connsiteY12602" fmla="*/ 2147005 h 4687251"/>
              <a:gd name="connsiteX12603" fmla="*/ 5586871 w 8079933"/>
              <a:gd name="connsiteY12603" fmla="*/ 2152527 h 4687251"/>
              <a:gd name="connsiteX12604" fmla="*/ 5586871 w 8079933"/>
              <a:gd name="connsiteY12604" fmla="*/ 2152526 h 4687251"/>
              <a:gd name="connsiteX12605" fmla="*/ 5580903 w 8079933"/>
              <a:gd name="connsiteY12605" fmla="*/ 2147004 h 4687251"/>
              <a:gd name="connsiteX12606" fmla="*/ 6956460 w 8079933"/>
              <a:gd name="connsiteY12606" fmla="*/ 2142783 h 4687251"/>
              <a:gd name="connsiteX12607" fmla="*/ 6955591 w 8079933"/>
              <a:gd name="connsiteY12607" fmla="*/ 2144083 h 4687251"/>
              <a:gd name="connsiteX12608" fmla="*/ 6953638 w 8079933"/>
              <a:gd name="connsiteY12608" fmla="*/ 2143216 h 4687251"/>
              <a:gd name="connsiteX12609" fmla="*/ 4733604 w 8079933"/>
              <a:gd name="connsiteY12609" fmla="*/ 2142025 h 4687251"/>
              <a:gd name="connsiteX12610" fmla="*/ 4734906 w 8079933"/>
              <a:gd name="connsiteY12610" fmla="*/ 2143324 h 4687251"/>
              <a:gd name="connsiteX12611" fmla="*/ 4732411 w 8079933"/>
              <a:gd name="connsiteY12611" fmla="*/ 2145273 h 4687251"/>
              <a:gd name="connsiteX12612" fmla="*/ 4726876 w 8079933"/>
              <a:gd name="connsiteY12612" fmla="*/ 2148737 h 4687251"/>
              <a:gd name="connsiteX12613" fmla="*/ 4721559 w 8079933"/>
              <a:gd name="connsiteY12613" fmla="*/ 2154909 h 4687251"/>
              <a:gd name="connsiteX12614" fmla="*/ 4723403 w 8079933"/>
              <a:gd name="connsiteY12614" fmla="*/ 2159131 h 4687251"/>
              <a:gd name="connsiteX12615" fmla="*/ 4723078 w 8079933"/>
              <a:gd name="connsiteY12615" fmla="*/ 2163679 h 4687251"/>
              <a:gd name="connsiteX12616" fmla="*/ 4716676 w 8079933"/>
              <a:gd name="connsiteY12616" fmla="*/ 2162921 h 4687251"/>
              <a:gd name="connsiteX12617" fmla="*/ 4713095 w 8079933"/>
              <a:gd name="connsiteY12617" fmla="*/ 2164654 h 4687251"/>
              <a:gd name="connsiteX12618" fmla="*/ 4708103 w 8079933"/>
              <a:gd name="connsiteY12618" fmla="*/ 2169309 h 4687251"/>
              <a:gd name="connsiteX12619" fmla="*/ 4702569 w 8079933"/>
              <a:gd name="connsiteY12619" fmla="*/ 2170500 h 4687251"/>
              <a:gd name="connsiteX12620" fmla="*/ 4699856 w 8079933"/>
              <a:gd name="connsiteY12620" fmla="*/ 2172774 h 4687251"/>
              <a:gd name="connsiteX12621" fmla="*/ 4697034 w 8079933"/>
              <a:gd name="connsiteY12621" fmla="*/ 2171041 h 4687251"/>
              <a:gd name="connsiteX12622" fmla="*/ 4690523 w 8079933"/>
              <a:gd name="connsiteY12622" fmla="*/ 2171367 h 4687251"/>
              <a:gd name="connsiteX12623" fmla="*/ 4684989 w 8079933"/>
              <a:gd name="connsiteY12623" fmla="*/ 2168118 h 4687251"/>
              <a:gd name="connsiteX12624" fmla="*/ 4681842 w 8079933"/>
              <a:gd name="connsiteY12624" fmla="*/ 2163679 h 4687251"/>
              <a:gd name="connsiteX12625" fmla="*/ 4681842 w 8079933"/>
              <a:gd name="connsiteY12625" fmla="*/ 2158266 h 4687251"/>
              <a:gd name="connsiteX12626" fmla="*/ 4684664 w 8079933"/>
              <a:gd name="connsiteY12626" fmla="*/ 2157616 h 4687251"/>
              <a:gd name="connsiteX12627" fmla="*/ 4687593 w 8079933"/>
              <a:gd name="connsiteY12627" fmla="*/ 2154151 h 4687251"/>
              <a:gd name="connsiteX12628" fmla="*/ 4692259 w 8079933"/>
              <a:gd name="connsiteY12628" fmla="*/ 2156100 h 4687251"/>
              <a:gd name="connsiteX12629" fmla="*/ 4695515 w 8079933"/>
              <a:gd name="connsiteY12629" fmla="*/ 2155017 h 4687251"/>
              <a:gd name="connsiteX12630" fmla="*/ 4696926 w 8079933"/>
              <a:gd name="connsiteY12630" fmla="*/ 2151986 h 4687251"/>
              <a:gd name="connsiteX12631" fmla="*/ 4697034 w 8079933"/>
              <a:gd name="connsiteY12631" fmla="*/ 2148846 h 4687251"/>
              <a:gd name="connsiteX12632" fmla="*/ 4701700 w 8079933"/>
              <a:gd name="connsiteY12632" fmla="*/ 2148846 h 4687251"/>
              <a:gd name="connsiteX12633" fmla="*/ 4706475 w 8079933"/>
              <a:gd name="connsiteY12633" fmla="*/ 2151228 h 4687251"/>
              <a:gd name="connsiteX12634" fmla="*/ 4712769 w 8079933"/>
              <a:gd name="connsiteY12634" fmla="*/ 2150903 h 4687251"/>
              <a:gd name="connsiteX12635" fmla="*/ 4723403 w 8079933"/>
              <a:gd name="connsiteY12635" fmla="*/ 2146789 h 4687251"/>
              <a:gd name="connsiteX12636" fmla="*/ 4730783 w 8079933"/>
              <a:gd name="connsiteY12636" fmla="*/ 2142133 h 4687251"/>
              <a:gd name="connsiteX12637" fmla="*/ 4999457 w 8079933"/>
              <a:gd name="connsiteY12637" fmla="*/ 2141689 h 4687251"/>
              <a:gd name="connsiteX12638" fmla="*/ 4999686 w 8079933"/>
              <a:gd name="connsiteY12638" fmla="*/ 2144299 h 4687251"/>
              <a:gd name="connsiteX12639" fmla="*/ 5001531 w 8079933"/>
              <a:gd name="connsiteY12639" fmla="*/ 2145490 h 4687251"/>
              <a:gd name="connsiteX12640" fmla="*/ 5001531 w 8079933"/>
              <a:gd name="connsiteY12640" fmla="*/ 2145490 h 4687251"/>
              <a:gd name="connsiteX12641" fmla="*/ 4999687 w 8079933"/>
              <a:gd name="connsiteY12641" fmla="*/ 2144299 h 4687251"/>
              <a:gd name="connsiteX12642" fmla="*/ 4561063 w 8079933"/>
              <a:gd name="connsiteY12642" fmla="*/ 2141592 h 4687251"/>
              <a:gd name="connsiteX12643" fmla="*/ 4561714 w 8079933"/>
              <a:gd name="connsiteY12643" fmla="*/ 2144407 h 4687251"/>
              <a:gd name="connsiteX12644" fmla="*/ 4563993 w 8079933"/>
              <a:gd name="connsiteY12644" fmla="*/ 2147439 h 4687251"/>
              <a:gd name="connsiteX12645" fmla="*/ 4562257 w 8079933"/>
              <a:gd name="connsiteY12645" fmla="*/ 2151877 h 4687251"/>
              <a:gd name="connsiteX12646" fmla="*/ 4560737 w 8079933"/>
              <a:gd name="connsiteY12646" fmla="*/ 2152527 h 4687251"/>
              <a:gd name="connsiteX12647" fmla="*/ 4559977 w 8079933"/>
              <a:gd name="connsiteY12647" fmla="*/ 2147763 h 4687251"/>
              <a:gd name="connsiteX12648" fmla="*/ 4558567 w 8079933"/>
              <a:gd name="connsiteY12648" fmla="*/ 2144840 h 4687251"/>
              <a:gd name="connsiteX12649" fmla="*/ 6956459 w 8079933"/>
              <a:gd name="connsiteY12649" fmla="*/ 2140401 h 4687251"/>
              <a:gd name="connsiteX12650" fmla="*/ 6958087 w 8079933"/>
              <a:gd name="connsiteY12650" fmla="*/ 2140617 h 4687251"/>
              <a:gd name="connsiteX12651" fmla="*/ 6957327 w 8079933"/>
              <a:gd name="connsiteY12651" fmla="*/ 2141701 h 4687251"/>
              <a:gd name="connsiteX12652" fmla="*/ 4264271 w 8079933"/>
              <a:gd name="connsiteY12652" fmla="*/ 2138669 h 4687251"/>
              <a:gd name="connsiteX12653" fmla="*/ 4271433 w 8079933"/>
              <a:gd name="connsiteY12653" fmla="*/ 2139752 h 4687251"/>
              <a:gd name="connsiteX12654" fmla="*/ 4271541 w 8079933"/>
              <a:gd name="connsiteY12654" fmla="*/ 2143432 h 4687251"/>
              <a:gd name="connsiteX12655" fmla="*/ 4268937 w 8079933"/>
              <a:gd name="connsiteY12655" fmla="*/ 2146140 h 4687251"/>
              <a:gd name="connsiteX12656" fmla="*/ 4264054 w 8079933"/>
              <a:gd name="connsiteY12656" fmla="*/ 2142134 h 4687251"/>
              <a:gd name="connsiteX12657" fmla="*/ 5000415 w 8079933"/>
              <a:gd name="connsiteY12657" fmla="*/ 2137835 h 4687251"/>
              <a:gd name="connsiteX12658" fmla="*/ 4999144 w 8079933"/>
              <a:gd name="connsiteY12658" fmla="*/ 2138127 h 4687251"/>
              <a:gd name="connsiteX12659" fmla="*/ 4999144 w 8079933"/>
              <a:gd name="connsiteY12659" fmla="*/ 2138128 h 4687251"/>
              <a:gd name="connsiteX12660" fmla="*/ 4562365 w 8079933"/>
              <a:gd name="connsiteY12660" fmla="*/ 2137261 h 4687251"/>
              <a:gd name="connsiteX12661" fmla="*/ 4562365 w 8079933"/>
              <a:gd name="connsiteY12661" fmla="*/ 2139534 h 4687251"/>
              <a:gd name="connsiteX12662" fmla="*/ 4561823 w 8079933"/>
              <a:gd name="connsiteY12662" fmla="*/ 2140401 h 4687251"/>
              <a:gd name="connsiteX12663" fmla="*/ 4561063 w 8079933"/>
              <a:gd name="connsiteY12663" fmla="*/ 2139318 h 4687251"/>
              <a:gd name="connsiteX12664" fmla="*/ 6958956 w 8079933"/>
              <a:gd name="connsiteY12664" fmla="*/ 2136287 h 4687251"/>
              <a:gd name="connsiteX12665" fmla="*/ 6961885 w 8079933"/>
              <a:gd name="connsiteY12665" fmla="*/ 2138236 h 4687251"/>
              <a:gd name="connsiteX12666" fmla="*/ 6960258 w 8079933"/>
              <a:gd name="connsiteY12666" fmla="*/ 2139211 h 4687251"/>
              <a:gd name="connsiteX12667" fmla="*/ 6957761 w 8079933"/>
              <a:gd name="connsiteY12667" fmla="*/ 2137261 h 4687251"/>
              <a:gd name="connsiteX12668" fmla="*/ 6957545 w 8079933"/>
              <a:gd name="connsiteY12668" fmla="*/ 2136395 h 4687251"/>
              <a:gd name="connsiteX12669" fmla="*/ 5007002 w 8079933"/>
              <a:gd name="connsiteY12669" fmla="*/ 2135677 h 4687251"/>
              <a:gd name="connsiteX12670" fmla="*/ 5006632 w 8079933"/>
              <a:gd name="connsiteY12670" fmla="*/ 2135962 h 4687251"/>
              <a:gd name="connsiteX12671" fmla="*/ 5003183 w 8079933"/>
              <a:gd name="connsiteY12671" fmla="*/ 2137082 h 4687251"/>
              <a:gd name="connsiteX12672" fmla="*/ 5006631 w 8079933"/>
              <a:gd name="connsiteY12672" fmla="*/ 2135962 h 4687251"/>
              <a:gd name="connsiteX12673" fmla="*/ 5003810 w 8079933"/>
              <a:gd name="connsiteY12673" fmla="*/ 2132497 h 4687251"/>
              <a:gd name="connsiteX12674" fmla="*/ 5005980 w 8079933"/>
              <a:gd name="connsiteY12674" fmla="*/ 2133580 h 4687251"/>
              <a:gd name="connsiteX12675" fmla="*/ 5006966 w 8079933"/>
              <a:gd name="connsiteY12675" fmla="*/ 2134201 h 4687251"/>
              <a:gd name="connsiteX12676" fmla="*/ 5005980 w 8079933"/>
              <a:gd name="connsiteY12676" fmla="*/ 2133580 h 4687251"/>
              <a:gd name="connsiteX12677" fmla="*/ 5373527 w 8079933"/>
              <a:gd name="connsiteY12677" fmla="*/ 2127625 h 4687251"/>
              <a:gd name="connsiteX12678" fmla="*/ 5378845 w 8079933"/>
              <a:gd name="connsiteY12678" fmla="*/ 2131523 h 4687251"/>
              <a:gd name="connsiteX12679" fmla="*/ 5380255 w 8079933"/>
              <a:gd name="connsiteY12679" fmla="*/ 2134988 h 4687251"/>
              <a:gd name="connsiteX12680" fmla="*/ 5382317 w 8079933"/>
              <a:gd name="connsiteY12680" fmla="*/ 2136936 h 4687251"/>
              <a:gd name="connsiteX12681" fmla="*/ 5380256 w 8079933"/>
              <a:gd name="connsiteY12681" fmla="*/ 2134988 h 4687251"/>
              <a:gd name="connsiteX12682" fmla="*/ 5378845 w 8079933"/>
              <a:gd name="connsiteY12682" fmla="*/ 2131523 h 4687251"/>
              <a:gd name="connsiteX12683" fmla="*/ 5373528 w 8079933"/>
              <a:gd name="connsiteY12683" fmla="*/ 2127625 h 4687251"/>
              <a:gd name="connsiteX12684" fmla="*/ 6895148 w 8079933"/>
              <a:gd name="connsiteY12684" fmla="*/ 2127084 h 4687251"/>
              <a:gd name="connsiteX12685" fmla="*/ 6899814 w 8079933"/>
              <a:gd name="connsiteY12685" fmla="*/ 2127842 h 4687251"/>
              <a:gd name="connsiteX12686" fmla="*/ 6900140 w 8079933"/>
              <a:gd name="connsiteY12686" fmla="*/ 2130982 h 4687251"/>
              <a:gd name="connsiteX12687" fmla="*/ 6896993 w 8079933"/>
              <a:gd name="connsiteY12687" fmla="*/ 2136504 h 4687251"/>
              <a:gd name="connsiteX12688" fmla="*/ 6888637 w 8079933"/>
              <a:gd name="connsiteY12688" fmla="*/ 2138019 h 4687251"/>
              <a:gd name="connsiteX12689" fmla="*/ 6883971 w 8079933"/>
              <a:gd name="connsiteY12689" fmla="*/ 2137153 h 4687251"/>
              <a:gd name="connsiteX12690" fmla="*/ 6882235 w 8079933"/>
              <a:gd name="connsiteY12690" fmla="*/ 2133580 h 4687251"/>
              <a:gd name="connsiteX12691" fmla="*/ 6884948 w 8079933"/>
              <a:gd name="connsiteY12691" fmla="*/ 2130115 h 4687251"/>
              <a:gd name="connsiteX12692" fmla="*/ 4983348 w 8079933"/>
              <a:gd name="connsiteY12692" fmla="*/ 2126548 h 4687251"/>
              <a:gd name="connsiteX12693" fmla="*/ 4985905 w 8079933"/>
              <a:gd name="connsiteY12693" fmla="*/ 2126868 h 4687251"/>
              <a:gd name="connsiteX12694" fmla="*/ 4994043 w 8079933"/>
              <a:gd name="connsiteY12694" fmla="*/ 2131523 h 4687251"/>
              <a:gd name="connsiteX12695" fmla="*/ 4996906 w 8079933"/>
              <a:gd name="connsiteY12695" fmla="*/ 2132237 h 4687251"/>
              <a:gd name="connsiteX12696" fmla="*/ 4994044 w 8079933"/>
              <a:gd name="connsiteY12696" fmla="*/ 2131523 h 4687251"/>
              <a:gd name="connsiteX12697" fmla="*/ 4985905 w 8079933"/>
              <a:gd name="connsiteY12697" fmla="*/ 2126867 h 4687251"/>
              <a:gd name="connsiteX12698" fmla="*/ 4463289 w 8079933"/>
              <a:gd name="connsiteY12698" fmla="*/ 2124485 h 4687251"/>
              <a:gd name="connsiteX12699" fmla="*/ 4464157 w 8079933"/>
              <a:gd name="connsiteY12699" fmla="*/ 2127624 h 4687251"/>
              <a:gd name="connsiteX12700" fmla="*/ 4466544 w 8079933"/>
              <a:gd name="connsiteY12700" fmla="*/ 2130873 h 4687251"/>
              <a:gd name="connsiteX12701" fmla="*/ 4464808 w 8079933"/>
              <a:gd name="connsiteY12701" fmla="*/ 2134338 h 4687251"/>
              <a:gd name="connsiteX12702" fmla="*/ 4462529 w 8079933"/>
              <a:gd name="connsiteY12702" fmla="*/ 2133146 h 4687251"/>
              <a:gd name="connsiteX12703" fmla="*/ 4462637 w 8079933"/>
              <a:gd name="connsiteY12703" fmla="*/ 2130656 h 4687251"/>
              <a:gd name="connsiteX12704" fmla="*/ 4461227 w 8079933"/>
              <a:gd name="connsiteY12704" fmla="*/ 2128383 h 4687251"/>
              <a:gd name="connsiteX12705" fmla="*/ 4462529 w 8079933"/>
              <a:gd name="connsiteY12705" fmla="*/ 2125459 h 4687251"/>
              <a:gd name="connsiteX12706" fmla="*/ 4586238 w 8079933"/>
              <a:gd name="connsiteY12706" fmla="*/ 2122861 h 4687251"/>
              <a:gd name="connsiteX12707" fmla="*/ 4586021 w 8079933"/>
              <a:gd name="connsiteY12707" fmla="*/ 2125351 h 4687251"/>
              <a:gd name="connsiteX12708" fmla="*/ 4584285 w 8079933"/>
              <a:gd name="connsiteY12708" fmla="*/ 2126650 h 4687251"/>
              <a:gd name="connsiteX12709" fmla="*/ 4583417 w 8079933"/>
              <a:gd name="connsiteY12709" fmla="*/ 2129140 h 4687251"/>
              <a:gd name="connsiteX12710" fmla="*/ 4582114 w 8079933"/>
              <a:gd name="connsiteY12710" fmla="*/ 2131306 h 4687251"/>
              <a:gd name="connsiteX12711" fmla="*/ 4582223 w 8079933"/>
              <a:gd name="connsiteY12711" fmla="*/ 2132822 h 4687251"/>
              <a:gd name="connsiteX12712" fmla="*/ 4580053 w 8079933"/>
              <a:gd name="connsiteY12712" fmla="*/ 2132930 h 4687251"/>
              <a:gd name="connsiteX12713" fmla="*/ 4577449 w 8079933"/>
              <a:gd name="connsiteY12713" fmla="*/ 2135420 h 4687251"/>
              <a:gd name="connsiteX12714" fmla="*/ 4575278 w 8079933"/>
              <a:gd name="connsiteY12714" fmla="*/ 2138018 h 4687251"/>
              <a:gd name="connsiteX12715" fmla="*/ 4573325 w 8079933"/>
              <a:gd name="connsiteY12715" fmla="*/ 2138343 h 4687251"/>
              <a:gd name="connsiteX12716" fmla="*/ 4571806 w 8079933"/>
              <a:gd name="connsiteY12716" fmla="*/ 2136828 h 4687251"/>
              <a:gd name="connsiteX12717" fmla="*/ 4573000 w 8079933"/>
              <a:gd name="connsiteY12717" fmla="*/ 2134229 h 4687251"/>
              <a:gd name="connsiteX12718" fmla="*/ 4572240 w 8079933"/>
              <a:gd name="connsiteY12718" fmla="*/ 2133255 h 4687251"/>
              <a:gd name="connsiteX12719" fmla="*/ 4572565 w 8079933"/>
              <a:gd name="connsiteY12719" fmla="*/ 2130765 h 4687251"/>
              <a:gd name="connsiteX12720" fmla="*/ 4577774 w 8079933"/>
              <a:gd name="connsiteY12720" fmla="*/ 2126434 h 4687251"/>
              <a:gd name="connsiteX12721" fmla="*/ 4583200 w 8079933"/>
              <a:gd name="connsiteY12721" fmla="*/ 2124160 h 4687251"/>
              <a:gd name="connsiteX12722" fmla="*/ 4977216 w 8079933"/>
              <a:gd name="connsiteY12722" fmla="*/ 2121864 h 4687251"/>
              <a:gd name="connsiteX12723" fmla="*/ 4978091 w 8079933"/>
              <a:gd name="connsiteY12723" fmla="*/ 2123944 h 4687251"/>
              <a:gd name="connsiteX12724" fmla="*/ 4982432 w 8079933"/>
              <a:gd name="connsiteY12724" fmla="*/ 2126434 h 4687251"/>
              <a:gd name="connsiteX12725" fmla="*/ 4978092 w 8079933"/>
              <a:gd name="connsiteY12725" fmla="*/ 2123944 h 4687251"/>
              <a:gd name="connsiteX12726" fmla="*/ 4462204 w 8079933"/>
              <a:gd name="connsiteY12726" fmla="*/ 2121021 h 4687251"/>
              <a:gd name="connsiteX12727" fmla="*/ 4463506 w 8079933"/>
              <a:gd name="connsiteY12727" fmla="*/ 2123078 h 4687251"/>
              <a:gd name="connsiteX12728" fmla="*/ 4461770 w 8079933"/>
              <a:gd name="connsiteY12728" fmla="*/ 2122970 h 4687251"/>
              <a:gd name="connsiteX12729" fmla="*/ 5397618 w 8079933"/>
              <a:gd name="connsiteY12729" fmla="*/ 2120155 h 4687251"/>
              <a:gd name="connsiteX12730" fmla="*/ 5398812 w 8079933"/>
              <a:gd name="connsiteY12730" fmla="*/ 2123511 h 4687251"/>
              <a:gd name="connsiteX12731" fmla="*/ 5398812 w 8079933"/>
              <a:gd name="connsiteY12731" fmla="*/ 2123511 h 4687251"/>
              <a:gd name="connsiteX12732" fmla="*/ 4572349 w 8079933"/>
              <a:gd name="connsiteY12732" fmla="*/ 2118422 h 4687251"/>
              <a:gd name="connsiteX12733" fmla="*/ 4574302 w 8079933"/>
              <a:gd name="connsiteY12733" fmla="*/ 2118530 h 4687251"/>
              <a:gd name="connsiteX12734" fmla="*/ 4574844 w 8079933"/>
              <a:gd name="connsiteY12734" fmla="*/ 2120263 h 4687251"/>
              <a:gd name="connsiteX12735" fmla="*/ 4572783 w 8079933"/>
              <a:gd name="connsiteY12735" fmla="*/ 2120804 h 4687251"/>
              <a:gd name="connsiteX12736" fmla="*/ 4570721 w 8079933"/>
              <a:gd name="connsiteY12736" fmla="*/ 2120154 h 4687251"/>
              <a:gd name="connsiteX12737" fmla="*/ 4495301 w 8079933"/>
              <a:gd name="connsiteY12737" fmla="*/ 2117880 h 4687251"/>
              <a:gd name="connsiteX12738" fmla="*/ 4498340 w 8079933"/>
              <a:gd name="connsiteY12738" fmla="*/ 2117988 h 4687251"/>
              <a:gd name="connsiteX12739" fmla="*/ 4497689 w 8079933"/>
              <a:gd name="connsiteY12739" fmla="*/ 2120478 h 4687251"/>
              <a:gd name="connsiteX12740" fmla="*/ 4495085 w 8079933"/>
              <a:gd name="connsiteY12740" fmla="*/ 2121453 h 4687251"/>
              <a:gd name="connsiteX12741" fmla="*/ 4493023 w 8079933"/>
              <a:gd name="connsiteY12741" fmla="*/ 2121128 h 4687251"/>
              <a:gd name="connsiteX12742" fmla="*/ 4544134 w 8079933"/>
              <a:gd name="connsiteY12742" fmla="*/ 2117664 h 4687251"/>
              <a:gd name="connsiteX12743" fmla="*/ 4546087 w 8079933"/>
              <a:gd name="connsiteY12743" fmla="*/ 2118530 h 4687251"/>
              <a:gd name="connsiteX12744" fmla="*/ 4544243 w 8079933"/>
              <a:gd name="connsiteY12744" fmla="*/ 2121346 h 4687251"/>
              <a:gd name="connsiteX12745" fmla="*/ 4541205 w 8079933"/>
              <a:gd name="connsiteY12745" fmla="*/ 2122754 h 4687251"/>
              <a:gd name="connsiteX12746" fmla="*/ 4539360 w 8079933"/>
              <a:gd name="connsiteY12746" fmla="*/ 2120804 h 4687251"/>
              <a:gd name="connsiteX12747" fmla="*/ 4540445 w 8079933"/>
              <a:gd name="connsiteY12747" fmla="*/ 2119071 h 4687251"/>
              <a:gd name="connsiteX12748" fmla="*/ 4971312 w 8079933"/>
              <a:gd name="connsiteY12748" fmla="*/ 2114013 h 4687251"/>
              <a:gd name="connsiteX12749" fmla="*/ 4973425 w 8079933"/>
              <a:gd name="connsiteY12749" fmla="*/ 2114525 h 4687251"/>
              <a:gd name="connsiteX12750" fmla="*/ 4974619 w 8079933"/>
              <a:gd name="connsiteY12750" fmla="*/ 2116527 h 4687251"/>
              <a:gd name="connsiteX12751" fmla="*/ 4973426 w 8079933"/>
              <a:gd name="connsiteY12751" fmla="*/ 2114524 h 4687251"/>
              <a:gd name="connsiteX12752" fmla="*/ 5728159 w 8079933"/>
              <a:gd name="connsiteY12752" fmla="*/ 2113116 h 4687251"/>
              <a:gd name="connsiteX12753" fmla="*/ 5718718 w 8079933"/>
              <a:gd name="connsiteY12753" fmla="*/ 2113332 h 4687251"/>
              <a:gd name="connsiteX12754" fmla="*/ 5718488 w 8079933"/>
              <a:gd name="connsiteY12754" fmla="*/ 2113304 h 4687251"/>
              <a:gd name="connsiteX12755" fmla="*/ 5718720 w 8079933"/>
              <a:gd name="connsiteY12755" fmla="*/ 2113333 h 4687251"/>
              <a:gd name="connsiteX12756" fmla="*/ 5728160 w 8079933"/>
              <a:gd name="connsiteY12756" fmla="*/ 2113116 h 4687251"/>
              <a:gd name="connsiteX12757" fmla="*/ 5625070 w 8079933"/>
              <a:gd name="connsiteY12757" fmla="*/ 2110192 h 4687251"/>
              <a:gd name="connsiteX12758" fmla="*/ 5625069 w 8079933"/>
              <a:gd name="connsiteY12758" fmla="*/ 2110193 h 4687251"/>
              <a:gd name="connsiteX12759" fmla="*/ 5629952 w 8079933"/>
              <a:gd name="connsiteY12759" fmla="*/ 2116255 h 4687251"/>
              <a:gd name="connsiteX12760" fmla="*/ 5636463 w 8079933"/>
              <a:gd name="connsiteY12760" fmla="*/ 2121777 h 4687251"/>
              <a:gd name="connsiteX12761" fmla="*/ 5641145 w 8079933"/>
              <a:gd name="connsiteY12761" fmla="*/ 2124549 h 4687251"/>
              <a:gd name="connsiteX12762" fmla="*/ 5636464 w 8079933"/>
              <a:gd name="connsiteY12762" fmla="*/ 2121777 h 4687251"/>
              <a:gd name="connsiteX12763" fmla="*/ 5629953 w 8079933"/>
              <a:gd name="connsiteY12763" fmla="*/ 2116256 h 4687251"/>
              <a:gd name="connsiteX12764" fmla="*/ 5613350 w 8079933"/>
              <a:gd name="connsiteY12764" fmla="*/ 2110084 h 4687251"/>
              <a:gd name="connsiteX12765" fmla="*/ 5616821 w 8079933"/>
              <a:gd name="connsiteY12765" fmla="*/ 2113332 h 4687251"/>
              <a:gd name="connsiteX12766" fmla="*/ 5616822 w 8079933"/>
              <a:gd name="connsiteY12766" fmla="*/ 2113332 h 4687251"/>
              <a:gd name="connsiteX12767" fmla="*/ 4967565 w 8079933"/>
              <a:gd name="connsiteY12767" fmla="*/ 2109002 h 4687251"/>
              <a:gd name="connsiteX12768" fmla="*/ 4967565 w 8079933"/>
              <a:gd name="connsiteY12768" fmla="*/ 2109003 h 4687251"/>
              <a:gd name="connsiteX12769" fmla="*/ 4968705 w 8079933"/>
              <a:gd name="connsiteY12769" fmla="*/ 2111330 h 4687251"/>
              <a:gd name="connsiteX12770" fmla="*/ 5581337 w 8079933"/>
              <a:gd name="connsiteY12770" fmla="*/ 2106729 h 4687251"/>
              <a:gd name="connsiteX12771" fmla="*/ 5581337 w 8079933"/>
              <a:gd name="connsiteY12771" fmla="*/ 2106729 h 4687251"/>
              <a:gd name="connsiteX12772" fmla="*/ 5591646 w 8079933"/>
              <a:gd name="connsiteY12772" fmla="*/ 2121886 h 4687251"/>
              <a:gd name="connsiteX12773" fmla="*/ 5592297 w 8079933"/>
              <a:gd name="connsiteY12773" fmla="*/ 2132172 h 4687251"/>
              <a:gd name="connsiteX12774" fmla="*/ 5592297 w 8079933"/>
              <a:gd name="connsiteY12774" fmla="*/ 2132171 h 4687251"/>
              <a:gd name="connsiteX12775" fmla="*/ 5591646 w 8079933"/>
              <a:gd name="connsiteY12775" fmla="*/ 2121886 h 4687251"/>
              <a:gd name="connsiteX12776" fmla="*/ 6949515 w 8079933"/>
              <a:gd name="connsiteY12776" fmla="*/ 2105863 h 4687251"/>
              <a:gd name="connsiteX12777" fmla="*/ 6953205 w 8079933"/>
              <a:gd name="connsiteY12777" fmla="*/ 2106079 h 4687251"/>
              <a:gd name="connsiteX12778" fmla="*/ 6951902 w 8079933"/>
              <a:gd name="connsiteY12778" fmla="*/ 2109220 h 4687251"/>
              <a:gd name="connsiteX12779" fmla="*/ 6949949 w 8079933"/>
              <a:gd name="connsiteY12779" fmla="*/ 2111169 h 4687251"/>
              <a:gd name="connsiteX12780" fmla="*/ 6947996 w 8079933"/>
              <a:gd name="connsiteY12780" fmla="*/ 2111494 h 4687251"/>
              <a:gd name="connsiteX12781" fmla="*/ 6947453 w 8079933"/>
              <a:gd name="connsiteY12781" fmla="*/ 2108787 h 4687251"/>
              <a:gd name="connsiteX12782" fmla="*/ 4512122 w 8079933"/>
              <a:gd name="connsiteY12782" fmla="*/ 2104996 h 4687251"/>
              <a:gd name="connsiteX12783" fmla="*/ 4514509 w 8079933"/>
              <a:gd name="connsiteY12783" fmla="*/ 2104996 h 4687251"/>
              <a:gd name="connsiteX12784" fmla="*/ 4515594 w 8079933"/>
              <a:gd name="connsiteY12784" fmla="*/ 2107486 h 4687251"/>
              <a:gd name="connsiteX12785" fmla="*/ 4513315 w 8079933"/>
              <a:gd name="connsiteY12785" fmla="*/ 2110627 h 4687251"/>
              <a:gd name="connsiteX12786" fmla="*/ 4511145 w 8079933"/>
              <a:gd name="connsiteY12786" fmla="*/ 2108786 h 4687251"/>
              <a:gd name="connsiteX12787" fmla="*/ 4497038 w 8079933"/>
              <a:gd name="connsiteY12787" fmla="*/ 2104888 h 4687251"/>
              <a:gd name="connsiteX12788" fmla="*/ 4497038 w 8079933"/>
              <a:gd name="connsiteY12788" fmla="*/ 2107920 h 4687251"/>
              <a:gd name="connsiteX12789" fmla="*/ 4494867 w 8079933"/>
              <a:gd name="connsiteY12789" fmla="*/ 2106404 h 4687251"/>
              <a:gd name="connsiteX12790" fmla="*/ 4520803 w 8079933"/>
              <a:gd name="connsiteY12790" fmla="*/ 2104130 h 4687251"/>
              <a:gd name="connsiteX12791" fmla="*/ 4522973 w 8079933"/>
              <a:gd name="connsiteY12791" fmla="*/ 2104563 h 4687251"/>
              <a:gd name="connsiteX12792" fmla="*/ 4523516 w 8079933"/>
              <a:gd name="connsiteY12792" fmla="*/ 2107054 h 4687251"/>
              <a:gd name="connsiteX12793" fmla="*/ 4521345 w 8079933"/>
              <a:gd name="connsiteY12793" fmla="*/ 2109761 h 4687251"/>
              <a:gd name="connsiteX12794" fmla="*/ 4519067 w 8079933"/>
              <a:gd name="connsiteY12794" fmla="*/ 2109652 h 4687251"/>
              <a:gd name="connsiteX12795" fmla="*/ 4517439 w 8079933"/>
              <a:gd name="connsiteY12795" fmla="*/ 2107054 h 4687251"/>
              <a:gd name="connsiteX12796" fmla="*/ 4908485 w 8079933"/>
              <a:gd name="connsiteY12796" fmla="*/ 2102064 h 4687251"/>
              <a:gd name="connsiteX12797" fmla="*/ 4907122 w 8079933"/>
              <a:gd name="connsiteY12797" fmla="*/ 2104346 h 4687251"/>
              <a:gd name="connsiteX12798" fmla="*/ 4904843 w 8079933"/>
              <a:gd name="connsiteY12798" fmla="*/ 2104346 h 4687251"/>
              <a:gd name="connsiteX12799" fmla="*/ 4899852 w 8079933"/>
              <a:gd name="connsiteY12799" fmla="*/ 2108677 h 4687251"/>
              <a:gd name="connsiteX12800" fmla="*/ 4890520 w 8079933"/>
              <a:gd name="connsiteY12800" fmla="*/ 2110626 h 4687251"/>
              <a:gd name="connsiteX12801" fmla="*/ 4890519 w 8079933"/>
              <a:gd name="connsiteY12801" fmla="*/ 2110627 h 4687251"/>
              <a:gd name="connsiteX12802" fmla="*/ 4899851 w 8079933"/>
              <a:gd name="connsiteY12802" fmla="*/ 2108678 h 4687251"/>
              <a:gd name="connsiteX12803" fmla="*/ 4904842 w 8079933"/>
              <a:gd name="connsiteY12803" fmla="*/ 2104347 h 4687251"/>
              <a:gd name="connsiteX12804" fmla="*/ 4907122 w 8079933"/>
              <a:gd name="connsiteY12804" fmla="*/ 2104347 h 4687251"/>
              <a:gd name="connsiteX12805" fmla="*/ 5335764 w 8079933"/>
              <a:gd name="connsiteY12805" fmla="*/ 2100732 h 4687251"/>
              <a:gd name="connsiteX12806" fmla="*/ 5338910 w 8079933"/>
              <a:gd name="connsiteY12806" fmla="*/ 2100990 h 4687251"/>
              <a:gd name="connsiteX12807" fmla="*/ 5344879 w 8079933"/>
              <a:gd name="connsiteY12807" fmla="*/ 2103481 h 4687251"/>
              <a:gd name="connsiteX12808" fmla="*/ 5348677 w 8079933"/>
              <a:gd name="connsiteY12808" fmla="*/ 2110194 h 4687251"/>
              <a:gd name="connsiteX12809" fmla="*/ 5347048 w 8079933"/>
              <a:gd name="connsiteY12809" fmla="*/ 2113875 h 4687251"/>
              <a:gd name="connsiteX12810" fmla="*/ 5349110 w 8079933"/>
              <a:gd name="connsiteY12810" fmla="*/ 2119722 h 4687251"/>
              <a:gd name="connsiteX12811" fmla="*/ 5348893 w 8079933"/>
              <a:gd name="connsiteY12811" fmla="*/ 2123294 h 4687251"/>
              <a:gd name="connsiteX12812" fmla="*/ 5350846 w 8079933"/>
              <a:gd name="connsiteY12812" fmla="*/ 2127084 h 4687251"/>
              <a:gd name="connsiteX12813" fmla="*/ 5351172 w 8079933"/>
              <a:gd name="connsiteY12813" fmla="*/ 2127625 h 4687251"/>
              <a:gd name="connsiteX12814" fmla="*/ 5350738 w 8079933"/>
              <a:gd name="connsiteY12814" fmla="*/ 2134338 h 4687251"/>
              <a:gd name="connsiteX12815" fmla="*/ 5351281 w 8079933"/>
              <a:gd name="connsiteY12815" fmla="*/ 2137586 h 4687251"/>
              <a:gd name="connsiteX12816" fmla="*/ 5349545 w 8079933"/>
              <a:gd name="connsiteY12816" fmla="*/ 2141159 h 4687251"/>
              <a:gd name="connsiteX12817" fmla="*/ 5352273 w 8079933"/>
              <a:gd name="connsiteY12817" fmla="*/ 2144725 h 4687251"/>
              <a:gd name="connsiteX12818" fmla="*/ 5349546 w 8079933"/>
              <a:gd name="connsiteY12818" fmla="*/ 2141158 h 4687251"/>
              <a:gd name="connsiteX12819" fmla="*/ 5351282 w 8079933"/>
              <a:gd name="connsiteY12819" fmla="*/ 2137586 h 4687251"/>
              <a:gd name="connsiteX12820" fmla="*/ 5350739 w 8079933"/>
              <a:gd name="connsiteY12820" fmla="*/ 2134338 h 4687251"/>
              <a:gd name="connsiteX12821" fmla="*/ 5351173 w 8079933"/>
              <a:gd name="connsiteY12821" fmla="*/ 2127625 h 4687251"/>
              <a:gd name="connsiteX12822" fmla="*/ 5350847 w 8079933"/>
              <a:gd name="connsiteY12822" fmla="*/ 2127084 h 4687251"/>
              <a:gd name="connsiteX12823" fmla="*/ 5348894 w 8079933"/>
              <a:gd name="connsiteY12823" fmla="*/ 2123294 h 4687251"/>
              <a:gd name="connsiteX12824" fmla="*/ 5349111 w 8079933"/>
              <a:gd name="connsiteY12824" fmla="*/ 2119722 h 4687251"/>
              <a:gd name="connsiteX12825" fmla="*/ 5347049 w 8079933"/>
              <a:gd name="connsiteY12825" fmla="*/ 2113875 h 4687251"/>
              <a:gd name="connsiteX12826" fmla="*/ 5348678 w 8079933"/>
              <a:gd name="connsiteY12826" fmla="*/ 2110194 h 4687251"/>
              <a:gd name="connsiteX12827" fmla="*/ 5344879 w 8079933"/>
              <a:gd name="connsiteY12827" fmla="*/ 2103481 h 4687251"/>
              <a:gd name="connsiteX12828" fmla="*/ 5338911 w 8079933"/>
              <a:gd name="connsiteY12828" fmla="*/ 2100990 h 4687251"/>
              <a:gd name="connsiteX12829" fmla="*/ 5164307 w 8079933"/>
              <a:gd name="connsiteY12829" fmla="*/ 2100233 h 4687251"/>
              <a:gd name="connsiteX12830" fmla="*/ 5152370 w 8079933"/>
              <a:gd name="connsiteY12830" fmla="*/ 2101749 h 4687251"/>
              <a:gd name="connsiteX12831" fmla="*/ 5151689 w 8079933"/>
              <a:gd name="connsiteY12831" fmla="*/ 2101939 h 4687251"/>
              <a:gd name="connsiteX12832" fmla="*/ 5162569 w 8079933"/>
              <a:gd name="connsiteY12832" fmla="*/ 2100557 h 4687251"/>
              <a:gd name="connsiteX12833" fmla="*/ 5176352 w 8079933"/>
              <a:gd name="connsiteY12833" fmla="*/ 2101749 h 4687251"/>
              <a:gd name="connsiteX12834" fmla="*/ 5181669 w 8079933"/>
              <a:gd name="connsiteY12834" fmla="*/ 2102831 h 4687251"/>
              <a:gd name="connsiteX12835" fmla="*/ 5181846 w 8079933"/>
              <a:gd name="connsiteY12835" fmla="*/ 2102189 h 4687251"/>
              <a:gd name="connsiteX12836" fmla="*/ 5178088 w 8079933"/>
              <a:gd name="connsiteY12836" fmla="*/ 2101424 h 4687251"/>
              <a:gd name="connsiteX12837" fmla="*/ 4961055 w 8079933"/>
              <a:gd name="connsiteY12837" fmla="*/ 2098392 h 4687251"/>
              <a:gd name="connsiteX12838" fmla="*/ 4960512 w 8079933"/>
              <a:gd name="connsiteY12838" fmla="*/ 2098500 h 4687251"/>
              <a:gd name="connsiteX12839" fmla="*/ 4960512 w 8079933"/>
              <a:gd name="connsiteY12839" fmla="*/ 2098500 h 4687251"/>
              <a:gd name="connsiteX12840" fmla="*/ 4960513 w 8079933"/>
              <a:gd name="connsiteY12840" fmla="*/ 2098500 h 4687251"/>
              <a:gd name="connsiteX12841" fmla="*/ 4961055 w 8079933"/>
              <a:gd name="connsiteY12841" fmla="*/ 2098392 h 4687251"/>
              <a:gd name="connsiteX12842" fmla="*/ 4955321 w 8079933"/>
              <a:gd name="connsiteY12842" fmla="*/ 2100087 h 4687251"/>
              <a:gd name="connsiteX12843" fmla="*/ 4955312 w 8079933"/>
              <a:gd name="connsiteY12843" fmla="*/ 2100090 h 4687251"/>
              <a:gd name="connsiteX12844" fmla="*/ 4961054 w 8079933"/>
              <a:gd name="connsiteY12844" fmla="*/ 2098392 h 4687251"/>
              <a:gd name="connsiteX12845" fmla="*/ 4965503 w 8079933"/>
              <a:gd name="connsiteY12845" fmla="*/ 2098717 h 4687251"/>
              <a:gd name="connsiteX12846" fmla="*/ 4967782 w 8079933"/>
              <a:gd name="connsiteY12846" fmla="*/ 2104672 h 4687251"/>
              <a:gd name="connsiteX12847" fmla="*/ 4967571 w 8079933"/>
              <a:gd name="connsiteY12847" fmla="*/ 2108883 h 4687251"/>
              <a:gd name="connsiteX12848" fmla="*/ 4967783 w 8079933"/>
              <a:gd name="connsiteY12848" fmla="*/ 2104672 h 4687251"/>
              <a:gd name="connsiteX12849" fmla="*/ 4965503 w 8079933"/>
              <a:gd name="connsiteY12849" fmla="*/ 2098717 h 4687251"/>
              <a:gd name="connsiteX12850" fmla="*/ 4961055 w 8079933"/>
              <a:gd name="connsiteY12850" fmla="*/ 2098392 h 4687251"/>
              <a:gd name="connsiteX12851" fmla="*/ 4493891 w 8079933"/>
              <a:gd name="connsiteY12851" fmla="*/ 2098175 h 4687251"/>
              <a:gd name="connsiteX12852" fmla="*/ 4496062 w 8079933"/>
              <a:gd name="connsiteY12852" fmla="*/ 2098717 h 4687251"/>
              <a:gd name="connsiteX12853" fmla="*/ 4496062 w 8079933"/>
              <a:gd name="connsiteY12853" fmla="*/ 2100882 h 4687251"/>
              <a:gd name="connsiteX12854" fmla="*/ 4494000 w 8079933"/>
              <a:gd name="connsiteY12854" fmla="*/ 2102073 h 4687251"/>
              <a:gd name="connsiteX12855" fmla="*/ 6879737 w 8079933"/>
              <a:gd name="connsiteY12855" fmla="*/ 2097959 h 4687251"/>
              <a:gd name="connsiteX12856" fmla="*/ 6880932 w 8079933"/>
              <a:gd name="connsiteY12856" fmla="*/ 2100449 h 4687251"/>
              <a:gd name="connsiteX12857" fmla="*/ 6881257 w 8079933"/>
              <a:gd name="connsiteY12857" fmla="*/ 2104563 h 4687251"/>
              <a:gd name="connsiteX12858" fmla="*/ 6879521 w 8079933"/>
              <a:gd name="connsiteY12858" fmla="*/ 2104563 h 4687251"/>
              <a:gd name="connsiteX12859" fmla="*/ 6877676 w 8079933"/>
              <a:gd name="connsiteY12859" fmla="*/ 2105755 h 4687251"/>
              <a:gd name="connsiteX12860" fmla="*/ 6875614 w 8079933"/>
              <a:gd name="connsiteY12860" fmla="*/ 2102398 h 4687251"/>
              <a:gd name="connsiteX12861" fmla="*/ 6876591 w 8079933"/>
              <a:gd name="connsiteY12861" fmla="*/ 2100774 h 4687251"/>
              <a:gd name="connsiteX12862" fmla="*/ 6878110 w 8079933"/>
              <a:gd name="connsiteY12862" fmla="*/ 2100774 h 4687251"/>
              <a:gd name="connsiteX12863" fmla="*/ 4517873 w 8079933"/>
              <a:gd name="connsiteY12863" fmla="*/ 2097309 h 4687251"/>
              <a:gd name="connsiteX12864" fmla="*/ 4519935 w 8079933"/>
              <a:gd name="connsiteY12864" fmla="*/ 2097850 h 4687251"/>
              <a:gd name="connsiteX12865" fmla="*/ 4517765 w 8079933"/>
              <a:gd name="connsiteY12865" fmla="*/ 2099150 h 4687251"/>
              <a:gd name="connsiteX12866" fmla="*/ 7061070 w 8079933"/>
              <a:gd name="connsiteY12866" fmla="*/ 2096985 h 4687251"/>
              <a:gd name="connsiteX12867" fmla="*/ 7067256 w 8079933"/>
              <a:gd name="connsiteY12867" fmla="*/ 2097310 h 4687251"/>
              <a:gd name="connsiteX12868" fmla="*/ 7070729 w 8079933"/>
              <a:gd name="connsiteY12868" fmla="*/ 2099909 h 4687251"/>
              <a:gd name="connsiteX12869" fmla="*/ 7074309 w 8079933"/>
              <a:gd name="connsiteY12869" fmla="*/ 2100017 h 4687251"/>
              <a:gd name="connsiteX12870" fmla="*/ 7079518 w 8079933"/>
              <a:gd name="connsiteY12870" fmla="*/ 2104131 h 4687251"/>
              <a:gd name="connsiteX12871" fmla="*/ 7080494 w 8079933"/>
              <a:gd name="connsiteY12871" fmla="*/ 2107487 h 4687251"/>
              <a:gd name="connsiteX12872" fmla="*/ 7082231 w 8079933"/>
              <a:gd name="connsiteY12872" fmla="*/ 2109111 h 4687251"/>
              <a:gd name="connsiteX12873" fmla="*/ 7081688 w 8079933"/>
              <a:gd name="connsiteY12873" fmla="*/ 2112251 h 4687251"/>
              <a:gd name="connsiteX12874" fmla="*/ 7076371 w 8079933"/>
              <a:gd name="connsiteY12874" fmla="*/ 2117232 h 4687251"/>
              <a:gd name="connsiteX12875" fmla="*/ 7074201 w 8079933"/>
              <a:gd name="connsiteY12875" fmla="*/ 2125677 h 4687251"/>
              <a:gd name="connsiteX12876" fmla="*/ 7071270 w 8079933"/>
              <a:gd name="connsiteY12876" fmla="*/ 2127084 h 4687251"/>
              <a:gd name="connsiteX12877" fmla="*/ 7069317 w 8079933"/>
              <a:gd name="connsiteY12877" fmla="*/ 2123728 h 4687251"/>
              <a:gd name="connsiteX12878" fmla="*/ 7062589 w 8079933"/>
              <a:gd name="connsiteY12878" fmla="*/ 2119505 h 4687251"/>
              <a:gd name="connsiteX12879" fmla="*/ 7057272 w 8079933"/>
              <a:gd name="connsiteY12879" fmla="*/ 2118747 h 4687251"/>
              <a:gd name="connsiteX12880" fmla="*/ 7055753 w 8079933"/>
              <a:gd name="connsiteY12880" fmla="*/ 2121346 h 4687251"/>
              <a:gd name="connsiteX12881" fmla="*/ 7050001 w 8079933"/>
              <a:gd name="connsiteY12881" fmla="*/ 2124811 h 4687251"/>
              <a:gd name="connsiteX12882" fmla="*/ 7047939 w 8079933"/>
              <a:gd name="connsiteY12882" fmla="*/ 2131631 h 4687251"/>
              <a:gd name="connsiteX12883" fmla="*/ 7045877 w 8079933"/>
              <a:gd name="connsiteY12883" fmla="*/ 2135854 h 4687251"/>
              <a:gd name="connsiteX12884" fmla="*/ 7050219 w 8079933"/>
              <a:gd name="connsiteY12884" fmla="*/ 2140401 h 4687251"/>
              <a:gd name="connsiteX12885" fmla="*/ 7050543 w 8079933"/>
              <a:gd name="connsiteY12885" fmla="*/ 2143325 h 4687251"/>
              <a:gd name="connsiteX12886" fmla="*/ 7048265 w 8079933"/>
              <a:gd name="connsiteY12886" fmla="*/ 2144082 h 4687251"/>
              <a:gd name="connsiteX12887" fmla="*/ 7045335 w 8079933"/>
              <a:gd name="connsiteY12887" fmla="*/ 2143000 h 4687251"/>
              <a:gd name="connsiteX12888" fmla="*/ 7043815 w 8079933"/>
              <a:gd name="connsiteY12888" fmla="*/ 2144733 h 4687251"/>
              <a:gd name="connsiteX12889" fmla="*/ 7041862 w 8079933"/>
              <a:gd name="connsiteY12889" fmla="*/ 2143866 h 4687251"/>
              <a:gd name="connsiteX12890" fmla="*/ 7042297 w 8079933"/>
              <a:gd name="connsiteY12890" fmla="*/ 2140943 h 4687251"/>
              <a:gd name="connsiteX12891" fmla="*/ 7036436 w 8079933"/>
              <a:gd name="connsiteY12891" fmla="*/ 2140293 h 4687251"/>
              <a:gd name="connsiteX12892" fmla="*/ 7032639 w 8079933"/>
              <a:gd name="connsiteY12892" fmla="*/ 2134554 h 4687251"/>
              <a:gd name="connsiteX12893" fmla="*/ 7032639 w 8079933"/>
              <a:gd name="connsiteY12893" fmla="*/ 2132173 h 4687251"/>
              <a:gd name="connsiteX12894" fmla="*/ 7034049 w 8079933"/>
              <a:gd name="connsiteY12894" fmla="*/ 2130874 h 4687251"/>
              <a:gd name="connsiteX12895" fmla="*/ 7032747 w 8079933"/>
              <a:gd name="connsiteY12895" fmla="*/ 2126218 h 4687251"/>
              <a:gd name="connsiteX12896" fmla="*/ 7026127 w 8079933"/>
              <a:gd name="connsiteY12896" fmla="*/ 2124486 h 4687251"/>
              <a:gd name="connsiteX12897" fmla="*/ 7027104 w 8079933"/>
              <a:gd name="connsiteY12897" fmla="*/ 2119613 h 4687251"/>
              <a:gd name="connsiteX12898" fmla="*/ 7031227 w 8079933"/>
              <a:gd name="connsiteY12898" fmla="*/ 2116690 h 4687251"/>
              <a:gd name="connsiteX12899" fmla="*/ 7031445 w 8079933"/>
              <a:gd name="connsiteY12899" fmla="*/ 2112468 h 4687251"/>
              <a:gd name="connsiteX12900" fmla="*/ 7037738 w 8079933"/>
              <a:gd name="connsiteY12900" fmla="*/ 2105213 h 4687251"/>
              <a:gd name="connsiteX12901" fmla="*/ 7040018 w 8079933"/>
              <a:gd name="connsiteY12901" fmla="*/ 2104997 h 4687251"/>
              <a:gd name="connsiteX12902" fmla="*/ 7042839 w 8079933"/>
              <a:gd name="connsiteY12902" fmla="*/ 2111385 h 4687251"/>
              <a:gd name="connsiteX12903" fmla="*/ 7045010 w 8079933"/>
              <a:gd name="connsiteY12903" fmla="*/ 2112035 h 4687251"/>
              <a:gd name="connsiteX12904" fmla="*/ 7048590 w 8079933"/>
              <a:gd name="connsiteY12904" fmla="*/ 2109544 h 4687251"/>
              <a:gd name="connsiteX12905" fmla="*/ 7052931 w 8079933"/>
              <a:gd name="connsiteY12905" fmla="*/ 2108137 h 4687251"/>
              <a:gd name="connsiteX12906" fmla="*/ 7055210 w 8079933"/>
              <a:gd name="connsiteY12906" fmla="*/ 2104672 h 4687251"/>
              <a:gd name="connsiteX12907" fmla="*/ 7055210 w 8079933"/>
              <a:gd name="connsiteY12907" fmla="*/ 2101749 h 4687251"/>
              <a:gd name="connsiteX12908" fmla="*/ 5618981 w 8079933"/>
              <a:gd name="connsiteY12908" fmla="*/ 2096140 h 4687251"/>
              <a:gd name="connsiteX12909" fmla="*/ 5612373 w 8079933"/>
              <a:gd name="connsiteY12909" fmla="*/ 2100556 h 4687251"/>
              <a:gd name="connsiteX12910" fmla="*/ 5612373 w 8079933"/>
              <a:gd name="connsiteY12910" fmla="*/ 2100557 h 4687251"/>
              <a:gd name="connsiteX12911" fmla="*/ 4951396 w 8079933"/>
              <a:gd name="connsiteY12911" fmla="*/ 2093520 h 4687251"/>
              <a:gd name="connsiteX12912" fmla="*/ 4951180 w 8079933"/>
              <a:gd name="connsiteY12912" fmla="*/ 2098175 h 4687251"/>
              <a:gd name="connsiteX12913" fmla="*/ 4951180 w 8079933"/>
              <a:gd name="connsiteY12913" fmla="*/ 2098175 h 4687251"/>
              <a:gd name="connsiteX12914" fmla="*/ 4951397 w 8079933"/>
              <a:gd name="connsiteY12914" fmla="*/ 2093520 h 4687251"/>
              <a:gd name="connsiteX12915" fmla="*/ 4492372 w 8079933"/>
              <a:gd name="connsiteY12915" fmla="*/ 2093086 h 4687251"/>
              <a:gd name="connsiteX12916" fmla="*/ 4494108 w 8079933"/>
              <a:gd name="connsiteY12916" fmla="*/ 2095468 h 4687251"/>
              <a:gd name="connsiteX12917" fmla="*/ 4491721 w 8079933"/>
              <a:gd name="connsiteY12917" fmla="*/ 2096551 h 4687251"/>
              <a:gd name="connsiteX12918" fmla="*/ 4490961 w 8079933"/>
              <a:gd name="connsiteY12918" fmla="*/ 2094926 h 4687251"/>
              <a:gd name="connsiteX12919" fmla="*/ 4513098 w 8079933"/>
              <a:gd name="connsiteY12919" fmla="*/ 2092437 h 4687251"/>
              <a:gd name="connsiteX12920" fmla="*/ 4515159 w 8079933"/>
              <a:gd name="connsiteY12920" fmla="*/ 2094386 h 4687251"/>
              <a:gd name="connsiteX12921" fmla="*/ 4515594 w 8079933"/>
              <a:gd name="connsiteY12921" fmla="*/ 2096659 h 4687251"/>
              <a:gd name="connsiteX12922" fmla="*/ 4512881 w 8079933"/>
              <a:gd name="connsiteY12922" fmla="*/ 2095468 h 4687251"/>
              <a:gd name="connsiteX12923" fmla="*/ 4510928 w 8079933"/>
              <a:gd name="connsiteY12923" fmla="*/ 2093194 h 4687251"/>
              <a:gd name="connsiteX12924" fmla="*/ 6952661 w 8079933"/>
              <a:gd name="connsiteY12924" fmla="*/ 2091680 h 4687251"/>
              <a:gd name="connsiteX12925" fmla="*/ 6953530 w 8079933"/>
              <a:gd name="connsiteY12925" fmla="*/ 2093629 h 4687251"/>
              <a:gd name="connsiteX12926" fmla="*/ 6954398 w 8079933"/>
              <a:gd name="connsiteY12926" fmla="*/ 2096985 h 4687251"/>
              <a:gd name="connsiteX12927" fmla="*/ 6952010 w 8079933"/>
              <a:gd name="connsiteY12927" fmla="*/ 2101857 h 4687251"/>
              <a:gd name="connsiteX12928" fmla="*/ 6950165 w 8079933"/>
              <a:gd name="connsiteY12928" fmla="*/ 2103482 h 4687251"/>
              <a:gd name="connsiteX12929" fmla="*/ 6949080 w 8079933"/>
              <a:gd name="connsiteY12929" fmla="*/ 2100125 h 4687251"/>
              <a:gd name="connsiteX12930" fmla="*/ 6949189 w 8079933"/>
              <a:gd name="connsiteY12930" fmla="*/ 2096119 h 4687251"/>
              <a:gd name="connsiteX12931" fmla="*/ 6950491 w 8079933"/>
              <a:gd name="connsiteY12931" fmla="*/ 2093088 h 4687251"/>
              <a:gd name="connsiteX12932" fmla="*/ 4536538 w 8079933"/>
              <a:gd name="connsiteY12932" fmla="*/ 2091680 h 4687251"/>
              <a:gd name="connsiteX12933" fmla="*/ 4535779 w 8079933"/>
              <a:gd name="connsiteY12933" fmla="*/ 2094062 h 4687251"/>
              <a:gd name="connsiteX12934" fmla="*/ 4532414 w 8079933"/>
              <a:gd name="connsiteY12934" fmla="*/ 2097202 h 4687251"/>
              <a:gd name="connsiteX12935" fmla="*/ 4530787 w 8079933"/>
              <a:gd name="connsiteY12935" fmla="*/ 2095253 h 4687251"/>
              <a:gd name="connsiteX12936" fmla="*/ 4531546 w 8079933"/>
              <a:gd name="connsiteY12936" fmla="*/ 2092654 h 4687251"/>
              <a:gd name="connsiteX12937" fmla="*/ 5602064 w 8079933"/>
              <a:gd name="connsiteY12937" fmla="*/ 2091246 h 4687251"/>
              <a:gd name="connsiteX12938" fmla="*/ 5602063 w 8079933"/>
              <a:gd name="connsiteY12938" fmla="*/ 2091246 h 4687251"/>
              <a:gd name="connsiteX12939" fmla="*/ 5600804 w 8079933"/>
              <a:gd name="connsiteY12939" fmla="*/ 2092319 h 4687251"/>
              <a:gd name="connsiteX12940" fmla="*/ 7067364 w 8079933"/>
              <a:gd name="connsiteY12940" fmla="*/ 2090055 h 4687251"/>
              <a:gd name="connsiteX12941" fmla="*/ 7070402 w 8079933"/>
              <a:gd name="connsiteY12941" fmla="*/ 2090705 h 4687251"/>
              <a:gd name="connsiteX12942" fmla="*/ 7070293 w 8079933"/>
              <a:gd name="connsiteY12942" fmla="*/ 2093087 h 4687251"/>
              <a:gd name="connsiteX12943" fmla="*/ 7067255 w 8079933"/>
              <a:gd name="connsiteY12943" fmla="*/ 2094602 h 4687251"/>
              <a:gd name="connsiteX12944" fmla="*/ 7063674 w 8079933"/>
              <a:gd name="connsiteY12944" fmla="*/ 2093628 h 4687251"/>
              <a:gd name="connsiteX12945" fmla="*/ 3772319 w 8079933"/>
              <a:gd name="connsiteY12945" fmla="*/ 2089721 h 4687251"/>
              <a:gd name="connsiteX12946" fmla="*/ 3772256 w 8079933"/>
              <a:gd name="connsiteY12946" fmla="*/ 2089838 h 4687251"/>
              <a:gd name="connsiteX12947" fmla="*/ 3775728 w 8079933"/>
              <a:gd name="connsiteY12947" fmla="*/ 2095359 h 4687251"/>
              <a:gd name="connsiteX12948" fmla="*/ 3775728 w 8079933"/>
              <a:gd name="connsiteY12948" fmla="*/ 2095143 h 4687251"/>
              <a:gd name="connsiteX12949" fmla="*/ 5622357 w 8079933"/>
              <a:gd name="connsiteY12949" fmla="*/ 2088756 h 4687251"/>
              <a:gd name="connsiteX12950" fmla="*/ 5622356 w 8079933"/>
              <a:gd name="connsiteY12950" fmla="*/ 2088756 h 4687251"/>
              <a:gd name="connsiteX12951" fmla="*/ 5623193 w 8079933"/>
              <a:gd name="connsiteY12951" fmla="*/ 2091021 h 4687251"/>
              <a:gd name="connsiteX12952" fmla="*/ 5623128 w 8079933"/>
              <a:gd name="connsiteY12952" fmla="*/ 2090844 h 4687251"/>
              <a:gd name="connsiteX12953" fmla="*/ 5584266 w 8079933"/>
              <a:gd name="connsiteY12953" fmla="*/ 2087889 h 4687251"/>
              <a:gd name="connsiteX12954" fmla="*/ 5584266 w 8079933"/>
              <a:gd name="connsiteY12954" fmla="*/ 2087889 h 4687251"/>
              <a:gd name="connsiteX12955" fmla="*/ 5588607 w 8079933"/>
              <a:gd name="connsiteY12955" fmla="*/ 2089622 h 4687251"/>
              <a:gd name="connsiteX12956" fmla="*/ 5090795 w 8079933"/>
              <a:gd name="connsiteY12956" fmla="*/ 2087673 h 4687251"/>
              <a:gd name="connsiteX12957" fmla="*/ 5092251 w 8079933"/>
              <a:gd name="connsiteY12957" fmla="*/ 2092654 h 4687251"/>
              <a:gd name="connsiteX12958" fmla="*/ 5095940 w 8079933"/>
              <a:gd name="connsiteY12958" fmla="*/ 2097093 h 4687251"/>
              <a:gd name="connsiteX12959" fmla="*/ 5107986 w 8079933"/>
              <a:gd name="connsiteY12959" fmla="*/ 2101965 h 4687251"/>
              <a:gd name="connsiteX12960" fmla="*/ 5113304 w 8079933"/>
              <a:gd name="connsiteY12960" fmla="*/ 2102398 h 4687251"/>
              <a:gd name="connsiteX12961" fmla="*/ 5127736 w 8079933"/>
              <a:gd name="connsiteY12961" fmla="*/ 2106621 h 4687251"/>
              <a:gd name="connsiteX12962" fmla="*/ 5134790 w 8079933"/>
              <a:gd name="connsiteY12962" fmla="*/ 2106621 h 4687251"/>
              <a:gd name="connsiteX12963" fmla="*/ 5136298 w 8079933"/>
              <a:gd name="connsiteY12963" fmla="*/ 2106188 h 4687251"/>
              <a:gd name="connsiteX12964" fmla="*/ 5129472 w 8079933"/>
              <a:gd name="connsiteY12964" fmla="*/ 2106188 h 4687251"/>
              <a:gd name="connsiteX12965" fmla="*/ 5115040 w 8079933"/>
              <a:gd name="connsiteY12965" fmla="*/ 2102073 h 4687251"/>
              <a:gd name="connsiteX12966" fmla="*/ 5109722 w 8079933"/>
              <a:gd name="connsiteY12966" fmla="*/ 2102073 h 4687251"/>
              <a:gd name="connsiteX12967" fmla="*/ 5097677 w 8079933"/>
              <a:gd name="connsiteY12967" fmla="*/ 2097310 h 4687251"/>
              <a:gd name="connsiteX12968" fmla="*/ 5094096 w 8079933"/>
              <a:gd name="connsiteY12968" fmla="*/ 2092871 h 4687251"/>
              <a:gd name="connsiteX12969" fmla="*/ 5092576 w 8079933"/>
              <a:gd name="connsiteY12969" fmla="*/ 2087673 h 4687251"/>
              <a:gd name="connsiteX12970" fmla="*/ 6913921 w 8079933"/>
              <a:gd name="connsiteY12970" fmla="*/ 2086807 h 4687251"/>
              <a:gd name="connsiteX12971" fmla="*/ 6916308 w 8079933"/>
              <a:gd name="connsiteY12971" fmla="*/ 2089189 h 4687251"/>
              <a:gd name="connsiteX12972" fmla="*/ 6912728 w 8079933"/>
              <a:gd name="connsiteY12972" fmla="*/ 2090597 h 4687251"/>
              <a:gd name="connsiteX12973" fmla="*/ 6911642 w 8079933"/>
              <a:gd name="connsiteY12973" fmla="*/ 2088431 h 4687251"/>
              <a:gd name="connsiteX12974" fmla="*/ 7082664 w 8079933"/>
              <a:gd name="connsiteY12974" fmla="*/ 2086374 h 4687251"/>
              <a:gd name="connsiteX12975" fmla="*/ 7083641 w 8079933"/>
              <a:gd name="connsiteY12975" fmla="*/ 2089298 h 4687251"/>
              <a:gd name="connsiteX12976" fmla="*/ 7083097 w 8079933"/>
              <a:gd name="connsiteY12976" fmla="*/ 2092762 h 4687251"/>
              <a:gd name="connsiteX12977" fmla="*/ 7083857 w 8079933"/>
              <a:gd name="connsiteY12977" fmla="*/ 2094819 h 4687251"/>
              <a:gd name="connsiteX12978" fmla="*/ 7083097 w 8079933"/>
              <a:gd name="connsiteY12978" fmla="*/ 2097743 h 4687251"/>
              <a:gd name="connsiteX12979" fmla="*/ 7080601 w 8079933"/>
              <a:gd name="connsiteY12979" fmla="*/ 2097852 h 4687251"/>
              <a:gd name="connsiteX12980" fmla="*/ 7078431 w 8079933"/>
              <a:gd name="connsiteY12980" fmla="*/ 2093087 h 4687251"/>
              <a:gd name="connsiteX12981" fmla="*/ 7078540 w 8079933"/>
              <a:gd name="connsiteY12981" fmla="*/ 2089298 h 4687251"/>
              <a:gd name="connsiteX12982" fmla="*/ 7080168 w 8079933"/>
              <a:gd name="connsiteY12982" fmla="*/ 2086807 h 4687251"/>
              <a:gd name="connsiteX12983" fmla="*/ 4544676 w 8079933"/>
              <a:gd name="connsiteY12983" fmla="*/ 2085617 h 4687251"/>
              <a:gd name="connsiteX12984" fmla="*/ 4547498 w 8079933"/>
              <a:gd name="connsiteY12984" fmla="*/ 2085942 h 4687251"/>
              <a:gd name="connsiteX12985" fmla="*/ 4550319 w 8079933"/>
              <a:gd name="connsiteY12985" fmla="*/ 2088215 h 4687251"/>
              <a:gd name="connsiteX12986" fmla="*/ 4551079 w 8079933"/>
              <a:gd name="connsiteY12986" fmla="*/ 2087241 h 4687251"/>
              <a:gd name="connsiteX12987" fmla="*/ 4552381 w 8079933"/>
              <a:gd name="connsiteY12987" fmla="*/ 2087566 h 4687251"/>
              <a:gd name="connsiteX12988" fmla="*/ 4552923 w 8079933"/>
              <a:gd name="connsiteY12988" fmla="*/ 2089298 h 4687251"/>
              <a:gd name="connsiteX12989" fmla="*/ 4550211 w 8079933"/>
              <a:gd name="connsiteY12989" fmla="*/ 2090597 h 4687251"/>
              <a:gd name="connsiteX12990" fmla="*/ 4549126 w 8079933"/>
              <a:gd name="connsiteY12990" fmla="*/ 2092005 h 4687251"/>
              <a:gd name="connsiteX12991" fmla="*/ 4546847 w 8079933"/>
              <a:gd name="connsiteY12991" fmla="*/ 2091897 h 4687251"/>
              <a:gd name="connsiteX12992" fmla="*/ 4544785 w 8079933"/>
              <a:gd name="connsiteY12992" fmla="*/ 2089623 h 4687251"/>
              <a:gd name="connsiteX12993" fmla="*/ 4542180 w 8079933"/>
              <a:gd name="connsiteY12993" fmla="*/ 2089839 h 4687251"/>
              <a:gd name="connsiteX12994" fmla="*/ 4539685 w 8079933"/>
              <a:gd name="connsiteY12994" fmla="*/ 2090597 h 4687251"/>
              <a:gd name="connsiteX12995" fmla="*/ 4540770 w 8079933"/>
              <a:gd name="connsiteY12995" fmla="*/ 2088865 h 4687251"/>
              <a:gd name="connsiteX12996" fmla="*/ 5311251 w 8079933"/>
              <a:gd name="connsiteY12996" fmla="*/ 2084971 h 4687251"/>
              <a:gd name="connsiteX12997" fmla="*/ 5318726 w 8079933"/>
              <a:gd name="connsiteY12997" fmla="*/ 2086699 h 4687251"/>
              <a:gd name="connsiteX12998" fmla="*/ 5328383 w 8079933"/>
              <a:gd name="connsiteY12998" fmla="*/ 2100124 h 4687251"/>
              <a:gd name="connsiteX12999" fmla="*/ 5328384 w 8079933"/>
              <a:gd name="connsiteY12999" fmla="*/ 2100124 h 4687251"/>
              <a:gd name="connsiteX13000" fmla="*/ 5318727 w 8079933"/>
              <a:gd name="connsiteY13000" fmla="*/ 2086699 h 4687251"/>
              <a:gd name="connsiteX13001" fmla="*/ 5073154 w 8079933"/>
              <a:gd name="connsiteY13001" fmla="*/ 2084750 h 4687251"/>
              <a:gd name="connsiteX13002" fmla="*/ 5076082 w 8079933"/>
              <a:gd name="connsiteY13002" fmla="*/ 2085725 h 4687251"/>
              <a:gd name="connsiteX13003" fmla="*/ 5076402 w 8079933"/>
              <a:gd name="connsiteY13003" fmla="*/ 2085608 h 4687251"/>
              <a:gd name="connsiteX13004" fmla="*/ 5074020 w 8079933"/>
              <a:gd name="connsiteY13004" fmla="*/ 2084750 h 4687251"/>
              <a:gd name="connsiteX13005" fmla="*/ 5083570 w 8079933"/>
              <a:gd name="connsiteY13005" fmla="*/ 2084100 h 4687251"/>
              <a:gd name="connsiteX13006" fmla="*/ 5082799 w 8079933"/>
              <a:gd name="connsiteY13006" fmla="*/ 2084382 h 4687251"/>
              <a:gd name="connsiteX13007" fmla="*/ 5087259 w 8079933"/>
              <a:gd name="connsiteY13007" fmla="*/ 2087349 h 4687251"/>
              <a:gd name="connsiteX13008" fmla="*/ 5088669 w 8079933"/>
              <a:gd name="connsiteY13008" fmla="*/ 2087393 h 4687251"/>
              <a:gd name="connsiteX13009" fmla="*/ 4408054 w 8079933"/>
              <a:gd name="connsiteY13009" fmla="*/ 2083884 h 4687251"/>
              <a:gd name="connsiteX13010" fmla="*/ 4410984 w 8079933"/>
              <a:gd name="connsiteY13010" fmla="*/ 2085183 h 4687251"/>
              <a:gd name="connsiteX13011" fmla="*/ 4413154 w 8079933"/>
              <a:gd name="connsiteY13011" fmla="*/ 2088106 h 4687251"/>
              <a:gd name="connsiteX13012" fmla="*/ 4414999 w 8079933"/>
              <a:gd name="connsiteY13012" fmla="*/ 2090272 h 4687251"/>
              <a:gd name="connsiteX13013" fmla="*/ 4412069 w 8079933"/>
              <a:gd name="connsiteY13013" fmla="*/ 2089730 h 4687251"/>
              <a:gd name="connsiteX13014" fmla="*/ 4411418 w 8079933"/>
              <a:gd name="connsiteY13014" fmla="*/ 2091355 h 4687251"/>
              <a:gd name="connsiteX13015" fmla="*/ 4408705 w 8079933"/>
              <a:gd name="connsiteY13015" fmla="*/ 2090596 h 4687251"/>
              <a:gd name="connsiteX13016" fmla="*/ 4405450 w 8079933"/>
              <a:gd name="connsiteY13016" fmla="*/ 2087349 h 4687251"/>
              <a:gd name="connsiteX13017" fmla="*/ 4406209 w 8079933"/>
              <a:gd name="connsiteY13017" fmla="*/ 2084750 h 4687251"/>
              <a:gd name="connsiteX13018" fmla="*/ 4502463 w 8079933"/>
              <a:gd name="connsiteY13018" fmla="*/ 2083667 h 4687251"/>
              <a:gd name="connsiteX13019" fmla="*/ 4504417 w 8079933"/>
              <a:gd name="connsiteY13019" fmla="*/ 2086591 h 4687251"/>
              <a:gd name="connsiteX13020" fmla="*/ 4508432 w 8079933"/>
              <a:gd name="connsiteY13020" fmla="*/ 2090272 h 4687251"/>
              <a:gd name="connsiteX13021" fmla="*/ 4508324 w 8079933"/>
              <a:gd name="connsiteY13021" fmla="*/ 2092762 h 4687251"/>
              <a:gd name="connsiteX13022" fmla="*/ 4506370 w 8079933"/>
              <a:gd name="connsiteY13022" fmla="*/ 2092654 h 4687251"/>
              <a:gd name="connsiteX13023" fmla="*/ 4501270 w 8079933"/>
              <a:gd name="connsiteY13023" fmla="*/ 2087673 h 4687251"/>
              <a:gd name="connsiteX13024" fmla="*/ 4499100 w 8079933"/>
              <a:gd name="connsiteY13024" fmla="*/ 2085941 h 4687251"/>
              <a:gd name="connsiteX13025" fmla="*/ 4500293 w 8079933"/>
              <a:gd name="connsiteY13025" fmla="*/ 2083883 h 4687251"/>
              <a:gd name="connsiteX13026" fmla="*/ 5427678 w 8079933"/>
              <a:gd name="connsiteY13026" fmla="*/ 2083234 h 4687251"/>
              <a:gd name="connsiteX13027" fmla="*/ 5427678 w 8079933"/>
              <a:gd name="connsiteY13027" fmla="*/ 2083235 h 4687251"/>
              <a:gd name="connsiteX13028" fmla="*/ 5429207 w 8079933"/>
              <a:gd name="connsiteY13028" fmla="*/ 2084455 h 4687251"/>
              <a:gd name="connsiteX13029" fmla="*/ 5582589 w 8079933"/>
              <a:gd name="connsiteY13029" fmla="*/ 2082426 h 4687251"/>
              <a:gd name="connsiteX13030" fmla="*/ 5584266 w 8079933"/>
              <a:gd name="connsiteY13030" fmla="*/ 2084642 h 4687251"/>
              <a:gd name="connsiteX13031" fmla="*/ 5584266 w 8079933"/>
              <a:gd name="connsiteY13031" fmla="*/ 2084641 h 4687251"/>
              <a:gd name="connsiteX13032" fmla="*/ 6932043 w 8079933"/>
              <a:gd name="connsiteY13032" fmla="*/ 2080635 h 4687251"/>
              <a:gd name="connsiteX13033" fmla="*/ 6933888 w 8079933"/>
              <a:gd name="connsiteY13033" fmla="*/ 2081826 h 4687251"/>
              <a:gd name="connsiteX13034" fmla="*/ 6934214 w 8079933"/>
              <a:gd name="connsiteY13034" fmla="*/ 2085940 h 4687251"/>
              <a:gd name="connsiteX13035" fmla="*/ 6932585 w 8079933"/>
              <a:gd name="connsiteY13035" fmla="*/ 2088430 h 4687251"/>
              <a:gd name="connsiteX13036" fmla="*/ 6930307 w 8079933"/>
              <a:gd name="connsiteY13036" fmla="*/ 2089296 h 4687251"/>
              <a:gd name="connsiteX13037" fmla="*/ 6928896 w 8079933"/>
              <a:gd name="connsiteY13037" fmla="*/ 2086048 h 4687251"/>
              <a:gd name="connsiteX13038" fmla="*/ 6928679 w 8079933"/>
              <a:gd name="connsiteY13038" fmla="*/ 2083341 h 4687251"/>
              <a:gd name="connsiteX13039" fmla="*/ 5062062 w 8079933"/>
              <a:gd name="connsiteY13039" fmla="*/ 2079770 h 4687251"/>
              <a:gd name="connsiteX13040" fmla="*/ 5066424 w 8079933"/>
              <a:gd name="connsiteY13040" fmla="*/ 2084425 h 4687251"/>
              <a:gd name="connsiteX13041" fmla="*/ 5068072 w 8079933"/>
              <a:gd name="connsiteY13041" fmla="*/ 2084425 h 4687251"/>
              <a:gd name="connsiteX13042" fmla="*/ 5063711 w 8079933"/>
              <a:gd name="connsiteY13042" fmla="*/ 2079770 h 4687251"/>
              <a:gd name="connsiteX13043" fmla="*/ 3356745 w 8079933"/>
              <a:gd name="connsiteY13043" fmla="*/ 2079553 h 4687251"/>
              <a:gd name="connsiteX13044" fmla="*/ 3359458 w 8079933"/>
              <a:gd name="connsiteY13044" fmla="*/ 2080202 h 4687251"/>
              <a:gd name="connsiteX13045" fmla="*/ 3361194 w 8079933"/>
              <a:gd name="connsiteY13045" fmla="*/ 2082584 h 4687251"/>
              <a:gd name="connsiteX13046" fmla="*/ 3359349 w 8079933"/>
              <a:gd name="connsiteY13046" fmla="*/ 2083884 h 4687251"/>
              <a:gd name="connsiteX13047" fmla="*/ 3353164 w 8079933"/>
              <a:gd name="connsiteY13047" fmla="*/ 2082910 h 4687251"/>
              <a:gd name="connsiteX13048" fmla="*/ 3352513 w 8079933"/>
              <a:gd name="connsiteY13048" fmla="*/ 2080852 h 4687251"/>
              <a:gd name="connsiteX13049" fmla="*/ 5297728 w 8079933"/>
              <a:gd name="connsiteY13049" fmla="*/ 2076470 h 4687251"/>
              <a:gd name="connsiteX13050" fmla="*/ 5301146 w 8079933"/>
              <a:gd name="connsiteY13050" fmla="*/ 2077063 h 4687251"/>
              <a:gd name="connsiteX13051" fmla="*/ 5302557 w 8079933"/>
              <a:gd name="connsiteY13051" fmla="*/ 2084100 h 4687251"/>
              <a:gd name="connsiteX13052" fmla="*/ 5304727 w 8079933"/>
              <a:gd name="connsiteY13052" fmla="*/ 2085833 h 4687251"/>
              <a:gd name="connsiteX13053" fmla="*/ 5304728 w 8079933"/>
              <a:gd name="connsiteY13053" fmla="*/ 2085833 h 4687251"/>
              <a:gd name="connsiteX13054" fmla="*/ 5302558 w 8079933"/>
              <a:gd name="connsiteY13054" fmla="*/ 2084100 h 4687251"/>
              <a:gd name="connsiteX13055" fmla="*/ 5301147 w 8079933"/>
              <a:gd name="connsiteY13055" fmla="*/ 2077063 h 4687251"/>
              <a:gd name="connsiteX13056" fmla="*/ 5666956 w 8079933"/>
              <a:gd name="connsiteY13056" fmla="*/ 2072623 h 4687251"/>
              <a:gd name="connsiteX13057" fmla="*/ 5664569 w 8079933"/>
              <a:gd name="connsiteY13057" fmla="*/ 2074355 h 4687251"/>
              <a:gd name="connsiteX13058" fmla="*/ 5664570 w 8079933"/>
              <a:gd name="connsiteY13058" fmla="*/ 2074355 h 4687251"/>
              <a:gd name="connsiteX13059" fmla="*/ 5666956 w 8079933"/>
              <a:gd name="connsiteY13059" fmla="*/ 2072623 h 4687251"/>
              <a:gd name="connsiteX13060" fmla="*/ 5668022 w 8079933"/>
              <a:gd name="connsiteY13060" fmla="*/ 2072709 h 4687251"/>
              <a:gd name="connsiteX13061" fmla="*/ 4285322 w 8079933"/>
              <a:gd name="connsiteY13061" fmla="*/ 2072407 h 4687251"/>
              <a:gd name="connsiteX13062" fmla="*/ 4289012 w 8079933"/>
              <a:gd name="connsiteY13062" fmla="*/ 2076738 h 4687251"/>
              <a:gd name="connsiteX13063" fmla="*/ 4288035 w 8079933"/>
              <a:gd name="connsiteY13063" fmla="*/ 2083017 h 4687251"/>
              <a:gd name="connsiteX13064" fmla="*/ 4283695 w 8079933"/>
              <a:gd name="connsiteY13064" fmla="*/ 2087023 h 4687251"/>
              <a:gd name="connsiteX13065" fmla="*/ 4279354 w 8079933"/>
              <a:gd name="connsiteY13065" fmla="*/ 2098608 h 4687251"/>
              <a:gd name="connsiteX13066" fmla="*/ 4283695 w 8079933"/>
              <a:gd name="connsiteY13066" fmla="*/ 2104563 h 4687251"/>
              <a:gd name="connsiteX13067" fmla="*/ 4284237 w 8079933"/>
              <a:gd name="connsiteY13067" fmla="*/ 2109760 h 4687251"/>
              <a:gd name="connsiteX13068" fmla="*/ 4281958 w 8079933"/>
              <a:gd name="connsiteY13068" fmla="*/ 2112684 h 4687251"/>
              <a:gd name="connsiteX13069" fmla="*/ 4282284 w 8079933"/>
              <a:gd name="connsiteY13069" fmla="*/ 2118638 h 4687251"/>
              <a:gd name="connsiteX13070" fmla="*/ 4277727 w 8079933"/>
              <a:gd name="connsiteY13070" fmla="*/ 2119288 h 4687251"/>
              <a:gd name="connsiteX13071" fmla="*/ 4266766 w 8079933"/>
              <a:gd name="connsiteY13071" fmla="*/ 2114957 h 4687251"/>
              <a:gd name="connsiteX13072" fmla="*/ 4265789 w 8079933"/>
              <a:gd name="connsiteY13072" fmla="*/ 2111168 h 4687251"/>
              <a:gd name="connsiteX13073" fmla="*/ 4261123 w 8079933"/>
              <a:gd name="connsiteY13073" fmla="*/ 2107811 h 4687251"/>
              <a:gd name="connsiteX13074" fmla="*/ 4258953 w 8079933"/>
              <a:gd name="connsiteY13074" fmla="*/ 2109219 h 4687251"/>
              <a:gd name="connsiteX13075" fmla="*/ 4248318 w 8079933"/>
              <a:gd name="connsiteY13075" fmla="*/ 2105213 h 4687251"/>
              <a:gd name="connsiteX13076" fmla="*/ 4243760 w 8079933"/>
              <a:gd name="connsiteY13076" fmla="*/ 2100341 h 4687251"/>
              <a:gd name="connsiteX13077" fmla="*/ 4238877 w 8079933"/>
              <a:gd name="connsiteY13077" fmla="*/ 2099150 h 4687251"/>
              <a:gd name="connsiteX13078" fmla="*/ 4229871 w 8079933"/>
              <a:gd name="connsiteY13078" fmla="*/ 2092978 h 4687251"/>
              <a:gd name="connsiteX13079" fmla="*/ 4224770 w 8079933"/>
              <a:gd name="connsiteY13079" fmla="*/ 2093844 h 4687251"/>
              <a:gd name="connsiteX13080" fmla="*/ 4219670 w 8079933"/>
              <a:gd name="connsiteY13080" fmla="*/ 2089189 h 4687251"/>
              <a:gd name="connsiteX13081" fmla="*/ 4220430 w 8079933"/>
              <a:gd name="connsiteY13081" fmla="*/ 2081393 h 4687251"/>
              <a:gd name="connsiteX13082" fmla="*/ 4226181 w 8079933"/>
              <a:gd name="connsiteY13082" fmla="*/ 2078686 h 4687251"/>
              <a:gd name="connsiteX13083" fmla="*/ 4227917 w 8079933"/>
              <a:gd name="connsiteY13083" fmla="*/ 2080852 h 4687251"/>
              <a:gd name="connsiteX13084" fmla="*/ 4230739 w 8079933"/>
              <a:gd name="connsiteY13084" fmla="*/ 2078578 h 4687251"/>
              <a:gd name="connsiteX13085" fmla="*/ 4236055 w 8079933"/>
              <a:gd name="connsiteY13085" fmla="*/ 2078037 h 4687251"/>
              <a:gd name="connsiteX13086" fmla="*/ 4240505 w 8079933"/>
              <a:gd name="connsiteY13086" fmla="*/ 2081068 h 4687251"/>
              <a:gd name="connsiteX13087" fmla="*/ 4246799 w 8079933"/>
              <a:gd name="connsiteY13087" fmla="*/ 2082260 h 4687251"/>
              <a:gd name="connsiteX13088" fmla="*/ 4255697 w 8079933"/>
              <a:gd name="connsiteY13088" fmla="*/ 2079661 h 4687251"/>
              <a:gd name="connsiteX13089" fmla="*/ 4266549 w 8079933"/>
              <a:gd name="connsiteY13089" fmla="*/ 2080311 h 4687251"/>
              <a:gd name="connsiteX13090" fmla="*/ 4271649 w 8079933"/>
              <a:gd name="connsiteY13090" fmla="*/ 2074897 h 4687251"/>
              <a:gd name="connsiteX13091" fmla="*/ 4276858 w 8079933"/>
              <a:gd name="connsiteY13091" fmla="*/ 2077821 h 4687251"/>
              <a:gd name="connsiteX13092" fmla="*/ 4279354 w 8079933"/>
              <a:gd name="connsiteY13092" fmla="*/ 2078145 h 4687251"/>
              <a:gd name="connsiteX13093" fmla="*/ 5286497 w 8079933"/>
              <a:gd name="connsiteY13093" fmla="*/ 2072190 h 4687251"/>
              <a:gd name="connsiteX13094" fmla="*/ 5286497 w 8079933"/>
              <a:gd name="connsiteY13094" fmla="*/ 2072191 h 4687251"/>
              <a:gd name="connsiteX13095" fmla="*/ 5296154 w 8079933"/>
              <a:gd name="connsiteY13095" fmla="*/ 2076196 h 4687251"/>
              <a:gd name="connsiteX13096" fmla="*/ 5296155 w 8079933"/>
              <a:gd name="connsiteY13096" fmla="*/ 2076197 h 4687251"/>
              <a:gd name="connsiteX13097" fmla="*/ 5656755 w 8079933"/>
              <a:gd name="connsiteY13097" fmla="*/ 2071216 h 4687251"/>
              <a:gd name="connsiteX13098" fmla="*/ 5654585 w 8079933"/>
              <a:gd name="connsiteY13098" fmla="*/ 2072623 h 4687251"/>
              <a:gd name="connsiteX13099" fmla="*/ 5651004 w 8079933"/>
              <a:gd name="connsiteY13099" fmla="*/ 2071649 h 4687251"/>
              <a:gd name="connsiteX13100" fmla="*/ 5654585 w 8079933"/>
              <a:gd name="connsiteY13100" fmla="*/ 2072623 h 4687251"/>
              <a:gd name="connsiteX13101" fmla="*/ 5654801 w 8079933"/>
              <a:gd name="connsiteY13101" fmla="*/ 2072623 h 4687251"/>
              <a:gd name="connsiteX13102" fmla="*/ 5650027 w 8079933"/>
              <a:gd name="connsiteY13102" fmla="*/ 2080852 h 4687251"/>
              <a:gd name="connsiteX13103" fmla="*/ 5650028 w 8079933"/>
              <a:gd name="connsiteY13103" fmla="*/ 2080851 h 4687251"/>
              <a:gd name="connsiteX13104" fmla="*/ 5654803 w 8079933"/>
              <a:gd name="connsiteY13104" fmla="*/ 2072623 h 4687251"/>
              <a:gd name="connsiteX13105" fmla="*/ 5654586 w 8079933"/>
              <a:gd name="connsiteY13105" fmla="*/ 2072623 h 4687251"/>
              <a:gd name="connsiteX13106" fmla="*/ 5464030 w 8079933"/>
              <a:gd name="connsiteY13106" fmla="*/ 2070566 h 4687251"/>
              <a:gd name="connsiteX13107" fmla="*/ 5465658 w 8079933"/>
              <a:gd name="connsiteY13107" fmla="*/ 2072191 h 4687251"/>
              <a:gd name="connsiteX13108" fmla="*/ 5465659 w 8079933"/>
              <a:gd name="connsiteY13108" fmla="*/ 2072190 h 4687251"/>
              <a:gd name="connsiteX13109" fmla="*/ 5465658 w 8079933"/>
              <a:gd name="connsiteY13109" fmla="*/ 2072190 h 4687251"/>
              <a:gd name="connsiteX13110" fmla="*/ 5522846 w 8079933"/>
              <a:gd name="connsiteY13110" fmla="*/ 2070565 h 4687251"/>
              <a:gd name="connsiteX13111" fmla="*/ 5520133 w 8079933"/>
              <a:gd name="connsiteY13111" fmla="*/ 2073056 h 4687251"/>
              <a:gd name="connsiteX13112" fmla="*/ 5517420 w 8079933"/>
              <a:gd name="connsiteY13112" fmla="*/ 2073597 h 4687251"/>
              <a:gd name="connsiteX13113" fmla="*/ 5514815 w 8079933"/>
              <a:gd name="connsiteY13113" fmla="*/ 2077387 h 4687251"/>
              <a:gd name="connsiteX13114" fmla="*/ 5509607 w 8079933"/>
              <a:gd name="connsiteY13114" fmla="*/ 2080310 h 4687251"/>
              <a:gd name="connsiteX13115" fmla="*/ 5501685 w 8079933"/>
              <a:gd name="connsiteY13115" fmla="*/ 2082042 h 4687251"/>
              <a:gd name="connsiteX13116" fmla="*/ 5498104 w 8079933"/>
              <a:gd name="connsiteY13116" fmla="*/ 2080526 h 4687251"/>
              <a:gd name="connsiteX13117" fmla="*/ 5492895 w 8079933"/>
              <a:gd name="connsiteY13117" fmla="*/ 2073814 h 4687251"/>
              <a:gd name="connsiteX13118" fmla="*/ 5494957 w 8079933"/>
              <a:gd name="connsiteY13118" fmla="*/ 2076412 h 4687251"/>
              <a:gd name="connsiteX13119" fmla="*/ 5494957 w 8079933"/>
              <a:gd name="connsiteY13119" fmla="*/ 2076411 h 4687251"/>
              <a:gd name="connsiteX13120" fmla="*/ 5492896 w 8079933"/>
              <a:gd name="connsiteY13120" fmla="*/ 2073814 h 4687251"/>
              <a:gd name="connsiteX13121" fmla="*/ 5492895 w 8079933"/>
              <a:gd name="connsiteY13121" fmla="*/ 2073814 h 4687251"/>
              <a:gd name="connsiteX13122" fmla="*/ 5498104 w 8079933"/>
              <a:gd name="connsiteY13122" fmla="*/ 2080527 h 4687251"/>
              <a:gd name="connsiteX13123" fmla="*/ 5501685 w 8079933"/>
              <a:gd name="connsiteY13123" fmla="*/ 2082043 h 4687251"/>
              <a:gd name="connsiteX13124" fmla="*/ 5509607 w 8079933"/>
              <a:gd name="connsiteY13124" fmla="*/ 2080311 h 4687251"/>
              <a:gd name="connsiteX13125" fmla="*/ 5514816 w 8079933"/>
              <a:gd name="connsiteY13125" fmla="*/ 2077387 h 4687251"/>
              <a:gd name="connsiteX13126" fmla="*/ 5517420 w 8079933"/>
              <a:gd name="connsiteY13126" fmla="*/ 2073598 h 4687251"/>
              <a:gd name="connsiteX13127" fmla="*/ 5520133 w 8079933"/>
              <a:gd name="connsiteY13127" fmla="*/ 2073056 h 4687251"/>
              <a:gd name="connsiteX13128" fmla="*/ 5522846 w 8079933"/>
              <a:gd name="connsiteY13128" fmla="*/ 2070566 h 4687251"/>
              <a:gd name="connsiteX13129" fmla="*/ 5525342 w 8079933"/>
              <a:gd name="connsiteY13129" fmla="*/ 2072191 h 4687251"/>
              <a:gd name="connsiteX13130" fmla="*/ 5527946 w 8079933"/>
              <a:gd name="connsiteY13130" fmla="*/ 2075655 h 4687251"/>
              <a:gd name="connsiteX13131" fmla="*/ 5536194 w 8079933"/>
              <a:gd name="connsiteY13131" fmla="*/ 2076413 h 4687251"/>
              <a:gd name="connsiteX13132" fmla="*/ 5535977 w 8079933"/>
              <a:gd name="connsiteY13132" fmla="*/ 2072623 h 4687251"/>
              <a:gd name="connsiteX13133" fmla="*/ 5535423 w 8079933"/>
              <a:gd name="connsiteY13133" fmla="*/ 2072044 h 4687251"/>
              <a:gd name="connsiteX13134" fmla="*/ 5535976 w 8079933"/>
              <a:gd name="connsiteY13134" fmla="*/ 2072623 h 4687251"/>
              <a:gd name="connsiteX13135" fmla="*/ 5536193 w 8079933"/>
              <a:gd name="connsiteY13135" fmla="*/ 2076412 h 4687251"/>
              <a:gd name="connsiteX13136" fmla="*/ 5527946 w 8079933"/>
              <a:gd name="connsiteY13136" fmla="*/ 2075655 h 4687251"/>
              <a:gd name="connsiteX13137" fmla="*/ 5525342 w 8079933"/>
              <a:gd name="connsiteY13137" fmla="*/ 2072190 h 4687251"/>
              <a:gd name="connsiteX13138" fmla="*/ 5660120 w 8079933"/>
              <a:gd name="connsiteY13138" fmla="*/ 2070349 h 4687251"/>
              <a:gd name="connsiteX13139" fmla="*/ 5658073 w 8079933"/>
              <a:gd name="connsiteY13139" fmla="*/ 2070876 h 4687251"/>
              <a:gd name="connsiteX13140" fmla="*/ 5660121 w 8079933"/>
              <a:gd name="connsiteY13140" fmla="*/ 2070350 h 4687251"/>
              <a:gd name="connsiteX13141" fmla="*/ 5473472 w 8079933"/>
              <a:gd name="connsiteY13141" fmla="*/ 2070133 h 4687251"/>
              <a:gd name="connsiteX13142" fmla="*/ 5473431 w 8079933"/>
              <a:gd name="connsiteY13142" fmla="*/ 2070144 h 4687251"/>
              <a:gd name="connsiteX13143" fmla="*/ 5473471 w 8079933"/>
              <a:gd name="connsiteY13143" fmla="*/ 2070133 h 4687251"/>
              <a:gd name="connsiteX13144" fmla="*/ 5478680 w 8079933"/>
              <a:gd name="connsiteY13144" fmla="*/ 2072623 h 4687251"/>
              <a:gd name="connsiteX13145" fmla="*/ 5480561 w 8079933"/>
              <a:gd name="connsiteY13145" fmla="*/ 2075438 h 4687251"/>
              <a:gd name="connsiteX13146" fmla="*/ 5478680 w 8079933"/>
              <a:gd name="connsiteY13146" fmla="*/ 2072623 h 4687251"/>
              <a:gd name="connsiteX13147" fmla="*/ 5675854 w 8079933"/>
              <a:gd name="connsiteY13147" fmla="*/ 2068617 h 4687251"/>
              <a:gd name="connsiteX13148" fmla="*/ 5673684 w 8079933"/>
              <a:gd name="connsiteY13148" fmla="*/ 2070998 h 4687251"/>
              <a:gd name="connsiteX13149" fmla="*/ 5670971 w 8079933"/>
              <a:gd name="connsiteY13149" fmla="*/ 2072948 h 4687251"/>
              <a:gd name="connsiteX13150" fmla="*/ 5670972 w 8079933"/>
              <a:gd name="connsiteY13150" fmla="*/ 2072948 h 4687251"/>
              <a:gd name="connsiteX13151" fmla="*/ 5673685 w 8079933"/>
              <a:gd name="connsiteY13151" fmla="*/ 2070999 h 4687251"/>
              <a:gd name="connsiteX13152" fmla="*/ 5675855 w 8079933"/>
              <a:gd name="connsiteY13152" fmla="*/ 2068617 h 4687251"/>
              <a:gd name="connsiteX13153" fmla="*/ 5678893 w 8079933"/>
              <a:gd name="connsiteY13153" fmla="*/ 2068833 h 4687251"/>
              <a:gd name="connsiteX13154" fmla="*/ 5678893 w 8079933"/>
              <a:gd name="connsiteY13154" fmla="*/ 2068833 h 4687251"/>
              <a:gd name="connsiteX13155" fmla="*/ 5534132 w 8079933"/>
              <a:gd name="connsiteY13155" fmla="*/ 2067101 h 4687251"/>
              <a:gd name="connsiteX13156" fmla="*/ 5533806 w 8079933"/>
              <a:gd name="connsiteY13156" fmla="*/ 2070349 h 4687251"/>
              <a:gd name="connsiteX13157" fmla="*/ 5533806 w 8079933"/>
              <a:gd name="connsiteY13157" fmla="*/ 2070349 h 4687251"/>
              <a:gd name="connsiteX13158" fmla="*/ 5265010 w 8079933"/>
              <a:gd name="connsiteY13158" fmla="*/ 2066235 h 4687251"/>
              <a:gd name="connsiteX13159" fmla="*/ 5278900 w 8079933"/>
              <a:gd name="connsiteY13159" fmla="*/ 2075006 h 4687251"/>
              <a:gd name="connsiteX13160" fmla="*/ 5278901 w 8079933"/>
              <a:gd name="connsiteY13160" fmla="*/ 2075006 h 4687251"/>
              <a:gd name="connsiteX13161" fmla="*/ 5265011 w 8079933"/>
              <a:gd name="connsiteY13161" fmla="*/ 2066236 h 4687251"/>
              <a:gd name="connsiteX13162" fmla="*/ 5579600 w 8079933"/>
              <a:gd name="connsiteY13162" fmla="*/ 2065694 h 4687251"/>
              <a:gd name="connsiteX13163" fmla="*/ 5580251 w 8079933"/>
              <a:gd name="connsiteY13163" fmla="*/ 2070566 h 4687251"/>
              <a:gd name="connsiteX13164" fmla="*/ 5580262 w 8079933"/>
              <a:gd name="connsiteY13164" fmla="*/ 2070890 h 4687251"/>
              <a:gd name="connsiteX13165" fmla="*/ 5580251 w 8079933"/>
              <a:gd name="connsiteY13165" fmla="*/ 2070565 h 4687251"/>
              <a:gd name="connsiteX13166" fmla="*/ 4404472 w 8079933"/>
              <a:gd name="connsiteY13166" fmla="*/ 2065369 h 4687251"/>
              <a:gd name="connsiteX13167" fmla="*/ 4407077 w 8079933"/>
              <a:gd name="connsiteY13167" fmla="*/ 2067643 h 4687251"/>
              <a:gd name="connsiteX13168" fmla="*/ 4408596 w 8079933"/>
              <a:gd name="connsiteY13168" fmla="*/ 2070999 h 4687251"/>
              <a:gd name="connsiteX13169" fmla="*/ 4407945 w 8079933"/>
              <a:gd name="connsiteY13169" fmla="*/ 2072948 h 4687251"/>
              <a:gd name="connsiteX13170" fmla="*/ 4410007 w 8079933"/>
              <a:gd name="connsiteY13170" fmla="*/ 2075114 h 4687251"/>
              <a:gd name="connsiteX13171" fmla="*/ 4410658 w 8079933"/>
              <a:gd name="connsiteY13171" fmla="*/ 2077387 h 4687251"/>
              <a:gd name="connsiteX13172" fmla="*/ 4411634 w 8079933"/>
              <a:gd name="connsiteY13172" fmla="*/ 2078687 h 4687251"/>
              <a:gd name="connsiteX13173" fmla="*/ 4410115 w 8079933"/>
              <a:gd name="connsiteY13173" fmla="*/ 2080961 h 4687251"/>
              <a:gd name="connsiteX13174" fmla="*/ 4407294 w 8079933"/>
              <a:gd name="connsiteY13174" fmla="*/ 2079445 h 4687251"/>
              <a:gd name="connsiteX13175" fmla="*/ 4404038 w 8079933"/>
              <a:gd name="connsiteY13175" fmla="*/ 2079012 h 4687251"/>
              <a:gd name="connsiteX13176" fmla="*/ 4404038 w 8079933"/>
              <a:gd name="connsiteY13176" fmla="*/ 2076305 h 4687251"/>
              <a:gd name="connsiteX13177" fmla="*/ 4402844 w 8079933"/>
              <a:gd name="connsiteY13177" fmla="*/ 2075114 h 4687251"/>
              <a:gd name="connsiteX13178" fmla="*/ 4402844 w 8079933"/>
              <a:gd name="connsiteY13178" fmla="*/ 2077496 h 4687251"/>
              <a:gd name="connsiteX13179" fmla="*/ 4401651 w 8079933"/>
              <a:gd name="connsiteY13179" fmla="*/ 2078795 h 4687251"/>
              <a:gd name="connsiteX13180" fmla="*/ 4399481 w 8079933"/>
              <a:gd name="connsiteY13180" fmla="*/ 2076630 h 4687251"/>
              <a:gd name="connsiteX13181" fmla="*/ 4399481 w 8079933"/>
              <a:gd name="connsiteY13181" fmla="*/ 2071540 h 4687251"/>
              <a:gd name="connsiteX13182" fmla="*/ 4402302 w 8079933"/>
              <a:gd name="connsiteY13182" fmla="*/ 2070783 h 4687251"/>
              <a:gd name="connsiteX13183" fmla="*/ 4404364 w 8079933"/>
              <a:gd name="connsiteY13183" fmla="*/ 2071108 h 4687251"/>
              <a:gd name="connsiteX13184" fmla="*/ 5658199 w 8079933"/>
              <a:gd name="connsiteY13184" fmla="*/ 2065091 h 4687251"/>
              <a:gd name="connsiteX13185" fmla="*/ 5658274 w 8079933"/>
              <a:gd name="connsiteY13185" fmla="*/ 2065369 h 4687251"/>
              <a:gd name="connsiteX13186" fmla="*/ 5658274 w 8079933"/>
              <a:gd name="connsiteY13186" fmla="*/ 2065369 h 4687251"/>
              <a:gd name="connsiteX13187" fmla="*/ 3775765 w 8079933"/>
              <a:gd name="connsiteY13187" fmla="*/ 2062950 h 4687251"/>
              <a:gd name="connsiteX13188" fmla="*/ 3775728 w 8079933"/>
              <a:gd name="connsiteY13188" fmla="*/ 2062987 h 4687251"/>
              <a:gd name="connsiteX13189" fmla="*/ 3779093 w 8079933"/>
              <a:gd name="connsiteY13189" fmla="*/ 2069916 h 4687251"/>
              <a:gd name="connsiteX13190" fmla="*/ 3784190 w 8079933"/>
              <a:gd name="connsiteY13190" fmla="*/ 2070234 h 4687251"/>
              <a:gd name="connsiteX13191" fmla="*/ 3784300 w 8079933"/>
              <a:gd name="connsiteY13191" fmla="*/ 2069482 h 4687251"/>
              <a:gd name="connsiteX13192" fmla="*/ 3779091 w 8079933"/>
              <a:gd name="connsiteY13192" fmla="*/ 2069482 h 4687251"/>
              <a:gd name="connsiteX13193" fmla="*/ 5626805 w 8079933"/>
              <a:gd name="connsiteY13193" fmla="*/ 2062771 h 4687251"/>
              <a:gd name="connsiteX13194" fmla="*/ 5615953 w 8079933"/>
              <a:gd name="connsiteY13194" fmla="*/ 2069700 h 4687251"/>
              <a:gd name="connsiteX13195" fmla="*/ 5612697 w 8079933"/>
              <a:gd name="connsiteY13195" fmla="*/ 2072514 h 4687251"/>
              <a:gd name="connsiteX13196" fmla="*/ 5611721 w 8079933"/>
              <a:gd name="connsiteY13196" fmla="*/ 2076845 h 4687251"/>
              <a:gd name="connsiteX13197" fmla="*/ 5607814 w 8079933"/>
              <a:gd name="connsiteY13197" fmla="*/ 2080310 h 4687251"/>
              <a:gd name="connsiteX13198" fmla="*/ 5599567 w 8079933"/>
              <a:gd name="connsiteY13198" fmla="*/ 2084100 h 4687251"/>
              <a:gd name="connsiteX13199" fmla="*/ 5598699 w 8079933"/>
              <a:gd name="connsiteY13199" fmla="*/ 2086481 h 4687251"/>
              <a:gd name="connsiteX13200" fmla="*/ 5594575 w 8079933"/>
              <a:gd name="connsiteY13200" fmla="*/ 2089622 h 4687251"/>
              <a:gd name="connsiteX13201" fmla="*/ 5598699 w 8079933"/>
              <a:gd name="connsiteY13201" fmla="*/ 2086482 h 4687251"/>
              <a:gd name="connsiteX13202" fmla="*/ 5599567 w 8079933"/>
              <a:gd name="connsiteY13202" fmla="*/ 2084100 h 4687251"/>
              <a:gd name="connsiteX13203" fmla="*/ 5607814 w 8079933"/>
              <a:gd name="connsiteY13203" fmla="*/ 2080311 h 4687251"/>
              <a:gd name="connsiteX13204" fmla="*/ 5611721 w 8079933"/>
              <a:gd name="connsiteY13204" fmla="*/ 2076846 h 4687251"/>
              <a:gd name="connsiteX13205" fmla="*/ 5612697 w 8079933"/>
              <a:gd name="connsiteY13205" fmla="*/ 2072515 h 4687251"/>
              <a:gd name="connsiteX13206" fmla="*/ 5615954 w 8079933"/>
              <a:gd name="connsiteY13206" fmla="*/ 2069700 h 4687251"/>
              <a:gd name="connsiteX13207" fmla="*/ 5646989 w 8079933"/>
              <a:gd name="connsiteY13207" fmla="*/ 2061363 h 4687251"/>
              <a:gd name="connsiteX13208" fmla="*/ 5643842 w 8079933"/>
              <a:gd name="connsiteY13208" fmla="*/ 2065152 h 4687251"/>
              <a:gd name="connsiteX13209" fmla="*/ 5634944 w 8079933"/>
              <a:gd name="connsiteY13209" fmla="*/ 2066235 h 4687251"/>
              <a:gd name="connsiteX13210" fmla="*/ 5634944 w 8079933"/>
              <a:gd name="connsiteY13210" fmla="*/ 2066236 h 4687251"/>
              <a:gd name="connsiteX13211" fmla="*/ 5643842 w 8079933"/>
              <a:gd name="connsiteY13211" fmla="*/ 2065153 h 4687251"/>
              <a:gd name="connsiteX13212" fmla="*/ 4528616 w 8079933"/>
              <a:gd name="connsiteY13212" fmla="*/ 2061363 h 4687251"/>
              <a:gd name="connsiteX13213" fmla="*/ 4531546 w 8079933"/>
              <a:gd name="connsiteY13213" fmla="*/ 2062554 h 4687251"/>
              <a:gd name="connsiteX13214" fmla="*/ 4532739 w 8079933"/>
              <a:gd name="connsiteY13214" fmla="*/ 2063637 h 4687251"/>
              <a:gd name="connsiteX13215" fmla="*/ 4533716 w 8079933"/>
              <a:gd name="connsiteY13215" fmla="*/ 2069484 h 4687251"/>
              <a:gd name="connsiteX13216" fmla="*/ 4532848 w 8079933"/>
              <a:gd name="connsiteY13216" fmla="*/ 2073382 h 4687251"/>
              <a:gd name="connsiteX13217" fmla="*/ 4529593 w 8079933"/>
              <a:gd name="connsiteY13217" fmla="*/ 2074898 h 4687251"/>
              <a:gd name="connsiteX13218" fmla="*/ 4526988 w 8079933"/>
              <a:gd name="connsiteY13218" fmla="*/ 2072949 h 4687251"/>
              <a:gd name="connsiteX13219" fmla="*/ 4526988 w 8079933"/>
              <a:gd name="connsiteY13219" fmla="*/ 2071000 h 4687251"/>
              <a:gd name="connsiteX13220" fmla="*/ 4529158 w 8079933"/>
              <a:gd name="connsiteY13220" fmla="*/ 2070241 h 4687251"/>
              <a:gd name="connsiteX13221" fmla="*/ 4528941 w 8079933"/>
              <a:gd name="connsiteY13221" fmla="*/ 2066669 h 4687251"/>
              <a:gd name="connsiteX13222" fmla="*/ 4525903 w 8079933"/>
              <a:gd name="connsiteY13222" fmla="*/ 2064287 h 4687251"/>
              <a:gd name="connsiteX13223" fmla="*/ 4525903 w 8079933"/>
              <a:gd name="connsiteY13223" fmla="*/ 2062771 h 4687251"/>
              <a:gd name="connsiteX13224" fmla="*/ 5465333 w 8079933"/>
              <a:gd name="connsiteY13224" fmla="*/ 2061255 h 4687251"/>
              <a:gd name="connsiteX13225" fmla="*/ 5465333 w 8079933"/>
              <a:gd name="connsiteY13225" fmla="*/ 2061255 h 4687251"/>
              <a:gd name="connsiteX13226" fmla="*/ 5465666 w 8079933"/>
              <a:gd name="connsiteY13226" fmla="*/ 2064000 h 4687251"/>
              <a:gd name="connsiteX13227" fmla="*/ 5223449 w 8079933"/>
              <a:gd name="connsiteY13227" fmla="*/ 2060497 h 4687251"/>
              <a:gd name="connsiteX13228" fmla="*/ 5223448 w 8079933"/>
              <a:gd name="connsiteY13228" fmla="*/ 2060497 h 4687251"/>
              <a:gd name="connsiteX13229" fmla="*/ 5232455 w 8079933"/>
              <a:gd name="connsiteY13229" fmla="*/ 2062447 h 4687251"/>
              <a:gd name="connsiteX13230" fmla="*/ 5232455 w 8079933"/>
              <a:gd name="connsiteY13230" fmla="*/ 2062446 h 4687251"/>
              <a:gd name="connsiteX13231" fmla="*/ 5552688 w 8079933"/>
              <a:gd name="connsiteY13231" fmla="*/ 2060064 h 4687251"/>
              <a:gd name="connsiteX13232" fmla="*/ 5549432 w 8079933"/>
              <a:gd name="connsiteY13232" fmla="*/ 2065152 h 4687251"/>
              <a:gd name="connsiteX13233" fmla="*/ 5544333 w 8079933"/>
              <a:gd name="connsiteY13233" fmla="*/ 2065694 h 4687251"/>
              <a:gd name="connsiteX13234" fmla="*/ 5549433 w 8079933"/>
              <a:gd name="connsiteY13234" fmla="*/ 2065153 h 4687251"/>
              <a:gd name="connsiteX13235" fmla="*/ 5552688 w 8079933"/>
              <a:gd name="connsiteY13235" fmla="*/ 2060064 h 4687251"/>
              <a:gd name="connsiteX13236" fmla="*/ 3291201 w 8079933"/>
              <a:gd name="connsiteY13236" fmla="*/ 2057899 h 4687251"/>
              <a:gd name="connsiteX13237" fmla="*/ 3294999 w 8079933"/>
              <a:gd name="connsiteY13237" fmla="*/ 2058440 h 4687251"/>
              <a:gd name="connsiteX13238" fmla="*/ 3299340 w 8079933"/>
              <a:gd name="connsiteY13238" fmla="*/ 2062229 h 4687251"/>
              <a:gd name="connsiteX13239" fmla="*/ 3296519 w 8079933"/>
              <a:gd name="connsiteY13239" fmla="*/ 2062879 h 4687251"/>
              <a:gd name="connsiteX13240" fmla="*/ 3291634 w 8079933"/>
              <a:gd name="connsiteY13240" fmla="*/ 2062554 h 4687251"/>
              <a:gd name="connsiteX13241" fmla="*/ 4407512 w 8079933"/>
              <a:gd name="connsiteY13241" fmla="*/ 2057682 h 4687251"/>
              <a:gd name="connsiteX13242" fmla="*/ 4408163 w 8079933"/>
              <a:gd name="connsiteY13242" fmla="*/ 2061688 h 4687251"/>
              <a:gd name="connsiteX13243" fmla="*/ 4406752 w 8079933"/>
              <a:gd name="connsiteY13243" fmla="*/ 2063529 h 4687251"/>
              <a:gd name="connsiteX13244" fmla="*/ 4405233 w 8079933"/>
              <a:gd name="connsiteY13244" fmla="*/ 2063854 h 4687251"/>
              <a:gd name="connsiteX13245" fmla="*/ 4404039 w 8079933"/>
              <a:gd name="connsiteY13245" fmla="*/ 2063421 h 4687251"/>
              <a:gd name="connsiteX13246" fmla="*/ 4403714 w 8079933"/>
              <a:gd name="connsiteY13246" fmla="*/ 2061796 h 4687251"/>
              <a:gd name="connsiteX13247" fmla="*/ 4405884 w 8079933"/>
              <a:gd name="connsiteY13247" fmla="*/ 2057898 h 4687251"/>
              <a:gd name="connsiteX13248" fmla="*/ 5248950 w 8079933"/>
              <a:gd name="connsiteY13248" fmla="*/ 2057249 h 4687251"/>
              <a:gd name="connsiteX13249" fmla="*/ 5257522 w 8079933"/>
              <a:gd name="connsiteY13249" fmla="*/ 2064178 h 4687251"/>
              <a:gd name="connsiteX13250" fmla="*/ 5264960 w 8079933"/>
              <a:gd name="connsiteY13250" fmla="*/ 2066222 h 4687251"/>
              <a:gd name="connsiteX13251" fmla="*/ 5257523 w 8079933"/>
              <a:gd name="connsiteY13251" fmla="*/ 2064178 h 4687251"/>
              <a:gd name="connsiteX13252" fmla="*/ 4944127 w 8079933"/>
              <a:gd name="connsiteY13252" fmla="*/ 2056817 h 4687251"/>
              <a:gd name="connsiteX13253" fmla="*/ 4944127 w 8079933"/>
              <a:gd name="connsiteY13253" fmla="*/ 2056817 h 4687251"/>
              <a:gd name="connsiteX13254" fmla="*/ 4949660 w 8079933"/>
              <a:gd name="connsiteY13254" fmla="*/ 2057466 h 4687251"/>
              <a:gd name="connsiteX13255" fmla="*/ 4949660 w 8079933"/>
              <a:gd name="connsiteY13255" fmla="*/ 2057466 h 4687251"/>
              <a:gd name="connsiteX13256" fmla="*/ 5238967 w 8079933"/>
              <a:gd name="connsiteY13256" fmla="*/ 2055517 h 4687251"/>
              <a:gd name="connsiteX13257" fmla="*/ 5238966 w 8079933"/>
              <a:gd name="connsiteY13257" fmla="*/ 2055517 h 4687251"/>
              <a:gd name="connsiteX13258" fmla="*/ 5243632 w 8079933"/>
              <a:gd name="connsiteY13258" fmla="*/ 2057466 h 4687251"/>
              <a:gd name="connsiteX13259" fmla="*/ 5243633 w 8079933"/>
              <a:gd name="connsiteY13259" fmla="*/ 2057466 h 4687251"/>
              <a:gd name="connsiteX13260" fmla="*/ 5574173 w 8079933"/>
              <a:gd name="connsiteY13260" fmla="*/ 2055063 h 4687251"/>
              <a:gd name="connsiteX13261" fmla="*/ 5574283 w 8079933"/>
              <a:gd name="connsiteY13261" fmla="*/ 2055408 h 4687251"/>
              <a:gd name="connsiteX13262" fmla="*/ 5578189 w 8079933"/>
              <a:gd name="connsiteY13262" fmla="*/ 2055192 h 4687251"/>
              <a:gd name="connsiteX13263" fmla="*/ 5579926 w 8079933"/>
              <a:gd name="connsiteY13263" fmla="*/ 2059739 h 4687251"/>
              <a:gd name="connsiteX13264" fmla="*/ 5579926 w 8079933"/>
              <a:gd name="connsiteY13264" fmla="*/ 2059739 h 4687251"/>
              <a:gd name="connsiteX13265" fmla="*/ 5578189 w 8079933"/>
              <a:gd name="connsiteY13265" fmla="*/ 2055191 h 4687251"/>
              <a:gd name="connsiteX13266" fmla="*/ 5574283 w 8079933"/>
              <a:gd name="connsiteY13266" fmla="*/ 2055408 h 4687251"/>
              <a:gd name="connsiteX13267" fmla="*/ 3299774 w 8079933"/>
              <a:gd name="connsiteY13267" fmla="*/ 2053677 h 4687251"/>
              <a:gd name="connsiteX13268" fmla="*/ 3302703 w 8079933"/>
              <a:gd name="connsiteY13268" fmla="*/ 2054110 h 4687251"/>
              <a:gd name="connsiteX13269" fmla="*/ 3304114 w 8079933"/>
              <a:gd name="connsiteY13269" fmla="*/ 2056710 h 4687251"/>
              <a:gd name="connsiteX13270" fmla="*/ 3321476 w 8079933"/>
              <a:gd name="connsiteY13270" fmla="*/ 2052810 h 4687251"/>
              <a:gd name="connsiteX13271" fmla="*/ 3323755 w 8079933"/>
              <a:gd name="connsiteY13271" fmla="*/ 2054218 h 4687251"/>
              <a:gd name="connsiteX13272" fmla="*/ 3323538 w 8079933"/>
              <a:gd name="connsiteY13272" fmla="*/ 2056058 h 4687251"/>
              <a:gd name="connsiteX13273" fmla="*/ 3320283 w 8079933"/>
              <a:gd name="connsiteY13273" fmla="*/ 2053676 h 4687251"/>
              <a:gd name="connsiteX13274" fmla="*/ 4495192 w 8079933"/>
              <a:gd name="connsiteY13274" fmla="*/ 2051186 h 4687251"/>
              <a:gd name="connsiteX13275" fmla="*/ 4497146 w 8079933"/>
              <a:gd name="connsiteY13275" fmla="*/ 2053351 h 4687251"/>
              <a:gd name="connsiteX13276" fmla="*/ 4499533 w 8079933"/>
              <a:gd name="connsiteY13276" fmla="*/ 2054109 h 4687251"/>
              <a:gd name="connsiteX13277" fmla="*/ 4499967 w 8079933"/>
              <a:gd name="connsiteY13277" fmla="*/ 2058115 h 4687251"/>
              <a:gd name="connsiteX13278" fmla="*/ 4498448 w 8079933"/>
              <a:gd name="connsiteY13278" fmla="*/ 2058765 h 4687251"/>
              <a:gd name="connsiteX13279" fmla="*/ 4497146 w 8079933"/>
              <a:gd name="connsiteY13279" fmla="*/ 2056057 h 4687251"/>
              <a:gd name="connsiteX13280" fmla="*/ 4495951 w 8079933"/>
              <a:gd name="connsiteY13280" fmla="*/ 2055733 h 4687251"/>
              <a:gd name="connsiteX13281" fmla="*/ 4493456 w 8079933"/>
              <a:gd name="connsiteY13281" fmla="*/ 2051727 h 4687251"/>
              <a:gd name="connsiteX13282" fmla="*/ 4465135 w 8079933"/>
              <a:gd name="connsiteY13282" fmla="*/ 2050970 h 4687251"/>
              <a:gd name="connsiteX13283" fmla="*/ 4468716 w 8079933"/>
              <a:gd name="connsiteY13283" fmla="*/ 2054976 h 4687251"/>
              <a:gd name="connsiteX13284" fmla="*/ 4472948 w 8079933"/>
              <a:gd name="connsiteY13284" fmla="*/ 2056492 h 4687251"/>
              <a:gd name="connsiteX13285" fmla="*/ 4476962 w 8079933"/>
              <a:gd name="connsiteY13285" fmla="*/ 2058657 h 4687251"/>
              <a:gd name="connsiteX13286" fmla="*/ 4477505 w 8079933"/>
              <a:gd name="connsiteY13286" fmla="*/ 2059631 h 4687251"/>
              <a:gd name="connsiteX13287" fmla="*/ 4480544 w 8079933"/>
              <a:gd name="connsiteY13287" fmla="*/ 2059740 h 4687251"/>
              <a:gd name="connsiteX13288" fmla="*/ 4481087 w 8079933"/>
              <a:gd name="connsiteY13288" fmla="*/ 2058982 h 4687251"/>
              <a:gd name="connsiteX13289" fmla="*/ 4486729 w 8079933"/>
              <a:gd name="connsiteY13289" fmla="*/ 2064721 h 4687251"/>
              <a:gd name="connsiteX13290" fmla="*/ 4488791 w 8079933"/>
              <a:gd name="connsiteY13290" fmla="*/ 2068294 h 4687251"/>
              <a:gd name="connsiteX13291" fmla="*/ 4488900 w 8079933"/>
              <a:gd name="connsiteY13291" fmla="*/ 2070243 h 4687251"/>
              <a:gd name="connsiteX13292" fmla="*/ 4489551 w 8079933"/>
              <a:gd name="connsiteY13292" fmla="*/ 2072733 h 4687251"/>
              <a:gd name="connsiteX13293" fmla="*/ 4489116 w 8079933"/>
              <a:gd name="connsiteY13293" fmla="*/ 2076197 h 4687251"/>
              <a:gd name="connsiteX13294" fmla="*/ 4492372 w 8079933"/>
              <a:gd name="connsiteY13294" fmla="*/ 2079337 h 4687251"/>
              <a:gd name="connsiteX13295" fmla="*/ 4493674 w 8079933"/>
              <a:gd name="connsiteY13295" fmla="*/ 2078363 h 4687251"/>
              <a:gd name="connsiteX13296" fmla="*/ 4497906 w 8079933"/>
              <a:gd name="connsiteY13296" fmla="*/ 2078796 h 4687251"/>
              <a:gd name="connsiteX13297" fmla="*/ 4496170 w 8079933"/>
              <a:gd name="connsiteY13297" fmla="*/ 2083560 h 4687251"/>
              <a:gd name="connsiteX13298" fmla="*/ 4494000 w 8079933"/>
              <a:gd name="connsiteY13298" fmla="*/ 2082369 h 4687251"/>
              <a:gd name="connsiteX13299" fmla="*/ 4491938 w 8079933"/>
              <a:gd name="connsiteY13299" fmla="*/ 2083452 h 4687251"/>
              <a:gd name="connsiteX13300" fmla="*/ 4488465 w 8079933"/>
              <a:gd name="connsiteY13300" fmla="*/ 2081178 h 4687251"/>
              <a:gd name="connsiteX13301" fmla="*/ 4487163 w 8079933"/>
              <a:gd name="connsiteY13301" fmla="*/ 2078796 h 4687251"/>
              <a:gd name="connsiteX13302" fmla="*/ 4487598 w 8079933"/>
              <a:gd name="connsiteY13302" fmla="*/ 2076197 h 4687251"/>
              <a:gd name="connsiteX13303" fmla="*/ 4485644 w 8079933"/>
              <a:gd name="connsiteY13303" fmla="*/ 2074357 h 4687251"/>
              <a:gd name="connsiteX13304" fmla="*/ 4482605 w 8079933"/>
              <a:gd name="connsiteY13304" fmla="*/ 2069809 h 4687251"/>
              <a:gd name="connsiteX13305" fmla="*/ 4481412 w 8079933"/>
              <a:gd name="connsiteY13305" fmla="*/ 2067752 h 4687251"/>
              <a:gd name="connsiteX13306" fmla="*/ 4478374 w 8079933"/>
              <a:gd name="connsiteY13306" fmla="*/ 2068077 h 4687251"/>
              <a:gd name="connsiteX13307" fmla="*/ 4474033 w 8079933"/>
              <a:gd name="connsiteY13307" fmla="*/ 2065695 h 4687251"/>
              <a:gd name="connsiteX13308" fmla="*/ 4472079 w 8079933"/>
              <a:gd name="connsiteY13308" fmla="*/ 2062772 h 4687251"/>
              <a:gd name="connsiteX13309" fmla="*/ 4469150 w 8079933"/>
              <a:gd name="connsiteY13309" fmla="*/ 2062122 h 4687251"/>
              <a:gd name="connsiteX13310" fmla="*/ 4467305 w 8079933"/>
              <a:gd name="connsiteY13310" fmla="*/ 2059523 h 4687251"/>
              <a:gd name="connsiteX13311" fmla="*/ 4465135 w 8079933"/>
              <a:gd name="connsiteY13311" fmla="*/ 2058549 h 4687251"/>
              <a:gd name="connsiteX13312" fmla="*/ 4464158 w 8079933"/>
              <a:gd name="connsiteY13312" fmla="*/ 2057033 h 4687251"/>
              <a:gd name="connsiteX13313" fmla="*/ 4461879 w 8079933"/>
              <a:gd name="connsiteY13313" fmla="*/ 2055084 h 4687251"/>
              <a:gd name="connsiteX13314" fmla="*/ 4457756 w 8079933"/>
              <a:gd name="connsiteY13314" fmla="*/ 2055301 h 4687251"/>
              <a:gd name="connsiteX13315" fmla="*/ 4455694 w 8079933"/>
              <a:gd name="connsiteY13315" fmla="*/ 2054868 h 4687251"/>
              <a:gd name="connsiteX13316" fmla="*/ 4459057 w 8079933"/>
              <a:gd name="connsiteY13316" fmla="*/ 2051945 h 4687251"/>
              <a:gd name="connsiteX13317" fmla="*/ 3979087 w 8079933"/>
              <a:gd name="connsiteY13317" fmla="*/ 2049129 h 4687251"/>
              <a:gd name="connsiteX13318" fmla="*/ 3980932 w 8079933"/>
              <a:gd name="connsiteY13318" fmla="*/ 2052160 h 4687251"/>
              <a:gd name="connsiteX13319" fmla="*/ 3978328 w 8079933"/>
              <a:gd name="connsiteY13319" fmla="*/ 2054759 h 4687251"/>
              <a:gd name="connsiteX13320" fmla="*/ 3975614 w 8079933"/>
              <a:gd name="connsiteY13320" fmla="*/ 2058549 h 4687251"/>
              <a:gd name="connsiteX13321" fmla="*/ 3972143 w 8079933"/>
              <a:gd name="connsiteY13321" fmla="*/ 2055300 h 4687251"/>
              <a:gd name="connsiteX13322" fmla="*/ 3972902 w 8079933"/>
              <a:gd name="connsiteY13322" fmla="*/ 2050970 h 4687251"/>
              <a:gd name="connsiteX13323" fmla="*/ 5451551 w 8079933"/>
              <a:gd name="connsiteY13323" fmla="*/ 2047992 h 4687251"/>
              <a:gd name="connsiteX13324" fmla="*/ 5452962 w 8079933"/>
              <a:gd name="connsiteY13324" fmla="*/ 2049562 h 4687251"/>
              <a:gd name="connsiteX13325" fmla="*/ 5456760 w 8079933"/>
              <a:gd name="connsiteY13325" fmla="*/ 2048913 h 4687251"/>
              <a:gd name="connsiteX13326" fmla="*/ 5460820 w 8079933"/>
              <a:gd name="connsiteY13326" fmla="*/ 2051728 h 4687251"/>
              <a:gd name="connsiteX13327" fmla="*/ 5456760 w 8079933"/>
              <a:gd name="connsiteY13327" fmla="*/ 2048912 h 4687251"/>
              <a:gd name="connsiteX13328" fmla="*/ 5452962 w 8079933"/>
              <a:gd name="connsiteY13328" fmla="*/ 2049562 h 4687251"/>
              <a:gd name="connsiteX13329" fmla="*/ 4472187 w 8079933"/>
              <a:gd name="connsiteY13329" fmla="*/ 2045880 h 4687251"/>
              <a:gd name="connsiteX13330" fmla="*/ 4474684 w 8079933"/>
              <a:gd name="connsiteY13330" fmla="*/ 2046746 h 4687251"/>
              <a:gd name="connsiteX13331" fmla="*/ 4475443 w 8079933"/>
              <a:gd name="connsiteY13331" fmla="*/ 2049777 h 4687251"/>
              <a:gd name="connsiteX13332" fmla="*/ 4474684 w 8079933"/>
              <a:gd name="connsiteY13332" fmla="*/ 2051402 h 4687251"/>
              <a:gd name="connsiteX13333" fmla="*/ 4470777 w 8079933"/>
              <a:gd name="connsiteY13333" fmla="*/ 2046313 h 4687251"/>
              <a:gd name="connsiteX13334" fmla="*/ 4468173 w 8079933"/>
              <a:gd name="connsiteY13334" fmla="*/ 2045123 h 4687251"/>
              <a:gd name="connsiteX13335" fmla="*/ 4469149 w 8079933"/>
              <a:gd name="connsiteY13335" fmla="*/ 2046097 h 4687251"/>
              <a:gd name="connsiteX13336" fmla="*/ 4467955 w 8079933"/>
              <a:gd name="connsiteY13336" fmla="*/ 2048480 h 4687251"/>
              <a:gd name="connsiteX13337" fmla="*/ 4466328 w 8079933"/>
              <a:gd name="connsiteY13337" fmla="*/ 2046422 h 4687251"/>
              <a:gd name="connsiteX13338" fmla="*/ 5437335 w 8079933"/>
              <a:gd name="connsiteY13338" fmla="*/ 2044365 h 4687251"/>
              <a:gd name="connsiteX13339" fmla="*/ 5437336 w 8079933"/>
              <a:gd name="connsiteY13339" fmla="*/ 2044365 h 4687251"/>
              <a:gd name="connsiteX13340" fmla="*/ 5444023 w 8079933"/>
              <a:gd name="connsiteY13340" fmla="*/ 2045439 h 4687251"/>
              <a:gd name="connsiteX13341" fmla="*/ 5004678 w 8079933"/>
              <a:gd name="connsiteY13341" fmla="*/ 2044040 h 4687251"/>
              <a:gd name="connsiteX13342" fmla="*/ 5000447 w 8079933"/>
              <a:gd name="connsiteY13342" fmla="*/ 2045988 h 4687251"/>
              <a:gd name="connsiteX13343" fmla="*/ 4997084 w 8079933"/>
              <a:gd name="connsiteY13343" fmla="*/ 2044797 h 4687251"/>
              <a:gd name="connsiteX13344" fmla="*/ 4997082 w 8079933"/>
              <a:gd name="connsiteY13344" fmla="*/ 2044798 h 4687251"/>
              <a:gd name="connsiteX13345" fmla="*/ 4994113 w 8079933"/>
              <a:gd name="connsiteY13345" fmla="*/ 2045354 h 4687251"/>
              <a:gd name="connsiteX13346" fmla="*/ 4997082 w 8079933"/>
              <a:gd name="connsiteY13346" fmla="*/ 2044798 h 4687251"/>
              <a:gd name="connsiteX13347" fmla="*/ 5000446 w 8079933"/>
              <a:gd name="connsiteY13347" fmla="*/ 2045989 h 4687251"/>
              <a:gd name="connsiteX13348" fmla="*/ 5004678 w 8079933"/>
              <a:gd name="connsiteY13348" fmla="*/ 2044040 h 4687251"/>
              <a:gd name="connsiteX13349" fmla="*/ 4537841 w 8079933"/>
              <a:gd name="connsiteY13349" fmla="*/ 2038951 h 4687251"/>
              <a:gd name="connsiteX13350" fmla="*/ 4538600 w 8079933"/>
              <a:gd name="connsiteY13350" fmla="*/ 2040141 h 4687251"/>
              <a:gd name="connsiteX13351" fmla="*/ 4537623 w 8079933"/>
              <a:gd name="connsiteY13351" fmla="*/ 2042849 h 4687251"/>
              <a:gd name="connsiteX13352" fmla="*/ 4538708 w 8079933"/>
              <a:gd name="connsiteY13352" fmla="*/ 2043065 h 4687251"/>
              <a:gd name="connsiteX13353" fmla="*/ 4539576 w 8079933"/>
              <a:gd name="connsiteY13353" fmla="*/ 2046421 h 4687251"/>
              <a:gd name="connsiteX13354" fmla="*/ 4539468 w 8079933"/>
              <a:gd name="connsiteY13354" fmla="*/ 2051510 h 4687251"/>
              <a:gd name="connsiteX13355" fmla="*/ 4534693 w 8079933"/>
              <a:gd name="connsiteY13355" fmla="*/ 2051835 h 4687251"/>
              <a:gd name="connsiteX13356" fmla="*/ 4531437 w 8079933"/>
              <a:gd name="connsiteY13356" fmla="*/ 2050319 h 4687251"/>
              <a:gd name="connsiteX13357" fmla="*/ 4532740 w 8079933"/>
              <a:gd name="connsiteY13357" fmla="*/ 2048371 h 4687251"/>
              <a:gd name="connsiteX13358" fmla="*/ 4534693 w 8079933"/>
              <a:gd name="connsiteY13358" fmla="*/ 2046746 h 4687251"/>
              <a:gd name="connsiteX13359" fmla="*/ 4535019 w 8079933"/>
              <a:gd name="connsiteY13359" fmla="*/ 2043823 h 4687251"/>
              <a:gd name="connsiteX13360" fmla="*/ 4531546 w 8079933"/>
              <a:gd name="connsiteY13360" fmla="*/ 2043931 h 4687251"/>
              <a:gd name="connsiteX13361" fmla="*/ 4530461 w 8079933"/>
              <a:gd name="connsiteY13361" fmla="*/ 2046638 h 4687251"/>
              <a:gd name="connsiteX13362" fmla="*/ 4529918 w 8079933"/>
              <a:gd name="connsiteY13362" fmla="*/ 2049453 h 4687251"/>
              <a:gd name="connsiteX13363" fmla="*/ 4527748 w 8079933"/>
              <a:gd name="connsiteY13363" fmla="*/ 2049994 h 4687251"/>
              <a:gd name="connsiteX13364" fmla="*/ 4526229 w 8079933"/>
              <a:gd name="connsiteY13364" fmla="*/ 2049886 h 4687251"/>
              <a:gd name="connsiteX13365" fmla="*/ 4522648 w 8079933"/>
              <a:gd name="connsiteY13365" fmla="*/ 2046963 h 4687251"/>
              <a:gd name="connsiteX13366" fmla="*/ 4524818 w 8079933"/>
              <a:gd name="connsiteY13366" fmla="*/ 2043282 h 4687251"/>
              <a:gd name="connsiteX13367" fmla="*/ 4530244 w 8079933"/>
              <a:gd name="connsiteY13367" fmla="*/ 2041333 h 4687251"/>
              <a:gd name="connsiteX13368" fmla="*/ 4532740 w 8079933"/>
              <a:gd name="connsiteY13368" fmla="*/ 2039709 h 4687251"/>
              <a:gd name="connsiteX13369" fmla="*/ 5007175 w 8079933"/>
              <a:gd name="connsiteY13369" fmla="*/ 2038951 h 4687251"/>
              <a:gd name="connsiteX13370" fmla="*/ 5007174 w 8079933"/>
              <a:gd name="connsiteY13370" fmla="*/ 2038952 h 4687251"/>
              <a:gd name="connsiteX13371" fmla="*/ 5009561 w 8079933"/>
              <a:gd name="connsiteY13371" fmla="*/ 2038952 h 4687251"/>
              <a:gd name="connsiteX13372" fmla="*/ 5009562 w 8079933"/>
              <a:gd name="connsiteY13372" fmla="*/ 2038951 h 4687251"/>
              <a:gd name="connsiteX13373" fmla="*/ 4998338 w 8079933"/>
              <a:gd name="connsiteY13373" fmla="*/ 2038499 h 4687251"/>
              <a:gd name="connsiteX13374" fmla="*/ 4997407 w 8079933"/>
              <a:gd name="connsiteY13374" fmla="*/ 2039601 h 4687251"/>
              <a:gd name="connsiteX13375" fmla="*/ 4997407 w 8079933"/>
              <a:gd name="connsiteY13375" fmla="*/ 2044689 h 4687251"/>
              <a:gd name="connsiteX13376" fmla="*/ 4997409 w 8079933"/>
              <a:gd name="connsiteY13376" fmla="*/ 2044688 h 4687251"/>
              <a:gd name="connsiteX13377" fmla="*/ 4997409 w 8079933"/>
              <a:gd name="connsiteY13377" fmla="*/ 2039600 h 4687251"/>
              <a:gd name="connsiteX13378" fmla="*/ 7025693 w 8079933"/>
              <a:gd name="connsiteY13378" fmla="*/ 2038085 h 4687251"/>
              <a:gd name="connsiteX13379" fmla="*/ 7027864 w 8079933"/>
              <a:gd name="connsiteY13379" fmla="*/ 2040359 h 4687251"/>
              <a:gd name="connsiteX13380" fmla="*/ 7026127 w 8079933"/>
              <a:gd name="connsiteY13380" fmla="*/ 2041333 h 4687251"/>
              <a:gd name="connsiteX13381" fmla="*/ 7024825 w 8079933"/>
              <a:gd name="connsiteY13381" fmla="*/ 2040683 h 4687251"/>
              <a:gd name="connsiteX13382" fmla="*/ 5498183 w 8079933"/>
              <a:gd name="connsiteY13382" fmla="*/ 2037773 h 4687251"/>
              <a:gd name="connsiteX13383" fmla="*/ 5498430 w 8079933"/>
              <a:gd name="connsiteY13383" fmla="*/ 2038410 h 4687251"/>
              <a:gd name="connsiteX13384" fmla="*/ 5501620 w 8079933"/>
              <a:gd name="connsiteY13384" fmla="*/ 2039754 h 4687251"/>
              <a:gd name="connsiteX13385" fmla="*/ 5498430 w 8079933"/>
              <a:gd name="connsiteY13385" fmla="*/ 2038410 h 4687251"/>
              <a:gd name="connsiteX13386" fmla="*/ 5168686 w 8079933"/>
              <a:gd name="connsiteY13386" fmla="*/ 2036907 h 4687251"/>
              <a:gd name="connsiteX13387" fmla="*/ 5170167 w 8079933"/>
              <a:gd name="connsiteY13387" fmla="*/ 2041551 h 4687251"/>
              <a:gd name="connsiteX13388" fmla="*/ 5170167 w 8079933"/>
              <a:gd name="connsiteY13388" fmla="*/ 2048371 h 4687251"/>
              <a:gd name="connsiteX13389" fmla="*/ 5170817 w 8079933"/>
              <a:gd name="connsiteY13389" fmla="*/ 2052160 h 4687251"/>
              <a:gd name="connsiteX13390" fmla="*/ 5170817 w 8079933"/>
              <a:gd name="connsiteY13390" fmla="*/ 2064395 h 4687251"/>
              <a:gd name="connsiteX13391" fmla="*/ 5170832 w 8079933"/>
              <a:gd name="connsiteY13391" fmla="*/ 2064427 h 4687251"/>
              <a:gd name="connsiteX13392" fmla="*/ 5171252 w 8079933"/>
              <a:gd name="connsiteY13392" fmla="*/ 2052594 h 4687251"/>
              <a:gd name="connsiteX13393" fmla="*/ 5170492 w 8079933"/>
              <a:gd name="connsiteY13393" fmla="*/ 2048804 h 4687251"/>
              <a:gd name="connsiteX13394" fmla="*/ 5170709 w 8079933"/>
              <a:gd name="connsiteY13394" fmla="*/ 2041983 h 4687251"/>
              <a:gd name="connsiteX13395" fmla="*/ 5169081 w 8079933"/>
              <a:gd name="connsiteY13395" fmla="*/ 2037111 h 4687251"/>
              <a:gd name="connsiteX13396" fmla="*/ 5565699 w 8079933"/>
              <a:gd name="connsiteY13396" fmla="*/ 2036607 h 4687251"/>
              <a:gd name="connsiteX13397" fmla="*/ 5569617 w 8079933"/>
              <a:gd name="connsiteY13397" fmla="*/ 2039385 h 4687251"/>
              <a:gd name="connsiteX13398" fmla="*/ 5573957 w 8079933"/>
              <a:gd name="connsiteY13398" fmla="*/ 2041658 h 4687251"/>
              <a:gd name="connsiteX13399" fmla="*/ 5573957 w 8079933"/>
              <a:gd name="connsiteY13399" fmla="*/ 2041657 h 4687251"/>
              <a:gd name="connsiteX13400" fmla="*/ 5569617 w 8079933"/>
              <a:gd name="connsiteY13400" fmla="*/ 2039384 h 4687251"/>
              <a:gd name="connsiteX13401" fmla="*/ 5559742 w 8079933"/>
              <a:gd name="connsiteY13401" fmla="*/ 2036460 h 4687251"/>
              <a:gd name="connsiteX13402" fmla="*/ 5557354 w 8079933"/>
              <a:gd name="connsiteY13402" fmla="*/ 2040791 h 4687251"/>
              <a:gd name="connsiteX13403" fmla="*/ 5556486 w 8079933"/>
              <a:gd name="connsiteY13403" fmla="*/ 2047612 h 4687251"/>
              <a:gd name="connsiteX13404" fmla="*/ 5553556 w 8079933"/>
              <a:gd name="connsiteY13404" fmla="*/ 2050211 h 4687251"/>
              <a:gd name="connsiteX13405" fmla="*/ 5551494 w 8079933"/>
              <a:gd name="connsiteY13405" fmla="*/ 2053459 h 4687251"/>
              <a:gd name="connsiteX13406" fmla="*/ 5551494 w 8079933"/>
              <a:gd name="connsiteY13406" fmla="*/ 2053459 h 4687251"/>
              <a:gd name="connsiteX13407" fmla="*/ 5553556 w 8079933"/>
              <a:gd name="connsiteY13407" fmla="*/ 2050211 h 4687251"/>
              <a:gd name="connsiteX13408" fmla="*/ 5556486 w 8079933"/>
              <a:gd name="connsiteY13408" fmla="*/ 2047612 h 4687251"/>
              <a:gd name="connsiteX13409" fmla="*/ 5557354 w 8079933"/>
              <a:gd name="connsiteY13409" fmla="*/ 2040792 h 4687251"/>
              <a:gd name="connsiteX13410" fmla="*/ 5559742 w 8079933"/>
              <a:gd name="connsiteY13410" fmla="*/ 2036461 h 4687251"/>
              <a:gd name="connsiteX13411" fmla="*/ 5565493 w 8079933"/>
              <a:gd name="connsiteY13411" fmla="*/ 2036461 h 4687251"/>
              <a:gd name="connsiteX13412" fmla="*/ 5565492 w 8079933"/>
              <a:gd name="connsiteY13412" fmla="*/ 2036460 h 4687251"/>
              <a:gd name="connsiteX13413" fmla="*/ 5035380 w 8079933"/>
              <a:gd name="connsiteY13413" fmla="*/ 2034708 h 4687251"/>
              <a:gd name="connsiteX13414" fmla="*/ 5034954 w 8079933"/>
              <a:gd name="connsiteY13414" fmla="*/ 2035054 h 4687251"/>
              <a:gd name="connsiteX13415" fmla="*/ 5036257 w 8079933"/>
              <a:gd name="connsiteY13415" fmla="*/ 2037436 h 4687251"/>
              <a:gd name="connsiteX13416" fmla="*/ 5041790 w 8079933"/>
              <a:gd name="connsiteY13416" fmla="*/ 2040900 h 4687251"/>
              <a:gd name="connsiteX13417" fmla="*/ 5041792 w 8079933"/>
              <a:gd name="connsiteY13417" fmla="*/ 2040899 h 4687251"/>
              <a:gd name="connsiteX13418" fmla="*/ 5036258 w 8079933"/>
              <a:gd name="connsiteY13418" fmla="*/ 2037435 h 4687251"/>
              <a:gd name="connsiteX13419" fmla="*/ 5034956 w 8079933"/>
              <a:gd name="connsiteY13419" fmla="*/ 2035053 h 4687251"/>
              <a:gd name="connsiteX13420" fmla="*/ 7033181 w 8079933"/>
              <a:gd name="connsiteY13420" fmla="*/ 2032888 h 4687251"/>
              <a:gd name="connsiteX13421" fmla="*/ 7033941 w 8079933"/>
              <a:gd name="connsiteY13421" fmla="*/ 2036678 h 4687251"/>
              <a:gd name="connsiteX13422" fmla="*/ 7031987 w 8079933"/>
              <a:gd name="connsiteY13422" fmla="*/ 2038519 h 4687251"/>
              <a:gd name="connsiteX13423" fmla="*/ 7029925 w 8079933"/>
              <a:gd name="connsiteY13423" fmla="*/ 2038302 h 4687251"/>
              <a:gd name="connsiteX13424" fmla="*/ 7028406 w 8079933"/>
              <a:gd name="connsiteY13424" fmla="*/ 2036461 h 4687251"/>
              <a:gd name="connsiteX13425" fmla="*/ 7030251 w 8079933"/>
              <a:gd name="connsiteY13425" fmla="*/ 2033321 h 4687251"/>
              <a:gd name="connsiteX13426" fmla="*/ 5054597 w 8079933"/>
              <a:gd name="connsiteY13426" fmla="*/ 2032454 h 4687251"/>
              <a:gd name="connsiteX13427" fmla="*/ 5052644 w 8079933"/>
              <a:gd name="connsiteY13427" fmla="*/ 2034186 h 4687251"/>
              <a:gd name="connsiteX13428" fmla="*/ 5051233 w 8079933"/>
              <a:gd name="connsiteY13428" fmla="*/ 2037976 h 4687251"/>
              <a:gd name="connsiteX13429" fmla="*/ 5052969 w 8079933"/>
              <a:gd name="connsiteY13429" fmla="*/ 2044147 h 4687251"/>
              <a:gd name="connsiteX13430" fmla="*/ 5052535 w 8079933"/>
              <a:gd name="connsiteY13430" fmla="*/ 2047937 h 4687251"/>
              <a:gd name="connsiteX13431" fmla="*/ 5053729 w 8079933"/>
              <a:gd name="connsiteY13431" fmla="*/ 2049994 h 4687251"/>
              <a:gd name="connsiteX13432" fmla="*/ 5053512 w 8079933"/>
              <a:gd name="connsiteY13432" fmla="*/ 2059088 h 4687251"/>
              <a:gd name="connsiteX13433" fmla="*/ 5051450 w 8079933"/>
              <a:gd name="connsiteY13433" fmla="*/ 2060388 h 4687251"/>
              <a:gd name="connsiteX13434" fmla="*/ 5047543 w 8079933"/>
              <a:gd name="connsiteY13434" fmla="*/ 2059522 h 4687251"/>
              <a:gd name="connsiteX13435" fmla="*/ 5046024 w 8079933"/>
              <a:gd name="connsiteY13435" fmla="*/ 2056815 h 4687251"/>
              <a:gd name="connsiteX13436" fmla="*/ 5042009 w 8079933"/>
              <a:gd name="connsiteY13436" fmla="*/ 2054866 h 4687251"/>
              <a:gd name="connsiteX13437" fmla="*/ 5034087 w 8079933"/>
              <a:gd name="connsiteY13437" fmla="*/ 2046097 h 4687251"/>
              <a:gd name="connsiteX13438" fmla="*/ 5034086 w 8079933"/>
              <a:gd name="connsiteY13438" fmla="*/ 2046097 h 4687251"/>
              <a:gd name="connsiteX13439" fmla="*/ 5042008 w 8079933"/>
              <a:gd name="connsiteY13439" fmla="*/ 2054868 h 4687251"/>
              <a:gd name="connsiteX13440" fmla="*/ 5046023 w 8079933"/>
              <a:gd name="connsiteY13440" fmla="*/ 2056816 h 4687251"/>
              <a:gd name="connsiteX13441" fmla="*/ 5047543 w 8079933"/>
              <a:gd name="connsiteY13441" fmla="*/ 2059523 h 4687251"/>
              <a:gd name="connsiteX13442" fmla="*/ 5051449 w 8079933"/>
              <a:gd name="connsiteY13442" fmla="*/ 2060390 h 4687251"/>
              <a:gd name="connsiteX13443" fmla="*/ 5053511 w 8079933"/>
              <a:gd name="connsiteY13443" fmla="*/ 2059090 h 4687251"/>
              <a:gd name="connsiteX13444" fmla="*/ 5053511 w 8079933"/>
              <a:gd name="connsiteY13444" fmla="*/ 2060497 h 4687251"/>
              <a:gd name="connsiteX13445" fmla="*/ 5056984 w 8079933"/>
              <a:gd name="connsiteY13445" fmla="*/ 2065478 h 4687251"/>
              <a:gd name="connsiteX13446" fmla="*/ 5057634 w 8079933"/>
              <a:gd name="connsiteY13446" fmla="*/ 2071108 h 4687251"/>
              <a:gd name="connsiteX13447" fmla="*/ 5056657 w 8079933"/>
              <a:gd name="connsiteY13447" fmla="*/ 2076629 h 4687251"/>
              <a:gd name="connsiteX13448" fmla="*/ 5058177 w 8079933"/>
              <a:gd name="connsiteY13448" fmla="*/ 2078903 h 4687251"/>
              <a:gd name="connsiteX13449" fmla="*/ 5059706 w 8079933"/>
              <a:gd name="connsiteY13449" fmla="*/ 2079134 h 4687251"/>
              <a:gd name="connsiteX13450" fmla="*/ 5058611 w 8079933"/>
              <a:gd name="connsiteY13450" fmla="*/ 2077496 h 4687251"/>
              <a:gd name="connsiteX13451" fmla="*/ 5059588 w 8079933"/>
              <a:gd name="connsiteY13451" fmla="*/ 2071974 h 4687251"/>
              <a:gd name="connsiteX13452" fmla="*/ 5058937 w 8079933"/>
              <a:gd name="connsiteY13452" fmla="*/ 2066344 h 4687251"/>
              <a:gd name="connsiteX13453" fmla="*/ 5055464 w 8079933"/>
              <a:gd name="connsiteY13453" fmla="*/ 2061364 h 4687251"/>
              <a:gd name="connsiteX13454" fmla="*/ 5055464 w 8079933"/>
              <a:gd name="connsiteY13454" fmla="*/ 2050537 h 4687251"/>
              <a:gd name="connsiteX13455" fmla="*/ 5054270 w 8079933"/>
              <a:gd name="connsiteY13455" fmla="*/ 2048480 h 4687251"/>
              <a:gd name="connsiteX13456" fmla="*/ 5054270 w 8079933"/>
              <a:gd name="connsiteY13456" fmla="*/ 2044690 h 4687251"/>
              <a:gd name="connsiteX13457" fmla="*/ 5052534 w 8079933"/>
              <a:gd name="connsiteY13457" fmla="*/ 2038519 h 4687251"/>
              <a:gd name="connsiteX13458" fmla="*/ 5053945 w 8079933"/>
              <a:gd name="connsiteY13458" fmla="*/ 2034729 h 4687251"/>
              <a:gd name="connsiteX13459" fmla="*/ 5055466 w 8079933"/>
              <a:gd name="connsiteY13459" fmla="*/ 2033379 h 4687251"/>
              <a:gd name="connsiteX13460" fmla="*/ 4960078 w 8079933"/>
              <a:gd name="connsiteY13460" fmla="*/ 2032130 h 4687251"/>
              <a:gd name="connsiteX13461" fmla="*/ 4960078 w 8079933"/>
              <a:gd name="connsiteY13461" fmla="*/ 2032131 h 4687251"/>
              <a:gd name="connsiteX13462" fmla="*/ 4970495 w 8079933"/>
              <a:gd name="connsiteY13462" fmla="*/ 2037760 h 4687251"/>
              <a:gd name="connsiteX13463" fmla="*/ 4970495 w 8079933"/>
              <a:gd name="connsiteY13463" fmla="*/ 2037759 h 4687251"/>
              <a:gd name="connsiteX13464" fmla="*/ 4995672 w 8079933"/>
              <a:gd name="connsiteY13464" fmla="*/ 2031264 h 4687251"/>
              <a:gd name="connsiteX13465" fmla="*/ 4995671 w 8079933"/>
              <a:gd name="connsiteY13465" fmla="*/ 2031264 h 4687251"/>
              <a:gd name="connsiteX13466" fmla="*/ 4999144 w 8079933"/>
              <a:gd name="connsiteY13466" fmla="*/ 2037544 h 4687251"/>
              <a:gd name="connsiteX13467" fmla="*/ 4999144 w 8079933"/>
              <a:gd name="connsiteY13467" fmla="*/ 2037543 h 4687251"/>
              <a:gd name="connsiteX13468" fmla="*/ 3771611 w 8079933"/>
              <a:gd name="connsiteY13468" fmla="*/ 2030508 h 4687251"/>
              <a:gd name="connsiteX13469" fmla="*/ 3771171 w 8079933"/>
              <a:gd name="connsiteY13469" fmla="*/ 2030614 h 4687251"/>
              <a:gd name="connsiteX13470" fmla="*/ 3777465 w 8079933"/>
              <a:gd name="connsiteY13470" fmla="*/ 2042307 h 4687251"/>
              <a:gd name="connsiteX13471" fmla="*/ 3782999 w 8079933"/>
              <a:gd name="connsiteY13471" fmla="*/ 2045771 h 4687251"/>
              <a:gd name="connsiteX13472" fmla="*/ 3783215 w 8079933"/>
              <a:gd name="connsiteY13472" fmla="*/ 2052152 h 4687251"/>
              <a:gd name="connsiteX13473" fmla="*/ 3783215 w 8079933"/>
              <a:gd name="connsiteY13473" fmla="*/ 2045446 h 4687251"/>
              <a:gd name="connsiteX13474" fmla="*/ 3777681 w 8079933"/>
              <a:gd name="connsiteY13474" fmla="*/ 2041982 h 4687251"/>
              <a:gd name="connsiteX13475" fmla="*/ 4001768 w 8079933"/>
              <a:gd name="connsiteY13475" fmla="*/ 2030505 h 4687251"/>
              <a:gd name="connsiteX13476" fmla="*/ 4007302 w 8079933"/>
              <a:gd name="connsiteY13476" fmla="*/ 2031371 h 4687251"/>
              <a:gd name="connsiteX13477" fmla="*/ 4012185 w 8079933"/>
              <a:gd name="connsiteY13477" fmla="*/ 2031696 h 4687251"/>
              <a:gd name="connsiteX13478" fmla="*/ 4006759 w 8079933"/>
              <a:gd name="connsiteY13478" fmla="*/ 2036568 h 4687251"/>
              <a:gd name="connsiteX13479" fmla="*/ 4004698 w 8079933"/>
              <a:gd name="connsiteY13479" fmla="*/ 2042740 h 4687251"/>
              <a:gd name="connsiteX13480" fmla="*/ 4000900 w 8079933"/>
              <a:gd name="connsiteY13480" fmla="*/ 2039276 h 4687251"/>
              <a:gd name="connsiteX13481" fmla="*/ 3996125 w 8079933"/>
              <a:gd name="connsiteY13481" fmla="*/ 2037760 h 4687251"/>
              <a:gd name="connsiteX13482" fmla="*/ 3997102 w 8079933"/>
              <a:gd name="connsiteY13482" fmla="*/ 2033645 h 4687251"/>
              <a:gd name="connsiteX13483" fmla="*/ 5018064 w 8079933"/>
              <a:gd name="connsiteY13483" fmla="*/ 2029913 h 4687251"/>
              <a:gd name="connsiteX13484" fmla="*/ 5016507 w 8079933"/>
              <a:gd name="connsiteY13484" fmla="*/ 2032021 h 4687251"/>
              <a:gd name="connsiteX13485" fmla="*/ 5013686 w 8079933"/>
              <a:gd name="connsiteY13485" fmla="*/ 2033212 h 4687251"/>
              <a:gd name="connsiteX13486" fmla="*/ 5013685 w 8079933"/>
              <a:gd name="connsiteY13486" fmla="*/ 2033213 h 4687251"/>
              <a:gd name="connsiteX13487" fmla="*/ 5016507 w 8079933"/>
              <a:gd name="connsiteY13487" fmla="*/ 2032022 h 4687251"/>
              <a:gd name="connsiteX13488" fmla="*/ 4981130 w 8079933"/>
              <a:gd name="connsiteY13488" fmla="*/ 2029640 h 4687251"/>
              <a:gd name="connsiteX13489" fmla="*/ 4991764 w 8079933"/>
              <a:gd name="connsiteY13489" fmla="*/ 2045771 h 4687251"/>
              <a:gd name="connsiteX13490" fmla="*/ 4990462 w 8079933"/>
              <a:gd name="connsiteY13490" fmla="*/ 2049561 h 4687251"/>
              <a:gd name="connsiteX13491" fmla="*/ 4983734 w 8079933"/>
              <a:gd name="connsiteY13491" fmla="*/ 2045771 h 4687251"/>
              <a:gd name="connsiteX13492" fmla="*/ 4977549 w 8079933"/>
              <a:gd name="connsiteY13492" fmla="*/ 2045555 h 4687251"/>
              <a:gd name="connsiteX13493" fmla="*/ 4971364 w 8079933"/>
              <a:gd name="connsiteY13493" fmla="*/ 2042416 h 4687251"/>
              <a:gd name="connsiteX13494" fmla="*/ 4971364 w 8079933"/>
              <a:gd name="connsiteY13494" fmla="*/ 2042416 h 4687251"/>
              <a:gd name="connsiteX13495" fmla="*/ 4977549 w 8079933"/>
              <a:gd name="connsiteY13495" fmla="*/ 2045556 h 4687251"/>
              <a:gd name="connsiteX13496" fmla="*/ 4983735 w 8079933"/>
              <a:gd name="connsiteY13496" fmla="*/ 2045772 h 4687251"/>
              <a:gd name="connsiteX13497" fmla="*/ 4990463 w 8079933"/>
              <a:gd name="connsiteY13497" fmla="*/ 2049562 h 4687251"/>
              <a:gd name="connsiteX13498" fmla="*/ 4991764 w 8079933"/>
              <a:gd name="connsiteY13498" fmla="*/ 2045772 h 4687251"/>
              <a:gd name="connsiteX13499" fmla="*/ 4991766 w 8079933"/>
              <a:gd name="connsiteY13499" fmla="*/ 2045772 h 4687251"/>
              <a:gd name="connsiteX13500" fmla="*/ 4981253 w 8079933"/>
              <a:gd name="connsiteY13500" fmla="*/ 2029825 h 4687251"/>
              <a:gd name="connsiteX13501" fmla="*/ 5159797 w 8079933"/>
              <a:gd name="connsiteY13501" fmla="*/ 2029365 h 4687251"/>
              <a:gd name="connsiteX13502" fmla="*/ 5162244 w 8079933"/>
              <a:gd name="connsiteY13502" fmla="*/ 2033538 h 4687251"/>
              <a:gd name="connsiteX13503" fmla="*/ 5162746 w 8079933"/>
              <a:gd name="connsiteY13503" fmla="*/ 2033793 h 4687251"/>
              <a:gd name="connsiteX13504" fmla="*/ 5160183 w 8079933"/>
              <a:gd name="connsiteY13504" fmla="*/ 2029424 h 4687251"/>
              <a:gd name="connsiteX13505" fmla="*/ 3782033 w 8079933"/>
              <a:gd name="connsiteY13505" fmla="*/ 2028755 h 4687251"/>
              <a:gd name="connsiteX13506" fmla="*/ 3781470 w 8079933"/>
              <a:gd name="connsiteY13506" fmla="*/ 2029530 h 4687251"/>
              <a:gd name="connsiteX13507" fmla="*/ 3781479 w 8079933"/>
              <a:gd name="connsiteY13507" fmla="*/ 2029531 h 4687251"/>
              <a:gd name="connsiteX13508" fmla="*/ 4383312 w 8079933"/>
              <a:gd name="connsiteY13508" fmla="*/ 2028124 h 4687251"/>
              <a:gd name="connsiteX13509" fmla="*/ 4385483 w 8079933"/>
              <a:gd name="connsiteY13509" fmla="*/ 2029423 h 4687251"/>
              <a:gd name="connsiteX13510" fmla="*/ 4385265 w 8079933"/>
              <a:gd name="connsiteY13510" fmla="*/ 2034187 h 4687251"/>
              <a:gd name="connsiteX13511" fmla="*/ 4387978 w 8079933"/>
              <a:gd name="connsiteY13511" fmla="*/ 2037110 h 4687251"/>
              <a:gd name="connsiteX13512" fmla="*/ 4391017 w 8079933"/>
              <a:gd name="connsiteY13512" fmla="*/ 2038301 h 4687251"/>
              <a:gd name="connsiteX13513" fmla="*/ 4391559 w 8079933"/>
              <a:gd name="connsiteY13513" fmla="*/ 2039925 h 4687251"/>
              <a:gd name="connsiteX13514" fmla="*/ 4390474 w 8079933"/>
              <a:gd name="connsiteY13514" fmla="*/ 2040791 h 4687251"/>
              <a:gd name="connsiteX13515" fmla="*/ 4386568 w 8079933"/>
              <a:gd name="connsiteY13515" fmla="*/ 2038950 h 4687251"/>
              <a:gd name="connsiteX13516" fmla="*/ 4382336 w 8079933"/>
              <a:gd name="connsiteY13516" fmla="*/ 2034511 h 4687251"/>
              <a:gd name="connsiteX13517" fmla="*/ 4382010 w 8079933"/>
              <a:gd name="connsiteY13517" fmla="*/ 2033104 h 4687251"/>
              <a:gd name="connsiteX13518" fmla="*/ 4379514 w 8079933"/>
              <a:gd name="connsiteY13518" fmla="*/ 2032130 h 4687251"/>
              <a:gd name="connsiteX13519" fmla="*/ 4379189 w 8079933"/>
              <a:gd name="connsiteY13519" fmla="*/ 2029640 h 4687251"/>
              <a:gd name="connsiteX13520" fmla="*/ 5154540 w 8079933"/>
              <a:gd name="connsiteY13520" fmla="*/ 2027366 h 4687251"/>
              <a:gd name="connsiteX13521" fmla="*/ 5151719 w 8079933"/>
              <a:gd name="connsiteY13521" fmla="*/ 2028016 h 4687251"/>
              <a:gd name="connsiteX13522" fmla="*/ 5151730 w 8079933"/>
              <a:gd name="connsiteY13522" fmla="*/ 2028127 h 4687251"/>
              <a:gd name="connsiteX13523" fmla="*/ 5153998 w 8079933"/>
              <a:gd name="connsiteY13523" fmla="*/ 2027584 h 4687251"/>
              <a:gd name="connsiteX13524" fmla="*/ 5156059 w 8079933"/>
              <a:gd name="connsiteY13524" fmla="*/ 2029099 h 4687251"/>
              <a:gd name="connsiteX13525" fmla="*/ 5158034 w 8079933"/>
              <a:gd name="connsiteY13525" fmla="*/ 2029099 h 4687251"/>
              <a:gd name="connsiteX13526" fmla="*/ 5156602 w 8079933"/>
              <a:gd name="connsiteY13526" fmla="*/ 2028882 h 4687251"/>
              <a:gd name="connsiteX13527" fmla="*/ 5023019 w 8079933"/>
              <a:gd name="connsiteY13527" fmla="*/ 2027257 h 4687251"/>
              <a:gd name="connsiteX13528" fmla="*/ 5019546 w 8079933"/>
              <a:gd name="connsiteY13528" fmla="*/ 2027907 h 4687251"/>
              <a:gd name="connsiteX13529" fmla="*/ 5019545 w 8079933"/>
              <a:gd name="connsiteY13529" fmla="*/ 2027908 h 4687251"/>
              <a:gd name="connsiteX13530" fmla="*/ 5023018 w 8079933"/>
              <a:gd name="connsiteY13530" fmla="*/ 2027258 h 4687251"/>
              <a:gd name="connsiteX13531" fmla="*/ 5027468 w 8079933"/>
              <a:gd name="connsiteY13531" fmla="*/ 2023901 h 4687251"/>
              <a:gd name="connsiteX13532" fmla="*/ 5027466 w 8079933"/>
              <a:gd name="connsiteY13532" fmla="*/ 2023902 h 4687251"/>
              <a:gd name="connsiteX13533" fmla="*/ 5029962 w 8079933"/>
              <a:gd name="connsiteY13533" fmla="*/ 2024011 h 4687251"/>
              <a:gd name="connsiteX13534" fmla="*/ 5030396 w 8079933"/>
              <a:gd name="connsiteY13534" fmla="*/ 2025309 h 4687251"/>
              <a:gd name="connsiteX13535" fmla="*/ 5032675 w 8079933"/>
              <a:gd name="connsiteY13535" fmla="*/ 2025850 h 4687251"/>
              <a:gd name="connsiteX13536" fmla="*/ 5034737 w 8079933"/>
              <a:gd name="connsiteY13536" fmla="*/ 2029424 h 4687251"/>
              <a:gd name="connsiteX13537" fmla="*/ 5037884 w 8079933"/>
              <a:gd name="connsiteY13537" fmla="*/ 2032671 h 4687251"/>
              <a:gd name="connsiteX13538" fmla="*/ 5037885 w 8079933"/>
              <a:gd name="connsiteY13538" fmla="*/ 2032670 h 4687251"/>
              <a:gd name="connsiteX13539" fmla="*/ 5034738 w 8079933"/>
              <a:gd name="connsiteY13539" fmla="*/ 2029423 h 4687251"/>
              <a:gd name="connsiteX13540" fmla="*/ 5032676 w 8079933"/>
              <a:gd name="connsiteY13540" fmla="*/ 2025850 h 4687251"/>
              <a:gd name="connsiteX13541" fmla="*/ 5030398 w 8079933"/>
              <a:gd name="connsiteY13541" fmla="*/ 2025308 h 4687251"/>
              <a:gd name="connsiteX13542" fmla="*/ 5029963 w 8079933"/>
              <a:gd name="connsiteY13542" fmla="*/ 2024009 h 4687251"/>
              <a:gd name="connsiteX13543" fmla="*/ 5157482 w 8079933"/>
              <a:gd name="connsiteY13543" fmla="*/ 2023137 h 4687251"/>
              <a:gd name="connsiteX13544" fmla="*/ 5155802 w 8079933"/>
              <a:gd name="connsiteY13544" fmla="*/ 2023539 h 4687251"/>
              <a:gd name="connsiteX13545" fmla="*/ 5155843 w 8079933"/>
              <a:gd name="connsiteY13545" fmla="*/ 2023577 h 4687251"/>
              <a:gd name="connsiteX13546" fmla="*/ 4026401 w 8079933"/>
              <a:gd name="connsiteY13546" fmla="*/ 2022060 h 4687251"/>
              <a:gd name="connsiteX13547" fmla="*/ 4031285 w 8079933"/>
              <a:gd name="connsiteY13547" fmla="*/ 2027041 h 4687251"/>
              <a:gd name="connsiteX13548" fmla="*/ 4030091 w 8079933"/>
              <a:gd name="connsiteY13548" fmla="*/ 2029531 h 4687251"/>
              <a:gd name="connsiteX13549" fmla="*/ 4026293 w 8079933"/>
              <a:gd name="connsiteY13549" fmla="*/ 2027474 h 4687251"/>
              <a:gd name="connsiteX13550" fmla="*/ 4018480 w 8079933"/>
              <a:gd name="connsiteY13550" fmla="*/ 2026715 h 4687251"/>
              <a:gd name="connsiteX13551" fmla="*/ 4019565 w 8079933"/>
              <a:gd name="connsiteY13551" fmla="*/ 2023468 h 4687251"/>
              <a:gd name="connsiteX13552" fmla="*/ 5153130 w 8079933"/>
              <a:gd name="connsiteY13552" fmla="*/ 2021845 h 4687251"/>
              <a:gd name="connsiteX13553" fmla="*/ 5148680 w 8079933"/>
              <a:gd name="connsiteY13553" fmla="*/ 2025417 h 4687251"/>
              <a:gd name="connsiteX13554" fmla="*/ 5148680 w 8079933"/>
              <a:gd name="connsiteY13554" fmla="*/ 2029748 h 4687251"/>
              <a:gd name="connsiteX13555" fmla="*/ 5151285 w 8079933"/>
              <a:gd name="connsiteY13555" fmla="*/ 2033755 h 4687251"/>
              <a:gd name="connsiteX13556" fmla="*/ 5151285 w 8079933"/>
              <a:gd name="connsiteY13556" fmla="*/ 2032036 h 4687251"/>
              <a:gd name="connsiteX13557" fmla="*/ 5149657 w 8079933"/>
              <a:gd name="connsiteY13557" fmla="*/ 2029532 h 4687251"/>
              <a:gd name="connsiteX13558" fmla="*/ 5149331 w 8079933"/>
              <a:gd name="connsiteY13558" fmla="*/ 2025309 h 4687251"/>
              <a:gd name="connsiteX13559" fmla="*/ 5153317 w 8079933"/>
              <a:gd name="connsiteY13559" fmla="*/ 2022012 h 4687251"/>
              <a:gd name="connsiteX13560" fmla="*/ 5496910 w 8079933"/>
              <a:gd name="connsiteY13560" fmla="*/ 2021519 h 4687251"/>
              <a:gd name="connsiteX13561" fmla="*/ 5490182 w 8079933"/>
              <a:gd name="connsiteY13561" fmla="*/ 2021735 h 4687251"/>
              <a:gd name="connsiteX13562" fmla="*/ 5486059 w 8079933"/>
              <a:gd name="connsiteY13562" fmla="*/ 2023901 h 4687251"/>
              <a:gd name="connsiteX13563" fmla="*/ 5485005 w 8079933"/>
              <a:gd name="connsiteY13563" fmla="*/ 2022388 h 4687251"/>
              <a:gd name="connsiteX13564" fmla="*/ 5486059 w 8079933"/>
              <a:gd name="connsiteY13564" fmla="*/ 2023901 h 4687251"/>
              <a:gd name="connsiteX13565" fmla="*/ 5490183 w 8079933"/>
              <a:gd name="connsiteY13565" fmla="*/ 2021736 h 4687251"/>
              <a:gd name="connsiteX13566" fmla="*/ 5496910 w 8079933"/>
              <a:gd name="connsiteY13566" fmla="*/ 2021520 h 4687251"/>
              <a:gd name="connsiteX13567" fmla="*/ 4952645 w 8079933"/>
              <a:gd name="connsiteY13567" fmla="*/ 2020977 h 4687251"/>
              <a:gd name="connsiteX13568" fmla="*/ 4955737 w 8079933"/>
              <a:gd name="connsiteY13568" fmla="*/ 2024660 h 4687251"/>
              <a:gd name="connsiteX13569" fmla="*/ 4958775 w 8079933"/>
              <a:gd name="connsiteY13569" fmla="*/ 2024335 h 4687251"/>
              <a:gd name="connsiteX13570" fmla="*/ 4960403 w 8079933"/>
              <a:gd name="connsiteY13570" fmla="*/ 2028666 h 4687251"/>
              <a:gd name="connsiteX13571" fmla="*/ 4960403 w 8079933"/>
              <a:gd name="connsiteY13571" fmla="*/ 2028665 h 4687251"/>
              <a:gd name="connsiteX13572" fmla="*/ 4958776 w 8079933"/>
              <a:gd name="connsiteY13572" fmla="*/ 2024335 h 4687251"/>
              <a:gd name="connsiteX13573" fmla="*/ 4955737 w 8079933"/>
              <a:gd name="connsiteY13573" fmla="*/ 2024659 h 4687251"/>
              <a:gd name="connsiteX13574" fmla="*/ 4971472 w 8079933"/>
              <a:gd name="connsiteY13574" fmla="*/ 2020329 h 4687251"/>
              <a:gd name="connsiteX13575" fmla="*/ 4973278 w 8079933"/>
              <a:gd name="connsiteY13575" fmla="*/ 2023932 h 4687251"/>
              <a:gd name="connsiteX13576" fmla="*/ 4971472 w 8079933"/>
              <a:gd name="connsiteY13576" fmla="*/ 2020329 h 4687251"/>
              <a:gd name="connsiteX13577" fmla="*/ 4967349 w 8079933"/>
              <a:gd name="connsiteY13577" fmla="*/ 2020329 h 4687251"/>
              <a:gd name="connsiteX13578" fmla="*/ 4964636 w 8079933"/>
              <a:gd name="connsiteY13578" fmla="*/ 2022710 h 4687251"/>
              <a:gd name="connsiteX13579" fmla="*/ 4964636 w 8079933"/>
              <a:gd name="connsiteY13579" fmla="*/ 2022710 h 4687251"/>
              <a:gd name="connsiteX13580" fmla="*/ 4951059 w 8079933"/>
              <a:gd name="connsiteY13580" fmla="*/ 2020167 h 4687251"/>
              <a:gd name="connsiteX13581" fmla="*/ 4951397 w 8079933"/>
              <a:gd name="connsiteY13581" fmla="*/ 2020654 h 4687251"/>
              <a:gd name="connsiteX13582" fmla="*/ 4952373 w 8079933"/>
              <a:gd name="connsiteY13582" fmla="*/ 2020654 h 4687251"/>
              <a:gd name="connsiteX13583" fmla="*/ 4952373 w 8079933"/>
              <a:gd name="connsiteY13583" fmla="*/ 2020653 h 4687251"/>
              <a:gd name="connsiteX13584" fmla="*/ 4951397 w 8079933"/>
              <a:gd name="connsiteY13584" fmla="*/ 2020653 h 4687251"/>
              <a:gd name="connsiteX13585" fmla="*/ 5160834 w 8079933"/>
              <a:gd name="connsiteY13585" fmla="*/ 2018056 h 4687251"/>
              <a:gd name="connsiteX13586" fmla="*/ 5160275 w 8079933"/>
              <a:gd name="connsiteY13586" fmla="*/ 2018283 h 4687251"/>
              <a:gd name="connsiteX13587" fmla="*/ 5163330 w 8079933"/>
              <a:gd name="connsiteY13587" fmla="*/ 2022278 h 4687251"/>
              <a:gd name="connsiteX13588" fmla="*/ 5162165 w 8079933"/>
              <a:gd name="connsiteY13588" fmla="*/ 2023887 h 4687251"/>
              <a:gd name="connsiteX13589" fmla="*/ 5162570 w 8079933"/>
              <a:gd name="connsiteY13589" fmla="*/ 2024010 h 4687251"/>
              <a:gd name="connsiteX13590" fmla="*/ 5163981 w 8079933"/>
              <a:gd name="connsiteY13590" fmla="*/ 2022170 h 4687251"/>
              <a:gd name="connsiteX13591" fmla="*/ 4511689 w 8079933"/>
              <a:gd name="connsiteY13591" fmla="*/ 2017730 h 4687251"/>
              <a:gd name="connsiteX13592" fmla="*/ 4514184 w 8079933"/>
              <a:gd name="connsiteY13592" fmla="*/ 2019029 h 4687251"/>
              <a:gd name="connsiteX13593" fmla="*/ 4511145 w 8079933"/>
              <a:gd name="connsiteY13593" fmla="*/ 2022277 h 4687251"/>
              <a:gd name="connsiteX13594" fmla="*/ 4510603 w 8079933"/>
              <a:gd name="connsiteY13594" fmla="*/ 2026825 h 4687251"/>
              <a:gd name="connsiteX13595" fmla="*/ 4507890 w 8079933"/>
              <a:gd name="connsiteY13595" fmla="*/ 2025634 h 4687251"/>
              <a:gd name="connsiteX13596" fmla="*/ 4505936 w 8079933"/>
              <a:gd name="connsiteY13596" fmla="*/ 2025959 h 4687251"/>
              <a:gd name="connsiteX13597" fmla="*/ 4503766 w 8079933"/>
              <a:gd name="connsiteY13597" fmla="*/ 2024118 h 4687251"/>
              <a:gd name="connsiteX13598" fmla="*/ 4502681 w 8079933"/>
              <a:gd name="connsiteY13598" fmla="*/ 2020545 h 4687251"/>
              <a:gd name="connsiteX13599" fmla="*/ 4503875 w 8079933"/>
              <a:gd name="connsiteY13599" fmla="*/ 2018704 h 4687251"/>
              <a:gd name="connsiteX13600" fmla="*/ 4507673 w 8079933"/>
              <a:gd name="connsiteY13600" fmla="*/ 2018596 h 4687251"/>
              <a:gd name="connsiteX13601" fmla="*/ 4509301 w 8079933"/>
              <a:gd name="connsiteY13601" fmla="*/ 2020004 h 4687251"/>
              <a:gd name="connsiteX13602" fmla="*/ 3783647 w 8079933"/>
              <a:gd name="connsiteY13602" fmla="*/ 2016860 h 4687251"/>
              <a:gd name="connsiteX13603" fmla="*/ 3783325 w 8079933"/>
              <a:gd name="connsiteY13603" fmla="*/ 2017188 h 4687251"/>
              <a:gd name="connsiteX13604" fmla="*/ 3787394 w 8079933"/>
              <a:gd name="connsiteY13604" fmla="*/ 2021248 h 4687251"/>
              <a:gd name="connsiteX13605" fmla="*/ 3787665 w 8079933"/>
              <a:gd name="connsiteY13605" fmla="*/ 2020870 h 4687251"/>
              <a:gd name="connsiteX13606" fmla="*/ 4947445 w 8079933"/>
              <a:gd name="connsiteY13606" fmla="*/ 2015087 h 4687251"/>
              <a:gd name="connsiteX13607" fmla="*/ 4948575 w 8079933"/>
              <a:gd name="connsiteY13607" fmla="*/ 2016215 h 4687251"/>
              <a:gd name="connsiteX13608" fmla="*/ 4948575 w 8079933"/>
              <a:gd name="connsiteY13608" fmla="*/ 2016214 h 4687251"/>
              <a:gd name="connsiteX13609" fmla="*/ 4975271 w 8079933"/>
              <a:gd name="connsiteY13609" fmla="*/ 2011342 h 4687251"/>
              <a:gd name="connsiteX13610" fmla="*/ 4975270 w 8079933"/>
              <a:gd name="connsiteY13610" fmla="*/ 2011343 h 4687251"/>
              <a:gd name="connsiteX13611" fmla="*/ 4978417 w 8079933"/>
              <a:gd name="connsiteY13611" fmla="*/ 2018596 h 4687251"/>
              <a:gd name="connsiteX13612" fmla="*/ 4989052 w 8079933"/>
              <a:gd name="connsiteY13612" fmla="*/ 2024443 h 4687251"/>
              <a:gd name="connsiteX13613" fmla="*/ 4995997 w 8079933"/>
              <a:gd name="connsiteY13613" fmla="*/ 2024768 h 4687251"/>
              <a:gd name="connsiteX13614" fmla="*/ 5001531 w 8079933"/>
              <a:gd name="connsiteY13614" fmla="*/ 2029964 h 4687251"/>
              <a:gd name="connsiteX13615" fmla="*/ 5001532 w 8079933"/>
              <a:gd name="connsiteY13615" fmla="*/ 2029964 h 4687251"/>
              <a:gd name="connsiteX13616" fmla="*/ 4995998 w 8079933"/>
              <a:gd name="connsiteY13616" fmla="*/ 2024766 h 4687251"/>
              <a:gd name="connsiteX13617" fmla="*/ 4989053 w 8079933"/>
              <a:gd name="connsiteY13617" fmla="*/ 2024442 h 4687251"/>
              <a:gd name="connsiteX13618" fmla="*/ 4978418 w 8079933"/>
              <a:gd name="connsiteY13618" fmla="*/ 2018595 h 4687251"/>
              <a:gd name="connsiteX13619" fmla="*/ 4524818 w 8079933"/>
              <a:gd name="connsiteY13619" fmla="*/ 2009718 h 4687251"/>
              <a:gd name="connsiteX13620" fmla="*/ 4527097 w 8079933"/>
              <a:gd name="connsiteY13620" fmla="*/ 2011234 h 4687251"/>
              <a:gd name="connsiteX13621" fmla="*/ 4526446 w 8079933"/>
              <a:gd name="connsiteY13621" fmla="*/ 2013832 h 4687251"/>
              <a:gd name="connsiteX13622" fmla="*/ 4521672 w 8079933"/>
              <a:gd name="connsiteY13622" fmla="*/ 2015132 h 4687251"/>
              <a:gd name="connsiteX13623" fmla="*/ 4517982 w 8079933"/>
              <a:gd name="connsiteY13623" fmla="*/ 2013616 h 4687251"/>
              <a:gd name="connsiteX13624" fmla="*/ 4518850 w 8079933"/>
              <a:gd name="connsiteY13624" fmla="*/ 2011775 h 4687251"/>
              <a:gd name="connsiteX13625" fmla="*/ 4522322 w 8079933"/>
              <a:gd name="connsiteY13625" fmla="*/ 2011667 h 4687251"/>
              <a:gd name="connsiteX13626" fmla="*/ 5145534 w 8079933"/>
              <a:gd name="connsiteY13626" fmla="*/ 2008744 h 4687251"/>
              <a:gd name="connsiteX13627" fmla="*/ 5145286 w 8079933"/>
              <a:gd name="connsiteY13627" fmla="*/ 2009029 h 4687251"/>
              <a:gd name="connsiteX13628" fmla="*/ 5151935 w 8079933"/>
              <a:gd name="connsiteY13628" fmla="*/ 2010152 h 4687251"/>
              <a:gd name="connsiteX13629" fmla="*/ 5152312 w 8079933"/>
              <a:gd name="connsiteY13629" fmla="*/ 2009889 h 4687251"/>
              <a:gd name="connsiteX13630" fmla="*/ 4925570 w 8079933"/>
              <a:gd name="connsiteY13630" fmla="*/ 2007987 h 4687251"/>
              <a:gd name="connsiteX13631" fmla="*/ 4925570 w 8079933"/>
              <a:gd name="connsiteY13631" fmla="*/ 2007987 h 4687251"/>
              <a:gd name="connsiteX13632" fmla="*/ 4932406 w 8079933"/>
              <a:gd name="connsiteY13632" fmla="*/ 2012101 h 4687251"/>
              <a:gd name="connsiteX13633" fmla="*/ 4939894 w 8079933"/>
              <a:gd name="connsiteY13633" fmla="*/ 2012426 h 4687251"/>
              <a:gd name="connsiteX13634" fmla="*/ 4944452 w 8079933"/>
              <a:gd name="connsiteY13634" fmla="*/ 2012101 h 4687251"/>
              <a:gd name="connsiteX13635" fmla="*/ 4944451 w 8079933"/>
              <a:gd name="connsiteY13635" fmla="*/ 2012100 h 4687251"/>
              <a:gd name="connsiteX13636" fmla="*/ 4939894 w 8079933"/>
              <a:gd name="connsiteY13636" fmla="*/ 2012425 h 4687251"/>
              <a:gd name="connsiteX13637" fmla="*/ 4932406 w 8079933"/>
              <a:gd name="connsiteY13637" fmla="*/ 2012100 h 4687251"/>
              <a:gd name="connsiteX13638" fmla="*/ 5155843 w 8079933"/>
              <a:gd name="connsiteY13638" fmla="*/ 2007770 h 4687251"/>
              <a:gd name="connsiteX13639" fmla="*/ 5155394 w 8079933"/>
              <a:gd name="connsiteY13639" fmla="*/ 2008069 h 4687251"/>
              <a:gd name="connsiteX13640" fmla="*/ 5157036 w 8079933"/>
              <a:gd name="connsiteY13640" fmla="*/ 2009610 h 4687251"/>
              <a:gd name="connsiteX13641" fmla="*/ 5155842 w 8079933"/>
              <a:gd name="connsiteY13641" fmla="*/ 2014374 h 4687251"/>
              <a:gd name="connsiteX13642" fmla="*/ 5157253 w 8079933"/>
              <a:gd name="connsiteY13642" fmla="*/ 2019354 h 4687251"/>
              <a:gd name="connsiteX13643" fmla="*/ 5157867 w 8079933"/>
              <a:gd name="connsiteY13643" fmla="*/ 2019105 h 4687251"/>
              <a:gd name="connsiteX13644" fmla="*/ 5156602 w 8079933"/>
              <a:gd name="connsiteY13644" fmla="*/ 2014266 h 4687251"/>
              <a:gd name="connsiteX13645" fmla="*/ 5157796 w 8079933"/>
              <a:gd name="connsiteY13645" fmla="*/ 2009393 h 4687251"/>
              <a:gd name="connsiteX13646" fmla="*/ 4518307 w 8079933"/>
              <a:gd name="connsiteY13646" fmla="*/ 2004197 h 4687251"/>
              <a:gd name="connsiteX13647" fmla="*/ 4521237 w 8079933"/>
              <a:gd name="connsiteY13647" fmla="*/ 2004954 h 4687251"/>
              <a:gd name="connsiteX13648" fmla="*/ 4521345 w 8079933"/>
              <a:gd name="connsiteY13648" fmla="*/ 2007121 h 4687251"/>
              <a:gd name="connsiteX13649" fmla="*/ 4518741 w 8079933"/>
              <a:gd name="connsiteY13649" fmla="*/ 2008095 h 4687251"/>
              <a:gd name="connsiteX13650" fmla="*/ 4514292 w 8079933"/>
              <a:gd name="connsiteY13650" fmla="*/ 2006254 h 4687251"/>
              <a:gd name="connsiteX13651" fmla="*/ 4515052 w 8079933"/>
              <a:gd name="connsiteY13651" fmla="*/ 2004630 h 4687251"/>
              <a:gd name="connsiteX13652" fmla="*/ 5364504 w 8079933"/>
              <a:gd name="connsiteY13652" fmla="*/ 2000565 h 4687251"/>
              <a:gd name="connsiteX13653" fmla="*/ 5371465 w 8079933"/>
              <a:gd name="connsiteY13653" fmla="*/ 2003764 h 4687251"/>
              <a:gd name="connsiteX13654" fmla="*/ 5387309 w 8079933"/>
              <a:gd name="connsiteY13654" fmla="*/ 2013725 h 4687251"/>
              <a:gd name="connsiteX13655" fmla="*/ 5403261 w 8079933"/>
              <a:gd name="connsiteY13655" fmla="*/ 2025417 h 4687251"/>
              <a:gd name="connsiteX13656" fmla="*/ 5421166 w 8079933"/>
              <a:gd name="connsiteY13656" fmla="*/ 2033430 h 4687251"/>
              <a:gd name="connsiteX13657" fmla="*/ 5431893 w 8079933"/>
              <a:gd name="connsiteY13657" fmla="*/ 2040684 h 4687251"/>
              <a:gd name="connsiteX13658" fmla="*/ 5421166 w 8079933"/>
              <a:gd name="connsiteY13658" fmla="*/ 2033429 h 4687251"/>
              <a:gd name="connsiteX13659" fmla="*/ 5403261 w 8079933"/>
              <a:gd name="connsiteY13659" fmla="*/ 2025417 h 4687251"/>
              <a:gd name="connsiteX13660" fmla="*/ 5387309 w 8079933"/>
              <a:gd name="connsiteY13660" fmla="*/ 2013724 h 4687251"/>
              <a:gd name="connsiteX13661" fmla="*/ 5371466 w 8079933"/>
              <a:gd name="connsiteY13661" fmla="*/ 2003763 h 4687251"/>
              <a:gd name="connsiteX13662" fmla="*/ 4494216 w 8079933"/>
              <a:gd name="connsiteY13662" fmla="*/ 1997483 h 4687251"/>
              <a:gd name="connsiteX13663" fmla="*/ 4497471 w 8079933"/>
              <a:gd name="connsiteY13663" fmla="*/ 1999107 h 4687251"/>
              <a:gd name="connsiteX13664" fmla="*/ 4497905 w 8079933"/>
              <a:gd name="connsiteY13664" fmla="*/ 2001705 h 4687251"/>
              <a:gd name="connsiteX13665" fmla="*/ 4494867 w 8079933"/>
              <a:gd name="connsiteY13665" fmla="*/ 2003221 h 4687251"/>
              <a:gd name="connsiteX13666" fmla="*/ 4493564 w 8079933"/>
              <a:gd name="connsiteY13666" fmla="*/ 2002354 h 4687251"/>
              <a:gd name="connsiteX13667" fmla="*/ 4490961 w 8079933"/>
              <a:gd name="connsiteY13667" fmla="*/ 2002462 h 4687251"/>
              <a:gd name="connsiteX13668" fmla="*/ 4492371 w 8079933"/>
              <a:gd name="connsiteY13668" fmla="*/ 1998132 h 4687251"/>
              <a:gd name="connsiteX13669" fmla="*/ 4429974 w 8079933"/>
              <a:gd name="connsiteY13669" fmla="*/ 1990555 h 4687251"/>
              <a:gd name="connsiteX13670" fmla="*/ 4429649 w 8079933"/>
              <a:gd name="connsiteY13670" fmla="*/ 1992611 h 4687251"/>
              <a:gd name="connsiteX13671" fmla="*/ 4429649 w 8079933"/>
              <a:gd name="connsiteY13671" fmla="*/ 1992611 h 4687251"/>
              <a:gd name="connsiteX13672" fmla="*/ 4429975 w 8079933"/>
              <a:gd name="connsiteY13672" fmla="*/ 1990555 h 4687251"/>
              <a:gd name="connsiteX13673" fmla="*/ 5072693 w 8079933"/>
              <a:gd name="connsiteY13673" fmla="*/ 1990446 h 4687251"/>
              <a:gd name="connsiteX13674" fmla="*/ 5078362 w 8079933"/>
              <a:gd name="connsiteY13674" fmla="*/ 1992827 h 4687251"/>
              <a:gd name="connsiteX13675" fmla="*/ 5081726 w 8079933"/>
              <a:gd name="connsiteY13675" fmla="*/ 1997807 h 4687251"/>
              <a:gd name="connsiteX13676" fmla="*/ 5078145 w 8079933"/>
              <a:gd name="connsiteY13676" fmla="*/ 1997266 h 4687251"/>
              <a:gd name="connsiteX13677" fmla="*/ 5074889 w 8079933"/>
              <a:gd name="connsiteY13677" fmla="*/ 1999648 h 4687251"/>
              <a:gd name="connsiteX13678" fmla="*/ 5068487 w 8079933"/>
              <a:gd name="connsiteY13678" fmla="*/ 1999973 h 4687251"/>
              <a:gd name="connsiteX13679" fmla="*/ 5061217 w 8079933"/>
              <a:gd name="connsiteY13679" fmla="*/ 2006036 h 4687251"/>
              <a:gd name="connsiteX13680" fmla="*/ 5061759 w 8079933"/>
              <a:gd name="connsiteY13680" fmla="*/ 2012207 h 4687251"/>
              <a:gd name="connsiteX13681" fmla="*/ 5062627 w 8079933"/>
              <a:gd name="connsiteY13681" fmla="*/ 2017188 h 4687251"/>
              <a:gd name="connsiteX13682" fmla="*/ 5060457 w 8079933"/>
              <a:gd name="connsiteY13682" fmla="*/ 2020111 h 4687251"/>
              <a:gd name="connsiteX13683" fmla="*/ 5059914 w 8079933"/>
              <a:gd name="connsiteY13683" fmla="*/ 2024442 h 4687251"/>
              <a:gd name="connsiteX13684" fmla="*/ 5061434 w 8079933"/>
              <a:gd name="connsiteY13684" fmla="*/ 2026933 h 4687251"/>
              <a:gd name="connsiteX13685" fmla="*/ 5061434 w 8079933"/>
              <a:gd name="connsiteY13685" fmla="*/ 2030397 h 4687251"/>
              <a:gd name="connsiteX13686" fmla="*/ 5059155 w 8079933"/>
              <a:gd name="connsiteY13686" fmla="*/ 2032454 h 4687251"/>
              <a:gd name="connsiteX13687" fmla="*/ 5059155 w 8079933"/>
              <a:gd name="connsiteY13687" fmla="*/ 2040682 h 4687251"/>
              <a:gd name="connsiteX13688" fmla="*/ 5058276 w 8079933"/>
              <a:gd name="connsiteY13688" fmla="*/ 2042801 h 4687251"/>
              <a:gd name="connsiteX13689" fmla="*/ 5059153 w 8079933"/>
              <a:gd name="connsiteY13689" fmla="*/ 2044365 h 4687251"/>
              <a:gd name="connsiteX13690" fmla="*/ 5060564 w 8079933"/>
              <a:gd name="connsiteY13690" fmla="*/ 2041225 h 4687251"/>
              <a:gd name="connsiteX13691" fmla="*/ 5060564 w 8079933"/>
              <a:gd name="connsiteY13691" fmla="*/ 2032997 h 4687251"/>
              <a:gd name="connsiteX13692" fmla="*/ 5062843 w 8079933"/>
              <a:gd name="connsiteY13692" fmla="*/ 2030939 h 4687251"/>
              <a:gd name="connsiteX13693" fmla="*/ 5062843 w 8079933"/>
              <a:gd name="connsiteY13693" fmla="*/ 2027475 h 4687251"/>
              <a:gd name="connsiteX13694" fmla="*/ 5061324 w 8079933"/>
              <a:gd name="connsiteY13694" fmla="*/ 2024876 h 4687251"/>
              <a:gd name="connsiteX13695" fmla="*/ 5061324 w 8079933"/>
              <a:gd name="connsiteY13695" fmla="*/ 2020546 h 4687251"/>
              <a:gd name="connsiteX13696" fmla="*/ 5063603 w 8079933"/>
              <a:gd name="connsiteY13696" fmla="*/ 2017622 h 4687251"/>
              <a:gd name="connsiteX13697" fmla="*/ 5062734 w 8079933"/>
              <a:gd name="connsiteY13697" fmla="*/ 2012642 h 4687251"/>
              <a:gd name="connsiteX13698" fmla="*/ 5062734 w 8079933"/>
              <a:gd name="connsiteY13698" fmla="*/ 2006470 h 4687251"/>
              <a:gd name="connsiteX13699" fmla="*/ 5070005 w 8079933"/>
              <a:gd name="connsiteY13699" fmla="*/ 2000407 h 4687251"/>
              <a:gd name="connsiteX13700" fmla="*/ 5076408 w 8079933"/>
              <a:gd name="connsiteY13700" fmla="*/ 2000407 h 4687251"/>
              <a:gd name="connsiteX13701" fmla="*/ 5079663 w 8079933"/>
              <a:gd name="connsiteY13701" fmla="*/ 1998025 h 4687251"/>
              <a:gd name="connsiteX13702" fmla="*/ 5083244 w 8079933"/>
              <a:gd name="connsiteY13702" fmla="*/ 1998025 h 4687251"/>
              <a:gd name="connsiteX13703" fmla="*/ 5079772 w 8079933"/>
              <a:gd name="connsiteY13703" fmla="*/ 1993045 h 4687251"/>
              <a:gd name="connsiteX13704" fmla="*/ 5073586 w 8079933"/>
              <a:gd name="connsiteY13704" fmla="*/ 1990446 h 4687251"/>
              <a:gd name="connsiteX13705" fmla="*/ 3788350 w 8079933"/>
              <a:gd name="connsiteY13705" fmla="*/ 1990424 h 4687251"/>
              <a:gd name="connsiteX13706" fmla="*/ 3788100 w 8079933"/>
              <a:gd name="connsiteY13706" fmla="*/ 1990662 h 4687251"/>
              <a:gd name="connsiteX13707" fmla="*/ 3789185 w 8079933"/>
              <a:gd name="connsiteY13707" fmla="*/ 1996942 h 4687251"/>
              <a:gd name="connsiteX13708" fmla="*/ 3788431 w 8079933"/>
              <a:gd name="connsiteY13708" fmla="*/ 2011876 h 4687251"/>
              <a:gd name="connsiteX13709" fmla="*/ 3788750 w 8079933"/>
              <a:gd name="connsiteY13709" fmla="*/ 2011558 h 4687251"/>
              <a:gd name="connsiteX13710" fmla="*/ 3789401 w 8079933"/>
              <a:gd name="connsiteY13710" fmla="*/ 1996400 h 4687251"/>
              <a:gd name="connsiteX13711" fmla="*/ 4139911 w 8079933"/>
              <a:gd name="connsiteY13711" fmla="*/ 1986656 h 4687251"/>
              <a:gd name="connsiteX13712" fmla="*/ 4144142 w 8079933"/>
              <a:gd name="connsiteY13712" fmla="*/ 1989904 h 4687251"/>
              <a:gd name="connsiteX13713" fmla="*/ 4145878 w 8079933"/>
              <a:gd name="connsiteY13713" fmla="*/ 1988172 h 4687251"/>
              <a:gd name="connsiteX13714" fmla="*/ 4149351 w 8079933"/>
              <a:gd name="connsiteY13714" fmla="*/ 1994451 h 4687251"/>
              <a:gd name="connsiteX13715" fmla="*/ 4152390 w 8079933"/>
              <a:gd name="connsiteY13715" fmla="*/ 1997916 h 4687251"/>
              <a:gd name="connsiteX13716" fmla="*/ 4153692 w 8079933"/>
              <a:gd name="connsiteY13716" fmla="*/ 2003438 h 4687251"/>
              <a:gd name="connsiteX13717" fmla="*/ 4152933 w 8079933"/>
              <a:gd name="connsiteY13717" fmla="*/ 2007119 h 4687251"/>
              <a:gd name="connsiteX13718" fmla="*/ 4147723 w 8079933"/>
              <a:gd name="connsiteY13718" fmla="*/ 2010476 h 4687251"/>
              <a:gd name="connsiteX13719" fmla="*/ 4153909 w 8079933"/>
              <a:gd name="connsiteY13719" fmla="*/ 2015889 h 4687251"/>
              <a:gd name="connsiteX13720" fmla="*/ 4152064 w 8079933"/>
              <a:gd name="connsiteY13720" fmla="*/ 2024551 h 4687251"/>
              <a:gd name="connsiteX13721" fmla="*/ 4153150 w 8079933"/>
              <a:gd name="connsiteY13721" fmla="*/ 2034186 h 4687251"/>
              <a:gd name="connsiteX13722" fmla="*/ 4152282 w 8079933"/>
              <a:gd name="connsiteY13722" fmla="*/ 2036677 h 4687251"/>
              <a:gd name="connsiteX13723" fmla="*/ 4152282 w 8079933"/>
              <a:gd name="connsiteY13723" fmla="*/ 2045555 h 4687251"/>
              <a:gd name="connsiteX13724" fmla="*/ 4150437 w 8079933"/>
              <a:gd name="connsiteY13724" fmla="*/ 2048912 h 4687251"/>
              <a:gd name="connsiteX13725" fmla="*/ 4147723 w 8079933"/>
              <a:gd name="connsiteY13725" fmla="*/ 2048912 h 4687251"/>
              <a:gd name="connsiteX13726" fmla="*/ 4144794 w 8079933"/>
              <a:gd name="connsiteY13726" fmla="*/ 2046096 h 4687251"/>
              <a:gd name="connsiteX13727" fmla="*/ 4140344 w 8079933"/>
              <a:gd name="connsiteY13727" fmla="*/ 2045663 h 4687251"/>
              <a:gd name="connsiteX13728" fmla="*/ 4138825 w 8079933"/>
              <a:gd name="connsiteY13728" fmla="*/ 2048912 h 4687251"/>
              <a:gd name="connsiteX13729" fmla="*/ 4138499 w 8079933"/>
              <a:gd name="connsiteY13729" fmla="*/ 2054325 h 4687251"/>
              <a:gd name="connsiteX13730" fmla="*/ 4135136 w 8079933"/>
              <a:gd name="connsiteY13730" fmla="*/ 2055841 h 4687251"/>
              <a:gd name="connsiteX13731" fmla="*/ 4132748 w 8079933"/>
              <a:gd name="connsiteY13731" fmla="*/ 2054758 h 4687251"/>
              <a:gd name="connsiteX13732" fmla="*/ 4130904 w 8079933"/>
              <a:gd name="connsiteY13732" fmla="*/ 2055841 h 4687251"/>
              <a:gd name="connsiteX13733" fmla="*/ 4127322 w 8079933"/>
              <a:gd name="connsiteY13733" fmla="*/ 2052051 h 4687251"/>
              <a:gd name="connsiteX13734" fmla="*/ 4124935 w 8079933"/>
              <a:gd name="connsiteY13734" fmla="*/ 2042307 h 4687251"/>
              <a:gd name="connsiteX13735" fmla="*/ 4122982 w 8079933"/>
              <a:gd name="connsiteY13735" fmla="*/ 2039167 h 4687251"/>
              <a:gd name="connsiteX13736" fmla="*/ 4125152 w 8079933"/>
              <a:gd name="connsiteY13736" fmla="*/ 2030830 h 4687251"/>
              <a:gd name="connsiteX13737" fmla="*/ 4127973 w 8079933"/>
              <a:gd name="connsiteY13737" fmla="*/ 2027474 h 4687251"/>
              <a:gd name="connsiteX13738" fmla="*/ 4127973 w 8079933"/>
              <a:gd name="connsiteY13738" fmla="*/ 2025525 h 4687251"/>
              <a:gd name="connsiteX13739" fmla="*/ 4123307 w 8079933"/>
              <a:gd name="connsiteY13739" fmla="*/ 2025092 h 4687251"/>
              <a:gd name="connsiteX13740" fmla="*/ 4121896 w 8079933"/>
              <a:gd name="connsiteY13740" fmla="*/ 2022276 h 4687251"/>
              <a:gd name="connsiteX13741" fmla="*/ 4125260 w 8079933"/>
              <a:gd name="connsiteY13741" fmla="*/ 2018596 h 4687251"/>
              <a:gd name="connsiteX13742" fmla="*/ 4125260 w 8079933"/>
              <a:gd name="connsiteY13742" fmla="*/ 2013074 h 4687251"/>
              <a:gd name="connsiteX13743" fmla="*/ 4122222 w 8079933"/>
              <a:gd name="connsiteY13743" fmla="*/ 2010367 h 4687251"/>
              <a:gd name="connsiteX13744" fmla="*/ 4121354 w 8079933"/>
              <a:gd name="connsiteY13744" fmla="*/ 2006686 h 4687251"/>
              <a:gd name="connsiteX13745" fmla="*/ 4117556 w 8079933"/>
              <a:gd name="connsiteY13745" fmla="*/ 2002896 h 4687251"/>
              <a:gd name="connsiteX13746" fmla="*/ 4118424 w 8079933"/>
              <a:gd name="connsiteY13746" fmla="*/ 1999540 h 4687251"/>
              <a:gd name="connsiteX13747" fmla="*/ 4118424 w 8079933"/>
              <a:gd name="connsiteY13747" fmla="*/ 1994235 h 4687251"/>
              <a:gd name="connsiteX13748" fmla="*/ 4123850 w 8079933"/>
              <a:gd name="connsiteY13748" fmla="*/ 1997483 h 4687251"/>
              <a:gd name="connsiteX13749" fmla="*/ 4127648 w 8079933"/>
              <a:gd name="connsiteY13749" fmla="*/ 1997374 h 4687251"/>
              <a:gd name="connsiteX13750" fmla="*/ 4136330 w 8079933"/>
              <a:gd name="connsiteY13750" fmla="*/ 1987089 h 4687251"/>
              <a:gd name="connsiteX13751" fmla="*/ 4120593 w 8079933"/>
              <a:gd name="connsiteY13751" fmla="*/ 1985357 h 4687251"/>
              <a:gd name="connsiteX13752" fmla="*/ 4122438 w 8079933"/>
              <a:gd name="connsiteY13752" fmla="*/ 1986981 h 4687251"/>
              <a:gd name="connsiteX13753" fmla="*/ 4120485 w 8079933"/>
              <a:gd name="connsiteY13753" fmla="*/ 1989147 h 4687251"/>
              <a:gd name="connsiteX13754" fmla="*/ 4120051 w 8079933"/>
              <a:gd name="connsiteY13754" fmla="*/ 1991312 h 4687251"/>
              <a:gd name="connsiteX13755" fmla="*/ 4118532 w 8079933"/>
              <a:gd name="connsiteY13755" fmla="*/ 1991529 h 4687251"/>
              <a:gd name="connsiteX13756" fmla="*/ 4118315 w 8079933"/>
              <a:gd name="connsiteY13756" fmla="*/ 1988497 h 4687251"/>
              <a:gd name="connsiteX13757" fmla="*/ 4119833 w 8079933"/>
              <a:gd name="connsiteY13757" fmla="*/ 1987631 h 4687251"/>
              <a:gd name="connsiteX13758" fmla="*/ 4919819 w 8079933"/>
              <a:gd name="connsiteY13758" fmla="*/ 1985033 h 4687251"/>
              <a:gd name="connsiteX13759" fmla="*/ 4924159 w 8079933"/>
              <a:gd name="connsiteY13759" fmla="*/ 1986116 h 4687251"/>
              <a:gd name="connsiteX13760" fmla="*/ 4924159 w 8079933"/>
              <a:gd name="connsiteY13760" fmla="*/ 1986115 h 4687251"/>
              <a:gd name="connsiteX13761" fmla="*/ 5353218 w 8079933"/>
              <a:gd name="connsiteY13761" fmla="*/ 1981905 h 4687251"/>
              <a:gd name="connsiteX13762" fmla="*/ 5355948 w 8079933"/>
              <a:gd name="connsiteY13762" fmla="*/ 1983842 h 4687251"/>
              <a:gd name="connsiteX13763" fmla="*/ 5357684 w 8079933"/>
              <a:gd name="connsiteY13763" fmla="*/ 1990013 h 4687251"/>
              <a:gd name="connsiteX13764" fmla="*/ 5358530 w 8079933"/>
              <a:gd name="connsiteY13764" fmla="*/ 1991536 h 4687251"/>
              <a:gd name="connsiteX13765" fmla="*/ 5357684 w 8079933"/>
              <a:gd name="connsiteY13765" fmla="*/ 1990013 h 4687251"/>
              <a:gd name="connsiteX13766" fmla="*/ 5355948 w 8079933"/>
              <a:gd name="connsiteY13766" fmla="*/ 1983841 h 4687251"/>
              <a:gd name="connsiteX13767" fmla="*/ 4956146 w 8079933"/>
              <a:gd name="connsiteY13767" fmla="*/ 1978843 h 4687251"/>
              <a:gd name="connsiteX13768" fmla="*/ 4956170 w 8079933"/>
              <a:gd name="connsiteY13768" fmla="*/ 1978866 h 4687251"/>
              <a:gd name="connsiteX13769" fmla="*/ 4956280 w 8079933"/>
              <a:gd name="connsiteY13769" fmla="*/ 1978970 h 4687251"/>
              <a:gd name="connsiteX13770" fmla="*/ 4964961 w 8079933"/>
              <a:gd name="connsiteY13770" fmla="*/ 1980052 h 4687251"/>
              <a:gd name="connsiteX13771" fmla="*/ 4969736 w 8079933"/>
              <a:gd name="connsiteY13771" fmla="*/ 1984816 h 4687251"/>
              <a:gd name="connsiteX13772" fmla="*/ 4968000 w 8079933"/>
              <a:gd name="connsiteY13772" fmla="*/ 1990338 h 4687251"/>
              <a:gd name="connsiteX13773" fmla="*/ 4968434 w 8079933"/>
              <a:gd name="connsiteY13773" fmla="*/ 1995210 h 4687251"/>
              <a:gd name="connsiteX13774" fmla="*/ 4978091 w 8079933"/>
              <a:gd name="connsiteY13774" fmla="*/ 2003114 h 4687251"/>
              <a:gd name="connsiteX13775" fmla="*/ 4978417 w 8079933"/>
              <a:gd name="connsiteY13775" fmla="*/ 2007878 h 4687251"/>
              <a:gd name="connsiteX13776" fmla="*/ 4977193 w 8079933"/>
              <a:gd name="connsiteY13776" fmla="*/ 2009226 h 4687251"/>
              <a:gd name="connsiteX13777" fmla="*/ 4978418 w 8079933"/>
              <a:gd name="connsiteY13777" fmla="*/ 2007876 h 4687251"/>
              <a:gd name="connsiteX13778" fmla="*/ 4978092 w 8079933"/>
              <a:gd name="connsiteY13778" fmla="*/ 2003113 h 4687251"/>
              <a:gd name="connsiteX13779" fmla="*/ 4968435 w 8079933"/>
              <a:gd name="connsiteY13779" fmla="*/ 1995209 h 4687251"/>
              <a:gd name="connsiteX13780" fmla="*/ 4968000 w 8079933"/>
              <a:gd name="connsiteY13780" fmla="*/ 1990337 h 4687251"/>
              <a:gd name="connsiteX13781" fmla="*/ 4969737 w 8079933"/>
              <a:gd name="connsiteY13781" fmla="*/ 1984815 h 4687251"/>
              <a:gd name="connsiteX13782" fmla="*/ 4964962 w 8079933"/>
              <a:gd name="connsiteY13782" fmla="*/ 1980051 h 4687251"/>
              <a:gd name="connsiteX13783" fmla="*/ 4956281 w 8079933"/>
              <a:gd name="connsiteY13783" fmla="*/ 1978968 h 4687251"/>
              <a:gd name="connsiteX13784" fmla="*/ 4492372 w 8079933"/>
              <a:gd name="connsiteY13784" fmla="*/ 1978752 h 4687251"/>
              <a:gd name="connsiteX13785" fmla="*/ 4493022 w 8079933"/>
              <a:gd name="connsiteY13785" fmla="*/ 1982650 h 4687251"/>
              <a:gd name="connsiteX13786" fmla="*/ 4493023 w 8079933"/>
              <a:gd name="connsiteY13786" fmla="*/ 1982650 h 4687251"/>
              <a:gd name="connsiteX13787" fmla="*/ 4492372 w 8079933"/>
              <a:gd name="connsiteY13787" fmla="*/ 1978752 h 4687251"/>
              <a:gd name="connsiteX13788" fmla="*/ 4915521 w 8079933"/>
              <a:gd name="connsiteY13788" fmla="*/ 1977833 h 4687251"/>
              <a:gd name="connsiteX13789" fmla="*/ 4915520 w 8079933"/>
              <a:gd name="connsiteY13789" fmla="*/ 1977834 h 4687251"/>
              <a:gd name="connsiteX13790" fmla="*/ 4919493 w 8079933"/>
              <a:gd name="connsiteY13790" fmla="*/ 1982109 h 4687251"/>
              <a:gd name="connsiteX13791" fmla="*/ 4919493 w 8079933"/>
              <a:gd name="connsiteY13791" fmla="*/ 1982109 h 4687251"/>
              <a:gd name="connsiteX13792" fmla="*/ 4919464 w 8079933"/>
              <a:gd name="connsiteY13792" fmla="*/ 1982077 h 4687251"/>
              <a:gd name="connsiteX13793" fmla="*/ 5517095 w 8079933"/>
              <a:gd name="connsiteY13793" fmla="*/ 1975504 h 4687251"/>
              <a:gd name="connsiteX13794" fmla="*/ 5517095 w 8079933"/>
              <a:gd name="connsiteY13794" fmla="*/ 1975505 h 4687251"/>
              <a:gd name="connsiteX13795" fmla="*/ 5524474 w 8079933"/>
              <a:gd name="connsiteY13795" fmla="*/ 1979077 h 4687251"/>
              <a:gd name="connsiteX13796" fmla="*/ 5524474 w 8079933"/>
              <a:gd name="connsiteY13796" fmla="*/ 1979077 h 4687251"/>
              <a:gd name="connsiteX13797" fmla="*/ 4977637 w 8079933"/>
              <a:gd name="connsiteY13797" fmla="*/ 1974963 h 4687251"/>
              <a:gd name="connsiteX13798" fmla="*/ 4983376 w 8079933"/>
              <a:gd name="connsiteY13798" fmla="*/ 1975170 h 4687251"/>
              <a:gd name="connsiteX13799" fmla="*/ 4982977 w 8079933"/>
              <a:gd name="connsiteY13799" fmla="*/ 1974963 h 4687251"/>
              <a:gd name="connsiteX13800" fmla="*/ 4933601 w 8079933"/>
              <a:gd name="connsiteY13800" fmla="*/ 1972906 h 4687251"/>
              <a:gd name="connsiteX13801" fmla="*/ 4922749 w 8079933"/>
              <a:gd name="connsiteY13801" fmla="*/ 1975288 h 4687251"/>
              <a:gd name="connsiteX13802" fmla="*/ 4915531 w 8079933"/>
              <a:gd name="connsiteY13802" fmla="*/ 1977830 h 4687251"/>
              <a:gd name="connsiteX13803" fmla="*/ 4915804 w 8079933"/>
              <a:gd name="connsiteY13803" fmla="*/ 1978103 h 4687251"/>
              <a:gd name="connsiteX13804" fmla="*/ 4923182 w 8079933"/>
              <a:gd name="connsiteY13804" fmla="*/ 1975505 h 4687251"/>
              <a:gd name="connsiteX13805" fmla="*/ 4933925 w 8079933"/>
              <a:gd name="connsiteY13805" fmla="*/ 1973123 h 4687251"/>
              <a:gd name="connsiteX13806" fmla="*/ 4936963 w 8079933"/>
              <a:gd name="connsiteY13806" fmla="*/ 1973772 h 4687251"/>
              <a:gd name="connsiteX13807" fmla="*/ 4945965 w 8079933"/>
              <a:gd name="connsiteY13807" fmla="*/ 1973555 h 4687251"/>
              <a:gd name="connsiteX13808" fmla="*/ 4936748 w 8079933"/>
              <a:gd name="connsiteY13808" fmla="*/ 1973555 h 4687251"/>
              <a:gd name="connsiteX13809" fmla="*/ 4533515 w 8079933"/>
              <a:gd name="connsiteY13809" fmla="*/ 1970973 h 4687251"/>
              <a:gd name="connsiteX13810" fmla="*/ 4533499 w 8079933"/>
              <a:gd name="connsiteY13810" fmla="*/ 1971065 h 4687251"/>
              <a:gd name="connsiteX13811" fmla="*/ 4533499 w 8079933"/>
              <a:gd name="connsiteY13811" fmla="*/ 1971065 h 4687251"/>
              <a:gd name="connsiteX13812" fmla="*/ 4884442 w 8079933"/>
              <a:gd name="connsiteY13812" fmla="*/ 1967926 h 4687251"/>
              <a:gd name="connsiteX13813" fmla="*/ 4882164 w 8079933"/>
              <a:gd name="connsiteY13813" fmla="*/ 1970849 h 4687251"/>
              <a:gd name="connsiteX13814" fmla="*/ 4879480 w 8079933"/>
              <a:gd name="connsiteY13814" fmla="*/ 1969992 h 4687251"/>
              <a:gd name="connsiteX13815" fmla="*/ 4879559 w 8079933"/>
              <a:gd name="connsiteY13815" fmla="*/ 1970308 h 4687251"/>
              <a:gd name="connsiteX13816" fmla="*/ 4882272 w 8079933"/>
              <a:gd name="connsiteY13816" fmla="*/ 1971174 h 4687251"/>
              <a:gd name="connsiteX13817" fmla="*/ 4884550 w 8079933"/>
              <a:gd name="connsiteY13817" fmla="*/ 1968251 h 4687251"/>
              <a:gd name="connsiteX13818" fmla="*/ 4890736 w 8079933"/>
              <a:gd name="connsiteY13818" fmla="*/ 1970633 h 4687251"/>
              <a:gd name="connsiteX13819" fmla="*/ 4892499 w 8079933"/>
              <a:gd name="connsiteY13819" fmla="*/ 1970307 h 4687251"/>
              <a:gd name="connsiteX13820" fmla="*/ 4890628 w 8079933"/>
              <a:gd name="connsiteY13820" fmla="*/ 1970307 h 4687251"/>
              <a:gd name="connsiteX13821" fmla="*/ 4960513 w 8079933"/>
              <a:gd name="connsiteY13821" fmla="*/ 1967384 h 4687251"/>
              <a:gd name="connsiteX13822" fmla="*/ 4951506 w 8079933"/>
              <a:gd name="connsiteY13822" fmla="*/ 1970849 h 4687251"/>
              <a:gd name="connsiteX13823" fmla="*/ 4951506 w 8079933"/>
              <a:gd name="connsiteY13823" fmla="*/ 1974472 h 4687251"/>
              <a:gd name="connsiteX13824" fmla="*/ 4951730 w 8079933"/>
              <a:gd name="connsiteY13824" fmla="*/ 1974682 h 4687251"/>
              <a:gd name="connsiteX13825" fmla="*/ 4952157 w 8079933"/>
              <a:gd name="connsiteY13825" fmla="*/ 1970740 h 4687251"/>
              <a:gd name="connsiteX13826" fmla="*/ 4960662 w 8079933"/>
              <a:gd name="connsiteY13826" fmla="*/ 1967468 h 4687251"/>
              <a:gd name="connsiteX13827" fmla="*/ 4400241 w 8079933"/>
              <a:gd name="connsiteY13827" fmla="*/ 1966301 h 4687251"/>
              <a:gd name="connsiteX13828" fmla="*/ 4400241 w 8079933"/>
              <a:gd name="connsiteY13828" fmla="*/ 1966302 h 4687251"/>
              <a:gd name="connsiteX13829" fmla="*/ 4401327 w 8079933"/>
              <a:gd name="connsiteY13829" fmla="*/ 1968468 h 4687251"/>
              <a:gd name="connsiteX13830" fmla="*/ 4401327 w 8079933"/>
              <a:gd name="connsiteY13830" fmla="*/ 1968469 h 4687251"/>
              <a:gd name="connsiteX13831" fmla="*/ 4401760 w 8079933"/>
              <a:gd name="connsiteY13831" fmla="*/ 1969226 h 4687251"/>
              <a:gd name="connsiteX13832" fmla="*/ 4403713 w 8079933"/>
              <a:gd name="connsiteY13832" fmla="*/ 1967277 h 4687251"/>
              <a:gd name="connsiteX13833" fmla="*/ 4403713 w 8079933"/>
              <a:gd name="connsiteY13833" fmla="*/ 1967277 h 4687251"/>
              <a:gd name="connsiteX13834" fmla="*/ 4401761 w 8079933"/>
              <a:gd name="connsiteY13834" fmla="*/ 1969225 h 4687251"/>
              <a:gd name="connsiteX13835" fmla="*/ 4400382 w 8079933"/>
              <a:gd name="connsiteY13835" fmla="*/ 1966572 h 4687251"/>
              <a:gd name="connsiteX13836" fmla="*/ 4401760 w 8079933"/>
              <a:gd name="connsiteY13836" fmla="*/ 1969225 h 4687251"/>
              <a:gd name="connsiteX13837" fmla="*/ 4401326 w 8079933"/>
              <a:gd name="connsiteY13837" fmla="*/ 1968466 h 4687251"/>
              <a:gd name="connsiteX13838" fmla="*/ 3784951 w 8079933"/>
              <a:gd name="connsiteY13838" fmla="*/ 1962728 h 4687251"/>
              <a:gd name="connsiteX13839" fmla="*/ 3780502 w 8079933"/>
              <a:gd name="connsiteY13839" fmla="*/ 1967167 h 4687251"/>
              <a:gd name="connsiteX13840" fmla="*/ 3767372 w 8079933"/>
              <a:gd name="connsiteY13840" fmla="*/ 1964460 h 4687251"/>
              <a:gd name="connsiteX13841" fmla="*/ 3759450 w 8079933"/>
              <a:gd name="connsiteY13841" fmla="*/ 1968575 h 4687251"/>
              <a:gd name="connsiteX13842" fmla="*/ 3757434 w 8079933"/>
              <a:gd name="connsiteY13842" fmla="*/ 1965186 h 4687251"/>
              <a:gd name="connsiteX13843" fmla="*/ 3757389 w 8079933"/>
              <a:gd name="connsiteY13843" fmla="*/ 1965543 h 4687251"/>
              <a:gd name="connsiteX13844" fmla="*/ 3759451 w 8079933"/>
              <a:gd name="connsiteY13844" fmla="*/ 1969008 h 4687251"/>
              <a:gd name="connsiteX13845" fmla="*/ 3767373 w 8079933"/>
              <a:gd name="connsiteY13845" fmla="*/ 1964894 h 4687251"/>
              <a:gd name="connsiteX13846" fmla="*/ 3780504 w 8079933"/>
              <a:gd name="connsiteY13846" fmla="*/ 1967601 h 4687251"/>
              <a:gd name="connsiteX13847" fmla="*/ 3785061 w 8079933"/>
              <a:gd name="connsiteY13847" fmla="*/ 1963162 h 4687251"/>
              <a:gd name="connsiteX13848" fmla="*/ 3795843 w 8079933"/>
              <a:gd name="connsiteY13848" fmla="*/ 1964493 h 4687251"/>
              <a:gd name="connsiteX13849" fmla="*/ 3795803 w 8079933"/>
              <a:gd name="connsiteY13849" fmla="*/ 1964135 h 4687251"/>
              <a:gd name="connsiteX13850" fmla="*/ 4408001 w 8079933"/>
              <a:gd name="connsiteY13850" fmla="*/ 1960901 h 4687251"/>
              <a:gd name="connsiteX13851" fmla="*/ 4403389 w 8079933"/>
              <a:gd name="connsiteY13851" fmla="*/ 1963378 h 4687251"/>
              <a:gd name="connsiteX13852" fmla="*/ 4403389 w 8079933"/>
              <a:gd name="connsiteY13852" fmla="*/ 1963378 h 4687251"/>
              <a:gd name="connsiteX13853" fmla="*/ 5546234 w 8079933"/>
              <a:gd name="connsiteY13853" fmla="*/ 1959597 h 4687251"/>
              <a:gd name="connsiteX13854" fmla="*/ 5547371 w 8079933"/>
              <a:gd name="connsiteY13854" fmla="*/ 1960779 h 4687251"/>
              <a:gd name="connsiteX13855" fmla="*/ 5549324 w 8079933"/>
              <a:gd name="connsiteY13855" fmla="*/ 1964244 h 4687251"/>
              <a:gd name="connsiteX13856" fmla="*/ 5549325 w 8079933"/>
              <a:gd name="connsiteY13856" fmla="*/ 1964244 h 4687251"/>
              <a:gd name="connsiteX13857" fmla="*/ 5547372 w 8079933"/>
              <a:gd name="connsiteY13857" fmla="*/ 1960780 h 4687251"/>
              <a:gd name="connsiteX13858" fmla="*/ 5547371 w 8079933"/>
              <a:gd name="connsiteY13858" fmla="*/ 1960779 h 4687251"/>
              <a:gd name="connsiteX13859" fmla="*/ 5547371 w 8079933"/>
              <a:gd name="connsiteY13859" fmla="*/ 1960779 h 4687251"/>
              <a:gd name="connsiteX13860" fmla="*/ 4415016 w 8079933"/>
              <a:gd name="connsiteY13860" fmla="*/ 1958196 h 4687251"/>
              <a:gd name="connsiteX13861" fmla="*/ 4414023 w 8079933"/>
              <a:gd name="connsiteY13861" fmla="*/ 1958939 h 4687251"/>
              <a:gd name="connsiteX13862" fmla="*/ 4409032 w 8079933"/>
              <a:gd name="connsiteY13862" fmla="*/ 1960347 h 4687251"/>
              <a:gd name="connsiteX13863" fmla="*/ 4409030 w 8079933"/>
              <a:gd name="connsiteY13863" fmla="*/ 1960348 h 4687251"/>
              <a:gd name="connsiteX13864" fmla="*/ 4414022 w 8079933"/>
              <a:gd name="connsiteY13864" fmla="*/ 1958940 h 4687251"/>
              <a:gd name="connsiteX13865" fmla="*/ 2309451 w 8079933"/>
              <a:gd name="connsiteY13865" fmla="*/ 1956990 h 4687251"/>
              <a:gd name="connsiteX13866" fmla="*/ 2309559 w 8079933"/>
              <a:gd name="connsiteY13866" fmla="*/ 1958289 h 4687251"/>
              <a:gd name="connsiteX13867" fmla="*/ 2307823 w 8079933"/>
              <a:gd name="connsiteY13867" fmla="*/ 1960346 h 4687251"/>
              <a:gd name="connsiteX13868" fmla="*/ 2306087 w 8079933"/>
              <a:gd name="connsiteY13868" fmla="*/ 1962836 h 4687251"/>
              <a:gd name="connsiteX13869" fmla="*/ 2310753 w 8079933"/>
              <a:gd name="connsiteY13869" fmla="*/ 1960779 h 4687251"/>
              <a:gd name="connsiteX13870" fmla="*/ 2313248 w 8079933"/>
              <a:gd name="connsiteY13870" fmla="*/ 1961971 h 4687251"/>
              <a:gd name="connsiteX13871" fmla="*/ 2317155 w 8079933"/>
              <a:gd name="connsiteY13871" fmla="*/ 1960563 h 4687251"/>
              <a:gd name="connsiteX13872" fmla="*/ 2314551 w 8079933"/>
              <a:gd name="connsiteY13872" fmla="*/ 1963053 h 4687251"/>
              <a:gd name="connsiteX13873" fmla="*/ 2308149 w 8079933"/>
              <a:gd name="connsiteY13873" fmla="*/ 1965002 h 4687251"/>
              <a:gd name="connsiteX13874" fmla="*/ 2306087 w 8079933"/>
              <a:gd name="connsiteY13874" fmla="*/ 1964569 h 4687251"/>
              <a:gd name="connsiteX13875" fmla="*/ 2304351 w 8079933"/>
              <a:gd name="connsiteY13875" fmla="*/ 1966193 h 4687251"/>
              <a:gd name="connsiteX13876" fmla="*/ 2297623 w 8079933"/>
              <a:gd name="connsiteY13876" fmla="*/ 1965868 h 4687251"/>
              <a:gd name="connsiteX13877" fmla="*/ 2294041 w 8079933"/>
              <a:gd name="connsiteY13877" fmla="*/ 1968033 h 4687251"/>
              <a:gd name="connsiteX13878" fmla="*/ 2286120 w 8079933"/>
              <a:gd name="connsiteY13878" fmla="*/ 1968141 h 4687251"/>
              <a:gd name="connsiteX13879" fmla="*/ 2281236 w 8079933"/>
              <a:gd name="connsiteY13879" fmla="*/ 1969657 h 4687251"/>
              <a:gd name="connsiteX13880" fmla="*/ 2276028 w 8079933"/>
              <a:gd name="connsiteY13880" fmla="*/ 1969874 h 4687251"/>
              <a:gd name="connsiteX13881" fmla="*/ 2274508 w 8079933"/>
              <a:gd name="connsiteY13881" fmla="*/ 1971390 h 4687251"/>
              <a:gd name="connsiteX13882" fmla="*/ 2271036 w 8079933"/>
              <a:gd name="connsiteY13882" fmla="*/ 1972472 h 4687251"/>
              <a:gd name="connsiteX13883" fmla="*/ 2272990 w 8079933"/>
              <a:gd name="connsiteY13883" fmla="*/ 1970740 h 4687251"/>
              <a:gd name="connsiteX13884" fmla="*/ 2269951 w 8079933"/>
              <a:gd name="connsiteY13884" fmla="*/ 1970524 h 4687251"/>
              <a:gd name="connsiteX13885" fmla="*/ 2269300 w 8079933"/>
              <a:gd name="connsiteY13885" fmla="*/ 1968467 h 4687251"/>
              <a:gd name="connsiteX13886" fmla="*/ 2272013 w 8079933"/>
              <a:gd name="connsiteY13886" fmla="*/ 1965110 h 4687251"/>
              <a:gd name="connsiteX13887" fmla="*/ 2277221 w 8079933"/>
              <a:gd name="connsiteY13887" fmla="*/ 1964244 h 4687251"/>
              <a:gd name="connsiteX13888" fmla="*/ 2284058 w 8079933"/>
              <a:gd name="connsiteY13888" fmla="*/ 1961429 h 4687251"/>
              <a:gd name="connsiteX13889" fmla="*/ 2289050 w 8079933"/>
              <a:gd name="connsiteY13889" fmla="*/ 1962620 h 4687251"/>
              <a:gd name="connsiteX13890" fmla="*/ 2295127 w 8079933"/>
              <a:gd name="connsiteY13890" fmla="*/ 1960779 h 4687251"/>
              <a:gd name="connsiteX13891" fmla="*/ 2302723 w 8079933"/>
              <a:gd name="connsiteY13891" fmla="*/ 1960779 h 4687251"/>
              <a:gd name="connsiteX13892" fmla="*/ 7134969 w 8079933"/>
              <a:gd name="connsiteY13892" fmla="*/ 1956774 h 4687251"/>
              <a:gd name="connsiteX13893" fmla="*/ 7135729 w 8079933"/>
              <a:gd name="connsiteY13893" fmla="*/ 1960131 h 4687251"/>
              <a:gd name="connsiteX13894" fmla="*/ 7135402 w 8079933"/>
              <a:gd name="connsiteY13894" fmla="*/ 1963595 h 4687251"/>
              <a:gd name="connsiteX13895" fmla="*/ 7138659 w 8079933"/>
              <a:gd name="connsiteY13895" fmla="*/ 1964678 h 4687251"/>
              <a:gd name="connsiteX13896" fmla="*/ 7139527 w 8079933"/>
              <a:gd name="connsiteY13896" fmla="*/ 1967168 h 4687251"/>
              <a:gd name="connsiteX13897" fmla="*/ 7138333 w 8079933"/>
              <a:gd name="connsiteY13897" fmla="*/ 1972473 h 4687251"/>
              <a:gd name="connsiteX13898" fmla="*/ 7135729 w 8079933"/>
              <a:gd name="connsiteY13898" fmla="*/ 1975072 h 4687251"/>
              <a:gd name="connsiteX13899" fmla="*/ 7133992 w 8079933"/>
              <a:gd name="connsiteY13899" fmla="*/ 1975613 h 4687251"/>
              <a:gd name="connsiteX13900" fmla="*/ 7134209 w 8079933"/>
              <a:gd name="connsiteY13900" fmla="*/ 1971066 h 4687251"/>
              <a:gd name="connsiteX13901" fmla="*/ 7135729 w 8079933"/>
              <a:gd name="connsiteY13901" fmla="*/ 1968359 h 4687251"/>
              <a:gd name="connsiteX13902" fmla="*/ 7134643 w 8079933"/>
              <a:gd name="connsiteY13902" fmla="*/ 1967601 h 4687251"/>
              <a:gd name="connsiteX13903" fmla="*/ 7131713 w 8079933"/>
              <a:gd name="connsiteY13903" fmla="*/ 1969333 h 4687251"/>
              <a:gd name="connsiteX13904" fmla="*/ 7131279 w 8079933"/>
              <a:gd name="connsiteY13904" fmla="*/ 1966302 h 4687251"/>
              <a:gd name="connsiteX13905" fmla="*/ 7133341 w 8079933"/>
              <a:gd name="connsiteY13905" fmla="*/ 1958398 h 4687251"/>
              <a:gd name="connsiteX13906" fmla="*/ 4399338 w 8079933"/>
              <a:gd name="connsiteY13906" fmla="*/ 1956376 h 4687251"/>
              <a:gd name="connsiteX13907" fmla="*/ 4400350 w 8079933"/>
              <a:gd name="connsiteY13907" fmla="*/ 1958940 h 4687251"/>
              <a:gd name="connsiteX13908" fmla="*/ 4400241 w 8079933"/>
              <a:gd name="connsiteY13908" fmla="*/ 1966301 h 4687251"/>
              <a:gd name="connsiteX13909" fmla="*/ 4400241 w 8079933"/>
              <a:gd name="connsiteY13909" fmla="*/ 1966302 h 4687251"/>
              <a:gd name="connsiteX13910" fmla="*/ 4400350 w 8079933"/>
              <a:gd name="connsiteY13910" fmla="*/ 1958939 h 4687251"/>
              <a:gd name="connsiteX13911" fmla="*/ 5478740 w 8079933"/>
              <a:gd name="connsiteY13911" fmla="*/ 1955772 h 4687251"/>
              <a:gd name="connsiteX13912" fmla="*/ 5486167 w 8079933"/>
              <a:gd name="connsiteY13912" fmla="*/ 1956774 h 4687251"/>
              <a:gd name="connsiteX13913" fmla="*/ 5486167 w 8079933"/>
              <a:gd name="connsiteY13913" fmla="*/ 1956774 h 4687251"/>
              <a:gd name="connsiteX13914" fmla="*/ 5478136 w 8079933"/>
              <a:gd name="connsiteY13914" fmla="*/ 1955691 h 4687251"/>
              <a:gd name="connsiteX13915" fmla="*/ 5471083 w 8079933"/>
              <a:gd name="connsiteY13915" fmla="*/ 1957099 h 4687251"/>
              <a:gd name="connsiteX13916" fmla="*/ 5460340 w 8079933"/>
              <a:gd name="connsiteY13916" fmla="*/ 1962837 h 4687251"/>
              <a:gd name="connsiteX13917" fmla="*/ 5460341 w 8079933"/>
              <a:gd name="connsiteY13917" fmla="*/ 1962837 h 4687251"/>
              <a:gd name="connsiteX13918" fmla="*/ 5471084 w 8079933"/>
              <a:gd name="connsiteY13918" fmla="*/ 1957099 h 4687251"/>
              <a:gd name="connsiteX13919" fmla="*/ 5478138 w 8079933"/>
              <a:gd name="connsiteY13919" fmla="*/ 1955691 h 4687251"/>
              <a:gd name="connsiteX13920" fmla="*/ 4982976 w 8079933"/>
              <a:gd name="connsiteY13920" fmla="*/ 1953094 h 4687251"/>
              <a:gd name="connsiteX13921" fmla="*/ 4982976 w 8079933"/>
              <a:gd name="connsiteY13921" fmla="*/ 1954393 h 4687251"/>
              <a:gd name="connsiteX13922" fmla="*/ 4980350 w 8079933"/>
              <a:gd name="connsiteY13922" fmla="*/ 1954682 h 4687251"/>
              <a:gd name="connsiteX13923" fmla="*/ 4981878 w 8079933"/>
              <a:gd name="connsiteY13923" fmla="*/ 1955597 h 4687251"/>
              <a:gd name="connsiteX13924" fmla="*/ 4985364 w 8079933"/>
              <a:gd name="connsiteY13924" fmla="*/ 1954825 h 4687251"/>
              <a:gd name="connsiteX13925" fmla="*/ 4983302 w 8079933"/>
              <a:gd name="connsiteY13925" fmla="*/ 1962187 h 4687251"/>
              <a:gd name="connsiteX13926" fmla="*/ 4989487 w 8079933"/>
              <a:gd name="connsiteY13926" fmla="*/ 1965977 h 4687251"/>
              <a:gd name="connsiteX13927" fmla="*/ 4992960 w 8079933"/>
              <a:gd name="connsiteY13927" fmla="*/ 1970740 h 4687251"/>
              <a:gd name="connsiteX13928" fmla="*/ 4991567 w 8079933"/>
              <a:gd name="connsiteY13928" fmla="*/ 1979291 h 4687251"/>
              <a:gd name="connsiteX13929" fmla="*/ 4992200 w 8079933"/>
              <a:gd name="connsiteY13929" fmla="*/ 1979618 h 4687251"/>
              <a:gd name="connsiteX13930" fmla="*/ 4993610 w 8079933"/>
              <a:gd name="connsiteY13930" fmla="*/ 1971065 h 4687251"/>
              <a:gd name="connsiteX13931" fmla="*/ 4990138 w 8079933"/>
              <a:gd name="connsiteY13931" fmla="*/ 1966193 h 4687251"/>
              <a:gd name="connsiteX13932" fmla="*/ 4983952 w 8079933"/>
              <a:gd name="connsiteY13932" fmla="*/ 1962403 h 4687251"/>
              <a:gd name="connsiteX13933" fmla="*/ 4986340 w 8079933"/>
              <a:gd name="connsiteY13933" fmla="*/ 1953850 h 4687251"/>
              <a:gd name="connsiteX13934" fmla="*/ 4990530 w 8079933"/>
              <a:gd name="connsiteY13934" fmla="*/ 1954248 h 4687251"/>
              <a:gd name="connsiteX13935" fmla="*/ 4989920 w 8079933"/>
              <a:gd name="connsiteY13935" fmla="*/ 1953743 h 4687251"/>
              <a:gd name="connsiteX13936" fmla="*/ 4438440 w 8079933"/>
              <a:gd name="connsiteY13936" fmla="*/ 1952984 h 4687251"/>
              <a:gd name="connsiteX13937" fmla="*/ 4431712 w 8079933"/>
              <a:gd name="connsiteY13937" fmla="*/ 1954500 h 4687251"/>
              <a:gd name="connsiteX13938" fmla="*/ 4427262 w 8079933"/>
              <a:gd name="connsiteY13938" fmla="*/ 1953742 h 4687251"/>
              <a:gd name="connsiteX13939" fmla="*/ 4421530 w 8079933"/>
              <a:gd name="connsiteY13939" fmla="*/ 1955139 h 4687251"/>
              <a:gd name="connsiteX13940" fmla="*/ 4427261 w 8079933"/>
              <a:gd name="connsiteY13940" fmla="*/ 1953743 h 4687251"/>
              <a:gd name="connsiteX13941" fmla="*/ 4431711 w 8079933"/>
              <a:gd name="connsiteY13941" fmla="*/ 1954501 h 4687251"/>
              <a:gd name="connsiteX13942" fmla="*/ 4438438 w 8079933"/>
              <a:gd name="connsiteY13942" fmla="*/ 1952985 h 4687251"/>
              <a:gd name="connsiteX13943" fmla="*/ 4441911 w 8079933"/>
              <a:gd name="connsiteY13943" fmla="*/ 1952985 h 4687251"/>
              <a:gd name="connsiteX13944" fmla="*/ 4451569 w 8079933"/>
              <a:gd name="connsiteY13944" fmla="*/ 1960456 h 4687251"/>
              <a:gd name="connsiteX13945" fmla="*/ 4457863 w 8079933"/>
              <a:gd name="connsiteY13945" fmla="*/ 1971716 h 4687251"/>
              <a:gd name="connsiteX13946" fmla="*/ 4458731 w 8079933"/>
              <a:gd name="connsiteY13946" fmla="*/ 1977346 h 4687251"/>
              <a:gd name="connsiteX13947" fmla="*/ 4459599 w 8079933"/>
              <a:gd name="connsiteY13947" fmla="*/ 1982109 h 4687251"/>
              <a:gd name="connsiteX13948" fmla="*/ 4459599 w 8079933"/>
              <a:gd name="connsiteY13948" fmla="*/ 1982109 h 4687251"/>
              <a:gd name="connsiteX13949" fmla="*/ 4458731 w 8079933"/>
              <a:gd name="connsiteY13949" fmla="*/ 1977345 h 4687251"/>
              <a:gd name="connsiteX13950" fmla="*/ 4457863 w 8079933"/>
              <a:gd name="connsiteY13950" fmla="*/ 1971714 h 4687251"/>
              <a:gd name="connsiteX13951" fmla="*/ 4451570 w 8079933"/>
              <a:gd name="connsiteY13951" fmla="*/ 1960455 h 4687251"/>
              <a:gd name="connsiteX13952" fmla="*/ 4441912 w 8079933"/>
              <a:gd name="connsiteY13952" fmla="*/ 1952984 h 4687251"/>
              <a:gd name="connsiteX13953" fmla="*/ 5037341 w 8079933"/>
              <a:gd name="connsiteY13953" fmla="*/ 1952444 h 4687251"/>
              <a:gd name="connsiteX13954" fmla="*/ 5036789 w 8079933"/>
              <a:gd name="connsiteY13954" fmla="*/ 1953109 h 4687251"/>
              <a:gd name="connsiteX13955" fmla="*/ 5040815 w 8079933"/>
              <a:gd name="connsiteY13955" fmla="*/ 1956015 h 4687251"/>
              <a:gd name="connsiteX13956" fmla="*/ 5048195 w 8079933"/>
              <a:gd name="connsiteY13956" fmla="*/ 1965651 h 4687251"/>
              <a:gd name="connsiteX13957" fmla="*/ 5048520 w 8079933"/>
              <a:gd name="connsiteY13957" fmla="*/ 1970307 h 4687251"/>
              <a:gd name="connsiteX13958" fmla="*/ 5051667 w 8079933"/>
              <a:gd name="connsiteY13958" fmla="*/ 1976911 h 4687251"/>
              <a:gd name="connsiteX13959" fmla="*/ 5059697 w 8079933"/>
              <a:gd name="connsiteY13959" fmla="*/ 1982650 h 4687251"/>
              <a:gd name="connsiteX13960" fmla="*/ 5060565 w 8079933"/>
              <a:gd name="connsiteY13960" fmla="*/ 1986439 h 4687251"/>
              <a:gd name="connsiteX13961" fmla="*/ 5065774 w 8079933"/>
              <a:gd name="connsiteY13961" fmla="*/ 1990337 h 4687251"/>
              <a:gd name="connsiteX13962" fmla="*/ 5067010 w 8079933"/>
              <a:gd name="connsiteY13962" fmla="*/ 1990316 h 4687251"/>
              <a:gd name="connsiteX13963" fmla="*/ 5061975 w 8079933"/>
              <a:gd name="connsiteY13963" fmla="*/ 1986548 h 4687251"/>
              <a:gd name="connsiteX13964" fmla="*/ 5061107 w 8079933"/>
              <a:gd name="connsiteY13964" fmla="*/ 1982759 h 4687251"/>
              <a:gd name="connsiteX13965" fmla="*/ 5052968 w 8079933"/>
              <a:gd name="connsiteY13965" fmla="*/ 1977020 h 4687251"/>
              <a:gd name="connsiteX13966" fmla="*/ 5049821 w 8079933"/>
              <a:gd name="connsiteY13966" fmla="*/ 1970308 h 4687251"/>
              <a:gd name="connsiteX13967" fmla="*/ 5049821 w 8079933"/>
              <a:gd name="connsiteY13967" fmla="*/ 1965652 h 4687251"/>
              <a:gd name="connsiteX13968" fmla="*/ 5042442 w 8079933"/>
              <a:gd name="connsiteY13968" fmla="*/ 1956016 h 4687251"/>
              <a:gd name="connsiteX13969" fmla="*/ 4181255 w 8079933"/>
              <a:gd name="connsiteY13969" fmla="*/ 1951793 h 4687251"/>
              <a:gd name="connsiteX13970" fmla="*/ 4182123 w 8079933"/>
              <a:gd name="connsiteY13970" fmla="*/ 1953959 h 4687251"/>
              <a:gd name="connsiteX13971" fmla="*/ 4179410 w 8079933"/>
              <a:gd name="connsiteY13971" fmla="*/ 1952659 h 4687251"/>
              <a:gd name="connsiteX13972" fmla="*/ 2348408 w 8079933"/>
              <a:gd name="connsiteY13972" fmla="*/ 1948437 h 4687251"/>
              <a:gd name="connsiteX13973" fmla="*/ 2352314 w 8079933"/>
              <a:gd name="connsiteY13973" fmla="*/ 1948437 h 4687251"/>
              <a:gd name="connsiteX13974" fmla="*/ 2354484 w 8079933"/>
              <a:gd name="connsiteY13974" fmla="*/ 1950710 h 4687251"/>
              <a:gd name="connsiteX13975" fmla="*/ 2351120 w 8079933"/>
              <a:gd name="connsiteY13975" fmla="*/ 1950710 h 4687251"/>
              <a:gd name="connsiteX13976" fmla="*/ 2349058 w 8079933"/>
              <a:gd name="connsiteY13976" fmla="*/ 1952659 h 4687251"/>
              <a:gd name="connsiteX13977" fmla="*/ 2346455 w 8079933"/>
              <a:gd name="connsiteY13977" fmla="*/ 1952984 h 4687251"/>
              <a:gd name="connsiteX13978" fmla="*/ 2345478 w 8079933"/>
              <a:gd name="connsiteY13978" fmla="*/ 1951143 h 4687251"/>
              <a:gd name="connsiteX13979" fmla="*/ 2347431 w 8079933"/>
              <a:gd name="connsiteY13979" fmla="*/ 1949736 h 4687251"/>
              <a:gd name="connsiteX13980" fmla="*/ 3995311 w 8079933"/>
              <a:gd name="connsiteY13980" fmla="*/ 1947272 h 4687251"/>
              <a:gd name="connsiteX13981" fmla="*/ 3984683 w 8079933"/>
              <a:gd name="connsiteY13981" fmla="*/ 1948302 h 4687251"/>
              <a:gd name="connsiteX13982" fmla="*/ 3984731 w 8079933"/>
              <a:gd name="connsiteY13982" fmla="*/ 1948328 h 4687251"/>
              <a:gd name="connsiteX13983" fmla="*/ 3952473 w 8079933"/>
              <a:gd name="connsiteY13983" fmla="*/ 1946933 h 4687251"/>
              <a:gd name="connsiteX13984" fmla="*/ 3952171 w 8079933"/>
              <a:gd name="connsiteY13984" fmla="*/ 1947243 h 4687251"/>
              <a:gd name="connsiteX13985" fmla="*/ 3952176 w 8079933"/>
              <a:gd name="connsiteY13985" fmla="*/ 1947245 h 4687251"/>
              <a:gd name="connsiteX13986" fmla="*/ 4966264 w 8079933"/>
              <a:gd name="connsiteY13986" fmla="*/ 1946922 h 4687251"/>
              <a:gd name="connsiteX13987" fmla="*/ 4940865 w 8079933"/>
              <a:gd name="connsiteY13987" fmla="*/ 1955854 h 4687251"/>
              <a:gd name="connsiteX13988" fmla="*/ 4942825 w 8079933"/>
              <a:gd name="connsiteY13988" fmla="*/ 1956990 h 4687251"/>
              <a:gd name="connsiteX13989" fmla="*/ 4968091 w 8079933"/>
              <a:gd name="connsiteY13989" fmla="*/ 1948105 h 4687251"/>
              <a:gd name="connsiteX13990" fmla="*/ 4386855 w 8079933"/>
              <a:gd name="connsiteY13990" fmla="*/ 1945129 h 4687251"/>
              <a:gd name="connsiteX13991" fmla="*/ 4386854 w 8079933"/>
              <a:gd name="connsiteY13991" fmla="*/ 1945130 h 4687251"/>
              <a:gd name="connsiteX13992" fmla="*/ 4388630 w 8079933"/>
              <a:gd name="connsiteY13992" fmla="*/ 1946380 h 4687251"/>
              <a:gd name="connsiteX13993" fmla="*/ 4391777 w 8079933"/>
              <a:gd name="connsiteY13993" fmla="*/ 1951685 h 4687251"/>
              <a:gd name="connsiteX13994" fmla="*/ 4394056 w 8079933"/>
              <a:gd name="connsiteY13994" fmla="*/ 1952227 h 4687251"/>
              <a:gd name="connsiteX13995" fmla="*/ 4398939 w 8079933"/>
              <a:gd name="connsiteY13995" fmla="*/ 1955366 h 4687251"/>
              <a:gd name="connsiteX13996" fmla="*/ 4398939 w 8079933"/>
              <a:gd name="connsiteY13996" fmla="*/ 1955366 h 4687251"/>
              <a:gd name="connsiteX13997" fmla="*/ 4394056 w 8079933"/>
              <a:gd name="connsiteY13997" fmla="*/ 1952227 h 4687251"/>
              <a:gd name="connsiteX13998" fmla="*/ 4391777 w 8079933"/>
              <a:gd name="connsiteY13998" fmla="*/ 1951685 h 4687251"/>
              <a:gd name="connsiteX13999" fmla="*/ 4388631 w 8079933"/>
              <a:gd name="connsiteY13999" fmla="*/ 1946380 h 4687251"/>
              <a:gd name="connsiteX14000" fmla="*/ 3977569 w 8079933"/>
              <a:gd name="connsiteY14000" fmla="*/ 1944540 h 4687251"/>
              <a:gd name="connsiteX14001" fmla="*/ 3971227 w 8079933"/>
              <a:gd name="connsiteY14001" fmla="*/ 1945162 h 4687251"/>
              <a:gd name="connsiteX14002" fmla="*/ 3971274 w 8079933"/>
              <a:gd name="connsiteY14002" fmla="*/ 1945188 h 4687251"/>
              <a:gd name="connsiteX14003" fmla="*/ 3977601 w 8079933"/>
              <a:gd name="connsiteY14003" fmla="*/ 1944557 h 4687251"/>
              <a:gd name="connsiteX14004" fmla="*/ 4440653 w 8079933"/>
              <a:gd name="connsiteY14004" fmla="*/ 1943311 h 4687251"/>
              <a:gd name="connsiteX14005" fmla="*/ 4440718 w 8079933"/>
              <a:gd name="connsiteY14005" fmla="*/ 1943782 h 4687251"/>
              <a:gd name="connsiteX14006" fmla="*/ 4442804 w 8079933"/>
              <a:gd name="connsiteY14006" fmla="*/ 1947126 h 4687251"/>
              <a:gd name="connsiteX14007" fmla="*/ 4440718 w 8079933"/>
              <a:gd name="connsiteY14007" fmla="*/ 1943781 h 4687251"/>
              <a:gd name="connsiteX14008" fmla="*/ 5535868 w 8079933"/>
              <a:gd name="connsiteY14008" fmla="*/ 1943131 h 4687251"/>
              <a:gd name="connsiteX14009" fmla="*/ 5535869 w 8079933"/>
              <a:gd name="connsiteY14009" fmla="*/ 1943132 h 4687251"/>
              <a:gd name="connsiteX14010" fmla="*/ 5540337 w 8079933"/>
              <a:gd name="connsiteY14010" fmla="*/ 1944451 h 4687251"/>
              <a:gd name="connsiteX14011" fmla="*/ 5295685 w 8079933"/>
              <a:gd name="connsiteY14011" fmla="*/ 1942049 h 4687251"/>
              <a:gd name="connsiteX14012" fmla="*/ 5296264 w 8079933"/>
              <a:gd name="connsiteY14012" fmla="*/ 1943890 h 4687251"/>
              <a:gd name="connsiteX14013" fmla="*/ 5314169 w 8079933"/>
              <a:gd name="connsiteY14013" fmla="*/ 1953526 h 4687251"/>
              <a:gd name="connsiteX14014" fmla="*/ 5328276 w 8079933"/>
              <a:gd name="connsiteY14014" fmla="*/ 1960671 h 4687251"/>
              <a:gd name="connsiteX14015" fmla="*/ 5332182 w 8079933"/>
              <a:gd name="connsiteY14015" fmla="*/ 1958290 h 4687251"/>
              <a:gd name="connsiteX14016" fmla="*/ 5336957 w 8079933"/>
              <a:gd name="connsiteY14016" fmla="*/ 1959048 h 4687251"/>
              <a:gd name="connsiteX14017" fmla="*/ 5346941 w 8079933"/>
              <a:gd name="connsiteY14017" fmla="*/ 1966193 h 4687251"/>
              <a:gd name="connsiteX14018" fmla="*/ 5347271 w 8079933"/>
              <a:gd name="connsiteY14018" fmla="*/ 1967328 h 4687251"/>
              <a:gd name="connsiteX14019" fmla="*/ 5346941 w 8079933"/>
              <a:gd name="connsiteY14019" fmla="*/ 1966193 h 4687251"/>
              <a:gd name="connsiteX14020" fmla="*/ 5336957 w 8079933"/>
              <a:gd name="connsiteY14020" fmla="*/ 1959048 h 4687251"/>
              <a:gd name="connsiteX14021" fmla="*/ 5332182 w 8079933"/>
              <a:gd name="connsiteY14021" fmla="*/ 1958289 h 4687251"/>
              <a:gd name="connsiteX14022" fmla="*/ 5328276 w 8079933"/>
              <a:gd name="connsiteY14022" fmla="*/ 1960671 h 4687251"/>
              <a:gd name="connsiteX14023" fmla="*/ 5314169 w 8079933"/>
              <a:gd name="connsiteY14023" fmla="*/ 1953526 h 4687251"/>
              <a:gd name="connsiteX14024" fmla="*/ 5296264 w 8079933"/>
              <a:gd name="connsiteY14024" fmla="*/ 1943889 h 4687251"/>
              <a:gd name="connsiteX14025" fmla="*/ 5559958 w 8079933"/>
              <a:gd name="connsiteY14025" fmla="*/ 1940749 h 4687251"/>
              <a:gd name="connsiteX14026" fmla="*/ 5559307 w 8079933"/>
              <a:gd name="connsiteY14026" fmla="*/ 1947462 h 4687251"/>
              <a:gd name="connsiteX14027" fmla="*/ 5555183 w 8079933"/>
              <a:gd name="connsiteY14027" fmla="*/ 1951901 h 4687251"/>
              <a:gd name="connsiteX14028" fmla="*/ 5555185 w 8079933"/>
              <a:gd name="connsiteY14028" fmla="*/ 1951901 h 4687251"/>
              <a:gd name="connsiteX14029" fmla="*/ 5559308 w 8079933"/>
              <a:gd name="connsiteY14029" fmla="*/ 1947462 h 4687251"/>
              <a:gd name="connsiteX14030" fmla="*/ 5559959 w 8079933"/>
              <a:gd name="connsiteY14030" fmla="*/ 1940750 h 4687251"/>
              <a:gd name="connsiteX14031" fmla="*/ 5562998 w 8079933"/>
              <a:gd name="connsiteY14031" fmla="*/ 1941399 h 4687251"/>
              <a:gd name="connsiteX14032" fmla="*/ 5562997 w 8079933"/>
              <a:gd name="connsiteY14032" fmla="*/ 1941399 h 4687251"/>
              <a:gd name="connsiteX14033" fmla="*/ 5531311 w 8079933"/>
              <a:gd name="connsiteY14033" fmla="*/ 1940425 h 4687251"/>
              <a:gd name="connsiteX14034" fmla="*/ 5531311 w 8079933"/>
              <a:gd name="connsiteY14034" fmla="*/ 1940425 h 4687251"/>
              <a:gd name="connsiteX14035" fmla="*/ 5535508 w 8079933"/>
              <a:gd name="connsiteY14035" fmla="*/ 1942918 h 4687251"/>
              <a:gd name="connsiteX14036" fmla="*/ 4166821 w 8079933"/>
              <a:gd name="connsiteY14036" fmla="*/ 1935444 h 4687251"/>
              <a:gd name="connsiteX14037" fmla="*/ 4169101 w 8079933"/>
              <a:gd name="connsiteY14037" fmla="*/ 1938150 h 4687251"/>
              <a:gd name="connsiteX14038" fmla="*/ 4169643 w 8079933"/>
              <a:gd name="connsiteY14038" fmla="*/ 1940750 h 4687251"/>
              <a:gd name="connsiteX14039" fmla="*/ 4165845 w 8079933"/>
              <a:gd name="connsiteY14039" fmla="*/ 1940533 h 4687251"/>
              <a:gd name="connsiteX14040" fmla="*/ 4160961 w 8079933"/>
              <a:gd name="connsiteY14040" fmla="*/ 1942265 h 4687251"/>
              <a:gd name="connsiteX14041" fmla="*/ 4158357 w 8079933"/>
              <a:gd name="connsiteY14041" fmla="*/ 1941183 h 4687251"/>
              <a:gd name="connsiteX14042" fmla="*/ 4160419 w 8079933"/>
              <a:gd name="connsiteY14042" fmla="*/ 1939017 h 4687251"/>
              <a:gd name="connsiteX14043" fmla="*/ 4165736 w 8079933"/>
              <a:gd name="connsiteY14043" fmla="*/ 1936960 h 4687251"/>
              <a:gd name="connsiteX14044" fmla="*/ 5234992 w 8079933"/>
              <a:gd name="connsiteY14044" fmla="*/ 1934992 h 4687251"/>
              <a:gd name="connsiteX14045" fmla="*/ 5232348 w 8079933"/>
              <a:gd name="connsiteY14045" fmla="*/ 1935228 h 4687251"/>
              <a:gd name="connsiteX14046" fmla="*/ 5227247 w 8079933"/>
              <a:gd name="connsiteY14046" fmla="*/ 1945622 h 4687251"/>
              <a:gd name="connsiteX14047" fmla="*/ 5227247 w 8079933"/>
              <a:gd name="connsiteY14047" fmla="*/ 1945622 h 4687251"/>
              <a:gd name="connsiteX14048" fmla="*/ 5232348 w 8079933"/>
              <a:gd name="connsiteY14048" fmla="*/ 1935228 h 4687251"/>
              <a:gd name="connsiteX14049" fmla="*/ 4308653 w 8079933"/>
              <a:gd name="connsiteY14049" fmla="*/ 1934254 h 4687251"/>
              <a:gd name="connsiteX14050" fmla="*/ 4316900 w 8079933"/>
              <a:gd name="connsiteY14050" fmla="*/ 1934254 h 4687251"/>
              <a:gd name="connsiteX14051" fmla="*/ 4320047 w 8079933"/>
              <a:gd name="connsiteY14051" fmla="*/ 1937177 h 4687251"/>
              <a:gd name="connsiteX14052" fmla="*/ 4312776 w 8079933"/>
              <a:gd name="connsiteY14052" fmla="*/ 1936527 h 4687251"/>
              <a:gd name="connsiteX14053" fmla="*/ 4142514 w 8079933"/>
              <a:gd name="connsiteY14053" fmla="*/ 1931979 h 4687251"/>
              <a:gd name="connsiteX14054" fmla="*/ 4144793 w 8079933"/>
              <a:gd name="connsiteY14054" fmla="*/ 1931979 h 4687251"/>
              <a:gd name="connsiteX14055" fmla="*/ 4146095 w 8079933"/>
              <a:gd name="connsiteY14055" fmla="*/ 1938908 h 4687251"/>
              <a:gd name="connsiteX14056" fmla="*/ 4145552 w 8079933"/>
              <a:gd name="connsiteY14056" fmla="*/ 1944971 h 4687251"/>
              <a:gd name="connsiteX14057" fmla="*/ 4148048 w 8079933"/>
              <a:gd name="connsiteY14057" fmla="*/ 1954608 h 4687251"/>
              <a:gd name="connsiteX14058" fmla="*/ 4145227 w 8079933"/>
              <a:gd name="connsiteY14058" fmla="*/ 1965543 h 4687251"/>
              <a:gd name="connsiteX14059" fmla="*/ 4145335 w 8079933"/>
              <a:gd name="connsiteY14059" fmla="*/ 1971715 h 4687251"/>
              <a:gd name="connsiteX14060" fmla="*/ 4142839 w 8079933"/>
              <a:gd name="connsiteY14060" fmla="*/ 1979293 h 4687251"/>
              <a:gd name="connsiteX14061" fmla="*/ 4138281 w 8079933"/>
              <a:gd name="connsiteY14061" fmla="*/ 1981459 h 4687251"/>
              <a:gd name="connsiteX14062" fmla="*/ 4131119 w 8079933"/>
              <a:gd name="connsiteY14062" fmla="*/ 1978428 h 4687251"/>
              <a:gd name="connsiteX14063" fmla="*/ 4129817 w 8079933"/>
              <a:gd name="connsiteY14063" fmla="*/ 1976262 h 4687251"/>
              <a:gd name="connsiteX14064" fmla="*/ 4131445 w 8079933"/>
              <a:gd name="connsiteY14064" fmla="*/ 1973663 h 4687251"/>
              <a:gd name="connsiteX14065" fmla="*/ 4133290 w 8079933"/>
              <a:gd name="connsiteY14065" fmla="*/ 1973989 h 4687251"/>
              <a:gd name="connsiteX14066" fmla="*/ 4131987 w 8079933"/>
              <a:gd name="connsiteY14066" fmla="*/ 1971931 h 4687251"/>
              <a:gd name="connsiteX14067" fmla="*/ 4130359 w 8079933"/>
              <a:gd name="connsiteY14067" fmla="*/ 1971931 h 4687251"/>
              <a:gd name="connsiteX14068" fmla="*/ 4130577 w 8079933"/>
              <a:gd name="connsiteY14068" fmla="*/ 1968683 h 4687251"/>
              <a:gd name="connsiteX14069" fmla="*/ 4127321 w 8079933"/>
              <a:gd name="connsiteY14069" fmla="*/ 1966842 h 4687251"/>
              <a:gd name="connsiteX14070" fmla="*/ 4125802 w 8079933"/>
              <a:gd name="connsiteY14070" fmla="*/ 1964460 h 4687251"/>
              <a:gd name="connsiteX14071" fmla="*/ 4127646 w 8079933"/>
              <a:gd name="connsiteY14071" fmla="*/ 1963377 h 4687251"/>
              <a:gd name="connsiteX14072" fmla="*/ 4127646 w 8079933"/>
              <a:gd name="connsiteY14072" fmla="*/ 1961645 h 4687251"/>
              <a:gd name="connsiteX14073" fmla="*/ 4124174 w 8079933"/>
              <a:gd name="connsiteY14073" fmla="*/ 1959805 h 4687251"/>
              <a:gd name="connsiteX14074" fmla="*/ 4123306 w 8079933"/>
              <a:gd name="connsiteY14074" fmla="*/ 1956340 h 4687251"/>
              <a:gd name="connsiteX14075" fmla="*/ 4126019 w 8079933"/>
              <a:gd name="connsiteY14075" fmla="*/ 1956340 h 4687251"/>
              <a:gd name="connsiteX14076" fmla="*/ 4126996 w 8079933"/>
              <a:gd name="connsiteY14076" fmla="*/ 1954175 h 4687251"/>
              <a:gd name="connsiteX14077" fmla="*/ 4124174 w 8079933"/>
              <a:gd name="connsiteY14077" fmla="*/ 1951685 h 4687251"/>
              <a:gd name="connsiteX14078" fmla="*/ 4127538 w 8079933"/>
              <a:gd name="connsiteY14078" fmla="*/ 1945946 h 4687251"/>
              <a:gd name="connsiteX14079" fmla="*/ 4134700 w 8079933"/>
              <a:gd name="connsiteY14079" fmla="*/ 1943348 h 4687251"/>
              <a:gd name="connsiteX14080" fmla="*/ 4137630 w 8079933"/>
              <a:gd name="connsiteY14080" fmla="*/ 1940532 h 4687251"/>
              <a:gd name="connsiteX14081" fmla="*/ 4140560 w 8079933"/>
              <a:gd name="connsiteY14081" fmla="*/ 1943564 h 4687251"/>
              <a:gd name="connsiteX14082" fmla="*/ 4142296 w 8079933"/>
              <a:gd name="connsiteY14082" fmla="*/ 1943564 h 4687251"/>
              <a:gd name="connsiteX14083" fmla="*/ 4143056 w 8079933"/>
              <a:gd name="connsiteY14083" fmla="*/ 1939233 h 4687251"/>
              <a:gd name="connsiteX14084" fmla="*/ 4141537 w 8079933"/>
              <a:gd name="connsiteY14084" fmla="*/ 1936201 h 4687251"/>
              <a:gd name="connsiteX14085" fmla="*/ 4383096 w 8079933"/>
              <a:gd name="connsiteY14085" fmla="*/ 1931748 h 4687251"/>
              <a:gd name="connsiteX14086" fmla="*/ 4384724 w 8079933"/>
              <a:gd name="connsiteY14086" fmla="*/ 1933279 h 4687251"/>
              <a:gd name="connsiteX14087" fmla="*/ 4390692 w 8079933"/>
              <a:gd name="connsiteY14087" fmla="*/ 1934362 h 4687251"/>
              <a:gd name="connsiteX14088" fmla="*/ 4390711 w 8079933"/>
              <a:gd name="connsiteY14088" fmla="*/ 1934676 h 4687251"/>
              <a:gd name="connsiteX14089" fmla="*/ 4390692 w 8079933"/>
              <a:gd name="connsiteY14089" fmla="*/ 1934362 h 4687251"/>
              <a:gd name="connsiteX14090" fmla="*/ 4384724 w 8079933"/>
              <a:gd name="connsiteY14090" fmla="*/ 1933279 h 4687251"/>
              <a:gd name="connsiteX14091" fmla="*/ 4303119 w 8079933"/>
              <a:gd name="connsiteY14091" fmla="*/ 1929274 h 4687251"/>
              <a:gd name="connsiteX14092" fmla="*/ 4315381 w 8079933"/>
              <a:gd name="connsiteY14092" fmla="*/ 1929490 h 4687251"/>
              <a:gd name="connsiteX14093" fmla="*/ 4310389 w 8079933"/>
              <a:gd name="connsiteY14093" fmla="*/ 1931872 h 4687251"/>
              <a:gd name="connsiteX14094" fmla="*/ 5246100 w 8079933"/>
              <a:gd name="connsiteY14094" fmla="*/ 1927209 h 4687251"/>
              <a:gd name="connsiteX14095" fmla="*/ 5243416 w 8079933"/>
              <a:gd name="connsiteY14095" fmla="*/ 1928732 h 4687251"/>
              <a:gd name="connsiteX14096" fmla="*/ 5242035 w 8079933"/>
              <a:gd name="connsiteY14096" fmla="*/ 1930858 h 4687251"/>
              <a:gd name="connsiteX14097" fmla="*/ 5243416 w 8079933"/>
              <a:gd name="connsiteY14097" fmla="*/ 1928732 h 4687251"/>
              <a:gd name="connsiteX14098" fmla="*/ 5123627 w 8079933"/>
              <a:gd name="connsiteY14098" fmla="*/ 1925654 h 4687251"/>
              <a:gd name="connsiteX14099" fmla="*/ 5123504 w 8079933"/>
              <a:gd name="connsiteY14099" fmla="*/ 1925917 h 4687251"/>
              <a:gd name="connsiteX14100" fmla="*/ 5123504 w 8079933"/>
              <a:gd name="connsiteY14100" fmla="*/ 1928299 h 4687251"/>
              <a:gd name="connsiteX14101" fmla="*/ 5122636 w 8079933"/>
              <a:gd name="connsiteY14101" fmla="*/ 1935012 h 4687251"/>
              <a:gd name="connsiteX14102" fmla="*/ 5119923 w 8079933"/>
              <a:gd name="connsiteY14102" fmla="*/ 1941616 h 4687251"/>
              <a:gd name="connsiteX14103" fmla="*/ 5121226 w 8079933"/>
              <a:gd name="connsiteY14103" fmla="*/ 1947246 h 4687251"/>
              <a:gd name="connsiteX14104" fmla="*/ 5121226 w 8079933"/>
              <a:gd name="connsiteY14104" fmla="*/ 1953418 h 4687251"/>
              <a:gd name="connsiteX14105" fmla="*/ 5121226 w 8079933"/>
              <a:gd name="connsiteY14105" fmla="*/ 1955258 h 4687251"/>
              <a:gd name="connsiteX14106" fmla="*/ 5124806 w 8079933"/>
              <a:gd name="connsiteY14106" fmla="*/ 1958940 h 4687251"/>
              <a:gd name="connsiteX14107" fmla="*/ 5126434 w 8079933"/>
              <a:gd name="connsiteY14107" fmla="*/ 1962404 h 4687251"/>
              <a:gd name="connsiteX14108" fmla="*/ 5130340 w 8079933"/>
              <a:gd name="connsiteY14108" fmla="*/ 1965436 h 4687251"/>
              <a:gd name="connsiteX14109" fmla="*/ 5131752 w 8079933"/>
              <a:gd name="connsiteY14109" fmla="*/ 1969658 h 4687251"/>
              <a:gd name="connsiteX14110" fmla="*/ 5136960 w 8079933"/>
              <a:gd name="connsiteY14110" fmla="*/ 1977670 h 4687251"/>
              <a:gd name="connsiteX14111" fmla="*/ 5135875 w 8079933"/>
              <a:gd name="connsiteY14111" fmla="*/ 1984708 h 4687251"/>
              <a:gd name="connsiteX14112" fmla="*/ 5132945 w 8079933"/>
              <a:gd name="connsiteY14112" fmla="*/ 1989689 h 4687251"/>
              <a:gd name="connsiteX14113" fmla="*/ 5133922 w 8079933"/>
              <a:gd name="connsiteY14113" fmla="*/ 2001707 h 4687251"/>
              <a:gd name="connsiteX14114" fmla="*/ 5136635 w 8079933"/>
              <a:gd name="connsiteY14114" fmla="*/ 2005280 h 4687251"/>
              <a:gd name="connsiteX14115" fmla="*/ 5137828 w 8079933"/>
              <a:gd name="connsiteY14115" fmla="*/ 2008852 h 4687251"/>
              <a:gd name="connsiteX14116" fmla="*/ 5146076 w 8079933"/>
              <a:gd name="connsiteY14116" fmla="*/ 2016539 h 4687251"/>
              <a:gd name="connsiteX14117" fmla="*/ 5146076 w 8079933"/>
              <a:gd name="connsiteY14117" fmla="*/ 2015225 h 4687251"/>
              <a:gd name="connsiteX14118" fmla="*/ 5138914 w 8079933"/>
              <a:gd name="connsiteY14118" fmla="*/ 2008636 h 4687251"/>
              <a:gd name="connsiteX14119" fmla="*/ 5137720 w 8079933"/>
              <a:gd name="connsiteY14119" fmla="*/ 2004954 h 4687251"/>
              <a:gd name="connsiteX14120" fmla="*/ 5135007 w 8079933"/>
              <a:gd name="connsiteY14120" fmla="*/ 2001381 h 4687251"/>
              <a:gd name="connsiteX14121" fmla="*/ 5134031 w 8079933"/>
              <a:gd name="connsiteY14121" fmla="*/ 1989364 h 4687251"/>
              <a:gd name="connsiteX14122" fmla="*/ 5136961 w 8079933"/>
              <a:gd name="connsiteY14122" fmla="*/ 1984383 h 4687251"/>
              <a:gd name="connsiteX14123" fmla="*/ 5137937 w 8079933"/>
              <a:gd name="connsiteY14123" fmla="*/ 1977346 h 4687251"/>
              <a:gd name="connsiteX14124" fmla="*/ 5132728 w 8079933"/>
              <a:gd name="connsiteY14124" fmla="*/ 1969334 h 4687251"/>
              <a:gd name="connsiteX14125" fmla="*/ 5131426 w 8079933"/>
              <a:gd name="connsiteY14125" fmla="*/ 1965111 h 4687251"/>
              <a:gd name="connsiteX14126" fmla="*/ 5127520 w 8079933"/>
              <a:gd name="connsiteY14126" fmla="*/ 1962079 h 4687251"/>
              <a:gd name="connsiteX14127" fmla="*/ 5125892 w 8079933"/>
              <a:gd name="connsiteY14127" fmla="*/ 1958614 h 4687251"/>
              <a:gd name="connsiteX14128" fmla="*/ 5122202 w 8079933"/>
              <a:gd name="connsiteY14128" fmla="*/ 1954825 h 4687251"/>
              <a:gd name="connsiteX14129" fmla="*/ 5122094 w 8079933"/>
              <a:gd name="connsiteY14129" fmla="*/ 1952985 h 4687251"/>
              <a:gd name="connsiteX14130" fmla="*/ 5136852 w 8079933"/>
              <a:gd name="connsiteY14130" fmla="*/ 1939775 h 4687251"/>
              <a:gd name="connsiteX14131" fmla="*/ 5148572 w 8079933"/>
              <a:gd name="connsiteY14131" fmla="*/ 1935553 h 4687251"/>
              <a:gd name="connsiteX14132" fmla="*/ 5154749 w 8079933"/>
              <a:gd name="connsiteY14132" fmla="*/ 1936544 h 4687251"/>
              <a:gd name="connsiteX14133" fmla="*/ 5148571 w 8079933"/>
              <a:gd name="connsiteY14133" fmla="*/ 1935552 h 4687251"/>
              <a:gd name="connsiteX14134" fmla="*/ 5136851 w 8079933"/>
              <a:gd name="connsiteY14134" fmla="*/ 1939775 h 4687251"/>
              <a:gd name="connsiteX14135" fmla="*/ 5122093 w 8079933"/>
              <a:gd name="connsiteY14135" fmla="*/ 1952984 h 4687251"/>
              <a:gd name="connsiteX14136" fmla="*/ 5121550 w 8079933"/>
              <a:gd name="connsiteY14136" fmla="*/ 1946813 h 4687251"/>
              <a:gd name="connsiteX14137" fmla="*/ 5120248 w 8079933"/>
              <a:gd name="connsiteY14137" fmla="*/ 1941183 h 4687251"/>
              <a:gd name="connsiteX14138" fmla="*/ 5122961 w 8079933"/>
              <a:gd name="connsiteY14138" fmla="*/ 1934578 h 4687251"/>
              <a:gd name="connsiteX14139" fmla="*/ 5123830 w 8079933"/>
              <a:gd name="connsiteY14139" fmla="*/ 1927866 h 4687251"/>
              <a:gd name="connsiteX14140" fmla="*/ 5248951 w 8079933"/>
              <a:gd name="connsiteY14140" fmla="*/ 1925592 h 4687251"/>
              <a:gd name="connsiteX14141" fmla="*/ 5248950 w 8079933"/>
              <a:gd name="connsiteY14141" fmla="*/ 1925592 h 4687251"/>
              <a:gd name="connsiteX14142" fmla="*/ 5254810 w 8079933"/>
              <a:gd name="connsiteY14142" fmla="*/ 1928732 h 4687251"/>
              <a:gd name="connsiteX14143" fmla="*/ 5257632 w 8079933"/>
              <a:gd name="connsiteY14143" fmla="*/ 1927000 h 4687251"/>
              <a:gd name="connsiteX14144" fmla="*/ 5254810 w 8079933"/>
              <a:gd name="connsiteY14144" fmla="*/ 1928732 h 4687251"/>
              <a:gd name="connsiteX14145" fmla="*/ 4303336 w 8079933"/>
              <a:gd name="connsiteY14145" fmla="*/ 1923752 h 4687251"/>
              <a:gd name="connsiteX14146" fmla="*/ 4312777 w 8079933"/>
              <a:gd name="connsiteY14146" fmla="*/ 1923752 h 4687251"/>
              <a:gd name="connsiteX14147" fmla="*/ 4314839 w 8079933"/>
              <a:gd name="connsiteY14147" fmla="*/ 1925160 h 4687251"/>
              <a:gd name="connsiteX14148" fmla="*/ 4310172 w 8079933"/>
              <a:gd name="connsiteY14148" fmla="*/ 1927434 h 4687251"/>
              <a:gd name="connsiteX14149" fmla="*/ 4305506 w 8079933"/>
              <a:gd name="connsiteY14149" fmla="*/ 1926676 h 4687251"/>
              <a:gd name="connsiteX14150" fmla="*/ 5253399 w 8079933"/>
              <a:gd name="connsiteY14150" fmla="*/ 1921153 h 4687251"/>
              <a:gd name="connsiteX14151" fmla="*/ 5253399 w 8079933"/>
              <a:gd name="connsiteY14151" fmla="*/ 1921153 h 4687251"/>
              <a:gd name="connsiteX14152" fmla="*/ 5257424 w 8079933"/>
              <a:gd name="connsiteY14152" fmla="*/ 1921507 h 4687251"/>
              <a:gd name="connsiteX14153" fmla="*/ 5539778 w 8079933"/>
              <a:gd name="connsiteY14153" fmla="*/ 1917352 h 4687251"/>
              <a:gd name="connsiteX14154" fmla="*/ 5539778 w 8079933"/>
              <a:gd name="connsiteY14154" fmla="*/ 1917352 h 4687251"/>
              <a:gd name="connsiteX14155" fmla="*/ 5542271 w 8079933"/>
              <a:gd name="connsiteY14155" fmla="*/ 1917688 h 4687251"/>
              <a:gd name="connsiteX14156" fmla="*/ 5542282 w 8079933"/>
              <a:gd name="connsiteY14156" fmla="*/ 1917864 h 4687251"/>
              <a:gd name="connsiteX14157" fmla="*/ 5542271 w 8079933"/>
              <a:gd name="connsiteY14157" fmla="*/ 1917687 h 4687251"/>
              <a:gd name="connsiteX14158" fmla="*/ 5538254 w 8079933"/>
              <a:gd name="connsiteY14158" fmla="*/ 1917147 h 4687251"/>
              <a:gd name="connsiteX14159" fmla="*/ 5533480 w 8079933"/>
              <a:gd name="connsiteY14159" fmla="*/ 1923318 h 4687251"/>
              <a:gd name="connsiteX14160" fmla="*/ 5529356 w 8079933"/>
              <a:gd name="connsiteY14160" fmla="*/ 1925050 h 4687251"/>
              <a:gd name="connsiteX14161" fmla="*/ 5520024 w 8079933"/>
              <a:gd name="connsiteY14161" fmla="*/ 1936311 h 4687251"/>
              <a:gd name="connsiteX14162" fmla="*/ 5516768 w 8079933"/>
              <a:gd name="connsiteY14162" fmla="*/ 1942807 h 4687251"/>
              <a:gd name="connsiteX14163" fmla="*/ 5513946 w 8079933"/>
              <a:gd name="connsiteY14163" fmla="*/ 1946055 h 4687251"/>
              <a:gd name="connsiteX14164" fmla="*/ 5509172 w 8079933"/>
              <a:gd name="connsiteY14164" fmla="*/ 1955041 h 4687251"/>
              <a:gd name="connsiteX14165" fmla="*/ 5499515 w 8079933"/>
              <a:gd name="connsiteY14165" fmla="*/ 1963919 h 4687251"/>
              <a:gd name="connsiteX14166" fmla="*/ 5499516 w 8079933"/>
              <a:gd name="connsiteY14166" fmla="*/ 1963920 h 4687251"/>
              <a:gd name="connsiteX14167" fmla="*/ 5509174 w 8079933"/>
              <a:gd name="connsiteY14167" fmla="*/ 1955042 h 4687251"/>
              <a:gd name="connsiteX14168" fmla="*/ 5513948 w 8079933"/>
              <a:gd name="connsiteY14168" fmla="*/ 1946055 h 4687251"/>
              <a:gd name="connsiteX14169" fmla="*/ 5516770 w 8079933"/>
              <a:gd name="connsiteY14169" fmla="*/ 1942807 h 4687251"/>
              <a:gd name="connsiteX14170" fmla="*/ 5520025 w 8079933"/>
              <a:gd name="connsiteY14170" fmla="*/ 1936310 h 4687251"/>
              <a:gd name="connsiteX14171" fmla="*/ 5529357 w 8079933"/>
              <a:gd name="connsiteY14171" fmla="*/ 1925050 h 4687251"/>
              <a:gd name="connsiteX14172" fmla="*/ 5533482 w 8079933"/>
              <a:gd name="connsiteY14172" fmla="*/ 1923318 h 4687251"/>
              <a:gd name="connsiteX14173" fmla="*/ 5538256 w 8079933"/>
              <a:gd name="connsiteY14173" fmla="*/ 1917147 h 4687251"/>
              <a:gd name="connsiteX14174" fmla="*/ 4369856 w 8079933"/>
              <a:gd name="connsiteY14174" fmla="*/ 1916822 h 4687251"/>
              <a:gd name="connsiteX14175" fmla="*/ 4368229 w 8079933"/>
              <a:gd name="connsiteY14175" fmla="*/ 1918446 h 4687251"/>
              <a:gd name="connsiteX14176" fmla="*/ 4367795 w 8079933"/>
              <a:gd name="connsiteY14176" fmla="*/ 1918879 h 4687251"/>
              <a:gd name="connsiteX14177" fmla="*/ 4359953 w 8079933"/>
              <a:gd name="connsiteY14177" fmla="*/ 1914881 h 4687251"/>
              <a:gd name="connsiteX14178" fmla="*/ 4363997 w 8079933"/>
              <a:gd name="connsiteY14178" fmla="*/ 1917689 h 4687251"/>
              <a:gd name="connsiteX14179" fmla="*/ 4367795 w 8079933"/>
              <a:gd name="connsiteY14179" fmla="*/ 1918879 h 4687251"/>
              <a:gd name="connsiteX14180" fmla="*/ 4368229 w 8079933"/>
              <a:gd name="connsiteY14180" fmla="*/ 1918446 h 4687251"/>
              <a:gd name="connsiteX14181" fmla="*/ 4372931 w 8079933"/>
              <a:gd name="connsiteY14181" fmla="*/ 1922938 h 4687251"/>
              <a:gd name="connsiteX14182" fmla="*/ 4368229 w 8079933"/>
              <a:gd name="connsiteY14182" fmla="*/ 1918446 h 4687251"/>
              <a:gd name="connsiteX14183" fmla="*/ 4369857 w 8079933"/>
              <a:gd name="connsiteY14183" fmla="*/ 1916822 h 4687251"/>
              <a:gd name="connsiteX14184" fmla="*/ 4369856 w 8079933"/>
              <a:gd name="connsiteY14184" fmla="*/ 1916821 h 4687251"/>
              <a:gd name="connsiteX14185" fmla="*/ 4367795 w 8079933"/>
              <a:gd name="connsiteY14185" fmla="*/ 1918878 h 4687251"/>
              <a:gd name="connsiteX14186" fmla="*/ 4363996 w 8079933"/>
              <a:gd name="connsiteY14186" fmla="*/ 1917688 h 4687251"/>
              <a:gd name="connsiteX14187" fmla="*/ 4359004 w 8079933"/>
              <a:gd name="connsiteY14187" fmla="*/ 1914223 h 4687251"/>
              <a:gd name="connsiteX14188" fmla="*/ 4356075 w 8079933"/>
              <a:gd name="connsiteY14188" fmla="*/ 1916280 h 4687251"/>
              <a:gd name="connsiteX14189" fmla="*/ 4356291 w 8079933"/>
              <a:gd name="connsiteY14189" fmla="*/ 1919961 h 4687251"/>
              <a:gd name="connsiteX14190" fmla="*/ 4356293 w 8079933"/>
              <a:gd name="connsiteY14190" fmla="*/ 1919962 h 4687251"/>
              <a:gd name="connsiteX14191" fmla="*/ 4356075 w 8079933"/>
              <a:gd name="connsiteY14191" fmla="*/ 1916281 h 4687251"/>
              <a:gd name="connsiteX14192" fmla="*/ 4359006 w 8079933"/>
              <a:gd name="connsiteY14192" fmla="*/ 1914224 h 4687251"/>
              <a:gd name="connsiteX14193" fmla="*/ 5544006 w 8079933"/>
              <a:gd name="connsiteY14193" fmla="*/ 1909026 h 4687251"/>
              <a:gd name="connsiteX14194" fmla="*/ 5544006 w 8079933"/>
              <a:gd name="connsiteY14194" fmla="*/ 1909026 h 4687251"/>
              <a:gd name="connsiteX14195" fmla="*/ 5545742 w 8079933"/>
              <a:gd name="connsiteY14195" fmla="*/ 1911841 h 4687251"/>
              <a:gd name="connsiteX14196" fmla="*/ 5545742 w 8079933"/>
              <a:gd name="connsiteY14196" fmla="*/ 1911841 h 4687251"/>
              <a:gd name="connsiteX14197" fmla="*/ 4492809 w 8079933"/>
              <a:gd name="connsiteY14197" fmla="*/ 1908427 h 4687251"/>
              <a:gd name="connsiteX14198" fmla="*/ 4495953 w 8079933"/>
              <a:gd name="connsiteY14198" fmla="*/ 1909568 h 4687251"/>
              <a:gd name="connsiteX14199" fmla="*/ 4500185 w 8079933"/>
              <a:gd name="connsiteY14199" fmla="*/ 1909568 h 4687251"/>
              <a:gd name="connsiteX14200" fmla="*/ 4506004 w 8079933"/>
              <a:gd name="connsiteY14200" fmla="*/ 1910275 h 4687251"/>
              <a:gd name="connsiteX14201" fmla="*/ 4500184 w 8079933"/>
              <a:gd name="connsiteY14201" fmla="*/ 1909567 h 4687251"/>
              <a:gd name="connsiteX14202" fmla="*/ 4495952 w 8079933"/>
              <a:gd name="connsiteY14202" fmla="*/ 1909567 h 4687251"/>
              <a:gd name="connsiteX14203" fmla="*/ 4463368 w 8079933"/>
              <a:gd name="connsiteY14203" fmla="*/ 1907343 h 4687251"/>
              <a:gd name="connsiteX14204" fmla="*/ 4465025 w 8079933"/>
              <a:gd name="connsiteY14204" fmla="*/ 1909135 h 4687251"/>
              <a:gd name="connsiteX14205" fmla="*/ 4467413 w 8079933"/>
              <a:gd name="connsiteY14205" fmla="*/ 1908376 h 4687251"/>
              <a:gd name="connsiteX14206" fmla="*/ 4475660 w 8079933"/>
              <a:gd name="connsiteY14206" fmla="*/ 1911517 h 4687251"/>
              <a:gd name="connsiteX14207" fmla="*/ 4482497 w 8079933"/>
              <a:gd name="connsiteY14207" fmla="*/ 1908268 h 4687251"/>
              <a:gd name="connsiteX14208" fmla="*/ 4487163 w 8079933"/>
              <a:gd name="connsiteY14208" fmla="*/ 1909568 h 4687251"/>
              <a:gd name="connsiteX14209" fmla="*/ 4490107 w 8079933"/>
              <a:gd name="connsiteY14209" fmla="*/ 1908297 h 4687251"/>
              <a:gd name="connsiteX14210" fmla="*/ 4487163 w 8079933"/>
              <a:gd name="connsiteY14210" fmla="*/ 1909567 h 4687251"/>
              <a:gd name="connsiteX14211" fmla="*/ 4482497 w 8079933"/>
              <a:gd name="connsiteY14211" fmla="*/ 1908268 h 4687251"/>
              <a:gd name="connsiteX14212" fmla="*/ 4475660 w 8079933"/>
              <a:gd name="connsiteY14212" fmla="*/ 1911516 h 4687251"/>
              <a:gd name="connsiteX14213" fmla="*/ 4467413 w 8079933"/>
              <a:gd name="connsiteY14213" fmla="*/ 1908376 h 4687251"/>
              <a:gd name="connsiteX14214" fmla="*/ 4465025 w 8079933"/>
              <a:gd name="connsiteY14214" fmla="*/ 1909134 h 4687251"/>
              <a:gd name="connsiteX14215" fmla="*/ 4456018 w 8079933"/>
              <a:gd name="connsiteY14215" fmla="*/ 1905995 h 4687251"/>
              <a:gd name="connsiteX14216" fmla="*/ 4450159 w 8079933"/>
              <a:gd name="connsiteY14216" fmla="*/ 1909783 h 4687251"/>
              <a:gd name="connsiteX14217" fmla="*/ 4450159 w 8079933"/>
              <a:gd name="connsiteY14217" fmla="*/ 1909784 h 4687251"/>
              <a:gd name="connsiteX14218" fmla="*/ 4447555 w 8079933"/>
              <a:gd name="connsiteY14218" fmla="*/ 1905453 h 4687251"/>
              <a:gd name="connsiteX14219" fmla="*/ 4447554 w 8079933"/>
              <a:gd name="connsiteY14219" fmla="*/ 1905453 h 4687251"/>
              <a:gd name="connsiteX14220" fmla="*/ 4448663 w 8079933"/>
              <a:gd name="connsiteY14220" fmla="*/ 1907297 h 4687251"/>
              <a:gd name="connsiteX14221" fmla="*/ 5548563 w 8079933"/>
              <a:gd name="connsiteY14221" fmla="*/ 1904263 h 4687251"/>
              <a:gd name="connsiteX14222" fmla="*/ 5545594 w 8079933"/>
              <a:gd name="connsiteY14222" fmla="*/ 1907367 h 4687251"/>
              <a:gd name="connsiteX14223" fmla="*/ 5548564 w 8079933"/>
              <a:gd name="connsiteY14223" fmla="*/ 1904263 h 4687251"/>
              <a:gd name="connsiteX14224" fmla="*/ 4371355 w 8079933"/>
              <a:gd name="connsiteY14224" fmla="*/ 1902026 h 4687251"/>
              <a:gd name="connsiteX14225" fmla="*/ 4372678 w 8079933"/>
              <a:gd name="connsiteY14225" fmla="*/ 1903396 h 4687251"/>
              <a:gd name="connsiteX14226" fmla="*/ 4370942 w 8079933"/>
              <a:gd name="connsiteY14226" fmla="*/ 1906211 h 4687251"/>
              <a:gd name="connsiteX14227" fmla="*/ 4366818 w 8079933"/>
              <a:gd name="connsiteY14227" fmla="*/ 1903937 h 4687251"/>
              <a:gd name="connsiteX14228" fmla="*/ 4364539 w 8079933"/>
              <a:gd name="connsiteY14228" fmla="*/ 1905453 h 4687251"/>
              <a:gd name="connsiteX14229" fmla="*/ 4364539 w 8079933"/>
              <a:gd name="connsiteY14229" fmla="*/ 1905454 h 4687251"/>
              <a:gd name="connsiteX14230" fmla="*/ 4366818 w 8079933"/>
              <a:gd name="connsiteY14230" fmla="*/ 1903938 h 4687251"/>
              <a:gd name="connsiteX14231" fmla="*/ 4370942 w 8079933"/>
              <a:gd name="connsiteY14231" fmla="*/ 1906211 h 4687251"/>
              <a:gd name="connsiteX14232" fmla="*/ 4372679 w 8079933"/>
              <a:gd name="connsiteY14232" fmla="*/ 1903397 h 4687251"/>
              <a:gd name="connsiteX14233" fmla="*/ 4565725 w 8079933"/>
              <a:gd name="connsiteY14233" fmla="*/ 1901990 h 4687251"/>
              <a:gd name="connsiteX14234" fmla="*/ 4568984 w 8079933"/>
              <a:gd name="connsiteY14234" fmla="*/ 1903504 h 4687251"/>
              <a:gd name="connsiteX14235" fmla="*/ 4568984 w 8079933"/>
              <a:gd name="connsiteY14235" fmla="*/ 1903504 h 4687251"/>
              <a:gd name="connsiteX14236" fmla="*/ 4266440 w 8079933"/>
              <a:gd name="connsiteY14236" fmla="*/ 1901447 h 4687251"/>
              <a:gd name="connsiteX14237" fmla="*/ 4271215 w 8079933"/>
              <a:gd name="connsiteY14237" fmla="*/ 1905344 h 4687251"/>
              <a:gd name="connsiteX14238" fmla="*/ 4272408 w 8079933"/>
              <a:gd name="connsiteY14238" fmla="*/ 1909567 h 4687251"/>
              <a:gd name="connsiteX14239" fmla="*/ 4101534 w 8079933"/>
              <a:gd name="connsiteY14239" fmla="*/ 1900979 h 4687251"/>
              <a:gd name="connsiteX14240" fmla="*/ 4099433 w 8079933"/>
              <a:gd name="connsiteY14240" fmla="*/ 1905995 h 4687251"/>
              <a:gd name="connsiteX14241" fmla="*/ 4099433 w 8079933"/>
              <a:gd name="connsiteY14241" fmla="*/ 1905996 h 4687251"/>
              <a:gd name="connsiteX14242" fmla="*/ 4562690 w 8079933"/>
              <a:gd name="connsiteY14242" fmla="*/ 1900581 h 4687251"/>
              <a:gd name="connsiteX14243" fmla="*/ 4558133 w 8079933"/>
              <a:gd name="connsiteY14243" fmla="*/ 1902313 h 4687251"/>
              <a:gd name="connsiteX14244" fmla="*/ 4562690 w 8079933"/>
              <a:gd name="connsiteY14244" fmla="*/ 1900581 h 4687251"/>
              <a:gd name="connsiteX14245" fmla="*/ 4449327 w 8079933"/>
              <a:gd name="connsiteY14245" fmla="*/ 1899035 h 4687251"/>
              <a:gd name="connsiteX14246" fmla="*/ 4449616 w 8079933"/>
              <a:gd name="connsiteY14246" fmla="*/ 1899282 h 4687251"/>
              <a:gd name="connsiteX14247" fmla="*/ 4449616 w 8079933"/>
              <a:gd name="connsiteY14247" fmla="*/ 1899281 h 4687251"/>
              <a:gd name="connsiteX14248" fmla="*/ 5427676 w 8079933"/>
              <a:gd name="connsiteY14248" fmla="*/ 1898957 h 4687251"/>
              <a:gd name="connsiteX14249" fmla="*/ 5419321 w 8079933"/>
              <a:gd name="connsiteY14249" fmla="*/ 1901556 h 4687251"/>
              <a:gd name="connsiteX14250" fmla="*/ 5419321 w 8079933"/>
              <a:gd name="connsiteY14250" fmla="*/ 1901556 h 4687251"/>
              <a:gd name="connsiteX14251" fmla="*/ 5427676 w 8079933"/>
              <a:gd name="connsiteY14251" fmla="*/ 1898958 h 4687251"/>
              <a:gd name="connsiteX14252" fmla="*/ 2159646 w 8079933"/>
              <a:gd name="connsiteY14252" fmla="*/ 1898427 h 4687251"/>
              <a:gd name="connsiteX14253" fmla="*/ 2153295 w 8079933"/>
              <a:gd name="connsiteY14253" fmla="*/ 1900473 h 4687251"/>
              <a:gd name="connsiteX14254" fmla="*/ 2110837 w 8079933"/>
              <a:gd name="connsiteY14254" fmla="*/ 1911848 h 4687251"/>
              <a:gd name="connsiteX14255" fmla="*/ 2153295 w 8079933"/>
              <a:gd name="connsiteY14255" fmla="*/ 1900473 h 4687251"/>
              <a:gd name="connsiteX14256" fmla="*/ 4552107 w 8079933"/>
              <a:gd name="connsiteY14256" fmla="*/ 1898139 h 4687251"/>
              <a:gd name="connsiteX14257" fmla="*/ 4555637 w 8079933"/>
              <a:gd name="connsiteY14257" fmla="*/ 1899607 h 4687251"/>
              <a:gd name="connsiteX14258" fmla="*/ 4555636 w 8079933"/>
              <a:gd name="connsiteY14258" fmla="*/ 1899606 h 4687251"/>
              <a:gd name="connsiteX14259" fmla="*/ 5756700 w 8079933"/>
              <a:gd name="connsiteY14259" fmla="*/ 1897438 h 4687251"/>
              <a:gd name="connsiteX14260" fmla="*/ 5754311 w 8079933"/>
              <a:gd name="connsiteY14260" fmla="*/ 1899065 h 4687251"/>
              <a:gd name="connsiteX14261" fmla="*/ 5754528 w 8079933"/>
              <a:gd name="connsiteY14261" fmla="*/ 1905345 h 4687251"/>
              <a:gd name="connsiteX14262" fmla="*/ 5752733 w 8079933"/>
              <a:gd name="connsiteY14262" fmla="*/ 1906326 h 4687251"/>
              <a:gd name="connsiteX14263" fmla="*/ 5754529 w 8079933"/>
              <a:gd name="connsiteY14263" fmla="*/ 1905345 h 4687251"/>
              <a:gd name="connsiteX14264" fmla="*/ 5754312 w 8079933"/>
              <a:gd name="connsiteY14264" fmla="*/ 1899065 h 4687251"/>
              <a:gd name="connsiteX14265" fmla="*/ 4534259 w 8079933"/>
              <a:gd name="connsiteY14265" fmla="*/ 1896683 h 4687251"/>
              <a:gd name="connsiteX14266" fmla="*/ 4520152 w 8079933"/>
              <a:gd name="connsiteY14266" fmla="*/ 1903287 h 4687251"/>
              <a:gd name="connsiteX14267" fmla="*/ 4518090 w 8079933"/>
              <a:gd name="connsiteY14267" fmla="*/ 1906644 h 4687251"/>
              <a:gd name="connsiteX14268" fmla="*/ 4512013 w 8079933"/>
              <a:gd name="connsiteY14268" fmla="*/ 1908593 h 4687251"/>
              <a:gd name="connsiteX14269" fmla="*/ 4509083 w 8079933"/>
              <a:gd name="connsiteY14269" fmla="*/ 1910650 h 4687251"/>
              <a:gd name="connsiteX14270" fmla="*/ 4512013 w 8079933"/>
              <a:gd name="connsiteY14270" fmla="*/ 1908593 h 4687251"/>
              <a:gd name="connsiteX14271" fmla="*/ 4518091 w 8079933"/>
              <a:gd name="connsiteY14271" fmla="*/ 1906645 h 4687251"/>
              <a:gd name="connsiteX14272" fmla="*/ 4520152 w 8079933"/>
              <a:gd name="connsiteY14272" fmla="*/ 1903288 h 4687251"/>
              <a:gd name="connsiteX14273" fmla="*/ 4540444 w 8079933"/>
              <a:gd name="connsiteY14273" fmla="*/ 1895709 h 4687251"/>
              <a:gd name="connsiteX14274" fmla="*/ 4537495 w 8079933"/>
              <a:gd name="connsiteY14274" fmla="*/ 1896173 h 4687251"/>
              <a:gd name="connsiteX14275" fmla="*/ 4540445 w 8079933"/>
              <a:gd name="connsiteY14275" fmla="*/ 1895709 h 4687251"/>
              <a:gd name="connsiteX14276" fmla="*/ 5005437 w 8079933"/>
              <a:gd name="connsiteY14276" fmla="*/ 1894518 h 4687251"/>
              <a:gd name="connsiteX14277" fmla="*/ 5003050 w 8079933"/>
              <a:gd name="connsiteY14277" fmla="*/ 1896792 h 4687251"/>
              <a:gd name="connsiteX14278" fmla="*/ 5001860 w 8079933"/>
              <a:gd name="connsiteY14278" fmla="*/ 1896047 h 4687251"/>
              <a:gd name="connsiteX14279" fmla="*/ 5001097 w 8079933"/>
              <a:gd name="connsiteY14279" fmla="*/ 1897659 h 4687251"/>
              <a:gd name="connsiteX14280" fmla="*/ 4999904 w 8079933"/>
              <a:gd name="connsiteY14280" fmla="*/ 1902098 h 4687251"/>
              <a:gd name="connsiteX14281" fmla="*/ 4997516 w 8079933"/>
              <a:gd name="connsiteY14281" fmla="*/ 1901016 h 4687251"/>
              <a:gd name="connsiteX14282" fmla="*/ 4997516 w 8079933"/>
              <a:gd name="connsiteY14282" fmla="*/ 1905130 h 4687251"/>
              <a:gd name="connsiteX14283" fmla="*/ 5000772 w 8079933"/>
              <a:gd name="connsiteY14283" fmla="*/ 1905130 h 4687251"/>
              <a:gd name="connsiteX14284" fmla="*/ 5001423 w 8079933"/>
              <a:gd name="connsiteY14284" fmla="*/ 1907728 h 4687251"/>
              <a:gd name="connsiteX14285" fmla="*/ 5002834 w 8079933"/>
              <a:gd name="connsiteY14285" fmla="*/ 1910976 h 4687251"/>
              <a:gd name="connsiteX14286" fmla="*/ 5002834 w 8079933"/>
              <a:gd name="connsiteY14286" fmla="*/ 1917906 h 4687251"/>
              <a:gd name="connsiteX14287" fmla="*/ 5006415 w 8079933"/>
              <a:gd name="connsiteY14287" fmla="*/ 1922020 h 4687251"/>
              <a:gd name="connsiteX14288" fmla="*/ 5007934 w 8079933"/>
              <a:gd name="connsiteY14288" fmla="*/ 1928841 h 4687251"/>
              <a:gd name="connsiteX14289" fmla="*/ 5016941 w 8079933"/>
              <a:gd name="connsiteY14289" fmla="*/ 1939668 h 4687251"/>
              <a:gd name="connsiteX14290" fmla="*/ 5029637 w 8079933"/>
              <a:gd name="connsiteY14290" fmla="*/ 1950495 h 4687251"/>
              <a:gd name="connsiteX14291" fmla="*/ 5031808 w 8079933"/>
              <a:gd name="connsiteY14291" fmla="*/ 1952011 h 4687251"/>
              <a:gd name="connsiteX14292" fmla="*/ 5023777 w 8079933"/>
              <a:gd name="connsiteY14292" fmla="*/ 1961755 h 4687251"/>
              <a:gd name="connsiteX14293" fmla="*/ 5016833 w 8079933"/>
              <a:gd name="connsiteY14293" fmla="*/ 1965545 h 4687251"/>
              <a:gd name="connsiteX14294" fmla="*/ 5014771 w 8079933"/>
              <a:gd name="connsiteY14294" fmla="*/ 1969659 h 4687251"/>
              <a:gd name="connsiteX14295" fmla="*/ 5007159 w 8079933"/>
              <a:gd name="connsiteY14295" fmla="*/ 1968900 h 4687251"/>
              <a:gd name="connsiteX14296" fmla="*/ 5007392 w 8079933"/>
              <a:gd name="connsiteY14296" fmla="*/ 1969332 h 4687251"/>
              <a:gd name="connsiteX14297" fmla="*/ 5018461 w 8079933"/>
              <a:gd name="connsiteY14297" fmla="*/ 1970415 h 4687251"/>
              <a:gd name="connsiteX14298" fmla="*/ 5020522 w 8079933"/>
              <a:gd name="connsiteY14298" fmla="*/ 1966193 h 4687251"/>
              <a:gd name="connsiteX14299" fmla="*/ 5027359 w 8079933"/>
              <a:gd name="connsiteY14299" fmla="*/ 1962403 h 4687251"/>
              <a:gd name="connsiteX14300" fmla="*/ 5035715 w 8079933"/>
              <a:gd name="connsiteY14300" fmla="*/ 1952334 h 4687251"/>
              <a:gd name="connsiteX14301" fmla="*/ 5036755 w 8079933"/>
              <a:gd name="connsiteY14301" fmla="*/ 1953085 h 4687251"/>
              <a:gd name="connsiteX14302" fmla="*/ 5037016 w 8079933"/>
              <a:gd name="connsiteY14302" fmla="*/ 1952768 h 4687251"/>
              <a:gd name="connsiteX14303" fmla="*/ 5034846 w 8079933"/>
              <a:gd name="connsiteY14303" fmla="*/ 1951252 h 4687251"/>
              <a:gd name="connsiteX14304" fmla="*/ 5022149 w 8079933"/>
              <a:gd name="connsiteY14304" fmla="*/ 1940425 h 4687251"/>
              <a:gd name="connsiteX14305" fmla="*/ 5013142 w 8079933"/>
              <a:gd name="connsiteY14305" fmla="*/ 1929598 h 4687251"/>
              <a:gd name="connsiteX14306" fmla="*/ 5011623 w 8079933"/>
              <a:gd name="connsiteY14306" fmla="*/ 1922777 h 4687251"/>
              <a:gd name="connsiteX14307" fmla="*/ 5008042 w 8079933"/>
              <a:gd name="connsiteY14307" fmla="*/ 1918663 h 4687251"/>
              <a:gd name="connsiteX14308" fmla="*/ 5008042 w 8079933"/>
              <a:gd name="connsiteY14308" fmla="*/ 1911733 h 4687251"/>
              <a:gd name="connsiteX14309" fmla="*/ 5006631 w 8079933"/>
              <a:gd name="connsiteY14309" fmla="*/ 1908485 h 4687251"/>
              <a:gd name="connsiteX14310" fmla="*/ 5005981 w 8079933"/>
              <a:gd name="connsiteY14310" fmla="*/ 1905886 h 4687251"/>
              <a:gd name="connsiteX14311" fmla="*/ 5002724 w 8079933"/>
              <a:gd name="connsiteY14311" fmla="*/ 1905886 h 4687251"/>
              <a:gd name="connsiteX14312" fmla="*/ 5002724 w 8079933"/>
              <a:gd name="connsiteY14312" fmla="*/ 1901773 h 4687251"/>
              <a:gd name="connsiteX14313" fmla="*/ 5005112 w 8079933"/>
              <a:gd name="connsiteY14313" fmla="*/ 1902855 h 4687251"/>
              <a:gd name="connsiteX14314" fmla="*/ 5006306 w 8079933"/>
              <a:gd name="connsiteY14314" fmla="*/ 1898416 h 4687251"/>
              <a:gd name="connsiteX14315" fmla="*/ 5008150 w 8079933"/>
              <a:gd name="connsiteY14315" fmla="*/ 1894518 h 4687251"/>
              <a:gd name="connsiteX14316" fmla="*/ 2087767 w 8079933"/>
              <a:gd name="connsiteY14316" fmla="*/ 1893762 h 4687251"/>
              <a:gd name="connsiteX14317" fmla="*/ 2087317 w 8079933"/>
              <a:gd name="connsiteY14317" fmla="*/ 1894843 h 4687251"/>
              <a:gd name="connsiteX14318" fmla="*/ 2086291 w 8079933"/>
              <a:gd name="connsiteY14318" fmla="*/ 1896892 h 4687251"/>
              <a:gd name="connsiteX14319" fmla="*/ 2087317 w 8079933"/>
              <a:gd name="connsiteY14319" fmla="*/ 1894843 h 4687251"/>
              <a:gd name="connsiteX14320" fmla="*/ 4260364 w 8079933"/>
              <a:gd name="connsiteY14320" fmla="*/ 1893544 h 4687251"/>
              <a:gd name="connsiteX14321" fmla="*/ 4264054 w 8079933"/>
              <a:gd name="connsiteY14321" fmla="*/ 1895060 h 4687251"/>
              <a:gd name="connsiteX14322" fmla="*/ 4264596 w 8079933"/>
              <a:gd name="connsiteY14322" fmla="*/ 1898525 h 4687251"/>
              <a:gd name="connsiteX14323" fmla="*/ 4269261 w 8079933"/>
              <a:gd name="connsiteY14323" fmla="*/ 1893327 h 4687251"/>
              <a:gd name="connsiteX14324" fmla="*/ 4271974 w 8079933"/>
              <a:gd name="connsiteY14324" fmla="*/ 1894084 h 4687251"/>
              <a:gd name="connsiteX14325" fmla="*/ 4275012 w 8079933"/>
              <a:gd name="connsiteY14325" fmla="*/ 1898199 h 4687251"/>
              <a:gd name="connsiteX14326" fmla="*/ 4273276 w 8079933"/>
              <a:gd name="connsiteY14326" fmla="*/ 1899390 h 4687251"/>
              <a:gd name="connsiteX14327" fmla="*/ 5759521 w 8079933"/>
              <a:gd name="connsiteY14327" fmla="*/ 1893219 h 4687251"/>
              <a:gd name="connsiteX14328" fmla="*/ 5759520 w 8079933"/>
              <a:gd name="connsiteY14328" fmla="*/ 1893219 h 4687251"/>
              <a:gd name="connsiteX14329" fmla="*/ 5758760 w 8079933"/>
              <a:gd name="connsiteY14329" fmla="*/ 1896034 h 4687251"/>
              <a:gd name="connsiteX14330" fmla="*/ 5758761 w 8079933"/>
              <a:gd name="connsiteY14330" fmla="*/ 1896033 h 4687251"/>
              <a:gd name="connsiteX14331" fmla="*/ 6315887 w 8079933"/>
              <a:gd name="connsiteY14331" fmla="*/ 1891379 h 4687251"/>
              <a:gd name="connsiteX14332" fmla="*/ 6315885 w 8079933"/>
              <a:gd name="connsiteY14332" fmla="*/ 1891380 h 4687251"/>
              <a:gd name="connsiteX14333" fmla="*/ 6316753 w 8079933"/>
              <a:gd name="connsiteY14333" fmla="*/ 1894951 h 4687251"/>
              <a:gd name="connsiteX14334" fmla="*/ 6316753 w 8079933"/>
              <a:gd name="connsiteY14334" fmla="*/ 1897549 h 4687251"/>
              <a:gd name="connsiteX14335" fmla="*/ 6316754 w 8079933"/>
              <a:gd name="connsiteY14335" fmla="*/ 1897550 h 4687251"/>
              <a:gd name="connsiteX14336" fmla="*/ 6316754 w 8079933"/>
              <a:gd name="connsiteY14336" fmla="*/ 1894951 h 4687251"/>
              <a:gd name="connsiteX14337" fmla="*/ 5598373 w 8079933"/>
              <a:gd name="connsiteY14337" fmla="*/ 1891054 h 4687251"/>
              <a:gd name="connsiteX14338" fmla="*/ 5598916 w 8079933"/>
              <a:gd name="connsiteY14338" fmla="*/ 1896142 h 4687251"/>
              <a:gd name="connsiteX14339" fmla="*/ 5600326 w 8079933"/>
              <a:gd name="connsiteY14339" fmla="*/ 1901556 h 4687251"/>
              <a:gd name="connsiteX14340" fmla="*/ 5600434 w 8079933"/>
              <a:gd name="connsiteY14340" fmla="*/ 1907835 h 4687251"/>
              <a:gd name="connsiteX14341" fmla="*/ 5600435 w 8079933"/>
              <a:gd name="connsiteY14341" fmla="*/ 1907835 h 4687251"/>
              <a:gd name="connsiteX14342" fmla="*/ 5600326 w 8079933"/>
              <a:gd name="connsiteY14342" fmla="*/ 1901555 h 4687251"/>
              <a:gd name="connsiteX14343" fmla="*/ 5598916 w 8079933"/>
              <a:gd name="connsiteY14343" fmla="*/ 1896142 h 4687251"/>
              <a:gd name="connsiteX14344" fmla="*/ 6288757 w 8079933"/>
              <a:gd name="connsiteY14344" fmla="*/ 1891054 h 4687251"/>
              <a:gd name="connsiteX14345" fmla="*/ 6290255 w 8079933"/>
              <a:gd name="connsiteY14345" fmla="*/ 1891819 h 4687251"/>
              <a:gd name="connsiteX14346" fmla="*/ 6288758 w 8079933"/>
              <a:gd name="connsiteY14346" fmla="*/ 1891054 h 4687251"/>
              <a:gd name="connsiteX14347" fmla="*/ 5657948 w 8079933"/>
              <a:gd name="connsiteY14347" fmla="*/ 1890837 h 4687251"/>
              <a:gd name="connsiteX14348" fmla="*/ 5655594 w 8079933"/>
              <a:gd name="connsiteY14348" fmla="*/ 1892945 h 4687251"/>
              <a:gd name="connsiteX14349" fmla="*/ 5657948 w 8079933"/>
              <a:gd name="connsiteY14349" fmla="*/ 1890837 h 4687251"/>
              <a:gd name="connsiteX14350" fmla="*/ 2165191 w 8079933"/>
              <a:gd name="connsiteY14350" fmla="*/ 1888655 h 4687251"/>
              <a:gd name="connsiteX14351" fmla="*/ 2163713 w 8079933"/>
              <a:gd name="connsiteY14351" fmla="*/ 1897117 h 4687251"/>
              <a:gd name="connsiteX14352" fmla="*/ 2163713 w 8079933"/>
              <a:gd name="connsiteY14352" fmla="*/ 1897117 h 4687251"/>
              <a:gd name="connsiteX14353" fmla="*/ 5757567 w 8079933"/>
              <a:gd name="connsiteY14353" fmla="*/ 1887480 h 4687251"/>
              <a:gd name="connsiteX14354" fmla="*/ 5757567 w 8079933"/>
              <a:gd name="connsiteY14354" fmla="*/ 1887481 h 4687251"/>
              <a:gd name="connsiteX14355" fmla="*/ 5761690 w 8079933"/>
              <a:gd name="connsiteY14355" fmla="*/ 1892136 h 4687251"/>
              <a:gd name="connsiteX14356" fmla="*/ 5761691 w 8079933"/>
              <a:gd name="connsiteY14356" fmla="*/ 1892135 h 4687251"/>
              <a:gd name="connsiteX14357" fmla="*/ 4265356 w 8079933"/>
              <a:gd name="connsiteY14357" fmla="*/ 1887048 h 4687251"/>
              <a:gd name="connsiteX14358" fmla="*/ 4269696 w 8079933"/>
              <a:gd name="connsiteY14358" fmla="*/ 1891487 h 4687251"/>
              <a:gd name="connsiteX14359" fmla="*/ 4265247 w 8079933"/>
              <a:gd name="connsiteY14359" fmla="*/ 1890296 h 4687251"/>
              <a:gd name="connsiteX14360" fmla="*/ 4425851 w 8079933"/>
              <a:gd name="connsiteY14360" fmla="*/ 1883149 h 4687251"/>
              <a:gd name="connsiteX14361" fmla="*/ 4420860 w 8079933"/>
              <a:gd name="connsiteY14361" fmla="*/ 1885206 h 4687251"/>
              <a:gd name="connsiteX14362" fmla="*/ 4420860 w 8079933"/>
              <a:gd name="connsiteY14362" fmla="*/ 1885207 h 4687251"/>
              <a:gd name="connsiteX14363" fmla="*/ 4425852 w 8079933"/>
              <a:gd name="connsiteY14363" fmla="*/ 1883150 h 4687251"/>
              <a:gd name="connsiteX14364" fmla="*/ 4428457 w 8079933"/>
              <a:gd name="connsiteY14364" fmla="*/ 1885526 h 4687251"/>
              <a:gd name="connsiteX14365" fmla="*/ 4433664 w 8079933"/>
              <a:gd name="connsiteY14365" fmla="*/ 1881200 h 4687251"/>
              <a:gd name="connsiteX14366" fmla="*/ 4429649 w 8079933"/>
              <a:gd name="connsiteY14366" fmla="*/ 1886614 h 4687251"/>
              <a:gd name="connsiteX14367" fmla="*/ 4429650 w 8079933"/>
              <a:gd name="connsiteY14367" fmla="*/ 1886614 h 4687251"/>
              <a:gd name="connsiteX14368" fmla="*/ 4433665 w 8079933"/>
              <a:gd name="connsiteY14368" fmla="*/ 1881201 h 4687251"/>
              <a:gd name="connsiteX14369" fmla="*/ 4441911 w 8079933"/>
              <a:gd name="connsiteY14369" fmla="*/ 1882933 h 4687251"/>
              <a:gd name="connsiteX14370" fmla="*/ 4441911 w 8079933"/>
              <a:gd name="connsiteY14370" fmla="*/ 1882933 h 4687251"/>
              <a:gd name="connsiteX14371" fmla="*/ 4252008 w 8079933"/>
              <a:gd name="connsiteY14371" fmla="*/ 1880660 h 4687251"/>
              <a:gd name="connsiteX14372" fmla="*/ 4257976 w 8079933"/>
              <a:gd name="connsiteY14372" fmla="*/ 1884882 h 4687251"/>
              <a:gd name="connsiteX14373" fmla="*/ 4260038 w 8079933"/>
              <a:gd name="connsiteY14373" fmla="*/ 1891162 h 4687251"/>
              <a:gd name="connsiteX14374" fmla="*/ 4258193 w 8079933"/>
              <a:gd name="connsiteY14374" fmla="*/ 1891487 h 4687251"/>
              <a:gd name="connsiteX14375" fmla="*/ 4253962 w 8079933"/>
              <a:gd name="connsiteY14375" fmla="*/ 1887048 h 4687251"/>
              <a:gd name="connsiteX14376" fmla="*/ 4255046 w 8079933"/>
              <a:gd name="connsiteY14376" fmla="*/ 1885641 h 4687251"/>
              <a:gd name="connsiteX14377" fmla="*/ 4989920 w 8079933"/>
              <a:gd name="connsiteY14377" fmla="*/ 1880227 h 4687251"/>
              <a:gd name="connsiteX14378" fmla="*/ 4986990 w 8079933"/>
              <a:gd name="connsiteY14378" fmla="*/ 1881093 h 4687251"/>
              <a:gd name="connsiteX14379" fmla="*/ 4986060 w 8079933"/>
              <a:gd name="connsiteY14379" fmla="*/ 1881093 h 4687251"/>
              <a:gd name="connsiteX14380" fmla="*/ 4987859 w 8079933"/>
              <a:gd name="connsiteY14380" fmla="*/ 1883259 h 4687251"/>
              <a:gd name="connsiteX14381" fmla="*/ 4992308 w 8079933"/>
              <a:gd name="connsiteY14381" fmla="*/ 1884666 h 4687251"/>
              <a:gd name="connsiteX14382" fmla="*/ 4992308 w 8079933"/>
              <a:gd name="connsiteY14382" fmla="*/ 1892570 h 4687251"/>
              <a:gd name="connsiteX14383" fmla="*/ 4997842 w 8079933"/>
              <a:gd name="connsiteY14383" fmla="*/ 1896035 h 4687251"/>
              <a:gd name="connsiteX14384" fmla="*/ 4999428 w 8079933"/>
              <a:gd name="connsiteY14384" fmla="*/ 1894525 h 4687251"/>
              <a:gd name="connsiteX14385" fmla="*/ 4997516 w 8079933"/>
              <a:gd name="connsiteY14385" fmla="*/ 1893328 h 4687251"/>
              <a:gd name="connsiteX14386" fmla="*/ 4997516 w 8079933"/>
              <a:gd name="connsiteY14386" fmla="*/ 1885424 h 4687251"/>
              <a:gd name="connsiteX14387" fmla="*/ 4993067 w 8079933"/>
              <a:gd name="connsiteY14387" fmla="*/ 1884016 h 4687251"/>
              <a:gd name="connsiteX14388" fmla="*/ 4413518 w 8079933"/>
              <a:gd name="connsiteY14388" fmla="*/ 1879517 h 4687251"/>
              <a:gd name="connsiteX14389" fmla="*/ 4418580 w 8079933"/>
              <a:gd name="connsiteY14389" fmla="*/ 1881201 h 4687251"/>
              <a:gd name="connsiteX14390" fmla="*/ 4418580 w 8079933"/>
              <a:gd name="connsiteY14390" fmla="*/ 1881200 h 4687251"/>
              <a:gd name="connsiteX14391" fmla="*/ 4364647 w 8079933"/>
              <a:gd name="connsiteY14391" fmla="*/ 1878169 h 4687251"/>
              <a:gd name="connsiteX14392" fmla="*/ 4363996 w 8079933"/>
              <a:gd name="connsiteY14392" fmla="*/ 1884340 h 4687251"/>
              <a:gd name="connsiteX14393" fmla="*/ 4359221 w 8079933"/>
              <a:gd name="connsiteY14393" fmla="*/ 1891594 h 4687251"/>
              <a:gd name="connsiteX14394" fmla="*/ 4359330 w 8079933"/>
              <a:gd name="connsiteY14394" fmla="*/ 1894843 h 4687251"/>
              <a:gd name="connsiteX14395" fmla="*/ 4363150 w 8079933"/>
              <a:gd name="connsiteY14395" fmla="*/ 1897880 h 4687251"/>
              <a:gd name="connsiteX14396" fmla="*/ 4359331 w 8079933"/>
              <a:gd name="connsiteY14396" fmla="*/ 1894843 h 4687251"/>
              <a:gd name="connsiteX14397" fmla="*/ 4359222 w 8079933"/>
              <a:gd name="connsiteY14397" fmla="*/ 1891595 h 4687251"/>
              <a:gd name="connsiteX14398" fmla="*/ 4363997 w 8079933"/>
              <a:gd name="connsiteY14398" fmla="*/ 1884340 h 4687251"/>
              <a:gd name="connsiteX14399" fmla="*/ 4364648 w 8079933"/>
              <a:gd name="connsiteY14399" fmla="*/ 1878169 h 4687251"/>
              <a:gd name="connsiteX14400" fmla="*/ 5401089 w 8079933"/>
              <a:gd name="connsiteY14400" fmla="*/ 1877953 h 4687251"/>
              <a:gd name="connsiteX14401" fmla="*/ 5361806 w 8079933"/>
              <a:gd name="connsiteY14401" fmla="*/ 1878061 h 4687251"/>
              <a:gd name="connsiteX14402" fmla="*/ 5326215 w 8079933"/>
              <a:gd name="connsiteY14402" fmla="*/ 1881850 h 4687251"/>
              <a:gd name="connsiteX14403" fmla="*/ 5326215 w 8079933"/>
              <a:gd name="connsiteY14403" fmla="*/ 1881851 h 4687251"/>
              <a:gd name="connsiteX14404" fmla="*/ 5361808 w 8079933"/>
              <a:gd name="connsiteY14404" fmla="*/ 1878061 h 4687251"/>
              <a:gd name="connsiteX14405" fmla="*/ 6248168 w 8079933"/>
              <a:gd name="connsiteY14405" fmla="*/ 1874317 h 4687251"/>
              <a:gd name="connsiteX14406" fmla="*/ 6251752 w 8079933"/>
              <a:gd name="connsiteY14406" fmla="*/ 1877844 h 4687251"/>
              <a:gd name="connsiteX14407" fmla="*/ 6251753 w 8079933"/>
              <a:gd name="connsiteY14407" fmla="*/ 1877845 h 4687251"/>
              <a:gd name="connsiteX14408" fmla="*/ 4292375 w 8079933"/>
              <a:gd name="connsiteY14408" fmla="*/ 1871239 h 4687251"/>
              <a:gd name="connsiteX14409" fmla="*/ 4294220 w 8079933"/>
              <a:gd name="connsiteY14409" fmla="*/ 1874488 h 4687251"/>
              <a:gd name="connsiteX14410" fmla="*/ 4294220 w 8079933"/>
              <a:gd name="connsiteY14410" fmla="*/ 1874488 h 4687251"/>
              <a:gd name="connsiteX14411" fmla="*/ 4255914 w 8079933"/>
              <a:gd name="connsiteY14411" fmla="*/ 1871023 h 4687251"/>
              <a:gd name="connsiteX14412" fmla="*/ 4262425 w 8079933"/>
              <a:gd name="connsiteY14412" fmla="*/ 1881309 h 4687251"/>
              <a:gd name="connsiteX14413" fmla="*/ 4258953 w 8079933"/>
              <a:gd name="connsiteY14413" fmla="*/ 1882717 h 4687251"/>
              <a:gd name="connsiteX14414" fmla="*/ 4256999 w 8079933"/>
              <a:gd name="connsiteY14414" fmla="*/ 1880334 h 4687251"/>
              <a:gd name="connsiteX14415" fmla="*/ 4253527 w 8079933"/>
              <a:gd name="connsiteY14415" fmla="*/ 1879468 h 4687251"/>
              <a:gd name="connsiteX14416" fmla="*/ 4253527 w 8079933"/>
              <a:gd name="connsiteY14416" fmla="*/ 1872755 h 4687251"/>
              <a:gd name="connsiteX14417" fmla="*/ 4255914 w 8079933"/>
              <a:gd name="connsiteY14417" fmla="*/ 1871023 h 4687251"/>
              <a:gd name="connsiteX14418" fmla="*/ 4331116 w 8079933"/>
              <a:gd name="connsiteY14418" fmla="*/ 1870698 h 4687251"/>
              <a:gd name="connsiteX14419" fmla="*/ 4331115 w 8079933"/>
              <a:gd name="connsiteY14419" fmla="*/ 1870699 h 4687251"/>
              <a:gd name="connsiteX14420" fmla="*/ 4331994 w 8079933"/>
              <a:gd name="connsiteY14420" fmla="*/ 1871893 h 4687251"/>
              <a:gd name="connsiteX14421" fmla="*/ 4297473 w 8079933"/>
              <a:gd name="connsiteY14421" fmla="*/ 1870649 h 4687251"/>
              <a:gd name="connsiteX14422" fmla="*/ 4297367 w 8079933"/>
              <a:gd name="connsiteY14422" fmla="*/ 1873838 h 4687251"/>
              <a:gd name="connsiteX14423" fmla="*/ 4295793 w 8079933"/>
              <a:gd name="connsiteY14423" fmla="*/ 1874163 h 4687251"/>
              <a:gd name="connsiteX14424" fmla="*/ 4297367 w 8079933"/>
              <a:gd name="connsiteY14424" fmla="*/ 1873838 h 4687251"/>
              <a:gd name="connsiteX14425" fmla="*/ 4364647 w 8079933"/>
              <a:gd name="connsiteY14425" fmla="*/ 1870373 h 4687251"/>
              <a:gd name="connsiteX14426" fmla="*/ 4364647 w 8079933"/>
              <a:gd name="connsiteY14426" fmla="*/ 1872322 h 4687251"/>
              <a:gd name="connsiteX14427" fmla="*/ 4362477 w 8079933"/>
              <a:gd name="connsiteY14427" fmla="*/ 1872322 h 4687251"/>
              <a:gd name="connsiteX14428" fmla="*/ 4357810 w 8079933"/>
              <a:gd name="connsiteY14428" fmla="*/ 1874054 h 4687251"/>
              <a:gd name="connsiteX14429" fmla="*/ 4358349 w 8079933"/>
              <a:gd name="connsiteY14429" fmla="*/ 1877811 h 4687251"/>
              <a:gd name="connsiteX14430" fmla="*/ 4358350 w 8079933"/>
              <a:gd name="connsiteY14430" fmla="*/ 1877812 h 4687251"/>
              <a:gd name="connsiteX14431" fmla="*/ 4357811 w 8079933"/>
              <a:gd name="connsiteY14431" fmla="*/ 1874055 h 4687251"/>
              <a:gd name="connsiteX14432" fmla="*/ 4362478 w 8079933"/>
              <a:gd name="connsiteY14432" fmla="*/ 1872322 h 4687251"/>
              <a:gd name="connsiteX14433" fmla="*/ 4364648 w 8079933"/>
              <a:gd name="connsiteY14433" fmla="*/ 1872322 h 4687251"/>
              <a:gd name="connsiteX14434" fmla="*/ 4364648 w 8079933"/>
              <a:gd name="connsiteY14434" fmla="*/ 1870373 h 4687251"/>
              <a:gd name="connsiteX14435" fmla="*/ 4322000 w 8079933"/>
              <a:gd name="connsiteY14435" fmla="*/ 1870373 h 4687251"/>
              <a:gd name="connsiteX14436" fmla="*/ 4318853 w 8079933"/>
              <a:gd name="connsiteY14436" fmla="*/ 1872647 h 4687251"/>
              <a:gd name="connsiteX14437" fmla="*/ 4318853 w 8079933"/>
              <a:gd name="connsiteY14437" fmla="*/ 1872647 h 4687251"/>
              <a:gd name="connsiteX14438" fmla="*/ 4322001 w 8079933"/>
              <a:gd name="connsiteY14438" fmla="*/ 1870374 h 4687251"/>
              <a:gd name="connsiteX14439" fmla="*/ 4327119 w 8079933"/>
              <a:gd name="connsiteY14439" fmla="*/ 1872249 h 4687251"/>
              <a:gd name="connsiteX14440" fmla="*/ 5062518 w 8079933"/>
              <a:gd name="connsiteY14440" fmla="*/ 1870158 h 4687251"/>
              <a:gd name="connsiteX14441" fmla="*/ 5060456 w 8079933"/>
              <a:gd name="connsiteY14441" fmla="*/ 1872648 h 4687251"/>
              <a:gd name="connsiteX14442" fmla="*/ 5060456 w 8079933"/>
              <a:gd name="connsiteY14442" fmla="*/ 1874813 h 4687251"/>
              <a:gd name="connsiteX14443" fmla="*/ 5063386 w 8079933"/>
              <a:gd name="connsiteY14443" fmla="*/ 1878386 h 4687251"/>
              <a:gd name="connsiteX14444" fmla="*/ 5067184 w 8079933"/>
              <a:gd name="connsiteY14444" fmla="*/ 1878386 h 4687251"/>
              <a:gd name="connsiteX14445" fmla="*/ 5071307 w 8079933"/>
              <a:gd name="connsiteY14445" fmla="*/ 1880010 h 4687251"/>
              <a:gd name="connsiteX14446" fmla="*/ 5073043 w 8079933"/>
              <a:gd name="connsiteY14446" fmla="*/ 1883692 h 4687251"/>
              <a:gd name="connsiteX14447" fmla="*/ 5075757 w 8079933"/>
              <a:gd name="connsiteY14447" fmla="*/ 1885315 h 4687251"/>
              <a:gd name="connsiteX14448" fmla="*/ 5077493 w 8079933"/>
              <a:gd name="connsiteY14448" fmla="*/ 1890404 h 4687251"/>
              <a:gd name="connsiteX14449" fmla="*/ 5079446 w 8079933"/>
              <a:gd name="connsiteY14449" fmla="*/ 1891054 h 4687251"/>
              <a:gd name="connsiteX14450" fmla="*/ 5080748 w 8079933"/>
              <a:gd name="connsiteY14450" fmla="*/ 1893977 h 4687251"/>
              <a:gd name="connsiteX14451" fmla="*/ 5087368 w 8079933"/>
              <a:gd name="connsiteY14451" fmla="*/ 1901773 h 4687251"/>
              <a:gd name="connsiteX14452" fmla="*/ 5087368 w 8079933"/>
              <a:gd name="connsiteY14452" fmla="*/ 1906428 h 4687251"/>
              <a:gd name="connsiteX14453" fmla="*/ 5087368 w 8079933"/>
              <a:gd name="connsiteY14453" fmla="*/ 1912275 h 4687251"/>
              <a:gd name="connsiteX14454" fmla="*/ 5089430 w 8079933"/>
              <a:gd name="connsiteY14454" fmla="*/ 1912275 h 4687251"/>
              <a:gd name="connsiteX14455" fmla="*/ 5093879 w 8079933"/>
              <a:gd name="connsiteY14455" fmla="*/ 1911192 h 4687251"/>
              <a:gd name="connsiteX14456" fmla="*/ 5095507 w 8079933"/>
              <a:gd name="connsiteY14456" fmla="*/ 1910326 h 4687251"/>
              <a:gd name="connsiteX14457" fmla="*/ 5097677 w 8079933"/>
              <a:gd name="connsiteY14457" fmla="*/ 1911517 h 4687251"/>
              <a:gd name="connsiteX14458" fmla="*/ 5099739 w 8079933"/>
              <a:gd name="connsiteY14458" fmla="*/ 1915414 h 4687251"/>
              <a:gd name="connsiteX14459" fmla="*/ 5101693 w 8079933"/>
              <a:gd name="connsiteY14459" fmla="*/ 1917255 h 4687251"/>
              <a:gd name="connsiteX14460" fmla="*/ 5103537 w 8079933"/>
              <a:gd name="connsiteY14460" fmla="*/ 1921261 h 4687251"/>
              <a:gd name="connsiteX14461" fmla="*/ 5105599 w 8079933"/>
              <a:gd name="connsiteY14461" fmla="*/ 1922020 h 4687251"/>
              <a:gd name="connsiteX14462" fmla="*/ 5109180 w 8079933"/>
              <a:gd name="connsiteY14462" fmla="*/ 1920504 h 4687251"/>
              <a:gd name="connsiteX14463" fmla="*/ 5113520 w 8079933"/>
              <a:gd name="connsiteY14463" fmla="*/ 1921586 h 4687251"/>
              <a:gd name="connsiteX14464" fmla="*/ 5117318 w 8079933"/>
              <a:gd name="connsiteY14464" fmla="*/ 1923210 h 4687251"/>
              <a:gd name="connsiteX14465" fmla="*/ 5122527 w 8079933"/>
              <a:gd name="connsiteY14465" fmla="*/ 1923210 h 4687251"/>
              <a:gd name="connsiteX14466" fmla="*/ 5124190 w 8079933"/>
              <a:gd name="connsiteY14466" fmla="*/ 1924247 h 4687251"/>
              <a:gd name="connsiteX14467" fmla="*/ 5124371 w 8079933"/>
              <a:gd name="connsiteY14467" fmla="*/ 1923860 h 4687251"/>
              <a:gd name="connsiteX14468" fmla="*/ 5122635 w 8079933"/>
              <a:gd name="connsiteY14468" fmla="*/ 1922669 h 4687251"/>
              <a:gd name="connsiteX14469" fmla="*/ 5117426 w 8079933"/>
              <a:gd name="connsiteY14469" fmla="*/ 1922993 h 4687251"/>
              <a:gd name="connsiteX14470" fmla="*/ 5113737 w 8079933"/>
              <a:gd name="connsiteY14470" fmla="*/ 1921369 h 4687251"/>
              <a:gd name="connsiteX14471" fmla="*/ 5109396 w 8079933"/>
              <a:gd name="connsiteY14471" fmla="*/ 1920287 h 4687251"/>
              <a:gd name="connsiteX14472" fmla="*/ 5105816 w 8079933"/>
              <a:gd name="connsiteY14472" fmla="*/ 1921803 h 4687251"/>
              <a:gd name="connsiteX14473" fmla="*/ 5103753 w 8079933"/>
              <a:gd name="connsiteY14473" fmla="*/ 1921044 h 4687251"/>
              <a:gd name="connsiteX14474" fmla="*/ 5101909 w 8079933"/>
              <a:gd name="connsiteY14474" fmla="*/ 1917038 h 4687251"/>
              <a:gd name="connsiteX14475" fmla="*/ 5099847 w 8079933"/>
              <a:gd name="connsiteY14475" fmla="*/ 1915198 h 4687251"/>
              <a:gd name="connsiteX14476" fmla="*/ 5097785 w 8079933"/>
              <a:gd name="connsiteY14476" fmla="*/ 1911300 h 4687251"/>
              <a:gd name="connsiteX14477" fmla="*/ 5095615 w 8079933"/>
              <a:gd name="connsiteY14477" fmla="*/ 1910109 h 4687251"/>
              <a:gd name="connsiteX14478" fmla="*/ 5093987 w 8079933"/>
              <a:gd name="connsiteY14478" fmla="*/ 1910975 h 4687251"/>
              <a:gd name="connsiteX14479" fmla="*/ 5089646 w 8079933"/>
              <a:gd name="connsiteY14479" fmla="*/ 1912058 h 4687251"/>
              <a:gd name="connsiteX14480" fmla="*/ 5087584 w 8079933"/>
              <a:gd name="connsiteY14480" fmla="*/ 1911950 h 4687251"/>
              <a:gd name="connsiteX14481" fmla="*/ 5088019 w 8079933"/>
              <a:gd name="connsiteY14481" fmla="*/ 1906103 h 4687251"/>
              <a:gd name="connsiteX14482" fmla="*/ 5087584 w 8079933"/>
              <a:gd name="connsiteY14482" fmla="*/ 1901448 h 4687251"/>
              <a:gd name="connsiteX14483" fmla="*/ 5080856 w 8079933"/>
              <a:gd name="connsiteY14483" fmla="*/ 1893652 h 4687251"/>
              <a:gd name="connsiteX14484" fmla="*/ 5079555 w 8079933"/>
              <a:gd name="connsiteY14484" fmla="*/ 1890729 h 4687251"/>
              <a:gd name="connsiteX14485" fmla="*/ 5077710 w 8079933"/>
              <a:gd name="connsiteY14485" fmla="*/ 1889971 h 4687251"/>
              <a:gd name="connsiteX14486" fmla="*/ 5075974 w 8079933"/>
              <a:gd name="connsiteY14486" fmla="*/ 1884882 h 4687251"/>
              <a:gd name="connsiteX14487" fmla="*/ 5073261 w 8079933"/>
              <a:gd name="connsiteY14487" fmla="*/ 1883258 h 4687251"/>
              <a:gd name="connsiteX14488" fmla="*/ 5071524 w 8079933"/>
              <a:gd name="connsiteY14488" fmla="*/ 1879577 h 4687251"/>
              <a:gd name="connsiteX14489" fmla="*/ 5067401 w 8079933"/>
              <a:gd name="connsiteY14489" fmla="*/ 1878061 h 4687251"/>
              <a:gd name="connsiteX14490" fmla="*/ 5063603 w 8079933"/>
              <a:gd name="connsiteY14490" fmla="*/ 1877845 h 4687251"/>
              <a:gd name="connsiteX14491" fmla="*/ 5060673 w 8079933"/>
              <a:gd name="connsiteY14491" fmla="*/ 1874271 h 4687251"/>
              <a:gd name="connsiteX14492" fmla="*/ 5060998 w 8079933"/>
              <a:gd name="connsiteY14492" fmla="*/ 1872106 h 4687251"/>
              <a:gd name="connsiteX14493" fmla="*/ 5062590 w 8079933"/>
              <a:gd name="connsiteY14493" fmla="*/ 1870183 h 4687251"/>
              <a:gd name="connsiteX14494" fmla="*/ 4312312 w 8079933"/>
              <a:gd name="connsiteY14494" fmla="*/ 1868491 h 4687251"/>
              <a:gd name="connsiteX14495" fmla="*/ 4310931 w 8079933"/>
              <a:gd name="connsiteY14495" fmla="*/ 1869723 h 4687251"/>
              <a:gd name="connsiteX14496" fmla="*/ 4310932 w 8079933"/>
              <a:gd name="connsiteY14496" fmla="*/ 1869723 h 4687251"/>
              <a:gd name="connsiteX14497" fmla="*/ 4307133 w 8079933"/>
              <a:gd name="connsiteY14497" fmla="*/ 1867450 h 4687251"/>
              <a:gd name="connsiteX14498" fmla="*/ 4304746 w 8079933"/>
              <a:gd name="connsiteY14498" fmla="*/ 1870048 h 4687251"/>
              <a:gd name="connsiteX14499" fmla="*/ 4301816 w 8079933"/>
              <a:gd name="connsiteY14499" fmla="*/ 1869940 h 4687251"/>
              <a:gd name="connsiteX14500" fmla="*/ 4298633 w 8079933"/>
              <a:gd name="connsiteY14500" fmla="*/ 1870417 h 4687251"/>
              <a:gd name="connsiteX14501" fmla="*/ 4301816 w 8079933"/>
              <a:gd name="connsiteY14501" fmla="*/ 1869941 h 4687251"/>
              <a:gd name="connsiteX14502" fmla="*/ 4304746 w 8079933"/>
              <a:gd name="connsiteY14502" fmla="*/ 1870048 h 4687251"/>
              <a:gd name="connsiteX14503" fmla="*/ 4307134 w 8079933"/>
              <a:gd name="connsiteY14503" fmla="*/ 1867450 h 4687251"/>
              <a:gd name="connsiteX14504" fmla="*/ 4286623 w 8079933"/>
              <a:gd name="connsiteY14504" fmla="*/ 1867017 h 4687251"/>
              <a:gd name="connsiteX14505" fmla="*/ 4285775 w 8079933"/>
              <a:gd name="connsiteY14505" fmla="*/ 1868012 h 4687251"/>
              <a:gd name="connsiteX14506" fmla="*/ 4286624 w 8079933"/>
              <a:gd name="connsiteY14506" fmla="*/ 1867017 h 4687251"/>
              <a:gd name="connsiteX14507" fmla="*/ 6110636 w 8079933"/>
              <a:gd name="connsiteY14507" fmla="*/ 1866214 h 4687251"/>
              <a:gd name="connsiteX14508" fmla="*/ 6114912 w 8079933"/>
              <a:gd name="connsiteY14508" fmla="*/ 1874488 h 4687251"/>
              <a:gd name="connsiteX14509" fmla="*/ 6114914 w 8079933"/>
              <a:gd name="connsiteY14509" fmla="*/ 1874488 h 4687251"/>
              <a:gd name="connsiteX14510" fmla="*/ 4090561 w 8079933"/>
              <a:gd name="connsiteY14510" fmla="*/ 1865713 h 4687251"/>
              <a:gd name="connsiteX14511" fmla="*/ 4089775 w 8079933"/>
              <a:gd name="connsiteY14511" fmla="*/ 1870482 h 4687251"/>
              <a:gd name="connsiteX14512" fmla="*/ 4084241 w 8079933"/>
              <a:gd name="connsiteY14512" fmla="*/ 1871240 h 4687251"/>
              <a:gd name="connsiteX14513" fmla="*/ 4080768 w 8079933"/>
              <a:gd name="connsiteY14513" fmla="*/ 1875030 h 4687251"/>
              <a:gd name="connsiteX14514" fmla="*/ 4084240 w 8079933"/>
              <a:gd name="connsiteY14514" fmla="*/ 1871241 h 4687251"/>
              <a:gd name="connsiteX14515" fmla="*/ 4089775 w 8079933"/>
              <a:gd name="connsiteY14515" fmla="*/ 1870483 h 4687251"/>
              <a:gd name="connsiteX14516" fmla="*/ 4356944 w 8079933"/>
              <a:gd name="connsiteY14516" fmla="*/ 1863547 h 4687251"/>
              <a:gd name="connsiteX14517" fmla="*/ 4357810 w 8079933"/>
              <a:gd name="connsiteY14517" fmla="*/ 1867342 h 4687251"/>
              <a:gd name="connsiteX14518" fmla="*/ 4360198 w 8079933"/>
              <a:gd name="connsiteY14518" fmla="*/ 1869399 h 4687251"/>
              <a:gd name="connsiteX14519" fmla="*/ 4360198 w 8079933"/>
              <a:gd name="connsiteY14519" fmla="*/ 1869399 h 4687251"/>
              <a:gd name="connsiteX14520" fmla="*/ 4357811 w 8079933"/>
              <a:gd name="connsiteY14520" fmla="*/ 1867342 h 4687251"/>
              <a:gd name="connsiteX14521" fmla="*/ 4400024 w 8079933"/>
              <a:gd name="connsiteY14521" fmla="*/ 1862145 h 4687251"/>
              <a:gd name="connsiteX14522" fmla="*/ 4400024 w 8079933"/>
              <a:gd name="connsiteY14522" fmla="*/ 1862146 h 4687251"/>
              <a:gd name="connsiteX14523" fmla="*/ 4406209 w 8079933"/>
              <a:gd name="connsiteY14523" fmla="*/ 1865393 h 4687251"/>
              <a:gd name="connsiteX14524" fmla="*/ 6836986 w 8079933"/>
              <a:gd name="connsiteY14524" fmla="*/ 1860731 h 4687251"/>
              <a:gd name="connsiteX14525" fmla="*/ 6839262 w 8079933"/>
              <a:gd name="connsiteY14525" fmla="*/ 1861929 h 4687251"/>
              <a:gd name="connsiteX14526" fmla="*/ 6842626 w 8079933"/>
              <a:gd name="connsiteY14526" fmla="*/ 1864961 h 4687251"/>
              <a:gd name="connsiteX14527" fmla="*/ 6846750 w 8079933"/>
              <a:gd name="connsiteY14527" fmla="*/ 1863337 h 4687251"/>
              <a:gd name="connsiteX14528" fmla="*/ 6851854 w 8079933"/>
              <a:gd name="connsiteY14528" fmla="*/ 1865352 h 4687251"/>
              <a:gd name="connsiteX14529" fmla="*/ 6846749 w 8079933"/>
              <a:gd name="connsiteY14529" fmla="*/ 1863336 h 4687251"/>
              <a:gd name="connsiteX14530" fmla="*/ 6842625 w 8079933"/>
              <a:gd name="connsiteY14530" fmla="*/ 1864960 h 4687251"/>
              <a:gd name="connsiteX14531" fmla="*/ 6839261 w 8079933"/>
              <a:gd name="connsiteY14531" fmla="*/ 1861928 h 4687251"/>
              <a:gd name="connsiteX14532" fmla="*/ 4563821 w 8079933"/>
              <a:gd name="connsiteY14532" fmla="*/ 1857591 h 4687251"/>
              <a:gd name="connsiteX14533" fmla="*/ 4565213 w 8079933"/>
              <a:gd name="connsiteY14533" fmla="*/ 1860053 h 4687251"/>
              <a:gd name="connsiteX14534" fmla="*/ 4565295 w 8079933"/>
              <a:gd name="connsiteY14534" fmla="*/ 1860196 h 4687251"/>
              <a:gd name="connsiteX14535" fmla="*/ 2091658 w 8079933"/>
              <a:gd name="connsiteY14535" fmla="*/ 1857165 h 4687251"/>
              <a:gd name="connsiteX14536" fmla="*/ 2091542 w 8079933"/>
              <a:gd name="connsiteY14536" fmla="*/ 1859056 h 4687251"/>
              <a:gd name="connsiteX14537" fmla="*/ 2091658 w 8079933"/>
              <a:gd name="connsiteY14537" fmla="*/ 1857165 h 4687251"/>
              <a:gd name="connsiteX14538" fmla="*/ 4353470 w 8079933"/>
              <a:gd name="connsiteY14538" fmla="*/ 1854133 h 4687251"/>
              <a:gd name="connsiteX14539" fmla="*/ 4354264 w 8079933"/>
              <a:gd name="connsiteY14539" fmla="*/ 1856039 h 4687251"/>
              <a:gd name="connsiteX14540" fmla="*/ 4353470 w 8079933"/>
              <a:gd name="connsiteY14540" fmla="*/ 1854133 h 4687251"/>
              <a:gd name="connsiteX14541" fmla="*/ 6869309 w 8079933"/>
              <a:gd name="connsiteY14541" fmla="*/ 1854040 h 4687251"/>
              <a:gd name="connsiteX14542" fmla="*/ 6870622 w 8079933"/>
              <a:gd name="connsiteY14542" fmla="*/ 1855323 h 4687251"/>
              <a:gd name="connsiteX14543" fmla="*/ 6870948 w 8079933"/>
              <a:gd name="connsiteY14543" fmla="*/ 1858788 h 4687251"/>
              <a:gd name="connsiteX14544" fmla="*/ 6867801 w 8079933"/>
              <a:gd name="connsiteY14544" fmla="*/ 1865393 h 4687251"/>
              <a:gd name="connsiteX14545" fmla="*/ 6861616 w 8079933"/>
              <a:gd name="connsiteY14545" fmla="*/ 1864310 h 4687251"/>
              <a:gd name="connsiteX14546" fmla="*/ 6851957 w 8079933"/>
              <a:gd name="connsiteY14546" fmla="*/ 1865393 h 4687251"/>
              <a:gd name="connsiteX14547" fmla="*/ 6851959 w 8079933"/>
              <a:gd name="connsiteY14547" fmla="*/ 1865393 h 4687251"/>
              <a:gd name="connsiteX14548" fmla="*/ 6861617 w 8079933"/>
              <a:gd name="connsiteY14548" fmla="*/ 1864311 h 4687251"/>
              <a:gd name="connsiteX14549" fmla="*/ 6867802 w 8079933"/>
              <a:gd name="connsiteY14549" fmla="*/ 1865393 h 4687251"/>
              <a:gd name="connsiteX14550" fmla="*/ 6870949 w 8079933"/>
              <a:gd name="connsiteY14550" fmla="*/ 1858789 h 4687251"/>
              <a:gd name="connsiteX14551" fmla="*/ 6870624 w 8079933"/>
              <a:gd name="connsiteY14551" fmla="*/ 1855325 h 4687251"/>
              <a:gd name="connsiteX14552" fmla="*/ 2236505 w 8079933"/>
              <a:gd name="connsiteY14552" fmla="*/ 1853878 h 4687251"/>
              <a:gd name="connsiteX14553" fmla="*/ 2235225 w 8079933"/>
              <a:gd name="connsiteY14553" fmla="*/ 1854133 h 4687251"/>
              <a:gd name="connsiteX14554" fmla="*/ 2230776 w 8079933"/>
              <a:gd name="connsiteY14554" fmla="*/ 1857382 h 4687251"/>
              <a:gd name="connsiteX14555" fmla="*/ 2210701 w 8079933"/>
              <a:gd name="connsiteY14555" fmla="*/ 1872323 h 4687251"/>
              <a:gd name="connsiteX14556" fmla="*/ 2230777 w 8079933"/>
              <a:gd name="connsiteY14556" fmla="*/ 1857382 h 4687251"/>
              <a:gd name="connsiteX14557" fmla="*/ 2235226 w 8079933"/>
              <a:gd name="connsiteY14557" fmla="*/ 1854133 h 4687251"/>
              <a:gd name="connsiteX14558" fmla="*/ 4561177 w 8079933"/>
              <a:gd name="connsiteY14558" fmla="*/ 1852951 h 4687251"/>
              <a:gd name="connsiteX14559" fmla="*/ 4563509 w 8079933"/>
              <a:gd name="connsiteY14559" fmla="*/ 1857054 h 4687251"/>
              <a:gd name="connsiteX14560" fmla="*/ 4561187 w 8079933"/>
              <a:gd name="connsiteY14560" fmla="*/ 1852969 h 4687251"/>
              <a:gd name="connsiteX14561" fmla="*/ 4564969 w 8079933"/>
              <a:gd name="connsiteY14561" fmla="*/ 1850994 h 4687251"/>
              <a:gd name="connsiteX14562" fmla="*/ 4561497 w 8079933"/>
              <a:gd name="connsiteY14562" fmla="*/ 1853483 h 4687251"/>
              <a:gd name="connsiteX14563" fmla="*/ 4561498 w 8079933"/>
              <a:gd name="connsiteY14563" fmla="*/ 1853484 h 4687251"/>
              <a:gd name="connsiteX14564" fmla="*/ 4564970 w 8079933"/>
              <a:gd name="connsiteY14564" fmla="*/ 1850994 h 4687251"/>
              <a:gd name="connsiteX14565" fmla="*/ 4567097 w 8079933"/>
              <a:gd name="connsiteY14565" fmla="*/ 1851643 h 4687251"/>
              <a:gd name="connsiteX14566" fmla="*/ 4088039 w 8079933"/>
              <a:gd name="connsiteY14566" fmla="*/ 1850236 h 4687251"/>
              <a:gd name="connsiteX14567" fmla="*/ 4088364 w 8079933"/>
              <a:gd name="connsiteY14567" fmla="*/ 1850344 h 4687251"/>
              <a:gd name="connsiteX14568" fmla="*/ 4093573 w 8079933"/>
              <a:gd name="connsiteY14568" fmla="*/ 1852293 h 4687251"/>
              <a:gd name="connsiteX14569" fmla="*/ 6100382 w 8079933"/>
              <a:gd name="connsiteY14569" fmla="*/ 1849034 h 4687251"/>
              <a:gd name="connsiteX14570" fmla="*/ 6102541 w 8079933"/>
              <a:gd name="connsiteY14570" fmla="*/ 1851643 h 4687251"/>
              <a:gd name="connsiteX14571" fmla="*/ 6105528 w 8079933"/>
              <a:gd name="connsiteY14571" fmla="*/ 1856111 h 4687251"/>
              <a:gd name="connsiteX14572" fmla="*/ 6102543 w 8079933"/>
              <a:gd name="connsiteY14572" fmla="*/ 1851643 h 4687251"/>
              <a:gd name="connsiteX14573" fmla="*/ 4390800 w 8079933"/>
              <a:gd name="connsiteY14573" fmla="*/ 1848827 h 4687251"/>
              <a:gd name="connsiteX14574" fmla="*/ 4392390 w 8079933"/>
              <a:gd name="connsiteY14574" fmla="*/ 1850704 h 4687251"/>
              <a:gd name="connsiteX14575" fmla="*/ 4390800 w 8079933"/>
              <a:gd name="connsiteY14575" fmla="*/ 1848828 h 4687251"/>
              <a:gd name="connsiteX14576" fmla="*/ 4361826 w 8079933"/>
              <a:gd name="connsiteY14576" fmla="*/ 1847312 h 4687251"/>
              <a:gd name="connsiteX14577" fmla="*/ 4356292 w 8079933"/>
              <a:gd name="connsiteY14577" fmla="*/ 1850127 h 4687251"/>
              <a:gd name="connsiteX14578" fmla="*/ 4353036 w 8079933"/>
              <a:gd name="connsiteY14578" fmla="*/ 1853808 h 4687251"/>
              <a:gd name="connsiteX14579" fmla="*/ 4351722 w 8079933"/>
              <a:gd name="connsiteY14579" fmla="*/ 1853098 h 4687251"/>
              <a:gd name="connsiteX14580" fmla="*/ 4353036 w 8079933"/>
              <a:gd name="connsiteY14580" fmla="*/ 1853808 h 4687251"/>
              <a:gd name="connsiteX14581" fmla="*/ 4353468 w 8079933"/>
              <a:gd name="connsiteY14581" fmla="*/ 1854132 h 4687251"/>
              <a:gd name="connsiteX14582" fmla="*/ 4353469 w 8079933"/>
              <a:gd name="connsiteY14582" fmla="*/ 1854132 h 4687251"/>
              <a:gd name="connsiteX14583" fmla="*/ 4353037 w 8079933"/>
              <a:gd name="connsiteY14583" fmla="*/ 1853808 h 4687251"/>
              <a:gd name="connsiteX14584" fmla="*/ 4356292 w 8079933"/>
              <a:gd name="connsiteY14584" fmla="*/ 1850127 h 4687251"/>
              <a:gd name="connsiteX14585" fmla="*/ 4384941 w 8079933"/>
              <a:gd name="connsiteY14585" fmla="*/ 1844389 h 4687251"/>
              <a:gd name="connsiteX14586" fmla="*/ 4384940 w 8079933"/>
              <a:gd name="connsiteY14586" fmla="*/ 1844389 h 4687251"/>
              <a:gd name="connsiteX14587" fmla="*/ 4389390 w 8079933"/>
              <a:gd name="connsiteY14587" fmla="*/ 1845905 h 4687251"/>
              <a:gd name="connsiteX14588" fmla="*/ 4389389 w 8079933"/>
              <a:gd name="connsiteY14588" fmla="*/ 1845904 h 4687251"/>
              <a:gd name="connsiteX14589" fmla="*/ 4122547 w 8079933"/>
              <a:gd name="connsiteY14589" fmla="*/ 1842332 h 4687251"/>
              <a:gd name="connsiteX14590" fmla="*/ 4122547 w 8079933"/>
              <a:gd name="connsiteY14590" fmla="*/ 1842332 h 4687251"/>
              <a:gd name="connsiteX14591" fmla="*/ 4130143 w 8079933"/>
              <a:gd name="connsiteY14591" fmla="*/ 1846014 h 4687251"/>
              <a:gd name="connsiteX14592" fmla="*/ 4132531 w 8079933"/>
              <a:gd name="connsiteY14592" fmla="*/ 1850886 h 4687251"/>
              <a:gd name="connsiteX14593" fmla="*/ 4134422 w 8079933"/>
              <a:gd name="connsiteY14593" fmla="*/ 1847497 h 4687251"/>
              <a:gd name="connsiteX14594" fmla="*/ 4132531 w 8079933"/>
              <a:gd name="connsiteY14594" fmla="*/ 1850885 h 4687251"/>
              <a:gd name="connsiteX14595" fmla="*/ 4130143 w 8079933"/>
              <a:gd name="connsiteY14595" fmla="*/ 1846013 h 4687251"/>
              <a:gd name="connsiteX14596" fmla="*/ 5106901 w 8079933"/>
              <a:gd name="connsiteY14596" fmla="*/ 1841899 h 4687251"/>
              <a:gd name="connsiteX14597" fmla="*/ 5104969 w 8079933"/>
              <a:gd name="connsiteY14597" fmla="*/ 1843116 h 4687251"/>
              <a:gd name="connsiteX14598" fmla="*/ 5105056 w 8079933"/>
              <a:gd name="connsiteY14598" fmla="*/ 1843198 h 4687251"/>
              <a:gd name="connsiteX14599" fmla="*/ 5107117 w 8079933"/>
              <a:gd name="connsiteY14599" fmla="*/ 1841899 h 4687251"/>
              <a:gd name="connsiteX14600" fmla="*/ 5090515 w 8079933"/>
              <a:gd name="connsiteY14600" fmla="*/ 1841358 h 4687251"/>
              <a:gd name="connsiteX14601" fmla="*/ 5086282 w 8079933"/>
              <a:gd name="connsiteY14601" fmla="*/ 1842874 h 4687251"/>
              <a:gd name="connsiteX14602" fmla="*/ 5081074 w 8079933"/>
              <a:gd name="connsiteY14602" fmla="*/ 1844389 h 4687251"/>
              <a:gd name="connsiteX14603" fmla="*/ 5078253 w 8079933"/>
              <a:gd name="connsiteY14603" fmla="*/ 1847421 h 4687251"/>
              <a:gd name="connsiteX14604" fmla="*/ 5078904 w 8079933"/>
              <a:gd name="connsiteY14604" fmla="*/ 1849586 h 4687251"/>
              <a:gd name="connsiteX14605" fmla="*/ 5078904 w 8079933"/>
              <a:gd name="connsiteY14605" fmla="*/ 1853376 h 4687251"/>
              <a:gd name="connsiteX14606" fmla="*/ 5076625 w 8079933"/>
              <a:gd name="connsiteY14606" fmla="*/ 1854891 h 4687251"/>
              <a:gd name="connsiteX14607" fmla="*/ 5076625 w 8079933"/>
              <a:gd name="connsiteY14607" fmla="*/ 1857274 h 4687251"/>
              <a:gd name="connsiteX14608" fmla="*/ 5081291 w 8079933"/>
              <a:gd name="connsiteY14608" fmla="*/ 1862687 h 4687251"/>
              <a:gd name="connsiteX14609" fmla="*/ 5081291 w 8079933"/>
              <a:gd name="connsiteY14609" fmla="*/ 1866151 h 4687251"/>
              <a:gd name="connsiteX14610" fmla="*/ 5082702 w 8079933"/>
              <a:gd name="connsiteY14610" fmla="*/ 1867126 h 4687251"/>
              <a:gd name="connsiteX14611" fmla="*/ 5087477 w 8079933"/>
              <a:gd name="connsiteY14611" fmla="*/ 1867126 h 4687251"/>
              <a:gd name="connsiteX14612" fmla="*/ 5088670 w 8079933"/>
              <a:gd name="connsiteY14612" fmla="*/ 1869508 h 4687251"/>
              <a:gd name="connsiteX14613" fmla="*/ 5088293 w 8079933"/>
              <a:gd name="connsiteY14613" fmla="*/ 1869947 h 4687251"/>
              <a:gd name="connsiteX14614" fmla="*/ 5089213 w 8079933"/>
              <a:gd name="connsiteY14614" fmla="*/ 1869183 h 4687251"/>
              <a:gd name="connsiteX14615" fmla="*/ 5088019 w 8079933"/>
              <a:gd name="connsiteY14615" fmla="*/ 1866801 h 4687251"/>
              <a:gd name="connsiteX14616" fmla="*/ 5083353 w 8079933"/>
              <a:gd name="connsiteY14616" fmla="*/ 1867018 h 4687251"/>
              <a:gd name="connsiteX14617" fmla="*/ 5081942 w 8079933"/>
              <a:gd name="connsiteY14617" fmla="*/ 1866151 h 4687251"/>
              <a:gd name="connsiteX14618" fmla="*/ 5081942 w 8079933"/>
              <a:gd name="connsiteY14618" fmla="*/ 1862686 h 4687251"/>
              <a:gd name="connsiteX14619" fmla="*/ 5077275 w 8079933"/>
              <a:gd name="connsiteY14619" fmla="*/ 1857273 h 4687251"/>
              <a:gd name="connsiteX14620" fmla="*/ 5076842 w 8079933"/>
              <a:gd name="connsiteY14620" fmla="*/ 1854783 h 4687251"/>
              <a:gd name="connsiteX14621" fmla="*/ 5079120 w 8079933"/>
              <a:gd name="connsiteY14621" fmla="*/ 1853375 h 4687251"/>
              <a:gd name="connsiteX14622" fmla="*/ 5079120 w 8079933"/>
              <a:gd name="connsiteY14622" fmla="*/ 1849586 h 4687251"/>
              <a:gd name="connsiteX14623" fmla="*/ 5078469 w 8079933"/>
              <a:gd name="connsiteY14623" fmla="*/ 1847421 h 4687251"/>
              <a:gd name="connsiteX14624" fmla="*/ 5081291 w 8079933"/>
              <a:gd name="connsiteY14624" fmla="*/ 1844389 h 4687251"/>
              <a:gd name="connsiteX14625" fmla="*/ 5086500 w 8079933"/>
              <a:gd name="connsiteY14625" fmla="*/ 1842873 h 4687251"/>
              <a:gd name="connsiteX14626" fmla="*/ 5090604 w 8079933"/>
              <a:gd name="connsiteY14626" fmla="*/ 1841403 h 4687251"/>
              <a:gd name="connsiteX14627" fmla="*/ 5102777 w 8079933"/>
              <a:gd name="connsiteY14627" fmla="*/ 1841249 h 4687251"/>
              <a:gd name="connsiteX14628" fmla="*/ 5098762 w 8079933"/>
              <a:gd name="connsiteY14628" fmla="*/ 1841899 h 4687251"/>
              <a:gd name="connsiteX14629" fmla="*/ 5094236 w 8079933"/>
              <a:gd name="connsiteY14629" fmla="*/ 1843159 h 4687251"/>
              <a:gd name="connsiteX14630" fmla="*/ 5094312 w 8079933"/>
              <a:gd name="connsiteY14630" fmla="*/ 1843198 h 4687251"/>
              <a:gd name="connsiteX14631" fmla="*/ 5098979 w 8079933"/>
              <a:gd name="connsiteY14631" fmla="*/ 1841899 h 4687251"/>
              <a:gd name="connsiteX14632" fmla="*/ 5102809 w 8079933"/>
              <a:gd name="connsiteY14632" fmla="*/ 1841279 h 4687251"/>
              <a:gd name="connsiteX14633" fmla="*/ 4372894 w 8079933"/>
              <a:gd name="connsiteY14633" fmla="*/ 1840816 h 4687251"/>
              <a:gd name="connsiteX14634" fmla="*/ 4367252 w 8079933"/>
              <a:gd name="connsiteY14634" fmla="*/ 1845688 h 4687251"/>
              <a:gd name="connsiteX14635" fmla="*/ 4365733 w 8079933"/>
              <a:gd name="connsiteY14635" fmla="*/ 1847853 h 4687251"/>
              <a:gd name="connsiteX14636" fmla="*/ 4365733 w 8079933"/>
              <a:gd name="connsiteY14636" fmla="*/ 1847853 h 4687251"/>
              <a:gd name="connsiteX14637" fmla="*/ 4367253 w 8079933"/>
              <a:gd name="connsiteY14637" fmla="*/ 1845688 h 4687251"/>
              <a:gd name="connsiteX14638" fmla="*/ 4372895 w 8079933"/>
              <a:gd name="connsiteY14638" fmla="*/ 1840816 h 4687251"/>
              <a:gd name="connsiteX14639" fmla="*/ 4061127 w 8079933"/>
              <a:gd name="connsiteY14639" fmla="*/ 1840275 h 4687251"/>
              <a:gd name="connsiteX14640" fmla="*/ 4061126 w 8079933"/>
              <a:gd name="connsiteY14640" fmla="*/ 1840275 h 4687251"/>
              <a:gd name="connsiteX14641" fmla="*/ 4061669 w 8079933"/>
              <a:gd name="connsiteY14641" fmla="*/ 1844065 h 4687251"/>
              <a:gd name="connsiteX14642" fmla="*/ 4066769 w 8079933"/>
              <a:gd name="connsiteY14642" fmla="*/ 1844606 h 4687251"/>
              <a:gd name="connsiteX14643" fmla="*/ 4072629 w 8079933"/>
              <a:gd name="connsiteY14643" fmla="*/ 1842223 h 4687251"/>
              <a:gd name="connsiteX14644" fmla="*/ 4066770 w 8079933"/>
              <a:gd name="connsiteY14644" fmla="*/ 1844605 h 4687251"/>
              <a:gd name="connsiteX14645" fmla="*/ 4061669 w 8079933"/>
              <a:gd name="connsiteY14645" fmla="*/ 1844064 h 4687251"/>
              <a:gd name="connsiteX14646" fmla="*/ 4573542 w 8079933"/>
              <a:gd name="connsiteY14646" fmla="*/ 1839625 h 4687251"/>
              <a:gd name="connsiteX14647" fmla="*/ 4569093 w 8079933"/>
              <a:gd name="connsiteY14647" fmla="*/ 1847854 h 4687251"/>
              <a:gd name="connsiteX14648" fmla="*/ 4568882 w 8079933"/>
              <a:gd name="connsiteY14648" fmla="*/ 1852075 h 4687251"/>
              <a:gd name="connsiteX14649" fmla="*/ 4569093 w 8079933"/>
              <a:gd name="connsiteY14649" fmla="*/ 1847854 h 4687251"/>
              <a:gd name="connsiteX14650" fmla="*/ 4573542 w 8079933"/>
              <a:gd name="connsiteY14650" fmla="*/ 1839626 h 4687251"/>
              <a:gd name="connsiteX14651" fmla="*/ 4575667 w 8079933"/>
              <a:gd name="connsiteY14651" fmla="*/ 1839915 h 4687251"/>
              <a:gd name="connsiteX14652" fmla="*/ 4390284 w 8079933"/>
              <a:gd name="connsiteY14652" fmla="*/ 1839337 h 4687251"/>
              <a:gd name="connsiteX14653" fmla="*/ 4389714 w 8079933"/>
              <a:gd name="connsiteY14653" fmla="*/ 1839516 h 4687251"/>
              <a:gd name="connsiteX14654" fmla="*/ 4388344 w 8079933"/>
              <a:gd name="connsiteY14654" fmla="*/ 1840915 h 4687251"/>
              <a:gd name="connsiteX14655" fmla="*/ 4389715 w 8079933"/>
              <a:gd name="connsiteY14655" fmla="*/ 1839516 h 4687251"/>
              <a:gd name="connsiteX14656" fmla="*/ 4083465 w 8079933"/>
              <a:gd name="connsiteY14656" fmla="*/ 1839261 h 4687251"/>
              <a:gd name="connsiteX14657" fmla="*/ 4084891 w 8079933"/>
              <a:gd name="connsiteY14657" fmla="*/ 1844065 h 4687251"/>
              <a:gd name="connsiteX14658" fmla="*/ 4087604 w 8079933"/>
              <a:gd name="connsiteY14658" fmla="*/ 1846338 h 4687251"/>
              <a:gd name="connsiteX14659" fmla="*/ 4088364 w 8079933"/>
              <a:gd name="connsiteY14659" fmla="*/ 1850344 h 4687251"/>
              <a:gd name="connsiteX14660" fmla="*/ 4088039 w 8079933"/>
              <a:gd name="connsiteY14660" fmla="*/ 1850235 h 4687251"/>
              <a:gd name="connsiteX14661" fmla="*/ 4087629 w 8079933"/>
              <a:gd name="connsiteY14661" fmla="*/ 1850709 h 4687251"/>
              <a:gd name="connsiteX14662" fmla="*/ 4088038 w 8079933"/>
              <a:gd name="connsiteY14662" fmla="*/ 1850236 h 4687251"/>
              <a:gd name="connsiteX14663" fmla="*/ 4093573 w 8079933"/>
              <a:gd name="connsiteY14663" fmla="*/ 1852293 h 4687251"/>
              <a:gd name="connsiteX14664" fmla="*/ 4102796 w 8079933"/>
              <a:gd name="connsiteY14664" fmla="*/ 1845364 h 4687251"/>
              <a:gd name="connsiteX14665" fmla="*/ 4109091 w 8079933"/>
              <a:gd name="connsiteY14665" fmla="*/ 1848179 h 4687251"/>
              <a:gd name="connsiteX14666" fmla="*/ 4109091 w 8079933"/>
              <a:gd name="connsiteY14666" fmla="*/ 1848178 h 4687251"/>
              <a:gd name="connsiteX14667" fmla="*/ 4102797 w 8079933"/>
              <a:gd name="connsiteY14667" fmla="*/ 1845363 h 4687251"/>
              <a:gd name="connsiteX14668" fmla="*/ 4093573 w 8079933"/>
              <a:gd name="connsiteY14668" fmla="*/ 1852293 h 4687251"/>
              <a:gd name="connsiteX14669" fmla="*/ 4088365 w 8079933"/>
              <a:gd name="connsiteY14669" fmla="*/ 1850344 h 4687251"/>
              <a:gd name="connsiteX14670" fmla="*/ 4087605 w 8079933"/>
              <a:gd name="connsiteY14670" fmla="*/ 1846338 h 4687251"/>
              <a:gd name="connsiteX14671" fmla="*/ 4084892 w 8079933"/>
              <a:gd name="connsiteY14671" fmla="*/ 1844064 h 4687251"/>
              <a:gd name="connsiteX14672" fmla="*/ 7159819 w 8079933"/>
              <a:gd name="connsiteY14672" fmla="*/ 1838434 h 4687251"/>
              <a:gd name="connsiteX14673" fmla="*/ 7162098 w 8079933"/>
              <a:gd name="connsiteY14673" fmla="*/ 1838650 h 4687251"/>
              <a:gd name="connsiteX14674" fmla="*/ 7166330 w 8079933"/>
              <a:gd name="connsiteY14674" fmla="*/ 1840599 h 4687251"/>
              <a:gd name="connsiteX14675" fmla="*/ 7167415 w 8079933"/>
              <a:gd name="connsiteY14675" fmla="*/ 1842007 h 4687251"/>
              <a:gd name="connsiteX14676" fmla="*/ 7169585 w 8079933"/>
              <a:gd name="connsiteY14676" fmla="*/ 1841682 h 4687251"/>
              <a:gd name="connsiteX14677" fmla="*/ 7172407 w 8079933"/>
              <a:gd name="connsiteY14677" fmla="*/ 1839950 h 4687251"/>
              <a:gd name="connsiteX14678" fmla="*/ 7171973 w 8079933"/>
              <a:gd name="connsiteY14678" fmla="*/ 1842440 h 4687251"/>
              <a:gd name="connsiteX14679" fmla="*/ 7172515 w 8079933"/>
              <a:gd name="connsiteY14679" fmla="*/ 1849694 h 4687251"/>
              <a:gd name="connsiteX14680" fmla="*/ 7174469 w 8079933"/>
              <a:gd name="connsiteY14680" fmla="*/ 1857056 h 4687251"/>
              <a:gd name="connsiteX14681" fmla="*/ 7177073 w 8079933"/>
              <a:gd name="connsiteY14681" fmla="*/ 1861929 h 4687251"/>
              <a:gd name="connsiteX14682" fmla="*/ 7186840 w 8079933"/>
              <a:gd name="connsiteY14682" fmla="*/ 1872756 h 4687251"/>
              <a:gd name="connsiteX14683" fmla="*/ 7191289 w 8079933"/>
              <a:gd name="connsiteY14683" fmla="*/ 1876870 h 4687251"/>
              <a:gd name="connsiteX14684" fmla="*/ 7191831 w 8079933"/>
              <a:gd name="connsiteY14684" fmla="*/ 1887047 h 4687251"/>
              <a:gd name="connsiteX14685" fmla="*/ 7194436 w 8079933"/>
              <a:gd name="connsiteY14685" fmla="*/ 1888455 h 4687251"/>
              <a:gd name="connsiteX14686" fmla="*/ 7196823 w 8079933"/>
              <a:gd name="connsiteY14686" fmla="*/ 1888455 h 4687251"/>
              <a:gd name="connsiteX14687" fmla="*/ 7201164 w 8079933"/>
              <a:gd name="connsiteY14687" fmla="*/ 1896034 h 4687251"/>
              <a:gd name="connsiteX14688" fmla="*/ 7202465 w 8079933"/>
              <a:gd name="connsiteY14688" fmla="*/ 1905237 h 4687251"/>
              <a:gd name="connsiteX14689" fmla="*/ 7204419 w 8079933"/>
              <a:gd name="connsiteY14689" fmla="*/ 1908701 h 4687251"/>
              <a:gd name="connsiteX14690" fmla="*/ 7203334 w 8079933"/>
              <a:gd name="connsiteY14690" fmla="*/ 1911625 h 4687251"/>
              <a:gd name="connsiteX14691" fmla="*/ 7203660 w 8079933"/>
              <a:gd name="connsiteY14691" fmla="*/ 1917471 h 4687251"/>
              <a:gd name="connsiteX14692" fmla="*/ 7205071 w 8079933"/>
              <a:gd name="connsiteY14692" fmla="*/ 1919637 h 4687251"/>
              <a:gd name="connsiteX14693" fmla="*/ 7204527 w 8079933"/>
              <a:gd name="connsiteY14693" fmla="*/ 1923318 h 4687251"/>
              <a:gd name="connsiteX14694" fmla="*/ 7204636 w 8079933"/>
              <a:gd name="connsiteY14694" fmla="*/ 1924725 h 4687251"/>
              <a:gd name="connsiteX14695" fmla="*/ 7202900 w 8079933"/>
              <a:gd name="connsiteY14695" fmla="*/ 1927649 h 4687251"/>
              <a:gd name="connsiteX14696" fmla="*/ 7203009 w 8079933"/>
              <a:gd name="connsiteY14696" fmla="*/ 1931330 h 4687251"/>
              <a:gd name="connsiteX14697" fmla="*/ 7202683 w 8079933"/>
              <a:gd name="connsiteY14697" fmla="*/ 1933712 h 4687251"/>
              <a:gd name="connsiteX14698" fmla="*/ 7203877 w 8079933"/>
              <a:gd name="connsiteY14698" fmla="*/ 1938476 h 4687251"/>
              <a:gd name="connsiteX14699" fmla="*/ 7205395 w 8079933"/>
              <a:gd name="connsiteY14699" fmla="*/ 1940316 h 4687251"/>
              <a:gd name="connsiteX14700" fmla="*/ 7206264 w 8079933"/>
              <a:gd name="connsiteY14700" fmla="*/ 1943998 h 4687251"/>
              <a:gd name="connsiteX14701" fmla="*/ 7207458 w 8079933"/>
              <a:gd name="connsiteY14701" fmla="*/ 1949411 h 4687251"/>
              <a:gd name="connsiteX14702" fmla="*/ 7206155 w 8079933"/>
              <a:gd name="connsiteY14702" fmla="*/ 1951143 h 4687251"/>
              <a:gd name="connsiteX14703" fmla="*/ 7204202 w 8079933"/>
              <a:gd name="connsiteY14703" fmla="*/ 1947896 h 4687251"/>
              <a:gd name="connsiteX14704" fmla="*/ 7200621 w 8079933"/>
              <a:gd name="connsiteY14704" fmla="*/ 1947896 h 4687251"/>
              <a:gd name="connsiteX14705" fmla="*/ 7193242 w 8079933"/>
              <a:gd name="connsiteY14705" fmla="*/ 1951360 h 4687251"/>
              <a:gd name="connsiteX14706" fmla="*/ 7191831 w 8079933"/>
              <a:gd name="connsiteY14706" fmla="*/ 1959047 h 4687251"/>
              <a:gd name="connsiteX14707" fmla="*/ 7192374 w 8079933"/>
              <a:gd name="connsiteY14707" fmla="*/ 1965218 h 4687251"/>
              <a:gd name="connsiteX14708" fmla="*/ 7198234 w 8079933"/>
              <a:gd name="connsiteY14708" fmla="*/ 1973231 h 4687251"/>
              <a:gd name="connsiteX14709" fmla="*/ 7202358 w 8079933"/>
              <a:gd name="connsiteY14709" fmla="*/ 1989796 h 4687251"/>
              <a:gd name="connsiteX14710" fmla="*/ 7202032 w 8079933"/>
              <a:gd name="connsiteY14710" fmla="*/ 1998999 h 4687251"/>
              <a:gd name="connsiteX14711" fmla="*/ 7200296 w 8079933"/>
              <a:gd name="connsiteY14711" fmla="*/ 2012424 h 4687251"/>
              <a:gd name="connsiteX14712" fmla="*/ 7201815 w 8079933"/>
              <a:gd name="connsiteY14712" fmla="*/ 2023901 h 4687251"/>
              <a:gd name="connsiteX14713" fmla="*/ 7203660 w 8079933"/>
              <a:gd name="connsiteY14713" fmla="*/ 2029531 h 4687251"/>
              <a:gd name="connsiteX14714" fmla="*/ 7209194 w 8079933"/>
              <a:gd name="connsiteY14714" fmla="*/ 2037111 h 4687251"/>
              <a:gd name="connsiteX14715" fmla="*/ 7211799 w 8079933"/>
              <a:gd name="connsiteY14715" fmla="*/ 2039492 h 4687251"/>
              <a:gd name="connsiteX14716" fmla="*/ 7212450 w 8079933"/>
              <a:gd name="connsiteY14716" fmla="*/ 2042632 h 4687251"/>
              <a:gd name="connsiteX14717" fmla="*/ 7207349 w 8079933"/>
              <a:gd name="connsiteY14717" fmla="*/ 2047396 h 4687251"/>
              <a:gd name="connsiteX14718" fmla="*/ 7208326 w 8079933"/>
              <a:gd name="connsiteY14718" fmla="*/ 2051402 h 4687251"/>
              <a:gd name="connsiteX14719" fmla="*/ 7206698 w 8079933"/>
              <a:gd name="connsiteY14719" fmla="*/ 2057574 h 4687251"/>
              <a:gd name="connsiteX14720" fmla="*/ 7202141 w 8079933"/>
              <a:gd name="connsiteY14720" fmla="*/ 2062446 h 4687251"/>
              <a:gd name="connsiteX14721" fmla="*/ 7198234 w 8079933"/>
              <a:gd name="connsiteY14721" fmla="*/ 2062770 h 4687251"/>
              <a:gd name="connsiteX14722" fmla="*/ 7196172 w 8079933"/>
              <a:gd name="connsiteY14722" fmla="*/ 2067209 h 4687251"/>
              <a:gd name="connsiteX14723" fmla="*/ 7193025 w 8079933"/>
              <a:gd name="connsiteY14723" fmla="*/ 2069266 h 4687251"/>
              <a:gd name="connsiteX14724" fmla="*/ 7190747 w 8079933"/>
              <a:gd name="connsiteY14724" fmla="*/ 2068184 h 4687251"/>
              <a:gd name="connsiteX14725" fmla="*/ 7189444 w 8079933"/>
              <a:gd name="connsiteY14725" fmla="*/ 2054650 h 4687251"/>
              <a:gd name="connsiteX14726" fmla="*/ 7190638 w 8079933"/>
              <a:gd name="connsiteY14726" fmla="*/ 2048154 h 4687251"/>
              <a:gd name="connsiteX14727" fmla="*/ 7192808 w 8079933"/>
              <a:gd name="connsiteY14727" fmla="*/ 2044905 h 4687251"/>
              <a:gd name="connsiteX14728" fmla="*/ 7191831 w 8079933"/>
              <a:gd name="connsiteY14728" fmla="*/ 2042307 h 4687251"/>
              <a:gd name="connsiteX14729" fmla="*/ 7187382 w 8079933"/>
              <a:gd name="connsiteY14729" fmla="*/ 2041441 h 4687251"/>
              <a:gd name="connsiteX14730" fmla="*/ 7184452 w 8079933"/>
              <a:gd name="connsiteY14730" fmla="*/ 2043282 h 4687251"/>
              <a:gd name="connsiteX14731" fmla="*/ 7183259 w 8079933"/>
              <a:gd name="connsiteY14731" fmla="*/ 2049020 h 4687251"/>
              <a:gd name="connsiteX14732" fmla="*/ 7185429 w 8079933"/>
              <a:gd name="connsiteY14732" fmla="*/ 2051727 h 4687251"/>
              <a:gd name="connsiteX14733" fmla="*/ 7184452 w 8079933"/>
              <a:gd name="connsiteY14733" fmla="*/ 2054001 h 4687251"/>
              <a:gd name="connsiteX14734" fmla="*/ 7181088 w 8079933"/>
              <a:gd name="connsiteY14734" fmla="*/ 2054109 h 4687251"/>
              <a:gd name="connsiteX14735" fmla="*/ 7175336 w 8079933"/>
              <a:gd name="connsiteY14735" fmla="*/ 2058548 h 4687251"/>
              <a:gd name="connsiteX14736" fmla="*/ 7173927 w 8079933"/>
              <a:gd name="connsiteY14736" fmla="*/ 2063745 h 4687251"/>
              <a:gd name="connsiteX14737" fmla="*/ 7176639 w 8079933"/>
              <a:gd name="connsiteY14737" fmla="*/ 2071974 h 4687251"/>
              <a:gd name="connsiteX14738" fmla="*/ 7173058 w 8079933"/>
              <a:gd name="connsiteY14738" fmla="*/ 2076954 h 4687251"/>
              <a:gd name="connsiteX14739" fmla="*/ 7169368 w 8079933"/>
              <a:gd name="connsiteY14739" fmla="*/ 2077387 h 4687251"/>
              <a:gd name="connsiteX14740" fmla="*/ 7167524 w 8079933"/>
              <a:gd name="connsiteY14740" fmla="*/ 2073922 h 4687251"/>
              <a:gd name="connsiteX14741" fmla="*/ 7168934 w 8079933"/>
              <a:gd name="connsiteY14741" fmla="*/ 2069484 h 4687251"/>
              <a:gd name="connsiteX14742" fmla="*/ 7168066 w 8079933"/>
              <a:gd name="connsiteY14742" fmla="*/ 2064611 h 4687251"/>
              <a:gd name="connsiteX14743" fmla="*/ 7164051 w 8079933"/>
              <a:gd name="connsiteY14743" fmla="*/ 2063962 h 4687251"/>
              <a:gd name="connsiteX14744" fmla="*/ 7158951 w 8079933"/>
              <a:gd name="connsiteY14744" fmla="*/ 2066560 h 4687251"/>
              <a:gd name="connsiteX14745" fmla="*/ 7157757 w 8079933"/>
              <a:gd name="connsiteY14745" fmla="*/ 2071974 h 4687251"/>
              <a:gd name="connsiteX14746" fmla="*/ 7158951 w 8079933"/>
              <a:gd name="connsiteY14746" fmla="*/ 2076845 h 4687251"/>
              <a:gd name="connsiteX14747" fmla="*/ 7160579 w 8079933"/>
              <a:gd name="connsiteY14747" fmla="*/ 2078361 h 4687251"/>
              <a:gd name="connsiteX14748" fmla="*/ 7154393 w 8079933"/>
              <a:gd name="connsiteY14748" fmla="*/ 2079119 h 4687251"/>
              <a:gd name="connsiteX14749" fmla="*/ 7142347 w 8079933"/>
              <a:gd name="connsiteY14749" fmla="*/ 2078037 h 4687251"/>
              <a:gd name="connsiteX14750" fmla="*/ 7136488 w 8079933"/>
              <a:gd name="connsiteY14750" fmla="*/ 2081176 h 4687251"/>
              <a:gd name="connsiteX14751" fmla="*/ 7132798 w 8079933"/>
              <a:gd name="connsiteY14751" fmla="*/ 2082151 h 4687251"/>
              <a:gd name="connsiteX14752" fmla="*/ 7131279 w 8079933"/>
              <a:gd name="connsiteY14752" fmla="*/ 2081393 h 4687251"/>
              <a:gd name="connsiteX14753" fmla="*/ 7131822 w 8079933"/>
              <a:gd name="connsiteY14753" fmla="*/ 2080202 h 4687251"/>
              <a:gd name="connsiteX14754" fmla="*/ 7136162 w 8079933"/>
              <a:gd name="connsiteY14754" fmla="*/ 2079119 h 4687251"/>
              <a:gd name="connsiteX14755" fmla="*/ 7137030 w 8079933"/>
              <a:gd name="connsiteY14755" fmla="*/ 2077062 h 4687251"/>
              <a:gd name="connsiteX14756" fmla="*/ 7135403 w 8079933"/>
              <a:gd name="connsiteY14756" fmla="*/ 2076629 h 4687251"/>
              <a:gd name="connsiteX14757" fmla="*/ 7132907 w 8079933"/>
              <a:gd name="connsiteY14757" fmla="*/ 2077496 h 4687251"/>
              <a:gd name="connsiteX14758" fmla="*/ 7130520 w 8079933"/>
              <a:gd name="connsiteY14758" fmla="*/ 2075763 h 4687251"/>
              <a:gd name="connsiteX14759" fmla="*/ 7127264 w 8079933"/>
              <a:gd name="connsiteY14759" fmla="*/ 2075005 h 4687251"/>
              <a:gd name="connsiteX14760" fmla="*/ 7126179 w 8079933"/>
              <a:gd name="connsiteY14760" fmla="*/ 2076413 h 4687251"/>
              <a:gd name="connsiteX14761" fmla="*/ 7124009 w 8079933"/>
              <a:gd name="connsiteY14761" fmla="*/ 2077928 h 4687251"/>
              <a:gd name="connsiteX14762" fmla="*/ 7122381 w 8079933"/>
              <a:gd name="connsiteY14762" fmla="*/ 2076521 h 4687251"/>
              <a:gd name="connsiteX14763" fmla="*/ 7121838 w 8079933"/>
              <a:gd name="connsiteY14763" fmla="*/ 2071323 h 4687251"/>
              <a:gd name="connsiteX14764" fmla="*/ 7122814 w 8079933"/>
              <a:gd name="connsiteY14764" fmla="*/ 2069375 h 4687251"/>
              <a:gd name="connsiteX14765" fmla="*/ 7120970 w 8079933"/>
              <a:gd name="connsiteY14765" fmla="*/ 2069916 h 4687251"/>
              <a:gd name="connsiteX14766" fmla="*/ 7118257 w 8079933"/>
              <a:gd name="connsiteY14766" fmla="*/ 2072298 h 4687251"/>
              <a:gd name="connsiteX14767" fmla="*/ 7116412 w 8079933"/>
              <a:gd name="connsiteY14767" fmla="*/ 2078794 h 4687251"/>
              <a:gd name="connsiteX14768" fmla="*/ 7117498 w 8079933"/>
              <a:gd name="connsiteY14768" fmla="*/ 2081176 h 4687251"/>
              <a:gd name="connsiteX14769" fmla="*/ 7126070 w 8079933"/>
              <a:gd name="connsiteY14769" fmla="*/ 2084858 h 4687251"/>
              <a:gd name="connsiteX14770" fmla="*/ 7127047 w 8079933"/>
              <a:gd name="connsiteY14770" fmla="*/ 2089729 h 4687251"/>
              <a:gd name="connsiteX14771" fmla="*/ 7128241 w 8079933"/>
              <a:gd name="connsiteY14771" fmla="*/ 2091462 h 4687251"/>
              <a:gd name="connsiteX14772" fmla="*/ 7126830 w 8079933"/>
              <a:gd name="connsiteY14772" fmla="*/ 2093952 h 4687251"/>
              <a:gd name="connsiteX14773" fmla="*/ 7123140 w 8079933"/>
              <a:gd name="connsiteY14773" fmla="*/ 2093952 h 4687251"/>
              <a:gd name="connsiteX14774" fmla="*/ 7119017 w 8079933"/>
              <a:gd name="connsiteY14774" fmla="*/ 2094494 h 4687251"/>
              <a:gd name="connsiteX14775" fmla="*/ 7115978 w 8079933"/>
              <a:gd name="connsiteY14775" fmla="*/ 2100340 h 4687251"/>
              <a:gd name="connsiteX14776" fmla="*/ 7116847 w 8079933"/>
              <a:gd name="connsiteY14776" fmla="*/ 2103480 h 4687251"/>
              <a:gd name="connsiteX14777" fmla="*/ 7116195 w 8079933"/>
              <a:gd name="connsiteY14777" fmla="*/ 2105862 h 4687251"/>
              <a:gd name="connsiteX14778" fmla="*/ 7113591 w 8079933"/>
              <a:gd name="connsiteY14778" fmla="*/ 2107486 h 4687251"/>
              <a:gd name="connsiteX14779" fmla="*/ 7113157 w 8079933"/>
              <a:gd name="connsiteY14779" fmla="*/ 2112034 h 4687251"/>
              <a:gd name="connsiteX14780" fmla="*/ 7108490 w 8079933"/>
              <a:gd name="connsiteY14780" fmla="*/ 2119071 h 4687251"/>
              <a:gd name="connsiteX14781" fmla="*/ 7105560 w 8079933"/>
              <a:gd name="connsiteY14781" fmla="*/ 2120587 h 4687251"/>
              <a:gd name="connsiteX14782" fmla="*/ 7101111 w 8079933"/>
              <a:gd name="connsiteY14782" fmla="*/ 2119288 h 4687251"/>
              <a:gd name="connsiteX14783" fmla="*/ 7094383 w 8079933"/>
              <a:gd name="connsiteY14783" fmla="*/ 2113116 h 4687251"/>
              <a:gd name="connsiteX14784" fmla="*/ 7089609 w 8079933"/>
              <a:gd name="connsiteY14784" fmla="*/ 2110951 h 4687251"/>
              <a:gd name="connsiteX14785" fmla="*/ 7088416 w 8079933"/>
              <a:gd name="connsiteY14785" fmla="*/ 2106404 h 4687251"/>
              <a:gd name="connsiteX14786" fmla="*/ 7089066 w 8079933"/>
              <a:gd name="connsiteY14786" fmla="*/ 2104563 h 4687251"/>
              <a:gd name="connsiteX14787" fmla="*/ 7088740 w 8079933"/>
              <a:gd name="connsiteY14787" fmla="*/ 2100124 h 4687251"/>
              <a:gd name="connsiteX14788" fmla="*/ 7088198 w 8079933"/>
              <a:gd name="connsiteY14788" fmla="*/ 2095793 h 4687251"/>
              <a:gd name="connsiteX14789" fmla="*/ 7086027 w 8079933"/>
              <a:gd name="connsiteY14789" fmla="*/ 2094386 h 4687251"/>
              <a:gd name="connsiteX14790" fmla="*/ 7087113 w 8079933"/>
              <a:gd name="connsiteY14790" fmla="*/ 2090271 h 4687251"/>
              <a:gd name="connsiteX14791" fmla="*/ 7090693 w 8079933"/>
              <a:gd name="connsiteY14791" fmla="*/ 2085182 h 4687251"/>
              <a:gd name="connsiteX14792" fmla="*/ 7090693 w 8079933"/>
              <a:gd name="connsiteY14792" fmla="*/ 2081284 h 4687251"/>
              <a:gd name="connsiteX14793" fmla="*/ 7088740 w 8079933"/>
              <a:gd name="connsiteY14793" fmla="*/ 2079553 h 4687251"/>
              <a:gd name="connsiteX14794" fmla="*/ 7084617 w 8079933"/>
              <a:gd name="connsiteY14794" fmla="*/ 2080635 h 4687251"/>
              <a:gd name="connsiteX14795" fmla="*/ 7077455 w 8079933"/>
              <a:gd name="connsiteY14795" fmla="*/ 2079336 h 4687251"/>
              <a:gd name="connsiteX14796" fmla="*/ 7071703 w 8079933"/>
              <a:gd name="connsiteY14796" fmla="*/ 2081284 h 4687251"/>
              <a:gd name="connsiteX14797" fmla="*/ 7066169 w 8079933"/>
              <a:gd name="connsiteY14797" fmla="*/ 2085832 h 4687251"/>
              <a:gd name="connsiteX14798" fmla="*/ 7064975 w 8079933"/>
              <a:gd name="connsiteY14798" fmla="*/ 2088431 h 4687251"/>
              <a:gd name="connsiteX14799" fmla="*/ 7060092 w 8079933"/>
              <a:gd name="connsiteY14799" fmla="*/ 2091137 h 4687251"/>
              <a:gd name="connsiteX14800" fmla="*/ 7059875 w 8079933"/>
              <a:gd name="connsiteY14800" fmla="*/ 2092653 h 4687251"/>
              <a:gd name="connsiteX14801" fmla="*/ 7057271 w 8079933"/>
              <a:gd name="connsiteY14801" fmla="*/ 2093952 h 4687251"/>
              <a:gd name="connsiteX14802" fmla="*/ 7055426 w 8079933"/>
              <a:gd name="connsiteY14802" fmla="*/ 2093086 h 4687251"/>
              <a:gd name="connsiteX14803" fmla="*/ 7050542 w 8079933"/>
              <a:gd name="connsiteY14803" fmla="*/ 2093303 h 4687251"/>
              <a:gd name="connsiteX14804" fmla="*/ 7043055 w 8079933"/>
              <a:gd name="connsiteY14804" fmla="*/ 2095684 h 4687251"/>
              <a:gd name="connsiteX14805" fmla="*/ 7035242 w 8079933"/>
              <a:gd name="connsiteY14805" fmla="*/ 2097200 h 4687251"/>
              <a:gd name="connsiteX14806" fmla="*/ 7031227 w 8079933"/>
              <a:gd name="connsiteY14806" fmla="*/ 2099366 h 4687251"/>
              <a:gd name="connsiteX14807" fmla="*/ 7028188 w 8079933"/>
              <a:gd name="connsiteY14807" fmla="*/ 2099149 h 4687251"/>
              <a:gd name="connsiteX14808" fmla="*/ 7026235 w 8079933"/>
              <a:gd name="connsiteY14808" fmla="*/ 2096334 h 4687251"/>
              <a:gd name="connsiteX14809" fmla="*/ 7022979 w 8079933"/>
              <a:gd name="connsiteY14809" fmla="*/ 2096551 h 4687251"/>
              <a:gd name="connsiteX14810" fmla="*/ 7021569 w 8079933"/>
              <a:gd name="connsiteY14810" fmla="*/ 2099149 h 4687251"/>
              <a:gd name="connsiteX14811" fmla="*/ 7022328 w 8079933"/>
              <a:gd name="connsiteY14811" fmla="*/ 2102506 h 4687251"/>
              <a:gd name="connsiteX14812" fmla="*/ 7021895 w 8079933"/>
              <a:gd name="connsiteY14812" fmla="*/ 2107270 h 4687251"/>
              <a:gd name="connsiteX14813" fmla="*/ 7022111 w 8079933"/>
              <a:gd name="connsiteY14813" fmla="*/ 2110518 h 4687251"/>
              <a:gd name="connsiteX14814" fmla="*/ 7021352 w 8079933"/>
              <a:gd name="connsiteY14814" fmla="*/ 2112575 h 4687251"/>
              <a:gd name="connsiteX14815" fmla="*/ 7017771 w 8079933"/>
              <a:gd name="connsiteY14815" fmla="*/ 2110951 h 4687251"/>
              <a:gd name="connsiteX14816" fmla="*/ 7010717 w 8079933"/>
              <a:gd name="connsiteY14816" fmla="*/ 2108461 h 4687251"/>
              <a:gd name="connsiteX14817" fmla="*/ 7004206 w 8079933"/>
              <a:gd name="connsiteY14817" fmla="*/ 2109651 h 4687251"/>
              <a:gd name="connsiteX14818" fmla="*/ 6996827 w 8079933"/>
              <a:gd name="connsiteY14818" fmla="*/ 2113333 h 4687251"/>
              <a:gd name="connsiteX14819" fmla="*/ 6996067 w 8079933"/>
              <a:gd name="connsiteY14819" fmla="*/ 2116689 h 4687251"/>
              <a:gd name="connsiteX14820" fmla="*/ 7001276 w 8079933"/>
              <a:gd name="connsiteY14820" fmla="*/ 2122428 h 4687251"/>
              <a:gd name="connsiteX14821" fmla="*/ 7004640 w 8079933"/>
              <a:gd name="connsiteY14821" fmla="*/ 2122861 h 4687251"/>
              <a:gd name="connsiteX14822" fmla="*/ 7007895 w 8079933"/>
              <a:gd name="connsiteY14822" fmla="*/ 2120587 h 4687251"/>
              <a:gd name="connsiteX14823" fmla="*/ 7007895 w 8079933"/>
              <a:gd name="connsiteY14823" fmla="*/ 2119071 h 4687251"/>
              <a:gd name="connsiteX14824" fmla="*/ 7011694 w 8079933"/>
              <a:gd name="connsiteY14824" fmla="*/ 2118313 h 4687251"/>
              <a:gd name="connsiteX14825" fmla="*/ 7014732 w 8079933"/>
              <a:gd name="connsiteY14825" fmla="*/ 2120262 h 4687251"/>
              <a:gd name="connsiteX14826" fmla="*/ 7015926 w 8079933"/>
              <a:gd name="connsiteY14826" fmla="*/ 2126433 h 4687251"/>
              <a:gd name="connsiteX14827" fmla="*/ 7014732 w 8079933"/>
              <a:gd name="connsiteY14827" fmla="*/ 2129465 h 4687251"/>
              <a:gd name="connsiteX14828" fmla="*/ 7010934 w 8079933"/>
              <a:gd name="connsiteY14828" fmla="*/ 2131739 h 4687251"/>
              <a:gd name="connsiteX14829" fmla="*/ 7012019 w 8079933"/>
              <a:gd name="connsiteY14829" fmla="*/ 2133471 h 4687251"/>
              <a:gd name="connsiteX14830" fmla="*/ 7019833 w 8079933"/>
              <a:gd name="connsiteY14830" fmla="*/ 2133363 h 4687251"/>
              <a:gd name="connsiteX14831" fmla="*/ 7019073 w 8079933"/>
              <a:gd name="connsiteY14831" fmla="*/ 2136503 h 4687251"/>
              <a:gd name="connsiteX14832" fmla="*/ 7021569 w 8079933"/>
              <a:gd name="connsiteY14832" fmla="*/ 2137044 h 4687251"/>
              <a:gd name="connsiteX14833" fmla="*/ 7021786 w 8079933"/>
              <a:gd name="connsiteY14833" fmla="*/ 2141483 h 4687251"/>
              <a:gd name="connsiteX14834" fmla="*/ 7024173 w 8079933"/>
              <a:gd name="connsiteY14834" fmla="*/ 2142133 h 4687251"/>
              <a:gd name="connsiteX14835" fmla="*/ 7025150 w 8079933"/>
              <a:gd name="connsiteY14835" fmla="*/ 2145814 h 4687251"/>
              <a:gd name="connsiteX14836" fmla="*/ 7020701 w 8079933"/>
              <a:gd name="connsiteY14836" fmla="*/ 2150253 h 4687251"/>
              <a:gd name="connsiteX14837" fmla="*/ 7018205 w 8079933"/>
              <a:gd name="connsiteY14837" fmla="*/ 2154584 h 4687251"/>
              <a:gd name="connsiteX14838" fmla="*/ 7018639 w 8079933"/>
              <a:gd name="connsiteY14838" fmla="*/ 2161730 h 4687251"/>
              <a:gd name="connsiteX14839" fmla="*/ 7018313 w 8079933"/>
              <a:gd name="connsiteY14839" fmla="*/ 2175372 h 4687251"/>
              <a:gd name="connsiteX14840" fmla="*/ 7019724 w 8079933"/>
              <a:gd name="connsiteY14840" fmla="*/ 2179162 h 4687251"/>
              <a:gd name="connsiteX14841" fmla="*/ 7019833 w 8079933"/>
              <a:gd name="connsiteY14841" fmla="*/ 2186632 h 4687251"/>
              <a:gd name="connsiteX14842" fmla="*/ 7018639 w 8079933"/>
              <a:gd name="connsiteY14842" fmla="*/ 2191504 h 4687251"/>
              <a:gd name="connsiteX14843" fmla="*/ 7016577 w 8079933"/>
              <a:gd name="connsiteY14843" fmla="*/ 2189988 h 4687251"/>
              <a:gd name="connsiteX14844" fmla="*/ 7013104 w 8079933"/>
              <a:gd name="connsiteY14844" fmla="*/ 2188905 h 4687251"/>
              <a:gd name="connsiteX14845" fmla="*/ 7010934 w 8079933"/>
              <a:gd name="connsiteY14845" fmla="*/ 2189988 h 4687251"/>
              <a:gd name="connsiteX14846" fmla="*/ 7011043 w 8079933"/>
              <a:gd name="connsiteY14846" fmla="*/ 2192479 h 4687251"/>
              <a:gd name="connsiteX14847" fmla="*/ 7015383 w 8079933"/>
              <a:gd name="connsiteY14847" fmla="*/ 2196809 h 4687251"/>
              <a:gd name="connsiteX14848" fmla="*/ 7010717 w 8079933"/>
              <a:gd name="connsiteY14848" fmla="*/ 2203305 h 4687251"/>
              <a:gd name="connsiteX14849" fmla="*/ 7006268 w 8079933"/>
              <a:gd name="connsiteY14849" fmla="*/ 2206013 h 4687251"/>
              <a:gd name="connsiteX14850" fmla="*/ 7005726 w 8079933"/>
              <a:gd name="connsiteY14850" fmla="*/ 2202656 h 4687251"/>
              <a:gd name="connsiteX14851" fmla="*/ 7006919 w 8079933"/>
              <a:gd name="connsiteY14851" fmla="*/ 2198866 h 4687251"/>
              <a:gd name="connsiteX14852" fmla="*/ 7005508 w 8079933"/>
              <a:gd name="connsiteY14852" fmla="*/ 2192479 h 4687251"/>
              <a:gd name="connsiteX14853" fmla="*/ 7001819 w 8079933"/>
              <a:gd name="connsiteY14853" fmla="*/ 2188689 h 4687251"/>
              <a:gd name="connsiteX14854" fmla="*/ 7001927 w 8079933"/>
              <a:gd name="connsiteY14854" fmla="*/ 2186415 h 4687251"/>
              <a:gd name="connsiteX14855" fmla="*/ 7003338 w 8079933"/>
              <a:gd name="connsiteY14855" fmla="*/ 2184358 h 4687251"/>
              <a:gd name="connsiteX14856" fmla="*/ 7000842 w 8079933"/>
              <a:gd name="connsiteY14856" fmla="*/ 2182409 h 4687251"/>
              <a:gd name="connsiteX14857" fmla="*/ 6998780 w 8079933"/>
              <a:gd name="connsiteY14857" fmla="*/ 2184791 h 4687251"/>
              <a:gd name="connsiteX14858" fmla="*/ 6998780 w 8079933"/>
              <a:gd name="connsiteY14858" fmla="*/ 2192479 h 4687251"/>
              <a:gd name="connsiteX14859" fmla="*/ 7002253 w 8079933"/>
              <a:gd name="connsiteY14859" fmla="*/ 2197892 h 4687251"/>
              <a:gd name="connsiteX14860" fmla="*/ 7002253 w 8079933"/>
              <a:gd name="connsiteY14860" fmla="*/ 2200491 h 4687251"/>
              <a:gd name="connsiteX14861" fmla="*/ 7000733 w 8079933"/>
              <a:gd name="connsiteY14861" fmla="*/ 2202223 h 4687251"/>
              <a:gd name="connsiteX14862" fmla="*/ 6997478 w 8079933"/>
              <a:gd name="connsiteY14862" fmla="*/ 2200382 h 4687251"/>
              <a:gd name="connsiteX14863" fmla="*/ 6993680 w 8079933"/>
              <a:gd name="connsiteY14863" fmla="*/ 2200923 h 4687251"/>
              <a:gd name="connsiteX14864" fmla="*/ 6990642 w 8079933"/>
              <a:gd name="connsiteY14864" fmla="*/ 2197134 h 4687251"/>
              <a:gd name="connsiteX14865" fmla="*/ 6992704 w 8079933"/>
              <a:gd name="connsiteY14865" fmla="*/ 2194644 h 4687251"/>
              <a:gd name="connsiteX14866" fmla="*/ 6992704 w 8079933"/>
              <a:gd name="connsiteY14866" fmla="*/ 2190638 h 4687251"/>
              <a:gd name="connsiteX14867" fmla="*/ 6988797 w 8079933"/>
              <a:gd name="connsiteY14867" fmla="*/ 2185982 h 4687251"/>
              <a:gd name="connsiteX14868" fmla="*/ 6987278 w 8079933"/>
              <a:gd name="connsiteY14868" fmla="*/ 2177646 h 4687251"/>
              <a:gd name="connsiteX14869" fmla="*/ 6983588 w 8079933"/>
              <a:gd name="connsiteY14869" fmla="*/ 2171366 h 4687251"/>
              <a:gd name="connsiteX14870" fmla="*/ 6982612 w 8079933"/>
              <a:gd name="connsiteY14870" fmla="*/ 2168659 h 4687251"/>
              <a:gd name="connsiteX14871" fmla="*/ 6986735 w 8079933"/>
              <a:gd name="connsiteY14871" fmla="*/ 2168226 h 4687251"/>
              <a:gd name="connsiteX14872" fmla="*/ 6990207 w 8079933"/>
              <a:gd name="connsiteY14872" fmla="*/ 2160647 h 4687251"/>
              <a:gd name="connsiteX14873" fmla="*/ 6989882 w 8079933"/>
              <a:gd name="connsiteY14873" fmla="*/ 2152526 h 4687251"/>
              <a:gd name="connsiteX14874" fmla="*/ 6987820 w 8079933"/>
              <a:gd name="connsiteY14874" fmla="*/ 2150145 h 4687251"/>
              <a:gd name="connsiteX14875" fmla="*/ 6987278 w 8079933"/>
              <a:gd name="connsiteY14875" fmla="*/ 2144840 h 4687251"/>
              <a:gd name="connsiteX14876" fmla="*/ 6983045 w 8079933"/>
              <a:gd name="connsiteY14876" fmla="*/ 2137802 h 4687251"/>
              <a:gd name="connsiteX14877" fmla="*/ 6979139 w 8079933"/>
              <a:gd name="connsiteY14877" fmla="*/ 2136286 h 4687251"/>
              <a:gd name="connsiteX14878" fmla="*/ 6977185 w 8079933"/>
              <a:gd name="connsiteY14878" fmla="*/ 2138885 h 4687251"/>
              <a:gd name="connsiteX14879" fmla="*/ 6978162 w 8079933"/>
              <a:gd name="connsiteY14879" fmla="*/ 2142457 h 4687251"/>
              <a:gd name="connsiteX14880" fmla="*/ 6976968 w 8079933"/>
              <a:gd name="connsiteY14880" fmla="*/ 2144515 h 4687251"/>
              <a:gd name="connsiteX14881" fmla="*/ 6976751 w 8079933"/>
              <a:gd name="connsiteY14881" fmla="*/ 2146463 h 4687251"/>
              <a:gd name="connsiteX14882" fmla="*/ 6980983 w 8079933"/>
              <a:gd name="connsiteY14882" fmla="*/ 2145273 h 4687251"/>
              <a:gd name="connsiteX14883" fmla="*/ 6983588 w 8079933"/>
              <a:gd name="connsiteY14883" fmla="*/ 2147655 h 4687251"/>
              <a:gd name="connsiteX14884" fmla="*/ 6984022 w 8079933"/>
              <a:gd name="connsiteY14884" fmla="*/ 2152093 h 4687251"/>
              <a:gd name="connsiteX14885" fmla="*/ 6980333 w 8079933"/>
              <a:gd name="connsiteY14885" fmla="*/ 2153177 h 4687251"/>
              <a:gd name="connsiteX14886" fmla="*/ 6978597 w 8079933"/>
              <a:gd name="connsiteY14886" fmla="*/ 2151877 h 4687251"/>
              <a:gd name="connsiteX14887" fmla="*/ 6980441 w 8079933"/>
              <a:gd name="connsiteY14887" fmla="*/ 2150145 h 4687251"/>
              <a:gd name="connsiteX14888" fmla="*/ 6978053 w 8079933"/>
              <a:gd name="connsiteY14888" fmla="*/ 2149279 h 4687251"/>
              <a:gd name="connsiteX14889" fmla="*/ 6974472 w 8079933"/>
              <a:gd name="connsiteY14889" fmla="*/ 2150469 h 4687251"/>
              <a:gd name="connsiteX14890" fmla="*/ 6972845 w 8079933"/>
              <a:gd name="connsiteY14890" fmla="*/ 2153718 h 4687251"/>
              <a:gd name="connsiteX14891" fmla="*/ 6970458 w 8079933"/>
              <a:gd name="connsiteY14891" fmla="*/ 2155016 h 4687251"/>
              <a:gd name="connsiteX14892" fmla="*/ 6972085 w 8079933"/>
              <a:gd name="connsiteY14892" fmla="*/ 2151985 h 4687251"/>
              <a:gd name="connsiteX14893" fmla="*/ 6971542 w 8079933"/>
              <a:gd name="connsiteY14893" fmla="*/ 2149170 h 4687251"/>
              <a:gd name="connsiteX14894" fmla="*/ 6968504 w 8079933"/>
              <a:gd name="connsiteY14894" fmla="*/ 2147871 h 4687251"/>
              <a:gd name="connsiteX14895" fmla="*/ 6967310 w 8079933"/>
              <a:gd name="connsiteY14895" fmla="*/ 2143648 h 4687251"/>
              <a:gd name="connsiteX14896" fmla="*/ 6968396 w 8079933"/>
              <a:gd name="connsiteY14896" fmla="*/ 2139751 h 4687251"/>
              <a:gd name="connsiteX14897" fmla="*/ 6970349 w 8079933"/>
              <a:gd name="connsiteY14897" fmla="*/ 2142674 h 4687251"/>
              <a:gd name="connsiteX14898" fmla="*/ 6971217 w 8079933"/>
              <a:gd name="connsiteY14898" fmla="*/ 2146355 h 4687251"/>
              <a:gd name="connsiteX14899" fmla="*/ 6972845 w 8079933"/>
              <a:gd name="connsiteY14899" fmla="*/ 2144840 h 4687251"/>
              <a:gd name="connsiteX14900" fmla="*/ 6970783 w 8079933"/>
              <a:gd name="connsiteY14900" fmla="*/ 2139210 h 4687251"/>
              <a:gd name="connsiteX14901" fmla="*/ 6969155 w 8079933"/>
              <a:gd name="connsiteY14901" fmla="*/ 2134987 h 4687251"/>
              <a:gd name="connsiteX14902" fmla="*/ 6966876 w 8079933"/>
              <a:gd name="connsiteY14902" fmla="*/ 2134662 h 4687251"/>
              <a:gd name="connsiteX14903" fmla="*/ 6964706 w 8079933"/>
              <a:gd name="connsiteY14903" fmla="*/ 2134662 h 4687251"/>
              <a:gd name="connsiteX14904" fmla="*/ 6969047 w 8079933"/>
              <a:gd name="connsiteY14904" fmla="*/ 2132280 h 4687251"/>
              <a:gd name="connsiteX14905" fmla="*/ 6972954 w 8079933"/>
              <a:gd name="connsiteY14905" fmla="*/ 2132280 h 4687251"/>
              <a:gd name="connsiteX14906" fmla="*/ 6974581 w 8079933"/>
              <a:gd name="connsiteY14906" fmla="*/ 2128490 h 4687251"/>
              <a:gd name="connsiteX14907" fmla="*/ 6979139 w 8079933"/>
              <a:gd name="connsiteY14907" fmla="*/ 2123618 h 4687251"/>
              <a:gd name="connsiteX14908" fmla="*/ 6982177 w 8079933"/>
              <a:gd name="connsiteY14908" fmla="*/ 2121237 h 4687251"/>
              <a:gd name="connsiteX14909" fmla="*/ 6983479 w 8079933"/>
              <a:gd name="connsiteY14909" fmla="*/ 2118530 h 4687251"/>
              <a:gd name="connsiteX14910" fmla="*/ 6988471 w 8079933"/>
              <a:gd name="connsiteY14910" fmla="*/ 2114632 h 4687251"/>
              <a:gd name="connsiteX14911" fmla="*/ 6992486 w 8079933"/>
              <a:gd name="connsiteY14911" fmla="*/ 2114307 h 4687251"/>
              <a:gd name="connsiteX14912" fmla="*/ 6993897 w 8079933"/>
              <a:gd name="connsiteY14912" fmla="*/ 2111817 h 4687251"/>
              <a:gd name="connsiteX14913" fmla="*/ 6993137 w 8079933"/>
              <a:gd name="connsiteY14913" fmla="*/ 2109110 h 4687251"/>
              <a:gd name="connsiteX14914" fmla="*/ 6990751 w 8079933"/>
              <a:gd name="connsiteY14914" fmla="*/ 2107811 h 4687251"/>
              <a:gd name="connsiteX14915" fmla="*/ 6989231 w 8079933"/>
              <a:gd name="connsiteY14915" fmla="*/ 2100340 h 4687251"/>
              <a:gd name="connsiteX14916" fmla="*/ 6991510 w 8079933"/>
              <a:gd name="connsiteY14916" fmla="*/ 2096984 h 4687251"/>
              <a:gd name="connsiteX14917" fmla="*/ 6997803 w 8079933"/>
              <a:gd name="connsiteY14917" fmla="*/ 2095684 h 4687251"/>
              <a:gd name="connsiteX14918" fmla="*/ 7001385 w 8079933"/>
              <a:gd name="connsiteY14918" fmla="*/ 2092112 h 4687251"/>
              <a:gd name="connsiteX14919" fmla="*/ 7002469 w 8079933"/>
              <a:gd name="connsiteY14919" fmla="*/ 2088972 h 4687251"/>
              <a:gd name="connsiteX14920" fmla="*/ 7005942 w 8079933"/>
              <a:gd name="connsiteY14920" fmla="*/ 2084208 h 4687251"/>
              <a:gd name="connsiteX14921" fmla="*/ 7009957 w 8079933"/>
              <a:gd name="connsiteY14921" fmla="*/ 2082692 h 4687251"/>
              <a:gd name="connsiteX14922" fmla="*/ 7016469 w 8079933"/>
              <a:gd name="connsiteY14922" fmla="*/ 2075329 h 4687251"/>
              <a:gd name="connsiteX14923" fmla="*/ 7017229 w 8079933"/>
              <a:gd name="connsiteY14923" fmla="*/ 2071865 h 4687251"/>
              <a:gd name="connsiteX14924" fmla="*/ 7020592 w 8079933"/>
              <a:gd name="connsiteY14924" fmla="*/ 2069592 h 4687251"/>
              <a:gd name="connsiteX14925" fmla="*/ 7022219 w 8079933"/>
              <a:gd name="connsiteY14925" fmla="*/ 2063962 h 4687251"/>
              <a:gd name="connsiteX14926" fmla="*/ 7031118 w 8079933"/>
              <a:gd name="connsiteY14926" fmla="*/ 2057790 h 4687251"/>
              <a:gd name="connsiteX14927" fmla="*/ 7036219 w 8079933"/>
              <a:gd name="connsiteY14927" fmla="*/ 2057140 h 4687251"/>
              <a:gd name="connsiteX14928" fmla="*/ 7038280 w 8079933"/>
              <a:gd name="connsiteY14928" fmla="*/ 2058440 h 4687251"/>
              <a:gd name="connsiteX14929" fmla="*/ 7044140 w 8079933"/>
              <a:gd name="connsiteY14929" fmla="*/ 2056707 h 4687251"/>
              <a:gd name="connsiteX14930" fmla="*/ 7050217 w 8079933"/>
              <a:gd name="connsiteY14930" fmla="*/ 2056274 h 4687251"/>
              <a:gd name="connsiteX14931" fmla="*/ 7055643 w 8079933"/>
              <a:gd name="connsiteY14931" fmla="*/ 2054325 h 4687251"/>
              <a:gd name="connsiteX14932" fmla="*/ 7061178 w 8079933"/>
              <a:gd name="connsiteY14932" fmla="*/ 2052268 h 4687251"/>
              <a:gd name="connsiteX14933" fmla="*/ 7071487 w 8079933"/>
              <a:gd name="connsiteY14933" fmla="*/ 2048587 h 4687251"/>
              <a:gd name="connsiteX14934" fmla="*/ 7072897 w 8079933"/>
              <a:gd name="connsiteY14934" fmla="*/ 2049670 h 4687251"/>
              <a:gd name="connsiteX14935" fmla="*/ 7075827 w 8079933"/>
              <a:gd name="connsiteY14935" fmla="*/ 2049562 h 4687251"/>
              <a:gd name="connsiteX14936" fmla="*/ 7078974 w 8079933"/>
              <a:gd name="connsiteY14936" fmla="*/ 2047288 h 4687251"/>
              <a:gd name="connsiteX14937" fmla="*/ 7080384 w 8079933"/>
              <a:gd name="connsiteY14937" fmla="*/ 2047937 h 4687251"/>
              <a:gd name="connsiteX14938" fmla="*/ 7081253 w 8079933"/>
              <a:gd name="connsiteY14938" fmla="*/ 2053026 h 4687251"/>
              <a:gd name="connsiteX14939" fmla="*/ 7083314 w 8079933"/>
              <a:gd name="connsiteY14939" fmla="*/ 2053784 h 4687251"/>
              <a:gd name="connsiteX14940" fmla="*/ 7086787 w 8079933"/>
              <a:gd name="connsiteY14940" fmla="*/ 2051185 h 4687251"/>
              <a:gd name="connsiteX14941" fmla="*/ 7089283 w 8079933"/>
              <a:gd name="connsiteY14941" fmla="*/ 2053135 h 4687251"/>
              <a:gd name="connsiteX14942" fmla="*/ 7092864 w 8079933"/>
              <a:gd name="connsiteY14942" fmla="*/ 2051619 h 4687251"/>
              <a:gd name="connsiteX14943" fmla="*/ 7091345 w 8079933"/>
              <a:gd name="connsiteY14943" fmla="*/ 2049453 h 4687251"/>
              <a:gd name="connsiteX14944" fmla="*/ 7093624 w 8079933"/>
              <a:gd name="connsiteY14944" fmla="*/ 2049237 h 4687251"/>
              <a:gd name="connsiteX14945" fmla="*/ 7094818 w 8079933"/>
              <a:gd name="connsiteY14945" fmla="*/ 2046313 h 4687251"/>
              <a:gd name="connsiteX14946" fmla="*/ 7093841 w 8079933"/>
              <a:gd name="connsiteY14946" fmla="*/ 2044905 h 4687251"/>
              <a:gd name="connsiteX14947" fmla="*/ 7095360 w 8079933"/>
              <a:gd name="connsiteY14947" fmla="*/ 2043607 h 4687251"/>
              <a:gd name="connsiteX14948" fmla="*/ 7095035 w 8079933"/>
              <a:gd name="connsiteY14948" fmla="*/ 2040142 h 4687251"/>
              <a:gd name="connsiteX14949" fmla="*/ 7092973 w 8079933"/>
              <a:gd name="connsiteY14949" fmla="*/ 2037868 h 4687251"/>
              <a:gd name="connsiteX14950" fmla="*/ 7093732 w 8079933"/>
              <a:gd name="connsiteY14950" fmla="*/ 2029423 h 4687251"/>
              <a:gd name="connsiteX14951" fmla="*/ 7095686 w 8079933"/>
              <a:gd name="connsiteY14951" fmla="*/ 2027258 h 4687251"/>
              <a:gd name="connsiteX14952" fmla="*/ 7095794 w 8079933"/>
              <a:gd name="connsiteY14952" fmla="*/ 2024118 h 4687251"/>
              <a:gd name="connsiteX14953" fmla="*/ 7101328 w 8079933"/>
              <a:gd name="connsiteY14953" fmla="*/ 2018487 h 4687251"/>
              <a:gd name="connsiteX14954" fmla="*/ 7102088 w 8079933"/>
              <a:gd name="connsiteY14954" fmla="*/ 2013074 h 4687251"/>
              <a:gd name="connsiteX14955" fmla="*/ 7101328 w 8079933"/>
              <a:gd name="connsiteY14955" fmla="*/ 2001814 h 4687251"/>
              <a:gd name="connsiteX14956" fmla="*/ 7097965 w 8079933"/>
              <a:gd name="connsiteY14956" fmla="*/ 1996075 h 4687251"/>
              <a:gd name="connsiteX14957" fmla="*/ 7098941 w 8079933"/>
              <a:gd name="connsiteY14957" fmla="*/ 1991528 h 4687251"/>
              <a:gd name="connsiteX14958" fmla="*/ 7104041 w 8079933"/>
              <a:gd name="connsiteY14958" fmla="*/ 1989579 h 4687251"/>
              <a:gd name="connsiteX14959" fmla="*/ 7107948 w 8079933"/>
              <a:gd name="connsiteY14959" fmla="*/ 1985465 h 4687251"/>
              <a:gd name="connsiteX14960" fmla="*/ 7113482 w 8079933"/>
              <a:gd name="connsiteY14960" fmla="*/ 1984166 h 4687251"/>
              <a:gd name="connsiteX14961" fmla="*/ 7113808 w 8079933"/>
              <a:gd name="connsiteY14961" fmla="*/ 1985465 h 4687251"/>
              <a:gd name="connsiteX14962" fmla="*/ 7110878 w 8079933"/>
              <a:gd name="connsiteY14962" fmla="*/ 1988389 h 4687251"/>
              <a:gd name="connsiteX14963" fmla="*/ 7111312 w 8079933"/>
              <a:gd name="connsiteY14963" fmla="*/ 1990879 h 4687251"/>
              <a:gd name="connsiteX14964" fmla="*/ 7108816 w 8079933"/>
              <a:gd name="connsiteY14964" fmla="*/ 1995318 h 4687251"/>
              <a:gd name="connsiteX14965" fmla="*/ 7106212 w 8079933"/>
              <a:gd name="connsiteY14965" fmla="*/ 1996509 h 4687251"/>
              <a:gd name="connsiteX14966" fmla="*/ 7106103 w 8079933"/>
              <a:gd name="connsiteY14966" fmla="*/ 1999432 h 4687251"/>
              <a:gd name="connsiteX14967" fmla="*/ 7111746 w 8079933"/>
              <a:gd name="connsiteY14967" fmla="*/ 2006361 h 4687251"/>
              <a:gd name="connsiteX14968" fmla="*/ 7117498 w 8079933"/>
              <a:gd name="connsiteY14968" fmla="*/ 2009609 h 4687251"/>
              <a:gd name="connsiteX14969" fmla="*/ 7119776 w 8079933"/>
              <a:gd name="connsiteY14969" fmla="*/ 2005062 h 4687251"/>
              <a:gd name="connsiteX14970" fmla="*/ 7124226 w 8079933"/>
              <a:gd name="connsiteY14970" fmla="*/ 2003763 h 4687251"/>
              <a:gd name="connsiteX14971" fmla="*/ 7135620 w 8079933"/>
              <a:gd name="connsiteY14971" fmla="*/ 1996942 h 4687251"/>
              <a:gd name="connsiteX14972" fmla="*/ 7141371 w 8079933"/>
              <a:gd name="connsiteY14972" fmla="*/ 1991528 h 4687251"/>
              <a:gd name="connsiteX14973" fmla="*/ 7142239 w 8079933"/>
              <a:gd name="connsiteY14973" fmla="*/ 1986765 h 4687251"/>
              <a:gd name="connsiteX14974" fmla="*/ 7145169 w 8079933"/>
              <a:gd name="connsiteY14974" fmla="*/ 1982109 h 4687251"/>
              <a:gd name="connsiteX14975" fmla="*/ 7144736 w 8079933"/>
              <a:gd name="connsiteY14975" fmla="*/ 1974205 h 4687251"/>
              <a:gd name="connsiteX14976" fmla="*/ 7147339 w 8079933"/>
              <a:gd name="connsiteY14976" fmla="*/ 1967167 h 4687251"/>
              <a:gd name="connsiteX14977" fmla="*/ 7153200 w 8079933"/>
              <a:gd name="connsiteY14977" fmla="*/ 1964136 h 4687251"/>
              <a:gd name="connsiteX14978" fmla="*/ 7155153 w 8079933"/>
              <a:gd name="connsiteY14978" fmla="*/ 1956882 h 4687251"/>
              <a:gd name="connsiteX14979" fmla="*/ 7153959 w 8079933"/>
              <a:gd name="connsiteY14979" fmla="*/ 1950494 h 4687251"/>
              <a:gd name="connsiteX14980" fmla="*/ 7158083 w 8079933"/>
              <a:gd name="connsiteY14980" fmla="*/ 1933820 h 4687251"/>
              <a:gd name="connsiteX14981" fmla="*/ 7157540 w 8079933"/>
              <a:gd name="connsiteY14981" fmla="*/ 1922452 h 4687251"/>
              <a:gd name="connsiteX14982" fmla="*/ 7158516 w 8079933"/>
              <a:gd name="connsiteY14982" fmla="*/ 1916064 h 4687251"/>
              <a:gd name="connsiteX14983" fmla="*/ 7156780 w 8079933"/>
              <a:gd name="connsiteY14983" fmla="*/ 1904588 h 4687251"/>
              <a:gd name="connsiteX14984" fmla="*/ 7152223 w 8079933"/>
              <a:gd name="connsiteY14984" fmla="*/ 1894085 h 4687251"/>
              <a:gd name="connsiteX14985" fmla="*/ 7149075 w 8079933"/>
              <a:gd name="connsiteY14985" fmla="*/ 1897550 h 4687251"/>
              <a:gd name="connsiteX14986" fmla="*/ 7145495 w 8079933"/>
              <a:gd name="connsiteY14986" fmla="*/ 1898415 h 4687251"/>
              <a:gd name="connsiteX14987" fmla="*/ 7142023 w 8079933"/>
              <a:gd name="connsiteY14987" fmla="*/ 1894085 h 4687251"/>
              <a:gd name="connsiteX14988" fmla="*/ 7142782 w 8079933"/>
              <a:gd name="connsiteY14988" fmla="*/ 1891486 h 4687251"/>
              <a:gd name="connsiteX14989" fmla="*/ 7146472 w 8079933"/>
              <a:gd name="connsiteY14989" fmla="*/ 1892244 h 4687251"/>
              <a:gd name="connsiteX14990" fmla="*/ 7149727 w 8079933"/>
              <a:gd name="connsiteY14990" fmla="*/ 1890187 h 4687251"/>
              <a:gd name="connsiteX14991" fmla="*/ 7151788 w 8079933"/>
              <a:gd name="connsiteY14991" fmla="*/ 1883691 h 4687251"/>
              <a:gd name="connsiteX14992" fmla="*/ 7149727 w 8079933"/>
              <a:gd name="connsiteY14992" fmla="*/ 1880118 h 4687251"/>
              <a:gd name="connsiteX14993" fmla="*/ 7143867 w 8079933"/>
              <a:gd name="connsiteY14993" fmla="*/ 1874055 h 4687251"/>
              <a:gd name="connsiteX14994" fmla="*/ 7143759 w 8079933"/>
              <a:gd name="connsiteY14994" fmla="*/ 1871348 h 4687251"/>
              <a:gd name="connsiteX14995" fmla="*/ 7146580 w 8079933"/>
              <a:gd name="connsiteY14995" fmla="*/ 1867125 h 4687251"/>
              <a:gd name="connsiteX14996" fmla="*/ 7149402 w 8079933"/>
              <a:gd name="connsiteY14996" fmla="*/ 1866043 h 4687251"/>
              <a:gd name="connsiteX14997" fmla="*/ 7149293 w 8079933"/>
              <a:gd name="connsiteY14997" fmla="*/ 1861171 h 4687251"/>
              <a:gd name="connsiteX14998" fmla="*/ 7147556 w 8079933"/>
              <a:gd name="connsiteY14998" fmla="*/ 1854242 h 4687251"/>
              <a:gd name="connsiteX14999" fmla="*/ 7148425 w 8079933"/>
              <a:gd name="connsiteY14999" fmla="*/ 1850452 h 4687251"/>
              <a:gd name="connsiteX15000" fmla="*/ 7151029 w 8079933"/>
              <a:gd name="connsiteY15000" fmla="*/ 1851859 h 4687251"/>
              <a:gd name="connsiteX15001" fmla="*/ 7153959 w 8079933"/>
              <a:gd name="connsiteY15001" fmla="*/ 1850885 h 4687251"/>
              <a:gd name="connsiteX15002" fmla="*/ 7155478 w 8079933"/>
              <a:gd name="connsiteY15002" fmla="*/ 1853375 h 4687251"/>
              <a:gd name="connsiteX15003" fmla="*/ 7156238 w 8079933"/>
              <a:gd name="connsiteY15003" fmla="*/ 1858139 h 4687251"/>
              <a:gd name="connsiteX15004" fmla="*/ 7156998 w 8079933"/>
              <a:gd name="connsiteY15004" fmla="*/ 1862362 h 4687251"/>
              <a:gd name="connsiteX15005" fmla="*/ 7160362 w 8079933"/>
              <a:gd name="connsiteY15005" fmla="*/ 1863661 h 4687251"/>
              <a:gd name="connsiteX15006" fmla="*/ 7162532 w 8079933"/>
              <a:gd name="connsiteY15006" fmla="*/ 1861387 h 4687251"/>
              <a:gd name="connsiteX15007" fmla="*/ 7161121 w 8079933"/>
              <a:gd name="connsiteY15007" fmla="*/ 1855757 h 4687251"/>
              <a:gd name="connsiteX15008" fmla="*/ 7162206 w 8079933"/>
              <a:gd name="connsiteY15008" fmla="*/ 1855757 h 4687251"/>
              <a:gd name="connsiteX15009" fmla="*/ 7165245 w 8079933"/>
              <a:gd name="connsiteY15009" fmla="*/ 1858139 h 4687251"/>
              <a:gd name="connsiteX15010" fmla="*/ 7168175 w 8079933"/>
              <a:gd name="connsiteY15010" fmla="*/ 1856299 h 4687251"/>
              <a:gd name="connsiteX15011" fmla="*/ 7169911 w 8079933"/>
              <a:gd name="connsiteY15011" fmla="*/ 1851968 h 4687251"/>
              <a:gd name="connsiteX15012" fmla="*/ 7167524 w 8079933"/>
              <a:gd name="connsiteY15012" fmla="*/ 1846013 h 4687251"/>
              <a:gd name="connsiteX15013" fmla="*/ 7162206 w 8079933"/>
              <a:gd name="connsiteY15013" fmla="*/ 1850777 h 4687251"/>
              <a:gd name="connsiteX15014" fmla="*/ 7159927 w 8079933"/>
              <a:gd name="connsiteY15014" fmla="*/ 1851751 h 4687251"/>
              <a:gd name="connsiteX15015" fmla="*/ 7157866 w 8079933"/>
              <a:gd name="connsiteY15015" fmla="*/ 1849803 h 4687251"/>
              <a:gd name="connsiteX15016" fmla="*/ 7157757 w 8079933"/>
              <a:gd name="connsiteY15016" fmla="*/ 1845797 h 4687251"/>
              <a:gd name="connsiteX15017" fmla="*/ 7160145 w 8079933"/>
              <a:gd name="connsiteY15017" fmla="*/ 1839950 h 4687251"/>
              <a:gd name="connsiteX15018" fmla="*/ 5253398 w 8079933"/>
              <a:gd name="connsiteY15018" fmla="*/ 1837568 h 4687251"/>
              <a:gd name="connsiteX15019" fmla="*/ 5190242 w 8079933"/>
              <a:gd name="connsiteY15019" fmla="*/ 1849478 h 4687251"/>
              <a:gd name="connsiteX15020" fmla="*/ 5209666 w 8079933"/>
              <a:gd name="connsiteY15020" fmla="*/ 1963162 h 4687251"/>
              <a:gd name="connsiteX15021" fmla="*/ 5206194 w 8079933"/>
              <a:gd name="connsiteY15021" fmla="*/ 1963486 h 4687251"/>
              <a:gd name="connsiteX15022" fmla="*/ 5196536 w 8079933"/>
              <a:gd name="connsiteY15022" fmla="*/ 1965543 h 4687251"/>
              <a:gd name="connsiteX15023" fmla="*/ 5196537 w 8079933"/>
              <a:gd name="connsiteY15023" fmla="*/ 1965544 h 4687251"/>
              <a:gd name="connsiteX15024" fmla="*/ 5206195 w 8079933"/>
              <a:gd name="connsiteY15024" fmla="*/ 1963487 h 4687251"/>
              <a:gd name="connsiteX15025" fmla="*/ 5209667 w 8079933"/>
              <a:gd name="connsiteY15025" fmla="*/ 1963162 h 4687251"/>
              <a:gd name="connsiteX15026" fmla="*/ 5220627 w 8079933"/>
              <a:gd name="connsiteY15026" fmla="*/ 1962079 h 4687251"/>
              <a:gd name="connsiteX15027" fmla="*/ 5230611 w 8079933"/>
              <a:gd name="connsiteY15027" fmla="*/ 1963812 h 4687251"/>
              <a:gd name="connsiteX15028" fmla="*/ 5233107 w 8079933"/>
              <a:gd name="connsiteY15028" fmla="*/ 1958290 h 4687251"/>
              <a:gd name="connsiteX15029" fmla="*/ 5230611 w 8079933"/>
              <a:gd name="connsiteY15029" fmla="*/ 1963811 h 4687251"/>
              <a:gd name="connsiteX15030" fmla="*/ 5220627 w 8079933"/>
              <a:gd name="connsiteY15030" fmla="*/ 1962079 h 4687251"/>
              <a:gd name="connsiteX15031" fmla="*/ 5209667 w 8079933"/>
              <a:gd name="connsiteY15031" fmla="*/ 1963162 h 4687251"/>
              <a:gd name="connsiteX15032" fmla="*/ 5190243 w 8079933"/>
              <a:gd name="connsiteY15032" fmla="*/ 1849478 h 4687251"/>
              <a:gd name="connsiteX15033" fmla="*/ 5253398 w 8079933"/>
              <a:gd name="connsiteY15033" fmla="*/ 1837568 h 4687251"/>
              <a:gd name="connsiteX15034" fmla="*/ 4302613 w 8079933"/>
              <a:gd name="connsiteY15034" fmla="*/ 1837397 h 4687251"/>
              <a:gd name="connsiteX15035" fmla="*/ 4302682 w 8079933"/>
              <a:gd name="connsiteY15035" fmla="*/ 1838092 h 4687251"/>
              <a:gd name="connsiteX15036" fmla="*/ 4302684 w 8079933"/>
              <a:gd name="connsiteY15036" fmla="*/ 1838109 h 4687251"/>
              <a:gd name="connsiteX15037" fmla="*/ 5744111 w 8079933"/>
              <a:gd name="connsiteY15037" fmla="*/ 1837026 h 4687251"/>
              <a:gd name="connsiteX15038" fmla="*/ 5744110 w 8079933"/>
              <a:gd name="connsiteY15038" fmla="*/ 1837027 h 4687251"/>
              <a:gd name="connsiteX15039" fmla="*/ 5746389 w 8079933"/>
              <a:gd name="connsiteY15039" fmla="*/ 1844064 h 4687251"/>
              <a:gd name="connsiteX15040" fmla="*/ 5746715 w 8079933"/>
              <a:gd name="connsiteY15040" fmla="*/ 1847745 h 4687251"/>
              <a:gd name="connsiteX15041" fmla="*/ 5748776 w 8079933"/>
              <a:gd name="connsiteY15041" fmla="*/ 1850777 h 4687251"/>
              <a:gd name="connsiteX15042" fmla="*/ 5749645 w 8079933"/>
              <a:gd name="connsiteY15042" fmla="*/ 1855757 h 4687251"/>
              <a:gd name="connsiteX15043" fmla="*/ 5754094 w 8079933"/>
              <a:gd name="connsiteY15043" fmla="*/ 1863012 h 4687251"/>
              <a:gd name="connsiteX15044" fmla="*/ 5754962 w 8079933"/>
              <a:gd name="connsiteY15044" fmla="*/ 1867018 h 4687251"/>
              <a:gd name="connsiteX15045" fmla="*/ 5760171 w 8079933"/>
              <a:gd name="connsiteY15045" fmla="*/ 1870698 h 4687251"/>
              <a:gd name="connsiteX15046" fmla="*/ 5762015 w 8079933"/>
              <a:gd name="connsiteY15046" fmla="*/ 1880551 h 4687251"/>
              <a:gd name="connsiteX15047" fmla="*/ 5759930 w 8079933"/>
              <a:gd name="connsiteY15047" fmla="*/ 1882401 h 4687251"/>
              <a:gd name="connsiteX15048" fmla="*/ 5762016 w 8079933"/>
              <a:gd name="connsiteY15048" fmla="*/ 1880551 h 4687251"/>
              <a:gd name="connsiteX15049" fmla="*/ 5760172 w 8079933"/>
              <a:gd name="connsiteY15049" fmla="*/ 1870698 h 4687251"/>
              <a:gd name="connsiteX15050" fmla="*/ 5754963 w 8079933"/>
              <a:gd name="connsiteY15050" fmla="*/ 1867017 h 4687251"/>
              <a:gd name="connsiteX15051" fmla="*/ 5754094 w 8079933"/>
              <a:gd name="connsiteY15051" fmla="*/ 1863011 h 4687251"/>
              <a:gd name="connsiteX15052" fmla="*/ 5749645 w 8079933"/>
              <a:gd name="connsiteY15052" fmla="*/ 1855757 h 4687251"/>
              <a:gd name="connsiteX15053" fmla="*/ 5748778 w 8079933"/>
              <a:gd name="connsiteY15053" fmla="*/ 1850776 h 4687251"/>
              <a:gd name="connsiteX15054" fmla="*/ 5746715 w 8079933"/>
              <a:gd name="connsiteY15054" fmla="*/ 1847745 h 4687251"/>
              <a:gd name="connsiteX15055" fmla="*/ 5746390 w 8079933"/>
              <a:gd name="connsiteY15055" fmla="*/ 1844064 h 4687251"/>
              <a:gd name="connsiteX15056" fmla="*/ 6095271 w 8079933"/>
              <a:gd name="connsiteY15056" fmla="*/ 1836810 h 4687251"/>
              <a:gd name="connsiteX15057" fmla="*/ 6095596 w 8079933"/>
              <a:gd name="connsiteY15057" fmla="*/ 1839841 h 4687251"/>
              <a:gd name="connsiteX15058" fmla="*/ 6097134 w 8079933"/>
              <a:gd name="connsiteY15058" fmla="*/ 1843558 h 4687251"/>
              <a:gd name="connsiteX15059" fmla="*/ 6095597 w 8079933"/>
              <a:gd name="connsiteY15059" fmla="*/ 1839842 h 4687251"/>
              <a:gd name="connsiteX15060" fmla="*/ 6095272 w 8079933"/>
              <a:gd name="connsiteY15060" fmla="*/ 1836811 h 4687251"/>
              <a:gd name="connsiteX15061" fmla="*/ 4137306 w 8079933"/>
              <a:gd name="connsiteY15061" fmla="*/ 1835727 h 4687251"/>
              <a:gd name="connsiteX15062" fmla="*/ 4137306 w 8079933"/>
              <a:gd name="connsiteY15062" fmla="*/ 1835728 h 4687251"/>
              <a:gd name="connsiteX15063" fmla="*/ 4147723 w 8079933"/>
              <a:gd name="connsiteY15063" fmla="*/ 1838543 h 4687251"/>
              <a:gd name="connsiteX15064" fmla="*/ 4151846 w 8079933"/>
              <a:gd name="connsiteY15064" fmla="*/ 1838110 h 4687251"/>
              <a:gd name="connsiteX15065" fmla="*/ 4155970 w 8079933"/>
              <a:gd name="connsiteY15065" fmla="*/ 1841575 h 4687251"/>
              <a:gd name="connsiteX15066" fmla="*/ 4155970 w 8079933"/>
              <a:gd name="connsiteY15066" fmla="*/ 1841573 h 4687251"/>
              <a:gd name="connsiteX15067" fmla="*/ 4151847 w 8079933"/>
              <a:gd name="connsiteY15067" fmla="*/ 1838109 h 4687251"/>
              <a:gd name="connsiteX15068" fmla="*/ 4147723 w 8079933"/>
              <a:gd name="connsiteY15068" fmla="*/ 1838542 h 4687251"/>
              <a:gd name="connsiteX15069" fmla="*/ 4988835 w 8079933"/>
              <a:gd name="connsiteY15069" fmla="*/ 1834537 h 4687251"/>
              <a:gd name="connsiteX15070" fmla="*/ 4988835 w 8079933"/>
              <a:gd name="connsiteY15070" fmla="*/ 1837569 h 4687251"/>
              <a:gd name="connsiteX15071" fmla="*/ 4986665 w 8079933"/>
              <a:gd name="connsiteY15071" fmla="*/ 1841358 h 4687251"/>
              <a:gd name="connsiteX15072" fmla="*/ 4985688 w 8079933"/>
              <a:gd name="connsiteY15072" fmla="*/ 1846664 h 4687251"/>
              <a:gd name="connsiteX15073" fmla="*/ 4983084 w 8079933"/>
              <a:gd name="connsiteY15073" fmla="*/ 1848395 h 4687251"/>
              <a:gd name="connsiteX15074" fmla="*/ 4981564 w 8079933"/>
              <a:gd name="connsiteY15074" fmla="*/ 1853376 h 4687251"/>
              <a:gd name="connsiteX15075" fmla="*/ 4979611 w 8079933"/>
              <a:gd name="connsiteY15075" fmla="*/ 1857166 h 4687251"/>
              <a:gd name="connsiteX15076" fmla="*/ 4979611 w 8079933"/>
              <a:gd name="connsiteY15076" fmla="*/ 1865936 h 4687251"/>
              <a:gd name="connsiteX15077" fmla="*/ 4977006 w 8079933"/>
              <a:gd name="connsiteY15077" fmla="*/ 1867776 h 4687251"/>
              <a:gd name="connsiteX15078" fmla="*/ 4975488 w 8079933"/>
              <a:gd name="connsiteY15078" fmla="*/ 1872107 h 4687251"/>
              <a:gd name="connsiteX15079" fmla="*/ 4977766 w 8079933"/>
              <a:gd name="connsiteY15079" fmla="*/ 1880335 h 4687251"/>
              <a:gd name="connsiteX15080" fmla="*/ 4981781 w 8079933"/>
              <a:gd name="connsiteY15080" fmla="*/ 1880335 h 4687251"/>
              <a:gd name="connsiteX15081" fmla="*/ 4982691 w 8079933"/>
              <a:gd name="connsiteY15081" fmla="*/ 1880067 h 4687251"/>
              <a:gd name="connsiteX15082" fmla="*/ 4980696 w 8079933"/>
              <a:gd name="connsiteY15082" fmla="*/ 1872864 h 4687251"/>
              <a:gd name="connsiteX15083" fmla="*/ 4982215 w 8079933"/>
              <a:gd name="connsiteY15083" fmla="*/ 1868533 h 4687251"/>
              <a:gd name="connsiteX15084" fmla="*/ 4984819 w 8079933"/>
              <a:gd name="connsiteY15084" fmla="*/ 1866693 h 4687251"/>
              <a:gd name="connsiteX15085" fmla="*/ 4984819 w 8079933"/>
              <a:gd name="connsiteY15085" fmla="*/ 1857923 h 4687251"/>
              <a:gd name="connsiteX15086" fmla="*/ 4986772 w 8079933"/>
              <a:gd name="connsiteY15086" fmla="*/ 1854133 h 4687251"/>
              <a:gd name="connsiteX15087" fmla="*/ 4988292 w 8079933"/>
              <a:gd name="connsiteY15087" fmla="*/ 1849153 h 4687251"/>
              <a:gd name="connsiteX15088" fmla="*/ 4990897 w 8079933"/>
              <a:gd name="connsiteY15088" fmla="*/ 1847421 h 4687251"/>
              <a:gd name="connsiteX15089" fmla="*/ 4991873 w 8079933"/>
              <a:gd name="connsiteY15089" fmla="*/ 1842115 h 4687251"/>
              <a:gd name="connsiteX15090" fmla="*/ 4994044 w 8079933"/>
              <a:gd name="connsiteY15090" fmla="*/ 1838326 h 4687251"/>
              <a:gd name="connsiteX15091" fmla="*/ 4994044 w 8079933"/>
              <a:gd name="connsiteY15091" fmla="*/ 1837052 h 4687251"/>
              <a:gd name="connsiteX15092" fmla="*/ 4993502 w 8079933"/>
              <a:gd name="connsiteY15092" fmla="*/ 1837352 h 4687251"/>
              <a:gd name="connsiteX15093" fmla="*/ 4991222 w 8079933"/>
              <a:gd name="connsiteY15093" fmla="*/ 1835403 h 4687251"/>
              <a:gd name="connsiteX15094" fmla="*/ 4073715 w 8079933"/>
              <a:gd name="connsiteY15094" fmla="*/ 1833454 h 4687251"/>
              <a:gd name="connsiteX15095" fmla="*/ 4080768 w 8079933"/>
              <a:gd name="connsiteY15095" fmla="*/ 1833778 h 4687251"/>
              <a:gd name="connsiteX15096" fmla="*/ 4082952 w 8079933"/>
              <a:gd name="connsiteY15096" fmla="*/ 1837840 h 4687251"/>
              <a:gd name="connsiteX15097" fmla="*/ 4080769 w 8079933"/>
              <a:gd name="connsiteY15097" fmla="*/ 1833778 h 4687251"/>
              <a:gd name="connsiteX15098" fmla="*/ 4117664 w 8079933"/>
              <a:gd name="connsiteY15098" fmla="*/ 1833346 h 4687251"/>
              <a:gd name="connsiteX15099" fmla="*/ 4117664 w 8079933"/>
              <a:gd name="connsiteY15099" fmla="*/ 1833346 h 4687251"/>
              <a:gd name="connsiteX15100" fmla="*/ 4123198 w 8079933"/>
              <a:gd name="connsiteY15100" fmla="*/ 1836811 h 4687251"/>
              <a:gd name="connsiteX15101" fmla="*/ 4122651 w 8079933"/>
              <a:gd name="connsiteY15101" fmla="*/ 1841453 h 4687251"/>
              <a:gd name="connsiteX15102" fmla="*/ 4123198 w 8079933"/>
              <a:gd name="connsiteY15102" fmla="*/ 1836810 h 4687251"/>
              <a:gd name="connsiteX15103" fmla="*/ 4166387 w 8079933"/>
              <a:gd name="connsiteY15103" fmla="*/ 1830530 h 4687251"/>
              <a:gd name="connsiteX15104" fmla="*/ 4157056 w 8079933"/>
              <a:gd name="connsiteY15104" fmla="*/ 1832587 h 4687251"/>
              <a:gd name="connsiteX15105" fmla="*/ 4157056 w 8079933"/>
              <a:gd name="connsiteY15105" fmla="*/ 1832587 h 4687251"/>
              <a:gd name="connsiteX15106" fmla="*/ 4166388 w 8079933"/>
              <a:gd name="connsiteY15106" fmla="*/ 1830531 h 4687251"/>
              <a:gd name="connsiteX15107" fmla="*/ 5011190 w 8079933"/>
              <a:gd name="connsiteY15107" fmla="*/ 1827933 h 4687251"/>
              <a:gd name="connsiteX15108" fmla="*/ 5008323 w 8079933"/>
              <a:gd name="connsiteY15108" fmla="*/ 1828690 h 4687251"/>
              <a:gd name="connsiteX15109" fmla="*/ 5010538 w 8079933"/>
              <a:gd name="connsiteY15109" fmla="*/ 1828690 h 4687251"/>
              <a:gd name="connsiteX15110" fmla="*/ 5012709 w 8079933"/>
              <a:gd name="connsiteY15110" fmla="*/ 1829664 h 4687251"/>
              <a:gd name="connsiteX15111" fmla="*/ 5012879 w 8079933"/>
              <a:gd name="connsiteY15111" fmla="*/ 1829619 h 4687251"/>
              <a:gd name="connsiteX15112" fmla="*/ 5003051 w 8079933"/>
              <a:gd name="connsiteY15112" fmla="*/ 1827933 h 4687251"/>
              <a:gd name="connsiteX15113" fmla="*/ 5006524 w 8079933"/>
              <a:gd name="connsiteY15113" fmla="*/ 1829232 h 4687251"/>
              <a:gd name="connsiteX15114" fmla="*/ 5007174 w 8079933"/>
              <a:gd name="connsiteY15114" fmla="*/ 1831181 h 4687251"/>
              <a:gd name="connsiteX15115" fmla="*/ 5003919 w 8079933"/>
              <a:gd name="connsiteY15115" fmla="*/ 1833563 h 4687251"/>
              <a:gd name="connsiteX15116" fmla="*/ 5000772 w 8079933"/>
              <a:gd name="connsiteY15116" fmla="*/ 1833563 h 4687251"/>
              <a:gd name="connsiteX15117" fmla="*/ 4998493 w 8079933"/>
              <a:gd name="connsiteY15117" fmla="*/ 1835403 h 4687251"/>
              <a:gd name="connsiteX15118" fmla="*/ 4996540 w 8079933"/>
              <a:gd name="connsiteY15118" fmla="*/ 1833455 h 4687251"/>
              <a:gd name="connsiteX15119" fmla="*/ 4995611 w 8079933"/>
              <a:gd name="connsiteY15119" fmla="*/ 1835864 h 4687251"/>
              <a:gd name="connsiteX15120" fmla="*/ 4996431 w 8079933"/>
              <a:gd name="connsiteY15120" fmla="*/ 1836161 h 4687251"/>
              <a:gd name="connsiteX15121" fmla="*/ 4998710 w 8079933"/>
              <a:gd name="connsiteY15121" fmla="*/ 1838109 h 4687251"/>
              <a:gd name="connsiteX15122" fmla="*/ 5000663 w 8079933"/>
              <a:gd name="connsiteY15122" fmla="*/ 1837027 h 4687251"/>
              <a:gd name="connsiteX15123" fmla="*/ 5001748 w 8079933"/>
              <a:gd name="connsiteY15123" fmla="*/ 1834211 h 4687251"/>
              <a:gd name="connsiteX15124" fmla="*/ 5003701 w 8079933"/>
              <a:gd name="connsiteY15124" fmla="*/ 1836161 h 4687251"/>
              <a:gd name="connsiteX15125" fmla="*/ 5005981 w 8079933"/>
              <a:gd name="connsiteY15125" fmla="*/ 1834320 h 4687251"/>
              <a:gd name="connsiteX15126" fmla="*/ 5009127 w 8079933"/>
              <a:gd name="connsiteY15126" fmla="*/ 1834320 h 4687251"/>
              <a:gd name="connsiteX15127" fmla="*/ 5012383 w 8079933"/>
              <a:gd name="connsiteY15127" fmla="*/ 1831938 h 4687251"/>
              <a:gd name="connsiteX15128" fmla="*/ 5011732 w 8079933"/>
              <a:gd name="connsiteY15128" fmla="*/ 1829989 h 4687251"/>
              <a:gd name="connsiteX15129" fmla="*/ 5008286 w 8079933"/>
              <a:gd name="connsiteY15129" fmla="*/ 1828700 h 4687251"/>
              <a:gd name="connsiteX15130" fmla="*/ 5007501 w 8079933"/>
              <a:gd name="connsiteY15130" fmla="*/ 1828907 h 4687251"/>
              <a:gd name="connsiteX15131" fmla="*/ 5005330 w 8079933"/>
              <a:gd name="connsiteY15131" fmla="*/ 1827933 h 4687251"/>
              <a:gd name="connsiteX15132" fmla="*/ 2363173 w 8079933"/>
              <a:gd name="connsiteY15132" fmla="*/ 1825488 h 4687251"/>
              <a:gd name="connsiteX15133" fmla="*/ 2362081 w 8079933"/>
              <a:gd name="connsiteY15133" fmla="*/ 1826199 h 4687251"/>
              <a:gd name="connsiteX15134" fmla="*/ 2362082 w 8079933"/>
              <a:gd name="connsiteY15134" fmla="*/ 1826199 h 4687251"/>
              <a:gd name="connsiteX15135" fmla="*/ 2354810 w 8079933"/>
              <a:gd name="connsiteY15135" fmla="*/ 1825334 h 4687251"/>
              <a:gd name="connsiteX15136" fmla="*/ 2352640 w 8079933"/>
              <a:gd name="connsiteY15136" fmla="*/ 1826958 h 4687251"/>
              <a:gd name="connsiteX15137" fmla="*/ 2352641 w 8079933"/>
              <a:gd name="connsiteY15137" fmla="*/ 1826958 h 4687251"/>
              <a:gd name="connsiteX15138" fmla="*/ 2354811 w 8079933"/>
              <a:gd name="connsiteY15138" fmla="*/ 1825334 h 4687251"/>
              <a:gd name="connsiteX15139" fmla="*/ 5731307 w 8079933"/>
              <a:gd name="connsiteY15139" fmla="*/ 1824683 h 4687251"/>
              <a:gd name="connsiteX15140" fmla="*/ 5731306 w 8079933"/>
              <a:gd name="connsiteY15140" fmla="*/ 1824684 h 4687251"/>
              <a:gd name="connsiteX15141" fmla="*/ 5731197 w 8079933"/>
              <a:gd name="connsiteY15141" fmla="*/ 1828040 h 4687251"/>
              <a:gd name="connsiteX15142" fmla="*/ 5735212 w 8079933"/>
              <a:gd name="connsiteY15142" fmla="*/ 1831180 h 4687251"/>
              <a:gd name="connsiteX15143" fmla="*/ 5741831 w 8079933"/>
              <a:gd name="connsiteY15143" fmla="*/ 1830747 h 4687251"/>
              <a:gd name="connsiteX15144" fmla="*/ 5747366 w 8079933"/>
              <a:gd name="connsiteY15144" fmla="*/ 1831505 h 4687251"/>
              <a:gd name="connsiteX15145" fmla="*/ 5747475 w 8079933"/>
              <a:gd name="connsiteY15145" fmla="*/ 1833670 h 4687251"/>
              <a:gd name="connsiteX15146" fmla="*/ 5747367 w 8079933"/>
              <a:gd name="connsiteY15146" fmla="*/ 1831504 h 4687251"/>
              <a:gd name="connsiteX15147" fmla="*/ 5741832 w 8079933"/>
              <a:gd name="connsiteY15147" fmla="*/ 1830746 h 4687251"/>
              <a:gd name="connsiteX15148" fmla="*/ 5735213 w 8079933"/>
              <a:gd name="connsiteY15148" fmla="*/ 1831180 h 4687251"/>
              <a:gd name="connsiteX15149" fmla="*/ 5731198 w 8079933"/>
              <a:gd name="connsiteY15149" fmla="*/ 1828039 h 4687251"/>
              <a:gd name="connsiteX15150" fmla="*/ 6084202 w 8079933"/>
              <a:gd name="connsiteY15150" fmla="*/ 1824576 h 4687251"/>
              <a:gd name="connsiteX15151" fmla="*/ 6084853 w 8079933"/>
              <a:gd name="connsiteY15151" fmla="*/ 1828798 h 4687251"/>
              <a:gd name="connsiteX15152" fmla="*/ 6085830 w 8079933"/>
              <a:gd name="connsiteY15152" fmla="*/ 1831504 h 4687251"/>
              <a:gd name="connsiteX15153" fmla="*/ 6085831 w 8079933"/>
              <a:gd name="connsiteY15153" fmla="*/ 1831505 h 4687251"/>
              <a:gd name="connsiteX15154" fmla="*/ 6084854 w 8079933"/>
              <a:gd name="connsiteY15154" fmla="*/ 1828798 h 4687251"/>
              <a:gd name="connsiteX15155" fmla="*/ 6084203 w 8079933"/>
              <a:gd name="connsiteY15155" fmla="*/ 1824576 h 4687251"/>
              <a:gd name="connsiteX15156" fmla="*/ 4559109 w 8079933"/>
              <a:gd name="connsiteY15156" fmla="*/ 1824034 h 4687251"/>
              <a:gd name="connsiteX15157" fmla="*/ 4558024 w 8079933"/>
              <a:gd name="connsiteY15157" fmla="*/ 1846445 h 4687251"/>
              <a:gd name="connsiteX15158" fmla="*/ 4558024 w 8079933"/>
              <a:gd name="connsiteY15158" fmla="*/ 1846446 h 4687251"/>
              <a:gd name="connsiteX15159" fmla="*/ 4559110 w 8079933"/>
              <a:gd name="connsiteY15159" fmla="*/ 1824034 h 4687251"/>
              <a:gd name="connsiteX15160" fmla="*/ 4296716 w 8079933"/>
              <a:gd name="connsiteY15160" fmla="*/ 1821977 h 4687251"/>
              <a:gd name="connsiteX15161" fmla="*/ 4295631 w 8079933"/>
              <a:gd name="connsiteY15161" fmla="*/ 1822301 h 4687251"/>
              <a:gd name="connsiteX15162" fmla="*/ 4289771 w 8079933"/>
              <a:gd name="connsiteY15162" fmla="*/ 1824250 h 4687251"/>
              <a:gd name="connsiteX15163" fmla="*/ 4279353 w 8079933"/>
              <a:gd name="connsiteY15163" fmla="*/ 1830097 h 4687251"/>
              <a:gd name="connsiteX15164" fmla="*/ 4276857 w 8079933"/>
              <a:gd name="connsiteY15164" fmla="*/ 1829772 h 4687251"/>
              <a:gd name="connsiteX15165" fmla="*/ 4273385 w 8079933"/>
              <a:gd name="connsiteY15165" fmla="*/ 1830205 h 4687251"/>
              <a:gd name="connsiteX15166" fmla="*/ 4267959 w 8079933"/>
              <a:gd name="connsiteY15166" fmla="*/ 1832695 h 4687251"/>
              <a:gd name="connsiteX15167" fmla="*/ 4262750 w 8079933"/>
              <a:gd name="connsiteY15167" fmla="*/ 1832695 h 4687251"/>
              <a:gd name="connsiteX15168" fmla="*/ 4257107 w 8079933"/>
              <a:gd name="connsiteY15168" fmla="*/ 1834969 h 4687251"/>
              <a:gd name="connsiteX15169" fmla="*/ 4253961 w 8079933"/>
              <a:gd name="connsiteY15169" fmla="*/ 1831288 h 4687251"/>
              <a:gd name="connsiteX15170" fmla="*/ 4257107 w 8079933"/>
              <a:gd name="connsiteY15170" fmla="*/ 1834969 h 4687251"/>
              <a:gd name="connsiteX15171" fmla="*/ 4262750 w 8079933"/>
              <a:gd name="connsiteY15171" fmla="*/ 1832696 h 4687251"/>
              <a:gd name="connsiteX15172" fmla="*/ 4267959 w 8079933"/>
              <a:gd name="connsiteY15172" fmla="*/ 1832696 h 4687251"/>
              <a:gd name="connsiteX15173" fmla="*/ 4273384 w 8079933"/>
              <a:gd name="connsiteY15173" fmla="*/ 1830206 h 4687251"/>
              <a:gd name="connsiteX15174" fmla="*/ 4276857 w 8079933"/>
              <a:gd name="connsiteY15174" fmla="*/ 1829773 h 4687251"/>
              <a:gd name="connsiteX15175" fmla="*/ 4279354 w 8079933"/>
              <a:gd name="connsiteY15175" fmla="*/ 1830097 h 4687251"/>
              <a:gd name="connsiteX15176" fmla="*/ 4289771 w 8079933"/>
              <a:gd name="connsiteY15176" fmla="*/ 1824251 h 4687251"/>
              <a:gd name="connsiteX15177" fmla="*/ 4295631 w 8079933"/>
              <a:gd name="connsiteY15177" fmla="*/ 1822302 h 4687251"/>
              <a:gd name="connsiteX15178" fmla="*/ 4301599 w 8079933"/>
              <a:gd name="connsiteY15178" fmla="*/ 1829231 h 4687251"/>
              <a:gd name="connsiteX15179" fmla="*/ 4301623 w 8079933"/>
              <a:gd name="connsiteY15179" fmla="*/ 1829424 h 4687251"/>
              <a:gd name="connsiteX15180" fmla="*/ 4302247 w 8079933"/>
              <a:gd name="connsiteY15180" fmla="*/ 1834406 h 4687251"/>
              <a:gd name="connsiteX15181" fmla="*/ 4301599 w 8079933"/>
              <a:gd name="connsiteY15181" fmla="*/ 1829231 h 4687251"/>
              <a:gd name="connsiteX15182" fmla="*/ 4295631 w 8079933"/>
              <a:gd name="connsiteY15182" fmla="*/ 1822302 h 4687251"/>
              <a:gd name="connsiteX15183" fmla="*/ 5010430 w 8079933"/>
              <a:gd name="connsiteY15183" fmla="*/ 1821328 h 4687251"/>
              <a:gd name="connsiteX15184" fmla="*/ 5007283 w 8079933"/>
              <a:gd name="connsiteY15184" fmla="*/ 1821977 h 4687251"/>
              <a:gd name="connsiteX15185" fmla="*/ 5014228 w 8079933"/>
              <a:gd name="connsiteY15185" fmla="*/ 1825984 h 4687251"/>
              <a:gd name="connsiteX15186" fmla="*/ 5015205 w 8079933"/>
              <a:gd name="connsiteY15186" fmla="*/ 1828691 h 4687251"/>
              <a:gd name="connsiteX15187" fmla="*/ 5014689 w 8079933"/>
              <a:gd name="connsiteY15187" fmla="*/ 1829141 h 4687251"/>
              <a:gd name="connsiteX15188" fmla="*/ 5016398 w 8079933"/>
              <a:gd name="connsiteY15188" fmla="*/ 1828690 h 4687251"/>
              <a:gd name="connsiteX15189" fmla="*/ 5018676 w 8079933"/>
              <a:gd name="connsiteY15189" fmla="*/ 1830964 h 4687251"/>
              <a:gd name="connsiteX15190" fmla="*/ 5020413 w 8079933"/>
              <a:gd name="connsiteY15190" fmla="*/ 1829448 h 4687251"/>
              <a:gd name="connsiteX15191" fmla="*/ 5019436 w 8079933"/>
              <a:gd name="connsiteY15191" fmla="*/ 1826741 h 4687251"/>
              <a:gd name="connsiteX15192" fmla="*/ 5012492 w 8079933"/>
              <a:gd name="connsiteY15192" fmla="*/ 1822735 h 4687251"/>
              <a:gd name="connsiteX15193" fmla="*/ 5014294 w 8079933"/>
              <a:gd name="connsiteY15193" fmla="*/ 1822363 h 4687251"/>
              <a:gd name="connsiteX15194" fmla="*/ 5735538 w 8079933"/>
              <a:gd name="connsiteY15194" fmla="*/ 1820678 h 4687251"/>
              <a:gd name="connsiteX15195" fmla="*/ 5735537 w 8079933"/>
              <a:gd name="connsiteY15195" fmla="*/ 1820678 h 4687251"/>
              <a:gd name="connsiteX15196" fmla="*/ 5732055 w 8079933"/>
              <a:gd name="connsiteY15196" fmla="*/ 1823975 h 4687251"/>
              <a:gd name="connsiteX15197" fmla="*/ 5739552 w 8079933"/>
              <a:gd name="connsiteY15197" fmla="*/ 1819054 h 4687251"/>
              <a:gd name="connsiteX15198" fmla="*/ 5737240 w 8079933"/>
              <a:gd name="connsiteY15198" fmla="*/ 1819989 h 4687251"/>
              <a:gd name="connsiteX15199" fmla="*/ 5739552 w 8079933"/>
              <a:gd name="connsiteY15199" fmla="*/ 1819054 h 4687251"/>
              <a:gd name="connsiteX15200" fmla="*/ 4201872 w 8079933"/>
              <a:gd name="connsiteY15200" fmla="*/ 1818837 h 4687251"/>
              <a:gd name="connsiteX15201" fmla="*/ 4201872 w 8079933"/>
              <a:gd name="connsiteY15201" fmla="*/ 1818838 h 4687251"/>
              <a:gd name="connsiteX15202" fmla="*/ 4213700 w 8079933"/>
              <a:gd name="connsiteY15202" fmla="*/ 1825767 h 4687251"/>
              <a:gd name="connsiteX15203" fmla="*/ 4228133 w 8079933"/>
              <a:gd name="connsiteY15203" fmla="*/ 1828474 h 4687251"/>
              <a:gd name="connsiteX15204" fmla="*/ 4236055 w 8079933"/>
              <a:gd name="connsiteY15204" fmla="*/ 1827824 h 4687251"/>
              <a:gd name="connsiteX15205" fmla="*/ 4239527 w 8079933"/>
              <a:gd name="connsiteY15205" fmla="*/ 1830964 h 4687251"/>
              <a:gd name="connsiteX15206" fmla="*/ 4239527 w 8079933"/>
              <a:gd name="connsiteY15206" fmla="*/ 1830963 h 4687251"/>
              <a:gd name="connsiteX15207" fmla="*/ 4243217 w 8079933"/>
              <a:gd name="connsiteY15207" fmla="*/ 1831396 h 4687251"/>
              <a:gd name="connsiteX15208" fmla="*/ 4239528 w 8079933"/>
              <a:gd name="connsiteY15208" fmla="*/ 1830963 h 4687251"/>
              <a:gd name="connsiteX15209" fmla="*/ 4236055 w 8079933"/>
              <a:gd name="connsiteY15209" fmla="*/ 1827823 h 4687251"/>
              <a:gd name="connsiteX15210" fmla="*/ 4228133 w 8079933"/>
              <a:gd name="connsiteY15210" fmla="*/ 1828473 h 4687251"/>
              <a:gd name="connsiteX15211" fmla="*/ 4213700 w 8079933"/>
              <a:gd name="connsiteY15211" fmla="*/ 1825766 h 4687251"/>
              <a:gd name="connsiteX15212" fmla="*/ 2368141 w 8079933"/>
              <a:gd name="connsiteY15212" fmla="*/ 1818662 h 4687251"/>
              <a:gd name="connsiteX15213" fmla="*/ 2366205 w 8079933"/>
              <a:gd name="connsiteY15213" fmla="*/ 1820786 h 4687251"/>
              <a:gd name="connsiteX15214" fmla="*/ 2365121 w 8079933"/>
              <a:gd name="connsiteY15214" fmla="*/ 1823761 h 4687251"/>
              <a:gd name="connsiteX15215" fmla="*/ 2364903 w 8079933"/>
              <a:gd name="connsiteY15215" fmla="*/ 1824359 h 4687251"/>
              <a:gd name="connsiteX15216" fmla="*/ 2364903 w 8079933"/>
              <a:gd name="connsiteY15216" fmla="*/ 1824359 h 4687251"/>
              <a:gd name="connsiteX15217" fmla="*/ 2365121 w 8079933"/>
              <a:gd name="connsiteY15217" fmla="*/ 1823761 h 4687251"/>
              <a:gd name="connsiteX15218" fmla="*/ 2366205 w 8079933"/>
              <a:gd name="connsiteY15218" fmla="*/ 1820786 h 4687251"/>
              <a:gd name="connsiteX15219" fmla="*/ 5753938 w 8079933"/>
              <a:gd name="connsiteY15219" fmla="*/ 1817608 h 4687251"/>
              <a:gd name="connsiteX15220" fmla="*/ 5753226 w 8079933"/>
              <a:gd name="connsiteY15220" fmla="*/ 1817754 h 4687251"/>
              <a:gd name="connsiteX15221" fmla="*/ 5753226 w 8079933"/>
              <a:gd name="connsiteY15221" fmla="*/ 1817754 h 4687251"/>
              <a:gd name="connsiteX15222" fmla="*/ 5753225 w 8079933"/>
              <a:gd name="connsiteY15222" fmla="*/ 1817754 h 4687251"/>
              <a:gd name="connsiteX15223" fmla="*/ 5751480 w 8079933"/>
              <a:gd name="connsiteY15223" fmla="*/ 1818420 h 4687251"/>
              <a:gd name="connsiteX15224" fmla="*/ 5753226 w 8079933"/>
              <a:gd name="connsiteY15224" fmla="*/ 1817754 h 4687251"/>
              <a:gd name="connsiteX15225" fmla="*/ 4075840 w 8079933"/>
              <a:gd name="connsiteY15225" fmla="*/ 1816720 h 4687251"/>
              <a:gd name="connsiteX15226" fmla="*/ 4073823 w 8079933"/>
              <a:gd name="connsiteY15226" fmla="*/ 1817429 h 4687251"/>
              <a:gd name="connsiteX15227" fmla="*/ 4067637 w 8079933"/>
              <a:gd name="connsiteY15227" fmla="*/ 1827282 h 4687251"/>
              <a:gd name="connsiteX15228" fmla="*/ 4066661 w 8079933"/>
              <a:gd name="connsiteY15228" fmla="*/ 1834537 h 4687251"/>
              <a:gd name="connsiteX15229" fmla="*/ 4066661 w 8079933"/>
              <a:gd name="connsiteY15229" fmla="*/ 1839083 h 4687251"/>
              <a:gd name="connsiteX15230" fmla="*/ 4066662 w 8079933"/>
              <a:gd name="connsiteY15230" fmla="*/ 1839083 h 4687251"/>
              <a:gd name="connsiteX15231" fmla="*/ 4066662 w 8079933"/>
              <a:gd name="connsiteY15231" fmla="*/ 1834536 h 4687251"/>
              <a:gd name="connsiteX15232" fmla="*/ 4067638 w 8079933"/>
              <a:gd name="connsiteY15232" fmla="*/ 1827282 h 4687251"/>
              <a:gd name="connsiteX15233" fmla="*/ 4073823 w 8079933"/>
              <a:gd name="connsiteY15233" fmla="*/ 1817430 h 4687251"/>
              <a:gd name="connsiteX15234" fmla="*/ 6059243 w 8079933"/>
              <a:gd name="connsiteY15234" fmla="*/ 1814831 h 4687251"/>
              <a:gd name="connsiteX15235" fmla="*/ 6067279 w 8079933"/>
              <a:gd name="connsiteY15235" fmla="*/ 1820572 h 4687251"/>
              <a:gd name="connsiteX15236" fmla="*/ 6059244 w 8079933"/>
              <a:gd name="connsiteY15236" fmla="*/ 1814831 h 4687251"/>
              <a:gd name="connsiteX15237" fmla="*/ 6895742 w 8079933"/>
              <a:gd name="connsiteY15237" fmla="*/ 1814058 h 4687251"/>
              <a:gd name="connsiteX15238" fmla="*/ 6897535 w 8079933"/>
              <a:gd name="connsiteY15238" fmla="*/ 1816130 h 4687251"/>
              <a:gd name="connsiteX15239" fmla="*/ 6905132 w 8079933"/>
              <a:gd name="connsiteY15239" fmla="*/ 1817863 h 4687251"/>
              <a:gd name="connsiteX15240" fmla="*/ 6905131 w 8079933"/>
              <a:gd name="connsiteY15240" fmla="*/ 1817862 h 4687251"/>
              <a:gd name="connsiteX15241" fmla="*/ 6897535 w 8079933"/>
              <a:gd name="connsiteY15241" fmla="*/ 1816130 h 4687251"/>
              <a:gd name="connsiteX15242" fmla="*/ 5781874 w 8079933"/>
              <a:gd name="connsiteY15242" fmla="*/ 1813532 h 4687251"/>
              <a:gd name="connsiteX15243" fmla="*/ 5780664 w 8079933"/>
              <a:gd name="connsiteY15243" fmla="*/ 1814304 h 4687251"/>
              <a:gd name="connsiteX15244" fmla="*/ 5781875 w 8079933"/>
              <a:gd name="connsiteY15244" fmla="*/ 1813532 h 4687251"/>
              <a:gd name="connsiteX15245" fmla="*/ 4189176 w 8079933"/>
              <a:gd name="connsiteY15245" fmla="*/ 1813315 h 4687251"/>
              <a:gd name="connsiteX15246" fmla="*/ 4176697 w 8079933"/>
              <a:gd name="connsiteY15246" fmla="*/ 1820569 h 4687251"/>
              <a:gd name="connsiteX15247" fmla="*/ 4168775 w 8079933"/>
              <a:gd name="connsiteY15247" fmla="*/ 1817105 h 4687251"/>
              <a:gd name="connsiteX15248" fmla="*/ 4168775 w 8079933"/>
              <a:gd name="connsiteY15248" fmla="*/ 1817106 h 4687251"/>
              <a:gd name="connsiteX15249" fmla="*/ 4168775 w 8079933"/>
              <a:gd name="connsiteY15249" fmla="*/ 1817105 h 4687251"/>
              <a:gd name="connsiteX15250" fmla="*/ 4176697 w 8079933"/>
              <a:gd name="connsiteY15250" fmla="*/ 1820570 h 4687251"/>
              <a:gd name="connsiteX15251" fmla="*/ 4189176 w 8079933"/>
              <a:gd name="connsiteY15251" fmla="*/ 1813316 h 4687251"/>
              <a:gd name="connsiteX15252" fmla="*/ 4194276 w 8079933"/>
              <a:gd name="connsiteY15252" fmla="*/ 1814724 h 4687251"/>
              <a:gd name="connsiteX15253" fmla="*/ 4202632 w 8079933"/>
              <a:gd name="connsiteY15253" fmla="*/ 1814074 h 4687251"/>
              <a:gd name="connsiteX15254" fmla="*/ 4202632 w 8079933"/>
              <a:gd name="connsiteY15254" fmla="*/ 1814073 h 4687251"/>
              <a:gd name="connsiteX15255" fmla="*/ 4194276 w 8079933"/>
              <a:gd name="connsiteY15255" fmla="*/ 1814722 h 4687251"/>
              <a:gd name="connsiteX15256" fmla="*/ 4162915 w 8079933"/>
              <a:gd name="connsiteY15256" fmla="*/ 1813315 h 4687251"/>
              <a:gd name="connsiteX15257" fmla="*/ 4158792 w 8079933"/>
              <a:gd name="connsiteY15257" fmla="*/ 1817105 h 4687251"/>
              <a:gd name="connsiteX15258" fmla="*/ 4158792 w 8079933"/>
              <a:gd name="connsiteY15258" fmla="*/ 1817105 h 4687251"/>
              <a:gd name="connsiteX15259" fmla="*/ 4162916 w 8079933"/>
              <a:gd name="connsiteY15259" fmla="*/ 1813315 h 4687251"/>
              <a:gd name="connsiteX15260" fmla="*/ 4166713 w 8079933"/>
              <a:gd name="connsiteY15260" fmla="*/ 1813315 h 4687251"/>
              <a:gd name="connsiteX15261" fmla="*/ 4166713 w 8079933"/>
              <a:gd name="connsiteY15261" fmla="*/ 1813315 h 4687251"/>
              <a:gd name="connsiteX15262" fmla="*/ 4596331 w 8079933"/>
              <a:gd name="connsiteY15262" fmla="*/ 1811258 h 4687251"/>
              <a:gd name="connsiteX15263" fmla="*/ 4597090 w 8079933"/>
              <a:gd name="connsiteY15263" fmla="*/ 1815589 h 4687251"/>
              <a:gd name="connsiteX15264" fmla="*/ 4596113 w 8079933"/>
              <a:gd name="connsiteY15264" fmla="*/ 1819487 h 4687251"/>
              <a:gd name="connsiteX15265" fmla="*/ 4599043 w 8079933"/>
              <a:gd name="connsiteY15265" fmla="*/ 1823710 h 4687251"/>
              <a:gd name="connsiteX15266" fmla="*/ 4598175 w 8079933"/>
              <a:gd name="connsiteY15266" fmla="*/ 1826200 h 4687251"/>
              <a:gd name="connsiteX15267" fmla="*/ 4591122 w 8079933"/>
              <a:gd name="connsiteY15267" fmla="*/ 1826416 h 4687251"/>
              <a:gd name="connsiteX15268" fmla="*/ 4587324 w 8079933"/>
              <a:gd name="connsiteY15268" fmla="*/ 1823276 h 4687251"/>
              <a:gd name="connsiteX15269" fmla="*/ 4581138 w 8079933"/>
              <a:gd name="connsiteY15269" fmla="*/ 1825333 h 4687251"/>
              <a:gd name="connsiteX15270" fmla="*/ 4576472 w 8079933"/>
              <a:gd name="connsiteY15270" fmla="*/ 1825550 h 4687251"/>
              <a:gd name="connsiteX15271" fmla="*/ 4575821 w 8079933"/>
              <a:gd name="connsiteY15271" fmla="*/ 1834104 h 4687251"/>
              <a:gd name="connsiteX15272" fmla="*/ 4575929 w 8079933"/>
              <a:gd name="connsiteY15272" fmla="*/ 1839950 h 4687251"/>
              <a:gd name="connsiteX15273" fmla="*/ 4575930 w 8079933"/>
              <a:gd name="connsiteY15273" fmla="*/ 1839950 h 4687251"/>
              <a:gd name="connsiteX15274" fmla="*/ 4575821 w 8079933"/>
              <a:gd name="connsiteY15274" fmla="*/ 1834104 h 4687251"/>
              <a:gd name="connsiteX15275" fmla="*/ 4576473 w 8079933"/>
              <a:gd name="connsiteY15275" fmla="*/ 1825550 h 4687251"/>
              <a:gd name="connsiteX15276" fmla="*/ 4581139 w 8079933"/>
              <a:gd name="connsiteY15276" fmla="*/ 1825334 h 4687251"/>
              <a:gd name="connsiteX15277" fmla="*/ 4587324 w 8079933"/>
              <a:gd name="connsiteY15277" fmla="*/ 1823277 h 4687251"/>
              <a:gd name="connsiteX15278" fmla="*/ 4591122 w 8079933"/>
              <a:gd name="connsiteY15278" fmla="*/ 1826417 h 4687251"/>
              <a:gd name="connsiteX15279" fmla="*/ 4598176 w 8079933"/>
              <a:gd name="connsiteY15279" fmla="*/ 1826200 h 4687251"/>
              <a:gd name="connsiteX15280" fmla="*/ 4599044 w 8079933"/>
              <a:gd name="connsiteY15280" fmla="*/ 1823710 h 4687251"/>
              <a:gd name="connsiteX15281" fmla="*/ 4596114 w 8079933"/>
              <a:gd name="connsiteY15281" fmla="*/ 1819487 h 4687251"/>
              <a:gd name="connsiteX15282" fmla="*/ 4597091 w 8079933"/>
              <a:gd name="connsiteY15282" fmla="*/ 1815589 h 4687251"/>
              <a:gd name="connsiteX15283" fmla="*/ 4596331 w 8079933"/>
              <a:gd name="connsiteY15283" fmla="*/ 1811259 h 4687251"/>
              <a:gd name="connsiteX15284" fmla="*/ 6047849 w 8079933"/>
              <a:gd name="connsiteY15284" fmla="*/ 1810717 h 4687251"/>
              <a:gd name="connsiteX15285" fmla="*/ 6049384 w 8079933"/>
              <a:gd name="connsiteY15285" fmla="*/ 1812843 h 4687251"/>
              <a:gd name="connsiteX15286" fmla="*/ 6049802 w 8079933"/>
              <a:gd name="connsiteY15286" fmla="*/ 1813423 h 4687251"/>
              <a:gd name="connsiteX15287" fmla="*/ 6049802 w 8079933"/>
              <a:gd name="connsiteY15287" fmla="*/ 1813423 h 4687251"/>
              <a:gd name="connsiteX15288" fmla="*/ 6049384 w 8079933"/>
              <a:gd name="connsiteY15288" fmla="*/ 1812843 h 4687251"/>
              <a:gd name="connsiteX15289" fmla="*/ 6047850 w 8079933"/>
              <a:gd name="connsiteY15289" fmla="*/ 1810717 h 4687251"/>
              <a:gd name="connsiteX15290" fmla="*/ 7116847 w 8079933"/>
              <a:gd name="connsiteY15290" fmla="*/ 1809742 h 4687251"/>
              <a:gd name="connsiteX15291" fmla="*/ 7115870 w 8079933"/>
              <a:gd name="connsiteY15291" fmla="*/ 1814073 h 4687251"/>
              <a:gd name="connsiteX15292" fmla="*/ 7115653 w 8079933"/>
              <a:gd name="connsiteY15292" fmla="*/ 1818079 h 4687251"/>
              <a:gd name="connsiteX15293" fmla="*/ 7112940 w 8079933"/>
              <a:gd name="connsiteY15293" fmla="*/ 1820028 h 4687251"/>
              <a:gd name="connsiteX15294" fmla="*/ 7110988 w 8079933"/>
              <a:gd name="connsiteY15294" fmla="*/ 1817754 h 4687251"/>
              <a:gd name="connsiteX15295" fmla="*/ 7110445 w 8079933"/>
              <a:gd name="connsiteY15295" fmla="*/ 1814073 h 4687251"/>
              <a:gd name="connsiteX15296" fmla="*/ 7114243 w 8079933"/>
              <a:gd name="connsiteY15296" fmla="*/ 1810717 h 4687251"/>
              <a:gd name="connsiteX15297" fmla="*/ 4144328 w 8079933"/>
              <a:gd name="connsiteY15297" fmla="*/ 1807686 h 4687251"/>
              <a:gd name="connsiteX15298" fmla="*/ 4143165 w 8079933"/>
              <a:gd name="connsiteY15298" fmla="*/ 1810392 h 4687251"/>
              <a:gd name="connsiteX15299" fmla="*/ 4144685 w 8079933"/>
              <a:gd name="connsiteY15299" fmla="*/ 1813207 h 4687251"/>
              <a:gd name="connsiteX15300" fmla="*/ 4147072 w 8079933"/>
              <a:gd name="connsiteY15300" fmla="*/ 1813315 h 4687251"/>
              <a:gd name="connsiteX15301" fmla="*/ 4150871 w 8079933"/>
              <a:gd name="connsiteY15301" fmla="*/ 1813532 h 4687251"/>
              <a:gd name="connsiteX15302" fmla="*/ 4153800 w 8079933"/>
              <a:gd name="connsiteY15302" fmla="*/ 1812341 h 4687251"/>
              <a:gd name="connsiteX15303" fmla="*/ 4153799 w 8079933"/>
              <a:gd name="connsiteY15303" fmla="*/ 1812340 h 4687251"/>
              <a:gd name="connsiteX15304" fmla="*/ 4150870 w 8079933"/>
              <a:gd name="connsiteY15304" fmla="*/ 1813532 h 4687251"/>
              <a:gd name="connsiteX15305" fmla="*/ 4147071 w 8079933"/>
              <a:gd name="connsiteY15305" fmla="*/ 1813315 h 4687251"/>
              <a:gd name="connsiteX15306" fmla="*/ 4147071 w 8079933"/>
              <a:gd name="connsiteY15306" fmla="*/ 1813315 h 4687251"/>
              <a:gd name="connsiteX15307" fmla="*/ 4144685 w 8079933"/>
              <a:gd name="connsiteY15307" fmla="*/ 1813207 h 4687251"/>
              <a:gd name="connsiteX15308" fmla="*/ 4143166 w 8079933"/>
              <a:gd name="connsiteY15308" fmla="*/ 1810392 h 4687251"/>
              <a:gd name="connsiteX15309" fmla="*/ 6907193 w 8079933"/>
              <a:gd name="connsiteY15309" fmla="*/ 1806819 h 4687251"/>
              <a:gd name="connsiteX15310" fmla="*/ 6904480 w 8079933"/>
              <a:gd name="connsiteY15310" fmla="*/ 1808442 h 4687251"/>
              <a:gd name="connsiteX15311" fmla="*/ 6904424 w 8079933"/>
              <a:gd name="connsiteY15311" fmla="*/ 1808738 h 4687251"/>
              <a:gd name="connsiteX15312" fmla="*/ 6905999 w 8079933"/>
              <a:gd name="connsiteY15312" fmla="*/ 1807795 h 4687251"/>
              <a:gd name="connsiteX15313" fmla="*/ 6911642 w 8079933"/>
              <a:gd name="connsiteY15313" fmla="*/ 1808444 h 4687251"/>
              <a:gd name="connsiteX15314" fmla="*/ 6913270 w 8079933"/>
              <a:gd name="connsiteY15314" fmla="*/ 1808444 h 4687251"/>
              <a:gd name="connsiteX15315" fmla="*/ 6913270 w 8079933"/>
              <a:gd name="connsiteY15315" fmla="*/ 1807252 h 4687251"/>
              <a:gd name="connsiteX15316" fmla="*/ 6912836 w 8079933"/>
              <a:gd name="connsiteY15316" fmla="*/ 1807360 h 4687251"/>
              <a:gd name="connsiteX15317" fmla="*/ 4144576 w 8079933"/>
              <a:gd name="connsiteY15317" fmla="*/ 1806711 h 4687251"/>
              <a:gd name="connsiteX15318" fmla="*/ 4144576 w 8079933"/>
              <a:gd name="connsiteY15318" fmla="*/ 1806711 h 4687251"/>
              <a:gd name="connsiteX15319" fmla="*/ 4147289 w 8079933"/>
              <a:gd name="connsiteY15319" fmla="*/ 1808876 h 4687251"/>
              <a:gd name="connsiteX15320" fmla="*/ 5787397 w 8079933"/>
              <a:gd name="connsiteY15320" fmla="*/ 1805590 h 4687251"/>
              <a:gd name="connsiteX15321" fmla="*/ 5785455 w 8079933"/>
              <a:gd name="connsiteY15321" fmla="*/ 1809742 h 4687251"/>
              <a:gd name="connsiteX15322" fmla="*/ 5785035 w 8079933"/>
              <a:gd name="connsiteY15322" fmla="*/ 1813408 h 4687251"/>
              <a:gd name="connsiteX15323" fmla="*/ 5785456 w 8079933"/>
              <a:gd name="connsiteY15323" fmla="*/ 1809742 h 4687251"/>
              <a:gd name="connsiteX15324" fmla="*/ 6891349 w 8079933"/>
              <a:gd name="connsiteY15324" fmla="*/ 1805411 h 4687251"/>
              <a:gd name="connsiteX15325" fmla="*/ 6888202 w 8079933"/>
              <a:gd name="connsiteY15325" fmla="*/ 1806819 h 4687251"/>
              <a:gd name="connsiteX15326" fmla="*/ 6888202 w 8079933"/>
              <a:gd name="connsiteY15326" fmla="*/ 1812015 h 4687251"/>
              <a:gd name="connsiteX15327" fmla="*/ 6887876 w 8079933"/>
              <a:gd name="connsiteY15327" fmla="*/ 1816780 h 4687251"/>
              <a:gd name="connsiteX15328" fmla="*/ 6889613 w 8079933"/>
              <a:gd name="connsiteY15328" fmla="*/ 1820244 h 4687251"/>
              <a:gd name="connsiteX15329" fmla="*/ 6887876 w 8079933"/>
              <a:gd name="connsiteY15329" fmla="*/ 1824683 h 4687251"/>
              <a:gd name="connsiteX15330" fmla="*/ 6882993 w 8079933"/>
              <a:gd name="connsiteY15330" fmla="*/ 1825441 h 4687251"/>
              <a:gd name="connsiteX15331" fmla="*/ 6879195 w 8079933"/>
              <a:gd name="connsiteY15331" fmla="*/ 1830529 h 4687251"/>
              <a:gd name="connsiteX15332" fmla="*/ 6879195 w 8079933"/>
              <a:gd name="connsiteY15332" fmla="*/ 1835727 h 4687251"/>
              <a:gd name="connsiteX15333" fmla="*/ 6869971 w 8079933"/>
              <a:gd name="connsiteY15333" fmla="*/ 1843306 h 4687251"/>
              <a:gd name="connsiteX15334" fmla="*/ 6864437 w 8079933"/>
              <a:gd name="connsiteY15334" fmla="*/ 1843955 h 4687251"/>
              <a:gd name="connsiteX15335" fmla="*/ 6860205 w 8079933"/>
              <a:gd name="connsiteY15335" fmla="*/ 1846445 h 4687251"/>
              <a:gd name="connsiteX15336" fmla="*/ 6860206 w 8079933"/>
              <a:gd name="connsiteY15336" fmla="*/ 1846446 h 4687251"/>
              <a:gd name="connsiteX15337" fmla="*/ 6864438 w 8079933"/>
              <a:gd name="connsiteY15337" fmla="*/ 1843956 h 4687251"/>
              <a:gd name="connsiteX15338" fmla="*/ 6869973 w 8079933"/>
              <a:gd name="connsiteY15338" fmla="*/ 1843307 h 4687251"/>
              <a:gd name="connsiteX15339" fmla="*/ 6879196 w 8079933"/>
              <a:gd name="connsiteY15339" fmla="*/ 1835728 h 4687251"/>
              <a:gd name="connsiteX15340" fmla="*/ 6879196 w 8079933"/>
              <a:gd name="connsiteY15340" fmla="*/ 1830530 h 4687251"/>
              <a:gd name="connsiteX15341" fmla="*/ 6882995 w 8079933"/>
              <a:gd name="connsiteY15341" fmla="*/ 1825442 h 4687251"/>
              <a:gd name="connsiteX15342" fmla="*/ 6887877 w 8079933"/>
              <a:gd name="connsiteY15342" fmla="*/ 1824684 h 4687251"/>
              <a:gd name="connsiteX15343" fmla="*/ 6889614 w 8079933"/>
              <a:gd name="connsiteY15343" fmla="*/ 1820245 h 4687251"/>
              <a:gd name="connsiteX15344" fmla="*/ 6887877 w 8079933"/>
              <a:gd name="connsiteY15344" fmla="*/ 1816781 h 4687251"/>
              <a:gd name="connsiteX15345" fmla="*/ 6888203 w 8079933"/>
              <a:gd name="connsiteY15345" fmla="*/ 1812016 h 4687251"/>
              <a:gd name="connsiteX15346" fmla="*/ 6888203 w 8079933"/>
              <a:gd name="connsiteY15346" fmla="*/ 1806820 h 4687251"/>
              <a:gd name="connsiteX15347" fmla="*/ 6891350 w 8079933"/>
              <a:gd name="connsiteY15347" fmla="*/ 1805412 h 4687251"/>
              <a:gd name="connsiteX15348" fmla="*/ 6894224 w 8079933"/>
              <a:gd name="connsiteY15348" fmla="*/ 1807826 h 4687251"/>
              <a:gd name="connsiteX15349" fmla="*/ 4080701 w 8079933"/>
              <a:gd name="connsiteY15349" fmla="*/ 1801159 h 4687251"/>
              <a:gd name="connsiteX15350" fmla="*/ 4085543 w 8079933"/>
              <a:gd name="connsiteY15350" fmla="*/ 1803680 h 4687251"/>
              <a:gd name="connsiteX15351" fmla="*/ 4086411 w 8079933"/>
              <a:gd name="connsiteY15351" fmla="*/ 1808227 h 4687251"/>
              <a:gd name="connsiteX15352" fmla="*/ 4086412 w 8079933"/>
              <a:gd name="connsiteY15352" fmla="*/ 1808226 h 4687251"/>
              <a:gd name="connsiteX15353" fmla="*/ 4085543 w 8079933"/>
              <a:gd name="connsiteY15353" fmla="*/ 1803679 h 4687251"/>
              <a:gd name="connsiteX15354" fmla="*/ 4151708 w 8079933"/>
              <a:gd name="connsiteY15354" fmla="*/ 1800008 h 4687251"/>
              <a:gd name="connsiteX15355" fmla="*/ 4153474 w 8079933"/>
              <a:gd name="connsiteY15355" fmla="*/ 1801946 h 4687251"/>
              <a:gd name="connsiteX15356" fmla="*/ 4153475 w 8079933"/>
              <a:gd name="connsiteY15356" fmla="*/ 1801947 h 4687251"/>
              <a:gd name="connsiteX15357" fmla="*/ 4582657 w 8079933"/>
              <a:gd name="connsiteY15357" fmla="*/ 1799241 h 4687251"/>
              <a:gd name="connsiteX15358" fmla="*/ 4583526 w 8079933"/>
              <a:gd name="connsiteY15358" fmla="*/ 1801839 h 4687251"/>
              <a:gd name="connsiteX15359" fmla="*/ 4583526 w 8079933"/>
              <a:gd name="connsiteY15359" fmla="*/ 1801839 h 4687251"/>
              <a:gd name="connsiteX15360" fmla="*/ 4582658 w 8079933"/>
              <a:gd name="connsiteY15360" fmla="*/ 1799241 h 4687251"/>
              <a:gd name="connsiteX15361" fmla="*/ 4102579 w 8079933"/>
              <a:gd name="connsiteY15361" fmla="*/ 1798158 h 4687251"/>
              <a:gd name="connsiteX15362" fmla="*/ 4102577 w 8079933"/>
              <a:gd name="connsiteY15362" fmla="*/ 1798159 h 4687251"/>
              <a:gd name="connsiteX15363" fmla="*/ 4102471 w 8079933"/>
              <a:gd name="connsiteY15363" fmla="*/ 1798265 h 4687251"/>
              <a:gd name="connsiteX15364" fmla="*/ 4094970 w 8079933"/>
              <a:gd name="connsiteY15364" fmla="*/ 1800617 h 4687251"/>
              <a:gd name="connsiteX15365" fmla="*/ 4094908 w 8079933"/>
              <a:gd name="connsiteY15365" fmla="*/ 1800637 h 4687251"/>
              <a:gd name="connsiteX15366" fmla="*/ 4102472 w 8079933"/>
              <a:gd name="connsiteY15366" fmla="*/ 1798265 h 4687251"/>
              <a:gd name="connsiteX15367" fmla="*/ 2701847 w 8079933"/>
              <a:gd name="connsiteY15367" fmla="*/ 1798157 h 4687251"/>
              <a:gd name="connsiteX15368" fmla="*/ 2702064 w 8079933"/>
              <a:gd name="connsiteY15368" fmla="*/ 1800430 h 4687251"/>
              <a:gd name="connsiteX15369" fmla="*/ 2700544 w 8079933"/>
              <a:gd name="connsiteY15369" fmla="*/ 1802596 h 4687251"/>
              <a:gd name="connsiteX15370" fmla="*/ 2699351 w 8079933"/>
              <a:gd name="connsiteY15370" fmla="*/ 1801188 h 4687251"/>
              <a:gd name="connsiteX15371" fmla="*/ 2700002 w 8079933"/>
              <a:gd name="connsiteY15371" fmla="*/ 1798806 h 4687251"/>
              <a:gd name="connsiteX15372" fmla="*/ 6447625 w 8079933"/>
              <a:gd name="connsiteY15372" fmla="*/ 1796967 h 4687251"/>
              <a:gd name="connsiteX15373" fmla="*/ 6458369 w 8079933"/>
              <a:gd name="connsiteY15373" fmla="*/ 1804005 h 4687251"/>
              <a:gd name="connsiteX15374" fmla="*/ 6468134 w 8079933"/>
              <a:gd name="connsiteY15374" fmla="*/ 1810067 h 4687251"/>
              <a:gd name="connsiteX15375" fmla="*/ 6468134 w 8079933"/>
              <a:gd name="connsiteY15375" fmla="*/ 1810066 h 4687251"/>
              <a:gd name="connsiteX15376" fmla="*/ 6458368 w 8079933"/>
              <a:gd name="connsiteY15376" fmla="*/ 1804003 h 4687251"/>
              <a:gd name="connsiteX15377" fmla="*/ 4089232 w 8079933"/>
              <a:gd name="connsiteY15377" fmla="*/ 1796966 h 4687251"/>
              <a:gd name="connsiteX15378" fmla="*/ 4083698 w 8079933"/>
              <a:gd name="connsiteY15378" fmla="*/ 1797399 h 4687251"/>
              <a:gd name="connsiteX15379" fmla="*/ 4080551 w 8079933"/>
              <a:gd name="connsiteY15379" fmla="*/ 1801081 h 4687251"/>
              <a:gd name="connsiteX15380" fmla="*/ 4080551 w 8079933"/>
              <a:gd name="connsiteY15380" fmla="*/ 1801081 h 4687251"/>
              <a:gd name="connsiteX15381" fmla="*/ 4083699 w 8079933"/>
              <a:gd name="connsiteY15381" fmla="*/ 1797400 h 4687251"/>
              <a:gd name="connsiteX15382" fmla="*/ 4089232 w 8079933"/>
              <a:gd name="connsiteY15382" fmla="*/ 1796967 h 4687251"/>
              <a:gd name="connsiteX15383" fmla="*/ 5054812 w 8079933"/>
              <a:gd name="connsiteY15383" fmla="*/ 1796533 h 4687251"/>
              <a:gd name="connsiteX15384" fmla="*/ 5052099 w 8079933"/>
              <a:gd name="connsiteY15384" fmla="*/ 1800323 h 4687251"/>
              <a:gd name="connsiteX15385" fmla="*/ 5049496 w 8079933"/>
              <a:gd name="connsiteY15385" fmla="*/ 1799998 h 4687251"/>
              <a:gd name="connsiteX15386" fmla="*/ 5047433 w 8079933"/>
              <a:gd name="connsiteY15386" fmla="*/ 1803030 h 4687251"/>
              <a:gd name="connsiteX15387" fmla="*/ 5043418 w 8079933"/>
              <a:gd name="connsiteY15387" fmla="*/ 1806386 h 4687251"/>
              <a:gd name="connsiteX15388" fmla="*/ 5041248 w 8079933"/>
              <a:gd name="connsiteY15388" fmla="*/ 1806061 h 4687251"/>
              <a:gd name="connsiteX15389" fmla="*/ 5040380 w 8079933"/>
              <a:gd name="connsiteY15389" fmla="*/ 1808876 h 4687251"/>
              <a:gd name="connsiteX15390" fmla="*/ 5038644 w 8079933"/>
              <a:gd name="connsiteY15390" fmla="*/ 1810717 h 4687251"/>
              <a:gd name="connsiteX15391" fmla="*/ 5037016 w 8079933"/>
              <a:gd name="connsiteY15391" fmla="*/ 1808876 h 4687251"/>
              <a:gd name="connsiteX15392" fmla="*/ 5034845 w 8079933"/>
              <a:gd name="connsiteY15392" fmla="*/ 1808660 h 4687251"/>
              <a:gd name="connsiteX15393" fmla="*/ 5033326 w 8079933"/>
              <a:gd name="connsiteY15393" fmla="*/ 1811150 h 4687251"/>
              <a:gd name="connsiteX15394" fmla="*/ 5030071 w 8079933"/>
              <a:gd name="connsiteY15394" fmla="*/ 1811042 h 4687251"/>
              <a:gd name="connsiteX15395" fmla="*/ 5028878 w 8079933"/>
              <a:gd name="connsiteY15395" fmla="*/ 1808660 h 4687251"/>
              <a:gd name="connsiteX15396" fmla="*/ 5027249 w 8079933"/>
              <a:gd name="connsiteY15396" fmla="*/ 1808768 h 4687251"/>
              <a:gd name="connsiteX15397" fmla="*/ 5027033 w 8079933"/>
              <a:gd name="connsiteY15397" fmla="*/ 1808660 h 4687251"/>
              <a:gd name="connsiteX15398" fmla="*/ 5021172 w 8079933"/>
              <a:gd name="connsiteY15398" fmla="*/ 1804870 h 4687251"/>
              <a:gd name="connsiteX15399" fmla="*/ 5018183 w 8079933"/>
              <a:gd name="connsiteY15399" fmla="*/ 1805917 h 4687251"/>
              <a:gd name="connsiteX15400" fmla="*/ 5022258 w 8079933"/>
              <a:gd name="connsiteY15400" fmla="*/ 1808552 h 4687251"/>
              <a:gd name="connsiteX15401" fmla="*/ 5022258 w 8079933"/>
              <a:gd name="connsiteY15401" fmla="*/ 1810393 h 4687251"/>
              <a:gd name="connsiteX15402" fmla="*/ 5022258 w 8079933"/>
              <a:gd name="connsiteY15402" fmla="*/ 1812883 h 4687251"/>
              <a:gd name="connsiteX15403" fmla="*/ 5018677 w 8079933"/>
              <a:gd name="connsiteY15403" fmla="*/ 1813532 h 4687251"/>
              <a:gd name="connsiteX15404" fmla="*/ 5020739 w 8079933"/>
              <a:gd name="connsiteY15404" fmla="*/ 1815373 h 4687251"/>
              <a:gd name="connsiteX15405" fmla="*/ 5020739 w 8079933"/>
              <a:gd name="connsiteY15405" fmla="*/ 1818621 h 4687251"/>
              <a:gd name="connsiteX15406" fmla="*/ 5018135 w 8079933"/>
              <a:gd name="connsiteY15406" fmla="*/ 1818621 h 4687251"/>
              <a:gd name="connsiteX15407" fmla="*/ 5020414 w 8079933"/>
              <a:gd name="connsiteY15407" fmla="*/ 1820137 h 4687251"/>
              <a:gd name="connsiteX15408" fmla="*/ 5020414 w 8079933"/>
              <a:gd name="connsiteY15408" fmla="*/ 1822952 h 4687251"/>
              <a:gd name="connsiteX15409" fmla="*/ 5016615 w 8079933"/>
              <a:gd name="connsiteY15409" fmla="*/ 1821977 h 4687251"/>
              <a:gd name="connsiteX15410" fmla="*/ 5015979 w 8079933"/>
              <a:gd name="connsiteY15410" fmla="*/ 1822176 h 4687251"/>
              <a:gd name="connsiteX15411" fmla="*/ 5020088 w 8079933"/>
              <a:gd name="connsiteY15411" fmla="*/ 1823276 h 4687251"/>
              <a:gd name="connsiteX15412" fmla="*/ 5021824 w 8079933"/>
              <a:gd name="connsiteY15412" fmla="*/ 1822735 h 4687251"/>
              <a:gd name="connsiteX15413" fmla="*/ 5025622 w 8079933"/>
              <a:gd name="connsiteY15413" fmla="*/ 1823709 h 4687251"/>
              <a:gd name="connsiteX15414" fmla="*/ 5025622 w 8079933"/>
              <a:gd name="connsiteY15414" fmla="*/ 1820895 h 4687251"/>
              <a:gd name="connsiteX15415" fmla="*/ 5023343 w 8079933"/>
              <a:gd name="connsiteY15415" fmla="*/ 1819379 h 4687251"/>
              <a:gd name="connsiteX15416" fmla="*/ 5025947 w 8079933"/>
              <a:gd name="connsiteY15416" fmla="*/ 1819379 h 4687251"/>
              <a:gd name="connsiteX15417" fmla="*/ 5025947 w 8079933"/>
              <a:gd name="connsiteY15417" fmla="*/ 1816672 h 4687251"/>
              <a:gd name="connsiteX15418" fmla="*/ 5023886 w 8079933"/>
              <a:gd name="connsiteY15418" fmla="*/ 1814831 h 4687251"/>
              <a:gd name="connsiteX15419" fmla="*/ 5027467 w 8079933"/>
              <a:gd name="connsiteY15419" fmla="*/ 1814182 h 4687251"/>
              <a:gd name="connsiteX15420" fmla="*/ 5027467 w 8079933"/>
              <a:gd name="connsiteY15420" fmla="*/ 1811691 h 4687251"/>
              <a:gd name="connsiteX15421" fmla="*/ 5027467 w 8079933"/>
              <a:gd name="connsiteY15421" fmla="*/ 1809850 h 4687251"/>
              <a:gd name="connsiteX15422" fmla="*/ 5029420 w 8079933"/>
              <a:gd name="connsiteY15422" fmla="*/ 1809850 h 4687251"/>
              <a:gd name="connsiteX15423" fmla="*/ 5030614 w 8079933"/>
              <a:gd name="connsiteY15423" fmla="*/ 1812232 h 4687251"/>
              <a:gd name="connsiteX15424" fmla="*/ 5033869 w 8079933"/>
              <a:gd name="connsiteY15424" fmla="*/ 1812232 h 4687251"/>
              <a:gd name="connsiteX15425" fmla="*/ 5035388 w 8079933"/>
              <a:gd name="connsiteY15425" fmla="*/ 1809743 h 4687251"/>
              <a:gd name="connsiteX15426" fmla="*/ 5037450 w 8079933"/>
              <a:gd name="connsiteY15426" fmla="*/ 1809743 h 4687251"/>
              <a:gd name="connsiteX15427" fmla="*/ 5039078 w 8079933"/>
              <a:gd name="connsiteY15427" fmla="*/ 1811583 h 4687251"/>
              <a:gd name="connsiteX15428" fmla="*/ 5040923 w 8079933"/>
              <a:gd name="connsiteY15428" fmla="*/ 1809743 h 4687251"/>
              <a:gd name="connsiteX15429" fmla="*/ 5041683 w 8079933"/>
              <a:gd name="connsiteY15429" fmla="*/ 1806927 h 4687251"/>
              <a:gd name="connsiteX15430" fmla="*/ 5043961 w 8079933"/>
              <a:gd name="connsiteY15430" fmla="*/ 1806927 h 4687251"/>
              <a:gd name="connsiteX15431" fmla="*/ 5047976 w 8079933"/>
              <a:gd name="connsiteY15431" fmla="*/ 1803571 h 4687251"/>
              <a:gd name="connsiteX15432" fmla="*/ 5049930 w 8079933"/>
              <a:gd name="connsiteY15432" fmla="*/ 1800540 h 4687251"/>
              <a:gd name="connsiteX15433" fmla="*/ 5052534 w 8079933"/>
              <a:gd name="connsiteY15433" fmla="*/ 1800540 h 4687251"/>
              <a:gd name="connsiteX15434" fmla="*/ 5055247 w 8079933"/>
              <a:gd name="connsiteY15434" fmla="*/ 1796750 h 4687251"/>
              <a:gd name="connsiteX15435" fmla="*/ 5057342 w 8079933"/>
              <a:gd name="connsiteY15435" fmla="*/ 1796750 h 4687251"/>
              <a:gd name="connsiteX15436" fmla="*/ 5057092 w 8079933"/>
              <a:gd name="connsiteY15436" fmla="*/ 1796533 h 4687251"/>
              <a:gd name="connsiteX15437" fmla="*/ 5085306 w 8079933"/>
              <a:gd name="connsiteY15437" fmla="*/ 1796209 h 4687251"/>
              <a:gd name="connsiteX15438" fmla="*/ 5082484 w 8079933"/>
              <a:gd name="connsiteY15438" fmla="*/ 1796317 h 4687251"/>
              <a:gd name="connsiteX15439" fmla="*/ 5081131 w 8079933"/>
              <a:gd name="connsiteY15439" fmla="*/ 1797667 h 4687251"/>
              <a:gd name="connsiteX15440" fmla="*/ 5081616 w 8079933"/>
              <a:gd name="connsiteY15440" fmla="*/ 1798266 h 4687251"/>
              <a:gd name="connsiteX15441" fmla="*/ 5083136 w 8079933"/>
              <a:gd name="connsiteY15441" fmla="*/ 1796750 h 4687251"/>
              <a:gd name="connsiteX15442" fmla="*/ 5085396 w 8079933"/>
              <a:gd name="connsiteY15442" fmla="*/ 1796750 h 4687251"/>
              <a:gd name="connsiteX15443" fmla="*/ 4539467 w 8079933"/>
              <a:gd name="connsiteY15443" fmla="*/ 1795775 h 4687251"/>
              <a:gd name="connsiteX15444" fmla="*/ 4540444 w 8079933"/>
              <a:gd name="connsiteY15444" fmla="*/ 1800647 h 4687251"/>
              <a:gd name="connsiteX15445" fmla="*/ 4553249 w 8079933"/>
              <a:gd name="connsiteY15445" fmla="*/ 1810608 h 4687251"/>
              <a:gd name="connsiteX15446" fmla="*/ 4554848 w 8079933"/>
              <a:gd name="connsiteY15446" fmla="*/ 1816589 h 4687251"/>
              <a:gd name="connsiteX15447" fmla="*/ 4553250 w 8079933"/>
              <a:gd name="connsiteY15447" fmla="*/ 1810609 h 4687251"/>
              <a:gd name="connsiteX15448" fmla="*/ 4540445 w 8079933"/>
              <a:gd name="connsiteY15448" fmla="*/ 1800648 h 4687251"/>
              <a:gd name="connsiteX15449" fmla="*/ 4539468 w 8079933"/>
              <a:gd name="connsiteY15449" fmla="*/ 1795776 h 4687251"/>
              <a:gd name="connsiteX15450" fmla="*/ 4118071 w 8079933"/>
              <a:gd name="connsiteY15450" fmla="*/ 1794842 h 4687251"/>
              <a:gd name="connsiteX15451" fmla="*/ 4118315 w 8079933"/>
              <a:gd name="connsiteY15451" fmla="*/ 1796208 h 4687251"/>
              <a:gd name="connsiteX15452" fmla="*/ 4116579 w 8079933"/>
              <a:gd name="connsiteY15452" fmla="*/ 1799024 h 4687251"/>
              <a:gd name="connsiteX15453" fmla="*/ 4110719 w 8079933"/>
              <a:gd name="connsiteY15453" fmla="*/ 1796967 h 4687251"/>
              <a:gd name="connsiteX15454" fmla="*/ 4110719 w 8079933"/>
              <a:gd name="connsiteY15454" fmla="*/ 1796967 h 4687251"/>
              <a:gd name="connsiteX15455" fmla="*/ 4116579 w 8079933"/>
              <a:gd name="connsiteY15455" fmla="*/ 1799024 h 4687251"/>
              <a:gd name="connsiteX15456" fmla="*/ 4118316 w 8079933"/>
              <a:gd name="connsiteY15456" fmla="*/ 1796208 h 4687251"/>
              <a:gd name="connsiteX15457" fmla="*/ 4129710 w 8079933"/>
              <a:gd name="connsiteY15457" fmla="*/ 1794801 h 4687251"/>
              <a:gd name="connsiteX15458" fmla="*/ 4127213 w 8079933"/>
              <a:gd name="connsiteY15458" fmla="*/ 1796967 h 4687251"/>
              <a:gd name="connsiteX15459" fmla="*/ 4129710 w 8079933"/>
              <a:gd name="connsiteY15459" fmla="*/ 1794801 h 4687251"/>
              <a:gd name="connsiteX15460" fmla="*/ 4132965 w 8079933"/>
              <a:gd name="connsiteY15460" fmla="*/ 1794910 h 4687251"/>
              <a:gd name="connsiteX15461" fmla="*/ 4139476 w 8079933"/>
              <a:gd name="connsiteY15461" fmla="*/ 1799781 h 4687251"/>
              <a:gd name="connsiteX15462" fmla="*/ 4132965 w 8079933"/>
              <a:gd name="connsiteY15462" fmla="*/ 1794909 h 4687251"/>
              <a:gd name="connsiteX15463" fmla="*/ 4200354 w 8079933"/>
              <a:gd name="connsiteY15463" fmla="*/ 1794585 h 4687251"/>
              <a:gd name="connsiteX15464" fmla="*/ 4200353 w 8079933"/>
              <a:gd name="connsiteY15464" fmla="*/ 1794585 h 4687251"/>
              <a:gd name="connsiteX15465" fmla="*/ 4205888 w 8079933"/>
              <a:gd name="connsiteY15465" fmla="*/ 1796208 h 4687251"/>
              <a:gd name="connsiteX15466" fmla="*/ 5094205 w 8079933"/>
              <a:gd name="connsiteY15466" fmla="*/ 1794149 h 4687251"/>
              <a:gd name="connsiteX15467" fmla="*/ 5094095 w 8079933"/>
              <a:gd name="connsiteY15467" fmla="*/ 1794476 h 4687251"/>
              <a:gd name="connsiteX15468" fmla="*/ 5091491 w 8079933"/>
              <a:gd name="connsiteY15468" fmla="*/ 1795884 h 4687251"/>
              <a:gd name="connsiteX15469" fmla="*/ 5091382 w 8079933"/>
              <a:gd name="connsiteY15469" fmla="*/ 1798158 h 4687251"/>
              <a:gd name="connsiteX15470" fmla="*/ 5088995 w 8079933"/>
              <a:gd name="connsiteY15470" fmla="*/ 1799456 h 4687251"/>
              <a:gd name="connsiteX15471" fmla="*/ 5085957 w 8079933"/>
              <a:gd name="connsiteY15471" fmla="*/ 1798284 h 4687251"/>
              <a:gd name="connsiteX15472" fmla="*/ 5085957 w 8079933"/>
              <a:gd name="connsiteY15472" fmla="*/ 1798699 h 4687251"/>
              <a:gd name="connsiteX15473" fmla="*/ 5089321 w 8079933"/>
              <a:gd name="connsiteY15473" fmla="*/ 1799998 h 4687251"/>
              <a:gd name="connsiteX15474" fmla="*/ 5091600 w 8079933"/>
              <a:gd name="connsiteY15474" fmla="*/ 1798699 h 4687251"/>
              <a:gd name="connsiteX15475" fmla="*/ 5091600 w 8079933"/>
              <a:gd name="connsiteY15475" fmla="*/ 1796317 h 4687251"/>
              <a:gd name="connsiteX15476" fmla="*/ 5094205 w 8079933"/>
              <a:gd name="connsiteY15476" fmla="*/ 1794909 h 4687251"/>
              <a:gd name="connsiteX15477" fmla="*/ 2385847 w 8079933"/>
              <a:gd name="connsiteY15477" fmla="*/ 1793285 h 4687251"/>
              <a:gd name="connsiteX15478" fmla="*/ 2385846 w 8079933"/>
              <a:gd name="connsiteY15478" fmla="*/ 1793285 h 4687251"/>
              <a:gd name="connsiteX15479" fmla="*/ 2385087 w 8079933"/>
              <a:gd name="connsiteY15479" fmla="*/ 1798591 h 4687251"/>
              <a:gd name="connsiteX15480" fmla="*/ 2384066 w 8079933"/>
              <a:gd name="connsiteY15480" fmla="*/ 1801219 h 4687251"/>
              <a:gd name="connsiteX15481" fmla="*/ 2385087 w 8079933"/>
              <a:gd name="connsiteY15481" fmla="*/ 1798591 h 4687251"/>
              <a:gd name="connsiteX15482" fmla="*/ 5972369 w 8079933"/>
              <a:gd name="connsiteY15482" fmla="*/ 1793277 h 4687251"/>
              <a:gd name="connsiteX15483" fmla="*/ 5974926 w 8079933"/>
              <a:gd name="connsiteY15483" fmla="*/ 1797182 h 4687251"/>
              <a:gd name="connsiteX15484" fmla="*/ 5974927 w 8079933"/>
              <a:gd name="connsiteY15484" fmla="*/ 1797183 h 4687251"/>
              <a:gd name="connsiteX15485" fmla="*/ 5097785 w 8079933"/>
              <a:gd name="connsiteY15485" fmla="*/ 1791878 h 4687251"/>
              <a:gd name="connsiteX15486" fmla="*/ 5094639 w 8079933"/>
              <a:gd name="connsiteY15486" fmla="*/ 1792852 h 4687251"/>
              <a:gd name="connsiteX15487" fmla="*/ 5094523 w 8079933"/>
              <a:gd name="connsiteY15487" fmla="*/ 1793198 h 4687251"/>
              <a:gd name="connsiteX15488" fmla="*/ 5097351 w 8079933"/>
              <a:gd name="connsiteY15488" fmla="*/ 1792419 h 4687251"/>
              <a:gd name="connsiteX15489" fmla="*/ 5100390 w 8079933"/>
              <a:gd name="connsiteY15489" fmla="*/ 1793069 h 4687251"/>
              <a:gd name="connsiteX15490" fmla="*/ 5108637 w 8079933"/>
              <a:gd name="connsiteY15490" fmla="*/ 1793069 h 4687251"/>
              <a:gd name="connsiteX15491" fmla="*/ 5109288 w 8079933"/>
              <a:gd name="connsiteY15491" fmla="*/ 1795126 h 4687251"/>
              <a:gd name="connsiteX15492" fmla="*/ 5111133 w 8079933"/>
              <a:gd name="connsiteY15492" fmla="*/ 1798266 h 4687251"/>
              <a:gd name="connsiteX15493" fmla="*/ 5114280 w 8079933"/>
              <a:gd name="connsiteY15493" fmla="*/ 1798915 h 4687251"/>
              <a:gd name="connsiteX15494" fmla="*/ 5114280 w 8079933"/>
              <a:gd name="connsiteY15494" fmla="*/ 1800322 h 4687251"/>
              <a:gd name="connsiteX15495" fmla="*/ 5112327 w 8079933"/>
              <a:gd name="connsiteY15495" fmla="*/ 1803354 h 4687251"/>
              <a:gd name="connsiteX15496" fmla="*/ 5113412 w 8079933"/>
              <a:gd name="connsiteY15496" fmla="*/ 1806062 h 4687251"/>
              <a:gd name="connsiteX15497" fmla="*/ 5117101 w 8079933"/>
              <a:gd name="connsiteY15497" fmla="*/ 1809743 h 4687251"/>
              <a:gd name="connsiteX15498" fmla="*/ 5117101 w 8079933"/>
              <a:gd name="connsiteY15498" fmla="*/ 1813315 h 4687251"/>
              <a:gd name="connsiteX15499" fmla="*/ 5114388 w 8079933"/>
              <a:gd name="connsiteY15499" fmla="*/ 1818188 h 4687251"/>
              <a:gd name="connsiteX15500" fmla="*/ 5115148 w 8079933"/>
              <a:gd name="connsiteY15500" fmla="*/ 1820462 h 4687251"/>
              <a:gd name="connsiteX15501" fmla="*/ 5116668 w 8079933"/>
              <a:gd name="connsiteY15501" fmla="*/ 1822519 h 4687251"/>
              <a:gd name="connsiteX15502" fmla="*/ 5118186 w 8079933"/>
              <a:gd name="connsiteY15502" fmla="*/ 1823926 h 4687251"/>
              <a:gd name="connsiteX15503" fmla="*/ 5116342 w 8079933"/>
              <a:gd name="connsiteY15503" fmla="*/ 1826199 h 4687251"/>
              <a:gd name="connsiteX15504" fmla="*/ 5113195 w 8079933"/>
              <a:gd name="connsiteY15504" fmla="*/ 1827607 h 4687251"/>
              <a:gd name="connsiteX15505" fmla="*/ 5112435 w 8079933"/>
              <a:gd name="connsiteY15505" fmla="*/ 1832913 h 4687251"/>
              <a:gd name="connsiteX15506" fmla="*/ 5115583 w 8079933"/>
              <a:gd name="connsiteY15506" fmla="*/ 1839192 h 4687251"/>
              <a:gd name="connsiteX15507" fmla="*/ 5120140 w 8079933"/>
              <a:gd name="connsiteY15507" fmla="*/ 1840275 h 4687251"/>
              <a:gd name="connsiteX15508" fmla="*/ 5123612 w 8079933"/>
              <a:gd name="connsiteY15508" fmla="*/ 1841466 h 4687251"/>
              <a:gd name="connsiteX15509" fmla="*/ 5122853 w 8079933"/>
              <a:gd name="connsiteY15509" fmla="*/ 1843631 h 4687251"/>
              <a:gd name="connsiteX15510" fmla="*/ 5117862 w 8079933"/>
              <a:gd name="connsiteY15510" fmla="*/ 1846121 h 4687251"/>
              <a:gd name="connsiteX15511" fmla="*/ 5118078 w 8079933"/>
              <a:gd name="connsiteY15511" fmla="*/ 1846121 h 4687251"/>
              <a:gd name="connsiteX15512" fmla="*/ 5123070 w 8079933"/>
              <a:gd name="connsiteY15512" fmla="*/ 1843631 h 4687251"/>
              <a:gd name="connsiteX15513" fmla="*/ 5123830 w 8079933"/>
              <a:gd name="connsiteY15513" fmla="*/ 1841466 h 4687251"/>
              <a:gd name="connsiteX15514" fmla="*/ 5120465 w 8079933"/>
              <a:gd name="connsiteY15514" fmla="*/ 1840275 h 4687251"/>
              <a:gd name="connsiteX15515" fmla="*/ 5115907 w 8079933"/>
              <a:gd name="connsiteY15515" fmla="*/ 1839192 h 4687251"/>
              <a:gd name="connsiteX15516" fmla="*/ 5112760 w 8079933"/>
              <a:gd name="connsiteY15516" fmla="*/ 1832912 h 4687251"/>
              <a:gd name="connsiteX15517" fmla="*/ 5113520 w 8079933"/>
              <a:gd name="connsiteY15517" fmla="*/ 1827607 h 4687251"/>
              <a:gd name="connsiteX15518" fmla="*/ 5116667 w 8079933"/>
              <a:gd name="connsiteY15518" fmla="*/ 1826200 h 4687251"/>
              <a:gd name="connsiteX15519" fmla="*/ 5118404 w 8079933"/>
              <a:gd name="connsiteY15519" fmla="*/ 1823926 h 4687251"/>
              <a:gd name="connsiteX15520" fmla="*/ 5116993 w 8079933"/>
              <a:gd name="connsiteY15520" fmla="*/ 1822518 h 4687251"/>
              <a:gd name="connsiteX15521" fmla="*/ 5115365 w 8079933"/>
              <a:gd name="connsiteY15521" fmla="*/ 1820353 h 4687251"/>
              <a:gd name="connsiteX15522" fmla="*/ 5114605 w 8079933"/>
              <a:gd name="connsiteY15522" fmla="*/ 1818188 h 4687251"/>
              <a:gd name="connsiteX15523" fmla="*/ 5117318 w 8079933"/>
              <a:gd name="connsiteY15523" fmla="*/ 1813207 h 4687251"/>
              <a:gd name="connsiteX15524" fmla="*/ 5117752 w 8079933"/>
              <a:gd name="connsiteY15524" fmla="*/ 1809742 h 4687251"/>
              <a:gd name="connsiteX15525" fmla="*/ 5114062 w 8079933"/>
              <a:gd name="connsiteY15525" fmla="*/ 1806061 h 4687251"/>
              <a:gd name="connsiteX15526" fmla="*/ 5112977 w 8079933"/>
              <a:gd name="connsiteY15526" fmla="*/ 1803354 h 4687251"/>
              <a:gd name="connsiteX15527" fmla="*/ 5114931 w 8079933"/>
              <a:gd name="connsiteY15527" fmla="*/ 1800323 h 4687251"/>
              <a:gd name="connsiteX15528" fmla="*/ 5114713 w 8079933"/>
              <a:gd name="connsiteY15528" fmla="*/ 1798915 h 4687251"/>
              <a:gd name="connsiteX15529" fmla="*/ 5111567 w 8079933"/>
              <a:gd name="connsiteY15529" fmla="*/ 1798266 h 4687251"/>
              <a:gd name="connsiteX15530" fmla="*/ 5109722 w 8079933"/>
              <a:gd name="connsiteY15530" fmla="*/ 1795017 h 4687251"/>
              <a:gd name="connsiteX15531" fmla="*/ 5109071 w 8079933"/>
              <a:gd name="connsiteY15531" fmla="*/ 1792960 h 4687251"/>
              <a:gd name="connsiteX15532" fmla="*/ 5100823 w 8079933"/>
              <a:gd name="connsiteY15532" fmla="*/ 1792527 h 4687251"/>
              <a:gd name="connsiteX15533" fmla="*/ 4122656 w 8079933"/>
              <a:gd name="connsiteY15533" fmla="*/ 1791553 h 4687251"/>
              <a:gd name="connsiteX15534" fmla="*/ 4117773 w 8079933"/>
              <a:gd name="connsiteY15534" fmla="*/ 1793177 h 4687251"/>
              <a:gd name="connsiteX15535" fmla="*/ 4117773 w 8079933"/>
              <a:gd name="connsiteY15535" fmla="*/ 1793177 h 4687251"/>
              <a:gd name="connsiteX15536" fmla="*/ 4097080 w 8079933"/>
              <a:gd name="connsiteY15536" fmla="*/ 1791512 h 4687251"/>
              <a:gd name="connsiteX15537" fmla="*/ 4100409 w 8079933"/>
              <a:gd name="connsiteY15537" fmla="*/ 1793610 h 4687251"/>
              <a:gd name="connsiteX15538" fmla="*/ 4102065 w 8079933"/>
              <a:gd name="connsiteY15538" fmla="*/ 1797078 h 4687251"/>
              <a:gd name="connsiteX15539" fmla="*/ 4100410 w 8079933"/>
              <a:gd name="connsiteY15539" fmla="*/ 1793610 h 4687251"/>
              <a:gd name="connsiteX15540" fmla="*/ 4577883 w 8079933"/>
              <a:gd name="connsiteY15540" fmla="*/ 1790795 h 4687251"/>
              <a:gd name="connsiteX15541" fmla="*/ 4577340 w 8079933"/>
              <a:gd name="connsiteY15541" fmla="*/ 1796533 h 4687251"/>
              <a:gd name="connsiteX15542" fmla="*/ 4577341 w 8079933"/>
              <a:gd name="connsiteY15542" fmla="*/ 1796534 h 4687251"/>
              <a:gd name="connsiteX15543" fmla="*/ 4577883 w 8079933"/>
              <a:gd name="connsiteY15543" fmla="*/ 1790796 h 4687251"/>
              <a:gd name="connsiteX15544" fmla="*/ 5070764 w 8079933"/>
              <a:gd name="connsiteY15544" fmla="*/ 1790254 h 4687251"/>
              <a:gd name="connsiteX15545" fmla="*/ 5064471 w 8079933"/>
              <a:gd name="connsiteY15545" fmla="*/ 1790362 h 4687251"/>
              <a:gd name="connsiteX15546" fmla="*/ 5061107 w 8079933"/>
              <a:gd name="connsiteY15546" fmla="*/ 1793719 h 4687251"/>
              <a:gd name="connsiteX15547" fmla="*/ 5060022 w 8079933"/>
              <a:gd name="connsiteY15547" fmla="*/ 1797183 h 4687251"/>
              <a:gd name="connsiteX15548" fmla="*/ 5058772 w 8079933"/>
              <a:gd name="connsiteY15548" fmla="*/ 1797911 h 4687251"/>
              <a:gd name="connsiteX15549" fmla="*/ 5059153 w 8079933"/>
              <a:gd name="connsiteY15549" fmla="*/ 1798266 h 4687251"/>
              <a:gd name="connsiteX15550" fmla="*/ 5060456 w 8079933"/>
              <a:gd name="connsiteY15550" fmla="*/ 1797508 h 4687251"/>
              <a:gd name="connsiteX15551" fmla="*/ 5061541 w 8079933"/>
              <a:gd name="connsiteY15551" fmla="*/ 1794044 h 4687251"/>
              <a:gd name="connsiteX15552" fmla="*/ 5064905 w 8079933"/>
              <a:gd name="connsiteY15552" fmla="*/ 1790687 h 4687251"/>
              <a:gd name="connsiteX15553" fmla="*/ 5071090 w 8079933"/>
              <a:gd name="connsiteY15553" fmla="*/ 1790687 h 4687251"/>
              <a:gd name="connsiteX15554" fmla="*/ 5073369 w 8079933"/>
              <a:gd name="connsiteY15554" fmla="*/ 1792203 h 4687251"/>
              <a:gd name="connsiteX15555" fmla="*/ 5076408 w 8079933"/>
              <a:gd name="connsiteY15555" fmla="*/ 1792203 h 4687251"/>
              <a:gd name="connsiteX15556" fmla="*/ 5078209 w 8079933"/>
              <a:gd name="connsiteY15556" fmla="*/ 1790723 h 4687251"/>
              <a:gd name="connsiteX15557" fmla="*/ 5077818 w 8079933"/>
              <a:gd name="connsiteY15557" fmla="*/ 1790254 h 4687251"/>
              <a:gd name="connsiteX15558" fmla="*/ 5075974 w 8079933"/>
              <a:gd name="connsiteY15558" fmla="*/ 1791878 h 4687251"/>
              <a:gd name="connsiteX15559" fmla="*/ 5072935 w 8079933"/>
              <a:gd name="connsiteY15559" fmla="*/ 1791878 h 4687251"/>
              <a:gd name="connsiteX15560" fmla="*/ 4212399 w 8079933"/>
              <a:gd name="connsiteY15560" fmla="*/ 1788521 h 4687251"/>
              <a:gd name="connsiteX15561" fmla="*/ 4212399 w 8079933"/>
              <a:gd name="connsiteY15561" fmla="*/ 1788522 h 4687251"/>
              <a:gd name="connsiteX15562" fmla="*/ 4218258 w 8079933"/>
              <a:gd name="connsiteY15562" fmla="*/ 1791553 h 4687251"/>
              <a:gd name="connsiteX15563" fmla="*/ 4307676 w 8079933"/>
              <a:gd name="connsiteY15563" fmla="*/ 1786356 h 4687251"/>
              <a:gd name="connsiteX15564" fmla="*/ 4308327 w 8079933"/>
              <a:gd name="connsiteY15564" fmla="*/ 1791120 h 4687251"/>
              <a:gd name="connsiteX15565" fmla="*/ 4307459 w 8079933"/>
              <a:gd name="connsiteY15565" fmla="*/ 1795992 h 4687251"/>
              <a:gd name="connsiteX15566" fmla="*/ 4297150 w 8079933"/>
              <a:gd name="connsiteY15566" fmla="*/ 1795775 h 4687251"/>
              <a:gd name="connsiteX15567" fmla="*/ 4296065 w 8079933"/>
              <a:gd name="connsiteY15567" fmla="*/ 1797832 h 4687251"/>
              <a:gd name="connsiteX15568" fmla="*/ 4300405 w 8079933"/>
              <a:gd name="connsiteY15568" fmla="*/ 1802812 h 4687251"/>
              <a:gd name="connsiteX15569" fmla="*/ 4298344 w 8079933"/>
              <a:gd name="connsiteY15569" fmla="*/ 1808334 h 4687251"/>
              <a:gd name="connsiteX15570" fmla="*/ 4297801 w 8079933"/>
              <a:gd name="connsiteY15570" fmla="*/ 1812882 h 4687251"/>
              <a:gd name="connsiteX15571" fmla="*/ 4300405 w 8079933"/>
              <a:gd name="connsiteY15571" fmla="*/ 1817321 h 4687251"/>
              <a:gd name="connsiteX15572" fmla="*/ 4298226 w 8079933"/>
              <a:gd name="connsiteY15572" fmla="*/ 1820071 h 4687251"/>
              <a:gd name="connsiteX15573" fmla="*/ 4300406 w 8079933"/>
              <a:gd name="connsiteY15573" fmla="*/ 1817321 h 4687251"/>
              <a:gd name="connsiteX15574" fmla="*/ 4297801 w 8079933"/>
              <a:gd name="connsiteY15574" fmla="*/ 1812882 h 4687251"/>
              <a:gd name="connsiteX15575" fmla="*/ 4298344 w 8079933"/>
              <a:gd name="connsiteY15575" fmla="*/ 1808335 h 4687251"/>
              <a:gd name="connsiteX15576" fmla="*/ 4300406 w 8079933"/>
              <a:gd name="connsiteY15576" fmla="*/ 1802813 h 4687251"/>
              <a:gd name="connsiteX15577" fmla="*/ 4296065 w 8079933"/>
              <a:gd name="connsiteY15577" fmla="*/ 1797833 h 4687251"/>
              <a:gd name="connsiteX15578" fmla="*/ 4297150 w 8079933"/>
              <a:gd name="connsiteY15578" fmla="*/ 1795776 h 4687251"/>
              <a:gd name="connsiteX15579" fmla="*/ 4307459 w 8079933"/>
              <a:gd name="connsiteY15579" fmla="*/ 1795992 h 4687251"/>
              <a:gd name="connsiteX15580" fmla="*/ 4308327 w 8079933"/>
              <a:gd name="connsiteY15580" fmla="*/ 1791119 h 4687251"/>
              <a:gd name="connsiteX15581" fmla="*/ 2604181 w 8079933"/>
              <a:gd name="connsiteY15581" fmla="*/ 1785814 h 4687251"/>
              <a:gd name="connsiteX15582" fmla="*/ 2604616 w 8079933"/>
              <a:gd name="connsiteY15582" fmla="*/ 1787763 h 4687251"/>
              <a:gd name="connsiteX15583" fmla="*/ 2602445 w 8079933"/>
              <a:gd name="connsiteY15583" fmla="*/ 1791119 h 4687251"/>
              <a:gd name="connsiteX15584" fmla="*/ 2606569 w 8079933"/>
              <a:gd name="connsiteY15584" fmla="*/ 1791552 h 4687251"/>
              <a:gd name="connsiteX15585" fmla="*/ 2606678 w 8079933"/>
              <a:gd name="connsiteY15585" fmla="*/ 1794692 h 4687251"/>
              <a:gd name="connsiteX15586" fmla="*/ 2601469 w 8079933"/>
              <a:gd name="connsiteY15586" fmla="*/ 1803571 h 4687251"/>
              <a:gd name="connsiteX15587" fmla="*/ 2598322 w 8079933"/>
              <a:gd name="connsiteY15587" fmla="*/ 1806494 h 4687251"/>
              <a:gd name="connsiteX15588" fmla="*/ 2603205 w 8079933"/>
              <a:gd name="connsiteY15588" fmla="*/ 1808226 h 4687251"/>
              <a:gd name="connsiteX15589" fmla="*/ 2605158 w 8079933"/>
              <a:gd name="connsiteY15589" fmla="*/ 1811691 h 4687251"/>
              <a:gd name="connsiteX15590" fmla="*/ 2602880 w 8079933"/>
              <a:gd name="connsiteY15590" fmla="*/ 1814830 h 4687251"/>
              <a:gd name="connsiteX15591" fmla="*/ 2604507 w 8079933"/>
              <a:gd name="connsiteY15591" fmla="*/ 1816779 h 4687251"/>
              <a:gd name="connsiteX15592" fmla="*/ 2607437 w 8079933"/>
              <a:gd name="connsiteY15592" fmla="*/ 1814830 h 4687251"/>
              <a:gd name="connsiteX15593" fmla="*/ 2607437 w 8079933"/>
              <a:gd name="connsiteY15593" fmla="*/ 1811366 h 4687251"/>
              <a:gd name="connsiteX15594" fmla="*/ 2610259 w 8079933"/>
              <a:gd name="connsiteY15594" fmla="*/ 1810608 h 4687251"/>
              <a:gd name="connsiteX15595" fmla="*/ 2614924 w 8079933"/>
              <a:gd name="connsiteY15595" fmla="*/ 1812232 h 4687251"/>
              <a:gd name="connsiteX15596" fmla="*/ 2615792 w 8079933"/>
              <a:gd name="connsiteY15596" fmla="*/ 1817537 h 4687251"/>
              <a:gd name="connsiteX15597" fmla="*/ 2617095 w 8079933"/>
              <a:gd name="connsiteY15597" fmla="*/ 1819595 h 4687251"/>
              <a:gd name="connsiteX15598" fmla="*/ 2612537 w 8079933"/>
              <a:gd name="connsiteY15598" fmla="*/ 1821002 h 4687251"/>
              <a:gd name="connsiteX15599" fmla="*/ 2610150 w 8079933"/>
              <a:gd name="connsiteY15599" fmla="*/ 1822951 h 4687251"/>
              <a:gd name="connsiteX15600" fmla="*/ 2603531 w 8079933"/>
              <a:gd name="connsiteY15600" fmla="*/ 1823817 h 4687251"/>
              <a:gd name="connsiteX15601" fmla="*/ 2596152 w 8079933"/>
              <a:gd name="connsiteY15601" fmla="*/ 1829339 h 4687251"/>
              <a:gd name="connsiteX15602" fmla="*/ 2591919 w 8079933"/>
              <a:gd name="connsiteY15602" fmla="*/ 1829339 h 4687251"/>
              <a:gd name="connsiteX15603" fmla="*/ 2590184 w 8079933"/>
              <a:gd name="connsiteY15603" fmla="*/ 1826740 h 4687251"/>
              <a:gd name="connsiteX15604" fmla="*/ 2588447 w 8079933"/>
              <a:gd name="connsiteY15604" fmla="*/ 1827498 h 4687251"/>
              <a:gd name="connsiteX15605" fmla="*/ 2587471 w 8079933"/>
              <a:gd name="connsiteY15605" fmla="*/ 1831938 h 4687251"/>
              <a:gd name="connsiteX15606" fmla="*/ 2586168 w 8079933"/>
              <a:gd name="connsiteY15606" fmla="*/ 1832912 h 4687251"/>
              <a:gd name="connsiteX15607" fmla="*/ 2584432 w 8079933"/>
              <a:gd name="connsiteY15607" fmla="*/ 1829555 h 4687251"/>
              <a:gd name="connsiteX15608" fmla="*/ 2577053 w 8079933"/>
              <a:gd name="connsiteY15608" fmla="*/ 1826091 h 4687251"/>
              <a:gd name="connsiteX15609" fmla="*/ 2576619 w 8079933"/>
              <a:gd name="connsiteY15609" fmla="*/ 1819595 h 4687251"/>
              <a:gd name="connsiteX15610" fmla="*/ 2574883 w 8079933"/>
              <a:gd name="connsiteY15610" fmla="*/ 1816563 h 4687251"/>
              <a:gd name="connsiteX15611" fmla="*/ 2576728 w 8079933"/>
              <a:gd name="connsiteY15611" fmla="*/ 1813098 h 4687251"/>
              <a:gd name="connsiteX15612" fmla="*/ 2583347 w 8079933"/>
              <a:gd name="connsiteY15612" fmla="*/ 1809309 h 4687251"/>
              <a:gd name="connsiteX15613" fmla="*/ 2588447 w 8079933"/>
              <a:gd name="connsiteY15613" fmla="*/ 1801838 h 4687251"/>
              <a:gd name="connsiteX15614" fmla="*/ 2590617 w 8079933"/>
              <a:gd name="connsiteY15614" fmla="*/ 1799565 h 4687251"/>
              <a:gd name="connsiteX15615" fmla="*/ 2593005 w 8079933"/>
              <a:gd name="connsiteY15615" fmla="*/ 1794584 h 4687251"/>
              <a:gd name="connsiteX15616" fmla="*/ 2598539 w 8079933"/>
              <a:gd name="connsiteY15616" fmla="*/ 1790145 h 4687251"/>
              <a:gd name="connsiteX15617" fmla="*/ 2600601 w 8079933"/>
              <a:gd name="connsiteY15617" fmla="*/ 1786463 h 4687251"/>
              <a:gd name="connsiteX15618" fmla="*/ 4433106 w 8079933"/>
              <a:gd name="connsiteY15618" fmla="*/ 1783068 h 4687251"/>
              <a:gd name="connsiteX15619" fmla="*/ 4433121 w 8079933"/>
              <a:gd name="connsiteY15619" fmla="*/ 1783108 h 4687251"/>
              <a:gd name="connsiteX15620" fmla="*/ 4433121 w 8079933"/>
              <a:gd name="connsiteY15620" fmla="*/ 1783107 h 4687251"/>
              <a:gd name="connsiteX15621" fmla="*/ 2696096 w 8079933"/>
              <a:gd name="connsiteY15621" fmla="*/ 1782566 h 4687251"/>
              <a:gd name="connsiteX15622" fmla="*/ 2695770 w 8079933"/>
              <a:gd name="connsiteY15622" fmla="*/ 1784298 h 4687251"/>
              <a:gd name="connsiteX15623" fmla="*/ 2697399 w 8079933"/>
              <a:gd name="connsiteY15623" fmla="*/ 1786139 h 4687251"/>
              <a:gd name="connsiteX15624" fmla="*/ 2697182 w 8079933"/>
              <a:gd name="connsiteY15624" fmla="*/ 1788954 h 4687251"/>
              <a:gd name="connsiteX15625" fmla="*/ 2695553 w 8079933"/>
              <a:gd name="connsiteY15625" fmla="*/ 1790361 h 4687251"/>
              <a:gd name="connsiteX15626" fmla="*/ 2695662 w 8079933"/>
              <a:gd name="connsiteY15626" fmla="*/ 1792527 h 4687251"/>
              <a:gd name="connsiteX15627" fmla="*/ 2697073 w 8079933"/>
              <a:gd name="connsiteY15627" fmla="*/ 1793826 h 4687251"/>
              <a:gd name="connsiteX15628" fmla="*/ 2697941 w 8079933"/>
              <a:gd name="connsiteY15628" fmla="*/ 1795775 h 4687251"/>
              <a:gd name="connsiteX15629" fmla="*/ 2696422 w 8079933"/>
              <a:gd name="connsiteY15629" fmla="*/ 1798915 h 4687251"/>
              <a:gd name="connsiteX15630" fmla="*/ 2695228 w 8079933"/>
              <a:gd name="connsiteY15630" fmla="*/ 1799023 h 4687251"/>
              <a:gd name="connsiteX15631" fmla="*/ 2694034 w 8079933"/>
              <a:gd name="connsiteY15631" fmla="*/ 1796316 h 4687251"/>
              <a:gd name="connsiteX15632" fmla="*/ 2695119 w 8079933"/>
              <a:gd name="connsiteY15632" fmla="*/ 1793068 h 4687251"/>
              <a:gd name="connsiteX15633" fmla="*/ 2694359 w 8079933"/>
              <a:gd name="connsiteY15633" fmla="*/ 1789387 h 4687251"/>
              <a:gd name="connsiteX15634" fmla="*/ 2692949 w 8079933"/>
              <a:gd name="connsiteY15634" fmla="*/ 1786247 h 4687251"/>
              <a:gd name="connsiteX15635" fmla="*/ 2694468 w 8079933"/>
              <a:gd name="connsiteY15635" fmla="*/ 1784190 h 4687251"/>
              <a:gd name="connsiteX15636" fmla="*/ 2526375 w 8079933"/>
              <a:gd name="connsiteY15636" fmla="*/ 1780726 h 4687251"/>
              <a:gd name="connsiteX15637" fmla="*/ 2527352 w 8079933"/>
              <a:gd name="connsiteY15637" fmla="*/ 1784840 h 4687251"/>
              <a:gd name="connsiteX15638" fmla="*/ 2524314 w 8079933"/>
              <a:gd name="connsiteY15638" fmla="*/ 1787872 h 4687251"/>
              <a:gd name="connsiteX15639" fmla="*/ 2524205 w 8079933"/>
              <a:gd name="connsiteY15639" fmla="*/ 1789604 h 4687251"/>
              <a:gd name="connsiteX15640" fmla="*/ 2526050 w 8079933"/>
              <a:gd name="connsiteY15640" fmla="*/ 1791986 h 4687251"/>
              <a:gd name="connsiteX15641" fmla="*/ 2526158 w 8079933"/>
              <a:gd name="connsiteY15641" fmla="*/ 1796101 h 4687251"/>
              <a:gd name="connsiteX15642" fmla="*/ 2529848 w 8079933"/>
              <a:gd name="connsiteY15642" fmla="*/ 1798158 h 4687251"/>
              <a:gd name="connsiteX15643" fmla="*/ 2530500 w 8079933"/>
              <a:gd name="connsiteY15643" fmla="*/ 1795126 h 4687251"/>
              <a:gd name="connsiteX15644" fmla="*/ 2534080 w 8079933"/>
              <a:gd name="connsiteY15644" fmla="*/ 1795018 h 4687251"/>
              <a:gd name="connsiteX15645" fmla="*/ 2540157 w 8079933"/>
              <a:gd name="connsiteY15645" fmla="*/ 1799781 h 4687251"/>
              <a:gd name="connsiteX15646" fmla="*/ 2542762 w 8079933"/>
              <a:gd name="connsiteY15646" fmla="*/ 1799781 h 4687251"/>
              <a:gd name="connsiteX15647" fmla="*/ 2544932 w 8079933"/>
              <a:gd name="connsiteY15647" fmla="*/ 1801947 h 4687251"/>
              <a:gd name="connsiteX15648" fmla="*/ 2551878 w 8079933"/>
              <a:gd name="connsiteY15648" fmla="*/ 1801730 h 4687251"/>
              <a:gd name="connsiteX15649" fmla="*/ 2553722 w 8079933"/>
              <a:gd name="connsiteY15649" fmla="*/ 1799565 h 4687251"/>
              <a:gd name="connsiteX15650" fmla="*/ 2557846 w 8079933"/>
              <a:gd name="connsiteY15650" fmla="*/ 1800864 h 4687251"/>
              <a:gd name="connsiteX15651" fmla="*/ 2564682 w 8079933"/>
              <a:gd name="connsiteY15651" fmla="*/ 1801081 h 4687251"/>
              <a:gd name="connsiteX15652" fmla="*/ 2562620 w 8079933"/>
              <a:gd name="connsiteY15652" fmla="*/ 1802597 h 4687251"/>
              <a:gd name="connsiteX15653" fmla="*/ 2557520 w 8079933"/>
              <a:gd name="connsiteY15653" fmla="*/ 1803571 h 4687251"/>
              <a:gd name="connsiteX15654" fmla="*/ 2556001 w 8079933"/>
              <a:gd name="connsiteY15654" fmla="*/ 1808010 h 4687251"/>
              <a:gd name="connsiteX15655" fmla="*/ 2556761 w 8079933"/>
              <a:gd name="connsiteY15655" fmla="*/ 1810934 h 4687251"/>
              <a:gd name="connsiteX15656" fmla="*/ 2555024 w 8079933"/>
              <a:gd name="connsiteY15656" fmla="*/ 1815589 h 4687251"/>
              <a:gd name="connsiteX15657" fmla="*/ 2551551 w 8079933"/>
              <a:gd name="connsiteY15657" fmla="*/ 1816889 h 4687251"/>
              <a:gd name="connsiteX15658" fmla="*/ 2545908 w 8079933"/>
              <a:gd name="connsiteY15658" fmla="*/ 1814290 h 4687251"/>
              <a:gd name="connsiteX15659" fmla="*/ 2544607 w 8079933"/>
              <a:gd name="connsiteY15659" fmla="*/ 1809418 h 4687251"/>
              <a:gd name="connsiteX15660" fmla="*/ 2533863 w 8079933"/>
              <a:gd name="connsiteY15660" fmla="*/ 1808118 h 4687251"/>
              <a:gd name="connsiteX15661" fmla="*/ 2530825 w 8079933"/>
              <a:gd name="connsiteY15661" fmla="*/ 1806603 h 4687251"/>
              <a:gd name="connsiteX15662" fmla="*/ 2530391 w 8079933"/>
              <a:gd name="connsiteY15662" fmla="*/ 1803896 h 4687251"/>
              <a:gd name="connsiteX15663" fmla="*/ 2528220 w 8079933"/>
              <a:gd name="connsiteY15663" fmla="*/ 1801514 h 4687251"/>
              <a:gd name="connsiteX15664" fmla="*/ 2526375 w 8079933"/>
              <a:gd name="connsiteY15664" fmla="*/ 1801406 h 4687251"/>
              <a:gd name="connsiteX15665" fmla="*/ 2524639 w 8079933"/>
              <a:gd name="connsiteY15665" fmla="*/ 1798483 h 4687251"/>
              <a:gd name="connsiteX15666" fmla="*/ 2521817 w 8079933"/>
              <a:gd name="connsiteY15666" fmla="*/ 1797508 h 4687251"/>
              <a:gd name="connsiteX15667" fmla="*/ 2521817 w 8079933"/>
              <a:gd name="connsiteY15667" fmla="*/ 1793935 h 4687251"/>
              <a:gd name="connsiteX15668" fmla="*/ 2519647 w 8079933"/>
              <a:gd name="connsiteY15668" fmla="*/ 1791877 h 4687251"/>
              <a:gd name="connsiteX15669" fmla="*/ 2517151 w 8079933"/>
              <a:gd name="connsiteY15669" fmla="*/ 1792419 h 4687251"/>
              <a:gd name="connsiteX15670" fmla="*/ 2515741 w 8079933"/>
              <a:gd name="connsiteY15670" fmla="*/ 1790687 h 4687251"/>
              <a:gd name="connsiteX15671" fmla="*/ 2517586 w 8079933"/>
              <a:gd name="connsiteY15671" fmla="*/ 1786897 h 4687251"/>
              <a:gd name="connsiteX15672" fmla="*/ 4515214 w 8079933"/>
              <a:gd name="connsiteY15672" fmla="*/ 1778546 h 4687251"/>
              <a:gd name="connsiteX15673" fmla="*/ 4512783 w 8079933"/>
              <a:gd name="connsiteY15673" fmla="*/ 1778967 h 4687251"/>
              <a:gd name="connsiteX15674" fmla="*/ 4512758 w 8079933"/>
              <a:gd name="connsiteY15674" fmla="*/ 1778972 h 4687251"/>
              <a:gd name="connsiteX15675" fmla="*/ 4430843 w 8079933"/>
              <a:gd name="connsiteY15675" fmla="*/ 1777261 h 4687251"/>
              <a:gd name="connsiteX15676" fmla="*/ 4430852 w 8079933"/>
              <a:gd name="connsiteY15676" fmla="*/ 1777285 h 4687251"/>
              <a:gd name="connsiteX15677" fmla="*/ 4430846 w 8079933"/>
              <a:gd name="connsiteY15677" fmla="*/ 1777270 h 4687251"/>
              <a:gd name="connsiteX15678" fmla="*/ 4367578 w 8079933"/>
              <a:gd name="connsiteY15678" fmla="*/ 1776719 h 4687251"/>
              <a:gd name="connsiteX15679" fmla="*/ 4359873 w 8079933"/>
              <a:gd name="connsiteY15679" fmla="*/ 1783215 h 4687251"/>
              <a:gd name="connsiteX15680" fmla="*/ 4353145 w 8079933"/>
              <a:gd name="connsiteY15680" fmla="*/ 1785489 h 4687251"/>
              <a:gd name="connsiteX15681" fmla="*/ 4353145 w 8079933"/>
              <a:gd name="connsiteY15681" fmla="*/ 1785490 h 4687251"/>
              <a:gd name="connsiteX15682" fmla="*/ 4359872 w 8079933"/>
              <a:gd name="connsiteY15682" fmla="*/ 1783216 h 4687251"/>
              <a:gd name="connsiteX15683" fmla="*/ 4367577 w 8079933"/>
              <a:gd name="connsiteY15683" fmla="*/ 1776720 h 4687251"/>
              <a:gd name="connsiteX15684" fmla="*/ 4374306 w 8079933"/>
              <a:gd name="connsiteY15684" fmla="*/ 1783757 h 4687251"/>
              <a:gd name="connsiteX15685" fmla="*/ 4374306 w 8079933"/>
              <a:gd name="connsiteY15685" fmla="*/ 1783756 h 4687251"/>
              <a:gd name="connsiteX15686" fmla="*/ 4567492 w 8079933"/>
              <a:gd name="connsiteY15686" fmla="*/ 1776571 h 4687251"/>
              <a:gd name="connsiteX15687" fmla="*/ 4570287 w 8079933"/>
              <a:gd name="connsiteY15687" fmla="*/ 1779319 h 4687251"/>
              <a:gd name="connsiteX15688" fmla="*/ 4571485 w 8079933"/>
              <a:gd name="connsiteY15688" fmla="*/ 1779927 h 4687251"/>
              <a:gd name="connsiteX15689" fmla="*/ 4570287 w 8079933"/>
              <a:gd name="connsiteY15689" fmla="*/ 1779319 h 4687251"/>
              <a:gd name="connsiteX15690" fmla="*/ 4378331 w 8079933"/>
              <a:gd name="connsiteY15690" fmla="*/ 1776538 h 4687251"/>
              <a:gd name="connsiteX15691" fmla="*/ 4374849 w 8079933"/>
              <a:gd name="connsiteY15691" fmla="*/ 1779317 h 4687251"/>
              <a:gd name="connsiteX15692" fmla="*/ 4374849 w 8079933"/>
              <a:gd name="connsiteY15692" fmla="*/ 1779318 h 4687251"/>
              <a:gd name="connsiteX15693" fmla="*/ 4526989 w 8079933"/>
              <a:gd name="connsiteY15693" fmla="*/ 1776503 h 4687251"/>
              <a:gd name="connsiteX15694" fmla="*/ 4526988 w 8079933"/>
              <a:gd name="connsiteY15694" fmla="*/ 1776503 h 4687251"/>
              <a:gd name="connsiteX15695" fmla="*/ 4529701 w 8079933"/>
              <a:gd name="connsiteY15695" fmla="*/ 1787221 h 4687251"/>
              <a:gd name="connsiteX15696" fmla="*/ 4529702 w 8079933"/>
              <a:gd name="connsiteY15696" fmla="*/ 1787222 h 4687251"/>
              <a:gd name="connsiteX15697" fmla="*/ 4429351 w 8079933"/>
              <a:gd name="connsiteY15697" fmla="*/ 1776260 h 4687251"/>
              <a:gd name="connsiteX15698" fmla="*/ 4430843 w 8079933"/>
              <a:gd name="connsiteY15698" fmla="*/ 1777261 h 4687251"/>
              <a:gd name="connsiteX15699" fmla="*/ 4430846 w 8079933"/>
              <a:gd name="connsiteY15699" fmla="*/ 1777270 h 4687251"/>
              <a:gd name="connsiteX15700" fmla="*/ 4430869 w 8079933"/>
              <a:gd name="connsiteY15700" fmla="*/ 1777329 h 4687251"/>
              <a:gd name="connsiteX15701" fmla="*/ 4430843 w 8079933"/>
              <a:gd name="connsiteY15701" fmla="*/ 1777261 h 4687251"/>
              <a:gd name="connsiteX15702" fmla="*/ 4430843 w 8079933"/>
              <a:gd name="connsiteY15702" fmla="*/ 1777261 h 4687251"/>
              <a:gd name="connsiteX15703" fmla="*/ 4098348 w 8079933"/>
              <a:gd name="connsiteY15703" fmla="*/ 1775854 h 4687251"/>
              <a:gd name="connsiteX15704" fmla="*/ 4098348 w 8079933"/>
              <a:gd name="connsiteY15704" fmla="*/ 1775854 h 4687251"/>
              <a:gd name="connsiteX15705" fmla="*/ 4095852 w 8079933"/>
              <a:gd name="connsiteY15705" fmla="*/ 1784082 h 4687251"/>
              <a:gd name="connsiteX15706" fmla="*/ 4096276 w 8079933"/>
              <a:gd name="connsiteY15706" fmla="*/ 1790847 h 4687251"/>
              <a:gd name="connsiteX15707" fmla="*/ 4095853 w 8079933"/>
              <a:gd name="connsiteY15707" fmla="*/ 1784082 h 4687251"/>
              <a:gd name="connsiteX15708" fmla="*/ 4516680 w 8079933"/>
              <a:gd name="connsiteY15708" fmla="*/ 1772281 h 4687251"/>
              <a:gd name="connsiteX15709" fmla="*/ 4516680 w 8079933"/>
              <a:gd name="connsiteY15709" fmla="*/ 1772281 h 4687251"/>
              <a:gd name="connsiteX15710" fmla="*/ 4517374 w 8079933"/>
              <a:gd name="connsiteY15710" fmla="*/ 1776958 h 4687251"/>
              <a:gd name="connsiteX15711" fmla="*/ 4391235 w 8079933"/>
              <a:gd name="connsiteY15711" fmla="*/ 1768815 h 4687251"/>
              <a:gd name="connsiteX15712" fmla="*/ 4383313 w 8079933"/>
              <a:gd name="connsiteY15712" fmla="*/ 1769465 h 4687251"/>
              <a:gd name="connsiteX15713" fmla="*/ 4381993 w 8079933"/>
              <a:gd name="connsiteY15713" fmla="*/ 1771510 h 4687251"/>
              <a:gd name="connsiteX15714" fmla="*/ 4383312 w 8079933"/>
              <a:gd name="connsiteY15714" fmla="*/ 1769466 h 4687251"/>
              <a:gd name="connsiteX15715" fmla="*/ 4391234 w 8079933"/>
              <a:gd name="connsiteY15715" fmla="*/ 1768816 h 4687251"/>
              <a:gd name="connsiteX15716" fmla="*/ 4396769 w 8079933"/>
              <a:gd name="connsiteY15716" fmla="*/ 1770332 h 4687251"/>
              <a:gd name="connsiteX15717" fmla="*/ 4406426 w 8079933"/>
              <a:gd name="connsiteY15717" fmla="*/ 1769682 h 4687251"/>
              <a:gd name="connsiteX15718" fmla="*/ 4413806 w 8079933"/>
              <a:gd name="connsiteY15718" fmla="*/ 1771415 h 4687251"/>
              <a:gd name="connsiteX15719" fmla="*/ 4413871 w 8079933"/>
              <a:gd name="connsiteY15719" fmla="*/ 1771372 h 4687251"/>
              <a:gd name="connsiteX15720" fmla="*/ 4413806 w 8079933"/>
              <a:gd name="connsiteY15720" fmla="*/ 1771414 h 4687251"/>
              <a:gd name="connsiteX15721" fmla="*/ 4406427 w 8079933"/>
              <a:gd name="connsiteY15721" fmla="*/ 1769681 h 4687251"/>
              <a:gd name="connsiteX15722" fmla="*/ 4396769 w 8079933"/>
              <a:gd name="connsiteY15722" fmla="*/ 1770331 h 4687251"/>
              <a:gd name="connsiteX15723" fmla="*/ 2580308 w 8079933"/>
              <a:gd name="connsiteY15723" fmla="*/ 1768383 h 4687251"/>
              <a:gd name="connsiteX15724" fmla="*/ 2581176 w 8079933"/>
              <a:gd name="connsiteY15724" fmla="*/ 1768491 h 4687251"/>
              <a:gd name="connsiteX15725" fmla="*/ 2580850 w 8079933"/>
              <a:gd name="connsiteY15725" fmla="*/ 1769682 h 4687251"/>
              <a:gd name="connsiteX15726" fmla="*/ 2580742 w 8079933"/>
              <a:gd name="connsiteY15726" fmla="*/ 1769032 h 4687251"/>
              <a:gd name="connsiteX15727" fmla="*/ 2577161 w 8079933"/>
              <a:gd name="connsiteY15727" fmla="*/ 1771956 h 4687251"/>
              <a:gd name="connsiteX15728" fmla="*/ 2576076 w 8079933"/>
              <a:gd name="connsiteY15728" fmla="*/ 1774879 h 4687251"/>
              <a:gd name="connsiteX15729" fmla="*/ 2574449 w 8079933"/>
              <a:gd name="connsiteY15729" fmla="*/ 1775746 h 4687251"/>
              <a:gd name="connsiteX15730" fmla="*/ 2575317 w 8079933"/>
              <a:gd name="connsiteY15730" fmla="*/ 1777478 h 4687251"/>
              <a:gd name="connsiteX15731" fmla="*/ 2577270 w 8079933"/>
              <a:gd name="connsiteY15731" fmla="*/ 1777695 h 4687251"/>
              <a:gd name="connsiteX15732" fmla="*/ 2576402 w 8079933"/>
              <a:gd name="connsiteY15732" fmla="*/ 1778778 h 4687251"/>
              <a:gd name="connsiteX15733" fmla="*/ 2574882 w 8079933"/>
              <a:gd name="connsiteY15733" fmla="*/ 1778128 h 4687251"/>
              <a:gd name="connsiteX15734" fmla="*/ 2573472 w 8079933"/>
              <a:gd name="connsiteY15734" fmla="*/ 1775638 h 4687251"/>
              <a:gd name="connsiteX15735" fmla="*/ 2576185 w 8079933"/>
              <a:gd name="connsiteY15735" fmla="*/ 1771740 h 4687251"/>
              <a:gd name="connsiteX15736" fmla="*/ 4517195 w 8079933"/>
              <a:gd name="connsiteY15736" fmla="*/ 1767422 h 4687251"/>
              <a:gd name="connsiteX15737" fmla="*/ 4517548 w 8079933"/>
              <a:gd name="connsiteY15737" fmla="*/ 1769466 h 4687251"/>
              <a:gd name="connsiteX15738" fmla="*/ 4517548 w 8079933"/>
              <a:gd name="connsiteY15738" fmla="*/ 1769466 h 4687251"/>
              <a:gd name="connsiteX15739" fmla="*/ 2406140 w 8079933"/>
              <a:gd name="connsiteY15739" fmla="*/ 1767409 h 4687251"/>
              <a:gd name="connsiteX15740" fmla="*/ 2406139 w 8079933"/>
              <a:gd name="connsiteY15740" fmla="*/ 1767409 h 4687251"/>
              <a:gd name="connsiteX15741" fmla="*/ 2404294 w 8079933"/>
              <a:gd name="connsiteY15741" fmla="*/ 1771198 h 4687251"/>
              <a:gd name="connsiteX15742" fmla="*/ 2395830 w 8079933"/>
              <a:gd name="connsiteY15742" fmla="*/ 1780618 h 4687251"/>
              <a:gd name="connsiteX15743" fmla="*/ 2391598 w 8079933"/>
              <a:gd name="connsiteY15743" fmla="*/ 1786032 h 4687251"/>
              <a:gd name="connsiteX15744" fmla="*/ 2391923 w 8079933"/>
              <a:gd name="connsiteY15744" fmla="*/ 1790038 h 4687251"/>
              <a:gd name="connsiteX15745" fmla="*/ 2389004 w 8079933"/>
              <a:gd name="connsiteY15745" fmla="*/ 1791598 h 4687251"/>
              <a:gd name="connsiteX15746" fmla="*/ 2391924 w 8079933"/>
              <a:gd name="connsiteY15746" fmla="*/ 1790037 h 4687251"/>
              <a:gd name="connsiteX15747" fmla="*/ 2391598 w 8079933"/>
              <a:gd name="connsiteY15747" fmla="*/ 1786031 h 4687251"/>
              <a:gd name="connsiteX15748" fmla="*/ 2395831 w 8079933"/>
              <a:gd name="connsiteY15748" fmla="*/ 1780618 h 4687251"/>
              <a:gd name="connsiteX15749" fmla="*/ 2404295 w 8079933"/>
              <a:gd name="connsiteY15749" fmla="*/ 1771198 h 4687251"/>
              <a:gd name="connsiteX15750" fmla="*/ 5783267 w 8079933"/>
              <a:gd name="connsiteY15750" fmla="*/ 1767374 h 4687251"/>
              <a:gd name="connsiteX15751" fmla="*/ 5782959 w 8079933"/>
              <a:gd name="connsiteY15751" fmla="*/ 1772389 h 4687251"/>
              <a:gd name="connsiteX15752" fmla="*/ 5780680 w 8079933"/>
              <a:gd name="connsiteY15752" fmla="*/ 1786140 h 4687251"/>
              <a:gd name="connsiteX15753" fmla="*/ 5780680 w 8079933"/>
              <a:gd name="connsiteY15753" fmla="*/ 1796858 h 4687251"/>
              <a:gd name="connsiteX15754" fmla="*/ 5779487 w 8079933"/>
              <a:gd name="connsiteY15754" fmla="*/ 1800431 h 4687251"/>
              <a:gd name="connsiteX15755" fmla="*/ 5782200 w 8079933"/>
              <a:gd name="connsiteY15755" fmla="*/ 1802488 h 4687251"/>
              <a:gd name="connsiteX15756" fmla="*/ 5787734 w 8079933"/>
              <a:gd name="connsiteY15756" fmla="*/ 1804870 h 4687251"/>
              <a:gd name="connsiteX15757" fmla="*/ 5787734 w 8079933"/>
              <a:gd name="connsiteY15757" fmla="*/ 1804870 h 4687251"/>
              <a:gd name="connsiteX15758" fmla="*/ 5782201 w 8079933"/>
              <a:gd name="connsiteY15758" fmla="*/ 1802487 h 4687251"/>
              <a:gd name="connsiteX15759" fmla="*/ 5779488 w 8079933"/>
              <a:gd name="connsiteY15759" fmla="*/ 1800430 h 4687251"/>
              <a:gd name="connsiteX15760" fmla="*/ 5780681 w 8079933"/>
              <a:gd name="connsiteY15760" fmla="*/ 1796858 h 4687251"/>
              <a:gd name="connsiteX15761" fmla="*/ 5780681 w 8079933"/>
              <a:gd name="connsiteY15761" fmla="*/ 1786138 h 4687251"/>
              <a:gd name="connsiteX15762" fmla="*/ 5782960 w 8079933"/>
              <a:gd name="connsiteY15762" fmla="*/ 1772389 h 4687251"/>
              <a:gd name="connsiteX15763" fmla="*/ 2707815 w 8079933"/>
              <a:gd name="connsiteY15763" fmla="*/ 1766759 h 4687251"/>
              <a:gd name="connsiteX15764" fmla="*/ 2708900 w 8079933"/>
              <a:gd name="connsiteY15764" fmla="*/ 1768383 h 4687251"/>
              <a:gd name="connsiteX15765" fmla="*/ 2707924 w 8079933"/>
              <a:gd name="connsiteY15765" fmla="*/ 1769466 h 4687251"/>
              <a:gd name="connsiteX15766" fmla="*/ 2706622 w 8079933"/>
              <a:gd name="connsiteY15766" fmla="*/ 1769033 h 4687251"/>
              <a:gd name="connsiteX15767" fmla="*/ 2431423 w 8079933"/>
              <a:gd name="connsiteY15767" fmla="*/ 1766543 h 4687251"/>
              <a:gd name="connsiteX15768" fmla="*/ 2429362 w 8079933"/>
              <a:gd name="connsiteY15768" fmla="*/ 1768491 h 4687251"/>
              <a:gd name="connsiteX15769" fmla="*/ 2431423 w 8079933"/>
              <a:gd name="connsiteY15769" fmla="*/ 1766543 h 4687251"/>
              <a:gd name="connsiteX15770" fmla="*/ 4979610 w 8079933"/>
              <a:gd name="connsiteY15770" fmla="*/ 1766434 h 4687251"/>
              <a:gd name="connsiteX15771" fmla="*/ 4979310 w 8079933"/>
              <a:gd name="connsiteY15771" fmla="*/ 1767017 h 4687251"/>
              <a:gd name="connsiteX15772" fmla="*/ 4990029 w 8079933"/>
              <a:gd name="connsiteY15772" fmla="*/ 1770008 h 4687251"/>
              <a:gd name="connsiteX15773" fmla="*/ 5000881 w 8079933"/>
              <a:gd name="connsiteY15773" fmla="*/ 1780835 h 4687251"/>
              <a:gd name="connsiteX15774" fmla="*/ 5010538 w 8079933"/>
              <a:gd name="connsiteY15774" fmla="*/ 1796967 h 4687251"/>
              <a:gd name="connsiteX15775" fmla="*/ 5001423 w 8079933"/>
              <a:gd name="connsiteY15775" fmla="*/ 1796967 h 4687251"/>
              <a:gd name="connsiteX15776" fmla="*/ 5001423 w 8079933"/>
              <a:gd name="connsiteY15776" fmla="*/ 1800974 h 4687251"/>
              <a:gd name="connsiteX15777" fmla="*/ 5010213 w 8079933"/>
              <a:gd name="connsiteY15777" fmla="*/ 1806820 h 4687251"/>
              <a:gd name="connsiteX15778" fmla="*/ 5013201 w 8079933"/>
              <a:gd name="connsiteY15778" fmla="*/ 1805826 h 4687251"/>
              <a:gd name="connsiteX15779" fmla="*/ 5006197 w 8079933"/>
              <a:gd name="connsiteY15779" fmla="*/ 1801081 h 4687251"/>
              <a:gd name="connsiteX15780" fmla="*/ 5006740 w 8079933"/>
              <a:gd name="connsiteY15780" fmla="*/ 1797183 h 4687251"/>
              <a:gd name="connsiteX15781" fmla="*/ 5015855 w 8079933"/>
              <a:gd name="connsiteY15781" fmla="*/ 1797183 h 4687251"/>
              <a:gd name="connsiteX15782" fmla="*/ 5006197 w 8079933"/>
              <a:gd name="connsiteY15782" fmla="*/ 1781050 h 4687251"/>
              <a:gd name="connsiteX15783" fmla="*/ 4995129 w 8079933"/>
              <a:gd name="connsiteY15783" fmla="*/ 1770657 h 4687251"/>
              <a:gd name="connsiteX15784" fmla="*/ 6910991 w 8079933"/>
              <a:gd name="connsiteY15784" fmla="*/ 1766414 h 4687251"/>
              <a:gd name="connsiteX15785" fmla="*/ 6910990 w 8079933"/>
              <a:gd name="connsiteY15785" fmla="*/ 1766434 h 4687251"/>
              <a:gd name="connsiteX15786" fmla="*/ 6910991 w 8079933"/>
              <a:gd name="connsiteY15786" fmla="*/ 1766444 h 4687251"/>
              <a:gd name="connsiteX15787" fmla="*/ 4306243 w 8079933"/>
              <a:gd name="connsiteY15787" fmla="*/ 1765841 h 4687251"/>
              <a:gd name="connsiteX15788" fmla="*/ 4305831 w 8079933"/>
              <a:gd name="connsiteY15788" fmla="*/ 1773038 h 4687251"/>
              <a:gd name="connsiteX15789" fmla="*/ 4307242 w 8079933"/>
              <a:gd name="connsiteY15789" fmla="*/ 1783108 h 4687251"/>
              <a:gd name="connsiteX15790" fmla="*/ 4307242 w 8079933"/>
              <a:gd name="connsiteY15790" fmla="*/ 1783108 h 4687251"/>
              <a:gd name="connsiteX15791" fmla="*/ 4323194 w 8079933"/>
              <a:gd name="connsiteY15791" fmla="*/ 1792311 h 4687251"/>
              <a:gd name="connsiteX15792" fmla="*/ 4331658 w 8079933"/>
              <a:gd name="connsiteY15792" fmla="*/ 1793935 h 4687251"/>
              <a:gd name="connsiteX15793" fmla="*/ 4339689 w 8079933"/>
              <a:gd name="connsiteY15793" fmla="*/ 1791119 h 4687251"/>
              <a:gd name="connsiteX15794" fmla="*/ 4352493 w 8079933"/>
              <a:gd name="connsiteY15794" fmla="*/ 1789929 h 4687251"/>
              <a:gd name="connsiteX15795" fmla="*/ 4339689 w 8079933"/>
              <a:gd name="connsiteY15795" fmla="*/ 1791119 h 4687251"/>
              <a:gd name="connsiteX15796" fmla="*/ 4331659 w 8079933"/>
              <a:gd name="connsiteY15796" fmla="*/ 1793934 h 4687251"/>
              <a:gd name="connsiteX15797" fmla="*/ 4323194 w 8079933"/>
              <a:gd name="connsiteY15797" fmla="*/ 1792310 h 4687251"/>
              <a:gd name="connsiteX15798" fmla="*/ 4307242 w 8079933"/>
              <a:gd name="connsiteY15798" fmla="*/ 1783107 h 4687251"/>
              <a:gd name="connsiteX15799" fmla="*/ 4305832 w 8079933"/>
              <a:gd name="connsiteY15799" fmla="*/ 1773038 h 4687251"/>
              <a:gd name="connsiteX15800" fmla="*/ 4103086 w 8079933"/>
              <a:gd name="connsiteY15800" fmla="*/ 1765013 h 4687251"/>
              <a:gd name="connsiteX15801" fmla="*/ 4101603 w 8079933"/>
              <a:gd name="connsiteY15801" fmla="*/ 1769141 h 4687251"/>
              <a:gd name="connsiteX15802" fmla="*/ 4101603 w 8079933"/>
              <a:gd name="connsiteY15802" fmla="*/ 1772823 h 4687251"/>
              <a:gd name="connsiteX15803" fmla="*/ 4101604 w 8079933"/>
              <a:gd name="connsiteY15803" fmla="*/ 1772822 h 4687251"/>
              <a:gd name="connsiteX15804" fmla="*/ 4101604 w 8079933"/>
              <a:gd name="connsiteY15804" fmla="*/ 1769141 h 4687251"/>
              <a:gd name="connsiteX15805" fmla="*/ 4520639 w 8079933"/>
              <a:gd name="connsiteY15805" fmla="*/ 1764174 h 4687251"/>
              <a:gd name="connsiteX15806" fmla="*/ 4520260 w 8079933"/>
              <a:gd name="connsiteY15806" fmla="*/ 1764702 h 4687251"/>
              <a:gd name="connsiteX15807" fmla="*/ 4520261 w 8079933"/>
              <a:gd name="connsiteY15807" fmla="*/ 1764702 h 4687251"/>
              <a:gd name="connsiteX15808" fmla="*/ 4318745 w 8079933"/>
              <a:gd name="connsiteY15808" fmla="*/ 1761778 h 4687251"/>
              <a:gd name="connsiteX15809" fmla="*/ 4313211 w 8079933"/>
              <a:gd name="connsiteY15809" fmla="*/ 1761886 h 4687251"/>
              <a:gd name="connsiteX15810" fmla="*/ 4311677 w 8079933"/>
              <a:gd name="connsiteY15810" fmla="*/ 1762926 h 4687251"/>
              <a:gd name="connsiteX15811" fmla="*/ 4313211 w 8079933"/>
              <a:gd name="connsiteY15811" fmla="*/ 1761886 h 4687251"/>
              <a:gd name="connsiteX15812" fmla="*/ 4318745 w 8079933"/>
              <a:gd name="connsiteY15812" fmla="*/ 1761778 h 4687251"/>
              <a:gd name="connsiteX15813" fmla="*/ 4534585 w 8079933"/>
              <a:gd name="connsiteY15813" fmla="*/ 1761563 h 4687251"/>
              <a:gd name="connsiteX15814" fmla="*/ 4534585 w 8079933"/>
              <a:gd name="connsiteY15814" fmla="*/ 1761563 h 4687251"/>
              <a:gd name="connsiteX15815" fmla="*/ 4534851 w 8079933"/>
              <a:gd name="connsiteY15815" fmla="*/ 1761986 h 4687251"/>
              <a:gd name="connsiteX15816" fmla="*/ 4234753 w 8079933"/>
              <a:gd name="connsiteY15816" fmla="*/ 1761237 h 4687251"/>
              <a:gd name="connsiteX15817" fmla="*/ 4246906 w 8079933"/>
              <a:gd name="connsiteY15817" fmla="*/ 1768166 h 4687251"/>
              <a:gd name="connsiteX15818" fmla="*/ 4246907 w 8079933"/>
              <a:gd name="connsiteY15818" fmla="*/ 1768166 h 4687251"/>
              <a:gd name="connsiteX15819" fmla="*/ 5972322 w 8079933"/>
              <a:gd name="connsiteY15819" fmla="*/ 1760479 h 4687251"/>
              <a:gd name="connsiteX15820" fmla="*/ 5971236 w 8079933"/>
              <a:gd name="connsiteY15820" fmla="*/ 1763510 h 4687251"/>
              <a:gd name="connsiteX15821" fmla="*/ 5972430 w 8079933"/>
              <a:gd name="connsiteY15821" fmla="*/ 1769140 h 4687251"/>
              <a:gd name="connsiteX15822" fmla="*/ 5975143 w 8079933"/>
              <a:gd name="connsiteY15822" fmla="*/ 1772280 h 4687251"/>
              <a:gd name="connsiteX15823" fmla="*/ 5973624 w 8079933"/>
              <a:gd name="connsiteY15823" fmla="*/ 1776611 h 4687251"/>
              <a:gd name="connsiteX15824" fmla="*/ 5970260 w 8079933"/>
              <a:gd name="connsiteY15824" fmla="*/ 1779318 h 4687251"/>
              <a:gd name="connsiteX15825" fmla="*/ 5968741 w 8079933"/>
              <a:gd name="connsiteY15825" fmla="*/ 1781808 h 4687251"/>
              <a:gd name="connsiteX15826" fmla="*/ 5968741 w 8079933"/>
              <a:gd name="connsiteY15826" fmla="*/ 1785273 h 4687251"/>
              <a:gd name="connsiteX15827" fmla="*/ 5969459 w 8079933"/>
              <a:gd name="connsiteY15827" fmla="*/ 1788406 h 4687251"/>
              <a:gd name="connsiteX15828" fmla="*/ 5968742 w 8079933"/>
              <a:gd name="connsiteY15828" fmla="*/ 1785273 h 4687251"/>
              <a:gd name="connsiteX15829" fmla="*/ 5968742 w 8079933"/>
              <a:gd name="connsiteY15829" fmla="*/ 1781809 h 4687251"/>
              <a:gd name="connsiteX15830" fmla="*/ 5970261 w 8079933"/>
              <a:gd name="connsiteY15830" fmla="*/ 1779318 h 4687251"/>
              <a:gd name="connsiteX15831" fmla="*/ 5973624 w 8079933"/>
              <a:gd name="connsiteY15831" fmla="*/ 1776612 h 4687251"/>
              <a:gd name="connsiteX15832" fmla="*/ 5975144 w 8079933"/>
              <a:gd name="connsiteY15832" fmla="*/ 1772281 h 4687251"/>
              <a:gd name="connsiteX15833" fmla="*/ 5972431 w 8079933"/>
              <a:gd name="connsiteY15833" fmla="*/ 1769141 h 4687251"/>
              <a:gd name="connsiteX15834" fmla="*/ 5971238 w 8079933"/>
              <a:gd name="connsiteY15834" fmla="*/ 1763511 h 4687251"/>
              <a:gd name="connsiteX15835" fmla="*/ 5972322 w 8079933"/>
              <a:gd name="connsiteY15835" fmla="*/ 1760479 h 4687251"/>
              <a:gd name="connsiteX15836" fmla="*/ 4292809 w 8079933"/>
              <a:gd name="connsiteY15836" fmla="*/ 1760262 h 4687251"/>
              <a:gd name="connsiteX15837" fmla="*/ 4286515 w 8079933"/>
              <a:gd name="connsiteY15837" fmla="*/ 1761561 h 4687251"/>
              <a:gd name="connsiteX15838" fmla="*/ 4292809 w 8079933"/>
              <a:gd name="connsiteY15838" fmla="*/ 1760263 h 4687251"/>
              <a:gd name="connsiteX15839" fmla="*/ 4296933 w 8079933"/>
              <a:gd name="connsiteY15839" fmla="*/ 1763294 h 4687251"/>
              <a:gd name="connsiteX15840" fmla="*/ 4300291 w 8079933"/>
              <a:gd name="connsiteY15840" fmla="*/ 1764073 h 4687251"/>
              <a:gd name="connsiteX15841" fmla="*/ 4296933 w 8079933"/>
              <a:gd name="connsiteY15841" fmla="*/ 1763294 h 4687251"/>
              <a:gd name="connsiteX15842" fmla="*/ 4334401 w 8079933"/>
              <a:gd name="connsiteY15842" fmla="*/ 1759778 h 4687251"/>
              <a:gd name="connsiteX15843" fmla="*/ 4330031 w 8079933"/>
              <a:gd name="connsiteY15843" fmla="*/ 1760370 h 4687251"/>
              <a:gd name="connsiteX15844" fmla="*/ 4322983 w 8079933"/>
              <a:gd name="connsiteY15844" fmla="*/ 1762882 h 4687251"/>
              <a:gd name="connsiteX15845" fmla="*/ 4330031 w 8079933"/>
              <a:gd name="connsiteY15845" fmla="*/ 1760370 h 4687251"/>
              <a:gd name="connsiteX15846" fmla="*/ 4265138 w 8079933"/>
              <a:gd name="connsiteY15846" fmla="*/ 1756798 h 4687251"/>
              <a:gd name="connsiteX15847" fmla="*/ 4273927 w 8079933"/>
              <a:gd name="connsiteY15847" fmla="*/ 1757122 h 4687251"/>
              <a:gd name="connsiteX15848" fmla="*/ 4279787 w 8079933"/>
              <a:gd name="connsiteY15848" fmla="*/ 1761237 h 4687251"/>
              <a:gd name="connsiteX15849" fmla="*/ 4273928 w 8079933"/>
              <a:gd name="connsiteY15849" fmla="*/ 1757122 h 4687251"/>
              <a:gd name="connsiteX15850" fmla="*/ 5971996 w 8079933"/>
              <a:gd name="connsiteY15850" fmla="*/ 1755065 h 4687251"/>
              <a:gd name="connsiteX15851" fmla="*/ 5972306 w 8079933"/>
              <a:gd name="connsiteY15851" fmla="*/ 1760220 h 4687251"/>
              <a:gd name="connsiteX15852" fmla="*/ 5971997 w 8079933"/>
              <a:gd name="connsiteY15852" fmla="*/ 1755066 h 4687251"/>
              <a:gd name="connsiteX15853" fmla="*/ 4345224 w 8079933"/>
              <a:gd name="connsiteY15853" fmla="*/ 1752792 h 4687251"/>
              <a:gd name="connsiteX15854" fmla="*/ 4338820 w 8079933"/>
              <a:gd name="connsiteY15854" fmla="*/ 1759179 h 4687251"/>
              <a:gd name="connsiteX15855" fmla="*/ 4338821 w 8079933"/>
              <a:gd name="connsiteY15855" fmla="*/ 1759179 h 4687251"/>
              <a:gd name="connsiteX15856" fmla="*/ 4083156 w 8079933"/>
              <a:gd name="connsiteY15856" fmla="*/ 1750951 h 4687251"/>
              <a:gd name="connsiteX15857" fmla="*/ 4080070 w 8079933"/>
              <a:gd name="connsiteY15857" fmla="*/ 1752033 h 4687251"/>
              <a:gd name="connsiteX15858" fmla="*/ 4083156 w 8079933"/>
              <a:gd name="connsiteY15858" fmla="*/ 1750952 h 4687251"/>
              <a:gd name="connsiteX15859" fmla="*/ 4087279 w 8079933"/>
              <a:gd name="connsiteY15859" fmla="*/ 1750952 h 4687251"/>
              <a:gd name="connsiteX15860" fmla="*/ 4090426 w 8079933"/>
              <a:gd name="connsiteY15860" fmla="*/ 1752142 h 4687251"/>
              <a:gd name="connsiteX15861" fmla="*/ 4087280 w 8079933"/>
              <a:gd name="connsiteY15861" fmla="*/ 1750951 h 4687251"/>
              <a:gd name="connsiteX15862" fmla="*/ 4094658 w 8079933"/>
              <a:gd name="connsiteY15862" fmla="*/ 1750735 h 4687251"/>
              <a:gd name="connsiteX15863" fmla="*/ 4091356 w 8079933"/>
              <a:gd name="connsiteY15863" fmla="*/ 1751833 h 4687251"/>
              <a:gd name="connsiteX15864" fmla="*/ 4094658 w 8079933"/>
              <a:gd name="connsiteY15864" fmla="*/ 1750735 h 4687251"/>
              <a:gd name="connsiteX15865" fmla="*/ 4100409 w 8079933"/>
              <a:gd name="connsiteY15865" fmla="*/ 1753334 h 4687251"/>
              <a:gd name="connsiteX15866" fmla="*/ 4104859 w 8079933"/>
              <a:gd name="connsiteY15866" fmla="*/ 1753334 h 4687251"/>
              <a:gd name="connsiteX15867" fmla="*/ 4109525 w 8079933"/>
              <a:gd name="connsiteY15867" fmla="*/ 1756473 h 4687251"/>
              <a:gd name="connsiteX15868" fmla="*/ 4104859 w 8079933"/>
              <a:gd name="connsiteY15868" fmla="*/ 1753333 h 4687251"/>
              <a:gd name="connsiteX15869" fmla="*/ 4100410 w 8079933"/>
              <a:gd name="connsiteY15869" fmla="*/ 1753333 h 4687251"/>
              <a:gd name="connsiteX15870" fmla="*/ 5787410 w 8079933"/>
              <a:gd name="connsiteY15870" fmla="*/ 1749436 h 4687251"/>
              <a:gd name="connsiteX15871" fmla="*/ 5787408 w 8079933"/>
              <a:gd name="connsiteY15871" fmla="*/ 1749436 h 4687251"/>
              <a:gd name="connsiteX15872" fmla="*/ 5785346 w 8079933"/>
              <a:gd name="connsiteY15872" fmla="*/ 1760263 h 4687251"/>
              <a:gd name="connsiteX15873" fmla="*/ 5783760 w 8079933"/>
              <a:gd name="connsiteY15873" fmla="*/ 1765512 h 4687251"/>
              <a:gd name="connsiteX15874" fmla="*/ 5785347 w 8079933"/>
              <a:gd name="connsiteY15874" fmla="*/ 1760262 h 4687251"/>
              <a:gd name="connsiteX15875" fmla="*/ 5835807 w 8079933"/>
              <a:gd name="connsiteY15875" fmla="*/ 1749003 h 4687251"/>
              <a:gd name="connsiteX15876" fmla="*/ 5831683 w 8079933"/>
              <a:gd name="connsiteY15876" fmla="*/ 1753875 h 4687251"/>
              <a:gd name="connsiteX15877" fmla="*/ 5831256 w 8079933"/>
              <a:gd name="connsiteY15877" fmla="*/ 1754021 h 4687251"/>
              <a:gd name="connsiteX15878" fmla="*/ 5831685 w 8079933"/>
              <a:gd name="connsiteY15878" fmla="*/ 1753874 h 4687251"/>
              <a:gd name="connsiteX15879" fmla="*/ 4075017 w 8079933"/>
              <a:gd name="connsiteY15879" fmla="*/ 1748894 h 4687251"/>
              <a:gd name="connsiteX15880" fmla="*/ 4075017 w 8079933"/>
              <a:gd name="connsiteY15880" fmla="*/ 1748895 h 4687251"/>
              <a:gd name="connsiteX15881" fmla="*/ 4079140 w 8079933"/>
              <a:gd name="connsiteY15881" fmla="*/ 1752359 h 4687251"/>
              <a:gd name="connsiteX15882" fmla="*/ 4079141 w 8079933"/>
              <a:gd name="connsiteY15882" fmla="*/ 1752359 h 4687251"/>
              <a:gd name="connsiteX15883" fmla="*/ 4219414 w 8079933"/>
              <a:gd name="connsiteY15883" fmla="*/ 1748039 h 4687251"/>
              <a:gd name="connsiteX15884" fmla="*/ 4221840 w 8079933"/>
              <a:gd name="connsiteY15884" fmla="*/ 1749652 h 4687251"/>
              <a:gd name="connsiteX15885" fmla="*/ 4231498 w 8079933"/>
              <a:gd name="connsiteY15885" fmla="*/ 1760696 h 4687251"/>
              <a:gd name="connsiteX15886" fmla="*/ 4221840 w 8079933"/>
              <a:gd name="connsiteY15886" fmla="*/ 1749652 h 4687251"/>
              <a:gd name="connsiteX15887" fmla="*/ 5967114 w 8079933"/>
              <a:gd name="connsiteY15887" fmla="*/ 1747271 h 4687251"/>
              <a:gd name="connsiteX15888" fmla="*/ 5970043 w 8079933"/>
              <a:gd name="connsiteY15888" fmla="*/ 1752142 h 4687251"/>
              <a:gd name="connsiteX15889" fmla="*/ 5971776 w 8079933"/>
              <a:gd name="connsiteY15889" fmla="*/ 1754735 h 4687251"/>
              <a:gd name="connsiteX15890" fmla="*/ 5970044 w 8079933"/>
              <a:gd name="connsiteY15890" fmla="*/ 1752143 h 4687251"/>
              <a:gd name="connsiteX15891" fmla="*/ 4381920 w 8079933"/>
              <a:gd name="connsiteY15891" fmla="*/ 1743253 h 4687251"/>
              <a:gd name="connsiteX15892" fmla="*/ 4383855 w 8079933"/>
              <a:gd name="connsiteY15892" fmla="*/ 1743480 h 4687251"/>
              <a:gd name="connsiteX15893" fmla="*/ 4389607 w 8079933"/>
              <a:gd name="connsiteY15893" fmla="*/ 1743480 h 4687251"/>
              <a:gd name="connsiteX15894" fmla="*/ 4389606 w 8079933"/>
              <a:gd name="connsiteY15894" fmla="*/ 1743480 h 4687251"/>
              <a:gd name="connsiteX15895" fmla="*/ 4383854 w 8079933"/>
              <a:gd name="connsiteY15895" fmla="*/ 1743480 h 4687251"/>
              <a:gd name="connsiteX15896" fmla="*/ 4380165 w 8079933"/>
              <a:gd name="connsiteY15896" fmla="*/ 1743047 h 4687251"/>
              <a:gd name="connsiteX15897" fmla="*/ 4376367 w 8079933"/>
              <a:gd name="connsiteY15897" fmla="*/ 1744346 h 4687251"/>
              <a:gd name="connsiteX15898" fmla="*/ 4373545 w 8079933"/>
              <a:gd name="connsiteY15898" fmla="*/ 1748677 h 4687251"/>
              <a:gd name="connsiteX15899" fmla="*/ 4373546 w 8079933"/>
              <a:gd name="connsiteY15899" fmla="*/ 1748677 h 4687251"/>
              <a:gd name="connsiteX15900" fmla="*/ 4376368 w 8079933"/>
              <a:gd name="connsiteY15900" fmla="*/ 1744346 h 4687251"/>
              <a:gd name="connsiteX15901" fmla="*/ 4396008 w 8079933"/>
              <a:gd name="connsiteY15901" fmla="*/ 1742722 h 4687251"/>
              <a:gd name="connsiteX15902" fmla="*/ 4392971 w 8079933"/>
              <a:gd name="connsiteY15902" fmla="*/ 1745753 h 4687251"/>
              <a:gd name="connsiteX15903" fmla="*/ 4392971 w 8079933"/>
              <a:gd name="connsiteY15903" fmla="*/ 1745754 h 4687251"/>
              <a:gd name="connsiteX15904" fmla="*/ 4396009 w 8079933"/>
              <a:gd name="connsiteY15904" fmla="*/ 1742722 h 4687251"/>
              <a:gd name="connsiteX15905" fmla="*/ 4406534 w 8079933"/>
              <a:gd name="connsiteY15905" fmla="*/ 1742506 h 4687251"/>
              <a:gd name="connsiteX15906" fmla="*/ 4403605 w 8079933"/>
              <a:gd name="connsiteY15906" fmla="*/ 1743913 h 4687251"/>
              <a:gd name="connsiteX15907" fmla="*/ 4403605 w 8079933"/>
              <a:gd name="connsiteY15907" fmla="*/ 1743913 h 4687251"/>
              <a:gd name="connsiteX15908" fmla="*/ 4406535 w 8079933"/>
              <a:gd name="connsiteY15908" fmla="*/ 1742506 h 4687251"/>
              <a:gd name="connsiteX15909" fmla="*/ 4061126 w 8079933"/>
              <a:gd name="connsiteY15909" fmla="*/ 1742181 h 4687251"/>
              <a:gd name="connsiteX15910" fmla="*/ 4067095 w 8079933"/>
              <a:gd name="connsiteY15910" fmla="*/ 1743373 h 4687251"/>
              <a:gd name="connsiteX15911" fmla="*/ 4070567 w 8079933"/>
              <a:gd name="connsiteY15911" fmla="*/ 1742507 h 4687251"/>
              <a:gd name="connsiteX15912" fmla="*/ 4074195 w 8079933"/>
              <a:gd name="connsiteY15912" fmla="*/ 1745331 h 4687251"/>
              <a:gd name="connsiteX15913" fmla="*/ 4070568 w 8079933"/>
              <a:gd name="connsiteY15913" fmla="*/ 1742506 h 4687251"/>
              <a:gd name="connsiteX15914" fmla="*/ 4070567 w 8079933"/>
              <a:gd name="connsiteY15914" fmla="*/ 1742506 h 4687251"/>
              <a:gd name="connsiteX15915" fmla="*/ 4067096 w 8079933"/>
              <a:gd name="connsiteY15915" fmla="*/ 1743372 h 4687251"/>
              <a:gd name="connsiteX15916" fmla="*/ 4068669 w 8079933"/>
              <a:gd name="connsiteY15916" fmla="*/ 1742967 h 4687251"/>
              <a:gd name="connsiteX15917" fmla="*/ 4067095 w 8079933"/>
              <a:gd name="connsiteY15917" fmla="*/ 1743372 h 4687251"/>
              <a:gd name="connsiteX15918" fmla="*/ 4366508 w 8079933"/>
              <a:gd name="connsiteY15918" fmla="*/ 1742044 h 4687251"/>
              <a:gd name="connsiteX15919" fmla="*/ 4366510 w 8079933"/>
              <a:gd name="connsiteY15919" fmla="*/ 1742051 h 4687251"/>
              <a:gd name="connsiteX15920" fmla="*/ 4367794 w 8079933"/>
              <a:gd name="connsiteY15920" fmla="*/ 1748136 h 4687251"/>
              <a:gd name="connsiteX15921" fmla="*/ 4367794 w 8079933"/>
              <a:gd name="connsiteY15921" fmla="*/ 1748352 h 4687251"/>
              <a:gd name="connsiteX15922" fmla="*/ 4356726 w 8079933"/>
              <a:gd name="connsiteY15922" fmla="*/ 1747270 h 4687251"/>
              <a:gd name="connsiteX15923" fmla="*/ 4351625 w 8079933"/>
              <a:gd name="connsiteY15923" fmla="*/ 1751925 h 4687251"/>
              <a:gd name="connsiteX15924" fmla="*/ 4349272 w 8079933"/>
              <a:gd name="connsiteY15924" fmla="*/ 1752135 h 4687251"/>
              <a:gd name="connsiteX15925" fmla="*/ 4351626 w 8079933"/>
              <a:gd name="connsiteY15925" fmla="*/ 1751925 h 4687251"/>
              <a:gd name="connsiteX15926" fmla="*/ 4356726 w 8079933"/>
              <a:gd name="connsiteY15926" fmla="*/ 1747270 h 4687251"/>
              <a:gd name="connsiteX15927" fmla="*/ 4367794 w 8079933"/>
              <a:gd name="connsiteY15927" fmla="*/ 1748352 h 4687251"/>
              <a:gd name="connsiteX15928" fmla="*/ 4367795 w 8079933"/>
              <a:gd name="connsiteY15928" fmla="*/ 1748352 h 4687251"/>
              <a:gd name="connsiteX15929" fmla="*/ 4367795 w 8079933"/>
              <a:gd name="connsiteY15929" fmla="*/ 1748137 h 4687251"/>
              <a:gd name="connsiteX15930" fmla="*/ 4367794 w 8079933"/>
              <a:gd name="connsiteY15930" fmla="*/ 1748136 h 4687251"/>
              <a:gd name="connsiteX15931" fmla="*/ 6549800 w 8079933"/>
              <a:gd name="connsiteY15931" fmla="*/ 1740229 h 4687251"/>
              <a:gd name="connsiteX15932" fmla="*/ 6549848 w 8079933"/>
              <a:gd name="connsiteY15932" fmla="*/ 1740774 h 4687251"/>
              <a:gd name="connsiteX15933" fmla="*/ 6549848 w 8079933"/>
              <a:gd name="connsiteY15933" fmla="*/ 1740773 h 4687251"/>
              <a:gd name="connsiteX15934" fmla="*/ 5958593 w 8079933"/>
              <a:gd name="connsiteY15934" fmla="*/ 1739306 h 4687251"/>
              <a:gd name="connsiteX15935" fmla="*/ 5959734 w 8079933"/>
              <a:gd name="connsiteY15935" fmla="*/ 1742397 h 4687251"/>
              <a:gd name="connsiteX15936" fmla="*/ 5963531 w 8079933"/>
              <a:gd name="connsiteY15936" fmla="*/ 1745538 h 4687251"/>
              <a:gd name="connsiteX15937" fmla="*/ 5964278 w 8079933"/>
              <a:gd name="connsiteY15937" fmla="*/ 1745899 h 4687251"/>
              <a:gd name="connsiteX15938" fmla="*/ 5963533 w 8079933"/>
              <a:gd name="connsiteY15938" fmla="*/ 1745538 h 4687251"/>
              <a:gd name="connsiteX15939" fmla="*/ 5959735 w 8079933"/>
              <a:gd name="connsiteY15939" fmla="*/ 1742398 h 4687251"/>
              <a:gd name="connsiteX15940" fmla="*/ 4356400 w 8079933"/>
              <a:gd name="connsiteY15940" fmla="*/ 1738067 h 4687251"/>
              <a:gd name="connsiteX15941" fmla="*/ 4354338 w 8079933"/>
              <a:gd name="connsiteY15941" fmla="*/ 1740449 h 4687251"/>
              <a:gd name="connsiteX15942" fmla="*/ 4353118 w 8079933"/>
              <a:gd name="connsiteY15942" fmla="*/ 1740385 h 4687251"/>
              <a:gd name="connsiteX15943" fmla="*/ 4354338 w 8079933"/>
              <a:gd name="connsiteY15943" fmla="*/ 1740449 h 4687251"/>
              <a:gd name="connsiteX15944" fmla="*/ 4057979 w 8079933"/>
              <a:gd name="connsiteY15944" fmla="*/ 1737742 h 4687251"/>
              <a:gd name="connsiteX15945" fmla="*/ 4057979 w 8079933"/>
              <a:gd name="connsiteY15945" fmla="*/ 1737742 h 4687251"/>
              <a:gd name="connsiteX15946" fmla="*/ 4057980 w 8079933"/>
              <a:gd name="connsiteY15946" fmla="*/ 1737742 h 4687251"/>
              <a:gd name="connsiteX15947" fmla="*/ 4058305 w 8079933"/>
              <a:gd name="connsiteY15947" fmla="*/ 1737742 h 4687251"/>
              <a:gd name="connsiteX15948" fmla="*/ 4058305 w 8079933"/>
              <a:gd name="connsiteY15948" fmla="*/ 1737742 h 4687251"/>
              <a:gd name="connsiteX15949" fmla="*/ 7269963 w 8079933"/>
              <a:gd name="connsiteY15949" fmla="*/ 1735252 h 4687251"/>
              <a:gd name="connsiteX15950" fmla="*/ 7269203 w 8079933"/>
              <a:gd name="connsiteY15950" fmla="*/ 1738825 h 4687251"/>
              <a:gd name="connsiteX15951" fmla="*/ 7264971 w 8079933"/>
              <a:gd name="connsiteY15951" fmla="*/ 1741640 h 4687251"/>
              <a:gd name="connsiteX15952" fmla="*/ 7262802 w 8079933"/>
              <a:gd name="connsiteY15952" fmla="*/ 1740882 h 4687251"/>
              <a:gd name="connsiteX15953" fmla="*/ 7266491 w 8079933"/>
              <a:gd name="connsiteY15953" fmla="*/ 1736768 h 4687251"/>
              <a:gd name="connsiteX15954" fmla="*/ 4203067 w 8079933"/>
              <a:gd name="connsiteY15954" fmla="*/ 1734819 h 4687251"/>
              <a:gd name="connsiteX15955" fmla="*/ 4203067 w 8079933"/>
              <a:gd name="connsiteY15955" fmla="*/ 1734819 h 4687251"/>
              <a:gd name="connsiteX15956" fmla="*/ 4203316 w 8079933"/>
              <a:gd name="connsiteY15956" fmla="*/ 1735501 h 4687251"/>
              <a:gd name="connsiteX15957" fmla="*/ 4054507 w 8079933"/>
              <a:gd name="connsiteY15957" fmla="*/ 1728107 h 4687251"/>
              <a:gd name="connsiteX15958" fmla="*/ 4054507 w 8079933"/>
              <a:gd name="connsiteY15958" fmla="*/ 1728107 h 4687251"/>
              <a:gd name="connsiteX15959" fmla="*/ 4056134 w 8079933"/>
              <a:gd name="connsiteY15959" fmla="*/ 1730164 h 4687251"/>
              <a:gd name="connsiteX15960" fmla="*/ 4056134 w 8079933"/>
              <a:gd name="connsiteY15960" fmla="*/ 1733412 h 4687251"/>
              <a:gd name="connsiteX15961" fmla="*/ 4057979 w 8079933"/>
              <a:gd name="connsiteY15961" fmla="*/ 1735144 h 4687251"/>
              <a:gd name="connsiteX15962" fmla="*/ 4057979 w 8079933"/>
              <a:gd name="connsiteY15962" fmla="*/ 1735143 h 4687251"/>
              <a:gd name="connsiteX15963" fmla="*/ 4056135 w 8079933"/>
              <a:gd name="connsiteY15963" fmla="*/ 1733411 h 4687251"/>
              <a:gd name="connsiteX15964" fmla="*/ 4056135 w 8079933"/>
              <a:gd name="connsiteY15964" fmla="*/ 1730163 h 4687251"/>
              <a:gd name="connsiteX15965" fmla="*/ 4067312 w 8079933"/>
              <a:gd name="connsiteY15965" fmla="*/ 1727564 h 4687251"/>
              <a:gd name="connsiteX15966" fmla="*/ 4068289 w 8079933"/>
              <a:gd name="connsiteY15966" fmla="*/ 1732653 h 4687251"/>
              <a:gd name="connsiteX15967" fmla="*/ 4070893 w 8079933"/>
              <a:gd name="connsiteY15967" fmla="*/ 1734927 h 4687251"/>
              <a:gd name="connsiteX15968" fmla="*/ 4070459 w 8079933"/>
              <a:gd name="connsiteY15968" fmla="*/ 1742506 h 4687251"/>
              <a:gd name="connsiteX15969" fmla="*/ 4070460 w 8079933"/>
              <a:gd name="connsiteY15969" fmla="*/ 1742506 h 4687251"/>
              <a:gd name="connsiteX15970" fmla="*/ 4070894 w 8079933"/>
              <a:gd name="connsiteY15970" fmla="*/ 1734927 h 4687251"/>
              <a:gd name="connsiteX15971" fmla="*/ 4068289 w 8079933"/>
              <a:gd name="connsiteY15971" fmla="*/ 1732653 h 4687251"/>
              <a:gd name="connsiteX15972" fmla="*/ 4067312 w 8079933"/>
              <a:gd name="connsiteY15972" fmla="*/ 1727565 h 4687251"/>
              <a:gd name="connsiteX15973" fmla="*/ 5953657 w 8079933"/>
              <a:gd name="connsiteY15973" fmla="*/ 1726698 h 4687251"/>
              <a:gd name="connsiteX15974" fmla="*/ 5954308 w 8079933"/>
              <a:gd name="connsiteY15974" fmla="*/ 1730488 h 4687251"/>
              <a:gd name="connsiteX15975" fmla="*/ 5955719 w 8079933"/>
              <a:gd name="connsiteY15975" fmla="*/ 1734710 h 4687251"/>
              <a:gd name="connsiteX15976" fmla="*/ 5955720 w 8079933"/>
              <a:gd name="connsiteY15976" fmla="*/ 1734711 h 4687251"/>
              <a:gd name="connsiteX15977" fmla="*/ 5955720 w 8079933"/>
              <a:gd name="connsiteY15977" fmla="*/ 1734712 h 4687251"/>
              <a:gd name="connsiteX15978" fmla="*/ 5955809 w 8079933"/>
              <a:gd name="connsiteY15978" fmla="*/ 1734839 h 4687251"/>
              <a:gd name="connsiteX15979" fmla="*/ 5955720 w 8079933"/>
              <a:gd name="connsiteY15979" fmla="*/ 1734711 h 4687251"/>
              <a:gd name="connsiteX15980" fmla="*/ 5954309 w 8079933"/>
              <a:gd name="connsiteY15980" fmla="*/ 1730489 h 4687251"/>
              <a:gd name="connsiteX15981" fmla="*/ 5953658 w 8079933"/>
              <a:gd name="connsiteY15981" fmla="*/ 1726699 h 4687251"/>
              <a:gd name="connsiteX15982" fmla="*/ 4028869 w 8079933"/>
              <a:gd name="connsiteY15982" fmla="*/ 1726212 h 4687251"/>
              <a:gd name="connsiteX15983" fmla="*/ 4027160 w 8079933"/>
              <a:gd name="connsiteY15983" fmla="*/ 1727348 h 4687251"/>
              <a:gd name="connsiteX15984" fmla="*/ 4027161 w 8079933"/>
              <a:gd name="connsiteY15984" fmla="*/ 1727348 h 4687251"/>
              <a:gd name="connsiteX15985" fmla="*/ 4330208 w 8079933"/>
              <a:gd name="connsiteY15985" fmla="*/ 1721715 h 4687251"/>
              <a:gd name="connsiteX15986" fmla="*/ 4331224 w 8079933"/>
              <a:gd name="connsiteY15986" fmla="*/ 1722043 h 4687251"/>
              <a:gd name="connsiteX15987" fmla="*/ 4338494 w 8079933"/>
              <a:gd name="connsiteY15987" fmla="*/ 1727294 h 4687251"/>
              <a:gd name="connsiteX15988" fmla="*/ 4331224 w 8079933"/>
              <a:gd name="connsiteY15988" fmla="*/ 1722043 h 4687251"/>
              <a:gd name="connsiteX15989" fmla="*/ 6914355 w 8079933"/>
              <a:gd name="connsiteY15989" fmla="*/ 1721068 h 4687251"/>
              <a:gd name="connsiteX15990" fmla="*/ 6912510 w 8079933"/>
              <a:gd name="connsiteY15990" fmla="*/ 1721501 h 4687251"/>
              <a:gd name="connsiteX15991" fmla="*/ 6908061 w 8079933"/>
              <a:gd name="connsiteY15991" fmla="*/ 1728322 h 4687251"/>
              <a:gd name="connsiteX15992" fmla="*/ 6907084 w 8079933"/>
              <a:gd name="connsiteY15992" fmla="*/ 1731571 h 4687251"/>
              <a:gd name="connsiteX15993" fmla="*/ 6904805 w 8079933"/>
              <a:gd name="connsiteY15993" fmla="*/ 1734602 h 4687251"/>
              <a:gd name="connsiteX15994" fmla="*/ 6901984 w 8079933"/>
              <a:gd name="connsiteY15994" fmla="*/ 1734818 h 4687251"/>
              <a:gd name="connsiteX15995" fmla="*/ 6899054 w 8079933"/>
              <a:gd name="connsiteY15995" fmla="*/ 1736767 h 4687251"/>
              <a:gd name="connsiteX15996" fmla="*/ 6898077 w 8079933"/>
              <a:gd name="connsiteY15996" fmla="*/ 1738933 h 4687251"/>
              <a:gd name="connsiteX15997" fmla="*/ 6898309 w 8079933"/>
              <a:gd name="connsiteY15997" fmla="*/ 1739454 h 4687251"/>
              <a:gd name="connsiteX15998" fmla="*/ 6898837 w 8079933"/>
              <a:gd name="connsiteY15998" fmla="*/ 1738285 h 4687251"/>
              <a:gd name="connsiteX15999" fmla="*/ 6901767 w 8079933"/>
              <a:gd name="connsiteY15999" fmla="*/ 1736336 h 4687251"/>
              <a:gd name="connsiteX16000" fmla="*/ 6904480 w 8079933"/>
              <a:gd name="connsiteY16000" fmla="*/ 1736336 h 4687251"/>
              <a:gd name="connsiteX16001" fmla="*/ 6906758 w 8079933"/>
              <a:gd name="connsiteY16001" fmla="*/ 1733304 h 4687251"/>
              <a:gd name="connsiteX16002" fmla="*/ 6907735 w 8079933"/>
              <a:gd name="connsiteY16002" fmla="*/ 1730056 h 4687251"/>
              <a:gd name="connsiteX16003" fmla="*/ 6912184 w 8079933"/>
              <a:gd name="connsiteY16003" fmla="*/ 1723235 h 4687251"/>
              <a:gd name="connsiteX16004" fmla="*/ 6914029 w 8079933"/>
              <a:gd name="connsiteY16004" fmla="*/ 1723235 h 4687251"/>
              <a:gd name="connsiteX16005" fmla="*/ 6917827 w 8079933"/>
              <a:gd name="connsiteY16005" fmla="*/ 1724209 h 4687251"/>
              <a:gd name="connsiteX16006" fmla="*/ 6920757 w 8079933"/>
              <a:gd name="connsiteY16006" fmla="*/ 1725400 h 4687251"/>
              <a:gd name="connsiteX16007" fmla="*/ 6935950 w 8079933"/>
              <a:gd name="connsiteY16007" fmla="*/ 1728107 h 4687251"/>
              <a:gd name="connsiteX16008" fmla="*/ 6938228 w 8079933"/>
              <a:gd name="connsiteY16008" fmla="*/ 1728865 h 4687251"/>
              <a:gd name="connsiteX16009" fmla="*/ 6940941 w 8079933"/>
              <a:gd name="connsiteY16009" fmla="*/ 1728865 h 4687251"/>
              <a:gd name="connsiteX16010" fmla="*/ 6942894 w 8079933"/>
              <a:gd name="connsiteY16010" fmla="*/ 1726483 h 4687251"/>
              <a:gd name="connsiteX16011" fmla="*/ 6942660 w 8079933"/>
              <a:gd name="connsiteY16011" fmla="*/ 1725201 h 4687251"/>
              <a:gd name="connsiteX16012" fmla="*/ 6941375 w 8079933"/>
              <a:gd name="connsiteY16012" fmla="*/ 1726698 h 4687251"/>
              <a:gd name="connsiteX16013" fmla="*/ 6938662 w 8079933"/>
              <a:gd name="connsiteY16013" fmla="*/ 1726698 h 4687251"/>
              <a:gd name="connsiteX16014" fmla="*/ 6936383 w 8079933"/>
              <a:gd name="connsiteY16014" fmla="*/ 1726049 h 4687251"/>
              <a:gd name="connsiteX16015" fmla="*/ 6921082 w 8079933"/>
              <a:gd name="connsiteY16015" fmla="*/ 1723234 h 4687251"/>
              <a:gd name="connsiteX16016" fmla="*/ 6918153 w 8079933"/>
              <a:gd name="connsiteY16016" fmla="*/ 1722043 h 4687251"/>
              <a:gd name="connsiteX16017" fmla="*/ 4021342 w 8079933"/>
              <a:gd name="connsiteY16017" fmla="*/ 1718021 h 4687251"/>
              <a:gd name="connsiteX16018" fmla="*/ 4021843 w 8079933"/>
              <a:gd name="connsiteY16018" fmla="*/ 1718254 h 4687251"/>
              <a:gd name="connsiteX16019" fmla="*/ 4021843 w 8079933"/>
              <a:gd name="connsiteY16019" fmla="*/ 1718254 h 4687251"/>
              <a:gd name="connsiteX16020" fmla="*/ 4293243 w 8079933"/>
              <a:gd name="connsiteY16020" fmla="*/ 1717062 h 4687251"/>
              <a:gd name="connsiteX16021" fmla="*/ 4291921 w 8079933"/>
              <a:gd name="connsiteY16021" fmla="*/ 1718444 h 4687251"/>
              <a:gd name="connsiteX16022" fmla="*/ 4293243 w 8079933"/>
              <a:gd name="connsiteY16022" fmla="*/ 1717062 h 4687251"/>
              <a:gd name="connsiteX16023" fmla="*/ 4805225 w 8079933"/>
              <a:gd name="connsiteY16023" fmla="*/ 1716522 h 4687251"/>
              <a:gd name="connsiteX16024" fmla="*/ 4801644 w 8079933"/>
              <a:gd name="connsiteY16024" fmla="*/ 1720096 h 4687251"/>
              <a:gd name="connsiteX16025" fmla="*/ 4795056 w 8079933"/>
              <a:gd name="connsiteY16025" fmla="*/ 1718820 h 4687251"/>
              <a:gd name="connsiteX16026" fmla="*/ 4796652 w 8079933"/>
              <a:gd name="connsiteY16026" fmla="*/ 1719770 h 4687251"/>
              <a:gd name="connsiteX16027" fmla="*/ 4803923 w 8079933"/>
              <a:gd name="connsiteY16027" fmla="*/ 1721178 h 4687251"/>
              <a:gd name="connsiteX16028" fmla="*/ 4806138 w 8079933"/>
              <a:gd name="connsiteY16028" fmla="*/ 1718967 h 4687251"/>
              <a:gd name="connsiteX16029" fmla="*/ 5941828 w 8079933"/>
              <a:gd name="connsiteY16029" fmla="*/ 1715872 h 4687251"/>
              <a:gd name="connsiteX16030" fmla="*/ 5943673 w 8079933"/>
              <a:gd name="connsiteY16030" fmla="*/ 1718686 h 4687251"/>
              <a:gd name="connsiteX16031" fmla="*/ 5941829 w 8079933"/>
              <a:gd name="connsiteY16031" fmla="*/ 1715872 h 4687251"/>
              <a:gd name="connsiteX16032" fmla="*/ 7243812 w 8079933"/>
              <a:gd name="connsiteY16032" fmla="*/ 1715222 h 4687251"/>
              <a:gd name="connsiteX16033" fmla="*/ 7246200 w 8079933"/>
              <a:gd name="connsiteY16033" fmla="*/ 1717495 h 4687251"/>
              <a:gd name="connsiteX16034" fmla="*/ 7248804 w 8079933"/>
              <a:gd name="connsiteY16034" fmla="*/ 1718362 h 4687251"/>
              <a:gd name="connsiteX16035" fmla="*/ 7252276 w 8079933"/>
              <a:gd name="connsiteY16035" fmla="*/ 1717495 h 4687251"/>
              <a:gd name="connsiteX16036" fmla="*/ 7253688 w 8079933"/>
              <a:gd name="connsiteY16036" fmla="*/ 1717495 h 4687251"/>
              <a:gd name="connsiteX16037" fmla="*/ 7252602 w 8079933"/>
              <a:gd name="connsiteY16037" fmla="*/ 1722693 h 4687251"/>
              <a:gd name="connsiteX16038" fmla="*/ 7246742 w 8079933"/>
              <a:gd name="connsiteY16038" fmla="*/ 1728215 h 4687251"/>
              <a:gd name="connsiteX16039" fmla="*/ 7244680 w 8079933"/>
              <a:gd name="connsiteY16039" fmla="*/ 1729297 h 4687251"/>
              <a:gd name="connsiteX16040" fmla="*/ 7242619 w 8079933"/>
              <a:gd name="connsiteY16040" fmla="*/ 1740774 h 4687251"/>
              <a:gd name="connsiteX16041" fmla="*/ 7242619 w 8079933"/>
              <a:gd name="connsiteY16041" fmla="*/ 1747487 h 4687251"/>
              <a:gd name="connsiteX16042" fmla="*/ 7238278 w 8079933"/>
              <a:gd name="connsiteY16042" fmla="*/ 1742506 h 4687251"/>
              <a:gd name="connsiteX16043" fmla="*/ 7237301 w 8079933"/>
              <a:gd name="connsiteY16043" fmla="*/ 1739583 h 4687251"/>
              <a:gd name="connsiteX16044" fmla="*/ 7239471 w 8079933"/>
              <a:gd name="connsiteY16044" fmla="*/ 1734603 h 4687251"/>
              <a:gd name="connsiteX16045" fmla="*/ 7240340 w 8079933"/>
              <a:gd name="connsiteY16045" fmla="*/ 1727565 h 4687251"/>
              <a:gd name="connsiteX16046" fmla="*/ 7241534 w 8079933"/>
              <a:gd name="connsiteY16046" fmla="*/ 1722585 h 4687251"/>
              <a:gd name="connsiteX16047" fmla="*/ 7242401 w 8079933"/>
              <a:gd name="connsiteY16047" fmla="*/ 1716954 h 4687251"/>
              <a:gd name="connsiteX16048" fmla="*/ 4788188 w 8079933"/>
              <a:gd name="connsiteY16048" fmla="*/ 1714898 h 4687251"/>
              <a:gd name="connsiteX16049" fmla="*/ 4783371 w 8079933"/>
              <a:gd name="connsiteY16049" fmla="*/ 1715699 h 4687251"/>
              <a:gd name="connsiteX16050" fmla="*/ 4785258 w 8079933"/>
              <a:gd name="connsiteY16050" fmla="*/ 1716847 h 4687251"/>
              <a:gd name="connsiteX16051" fmla="*/ 4790196 w 8079933"/>
              <a:gd name="connsiteY16051" fmla="*/ 1716128 h 4687251"/>
              <a:gd name="connsiteX16052" fmla="*/ 6941300 w 8079933"/>
              <a:gd name="connsiteY16052" fmla="*/ 1714722 h 4687251"/>
              <a:gd name="connsiteX16053" fmla="*/ 6940832 w 8079933"/>
              <a:gd name="connsiteY16053" fmla="*/ 1715655 h 4687251"/>
              <a:gd name="connsiteX16054" fmla="*/ 6941043 w 8079933"/>
              <a:gd name="connsiteY16054" fmla="*/ 1717268 h 4687251"/>
              <a:gd name="connsiteX16055" fmla="*/ 6941701 w 8079933"/>
              <a:gd name="connsiteY16055" fmla="*/ 1715872 h 4687251"/>
              <a:gd name="connsiteX16056" fmla="*/ 4015657 w 8079933"/>
              <a:gd name="connsiteY16056" fmla="*/ 1714356 h 4687251"/>
              <a:gd name="connsiteX16057" fmla="*/ 4012728 w 8079933"/>
              <a:gd name="connsiteY16057" fmla="*/ 1714464 h 4687251"/>
              <a:gd name="connsiteX16058" fmla="*/ 4015658 w 8079933"/>
              <a:gd name="connsiteY16058" fmla="*/ 1714356 h 4687251"/>
              <a:gd name="connsiteX16059" fmla="*/ 4191781 w 8079933"/>
              <a:gd name="connsiteY16059" fmla="*/ 1713923 h 4687251"/>
              <a:gd name="connsiteX16060" fmla="*/ 4192106 w 8079933"/>
              <a:gd name="connsiteY16060" fmla="*/ 1717496 h 4687251"/>
              <a:gd name="connsiteX16061" fmla="*/ 4198401 w 8079933"/>
              <a:gd name="connsiteY16061" fmla="*/ 1721285 h 4687251"/>
              <a:gd name="connsiteX16062" fmla="*/ 4203392 w 8079933"/>
              <a:gd name="connsiteY16062" fmla="*/ 1729080 h 4687251"/>
              <a:gd name="connsiteX16063" fmla="*/ 4203392 w 8079933"/>
              <a:gd name="connsiteY16063" fmla="*/ 1729080 h 4687251"/>
              <a:gd name="connsiteX16064" fmla="*/ 4198401 w 8079933"/>
              <a:gd name="connsiteY16064" fmla="*/ 1721284 h 4687251"/>
              <a:gd name="connsiteX16065" fmla="*/ 4192106 w 8079933"/>
              <a:gd name="connsiteY16065" fmla="*/ 1717495 h 4687251"/>
              <a:gd name="connsiteX16066" fmla="*/ 5922903 w 8079933"/>
              <a:gd name="connsiteY16066" fmla="*/ 1712563 h 4687251"/>
              <a:gd name="connsiteX16067" fmla="*/ 5923055 w 8079933"/>
              <a:gd name="connsiteY16067" fmla="*/ 1712840 h 4687251"/>
              <a:gd name="connsiteX16068" fmla="*/ 5923055 w 8079933"/>
              <a:gd name="connsiteY16068" fmla="*/ 1712839 h 4687251"/>
              <a:gd name="connsiteX16069" fmla="*/ 4763555 w 8079933"/>
              <a:gd name="connsiteY16069" fmla="*/ 1711217 h 4687251"/>
              <a:gd name="connsiteX16070" fmla="*/ 4761545 w 8079933"/>
              <a:gd name="connsiteY16070" fmla="*/ 1713222 h 4687251"/>
              <a:gd name="connsiteX16071" fmla="*/ 4762578 w 8079933"/>
              <a:gd name="connsiteY16071" fmla="*/ 1715331 h 4687251"/>
              <a:gd name="connsiteX16072" fmla="*/ 4765833 w 8079933"/>
              <a:gd name="connsiteY16072" fmla="*/ 1712083 h 4687251"/>
              <a:gd name="connsiteX16073" fmla="*/ 4774406 w 8079933"/>
              <a:gd name="connsiteY16073" fmla="*/ 1713923 h 4687251"/>
              <a:gd name="connsiteX16074" fmla="*/ 4780280 w 8079933"/>
              <a:gd name="connsiteY16074" fmla="*/ 1714123 h 4687251"/>
              <a:gd name="connsiteX16075" fmla="*/ 4778530 w 8079933"/>
              <a:gd name="connsiteY16075" fmla="*/ 1713058 h 4687251"/>
              <a:gd name="connsiteX16076" fmla="*/ 4772127 w 8079933"/>
              <a:gd name="connsiteY16076" fmla="*/ 1713058 h 4687251"/>
              <a:gd name="connsiteX16077" fmla="*/ 4293026 w 8079933"/>
              <a:gd name="connsiteY16077" fmla="*/ 1708292 h 4687251"/>
              <a:gd name="connsiteX16078" fmla="*/ 4290747 w 8079933"/>
              <a:gd name="connsiteY16078" fmla="*/ 1709808 h 4687251"/>
              <a:gd name="connsiteX16079" fmla="*/ 4296282 w 8079933"/>
              <a:gd name="connsiteY16079" fmla="*/ 1717062 h 4687251"/>
              <a:gd name="connsiteX16080" fmla="*/ 4290748 w 8079933"/>
              <a:gd name="connsiteY16080" fmla="*/ 1709808 h 4687251"/>
              <a:gd name="connsiteX16081" fmla="*/ 5839582 w 8079933"/>
              <a:gd name="connsiteY16081" fmla="*/ 1705657 h 4687251"/>
              <a:gd name="connsiteX16082" fmla="*/ 5839062 w 8079933"/>
              <a:gd name="connsiteY16082" fmla="*/ 1706020 h 4687251"/>
              <a:gd name="connsiteX16083" fmla="*/ 5838194 w 8079933"/>
              <a:gd name="connsiteY16083" fmla="*/ 1711541 h 4687251"/>
              <a:gd name="connsiteX16084" fmla="*/ 5838520 w 8079933"/>
              <a:gd name="connsiteY16084" fmla="*/ 1721718 h 4687251"/>
              <a:gd name="connsiteX16085" fmla="*/ 5843187 w 8079933"/>
              <a:gd name="connsiteY16085" fmla="*/ 1731138 h 4687251"/>
              <a:gd name="connsiteX16086" fmla="*/ 5847744 w 8079933"/>
              <a:gd name="connsiteY16086" fmla="*/ 1737201 h 4687251"/>
              <a:gd name="connsiteX16087" fmla="*/ 5846984 w 8079933"/>
              <a:gd name="connsiteY16087" fmla="*/ 1740449 h 4687251"/>
              <a:gd name="connsiteX16088" fmla="*/ 5842454 w 8079933"/>
              <a:gd name="connsiteY16088" fmla="*/ 1745544 h 4687251"/>
              <a:gd name="connsiteX16089" fmla="*/ 5846985 w 8079933"/>
              <a:gd name="connsiteY16089" fmla="*/ 1740449 h 4687251"/>
              <a:gd name="connsiteX16090" fmla="*/ 5847745 w 8079933"/>
              <a:gd name="connsiteY16090" fmla="*/ 1737200 h 4687251"/>
              <a:gd name="connsiteX16091" fmla="*/ 5843187 w 8079933"/>
              <a:gd name="connsiteY16091" fmla="*/ 1731137 h 4687251"/>
              <a:gd name="connsiteX16092" fmla="*/ 5838521 w 8079933"/>
              <a:gd name="connsiteY16092" fmla="*/ 1721718 h 4687251"/>
              <a:gd name="connsiteX16093" fmla="*/ 5838195 w 8079933"/>
              <a:gd name="connsiteY16093" fmla="*/ 1711540 h 4687251"/>
              <a:gd name="connsiteX16094" fmla="*/ 5839064 w 8079933"/>
              <a:gd name="connsiteY16094" fmla="*/ 1706018 h 4687251"/>
              <a:gd name="connsiteX16095" fmla="*/ 5898314 w 8079933"/>
              <a:gd name="connsiteY16095" fmla="*/ 1705586 h 4687251"/>
              <a:gd name="connsiteX16096" fmla="*/ 5898314 w 8079933"/>
              <a:gd name="connsiteY16096" fmla="*/ 1705586 h 4687251"/>
              <a:gd name="connsiteX16097" fmla="*/ 5899155 w 8079933"/>
              <a:gd name="connsiteY16097" fmla="*/ 1706615 h 4687251"/>
              <a:gd name="connsiteX16098" fmla="*/ 5901677 w 8079933"/>
              <a:gd name="connsiteY16098" fmla="*/ 1709700 h 4687251"/>
              <a:gd name="connsiteX16099" fmla="*/ 5901786 w 8079933"/>
              <a:gd name="connsiteY16099" fmla="*/ 1711324 h 4687251"/>
              <a:gd name="connsiteX16100" fmla="*/ 5902979 w 8079933"/>
              <a:gd name="connsiteY16100" fmla="*/ 1714896 h 4687251"/>
              <a:gd name="connsiteX16101" fmla="*/ 5902980 w 8079933"/>
              <a:gd name="connsiteY16101" fmla="*/ 1714897 h 4687251"/>
              <a:gd name="connsiteX16102" fmla="*/ 5901787 w 8079933"/>
              <a:gd name="connsiteY16102" fmla="*/ 1711325 h 4687251"/>
              <a:gd name="connsiteX16103" fmla="*/ 5901678 w 8079933"/>
              <a:gd name="connsiteY16103" fmla="*/ 1709701 h 4687251"/>
              <a:gd name="connsiteX16104" fmla="*/ 5899155 w 8079933"/>
              <a:gd name="connsiteY16104" fmla="*/ 1706615 h 4687251"/>
              <a:gd name="connsiteX16105" fmla="*/ 3913001 w 8079933"/>
              <a:gd name="connsiteY16105" fmla="*/ 1704720 h 4687251"/>
              <a:gd name="connsiteX16106" fmla="*/ 3915280 w 8079933"/>
              <a:gd name="connsiteY16106" fmla="*/ 1706452 h 4687251"/>
              <a:gd name="connsiteX16107" fmla="*/ 3917667 w 8079933"/>
              <a:gd name="connsiteY16107" fmla="*/ 1706236 h 4687251"/>
              <a:gd name="connsiteX16108" fmla="*/ 3916148 w 8079933"/>
              <a:gd name="connsiteY16108" fmla="*/ 1708834 h 4687251"/>
              <a:gd name="connsiteX16109" fmla="*/ 3916148 w 8079933"/>
              <a:gd name="connsiteY16109" fmla="*/ 1710567 h 4687251"/>
              <a:gd name="connsiteX16110" fmla="*/ 3913001 w 8079933"/>
              <a:gd name="connsiteY16110" fmla="*/ 1711108 h 4687251"/>
              <a:gd name="connsiteX16111" fmla="*/ 3909746 w 8079933"/>
              <a:gd name="connsiteY16111" fmla="*/ 1708726 h 4687251"/>
              <a:gd name="connsiteX16112" fmla="*/ 3906599 w 8079933"/>
              <a:gd name="connsiteY16112" fmla="*/ 1708077 h 4687251"/>
              <a:gd name="connsiteX16113" fmla="*/ 2749703 w 8079933"/>
              <a:gd name="connsiteY16113" fmla="*/ 1704071 h 4687251"/>
              <a:gd name="connsiteX16114" fmla="*/ 2750571 w 8079933"/>
              <a:gd name="connsiteY16114" fmla="*/ 1704396 h 4687251"/>
              <a:gd name="connsiteX16115" fmla="*/ 2751222 w 8079933"/>
              <a:gd name="connsiteY16115" fmla="*/ 1706995 h 4687251"/>
              <a:gd name="connsiteX16116" fmla="*/ 2749269 w 8079933"/>
              <a:gd name="connsiteY16116" fmla="*/ 1710350 h 4687251"/>
              <a:gd name="connsiteX16117" fmla="*/ 2745797 w 8079933"/>
              <a:gd name="connsiteY16117" fmla="*/ 1711975 h 4687251"/>
              <a:gd name="connsiteX16118" fmla="*/ 2743735 w 8079933"/>
              <a:gd name="connsiteY16118" fmla="*/ 1710567 h 4687251"/>
              <a:gd name="connsiteX16119" fmla="*/ 2743952 w 8079933"/>
              <a:gd name="connsiteY16119" fmla="*/ 1708618 h 4687251"/>
              <a:gd name="connsiteX16120" fmla="*/ 2744820 w 8079933"/>
              <a:gd name="connsiteY16120" fmla="*/ 1707536 h 4687251"/>
              <a:gd name="connsiteX16121" fmla="*/ 2747316 w 8079933"/>
              <a:gd name="connsiteY16121" fmla="*/ 1708510 h 4687251"/>
              <a:gd name="connsiteX16122" fmla="*/ 2748943 w 8079933"/>
              <a:gd name="connsiteY16122" fmla="*/ 1708077 h 4687251"/>
              <a:gd name="connsiteX16123" fmla="*/ 2750028 w 8079933"/>
              <a:gd name="connsiteY16123" fmla="*/ 1705479 h 4687251"/>
              <a:gd name="connsiteX16124" fmla="*/ 2755237 w 8079933"/>
              <a:gd name="connsiteY16124" fmla="*/ 1702879 h 4687251"/>
              <a:gd name="connsiteX16125" fmla="*/ 2756865 w 8079933"/>
              <a:gd name="connsiteY16125" fmla="*/ 1702879 h 4687251"/>
              <a:gd name="connsiteX16126" fmla="*/ 2757841 w 8079933"/>
              <a:gd name="connsiteY16126" fmla="*/ 1704179 h 4687251"/>
              <a:gd name="connsiteX16127" fmla="*/ 2759035 w 8079933"/>
              <a:gd name="connsiteY16127" fmla="*/ 1703312 h 4687251"/>
              <a:gd name="connsiteX16128" fmla="*/ 2761422 w 8079933"/>
              <a:gd name="connsiteY16128" fmla="*/ 1704936 h 4687251"/>
              <a:gd name="connsiteX16129" fmla="*/ 2761422 w 8079933"/>
              <a:gd name="connsiteY16129" fmla="*/ 1706885 h 4687251"/>
              <a:gd name="connsiteX16130" fmla="*/ 2758709 w 8079933"/>
              <a:gd name="connsiteY16130" fmla="*/ 1709051 h 4687251"/>
              <a:gd name="connsiteX16131" fmla="*/ 2756214 w 8079933"/>
              <a:gd name="connsiteY16131" fmla="*/ 1709051 h 4687251"/>
              <a:gd name="connsiteX16132" fmla="*/ 2755237 w 8079933"/>
              <a:gd name="connsiteY16132" fmla="*/ 1704179 h 4687251"/>
              <a:gd name="connsiteX16133" fmla="*/ 6943458 w 8079933"/>
              <a:gd name="connsiteY16133" fmla="*/ 1702700 h 4687251"/>
              <a:gd name="connsiteX16134" fmla="*/ 6942352 w 8079933"/>
              <a:gd name="connsiteY16134" fmla="*/ 1703961 h 4687251"/>
              <a:gd name="connsiteX16135" fmla="*/ 6940290 w 8079933"/>
              <a:gd name="connsiteY16135" fmla="*/ 1708726 h 4687251"/>
              <a:gd name="connsiteX16136" fmla="*/ 6940529 w 8079933"/>
              <a:gd name="connsiteY16136" fmla="*/ 1709872 h 4687251"/>
              <a:gd name="connsiteX16137" fmla="*/ 6942243 w 8079933"/>
              <a:gd name="connsiteY16137" fmla="*/ 1705912 h 4687251"/>
              <a:gd name="connsiteX16138" fmla="*/ 6943763 w 8079933"/>
              <a:gd name="connsiteY16138" fmla="*/ 1704180 h 4687251"/>
              <a:gd name="connsiteX16139" fmla="*/ 6603781 w 8079933"/>
              <a:gd name="connsiteY16139" fmla="*/ 1700714 h 4687251"/>
              <a:gd name="connsiteX16140" fmla="*/ 6605950 w 8079933"/>
              <a:gd name="connsiteY16140" fmla="*/ 1702986 h 4687251"/>
              <a:gd name="connsiteX16141" fmla="*/ 6605951 w 8079933"/>
              <a:gd name="connsiteY16141" fmla="*/ 1702987 h 4687251"/>
              <a:gd name="connsiteX16142" fmla="*/ 6944726 w 8079933"/>
              <a:gd name="connsiteY16142" fmla="*/ 1693612 h 4687251"/>
              <a:gd name="connsiteX16143" fmla="*/ 6942352 w 8079933"/>
              <a:gd name="connsiteY16143" fmla="*/ 1694759 h 4687251"/>
              <a:gd name="connsiteX16144" fmla="*/ 6941701 w 8079933"/>
              <a:gd name="connsiteY16144" fmla="*/ 1696166 h 4687251"/>
              <a:gd name="connsiteX16145" fmla="*/ 6942146 w 8079933"/>
              <a:gd name="connsiteY16145" fmla="*/ 1696918 h 4687251"/>
              <a:gd name="connsiteX16146" fmla="*/ 6942243 w 8079933"/>
              <a:gd name="connsiteY16146" fmla="*/ 1696709 h 4687251"/>
              <a:gd name="connsiteX16147" fmla="*/ 6945499 w 8079933"/>
              <a:gd name="connsiteY16147" fmla="*/ 1695085 h 4687251"/>
              <a:gd name="connsiteX16148" fmla="*/ 4741526 w 8079933"/>
              <a:gd name="connsiteY16148" fmla="*/ 1693460 h 4687251"/>
              <a:gd name="connsiteX16149" fmla="*/ 4733387 w 8079933"/>
              <a:gd name="connsiteY16149" fmla="*/ 1699632 h 4687251"/>
              <a:gd name="connsiteX16150" fmla="*/ 4728178 w 8079933"/>
              <a:gd name="connsiteY16150" fmla="*/ 1698658 h 4687251"/>
              <a:gd name="connsiteX16151" fmla="*/ 4722644 w 8079933"/>
              <a:gd name="connsiteY16151" fmla="*/ 1700174 h 4687251"/>
              <a:gd name="connsiteX16152" fmla="*/ 4715915 w 8079933"/>
              <a:gd name="connsiteY16152" fmla="*/ 1696601 h 4687251"/>
              <a:gd name="connsiteX16153" fmla="*/ 4712059 w 8079933"/>
              <a:gd name="connsiteY16153" fmla="*/ 1700930 h 4687251"/>
              <a:gd name="connsiteX16154" fmla="*/ 4713962 w 8079933"/>
              <a:gd name="connsiteY16154" fmla="*/ 1702772 h 4687251"/>
              <a:gd name="connsiteX16155" fmla="*/ 4718303 w 8079933"/>
              <a:gd name="connsiteY16155" fmla="*/ 1698008 h 4687251"/>
              <a:gd name="connsiteX16156" fmla="*/ 4725032 w 8079933"/>
              <a:gd name="connsiteY16156" fmla="*/ 1701580 h 4687251"/>
              <a:gd name="connsiteX16157" fmla="*/ 4730458 w 8079933"/>
              <a:gd name="connsiteY16157" fmla="*/ 1700065 h 4687251"/>
              <a:gd name="connsiteX16158" fmla="*/ 4735666 w 8079933"/>
              <a:gd name="connsiteY16158" fmla="*/ 1701039 h 4687251"/>
              <a:gd name="connsiteX16159" fmla="*/ 4743805 w 8079933"/>
              <a:gd name="connsiteY16159" fmla="*/ 1694868 h 4687251"/>
              <a:gd name="connsiteX16160" fmla="*/ 4745857 w 8079933"/>
              <a:gd name="connsiteY16160" fmla="*/ 1694634 h 4687251"/>
              <a:gd name="connsiteX16161" fmla="*/ 4745324 w 8079933"/>
              <a:gd name="connsiteY16161" fmla="*/ 1693460 h 4687251"/>
              <a:gd name="connsiteX16162" fmla="*/ 4454093 w 8079933"/>
              <a:gd name="connsiteY16162" fmla="*/ 1690656 h 4687251"/>
              <a:gd name="connsiteX16163" fmla="*/ 4455258 w 8079933"/>
              <a:gd name="connsiteY16163" fmla="*/ 1691402 h 4687251"/>
              <a:gd name="connsiteX16164" fmla="*/ 4453196 w 8079933"/>
              <a:gd name="connsiteY16164" fmla="*/ 1694001 h 4687251"/>
              <a:gd name="connsiteX16165" fmla="*/ 4453848 w 8079933"/>
              <a:gd name="connsiteY16165" fmla="*/ 1697790 h 4687251"/>
              <a:gd name="connsiteX16166" fmla="*/ 4455584 w 8079933"/>
              <a:gd name="connsiteY16166" fmla="*/ 1700713 h 4687251"/>
              <a:gd name="connsiteX16167" fmla="*/ 4454281 w 8079933"/>
              <a:gd name="connsiteY16167" fmla="*/ 1707751 h 4687251"/>
              <a:gd name="connsiteX16168" fmla="*/ 4450375 w 8079933"/>
              <a:gd name="connsiteY16168" fmla="*/ 1707968 h 4687251"/>
              <a:gd name="connsiteX16169" fmla="*/ 4446685 w 8079933"/>
              <a:gd name="connsiteY16169" fmla="*/ 1711757 h 4687251"/>
              <a:gd name="connsiteX16170" fmla="*/ 4444624 w 8079933"/>
              <a:gd name="connsiteY16170" fmla="*/ 1718903 h 4687251"/>
              <a:gd name="connsiteX16171" fmla="*/ 4429974 w 8079933"/>
              <a:gd name="connsiteY16171" fmla="*/ 1735251 h 4687251"/>
              <a:gd name="connsiteX16172" fmla="*/ 4431059 w 8079933"/>
              <a:gd name="connsiteY16172" fmla="*/ 1741856 h 4687251"/>
              <a:gd name="connsiteX16173" fmla="*/ 4430733 w 8079933"/>
              <a:gd name="connsiteY16173" fmla="*/ 1749002 h 4687251"/>
              <a:gd name="connsiteX16174" fmla="*/ 4425529 w 8079933"/>
              <a:gd name="connsiteY16174" fmla="*/ 1748677 h 4687251"/>
              <a:gd name="connsiteX16175" fmla="*/ 4425535 w 8079933"/>
              <a:gd name="connsiteY16175" fmla="*/ 1748679 h 4687251"/>
              <a:gd name="connsiteX16176" fmla="*/ 4430734 w 8079933"/>
              <a:gd name="connsiteY16176" fmla="*/ 1749003 h 4687251"/>
              <a:gd name="connsiteX16177" fmla="*/ 4426177 w 8079933"/>
              <a:gd name="connsiteY16177" fmla="*/ 1748786 h 4687251"/>
              <a:gd name="connsiteX16178" fmla="*/ 4421185 w 8079933"/>
              <a:gd name="connsiteY16178" fmla="*/ 1759179 h 4687251"/>
              <a:gd name="connsiteX16179" fmla="*/ 4420208 w 8079933"/>
              <a:gd name="connsiteY16179" fmla="*/ 1767299 h 4687251"/>
              <a:gd name="connsiteX16180" fmla="*/ 4420196 w 8079933"/>
              <a:gd name="connsiteY16180" fmla="*/ 1767307 h 4687251"/>
              <a:gd name="connsiteX16181" fmla="*/ 4420208 w 8079933"/>
              <a:gd name="connsiteY16181" fmla="*/ 1767300 h 4687251"/>
              <a:gd name="connsiteX16182" fmla="*/ 4420172 w 8079933"/>
              <a:gd name="connsiteY16182" fmla="*/ 1767323 h 4687251"/>
              <a:gd name="connsiteX16183" fmla="*/ 4420209 w 8079933"/>
              <a:gd name="connsiteY16183" fmla="*/ 1767301 h 4687251"/>
              <a:gd name="connsiteX16184" fmla="*/ 4421186 w 8079933"/>
              <a:gd name="connsiteY16184" fmla="*/ 1759181 h 4687251"/>
              <a:gd name="connsiteX16185" fmla="*/ 4426177 w 8079933"/>
              <a:gd name="connsiteY16185" fmla="*/ 1748787 h 4687251"/>
              <a:gd name="connsiteX16186" fmla="*/ 4430735 w 8079933"/>
              <a:gd name="connsiteY16186" fmla="*/ 1749003 h 4687251"/>
              <a:gd name="connsiteX16187" fmla="*/ 4431060 w 8079933"/>
              <a:gd name="connsiteY16187" fmla="*/ 1741857 h 4687251"/>
              <a:gd name="connsiteX16188" fmla="*/ 4429975 w 8079933"/>
              <a:gd name="connsiteY16188" fmla="*/ 1735253 h 4687251"/>
              <a:gd name="connsiteX16189" fmla="*/ 4444625 w 8079933"/>
              <a:gd name="connsiteY16189" fmla="*/ 1718904 h 4687251"/>
              <a:gd name="connsiteX16190" fmla="*/ 4446687 w 8079933"/>
              <a:gd name="connsiteY16190" fmla="*/ 1711758 h 4687251"/>
              <a:gd name="connsiteX16191" fmla="*/ 4450376 w 8079933"/>
              <a:gd name="connsiteY16191" fmla="*/ 1707968 h 4687251"/>
              <a:gd name="connsiteX16192" fmla="*/ 4454283 w 8079933"/>
              <a:gd name="connsiteY16192" fmla="*/ 1707752 h 4687251"/>
              <a:gd name="connsiteX16193" fmla="*/ 4455585 w 8079933"/>
              <a:gd name="connsiteY16193" fmla="*/ 1700715 h 4687251"/>
              <a:gd name="connsiteX16194" fmla="*/ 4453849 w 8079933"/>
              <a:gd name="connsiteY16194" fmla="*/ 1697791 h 4687251"/>
              <a:gd name="connsiteX16195" fmla="*/ 4453198 w 8079933"/>
              <a:gd name="connsiteY16195" fmla="*/ 1694002 h 4687251"/>
              <a:gd name="connsiteX16196" fmla="*/ 4455259 w 8079933"/>
              <a:gd name="connsiteY16196" fmla="*/ 1691403 h 4687251"/>
              <a:gd name="connsiteX16197" fmla="*/ 7135512 w 8079933"/>
              <a:gd name="connsiteY16197" fmla="*/ 1690103 h 4687251"/>
              <a:gd name="connsiteX16198" fmla="*/ 7140829 w 8079933"/>
              <a:gd name="connsiteY16198" fmla="*/ 1690103 h 4687251"/>
              <a:gd name="connsiteX16199" fmla="*/ 7142566 w 8079933"/>
              <a:gd name="connsiteY16199" fmla="*/ 1693676 h 4687251"/>
              <a:gd name="connsiteX16200" fmla="*/ 7150270 w 8079933"/>
              <a:gd name="connsiteY16200" fmla="*/ 1700064 h 4687251"/>
              <a:gd name="connsiteX16201" fmla="*/ 7156782 w 8079933"/>
              <a:gd name="connsiteY16201" fmla="*/ 1701363 h 4687251"/>
              <a:gd name="connsiteX16202" fmla="*/ 7160145 w 8079933"/>
              <a:gd name="connsiteY16202" fmla="*/ 1707751 h 4687251"/>
              <a:gd name="connsiteX16203" fmla="*/ 7170997 w 8079933"/>
              <a:gd name="connsiteY16203" fmla="*/ 1718470 h 4687251"/>
              <a:gd name="connsiteX16204" fmla="*/ 7176965 w 8079933"/>
              <a:gd name="connsiteY16204" fmla="*/ 1722692 h 4687251"/>
              <a:gd name="connsiteX16205" fmla="*/ 7178919 w 8079933"/>
              <a:gd name="connsiteY16205" fmla="*/ 1726157 h 4687251"/>
              <a:gd name="connsiteX16206" fmla="*/ 7183585 w 8079933"/>
              <a:gd name="connsiteY16206" fmla="*/ 1727240 h 4687251"/>
              <a:gd name="connsiteX16207" fmla="*/ 7187708 w 8079933"/>
              <a:gd name="connsiteY16207" fmla="*/ 1731679 h 4687251"/>
              <a:gd name="connsiteX16208" fmla="*/ 7194762 w 8079933"/>
              <a:gd name="connsiteY16208" fmla="*/ 1735144 h 4687251"/>
              <a:gd name="connsiteX16209" fmla="*/ 7200622 w 8079933"/>
              <a:gd name="connsiteY16209" fmla="*/ 1735793 h 4687251"/>
              <a:gd name="connsiteX16210" fmla="*/ 7205288 w 8079933"/>
              <a:gd name="connsiteY16210" fmla="*/ 1740232 h 4687251"/>
              <a:gd name="connsiteX16211" fmla="*/ 7208869 w 8079933"/>
              <a:gd name="connsiteY16211" fmla="*/ 1739583 h 4687251"/>
              <a:gd name="connsiteX16212" fmla="*/ 7210605 w 8079933"/>
              <a:gd name="connsiteY16212" fmla="*/ 1740774 h 4687251"/>
              <a:gd name="connsiteX16213" fmla="*/ 7216574 w 8079933"/>
              <a:gd name="connsiteY16213" fmla="*/ 1739907 h 4687251"/>
              <a:gd name="connsiteX16214" fmla="*/ 7224387 w 8079933"/>
              <a:gd name="connsiteY16214" fmla="*/ 1734711 h 4687251"/>
              <a:gd name="connsiteX16215" fmla="*/ 7228186 w 8079933"/>
              <a:gd name="connsiteY16215" fmla="*/ 1729622 h 4687251"/>
              <a:gd name="connsiteX16216" fmla="*/ 7229162 w 8079933"/>
              <a:gd name="connsiteY16216" fmla="*/ 1725399 h 4687251"/>
              <a:gd name="connsiteX16217" fmla="*/ 7230247 w 8079933"/>
              <a:gd name="connsiteY16217" fmla="*/ 1723992 h 4687251"/>
              <a:gd name="connsiteX16218" fmla="*/ 7231550 w 8079933"/>
              <a:gd name="connsiteY16218" fmla="*/ 1725941 h 4687251"/>
              <a:gd name="connsiteX16219" fmla="*/ 7231550 w 8079933"/>
              <a:gd name="connsiteY16219" fmla="*/ 1729946 h 4687251"/>
              <a:gd name="connsiteX16220" fmla="*/ 7229053 w 8079933"/>
              <a:gd name="connsiteY16220" fmla="*/ 1737092 h 4687251"/>
              <a:gd name="connsiteX16221" fmla="*/ 7229053 w 8079933"/>
              <a:gd name="connsiteY16221" fmla="*/ 1743589 h 4687251"/>
              <a:gd name="connsiteX16222" fmla="*/ 7230682 w 8079933"/>
              <a:gd name="connsiteY16222" fmla="*/ 1745754 h 4687251"/>
              <a:gd name="connsiteX16223" fmla="*/ 7236432 w 8079933"/>
              <a:gd name="connsiteY16223" fmla="*/ 1749435 h 4687251"/>
              <a:gd name="connsiteX16224" fmla="*/ 7240447 w 8079933"/>
              <a:gd name="connsiteY16224" fmla="*/ 1754307 h 4687251"/>
              <a:gd name="connsiteX16225" fmla="*/ 7240773 w 8079933"/>
              <a:gd name="connsiteY16225" fmla="*/ 1757989 h 4687251"/>
              <a:gd name="connsiteX16226" fmla="*/ 7240231 w 8079933"/>
              <a:gd name="connsiteY16226" fmla="*/ 1760370 h 4687251"/>
              <a:gd name="connsiteX16227" fmla="*/ 7243812 w 8079933"/>
              <a:gd name="connsiteY16227" fmla="*/ 1760370 h 4687251"/>
              <a:gd name="connsiteX16228" fmla="*/ 7246090 w 8079933"/>
              <a:gd name="connsiteY16228" fmla="*/ 1756798 h 4687251"/>
              <a:gd name="connsiteX16229" fmla="*/ 7249563 w 8079933"/>
              <a:gd name="connsiteY16229" fmla="*/ 1753441 h 4687251"/>
              <a:gd name="connsiteX16230" fmla="*/ 7252493 w 8079933"/>
              <a:gd name="connsiteY16230" fmla="*/ 1753117 h 4687251"/>
              <a:gd name="connsiteX16231" fmla="*/ 7250865 w 8079933"/>
              <a:gd name="connsiteY16231" fmla="*/ 1756582 h 4687251"/>
              <a:gd name="connsiteX16232" fmla="*/ 7248695 w 8079933"/>
              <a:gd name="connsiteY16232" fmla="*/ 1757989 h 4687251"/>
              <a:gd name="connsiteX16233" fmla="*/ 7248370 w 8079933"/>
              <a:gd name="connsiteY16233" fmla="*/ 1762645 h 4687251"/>
              <a:gd name="connsiteX16234" fmla="*/ 7245439 w 8079933"/>
              <a:gd name="connsiteY16234" fmla="*/ 1764810 h 4687251"/>
              <a:gd name="connsiteX16235" fmla="*/ 7241207 w 8079933"/>
              <a:gd name="connsiteY16235" fmla="*/ 1766543 h 4687251"/>
              <a:gd name="connsiteX16236" fmla="*/ 7240447 w 8079933"/>
              <a:gd name="connsiteY16236" fmla="*/ 1770115 h 4687251"/>
              <a:gd name="connsiteX16237" fmla="*/ 7238711 w 8079933"/>
              <a:gd name="connsiteY16237" fmla="*/ 1772713 h 4687251"/>
              <a:gd name="connsiteX16238" fmla="*/ 7235348 w 8079933"/>
              <a:gd name="connsiteY16238" fmla="*/ 1772930 h 4687251"/>
              <a:gd name="connsiteX16239" fmla="*/ 7233719 w 8079933"/>
              <a:gd name="connsiteY16239" fmla="*/ 1771523 h 4687251"/>
              <a:gd name="connsiteX16240" fmla="*/ 7230355 w 8079933"/>
              <a:gd name="connsiteY16240" fmla="*/ 1774121 h 4687251"/>
              <a:gd name="connsiteX16241" fmla="*/ 7230790 w 8079933"/>
              <a:gd name="connsiteY16241" fmla="*/ 1776503 h 4687251"/>
              <a:gd name="connsiteX16242" fmla="*/ 7224713 w 8079933"/>
              <a:gd name="connsiteY16242" fmla="*/ 1776503 h 4687251"/>
              <a:gd name="connsiteX16243" fmla="*/ 7220047 w 8079933"/>
              <a:gd name="connsiteY16243" fmla="*/ 1775312 h 4687251"/>
              <a:gd name="connsiteX16244" fmla="*/ 7216140 w 8079933"/>
              <a:gd name="connsiteY16244" fmla="*/ 1776503 h 4687251"/>
              <a:gd name="connsiteX16245" fmla="*/ 7209737 w 8079933"/>
              <a:gd name="connsiteY16245" fmla="*/ 1785490 h 4687251"/>
              <a:gd name="connsiteX16246" fmla="*/ 7207350 w 8079933"/>
              <a:gd name="connsiteY16246" fmla="*/ 1795126 h 4687251"/>
              <a:gd name="connsiteX16247" fmla="*/ 7206265 w 8079933"/>
              <a:gd name="connsiteY16247" fmla="*/ 1803029 h 4687251"/>
              <a:gd name="connsiteX16248" fmla="*/ 7207676 w 8079933"/>
              <a:gd name="connsiteY16248" fmla="*/ 1808335 h 4687251"/>
              <a:gd name="connsiteX16249" fmla="*/ 7206807 w 8079933"/>
              <a:gd name="connsiteY16249" fmla="*/ 1812233 h 4687251"/>
              <a:gd name="connsiteX16250" fmla="*/ 7207133 w 8079933"/>
              <a:gd name="connsiteY16250" fmla="*/ 1815914 h 4687251"/>
              <a:gd name="connsiteX16251" fmla="*/ 7203010 w 8079933"/>
              <a:gd name="connsiteY16251" fmla="*/ 1814181 h 4687251"/>
              <a:gd name="connsiteX16252" fmla="*/ 7200622 w 8079933"/>
              <a:gd name="connsiteY16252" fmla="*/ 1810933 h 4687251"/>
              <a:gd name="connsiteX16253" fmla="*/ 7193243 w 8079933"/>
              <a:gd name="connsiteY16253" fmla="*/ 1808984 h 4687251"/>
              <a:gd name="connsiteX16254" fmla="*/ 7185972 w 8079933"/>
              <a:gd name="connsiteY16254" fmla="*/ 1805195 h 4687251"/>
              <a:gd name="connsiteX16255" fmla="*/ 7179569 w 8079933"/>
              <a:gd name="connsiteY16255" fmla="*/ 1799565 h 4687251"/>
              <a:gd name="connsiteX16256" fmla="*/ 7175446 w 8079933"/>
              <a:gd name="connsiteY16256" fmla="*/ 1794909 h 4687251"/>
              <a:gd name="connsiteX16257" fmla="*/ 7171106 w 8079933"/>
              <a:gd name="connsiteY16257" fmla="*/ 1795559 h 4687251"/>
              <a:gd name="connsiteX16258" fmla="*/ 7167307 w 8079933"/>
              <a:gd name="connsiteY16258" fmla="*/ 1794801 h 4687251"/>
              <a:gd name="connsiteX16259" fmla="*/ 7165462 w 8079933"/>
              <a:gd name="connsiteY16259" fmla="*/ 1792852 h 4687251"/>
              <a:gd name="connsiteX16260" fmla="*/ 7161013 w 8079933"/>
              <a:gd name="connsiteY16260" fmla="*/ 1792635 h 4687251"/>
              <a:gd name="connsiteX16261" fmla="*/ 7155588 w 8079933"/>
              <a:gd name="connsiteY16261" fmla="*/ 1796641 h 4687251"/>
              <a:gd name="connsiteX16262" fmla="*/ 7149945 w 8079933"/>
              <a:gd name="connsiteY16262" fmla="*/ 1804329 h 4687251"/>
              <a:gd name="connsiteX16263" fmla="*/ 7147557 w 8079933"/>
              <a:gd name="connsiteY16263" fmla="*/ 1802813 h 4687251"/>
              <a:gd name="connsiteX16264" fmla="*/ 7141480 w 8079933"/>
              <a:gd name="connsiteY16264" fmla="*/ 1799024 h 4687251"/>
              <a:gd name="connsiteX16265" fmla="*/ 7138225 w 8079933"/>
              <a:gd name="connsiteY16265" fmla="*/ 1799349 h 4687251"/>
              <a:gd name="connsiteX16266" fmla="*/ 7135078 w 8079933"/>
              <a:gd name="connsiteY16266" fmla="*/ 1802163 h 4687251"/>
              <a:gd name="connsiteX16267" fmla="*/ 7135078 w 8079933"/>
              <a:gd name="connsiteY16267" fmla="*/ 1806819 h 4687251"/>
              <a:gd name="connsiteX16268" fmla="*/ 7136706 w 8079933"/>
              <a:gd name="connsiteY16268" fmla="*/ 1810608 h 4687251"/>
              <a:gd name="connsiteX16269" fmla="*/ 7141698 w 8079933"/>
              <a:gd name="connsiteY16269" fmla="*/ 1813315 h 4687251"/>
              <a:gd name="connsiteX16270" fmla="*/ 7146906 w 8079933"/>
              <a:gd name="connsiteY16270" fmla="*/ 1811908 h 4687251"/>
              <a:gd name="connsiteX16271" fmla="*/ 7152875 w 8079933"/>
              <a:gd name="connsiteY16271" fmla="*/ 1818620 h 4687251"/>
              <a:gd name="connsiteX16272" fmla="*/ 7158083 w 8079933"/>
              <a:gd name="connsiteY16272" fmla="*/ 1820028 h 4687251"/>
              <a:gd name="connsiteX16273" fmla="*/ 7163509 w 8079933"/>
              <a:gd name="connsiteY16273" fmla="*/ 1820028 h 4687251"/>
              <a:gd name="connsiteX16274" fmla="*/ 7165462 w 8079933"/>
              <a:gd name="connsiteY16274" fmla="*/ 1822735 h 4687251"/>
              <a:gd name="connsiteX16275" fmla="*/ 7161881 w 8079933"/>
              <a:gd name="connsiteY16275" fmla="*/ 1827607 h 4687251"/>
              <a:gd name="connsiteX16276" fmla="*/ 7160579 w 8079933"/>
              <a:gd name="connsiteY16276" fmla="*/ 1831072 h 4687251"/>
              <a:gd name="connsiteX16277" fmla="*/ 7157324 w 8079933"/>
              <a:gd name="connsiteY16277" fmla="*/ 1828473 h 4687251"/>
              <a:gd name="connsiteX16278" fmla="*/ 7151030 w 8079933"/>
              <a:gd name="connsiteY16278" fmla="*/ 1828040 h 4687251"/>
              <a:gd name="connsiteX16279" fmla="*/ 7148534 w 8079933"/>
              <a:gd name="connsiteY16279" fmla="*/ 1829773 h 4687251"/>
              <a:gd name="connsiteX16280" fmla="*/ 7149077 w 8079933"/>
              <a:gd name="connsiteY16280" fmla="*/ 1833237 h 4687251"/>
              <a:gd name="connsiteX16281" fmla="*/ 7147341 w 8079933"/>
              <a:gd name="connsiteY16281" fmla="*/ 1837243 h 4687251"/>
              <a:gd name="connsiteX16282" fmla="*/ 7141806 w 8079933"/>
              <a:gd name="connsiteY16282" fmla="*/ 1843631 h 4687251"/>
              <a:gd name="connsiteX16283" fmla="*/ 7137791 w 8079933"/>
              <a:gd name="connsiteY16283" fmla="*/ 1841141 h 4687251"/>
              <a:gd name="connsiteX16284" fmla="*/ 7135838 w 8079933"/>
              <a:gd name="connsiteY16284" fmla="*/ 1837243 h 4687251"/>
              <a:gd name="connsiteX16285" fmla="*/ 7137356 w 8079933"/>
              <a:gd name="connsiteY16285" fmla="*/ 1836161 h 4687251"/>
              <a:gd name="connsiteX16286" fmla="*/ 7135838 w 8079933"/>
              <a:gd name="connsiteY16286" fmla="*/ 1827607 h 4687251"/>
              <a:gd name="connsiteX16287" fmla="*/ 7132908 w 8079933"/>
              <a:gd name="connsiteY16287" fmla="*/ 1819487 h 4687251"/>
              <a:gd name="connsiteX16288" fmla="*/ 7129327 w 8079933"/>
              <a:gd name="connsiteY16288" fmla="*/ 1816130 h 4687251"/>
              <a:gd name="connsiteX16289" fmla="*/ 7125202 w 8079933"/>
              <a:gd name="connsiteY16289" fmla="*/ 1813315 h 4687251"/>
              <a:gd name="connsiteX16290" fmla="*/ 7122382 w 8079933"/>
              <a:gd name="connsiteY16290" fmla="*/ 1813207 h 4687251"/>
              <a:gd name="connsiteX16291" fmla="*/ 7121839 w 8079933"/>
              <a:gd name="connsiteY16291" fmla="*/ 1810067 h 4687251"/>
              <a:gd name="connsiteX16292" fmla="*/ 7122273 w 8079933"/>
              <a:gd name="connsiteY16292" fmla="*/ 1803571 h 4687251"/>
              <a:gd name="connsiteX16293" fmla="*/ 7121079 w 8079933"/>
              <a:gd name="connsiteY16293" fmla="*/ 1798807 h 4687251"/>
              <a:gd name="connsiteX16294" fmla="*/ 7122816 w 8079933"/>
              <a:gd name="connsiteY16294" fmla="*/ 1794909 h 4687251"/>
              <a:gd name="connsiteX16295" fmla="*/ 7125638 w 8079933"/>
              <a:gd name="connsiteY16295" fmla="*/ 1793394 h 4687251"/>
              <a:gd name="connsiteX16296" fmla="*/ 7126397 w 8079933"/>
              <a:gd name="connsiteY16296" fmla="*/ 1791228 h 4687251"/>
              <a:gd name="connsiteX16297" fmla="*/ 7129544 w 8079933"/>
              <a:gd name="connsiteY16297" fmla="*/ 1790686 h 4687251"/>
              <a:gd name="connsiteX16298" fmla="*/ 7131605 w 8079933"/>
              <a:gd name="connsiteY16298" fmla="*/ 1785923 h 4687251"/>
              <a:gd name="connsiteX16299" fmla="*/ 7133341 w 8079933"/>
              <a:gd name="connsiteY16299" fmla="*/ 1783541 h 4687251"/>
              <a:gd name="connsiteX16300" fmla="*/ 7132799 w 8079933"/>
              <a:gd name="connsiteY16300" fmla="*/ 1781484 h 4687251"/>
              <a:gd name="connsiteX16301" fmla="*/ 7128024 w 8079933"/>
              <a:gd name="connsiteY16301" fmla="*/ 1777911 h 4687251"/>
              <a:gd name="connsiteX16302" fmla="*/ 7126179 w 8079933"/>
              <a:gd name="connsiteY16302" fmla="*/ 1777586 h 4687251"/>
              <a:gd name="connsiteX16303" fmla="*/ 7124769 w 8079933"/>
              <a:gd name="connsiteY16303" fmla="*/ 1775853 h 4687251"/>
              <a:gd name="connsiteX16304" fmla="*/ 7126505 w 8079933"/>
              <a:gd name="connsiteY16304" fmla="*/ 1772280 h 4687251"/>
              <a:gd name="connsiteX16305" fmla="*/ 7129977 w 8079933"/>
              <a:gd name="connsiteY16305" fmla="*/ 1771523 h 4687251"/>
              <a:gd name="connsiteX16306" fmla="*/ 7137465 w 8079933"/>
              <a:gd name="connsiteY16306" fmla="*/ 1775637 h 4687251"/>
              <a:gd name="connsiteX16307" fmla="*/ 7145495 w 8079933"/>
              <a:gd name="connsiteY16307" fmla="*/ 1776936 h 4687251"/>
              <a:gd name="connsiteX16308" fmla="*/ 7148208 w 8079933"/>
              <a:gd name="connsiteY16308" fmla="*/ 1774771 h 4687251"/>
              <a:gd name="connsiteX16309" fmla="*/ 7148534 w 8079933"/>
              <a:gd name="connsiteY16309" fmla="*/ 1771198 h 4687251"/>
              <a:gd name="connsiteX16310" fmla="*/ 7150054 w 8079933"/>
              <a:gd name="connsiteY16310" fmla="*/ 1769682 h 4687251"/>
              <a:gd name="connsiteX16311" fmla="*/ 7148534 w 8079933"/>
              <a:gd name="connsiteY16311" fmla="*/ 1766217 h 4687251"/>
              <a:gd name="connsiteX16312" fmla="*/ 7146364 w 8079933"/>
              <a:gd name="connsiteY16312" fmla="*/ 1765027 h 4687251"/>
              <a:gd name="connsiteX16313" fmla="*/ 7145495 w 8079933"/>
              <a:gd name="connsiteY16313" fmla="*/ 1762753 h 4687251"/>
              <a:gd name="connsiteX16314" fmla="*/ 7142891 w 8079933"/>
              <a:gd name="connsiteY16314" fmla="*/ 1758422 h 4687251"/>
              <a:gd name="connsiteX16315" fmla="*/ 7141480 w 8079933"/>
              <a:gd name="connsiteY16315" fmla="*/ 1754091 h 4687251"/>
              <a:gd name="connsiteX16316" fmla="*/ 7145061 w 8079933"/>
              <a:gd name="connsiteY16316" fmla="*/ 1749976 h 4687251"/>
              <a:gd name="connsiteX16317" fmla="*/ 7147124 w 8079933"/>
              <a:gd name="connsiteY16317" fmla="*/ 1749652 h 4687251"/>
              <a:gd name="connsiteX16318" fmla="*/ 7147557 w 8079933"/>
              <a:gd name="connsiteY16318" fmla="*/ 1747703 h 4687251"/>
              <a:gd name="connsiteX16319" fmla="*/ 7145821 w 8079933"/>
              <a:gd name="connsiteY16319" fmla="*/ 1743047 h 4687251"/>
              <a:gd name="connsiteX16320" fmla="*/ 7143434 w 8079933"/>
              <a:gd name="connsiteY16320" fmla="*/ 1735793 h 4687251"/>
              <a:gd name="connsiteX16321" fmla="*/ 7144302 w 8079933"/>
              <a:gd name="connsiteY16321" fmla="*/ 1732545 h 4687251"/>
              <a:gd name="connsiteX16322" fmla="*/ 7143759 w 8079933"/>
              <a:gd name="connsiteY16322" fmla="*/ 1723558 h 4687251"/>
              <a:gd name="connsiteX16323" fmla="*/ 7141806 w 8079933"/>
              <a:gd name="connsiteY16323" fmla="*/ 1718145 h 4687251"/>
              <a:gd name="connsiteX16324" fmla="*/ 7133558 w 8079933"/>
              <a:gd name="connsiteY16324" fmla="*/ 1705369 h 4687251"/>
              <a:gd name="connsiteX16325" fmla="*/ 7132257 w 8079933"/>
              <a:gd name="connsiteY16325" fmla="*/ 1699631 h 4687251"/>
              <a:gd name="connsiteX16326" fmla="*/ 7130195 w 8079933"/>
              <a:gd name="connsiteY16326" fmla="*/ 1696599 h 4687251"/>
              <a:gd name="connsiteX16327" fmla="*/ 7131388 w 8079933"/>
              <a:gd name="connsiteY16327" fmla="*/ 1695083 h 4687251"/>
              <a:gd name="connsiteX16328" fmla="*/ 7133558 w 8079933"/>
              <a:gd name="connsiteY16328" fmla="*/ 1695083 h 4687251"/>
              <a:gd name="connsiteX16329" fmla="*/ 7136054 w 8079933"/>
              <a:gd name="connsiteY16329" fmla="*/ 1692160 h 4687251"/>
              <a:gd name="connsiteX16330" fmla="*/ 4967783 w 8079933"/>
              <a:gd name="connsiteY16330" fmla="*/ 1689671 h 4687251"/>
              <a:gd name="connsiteX16331" fmla="*/ 4964311 w 8079933"/>
              <a:gd name="connsiteY16331" fmla="*/ 1694110 h 4687251"/>
              <a:gd name="connsiteX16332" fmla="*/ 4964311 w 8079933"/>
              <a:gd name="connsiteY16332" fmla="*/ 1700174 h 4687251"/>
              <a:gd name="connsiteX16333" fmla="*/ 4957908 w 8079933"/>
              <a:gd name="connsiteY16333" fmla="*/ 1708077 h 4687251"/>
              <a:gd name="connsiteX16334" fmla="*/ 4953242 w 8079933"/>
              <a:gd name="connsiteY16334" fmla="*/ 1710351 h 4687251"/>
              <a:gd name="connsiteX16335" fmla="*/ 4954435 w 8079933"/>
              <a:gd name="connsiteY16335" fmla="*/ 1722044 h 4687251"/>
              <a:gd name="connsiteX16336" fmla="*/ 4958016 w 8079933"/>
              <a:gd name="connsiteY16336" fmla="*/ 1725617 h 4687251"/>
              <a:gd name="connsiteX16337" fmla="*/ 4955955 w 8079933"/>
              <a:gd name="connsiteY16337" fmla="*/ 1740450 h 4687251"/>
              <a:gd name="connsiteX16338" fmla="*/ 4952374 w 8079933"/>
              <a:gd name="connsiteY16338" fmla="*/ 1748679 h 4687251"/>
              <a:gd name="connsiteX16339" fmla="*/ 4962249 w 8079933"/>
              <a:gd name="connsiteY16339" fmla="*/ 1752468 h 4687251"/>
              <a:gd name="connsiteX16340" fmla="*/ 4966372 w 8079933"/>
              <a:gd name="connsiteY16340" fmla="*/ 1759181 h 4687251"/>
              <a:gd name="connsiteX16341" fmla="*/ 4964853 w 8079933"/>
              <a:gd name="connsiteY16341" fmla="*/ 1762754 h 4687251"/>
              <a:gd name="connsiteX16342" fmla="*/ 4972558 w 8079933"/>
              <a:gd name="connsiteY16342" fmla="*/ 1769250 h 4687251"/>
              <a:gd name="connsiteX16343" fmla="*/ 4973900 w 8079933"/>
              <a:gd name="connsiteY16343" fmla="*/ 1766794 h 4687251"/>
              <a:gd name="connsiteX16344" fmla="*/ 4969952 w 8079933"/>
              <a:gd name="connsiteY16344" fmla="*/ 1763511 h 4687251"/>
              <a:gd name="connsiteX16345" fmla="*/ 4971581 w 8079933"/>
              <a:gd name="connsiteY16345" fmla="*/ 1759830 h 4687251"/>
              <a:gd name="connsiteX16346" fmla="*/ 4967457 w 8079933"/>
              <a:gd name="connsiteY16346" fmla="*/ 1753225 h 4687251"/>
              <a:gd name="connsiteX16347" fmla="*/ 4957582 w 8079933"/>
              <a:gd name="connsiteY16347" fmla="*/ 1749436 h 4687251"/>
              <a:gd name="connsiteX16348" fmla="*/ 4961163 w 8079933"/>
              <a:gd name="connsiteY16348" fmla="*/ 1741099 h 4687251"/>
              <a:gd name="connsiteX16349" fmla="*/ 4963333 w 8079933"/>
              <a:gd name="connsiteY16349" fmla="*/ 1726374 h 4687251"/>
              <a:gd name="connsiteX16350" fmla="*/ 4959644 w 8079933"/>
              <a:gd name="connsiteY16350" fmla="*/ 1722801 h 4687251"/>
              <a:gd name="connsiteX16351" fmla="*/ 4958450 w 8079933"/>
              <a:gd name="connsiteY16351" fmla="*/ 1711000 h 4687251"/>
              <a:gd name="connsiteX16352" fmla="*/ 4963116 w 8079933"/>
              <a:gd name="connsiteY16352" fmla="*/ 1708834 h 4687251"/>
              <a:gd name="connsiteX16353" fmla="*/ 4969410 w 8079933"/>
              <a:gd name="connsiteY16353" fmla="*/ 1700931 h 4687251"/>
              <a:gd name="connsiteX16354" fmla="*/ 4969410 w 8079933"/>
              <a:gd name="connsiteY16354" fmla="*/ 1694867 h 4687251"/>
              <a:gd name="connsiteX16355" fmla="*/ 4971117 w 8079933"/>
              <a:gd name="connsiteY16355" fmla="*/ 1692685 h 4687251"/>
              <a:gd name="connsiteX16356" fmla="*/ 5883354 w 8079933"/>
              <a:gd name="connsiteY16356" fmla="*/ 1689146 h 4687251"/>
              <a:gd name="connsiteX16357" fmla="*/ 5883555 w 8079933"/>
              <a:gd name="connsiteY16357" fmla="*/ 1692051 h 4687251"/>
              <a:gd name="connsiteX16358" fmla="*/ 5884640 w 8079933"/>
              <a:gd name="connsiteY16358" fmla="*/ 1695083 h 4687251"/>
              <a:gd name="connsiteX16359" fmla="*/ 5887049 w 8079933"/>
              <a:gd name="connsiteY16359" fmla="*/ 1697278 h 4687251"/>
              <a:gd name="connsiteX16360" fmla="*/ 5884641 w 8079933"/>
              <a:gd name="connsiteY16360" fmla="*/ 1695084 h 4687251"/>
              <a:gd name="connsiteX16361" fmla="*/ 5883556 w 8079933"/>
              <a:gd name="connsiteY16361" fmla="*/ 1692053 h 4687251"/>
              <a:gd name="connsiteX16362" fmla="*/ 4051468 w 8079933"/>
              <a:gd name="connsiteY16362" fmla="*/ 1687288 h 4687251"/>
              <a:gd name="connsiteX16363" fmla="*/ 4049166 w 8079933"/>
              <a:gd name="connsiteY16363" fmla="*/ 1687444 h 4687251"/>
              <a:gd name="connsiteX16364" fmla="*/ 4051468 w 8079933"/>
              <a:gd name="connsiteY16364" fmla="*/ 1687289 h 4687251"/>
              <a:gd name="connsiteX16365" fmla="*/ 2537661 w 8079933"/>
              <a:gd name="connsiteY16365" fmla="*/ 1686747 h 4687251"/>
              <a:gd name="connsiteX16366" fmla="*/ 2541892 w 8079933"/>
              <a:gd name="connsiteY16366" fmla="*/ 1688479 h 4687251"/>
              <a:gd name="connsiteX16367" fmla="*/ 2552961 w 8079933"/>
              <a:gd name="connsiteY16367" fmla="*/ 1692269 h 4687251"/>
              <a:gd name="connsiteX16368" fmla="*/ 2559255 w 8079933"/>
              <a:gd name="connsiteY16368" fmla="*/ 1692810 h 4687251"/>
              <a:gd name="connsiteX16369" fmla="*/ 2564898 w 8079933"/>
              <a:gd name="connsiteY16369" fmla="*/ 1694975 h 4687251"/>
              <a:gd name="connsiteX16370" fmla="*/ 2569456 w 8079933"/>
              <a:gd name="connsiteY16370" fmla="*/ 1699956 h 4687251"/>
              <a:gd name="connsiteX16371" fmla="*/ 2571518 w 8079933"/>
              <a:gd name="connsiteY16371" fmla="*/ 1700281 h 4687251"/>
              <a:gd name="connsiteX16372" fmla="*/ 2576943 w 8079933"/>
              <a:gd name="connsiteY16372" fmla="*/ 1704287 h 4687251"/>
              <a:gd name="connsiteX16373" fmla="*/ 2580742 w 8079933"/>
              <a:gd name="connsiteY16373" fmla="*/ 1708834 h 4687251"/>
              <a:gd name="connsiteX16374" fmla="*/ 2583888 w 8079933"/>
              <a:gd name="connsiteY16374" fmla="*/ 1709808 h 4687251"/>
              <a:gd name="connsiteX16375" fmla="*/ 2586384 w 8079933"/>
              <a:gd name="connsiteY16375" fmla="*/ 1711865 h 4687251"/>
              <a:gd name="connsiteX16376" fmla="*/ 2587578 w 8079933"/>
              <a:gd name="connsiteY16376" fmla="*/ 1714139 h 4687251"/>
              <a:gd name="connsiteX16377" fmla="*/ 2590291 w 8079933"/>
              <a:gd name="connsiteY16377" fmla="*/ 1716629 h 4687251"/>
              <a:gd name="connsiteX16378" fmla="*/ 2589748 w 8079933"/>
              <a:gd name="connsiteY16378" fmla="*/ 1719444 h 4687251"/>
              <a:gd name="connsiteX16379" fmla="*/ 2584105 w 8079933"/>
              <a:gd name="connsiteY16379" fmla="*/ 1721285 h 4687251"/>
              <a:gd name="connsiteX16380" fmla="*/ 2579656 w 8079933"/>
              <a:gd name="connsiteY16380" fmla="*/ 1719444 h 4687251"/>
              <a:gd name="connsiteX16381" fmla="*/ 2576401 w 8079933"/>
              <a:gd name="connsiteY16381" fmla="*/ 1719011 h 4687251"/>
              <a:gd name="connsiteX16382" fmla="*/ 2572819 w 8079933"/>
              <a:gd name="connsiteY16382" fmla="*/ 1716196 h 4687251"/>
              <a:gd name="connsiteX16383" fmla="*/ 2568153 w 8079933"/>
              <a:gd name="connsiteY16383" fmla="*/ 1715114 h 4687251"/>
              <a:gd name="connsiteX16384" fmla="*/ 2561425 w 8079933"/>
              <a:gd name="connsiteY16384" fmla="*/ 1715114 h 4687251"/>
              <a:gd name="connsiteX16385" fmla="*/ 2552310 w 8079933"/>
              <a:gd name="connsiteY16385" fmla="*/ 1708401 h 4687251"/>
              <a:gd name="connsiteX16386" fmla="*/ 2549815 w 8079933"/>
              <a:gd name="connsiteY16386" fmla="*/ 1707968 h 4687251"/>
              <a:gd name="connsiteX16387" fmla="*/ 2548512 w 8079933"/>
              <a:gd name="connsiteY16387" fmla="*/ 1706019 h 4687251"/>
              <a:gd name="connsiteX16388" fmla="*/ 2547535 w 8079933"/>
              <a:gd name="connsiteY16388" fmla="*/ 1701688 h 4687251"/>
              <a:gd name="connsiteX16389" fmla="*/ 2539614 w 8079933"/>
              <a:gd name="connsiteY16389" fmla="*/ 1695733 h 4687251"/>
              <a:gd name="connsiteX16390" fmla="*/ 2534948 w 8079933"/>
              <a:gd name="connsiteY16390" fmla="*/ 1693568 h 4687251"/>
              <a:gd name="connsiteX16391" fmla="*/ 2532886 w 8079933"/>
              <a:gd name="connsiteY16391" fmla="*/ 1689345 h 4687251"/>
              <a:gd name="connsiteX16392" fmla="*/ 5882037 w 8079933"/>
              <a:gd name="connsiteY16392" fmla="*/ 1686423 h 4687251"/>
              <a:gd name="connsiteX16393" fmla="*/ 5882037 w 8079933"/>
              <a:gd name="connsiteY16393" fmla="*/ 1686423 h 4687251"/>
              <a:gd name="connsiteX16394" fmla="*/ 5882500 w 8079933"/>
              <a:gd name="connsiteY16394" fmla="*/ 1687309 h 4687251"/>
              <a:gd name="connsiteX16395" fmla="*/ 5855158 w 8079933"/>
              <a:gd name="connsiteY16395" fmla="*/ 1685804 h 4687251"/>
              <a:gd name="connsiteX16396" fmla="*/ 5852193 w 8079933"/>
              <a:gd name="connsiteY16396" fmla="*/ 1688913 h 4687251"/>
              <a:gd name="connsiteX16397" fmla="*/ 5851976 w 8079933"/>
              <a:gd name="connsiteY16397" fmla="*/ 1692702 h 4687251"/>
              <a:gd name="connsiteX16398" fmla="*/ 5853387 w 8079933"/>
              <a:gd name="connsiteY16398" fmla="*/ 1695192 h 4687251"/>
              <a:gd name="connsiteX16399" fmla="*/ 5850927 w 8079933"/>
              <a:gd name="connsiteY16399" fmla="*/ 1699557 h 4687251"/>
              <a:gd name="connsiteX16400" fmla="*/ 5850458 w 8079933"/>
              <a:gd name="connsiteY16400" fmla="*/ 1700388 h 4687251"/>
              <a:gd name="connsiteX16401" fmla="*/ 5850458 w 8079933"/>
              <a:gd name="connsiteY16401" fmla="*/ 1700388 h 4687251"/>
              <a:gd name="connsiteX16402" fmla="*/ 5850927 w 8079933"/>
              <a:gd name="connsiteY16402" fmla="*/ 1699557 h 4687251"/>
              <a:gd name="connsiteX16403" fmla="*/ 5853388 w 8079933"/>
              <a:gd name="connsiteY16403" fmla="*/ 1695192 h 4687251"/>
              <a:gd name="connsiteX16404" fmla="*/ 5851977 w 8079933"/>
              <a:gd name="connsiteY16404" fmla="*/ 1692701 h 4687251"/>
              <a:gd name="connsiteX16405" fmla="*/ 5852194 w 8079933"/>
              <a:gd name="connsiteY16405" fmla="*/ 1688912 h 4687251"/>
              <a:gd name="connsiteX16406" fmla="*/ 5877139 w 8079933"/>
              <a:gd name="connsiteY16406" fmla="*/ 1685108 h 4687251"/>
              <a:gd name="connsiteX16407" fmla="*/ 5877587 w 8079933"/>
              <a:gd name="connsiteY16407" fmla="*/ 1685555 h 4687251"/>
              <a:gd name="connsiteX16408" fmla="*/ 5879323 w 8079933"/>
              <a:gd name="connsiteY16408" fmla="*/ 1688587 h 4687251"/>
              <a:gd name="connsiteX16409" fmla="*/ 5879324 w 8079933"/>
              <a:gd name="connsiteY16409" fmla="*/ 1688587 h 4687251"/>
              <a:gd name="connsiteX16410" fmla="*/ 5877588 w 8079933"/>
              <a:gd name="connsiteY16410" fmla="*/ 1685556 h 4687251"/>
              <a:gd name="connsiteX16411" fmla="*/ 4038217 w 8079933"/>
              <a:gd name="connsiteY16411" fmla="*/ 1683921 h 4687251"/>
              <a:gd name="connsiteX16412" fmla="*/ 4038663 w 8079933"/>
              <a:gd name="connsiteY16412" fmla="*/ 1684366 h 4687251"/>
              <a:gd name="connsiteX16413" fmla="*/ 4042895 w 8079933"/>
              <a:gd name="connsiteY16413" fmla="*/ 1684366 h 4687251"/>
              <a:gd name="connsiteX16414" fmla="*/ 4042895 w 8079933"/>
              <a:gd name="connsiteY16414" fmla="*/ 1684365 h 4687251"/>
              <a:gd name="connsiteX16415" fmla="*/ 4038663 w 8079933"/>
              <a:gd name="connsiteY16415" fmla="*/ 1684365 h 4687251"/>
              <a:gd name="connsiteX16416" fmla="*/ 4027811 w 8079933"/>
              <a:gd name="connsiteY16416" fmla="*/ 1681442 h 4687251"/>
              <a:gd name="connsiteX16417" fmla="*/ 4026509 w 8079933"/>
              <a:gd name="connsiteY16417" fmla="*/ 1684907 h 4687251"/>
              <a:gd name="connsiteX16418" fmla="*/ 4023037 w 8079933"/>
              <a:gd name="connsiteY16418" fmla="*/ 1685231 h 4687251"/>
              <a:gd name="connsiteX16419" fmla="*/ 4021952 w 8079933"/>
              <a:gd name="connsiteY16419" fmla="*/ 1686855 h 4687251"/>
              <a:gd name="connsiteX16420" fmla="*/ 4020469 w 8079933"/>
              <a:gd name="connsiteY16420" fmla="*/ 1687144 h 4687251"/>
              <a:gd name="connsiteX16421" fmla="*/ 4021952 w 8079933"/>
              <a:gd name="connsiteY16421" fmla="*/ 1686856 h 4687251"/>
              <a:gd name="connsiteX16422" fmla="*/ 4023037 w 8079933"/>
              <a:gd name="connsiteY16422" fmla="*/ 1685231 h 4687251"/>
              <a:gd name="connsiteX16423" fmla="*/ 4026509 w 8079933"/>
              <a:gd name="connsiteY16423" fmla="*/ 1684907 h 4687251"/>
              <a:gd name="connsiteX16424" fmla="*/ 4027812 w 8079933"/>
              <a:gd name="connsiteY16424" fmla="*/ 1681442 h 4687251"/>
              <a:gd name="connsiteX16425" fmla="*/ 6946150 w 8079933"/>
              <a:gd name="connsiteY16425" fmla="*/ 1680871 h 4687251"/>
              <a:gd name="connsiteX16426" fmla="*/ 6943871 w 8079933"/>
              <a:gd name="connsiteY16426" fmla="*/ 1682523 h 4687251"/>
              <a:gd name="connsiteX16427" fmla="*/ 6942894 w 8079933"/>
              <a:gd name="connsiteY16427" fmla="*/ 1685664 h 4687251"/>
              <a:gd name="connsiteX16428" fmla="*/ 6943232 w 8079933"/>
              <a:gd name="connsiteY16428" fmla="*/ 1686181 h 4687251"/>
              <a:gd name="connsiteX16429" fmla="*/ 6943763 w 8079933"/>
              <a:gd name="connsiteY16429" fmla="*/ 1684474 h 4687251"/>
              <a:gd name="connsiteX16430" fmla="*/ 6946150 w 8079933"/>
              <a:gd name="connsiteY16430" fmla="*/ 1682742 h 4687251"/>
              <a:gd name="connsiteX16431" fmla="*/ 3957276 w 8079933"/>
              <a:gd name="connsiteY16431" fmla="*/ 1680034 h 4687251"/>
              <a:gd name="connsiteX16432" fmla="*/ 3959555 w 8079933"/>
              <a:gd name="connsiteY16432" fmla="*/ 1680034 h 4687251"/>
              <a:gd name="connsiteX16433" fmla="*/ 3960965 w 8079933"/>
              <a:gd name="connsiteY16433" fmla="*/ 1681766 h 4687251"/>
              <a:gd name="connsiteX16434" fmla="*/ 3958470 w 8079933"/>
              <a:gd name="connsiteY16434" fmla="*/ 1682416 h 4687251"/>
              <a:gd name="connsiteX16435" fmla="*/ 3955648 w 8079933"/>
              <a:gd name="connsiteY16435" fmla="*/ 1680900 h 4687251"/>
              <a:gd name="connsiteX16436" fmla="*/ 5876018 w 8079933"/>
              <a:gd name="connsiteY16436" fmla="*/ 1676865 h 4687251"/>
              <a:gd name="connsiteX16437" fmla="*/ 5876393 w 8079933"/>
              <a:gd name="connsiteY16437" fmla="*/ 1678735 h 4687251"/>
              <a:gd name="connsiteX16438" fmla="*/ 5876176 w 8079933"/>
              <a:gd name="connsiteY16438" fmla="*/ 1684148 h 4687251"/>
              <a:gd name="connsiteX16439" fmla="*/ 5876177 w 8079933"/>
              <a:gd name="connsiteY16439" fmla="*/ 1684149 h 4687251"/>
              <a:gd name="connsiteX16440" fmla="*/ 5876394 w 8079933"/>
              <a:gd name="connsiteY16440" fmla="*/ 1678735 h 4687251"/>
              <a:gd name="connsiteX16441" fmla="*/ 4695902 w 8079933"/>
              <a:gd name="connsiteY16441" fmla="*/ 1676139 h 4687251"/>
              <a:gd name="connsiteX16442" fmla="*/ 4696057 w 8079933"/>
              <a:gd name="connsiteY16442" fmla="*/ 1677328 h 4687251"/>
              <a:gd name="connsiteX16443" fmla="*/ 4698119 w 8079933"/>
              <a:gd name="connsiteY16443" fmla="*/ 1677679 h 4687251"/>
              <a:gd name="connsiteX16444" fmla="*/ 4698119 w 8079933"/>
              <a:gd name="connsiteY16444" fmla="*/ 1676462 h 4687251"/>
              <a:gd name="connsiteX16445" fmla="*/ 4015875 w 8079933"/>
              <a:gd name="connsiteY16445" fmla="*/ 1673213 h 4687251"/>
              <a:gd name="connsiteX16446" fmla="*/ 4017720 w 8079933"/>
              <a:gd name="connsiteY16446" fmla="*/ 1675703 h 4687251"/>
              <a:gd name="connsiteX16447" fmla="*/ 4015333 w 8079933"/>
              <a:gd name="connsiteY16447" fmla="*/ 1676353 h 4687251"/>
              <a:gd name="connsiteX16448" fmla="*/ 4014465 w 8079933"/>
              <a:gd name="connsiteY16448" fmla="*/ 1675161 h 4687251"/>
              <a:gd name="connsiteX16449" fmla="*/ 4011752 w 8079933"/>
              <a:gd name="connsiteY16449" fmla="*/ 1675053 h 4687251"/>
              <a:gd name="connsiteX16450" fmla="*/ 6598939 w 8079933"/>
              <a:gd name="connsiteY16450" fmla="*/ 1672167 h 4687251"/>
              <a:gd name="connsiteX16451" fmla="*/ 6602804 w 8079933"/>
              <a:gd name="connsiteY16451" fmla="*/ 1677003 h 4687251"/>
              <a:gd name="connsiteX16452" fmla="*/ 6611702 w 8079933"/>
              <a:gd name="connsiteY16452" fmla="*/ 1683390 h 4687251"/>
              <a:gd name="connsiteX16453" fmla="*/ 6611702 w 8079933"/>
              <a:gd name="connsiteY16453" fmla="*/ 1683390 h 4687251"/>
              <a:gd name="connsiteX16454" fmla="*/ 6602804 w 8079933"/>
              <a:gd name="connsiteY16454" fmla="*/ 1677002 h 4687251"/>
              <a:gd name="connsiteX16455" fmla="*/ 5218457 w 8079933"/>
              <a:gd name="connsiteY16455" fmla="*/ 1670724 h 4687251"/>
              <a:gd name="connsiteX16456" fmla="*/ 5216394 w 8079933"/>
              <a:gd name="connsiteY16456" fmla="*/ 1672131 h 4687251"/>
              <a:gd name="connsiteX16457" fmla="*/ 5212665 w 8079933"/>
              <a:gd name="connsiteY16457" fmla="*/ 1670922 h 4687251"/>
              <a:gd name="connsiteX16458" fmla="*/ 5213138 w 8079933"/>
              <a:gd name="connsiteY16458" fmla="*/ 1671481 h 4687251"/>
              <a:gd name="connsiteX16459" fmla="*/ 5217371 w 8079933"/>
              <a:gd name="connsiteY16459" fmla="*/ 1672888 h 4687251"/>
              <a:gd name="connsiteX16460" fmla="*/ 5219541 w 8079933"/>
              <a:gd name="connsiteY16460" fmla="*/ 1671481 h 4687251"/>
              <a:gd name="connsiteX16461" fmla="*/ 5222796 w 8079933"/>
              <a:gd name="connsiteY16461" fmla="*/ 1673430 h 4687251"/>
              <a:gd name="connsiteX16462" fmla="*/ 5229783 w 8079933"/>
              <a:gd name="connsiteY16462" fmla="*/ 1673113 h 4687251"/>
              <a:gd name="connsiteX16463" fmla="*/ 5228983 w 8079933"/>
              <a:gd name="connsiteY16463" fmla="*/ 1672673 h 4687251"/>
              <a:gd name="connsiteX16464" fmla="*/ 5221712 w 8079933"/>
              <a:gd name="connsiteY16464" fmla="*/ 1672673 h 4687251"/>
              <a:gd name="connsiteX16465" fmla="*/ 4013814 w 8079933"/>
              <a:gd name="connsiteY16465" fmla="*/ 1670181 h 4687251"/>
              <a:gd name="connsiteX16466" fmla="*/ 4017177 w 8079933"/>
              <a:gd name="connsiteY16466" fmla="*/ 1670289 h 4687251"/>
              <a:gd name="connsiteX16467" fmla="*/ 4021518 w 8079933"/>
              <a:gd name="connsiteY16467" fmla="*/ 1672022 h 4687251"/>
              <a:gd name="connsiteX16468" fmla="*/ 4020650 w 8079933"/>
              <a:gd name="connsiteY16468" fmla="*/ 1673213 h 4687251"/>
              <a:gd name="connsiteX16469" fmla="*/ 4018263 w 8079933"/>
              <a:gd name="connsiteY16469" fmla="*/ 1672672 h 4687251"/>
              <a:gd name="connsiteX16470" fmla="*/ 4017503 w 8079933"/>
              <a:gd name="connsiteY16470" fmla="*/ 1671264 h 4687251"/>
              <a:gd name="connsiteX16471" fmla="*/ 4014573 w 8079933"/>
              <a:gd name="connsiteY16471" fmla="*/ 1672239 h 4687251"/>
              <a:gd name="connsiteX16472" fmla="*/ 2733968 w 8079933"/>
              <a:gd name="connsiteY16472" fmla="*/ 1667691 h 4687251"/>
              <a:gd name="connsiteX16473" fmla="*/ 2735595 w 8079933"/>
              <a:gd name="connsiteY16473" fmla="*/ 1668124 h 4687251"/>
              <a:gd name="connsiteX16474" fmla="*/ 2735595 w 8079933"/>
              <a:gd name="connsiteY16474" fmla="*/ 1670615 h 4687251"/>
              <a:gd name="connsiteX16475" fmla="*/ 2734076 w 8079933"/>
              <a:gd name="connsiteY16475" fmla="*/ 1670722 h 4687251"/>
              <a:gd name="connsiteX16476" fmla="*/ 2733208 w 8079933"/>
              <a:gd name="connsiteY16476" fmla="*/ 1671589 h 4687251"/>
              <a:gd name="connsiteX16477" fmla="*/ 2731906 w 8079933"/>
              <a:gd name="connsiteY16477" fmla="*/ 1670939 h 4687251"/>
              <a:gd name="connsiteX16478" fmla="*/ 2731798 w 8079933"/>
              <a:gd name="connsiteY16478" fmla="*/ 1668340 h 4687251"/>
              <a:gd name="connsiteX16479" fmla="*/ 7294381 w 8079933"/>
              <a:gd name="connsiteY16479" fmla="*/ 1667150 h 4687251"/>
              <a:gd name="connsiteX16480" fmla="*/ 7296008 w 8079933"/>
              <a:gd name="connsiteY16480" fmla="*/ 1671805 h 4687251"/>
              <a:gd name="connsiteX16481" fmla="*/ 7296334 w 8079933"/>
              <a:gd name="connsiteY16481" fmla="*/ 1676570 h 4687251"/>
              <a:gd name="connsiteX16482" fmla="*/ 7292536 w 8079933"/>
              <a:gd name="connsiteY16482" fmla="*/ 1678952 h 4687251"/>
              <a:gd name="connsiteX16483" fmla="*/ 7287219 w 8079933"/>
              <a:gd name="connsiteY16483" fmla="*/ 1679493 h 4687251"/>
              <a:gd name="connsiteX16484" fmla="*/ 7282552 w 8079933"/>
              <a:gd name="connsiteY16484" fmla="*/ 1685123 h 4687251"/>
              <a:gd name="connsiteX16485" fmla="*/ 7278971 w 8079933"/>
              <a:gd name="connsiteY16485" fmla="*/ 1692160 h 4687251"/>
              <a:gd name="connsiteX16486" fmla="*/ 7275715 w 8079933"/>
              <a:gd name="connsiteY16486" fmla="*/ 1695300 h 4687251"/>
              <a:gd name="connsiteX16487" fmla="*/ 7273219 w 8079933"/>
              <a:gd name="connsiteY16487" fmla="*/ 1694217 h 4687251"/>
              <a:gd name="connsiteX16488" fmla="*/ 7271049 w 8079933"/>
              <a:gd name="connsiteY16488" fmla="*/ 1695950 h 4687251"/>
              <a:gd name="connsiteX16489" fmla="*/ 7270723 w 8079933"/>
              <a:gd name="connsiteY16489" fmla="*/ 1698549 h 4687251"/>
              <a:gd name="connsiteX16490" fmla="*/ 7268445 w 8079933"/>
              <a:gd name="connsiteY16490" fmla="*/ 1700606 h 4687251"/>
              <a:gd name="connsiteX16491" fmla="*/ 7269205 w 8079933"/>
              <a:gd name="connsiteY16491" fmla="*/ 1706777 h 4687251"/>
              <a:gd name="connsiteX16492" fmla="*/ 7265949 w 8079933"/>
              <a:gd name="connsiteY16492" fmla="*/ 1709700 h 4687251"/>
              <a:gd name="connsiteX16493" fmla="*/ 7264538 w 8079933"/>
              <a:gd name="connsiteY16493" fmla="*/ 1714789 h 4687251"/>
              <a:gd name="connsiteX16494" fmla="*/ 7262150 w 8079933"/>
              <a:gd name="connsiteY16494" fmla="*/ 1715764 h 4687251"/>
              <a:gd name="connsiteX16495" fmla="*/ 7260957 w 8079933"/>
              <a:gd name="connsiteY16495" fmla="*/ 1710458 h 4687251"/>
              <a:gd name="connsiteX16496" fmla="*/ 7261825 w 8079933"/>
              <a:gd name="connsiteY16496" fmla="*/ 1706777 h 4687251"/>
              <a:gd name="connsiteX16497" fmla="*/ 7263779 w 8079933"/>
              <a:gd name="connsiteY16497" fmla="*/ 1705153 h 4687251"/>
              <a:gd name="connsiteX16498" fmla="*/ 7261500 w 8079933"/>
              <a:gd name="connsiteY16498" fmla="*/ 1702771 h 4687251"/>
              <a:gd name="connsiteX16499" fmla="*/ 7262043 w 8079933"/>
              <a:gd name="connsiteY16499" fmla="*/ 1699956 h 4687251"/>
              <a:gd name="connsiteX16500" fmla="*/ 7265840 w 8079933"/>
              <a:gd name="connsiteY16500" fmla="*/ 1697899 h 4687251"/>
              <a:gd name="connsiteX16501" fmla="*/ 7267143 w 8079933"/>
              <a:gd name="connsiteY16501" fmla="*/ 1693243 h 4687251"/>
              <a:gd name="connsiteX16502" fmla="*/ 7266709 w 8079933"/>
              <a:gd name="connsiteY16502" fmla="*/ 1690537 h 4687251"/>
              <a:gd name="connsiteX16503" fmla="*/ 7268879 w 8079933"/>
              <a:gd name="connsiteY16503" fmla="*/ 1690645 h 4687251"/>
              <a:gd name="connsiteX16504" fmla="*/ 7271700 w 8079933"/>
              <a:gd name="connsiteY16504" fmla="*/ 1685772 h 4687251"/>
              <a:gd name="connsiteX16505" fmla="*/ 7273545 w 8079933"/>
              <a:gd name="connsiteY16505" fmla="*/ 1682633 h 4687251"/>
              <a:gd name="connsiteX16506" fmla="*/ 7272026 w 8079933"/>
              <a:gd name="connsiteY16506" fmla="*/ 1680034 h 4687251"/>
              <a:gd name="connsiteX16507" fmla="*/ 7273654 w 8079933"/>
              <a:gd name="connsiteY16507" fmla="*/ 1676028 h 4687251"/>
              <a:gd name="connsiteX16508" fmla="*/ 7274739 w 8079933"/>
              <a:gd name="connsiteY16508" fmla="*/ 1675487 h 4687251"/>
              <a:gd name="connsiteX16509" fmla="*/ 7276475 w 8079933"/>
              <a:gd name="connsiteY16509" fmla="*/ 1679060 h 4687251"/>
              <a:gd name="connsiteX16510" fmla="*/ 7278971 w 8079933"/>
              <a:gd name="connsiteY16510" fmla="*/ 1680034 h 4687251"/>
              <a:gd name="connsiteX16511" fmla="*/ 7282336 w 8079933"/>
              <a:gd name="connsiteY16511" fmla="*/ 1677760 h 4687251"/>
              <a:gd name="connsiteX16512" fmla="*/ 7285265 w 8079933"/>
              <a:gd name="connsiteY16512" fmla="*/ 1677436 h 4687251"/>
              <a:gd name="connsiteX16513" fmla="*/ 7286242 w 8079933"/>
              <a:gd name="connsiteY16513" fmla="*/ 1673754 h 4687251"/>
              <a:gd name="connsiteX16514" fmla="*/ 7291342 w 8079933"/>
              <a:gd name="connsiteY16514" fmla="*/ 1668016 h 4687251"/>
              <a:gd name="connsiteX16515" fmla="*/ 4065576 w 8079933"/>
              <a:gd name="connsiteY16515" fmla="*/ 1666934 h 4687251"/>
              <a:gd name="connsiteX16516" fmla="*/ 4065575 w 8079933"/>
              <a:gd name="connsiteY16516" fmla="*/ 1666934 h 4687251"/>
              <a:gd name="connsiteX16517" fmla="*/ 4062645 w 8079933"/>
              <a:gd name="connsiteY16517" fmla="*/ 1671698 h 4687251"/>
              <a:gd name="connsiteX16518" fmla="*/ 4059606 w 8079933"/>
              <a:gd name="connsiteY16518" fmla="*/ 1675488 h 4687251"/>
              <a:gd name="connsiteX16519" fmla="*/ 4061017 w 8079933"/>
              <a:gd name="connsiteY16519" fmla="*/ 1682417 h 4687251"/>
              <a:gd name="connsiteX16520" fmla="*/ 4059389 w 8079933"/>
              <a:gd name="connsiteY16520" fmla="*/ 1690320 h 4687251"/>
              <a:gd name="connsiteX16521" fmla="*/ 4057436 w 8079933"/>
              <a:gd name="connsiteY16521" fmla="*/ 1695517 h 4687251"/>
              <a:gd name="connsiteX16522" fmla="*/ 4056555 w 8079933"/>
              <a:gd name="connsiteY16522" fmla="*/ 1695263 h 4687251"/>
              <a:gd name="connsiteX16523" fmla="*/ 4057437 w 8079933"/>
              <a:gd name="connsiteY16523" fmla="*/ 1695517 h 4687251"/>
              <a:gd name="connsiteX16524" fmla="*/ 4057979 w 8079933"/>
              <a:gd name="connsiteY16524" fmla="*/ 1695734 h 4687251"/>
              <a:gd name="connsiteX16525" fmla="*/ 4056460 w 8079933"/>
              <a:gd name="connsiteY16525" fmla="*/ 1699199 h 4687251"/>
              <a:gd name="connsiteX16526" fmla="*/ 4060041 w 8079933"/>
              <a:gd name="connsiteY16526" fmla="*/ 1706561 h 4687251"/>
              <a:gd name="connsiteX16527" fmla="*/ 4059932 w 8079933"/>
              <a:gd name="connsiteY16527" fmla="*/ 1709484 h 4687251"/>
              <a:gd name="connsiteX16528" fmla="*/ 4062862 w 8079933"/>
              <a:gd name="connsiteY16528" fmla="*/ 1713923 h 4687251"/>
              <a:gd name="connsiteX16529" fmla="*/ 4060042 w 8079933"/>
              <a:gd name="connsiteY16529" fmla="*/ 1720527 h 4687251"/>
              <a:gd name="connsiteX16530" fmla="*/ 4062863 w 8079933"/>
              <a:gd name="connsiteY16530" fmla="*/ 1713923 h 4687251"/>
              <a:gd name="connsiteX16531" fmla="*/ 4059933 w 8079933"/>
              <a:gd name="connsiteY16531" fmla="*/ 1709484 h 4687251"/>
              <a:gd name="connsiteX16532" fmla="*/ 4060042 w 8079933"/>
              <a:gd name="connsiteY16532" fmla="*/ 1706560 h 4687251"/>
              <a:gd name="connsiteX16533" fmla="*/ 4056461 w 8079933"/>
              <a:gd name="connsiteY16533" fmla="*/ 1699198 h 4687251"/>
              <a:gd name="connsiteX16534" fmla="*/ 4057980 w 8079933"/>
              <a:gd name="connsiteY16534" fmla="*/ 1695733 h 4687251"/>
              <a:gd name="connsiteX16535" fmla="*/ 4057438 w 8079933"/>
              <a:gd name="connsiteY16535" fmla="*/ 1695517 h 4687251"/>
              <a:gd name="connsiteX16536" fmla="*/ 4059391 w 8079933"/>
              <a:gd name="connsiteY16536" fmla="*/ 1690319 h 4687251"/>
              <a:gd name="connsiteX16537" fmla="*/ 4061019 w 8079933"/>
              <a:gd name="connsiteY16537" fmla="*/ 1682415 h 4687251"/>
              <a:gd name="connsiteX16538" fmla="*/ 4059608 w 8079933"/>
              <a:gd name="connsiteY16538" fmla="*/ 1675486 h 4687251"/>
              <a:gd name="connsiteX16539" fmla="*/ 4062646 w 8079933"/>
              <a:gd name="connsiteY16539" fmla="*/ 1671697 h 4687251"/>
              <a:gd name="connsiteX16540" fmla="*/ 4688136 w 8079933"/>
              <a:gd name="connsiteY16540" fmla="*/ 1666718 h 4687251"/>
              <a:gd name="connsiteX16541" fmla="*/ 4675933 w 8079933"/>
              <a:gd name="connsiteY16541" fmla="*/ 1668414 h 4687251"/>
              <a:gd name="connsiteX16542" fmla="*/ 4677284 w 8079933"/>
              <a:gd name="connsiteY16542" fmla="*/ 1670182 h 4687251"/>
              <a:gd name="connsiteX16543" fmla="*/ 4690022 w 8079933"/>
              <a:gd name="connsiteY16543" fmla="*/ 1668307 h 4687251"/>
              <a:gd name="connsiteX16544" fmla="*/ 4574628 w 8079933"/>
              <a:gd name="connsiteY16544" fmla="*/ 1665417 h 4687251"/>
              <a:gd name="connsiteX16545" fmla="*/ 4569637 w 8079933"/>
              <a:gd name="connsiteY16545" fmla="*/ 1665634 h 4687251"/>
              <a:gd name="connsiteX16546" fmla="*/ 4569636 w 8079933"/>
              <a:gd name="connsiteY16546" fmla="*/ 1665635 h 4687251"/>
              <a:gd name="connsiteX16547" fmla="*/ 4574628 w 8079933"/>
              <a:gd name="connsiteY16547" fmla="*/ 1665419 h 4687251"/>
              <a:gd name="connsiteX16548" fmla="*/ 4578751 w 8079933"/>
              <a:gd name="connsiteY16548" fmla="*/ 1668017 h 4687251"/>
              <a:gd name="connsiteX16549" fmla="*/ 4585588 w 8079933"/>
              <a:gd name="connsiteY16549" fmla="*/ 1665960 h 4687251"/>
              <a:gd name="connsiteX16550" fmla="*/ 4589712 w 8079933"/>
              <a:gd name="connsiteY16550" fmla="*/ 1669641 h 4687251"/>
              <a:gd name="connsiteX16551" fmla="*/ 4594920 w 8079933"/>
              <a:gd name="connsiteY16551" fmla="*/ 1668883 h 4687251"/>
              <a:gd name="connsiteX16552" fmla="*/ 4594920 w 8079933"/>
              <a:gd name="connsiteY16552" fmla="*/ 1668882 h 4687251"/>
              <a:gd name="connsiteX16553" fmla="*/ 4589712 w 8079933"/>
              <a:gd name="connsiteY16553" fmla="*/ 1669640 h 4687251"/>
              <a:gd name="connsiteX16554" fmla="*/ 4585589 w 8079933"/>
              <a:gd name="connsiteY16554" fmla="*/ 1665958 h 4687251"/>
              <a:gd name="connsiteX16555" fmla="*/ 4578752 w 8079933"/>
              <a:gd name="connsiteY16555" fmla="*/ 1668016 h 4687251"/>
              <a:gd name="connsiteX16556" fmla="*/ 5247539 w 8079933"/>
              <a:gd name="connsiteY16556" fmla="*/ 1664444 h 4687251"/>
              <a:gd name="connsiteX16557" fmla="*/ 5245152 w 8079933"/>
              <a:gd name="connsiteY16557" fmla="*/ 1666718 h 4687251"/>
              <a:gd name="connsiteX16558" fmla="*/ 5245152 w 8079933"/>
              <a:gd name="connsiteY16558" fmla="*/ 1671374 h 4687251"/>
              <a:gd name="connsiteX16559" fmla="*/ 5242764 w 8079933"/>
              <a:gd name="connsiteY16559" fmla="*/ 1676354 h 4687251"/>
              <a:gd name="connsiteX16560" fmla="*/ 5237724 w 8079933"/>
              <a:gd name="connsiteY16560" fmla="*/ 1677277 h 4687251"/>
              <a:gd name="connsiteX16561" fmla="*/ 5238423 w 8079933"/>
              <a:gd name="connsiteY16561" fmla="*/ 1677653 h 4687251"/>
              <a:gd name="connsiteX16562" fmla="*/ 5243741 w 8079933"/>
              <a:gd name="connsiteY16562" fmla="*/ 1676678 h 4687251"/>
              <a:gd name="connsiteX16563" fmla="*/ 5246236 w 8079933"/>
              <a:gd name="connsiteY16563" fmla="*/ 1671698 h 4687251"/>
              <a:gd name="connsiteX16564" fmla="*/ 5246562 w 8079933"/>
              <a:gd name="connsiteY16564" fmla="*/ 1667042 h 4687251"/>
              <a:gd name="connsiteX16565" fmla="*/ 5248612 w 8079933"/>
              <a:gd name="connsiteY16565" fmla="*/ 1665089 h 4687251"/>
              <a:gd name="connsiteX16566" fmla="*/ 4553793 w 8079933"/>
              <a:gd name="connsiteY16566" fmla="*/ 1664334 h 4687251"/>
              <a:gd name="connsiteX16567" fmla="*/ 4546305 w 8079933"/>
              <a:gd name="connsiteY16567" fmla="*/ 1668882 h 4687251"/>
              <a:gd name="connsiteX16568" fmla="*/ 4543050 w 8079933"/>
              <a:gd name="connsiteY16568" fmla="*/ 1667366 h 4687251"/>
              <a:gd name="connsiteX16569" fmla="*/ 4535779 w 8079933"/>
              <a:gd name="connsiteY16569" fmla="*/ 1666391 h 4687251"/>
              <a:gd name="connsiteX16570" fmla="*/ 4533744 w 8079933"/>
              <a:gd name="connsiteY16570" fmla="*/ 1668423 h 4687251"/>
              <a:gd name="connsiteX16571" fmla="*/ 4535779 w 8079933"/>
              <a:gd name="connsiteY16571" fmla="*/ 1666393 h 4687251"/>
              <a:gd name="connsiteX16572" fmla="*/ 4543049 w 8079933"/>
              <a:gd name="connsiteY16572" fmla="*/ 1667367 h 4687251"/>
              <a:gd name="connsiteX16573" fmla="*/ 4546305 w 8079933"/>
              <a:gd name="connsiteY16573" fmla="*/ 1668883 h 4687251"/>
              <a:gd name="connsiteX16574" fmla="*/ 4553793 w 8079933"/>
              <a:gd name="connsiteY16574" fmla="*/ 1664336 h 4687251"/>
              <a:gd name="connsiteX16575" fmla="*/ 4560303 w 8079933"/>
              <a:gd name="connsiteY16575" fmla="*/ 1665201 h 4687251"/>
              <a:gd name="connsiteX16576" fmla="*/ 4561280 w 8079933"/>
              <a:gd name="connsiteY16576" fmla="*/ 1669749 h 4687251"/>
              <a:gd name="connsiteX16577" fmla="*/ 4565187 w 8079933"/>
              <a:gd name="connsiteY16577" fmla="*/ 1671048 h 4687251"/>
              <a:gd name="connsiteX16578" fmla="*/ 4565187 w 8079933"/>
              <a:gd name="connsiteY16578" fmla="*/ 1671048 h 4687251"/>
              <a:gd name="connsiteX16579" fmla="*/ 4561280 w 8079933"/>
              <a:gd name="connsiteY16579" fmla="*/ 1669748 h 4687251"/>
              <a:gd name="connsiteX16580" fmla="*/ 4560304 w 8079933"/>
              <a:gd name="connsiteY16580" fmla="*/ 1665201 h 4687251"/>
              <a:gd name="connsiteX16581" fmla="*/ 5272997 w 8079933"/>
              <a:gd name="connsiteY16581" fmla="*/ 1663932 h 4687251"/>
              <a:gd name="connsiteX16582" fmla="*/ 5269785 w 8079933"/>
              <a:gd name="connsiteY16582" fmla="*/ 1666826 h 4687251"/>
              <a:gd name="connsiteX16583" fmla="*/ 5261646 w 8079933"/>
              <a:gd name="connsiteY16583" fmla="*/ 1669533 h 4687251"/>
              <a:gd name="connsiteX16584" fmla="*/ 5255758 w 8079933"/>
              <a:gd name="connsiteY16584" fmla="*/ 1668964 h 4687251"/>
              <a:gd name="connsiteX16585" fmla="*/ 5256328 w 8079933"/>
              <a:gd name="connsiteY16585" fmla="*/ 1669315 h 4687251"/>
              <a:gd name="connsiteX16586" fmla="*/ 5263056 w 8079933"/>
              <a:gd name="connsiteY16586" fmla="*/ 1669965 h 4687251"/>
              <a:gd name="connsiteX16587" fmla="*/ 5271195 w 8079933"/>
              <a:gd name="connsiteY16587" fmla="*/ 1667259 h 4687251"/>
              <a:gd name="connsiteX16588" fmla="*/ 6945345 w 8079933"/>
              <a:gd name="connsiteY16588" fmla="*/ 1663834 h 4687251"/>
              <a:gd name="connsiteX16589" fmla="*/ 6945391 w 8079933"/>
              <a:gd name="connsiteY16589" fmla="*/ 1664226 h 4687251"/>
              <a:gd name="connsiteX16590" fmla="*/ 6944305 w 8079933"/>
              <a:gd name="connsiteY16590" fmla="*/ 1665200 h 4687251"/>
              <a:gd name="connsiteX16591" fmla="*/ 6942786 w 8079933"/>
              <a:gd name="connsiteY16591" fmla="*/ 1665850 h 4687251"/>
              <a:gd name="connsiteX16592" fmla="*/ 6943003 w 8079933"/>
              <a:gd name="connsiteY16592" fmla="*/ 1669609 h 4687251"/>
              <a:gd name="connsiteX16593" fmla="*/ 6943003 w 8079933"/>
              <a:gd name="connsiteY16593" fmla="*/ 1667801 h 4687251"/>
              <a:gd name="connsiteX16594" fmla="*/ 6944522 w 8079933"/>
              <a:gd name="connsiteY16594" fmla="*/ 1667151 h 4687251"/>
              <a:gd name="connsiteX16595" fmla="*/ 6945608 w 8079933"/>
              <a:gd name="connsiteY16595" fmla="*/ 1666068 h 4687251"/>
              <a:gd name="connsiteX16596" fmla="*/ 6945608 w 8079933"/>
              <a:gd name="connsiteY16596" fmla="*/ 1664228 h 4687251"/>
              <a:gd name="connsiteX16597" fmla="*/ 6944218 w 8079933"/>
              <a:gd name="connsiteY16597" fmla="*/ 1659684 h 4687251"/>
              <a:gd name="connsiteX16598" fmla="*/ 6944088 w 8079933"/>
              <a:gd name="connsiteY16598" fmla="*/ 1660761 h 4687251"/>
              <a:gd name="connsiteX16599" fmla="*/ 6944522 w 8079933"/>
              <a:gd name="connsiteY16599" fmla="*/ 1661411 h 4687251"/>
              <a:gd name="connsiteX16600" fmla="*/ 6944522 w 8079933"/>
              <a:gd name="connsiteY16600" fmla="*/ 1659897 h 4687251"/>
              <a:gd name="connsiteX16601" fmla="*/ 4081053 w 8079933"/>
              <a:gd name="connsiteY16601" fmla="*/ 1658712 h 4687251"/>
              <a:gd name="connsiteX16602" fmla="*/ 4078814 w 8079933"/>
              <a:gd name="connsiteY16602" fmla="*/ 1660330 h 4687251"/>
              <a:gd name="connsiteX16603" fmla="*/ 4081418 w 8079933"/>
              <a:gd name="connsiteY16603" fmla="*/ 1664768 h 4687251"/>
              <a:gd name="connsiteX16604" fmla="*/ 4077947 w 8079933"/>
              <a:gd name="connsiteY16604" fmla="*/ 1666717 h 4687251"/>
              <a:gd name="connsiteX16605" fmla="*/ 4081419 w 8079933"/>
              <a:gd name="connsiteY16605" fmla="*/ 1664768 h 4687251"/>
              <a:gd name="connsiteX16606" fmla="*/ 4078815 w 8079933"/>
              <a:gd name="connsiteY16606" fmla="*/ 1660329 h 4687251"/>
              <a:gd name="connsiteX16607" fmla="*/ 5167236 w 8079933"/>
              <a:gd name="connsiteY16607" fmla="*/ 1658381 h 4687251"/>
              <a:gd name="connsiteX16608" fmla="*/ 5163439 w 8079933"/>
              <a:gd name="connsiteY16608" fmla="*/ 1659572 h 4687251"/>
              <a:gd name="connsiteX16609" fmla="*/ 5163439 w 8079933"/>
              <a:gd name="connsiteY16609" fmla="*/ 1664011 h 4687251"/>
              <a:gd name="connsiteX16610" fmla="*/ 5158447 w 8079933"/>
              <a:gd name="connsiteY16610" fmla="*/ 1664011 h 4687251"/>
              <a:gd name="connsiteX16611" fmla="*/ 5158447 w 8079933"/>
              <a:gd name="connsiteY16611" fmla="*/ 1672889 h 4687251"/>
              <a:gd name="connsiteX16612" fmla="*/ 5152587 w 8079933"/>
              <a:gd name="connsiteY16612" fmla="*/ 1677328 h 4687251"/>
              <a:gd name="connsiteX16613" fmla="*/ 5148789 w 8079933"/>
              <a:gd name="connsiteY16613" fmla="*/ 1675813 h 4687251"/>
              <a:gd name="connsiteX16614" fmla="*/ 5146076 w 8079933"/>
              <a:gd name="connsiteY16614" fmla="*/ 1671374 h 4687251"/>
              <a:gd name="connsiteX16615" fmla="*/ 5136961 w 8079933"/>
              <a:gd name="connsiteY16615" fmla="*/ 1669966 h 4687251"/>
              <a:gd name="connsiteX16616" fmla="*/ 5133705 w 8079933"/>
              <a:gd name="connsiteY16616" fmla="*/ 1665311 h 4687251"/>
              <a:gd name="connsiteX16617" fmla="*/ 5129038 w 8079933"/>
              <a:gd name="connsiteY16617" fmla="*/ 1668017 h 4687251"/>
              <a:gd name="connsiteX16618" fmla="*/ 5129038 w 8079933"/>
              <a:gd name="connsiteY16618" fmla="*/ 1674080 h 4687251"/>
              <a:gd name="connsiteX16619" fmla="*/ 5125892 w 8079933"/>
              <a:gd name="connsiteY16619" fmla="*/ 1678736 h 4687251"/>
              <a:gd name="connsiteX16620" fmla="*/ 5123783 w 8079933"/>
              <a:gd name="connsiteY16620" fmla="*/ 1678063 h 4687251"/>
              <a:gd name="connsiteX16621" fmla="*/ 5123830 w 8079933"/>
              <a:gd name="connsiteY16621" fmla="*/ 1678843 h 4687251"/>
              <a:gd name="connsiteX16622" fmla="*/ 5126651 w 8079933"/>
              <a:gd name="connsiteY16622" fmla="*/ 1679818 h 4687251"/>
              <a:gd name="connsiteX16623" fmla="*/ 5129689 w 8079933"/>
              <a:gd name="connsiteY16623" fmla="*/ 1675162 h 4687251"/>
              <a:gd name="connsiteX16624" fmla="*/ 5129255 w 8079933"/>
              <a:gd name="connsiteY16624" fmla="*/ 1669099 h 4687251"/>
              <a:gd name="connsiteX16625" fmla="*/ 5133812 w 8079933"/>
              <a:gd name="connsiteY16625" fmla="*/ 1666392 h 4687251"/>
              <a:gd name="connsiteX16626" fmla="*/ 5137177 w 8079933"/>
              <a:gd name="connsiteY16626" fmla="*/ 1670939 h 4687251"/>
              <a:gd name="connsiteX16627" fmla="*/ 5146292 w 8079933"/>
              <a:gd name="connsiteY16627" fmla="*/ 1672347 h 4687251"/>
              <a:gd name="connsiteX16628" fmla="*/ 5149005 w 8079933"/>
              <a:gd name="connsiteY16628" fmla="*/ 1676894 h 4687251"/>
              <a:gd name="connsiteX16629" fmla="*/ 5152803 w 8079933"/>
              <a:gd name="connsiteY16629" fmla="*/ 1678410 h 4687251"/>
              <a:gd name="connsiteX16630" fmla="*/ 5158663 w 8079933"/>
              <a:gd name="connsiteY16630" fmla="*/ 1673863 h 4687251"/>
              <a:gd name="connsiteX16631" fmla="*/ 5159205 w 8079933"/>
              <a:gd name="connsiteY16631" fmla="*/ 1664985 h 4687251"/>
              <a:gd name="connsiteX16632" fmla="*/ 5164198 w 8079933"/>
              <a:gd name="connsiteY16632" fmla="*/ 1664443 h 4687251"/>
              <a:gd name="connsiteX16633" fmla="*/ 5164523 w 8079933"/>
              <a:gd name="connsiteY16633" fmla="*/ 1660004 h 4687251"/>
              <a:gd name="connsiteX16634" fmla="*/ 5167710 w 8079933"/>
              <a:gd name="connsiteY16634" fmla="*/ 1659005 h 4687251"/>
              <a:gd name="connsiteX16635" fmla="*/ 5177546 w 8079933"/>
              <a:gd name="connsiteY16635" fmla="*/ 1657190 h 4687251"/>
              <a:gd name="connsiteX16636" fmla="*/ 5172011 w 8079933"/>
              <a:gd name="connsiteY16636" fmla="*/ 1658056 h 4687251"/>
              <a:gd name="connsiteX16637" fmla="*/ 5170260 w 8079933"/>
              <a:gd name="connsiteY16637" fmla="*/ 1661367 h 4687251"/>
              <a:gd name="connsiteX16638" fmla="*/ 5171034 w 8079933"/>
              <a:gd name="connsiteY16638" fmla="*/ 1662386 h 4687251"/>
              <a:gd name="connsiteX16639" fmla="*/ 5173095 w 8079933"/>
              <a:gd name="connsiteY16639" fmla="*/ 1658488 h 4687251"/>
              <a:gd name="connsiteX16640" fmla="*/ 5178098 w 8079933"/>
              <a:gd name="connsiteY16640" fmla="*/ 1657706 h 4687251"/>
              <a:gd name="connsiteX16641" fmla="*/ 4488792 w 8079933"/>
              <a:gd name="connsiteY16641" fmla="*/ 1657081 h 4687251"/>
              <a:gd name="connsiteX16642" fmla="*/ 4488791 w 8079933"/>
              <a:gd name="connsiteY16642" fmla="*/ 1657081 h 4687251"/>
              <a:gd name="connsiteX16643" fmla="*/ 4491721 w 8079933"/>
              <a:gd name="connsiteY16643" fmla="*/ 1657189 h 4687251"/>
              <a:gd name="connsiteX16644" fmla="*/ 4497581 w 8079933"/>
              <a:gd name="connsiteY16644" fmla="*/ 1660546 h 4687251"/>
              <a:gd name="connsiteX16645" fmla="*/ 4511363 w 8079933"/>
              <a:gd name="connsiteY16645" fmla="*/ 1662603 h 4687251"/>
              <a:gd name="connsiteX16646" fmla="*/ 4517222 w 8079933"/>
              <a:gd name="connsiteY16646" fmla="*/ 1665527 h 4687251"/>
              <a:gd name="connsiteX16647" fmla="*/ 4518199 w 8079933"/>
              <a:gd name="connsiteY16647" fmla="*/ 1668233 h 4687251"/>
              <a:gd name="connsiteX16648" fmla="*/ 4526555 w 8079933"/>
              <a:gd name="connsiteY16648" fmla="*/ 1664985 h 4687251"/>
              <a:gd name="connsiteX16649" fmla="*/ 4530461 w 8079933"/>
              <a:gd name="connsiteY16649" fmla="*/ 1668558 h 4687251"/>
              <a:gd name="connsiteX16650" fmla="*/ 4533717 w 8079933"/>
              <a:gd name="connsiteY16650" fmla="*/ 1668450 h 4687251"/>
              <a:gd name="connsiteX16651" fmla="*/ 4533718 w 8079933"/>
              <a:gd name="connsiteY16651" fmla="*/ 1668449 h 4687251"/>
              <a:gd name="connsiteX16652" fmla="*/ 4530462 w 8079933"/>
              <a:gd name="connsiteY16652" fmla="*/ 1668557 h 4687251"/>
              <a:gd name="connsiteX16653" fmla="*/ 4526555 w 8079933"/>
              <a:gd name="connsiteY16653" fmla="*/ 1664984 h 4687251"/>
              <a:gd name="connsiteX16654" fmla="*/ 4518199 w 8079933"/>
              <a:gd name="connsiteY16654" fmla="*/ 1668232 h 4687251"/>
              <a:gd name="connsiteX16655" fmla="*/ 4517223 w 8079933"/>
              <a:gd name="connsiteY16655" fmla="*/ 1665526 h 4687251"/>
              <a:gd name="connsiteX16656" fmla="*/ 4511363 w 8079933"/>
              <a:gd name="connsiteY16656" fmla="*/ 1662603 h 4687251"/>
              <a:gd name="connsiteX16657" fmla="*/ 4497581 w 8079933"/>
              <a:gd name="connsiteY16657" fmla="*/ 1660545 h 4687251"/>
              <a:gd name="connsiteX16658" fmla="*/ 4491722 w 8079933"/>
              <a:gd name="connsiteY16658" fmla="*/ 1657189 h 4687251"/>
              <a:gd name="connsiteX16659" fmla="*/ 5203373 w 8079933"/>
              <a:gd name="connsiteY16659" fmla="*/ 1655241 h 4687251"/>
              <a:gd name="connsiteX16660" fmla="*/ 5200768 w 8079933"/>
              <a:gd name="connsiteY16660" fmla="*/ 1658489 h 4687251"/>
              <a:gd name="connsiteX16661" fmla="*/ 5195451 w 8079933"/>
              <a:gd name="connsiteY16661" fmla="*/ 1658489 h 4687251"/>
              <a:gd name="connsiteX16662" fmla="*/ 5191653 w 8079933"/>
              <a:gd name="connsiteY16662" fmla="*/ 1659680 h 4687251"/>
              <a:gd name="connsiteX16663" fmla="*/ 5192521 w 8079933"/>
              <a:gd name="connsiteY16663" fmla="*/ 1665527 h 4687251"/>
              <a:gd name="connsiteX16664" fmla="*/ 5186673 w 8079933"/>
              <a:gd name="connsiteY16664" fmla="*/ 1666092 h 4687251"/>
              <a:gd name="connsiteX16665" fmla="*/ 5186878 w 8079933"/>
              <a:gd name="connsiteY16665" fmla="*/ 1666501 h 4687251"/>
              <a:gd name="connsiteX16666" fmla="*/ 5193605 w 8079933"/>
              <a:gd name="connsiteY16666" fmla="*/ 1665851 h 4687251"/>
              <a:gd name="connsiteX16667" fmla="*/ 5192846 w 8079933"/>
              <a:gd name="connsiteY16667" fmla="*/ 1660004 h 4687251"/>
              <a:gd name="connsiteX16668" fmla="*/ 5196535 w 8079933"/>
              <a:gd name="connsiteY16668" fmla="*/ 1658813 h 4687251"/>
              <a:gd name="connsiteX16669" fmla="*/ 5201961 w 8079933"/>
              <a:gd name="connsiteY16669" fmla="*/ 1659247 h 4687251"/>
              <a:gd name="connsiteX16670" fmla="*/ 5204457 w 8079933"/>
              <a:gd name="connsiteY16670" fmla="*/ 1655998 h 4687251"/>
              <a:gd name="connsiteX16671" fmla="*/ 5210209 w 8079933"/>
              <a:gd name="connsiteY16671" fmla="*/ 1659139 h 4687251"/>
              <a:gd name="connsiteX16672" fmla="*/ 5212427 w 8079933"/>
              <a:gd name="connsiteY16672" fmla="*/ 1660245 h 4687251"/>
              <a:gd name="connsiteX16673" fmla="*/ 5212488 w 8079933"/>
              <a:gd name="connsiteY16673" fmla="*/ 1660113 h 4687251"/>
              <a:gd name="connsiteX16674" fmla="*/ 5209016 w 8079933"/>
              <a:gd name="connsiteY16674" fmla="*/ 1658381 h 4687251"/>
              <a:gd name="connsiteX16675" fmla="*/ 5093330 w 8079933"/>
              <a:gd name="connsiteY16675" fmla="*/ 1651658 h 4687251"/>
              <a:gd name="connsiteX16676" fmla="*/ 5094530 w 8079933"/>
              <a:gd name="connsiteY16676" fmla="*/ 1653508 h 4687251"/>
              <a:gd name="connsiteX16677" fmla="*/ 5097351 w 8079933"/>
              <a:gd name="connsiteY16677" fmla="*/ 1653617 h 4687251"/>
              <a:gd name="connsiteX16678" fmla="*/ 5102126 w 8079933"/>
              <a:gd name="connsiteY16678" fmla="*/ 1659788 h 4687251"/>
              <a:gd name="connsiteX16679" fmla="*/ 5107334 w 8079933"/>
              <a:gd name="connsiteY16679" fmla="*/ 1659788 h 4687251"/>
              <a:gd name="connsiteX16680" fmla="*/ 5111132 w 8079933"/>
              <a:gd name="connsiteY16680" fmla="*/ 1664768 h 4687251"/>
              <a:gd name="connsiteX16681" fmla="*/ 5117861 w 8079933"/>
              <a:gd name="connsiteY16681" fmla="*/ 1669749 h 4687251"/>
              <a:gd name="connsiteX16682" fmla="*/ 5121659 w 8079933"/>
              <a:gd name="connsiteY16682" fmla="*/ 1670182 h 4687251"/>
              <a:gd name="connsiteX16683" fmla="*/ 5123179 w 8079933"/>
              <a:gd name="connsiteY16683" fmla="*/ 1672858 h 4687251"/>
              <a:gd name="connsiteX16684" fmla="*/ 5123179 w 8079933"/>
              <a:gd name="connsiteY16684" fmla="*/ 1672348 h 4687251"/>
              <a:gd name="connsiteX16685" fmla="*/ 5121334 w 8079933"/>
              <a:gd name="connsiteY16685" fmla="*/ 1669099 h 4687251"/>
              <a:gd name="connsiteX16686" fmla="*/ 5117536 w 8079933"/>
              <a:gd name="connsiteY16686" fmla="*/ 1669099 h 4687251"/>
              <a:gd name="connsiteX16687" fmla="*/ 5110808 w 8079933"/>
              <a:gd name="connsiteY16687" fmla="*/ 1664119 h 4687251"/>
              <a:gd name="connsiteX16688" fmla="*/ 5107010 w 8079933"/>
              <a:gd name="connsiteY16688" fmla="*/ 1659139 h 4687251"/>
              <a:gd name="connsiteX16689" fmla="*/ 5101801 w 8079933"/>
              <a:gd name="connsiteY16689" fmla="*/ 1659139 h 4687251"/>
              <a:gd name="connsiteX16690" fmla="*/ 5096918 w 8079933"/>
              <a:gd name="connsiteY16690" fmla="*/ 1652968 h 4687251"/>
              <a:gd name="connsiteX16691" fmla="*/ 5094205 w 8079933"/>
              <a:gd name="connsiteY16691" fmla="*/ 1652968 h 4687251"/>
              <a:gd name="connsiteX16692" fmla="*/ 5022475 w 8079933"/>
              <a:gd name="connsiteY16692" fmla="*/ 1651126 h 4687251"/>
              <a:gd name="connsiteX16693" fmla="*/ 5018894 w 8079933"/>
              <a:gd name="connsiteY16693" fmla="*/ 1653942 h 4687251"/>
              <a:gd name="connsiteX16694" fmla="*/ 5016615 w 8079933"/>
              <a:gd name="connsiteY16694" fmla="*/ 1660330 h 4687251"/>
              <a:gd name="connsiteX16695" fmla="*/ 5013360 w 8079933"/>
              <a:gd name="connsiteY16695" fmla="*/ 1660330 h 4687251"/>
              <a:gd name="connsiteX16696" fmla="*/ 5006306 w 8079933"/>
              <a:gd name="connsiteY16696" fmla="*/ 1664769 h 4687251"/>
              <a:gd name="connsiteX16697" fmla="*/ 5004787 w 8079933"/>
              <a:gd name="connsiteY16697" fmla="*/ 1670291 h 4687251"/>
              <a:gd name="connsiteX16698" fmla="*/ 5008260 w 8079933"/>
              <a:gd name="connsiteY16698" fmla="*/ 1674621 h 4687251"/>
              <a:gd name="connsiteX16699" fmla="*/ 5008260 w 8079933"/>
              <a:gd name="connsiteY16699" fmla="*/ 1679711 h 4687251"/>
              <a:gd name="connsiteX16700" fmla="*/ 5000555 w 8079933"/>
              <a:gd name="connsiteY16700" fmla="*/ 1679711 h 4687251"/>
              <a:gd name="connsiteX16701" fmla="*/ 4993176 w 8079933"/>
              <a:gd name="connsiteY16701" fmla="*/ 1680576 h 4687251"/>
              <a:gd name="connsiteX16702" fmla="*/ 4998710 w 8079933"/>
              <a:gd name="connsiteY16702" fmla="*/ 1699632 h 4687251"/>
              <a:gd name="connsiteX16703" fmla="*/ 4995780 w 8079933"/>
              <a:gd name="connsiteY16703" fmla="*/ 1702014 h 4687251"/>
              <a:gd name="connsiteX16704" fmla="*/ 4996648 w 8079933"/>
              <a:gd name="connsiteY16704" fmla="*/ 1709268 h 4687251"/>
              <a:gd name="connsiteX16705" fmla="*/ 4992737 w 8079933"/>
              <a:gd name="connsiteY16705" fmla="*/ 1709613 h 4687251"/>
              <a:gd name="connsiteX16706" fmla="*/ 4994477 w 8079933"/>
              <a:gd name="connsiteY16706" fmla="*/ 1710675 h 4687251"/>
              <a:gd name="connsiteX16707" fmla="*/ 5001856 w 8079933"/>
              <a:gd name="connsiteY16707" fmla="*/ 1710026 h 4687251"/>
              <a:gd name="connsiteX16708" fmla="*/ 5000988 w 8079933"/>
              <a:gd name="connsiteY16708" fmla="*/ 1702771 h 4687251"/>
              <a:gd name="connsiteX16709" fmla="*/ 5003918 w 8079933"/>
              <a:gd name="connsiteY16709" fmla="*/ 1700389 h 4687251"/>
              <a:gd name="connsiteX16710" fmla="*/ 4998383 w 8079933"/>
              <a:gd name="connsiteY16710" fmla="*/ 1681333 h 4687251"/>
              <a:gd name="connsiteX16711" fmla="*/ 5005871 w 8079933"/>
              <a:gd name="connsiteY16711" fmla="*/ 1680468 h 4687251"/>
              <a:gd name="connsiteX16712" fmla="*/ 5013576 w 8079933"/>
              <a:gd name="connsiteY16712" fmla="*/ 1680468 h 4687251"/>
              <a:gd name="connsiteX16713" fmla="*/ 5013576 w 8079933"/>
              <a:gd name="connsiteY16713" fmla="*/ 1674837 h 4687251"/>
              <a:gd name="connsiteX16714" fmla="*/ 5010104 w 8079933"/>
              <a:gd name="connsiteY16714" fmla="*/ 1670507 h 4687251"/>
              <a:gd name="connsiteX16715" fmla="*/ 5011731 w 8079933"/>
              <a:gd name="connsiteY16715" fmla="*/ 1664985 h 4687251"/>
              <a:gd name="connsiteX16716" fmla="*/ 5018785 w 8079933"/>
              <a:gd name="connsiteY16716" fmla="*/ 1660546 h 4687251"/>
              <a:gd name="connsiteX16717" fmla="*/ 5022040 w 8079933"/>
              <a:gd name="connsiteY16717" fmla="*/ 1660329 h 4687251"/>
              <a:gd name="connsiteX16718" fmla="*/ 5024320 w 8079933"/>
              <a:gd name="connsiteY16718" fmla="*/ 1653941 h 4687251"/>
              <a:gd name="connsiteX16719" fmla="*/ 5026530 w 8079933"/>
              <a:gd name="connsiteY16719" fmla="*/ 1652270 h 4687251"/>
              <a:gd name="connsiteX16720" fmla="*/ 6570356 w 8079933"/>
              <a:gd name="connsiteY16720" fmla="*/ 1650151 h 4687251"/>
              <a:gd name="connsiteX16721" fmla="*/ 6567970 w 8079933"/>
              <a:gd name="connsiteY16721" fmla="*/ 1652208 h 4687251"/>
              <a:gd name="connsiteX16722" fmla="*/ 6561350 w 8079933"/>
              <a:gd name="connsiteY16722" fmla="*/ 1654265 h 4687251"/>
              <a:gd name="connsiteX16723" fmla="*/ 6561024 w 8079933"/>
              <a:gd name="connsiteY16723" fmla="*/ 1658704 h 4687251"/>
              <a:gd name="connsiteX16724" fmla="*/ 6561784 w 8079933"/>
              <a:gd name="connsiteY16724" fmla="*/ 1663901 h 4687251"/>
              <a:gd name="connsiteX16725" fmla="*/ 6555816 w 8079933"/>
              <a:gd name="connsiteY16725" fmla="*/ 1672888 h 4687251"/>
              <a:gd name="connsiteX16726" fmla="*/ 6551041 w 8079933"/>
              <a:gd name="connsiteY16726" fmla="*/ 1668015 h 4687251"/>
              <a:gd name="connsiteX16727" fmla="*/ 6540732 w 8079933"/>
              <a:gd name="connsiteY16727" fmla="*/ 1666283 h 4687251"/>
              <a:gd name="connsiteX16728" fmla="*/ 6531074 w 8079933"/>
              <a:gd name="connsiteY16728" fmla="*/ 1666283 h 4687251"/>
              <a:gd name="connsiteX16729" fmla="*/ 6523478 w 8079933"/>
              <a:gd name="connsiteY16729" fmla="*/ 1672129 h 4687251"/>
              <a:gd name="connsiteX16730" fmla="*/ 6512084 w 8079933"/>
              <a:gd name="connsiteY16730" fmla="*/ 1666717 h 4687251"/>
              <a:gd name="connsiteX16731" fmla="*/ 6512084 w 8079933"/>
              <a:gd name="connsiteY16731" fmla="*/ 1666717 h 4687251"/>
              <a:gd name="connsiteX16732" fmla="*/ 6523479 w 8079933"/>
              <a:gd name="connsiteY16732" fmla="*/ 1672131 h 4687251"/>
              <a:gd name="connsiteX16733" fmla="*/ 6531074 w 8079933"/>
              <a:gd name="connsiteY16733" fmla="*/ 1666284 h 4687251"/>
              <a:gd name="connsiteX16734" fmla="*/ 6540732 w 8079933"/>
              <a:gd name="connsiteY16734" fmla="*/ 1666284 h 4687251"/>
              <a:gd name="connsiteX16735" fmla="*/ 6551042 w 8079933"/>
              <a:gd name="connsiteY16735" fmla="*/ 1668017 h 4687251"/>
              <a:gd name="connsiteX16736" fmla="*/ 6555816 w 8079933"/>
              <a:gd name="connsiteY16736" fmla="*/ 1672889 h 4687251"/>
              <a:gd name="connsiteX16737" fmla="*/ 6561785 w 8079933"/>
              <a:gd name="connsiteY16737" fmla="*/ 1663902 h 4687251"/>
              <a:gd name="connsiteX16738" fmla="*/ 6561025 w 8079933"/>
              <a:gd name="connsiteY16738" fmla="*/ 1658705 h 4687251"/>
              <a:gd name="connsiteX16739" fmla="*/ 6561351 w 8079933"/>
              <a:gd name="connsiteY16739" fmla="*/ 1654266 h 4687251"/>
              <a:gd name="connsiteX16740" fmla="*/ 6567970 w 8079933"/>
              <a:gd name="connsiteY16740" fmla="*/ 1652209 h 4687251"/>
              <a:gd name="connsiteX16741" fmla="*/ 6570358 w 8079933"/>
              <a:gd name="connsiteY16741" fmla="*/ 1650152 h 4687251"/>
              <a:gd name="connsiteX16742" fmla="*/ 6581100 w 8079933"/>
              <a:gd name="connsiteY16742" fmla="*/ 1652858 h 4687251"/>
              <a:gd name="connsiteX16743" fmla="*/ 6581100 w 8079933"/>
              <a:gd name="connsiteY16743" fmla="*/ 1652858 h 4687251"/>
              <a:gd name="connsiteX16744" fmla="*/ 6942322 w 8079933"/>
              <a:gd name="connsiteY16744" fmla="*/ 1648712 h 4687251"/>
              <a:gd name="connsiteX16745" fmla="*/ 6942134 w 8079933"/>
              <a:gd name="connsiteY16745" fmla="*/ 1651017 h 4687251"/>
              <a:gd name="connsiteX16746" fmla="*/ 6940832 w 8079933"/>
              <a:gd name="connsiteY16746" fmla="*/ 1654482 h 4687251"/>
              <a:gd name="connsiteX16747" fmla="*/ 6941334 w 8079933"/>
              <a:gd name="connsiteY16747" fmla="*/ 1655252 h 4687251"/>
              <a:gd name="connsiteX16748" fmla="*/ 6942352 w 8079933"/>
              <a:gd name="connsiteY16748" fmla="*/ 1652751 h 4687251"/>
              <a:gd name="connsiteX16749" fmla="*/ 6942352 w 8079933"/>
              <a:gd name="connsiteY16749" fmla="*/ 1648745 h 4687251"/>
              <a:gd name="connsiteX16750" fmla="*/ 5074177 w 8079933"/>
              <a:gd name="connsiteY16750" fmla="*/ 1648706 h 4687251"/>
              <a:gd name="connsiteX16751" fmla="*/ 5074237 w 8079933"/>
              <a:gd name="connsiteY16751" fmla="*/ 1648852 h 4687251"/>
              <a:gd name="connsiteX16752" fmla="*/ 5079555 w 8079933"/>
              <a:gd name="connsiteY16752" fmla="*/ 1652425 h 4687251"/>
              <a:gd name="connsiteX16753" fmla="*/ 5088236 w 8079933"/>
              <a:gd name="connsiteY16753" fmla="*/ 1649719 h 4687251"/>
              <a:gd name="connsiteX16754" fmla="*/ 5092106 w 8079933"/>
              <a:gd name="connsiteY16754" fmla="*/ 1649826 h 4687251"/>
              <a:gd name="connsiteX16755" fmla="*/ 5091818 w 8079933"/>
              <a:gd name="connsiteY16755" fmla="*/ 1649395 h 4687251"/>
              <a:gd name="connsiteX16756" fmla="*/ 5087802 w 8079933"/>
              <a:gd name="connsiteY16756" fmla="*/ 1649395 h 4687251"/>
              <a:gd name="connsiteX16757" fmla="*/ 5079229 w 8079933"/>
              <a:gd name="connsiteY16757" fmla="*/ 1652101 h 4687251"/>
              <a:gd name="connsiteX16758" fmla="*/ 2731906 w 8079933"/>
              <a:gd name="connsiteY16758" fmla="*/ 1642356 h 4687251"/>
              <a:gd name="connsiteX16759" fmla="*/ 2731906 w 8079933"/>
              <a:gd name="connsiteY16759" fmla="*/ 1643980 h 4687251"/>
              <a:gd name="connsiteX16760" fmla="*/ 2731906 w 8079933"/>
              <a:gd name="connsiteY16760" fmla="*/ 1646362 h 4687251"/>
              <a:gd name="connsiteX16761" fmla="*/ 2733968 w 8079933"/>
              <a:gd name="connsiteY16761" fmla="*/ 1646362 h 4687251"/>
              <a:gd name="connsiteX16762" fmla="*/ 2733968 w 8079933"/>
              <a:gd name="connsiteY16762" fmla="*/ 1644738 h 4687251"/>
              <a:gd name="connsiteX16763" fmla="*/ 2736681 w 8079933"/>
              <a:gd name="connsiteY16763" fmla="*/ 1643655 h 4687251"/>
              <a:gd name="connsiteX16764" fmla="*/ 2739828 w 8079933"/>
              <a:gd name="connsiteY16764" fmla="*/ 1643655 h 4687251"/>
              <a:gd name="connsiteX16765" fmla="*/ 2739828 w 8079933"/>
              <a:gd name="connsiteY16765" fmla="*/ 1649610 h 4687251"/>
              <a:gd name="connsiteX16766" fmla="*/ 2738200 w 8079933"/>
              <a:gd name="connsiteY16766" fmla="*/ 1652209 h 4687251"/>
              <a:gd name="connsiteX16767" fmla="*/ 2736356 w 8079933"/>
              <a:gd name="connsiteY16767" fmla="*/ 1653183 h 4687251"/>
              <a:gd name="connsiteX16768" fmla="*/ 2732883 w 8079933"/>
              <a:gd name="connsiteY16768" fmla="*/ 1651234 h 4687251"/>
              <a:gd name="connsiteX16769" fmla="*/ 2729410 w 8079933"/>
              <a:gd name="connsiteY16769" fmla="*/ 1650476 h 4687251"/>
              <a:gd name="connsiteX16770" fmla="*/ 2727023 w 8079933"/>
              <a:gd name="connsiteY16770" fmla="*/ 1651018 h 4687251"/>
              <a:gd name="connsiteX16771" fmla="*/ 2725938 w 8079933"/>
              <a:gd name="connsiteY16771" fmla="*/ 1653183 h 4687251"/>
              <a:gd name="connsiteX16772" fmla="*/ 2727348 w 8079933"/>
              <a:gd name="connsiteY16772" fmla="*/ 1654590 h 4687251"/>
              <a:gd name="connsiteX16773" fmla="*/ 2727999 w 8079933"/>
              <a:gd name="connsiteY16773" fmla="*/ 1657947 h 4687251"/>
              <a:gd name="connsiteX16774" fmla="*/ 2730061 w 8079933"/>
              <a:gd name="connsiteY16774" fmla="*/ 1656323 h 4687251"/>
              <a:gd name="connsiteX16775" fmla="*/ 2731689 w 8079933"/>
              <a:gd name="connsiteY16775" fmla="*/ 1656323 h 4687251"/>
              <a:gd name="connsiteX16776" fmla="*/ 2733208 w 8079933"/>
              <a:gd name="connsiteY16776" fmla="*/ 1658488 h 4687251"/>
              <a:gd name="connsiteX16777" fmla="*/ 2732014 w 8079933"/>
              <a:gd name="connsiteY16777" fmla="*/ 1660978 h 4687251"/>
              <a:gd name="connsiteX16778" fmla="*/ 2727565 w 8079933"/>
              <a:gd name="connsiteY16778" fmla="*/ 1665417 h 4687251"/>
              <a:gd name="connsiteX16779" fmla="*/ 2724853 w 8079933"/>
              <a:gd name="connsiteY16779" fmla="*/ 1669965 h 4687251"/>
              <a:gd name="connsiteX16780" fmla="*/ 2723550 w 8079933"/>
              <a:gd name="connsiteY16780" fmla="*/ 1668016 h 4687251"/>
              <a:gd name="connsiteX16781" fmla="*/ 2724201 w 8079933"/>
              <a:gd name="connsiteY16781" fmla="*/ 1665959 h 4687251"/>
              <a:gd name="connsiteX16782" fmla="*/ 2724201 w 8079933"/>
              <a:gd name="connsiteY16782" fmla="*/ 1663360 h 4687251"/>
              <a:gd name="connsiteX16783" fmla="*/ 2722899 w 8079933"/>
              <a:gd name="connsiteY16783" fmla="*/ 1666176 h 4687251"/>
              <a:gd name="connsiteX16784" fmla="*/ 2721380 w 8079933"/>
              <a:gd name="connsiteY16784" fmla="*/ 1668774 h 4687251"/>
              <a:gd name="connsiteX16785" fmla="*/ 2721380 w 8079933"/>
              <a:gd name="connsiteY16785" fmla="*/ 1670831 h 4687251"/>
              <a:gd name="connsiteX16786" fmla="*/ 2720729 w 8079933"/>
              <a:gd name="connsiteY16786" fmla="*/ 1672347 h 4687251"/>
              <a:gd name="connsiteX16787" fmla="*/ 2718450 w 8079933"/>
              <a:gd name="connsiteY16787" fmla="*/ 1673105 h 4687251"/>
              <a:gd name="connsiteX16788" fmla="*/ 2716605 w 8079933"/>
              <a:gd name="connsiteY16788" fmla="*/ 1675811 h 4687251"/>
              <a:gd name="connsiteX16789" fmla="*/ 2713892 w 8079933"/>
              <a:gd name="connsiteY16789" fmla="*/ 1677761 h 4687251"/>
              <a:gd name="connsiteX16790" fmla="*/ 2711831 w 8079933"/>
              <a:gd name="connsiteY16790" fmla="*/ 1681767 h 4687251"/>
              <a:gd name="connsiteX16791" fmla="*/ 2710311 w 8079933"/>
              <a:gd name="connsiteY16791" fmla="*/ 1683282 h 4687251"/>
              <a:gd name="connsiteX16792" fmla="*/ 2708141 w 8079933"/>
              <a:gd name="connsiteY16792" fmla="*/ 1685339 h 4687251"/>
              <a:gd name="connsiteX16793" fmla="*/ 2708141 w 8079933"/>
              <a:gd name="connsiteY16793" fmla="*/ 1687180 h 4687251"/>
              <a:gd name="connsiteX16794" fmla="*/ 2705103 w 8079933"/>
              <a:gd name="connsiteY16794" fmla="*/ 1690320 h 4687251"/>
              <a:gd name="connsiteX16795" fmla="*/ 2703149 w 8079933"/>
              <a:gd name="connsiteY16795" fmla="*/ 1694326 h 4687251"/>
              <a:gd name="connsiteX16796" fmla="*/ 2703149 w 8079933"/>
              <a:gd name="connsiteY16796" fmla="*/ 1696600 h 4687251"/>
              <a:gd name="connsiteX16797" fmla="*/ 2700979 w 8079933"/>
              <a:gd name="connsiteY16797" fmla="*/ 1699955 h 4687251"/>
              <a:gd name="connsiteX16798" fmla="*/ 2700328 w 8079933"/>
              <a:gd name="connsiteY16798" fmla="*/ 1703096 h 4687251"/>
              <a:gd name="connsiteX16799" fmla="*/ 2700328 w 8079933"/>
              <a:gd name="connsiteY16799" fmla="*/ 1706885 h 4687251"/>
              <a:gd name="connsiteX16800" fmla="*/ 2702932 w 8079933"/>
              <a:gd name="connsiteY16800" fmla="*/ 1704070 h 4687251"/>
              <a:gd name="connsiteX16801" fmla="*/ 2706296 w 8079933"/>
              <a:gd name="connsiteY16801" fmla="*/ 1701904 h 4687251"/>
              <a:gd name="connsiteX16802" fmla="*/ 2707165 w 8079933"/>
              <a:gd name="connsiteY16802" fmla="*/ 1699306 h 4687251"/>
              <a:gd name="connsiteX16803" fmla="*/ 2709443 w 8079933"/>
              <a:gd name="connsiteY16803" fmla="*/ 1697791 h 4687251"/>
              <a:gd name="connsiteX16804" fmla="*/ 2712373 w 8079933"/>
              <a:gd name="connsiteY16804" fmla="*/ 1694651 h 4687251"/>
              <a:gd name="connsiteX16805" fmla="*/ 2714326 w 8079933"/>
              <a:gd name="connsiteY16805" fmla="*/ 1691727 h 4687251"/>
              <a:gd name="connsiteX16806" fmla="*/ 2717256 w 8079933"/>
              <a:gd name="connsiteY16806" fmla="*/ 1689453 h 4687251"/>
              <a:gd name="connsiteX16807" fmla="*/ 2719752 w 8079933"/>
              <a:gd name="connsiteY16807" fmla="*/ 1688804 h 4687251"/>
              <a:gd name="connsiteX16808" fmla="*/ 2719752 w 8079933"/>
              <a:gd name="connsiteY16808" fmla="*/ 1689778 h 4687251"/>
              <a:gd name="connsiteX16809" fmla="*/ 2718450 w 8079933"/>
              <a:gd name="connsiteY16809" fmla="*/ 1690969 h 4687251"/>
              <a:gd name="connsiteX16810" fmla="*/ 2716605 w 8079933"/>
              <a:gd name="connsiteY16810" fmla="*/ 1694975 h 4687251"/>
              <a:gd name="connsiteX16811" fmla="*/ 2718450 w 8079933"/>
              <a:gd name="connsiteY16811" fmla="*/ 1693568 h 4687251"/>
              <a:gd name="connsiteX16812" fmla="*/ 2720404 w 8079933"/>
              <a:gd name="connsiteY16812" fmla="*/ 1693568 h 4687251"/>
              <a:gd name="connsiteX16813" fmla="*/ 2723985 w 8079933"/>
              <a:gd name="connsiteY16813" fmla="*/ 1696383 h 4687251"/>
              <a:gd name="connsiteX16814" fmla="*/ 2726371 w 8079933"/>
              <a:gd name="connsiteY16814" fmla="*/ 1697141 h 4687251"/>
              <a:gd name="connsiteX16815" fmla="*/ 2730387 w 8079933"/>
              <a:gd name="connsiteY16815" fmla="*/ 1695950 h 4687251"/>
              <a:gd name="connsiteX16816" fmla="*/ 2731689 w 8079933"/>
              <a:gd name="connsiteY16816" fmla="*/ 1695300 h 4687251"/>
              <a:gd name="connsiteX16817" fmla="*/ 2731689 w 8079933"/>
              <a:gd name="connsiteY16817" fmla="*/ 1697249 h 4687251"/>
              <a:gd name="connsiteX16818" fmla="*/ 2729627 w 8079933"/>
              <a:gd name="connsiteY16818" fmla="*/ 1699523 h 4687251"/>
              <a:gd name="connsiteX16819" fmla="*/ 2726155 w 8079933"/>
              <a:gd name="connsiteY16819" fmla="*/ 1700281 h 4687251"/>
              <a:gd name="connsiteX16820" fmla="*/ 2724310 w 8079933"/>
              <a:gd name="connsiteY16820" fmla="*/ 1701363 h 4687251"/>
              <a:gd name="connsiteX16821" fmla="*/ 2720295 w 8079933"/>
              <a:gd name="connsiteY16821" fmla="*/ 1701363 h 4687251"/>
              <a:gd name="connsiteX16822" fmla="*/ 2716605 w 8079933"/>
              <a:gd name="connsiteY16822" fmla="*/ 1704503 h 4687251"/>
              <a:gd name="connsiteX16823" fmla="*/ 2714869 w 8079933"/>
              <a:gd name="connsiteY16823" fmla="*/ 1707426 h 4687251"/>
              <a:gd name="connsiteX16824" fmla="*/ 2718124 w 8079933"/>
              <a:gd name="connsiteY16824" fmla="*/ 1704828 h 4687251"/>
              <a:gd name="connsiteX16825" fmla="*/ 2719969 w 8079933"/>
              <a:gd name="connsiteY16825" fmla="*/ 1704828 h 4687251"/>
              <a:gd name="connsiteX16826" fmla="*/ 2721488 w 8079933"/>
              <a:gd name="connsiteY16826" fmla="*/ 1704828 h 4687251"/>
              <a:gd name="connsiteX16827" fmla="*/ 2720404 w 8079933"/>
              <a:gd name="connsiteY16827" fmla="*/ 1707968 h 4687251"/>
              <a:gd name="connsiteX16828" fmla="*/ 2717907 w 8079933"/>
              <a:gd name="connsiteY16828" fmla="*/ 1711865 h 4687251"/>
              <a:gd name="connsiteX16829" fmla="*/ 2714001 w 8079933"/>
              <a:gd name="connsiteY16829" fmla="*/ 1714464 h 4687251"/>
              <a:gd name="connsiteX16830" fmla="*/ 2714001 w 8079933"/>
              <a:gd name="connsiteY16830" fmla="*/ 1715547 h 4687251"/>
              <a:gd name="connsiteX16831" fmla="*/ 2715846 w 8079933"/>
              <a:gd name="connsiteY16831" fmla="*/ 1715547 h 4687251"/>
              <a:gd name="connsiteX16832" fmla="*/ 2719427 w 8079933"/>
              <a:gd name="connsiteY16832" fmla="*/ 1712624 h 4687251"/>
              <a:gd name="connsiteX16833" fmla="*/ 2720512 w 8079933"/>
              <a:gd name="connsiteY16833" fmla="*/ 1712624 h 4687251"/>
              <a:gd name="connsiteX16834" fmla="*/ 2721814 w 8079933"/>
              <a:gd name="connsiteY16834" fmla="*/ 1716305 h 4687251"/>
              <a:gd name="connsiteX16835" fmla="*/ 2723442 w 8079933"/>
              <a:gd name="connsiteY16835" fmla="*/ 1716305 h 4687251"/>
              <a:gd name="connsiteX16836" fmla="*/ 2727348 w 8079933"/>
              <a:gd name="connsiteY16836" fmla="*/ 1712732 h 4687251"/>
              <a:gd name="connsiteX16837" fmla="*/ 2730387 w 8079933"/>
              <a:gd name="connsiteY16837" fmla="*/ 1712191 h 4687251"/>
              <a:gd name="connsiteX16838" fmla="*/ 2730387 w 8079933"/>
              <a:gd name="connsiteY16838" fmla="*/ 1713165 h 4687251"/>
              <a:gd name="connsiteX16839" fmla="*/ 2729736 w 8079933"/>
              <a:gd name="connsiteY16839" fmla="*/ 1715655 h 4687251"/>
              <a:gd name="connsiteX16840" fmla="*/ 2728108 w 8079933"/>
              <a:gd name="connsiteY16840" fmla="*/ 1717279 h 4687251"/>
              <a:gd name="connsiteX16841" fmla="*/ 2728976 w 8079933"/>
              <a:gd name="connsiteY16841" fmla="*/ 1718903 h 4687251"/>
              <a:gd name="connsiteX16842" fmla="*/ 2731581 w 8079933"/>
              <a:gd name="connsiteY16842" fmla="*/ 1716196 h 4687251"/>
              <a:gd name="connsiteX16843" fmla="*/ 2732774 w 8079933"/>
              <a:gd name="connsiteY16843" fmla="*/ 1713922 h 4687251"/>
              <a:gd name="connsiteX16844" fmla="*/ 2735379 w 8079933"/>
              <a:gd name="connsiteY16844" fmla="*/ 1712840 h 4687251"/>
              <a:gd name="connsiteX16845" fmla="*/ 2736464 w 8079933"/>
              <a:gd name="connsiteY16845" fmla="*/ 1713489 h 4687251"/>
              <a:gd name="connsiteX16846" fmla="*/ 2733859 w 8079933"/>
              <a:gd name="connsiteY16846" fmla="*/ 1717928 h 4687251"/>
              <a:gd name="connsiteX16847" fmla="*/ 2733317 w 8079933"/>
              <a:gd name="connsiteY16847" fmla="*/ 1723883 h 4687251"/>
              <a:gd name="connsiteX16848" fmla="*/ 2731038 w 8079933"/>
              <a:gd name="connsiteY16848" fmla="*/ 1726373 h 4687251"/>
              <a:gd name="connsiteX16849" fmla="*/ 2734185 w 8079933"/>
              <a:gd name="connsiteY16849" fmla="*/ 1724100 h 4687251"/>
              <a:gd name="connsiteX16850" fmla="*/ 2734836 w 8079933"/>
              <a:gd name="connsiteY16850" fmla="*/ 1719553 h 4687251"/>
              <a:gd name="connsiteX16851" fmla="*/ 2737983 w 8079933"/>
              <a:gd name="connsiteY16851" fmla="*/ 1717496 h 4687251"/>
              <a:gd name="connsiteX16852" fmla="*/ 2739502 w 8079933"/>
              <a:gd name="connsiteY16852" fmla="*/ 1719011 h 4687251"/>
              <a:gd name="connsiteX16853" fmla="*/ 2741998 w 8079933"/>
              <a:gd name="connsiteY16853" fmla="*/ 1718037 h 4687251"/>
              <a:gd name="connsiteX16854" fmla="*/ 2743300 w 8079933"/>
              <a:gd name="connsiteY16854" fmla="*/ 1716521 h 4687251"/>
              <a:gd name="connsiteX16855" fmla="*/ 2744711 w 8079933"/>
              <a:gd name="connsiteY16855" fmla="*/ 1717928 h 4687251"/>
              <a:gd name="connsiteX16856" fmla="*/ 2746013 w 8079933"/>
              <a:gd name="connsiteY16856" fmla="*/ 1717496 h 4687251"/>
              <a:gd name="connsiteX16857" fmla="*/ 2747641 w 8079933"/>
              <a:gd name="connsiteY16857" fmla="*/ 1715005 h 4687251"/>
              <a:gd name="connsiteX16858" fmla="*/ 2750896 w 8079933"/>
              <a:gd name="connsiteY16858" fmla="*/ 1712515 h 4687251"/>
              <a:gd name="connsiteX16859" fmla="*/ 2752416 w 8079933"/>
              <a:gd name="connsiteY16859" fmla="*/ 1712515 h 4687251"/>
              <a:gd name="connsiteX16860" fmla="*/ 2750788 w 8079933"/>
              <a:gd name="connsiteY16860" fmla="*/ 1715763 h 4687251"/>
              <a:gd name="connsiteX16861" fmla="*/ 2749703 w 8079933"/>
              <a:gd name="connsiteY16861" fmla="*/ 1718037 h 4687251"/>
              <a:gd name="connsiteX16862" fmla="*/ 2750788 w 8079933"/>
              <a:gd name="connsiteY16862" fmla="*/ 1719553 h 4687251"/>
              <a:gd name="connsiteX16863" fmla="*/ 2750137 w 8079933"/>
              <a:gd name="connsiteY16863" fmla="*/ 1723450 h 4687251"/>
              <a:gd name="connsiteX16864" fmla="*/ 2748509 w 8079933"/>
              <a:gd name="connsiteY16864" fmla="*/ 1725508 h 4687251"/>
              <a:gd name="connsiteX16865" fmla="*/ 2751114 w 8079933"/>
              <a:gd name="connsiteY16865" fmla="*/ 1723559 h 4687251"/>
              <a:gd name="connsiteX16866" fmla="*/ 2751982 w 8079933"/>
              <a:gd name="connsiteY16866" fmla="*/ 1719769 h 4687251"/>
              <a:gd name="connsiteX16867" fmla="*/ 2753718 w 8079933"/>
              <a:gd name="connsiteY16867" fmla="*/ 1716412 h 4687251"/>
              <a:gd name="connsiteX16868" fmla="*/ 2753718 w 8079933"/>
              <a:gd name="connsiteY16868" fmla="*/ 1714031 h 4687251"/>
              <a:gd name="connsiteX16869" fmla="*/ 2755671 w 8079933"/>
              <a:gd name="connsiteY16869" fmla="*/ 1714031 h 4687251"/>
              <a:gd name="connsiteX16870" fmla="*/ 2759687 w 8079933"/>
              <a:gd name="connsiteY16870" fmla="*/ 1713057 h 4687251"/>
              <a:gd name="connsiteX16871" fmla="*/ 2763593 w 8079933"/>
              <a:gd name="connsiteY16871" fmla="*/ 1713057 h 4687251"/>
              <a:gd name="connsiteX16872" fmla="*/ 2767608 w 8079933"/>
              <a:gd name="connsiteY16872" fmla="*/ 1716846 h 4687251"/>
              <a:gd name="connsiteX16873" fmla="*/ 2770429 w 8079933"/>
              <a:gd name="connsiteY16873" fmla="*/ 1718470 h 4687251"/>
              <a:gd name="connsiteX16874" fmla="*/ 2770429 w 8079933"/>
              <a:gd name="connsiteY16874" fmla="*/ 1720852 h 4687251"/>
              <a:gd name="connsiteX16875" fmla="*/ 2768693 w 8079933"/>
              <a:gd name="connsiteY16875" fmla="*/ 1722476 h 4687251"/>
              <a:gd name="connsiteX16876" fmla="*/ 2768693 w 8079933"/>
              <a:gd name="connsiteY16876" fmla="*/ 1725508 h 4687251"/>
              <a:gd name="connsiteX16877" fmla="*/ 2766414 w 8079933"/>
              <a:gd name="connsiteY16877" fmla="*/ 1727024 h 4687251"/>
              <a:gd name="connsiteX16878" fmla="*/ 2764135 w 8079933"/>
              <a:gd name="connsiteY16878" fmla="*/ 1727024 h 4687251"/>
              <a:gd name="connsiteX16879" fmla="*/ 2762725 w 8079933"/>
              <a:gd name="connsiteY16879" fmla="*/ 1728756 h 4687251"/>
              <a:gd name="connsiteX16880" fmla="*/ 2759578 w 8079933"/>
              <a:gd name="connsiteY16880" fmla="*/ 1730272 h 4687251"/>
              <a:gd name="connsiteX16881" fmla="*/ 2755562 w 8079933"/>
              <a:gd name="connsiteY16881" fmla="*/ 1731030 h 4687251"/>
              <a:gd name="connsiteX16882" fmla="*/ 2758059 w 8079933"/>
              <a:gd name="connsiteY16882" fmla="*/ 1732870 h 4687251"/>
              <a:gd name="connsiteX16883" fmla="*/ 2753718 w 8079933"/>
              <a:gd name="connsiteY16883" fmla="*/ 1732870 h 4687251"/>
              <a:gd name="connsiteX16884" fmla="*/ 2758167 w 8079933"/>
              <a:gd name="connsiteY16884" fmla="*/ 1733520 h 4687251"/>
              <a:gd name="connsiteX16885" fmla="*/ 2760988 w 8079933"/>
              <a:gd name="connsiteY16885" fmla="*/ 1732546 h 4687251"/>
              <a:gd name="connsiteX16886" fmla="*/ 2762508 w 8079933"/>
              <a:gd name="connsiteY16886" fmla="*/ 1732546 h 4687251"/>
              <a:gd name="connsiteX16887" fmla="*/ 2762508 w 8079933"/>
              <a:gd name="connsiteY16887" fmla="*/ 1735144 h 4687251"/>
              <a:gd name="connsiteX16888" fmla="*/ 2761531 w 8079933"/>
              <a:gd name="connsiteY16888" fmla="*/ 1737634 h 4687251"/>
              <a:gd name="connsiteX16889" fmla="*/ 2763376 w 8079933"/>
              <a:gd name="connsiteY16889" fmla="*/ 1735577 h 4687251"/>
              <a:gd name="connsiteX16890" fmla="*/ 2765003 w 8079933"/>
              <a:gd name="connsiteY16890" fmla="*/ 1736335 h 4687251"/>
              <a:gd name="connsiteX16891" fmla="*/ 2763593 w 8079933"/>
              <a:gd name="connsiteY16891" fmla="*/ 1739691 h 4687251"/>
              <a:gd name="connsiteX16892" fmla="*/ 2761640 w 8079933"/>
              <a:gd name="connsiteY16892" fmla="*/ 1741423 h 4687251"/>
              <a:gd name="connsiteX16893" fmla="*/ 2763376 w 8079933"/>
              <a:gd name="connsiteY16893" fmla="*/ 1742506 h 4687251"/>
              <a:gd name="connsiteX16894" fmla="*/ 2762291 w 8079933"/>
              <a:gd name="connsiteY16894" fmla="*/ 1743913 h 4687251"/>
              <a:gd name="connsiteX16895" fmla="*/ 2759903 w 8079933"/>
              <a:gd name="connsiteY16895" fmla="*/ 1746295 h 4687251"/>
              <a:gd name="connsiteX16896" fmla="*/ 2757516 w 8079933"/>
              <a:gd name="connsiteY16896" fmla="*/ 1747595 h 4687251"/>
              <a:gd name="connsiteX16897" fmla="*/ 2759903 w 8079933"/>
              <a:gd name="connsiteY16897" fmla="*/ 1747595 h 4687251"/>
              <a:gd name="connsiteX16898" fmla="*/ 2761423 w 8079933"/>
              <a:gd name="connsiteY16898" fmla="*/ 1746079 h 4687251"/>
              <a:gd name="connsiteX16899" fmla="*/ 2761423 w 8079933"/>
              <a:gd name="connsiteY16899" fmla="*/ 1748894 h 4687251"/>
              <a:gd name="connsiteX16900" fmla="*/ 2760663 w 8079933"/>
              <a:gd name="connsiteY16900" fmla="*/ 1750843 h 4687251"/>
              <a:gd name="connsiteX16901" fmla="*/ 2762291 w 8079933"/>
              <a:gd name="connsiteY16901" fmla="*/ 1750085 h 4687251"/>
              <a:gd name="connsiteX16902" fmla="*/ 2762291 w 8079933"/>
              <a:gd name="connsiteY16902" fmla="*/ 1747703 h 4687251"/>
              <a:gd name="connsiteX16903" fmla="*/ 2764569 w 8079933"/>
              <a:gd name="connsiteY16903" fmla="*/ 1746295 h 4687251"/>
              <a:gd name="connsiteX16904" fmla="*/ 2767608 w 8079933"/>
              <a:gd name="connsiteY16904" fmla="*/ 1744022 h 4687251"/>
              <a:gd name="connsiteX16905" fmla="*/ 2769453 w 8079933"/>
              <a:gd name="connsiteY16905" fmla="*/ 1744022 h 4687251"/>
              <a:gd name="connsiteX16906" fmla="*/ 2771298 w 8079933"/>
              <a:gd name="connsiteY16906" fmla="*/ 1743048 h 4687251"/>
              <a:gd name="connsiteX16907" fmla="*/ 2771298 w 8079933"/>
              <a:gd name="connsiteY16907" fmla="*/ 1739907 h 4687251"/>
              <a:gd name="connsiteX16908" fmla="*/ 2771298 w 8079933"/>
              <a:gd name="connsiteY16908" fmla="*/ 1737959 h 4687251"/>
              <a:gd name="connsiteX16909" fmla="*/ 2773902 w 8079933"/>
              <a:gd name="connsiteY16909" fmla="*/ 1737959 h 4687251"/>
              <a:gd name="connsiteX16910" fmla="*/ 2774553 w 8079933"/>
              <a:gd name="connsiteY16910" fmla="*/ 1739475 h 4687251"/>
              <a:gd name="connsiteX16911" fmla="*/ 2776940 w 8079933"/>
              <a:gd name="connsiteY16911" fmla="*/ 1737959 h 4687251"/>
              <a:gd name="connsiteX16912" fmla="*/ 2779979 w 8079933"/>
              <a:gd name="connsiteY16912" fmla="*/ 1734710 h 4687251"/>
              <a:gd name="connsiteX16913" fmla="*/ 2781173 w 8079933"/>
              <a:gd name="connsiteY16913" fmla="*/ 1737093 h 4687251"/>
              <a:gd name="connsiteX16914" fmla="*/ 2781173 w 8079933"/>
              <a:gd name="connsiteY16914" fmla="*/ 1740449 h 4687251"/>
              <a:gd name="connsiteX16915" fmla="*/ 2779762 w 8079933"/>
              <a:gd name="connsiteY16915" fmla="*/ 1743481 h 4687251"/>
              <a:gd name="connsiteX16916" fmla="*/ 2775421 w 8079933"/>
              <a:gd name="connsiteY16916" fmla="*/ 1746187 h 4687251"/>
              <a:gd name="connsiteX16917" fmla="*/ 2774336 w 8079933"/>
              <a:gd name="connsiteY16917" fmla="*/ 1744888 h 4687251"/>
              <a:gd name="connsiteX16918" fmla="*/ 2770755 w 8079933"/>
              <a:gd name="connsiteY16918" fmla="*/ 1744888 h 4687251"/>
              <a:gd name="connsiteX16919" fmla="*/ 2769236 w 8079933"/>
              <a:gd name="connsiteY16919" fmla="*/ 1748894 h 4687251"/>
              <a:gd name="connsiteX16920" fmla="*/ 2765655 w 8079933"/>
              <a:gd name="connsiteY16920" fmla="*/ 1751817 h 4687251"/>
              <a:gd name="connsiteX16921" fmla="*/ 2764461 w 8079933"/>
              <a:gd name="connsiteY16921" fmla="*/ 1752791 h 4687251"/>
              <a:gd name="connsiteX16922" fmla="*/ 2760446 w 8079933"/>
              <a:gd name="connsiteY16922" fmla="*/ 1752791 h 4687251"/>
              <a:gd name="connsiteX16923" fmla="*/ 2759143 w 8079933"/>
              <a:gd name="connsiteY16923" fmla="*/ 1753658 h 4687251"/>
              <a:gd name="connsiteX16924" fmla="*/ 2759143 w 8079933"/>
              <a:gd name="connsiteY16924" fmla="*/ 1754839 h 4687251"/>
              <a:gd name="connsiteX16925" fmla="*/ 2763485 w 8079933"/>
              <a:gd name="connsiteY16925" fmla="*/ 1756149 h 4687251"/>
              <a:gd name="connsiteX16926" fmla="*/ 2762834 w 8079933"/>
              <a:gd name="connsiteY16926" fmla="*/ 1757773 h 4687251"/>
              <a:gd name="connsiteX16927" fmla="*/ 2760759 w 8079933"/>
              <a:gd name="connsiteY16927" fmla="*/ 1757773 h 4687251"/>
              <a:gd name="connsiteX16928" fmla="*/ 2760988 w 8079933"/>
              <a:gd name="connsiteY16928" fmla="*/ 1757989 h 4687251"/>
              <a:gd name="connsiteX16929" fmla="*/ 2764787 w 8079933"/>
              <a:gd name="connsiteY16929" fmla="*/ 1758746 h 4687251"/>
              <a:gd name="connsiteX16930" fmla="*/ 2761097 w 8079933"/>
              <a:gd name="connsiteY16930" fmla="*/ 1758746 h 4687251"/>
              <a:gd name="connsiteX16931" fmla="*/ 2758818 w 8079933"/>
              <a:gd name="connsiteY16931" fmla="*/ 1758746 h 4687251"/>
              <a:gd name="connsiteX16932" fmla="*/ 2762400 w 8079933"/>
              <a:gd name="connsiteY16932" fmla="*/ 1760046 h 4687251"/>
              <a:gd name="connsiteX16933" fmla="*/ 2764244 w 8079933"/>
              <a:gd name="connsiteY16933" fmla="*/ 1760046 h 4687251"/>
              <a:gd name="connsiteX16934" fmla="*/ 2761531 w 8079933"/>
              <a:gd name="connsiteY16934" fmla="*/ 1764268 h 4687251"/>
              <a:gd name="connsiteX16935" fmla="*/ 2760012 w 8079933"/>
              <a:gd name="connsiteY16935" fmla="*/ 1764268 h 4687251"/>
              <a:gd name="connsiteX16936" fmla="*/ 2758275 w 8079933"/>
              <a:gd name="connsiteY16936" fmla="*/ 1761670 h 4687251"/>
              <a:gd name="connsiteX16937" fmla="*/ 2758275 w 8079933"/>
              <a:gd name="connsiteY16937" fmla="*/ 1764485 h 4687251"/>
              <a:gd name="connsiteX16938" fmla="*/ 2759361 w 8079933"/>
              <a:gd name="connsiteY16938" fmla="*/ 1767191 h 4687251"/>
              <a:gd name="connsiteX16939" fmla="*/ 2759361 w 8079933"/>
              <a:gd name="connsiteY16939" fmla="*/ 1769574 h 4687251"/>
              <a:gd name="connsiteX16940" fmla="*/ 2762616 w 8079933"/>
              <a:gd name="connsiteY16940" fmla="*/ 1772389 h 4687251"/>
              <a:gd name="connsiteX16941" fmla="*/ 2764895 w 8079933"/>
              <a:gd name="connsiteY16941" fmla="*/ 1770764 h 4687251"/>
              <a:gd name="connsiteX16942" fmla="*/ 2764895 w 8079933"/>
              <a:gd name="connsiteY16942" fmla="*/ 1769032 h 4687251"/>
              <a:gd name="connsiteX16943" fmla="*/ 2769670 w 8079933"/>
              <a:gd name="connsiteY16943" fmla="*/ 1765351 h 4687251"/>
              <a:gd name="connsiteX16944" fmla="*/ 2770321 w 8079933"/>
              <a:gd name="connsiteY16944" fmla="*/ 1762970 h 4687251"/>
              <a:gd name="connsiteX16945" fmla="*/ 2773251 w 8079933"/>
              <a:gd name="connsiteY16945" fmla="*/ 1760262 h 4687251"/>
              <a:gd name="connsiteX16946" fmla="*/ 2775964 w 8079933"/>
              <a:gd name="connsiteY16946" fmla="*/ 1760262 h 4687251"/>
              <a:gd name="connsiteX16947" fmla="*/ 2778894 w 8079933"/>
              <a:gd name="connsiteY16947" fmla="*/ 1758746 h 4687251"/>
              <a:gd name="connsiteX16948" fmla="*/ 2780521 w 8079933"/>
              <a:gd name="connsiteY16948" fmla="*/ 1758746 h 4687251"/>
              <a:gd name="connsiteX16949" fmla="*/ 2782583 w 8079933"/>
              <a:gd name="connsiteY16949" fmla="*/ 1756906 h 4687251"/>
              <a:gd name="connsiteX16950" fmla="*/ 2783560 w 8079933"/>
              <a:gd name="connsiteY16950" fmla="*/ 1759288 h 4687251"/>
              <a:gd name="connsiteX16951" fmla="*/ 2781824 w 8079933"/>
              <a:gd name="connsiteY16951" fmla="*/ 1760262 h 4687251"/>
              <a:gd name="connsiteX16952" fmla="*/ 2780630 w 8079933"/>
              <a:gd name="connsiteY16952" fmla="*/ 1760262 h 4687251"/>
              <a:gd name="connsiteX16953" fmla="*/ 2777049 w 8079933"/>
              <a:gd name="connsiteY16953" fmla="*/ 1763511 h 4687251"/>
              <a:gd name="connsiteX16954" fmla="*/ 2776180 w 8079933"/>
              <a:gd name="connsiteY16954" fmla="*/ 1765134 h 4687251"/>
              <a:gd name="connsiteX16955" fmla="*/ 2772166 w 8079933"/>
              <a:gd name="connsiteY16955" fmla="*/ 1768274 h 4687251"/>
              <a:gd name="connsiteX16956" fmla="*/ 2772166 w 8079933"/>
              <a:gd name="connsiteY16956" fmla="*/ 1771956 h 4687251"/>
              <a:gd name="connsiteX16957" fmla="*/ 2771514 w 8079933"/>
              <a:gd name="connsiteY16957" fmla="*/ 1775312 h 4687251"/>
              <a:gd name="connsiteX16958" fmla="*/ 2773034 w 8079933"/>
              <a:gd name="connsiteY16958" fmla="*/ 1778235 h 4687251"/>
              <a:gd name="connsiteX16959" fmla="*/ 2774987 w 8079933"/>
              <a:gd name="connsiteY16959" fmla="*/ 1777586 h 4687251"/>
              <a:gd name="connsiteX16960" fmla="*/ 2777808 w 8079933"/>
              <a:gd name="connsiteY16960" fmla="*/ 1774337 h 4687251"/>
              <a:gd name="connsiteX16961" fmla="*/ 2781064 w 8079933"/>
              <a:gd name="connsiteY16961" fmla="*/ 1772172 h 4687251"/>
              <a:gd name="connsiteX16962" fmla="*/ 2782692 w 8079933"/>
              <a:gd name="connsiteY16962" fmla="*/ 1768599 h 4687251"/>
              <a:gd name="connsiteX16963" fmla="*/ 2782692 w 8079933"/>
              <a:gd name="connsiteY16963" fmla="*/ 1766867 h 4687251"/>
              <a:gd name="connsiteX16964" fmla="*/ 2783994 w 8079933"/>
              <a:gd name="connsiteY16964" fmla="*/ 1766867 h 4687251"/>
              <a:gd name="connsiteX16965" fmla="*/ 2783994 w 8079933"/>
              <a:gd name="connsiteY16965" fmla="*/ 1769357 h 4687251"/>
              <a:gd name="connsiteX16966" fmla="*/ 2783994 w 8079933"/>
              <a:gd name="connsiteY16966" fmla="*/ 1776286 h 4687251"/>
              <a:gd name="connsiteX16967" fmla="*/ 2781607 w 8079933"/>
              <a:gd name="connsiteY16967" fmla="*/ 1780076 h 4687251"/>
              <a:gd name="connsiteX16968" fmla="*/ 2777592 w 8079933"/>
              <a:gd name="connsiteY16968" fmla="*/ 1785489 h 4687251"/>
              <a:gd name="connsiteX16969" fmla="*/ 2776615 w 8079933"/>
              <a:gd name="connsiteY16969" fmla="*/ 1789279 h 4687251"/>
              <a:gd name="connsiteX16970" fmla="*/ 2777808 w 8079933"/>
              <a:gd name="connsiteY16970" fmla="*/ 1791661 h 4687251"/>
              <a:gd name="connsiteX16971" fmla="*/ 2777049 w 8079933"/>
              <a:gd name="connsiteY16971" fmla="*/ 1793718 h 4687251"/>
              <a:gd name="connsiteX16972" fmla="*/ 2776072 w 8079933"/>
              <a:gd name="connsiteY16972" fmla="*/ 1793718 h 4687251"/>
              <a:gd name="connsiteX16973" fmla="*/ 2776072 w 8079933"/>
              <a:gd name="connsiteY16973" fmla="*/ 1794368 h 4687251"/>
              <a:gd name="connsiteX16974" fmla="*/ 2775204 w 8079933"/>
              <a:gd name="connsiteY16974" fmla="*/ 1796641 h 4687251"/>
              <a:gd name="connsiteX16975" fmla="*/ 2773794 w 8079933"/>
              <a:gd name="connsiteY16975" fmla="*/ 1796641 h 4687251"/>
              <a:gd name="connsiteX16976" fmla="*/ 2773794 w 8079933"/>
              <a:gd name="connsiteY16976" fmla="*/ 1799023 h 4687251"/>
              <a:gd name="connsiteX16977" fmla="*/ 2770646 w 8079933"/>
              <a:gd name="connsiteY16977" fmla="*/ 1801080 h 4687251"/>
              <a:gd name="connsiteX16978" fmla="*/ 2768585 w 8079933"/>
              <a:gd name="connsiteY16978" fmla="*/ 1800431 h 4687251"/>
              <a:gd name="connsiteX16979" fmla="*/ 2766631 w 8079933"/>
              <a:gd name="connsiteY16979" fmla="*/ 1797291 h 4687251"/>
              <a:gd name="connsiteX16980" fmla="*/ 2764461 w 8079933"/>
              <a:gd name="connsiteY16980" fmla="*/ 1797291 h 4687251"/>
              <a:gd name="connsiteX16981" fmla="*/ 2762400 w 8079933"/>
              <a:gd name="connsiteY16981" fmla="*/ 1799565 h 4687251"/>
              <a:gd name="connsiteX16982" fmla="*/ 2761748 w 8079933"/>
              <a:gd name="connsiteY16982" fmla="*/ 1802813 h 4687251"/>
              <a:gd name="connsiteX16983" fmla="*/ 2759469 w 8079933"/>
              <a:gd name="connsiteY16983" fmla="*/ 1800755 h 4687251"/>
              <a:gd name="connsiteX16984" fmla="*/ 2759469 w 8079933"/>
              <a:gd name="connsiteY16984" fmla="*/ 1796533 h 4687251"/>
              <a:gd name="connsiteX16985" fmla="*/ 2758493 w 8079933"/>
              <a:gd name="connsiteY16985" fmla="*/ 1795017 h 4687251"/>
              <a:gd name="connsiteX16986" fmla="*/ 2759469 w 8079933"/>
              <a:gd name="connsiteY16986" fmla="*/ 1791769 h 4687251"/>
              <a:gd name="connsiteX16987" fmla="*/ 2759469 w 8079933"/>
              <a:gd name="connsiteY16987" fmla="*/ 1788954 h 4687251"/>
              <a:gd name="connsiteX16988" fmla="*/ 2763485 w 8079933"/>
              <a:gd name="connsiteY16988" fmla="*/ 1784731 h 4687251"/>
              <a:gd name="connsiteX16989" fmla="*/ 2766306 w 8079933"/>
              <a:gd name="connsiteY16989" fmla="*/ 1784082 h 4687251"/>
              <a:gd name="connsiteX16990" fmla="*/ 2766306 w 8079933"/>
              <a:gd name="connsiteY16990" fmla="*/ 1782458 h 4687251"/>
              <a:gd name="connsiteX16991" fmla="*/ 2762508 w 8079933"/>
              <a:gd name="connsiteY16991" fmla="*/ 1782458 h 4687251"/>
              <a:gd name="connsiteX16992" fmla="*/ 2761856 w 8079933"/>
              <a:gd name="connsiteY16992" fmla="*/ 1780942 h 4687251"/>
              <a:gd name="connsiteX16993" fmla="*/ 2760120 w 8079933"/>
              <a:gd name="connsiteY16993" fmla="*/ 1783432 h 4687251"/>
              <a:gd name="connsiteX16994" fmla="*/ 2756865 w 8079933"/>
              <a:gd name="connsiteY16994" fmla="*/ 1787330 h 4687251"/>
              <a:gd name="connsiteX16995" fmla="*/ 2755129 w 8079933"/>
              <a:gd name="connsiteY16995" fmla="*/ 1787330 h 4687251"/>
              <a:gd name="connsiteX16996" fmla="*/ 2751982 w 8079933"/>
              <a:gd name="connsiteY16996" fmla="*/ 1793502 h 4687251"/>
              <a:gd name="connsiteX16997" fmla="*/ 2748509 w 8079933"/>
              <a:gd name="connsiteY16997" fmla="*/ 1795559 h 4687251"/>
              <a:gd name="connsiteX16998" fmla="*/ 2746230 w 8079933"/>
              <a:gd name="connsiteY16998" fmla="*/ 1794801 h 4687251"/>
              <a:gd name="connsiteX16999" fmla="*/ 2746230 w 8079933"/>
              <a:gd name="connsiteY16999" fmla="*/ 1791986 h 4687251"/>
              <a:gd name="connsiteX17000" fmla="*/ 2747641 w 8079933"/>
              <a:gd name="connsiteY17000" fmla="*/ 1790686 h 4687251"/>
              <a:gd name="connsiteX17001" fmla="*/ 2747641 w 8079933"/>
              <a:gd name="connsiteY17001" fmla="*/ 1787546 h 4687251"/>
              <a:gd name="connsiteX17002" fmla="*/ 2750246 w 8079933"/>
              <a:gd name="connsiteY17002" fmla="*/ 1780725 h 4687251"/>
              <a:gd name="connsiteX17003" fmla="*/ 2753826 w 8079933"/>
              <a:gd name="connsiteY17003" fmla="*/ 1777802 h 4687251"/>
              <a:gd name="connsiteX17004" fmla="*/ 2754912 w 8079933"/>
              <a:gd name="connsiteY17004" fmla="*/ 1775312 h 4687251"/>
              <a:gd name="connsiteX17005" fmla="*/ 2753718 w 8079933"/>
              <a:gd name="connsiteY17005" fmla="*/ 1773038 h 4687251"/>
              <a:gd name="connsiteX17006" fmla="*/ 2754369 w 8079933"/>
              <a:gd name="connsiteY17006" fmla="*/ 1769682 h 4687251"/>
              <a:gd name="connsiteX17007" fmla="*/ 2755129 w 8079933"/>
              <a:gd name="connsiteY17007" fmla="*/ 1766975 h 4687251"/>
              <a:gd name="connsiteX17008" fmla="*/ 2755129 w 8079933"/>
              <a:gd name="connsiteY17008" fmla="*/ 1762319 h 4687251"/>
              <a:gd name="connsiteX17009" fmla="*/ 2753392 w 8079933"/>
              <a:gd name="connsiteY17009" fmla="*/ 1760803 h 4687251"/>
              <a:gd name="connsiteX17010" fmla="*/ 2751873 w 8079933"/>
              <a:gd name="connsiteY17010" fmla="*/ 1760803 h 4687251"/>
              <a:gd name="connsiteX17011" fmla="*/ 2750137 w 8079933"/>
              <a:gd name="connsiteY17011" fmla="*/ 1759180 h 4687251"/>
              <a:gd name="connsiteX17012" fmla="*/ 2748726 w 8079933"/>
              <a:gd name="connsiteY17012" fmla="*/ 1759180 h 4687251"/>
              <a:gd name="connsiteX17013" fmla="*/ 2747641 w 8079933"/>
              <a:gd name="connsiteY17013" fmla="*/ 1760587 h 4687251"/>
              <a:gd name="connsiteX17014" fmla="*/ 2747641 w 8079933"/>
              <a:gd name="connsiteY17014" fmla="*/ 1765027 h 4687251"/>
              <a:gd name="connsiteX17015" fmla="*/ 2745362 w 8079933"/>
              <a:gd name="connsiteY17015" fmla="*/ 1769682 h 4687251"/>
              <a:gd name="connsiteX17016" fmla="*/ 2743517 w 8079933"/>
              <a:gd name="connsiteY17016" fmla="*/ 1775095 h 4687251"/>
              <a:gd name="connsiteX17017" fmla="*/ 2741455 w 8079933"/>
              <a:gd name="connsiteY17017" fmla="*/ 1776611 h 4687251"/>
              <a:gd name="connsiteX17018" fmla="*/ 2738960 w 8079933"/>
              <a:gd name="connsiteY17018" fmla="*/ 1776611 h 4687251"/>
              <a:gd name="connsiteX17019" fmla="*/ 2741673 w 8079933"/>
              <a:gd name="connsiteY17019" fmla="*/ 1774987 h 4687251"/>
              <a:gd name="connsiteX17020" fmla="*/ 2738525 w 8079933"/>
              <a:gd name="connsiteY17020" fmla="*/ 1774987 h 4687251"/>
              <a:gd name="connsiteX17021" fmla="*/ 2736572 w 8079933"/>
              <a:gd name="connsiteY17021" fmla="*/ 1773472 h 4687251"/>
              <a:gd name="connsiteX17022" fmla="*/ 2734619 w 8079933"/>
              <a:gd name="connsiteY17022" fmla="*/ 1774662 h 4687251"/>
              <a:gd name="connsiteX17023" fmla="*/ 2730604 w 8079933"/>
              <a:gd name="connsiteY17023" fmla="*/ 1779210 h 4687251"/>
              <a:gd name="connsiteX17024" fmla="*/ 2728868 w 8079933"/>
              <a:gd name="connsiteY17024" fmla="*/ 1779859 h 4687251"/>
              <a:gd name="connsiteX17025" fmla="*/ 2728216 w 8079933"/>
              <a:gd name="connsiteY17025" fmla="*/ 1782891 h 4687251"/>
              <a:gd name="connsiteX17026" fmla="*/ 2727240 w 8079933"/>
              <a:gd name="connsiteY17026" fmla="*/ 1785489 h 4687251"/>
              <a:gd name="connsiteX17027" fmla="*/ 2726263 w 8079933"/>
              <a:gd name="connsiteY17027" fmla="*/ 1785489 h 4687251"/>
              <a:gd name="connsiteX17028" fmla="*/ 2724853 w 8079933"/>
              <a:gd name="connsiteY17028" fmla="*/ 1788196 h 4687251"/>
              <a:gd name="connsiteX17029" fmla="*/ 2722790 w 8079933"/>
              <a:gd name="connsiteY17029" fmla="*/ 1790470 h 4687251"/>
              <a:gd name="connsiteX17030" fmla="*/ 2719318 w 8079933"/>
              <a:gd name="connsiteY17030" fmla="*/ 1791769 h 4687251"/>
              <a:gd name="connsiteX17031" fmla="*/ 2717799 w 8079933"/>
              <a:gd name="connsiteY17031" fmla="*/ 1790362 h 4687251"/>
              <a:gd name="connsiteX17032" fmla="*/ 2717799 w 8079933"/>
              <a:gd name="connsiteY17032" fmla="*/ 1788413 h 4687251"/>
              <a:gd name="connsiteX17033" fmla="*/ 2715954 w 8079933"/>
              <a:gd name="connsiteY17033" fmla="*/ 1788413 h 4687251"/>
              <a:gd name="connsiteX17034" fmla="*/ 2714435 w 8079933"/>
              <a:gd name="connsiteY17034" fmla="*/ 1789929 h 4687251"/>
              <a:gd name="connsiteX17035" fmla="*/ 2713132 w 8079933"/>
              <a:gd name="connsiteY17035" fmla="*/ 1791769 h 4687251"/>
              <a:gd name="connsiteX17036" fmla="*/ 2710094 w 8079933"/>
              <a:gd name="connsiteY17036" fmla="*/ 1791769 h 4687251"/>
              <a:gd name="connsiteX17037" fmla="*/ 2709118 w 8079933"/>
              <a:gd name="connsiteY17037" fmla="*/ 1790253 h 4687251"/>
              <a:gd name="connsiteX17038" fmla="*/ 2708033 w 8079933"/>
              <a:gd name="connsiteY17038" fmla="*/ 1788846 h 4687251"/>
              <a:gd name="connsiteX17039" fmla="*/ 2708683 w 8079933"/>
              <a:gd name="connsiteY17039" fmla="*/ 1787005 h 4687251"/>
              <a:gd name="connsiteX17040" fmla="*/ 2712156 w 8079933"/>
              <a:gd name="connsiteY17040" fmla="*/ 1784298 h 4687251"/>
              <a:gd name="connsiteX17041" fmla="*/ 2716280 w 8079933"/>
              <a:gd name="connsiteY17041" fmla="*/ 1783215 h 4687251"/>
              <a:gd name="connsiteX17042" fmla="*/ 2717907 w 8079933"/>
              <a:gd name="connsiteY17042" fmla="*/ 1781700 h 4687251"/>
              <a:gd name="connsiteX17043" fmla="*/ 2718992 w 8079933"/>
              <a:gd name="connsiteY17043" fmla="*/ 1780076 h 4687251"/>
              <a:gd name="connsiteX17044" fmla="*/ 2720620 w 8079933"/>
              <a:gd name="connsiteY17044" fmla="*/ 1779426 h 4687251"/>
              <a:gd name="connsiteX17045" fmla="*/ 2723550 w 8079933"/>
              <a:gd name="connsiteY17045" fmla="*/ 1779426 h 4687251"/>
              <a:gd name="connsiteX17046" fmla="*/ 2724310 w 8079933"/>
              <a:gd name="connsiteY17046" fmla="*/ 1777586 h 4687251"/>
              <a:gd name="connsiteX17047" fmla="*/ 2725612 w 8079933"/>
              <a:gd name="connsiteY17047" fmla="*/ 1776936 h 4687251"/>
              <a:gd name="connsiteX17048" fmla="*/ 2725612 w 8079933"/>
              <a:gd name="connsiteY17048" fmla="*/ 1775095 h 4687251"/>
              <a:gd name="connsiteX17049" fmla="*/ 2727891 w 8079933"/>
              <a:gd name="connsiteY17049" fmla="*/ 1772605 h 4687251"/>
              <a:gd name="connsiteX17050" fmla="*/ 2731906 w 8079933"/>
              <a:gd name="connsiteY17050" fmla="*/ 1772605 h 4687251"/>
              <a:gd name="connsiteX17051" fmla="*/ 2735921 w 8079933"/>
              <a:gd name="connsiteY17051" fmla="*/ 1770873 h 4687251"/>
              <a:gd name="connsiteX17052" fmla="*/ 2735921 w 8079933"/>
              <a:gd name="connsiteY17052" fmla="*/ 1769357 h 4687251"/>
              <a:gd name="connsiteX17053" fmla="*/ 2738634 w 8079933"/>
              <a:gd name="connsiteY17053" fmla="*/ 1767625 h 4687251"/>
              <a:gd name="connsiteX17054" fmla="*/ 2735487 w 8079933"/>
              <a:gd name="connsiteY17054" fmla="*/ 1767625 h 4687251"/>
              <a:gd name="connsiteX17055" fmla="*/ 2733208 w 8079933"/>
              <a:gd name="connsiteY17055" fmla="*/ 1769032 h 4687251"/>
              <a:gd name="connsiteX17056" fmla="*/ 2730604 w 8079933"/>
              <a:gd name="connsiteY17056" fmla="*/ 1769682 h 4687251"/>
              <a:gd name="connsiteX17057" fmla="*/ 2728759 w 8079933"/>
              <a:gd name="connsiteY17057" fmla="*/ 1767625 h 4687251"/>
              <a:gd name="connsiteX17058" fmla="*/ 2725178 w 8079933"/>
              <a:gd name="connsiteY17058" fmla="*/ 1766975 h 4687251"/>
              <a:gd name="connsiteX17059" fmla="*/ 2723225 w 8079933"/>
              <a:gd name="connsiteY17059" fmla="*/ 1765676 h 4687251"/>
              <a:gd name="connsiteX17060" fmla="*/ 2723225 w 8079933"/>
              <a:gd name="connsiteY17060" fmla="*/ 1768166 h 4687251"/>
              <a:gd name="connsiteX17061" fmla="*/ 2721705 w 8079933"/>
              <a:gd name="connsiteY17061" fmla="*/ 1771414 h 4687251"/>
              <a:gd name="connsiteX17062" fmla="*/ 2718992 w 8079933"/>
              <a:gd name="connsiteY17062" fmla="*/ 1772064 h 4687251"/>
              <a:gd name="connsiteX17063" fmla="*/ 2717256 w 8079933"/>
              <a:gd name="connsiteY17063" fmla="*/ 1773363 h 4687251"/>
              <a:gd name="connsiteX17064" fmla="*/ 2716171 w 8079933"/>
              <a:gd name="connsiteY17064" fmla="*/ 1771956 h 4687251"/>
              <a:gd name="connsiteX17065" fmla="*/ 2713458 w 8079933"/>
              <a:gd name="connsiteY17065" fmla="*/ 1771956 h 4687251"/>
              <a:gd name="connsiteX17066" fmla="*/ 2712590 w 8079933"/>
              <a:gd name="connsiteY17066" fmla="*/ 1770548 h 4687251"/>
              <a:gd name="connsiteX17067" fmla="*/ 2709877 w 8079933"/>
              <a:gd name="connsiteY17067" fmla="*/ 1770548 h 4687251"/>
              <a:gd name="connsiteX17068" fmla="*/ 2708575 w 8079933"/>
              <a:gd name="connsiteY17068" fmla="*/ 1771306 h 4687251"/>
              <a:gd name="connsiteX17069" fmla="*/ 2707273 w 8079933"/>
              <a:gd name="connsiteY17069" fmla="*/ 1770331 h 4687251"/>
              <a:gd name="connsiteX17070" fmla="*/ 2711722 w 8079933"/>
              <a:gd name="connsiteY17070" fmla="*/ 1768491 h 4687251"/>
              <a:gd name="connsiteX17071" fmla="*/ 2716388 w 8079933"/>
              <a:gd name="connsiteY17071" fmla="*/ 1765568 h 4687251"/>
              <a:gd name="connsiteX17072" fmla="*/ 2716388 w 8079933"/>
              <a:gd name="connsiteY17072" fmla="*/ 1764593 h 4687251"/>
              <a:gd name="connsiteX17073" fmla="*/ 2715194 w 8079933"/>
              <a:gd name="connsiteY17073" fmla="*/ 1764593 h 4687251"/>
              <a:gd name="connsiteX17074" fmla="*/ 2712264 w 8079933"/>
              <a:gd name="connsiteY17074" fmla="*/ 1765243 h 4687251"/>
              <a:gd name="connsiteX17075" fmla="*/ 2712264 w 8079933"/>
              <a:gd name="connsiteY17075" fmla="*/ 1763402 h 4687251"/>
              <a:gd name="connsiteX17076" fmla="*/ 2713784 w 8079933"/>
              <a:gd name="connsiteY17076" fmla="*/ 1760912 h 4687251"/>
              <a:gd name="connsiteX17077" fmla="*/ 2713784 w 8079933"/>
              <a:gd name="connsiteY17077" fmla="*/ 1758097 h 4687251"/>
              <a:gd name="connsiteX17078" fmla="*/ 2712807 w 8079933"/>
              <a:gd name="connsiteY17078" fmla="*/ 1758097 h 4687251"/>
              <a:gd name="connsiteX17079" fmla="*/ 2710203 w 8079933"/>
              <a:gd name="connsiteY17079" fmla="*/ 1760803 h 4687251"/>
              <a:gd name="connsiteX17080" fmla="*/ 2709118 w 8079933"/>
              <a:gd name="connsiteY17080" fmla="*/ 1763185 h 4687251"/>
              <a:gd name="connsiteX17081" fmla="*/ 2708250 w 8079933"/>
              <a:gd name="connsiteY17081" fmla="*/ 1762103 h 4687251"/>
              <a:gd name="connsiteX17082" fmla="*/ 2709443 w 8079933"/>
              <a:gd name="connsiteY17082" fmla="*/ 1757556 h 4687251"/>
              <a:gd name="connsiteX17083" fmla="*/ 2710528 w 8079933"/>
              <a:gd name="connsiteY17083" fmla="*/ 1756473 h 4687251"/>
              <a:gd name="connsiteX17084" fmla="*/ 2708901 w 8079933"/>
              <a:gd name="connsiteY17084" fmla="*/ 1756473 h 4687251"/>
              <a:gd name="connsiteX17085" fmla="*/ 2707381 w 8079933"/>
              <a:gd name="connsiteY17085" fmla="*/ 1759180 h 4687251"/>
              <a:gd name="connsiteX17086" fmla="*/ 2706079 w 8079933"/>
              <a:gd name="connsiteY17086" fmla="*/ 1757772 h 4687251"/>
              <a:gd name="connsiteX17087" fmla="*/ 2706079 w 8079933"/>
              <a:gd name="connsiteY17087" fmla="*/ 1761345 h 4687251"/>
              <a:gd name="connsiteX17088" fmla="*/ 2706079 w 8079933"/>
              <a:gd name="connsiteY17088" fmla="*/ 1763294 h 4687251"/>
              <a:gd name="connsiteX17089" fmla="*/ 2705211 w 8079933"/>
              <a:gd name="connsiteY17089" fmla="*/ 1765351 h 4687251"/>
              <a:gd name="connsiteX17090" fmla="*/ 2702932 w 8079933"/>
              <a:gd name="connsiteY17090" fmla="*/ 1764268 h 4687251"/>
              <a:gd name="connsiteX17091" fmla="*/ 2700653 w 8079933"/>
              <a:gd name="connsiteY17091" fmla="*/ 1764268 h 4687251"/>
              <a:gd name="connsiteX17092" fmla="*/ 2699134 w 8079933"/>
              <a:gd name="connsiteY17092" fmla="*/ 1766001 h 4687251"/>
              <a:gd name="connsiteX17093" fmla="*/ 2697181 w 8079933"/>
              <a:gd name="connsiteY17093" fmla="*/ 1766001 h 4687251"/>
              <a:gd name="connsiteX17094" fmla="*/ 2695879 w 8079933"/>
              <a:gd name="connsiteY17094" fmla="*/ 1764701 h 4687251"/>
              <a:gd name="connsiteX17095" fmla="*/ 2692189 w 8079933"/>
              <a:gd name="connsiteY17095" fmla="*/ 1764701 h 4687251"/>
              <a:gd name="connsiteX17096" fmla="*/ 2692189 w 8079933"/>
              <a:gd name="connsiteY17096" fmla="*/ 1766217 h 4687251"/>
              <a:gd name="connsiteX17097" fmla="*/ 2690236 w 8079933"/>
              <a:gd name="connsiteY17097" fmla="*/ 1767625 h 4687251"/>
              <a:gd name="connsiteX17098" fmla="*/ 2687523 w 8079933"/>
              <a:gd name="connsiteY17098" fmla="*/ 1767625 h 4687251"/>
              <a:gd name="connsiteX17099" fmla="*/ 2686655 w 8079933"/>
              <a:gd name="connsiteY17099" fmla="*/ 1766217 h 4687251"/>
              <a:gd name="connsiteX17100" fmla="*/ 2685135 w 8079933"/>
              <a:gd name="connsiteY17100" fmla="*/ 1766867 h 4687251"/>
              <a:gd name="connsiteX17101" fmla="*/ 2680903 w 8079933"/>
              <a:gd name="connsiteY17101" fmla="*/ 1766867 h 4687251"/>
              <a:gd name="connsiteX17102" fmla="*/ 2679167 w 8079933"/>
              <a:gd name="connsiteY17102" fmla="*/ 1764918 h 4687251"/>
              <a:gd name="connsiteX17103" fmla="*/ 2678407 w 8079933"/>
              <a:gd name="connsiteY17103" fmla="*/ 1763294 h 4687251"/>
              <a:gd name="connsiteX17104" fmla="*/ 2674609 w 8079933"/>
              <a:gd name="connsiteY17104" fmla="*/ 1764377 h 4687251"/>
              <a:gd name="connsiteX17105" fmla="*/ 2668424 w 8079933"/>
              <a:gd name="connsiteY17105" fmla="*/ 1764377 h 4687251"/>
              <a:gd name="connsiteX17106" fmla="*/ 2666796 w 8079933"/>
              <a:gd name="connsiteY17106" fmla="*/ 1761995 h 4687251"/>
              <a:gd name="connsiteX17107" fmla="*/ 2663215 w 8079933"/>
              <a:gd name="connsiteY17107" fmla="*/ 1763402 h 4687251"/>
              <a:gd name="connsiteX17108" fmla="*/ 2658332 w 8079933"/>
              <a:gd name="connsiteY17108" fmla="*/ 1762428 h 4687251"/>
              <a:gd name="connsiteX17109" fmla="*/ 2660610 w 8079933"/>
              <a:gd name="connsiteY17109" fmla="*/ 1759180 h 4687251"/>
              <a:gd name="connsiteX17110" fmla="*/ 2660610 w 8079933"/>
              <a:gd name="connsiteY17110" fmla="*/ 1757664 h 4687251"/>
              <a:gd name="connsiteX17111" fmla="*/ 2659742 w 8079933"/>
              <a:gd name="connsiteY17111" fmla="*/ 1759613 h 4687251"/>
              <a:gd name="connsiteX17112" fmla="*/ 2656596 w 8079933"/>
              <a:gd name="connsiteY17112" fmla="*/ 1762319 h 4687251"/>
              <a:gd name="connsiteX17113" fmla="*/ 2652580 w 8079933"/>
              <a:gd name="connsiteY17113" fmla="*/ 1762319 h 4687251"/>
              <a:gd name="connsiteX17114" fmla="*/ 2649325 w 8079933"/>
              <a:gd name="connsiteY17114" fmla="*/ 1764918 h 4687251"/>
              <a:gd name="connsiteX17115" fmla="*/ 2644007 w 8079933"/>
              <a:gd name="connsiteY17115" fmla="*/ 1765676 h 4687251"/>
              <a:gd name="connsiteX17116" fmla="*/ 2639341 w 8079933"/>
              <a:gd name="connsiteY17116" fmla="*/ 1764160 h 4687251"/>
              <a:gd name="connsiteX17117" fmla="*/ 2636737 w 8079933"/>
              <a:gd name="connsiteY17117" fmla="*/ 1764160 h 4687251"/>
              <a:gd name="connsiteX17118" fmla="*/ 2635978 w 8079933"/>
              <a:gd name="connsiteY17118" fmla="*/ 1762319 h 4687251"/>
              <a:gd name="connsiteX17119" fmla="*/ 2636954 w 8079933"/>
              <a:gd name="connsiteY17119" fmla="*/ 1758855 h 4687251"/>
              <a:gd name="connsiteX17120" fmla="*/ 2635869 w 8079933"/>
              <a:gd name="connsiteY17120" fmla="*/ 1756364 h 4687251"/>
              <a:gd name="connsiteX17121" fmla="*/ 2636846 w 8079933"/>
              <a:gd name="connsiteY17121" fmla="*/ 1753983 h 4687251"/>
              <a:gd name="connsiteX17122" fmla="*/ 2639559 w 8079933"/>
              <a:gd name="connsiteY17122" fmla="*/ 1753983 h 4687251"/>
              <a:gd name="connsiteX17123" fmla="*/ 2644116 w 8079933"/>
              <a:gd name="connsiteY17123" fmla="*/ 1749977 h 4687251"/>
              <a:gd name="connsiteX17124" fmla="*/ 2649542 w 8079933"/>
              <a:gd name="connsiteY17124" fmla="*/ 1747162 h 4687251"/>
              <a:gd name="connsiteX17125" fmla="*/ 2652255 w 8079933"/>
              <a:gd name="connsiteY17125" fmla="*/ 1742723 h 4687251"/>
              <a:gd name="connsiteX17126" fmla="*/ 2656704 w 8079933"/>
              <a:gd name="connsiteY17126" fmla="*/ 1737201 h 4687251"/>
              <a:gd name="connsiteX17127" fmla="*/ 2659851 w 8079933"/>
              <a:gd name="connsiteY17127" fmla="*/ 1734061 h 4687251"/>
              <a:gd name="connsiteX17128" fmla="*/ 2654643 w 8079933"/>
              <a:gd name="connsiteY17128" fmla="*/ 1734061 h 4687251"/>
              <a:gd name="connsiteX17129" fmla="*/ 2648023 w 8079933"/>
              <a:gd name="connsiteY17129" fmla="*/ 1734819 h 4687251"/>
              <a:gd name="connsiteX17130" fmla="*/ 2644658 w 8079933"/>
              <a:gd name="connsiteY17130" fmla="*/ 1735901 h 4687251"/>
              <a:gd name="connsiteX17131" fmla="*/ 2642922 w 8079933"/>
              <a:gd name="connsiteY17131" fmla="*/ 1735901 h 4687251"/>
              <a:gd name="connsiteX17132" fmla="*/ 2645201 w 8079933"/>
              <a:gd name="connsiteY17132" fmla="*/ 1730163 h 4687251"/>
              <a:gd name="connsiteX17133" fmla="*/ 2650736 w 8079933"/>
              <a:gd name="connsiteY17133" fmla="*/ 1726915 h 4687251"/>
              <a:gd name="connsiteX17134" fmla="*/ 2654099 w 8079933"/>
              <a:gd name="connsiteY17134" fmla="*/ 1724533 h 4687251"/>
              <a:gd name="connsiteX17135" fmla="*/ 2655184 w 8079933"/>
              <a:gd name="connsiteY17135" fmla="*/ 1723234 h 4687251"/>
              <a:gd name="connsiteX17136" fmla="*/ 2654208 w 8079933"/>
              <a:gd name="connsiteY17136" fmla="*/ 1725508 h 4687251"/>
              <a:gd name="connsiteX17137" fmla="*/ 2651495 w 8079933"/>
              <a:gd name="connsiteY17137" fmla="*/ 1727456 h 4687251"/>
              <a:gd name="connsiteX17138" fmla="*/ 2650844 w 8079933"/>
              <a:gd name="connsiteY17138" fmla="*/ 1729405 h 4687251"/>
              <a:gd name="connsiteX17139" fmla="*/ 2652689 w 8079933"/>
              <a:gd name="connsiteY17139" fmla="*/ 1732437 h 4687251"/>
              <a:gd name="connsiteX17140" fmla="*/ 2654208 w 8079933"/>
              <a:gd name="connsiteY17140" fmla="*/ 1729189 h 4687251"/>
              <a:gd name="connsiteX17141" fmla="*/ 2654208 w 8079933"/>
              <a:gd name="connsiteY17141" fmla="*/ 1732653 h 4687251"/>
              <a:gd name="connsiteX17142" fmla="*/ 2655619 w 8079933"/>
              <a:gd name="connsiteY17142" fmla="*/ 1732653 h 4687251"/>
              <a:gd name="connsiteX17143" fmla="*/ 2657897 w 8079933"/>
              <a:gd name="connsiteY17143" fmla="*/ 1729514 h 4687251"/>
              <a:gd name="connsiteX17144" fmla="*/ 2660285 w 8079933"/>
              <a:gd name="connsiteY17144" fmla="*/ 1724642 h 4687251"/>
              <a:gd name="connsiteX17145" fmla="*/ 2663107 w 8079933"/>
              <a:gd name="connsiteY17145" fmla="*/ 1721826 h 4687251"/>
              <a:gd name="connsiteX17146" fmla="*/ 2663107 w 8079933"/>
              <a:gd name="connsiteY17146" fmla="*/ 1719661 h 4687251"/>
              <a:gd name="connsiteX17147" fmla="*/ 2664191 w 8079933"/>
              <a:gd name="connsiteY17147" fmla="*/ 1718253 h 4687251"/>
              <a:gd name="connsiteX17148" fmla="*/ 2669292 w 8079933"/>
              <a:gd name="connsiteY17148" fmla="*/ 1719769 h 4687251"/>
              <a:gd name="connsiteX17149" fmla="*/ 2672004 w 8079933"/>
              <a:gd name="connsiteY17149" fmla="*/ 1717712 h 4687251"/>
              <a:gd name="connsiteX17150" fmla="*/ 2672004 w 8079933"/>
              <a:gd name="connsiteY17150" fmla="*/ 1715330 h 4687251"/>
              <a:gd name="connsiteX17151" fmla="*/ 2673524 w 8079933"/>
              <a:gd name="connsiteY17151" fmla="*/ 1714031 h 4687251"/>
              <a:gd name="connsiteX17152" fmla="*/ 2671788 w 8079933"/>
              <a:gd name="connsiteY17152" fmla="*/ 1712406 h 4687251"/>
              <a:gd name="connsiteX17153" fmla="*/ 2669292 w 8079933"/>
              <a:gd name="connsiteY17153" fmla="*/ 1712406 h 4687251"/>
              <a:gd name="connsiteX17154" fmla="*/ 2669292 w 8079933"/>
              <a:gd name="connsiteY17154" fmla="*/ 1710567 h 4687251"/>
              <a:gd name="connsiteX17155" fmla="*/ 2670920 w 8079933"/>
              <a:gd name="connsiteY17155" fmla="*/ 1707426 h 4687251"/>
              <a:gd name="connsiteX17156" fmla="*/ 2675261 w 8079933"/>
              <a:gd name="connsiteY17156" fmla="*/ 1705369 h 4687251"/>
              <a:gd name="connsiteX17157" fmla="*/ 2676671 w 8079933"/>
              <a:gd name="connsiteY17157" fmla="*/ 1705369 h 4687251"/>
              <a:gd name="connsiteX17158" fmla="*/ 2677648 w 8079933"/>
              <a:gd name="connsiteY17158" fmla="*/ 1706669 h 4687251"/>
              <a:gd name="connsiteX17159" fmla="*/ 2679167 w 8079933"/>
              <a:gd name="connsiteY17159" fmla="*/ 1706669 h 4687251"/>
              <a:gd name="connsiteX17160" fmla="*/ 2679167 w 8079933"/>
              <a:gd name="connsiteY17160" fmla="*/ 1704286 h 4687251"/>
              <a:gd name="connsiteX17161" fmla="*/ 2677322 w 8079933"/>
              <a:gd name="connsiteY17161" fmla="*/ 1702338 h 4687251"/>
              <a:gd name="connsiteX17162" fmla="*/ 2677322 w 8079933"/>
              <a:gd name="connsiteY17162" fmla="*/ 1699955 h 4687251"/>
              <a:gd name="connsiteX17163" fmla="*/ 2682314 w 8079933"/>
              <a:gd name="connsiteY17163" fmla="*/ 1692485 h 4687251"/>
              <a:gd name="connsiteX17164" fmla="*/ 2682965 w 8079933"/>
              <a:gd name="connsiteY17164" fmla="*/ 1689995 h 4687251"/>
              <a:gd name="connsiteX17165" fmla="*/ 2685678 w 8079933"/>
              <a:gd name="connsiteY17165" fmla="*/ 1685988 h 4687251"/>
              <a:gd name="connsiteX17166" fmla="*/ 2688391 w 8079933"/>
              <a:gd name="connsiteY17166" fmla="*/ 1685988 h 4687251"/>
              <a:gd name="connsiteX17167" fmla="*/ 2690778 w 8079933"/>
              <a:gd name="connsiteY17167" fmla="*/ 1684581 h 4687251"/>
              <a:gd name="connsiteX17168" fmla="*/ 2689368 w 8079933"/>
              <a:gd name="connsiteY17168" fmla="*/ 1683824 h 4687251"/>
              <a:gd name="connsiteX17169" fmla="*/ 2688174 w 8079933"/>
              <a:gd name="connsiteY17169" fmla="*/ 1683824 h 4687251"/>
              <a:gd name="connsiteX17170" fmla="*/ 2688174 w 8079933"/>
              <a:gd name="connsiteY17170" fmla="*/ 1681983 h 4687251"/>
              <a:gd name="connsiteX17171" fmla="*/ 2690453 w 8079933"/>
              <a:gd name="connsiteY17171" fmla="*/ 1678627 h 4687251"/>
              <a:gd name="connsiteX17172" fmla="*/ 2693491 w 8079933"/>
              <a:gd name="connsiteY17172" fmla="*/ 1678627 h 4687251"/>
              <a:gd name="connsiteX17173" fmla="*/ 2695227 w 8079933"/>
              <a:gd name="connsiteY17173" fmla="*/ 1677111 h 4687251"/>
              <a:gd name="connsiteX17174" fmla="*/ 2693274 w 8079933"/>
              <a:gd name="connsiteY17174" fmla="*/ 1676028 h 4687251"/>
              <a:gd name="connsiteX17175" fmla="*/ 2693274 w 8079933"/>
              <a:gd name="connsiteY17175" fmla="*/ 1673755 h 4687251"/>
              <a:gd name="connsiteX17176" fmla="*/ 2695227 w 8079933"/>
              <a:gd name="connsiteY17176" fmla="*/ 1673755 h 4687251"/>
              <a:gd name="connsiteX17177" fmla="*/ 2696421 w 8079933"/>
              <a:gd name="connsiteY17177" fmla="*/ 1672130 h 4687251"/>
              <a:gd name="connsiteX17178" fmla="*/ 2695770 w 8079933"/>
              <a:gd name="connsiteY17178" fmla="*/ 1670939 h 4687251"/>
              <a:gd name="connsiteX17179" fmla="*/ 2698266 w 8079933"/>
              <a:gd name="connsiteY17179" fmla="*/ 1669532 h 4687251"/>
              <a:gd name="connsiteX17180" fmla="*/ 2702498 w 8079933"/>
              <a:gd name="connsiteY17180" fmla="*/ 1666392 h 4687251"/>
              <a:gd name="connsiteX17181" fmla="*/ 2704668 w 8079933"/>
              <a:gd name="connsiteY17181" fmla="*/ 1663794 h 4687251"/>
              <a:gd name="connsiteX17182" fmla="*/ 2704668 w 8079933"/>
              <a:gd name="connsiteY17182" fmla="*/ 1661412 h 4687251"/>
              <a:gd name="connsiteX17183" fmla="*/ 2703475 w 8079933"/>
              <a:gd name="connsiteY17183" fmla="*/ 1659896 h 4687251"/>
              <a:gd name="connsiteX17184" fmla="*/ 2703475 w 8079933"/>
              <a:gd name="connsiteY17184" fmla="*/ 1659138 h 4687251"/>
              <a:gd name="connsiteX17185" fmla="*/ 2705537 w 8079933"/>
              <a:gd name="connsiteY17185" fmla="*/ 1659788 h 4687251"/>
              <a:gd name="connsiteX17186" fmla="*/ 2707924 w 8079933"/>
              <a:gd name="connsiteY17186" fmla="*/ 1659788 h 4687251"/>
              <a:gd name="connsiteX17187" fmla="*/ 2707924 w 8079933"/>
              <a:gd name="connsiteY17187" fmla="*/ 1656106 h 4687251"/>
              <a:gd name="connsiteX17188" fmla="*/ 2712156 w 8079933"/>
              <a:gd name="connsiteY17188" fmla="*/ 1652966 h 4687251"/>
              <a:gd name="connsiteX17189" fmla="*/ 2716280 w 8079933"/>
              <a:gd name="connsiteY17189" fmla="*/ 1650260 h 4687251"/>
              <a:gd name="connsiteX17190" fmla="*/ 2720186 w 8079933"/>
              <a:gd name="connsiteY17190" fmla="*/ 1650260 h 4687251"/>
              <a:gd name="connsiteX17191" fmla="*/ 2723008 w 8079933"/>
              <a:gd name="connsiteY17191" fmla="*/ 1648094 h 4687251"/>
              <a:gd name="connsiteX17192" fmla="*/ 2724635 w 8079933"/>
              <a:gd name="connsiteY17192" fmla="*/ 1646037 h 4687251"/>
              <a:gd name="connsiteX17193" fmla="*/ 2727565 w 8079933"/>
              <a:gd name="connsiteY17193" fmla="*/ 1646037 h 4687251"/>
              <a:gd name="connsiteX17194" fmla="*/ 2729844 w 8079933"/>
              <a:gd name="connsiteY17194" fmla="*/ 1643655 h 4687251"/>
              <a:gd name="connsiteX17195" fmla="*/ 5066967 w 8079933"/>
              <a:gd name="connsiteY17195" fmla="*/ 1642140 h 4687251"/>
              <a:gd name="connsiteX17196" fmla="*/ 5056658 w 8079933"/>
              <a:gd name="connsiteY17196" fmla="*/ 1646471 h 4687251"/>
              <a:gd name="connsiteX17197" fmla="*/ 5051992 w 8079933"/>
              <a:gd name="connsiteY17197" fmla="*/ 1646471 h 4687251"/>
              <a:gd name="connsiteX17198" fmla="*/ 5051341 w 8079933"/>
              <a:gd name="connsiteY17198" fmla="*/ 1649395 h 4687251"/>
              <a:gd name="connsiteX17199" fmla="*/ 5048193 w 8079933"/>
              <a:gd name="connsiteY17199" fmla="*/ 1652642 h 4687251"/>
              <a:gd name="connsiteX17200" fmla="*/ 5048193 w 8079933"/>
              <a:gd name="connsiteY17200" fmla="*/ 1648528 h 4687251"/>
              <a:gd name="connsiteX17201" fmla="*/ 5045706 w 8079933"/>
              <a:gd name="connsiteY17201" fmla="*/ 1650101 h 4687251"/>
              <a:gd name="connsiteX17202" fmla="*/ 5045589 w 8079933"/>
              <a:gd name="connsiteY17202" fmla="*/ 1650585 h 4687251"/>
              <a:gd name="connsiteX17203" fmla="*/ 5044505 w 8079933"/>
              <a:gd name="connsiteY17203" fmla="*/ 1651882 h 4687251"/>
              <a:gd name="connsiteX17204" fmla="*/ 5043744 w 8079933"/>
              <a:gd name="connsiteY17204" fmla="*/ 1654158 h 4687251"/>
              <a:gd name="connsiteX17205" fmla="*/ 5042649 w 8079933"/>
              <a:gd name="connsiteY17205" fmla="*/ 1654798 h 4687251"/>
              <a:gd name="connsiteX17206" fmla="*/ 5044721 w 8079933"/>
              <a:gd name="connsiteY17206" fmla="*/ 1656864 h 4687251"/>
              <a:gd name="connsiteX17207" fmla="*/ 5049278 w 8079933"/>
              <a:gd name="connsiteY17207" fmla="*/ 1654266 h 4687251"/>
              <a:gd name="connsiteX17208" fmla="*/ 5050472 w 8079933"/>
              <a:gd name="connsiteY17208" fmla="*/ 1650693 h 4687251"/>
              <a:gd name="connsiteX17209" fmla="*/ 5053727 w 8079933"/>
              <a:gd name="connsiteY17209" fmla="*/ 1648636 h 4687251"/>
              <a:gd name="connsiteX17210" fmla="*/ 5053944 w 8079933"/>
              <a:gd name="connsiteY17210" fmla="*/ 1652750 h 4687251"/>
              <a:gd name="connsiteX17211" fmla="*/ 5056983 w 8079933"/>
              <a:gd name="connsiteY17211" fmla="*/ 1649502 h 4687251"/>
              <a:gd name="connsiteX17212" fmla="*/ 5057742 w 8079933"/>
              <a:gd name="connsiteY17212" fmla="*/ 1646579 h 4687251"/>
              <a:gd name="connsiteX17213" fmla="*/ 5062300 w 8079933"/>
              <a:gd name="connsiteY17213" fmla="*/ 1646037 h 4687251"/>
              <a:gd name="connsiteX17214" fmla="*/ 5067292 w 8079933"/>
              <a:gd name="connsiteY17214" fmla="*/ 1642681 h 4687251"/>
              <a:gd name="connsiteX17215" fmla="*/ 5071444 w 8079933"/>
              <a:gd name="connsiteY17215" fmla="*/ 1642474 h 4687251"/>
              <a:gd name="connsiteX17216" fmla="*/ 5071308 w 8079933"/>
              <a:gd name="connsiteY17216" fmla="*/ 1642140 h 4687251"/>
              <a:gd name="connsiteX17217" fmla="*/ 5028119 w 8079933"/>
              <a:gd name="connsiteY17217" fmla="*/ 1640732 h 4687251"/>
              <a:gd name="connsiteX17218" fmla="*/ 5026924 w 8079933"/>
              <a:gd name="connsiteY17218" fmla="*/ 1643873 h 4687251"/>
              <a:gd name="connsiteX17219" fmla="*/ 5028119 w 8079933"/>
              <a:gd name="connsiteY17219" fmla="*/ 1648203 h 4687251"/>
              <a:gd name="connsiteX17220" fmla="*/ 5027632 w 8079933"/>
              <a:gd name="connsiteY17220" fmla="*/ 1651437 h 4687251"/>
              <a:gd name="connsiteX17221" fmla="*/ 5027901 w 8079933"/>
              <a:gd name="connsiteY17221" fmla="*/ 1651234 h 4687251"/>
              <a:gd name="connsiteX17222" fmla="*/ 5032892 w 8079933"/>
              <a:gd name="connsiteY17222" fmla="*/ 1652642 h 4687251"/>
              <a:gd name="connsiteX17223" fmla="*/ 5033544 w 8079933"/>
              <a:gd name="connsiteY17223" fmla="*/ 1648311 h 4687251"/>
              <a:gd name="connsiteX17224" fmla="*/ 5032349 w 8079933"/>
              <a:gd name="connsiteY17224" fmla="*/ 1643980 h 4687251"/>
              <a:gd name="connsiteX17225" fmla="*/ 5032599 w 8079933"/>
              <a:gd name="connsiteY17225" fmla="*/ 1643346 h 4687251"/>
              <a:gd name="connsiteX17226" fmla="*/ 4077077 w 8079933"/>
              <a:gd name="connsiteY17226" fmla="*/ 1640191 h 4687251"/>
              <a:gd name="connsiteX17227" fmla="*/ 4075016 w 8079933"/>
              <a:gd name="connsiteY17227" fmla="*/ 1644847 h 4687251"/>
              <a:gd name="connsiteX17228" fmla="*/ 4075775 w 8079933"/>
              <a:gd name="connsiteY17228" fmla="*/ 1647987 h 4687251"/>
              <a:gd name="connsiteX17229" fmla="*/ 4081635 w 8079933"/>
              <a:gd name="connsiteY17229" fmla="*/ 1647770 h 4687251"/>
              <a:gd name="connsiteX17230" fmla="*/ 4084022 w 8079933"/>
              <a:gd name="connsiteY17230" fmla="*/ 1650044 h 4687251"/>
              <a:gd name="connsiteX17231" fmla="*/ 4082612 w 8079933"/>
              <a:gd name="connsiteY17231" fmla="*/ 1652967 h 4687251"/>
              <a:gd name="connsiteX17232" fmla="*/ 4081960 w 8079933"/>
              <a:gd name="connsiteY17232" fmla="*/ 1658056 h 4687251"/>
              <a:gd name="connsiteX17233" fmla="*/ 4081962 w 8079933"/>
              <a:gd name="connsiteY17233" fmla="*/ 1658055 h 4687251"/>
              <a:gd name="connsiteX17234" fmla="*/ 4082613 w 8079933"/>
              <a:gd name="connsiteY17234" fmla="*/ 1652966 h 4687251"/>
              <a:gd name="connsiteX17235" fmla="*/ 4084024 w 8079933"/>
              <a:gd name="connsiteY17235" fmla="*/ 1650042 h 4687251"/>
              <a:gd name="connsiteX17236" fmla="*/ 4081637 w 8079933"/>
              <a:gd name="connsiteY17236" fmla="*/ 1647769 h 4687251"/>
              <a:gd name="connsiteX17237" fmla="*/ 4075776 w 8079933"/>
              <a:gd name="connsiteY17237" fmla="*/ 1647986 h 4687251"/>
              <a:gd name="connsiteX17238" fmla="*/ 4075017 w 8079933"/>
              <a:gd name="connsiteY17238" fmla="*/ 1644846 h 4687251"/>
              <a:gd name="connsiteX17239" fmla="*/ 4077078 w 8079933"/>
              <a:gd name="connsiteY17239" fmla="*/ 1640192 h 4687251"/>
              <a:gd name="connsiteX17240" fmla="*/ 4441990 w 8079933"/>
              <a:gd name="connsiteY17240" fmla="*/ 1639262 h 4687251"/>
              <a:gd name="connsiteX17241" fmla="*/ 4440826 w 8079933"/>
              <a:gd name="connsiteY17241" fmla="*/ 1639649 h 4687251"/>
              <a:gd name="connsiteX17242" fmla="*/ 4437244 w 8079933"/>
              <a:gd name="connsiteY17242" fmla="*/ 1645604 h 4687251"/>
              <a:gd name="connsiteX17243" fmla="*/ 4439089 w 8079933"/>
              <a:gd name="connsiteY17243" fmla="*/ 1652642 h 4687251"/>
              <a:gd name="connsiteX17244" fmla="*/ 4443972 w 8079933"/>
              <a:gd name="connsiteY17244" fmla="*/ 1660329 h 4687251"/>
              <a:gd name="connsiteX17245" fmla="*/ 4443756 w 8079933"/>
              <a:gd name="connsiteY17245" fmla="*/ 1662711 h 4687251"/>
              <a:gd name="connsiteX17246" fmla="*/ 4443430 w 8079933"/>
              <a:gd name="connsiteY17246" fmla="*/ 1666717 h 4687251"/>
              <a:gd name="connsiteX17247" fmla="*/ 4443756 w 8079933"/>
              <a:gd name="connsiteY17247" fmla="*/ 1677652 h 4687251"/>
              <a:gd name="connsiteX17248" fmla="*/ 4446685 w 8079933"/>
              <a:gd name="connsiteY17248" fmla="*/ 1680792 h 4687251"/>
              <a:gd name="connsiteX17249" fmla="*/ 4449507 w 8079933"/>
              <a:gd name="connsiteY17249" fmla="*/ 1687721 h 4687251"/>
              <a:gd name="connsiteX17250" fmla="*/ 4449508 w 8079933"/>
              <a:gd name="connsiteY17250" fmla="*/ 1687722 h 4687251"/>
              <a:gd name="connsiteX17251" fmla="*/ 4446687 w 8079933"/>
              <a:gd name="connsiteY17251" fmla="*/ 1680793 h 4687251"/>
              <a:gd name="connsiteX17252" fmla="*/ 4443757 w 8079933"/>
              <a:gd name="connsiteY17252" fmla="*/ 1677652 h 4687251"/>
              <a:gd name="connsiteX17253" fmla="*/ 4443432 w 8079933"/>
              <a:gd name="connsiteY17253" fmla="*/ 1666717 h 4687251"/>
              <a:gd name="connsiteX17254" fmla="*/ 4443757 w 8079933"/>
              <a:gd name="connsiteY17254" fmla="*/ 1662711 h 4687251"/>
              <a:gd name="connsiteX17255" fmla="*/ 4447555 w 8079933"/>
              <a:gd name="connsiteY17255" fmla="*/ 1662278 h 4687251"/>
              <a:gd name="connsiteX17256" fmla="*/ 4455368 w 8079933"/>
              <a:gd name="connsiteY17256" fmla="*/ 1666176 h 4687251"/>
              <a:gd name="connsiteX17257" fmla="*/ 4459492 w 8079933"/>
              <a:gd name="connsiteY17257" fmla="*/ 1663903 h 4687251"/>
              <a:gd name="connsiteX17258" fmla="*/ 4476203 w 8079933"/>
              <a:gd name="connsiteY17258" fmla="*/ 1661521 h 4687251"/>
              <a:gd name="connsiteX17259" fmla="*/ 4483800 w 8079933"/>
              <a:gd name="connsiteY17259" fmla="*/ 1661195 h 4687251"/>
              <a:gd name="connsiteX17260" fmla="*/ 4487387 w 8079933"/>
              <a:gd name="connsiteY17260" fmla="*/ 1658239 h 4687251"/>
              <a:gd name="connsiteX17261" fmla="*/ 4483799 w 8079933"/>
              <a:gd name="connsiteY17261" fmla="*/ 1661195 h 4687251"/>
              <a:gd name="connsiteX17262" fmla="*/ 4476203 w 8079933"/>
              <a:gd name="connsiteY17262" fmla="*/ 1661520 h 4687251"/>
              <a:gd name="connsiteX17263" fmla="*/ 4459492 w 8079933"/>
              <a:gd name="connsiteY17263" fmla="*/ 1663901 h 4687251"/>
              <a:gd name="connsiteX17264" fmla="*/ 4455368 w 8079933"/>
              <a:gd name="connsiteY17264" fmla="*/ 1666175 h 4687251"/>
              <a:gd name="connsiteX17265" fmla="*/ 4447555 w 8079933"/>
              <a:gd name="connsiteY17265" fmla="*/ 1662277 h 4687251"/>
              <a:gd name="connsiteX17266" fmla="*/ 4443757 w 8079933"/>
              <a:gd name="connsiteY17266" fmla="*/ 1662711 h 4687251"/>
              <a:gd name="connsiteX17267" fmla="*/ 4443974 w 8079933"/>
              <a:gd name="connsiteY17267" fmla="*/ 1660329 h 4687251"/>
              <a:gd name="connsiteX17268" fmla="*/ 4439091 w 8079933"/>
              <a:gd name="connsiteY17268" fmla="*/ 1652642 h 4687251"/>
              <a:gd name="connsiteX17269" fmla="*/ 4437246 w 8079933"/>
              <a:gd name="connsiteY17269" fmla="*/ 1645604 h 4687251"/>
              <a:gd name="connsiteX17270" fmla="*/ 4440827 w 8079933"/>
              <a:gd name="connsiteY17270" fmla="*/ 1639649 h 4687251"/>
              <a:gd name="connsiteX17271" fmla="*/ 4626932 w 8079933"/>
              <a:gd name="connsiteY17271" fmla="*/ 1639109 h 4687251"/>
              <a:gd name="connsiteX17272" fmla="*/ 4623351 w 8079933"/>
              <a:gd name="connsiteY17272" fmla="*/ 1642357 h 4687251"/>
              <a:gd name="connsiteX17273" fmla="*/ 4623351 w 8079933"/>
              <a:gd name="connsiteY17273" fmla="*/ 1647338 h 4687251"/>
              <a:gd name="connsiteX17274" fmla="*/ 4617817 w 8079933"/>
              <a:gd name="connsiteY17274" fmla="*/ 1648528 h 4687251"/>
              <a:gd name="connsiteX17275" fmla="*/ 4616733 w 8079933"/>
              <a:gd name="connsiteY17275" fmla="*/ 1648281 h 4687251"/>
              <a:gd name="connsiteX17276" fmla="*/ 4616733 w 8079933"/>
              <a:gd name="connsiteY17276" fmla="*/ 1648636 h 4687251"/>
              <a:gd name="connsiteX17277" fmla="*/ 4616082 w 8079933"/>
              <a:gd name="connsiteY17277" fmla="*/ 1648419 h 4687251"/>
              <a:gd name="connsiteX17278" fmla="*/ 4605881 w 8079933"/>
              <a:gd name="connsiteY17278" fmla="*/ 1651017 h 4687251"/>
              <a:gd name="connsiteX17279" fmla="*/ 4598827 w 8079933"/>
              <a:gd name="connsiteY17279" fmla="*/ 1651775 h 4687251"/>
              <a:gd name="connsiteX17280" fmla="*/ 4598827 w 8079933"/>
              <a:gd name="connsiteY17280" fmla="*/ 1651776 h 4687251"/>
              <a:gd name="connsiteX17281" fmla="*/ 4605880 w 8079933"/>
              <a:gd name="connsiteY17281" fmla="*/ 1651019 h 4687251"/>
              <a:gd name="connsiteX17282" fmla="*/ 4616081 w 8079933"/>
              <a:gd name="connsiteY17282" fmla="*/ 1648420 h 4687251"/>
              <a:gd name="connsiteX17283" fmla="*/ 4616732 w 8079933"/>
              <a:gd name="connsiteY17283" fmla="*/ 1648636 h 4687251"/>
              <a:gd name="connsiteX17284" fmla="*/ 4620530 w 8079933"/>
              <a:gd name="connsiteY17284" fmla="*/ 1649503 h 4687251"/>
              <a:gd name="connsiteX17285" fmla="*/ 4626065 w 8079933"/>
              <a:gd name="connsiteY17285" fmla="*/ 1648311 h 4687251"/>
              <a:gd name="connsiteX17286" fmla="*/ 4625522 w 8079933"/>
              <a:gd name="connsiteY17286" fmla="*/ 1643331 h 4687251"/>
              <a:gd name="connsiteX17287" fmla="*/ 4629211 w 8079933"/>
              <a:gd name="connsiteY17287" fmla="*/ 1640083 h 4687251"/>
              <a:gd name="connsiteX17288" fmla="*/ 4641040 w 8079933"/>
              <a:gd name="connsiteY17288" fmla="*/ 1643981 h 4687251"/>
              <a:gd name="connsiteX17289" fmla="*/ 4653302 w 8079933"/>
              <a:gd name="connsiteY17289" fmla="*/ 1643981 h 4687251"/>
              <a:gd name="connsiteX17290" fmla="*/ 4659379 w 8079933"/>
              <a:gd name="connsiteY17290" fmla="*/ 1640732 h 4687251"/>
              <a:gd name="connsiteX17291" fmla="*/ 4662918 w 8079933"/>
              <a:gd name="connsiteY17291" fmla="*/ 1640945 h 4687251"/>
              <a:gd name="connsiteX17292" fmla="*/ 4662525 w 8079933"/>
              <a:gd name="connsiteY17292" fmla="*/ 1639758 h 4687251"/>
              <a:gd name="connsiteX17293" fmla="*/ 4656991 w 8079933"/>
              <a:gd name="connsiteY17293" fmla="*/ 1639758 h 4687251"/>
              <a:gd name="connsiteX17294" fmla="*/ 4651023 w 8079933"/>
              <a:gd name="connsiteY17294" fmla="*/ 1643006 h 4687251"/>
              <a:gd name="connsiteX17295" fmla="*/ 4638760 w 8079933"/>
              <a:gd name="connsiteY17295" fmla="*/ 1643006 h 4687251"/>
              <a:gd name="connsiteX17296" fmla="*/ 6074304 w 8079933"/>
              <a:gd name="connsiteY17296" fmla="*/ 1637593 h 4687251"/>
              <a:gd name="connsiteX17297" fmla="*/ 6074762 w 8079933"/>
              <a:gd name="connsiteY17297" fmla="*/ 1637809 h 4687251"/>
              <a:gd name="connsiteX17298" fmla="*/ 6076581 w 8079933"/>
              <a:gd name="connsiteY17298" fmla="*/ 1637593 h 4687251"/>
              <a:gd name="connsiteX17299" fmla="*/ 6079754 w 8079933"/>
              <a:gd name="connsiteY17299" fmla="*/ 1636402 h 4687251"/>
              <a:gd name="connsiteX17300" fmla="*/ 6078921 w 8079933"/>
              <a:gd name="connsiteY17300" fmla="*/ 1637315 h 4687251"/>
              <a:gd name="connsiteX17301" fmla="*/ 6079320 w 8079933"/>
              <a:gd name="connsiteY17301" fmla="*/ 1637268 h 4687251"/>
              <a:gd name="connsiteX17302" fmla="*/ 6079992 w 8079933"/>
              <a:gd name="connsiteY17302" fmla="*/ 1636448 h 4687251"/>
              <a:gd name="connsiteX17303" fmla="*/ 6060462 w 8079933"/>
              <a:gd name="connsiteY17303" fmla="*/ 1635752 h 4687251"/>
              <a:gd name="connsiteX17304" fmla="*/ 6070666 w 8079933"/>
              <a:gd name="connsiteY17304" fmla="*/ 1635964 h 4687251"/>
              <a:gd name="connsiteX17305" fmla="*/ 6070204 w 8079933"/>
              <a:gd name="connsiteY17305" fmla="*/ 1635752 h 4687251"/>
              <a:gd name="connsiteX17306" fmla="*/ 6059352 w 8079933"/>
              <a:gd name="connsiteY17306" fmla="*/ 1635752 h 4687251"/>
              <a:gd name="connsiteX17307" fmla="*/ 6056380 w 8079933"/>
              <a:gd name="connsiteY17307" fmla="*/ 1636684 h 4687251"/>
              <a:gd name="connsiteX17308" fmla="*/ 6056749 w 8079933"/>
              <a:gd name="connsiteY17308" fmla="*/ 1636943 h 4687251"/>
              <a:gd name="connsiteX17309" fmla="*/ 6060437 w 8079933"/>
              <a:gd name="connsiteY17309" fmla="*/ 1635752 h 4687251"/>
              <a:gd name="connsiteX17310" fmla="*/ 1221354 w 8079933"/>
              <a:gd name="connsiteY17310" fmla="*/ 1635752 h 4687251"/>
              <a:gd name="connsiteX17311" fmla="*/ 1222765 w 8079933"/>
              <a:gd name="connsiteY17311" fmla="*/ 1637917 h 4687251"/>
              <a:gd name="connsiteX17312" fmla="*/ 1220052 w 8079933"/>
              <a:gd name="connsiteY17312" fmla="*/ 1639000 h 4687251"/>
              <a:gd name="connsiteX17313" fmla="*/ 1219184 w 8079933"/>
              <a:gd name="connsiteY17313" fmla="*/ 1643006 h 4687251"/>
              <a:gd name="connsiteX17314" fmla="*/ 1221897 w 8079933"/>
              <a:gd name="connsiteY17314" fmla="*/ 1651884 h 4687251"/>
              <a:gd name="connsiteX17315" fmla="*/ 1219943 w 8079933"/>
              <a:gd name="connsiteY17315" fmla="*/ 1653400 h 4687251"/>
              <a:gd name="connsiteX17316" fmla="*/ 1216688 w 8079933"/>
              <a:gd name="connsiteY17316" fmla="*/ 1646254 h 4687251"/>
              <a:gd name="connsiteX17317" fmla="*/ 1216796 w 8079933"/>
              <a:gd name="connsiteY17317" fmla="*/ 1639650 h 4687251"/>
              <a:gd name="connsiteX17318" fmla="*/ 7327586 w 8079933"/>
              <a:gd name="connsiteY17318" fmla="*/ 1634561 h 4687251"/>
              <a:gd name="connsiteX17319" fmla="*/ 7322594 w 8079933"/>
              <a:gd name="connsiteY17319" fmla="*/ 1641273 h 4687251"/>
              <a:gd name="connsiteX17320" fmla="*/ 7321183 w 8079933"/>
              <a:gd name="connsiteY17320" fmla="*/ 1646362 h 4687251"/>
              <a:gd name="connsiteX17321" fmla="*/ 7320967 w 8079933"/>
              <a:gd name="connsiteY17321" fmla="*/ 1651126 h 4687251"/>
              <a:gd name="connsiteX17322" fmla="*/ 7317928 w 8079933"/>
              <a:gd name="connsiteY17322" fmla="*/ 1653399 h 4687251"/>
              <a:gd name="connsiteX17323" fmla="*/ 7314455 w 8079933"/>
              <a:gd name="connsiteY17323" fmla="*/ 1659030 h 4687251"/>
              <a:gd name="connsiteX17324" fmla="*/ 7309464 w 8079933"/>
              <a:gd name="connsiteY17324" fmla="*/ 1664118 h 4687251"/>
              <a:gd name="connsiteX17325" fmla="*/ 7306860 w 8079933"/>
              <a:gd name="connsiteY17325" fmla="*/ 1663252 h 4687251"/>
              <a:gd name="connsiteX17326" fmla="*/ 7308487 w 8079933"/>
              <a:gd name="connsiteY17326" fmla="*/ 1656215 h 4687251"/>
              <a:gd name="connsiteX17327" fmla="*/ 7311960 w 8079933"/>
              <a:gd name="connsiteY17327" fmla="*/ 1652425 h 4687251"/>
              <a:gd name="connsiteX17328" fmla="*/ 7312828 w 8079933"/>
              <a:gd name="connsiteY17328" fmla="*/ 1649610 h 4687251"/>
              <a:gd name="connsiteX17329" fmla="*/ 7314672 w 8079933"/>
              <a:gd name="connsiteY17329" fmla="*/ 1647661 h 4687251"/>
              <a:gd name="connsiteX17330" fmla="*/ 7316084 w 8079933"/>
              <a:gd name="connsiteY17330" fmla="*/ 1643330 h 4687251"/>
              <a:gd name="connsiteX17331" fmla="*/ 7317928 w 8079933"/>
              <a:gd name="connsiteY17331" fmla="*/ 1641598 h 4687251"/>
              <a:gd name="connsiteX17332" fmla="*/ 7320316 w 8079933"/>
              <a:gd name="connsiteY17332" fmla="*/ 1636726 h 4687251"/>
              <a:gd name="connsiteX17333" fmla="*/ 7325199 w 8079933"/>
              <a:gd name="connsiteY17333" fmla="*/ 1635860 h 4687251"/>
              <a:gd name="connsiteX17334" fmla="*/ 6947018 w 8079933"/>
              <a:gd name="connsiteY17334" fmla="*/ 1634466 h 4687251"/>
              <a:gd name="connsiteX17335" fmla="*/ 6946259 w 8079933"/>
              <a:gd name="connsiteY17335" fmla="*/ 1636076 h 4687251"/>
              <a:gd name="connsiteX17336" fmla="*/ 6942569 w 8079933"/>
              <a:gd name="connsiteY17336" fmla="*/ 1636725 h 4687251"/>
              <a:gd name="connsiteX17337" fmla="*/ 6939313 w 8079933"/>
              <a:gd name="connsiteY17337" fmla="*/ 1640731 h 4687251"/>
              <a:gd name="connsiteX17338" fmla="*/ 6939313 w 8079933"/>
              <a:gd name="connsiteY17338" fmla="*/ 1642332 h 4687251"/>
              <a:gd name="connsiteX17339" fmla="*/ 6942460 w 8079933"/>
              <a:gd name="connsiteY17339" fmla="*/ 1638459 h 4687251"/>
              <a:gd name="connsiteX17340" fmla="*/ 6946041 w 8079933"/>
              <a:gd name="connsiteY17340" fmla="*/ 1637810 h 4687251"/>
              <a:gd name="connsiteX17341" fmla="*/ 6947018 w 8079933"/>
              <a:gd name="connsiteY17341" fmla="*/ 1635969 h 4687251"/>
              <a:gd name="connsiteX17342" fmla="*/ 6043291 w 8079933"/>
              <a:gd name="connsiteY17342" fmla="*/ 1633154 h 4687251"/>
              <a:gd name="connsiteX17343" fmla="*/ 6038082 w 8079933"/>
              <a:gd name="connsiteY17343" fmla="*/ 1636943 h 4687251"/>
              <a:gd name="connsiteX17344" fmla="*/ 6033199 w 8079933"/>
              <a:gd name="connsiteY17344" fmla="*/ 1638675 h 4687251"/>
              <a:gd name="connsiteX17345" fmla="*/ 6030120 w 8079933"/>
              <a:gd name="connsiteY17345" fmla="*/ 1640371 h 4687251"/>
              <a:gd name="connsiteX17346" fmla="*/ 6031356 w 8079933"/>
              <a:gd name="connsiteY17346" fmla="*/ 1640949 h 4687251"/>
              <a:gd name="connsiteX17347" fmla="*/ 6034503 w 8079933"/>
              <a:gd name="connsiteY17347" fmla="*/ 1639217 h 4687251"/>
              <a:gd name="connsiteX17348" fmla="*/ 6039278 w 8079933"/>
              <a:gd name="connsiteY17348" fmla="*/ 1637484 h 4687251"/>
              <a:gd name="connsiteX17349" fmla="*/ 6044486 w 8079933"/>
              <a:gd name="connsiteY17349" fmla="*/ 1633695 h 4687251"/>
              <a:gd name="connsiteX17350" fmla="*/ 6047807 w 8079933"/>
              <a:gd name="connsiteY17350" fmla="*/ 1633259 h 4687251"/>
              <a:gd name="connsiteX17351" fmla="*/ 6047415 w 8079933"/>
              <a:gd name="connsiteY17351" fmla="*/ 1633154 h 4687251"/>
              <a:gd name="connsiteX17352" fmla="*/ 5243090 w 8079933"/>
              <a:gd name="connsiteY17352" fmla="*/ 1630613 h 4687251"/>
              <a:gd name="connsiteX17353" fmla="*/ 5243090 w 8079933"/>
              <a:gd name="connsiteY17353" fmla="*/ 1632829 h 4687251"/>
              <a:gd name="connsiteX17354" fmla="*/ 5248733 w 8079933"/>
              <a:gd name="connsiteY17354" fmla="*/ 1632829 h 4687251"/>
              <a:gd name="connsiteX17355" fmla="*/ 5251988 w 8079933"/>
              <a:gd name="connsiteY17355" fmla="*/ 1635969 h 4687251"/>
              <a:gd name="connsiteX17356" fmla="*/ 5257306 w 8079933"/>
              <a:gd name="connsiteY17356" fmla="*/ 1637160 h 4687251"/>
              <a:gd name="connsiteX17357" fmla="*/ 5258174 w 8079933"/>
              <a:gd name="connsiteY17357" fmla="*/ 1639758 h 4687251"/>
              <a:gd name="connsiteX17358" fmla="*/ 5262623 w 8079933"/>
              <a:gd name="connsiteY17358" fmla="*/ 1643332 h 4687251"/>
              <a:gd name="connsiteX17359" fmla="*/ 5269676 w 8079933"/>
              <a:gd name="connsiteY17359" fmla="*/ 1643332 h 4687251"/>
              <a:gd name="connsiteX17360" fmla="*/ 5271956 w 8079933"/>
              <a:gd name="connsiteY17360" fmla="*/ 1645063 h 4687251"/>
              <a:gd name="connsiteX17361" fmla="*/ 5273141 w 8079933"/>
              <a:gd name="connsiteY17361" fmla="*/ 1663666 h 4687251"/>
              <a:gd name="connsiteX17362" fmla="*/ 5273365 w 8079933"/>
              <a:gd name="connsiteY17362" fmla="*/ 1663252 h 4687251"/>
              <a:gd name="connsiteX17363" fmla="*/ 5272280 w 8079933"/>
              <a:gd name="connsiteY17363" fmla="*/ 1644521 h 4687251"/>
              <a:gd name="connsiteX17364" fmla="*/ 5270002 w 8079933"/>
              <a:gd name="connsiteY17364" fmla="*/ 1642789 h 4687251"/>
              <a:gd name="connsiteX17365" fmla="*/ 5262947 w 8079933"/>
              <a:gd name="connsiteY17365" fmla="*/ 1642681 h 4687251"/>
              <a:gd name="connsiteX17366" fmla="*/ 5258390 w 8079933"/>
              <a:gd name="connsiteY17366" fmla="*/ 1639000 h 4687251"/>
              <a:gd name="connsiteX17367" fmla="*/ 5257521 w 8079933"/>
              <a:gd name="connsiteY17367" fmla="*/ 1636401 h 4687251"/>
              <a:gd name="connsiteX17368" fmla="*/ 5252205 w 8079933"/>
              <a:gd name="connsiteY17368" fmla="*/ 1635211 h 4687251"/>
              <a:gd name="connsiteX17369" fmla="*/ 5248949 w 8079933"/>
              <a:gd name="connsiteY17369" fmla="*/ 1632179 h 4687251"/>
              <a:gd name="connsiteX17370" fmla="*/ 5243306 w 8079933"/>
              <a:gd name="connsiteY17370" fmla="*/ 1632179 h 4687251"/>
              <a:gd name="connsiteX17371" fmla="*/ 5748125 w 8079933"/>
              <a:gd name="connsiteY17371" fmla="*/ 1630468 h 4687251"/>
              <a:gd name="connsiteX17372" fmla="*/ 5743786 w 8079933"/>
              <a:gd name="connsiteY17372" fmla="*/ 1632179 h 4687251"/>
              <a:gd name="connsiteX17373" fmla="*/ 5739771 w 8079933"/>
              <a:gd name="connsiteY17373" fmla="*/ 1631313 h 4687251"/>
              <a:gd name="connsiteX17374" fmla="*/ 5739348 w 8079933"/>
              <a:gd name="connsiteY17374" fmla="*/ 1631532 h 4687251"/>
              <a:gd name="connsiteX17375" fmla="*/ 5743351 w 8079933"/>
              <a:gd name="connsiteY17375" fmla="*/ 1632503 h 4687251"/>
              <a:gd name="connsiteX17376" fmla="*/ 5748017 w 8079933"/>
              <a:gd name="connsiteY17376" fmla="*/ 1630663 h 4687251"/>
              <a:gd name="connsiteX17377" fmla="*/ 5929017 w 8079933"/>
              <a:gd name="connsiteY17377" fmla="*/ 1628059 h 4687251"/>
              <a:gd name="connsiteX17378" fmla="*/ 5927070 w 8079933"/>
              <a:gd name="connsiteY17378" fmla="*/ 1629797 h 4687251"/>
              <a:gd name="connsiteX17379" fmla="*/ 5923815 w 8079933"/>
              <a:gd name="connsiteY17379" fmla="*/ 1634454 h 4687251"/>
              <a:gd name="connsiteX17380" fmla="*/ 5919800 w 8079933"/>
              <a:gd name="connsiteY17380" fmla="*/ 1635428 h 4687251"/>
              <a:gd name="connsiteX17381" fmla="*/ 5915784 w 8079933"/>
              <a:gd name="connsiteY17381" fmla="*/ 1639217 h 4687251"/>
              <a:gd name="connsiteX17382" fmla="*/ 5915784 w 8079933"/>
              <a:gd name="connsiteY17382" fmla="*/ 1642465 h 4687251"/>
              <a:gd name="connsiteX17383" fmla="*/ 5909599 w 8079933"/>
              <a:gd name="connsiteY17383" fmla="*/ 1645389 h 4687251"/>
              <a:gd name="connsiteX17384" fmla="*/ 5907863 w 8079933"/>
              <a:gd name="connsiteY17384" fmla="*/ 1650152 h 4687251"/>
              <a:gd name="connsiteX17385" fmla="*/ 5907863 w 8079933"/>
              <a:gd name="connsiteY17385" fmla="*/ 1654916 h 4687251"/>
              <a:gd name="connsiteX17386" fmla="*/ 5900267 w 8079933"/>
              <a:gd name="connsiteY17386" fmla="*/ 1657623 h 4687251"/>
              <a:gd name="connsiteX17387" fmla="*/ 5896142 w 8079933"/>
              <a:gd name="connsiteY17387" fmla="*/ 1662062 h 4687251"/>
              <a:gd name="connsiteX17388" fmla="*/ 5894624 w 8079933"/>
              <a:gd name="connsiteY17388" fmla="*/ 1664444 h 4687251"/>
              <a:gd name="connsiteX17389" fmla="*/ 5883772 w 8079933"/>
              <a:gd name="connsiteY17389" fmla="*/ 1664444 h 4687251"/>
              <a:gd name="connsiteX17390" fmla="*/ 5879432 w 8079933"/>
              <a:gd name="connsiteY17390" fmla="*/ 1666718 h 4687251"/>
              <a:gd name="connsiteX17391" fmla="*/ 5875633 w 8079933"/>
              <a:gd name="connsiteY17391" fmla="*/ 1675487 h 4687251"/>
              <a:gd name="connsiteX17392" fmla="*/ 5875633 w 8079933"/>
              <a:gd name="connsiteY17392" fmla="*/ 1676029 h 4687251"/>
              <a:gd name="connsiteX17393" fmla="*/ 5873572 w 8079933"/>
              <a:gd name="connsiteY17393" fmla="*/ 1676029 h 4687251"/>
              <a:gd name="connsiteX17394" fmla="*/ 5868797 w 8079933"/>
              <a:gd name="connsiteY17394" fmla="*/ 1674297 h 4687251"/>
              <a:gd name="connsiteX17395" fmla="*/ 5865867 w 8079933"/>
              <a:gd name="connsiteY17395" fmla="*/ 1674297 h 4687251"/>
              <a:gd name="connsiteX17396" fmla="*/ 5864674 w 8079933"/>
              <a:gd name="connsiteY17396" fmla="*/ 1672889 h 4687251"/>
              <a:gd name="connsiteX17397" fmla="*/ 5857619 w 8079933"/>
              <a:gd name="connsiteY17397" fmla="*/ 1670507 h 4687251"/>
              <a:gd name="connsiteX17398" fmla="*/ 5852302 w 8079933"/>
              <a:gd name="connsiteY17398" fmla="*/ 1665852 h 4687251"/>
              <a:gd name="connsiteX17399" fmla="*/ 5848874 w 8079933"/>
              <a:gd name="connsiteY17399" fmla="*/ 1664996 h 4687251"/>
              <a:gd name="connsiteX17400" fmla="*/ 5849046 w 8079933"/>
              <a:gd name="connsiteY17400" fmla="*/ 1665526 h 4687251"/>
              <a:gd name="connsiteX17401" fmla="*/ 5852519 w 8079933"/>
              <a:gd name="connsiteY17401" fmla="*/ 1666392 h 4687251"/>
              <a:gd name="connsiteX17402" fmla="*/ 5857836 w 8079933"/>
              <a:gd name="connsiteY17402" fmla="*/ 1670939 h 4687251"/>
              <a:gd name="connsiteX17403" fmla="*/ 5864890 w 8079933"/>
              <a:gd name="connsiteY17403" fmla="*/ 1673430 h 4687251"/>
              <a:gd name="connsiteX17404" fmla="*/ 5866083 w 8079933"/>
              <a:gd name="connsiteY17404" fmla="*/ 1674729 h 4687251"/>
              <a:gd name="connsiteX17405" fmla="*/ 5866625 w 8079933"/>
              <a:gd name="connsiteY17405" fmla="*/ 1675487 h 4687251"/>
              <a:gd name="connsiteX17406" fmla="*/ 5866626 w 8079933"/>
              <a:gd name="connsiteY17406" fmla="*/ 1675486 h 4687251"/>
              <a:gd name="connsiteX17407" fmla="*/ 5866084 w 8079933"/>
              <a:gd name="connsiteY17407" fmla="*/ 1674728 h 4687251"/>
              <a:gd name="connsiteX17408" fmla="*/ 5869014 w 8079933"/>
              <a:gd name="connsiteY17408" fmla="*/ 1674837 h 4687251"/>
              <a:gd name="connsiteX17409" fmla="*/ 5873897 w 8079933"/>
              <a:gd name="connsiteY17409" fmla="*/ 1676569 h 4687251"/>
              <a:gd name="connsiteX17410" fmla="*/ 5875959 w 8079933"/>
              <a:gd name="connsiteY17410" fmla="*/ 1676569 h 4687251"/>
              <a:gd name="connsiteX17411" fmla="*/ 5875743 w 8079933"/>
              <a:gd name="connsiteY17411" fmla="*/ 1676029 h 4687251"/>
              <a:gd name="connsiteX17412" fmla="*/ 5879541 w 8079933"/>
              <a:gd name="connsiteY17412" fmla="*/ 1667259 h 4687251"/>
              <a:gd name="connsiteX17413" fmla="*/ 5883882 w 8079933"/>
              <a:gd name="connsiteY17413" fmla="*/ 1664985 h 4687251"/>
              <a:gd name="connsiteX17414" fmla="*/ 5894950 w 8079933"/>
              <a:gd name="connsiteY17414" fmla="*/ 1665527 h 4687251"/>
              <a:gd name="connsiteX17415" fmla="*/ 5896469 w 8079933"/>
              <a:gd name="connsiteY17415" fmla="*/ 1663036 h 4687251"/>
              <a:gd name="connsiteX17416" fmla="*/ 5900593 w 8079933"/>
              <a:gd name="connsiteY17416" fmla="*/ 1658597 h 4687251"/>
              <a:gd name="connsiteX17417" fmla="*/ 5908190 w 8079933"/>
              <a:gd name="connsiteY17417" fmla="*/ 1655890 h 4687251"/>
              <a:gd name="connsiteX17418" fmla="*/ 5908514 w 8079933"/>
              <a:gd name="connsiteY17418" fmla="*/ 1651018 h 4687251"/>
              <a:gd name="connsiteX17419" fmla="*/ 5910251 w 8079933"/>
              <a:gd name="connsiteY17419" fmla="*/ 1646254 h 4687251"/>
              <a:gd name="connsiteX17420" fmla="*/ 5916436 w 8079933"/>
              <a:gd name="connsiteY17420" fmla="*/ 1643331 h 4687251"/>
              <a:gd name="connsiteX17421" fmla="*/ 5916654 w 8079933"/>
              <a:gd name="connsiteY17421" fmla="*/ 1640083 h 4687251"/>
              <a:gd name="connsiteX17422" fmla="*/ 5920561 w 8079933"/>
              <a:gd name="connsiteY17422" fmla="*/ 1636293 h 4687251"/>
              <a:gd name="connsiteX17423" fmla="*/ 5924575 w 8079933"/>
              <a:gd name="connsiteY17423" fmla="*/ 1635211 h 4687251"/>
              <a:gd name="connsiteX17424" fmla="*/ 5927831 w 8079933"/>
              <a:gd name="connsiteY17424" fmla="*/ 1630555 h 4687251"/>
              <a:gd name="connsiteX17425" fmla="*/ 5929893 w 8079933"/>
              <a:gd name="connsiteY17425" fmla="*/ 1628714 h 4687251"/>
              <a:gd name="connsiteX17426" fmla="*/ 2750679 w 8079933"/>
              <a:gd name="connsiteY17426" fmla="*/ 1626873 h 4687251"/>
              <a:gd name="connsiteX17427" fmla="*/ 2750679 w 8079933"/>
              <a:gd name="connsiteY17427" fmla="*/ 1629904 h 4687251"/>
              <a:gd name="connsiteX17428" fmla="*/ 2749377 w 8079933"/>
              <a:gd name="connsiteY17428" fmla="*/ 1633045 h 4687251"/>
              <a:gd name="connsiteX17429" fmla="*/ 2746989 w 8079933"/>
              <a:gd name="connsiteY17429" fmla="*/ 1634561 h 4687251"/>
              <a:gd name="connsiteX17430" fmla="*/ 2745904 w 8079933"/>
              <a:gd name="connsiteY17430" fmla="*/ 1633586 h 4687251"/>
              <a:gd name="connsiteX17431" fmla="*/ 2747749 w 8079933"/>
              <a:gd name="connsiteY17431" fmla="*/ 1629147 h 4687251"/>
              <a:gd name="connsiteX17432" fmla="*/ 6947993 w 8079933"/>
              <a:gd name="connsiteY17432" fmla="*/ 1626809 h 4687251"/>
              <a:gd name="connsiteX17433" fmla="*/ 6947344 w 8079933"/>
              <a:gd name="connsiteY17433" fmla="*/ 1630121 h 4687251"/>
              <a:gd name="connsiteX17434" fmla="*/ 6947328 w 8079933"/>
              <a:gd name="connsiteY17434" fmla="*/ 1630434 h 4687251"/>
              <a:gd name="connsiteX17435" fmla="*/ 6948103 w 8079933"/>
              <a:gd name="connsiteY17435" fmla="*/ 1626874 h 4687251"/>
              <a:gd name="connsiteX17436" fmla="*/ 6896047 w 8079933"/>
              <a:gd name="connsiteY17436" fmla="*/ 1626742 h 4687251"/>
              <a:gd name="connsiteX17437" fmla="*/ 6896015 w 8079933"/>
              <a:gd name="connsiteY17437" fmla="*/ 1626874 h 4687251"/>
              <a:gd name="connsiteX17438" fmla="*/ 6896015 w 8079933"/>
              <a:gd name="connsiteY17438" fmla="*/ 1629327 h 4687251"/>
              <a:gd name="connsiteX17439" fmla="*/ 6896450 w 8079933"/>
              <a:gd name="connsiteY17439" fmla="*/ 1629146 h 4687251"/>
              <a:gd name="connsiteX17440" fmla="*/ 4088898 w 8079933"/>
              <a:gd name="connsiteY17440" fmla="*/ 1626668 h 4687251"/>
              <a:gd name="connsiteX17441" fmla="*/ 4087495 w 8079933"/>
              <a:gd name="connsiteY17441" fmla="*/ 1628390 h 4687251"/>
              <a:gd name="connsiteX17442" fmla="*/ 4087170 w 8079933"/>
              <a:gd name="connsiteY17442" fmla="*/ 1631097 h 4687251"/>
              <a:gd name="connsiteX17443" fmla="*/ 4085325 w 8079933"/>
              <a:gd name="connsiteY17443" fmla="*/ 1635211 h 4687251"/>
              <a:gd name="connsiteX17444" fmla="*/ 4085216 w 8079933"/>
              <a:gd name="connsiteY17444" fmla="*/ 1639867 h 4687251"/>
              <a:gd name="connsiteX17445" fmla="*/ 4082178 w 8079933"/>
              <a:gd name="connsiteY17445" fmla="*/ 1642464 h 4687251"/>
              <a:gd name="connsiteX17446" fmla="*/ 4082179 w 8079933"/>
              <a:gd name="connsiteY17446" fmla="*/ 1642464 h 4687251"/>
              <a:gd name="connsiteX17447" fmla="*/ 4085217 w 8079933"/>
              <a:gd name="connsiteY17447" fmla="*/ 1639866 h 4687251"/>
              <a:gd name="connsiteX17448" fmla="*/ 4085326 w 8079933"/>
              <a:gd name="connsiteY17448" fmla="*/ 1635210 h 4687251"/>
              <a:gd name="connsiteX17449" fmla="*/ 4087171 w 8079933"/>
              <a:gd name="connsiteY17449" fmla="*/ 1631095 h 4687251"/>
              <a:gd name="connsiteX17450" fmla="*/ 4087497 w 8079933"/>
              <a:gd name="connsiteY17450" fmla="*/ 1628389 h 4687251"/>
              <a:gd name="connsiteX17451" fmla="*/ 5241612 w 8079933"/>
              <a:gd name="connsiteY17451" fmla="*/ 1626613 h 4687251"/>
              <a:gd name="connsiteX17452" fmla="*/ 5241570 w 8079933"/>
              <a:gd name="connsiteY17452" fmla="*/ 1626765 h 4687251"/>
              <a:gd name="connsiteX17453" fmla="*/ 5242917 w 8079933"/>
              <a:gd name="connsiteY17453" fmla="*/ 1629356 h 4687251"/>
              <a:gd name="connsiteX17454" fmla="*/ 5242873 w 8079933"/>
              <a:gd name="connsiteY17454" fmla="*/ 1629039 h 4687251"/>
              <a:gd name="connsiteX17455" fmla="*/ 6328426 w 8079933"/>
              <a:gd name="connsiteY17455" fmla="*/ 1625782 h 4687251"/>
              <a:gd name="connsiteX17456" fmla="*/ 6332055 w 8079933"/>
              <a:gd name="connsiteY17456" fmla="*/ 1629689 h 4687251"/>
              <a:gd name="connsiteX17457" fmla="*/ 6332096 w 8079933"/>
              <a:gd name="connsiteY17457" fmla="*/ 1629691 h 4687251"/>
              <a:gd name="connsiteX17458" fmla="*/ 6328474 w 8079933"/>
              <a:gd name="connsiteY17458" fmla="*/ 1625791 h 4687251"/>
              <a:gd name="connsiteX17459" fmla="*/ 5697557 w 8079933"/>
              <a:gd name="connsiteY17459" fmla="*/ 1625574 h 4687251"/>
              <a:gd name="connsiteX17460" fmla="*/ 5697557 w 8079933"/>
              <a:gd name="connsiteY17460" fmla="*/ 1626008 h 4687251"/>
              <a:gd name="connsiteX17461" fmla="*/ 5698600 w 8079933"/>
              <a:gd name="connsiteY17461" fmla="*/ 1626954 h 4687251"/>
              <a:gd name="connsiteX17462" fmla="*/ 5698751 w 8079933"/>
              <a:gd name="connsiteY17462" fmla="*/ 1626548 h 4687251"/>
              <a:gd name="connsiteX17463" fmla="*/ 6897125 w 8079933"/>
              <a:gd name="connsiteY17463" fmla="*/ 1622423 h 4687251"/>
              <a:gd name="connsiteX17464" fmla="*/ 6897101 w 8079933"/>
              <a:gd name="connsiteY17464" fmla="*/ 1622435 h 4687251"/>
              <a:gd name="connsiteX17465" fmla="*/ 6896897 w 8079933"/>
              <a:gd name="connsiteY17465" fmla="*/ 1623268 h 4687251"/>
              <a:gd name="connsiteX17466" fmla="*/ 5756916 w 8079933"/>
              <a:gd name="connsiteY17466" fmla="*/ 1622110 h 4687251"/>
              <a:gd name="connsiteX17467" fmla="*/ 5748994 w 8079933"/>
              <a:gd name="connsiteY17467" fmla="*/ 1623193 h 4687251"/>
              <a:gd name="connsiteX17468" fmla="*/ 5748899 w 8079933"/>
              <a:gd name="connsiteY17468" fmla="*/ 1623466 h 4687251"/>
              <a:gd name="connsiteX17469" fmla="*/ 5756481 w 8079933"/>
              <a:gd name="connsiteY17469" fmla="*/ 1622326 h 4687251"/>
              <a:gd name="connsiteX17470" fmla="*/ 5764946 w 8079933"/>
              <a:gd name="connsiteY17470" fmla="*/ 1622326 h 4687251"/>
              <a:gd name="connsiteX17471" fmla="*/ 5772216 w 8079933"/>
              <a:gd name="connsiteY17471" fmla="*/ 1624275 h 4687251"/>
              <a:gd name="connsiteX17472" fmla="*/ 5779270 w 8079933"/>
              <a:gd name="connsiteY17472" fmla="*/ 1629472 h 4687251"/>
              <a:gd name="connsiteX17473" fmla="*/ 5783176 w 8079933"/>
              <a:gd name="connsiteY17473" fmla="*/ 1636293 h 4687251"/>
              <a:gd name="connsiteX17474" fmla="*/ 5785672 w 8079933"/>
              <a:gd name="connsiteY17474" fmla="*/ 1641815 h 4687251"/>
              <a:gd name="connsiteX17475" fmla="*/ 5787951 w 8079933"/>
              <a:gd name="connsiteY17475" fmla="*/ 1642031 h 4687251"/>
              <a:gd name="connsiteX17476" fmla="*/ 5792943 w 8079933"/>
              <a:gd name="connsiteY17476" fmla="*/ 1643439 h 4687251"/>
              <a:gd name="connsiteX17477" fmla="*/ 5798585 w 8079933"/>
              <a:gd name="connsiteY17477" fmla="*/ 1646903 h 4687251"/>
              <a:gd name="connsiteX17478" fmla="*/ 5800322 w 8079933"/>
              <a:gd name="connsiteY17478" fmla="*/ 1646903 h 4687251"/>
              <a:gd name="connsiteX17479" fmla="*/ 5803903 w 8079933"/>
              <a:gd name="connsiteY17479" fmla="*/ 1648636 h 4687251"/>
              <a:gd name="connsiteX17480" fmla="*/ 5804120 w 8079933"/>
              <a:gd name="connsiteY17480" fmla="*/ 1651343 h 4687251"/>
              <a:gd name="connsiteX17481" fmla="*/ 5803252 w 8079933"/>
              <a:gd name="connsiteY17481" fmla="*/ 1653617 h 4687251"/>
              <a:gd name="connsiteX17482" fmla="*/ 5803360 w 8079933"/>
              <a:gd name="connsiteY17482" fmla="*/ 1657514 h 4687251"/>
              <a:gd name="connsiteX17483" fmla="*/ 5804662 w 8079933"/>
              <a:gd name="connsiteY17483" fmla="*/ 1660654 h 4687251"/>
              <a:gd name="connsiteX17484" fmla="*/ 5806941 w 8079933"/>
              <a:gd name="connsiteY17484" fmla="*/ 1662927 h 4687251"/>
              <a:gd name="connsiteX17485" fmla="*/ 5808026 w 8079933"/>
              <a:gd name="connsiteY17485" fmla="*/ 1664119 h 4687251"/>
              <a:gd name="connsiteX17486" fmla="*/ 5810197 w 8079933"/>
              <a:gd name="connsiteY17486" fmla="*/ 1664010 h 4687251"/>
              <a:gd name="connsiteX17487" fmla="*/ 5814863 w 8079933"/>
              <a:gd name="connsiteY17487" fmla="*/ 1665959 h 4687251"/>
              <a:gd name="connsiteX17488" fmla="*/ 5818553 w 8079933"/>
              <a:gd name="connsiteY17488" fmla="*/ 1667692 h 4687251"/>
              <a:gd name="connsiteX17489" fmla="*/ 5819855 w 8079933"/>
              <a:gd name="connsiteY17489" fmla="*/ 1665526 h 4687251"/>
              <a:gd name="connsiteX17490" fmla="*/ 5823653 w 8079933"/>
              <a:gd name="connsiteY17490" fmla="*/ 1663469 h 4687251"/>
              <a:gd name="connsiteX17491" fmla="*/ 5834939 w 8079933"/>
              <a:gd name="connsiteY17491" fmla="*/ 1662711 h 4687251"/>
              <a:gd name="connsiteX17492" fmla="*/ 5840148 w 8079933"/>
              <a:gd name="connsiteY17492" fmla="*/ 1661195 h 4687251"/>
              <a:gd name="connsiteX17493" fmla="*/ 5842535 w 8079933"/>
              <a:gd name="connsiteY17493" fmla="*/ 1657081 h 4687251"/>
              <a:gd name="connsiteX17494" fmla="*/ 5847201 w 8079933"/>
              <a:gd name="connsiteY17494" fmla="*/ 1654482 h 4687251"/>
              <a:gd name="connsiteX17495" fmla="*/ 5849395 w 8079933"/>
              <a:gd name="connsiteY17495" fmla="*/ 1655486 h 4687251"/>
              <a:gd name="connsiteX17496" fmla="*/ 5849481 w 8079933"/>
              <a:gd name="connsiteY17496" fmla="*/ 1655241 h 4687251"/>
              <a:gd name="connsiteX17497" fmla="*/ 5846877 w 8079933"/>
              <a:gd name="connsiteY17497" fmla="*/ 1654050 h 4687251"/>
              <a:gd name="connsiteX17498" fmla="*/ 5842210 w 8079933"/>
              <a:gd name="connsiteY17498" fmla="*/ 1656648 h 4687251"/>
              <a:gd name="connsiteX17499" fmla="*/ 5839822 w 8079933"/>
              <a:gd name="connsiteY17499" fmla="*/ 1660763 h 4687251"/>
              <a:gd name="connsiteX17500" fmla="*/ 5834723 w 8079933"/>
              <a:gd name="connsiteY17500" fmla="*/ 1662279 h 4687251"/>
              <a:gd name="connsiteX17501" fmla="*/ 5823871 w 8079933"/>
              <a:gd name="connsiteY17501" fmla="*/ 1663036 h 4687251"/>
              <a:gd name="connsiteX17502" fmla="*/ 5820073 w 8079933"/>
              <a:gd name="connsiteY17502" fmla="*/ 1665093 h 4687251"/>
              <a:gd name="connsiteX17503" fmla="*/ 5818771 w 8079933"/>
              <a:gd name="connsiteY17503" fmla="*/ 1667259 h 4687251"/>
              <a:gd name="connsiteX17504" fmla="*/ 5815190 w 8079933"/>
              <a:gd name="connsiteY17504" fmla="*/ 1665527 h 4687251"/>
              <a:gd name="connsiteX17505" fmla="*/ 5810415 w 8079933"/>
              <a:gd name="connsiteY17505" fmla="*/ 1663578 h 4687251"/>
              <a:gd name="connsiteX17506" fmla="*/ 5808245 w 8079933"/>
              <a:gd name="connsiteY17506" fmla="*/ 1663578 h 4687251"/>
              <a:gd name="connsiteX17507" fmla="*/ 5807160 w 8079933"/>
              <a:gd name="connsiteY17507" fmla="*/ 1662387 h 4687251"/>
              <a:gd name="connsiteX17508" fmla="*/ 5804880 w 8079933"/>
              <a:gd name="connsiteY17508" fmla="*/ 1660113 h 4687251"/>
              <a:gd name="connsiteX17509" fmla="*/ 5803579 w 8079933"/>
              <a:gd name="connsiteY17509" fmla="*/ 1656973 h 4687251"/>
              <a:gd name="connsiteX17510" fmla="*/ 5803579 w 8079933"/>
              <a:gd name="connsiteY17510" fmla="*/ 1653184 h 4687251"/>
              <a:gd name="connsiteX17511" fmla="*/ 5804447 w 8079933"/>
              <a:gd name="connsiteY17511" fmla="*/ 1650910 h 4687251"/>
              <a:gd name="connsiteX17512" fmla="*/ 5804447 w 8079933"/>
              <a:gd name="connsiteY17512" fmla="*/ 1648203 h 4687251"/>
              <a:gd name="connsiteX17513" fmla="*/ 5800866 w 8079933"/>
              <a:gd name="connsiteY17513" fmla="*/ 1646579 h 4687251"/>
              <a:gd name="connsiteX17514" fmla="*/ 5799129 w 8079933"/>
              <a:gd name="connsiteY17514" fmla="*/ 1646579 h 4687251"/>
              <a:gd name="connsiteX17515" fmla="*/ 5793486 w 8079933"/>
              <a:gd name="connsiteY17515" fmla="*/ 1643006 h 4687251"/>
              <a:gd name="connsiteX17516" fmla="*/ 5788495 w 8079933"/>
              <a:gd name="connsiteY17516" fmla="*/ 1641599 h 4687251"/>
              <a:gd name="connsiteX17517" fmla="*/ 5786107 w 8079933"/>
              <a:gd name="connsiteY17517" fmla="*/ 1641599 h 4687251"/>
              <a:gd name="connsiteX17518" fmla="*/ 5783611 w 8079933"/>
              <a:gd name="connsiteY17518" fmla="*/ 1636077 h 4687251"/>
              <a:gd name="connsiteX17519" fmla="*/ 5779704 w 8079933"/>
              <a:gd name="connsiteY17519" fmla="*/ 1629148 h 4687251"/>
              <a:gd name="connsiteX17520" fmla="*/ 5772652 w 8079933"/>
              <a:gd name="connsiteY17520" fmla="*/ 1623951 h 4687251"/>
              <a:gd name="connsiteX17521" fmla="*/ 5765380 w 8079933"/>
              <a:gd name="connsiteY17521" fmla="*/ 1622110 h 4687251"/>
              <a:gd name="connsiteX17522" fmla="*/ 5707927 w 8079933"/>
              <a:gd name="connsiteY17522" fmla="*/ 1621986 h 4687251"/>
              <a:gd name="connsiteX17523" fmla="*/ 5707215 w 8079933"/>
              <a:gd name="connsiteY17523" fmla="*/ 1625033 h 4687251"/>
              <a:gd name="connsiteX17524" fmla="*/ 5707541 w 8079933"/>
              <a:gd name="connsiteY17524" fmla="*/ 1627473 h 4687251"/>
              <a:gd name="connsiteX17525" fmla="*/ 5707541 w 8079933"/>
              <a:gd name="connsiteY17525" fmla="*/ 1625358 h 4687251"/>
              <a:gd name="connsiteX17526" fmla="*/ 5708192 w 8079933"/>
              <a:gd name="connsiteY17526" fmla="*/ 1622110 h 4687251"/>
              <a:gd name="connsiteX17527" fmla="*/ 3845612 w 8079933"/>
              <a:gd name="connsiteY17527" fmla="*/ 1616588 h 4687251"/>
              <a:gd name="connsiteX17528" fmla="*/ 3847565 w 8079933"/>
              <a:gd name="connsiteY17528" fmla="*/ 1620486 h 4687251"/>
              <a:gd name="connsiteX17529" fmla="*/ 3851580 w 8079933"/>
              <a:gd name="connsiteY17529" fmla="*/ 1620486 h 4687251"/>
              <a:gd name="connsiteX17530" fmla="*/ 3846046 w 8079933"/>
              <a:gd name="connsiteY17530" fmla="*/ 1624492 h 4687251"/>
              <a:gd name="connsiteX17531" fmla="*/ 3839535 w 8079933"/>
              <a:gd name="connsiteY17531" fmla="*/ 1621243 h 4687251"/>
              <a:gd name="connsiteX17532" fmla="*/ 3840620 w 8079933"/>
              <a:gd name="connsiteY17532" fmla="*/ 1617237 h 4687251"/>
              <a:gd name="connsiteX17533" fmla="*/ 5993916 w 8079933"/>
              <a:gd name="connsiteY17533" fmla="*/ 1615289 h 4687251"/>
              <a:gd name="connsiteX17534" fmla="*/ 5990336 w 8079933"/>
              <a:gd name="connsiteY17534" fmla="*/ 1617671 h 4687251"/>
              <a:gd name="connsiteX17535" fmla="*/ 5985995 w 8079933"/>
              <a:gd name="connsiteY17535" fmla="*/ 1617671 h 4687251"/>
              <a:gd name="connsiteX17536" fmla="*/ 5983390 w 8079933"/>
              <a:gd name="connsiteY17536" fmla="*/ 1618538 h 4687251"/>
              <a:gd name="connsiteX17537" fmla="*/ 5978658 w 8079933"/>
              <a:gd name="connsiteY17537" fmla="*/ 1618538 h 4687251"/>
              <a:gd name="connsiteX17538" fmla="*/ 5979702 w 8079933"/>
              <a:gd name="connsiteY17538" fmla="*/ 1619620 h 4687251"/>
              <a:gd name="connsiteX17539" fmla="*/ 5984693 w 8079933"/>
              <a:gd name="connsiteY17539" fmla="*/ 1619295 h 4687251"/>
              <a:gd name="connsiteX17540" fmla="*/ 5987298 w 8079933"/>
              <a:gd name="connsiteY17540" fmla="*/ 1618320 h 4687251"/>
              <a:gd name="connsiteX17541" fmla="*/ 5991530 w 8079933"/>
              <a:gd name="connsiteY17541" fmla="*/ 1618753 h 4687251"/>
              <a:gd name="connsiteX17542" fmla="*/ 5995219 w 8079933"/>
              <a:gd name="connsiteY17542" fmla="*/ 1616371 h 4687251"/>
              <a:gd name="connsiteX17543" fmla="*/ 6001759 w 8079933"/>
              <a:gd name="connsiteY17543" fmla="*/ 1615905 h 4687251"/>
              <a:gd name="connsiteX17544" fmla="*/ 6001512 w 8079933"/>
              <a:gd name="connsiteY17544" fmla="*/ 1615289 h 4687251"/>
              <a:gd name="connsiteX17545" fmla="*/ 4608811 w 8079933"/>
              <a:gd name="connsiteY17545" fmla="*/ 1612581 h 4687251"/>
              <a:gd name="connsiteX17546" fmla="*/ 4608317 w 8079933"/>
              <a:gd name="connsiteY17546" fmla="*/ 1613489 h 4687251"/>
              <a:gd name="connsiteX17547" fmla="*/ 4611631 w 8079933"/>
              <a:gd name="connsiteY17547" fmla="*/ 1616589 h 4687251"/>
              <a:gd name="connsiteX17548" fmla="*/ 4612905 w 8079933"/>
              <a:gd name="connsiteY17548" fmla="*/ 1616411 h 4687251"/>
              <a:gd name="connsiteX17549" fmla="*/ 6314541 w 8079933"/>
              <a:gd name="connsiteY17549" fmla="*/ 1612232 h 4687251"/>
              <a:gd name="connsiteX17550" fmla="*/ 6317080 w 8079933"/>
              <a:gd name="connsiteY17550" fmla="*/ 1619620 h 4687251"/>
              <a:gd name="connsiteX17551" fmla="*/ 6317402 w 8079933"/>
              <a:gd name="connsiteY17551" fmla="*/ 1619839 h 4687251"/>
              <a:gd name="connsiteX17552" fmla="*/ 6314909 w 8079933"/>
              <a:gd name="connsiteY17552" fmla="*/ 1612583 h 4687251"/>
              <a:gd name="connsiteX17553" fmla="*/ 6939734 w 8079933"/>
              <a:gd name="connsiteY17553" fmla="*/ 1609104 h 4687251"/>
              <a:gd name="connsiteX17554" fmla="*/ 6937903 w 8079933"/>
              <a:gd name="connsiteY17554" fmla="*/ 1610848 h 4687251"/>
              <a:gd name="connsiteX17555" fmla="*/ 6938400 w 8079933"/>
              <a:gd name="connsiteY17555" fmla="*/ 1612213 h 4687251"/>
              <a:gd name="connsiteX17556" fmla="*/ 6940399 w 8079933"/>
              <a:gd name="connsiteY17556" fmla="*/ 1610309 h 4687251"/>
              <a:gd name="connsiteX17557" fmla="*/ 6217352 w 8079933"/>
              <a:gd name="connsiteY17557" fmla="*/ 1608901 h 4687251"/>
              <a:gd name="connsiteX17558" fmla="*/ 6214097 w 8079933"/>
              <a:gd name="connsiteY17558" fmla="*/ 1611175 h 4687251"/>
              <a:gd name="connsiteX17559" fmla="*/ 6206826 w 8079933"/>
              <a:gd name="connsiteY17559" fmla="*/ 1611175 h 4687251"/>
              <a:gd name="connsiteX17560" fmla="*/ 6205090 w 8079933"/>
              <a:gd name="connsiteY17560" fmla="*/ 1612799 h 4687251"/>
              <a:gd name="connsiteX17561" fmla="*/ 6202168 w 8079933"/>
              <a:gd name="connsiteY17561" fmla="*/ 1612799 h 4687251"/>
              <a:gd name="connsiteX17562" fmla="*/ 6202378 w 8079933"/>
              <a:gd name="connsiteY17562" fmla="*/ 1612907 h 4687251"/>
              <a:gd name="connsiteX17563" fmla="*/ 6205742 w 8079933"/>
              <a:gd name="connsiteY17563" fmla="*/ 1613015 h 4687251"/>
              <a:gd name="connsiteX17564" fmla="*/ 6207478 w 8079933"/>
              <a:gd name="connsiteY17564" fmla="*/ 1611391 h 4687251"/>
              <a:gd name="connsiteX17565" fmla="*/ 6214749 w 8079933"/>
              <a:gd name="connsiteY17565" fmla="*/ 1611716 h 4687251"/>
              <a:gd name="connsiteX17566" fmla="*/ 6218004 w 8079933"/>
              <a:gd name="connsiteY17566" fmla="*/ 1609550 h 4687251"/>
              <a:gd name="connsiteX17567" fmla="*/ 6221585 w 8079933"/>
              <a:gd name="connsiteY17567" fmla="*/ 1609659 h 4687251"/>
              <a:gd name="connsiteX17568" fmla="*/ 6224515 w 8079933"/>
              <a:gd name="connsiteY17568" fmla="*/ 1610742 h 4687251"/>
              <a:gd name="connsiteX17569" fmla="*/ 6227554 w 8079933"/>
              <a:gd name="connsiteY17569" fmla="*/ 1609767 h 4687251"/>
              <a:gd name="connsiteX17570" fmla="*/ 6227620 w 8079933"/>
              <a:gd name="connsiteY17570" fmla="*/ 1609696 h 4687251"/>
              <a:gd name="connsiteX17571" fmla="*/ 6223863 w 8079933"/>
              <a:gd name="connsiteY17571" fmla="*/ 1609984 h 4687251"/>
              <a:gd name="connsiteX17572" fmla="*/ 6220934 w 8079933"/>
              <a:gd name="connsiteY17572" fmla="*/ 1608901 h 4687251"/>
              <a:gd name="connsiteX17573" fmla="*/ 5971562 w 8079933"/>
              <a:gd name="connsiteY17573" fmla="*/ 1608901 h 4687251"/>
              <a:gd name="connsiteX17574" fmla="*/ 5967982 w 8079933"/>
              <a:gd name="connsiteY17574" fmla="*/ 1611175 h 4687251"/>
              <a:gd name="connsiteX17575" fmla="*/ 5962447 w 8079933"/>
              <a:gd name="connsiteY17575" fmla="*/ 1611175 h 4687251"/>
              <a:gd name="connsiteX17576" fmla="*/ 5958540 w 8079933"/>
              <a:gd name="connsiteY17576" fmla="*/ 1611175 h 4687251"/>
              <a:gd name="connsiteX17577" fmla="*/ 5953874 w 8079933"/>
              <a:gd name="connsiteY17577" fmla="*/ 1612366 h 4687251"/>
              <a:gd name="connsiteX17578" fmla="*/ 5945410 w 8079933"/>
              <a:gd name="connsiteY17578" fmla="*/ 1613449 h 4687251"/>
              <a:gd name="connsiteX17579" fmla="*/ 5941611 w 8079933"/>
              <a:gd name="connsiteY17579" fmla="*/ 1614965 h 4687251"/>
              <a:gd name="connsiteX17580" fmla="*/ 5939224 w 8079933"/>
              <a:gd name="connsiteY17580" fmla="*/ 1621136 h 4687251"/>
              <a:gd name="connsiteX17581" fmla="*/ 5935969 w 8079933"/>
              <a:gd name="connsiteY17581" fmla="*/ 1622868 h 4687251"/>
              <a:gd name="connsiteX17582" fmla="*/ 5928046 w 8079933"/>
              <a:gd name="connsiteY17582" fmla="*/ 1620595 h 4687251"/>
              <a:gd name="connsiteX17583" fmla="*/ 5926528 w 8079933"/>
              <a:gd name="connsiteY17583" fmla="*/ 1622652 h 4687251"/>
              <a:gd name="connsiteX17584" fmla="*/ 5926528 w 8079933"/>
              <a:gd name="connsiteY17584" fmla="*/ 1626116 h 4687251"/>
              <a:gd name="connsiteX17585" fmla="*/ 5927285 w 8079933"/>
              <a:gd name="connsiteY17585" fmla="*/ 1626651 h 4687251"/>
              <a:gd name="connsiteX17586" fmla="*/ 5927180 w 8079933"/>
              <a:gd name="connsiteY17586" fmla="*/ 1623409 h 4687251"/>
              <a:gd name="connsiteX17587" fmla="*/ 5928699 w 8079933"/>
              <a:gd name="connsiteY17587" fmla="*/ 1621352 h 4687251"/>
              <a:gd name="connsiteX17588" fmla="*/ 5936621 w 8079933"/>
              <a:gd name="connsiteY17588" fmla="*/ 1623517 h 4687251"/>
              <a:gd name="connsiteX17589" fmla="*/ 5939876 w 8079933"/>
              <a:gd name="connsiteY17589" fmla="*/ 1621785 h 4687251"/>
              <a:gd name="connsiteX17590" fmla="*/ 5942264 w 8079933"/>
              <a:gd name="connsiteY17590" fmla="*/ 1615614 h 4687251"/>
              <a:gd name="connsiteX17591" fmla="*/ 5946062 w 8079933"/>
              <a:gd name="connsiteY17591" fmla="*/ 1614098 h 4687251"/>
              <a:gd name="connsiteX17592" fmla="*/ 5954525 w 8079933"/>
              <a:gd name="connsiteY17592" fmla="*/ 1613015 h 4687251"/>
              <a:gd name="connsiteX17593" fmla="*/ 5959192 w 8079933"/>
              <a:gd name="connsiteY17593" fmla="*/ 1611824 h 4687251"/>
              <a:gd name="connsiteX17594" fmla="*/ 5963099 w 8079933"/>
              <a:gd name="connsiteY17594" fmla="*/ 1611716 h 4687251"/>
              <a:gd name="connsiteX17595" fmla="*/ 5968633 w 8079933"/>
              <a:gd name="connsiteY17595" fmla="*/ 1612040 h 4687251"/>
              <a:gd name="connsiteX17596" fmla="*/ 5972322 w 8079933"/>
              <a:gd name="connsiteY17596" fmla="*/ 1609767 h 4687251"/>
              <a:gd name="connsiteX17597" fmla="*/ 5973516 w 8079933"/>
              <a:gd name="connsiteY17597" fmla="*/ 1609983 h 4687251"/>
              <a:gd name="connsiteX17598" fmla="*/ 5974667 w 8079933"/>
              <a:gd name="connsiteY17598" fmla="*/ 1611514 h 4687251"/>
              <a:gd name="connsiteX17599" fmla="*/ 5972755 w 8079933"/>
              <a:gd name="connsiteY17599" fmla="*/ 1608901 h 4687251"/>
              <a:gd name="connsiteX17600" fmla="*/ 5246236 w 8079933"/>
              <a:gd name="connsiteY17600" fmla="*/ 1607959 h 4687251"/>
              <a:gd name="connsiteX17601" fmla="*/ 5246236 w 8079933"/>
              <a:gd name="connsiteY17601" fmla="*/ 1609551 h 4687251"/>
              <a:gd name="connsiteX17602" fmla="*/ 5249818 w 8079933"/>
              <a:gd name="connsiteY17602" fmla="*/ 1609551 h 4687251"/>
              <a:gd name="connsiteX17603" fmla="*/ 5250784 w 8079933"/>
              <a:gd name="connsiteY17603" fmla="*/ 1614020 h 4687251"/>
              <a:gd name="connsiteX17604" fmla="*/ 5250902 w 8079933"/>
              <a:gd name="connsiteY17604" fmla="*/ 1613881 h 4687251"/>
              <a:gd name="connsiteX17605" fmla="*/ 5249600 w 8079933"/>
              <a:gd name="connsiteY17605" fmla="*/ 1608468 h 4687251"/>
              <a:gd name="connsiteX17606" fmla="*/ 6848604 w 8079933"/>
              <a:gd name="connsiteY17606" fmla="*/ 1606417 h 4687251"/>
              <a:gd name="connsiteX17607" fmla="*/ 6848702 w 8079933"/>
              <a:gd name="connsiteY17607" fmla="*/ 1606842 h 4687251"/>
              <a:gd name="connsiteX17608" fmla="*/ 6849877 w 8079933"/>
              <a:gd name="connsiteY17608" fmla="*/ 1610092 h 4687251"/>
              <a:gd name="connsiteX17609" fmla="*/ 6849896 w 8079933"/>
              <a:gd name="connsiteY17609" fmla="*/ 1609984 h 4687251"/>
              <a:gd name="connsiteX17610" fmla="*/ 6244814 w 8079933"/>
              <a:gd name="connsiteY17610" fmla="*/ 1602663 h 4687251"/>
              <a:gd name="connsiteX17611" fmla="*/ 6239056 w 8079933"/>
              <a:gd name="connsiteY17611" fmla="*/ 1603055 h 4687251"/>
              <a:gd name="connsiteX17612" fmla="*/ 6238783 w 8079933"/>
              <a:gd name="connsiteY17612" fmla="*/ 1603141 h 4687251"/>
              <a:gd name="connsiteX17613" fmla="*/ 6843554 w 8079933"/>
              <a:gd name="connsiteY17613" fmla="*/ 1601863 h 4687251"/>
              <a:gd name="connsiteX17614" fmla="*/ 6843710 w 8079933"/>
              <a:gd name="connsiteY17614" fmla="*/ 1602836 h 4687251"/>
              <a:gd name="connsiteX17615" fmla="*/ 6847683 w 8079933"/>
              <a:gd name="connsiteY17615" fmla="*/ 1602622 h 4687251"/>
              <a:gd name="connsiteX17616" fmla="*/ 6847508 w 8079933"/>
              <a:gd name="connsiteY17616" fmla="*/ 1601863 h 4687251"/>
              <a:gd name="connsiteX17617" fmla="*/ 6287211 w 8079933"/>
              <a:gd name="connsiteY17617" fmla="*/ 1601430 h 4687251"/>
              <a:gd name="connsiteX17618" fmla="*/ 6291687 w 8079933"/>
              <a:gd name="connsiteY17618" fmla="*/ 1607926 h 4687251"/>
              <a:gd name="connsiteX17619" fmla="*/ 6292115 w 8079933"/>
              <a:gd name="connsiteY17619" fmla="*/ 1608091 h 4687251"/>
              <a:gd name="connsiteX17620" fmla="*/ 6287454 w 8079933"/>
              <a:gd name="connsiteY17620" fmla="*/ 1601430 h 4687251"/>
              <a:gd name="connsiteX17621" fmla="*/ 6178843 w 8079933"/>
              <a:gd name="connsiteY17621" fmla="*/ 1600023 h 4687251"/>
              <a:gd name="connsiteX17622" fmla="*/ 6181204 w 8079933"/>
              <a:gd name="connsiteY17622" fmla="*/ 1600110 h 4687251"/>
              <a:gd name="connsiteX17623" fmla="*/ 6181108 w 8079933"/>
              <a:gd name="connsiteY17623" fmla="*/ 1600023 h 4687251"/>
              <a:gd name="connsiteX17624" fmla="*/ 4434843 w 8079933"/>
              <a:gd name="connsiteY17624" fmla="*/ 1598808 h 4687251"/>
              <a:gd name="connsiteX17625" fmla="*/ 4434858 w 8079933"/>
              <a:gd name="connsiteY17625" fmla="*/ 1598831 h 4687251"/>
              <a:gd name="connsiteX17626" fmla="*/ 4438438 w 8079933"/>
              <a:gd name="connsiteY17626" fmla="*/ 1609767 h 4687251"/>
              <a:gd name="connsiteX17627" fmla="*/ 4441694 w 8079933"/>
              <a:gd name="connsiteY17627" fmla="*/ 1614747 h 4687251"/>
              <a:gd name="connsiteX17628" fmla="*/ 4442779 w 8079933"/>
              <a:gd name="connsiteY17628" fmla="*/ 1620594 h 4687251"/>
              <a:gd name="connsiteX17629" fmla="*/ 4445492 w 8079933"/>
              <a:gd name="connsiteY17629" fmla="*/ 1623084 h 4687251"/>
              <a:gd name="connsiteX17630" fmla="*/ 4445709 w 8079933"/>
              <a:gd name="connsiteY17630" fmla="*/ 1638025 h 4687251"/>
              <a:gd name="connsiteX17631" fmla="*/ 4445710 w 8079933"/>
              <a:gd name="connsiteY17631" fmla="*/ 1638024 h 4687251"/>
              <a:gd name="connsiteX17632" fmla="*/ 4445493 w 8079933"/>
              <a:gd name="connsiteY17632" fmla="*/ 1623083 h 4687251"/>
              <a:gd name="connsiteX17633" fmla="*/ 4442780 w 8079933"/>
              <a:gd name="connsiteY17633" fmla="*/ 1620593 h 4687251"/>
              <a:gd name="connsiteX17634" fmla="*/ 4441695 w 8079933"/>
              <a:gd name="connsiteY17634" fmla="*/ 1614747 h 4687251"/>
              <a:gd name="connsiteX17635" fmla="*/ 4438440 w 8079933"/>
              <a:gd name="connsiteY17635" fmla="*/ 1609766 h 4687251"/>
              <a:gd name="connsiteX17636" fmla="*/ 4434858 w 8079933"/>
              <a:gd name="connsiteY17636" fmla="*/ 1598831 h 4687251"/>
              <a:gd name="connsiteX17637" fmla="*/ 7349072 w 8079933"/>
              <a:gd name="connsiteY17637" fmla="*/ 1598290 h 4687251"/>
              <a:gd name="connsiteX17638" fmla="*/ 7350700 w 8079933"/>
              <a:gd name="connsiteY17638" fmla="*/ 1598615 h 4687251"/>
              <a:gd name="connsiteX17639" fmla="*/ 7350049 w 8079933"/>
              <a:gd name="connsiteY17639" fmla="*/ 1606410 h 4687251"/>
              <a:gd name="connsiteX17640" fmla="*/ 7348205 w 8079933"/>
              <a:gd name="connsiteY17640" fmla="*/ 1609008 h 4687251"/>
              <a:gd name="connsiteX17641" fmla="*/ 7346577 w 8079933"/>
              <a:gd name="connsiteY17641" fmla="*/ 1608467 h 4687251"/>
              <a:gd name="connsiteX17642" fmla="*/ 7348639 w 8079933"/>
              <a:gd name="connsiteY17642" fmla="*/ 1602296 h 4687251"/>
              <a:gd name="connsiteX17643" fmla="*/ 6265642 w 8079933"/>
              <a:gd name="connsiteY17643" fmla="*/ 1597749 h 4687251"/>
              <a:gd name="connsiteX17644" fmla="*/ 6265552 w 8079933"/>
              <a:gd name="connsiteY17644" fmla="*/ 1597776 h 4687251"/>
              <a:gd name="connsiteX17645" fmla="*/ 6269408 w 8079933"/>
              <a:gd name="connsiteY17645" fmla="*/ 1599853 h 4687251"/>
              <a:gd name="connsiteX17646" fmla="*/ 6843494 w 8079933"/>
              <a:gd name="connsiteY17646" fmla="*/ 1596403 h 4687251"/>
              <a:gd name="connsiteX17647" fmla="*/ 6843168 w 8079933"/>
              <a:gd name="connsiteY17647" fmla="*/ 1596882 h 4687251"/>
              <a:gd name="connsiteX17648" fmla="*/ 6843276 w 8079933"/>
              <a:gd name="connsiteY17648" fmla="*/ 1600130 h 4687251"/>
              <a:gd name="connsiteX17649" fmla="*/ 6843494 w 8079933"/>
              <a:gd name="connsiteY17649" fmla="*/ 1601490 h 4687251"/>
              <a:gd name="connsiteX17650" fmla="*/ 6843494 w 8079933"/>
              <a:gd name="connsiteY17650" fmla="*/ 1599157 h 4687251"/>
              <a:gd name="connsiteX17651" fmla="*/ 4438981 w 8079933"/>
              <a:gd name="connsiteY17651" fmla="*/ 1593310 h 4687251"/>
              <a:gd name="connsiteX17652" fmla="*/ 4438981 w 8079933"/>
              <a:gd name="connsiteY17652" fmla="*/ 1593310 h 4687251"/>
              <a:gd name="connsiteX17653" fmla="*/ 4437555 w 8079933"/>
              <a:gd name="connsiteY17653" fmla="*/ 1594298 h 4687251"/>
              <a:gd name="connsiteX17654" fmla="*/ 2221443 w 8079933"/>
              <a:gd name="connsiteY17654" fmla="*/ 1592552 h 4687251"/>
              <a:gd name="connsiteX17655" fmla="*/ 2222637 w 8079933"/>
              <a:gd name="connsiteY17655" fmla="*/ 1596342 h 4687251"/>
              <a:gd name="connsiteX17656" fmla="*/ 2217320 w 8079933"/>
              <a:gd name="connsiteY17656" fmla="*/ 1599265 h 4687251"/>
              <a:gd name="connsiteX17657" fmla="*/ 2214715 w 8079933"/>
              <a:gd name="connsiteY17657" fmla="*/ 1598507 h 4687251"/>
              <a:gd name="connsiteX17658" fmla="*/ 2216343 w 8079933"/>
              <a:gd name="connsiteY17658" fmla="*/ 1594717 h 4687251"/>
              <a:gd name="connsiteX17659" fmla="*/ 2219815 w 8079933"/>
              <a:gd name="connsiteY17659" fmla="*/ 1593960 h 4687251"/>
              <a:gd name="connsiteX17660" fmla="*/ 6845555 w 8079933"/>
              <a:gd name="connsiteY17660" fmla="*/ 1592030 h 4687251"/>
              <a:gd name="connsiteX17661" fmla="*/ 6845326 w 8079933"/>
              <a:gd name="connsiteY17661" fmla="*/ 1593311 h 4687251"/>
              <a:gd name="connsiteX17662" fmla="*/ 6845555 w 8079933"/>
              <a:gd name="connsiteY17662" fmla="*/ 1592985 h 4687251"/>
              <a:gd name="connsiteX17663" fmla="*/ 6516571 w 8079933"/>
              <a:gd name="connsiteY17663" fmla="*/ 1591722 h 4687251"/>
              <a:gd name="connsiteX17664" fmla="*/ 6516967 w 8079933"/>
              <a:gd name="connsiteY17664" fmla="*/ 1592119 h 4687251"/>
              <a:gd name="connsiteX17665" fmla="*/ 6516967 w 8079933"/>
              <a:gd name="connsiteY17665" fmla="*/ 1592118 h 4687251"/>
              <a:gd name="connsiteX17666" fmla="*/ 4460032 w 8079933"/>
              <a:gd name="connsiteY17666" fmla="*/ 1590603 h 4687251"/>
              <a:gd name="connsiteX17667" fmla="*/ 4454420 w 8079933"/>
              <a:gd name="connsiteY17667" fmla="*/ 1593354 h 4687251"/>
              <a:gd name="connsiteX17668" fmla="*/ 4460033 w 8079933"/>
              <a:gd name="connsiteY17668" fmla="*/ 1590603 h 4687251"/>
              <a:gd name="connsiteX17669" fmla="*/ 6514391 w 8079933"/>
              <a:gd name="connsiteY17669" fmla="*/ 1589335 h 4687251"/>
              <a:gd name="connsiteX17670" fmla="*/ 6516533 w 8079933"/>
              <a:gd name="connsiteY17670" fmla="*/ 1591685 h 4687251"/>
              <a:gd name="connsiteX17671" fmla="*/ 6516618 w 8079933"/>
              <a:gd name="connsiteY17671" fmla="*/ 1591661 h 4687251"/>
              <a:gd name="connsiteX17672" fmla="*/ 7353087 w 8079933"/>
              <a:gd name="connsiteY17672" fmla="*/ 1587788 h 4687251"/>
              <a:gd name="connsiteX17673" fmla="*/ 7355475 w 8079933"/>
              <a:gd name="connsiteY17673" fmla="*/ 1588763 h 4687251"/>
              <a:gd name="connsiteX17674" fmla="*/ 7354824 w 8079933"/>
              <a:gd name="connsiteY17674" fmla="*/ 1591253 h 4687251"/>
              <a:gd name="connsiteX17675" fmla="*/ 7352654 w 8079933"/>
              <a:gd name="connsiteY17675" fmla="*/ 1590603 h 4687251"/>
              <a:gd name="connsiteX17676" fmla="*/ 7352111 w 8079933"/>
              <a:gd name="connsiteY17676" fmla="*/ 1588871 h 4687251"/>
              <a:gd name="connsiteX17677" fmla="*/ 4610075 w 8079933"/>
              <a:gd name="connsiteY17677" fmla="*/ 1586667 h 4687251"/>
              <a:gd name="connsiteX17678" fmla="*/ 4610113 w 8079933"/>
              <a:gd name="connsiteY17678" fmla="*/ 1586813 h 4687251"/>
              <a:gd name="connsiteX17679" fmla="*/ 4615833 w 8079933"/>
              <a:gd name="connsiteY17679" fmla="*/ 1588278 h 4687251"/>
              <a:gd name="connsiteX17680" fmla="*/ 4615646 w 8079933"/>
              <a:gd name="connsiteY17680" fmla="*/ 1588114 h 4687251"/>
              <a:gd name="connsiteX17681" fmla="*/ 5273149 w 8079933"/>
              <a:gd name="connsiteY17681" fmla="*/ 1583607 h 4687251"/>
              <a:gd name="connsiteX17682" fmla="*/ 5273149 w 8079933"/>
              <a:gd name="connsiteY17682" fmla="*/ 1588005 h 4687251"/>
              <a:gd name="connsiteX17683" fmla="*/ 5272716 w 8079933"/>
              <a:gd name="connsiteY17683" fmla="*/ 1588827 h 4687251"/>
              <a:gd name="connsiteX17684" fmla="*/ 5273257 w 8079933"/>
              <a:gd name="connsiteY17684" fmla="*/ 1588438 h 4687251"/>
              <a:gd name="connsiteX17685" fmla="*/ 5273365 w 8079933"/>
              <a:gd name="connsiteY17685" fmla="*/ 1583673 h 4687251"/>
              <a:gd name="connsiteX17686" fmla="*/ 4461769 w 8079933"/>
              <a:gd name="connsiteY17686" fmla="*/ 1583349 h 4687251"/>
              <a:gd name="connsiteX17687" fmla="*/ 4464156 w 8079933"/>
              <a:gd name="connsiteY17687" fmla="*/ 1590278 h 4687251"/>
              <a:gd name="connsiteX17688" fmla="*/ 4464158 w 8079933"/>
              <a:gd name="connsiteY17688" fmla="*/ 1590277 h 4687251"/>
              <a:gd name="connsiteX17689" fmla="*/ 4461771 w 8079933"/>
              <a:gd name="connsiteY17689" fmla="*/ 1583349 h 4687251"/>
              <a:gd name="connsiteX17690" fmla="*/ 3844636 w 8079933"/>
              <a:gd name="connsiteY17690" fmla="*/ 1583133 h 4687251"/>
              <a:gd name="connsiteX17691" fmla="*/ 3843768 w 8079933"/>
              <a:gd name="connsiteY17691" fmla="*/ 1587139 h 4687251"/>
              <a:gd name="connsiteX17692" fmla="*/ 3844636 w 8079933"/>
              <a:gd name="connsiteY17692" fmla="*/ 1589629 h 4687251"/>
              <a:gd name="connsiteX17693" fmla="*/ 3838993 w 8079933"/>
              <a:gd name="connsiteY17693" fmla="*/ 1595367 h 4687251"/>
              <a:gd name="connsiteX17694" fmla="*/ 3834978 w 8079933"/>
              <a:gd name="connsiteY17694" fmla="*/ 1596017 h 4687251"/>
              <a:gd name="connsiteX17695" fmla="*/ 3836823 w 8079933"/>
              <a:gd name="connsiteY17695" fmla="*/ 1589845 h 4687251"/>
              <a:gd name="connsiteX17696" fmla="*/ 7356452 w 8079933"/>
              <a:gd name="connsiteY17696" fmla="*/ 1580642 h 4687251"/>
              <a:gd name="connsiteX17697" fmla="*/ 7358948 w 8079933"/>
              <a:gd name="connsiteY17697" fmla="*/ 1580750 h 4687251"/>
              <a:gd name="connsiteX17698" fmla="*/ 7357320 w 8079933"/>
              <a:gd name="connsiteY17698" fmla="*/ 1583565 h 4687251"/>
              <a:gd name="connsiteX17699" fmla="*/ 1191946 w 8079933"/>
              <a:gd name="connsiteY17699" fmla="*/ 1579775 h 4687251"/>
              <a:gd name="connsiteX17700" fmla="*/ 1197047 w 8079933"/>
              <a:gd name="connsiteY17700" fmla="*/ 1583781 h 4687251"/>
              <a:gd name="connsiteX17701" fmla="*/ 1201387 w 8079933"/>
              <a:gd name="connsiteY17701" fmla="*/ 1589952 h 4687251"/>
              <a:gd name="connsiteX17702" fmla="*/ 1199977 w 8079933"/>
              <a:gd name="connsiteY17702" fmla="*/ 1592334 h 4687251"/>
              <a:gd name="connsiteX17703" fmla="*/ 1193139 w 8079933"/>
              <a:gd name="connsiteY17703" fmla="*/ 1586163 h 4687251"/>
              <a:gd name="connsiteX17704" fmla="*/ 4471102 w 8079933"/>
              <a:gd name="connsiteY17704" fmla="*/ 1576745 h 4687251"/>
              <a:gd name="connsiteX17705" fmla="*/ 4471101 w 8079933"/>
              <a:gd name="connsiteY17705" fmla="*/ 1576745 h 4687251"/>
              <a:gd name="connsiteX17706" fmla="*/ 4468714 w 8079933"/>
              <a:gd name="connsiteY17706" fmla="*/ 1583024 h 4687251"/>
              <a:gd name="connsiteX17707" fmla="*/ 4468715 w 8079933"/>
              <a:gd name="connsiteY17707" fmla="*/ 1583024 h 4687251"/>
              <a:gd name="connsiteX17708" fmla="*/ 5246996 w 8079933"/>
              <a:gd name="connsiteY17708" fmla="*/ 1576183 h 4687251"/>
              <a:gd name="connsiteX17709" fmla="*/ 5246996 w 8079933"/>
              <a:gd name="connsiteY17709" fmla="*/ 1578261 h 4687251"/>
              <a:gd name="connsiteX17710" fmla="*/ 5247355 w 8079933"/>
              <a:gd name="connsiteY17710" fmla="*/ 1578261 h 4687251"/>
              <a:gd name="connsiteX17711" fmla="*/ 6569970 w 8079933"/>
              <a:gd name="connsiteY17711" fmla="*/ 1575832 h 4687251"/>
              <a:gd name="connsiteX17712" fmla="*/ 6566342 w 8079933"/>
              <a:gd name="connsiteY17712" fmla="*/ 1579451 h 4687251"/>
              <a:gd name="connsiteX17713" fmla="*/ 6557769 w 8079933"/>
              <a:gd name="connsiteY17713" fmla="*/ 1580967 h 4687251"/>
              <a:gd name="connsiteX17714" fmla="*/ 6552343 w 8079933"/>
              <a:gd name="connsiteY17714" fmla="*/ 1584757 h 4687251"/>
              <a:gd name="connsiteX17715" fmla="*/ 6540949 w 8079933"/>
              <a:gd name="connsiteY17715" fmla="*/ 1595585 h 4687251"/>
              <a:gd name="connsiteX17716" fmla="*/ 6538236 w 8079933"/>
              <a:gd name="connsiteY17716" fmla="*/ 1595585 h 4687251"/>
              <a:gd name="connsiteX17717" fmla="*/ 6534763 w 8079933"/>
              <a:gd name="connsiteY17717" fmla="*/ 1592661 h 4687251"/>
              <a:gd name="connsiteX17718" fmla="*/ 6527818 w 8079933"/>
              <a:gd name="connsiteY17718" fmla="*/ 1591686 h 4687251"/>
              <a:gd name="connsiteX17719" fmla="*/ 6523477 w 8079933"/>
              <a:gd name="connsiteY17719" fmla="*/ 1592444 h 4687251"/>
              <a:gd name="connsiteX17720" fmla="*/ 6522718 w 8079933"/>
              <a:gd name="connsiteY17720" fmla="*/ 1590820 h 4687251"/>
              <a:gd name="connsiteX17721" fmla="*/ 6519355 w 8079933"/>
              <a:gd name="connsiteY17721" fmla="*/ 1590820 h 4687251"/>
              <a:gd name="connsiteX17722" fmla="*/ 6517435 w 8079933"/>
              <a:gd name="connsiteY17722" fmla="*/ 1591433 h 4687251"/>
              <a:gd name="connsiteX17723" fmla="*/ 6519246 w 8079933"/>
              <a:gd name="connsiteY17723" fmla="*/ 1590927 h 4687251"/>
              <a:gd name="connsiteX17724" fmla="*/ 6522610 w 8079933"/>
              <a:gd name="connsiteY17724" fmla="*/ 1591360 h 4687251"/>
              <a:gd name="connsiteX17725" fmla="*/ 6523369 w 8079933"/>
              <a:gd name="connsiteY17725" fmla="*/ 1592984 h 4687251"/>
              <a:gd name="connsiteX17726" fmla="*/ 6527709 w 8079933"/>
              <a:gd name="connsiteY17726" fmla="*/ 1592226 h 4687251"/>
              <a:gd name="connsiteX17727" fmla="*/ 6534764 w 8079933"/>
              <a:gd name="connsiteY17727" fmla="*/ 1593201 h 4687251"/>
              <a:gd name="connsiteX17728" fmla="*/ 6538127 w 8079933"/>
              <a:gd name="connsiteY17728" fmla="*/ 1596124 h 4687251"/>
              <a:gd name="connsiteX17729" fmla="*/ 6540840 w 8079933"/>
              <a:gd name="connsiteY17729" fmla="*/ 1595691 h 4687251"/>
              <a:gd name="connsiteX17730" fmla="*/ 6552234 w 8079933"/>
              <a:gd name="connsiteY17730" fmla="*/ 1584864 h 4687251"/>
              <a:gd name="connsiteX17731" fmla="*/ 6557660 w 8079933"/>
              <a:gd name="connsiteY17731" fmla="*/ 1581074 h 4687251"/>
              <a:gd name="connsiteX17732" fmla="*/ 6566234 w 8079933"/>
              <a:gd name="connsiteY17732" fmla="*/ 1579667 h 4687251"/>
              <a:gd name="connsiteX17733" fmla="*/ 6569923 w 8079933"/>
              <a:gd name="connsiteY17733" fmla="*/ 1575985 h 4687251"/>
              <a:gd name="connsiteX17734" fmla="*/ 4212941 w 8079933"/>
              <a:gd name="connsiteY17734" fmla="*/ 1573929 h 4687251"/>
              <a:gd name="connsiteX17735" fmla="*/ 4214569 w 8079933"/>
              <a:gd name="connsiteY17735" fmla="*/ 1574795 h 4687251"/>
              <a:gd name="connsiteX17736" fmla="*/ 4216196 w 8079933"/>
              <a:gd name="connsiteY17736" fmla="*/ 1573929 h 4687251"/>
              <a:gd name="connsiteX17737" fmla="*/ 4219669 w 8079933"/>
              <a:gd name="connsiteY17737" fmla="*/ 1574687 h 4687251"/>
              <a:gd name="connsiteX17738" fmla="*/ 4218692 w 8079933"/>
              <a:gd name="connsiteY17738" fmla="*/ 1578585 h 4687251"/>
              <a:gd name="connsiteX17739" fmla="*/ 4220754 w 8079933"/>
              <a:gd name="connsiteY17739" fmla="*/ 1582266 h 4687251"/>
              <a:gd name="connsiteX17740" fmla="*/ 4220428 w 8079933"/>
              <a:gd name="connsiteY17740" fmla="*/ 1584432 h 4687251"/>
              <a:gd name="connsiteX17741" fmla="*/ 4217498 w 8079933"/>
              <a:gd name="connsiteY17741" fmla="*/ 1583566 h 4687251"/>
              <a:gd name="connsiteX17742" fmla="*/ 4214460 w 8079933"/>
              <a:gd name="connsiteY17742" fmla="*/ 1587789 h 4687251"/>
              <a:gd name="connsiteX17743" fmla="*/ 4209577 w 8079933"/>
              <a:gd name="connsiteY17743" fmla="*/ 1586164 h 4687251"/>
              <a:gd name="connsiteX17744" fmla="*/ 4208275 w 8079933"/>
              <a:gd name="connsiteY17744" fmla="*/ 1584432 h 4687251"/>
              <a:gd name="connsiteX17745" fmla="*/ 4209360 w 8079933"/>
              <a:gd name="connsiteY17745" fmla="*/ 1581076 h 4687251"/>
              <a:gd name="connsiteX17746" fmla="*/ 4212290 w 8079933"/>
              <a:gd name="connsiteY17746" fmla="*/ 1579343 h 4687251"/>
              <a:gd name="connsiteX17747" fmla="*/ 4213267 w 8079933"/>
              <a:gd name="connsiteY17747" fmla="*/ 1578043 h 4687251"/>
              <a:gd name="connsiteX17748" fmla="*/ 4209577 w 8079933"/>
              <a:gd name="connsiteY17748" fmla="*/ 1577719 h 4687251"/>
              <a:gd name="connsiteX17749" fmla="*/ 4209360 w 8079933"/>
              <a:gd name="connsiteY17749" fmla="*/ 1574795 h 4687251"/>
              <a:gd name="connsiteX17750" fmla="*/ 5249058 w 8079933"/>
              <a:gd name="connsiteY17750" fmla="*/ 1573281 h 4687251"/>
              <a:gd name="connsiteX17751" fmla="*/ 5246996 w 8079933"/>
              <a:gd name="connsiteY17751" fmla="*/ 1575121 h 4687251"/>
              <a:gd name="connsiteX17752" fmla="*/ 5246996 w 8079933"/>
              <a:gd name="connsiteY17752" fmla="*/ 1575456 h 4687251"/>
              <a:gd name="connsiteX17753" fmla="*/ 5248949 w 8079933"/>
              <a:gd name="connsiteY17753" fmla="*/ 1573713 h 4687251"/>
              <a:gd name="connsiteX17754" fmla="*/ 5255352 w 8079933"/>
              <a:gd name="connsiteY17754" fmla="*/ 1573496 h 4687251"/>
              <a:gd name="connsiteX17755" fmla="*/ 5255271 w 8079933"/>
              <a:gd name="connsiteY17755" fmla="*/ 1573281 h 4687251"/>
              <a:gd name="connsiteX17756" fmla="*/ 7358080 w 8079933"/>
              <a:gd name="connsiteY17756" fmla="*/ 1570789 h 4687251"/>
              <a:gd name="connsiteX17757" fmla="*/ 7359057 w 8079933"/>
              <a:gd name="connsiteY17757" fmla="*/ 1573387 h 4687251"/>
              <a:gd name="connsiteX17758" fmla="*/ 7357755 w 8079933"/>
              <a:gd name="connsiteY17758" fmla="*/ 1576961 h 4687251"/>
              <a:gd name="connsiteX17759" fmla="*/ 7356452 w 8079933"/>
              <a:gd name="connsiteY17759" fmla="*/ 1573063 h 4687251"/>
              <a:gd name="connsiteX17760" fmla="*/ 6148736 w 8079933"/>
              <a:gd name="connsiteY17760" fmla="*/ 1569645 h 4687251"/>
              <a:gd name="connsiteX17761" fmla="*/ 6149313 w 8079933"/>
              <a:gd name="connsiteY17761" fmla="*/ 1569924 h 4687251"/>
              <a:gd name="connsiteX17762" fmla="*/ 6153437 w 8079933"/>
              <a:gd name="connsiteY17762" fmla="*/ 1570573 h 4687251"/>
              <a:gd name="connsiteX17763" fmla="*/ 6162723 w 8079933"/>
              <a:gd name="connsiteY17763" fmla="*/ 1570274 h 4687251"/>
              <a:gd name="connsiteX17764" fmla="*/ 6162659 w 8079933"/>
              <a:gd name="connsiteY17764" fmla="*/ 1570249 h 4687251"/>
              <a:gd name="connsiteX17765" fmla="*/ 6152568 w 8079933"/>
              <a:gd name="connsiteY17765" fmla="*/ 1570249 h 4687251"/>
              <a:gd name="connsiteX17766" fmla="*/ 6782339 w 8079933"/>
              <a:gd name="connsiteY17766" fmla="*/ 1568639 h 4687251"/>
              <a:gd name="connsiteX17767" fmla="*/ 6781964 w 8079933"/>
              <a:gd name="connsiteY17767" fmla="*/ 1569056 h 4687251"/>
              <a:gd name="connsiteX17768" fmla="*/ 6783483 w 8079933"/>
              <a:gd name="connsiteY17768" fmla="*/ 1570463 h 4687251"/>
              <a:gd name="connsiteX17769" fmla="*/ 6788800 w 8079933"/>
              <a:gd name="connsiteY17769" fmla="*/ 1570897 h 4687251"/>
              <a:gd name="connsiteX17770" fmla="*/ 6791188 w 8079933"/>
              <a:gd name="connsiteY17770" fmla="*/ 1572196 h 4687251"/>
              <a:gd name="connsiteX17771" fmla="*/ 6792816 w 8079933"/>
              <a:gd name="connsiteY17771" fmla="*/ 1574036 h 4687251"/>
              <a:gd name="connsiteX17772" fmla="*/ 6795746 w 8079933"/>
              <a:gd name="connsiteY17772" fmla="*/ 1575985 h 4687251"/>
              <a:gd name="connsiteX17773" fmla="*/ 6796397 w 8079933"/>
              <a:gd name="connsiteY17773" fmla="*/ 1574036 h 4687251"/>
              <a:gd name="connsiteX17774" fmla="*/ 6798784 w 8079933"/>
              <a:gd name="connsiteY17774" fmla="*/ 1573062 h 4687251"/>
              <a:gd name="connsiteX17775" fmla="*/ 6801280 w 8079933"/>
              <a:gd name="connsiteY17775" fmla="*/ 1573820 h 4687251"/>
              <a:gd name="connsiteX17776" fmla="*/ 6802257 w 8079933"/>
              <a:gd name="connsiteY17776" fmla="*/ 1570897 h 4687251"/>
              <a:gd name="connsiteX17777" fmla="*/ 6804644 w 8079933"/>
              <a:gd name="connsiteY17777" fmla="*/ 1570572 h 4687251"/>
              <a:gd name="connsiteX17778" fmla="*/ 6806489 w 8079933"/>
              <a:gd name="connsiteY17778" fmla="*/ 1572304 h 4687251"/>
              <a:gd name="connsiteX17779" fmla="*/ 6807466 w 8079933"/>
              <a:gd name="connsiteY17779" fmla="*/ 1575011 h 4687251"/>
              <a:gd name="connsiteX17780" fmla="*/ 6809853 w 8079933"/>
              <a:gd name="connsiteY17780" fmla="*/ 1577826 h 4687251"/>
              <a:gd name="connsiteX17781" fmla="*/ 6812458 w 8079933"/>
              <a:gd name="connsiteY17781" fmla="*/ 1578151 h 4687251"/>
              <a:gd name="connsiteX17782" fmla="*/ 6813217 w 8079933"/>
              <a:gd name="connsiteY17782" fmla="*/ 1580533 h 4687251"/>
              <a:gd name="connsiteX17783" fmla="*/ 6815714 w 8079933"/>
              <a:gd name="connsiteY17783" fmla="*/ 1582590 h 4687251"/>
              <a:gd name="connsiteX17784" fmla="*/ 6817015 w 8079933"/>
              <a:gd name="connsiteY17784" fmla="*/ 1582481 h 4687251"/>
              <a:gd name="connsiteX17785" fmla="*/ 6819185 w 8079933"/>
              <a:gd name="connsiteY17785" fmla="*/ 1584755 h 4687251"/>
              <a:gd name="connsiteX17786" fmla="*/ 6819728 w 8079933"/>
              <a:gd name="connsiteY17786" fmla="*/ 1587029 h 4687251"/>
              <a:gd name="connsiteX17787" fmla="*/ 6824937 w 8079933"/>
              <a:gd name="connsiteY17787" fmla="*/ 1589411 h 4687251"/>
              <a:gd name="connsiteX17788" fmla="*/ 6826130 w 8079933"/>
              <a:gd name="connsiteY17788" fmla="*/ 1590494 h 4687251"/>
              <a:gd name="connsiteX17789" fmla="*/ 6828409 w 8079933"/>
              <a:gd name="connsiteY17789" fmla="*/ 1590818 h 4687251"/>
              <a:gd name="connsiteX17790" fmla="*/ 6830905 w 8079933"/>
              <a:gd name="connsiteY17790" fmla="*/ 1592659 h 4687251"/>
              <a:gd name="connsiteX17791" fmla="*/ 6834161 w 8079933"/>
              <a:gd name="connsiteY17791" fmla="*/ 1593309 h 4687251"/>
              <a:gd name="connsiteX17792" fmla="*/ 6836657 w 8079933"/>
              <a:gd name="connsiteY17792" fmla="*/ 1592551 h 4687251"/>
              <a:gd name="connsiteX17793" fmla="*/ 6839478 w 8079933"/>
              <a:gd name="connsiteY17793" fmla="*/ 1592226 h 4687251"/>
              <a:gd name="connsiteX17794" fmla="*/ 6841974 w 8079933"/>
              <a:gd name="connsiteY17794" fmla="*/ 1590385 h 4687251"/>
              <a:gd name="connsiteX17795" fmla="*/ 6843927 w 8079933"/>
              <a:gd name="connsiteY17795" fmla="*/ 1589952 h 4687251"/>
              <a:gd name="connsiteX17796" fmla="*/ 6845555 w 8079933"/>
              <a:gd name="connsiteY17796" fmla="*/ 1590716 h 4687251"/>
              <a:gd name="connsiteX17797" fmla="*/ 6845555 w 8079933"/>
              <a:gd name="connsiteY17797" fmla="*/ 1589846 h 4687251"/>
              <a:gd name="connsiteX17798" fmla="*/ 6843710 w 8079933"/>
              <a:gd name="connsiteY17798" fmla="*/ 1588979 h 4687251"/>
              <a:gd name="connsiteX17799" fmla="*/ 6841865 w 8079933"/>
              <a:gd name="connsiteY17799" fmla="*/ 1588979 h 4687251"/>
              <a:gd name="connsiteX17800" fmla="*/ 6839370 w 8079933"/>
              <a:gd name="connsiteY17800" fmla="*/ 1590820 h 4687251"/>
              <a:gd name="connsiteX17801" fmla="*/ 6836548 w 8079933"/>
              <a:gd name="connsiteY17801" fmla="*/ 1590820 h 4687251"/>
              <a:gd name="connsiteX17802" fmla="*/ 6834053 w 8079933"/>
              <a:gd name="connsiteY17802" fmla="*/ 1591578 h 4687251"/>
              <a:gd name="connsiteX17803" fmla="*/ 6830796 w 8079933"/>
              <a:gd name="connsiteY17803" fmla="*/ 1590928 h 4687251"/>
              <a:gd name="connsiteX17804" fmla="*/ 6828410 w 8079933"/>
              <a:gd name="connsiteY17804" fmla="*/ 1588979 h 4687251"/>
              <a:gd name="connsiteX17805" fmla="*/ 6826130 w 8079933"/>
              <a:gd name="connsiteY17805" fmla="*/ 1588979 h 4687251"/>
              <a:gd name="connsiteX17806" fmla="*/ 6824937 w 8079933"/>
              <a:gd name="connsiteY17806" fmla="*/ 1587896 h 4687251"/>
              <a:gd name="connsiteX17807" fmla="*/ 6819728 w 8079933"/>
              <a:gd name="connsiteY17807" fmla="*/ 1585623 h 4687251"/>
              <a:gd name="connsiteX17808" fmla="*/ 6819077 w 8079933"/>
              <a:gd name="connsiteY17808" fmla="*/ 1583349 h 4687251"/>
              <a:gd name="connsiteX17809" fmla="*/ 6816907 w 8079933"/>
              <a:gd name="connsiteY17809" fmla="*/ 1581076 h 4687251"/>
              <a:gd name="connsiteX17810" fmla="*/ 6815604 w 8079933"/>
              <a:gd name="connsiteY17810" fmla="*/ 1581076 h 4687251"/>
              <a:gd name="connsiteX17811" fmla="*/ 6813108 w 8079933"/>
              <a:gd name="connsiteY17811" fmla="*/ 1579018 h 4687251"/>
              <a:gd name="connsiteX17812" fmla="*/ 6812349 w 8079933"/>
              <a:gd name="connsiteY17812" fmla="*/ 1576745 h 4687251"/>
              <a:gd name="connsiteX17813" fmla="*/ 6809744 w 8079933"/>
              <a:gd name="connsiteY17813" fmla="*/ 1576745 h 4687251"/>
              <a:gd name="connsiteX17814" fmla="*/ 6807248 w 8079933"/>
              <a:gd name="connsiteY17814" fmla="*/ 1573930 h 4687251"/>
              <a:gd name="connsiteX17815" fmla="*/ 6806272 w 8079933"/>
              <a:gd name="connsiteY17815" fmla="*/ 1571224 h 4687251"/>
              <a:gd name="connsiteX17816" fmla="*/ 6804428 w 8079933"/>
              <a:gd name="connsiteY17816" fmla="*/ 1569491 h 4687251"/>
              <a:gd name="connsiteX17817" fmla="*/ 6802040 w 8079933"/>
              <a:gd name="connsiteY17817" fmla="*/ 1569491 h 4687251"/>
              <a:gd name="connsiteX17818" fmla="*/ 6801063 w 8079933"/>
              <a:gd name="connsiteY17818" fmla="*/ 1572306 h 4687251"/>
              <a:gd name="connsiteX17819" fmla="*/ 6798567 w 8079933"/>
              <a:gd name="connsiteY17819" fmla="*/ 1571656 h 4687251"/>
              <a:gd name="connsiteX17820" fmla="*/ 6796180 w 8079933"/>
              <a:gd name="connsiteY17820" fmla="*/ 1572631 h 4687251"/>
              <a:gd name="connsiteX17821" fmla="*/ 6795529 w 8079933"/>
              <a:gd name="connsiteY17821" fmla="*/ 1574471 h 4687251"/>
              <a:gd name="connsiteX17822" fmla="*/ 6792599 w 8079933"/>
              <a:gd name="connsiteY17822" fmla="*/ 1572631 h 4687251"/>
              <a:gd name="connsiteX17823" fmla="*/ 6791080 w 8079933"/>
              <a:gd name="connsiteY17823" fmla="*/ 1570790 h 4687251"/>
              <a:gd name="connsiteX17824" fmla="*/ 6788692 w 8079933"/>
              <a:gd name="connsiteY17824" fmla="*/ 1569599 h 4687251"/>
              <a:gd name="connsiteX17825" fmla="*/ 6783375 w 8079933"/>
              <a:gd name="connsiteY17825" fmla="*/ 1569599 h 4687251"/>
              <a:gd name="connsiteX17826" fmla="*/ 4131652 w 8079933"/>
              <a:gd name="connsiteY17826" fmla="*/ 1568558 h 4687251"/>
              <a:gd name="connsiteX17827" fmla="*/ 4129817 w 8079933"/>
              <a:gd name="connsiteY17827" fmla="*/ 1568840 h 4687251"/>
              <a:gd name="connsiteX17828" fmla="*/ 4129818 w 8079933"/>
              <a:gd name="connsiteY17828" fmla="*/ 1568840 h 4687251"/>
              <a:gd name="connsiteX17829" fmla="*/ 6139502 w 8079933"/>
              <a:gd name="connsiteY17829" fmla="*/ 1567389 h 4687251"/>
              <a:gd name="connsiteX17830" fmla="*/ 6139763 w 8079933"/>
              <a:gd name="connsiteY17830" fmla="*/ 1567649 h 4687251"/>
              <a:gd name="connsiteX17831" fmla="*/ 6145697 w 8079933"/>
              <a:gd name="connsiteY17831" fmla="*/ 1568273 h 4687251"/>
              <a:gd name="connsiteX17832" fmla="*/ 6145080 w 8079933"/>
              <a:gd name="connsiteY17832" fmla="*/ 1567975 h 4687251"/>
              <a:gd name="connsiteX17833" fmla="*/ 4149460 w 8079933"/>
              <a:gd name="connsiteY17833" fmla="*/ 1566458 h 4687251"/>
              <a:gd name="connsiteX17834" fmla="*/ 4154668 w 8079933"/>
              <a:gd name="connsiteY17834" fmla="*/ 1568407 h 4687251"/>
              <a:gd name="connsiteX17835" fmla="*/ 4153041 w 8079933"/>
              <a:gd name="connsiteY17835" fmla="*/ 1570031 h 4687251"/>
              <a:gd name="connsiteX17836" fmla="*/ 6085504 w 8079933"/>
              <a:gd name="connsiteY17836" fmla="*/ 1566135 h 4687251"/>
              <a:gd name="connsiteX17837" fmla="*/ 6081598 w 8079933"/>
              <a:gd name="connsiteY17837" fmla="*/ 1567542 h 4687251"/>
              <a:gd name="connsiteX17838" fmla="*/ 6079211 w 8079933"/>
              <a:gd name="connsiteY17838" fmla="*/ 1571548 h 4687251"/>
              <a:gd name="connsiteX17839" fmla="*/ 6079211 w 8079933"/>
              <a:gd name="connsiteY17839" fmla="*/ 1575121 h 4687251"/>
              <a:gd name="connsiteX17840" fmla="*/ 6074328 w 8079933"/>
              <a:gd name="connsiteY17840" fmla="*/ 1580643 h 4687251"/>
              <a:gd name="connsiteX17841" fmla="*/ 6074328 w 8079933"/>
              <a:gd name="connsiteY17841" fmla="*/ 1592336 h 4687251"/>
              <a:gd name="connsiteX17842" fmla="*/ 6076064 w 8079933"/>
              <a:gd name="connsiteY17842" fmla="*/ 1598183 h 4687251"/>
              <a:gd name="connsiteX17843" fmla="*/ 6083117 w 8079933"/>
              <a:gd name="connsiteY17843" fmla="*/ 1600023 h 4687251"/>
              <a:gd name="connsiteX17844" fmla="*/ 6085504 w 8079933"/>
              <a:gd name="connsiteY17844" fmla="*/ 1603163 h 4687251"/>
              <a:gd name="connsiteX17845" fmla="*/ 6089954 w 8079933"/>
              <a:gd name="connsiteY17845" fmla="*/ 1604679 h 4687251"/>
              <a:gd name="connsiteX17846" fmla="*/ 6090822 w 8079933"/>
              <a:gd name="connsiteY17846" fmla="*/ 1607818 h 4687251"/>
              <a:gd name="connsiteX17847" fmla="*/ 6089411 w 8079933"/>
              <a:gd name="connsiteY17847" fmla="*/ 1615506 h 4687251"/>
              <a:gd name="connsiteX17848" fmla="*/ 6089411 w 8079933"/>
              <a:gd name="connsiteY17848" fmla="*/ 1622760 h 4687251"/>
              <a:gd name="connsiteX17849" fmla="*/ 6094185 w 8079933"/>
              <a:gd name="connsiteY17849" fmla="*/ 1626008 h 4687251"/>
              <a:gd name="connsiteX17850" fmla="*/ 6096791 w 8079933"/>
              <a:gd name="connsiteY17850" fmla="*/ 1628932 h 4687251"/>
              <a:gd name="connsiteX17851" fmla="*/ 6092441 w 8079933"/>
              <a:gd name="connsiteY17851" fmla="*/ 1636022 h 4687251"/>
              <a:gd name="connsiteX17852" fmla="*/ 6092884 w 8079933"/>
              <a:gd name="connsiteY17852" fmla="*/ 1635968 h 4687251"/>
              <a:gd name="connsiteX17853" fmla="*/ 6097334 w 8079933"/>
              <a:gd name="connsiteY17853" fmla="*/ 1628714 h 4687251"/>
              <a:gd name="connsiteX17854" fmla="*/ 6094729 w 8079933"/>
              <a:gd name="connsiteY17854" fmla="*/ 1625791 h 4687251"/>
              <a:gd name="connsiteX17855" fmla="*/ 6089955 w 8079933"/>
              <a:gd name="connsiteY17855" fmla="*/ 1622543 h 4687251"/>
              <a:gd name="connsiteX17856" fmla="*/ 6090172 w 8079933"/>
              <a:gd name="connsiteY17856" fmla="*/ 1615289 h 4687251"/>
              <a:gd name="connsiteX17857" fmla="*/ 6091474 w 8079933"/>
              <a:gd name="connsiteY17857" fmla="*/ 1607602 h 4687251"/>
              <a:gd name="connsiteX17858" fmla="*/ 6090606 w 8079933"/>
              <a:gd name="connsiteY17858" fmla="*/ 1604462 h 4687251"/>
              <a:gd name="connsiteX17859" fmla="*/ 6086156 w 8079933"/>
              <a:gd name="connsiteY17859" fmla="*/ 1602946 h 4687251"/>
              <a:gd name="connsiteX17860" fmla="*/ 6083770 w 8079933"/>
              <a:gd name="connsiteY17860" fmla="*/ 1599806 h 4687251"/>
              <a:gd name="connsiteX17861" fmla="*/ 6076715 w 8079933"/>
              <a:gd name="connsiteY17861" fmla="*/ 1597965 h 4687251"/>
              <a:gd name="connsiteX17862" fmla="*/ 6074979 w 8079933"/>
              <a:gd name="connsiteY17862" fmla="*/ 1592119 h 4687251"/>
              <a:gd name="connsiteX17863" fmla="*/ 6075088 w 8079933"/>
              <a:gd name="connsiteY17863" fmla="*/ 1580426 h 4687251"/>
              <a:gd name="connsiteX17864" fmla="*/ 6079971 w 8079933"/>
              <a:gd name="connsiteY17864" fmla="*/ 1574904 h 4687251"/>
              <a:gd name="connsiteX17865" fmla="*/ 6079971 w 8079933"/>
              <a:gd name="connsiteY17865" fmla="*/ 1571331 h 4687251"/>
              <a:gd name="connsiteX17866" fmla="*/ 6082358 w 8079933"/>
              <a:gd name="connsiteY17866" fmla="*/ 1567325 h 4687251"/>
              <a:gd name="connsiteX17867" fmla="*/ 6085627 w 8079933"/>
              <a:gd name="connsiteY17867" fmla="*/ 1566179 h 4687251"/>
              <a:gd name="connsiteX17868" fmla="*/ 5245336 w 8079933"/>
              <a:gd name="connsiteY17868" fmla="*/ 1565524 h 4687251"/>
              <a:gd name="connsiteX17869" fmla="*/ 5243198 w 8079933"/>
              <a:gd name="connsiteY17869" fmla="*/ 1567759 h 4687251"/>
              <a:gd name="connsiteX17870" fmla="*/ 5243275 w 8079933"/>
              <a:gd name="connsiteY17870" fmla="*/ 1567780 h 4687251"/>
              <a:gd name="connsiteX17871" fmla="*/ 5245368 w 8079933"/>
              <a:gd name="connsiteY17871" fmla="*/ 1565593 h 4687251"/>
              <a:gd name="connsiteX17872" fmla="*/ 6562544 w 8079933"/>
              <a:gd name="connsiteY17872" fmla="*/ 1564942 h 4687251"/>
              <a:gd name="connsiteX17873" fmla="*/ 6562544 w 8079933"/>
              <a:gd name="connsiteY17873" fmla="*/ 1565268 h 4687251"/>
              <a:gd name="connsiteX17874" fmla="*/ 6563981 w 8079933"/>
              <a:gd name="connsiteY17874" fmla="*/ 1565268 h 4687251"/>
              <a:gd name="connsiteX17875" fmla="*/ 4168883 w 8079933"/>
              <a:gd name="connsiteY17875" fmla="*/ 1564835 h 4687251"/>
              <a:gd name="connsiteX17876" fmla="*/ 4173224 w 8079933"/>
              <a:gd name="connsiteY17876" fmla="*/ 1571006 h 4687251"/>
              <a:gd name="connsiteX17877" fmla="*/ 4176262 w 8079933"/>
              <a:gd name="connsiteY17877" fmla="*/ 1570031 h 4687251"/>
              <a:gd name="connsiteX17878" fmla="*/ 4178757 w 8079933"/>
              <a:gd name="connsiteY17878" fmla="*/ 1570031 h 4687251"/>
              <a:gd name="connsiteX17879" fmla="*/ 4180277 w 8079933"/>
              <a:gd name="connsiteY17879" fmla="*/ 1566459 h 4687251"/>
              <a:gd name="connsiteX17880" fmla="*/ 4184183 w 8079933"/>
              <a:gd name="connsiteY17880" fmla="*/ 1566676 h 4687251"/>
              <a:gd name="connsiteX17881" fmla="*/ 4185052 w 8079933"/>
              <a:gd name="connsiteY17881" fmla="*/ 1565918 h 4687251"/>
              <a:gd name="connsiteX17882" fmla="*/ 4185811 w 8079933"/>
              <a:gd name="connsiteY17882" fmla="*/ 1569274 h 4687251"/>
              <a:gd name="connsiteX17883" fmla="*/ 4183641 w 8079933"/>
              <a:gd name="connsiteY17883" fmla="*/ 1573388 h 4687251"/>
              <a:gd name="connsiteX17884" fmla="*/ 4183749 w 8079933"/>
              <a:gd name="connsiteY17884" fmla="*/ 1577286 h 4687251"/>
              <a:gd name="connsiteX17885" fmla="*/ 4182555 w 8079933"/>
              <a:gd name="connsiteY17885" fmla="*/ 1576636 h 4687251"/>
              <a:gd name="connsiteX17886" fmla="*/ 4181362 w 8079933"/>
              <a:gd name="connsiteY17886" fmla="*/ 1572955 h 4687251"/>
              <a:gd name="connsiteX17887" fmla="*/ 4179083 w 8079933"/>
              <a:gd name="connsiteY17887" fmla="*/ 1575986 h 4687251"/>
              <a:gd name="connsiteX17888" fmla="*/ 4172355 w 8079933"/>
              <a:gd name="connsiteY17888" fmla="*/ 1576528 h 4687251"/>
              <a:gd name="connsiteX17889" fmla="*/ 4165519 w 8079933"/>
              <a:gd name="connsiteY17889" fmla="*/ 1574255 h 4687251"/>
              <a:gd name="connsiteX17890" fmla="*/ 4163566 w 8079933"/>
              <a:gd name="connsiteY17890" fmla="*/ 1571547 h 4687251"/>
              <a:gd name="connsiteX17891" fmla="*/ 4166279 w 8079933"/>
              <a:gd name="connsiteY17891" fmla="*/ 1570573 h 4687251"/>
              <a:gd name="connsiteX17892" fmla="*/ 4164651 w 8079933"/>
              <a:gd name="connsiteY17892" fmla="*/ 1568408 h 4687251"/>
              <a:gd name="connsiteX17893" fmla="*/ 4166604 w 8079933"/>
              <a:gd name="connsiteY17893" fmla="*/ 1565376 h 4687251"/>
              <a:gd name="connsiteX17894" fmla="*/ 6119364 w 8079933"/>
              <a:gd name="connsiteY17894" fmla="*/ 1562994 h 4687251"/>
              <a:gd name="connsiteX17895" fmla="*/ 6119688 w 8079933"/>
              <a:gd name="connsiteY17895" fmla="*/ 1563102 h 4687251"/>
              <a:gd name="connsiteX17896" fmla="*/ 6125656 w 8079933"/>
              <a:gd name="connsiteY17896" fmla="*/ 1563643 h 4687251"/>
              <a:gd name="connsiteX17897" fmla="*/ 6133874 w 8079933"/>
              <a:gd name="connsiteY17897" fmla="*/ 1563336 h 4687251"/>
              <a:gd name="connsiteX17898" fmla="*/ 6133361 w 8079933"/>
              <a:gd name="connsiteY17898" fmla="*/ 1562994 h 4687251"/>
              <a:gd name="connsiteX17899" fmla="*/ 6124788 w 8079933"/>
              <a:gd name="connsiteY17899" fmla="*/ 1562994 h 4687251"/>
              <a:gd name="connsiteX17900" fmla="*/ 4477288 w 8079933"/>
              <a:gd name="connsiteY17900" fmla="*/ 1562669 h 4687251"/>
              <a:gd name="connsiteX17901" fmla="*/ 4477287 w 8079933"/>
              <a:gd name="connsiteY17901" fmla="*/ 1562669 h 4687251"/>
              <a:gd name="connsiteX17902" fmla="*/ 4475876 w 8079933"/>
              <a:gd name="connsiteY17902" fmla="*/ 1569923 h 4687251"/>
              <a:gd name="connsiteX17903" fmla="*/ 4482170 w 8079933"/>
              <a:gd name="connsiteY17903" fmla="*/ 1573063 h 4687251"/>
              <a:gd name="connsiteX17904" fmla="*/ 4482170 w 8079933"/>
              <a:gd name="connsiteY17904" fmla="*/ 1578151 h 4687251"/>
              <a:gd name="connsiteX17905" fmla="*/ 4482172 w 8079933"/>
              <a:gd name="connsiteY17905" fmla="*/ 1578151 h 4687251"/>
              <a:gd name="connsiteX17906" fmla="*/ 4482172 w 8079933"/>
              <a:gd name="connsiteY17906" fmla="*/ 1573062 h 4687251"/>
              <a:gd name="connsiteX17907" fmla="*/ 4475878 w 8079933"/>
              <a:gd name="connsiteY17907" fmla="*/ 1569922 h 4687251"/>
              <a:gd name="connsiteX17908" fmla="*/ 1185760 w 8079933"/>
              <a:gd name="connsiteY17908" fmla="*/ 1561153 h 4687251"/>
              <a:gd name="connsiteX17909" fmla="*/ 1183373 w 8079933"/>
              <a:gd name="connsiteY17909" fmla="*/ 1569057 h 4687251"/>
              <a:gd name="connsiteX17910" fmla="*/ 1182288 w 8079933"/>
              <a:gd name="connsiteY17910" fmla="*/ 1562235 h 4687251"/>
              <a:gd name="connsiteX17911" fmla="*/ 4192215 w 8079933"/>
              <a:gd name="connsiteY17911" fmla="*/ 1561045 h 4687251"/>
              <a:gd name="connsiteX17912" fmla="*/ 4192866 w 8079933"/>
              <a:gd name="connsiteY17912" fmla="*/ 1563643 h 4687251"/>
              <a:gd name="connsiteX17913" fmla="*/ 4189719 w 8079933"/>
              <a:gd name="connsiteY17913" fmla="*/ 1564185 h 4687251"/>
              <a:gd name="connsiteX17914" fmla="*/ 4187549 w 8079933"/>
              <a:gd name="connsiteY17914" fmla="*/ 1567324 h 4687251"/>
              <a:gd name="connsiteX17915" fmla="*/ 4186789 w 8079933"/>
              <a:gd name="connsiteY17915" fmla="*/ 1565483 h 4687251"/>
              <a:gd name="connsiteX17916" fmla="*/ 4188742 w 8079933"/>
              <a:gd name="connsiteY17916" fmla="*/ 1562452 h 4687251"/>
              <a:gd name="connsiteX17917" fmla="*/ 4160202 w 8079933"/>
              <a:gd name="connsiteY17917" fmla="*/ 1558772 h 4687251"/>
              <a:gd name="connsiteX17918" fmla="*/ 4163349 w 8079933"/>
              <a:gd name="connsiteY17918" fmla="*/ 1562237 h 4687251"/>
              <a:gd name="connsiteX17919" fmla="*/ 4160636 w 8079933"/>
              <a:gd name="connsiteY17919" fmla="*/ 1567759 h 4687251"/>
              <a:gd name="connsiteX17920" fmla="*/ 4157923 w 8079933"/>
              <a:gd name="connsiteY17920" fmla="*/ 1571331 h 4687251"/>
              <a:gd name="connsiteX17921" fmla="*/ 4157055 w 8079933"/>
              <a:gd name="connsiteY17921" fmla="*/ 1569057 h 4687251"/>
              <a:gd name="connsiteX17922" fmla="*/ 4159008 w 8079933"/>
              <a:gd name="connsiteY17922" fmla="*/ 1565268 h 4687251"/>
              <a:gd name="connsiteX17923" fmla="*/ 5244609 w 8079933"/>
              <a:gd name="connsiteY17923" fmla="*/ 1558122 h 4687251"/>
              <a:gd name="connsiteX17924" fmla="*/ 5242873 w 8079933"/>
              <a:gd name="connsiteY17924" fmla="*/ 1559638 h 4687251"/>
              <a:gd name="connsiteX17925" fmla="*/ 5242947 w 8079933"/>
              <a:gd name="connsiteY17925" fmla="*/ 1559803 h 4687251"/>
              <a:gd name="connsiteX17926" fmla="*/ 5244500 w 8079933"/>
              <a:gd name="connsiteY17926" fmla="*/ 1558447 h 4687251"/>
              <a:gd name="connsiteX17927" fmla="*/ 5248322 w 8079933"/>
              <a:gd name="connsiteY17927" fmla="*/ 1558122 h 4687251"/>
              <a:gd name="connsiteX17928" fmla="*/ 7358731 w 8079933"/>
              <a:gd name="connsiteY17928" fmla="*/ 1557256 h 4687251"/>
              <a:gd name="connsiteX17929" fmla="*/ 7361011 w 8079933"/>
              <a:gd name="connsiteY17929" fmla="*/ 1558772 h 4687251"/>
              <a:gd name="connsiteX17930" fmla="*/ 7359057 w 8079933"/>
              <a:gd name="connsiteY17930" fmla="*/ 1560180 h 4687251"/>
              <a:gd name="connsiteX17931" fmla="*/ 7357212 w 8079933"/>
              <a:gd name="connsiteY17931" fmla="*/ 1558122 h 4687251"/>
              <a:gd name="connsiteX17932" fmla="*/ 5262732 w 8079933"/>
              <a:gd name="connsiteY17932" fmla="*/ 1557148 h 4687251"/>
              <a:gd name="connsiteX17933" fmla="*/ 5262545 w 8079933"/>
              <a:gd name="connsiteY17933" fmla="*/ 1557170 h 4687251"/>
              <a:gd name="connsiteX17934" fmla="*/ 5266854 w 8079933"/>
              <a:gd name="connsiteY17934" fmla="*/ 1560287 h 4687251"/>
              <a:gd name="connsiteX17935" fmla="*/ 5266935 w 8079933"/>
              <a:gd name="connsiteY17935" fmla="*/ 1560189 h 4687251"/>
              <a:gd name="connsiteX17936" fmla="*/ 5253787 w 8079933"/>
              <a:gd name="connsiteY17936" fmla="*/ 1555199 h 4687251"/>
              <a:gd name="connsiteX17937" fmla="*/ 5255460 w 8079933"/>
              <a:gd name="connsiteY17937" fmla="*/ 1555307 h 4687251"/>
              <a:gd name="connsiteX17938" fmla="*/ 5257088 w 8079933"/>
              <a:gd name="connsiteY17938" fmla="*/ 1557906 h 4687251"/>
              <a:gd name="connsiteX17939" fmla="*/ 5261335 w 8079933"/>
              <a:gd name="connsiteY17939" fmla="*/ 1557312 h 4687251"/>
              <a:gd name="connsiteX17940" fmla="*/ 5257197 w 8079933"/>
              <a:gd name="connsiteY17940" fmla="*/ 1557798 h 4687251"/>
              <a:gd name="connsiteX17941" fmla="*/ 5255678 w 8079933"/>
              <a:gd name="connsiteY17941" fmla="*/ 1555199 h 4687251"/>
              <a:gd name="connsiteX17942" fmla="*/ 6091907 w 8079933"/>
              <a:gd name="connsiteY17942" fmla="*/ 1552709 h 4687251"/>
              <a:gd name="connsiteX17943" fmla="*/ 6088868 w 8079933"/>
              <a:gd name="connsiteY17943" fmla="*/ 1555415 h 4687251"/>
              <a:gd name="connsiteX17944" fmla="*/ 6088217 w 8079933"/>
              <a:gd name="connsiteY17944" fmla="*/ 1559097 h 4687251"/>
              <a:gd name="connsiteX17945" fmla="*/ 6089628 w 8079933"/>
              <a:gd name="connsiteY17945" fmla="*/ 1563103 h 4687251"/>
              <a:gd name="connsiteX17946" fmla="*/ 6088096 w 8079933"/>
              <a:gd name="connsiteY17946" fmla="*/ 1566543 h 4687251"/>
              <a:gd name="connsiteX17947" fmla="*/ 6088761 w 8079933"/>
              <a:gd name="connsiteY17947" fmla="*/ 1566784 h 4687251"/>
              <a:gd name="connsiteX17948" fmla="*/ 6090497 w 8079933"/>
              <a:gd name="connsiteY17948" fmla="*/ 1562886 h 4687251"/>
              <a:gd name="connsiteX17949" fmla="*/ 6089086 w 8079933"/>
              <a:gd name="connsiteY17949" fmla="*/ 1558880 h 4687251"/>
              <a:gd name="connsiteX17950" fmla="*/ 6089737 w 8079933"/>
              <a:gd name="connsiteY17950" fmla="*/ 1555198 h 4687251"/>
              <a:gd name="connsiteX17951" fmla="*/ 6092532 w 8079933"/>
              <a:gd name="connsiteY17951" fmla="*/ 1552709 h 4687251"/>
              <a:gd name="connsiteX17952" fmla="*/ 4488917 w 8079933"/>
              <a:gd name="connsiteY17952" fmla="*/ 1552412 h 4687251"/>
              <a:gd name="connsiteX17953" fmla="*/ 4485209 w 8079933"/>
              <a:gd name="connsiteY17953" fmla="*/ 1554115 h 4687251"/>
              <a:gd name="connsiteX17954" fmla="*/ 4480759 w 8079933"/>
              <a:gd name="connsiteY17954" fmla="*/ 1562019 h 4687251"/>
              <a:gd name="connsiteX17955" fmla="*/ 4480761 w 8079933"/>
              <a:gd name="connsiteY17955" fmla="*/ 1562019 h 4687251"/>
              <a:gd name="connsiteX17956" fmla="*/ 4485211 w 8079933"/>
              <a:gd name="connsiteY17956" fmla="*/ 1554115 h 4687251"/>
              <a:gd name="connsiteX17957" fmla="*/ 5273041 w 8079933"/>
              <a:gd name="connsiteY17957" fmla="*/ 1552384 h 4687251"/>
              <a:gd name="connsiteX17958" fmla="*/ 5273033 w 8079933"/>
              <a:gd name="connsiteY17958" fmla="*/ 1552389 h 4687251"/>
              <a:gd name="connsiteX17959" fmla="*/ 5277163 w 8079933"/>
              <a:gd name="connsiteY17959" fmla="*/ 1552600 h 4687251"/>
              <a:gd name="connsiteX17960" fmla="*/ 5279984 w 8079933"/>
              <a:gd name="connsiteY17960" fmla="*/ 1556822 h 4687251"/>
              <a:gd name="connsiteX17961" fmla="*/ 5280079 w 8079933"/>
              <a:gd name="connsiteY17961" fmla="*/ 1556690 h 4687251"/>
              <a:gd name="connsiteX17962" fmla="*/ 5277381 w 8079933"/>
              <a:gd name="connsiteY17962" fmla="*/ 1552384 h 4687251"/>
              <a:gd name="connsiteX17963" fmla="*/ 6749626 w 8079933"/>
              <a:gd name="connsiteY17963" fmla="*/ 1551926 h 4687251"/>
              <a:gd name="connsiteX17964" fmla="*/ 6749517 w 8079933"/>
              <a:gd name="connsiteY17964" fmla="*/ 1552599 h 4687251"/>
              <a:gd name="connsiteX17965" fmla="*/ 6752122 w 8079933"/>
              <a:gd name="connsiteY17965" fmla="*/ 1557146 h 4687251"/>
              <a:gd name="connsiteX17966" fmla="*/ 6757440 w 8079933"/>
              <a:gd name="connsiteY17966" fmla="*/ 1562668 h 4687251"/>
              <a:gd name="connsiteX17967" fmla="*/ 6761455 w 8079933"/>
              <a:gd name="connsiteY17967" fmla="*/ 1564075 h 4687251"/>
              <a:gd name="connsiteX17968" fmla="*/ 6763191 w 8079933"/>
              <a:gd name="connsiteY17968" fmla="*/ 1567216 h 4687251"/>
              <a:gd name="connsiteX17969" fmla="*/ 6766230 w 8079933"/>
              <a:gd name="connsiteY17969" fmla="*/ 1567649 h 4687251"/>
              <a:gd name="connsiteX17970" fmla="*/ 6768617 w 8079933"/>
              <a:gd name="connsiteY17970" fmla="*/ 1566783 h 4687251"/>
              <a:gd name="connsiteX17971" fmla="*/ 6771112 w 8079933"/>
              <a:gd name="connsiteY17971" fmla="*/ 1568190 h 4687251"/>
              <a:gd name="connsiteX17972" fmla="*/ 6772957 w 8079933"/>
              <a:gd name="connsiteY17972" fmla="*/ 1567216 h 4687251"/>
              <a:gd name="connsiteX17973" fmla="*/ 6777949 w 8079933"/>
              <a:gd name="connsiteY17973" fmla="*/ 1567865 h 4687251"/>
              <a:gd name="connsiteX17974" fmla="*/ 6780554 w 8079933"/>
              <a:gd name="connsiteY17974" fmla="*/ 1565808 h 4687251"/>
              <a:gd name="connsiteX17975" fmla="*/ 6783810 w 8079933"/>
              <a:gd name="connsiteY17975" fmla="*/ 1565808 h 4687251"/>
              <a:gd name="connsiteX17976" fmla="*/ 6783810 w 8079933"/>
              <a:gd name="connsiteY17976" fmla="*/ 1564943 h 4687251"/>
              <a:gd name="connsiteX17977" fmla="*/ 6780553 w 8079933"/>
              <a:gd name="connsiteY17977" fmla="*/ 1564943 h 4687251"/>
              <a:gd name="connsiteX17978" fmla="*/ 6777949 w 8079933"/>
              <a:gd name="connsiteY17978" fmla="*/ 1567000 h 4687251"/>
              <a:gd name="connsiteX17979" fmla="*/ 6772958 w 8079933"/>
              <a:gd name="connsiteY17979" fmla="*/ 1566351 h 4687251"/>
              <a:gd name="connsiteX17980" fmla="*/ 6771112 w 8079933"/>
              <a:gd name="connsiteY17980" fmla="*/ 1567325 h 4687251"/>
              <a:gd name="connsiteX17981" fmla="*/ 6768726 w 8079933"/>
              <a:gd name="connsiteY17981" fmla="*/ 1565918 h 4687251"/>
              <a:gd name="connsiteX17982" fmla="*/ 6766338 w 8079933"/>
              <a:gd name="connsiteY17982" fmla="*/ 1566784 h 4687251"/>
              <a:gd name="connsiteX17983" fmla="*/ 6763191 w 8079933"/>
              <a:gd name="connsiteY17983" fmla="*/ 1566784 h 4687251"/>
              <a:gd name="connsiteX17984" fmla="*/ 6761455 w 8079933"/>
              <a:gd name="connsiteY17984" fmla="*/ 1563644 h 4687251"/>
              <a:gd name="connsiteX17985" fmla="*/ 6757548 w 8079933"/>
              <a:gd name="connsiteY17985" fmla="*/ 1562237 h 4687251"/>
              <a:gd name="connsiteX17986" fmla="*/ 6752231 w 8079933"/>
              <a:gd name="connsiteY17986" fmla="*/ 1556715 h 4687251"/>
              <a:gd name="connsiteX17987" fmla="*/ 6749626 w 8079933"/>
              <a:gd name="connsiteY17987" fmla="*/ 1552059 h 4687251"/>
              <a:gd name="connsiteX17988" fmla="*/ 4242566 w 8079933"/>
              <a:gd name="connsiteY17988" fmla="*/ 1551409 h 4687251"/>
              <a:gd name="connsiteX17989" fmla="*/ 4246907 w 8079933"/>
              <a:gd name="connsiteY17989" fmla="*/ 1554007 h 4687251"/>
              <a:gd name="connsiteX17990" fmla="*/ 4251031 w 8079933"/>
              <a:gd name="connsiteY17990" fmla="*/ 1560612 h 4687251"/>
              <a:gd name="connsiteX17991" fmla="*/ 4250163 w 8079933"/>
              <a:gd name="connsiteY17991" fmla="*/ 1564619 h 4687251"/>
              <a:gd name="connsiteX17992" fmla="*/ 4242566 w 8079933"/>
              <a:gd name="connsiteY17992" fmla="*/ 1562020 h 4687251"/>
              <a:gd name="connsiteX17993" fmla="*/ 4241373 w 8079933"/>
              <a:gd name="connsiteY17993" fmla="*/ 1557689 h 4687251"/>
              <a:gd name="connsiteX17994" fmla="*/ 2181943 w 8079933"/>
              <a:gd name="connsiteY17994" fmla="*/ 1550217 h 4687251"/>
              <a:gd name="connsiteX17995" fmla="*/ 2186609 w 8079933"/>
              <a:gd name="connsiteY17995" fmla="*/ 1550217 h 4687251"/>
              <a:gd name="connsiteX17996" fmla="*/ 2187694 w 8079933"/>
              <a:gd name="connsiteY17996" fmla="*/ 1552166 h 4687251"/>
              <a:gd name="connsiteX17997" fmla="*/ 2191601 w 8079933"/>
              <a:gd name="connsiteY17997" fmla="*/ 1551733 h 4687251"/>
              <a:gd name="connsiteX17998" fmla="*/ 2197135 w 8079933"/>
              <a:gd name="connsiteY17998" fmla="*/ 1556388 h 4687251"/>
              <a:gd name="connsiteX17999" fmla="*/ 2198111 w 8079933"/>
              <a:gd name="connsiteY17999" fmla="*/ 1561369 h 4687251"/>
              <a:gd name="connsiteX18000" fmla="*/ 2199414 w 8079933"/>
              <a:gd name="connsiteY18000" fmla="*/ 1563534 h 4687251"/>
              <a:gd name="connsiteX18001" fmla="*/ 2198329 w 8079933"/>
              <a:gd name="connsiteY18001" fmla="*/ 1567107 h 4687251"/>
              <a:gd name="connsiteX18002" fmla="*/ 2187152 w 8079933"/>
              <a:gd name="connsiteY18002" fmla="*/ 1564833 h 4687251"/>
              <a:gd name="connsiteX18003" fmla="*/ 2183246 w 8079933"/>
              <a:gd name="connsiteY18003" fmla="*/ 1562343 h 4687251"/>
              <a:gd name="connsiteX18004" fmla="*/ 2179013 w 8079933"/>
              <a:gd name="connsiteY18004" fmla="*/ 1562127 h 4687251"/>
              <a:gd name="connsiteX18005" fmla="*/ 2178796 w 8079933"/>
              <a:gd name="connsiteY18005" fmla="*/ 1565050 h 4687251"/>
              <a:gd name="connsiteX18006" fmla="*/ 2179231 w 8079933"/>
              <a:gd name="connsiteY18006" fmla="*/ 1566782 h 4687251"/>
              <a:gd name="connsiteX18007" fmla="*/ 2176626 w 8079933"/>
              <a:gd name="connsiteY18007" fmla="*/ 1564292 h 4687251"/>
              <a:gd name="connsiteX18008" fmla="*/ 2176192 w 8079933"/>
              <a:gd name="connsiteY18008" fmla="*/ 1562019 h 4687251"/>
              <a:gd name="connsiteX18009" fmla="*/ 2172068 w 8079933"/>
              <a:gd name="connsiteY18009" fmla="*/ 1562451 h 4687251"/>
              <a:gd name="connsiteX18010" fmla="*/ 2170658 w 8079933"/>
              <a:gd name="connsiteY18010" fmla="*/ 1560503 h 4687251"/>
              <a:gd name="connsiteX18011" fmla="*/ 2175324 w 8079933"/>
              <a:gd name="connsiteY18011" fmla="*/ 1554764 h 4687251"/>
              <a:gd name="connsiteX18012" fmla="*/ 2179231 w 8079933"/>
              <a:gd name="connsiteY18012" fmla="*/ 1555414 h 4687251"/>
              <a:gd name="connsiteX18013" fmla="*/ 2179556 w 8079933"/>
              <a:gd name="connsiteY18013" fmla="*/ 1552058 h 4687251"/>
              <a:gd name="connsiteX18014" fmla="*/ 3784626 w 8079933"/>
              <a:gd name="connsiteY18014" fmla="*/ 1549676 h 4687251"/>
              <a:gd name="connsiteX18015" fmla="*/ 3788099 w 8079933"/>
              <a:gd name="connsiteY18015" fmla="*/ 1552815 h 4687251"/>
              <a:gd name="connsiteX18016" fmla="*/ 3793199 w 8079933"/>
              <a:gd name="connsiteY18016" fmla="*/ 1555523 h 4687251"/>
              <a:gd name="connsiteX18017" fmla="*/ 3788967 w 8079933"/>
              <a:gd name="connsiteY18017" fmla="*/ 1558013 h 4687251"/>
              <a:gd name="connsiteX18018" fmla="*/ 3784192 w 8079933"/>
              <a:gd name="connsiteY18018" fmla="*/ 1561694 h 4687251"/>
              <a:gd name="connsiteX18019" fmla="*/ 3786363 w 8079933"/>
              <a:gd name="connsiteY18019" fmla="*/ 1561261 h 4687251"/>
              <a:gd name="connsiteX18020" fmla="*/ 3784083 w 8079933"/>
              <a:gd name="connsiteY18020" fmla="*/ 1563751 h 4687251"/>
              <a:gd name="connsiteX18021" fmla="*/ 3780828 w 8079933"/>
              <a:gd name="connsiteY18021" fmla="*/ 1565483 h 4687251"/>
              <a:gd name="connsiteX18022" fmla="*/ 3779526 w 8079933"/>
              <a:gd name="connsiteY18022" fmla="*/ 1569598 h 4687251"/>
              <a:gd name="connsiteX18023" fmla="*/ 3774642 w 8079933"/>
              <a:gd name="connsiteY18023" fmla="*/ 1570247 h 4687251"/>
              <a:gd name="connsiteX18024" fmla="*/ 3769434 w 8079933"/>
              <a:gd name="connsiteY18024" fmla="*/ 1580966 h 4687251"/>
              <a:gd name="connsiteX18025" fmla="*/ 3769434 w 8079933"/>
              <a:gd name="connsiteY18025" fmla="*/ 1580966 h 4687251"/>
              <a:gd name="connsiteX18026" fmla="*/ 3774642 w 8079933"/>
              <a:gd name="connsiteY18026" fmla="*/ 1570248 h 4687251"/>
              <a:gd name="connsiteX18027" fmla="*/ 3779526 w 8079933"/>
              <a:gd name="connsiteY18027" fmla="*/ 1569598 h 4687251"/>
              <a:gd name="connsiteX18028" fmla="*/ 3780828 w 8079933"/>
              <a:gd name="connsiteY18028" fmla="*/ 1565484 h 4687251"/>
              <a:gd name="connsiteX18029" fmla="*/ 3784083 w 8079933"/>
              <a:gd name="connsiteY18029" fmla="*/ 1563751 h 4687251"/>
              <a:gd name="connsiteX18030" fmla="*/ 3786363 w 8079933"/>
              <a:gd name="connsiteY18030" fmla="*/ 1561261 h 4687251"/>
              <a:gd name="connsiteX18031" fmla="*/ 3790811 w 8079933"/>
              <a:gd name="connsiteY18031" fmla="*/ 1560395 h 4687251"/>
              <a:gd name="connsiteX18032" fmla="*/ 3792331 w 8079933"/>
              <a:gd name="connsiteY18032" fmla="*/ 1558771 h 4687251"/>
              <a:gd name="connsiteX18033" fmla="*/ 3795044 w 8079933"/>
              <a:gd name="connsiteY18033" fmla="*/ 1558447 h 4687251"/>
              <a:gd name="connsiteX18034" fmla="*/ 3799493 w 8079933"/>
              <a:gd name="connsiteY18034" fmla="*/ 1555523 h 4687251"/>
              <a:gd name="connsiteX18035" fmla="*/ 3806763 w 8079933"/>
              <a:gd name="connsiteY18035" fmla="*/ 1556281 h 4687251"/>
              <a:gd name="connsiteX18036" fmla="*/ 3810345 w 8079933"/>
              <a:gd name="connsiteY18036" fmla="*/ 1558121 h 4687251"/>
              <a:gd name="connsiteX18037" fmla="*/ 3810779 w 8079933"/>
              <a:gd name="connsiteY18037" fmla="*/ 1562561 h 4687251"/>
              <a:gd name="connsiteX18038" fmla="*/ 3817724 w 8079933"/>
              <a:gd name="connsiteY18038" fmla="*/ 1572413 h 4687251"/>
              <a:gd name="connsiteX18039" fmla="*/ 3814143 w 8079933"/>
              <a:gd name="connsiteY18039" fmla="*/ 1575012 h 4687251"/>
              <a:gd name="connsiteX18040" fmla="*/ 3820653 w 8079933"/>
              <a:gd name="connsiteY18040" fmla="*/ 1575337 h 4687251"/>
              <a:gd name="connsiteX18041" fmla="*/ 3822064 w 8079933"/>
              <a:gd name="connsiteY18041" fmla="*/ 1585731 h 4687251"/>
              <a:gd name="connsiteX18042" fmla="*/ 3819352 w 8079933"/>
              <a:gd name="connsiteY18042" fmla="*/ 1577610 h 4687251"/>
              <a:gd name="connsiteX18043" fmla="*/ 3816747 w 8079933"/>
              <a:gd name="connsiteY18043" fmla="*/ 1578043 h 4687251"/>
              <a:gd name="connsiteX18044" fmla="*/ 3818049 w 8079933"/>
              <a:gd name="connsiteY18044" fmla="*/ 1580750 h 4687251"/>
              <a:gd name="connsiteX18045" fmla="*/ 3816747 w 8079933"/>
              <a:gd name="connsiteY18045" fmla="*/ 1584431 h 4687251"/>
              <a:gd name="connsiteX18046" fmla="*/ 3820220 w 8079933"/>
              <a:gd name="connsiteY18046" fmla="*/ 1585189 h 4687251"/>
              <a:gd name="connsiteX18047" fmla="*/ 3819460 w 8079933"/>
              <a:gd name="connsiteY18047" fmla="*/ 1589087 h 4687251"/>
              <a:gd name="connsiteX18048" fmla="*/ 3813817 w 8079933"/>
              <a:gd name="connsiteY18048" fmla="*/ 1588329 h 4687251"/>
              <a:gd name="connsiteX18049" fmla="*/ 3813491 w 8079933"/>
              <a:gd name="connsiteY18049" fmla="*/ 1591686 h 4687251"/>
              <a:gd name="connsiteX18050" fmla="*/ 3809802 w 8079933"/>
              <a:gd name="connsiteY18050" fmla="*/ 1594609 h 4687251"/>
              <a:gd name="connsiteX18051" fmla="*/ 3807631 w 8079933"/>
              <a:gd name="connsiteY18051" fmla="*/ 1594067 h 4687251"/>
              <a:gd name="connsiteX18052" fmla="*/ 3808066 w 8079933"/>
              <a:gd name="connsiteY18052" fmla="*/ 1597641 h 4687251"/>
              <a:gd name="connsiteX18053" fmla="*/ 3807089 w 8079933"/>
              <a:gd name="connsiteY18053" fmla="*/ 1597424 h 4687251"/>
              <a:gd name="connsiteX18054" fmla="*/ 3807086 w 8079933"/>
              <a:gd name="connsiteY18054" fmla="*/ 1597422 h 4687251"/>
              <a:gd name="connsiteX18055" fmla="*/ 3804159 w 8079933"/>
              <a:gd name="connsiteY18055" fmla="*/ 1596990 h 4687251"/>
              <a:gd name="connsiteX18056" fmla="*/ 3802423 w 8079933"/>
              <a:gd name="connsiteY18056" fmla="*/ 1599804 h 4687251"/>
              <a:gd name="connsiteX18057" fmla="*/ 3806004 w 8079933"/>
              <a:gd name="connsiteY18057" fmla="*/ 1602403 h 4687251"/>
              <a:gd name="connsiteX18058" fmla="*/ 3805136 w 8079933"/>
              <a:gd name="connsiteY18058" fmla="*/ 1607167 h 4687251"/>
              <a:gd name="connsiteX18059" fmla="*/ 3808174 w 8079933"/>
              <a:gd name="connsiteY18059" fmla="*/ 1611931 h 4687251"/>
              <a:gd name="connsiteX18060" fmla="*/ 3808174 w 8079933"/>
              <a:gd name="connsiteY18060" fmla="*/ 1616695 h 4687251"/>
              <a:gd name="connsiteX18061" fmla="*/ 3804810 w 8079933"/>
              <a:gd name="connsiteY18061" fmla="*/ 1618969 h 4687251"/>
              <a:gd name="connsiteX18062" fmla="*/ 3807632 w 8079933"/>
              <a:gd name="connsiteY18062" fmla="*/ 1620701 h 4687251"/>
              <a:gd name="connsiteX18063" fmla="*/ 3809476 w 8079933"/>
              <a:gd name="connsiteY18063" fmla="*/ 1631419 h 4687251"/>
              <a:gd name="connsiteX18064" fmla="*/ 3808174 w 8079933"/>
              <a:gd name="connsiteY18064" fmla="*/ 1636183 h 4687251"/>
              <a:gd name="connsiteX18065" fmla="*/ 3804376 w 8079933"/>
              <a:gd name="connsiteY18065" fmla="*/ 1640406 h 4687251"/>
              <a:gd name="connsiteX18066" fmla="*/ 3805136 w 8079933"/>
              <a:gd name="connsiteY18066" fmla="*/ 1644303 h 4687251"/>
              <a:gd name="connsiteX18067" fmla="*/ 3801446 w 8079933"/>
              <a:gd name="connsiteY18067" fmla="*/ 1648743 h 4687251"/>
              <a:gd name="connsiteX18068" fmla="*/ 3798082 w 8079933"/>
              <a:gd name="connsiteY18068" fmla="*/ 1650150 h 4687251"/>
              <a:gd name="connsiteX18069" fmla="*/ 3802748 w 8079933"/>
              <a:gd name="connsiteY18069" fmla="*/ 1656213 h 4687251"/>
              <a:gd name="connsiteX18070" fmla="*/ 3795912 w 8079933"/>
              <a:gd name="connsiteY18070" fmla="*/ 1656321 h 4687251"/>
              <a:gd name="connsiteX18071" fmla="*/ 3793091 w 8079933"/>
              <a:gd name="connsiteY18071" fmla="*/ 1655239 h 4687251"/>
              <a:gd name="connsiteX18072" fmla="*/ 3790269 w 8079933"/>
              <a:gd name="connsiteY18072" fmla="*/ 1657946 h 4687251"/>
              <a:gd name="connsiteX18073" fmla="*/ 3788207 w 8079933"/>
              <a:gd name="connsiteY18073" fmla="*/ 1654481 h 4687251"/>
              <a:gd name="connsiteX18074" fmla="*/ 3787122 w 8079933"/>
              <a:gd name="connsiteY18074" fmla="*/ 1657404 h 4687251"/>
              <a:gd name="connsiteX18075" fmla="*/ 3773774 w 8079933"/>
              <a:gd name="connsiteY18075" fmla="*/ 1658920 h 4687251"/>
              <a:gd name="connsiteX18076" fmla="*/ 3772580 w 8079933"/>
              <a:gd name="connsiteY18076" fmla="*/ 1663359 h 4687251"/>
              <a:gd name="connsiteX18077" fmla="*/ 3769434 w 8079933"/>
              <a:gd name="connsiteY18077" fmla="*/ 1663143 h 4687251"/>
              <a:gd name="connsiteX18078" fmla="*/ 3764985 w 8079933"/>
              <a:gd name="connsiteY18078" fmla="*/ 1667798 h 4687251"/>
              <a:gd name="connsiteX18079" fmla="*/ 3760318 w 8079933"/>
              <a:gd name="connsiteY18079" fmla="*/ 1667798 h 4687251"/>
              <a:gd name="connsiteX18080" fmla="*/ 3761621 w 8079933"/>
              <a:gd name="connsiteY18080" fmla="*/ 1665092 h 4687251"/>
              <a:gd name="connsiteX18081" fmla="*/ 3757063 w 8079933"/>
              <a:gd name="connsiteY18081" fmla="*/ 1664658 h 4687251"/>
              <a:gd name="connsiteX18082" fmla="*/ 3759016 w 8079933"/>
              <a:gd name="connsiteY18082" fmla="*/ 1669314 h 4687251"/>
              <a:gd name="connsiteX18083" fmla="*/ 3753047 w 8079933"/>
              <a:gd name="connsiteY18083" fmla="*/ 1673320 h 4687251"/>
              <a:gd name="connsiteX18084" fmla="*/ 3745451 w 8079933"/>
              <a:gd name="connsiteY18084" fmla="*/ 1675594 h 4687251"/>
              <a:gd name="connsiteX18085" fmla="*/ 3737422 w 8079933"/>
              <a:gd name="connsiteY18085" fmla="*/ 1676568 h 4687251"/>
              <a:gd name="connsiteX18086" fmla="*/ 3734383 w 8079933"/>
              <a:gd name="connsiteY18086" fmla="*/ 1674403 h 4687251"/>
              <a:gd name="connsiteX18087" fmla="*/ 3728523 w 8079933"/>
              <a:gd name="connsiteY18087" fmla="*/ 1675918 h 4687251"/>
              <a:gd name="connsiteX18088" fmla="*/ 3729608 w 8079933"/>
              <a:gd name="connsiteY18088" fmla="*/ 1673645 h 4687251"/>
              <a:gd name="connsiteX18089" fmla="*/ 3726027 w 8079933"/>
              <a:gd name="connsiteY18089" fmla="*/ 1673645 h 4687251"/>
              <a:gd name="connsiteX18090" fmla="*/ 3732538 w 8079933"/>
              <a:gd name="connsiteY18090" fmla="*/ 1670505 h 4687251"/>
              <a:gd name="connsiteX18091" fmla="*/ 3732972 w 8079933"/>
              <a:gd name="connsiteY18091" fmla="*/ 1667582 h 4687251"/>
              <a:gd name="connsiteX18092" fmla="*/ 3725268 w 8079933"/>
              <a:gd name="connsiteY18092" fmla="*/ 1671804 h 4687251"/>
              <a:gd name="connsiteX18093" fmla="*/ 3719299 w 8079933"/>
              <a:gd name="connsiteY18093" fmla="*/ 1671804 h 4687251"/>
              <a:gd name="connsiteX18094" fmla="*/ 3722771 w 8079933"/>
              <a:gd name="connsiteY18094" fmla="*/ 1668881 h 4687251"/>
              <a:gd name="connsiteX18095" fmla="*/ 3731236 w 8079933"/>
              <a:gd name="connsiteY18095" fmla="*/ 1663359 h 4687251"/>
              <a:gd name="connsiteX18096" fmla="*/ 3720058 w 8079933"/>
              <a:gd name="connsiteY18096" fmla="*/ 1667041 h 4687251"/>
              <a:gd name="connsiteX18097" fmla="*/ 3719190 w 8079933"/>
              <a:gd name="connsiteY18097" fmla="*/ 1664225 h 4687251"/>
              <a:gd name="connsiteX18098" fmla="*/ 3715284 w 8079933"/>
              <a:gd name="connsiteY18098" fmla="*/ 1664225 h 4687251"/>
              <a:gd name="connsiteX18099" fmla="*/ 3717345 w 8079933"/>
              <a:gd name="connsiteY18099" fmla="*/ 1659137 h 4687251"/>
              <a:gd name="connsiteX18100" fmla="*/ 3723531 w 8079933"/>
              <a:gd name="connsiteY18100" fmla="*/ 1657729 h 4687251"/>
              <a:gd name="connsiteX18101" fmla="*/ 3728414 w 8079933"/>
              <a:gd name="connsiteY18101" fmla="*/ 1653615 h 4687251"/>
              <a:gd name="connsiteX18102" fmla="*/ 3713765 w 8079933"/>
              <a:gd name="connsiteY18102" fmla="*/ 1654481 h 4687251"/>
              <a:gd name="connsiteX18103" fmla="*/ 3713114 w 8079933"/>
              <a:gd name="connsiteY18103" fmla="*/ 1652749 h 4687251"/>
              <a:gd name="connsiteX18104" fmla="*/ 3719516 w 8079933"/>
              <a:gd name="connsiteY18104" fmla="*/ 1649392 h 4687251"/>
              <a:gd name="connsiteX18105" fmla="*/ 3720601 w 8079933"/>
              <a:gd name="connsiteY18105" fmla="*/ 1650692 h 4687251"/>
              <a:gd name="connsiteX18106" fmla="*/ 3721795 w 8079933"/>
              <a:gd name="connsiteY18106" fmla="*/ 1648851 h 4687251"/>
              <a:gd name="connsiteX18107" fmla="*/ 3725051 w 8079933"/>
              <a:gd name="connsiteY18107" fmla="*/ 1651666 h 4687251"/>
              <a:gd name="connsiteX18108" fmla="*/ 3728849 w 8079933"/>
              <a:gd name="connsiteY18108" fmla="*/ 1650908 h 4687251"/>
              <a:gd name="connsiteX18109" fmla="*/ 3726678 w 8079933"/>
              <a:gd name="connsiteY18109" fmla="*/ 1650258 h 4687251"/>
              <a:gd name="connsiteX18110" fmla="*/ 3727763 w 8079933"/>
              <a:gd name="connsiteY18110" fmla="*/ 1647985 h 4687251"/>
              <a:gd name="connsiteX18111" fmla="*/ 3726027 w 8079933"/>
              <a:gd name="connsiteY18111" fmla="*/ 1645495 h 4687251"/>
              <a:gd name="connsiteX18112" fmla="*/ 3731127 w 8079933"/>
              <a:gd name="connsiteY18112" fmla="*/ 1643762 h 4687251"/>
              <a:gd name="connsiteX18113" fmla="*/ 3733081 w 8079933"/>
              <a:gd name="connsiteY18113" fmla="*/ 1640731 h 4687251"/>
              <a:gd name="connsiteX18114" fmla="*/ 3740894 w 8079933"/>
              <a:gd name="connsiteY18114" fmla="*/ 1640406 h 4687251"/>
              <a:gd name="connsiteX18115" fmla="*/ 3751529 w 8079933"/>
              <a:gd name="connsiteY18115" fmla="*/ 1637591 h 4687251"/>
              <a:gd name="connsiteX18116" fmla="*/ 3746754 w 8079933"/>
              <a:gd name="connsiteY18116" fmla="*/ 1637158 h 4687251"/>
              <a:gd name="connsiteX18117" fmla="*/ 3746428 w 8079933"/>
              <a:gd name="connsiteY18117" fmla="*/ 1635425 h 4687251"/>
              <a:gd name="connsiteX18118" fmla="*/ 3742630 w 8079933"/>
              <a:gd name="connsiteY18118" fmla="*/ 1639215 h 4687251"/>
              <a:gd name="connsiteX18119" fmla="*/ 3736987 w 8079933"/>
              <a:gd name="connsiteY18119" fmla="*/ 1638999 h 4687251"/>
              <a:gd name="connsiteX18120" fmla="*/ 3734274 w 8079933"/>
              <a:gd name="connsiteY18120" fmla="*/ 1637374 h 4687251"/>
              <a:gd name="connsiteX18121" fmla="*/ 3729717 w 8079933"/>
              <a:gd name="connsiteY18121" fmla="*/ 1640297 h 4687251"/>
              <a:gd name="connsiteX18122" fmla="*/ 3726353 w 8079933"/>
              <a:gd name="connsiteY18122" fmla="*/ 1640297 h 4687251"/>
              <a:gd name="connsiteX18123" fmla="*/ 3734709 w 8079933"/>
              <a:gd name="connsiteY18123" fmla="*/ 1634668 h 4687251"/>
              <a:gd name="connsiteX18124" fmla="*/ 3738615 w 8079933"/>
              <a:gd name="connsiteY18124" fmla="*/ 1629146 h 4687251"/>
              <a:gd name="connsiteX18125" fmla="*/ 3736445 w 8079933"/>
              <a:gd name="connsiteY18125" fmla="*/ 1629362 h 4687251"/>
              <a:gd name="connsiteX18126" fmla="*/ 3741328 w 8079933"/>
              <a:gd name="connsiteY18126" fmla="*/ 1621350 h 4687251"/>
              <a:gd name="connsiteX18127" fmla="*/ 3744366 w 8079933"/>
              <a:gd name="connsiteY18127" fmla="*/ 1623083 h 4687251"/>
              <a:gd name="connsiteX18128" fmla="*/ 3748490 w 8079933"/>
              <a:gd name="connsiteY18128" fmla="*/ 1618860 h 4687251"/>
              <a:gd name="connsiteX18129" fmla="*/ 3735577 w 8079933"/>
              <a:gd name="connsiteY18129" fmla="*/ 1619077 h 4687251"/>
              <a:gd name="connsiteX18130" fmla="*/ 3734165 w 8079933"/>
              <a:gd name="connsiteY18130" fmla="*/ 1613230 h 4687251"/>
              <a:gd name="connsiteX18131" fmla="*/ 3728740 w 8079933"/>
              <a:gd name="connsiteY18131" fmla="*/ 1614313 h 4687251"/>
              <a:gd name="connsiteX18132" fmla="*/ 3730368 w 8079933"/>
              <a:gd name="connsiteY18132" fmla="*/ 1612040 h 4687251"/>
              <a:gd name="connsiteX18133" fmla="*/ 3727546 w 8079933"/>
              <a:gd name="connsiteY18133" fmla="*/ 1613122 h 4687251"/>
              <a:gd name="connsiteX18134" fmla="*/ 3723965 w 8079933"/>
              <a:gd name="connsiteY18134" fmla="*/ 1610957 h 4687251"/>
              <a:gd name="connsiteX18135" fmla="*/ 3726353 w 8079933"/>
              <a:gd name="connsiteY18135" fmla="*/ 1609982 h 4687251"/>
              <a:gd name="connsiteX18136" fmla="*/ 3724833 w 8079933"/>
              <a:gd name="connsiteY18136" fmla="*/ 1605976 h 4687251"/>
              <a:gd name="connsiteX18137" fmla="*/ 3731561 w 8079933"/>
              <a:gd name="connsiteY18137" fmla="*/ 1605868 h 4687251"/>
              <a:gd name="connsiteX18138" fmla="*/ 3729825 w 8079933"/>
              <a:gd name="connsiteY18138" fmla="*/ 1603486 h 4687251"/>
              <a:gd name="connsiteX18139" fmla="*/ 3730585 w 8079933"/>
              <a:gd name="connsiteY18139" fmla="*/ 1600779 h 4687251"/>
              <a:gd name="connsiteX18140" fmla="*/ 3736553 w 8079933"/>
              <a:gd name="connsiteY18140" fmla="*/ 1599589 h 4687251"/>
              <a:gd name="connsiteX18141" fmla="*/ 3735034 w 8079933"/>
              <a:gd name="connsiteY18141" fmla="*/ 1595907 h 4687251"/>
              <a:gd name="connsiteX18142" fmla="*/ 3730368 w 8079933"/>
              <a:gd name="connsiteY18142" fmla="*/ 1597098 h 4687251"/>
              <a:gd name="connsiteX18143" fmla="*/ 3723531 w 8079933"/>
              <a:gd name="connsiteY18143" fmla="*/ 1592226 h 4687251"/>
              <a:gd name="connsiteX18144" fmla="*/ 3729391 w 8079933"/>
              <a:gd name="connsiteY18144" fmla="*/ 1592010 h 4687251"/>
              <a:gd name="connsiteX18145" fmla="*/ 3729934 w 8079933"/>
              <a:gd name="connsiteY18145" fmla="*/ 1594283 h 4687251"/>
              <a:gd name="connsiteX18146" fmla="*/ 3732538 w 8079933"/>
              <a:gd name="connsiteY18146" fmla="*/ 1594175 h 4687251"/>
              <a:gd name="connsiteX18147" fmla="*/ 3731127 w 8079933"/>
              <a:gd name="connsiteY18147" fmla="*/ 1590277 h 4687251"/>
              <a:gd name="connsiteX18148" fmla="*/ 3729825 w 8079933"/>
              <a:gd name="connsiteY18148" fmla="*/ 1589519 h 4687251"/>
              <a:gd name="connsiteX18149" fmla="*/ 3729174 w 8079933"/>
              <a:gd name="connsiteY18149" fmla="*/ 1585513 h 4687251"/>
              <a:gd name="connsiteX18150" fmla="*/ 3726136 w 8079933"/>
              <a:gd name="connsiteY18150" fmla="*/ 1588545 h 4687251"/>
              <a:gd name="connsiteX18151" fmla="*/ 3727221 w 8079933"/>
              <a:gd name="connsiteY18151" fmla="*/ 1581940 h 4687251"/>
              <a:gd name="connsiteX18152" fmla="*/ 3733297 w 8079933"/>
              <a:gd name="connsiteY18152" fmla="*/ 1583565 h 4687251"/>
              <a:gd name="connsiteX18153" fmla="*/ 3733297 w 8079933"/>
              <a:gd name="connsiteY18153" fmla="*/ 1581616 h 4687251"/>
              <a:gd name="connsiteX18154" fmla="*/ 3744258 w 8079933"/>
              <a:gd name="connsiteY18154" fmla="*/ 1583239 h 4687251"/>
              <a:gd name="connsiteX18155" fmla="*/ 3745669 w 8079933"/>
              <a:gd name="connsiteY18155" fmla="*/ 1587679 h 4687251"/>
              <a:gd name="connsiteX18156" fmla="*/ 3748708 w 8079933"/>
              <a:gd name="connsiteY18156" fmla="*/ 1584214 h 4687251"/>
              <a:gd name="connsiteX18157" fmla="*/ 3752179 w 8079933"/>
              <a:gd name="connsiteY18157" fmla="*/ 1585838 h 4687251"/>
              <a:gd name="connsiteX18158" fmla="*/ 3758908 w 8079933"/>
              <a:gd name="connsiteY18158" fmla="*/ 1584539 h 4687251"/>
              <a:gd name="connsiteX18159" fmla="*/ 3756520 w 8079933"/>
              <a:gd name="connsiteY18159" fmla="*/ 1582373 h 4687251"/>
              <a:gd name="connsiteX18160" fmla="*/ 3763356 w 8079933"/>
              <a:gd name="connsiteY18160" fmla="*/ 1579775 h 4687251"/>
              <a:gd name="connsiteX18161" fmla="*/ 3768782 w 8079933"/>
              <a:gd name="connsiteY18161" fmla="*/ 1574037 h 4687251"/>
              <a:gd name="connsiteX18162" fmla="*/ 3765961 w 8079933"/>
              <a:gd name="connsiteY18162" fmla="*/ 1574037 h 4687251"/>
              <a:gd name="connsiteX18163" fmla="*/ 3761838 w 8079933"/>
              <a:gd name="connsiteY18163" fmla="*/ 1575444 h 4687251"/>
              <a:gd name="connsiteX18164" fmla="*/ 3762597 w 8079933"/>
              <a:gd name="connsiteY18164" fmla="*/ 1574037 h 4687251"/>
              <a:gd name="connsiteX18165" fmla="*/ 3757497 w 8079933"/>
              <a:gd name="connsiteY18165" fmla="*/ 1574037 h 4687251"/>
              <a:gd name="connsiteX18166" fmla="*/ 3756195 w 8079933"/>
              <a:gd name="connsiteY18166" fmla="*/ 1570247 h 4687251"/>
              <a:gd name="connsiteX18167" fmla="*/ 3760861 w 8079933"/>
              <a:gd name="connsiteY18167" fmla="*/ 1569056 h 4687251"/>
              <a:gd name="connsiteX18168" fmla="*/ 3760535 w 8079933"/>
              <a:gd name="connsiteY18168" fmla="*/ 1567216 h 4687251"/>
              <a:gd name="connsiteX18169" fmla="*/ 3763900 w 8079933"/>
              <a:gd name="connsiteY18169" fmla="*/ 1567108 h 4687251"/>
              <a:gd name="connsiteX18170" fmla="*/ 3764768 w 8079933"/>
              <a:gd name="connsiteY18170" fmla="*/ 1565267 h 4687251"/>
              <a:gd name="connsiteX18171" fmla="*/ 3761512 w 8079933"/>
              <a:gd name="connsiteY18171" fmla="*/ 1563967 h 4687251"/>
              <a:gd name="connsiteX18172" fmla="*/ 3763031 w 8079933"/>
              <a:gd name="connsiteY18172" fmla="*/ 1560070 h 4687251"/>
              <a:gd name="connsiteX18173" fmla="*/ 3765201 w 8079933"/>
              <a:gd name="connsiteY18173" fmla="*/ 1559961 h 4687251"/>
              <a:gd name="connsiteX18174" fmla="*/ 3765201 w 8079933"/>
              <a:gd name="connsiteY18174" fmla="*/ 1556821 h 4687251"/>
              <a:gd name="connsiteX18175" fmla="*/ 3771712 w 8079933"/>
              <a:gd name="connsiteY18175" fmla="*/ 1555198 h 4687251"/>
              <a:gd name="connsiteX18176" fmla="*/ 3773774 w 8079933"/>
              <a:gd name="connsiteY18176" fmla="*/ 1557147 h 4687251"/>
              <a:gd name="connsiteX18177" fmla="*/ 3777464 w 8079933"/>
              <a:gd name="connsiteY18177" fmla="*/ 1557038 h 4687251"/>
              <a:gd name="connsiteX18178" fmla="*/ 3775619 w 8079933"/>
              <a:gd name="connsiteY18178" fmla="*/ 1554331 h 4687251"/>
              <a:gd name="connsiteX18179" fmla="*/ 3778766 w 8079933"/>
              <a:gd name="connsiteY18179" fmla="*/ 1553682 h 4687251"/>
              <a:gd name="connsiteX18180" fmla="*/ 3781045 w 8079933"/>
              <a:gd name="connsiteY18180" fmla="*/ 1557796 h 4687251"/>
              <a:gd name="connsiteX18181" fmla="*/ 3779200 w 8079933"/>
              <a:gd name="connsiteY18181" fmla="*/ 1560070 h 4687251"/>
              <a:gd name="connsiteX18182" fmla="*/ 3778766 w 8079933"/>
              <a:gd name="connsiteY18182" fmla="*/ 1563426 h 4687251"/>
              <a:gd name="connsiteX18183" fmla="*/ 3782130 w 8079933"/>
              <a:gd name="connsiteY18183" fmla="*/ 1558446 h 4687251"/>
              <a:gd name="connsiteX18184" fmla="*/ 3781371 w 8079933"/>
              <a:gd name="connsiteY18184" fmla="*/ 1553032 h 4687251"/>
              <a:gd name="connsiteX18185" fmla="*/ 3786254 w 8079933"/>
              <a:gd name="connsiteY18185" fmla="*/ 1553032 h 4687251"/>
              <a:gd name="connsiteX18186" fmla="*/ 5290620 w 8079933"/>
              <a:gd name="connsiteY18186" fmla="*/ 1547512 h 4687251"/>
              <a:gd name="connsiteX18187" fmla="*/ 5282373 w 8079933"/>
              <a:gd name="connsiteY18187" fmla="*/ 1550110 h 4687251"/>
              <a:gd name="connsiteX18188" fmla="*/ 5282373 w 8079933"/>
              <a:gd name="connsiteY18188" fmla="*/ 1552400 h 4687251"/>
              <a:gd name="connsiteX18189" fmla="*/ 5282698 w 8079933"/>
              <a:gd name="connsiteY18189" fmla="*/ 1550326 h 4687251"/>
              <a:gd name="connsiteX18190" fmla="*/ 5290945 w 8079933"/>
              <a:gd name="connsiteY18190" fmla="*/ 1547728 h 4687251"/>
              <a:gd name="connsiteX18191" fmla="*/ 5293150 w 8079933"/>
              <a:gd name="connsiteY18191" fmla="*/ 1547512 h 4687251"/>
              <a:gd name="connsiteX18192" fmla="*/ 1163514 w 8079933"/>
              <a:gd name="connsiteY18192" fmla="*/ 1545562 h 4687251"/>
              <a:gd name="connsiteX18193" fmla="*/ 1163839 w 8079933"/>
              <a:gd name="connsiteY18193" fmla="*/ 1549244 h 4687251"/>
              <a:gd name="connsiteX18194" fmla="*/ 1157112 w 8079933"/>
              <a:gd name="connsiteY18194" fmla="*/ 1546320 h 4687251"/>
              <a:gd name="connsiteX18195" fmla="*/ 4145660 w 8079933"/>
              <a:gd name="connsiteY18195" fmla="*/ 1545237 h 4687251"/>
              <a:gd name="connsiteX18196" fmla="*/ 4150869 w 8079933"/>
              <a:gd name="connsiteY18196" fmla="*/ 1548052 h 4687251"/>
              <a:gd name="connsiteX18197" fmla="*/ 4154124 w 8079933"/>
              <a:gd name="connsiteY18197" fmla="*/ 1547510 h 4687251"/>
              <a:gd name="connsiteX18198" fmla="*/ 4157162 w 8079933"/>
              <a:gd name="connsiteY18198" fmla="*/ 1554223 h 4687251"/>
              <a:gd name="connsiteX18199" fmla="*/ 4158356 w 8079933"/>
              <a:gd name="connsiteY18199" fmla="*/ 1558013 h 4687251"/>
              <a:gd name="connsiteX18200" fmla="*/ 4155535 w 8079933"/>
              <a:gd name="connsiteY18200" fmla="*/ 1563643 h 4687251"/>
              <a:gd name="connsiteX18201" fmla="*/ 4150869 w 8079933"/>
              <a:gd name="connsiteY18201" fmla="*/ 1564509 h 4687251"/>
              <a:gd name="connsiteX18202" fmla="*/ 4148264 w 8079933"/>
              <a:gd name="connsiteY18202" fmla="*/ 1562777 h 4687251"/>
              <a:gd name="connsiteX18203" fmla="*/ 4144249 w 8079933"/>
              <a:gd name="connsiteY18203" fmla="*/ 1562235 h 4687251"/>
              <a:gd name="connsiteX18204" fmla="*/ 4139800 w 8079933"/>
              <a:gd name="connsiteY18204" fmla="*/ 1557688 h 4687251"/>
              <a:gd name="connsiteX18205" fmla="*/ 4137413 w 8079933"/>
              <a:gd name="connsiteY18205" fmla="*/ 1552491 h 4687251"/>
              <a:gd name="connsiteX18206" fmla="*/ 4138390 w 8079933"/>
              <a:gd name="connsiteY18206" fmla="*/ 1546645 h 4687251"/>
              <a:gd name="connsiteX18207" fmla="*/ 6746985 w 8079933"/>
              <a:gd name="connsiteY18207" fmla="*/ 1544697 h 4687251"/>
              <a:gd name="connsiteX18208" fmla="*/ 6748636 w 8079933"/>
              <a:gd name="connsiteY18208" fmla="*/ 1545055 h 4687251"/>
              <a:gd name="connsiteX18209" fmla="*/ 6748542 w 8079933"/>
              <a:gd name="connsiteY18209" fmla="*/ 1544697 h 4687251"/>
              <a:gd name="connsiteX18210" fmla="*/ 5543683 w 8079933"/>
              <a:gd name="connsiteY18210" fmla="*/ 1543753 h 4687251"/>
              <a:gd name="connsiteX18211" fmla="*/ 5543464 w 8079933"/>
              <a:gd name="connsiteY18211" fmla="*/ 1543831 h 4687251"/>
              <a:gd name="connsiteX18212" fmla="*/ 5544233 w 8079933"/>
              <a:gd name="connsiteY18212" fmla="*/ 1548090 h 4687251"/>
              <a:gd name="connsiteX18213" fmla="*/ 5544440 w 8079933"/>
              <a:gd name="connsiteY18213" fmla="*/ 1547945 h 4687251"/>
              <a:gd name="connsiteX18214" fmla="*/ 2218405 w 8079933"/>
              <a:gd name="connsiteY18214" fmla="*/ 1543505 h 4687251"/>
              <a:gd name="connsiteX18215" fmla="*/ 2218405 w 8079933"/>
              <a:gd name="connsiteY18215" fmla="*/ 1549027 h 4687251"/>
              <a:gd name="connsiteX18216" fmla="*/ 2217320 w 8079933"/>
              <a:gd name="connsiteY18216" fmla="*/ 1551301 h 4687251"/>
              <a:gd name="connsiteX18217" fmla="*/ 2216126 w 8079933"/>
              <a:gd name="connsiteY18217" fmla="*/ 1549676 h 4687251"/>
              <a:gd name="connsiteX18218" fmla="*/ 2215801 w 8079933"/>
              <a:gd name="connsiteY18218" fmla="*/ 1544696 h 4687251"/>
              <a:gd name="connsiteX18219" fmla="*/ 2217103 w 8079933"/>
              <a:gd name="connsiteY18219" fmla="*/ 1544371 h 4687251"/>
              <a:gd name="connsiteX18220" fmla="*/ 4195795 w 8079933"/>
              <a:gd name="connsiteY18220" fmla="*/ 1540582 h 4687251"/>
              <a:gd name="connsiteX18221" fmla="*/ 4197315 w 8079933"/>
              <a:gd name="connsiteY18221" fmla="*/ 1546645 h 4687251"/>
              <a:gd name="connsiteX18222" fmla="*/ 4194060 w 8079933"/>
              <a:gd name="connsiteY18222" fmla="*/ 1545563 h 4687251"/>
              <a:gd name="connsiteX18223" fmla="*/ 3827490 w 8079933"/>
              <a:gd name="connsiteY18223" fmla="*/ 1540149 h 4687251"/>
              <a:gd name="connsiteX18224" fmla="*/ 3830746 w 8079933"/>
              <a:gd name="connsiteY18224" fmla="*/ 1546753 h 4687251"/>
              <a:gd name="connsiteX18225" fmla="*/ 3829335 w 8079933"/>
              <a:gd name="connsiteY18225" fmla="*/ 1551518 h 4687251"/>
              <a:gd name="connsiteX18226" fmla="*/ 3824886 w 8079933"/>
              <a:gd name="connsiteY18226" fmla="*/ 1549677 h 4687251"/>
              <a:gd name="connsiteX18227" fmla="*/ 3823692 w 8079933"/>
              <a:gd name="connsiteY18227" fmla="*/ 1542747 h 4687251"/>
              <a:gd name="connsiteX18228" fmla="*/ 1164818 w 8079933"/>
              <a:gd name="connsiteY18228" fmla="*/ 1537117 h 4687251"/>
              <a:gd name="connsiteX18229" fmla="*/ 1167747 w 8079933"/>
              <a:gd name="connsiteY18229" fmla="*/ 1539282 h 4687251"/>
              <a:gd name="connsiteX18230" fmla="*/ 1164166 w 8079933"/>
              <a:gd name="connsiteY18230" fmla="*/ 1542530 h 4687251"/>
              <a:gd name="connsiteX18231" fmla="*/ 1160043 w 8079933"/>
              <a:gd name="connsiteY18231" fmla="*/ 1542855 h 4687251"/>
              <a:gd name="connsiteX18232" fmla="*/ 1160368 w 8079933"/>
              <a:gd name="connsiteY18232" fmla="*/ 1539282 h 4687251"/>
              <a:gd name="connsiteX18233" fmla="*/ 1163515 w 8079933"/>
              <a:gd name="connsiteY18233" fmla="*/ 1539066 h 4687251"/>
              <a:gd name="connsiteX18234" fmla="*/ 3829335 w 8079933"/>
              <a:gd name="connsiteY18234" fmla="*/ 1534410 h 4687251"/>
              <a:gd name="connsiteX18235" fmla="*/ 3831288 w 8079933"/>
              <a:gd name="connsiteY18235" fmla="*/ 1536467 h 4687251"/>
              <a:gd name="connsiteX18236" fmla="*/ 3831505 w 8079933"/>
              <a:gd name="connsiteY18236" fmla="*/ 1539824 h 4687251"/>
              <a:gd name="connsiteX18237" fmla="*/ 3828901 w 8079933"/>
              <a:gd name="connsiteY18237" fmla="*/ 1537658 h 4687251"/>
              <a:gd name="connsiteX18238" fmla="*/ 5519569 w 8079933"/>
              <a:gd name="connsiteY18238" fmla="*/ 1534372 h 4687251"/>
              <a:gd name="connsiteX18239" fmla="*/ 5517962 w 8079933"/>
              <a:gd name="connsiteY18239" fmla="*/ 1538200 h 4687251"/>
              <a:gd name="connsiteX18240" fmla="*/ 5515032 w 8079933"/>
              <a:gd name="connsiteY18240" fmla="*/ 1540798 h 4687251"/>
              <a:gd name="connsiteX18241" fmla="*/ 5514923 w 8079933"/>
              <a:gd name="connsiteY18241" fmla="*/ 1546970 h 4687251"/>
              <a:gd name="connsiteX18242" fmla="*/ 5515141 w 8079933"/>
              <a:gd name="connsiteY18242" fmla="*/ 1547253 h 4687251"/>
              <a:gd name="connsiteX18243" fmla="*/ 5515141 w 8079933"/>
              <a:gd name="connsiteY18243" fmla="*/ 1541882 h 4687251"/>
              <a:gd name="connsiteX18244" fmla="*/ 5518071 w 8079933"/>
              <a:gd name="connsiteY18244" fmla="*/ 1539284 h 4687251"/>
              <a:gd name="connsiteX18245" fmla="*/ 5520025 w 8079933"/>
              <a:gd name="connsiteY18245" fmla="*/ 1534627 h 4687251"/>
              <a:gd name="connsiteX18246" fmla="*/ 3809043 w 8079933"/>
              <a:gd name="connsiteY18246" fmla="*/ 1533002 h 4687251"/>
              <a:gd name="connsiteX18247" fmla="*/ 3810996 w 8079933"/>
              <a:gd name="connsiteY18247" fmla="*/ 1540689 h 4687251"/>
              <a:gd name="connsiteX18248" fmla="*/ 3806113 w 8079933"/>
              <a:gd name="connsiteY18248" fmla="*/ 1543720 h 4687251"/>
              <a:gd name="connsiteX18249" fmla="*/ 3806656 w 8079933"/>
              <a:gd name="connsiteY18249" fmla="*/ 1539065 h 4687251"/>
              <a:gd name="connsiteX18250" fmla="*/ 3802316 w 8079933"/>
              <a:gd name="connsiteY18250" fmla="*/ 1541879 h 4687251"/>
              <a:gd name="connsiteX18251" fmla="*/ 3802207 w 8079933"/>
              <a:gd name="connsiteY18251" fmla="*/ 1535817 h 4687251"/>
              <a:gd name="connsiteX18252" fmla="*/ 5496809 w 8079933"/>
              <a:gd name="connsiteY18252" fmla="*/ 1532695 h 4687251"/>
              <a:gd name="connsiteX18253" fmla="*/ 5496368 w 8079933"/>
              <a:gd name="connsiteY18253" fmla="*/ 1532787 h 4687251"/>
              <a:gd name="connsiteX18254" fmla="*/ 5497670 w 8079933"/>
              <a:gd name="connsiteY18254" fmla="*/ 1535494 h 4687251"/>
              <a:gd name="connsiteX18255" fmla="*/ 5499707 w 8079933"/>
              <a:gd name="connsiteY18255" fmla="*/ 1536426 h 4687251"/>
              <a:gd name="connsiteX18256" fmla="*/ 5500382 w 8079933"/>
              <a:gd name="connsiteY18256" fmla="*/ 1535710 h 4687251"/>
              <a:gd name="connsiteX18257" fmla="*/ 5497669 w 8079933"/>
              <a:gd name="connsiteY18257" fmla="*/ 1534411 h 4687251"/>
              <a:gd name="connsiteX18258" fmla="*/ 1158849 w 8079933"/>
              <a:gd name="connsiteY18258" fmla="*/ 1531812 h 4687251"/>
              <a:gd name="connsiteX18259" fmla="*/ 1160694 w 8079933"/>
              <a:gd name="connsiteY18259" fmla="*/ 1535926 h 4687251"/>
              <a:gd name="connsiteX18260" fmla="*/ 1155919 w 8079933"/>
              <a:gd name="connsiteY18260" fmla="*/ 1535493 h 4687251"/>
              <a:gd name="connsiteX18261" fmla="*/ 4154234 w 8079933"/>
              <a:gd name="connsiteY18261" fmla="*/ 1530838 h 4687251"/>
              <a:gd name="connsiteX18262" fmla="*/ 4155970 w 8079933"/>
              <a:gd name="connsiteY18262" fmla="*/ 1536901 h 4687251"/>
              <a:gd name="connsiteX18263" fmla="*/ 4155536 w 8079933"/>
              <a:gd name="connsiteY18263" fmla="*/ 1540257 h 4687251"/>
              <a:gd name="connsiteX18264" fmla="*/ 4151847 w 8079933"/>
              <a:gd name="connsiteY18264" fmla="*/ 1541015 h 4687251"/>
              <a:gd name="connsiteX18265" fmla="*/ 4154234 w 8079933"/>
              <a:gd name="connsiteY18265" fmla="*/ 1537334 h 4687251"/>
              <a:gd name="connsiteX18266" fmla="*/ 5334623 w 8079933"/>
              <a:gd name="connsiteY18266" fmla="*/ 1530587 h 4687251"/>
              <a:gd name="connsiteX18267" fmla="*/ 5334461 w 8079933"/>
              <a:gd name="connsiteY18267" fmla="*/ 1530730 h 4687251"/>
              <a:gd name="connsiteX18268" fmla="*/ 5334461 w 8079933"/>
              <a:gd name="connsiteY18268" fmla="*/ 1534591 h 4687251"/>
              <a:gd name="connsiteX18269" fmla="*/ 5334786 w 8079933"/>
              <a:gd name="connsiteY18269" fmla="*/ 1534302 h 4687251"/>
              <a:gd name="connsiteX18270" fmla="*/ 4192540 w 8079933"/>
              <a:gd name="connsiteY18270" fmla="*/ 1529321 h 4687251"/>
              <a:gd name="connsiteX18271" fmla="*/ 4193951 w 8079933"/>
              <a:gd name="connsiteY18271" fmla="*/ 1533219 h 4687251"/>
              <a:gd name="connsiteX18272" fmla="*/ 4194384 w 8079933"/>
              <a:gd name="connsiteY18272" fmla="*/ 1538415 h 4687251"/>
              <a:gd name="connsiteX18273" fmla="*/ 4192866 w 8079933"/>
              <a:gd name="connsiteY18273" fmla="*/ 1544046 h 4687251"/>
              <a:gd name="connsiteX18274" fmla="*/ 4187874 w 8079933"/>
              <a:gd name="connsiteY18274" fmla="*/ 1546428 h 4687251"/>
              <a:gd name="connsiteX18275" fmla="*/ 4187874 w 8079933"/>
              <a:gd name="connsiteY18275" fmla="*/ 1548160 h 4687251"/>
              <a:gd name="connsiteX18276" fmla="*/ 4192214 w 8079933"/>
              <a:gd name="connsiteY18276" fmla="*/ 1551084 h 4687251"/>
              <a:gd name="connsiteX18277" fmla="*/ 4193082 w 8079933"/>
              <a:gd name="connsiteY18277" fmla="*/ 1554007 h 4687251"/>
              <a:gd name="connsiteX18278" fmla="*/ 4190586 w 8079933"/>
              <a:gd name="connsiteY18278" fmla="*/ 1556281 h 4687251"/>
              <a:gd name="connsiteX18279" fmla="*/ 4185594 w 8079933"/>
              <a:gd name="connsiteY18279" fmla="*/ 1558338 h 4687251"/>
              <a:gd name="connsiteX18280" fmla="*/ 4185812 w 8079933"/>
              <a:gd name="connsiteY18280" fmla="*/ 1561586 h 4687251"/>
              <a:gd name="connsiteX18281" fmla="*/ 4183967 w 8079933"/>
              <a:gd name="connsiteY18281" fmla="*/ 1564076 h 4687251"/>
              <a:gd name="connsiteX18282" fmla="*/ 4180387 w 8079933"/>
              <a:gd name="connsiteY18282" fmla="*/ 1564293 h 4687251"/>
              <a:gd name="connsiteX18283" fmla="*/ 4178541 w 8079933"/>
              <a:gd name="connsiteY18283" fmla="*/ 1561803 h 4687251"/>
              <a:gd name="connsiteX18284" fmla="*/ 4180603 w 8079933"/>
              <a:gd name="connsiteY18284" fmla="*/ 1559313 h 4687251"/>
              <a:gd name="connsiteX18285" fmla="*/ 4179735 w 8079933"/>
              <a:gd name="connsiteY18285" fmla="*/ 1557147 h 4687251"/>
              <a:gd name="connsiteX18286" fmla="*/ 4174201 w 8079933"/>
              <a:gd name="connsiteY18286" fmla="*/ 1555631 h 4687251"/>
              <a:gd name="connsiteX18287" fmla="*/ 4171162 w 8079933"/>
              <a:gd name="connsiteY18287" fmla="*/ 1555631 h 4687251"/>
              <a:gd name="connsiteX18288" fmla="*/ 4168449 w 8079933"/>
              <a:gd name="connsiteY18288" fmla="*/ 1552275 h 4687251"/>
              <a:gd name="connsiteX18289" fmla="*/ 4168666 w 8079933"/>
              <a:gd name="connsiteY18289" fmla="*/ 1547403 h 4687251"/>
              <a:gd name="connsiteX18290" fmla="*/ 4166822 w 8079933"/>
              <a:gd name="connsiteY18290" fmla="*/ 1544479 h 4687251"/>
              <a:gd name="connsiteX18291" fmla="*/ 4166171 w 8079933"/>
              <a:gd name="connsiteY18291" fmla="*/ 1541015 h 4687251"/>
              <a:gd name="connsiteX18292" fmla="*/ 4169101 w 8079933"/>
              <a:gd name="connsiteY18292" fmla="*/ 1540148 h 4687251"/>
              <a:gd name="connsiteX18293" fmla="*/ 4170945 w 8079933"/>
              <a:gd name="connsiteY18293" fmla="*/ 1536575 h 4687251"/>
              <a:gd name="connsiteX18294" fmla="*/ 4173224 w 8079933"/>
              <a:gd name="connsiteY18294" fmla="*/ 1534951 h 4687251"/>
              <a:gd name="connsiteX18295" fmla="*/ 4175394 w 8079933"/>
              <a:gd name="connsiteY18295" fmla="*/ 1537766 h 4687251"/>
              <a:gd name="connsiteX18296" fmla="*/ 4175612 w 8079933"/>
              <a:gd name="connsiteY18296" fmla="*/ 1540040 h 4687251"/>
              <a:gd name="connsiteX18297" fmla="*/ 4179952 w 8079933"/>
              <a:gd name="connsiteY18297" fmla="*/ 1542963 h 4687251"/>
              <a:gd name="connsiteX18298" fmla="*/ 4180928 w 8079933"/>
              <a:gd name="connsiteY18298" fmla="*/ 1541772 h 4687251"/>
              <a:gd name="connsiteX18299" fmla="*/ 4183425 w 8079933"/>
              <a:gd name="connsiteY18299" fmla="*/ 1542422 h 4687251"/>
              <a:gd name="connsiteX18300" fmla="*/ 4183750 w 8079933"/>
              <a:gd name="connsiteY18300" fmla="*/ 1539931 h 4687251"/>
              <a:gd name="connsiteX18301" fmla="*/ 4180060 w 8079933"/>
              <a:gd name="connsiteY18301" fmla="*/ 1537441 h 4687251"/>
              <a:gd name="connsiteX18302" fmla="*/ 4178433 w 8079933"/>
              <a:gd name="connsiteY18302" fmla="*/ 1535276 h 4687251"/>
              <a:gd name="connsiteX18303" fmla="*/ 4180712 w 8079933"/>
              <a:gd name="connsiteY18303" fmla="*/ 1531053 h 4687251"/>
              <a:gd name="connsiteX18304" fmla="*/ 4187006 w 8079933"/>
              <a:gd name="connsiteY18304" fmla="*/ 1529537 h 4687251"/>
              <a:gd name="connsiteX18305" fmla="*/ 6562251 w 8079933"/>
              <a:gd name="connsiteY18305" fmla="*/ 1528573 h 4687251"/>
              <a:gd name="connsiteX18306" fmla="*/ 6562218 w 8079933"/>
              <a:gd name="connsiteY18306" fmla="*/ 1528672 h 4687251"/>
              <a:gd name="connsiteX18307" fmla="*/ 6562978 w 8079933"/>
              <a:gd name="connsiteY18307" fmla="*/ 1533870 h 4687251"/>
              <a:gd name="connsiteX18308" fmla="*/ 6565764 w 8079933"/>
              <a:gd name="connsiteY18308" fmla="*/ 1536756 h 4687251"/>
              <a:gd name="connsiteX18309" fmla="*/ 6565799 w 8079933"/>
              <a:gd name="connsiteY18309" fmla="*/ 1536467 h 4687251"/>
              <a:gd name="connsiteX18310" fmla="*/ 6562978 w 8079933"/>
              <a:gd name="connsiteY18310" fmla="*/ 1533543 h 4687251"/>
              <a:gd name="connsiteX18311" fmla="*/ 1126076 w 8079933"/>
              <a:gd name="connsiteY18311" fmla="*/ 1527589 h 4687251"/>
              <a:gd name="connsiteX18312" fmla="*/ 1130417 w 8079933"/>
              <a:gd name="connsiteY18312" fmla="*/ 1528563 h 4687251"/>
              <a:gd name="connsiteX18313" fmla="*/ 1133347 w 8079933"/>
              <a:gd name="connsiteY18313" fmla="*/ 1533760 h 4687251"/>
              <a:gd name="connsiteX18314" fmla="*/ 1138882 w 8079933"/>
              <a:gd name="connsiteY18314" fmla="*/ 1533436 h 4687251"/>
              <a:gd name="connsiteX18315" fmla="*/ 1140075 w 8079933"/>
              <a:gd name="connsiteY18315" fmla="*/ 1537875 h 4687251"/>
              <a:gd name="connsiteX18316" fmla="*/ 1143548 w 8079933"/>
              <a:gd name="connsiteY18316" fmla="*/ 1541989 h 4687251"/>
              <a:gd name="connsiteX18317" fmla="*/ 1151035 w 8079933"/>
              <a:gd name="connsiteY18317" fmla="*/ 1546103 h 4687251"/>
              <a:gd name="connsiteX18318" fmla="*/ 1153097 w 8079933"/>
              <a:gd name="connsiteY18318" fmla="*/ 1550217 h 4687251"/>
              <a:gd name="connsiteX18319" fmla="*/ 1158523 w 8079933"/>
              <a:gd name="connsiteY18319" fmla="*/ 1552275 h 4687251"/>
              <a:gd name="connsiteX18320" fmla="*/ 1163298 w 8079933"/>
              <a:gd name="connsiteY18320" fmla="*/ 1552275 h 4687251"/>
              <a:gd name="connsiteX18321" fmla="*/ 1171762 w 8079933"/>
              <a:gd name="connsiteY18321" fmla="*/ 1556822 h 4687251"/>
              <a:gd name="connsiteX18322" fmla="*/ 1176754 w 8079933"/>
              <a:gd name="connsiteY18322" fmla="*/ 1557472 h 4687251"/>
              <a:gd name="connsiteX18323" fmla="*/ 1179358 w 8079933"/>
              <a:gd name="connsiteY18323" fmla="*/ 1560178 h 4687251"/>
              <a:gd name="connsiteX18324" fmla="*/ 1179467 w 8079933"/>
              <a:gd name="connsiteY18324" fmla="*/ 1568515 h 4687251"/>
              <a:gd name="connsiteX18325" fmla="*/ 1185218 w 8079933"/>
              <a:gd name="connsiteY18325" fmla="*/ 1577068 h 4687251"/>
              <a:gd name="connsiteX18326" fmla="*/ 1186195 w 8079933"/>
              <a:gd name="connsiteY18326" fmla="*/ 1590819 h 4687251"/>
              <a:gd name="connsiteX18327" fmla="*/ 1197047 w 8079933"/>
              <a:gd name="connsiteY18327" fmla="*/ 1598182 h 4687251"/>
              <a:gd name="connsiteX18328" fmla="*/ 1201061 w 8079933"/>
              <a:gd name="connsiteY18328" fmla="*/ 1603703 h 4687251"/>
              <a:gd name="connsiteX18329" fmla="*/ 1199976 w 8079933"/>
              <a:gd name="connsiteY18329" fmla="*/ 1613015 h 4687251"/>
              <a:gd name="connsiteX18330" fmla="*/ 1201713 w 8079933"/>
              <a:gd name="connsiteY18330" fmla="*/ 1616804 h 4687251"/>
              <a:gd name="connsiteX18331" fmla="*/ 1200845 w 8079933"/>
              <a:gd name="connsiteY18331" fmla="*/ 1622976 h 4687251"/>
              <a:gd name="connsiteX18332" fmla="*/ 1204100 w 8079933"/>
              <a:gd name="connsiteY18332" fmla="*/ 1635210 h 4687251"/>
              <a:gd name="connsiteX18333" fmla="*/ 1199868 w 8079933"/>
              <a:gd name="connsiteY18333" fmla="*/ 1634669 h 4687251"/>
              <a:gd name="connsiteX18334" fmla="*/ 1197372 w 8079933"/>
              <a:gd name="connsiteY18334" fmla="*/ 1636402 h 4687251"/>
              <a:gd name="connsiteX18335" fmla="*/ 1182831 w 8079933"/>
              <a:gd name="connsiteY18335" fmla="*/ 1627956 h 4687251"/>
              <a:gd name="connsiteX18336" fmla="*/ 1180878 w 8079933"/>
              <a:gd name="connsiteY18336" fmla="*/ 1624492 h 4687251"/>
              <a:gd name="connsiteX18337" fmla="*/ 1177730 w 8079933"/>
              <a:gd name="connsiteY18337" fmla="*/ 1623625 h 4687251"/>
              <a:gd name="connsiteX18338" fmla="*/ 1168832 w 8079933"/>
              <a:gd name="connsiteY18338" fmla="*/ 1614531 h 4687251"/>
              <a:gd name="connsiteX18339" fmla="*/ 1175560 w 8079933"/>
              <a:gd name="connsiteY18339" fmla="*/ 1607493 h 4687251"/>
              <a:gd name="connsiteX18340" fmla="*/ 1171220 w 8079933"/>
              <a:gd name="connsiteY18340" fmla="*/ 1607493 h 4687251"/>
              <a:gd name="connsiteX18341" fmla="*/ 1168941 w 8079933"/>
              <a:gd name="connsiteY18341" fmla="*/ 1605111 h 4687251"/>
              <a:gd name="connsiteX18342" fmla="*/ 1165359 w 8079933"/>
              <a:gd name="connsiteY18342" fmla="*/ 1608359 h 4687251"/>
              <a:gd name="connsiteX18343" fmla="*/ 1160043 w 8079933"/>
              <a:gd name="connsiteY18343" fmla="*/ 1603487 h 4687251"/>
              <a:gd name="connsiteX18344" fmla="*/ 1161561 w 8079933"/>
              <a:gd name="connsiteY18344" fmla="*/ 1599048 h 4687251"/>
              <a:gd name="connsiteX18345" fmla="*/ 1159825 w 8079933"/>
              <a:gd name="connsiteY18345" fmla="*/ 1594609 h 4687251"/>
              <a:gd name="connsiteX18346" fmla="*/ 1156787 w 8079933"/>
              <a:gd name="connsiteY18346" fmla="*/ 1594067 h 4687251"/>
              <a:gd name="connsiteX18347" fmla="*/ 1157221 w 8079933"/>
              <a:gd name="connsiteY18347" fmla="*/ 1590170 h 4687251"/>
              <a:gd name="connsiteX18348" fmla="*/ 1148974 w 8079933"/>
              <a:gd name="connsiteY18348" fmla="*/ 1591036 h 4687251"/>
              <a:gd name="connsiteX18349" fmla="*/ 1147563 w 8079933"/>
              <a:gd name="connsiteY18349" fmla="*/ 1585297 h 4687251"/>
              <a:gd name="connsiteX18350" fmla="*/ 1145176 w 8079933"/>
              <a:gd name="connsiteY18350" fmla="*/ 1586164 h 4687251"/>
              <a:gd name="connsiteX18351" fmla="*/ 1144850 w 8079933"/>
              <a:gd name="connsiteY18351" fmla="*/ 1582266 h 4687251"/>
              <a:gd name="connsiteX18352" fmla="*/ 1148866 w 8079933"/>
              <a:gd name="connsiteY18352" fmla="*/ 1578584 h 4687251"/>
              <a:gd name="connsiteX18353" fmla="*/ 1150384 w 8079933"/>
              <a:gd name="connsiteY18353" fmla="*/ 1572954 h 4687251"/>
              <a:gd name="connsiteX18354" fmla="*/ 1144199 w 8079933"/>
              <a:gd name="connsiteY18354" fmla="*/ 1574687 h 4687251"/>
              <a:gd name="connsiteX18355" fmla="*/ 1143656 w 8079933"/>
              <a:gd name="connsiteY18355" fmla="*/ 1578909 h 4687251"/>
              <a:gd name="connsiteX18356" fmla="*/ 1140184 w 8079933"/>
              <a:gd name="connsiteY18356" fmla="*/ 1580100 h 4687251"/>
              <a:gd name="connsiteX18357" fmla="*/ 1137254 w 8079933"/>
              <a:gd name="connsiteY18357" fmla="*/ 1574362 h 4687251"/>
              <a:gd name="connsiteX18358" fmla="*/ 1143656 w 8079933"/>
              <a:gd name="connsiteY18358" fmla="*/ 1566891 h 4687251"/>
              <a:gd name="connsiteX18359" fmla="*/ 1138665 w 8079933"/>
              <a:gd name="connsiteY18359" fmla="*/ 1569706 h 4687251"/>
              <a:gd name="connsiteX18360" fmla="*/ 1133999 w 8079933"/>
              <a:gd name="connsiteY18360" fmla="*/ 1566458 h 4687251"/>
              <a:gd name="connsiteX18361" fmla="*/ 1133782 w 8079933"/>
              <a:gd name="connsiteY18361" fmla="*/ 1561803 h 4687251"/>
              <a:gd name="connsiteX18362" fmla="*/ 1128681 w 8079933"/>
              <a:gd name="connsiteY18362" fmla="*/ 1562127 h 4687251"/>
              <a:gd name="connsiteX18363" fmla="*/ 1128030 w 8079933"/>
              <a:gd name="connsiteY18363" fmla="*/ 1557688 h 4687251"/>
              <a:gd name="connsiteX18364" fmla="*/ 1122496 w 8079933"/>
              <a:gd name="connsiteY18364" fmla="*/ 1559529 h 4687251"/>
              <a:gd name="connsiteX18365" fmla="*/ 1121085 w 8079933"/>
              <a:gd name="connsiteY18365" fmla="*/ 1558013 h 4687251"/>
              <a:gd name="connsiteX18366" fmla="*/ 1123689 w 8079933"/>
              <a:gd name="connsiteY18366" fmla="*/ 1552275 h 4687251"/>
              <a:gd name="connsiteX18367" fmla="*/ 1120868 w 8079933"/>
              <a:gd name="connsiteY18367" fmla="*/ 1550542 h 4687251"/>
              <a:gd name="connsiteX18368" fmla="*/ 1124340 w 8079933"/>
              <a:gd name="connsiteY18368" fmla="*/ 1545346 h 4687251"/>
              <a:gd name="connsiteX18369" fmla="*/ 1130201 w 8079933"/>
              <a:gd name="connsiteY18369" fmla="*/ 1545670 h 4687251"/>
              <a:gd name="connsiteX18370" fmla="*/ 1135084 w 8079933"/>
              <a:gd name="connsiteY18370" fmla="*/ 1542855 h 4687251"/>
              <a:gd name="connsiteX18371" fmla="*/ 1123364 w 8079933"/>
              <a:gd name="connsiteY18371" fmla="*/ 1541556 h 4687251"/>
              <a:gd name="connsiteX18372" fmla="*/ 1121302 w 8079933"/>
              <a:gd name="connsiteY18372" fmla="*/ 1535709 h 4687251"/>
              <a:gd name="connsiteX18373" fmla="*/ 1119132 w 8079933"/>
              <a:gd name="connsiteY18373" fmla="*/ 1535385 h 4687251"/>
              <a:gd name="connsiteX18374" fmla="*/ 1117070 w 8079933"/>
              <a:gd name="connsiteY18374" fmla="*/ 1528780 h 4687251"/>
              <a:gd name="connsiteX18375" fmla="*/ 1124232 w 8079933"/>
              <a:gd name="connsiteY18375" fmla="*/ 1529321 h 4687251"/>
              <a:gd name="connsiteX18376" fmla="*/ 5565382 w 8079933"/>
              <a:gd name="connsiteY18376" fmla="*/ 1527168 h 4687251"/>
              <a:gd name="connsiteX18377" fmla="*/ 5564950 w 8079933"/>
              <a:gd name="connsiteY18377" fmla="*/ 1527590 h 4687251"/>
              <a:gd name="connsiteX18378" fmla="*/ 5564950 w 8079933"/>
              <a:gd name="connsiteY18378" fmla="*/ 1529847 h 4687251"/>
              <a:gd name="connsiteX18379" fmla="*/ 5565058 w 8079933"/>
              <a:gd name="connsiteY18379" fmla="*/ 1529755 h 4687251"/>
              <a:gd name="connsiteX18380" fmla="*/ 4480434 w 8079933"/>
              <a:gd name="connsiteY18380" fmla="*/ 1526724 h 4687251"/>
              <a:gd name="connsiteX18381" fmla="*/ 4485969 w 8079933"/>
              <a:gd name="connsiteY18381" fmla="*/ 1534194 h 4687251"/>
              <a:gd name="connsiteX18382" fmla="*/ 4492913 w 8079933"/>
              <a:gd name="connsiteY18382" fmla="*/ 1534519 h 4687251"/>
              <a:gd name="connsiteX18383" fmla="*/ 4495192 w 8079933"/>
              <a:gd name="connsiteY18383" fmla="*/ 1536576 h 4687251"/>
              <a:gd name="connsiteX18384" fmla="*/ 4489766 w 8079933"/>
              <a:gd name="connsiteY18384" fmla="*/ 1543721 h 4687251"/>
              <a:gd name="connsiteX18385" fmla="*/ 4493456 w 8079933"/>
              <a:gd name="connsiteY18385" fmla="*/ 1545454 h 4687251"/>
              <a:gd name="connsiteX18386" fmla="*/ 4493456 w 8079933"/>
              <a:gd name="connsiteY18386" fmla="*/ 1550326 h 4687251"/>
              <a:gd name="connsiteX18387" fmla="*/ 4493458 w 8079933"/>
              <a:gd name="connsiteY18387" fmla="*/ 1550325 h 4687251"/>
              <a:gd name="connsiteX18388" fmla="*/ 4493458 w 8079933"/>
              <a:gd name="connsiteY18388" fmla="*/ 1545453 h 4687251"/>
              <a:gd name="connsiteX18389" fmla="*/ 4489768 w 8079933"/>
              <a:gd name="connsiteY18389" fmla="*/ 1543721 h 4687251"/>
              <a:gd name="connsiteX18390" fmla="*/ 4495193 w 8079933"/>
              <a:gd name="connsiteY18390" fmla="*/ 1536576 h 4687251"/>
              <a:gd name="connsiteX18391" fmla="*/ 4492916 w 8079933"/>
              <a:gd name="connsiteY18391" fmla="*/ 1534519 h 4687251"/>
              <a:gd name="connsiteX18392" fmla="*/ 4485970 w 8079933"/>
              <a:gd name="connsiteY18392" fmla="*/ 1534194 h 4687251"/>
              <a:gd name="connsiteX18393" fmla="*/ 4480436 w 8079933"/>
              <a:gd name="connsiteY18393" fmla="*/ 1526724 h 4687251"/>
              <a:gd name="connsiteX18394" fmla="*/ 4570544 w 8079933"/>
              <a:gd name="connsiteY18394" fmla="*/ 1526074 h 4687251"/>
              <a:gd name="connsiteX18395" fmla="*/ 4571156 w 8079933"/>
              <a:gd name="connsiteY18395" fmla="*/ 1526831 h 4687251"/>
              <a:gd name="connsiteX18396" fmla="*/ 4573863 w 8079933"/>
              <a:gd name="connsiteY18396" fmla="*/ 1526831 h 4687251"/>
              <a:gd name="connsiteX18397" fmla="*/ 4571697 w 8079933"/>
              <a:gd name="connsiteY18397" fmla="*/ 1526074 h 4687251"/>
              <a:gd name="connsiteX18398" fmla="*/ 3808390 w 8079933"/>
              <a:gd name="connsiteY18398" fmla="*/ 1526074 h 4687251"/>
              <a:gd name="connsiteX18399" fmla="*/ 3809041 w 8079933"/>
              <a:gd name="connsiteY18399" fmla="*/ 1528456 h 4687251"/>
              <a:gd name="connsiteX18400" fmla="*/ 3806980 w 8079933"/>
              <a:gd name="connsiteY18400" fmla="*/ 1530621 h 4687251"/>
              <a:gd name="connsiteX18401" fmla="*/ 3818700 w 8079933"/>
              <a:gd name="connsiteY18401" fmla="*/ 1525856 h 4687251"/>
              <a:gd name="connsiteX18402" fmla="*/ 3815119 w 8079933"/>
              <a:gd name="connsiteY18402" fmla="*/ 1533868 h 4687251"/>
              <a:gd name="connsiteX18403" fmla="*/ 3812189 w 8079933"/>
              <a:gd name="connsiteY18403" fmla="*/ 1537658 h 4687251"/>
              <a:gd name="connsiteX18404" fmla="*/ 3810561 w 8079933"/>
              <a:gd name="connsiteY18404" fmla="*/ 1533435 h 4687251"/>
              <a:gd name="connsiteX18405" fmla="*/ 5460014 w 8079933"/>
              <a:gd name="connsiteY18405" fmla="*/ 1524262 h 4687251"/>
              <a:gd name="connsiteX18406" fmla="*/ 5456433 w 8079933"/>
              <a:gd name="connsiteY18406" fmla="*/ 1525208 h 4687251"/>
              <a:gd name="connsiteX18407" fmla="*/ 5456737 w 8079933"/>
              <a:gd name="connsiteY18407" fmla="*/ 1525845 h 4687251"/>
              <a:gd name="connsiteX18408" fmla="*/ 5460014 w 8079933"/>
              <a:gd name="connsiteY18408" fmla="*/ 1524884 h 4687251"/>
              <a:gd name="connsiteX18409" fmla="*/ 5587889 w 8079933"/>
              <a:gd name="connsiteY18409" fmla="*/ 1523007 h 4687251"/>
              <a:gd name="connsiteX18410" fmla="*/ 5584373 w 8079933"/>
              <a:gd name="connsiteY18410" fmla="*/ 1523908 h 4687251"/>
              <a:gd name="connsiteX18411" fmla="*/ 5584385 w 8079933"/>
              <a:gd name="connsiteY18411" fmla="*/ 1523931 h 4687251"/>
              <a:gd name="connsiteX18412" fmla="*/ 5587847 w 8079933"/>
              <a:gd name="connsiteY18412" fmla="*/ 1523043 h 4687251"/>
              <a:gd name="connsiteX18413" fmla="*/ 4565512 w 8079933"/>
              <a:gd name="connsiteY18413" fmla="*/ 1522609 h 4687251"/>
              <a:gd name="connsiteX18414" fmla="*/ 4558567 w 8079933"/>
              <a:gd name="connsiteY18414" fmla="*/ 1524666 h 4687251"/>
              <a:gd name="connsiteX18415" fmla="*/ 4554086 w 8079933"/>
              <a:gd name="connsiteY18415" fmla="*/ 1528118 h 4687251"/>
              <a:gd name="connsiteX18416" fmla="*/ 4555312 w 8079933"/>
              <a:gd name="connsiteY18416" fmla="*/ 1530295 h 4687251"/>
              <a:gd name="connsiteX18417" fmla="*/ 4561497 w 8079933"/>
              <a:gd name="connsiteY18417" fmla="*/ 1525531 h 4687251"/>
              <a:gd name="connsiteX18418" fmla="*/ 4566613 w 8079933"/>
              <a:gd name="connsiteY18418" fmla="*/ 1524016 h 4687251"/>
              <a:gd name="connsiteX18419" fmla="*/ 5480401 w 8079933"/>
              <a:gd name="connsiteY18419" fmla="*/ 1521630 h 4687251"/>
              <a:gd name="connsiteX18420" fmla="*/ 5480090 w 8079933"/>
              <a:gd name="connsiteY18420" fmla="*/ 1521852 h 4687251"/>
              <a:gd name="connsiteX18421" fmla="*/ 5481932 w 8079933"/>
              <a:gd name="connsiteY18421" fmla="*/ 1526715 h 4687251"/>
              <a:gd name="connsiteX18422" fmla="*/ 5482042 w 8079933"/>
              <a:gd name="connsiteY18422" fmla="*/ 1525966 h 4687251"/>
              <a:gd name="connsiteX18423" fmla="*/ 7367737 w 8079933"/>
              <a:gd name="connsiteY18423" fmla="*/ 1521526 h 4687251"/>
              <a:gd name="connsiteX18424" fmla="*/ 7369257 w 8079933"/>
              <a:gd name="connsiteY18424" fmla="*/ 1523258 h 4687251"/>
              <a:gd name="connsiteX18425" fmla="*/ 7368931 w 8079933"/>
              <a:gd name="connsiteY18425" fmla="*/ 1527589 h 4687251"/>
              <a:gd name="connsiteX18426" fmla="*/ 7367195 w 8079933"/>
              <a:gd name="connsiteY18426" fmla="*/ 1529863 h 4687251"/>
              <a:gd name="connsiteX18427" fmla="*/ 7365458 w 8079933"/>
              <a:gd name="connsiteY18427" fmla="*/ 1530946 h 4687251"/>
              <a:gd name="connsiteX18428" fmla="*/ 7366326 w 8079933"/>
              <a:gd name="connsiteY18428" fmla="*/ 1524991 h 4687251"/>
              <a:gd name="connsiteX18429" fmla="*/ 4542723 w 8079933"/>
              <a:gd name="connsiteY18429" fmla="*/ 1520877 h 4687251"/>
              <a:gd name="connsiteX18430" fmla="*/ 4538692 w 8079933"/>
              <a:gd name="connsiteY18430" fmla="*/ 1522739 h 4687251"/>
              <a:gd name="connsiteX18431" fmla="*/ 4539794 w 8079933"/>
              <a:gd name="connsiteY18431" fmla="*/ 1524449 h 4687251"/>
              <a:gd name="connsiteX18432" fmla="*/ 4545654 w 8079933"/>
              <a:gd name="connsiteY18432" fmla="*/ 1521742 h 4687251"/>
              <a:gd name="connsiteX18433" fmla="*/ 4548235 w 8079933"/>
              <a:gd name="connsiteY18433" fmla="*/ 1522064 h 4687251"/>
              <a:gd name="connsiteX18434" fmla="*/ 4547932 w 8079933"/>
              <a:gd name="connsiteY18434" fmla="*/ 1521527 h 4687251"/>
              <a:gd name="connsiteX18435" fmla="*/ 5591753 w 8079933"/>
              <a:gd name="connsiteY18435" fmla="*/ 1518864 h 4687251"/>
              <a:gd name="connsiteX18436" fmla="*/ 5588788 w 8079933"/>
              <a:gd name="connsiteY18436" fmla="*/ 1522235 h 4687251"/>
              <a:gd name="connsiteX18437" fmla="*/ 5591753 w 8079933"/>
              <a:gd name="connsiteY18437" fmla="*/ 1519686 h 4687251"/>
              <a:gd name="connsiteX18438" fmla="*/ 4469149 w 8079933"/>
              <a:gd name="connsiteY18438" fmla="*/ 1518820 h 4687251"/>
              <a:gd name="connsiteX18439" fmla="*/ 4475334 w 8079933"/>
              <a:gd name="connsiteY18439" fmla="*/ 1525965 h 4687251"/>
              <a:gd name="connsiteX18440" fmla="*/ 4477404 w 8079933"/>
              <a:gd name="connsiteY18440" fmla="*/ 1526273 h 4687251"/>
              <a:gd name="connsiteX18441" fmla="*/ 4475336 w 8079933"/>
              <a:gd name="connsiteY18441" fmla="*/ 1525965 h 4687251"/>
              <a:gd name="connsiteX18442" fmla="*/ 4469150 w 8079933"/>
              <a:gd name="connsiteY18442" fmla="*/ 1518820 h 4687251"/>
              <a:gd name="connsiteX18443" fmla="*/ 4443323 w 8079933"/>
              <a:gd name="connsiteY18443" fmla="*/ 1517629 h 4687251"/>
              <a:gd name="connsiteX18444" fmla="*/ 4443321 w 8079933"/>
              <a:gd name="connsiteY18444" fmla="*/ 1517629 h 4687251"/>
              <a:gd name="connsiteX18445" fmla="*/ 4445453 w 8079933"/>
              <a:gd name="connsiteY18445" fmla="*/ 1518692 h 4687251"/>
              <a:gd name="connsiteX18446" fmla="*/ 7360792 w 8079933"/>
              <a:gd name="connsiteY18446" fmla="*/ 1517087 h 4687251"/>
              <a:gd name="connsiteX18447" fmla="*/ 7362637 w 8079933"/>
              <a:gd name="connsiteY18447" fmla="*/ 1517736 h 4687251"/>
              <a:gd name="connsiteX18448" fmla="*/ 7363396 w 8079933"/>
              <a:gd name="connsiteY18448" fmla="*/ 1519252 h 4687251"/>
              <a:gd name="connsiteX18449" fmla="*/ 7362094 w 8079933"/>
              <a:gd name="connsiteY18449" fmla="*/ 1519902 h 4687251"/>
              <a:gd name="connsiteX18450" fmla="*/ 7359815 w 8079933"/>
              <a:gd name="connsiteY18450" fmla="*/ 1519143 h 4687251"/>
              <a:gd name="connsiteX18451" fmla="*/ 4523643 w 8079933"/>
              <a:gd name="connsiteY18451" fmla="*/ 1517021 h 4687251"/>
              <a:gd name="connsiteX18452" fmla="*/ 4523722 w 8079933"/>
              <a:gd name="connsiteY18452" fmla="*/ 1517641 h 4687251"/>
              <a:gd name="connsiteX18453" fmla="*/ 4524356 w 8079933"/>
              <a:gd name="connsiteY18453" fmla="*/ 1517489 h 4687251"/>
              <a:gd name="connsiteX18454" fmla="*/ 4532089 w 8079933"/>
              <a:gd name="connsiteY18454" fmla="*/ 1516005 h 4687251"/>
              <a:gd name="connsiteX18455" fmla="*/ 4527706 w 8079933"/>
              <a:gd name="connsiteY18455" fmla="*/ 1518647 h 4687251"/>
              <a:gd name="connsiteX18456" fmla="*/ 4529702 w 8079933"/>
              <a:gd name="connsiteY18456" fmla="*/ 1520009 h 4687251"/>
              <a:gd name="connsiteX18457" fmla="*/ 4533260 w 8079933"/>
              <a:gd name="connsiteY18457" fmla="*/ 1517865 h 4687251"/>
              <a:gd name="connsiteX18458" fmla="*/ 4453307 w 8079933"/>
              <a:gd name="connsiteY18458" fmla="*/ 1513731 h 4687251"/>
              <a:gd name="connsiteX18459" fmla="*/ 4453306 w 8079933"/>
              <a:gd name="connsiteY18459" fmla="*/ 1513731 h 4687251"/>
              <a:gd name="connsiteX18460" fmla="*/ 4461660 w 8079933"/>
              <a:gd name="connsiteY18460" fmla="*/ 1517629 h 4687251"/>
              <a:gd name="connsiteX18461" fmla="*/ 4464654 w 8079933"/>
              <a:gd name="connsiteY18461" fmla="*/ 1518105 h 4687251"/>
              <a:gd name="connsiteX18462" fmla="*/ 4461662 w 8079933"/>
              <a:gd name="connsiteY18462" fmla="*/ 1517629 h 4687251"/>
              <a:gd name="connsiteX18463" fmla="*/ 4431928 w 8079933"/>
              <a:gd name="connsiteY18463" fmla="*/ 1513406 h 4687251"/>
              <a:gd name="connsiteX18464" fmla="*/ 4435834 w 8079933"/>
              <a:gd name="connsiteY18464" fmla="*/ 1517845 h 4687251"/>
              <a:gd name="connsiteX18465" fmla="*/ 4435835 w 8079933"/>
              <a:gd name="connsiteY18465" fmla="*/ 1517845 h 4687251"/>
              <a:gd name="connsiteX18466" fmla="*/ 4431929 w 8079933"/>
              <a:gd name="connsiteY18466" fmla="*/ 1513406 h 4687251"/>
              <a:gd name="connsiteX18467" fmla="*/ 6563563 w 8079933"/>
              <a:gd name="connsiteY18467" fmla="*/ 1513284 h 4687251"/>
              <a:gd name="connsiteX18468" fmla="*/ 6563412 w 8079933"/>
              <a:gd name="connsiteY18468" fmla="*/ 1513407 h 4687251"/>
              <a:gd name="connsiteX18469" fmla="*/ 6560699 w 8079933"/>
              <a:gd name="connsiteY18469" fmla="*/ 1518170 h 4687251"/>
              <a:gd name="connsiteX18470" fmla="*/ 6560699 w 8079933"/>
              <a:gd name="connsiteY18470" fmla="*/ 1521742 h 4687251"/>
              <a:gd name="connsiteX18471" fmla="*/ 6560699 w 8079933"/>
              <a:gd name="connsiteY18471" fmla="*/ 1522068 h 4687251"/>
              <a:gd name="connsiteX18472" fmla="*/ 6563016 w 8079933"/>
              <a:gd name="connsiteY18472" fmla="*/ 1525957 h 4687251"/>
              <a:gd name="connsiteX18473" fmla="*/ 6563086 w 8079933"/>
              <a:gd name="connsiteY18473" fmla="*/ 1525748 h 4687251"/>
              <a:gd name="connsiteX18474" fmla="*/ 6560699 w 8079933"/>
              <a:gd name="connsiteY18474" fmla="*/ 1521742 h 4687251"/>
              <a:gd name="connsiteX18475" fmla="*/ 6561024 w 8079933"/>
              <a:gd name="connsiteY18475" fmla="*/ 1517844 h 4687251"/>
              <a:gd name="connsiteX18476" fmla="*/ 3794068 w 8079933"/>
              <a:gd name="connsiteY18476" fmla="*/ 1512431 h 4687251"/>
              <a:gd name="connsiteX18477" fmla="*/ 3797866 w 8079933"/>
              <a:gd name="connsiteY18477" fmla="*/ 1512647 h 4687251"/>
              <a:gd name="connsiteX18478" fmla="*/ 3793634 w 8079933"/>
              <a:gd name="connsiteY18478" fmla="*/ 1515788 h 4687251"/>
              <a:gd name="connsiteX18479" fmla="*/ 4414132 w 8079933"/>
              <a:gd name="connsiteY18479" fmla="*/ 1511998 h 4687251"/>
              <a:gd name="connsiteX18480" fmla="*/ 4414131 w 8079933"/>
              <a:gd name="connsiteY18480" fmla="*/ 1511999 h 4687251"/>
              <a:gd name="connsiteX18481" fmla="*/ 4417277 w 8079933"/>
              <a:gd name="connsiteY18481" fmla="*/ 1514597 h 4687251"/>
              <a:gd name="connsiteX18482" fmla="*/ 4417278 w 8079933"/>
              <a:gd name="connsiteY18482" fmla="*/ 1514596 h 4687251"/>
              <a:gd name="connsiteX18483" fmla="*/ 4400134 w 8079933"/>
              <a:gd name="connsiteY18483" fmla="*/ 1511457 h 4687251"/>
              <a:gd name="connsiteX18484" fmla="*/ 4400133 w 8079933"/>
              <a:gd name="connsiteY18484" fmla="*/ 1511457 h 4687251"/>
              <a:gd name="connsiteX18485" fmla="*/ 4402422 w 8079933"/>
              <a:gd name="connsiteY18485" fmla="*/ 1511695 h 4687251"/>
              <a:gd name="connsiteX18486" fmla="*/ 4426720 w 8079933"/>
              <a:gd name="connsiteY18486" fmla="*/ 1510267 h 4687251"/>
              <a:gd name="connsiteX18487" fmla="*/ 4426719 w 8079933"/>
              <a:gd name="connsiteY18487" fmla="*/ 1510267 h 4687251"/>
              <a:gd name="connsiteX18488" fmla="*/ 4427803 w 8079933"/>
              <a:gd name="connsiteY18488" fmla="*/ 1513189 h 4687251"/>
              <a:gd name="connsiteX18489" fmla="*/ 4427805 w 8079933"/>
              <a:gd name="connsiteY18489" fmla="*/ 1513189 h 4687251"/>
              <a:gd name="connsiteX18490" fmla="*/ 3810344 w 8079933"/>
              <a:gd name="connsiteY18490" fmla="*/ 1508859 h 4687251"/>
              <a:gd name="connsiteX18491" fmla="*/ 3814142 w 8079933"/>
              <a:gd name="connsiteY18491" fmla="*/ 1513082 h 4687251"/>
              <a:gd name="connsiteX18492" fmla="*/ 3817073 w 8079933"/>
              <a:gd name="connsiteY18492" fmla="*/ 1513514 h 4687251"/>
              <a:gd name="connsiteX18493" fmla="*/ 3818809 w 8079933"/>
              <a:gd name="connsiteY18493" fmla="*/ 1517412 h 4687251"/>
              <a:gd name="connsiteX18494" fmla="*/ 3814577 w 8079933"/>
              <a:gd name="connsiteY18494" fmla="*/ 1520553 h 4687251"/>
              <a:gd name="connsiteX18495" fmla="*/ 3814251 w 8079933"/>
              <a:gd name="connsiteY18495" fmla="*/ 1519145 h 4687251"/>
              <a:gd name="connsiteX18496" fmla="*/ 3805461 w 8079933"/>
              <a:gd name="connsiteY18496" fmla="*/ 1521094 h 4687251"/>
              <a:gd name="connsiteX18497" fmla="*/ 3809584 w 8079933"/>
              <a:gd name="connsiteY18497" fmla="*/ 1518171 h 4687251"/>
              <a:gd name="connsiteX18498" fmla="*/ 3808716 w 8079933"/>
              <a:gd name="connsiteY18498" fmla="*/ 1516763 h 4687251"/>
              <a:gd name="connsiteX18499" fmla="*/ 3812081 w 8079933"/>
              <a:gd name="connsiteY18499" fmla="*/ 1514922 h 4687251"/>
              <a:gd name="connsiteX18500" fmla="*/ 3806003 w 8079933"/>
              <a:gd name="connsiteY18500" fmla="*/ 1511890 h 4687251"/>
              <a:gd name="connsiteX18501" fmla="*/ 7368714 w 8079933"/>
              <a:gd name="connsiteY18501" fmla="*/ 1507776 h 4687251"/>
              <a:gd name="connsiteX18502" fmla="*/ 7372186 w 8079933"/>
              <a:gd name="connsiteY18502" fmla="*/ 1509075 h 4687251"/>
              <a:gd name="connsiteX18503" fmla="*/ 7372946 w 8079933"/>
              <a:gd name="connsiteY18503" fmla="*/ 1511999 h 4687251"/>
              <a:gd name="connsiteX18504" fmla="*/ 7370667 w 8079933"/>
              <a:gd name="connsiteY18504" fmla="*/ 1513082 h 4687251"/>
              <a:gd name="connsiteX18505" fmla="*/ 7368171 w 8079933"/>
              <a:gd name="connsiteY18505" fmla="*/ 1510807 h 4687251"/>
              <a:gd name="connsiteX18506" fmla="*/ 7367303 w 8079933"/>
              <a:gd name="connsiteY18506" fmla="*/ 1508751 h 4687251"/>
              <a:gd name="connsiteX18507" fmla="*/ 3803616 w 8079933"/>
              <a:gd name="connsiteY18507" fmla="*/ 1506043 h 4687251"/>
              <a:gd name="connsiteX18508" fmla="*/ 3802640 w 8079933"/>
              <a:gd name="connsiteY18508" fmla="*/ 1509616 h 4687251"/>
              <a:gd name="connsiteX18509" fmla="*/ 3799493 w 8079933"/>
              <a:gd name="connsiteY18509" fmla="*/ 1511023 h 4687251"/>
              <a:gd name="connsiteX18510" fmla="*/ 4121787 w 8079933"/>
              <a:gd name="connsiteY18510" fmla="*/ 1500846 h 4687251"/>
              <a:gd name="connsiteX18511" fmla="*/ 4121136 w 8079933"/>
              <a:gd name="connsiteY18511" fmla="*/ 1503877 h 4687251"/>
              <a:gd name="connsiteX18512" fmla="*/ 4117339 w 8079933"/>
              <a:gd name="connsiteY18512" fmla="*/ 1508209 h 4687251"/>
              <a:gd name="connsiteX18513" fmla="*/ 4114951 w 8079933"/>
              <a:gd name="connsiteY18513" fmla="*/ 1509400 h 4687251"/>
              <a:gd name="connsiteX18514" fmla="*/ 4114517 w 8079933"/>
              <a:gd name="connsiteY18514" fmla="*/ 1504419 h 4687251"/>
              <a:gd name="connsiteX18515" fmla="*/ 4117989 w 8079933"/>
              <a:gd name="connsiteY18515" fmla="*/ 1501062 h 4687251"/>
              <a:gd name="connsiteX18516" fmla="*/ 6570762 w 8079933"/>
              <a:gd name="connsiteY18516" fmla="*/ 1500617 h 4687251"/>
              <a:gd name="connsiteX18517" fmla="*/ 6570465 w 8079933"/>
              <a:gd name="connsiteY18517" fmla="*/ 1500847 h 4687251"/>
              <a:gd name="connsiteX18518" fmla="*/ 6567319 w 8079933"/>
              <a:gd name="connsiteY18518" fmla="*/ 1505503 h 4687251"/>
              <a:gd name="connsiteX18519" fmla="*/ 6566377 w 8079933"/>
              <a:gd name="connsiteY18519" fmla="*/ 1510825 h 4687251"/>
              <a:gd name="connsiteX18520" fmla="*/ 6566667 w 8079933"/>
              <a:gd name="connsiteY18520" fmla="*/ 1510590 h 4687251"/>
              <a:gd name="connsiteX18521" fmla="*/ 6567753 w 8079933"/>
              <a:gd name="connsiteY18521" fmla="*/ 1505068 h 4687251"/>
              <a:gd name="connsiteX18522" fmla="*/ 5393435 w 8079933"/>
              <a:gd name="connsiteY18522" fmla="*/ 1499719 h 4687251"/>
              <a:gd name="connsiteX18523" fmla="*/ 5392951 w 8079933"/>
              <a:gd name="connsiteY18523" fmla="*/ 1499981 h 4687251"/>
              <a:gd name="connsiteX18524" fmla="*/ 5395154 w 8079933"/>
              <a:gd name="connsiteY18524" fmla="*/ 1503435 h 4687251"/>
              <a:gd name="connsiteX18525" fmla="*/ 5395121 w 8079933"/>
              <a:gd name="connsiteY18525" fmla="*/ 1502362 h 4687251"/>
              <a:gd name="connsiteX18526" fmla="*/ 3809042 w 8079933"/>
              <a:gd name="connsiteY18526" fmla="*/ 1499439 h 4687251"/>
              <a:gd name="connsiteX18527" fmla="*/ 3811320 w 8079933"/>
              <a:gd name="connsiteY18527" fmla="*/ 1499439 h 4687251"/>
              <a:gd name="connsiteX18528" fmla="*/ 3809150 w 8079933"/>
              <a:gd name="connsiteY18528" fmla="*/ 1501605 h 4687251"/>
              <a:gd name="connsiteX18529" fmla="*/ 3806981 w 8079933"/>
              <a:gd name="connsiteY18529" fmla="*/ 1494999 h 4687251"/>
              <a:gd name="connsiteX18530" fmla="*/ 3808174 w 8079933"/>
              <a:gd name="connsiteY18530" fmla="*/ 1497597 h 4687251"/>
              <a:gd name="connsiteX18531" fmla="*/ 3806547 w 8079933"/>
              <a:gd name="connsiteY18531" fmla="*/ 1499113 h 4687251"/>
              <a:gd name="connsiteX18532" fmla="*/ 3804702 w 8079933"/>
              <a:gd name="connsiteY18532" fmla="*/ 1495432 h 4687251"/>
              <a:gd name="connsiteX18533" fmla="*/ 1140075 w 8079933"/>
              <a:gd name="connsiteY18533" fmla="*/ 1494350 h 4687251"/>
              <a:gd name="connsiteX18534" fmla="*/ 1141052 w 8079933"/>
              <a:gd name="connsiteY18534" fmla="*/ 1498464 h 4687251"/>
              <a:gd name="connsiteX18535" fmla="*/ 1139750 w 8079933"/>
              <a:gd name="connsiteY18535" fmla="*/ 1505068 h 4687251"/>
              <a:gd name="connsiteX18536" fmla="*/ 1137145 w 8079933"/>
              <a:gd name="connsiteY18536" fmla="*/ 1502145 h 4687251"/>
              <a:gd name="connsiteX18537" fmla="*/ 1136820 w 8079933"/>
              <a:gd name="connsiteY18537" fmla="*/ 1497815 h 4687251"/>
              <a:gd name="connsiteX18538" fmla="*/ 3785277 w 8079933"/>
              <a:gd name="connsiteY18538" fmla="*/ 1494242 h 4687251"/>
              <a:gd name="connsiteX18539" fmla="*/ 3786470 w 8079933"/>
              <a:gd name="connsiteY18539" fmla="*/ 1497166 h 4687251"/>
              <a:gd name="connsiteX18540" fmla="*/ 3783216 w 8079933"/>
              <a:gd name="connsiteY18540" fmla="*/ 1499115 h 4687251"/>
              <a:gd name="connsiteX18541" fmla="*/ 3783433 w 8079933"/>
              <a:gd name="connsiteY18541" fmla="*/ 1496624 h 4687251"/>
              <a:gd name="connsiteX18542" fmla="*/ 5448294 w 8079933"/>
              <a:gd name="connsiteY18542" fmla="*/ 1493593 h 4687251"/>
              <a:gd name="connsiteX18543" fmla="*/ 5450030 w 8079933"/>
              <a:gd name="connsiteY18543" fmla="*/ 1498790 h 4687251"/>
              <a:gd name="connsiteX18544" fmla="*/ 5450031 w 8079933"/>
              <a:gd name="connsiteY18544" fmla="*/ 1498791 h 4687251"/>
              <a:gd name="connsiteX18545" fmla="*/ 5448295 w 8079933"/>
              <a:gd name="connsiteY18545" fmla="*/ 1493593 h 4687251"/>
              <a:gd name="connsiteX18546" fmla="*/ 7368172 w 8079933"/>
              <a:gd name="connsiteY18546" fmla="*/ 1491427 h 4687251"/>
              <a:gd name="connsiteX18547" fmla="*/ 7369582 w 8079933"/>
              <a:gd name="connsiteY18547" fmla="*/ 1492077 h 4687251"/>
              <a:gd name="connsiteX18548" fmla="*/ 7369582 w 8079933"/>
              <a:gd name="connsiteY18548" fmla="*/ 1496191 h 4687251"/>
              <a:gd name="connsiteX18549" fmla="*/ 7371862 w 8079933"/>
              <a:gd name="connsiteY18549" fmla="*/ 1500847 h 4687251"/>
              <a:gd name="connsiteX18550" fmla="*/ 7369799 w 8079933"/>
              <a:gd name="connsiteY18550" fmla="*/ 1503878 h 4687251"/>
              <a:gd name="connsiteX18551" fmla="*/ 7366652 w 8079933"/>
              <a:gd name="connsiteY18551" fmla="*/ 1500414 h 4687251"/>
              <a:gd name="connsiteX18552" fmla="*/ 7368172 w 8079933"/>
              <a:gd name="connsiteY18552" fmla="*/ 1495758 h 4687251"/>
              <a:gd name="connsiteX18553" fmla="*/ 4284671 w 8079933"/>
              <a:gd name="connsiteY18553" fmla="*/ 1487313 h 4687251"/>
              <a:gd name="connsiteX18554" fmla="*/ 4287275 w 8079933"/>
              <a:gd name="connsiteY18554" fmla="*/ 1490128 h 4687251"/>
              <a:gd name="connsiteX18555" fmla="*/ 4286407 w 8079933"/>
              <a:gd name="connsiteY18555" fmla="*/ 1497166 h 4687251"/>
              <a:gd name="connsiteX18556" fmla="*/ 4284019 w 8079933"/>
              <a:gd name="connsiteY18556" fmla="*/ 1505178 h 4687251"/>
              <a:gd name="connsiteX18557" fmla="*/ 4283151 w 8079933"/>
              <a:gd name="connsiteY18557" fmla="*/ 1513081 h 4687251"/>
              <a:gd name="connsiteX18558" fmla="*/ 4280547 w 8079933"/>
              <a:gd name="connsiteY18558" fmla="*/ 1520660 h 4687251"/>
              <a:gd name="connsiteX18559" fmla="*/ 4278811 w 8079933"/>
              <a:gd name="connsiteY18559" fmla="*/ 1524775 h 4687251"/>
              <a:gd name="connsiteX18560" fmla="*/ 4277292 w 8079933"/>
              <a:gd name="connsiteY18560" fmla="*/ 1523259 h 4687251"/>
              <a:gd name="connsiteX18561" fmla="*/ 4277292 w 8079933"/>
              <a:gd name="connsiteY18561" fmla="*/ 1520010 h 4687251"/>
              <a:gd name="connsiteX18562" fmla="*/ 4276641 w 8079933"/>
              <a:gd name="connsiteY18562" fmla="*/ 1515571 h 4687251"/>
              <a:gd name="connsiteX18563" fmla="*/ 4278268 w 8079933"/>
              <a:gd name="connsiteY18563" fmla="*/ 1502579 h 4687251"/>
              <a:gd name="connsiteX18564" fmla="*/ 4280872 w 8079933"/>
              <a:gd name="connsiteY18564" fmla="*/ 1500955 h 4687251"/>
              <a:gd name="connsiteX18565" fmla="*/ 4282501 w 8079933"/>
              <a:gd name="connsiteY18565" fmla="*/ 1493809 h 4687251"/>
              <a:gd name="connsiteX18566" fmla="*/ 4281741 w 8079933"/>
              <a:gd name="connsiteY18566" fmla="*/ 1491752 h 4687251"/>
              <a:gd name="connsiteX18567" fmla="*/ 4159768 w 8079933"/>
              <a:gd name="connsiteY18567" fmla="*/ 1483956 h 4687251"/>
              <a:gd name="connsiteX18568" fmla="*/ 4164977 w 8079933"/>
              <a:gd name="connsiteY18568" fmla="*/ 1483956 h 4687251"/>
              <a:gd name="connsiteX18569" fmla="*/ 4161070 w 8079933"/>
              <a:gd name="connsiteY18569" fmla="*/ 1486771 h 4687251"/>
              <a:gd name="connsiteX18570" fmla="*/ 4157598 w 8079933"/>
              <a:gd name="connsiteY18570" fmla="*/ 1486880 h 4687251"/>
              <a:gd name="connsiteX18571" fmla="*/ 3786796 w 8079933"/>
              <a:gd name="connsiteY18571" fmla="*/ 1483307 h 4687251"/>
              <a:gd name="connsiteX18572" fmla="*/ 3789184 w 8079933"/>
              <a:gd name="connsiteY18572" fmla="*/ 1483740 h 4687251"/>
              <a:gd name="connsiteX18573" fmla="*/ 3789727 w 8079933"/>
              <a:gd name="connsiteY18573" fmla="*/ 1486555 h 4687251"/>
              <a:gd name="connsiteX18574" fmla="*/ 3788533 w 8079933"/>
              <a:gd name="connsiteY18574" fmla="*/ 1488721 h 4687251"/>
              <a:gd name="connsiteX18575" fmla="*/ 3789401 w 8079933"/>
              <a:gd name="connsiteY18575" fmla="*/ 1492727 h 4687251"/>
              <a:gd name="connsiteX18576" fmla="*/ 3786579 w 8079933"/>
              <a:gd name="connsiteY18576" fmla="*/ 1492076 h 4687251"/>
              <a:gd name="connsiteX18577" fmla="*/ 3785711 w 8079933"/>
              <a:gd name="connsiteY18577" fmla="*/ 1488937 h 4687251"/>
              <a:gd name="connsiteX18578" fmla="*/ 3787013 w 8079933"/>
              <a:gd name="connsiteY18578" fmla="*/ 1486013 h 4687251"/>
              <a:gd name="connsiteX18579" fmla="*/ 1145285 w 8079933"/>
              <a:gd name="connsiteY18579" fmla="*/ 1481032 h 4687251"/>
              <a:gd name="connsiteX18580" fmla="*/ 1147129 w 8079933"/>
              <a:gd name="connsiteY18580" fmla="*/ 1483089 h 4687251"/>
              <a:gd name="connsiteX18581" fmla="*/ 1144091 w 8079933"/>
              <a:gd name="connsiteY18581" fmla="*/ 1488936 h 4687251"/>
              <a:gd name="connsiteX18582" fmla="*/ 1140619 w 8079933"/>
              <a:gd name="connsiteY18582" fmla="*/ 1488936 h 4687251"/>
              <a:gd name="connsiteX18583" fmla="*/ 1138557 w 8079933"/>
              <a:gd name="connsiteY18583" fmla="*/ 1488936 h 4687251"/>
              <a:gd name="connsiteX18584" fmla="*/ 1139642 w 8079933"/>
              <a:gd name="connsiteY18584" fmla="*/ 1484280 h 4687251"/>
              <a:gd name="connsiteX18585" fmla="*/ 3790812 w 8079933"/>
              <a:gd name="connsiteY18585" fmla="*/ 1479409 h 4687251"/>
              <a:gd name="connsiteX18586" fmla="*/ 3789618 w 8079933"/>
              <a:gd name="connsiteY18586" fmla="*/ 1482658 h 4687251"/>
              <a:gd name="connsiteX18587" fmla="*/ 3786580 w 8079933"/>
              <a:gd name="connsiteY18587" fmla="*/ 1481466 h 4687251"/>
              <a:gd name="connsiteX18588" fmla="*/ 3786580 w 8079933"/>
              <a:gd name="connsiteY18588" fmla="*/ 1480058 h 4687251"/>
              <a:gd name="connsiteX18589" fmla="*/ 4505589 w 8079933"/>
              <a:gd name="connsiteY18589" fmla="*/ 1474899 h 4687251"/>
              <a:gd name="connsiteX18590" fmla="*/ 4505176 w 8079933"/>
              <a:gd name="connsiteY18590" fmla="*/ 1475511 h 4687251"/>
              <a:gd name="connsiteX18591" fmla="*/ 4505177 w 8079933"/>
              <a:gd name="connsiteY18591" fmla="*/ 1475511 h 4687251"/>
              <a:gd name="connsiteX18592" fmla="*/ 4507028 w 8079933"/>
              <a:gd name="connsiteY18592" fmla="*/ 1475804 h 4687251"/>
              <a:gd name="connsiteX18593" fmla="*/ 4506913 w 8079933"/>
              <a:gd name="connsiteY18593" fmla="*/ 1475079 h 4687251"/>
              <a:gd name="connsiteX18594" fmla="*/ 4499281 w 8079933"/>
              <a:gd name="connsiteY18594" fmla="*/ 1474721 h 4687251"/>
              <a:gd name="connsiteX18595" fmla="*/ 4507034 w 8079933"/>
              <a:gd name="connsiteY18595" fmla="*/ 1475846 h 4687251"/>
              <a:gd name="connsiteX18596" fmla="*/ 4507034 w 8079933"/>
              <a:gd name="connsiteY18596" fmla="*/ 1475845 h 4687251"/>
              <a:gd name="connsiteX18597" fmla="*/ 6702340 w 8079933"/>
              <a:gd name="connsiteY18597" fmla="*/ 1474646 h 4687251"/>
              <a:gd name="connsiteX18598" fmla="*/ 6702964 w 8079933"/>
              <a:gd name="connsiteY18598" fmla="*/ 1477243 h 4687251"/>
              <a:gd name="connsiteX18599" fmla="*/ 6701553 w 8079933"/>
              <a:gd name="connsiteY18599" fmla="*/ 1480382 h 4687251"/>
              <a:gd name="connsiteX18600" fmla="*/ 6701771 w 8079933"/>
              <a:gd name="connsiteY18600" fmla="*/ 1481426 h 4687251"/>
              <a:gd name="connsiteX18601" fmla="*/ 6701771 w 8079933"/>
              <a:gd name="connsiteY18601" fmla="*/ 1480601 h 4687251"/>
              <a:gd name="connsiteX18602" fmla="*/ 6703182 w 8079933"/>
              <a:gd name="connsiteY18602" fmla="*/ 1477352 h 4687251"/>
              <a:gd name="connsiteX18603" fmla="*/ 6702422 w 8079933"/>
              <a:gd name="connsiteY18603" fmla="*/ 1474646 h 4687251"/>
              <a:gd name="connsiteX18604" fmla="*/ 4498014 w 8079933"/>
              <a:gd name="connsiteY18604" fmla="*/ 1474536 h 4687251"/>
              <a:gd name="connsiteX18605" fmla="*/ 4489659 w 8079933"/>
              <a:gd name="connsiteY18605" fmla="*/ 1477892 h 4687251"/>
              <a:gd name="connsiteX18606" fmla="*/ 4489660 w 8079933"/>
              <a:gd name="connsiteY18606" fmla="*/ 1477894 h 4687251"/>
              <a:gd name="connsiteX18607" fmla="*/ 4498015 w 8079933"/>
              <a:gd name="connsiteY18607" fmla="*/ 1474537 h 4687251"/>
              <a:gd name="connsiteX18608" fmla="*/ 4498022 w 8079933"/>
              <a:gd name="connsiteY18608" fmla="*/ 1474538 h 4687251"/>
              <a:gd name="connsiteX18609" fmla="*/ 4502860 w 8079933"/>
              <a:gd name="connsiteY18609" fmla="*/ 1475196 h 4687251"/>
              <a:gd name="connsiteX18610" fmla="*/ 1143005 w 8079933"/>
              <a:gd name="connsiteY18610" fmla="*/ 1474212 h 4687251"/>
              <a:gd name="connsiteX18611" fmla="*/ 1144307 w 8079933"/>
              <a:gd name="connsiteY18611" fmla="*/ 1476161 h 4687251"/>
              <a:gd name="connsiteX18612" fmla="*/ 1142571 w 8079933"/>
              <a:gd name="connsiteY18612" fmla="*/ 1479409 h 4687251"/>
              <a:gd name="connsiteX18613" fmla="*/ 1141160 w 8079933"/>
              <a:gd name="connsiteY18613" fmla="*/ 1479517 h 4687251"/>
              <a:gd name="connsiteX18614" fmla="*/ 1140835 w 8079933"/>
              <a:gd name="connsiteY18614" fmla="*/ 1475620 h 4687251"/>
              <a:gd name="connsiteX18615" fmla="*/ 3786363 w 8079933"/>
              <a:gd name="connsiteY18615" fmla="*/ 1473995 h 4687251"/>
              <a:gd name="connsiteX18616" fmla="*/ 3792222 w 8079933"/>
              <a:gd name="connsiteY18616" fmla="*/ 1474644 h 4687251"/>
              <a:gd name="connsiteX18617" fmla="*/ 3791896 w 8079933"/>
              <a:gd name="connsiteY18617" fmla="*/ 1477243 h 4687251"/>
              <a:gd name="connsiteX18618" fmla="*/ 3787773 w 8079933"/>
              <a:gd name="connsiteY18618" fmla="*/ 1478326 h 4687251"/>
              <a:gd name="connsiteX18619" fmla="*/ 3784518 w 8079933"/>
              <a:gd name="connsiteY18619" fmla="*/ 1474969 h 4687251"/>
              <a:gd name="connsiteX18620" fmla="*/ 3808284 w 8079933"/>
              <a:gd name="connsiteY18620" fmla="*/ 1473887 h 4687251"/>
              <a:gd name="connsiteX18621" fmla="*/ 3810779 w 8079933"/>
              <a:gd name="connsiteY18621" fmla="*/ 1478001 h 4687251"/>
              <a:gd name="connsiteX18622" fmla="*/ 3810237 w 8079933"/>
              <a:gd name="connsiteY18622" fmla="*/ 1486013 h 4687251"/>
              <a:gd name="connsiteX18623" fmla="*/ 3815012 w 8079933"/>
              <a:gd name="connsiteY18623" fmla="*/ 1488612 h 4687251"/>
              <a:gd name="connsiteX18624" fmla="*/ 3817725 w 8079933"/>
              <a:gd name="connsiteY18624" fmla="*/ 1487962 h 4687251"/>
              <a:gd name="connsiteX18625" fmla="*/ 3819461 w 8079933"/>
              <a:gd name="connsiteY18625" fmla="*/ 1489262 h 4687251"/>
              <a:gd name="connsiteX18626" fmla="*/ 3816206 w 8079933"/>
              <a:gd name="connsiteY18626" fmla="*/ 1491102 h 4687251"/>
              <a:gd name="connsiteX18627" fmla="*/ 3814795 w 8079933"/>
              <a:gd name="connsiteY18627" fmla="*/ 1495217 h 4687251"/>
              <a:gd name="connsiteX18628" fmla="*/ 3812950 w 8079933"/>
              <a:gd name="connsiteY18628" fmla="*/ 1495542 h 4687251"/>
              <a:gd name="connsiteX18629" fmla="*/ 3812516 w 8079933"/>
              <a:gd name="connsiteY18629" fmla="*/ 1490994 h 4687251"/>
              <a:gd name="connsiteX18630" fmla="*/ 3806981 w 8079933"/>
              <a:gd name="connsiteY18630" fmla="*/ 1491535 h 4687251"/>
              <a:gd name="connsiteX18631" fmla="*/ 3803835 w 8079933"/>
              <a:gd name="connsiteY18631" fmla="*/ 1485905 h 4687251"/>
              <a:gd name="connsiteX18632" fmla="*/ 3804485 w 8079933"/>
              <a:gd name="connsiteY18632" fmla="*/ 1484389 h 4687251"/>
              <a:gd name="connsiteX18633" fmla="*/ 3802749 w 8079933"/>
              <a:gd name="connsiteY18633" fmla="*/ 1483090 h 4687251"/>
              <a:gd name="connsiteX18634" fmla="*/ 3802640 w 8079933"/>
              <a:gd name="connsiteY18634" fmla="*/ 1484822 h 4687251"/>
              <a:gd name="connsiteX18635" fmla="*/ 3798300 w 8079933"/>
              <a:gd name="connsiteY18635" fmla="*/ 1481683 h 4687251"/>
              <a:gd name="connsiteX18636" fmla="*/ 3800036 w 8079933"/>
              <a:gd name="connsiteY18636" fmla="*/ 1479950 h 4687251"/>
              <a:gd name="connsiteX18637" fmla="*/ 3801664 w 8079933"/>
              <a:gd name="connsiteY18637" fmla="*/ 1481032 h 4687251"/>
              <a:gd name="connsiteX18638" fmla="*/ 3801447 w 8079933"/>
              <a:gd name="connsiteY18638" fmla="*/ 1476918 h 4687251"/>
              <a:gd name="connsiteX18639" fmla="*/ 3806548 w 8079933"/>
              <a:gd name="connsiteY18639" fmla="*/ 1480383 h 4687251"/>
              <a:gd name="connsiteX18640" fmla="*/ 3806005 w 8079933"/>
              <a:gd name="connsiteY18640" fmla="*/ 1474969 h 4687251"/>
              <a:gd name="connsiteX18641" fmla="*/ 4152389 w 8079933"/>
              <a:gd name="connsiteY18641" fmla="*/ 1469989 h 4687251"/>
              <a:gd name="connsiteX18642" fmla="*/ 4153040 w 8079933"/>
              <a:gd name="connsiteY18642" fmla="*/ 1471721 h 4687251"/>
              <a:gd name="connsiteX18643" fmla="*/ 4149568 w 8079933"/>
              <a:gd name="connsiteY18643" fmla="*/ 1477893 h 4687251"/>
              <a:gd name="connsiteX18644" fmla="*/ 4150653 w 8079933"/>
              <a:gd name="connsiteY18644" fmla="*/ 1482656 h 4687251"/>
              <a:gd name="connsiteX18645" fmla="*/ 4149785 w 8079933"/>
              <a:gd name="connsiteY18645" fmla="*/ 1484713 h 4687251"/>
              <a:gd name="connsiteX18646" fmla="*/ 4150870 w 8079933"/>
              <a:gd name="connsiteY18646" fmla="*/ 1489694 h 4687251"/>
              <a:gd name="connsiteX18647" fmla="*/ 4146203 w 8079933"/>
              <a:gd name="connsiteY18647" fmla="*/ 1497815 h 4687251"/>
              <a:gd name="connsiteX18648" fmla="*/ 4143599 w 8079933"/>
              <a:gd name="connsiteY18648" fmla="*/ 1499005 h 4687251"/>
              <a:gd name="connsiteX18649" fmla="*/ 4139584 w 8079933"/>
              <a:gd name="connsiteY18649" fmla="*/ 1497273 h 4687251"/>
              <a:gd name="connsiteX18650" fmla="*/ 4134918 w 8079933"/>
              <a:gd name="connsiteY18650" fmla="*/ 1497273 h 4687251"/>
              <a:gd name="connsiteX18651" fmla="*/ 4131553 w 8079933"/>
              <a:gd name="connsiteY18651" fmla="*/ 1498464 h 4687251"/>
              <a:gd name="connsiteX18652" fmla="*/ 4126345 w 8079933"/>
              <a:gd name="connsiteY18652" fmla="*/ 1497489 h 4687251"/>
              <a:gd name="connsiteX18653" fmla="*/ 4122438 w 8079933"/>
              <a:gd name="connsiteY18653" fmla="*/ 1498139 h 4687251"/>
              <a:gd name="connsiteX18654" fmla="*/ 4121353 w 8079933"/>
              <a:gd name="connsiteY18654" fmla="*/ 1497273 h 4687251"/>
              <a:gd name="connsiteX18655" fmla="*/ 4113431 w 8079933"/>
              <a:gd name="connsiteY18655" fmla="*/ 1502254 h 4687251"/>
              <a:gd name="connsiteX18656" fmla="*/ 4112346 w 8079933"/>
              <a:gd name="connsiteY18656" fmla="*/ 1505501 h 4687251"/>
              <a:gd name="connsiteX18657" fmla="*/ 4113431 w 8079933"/>
              <a:gd name="connsiteY18657" fmla="*/ 1511782 h 4687251"/>
              <a:gd name="connsiteX18658" fmla="*/ 4108439 w 8079933"/>
              <a:gd name="connsiteY18658" fmla="*/ 1506043 h 4687251"/>
              <a:gd name="connsiteX18659" fmla="*/ 4106377 w 8079933"/>
              <a:gd name="connsiteY18659" fmla="*/ 1507234 h 4687251"/>
              <a:gd name="connsiteX18660" fmla="*/ 4104099 w 8079933"/>
              <a:gd name="connsiteY18660" fmla="*/ 1505393 h 4687251"/>
              <a:gd name="connsiteX18661" fmla="*/ 4107789 w 8079933"/>
              <a:gd name="connsiteY18661" fmla="*/ 1501821 h 4687251"/>
              <a:gd name="connsiteX18662" fmla="*/ 4109307 w 8079933"/>
              <a:gd name="connsiteY18662" fmla="*/ 1496623 h 4687251"/>
              <a:gd name="connsiteX18663" fmla="*/ 4112780 w 8079933"/>
              <a:gd name="connsiteY18663" fmla="*/ 1496407 h 4687251"/>
              <a:gd name="connsiteX18664" fmla="*/ 4114516 w 8079933"/>
              <a:gd name="connsiteY18664" fmla="*/ 1497598 h 4687251"/>
              <a:gd name="connsiteX18665" fmla="*/ 4120485 w 8079933"/>
              <a:gd name="connsiteY18665" fmla="*/ 1492834 h 4687251"/>
              <a:gd name="connsiteX18666" fmla="*/ 4125694 w 8079933"/>
              <a:gd name="connsiteY18666" fmla="*/ 1492834 h 4687251"/>
              <a:gd name="connsiteX18667" fmla="*/ 4130360 w 8079933"/>
              <a:gd name="connsiteY18667" fmla="*/ 1489586 h 4687251"/>
              <a:gd name="connsiteX18668" fmla="*/ 4132748 w 8079933"/>
              <a:gd name="connsiteY18668" fmla="*/ 1484064 h 4687251"/>
              <a:gd name="connsiteX18669" fmla="*/ 4135677 w 8079933"/>
              <a:gd name="connsiteY18669" fmla="*/ 1479625 h 4687251"/>
              <a:gd name="connsiteX18670" fmla="*/ 4139909 w 8079933"/>
              <a:gd name="connsiteY18670" fmla="*/ 1479083 h 4687251"/>
              <a:gd name="connsiteX18671" fmla="*/ 4145987 w 8079933"/>
              <a:gd name="connsiteY18671" fmla="*/ 1476377 h 4687251"/>
              <a:gd name="connsiteX18672" fmla="*/ 1167748 w 8079933"/>
              <a:gd name="connsiteY18672" fmla="*/ 1469448 h 4687251"/>
              <a:gd name="connsiteX18673" fmla="*/ 1167097 w 8079933"/>
              <a:gd name="connsiteY18673" fmla="*/ 1472046 h 4687251"/>
              <a:gd name="connsiteX18674" fmla="*/ 1160043 w 8079933"/>
              <a:gd name="connsiteY18674" fmla="*/ 1478543 h 4687251"/>
              <a:gd name="connsiteX18675" fmla="*/ 1156353 w 8079933"/>
              <a:gd name="connsiteY18675" fmla="*/ 1479085 h 4687251"/>
              <a:gd name="connsiteX18676" fmla="*/ 1151253 w 8079933"/>
              <a:gd name="connsiteY18676" fmla="*/ 1483740 h 4687251"/>
              <a:gd name="connsiteX18677" fmla="*/ 1148432 w 8079933"/>
              <a:gd name="connsiteY18677" fmla="*/ 1484065 h 4687251"/>
              <a:gd name="connsiteX18678" fmla="*/ 1154183 w 8079933"/>
              <a:gd name="connsiteY18678" fmla="*/ 1475944 h 4687251"/>
              <a:gd name="connsiteX18679" fmla="*/ 1157765 w 8079933"/>
              <a:gd name="connsiteY18679" fmla="*/ 1475836 h 4687251"/>
              <a:gd name="connsiteX18680" fmla="*/ 1161237 w 8079933"/>
              <a:gd name="connsiteY18680" fmla="*/ 1471722 h 4687251"/>
              <a:gd name="connsiteX18681" fmla="*/ 6694300 w 8079933"/>
              <a:gd name="connsiteY18681" fmla="*/ 1468230 h 4687251"/>
              <a:gd name="connsiteX18682" fmla="*/ 6695150 w 8079933"/>
              <a:gd name="connsiteY18682" fmla="*/ 1470313 h 4687251"/>
              <a:gd name="connsiteX18683" fmla="*/ 6695150 w 8079933"/>
              <a:gd name="connsiteY18683" fmla="*/ 1472587 h 4687251"/>
              <a:gd name="connsiteX18684" fmla="*/ 6695368 w 8079933"/>
              <a:gd name="connsiteY18684" fmla="*/ 1472949 h 4687251"/>
              <a:gd name="connsiteX18685" fmla="*/ 6695368 w 8079933"/>
              <a:gd name="connsiteY18685" fmla="*/ 1470748 h 4687251"/>
              <a:gd name="connsiteX18686" fmla="*/ 4325582 w 8079933"/>
              <a:gd name="connsiteY18686" fmla="*/ 1465983 h 4687251"/>
              <a:gd name="connsiteX18687" fmla="*/ 4328294 w 8079933"/>
              <a:gd name="connsiteY18687" fmla="*/ 1467391 h 4687251"/>
              <a:gd name="connsiteX18688" fmla="*/ 4326341 w 8079933"/>
              <a:gd name="connsiteY18688" fmla="*/ 1469231 h 4687251"/>
              <a:gd name="connsiteX18689" fmla="*/ 4325799 w 8079933"/>
              <a:gd name="connsiteY18689" fmla="*/ 1471938 h 4687251"/>
              <a:gd name="connsiteX18690" fmla="*/ 4323846 w 8079933"/>
              <a:gd name="connsiteY18690" fmla="*/ 1475944 h 4687251"/>
              <a:gd name="connsiteX18691" fmla="*/ 4327209 w 8079933"/>
              <a:gd name="connsiteY18691" fmla="*/ 1478976 h 4687251"/>
              <a:gd name="connsiteX18692" fmla="*/ 4327752 w 8079933"/>
              <a:gd name="connsiteY18692" fmla="*/ 1481141 h 4687251"/>
              <a:gd name="connsiteX18693" fmla="*/ 4324388 w 8079933"/>
              <a:gd name="connsiteY18693" fmla="*/ 1485255 h 4687251"/>
              <a:gd name="connsiteX18694" fmla="*/ 4323628 w 8079933"/>
              <a:gd name="connsiteY18694" fmla="*/ 1488395 h 4687251"/>
              <a:gd name="connsiteX18695" fmla="*/ 4318094 w 8079933"/>
              <a:gd name="connsiteY18695" fmla="*/ 1492726 h 4687251"/>
              <a:gd name="connsiteX18696" fmla="*/ 4317226 w 8079933"/>
              <a:gd name="connsiteY18696" fmla="*/ 1495649 h 4687251"/>
              <a:gd name="connsiteX18697" fmla="*/ 4318853 w 8079933"/>
              <a:gd name="connsiteY18697" fmla="*/ 1496840 h 4687251"/>
              <a:gd name="connsiteX18698" fmla="*/ 4317768 w 8079933"/>
              <a:gd name="connsiteY18698" fmla="*/ 1499655 h 4687251"/>
              <a:gd name="connsiteX18699" fmla="*/ 4312234 w 8079933"/>
              <a:gd name="connsiteY18699" fmla="*/ 1501280 h 4687251"/>
              <a:gd name="connsiteX18700" fmla="*/ 4311800 w 8079933"/>
              <a:gd name="connsiteY18700" fmla="*/ 1499222 h 4687251"/>
              <a:gd name="connsiteX18701" fmla="*/ 4314622 w 8079933"/>
              <a:gd name="connsiteY18701" fmla="*/ 1495758 h 4687251"/>
              <a:gd name="connsiteX18702" fmla="*/ 4315707 w 8079933"/>
              <a:gd name="connsiteY18702" fmla="*/ 1491752 h 4687251"/>
              <a:gd name="connsiteX18703" fmla="*/ 4313753 w 8079933"/>
              <a:gd name="connsiteY18703" fmla="*/ 1492401 h 4687251"/>
              <a:gd name="connsiteX18704" fmla="*/ 4309087 w 8079933"/>
              <a:gd name="connsiteY18704" fmla="*/ 1485580 h 4687251"/>
              <a:gd name="connsiteX18705" fmla="*/ 4310823 w 8079933"/>
              <a:gd name="connsiteY18705" fmla="*/ 1484389 h 4687251"/>
              <a:gd name="connsiteX18706" fmla="*/ 4309304 w 8079933"/>
              <a:gd name="connsiteY18706" fmla="*/ 1478976 h 4687251"/>
              <a:gd name="connsiteX18707" fmla="*/ 4312451 w 8079933"/>
              <a:gd name="connsiteY18707" fmla="*/ 1475619 h 4687251"/>
              <a:gd name="connsiteX18708" fmla="*/ 4314730 w 8079933"/>
              <a:gd name="connsiteY18708" fmla="*/ 1471397 h 4687251"/>
              <a:gd name="connsiteX18709" fmla="*/ 4317985 w 8079933"/>
              <a:gd name="connsiteY18709" fmla="*/ 1467391 h 4687251"/>
              <a:gd name="connsiteX18710" fmla="*/ 4323086 w 8079933"/>
              <a:gd name="connsiteY18710" fmla="*/ 1467391 h 4687251"/>
              <a:gd name="connsiteX18711" fmla="*/ 3797540 w 8079933"/>
              <a:gd name="connsiteY18711" fmla="*/ 1465875 h 4687251"/>
              <a:gd name="connsiteX18712" fmla="*/ 3801229 w 8079933"/>
              <a:gd name="connsiteY18712" fmla="*/ 1467391 h 4687251"/>
              <a:gd name="connsiteX18713" fmla="*/ 3796020 w 8079933"/>
              <a:gd name="connsiteY18713" fmla="*/ 1472047 h 4687251"/>
              <a:gd name="connsiteX18714" fmla="*/ 3792982 w 8079933"/>
              <a:gd name="connsiteY18714" fmla="*/ 1469773 h 4687251"/>
              <a:gd name="connsiteX18715" fmla="*/ 3794610 w 8079933"/>
              <a:gd name="connsiteY18715" fmla="*/ 1468799 h 4687251"/>
              <a:gd name="connsiteX18716" fmla="*/ 3795586 w 8079933"/>
              <a:gd name="connsiteY18716" fmla="*/ 1466958 h 4687251"/>
              <a:gd name="connsiteX18717" fmla="*/ 6692382 w 8079933"/>
              <a:gd name="connsiteY18717" fmla="*/ 1461885 h 4687251"/>
              <a:gd name="connsiteX18718" fmla="*/ 6693741 w 8079933"/>
              <a:gd name="connsiteY18718" fmla="*/ 1464142 h 4687251"/>
              <a:gd name="connsiteX18719" fmla="*/ 6693957 w 8079933"/>
              <a:gd name="connsiteY18719" fmla="*/ 1467390 h 4687251"/>
              <a:gd name="connsiteX18720" fmla="*/ 6694174 w 8079933"/>
              <a:gd name="connsiteY18720" fmla="*/ 1467922 h 4687251"/>
              <a:gd name="connsiteX18721" fmla="*/ 6694174 w 8079933"/>
              <a:gd name="connsiteY18721" fmla="*/ 1464685 h 4687251"/>
              <a:gd name="connsiteX18722" fmla="*/ 6692546 w 8079933"/>
              <a:gd name="connsiteY18722" fmla="*/ 1461978 h 4687251"/>
              <a:gd name="connsiteX18723" fmla="*/ 4336108 w 8079933"/>
              <a:gd name="connsiteY18723" fmla="*/ 1461328 h 4687251"/>
              <a:gd name="connsiteX18724" fmla="*/ 4337193 w 8079933"/>
              <a:gd name="connsiteY18724" fmla="*/ 1462952 h 4687251"/>
              <a:gd name="connsiteX18725" fmla="*/ 4332961 w 8079933"/>
              <a:gd name="connsiteY18725" fmla="*/ 1464143 h 4687251"/>
              <a:gd name="connsiteX18726" fmla="*/ 4330356 w 8079933"/>
              <a:gd name="connsiteY18726" fmla="*/ 1466634 h 4687251"/>
              <a:gd name="connsiteX18727" fmla="*/ 4328729 w 8079933"/>
              <a:gd name="connsiteY18727" fmla="*/ 1464359 h 4687251"/>
              <a:gd name="connsiteX18728" fmla="*/ 4331224 w 8079933"/>
              <a:gd name="connsiteY18728" fmla="*/ 1461436 h 4687251"/>
              <a:gd name="connsiteX18729" fmla="*/ 4468607 w 8079933"/>
              <a:gd name="connsiteY18729" fmla="*/ 1460244 h 4687251"/>
              <a:gd name="connsiteX18730" fmla="*/ 4468608 w 8079933"/>
              <a:gd name="connsiteY18730" fmla="*/ 1460245 h 4687251"/>
              <a:gd name="connsiteX18731" fmla="*/ 4471646 w 8079933"/>
              <a:gd name="connsiteY18731" fmla="*/ 1460353 h 4687251"/>
              <a:gd name="connsiteX18732" fmla="*/ 4471645 w 8079933"/>
              <a:gd name="connsiteY18732" fmla="*/ 1460353 h 4687251"/>
              <a:gd name="connsiteX18733" fmla="*/ 6553466 w 8079933"/>
              <a:gd name="connsiteY18733" fmla="*/ 1458429 h 4687251"/>
              <a:gd name="connsiteX18734" fmla="*/ 6551583 w 8079933"/>
              <a:gd name="connsiteY18734" fmla="*/ 1462087 h 4687251"/>
              <a:gd name="connsiteX18735" fmla="*/ 6549630 w 8079933"/>
              <a:gd name="connsiteY18735" fmla="*/ 1464468 h 4687251"/>
              <a:gd name="connsiteX18736" fmla="*/ 6549630 w 8079933"/>
              <a:gd name="connsiteY18736" fmla="*/ 1466850 h 4687251"/>
              <a:gd name="connsiteX18737" fmla="*/ 6548111 w 8079933"/>
              <a:gd name="connsiteY18737" fmla="*/ 1468907 h 4687251"/>
              <a:gd name="connsiteX18738" fmla="*/ 6548111 w 8079933"/>
              <a:gd name="connsiteY18738" fmla="*/ 1475837 h 4687251"/>
              <a:gd name="connsiteX18739" fmla="*/ 6549630 w 8079933"/>
              <a:gd name="connsiteY18739" fmla="*/ 1477786 h 4687251"/>
              <a:gd name="connsiteX18740" fmla="*/ 6552018 w 8079933"/>
              <a:gd name="connsiteY18740" fmla="*/ 1477786 h 4687251"/>
              <a:gd name="connsiteX18741" fmla="*/ 6557335 w 8079933"/>
              <a:gd name="connsiteY18741" fmla="*/ 1474538 h 4687251"/>
              <a:gd name="connsiteX18742" fmla="*/ 6560591 w 8079933"/>
              <a:gd name="connsiteY18742" fmla="*/ 1473130 h 4687251"/>
              <a:gd name="connsiteX18743" fmla="*/ 6563520 w 8079933"/>
              <a:gd name="connsiteY18743" fmla="*/ 1473780 h 4687251"/>
              <a:gd name="connsiteX18744" fmla="*/ 6566993 w 8079933"/>
              <a:gd name="connsiteY18744" fmla="*/ 1479410 h 4687251"/>
              <a:gd name="connsiteX18745" fmla="*/ 6568838 w 8079933"/>
              <a:gd name="connsiteY18745" fmla="*/ 1483848 h 4687251"/>
              <a:gd name="connsiteX18746" fmla="*/ 6572310 w 8079933"/>
              <a:gd name="connsiteY18746" fmla="*/ 1486447 h 4687251"/>
              <a:gd name="connsiteX18747" fmla="*/ 6572310 w 8079933"/>
              <a:gd name="connsiteY18747" fmla="*/ 1490021 h 4687251"/>
              <a:gd name="connsiteX18748" fmla="*/ 6573396 w 8079933"/>
              <a:gd name="connsiteY18748" fmla="*/ 1492944 h 4687251"/>
              <a:gd name="connsiteX18749" fmla="*/ 6573396 w 8079933"/>
              <a:gd name="connsiteY18749" fmla="*/ 1498567 h 4687251"/>
              <a:gd name="connsiteX18750" fmla="*/ 6573829 w 8079933"/>
              <a:gd name="connsiteY18750" fmla="*/ 1498247 h 4687251"/>
              <a:gd name="connsiteX18751" fmla="*/ 6574155 w 8079933"/>
              <a:gd name="connsiteY18751" fmla="*/ 1492509 h 4687251"/>
              <a:gd name="connsiteX18752" fmla="*/ 6573069 w 8079933"/>
              <a:gd name="connsiteY18752" fmla="*/ 1489586 h 4687251"/>
              <a:gd name="connsiteX18753" fmla="*/ 6573069 w 8079933"/>
              <a:gd name="connsiteY18753" fmla="*/ 1486013 h 4687251"/>
              <a:gd name="connsiteX18754" fmla="*/ 6569598 w 8079933"/>
              <a:gd name="connsiteY18754" fmla="*/ 1483414 h 4687251"/>
              <a:gd name="connsiteX18755" fmla="*/ 6567753 w 8079933"/>
              <a:gd name="connsiteY18755" fmla="*/ 1478975 h 4687251"/>
              <a:gd name="connsiteX18756" fmla="*/ 6564280 w 8079933"/>
              <a:gd name="connsiteY18756" fmla="*/ 1473345 h 4687251"/>
              <a:gd name="connsiteX18757" fmla="*/ 6561350 w 8079933"/>
              <a:gd name="connsiteY18757" fmla="*/ 1472587 h 4687251"/>
              <a:gd name="connsiteX18758" fmla="*/ 6558095 w 8079933"/>
              <a:gd name="connsiteY18758" fmla="*/ 1473995 h 4687251"/>
              <a:gd name="connsiteX18759" fmla="*/ 6552777 w 8079933"/>
              <a:gd name="connsiteY18759" fmla="*/ 1477243 h 4687251"/>
              <a:gd name="connsiteX18760" fmla="*/ 6550390 w 8079933"/>
              <a:gd name="connsiteY18760" fmla="*/ 1476918 h 4687251"/>
              <a:gd name="connsiteX18761" fmla="*/ 6548762 w 8079933"/>
              <a:gd name="connsiteY18761" fmla="*/ 1474969 h 4687251"/>
              <a:gd name="connsiteX18762" fmla="*/ 6548762 w 8079933"/>
              <a:gd name="connsiteY18762" fmla="*/ 1469123 h 4687251"/>
              <a:gd name="connsiteX18763" fmla="*/ 6550390 w 8079933"/>
              <a:gd name="connsiteY18763" fmla="*/ 1467065 h 4687251"/>
              <a:gd name="connsiteX18764" fmla="*/ 6550390 w 8079933"/>
              <a:gd name="connsiteY18764" fmla="*/ 1464683 h 4687251"/>
              <a:gd name="connsiteX18765" fmla="*/ 6552234 w 8079933"/>
              <a:gd name="connsiteY18765" fmla="*/ 1462301 h 4687251"/>
              <a:gd name="connsiteX18766" fmla="*/ 6689725 w 8079933"/>
              <a:gd name="connsiteY18766" fmla="*/ 1457900 h 4687251"/>
              <a:gd name="connsiteX18767" fmla="*/ 6689725 w 8079933"/>
              <a:gd name="connsiteY18767" fmla="*/ 1460136 h 4687251"/>
              <a:gd name="connsiteX18768" fmla="*/ 6690268 w 8079933"/>
              <a:gd name="connsiteY18768" fmla="*/ 1460431 h 4687251"/>
              <a:gd name="connsiteX18769" fmla="*/ 6690268 w 8079933"/>
              <a:gd name="connsiteY18769" fmla="*/ 1458405 h 4687251"/>
              <a:gd name="connsiteX18770" fmla="*/ 4171271 w 8079933"/>
              <a:gd name="connsiteY18770" fmla="*/ 1456564 h 4687251"/>
              <a:gd name="connsiteX18771" fmla="*/ 4170294 w 8079933"/>
              <a:gd name="connsiteY18771" fmla="*/ 1460570 h 4687251"/>
              <a:gd name="connsiteX18772" fmla="*/ 4167907 w 8079933"/>
              <a:gd name="connsiteY18772" fmla="*/ 1460678 h 4687251"/>
              <a:gd name="connsiteX18773" fmla="*/ 4168232 w 8079933"/>
              <a:gd name="connsiteY18773" fmla="*/ 1457321 h 4687251"/>
              <a:gd name="connsiteX18774" fmla="*/ 1140727 w 8079933"/>
              <a:gd name="connsiteY18774" fmla="*/ 1454182 h 4687251"/>
              <a:gd name="connsiteX18775" fmla="*/ 1142246 w 8079933"/>
              <a:gd name="connsiteY18775" fmla="*/ 1456888 h 4687251"/>
              <a:gd name="connsiteX18776" fmla="*/ 1140401 w 8079933"/>
              <a:gd name="connsiteY18776" fmla="*/ 1459704 h 4687251"/>
              <a:gd name="connsiteX18777" fmla="*/ 1134867 w 8079933"/>
              <a:gd name="connsiteY18777" fmla="*/ 1457105 h 4687251"/>
              <a:gd name="connsiteX18778" fmla="*/ 4463397 w 8079933"/>
              <a:gd name="connsiteY18778" fmla="*/ 1454181 h 4687251"/>
              <a:gd name="connsiteX18779" fmla="*/ 4462420 w 8079933"/>
              <a:gd name="connsiteY18779" fmla="*/ 1458295 h 4687251"/>
              <a:gd name="connsiteX18780" fmla="*/ 4459274 w 8079933"/>
              <a:gd name="connsiteY18780" fmla="*/ 1458728 h 4687251"/>
              <a:gd name="connsiteX18781" fmla="*/ 4459275 w 8079933"/>
              <a:gd name="connsiteY18781" fmla="*/ 1458729 h 4687251"/>
              <a:gd name="connsiteX18782" fmla="*/ 4462422 w 8079933"/>
              <a:gd name="connsiteY18782" fmla="*/ 1458296 h 4687251"/>
              <a:gd name="connsiteX18783" fmla="*/ 4463398 w 8079933"/>
              <a:gd name="connsiteY18783" fmla="*/ 1454182 h 4687251"/>
              <a:gd name="connsiteX18784" fmla="*/ 6681197 w 8079933"/>
              <a:gd name="connsiteY18784" fmla="*/ 1449012 h 4687251"/>
              <a:gd name="connsiteX18785" fmla="*/ 6681912 w 8079933"/>
              <a:gd name="connsiteY18785" fmla="*/ 1451150 h 4687251"/>
              <a:gd name="connsiteX18786" fmla="*/ 6680610 w 8079933"/>
              <a:gd name="connsiteY18786" fmla="*/ 1453423 h 4687251"/>
              <a:gd name="connsiteX18787" fmla="*/ 6681695 w 8079933"/>
              <a:gd name="connsiteY18787" fmla="*/ 1455480 h 4687251"/>
              <a:gd name="connsiteX18788" fmla="*/ 6682134 w 8079933"/>
              <a:gd name="connsiteY18788" fmla="*/ 1455611 h 4687251"/>
              <a:gd name="connsiteX18789" fmla="*/ 6681152 w 8079933"/>
              <a:gd name="connsiteY18789" fmla="*/ 1453750 h 4687251"/>
              <a:gd name="connsiteX18790" fmla="*/ 6682454 w 8079933"/>
              <a:gd name="connsiteY18790" fmla="*/ 1451368 h 4687251"/>
              <a:gd name="connsiteX18791" fmla="*/ 6681695 w 8079933"/>
              <a:gd name="connsiteY18791" fmla="*/ 1449094 h 4687251"/>
              <a:gd name="connsiteX18792" fmla="*/ 1147997 w 8079933"/>
              <a:gd name="connsiteY18792" fmla="*/ 1448768 h 4687251"/>
              <a:gd name="connsiteX18793" fmla="*/ 1149516 w 8079933"/>
              <a:gd name="connsiteY18793" fmla="*/ 1453640 h 4687251"/>
              <a:gd name="connsiteX18794" fmla="*/ 1146912 w 8079933"/>
              <a:gd name="connsiteY18794" fmla="*/ 1455481 h 4687251"/>
              <a:gd name="connsiteX18795" fmla="*/ 1146912 w 8079933"/>
              <a:gd name="connsiteY18795" fmla="*/ 1457105 h 4687251"/>
              <a:gd name="connsiteX18796" fmla="*/ 1144850 w 8079933"/>
              <a:gd name="connsiteY18796" fmla="*/ 1458513 h 4687251"/>
              <a:gd name="connsiteX18797" fmla="*/ 1144850 w 8079933"/>
              <a:gd name="connsiteY18797" fmla="*/ 1453099 h 4687251"/>
              <a:gd name="connsiteX18798" fmla="*/ 6674508 w 8079933"/>
              <a:gd name="connsiteY18798" fmla="*/ 1448661 h 4687251"/>
              <a:gd name="connsiteX18799" fmla="*/ 6675401 w 8079933"/>
              <a:gd name="connsiteY18799" fmla="*/ 1450175 h 4687251"/>
              <a:gd name="connsiteX18800" fmla="*/ 6675721 w 8079933"/>
              <a:gd name="connsiteY18800" fmla="*/ 1449939 h 4687251"/>
              <a:gd name="connsiteX18801" fmla="*/ 6674967 w 8079933"/>
              <a:gd name="connsiteY18801" fmla="*/ 1448661 h 4687251"/>
              <a:gd name="connsiteX18802" fmla="*/ 2259291 w 8079933"/>
              <a:gd name="connsiteY18802" fmla="*/ 1446637 h 4687251"/>
              <a:gd name="connsiteX18803" fmla="*/ 2256386 w 8079933"/>
              <a:gd name="connsiteY18803" fmla="*/ 1450501 h 4687251"/>
              <a:gd name="connsiteX18804" fmla="*/ 2256494 w 8079933"/>
              <a:gd name="connsiteY18804" fmla="*/ 1450501 h 4687251"/>
              <a:gd name="connsiteX18805" fmla="*/ 3809910 w 8079933"/>
              <a:gd name="connsiteY18805" fmla="*/ 1446495 h 4687251"/>
              <a:gd name="connsiteX18806" fmla="*/ 3810670 w 8079933"/>
              <a:gd name="connsiteY18806" fmla="*/ 1452666 h 4687251"/>
              <a:gd name="connsiteX18807" fmla="*/ 3806546 w 8079933"/>
              <a:gd name="connsiteY18807" fmla="*/ 1456456 h 4687251"/>
              <a:gd name="connsiteX18808" fmla="*/ 3805244 w 8079933"/>
              <a:gd name="connsiteY18808" fmla="*/ 1459920 h 4687251"/>
              <a:gd name="connsiteX18809" fmla="*/ 3806655 w 8079933"/>
              <a:gd name="connsiteY18809" fmla="*/ 1461003 h 4687251"/>
              <a:gd name="connsiteX18810" fmla="*/ 3803725 w 8079933"/>
              <a:gd name="connsiteY18810" fmla="*/ 1465226 h 4687251"/>
              <a:gd name="connsiteX18811" fmla="*/ 3799493 w 8079933"/>
              <a:gd name="connsiteY18811" fmla="*/ 1464144 h 4687251"/>
              <a:gd name="connsiteX18812" fmla="*/ 3795478 w 8079933"/>
              <a:gd name="connsiteY18812" fmla="*/ 1464793 h 4687251"/>
              <a:gd name="connsiteX18813" fmla="*/ 3793308 w 8079933"/>
              <a:gd name="connsiteY18813" fmla="*/ 1462952 h 4687251"/>
              <a:gd name="connsiteX18814" fmla="*/ 3795369 w 8079933"/>
              <a:gd name="connsiteY18814" fmla="*/ 1461328 h 4687251"/>
              <a:gd name="connsiteX18815" fmla="*/ 3792874 w 8079933"/>
              <a:gd name="connsiteY18815" fmla="*/ 1458621 h 4687251"/>
              <a:gd name="connsiteX18816" fmla="*/ 3795478 w 8079933"/>
              <a:gd name="connsiteY18816" fmla="*/ 1455373 h 4687251"/>
              <a:gd name="connsiteX18817" fmla="*/ 3800469 w 8079933"/>
              <a:gd name="connsiteY18817" fmla="*/ 1457647 h 4687251"/>
              <a:gd name="connsiteX18818" fmla="*/ 3799276 w 8079933"/>
              <a:gd name="connsiteY18818" fmla="*/ 1454074 h 4687251"/>
              <a:gd name="connsiteX18819" fmla="*/ 1128030 w 8079933"/>
              <a:gd name="connsiteY18819" fmla="*/ 1442814 h 4687251"/>
              <a:gd name="connsiteX18820" fmla="*/ 1131286 w 8079933"/>
              <a:gd name="connsiteY18820" fmla="*/ 1447253 h 4687251"/>
              <a:gd name="connsiteX18821" fmla="*/ 1133130 w 8079933"/>
              <a:gd name="connsiteY18821" fmla="*/ 1452559 h 4687251"/>
              <a:gd name="connsiteX18822" fmla="*/ 1130418 w 8079933"/>
              <a:gd name="connsiteY18822" fmla="*/ 1457106 h 4687251"/>
              <a:gd name="connsiteX18823" fmla="*/ 1130201 w 8079933"/>
              <a:gd name="connsiteY18823" fmla="*/ 1453641 h 4687251"/>
              <a:gd name="connsiteX18824" fmla="*/ 1127271 w 8079933"/>
              <a:gd name="connsiteY18824" fmla="*/ 1451584 h 4687251"/>
              <a:gd name="connsiteX18825" fmla="*/ 3863627 w 8079933"/>
              <a:gd name="connsiteY18825" fmla="*/ 1442272 h 4687251"/>
              <a:gd name="connsiteX18826" fmla="*/ 3868293 w 8079933"/>
              <a:gd name="connsiteY18826" fmla="*/ 1442272 h 4687251"/>
              <a:gd name="connsiteX18827" fmla="*/ 3868509 w 8079933"/>
              <a:gd name="connsiteY18827" fmla="*/ 1444113 h 4687251"/>
              <a:gd name="connsiteX18828" fmla="*/ 3866665 w 8079933"/>
              <a:gd name="connsiteY18828" fmla="*/ 1447036 h 4687251"/>
              <a:gd name="connsiteX18829" fmla="*/ 3868293 w 8079933"/>
              <a:gd name="connsiteY18829" fmla="*/ 1448768 h 4687251"/>
              <a:gd name="connsiteX18830" fmla="*/ 3866773 w 8079933"/>
              <a:gd name="connsiteY18830" fmla="*/ 1452990 h 4687251"/>
              <a:gd name="connsiteX18831" fmla="*/ 3863627 w 8079933"/>
              <a:gd name="connsiteY18831" fmla="*/ 1454074 h 4687251"/>
              <a:gd name="connsiteX18832" fmla="*/ 3860914 w 8079933"/>
              <a:gd name="connsiteY18832" fmla="*/ 1458621 h 4687251"/>
              <a:gd name="connsiteX18833" fmla="*/ 3851581 w 8079933"/>
              <a:gd name="connsiteY18833" fmla="*/ 1465658 h 4687251"/>
              <a:gd name="connsiteX18834" fmla="*/ 3850821 w 8079933"/>
              <a:gd name="connsiteY18834" fmla="*/ 1468473 h 4687251"/>
              <a:gd name="connsiteX18835" fmla="*/ 3848868 w 8079933"/>
              <a:gd name="connsiteY18835" fmla="*/ 1469772 h 4687251"/>
              <a:gd name="connsiteX18836" fmla="*/ 3852232 w 8079933"/>
              <a:gd name="connsiteY18836" fmla="*/ 1470963 h 4687251"/>
              <a:gd name="connsiteX18837" fmla="*/ 3854945 w 8079933"/>
              <a:gd name="connsiteY18837" fmla="*/ 1469448 h 4687251"/>
              <a:gd name="connsiteX18838" fmla="*/ 3851147 w 8079933"/>
              <a:gd name="connsiteY18838" fmla="*/ 1475511 h 4687251"/>
              <a:gd name="connsiteX18839" fmla="*/ 3847675 w 8079933"/>
              <a:gd name="connsiteY18839" fmla="*/ 1479517 h 4687251"/>
              <a:gd name="connsiteX18840" fmla="*/ 3848434 w 8079933"/>
              <a:gd name="connsiteY18840" fmla="*/ 1480383 h 4687251"/>
              <a:gd name="connsiteX18841" fmla="*/ 3851038 w 8079933"/>
              <a:gd name="connsiteY18841" fmla="*/ 1478218 h 4687251"/>
              <a:gd name="connsiteX18842" fmla="*/ 3852666 w 8079933"/>
              <a:gd name="connsiteY18842" fmla="*/ 1478326 h 4687251"/>
              <a:gd name="connsiteX18843" fmla="*/ 3856573 w 8079933"/>
              <a:gd name="connsiteY18843" fmla="*/ 1476161 h 4687251"/>
              <a:gd name="connsiteX18844" fmla="*/ 3860154 w 8079933"/>
              <a:gd name="connsiteY18844" fmla="*/ 1475078 h 4687251"/>
              <a:gd name="connsiteX18845" fmla="*/ 3860479 w 8079933"/>
              <a:gd name="connsiteY18845" fmla="*/ 1473778 h 4687251"/>
              <a:gd name="connsiteX18846" fmla="*/ 3863083 w 8079933"/>
              <a:gd name="connsiteY18846" fmla="*/ 1473670 h 4687251"/>
              <a:gd name="connsiteX18847" fmla="*/ 3866665 w 8079933"/>
              <a:gd name="connsiteY18847" fmla="*/ 1474970 h 4687251"/>
              <a:gd name="connsiteX18848" fmla="*/ 3869486 w 8079933"/>
              <a:gd name="connsiteY18848" fmla="*/ 1474970 h 4687251"/>
              <a:gd name="connsiteX18849" fmla="*/ 3871222 w 8079933"/>
              <a:gd name="connsiteY18849" fmla="*/ 1473778 h 4687251"/>
              <a:gd name="connsiteX18850" fmla="*/ 3877191 w 8079933"/>
              <a:gd name="connsiteY18850" fmla="*/ 1474861 h 4687251"/>
              <a:gd name="connsiteX18851" fmla="*/ 3886740 w 8079933"/>
              <a:gd name="connsiteY18851" fmla="*/ 1474537 h 4687251"/>
              <a:gd name="connsiteX18852" fmla="*/ 3887934 w 8079933"/>
              <a:gd name="connsiteY18852" fmla="*/ 1473562 h 4687251"/>
              <a:gd name="connsiteX18853" fmla="*/ 3893468 w 8079933"/>
              <a:gd name="connsiteY18853" fmla="*/ 1478651 h 4687251"/>
              <a:gd name="connsiteX18854" fmla="*/ 3893468 w 8079933"/>
              <a:gd name="connsiteY18854" fmla="*/ 1482332 h 4687251"/>
              <a:gd name="connsiteX18855" fmla="*/ 3889670 w 8079933"/>
              <a:gd name="connsiteY18855" fmla="*/ 1485580 h 4687251"/>
              <a:gd name="connsiteX18856" fmla="*/ 3887717 w 8079933"/>
              <a:gd name="connsiteY18856" fmla="*/ 1491318 h 4687251"/>
              <a:gd name="connsiteX18857" fmla="*/ 3888585 w 8079933"/>
              <a:gd name="connsiteY18857" fmla="*/ 1492726 h 4687251"/>
              <a:gd name="connsiteX18858" fmla="*/ 3886306 w 8079933"/>
              <a:gd name="connsiteY18858" fmla="*/ 1496840 h 4687251"/>
              <a:gd name="connsiteX18859" fmla="*/ 3886523 w 8079933"/>
              <a:gd name="connsiteY18859" fmla="*/ 1498897 h 4687251"/>
              <a:gd name="connsiteX18860" fmla="*/ 3884570 w 8079933"/>
              <a:gd name="connsiteY18860" fmla="*/ 1501712 h 4687251"/>
              <a:gd name="connsiteX18861" fmla="*/ 3881423 w 8079933"/>
              <a:gd name="connsiteY18861" fmla="*/ 1507884 h 4687251"/>
              <a:gd name="connsiteX18862" fmla="*/ 3879252 w 8079933"/>
              <a:gd name="connsiteY18862" fmla="*/ 1509291 h 4687251"/>
              <a:gd name="connsiteX18863" fmla="*/ 3878710 w 8079933"/>
              <a:gd name="connsiteY18863" fmla="*/ 1511781 h 4687251"/>
              <a:gd name="connsiteX18864" fmla="*/ 3875563 w 8079933"/>
              <a:gd name="connsiteY18864" fmla="*/ 1514488 h 4687251"/>
              <a:gd name="connsiteX18865" fmla="*/ 3870029 w 8079933"/>
              <a:gd name="connsiteY18865" fmla="*/ 1514163 h 4687251"/>
              <a:gd name="connsiteX18866" fmla="*/ 3865580 w 8079933"/>
              <a:gd name="connsiteY18866" fmla="*/ 1517520 h 4687251"/>
              <a:gd name="connsiteX18867" fmla="*/ 3866556 w 8079933"/>
              <a:gd name="connsiteY18867" fmla="*/ 1518711 h 4687251"/>
              <a:gd name="connsiteX18868" fmla="*/ 3872416 w 8079933"/>
              <a:gd name="connsiteY18868" fmla="*/ 1515571 h 4687251"/>
              <a:gd name="connsiteX18869" fmla="*/ 3874153 w 8079933"/>
              <a:gd name="connsiteY18869" fmla="*/ 1516871 h 4687251"/>
              <a:gd name="connsiteX18870" fmla="*/ 3874478 w 8079933"/>
              <a:gd name="connsiteY18870" fmla="*/ 1519361 h 4687251"/>
              <a:gd name="connsiteX18871" fmla="*/ 3878710 w 8079933"/>
              <a:gd name="connsiteY18871" fmla="*/ 1521418 h 4687251"/>
              <a:gd name="connsiteX18872" fmla="*/ 3874478 w 8079933"/>
              <a:gd name="connsiteY18872" fmla="*/ 1524557 h 4687251"/>
              <a:gd name="connsiteX18873" fmla="*/ 3869920 w 8079933"/>
              <a:gd name="connsiteY18873" fmla="*/ 1524341 h 4687251"/>
              <a:gd name="connsiteX18874" fmla="*/ 3868509 w 8079933"/>
              <a:gd name="connsiteY18874" fmla="*/ 1527914 h 4687251"/>
              <a:gd name="connsiteX18875" fmla="*/ 3864060 w 8079933"/>
              <a:gd name="connsiteY18875" fmla="*/ 1529430 h 4687251"/>
              <a:gd name="connsiteX18876" fmla="*/ 3858634 w 8079933"/>
              <a:gd name="connsiteY18876" fmla="*/ 1528997 h 4687251"/>
              <a:gd name="connsiteX18877" fmla="*/ 3855922 w 8079933"/>
              <a:gd name="connsiteY18877" fmla="*/ 1527589 h 4687251"/>
              <a:gd name="connsiteX18878" fmla="*/ 3857224 w 8079933"/>
              <a:gd name="connsiteY18878" fmla="*/ 1530079 h 4687251"/>
              <a:gd name="connsiteX18879" fmla="*/ 3861782 w 8079933"/>
              <a:gd name="connsiteY18879" fmla="*/ 1531487 h 4687251"/>
              <a:gd name="connsiteX18880" fmla="*/ 3864495 w 8079933"/>
              <a:gd name="connsiteY18880" fmla="*/ 1531162 h 4687251"/>
              <a:gd name="connsiteX18881" fmla="*/ 3870029 w 8079933"/>
              <a:gd name="connsiteY18881" fmla="*/ 1533002 h 4687251"/>
              <a:gd name="connsiteX18882" fmla="*/ 3874044 w 8079933"/>
              <a:gd name="connsiteY18882" fmla="*/ 1530404 h 4687251"/>
              <a:gd name="connsiteX18883" fmla="*/ 3876106 w 8079933"/>
              <a:gd name="connsiteY18883" fmla="*/ 1528563 h 4687251"/>
              <a:gd name="connsiteX18884" fmla="*/ 3881097 w 8079933"/>
              <a:gd name="connsiteY18884" fmla="*/ 1530512 h 4687251"/>
              <a:gd name="connsiteX18885" fmla="*/ 3884245 w 8079933"/>
              <a:gd name="connsiteY18885" fmla="*/ 1533111 h 4687251"/>
              <a:gd name="connsiteX18886" fmla="*/ 3888260 w 8079933"/>
              <a:gd name="connsiteY18886" fmla="*/ 1533977 h 4687251"/>
              <a:gd name="connsiteX18887" fmla="*/ 3894879 w 8079933"/>
              <a:gd name="connsiteY18887" fmla="*/ 1543938 h 4687251"/>
              <a:gd name="connsiteX18888" fmla="*/ 3897158 w 8079933"/>
              <a:gd name="connsiteY18888" fmla="*/ 1543938 h 4687251"/>
              <a:gd name="connsiteX18889" fmla="*/ 3899437 w 8079933"/>
              <a:gd name="connsiteY18889" fmla="*/ 1547619 h 4687251"/>
              <a:gd name="connsiteX18890" fmla="*/ 3901498 w 8079933"/>
              <a:gd name="connsiteY18890" fmla="*/ 1558663 h 4687251"/>
              <a:gd name="connsiteX18891" fmla="*/ 3904320 w 8079933"/>
              <a:gd name="connsiteY18891" fmla="*/ 1563318 h 4687251"/>
              <a:gd name="connsiteX18892" fmla="*/ 3906925 w 8079933"/>
              <a:gd name="connsiteY18892" fmla="*/ 1571980 h 4687251"/>
              <a:gd name="connsiteX18893" fmla="*/ 3908661 w 8079933"/>
              <a:gd name="connsiteY18893" fmla="*/ 1573062 h 4687251"/>
              <a:gd name="connsiteX18894" fmla="*/ 3909095 w 8079933"/>
              <a:gd name="connsiteY18894" fmla="*/ 1576203 h 4687251"/>
              <a:gd name="connsiteX18895" fmla="*/ 3917017 w 8079933"/>
              <a:gd name="connsiteY18895" fmla="*/ 1578043 h 4687251"/>
              <a:gd name="connsiteX18896" fmla="*/ 3922659 w 8079933"/>
              <a:gd name="connsiteY18896" fmla="*/ 1580966 h 4687251"/>
              <a:gd name="connsiteX18897" fmla="*/ 3926458 w 8079933"/>
              <a:gd name="connsiteY18897" fmla="*/ 1587787 h 4687251"/>
              <a:gd name="connsiteX18898" fmla="*/ 3927760 w 8079933"/>
              <a:gd name="connsiteY18898" fmla="*/ 1588004 h 4687251"/>
              <a:gd name="connsiteX18899" fmla="*/ 3929170 w 8079933"/>
              <a:gd name="connsiteY18899" fmla="*/ 1590386 h 4687251"/>
              <a:gd name="connsiteX18900" fmla="*/ 3932317 w 8079933"/>
              <a:gd name="connsiteY18900" fmla="*/ 1592119 h 4687251"/>
              <a:gd name="connsiteX18901" fmla="*/ 3930581 w 8079933"/>
              <a:gd name="connsiteY18901" fmla="*/ 1592768 h 4687251"/>
              <a:gd name="connsiteX18902" fmla="*/ 3928736 w 8079933"/>
              <a:gd name="connsiteY18902" fmla="*/ 1595799 h 4687251"/>
              <a:gd name="connsiteX18903" fmla="*/ 3931666 w 8079933"/>
              <a:gd name="connsiteY18903" fmla="*/ 1599589 h 4687251"/>
              <a:gd name="connsiteX18904" fmla="*/ 3938069 w 8079933"/>
              <a:gd name="connsiteY18904" fmla="*/ 1607601 h 4687251"/>
              <a:gd name="connsiteX18905" fmla="*/ 3935790 w 8079933"/>
              <a:gd name="connsiteY18905" fmla="*/ 1607060 h 4687251"/>
              <a:gd name="connsiteX18906" fmla="*/ 3933294 w 8079933"/>
              <a:gd name="connsiteY18906" fmla="*/ 1607493 h 4687251"/>
              <a:gd name="connsiteX18907" fmla="*/ 3931449 w 8079933"/>
              <a:gd name="connsiteY18907" fmla="*/ 1605544 h 4687251"/>
              <a:gd name="connsiteX18908" fmla="*/ 3929279 w 8079933"/>
              <a:gd name="connsiteY18908" fmla="*/ 1604570 h 4687251"/>
              <a:gd name="connsiteX18909" fmla="*/ 3925698 w 8079933"/>
              <a:gd name="connsiteY18909" fmla="*/ 1605327 h 4687251"/>
              <a:gd name="connsiteX18910" fmla="*/ 3923636 w 8079933"/>
              <a:gd name="connsiteY18910" fmla="*/ 1604786 h 4687251"/>
              <a:gd name="connsiteX18911" fmla="*/ 3920380 w 8079933"/>
              <a:gd name="connsiteY18911" fmla="*/ 1605652 h 4687251"/>
              <a:gd name="connsiteX18912" fmla="*/ 3922117 w 8079933"/>
              <a:gd name="connsiteY18912" fmla="*/ 1605652 h 4687251"/>
              <a:gd name="connsiteX18913" fmla="*/ 3925047 w 8079933"/>
              <a:gd name="connsiteY18913" fmla="*/ 1606627 h 4687251"/>
              <a:gd name="connsiteX18914" fmla="*/ 3926675 w 8079933"/>
              <a:gd name="connsiteY18914" fmla="*/ 1606085 h 4687251"/>
              <a:gd name="connsiteX18915" fmla="*/ 3929170 w 8079933"/>
              <a:gd name="connsiteY18915" fmla="*/ 1605652 h 4687251"/>
              <a:gd name="connsiteX18916" fmla="*/ 3931124 w 8079933"/>
              <a:gd name="connsiteY18916" fmla="*/ 1609009 h 4687251"/>
              <a:gd name="connsiteX18917" fmla="*/ 3935899 w 8079933"/>
              <a:gd name="connsiteY18917" fmla="*/ 1611715 h 4687251"/>
              <a:gd name="connsiteX18918" fmla="*/ 3938069 w 8079933"/>
              <a:gd name="connsiteY18918" fmla="*/ 1612148 h 4687251"/>
              <a:gd name="connsiteX18919" fmla="*/ 3943495 w 8079933"/>
              <a:gd name="connsiteY18919" fmla="*/ 1620918 h 4687251"/>
              <a:gd name="connsiteX18920" fmla="*/ 3943495 w 8079933"/>
              <a:gd name="connsiteY18920" fmla="*/ 1625141 h 4687251"/>
              <a:gd name="connsiteX18921" fmla="*/ 3936658 w 8079933"/>
              <a:gd name="connsiteY18921" fmla="*/ 1631962 h 4687251"/>
              <a:gd name="connsiteX18922" fmla="*/ 3940999 w 8079933"/>
              <a:gd name="connsiteY18922" fmla="*/ 1633045 h 4687251"/>
              <a:gd name="connsiteX18923" fmla="*/ 3944580 w 8079933"/>
              <a:gd name="connsiteY18923" fmla="*/ 1637159 h 4687251"/>
              <a:gd name="connsiteX18924" fmla="*/ 3946425 w 8079933"/>
              <a:gd name="connsiteY18924" fmla="*/ 1634127 h 4687251"/>
              <a:gd name="connsiteX18925" fmla="*/ 3946967 w 8079933"/>
              <a:gd name="connsiteY18925" fmla="*/ 1629039 h 4687251"/>
              <a:gd name="connsiteX18926" fmla="*/ 3953912 w 8079933"/>
              <a:gd name="connsiteY18926" fmla="*/ 1628822 h 4687251"/>
              <a:gd name="connsiteX18927" fmla="*/ 3964981 w 8079933"/>
              <a:gd name="connsiteY18927" fmla="*/ 1629363 h 4687251"/>
              <a:gd name="connsiteX18928" fmla="*/ 3972902 w 8079933"/>
              <a:gd name="connsiteY18928" fmla="*/ 1635535 h 4687251"/>
              <a:gd name="connsiteX18929" fmla="*/ 3973987 w 8079933"/>
              <a:gd name="connsiteY18929" fmla="*/ 1641382 h 4687251"/>
              <a:gd name="connsiteX18930" fmla="*/ 3976049 w 8079933"/>
              <a:gd name="connsiteY18930" fmla="*/ 1643980 h 4687251"/>
              <a:gd name="connsiteX18931" fmla="*/ 3973445 w 8079933"/>
              <a:gd name="connsiteY18931" fmla="*/ 1650368 h 4687251"/>
              <a:gd name="connsiteX18932" fmla="*/ 3973011 w 8079933"/>
              <a:gd name="connsiteY18932" fmla="*/ 1657297 h 4687251"/>
              <a:gd name="connsiteX18933" fmla="*/ 3970298 w 8079933"/>
              <a:gd name="connsiteY18933" fmla="*/ 1658380 h 4687251"/>
              <a:gd name="connsiteX18934" fmla="*/ 3967476 w 8079933"/>
              <a:gd name="connsiteY18934" fmla="*/ 1662061 h 4687251"/>
              <a:gd name="connsiteX18935" fmla="*/ 3966826 w 8079933"/>
              <a:gd name="connsiteY18935" fmla="*/ 1660220 h 4687251"/>
              <a:gd name="connsiteX18936" fmla="*/ 3964330 w 8079933"/>
              <a:gd name="connsiteY18936" fmla="*/ 1659679 h 4687251"/>
              <a:gd name="connsiteX18937" fmla="*/ 3962810 w 8079933"/>
              <a:gd name="connsiteY18937" fmla="*/ 1662169 h 4687251"/>
              <a:gd name="connsiteX18938" fmla="*/ 3966717 w 8079933"/>
              <a:gd name="connsiteY18938" fmla="*/ 1662602 h 4687251"/>
              <a:gd name="connsiteX18939" fmla="*/ 3965632 w 8079933"/>
              <a:gd name="connsiteY18939" fmla="*/ 1664335 h 4687251"/>
              <a:gd name="connsiteX18940" fmla="*/ 3967259 w 8079933"/>
              <a:gd name="connsiteY18940" fmla="*/ 1664659 h 4687251"/>
              <a:gd name="connsiteX18941" fmla="*/ 3965849 w 8079933"/>
              <a:gd name="connsiteY18941" fmla="*/ 1666716 h 4687251"/>
              <a:gd name="connsiteX18942" fmla="*/ 3962485 w 8079933"/>
              <a:gd name="connsiteY18942" fmla="*/ 1669207 h 4687251"/>
              <a:gd name="connsiteX18943" fmla="*/ 3960315 w 8079933"/>
              <a:gd name="connsiteY18943" fmla="*/ 1667367 h 4687251"/>
              <a:gd name="connsiteX18944" fmla="*/ 3958361 w 8079933"/>
              <a:gd name="connsiteY18944" fmla="*/ 1669315 h 4687251"/>
              <a:gd name="connsiteX18945" fmla="*/ 3955648 w 8079933"/>
              <a:gd name="connsiteY18945" fmla="*/ 1671697 h 4687251"/>
              <a:gd name="connsiteX18946" fmla="*/ 3959338 w 8079933"/>
              <a:gd name="connsiteY18946" fmla="*/ 1671697 h 4687251"/>
              <a:gd name="connsiteX18947" fmla="*/ 3960315 w 8079933"/>
              <a:gd name="connsiteY18947" fmla="*/ 1674837 h 4687251"/>
              <a:gd name="connsiteX18948" fmla="*/ 3956734 w 8079933"/>
              <a:gd name="connsiteY18948" fmla="*/ 1676569 h 4687251"/>
              <a:gd name="connsiteX18949" fmla="*/ 3953695 w 8079933"/>
              <a:gd name="connsiteY18949" fmla="*/ 1676245 h 4687251"/>
              <a:gd name="connsiteX18950" fmla="*/ 3949138 w 8079933"/>
              <a:gd name="connsiteY18950" fmla="*/ 1679384 h 4687251"/>
              <a:gd name="connsiteX18951" fmla="*/ 3952393 w 8079933"/>
              <a:gd name="connsiteY18951" fmla="*/ 1678193 h 4687251"/>
              <a:gd name="connsiteX18952" fmla="*/ 3956082 w 8079933"/>
              <a:gd name="connsiteY18952" fmla="*/ 1679168 h 4687251"/>
              <a:gd name="connsiteX18953" fmla="*/ 3955757 w 8079933"/>
              <a:gd name="connsiteY18953" fmla="*/ 1679926 h 4687251"/>
              <a:gd name="connsiteX18954" fmla="*/ 3954455 w 8079933"/>
              <a:gd name="connsiteY18954" fmla="*/ 1680142 h 4687251"/>
              <a:gd name="connsiteX18955" fmla="*/ 3953044 w 8079933"/>
              <a:gd name="connsiteY18955" fmla="*/ 1681549 h 4687251"/>
              <a:gd name="connsiteX18956" fmla="*/ 3954563 w 8079933"/>
              <a:gd name="connsiteY18956" fmla="*/ 1681875 h 4687251"/>
              <a:gd name="connsiteX18957" fmla="*/ 3958687 w 8079933"/>
              <a:gd name="connsiteY18957" fmla="*/ 1683390 h 4687251"/>
              <a:gd name="connsiteX18958" fmla="*/ 3961292 w 8079933"/>
              <a:gd name="connsiteY18958" fmla="*/ 1682957 h 4687251"/>
              <a:gd name="connsiteX18959" fmla="*/ 3965740 w 8079933"/>
              <a:gd name="connsiteY18959" fmla="*/ 1681225 h 4687251"/>
              <a:gd name="connsiteX18960" fmla="*/ 3971926 w 8079933"/>
              <a:gd name="connsiteY18960" fmla="*/ 1681008 h 4687251"/>
              <a:gd name="connsiteX18961" fmla="*/ 3970841 w 8079933"/>
              <a:gd name="connsiteY18961" fmla="*/ 1683932 h 4687251"/>
              <a:gd name="connsiteX18962" fmla="*/ 3971818 w 8079933"/>
              <a:gd name="connsiteY18962" fmla="*/ 1686314 h 4687251"/>
              <a:gd name="connsiteX18963" fmla="*/ 3971600 w 8079933"/>
              <a:gd name="connsiteY18963" fmla="*/ 1689887 h 4687251"/>
              <a:gd name="connsiteX18964" fmla="*/ 3968128 w 8079933"/>
              <a:gd name="connsiteY18964" fmla="*/ 1690644 h 4687251"/>
              <a:gd name="connsiteX18965" fmla="*/ 3962593 w 8079933"/>
              <a:gd name="connsiteY18965" fmla="*/ 1694434 h 4687251"/>
              <a:gd name="connsiteX18966" fmla="*/ 3963136 w 8079933"/>
              <a:gd name="connsiteY18966" fmla="*/ 1697032 h 4687251"/>
              <a:gd name="connsiteX18967" fmla="*/ 3960748 w 8079933"/>
              <a:gd name="connsiteY18967" fmla="*/ 1696491 h 4687251"/>
              <a:gd name="connsiteX18968" fmla="*/ 3958361 w 8079933"/>
              <a:gd name="connsiteY18968" fmla="*/ 1696708 h 4687251"/>
              <a:gd name="connsiteX18969" fmla="*/ 3954889 w 8079933"/>
              <a:gd name="connsiteY18969" fmla="*/ 1699848 h 4687251"/>
              <a:gd name="connsiteX18970" fmla="*/ 3951091 w 8079933"/>
              <a:gd name="connsiteY18970" fmla="*/ 1700605 h 4687251"/>
              <a:gd name="connsiteX18971" fmla="*/ 3947509 w 8079933"/>
              <a:gd name="connsiteY18971" fmla="*/ 1703528 h 4687251"/>
              <a:gd name="connsiteX18972" fmla="*/ 3945231 w 8079933"/>
              <a:gd name="connsiteY18972" fmla="*/ 1703095 h 4687251"/>
              <a:gd name="connsiteX18973" fmla="*/ 3940456 w 8079933"/>
              <a:gd name="connsiteY18973" fmla="*/ 1701580 h 4687251"/>
              <a:gd name="connsiteX18974" fmla="*/ 3935573 w 8079933"/>
              <a:gd name="connsiteY18974" fmla="*/ 1702554 h 4687251"/>
              <a:gd name="connsiteX18975" fmla="*/ 3927760 w 8079933"/>
              <a:gd name="connsiteY18975" fmla="*/ 1702663 h 4687251"/>
              <a:gd name="connsiteX18976" fmla="*/ 3924395 w 8079933"/>
              <a:gd name="connsiteY18976" fmla="*/ 1704936 h 4687251"/>
              <a:gd name="connsiteX18977" fmla="*/ 3921357 w 8079933"/>
              <a:gd name="connsiteY18977" fmla="*/ 1703204 h 4687251"/>
              <a:gd name="connsiteX18978" fmla="*/ 3920706 w 8079933"/>
              <a:gd name="connsiteY18978" fmla="*/ 1701471 h 4687251"/>
              <a:gd name="connsiteX18979" fmla="*/ 3918210 w 8079933"/>
              <a:gd name="connsiteY18979" fmla="*/ 1703312 h 4687251"/>
              <a:gd name="connsiteX18980" fmla="*/ 3916365 w 8079933"/>
              <a:gd name="connsiteY18980" fmla="*/ 1703528 h 4687251"/>
              <a:gd name="connsiteX18981" fmla="*/ 3912892 w 8079933"/>
              <a:gd name="connsiteY18981" fmla="*/ 1702771 h 4687251"/>
              <a:gd name="connsiteX18982" fmla="*/ 3907901 w 8079933"/>
              <a:gd name="connsiteY18982" fmla="*/ 1706019 h 4687251"/>
              <a:gd name="connsiteX18983" fmla="*/ 3904428 w 8079933"/>
              <a:gd name="connsiteY18983" fmla="*/ 1705044 h 4687251"/>
              <a:gd name="connsiteX18984" fmla="*/ 3899220 w 8079933"/>
              <a:gd name="connsiteY18984" fmla="*/ 1707643 h 4687251"/>
              <a:gd name="connsiteX18985" fmla="*/ 3897809 w 8079933"/>
              <a:gd name="connsiteY18985" fmla="*/ 1711216 h 4687251"/>
              <a:gd name="connsiteX18986" fmla="*/ 3894771 w 8079933"/>
              <a:gd name="connsiteY18986" fmla="*/ 1710133 h 4687251"/>
              <a:gd name="connsiteX18987" fmla="*/ 3889128 w 8079933"/>
              <a:gd name="connsiteY18987" fmla="*/ 1709916 h 4687251"/>
              <a:gd name="connsiteX18988" fmla="*/ 3887283 w 8079933"/>
              <a:gd name="connsiteY18988" fmla="*/ 1710675 h 4687251"/>
              <a:gd name="connsiteX18989" fmla="*/ 3882183 w 8079933"/>
              <a:gd name="connsiteY18989" fmla="*/ 1707102 h 4687251"/>
              <a:gd name="connsiteX18990" fmla="*/ 3877625 w 8079933"/>
              <a:gd name="connsiteY18990" fmla="*/ 1706777 h 4687251"/>
              <a:gd name="connsiteX18991" fmla="*/ 3869161 w 8079933"/>
              <a:gd name="connsiteY18991" fmla="*/ 1708726 h 4687251"/>
              <a:gd name="connsiteX18992" fmla="*/ 3868293 w 8079933"/>
              <a:gd name="connsiteY18992" fmla="*/ 1710350 h 4687251"/>
              <a:gd name="connsiteX18993" fmla="*/ 3866122 w 8079933"/>
              <a:gd name="connsiteY18993" fmla="*/ 1710675 h 4687251"/>
              <a:gd name="connsiteX18994" fmla="*/ 3863518 w 8079933"/>
              <a:gd name="connsiteY18994" fmla="*/ 1713165 h 4687251"/>
              <a:gd name="connsiteX18995" fmla="*/ 3864277 w 8079933"/>
              <a:gd name="connsiteY18995" fmla="*/ 1717387 h 4687251"/>
              <a:gd name="connsiteX18996" fmla="*/ 3863518 w 8079933"/>
              <a:gd name="connsiteY18996" fmla="*/ 1719661 h 4687251"/>
              <a:gd name="connsiteX18997" fmla="*/ 3860479 w 8079933"/>
              <a:gd name="connsiteY18997" fmla="*/ 1721068 h 4687251"/>
              <a:gd name="connsiteX18998" fmla="*/ 3861239 w 8079933"/>
              <a:gd name="connsiteY18998" fmla="*/ 1723450 h 4687251"/>
              <a:gd name="connsiteX18999" fmla="*/ 3857441 w 8079933"/>
              <a:gd name="connsiteY18999" fmla="*/ 1723667 h 4687251"/>
              <a:gd name="connsiteX19000" fmla="*/ 3854186 w 8079933"/>
              <a:gd name="connsiteY19000" fmla="*/ 1720960 h 4687251"/>
              <a:gd name="connsiteX19001" fmla="*/ 3851798 w 8079933"/>
              <a:gd name="connsiteY19001" fmla="*/ 1721177 h 4687251"/>
              <a:gd name="connsiteX19002" fmla="*/ 3849844 w 8079933"/>
              <a:gd name="connsiteY19002" fmla="*/ 1718470 h 4687251"/>
              <a:gd name="connsiteX19003" fmla="*/ 3847783 w 8079933"/>
              <a:gd name="connsiteY19003" fmla="*/ 1719553 h 4687251"/>
              <a:gd name="connsiteX19004" fmla="*/ 3845070 w 8079933"/>
              <a:gd name="connsiteY19004" fmla="*/ 1719120 h 4687251"/>
              <a:gd name="connsiteX19005" fmla="*/ 3841597 w 8079933"/>
              <a:gd name="connsiteY19005" fmla="*/ 1720744 h 4687251"/>
              <a:gd name="connsiteX19006" fmla="*/ 3837148 w 8079933"/>
              <a:gd name="connsiteY19006" fmla="*/ 1719553 h 4687251"/>
              <a:gd name="connsiteX19007" fmla="*/ 3835737 w 8079933"/>
              <a:gd name="connsiteY19007" fmla="*/ 1723017 h 4687251"/>
              <a:gd name="connsiteX19008" fmla="*/ 3833784 w 8079933"/>
              <a:gd name="connsiteY19008" fmla="*/ 1723017 h 4687251"/>
              <a:gd name="connsiteX19009" fmla="*/ 3830963 w 8079933"/>
              <a:gd name="connsiteY19009" fmla="*/ 1725832 h 4687251"/>
              <a:gd name="connsiteX19010" fmla="*/ 3829769 w 8079933"/>
              <a:gd name="connsiteY19010" fmla="*/ 1724316 h 4687251"/>
              <a:gd name="connsiteX19011" fmla="*/ 3827382 w 8079933"/>
              <a:gd name="connsiteY19011" fmla="*/ 1727456 h 4687251"/>
              <a:gd name="connsiteX19012" fmla="*/ 3828575 w 8079933"/>
              <a:gd name="connsiteY19012" fmla="*/ 1729297 h 4687251"/>
              <a:gd name="connsiteX19013" fmla="*/ 3825971 w 8079933"/>
              <a:gd name="connsiteY19013" fmla="*/ 1731679 h 4687251"/>
              <a:gd name="connsiteX19014" fmla="*/ 3823909 w 8079933"/>
              <a:gd name="connsiteY19014" fmla="*/ 1727889 h 4687251"/>
              <a:gd name="connsiteX19015" fmla="*/ 3818700 w 8079933"/>
              <a:gd name="connsiteY19015" fmla="*/ 1726590 h 4687251"/>
              <a:gd name="connsiteX19016" fmla="*/ 3818484 w 8079933"/>
              <a:gd name="connsiteY19016" fmla="*/ 1729838 h 4687251"/>
              <a:gd name="connsiteX19017" fmla="*/ 3814251 w 8079933"/>
              <a:gd name="connsiteY19017" fmla="*/ 1729513 h 4687251"/>
              <a:gd name="connsiteX19018" fmla="*/ 3814251 w 8079933"/>
              <a:gd name="connsiteY19018" fmla="*/ 1725940 h 4687251"/>
              <a:gd name="connsiteX19019" fmla="*/ 3818158 w 8079933"/>
              <a:gd name="connsiteY19019" fmla="*/ 1723234 h 4687251"/>
              <a:gd name="connsiteX19020" fmla="*/ 3820653 w 8079933"/>
              <a:gd name="connsiteY19020" fmla="*/ 1724100 h 4687251"/>
              <a:gd name="connsiteX19021" fmla="*/ 3826297 w 8079933"/>
              <a:gd name="connsiteY19021" fmla="*/ 1720094 h 4687251"/>
              <a:gd name="connsiteX19022" fmla="*/ 3827382 w 8079933"/>
              <a:gd name="connsiteY19022" fmla="*/ 1717604 h 4687251"/>
              <a:gd name="connsiteX19023" fmla="*/ 3829335 w 8079933"/>
              <a:gd name="connsiteY19023" fmla="*/ 1717495 h 4687251"/>
              <a:gd name="connsiteX19024" fmla="*/ 3830529 w 8079933"/>
              <a:gd name="connsiteY19024" fmla="*/ 1712840 h 4687251"/>
              <a:gd name="connsiteX19025" fmla="*/ 3835195 w 8079933"/>
              <a:gd name="connsiteY19025" fmla="*/ 1712082 h 4687251"/>
              <a:gd name="connsiteX19026" fmla="*/ 3836280 w 8079933"/>
              <a:gd name="connsiteY19026" fmla="*/ 1709916 h 4687251"/>
              <a:gd name="connsiteX19027" fmla="*/ 3840404 w 8079933"/>
              <a:gd name="connsiteY19027" fmla="*/ 1706127 h 4687251"/>
              <a:gd name="connsiteX19028" fmla="*/ 3841055 w 8079933"/>
              <a:gd name="connsiteY19028" fmla="*/ 1698007 h 4687251"/>
              <a:gd name="connsiteX19029" fmla="*/ 3844962 w 8079933"/>
              <a:gd name="connsiteY19029" fmla="*/ 1698007 h 4687251"/>
              <a:gd name="connsiteX19030" fmla="*/ 3847891 w 8079933"/>
              <a:gd name="connsiteY19030" fmla="*/ 1695083 h 4687251"/>
              <a:gd name="connsiteX19031" fmla="*/ 3847783 w 8079933"/>
              <a:gd name="connsiteY19031" fmla="*/ 1691510 h 4687251"/>
              <a:gd name="connsiteX19032" fmla="*/ 3854945 w 8079933"/>
              <a:gd name="connsiteY19032" fmla="*/ 1689670 h 4687251"/>
              <a:gd name="connsiteX19033" fmla="*/ 3864820 w 8079933"/>
              <a:gd name="connsiteY19033" fmla="*/ 1690753 h 4687251"/>
              <a:gd name="connsiteX19034" fmla="*/ 3868401 w 8079933"/>
              <a:gd name="connsiteY19034" fmla="*/ 1692702 h 4687251"/>
              <a:gd name="connsiteX19035" fmla="*/ 3871440 w 8079933"/>
              <a:gd name="connsiteY19035" fmla="*/ 1691510 h 4687251"/>
              <a:gd name="connsiteX19036" fmla="*/ 3875346 w 8079933"/>
              <a:gd name="connsiteY19036" fmla="*/ 1691727 h 4687251"/>
              <a:gd name="connsiteX19037" fmla="*/ 3875563 w 8079933"/>
              <a:gd name="connsiteY19037" fmla="*/ 1685339 h 4687251"/>
              <a:gd name="connsiteX19038" fmla="*/ 3881315 w 8079933"/>
              <a:gd name="connsiteY19038" fmla="*/ 1679818 h 4687251"/>
              <a:gd name="connsiteX19039" fmla="*/ 3886957 w 8079933"/>
              <a:gd name="connsiteY19039" fmla="*/ 1673213 h 4687251"/>
              <a:gd name="connsiteX19040" fmla="*/ 3882833 w 8079933"/>
              <a:gd name="connsiteY19040" fmla="*/ 1675161 h 4687251"/>
              <a:gd name="connsiteX19041" fmla="*/ 3880989 w 8079933"/>
              <a:gd name="connsiteY19041" fmla="*/ 1677977 h 4687251"/>
              <a:gd name="connsiteX19042" fmla="*/ 3875997 w 8079933"/>
              <a:gd name="connsiteY19042" fmla="*/ 1679818 h 4687251"/>
              <a:gd name="connsiteX19043" fmla="*/ 3872308 w 8079933"/>
              <a:gd name="connsiteY19043" fmla="*/ 1681333 h 4687251"/>
              <a:gd name="connsiteX19044" fmla="*/ 3870571 w 8079933"/>
              <a:gd name="connsiteY19044" fmla="*/ 1684365 h 4687251"/>
              <a:gd name="connsiteX19045" fmla="*/ 3862867 w 8079933"/>
              <a:gd name="connsiteY19045" fmla="*/ 1684473 h 4687251"/>
              <a:gd name="connsiteX19046" fmla="*/ 3859829 w 8079933"/>
              <a:gd name="connsiteY19046" fmla="*/ 1680900 h 4687251"/>
              <a:gd name="connsiteX19047" fmla="*/ 3856356 w 8079933"/>
              <a:gd name="connsiteY19047" fmla="*/ 1676894 h 4687251"/>
              <a:gd name="connsiteX19048" fmla="*/ 3852991 w 8079933"/>
              <a:gd name="connsiteY19048" fmla="*/ 1677869 h 4687251"/>
              <a:gd name="connsiteX19049" fmla="*/ 3852991 w 8079933"/>
              <a:gd name="connsiteY19049" fmla="*/ 1679168 h 4687251"/>
              <a:gd name="connsiteX19050" fmla="*/ 3846263 w 8079933"/>
              <a:gd name="connsiteY19050" fmla="*/ 1678951 h 4687251"/>
              <a:gd name="connsiteX19051" fmla="*/ 3846806 w 8079933"/>
              <a:gd name="connsiteY19051" fmla="*/ 1676677 h 4687251"/>
              <a:gd name="connsiteX19052" fmla="*/ 3850713 w 8079933"/>
              <a:gd name="connsiteY19052" fmla="*/ 1675595 h 4687251"/>
              <a:gd name="connsiteX19053" fmla="*/ 3845830 w 8079933"/>
              <a:gd name="connsiteY19053" fmla="*/ 1674404 h 4687251"/>
              <a:gd name="connsiteX19054" fmla="*/ 3845287 w 8079933"/>
              <a:gd name="connsiteY19054" fmla="*/ 1671589 h 4687251"/>
              <a:gd name="connsiteX19055" fmla="*/ 3839102 w 8079933"/>
              <a:gd name="connsiteY19055" fmla="*/ 1673646 h 4687251"/>
              <a:gd name="connsiteX19056" fmla="*/ 3835412 w 8079933"/>
              <a:gd name="connsiteY19056" fmla="*/ 1675920 h 4687251"/>
              <a:gd name="connsiteX19057" fmla="*/ 3832048 w 8079933"/>
              <a:gd name="connsiteY19057" fmla="*/ 1676894 h 4687251"/>
              <a:gd name="connsiteX19058" fmla="*/ 3829878 w 8079933"/>
              <a:gd name="connsiteY19058" fmla="*/ 1675595 h 4687251"/>
              <a:gd name="connsiteX19059" fmla="*/ 3831288 w 8079933"/>
              <a:gd name="connsiteY19059" fmla="*/ 1674187 h 4687251"/>
              <a:gd name="connsiteX19060" fmla="*/ 3825537 w 8079933"/>
              <a:gd name="connsiteY19060" fmla="*/ 1673213 h 4687251"/>
              <a:gd name="connsiteX19061" fmla="*/ 3828793 w 8079933"/>
              <a:gd name="connsiteY19061" fmla="*/ 1671697 h 4687251"/>
              <a:gd name="connsiteX19062" fmla="*/ 3828466 w 8079933"/>
              <a:gd name="connsiteY19062" fmla="*/ 1668341 h 4687251"/>
              <a:gd name="connsiteX19063" fmla="*/ 3823909 w 8079933"/>
              <a:gd name="connsiteY19063" fmla="*/ 1667691 h 4687251"/>
              <a:gd name="connsiteX19064" fmla="*/ 3829661 w 8079933"/>
              <a:gd name="connsiteY19064" fmla="*/ 1664010 h 4687251"/>
              <a:gd name="connsiteX19065" fmla="*/ 3833241 w 8079933"/>
              <a:gd name="connsiteY19065" fmla="*/ 1664010 h 4687251"/>
              <a:gd name="connsiteX19066" fmla="*/ 3838125 w 8079933"/>
              <a:gd name="connsiteY19066" fmla="*/ 1660978 h 4687251"/>
              <a:gd name="connsiteX19067" fmla="*/ 3839970 w 8079933"/>
              <a:gd name="connsiteY19067" fmla="*/ 1660870 h 4687251"/>
              <a:gd name="connsiteX19068" fmla="*/ 3843768 w 8079933"/>
              <a:gd name="connsiteY19068" fmla="*/ 1658055 h 4687251"/>
              <a:gd name="connsiteX19069" fmla="*/ 3847566 w 8079933"/>
              <a:gd name="connsiteY19069" fmla="*/ 1656756 h 4687251"/>
              <a:gd name="connsiteX19070" fmla="*/ 3852775 w 8079933"/>
              <a:gd name="connsiteY19070" fmla="*/ 1646686 h 4687251"/>
              <a:gd name="connsiteX19071" fmla="*/ 3850930 w 8079933"/>
              <a:gd name="connsiteY19071" fmla="*/ 1646253 h 4687251"/>
              <a:gd name="connsiteX19072" fmla="*/ 3849193 w 8079933"/>
              <a:gd name="connsiteY19072" fmla="*/ 1643006 h 4687251"/>
              <a:gd name="connsiteX19073" fmla="*/ 3852232 w 8079933"/>
              <a:gd name="connsiteY19073" fmla="*/ 1640840 h 4687251"/>
              <a:gd name="connsiteX19074" fmla="*/ 3849411 w 8079933"/>
              <a:gd name="connsiteY19074" fmla="*/ 1637917 h 4687251"/>
              <a:gd name="connsiteX19075" fmla="*/ 3850062 w 8079933"/>
              <a:gd name="connsiteY19075" fmla="*/ 1633694 h 4687251"/>
              <a:gd name="connsiteX19076" fmla="*/ 3842032 w 8079933"/>
              <a:gd name="connsiteY19076" fmla="*/ 1635860 h 4687251"/>
              <a:gd name="connsiteX19077" fmla="*/ 3841489 w 8079933"/>
              <a:gd name="connsiteY19077" fmla="*/ 1637917 h 4687251"/>
              <a:gd name="connsiteX19078" fmla="*/ 3839644 w 8079933"/>
              <a:gd name="connsiteY19078" fmla="*/ 1637267 h 4687251"/>
              <a:gd name="connsiteX19079" fmla="*/ 3836063 w 8079933"/>
              <a:gd name="connsiteY19079" fmla="*/ 1637917 h 4687251"/>
              <a:gd name="connsiteX19080" fmla="*/ 3838559 w 8079933"/>
              <a:gd name="connsiteY19080" fmla="*/ 1634452 h 4687251"/>
              <a:gd name="connsiteX19081" fmla="*/ 3844202 w 8079933"/>
              <a:gd name="connsiteY19081" fmla="*/ 1630879 h 4687251"/>
              <a:gd name="connsiteX19082" fmla="*/ 3848325 w 8079933"/>
              <a:gd name="connsiteY19082" fmla="*/ 1625141 h 4687251"/>
              <a:gd name="connsiteX19083" fmla="*/ 3856139 w 8079933"/>
              <a:gd name="connsiteY19083" fmla="*/ 1621351 h 4687251"/>
              <a:gd name="connsiteX19084" fmla="*/ 3859611 w 8079933"/>
              <a:gd name="connsiteY19084" fmla="*/ 1621784 h 4687251"/>
              <a:gd name="connsiteX19085" fmla="*/ 3867207 w 8079933"/>
              <a:gd name="connsiteY19085" fmla="*/ 1619402 h 4687251"/>
              <a:gd name="connsiteX19086" fmla="*/ 3870138 w 8079933"/>
              <a:gd name="connsiteY19086" fmla="*/ 1622434 h 4687251"/>
              <a:gd name="connsiteX19087" fmla="*/ 3873935 w 8079933"/>
              <a:gd name="connsiteY19087" fmla="*/ 1623192 h 4687251"/>
              <a:gd name="connsiteX19088" fmla="*/ 3871548 w 8079933"/>
              <a:gd name="connsiteY19088" fmla="*/ 1621784 h 4687251"/>
              <a:gd name="connsiteX19089" fmla="*/ 3869378 w 8079933"/>
              <a:gd name="connsiteY19089" fmla="*/ 1617995 h 4687251"/>
              <a:gd name="connsiteX19090" fmla="*/ 3871982 w 8079933"/>
              <a:gd name="connsiteY19090" fmla="*/ 1617021 h 4687251"/>
              <a:gd name="connsiteX19091" fmla="*/ 3874695 w 8079933"/>
              <a:gd name="connsiteY19091" fmla="*/ 1620918 h 4687251"/>
              <a:gd name="connsiteX19092" fmla="*/ 3877842 w 8079933"/>
              <a:gd name="connsiteY19092" fmla="*/ 1620702 h 4687251"/>
              <a:gd name="connsiteX19093" fmla="*/ 3879795 w 8079933"/>
              <a:gd name="connsiteY19093" fmla="*/ 1619294 h 4687251"/>
              <a:gd name="connsiteX19094" fmla="*/ 3876974 w 8079933"/>
              <a:gd name="connsiteY19094" fmla="*/ 1618970 h 4687251"/>
              <a:gd name="connsiteX19095" fmla="*/ 3873501 w 8079933"/>
              <a:gd name="connsiteY19095" fmla="*/ 1616046 h 4687251"/>
              <a:gd name="connsiteX19096" fmla="*/ 3870680 w 8079933"/>
              <a:gd name="connsiteY19096" fmla="*/ 1612257 h 4687251"/>
              <a:gd name="connsiteX19097" fmla="*/ 3873176 w 8079933"/>
              <a:gd name="connsiteY19097" fmla="*/ 1607384 h 4687251"/>
              <a:gd name="connsiteX19098" fmla="*/ 3871765 w 8079933"/>
              <a:gd name="connsiteY19098" fmla="*/ 1600996 h 4687251"/>
              <a:gd name="connsiteX19099" fmla="*/ 3876431 w 8079933"/>
              <a:gd name="connsiteY19099" fmla="*/ 1597315 h 4687251"/>
              <a:gd name="connsiteX19100" fmla="*/ 3874912 w 8079933"/>
              <a:gd name="connsiteY19100" fmla="*/ 1596341 h 4687251"/>
              <a:gd name="connsiteX19101" fmla="*/ 3876648 w 8079933"/>
              <a:gd name="connsiteY19101" fmla="*/ 1590711 h 4687251"/>
              <a:gd name="connsiteX19102" fmla="*/ 3871873 w 8079933"/>
              <a:gd name="connsiteY19102" fmla="*/ 1589953 h 4687251"/>
              <a:gd name="connsiteX19103" fmla="*/ 3868075 w 8079933"/>
              <a:gd name="connsiteY19103" fmla="*/ 1594609 h 4687251"/>
              <a:gd name="connsiteX19104" fmla="*/ 3868075 w 8079933"/>
              <a:gd name="connsiteY19104" fmla="*/ 1589087 h 4687251"/>
              <a:gd name="connsiteX19105" fmla="*/ 3865145 w 8079933"/>
              <a:gd name="connsiteY19105" fmla="*/ 1590711 h 4687251"/>
              <a:gd name="connsiteX19106" fmla="*/ 3859394 w 8079933"/>
              <a:gd name="connsiteY19106" fmla="*/ 1580317 h 4687251"/>
              <a:gd name="connsiteX19107" fmla="*/ 3864060 w 8079933"/>
              <a:gd name="connsiteY19107" fmla="*/ 1566891 h 4687251"/>
              <a:gd name="connsiteX19108" fmla="*/ 3871873 w 8079933"/>
              <a:gd name="connsiteY19108" fmla="*/ 1564834 h 4687251"/>
              <a:gd name="connsiteX19109" fmla="*/ 3860045 w 8079933"/>
              <a:gd name="connsiteY19109" fmla="*/ 1564293 h 4687251"/>
              <a:gd name="connsiteX19110" fmla="*/ 3858852 w 8079933"/>
              <a:gd name="connsiteY19110" fmla="*/ 1568299 h 4687251"/>
              <a:gd name="connsiteX19111" fmla="*/ 3854511 w 8079933"/>
              <a:gd name="connsiteY19111" fmla="*/ 1568191 h 4687251"/>
              <a:gd name="connsiteX19112" fmla="*/ 3854511 w 8079933"/>
              <a:gd name="connsiteY19112" fmla="*/ 1570139 h 4687251"/>
              <a:gd name="connsiteX19113" fmla="*/ 3849736 w 8079933"/>
              <a:gd name="connsiteY19113" fmla="*/ 1570897 h 4687251"/>
              <a:gd name="connsiteX19114" fmla="*/ 3843009 w 8079933"/>
              <a:gd name="connsiteY19114" fmla="*/ 1566783 h 4687251"/>
              <a:gd name="connsiteX19115" fmla="*/ 3840838 w 8079933"/>
              <a:gd name="connsiteY19115" fmla="*/ 1567324 h 4687251"/>
              <a:gd name="connsiteX19116" fmla="*/ 3844310 w 8079933"/>
              <a:gd name="connsiteY19116" fmla="*/ 1570031 h 4687251"/>
              <a:gd name="connsiteX19117" fmla="*/ 3844093 w 8079933"/>
              <a:gd name="connsiteY19117" fmla="*/ 1574795 h 4687251"/>
              <a:gd name="connsiteX19118" fmla="*/ 3835737 w 8079933"/>
              <a:gd name="connsiteY19118" fmla="*/ 1568732 h 4687251"/>
              <a:gd name="connsiteX19119" fmla="*/ 3832482 w 8079933"/>
              <a:gd name="connsiteY19119" fmla="*/ 1569706 h 4687251"/>
              <a:gd name="connsiteX19120" fmla="*/ 3834001 w 8079933"/>
              <a:gd name="connsiteY19120" fmla="*/ 1575769 h 4687251"/>
              <a:gd name="connsiteX19121" fmla="*/ 3829226 w 8079933"/>
              <a:gd name="connsiteY19121" fmla="*/ 1569165 h 4687251"/>
              <a:gd name="connsiteX19122" fmla="*/ 3829010 w 8079933"/>
              <a:gd name="connsiteY19122" fmla="*/ 1564185 h 4687251"/>
              <a:gd name="connsiteX19123" fmla="*/ 3832482 w 8079933"/>
              <a:gd name="connsiteY19123" fmla="*/ 1566458 h 4687251"/>
              <a:gd name="connsiteX19124" fmla="*/ 3831614 w 8079933"/>
              <a:gd name="connsiteY19124" fmla="*/ 1561803 h 4687251"/>
              <a:gd name="connsiteX19125" fmla="*/ 3835521 w 8079933"/>
              <a:gd name="connsiteY19125" fmla="*/ 1551517 h 4687251"/>
              <a:gd name="connsiteX19126" fmla="*/ 3839427 w 8079933"/>
              <a:gd name="connsiteY19126" fmla="*/ 1547619 h 4687251"/>
              <a:gd name="connsiteX19127" fmla="*/ 3837908 w 8079933"/>
              <a:gd name="connsiteY19127" fmla="*/ 1543505 h 4687251"/>
              <a:gd name="connsiteX19128" fmla="*/ 3835303 w 8079933"/>
              <a:gd name="connsiteY19128" fmla="*/ 1542855 h 4687251"/>
              <a:gd name="connsiteX19129" fmla="*/ 3834218 w 8079933"/>
              <a:gd name="connsiteY19129" fmla="*/ 1538199 h 4687251"/>
              <a:gd name="connsiteX19130" fmla="*/ 3835846 w 8079933"/>
              <a:gd name="connsiteY19130" fmla="*/ 1531812 h 4687251"/>
              <a:gd name="connsiteX19131" fmla="*/ 3840187 w 8079933"/>
              <a:gd name="connsiteY19131" fmla="*/ 1533002 h 4687251"/>
              <a:gd name="connsiteX19132" fmla="*/ 3835086 w 8079933"/>
              <a:gd name="connsiteY19132" fmla="*/ 1529213 h 4687251"/>
              <a:gd name="connsiteX19133" fmla="*/ 3835954 w 8079933"/>
              <a:gd name="connsiteY19133" fmla="*/ 1524232 h 4687251"/>
              <a:gd name="connsiteX19134" fmla="*/ 3833892 w 8079933"/>
              <a:gd name="connsiteY19134" fmla="*/ 1525207 h 4687251"/>
              <a:gd name="connsiteX19135" fmla="*/ 3834436 w 8079933"/>
              <a:gd name="connsiteY19135" fmla="*/ 1529105 h 4687251"/>
              <a:gd name="connsiteX19136" fmla="*/ 3832048 w 8079933"/>
              <a:gd name="connsiteY19136" fmla="*/ 1534626 h 4687251"/>
              <a:gd name="connsiteX19137" fmla="*/ 3830637 w 8079933"/>
              <a:gd name="connsiteY19137" fmla="*/ 1529971 h 4687251"/>
              <a:gd name="connsiteX19138" fmla="*/ 3827707 w 8079933"/>
              <a:gd name="connsiteY19138" fmla="*/ 1532461 h 4687251"/>
              <a:gd name="connsiteX19139" fmla="*/ 3827273 w 8079933"/>
              <a:gd name="connsiteY19139" fmla="*/ 1535385 h 4687251"/>
              <a:gd name="connsiteX19140" fmla="*/ 3825645 w 8079933"/>
              <a:gd name="connsiteY19140" fmla="*/ 1534193 h 4687251"/>
              <a:gd name="connsiteX19141" fmla="*/ 3826080 w 8079933"/>
              <a:gd name="connsiteY19141" fmla="*/ 1529213 h 4687251"/>
              <a:gd name="connsiteX19142" fmla="*/ 3830637 w 8079933"/>
              <a:gd name="connsiteY19142" fmla="*/ 1522392 h 4687251"/>
              <a:gd name="connsiteX19143" fmla="*/ 3824669 w 8079933"/>
              <a:gd name="connsiteY19143" fmla="*/ 1529538 h 4687251"/>
              <a:gd name="connsiteX19144" fmla="*/ 3822824 w 8079933"/>
              <a:gd name="connsiteY19144" fmla="*/ 1529538 h 4687251"/>
              <a:gd name="connsiteX19145" fmla="*/ 3824777 w 8079933"/>
              <a:gd name="connsiteY19145" fmla="*/ 1537983 h 4687251"/>
              <a:gd name="connsiteX19146" fmla="*/ 3822173 w 8079933"/>
              <a:gd name="connsiteY19146" fmla="*/ 1541231 h 4687251"/>
              <a:gd name="connsiteX19147" fmla="*/ 3822390 w 8079933"/>
              <a:gd name="connsiteY19147" fmla="*/ 1544371 h 4687251"/>
              <a:gd name="connsiteX19148" fmla="*/ 3820219 w 8079933"/>
              <a:gd name="connsiteY19148" fmla="*/ 1549352 h 4687251"/>
              <a:gd name="connsiteX19149" fmla="*/ 3820871 w 8079933"/>
              <a:gd name="connsiteY19149" fmla="*/ 1552924 h 4687251"/>
              <a:gd name="connsiteX19150" fmla="*/ 3815771 w 8079933"/>
              <a:gd name="connsiteY19150" fmla="*/ 1552924 h 4687251"/>
              <a:gd name="connsiteX19151" fmla="*/ 3815662 w 8079933"/>
              <a:gd name="connsiteY19151" fmla="*/ 1551300 h 4687251"/>
              <a:gd name="connsiteX19152" fmla="*/ 3817940 w 8079933"/>
              <a:gd name="connsiteY19152" fmla="*/ 1549026 h 4687251"/>
              <a:gd name="connsiteX19153" fmla="*/ 3818484 w 8079933"/>
              <a:gd name="connsiteY19153" fmla="*/ 1542206 h 4687251"/>
              <a:gd name="connsiteX19154" fmla="*/ 3821522 w 8079933"/>
              <a:gd name="connsiteY19154" fmla="*/ 1537442 h 4687251"/>
              <a:gd name="connsiteX19155" fmla="*/ 3819785 w 8079933"/>
              <a:gd name="connsiteY19155" fmla="*/ 1538199 h 4687251"/>
              <a:gd name="connsiteX19156" fmla="*/ 3818484 w 8079933"/>
              <a:gd name="connsiteY19156" fmla="*/ 1536034 h 4687251"/>
              <a:gd name="connsiteX19157" fmla="*/ 3820219 w 8079933"/>
              <a:gd name="connsiteY19157" fmla="*/ 1533436 h 4687251"/>
              <a:gd name="connsiteX19158" fmla="*/ 3819569 w 8079933"/>
              <a:gd name="connsiteY19158" fmla="*/ 1528997 h 4687251"/>
              <a:gd name="connsiteX19159" fmla="*/ 3822173 w 8079933"/>
              <a:gd name="connsiteY19159" fmla="*/ 1522284 h 4687251"/>
              <a:gd name="connsiteX19160" fmla="*/ 3820871 w 8079933"/>
              <a:gd name="connsiteY19160" fmla="*/ 1521526 h 4687251"/>
              <a:gd name="connsiteX19161" fmla="*/ 3823909 w 8079933"/>
              <a:gd name="connsiteY19161" fmla="*/ 1515787 h 4687251"/>
              <a:gd name="connsiteX19162" fmla="*/ 3823584 w 8079933"/>
              <a:gd name="connsiteY19162" fmla="*/ 1514488 h 4687251"/>
              <a:gd name="connsiteX19163" fmla="*/ 3825971 w 8079933"/>
              <a:gd name="connsiteY19163" fmla="*/ 1508858 h 4687251"/>
              <a:gd name="connsiteX19164" fmla="*/ 3828793 w 8079933"/>
              <a:gd name="connsiteY19164" fmla="*/ 1507775 h 4687251"/>
              <a:gd name="connsiteX19165" fmla="*/ 3827382 w 8079933"/>
              <a:gd name="connsiteY19165" fmla="*/ 1506910 h 4687251"/>
              <a:gd name="connsiteX19166" fmla="*/ 3828901 w 8079933"/>
              <a:gd name="connsiteY19166" fmla="*/ 1503986 h 4687251"/>
              <a:gd name="connsiteX19167" fmla="*/ 3819243 w 8079933"/>
              <a:gd name="connsiteY19167" fmla="*/ 1513730 h 4687251"/>
              <a:gd name="connsiteX19168" fmla="*/ 3817398 w 8079933"/>
              <a:gd name="connsiteY19168" fmla="*/ 1511781 h 4687251"/>
              <a:gd name="connsiteX19169" fmla="*/ 3816204 w 8079933"/>
              <a:gd name="connsiteY19169" fmla="*/ 1512214 h 4687251"/>
              <a:gd name="connsiteX19170" fmla="*/ 3812514 w 8079933"/>
              <a:gd name="connsiteY19170" fmla="*/ 1508750 h 4687251"/>
              <a:gd name="connsiteX19171" fmla="*/ 3815227 w 8079933"/>
              <a:gd name="connsiteY19171" fmla="*/ 1508750 h 4687251"/>
              <a:gd name="connsiteX19172" fmla="*/ 3815771 w 8079933"/>
              <a:gd name="connsiteY19172" fmla="*/ 1507667 h 4687251"/>
              <a:gd name="connsiteX19173" fmla="*/ 3813383 w 8079933"/>
              <a:gd name="connsiteY19173" fmla="*/ 1507018 h 4687251"/>
              <a:gd name="connsiteX19174" fmla="*/ 3809802 w 8079933"/>
              <a:gd name="connsiteY19174" fmla="*/ 1507234 h 4687251"/>
              <a:gd name="connsiteX19175" fmla="*/ 3808283 w 8079933"/>
              <a:gd name="connsiteY19175" fmla="*/ 1506259 h 4687251"/>
              <a:gd name="connsiteX19176" fmla="*/ 3810019 w 8079933"/>
              <a:gd name="connsiteY19176" fmla="*/ 1504311 h 4687251"/>
              <a:gd name="connsiteX19177" fmla="*/ 3814251 w 8079933"/>
              <a:gd name="connsiteY19177" fmla="*/ 1504202 h 4687251"/>
              <a:gd name="connsiteX19178" fmla="*/ 3816313 w 8079933"/>
              <a:gd name="connsiteY19178" fmla="*/ 1502686 h 4687251"/>
              <a:gd name="connsiteX19179" fmla="*/ 3817289 w 8079933"/>
              <a:gd name="connsiteY19179" fmla="*/ 1500846 h 4687251"/>
              <a:gd name="connsiteX19180" fmla="*/ 3815553 w 8079933"/>
              <a:gd name="connsiteY19180" fmla="*/ 1499655 h 4687251"/>
              <a:gd name="connsiteX19181" fmla="*/ 3816313 w 8079933"/>
              <a:gd name="connsiteY19181" fmla="*/ 1496840 h 4687251"/>
              <a:gd name="connsiteX19182" fmla="*/ 3820653 w 8079933"/>
              <a:gd name="connsiteY19182" fmla="*/ 1498464 h 4687251"/>
              <a:gd name="connsiteX19183" fmla="*/ 3820002 w 8079933"/>
              <a:gd name="connsiteY19183" fmla="*/ 1496516 h 4687251"/>
              <a:gd name="connsiteX19184" fmla="*/ 3817398 w 8079933"/>
              <a:gd name="connsiteY19184" fmla="*/ 1495541 h 4687251"/>
              <a:gd name="connsiteX19185" fmla="*/ 3818917 w 8079933"/>
              <a:gd name="connsiteY19185" fmla="*/ 1493375 h 4687251"/>
              <a:gd name="connsiteX19186" fmla="*/ 3821087 w 8079933"/>
              <a:gd name="connsiteY19186" fmla="*/ 1493051 h 4687251"/>
              <a:gd name="connsiteX19187" fmla="*/ 3819569 w 8079933"/>
              <a:gd name="connsiteY19187" fmla="*/ 1491968 h 4687251"/>
              <a:gd name="connsiteX19188" fmla="*/ 3820437 w 8079933"/>
              <a:gd name="connsiteY19188" fmla="*/ 1489369 h 4687251"/>
              <a:gd name="connsiteX19189" fmla="*/ 3821522 w 8079933"/>
              <a:gd name="connsiteY19189" fmla="*/ 1488612 h 4687251"/>
              <a:gd name="connsiteX19190" fmla="*/ 3824344 w 8079933"/>
              <a:gd name="connsiteY19190" fmla="*/ 1489802 h 4687251"/>
              <a:gd name="connsiteX19191" fmla="*/ 3822824 w 8079933"/>
              <a:gd name="connsiteY19191" fmla="*/ 1487853 h 4687251"/>
              <a:gd name="connsiteX19192" fmla="*/ 3823692 w 8079933"/>
              <a:gd name="connsiteY19192" fmla="*/ 1486879 h 4687251"/>
              <a:gd name="connsiteX19193" fmla="*/ 3819894 w 8079933"/>
              <a:gd name="connsiteY19193" fmla="*/ 1488287 h 4687251"/>
              <a:gd name="connsiteX19194" fmla="*/ 3818592 w 8079933"/>
              <a:gd name="connsiteY19194" fmla="*/ 1487529 h 4687251"/>
              <a:gd name="connsiteX19195" fmla="*/ 3819026 w 8079933"/>
              <a:gd name="connsiteY19195" fmla="*/ 1486446 h 4687251"/>
              <a:gd name="connsiteX19196" fmla="*/ 3822932 w 8079933"/>
              <a:gd name="connsiteY19196" fmla="*/ 1484498 h 4687251"/>
              <a:gd name="connsiteX19197" fmla="*/ 3816964 w 8079933"/>
              <a:gd name="connsiteY19197" fmla="*/ 1485472 h 4687251"/>
              <a:gd name="connsiteX19198" fmla="*/ 3817072 w 8079933"/>
              <a:gd name="connsiteY19198" fmla="*/ 1483739 h 4687251"/>
              <a:gd name="connsiteX19199" fmla="*/ 3816313 w 8079933"/>
              <a:gd name="connsiteY19199" fmla="*/ 1478434 h 4687251"/>
              <a:gd name="connsiteX19200" fmla="*/ 3819569 w 8079933"/>
              <a:gd name="connsiteY19200" fmla="*/ 1480275 h 4687251"/>
              <a:gd name="connsiteX19201" fmla="*/ 3822824 w 8079933"/>
              <a:gd name="connsiteY19201" fmla="*/ 1479084 h 4687251"/>
              <a:gd name="connsiteX19202" fmla="*/ 3820111 w 8079933"/>
              <a:gd name="connsiteY19202" fmla="*/ 1478976 h 4687251"/>
              <a:gd name="connsiteX19203" fmla="*/ 3817289 w 8079933"/>
              <a:gd name="connsiteY19203" fmla="*/ 1475835 h 4687251"/>
              <a:gd name="connsiteX19204" fmla="*/ 3818700 w 8079933"/>
              <a:gd name="connsiteY19204" fmla="*/ 1473887 h 4687251"/>
              <a:gd name="connsiteX19205" fmla="*/ 3816856 w 8079933"/>
              <a:gd name="connsiteY19205" fmla="*/ 1471829 h 4687251"/>
              <a:gd name="connsiteX19206" fmla="*/ 3818484 w 8079933"/>
              <a:gd name="connsiteY19206" fmla="*/ 1468149 h 4687251"/>
              <a:gd name="connsiteX19207" fmla="*/ 3820328 w 8079933"/>
              <a:gd name="connsiteY19207" fmla="*/ 1471721 h 4687251"/>
              <a:gd name="connsiteX19208" fmla="*/ 3821413 w 8079933"/>
              <a:gd name="connsiteY19208" fmla="*/ 1469989 h 4687251"/>
              <a:gd name="connsiteX19209" fmla="*/ 3820545 w 8079933"/>
              <a:gd name="connsiteY19209" fmla="*/ 1467824 h 4687251"/>
              <a:gd name="connsiteX19210" fmla="*/ 3820653 w 8079933"/>
              <a:gd name="connsiteY19210" fmla="*/ 1466200 h 4687251"/>
              <a:gd name="connsiteX19211" fmla="*/ 3824126 w 8079933"/>
              <a:gd name="connsiteY19211" fmla="*/ 1468473 h 4687251"/>
              <a:gd name="connsiteX19212" fmla="*/ 3825862 w 8079933"/>
              <a:gd name="connsiteY19212" fmla="*/ 1466957 h 4687251"/>
              <a:gd name="connsiteX19213" fmla="*/ 3830529 w 8079933"/>
              <a:gd name="connsiteY19213" fmla="*/ 1469339 h 4687251"/>
              <a:gd name="connsiteX19214" fmla="*/ 3828901 w 8079933"/>
              <a:gd name="connsiteY19214" fmla="*/ 1466416 h 4687251"/>
              <a:gd name="connsiteX19215" fmla="*/ 3824344 w 8079933"/>
              <a:gd name="connsiteY19215" fmla="*/ 1462302 h 4687251"/>
              <a:gd name="connsiteX19216" fmla="*/ 3826188 w 8079933"/>
              <a:gd name="connsiteY19216" fmla="*/ 1462194 h 4687251"/>
              <a:gd name="connsiteX19217" fmla="*/ 3827816 w 8079933"/>
              <a:gd name="connsiteY19217" fmla="*/ 1458945 h 4687251"/>
              <a:gd name="connsiteX19218" fmla="*/ 3825971 w 8079933"/>
              <a:gd name="connsiteY19218" fmla="*/ 1455806 h 4687251"/>
              <a:gd name="connsiteX19219" fmla="*/ 3829878 w 8079933"/>
              <a:gd name="connsiteY19219" fmla="*/ 1454939 h 4687251"/>
              <a:gd name="connsiteX19220" fmla="*/ 3829661 w 8079933"/>
              <a:gd name="connsiteY19220" fmla="*/ 1451150 h 4687251"/>
              <a:gd name="connsiteX19221" fmla="*/ 3830746 w 8079933"/>
              <a:gd name="connsiteY19221" fmla="*/ 1451150 h 4687251"/>
              <a:gd name="connsiteX19222" fmla="*/ 3830203 w 8079933"/>
              <a:gd name="connsiteY19222" fmla="*/ 1448119 h 4687251"/>
              <a:gd name="connsiteX19223" fmla="*/ 3832048 w 8079933"/>
              <a:gd name="connsiteY19223" fmla="*/ 1446711 h 4687251"/>
              <a:gd name="connsiteX19224" fmla="*/ 3832916 w 8079933"/>
              <a:gd name="connsiteY19224" fmla="*/ 1443354 h 4687251"/>
              <a:gd name="connsiteX19225" fmla="*/ 3838234 w 8079933"/>
              <a:gd name="connsiteY19225" fmla="*/ 1445845 h 4687251"/>
              <a:gd name="connsiteX19226" fmla="*/ 3837039 w 8079933"/>
              <a:gd name="connsiteY19226" fmla="*/ 1448876 h 4687251"/>
              <a:gd name="connsiteX19227" fmla="*/ 3840946 w 8079933"/>
              <a:gd name="connsiteY19227" fmla="*/ 1445411 h 4687251"/>
              <a:gd name="connsiteX19228" fmla="*/ 3842900 w 8079933"/>
              <a:gd name="connsiteY19228" fmla="*/ 1446278 h 4687251"/>
              <a:gd name="connsiteX19229" fmla="*/ 3842465 w 8079933"/>
              <a:gd name="connsiteY19229" fmla="*/ 1448335 h 4687251"/>
              <a:gd name="connsiteX19230" fmla="*/ 3844527 w 8079933"/>
              <a:gd name="connsiteY19230" fmla="*/ 1446494 h 4687251"/>
              <a:gd name="connsiteX19231" fmla="*/ 3846480 w 8079933"/>
              <a:gd name="connsiteY19231" fmla="*/ 1446386 h 4687251"/>
              <a:gd name="connsiteX19232" fmla="*/ 3850062 w 8079933"/>
              <a:gd name="connsiteY19232" fmla="*/ 1444978 h 4687251"/>
              <a:gd name="connsiteX19233" fmla="*/ 3854186 w 8079933"/>
              <a:gd name="connsiteY19233" fmla="*/ 1445411 h 4687251"/>
              <a:gd name="connsiteX19234" fmla="*/ 3858634 w 8079933"/>
              <a:gd name="connsiteY19234" fmla="*/ 1443354 h 4687251"/>
              <a:gd name="connsiteX19235" fmla="*/ 3861673 w 8079933"/>
              <a:gd name="connsiteY19235" fmla="*/ 1444329 h 4687251"/>
              <a:gd name="connsiteX19236" fmla="*/ 6670155 w 8079933"/>
              <a:gd name="connsiteY19236" fmla="*/ 1441445 h 4687251"/>
              <a:gd name="connsiteX19237" fmla="*/ 6671494 w 8079933"/>
              <a:gd name="connsiteY19237" fmla="*/ 1443354 h 4687251"/>
              <a:gd name="connsiteX19238" fmla="*/ 6670843 w 8079933"/>
              <a:gd name="connsiteY19238" fmla="*/ 1445844 h 4687251"/>
              <a:gd name="connsiteX19239" fmla="*/ 6671602 w 8079933"/>
              <a:gd name="connsiteY19239" fmla="*/ 1448334 h 4687251"/>
              <a:gd name="connsiteX19240" fmla="*/ 6672150 w 8079933"/>
              <a:gd name="connsiteY19240" fmla="*/ 1448334 h 4687251"/>
              <a:gd name="connsiteX19241" fmla="*/ 6671494 w 8079933"/>
              <a:gd name="connsiteY19241" fmla="*/ 1446279 h 4687251"/>
              <a:gd name="connsiteX19242" fmla="*/ 6672146 w 8079933"/>
              <a:gd name="connsiteY19242" fmla="*/ 1443789 h 4687251"/>
              <a:gd name="connsiteX19243" fmla="*/ 6670627 w 8079933"/>
              <a:gd name="connsiteY19243" fmla="*/ 1441623 h 4687251"/>
              <a:gd name="connsiteX19244" fmla="*/ 4328947 w 8079933"/>
              <a:gd name="connsiteY19244" fmla="*/ 1441082 h 4687251"/>
              <a:gd name="connsiteX19245" fmla="*/ 4331442 w 8079933"/>
              <a:gd name="connsiteY19245" fmla="*/ 1443139 h 4687251"/>
              <a:gd name="connsiteX19246" fmla="*/ 4328947 w 8079933"/>
              <a:gd name="connsiteY19246" fmla="*/ 1446278 h 4687251"/>
              <a:gd name="connsiteX19247" fmla="*/ 4326885 w 8079933"/>
              <a:gd name="connsiteY19247" fmla="*/ 1442381 h 4687251"/>
              <a:gd name="connsiteX19248" fmla="*/ 2262029 w 8079933"/>
              <a:gd name="connsiteY19248" fmla="*/ 1440431 h 4687251"/>
              <a:gd name="connsiteX19249" fmla="*/ 2255626 w 8079933"/>
              <a:gd name="connsiteY19249" fmla="*/ 1446927 h 4687251"/>
              <a:gd name="connsiteX19250" fmla="*/ 2255554 w 8079933"/>
              <a:gd name="connsiteY19250" fmla="*/ 1447325 h 4687251"/>
              <a:gd name="connsiteX19251" fmla="*/ 2261773 w 8079933"/>
              <a:gd name="connsiteY19251" fmla="*/ 1441014 h 4687251"/>
              <a:gd name="connsiteX19252" fmla="*/ 2272122 w 8079933"/>
              <a:gd name="connsiteY19252" fmla="*/ 1440216 h 4687251"/>
              <a:gd name="connsiteX19253" fmla="*/ 2273532 w 8079933"/>
              <a:gd name="connsiteY19253" fmla="*/ 1440216 h 4687251"/>
              <a:gd name="connsiteX19254" fmla="*/ 2273532 w 8079933"/>
              <a:gd name="connsiteY19254" fmla="*/ 1445846 h 4687251"/>
              <a:gd name="connsiteX19255" fmla="*/ 2269735 w 8079933"/>
              <a:gd name="connsiteY19255" fmla="*/ 1447904 h 4687251"/>
              <a:gd name="connsiteX19256" fmla="*/ 2267890 w 8079933"/>
              <a:gd name="connsiteY19256" fmla="*/ 1447904 h 4687251"/>
              <a:gd name="connsiteX19257" fmla="*/ 2271037 w 8079933"/>
              <a:gd name="connsiteY19257" fmla="*/ 1443897 h 4687251"/>
              <a:gd name="connsiteX19258" fmla="*/ 6662596 w 8079933"/>
              <a:gd name="connsiteY19258" fmla="*/ 1437726 h 4687251"/>
              <a:gd name="connsiteX19259" fmla="*/ 6662286 w 8079933"/>
              <a:gd name="connsiteY19259" fmla="*/ 1437880 h 4687251"/>
              <a:gd name="connsiteX19260" fmla="*/ 6664441 w 8079933"/>
              <a:gd name="connsiteY19260" fmla="*/ 1440322 h 4687251"/>
              <a:gd name="connsiteX19261" fmla="*/ 6664931 w 8079933"/>
              <a:gd name="connsiteY19261" fmla="*/ 1440258 h 4687251"/>
              <a:gd name="connsiteX19262" fmla="*/ 6655326 w 8079933"/>
              <a:gd name="connsiteY19262" fmla="*/ 1437726 h 4687251"/>
              <a:gd name="connsiteX19263" fmla="*/ 6655316 w 8079933"/>
              <a:gd name="connsiteY19263" fmla="*/ 1437732 h 4687251"/>
              <a:gd name="connsiteX19264" fmla="*/ 6656844 w 8079933"/>
              <a:gd name="connsiteY19264" fmla="*/ 1438374 h 4687251"/>
              <a:gd name="connsiteX19265" fmla="*/ 6656869 w 8079933"/>
              <a:gd name="connsiteY19265" fmla="*/ 1438374 h 4687251"/>
              <a:gd name="connsiteX19266" fmla="*/ 7377287 w 8079933"/>
              <a:gd name="connsiteY19266" fmla="*/ 1436859 h 4687251"/>
              <a:gd name="connsiteX19267" fmla="*/ 7384883 w 8079933"/>
              <a:gd name="connsiteY19267" fmla="*/ 1443463 h 4687251"/>
              <a:gd name="connsiteX19268" fmla="*/ 7386294 w 8079933"/>
              <a:gd name="connsiteY19268" fmla="*/ 1448119 h 4687251"/>
              <a:gd name="connsiteX19269" fmla="*/ 7383689 w 8079933"/>
              <a:gd name="connsiteY19269" fmla="*/ 1450501 h 4687251"/>
              <a:gd name="connsiteX19270" fmla="*/ 7382929 w 8079933"/>
              <a:gd name="connsiteY19270" fmla="*/ 1454291 h 4687251"/>
              <a:gd name="connsiteX19271" fmla="*/ 7383255 w 8079933"/>
              <a:gd name="connsiteY19271" fmla="*/ 1459271 h 4687251"/>
              <a:gd name="connsiteX19272" fmla="*/ 7380434 w 8079933"/>
              <a:gd name="connsiteY19272" fmla="*/ 1463601 h 4687251"/>
              <a:gd name="connsiteX19273" fmla="*/ 7376527 w 8079933"/>
              <a:gd name="connsiteY19273" fmla="*/ 1465550 h 4687251"/>
              <a:gd name="connsiteX19274" fmla="*/ 7375876 w 8079933"/>
              <a:gd name="connsiteY19274" fmla="*/ 1469340 h 4687251"/>
              <a:gd name="connsiteX19275" fmla="*/ 7375767 w 8079933"/>
              <a:gd name="connsiteY19275" fmla="*/ 1474754 h 4687251"/>
              <a:gd name="connsiteX19276" fmla="*/ 7374031 w 8079933"/>
              <a:gd name="connsiteY19276" fmla="*/ 1474536 h 4687251"/>
              <a:gd name="connsiteX19277" fmla="*/ 7372513 w 8079933"/>
              <a:gd name="connsiteY19277" fmla="*/ 1472046 h 4687251"/>
              <a:gd name="connsiteX19278" fmla="*/ 7368171 w 8079933"/>
              <a:gd name="connsiteY19278" fmla="*/ 1472263 h 4687251"/>
              <a:gd name="connsiteX19279" fmla="*/ 7367086 w 8079933"/>
              <a:gd name="connsiteY19279" fmla="*/ 1470748 h 4687251"/>
              <a:gd name="connsiteX19280" fmla="*/ 7369799 w 8079933"/>
              <a:gd name="connsiteY19280" fmla="*/ 1469232 h 4687251"/>
              <a:gd name="connsiteX19281" fmla="*/ 7369799 w 8079933"/>
              <a:gd name="connsiteY19281" fmla="*/ 1465550 h 4687251"/>
              <a:gd name="connsiteX19282" fmla="*/ 7366218 w 8079933"/>
              <a:gd name="connsiteY19282" fmla="*/ 1461328 h 4687251"/>
              <a:gd name="connsiteX19283" fmla="*/ 7366652 w 8079933"/>
              <a:gd name="connsiteY19283" fmla="*/ 1460028 h 4687251"/>
              <a:gd name="connsiteX19284" fmla="*/ 7369582 w 8079933"/>
              <a:gd name="connsiteY19284" fmla="*/ 1459704 h 4687251"/>
              <a:gd name="connsiteX19285" fmla="*/ 7372295 w 8079933"/>
              <a:gd name="connsiteY19285" fmla="*/ 1455265 h 4687251"/>
              <a:gd name="connsiteX19286" fmla="*/ 7376310 w 8079933"/>
              <a:gd name="connsiteY19286" fmla="*/ 1453749 h 4687251"/>
              <a:gd name="connsiteX19287" fmla="*/ 7376853 w 8079933"/>
              <a:gd name="connsiteY19287" fmla="*/ 1448985 h 4687251"/>
              <a:gd name="connsiteX19288" fmla="*/ 7376202 w 8079933"/>
              <a:gd name="connsiteY19288" fmla="*/ 1440648 h 4687251"/>
              <a:gd name="connsiteX19289" fmla="*/ 4396443 w 8079933"/>
              <a:gd name="connsiteY19289" fmla="*/ 1434260 h 4687251"/>
              <a:gd name="connsiteX19290" fmla="*/ 4398504 w 8079933"/>
              <a:gd name="connsiteY19290" fmla="*/ 1435343 h 4687251"/>
              <a:gd name="connsiteX19291" fmla="*/ 4405775 w 8079933"/>
              <a:gd name="connsiteY19291" fmla="*/ 1435992 h 4687251"/>
              <a:gd name="connsiteX19292" fmla="*/ 4409465 w 8079933"/>
              <a:gd name="connsiteY19292" fmla="*/ 1438699 h 4687251"/>
              <a:gd name="connsiteX19293" fmla="*/ 4411744 w 8079933"/>
              <a:gd name="connsiteY19293" fmla="*/ 1440107 h 4687251"/>
              <a:gd name="connsiteX19294" fmla="*/ 4412829 w 8079933"/>
              <a:gd name="connsiteY19294" fmla="*/ 1441514 h 4687251"/>
              <a:gd name="connsiteX19295" fmla="*/ 4411635 w 8079933"/>
              <a:gd name="connsiteY19295" fmla="*/ 1442164 h 4687251"/>
              <a:gd name="connsiteX19296" fmla="*/ 4408488 w 8079933"/>
              <a:gd name="connsiteY19296" fmla="*/ 1441514 h 4687251"/>
              <a:gd name="connsiteX19297" fmla="*/ 4405775 w 8079933"/>
              <a:gd name="connsiteY19297" fmla="*/ 1445629 h 4687251"/>
              <a:gd name="connsiteX19298" fmla="*/ 4402737 w 8079933"/>
              <a:gd name="connsiteY19298" fmla="*/ 1449093 h 4687251"/>
              <a:gd name="connsiteX19299" fmla="*/ 4396226 w 8079933"/>
              <a:gd name="connsiteY19299" fmla="*/ 1450393 h 4687251"/>
              <a:gd name="connsiteX19300" fmla="*/ 4392970 w 8079933"/>
              <a:gd name="connsiteY19300" fmla="*/ 1456780 h 4687251"/>
              <a:gd name="connsiteX19301" fmla="*/ 4393078 w 8079933"/>
              <a:gd name="connsiteY19301" fmla="*/ 1459271 h 4687251"/>
              <a:gd name="connsiteX19302" fmla="*/ 4389388 w 8079933"/>
              <a:gd name="connsiteY19302" fmla="*/ 1462303 h 4687251"/>
              <a:gd name="connsiteX19303" fmla="*/ 4387435 w 8079933"/>
              <a:gd name="connsiteY19303" fmla="*/ 1461870 h 4687251"/>
              <a:gd name="connsiteX19304" fmla="*/ 4389280 w 8079933"/>
              <a:gd name="connsiteY19304" fmla="*/ 1455915 h 4687251"/>
              <a:gd name="connsiteX19305" fmla="*/ 4391233 w 8079933"/>
              <a:gd name="connsiteY19305" fmla="*/ 1456131 h 4687251"/>
              <a:gd name="connsiteX19306" fmla="*/ 4392536 w 8079933"/>
              <a:gd name="connsiteY19306" fmla="*/ 1452558 h 4687251"/>
              <a:gd name="connsiteX19307" fmla="*/ 4388846 w 8079933"/>
              <a:gd name="connsiteY19307" fmla="*/ 1448985 h 4687251"/>
              <a:gd name="connsiteX19308" fmla="*/ 4385157 w 8079933"/>
              <a:gd name="connsiteY19308" fmla="*/ 1448011 h 4687251"/>
              <a:gd name="connsiteX19309" fmla="*/ 4385157 w 8079933"/>
              <a:gd name="connsiteY19309" fmla="*/ 1445303 h 4687251"/>
              <a:gd name="connsiteX19310" fmla="*/ 4387544 w 8079933"/>
              <a:gd name="connsiteY19310" fmla="*/ 1443572 h 4687251"/>
              <a:gd name="connsiteX19311" fmla="*/ 4387544 w 8079933"/>
              <a:gd name="connsiteY19311" fmla="*/ 1441189 h 4687251"/>
              <a:gd name="connsiteX19312" fmla="*/ 4384397 w 8079933"/>
              <a:gd name="connsiteY19312" fmla="*/ 1440215 h 4687251"/>
              <a:gd name="connsiteX19313" fmla="*/ 4386784 w 8079933"/>
              <a:gd name="connsiteY19313" fmla="*/ 1439240 h 4687251"/>
              <a:gd name="connsiteX19314" fmla="*/ 4386675 w 8079933"/>
              <a:gd name="connsiteY19314" fmla="*/ 1437291 h 4687251"/>
              <a:gd name="connsiteX19315" fmla="*/ 4389172 w 8079933"/>
              <a:gd name="connsiteY19315" fmla="*/ 1438050 h 4687251"/>
              <a:gd name="connsiteX19316" fmla="*/ 4390365 w 8079933"/>
              <a:gd name="connsiteY19316" fmla="*/ 1440431 h 4687251"/>
              <a:gd name="connsiteX19317" fmla="*/ 4392645 w 8079933"/>
              <a:gd name="connsiteY19317" fmla="*/ 1437617 h 4687251"/>
              <a:gd name="connsiteX19318" fmla="*/ 4394163 w 8079933"/>
              <a:gd name="connsiteY19318" fmla="*/ 1437075 h 4687251"/>
              <a:gd name="connsiteX19319" fmla="*/ 3863627 w 8079933"/>
              <a:gd name="connsiteY19319" fmla="*/ 1433827 h 4687251"/>
              <a:gd name="connsiteX19320" fmla="*/ 3865254 w 8079933"/>
              <a:gd name="connsiteY19320" fmla="*/ 1436209 h 4687251"/>
              <a:gd name="connsiteX19321" fmla="*/ 3864169 w 8079933"/>
              <a:gd name="connsiteY19321" fmla="*/ 1438374 h 4687251"/>
              <a:gd name="connsiteX19322" fmla="*/ 3861565 w 8079933"/>
              <a:gd name="connsiteY19322" fmla="*/ 1434260 h 4687251"/>
              <a:gd name="connsiteX19323" fmla="*/ 7363613 w 8079933"/>
              <a:gd name="connsiteY19323" fmla="*/ 1432961 h 4687251"/>
              <a:gd name="connsiteX19324" fmla="*/ 7368171 w 8079933"/>
              <a:gd name="connsiteY19324" fmla="*/ 1436750 h 4687251"/>
              <a:gd name="connsiteX19325" fmla="*/ 7367302 w 8079933"/>
              <a:gd name="connsiteY19325" fmla="*/ 1439998 h 4687251"/>
              <a:gd name="connsiteX19326" fmla="*/ 7362528 w 8079933"/>
              <a:gd name="connsiteY19326" fmla="*/ 1440324 h 4687251"/>
              <a:gd name="connsiteX19327" fmla="*/ 7360467 w 8079933"/>
              <a:gd name="connsiteY19327" fmla="*/ 1438483 h 4687251"/>
              <a:gd name="connsiteX19328" fmla="*/ 7360792 w 8079933"/>
              <a:gd name="connsiteY19328" fmla="*/ 1434693 h 4687251"/>
              <a:gd name="connsiteX19329" fmla="*/ 1141377 w 8079933"/>
              <a:gd name="connsiteY19329" fmla="*/ 1432853 h 4687251"/>
              <a:gd name="connsiteX19330" fmla="*/ 1146803 w 8079933"/>
              <a:gd name="connsiteY19330" fmla="*/ 1435777 h 4687251"/>
              <a:gd name="connsiteX19331" fmla="*/ 1145935 w 8079933"/>
              <a:gd name="connsiteY19331" fmla="*/ 1446928 h 4687251"/>
              <a:gd name="connsiteX19332" fmla="*/ 1141052 w 8079933"/>
              <a:gd name="connsiteY19332" fmla="*/ 1452125 h 4687251"/>
              <a:gd name="connsiteX19333" fmla="*/ 1140401 w 8079933"/>
              <a:gd name="connsiteY19333" fmla="*/ 1447578 h 4687251"/>
              <a:gd name="connsiteX19334" fmla="*/ 1142788 w 8079933"/>
              <a:gd name="connsiteY19334" fmla="*/ 1442165 h 4687251"/>
              <a:gd name="connsiteX19335" fmla="*/ 1138122 w 8079933"/>
              <a:gd name="connsiteY19335" fmla="*/ 1446820 h 4687251"/>
              <a:gd name="connsiteX19336" fmla="*/ 1134541 w 8079933"/>
              <a:gd name="connsiteY19336" fmla="*/ 1446062 h 4687251"/>
              <a:gd name="connsiteX19337" fmla="*/ 1134323 w 8079933"/>
              <a:gd name="connsiteY19337" fmla="*/ 1442489 h 4687251"/>
              <a:gd name="connsiteX19338" fmla="*/ 1135518 w 8079933"/>
              <a:gd name="connsiteY19338" fmla="*/ 1439349 h 4687251"/>
              <a:gd name="connsiteX19339" fmla="*/ 1131828 w 8079933"/>
              <a:gd name="connsiteY19339" fmla="*/ 1438700 h 4687251"/>
              <a:gd name="connsiteX19340" fmla="*/ 1136603 w 8079933"/>
              <a:gd name="connsiteY19340" fmla="*/ 1434044 h 4687251"/>
              <a:gd name="connsiteX19341" fmla="*/ 4408380 w 8079933"/>
              <a:gd name="connsiteY19341" fmla="*/ 1431877 h 4687251"/>
              <a:gd name="connsiteX19342" fmla="*/ 4414565 w 8079933"/>
              <a:gd name="connsiteY19342" fmla="*/ 1432093 h 4687251"/>
              <a:gd name="connsiteX19343" fmla="*/ 4416627 w 8079933"/>
              <a:gd name="connsiteY19343" fmla="*/ 1437290 h 4687251"/>
              <a:gd name="connsiteX19344" fmla="*/ 4414131 w 8079933"/>
              <a:gd name="connsiteY19344" fmla="*/ 1438914 h 4687251"/>
              <a:gd name="connsiteX19345" fmla="*/ 4408597 w 8079933"/>
              <a:gd name="connsiteY19345" fmla="*/ 1434692 h 4687251"/>
              <a:gd name="connsiteX19346" fmla="*/ 2254107 w 8079933"/>
              <a:gd name="connsiteY19346" fmla="*/ 1431877 h 4687251"/>
              <a:gd name="connsiteX19347" fmla="*/ 2251286 w 8079933"/>
              <a:gd name="connsiteY19347" fmla="*/ 1437399 h 4687251"/>
              <a:gd name="connsiteX19348" fmla="*/ 2245101 w 8079933"/>
              <a:gd name="connsiteY19348" fmla="*/ 1441513 h 4687251"/>
              <a:gd name="connsiteX19349" fmla="*/ 2241302 w 8079933"/>
              <a:gd name="connsiteY19349" fmla="*/ 1442920 h 4687251"/>
              <a:gd name="connsiteX19350" fmla="*/ 2240109 w 8079933"/>
              <a:gd name="connsiteY19350" fmla="*/ 1442054 h 4687251"/>
              <a:gd name="connsiteX19351" fmla="*/ 2242279 w 8079933"/>
              <a:gd name="connsiteY19351" fmla="*/ 1437182 h 4687251"/>
              <a:gd name="connsiteX19352" fmla="*/ 2245534 w 8079933"/>
              <a:gd name="connsiteY19352" fmla="*/ 1437073 h 4687251"/>
              <a:gd name="connsiteX19353" fmla="*/ 2246945 w 8079933"/>
              <a:gd name="connsiteY19353" fmla="*/ 1435666 h 4687251"/>
              <a:gd name="connsiteX19354" fmla="*/ 2248573 w 8079933"/>
              <a:gd name="connsiteY19354" fmla="*/ 1435666 h 4687251"/>
              <a:gd name="connsiteX19355" fmla="*/ 2251937 w 8079933"/>
              <a:gd name="connsiteY19355" fmla="*/ 1433609 h 4687251"/>
              <a:gd name="connsiteX19356" fmla="*/ 7386185 w 8079933"/>
              <a:gd name="connsiteY19356" fmla="*/ 1431661 h 4687251"/>
              <a:gd name="connsiteX19357" fmla="*/ 7388789 w 8079933"/>
              <a:gd name="connsiteY19357" fmla="*/ 1434585 h 4687251"/>
              <a:gd name="connsiteX19358" fmla="*/ 7389766 w 8079933"/>
              <a:gd name="connsiteY19358" fmla="*/ 1438699 h 4687251"/>
              <a:gd name="connsiteX19359" fmla="*/ 7387813 w 8079933"/>
              <a:gd name="connsiteY19359" fmla="*/ 1440973 h 4687251"/>
              <a:gd name="connsiteX19360" fmla="*/ 7385859 w 8079933"/>
              <a:gd name="connsiteY19360" fmla="*/ 1440973 h 4687251"/>
              <a:gd name="connsiteX19361" fmla="*/ 7382821 w 8079933"/>
              <a:gd name="connsiteY19361" fmla="*/ 1437291 h 4687251"/>
              <a:gd name="connsiteX19362" fmla="*/ 7382821 w 8079933"/>
              <a:gd name="connsiteY19362" fmla="*/ 1434259 h 4687251"/>
              <a:gd name="connsiteX19363" fmla="*/ 2263765 w 8079933"/>
              <a:gd name="connsiteY19363" fmla="*/ 1430687 h 4687251"/>
              <a:gd name="connsiteX19364" fmla="*/ 2267237 w 8079933"/>
              <a:gd name="connsiteY19364" fmla="*/ 1432528 h 4687251"/>
              <a:gd name="connsiteX19365" fmla="*/ 2267237 w 8079933"/>
              <a:gd name="connsiteY19365" fmla="*/ 1435884 h 4687251"/>
              <a:gd name="connsiteX19366" fmla="*/ 2268648 w 8079933"/>
              <a:gd name="connsiteY19366" fmla="*/ 1435884 h 4687251"/>
              <a:gd name="connsiteX19367" fmla="*/ 2270601 w 8079933"/>
              <a:gd name="connsiteY19367" fmla="*/ 1438050 h 4687251"/>
              <a:gd name="connsiteX19368" fmla="*/ 2269842 w 8079933"/>
              <a:gd name="connsiteY19368" fmla="*/ 1443246 h 4687251"/>
              <a:gd name="connsiteX19369" fmla="*/ 2267888 w 8079933"/>
              <a:gd name="connsiteY19369" fmla="*/ 1444979 h 4687251"/>
              <a:gd name="connsiteX19370" fmla="*/ 2262571 w 8079933"/>
              <a:gd name="connsiteY19370" fmla="*/ 1451583 h 4687251"/>
              <a:gd name="connsiteX19371" fmla="*/ 2259858 w 8079933"/>
              <a:gd name="connsiteY19371" fmla="*/ 1453423 h 4687251"/>
              <a:gd name="connsiteX19372" fmla="*/ 2261377 w 8079933"/>
              <a:gd name="connsiteY19372" fmla="*/ 1449850 h 4687251"/>
              <a:gd name="connsiteX19373" fmla="*/ 2267563 w 8079933"/>
              <a:gd name="connsiteY19373" fmla="*/ 1442921 h 4687251"/>
              <a:gd name="connsiteX19374" fmla="*/ 2267563 w 8079933"/>
              <a:gd name="connsiteY19374" fmla="*/ 1439890 h 4687251"/>
              <a:gd name="connsiteX19375" fmla="*/ 2265935 w 8079933"/>
              <a:gd name="connsiteY19375" fmla="*/ 1439890 h 4687251"/>
              <a:gd name="connsiteX19376" fmla="*/ 2264741 w 8079933"/>
              <a:gd name="connsiteY19376" fmla="*/ 1443030 h 4687251"/>
              <a:gd name="connsiteX19377" fmla="*/ 2259207 w 8079933"/>
              <a:gd name="connsiteY19377" fmla="*/ 1450609 h 4687251"/>
              <a:gd name="connsiteX19378" fmla="*/ 2255626 w 8079933"/>
              <a:gd name="connsiteY19378" fmla="*/ 1455048 h 4687251"/>
              <a:gd name="connsiteX19379" fmla="*/ 2253130 w 8079933"/>
              <a:gd name="connsiteY19379" fmla="*/ 1455048 h 4687251"/>
              <a:gd name="connsiteX19380" fmla="*/ 2249983 w 8079933"/>
              <a:gd name="connsiteY19380" fmla="*/ 1456997 h 4687251"/>
              <a:gd name="connsiteX19381" fmla="*/ 2248464 w 8079933"/>
              <a:gd name="connsiteY19381" fmla="*/ 1456997 h 4687251"/>
              <a:gd name="connsiteX19382" fmla="*/ 2251611 w 8079933"/>
              <a:gd name="connsiteY19382" fmla="*/ 1452125 h 4687251"/>
              <a:gd name="connsiteX19383" fmla="*/ 2252805 w 8079933"/>
              <a:gd name="connsiteY19383" fmla="*/ 1449093 h 4687251"/>
              <a:gd name="connsiteX19384" fmla="*/ 2250417 w 8079933"/>
              <a:gd name="connsiteY19384" fmla="*/ 1449743 h 4687251"/>
              <a:gd name="connsiteX19385" fmla="*/ 2245752 w 8079933"/>
              <a:gd name="connsiteY19385" fmla="*/ 1456022 h 4687251"/>
              <a:gd name="connsiteX19386" fmla="*/ 2244015 w 8079933"/>
              <a:gd name="connsiteY19386" fmla="*/ 1456022 h 4687251"/>
              <a:gd name="connsiteX19387" fmla="*/ 2242930 w 8079933"/>
              <a:gd name="connsiteY19387" fmla="*/ 1453099 h 4687251"/>
              <a:gd name="connsiteX19388" fmla="*/ 2246402 w 8079933"/>
              <a:gd name="connsiteY19388" fmla="*/ 1448876 h 4687251"/>
              <a:gd name="connsiteX19389" fmla="*/ 2247053 w 8079933"/>
              <a:gd name="connsiteY19389" fmla="*/ 1446386 h 4687251"/>
              <a:gd name="connsiteX19390" fmla="*/ 2252371 w 8079933"/>
              <a:gd name="connsiteY19390" fmla="*/ 1441189 h 4687251"/>
              <a:gd name="connsiteX19391" fmla="*/ 2255192 w 8079933"/>
              <a:gd name="connsiteY19391" fmla="*/ 1435559 h 4687251"/>
              <a:gd name="connsiteX19392" fmla="*/ 2258231 w 8079933"/>
              <a:gd name="connsiteY19392" fmla="*/ 1433285 h 4687251"/>
              <a:gd name="connsiteX19393" fmla="*/ 2259099 w 8079933"/>
              <a:gd name="connsiteY19393" fmla="*/ 1434693 h 4687251"/>
              <a:gd name="connsiteX19394" fmla="*/ 2257688 w 8079933"/>
              <a:gd name="connsiteY19394" fmla="*/ 1438807 h 4687251"/>
              <a:gd name="connsiteX19395" fmla="*/ 2253890 w 8079933"/>
              <a:gd name="connsiteY19395" fmla="*/ 1442272 h 4687251"/>
              <a:gd name="connsiteX19396" fmla="*/ 2253021 w 8079933"/>
              <a:gd name="connsiteY19396" fmla="*/ 1445411 h 4687251"/>
              <a:gd name="connsiteX19397" fmla="*/ 2256603 w 8079933"/>
              <a:gd name="connsiteY19397" fmla="*/ 1443030 h 4687251"/>
              <a:gd name="connsiteX19398" fmla="*/ 2260075 w 8079933"/>
              <a:gd name="connsiteY19398" fmla="*/ 1439673 h 4687251"/>
              <a:gd name="connsiteX19399" fmla="*/ 2262137 w 8079933"/>
              <a:gd name="connsiteY19399" fmla="*/ 1433069 h 4687251"/>
              <a:gd name="connsiteX19400" fmla="*/ 1128573 w 8079933"/>
              <a:gd name="connsiteY19400" fmla="*/ 1430255 h 4687251"/>
              <a:gd name="connsiteX19401" fmla="*/ 1131068 w 8079933"/>
              <a:gd name="connsiteY19401" fmla="*/ 1434152 h 4687251"/>
              <a:gd name="connsiteX19402" fmla="*/ 1128573 w 8079933"/>
              <a:gd name="connsiteY19402" fmla="*/ 1436318 h 4687251"/>
              <a:gd name="connsiteX19403" fmla="*/ 2266695 w 8079933"/>
              <a:gd name="connsiteY19403" fmla="*/ 1427547 h 4687251"/>
              <a:gd name="connsiteX19404" fmla="*/ 2267346 w 8079933"/>
              <a:gd name="connsiteY19404" fmla="*/ 1428846 h 4687251"/>
              <a:gd name="connsiteX19405" fmla="*/ 2266261 w 8079933"/>
              <a:gd name="connsiteY19405" fmla="*/ 1430037 h 4687251"/>
              <a:gd name="connsiteX19406" fmla="*/ 2265285 w 8079933"/>
              <a:gd name="connsiteY19406" fmla="*/ 1427872 h 4687251"/>
              <a:gd name="connsiteX19407" fmla="*/ 3865471 w 8079933"/>
              <a:gd name="connsiteY19407" fmla="*/ 1426140 h 4687251"/>
              <a:gd name="connsiteX19408" fmla="*/ 3868293 w 8079933"/>
              <a:gd name="connsiteY19408" fmla="*/ 1428846 h 4687251"/>
              <a:gd name="connsiteX19409" fmla="*/ 3866556 w 8079933"/>
              <a:gd name="connsiteY19409" fmla="*/ 1430904 h 4687251"/>
              <a:gd name="connsiteX19410" fmla="*/ 3871765 w 8079933"/>
              <a:gd name="connsiteY19410" fmla="*/ 1430362 h 4687251"/>
              <a:gd name="connsiteX19411" fmla="*/ 3871657 w 8079933"/>
              <a:gd name="connsiteY19411" fmla="*/ 1433936 h 4687251"/>
              <a:gd name="connsiteX19412" fmla="*/ 3869161 w 8079933"/>
              <a:gd name="connsiteY19412" fmla="*/ 1432420 h 4687251"/>
              <a:gd name="connsiteX19413" fmla="*/ 3864712 w 8079933"/>
              <a:gd name="connsiteY19413" fmla="*/ 1432961 h 4687251"/>
              <a:gd name="connsiteX19414" fmla="*/ 3864494 w 8079933"/>
              <a:gd name="connsiteY19414" fmla="*/ 1429605 h 4687251"/>
              <a:gd name="connsiteX19415" fmla="*/ 3863518 w 8079933"/>
              <a:gd name="connsiteY19415" fmla="*/ 1432420 h 4687251"/>
              <a:gd name="connsiteX19416" fmla="*/ 3861890 w 8079933"/>
              <a:gd name="connsiteY19416" fmla="*/ 1430687 h 4687251"/>
              <a:gd name="connsiteX19417" fmla="*/ 3861890 w 8079933"/>
              <a:gd name="connsiteY19417" fmla="*/ 1426356 h 4687251"/>
              <a:gd name="connsiteX19418" fmla="*/ 1134324 w 8079933"/>
              <a:gd name="connsiteY19418" fmla="*/ 1426140 h 4687251"/>
              <a:gd name="connsiteX19419" fmla="*/ 1136277 w 8079933"/>
              <a:gd name="connsiteY19419" fmla="*/ 1428846 h 4687251"/>
              <a:gd name="connsiteX19420" fmla="*/ 1135083 w 8079933"/>
              <a:gd name="connsiteY19420" fmla="*/ 1431662 h 4687251"/>
              <a:gd name="connsiteX19421" fmla="*/ 1131828 w 8079933"/>
              <a:gd name="connsiteY19421" fmla="*/ 1427980 h 4687251"/>
              <a:gd name="connsiteX19422" fmla="*/ 3869051 w 8079933"/>
              <a:gd name="connsiteY19422" fmla="*/ 1424299 h 4687251"/>
              <a:gd name="connsiteX19423" fmla="*/ 3868617 w 8079933"/>
              <a:gd name="connsiteY19423" fmla="*/ 1426681 h 4687251"/>
              <a:gd name="connsiteX19424" fmla="*/ 3866773 w 8079933"/>
              <a:gd name="connsiteY19424" fmla="*/ 1424624 h 4687251"/>
              <a:gd name="connsiteX19425" fmla="*/ 4045500 w 8079933"/>
              <a:gd name="connsiteY19425" fmla="*/ 1420402 h 4687251"/>
              <a:gd name="connsiteX19426" fmla="*/ 4048647 w 8079933"/>
              <a:gd name="connsiteY19426" fmla="*/ 1423541 h 4687251"/>
              <a:gd name="connsiteX19427" fmla="*/ 4044958 w 8079933"/>
              <a:gd name="connsiteY19427" fmla="*/ 1424841 h 4687251"/>
              <a:gd name="connsiteX19428" fmla="*/ 4412503 w 8079933"/>
              <a:gd name="connsiteY19428" fmla="*/ 1419427 h 4687251"/>
              <a:gd name="connsiteX19429" fmla="*/ 4413697 w 8079933"/>
              <a:gd name="connsiteY19429" fmla="*/ 1421809 h 4687251"/>
              <a:gd name="connsiteX19430" fmla="*/ 4409248 w 8079933"/>
              <a:gd name="connsiteY19430" fmla="*/ 1422459 h 4687251"/>
              <a:gd name="connsiteX19431" fmla="*/ 4408380 w 8079933"/>
              <a:gd name="connsiteY19431" fmla="*/ 1419752 h 4687251"/>
              <a:gd name="connsiteX19432" fmla="*/ 4397203 w 8079933"/>
              <a:gd name="connsiteY19432" fmla="*/ 1418886 h 4687251"/>
              <a:gd name="connsiteX19433" fmla="*/ 4399807 w 8079933"/>
              <a:gd name="connsiteY19433" fmla="*/ 1419319 h 4687251"/>
              <a:gd name="connsiteX19434" fmla="*/ 4402195 w 8079933"/>
              <a:gd name="connsiteY19434" fmla="*/ 1421592 h 4687251"/>
              <a:gd name="connsiteX19435" fmla="*/ 4406427 w 8079933"/>
              <a:gd name="connsiteY19435" fmla="*/ 1421917 h 4687251"/>
              <a:gd name="connsiteX19436" fmla="*/ 4408272 w 8079933"/>
              <a:gd name="connsiteY19436" fmla="*/ 1426573 h 4687251"/>
              <a:gd name="connsiteX19437" fmla="*/ 4405451 w 8079933"/>
              <a:gd name="connsiteY19437" fmla="*/ 1425599 h 4687251"/>
              <a:gd name="connsiteX19438" fmla="*/ 4401435 w 8079933"/>
              <a:gd name="connsiteY19438" fmla="*/ 1428306 h 4687251"/>
              <a:gd name="connsiteX19439" fmla="*/ 4399916 w 8079933"/>
              <a:gd name="connsiteY19439" fmla="*/ 1431013 h 4687251"/>
              <a:gd name="connsiteX19440" fmla="*/ 4396986 w 8079933"/>
              <a:gd name="connsiteY19440" fmla="*/ 1426249 h 4687251"/>
              <a:gd name="connsiteX19441" fmla="*/ 4392971 w 8079933"/>
              <a:gd name="connsiteY19441" fmla="*/ 1426573 h 4687251"/>
              <a:gd name="connsiteX19442" fmla="*/ 4388847 w 8079933"/>
              <a:gd name="connsiteY19442" fmla="*/ 1428414 h 4687251"/>
              <a:gd name="connsiteX19443" fmla="*/ 4387111 w 8079933"/>
              <a:gd name="connsiteY19443" fmla="*/ 1427115 h 4687251"/>
              <a:gd name="connsiteX19444" fmla="*/ 4394599 w 8079933"/>
              <a:gd name="connsiteY19444" fmla="*/ 1423541 h 4687251"/>
              <a:gd name="connsiteX19445" fmla="*/ 4396877 w 8079933"/>
              <a:gd name="connsiteY19445" fmla="*/ 1420618 h 4687251"/>
              <a:gd name="connsiteX19446" fmla="*/ 1147346 w 8079933"/>
              <a:gd name="connsiteY19446" fmla="*/ 1412064 h 4687251"/>
              <a:gd name="connsiteX19447" fmla="*/ 1149733 w 8079933"/>
              <a:gd name="connsiteY19447" fmla="*/ 1412389 h 4687251"/>
              <a:gd name="connsiteX19448" fmla="*/ 1148214 w 8079933"/>
              <a:gd name="connsiteY19448" fmla="*/ 1416286 h 4687251"/>
              <a:gd name="connsiteX19449" fmla="*/ 1143656 w 8079933"/>
              <a:gd name="connsiteY19449" fmla="*/ 1418018 h 4687251"/>
              <a:gd name="connsiteX19450" fmla="*/ 1140618 w 8079933"/>
              <a:gd name="connsiteY19450" fmla="*/ 1420400 h 4687251"/>
              <a:gd name="connsiteX19451" fmla="*/ 1142463 w 8079933"/>
              <a:gd name="connsiteY19451" fmla="*/ 1414770 h 4687251"/>
              <a:gd name="connsiteX19452" fmla="*/ 1111644 w 8079933"/>
              <a:gd name="connsiteY19452" fmla="*/ 1406759 h 4687251"/>
              <a:gd name="connsiteX19453" fmla="*/ 1121411 w 8079933"/>
              <a:gd name="connsiteY19453" fmla="*/ 1418236 h 4687251"/>
              <a:gd name="connsiteX19454" fmla="*/ 1124992 w 8079933"/>
              <a:gd name="connsiteY19454" fmla="*/ 1425057 h 4687251"/>
              <a:gd name="connsiteX19455" fmla="*/ 1122930 w 8079933"/>
              <a:gd name="connsiteY19455" fmla="*/ 1428955 h 4687251"/>
              <a:gd name="connsiteX19456" fmla="*/ 1119349 w 8079933"/>
              <a:gd name="connsiteY19456" fmla="*/ 1427439 h 4687251"/>
              <a:gd name="connsiteX19457" fmla="*/ 1119349 w 8079933"/>
              <a:gd name="connsiteY19457" fmla="*/ 1422133 h 4687251"/>
              <a:gd name="connsiteX19458" fmla="*/ 1112296 w 8079933"/>
              <a:gd name="connsiteY19458" fmla="*/ 1414337 h 4687251"/>
              <a:gd name="connsiteX19459" fmla="*/ 1110234 w 8079933"/>
              <a:gd name="connsiteY19459" fmla="*/ 1409682 h 4687251"/>
              <a:gd name="connsiteX19460" fmla="*/ 1111644 w 8079933"/>
              <a:gd name="connsiteY19460" fmla="*/ 1406759 h 4687251"/>
              <a:gd name="connsiteX19461" fmla="*/ 4310498 w 8079933"/>
              <a:gd name="connsiteY19461" fmla="*/ 1402645 h 4687251"/>
              <a:gd name="connsiteX19462" fmla="*/ 4316249 w 8079933"/>
              <a:gd name="connsiteY19462" fmla="*/ 1402645 h 4687251"/>
              <a:gd name="connsiteX19463" fmla="*/ 4316141 w 8079933"/>
              <a:gd name="connsiteY19463" fmla="*/ 1406543 h 4687251"/>
              <a:gd name="connsiteX19464" fmla="*/ 4311474 w 8079933"/>
              <a:gd name="connsiteY19464" fmla="*/ 1410657 h 4687251"/>
              <a:gd name="connsiteX19465" fmla="*/ 4311366 w 8079933"/>
              <a:gd name="connsiteY19465" fmla="*/ 1416505 h 4687251"/>
              <a:gd name="connsiteX19466" fmla="*/ 4309521 w 8079933"/>
              <a:gd name="connsiteY19466" fmla="*/ 1414989 h 4687251"/>
              <a:gd name="connsiteX19467" fmla="*/ 4305940 w 8079933"/>
              <a:gd name="connsiteY19467" fmla="*/ 1409358 h 4687251"/>
              <a:gd name="connsiteX19468" fmla="*/ 1122278 w 8079933"/>
              <a:gd name="connsiteY19468" fmla="*/ 1400155 h 4687251"/>
              <a:gd name="connsiteX19469" fmla="*/ 1124558 w 8079933"/>
              <a:gd name="connsiteY19469" fmla="*/ 1400804 h 4687251"/>
              <a:gd name="connsiteX19470" fmla="*/ 1126728 w 8079933"/>
              <a:gd name="connsiteY19470" fmla="*/ 1407192 h 4687251"/>
              <a:gd name="connsiteX19471" fmla="*/ 1131068 w 8079933"/>
              <a:gd name="connsiteY19471" fmla="*/ 1416504 h 4687251"/>
              <a:gd name="connsiteX19472" fmla="*/ 1130417 w 8079933"/>
              <a:gd name="connsiteY19472" fmla="*/ 1424083 h 4687251"/>
              <a:gd name="connsiteX19473" fmla="*/ 1125534 w 8079933"/>
              <a:gd name="connsiteY19473" fmla="*/ 1420077 h 4687251"/>
              <a:gd name="connsiteX19474" fmla="*/ 1124883 w 8079933"/>
              <a:gd name="connsiteY19474" fmla="*/ 1413363 h 4687251"/>
              <a:gd name="connsiteX19475" fmla="*/ 1121410 w 8079933"/>
              <a:gd name="connsiteY19475" fmla="*/ 1407734 h 4687251"/>
              <a:gd name="connsiteX19476" fmla="*/ 1120868 w 8079933"/>
              <a:gd name="connsiteY19476" fmla="*/ 1401779 h 4687251"/>
              <a:gd name="connsiteX19477" fmla="*/ 4174526 w 8079933"/>
              <a:gd name="connsiteY19477" fmla="*/ 1398530 h 4687251"/>
              <a:gd name="connsiteX19478" fmla="*/ 4171162 w 8079933"/>
              <a:gd name="connsiteY19478" fmla="*/ 1400262 h 4687251"/>
              <a:gd name="connsiteX19479" fmla="*/ 4169317 w 8079933"/>
              <a:gd name="connsiteY19479" fmla="*/ 1404377 h 4687251"/>
              <a:gd name="connsiteX19480" fmla="*/ 4169859 w 8079933"/>
              <a:gd name="connsiteY19480" fmla="*/ 1405344 h 4687251"/>
              <a:gd name="connsiteX19481" fmla="*/ 4169317 w 8079933"/>
              <a:gd name="connsiteY19481" fmla="*/ 1404377 h 4687251"/>
              <a:gd name="connsiteX19482" fmla="*/ 4171162 w 8079933"/>
              <a:gd name="connsiteY19482" fmla="*/ 1400263 h 4687251"/>
              <a:gd name="connsiteX19483" fmla="*/ 4174526 w 8079933"/>
              <a:gd name="connsiteY19483" fmla="*/ 1398531 h 4687251"/>
              <a:gd name="connsiteX19484" fmla="*/ 4037361 w 8079933"/>
              <a:gd name="connsiteY19484" fmla="*/ 1392901 h 4687251"/>
              <a:gd name="connsiteX19485" fmla="*/ 4039965 w 8079933"/>
              <a:gd name="connsiteY19485" fmla="*/ 1395608 h 4687251"/>
              <a:gd name="connsiteX19486" fmla="*/ 4038230 w 8079933"/>
              <a:gd name="connsiteY19486" fmla="*/ 1399073 h 4687251"/>
              <a:gd name="connsiteX19487" fmla="*/ 4034649 w 8079933"/>
              <a:gd name="connsiteY19487" fmla="*/ 1393767 h 4687251"/>
              <a:gd name="connsiteX19488" fmla="*/ 4037361 w 8079933"/>
              <a:gd name="connsiteY19488" fmla="*/ 1392901 h 4687251"/>
              <a:gd name="connsiteX19489" fmla="*/ 1121084 w 8079933"/>
              <a:gd name="connsiteY19489" fmla="*/ 1389003 h 4687251"/>
              <a:gd name="connsiteX19490" fmla="*/ 1125208 w 8079933"/>
              <a:gd name="connsiteY19490" fmla="*/ 1392251 h 4687251"/>
              <a:gd name="connsiteX19491" fmla="*/ 1122929 w 8079933"/>
              <a:gd name="connsiteY19491" fmla="*/ 1397774 h 4687251"/>
              <a:gd name="connsiteX19492" fmla="*/ 1119565 w 8079933"/>
              <a:gd name="connsiteY19492" fmla="*/ 1397774 h 4687251"/>
              <a:gd name="connsiteX19493" fmla="*/ 1119348 w 8079933"/>
              <a:gd name="connsiteY19493" fmla="*/ 1395174 h 4687251"/>
              <a:gd name="connsiteX19494" fmla="*/ 1112512 w 8079933"/>
              <a:gd name="connsiteY19494" fmla="*/ 1395174 h 4687251"/>
              <a:gd name="connsiteX19495" fmla="*/ 1115225 w 8079933"/>
              <a:gd name="connsiteY19495" fmla="*/ 1391601 h 4687251"/>
              <a:gd name="connsiteX19496" fmla="*/ 4183099 w 8079933"/>
              <a:gd name="connsiteY19496" fmla="*/ 1386620 h 4687251"/>
              <a:gd name="connsiteX19497" fmla="*/ 4181037 w 8079933"/>
              <a:gd name="connsiteY19497" fmla="*/ 1390301 h 4687251"/>
              <a:gd name="connsiteX19498" fmla="*/ 4173658 w 8079933"/>
              <a:gd name="connsiteY19498" fmla="*/ 1390951 h 4687251"/>
              <a:gd name="connsiteX19499" fmla="*/ 4172030 w 8079933"/>
              <a:gd name="connsiteY19499" fmla="*/ 1393658 h 4687251"/>
              <a:gd name="connsiteX19500" fmla="*/ 4172030 w 8079933"/>
              <a:gd name="connsiteY19500" fmla="*/ 1393659 h 4687251"/>
              <a:gd name="connsiteX19501" fmla="*/ 4173658 w 8079933"/>
              <a:gd name="connsiteY19501" fmla="*/ 1390952 h 4687251"/>
              <a:gd name="connsiteX19502" fmla="*/ 4181037 w 8079933"/>
              <a:gd name="connsiteY19502" fmla="*/ 1390302 h 4687251"/>
              <a:gd name="connsiteX19503" fmla="*/ 4183099 w 8079933"/>
              <a:gd name="connsiteY19503" fmla="*/ 1386621 h 4687251"/>
              <a:gd name="connsiteX19504" fmla="*/ 4043004 w 8079933"/>
              <a:gd name="connsiteY19504" fmla="*/ 1384564 h 4687251"/>
              <a:gd name="connsiteX19505" fmla="*/ 4042787 w 8079933"/>
              <a:gd name="connsiteY19505" fmla="*/ 1388353 h 4687251"/>
              <a:gd name="connsiteX19506" fmla="*/ 4040943 w 8079933"/>
              <a:gd name="connsiteY19506" fmla="*/ 1388786 h 4687251"/>
              <a:gd name="connsiteX19507" fmla="*/ 3909421 w 8079933"/>
              <a:gd name="connsiteY19507" fmla="*/ 1384131 h 4687251"/>
              <a:gd name="connsiteX19508" fmla="*/ 3910831 w 8079933"/>
              <a:gd name="connsiteY19508" fmla="*/ 1385430 h 4687251"/>
              <a:gd name="connsiteX19509" fmla="*/ 3907359 w 8079933"/>
              <a:gd name="connsiteY19509" fmla="*/ 1388029 h 4687251"/>
              <a:gd name="connsiteX19510" fmla="*/ 4038880 w 8079933"/>
              <a:gd name="connsiteY19510" fmla="*/ 1382290 h 4687251"/>
              <a:gd name="connsiteX19511" fmla="*/ 4038121 w 8079933"/>
              <a:gd name="connsiteY19511" fmla="*/ 1386404 h 4687251"/>
              <a:gd name="connsiteX19512" fmla="*/ 4034540 w 8079933"/>
              <a:gd name="connsiteY19512" fmla="*/ 1385755 h 4687251"/>
              <a:gd name="connsiteX19513" fmla="*/ 4399482 w 8079933"/>
              <a:gd name="connsiteY19513" fmla="*/ 1379041 h 4687251"/>
              <a:gd name="connsiteX19514" fmla="*/ 4400458 w 8079933"/>
              <a:gd name="connsiteY19514" fmla="*/ 1382614 h 4687251"/>
              <a:gd name="connsiteX19515" fmla="*/ 4397311 w 8079933"/>
              <a:gd name="connsiteY19515" fmla="*/ 1384672 h 4687251"/>
              <a:gd name="connsiteX19516" fmla="*/ 4395575 w 8079933"/>
              <a:gd name="connsiteY19516" fmla="*/ 1382614 h 4687251"/>
              <a:gd name="connsiteX19517" fmla="*/ 4397853 w 8079933"/>
              <a:gd name="connsiteY19517" fmla="*/ 1381315 h 4687251"/>
              <a:gd name="connsiteX19518" fmla="*/ 1068345 w 8079933"/>
              <a:gd name="connsiteY19518" fmla="*/ 1377309 h 4687251"/>
              <a:gd name="connsiteX19519" fmla="*/ 1075941 w 8079933"/>
              <a:gd name="connsiteY19519" fmla="*/ 1379582 h 4687251"/>
              <a:gd name="connsiteX19520" fmla="*/ 1074748 w 8079933"/>
              <a:gd name="connsiteY19520" fmla="*/ 1385429 h 4687251"/>
              <a:gd name="connsiteX19521" fmla="*/ 1077461 w 8079933"/>
              <a:gd name="connsiteY19521" fmla="*/ 1384130 h 4687251"/>
              <a:gd name="connsiteX19522" fmla="*/ 1080607 w 8079933"/>
              <a:gd name="connsiteY19522" fmla="*/ 1381423 h 4687251"/>
              <a:gd name="connsiteX19523" fmla="*/ 1083863 w 8079933"/>
              <a:gd name="connsiteY19523" fmla="*/ 1382939 h 4687251"/>
              <a:gd name="connsiteX19524" fmla="*/ 1084080 w 8079933"/>
              <a:gd name="connsiteY19524" fmla="*/ 1386079 h 4687251"/>
              <a:gd name="connsiteX19525" fmla="*/ 1083537 w 8079933"/>
              <a:gd name="connsiteY19525" fmla="*/ 1391601 h 4687251"/>
              <a:gd name="connsiteX19526" fmla="*/ 1079414 w 8079933"/>
              <a:gd name="connsiteY19526" fmla="*/ 1395499 h 4687251"/>
              <a:gd name="connsiteX19527" fmla="*/ 1070407 w 8079933"/>
              <a:gd name="connsiteY19527" fmla="*/ 1398963 h 4687251"/>
              <a:gd name="connsiteX19528" fmla="*/ 1073228 w 8079933"/>
              <a:gd name="connsiteY19528" fmla="*/ 1401237 h 4687251"/>
              <a:gd name="connsiteX19529" fmla="*/ 1073879 w 8079933"/>
              <a:gd name="connsiteY19529" fmla="*/ 1403835 h 4687251"/>
              <a:gd name="connsiteX19530" fmla="*/ 1079197 w 8079933"/>
              <a:gd name="connsiteY19530" fmla="*/ 1402536 h 4687251"/>
              <a:gd name="connsiteX19531" fmla="*/ 1082344 w 8079933"/>
              <a:gd name="connsiteY19531" fmla="*/ 1395174 h 4687251"/>
              <a:gd name="connsiteX19532" fmla="*/ 1088203 w 8079933"/>
              <a:gd name="connsiteY19532" fmla="*/ 1388136 h 4687251"/>
              <a:gd name="connsiteX19533" fmla="*/ 1095583 w 8079933"/>
              <a:gd name="connsiteY19533" fmla="*/ 1384563 h 4687251"/>
              <a:gd name="connsiteX19534" fmla="*/ 1097861 w 8079933"/>
              <a:gd name="connsiteY19534" fmla="*/ 1384996 h 4687251"/>
              <a:gd name="connsiteX19535" fmla="*/ 1089180 w 8079933"/>
              <a:gd name="connsiteY19535" fmla="*/ 1394632 h 4687251"/>
              <a:gd name="connsiteX19536" fmla="*/ 1087335 w 8079933"/>
              <a:gd name="connsiteY19536" fmla="*/ 1402103 h 4687251"/>
              <a:gd name="connsiteX19537" fmla="*/ 1082995 w 8079933"/>
              <a:gd name="connsiteY19537" fmla="*/ 1407192 h 4687251"/>
              <a:gd name="connsiteX19538" fmla="*/ 1082452 w 8079933"/>
              <a:gd name="connsiteY19538" fmla="*/ 1415096 h 4687251"/>
              <a:gd name="connsiteX19539" fmla="*/ 1077135 w 8079933"/>
              <a:gd name="connsiteY19539" fmla="*/ 1419427 h 4687251"/>
              <a:gd name="connsiteX19540" fmla="*/ 1072794 w 8079933"/>
              <a:gd name="connsiteY19540" fmla="*/ 1419427 h 4687251"/>
              <a:gd name="connsiteX19541" fmla="*/ 1069430 w 8079933"/>
              <a:gd name="connsiteY19541" fmla="*/ 1423433 h 4687251"/>
              <a:gd name="connsiteX19542" fmla="*/ 1073337 w 8079933"/>
              <a:gd name="connsiteY19542" fmla="*/ 1423541 h 4687251"/>
              <a:gd name="connsiteX19543" fmla="*/ 1076267 w 8079933"/>
              <a:gd name="connsiteY19543" fmla="*/ 1421809 h 4687251"/>
              <a:gd name="connsiteX19544" fmla="*/ 1081584 w 8079933"/>
              <a:gd name="connsiteY19544" fmla="*/ 1422566 h 4687251"/>
              <a:gd name="connsiteX19545" fmla="*/ 1082127 w 8079933"/>
              <a:gd name="connsiteY19545" fmla="*/ 1428197 h 4687251"/>
              <a:gd name="connsiteX19546" fmla="*/ 1075833 w 8079933"/>
              <a:gd name="connsiteY19546" fmla="*/ 1427980 h 4687251"/>
              <a:gd name="connsiteX19547" fmla="*/ 1072794 w 8079933"/>
              <a:gd name="connsiteY19547" fmla="*/ 1433935 h 4687251"/>
              <a:gd name="connsiteX19548" fmla="*/ 1074422 w 8079933"/>
              <a:gd name="connsiteY19548" fmla="*/ 1438807 h 4687251"/>
              <a:gd name="connsiteX19549" fmla="*/ 1073554 w 8079933"/>
              <a:gd name="connsiteY19549" fmla="*/ 1445520 h 4687251"/>
              <a:gd name="connsiteX19550" fmla="*/ 1076158 w 8079933"/>
              <a:gd name="connsiteY19550" fmla="*/ 1453640 h 4687251"/>
              <a:gd name="connsiteX19551" fmla="*/ 1077461 w 8079933"/>
              <a:gd name="connsiteY19551" fmla="*/ 1459704 h 4687251"/>
              <a:gd name="connsiteX19552" fmla="*/ 1080933 w 8079933"/>
              <a:gd name="connsiteY19552" fmla="*/ 1459487 h 4687251"/>
              <a:gd name="connsiteX19553" fmla="*/ 1082995 w 8079933"/>
              <a:gd name="connsiteY19553" fmla="*/ 1462411 h 4687251"/>
              <a:gd name="connsiteX19554" fmla="*/ 1080390 w 8079933"/>
              <a:gd name="connsiteY19554" fmla="*/ 1466417 h 4687251"/>
              <a:gd name="connsiteX19555" fmla="*/ 1074205 w 8079933"/>
              <a:gd name="connsiteY19555" fmla="*/ 1465009 h 4687251"/>
              <a:gd name="connsiteX19556" fmla="*/ 1067043 w 8079933"/>
              <a:gd name="connsiteY19556" fmla="*/ 1449526 h 4687251"/>
              <a:gd name="connsiteX19557" fmla="*/ 1066283 w 8079933"/>
              <a:gd name="connsiteY19557" fmla="*/ 1442813 h 4687251"/>
              <a:gd name="connsiteX19558" fmla="*/ 1067694 w 8079933"/>
              <a:gd name="connsiteY19558" fmla="*/ 1439565 h 4687251"/>
              <a:gd name="connsiteX19559" fmla="*/ 1062160 w 8079933"/>
              <a:gd name="connsiteY19559" fmla="*/ 1438482 h 4687251"/>
              <a:gd name="connsiteX19560" fmla="*/ 1060749 w 8079933"/>
              <a:gd name="connsiteY19560" fmla="*/ 1434368 h 4687251"/>
              <a:gd name="connsiteX19561" fmla="*/ 1062702 w 8079933"/>
              <a:gd name="connsiteY19561" fmla="*/ 1430903 h 4687251"/>
              <a:gd name="connsiteX19562" fmla="*/ 1068237 w 8079933"/>
              <a:gd name="connsiteY19562" fmla="*/ 1431661 h 4687251"/>
              <a:gd name="connsiteX19563" fmla="*/ 1063896 w 8079933"/>
              <a:gd name="connsiteY19563" fmla="*/ 1426789 h 4687251"/>
              <a:gd name="connsiteX19564" fmla="*/ 1060966 w 8079933"/>
              <a:gd name="connsiteY19564" fmla="*/ 1425598 h 4687251"/>
              <a:gd name="connsiteX19565" fmla="*/ 1063679 w 8079933"/>
              <a:gd name="connsiteY19565" fmla="*/ 1420617 h 4687251"/>
              <a:gd name="connsiteX19566" fmla="*/ 1060098 w 8079933"/>
              <a:gd name="connsiteY19566" fmla="*/ 1416503 h 4687251"/>
              <a:gd name="connsiteX19567" fmla="*/ 1060749 w 8079933"/>
              <a:gd name="connsiteY19567" fmla="*/ 1413905 h 4687251"/>
              <a:gd name="connsiteX19568" fmla="*/ 1064764 w 8079933"/>
              <a:gd name="connsiteY19568" fmla="*/ 1414446 h 4687251"/>
              <a:gd name="connsiteX19569" fmla="*/ 1067043 w 8079933"/>
              <a:gd name="connsiteY19569" fmla="*/ 1415854 h 4687251"/>
              <a:gd name="connsiteX19570" fmla="*/ 1066826 w 8079933"/>
              <a:gd name="connsiteY19570" fmla="*/ 1411739 h 4687251"/>
              <a:gd name="connsiteX19571" fmla="*/ 1063679 w 8079933"/>
              <a:gd name="connsiteY19571" fmla="*/ 1407950 h 4687251"/>
              <a:gd name="connsiteX19572" fmla="*/ 1059772 w 8079933"/>
              <a:gd name="connsiteY19572" fmla="*/ 1407084 h 4687251"/>
              <a:gd name="connsiteX19573" fmla="*/ 1059447 w 8079933"/>
              <a:gd name="connsiteY19573" fmla="*/ 1402752 h 4687251"/>
              <a:gd name="connsiteX19574" fmla="*/ 1062160 w 8079933"/>
              <a:gd name="connsiteY19574" fmla="*/ 1398097 h 4687251"/>
              <a:gd name="connsiteX19575" fmla="*/ 1060966 w 8079933"/>
              <a:gd name="connsiteY19575" fmla="*/ 1389652 h 4687251"/>
              <a:gd name="connsiteX19576" fmla="*/ 4186138 w 8079933"/>
              <a:gd name="connsiteY19576" fmla="*/ 1374278 h 4687251"/>
              <a:gd name="connsiteX19577" fmla="*/ 4182773 w 8079933"/>
              <a:gd name="connsiteY19577" fmla="*/ 1381640 h 4687251"/>
              <a:gd name="connsiteX19578" fmla="*/ 4182773 w 8079933"/>
              <a:gd name="connsiteY19578" fmla="*/ 1381641 h 4687251"/>
              <a:gd name="connsiteX19579" fmla="*/ 4186138 w 8079933"/>
              <a:gd name="connsiteY19579" fmla="*/ 1374278 h 4687251"/>
              <a:gd name="connsiteX19580" fmla="*/ 4393078 w 8079933"/>
              <a:gd name="connsiteY19580" fmla="*/ 1374170 h 4687251"/>
              <a:gd name="connsiteX19581" fmla="*/ 4394489 w 8079933"/>
              <a:gd name="connsiteY19581" fmla="*/ 1377527 h 4687251"/>
              <a:gd name="connsiteX19582" fmla="*/ 4392536 w 8079933"/>
              <a:gd name="connsiteY19582" fmla="*/ 1377527 h 4687251"/>
              <a:gd name="connsiteX19583" fmla="*/ 4032478 w 8079933"/>
              <a:gd name="connsiteY19583" fmla="*/ 1373196 h 4687251"/>
              <a:gd name="connsiteX19584" fmla="*/ 4031067 w 8079933"/>
              <a:gd name="connsiteY19584" fmla="*/ 1378392 h 4687251"/>
              <a:gd name="connsiteX19585" fmla="*/ 4028029 w 8079933"/>
              <a:gd name="connsiteY19585" fmla="*/ 1374603 h 4687251"/>
              <a:gd name="connsiteX19586" fmla="*/ 4037579 w 8079933"/>
              <a:gd name="connsiteY19586" fmla="*/ 1372329 h 4687251"/>
              <a:gd name="connsiteX19587" fmla="*/ 4041160 w 8079933"/>
              <a:gd name="connsiteY19587" fmla="*/ 1376985 h 4687251"/>
              <a:gd name="connsiteX19588" fmla="*/ 4039640 w 8079933"/>
              <a:gd name="connsiteY19588" fmla="*/ 1381425 h 4687251"/>
              <a:gd name="connsiteX19589" fmla="*/ 3908445 w 8079933"/>
              <a:gd name="connsiteY19589" fmla="*/ 1369298 h 4687251"/>
              <a:gd name="connsiteX19590" fmla="*/ 3911158 w 8079933"/>
              <a:gd name="connsiteY19590" fmla="*/ 1370597 h 4687251"/>
              <a:gd name="connsiteX19591" fmla="*/ 3914413 w 8079933"/>
              <a:gd name="connsiteY19591" fmla="*/ 1371788 h 4687251"/>
              <a:gd name="connsiteX19592" fmla="*/ 3912460 w 8079933"/>
              <a:gd name="connsiteY19592" fmla="*/ 1373845 h 4687251"/>
              <a:gd name="connsiteX19593" fmla="*/ 3913002 w 8079933"/>
              <a:gd name="connsiteY19593" fmla="*/ 1376444 h 4687251"/>
              <a:gd name="connsiteX19594" fmla="*/ 3910833 w 8079933"/>
              <a:gd name="connsiteY19594" fmla="*/ 1378718 h 4687251"/>
              <a:gd name="connsiteX19595" fmla="*/ 3911917 w 8079933"/>
              <a:gd name="connsiteY19595" fmla="*/ 1382508 h 4687251"/>
              <a:gd name="connsiteX19596" fmla="*/ 3909313 w 8079933"/>
              <a:gd name="connsiteY19596" fmla="*/ 1381641 h 4687251"/>
              <a:gd name="connsiteX19597" fmla="*/ 3907468 w 8079933"/>
              <a:gd name="connsiteY19597" fmla="*/ 1377851 h 4687251"/>
              <a:gd name="connsiteX19598" fmla="*/ 3901717 w 8079933"/>
              <a:gd name="connsiteY19598" fmla="*/ 1377635 h 4687251"/>
              <a:gd name="connsiteX19599" fmla="*/ 3899872 w 8079933"/>
              <a:gd name="connsiteY19599" fmla="*/ 1375253 h 4687251"/>
              <a:gd name="connsiteX19600" fmla="*/ 3902802 w 8079933"/>
              <a:gd name="connsiteY19600" fmla="*/ 1374062 h 4687251"/>
              <a:gd name="connsiteX19601" fmla="*/ 3907685 w 8079933"/>
              <a:gd name="connsiteY19601" fmla="*/ 1374495 h 4687251"/>
              <a:gd name="connsiteX19602" fmla="*/ 3908228 w 8079933"/>
              <a:gd name="connsiteY19602" fmla="*/ 1372329 h 4687251"/>
              <a:gd name="connsiteX19603" fmla="*/ 3907143 w 8079933"/>
              <a:gd name="connsiteY19603" fmla="*/ 1370597 h 4687251"/>
              <a:gd name="connsiteX19604" fmla="*/ 4028788 w 8079933"/>
              <a:gd name="connsiteY19604" fmla="*/ 1367891 h 4687251"/>
              <a:gd name="connsiteX19605" fmla="*/ 4032260 w 8079933"/>
              <a:gd name="connsiteY19605" fmla="*/ 1367999 h 4687251"/>
              <a:gd name="connsiteX19606" fmla="*/ 4030524 w 8079933"/>
              <a:gd name="connsiteY19606" fmla="*/ 1370057 h 4687251"/>
              <a:gd name="connsiteX19607" fmla="*/ 4390691 w 8079933"/>
              <a:gd name="connsiteY19607" fmla="*/ 1367566 h 4687251"/>
              <a:gd name="connsiteX19608" fmla="*/ 4390148 w 8079933"/>
              <a:gd name="connsiteY19608" fmla="*/ 1370273 h 4687251"/>
              <a:gd name="connsiteX19609" fmla="*/ 4385916 w 8079933"/>
              <a:gd name="connsiteY19609" fmla="*/ 1373738 h 4687251"/>
              <a:gd name="connsiteX19610" fmla="*/ 4382552 w 8079933"/>
              <a:gd name="connsiteY19610" fmla="*/ 1371897 h 4687251"/>
              <a:gd name="connsiteX19611" fmla="*/ 4383420 w 8079933"/>
              <a:gd name="connsiteY19611" fmla="*/ 1368974 h 4687251"/>
              <a:gd name="connsiteX19612" fmla="*/ 1122496 w 8079933"/>
              <a:gd name="connsiteY19612" fmla="*/ 1366266 h 4687251"/>
              <a:gd name="connsiteX19613" fmla="*/ 1122604 w 8079933"/>
              <a:gd name="connsiteY19613" fmla="*/ 1370813 h 4687251"/>
              <a:gd name="connsiteX19614" fmla="*/ 1119674 w 8079933"/>
              <a:gd name="connsiteY19614" fmla="*/ 1373412 h 4687251"/>
              <a:gd name="connsiteX19615" fmla="*/ 1118915 w 8079933"/>
              <a:gd name="connsiteY19615" fmla="*/ 1368540 h 4687251"/>
              <a:gd name="connsiteX19616" fmla="*/ 3906925 w 8079933"/>
              <a:gd name="connsiteY19616" fmla="*/ 1364967 h 4687251"/>
              <a:gd name="connsiteX19617" fmla="*/ 3906491 w 8079933"/>
              <a:gd name="connsiteY19617" fmla="*/ 1370598 h 4687251"/>
              <a:gd name="connsiteX19618" fmla="*/ 3902910 w 8079933"/>
              <a:gd name="connsiteY19618" fmla="*/ 1368649 h 4687251"/>
              <a:gd name="connsiteX19619" fmla="*/ 3903778 w 8079933"/>
              <a:gd name="connsiteY19619" fmla="*/ 1365725 h 4687251"/>
              <a:gd name="connsiteX19620" fmla="*/ 4514726 w 8079933"/>
              <a:gd name="connsiteY19620" fmla="*/ 1364642 h 4687251"/>
              <a:gd name="connsiteX19621" fmla="*/ 4519284 w 8079933"/>
              <a:gd name="connsiteY19621" fmla="*/ 1368973 h 4687251"/>
              <a:gd name="connsiteX19622" fmla="*/ 4517765 w 8079933"/>
              <a:gd name="connsiteY19622" fmla="*/ 1371355 h 4687251"/>
              <a:gd name="connsiteX19623" fmla="*/ 4512990 w 8079933"/>
              <a:gd name="connsiteY19623" fmla="*/ 1368865 h 4687251"/>
              <a:gd name="connsiteX19624" fmla="*/ 4514726 w 8079933"/>
              <a:gd name="connsiteY19624" fmla="*/ 1364642 h 4687251"/>
              <a:gd name="connsiteX19625" fmla="*/ 4336867 w 8079933"/>
              <a:gd name="connsiteY19625" fmla="*/ 1363559 h 4687251"/>
              <a:gd name="connsiteX19626" fmla="*/ 4343921 w 8079933"/>
              <a:gd name="connsiteY19626" fmla="*/ 1368323 h 4687251"/>
              <a:gd name="connsiteX19627" fmla="*/ 4344572 w 8079933"/>
              <a:gd name="connsiteY19627" fmla="*/ 1372004 h 4687251"/>
              <a:gd name="connsiteX19628" fmla="*/ 4341208 w 8079933"/>
              <a:gd name="connsiteY19628" fmla="*/ 1371463 h 4687251"/>
              <a:gd name="connsiteX19629" fmla="*/ 4339580 w 8079933"/>
              <a:gd name="connsiteY19629" fmla="*/ 1373195 h 4687251"/>
              <a:gd name="connsiteX19630" fmla="*/ 4342076 w 8079933"/>
              <a:gd name="connsiteY19630" fmla="*/ 1377309 h 4687251"/>
              <a:gd name="connsiteX19631" fmla="*/ 4345657 w 8079933"/>
              <a:gd name="connsiteY19631" fmla="*/ 1376985 h 4687251"/>
              <a:gd name="connsiteX19632" fmla="*/ 4346742 w 8079933"/>
              <a:gd name="connsiteY19632" fmla="*/ 1381099 h 4687251"/>
              <a:gd name="connsiteX19633" fmla="*/ 4343379 w 8079933"/>
              <a:gd name="connsiteY19633" fmla="*/ 1382940 h 4687251"/>
              <a:gd name="connsiteX19634" fmla="*/ 4339472 w 8079933"/>
              <a:gd name="connsiteY19634" fmla="*/ 1379150 h 4687251"/>
              <a:gd name="connsiteX19635" fmla="*/ 4334806 w 8079933"/>
              <a:gd name="connsiteY19635" fmla="*/ 1377634 h 4687251"/>
              <a:gd name="connsiteX19636" fmla="*/ 4332093 w 8079933"/>
              <a:gd name="connsiteY19636" fmla="*/ 1374494 h 4687251"/>
              <a:gd name="connsiteX19637" fmla="*/ 4329163 w 8079933"/>
              <a:gd name="connsiteY19637" fmla="*/ 1372329 h 4687251"/>
              <a:gd name="connsiteX19638" fmla="*/ 4331008 w 8079933"/>
              <a:gd name="connsiteY19638" fmla="*/ 1369947 h 4687251"/>
              <a:gd name="connsiteX19639" fmla="*/ 4336542 w 8079933"/>
              <a:gd name="connsiteY19639" fmla="*/ 1371896 h 4687251"/>
              <a:gd name="connsiteX19640" fmla="*/ 4337844 w 8079933"/>
              <a:gd name="connsiteY19640" fmla="*/ 1369730 h 4687251"/>
              <a:gd name="connsiteX19641" fmla="*/ 4334263 w 8079933"/>
              <a:gd name="connsiteY19641" fmla="*/ 1367348 h 4687251"/>
              <a:gd name="connsiteX19642" fmla="*/ 4334371 w 8079933"/>
              <a:gd name="connsiteY19642" fmla="*/ 1363775 h 4687251"/>
              <a:gd name="connsiteX19643" fmla="*/ 4362695 w 8079933"/>
              <a:gd name="connsiteY19643" fmla="*/ 1363127 h 4687251"/>
              <a:gd name="connsiteX19644" fmla="*/ 4367252 w 8079933"/>
              <a:gd name="connsiteY19644" fmla="*/ 1363776 h 4687251"/>
              <a:gd name="connsiteX19645" fmla="*/ 4364540 w 8079933"/>
              <a:gd name="connsiteY19645" fmla="*/ 1364859 h 4687251"/>
              <a:gd name="connsiteX19646" fmla="*/ 3038032 w 8079933"/>
              <a:gd name="connsiteY19646" fmla="*/ 1361503 h 4687251"/>
              <a:gd name="connsiteX19647" fmla="*/ 3039551 w 8079933"/>
              <a:gd name="connsiteY19647" fmla="*/ 1362802 h 4687251"/>
              <a:gd name="connsiteX19648" fmla="*/ 3038032 w 8079933"/>
              <a:gd name="connsiteY19648" fmla="*/ 1365292 h 4687251"/>
              <a:gd name="connsiteX19649" fmla="*/ 3035102 w 8079933"/>
              <a:gd name="connsiteY19649" fmla="*/ 1365508 h 4687251"/>
              <a:gd name="connsiteX19650" fmla="*/ 3033149 w 8079933"/>
              <a:gd name="connsiteY19650" fmla="*/ 1366700 h 4687251"/>
              <a:gd name="connsiteX19651" fmla="*/ 3031304 w 8079933"/>
              <a:gd name="connsiteY19651" fmla="*/ 1365833 h 4687251"/>
              <a:gd name="connsiteX19652" fmla="*/ 3034559 w 8079933"/>
              <a:gd name="connsiteY19652" fmla="*/ 1361828 h 4687251"/>
              <a:gd name="connsiteX19653" fmla="*/ 4373546 w 8079933"/>
              <a:gd name="connsiteY19653" fmla="*/ 1361070 h 4687251"/>
              <a:gd name="connsiteX19654" fmla="*/ 4378429 w 8079933"/>
              <a:gd name="connsiteY19654" fmla="*/ 1365293 h 4687251"/>
              <a:gd name="connsiteX19655" fmla="*/ 4375499 w 8079933"/>
              <a:gd name="connsiteY19655" fmla="*/ 1367242 h 4687251"/>
              <a:gd name="connsiteX19656" fmla="*/ 4373546 w 8079933"/>
              <a:gd name="connsiteY19656" fmla="*/ 1364968 h 4687251"/>
              <a:gd name="connsiteX19657" fmla="*/ 3911374 w 8079933"/>
              <a:gd name="connsiteY19657" fmla="*/ 1359121 h 4687251"/>
              <a:gd name="connsiteX19658" fmla="*/ 3913111 w 8079933"/>
              <a:gd name="connsiteY19658" fmla="*/ 1360420 h 4687251"/>
              <a:gd name="connsiteX19659" fmla="*/ 3913219 w 8079933"/>
              <a:gd name="connsiteY19659" fmla="*/ 1365725 h 4687251"/>
              <a:gd name="connsiteX19660" fmla="*/ 3911700 w 8079933"/>
              <a:gd name="connsiteY19660" fmla="*/ 1367457 h 4687251"/>
              <a:gd name="connsiteX19661" fmla="*/ 3909204 w 8079933"/>
              <a:gd name="connsiteY19661" fmla="*/ 1364859 h 4687251"/>
              <a:gd name="connsiteX19662" fmla="*/ 3911049 w 8079933"/>
              <a:gd name="connsiteY19662" fmla="*/ 1362152 h 4687251"/>
              <a:gd name="connsiteX19663" fmla="*/ 4030524 w 8079933"/>
              <a:gd name="connsiteY19663" fmla="*/ 1358904 h 4687251"/>
              <a:gd name="connsiteX19664" fmla="*/ 4030524 w 8079933"/>
              <a:gd name="connsiteY19664" fmla="*/ 1364209 h 4687251"/>
              <a:gd name="connsiteX19665" fmla="*/ 4026943 w 8079933"/>
              <a:gd name="connsiteY19665" fmla="*/ 1361827 h 4687251"/>
              <a:gd name="connsiteX19666" fmla="*/ 3918101 w 8079933"/>
              <a:gd name="connsiteY19666" fmla="*/ 1354248 h 4687251"/>
              <a:gd name="connsiteX19667" fmla="*/ 3916365 w 8079933"/>
              <a:gd name="connsiteY19667" fmla="*/ 1359662 h 4687251"/>
              <a:gd name="connsiteX19668" fmla="*/ 3915063 w 8079933"/>
              <a:gd name="connsiteY19668" fmla="*/ 1357388 h 4687251"/>
              <a:gd name="connsiteX19669" fmla="*/ 4028030 w 8079933"/>
              <a:gd name="connsiteY19669" fmla="*/ 1350675 h 4687251"/>
              <a:gd name="connsiteX19670" fmla="*/ 4028789 w 8079933"/>
              <a:gd name="connsiteY19670" fmla="*/ 1352948 h 4687251"/>
              <a:gd name="connsiteX19671" fmla="*/ 4026402 w 8079933"/>
              <a:gd name="connsiteY19671" fmla="*/ 1355330 h 4687251"/>
              <a:gd name="connsiteX19672" fmla="*/ 4024014 w 8079933"/>
              <a:gd name="connsiteY19672" fmla="*/ 1353706 h 4687251"/>
              <a:gd name="connsiteX19673" fmla="*/ 3035102 w 8079933"/>
              <a:gd name="connsiteY19673" fmla="*/ 1350675 h 4687251"/>
              <a:gd name="connsiteX19674" fmla="*/ 3038465 w 8079933"/>
              <a:gd name="connsiteY19674" fmla="*/ 1351108 h 4687251"/>
              <a:gd name="connsiteX19675" fmla="*/ 3046170 w 8079933"/>
              <a:gd name="connsiteY19675" fmla="*/ 1355438 h 4687251"/>
              <a:gd name="connsiteX19676" fmla="*/ 3042698 w 8079933"/>
              <a:gd name="connsiteY19676" fmla="*/ 1357171 h 4687251"/>
              <a:gd name="connsiteX19677" fmla="*/ 3039985 w 8079933"/>
              <a:gd name="connsiteY19677" fmla="*/ 1357171 h 4687251"/>
              <a:gd name="connsiteX19678" fmla="*/ 3035102 w 8079933"/>
              <a:gd name="connsiteY19678" fmla="*/ 1352083 h 4687251"/>
              <a:gd name="connsiteX19679" fmla="*/ 1118155 w 8079933"/>
              <a:gd name="connsiteY19679" fmla="*/ 1350134 h 4687251"/>
              <a:gd name="connsiteX19680" fmla="*/ 1121628 w 8079933"/>
              <a:gd name="connsiteY19680" fmla="*/ 1352407 h 4687251"/>
              <a:gd name="connsiteX19681" fmla="*/ 1118372 w 8079933"/>
              <a:gd name="connsiteY19681" fmla="*/ 1356197 h 4687251"/>
              <a:gd name="connsiteX19682" fmla="*/ 1114249 w 8079933"/>
              <a:gd name="connsiteY19682" fmla="*/ 1353057 h 4687251"/>
              <a:gd name="connsiteX19683" fmla="*/ 2500765 w 8079933"/>
              <a:gd name="connsiteY19683" fmla="*/ 1345695 h 4687251"/>
              <a:gd name="connsiteX19684" fmla="*/ 2500873 w 8079933"/>
              <a:gd name="connsiteY19684" fmla="*/ 1348077 h 4687251"/>
              <a:gd name="connsiteX19685" fmla="*/ 2499680 w 8079933"/>
              <a:gd name="connsiteY19685" fmla="*/ 1348185 h 4687251"/>
              <a:gd name="connsiteX19686" fmla="*/ 2503479 w 8079933"/>
              <a:gd name="connsiteY19686" fmla="*/ 1345045 h 4687251"/>
              <a:gd name="connsiteX19687" fmla="*/ 2504998 w 8079933"/>
              <a:gd name="connsiteY19687" fmla="*/ 1348943 h 4687251"/>
              <a:gd name="connsiteX19688" fmla="*/ 2504455 w 8079933"/>
              <a:gd name="connsiteY19688" fmla="*/ 1353057 h 4687251"/>
              <a:gd name="connsiteX19689" fmla="*/ 2502936 w 8079933"/>
              <a:gd name="connsiteY19689" fmla="*/ 1353490 h 4687251"/>
              <a:gd name="connsiteX19690" fmla="*/ 2503154 w 8079933"/>
              <a:gd name="connsiteY19690" fmla="*/ 1351541 h 4687251"/>
              <a:gd name="connsiteX19691" fmla="*/ 2502177 w 8079933"/>
              <a:gd name="connsiteY19691" fmla="*/ 1347535 h 4687251"/>
              <a:gd name="connsiteX19692" fmla="*/ 2498270 w 8079933"/>
              <a:gd name="connsiteY19692" fmla="*/ 1345045 h 4687251"/>
              <a:gd name="connsiteX19693" fmla="*/ 2498921 w 8079933"/>
              <a:gd name="connsiteY19693" fmla="*/ 1346128 h 4687251"/>
              <a:gd name="connsiteX19694" fmla="*/ 2497619 w 8079933"/>
              <a:gd name="connsiteY19694" fmla="*/ 1347318 h 4687251"/>
              <a:gd name="connsiteX19695" fmla="*/ 1079089 w 8079933"/>
              <a:gd name="connsiteY19695" fmla="*/ 1343097 h 4687251"/>
              <a:gd name="connsiteX19696" fmla="*/ 1082237 w 8079933"/>
              <a:gd name="connsiteY19696" fmla="*/ 1345046 h 4687251"/>
              <a:gd name="connsiteX19697" fmla="*/ 1081585 w 8079933"/>
              <a:gd name="connsiteY19697" fmla="*/ 1347752 h 4687251"/>
              <a:gd name="connsiteX19698" fmla="*/ 1084949 w 8079933"/>
              <a:gd name="connsiteY19698" fmla="*/ 1353383 h 4687251"/>
              <a:gd name="connsiteX19699" fmla="*/ 1081260 w 8079933"/>
              <a:gd name="connsiteY19699" fmla="*/ 1359230 h 4687251"/>
              <a:gd name="connsiteX19700" fmla="*/ 1079524 w 8079933"/>
              <a:gd name="connsiteY19700" fmla="*/ 1357281 h 4687251"/>
              <a:gd name="connsiteX19701" fmla="*/ 1079415 w 8079933"/>
              <a:gd name="connsiteY19701" fmla="*/ 1352842 h 4687251"/>
              <a:gd name="connsiteX19702" fmla="*/ 1075834 w 8079933"/>
              <a:gd name="connsiteY19702" fmla="*/ 1346995 h 4687251"/>
              <a:gd name="connsiteX19703" fmla="*/ 1077136 w 8079933"/>
              <a:gd name="connsiteY19703" fmla="*/ 1343746 h 4687251"/>
              <a:gd name="connsiteX19704" fmla="*/ 3008189 w 8079933"/>
              <a:gd name="connsiteY19704" fmla="*/ 1342663 h 4687251"/>
              <a:gd name="connsiteX19705" fmla="*/ 3010359 w 8079933"/>
              <a:gd name="connsiteY19705" fmla="*/ 1342771 h 4687251"/>
              <a:gd name="connsiteX19706" fmla="*/ 3010467 w 8079933"/>
              <a:gd name="connsiteY19706" fmla="*/ 1345803 h 4687251"/>
              <a:gd name="connsiteX19707" fmla="*/ 3008080 w 8079933"/>
              <a:gd name="connsiteY19707" fmla="*/ 1349159 h 4687251"/>
              <a:gd name="connsiteX19708" fmla="*/ 3007971 w 8079933"/>
              <a:gd name="connsiteY19708" fmla="*/ 1350892 h 4687251"/>
              <a:gd name="connsiteX19709" fmla="*/ 3006018 w 8079933"/>
              <a:gd name="connsiteY19709" fmla="*/ 1350892 h 4687251"/>
              <a:gd name="connsiteX19710" fmla="*/ 3005368 w 8079933"/>
              <a:gd name="connsiteY19710" fmla="*/ 1346453 h 4687251"/>
              <a:gd name="connsiteX19711" fmla="*/ 3007321 w 8079933"/>
              <a:gd name="connsiteY19711" fmla="*/ 1344612 h 4687251"/>
              <a:gd name="connsiteX19712" fmla="*/ 6911425 w 8079933"/>
              <a:gd name="connsiteY19712" fmla="*/ 1342555 h 4687251"/>
              <a:gd name="connsiteX19713" fmla="*/ 6913921 w 8079933"/>
              <a:gd name="connsiteY19713" fmla="*/ 1344720 h 4687251"/>
              <a:gd name="connsiteX19714" fmla="*/ 6912944 w 8079933"/>
              <a:gd name="connsiteY19714" fmla="*/ 1347644 h 4687251"/>
              <a:gd name="connsiteX19715" fmla="*/ 6910123 w 8079933"/>
              <a:gd name="connsiteY19715" fmla="*/ 1349702 h 4687251"/>
              <a:gd name="connsiteX19716" fmla="*/ 6909255 w 8079933"/>
              <a:gd name="connsiteY19716" fmla="*/ 1348510 h 4687251"/>
              <a:gd name="connsiteX19717" fmla="*/ 6911100 w 8079933"/>
              <a:gd name="connsiteY19717" fmla="*/ 1345478 h 4687251"/>
              <a:gd name="connsiteX19718" fmla="*/ 6910666 w 8079933"/>
              <a:gd name="connsiteY19718" fmla="*/ 1343746 h 4687251"/>
              <a:gd name="connsiteX19719" fmla="*/ 6905565 w 8079933"/>
              <a:gd name="connsiteY19719" fmla="*/ 1341797 h 4687251"/>
              <a:gd name="connsiteX19720" fmla="*/ 6906867 w 8079933"/>
              <a:gd name="connsiteY19720" fmla="*/ 1342988 h 4687251"/>
              <a:gd name="connsiteX19721" fmla="*/ 6907084 w 8079933"/>
              <a:gd name="connsiteY19721" fmla="*/ 1346452 h 4687251"/>
              <a:gd name="connsiteX19722" fmla="*/ 6905999 w 8079933"/>
              <a:gd name="connsiteY19722" fmla="*/ 1348834 h 4687251"/>
              <a:gd name="connsiteX19723" fmla="*/ 6904154 w 8079933"/>
              <a:gd name="connsiteY19723" fmla="*/ 1345695 h 4687251"/>
              <a:gd name="connsiteX19724" fmla="*/ 6904263 w 8079933"/>
              <a:gd name="connsiteY19724" fmla="*/ 1342988 h 4687251"/>
              <a:gd name="connsiteX19725" fmla="*/ 1087553 w 8079933"/>
              <a:gd name="connsiteY19725" fmla="*/ 1339198 h 4687251"/>
              <a:gd name="connsiteX19726" fmla="*/ 1089289 w 8079933"/>
              <a:gd name="connsiteY19726" fmla="*/ 1341904 h 4687251"/>
              <a:gd name="connsiteX19727" fmla="*/ 1088204 w 8079933"/>
              <a:gd name="connsiteY19727" fmla="*/ 1344612 h 4687251"/>
              <a:gd name="connsiteX19728" fmla="*/ 1086468 w 8079933"/>
              <a:gd name="connsiteY19728" fmla="*/ 1342446 h 4687251"/>
              <a:gd name="connsiteX19729" fmla="*/ 1119891 w 8079933"/>
              <a:gd name="connsiteY19729" fmla="*/ 1338440 h 4687251"/>
              <a:gd name="connsiteX19730" fmla="*/ 1122279 w 8079933"/>
              <a:gd name="connsiteY19730" fmla="*/ 1343962 h 4687251"/>
              <a:gd name="connsiteX19731" fmla="*/ 1117830 w 8079933"/>
              <a:gd name="connsiteY19731" fmla="*/ 1348293 h 4687251"/>
              <a:gd name="connsiteX19732" fmla="*/ 1114357 w 8079933"/>
              <a:gd name="connsiteY19732" fmla="*/ 1345803 h 4687251"/>
              <a:gd name="connsiteX19733" fmla="*/ 1116962 w 8079933"/>
              <a:gd name="connsiteY19733" fmla="*/ 1343420 h 4687251"/>
              <a:gd name="connsiteX19734" fmla="*/ 1115876 w 8079933"/>
              <a:gd name="connsiteY19734" fmla="*/ 1340172 h 4687251"/>
              <a:gd name="connsiteX19735" fmla="*/ 1079848 w 8079933"/>
              <a:gd name="connsiteY19735" fmla="*/ 1336167 h 4687251"/>
              <a:gd name="connsiteX19736" fmla="*/ 1082018 w 8079933"/>
              <a:gd name="connsiteY19736" fmla="*/ 1336708 h 4687251"/>
              <a:gd name="connsiteX19737" fmla="*/ 1083429 w 8079933"/>
              <a:gd name="connsiteY19737" fmla="*/ 1340064 h 4687251"/>
              <a:gd name="connsiteX19738" fmla="*/ 1079631 w 8079933"/>
              <a:gd name="connsiteY19738" fmla="*/ 1341689 h 4687251"/>
              <a:gd name="connsiteX19739" fmla="*/ 1077895 w 8079933"/>
              <a:gd name="connsiteY19739" fmla="*/ 1337357 h 4687251"/>
              <a:gd name="connsiteX19740" fmla="*/ 1114901 w 8079933"/>
              <a:gd name="connsiteY19740" fmla="*/ 1329563 h 4687251"/>
              <a:gd name="connsiteX19741" fmla="*/ 1118481 w 8079933"/>
              <a:gd name="connsiteY19741" fmla="*/ 1334651 h 4687251"/>
              <a:gd name="connsiteX19742" fmla="*/ 1114358 w 8079933"/>
              <a:gd name="connsiteY19742" fmla="*/ 1338441 h 4687251"/>
              <a:gd name="connsiteX19743" fmla="*/ 1114901 w 8079933"/>
              <a:gd name="connsiteY19743" fmla="*/ 1334327 h 4687251"/>
              <a:gd name="connsiteX19744" fmla="*/ 1112839 w 8079933"/>
              <a:gd name="connsiteY19744" fmla="*/ 1331945 h 4687251"/>
              <a:gd name="connsiteX19745" fmla="*/ 4190152 w 8079933"/>
              <a:gd name="connsiteY19745" fmla="*/ 1329237 h 4687251"/>
              <a:gd name="connsiteX19746" fmla="*/ 4187874 w 8079933"/>
              <a:gd name="connsiteY19746" fmla="*/ 1334542 h 4687251"/>
              <a:gd name="connsiteX19747" fmla="*/ 4187765 w 8079933"/>
              <a:gd name="connsiteY19747" fmla="*/ 1342337 h 4687251"/>
              <a:gd name="connsiteX19748" fmla="*/ 4176914 w 8079933"/>
              <a:gd name="connsiteY19748" fmla="*/ 1345910 h 4687251"/>
              <a:gd name="connsiteX19749" fmla="*/ 4176588 w 8079933"/>
              <a:gd name="connsiteY19749" fmla="*/ 1349916 h 4687251"/>
              <a:gd name="connsiteX19750" fmla="*/ 4176588 w 8079933"/>
              <a:gd name="connsiteY19750" fmla="*/ 1349917 h 4687251"/>
              <a:gd name="connsiteX19751" fmla="*/ 4176914 w 8079933"/>
              <a:gd name="connsiteY19751" fmla="*/ 1345911 h 4687251"/>
              <a:gd name="connsiteX19752" fmla="*/ 4187765 w 8079933"/>
              <a:gd name="connsiteY19752" fmla="*/ 1342339 h 4687251"/>
              <a:gd name="connsiteX19753" fmla="*/ 4187874 w 8079933"/>
              <a:gd name="connsiteY19753" fmla="*/ 1334543 h 4687251"/>
              <a:gd name="connsiteX19754" fmla="*/ 4190153 w 8079933"/>
              <a:gd name="connsiteY19754" fmla="*/ 1329238 h 4687251"/>
              <a:gd name="connsiteX19755" fmla="*/ 7018315 w 8079933"/>
              <a:gd name="connsiteY19755" fmla="*/ 1328913 h 4687251"/>
              <a:gd name="connsiteX19756" fmla="*/ 7019942 w 8079933"/>
              <a:gd name="connsiteY19756" fmla="*/ 1330970 h 4687251"/>
              <a:gd name="connsiteX19757" fmla="*/ 7023306 w 8079933"/>
              <a:gd name="connsiteY19757" fmla="*/ 1337683 h 4687251"/>
              <a:gd name="connsiteX19758" fmla="*/ 7030468 w 8079933"/>
              <a:gd name="connsiteY19758" fmla="*/ 1340498 h 4687251"/>
              <a:gd name="connsiteX19759" fmla="*/ 7033290 w 8079933"/>
              <a:gd name="connsiteY19759" fmla="*/ 1343529 h 4687251"/>
              <a:gd name="connsiteX19760" fmla="*/ 7032964 w 8079933"/>
              <a:gd name="connsiteY19760" fmla="*/ 1351433 h 4687251"/>
              <a:gd name="connsiteX19761" fmla="*/ 7036220 w 8079933"/>
              <a:gd name="connsiteY19761" fmla="*/ 1356739 h 4687251"/>
              <a:gd name="connsiteX19762" fmla="*/ 7045877 w 8079933"/>
              <a:gd name="connsiteY19762" fmla="*/ 1364534 h 4687251"/>
              <a:gd name="connsiteX19763" fmla="*/ 7047180 w 8079933"/>
              <a:gd name="connsiteY19763" fmla="*/ 1368648 h 4687251"/>
              <a:gd name="connsiteX19764" fmla="*/ 7049242 w 8079933"/>
              <a:gd name="connsiteY19764" fmla="*/ 1368648 h 4687251"/>
              <a:gd name="connsiteX19765" fmla="*/ 7054776 w 8079933"/>
              <a:gd name="connsiteY19765" fmla="*/ 1374494 h 4687251"/>
              <a:gd name="connsiteX19766" fmla="*/ 7060310 w 8079933"/>
              <a:gd name="connsiteY19766" fmla="*/ 1382723 h 4687251"/>
              <a:gd name="connsiteX19767" fmla="*/ 7062372 w 8079933"/>
              <a:gd name="connsiteY19767" fmla="*/ 1388787 h 4687251"/>
              <a:gd name="connsiteX19768" fmla="*/ 7057923 w 8079933"/>
              <a:gd name="connsiteY19768" fmla="*/ 1382182 h 4687251"/>
              <a:gd name="connsiteX19769" fmla="*/ 7053473 w 8079933"/>
              <a:gd name="connsiteY19769" fmla="*/ 1377743 h 4687251"/>
              <a:gd name="connsiteX19770" fmla="*/ 7051303 w 8079933"/>
              <a:gd name="connsiteY19770" fmla="*/ 1378284 h 4687251"/>
              <a:gd name="connsiteX19771" fmla="*/ 7051303 w 8079933"/>
              <a:gd name="connsiteY19771" fmla="*/ 1380666 h 4687251"/>
              <a:gd name="connsiteX19772" fmla="*/ 7053908 w 8079933"/>
              <a:gd name="connsiteY19772" fmla="*/ 1383265 h 4687251"/>
              <a:gd name="connsiteX19773" fmla="*/ 7054450 w 8079933"/>
              <a:gd name="connsiteY19773" fmla="*/ 1386296 h 4687251"/>
              <a:gd name="connsiteX19774" fmla="*/ 7059442 w 8079933"/>
              <a:gd name="connsiteY19774" fmla="*/ 1391818 h 4687251"/>
              <a:gd name="connsiteX19775" fmla="*/ 7064326 w 8079933"/>
              <a:gd name="connsiteY19775" fmla="*/ 1393875 h 4687251"/>
              <a:gd name="connsiteX19776" fmla="*/ 7065519 w 8079933"/>
              <a:gd name="connsiteY19776" fmla="*/ 1399289 h 4687251"/>
              <a:gd name="connsiteX19777" fmla="*/ 7066496 w 8079933"/>
              <a:gd name="connsiteY19777" fmla="*/ 1406976 h 4687251"/>
              <a:gd name="connsiteX19778" fmla="*/ 7067689 w 8079933"/>
              <a:gd name="connsiteY19778" fmla="*/ 1413905 h 4687251"/>
              <a:gd name="connsiteX19779" fmla="*/ 7066713 w 8079933"/>
              <a:gd name="connsiteY19779" fmla="*/ 1412931 h 4687251"/>
              <a:gd name="connsiteX19780" fmla="*/ 7065519 w 8079933"/>
              <a:gd name="connsiteY19780" fmla="*/ 1416828 h 4687251"/>
              <a:gd name="connsiteX19781" fmla="*/ 7066170 w 8079933"/>
              <a:gd name="connsiteY19781" fmla="*/ 1421917 h 4687251"/>
              <a:gd name="connsiteX19782" fmla="*/ 7068557 w 8079933"/>
              <a:gd name="connsiteY19782" fmla="*/ 1425599 h 4687251"/>
              <a:gd name="connsiteX19783" fmla="*/ 7070945 w 8079933"/>
              <a:gd name="connsiteY19783" fmla="*/ 1432095 h 4687251"/>
              <a:gd name="connsiteX19784" fmla="*/ 7075285 w 8079933"/>
              <a:gd name="connsiteY19784" fmla="*/ 1437291 h 4687251"/>
              <a:gd name="connsiteX19785" fmla="*/ 7079734 w 8079933"/>
              <a:gd name="connsiteY19785" fmla="*/ 1439999 h 4687251"/>
              <a:gd name="connsiteX19786" fmla="*/ 7081146 w 8079933"/>
              <a:gd name="connsiteY19786" fmla="*/ 1443463 h 4687251"/>
              <a:gd name="connsiteX19787" fmla="*/ 7080169 w 8079933"/>
              <a:gd name="connsiteY19787" fmla="*/ 1447361 h 4687251"/>
              <a:gd name="connsiteX19788" fmla="*/ 7081146 w 8079933"/>
              <a:gd name="connsiteY19788" fmla="*/ 1449309 h 4687251"/>
              <a:gd name="connsiteX19789" fmla="*/ 7084076 w 8079933"/>
              <a:gd name="connsiteY19789" fmla="*/ 1449634 h 4687251"/>
              <a:gd name="connsiteX19790" fmla="*/ 7084293 w 8079933"/>
              <a:gd name="connsiteY19790" fmla="*/ 1447577 h 4687251"/>
              <a:gd name="connsiteX19791" fmla="*/ 7087331 w 8079933"/>
              <a:gd name="connsiteY19791" fmla="*/ 1448768 h 4687251"/>
              <a:gd name="connsiteX19792" fmla="*/ 7090152 w 8079933"/>
              <a:gd name="connsiteY19792" fmla="*/ 1453207 h 4687251"/>
              <a:gd name="connsiteX19793" fmla="*/ 7090152 w 8079933"/>
              <a:gd name="connsiteY19793" fmla="*/ 1458187 h 4687251"/>
              <a:gd name="connsiteX19794" fmla="*/ 7093516 w 8079933"/>
              <a:gd name="connsiteY19794" fmla="*/ 1460570 h 4687251"/>
              <a:gd name="connsiteX19795" fmla="*/ 7097857 w 8079933"/>
              <a:gd name="connsiteY19795" fmla="*/ 1468907 h 4687251"/>
              <a:gd name="connsiteX19796" fmla="*/ 7106321 w 8079933"/>
              <a:gd name="connsiteY19796" fmla="*/ 1480058 h 4687251"/>
              <a:gd name="connsiteX19797" fmla="*/ 7107841 w 8079933"/>
              <a:gd name="connsiteY19797" fmla="*/ 1485905 h 4687251"/>
              <a:gd name="connsiteX19798" fmla="*/ 7114460 w 8079933"/>
              <a:gd name="connsiteY19798" fmla="*/ 1497598 h 4687251"/>
              <a:gd name="connsiteX19799" fmla="*/ 7121514 w 8079933"/>
              <a:gd name="connsiteY19799" fmla="*/ 1506043 h 4687251"/>
              <a:gd name="connsiteX19800" fmla="*/ 7122165 w 8079933"/>
              <a:gd name="connsiteY19800" fmla="*/ 1510699 h 4687251"/>
              <a:gd name="connsiteX19801" fmla="*/ 7125420 w 8079933"/>
              <a:gd name="connsiteY19801" fmla="*/ 1512323 h 4687251"/>
              <a:gd name="connsiteX19802" fmla="*/ 7127482 w 8079933"/>
              <a:gd name="connsiteY19802" fmla="*/ 1517845 h 4687251"/>
              <a:gd name="connsiteX19803" fmla="*/ 7132040 w 8079933"/>
              <a:gd name="connsiteY19803" fmla="*/ 1526290 h 4687251"/>
              <a:gd name="connsiteX19804" fmla="*/ 7134753 w 8079933"/>
              <a:gd name="connsiteY19804" fmla="*/ 1528672 h 4687251"/>
              <a:gd name="connsiteX19805" fmla="*/ 7134753 w 8079933"/>
              <a:gd name="connsiteY19805" fmla="*/ 1531812 h 4687251"/>
              <a:gd name="connsiteX19806" fmla="*/ 7138876 w 8079933"/>
              <a:gd name="connsiteY19806" fmla="*/ 1537659 h 4687251"/>
              <a:gd name="connsiteX19807" fmla="*/ 7142675 w 8079933"/>
              <a:gd name="connsiteY19807" fmla="*/ 1544155 h 4687251"/>
              <a:gd name="connsiteX19808" fmla="*/ 7149620 w 8079933"/>
              <a:gd name="connsiteY19808" fmla="*/ 1549135 h 4687251"/>
              <a:gd name="connsiteX19809" fmla="*/ 7154394 w 8079933"/>
              <a:gd name="connsiteY19809" fmla="*/ 1555198 h 4687251"/>
              <a:gd name="connsiteX19810" fmla="*/ 7156673 w 8079933"/>
              <a:gd name="connsiteY19810" fmla="*/ 1561369 h 4687251"/>
              <a:gd name="connsiteX19811" fmla="*/ 7154069 w 8079933"/>
              <a:gd name="connsiteY19811" fmla="*/ 1560179 h 4687251"/>
              <a:gd name="connsiteX19812" fmla="*/ 7149728 w 8079933"/>
              <a:gd name="connsiteY19812" fmla="*/ 1553357 h 4687251"/>
              <a:gd name="connsiteX19813" fmla="*/ 7145279 w 8079933"/>
              <a:gd name="connsiteY19813" fmla="*/ 1550543 h 4687251"/>
              <a:gd name="connsiteX19814" fmla="*/ 7140287 w 8079933"/>
              <a:gd name="connsiteY19814" fmla="*/ 1548702 h 4687251"/>
              <a:gd name="connsiteX19815" fmla="*/ 7137031 w 8079933"/>
              <a:gd name="connsiteY19815" fmla="*/ 1541881 h 4687251"/>
              <a:gd name="connsiteX19816" fmla="*/ 7131931 w 8079933"/>
              <a:gd name="connsiteY19816" fmla="*/ 1538524 h 4687251"/>
              <a:gd name="connsiteX19817" fmla="*/ 7126289 w 8079933"/>
              <a:gd name="connsiteY19817" fmla="*/ 1537767 h 4687251"/>
              <a:gd name="connsiteX19818" fmla="*/ 7120754 w 8079933"/>
              <a:gd name="connsiteY19818" fmla="*/ 1539066 h 4687251"/>
              <a:gd name="connsiteX19819" fmla="*/ 7118041 w 8079933"/>
              <a:gd name="connsiteY19819" fmla="*/ 1538524 h 4687251"/>
              <a:gd name="connsiteX19820" fmla="*/ 7115762 w 8079933"/>
              <a:gd name="connsiteY19820" fmla="*/ 1538849 h 4687251"/>
              <a:gd name="connsiteX19821" fmla="*/ 7115871 w 8079933"/>
              <a:gd name="connsiteY19821" fmla="*/ 1541556 h 4687251"/>
              <a:gd name="connsiteX19822" fmla="*/ 7115003 w 8079933"/>
              <a:gd name="connsiteY19822" fmla="*/ 1545129 h 4687251"/>
              <a:gd name="connsiteX19823" fmla="*/ 7112832 w 8079933"/>
              <a:gd name="connsiteY19823" fmla="*/ 1548269 h 4687251"/>
              <a:gd name="connsiteX19824" fmla="*/ 7116088 w 8079933"/>
              <a:gd name="connsiteY19824" fmla="*/ 1554332 h 4687251"/>
              <a:gd name="connsiteX19825" fmla="*/ 7116522 w 8079933"/>
              <a:gd name="connsiteY19825" fmla="*/ 1558988 h 4687251"/>
              <a:gd name="connsiteX19826" fmla="*/ 7115437 w 8079933"/>
              <a:gd name="connsiteY19826" fmla="*/ 1567000 h 4687251"/>
              <a:gd name="connsiteX19827" fmla="*/ 7118366 w 8079933"/>
              <a:gd name="connsiteY19827" fmla="*/ 1571871 h 4687251"/>
              <a:gd name="connsiteX19828" fmla="*/ 7119234 w 8079933"/>
              <a:gd name="connsiteY19828" fmla="*/ 1581075 h 4687251"/>
              <a:gd name="connsiteX19829" fmla="*/ 7119018 w 8079933"/>
              <a:gd name="connsiteY19829" fmla="*/ 1588870 h 4687251"/>
              <a:gd name="connsiteX19830" fmla="*/ 7120754 w 8079933"/>
              <a:gd name="connsiteY19830" fmla="*/ 1594717 h 4687251"/>
              <a:gd name="connsiteX19831" fmla="*/ 7124444 w 8079933"/>
              <a:gd name="connsiteY19831" fmla="*/ 1600888 h 4687251"/>
              <a:gd name="connsiteX19832" fmla="*/ 7126505 w 8079933"/>
              <a:gd name="connsiteY19832" fmla="*/ 1609117 h 4687251"/>
              <a:gd name="connsiteX19833" fmla="*/ 7130304 w 8079933"/>
              <a:gd name="connsiteY19833" fmla="*/ 1613772 h 4687251"/>
              <a:gd name="connsiteX19834" fmla="*/ 7133885 w 8079933"/>
              <a:gd name="connsiteY19834" fmla="*/ 1614639 h 4687251"/>
              <a:gd name="connsiteX19835" fmla="*/ 7139744 w 8079933"/>
              <a:gd name="connsiteY19835" fmla="*/ 1619836 h 4687251"/>
              <a:gd name="connsiteX19836" fmla="*/ 7142891 w 8079933"/>
              <a:gd name="connsiteY19836" fmla="*/ 1625358 h 4687251"/>
              <a:gd name="connsiteX19837" fmla="*/ 7143868 w 8079933"/>
              <a:gd name="connsiteY19837" fmla="*/ 1632395 h 4687251"/>
              <a:gd name="connsiteX19838" fmla="*/ 7150379 w 8079933"/>
              <a:gd name="connsiteY19838" fmla="*/ 1636509 h 4687251"/>
              <a:gd name="connsiteX19839" fmla="*/ 7153527 w 8079933"/>
              <a:gd name="connsiteY19839" fmla="*/ 1636509 h 4687251"/>
              <a:gd name="connsiteX19840" fmla="*/ 7156999 w 8079933"/>
              <a:gd name="connsiteY19840" fmla="*/ 1634777 h 4687251"/>
              <a:gd name="connsiteX19841" fmla="*/ 7158735 w 8079933"/>
              <a:gd name="connsiteY19841" fmla="*/ 1638674 h 4687251"/>
              <a:gd name="connsiteX19842" fmla="*/ 7159929 w 8079933"/>
              <a:gd name="connsiteY19842" fmla="*/ 1645062 h 4687251"/>
              <a:gd name="connsiteX19843" fmla="*/ 7164378 w 8079933"/>
              <a:gd name="connsiteY19843" fmla="*/ 1648852 h 4687251"/>
              <a:gd name="connsiteX19844" fmla="*/ 7164378 w 8079933"/>
              <a:gd name="connsiteY19844" fmla="*/ 1654374 h 4687251"/>
              <a:gd name="connsiteX19845" fmla="*/ 7164052 w 8079933"/>
              <a:gd name="connsiteY19845" fmla="*/ 1659354 h 4687251"/>
              <a:gd name="connsiteX19846" fmla="*/ 7165029 w 8079933"/>
              <a:gd name="connsiteY19846" fmla="*/ 1661953 h 4687251"/>
              <a:gd name="connsiteX19847" fmla="*/ 7164921 w 8079933"/>
              <a:gd name="connsiteY19847" fmla="*/ 1665201 h 4687251"/>
              <a:gd name="connsiteX19848" fmla="*/ 7162099 w 8079933"/>
              <a:gd name="connsiteY19848" fmla="*/ 1662278 h 4687251"/>
              <a:gd name="connsiteX19849" fmla="*/ 7161448 w 8079933"/>
              <a:gd name="connsiteY19849" fmla="*/ 1657947 h 4687251"/>
              <a:gd name="connsiteX19850" fmla="*/ 7156456 w 8079933"/>
              <a:gd name="connsiteY19850" fmla="*/ 1652641 h 4687251"/>
              <a:gd name="connsiteX19851" fmla="*/ 7156131 w 8079933"/>
              <a:gd name="connsiteY19851" fmla="*/ 1649068 h 4687251"/>
              <a:gd name="connsiteX19852" fmla="*/ 7157324 w 8079933"/>
              <a:gd name="connsiteY19852" fmla="*/ 1647336 h 4687251"/>
              <a:gd name="connsiteX19853" fmla="*/ 7155805 w 8079933"/>
              <a:gd name="connsiteY19853" fmla="*/ 1644954 h 4687251"/>
              <a:gd name="connsiteX19854" fmla="*/ 7153527 w 8079933"/>
              <a:gd name="connsiteY19854" fmla="*/ 1645388 h 4687251"/>
              <a:gd name="connsiteX19855" fmla="*/ 7152550 w 8079933"/>
              <a:gd name="connsiteY19855" fmla="*/ 1647661 h 4687251"/>
              <a:gd name="connsiteX19856" fmla="*/ 7143217 w 8079933"/>
              <a:gd name="connsiteY19856" fmla="*/ 1648527 h 4687251"/>
              <a:gd name="connsiteX19857" fmla="*/ 7140396 w 8079933"/>
              <a:gd name="connsiteY19857" fmla="*/ 1646578 h 4687251"/>
              <a:gd name="connsiteX19858" fmla="*/ 7140396 w 8079933"/>
              <a:gd name="connsiteY19858" fmla="*/ 1643222 h 4687251"/>
              <a:gd name="connsiteX19859" fmla="*/ 7138225 w 8079933"/>
              <a:gd name="connsiteY19859" fmla="*/ 1642139 h 4687251"/>
              <a:gd name="connsiteX19860" fmla="*/ 7133885 w 8079933"/>
              <a:gd name="connsiteY19860" fmla="*/ 1645929 h 4687251"/>
              <a:gd name="connsiteX19861" fmla="*/ 7132800 w 8079933"/>
              <a:gd name="connsiteY19861" fmla="*/ 1653724 h 4687251"/>
              <a:gd name="connsiteX19862" fmla="*/ 7134427 w 8079933"/>
              <a:gd name="connsiteY19862" fmla="*/ 1659138 h 4687251"/>
              <a:gd name="connsiteX19863" fmla="*/ 7136489 w 8079933"/>
              <a:gd name="connsiteY19863" fmla="*/ 1663685 h 4687251"/>
              <a:gd name="connsiteX19864" fmla="*/ 7135621 w 8079933"/>
              <a:gd name="connsiteY19864" fmla="*/ 1668774 h 4687251"/>
              <a:gd name="connsiteX19865" fmla="*/ 7136272 w 8079933"/>
              <a:gd name="connsiteY19865" fmla="*/ 1674188 h 4687251"/>
              <a:gd name="connsiteX19866" fmla="*/ 7130304 w 8079933"/>
              <a:gd name="connsiteY19866" fmla="*/ 1670506 h 4687251"/>
              <a:gd name="connsiteX19867" fmla="*/ 7126831 w 8079933"/>
              <a:gd name="connsiteY19867" fmla="*/ 1663361 h 4687251"/>
              <a:gd name="connsiteX19868" fmla="*/ 7121839 w 8079933"/>
              <a:gd name="connsiteY19868" fmla="*/ 1659679 h 4687251"/>
              <a:gd name="connsiteX19869" fmla="*/ 7119777 w 8079933"/>
              <a:gd name="connsiteY19869" fmla="*/ 1653724 h 4687251"/>
              <a:gd name="connsiteX19870" fmla="*/ 7120429 w 8079933"/>
              <a:gd name="connsiteY19870" fmla="*/ 1643655 h 4687251"/>
              <a:gd name="connsiteX19871" fmla="*/ 7121839 w 8079933"/>
              <a:gd name="connsiteY19871" fmla="*/ 1636184 h 4687251"/>
              <a:gd name="connsiteX19872" fmla="*/ 7121079 w 8079933"/>
              <a:gd name="connsiteY19872" fmla="*/ 1632503 h 4687251"/>
              <a:gd name="connsiteX19873" fmla="*/ 7114786 w 8079933"/>
              <a:gd name="connsiteY19873" fmla="*/ 1624275 h 4687251"/>
              <a:gd name="connsiteX19874" fmla="*/ 7113592 w 8079933"/>
              <a:gd name="connsiteY19874" fmla="*/ 1619294 h 4687251"/>
              <a:gd name="connsiteX19875" fmla="*/ 7109577 w 8079933"/>
              <a:gd name="connsiteY19875" fmla="*/ 1611932 h 4687251"/>
              <a:gd name="connsiteX19876" fmla="*/ 7108383 w 8079933"/>
              <a:gd name="connsiteY19876" fmla="*/ 1604028 h 4687251"/>
              <a:gd name="connsiteX19877" fmla="*/ 7109252 w 8079933"/>
              <a:gd name="connsiteY19877" fmla="*/ 1594067 h 4687251"/>
              <a:gd name="connsiteX19878" fmla="*/ 7105562 w 8079933"/>
              <a:gd name="connsiteY19878" fmla="*/ 1587463 h 4687251"/>
              <a:gd name="connsiteX19879" fmla="*/ 7105562 w 8079933"/>
              <a:gd name="connsiteY19879" fmla="*/ 1582807 h 4687251"/>
              <a:gd name="connsiteX19880" fmla="*/ 7096880 w 8079933"/>
              <a:gd name="connsiteY19880" fmla="*/ 1571871 h 4687251"/>
              <a:gd name="connsiteX19881" fmla="*/ 7092214 w 8079933"/>
              <a:gd name="connsiteY19881" fmla="*/ 1567757 h 4687251"/>
              <a:gd name="connsiteX19882" fmla="*/ 7091455 w 8079933"/>
              <a:gd name="connsiteY19882" fmla="*/ 1561369 h 4687251"/>
              <a:gd name="connsiteX19883" fmla="*/ 7092540 w 8079933"/>
              <a:gd name="connsiteY19883" fmla="*/ 1557905 h 4687251"/>
              <a:gd name="connsiteX19884" fmla="*/ 7088742 w 8079933"/>
              <a:gd name="connsiteY19884" fmla="*/ 1548594 h 4687251"/>
              <a:gd name="connsiteX19885" fmla="*/ 7087657 w 8079933"/>
              <a:gd name="connsiteY19885" fmla="*/ 1540690 h 4687251"/>
              <a:gd name="connsiteX19886" fmla="*/ 7088416 w 8079933"/>
              <a:gd name="connsiteY19886" fmla="*/ 1536143 h 4687251"/>
              <a:gd name="connsiteX19887" fmla="*/ 7086680 w 8079933"/>
              <a:gd name="connsiteY19887" fmla="*/ 1533002 h 4687251"/>
              <a:gd name="connsiteX19888" fmla="*/ 7086029 w 8079933"/>
              <a:gd name="connsiteY19888" fmla="*/ 1524233 h 4687251"/>
              <a:gd name="connsiteX19889" fmla="*/ 7083533 w 8079933"/>
              <a:gd name="connsiteY19889" fmla="*/ 1517737 h 4687251"/>
              <a:gd name="connsiteX19890" fmla="*/ 7082340 w 8079933"/>
              <a:gd name="connsiteY19890" fmla="*/ 1512323 h 4687251"/>
              <a:gd name="connsiteX19891" fmla="*/ 7077021 w 8079933"/>
              <a:gd name="connsiteY19891" fmla="*/ 1503986 h 4687251"/>
              <a:gd name="connsiteX19892" fmla="*/ 7076479 w 8079933"/>
              <a:gd name="connsiteY19892" fmla="*/ 1500305 h 4687251"/>
              <a:gd name="connsiteX19893" fmla="*/ 7077890 w 8079933"/>
              <a:gd name="connsiteY19893" fmla="*/ 1498898 h 4687251"/>
              <a:gd name="connsiteX19894" fmla="*/ 7073441 w 8079933"/>
              <a:gd name="connsiteY19894" fmla="*/ 1494025 h 4687251"/>
              <a:gd name="connsiteX19895" fmla="*/ 7069426 w 8079933"/>
              <a:gd name="connsiteY19895" fmla="*/ 1491210 h 4687251"/>
              <a:gd name="connsiteX19896" fmla="*/ 7069426 w 8079933"/>
              <a:gd name="connsiteY19896" fmla="*/ 1486446 h 4687251"/>
              <a:gd name="connsiteX19897" fmla="*/ 7065627 w 8079933"/>
              <a:gd name="connsiteY19897" fmla="*/ 1480058 h 4687251"/>
              <a:gd name="connsiteX19898" fmla="*/ 7066170 w 8079933"/>
              <a:gd name="connsiteY19898" fmla="*/ 1473887 h 4687251"/>
              <a:gd name="connsiteX19899" fmla="*/ 7064651 w 8079933"/>
              <a:gd name="connsiteY19899" fmla="*/ 1465983 h 4687251"/>
              <a:gd name="connsiteX19900" fmla="*/ 7059117 w 8079933"/>
              <a:gd name="connsiteY19900" fmla="*/ 1457863 h 4687251"/>
              <a:gd name="connsiteX19901" fmla="*/ 7055102 w 8079933"/>
              <a:gd name="connsiteY19901" fmla="*/ 1456456 h 4687251"/>
              <a:gd name="connsiteX19902" fmla="*/ 7043382 w 8079933"/>
              <a:gd name="connsiteY19902" fmla="*/ 1444979 h 4687251"/>
              <a:gd name="connsiteX19903" fmla="*/ 7045661 w 8079933"/>
              <a:gd name="connsiteY19903" fmla="*/ 1443463 h 4687251"/>
              <a:gd name="connsiteX19904" fmla="*/ 7045117 w 8079933"/>
              <a:gd name="connsiteY19904" fmla="*/ 1441189 h 4687251"/>
              <a:gd name="connsiteX19905" fmla="*/ 7040018 w 8079933"/>
              <a:gd name="connsiteY19905" fmla="*/ 1438483 h 4687251"/>
              <a:gd name="connsiteX19906" fmla="*/ 7036220 w 8079933"/>
              <a:gd name="connsiteY19906" fmla="*/ 1430904 h 4687251"/>
              <a:gd name="connsiteX19907" fmla="*/ 7033072 w 8079933"/>
              <a:gd name="connsiteY19907" fmla="*/ 1419536 h 4687251"/>
              <a:gd name="connsiteX19908" fmla="*/ 7032096 w 8079933"/>
              <a:gd name="connsiteY19908" fmla="*/ 1411956 h 4687251"/>
              <a:gd name="connsiteX19909" fmla="*/ 7030360 w 8079933"/>
              <a:gd name="connsiteY19909" fmla="*/ 1409791 h 4687251"/>
              <a:gd name="connsiteX19910" fmla="*/ 7029817 w 8079933"/>
              <a:gd name="connsiteY19910" fmla="*/ 1399614 h 4687251"/>
              <a:gd name="connsiteX19911" fmla="*/ 7025694 w 8079933"/>
              <a:gd name="connsiteY19911" fmla="*/ 1392035 h 4687251"/>
              <a:gd name="connsiteX19912" fmla="*/ 7020810 w 8079933"/>
              <a:gd name="connsiteY19912" fmla="*/ 1386188 h 4687251"/>
              <a:gd name="connsiteX19913" fmla="*/ 7019508 w 8079933"/>
              <a:gd name="connsiteY19913" fmla="*/ 1380558 h 4687251"/>
              <a:gd name="connsiteX19914" fmla="*/ 7015167 w 8079933"/>
              <a:gd name="connsiteY19914" fmla="*/ 1375686 h 4687251"/>
              <a:gd name="connsiteX19915" fmla="*/ 7017772 w 8079933"/>
              <a:gd name="connsiteY19915" fmla="*/ 1369298 h 4687251"/>
              <a:gd name="connsiteX19916" fmla="*/ 7020810 w 8079933"/>
              <a:gd name="connsiteY19916" fmla="*/ 1366374 h 4687251"/>
              <a:gd name="connsiteX19917" fmla="*/ 7023740 w 8079933"/>
              <a:gd name="connsiteY19917" fmla="*/ 1370380 h 4687251"/>
              <a:gd name="connsiteX19918" fmla="*/ 7027430 w 8079933"/>
              <a:gd name="connsiteY19918" fmla="*/ 1371030 h 4687251"/>
              <a:gd name="connsiteX19919" fmla="*/ 7031228 w 8079933"/>
              <a:gd name="connsiteY19919" fmla="*/ 1368865 h 4687251"/>
              <a:gd name="connsiteX19920" fmla="*/ 7030034 w 8079933"/>
              <a:gd name="connsiteY19920" fmla="*/ 1363992 h 4687251"/>
              <a:gd name="connsiteX19921" fmla="*/ 7026344 w 8079933"/>
              <a:gd name="connsiteY19921" fmla="*/ 1363884 h 4687251"/>
              <a:gd name="connsiteX19922" fmla="*/ 7025476 w 8079933"/>
              <a:gd name="connsiteY19922" fmla="*/ 1360745 h 4687251"/>
              <a:gd name="connsiteX19923" fmla="*/ 7028732 w 8079933"/>
              <a:gd name="connsiteY19923" fmla="*/ 1359337 h 4687251"/>
              <a:gd name="connsiteX19924" fmla="*/ 7030686 w 8079933"/>
              <a:gd name="connsiteY19924" fmla="*/ 1357172 h 4687251"/>
              <a:gd name="connsiteX19925" fmla="*/ 7029492 w 8079933"/>
              <a:gd name="connsiteY19925" fmla="*/ 1353815 h 4687251"/>
              <a:gd name="connsiteX19926" fmla="*/ 7026670 w 8079933"/>
              <a:gd name="connsiteY19926" fmla="*/ 1354249 h 4687251"/>
              <a:gd name="connsiteX19927" fmla="*/ 7024500 w 8079933"/>
              <a:gd name="connsiteY19927" fmla="*/ 1356305 h 4687251"/>
              <a:gd name="connsiteX19928" fmla="*/ 7025151 w 8079933"/>
              <a:gd name="connsiteY19928" fmla="*/ 1350892 h 4687251"/>
              <a:gd name="connsiteX19929" fmla="*/ 7022763 w 8079933"/>
              <a:gd name="connsiteY19929" fmla="*/ 1347102 h 4687251"/>
              <a:gd name="connsiteX19930" fmla="*/ 7014517 w 8079933"/>
              <a:gd name="connsiteY19930" fmla="*/ 1342339 h 4687251"/>
              <a:gd name="connsiteX19931" fmla="*/ 7008331 w 8079933"/>
              <a:gd name="connsiteY19931" fmla="*/ 1335842 h 4687251"/>
              <a:gd name="connsiteX19932" fmla="*/ 7012237 w 8079933"/>
              <a:gd name="connsiteY19932" fmla="*/ 1335409 h 4687251"/>
              <a:gd name="connsiteX19933" fmla="*/ 7015710 w 8079933"/>
              <a:gd name="connsiteY19933" fmla="*/ 1337899 h 4687251"/>
              <a:gd name="connsiteX19934" fmla="*/ 7018423 w 8079933"/>
              <a:gd name="connsiteY19934" fmla="*/ 1336817 h 4687251"/>
              <a:gd name="connsiteX19935" fmla="*/ 7018315 w 8079933"/>
              <a:gd name="connsiteY19935" fmla="*/ 1333352 h 4687251"/>
              <a:gd name="connsiteX19936" fmla="*/ 7016579 w 8079933"/>
              <a:gd name="connsiteY19936" fmla="*/ 1331295 h 4687251"/>
              <a:gd name="connsiteX19937" fmla="*/ 1078872 w 8079933"/>
              <a:gd name="connsiteY19937" fmla="*/ 1328479 h 4687251"/>
              <a:gd name="connsiteX19938" fmla="*/ 1079089 w 8079933"/>
              <a:gd name="connsiteY19938" fmla="*/ 1333785 h 4687251"/>
              <a:gd name="connsiteX19939" fmla="*/ 1075834 w 8079933"/>
              <a:gd name="connsiteY19939" fmla="*/ 1332052 h 4687251"/>
              <a:gd name="connsiteX19940" fmla="*/ 3796562 w 8079933"/>
              <a:gd name="connsiteY19940" fmla="*/ 1327397 h 4687251"/>
              <a:gd name="connsiteX19941" fmla="*/ 3800360 w 8079933"/>
              <a:gd name="connsiteY19941" fmla="*/ 1329238 h 4687251"/>
              <a:gd name="connsiteX19942" fmla="*/ 3799817 w 8079933"/>
              <a:gd name="connsiteY19942" fmla="*/ 1331728 h 4687251"/>
              <a:gd name="connsiteX19943" fmla="*/ 3800360 w 8079933"/>
              <a:gd name="connsiteY19943" fmla="*/ 1336493 h 4687251"/>
              <a:gd name="connsiteX19944" fmla="*/ 2607 w 8079933"/>
              <a:gd name="connsiteY19944" fmla="*/ 1325448 h 4687251"/>
              <a:gd name="connsiteX19945" fmla="*/ 4668 w 8079933"/>
              <a:gd name="connsiteY19945" fmla="*/ 1328697 h 4687251"/>
              <a:gd name="connsiteX19946" fmla="*/ 0 w 8079933"/>
              <a:gd name="connsiteY19946" fmla="*/ 1330212 h 4687251"/>
              <a:gd name="connsiteX19947" fmla="*/ 1072361 w 8079933"/>
              <a:gd name="connsiteY19947" fmla="*/ 1324906 h 4687251"/>
              <a:gd name="connsiteX19948" fmla="*/ 1075942 w 8079933"/>
              <a:gd name="connsiteY19948" fmla="*/ 1326314 h 4687251"/>
              <a:gd name="connsiteX19949" fmla="*/ 1071819 w 8079933"/>
              <a:gd name="connsiteY19949" fmla="*/ 1331078 h 4687251"/>
              <a:gd name="connsiteX19950" fmla="*/ 3066680 w 8079933"/>
              <a:gd name="connsiteY19950" fmla="*/ 1322742 h 4687251"/>
              <a:gd name="connsiteX19951" fmla="*/ 3067547 w 8079933"/>
              <a:gd name="connsiteY19951" fmla="*/ 1324907 h 4687251"/>
              <a:gd name="connsiteX19952" fmla="*/ 3065703 w 8079933"/>
              <a:gd name="connsiteY19952" fmla="*/ 1325991 h 4687251"/>
              <a:gd name="connsiteX19953" fmla="*/ 3062448 w 8079933"/>
              <a:gd name="connsiteY19953" fmla="*/ 1323825 h 4687251"/>
              <a:gd name="connsiteX19954" fmla="*/ 3064401 w 8079933"/>
              <a:gd name="connsiteY19954" fmla="*/ 1322850 h 4687251"/>
              <a:gd name="connsiteX19955" fmla="*/ 6883537 w 8079933"/>
              <a:gd name="connsiteY19955" fmla="*/ 1320576 h 4687251"/>
              <a:gd name="connsiteX19956" fmla="*/ 6884622 w 8079933"/>
              <a:gd name="connsiteY19956" fmla="*/ 1323499 h 4687251"/>
              <a:gd name="connsiteX19957" fmla="*/ 6882777 w 8079933"/>
              <a:gd name="connsiteY19957" fmla="*/ 1326314 h 4687251"/>
              <a:gd name="connsiteX19958" fmla="*/ 6884187 w 8079933"/>
              <a:gd name="connsiteY19958" fmla="*/ 1329670 h 4687251"/>
              <a:gd name="connsiteX19959" fmla="*/ 6882560 w 8079933"/>
              <a:gd name="connsiteY19959" fmla="*/ 1330862 h 4687251"/>
              <a:gd name="connsiteX19960" fmla="*/ 6879847 w 8079933"/>
              <a:gd name="connsiteY19960" fmla="*/ 1329129 h 4687251"/>
              <a:gd name="connsiteX19961" fmla="*/ 6878327 w 8079933"/>
              <a:gd name="connsiteY19961" fmla="*/ 1330753 h 4687251"/>
              <a:gd name="connsiteX19962" fmla="*/ 6878327 w 8079933"/>
              <a:gd name="connsiteY19962" fmla="*/ 1331945 h 4687251"/>
              <a:gd name="connsiteX19963" fmla="*/ 6876591 w 8079933"/>
              <a:gd name="connsiteY19963" fmla="*/ 1332811 h 4687251"/>
              <a:gd name="connsiteX19964" fmla="*/ 6874638 w 8079933"/>
              <a:gd name="connsiteY19964" fmla="*/ 1329454 h 4687251"/>
              <a:gd name="connsiteX19965" fmla="*/ 6874747 w 8079933"/>
              <a:gd name="connsiteY19965" fmla="*/ 1325556 h 4687251"/>
              <a:gd name="connsiteX19966" fmla="*/ 6879413 w 8079933"/>
              <a:gd name="connsiteY19966" fmla="*/ 1323824 h 4687251"/>
              <a:gd name="connsiteX19967" fmla="*/ 6882126 w 8079933"/>
              <a:gd name="connsiteY19967" fmla="*/ 1320792 h 4687251"/>
              <a:gd name="connsiteX19968" fmla="*/ 2955233 w 8079933"/>
              <a:gd name="connsiteY19968" fmla="*/ 1320034 h 4687251"/>
              <a:gd name="connsiteX19969" fmla="*/ 2958814 w 8079933"/>
              <a:gd name="connsiteY19969" fmla="*/ 1320900 h 4687251"/>
              <a:gd name="connsiteX19970" fmla="*/ 2960224 w 8079933"/>
              <a:gd name="connsiteY19970" fmla="*/ 1324364 h 4687251"/>
              <a:gd name="connsiteX19971" fmla="*/ 2956860 w 8079933"/>
              <a:gd name="connsiteY19971" fmla="*/ 1325772 h 4687251"/>
              <a:gd name="connsiteX19972" fmla="*/ 2955775 w 8079933"/>
              <a:gd name="connsiteY19972" fmla="*/ 1323390 h 4687251"/>
              <a:gd name="connsiteX19973" fmla="*/ 2953822 w 8079933"/>
              <a:gd name="connsiteY19973" fmla="*/ 1322957 h 4687251"/>
              <a:gd name="connsiteX19974" fmla="*/ 2953280 w 8079933"/>
              <a:gd name="connsiteY19974" fmla="*/ 1321333 h 4687251"/>
              <a:gd name="connsiteX19975" fmla="*/ 2980952 w 8079933"/>
              <a:gd name="connsiteY19975" fmla="*/ 1317436 h 4687251"/>
              <a:gd name="connsiteX19976" fmla="*/ 2982905 w 8079933"/>
              <a:gd name="connsiteY19976" fmla="*/ 1318736 h 4687251"/>
              <a:gd name="connsiteX19977" fmla="*/ 2982688 w 8079933"/>
              <a:gd name="connsiteY19977" fmla="*/ 1321118 h 4687251"/>
              <a:gd name="connsiteX19978" fmla="*/ 2979758 w 8079933"/>
              <a:gd name="connsiteY19978" fmla="*/ 1321118 h 4687251"/>
              <a:gd name="connsiteX19979" fmla="*/ 2979107 w 8079933"/>
              <a:gd name="connsiteY19979" fmla="*/ 1318519 h 4687251"/>
              <a:gd name="connsiteX19980" fmla="*/ 4026293 w 8079933"/>
              <a:gd name="connsiteY19980" fmla="*/ 1317328 h 4687251"/>
              <a:gd name="connsiteX19981" fmla="*/ 4031827 w 8079933"/>
              <a:gd name="connsiteY19981" fmla="*/ 1319926 h 4687251"/>
              <a:gd name="connsiteX19982" fmla="*/ 4027270 w 8079933"/>
              <a:gd name="connsiteY19982" fmla="*/ 1320793 h 4687251"/>
              <a:gd name="connsiteX19983" fmla="*/ 6895363 w 8079933"/>
              <a:gd name="connsiteY19983" fmla="*/ 1317111 h 4687251"/>
              <a:gd name="connsiteX19984" fmla="*/ 6898728 w 8079933"/>
              <a:gd name="connsiteY19984" fmla="*/ 1318843 h 4687251"/>
              <a:gd name="connsiteX19985" fmla="*/ 6903828 w 8079933"/>
              <a:gd name="connsiteY19985" fmla="*/ 1317869 h 4687251"/>
              <a:gd name="connsiteX19986" fmla="*/ 6905130 w 8079933"/>
              <a:gd name="connsiteY19986" fmla="*/ 1318843 h 4687251"/>
              <a:gd name="connsiteX19987" fmla="*/ 6904804 w 8079933"/>
              <a:gd name="connsiteY19987" fmla="*/ 1320684 h 4687251"/>
              <a:gd name="connsiteX19988" fmla="*/ 6902851 w 8079933"/>
              <a:gd name="connsiteY19988" fmla="*/ 1323715 h 4687251"/>
              <a:gd name="connsiteX19989" fmla="*/ 6903828 w 8079933"/>
              <a:gd name="connsiteY19989" fmla="*/ 1325015 h 4687251"/>
              <a:gd name="connsiteX19990" fmla="*/ 6906324 w 8079933"/>
              <a:gd name="connsiteY19990" fmla="*/ 1323391 h 4687251"/>
              <a:gd name="connsiteX19991" fmla="*/ 6907192 w 8079933"/>
              <a:gd name="connsiteY19991" fmla="*/ 1321225 h 4687251"/>
              <a:gd name="connsiteX19992" fmla="*/ 6911099 w 8079933"/>
              <a:gd name="connsiteY19992" fmla="*/ 1321225 h 4687251"/>
              <a:gd name="connsiteX19993" fmla="*/ 6910230 w 8079933"/>
              <a:gd name="connsiteY19993" fmla="*/ 1323391 h 4687251"/>
              <a:gd name="connsiteX19994" fmla="*/ 6907517 w 8079933"/>
              <a:gd name="connsiteY19994" fmla="*/ 1325989 h 4687251"/>
              <a:gd name="connsiteX19995" fmla="*/ 6907410 w 8079933"/>
              <a:gd name="connsiteY19995" fmla="*/ 1329021 h 4687251"/>
              <a:gd name="connsiteX19996" fmla="*/ 6909037 w 8079933"/>
              <a:gd name="connsiteY19996" fmla="*/ 1331511 h 4687251"/>
              <a:gd name="connsiteX19997" fmla="*/ 6907626 w 8079933"/>
              <a:gd name="connsiteY19997" fmla="*/ 1334326 h 4687251"/>
              <a:gd name="connsiteX19998" fmla="*/ 6905021 w 8079933"/>
              <a:gd name="connsiteY19998" fmla="*/ 1336925 h 4687251"/>
              <a:gd name="connsiteX19999" fmla="*/ 6901115 w 8079933"/>
              <a:gd name="connsiteY19999" fmla="*/ 1335842 h 4687251"/>
              <a:gd name="connsiteX20000" fmla="*/ 6898076 w 8079933"/>
              <a:gd name="connsiteY20000" fmla="*/ 1332486 h 4687251"/>
              <a:gd name="connsiteX20001" fmla="*/ 6895906 w 8079933"/>
              <a:gd name="connsiteY20001" fmla="*/ 1331944 h 4687251"/>
              <a:gd name="connsiteX20002" fmla="*/ 6894496 w 8079933"/>
              <a:gd name="connsiteY20002" fmla="*/ 1333460 h 4687251"/>
              <a:gd name="connsiteX20003" fmla="*/ 6893845 w 8079933"/>
              <a:gd name="connsiteY20003" fmla="*/ 1335733 h 4687251"/>
              <a:gd name="connsiteX20004" fmla="*/ 6892326 w 8079933"/>
              <a:gd name="connsiteY20004" fmla="*/ 1336383 h 4687251"/>
              <a:gd name="connsiteX20005" fmla="*/ 6888527 w 8079933"/>
              <a:gd name="connsiteY20005" fmla="*/ 1329995 h 4687251"/>
              <a:gd name="connsiteX20006" fmla="*/ 6888527 w 8079933"/>
              <a:gd name="connsiteY20006" fmla="*/ 1326422 h 4687251"/>
              <a:gd name="connsiteX20007" fmla="*/ 6891566 w 8079933"/>
              <a:gd name="connsiteY20007" fmla="*/ 1323823 h 4687251"/>
              <a:gd name="connsiteX20008" fmla="*/ 6892868 w 8079933"/>
              <a:gd name="connsiteY20008" fmla="*/ 1319493 h 4687251"/>
              <a:gd name="connsiteX20009" fmla="*/ 2994407 w 8079933"/>
              <a:gd name="connsiteY20009" fmla="*/ 1317111 h 4687251"/>
              <a:gd name="connsiteX20010" fmla="*/ 2995058 w 8079933"/>
              <a:gd name="connsiteY20010" fmla="*/ 1318627 h 4687251"/>
              <a:gd name="connsiteX20011" fmla="*/ 2992129 w 8079933"/>
              <a:gd name="connsiteY20011" fmla="*/ 1320359 h 4687251"/>
              <a:gd name="connsiteX20012" fmla="*/ 2989308 w 8079933"/>
              <a:gd name="connsiteY20012" fmla="*/ 1320468 h 4687251"/>
              <a:gd name="connsiteX20013" fmla="*/ 2988331 w 8079933"/>
              <a:gd name="connsiteY20013" fmla="*/ 1319601 h 4687251"/>
              <a:gd name="connsiteX20014" fmla="*/ 2990935 w 8079933"/>
              <a:gd name="connsiteY20014" fmla="*/ 1317327 h 4687251"/>
              <a:gd name="connsiteX20015" fmla="*/ 3799276 w 8079933"/>
              <a:gd name="connsiteY20015" fmla="*/ 1316354 h 4687251"/>
              <a:gd name="connsiteX20016" fmla="*/ 3800795 w 8079933"/>
              <a:gd name="connsiteY20016" fmla="*/ 1318627 h 4687251"/>
              <a:gd name="connsiteX20017" fmla="*/ 3800578 w 8079933"/>
              <a:gd name="connsiteY20017" fmla="*/ 1321876 h 4687251"/>
              <a:gd name="connsiteX20018" fmla="*/ 3797106 w 8079933"/>
              <a:gd name="connsiteY20018" fmla="*/ 1317762 h 4687251"/>
              <a:gd name="connsiteX20019" fmla="*/ 6078 w 8079933"/>
              <a:gd name="connsiteY20019" fmla="*/ 1315271 h 4687251"/>
              <a:gd name="connsiteX20020" fmla="*/ 10526 w 8079933"/>
              <a:gd name="connsiteY20020" fmla="*/ 1317112 h 4687251"/>
              <a:gd name="connsiteX20021" fmla="*/ 5643 w 8079933"/>
              <a:gd name="connsiteY20021" fmla="*/ 1320902 h 4687251"/>
              <a:gd name="connsiteX20022" fmla="*/ 2931 w 8079933"/>
              <a:gd name="connsiteY20022" fmla="*/ 1317545 h 4687251"/>
              <a:gd name="connsiteX20023" fmla="*/ 135104 w 8079933"/>
              <a:gd name="connsiteY20023" fmla="*/ 1313539 h 4687251"/>
              <a:gd name="connsiteX20024" fmla="*/ 146605 w 8079933"/>
              <a:gd name="connsiteY20024" fmla="*/ 1315812 h 4687251"/>
              <a:gd name="connsiteX20025" fmla="*/ 149861 w 8079933"/>
              <a:gd name="connsiteY20025" fmla="*/ 1314947 h 4687251"/>
              <a:gd name="connsiteX20026" fmla="*/ 153551 w 8079933"/>
              <a:gd name="connsiteY20026" fmla="*/ 1317653 h 4687251"/>
              <a:gd name="connsiteX20027" fmla="*/ 147910 w 8079933"/>
              <a:gd name="connsiteY20027" fmla="*/ 1319061 h 4687251"/>
              <a:gd name="connsiteX20028" fmla="*/ 137057 w 8079933"/>
              <a:gd name="connsiteY20028" fmla="*/ 1316354 h 4687251"/>
              <a:gd name="connsiteX20029" fmla="*/ 133150 w 8079933"/>
              <a:gd name="connsiteY20029" fmla="*/ 1317436 h 4687251"/>
              <a:gd name="connsiteX20030" fmla="*/ 130654 w 8079933"/>
              <a:gd name="connsiteY20030" fmla="*/ 1314838 h 4687251"/>
              <a:gd name="connsiteX20031" fmla="*/ 1135953 w 8079933"/>
              <a:gd name="connsiteY20031" fmla="*/ 1311481 h 4687251"/>
              <a:gd name="connsiteX20032" fmla="*/ 1137798 w 8079933"/>
              <a:gd name="connsiteY20032" fmla="*/ 1316461 h 4687251"/>
              <a:gd name="connsiteX20033" fmla="*/ 1135953 w 8079933"/>
              <a:gd name="connsiteY20033" fmla="*/ 1321766 h 4687251"/>
              <a:gd name="connsiteX20034" fmla="*/ 1137472 w 8079933"/>
              <a:gd name="connsiteY20034" fmla="*/ 1325772 h 4687251"/>
              <a:gd name="connsiteX20035" fmla="*/ 1131287 w 8079933"/>
              <a:gd name="connsiteY20035" fmla="*/ 1334650 h 4687251"/>
              <a:gd name="connsiteX20036" fmla="*/ 1124016 w 8079933"/>
              <a:gd name="connsiteY20036" fmla="*/ 1340497 h 4687251"/>
              <a:gd name="connsiteX20037" fmla="*/ 1121846 w 8079933"/>
              <a:gd name="connsiteY20037" fmla="*/ 1338115 h 4687251"/>
              <a:gd name="connsiteX20038" fmla="*/ 1124884 w 8079933"/>
              <a:gd name="connsiteY20038" fmla="*/ 1332810 h 4687251"/>
              <a:gd name="connsiteX20039" fmla="*/ 1129659 w 8079933"/>
              <a:gd name="connsiteY20039" fmla="*/ 1329345 h 4687251"/>
              <a:gd name="connsiteX20040" fmla="*/ 1129659 w 8079933"/>
              <a:gd name="connsiteY20040" fmla="*/ 1327288 h 4687251"/>
              <a:gd name="connsiteX20041" fmla="*/ 1120869 w 8079933"/>
              <a:gd name="connsiteY20041" fmla="*/ 1331619 h 4687251"/>
              <a:gd name="connsiteX20042" fmla="*/ 1119350 w 8079933"/>
              <a:gd name="connsiteY20042" fmla="*/ 1328804 h 4687251"/>
              <a:gd name="connsiteX20043" fmla="*/ 1123365 w 8079933"/>
              <a:gd name="connsiteY20043" fmla="*/ 1324907 h 4687251"/>
              <a:gd name="connsiteX20044" fmla="*/ 1122931 w 8079933"/>
              <a:gd name="connsiteY20044" fmla="*/ 1322633 h 4687251"/>
              <a:gd name="connsiteX20045" fmla="*/ 1125426 w 8079933"/>
              <a:gd name="connsiteY20045" fmla="*/ 1316136 h 4687251"/>
              <a:gd name="connsiteX20046" fmla="*/ 1130202 w 8079933"/>
              <a:gd name="connsiteY20046" fmla="*/ 1314079 h 4687251"/>
              <a:gd name="connsiteX20047" fmla="*/ 1130419 w 8079933"/>
              <a:gd name="connsiteY20047" fmla="*/ 1311697 h 4687251"/>
              <a:gd name="connsiteX20048" fmla="*/ 4027813 w 8079933"/>
              <a:gd name="connsiteY20048" fmla="*/ 1309099 h 4687251"/>
              <a:gd name="connsiteX20049" fmla="*/ 4032262 w 8079933"/>
              <a:gd name="connsiteY20049" fmla="*/ 1312022 h 4687251"/>
              <a:gd name="connsiteX20050" fmla="*/ 4030091 w 8079933"/>
              <a:gd name="connsiteY20050" fmla="*/ 1314946 h 4687251"/>
              <a:gd name="connsiteX20051" fmla="*/ 4174643 w 8079933"/>
              <a:gd name="connsiteY20051" fmla="*/ 1308019 h 4687251"/>
              <a:gd name="connsiteX20052" fmla="*/ 4174960 w 8079933"/>
              <a:gd name="connsiteY20052" fmla="*/ 1316678 h 4687251"/>
              <a:gd name="connsiteX20053" fmla="*/ 4174961 w 8079933"/>
              <a:gd name="connsiteY20053" fmla="*/ 1316678 h 4687251"/>
              <a:gd name="connsiteX20054" fmla="*/ 1085058 w 8079933"/>
              <a:gd name="connsiteY20054" fmla="*/ 1306826 h 4687251"/>
              <a:gd name="connsiteX20055" fmla="*/ 1086794 w 8079933"/>
              <a:gd name="connsiteY20055" fmla="*/ 1309749 h 4687251"/>
              <a:gd name="connsiteX20056" fmla="*/ 1084407 w 8079933"/>
              <a:gd name="connsiteY20056" fmla="*/ 1311481 h 4687251"/>
              <a:gd name="connsiteX20057" fmla="*/ 1082345 w 8079933"/>
              <a:gd name="connsiteY20057" fmla="*/ 1308775 h 4687251"/>
              <a:gd name="connsiteX20058" fmla="*/ 65760 w 8079933"/>
              <a:gd name="connsiteY20058" fmla="*/ 1306826 h 4687251"/>
              <a:gd name="connsiteX20059" fmla="*/ 68040 w 8079933"/>
              <a:gd name="connsiteY20059" fmla="*/ 1307584 h 4687251"/>
              <a:gd name="connsiteX20060" fmla="*/ 69775 w 8079933"/>
              <a:gd name="connsiteY20060" fmla="*/ 1313755 h 4687251"/>
              <a:gd name="connsiteX20061" fmla="*/ 64026 w 8079933"/>
              <a:gd name="connsiteY20061" fmla="*/ 1318845 h 4687251"/>
              <a:gd name="connsiteX20062" fmla="*/ 58925 w 8079933"/>
              <a:gd name="connsiteY20062" fmla="*/ 1318845 h 4687251"/>
              <a:gd name="connsiteX20063" fmla="*/ 61745 w 8079933"/>
              <a:gd name="connsiteY20063" fmla="*/ 1312998 h 4687251"/>
              <a:gd name="connsiteX20064" fmla="*/ 64242 w 8079933"/>
              <a:gd name="connsiteY20064" fmla="*/ 1312132 h 4687251"/>
              <a:gd name="connsiteX20065" fmla="*/ 54910 w 8079933"/>
              <a:gd name="connsiteY20065" fmla="*/ 1305634 h 4687251"/>
              <a:gd name="connsiteX20066" fmla="*/ 56539 w 8079933"/>
              <a:gd name="connsiteY20066" fmla="*/ 1306825 h 4687251"/>
              <a:gd name="connsiteX20067" fmla="*/ 53932 w 8079933"/>
              <a:gd name="connsiteY20067" fmla="*/ 1310723 h 4687251"/>
              <a:gd name="connsiteX20068" fmla="*/ 53392 w 8079933"/>
              <a:gd name="connsiteY20068" fmla="*/ 1315054 h 4687251"/>
              <a:gd name="connsiteX20069" fmla="*/ 47639 w 8079933"/>
              <a:gd name="connsiteY20069" fmla="*/ 1318626 h 4687251"/>
              <a:gd name="connsiteX20070" fmla="*/ 44927 w 8079933"/>
              <a:gd name="connsiteY20070" fmla="*/ 1317111 h 4687251"/>
              <a:gd name="connsiteX20071" fmla="*/ 48834 w 8079933"/>
              <a:gd name="connsiteY20071" fmla="*/ 1314187 h 4687251"/>
              <a:gd name="connsiteX20072" fmla="*/ 50571 w 8079933"/>
              <a:gd name="connsiteY20072" fmla="*/ 1309965 h 4687251"/>
              <a:gd name="connsiteX20073" fmla="*/ 170263 w 8079933"/>
              <a:gd name="connsiteY20073" fmla="*/ 1304769 h 4687251"/>
              <a:gd name="connsiteX20074" fmla="*/ 174711 w 8079933"/>
              <a:gd name="connsiteY20074" fmla="*/ 1307692 h 4687251"/>
              <a:gd name="connsiteX20075" fmla="*/ 169503 w 8079933"/>
              <a:gd name="connsiteY20075" fmla="*/ 1310291 h 4687251"/>
              <a:gd name="connsiteX20076" fmla="*/ 162775 w 8079933"/>
              <a:gd name="connsiteY20076" fmla="*/ 1310291 h 4687251"/>
              <a:gd name="connsiteX20077" fmla="*/ 164402 w 8079933"/>
              <a:gd name="connsiteY20077" fmla="*/ 1305418 h 4687251"/>
              <a:gd name="connsiteX20078" fmla="*/ 1157981 w 8079933"/>
              <a:gd name="connsiteY20078" fmla="*/ 1304444 h 4687251"/>
              <a:gd name="connsiteX20079" fmla="*/ 1157981 w 8079933"/>
              <a:gd name="connsiteY20079" fmla="*/ 1304444 h 4687251"/>
              <a:gd name="connsiteX20080" fmla="*/ 1158516 w 8079933"/>
              <a:gd name="connsiteY20080" fmla="*/ 1304700 h 4687251"/>
              <a:gd name="connsiteX20081" fmla="*/ 3787882 w 8079933"/>
              <a:gd name="connsiteY20081" fmla="*/ 1302820 h 4687251"/>
              <a:gd name="connsiteX20082" fmla="*/ 3792222 w 8079933"/>
              <a:gd name="connsiteY20082" fmla="*/ 1308234 h 4687251"/>
              <a:gd name="connsiteX20083" fmla="*/ 3788533 w 8079933"/>
              <a:gd name="connsiteY20083" fmla="*/ 1307042 h 4687251"/>
              <a:gd name="connsiteX20084" fmla="*/ 15843 w 8079933"/>
              <a:gd name="connsiteY20084" fmla="*/ 1302387 h 4687251"/>
              <a:gd name="connsiteX20085" fmla="*/ 15194 w 8079933"/>
              <a:gd name="connsiteY20085" fmla="*/ 1307151 h 4687251"/>
              <a:gd name="connsiteX20086" fmla="*/ 12046 w 8079933"/>
              <a:gd name="connsiteY20086" fmla="*/ 1304119 h 4687251"/>
              <a:gd name="connsiteX20087" fmla="*/ 33099 w 8079933"/>
              <a:gd name="connsiteY20087" fmla="*/ 1301304 h 4687251"/>
              <a:gd name="connsiteX20088" fmla="*/ 36678 w 8079933"/>
              <a:gd name="connsiteY20088" fmla="*/ 1301737 h 4687251"/>
              <a:gd name="connsiteX20089" fmla="*/ 42214 w 8079933"/>
              <a:gd name="connsiteY20089" fmla="*/ 1307692 h 4687251"/>
              <a:gd name="connsiteX20090" fmla="*/ 39283 w 8079933"/>
              <a:gd name="connsiteY20090" fmla="*/ 1309316 h 4687251"/>
              <a:gd name="connsiteX20091" fmla="*/ 36354 w 8079933"/>
              <a:gd name="connsiteY20091" fmla="*/ 1312997 h 4687251"/>
              <a:gd name="connsiteX20092" fmla="*/ 32773 w 8079933"/>
              <a:gd name="connsiteY20092" fmla="*/ 1313863 h 4687251"/>
              <a:gd name="connsiteX20093" fmla="*/ 31469 w 8079933"/>
              <a:gd name="connsiteY20093" fmla="*/ 1310182 h 4687251"/>
              <a:gd name="connsiteX20094" fmla="*/ 35487 w 8079933"/>
              <a:gd name="connsiteY20094" fmla="*/ 1309208 h 4687251"/>
              <a:gd name="connsiteX20095" fmla="*/ 30494 w 8079933"/>
              <a:gd name="connsiteY20095" fmla="*/ 1306934 h 4687251"/>
              <a:gd name="connsiteX20096" fmla="*/ 29517 w 8079933"/>
              <a:gd name="connsiteY20096" fmla="*/ 1304335 h 4687251"/>
              <a:gd name="connsiteX20097" fmla="*/ 199019 w 8079933"/>
              <a:gd name="connsiteY20097" fmla="*/ 1300005 h 4687251"/>
              <a:gd name="connsiteX20098" fmla="*/ 201081 w 8079933"/>
              <a:gd name="connsiteY20098" fmla="*/ 1305960 h 4687251"/>
              <a:gd name="connsiteX20099" fmla="*/ 196958 w 8079933"/>
              <a:gd name="connsiteY20099" fmla="*/ 1304444 h 4687251"/>
              <a:gd name="connsiteX20100" fmla="*/ 4041266 w 8079933"/>
              <a:gd name="connsiteY20100" fmla="*/ 1299463 h 4687251"/>
              <a:gd name="connsiteX20101" fmla="*/ 4042677 w 8079933"/>
              <a:gd name="connsiteY20101" fmla="*/ 1303252 h 4687251"/>
              <a:gd name="connsiteX20102" fmla="*/ 4038120 w 8079933"/>
              <a:gd name="connsiteY20102" fmla="*/ 1303361 h 4687251"/>
              <a:gd name="connsiteX20103" fmla="*/ 126312 w 8079933"/>
              <a:gd name="connsiteY20103" fmla="*/ 1299247 h 4687251"/>
              <a:gd name="connsiteX20104" fmla="*/ 129676 w 8079933"/>
              <a:gd name="connsiteY20104" fmla="*/ 1300438 h 4687251"/>
              <a:gd name="connsiteX20105" fmla="*/ 130546 w 8079933"/>
              <a:gd name="connsiteY20105" fmla="*/ 1305418 h 4687251"/>
              <a:gd name="connsiteX20106" fmla="*/ 127074 w 8079933"/>
              <a:gd name="connsiteY20106" fmla="*/ 1307691 h 4687251"/>
              <a:gd name="connsiteX20107" fmla="*/ 127290 w 8079933"/>
              <a:gd name="connsiteY20107" fmla="*/ 1311805 h 4687251"/>
              <a:gd name="connsiteX20108" fmla="*/ 121538 w 8079933"/>
              <a:gd name="connsiteY20108" fmla="*/ 1311048 h 4687251"/>
              <a:gd name="connsiteX20109" fmla="*/ 115789 w 8079933"/>
              <a:gd name="connsiteY20109" fmla="*/ 1313213 h 4687251"/>
              <a:gd name="connsiteX20110" fmla="*/ 110796 w 8079933"/>
              <a:gd name="connsiteY20110" fmla="*/ 1312672 h 4687251"/>
              <a:gd name="connsiteX20111" fmla="*/ 108299 w 8079933"/>
              <a:gd name="connsiteY20111" fmla="*/ 1313646 h 4687251"/>
              <a:gd name="connsiteX20112" fmla="*/ 104828 w 8079933"/>
              <a:gd name="connsiteY20112" fmla="*/ 1311048 h 4687251"/>
              <a:gd name="connsiteX20113" fmla="*/ 106238 w 8079933"/>
              <a:gd name="connsiteY20113" fmla="*/ 1308774 h 4687251"/>
              <a:gd name="connsiteX20114" fmla="*/ 110037 w 8079933"/>
              <a:gd name="connsiteY20114" fmla="*/ 1309857 h 4687251"/>
              <a:gd name="connsiteX20115" fmla="*/ 113182 w 8079933"/>
              <a:gd name="connsiteY20115" fmla="*/ 1309965 h 4687251"/>
              <a:gd name="connsiteX20116" fmla="*/ 116764 w 8079933"/>
              <a:gd name="connsiteY20116" fmla="*/ 1306393 h 4687251"/>
              <a:gd name="connsiteX20117" fmla="*/ 119150 w 8079933"/>
              <a:gd name="connsiteY20117" fmla="*/ 1307367 h 4687251"/>
              <a:gd name="connsiteX20118" fmla="*/ 121430 w 8079933"/>
              <a:gd name="connsiteY20118" fmla="*/ 1306067 h 4687251"/>
              <a:gd name="connsiteX20119" fmla="*/ 121646 w 8079933"/>
              <a:gd name="connsiteY20119" fmla="*/ 1302387 h 4687251"/>
              <a:gd name="connsiteX20120" fmla="*/ 1116745 w 8079933"/>
              <a:gd name="connsiteY20120" fmla="*/ 1298922 h 4687251"/>
              <a:gd name="connsiteX20121" fmla="*/ 1119349 w 8079933"/>
              <a:gd name="connsiteY20121" fmla="*/ 1299571 h 4687251"/>
              <a:gd name="connsiteX20122" fmla="*/ 1119349 w 8079933"/>
              <a:gd name="connsiteY20122" fmla="*/ 1304660 h 4687251"/>
              <a:gd name="connsiteX20123" fmla="*/ 1115876 w 8079933"/>
              <a:gd name="connsiteY20123" fmla="*/ 1306826 h 4687251"/>
              <a:gd name="connsiteX20124" fmla="*/ 1113381 w 8079933"/>
              <a:gd name="connsiteY20124" fmla="*/ 1306176 h 4687251"/>
              <a:gd name="connsiteX20125" fmla="*/ 1069106 w 8079933"/>
              <a:gd name="connsiteY20125" fmla="*/ 1298922 h 4687251"/>
              <a:gd name="connsiteX20126" fmla="*/ 1072470 w 8079933"/>
              <a:gd name="connsiteY20126" fmla="*/ 1300654 h 4687251"/>
              <a:gd name="connsiteX20127" fmla="*/ 1070083 w 8079933"/>
              <a:gd name="connsiteY20127" fmla="*/ 1302712 h 4687251"/>
              <a:gd name="connsiteX20128" fmla="*/ 4176262 w 8079933"/>
              <a:gd name="connsiteY20128" fmla="*/ 1298922 h 4687251"/>
              <a:gd name="connsiteX20129" fmla="*/ 4174635 w 8079933"/>
              <a:gd name="connsiteY20129" fmla="*/ 1307799 h 4687251"/>
              <a:gd name="connsiteX20130" fmla="*/ 4174635 w 8079933"/>
              <a:gd name="connsiteY20130" fmla="*/ 1307800 h 4687251"/>
              <a:gd name="connsiteX20131" fmla="*/ 4176262 w 8079933"/>
              <a:gd name="connsiteY20131" fmla="*/ 1298922 h 4687251"/>
              <a:gd name="connsiteX20132" fmla="*/ 3792873 w 8079933"/>
              <a:gd name="connsiteY20132" fmla="*/ 1298706 h 4687251"/>
              <a:gd name="connsiteX20133" fmla="*/ 3798842 w 8079933"/>
              <a:gd name="connsiteY20133" fmla="*/ 1308667 h 4687251"/>
              <a:gd name="connsiteX20134" fmla="*/ 3803399 w 8079933"/>
              <a:gd name="connsiteY20134" fmla="*/ 1312132 h 4687251"/>
              <a:gd name="connsiteX20135" fmla="*/ 3799492 w 8079933"/>
              <a:gd name="connsiteY20135" fmla="*/ 1312023 h 4687251"/>
              <a:gd name="connsiteX20136" fmla="*/ 3793199 w 8079933"/>
              <a:gd name="connsiteY20136" fmla="*/ 1305743 h 4687251"/>
              <a:gd name="connsiteX20137" fmla="*/ 3791354 w 8079933"/>
              <a:gd name="connsiteY20137" fmla="*/ 1300655 h 4687251"/>
              <a:gd name="connsiteX20138" fmla="*/ 3795261 w 8079933"/>
              <a:gd name="connsiteY20138" fmla="*/ 1297947 h 4687251"/>
              <a:gd name="connsiteX20139" fmla="*/ 3797757 w 8079933"/>
              <a:gd name="connsiteY20139" fmla="*/ 1297947 h 4687251"/>
              <a:gd name="connsiteX20140" fmla="*/ 3802314 w 8079933"/>
              <a:gd name="connsiteY20140" fmla="*/ 1301087 h 4687251"/>
              <a:gd name="connsiteX20141" fmla="*/ 3802314 w 8079933"/>
              <a:gd name="connsiteY20141" fmla="*/ 1305094 h 4687251"/>
              <a:gd name="connsiteX20142" fmla="*/ 3799168 w 8079933"/>
              <a:gd name="connsiteY20142" fmla="*/ 1304010 h 4687251"/>
              <a:gd name="connsiteX20143" fmla="*/ 3802314 w 8079933"/>
              <a:gd name="connsiteY20143" fmla="*/ 1297730 h 4687251"/>
              <a:gd name="connsiteX20144" fmla="*/ 3804159 w 8079933"/>
              <a:gd name="connsiteY20144" fmla="*/ 1297838 h 4687251"/>
              <a:gd name="connsiteX20145" fmla="*/ 3805027 w 8079933"/>
              <a:gd name="connsiteY20145" fmla="*/ 1300979 h 4687251"/>
              <a:gd name="connsiteX20146" fmla="*/ 4045609 w 8079933"/>
              <a:gd name="connsiteY20146" fmla="*/ 1296540 h 4687251"/>
              <a:gd name="connsiteX20147" fmla="*/ 4048973 w 8079933"/>
              <a:gd name="connsiteY20147" fmla="*/ 1297514 h 4687251"/>
              <a:gd name="connsiteX20148" fmla="*/ 4050601 w 8079933"/>
              <a:gd name="connsiteY20148" fmla="*/ 1300330 h 4687251"/>
              <a:gd name="connsiteX20149" fmla="*/ 4045718 w 8079933"/>
              <a:gd name="connsiteY20149" fmla="*/ 1303253 h 4687251"/>
              <a:gd name="connsiteX20150" fmla="*/ 228104 w 8079933"/>
              <a:gd name="connsiteY20150" fmla="*/ 1295024 h 4687251"/>
              <a:gd name="connsiteX20151" fmla="*/ 230817 w 8079933"/>
              <a:gd name="connsiteY20151" fmla="*/ 1297406 h 4687251"/>
              <a:gd name="connsiteX20152" fmla="*/ 228428 w 8079933"/>
              <a:gd name="connsiteY20152" fmla="*/ 1298706 h 4687251"/>
              <a:gd name="connsiteX20153" fmla="*/ 225174 w 8079933"/>
              <a:gd name="connsiteY20153" fmla="*/ 1297189 h 4687251"/>
              <a:gd name="connsiteX20154" fmla="*/ 1091134 w 8079933"/>
              <a:gd name="connsiteY20154" fmla="*/ 1294375 h 4687251"/>
              <a:gd name="connsiteX20155" fmla="*/ 1094172 w 8079933"/>
              <a:gd name="connsiteY20155" fmla="*/ 1296973 h 4687251"/>
              <a:gd name="connsiteX20156" fmla="*/ 1091459 w 8079933"/>
              <a:gd name="connsiteY20156" fmla="*/ 1300005 h 4687251"/>
              <a:gd name="connsiteX20157" fmla="*/ 1088854 w 8079933"/>
              <a:gd name="connsiteY20157" fmla="*/ 1300005 h 4687251"/>
              <a:gd name="connsiteX20158" fmla="*/ 1085708 w 8079933"/>
              <a:gd name="connsiteY20158" fmla="*/ 1302279 h 4687251"/>
              <a:gd name="connsiteX20159" fmla="*/ 1083321 w 8079933"/>
              <a:gd name="connsiteY20159" fmla="*/ 1301304 h 4687251"/>
              <a:gd name="connsiteX20160" fmla="*/ 1087010 w 8079933"/>
              <a:gd name="connsiteY20160" fmla="*/ 1295783 h 4687251"/>
              <a:gd name="connsiteX20161" fmla="*/ 214538 w 8079933"/>
              <a:gd name="connsiteY20161" fmla="*/ 1294158 h 4687251"/>
              <a:gd name="connsiteX20162" fmla="*/ 218986 w 8079933"/>
              <a:gd name="connsiteY20162" fmla="*/ 1298272 h 4687251"/>
              <a:gd name="connsiteX20163" fmla="*/ 215190 w 8079933"/>
              <a:gd name="connsiteY20163" fmla="*/ 1297948 h 4687251"/>
              <a:gd name="connsiteX20164" fmla="*/ 209980 w 8079933"/>
              <a:gd name="connsiteY20164" fmla="*/ 1302171 h 4687251"/>
              <a:gd name="connsiteX20165" fmla="*/ 210416 w 8079933"/>
              <a:gd name="connsiteY20165" fmla="*/ 1297948 h 4687251"/>
              <a:gd name="connsiteX20166" fmla="*/ 2548514 w 8079933"/>
              <a:gd name="connsiteY20166" fmla="*/ 1293508 h 4687251"/>
              <a:gd name="connsiteX20167" fmla="*/ 2549057 w 8079933"/>
              <a:gd name="connsiteY20167" fmla="*/ 1295240 h 4687251"/>
              <a:gd name="connsiteX20168" fmla="*/ 2548623 w 8079933"/>
              <a:gd name="connsiteY20168" fmla="*/ 1297730 h 4687251"/>
              <a:gd name="connsiteX20169" fmla="*/ 2549816 w 8079933"/>
              <a:gd name="connsiteY20169" fmla="*/ 1298597 h 4687251"/>
              <a:gd name="connsiteX20170" fmla="*/ 2549599 w 8079933"/>
              <a:gd name="connsiteY20170" fmla="*/ 1300762 h 4687251"/>
              <a:gd name="connsiteX20171" fmla="*/ 2546127 w 8079933"/>
              <a:gd name="connsiteY20171" fmla="*/ 1303360 h 4687251"/>
              <a:gd name="connsiteX20172" fmla="*/ 2544391 w 8079933"/>
              <a:gd name="connsiteY20172" fmla="*/ 1305851 h 4687251"/>
              <a:gd name="connsiteX20173" fmla="*/ 2541243 w 8079933"/>
              <a:gd name="connsiteY20173" fmla="*/ 1305959 h 4687251"/>
              <a:gd name="connsiteX20174" fmla="*/ 2536903 w 8079933"/>
              <a:gd name="connsiteY20174" fmla="*/ 1309424 h 4687251"/>
              <a:gd name="connsiteX20175" fmla="*/ 2535058 w 8079933"/>
              <a:gd name="connsiteY20175" fmla="*/ 1309424 h 4687251"/>
              <a:gd name="connsiteX20176" fmla="*/ 2534407 w 8079933"/>
              <a:gd name="connsiteY20176" fmla="*/ 1306608 h 4687251"/>
              <a:gd name="connsiteX20177" fmla="*/ 2535817 w 8079933"/>
              <a:gd name="connsiteY20177" fmla="*/ 1302602 h 4687251"/>
              <a:gd name="connsiteX20178" fmla="*/ 2537771 w 8079933"/>
              <a:gd name="connsiteY20178" fmla="*/ 1300437 h 4687251"/>
              <a:gd name="connsiteX20179" fmla="*/ 2538205 w 8079933"/>
              <a:gd name="connsiteY20179" fmla="*/ 1298271 h 4687251"/>
              <a:gd name="connsiteX20180" fmla="*/ 2543088 w 8079933"/>
              <a:gd name="connsiteY20180" fmla="*/ 1294157 h 4687251"/>
              <a:gd name="connsiteX20181" fmla="*/ 1152068 w 8079933"/>
              <a:gd name="connsiteY20181" fmla="*/ 1292851 h 4687251"/>
              <a:gd name="connsiteX20182" fmla="*/ 1155267 w 8079933"/>
              <a:gd name="connsiteY20182" fmla="*/ 1295025 h 4687251"/>
              <a:gd name="connsiteX20183" fmla="*/ 1156137 w 8079933"/>
              <a:gd name="connsiteY20183" fmla="*/ 1296760 h 4687251"/>
              <a:gd name="connsiteX20184" fmla="*/ 1155267 w 8079933"/>
              <a:gd name="connsiteY20184" fmla="*/ 1295024 h 4687251"/>
              <a:gd name="connsiteX20185" fmla="*/ 1118480 w 8079933"/>
              <a:gd name="connsiteY20185" fmla="*/ 1291885 h 4687251"/>
              <a:gd name="connsiteX20186" fmla="*/ 1118480 w 8079933"/>
              <a:gd name="connsiteY20186" fmla="*/ 1295133 h 4687251"/>
              <a:gd name="connsiteX20187" fmla="*/ 1116093 w 8079933"/>
              <a:gd name="connsiteY20187" fmla="*/ 1297515 h 4687251"/>
              <a:gd name="connsiteX20188" fmla="*/ 1113488 w 8079933"/>
              <a:gd name="connsiteY20188" fmla="*/ 1301522 h 4687251"/>
              <a:gd name="connsiteX20189" fmla="*/ 1110125 w 8079933"/>
              <a:gd name="connsiteY20189" fmla="*/ 1300763 h 4687251"/>
              <a:gd name="connsiteX20190" fmla="*/ 1110776 w 8079933"/>
              <a:gd name="connsiteY20190" fmla="*/ 1296865 h 4687251"/>
              <a:gd name="connsiteX20191" fmla="*/ 238630 w 8079933"/>
              <a:gd name="connsiteY20191" fmla="*/ 1290802 h 4687251"/>
              <a:gd name="connsiteX20192" fmla="*/ 240476 w 8079933"/>
              <a:gd name="connsiteY20192" fmla="*/ 1293400 h 4687251"/>
              <a:gd name="connsiteX20193" fmla="*/ 237112 w 8079933"/>
              <a:gd name="connsiteY20193" fmla="*/ 1295674 h 4687251"/>
              <a:gd name="connsiteX20194" fmla="*/ 233637 w 8079933"/>
              <a:gd name="connsiteY20194" fmla="*/ 1292967 h 4687251"/>
              <a:gd name="connsiteX20195" fmla="*/ 1124232 w 8079933"/>
              <a:gd name="connsiteY20195" fmla="*/ 1290368 h 4687251"/>
              <a:gd name="connsiteX20196" fmla="*/ 1125751 w 8079933"/>
              <a:gd name="connsiteY20196" fmla="*/ 1291667 h 4687251"/>
              <a:gd name="connsiteX20197" fmla="*/ 1125534 w 8079933"/>
              <a:gd name="connsiteY20197" fmla="*/ 1296864 h 4687251"/>
              <a:gd name="connsiteX20198" fmla="*/ 1122821 w 8079933"/>
              <a:gd name="connsiteY20198" fmla="*/ 1300329 h 4687251"/>
              <a:gd name="connsiteX20199" fmla="*/ 1120217 w 8079933"/>
              <a:gd name="connsiteY20199" fmla="*/ 1296756 h 4687251"/>
              <a:gd name="connsiteX20200" fmla="*/ 1121953 w 8079933"/>
              <a:gd name="connsiteY20200" fmla="*/ 1294266 h 4687251"/>
              <a:gd name="connsiteX20201" fmla="*/ 1094714 w 8079933"/>
              <a:gd name="connsiteY20201" fmla="*/ 1287228 h 4687251"/>
              <a:gd name="connsiteX20202" fmla="*/ 1098730 w 8079933"/>
              <a:gd name="connsiteY20202" fmla="*/ 1288311 h 4687251"/>
              <a:gd name="connsiteX20203" fmla="*/ 1101768 w 8079933"/>
              <a:gd name="connsiteY20203" fmla="*/ 1293291 h 4687251"/>
              <a:gd name="connsiteX20204" fmla="*/ 1098730 w 8079933"/>
              <a:gd name="connsiteY20204" fmla="*/ 1297730 h 4687251"/>
              <a:gd name="connsiteX20205" fmla="*/ 1097645 w 8079933"/>
              <a:gd name="connsiteY20205" fmla="*/ 1300437 h 4687251"/>
              <a:gd name="connsiteX20206" fmla="*/ 1100466 w 8079933"/>
              <a:gd name="connsiteY20206" fmla="*/ 1303360 h 4687251"/>
              <a:gd name="connsiteX20207" fmla="*/ 1101660 w 8079933"/>
              <a:gd name="connsiteY20207" fmla="*/ 1302711 h 4687251"/>
              <a:gd name="connsiteX20208" fmla="*/ 1106978 w 8079933"/>
              <a:gd name="connsiteY20208" fmla="*/ 1305850 h 4687251"/>
              <a:gd name="connsiteX20209" fmla="*/ 1107194 w 8079933"/>
              <a:gd name="connsiteY20209" fmla="*/ 1312888 h 4687251"/>
              <a:gd name="connsiteX20210" fmla="*/ 1103830 w 8079933"/>
              <a:gd name="connsiteY20210" fmla="*/ 1313213 h 4687251"/>
              <a:gd name="connsiteX20211" fmla="*/ 1107846 w 8079933"/>
              <a:gd name="connsiteY20211" fmla="*/ 1317544 h 4687251"/>
              <a:gd name="connsiteX20212" fmla="*/ 1107846 w 8079933"/>
              <a:gd name="connsiteY20212" fmla="*/ 1320900 h 4687251"/>
              <a:gd name="connsiteX20213" fmla="*/ 1104373 w 8079933"/>
              <a:gd name="connsiteY20213" fmla="*/ 1321225 h 4687251"/>
              <a:gd name="connsiteX20214" fmla="*/ 1103179 w 8079933"/>
              <a:gd name="connsiteY20214" fmla="*/ 1320034 h 4687251"/>
              <a:gd name="connsiteX20215" fmla="*/ 1101117 w 8079933"/>
              <a:gd name="connsiteY20215" fmla="*/ 1324581 h 4687251"/>
              <a:gd name="connsiteX20216" fmla="*/ 1106434 w 8079933"/>
              <a:gd name="connsiteY20216" fmla="*/ 1328371 h 4687251"/>
              <a:gd name="connsiteX20217" fmla="*/ 1108822 w 8079933"/>
              <a:gd name="connsiteY20217" fmla="*/ 1332485 h 4687251"/>
              <a:gd name="connsiteX20218" fmla="*/ 1104047 w 8079933"/>
              <a:gd name="connsiteY20218" fmla="*/ 1335409 h 4687251"/>
              <a:gd name="connsiteX20219" fmla="*/ 1103505 w 8079933"/>
              <a:gd name="connsiteY20219" fmla="*/ 1336924 h 4687251"/>
              <a:gd name="connsiteX20220" fmla="*/ 1106760 w 8079933"/>
              <a:gd name="connsiteY20220" fmla="*/ 1336383 h 4687251"/>
              <a:gd name="connsiteX20221" fmla="*/ 1108714 w 8079933"/>
              <a:gd name="connsiteY20221" fmla="*/ 1337466 h 4687251"/>
              <a:gd name="connsiteX20222" fmla="*/ 1108714 w 8079933"/>
              <a:gd name="connsiteY20222" fmla="*/ 1340822 h 4687251"/>
              <a:gd name="connsiteX20223" fmla="*/ 1104373 w 8079933"/>
              <a:gd name="connsiteY20223" fmla="*/ 1343745 h 4687251"/>
              <a:gd name="connsiteX20224" fmla="*/ 1101660 w 8079933"/>
              <a:gd name="connsiteY20224" fmla="*/ 1344503 h 4687251"/>
              <a:gd name="connsiteX20225" fmla="*/ 1099598 w 8079933"/>
              <a:gd name="connsiteY20225" fmla="*/ 1348293 h 4687251"/>
              <a:gd name="connsiteX20226" fmla="*/ 1101660 w 8079933"/>
              <a:gd name="connsiteY20226" fmla="*/ 1348401 h 4687251"/>
              <a:gd name="connsiteX20227" fmla="*/ 1103505 w 8079933"/>
              <a:gd name="connsiteY20227" fmla="*/ 1350891 h 4687251"/>
              <a:gd name="connsiteX20228" fmla="*/ 1101443 w 8079933"/>
              <a:gd name="connsiteY20228" fmla="*/ 1352948 h 4687251"/>
              <a:gd name="connsiteX20229" fmla="*/ 1103396 w 8079933"/>
              <a:gd name="connsiteY20229" fmla="*/ 1356197 h 4687251"/>
              <a:gd name="connsiteX20230" fmla="*/ 1100792 w 8079933"/>
              <a:gd name="connsiteY20230" fmla="*/ 1358578 h 4687251"/>
              <a:gd name="connsiteX20231" fmla="*/ 1096777 w 8079933"/>
              <a:gd name="connsiteY20231" fmla="*/ 1358795 h 4687251"/>
              <a:gd name="connsiteX20232" fmla="*/ 1094606 w 8079933"/>
              <a:gd name="connsiteY20232" fmla="*/ 1356846 h 4687251"/>
              <a:gd name="connsiteX20233" fmla="*/ 1095909 w 8079933"/>
              <a:gd name="connsiteY20233" fmla="*/ 1352948 h 4687251"/>
              <a:gd name="connsiteX20234" fmla="*/ 1091459 w 8079933"/>
              <a:gd name="connsiteY20234" fmla="*/ 1349268 h 4687251"/>
              <a:gd name="connsiteX20235" fmla="*/ 1092110 w 8079933"/>
              <a:gd name="connsiteY20235" fmla="*/ 1345694 h 4687251"/>
              <a:gd name="connsiteX20236" fmla="*/ 1095257 w 8079933"/>
              <a:gd name="connsiteY20236" fmla="*/ 1342987 h 4687251"/>
              <a:gd name="connsiteX20237" fmla="*/ 1092653 w 8079933"/>
              <a:gd name="connsiteY20237" fmla="*/ 1340064 h 4687251"/>
              <a:gd name="connsiteX20238" fmla="*/ 1093521 w 8079933"/>
              <a:gd name="connsiteY20238" fmla="*/ 1337466 h 4687251"/>
              <a:gd name="connsiteX20239" fmla="*/ 1096994 w 8079933"/>
              <a:gd name="connsiteY20239" fmla="*/ 1335409 h 4687251"/>
              <a:gd name="connsiteX20240" fmla="*/ 1095040 w 8079933"/>
              <a:gd name="connsiteY20240" fmla="*/ 1333135 h 4687251"/>
              <a:gd name="connsiteX20241" fmla="*/ 1092002 w 8079933"/>
              <a:gd name="connsiteY20241" fmla="*/ 1333784 h 4687251"/>
              <a:gd name="connsiteX20242" fmla="*/ 1090591 w 8079933"/>
              <a:gd name="connsiteY20242" fmla="*/ 1336275 h 4687251"/>
              <a:gd name="connsiteX20243" fmla="*/ 1088746 w 8079933"/>
              <a:gd name="connsiteY20243" fmla="*/ 1334001 h 4687251"/>
              <a:gd name="connsiteX20244" fmla="*/ 1085273 w 8079933"/>
              <a:gd name="connsiteY20244" fmla="*/ 1334001 h 4687251"/>
              <a:gd name="connsiteX20245" fmla="*/ 1083863 w 8079933"/>
              <a:gd name="connsiteY20245" fmla="*/ 1331619 h 4687251"/>
              <a:gd name="connsiteX20246" fmla="*/ 1085599 w 8079933"/>
              <a:gd name="connsiteY20246" fmla="*/ 1329021 h 4687251"/>
              <a:gd name="connsiteX20247" fmla="*/ 1088203 w 8079933"/>
              <a:gd name="connsiteY20247" fmla="*/ 1329021 h 4687251"/>
              <a:gd name="connsiteX20248" fmla="*/ 1089397 w 8079933"/>
              <a:gd name="connsiteY20248" fmla="*/ 1325772 h 4687251"/>
              <a:gd name="connsiteX20249" fmla="*/ 1089397 w 8079933"/>
              <a:gd name="connsiteY20249" fmla="*/ 1323715 h 4687251"/>
              <a:gd name="connsiteX20250" fmla="*/ 1094172 w 8079933"/>
              <a:gd name="connsiteY20250" fmla="*/ 1320034 h 4687251"/>
              <a:gd name="connsiteX20251" fmla="*/ 1094172 w 8079933"/>
              <a:gd name="connsiteY20251" fmla="*/ 1317869 h 4687251"/>
              <a:gd name="connsiteX20252" fmla="*/ 1091459 w 8079933"/>
              <a:gd name="connsiteY20252" fmla="*/ 1317111 h 4687251"/>
              <a:gd name="connsiteX20253" fmla="*/ 1088746 w 8079933"/>
              <a:gd name="connsiteY20253" fmla="*/ 1317977 h 4687251"/>
              <a:gd name="connsiteX20254" fmla="*/ 1087553 w 8079933"/>
              <a:gd name="connsiteY20254" fmla="*/ 1316136 h 4687251"/>
              <a:gd name="connsiteX20255" fmla="*/ 1088854 w 8079933"/>
              <a:gd name="connsiteY20255" fmla="*/ 1314079 h 4687251"/>
              <a:gd name="connsiteX20256" fmla="*/ 1093304 w 8079933"/>
              <a:gd name="connsiteY20256" fmla="*/ 1312888 h 4687251"/>
              <a:gd name="connsiteX20257" fmla="*/ 1094606 w 8079933"/>
              <a:gd name="connsiteY20257" fmla="*/ 1308340 h 4687251"/>
              <a:gd name="connsiteX20258" fmla="*/ 1094172 w 8079933"/>
              <a:gd name="connsiteY20258" fmla="*/ 1304876 h 4687251"/>
              <a:gd name="connsiteX20259" fmla="*/ 1096342 w 8079933"/>
              <a:gd name="connsiteY20259" fmla="*/ 1298163 h 4687251"/>
              <a:gd name="connsiteX20260" fmla="*/ 1095257 w 8079933"/>
              <a:gd name="connsiteY20260" fmla="*/ 1293724 h 4687251"/>
              <a:gd name="connsiteX20261" fmla="*/ 1092002 w 8079933"/>
              <a:gd name="connsiteY20261" fmla="*/ 1289718 h 4687251"/>
              <a:gd name="connsiteX20262" fmla="*/ 231360 w 8079933"/>
              <a:gd name="connsiteY20262" fmla="*/ 1287228 h 4687251"/>
              <a:gd name="connsiteX20263" fmla="*/ 232551 w 8079933"/>
              <a:gd name="connsiteY20263" fmla="*/ 1289934 h 4687251"/>
              <a:gd name="connsiteX20264" fmla="*/ 228104 w 8079933"/>
              <a:gd name="connsiteY20264" fmla="*/ 1290152 h 4687251"/>
              <a:gd name="connsiteX20265" fmla="*/ 4173292 w 8079933"/>
              <a:gd name="connsiteY20265" fmla="*/ 1284978 h 4687251"/>
              <a:gd name="connsiteX20266" fmla="*/ 4174960 w 8079933"/>
              <a:gd name="connsiteY20266" fmla="*/ 1289393 h 4687251"/>
              <a:gd name="connsiteX20267" fmla="*/ 4176133 w 8079933"/>
              <a:gd name="connsiteY20267" fmla="*/ 1297974 h 4687251"/>
              <a:gd name="connsiteX20268" fmla="*/ 4174961 w 8079933"/>
              <a:gd name="connsiteY20268" fmla="*/ 1289394 h 4687251"/>
              <a:gd name="connsiteX20269" fmla="*/ 1109256 w 8079933"/>
              <a:gd name="connsiteY20269" fmla="*/ 1284955 h 4687251"/>
              <a:gd name="connsiteX20270" fmla="*/ 1116744 w 8079933"/>
              <a:gd name="connsiteY20270" fmla="*/ 1285712 h 4687251"/>
              <a:gd name="connsiteX20271" fmla="*/ 1116093 w 8079933"/>
              <a:gd name="connsiteY20271" fmla="*/ 1288744 h 4687251"/>
              <a:gd name="connsiteX20272" fmla="*/ 1111644 w 8079933"/>
              <a:gd name="connsiteY20272" fmla="*/ 1294483 h 4687251"/>
              <a:gd name="connsiteX20273" fmla="*/ 1107628 w 8079933"/>
              <a:gd name="connsiteY20273" fmla="*/ 1292750 h 4687251"/>
              <a:gd name="connsiteX20274" fmla="*/ 1105241 w 8079933"/>
              <a:gd name="connsiteY20274" fmla="*/ 1288961 h 4687251"/>
              <a:gd name="connsiteX20275" fmla="*/ 1134216 w 8079933"/>
              <a:gd name="connsiteY20275" fmla="*/ 1278567 h 4687251"/>
              <a:gd name="connsiteX20276" fmla="*/ 1134216 w 8079933"/>
              <a:gd name="connsiteY20276" fmla="*/ 1278568 h 4687251"/>
              <a:gd name="connsiteX20277" fmla="*/ 1138231 w 8079933"/>
              <a:gd name="connsiteY20277" fmla="*/ 1278676 h 4687251"/>
              <a:gd name="connsiteX20278" fmla="*/ 1141486 w 8079933"/>
              <a:gd name="connsiteY20278" fmla="*/ 1279975 h 4687251"/>
              <a:gd name="connsiteX20279" fmla="*/ 1141486 w 8079933"/>
              <a:gd name="connsiteY20279" fmla="*/ 1279975 h 4687251"/>
              <a:gd name="connsiteX20280" fmla="*/ 1138230 w 8079933"/>
              <a:gd name="connsiteY20280" fmla="*/ 1278675 h 4687251"/>
              <a:gd name="connsiteX20281" fmla="*/ 3087840 w 8079933"/>
              <a:gd name="connsiteY20281" fmla="*/ 1275753 h 4687251"/>
              <a:gd name="connsiteX20282" fmla="*/ 3087298 w 8079933"/>
              <a:gd name="connsiteY20282" fmla="*/ 1277485 h 4687251"/>
              <a:gd name="connsiteX20283" fmla="*/ 3086538 w 8079933"/>
              <a:gd name="connsiteY20283" fmla="*/ 1276077 h 4687251"/>
              <a:gd name="connsiteX20284" fmla="*/ 4174526 w 8079933"/>
              <a:gd name="connsiteY20284" fmla="*/ 1275427 h 4687251"/>
              <a:gd name="connsiteX20285" fmla="*/ 4172464 w 8079933"/>
              <a:gd name="connsiteY20285" fmla="*/ 1282789 h 4687251"/>
              <a:gd name="connsiteX20286" fmla="*/ 4172464 w 8079933"/>
              <a:gd name="connsiteY20286" fmla="*/ 1282789 h 4687251"/>
              <a:gd name="connsiteX20287" fmla="*/ 4174526 w 8079933"/>
              <a:gd name="connsiteY20287" fmla="*/ 1275428 h 4687251"/>
              <a:gd name="connsiteX20288" fmla="*/ 3090227 w 8079933"/>
              <a:gd name="connsiteY20288" fmla="*/ 1269255 h 4687251"/>
              <a:gd name="connsiteX20289" fmla="*/ 3090119 w 8079933"/>
              <a:gd name="connsiteY20289" fmla="*/ 1271637 h 4687251"/>
              <a:gd name="connsiteX20290" fmla="*/ 3088600 w 8079933"/>
              <a:gd name="connsiteY20290" fmla="*/ 1272612 h 4687251"/>
              <a:gd name="connsiteX20291" fmla="*/ 3089034 w 8079933"/>
              <a:gd name="connsiteY20291" fmla="*/ 1270013 h 4687251"/>
              <a:gd name="connsiteX20292" fmla="*/ 1119674 w 8079933"/>
              <a:gd name="connsiteY20292" fmla="*/ 1268823 h 4687251"/>
              <a:gd name="connsiteX20293" fmla="*/ 1122170 w 8079933"/>
              <a:gd name="connsiteY20293" fmla="*/ 1276402 h 4687251"/>
              <a:gd name="connsiteX20294" fmla="*/ 1119240 w 8079933"/>
              <a:gd name="connsiteY20294" fmla="*/ 1280840 h 4687251"/>
              <a:gd name="connsiteX20295" fmla="*/ 1113489 w 8079933"/>
              <a:gd name="connsiteY20295" fmla="*/ 1282465 h 4687251"/>
              <a:gd name="connsiteX20296" fmla="*/ 1111753 w 8079933"/>
              <a:gd name="connsiteY20296" fmla="*/ 1280191 h 4687251"/>
              <a:gd name="connsiteX20297" fmla="*/ 1111753 w 8079933"/>
              <a:gd name="connsiteY20297" fmla="*/ 1277268 h 4687251"/>
              <a:gd name="connsiteX20298" fmla="*/ 1116310 w 8079933"/>
              <a:gd name="connsiteY20298" fmla="*/ 1270555 h 4687251"/>
              <a:gd name="connsiteX20299" fmla="*/ 288980 w 8079933"/>
              <a:gd name="connsiteY20299" fmla="*/ 1267308 h 4687251"/>
              <a:gd name="connsiteX20300" fmla="*/ 290500 w 8079933"/>
              <a:gd name="connsiteY20300" fmla="*/ 1272288 h 4687251"/>
              <a:gd name="connsiteX20301" fmla="*/ 293649 w 8079933"/>
              <a:gd name="connsiteY20301" fmla="*/ 1272938 h 4687251"/>
              <a:gd name="connsiteX20302" fmla="*/ 288980 w 8079933"/>
              <a:gd name="connsiteY20302" fmla="*/ 1274886 h 4687251"/>
              <a:gd name="connsiteX20303" fmla="*/ 287462 w 8079933"/>
              <a:gd name="connsiteY20303" fmla="*/ 1279326 h 4687251"/>
              <a:gd name="connsiteX20304" fmla="*/ 280408 w 8079933"/>
              <a:gd name="connsiteY20304" fmla="*/ 1281925 h 4687251"/>
              <a:gd name="connsiteX20305" fmla="*/ 272813 w 8079933"/>
              <a:gd name="connsiteY20305" fmla="*/ 1290370 h 4687251"/>
              <a:gd name="connsiteX20306" fmla="*/ 266410 w 8079933"/>
              <a:gd name="connsiteY20306" fmla="*/ 1290370 h 4687251"/>
              <a:gd name="connsiteX20307" fmla="*/ 261201 w 8079933"/>
              <a:gd name="connsiteY20307" fmla="*/ 1296217 h 4687251"/>
              <a:gd name="connsiteX20308" fmla="*/ 252196 w 8079933"/>
              <a:gd name="connsiteY20308" fmla="*/ 1296217 h 4687251"/>
              <a:gd name="connsiteX20309" fmla="*/ 256862 w 8079933"/>
              <a:gd name="connsiteY20309" fmla="*/ 1292102 h 4687251"/>
              <a:gd name="connsiteX20310" fmla="*/ 259572 w 8079933"/>
              <a:gd name="connsiteY20310" fmla="*/ 1292102 h 4687251"/>
              <a:gd name="connsiteX20311" fmla="*/ 262830 w 8079933"/>
              <a:gd name="connsiteY20311" fmla="*/ 1286797 h 4687251"/>
              <a:gd name="connsiteX20312" fmla="*/ 265762 w 8079933"/>
              <a:gd name="connsiteY20312" fmla="*/ 1285064 h 4687251"/>
              <a:gd name="connsiteX20313" fmla="*/ 265762 w 8079933"/>
              <a:gd name="connsiteY20313" fmla="*/ 1282682 h 4687251"/>
              <a:gd name="connsiteX20314" fmla="*/ 271619 w 8079933"/>
              <a:gd name="connsiteY20314" fmla="*/ 1277702 h 4687251"/>
              <a:gd name="connsiteX20315" fmla="*/ 276285 w 8079933"/>
              <a:gd name="connsiteY20315" fmla="*/ 1276836 h 4687251"/>
              <a:gd name="connsiteX20316" fmla="*/ 278130 w 8079933"/>
              <a:gd name="connsiteY20316" fmla="*/ 1272397 h 4687251"/>
              <a:gd name="connsiteX20317" fmla="*/ 276936 w 8079933"/>
              <a:gd name="connsiteY20317" fmla="*/ 1269690 h 4687251"/>
              <a:gd name="connsiteX20318" fmla="*/ 284533 w 8079933"/>
              <a:gd name="connsiteY20318" fmla="*/ 1269690 h 4687251"/>
              <a:gd name="connsiteX20319" fmla="*/ 288980 w 8079933"/>
              <a:gd name="connsiteY20319" fmla="*/ 1267308 h 4687251"/>
              <a:gd name="connsiteX20320" fmla="*/ 4092271 w 8079933"/>
              <a:gd name="connsiteY20320" fmla="*/ 1262110 h 4687251"/>
              <a:gd name="connsiteX20321" fmla="*/ 4093465 w 8079933"/>
              <a:gd name="connsiteY20321" fmla="*/ 1267307 h 4687251"/>
              <a:gd name="connsiteX20322" fmla="*/ 4091077 w 8079933"/>
              <a:gd name="connsiteY20322" fmla="*/ 1269473 h 4687251"/>
              <a:gd name="connsiteX20323" fmla="*/ 4088039 w 8079933"/>
              <a:gd name="connsiteY20323" fmla="*/ 1266874 h 4687251"/>
              <a:gd name="connsiteX20324" fmla="*/ 3093157 w 8079933"/>
              <a:gd name="connsiteY20324" fmla="*/ 1261244 h 4687251"/>
              <a:gd name="connsiteX20325" fmla="*/ 3092506 w 8079933"/>
              <a:gd name="connsiteY20325" fmla="*/ 1263084 h 4687251"/>
              <a:gd name="connsiteX20326" fmla="*/ 3091313 w 8079933"/>
              <a:gd name="connsiteY20326" fmla="*/ 1263301 h 4687251"/>
              <a:gd name="connsiteX20327" fmla="*/ 3090879 w 8079933"/>
              <a:gd name="connsiteY20327" fmla="*/ 1261893 h 4687251"/>
              <a:gd name="connsiteX20328" fmla="*/ 3091530 w 8079933"/>
              <a:gd name="connsiteY20328" fmla="*/ 1261352 h 4687251"/>
              <a:gd name="connsiteX20329" fmla="*/ 2611778 w 8079933"/>
              <a:gd name="connsiteY20329" fmla="*/ 1258862 h 4687251"/>
              <a:gd name="connsiteX20330" fmla="*/ 2618832 w 8079933"/>
              <a:gd name="connsiteY20330" fmla="*/ 1259945 h 4687251"/>
              <a:gd name="connsiteX20331" fmla="*/ 2623390 w 8079933"/>
              <a:gd name="connsiteY20331" fmla="*/ 1262543 h 4687251"/>
              <a:gd name="connsiteX20332" fmla="*/ 2623715 w 8079933"/>
              <a:gd name="connsiteY20332" fmla="*/ 1264492 h 4687251"/>
              <a:gd name="connsiteX20333" fmla="*/ 2621437 w 8079933"/>
              <a:gd name="connsiteY20333" fmla="*/ 1266116 h 4687251"/>
              <a:gd name="connsiteX20334" fmla="*/ 2621002 w 8079933"/>
              <a:gd name="connsiteY20334" fmla="*/ 1268823 h 4687251"/>
              <a:gd name="connsiteX20335" fmla="*/ 2619266 w 8079933"/>
              <a:gd name="connsiteY20335" fmla="*/ 1270339 h 4687251"/>
              <a:gd name="connsiteX20336" fmla="*/ 2618289 w 8079933"/>
              <a:gd name="connsiteY20336" fmla="*/ 1272829 h 4687251"/>
              <a:gd name="connsiteX20337" fmla="*/ 2617204 w 8079933"/>
              <a:gd name="connsiteY20337" fmla="*/ 1273154 h 4687251"/>
              <a:gd name="connsiteX20338" fmla="*/ 2615468 w 8079933"/>
              <a:gd name="connsiteY20338" fmla="*/ 1271421 h 4687251"/>
              <a:gd name="connsiteX20339" fmla="*/ 2615251 w 8079933"/>
              <a:gd name="connsiteY20339" fmla="*/ 1268715 h 4687251"/>
              <a:gd name="connsiteX20340" fmla="*/ 2612972 w 8079933"/>
              <a:gd name="connsiteY20340" fmla="*/ 1266982 h 4687251"/>
              <a:gd name="connsiteX20341" fmla="*/ 2610476 w 8079933"/>
              <a:gd name="connsiteY20341" fmla="*/ 1266441 h 4687251"/>
              <a:gd name="connsiteX20342" fmla="*/ 2607546 w 8079933"/>
              <a:gd name="connsiteY20342" fmla="*/ 1262976 h 4687251"/>
              <a:gd name="connsiteX20343" fmla="*/ 2607546 w 8079933"/>
              <a:gd name="connsiteY20343" fmla="*/ 1260486 h 4687251"/>
              <a:gd name="connsiteX20344" fmla="*/ 2609499 w 8079933"/>
              <a:gd name="connsiteY20344" fmla="*/ 1260053 h 4687251"/>
              <a:gd name="connsiteX20345" fmla="*/ 1087662 w 8079933"/>
              <a:gd name="connsiteY20345" fmla="*/ 1256263 h 4687251"/>
              <a:gd name="connsiteX20346" fmla="*/ 1089940 w 8079933"/>
              <a:gd name="connsiteY20346" fmla="*/ 1256263 h 4687251"/>
              <a:gd name="connsiteX20347" fmla="*/ 1094064 w 8079933"/>
              <a:gd name="connsiteY20347" fmla="*/ 1262001 h 4687251"/>
              <a:gd name="connsiteX20348" fmla="*/ 1092111 w 8079933"/>
              <a:gd name="connsiteY20348" fmla="*/ 1265791 h 4687251"/>
              <a:gd name="connsiteX20349" fmla="*/ 1092653 w 8079933"/>
              <a:gd name="connsiteY20349" fmla="*/ 1268714 h 4687251"/>
              <a:gd name="connsiteX20350" fmla="*/ 1095041 w 8079933"/>
              <a:gd name="connsiteY20350" fmla="*/ 1265899 h 4687251"/>
              <a:gd name="connsiteX20351" fmla="*/ 1096668 w 8079933"/>
              <a:gd name="connsiteY20351" fmla="*/ 1268281 h 4687251"/>
              <a:gd name="connsiteX20352" fmla="*/ 1092979 w 8079933"/>
              <a:gd name="connsiteY20352" fmla="*/ 1277809 h 4687251"/>
              <a:gd name="connsiteX20353" fmla="*/ 1085925 w 8079933"/>
              <a:gd name="connsiteY20353" fmla="*/ 1285171 h 4687251"/>
              <a:gd name="connsiteX20354" fmla="*/ 1086034 w 8079933"/>
              <a:gd name="connsiteY20354" fmla="*/ 1289285 h 4687251"/>
              <a:gd name="connsiteX20355" fmla="*/ 1083646 w 8079933"/>
              <a:gd name="connsiteY20355" fmla="*/ 1292750 h 4687251"/>
              <a:gd name="connsiteX20356" fmla="*/ 1078871 w 8079933"/>
              <a:gd name="connsiteY20356" fmla="*/ 1294266 h 4687251"/>
              <a:gd name="connsiteX20357" fmla="*/ 1080608 w 8079933"/>
              <a:gd name="connsiteY20357" fmla="*/ 1289826 h 4687251"/>
              <a:gd name="connsiteX20358" fmla="*/ 1079089 w 8079933"/>
              <a:gd name="connsiteY20358" fmla="*/ 1287228 h 4687251"/>
              <a:gd name="connsiteX20359" fmla="*/ 1076267 w 8079933"/>
              <a:gd name="connsiteY20359" fmla="*/ 1295673 h 4687251"/>
              <a:gd name="connsiteX20360" fmla="*/ 1074531 w 8079933"/>
              <a:gd name="connsiteY20360" fmla="*/ 1293399 h 4687251"/>
              <a:gd name="connsiteX20361" fmla="*/ 1075073 w 8079933"/>
              <a:gd name="connsiteY20361" fmla="*/ 1289935 h 4687251"/>
              <a:gd name="connsiteX20362" fmla="*/ 1077135 w 8079933"/>
              <a:gd name="connsiteY20362" fmla="*/ 1286254 h 4687251"/>
              <a:gd name="connsiteX20363" fmla="*/ 1076810 w 8079933"/>
              <a:gd name="connsiteY20363" fmla="*/ 1283655 h 4687251"/>
              <a:gd name="connsiteX20364" fmla="*/ 1078763 w 8079933"/>
              <a:gd name="connsiteY20364" fmla="*/ 1280191 h 4687251"/>
              <a:gd name="connsiteX20365" fmla="*/ 1081476 w 8079933"/>
              <a:gd name="connsiteY20365" fmla="*/ 1282464 h 4687251"/>
              <a:gd name="connsiteX20366" fmla="*/ 1083864 w 8079933"/>
              <a:gd name="connsiteY20366" fmla="*/ 1279866 h 4687251"/>
              <a:gd name="connsiteX20367" fmla="*/ 1084080 w 8079933"/>
              <a:gd name="connsiteY20367" fmla="*/ 1276726 h 4687251"/>
              <a:gd name="connsiteX20368" fmla="*/ 1080282 w 8079933"/>
              <a:gd name="connsiteY20368" fmla="*/ 1274128 h 4687251"/>
              <a:gd name="connsiteX20369" fmla="*/ 1083646 w 8079933"/>
              <a:gd name="connsiteY20369" fmla="*/ 1269363 h 4687251"/>
              <a:gd name="connsiteX20370" fmla="*/ 1081259 w 8079933"/>
              <a:gd name="connsiteY20370" fmla="*/ 1267306 h 4687251"/>
              <a:gd name="connsiteX20371" fmla="*/ 1081802 w 8079933"/>
              <a:gd name="connsiteY20371" fmla="*/ 1262326 h 4687251"/>
              <a:gd name="connsiteX20372" fmla="*/ 1083646 w 8079933"/>
              <a:gd name="connsiteY20372" fmla="*/ 1259403 h 4687251"/>
              <a:gd name="connsiteX20373" fmla="*/ 1087878 w 8079933"/>
              <a:gd name="connsiteY20373" fmla="*/ 1261135 h 4687251"/>
              <a:gd name="connsiteX20374" fmla="*/ 4083046 w 8079933"/>
              <a:gd name="connsiteY20374" fmla="*/ 1255505 h 4687251"/>
              <a:gd name="connsiteX20375" fmla="*/ 4088037 w 8079933"/>
              <a:gd name="connsiteY20375" fmla="*/ 1255505 h 4687251"/>
              <a:gd name="connsiteX20376" fmla="*/ 4089448 w 8079933"/>
              <a:gd name="connsiteY20376" fmla="*/ 1259078 h 4687251"/>
              <a:gd name="connsiteX20377" fmla="*/ 4087603 w 8079933"/>
              <a:gd name="connsiteY20377" fmla="*/ 1260595 h 4687251"/>
              <a:gd name="connsiteX20378" fmla="*/ 4349998 w 8079933"/>
              <a:gd name="connsiteY20378" fmla="*/ 1253557 h 4687251"/>
              <a:gd name="connsiteX20379" fmla="*/ 4352819 w 8079933"/>
              <a:gd name="connsiteY20379" fmla="*/ 1255939 h 4687251"/>
              <a:gd name="connsiteX20380" fmla="*/ 4355858 w 8079933"/>
              <a:gd name="connsiteY20380" fmla="*/ 1254423 h 4687251"/>
              <a:gd name="connsiteX20381" fmla="*/ 4355423 w 8079933"/>
              <a:gd name="connsiteY20381" fmla="*/ 1258429 h 4687251"/>
              <a:gd name="connsiteX20382" fmla="*/ 4351192 w 8079933"/>
              <a:gd name="connsiteY20382" fmla="*/ 1260812 h 4687251"/>
              <a:gd name="connsiteX20383" fmla="*/ 4348479 w 8079933"/>
              <a:gd name="connsiteY20383" fmla="*/ 1257563 h 4687251"/>
              <a:gd name="connsiteX20384" fmla="*/ 362663 w 8079933"/>
              <a:gd name="connsiteY20384" fmla="*/ 1253232 h 4687251"/>
              <a:gd name="connsiteX20385" fmla="*/ 365049 w 8079933"/>
              <a:gd name="connsiteY20385" fmla="*/ 1255398 h 4687251"/>
              <a:gd name="connsiteX20386" fmla="*/ 360167 w 8079933"/>
              <a:gd name="connsiteY20386" fmla="*/ 1255290 h 4687251"/>
              <a:gd name="connsiteX20387" fmla="*/ 340416 w 8079933"/>
              <a:gd name="connsiteY20387" fmla="*/ 1253232 h 4687251"/>
              <a:gd name="connsiteX20388" fmla="*/ 343999 w 8079933"/>
              <a:gd name="connsiteY20388" fmla="*/ 1255397 h 4687251"/>
              <a:gd name="connsiteX20389" fmla="*/ 344105 w 8079933"/>
              <a:gd name="connsiteY20389" fmla="*/ 1258104 h 4687251"/>
              <a:gd name="connsiteX20390" fmla="*/ 339984 w 8079933"/>
              <a:gd name="connsiteY20390" fmla="*/ 1256155 h 4687251"/>
              <a:gd name="connsiteX20391" fmla="*/ 1102855 w 8079933"/>
              <a:gd name="connsiteY20391" fmla="*/ 1252040 h 4687251"/>
              <a:gd name="connsiteX20392" fmla="*/ 1107629 w 8079933"/>
              <a:gd name="connsiteY20392" fmla="*/ 1257345 h 4687251"/>
              <a:gd name="connsiteX20393" fmla="*/ 1112079 w 8079933"/>
              <a:gd name="connsiteY20393" fmla="*/ 1257345 h 4687251"/>
              <a:gd name="connsiteX20394" fmla="*/ 1115443 w 8079933"/>
              <a:gd name="connsiteY20394" fmla="*/ 1261568 h 4687251"/>
              <a:gd name="connsiteX20395" fmla="*/ 1115443 w 8079933"/>
              <a:gd name="connsiteY20395" fmla="*/ 1267631 h 4687251"/>
              <a:gd name="connsiteX20396" fmla="*/ 1111754 w 8079933"/>
              <a:gd name="connsiteY20396" fmla="*/ 1273694 h 4687251"/>
              <a:gd name="connsiteX20397" fmla="*/ 1109583 w 8079933"/>
              <a:gd name="connsiteY20397" fmla="*/ 1274344 h 4687251"/>
              <a:gd name="connsiteX20398" fmla="*/ 1108823 w 8079933"/>
              <a:gd name="connsiteY20398" fmla="*/ 1268172 h 4687251"/>
              <a:gd name="connsiteX20399" fmla="*/ 1106219 w 8079933"/>
              <a:gd name="connsiteY20399" fmla="*/ 1269146 h 4687251"/>
              <a:gd name="connsiteX20400" fmla="*/ 1106219 w 8079933"/>
              <a:gd name="connsiteY20400" fmla="*/ 1274344 h 4687251"/>
              <a:gd name="connsiteX20401" fmla="*/ 1104374 w 8079933"/>
              <a:gd name="connsiteY20401" fmla="*/ 1276401 h 4687251"/>
              <a:gd name="connsiteX20402" fmla="*/ 1106979 w 8079933"/>
              <a:gd name="connsiteY20402" fmla="*/ 1280407 h 4687251"/>
              <a:gd name="connsiteX20403" fmla="*/ 1103831 w 8079933"/>
              <a:gd name="connsiteY20403" fmla="*/ 1282464 h 4687251"/>
              <a:gd name="connsiteX20404" fmla="*/ 1101987 w 8079933"/>
              <a:gd name="connsiteY20404" fmla="*/ 1280840 h 4687251"/>
              <a:gd name="connsiteX20405" fmla="*/ 1099165 w 8079933"/>
              <a:gd name="connsiteY20405" fmla="*/ 1284305 h 4687251"/>
              <a:gd name="connsiteX20406" fmla="*/ 1096127 w 8079933"/>
              <a:gd name="connsiteY20406" fmla="*/ 1283655 h 4687251"/>
              <a:gd name="connsiteX20407" fmla="*/ 1096344 w 8079933"/>
              <a:gd name="connsiteY20407" fmla="*/ 1277808 h 4687251"/>
              <a:gd name="connsiteX20408" fmla="*/ 1099165 w 8079933"/>
              <a:gd name="connsiteY20408" fmla="*/ 1266981 h 4687251"/>
              <a:gd name="connsiteX20409" fmla="*/ 1101444 w 8079933"/>
              <a:gd name="connsiteY20409" fmla="*/ 1263733 h 4687251"/>
              <a:gd name="connsiteX20410" fmla="*/ 1097104 w 8079933"/>
              <a:gd name="connsiteY20410" fmla="*/ 1262001 h 4687251"/>
              <a:gd name="connsiteX20411" fmla="*/ 1098189 w 8079933"/>
              <a:gd name="connsiteY20411" fmla="*/ 1257995 h 4687251"/>
              <a:gd name="connsiteX20412" fmla="*/ 1096344 w 8079933"/>
              <a:gd name="connsiteY20412" fmla="*/ 1255288 h 4687251"/>
              <a:gd name="connsiteX20413" fmla="*/ 1096778 w 8079933"/>
              <a:gd name="connsiteY20413" fmla="*/ 1252148 h 4687251"/>
              <a:gd name="connsiteX20414" fmla="*/ 367764 w 8079933"/>
              <a:gd name="connsiteY20414" fmla="*/ 1252040 h 4687251"/>
              <a:gd name="connsiteX20415" fmla="*/ 372106 w 8079933"/>
              <a:gd name="connsiteY20415" fmla="*/ 1252148 h 4687251"/>
              <a:gd name="connsiteX20416" fmla="*/ 373516 w 8079933"/>
              <a:gd name="connsiteY20416" fmla="*/ 1254530 h 4687251"/>
              <a:gd name="connsiteX20417" fmla="*/ 369175 w 8079933"/>
              <a:gd name="connsiteY20417" fmla="*/ 1255180 h 4687251"/>
              <a:gd name="connsiteX20418" fmla="*/ 368307 w 8079933"/>
              <a:gd name="connsiteY20418" fmla="*/ 1254421 h 4687251"/>
              <a:gd name="connsiteX20419" fmla="*/ 329024 w 8079933"/>
              <a:gd name="connsiteY20419" fmla="*/ 1251283 h 4687251"/>
              <a:gd name="connsiteX20420" fmla="*/ 330650 w 8079933"/>
              <a:gd name="connsiteY20420" fmla="*/ 1254314 h 4687251"/>
              <a:gd name="connsiteX20421" fmla="*/ 335859 w 8079933"/>
              <a:gd name="connsiteY20421" fmla="*/ 1255830 h 4687251"/>
              <a:gd name="connsiteX20422" fmla="*/ 337054 w 8079933"/>
              <a:gd name="connsiteY20422" fmla="*/ 1260053 h 4687251"/>
              <a:gd name="connsiteX20423" fmla="*/ 332387 w 8079933"/>
              <a:gd name="connsiteY20423" fmla="*/ 1263518 h 4687251"/>
              <a:gd name="connsiteX20424" fmla="*/ 336185 w 8079933"/>
              <a:gd name="connsiteY20424" fmla="*/ 1264601 h 4687251"/>
              <a:gd name="connsiteX20425" fmla="*/ 336294 w 8079933"/>
              <a:gd name="connsiteY20425" fmla="*/ 1266550 h 4687251"/>
              <a:gd name="connsiteX20426" fmla="*/ 329890 w 8079933"/>
              <a:gd name="connsiteY20426" fmla="*/ 1269689 h 4687251"/>
              <a:gd name="connsiteX20427" fmla="*/ 326203 w 8079933"/>
              <a:gd name="connsiteY20427" fmla="*/ 1274236 h 4687251"/>
              <a:gd name="connsiteX20428" fmla="*/ 323706 w 8079933"/>
              <a:gd name="connsiteY20428" fmla="*/ 1274886 h 4687251"/>
              <a:gd name="connsiteX20429" fmla="*/ 322513 w 8079933"/>
              <a:gd name="connsiteY20429" fmla="*/ 1272179 h 4687251"/>
              <a:gd name="connsiteX20430" fmla="*/ 319691 w 8079933"/>
              <a:gd name="connsiteY20430" fmla="*/ 1271313 h 4687251"/>
              <a:gd name="connsiteX20431" fmla="*/ 318389 w 8079933"/>
              <a:gd name="connsiteY20431" fmla="*/ 1275103 h 4687251"/>
              <a:gd name="connsiteX20432" fmla="*/ 316760 w 8079933"/>
              <a:gd name="connsiteY20432" fmla="*/ 1279650 h 4687251"/>
              <a:gd name="connsiteX20433" fmla="*/ 314266 w 8079933"/>
              <a:gd name="connsiteY20433" fmla="*/ 1278675 h 4687251"/>
              <a:gd name="connsiteX20434" fmla="*/ 313723 w 8079933"/>
              <a:gd name="connsiteY20434" fmla="*/ 1274453 h 4687251"/>
              <a:gd name="connsiteX20435" fmla="*/ 308622 w 8079933"/>
              <a:gd name="connsiteY20435" fmla="*/ 1280408 h 4687251"/>
              <a:gd name="connsiteX20436" fmla="*/ 301895 w 8079933"/>
              <a:gd name="connsiteY20436" fmla="*/ 1282357 h 4687251"/>
              <a:gd name="connsiteX20437" fmla="*/ 294300 w 8079933"/>
              <a:gd name="connsiteY20437" fmla="*/ 1282465 h 4687251"/>
              <a:gd name="connsiteX20438" fmla="*/ 291153 w 8079933"/>
              <a:gd name="connsiteY20438" fmla="*/ 1279434 h 4687251"/>
              <a:gd name="connsiteX20439" fmla="*/ 294190 w 8079933"/>
              <a:gd name="connsiteY20439" fmla="*/ 1278892 h 4687251"/>
              <a:gd name="connsiteX20440" fmla="*/ 298423 w 8079933"/>
              <a:gd name="connsiteY20440" fmla="*/ 1279001 h 4687251"/>
              <a:gd name="connsiteX20441" fmla="*/ 304064 w 8079933"/>
              <a:gd name="connsiteY20441" fmla="*/ 1274995 h 4687251"/>
              <a:gd name="connsiteX20442" fmla="*/ 306777 w 8079933"/>
              <a:gd name="connsiteY20442" fmla="*/ 1274778 h 4687251"/>
              <a:gd name="connsiteX20443" fmla="*/ 311011 w 8079933"/>
              <a:gd name="connsiteY20443" fmla="*/ 1269581 h 4687251"/>
              <a:gd name="connsiteX20444" fmla="*/ 313396 w 8079933"/>
              <a:gd name="connsiteY20444" fmla="*/ 1268823 h 4687251"/>
              <a:gd name="connsiteX20445" fmla="*/ 312964 w 8079933"/>
              <a:gd name="connsiteY20445" fmla="*/ 1265791 h 4687251"/>
              <a:gd name="connsiteX20446" fmla="*/ 317195 w 8079933"/>
              <a:gd name="connsiteY20446" fmla="*/ 1262218 h 4687251"/>
              <a:gd name="connsiteX20447" fmla="*/ 322077 w 8079933"/>
              <a:gd name="connsiteY20447" fmla="*/ 1264601 h 4687251"/>
              <a:gd name="connsiteX20448" fmla="*/ 323922 w 8079933"/>
              <a:gd name="connsiteY20448" fmla="*/ 1263193 h 4687251"/>
              <a:gd name="connsiteX20449" fmla="*/ 320126 w 8079933"/>
              <a:gd name="connsiteY20449" fmla="*/ 1259511 h 4687251"/>
              <a:gd name="connsiteX20450" fmla="*/ 320126 w 8079933"/>
              <a:gd name="connsiteY20450" fmla="*/ 1255830 h 4687251"/>
              <a:gd name="connsiteX20451" fmla="*/ 324790 w 8079933"/>
              <a:gd name="connsiteY20451" fmla="*/ 1251824 h 4687251"/>
              <a:gd name="connsiteX20452" fmla="*/ 3088925 w 8079933"/>
              <a:gd name="connsiteY20452" fmla="*/ 1250849 h 4687251"/>
              <a:gd name="connsiteX20453" fmla="*/ 3091312 w 8079933"/>
              <a:gd name="connsiteY20453" fmla="*/ 1252798 h 4687251"/>
              <a:gd name="connsiteX20454" fmla="*/ 3095436 w 8079933"/>
              <a:gd name="connsiteY20454" fmla="*/ 1252906 h 4687251"/>
              <a:gd name="connsiteX20455" fmla="*/ 3097606 w 8079933"/>
              <a:gd name="connsiteY20455" fmla="*/ 1254746 h 4687251"/>
              <a:gd name="connsiteX20456" fmla="*/ 3097171 w 8079933"/>
              <a:gd name="connsiteY20456" fmla="*/ 1256154 h 4687251"/>
              <a:gd name="connsiteX20457" fmla="*/ 3092180 w 8079933"/>
              <a:gd name="connsiteY20457" fmla="*/ 1256371 h 4687251"/>
              <a:gd name="connsiteX20458" fmla="*/ 3090878 w 8079933"/>
              <a:gd name="connsiteY20458" fmla="*/ 1254963 h 4687251"/>
              <a:gd name="connsiteX20459" fmla="*/ 3087948 w 8079933"/>
              <a:gd name="connsiteY20459" fmla="*/ 1254530 h 4687251"/>
              <a:gd name="connsiteX20460" fmla="*/ 3086755 w 8079933"/>
              <a:gd name="connsiteY20460" fmla="*/ 1251824 h 4687251"/>
              <a:gd name="connsiteX20461" fmla="*/ 4107898 w 8079933"/>
              <a:gd name="connsiteY20461" fmla="*/ 1249876 h 4687251"/>
              <a:gd name="connsiteX20462" fmla="*/ 4110394 w 8079933"/>
              <a:gd name="connsiteY20462" fmla="*/ 1252582 h 4687251"/>
              <a:gd name="connsiteX20463" fmla="*/ 4106921 w 8079933"/>
              <a:gd name="connsiteY20463" fmla="*/ 1256804 h 4687251"/>
              <a:gd name="connsiteX20464" fmla="*/ 4101495 w 8079933"/>
              <a:gd name="connsiteY20464" fmla="*/ 1256480 h 4687251"/>
              <a:gd name="connsiteX20465" fmla="*/ 4098348 w 8079933"/>
              <a:gd name="connsiteY20465" fmla="*/ 1258212 h 4687251"/>
              <a:gd name="connsiteX20466" fmla="*/ 4095201 w 8079933"/>
              <a:gd name="connsiteY20466" fmla="*/ 1258104 h 4687251"/>
              <a:gd name="connsiteX20467" fmla="*/ 4098131 w 8079933"/>
              <a:gd name="connsiteY20467" fmla="*/ 1252690 h 4687251"/>
              <a:gd name="connsiteX20468" fmla="*/ 4102797 w 8079933"/>
              <a:gd name="connsiteY20468" fmla="*/ 1252582 h 4687251"/>
              <a:gd name="connsiteX20469" fmla="*/ 4104208 w 8079933"/>
              <a:gd name="connsiteY20469" fmla="*/ 1250092 h 4687251"/>
              <a:gd name="connsiteX20470" fmla="*/ 3535798 w 8079933"/>
              <a:gd name="connsiteY20470" fmla="*/ 1249009 h 4687251"/>
              <a:gd name="connsiteX20471" fmla="*/ 3536557 w 8079933"/>
              <a:gd name="connsiteY20471" fmla="*/ 1253989 h 4687251"/>
              <a:gd name="connsiteX20472" fmla="*/ 3533518 w 8079933"/>
              <a:gd name="connsiteY20472" fmla="*/ 1256155 h 4687251"/>
              <a:gd name="connsiteX20473" fmla="*/ 3532108 w 8079933"/>
              <a:gd name="connsiteY20473" fmla="*/ 1252907 h 4687251"/>
              <a:gd name="connsiteX20474" fmla="*/ 3533410 w 8079933"/>
              <a:gd name="connsiteY20474" fmla="*/ 1249550 h 4687251"/>
              <a:gd name="connsiteX20475" fmla="*/ 4352602 w 8079933"/>
              <a:gd name="connsiteY20475" fmla="*/ 1247602 h 4687251"/>
              <a:gd name="connsiteX20476" fmla="*/ 4355424 w 8079933"/>
              <a:gd name="connsiteY20476" fmla="*/ 1250092 h 4687251"/>
              <a:gd name="connsiteX20477" fmla="*/ 4353470 w 8079933"/>
              <a:gd name="connsiteY20477" fmla="*/ 1252041 h 4687251"/>
              <a:gd name="connsiteX20478" fmla="*/ 4352060 w 8079933"/>
              <a:gd name="connsiteY20478" fmla="*/ 1250741 h 4687251"/>
              <a:gd name="connsiteX20479" fmla="*/ 2617422 w 8079933"/>
              <a:gd name="connsiteY20479" fmla="*/ 1246518 h 4687251"/>
              <a:gd name="connsiteX20480" fmla="*/ 2619592 w 8079933"/>
              <a:gd name="connsiteY20480" fmla="*/ 1249550 h 4687251"/>
              <a:gd name="connsiteX20481" fmla="*/ 2620243 w 8079933"/>
              <a:gd name="connsiteY20481" fmla="*/ 1251715 h 4687251"/>
              <a:gd name="connsiteX20482" fmla="*/ 2622305 w 8079933"/>
              <a:gd name="connsiteY20482" fmla="*/ 1254421 h 4687251"/>
              <a:gd name="connsiteX20483" fmla="*/ 2622739 w 8079933"/>
              <a:gd name="connsiteY20483" fmla="*/ 1257994 h 4687251"/>
              <a:gd name="connsiteX20484" fmla="*/ 2621654 w 8079933"/>
              <a:gd name="connsiteY20484" fmla="*/ 1258644 h 4687251"/>
              <a:gd name="connsiteX20485" fmla="*/ 2617313 w 8079933"/>
              <a:gd name="connsiteY20485" fmla="*/ 1255287 h 4687251"/>
              <a:gd name="connsiteX20486" fmla="*/ 2617313 w 8079933"/>
              <a:gd name="connsiteY20486" fmla="*/ 1252364 h 4687251"/>
              <a:gd name="connsiteX20487" fmla="*/ 2615360 w 8079933"/>
              <a:gd name="connsiteY20487" fmla="*/ 1250740 h 4687251"/>
              <a:gd name="connsiteX20488" fmla="*/ 2615360 w 8079933"/>
              <a:gd name="connsiteY20488" fmla="*/ 1248467 h 4687251"/>
              <a:gd name="connsiteX20489" fmla="*/ 4538434 w 8079933"/>
              <a:gd name="connsiteY20489" fmla="*/ 1246465 h 4687251"/>
              <a:gd name="connsiteX20490" fmla="*/ 4540445 w 8079933"/>
              <a:gd name="connsiteY20490" fmla="*/ 1249333 h 4687251"/>
              <a:gd name="connsiteX20491" fmla="*/ 4546630 w 8079933"/>
              <a:gd name="connsiteY20491" fmla="*/ 1251390 h 4687251"/>
              <a:gd name="connsiteX20492" fmla="*/ 4555463 w 8079933"/>
              <a:gd name="connsiteY20492" fmla="*/ 1260997 h 4687251"/>
              <a:gd name="connsiteX20493" fmla="*/ 4555311 w 8079933"/>
              <a:gd name="connsiteY20493" fmla="*/ 1260270 h 4687251"/>
              <a:gd name="connsiteX20494" fmla="*/ 4544460 w 8079933"/>
              <a:gd name="connsiteY20494" fmla="*/ 1248469 h 4687251"/>
              <a:gd name="connsiteX20495" fmla="*/ 349535 w 8079933"/>
              <a:gd name="connsiteY20495" fmla="*/ 1246302 h 4687251"/>
              <a:gd name="connsiteX20496" fmla="*/ 351378 w 8079933"/>
              <a:gd name="connsiteY20496" fmla="*/ 1249658 h 4687251"/>
              <a:gd name="connsiteX20497" fmla="*/ 353982 w 8079933"/>
              <a:gd name="connsiteY20497" fmla="*/ 1250632 h 4687251"/>
              <a:gd name="connsiteX20498" fmla="*/ 352791 w 8079933"/>
              <a:gd name="connsiteY20498" fmla="*/ 1252906 h 4687251"/>
              <a:gd name="connsiteX20499" fmla="*/ 349317 w 8079933"/>
              <a:gd name="connsiteY20499" fmla="*/ 1254963 h 4687251"/>
              <a:gd name="connsiteX20500" fmla="*/ 345085 w 8079933"/>
              <a:gd name="connsiteY20500" fmla="*/ 1251391 h 4687251"/>
              <a:gd name="connsiteX20501" fmla="*/ 344758 w 8079933"/>
              <a:gd name="connsiteY20501" fmla="*/ 1247818 h 4687251"/>
              <a:gd name="connsiteX20502" fmla="*/ 3108567 w 8079933"/>
              <a:gd name="connsiteY20502" fmla="*/ 1244029 h 4687251"/>
              <a:gd name="connsiteX20503" fmla="*/ 3109001 w 8079933"/>
              <a:gd name="connsiteY20503" fmla="*/ 1246952 h 4687251"/>
              <a:gd name="connsiteX20504" fmla="*/ 3107265 w 8079933"/>
              <a:gd name="connsiteY20504" fmla="*/ 1249119 h 4687251"/>
              <a:gd name="connsiteX20505" fmla="*/ 3107265 w 8079933"/>
              <a:gd name="connsiteY20505" fmla="*/ 1245329 h 4687251"/>
              <a:gd name="connsiteX20506" fmla="*/ 424517 w 8079933"/>
              <a:gd name="connsiteY20506" fmla="*/ 1243595 h 4687251"/>
              <a:gd name="connsiteX20507" fmla="*/ 429075 w 8079933"/>
              <a:gd name="connsiteY20507" fmla="*/ 1247926 h 4687251"/>
              <a:gd name="connsiteX20508" fmla="*/ 425603 w 8079933"/>
              <a:gd name="connsiteY20508" fmla="*/ 1249983 h 4687251"/>
              <a:gd name="connsiteX20509" fmla="*/ 421804 w 8079933"/>
              <a:gd name="connsiteY20509" fmla="*/ 1246301 h 4687251"/>
              <a:gd name="connsiteX20510" fmla="*/ 358108 w 8079933"/>
              <a:gd name="connsiteY20510" fmla="*/ 1243488 h 4687251"/>
              <a:gd name="connsiteX20511" fmla="*/ 360058 w 8079933"/>
              <a:gd name="connsiteY20511" fmla="*/ 1244137 h 4687251"/>
              <a:gd name="connsiteX20512" fmla="*/ 361253 w 8079933"/>
              <a:gd name="connsiteY20512" fmla="*/ 1248902 h 4687251"/>
              <a:gd name="connsiteX20513" fmla="*/ 357238 w 8079933"/>
              <a:gd name="connsiteY20513" fmla="*/ 1250851 h 4687251"/>
              <a:gd name="connsiteX20514" fmla="*/ 358216 w 8079933"/>
              <a:gd name="connsiteY20514" fmla="*/ 1247277 h 4687251"/>
              <a:gd name="connsiteX20515" fmla="*/ 4101494 w 8079933"/>
              <a:gd name="connsiteY20515" fmla="*/ 1242513 h 4687251"/>
              <a:gd name="connsiteX20516" fmla="*/ 4104641 w 8079933"/>
              <a:gd name="connsiteY20516" fmla="*/ 1245436 h 4687251"/>
              <a:gd name="connsiteX20517" fmla="*/ 4099758 w 8079933"/>
              <a:gd name="connsiteY20517" fmla="*/ 1248792 h 4687251"/>
              <a:gd name="connsiteX20518" fmla="*/ 4094007 w 8079933"/>
              <a:gd name="connsiteY20518" fmla="*/ 1249009 h 4687251"/>
              <a:gd name="connsiteX20519" fmla="*/ 1080934 w 8079933"/>
              <a:gd name="connsiteY20519" fmla="*/ 1235368 h 4687251"/>
              <a:gd name="connsiteX20520" fmla="*/ 1084406 w 8079933"/>
              <a:gd name="connsiteY20520" fmla="*/ 1235584 h 4687251"/>
              <a:gd name="connsiteX20521" fmla="*/ 1083104 w 8079933"/>
              <a:gd name="connsiteY20521" fmla="*/ 1238941 h 4687251"/>
              <a:gd name="connsiteX20522" fmla="*/ 1063788 w 8079933"/>
              <a:gd name="connsiteY20522" fmla="*/ 1235150 h 4687251"/>
              <a:gd name="connsiteX20523" fmla="*/ 1065198 w 8079933"/>
              <a:gd name="connsiteY20523" fmla="*/ 1238615 h 4687251"/>
              <a:gd name="connsiteX20524" fmla="*/ 1064004 w 8079933"/>
              <a:gd name="connsiteY20524" fmla="*/ 1241862 h 4687251"/>
              <a:gd name="connsiteX20525" fmla="*/ 1063462 w 8079933"/>
              <a:gd name="connsiteY20525" fmla="*/ 1246843 h 4687251"/>
              <a:gd name="connsiteX20526" fmla="*/ 1059448 w 8079933"/>
              <a:gd name="connsiteY20526" fmla="*/ 1248142 h 4687251"/>
              <a:gd name="connsiteX20527" fmla="*/ 1058471 w 8079933"/>
              <a:gd name="connsiteY20527" fmla="*/ 1245652 h 4687251"/>
              <a:gd name="connsiteX20528" fmla="*/ 1061183 w 8079933"/>
              <a:gd name="connsiteY20528" fmla="*/ 1242837 h 4687251"/>
              <a:gd name="connsiteX20529" fmla="*/ 1060207 w 8079933"/>
              <a:gd name="connsiteY20529" fmla="*/ 1241321 h 4687251"/>
              <a:gd name="connsiteX20530" fmla="*/ 1060749 w 8079933"/>
              <a:gd name="connsiteY20530" fmla="*/ 1237532 h 4687251"/>
              <a:gd name="connsiteX20531" fmla="*/ 511006 w 8079933"/>
              <a:gd name="connsiteY20531" fmla="*/ 1233743 h 4687251"/>
              <a:gd name="connsiteX20532" fmla="*/ 511222 w 8079933"/>
              <a:gd name="connsiteY20532" fmla="*/ 1236991 h 4687251"/>
              <a:gd name="connsiteX20533" fmla="*/ 509269 w 8079933"/>
              <a:gd name="connsiteY20533" fmla="*/ 1239157 h 4687251"/>
              <a:gd name="connsiteX20534" fmla="*/ 508618 w 8079933"/>
              <a:gd name="connsiteY20534" fmla="*/ 1236233 h 4687251"/>
              <a:gd name="connsiteX20535" fmla="*/ 1075725 w 8079933"/>
              <a:gd name="connsiteY20535" fmla="*/ 1232444 h 4687251"/>
              <a:gd name="connsiteX20536" fmla="*/ 1078329 w 8079933"/>
              <a:gd name="connsiteY20536" fmla="*/ 1233418 h 4687251"/>
              <a:gd name="connsiteX20537" fmla="*/ 1080282 w 8079933"/>
              <a:gd name="connsiteY20537" fmla="*/ 1239915 h 4687251"/>
              <a:gd name="connsiteX20538" fmla="*/ 1080825 w 8079933"/>
              <a:gd name="connsiteY20538" fmla="*/ 1248143 h 4687251"/>
              <a:gd name="connsiteX20539" fmla="*/ 1079414 w 8079933"/>
              <a:gd name="connsiteY20539" fmla="*/ 1255830 h 4687251"/>
              <a:gd name="connsiteX20540" fmla="*/ 1077353 w 8079933"/>
              <a:gd name="connsiteY20540" fmla="*/ 1257887 h 4687251"/>
              <a:gd name="connsiteX20541" fmla="*/ 1076051 w 8079933"/>
              <a:gd name="connsiteY20541" fmla="*/ 1266333 h 4687251"/>
              <a:gd name="connsiteX20542" fmla="*/ 1073338 w 8079933"/>
              <a:gd name="connsiteY20542" fmla="*/ 1269256 h 4687251"/>
              <a:gd name="connsiteX20543" fmla="*/ 1071493 w 8079933"/>
              <a:gd name="connsiteY20543" fmla="*/ 1275536 h 4687251"/>
              <a:gd name="connsiteX20544" fmla="*/ 1070733 w 8079933"/>
              <a:gd name="connsiteY20544" fmla="*/ 1281382 h 4687251"/>
              <a:gd name="connsiteX20545" fmla="*/ 1069431 w 8079933"/>
              <a:gd name="connsiteY20545" fmla="*/ 1285064 h 4687251"/>
              <a:gd name="connsiteX20546" fmla="*/ 1067478 w 8079933"/>
              <a:gd name="connsiteY20546" fmla="*/ 1286038 h 4687251"/>
              <a:gd name="connsiteX20547" fmla="*/ 1066827 w 8079933"/>
              <a:gd name="connsiteY20547" fmla="*/ 1282682 h 4687251"/>
              <a:gd name="connsiteX20548" fmla="*/ 1067695 w 8079933"/>
              <a:gd name="connsiteY20548" fmla="*/ 1279001 h 4687251"/>
              <a:gd name="connsiteX20549" fmla="*/ 1065525 w 8079933"/>
              <a:gd name="connsiteY20549" fmla="*/ 1277376 h 4687251"/>
              <a:gd name="connsiteX20550" fmla="*/ 1064005 w 8079933"/>
              <a:gd name="connsiteY20550" fmla="*/ 1270988 h 4687251"/>
              <a:gd name="connsiteX20551" fmla="*/ 1065959 w 8079933"/>
              <a:gd name="connsiteY20551" fmla="*/ 1267415 h 4687251"/>
              <a:gd name="connsiteX20552" fmla="*/ 1069105 w 8079933"/>
              <a:gd name="connsiteY20552" fmla="*/ 1266766 h 4687251"/>
              <a:gd name="connsiteX20553" fmla="*/ 1071493 w 8079933"/>
              <a:gd name="connsiteY20553" fmla="*/ 1264817 h 4687251"/>
              <a:gd name="connsiteX20554" fmla="*/ 1070950 w 8079933"/>
              <a:gd name="connsiteY20554" fmla="*/ 1262652 h 4687251"/>
              <a:gd name="connsiteX20555" fmla="*/ 1068237 w 8079933"/>
              <a:gd name="connsiteY20555" fmla="*/ 1264168 h 4687251"/>
              <a:gd name="connsiteX20556" fmla="*/ 1065959 w 8079933"/>
              <a:gd name="connsiteY20556" fmla="*/ 1264168 h 4687251"/>
              <a:gd name="connsiteX20557" fmla="*/ 1065633 w 8079933"/>
              <a:gd name="connsiteY20557" fmla="*/ 1261244 h 4687251"/>
              <a:gd name="connsiteX20558" fmla="*/ 1067695 w 8079933"/>
              <a:gd name="connsiteY20558" fmla="*/ 1260053 h 4687251"/>
              <a:gd name="connsiteX20559" fmla="*/ 1068888 w 8079933"/>
              <a:gd name="connsiteY20559" fmla="*/ 1257779 h 4687251"/>
              <a:gd name="connsiteX20560" fmla="*/ 1063680 w 8079933"/>
              <a:gd name="connsiteY20560" fmla="*/ 1256372 h 4687251"/>
              <a:gd name="connsiteX20561" fmla="*/ 1063897 w 8079933"/>
              <a:gd name="connsiteY20561" fmla="*/ 1254315 h 4687251"/>
              <a:gd name="connsiteX20562" fmla="*/ 1068020 w 8079933"/>
              <a:gd name="connsiteY20562" fmla="*/ 1253665 h 4687251"/>
              <a:gd name="connsiteX20563" fmla="*/ 1070299 w 8079933"/>
              <a:gd name="connsiteY20563" fmla="*/ 1250309 h 4687251"/>
              <a:gd name="connsiteX20564" fmla="*/ 1070842 w 8079933"/>
              <a:gd name="connsiteY20564" fmla="*/ 1245653 h 4687251"/>
              <a:gd name="connsiteX20565" fmla="*/ 1073555 w 8079933"/>
              <a:gd name="connsiteY20565" fmla="*/ 1242730 h 4687251"/>
              <a:gd name="connsiteX20566" fmla="*/ 1070082 w 8079933"/>
              <a:gd name="connsiteY20566" fmla="*/ 1239589 h 4687251"/>
              <a:gd name="connsiteX20567" fmla="*/ 1069431 w 8079933"/>
              <a:gd name="connsiteY20567" fmla="*/ 1236666 h 4687251"/>
              <a:gd name="connsiteX20568" fmla="*/ 1073663 w 8079933"/>
              <a:gd name="connsiteY20568" fmla="*/ 1234934 h 4687251"/>
              <a:gd name="connsiteX20569" fmla="*/ 509272 w 8079933"/>
              <a:gd name="connsiteY20569" fmla="*/ 1226488 h 4687251"/>
              <a:gd name="connsiteX20570" fmla="*/ 509272 w 8079933"/>
              <a:gd name="connsiteY20570" fmla="*/ 1230710 h 4687251"/>
              <a:gd name="connsiteX20571" fmla="*/ 506232 w 8079933"/>
              <a:gd name="connsiteY20571" fmla="*/ 1232010 h 4687251"/>
              <a:gd name="connsiteX20572" fmla="*/ 444267 w 8079933"/>
              <a:gd name="connsiteY20572" fmla="*/ 1225298 h 4687251"/>
              <a:gd name="connsiteX20573" fmla="*/ 445137 w 8079933"/>
              <a:gd name="connsiteY20573" fmla="*/ 1228763 h 4687251"/>
              <a:gd name="connsiteX20574" fmla="*/ 441989 w 8079933"/>
              <a:gd name="connsiteY20574" fmla="*/ 1232335 h 4687251"/>
              <a:gd name="connsiteX20575" fmla="*/ 439709 w 8079933"/>
              <a:gd name="connsiteY20575" fmla="*/ 1228546 h 4687251"/>
              <a:gd name="connsiteX20576" fmla="*/ 501566 w 8079933"/>
              <a:gd name="connsiteY20576" fmla="*/ 1224865 h 4687251"/>
              <a:gd name="connsiteX20577" fmla="*/ 498092 w 8079933"/>
              <a:gd name="connsiteY20577" fmla="*/ 1228113 h 4687251"/>
              <a:gd name="connsiteX20578" fmla="*/ 496900 w 8079933"/>
              <a:gd name="connsiteY20578" fmla="*/ 1231144 h 4687251"/>
              <a:gd name="connsiteX20579" fmla="*/ 490387 w 8079933"/>
              <a:gd name="connsiteY20579" fmla="*/ 1234393 h 4687251"/>
              <a:gd name="connsiteX20580" fmla="*/ 487241 w 8079933"/>
              <a:gd name="connsiteY20580" fmla="*/ 1237965 h 4687251"/>
              <a:gd name="connsiteX20581" fmla="*/ 489846 w 8079933"/>
              <a:gd name="connsiteY20581" fmla="*/ 1231577 h 4687251"/>
              <a:gd name="connsiteX20582" fmla="*/ 495055 w 8079933"/>
              <a:gd name="connsiteY20582" fmla="*/ 1227138 h 4687251"/>
              <a:gd name="connsiteX20583" fmla="*/ 495271 w 8079933"/>
              <a:gd name="connsiteY20583" fmla="*/ 1225190 h 4687251"/>
              <a:gd name="connsiteX20584" fmla="*/ 4201655 w 8079933"/>
              <a:gd name="connsiteY20584" fmla="*/ 1223673 h 4687251"/>
              <a:gd name="connsiteX20585" fmla="*/ 4197532 w 8079933"/>
              <a:gd name="connsiteY20585" fmla="*/ 1229412 h 4687251"/>
              <a:gd name="connsiteX20586" fmla="*/ 4189501 w 8079933"/>
              <a:gd name="connsiteY20586" fmla="*/ 1228870 h 4687251"/>
              <a:gd name="connsiteX20587" fmla="*/ 4183099 w 8079933"/>
              <a:gd name="connsiteY20587" fmla="*/ 1227463 h 4687251"/>
              <a:gd name="connsiteX20588" fmla="*/ 4177890 w 8079933"/>
              <a:gd name="connsiteY20588" fmla="*/ 1230603 h 4687251"/>
              <a:gd name="connsiteX20589" fmla="*/ 4172573 w 8079933"/>
              <a:gd name="connsiteY20589" fmla="*/ 1240022 h 4687251"/>
              <a:gd name="connsiteX20590" fmla="*/ 4170836 w 8079933"/>
              <a:gd name="connsiteY20590" fmla="*/ 1250632 h 4687251"/>
              <a:gd name="connsiteX20591" fmla="*/ 4172473 w 8079933"/>
              <a:gd name="connsiteY20591" fmla="*/ 1259418 h 4687251"/>
              <a:gd name="connsiteX20592" fmla="*/ 4170837 w 8079933"/>
              <a:gd name="connsiteY20592" fmla="*/ 1250633 h 4687251"/>
              <a:gd name="connsiteX20593" fmla="*/ 4172573 w 8079933"/>
              <a:gd name="connsiteY20593" fmla="*/ 1240023 h 4687251"/>
              <a:gd name="connsiteX20594" fmla="*/ 4177890 w 8079933"/>
              <a:gd name="connsiteY20594" fmla="*/ 1230604 h 4687251"/>
              <a:gd name="connsiteX20595" fmla="*/ 4183099 w 8079933"/>
              <a:gd name="connsiteY20595" fmla="*/ 1227463 h 4687251"/>
              <a:gd name="connsiteX20596" fmla="*/ 4189501 w 8079933"/>
              <a:gd name="connsiteY20596" fmla="*/ 1228871 h 4687251"/>
              <a:gd name="connsiteX20597" fmla="*/ 4197532 w 8079933"/>
              <a:gd name="connsiteY20597" fmla="*/ 1229412 h 4687251"/>
              <a:gd name="connsiteX20598" fmla="*/ 4201655 w 8079933"/>
              <a:gd name="connsiteY20598" fmla="*/ 1223674 h 4687251"/>
              <a:gd name="connsiteX20599" fmla="*/ 2637279 w 8079933"/>
              <a:gd name="connsiteY20599" fmla="*/ 1223349 h 4687251"/>
              <a:gd name="connsiteX20600" fmla="*/ 2639883 w 8079933"/>
              <a:gd name="connsiteY20600" fmla="*/ 1224324 h 4687251"/>
              <a:gd name="connsiteX20601" fmla="*/ 2639558 w 8079933"/>
              <a:gd name="connsiteY20601" fmla="*/ 1226597 h 4687251"/>
              <a:gd name="connsiteX20602" fmla="*/ 2638256 w 8079933"/>
              <a:gd name="connsiteY20602" fmla="*/ 1228438 h 4687251"/>
              <a:gd name="connsiteX20603" fmla="*/ 2637496 w 8079933"/>
              <a:gd name="connsiteY20603" fmla="*/ 1231578 h 4687251"/>
              <a:gd name="connsiteX20604" fmla="*/ 2635326 w 8079933"/>
              <a:gd name="connsiteY20604" fmla="*/ 1232986 h 4687251"/>
              <a:gd name="connsiteX20605" fmla="*/ 2631203 w 8079933"/>
              <a:gd name="connsiteY20605" fmla="*/ 1229088 h 4687251"/>
              <a:gd name="connsiteX20606" fmla="*/ 2627513 w 8079933"/>
              <a:gd name="connsiteY20606" fmla="*/ 1228979 h 4687251"/>
              <a:gd name="connsiteX20607" fmla="*/ 2626428 w 8079933"/>
              <a:gd name="connsiteY20607" fmla="*/ 1228113 h 4687251"/>
              <a:gd name="connsiteX20608" fmla="*/ 2629791 w 8079933"/>
              <a:gd name="connsiteY20608" fmla="*/ 1225947 h 4687251"/>
              <a:gd name="connsiteX20609" fmla="*/ 2634024 w 8079933"/>
              <a:gd name="connsiteY20609" fmla="*/ 1224757 h 4687251"/>
              <a:gd name="connsiteX20610" fmla="*/ 459786 w 8079933"/>
              <a:gd name="connsiteY20610" fmla="*/ 1220100 h 4687251"/>
              <a:gd name="connsiteX20611" fmla="*/ 462498 w 8079933"/>
              <a:gd name="connsiteY20611" fmla="*/ 1223131 h 4687251"/>
              <a:gd name="connsiteX20612" fmla="*/ 458808 w 8079933"/>
              <a:gd name="connsiteY20612" fmla="*/ 1225190 h 4687251"/>
              <a:gd name="connsiteX20613" fmla="*/ 457181 w 8079933"/>
              <a:gd name="connsiteY20613" fmla="*/ 1220533 h 4687251"/>
              <a:gd name="connsiteX20614" fmla="*/ 410954 w 8079933"/>
              <a:gd name="connsiteY20614" fmla="*/ 1216636 h 4687251"/>
              <a:gd name="connsiteX20615" fmla="*/ 417466 w 8079933"/>
              <a:gd name="connsiteY20615" fmla="*/ 1217069 h 4687251"/>
              <a:gd name="connsiteX20616" fmla="*/ 420502 w 8079933"/>
              <a:gd name="connsiteY20616" fmla="*/ 1221291 h 4687251"/>
              <a:gd name="connsiteX20617" fmla="*/ 418225 w 8079933"/>
              <a:gd name="connsiteY20617" fmla="*/ 1225514 h 4687251"/>
              <a:gd name="connsiteX20618" fmla="*/ 424628 w 8079933"/>
              <a:gd name="connsiteY20618" fmla="*/ 1231577 h 4687251"/>
              <a:gd name="connsiteX20619" fmla="*/ 424520 w 8079933"/>
              <a:gd name="connsiteY20619" fmla="*/ 1234067 h 4687251"/>
              <a:gd name="connsiteX20620" fmla="*/ 418441 w 8079933"/>
              <a:gd name="connsiteY20620" fmla="*/ 1232660 h 4687251"/>
              <a:gd name="connsiteX20621" fmla="*/ 414861 w 8079933"/>
              <a:gd name="connsiteY20621" fmla="*/ 1235691 h 4687251"/>
              <a:gd name="connsiteX20622" fmla="*/ 407591 w 8079933"/>
              <a:gd name="connsiteY20622" fmla="*/ 1236666 h 4687251"/>
              <a:gd name="connsiteX20623" fmla="*/ 402490 w 8079933"/>
              <a:gd name="connsiteY20623" fmla="*/ 1235150 h 4687251"/>
              <a:gd name="connsiteX20624" fmla="*/ 393917 w 8079933"/>
              <a:gd name="connsiteY20624" fmla="*/ 1235366 h 4687251"/>
              <a:gd name="connsiteX20625" fmla="*/ 388927 w 8079933"/>
              <a:gd name="connsiteY20625" fmla="*/ 1240888 h 4687251"/>
              <a:gd name="connsiteX20626" fmla="*/ 386862 w 8079933"/>
              <a:gd name="connsiteY20626" fmla="*/ 1240455 h 4687251"/>
              <a:gd name="connsiteX20627" fmla="*/ 383391 w 8079933"/>
              <a:gd name="connsiteY20627" fmla="*/ 1242188 h 4687251"/>
              <a:gd name="connsiteX20628" fmla="*/ 378833 w 8079933"/>
              <a:gd name="connsiteY20628" fmla="*/ 1239589 h 4687251"/>
              <a:gd name="connsiteX20629" fmla="*/ 377748 w 8079933"/>
              <a:gd name="connsiteY20629" fmla="*/ 1235583 h 4687251"/>
              <a:gd name="connsiteX20630" fmla="*/ 379049 w 8079933"/>
              <a:gd name="connsiteY20630" fmla="*/ 1231360 h 4687251"/>
              <a:gd name="connsiteX20631" fmla="*/ 381003 w 8079933"/>
              <a:gd name="connsiteY20631" fmla="*/ 1228978 h 4687251"/>
              <a:gd name="connsiteX20632" fmla="*/ 383283 w 8079933"/>
              <a:gd name="connsiteY20632" fmla="*/ 1229736 h 4687251"/>
              <a:gd name="connsiteX20633" fmla="*/ 387298 w 8079933"/>
              <a:gd name="connsiteY20633" fmla="*/ 1226813 h 4687251"/>
              <a:gd name="connsiteX20634" fmla="*/ 389143 w 8079933"/>
              <a:gd name="connsiteY20634" fmla="*/ 1225622 h 4687251"/>
              <a:gd name="connsiteX20635" fmla="*/ 393050 w 8079933"/>
              <a:gd name="connsiteY20635" fmla="*/ 1217827 h 4687251"/>
              <a:gd name="connsiteX20636" fmla="*/ 394785 w 8079933"/>
              <a:gd name="connsiteY20636" fmla="*/ 1218044 h 4687251"/>
              <a:gd name="connsiteX20637" fmla="*/ 399234 w 8079933"/>
              <a:gd name="connsiteY20637" fmla="*/ 1221832 h 4687251"/>
              <a:gd name="connsiteX20638" fmla="*/ 401515 w 8079933"/>
              <a:gd name="connsiteY20638" fmla="*/ 1219884 h 4687251"/>
              <a:gd name="connsiteX20639" fmla="*/ 405853 w 8079933"/>
              <a:gd name="connsiteY20639" fmla="*/ 1220425 h 4687251"/>
              <a:gd name="connsiteX20640" fmla="*/ 409652 w 8079933"/>
              <a:gd name="connsiteY20640" fmla="*/ 1218693 h 4687251"/>
              <a:gd name="connsiteX20641" fmla="*/ 489627 w 8079933"/>
              <a:gd name="connsiteY20641" fmla="*/ 1215878 h 4687251"/>
              <a:gd name="connsiteX20642" fmla="*/ 492883 w 8079933"/>
              <a:gd name="connsiteY20642" fmla="*/ 1217502 h 4687251"/>
              <a:gd name="connsiteX20643" fmla="*/ 490062 w 8079933"/>
              <a:gd name="connsiteY20643" fmla="*/ 1220100 h 4687251"/>
              <a:gd name="connsiteX20644" fmla="*/ 483659 w 8079933"/>
              <a:gd name="connsiteY20644" fmla="*/ 1214146 h 4687251"/>
              <a:gd name="connsiteX20645" fmla="*/ 486590 w 8079933"/>
              <a:gd name="connsiteY20645" fmla="*/ 1216636 h 4687251"/>
              <a:gd name="connsiteX20646" fmla="*/ 484529 w 8079933"/>
              <a:gd name="connsiteY20646" fmla="*/ 1220534 h 4687251"/>
              <a:gd name="connsiteX20647" fmla="*/ 483986 w 8079933"/>
              <a:gd name="connsiteY20647" fmla="*/ 1223241 h 4687251"/>
              <a:gd name="connsiteX20648" fmla="*/ 480946 w 8079933"/>
              <a:gd name="connsiteY20648" fmla="*/ 1223458 h 4687251"/>
              <a:gd name="connsiteX20649" fmla="*/ 478777 w 8079933"/>
              <a:gd name="connsiteY20649" fmla="*/ 1220426 h 4687251"/>
              <a:gd name="connsiteX20650" fmla="*/ 480295 w 8079933"/>
              <a:gd name="connsiteY20650" fmla="*/ 1215878 h 4687251"/>
              <a:gd name="connsiteX20651" fmla="*/ 497114 w 8079933"/>
              <a:gd name="connsiteY20651" fmla="*/ 1213063 h 4687251"/>
              <a:gd name="connsiteX20652" fmla="*/ 498199 w 8079933"/>
              <a:gd name="connsiteY20652" fmla="*/ 1215661 h 4687251"/>
              <a:gd name="connsiteX20653" fmla="*/ 495163 w 8079933"/>
              <a:gd name="connsiteY20653" fmla="*/ 1214579 h 4687251"/>
              <a:gd name="connsiteX20654" fmla="*/ 497114 w 8079933"/>
              <a:gd name="connsiteY20654" fmla="*/ 1213063 h 4687251"/>
              <a:gd name="connsiteX20655" fmla="*/ 609324 w 8079933"/>
              <a:gd name="connsiteY20655" fmla="*/ 1210248 h 4687251"/>
              <a:gd name="connsiteX20656" fmla="*/ 608345 w 8079933"/>
              <a:gd name="connsiteY20656" fmla="*/ 1213929 h 4687251"/>
              <a:gd name="connsiteX20657" fmla="*/ 605741 w 8079933"/>
              <a:gd name="connsiteY20657" fmla="*/ 1215012 h 4687251"/>
              <a:gd name="connsiteX20658" fmla="*/ 603679 w 8079933"/>
              <a:gd name="connsiteY20658" fmla="*/ 1214795 h 4687251"/>
              <a:gd name="connsiteX20659" fmla="*/ 604115 w 8079933"/>
              <a:gd name="connsiteY20659" fmla="*/ 1211980 h 4687251"/>
              <a:gd name="connsiteX20660" fmla="*/ 4527843 w 8079933"/>
              <a:gd name="connsiteY20660" fmla="*/ 1206523 h 4687251"/>
              <a:gd name="connsiteX20661" fmla="*/ 4528834 w 8079933"/>
              <a:gd name="connsiteY20661" fmla="*/ 1208624 h 4687251"/>
              <a:gd name="connsiteX20662" fmla="*/ 4533824 w 8079933"/>
              <a:gd name="connsiteY20662" fmla="*/ 1212094 h 4687251"/>
              <a:gd name="connsiteX20663" fmla="*/ 4533824 w 8079933"/>
              <a:gd name="connsiteY20663" fmla="*/ 1210682 h 4687251"/>
              <a:gd name="connsiteX20664" fmla="*/ 7555362 w 8079933"/>
              <a:gd name="connsiteY20664" fmla="*/ 1204618 h 4687251"/>
              <a:gd name="connsiteX20665" fmla="*/ 7561222 w 8079933"/>
              <a:gd name="connsiteY20665" fmla="*/ 1206242 h 4687251"/>
              <a:gd name="connsiteX20666" fmla="*/ 7564478 w 8079933"/>
              <a:gd name="connsiteY20666" fmla="*/ 1210140 h 4687251"/>
              <a:gd name="connsiteX20667" fmla="*/ 7569252 w 8079933"/>
              <a:gd name="connsiteY20667" fmla="*/ 1210681 h 4687251"/>
              <a:gd name="connsiteX20668" fmla="*/ 7572399 w 8079933"/>
              <a:gd name="connsiteY20668" fmla="*/ 1213280 h 4687251"/>
              <a:gd name="connsiteX20669" fmla="*/ 7579669 w 8079933"/>
              <a:gd name="connsiteY20669" fmla="*/ 1216204 h 4687251"/>
              <a:gd name="connsiteX20670" fmla="*/ 7581515 w 8079933"/>
              <a:gd name="connsiteY20670" fmla="*/ 1217935 h 4687251"/>
              <a:gd name="connsiteX20671" fmla="*/ 7575112 w 8079933"/>
              <a:gd name="connsiteY20671" fmla="*/ 1219235 h 4687251"/>
              <a:gd name="connsiteX20672" fmla="*/ 7572616 w 8079933"/>
              <a:gd name="connsiteY20672" fmla="*/ 1217069 h 4687251"/>
              <a:gd name="connsiteX20673" fmla="*/ 7565345 w 8079933"/>
              <a:gd name="connsiteY20673" fmla="*/ 1214796 h 4687251"/>
              <a:gd name="connsiteX20674" fmla="*/ 7560136 w 8079933"/>
              <a:gd name="connsiteY20674" fmla="*/ 1210140 h 4687251"/>
              <a:gd name="connsiteX20675" fmla="*/ 7555687 w 8079933"/>
              <a:gd name="connsiteY20675" fmla="*/ 1209924 h 4687251"/>
              <a:gd name="connsiteX20676" fmla="*/ 7553300 w 8079933"/>
              <a:gd name="connsiteY20676" fmla="*/ 1206242 h 4687251"/>
              <a:gd name="connsiteX20677" fmla="*/ 2507385 w 8079933"/>
              <a:gd name="connsiteY20677" fmla="*/ 1195848 h 4687251"/>
              <a:gd name="connsiteX20678" fmla="*/ 2510532 w 8079933"/>
              <a:gd name="connsiteY20678" fmla="*/ 1195956 h 4687251"/>
              <a:gd name="connsiteX20679" fmla="*/ 2514765 w 8079933"/>
              <a:gd name="connsiteY20679" fmla="*/ 1198446 h 4687251"/>
              <a:gd name="connsiteX20680" fmla="*/ 2515850 w 8079933"/>
              <a:gd name="connsiteY20680" fmla="*/ 1199529 h 4687251"/>
              <a:gd name="connsiteX20681" fmla="*/ 2518888 w 8079933"/>
              <a:gd name="connsiteY20681" fmla="*/ 1201045 h 4687251"/>
              <a:gd name="connsiteX20682" fmla="*/ 2521818 w 8079933"/>
              <a:gd name="connsiteY20682" fmla="*/ 1203643 h 4687251"/>
              <a:gd name="connsiteX20683" fmla="*/ 2522035 w 8079933"/>
              <a:gd name="connsiteY20683" fmla="*/ 1206567 h 4687251"/>
              <a:gd name="connsiteX20684" fmla="*/ 2521167 w 8079933"/>
              <a:gd name="connsiteY20684" fmla="*/ 1207000 h 4687251"/>
              <a:gd name="connsiteX20685" fmla="*/ 2520299 w 8079933"/>
              <a:gd name="connsiteY20685" fmla="*/ 1208407 h 4687251"/>
              <a:gd name="connsiteX20686" fmla="*/ 2517478 w 8079933"/>
              <a:gd name="connsiteY20686" fmla="*/ 1208732 h 4687251"/>
              <a:gd name="connsiteX20687" fmla="*/ 2515633 w 8079933"/>
              <a:gd name="connsiteY20687" fmla="*/ 1207325 h 4687251"/>
              <a:gd name="connsiteX20688" fmla="*/ 2512703 w 8079933"/>
              <a:gd name="connsiteY20688" fmla="*/ 1205809 h 4687251"/>
              <a:gd name="connsiteX20689" fmla="*/ 2512268 w 8079933"/>
              <a:gd name="connsiteY20689" fmla="*/ 1202777 h 4687251"/>
              <a:gd name="connsiteX20690" fmla="*/ 2512594 w 8079933"/>
              <a:gd name="connsiteY20690" fmla="*/ 1201478 h 4687251"/>
              <a:gd name="connsiteX20691" fmla="*/ 2511835 w 8079933"/>
              <a:gd name="connsiteY20691" fmla="*/ 1198880 h 4687251"/>
              <a:gd name="connsiteX20692" fmla="*/ 2506952 w 8079933"/>
              <a:gd name="connsiteY20692" fmla="*/ 1197472 h 4687251"/>
              <a:gd name="connsiteX20693" fmla="*/ 2505975 w 8079933"/>
              <a:gd name="connsiteY20693" fmla="*/ 1196064 h 4687251"/>
              <a:gd name="connsiteX20694" fmla="*/ 4160094 w 8079933"/>
              <a:gd name="connsiteY20694" fmla="*/ 1192925 h 4687251"/>
              <a:gd name="connsiteX20695" fmla="*/ 4154668 w 8079933"/>
              <a:gd name="connsiteY20695" fmla="*/ 1199637 h 4687251"/>
              <a:gd name="connsiteX20696" fmla="*/ 4152172 w 8079933"/>
              <a:gd name="connsiteY20696" fmla="*/ 1201803 h 4687251"/>
              <a:gd name="connsiteX20697" fmla="*/ 4150544 w 8079933"/>
              <a:gd name="connsiteY20697" fmla="*/ 1198880 h 4687251"/>
              <a:gd name="connsiteX20698" fmla="*/ 4146204 w 8079933"/>
              <a:gd name="connsiteY20698" fmla="*/ 1199205 h 4687251"/>
              <a:gd name="connsiteX20699" fmla="*/ 4149894 w 8079933"/>
              <a:gd name="connsiteY20699" fmla="*/ 1195198 h 4687251"/>
              <a:gd name="connsiteX20700" fmla="*/ 4156513 w 8079933"/>
              <a:gd name="connsiteY20700" fmla="*/ 1194441 h 4687251"/>
              <a:gd name="connsiteX20701" fmla="*/ 1078112 w 8079933"/>
              <a:gd name="connsiteY20701" fmla="*/ 1192817 h 4687251"/>
              <a:gd name="connsiteX20702" fmla="*/ 1082887 w 8079933"/>
              <a:gd name="connsiteY20702" fmla="*/ 1195415 h 4687251"/>
              <a:gd name="connsiteX20703" fmla="*/ 1082887 w 8079933"/>
              <a:gd name="connsiteY20703" fmla="*/ 1199205 h 4687251"/>
              <a:gd name="connsiteX20704" fmla="*/ 1080608 w 8079933"/>
              <a:gd name="connsiteY20704" fmla="*/ 1202345 h 4687251"/>
              <a:gd name="connsiteX20705" fmla="*/ 1082019 w 8079933"/>
              <a:gd name="connsiteY20705" fmla="*/ 1205268 h 4687251"/>
              <a:gd name="connsiteX20706" fmla="*/ 1083864 w 8079933"/>
              <a:gd name="connsiteY20706" fmla="*/ 1202670 h 4687251"/>
              <a:gd name="connsiteX20707" fmla="*/ 1087662 w 8079933"/>
              <a:gd name="connsiteY20707" fmla="*/ 1201154 h 4687251"/>
              <a:gd name="connsiteX20708" fmla="*/ 1092870 w 8079933"/>
              <a:gd name="connsiteY20708" fmla="*/ 1205268 h 4687251"/>
              <a:gd name="connsiteX20709" fmla="*/ 1092870 w 8079933"/>
              <a:gd name="connsiteY20709" fmla="*/ 1208841 h 4687251"/>
              <a:gd name="connsiteX20710" fmla="*/ 1088530 w 8079933"/>
              <a:gd name="connsiteY20710" fmla="*/ 1209924 h 4687251"/>
              <a:gd name="connsiteX20711" fmla="*/ 1089940 w 8079933"/>
              <a:gd name="connsiteY20711" fmla="*/ 1212847 h 4687251"/>
              <a:gd name="connsiteX20712" fmla="*/ 1087336 w 8079933"/>
              <a:gd name="connsiteY20712" fmla="*/ 1215337 h 4687251"/>
              <a:gd name="connsiteX20713" fmla="*/ 1083864 w 8079933"/>
              <a:gd name="connsiteY20713" fmla="*/ 1214363 h 4687251"/>
              <a:gd name="connsiteX20714" fmla="*/ 1080391 w 8079933"/>
              <a:gd name="connsiteY20714" fmla="*/ 1209166 h 4687251"/>
              <a:gd name="connsiteX20715" fmla="*/ 1074965 w 8079933"/>
              <a:gd name="connsiteY20715" fmla="*/ 1204186 h 4687251"/>
              <a:gd name="connsiteX20716" fmla="*/ 1074531 w 8079933"/>
              <a:gd name="connsiteY20716" fmla="*/ 1205376 h 4687251"/>
              <a:gd name="connsiteX20717" fmla="*/ 1080391 w 8079933"/>
              <a:gd name="connsiteY20717" fmla="*/ 1214688 h 4687251"/>
              <a:gd name="connsiteX20718" fmla="*/ 1080391 w 8079933"/>
              <a:gd name="connsiteY20718" fmla="*/ 1218478 h 4687251"/>
              <a:gd name="connsiteX20719" fmla="*/ 1085600 w 8079933"/>
              <a:gd name="connsiteY20719" fmla="*/ 1219127 h 4687251"/>
              <a:gd name="connsiteX20720" fmla="*/ 1087987 w 8079933"/>
              <a:gd name="connsiteY20720" fmla="*/ 1222917 h 4687251"/>
              <a:gd name="connsiteX20721" fmla="*/ 1085600 w 8079933"/>
              <a:gd name="connsiteY20721" fmla="*/ 1225299 h 4687251"/>
              <a:gd name="connsiteX20722" fmla="*/ 1085274 w 8079933"/>
              <a:gd name="connsiteY20722" fmla="*/ 1232119 h 4687251"/>
              <a:gd name="connsiteX20723" fmla="*/ 1082344 w 8079933"/>
              <a:gd name="connsiteY20723" fmla="*/ 1232553 h 4687251"/>
              <a:gd name="connsiteX20724" fmla="*/ 1077678 w 8079933"/>
              <a:gd name="connsiteY20724" fmla="*/ 1227464 h 4687251"/>
              <a:gd name="connsiteX20725" fmla="*/ 1077461 w 8079933"/>
              <a:gd name="connsiteY20725" fmla="*/ 1222808 h 4687251"/>
              <a:gd name="connsiteX20726" fmla="*/ 1071818 w 8079933"/>
              <a:gd name="connsiteY20726" fmla="*/ 1212631 h 4687251"/>
              <a:gd name="connsiteX20727" fmla="*/ 1070841 w 8079933"/>
              <a:gd name="connsiteY20727" fmla="*/ 1217286 h 4687251"/>
              <a:gd name="connsiteX20728" fmla="*/ 1073663 w 8079933"/>
              <a:gd name="connsiteY20728" fmla="*/ 1223999 h 4687251"/>
              <a:gd name="connsiteX20729" fmla="*/ 1073880 w 8079933"/>
              <a:gd name="connsiteY20729" fmla="*/ 1229088 h 4687251"/>
              <a:gd name="connsiteX20730" fmla="*/ 1070950 w 8079933"/>
              <a:gd name="connsiteY20730" fmla="*/ 1232770 h 4687251"/>
              <a:gd name="connsiteX20731" fmla="*/ 1066609 w 8079933"/>
              <a:gd name="connsiteY20731" fmla="*/ 1232445 h 4687251"/>
              <a:gd name="connsiteX20732" fmla="*/ 1062702 w 8079933"/>
              <a:gd name="connsiteY20732" fmla="*/ 1227464 h 4687251"/>
              <a:gd name="connsiteX20733" fmla="*/ 1065415 w 8079933"/>
              <a:gd name="connsiteY20733" fmla="*/ 1223783 h 4687251"/>
              <a:gd name="connsiteX20734" fmla="*/ 1062486 w 8079933"/>
              <a:gd name="connsiteY20734" fmla="*/ 1221617 h 4687251"/>
              <a:gd name="connsiteX20735" fmla="*/ 1063679 w 8079933"/>
              <a:gd name="connsiteY20735" fmla="*/ 1216962 h 4687251"/>
              <a:gd name="connsiteX20736" fmla="*/ 1060424 w 8079933"/>
              <a:gd name="connsiteY20736" fmla="*/ 1210790 h 4687251"/>
              <a:gd name="connsiteX20737" fmla="*/ 1063028 w 8079933"/>
              <a:gd name="connsiteY20737" fmla="*/ 1206135 h 4687251"/>
              <a:gd name="connsiteX20738" fmla="*/ 1065632 w 8079933"/>
              <a:gd name="connsiteY20738" fmla="*/ 1208517 h 4687251"/>
              <a:gd name="connsiteX20739" fmla="*/ 1067477 w 8079933"/>
              <a:gd name="connsiteY20739" fmla="*/ 1205701 h 4687251"/>
              <a:gd name="connsiteX20740" fmla="*/ 1064764 w 8079933"/>
              <a:gd name="connsiteY20740" fmla="*/ 1203860 h 4687251"/>
              <a:gd name="connsiteX20741" fmla="*/ 1064114 w 8079933"/>
              <a:gd name="connsiteY20741" fmla="*/ 1198231 h 4687251"/>
              <a:gd name="connsiteX20742" fmla="*/ 1066284 w 8079933"/>
              <a:gd name="connsiteY20742" fmla="*/ 1193033 h 4687251"/>
              <a:gd name="connsiteX20743" fmla="*/ 1068345 w 8079933"/>
              <a:gd name="connsiteY20743" fmla="*/ 1197689 h 4687251"/>
              <a:gd name="connsiteX20744" fmla="*/ 1070841 w 8079933"/>
              <a:gd name="connsiteY20744" fmla="*/ 1196823 h 4687251"/>
              <a:gd name="connsiteX20745" fmla="*/ 1071601 w 8079933"/>
              <a:gd name="connsiteY20745" fmla="*/ 1194333 h 4687251"/>
              <a:gd name="connsiteX20746" fmla="*/ 1101226 w 8079933"/>
              <a:gd name="connsiteY20746" fmla="*/ 1192384 h 4687251"/>
              <a:gd name="connsiteX20747" fmla="*/ 1102854 w 8079933"/>
              <a:gd name="connsiteY20747" fmla="*/ 1194766 h 4687251"/>
              <a:gd name="connsiteX20748" fmla="*/ 1102854 w 8079933"/>
              <a:gd name="connsiteY20748" fmla="*/ 1199205 h 4687251"/>
              <a:gd name="connsiteX20749" fmla="*/ 1108822 w 8079933"/>
              <a:gd name="connsiteY20749" fmla="*/ 1203211 h 4687251"/>
              <a:gd name="connsiteX20750" fmla="*/ 1111752 w 8079933"/>
              <a:gd name="connsiteY20750" fmla="*/ 1207000 h 4687251"/>
              <a:gd name="connsiteX20751" fmla="*/ 1112946 w 8079933"/>
              <a:gd name="connsiteY20751" fmla="*/ 1224324 h 4687251"/>
              <a:gd name="connsiteX20752" fmla="*/ 1110233 w 8079933"/>
              <a:gd name="connsiteY20752" fmla="*/ 1231253 h 4687251"/>
              <a:gd name="connsiteX20753" fmla="*/ 1108171 w 8079933"/>
              <a:gd name="connsiteY20753" fmla="*/ 1229629 h 4687251"/>
              <a:gd name="connsiteX20754" fmla="*/ 1109257 w 8079933"/>
              <a:gd name="connsiteY20754" fmla="*/ 1219018 h 4687251"/>
              <a:gd name="connsiteX20755" fmla="*/ 1107303 w 8079933"/>
              <a:gd name="connsiteY20755" fmla="*/ 1209166 h 4687251"/>
              <a:gd name="connsiteX20756" fmla="*/ 1106109 w 8079933"/>
              <a:gd name="connsiteY20756" fmla="*/ 1213714 h 4687251"/>
              <a:gd name="connsiteX20757" fmla="*/ 1105784 w 8079933"/>
              <a:gd name="connsiteY20757" fmla="*/ 1229953 h 4687251"/>
              <a:gd name="connsiteX20758" fmla="*/ 1104373 w 8079933"/>
              <a:gd name="connsiteY20758" fmla="*/ 1232985 h 4687251"/>
              <a:gd name="connsiteX20759" fmla="*/ 1103831 w 8079933"/>
              <a:gd name="connsiteY20759" fmla="*/ 1236991 h 4687251"/>
              <a:gd name="connsiteX20760" fmla="*/ 1101443 w 8079933"/>
              <a:gd name="connsiteY20760" fmla="*/ 1239048 h 4687251"/>
              <a:gd name="connsiteX20761" fmla="*/ 1097862 w 8079933"/>
              <a:gd name="connsiteY20761" fmla="*/ 1237532 h 4687251"/>
              <a:gd name="connsiteX20762" fmla="*/ 1096560 w 8079933"/>
              <a:gd name="connsiteY20762" fmla="*/ 1244570 h 4687251"/>
              <a:gd name="connsiteX20763" fmla="*/ 1089724 w 8079933"/>
              <a:gd name="connsiteY20763" fmla="*/ 1248576 h 4687251"/>
              <a:gd name="connsiteX20764" fmla="*/ 1085816 w 8079933"/>
              <a:gd name="connsiteY20764" fmla="*/ 1252149 h 4687251"/>
              <a:gd name="connsiteX20765" fmla="*/ 1083321 w 8079933"/>
              <a:gd name="connsiteY20765" fmla="*/ 1248685 h 4687251"/>
              <a:gd name="connsiteX20766" fmla="*/ 1085925 w 8079933"/>
              <a:gd name="connsiteY20766" fmla="*/ 1243704 h 4687251"/>
              <a:gd name="connsiteX20767" fmla="*/ 1086251 w 8079933"/>
              <a:gd name="connsiteY20767" fmla="*/ 1238399 h 4687251"/>
              <a:gd name="connsiteX20768" fmla="*/ 1089397 w 8079933"/>
              <a:gd name="connsiteY20768" fmla="*/ 1235475 h 4687251"/>
              <a:gd name="connsiteX20769" fmla="*/ 1094932 w 8079933"/>
              <a:gd name="connsiteY20769" fmla="*/ 1235692 h 4687251"/>
              <a:gd name="connsiteX20770" fmla="*/ 1093196 w 8079933"/>
              <a:gd name="connsiteY20770" fmla="*/ 1232769 h 4687251"/>
              <a:gd name="connsiteX20771" fmla="*/ 1095367 w 8079933"/>
              <a:gd name="connsiteY20771" fmla="*/ 1229845 h 4687251"/>
              <a:gd name="connsiteX20772" fmla="*/ 1091460 w 8079933"/>
              <a:gd name="connsiteY20772" fmla="*/ 1227788 h 4687251"/>
              <a:gd name="connsiteX20773" fmla="*/ 1092328 w 8079933"/>
              <a:gd name="connsiteY20773" fmla="*/ 1219885 h 4687251"/>
              <a:gd name="connsiteX20774" fmla="*/ 1096994 w 8079933"/>
              <a:gd name="connsiteY20774" fmla="*/ 1213496 h 4687251"/>
              <a:gd name="connsiteX20775" fmla="*/ 1097971 w 8079933"/>
              <a:gd name="connsiteY20775" fmla="*/ 1198663 h 4687251"/>
              <a:gd name="connsiteX20776" fmla="*/ 2432618 w 8079933"/>
              <a:gd name="connsiteY20776" fmla="*/ 1191193 h 4687251"/>
              <a:gd name="connsiteX20777" fmla="*/ 2435548 w 8079933"/>
              <a:gd name="connsiteY20777" fmla="*/ 1191734 h 4687251"/>
              <a:gd name="connsiteX20778" fmla="*/ 2440865 w 8079933"/>
              <a:gd name="connsiteY20778" fmla="*/ 1195957 h 4687251"/>
              <a:gd name="connsiteX20779" fmla="*/ 2444663 w 8079933"/>
              <a:gd name="connsiteY20779" fmla="*/ 1197906 h 4687251"/>
              <a:gd name="connsiteX20780" fmla="*/ 2446183 w 8079933"/>
              <a:gd name="connsiteY20780" fmla="*/ 1199747 h 4687251"/>
              <a:gd name="connsiteX20781" fmla="*/ 2441408 w 8079933"/>
              <a:gd name="connsiteY20781" fmla="*/ 1198123 h 4687251"/>
              <a:gd name="connsiteX20782" fmla="*/ 2437826 w 8079933"/>
              <a:gd name="connsiteY20782" fmla="*/ 1197581 h 4687251"/>
              <a:gd name="connsiteX20783" fmla="*/ 2434680 w 8079933"/>
              <a:gd name="connsiteY20783" fmla="*/ 1194225 h 4687251"/>
              <a:gd name="connsiteX20784" fmla="*/ 2430990 w 8079933"/>
              <a:gd name="connsiteY20784" fmla="*/ 1191626 h 4687251"/>
              <a:gd name="connsiteX20785" fmla="*/ 2321061 w 8079933"/>
              <a:gd name="connsiteY20785" fmla="*/ 1189136 h 4687251"/>
              <a:gd name="connsiteX20786" fmla="*/ 2322689 w 8079933"/>
              <a:gd name="connsiteY20786" fmla="*/ 1189894 h 4687251"/>
              <a:gd name="connsiteX20787" fmla="*/ 2325076 w 8079933"/>
              <a:gd name="connsiteY20787" fmla="*/ 1192601 h 4687251"/>
              <a:gd name="connsiteX20788" fmla="*/ 2327139 w 8079933"/>
              <a:gd name="connsiteY20788" fmla="*/ 1192601 h 4687251"/>
              <a:gd name="connsiteX20789" fmla="*/ 2329417 w 8079933"/>
              <a:gd name="connsiteY20789" fmla="*/ 1191518 h 4687251"/>
              <a:gd name="connsiteX20790" fmla="*/ 2330937 w 8079933"/>
              <a:gd name="connsiteY20790" fmla="*/ 1193034 h 4687251"/>
              <a:gd name="connsiteX20791" fmla="*/ 2331045 w 8079933"/>
              <a:gd name="connsiteY20791" fmla="*/ 1195957 h 4687251"/>
              <a:gd name="connsiteX20792" fmla="*/ 2331913 w 8079933"/>
              <a:gd name="connsiteY20792" fmla="*/ 1198447 h 4687251"/>
              <a:gd name="connsiteX20793" fmla="*/ 2329851 w 8079933"/>
              <a:gd name="connsiteY20793" fmla="*/ 1201479 h 4687251"/>
              <a:gd name="connsiteX20794" fmla="*/ 2327681 w 8079933"/>
              <a:gd name="connsiteY20794" fmla="*/ 1203752 h 4687251"/>
              <a:gd name="connsiteX20795" fmla="*/ 2328224 w 8079933"/>
              <a:gd name="connsiteY20795" fmla="*/ 1206568 h 4687251"/>
              <a:gd name="connsiteX20796" fmla="*/ 2328441 w 8079933"/>
              <a:gd name="connsiteY20796" fmla="*/ 1208191 h 4687251"/>
              <a:gd name="connsiteX20797" fmla="*/ 2327464 w 8079933"/>
              <a:gd name="connsiteY20797" fmla="*/ 1209383 h 4687251"/>
              <a:gd name="connsiteX20798" fmla="*/ 2324968 w 8079933"/>
              <a:gd name="connsiteY20798" fmla="*/ 1209924 h 4687251"/>
              <a:gd name="connsiteX20799" fmla="*/ 2322255 w 8079933"/>
              <a:gd name="connsiteY20799" fmla="*/ 1213821 h 4687251"/>
              <a:gd name="connsiteX20800" fmla="*/ 2318023 w 8079933"/>
              <a:gd name="connsiteY20800" fmla="*/ 1217286 h 4687251"/>
              <a:gd name="connsiteX20801" fmla="*/ 2317263 w 8079933"/>
              <a:gd name="connsiteY20801" fmla="*/ 1219343 h 4687251"/>
              <a:gd name="connsiteX20802" fmla="*/ 2318457 w 8079933"/>
              <a:gd name="connsiteY20802" fmla="*/ 1220426 h 4687251"/>
              <a:gd name="connsiteX20803" fmla="*/ 2318023 w 8079933"/>
              <a:gd name="connsiteY20803" fmla="*/ 1222483 h 4687251"/>
              <a:gd name="connsiteX20804" fmla="*/ 2316395 w 8079933"/>
              <a:gd name="connsiteY20804" fmla="*/ 1224757 h 4687251"/>
              <a:gd name="connsiteX20805" fmla="*/ 2315853 w 8079933"/>
              <a:gd name="connsiteY20805" fmla="*/ 1226597 h 4687251"/>
              <a:gd name="connsiteX20806" fmla="*/ 2314550 w 8079933"/>
              <a:gd name="connsiteY20806" fmla="*/ 1228438 h 4687251"/>
              <a:gd name="connsiteX20807" fmla="*/ 2313249 w 8079933"/>
              <a:gd name="connsiteY20807" fmla="*/ 1228330 h 4687251"/>
              <a:gd name="connsiteX20808" fmla="*/ 2312380 w 8079933"/>
              <a:gd name="connsiteY20808" fmla="*/ 1224757 h 4687251"/>
              <a:gd name="connsiteX20809" fmla="*/ 2310752 w 8079933"/>
              <a:gd name="connsiteY20809" fmla="*/ 1223782 h 4687251"/>
              <a:gd name="connsiteX20810" fmla="*/ 2309451 w 8079933"/>
              <a:gd name="connsiteY20810" fmla="*/ 1220859 h 4687251"/>
              <a:gd name="connsiteX20811" fmla="*/ 2305978 w 8079933"/>
              <a:gd name="connsiteY20811" fmla="*/ 1220209 h 4687251"/>
              <a:gd name="connsiteX20812" fmla="*/ 2304676 w 8079933"/>
              <a:gd name="connsiteY20812" fmla="*/ 1218477 h 4687251"/>
              <a:gd name="connsiteX20813" fmla="*/ 2306629 w 8079933"/>
              <a:gd name="connsiteY20813" fmla="*/ 1215770 h 4687251"/>
              <a:gd name="connsiteX20814" fmla="*/ 2306086 w 8079933"/>
              <a:gd name="connsiteY20814" fmla="*/ 1211656 h 4687251"/>
              <a:gd name="connsiteX20815" fmla="*/ 2307389 w 8079933"/>
              <a:gd name="connsiteY20815" fmla="*/ 1208841 h 4687251"/>
              <a:gd name="connsiteX20816" fmla="*/ 2310210 w 8079933"/>
              <a:gd name="connsiteY20816" fmla="*/ 1207001 h 4687251"/>
              <a:gd name="connsiteX20817" fmla="*/ 2309125 w 8079933"/>
              <a:gd name="connsiteY20817" fmla="*/ 1203536 h 4687251"/>
              <a:gd name="connsiteX20818" fmla="*/ 2309993 w 8079933"/>
              <a:gd name="connsiteY20818" fmla="*/ 1199313 h 4687251"/>
              <a:gd name="connsiteX20819" fmla="*/ 2312814 w 8079933"/>
              <a:gd name="connsiteY20819" fmla="*/ 1196499 h 4687251"/>
              <a:gd name="connsiteX20820" fmla="*/ 2314659 w 8079933"/>
              <a:gd name="connsiteY20820" fmla="*/ 1196065 h 4687251"/>
              <a:gd name="connsiteX20821" fmla="*/ 2319217 w 8079933"/>
              <a:gd name="connsiteY20821" fmla="*/ 1191734 h 4687251"/>
              <a:gd name="connsiteX20822" fmla="*/ 2362190 w 8079933"/>
              <a:gd name="connsiteY20822" fmla="*/ 1188811 h 4687251"/>
              <a:gd name="connsiteX20823" fmla="*/ 2367073 w 8079933"/>
              <a:gd name="connsiteY20823" fmla="*/ 1189569 h 4687251"/>
              <a:gd name="connsiteX20824" fmla="*/ 2366422 w 8079933"/>
              <a:gd name="connsiteY20824" fmla="*/ 1191193 h 4687251"/>
              <a:gd name="connsiteX20825" fmla="*/ 2362298 w 8079933"/>
              <a:gd name="connsiteY20825" fmla="*/ 1191193 h 4687251"/>
              <a:gd name="connsiteX20826" fmla="*/ 2361105 w 8079933"/>
              <a:gd name="connsiteY20826" fmla="*/ 1189460 h 4687251"/>
              <a:gd name="connsiteX20827" fmla="*/ 7513150 w 8079933"/>
              <a:gd name="connsiteY20827" fmla="*/ 1186645 h 4687251"/>
              <a:gd name="connsiteX20828" fmla="*/ 7518142 w 8079933"/>
              <a:gd name="connsiteY20828" fmla="*/ 1187078 h 4687251"/>
              <a:gd name="connsiteX20829" fmla="*/ 7515862 w 8079933"/>
              <a:gd name="connsiteY20829" fmla="*/ 1189135 h 4687251"/>
              <a:gd name="connsiteX20830" fmla="*/ 7515862 w 8079933"/>
              <a:gd name="connsiteY20830" fmla="*/ 1190867 h 4687251"/>
              <a:gd name="connsiteX20831" fmla="*/ 7520203 w 8079933"/>
              <a:gd name="connsiteY20831" fmla="*/ 1197363 h 4687251"/>
              <a:gd name="connsiteX20832" fmla="*/ 7524652 w 8079933"/>
              <a:gd name="connsiteY20832" fmla="*/ 1197796 h 4687251"/>
              <a:gd name="connsiteX20833" fmla="*/ 7526389 w 8079933"/>
              <a:gd name="connsiteY20833" fmla="*/ 1202236 h 4687251"/>
              <a:gd name="connsiteX20834" fmla="*/ 7532900 w 8079933"/>
              <a:gd name="connsiteY20834" fmla="*/ 1207000 h 4687251"/>
              <a:gd name="connsiteX20835" fmla="*/ 7537892 w 8079933"/>
              <a:gd name="connsiteY20835" fmla="*/ 1208732 h 4687251"/>
              <a:gd name="connsiteX20836" fmla="*/ 7540713 w 8079933"/>
              <a:gd name="connsiteY20836" fmla="*/ 1214146 h 4687251"/>
              <a:gd name="connsiteX20837" fmla="*/ 7539628 w 8079933"/>
              <a:gd name="connsiteY20837" fmla="*/ 1215986 h 4687251"/>
              <a:gd name="connsiteX20838" fmla="*/ 7534527 w 8079933"/>
              <a:gd name="connsiteY20838" fmla="*/ 1215336 h 4687251"/>
              <a:gd name="connsiteX20839" fmla="*/ 7529970 w 8079933"/>
              <a:gd name="connsiteY20839" fmla="*/ 1210789 h 4687251"/>
              <a:gd name="connsiteX20840" fmla="*/ 7527908 w 8079933"/>
              <a:gd name="connsiteY20840" fmla="*/ 1211872 h 4687251"/>
              <a:gd name="connsiteX20841" fmla="*/ 7525738 w 8079933"/>
              <a:gd name="connsiteY20841" fmla="*/ 1211547 h 4687251"/>
              <a:gd name="connsiteX20842" fmla="*/ 7521723 w 8079933"/>
              <a:gd name="connsiteY20842" fmla="*/ 1207000 h 4687251"/>
              <a:gd name="connsiteX20843" fmla="*/ 7518359 w 8079933"/>
              <a:gd name="connsiteY20843" fmla="*/ 1206350 h 4687251"/>
              <a:gd name="connsiteX20844" fmla="*/ 7513584 w 8079933"/>
              <a:gd name="connsiteY20844" fmla="*/ 1200504 h 4687251"/>
              <a:gd name="connsiteX20845" fmla="*/ 7514018 w 8079933"/>
              <a:gd name="connsiteY20845" fmla="*/ 1198771 h 4687251"/>
              <a:gd name="connsiteX20846" fmla="*/ 7511414 w 8079933"/>
              <a:gd name="connsiteY20846" fmla="*/ 1196065 h 4687251"/>
              <a:gd name="connsiteX20847" fmla="*/ 7507398 w 8079933"/>
              <a:gd name="connsiteY20847" fmla="*/ 1196173 h 4687251"/>
              <a:gd name="connsiteX20848" fmla="*/ 7503600 w 8079933"/>
              <a:gd name="connsiteY20848" fmla="*/ 1194440 h 4687251"/>
              <a:gd name="connsiteX20849" fmla="*/ 7503492 w 8079933"/>
              <a:gd name="connsiteY20849" fmla="*/ 1191734 h 4687251"/>
              <a:gd name="connsiteX20850" fmla="*/ 7506965 w 8079933"/>
              <a:gd name="connsiteY20850" fmla="*/ 1187620 h 4687251"/>
              <a:gd name="connsiteX20851" fmla="*/ 7510220 w 8079933"/>
              <a:gd name="connsiteY20851" fmla="*/ 1187620 h 4687251"/>
              <a:gd name="connsiteX20852" fmla="*/ 4165086 w 8079933"/>
              <a:gd name="connsiteY20852" fmla="*/ 1185778 h 4687251"/>
              <a:gd name="connsiteX20853" fmla="*/ 4160203 w 8079933"/>
              <a:gd name="connsiteY20853" fmla="*/ 1191625 h 4687251"/>
              <a:gd name="connsiteX20854" fmla="*/ 4157273 w 8079933"/>
              <a:gd name="connsiteY20854" fmla="*/ 1190325 h 4687251"/>
              <a:gd name="connsiteX20855" fmla="*/ 4159009 w 8079933"/>
              <a:gd name="connsiteY20855" fmla="*/ 1186861 h 4687251"/>
              <a:gd name="connsiteX20856" fmla="*/ 1077029 w 8079933"/>
              <a:gd name="connsiteY20856" fmla="*/ 1185455 h 4687251"/>
              <a:gd name="connsiteX20857" fmla="*/ 1078656 w 8079933"/>
              <a:gd name="connsiteY20857" fmla="*/ 1188161 h 4687251"/>
              <a:gd name="connsiteX20858" fmla="*/ 1075184 w 8079933"/>
              <a:gd name="connsiteY20858" fmla="*/ 1190761 h 4687251"/>
              <a:gd name="connsiteX20859" fmla="*/ 1072579 w 8079933"/>
              <a:gd name="connsiteY20859" fmla="*/ 1189245 h 4687251"/>
              <a:gd name="connsiteX20860" fmla="*/ 4517006 w 8079933"/>
              <a:gd name="connsiteY20860" fmla="*/ 1182481 h 4687251"/>
              <a:gd name="connsiteX20861" fmla="*/ 4517006 w 8079933"/>
              <a:gd name="connsiteY20861" fmla="*/ 1182639 h 4687251"/>
              <a:gd name="connsiteX20862" fmla="*/ 4520152 w 8079933"/>
              <a:gd name="connsiteY20862" fmla="*/ 1186645 h 4687251"/>
              <a:gd name="connsiteX20863" fmla="*/ 4525130 w 8079933"/>
              <a:gd name="connsiteY20863" fmla="*/ 1187473 h 4687251"/>
              <a:gd name="connsiteX20864" fmla="*/ 4523842 w 8079933"/>
              <a:gd name="connsiteY20864" fmla="*/ 1184697 h 4687251"/>
              <a:gd name="connsiteX20865" fmla="*/ 4517981 w 8079933"/>
              <a:gd name="connsiteY20865" fmla="*/ 1183723 h 4687251"/>
              <a:gd name="connsiteX20866" fmla="*/ 655008 w 8079933"/>
              <a:gd name="connsiteY20866" fmla="*/ 1182207 h 4687251"/>
              <a:gd name="connsiteX20867" fmla="*/ 653163 w 8079933"/>
              <a:gd name="connsiteY20867" fmla="*/ 1185130 h 4687251"/>
              <a:gd name="connsiteX20868" fmla="*/ 651644 w 8079933"/>
              <a:gd name="connsiteY20868" fmla="*/ 1182748 h 4687251"/>
              <a:gd name="connsiteX20869" fmla="*/ 651425 w 8079933"/>
              <a:gd name="connsiteY20869" fmla="*/ 1178417 h 4687251"/>
              <a:gd name="connsiteX20870" fmla="*/ 642312 w 8079933"/>
              <a:gd name="connsiteY20870" fmla="*/ 1187512 h 4687251"/>
              <a:gd name="connsiteX20871" fmla="*/ 637970 w 8079933"/>
              <a:gd name="connsiteY20871" fmla="*/ 1188054 h 4687251"/>
              <a:gd name="connsiteX20872" fmla="*/ 641661 w 8079933"/>
              <a:gd name="connsiteY20872" fmla="*/ 1181882 h 4687251"/>
              <a:gd name="connsiteX20873" fmla="*/ 4414566 w 8079933"/>
              <a:gd name="connsiteY20873" fmla="*/ 1176901 h 4687251"/>
              <a:gd name="connsiteX20874" fmla="*/ 4421728 w 8079933"/>
              <a:gd name="connsiteY20874" fmla="*/ 1178092 h 4687251"/>
              <a:gd name="connsiteX20875" fmla="*/ 4421402 w 8079933"/>
              <a:gd name="connsiteY20875" fmla="*/ 1180149 h 4687251"/>
              <a:gd name="connsiteX20876" fmla="*/ 4417062 w 8079933"/>
              <a:gd name="connsiteY20876" fmla="*/ 1180258 h 4687251"/>
              <a:gd name="connsiteX20877" fmla="*/ 4419340 w 8079933"/>
              <a:gd name="connsiteY20877" fmla="*/ 1182856 h 4687251"/>
              <a:gd name="connsiteX20878" fmla="*/ 4417495 w 8079933"/>
              <a:gd name="connsiteY20878" fmla="*/ 1185130 h 4687251"/>
              <a:gd name="connsiteX20879" fmla="*/ 4413372 w 8079933"/>
              <a:gd name="connsiteY20879" fmla="*/ 1184805 h 4687251"/>
              <a:gd name="connsiteX20880" fmla="*/ 4410008 w 8079933"/>
              <a:gd name="connsiteY20880" fmla="*/ 1180149 h 4687251"/>
              <a:gd name="connsiteX20881" fmla="*/ 2651387 w 8079933"/>
              <a:gd name="connsiteY20881" fmla="*/ 1176576 h 4687251"/>
              <a:gd name="connsiteX20882" fmla="*/ 2653015 w 8079933"/>
              <a:gd name="connsiteY20882" fmla="*/ 1178092 h 4687251"/>
              <a:gd name="connsiteX20883" fmla="*/ 2653666 w 8079933"/>
              <a:gd name="connsiteY20883" fmla="*/ 1182856 h 4687251"/>
              <a:gd name="connsiteX20884" fmla="*/ 2652147 w 8079933"/>
              <a:gd name="connsiteY20884" fmla="*/ 1188270 h 4687251"/>
              <a:gd name="connsiteX20885" fmla="*/ 2652907 w 8079933"/>
              <a:gd name="connsiteY20885" fmla="*/ 1191409 h 4687251"/>
              <a:gd name="connsiteX20886" fmla="*/ 2651387 w 8079933"/>
              <a:gd name="connsiteY20886" fmla="*/ 1193250 h 4687251"/>
              <a:gd name="connsiteX20887" fmla="*/ 2649217 w 8079933"/>
              <a:gd name="connsiteY20887" fmla="*/ 1189460 h 4687251"/>
              <a:gd name="connsiteX20888" fmla="*/ 2650519 w 8079933"/>
              <a:gd name="connsiteY20888" fmla="*/ 1184155 h 4687251"/>
              <a:gd name="connsiteX20889" fmla="*/ 592719 w 8079933"/>
              <a:gd name="connsiteY20889" fmla="*/ 1172029 h 4687251"/>
              <a:gd name="connsiteX20890" fmla="*/ 595215 w 8079933"/>
              <a:gd name="connsiteY20890" fmla="*/ 1174735 h 4687251"/>
              <a:gd name="connsiteX20891" fmla="*/ 591960 w 8079933"/>
              <a:gd name="connsiteY20891" fmla="*/ 1176251 h 4687251"/>
              <a:gd name="connsiteX20892" fmla="*/ 587944 w 8079933"/>
              <a:gd name="connsiteY20892" fmla="*/ 1172137 h 4687251"/>
              <a:gd name="connsiteX20893" fmla="*/ 2929407 w 8079933"/>
              <a:gd name="connsiteY20893" fmla="*/ 1167156 h 4687251"/>
              <a:gd name="connsiteX20894" fmla="*/ 2925934 w 8079933"/>
              <a:gd name="connsiteY20894" fmla="*/ 1172028 h 4687251"/>
              <a:gd name="connsiteX20895" fmla="*/ 2922136 w 8079933"/>
              <a:gd name="connsiteY20895" fmla="*/ 1175060 h 4687251"/>
              <a:gd name="connsiteX20896" fmla="*/ 2920183 w 8079933"/>
              <a:gd name="connsiteY20896" fmla="*/ 1175385 h 4687251"/>
              <a:gd name="connsiteX20897" fmla="*/ 2925066 w 8079933"/>
              <a:gd name="connsiteY20897" fmla="*/ 1170729 h 4687251"/>
              <a:gd name="connsiteX20898" fmla="*/ 2927345 w 8079933"/>
              <a:gd name="connsiteY20898" fmla="*/ 1168022 h 4687251"/>
              <a:gd name="connsiteX20899" fmla="*/ 4515594 w 8079933"/>
              <a:gd name="connsiteY20899" fmla="*/ 1166845 h 4687251"/>
              <a:gd name="connsiteX20900" fmla="*/ 4515594 w 8079933"/>
              <a:gd name="connsiteY20900" fmla="*/ 1169213 h 4687251"/>
              <a:gd name="connsiteX20901" fmla="*/ 4516596 w 8079933"/>
              <a:gd name="connsiteY20901" fmla="*/ 1169469 h 4687251"/>
              <a:gd name="connsiteX20902" fmla="*/ 4518090 w 8079933"/>
              <a:gd name="connsiteY20902" fmla="*/ 1167482 h 4687251"/>
              <a:gd name="connsiteX20903" fmla="*/ 2923873 w 8079933"/>
              <a:gd name="connsiteY20903" fmla="*/ 1166183 h 4687251"/>
              <a:gd name="connsiteX20904" fmla="*/ 2925609 w 8079933"/>
              <a:gd name="connsiteY20904" fmla="*/ 1166183 h 4687251"/>
              <a:gd name="connsiteX20905" fmla="*/ 2923981 w 8079933"/>
              <a:gd name="connsiteY20905" fmla="*/ 1168997 h 4687251"/>
              <a:gd name="connsiteX20906" fmla="*/ 2921593 w 8079933"/>
              <a:gd name="connsiteY20906" fmla="*/ 1170946 h 4687251"/>
              <a:gd name="connsiteX20907" fmla="*/ 2919966 w 8079933"/>
              <a:gd name="connsiteY20907" fmla="*/ 1171704 h 4687251"/>
              <a:gd name="connsiteX20908" fmla="*/ 2919966 w 8079933"/>
              <a:gd name="connsiteY20908" fmla="*/ 1170405 h 4687251"/>
              <a:gd name="connsiteX20909" fmla="*/ 2261053 w 8079933"/>
              <a:gd name="connsiteY20909" fmla="*/ 1164342 h 4687251"/>
              <a:gd name="connsiteX20910" fmla="*/ 2262463 w 8079933"/>
              <a:gd name="connsiteY20910" fmla="*/ 1168673 h 4687251"/>
              <a:gd name="connsiteX20911" fmla="*/ 2266261 w 8079933"/>
              <a:gd name="connsiteY20911" fmla="*/ 1170621 h 4687251"/>
              <a:gd name="connsiteX20912" fmla="*/ 2269191 w 8079933"/>
              <a:gd name="connsiteY20912" fmla="*/ 1167157 h 4687251"/>
              <a:gd name="connsiteX20913" fmla="*/ 2271579 w 8079933"/>
              <a:gd name="connsiteY20913" fmla="*/ 1166291 h 4687251"/>
              <a:gd name="connsiteX20914" fmla="*/ 2273424 w 8079933"/>
              <a:gd name="connsiteY20914" fmla="*/ 1167698 h 4687251"/>
              <a:gd name="connsiteX20915" fmla="*/ 2277005 w 8079933"/>
              <a:gd name="connsiteY20915" fmla="*/ 1165858 h 4687251"/>
              <a:gd name="connsiteX20916" fmla="*/ 2280260 w 8079933"/>
              <a:gd name="connsiteY20916" fmla="*/ 1165858 h 4687251"/>
              <a:gd name="connsiteX20917" fmla="*/ 2282322 w 8079933"/>
              <a:gd name="connsiteY20917" fmla="*/ 1167266 h 4687251"/>
              <a:gd name="connsiteX20918" fmla="*/ 2286663 w 8079933"/>
              <a:gd name="connsiteY20918" fmla="*/ 1167266 h 4687251"/>
              <a:gd name="connsiteX20919" fmla="*/ 2288399 w 8079933"/>
              <a:gd name="connsiteY20919" fmla="*/ 1168673 h 4687251"/>
              <a:gd name="connsiteX20920" fmla="*/ 2284601 w 8079933"/>
              <a:gd name="connsiteY20920" fmla="*/ 1173111 h 4687251"/>
              <a:gd name="connsiteX20921" fmla="*/ 2284601 w 8079933"/>
              <a:gd name="connsiteY20921" fmla="*/ 1176360 h 4687251"/>
              <a:gd name="connsiteX20922" fmla="*/ 2279067 w 8079933"/>
              <a:gd name="connsiteY20922" fmla="*/ 1180366 h 4687251"/>
              <a:gd name="connsiteX20923" fmla="*/ 2275377 w 8079933"/>
              <a:gd name="connsiteY20923" fmla="*/ 1180582 h 4687251"/>
              <a:gd name="connsiteX20924" fmla="*/ 2271579 w 8079933"/>
              <a:gd name="connsiteY20924" fmla="*/ 1186212 h 4687251"/>
              <a:gd name="connsiteX20925" fmla="*/ 2267455 w 8079933"/>
              <a:gd name="connsiteY20925" fmla="*/ 1188919 h 4687251"/>
              <a:gd name="connsiteX20926" fmla="*/ 2263983 w 8079933"/>
              <a:gd name="connsiteY20926" fmla="*/ 1190002 h 4687251"/>
              <a:gd name="connsiteX20927" fmla="*/ 2257472 w 8079933"/>
              <a:gd name="connsiteY20927" fmla="*/ 1195523 h 4687251"/>
              <a:gd name="connsiteX20928" fmla="*/ 2253999 w 8079933"/>
              <a:gd name="connsiteY20928" fmla="*/ 1195523 h 4687251"/>
              <a:gd name="connsiteX20929" fmla="*/ 2253348 w 8079933"/>
              <a:gd name="connsiteY20929" fmla="*/ 1192925 h 4687251"/>
              <a:gd name="connsiteX20930" fmla="*/ 2251069 w 8079933"/>
              <a:gd name="connsiteY20930" fmla="*/ 1192275 h 4687251"/>
              <a:gd name="connsiteX20931" fmla="*/ 2247922 w 8079933"/>
              <a:gd name="connsiteY20931" fmla="*/ 1192275 h 4687251"/>
              <a:gd name="connsiteX20932" fmla="*/ 2243798 w 8079933"/>
              <a:gd name="connsiteY20932" fmla="*/ 1197472 h 4687251"/>
              <a:gd name="connsiteX20933" fmla="*/ 2241954 w 8079933"/>
              <a:gd name="connsiteY20933" fmla="*/ 1198339 h 4687251"/>
              <a:gd name="connsiteX20934" fmla="*/ 2240869 w 8079933"/>
              <a:gd name="connsiteY20934" fmla="*/ 1196931 h 4687251"/>
              <a:gd name="connsiteX20935" fmla="*/ 2240869 w 8079933"/>
              <a:gd name="connsiteY20935" fmla="*/ 1192600 h 4687251"/>
              <a:gd name="connsiteX20936" fmla="*/ 2242279 w 8079933"/>
              <a:gd name="connsiteY20936" fmla="*/ 1189135 h 4687251"/>
              <a:gd name="connsiteX20937" fmla="*/ 2240869 w 8079933"/>
              <a:gd name="connsiteY20937" fmla="*/ 1184480 h 4687251"/>
              <a:gd name="connsiteX20938" fmla="*/ 2238807 w 8079933"/>
              <a:gd name="connsiteY20938" fmla="*/ 1182639 h 4687251"/>
              <a:gd name="connsiteX20939" fmla="*/ 2239675 w 8079933"/>
              <a:gd name="connsiteY20939" fmla="*/ 1179716 h 4687251"/>
              <a:gd name="connsiteX20940" fmla="*/ 2248140 w 8079933"/>
              <a:gd name="connsiteY20940" fmla="*/ 1177442 h 4687251"/>
              <a:gd name="connsiteX20941" fmla="*/ 2249984 w 8079933"/>
              <a:gd name="connsiteY20941" fmla="*/ 1175060 h 4687251"/>
              <a:gd name="connsiteX20942" fmla="*/ 2249984 w 8079933"/>
              <a:gd name="connsiteY20942" fmla="*/ 1172787 h 4687251"/>
              <a:gd name="connsiteX20943" fmla="*/ 2254976 w 8079933"/>
              <a:gd name="connsiteY20943" fmla="*/ 1166615 h 4687251"/>
              <a:gd name="connsiteX20944" fmla="*/ 2259317 w 8079933"/>
              <a:gd name="connsiteY20944" fmla="*/ 1165425 h 4687251"/>
              <a:gd name="connsiteX20945" fmla="*/ 4628560 w 8079933"/>
              <a:gd name="connsiteY20945" fmla="*/ 1163475 h 4687251"/>
              <a:gd name="connsiteX20946" fmla="*/ 4631708 w 8079933"/>
              <a:gd name="connsiteY20946" fmla="*/ 1164124 h 4687251"/>
              <a:gd name="connsiteX20947" fmla="*/ 4632250 w 8079933"/>
              <a:gd name="connsiteY20947" fmla="*/ 1167048 h 4687251"/>
              <a:gd name="connsiteX20948" fmla="*/ 4630622 w 8079933"/>
              <a:gd name="connsiteY20948" fmla="*/ 1168997 h 4687251"/>
              <a:gd name="connsiteX20949" fmla="*/ 4632793 w 8079933"/>
              <a:gd name="connsiteY20949" fmla="*/ 1173003 h 4687251"/>
              <a:gd name="connsiteX20950" fmla="*/ 4632250 w 8079933"/>
              <a:gd name="connsiteY20950" fmla="*/ 1175276 h 4687251"/>
              <a:gd name="connsiteX20951" fmla="*/ 4630297 w 8079933"/>
              <a:gd name="connsiteY20951" fmla="*/ 1175385 h 4687251"/>
              <a:gd name="connsiteX20952" fmla="*/ 4629212 w 8079933"/>
              <a:gd name="connsiteY20952" fmla="*/ 1173219 h 4687251"/>
              <a:gd name="connsiteX20953" fmla="*/ 4625631 w 8079933"/>
              <a:gd name="connsiteY20953" fmla="*/ 1169971 h 4687251"/>
              <a:gd name="connsiteX20954" fmla="*/ 4625522 w 8079933"/>
              <a:gd name="connsiteY20954" fmla="*/ 1166723 h 4687251"/>
              <a:gd name="connsiteX20955" fmla="*/ 3136348 w 8079933"/>
              <a:gd name="connsiteY20955" fmla="*/ 1163367 h 4687251"/>
              <a:gd name="connsiteX20956" fmla="*/ 3138084 w 8079933"/>
              <a:gd name="connsiteY20956" fmla="*/ 1165208 h 4687251"/>
              <a:gd name="connsiteX20957" fmla="*/ 3139711 w 8079933"/>
              <a:gd name="connsiteY20957" fmla="*/ 1169646 h 4687251"/>
              <a:gd name="connsiteX20958" fmla="*/ 3141665 w 8079933"/>
              <a:gd name="connsiteY20958" fmla="*/ 1171812 h 4687251"/>
              <a:gd name="connsiteX20959" fmla="*/ 3141014 w 8079933"/>
              <a:gd name="connsiteY20959" fmla="*/ 1176793 h 4687251"/>
              <a:gd name="connsiteX20960" fmla="*/ 3141882 w 8079933"/>
              <a:gd name="connsiteY20960" fmla="*/ 1181881 h 4687251"/>
              <a:gd name="connsiteX20961" fmla="*/ 3139386 w 8079933"/>
              <a:gd name="connsiteY20961" fmla="*/ 1181231 h 4687251"/>
              <a:gd name="connsiteX20962" fmla="*/ 3137650 w 8079933"/>
              <a:gd name="connsiteY20962" fmla="*/ 1177658 h 4687251"/>
              <a:gd name="connsiteX20963" fmla="*/ 3138193 w 8079933"/>
              <a:gd name="connsiteY20963" fmla="*/ 1172028 h 4687251"/>
              <a:gd name="connsiteX20964" fmla="*/ 3136131 w 8079933"/>
              <a:gd name="connsiteY20964" fmla="*/ 1168781 h 4687251"/>
              <a:gd name="connsiteX20965" fmla="*/ 3135480 w 8079933"/>
              <a:gd name="connsiteY20965" fmla="*/ 1165099 h 4687251"/>
              <a:gd name="connsiteX20966" fmla="*/ 4163891 w 8079933"/>
              <a:gd name="connsiteY20966" fmla="*/ 1161635 h 4687251"/>
              <a:gd name="connsiteX20967" fmla="*/ 4165844 w 8079933"/>
              <a:gd name="connsiteY20967" fmla="*/ 1162934 h 4687251"/>
              <a:gd name="connsiteX20968" fmla="*/ 4166061 w 8079933"/>
              <a:gd name="connsiteY20968" fmla="*/ 1165749 h 4687251"/>
              <a:gd name="connsiteX20969" fmla="*/ 4163565 w 8079933"/>
              <a:gd name="connsiteY20969" fmla="*/ 1168023 h 4687251"/>
              <a:gd name="connsiteX20970" fmla="*/ 4161504 w 8079933"/>
              <a:gd name="connsiteY20970" fmla="*/ 1165425 h 4687251"/>
              <a:gd name="connsiteX20971" fmla="*/ 4212399 w 8079933"/>
              <a:gd name="connsiteY20971" fmla="*/ 1157303 h 4687251"/>
              <a:gd name="connsiteX20972" fmla="*/ 4210011 w 8079933"/>
              <a:gd name="connsiteY20972" fmla="*/ 1163366 h 4687251"/>
              <a:gd name="connsiteX20973" fmla="*/ 4207515 w 8079933"/>
              <a:gd name="connsiteY20973" fmla="*/ 1174194 h 4687251"/>
              <a:gd name="connsiteX20974" fmla="*/ 4207190 w 8079933"/>
              <a:gd name="connsiteY20974" fmla="*/ 1185562 h 4687251"/>
              <a:gd name="connsiteX20975" fmla="*/ 4199160 w 8079933"/>
              <a:gd name="connsiteY20975" fmla="*/ 1205267 h 4687251"/>
              <a:gd name="connsiteX20976" fmla="*/ 4198725 w 8079933"/>
              <a:gd name="connsiteY20976" fmla="*/ 1211114 h 4687251"/>
              <a:gd name="connsiteX20977" fmla="*/ 4198725 w 8079933"/>
              <a:gd name="connsiteY20977" fmla="*/ 1211114 h 4687251"/>
              <a:gd name="connsiteX20978" fmla="*/ 4199160 w 8079933"/>
              <a:gd name="connsiteY20978" fmla="*/ 1205268 h 4687251"/>
              <a:gd name="connsiteX20979" fmla="*/ 4207190 w 8079933"/>
              <a:gd name="connsiteY20979" fmla="*/ 1185562 h 4687251"/>
              <a:gd name="connsiteX20980" fmla="*/ 4207515 w 8079933"/>
              <a:gd name="connsiteY20980" fmla="*/ 1174194 h 4687251"/>
              <a:gd name="connsiteX20981" fmla="*/ 4210011 w 8079933"/>
              <a:gd name="connsiteY20981" fmla="*/ 1163367 h 4687251"/>
              <a:gd name="connsiteX20982" fmla="*/ 4212399 w 8079933"/>
              <a:gd name="connsiteY20982" fmla="*/ 1157304 h 4687251"/>
              <a:gd name="connsiteX20983" fmla="*/ 3159678 w 8079933"/>
              <a:gd name="connsiteY20983" fmla="*/ 1150483 h 4687251"/>
              <a:gd name="connsiteX20984" fmla="*/ 3161523 w 8079933"/>
              <a:gd name="connsiteY20984" fmla="*/ 1152324 h 4687251"/>
              <a:gd name="connsiteX20985" fmla="*/ 3160980 w 8079933"/>
              <a:gd name="connsiteY20985" fmla="*/ 1154165 h 4687251"/>
              <a:gd name="connsiteX20986" fmla="*/ 3158701 w 8079933"/>
              <a:gd name="connsiteY20986" fmla="*/ 1152865 h 4687251"/>
              <a:gd name="connsiteX20987" fmla="*/ 3157942 w 8079933"/>
              <a:gd name="connsiteY20987" fmla="*/ 1150699 h 4687251"/>
              <a:gd name="connsiteX20988" fmla="*/ 4174961 w 8079933"/>
              <a:gd name="connsiteY20988" fmla="*/ 1150267 h 4687251"/>
              <a:gd name="connsiteX20989" fmla="*/ 4179410 w 8079933"/>
              <a:gd name="connsiteY20989" fmla="*/ 1150916 h 4687251"/>
              <a:gd name="connsiteX20990" fmla="*/ 4173767 w 8079933"/>
              <a:gd name="connsiteY20990" fmla="*/ 1155573 h 4687251"/>
              <a:gd name="connsiteX20991" fmla="*/ 4172899 w 8079933"/>
              <a:gd name="connsiteY20991" fmla="*/ 1152649 h 4687251"/>
              <a:gd name="connsiteX20992" fmla="*/ 2368484 w 8079933"/>
              <a:gd name="connsiteY20992" fmla="*/ 1149833 h 4687251"/>
              <a:gd name="connsiteX20993" fmla="*/ 2371414 w 8079933"/>
              <a:gd name="connsiteY20993" fmla="*/ 1152865 h 4687251"/>
              <a:gd name="connsiteX20994" fmla="*/ 2373802 w 8079933"/>
              <a:gd name="connsiteY20994" fmla="*/ 1155138 h 4687251"/>
              <a:gd name="connsiteX20995" fmla="*/ 2378793 w 8079933"/>
              <a:gd name="connsiteY20995" fmla="*/ 1155571 h 4687251"/>
              <a:gd name="connsiteX20996" fmla="*/ 2380963 w 8079933"/>
              <a:gd name="connsiteY20996" fmla="*/ 1156762 h 4687251"/>
              <a:gd name="connsiteX20997" fmla="*/ 2381289 w 8079933"/>
              <a:gd name="connsiteY20997" fmla="*/ 1162934 h 4687251"/>
              <a:gd name="connsiteX20998" fmla="*/ 2380855 w 8079933"/>
              <a:gd name="connsiteY20998" fmla="*/ 1164557 h 4687251"/>
              <a:gd name="connsiteX20999" fmla="*/ 2380855 w 8079933"/>
              <a:gd name="connsiteY20999" fmla="*/ 1167048 h 4687251"/>
              <a:gd name="connsiteX21000" fmla="*/ 2378793 w 8079933"/>
              <a:gd name="connsiteY21000" fmla="*/ 1168455 h 4687251"/>
              <a:gd name="connsiteX21001" fmla="*/ 2376188 w 8079933"/>
              <a:gd name="connsiteY21001" fmla="*/ 1168888 h 4687251"/>
              <a:gd name="connsiteX21002" fmla="*/ 2374019 w 8079933"/>
              <a:gd name="connsiteY21002" fmla="*/ 1170404 h 4687251"/>
              <a:gd name="connsiteX21003" fmla="*/ 2370329 w 8079933"/>
              <a:gd name="connsiteY21003" fmla="*/ 1170945 h 4687251"/>
              <a:gd name="connsiteX21004" fmla="*/ 2368376 w 8079933"/>
              <a:gd name="connsiteY21004" fmla="*/ 1169321 h 4687251"/>
              <a:gd name="connsiteX21005" fmla="*/ 2367724 w 8079933"/>
              <a:gd name="connsiteY21005" fmla="*/ 1165748 h 4687251"/>
              <a:gd name="connsiteX21006" fmla="*/ 2365988 w 8079933"/>
              <a:gd name="connsiteY21006" fmla="*/ 1164232 h 4687251"/>
              <a:gd name="connsiteX21007" fmla="*/ 2364035 w 8079933"/>
              <a:gd name="connsiteY21007" fmla="*/ 1159469 h 4687251"/>
              <a:gd name="connsiteX21008" fmla="*/ 2360563 w 8079933"/>
              <a:gd name="connsiteY21008" fmla="*/ 1156762 h 4687251"/>
              <a:gd name="connsiteX21009" fmla="*/ 2359803 w 8079933"/>
              <a:gd name="connsiteY21009" fmla="*/ 1152648 h 4687251"/>
              <a:gd name="connsiteX21010" fmla="*/ 2360563 w 8079933"/>
              <a:gd name="connsiteY21010" fmla="*/ 1150266 h 4687251"/>
              <a:gd name="connsiteX21011" fmla="*/ 2362733 w 8079933"/>
              <a:gd name="connsiteY21011" fmla="*/ 1151457 h 4687251"/>
              <a:gd name="connsiteX21012" fmla="*/ 2366856 w 8079933"/>
              <a:gd name="connsiteY21012" fmla="*/ 1151241 h 4687251"/>
              <a:gd name="connsiteX21013" fmla="*/ 1073889 w 8079933"/>
              <a:gd name="connsiteY21013" fmla="*/ 1147565 h 4687251"/>
              <a:gd name="connsiteX21014" fmla="*/ 1067585 w 8079933"/>
              <a:gd name="connsiteY21014" fmla="*/ 1148426 h 4687251"/>
              <a:gd name="connsiteX21015" fmla="*/ 1058361 w 8079933"/>
              <a:gd name="connsiteY21015" fmla="*/ 1149942 h 4687251"/>
              <a:gd name="connsiteX21016" fmla="*/ 1056734 w 8079933"/>
              <a:gd name="connsiteY21016" fmla="*/ 1150266 h 4687251"/>
              <a:gd name="connsiteX21017" fmla="*/ 1056734 w 8079933"/>
              <a:gd name="connsiteY21017" fmla="*/ 1150267 h 4687251"/>
              <a:gd name="connsiteX21018" fmla="*/ 1058362 w 8079933"/>
              <a:gd name="connsiteY21018" fmla="*/ 1149942 h 4687251"/>
              <a:gd name="connsiteX21019" fmla="*/ 1067586 w 8079933"/>
              <a:gd name="connsiteY21019" fmla="*/ 1148426 h 4687251"/>
              <a:gd name="connsiteX21020" fmla="*/ 2647480 w 8079933"/>
              <a:gd name="connsiteY21020" fmla="*/ 1146910 h 4687251"/>
              <a:gd name="connsiteX21021" fmla="*/ 2648782 w 8079933"/>
              <a:gd name="connsiteY21021" fmla="*/ 1148209 h 4687251"/>
              <a:gd name="connsiteX21022" fmla="*/ 2648674 w 8079933"/>
              <a:gd name="connsiteY21022" fmla="*/ 1151349 h 4687251"/>
              <a:gd name="connsiteX21023" fmla="*/ 2647154 w 8079933"/>
              <a:gd name="connsiteY21023" fmla="*/ 1151024 h 4687251"/>
              <a:gd name="connsiteX21024" fmla="*/ 2645635 w 8079933"/>
              <a:gd name="connsiteY21024" fmla="*/ 1148859 h 4687251"/>
              <a:gd name="connsiteX21025" fmla="*/ 2391163 w 8079933"/>
              <a:gd name="connsiteY21025" fmla="*/ 1144745 h 4687251"/>
              <a:gd name="connsiteX21026" fmla="*/ 2393333 w 8079933"/>
              <a:gd name="connsiteY21026" fmla="*/ 1146044 h 4687251"/>
              <a:gd name="connsiteX21027" fmla="*/ 2395612 w 8079933"/>
              <a:gd name="connsiteY21027" fmla="*/ 1145828 h 4687251"/>
              <a:gd name="connsiteX21028" fmla="*/ 2396806 w 8079933"/>
              <a:gd name="connsiteY21028" fmla="*/ 1147127 h 4687251"/>
              <a:gd name="connsiteX21029" fmla="*/ 2397240 w 8079933"/>
              <a:gd name="connsiteY21029" fmla="*/ 1148643 h 4687251"/>
              <a:gd name="connsiteX21030" fmla="*/ 2400712 w 8079933"/>
              <a:gd name="connsiteY21030" fmla="*/ 1148967 h 4687251"/>
              <a:gd name="connsiteX21031" fmla="*/ 2404727 w 8079933"/>
              <a:gd name="connsiteY21031" fmla="*/ 1152324 h 4687251"/>
              <a:gd name="connsiteX21032" fmla="*/ 2404727 w 8079933"/>
              <a:gd name="connsiteY21032" fmla="*/ 1153515 h 4687251"/>
              <a:gd name="connsiteX21033" fmla="*/ 2402557 w 8079933"/>
              <a:gd name="connsiteY21033" fmla="*/ 1155031 h 4687251"/>
              <a:gd name="connsiteX21034" fmla="*/ 2405161 w 8079933"/>
              <a:gd name="connsiteY21034" fmla="*/ 1156655 h 4687251"/>
              <a:gd name="connsiteX21035" fmla="*/ 2404619 w 8079933"/>
              <a:gd name="connsiteY21035" fmla="*/ 1158929 h 4687251"/>
              <a:gd name="connsiteX21036" fmla="*/ 2403208 w 8079933"/>
              <a:gd name="connsiteY21036" fmla="*/ 1159362 h 4687251"/>
              <a:gd name="connsiteX21037" fmla="*/ 2402774 w 8079933"/>
              <a:gd name="connsiteY21037" fmla="*/ 1160878 h 4687251"/>
              <a:gd name="connsiteX21038" fmla="*/ 2400604 w 8079933"/>
              <a:gd name="connsiteY21038" fmla="*/ 1161960 h 4687251"/>
              <a:gd name="connsiteX21039" fmla="*/ 2398868 w 8079933"/>
              <a:gd name="connsiteY21039" fmla="*/ 1160445 h 4687251"/>
              <a:gd name="connsiteX21040" fmla="*/ 2396155 w 8079933"/>
              <a:gd name="connsiteY21040" fmla="*/ 1160445 h 4687251"/>
              <a:gd name="connsiteX21041" fmla="*/ 2395178 w 8079933"/>
              <a:gd name="connsiteY21041" fmla="*/ 1159470 h 4687251"/>
              <a:gd name="connsiteX21042" fmla="*/ 2394744 w 8079933"/>
              <a:gd name="connsiteY21042" fmla="*/ 1156005 h 4687251"/>
              <a:gd name="connsiteX21043" fmla="*/ 2392683 w 8079933"/>
              <a:gd name="connsiteY21043" fmla="*/ 1153515 h 4687251"/>
              <a:gd name="connsiteX21044" fmla="*/ 2391272 w 8079933"/>
              <a:gd name="connsiteY21044" fmla="*/ 1151025 h 4687251"/>
              <a:gd name="connsiteX21045" fmla="*/ 2389318 w 8079933"/>
              <a:gd name="connsiteY21045" fmla="*/ 1149942 h 4687251"/>
              <a:gd name="connsiteX21046" fmla="*/ 2388016 w 8079933"/>
              <a:gd name="connsiteY21046" fmla="*/ 1149833 h 4687251"/>
              <a:gd name="connsiteX21047" fmla="*/ 2386823 w 8079933"/>
              <a:gd name="connsiteY21047" fmla="*/ 1147019 h 4687251"/>
              <a:gd name="connsiteX21048" fmla="*/ 2388016 w 8079933"/>
              <a:gd name="connsiteY21048" fmla="*/ 1145828 h 4687251"/>
              <a:gd name="connsiteX21049" fmla="*/ 3164670 w 8079933"/>
              <a:gd name="connsiteY21049" fmla="*/ 1143770 h 4687251"/>
              <a:gd name="connsiteX21050" fmla="*/ 3166406 w 8079933"/>
              <a:gd name="connsiteY21050" fmla="*/ 1145286 h 4687251"/>
              <a:gd name="connsiteX21051" fmla="*/ 3165972 w 8079933"/>
              <a:gd name="connsiteY21051" fmla="*/ 1147127 h 4687251"/>
              <a:gd name="connsiteX21052" fmla="*/ 3164670 w 8079933"/>
              <a:gd name="connsiteY21052" fmla="*/ 1145178 h 4687251"/>
              <a:gd name="connsiteX21053" fmla="*/ 4174093 w 8079933"/>
              <a:gd name="connsiteY21053" fmla="*/ 1139547 h 4687251"/>
              <a:gd name="connsiteX21054" fmla="*/ 4175069 w 8079933"/>
              <a:gd name="connsiteY21054" fmla="*/ 1144094 h 4687251"/>
              <a:gd name="connsiteX21055" fmla="*/ 4171271 w 8079933"/>
              <a:gd name="connsiteY21055" fmla="*/ 1150049 h 4687251"/>
              <a:gd name="connsiteX21056" fmla="*/ 4169752 w 8079933"/>
              <a:gd name="connsiteY21056" fmla="*/ 1144202 h 4687251"/>
              <a:gd name="connsiteX21057" fmla="*/ 3217626 w 8079933"/>
              <a:gd name="connsiteY21057" fmla="*/ 1134350 h 4687251"/>
              <a:gd name="connsiteX21058" fmla="*/ 3216325 w 8079933"/>
              <a:gd name="connsiteY21058" fmla="*/ 1136732 h 4687251"/>
              <a:gd name="connsiteX21059" fmla="*/ 3217626 w 8079933"/>
              <a:gd name="connsiteY21059" fmla="*/ 1139439 h 4687251"/>
              <a:gd name="connsiteX21060" fmla="*/ 3216866 w 8079933"/>
              <a:gd name="connsiteY21060" fmla="*/ 1140522 h 4687251"/>
              <a:gd name="connsiteX21061" fmla="*/ 3215131 w 8079933"/>
              <a:gd name="connsiteY21061" fmla="*/ 1138898 h 4687251"/>
              <a:gd name="connsiteX21062" fmla="*/ 3215131 w 8079933"/>
              <a:gd name="connsiteY21062" fmla="*/ 1136191 h 4687251"/>
              <a:gd name="connsiteX21063" fmla="*/ 1092521 w 8079933"/>
              <a:gd name="connsiteY21063" fmla="*/ 1129611 h 4687251"/>
              <a:gd name="connsiteX21064" fmla="*/ 1087879 w 8079933"/>
              <a:gd name="connsiteY21064" fmla="*/ 1134242 h 4687251"/>
              <a:gd name="connsiteX21065" fmla="*/ 1081151 w 8079933"/>
              <a:gd name="connsiteY21065" fmla="*/ 1144312 h 4687251"/>
              <a:gd name="connsiteX21066" fmla="*/ 1075508 w 8079933"/>
              <a:gd name="connsiteY21066" fmla="*/ 1147343 h 4687251"/>
              <a:gd name="connsiteX21067" fmla="*/ 1081151 w 8079933"/>
              <a:gd name="connsiteY21067" fmla="*/ 1144312 h 4687251"/>
              <a:gd name="connsiteX21068" fmla="*/ 1087879 w 8079933"/>
              <a:gd name="connsiteY21068" fmla="*/ 1134243 h 4687251"/>
              <a:gd name="connsiteX21069" fmla="*/ 2646612 w 8079933"/>
              <a:gd name="connsiteY21069" fmla="*/ 1129262 h 4687251"/>
              <a:gd name="connsiteX21070" fmla="*/ 2647263 w 8079933"/>
              <a:gd name="connsiteY21070" fmla="*/ 1131860 h 4687251"/>
              <a:gd name="connsiteX21071" fmla="*/ 2643791 w 8079933"/>
              <a:gd name="connsiteY21071" fmla="*/ 1134567 h 4687251"/>
              <a:gd name="connsiteX21072" fmla="*/ 2642055 w 8079933"/>
              <a:gd name="connsiteY21072" fmla="*/ 1136625 h 4687251"/>
              <a:gd name="connsiteX21073" fmla="*/ 2639776 w 8079933"/>
              <a:gd name="connsiteY21073" fmla="*/ 1135974 h 4687251"/>
              <a:gd name="connsiteX21074" fmla="*/ 2643031 w 8079933"/>
              <a:gd name="connsiteY21074" fmla="*/ 1130994 h 4687251"/>
              <a:gd name="connsiteX21075" fmla="*/ 3203736 w 8079933"/>
              <a:gd name="connsiteY21075" fmla="*/ 1128179 h 4687251"/>
              <a:gd name="connsiteX21076" fmla="*/ 3205039 w 8079933"/>
              <a:gd name="connsiteY21076" fmla="*/ 1130994 h 4687251"/>
              <a:gd name="connsiteX21077" fmla="*/ 3206775 w 8079933"/>
              <a:gd name="connsiteY21077" fmla="*/ 1131860 h 4687251"/>
              <a:gd name="connsiteX21078" fmla="*/ 3209813 w 8079933"/>
              <a:gd name="connsiteY21078" fmla="*/ 1137057 h 4687251"/>
              <a:gd name="connsiteX21079" fmla="*/ 3208945 w 8079933"/>
              <a:gd name="connsiteY21079" fmla="*/ 1139547 h 4687251"/>
              <a:gd name="connsiteX21080" fmla="*/ 3205256 w 8079933"/>
              <a:gd name="connsiteY21080" fmla="*/ 1139222 h 4687251"/>
              <a:gd name="connsiteX21081" fmla="*/ 3202760 w 8079933"/>
              <a:gd name="connsiteY21081" fmla="*/ 1141605 h 4687251"/>
              <a:gd name="connsiteX21082" fmla="*/ 3200590 w 8079933"/>
              <a:gd name="connsiteY21082" fmla="*/ 1141388 h 4687251"/>
              <a:gd name="connsiteX21083" fmla="*/ 3199613 w 8079933"/>
              <a:gd name="connsiteY21083" fmla="*/ 1139222 h 4687251"/>
              <a:gd name="connsiteX21084" fmla="*/ 3196683 w 8079933"/>
              <a:gd name="connsiteY21084" fmla="*/ 1136732 h 4687251"/>
              <a:gd name="connsiteX21085" fmla="*/ 3197660 w 8079933"/>
              <a:gd name="connsiteY21085" fmla="*/ 1134350 h 4687251"/>
              <a:gd name="connsiteX21086" fmla="*/ 3197985 w 8079933"/>
              <a:gd name="connsiteY21086" fmla="*/ 1131752 h 4687251"/>
              <a:gd name="connsiteX21087" fmla="*/ 3201023 w 8079933"/>
              <a:gd name="connsiteY21087" fmla="*/ 1128395 h 4687251"/>
              <a:gd name="connsiteX21088" fmla="*/ 2388342 w 8079933"/>
              <a:gd name="connsiteY21088" fmla="*/ 1127962 h 4687251"/>
              <a:gd name="connsiteX21089" fmla="*/ 2390621 w 8079933"/>
              <a:gd name="connsiteY21089" fmla="*/ 1130235 h 4687251"/>
              <a:gd name="connsiteX21090" fmla="*/ 2388885 w 8079933"/>
              <a:gd name="connsiteY21090" fmla="*/ 1131427 h 4687251"/>
              <a:gd name="connsiteX21091" fmla="*/ 2383677 w 8079933"/>
              <a:gd name="connsiteY21091" fmla="*/ 1130885 h 4687251"/>
              <a:gd name="connsiteX21092" fmla="*/ 2385087 w 8079933"/>
              <a:gd name="connsiteY21092" fmla="*/ 1128503 h 4687251"/>
              <a:gd name="connsiteX21093" fmla="*/ 1103059 w 8079933"/>
              <a:gd name="connsiteY21093" fmla="*/ 1125444 h 4687251"/>
              <a:gd name="connsiteX21094" fmla="*/ 1101769 w 8079933"/>
              <a:gd name="connsiteY21094" fmla="*/ 1126230 h 4687251"/>
              <a:gd name="connsiteX21095" fmla="*/ 1097709 w 8079933"/>
              <a:gd name="connsiteY21095" fmla="*/ 1127512 h 4687251"/>
              <a:gd name="connsiteX21096" fmla="*/ 1101769 w 8079933"/>
              <a:gd name="connsiteY21096" fmla="*/ 1126231 h 4687251"/>
              <a:gd name="connsiteX21097" fmla="*/ 4388088 w 8079933"/>
              <a:gd name="connsiteY21097" fmla="*/ 1124125 h 4687251"/>
              <a:gd name="connsiteX21098" fmla="*/ 4386784 w 8079933"/>
              <a:gd name="connsiteY21098" fmla="*/ 1127097 h 4687251"/>
              <a:gd name="connsiteX21099" fmla="*/ 4387110 w 8079933"/>
              <a:gd name="connsiteY21099" fmla="*/ 1128027 h 4687251"/>
              <a:gd name="connsiteX21100" fmla="*/ 4388088 w 8079933"/>
              <a:gd name="connsiteY21100" fmla="*/ 1125797 h 4687251"/>
              <a:gd name="connsiteX21101" fmla="*/ 3496514 w 8079933"/>
              <a:gd name="connsiteY21101" fmla="*/ 1122657 h 4687251"/>
              <a:gd name="connsiteX21102" fmla="*/ 3501507 w 8079933"/>
              <a:gd name="connsiteY21102" fmla="*/ 1124173 h 4687251"/>
              <a:gd name="connsiteX21103" fmla="*/ 3505847 w 8079933"/>
              <a:gd name="connsiteY21103" fmla="*/ 1123090 h 4687251"/>
              <a:gd name="connsiteX21104" fmla="*/ 3508235 w 8079933"/>
              <a:gd name="connsiteY21104" fmla="*/ 1127529 h 4687251"/>
              <a:gd name="connsiteX21105" fmla="*/ 3508343 w 8079933"/>
              <a:gd name="connsiteY21105" fmla="*/ 1131643 h 4687251"/>
              <a:gd name="connsiteX21106" fmla="*/ 3514202 w 8079933"/>
              <a:gd name="connsiteY21106" fmla="*/ 1134891 h 4687251"/>
              <a:gd name="connsiteX21107" fmla="*/ 3516482 w 8079933"/>
              <a:gd name="connsiteY21107" fmla="*/ 1138573 h 4687251"/>
              <a:gd name="connsiteX21108" fmla="*/ 3519086 w 8079933"/>
              <a:gd name="connsiteY21108" fmla="*/ 1136516 h 4687251"/>
              <a:gd name="connsiteX21109" fmla="*/ 3522667 w 8079933"/>
              <a:gd name="connsiteY21109" fmla="*/ 1140413 h 4687251"/>
              <a:gd name="connsiteX21110" fmla="*/ 3518652 w 8079933"/>
              <a:gd name="connsiteY21110" fmla="*/ 1143336 h 4687251"/>
              <a:gd name="connsiteX21111" fmla="*/ 3523210 w 8079933"/>
              <a:gd name="connsiteY21111" fmla="*/ 1145394 h 4687251"/>
              <a:gd name="connsiteX21112" fmla="*/ 3524187 w 8079933"/>
              <a:gd name="connsiteY21112" fmla="*/ 1148209 h 4687251"/>
              <a:gd name="connsiteX21113" fmla="*/ 3520388 w 8079933"/>
              <a:gd name="connsiteY21113" fmla="*/ 1152106 h 4687251"/>
              <a:gd name="connsiteX21114" fmla="*/ 3517024 w 8079933"/>
              <a:gd name="connsiteY21114" fmla="*/ 1149941 h 4687251"/>
              <a:gd name="connsiteX21115" fmla="*/ 3519737 w 8079933"/>
              <a:gd name="connsiteY21115" fmla="*/ 1155355 h 4687251"/>
              <a:gd name="connsiteX21116" fmla="*/ 3517459 w 8079933"/>
              <a:gd name="connsiteY21116" fmla="*/ 1158495 h 4687251"/>
              <a:gd name="connsiteX21117" fmla="*/ 3522775 w 8079933"/>
              <a:gd name="connsiteY21117" fmla="*/ 1158495 h 4687251"/>
              <a:gd name="connsiteX21118" fmla="*/ 3522775 w 8079933"/>
              <a:gd name="connsiteY21118" fmla="*/ 1162067 h 4687251"/>
              <a:gd name="connsiteX21119" fmla="*/ 3519412 w 8079933"/>
              <a:gd name="connsiteY21119" fmla="*/ 1166615 h 4687251"/>
              <a:gd name="connsiteX21120" fmla="*/ 3518652 w 8079933"/>
              <a:gd name="connsiteY21120" fmla="*/ 1170187 h 4687251"/>
              <a:gd name="connsiteX21121" fmla="*/ 3522125 w 8079933"/>
              <a:gd name="connsiteY21121" fmla="*/ 1170512 h 4687251"/>
              <a:gd name="connsiteX21122" fmla="*/ 3525380 w 8079933"/>
              <a:gd name="connsiteY21122" fmla="*/ 1177875 h 4687251"/>
              <a:gd name="connsiteX21123" fmla="*/ 3525597 w 8079933"/>
              <a:gd name="connsiteY21123" fmla="*/ 1170296 h 4687251"/>
              <a:gd name="connsiteX21124" fmla="*/ 3528527 w 8079933"/>
              <a:gd name="connsiteY21124" fmla="*/ 1168455 h 4687251"/>
              <a:gd name="connsiteX21125" fmla="*/ 3530371 w 8079933"/>
              <a:gd name="connsiteY21125" fmla="*/ 1162717 h 4687251"/>
              <a:gd name="connsiteX21126" fmla="*/ 3535255 w 8079933"/>
              <a:gd name="connsiteY21126" fmla="*/ 1160335 h 4687251"/>
              <a:gd name="connsiteX21127" fmla="*/ 3535364 w 8079933"/>
              <a:gd name="connsiteY21127" fmla="*/ 1166073 h 4687251"/>
              <a:gd name="connsiteX21128" fmla="*/ 3539595 w 8079933"/>
              <a:gd name="connsiteY21128" fmla="*/ 1165857 h 4687251"/>
              <a:gd name="connsiteX21129" fmla="*/ 3542417 w 8079933"/>
              <a:gd name="connsiteY21129" fmla="*/ 1162067 h 4687251"/>
              <a:gd name="connsiteX21130" fmla="*/ 3542851 w 8079933"/>
              <a:gd name="connsiteY21130" fmla="*/ 1154489 h 4687251"/>
              <a:gd name="connsiteX21131" fmla="*/ 3540355 w 8079933"/>
              <a:gd name="connsiteY21131" fmla="*/ 1151240 h 4687251"/>
              <a:gd name="connsiteX21132" fmla="*/ 3539595 w 8079933"/>
              <a:gd name="connsiteY21132" fmla="*/ 1140413 h 4687251"/>
              <a:gd name="connsiteX21133" fmla="*/ 3545346 w 8079933"/>
              <a:gd name="connsiteY21133" fmla="*/ 1135433 h 4687251"/>
              <a:gd name="connsiteX21134" fmla="*/ 3548711 w 8079933"/>
              <a:gd name="connsiteY21134" fmla="*/ 1138032 h 4687251"/>
              <a:gd name="connsiteX21135" fmla="*/ 3549362 w 8079933"/>
              <a:gd name="connsiteY21135" fmla="*/ 1147775 h 4687251"/>
              <a:gd name="connsiteX21136" fmla="*/ 3552618 w 8079933"/>
              <a:gd name="connsiteY21136" fmla="*/ 1149183 h 4687251"/>
              <a:gd name="connsiteX21137" fmla="*/ 3553160 w 8079933"/>
              <a:gd name="connsiteY21137" fmla="*/ 1156220 h 4687251"/>
              <a:gd name="connsiteX21138" fmla="*/ 3556959 w 8079933"/>
              <a:gd name="connsiteY21138" fmla="*/ 1156220 h 4687251"/>
              <a:gd name="connsiteX21139" fmla="*/ 3560865 w 8079933"/>
              <a:gd name="connsiteY21139" fmla="*/ 1149941 h 4687251"/>
              <a:gd name="connsiteX21140" fmla="*/ 3559237 w 8079933"/>
              <a:gd name="connsiteY21140" fmla="*/ 1145935 h 4687251"/>
              <a:gd name="connsiteX21141" fmla="*/ 3560539 w 8079933"/>
              <a:gd name="connsiteY21141" fmla="*/ 1140738 h 4687251"/>
              <a:gd name="connsiteX21142" fmla="*/ 3569871 w 8079933"/>
              <a:gd name="connsiteY21142" fmla="*/ 1134783 h 4687251"/>
              <a:gd name="connsiteX21143" fmla="*/ 3574646 w 8079933"/>
              <a:gd name="connsiteY21143" fmla="*/ 1137706 h 4687251"/>
              <a:gd name="connsiteX21144" fmla="*/ 3574212 w 8079933"/>
              <a:gd name="connsiteY21144" fmla="*/ 1142471 h 4687251"/>
              <a:gd name="connsiteX21145" fmla="*/ 3576057 w 8079933"/>
              <a:gd name="connsiteY21145" fmla="*/ 1144420 h 4687251"/>
              <a:gd name="connsiteX21146" fmla="*/ 3576057 w 8079933"/>
              <a:gd name="connsiteY21146" fmla="*/ 1148209 h 4687251"/>
              <a:gd name="connsiteX21147" fmla="*/ 3580723 w 8079933"/>
              <a:gd name="connsiteY21147" fmla="*/ 1155246 h 4687251"/>
              <a:gd name="connsiteX21148" fmla="*/ 3578878 w 8079933"/>
              <a:gd name="connsiteY21148" fmla="*/ 1165532 h 4687251"/>
              <a:gd name="connsiteX21149" fmla="*/ 3583978 w 8079933"/>
              <a:gd name="connsiteY21149" fmla="*/ 1153514 h 4687251"/>
              <a:gd name="connsiteX21150" fmla="*/ 3579747 w 8079933"/>
              <a:gd name="connsiteY21150" fmla="*/ 1145069 h 4687251"/>
              <a:gd name="connsiteX21151" fmla="*/ 3581266 w 8079933"/>
              <a:gd name="connsiteY21151" fmla="*/ 1137165 h 4687251"/>
              <a:gd name="connsiteX21152" fmla="*/ 3584847 w 8079933"/>
              <a:gd name="connsiteY21152" fmla="*/ 1136840 h 4687251"/>
              <a:gd name="connsiteX21153" fmla="*/ 3586366 w 8079933"/>
              <a:gd name="connsiteY21153" fmla="*/ 1138032 h 4687251"/>
              <a:gd name="connsiteX21154" fmla="*/ 3589839 w 8079933"/>
              <a:gd name="connsiteY21154" fmla="*/ 1137165 h 4687251"/>
              <a:gd name="connsiteX21155" fmla="*/ 3594288 w 8079933"/>
              <a:gd name="connsiteY21155" fmla="*/ 1144852 h 4687251"/>
              <a:gd name="connsiteX21156" fmla="*/ 3598954 w 8079933"/>
              <a:gd name="connsiteY21156" fmla="*/ 1145069 h 4687251"/>
              <a:gd name="connsiteX21157" fmla="*/ 3601559 w 8079933"/>
              <a:gd name="connsiteY21157" fmla="*/ 1139006 h 4687251"/>
              <a:gd name="connsiteX21158" fmla="*/ 3604380 w 8079933"/>
              <a:gd name="connsiteY21158" fmla="*/ 1135000 h 4687251"/>
              <a:gd name="connsiteX21159" fmla="*/ 3606876 w 8079933"/>
              <a:gd name="connsiteY21159" fmla="*/ 1136840 h 4687251"/>
              <a:gd name="connsiteX21160" fmla="*/ 3606985 w 8079933"/>
              <a:gd name="connsiteY21160" fmla="*/ 1140738 h 4687251"/>
              <a:gd name="connsiteX21161" fmla="*/ 3611651 w 8079933"/>
              <a:gd name="connsiteY21161" fmla="*/ 1138681 h 4687251"/>
              <a:gd name="connsiteX21162" fmla="*/ 3616317 w 8079933"/>
              <a:gd name="connsiteY21162" fmla="*/ 1138248 h 4687251"/>
              <a:gd name="connsiteX21163" fmla="*/ 3618053 w 8079933"/>
              <a:gd name="connsiteY21163" fmla="*/ 1134891 h 4687251"/>
              <a:gd name="connsiteX21164" fmla="*/ 3616208 w 8079933"/>
              <a:gd name="connsiteY21164" fmla="*/ 1130344 h 4687251"/>
              <a:gd name="connsiteX21165" fmla="*/ 3618379 w 8079933"/>
              <a:gd name="connsiteY21165" fmla="*/ 1126338 h 4687251"/>
              <a:gd name="connsiteX21166" fmla="*/ 3621200 w 8079933"/>
              <a:gd name="connsiteY21166" fmla="*/ 1127637 h 4687251"/>
              <a:gd name="connsiteX21167" fmla="*/ 3624890 w 8079933"/>
              <a:gd name="connsiteY21167" fmla="*/ 1125255 h 4687251"/>
              <a:gd name="connsiteX21168" fmla="*/ 3629447 w 8079933"/>
              <a:gd name="connsiteY21168" fmla="*/ 1126555 h 4687251"/>
              <a:gd name="connsiteX21169" fmla="*/ 3630207 w 8079933"/>
              <a:gd name="connsiteY21169" fmla="*/ 1130777 h 4687251"/>
              <a:gd name="connsiteX21170" fmla="*/ 3632486 w 8079933"/>
              <a:gd name="connsiteY21170" fmla="*/ 1133159 h 4687251"/>
              <a:gd name="connsiteX21171" fmla="*/ 3630641 w 8079933"/>
              <a:gd name="connsiteY21171" fmla="*/ 1135974 h 4687251"/>
              <a:gd name="connsiteX21172" fmla="*/ 3633679 w 8079933"/>
              <a:gd name="connsiteY21172" fmla="*/ 1140630 h 4687251"/>
              <a:gd name="connsiteX21173" fmla="*/ 3636500 w 8079933"/>
              <a:gd name="connsiteY21173" fmla="*/ 1140197 h 4687251"/>
              <a:gd name="connsiteX21174" fmla="*/ 3637912 w 8079933"/>
              <a:gd name="connsiteY21174" fmla="*/ 1136191 h 4687251"/>
              <a:gd name="connsiteX21175" fmla="*/ 3645508 w 8079933"/>
              <a:gd name="connsiteY21175" fmla="*/ 1129045 h 4687251"/>
              <a:gd name="connsiteX21176" fmla="*/ 3649197 w 8079933"/>
              <a:gd name="connsiteY21176" fmla="*/ 1128071 h 4687251"/>
              <a:gd name="connsiteX21177" fmla="*/ 3653972 w 8079933"/>
              <a:gd name="connsiteY21177" fmla="*/ 1130128 h 4687251"/>
              <a:gd name="connsiteX21178" fmla="*/ 3649523 w 8079933"/>
              <a:gd name="connsiteY21178" fmla="*/ 1131318 h 4687251"/>
              <a:gd name="connsiteX21179" fmla="*/ 3647352 w 8079933"/>
              <a:gd name="connsiteY21179" fmla="*/ 1133159 h 4687251"/>
              <a:gd name="connsiteX21180" fmla="*/ 3646810 w 8079933"/>
              <a:gd name="connsiteY21180" fmla="*/ 1136732 h 4687251"/>
              <a:gd name="connsiteX21181" fmla="*/ 3642578 w 8079933"/>
              <a:gd name="connsiteY21181" fmla="*/ 1138681 h 4687251"/>
              <a:gd name="connsiteX21182" fmla="*/ 3644423 w 8079933"/>
              <a:gd name="connsiteY21182" fmla="*/ 1143012 h 4687251"/>
              <a:gd name="connsiteX21183" fmla="*/ 3648329 w 8079933"/>
              <a:gd name="connsiteY21183" fmla="*/ 1144636 h 4687251"/>
              <a:gd name="connsiteX21184" fmla="*/ 3651476 w 8079933"/>
              <a:gd name="connsiteY21184" fmla="*/ 1142146 h 4687251"/>
              <a:gd name="connsiteX21185" fmla="*/ 3653864 w 8079933"/>
              <a:gd name="connsiteY21185" fmla="*/ 1143553 h 4687251"/>
              <a:gd name="connsiteX21186" fmla="*/ 3654623 w 8079933"/>
              <a:gd name="connsiteY21186" fmla="*/ 1149724 h 4687251"/>
              <a:gd name="connsiteX21187" fmla="*/ 3651042 w 8079933"/>
              <a:gd name="connsiteY21187" fmla="*/ 1150916 h 4687251"/>
              <a:gd name="connsiteX21188" fmla="*/ 3647678 w 8079933"/>
              <a:gd name="connsiteY21188" fmla="*/ 1155030 h 4687251"/>
              <a:gd name="connsiteX21189" fmla="*/ 3649414 w 8079933"/>
              <a:gd name="connsiteY21189" fmla="*/ 1159361 h 4687251"/>
              <a:gd name="connsiteX21190" fmla="*/ 3650825 w 8079933"/>
              <a:gd name="connsiteY21190" fmla="*/ 1158169 h 4687251"/>
              <a:gd name="connsiteX21191" fmla="*/ 3656142 w 8079933"/>
              <a:gd name="connsiteY21191" fmla="*/ 1158603 h 4687251"/>
              <a:gd name="connsiteX21192" fmla="*/ 3656794 w 8079933"/>
              <a:gd name="connsiteY21192" fmla="*/ 1162067 h 4687251"/>
              <a:gd name="connsiteX21193" fmla="*/ 3654297 w 8079933"/>
              <a:gd name="connsiteY21193" fmla="*/ 1166399 h 4687251"/>
              <a:gd name="connsiteX21194" fmla="*/ 3657227 w 8079933"/>
              <a:gd name="connsiteY21194" fmla="*/ 1164124 h 4687251"/>
              <a:gd name="connsiteX21195" fmla="*/ 3666777 w 8079933"/>
              <a:gd name="connsiteY21195" fmla="*/ 1164883 h 4687251"/>
              <a:gd name="connsiteX21196" fmla="*/ 3670792 w 8079933"/>
              <a:gd name="connsiteY21196" fmla="*/ 1168780 h 4687251"/>
              <a:gd name="connsiteX21197" fmla="*/ 3668513 w 8079933"/>
              <a:gd name="connsiteY21197" fmla="*/ 1172136 h 4687251"/>
              <a:gd name="connsiteX21198" fmla="*/ 3664823 w 8079933"/>
              <a:gd name="connsiteY21198" fmla="*/ 1172136 h 4687251"/>
              <a:gd name="connsiteX21199" fmla="*/ 3660591 w 8079933"/>
              <a:gd name="connsiteY21199" fmla="*/ 1174302 h 4687251"/>
              <a:gd name="connsiteX21200" fmla="*/ 3661025 w 8079933"/>
              <a:gd name="connsiteY21200" fmla="*/ 1178633 h 4687251"/>
              <a:gd name="connsiteX21201" fmla="*/ 3658421 w 8079933"/>
              <a:gd name="connsiteY21201" fmla="*/ 1180799 h 4687251"/>
              <a:gd name="connsiteX21202" fmla="*/ 3658530 w 8079933"/>
              <a:gd name="connsiteY21202" fmla="*/ 1185562 h 4687251"/>
              <a:gd name="connsiteX21203" fmla="*/ 3662870 w 8079933"/>
              <a:gd name="connsiteY21203" fmla="*/ 1190001 h 4687251"/>
              <a:gd name="connsiteX21204" fmla="*/ 3664173 w 8079933"/>
              <a:gd name="connsiteY21204" fmla="*/ 1194224 h 4687251"/>
              <a:gd name="connsiteX21205" fmla="*/ 3661568 w 8079933"/>
              <a:gd name="connsiteY21205" fmla="*/ 1199313 h 4687251"/>
              <a:gd name="connsiteX21206" fmla="*/ 3657662 w 8079933"/>
              <a:gd name="connsiteY21206" fmla="*/ 1199854 h 4687251"/>
              <a:gd name="connsiteX21207" fmla="*/ 3656902 w 8079933"/>
              <a:gd name="connsiteY21207" fmla="*/ 1196064 h 4687251"/>
              <a:gd name="connsiteX21208" fmla="*/ 3652778 w 8079933"/>
              <a:gd name="connsiteY21208" fmla="*/ 1193574 h 4687251"/>
              <a:gd name="connsiteX21209" fmla="*/ 3650934 w 8079933"/>
              <a:gd name="connsiteY21209" fmla="*/ 1195848 h 4687251"/>
              <a:gd name="connsiteX21210" fmla="*/ 3652996 w 8079933"/>
              <a:gd name="connsiteY21210" fmla="*/ 1201695 h 4687251"/>
              <a:gd name="connsiteX21211" fmla="*/ 3650174 w 8079933"/>
              <a:gd name="connsiteY21211" fmla="*/ 1202452 h 4687251"/>
              <a:gd name="connsiteX21212" fmla="*/ 3649631 w 8079933"/>
              <a:gd name="connsiteY21212" fmla="*/ 1205484 h 4687251"/>
              <a:gd name="connsiteX21213" fmla="*/ 3651151 w 8079933"/>
              <a:gd name="connsiteY21213" fmla="*/ 1207108 h 4687251"/>
              <a:gd name="connsiteX21214" fmla="*/ 3650499 w 8079933"/>
              <a:gd name="connsiteY21214" fmla="*/ 1210031 h 4687251"/>
              <a:gd name="connsiteX21215" fmla="*/ 3647135 w 8079933"/>
              <a:gd name="connsiteY21215" fmla="*/ 1213821 h 4687251"/>
              <a:gd name="connsiteX21216" fmla="*/ 3641167 w 8079933"/>
              <a:gd name="connsiteY21216" fmla="*/ 1211764 h 4687251"/>
              <a:gd name="connsiteX21217" fmla="*/ 3640082 w 8079933"/>
              <a:gd name="connsiteY21217" fmla="*/ 1208191 h 4687251"/>
              <a:gd name="connsiteX21218" fmla="*/ 3637912 w 8079933"/>
              <a:gd name="connsiteY21218" fmla="*/ 1207974 h 4687251"/>
              <a:gd name="connsiteX21219" fmla="*/ 3637260 w 8079933"/>
              <a:gd name="connsiteY21219" fmla="*/ 1211114 h 4687251"/>
              <a:gd name="connsiteX21220" fmla="*/ 3638345 w 8079933"/>
              <a:gd name="connsiteY21220" fmla="*/ 1213279 h 4687251"/>
              <a:gd name="connsiteX21221" fmla="*/ 3636067 w 8079933"/>
              <a:gd name="connsiteY21221" fmla="*/ 1216203 h 4687251"/>
              <a:gd name="connsiteX21222" fmla="*/ 3624130 w 8079933"/>
              <a:gd name="connsiteY21222" fmla="*/ 1218476 h 4687251"/>
              <a:gd name="connsiteX21223" fmla="*/ 3620332 w 8079933"/>
              <a:gd name="connsiteY21223" fmla="*/ 1223674 h 4687251"/>
              <a:gd name="connsiteX21224" fmla="*/ 3610348 w 8079933"/>
              <a:gd name="connsiteY21224" fmla="*/ 1232443 h 4687251"/>
              <a:gd name="connsiteX21225" fmla="*/ 3608286 w 8079933"/>
              <a:gd name="connsiteY21225" fmla="*/ 1233635 h 4687251"/>
              <a:gd name="connsiteX21226" fmla="*/ 3608395 w 8079933"/>
              <a:gd name="connsiteY21226" fmla="*/ 1232443 h 4687251"/>
              <a:gd name="connsiteX21227" fmla="*/ 3604380 w 8079933"/>
              <a:gd name="connsiteY21227" fmla="*/ 1232119 h 4687251"/>
              <a:gd name="connsiteX21228" fmla="*/ 3602861 w 8079933"/>
              <a:gd name="connsiteY21228" fmla="*/ 1232660 h 4687251"/>
              <a:gd name="connsiteX21229" fmla="*/ 3600582 w 8079933"/>
              <a:gd name="connsiteY21229" fmla="*/ 1231360 h 4687251"/>
              <a:gd name="connsiteX21230" fmla="*/ 3596241 w 8079933"/>
              <a:gd name="connsiteY21230" fmla="*/ 1236991 h 4687251"/>
              <a:gd name="connsiteX21231" fmla="*/ 3592552 w 8079933"/>
              <a:gd name="connsiteY21231" fmla="*/ 1237749 h 4687251"/>
              <a:gd name="connsiteX21232" fmla="*/ 3590707 w 8079933"/>
              <a:gd name="connsiteY21232" fmla="*/ 1240023 h 4687251"/>
              <a:gd name="connsiteX21233" fmla="*/ 3588971 w 8079933"/>
              <a:gd name="connsiteY21233" fmla="*/ 1237749 h 4687251"/>
              <a:gd name="connsiteX21234" fmla="*/ 3591249 w 8079933"/>
              <a:gd name="connsiteY21234" fmla="*/ 1234825 h 4687251"/>
              <a:gd name="connsiteX21235" fmla="*/ 3585064 w 8079933"/>
              <a:gd name="connsiteY21235" fmla="*/ 1235475 h 4687251"/>
              <a:gd name="connsiteX21236" fmla="*/ 3584630 w 8079933"/>
              <a:gd name="connsiteY21236" fmla="*/ 1241321 h 4687251"/>
              <a:gd name="connsiteX21237" fmla="*/ 3579530 w 8079933"/>
              <a:gd name="connsiteY21237" fmla="*/ 1246302 h 4687251"/>
              <a:gd name="connsiteX21238" fmla="*/ 3574212 w 8079933"/>
              <a:gd name="connsiteY21238" fmla="*/ 1244895 h 4687251"/>
              <a:gd name="connsiteX21239" fmla="*/ 3572910 w 8079933"/>
              <a:gd name="connsiteY21239" fmla="*/ 1242080 h 4687251"/>
              <a:gd name="connsiteX21240" fmla="*/ 3571391 w 8079933"/>
              <a:gd name="connsiteY21240" fmla="*/ 1244245 h 4687251"/>
              <a:gd name="connsiteX21241" fmla="*/ 3572259 w 8079933"/>
              <a:gd name="connsiteY21241" fmla="*/ 1249550 h 4687251"/>
              <a:gd name="connsiteX21242" fmla="*/ 3565857 w 8079933"/>
              <a:gd name="connsiteY21242" fmla="*/ 1251499 h 4687251"/>
              <a:gd name="connsiteX21243" fmla="*/ 3561950 w 8079933"/>
              <a:gd name="connsiteY21243" fmla="*/ 1249875 h 4687251"/>
              <a:gd name="connsiteX21244" fmla="*/ 3551966 w 8079933"/>
              <a:gd name="connsiteY21244" fmla="*/ 1250092 h 4687251"/>
              <a:gd name="connsiteX21245" fmla="*/ 3544370 w 8079933"/>
              <a:gd name="connsiteY21245" fmla="*/ 1242946 h 4687251"/>
              <a:gd name="connsiteX21246" fmla="*/ 3539921 w 8079933"/>
              <a:gd name="connsiteY21246" fmla="*/ 1242513 h 4687251"/>
              <a:gd name="connsiteX21247" fmla="*/ 3536123 w 8079933"/>
              <a:gd name="connsiteY21247" fmla="*/ 1245760 h 4687251"/>
              <a:gd name="connsiteX21248" fmla="*/ 3532325 w 8079933"/>
              <a:gd name="connsiteY21248" fmla="*/ 1243920 h 4687251"/>
              <a:gd name="connsiteX21249" fmla="*/ 3527008 w 8079933"/>
              <a:gd name="connsiteY21249" fmla="*/ 1238615 h 4687251"/>
              <a:gd name="connsiteX21250" fmla="*/ 3527441 w 8079933"/>
              <a:gd name="connsiteY21250" fmla="*/ 1233635 h 4687251"/>
              <a:gd name="connsiteX21251" fmla="*/ 3522450 w 8079933"/>
              <a:gd name="connsiteY21251" fmla="*/ 1235366 h 4687251"/>
              <a:gd name="connsiteX21252" fmla="*/ 3519520 w 8079933"/>
              <a:gd name="connsiteY21252" fmla="*/ 1234501 h 4687251"/>
              <a:gd name="connsiteX21253" fmla="*/ 3518652 w 8079933"/>
              <a:gd name="connsiteY21253" fmla="*/ 1231794 h 4687251"/>
              <a:gd name="connsiteX21254" fmla="*/ 3515071 w 8079933"/>
              <a:gd name="connsiteY21254" fmla="*/ 1234068 h 4687251"/>
              <a:gd name="connsiteX21255" fmla="*/ 3510296 w 8079933"/>
              <a:gd name="connsiteY21255" fmla="*/ 1231469 h 4687251"/>
              <a:gd name="connsiteX21256" fmla="*/ 3504653 w 8079933"/>
              <a:gd name="connsiteY21256" fmla="*/ 1235800 h 4687251"/>
              <a:gd name="connsiteX21257" fmla="*/ 3496840 w 8079933"/>
              <a:gd name="connsiteY21257" fmla="*/ 1234825 h 4687251"/>
              <a:gd name="connsiteX21258" fmla="*/ 3493151 w 8079933"/>
              <a:gd name="connsiteY21258" fmla="*/ 1232660 h 4687251"/>
              <a:gd name="connsiteX21259" fmla="*/ 3491631 w 8079933"/>
              <a:gd name="connsiteY21259" fmla="*/ 1234501 h 4687251"/>
              <a:gd name="connsiteX21260" fmla="*/ 3485988 w 8079933"/>
              <a:gd name="connsiteY21260" fmla="*/ 1234501 h 4687251"/>
              <a:gd name="connsiteX21261" fmla="*/ 3486639 w 8079933"/>
              <a:gd name="connsiteY21261" fmla="*/ 1226813 h 4687251"/>
              <a:gd name="connsiteX21262" fmla="*/ 3488376 w 8079933"/>
              <a:gd name="connsiteY21262" fmla="*/ 1225514 h 4687251"/>
              <a:gd name="connsiteX21263" fmla="*/ 3486097 w 8079933"/>
              <a:gd name="connsiteY21263" fmla="*/ 1224431 h 4687251"/>
              <a:gd name="connsiteX21264" fmla="*/ 3485120 w 8079933"/>
              <a:gd name="connsiteY21264" fmla="*/ 1218801 h 4687251"/>
              <a:gd name="connsiteX21265" fmla="*/ 3486857 w 8079933"/>
              <a:gd name="connsiteY21265" fmla="*/ 1218801 h 4687251"/>
              <a:gd name="connsiteX21266" fmla="*/ 3486965 w 8079933"/>
              <a:gd name="connsiteY21266" fmla="*/ 1216744 h 4687251"/>
              <a:gd name="connsiteX21267" fmla="*/ 3490980 w 8079933"/>
              <a:gd name="connsiteY21267" fmla="*/ 1219451 h 4687251"/>
              <a:gd name="connsiteX21268" fmla="*/ 3492391 w 8079933"/>
              <a:gd name="connsiteY21268" fmla="*/ 1222482 h 4687251"/>
              <a:gd name="connsiteX21269" fmla="*/ 3495429 w 8079933"/>
              <a:gd name="connsiteY21269" fmla="*/ 1220750 h 4687251"/>
              <a:gd name="connsiteX21270" fmla="*/ 3498034 w 8079933"/>
              <a:gd name="connsiteY21270" fmla="*/ 1221399 h 4687251"/>
              <a:gd name="connsiteX21271" fmla="*/ 3500312 w 8079933"/>
              <a:gd name="connsiteY21271" fmla="*/ 1218585 h 4687251"/>
              <a:gd name="connsiteX21272" fmla="*/ 3500530 w 8079933"/>
              <a:gd name="connsiteY21272" fmla="*/ 1215337 h 4687251"/>
              <a:gd name="connsiteX21273" fmla="*/ 3504979 w 8079933"/>
              <a:gd name="connsiteY21273" fmla="*/ 1215228 h 4687251"/>
              <a:gd name="connsiteX21274" fmla="*/ 3508343 w 8079933"/>
              <a:gd name="connsiteY21274" fmla="*/ 1212305 h 4687251"/>
              <a:gd name="connsiteX21275" fmla="*/ 3513009 w 8079933"/>
              <a:gd name="connsiteY21275" fmla="*/ 1210681 h 4687251"/>
              <a:gd name="connsiteX21276" fmla="*/ 3516047 w 8079933"/>
              <a:gd name="connsiteY21276" fmla="*/ 1212522 h 4687251"/>
              <a:gd name="connsiteX21277" fmla="*/ 3514854 w 8079933"/>
              <a:gd name="connsiteY21277" fmla="*/ 1209815 h 4687251"/>
              <a:gd name="connsiteX21278" fmla="*/ 3509753 w 8079933"/>
              <a:gd name="connsiteY21278" fmla="*/ 1208191 h 4687251"/>
              <a:gd name="connsiteX21279" fmla="*/ 3503243 w 8079933"/>
              <a:gd name="connsiteY21279" fmla="*/ 1213388 h 4687251"/>
              <a:gd name="connsiteX21280" fmla="*/ 3499662 w 8079933"/>
              <a:gd name="connsiteY21280" fmla="*/ 1210789 h 4687251"/>
              <a:gd name="connsiteX21281" fmla="*/ 3501940 w 8079933"/>
              <a:gd name="connsiteY21281" fmla="*/ 1207325 h 4687251"/>
              <a:gd name="connsiteX21282" fmla="*/ 3506281 w 8079933"/>
              <a:gd name="connsiteY21282" fmla="*/ 1204185 h 4687251"/>
              <a:gd name="connsiteX21283" fmla="*/ 3507258 w 8079933"/>
              <a:gd name="connsiteY21283" fmla="*/ 1201153 h 4687251"/>
              <a:gd name="connsiteX21284" fmla="*/ 3501289 w 8079933"/>
              <a:gd name="connsiteY21284" fmla="*/ 1205268 h 4687251"/>
              <a:gd name="connsiteX21285" fmla="*/ 3498468 w 8079933"/>
              <a:gd name="connsiteY21285" fmla="*/ 1205809 h 4687251"/>
              <a:gd name="connsiteX21286" fmla="*/ 3497491 w 8079933"/>
              <a:gd name="connsiteY21286" fmla="*/ 1202669 h 4687251"/>
              <a:gd name="connsiteX21287" fmla="*/ 3493151 w 8079933"/>
              <a:gd name="connsiteY21287" fmla="*/ 1199638 h 4687251"/>
              <a:gd name="connsiteX21288" fmla="*/ 3493259 w 8079933"/>
              <a:gd name="connsiteY21288" fmla="*/ 1197147 h 4687251"/>
              <a:gd name="connsiteX21289" fmla="*/ 3496406 w 8079933"/>
              <a:gd name="connsiteY21289" fmla="*/ 1195090 h 4687251"/>
              <a:gd name="connsiteX21290" fmla="*/ 3496732 w 8079933"/>
              <a:gd name="connsiteY21290" fmla="*/ 1192925 h 4687251"/>
              <a:gd name="connsiteX21291" fmla="*/ 3491631 w 8079933"/>
              <a:gd name="connsiteY21291" fmla="*/ 1192491 h 4687251"/>
              <a:gd name="connsiteX21292" fmla="*/ 3482625 w 8079933"/>
              <a:gd name="connsiteY21292" fmla="*/ 1193141 h 4687251"/>
              <a:gd name="connsiteX21293" fmla="*/ 3474920 w 8079933"/>
              <a:gd name="connsiteY21293" fmla="*/ 1191084 h 4687251"/>
              <a:gd name="connsiteX21294" fmla="*/ 3474920 w 8079933"/>
              <a:gd name="connsiteY21294" fmla="*/ 1192600 h 4687251"/>
              <a:gd name="connsiteX21295" fmla="*/ 3468734 w 8079933"/>
              <a:gd name="connsiteY21295" fmla="*/ 1192167 h 4687251"/>
              <a:gd name="connsiteX21296" fmla="*/ 3466890 w 8079933"/>
              <a:gd name="connsiteY21296" fmla="*/ 1187944 h 4687251"/>
              <a:gd name="connsiteX21297" fmla="*/ 3463634 w 8079933"/>
              <a:gd name="connsiteY21297" fmla="*/ 1182856 h 4687251"/>
              <a:gd name="connsiteX21298" fmla="*/ 3465913 w 8079933"/>
              <a:gd name="connsiteY21298" fmla="*/ 1183180 h 4687251"/>
              <a:gd name="connsiteX21299" fmla="*/ 3469168 w 8079933"/>
              <a:gd name="connsiteY21299" fmla="*/ 1181881 h 4687251"/>
              <a:gd name="connsiteX21300" fmla="*/ 3473943 w 8079933"/>
              <a:gd name="connsiteY21300" fmla="*/ 1183722 h 4687251"/>
              <a:gd name="connsiteX21301" fmla="*/ 3478067 w 8079933"/>
              <a:gd name="connsiteY21301" fmla="*/ 1181664 h 4687251"/>
              <a:gd name="connsiteX21302" fmla="*/ 3482082 w 8079933"/>
              <a:gd name="connsiteY21302" fmla="*/ 1181340 h 4687251"/>
              <a:gd name="connsiteX21303" fmla="*/ 3484903 w 8079933"/>
              <a:gd name="connsiteY21303" fmla="*/ 1182856 h 4687251"/>
              <a:gd name="connsiteX21304" fmla="*/ 3488593 w 8079933"/>
              <a:gd name="connsiteY21304" fmla="*/ 1180257 h 4687251"/>
              <a:gd name="connsiteX21305" fmla="*/ 3487725 w 8079933"/>
              <a:gd name="connsiteY21305" fmla="*/ 1178308 h 4687251"/>
              <a:gd name="connsiteX21306" fmla="*/ 3488484 w 8079933"/>
              <a:gd name="connsiteY21306" fmla="*/ 1177117 h 4687251"/>
              <a:gd name="connsiteX21307" fmla="*/ 3490871 w 8079933"/>
              <a:gd name="connsiteY21307" fmla="*/ 1177875 h 4687251"/>
              <a:gd name="connsiteX21308" fmla="*/ 3490980 w 8079933"/>
              <a:gd name="connsiteY21308" fmla="*/ 1179824 h 4687251"/>
              <a:gd name="connsiteX21309" fmla="*/ 3492391 w 8079933"/>
              <a:gd name="connsiteY21309" fmla="*/ 1181340 h 4687251"/>
              <a:gd name="connsiteX21310" fmla="*/ 3494344 w 8079933"/>
              <a:gd name="connsiteY21310" fmla="*/ 1183613 h 4687251"/>
              <a:gd name="connsiteX21311" fmla="*/ 3498142 w 8079933"/>
              <a:gd name="connsiteY21311" fmla="*/ 1180040 h 4687251"/>
              <a:gd name="connsiteX21312" fmla="*/ 3500855 w 8079933"/>
              <a:gd name="connsiteY21312" fmla="*/ 1180799 h 4687251"/>
              <a:gd name="connsiteX21313" fmla="*/ 3509103 w 8079933"/>
              <a:gd name="connsiteY21313" fmla="*/ 1179824 h 4687251"/>
              <a:gd name="connsiteX21314" fmla="*/ 3511816 w 8079933"/>
              <a:gd name="connsiteY21314" fmla="*/ 1176142 h 4687251"/>
              <a:gd name="connsiteX21315" fmla="*/ 3512033 w 8079933"/>
              <a:gd name="connsiteY21315" fmla="*/ 1172353 h 4687251"/>
              <a:gd name="connsiteX21316" fmla="*/ 3509320 w 8079933"/>
              <a:gd name="connsiteY21316" fmla="*/ 1173436 h 4687251"/>
              <a:gd name="connsiteX21317" fmla="*/ 3507583 w 8079933"/>
              <a:gd name="connsiteY21317" fmla="*/ 1176359 h 4687251"/>
              <a:gd name="connsiteX21318" fmla="*/ 3503243 w 8079933"/>
              <a:gd name="connsiteY21318" fmla="*/ 1177009 h 4687251"/>
              <a:gd name="connsiteX21319" fmla="*/ 3495321 w 8079933"/>
              <a:gd name="connsiteY21319" fmla="*/ 1174735 h 4687251"/>
              <a:gd name="connsiteX21320" fmla="*/ 3495755 w 8079933"/>
              <a:gd name="connsiteY21320" fmla="*/ 1173003 h 4687251"/>
              <a:gd name="connsiteX21321" fmla="*/ 3501940 w 8079933"/>
              <a:gd name="connsiteY21321" fmla="*/ 1170296 h 4687251"/>
              <a:gd name="connsiteX21322" fmla="*/ 3505847 w 8079933"/>
              <a:gd name="connsiteY21322" fmla="*/ 1169971 h 4687251"/>
              <a:gd name="connsiteX21323" fmla="*/ 3509211 w 8079933"/>
              <a:gd name="connsiteY21323" fmla="*/ 1167481 h 4687251"/>
              <a:gd name="connsiteX21324" fmla="*/ 3511924 w 8079933"/>
              <a:gd name="connsiteY21324" fmla="*/ 1167481 h 4687251"/>
              <a:gd name="connsiteX21325" fmla="*/ 3514637 w 8079933"/>
              <a:gd name="connsiteY21325" fmla="*/ 1166290 h 4687251"/>
              <a:gd name="connsiteX21326" fmla="*/ 3509645 w 8079933"/>
              <a:gd name="connsiteY21326" fmla="*/ 1163367 h 4687251"/>
              <a:gd name="connsiteX21327" fmla="*/ 3506390 w 8079933"/>
              <a:gd name="connsiteY21327" fmla="*/ 1166073 h 4687251"/>
              <a:gd name="connsiteX21328" fmla="*/ 3504328 w 8079933"/>
              <a:gd name="connsiteY21328" fmla="*/ 1164450 h 4687251"/>
              <a:gd name="connsiteX21329" fmla="*/ 3505847 w 8079933"/>
              <a:gd name="connsiteY21329" fmla="*/ 1160660 h 4687251"/>
              <a:gd name="connsiteX21330" fmla="*/ 3506173 w 8079933"/>
              <a:gd name="connsiteY21330" fmla="*/ 1158495 h 4687251"/>
              <a:gd name="connsiteX21331" fmla="*/ 3501289 w 8079933"/>
              <a:gd name="connsiteY21331" fmla="*/ 1162393 h 4687251"/>
              <a:gd name="connsiteX21332" fmla="*/ 3499878 w 8079933"/>
              <a:gd name="connsiteY21332" fmla="*/ 1162501 h 4687251"/>
              <a:gd name="connsiteX21333" fmla="*/ 3499444 w 8079933"/>
              <a:gd name="connsiteY21333" fmla="*/ 1157736 h 4687251"/>
              <a:gd name="connsiteX21334" fmla="*/ 3498250 w 8079933"/>
              <a:gd name="connsiteY21334" fmla="*/ 1160227 h 4687251"/>
              <a:gd name="connsiteX21335" fmla="*/ 3494452 w 8079933"/>
              <a:gd name="connsiteY21335" fmla="*/ 1163258 h 4687251"/>
              <a:gd name="connsiteX21336" fmla="*/ 3492499 w 8079933"/>
              <a:gd name="connsiteY21336" fmla="*/ 1163258 h 4687251"/>
              <a:gd name="connsiteX21337" fmla="*/ 3491631 w 8079933"/>
              <a:gd name="connsiteY21337" fmla="*/ 1158711 h 4687251"/>
              <a:gd name="connsiteX21338" fmla="*/ 3488593 w 8079933"/>
              <a:gd name="connsiteY21338" fmla="*/ 1160660 h 4687251"/>
              <a:gd name="connsiteX21339" fmla="*/ 3485988 w 8079933"/>
              <a:gd name="connsiteY21339" fmla="*/ 1160660 h 4687251"/>
              <a:gd name="connsiteX21340" fmla="*/ 3485880 w 8079933"/>
              <a:gd name="connsiteY21340" fmla="*/ 1158278 h 4687251"/>
              <a:gd name="connsiteX21341" fmla="*/ 3484361 w 8079933"/>
              <a:gd name="connsiteY21341" fmla="*/ 1155896 h 4687251"/>
              <a:gd name="connsiteX21342" fmla="*/ 3482190 w 8079933"/>
              <a:gd name="connsiteY21342" fmla="*/ 1160010 h 4687251"/>
              <a:gd name="connsiteX21343" fmla="*/ 3476982 w 8079933"/>
              <a:gd name="connsiteY21343" fmla="*/ 1161526 h 4687251"/>
              <a:gd name="connsiteX21344" fmla="*/ 3474052 w 8079933"/>
              <a:gd name="connsiteY21344" fmla="*/ 1166181 h 4687251"/>
              <a:gd name="connsiteX21345" fmla="*/ 3468192 w 8079933"/>
              <a:gd name="connsiteY21345" fmla="*/ 1164991 h 4687251"/>
              <a:gd name="connsiteX21346" fmla="*/ 3464177 w 8079933"/>
              <a:gd name="connsiteY21346" fmla="*/ 1160660 h 4687251"/>
              <a:gd name="connsiteX21347" fmla="*/ 3459185 w 8079933"/>
              <a:gd name="connsiteY21347" fmla="*/ 1158603 h 4687251"/>
              <a:gd name="connsiteX21348" fmla="*/ 3461680 w 8079933"/>
              <a:gd name="connsiteY21348" fmla="*/ 1153947 h 4687251"/>
              <a:gd name="connsiteX21349" fmla="*/ 3465696 w 8079933"/>
              <a:gd name="connsiteY21349" fmla="*/ 1155138 h 4687251"/>
              <a:gd name="connsiteX21350" fmla="*/ 3469711 w 8079933"/>
              <a:gd name="connsiteY21350" fmla="*/ 1160552 h 4687251"/>
              <a:gd name="connsiteX21351" fmla="*/ 3471556 w 8079933"/>
              <a:gd name="connsiteY21351" fmla="*/ 1159794 h 4687251"/>
              <a:gd name="connsiteX21352" fmla="*/ 3469711 w 8079933"/>
              <a:gd name="connsiteY21352" fmla="*/ 1156438 h 4687251"/>
              <a:gd name="connsiteX21353" fmla="*/ 3466781 w 8079933"/>
              <a:gd name="connsiteY21353" fmla="*/ 1151024 h 4687251"/>
              <a:gd name="connsiteX21354" fmla="*/ 3469060 w 8079933"/>
              <a:gd name="connsiteY21354" fmla="*/ 1148642 h 4687251"/>
              <a:gd name="connsiteX21355" fmla="*/ 3471121 w 8079933"/>
              <a:gd name="connsiteY21355" fmla="*/ 1149075 h 4687251"/>
              <a:gd name="connsiteX21356" fmla="*/ 3477850 w 8079933"/>
              <a:gd name="connsiteY21356" fmla="*/ 1155246 h 4687251"/>
              <a:gd name="connsiteX21357" fmla="*/ 3479260 w 8079933"/>
              <a:gd name="connsiteY21357" fmla="*/ 1154922 h 4687251"/>
              <a:gd name="connsiteX21358" fmla="*/ 3478175 w 8079933"/>
              <a:gd name="connsiteY21358" fmla="*/ 1152214 h 4687251"/>
              <a:gd name="connsiteX21359" fmla="*/ 3479477 w 8079933"/>
              <a:gd name="connsiteY21359" fmla="*/ 1151132 h 4687251"/>
              <a:gd name="connsiteX21360" fmla="*/ 3482516 w 8079933"/>
              <a:gd name="connsiteY21360" fmla="*/ 1150591 h 4687251"/>
              <a:gd name="connsiteX21361" fmla="*/ 3476222 w 8079933"/>
              <a:gd name="connsiteY21361" fmla="*/ 1148750 h 4687251"/>
              <a:gd name="connsiteX21362" fmla="*/ 3473618 w 8079933"/>
              <a:gd name="connsiteY21362" fmla="*/ 1144961 h 4687251"/>
              <a:gd name="connsiteX21363" fmla="*/ 3477850 w 8079933"/>
              <a:gd name="connsiteY21363" fmla="*/ 1143228 h 4687251"/>
              <a:gd name="connsiteX21364" fmla="*/ 3482190 w 8079933"/>
              <a:gd name="connsiteY21364" fmla="*/ 1144961 h 4687251"/>
              <a:gd name="connsiteX21365" fmla="*/ 3480562 w 8079933"/>
              <a:gd name="connsiteY21365" fmla="*/ 1142579 h 4687251"/>
              <a:gd name="connsiteX21366" fmla="*/ 3477850 w 8079933"/>
              <a:gd name="connsiteY21366" fmla="*/ 1140955 h 4687251"/>
              <a:gd name="connsiteX21367" fmla="*/ 3475137 w 8079933"/>
              <a:gd name="connsiteY21367" fmla="*/ 1137490 h 4687251"/>
              <a:gd name="connsiteX21368" fmla="*/ 3476331 w 8079933"/>
              <a:gd name="connsiteY21368" fmla="*/ 1134675 h 4687251"/>
              <a:gd name="connsiteX21369" fmla="*/ 3480129 w 8079933"/>
              <a:gd name="connsiteY21369" fmla="*/ 1135866 h 4687251"/>
              <a:gd name="connsiteX21370" fmla="*/ 3482950 w 8079933"/>
              <a:gd name="connsiteY21370" fmla="*/ 1139980 h 4687251"/>
              <a:gd name="connsiteX21371" fmla="*/ 3483926 w 8079933"/>
              <a:gd name="connsiteY21371" fmla="*/ 1137490 h 4687251"/>
              <a:gd name="connsiteX21372" fmla="*/ 3480562 w 8079933"/>
              <a:gd name="connsiteY21372" fmla="*/ 1133051 h 4687251"/>
              <a:gd name="connsiteX21373" fmla="*/ 3483926 w 8079933"/>
              <a:gd name="connsiteY21373" fmla="*/ 1130994 h 4687251"/>
              <a:gd name="connsiteX21374" fmla="*/ 3488593 w 8079933"/>
              <a:gd name="connsiteY21374" fmla="*/ 1132943 h 4687251"/>
              <a:gd name="connsiteX21375" fmla="*/ 3492391 w 8079933"/>
              <a:gd name="connsiteY21375" fmla="*/ 1137814 h 4687251"/>
              <a:gd name="connsiteX21376" fmla="*/ 3491089 w 8079933"/>
              <a:gd name="connsiteY21376" fmla="*/ 1140738 h 4687251"/>
              <a:gd name="connsiteX21377" fmla="*/ 3493802 w 8079933"/>
              <a:gd name="connsiteY21377" fmla="*/ 1141604 h 4687251"/>
              <a:gd name="connsiteX21378" fmla="*/ 3497057 w 8079933"/>
              <a:gd name="connsiteY21378" fmla="*/ 1138681 h 4687251"/>
              <a:gd name="connsiteX21379" fmla="*/ 3501940 w 8079933"/>
              <a:gd name="connsiteY21379" fmla="*/ 1142038 h 4687251"/>
              <a:gd name="connsiteX21380" fmla="*/ 3501940 w 8079933"/>
              <a:gd name="connsiteY21380" fmla="*/ 1144961 h 4687251"/>
              <a:gd name="connsiteX21381" fmla="*/ 3504111 w 8079933"/>
              <a:gd name="connsiteY21381" fmla="*/ 1144528 h 4687251"/>
              <a:gd name="connsiteX21382" fmla="*/ 3505304 w 8079933"/>
              <a:gd name="connsiteY21382" fmla="*/ 1141171 h 4687251"/>
              <a:gd name="connsiteX21383" fmla="*/ 3500964 w 8079933"/>
              <a:gd name="connsiteY21383" fmla="*/ 1135974 h 4687251"/>
              <a:gd name="connsiteX21384" fmla="*/ 3494452 w 8079933"/>
              <a:gd name="connsiteY21384" fmla="*/ 1131643 h 4687251"/>
              <a:gd name="connsiteX21385" fmla="*/ 3493802 w 8079933"/>
              <a:gd name="connsiteY21385" fmla="*/ 1130128 h 4687251"/>
              <a:gd name="connsiteX21386" fmla="*/ 3498034 w 8079933"/>
              <a:gd name="connsiteY21386" fmla="*/ 1130020 h 4687251"/>
              <a:gd name="connsiteX21387" fmla="*/ 3502266 w 8079933"/>
              <a:gd name="connsiteY21387" fmla="*/ 1131318 h 4687251"/>
              <a:gd name="connsiteX21388" fmla="*/ 3504219 w 8079933"/>
              <a:gd name="connsiteY21388" fmla="*/ 1129045 h 4687251"/>
              <a:gd name="connsiteX21389" fmla="*/ 3500312 w 8079933"/>
              <a:gd name="connsiteY21389" fmla="*/ 1127746 h 4687251"/>
              <a:gd name="connsiteX21390" fmla="*/ 3497600 w 8079933"/>
              <a:gd name="connsiteY21390" fmla="*/ 1125905 h 4687251"/>
              <a:gd name="connsiteX21391" fmla="*/ 3494127 w 8079933"/>
              <a:gd name="connsiteY21391" fmla="*/ 1125797 h 4687251"/>
              <a:gd name="connsiteX21392" fmla="*/ 3493584 w 8079933"/>
              <a:gd name="connsiteY21392" fmla="*/ 1127853 h 4687251"/>
              <a:gd name="connsiteX21393" fmla="*/ 3490763 w 8079933"/>
              <a:gd name="connsiteY21393" fmla="*/ 1128071 h 4687251"/>
              <a:gd name="connsiteX21394" fmla="*/ 3488810 w 8079933"/>
              <a:gd name="connsiteY21394" fmla="*/ 1125147 h 4687251"/>
              <a:gd name="connsiteX21395" fmla="*/ 3489461 w 8079933"/>
              <a:gd name="connsiteY21395" fmla="*/ 1123198 h 4687251"/>
              <a:gd name="connsiteX21396" fmla="*/ 1119239 w 8079933"/>
              <a:gd name="connsiteY21396" fmla="*/ 1122116 h 4687251"/>
              <a:gd name="connsiteX21397" fmla="*/ 1115184 w 8079933"/>
              <a:gd name="connsiteY21397" fmla="*/ 1122358 h 4687251"/>
              <a:gd name="connsiteX21398" fmla="*/ 1119240 w 8079933"/>
              <a:gd name="connsiteY21398" fmla="*/ 1122116 h 4687251"/>
              <a:gd name="connsiteX21399" fmla="*/ 2901299 w 8079933"/>
              <a:gd name="connsiteY21399" fmla="*/ 1120925 h 4687251"/>
              <a:gd name="connsiteX21400" fmla="*/ 2902928 w 8079933"/>
              <a:gd name="connsiteY21400" fmla="*/ 1121250 h 4687251"/>
              <a:gd name="connsiteX21401" fmla="*/ 2903579 w 8079933"/>
              <a:gd name="connsiteY21401" fmla="*/ 1123199 h 4687251"/>
              <a:gd name="connsiteX21402" fmla="*/ 2899672 w 8079933"/>
              <a:gd name="connsiteY21402" fmla="*/ 1124282 h 4687251"/>
              <a:gd name="connsiteX21403" fmla="*/ 2898153 w 8079933"/>
              <a:gd name="connsiteY21403" fmla="*/ 1124065 h 4687251"/>
              <a:gd name="connsiteX21404" fmla="*/ 2899998 w 8079933"/>
              <a:gd name="connsiteY21404" fmla="*/ 1121250 h 4687251"/>
              <a:gd name="connsiteX21405" fmla="*/ 705901 w 8079933"/>
              <a:gd name="connsiteY21405" fmla="*/ 1120383 h 4687251"/>
              <a:gd name="connsiteX21406" fmla="*/ 710025 w 8079933"/>
              <a:gd name="connsiteY21406" fmla="*/ 1123306 h 4687251"/>
              <a:gd name="connsiteX21407" fmla="*/ 710025 w 8079933"/>
              <a:gd name="connsiteY21407" fmla="*/ 1126879 h 4687251"/>
              <a:gd name="connsiteX21408" fmla="*/ 707854 w 8079933"/>
              <a:gd name="connsiteY21408" fmla="*/ 1128503 h 4687251"/>
              <a:gd name="connsiteX21409" fmla="*/ 707854 w 8079933"/>
              <a:gd name="connsiteY21409" fmla="*/ 1130236 h 4687251"/>
              <a:gd name="connsiteX21410" fmla="*/ 710568 w 8079933"/>
              <a:gd name="connsiteY21410" fmla="*/ 1130993 h 4687251"/>
              <a:gd name="connsiteX21411" fmla="*/ 714908 w 8079933"/>
              <a:gd name="connsiteY21411" fmla="*/ 1125905 h 4687251"/>
              <a:gd name="connsiteX21412" fmla="*/ 719142 w 8079933"/>
              <a:gd name="connsiteY21412" fmla="*/ 1125038 h 4687251"/>
              <a:gd name="connsiteX21413" fmla="*/ 722287 w 8079933"/>
              <a:gd name="connsiteY21413" fmla="*/ 1126121 h 4687251"/>
              <a:gd name="connsiteX21414" fmla="*/ 724240 w 8079933"/>
              <a:gd name="connsiteY21414" fmla="*/ 1131101 h 4687251"/>
              <a:gd name="connsiteX21415" fmla="*/ 720117 w 8079933"/>
              <a:gd name="connsiteY21415" fmla="*/ 1132293 h 4687251"/>
              <a:gd name="connsiteX21416" fmla="*/ 715776 w 8079933"/>
              <a:gd name="connsiteY21416" fmla="*/ 1132293 h 4687251"/>
              <a:gd name="connsiteX21417" fmla="*/ 715560 w 8079933"/>
              <a:gd name="connsiteY21417" fmla="*/ 1135107 h 4687251"/>
              <a:gd name="connsiteX21418" fmla="*/ 717838 w 8079933"/>
              <a:gd name="connsiteY21418" fmla="*/ 1136515 h 4687251"/>
              <a:gd name="connsiteX21419" fmla="*/ 719250 w 8079933"/>
              <a:gd name="connsiteY21419" fmla="*/ 1139655 h 4687251"/>
              <a:gd name="connsiteX21420" fmla="*/ 716103 w 8079933"/>
              <a:gd name="connsiteY21420" fmla="*/ 1144636 h 4687251"/>
              <a:gd name="connsiteX21421" fmla="*/ 712521 w 8079933"/>
              <a:gd name="connsiteY21421" fmla="*/ 1144094 h 4687251"/>
              <a:gd name="connsiteX21422" fmla="*/ 711327 w 8079933"/>
              <a:gd name="connsiteY21422" fmla="*/ 1141820 h 4687251"/>
              <a:gd name="connsiteX21423" fmla="*/ 708289 w 8079933"/>
              <a:gd name="connsiteY21423" fmla="*/ 1142903 h 4687251"/>
              <a:gd name="connsiteX21424" fmla="*/ 705141 w 8079933"/>
              <a:gd name="connsiteY21424" fmla="*/ 1141279 h 4687251"/>
              <a:gd name="connsiteX21425" fmla="*/ 701562 w 8079933"/>
              <a:gd name="connsiteY21425" fmla="*/ 1141712 h 4687251"/>
              <a:gd name="connsiteX21426" fmla="*/ 699390 w 8079933"/>
              <a:gd name="connsiteY21426" fmla="*/ 1143986 h 4687251"/>
              <a:gd name="connsiteX21427" fmla="*/ 703950 w 8079933"/>
              <a:gd name="connsiteY21427" fmla="*/ 1145068 h 4687251"/>
              <a:gd name="connsiteX21428" fmla="*/ 706228 w 8079933"/>
              <a:gd name="connsiteY21428" fmla="*/ 1150049 h 4687251"/>
              <a:gd name="connsiteX21429" fmla="*/ 703405 w 8079933"/>
              <a:gd name="connsiteY21429" fmla="*/ 1154164 h 4687251"/>
              <a:gd name="connsiteX21430" fmla="*/ 699718 w 8079933"/>
              <a:gd name="connsiteY21430" fmla="*/ 1153838 h 4687251"/>
              <a:gd name="connsiteX21431" fmla="*/ 696896 w 8079933"/>
              <a:gd name="connsiteY21431" fmla="*/ 1149183 h 4687251"/>
              <a:gd name="connsiteX21432" fmla="*/ 690928 w 8079933"/>
              <a:gd name="connsiteY21432" fmla="*/ 1148750 h 4687251"/>
              <a:gd name="connsiteX21433" fmla="*/ 687345 w 8079933"/>
              <a:gd name="connsiteY21433" fmla="*/ 1150158 h 4687251"/>
              <a:gd name="connsiteX21434" fmla="*/ 692228 w 8079933"/>
              <a:gd name="connsiteY21434" fmla="*/ 1152323 h 4687251"/>
              <a:gd name="connsiteX21435" fmla="*/ 693530 w 8079933"/>
              <a:gd name="connsiteY21435" fmla="*/ 1155354 h 4687251"/>
              <a:gd name="connsiteX21436" fmla="*/ 690928 w 8079933"/>
              <a:gd name="connsiteY21436" fmla="*/ 1157411 h 4687251"/>
              <a:gd name="connsiteX21437" fmla="*/ 687019 w 8079933"/>
              <a:gd name="connsiteY21437" fmla="*/ 1156437 h 4687251"/>
              <a:gd name="connsiteX21438" fmla="*/ 682571 w 8079933"/>
              <a:gd name="connsiteY21438" fmla="*/ 1157628 h 4687251"/>
              <a:gd name="connsiteX21439" fmla="*/ 680402 w 8079933"/>
              <a:gd name="connsiteY21439" fmla="*/ 1156978 h 4687251"/>
              <a:gd name="connsiteX21440" fmla="*/ 677905 w 8079933"/>
              <a:gd name="connsiteY21440" fmla="*/ 1162175 h 4687251"/>
              <a:gd name="connsiteX21441" fmla="*/ 675733 w 8079933"/>
              <a:gd name="connsiteY21441" fmla="*/ 1162392 h 4687251"/>
              <a:gd name="connsiteX21442" fmla="*/ 673131 w 8079933"/>
              <a:gd name="connsiteY21442" fmla="*/ 1164341 h 4687251"/>
              <a:gd name="connsiteX21443" fmla="*/ 674432 w 8079933"/>
              <a:gd name="connsiteY21443" fmla="*/ 1166939 h 4687251"/>
              <a:gd name="connsiteX21444" fmla="*/ 669116 w 8079933"/>
              <a:gd name="connsiteY21444" fmla="*/ 1169862 h 4687251"/>
              <a:gd name="connsiteX21445" fmla="*/ 669005 w 8079933"/>
              <a:gd name="connsiteY21445" fmla="*/ 1173002 h 4687251"/>
              <a:gd name="connsiteX21446" fmla="*/ 666077 w 8079933"/>
              <a:gd name="connsiteY21446" fmla="*/ 1174735 h 4687251"/>
              <a:gd name="connsiteX21447" fmla="*/ 664015 w 8079933"/>
              <a:gd name="connsiteY21447" fmla="*/ 1177658 h 4687251"/>
              <a:gd name="connsiteX21448" fmla="*/ 659130 w 8079933"/>
              <a:gd name="connsiteY21448" fmla="*/ 1176792 h 4687251"/>
              <a:gd name="connsiteX21449" fmla="*/ 659781 w 8079933"/>
              <a:gd name="connsiteY21449" fmla="*/ 1174627 h 4687251"/>
              <a:gd name="connsiteX21450" fmla="*/ 668246 w 8079933"/>
              <a:gd name="connsiteY21450" fmla="*/ 1167913 h 4687251"/>
              <a:gd name="connsiteX21451" fmla="*/ 668246 w 8079933"/>
              <a:gd name="connsiteY21451" fmla="*/ 1165315 h 4687251"/>
              <a:gd name="connsiteX21452" fmla="*/ 671070 w 8079933"/>
              <a:gd name="connsiteY21452" fmla="*/ 1161093 h 4687251"/>
              <a:gd name="connsiteX21453" fmla="*/ 669332 w 8079933"/>
              <a:gd name="connsiteY21453" fmla="*/ 1160876 h 4687251"/>
              <a:gd name="connsiteX21454" fmla="*/ 665643 w 8079933"/>
              <a:gd name="connsiteY21454" fmla="*/ 1163907 h 4687251"/>
              <a:gd name="connsiteX21455" fmla="*/ 663797 w 8079933"/>
              <a:gd name="connsiteY21455" fmla="*/ 1161958 h 4687251"/>
              <a:gd name="connsiteX21456" fmla="*/ 665207 w 8079933"/>
              <a:gd name="connsiteY21456" fmla="*/ 1159685 h 4687251"/>
              <a:gd name="connsiteX21457" fmla="*/ 659999 w 8079933"/>
              <a:gd name="connsiteY21457" fmla="*/ 1159468 h 4687251"/>
              <a:gd name="connsiteX21458" fmla="*/ 657612 w 8079933"/>
              <a:gd name="connsiteY21458" fmla="*/ 1161958 h 4687251"/>
              <a:gd name="connsiteX21459" fmla="*/ 659891 w 8079933"/>
              <a:gd name="connsiteY21459" fmla="*/ 1162609 h 4687251"/>
              <a:gd name="connsiteX21460" fmla="*/ 661084 w 8079933"/>
              <a:gd name="connsiteY21460" fmla="*/ 1164124 h 4687251"/>
              <a:gd name="connsiteX21461" fmla="*/ 660325 w 8079933"/>
              <a:gd name="connsiteY21461" fmla="*/ 1166831 h 4687251"/>
              <a:gd name="connsiteX21462" fmla="*/ 657285 w 8079933"/>
              <a:gd name="connsiteY21462" fmla="*/ 1167589 h 4687251"/>
              <a:gd name="connsiteX21463" fmla="*/ 654246 w 8079933"/>
              <a:gd name="connsiteY21463" fmla="*/ 1165748 h 4687251"/>
              <a:gd name="connsiteX21464" fmla="*/ 653705 w 8079933"/>
              <a:gd name="connsiteY21464" fmla="*/ 1160984 h 4687251"/>
              <a:gd name="connsiteX21465" fmla="*/ 655984 w 8079933"/>
              <a:gd name="connsiteY21465" fmla="*/ 1158170 h 4687251"/>
              <a:gd name="connsiteX21466" fmla="*/ 657069 w 8079933"/>
              <a:gd name="connsiteY21466" fmla="*/ 1153297 h 4687251"/>
              <a:gd name="connsiteX21467" fmla="*/ 656742 w 8079933"/>
              <a:gd name="connsiteY21467" fmla="*/ 1147450 h 4687251"/>
              <a:gd name="connsiteX21468" fmla="*/ 655335 w 8079933"/>
              <a:gd name="connsiteY21468" fmla="*/ 1145068 h 4687251"/>
              <a:gd name="connsiteX21469" fmla="*/ 656418 w 8079933"/>
              <a:gd name="connsiteY21469" fmla="*/ 1142254 h 4687251"/>
              <a:gd name="connsiteX21470" fmla="*/ 662711 w 8079933"/>
              <a:gd name="connsiteY21470" fmla="*/ 1137381 h 4687251"/>
              <a:gd name="connsiteX21471" fmla="*/ 673131 w 8079933"/>
              <a:gd name="connsiteY21471" fmla="*/ 1132293 h 4687251"/>
              <a:gd name="connsiteX21472" fmla="*/ 679099 w 8079933"/>
              <a:gd name="connsiteY21472" fmla="*/ 1131534 h 4687251"/>
              <a:gd name="connsiteX21473" fmla="*/ 680834 w 8079933"/>
              <a:gd name="connsiteY21473" fmla="*/ 1132617 h 4687251"/>
              <a:gd name="connsiteX21474" fmla="*/ 681161 w 8079933"/>
              <a:gd name="connsiteY21474" fmla="*/ 1141929 h 4687251"/>
              <a:gd name="connsiteX21475" fmla="*/ 682898 w 8079933"/>
              <a:gd name="connsiteY21475" fmla="*/ 1142903 h 4687251"/>
              <a:gd name="connsiteX21476" fmla="*/ 687019 w 8079933"/>
              <a:gd name="connsiteY21476" fmla="*/ 1137706 h 4687251"/>
              <a:gd name="connsiteX21477" fmla="*/ 685500 w 8079933"/>
              <a:gd name="connsiteY21477" fmla="*/ 1133375 h 4687251"/>
              <a:gd name="connsiteX21478" fmla="*/ 686695 w 8079933"/>
              <a:gd name="connsiteY21478" fmla="*/ 1132617 h 4687251"/>
              <a:gd name="connsiteX21479" fmla="*/ 689841 w 8079933"/>
              <a:gd name="connsiteY21479" fmla="*/ 1134783 h 4687251"/>
              <a:gd name="connsiteX21480" fmla="*/ 691144 w 8079933"/>
              <a:gd name="connsiteY21480" fmla="*/ 1130993 h 4687251"/>
              <a:gd name="connsiteX21481" fmla="*/ 687129 w 8079933"/>
              <a:gd name="connsiteY21481" fmla="*/ 1128070 h 4687251"/>
              <a:gd name="connsiteX21482" fmla="*/ 686043 w 8079933"/>
              <a:gd name="connsiteY21482" fmla="*/ 1125905 h 4687251"/>
              <a:gd name="connsiteX21483" fmla="*/ 690385 w 8079933"/>
              <a:gd name="connsiteY21483" fmla="*/ 1121141 h 4687251"/>
              <a:gd name="connsiteX21484" fmla="*/ 693530 w 8079933"/>
              <a:gd name="connsiteY21484" fmla="*/ 1120816 h 4687251"/>
              <a:gd name="connsiteX21485" fmla="*/ 696680 w 8079933"/>
              <a:gd name="connsiteY21485" fmla="*/ 1123198 h 4687251"/>
              <a:gd name="connsiteX21486" fmla="*/ 696461 w 8079933"/>
              <a:gd name="connsiteY21486" fmla="*/ 1127962 h 4687251"/>
              <a:gd name="connsiteX21487" fmla="*/ 694725 w 8079933"/>
              <a:gd name="connsiteY21487" fmla="*/ 1130127 h 4687251"/>
              <a:gd name="connsiteX21488" fmla="*/ 694725 w 8079933"/>
              <a:gd name="connsiteY21488" fmla="*/ 1133592 h 4687251"/>
              <a:gd name="connsiteX21489" fmla="*/ 697436 w 8079933"/>
              <a:gd name="connsiteY21489" fmla="*/ 1132834 h 4687251"/>
              <a:gd name="connsiteX21490" fmla="*/ 699608 w 8079933"/>
              <a:gd name="connsiteY21490" fmla="*/ 1128936 h 4687251"/>
              <a:gd name="connsiteX21491" fmla="*/ 701562 w 8079933"/>
              <a:gd name="connsiteY21491" fmla="*/ 1127962 h 4687251"/>
              <a:gd name="connsiteX21492" fmla="*/ 704056 w 8079933"/>
              <a:gd name="connsiteY21492" fmla="*/ 1129369 h 4687251"/>
              <a:gd name="connsiteX21493" fmla="*/ 704817 w 8079933"/>
              <a:gd name="connsiteY21493" fmla="*/ 1125038 h 4687251"/>
              <a:gd name="connsiteX21494" fmla="*/ 703515 w 8079933"/>
              <a:gd name="connsiteY21494" fmla="*/ 1122115 h 4687251"/>
              <a:gd name="connsiteX21495" fmla="*/ 2900433 w 8079933"/>
              <a:gd name="connsiteY21495" fmla="*/ 1113995 h 4687251"/>
              <a:gd name="connsiteX21496" fmla="*/ 2902711 w 8079933"/>
              <a:gd name="connsiteY21496" fmla="*/ 1114861 h 4687251"/>
              <a:gd name="connsiteX21497" fmla="*/ 2902494 w 8079933"/>
              <a:gd name="connsiteY21497" fmla="*/ 1118434 h 4687251"/>
              <a:gd name="connsiteX21498" fmla="*/ 2899022 w 8079933"/>
              <a:gd name="connsiteY21498" fmla="*/ 1117893 h 4687251"/>
              <a:gd name="connsiteX21499" fmla="*/ 2897503 w 8079933"/>
              <a:gd name="connsiteY21499" fmla="*/ 1115403 h 4687251"/>
              <a:gd name="connsiteX21500" fmla="*/ 4388063 w 8079933"/>
              <a:gd name="connsiteY21500" fmla="*/ 1108152 h 4687251"/>
              <a:gd name="connsiteX21501" fmla="*/ 4387218 w 8079933"/>
              <a:gd name="connsiteY21501" fmla="*/ 1110748 h 4687251"/>
              <a:gd name="connsiteX21502" fmla="*/ 4387435 w 8079933"/>
              <a:gd name="connsiteY21502" fmla="*/ 1111462 h 4687251"/>
              <a:gd name="connsiteX21503" fmla="*/ 4388197 w 8079933"/>
              <a:gd name="connsiteY21503" fmla="*/ 1108907 h 4687251"/>
              <a:gd name="connsiteX21504" fmla="*/ 4244303 w 8079933"/>
              <a:gd name="connsiteY21504" fmla="*/ 1101653 h 4687251"/>
              <a:gd name="connsiteX21505" fmla="*/ 4242023 w 8079933"/>
              <a:gd name="connsiteY21505" fmla="*/ 1107066 h 4687251"/>
              <a:gd name="connsiteX21506" fmla="*/ 4235295 w 8079933"/>
              <a:gd name="connsiteY21506" fmla="*/ 1116377 h 4687251"/>
              <a:gd name="connsiteX21507" fmla="*/ 4228784 w 8079933"/>
              <a:gd name="connsiteY21507" fmla="*/ 1127962 h 4687251"/>
              <a:gd name="connsiteX21508" fmla="*/ 4228459 w 8079933"/>
              <a:gd name="connsiteY21508" fmla="*/ 1132726 h 4687251"/>
              <a:gd name="connsiteX21509" fmla="*/ 4224661 w 8079933"/>
              <a:gd name="connsiteY21509" fmla="*/ 1135974 h 4687251"/>
              <a:gd name="connsiteX21510" fmla="*/ 4216522 w 8079933"/>
              <a:gd name="connsiteY21510" fmla="*/ 1137706 h 4687251"/>
              <a:gd name="connsiteX21511" fmla="*/ 4208926 w 8079933"/>
              <a:gd name="connsiteY21511" fmla="*/ 1142254 h 4687251"/>
              <a:gd name="connsiteX21512" fmla="*/ 4208818 w 8079933"/>
              <a:gd name="connsiteY21512" fmla="*/ 1147017 h 4687251"/>
              <a:gd name="connsiteX21513" fmla="*/ 4208926 w 8079933"/>
              <a:gd name="connsiteY21513" fmla="*/ 1142254 h 4687251"/>
              <a:gd name="connsiteX21514" fmla="*/ 4216522 w 8079933"/>
              <a:gd name="connsiteY21514" fmla="*/ 1137707 h 4687251"/>
              <a:gd name="connsiteX21515" fmla="*/ 4224661 w 8079933"/>
              <a:gd name="connsiteY21515" fmla="*/ 1135975 h 4687251"/>
              <a:gd name="connsiteX21516" fmla="*/ 4228459 w 8079933"/>
              <a:gd name="connsiteY21516" fmla="*/ 1132726 h 4687251"/>
              <a:gd name="connsiteX21517" fmla="*/ 4228784 w 8079933"/>
              <a:gd name="connsiteY21517" fmla="*/ 1127963 h 4687251"/>
              <a:gd name="connsiteX21518" fmla="*/ 4235295 w 8079933"/>
              <a:gd name="connsiteY21518" fmla="*/ 1116378 h 4687251"/>
              <a:gd name="connsiteX21519" fmla="*/ 4242023 w 8079933"/>
              <a:gd name="connsiteY21519" fmla="*/ 1107067 h 4687251"/>
              <a:gd name="connsiteX21520" fmla="*/ 4244303 w 8079933"/>
              <a:gd name="connsiteY21520" fmla="*/ 1101653 h 4687251"/>
              <a:gd name="connsiteX21521" fmla="*/ 727278 w 8079933"/>
              <a:gd name="connsiteY21521" fmla="*/ 1100137 h 4687251"/>
              <a:gd name="connsiteX21522" fmla="*/ 729884 w 8079933"/>
              <a:gd name="connsiteY21522" fmla="*/ 1101220 h 4687251"/>
              <a:gd name="connsiteX21523" fmla="*/ 728907 w 8079933"/>
              <a:gd name="connsiteY21523" fmla="*/ 1105551 h 4687251"/>
              <a:gd name="connsiteX21524" fmla="*/ 731076 w 8079933"/>
              <a:gd name="connsiteY21524" fmla="*/ 1106092 h 4687251"/>
              <a:gd name="connsiteX21525" fmla="*/ 732270 w 8079933"/>
              <a:gd name="connsiteY21525" fmla="*/ 1103818 h 4687251"/>
              <a:gd name="connsiteX21526" fmla="*/ 735201 w 8079933"/>
              <a:gd name="connsiteY21526" fmla="*/ 1102952 h 4687251"/>
              <a:gd name="connsiteX21527" fmla="*/ 737047 w 8079933"/>
              <a:gd name="connsiteY21527" fmla="*/ 1106525 h 4687251"/>
              <a:gd name="connsiteX21528" fmla="*/ 734767 w 8079933"/>
              <a:gd name="connsiteY21528" fmla="*/ 1108690 h 4687251"/>
              <a:gd name="connsiteX21529" fmla="*/ 733032 w 8079933"/>
              <a:gd name="connsiteY21529" fmla="*/ 1112047 h 4687251"/>
              <a:gd name="connsiteX21530" fmla="*/ 735853 w 8079933"/>
              <a:gd name="connsiteY21530" fmla="*/ 1113021 h 4687251"/>
              <a:gd name="connsiteX21531" fmla="*/ 737371 w 8079933"/>
              <a:gd name="connsiteY21531" fmla="*/ 1115944 h 4687251"/>
              <a:gd name="connsiteX21532" fmla="*/ 733789 w 8079933"/>
              <a:gd name="connsiteY21532" fmla="*/ 1116918 h 4687251"/>
              <a:gd name="connsiteX21533" fmla="*/ 731403 w 8079933"/>
              <a:gd name="connsiteY21533" fmla="*/ 1114970 h 4687251"/>
              <a:gd name="connsiteX21534" fmla="*/ 727713 w 8079933"/>
              <a:gd name="connsiteY21534" fmla="*/ 1118759 h 4687251"/>
              <a:gd name="connsiteX21535" fmla="*/ 725107 w 8079933"/>
              <a:gd name="connsiteY21535" fmla="*/ 1118759 h 4687251"/>
              <a:gd name="connsiteX21536" fmla="*/ 724024 w 8079933"/>
              <a:gd name="connsiteY21536" fmla="*/ 1115728 h 4687251"/>
              <a:gd name="connsiteX21537" fmla="*/ 719574 w 8079933"/>
              <a:gd name="connsiteY21537" fmla="*/ 1119517 h 4687251"/>
              <a:gd name="connsiteX21538" fmla="*/ 716211 w 8079933"/>
              <a:gd name="connsiteY21538" fmla="*/ 1119626 h 4687251"/>
              <a:gd name="connsiteX21539" fmla="*/ 710786 w 8079933"/>
              <a:gd name="connsiteY21539" fmla="*/ 1114428 h 4687251"/>
              <a:gd name="connsiteX21540" fmla="*/ 709915 w 8079933"/>
              <a:gd name="connsiteY21540" fmla="*/ 1112371 h 4687251"/>
              <a:gd name="connsiteX21541" fmla="*/ 711980 w 8079933"/>
              <a:gd name="connsiteY21541" fmla="*/ 1110206 h 4687251"/>
              <a:gd name="connsiteX21542" fmla="*/ 715016 w 8079933"/>
              <a:gd name="connsiteY21542" fmla="*/ 1111614 h 4687251"/>
              <a:gd name="connsiteX21543" fmla="*/ 717186 w 8079933"/>
              <a:gd name="connsiteY21543" fmla="*/ 1109773 h 4687251"/>
              <a:gd name="connsiteX21544" fmla="*/ 719899 w 8079933"/>
              <a:gd name="connsiteY21544" fmla="*/ 1111072 h 4687251"/>
              <a:gd name="connsiteX21545" fmla="*/ 722612 w 8079933"/>
              <a:gd name="connsiteY21545" fmla="*/ 1106958 h 4687251"/>
              <a:gd name="connsiteX21546" fmla="*/ 720658 w 8079933"/>
              <a:gd name="connsiteY21546" fmla="*/ 1104576 h 4687251"/>
              <a:gd name="connsiteX21547" fmla="*/ 722722 w 8079933"/>
              <a:gd name="connsiteY21547" fmla="*/ 1101436 h 4687251"/>
              <a:gd name="connsiteX21548" fmla="*/ 4200897 w 8079933"/>
              <a:gd name="connsiteY21548" fmla="*/ 1098730 h 4687251"/>
              <a:gd name="connsiteX21549" fmla="*/ 4203610 w 8079933"/>
              <a:gd name="connsiteY21549" fmla="*/ 1099271 h 4687251"/>
              <a:gd name="connsiteX21550" fmla="*/ 4201656 w 8079933"/>
              <a:gd name="connsiteY21550" fmla="*/ 1103169 h 4687251"/>
              <a:gd name="connsiteX21551" fmla="*/ 4199378 w 8079933"/>
              <a:gd name="connsiteY21551" fmla="*/ 1101112 h 4687251"/>
              <a:gd name="connsiteX21552" fmla="*/ 4492529 w 8079933"/>
              <a:gd name="connsiteY21552" fmla="*/ 1092350 h 4687251"/>
              <a:gd name="connsiteX21553" fmla="*/ 4492372 w 8079933"/>
              <a:gd name="connsiteY21553" fmla="*/ 1092774 h 4687251"/>
              <a:gd name="connsiteX21554" fmla="*/ 4496224 w 8079933"/>
              <a:gd name="connsiteY21554" fmla="*/ 1096908 h 4687251"/>
              <a:gd name="connsiteX21555" fmla="*/ 4495953 w 8079933"/>
              <a:gd name="connsiteY21555" fmla="*/ 1096024 h 4687251"/>
              <a:gd name="connsiteX21556" fmla="*/ 732379 w 8079933"/>
              <a:gd name="connsiteY21556" fmla="*/ 1091042 h 4687251"/>
              <a:gd name="connsiteX21557" fmla="*/ 735853 w 8079933"/>
              <a:gd name="connsiteY21557" fmla="*/ 1091258 h 4687251"/>
              <a:gd name="connsiteX21558" fmla="*/ 735526 w 8079933"/>
              <a:gd name="connsiteY21558" fmla="*/ 1094940 h 4687251"/>
              <a:gd name="connsiteX21559" fmla="*/ 731838 w 8079933"/>
              <a:gd name="connsiteY21559" fmla="*/ 1097538 h 4687251"/>
              <a:gd name="connsiteX21560" fmla="*/ 729125 w 8079933"/>
              <a:gd name="connsiteY21560" fmla="*/ 1095373 h 4687251"/>
              <a:gd name="connsiteX21561" fmla="*/ 730316 w 8079933"/>
              <a:gd name="connsiteY21561" fmla="*/ 1091475 h 4687251"/>
              <a:gd name="connsiteX21562" fmla="*/ 4756175 w 8079933"/>
              <a:gd name="connsiteY21562" fmla="*/ 1088660 h 4687251"/>
              <a:gd name="connsiteX21563" fmla="*/ 4758779 w 8079933"/>
              <a:gd name="connsiteY21563" fmla="*/ 1091691 h 4687251"/>
              <a:gd name="connsiteX21564" fmla="*/ 4759105 w 8079933"/>
              <a:gd name="connsiteY21564" fmla="*/ 1094182 h 4687251"/>
              <a:gd name="connsiteX21565" fmla="*/ 4756717 w 8079933"/>
              <a:gd name="connsiteY21565" fmla="*/ 1094507 h 4687251"/>
              <a:gd name="connsiteX21566" fmla="*/ 4753679 w 8079933"/>
              <a:gd name="connsiteY21566" fmla="*/ 1091583 h 4687251"/>
              <a:gd name="connsiteX21567" fmla="*/ 4753679 w 8079933"/>
              <a:gd name="connsiteY21567" fmla="*/ 1089093 h 4687251"/>
              <a:gd name="connsiteX21568" fmla="*/ 880070 w 8079933"/>
              <a:gd name="connsiteY21568" fmla="*/ 1085629 h 4687251"/>
              <a:gd name="connsiteX21569" fmla="*/ 882783 w 8079933"/>
              <a:gd name="connsiteY21569" fmla="*/ 1087795 h 4687251"/>
              <a:gd name="connsiteX21570" fmla="*/ 875729 w 8079933"/>
              <a:gd name="connsiteY21570" fmla="*/ 1088336 h 4687251"/>
              <a:gd name="connsiteX21571" fmla="*/ 4385170 w 8079933"/>
              <a:gd name="connsiteY21571" fmla="*/ 1085051 h 4687251"/>
              <a:gd name="connsiteX21572" fmla="*/ 4383420 w 8079933"/>
              <a:gd name="connsiteY21572" fmla="*/ 1087794 h 4687251"/>
              <a:gd name="connsiteX21573" fmla="*/ 4383588 w 8079933"/>
              <a:gd name="connsiteY21573" fmla="*/ 1089250 h 4687251"/>
              <a:gd name="connsiteX21574" fmla="*/ 4385484 w 8079933"/>
              <a:gd name="connsiteY21574" fmla="*/ 1086278 h 4687251"/>
              <a:gd name="connsiteX21575" fmla="*/ 1047655 w 8079933"/>
              <a:gd name="connsiteY21575" fmla="*/ 1084195 h 4687251"/>
              <a:gd name="connsiteX21576" fmla="*/ 1045666 w 8079933"/>
              <a:gd name="connsiteY21576" fmla="*/ 1088336 h 4687251"/>
              <a:gd name="connsiteX21577" fmla="*/ 1045666 w 8079933"/>
              <a:gd name="connsiteY21577" fmla="*/ 1088336 h 4687251"/>
              <a:gd name="connsiteX21578" fmla="*/ 1008988 w 8079933"/>
              <a:gd name="connsiteY21578" fmla="*/ 1078592 h 4687251"/>
              <a:gd name="connsiteX21579" fmla="*/ 1008987 w 8079933"/>
              <a:gd name="connsiteY21579" fmla="*/ 1078592 h 4687251"/>
              <a:gd name="connsiteX21580" fmla="*/ 1024614 w 8079933"/>
              <a:gd name="connsiteY21580" fmla="*/ 1078808 h 4687251"/>
              <a:gd name="connsiteX21581" fmla="*/ 1029052 w 8079933"/>
              <a:gd name="connsiteY21581" fmla="*/ 1081022 h 4687251"/>
              <a:gd name="connsiteX21582" fmla="*/ 1024613 w 8079933"/>
              <a:gd name="connsiteY21582" fmla="*/ 1078808 h 4687251"/>
              <a:gd name="connsiteX21583" fmla="*/ 7094276 w 8079933"/>
              <a:gd name="connsiteY21583" fmla="*/ 1077942 h 4687251"/>
              <a:gd name="connsiteX21584" fmla="*/ 7094059 w 8079933"/>
              <a:gd name="connsiteY21584" fmla="*/ 1081299 h 4687251"/>
              <a:gd name="connsiteX21585" fmla="*/ 7090803 w 8079933"/>
              <a:gd name="connsiteY21585" fmla="*/ 1086171 h 4687251"/>
              <a:gd name="connsiteX21586" fmla="*/ 7088633 w 8079933"/>
              <a:gd name="connsiteY21586" fmla="*/ 1085846 h 4687251"/>
              <a:gd name="connsiteX21587" fmla="*/ 7088959 w 8079933"/>
              <a:gd name="connsiteY21587" fmla="*/ 1082165 h 4687251"/>
              <a:gd name="connsiteX21588" fmla="*/ 7091346 w 8079933"/>
              <a:gd name="connsiteY21588" fmla="*/ 1078591 h 4687251"/>
              <a:gd name="connsiteX21589" fmla="*/ 4170729 w 8079933"/>
              <a:gd name="connsiteY21589" fmla="*/ 1076643 h 4687251"/>
              <a:gd name="connsiteX21590" fmla="*/ 4172791 w 8079933"/>
              <a:gd name="connsiteY21590" fmla="*/ 1079133 h 4687251"/>
              <a:gd name="connsiteX21591" fmla="*/ 4171488 w 8079933"/>
              <a:gd name="connsiteY21591" fmla="*/ 1081515 h 4687251"/>
              <a:gd name="connsiteX21592" fmla="*/ 4168993 w 8079933"/>
              <a:gd name="connsiteY21592" fmla="*/ 1080000 h 4687251"/>
              <a:gd name="connsiteX21593" fmla="*/ 1038720 w 8079933"/>
              <a:gd name="connsiteY21593" fmla="*/ 1076318 h 4687251"/>
              <a:gd name="connsiteX21594" fmla="*/ 1029605 w 8079933"/>
              <a:gd name="connsiteY21594" fmla="*/ 1081298 h 4687251"/>
              <a:gd name="connsiteX21595" fmla="*/ 1029605 w 8079933"/>
              <a:gd name="connsiteY21595" fmla="*/ 1081298 h 4687251"/>
              <a:gd name="connsiteX21596" fmla="*/ 1038721 w 8079933"/>
              <a:gd name="connsiteY21596" fmla="*/ 1076318 h 4687251"/>
              <a:gd name="connsiteX21597" fmla="*/ 934006 w 8079933"/>
              <a:gd name="connsiteY21597" fmla="*/ 1073394 h 4687251"/>
              <a:gd name="connsiteX21598" fmla="*/ 937044 w 8079933"/>
              <a:gd name="connsiteY21598" fmla="*/ 1073394 h 4687251"/>
              <a:gd name="connsiteX21599" fmla="*/ 932812 w 8079933"/>
              <a:gd name="connsiteY21599" fmla="*/ 1078374 h 4687251"/>
              <a:gd name="connsiteX21600" fmla="*/ 928144 w 8079933"/>
              <a:gd name="connsiteY21600" fmla="*/ 1079566 h 4687251"/>
              <a:gd name="connsiteX21601" fmla="*/ 928254 w 8079933"/>
              <a:gd name="connsiteY21601" fmla="*/ 1075668 h 4687251"/>
              <a:gd name="connsiteX21602" fmla="*/ 4379492 w 8079933"/>
              <a:gd name="connsiteY21602" fmla="*/ 1068147 h 4687251"/>
              <a:gd name="connsiteX21603" fmla="*/ 4377452 w 8079933"/>
              <a:gd name="connsiteY21603" fmla="*/ 1073611 h 4687251"/>
              <a:gd name="connsiteX21604" fmla="*/ 4377779 w 8079933"/>
              <a:gd name="connsiteY21604" fmla="*/ 1077119 h 4687251"/>
              <a:gd name="connsiteX21605" fmla="*/ 4377779 w 8079933"/>
              <a:gd name="connsiteY21605" fmla="*/ 1075992 h 4687251"/>
              <a:gd name="connsiteX21606" fmla="*/ 4379949 w 8079933"/>
              <a:gd name="connsiteY21606" fmla="*/ 1070579 h 4687251"/>
              <a:gd name="connsiteX21607" fmla="*/ 2904231 w 8079933"/>
              <a:gd name="connsiteY21607" fmla="*/ 1067115 h 4687251"/>
              <a:gd name="connsiteX21608" fmla="*/ 2906509 w 8079933"/>
              <a:gd name="connsiteY21608" fmla="*/ 1067981 h 4687251"/>
              <a:gd name="connsiteX21609" fmla="*/ 2904882 w 8079933"/>
              <a:gd name="connsiteY21609" fmla="*/ 1070039 h 4687251"/>
              <a:gd name="connsiteX21610" fmla="*/ 2900541 w 8079933"/>
              <a:gd name="connsiteY21610" fmla="*/ 1068847 h 4687251"/>
              <a:gd name="connsiteX21611" fmla="*/ 2906619 w 8079933"/>
              <a:gd name="connsiteY21611" fmla="*/ 1062135 h 4687251"/>
              <a:gd name="connsiteX21612" fmla="*/ 2911068 w 8079933"/>
              <a:gd name="connsiteY21612" fmla="*/ 1063651 h 4687251"/>
              <a:gd name="connsiteX21613" fmla="*/ 2908355 w 8079933"/>
              <a:gd name="connsiteY21613" fmla="*/ 1065275 h 4687251"/>
              <a:gd name="connsiteX21614" fmla="*/ 2904882 w 8079933"/>
              <a:gd name="connsiteY21614" fmla="*/ 1065275 h 4687251"/>
              <a:gd name="connsiteX21615" fmla="*/ 2902712 w 8079933"/>
              <a:gd name="connsiteY21615" fmla="*/ 1064083 h 4687251"/>
              <a:gd name="connsiteX21616" fmla="*/ 2903363 w 8079933"/>
              <a:gd name="connsiteY21616" fmla="*/ 1063110 h 4687251"/>
              <a:gd name="connsiteX21617" fmla="*/ 2895332 w 8079933"/>
              <a:gd name="connsiteY21617" fmla="*/ 1061809 h 4687251"/>
              <a:gd name="connsiteX21618" fmla="*/ 2896743 w 8079933"/>
              <a:gd name="connsiteY21618" fmla="*/ 1062134 h 4687251"/>
              <a:gd name="connsiteX21619" fmla="*/ 2897394 w 8079933"/>
              <a:gd name="connsiteY21619" fmla="*/ 1063758 h 4687251"/>
              <a:gd name="connsiteX21620" fmla="*/ 2895332 w 8079933"/>
              <a:gd name="connsiteY21620" fmla="*/ 1064841 h 4687251"/>
              <a:gd name="connsiteX21621" fmla="*/ 2894247 w 8079933"/>
              <a:gd name="connsiteY21621" fmla="*/ 1062242 h 4687251"/>
              <a:gd name="connsiteX21622" fmla="*/ 4252255 w 8079933"/>
              <a:gd name="connsiteY21622" fmla="*/ 1061328 h 4687251"/>
              <a:gd name="connsiteX21623" fmla="*/ 4249402 w 8079933"/>
              <a:gd name="connsiteY21623" fmla="*/ 1067439 h 4687251"/>
              <a:gd name="connsiteX21624" fmla="*/ 4246147 w 8079933"/>
              <a:gd name="connsiteY21624" fmla="*/ 1069171 h 4687251"/>
              <a:gd name="connsiteX21625" fmla="*/ 4244736 w 8079933"/>
              <a:gd name="connsiteY21625" fmla="*/ 1075018 h 4687251"/>
              <a:gd name="connsiteX21626" fmla="*/ 4241807 w 8079933"/>
              <a:gd name="connsiteY21626" fmla="*/ 1078915 h 4687251"/>
              <a:gd name="connsiteX21627" fmla="*/ 4238768 w 8079933"/>
              <a:gd name="connsiteY21627" fmla="*/ 1080540 h 4687251"/>
              <a:gd name="connsiteX21628" fmla="*/ 4238768 w 8079933"/>
              <a:gd name="connsiteY21628" fmla="*/ 1080541 h 4687251"/>
              <a:gd name="connsiteX21629" fmla="*/ 4241807 w 8079933"/>
              <a:gd name="connsiteY21629" fmla="*/ 1078916 h 4687251"/>
              <a:gd name="connsiteX21630" fmla="*/ 4244736 w 8079933"/>
              <a:gd name="connsiteY21630" fmla="*/ 1075019 h 4687251"/>
              <a:gd name="connsiteX21631" fmla="*/ 4246147 w 8079933"/>
              <a:gd name="connsiteY21631" fmla="*/ 1069172 h 4687251"/>
              <a:gd name="connsiteX21632" fmla="*/ 4249402 w 8079933"/>
              <a:gd name="connsiteY21632" fmla="*/ 1067439 h 4687251"/>
              <a:gd name="connsiteX21633" fmla="*/ 4379569 w 8079933"/>
              <a:gd name="connsiteY21633" fmla="*/ 1058081 h 4687251"/>
              <a:gd name="connsiteX21634" fmla="*/ 4378211 w 8079933"/>
              <a:gd name="connsiteY21634" fmla="*/ 1061268 h 4687251"/>
              <a:gd name="connsiteX21635" fmla="*/ 4378660 w 8079933"/>
              <a:gd name="connsiteY21635" fmla="*/ 1063618 h 4687251"/>
              <a:gd name="connsiteX21636" fmla="*/ 4380383 w 8079933"/>
              <a:gd name="connsiteY21636" fmla="*/ 1059319 h 4687251"/>
              <a:gd name="connsiteX21637" fmla="*/ 4177564 w 8079933"/>
              <a:gd name="connsiteY21637" fmla="*/ 1057912 h 4687251"/>
              <a:gd name="connsiteX21638" fmla="*/ 4178758 w 8079933"/>
              <a:gd name="connsiteY21638" fmla="*/ 1064625 h 4687251"/>
              <a:gd name="connsiteX21639" fmla="*/ 4173224 w 8079933"/>
              <a:gd name="connsiteY21639" fmla="*/ 1069931 h 4687251"/>
              <a:gd name="connsiteX21640" fmla="*/ 4173224 w 8079933"/>
              <a:gd name="connsiteY21640" fmla="*/ 1065275 h 4687251"/>
              <a:gd name="connsiteX21641" fmla="*/ 4182231 w 8079933"/>
              <a:gd name="connsiteY21641" fmla="*/ 1055854 h 4687251"/>
              <a:gd name="connsiteX21642" fmla="*/ 4184184 w 8079933"/>
              <a:gd name="connsiteY21642" fmla="*/ 1057045 h 4687251"/>
              <a:gd name="connsiteX21643" fmla="*/ 4182231 w 8079933"/>
              <a:gd name="connsiteY21643" fmla="*/ 1061051 h 4687251"/>
              <a:gd name="connsiteX21644" fmla="*/ 4180278 w 8079933"/>
              <a:gd name="connsiteY21644" fmla="*/ 1058235 h 4687251"/>
              <a:gd name="connsiteX21645" fmla="*/ 4258084 w 8079933"/>
              <a:gd name="connsiteY21645" fmla="*/ 1055746 h 4687251"/>
              <a:gd name="connsiteX21646" fmla="*/ 4253092 w 8079933"/>
              <a:gd name="connsiteY21646" fmla="*/ 1059535 h 4687251"/>
              <a:gd name="connsiteX21647" fmla="*/ 4253092 w 8079933"/>
              <a:gd name="connsiteY21647" fmla="*/ 1059536 h 4687251"/>
              <a:gd name="connsiteX21648" fmla="*/ 4258084 w 8079933"/>
              <a:gd name="connsiteY21648" fmla="*/ 1055747 h 4687251"/>
              <a:gd name="connsiteX21649" fmla="*/ 4263401 w 8079933"/>
              <a:gd name="connsiteY21649" fmla="*/ 1058129 h 4687251"/>
              <a:gd name="connsiteX21650" fmla="*/ 4265571 w 8079933"/>
              <a:gd name="connsiteY21650" fmla="*/ 1060727 h 4687251"/>
              <a:gd name="connsiteX21651" fmla="*/ 4268719 w 8079933"/>
              <a:gd name="connsiteY21651" fmla="*/ 1060186 h 4687251"/>
              <a:gd name="connsiteX21652" fmla="*/ 4272299 w 8079933"/>
              <a:gd name="connsiteY21652" fmla="*/ 1056937 h 4687251"/>
              <a:gd name="connsiteX21653" fmla="*/ 4272299 w 8079933"/>
              <a:gd name="connsiteY21653" fmla="*/ 1056937 h 4687251"/>
              <a:gd name="connsiteX21654" fmla="*/ 4268719 w 8079933"/>
              <a:gd name="connsiteY21654" fmla="*/ 1060185 h 4687251"/>
              <a:gd name="connsiteX21655" fmla="*/ 4265571 w 8079933"/>
              <a:gd name="connsiteY21655" fmla="*/ 1060726 h 4687251"/>
              <a:gd name="connsiteX21656" fmla="*/ 4263401 w 8079933"/>
              <a:gd name="connsiteY21656" fmla="*/ 1058128 h 4687251"/>
              <a:gd name="connsiteX21657" fmla="*/ 4488790 w 8079933"/>
              <a:gd name="connsiteY21657" fmla="*/ 1055495 h 4687251"/>
              <a:gd name="connsiteX21658" fmla="*/ 4489659 w 8079933"/>
              <a:gd name="connsiteY21658" fmla="*/ 1057587 h 4687251"/>
              <a:gd name="connsiteX21659" fmla="*/ 4500510 w 8079933"/>
              <a:gd name="connsiteY21659" fmla="*/ 1064516 h 4687251"/>
              <a:gd name="connsiteX21660" fmla="*/ 4501041 w 8079933"/>
              <a:gd name="connsiteY21660" fmla="*/ 1065006 h 4687251"/>
              <a:gd name="connsiteX21661" fmla="*/ 4501270 w 8079933"/>
              <a:gd name="connsiteY21661" fmla="*/ 1064300 h 4687251"/>
              <a:gd name="connsiteX21662" fmla="*/ 4498340 w 8079933"/>
              <a:gd name="connsiteY21662" fmla="*/ 1061594 h 4687251"/>
              <a:gd name="connsiteX21663" fmla="*/ 863360 w 8079933"/>
              <a:gd name="connsiteY21663" fmla="*/ 1051090 h 4687251"/>
              <a:gd name="connsiteX21664" fmla="*/ 863360 w 8079933"/>
              <a:gd name="connsiteY21664" fmla="*/ 1054663 h 4687251"/>
              <a:gd name="connsiteX21665" fmla="*/ 859345 w 8079933"/>
              <a:gd name="connsiteY21665" fmla="*/ 1057262 h 4687251"/>
              <a:gd name="connsiteX21666" fmla="*/ 856957 w 8079933"/>
              <a:gd name="connsiteY21666" fmla="*/ 1056070 h 4687251"/>
              <a:gd name="connsiteX21667" fmla="*/ 4196013 w 8079933"/>
              <a:gd name="connsiteY21667" fmla="*/ 1050332 h 4687251"/>
              <a:gd name="connsiteX21668" fmla="*/ 4195470 w 8079933"/>
              <a:gd name="connsiteY21668" fmla="*/ 1054338 h 4687251"/>
              <a:gd name="connsiteX21669" fmla="*/ 4186789 w 8079933"/>
              <a:gd name="connsiteY21669" fmla="*/ 1060834 h 4687251"/>
              <a:gd name="connsiteX21670" fmla="*/ 4188199 w 8079933"/>
              <a:gd name="connsiteY21670" fmla="*/ 1052389 h 4687251"/>
              <a:gd name="connsiteX21671" fmla="*/ 733899 w 8079933"/>
              <a:gd name="connsiteY21671" fmla="*/ 1050008 h 4687251"/>
              <a:gd name="connsiteX21672" fmla="*/ 737371 w 8079933"/>
              <a:gd name="connsiteY21672" fmla="*/ 1051198 h 4687251"/>
              <a:gd name="connsiteX21673" fmla="*/ 733789 w 8079933"/>
              <a:gd name="connsiteY21673" fmla="*/ 1053147 h 4687251"/>
              <a:gd name="connsiteX21674" fmla="*/ 730209 w 8079933"/>
              <a:gd name="connsiteY21674" fmla="*/ 1050874 h 4687251"/>
              <a:gd name="connsiteX21675" fmla="*/ 4272191 w 8079933"/>
              <a:gd name="connsiteY21675" fmla="*/ 1049357 h 4687251"/>
              <a:gd name="connsiteX21676" fmla="*/ 4269369 w 8079933"/>
              <a:gd name="connsiteY21676" fmla="*/ 1051956 h 4687251"/>
              <a:gd name="connsiteX21677" fmla="*/ 4269369 w 8079933"/>
              <a:gd name="connsiteY21677" fmla="*/ 1051957 h 4687251"/>
              <a:gd name="connsiteX21678" fmla="*/ 4272191 w 8079933"/>
              <a:gd name="connsiteY21678" fmla="*/ 1049358 h 4687251"/>
              <a:gd name="connsiteX21679" fmla="*/ 573403 w 8079933"/>
              <a:gd name="connsiteY21679" fmla="*/ 1049033 h 4687251"/>
              <a:gd name="connsiteX21680" fmla="*/ 572101 w 8079933"/>
              <a:gd name="connsiteY21680" fmla="*/ 1051739 h 4687251"/>
              <a:gd name="connsiteX21681" fmla="*/ 570364 w 8079933"/>
              <a:gd name="connsiteY21681" fmla="*/ 1052498 h 4687251"/>
              <a:gd name="connsiteX21682" fmla="*/ 569063 w 8079933"/>
              <a:gd name="connsiteY21682" fmla="*/ 1050657 h 4687251"/>
              <a:gd name="connsiteX21683" fmla="*/ 4273385 w 8079933"/>
              <a:gd name="connsiteY21683" fmla="*/ 1044161 h 4687251"/>
              <a:gd name="connsiteX21684" fmla="*/ 4272191 w 8079933"/>
              <a:gd name="connsiteY21684" fmla="*/ 1046759 h 4687251"/>
              <a:gd name="connsiteX21685" fmla="*/ 4272191 w 8079933"/>
              <a:gd name="connsiteY21685" fmla="*/ 1046760 h 4687251"/>
              <a:gd name="connsiteX21686" fmla="*/ 4273385 w 8079933"/>
              <a:gd name="connsiteY21686" fmla="*/ 1044162 h 4687251"/>
              <a:gd name="connsiteX21687" fmla="*/ 568411 w 8079933"/>
              <a:gd name="connsiteY21687" fmla="*/ 1043511 h 4687251"/>
              <a:gd name="connsiteX21688" fmla="*/ 568954 w 8079933"/>
              <a:gd name="connsiteY21688" fmla="*/ 1045893 h 4687251"/>
              <a:gd name="connsiteX21689" fmla="*/ 563637 w 8079933"/>
              <a:gd name="connsiteY21689" fmla="*/ 1052389 h 4687251"/>
              <a:gd name="connsiteX21690" fmla="*/ 560708 w 8079933"/>
              <a:gd name="connsiteY21690" fmla="*/ 1054664 h 4687251"/>
              <a:gd name="connsiteX21691" fmla="*/ 558320 w 8079933"/>
              <a:gd name="connsiteY21691" fmla="*/ 1053472 h 4687251"/>
              <a:gd name="connsiteX21692" fmla="*/ 558755 w 8079933"/>
              <a:gd name="connsiteY21692" fmla="*/ 1049358 h 4687251"/>
              <a:gd name="connsiteX21693" fmla="*/ 564396 w 8079933"/>
              <a:gd name="connsiteY21693" fmla="*/ 1045785 h 4687251"/>
              <a:gd name="connsiteX21694" fmla="*/ 4209903 w 8079933"/>
              <a:gd name="connsiteY21694" fmla="*/ 1041780 h 4687251"/>
              <a:gd name="connsiteX21695" fmla="*/ 4209795 w 8079933"/>
              <a:gd name="connsiteY21695" fmla="*/ 1051200 h 4687251"/>
              <a:gd name="connsiteX21696" fmla="*/ 4204803 w 8079933"/>
              <a:gd name="connsiteY21696" fmla="*/ 1048817 h 4687251"/>
              <a:gd name="connsiteX21697" fmla="*/ 4198400 w 8079933"/>
              <a:gd name="connsiteY21697" fmla="*/ 1052932 h 4687251"/>
              <a:gd name="connsiteX21698" fmla="*/ 4199051 w 8079933"/>
              <a:gd name="connsiteY21698" fmla="*/ 1048276 h 4687251"/>
              <a:gd name="connsiteX21699" fmla="*/ 4473245 w 8079933"/>
              <a:gd name="connsiteY21699" fmla="*/ 1041130 h 4687251"/>
              <a:gd name="connsiteX21700" fmla="*/ 4474358 w 8079933"/>
              <a:gd name="connsiteY21700" fmla="*/ 1044053 h 4687251"/>
              <a:gd name="connsiteX21701" fmla="*/ 4477614 w 8079933"/>
              <a:gd name="connsiteY21701" fmla="*/ 1044053 h 4687251"/>
              <a:gd name="connsiteX21702" fmla="*/ 4483780 w 8079933"/>
              <a:gd name="connsiteY21702" fmla="*/ 1047437 h 4687251"/>
              <a:gd name="connsiteX21703" fmla="*/ 4481954 w 8079933"/>
              <a:gd name="connsiteY21703" fmla="*/ 1044704 h 4687251"/>
              <a:gd name="connsiteX21704" fmla="*/ 4475443 w 8079933"/>
              <a:gd name="connsiteY21704" fmla="*/ 1041130 h 4687251"/>
              <a:gd name="connsiteX21705" fmla="*/ 888319 w 8079933"/>
              <a:gd name="connsiteY21705" fmla="*/ 1040047 h 4687251"/>
              <a:gd name="connsiteX21706" fmla="*/ 889187 w 8079933"/>
              <a:gd name="connsiteY21706" fmla="*/ 1042645 h 4687251"/>
              <a:gd name="connsiteX21707" fmla="*/ 887992 w 8079933"/>
              <a:gd name="connsiteY21707" fmla="*/ 1045244 h 4687251"/>
              <a:gd name="connsiteX21708" fmla="*/ 890272 w 8079933"/>
              <a:gd name="connsiteY21708" fmla="*/ 1047084 h 4687251"/>
              <a:gd name="connsiteX21709" fmla="*/ 887666 w 8079933"/>
              <a:gd name="connsiteY21709" fmla="*/ 1049467 h 4687251"/>
              <a:gd name="connsiteX21710" fmla="*/ 882351 w 8079933"/>
              <a:gd name="connsiteY21710" fmla="*/ 1051524 h 4687251"/>
              <a:gd name="connsiteX21711" fmla="*/ 875188 w 8079933"/>
              <a:gd name="connsiteY21711" fmla="*/ 1059644 h 4687251"/>
              <a:gd name="connsiteX21712" fmla="*/ 870954 w 8079933"/>
              <a:gd name="connsiteY21712" fmla="*/ 1061051 h 4687251"/>
              <a:gd name="connsiteX21713" fmla="*/ 871823 w 8079933"/>
              <a:gd name="connsiteY21713" fmla="*/ 1063867 h 4687251"/>
              <a:gd name="connsiteX21714" fmla="*/ 870630 w 8079933"/>
              <a:gd name="connsiteY21714" fmla="*/ 1066465 h 4687251"/>
              <a:gd name="connsiteX21715" fmla="*/ 865203 w 8079933"/>
              <a:gd name="connsiteY21715" fmla="*/ 1065274 h 4687251"/>
              <a:gd name="connsiteX21716" fmla="*/ 862490 w 8079933"/>
              <a:gd name="connsiteY21716" fmla="*/ 1067223 h 4687251"/>
              <a:gd name="connsiteX21717" fmla="*/ 857608 w 8079933"/>
              <a:gd name="connsiteY21717" fmla="*/ 1067223 h 4687251"/>
              <a:gd name="connsiteX21718" fmla="*/ 857825 w 8079933"/>
              <a:gd name="connsiteY21718" fmla="*/ 1065166 h 4687251"/>
              <a:gd name="connsiteX21719" fmla="*/ 861188 w 8079933"/>
              <a:gd name="connsiteY21719" fmla="*/ 1064300 h 4687251"/>
              <a:gd name="connsiteX21720" fmla="*/ 863033 w 8079933"/>
              <a:gd name="connsiteY21720" fmla="*/ 1063109 h 4687251"/>
              <a:gd name="connsiteX21721" fmla="*/ 863684 w 8079933"/>
              <a:gd name="connsiteY21721" fmla="*/ 1060510 h 4687251"/>
              <a:gd name="connsiteX21722" fmla="*/ 872476 w 8079933"/>
              <a:gd name="connsiteY21722" fmla="*/ 1053365 h 4687251"/>
              <a:gd name="connsiteX21723" fmla="*/ 876598 w 8079933"/>
              <a:gd name="connsiteY21723" fmla="*/ 1052065 h 4687251"/>
              <a:gd name="connsiteX21724" fmla="*/ 881481 w 8079933"/>
              <a:gd name="connsiteY21724" fmla="*/ 1046651 h 4687251"/>
              <a:gd name="connsiteX21725" fmla="*/ 883651 w 8079933"/>
              <a:gd name="connsiteY21725" fmla="*/ 1046002 h 4687251"/>
              <a:gd name="connsiteX21726" fmla="*/ 899170 w 8079933"/>
              <a:gd name="connsiteY21726" fmla="*/ 1036258 h 4687251"/>
              <a:gd name="connsiteX21727" fmla="*/ 902100 w 8079933"/>
              <a:gd name="connsiteY21727" fmla="*/ 1037666 h 4687251"/>
              <a:gd name="connsiteX21728" fmla="*/ 902317 w 8079933"/>
              <a:gd name="connsiteY21728" fmla="*/ 1041780 h 4687251"/>
              <a:gd name="connsiteX21729" fmla="*/ 905354 w 8079933"/>
              <a:gd name="connsiteY21729" fmla="*/ 1041780 h 4687251"/>
              <a:gd name="connsiteX21730" fmla="*/ 906982 w 8079933"/>
              <a:gd name="connsiteY21730" fmla="*/ 1045027 h 4687251"/>
              <a:gd name="connsiteX21731" fmla="*/ 902750 w 8079933"/>
              <a:gd name="connsiteY21731" fmla="*/ 1046976 h 4687251"/>
              <a:gd name="connsiteX21732" fmla="*/ 896241 w 8079933"/>
              <a:gd name="connsiteY21732" fmla="*/ 1045894 h 4687251"/>
              <a:gd name="connsiteX21733" fmla="*/ 896132 w 8079933"/>
              <a:gd name="connsiteY21733" fmla="*/ 1038315 h 4687251"/>
              <a:gd name="connsiteX21734" fmla="*/ 4206322 w 8079933"/>
              <a:gd name="connsiteY21734" fmla="*/ 1035717 h 4687251"/>
              <a:gd name="connsiteX21735" fmla="*/ 4210445 w 8079933"/>
              <a:gd name="connsiteY21735" fmla="*/ 1039182 h 4687251"/>
              <a:gd name="connsiteX21736" fmla="*/ 4203718 w 8079933"/>
              <a:gd name="connsiteY21736" fmla="*/ 1040048 h 4687251"/>
              <a:gd name="connsiteX21737" fmla="*/ 5277056 w 8079933"/>
              <a:gd name="connsiteY21737" fmla="*/ 1035608 h 4687251"/>
              <a:gd name="connsiteX21738" fmla="*/ 5280312 w 8079933"/>
              <a:gd name="connsiteY21738" fmla="*/ 1035608 h 4687251"/>
              <a:gd name="connsiteX21739" fmla="*/ 5283675 w 8079933"/>
              <a:gd name="connsiteY21739" fmla="*/ 1036799 h 4687251"/>
              <a:gd name="connsiteX21740" fmla="*/ 5287365 w 8079933"/>
              <a:gd name="connsiteY21740" fmla="*/ 1035716 h 4687251"/>
              <a:gd name="connsiteX21741" fmla="*/ 5291164 w 8079933"/>
              <a:gd name="connsiteY21741" fmla="*/ 1036799 h 4687251"/>
              <a:gd name="connsiteX21742" fmla="*/ 5293009 w 8079933"/>
              <a:gd name="connsiteY21742" fmla="*/ 1041238 h 4687251"/>
              <a:gd name="connsiteX21743" fmla="*/ 5291164 w 8079933"/>
              <a:gd name="connsiteY21743" fmla="*/ 1043295 h 4687251"/>
              <a:gd name="connsiteX21744" fmla="*/ 5286280 w 8079933"/>
              <a:gd name="connsiteY21744" fmla="*/ 1045028 h 4687251"/>
              <a:gd name="connsiteX21745" fmla="*/ 5280962 w 8079933"/>
              <a:gd name="connsiteY21745" fmla="*/ 1041671 h 4687251"/>
              <a:gd name="connsiteX21746" fmla="*/ 5280637 w 8079933"/>
              <a:gd name="connsiteY21746" fmla="*/ 1038748 h 4687251"/>
              <a:gd name="connsiteX21747" fmla="*/ 5277490 w 8079933"/>
              <a:gd name="connsiteY21747" fmla="*/ 1037773 h 4687251"/>
              <a:gd name="connsiteX21748" fmla="*/ 4284019 w 8079933"/>
              <a:gd name="connsiteY21748" fmla="*/ 1034091 h 4687251"/>
              <a:gd name="connsiteX21749" fmla="*/ 4278919 w 8079933"/>
              <a:gd name="connsiteY21749" fmla="*/ 1036798 h 4687251"/>
              <a:gd name="connsiteX21750" fmla="*/ 4271974 w 8079933"/>
              <a:gd name="connsiteY21750" fmla="*/ 1036690 h 4687251"/>
              <a:gd name="connsiteX21751" fmla="*/ 4269587 w 8079933"/>
              <a:gd name="connsiteY21751" fmla="*/ 1038206 h 4687251"/>
              <a:gd name="connsiteX21752" fmla="*/ 4269587 w 8079933"/>
              <a:gd name="connsiteY21752" fmla="*/ 1038206 h 4687251"/>
              <a:gd name="connsiteX21753" fmla="*/ 4271974 w 8079933"/>
              <a:gd name="connsiteY21753" fmla="*/ 1036691 h 4687251"/>
              <a:gd name="connsiteX21754" fmla="*/ 4278919 w 8079933"/>
              <a:gd name="connsiteY21754" fmla="*/ 1036799 h 4687251"/>
              <a:gd name="connsiteX21755" fmla="*/ 4284019 w 8079933"/>
              <a:gd name="connsiteY21755" fmla="*/ 1034092 h 4687251"/>
              <a:gd name="connsiteX21756" fmla="*/ 4291941 w 8079933"/>
              <a:gd name="connsiteY21756" fmla="*/ 1036150 h 4687251"/>
              <a:gd name="connsiteX21757" fmla="*/ 4296824 w 8079933"/>
              <a:gd name="connsiteY21757" fmla="*/ 1039398 h 4687251"/>
              <a:gd name="connsiteX21758" fmla="*/ 4302358 w 8079933"/>
              <a:gd name="connsiteY21758" fmla="*/ 1039939 h 4687251"/>
              <a:gd name="connsiteX21759" fmla="*/ 4305397 w 8079933"/>
              <a:gd name="connsiteY21759" fmla="*/ 1042537 h 4687251"/>
              <a:gd name="connsiteX21760" fmla="*/ 4307893 w 8079933"/>
              <a:gd name="connsiteY21760" fmla="*/ 1041672 h 4687251"/>
              <a:gd name="connsiteX21761" fmla="*/ 4310063 w 8079933"/>
              <a:gd name="connsiteY21761" fmla="*/ 1042970 h 4687251"/>
              <a:gd name="connsiteX21762" fmla="*/ 4310063 w 8079933"/>
              <a:gd name="connsiteY21762" fmla="*/ 1042969 h 4687251"/>
              <a:gd name="connsiteX21763" fmla="*/ 4307893 w 8079933"/>
              <a:gd name="connsiteY21763" fmla="*/ 1041671 h 4687251"/>
              <a:gd name="connsiteX21764" fmla="*/ 4305397 w 8079933"/>
              <a:gd name="connsiteY21764" fmla="*/ 1042536 h 4687251"/>
              <a:gd name="connsiteX21765" fmla="*/ 4302359 w 8079933"/>
              <a:gd name="connsiteY21765" fmla="*/ 1039938 h 4687251"/>
              <a:gd name="connsiteX21766" fmla="*/ 4296825 w 8079933"/>
              <a:gd name="connsiteY21766" fmla="*/ 1039397 h 4687251"/>
              <a:gd name="connsiteX21767" fmla="*/ 4291941 w 8079933"/>
              <a:gd name="connsiteY21767" fmla="*/ 1036149 h 4687251"/>
              <a:gd name="connsiteX21768" fmla="*/ 4307597 w 8079933"/>
              <a:gd name="connsiteY21768" fmla="*/ 1031996 h 4687251"/>
              <a:gd name="connsiteX21769" fmla="*/ 4307459 w 8079933"/>
              <a:gd name="connsiteY21769" fmla="*/ 1033334 h 4687251"/>
              <a:gd name="connsiteX21770" fmla="*/ 4307459 w 8079933"/>
              <a:gd name="connsiteY21770" fmla="*/ 1033334 h 4687251"/>
              <a:gd name="connsiteX21771" fmla="*/ 878768 w 8079933"/>
              <a:gd name="connsiteY21771" fmla="*/ 1031602 h 4687251"/>
              <a:gd name="connsiteX21772" fmla="*/ 881700 w 8079933"/>
              <a:gd name="connsiteY21772" fmla="*/ 1031818 h 4687251"/>
              <a:gd name="connsiteX21773" fmla="*/ 882892 w 8079933"/>
              <a:gd name="connsiteY21773" fmla="*/ 1033875 h 4687251"/>
              <a:gd name="connsiteX21774" fmla="*/ 879636 w 8079933"/>
              <a:gd name="connsiteY21774" fmla="*/ 1037232 h 4687251"/>
              <a:gd name="connsiteX21775" fmla="*/ 877577 w 8079933"/>
              <a:gd name="connsiteY21775" fmla="*/ 1040480 h 4687251"/>
              <a:gd name="connsiteX21776" fmla="*/ 872909 w 8079933"/>
              <a:gd name="connsiteY21776" fmla="*/ 1044594 h 4687251"/>
              <a:gd name="connsiteX21777" fmla="*/ 872149 w 8079933"/>
              <a:gd name="connsiteY21777" fmla="*/ 1047085 h 4687251"/>
              <a:gd name="connsiteX21778" fmla="*/ 869872 w 8079933"/>
              <a:gd name="connsiteY21778" fmla="*/ 1046868 h 4687251"/>
              <a:gd name="connsiteX21779" fmla="*/ 868677 w 8079933"/>
              <a:gd name="connsiteY21779" fmla="*/ 1044594 h 4687251"/>
              <a:gd name="connsiteX21780" fmla="*/ 875296 w 8079933"/>
              <a:gd name="connsiteY21780" fmla="*/ 1037881 h 4687251"/>
              <a:gd name="connsiteX21781" fmla="*/ 875839 w 8079933"/>
              <a:gd name="connsiteY21781" fmla="*/ 1034850 h 4687251"/>
              <a:gd name="connsiteX21782" fmla="*/ 4467034 w 8079933"/>
              <a:gd name="connsiteY21782" fmla="*/ 1029070 h 4687251"/>
              <a:gd name="connsiteX21783" fmla="*/ 4466979 w 8079933"/>
              <a:gd name="connsiteY21783" fmla="*/ 1029328 h 4687251"/>
              <a:gd name="connsiteX21784" fmla="*/ 4468290 w 8079933"/>
              <a:gd name="connsiteY21784" fmla="*/ 1030897 h 4687251"/>
              <a:gd name="connsiteX21785" fmla="*/ 4468063 w 8079933"/>
              <a:gd name="connsiteY21785" fmla="*/ 1030303 h 4687251"/>
              <a:gd name="connsiteX21786" fmla="*/ 2261486 w 8079933"/>
              <a:gd name="connsiteY21786" fmla="*/ 1025431 h 4687251"/>
              <a:gd name="connsiteX21787" fmla="*/ 2263765 w 8079933"/>
              <a:gd name="connsiteY21787" fmla="*/ 1026405 h 4687251"/>
              <a:gd name="connsiteX21788" fmla="*/ 2260293 w 8079933"/>
              <a:gd name="connsiteY21788" fmla="*/ 1030845 h 4687251"/>
              <a:gd name="connsiteX21789" fmla="*/ 2260293 w 8079933"/>
              <a:gd name="connsiteY21789" fmla="*/ 1033984 h 4687251"/>
              <a:gd name="connsiteX21790" fmla="*/ 2264416 w 8079933"/>
              <a:gd name="connsiteY21790" fmla="*/ 1032902 h 4687251"/>
              <a:gd name="connsiteX21791" fmla="*/ 2265609 w 8079933"/>
              <a:gd name="connsiteY21791" fmla="*/ 1037232 h 4687251"/>
              <a:gd name="connsiteX21792" fmla="*/ 2264741 w 8079933"/>
              <a:gd name="connsiteY21792" fmla="*/ 1041022 h 4687251"/>
              <a:gd name="connsiteX21793" fmla="*/ 2265936 w 8079933"/>
              <a:gd name="connsiteY21793" fmla="*/ 1044053 h 4687251"/>
              <a:gd name="connsiteX21794" fmla="*/ 2262680 w 8079933"/>
              <a:gd name="connsiteY21794" fmla="*/ 1044053 h 4687251"/>
              <a:gd name="connsiteX21795" fmla="*/ 2260293 w 8079933"/>
              <a:gd name="connsiteY21795" fmla="*/ 1044053 h 4687251"/>
              <a:gd name="connsiteX21796" fmla="*/ 2259641 w 8079933"/>
              <a:gd name="connsiteY21796" fmla="*/ 1046760 h 4687251"/>
              <a:gd name="connsiteX21797" fmla="*/ 2261703 w 8079933"/>
              <a:gd name="connsiteY21797" fmla="*/ 1051199 h 4687251"/>
              <a:gd name="connsiteX21798" fmla="*/ 2261703 w 8079933"/>
              <a:gd name="connsiteY21798" fmla="*/ 1057045 h 4687251"/>
              <a:gd name="connsiteX21799" fmla="*/ 2263765 w 8079933"/>
              <a:gd name="connsiteY21799" fmla="*/ 1058886 h 4687251"/>
              <a:gd name="connsiteX21800" fmla="*/ 2266369 w 8079933"/>
              <a:gd name="connsiteY21800" fmla="*/ 1056612 h 4687251"/>
              <a:gd name="connsiteX21801" fmla="*/ 2267237 w 8079933"/>
              <a:gd name="connsiteY21801" fmla="*/ 1052498 h 4687251"/>
              <a:gd name="connsiteX21802" fmla="*/ 2271578 w 8079933"/>
              <a:gd name="connsiteY21802" fmla="*/ 1047302 h 4687251"/>
              <a:gd name="connsiteX21803" fmla="*/ 2273097 w 8079933"/>
              <a:gd name="connsiteY21803" fmla="*/ 1047302 h 4687251"/>
              <a:gd name="connsiteX21804" fmla="*/ 2274182 w 8079933"/>
              <a:gd name="connsiteY21804" fmla="*/ 1050549 h 4687251"/>
              <a:gd name="connsiteX21805" fmla="*/ 2277763 w 8079933"/>
              <a:gd name="connsiteY21805" fmla="*/ 1053256 h 4687251"/>
              <a:gd name="connsiteX21806" fmla="*/ 2277763 w 8079933"/>
              <a:gd name="connsiteY21806" fmla="*/ 1055638 h 4687251"/>
              <a:gd name="connsiteX21807" fmla="*/ 2275810 w 8079933"/>
              <a:gd name="connsiteY21807" fmla="*/ 1058020 h 4687251"/>
              <a:gd name="connsiteX21808" fmla="*/ 2278089 w 8079933"/>
              <a:gd name="connsiteY21808" fmla="*/ 1062676 h 4687251"/>
              <a:gd name="connsiteX21809" fmla="*/ 2285794 w 8079933"/>
              <a:gd name="connsiteY21809" fmla="*/ 1065599 h 4687251"/>
              <a:gd name="connsiteX21810" fmla="*/ 2291654 w 8079933"/>
              <a:gd name="connsiteY21810" fmla="*/ 1065599 h 4687251"/>
              <a:gd name="connsiteX21811" fmla="*/ 2293173 w 8079933"/>
              <a:gd name="connsiteY21811" fmla="*/ 1069063 h 4687251"/>
              <a:gd name="connsiteX21812" fmla="*/ 2292305 w 8079933"/>
              <a:gd name="connsiteY21812" fmla="*/ 1074585 h 4687251"/>
              <a:gd name="connsiteX21813" fmla="*/ 2293498 w 8079933"/>
              <a:gd name="connsiteY21813" fmla="*/ 1077509 h 4687251"/>
              <a:gd name="connsiteX21814" fmla="*/ 2296754 w 8079933"/>
              <a:gd name="connsiteY21814" fmla="*/ 1077509 h 4687251"/>
              <a:gd name="connsiteX21815" fmla="*/ 2298273 w 8079933"/>
              <a:gd name="connsiteY21815" fmla="*/ 1083030 h 4687251"/>
              <a:gd name="connsiteX21816" fmla="*/ 2298273 w 8079933"/>
              <a:gd name="connsiteY21816" fmla="*/ 1085087 h 4687251"/>
              <a:gd name="connsiteX21817" fmla="*/ 2304133 w 8079933"/>
              <a:gd name="connsiteY21817" fmla="*/ 1087469 h 4687251"/>
              <a:gd name="connsiteX21818" fmla="*/ 2310427 w 8079933"/>
              <a:gd name="connsiteY21818" fmla="*/ 1094399 h 4687251"/>
              <a:gd name="connsiteX21819" fmla="*/ 2310427 w 8079933"/>
              <a:gd name="connsiteY21819" fmla="*/ 1097647 h 4687251"/>
              <a:gd name="connsiteX21820" fmla="*/ 2313032 w 8079933"/>
              <a:gd name="connsiteY21820" fmla="*/ 1099921 h 4687251"/>
              <a:gd name="connsiteX21821" fmla="*/ 2313032 w 8079933"/>
              <a:gd name="connsiteY21821" fmla="*/ 1102303 h 4687251"/>
              <a:gd name="connsiteX21822" fmla="*/ 2311512 w 8079933"/>
              <a:gd name="connsiteY21822" fmla="*/ 1105117 h 4687251"/>
              <a:gd name="connsiteX21823" fmla="*/ 2311512 w 8079933"/>
              <a:gd name="connsiteY21823" fmla="*/ 1110206 h 4687251"/>
              <a:gd name="connsiteX21824" fmla="*/ 2313032 w 8079933"/>
              <a:gd name="connsiteY21824" fmla="*/ 1111613 h 4687251"/>
              <a:gd name="connsiteX21825" fmla="*/ 2313032 w 8079933"/>
              <a:gd name="connsiteY21825" fmla="*/ 1114754 h 4687251"/>
              <a:gd name="connsiteX21826" fmla="*/ 2309559 w 8079933"/>
              <a:gd name="connsiteY21826" fmla="*/ 1117352 h 4687251"/>
              <a:gd name="connsiteX21827" fmla="*/ 2306412 w 8079933"/>
              <a:gd name="connsiteY21827" fmla="*/ 1117352 h 4687251"/>
              <a:gd name="connsiteX21828" fmla="*/ 2302288 w 8079933"/>
              <a:gd name="connsiteY21828" fmla="*/ 1119842 h 4687251"/>
              <a:gd name="connsiteX21829" fmla="*/ 2305436 w 8079933"/>
              <a:gd name="connsiteY21829" fmla="*/ 1122441 h 4687251"/>
              <a:gd name="connsiteX21830" fmla="*/ 2312815 w 8079933"/>
              <a:gd name="connsiteY21830" fmla="*/ 1122441 h 4687251"/>
              <a:gd name="connsiteX21831" fmla="*/ 2315962 w 8079933"/>
              <a:gd name="connsiteY21831" fmla="*/ 1119084 h 4687251"/>
              <a:gd name="connsiteX21832" fmla="*/ 2317589 w 8079933"/>
              <a:gd name="connsiteY21832" fmla="*/ 1118326 h 4687251"/>
              <a:gd name="connsiteX21833" fmla="*/ 2317589 w 8079933"/>
              <a:gd name="connsiteY21833" fmla="*/ 1121358 h 4687251"/>
              <a:gd name="connsiteX21834" fmla="*/ 2321604 w 8079933"/>
              <a:gd name="connsiteY21834" fmla="*/ 1123199 h 4687251"/>
              <a:gd name="connsiteX21835" fmla="*/ 2323449 w 8079933"/>
              <a:gd name="connsiteY21835" fmla="*/ 1124389 h 4687251"/>
              <a:gd name="connsiteX21836" fmla="*/ 2325294 w 8079933"/>
              <a:gd name="connsiteY21836" fmla="*/ 1123090 h 4687251"/>
              <a:gd name="connsiteX21837" fmla="*/ 2325294 w 8079933"/>
              <a:gd name="connsiteY21837" fmla="*/ 1120275 h 4687251"/>
              <a:gd name="connsiteX21838" fmla="*/ 2327030 w 8079933"/>
              <a:gd name="connsiteY21838" fmla="*/ 1119517 h 4687251"/>
              <a:gd name="connsiteX21839" fmla="*/ 2328875 w 8079933"/>
              <a:gd name="connsiteY21839" fmla="*/ 1123199 h 4687251"/>
              <a:gd name="connsiteX21840" fmla="*/ 2331697 w 8079933"/>
              <a:gd name="connsiteY21840" fmla="*/ 1124389 h 4687251"/>
              <a:gd name="connsiteX21841" fmla="*/ 2330177 w 8079933"/>
              <a:gd name="connsiteY21841" fmla="*/ 1127096 h 4687251"/>
              <a:gd name="connsiteX21842" fmla="*/ 2327355 w 8079933"/>
              <a:gd name="connsiteY21842" fmla="*/ 1128070 h 4687251"/>
              <a:gd name="connsiteX21843" fmla="*/ 2329635 w 8079933"/>
              <a:gd name="connsiteY21843" fmla="*/ 1130994 h 4687251"/>
              <a:gd name="connsiteX21844" fmla="*/ 2332456 w 8079933"/>
              <a:gd name="connsiteY21844" fmla="*/ 1132618 h 4687251"/>
              <a:gd name="connsiteX21845" fmla="*/ 2331480 w 8079933"/>
              <a:gd name="connsiteY21845" fmla="*/ 1134892 h 4687251"/>
              <a:gd name="connsiteX21846" fmla="*/ 2327464 w 8079933"/>
              <a:gd name="connsiteY21846" fmla="*/ 1134892 h 4687251"/>
              <a:gd name="connsiteX21847" fmla="*/ 2323774 w 8079933"/>
              <a:gd name="connsiteY21847" fmla="*/ 1138790 h 4687251"/>
              <a:gd name="connsiteX21848" fmla="*/ 2321062 w 8079933"/>
              <a:gd name="connsiteY21848" fmla="*/ 1139764 h 4687251"/>
              <a:gd name="connsiteX21849" fmla="*/ 2318458 w 8079933"/>
              <a:gd name="connsiteY21849" fmla="*/ 1145178 h 4687251"/>
              <a:gd name="connsiteX21850" fmla="*/ 2316396 w 8079933"/>
              <a:gd name="connsiteY21850" fmla="*/ 1146476 h 4687251"/>
              <a:gd name="connsiteX21851" fmla="*/ 2310644 w 8079933"/>
              <a:gd name="connsiteY21851" fmla="*/ 1143012 h 4687251"/>
              <a:gd name="connsiteX21852" fmla="*/ 2308040 w 8079933"/>
              <a:gd name="connsiteY21852" fmla="*/ 1143012 h 4687251"/>
              <a:gd name="connsiteX21853" fmla="*/ 2305436 w 8079933"/>
              <a:gd name="connsiteY21853" fmla="*/ 1140630 h 4687251"/>
              <a:gd name="connsiteX21854" fmla="*/ 2301203 w 8079933"/>
              <a:gd name="connsiteY21854" fmla="*/ 1140630 h 4687251"/>
              <a:gd name="connsiteX21855" fmla="*/ 2299793 w 8079933"/>
              <a:gd name="connsiteY21855" fmla="*/ 1137707 h 4687251"/>
              <a:gd name="connsiteX21856" fmla="*/ 2296971 w 8079933"/>
              <a:gd name="connsiteY21856" fmla="*/ 1138356 h 4687251"/>
              <a:gd name="connsiteX21857" fmla="*/ 2295452 w 8079933"/>
              <a:gd name="connsiteY21857" fmla="*/ 1136949 h 4687251"/>
              <a:gd name="connsiteX21858" fmla="*/ 2292305 w 8079933"/>
              <a:gd name="connsiteY21858" fmla="*/ 1136949 h 4687251"/>
              <a:gd name="connsiteX21859" fmla="*/ 2290352 w 8079933"/>
              <a:gd name="connsiteY21859" fmla="*/ 1138248 h 4687251"/>
              <a:gd name="connsiteX21860" fmla="*/ 2287422 w 8079933"/>
              <a:gd name="connsiteY21860" fmla="*/ 1136840 h 4687251"/>
              <a:gd name="connsiteX21861" fmla="*/ 2287422 w 8079933"/>
              <a:gd name="connsiteY21861" fmla="*/ 1131211 h 4687251"/>
              <a:gd name="connsiteX21862" fmla="*/ 2290352 w 8079933"/>
              <a:gd name="connsiteY21862" fmla="*/ 1130345 h 4687251"/>
              <a:gd name="connsiteX21863" fmla="*/ 2293173 w 8079933"/>
              <a:gd name="connsiteY21863" fmla="*/ 1125905 h 4687251"/>
              <a:gd name="connsiteX21864" fmla="*/ 2292088 w 8079933"/>
              <a:gd name="connsiteY21864" fmla="*/ 1122549 h 4687251"/>
              <a:gd name="connsiteX21865" fmla="*/ 2288941 w 8079933"/>
              <a:gd name="connsiteY21865" fmla="*/ 1121358 h 4687251"/>
              <a:gd name="connsiteX21866" fmla="*/ 2284166 w 8079933"/>
              <a:gd name="connsiteY21866" fmla="*/ 1121358 h 4687251"/>
              <a:gd name="connsiteX21867" fmla="*/ 2280476 w 8079933"/>
              <a:gd name="connsiteY21867" fmla="*/ 1118976 h 4687251"/>
              <a:gd name="connsiteX21868" fmla="*/ 2282429 w 8079933"/>
              <a:gd name="connsiteY21868" fmla="*/ 1116378 h 4687251"/>
              <a:gd name="connsiteX21869" fmla="*/ 2285468 w 8079933"/>
              <a:gd name="connsiteY21869" fmla="*/ 1113779 h 4687251"/>
              <a:gd name="connsiteX21870" fmla="*/ 2284817 w 8079933"/>
              <a:gd name="connsiteY21870" fmla="*/ 1109990 h 4687251"/>
              <a:gd name="connsiteX21871" fmla="*/ 2282538 w 8079933"/>
              <a:gd name="connsiteY21871" fmla="*/ 1108799 h 4687251"/>
              <a:gd name="connsiteX21872" fmla="*/ 2279825 w 8079933"/>
              <a:gd name="connsiteY21872" fmla="*/ 1109881 h 4687251"/>
              <a:gd name="connsiteX21873" fmla="*/ 2277546 w 8079933"/>
              <a:gd name="connsiteY21873" fmla="*/ 1112264 h 4687251"/>
              <a:gd name="connsiteX21874" fmla="*/ 2275376 w 8079933"/>
              <a:gd name="connsiteY21874" fmla="*/ 1110315 h 4687251"/>
              <a:gd name="connsiteX21875" fmla="*/ 2272447 w 8079933"/>
              <a:gd name="connsiteY21875" fmla="*/ 1110315 h 4687251"/>
              <a:gd name="connsiteX21876" fmla="*/ 2270927 w 8079933"/>
              <a:gd name="connsiteY21876" fmla="*/ 1113346 h 4687251"/>
              <a:gd name="connsiteX21877" fmla="*/ 2266912 w 8079933"/>
              <a:gd name="connsiteY21877" fmla="*/ 1116052 h 4687251"/>
              <a:gd name="connsiteX21878" fmla="*/ 2266912 w 8079933"/>
              <a:gd name="connsiteY21878" fmla="*/ 1121791 h 4687251"/>
              <a:gd name="connsiteX21879" fmla="*/ 2265176 w 8079933"/>
              <a:gd name="connsiteY21879" fmla="*/ 1127854 h 4687251"/>
              <a:gd name="connsiteX21880" fmla="*/ 2262354 w 8079933"/>
              <a:gd name="connsiteY21880" fmla="*/ 1127854 h 4687251"/>
              <a:gd name="connsiteX21881" fmla="*/ 2260075 w 8079933"/>
              <a:gd name="connsiteY21881" fmla="*/ 1129370 h 4687251"/>
              <a:gd name="connsiteX21882" fmla="*/ 2256603 w 8079933"/>
              <a:gd name="connsiteY21882" fmla="*/ 1131860 h 4687251"/>
              <a:gd name="connsiteX21883" fmla="*/ 2254432 w 8079933"/>
              <a:gd name="connsiteY21883" fmla="*/ 1129695 h 4687251"/>
              <a:gd name="connsiteX21884" fmla="*/ 2252370 w 8079933"/>
              <a:gd name="connsiteY21884" fmla="*/ 1129695 h 4687251"/>
              <a:gd name="connsiteX21885" fmla="*/ 2250092 w 8079933"/>
              <a:gd name="connsiteY21885" fmla="*/ 1133268 h 4687251"/>
              <a:gd name="connsiteX21886" fmla="*/ 2246945 w 8079933"/>
              <a:gd name="connsiteY21886" fmla="*/ 1135974 h 4687251"/>
              <a:gd name="connsiteX21887" fmla="*/ 2245642 w 8079933"/>
              <a:gd name="connsiteY21887" fmla="*/ 1141063 h 4687251"/>
              <a:gd name="connsiteX21888" fmla="*/ 2241736 w 8079933"/>
              <a:gd name="connsiteY21888" fmla="*/ 1144636 h 4687251"/>
              <a:gd name="connsiteX21889" fmla="*/ 2238480 w 8079933"/>
              <a:gd name="connsiteY21889" fmla="*/ 1144636 h 4687251"/>
              <a:gd name="connsiteX21890" fmla="*/ 2235008 w 8079933"/>
              <a:gd name="connsiteY21890" fmla="*/ 1146585 h 4687251"/>
              <a:gd name="connsiteX21891" fmla="*/ 2233923 w 8079933"/>
              <a:gd name="connsiteY21891" fmla="*/ 1148533 h 4687251"/>
              <a:gd name="connsiteX21892" fmla="*/ 2230016 w 8079933"/>
              <a:gd name="connsiteY21892" fmla="*/ 1148533 h 4687251"/>
              <a:gd name="connsiteX21893" fmla="*/ 2227412 w 8079933"/>
              <a:gd name="connsiteY21893" fmla="*/ 1150266 h 4687251"/>
              <a:gd name="connsiteX21894" fmla="*/ 2223939 w 8079933"/>
              <a:gd name="connsiteY21894" fmla="*/ 1150266 h 4687251"/>
              <a:gd name="connsiteX21895" fmla="*/ 2222203 w 8079933"/>
              <a:gd name="connsiteY21895" fmla="*/ 1148967 h 4687251"/>
              <a:gd name="connsiteX21896" fmla="*/ 2219598 w 8079933"/>
              <a:gd name="connsiteY21896" fmla="*/ 1150266 h 4687251"/>
              <a:gd name="connsiteX21897" fmla="*/ 2218622 w 8079933"/>
              <a:gd name="connsiteY21897" fmla="*/ 1148318 h 4687251"/>
              <a:gd name="connsiteX21898" fmla="*/ 2218622 w 8079933"/>
              <a:gd name="connsiteY21898" fmla="*/ 1141929 h 4687251"/>
              <a:gd name="connsiteX21899" fmla="*/ 2221335 w 8079933"/>
              <a:gd name="connsiteY21899" fmla="*/ 1138140 h 4687251"/>
              <a:gd name="connsiteX21900" fmla="*/ 2220575 w 8079933"/>
              <a:gd name="connsiteY21900" fmla="*/ 1134351 h 4687251"/>
              <a:gd name="connsiteX21901" fmla="*/ 2224156 w 8079933"/>
              <a:gd name="connsiteY21901" fmla="*/ 1129695 h 4687251"/>
              <a:gd name="connsiteX21902" fmla="*/ 2223505 w 8079933"/>
              <a:gd name="connsiteY21902" fmla="*/ 1126880 h 4687251"/>
              <a:gd name="connsiteX21903" fmla="*/ 2220901 w 8079933"/>
              <a:gd name="connsiteY21903" fmla="*/ 1125147 h 4687251"/>
              <a:gd name="connsiteX21904" fmla="*/ 2218622 w 8079933"/>
              <a:gd name="connsiteY21904" fmla="*/ 1125147 h 4687251"/>
              <a:gd name="connsiteX21905" fmla="*/ 2216777 w 8079933"/>
              <a:gd name="connsiteY21905" fmla="*/ 1126231 h 4687251"/>
              <a:gd name="connsiteX21906" fmla="*/ 2213087 w 8079933"/>
              <a:gd name="connsiteY21906" fmla="*/ 1126231 h 4687251"/>
              <a:gd name="connsiteX21907" fmla="*/ 2210049 w 8079933"/>
              <a:gd name="connsiteY21907" fmla="*/ 1124498 h 4687251"/>
              <a:gd name="connsiteX21908" fmla="*/ 2208421 w 8079933"/>
              <a:gd name="connsiteY21908" fmla="*/ 1123307 h 4687251"/>
              <a:gd name="connsiteX21909" fmla="*/ 2206142 w 8079933"/>
              <a:gd name="connsiteY21909" fmla="*/ 1124173 h 4687251"/>
              <a:gd name="connsiteX21910" fmla="*/ 2205166 w 8079933"/>
              <a:gd name="connsiteY21910" fmla="*/ 1128179 h 4687251"/>
              <a:gd name="connsiteX21911" fmla="*/ 2203104 w 8079933"/>
              <a:gd name="connsiteY21911" fmla="*/ 1128179 h 4687251"/>
              <a:gd name="connsiteX21912" fmla="*/ 2202236 w 8079933"/>
              <a:gd name="connsiteY21912" fmla="*/ 1123199 h 4687251"/>
              <a:gd name="connsiteX21913" fmla="*/ 2204623 w 8079933"/>
              <a:gd name="connsiteY21913" fmla="*/ 1115078 h 4687251"/>
              <a:gd name="connsiteX21914" fmla="*/ 2204623 w 8079933"/>
              <a:gd name="connsiteY21914" fmla="*/ 1110748 h 4687251"/>
              <a:gd name="connsiteX21915" fmla="*/ 2212328 w 8079933"/>
              <a:gd name="connsiteY21915" fmla="*/ 1107607 h 4687251"/>
              <a:gd name="connsiteX21916" fmla="*/ 2218188 w 8079933"/>
              <a:gd name="connsiteY21916" fmla="*/ 1107607 h 4687251"/>
              <a:gd name="connsiteX21917" fmla="*/ 2220901 w 8079933"/>
              <a:gd name="connsiteY21917" fmla="*/ 1104685 h 4687251"/>
              <a:gd name="connsiteX21918" fmla="*/ 2220901 w 8079933"/>
              <a:gd name="connsiteY21918" fmla="*/ 1097864 h 4687251"/>
              <a:gd name="connsiteX21919" fmla="*/ 2222094 w 8079933"/>
              <a:gd name="connsiteY21919" fmla="*/ 1095265 h 4687251"/>
              <a:gd name="connsiteX21920" fmla="*/ 2222094 w 8079933"/>
              <a:gd name="connsiteY21920" fmla="*/ 1088769 h 4687251"/>
              <a:gd name="connsiteX21921" fmla="*/ 2224156 w 8079933"/>
              <a:gd name="connsiteY21921" fmla="*/ 1084763 h 4687251"/>
              <a:gd name="connsiteX21922" fmla="*/ 2230125 w 8079933"/>
              <a:gd name="connsiteY21922" fmla="*/ 1079457 h 4687251"/>
              <a:gd name="connsiteX21923" fmla="*/ 2230125 w 8079933"/>
              <a:gd name="connsiteY21923" fmla="*/ 1075668 h 4687251"/>
              <a:gd name="connsiteX21924" fmla="*/ 2231319 w 8079933"/>
              <a:gd name="connsiteY21924" fmla="*/ 1071337 h 4687251"/>
              <a:gd name="connsiteX21925" fmla="*/ 2233923 w 8079933"/>
              <a:gd name="connsiteY21925" fmla="*/ 1069930 h 4687251"/>
              <a:gd name="connsiteX21926" fmla="*/ 2232187 w 8079933"/>
              <a:gd name="connsiteY21926" fmla="*/ 1066682 h 4687251"/>
              <a:gd name="connsiteX21927" fmla="*/ 2236853 w 8079933"/>
              <a:gd name="connsiteY21927" fmla="*/ 1059102 h 4687251"/>
              <a:gd name="connsiteX21928" fmla="*/ 2236853 w 8079933"/>
              <a:gd name="connsiteY21928" fmla="*/ 1056179 h 4687251"/>
              <a:gd name="connsiteX21929" fmla="*/ 2239783 w 8079933"/>
              <a:gd name="connsiteY21929" fmla="*/ 1052173 h 4687251"/>
              <a:gd name="connsiteX21930" fmla="*/ 2239783 w 8079933"/>
              <a:gd name="connsiteY21930" fmla="*/ 1048709 h 4687251"/>
              <a:gd name="connsiteX21931" fmla="*/ 2244123 w 8079933"/>
              <a:gd name="connsiteY21931" fmla="*/ 1042321 h 4687251"/>
              <a:gd name="connsiteX21932" fmla="*/ 2247704 w 8079933"/>
              <a:gd name="connsiteY21932" fmla="*/ 1033226 h 4687251"/>
              <a:gd name="connsiteX21933" fmla="*/ 2252370 w 8079933"/>
              <a:gd name="connsiteY21933" fmla="*/ 1029220 h 4687251"/>
              <a:gd name="connsiteX21934" fmla="*/ 4312017 w 8079933"/>
              <a:gd name="connsiteY21934" fmla="*/ 1023914 h 4687251"/>
              <a:gd name="connsiteX21935" fmla="*/ 4308219 w 8079933"/>
              <a:gd name="connsiteY21935" fmla="*/ 1025971 h 4687251"/>
              <a:gd name="connsiteX21936" fmla="*/ 4308219 w 8079933"/>
              <a:gd name="connsiteY21936" fmla="*/ 1025972 h 4687251"/>
              <a:gd name="connsiteX21937" fmla="*/ 4312017 w 8079933"/>
              <a:gd name="connsiteY21937" fmla="*/ 1023915 h 4687251"/>
              <a:gd name="connsiteX21938" fmla="*/ 890597 w 8079933"/>
              <a:gd name="connsiteY21938" fmla="*/ 1023590 h 4687251"/>
              <a:gd name="connsiteX21939" fmla="*/ 894071 w 8079933"/>
              <a:gd name="connsiteY21939" fmla="*/ 1023915 h 4687251"/>
              <a:gd name="connsiteX21940" fmla="*/ 894503 w 8079933"/>
              <a:gd name="connsiteY21940" fmla="*/ 1027488 h 4687251"/>
              <a:gd name="connsiteX21941" fmla="*/ 889837 w 8079933"/>
              <a:gd name="connsiteY21941" fmla="*/ 1026838 h 4687251"/>
              <a:gd name="connsiteX21942" fmla="*/ 2730604 w 8079933"/>
              <a:gd name="connsiteY21942" fmla="*/ 1022940 h 4687251"/>
              <a:gd name="connsiteX21943" fmla="*/ 2732883 w 8079933"/>
              <a:gd name="connsiteY21943" fmla="*/ 1024348 h 4687251"/>
              <a:gd name="connsiteX21944" fmla="*/ 2730279 w 8079933"/>
              <a:gd name="connsiteY21944" fmla="*/ 1028787 h 4687251"/>
              <a:gd name="connsiteX21945" fmla="*/ 2727457 w 8079933"/>
              <a:gd name="connsiteY21945" fmla="*/ 1029761 h 4687251"/>
              <a:gd name="connsiteX21946" fmla="*/ 2725504 w 8079933"/>
              <a:gd name="connsiteY21946" fmla="*/ 1030736 h 4687251"/>
              <a:gd name="connsiteX21947" fmla="*/ 2725504 w 8079933"/>
              <a:gd name="connsiteY21947" fmla="*/ 1026188 h 4687251"/>
              <a:gd name="connsiteX21948" fmla="*/ 2728976 w 8079933"/>
              <a:gd name="connsiteY21948" fmla="*/ 1024239 h 4687251"/>
              <a:gd name="connsiteX21949" fmla="*/ 4247884 w 8079933"/>
              <a:gd name="connsiteY21949" fmla="*/ 1020017 h 4687251"/>
              <a:gd name="connsiteX21950" fmla="*/ 4250488 w 8079933"/>
              <a:gd name="connsiteY21950" fmla="*/ 1024023 h 4687251"/>
              <a:gd name="connsiteX21951" fmla="*/ 4246256 w 8079933"/>
              <a:gd name="connsiteY21951" fmla="*/ 1025864 h 4687251"/>
              <a:gd name="connsiteX21952" fmla="*/ 2272012 w 8079933"/>
              <a:gd name="connsiteY21952" fmla="*/ 1019692 h 4687251"/>
              <a:gd name="connsiteX21953" fmla="*/ 2274942 w 8079933"/>
              <a:gd name="connsiteY21953" fmla="*/ 1019800 h 4687251"/>
              <a:gd name="connsiteX21954" fmla="*/ 2275810 w 8079933"/>
              <a:gd name="connsiteY21954" fmla="*/ 1023806 h 4687251"/>
              <a:gd name="connsiteX21955" fmla="*/ 2273965 w 8079933"/>
              <a:gd name="connsiteY21955" fmla="*/ 1025106 h 4687251"/>
              <a:gd name="connsiteX21956" fmla="*/ 2274291 w 8079933"/>
              <a:gd name="connsiteY21956" fmla="*/ 1028029 h 4687251"/>
              <a:gd name="connsiteX21957" fmla="*/ 2276353 w 8079933"/>
              <a:gd name="connsiteY21957" fmla="*/ 1031277 h 4687251"/>
              <a:gd name="connsiteX21958" fmla="*/ 2273097 w 8079933"/>
              <a:gd name="connsiteY21958" fmla="*/ 1039073 h 4687251"/>
              <a:gd name="connsiteX21959" fmla="*/ 2270384 w 8079933"/>
              <a:gd name="connsiteY21959" fmla="*/ 1039939 h 4687251"/>
              <a:gd name="connsiteX21960" fmla="*/ 2270710 w 8079933"/>
              <a:gd name="connsiteY21960" fmla="*/ 1035608 h 4687251"/>
              <a:gd name="connsiteX21961" fmla="*/ 2269625 w 8079933"/>
              <a:gd name="connsiteY21961" fmla="*/ 1033010 h 4687251"/>
              <a:gd name="connsiteX21962" fmla="*/ 2270493 w 8079933"/>
              <a:gd name="connsiteY21962" fmla="*/ 1029978 h 4687251"/>
              <a:gd name="connsiteX21963" fmla="*/ 2270493 w 8079933"/>
              <a:gd name="connsiteY21963" fmla="*/ 1023481 h 4687251"/>
              <a:gd name="connsiteX21964" fmla="*/ 4224769 w 8079933"/>
              <a:gd name="connsiteY21964" fmla="*/ 1018609 h 4687251"/>
              <a:gd name="connsiteX21965" fmla="*/ 4221839 w 8079933"/>
              <a:gd name="connsiteY21965" fmla="*/ 1031060 h 4687251"/>
              <a:gd name="connsiteX21966" fmla="*/ 4223033 w 8079933"/>
              <a:gd name="connsiteY21966" fmla="*/ 1035607 h 4687251"/>
              <a:gd name="connsiteX21967" fmla="*/ 4226288 w 8079933"/>
              <a:gd name="connsiteY21967" fmla="*/ 1029544 h 4687251"/>
              <a:gd name="connsiteX21968" fmla="*/ 4233884 w 8079933"/>
              <a:gd name="connsiteY21968" fmla="*/ 1029219 h 4687251"/>
              <a:gd name="connsiteX21969" fmla="*/ 4230954 w 8079933"/>
              <a:gd name="connsiteY21969" fmla="*/ 1025105 h 4687251"/>
              <a:gd name="connsiteX21970" fmla="*/ 4230737 w 8079933"/>
              <a:gd name="connsiteY21970" fmla="*/ 1021640 h 4687251"/>
              <a:gd name="connsiteX21971" fmla="*/ 4233992 w 8079933"/>
              <a:gd name="connsiteY21971" fmla="*/ 1024131 h 4687251"/>
              <a:gd name="connsiteX21972" fmla="*/ 4240069 w 8079933"/>
              <a:gd name="connsiteY21972" fmla="*/ 1029977 h 4687251"/>
              <a:gd name="connsiteX21973" fmla="*/ 4231931 w 8079933"/>
              <a:gd name="connsiteY21973" fmla="*/ 1038855 h 4687251"/>
              <a:gd name="connsiteX21974" fmla="*/ 4226396 w 8079933"/>
              <a:gd name="connsiteY21974" fmla="*/ 1041994 h 4687251"/>
              <a:gd name="connsiteX21975" fmla="*/ 4224552 w 8079933"/>
              <a:gd name="connsiteY21975" fmla="*/ 1045784 h 4687251"/>
              <a:gd name="connsiteX21976" fmla="*/ 4220862 w 8079933"/>
              <a:gd name="connsiteY21976" fmla="*/ 1044485 h 4687251"/>
              <a:gd name="connsiteX21977" fmla="*/ 4221405 w 8079933"/>
              <a:gd name="connsiteY21977" fmla="*/ 1039829 h 4687251"/>
              <a:gd name="connsiteX21978" fmla="*/ 4215762 w 8079933"/>
              <a:gd name="connsiteY21978" fmla="*/ 1047300 h 4687251"/>
              <a:gd name="connsiteX21979" fmla="*/ 4213158 w 8079933"/>
              <a:gd name="connsiteY21979" fmla="*/ 1047300 h 4687251"/>
              <a:gd name="connsiteX21980" fmla="*/ 4214026 w 8079933"/>
              <a:gd name="connsiteY21980" fmla="*/ 1041453 h 4687251"/>
              <a:gd name="connsiteX21981" fmla="*/ 4216521 w 8079933"/>
              <a:gd name="connsiteY21981" fmla="*/ 1040046 h 4687251"/>
              <a:gd name="connsiteX21982" fmla="*/ 4215762 w 8079933"/>
              <a:gd name="connsiteY21982" fmla="*/ 1035715 h 4687251"/>
              <a:gd name="connsiteX21983" fmla="*/ 4219018 w 8079933"/>
              <a:gd name="connsiteY21983" fmla="*/ 1031818 h 4687251"/>
              <a:gd name="connsiteX21984" fmla="*/ 4219018 w 8079933"/>
              <a:gd name="connsiteY21984" fmla="*/ 1027378 h 4687251"/>
              <a:gd name="connsiteX21985" fmla="*/ 4213049 w 8079933"/>
              <a:gd name="connsiteY21985" fmla="*/ 1018609 h 4687251"/>
              <a:gd name="connsiteX21986" fmla="*/ 4214568 w 8079933"/>
              <a:gd name="connsiteY21986" fmla="*/ 1024889 h 4687251"/>
              <a:gd name="connsiteX21987" fmla="*/ 4214785 w 8079933"/>
              <a:gd name="connsiteY21987" fmla="*/ 1032793 h 4687251"/>
              <a:gd name="connsiteX21988" fmla="*/ 4208382 w 8079933"/>
              <a:gd name="connsiteY21988" fmla="*/ 1034742 h 4687251"/>
              <a:gd name="connsiteX21989" fmla="*/ 4205778 w 8079933"/>
              <a:gd name="connsiteY21989" fmla="*/ 1032468 h 4687251"/>
              <a:gd name="connsiteX21990" fmla="*/ 4211638 w 8079933"/>
              <a:gd name="connsiteY21990" fmla="*/ 1028354 h 4687251"/>
              <a:gd name="connsiteX21991" fmla="*/ 4208382 w 8079933"/>
              <a:gd name="connsiteY21991" fmla="*/ 1028245 h 4687251"/>
              <a:gd name="connsiteX21992" fmla="*/ 4202306 w 8079933"/>
              <a:gd name="connsiteY21992" fmla="*/ 1033009 h 4687251"/>
              <a:gd name="connsiteX21993" fmla="*/ 4200461 w 8079933"/>
              <a:gd name="connsiteY21993" fmla="*/ 1029870 h 4687251"/>
              <a:gd name="connsiteX21994" fmla="*/ 4202197 w 8079933"/>
              <a:gd name="connsiteY21994" fmla="*/ 1025105 h 4687251"/>
              <a:gd name="connsiteX21995" fmla="*/ 4206646 w 8079933"/>
              <a:gd name="connsiteY21995" fmla="*/ 1026080 h 4687251"/>
              <a:gd name="connsiteX21996" fmla="*/ 4210770 w 8079933"/>
              <a:gd name="connsiteY21996" fmla="*/ 1021315 h 4687251"/>
              <a:gd name="connsiteX21997" fmla="*/ 4209902 w 8079933"/>
              <a:gd name="connsiteY21997" fmla="*/ 1019042 h 4687251"/>
              <a:gd name="connsiteX21998" fmla="*/ 2909440 w 8079933"/>
              <a:gd name="connsiteY21998" fmla="*/ 1018609 h 4687251"/>
              <a:gd name="connsiteX21999" fmla="*/ 2911719 w 8079933"/>
              <a:gd name="connsiteY21999" fmla="*/ 1018609 h 4687251"/>
              <a:gd name="connsiteX22000" fmla="*/ 2911393 w 8079933"/>
              <a:gd name="connsiteY22000" fmla="*/ 1020558 h 4687251"/>
              <a:gd name="connsiteX22001" fmla="*/ 2908680 w 8079933"/>
              <a:gd name="connsiteY22001" fmla="*/ 1023589 h 4687251"/>
              <a:gd name="connsiteX22002" fmla="*/ 2906510 w 8079933"/>
              <a:gd name="connsiteY22002" fmla="*/ 1024023 h 4687251"/>
              <a:gd name="connsiteX22003" fmla="*/ 2905317 w 8079933"/>
              <a:gd name="connsiteY22003" fmla="*/ 1022831 h 4687251"/>
              <a:gd name="connsiteX22004" fmla="*/ 2906402 w 8079933"/>
              <a:gd name="connsiteY22004" fmla="*/ 1021424 h 4687251"/>
              <a:gd name="connsiteX22005" fmla="*/ 4235295 w 8079933"/>
              <a:gd name="connsiteY22005" fmla="*/ 1015903 h 4687251"/>
              <a:gd name="connsiteX22006" fmla="*/ 4240070 w 8079933"/>
              <a:gd name="connsiteY22006" fmla="*/ 1018393 h 4687251"/>
              <a:gd name="connsiteX22007" fmla="*/ 4240070 w 8079933"/>
              <a:gd name="connsiteY22007" fmla="*/ 1021641 h 4687251"/>
              <a:gd name="connsiteX22008" fmla="*/ 4233233 w 8079933"/>
              <a:gd name="connsiteY22008" fmla="*/ 1018825 h 4687251"/>
              <a:gd name="connsiteX22009" fmla="*/ 4231823 w 8079933"/>
              <a:gd name="connsiteY22009" fmla="*/ 1017310 h 4687251"/>
              <a:gd name="connsiteX22010" fmla="*/ 2289158 w 8079933"/>
              <a:gd name="connsiteY22010" fmla="*/ 1015578 h 4687251"/>
              <a:gd name="connsiteX22011" fmla="*/ 2290460 w 8079933"/>
              <a:gd name="connsiteY22011" fmla="*/ 1020341 h 4687251"/>
              <a:gd name="connsiteX22012" fmla="*/ 2294801 w 8079933"/>
              <a:gd name="connsiteY22012" fmla="*/ 1022074 h 4687251"/>
              <a:gd name="connsiteX22013" fmla="*/ 2295777 w 8079933"/>
              <a:gd name="connsiteY22013" fmla="*/ 1025106 h 4687251"/>
              <a:gd name="connsiteX22014" fmla="*/ 2298599 w 8079933"/>
              <a:gd name="connsiteY22014" fmla="*/ 1027379 h 4687251"/>
              <a:gd name="connsiteX22015" fmla="*/ 2298599 w 8079933"/>
              <a:gd name="connsiteY22015" fmla="*/ 1034092 h 4687251"/>
              <a:gd name="connsiteX22016" fmla="*/ 2303373 w 8079933"/>
              <a:gd name="connsiteY22016" fmla="*/ 1036473 h 4687251"/>
              <a:gd name="connsiteX22017" fmla="*/ 2306629 w 8079933"/>
              <a:gd name="connsiteY22017" fmla="*/ 1036798 h 4687251"/>
              <a:gd name="connsiteX22018" fmla="*/ 2305978 w 8079933"/>
              <a:gd name="connsiteY22018" fmla="*/ 1041671 h 4687251"/>
              <a:gd name="connsiteX22019" fmla="*/ 2301312 w 8079933"/>
              <a:gd name="connsiteY22019" fmla="*/ 1040588 h 4687251"/>
              <a:gd name="connsiteX22020" fmla="*/ 2298056 w 8079933"/>
              <a:gd name="connsiteY22020" fmla="*/ 1041454 h 4687251"/>
              <a:gd name="connsiteX22021" fmla="*/ 2298056 w 8079933"/>
              <a:gd name="connsiteY22021" fmla="*/ 1038206 h 4687251"/>
              <a:gd name="connsiteX22022" fmla="*/ 2295452 w 8079933"/>
              <a:gd name="connsiteY22022" fmla="*/ 1035499 h 4687251"/>
              <a:gd name="connsiteX22023" fmla="*/ 2291003 w 8079933"/>
              <a:gd name="connsiteY22023" fmla="*/ 1033009 h 4687251"/>
              <a:gd name="connsiteX22024" fmla="*/ 2291654 w 8079933"/>
              <a:gd name="connsiteY22024" fmla="*/ 1030086 h 4687251"/>
              <a:gd name="connsiteX22025" fmla="*/ 2290352 w 8079933"/>
              <a:gd name="connsiteY22025" fmla="*/ 1025863 h 4687251"/>
              <a:gd name="connsiteX22026" fmla="*/ 2287422 w 8079933"/>
              <a:gd name="connsiteY22026" fmla="*/ 1023482 h 4687251"/>
              <a:gd name="connsiteX22027" fmla="*/ 2287747 w 8079933"/>
              <a:gd name="connsiteY22027" fmla="*/ 1017202 h 4687251"/>
              <a:gd name="connsiteX22028" fmla="*/ 901339 w 8079933"/>
              <a:gd name="connsiteY22028" fmla="*/ 1014820 h 4687251"/>
              <a:gd name="connsiteX22029" fmla="*/ 904594 w 8079933"/>
              <a:gd name="connsiteY22029" fmla="*/ 1016010 h 4687251"/>
              <a:gd name="connsiteX22030" fmla="*/ 902207 w 8079933"/>
              <a:gd name="connsiteY22030" fmla="*/ 1018177 h 4687251"/>
              <a:gd name="connsiteX22031" fmla="*/ 898953 w 8079933"/>
              <a:gd name="connsiteY22031" fmla="*/ 1016985 h 4687251"/>
              <a:gd name="connsiteX22032" fmla="*/ 2314985 w 8079933"/>
              <a:gd name="connsiteY22032" fmla="*/ 1014062 h 4687251"/>
              <a:gd name="connsiteX22033" fmla="*/ 2317155 w 8079933"/>
              <a:gd name="connsiteY22033" fmla="*/ 1014387 h 4687251"/>
              <a:gd name="connsiteX22034" fmla="*/ 2319868 w 8079933"/>
              <a:gd name="connsiteY22034" fmla="*/ 1016443 h 4687251"/>
              <a:gd name="connsiteX22035" fmla="*/ 2319651 w 8079933"/>
              <a:gd name="connsiteY22035" fmla="*/ 1018176 h 4687251"/>
              <a:gd name="connsiteX22036" fmla="*/ 2317155 w 8079933"/>
              <a:gd name="connsiteY22036" fmla="*/ 1017634 h 4687251"/>
              <a:gd name="connsiteX22037" fmla="*/ 2313683 w 8079933"/>
              <a:gd name="connsiteY22037" fmla="*/ 1014928 h 4687251"/>
              <a:gd name="connsiteX22038" fmla="*/ 4467534 w 8079933"/>
              <a:gd name="connsiteY22038" fmla="*/ 1012459 h 4687251"/>
              <a:gd name="connsiteX22039" fmla="*/ 4466003 w 8079933"/>
              <a:gd name="connsiteY22039" fmla="*/ 1013520 h 4687251"/>
              <a:gd name="connsiteX22040" fmla="*/ 4467280 w 8079933"/>
              <a:gd name="connsiteY22040" fmla="*/ 1013957 h 4687251"/>
              <a:gd name="connsiteX22041" fmla="*/ 4319288 w 8079933"/>
              <a:gd name="connsiteY22041" fmla="*/ 1011896 h 4687251"/>
              <a:gd name="connsiteX22042" fmla="*/ 4317551 w 8079933"/>
              <a:gd name="connsiteY22042" fmla="*/ 1012762 h 4687251"/>
              <a:gd name="connsiteX22043" fmla="*/ 4312125 w 8079933"/>
              <a:gd name="connsiteY22043" fmla="*/ 1013737 h 4687251"/>
              <a:gd name="connsiteX22044" fmla="*/ 4306699 w 8079933"/>
              <a:gd name="connsiteY22044" fmla="*/ 1012112 h 4687251"/>
              <a:gd name="connsiteX22045" fmla="*/ 4306699 w 8079933"/>
              <a:gd name="connsiteY22045" fmla="*/ 1012114 h 4687251"/>
              <a:gd name="connsiteX22046" fmla="*/ 4312125 w 8079933"/>
              <a:gd name="connsiteY22046" fmla="*/ 1013738 h 4687251"/>
              <a:gd name="connsiteX22047" fmla="*/ 4317551 w 8079933"/>
              <a:gd name="connsiteY22047" fmla="*/ 1012763 h 4687251"/>
              <a:gd name="connsiteX22048" fmla="*/ 4319287 w 8079933"/>
              <a:gd name="connsiteY22048" fmla="*/ 1011897 h 4687251"/>
              <a:gd name="connsiteX22049" fmla="*/ 4320412 w 8079933"/>
              <a:gd name="connsiteY22049" fmla="*/ 1013237 h 4687251"/>
              <a:gd name="connsiteX22050" fmla="*/ 4320412 w 8079933"/>
              <a:gd name="connsiteY22050" fmla="*/ 1013236 h 4687251"/>
              <a:gd name="connsiteX22051" fmla="*/ 4319288 w 8079933"/>
              <a:gd name="connsiteY22051" fmla="*/ 1011896 h 4687251"/>
              <a:gd name="connsiteX22052" fmla="*/ 878441 w 8079933"/>
              <a:gd name="connsiteY22052" fmla="*/ 1010489 h 4687251"/>
              <a:gd name="connsiteX22053" fmla="*/ 881698 w 8079933"/>
              <a:gd name="connsiteY22053" fmla="*/ 1012005 h 4687251"/>
              <a:gd name="connsiteX22054" fmla="*/ 880829 w 8079933"/>
              <a:gd name="connsiteY22054" fmla="*/ 1014820 h 4687251"/>
              <a:gd name="connsiteX22055" fmla="*/ 881480 w 8079933"/>
              <a:gd name="connsiteY22055" fmla="*/ 1017310 h 4687251"/>
              <a:gd name="connsiteX22056" fmla="*/ 879854 w 8079933"/>
              <a:gd name="connsiteY22056" fmla="*/ 1019584 h 4687251"/>
              <a:gd name="connsiteX22057" fmla="*/ 875729 w 8079933"/>
              <a:gd name="connsiteY22057" fmla="*/ 1013954 h 4687251"/>
              <a:gd name="connsiteX22058" fmla="*/ 4320264 w 8079933"/>
              <a:gd name="connsiteY22058" fmla="*/ 1010380 h 4687251"/>
              <a:gd name="connsiteX22059" fmla="*/ 4319288 w 8079933"/>
              <a:gd name="connsiteY22059" fmla="*/ 1011788 h 4687251"/>
              <a:gd name="connsiteX22060" fmla="*/ 4319288 w 8079933"/>
              <a:gd name="connsiteY22060" fmla="*/ 1011788 h 4687251"/>
              <a:gd name="connsiteX22061" fmla="*/ 4320441 w 8079933"/>
              <a:gd name="connsiteY22061" fmla="*/ 1013195 h 4687251"/>
              <a:gd name="connsiteX22062" fmla="*/ 4320591 w 8079933"/>
              <a:gd name="connsiteY22062" fmla="*/ 1012979 h 4687251"/>
              <a:gd name="connsiteX22063" fmla="*/ 4322652 w 8079933"/>
              <a:gd name="connsiteY22063" fmla="*/ 1013954 h 4687251"/>
              <a:gd name="connsiteX22064" fmla="*/ 4324280 w 8079933"/>
              <a:gd name="connsiteY22064" fmla="*/ 1012871 h 4687251"/>
              <a:gd name="connsiteX22065" fmla="*/ 4323377 w 8079933"/>
              <a:gd name="connsiteY22065" fmla="*/ 1010584 h 4687251"/>
              <a:gd name="connsiteX22066" fmla="*/ 4322217 w 8079933"/>
              <a:gd name="connsiteY22066" fmla="*/ 1011355 h 4687251"/>
              <a:gd name="connsiteX22067" fmla="*/ 786962 w 8079933"/>
              <a:gd name="connsiteY22067" fmla="*/ 1009623 h 4687251"/>
              <a:gd name="connsiteX22068" fmla="*/ 790544 w 8079933"/>
              <a:gd name="connsiteY22068" fmla="*/ 1009623 h 4687251"/>
              <a:gd name="connsiteX22069" fmla="*/ 790764 w 8079933"/>
              <a:gd name="connsiteY22069" fmla="*/ 1013304 h 4687251"/>
              <a:gd name="connsiteX22070" fmla="*/ 784684 w 8079933"/>
              <a:gd name="connsiteY22070" fmla="*/ 1017311 h 4687251"/>
              <a:gd name="connsiteX22071" fmla="*/ 780237 w 8079933"/>
              <a:gd name="connsiteY22071" fmla="*/ 1016878 h 4687251"/>
              <a:gd name="connsiteX22072" fmla="*/ 7383580 w 8079933"/>
              <a:gd name="connsiteY22072" fmla="*/ 1007024 h 4687251"/>
              <a:gd name="connsiteX22073" fmla="*/ 7386186 w 8079933"/>
              <a:gd name="connsiteY22073" fmla="*/ 1007890 h 4687251"/>
              <a:gd name="connsiteX22074" fmla="*/ 7391719 w 8079933"/>
              <a:gd name="connsiteY22074" fmla="*/ 1014169 h 4687251"/>
              <a:gd name="connsiteX22075" fmla="*/ 7394215 w 8079933"/>
              <a:gd name="connsiteY22075" fmla="*/ 1020124 h 4687251"/>
              <a:gd name="connsiteX22076" fmla="*/ 7395518 w 8079933"/>
              <a:gd name="connsiteY22076" fmla="*/ 1025321 h 4687251"/>
              <a:gd name="connsiteX22077" fmla="*/ 7393238 w 8079933"/>
              <a:gd name="connsiteY22077" fmla="*/ 1026513 h 4687251"/>
              <a:gd name="connsiteX22078" fmla="*/ 7387379 w 8079933"/>
              <a:gd name="connsiteY22078" fmla="*/ 1030843 h 4687251"/>
              <a:gd name="connsiteX22079" fmla="*/ 7383689 w 8079933"/>
              <a:gd name="connsiteY22079" fmla="*/ 1035066 h 4687251"/>
              <a:gd name="connsiteX22080" fmla="*/ 7381194 w 8079933"/>
              <a:gd name="connsiteY22080" fmla="*/ 1040696 h 4687251"/>
              <a:gd name="connsiteX22081" fmla="*/ 7381194 w 8079933"/>
              <a:gd name="connsiteY22081" fmla="*/ 1044052 h 4687251"/>
              <a:gd name="connsiteX22082" fmla="*/ 7379782 w 8079933"/>
              <a:gd name="connsiteY22082" fmla="*/ 1046325 h 4687251"/>
              <a:gd name="connsiteX22083" fmla="*/ 7381953 w 8079933"/>
              <a:gd name="connsiteY22083" fmla="*/ 1050765 h 4687251"/>
              <a:gd name="connsiteX22084" fmla="*/ 7382604 w 8079933"/>
              <a:gd name="connsiteY22084" fmla="*/ 1056070 h 4687251"/>
              <a:gd name="connsiteX22085" fmla="*/ 7381085 w 8079933"/>
              <a:gd name="connsiteY22085" fmla="*/ 1055420 h 4687251"/>
              <a:gd name="connsiteX22086" fmla="*/ 7376852 w 8079933"/>
              <a:gd name="connsiteY22086" fmla="*/ 1050982 h 4687251"/>
              <a:gd name="connsiteX22087" fmla="*/ 7375985 w 8079933"/>
              <a:gd name="connsiteY22087" fmla="*/ 1048383 h 4687251"/>
              <a:gd name="connsiteX22088" fmla="*/ 7378155 w 8079933"/>
              <a:gd name="connsiteY22088" fmla="*/ 1045351 h 4687251"/>
              <a:gd name="connsiteX22089" fmla="*/ 7377829 w 8079933"/>
              <a:gd name="connsiteY22089" fmla="*/ 1040046 h 4687251"/>
              <a:gd name="connsiteX22090" fmla="*/ 7375225 w 8079933"/>
              <a:gd name="connsiteY22090" fmla="*/ 1036473 h 4687251"/>
              <a:gd name="connsiteX22091" fmla="*/ 7373597 w 8079933"/>
              <a:gd name="connsiteY22091" fmla="*/ 1028894 h 4687251"/>
              <a:gd name="connsiteX22092" fmla="*/ 7375008 w 8079933"/>
              <a:gd name="connsiteY22092" fmla="*/ 1024672 h 4687251"/>
              <a:gd name="connsiteX22093" fmla="*/ 7374465 w 8079933"/>
              <a:gd name="connsiteY22093" fmla="*/ 1023914 h 4687251"/>
              <a:gd name="connsiteX22094" fmla="*/ 7370016 w 8079933"/>
              <a:gd name="connsiteY22094" fmla="*/ 1025538 h 4687251"/>
              <a:gd name="connsiteX22095" fmla="*/ 7367303 w 8079933"/>
              <a:gd name="connsiteY22095" fmla="*/ 1025863 h 4687251"/>
              <a:gd name="connsiteX22096" fmla="*/ 7370125 w 8079933"/>
              <a:gd name="connsiteY22096" fmla="*/ 1021315 h 4687251"/>
              <a:gd name="connsiteX22097" fmla="*/ 7372512 w 8079933"/>
              <a:gd name="connsiteY22097" fmla="*/ 1020233 h 4687251"/>
              <a:gd name="connsiteX22098" fmla="*/ 7378372 w 8079933"/>
              <a:gd name="connsiteY22098" fmla="*/ 1013303 h 4687251"/>
              <a:gd name="connsiteX22099" fmla="*/ 7380325 w 8079933"/>
              <a:gd name="connsiteY22099" fmla="*/ 1012004 h 4687251"/>
              <a:gd name="connsiteX22100" fmla="*/ 7381085 w 8079933"/>
              <a:gd name="connsiteY22100" fmla="*/ 1009622 h 4687251"/>
              <a:gd name="connsiteX22101" fmla="*/ 2948614 w 8079933"/>
              <a:gd name="connsiteY22101" fmla="*/ 1002044 h 4687251"/>
              <a:gd name="connsiteX22102" fmla="*/ 2954149 w 8079933"/>
              <a:gd name="connsiteY22102" fmla="*/ 1003343 h 4687251"/>
              <a:gd name="connsiteX22103" fmla="*/ 2954582 w 8079933"/>
              <a:gd name="connsiteY22103" fmla="*/ 1005725 h 4687251"/>
              <a:gd name="connsiteX22104" fmla="*/ 2948289 w 8079933"/>
              <a:gd name="connsiteY22104" fmla="*/ 1006591 h 4687251"/>
              <a:gd name="connsiteX22105" fmla="*/ 2945034 w 8079933"/>
              <a:gd name="connsiteY22105" fmla="*/ 1004967 h 4687251"/>
              <a:gd name="connsiteX22106" fmla="*/ 2945034 w 8079933"/>
              <a:gd name="connsiteY22106" fmla="*/ 1003127 h 4687251"/>
              <a:gd name="connsiteX22107" fmla="*/ 4228892 w 8079933"/>
              <a:gd name="connsiteY22107" fmla="*/ 1000854 h 4687251"/>
              <a:gd name="connsiteX22108" fmla="*/ 4230086 w 8079933"/>
              <a:gd name="connsiteY22108" fmla="*/ 1005293 h 4687251"/>
              <a:gd name="connsiteX22109" fmla="*/ 4225094 w 8079933"/>
              <a:gd name="connsiteY22109" fmla="*/ 1008974 h 4687251"/>
              <a:gd name="connsiteX22110" fmla="*/ 4224551 w 8079933"/>
              <a:gd name="connsiteY22110" fmla="*/ 1013738 h 4687251"/>
              <a:gd name="connsiteX22111" fmla="*/ 4218149 w 8079933"/>
              <a:gd name="connsiteY22111" fmla="*/ 1021317 h 4687251"/>
              <a:gd name="connsiteX22112" fmla="*/ 4215762 w 8079933"/>
              <a:gd name="connsiteY22112" fmla="*/ 1019584 h 4687251"/>
              <a:gd name="connsiteX22113" fmla="*/ 4216087 w 8079933"/>
              <a:gd name="connsiteY22113" fmla="*/ 1012655 h 4687251"/>
              <a:gd name="connsiteX22114" fmla="*/ 4222490 w 8079933"/>
              <a:gd name="connsiteY22114" fmla="*/ 1007566 h 4687251"/>
              <a:gd name="connsiteX22115" fmla="*/ 4222707 w 8079933"/>
              <a:gd name="connsiteY22115" fmla="*/ 1003236 h 4687251"/>
              <a:gd name="connsiteX22116" fmla="*/ 4326666 w 8079933"/>
              <a:gd name="connsiteY22116" fmla="*/ 999878 h 4687251"/>
              <a:gd name="connsiteX22117" fmla="*/ 4323302 w 8079933"/>
              <a:gd name="connsiteY22117" fmla="*/ 1002584 h 4687251"/>
              <a:gd name="connsiteX22118" fmla="*/ 4322434 w 8079933"/>
              <a:gd name="connsiteY22118" fmla="*/ 1006699 h 4687251"/>
              <a:gd name="connsiteX22119" fmla="*/ 4323075 w 8079933"/>
              <a:gd name="connsiteY22119" fmla="*/ 1008322 h 4687251"/>
              <a:gd name="connsiteX22120" fmla="*/ 4323737 w 8079933"/>
              <a:gd name="connsiteY22120" fmla="*/ 1005184 h 4687251"/>
              <a:gd name="connsiteX22121" fmla="*/ 4326993 w 8079933"/>
              <a:gd name="connsiteY22121" fmla="*/ 1002477 h 4687251"/>
              <a:gd name="connsiteX22122" fmla="*/ 4331442 w 8079933"/>
              <a:gd name="connsiteY22122" fmla="*/ 1003126 h 4687251"/>
              <a:gd name="connsiteX22123" fmla="*/ 4335023 w 8079933"/>
              <a:gd name="connsiteY22123" fmla="*/ 1008432 h 4687251"/>
              <a:gd name="connsiteX22124" fmla="*/ 4345223 w 8079933"/>
              <a:gd name="connsiteY22124" fmla="*/ 1016660 h 4687251"/>
              <a:gd name="connsiteX22125" fmla="*/ 4347177 w 8079933"/>
              <a:gd name="connsiteY22125" fmla="*/ 1021641 h 4687251"/>
              <a:gd name="connsiteX22126" fmla="*/ 4350975 w 8079933"/>
              <a:gd name="connsiteY22126" fmla="*/ 1026838 h 4687251"/>
              <a:gd name="connsiteX22127" fmla="*/ 4357703 w 8079933"/>
              <a:gd name="connsiteY22127" fmla="*/ 1029544 h 4687251"/>
              <a:gd name="connsiteX22128" fmla="*/ 4368555 w 8079933"/>
              <a:gd name="connsiteY22128" fmla="*/ 1029544 h 4687251"/>
              <a:gd name="connsiteX22129" fmla="*/ 4374414 w 8079933"/>
              <a:gd name="connsiteY22129" fmla="*/ 1023914 h 4687251"/>
              <a:gd name="connsiteX22130" fmla="*/ 4377670 w 8079933"/>
              <a:gd name="connsiteY22130" fmla="*/ 1020450 h 4687251"/>
              <a:gd name="connsiteX22131" fmla="*/ 4382662 w 8079933"/>
              <a:gd name="connsiteY22131" fmla="*/ 1020450 h 4687251"/>
              <a:gd name="connsiteX22132" fmla="*/ 4390583 w 8079933"/>
              <a:gd name="connsiteY22132" fmla="*/ 1025971 h 4687251"/>
              <a:gd name="connsiteX22133" fmla="*/ 4395901 w 8079933"/>
              <a:gd name="connsiteY22133" fmla="*/ 1026838 h 4687251"/>
              <a:gd name="connsiteX22134" fmla="*/ 4398614 w 8079933"/>
              <a:gd name="connsiteY22134" fmla="*/ 1021641 h 4687251"/>
              <a:gd name="connsiteX22135" fmla="*/ 4401761 w 8079933"/>
              <a:gd name="connsiteY22135" fmla="*/ 1019908 h 4687251"/>
              <a:gd name="connsiteX22136" fmla="*/ 4405558 w 8079933"/>
              <a:gd name="connsiteY22136" fmla="*/ 1016336 h 4687251"/>
              <a:gd name="connsiteX22137" fmla="*/ 4409683 w 8079933"/>
              <a:gd name="connsiteY22137" fmla="*/ 1016336 h 4687251"/>
              <a:gd name="connsiteX22138" fmla="*/ 4413806 w 8079933"/>
              <a:gd name="connsiteY22138" fmla="*/ 1013629 h 4687251"/>
              <a:gd name="connsiteX22139" fmla="*/ 4415543 w 8079933"/>
              <a:gd name="connsiteY22139" fmla="*/ 1010489 h 4687251"/>
              <a:gd name="connsiteX22140" fmla="*/ 4415127 w 8079933"/>
              <a:gd name="connsiteY22140" fmla="*/ 1009505 h 4687251"/>
              <a:gd name="connsiteX22141" fmla="*/ 4413805 w 8079933"/>
              <a:gd name="connsiteY22141" fmla="*/ 1011896 h 4687251"/>
              <a:gd name="connsiteX22142" fmla="*/ 4409682 w 8079933"/>
              <a:gd name="connsiteY22142" fmla="*/ 1014602 h 4687251"/>
              <a:gd name="connsiteX22143" fmla="*/ 4405558 w 8079933"/>
              <a:gd name="connsiteY22143" fmla="*/ 1014278 h 4687251"/>
              <a:gd name="connsiteX22144" fmla="*/ 4401760 w 8079933"/>
              <a:gd name="connsiteY22144" fmla="*/ 1017959 h 4687251"/>
              <a:gd name="connsiteX22145" fmla="*/ 4398613 w 8079933"/>
              <a:gd name="connsiteY22145" fmla="*/ 1019583 h 4687251"/>
              <a:gd name="connsiteX22146" fmla="*/ 4395900 w 8079933"/>
              <a:gd name="connsiteY22146" fmla="*/ 1024780 h 4687251"/>
              <a:gd name="connsiteX22147" fmla="*/ 4390583 w 8079933"/>
              <a:gd name="connsiteY22147" fmla="*/ 1023914 h 4687251"/>
              <a:gd name="connsiteX22148" fmla="*/ 4382661 w 8079933"/>
              <a:gd name="connsiteY22148" fmla="*/ 1018392 h 4687251"/>
              <a:gd name="connsiteX22149" fmla="*/ 4377670 w 8079933"/>
              <a:gd name="connsiteY22149" fmla="*/ 1018284 h 4687251"/>
              <a:gd name="connsiteX22150" fmla="*/ 4374305 w 8079933"/>
              <a:gd name="connsiteY22150" fmla="*/ 1021640 h 4687251"/>
              <a:gd name="connsiteX22151" fmla="*/ 4368445 w 8079933"/>
              <a:gd name="connsiteY22151" fmla="*/ 1027379 h 4687251"/>
              <a:gd name="connsiteX22152" fmla="*/ 4357268 w 8079933"/>
              <a:gd name="connsiteY22152" fmla="*/ 1027054 h 4687251"/>
              <a:gd name="connsiteX22153" fmla="*/ 4350540 w 8079933"/>
              <a:gd name="connsiteY22153" fmla="*/ 1024239 h 4687251"/>
              <a:gd name="connsiteX22154" fmla="*/ 4346742 w 8079933"/>
              <a:gd name="connsiteY22154" fmla="*/ 1019150 h 4687251"/>
              <a:gd name="connsiteX22155" fmla="*/ 4344898 w 8079933"/>
              <a:gd name="connsiteY22155" fmla="*/ 1014170 h 4687251"/>
              <a:gd name="connsiteX22156" fmla="*/ 4334697 w 8079933"/>
              <a:gd name="connsiteY22156" fmla="*/ 1005833 h 4687251"/>
              <a:gd name="connsiteX22157" fmla="*/ 4331115 w 8079933"/>
              <a:gd name="connsiteY22157" fmla="*/ 1000527 h 4687251"/>
              <a:gd name="connsiteX22158" fmla="*/ 2708358 w 8079933"/>
              <a:gd name="connsiteY22158" fmla="*/ 999554 h 4687251"/>
              <a:gd name="connsiteX22159" fmla="*/ 2711180 w 8079933"/>
              <a:gd name="connsiteY22159" fmla="*/ 1002152 h 4687251"/>
              <a:gd name="connsiteX22160" fmla="*/ 2711505 w 8079933"/>
              <a:gd name="connsiteY22160" fmla="*/ 1007024 h 4687251"/>
              <a:gd name="connsiteX22161" fmla="*/ 2709010 w 8079933"/>
              <a:gd name="connsiteY22161" fmla="*/ 1008107 h 4687251"/>
              <a:gd name="connsiteX22162" fmla="*/ 2706513 w 8079933"/>
              <a:gd name="connsiteY22162" fmla="*/ 1008215 h 4687251"/>
              <a:gd name="connsiteX22163" fmla="*/ 2705320 w 8079933"/>
              <a:gd name="connsiteY22163" fmla="*/ 1002585 h 4687251"/>
              <a:gd name="connsiteX22164" fmla="*/ 4900612 w 8079933"/>
              <a:gd name="connsiteY22164" fmla="*/ 995007 h 4687251"/>
              <a:gd name="connsiteX22165" fmla="*/ 4906580 w 8079933"/>
              <a:gd name="connsiteY22165" fmla="*/ 995656 h 4687251"/>
              <a:gd name="connsiteX22166" fmla="*/ 4904084 w 8079933"/>
              <a:gd name="connsiteY22166" fmla="*/ 997389 h 4687251"/>
              <a:gd name="connsiteX22167" fmla="*/ 4898767 w 8079933"/>
              <a:gd name="connsiteY22167" fmla="*/ 998472 h 4687251"/>
              <a:gd name="connsiteX22168" fmla="*/ 4897573 w 8079933"/>
              <a:gd name="connsiteY22168" fmla="*/ 999879 h 4687251"/>
              <a:gd name="connsiteX22169" fmla="*/ 4895946 w 8079933"/>
              <a:gd name="connsiteY22169" fmla="*/ 999879 h 4687251"/>
              <a:gd name="connsiteX22170" fmla="*/ 4896163 w 8079933"/>
              <a:gd name="connsiteY22170" fmla="*/ 997281 h 4687251"/>
              <a:gd name="connsiteX22171" fmla="*/ 4959645 w 8079933"/>
              <a:gd name="connsiteY22171" fmla="*/ 994681 h 4687251"/>
              <a:gd name="connsiteX22172" fmla="*/ 4961272 w 8079933"/>
              <a:gd name="connsiteY22172" fmla="*/ 997171 h 4687251"/>
              <a:gd name="connsiteX22173" fmla="*/ 4959102 w 8079933"/>
              <a:gd name="connsiteY22173" fmla="*/ 999877 h 4687251"/>
              <a:gd name="connsiteX22174" fmla="*/ 4955630 w 8079933"/>
              <a:gd name="connsiteY22174" fmla="*/ 999444 h 4687251"/>
              <a:gd name="connsiteX22175" fmla="*/ 4957257 w 8079933"/>
              <a:gd name="connsiteY22175" fmla="*/ 995655 h 4687251"/>
              <a:gd name="connsiteX22176" fmla="*/ 4969628 w 8079933"/>
              <a:gd name="connsiteY22176" fmla="*/ 992408 h 4687251"/>
              <a:gd name="connsiteX22177" fmla="*/ 4969845 w 8079933"/>
              <a:gd name="connsiteY22177" fmla="*/ 995873 h 4687251"/>
              <a:gd name="connsiteX22178" fmla="*/ 4966481 w 8079933"/>
              <a:gd name="connsiteY22178" fmla="*/ 1000312 h 4687251"/>
              <a:gd name="connsiteX22179" fmla="*/ 4964853 w 8079933"/>
              <a:gd name="connsiteY22179" fmla="*/ 998471 h 4687251"/>
              <a:gd name="connsiteX22180" fmla="*/ 4964636 w 8079933"/>
              <a:gd name="connsiteY22180" fmla="*/ 996089 h 4687251"/>
              <a:gd name="connsiteX22181" fmla="*/ 4966481 w 8079933"/>
              <a:gd name="connsiteY22181" fmla="*/ 992949 h 4687251"/>
              <a:gd name="connsiteX22182" fmla="*/ 4249946 w 8079933"/>
              <a:gd name="connsiteY22182" fmla="*/ 989160 h 4687251"/>
              <a:gd name="connsiteX22183" fmla="*/ 4257108 w 8079933"/>
              <a:gd name="connsiteY22183" fmla="*/ 989918 h 4687251"/>
              <a:gd name="connsiteX22184" fmla="*/ 4257977 w 8079933"/>
              <a:gd name="connsiteY22184" fmla="*/ 993707 h 4687251"/>
              <a:gd name="connsiteX22185" fmla="*/ 4261231 w 8079933"/>
              <a:gd name="connsiteY22185" fmla="*/ 994790 h 4687251"/>
              <a:gd name="connsiteX22186" fmla="*/ 4262534 w 8079933"/>
              <a:gd name="connsiteY22186" fmla="*/ 1000203 h 4687251"/>
              <a:gd name="connsiteX22187" fmla="*/ 4261666 w 8079933"/>
              <a:gd name="connsiteY22187" fmla="*/ 1002910 h 4687251"/>
              <a:gd name="connsiteX22188" fmla="*/ 4262751 w 8079933"/>
              <a:gd name="connsiteY22188" fmla="*/ 1006700 h 4687251"/>
              <a:gd name="connsiteX22189" fmla="*/ 4257650 w 8079933"/>
              <a:gd name="connsiteY22189" fmla="*/ 1007891 h 4687251"/>
              <a:gd name="connsiteX22190" fmla="*/ 4255806 w 8079933"/>
              <a:gd name="connsiteY22190" fmla="*/ 1010490 h 4687251"/>
              <a:gd name="connsiteX22191" fmla="*/ 4250272 w 8079933"/>
              <a:gd name="connsiteY22191" fmla="*/ 1010056 h 4687251"/>
              <a:gd name="connsiteX22192" fmla="*/ 4249078 w 8079933"/>
              <a:gd name="connsiteY22192" fmla="*/ 1015903 h 4687251"/>
              <a:gd name="connsiteX22193" fmla="*/ 4246907 w 8079933"/>
              <a:gd name="connsiteY22193" fmla="*/ 1016011 h 4687251"/>
              <a:gd name="connsiteX22194" fmla="*/ 4246691 w 8079933"/>
              <a:gd name="connsiteY22194" fmla="*/ 1011572 h 4687251"/>
              <a:gd name="connsiteX22195" fmla="*/ 4242784 w 8079933"/>
              <a:gd name="connsiteY22195" fmla="*/ 1011031 h 4687251"/>
              <a:gd name="connsiteX22196" fmla="*/ 4246582 w 8079933"/>
              <a:gd name="connsiteY22196" fmla="*/ 1005942 h 4687251"/>
              <a:gd name="connsiteX22197" fmla="*/ 4241916 w 8079933"/>
              <a:gd name="connsiteY22197" fmla="*/ 1005509 h 4687251"/>
              <a:gd name="connsiteX22198" fmla="*/ 4243978 w 8079933"/>
              <a:gd name="connsiteY22198" fmla="*/ 999987 h 4687251"/>
              <a:gd name="connsiteX22199" fmla="*/ 4250054 w 8079933"/>
              <a:gd name="connsiteY22199" fmla="*/ 999446 h 4687251"/>
              <a:gd name="connsiteX22200" fmla="*/ 4244520 w 8079933"/>
              <a:gd name="connsiteY22200" fmla="*/ 996631 h 4687251"/>
              <a:gd name="connsiteX22201" fmla="*/ 4247450 w 8079933"/>
              <a:gd name="connsiteY22201" fmla="*/ 991433 h 4687251"/>
              <a:gd name="connsiteX22202" fmla="*/ 4251031 w 8079933"/>
              <a:gd name="connsiteY22202" fmla="*/ 994249 h 4687251"/>
              <a:gd name="connsiteX22203" fmla="*/ 2932445 w 8079933"/>
              <a:gd name="connsiteY22203" fmla="*/ 982664 h 4687251"/>
              <a:gd name="connsiteX22204" fmla="*/ 2936569 w 8079933"/>
              <a:gd name="connsiteY22204" fmla="*/ 982989 h 4687251"/>
              <a:gd name="connsiteX22205" fmla="*/ 2937437 w 8079933"/>
              <a:gd name="connsiteY22205" fmla="*/ 985586 h 4687251"/>
              <a:gd name="connsiteX22206" fmla="*/ 2930600 w 8079933"/>
              <a:gd name="connsiteY22206" fmla="*/ 986778 h 4687251"/>
              <a:gd name="connsiteX22207" fmla="*/ 2929190 w 8079933"/>
              <a:gd name="connsiteY22207" fmla="*/ 985154 h 4687251"/>
              <a:gd name="connsiteX22208" fmla="*/ 2929732 w 8079933"/>
              <a:gd name="connsiteY22208" fmla="*/ 983205 h 4687251"/>
              <a:gd name="connsiteX22209" fmla="*/ 4413906 w 8079933"/>
              <a:gd name="connsiteY22209" fmla="*/ 982573 h 4687251"/>
              <a:gd name="connsiteX22210" fmla="*/ 4412828 w 8079933"/>
              <a:gd name="connsiteY22210" fmla="*/ 985261 h 4687251"/>
              <a:gd name="connsiteX22211" fmla="*/ 4411527 w 8079933"/>
              <a:gd name="connsiteY22211" fmla="*/ 997496 h 4687251"/>
              <a:gd name="connsiteX22212" fmla="*/ 4411648 w 8079933"/>
              <a:gd name="connsiteY22212" fmla="*/ 997878 h 4687251"/>
              <a:gd name="connsiteX22213" fmla="*/ 4412721 w 8079933"/>
              <a:gd name="connsiteY22213" fmla="*/ 986886 h 4687251"/>
              <a:gd name="connsiteX22214" fmla="*/ 4414240 w 8079933"/>
              <a:gd name="connsiteY22214" fmla="*/ 983096 h 4687251"/>
              <a:gd name="connsiteX22215" fmla="*/ 2952412 w 8079933"/>
              <a:gd name="connsiteY22215" fmla="*/ 980498 h 4687251"/>
              <a:gd name="connsiteX22216" fmla="*/ 2956427 w 8079933"/>
              <a:gd name="connsiteY22216" fmla="*/ 982122 h 4687251"/>
              <a:gd name="connsiteX22217" fmla="*/ 2953823 w 8079933"/>
              <a:gd name="connsiteY22217" fmla="*/ 983529 h 4687251"/>
              <a:gd name="connsiteX22218" fmla="*/ 2949916 w 8079933"/>
              <a:gd name="connsiteY22218" fmla="*/ 983747 h 4687251"/>
              <a:gd name="connsiteX22219" fmla="*/ 2948614 w 8079933"/>
              <a:gd name="connsiteY22219" fmla="*/ 981689 h 4687251"/>
              <a:gd name="connsiteX22220" fmla="*/ 4497906 w 8079933"/>
              <a:gd name="connsiteY22220" fmla="*/ 978657 h 4687251"/>
              <a:gd name="connsiteX22221" fmla="*/ 4497275 w 8079933"/>
              <a:gd name="connsiteY22221" fmla="*/ 978710 h 4687251"/>
              <a:gd name="connsiteX22222" fmla="*/ 4501487 w 8079933"/>
              <a:gd name="connsiteY22222" fmla="*/ 980391 h 4687251"/>
              <a:gd name="connsiteX22223" fmla="*/ 4501621 w 8079933"/>
              <a:gd name="connsiteY22223" fmla="*/ 980222 h 4687251"/>
              <a:gd name="connsiteX22224" fmla="*/ 3504111 w 8079933"/>
              <a:gd name="connsiteY22224" fmla="*/ 978441 h 4687251"/>
              <a:gd name="connsiteX22225" fmla="*/ 3504653 w 8079933"/>
              <a:gd name="connsiteY22225" fmla="*/ 980498 h 4687251"/>
              <a:gd name="connsiteX22226" fmla="*/ 3502049 w 8079933"/>
              <a:gd name="connsiteY22226" fmla="*/ 982014 h 4687251"/>
              <a:gd name="connsiteX22227" fmla="*/ 3500313 w 8079933"/>
              <a:gd name="connsiteY22227" fmla="*/ 981797 h 4687251"/>
              <a:gd name="connsiteX22228" fmla="*/ 3500638 w 8079933"/>
              <a:gd name="connsiteY22228" fmla="*/ 979848 h 4687251"/>
              <a:gd name="connsiteX22229" fmla="*/ 4277617 w 8079933"/>
              <a:gd name="connsiteY22229" fmla="*/ 978332 h 4687251"/>
              <a:gd name="connsiteX22230" fmla="*/ 4280764 w 8079933"/>
              <a:gd name="connsiteY22230" fmla="*/ 982987 h 4687251"/>
              <a:gd name="connsiteX22231" fmla="*/ 4277400 w 8079933"/>
              <a:gd name="connsiteY22231" fmla="*/ 987102 h 4687251"/>
              <a:gd name="connsiteX22232" fmla="*/ 4277617 w 8079933"/>
              <a:gd name="connsiteY22232" fmla="*/ 990567 h 4687251"/>
              <a:gd name="connsiteX22233" fmla="*/ 4271974 w 8079933"/>
              <a:gd name="connsiteY22233" fmla="*/ 990675 h 4687251"/>
              <a:gd name="connsiteX22234" fmla="*/ 4267417 w 8079933"/>
              <a:gd name="connsiteY22234" fmla="*/ 992408 h 4687251"/>
              <a:gd name="connsiteX22235" fmla="*/ 4262642 w 8079933"/>
              <a:gd name="connsiteY22235" fmla="*/ 986236 h 4687251"/>
              <a:gd name="connsiteX22236" fmla="*/ 4269044 w 8079933"/>
              <a:gd name="connsiteY22236" fmla="*/ 985911 h 4687251"/>
              <a:gd name="connsiteX22237" fmla="*/ 4269262 w 8079933"/>
              <a:gd name="connsiteY22237" fmla="*/ 982338 h 4687251"/>
              <a:gd name="connsiteX22238" fmla="*/ 4274904 w 8079933"/>
              <a:gd name="connsiteY22238" fmla="*/ 982122 h 4687251"/>
              <a:gd name="connsiteX22239" fmla="*/ 2942212 w 8079933"/>
              <a:gd name="connsiteY22239" fmla="*/ 975409 h 4687251"/>
              <a:gd name="connsiteX22240" fmla="*/ 2946878 w 8079933"/>
              <a:gd name="connsiteY22240" fmla="*/ 976600 h 4687251"/>
              <a:gd name="connsiteX22241" fmla="*/ 2949591 w 8079933"/>
              <a:gd name="connsiteY22241" fmla="*/ 978115 h 4687251"/>
              <a:gd name="connsiteX22242" fmla="*/ 2946552 w 8079933"/>
              <a:gd name="connsiteY22242" fmla="*/ 980498 h 4687251"/>
              <a:gd name="connsiteX22243" fmla="*/ 2943297 w 8079933"/>
              <a:gd name="connsiteY22243" fmla="*/ 980931 h 4687251"/>
              <a:gd name="connsiteX22244" fmla="*/ 2937654 w 8079933"/>
              <a:gd name="connsiteY22244" fmla="*/ 978441 h 4687251"/>
              <a:gd name="connsiteX22245" fmla="*/ 2938088 w 8079933"/>
              <a:gd name="connsiteY22245" fmla="*/ 976925 h 4687251"/>
              <a:gd name="connsiteX22246" fmla="*/ 4290530 w 8079933"/>
              <a:gd name="connsiteY22246" fmla="*/ 971295 h 4687251"/>
              <a:gd name="connsiteX22247" fmla="*/ 4292592 w 8079933"/>
              <a:gd name="connsiteY22247" fmla="*/ 975734 h 4687251"/>
              <a:gd name="connsiteX22248" fmla="*/ 4289120 w 8079933"/>
              <a:gd name="connsiteY22248" fmla="*/ 977683 h 4687251"/>
              <a:gd name="connsiteX22249" fmla="*/ 4418472 w 8079933"/>
              <a:gd name="connsiteY22249" fmla="*/ 971118 h 4687251"/>
              <a:gd name="connsiteX22250" fmla="*/ 4414781 w 8079933"/>
              <a:gd name="connsiteY22250" fmla="*/ 976166 h 4687251"/>
              <a:gd name="connsiteX22251" fmla="*/ 4412069 w 8079933"/>
              <a:gd name="connsiteY22251" fmla="*/ 977899 h 4687251"/>
              <a:gd name="connsiteX22252" fmla="*/ 4412774 w 8079933"/>
              <a:gd name="connsiteY22252" fmla="*/ 979005 h 4687251"/>
              <a:gd name="connsiteX22253" fmla="*/ 4414675 w 8079933"/>
              <a:gd name="connsiteY22253" fmla="*/ 977791 h 4687251"/>
              <a:gd name="connsiteX22254" fmla="*/ 4418472 w 8079933"/>
              <a:gd name="connsiteY22254" fmla="*/ 972594 h 4687251"/>
              <a:gd name="connsiteX22255" fmla="*/ 2672222 w 8079933"/>
              <a:gd name="connsiteY22255" fmla="*/ 970104 h 4687251"/>
              <a:gd name="connsiteX22256" fmla="*/ 2674826 w 8079933"/>
              <a:gd name="connsiteY22256" fmla="*/ 970212 h 4687251"/>
              <a:gd name="connsiteX22257" fmla="*/ 2675694 w 8079933"/>
              <a:gd name="connsiteY22257" fmla="*/ 973135 h 4687251"/>
              <a:gd name="connsiteX22258" fmla="*/ 2673958 w 8079933"/>
              <a:gd name="connsiteY22258" fmla="*/ 974435 h 4687251"/>
              <a:gd name="connsiteX22259" fmla="*/ 2669509 w 8079933"/>
              <a:gd name="connsiteY22259" fmla="*/ 971620 h 4687251"/>
              <a:gd name="connsiteX22260" fmla="*/ 2672222 w 8079933"/>
              <a:gd name="connsiteY22260" fmla="*/ 970104 h 4687251"/>
              <a:gd name="connsiteX22261" fmla="*/ 4991874 w 8079933"/>
              <a:gd name="connsiteY22261" fmla="*/ 968914 h 4687251"/>
              <a:gd name="connsiteX22262" fmla="*/ 4995454 w 8079933"/>
              <a:gd name="connsiteY22262" fmla="*/ 970754 h 4687251"/>
              <a:gd name="connsiteX22263" fmla="*/ 4994695 w 8079933"/>
              <a:gd name="connsiteY22263" fmla="*/ 973136 h 4687251"/>
              <a:gd name="connsiteX22264" fmla="*/ 4991765 w 8079933"/>
              <a:gd name="connsiteY22264" fmla="*/ 973028 h 4687251"/>
              <a:gd name="connsiteX22265" fmla="*/ 4989595 w 8079933"/>
              <a:gd name="connsiteY22265" fmla="*/ 970430 h 4687251"/>
              <a:gd name="connsiteX22266" fmla="*/ 5021282 w 8079933"/>
              <a:gd name="connsiteY22266" fmla="*/ 968372 h 4687251"/>
              <a:gd name="connsiteX22267" fmla="*/ 5025622 w 8079933"/>
              <a:gd name="connsiteY22267" fmla="*/ 969563 h 4687251"/>
              <a:gd name="connsiteX22268" fmla="*/ 5023886 w 8079933"/>
              <a:gd name="connsiteY22268" fmla="*/ 971837 h 4687251"/>
              <a:gd name="connsiteX22269" fmla="*/ 5017158 w 8079933"/>
              <a:gd name="connsiteY22269" fmla="*/ 974002 h 4687251"/>
              <a:gd name="connsiteX22270" fmla="*/ 5014554 w 8079933"/>
              <a:gd name="connsiteY22270" fmla="*/ 975951 h 4687251"/>
              <a:gd name="connsiteX22271" fmla="*/ 5012601 w 8079933"/>
              <a:gd name="connsiteY22271" fmla="*/ 975409 h 4687251"/>
              <a:gd name="connsiteX22272" fmla="*/ 5014988 w 8079933"/>
              <a:gd name="connsiteY22272" fmla="*/ 971512 h 4687251"/>
              <a:gd name="connsiteX22273" fmla="*/ 4971147 w 8079933"/>
              <a:gd name="connsiteY22273" fmla="*/ 967830 h 4687251"/>
              <a:gd name="connsiteX22274" fmla="*/ 4973426 w 8079933"/>
              <a:gd name="connsiteY22274" fmla="*/ 968696 h 4687251"/>
              <a:gd name="connsiteX22275" fmla="*/ 4971473 w 8079933"/>
              <a:gd name="connsiteY22275" fmla="*/ 971187 h 4687251"/>
              <a:gd name="connsiteX22276" fmla="*/ 4968543 w 8079933"/>
              <a:gd name="connsiteY22276" fmla="*/ 971187 h 4687251"/>
              <a:gd name="connsiteX22277" fmla="*/ 4967892 w 8079933"/>
              <a:gd name="connsiteY22277" fmla="*/ 969779 h 4687251"/>
              <a:gd name="connsiteX22278" fmla="*/ 4978636 w 8079933"/>
              <a:gd name="connsiteY22278" fmla="*/ 967073 h 4687251"/>
              <a:gd name="connsiteX22279" fmla="*/ 4982868 w 8079933"/>
              <a:gd name="connsiteY22279" fmla="*/ 968914 h 4687251"/>
              <a:gd name="connsiteX22280" fmla="*/ 4984821 w 8079933"/>
              <a:gd name="connsiteY22280" fmla="*/ 973569 h 4687251"/>
              <a:gd name="connsiteX22281" fmla="*/ 4980372 w 8079933"/>
              <a:gd name="connsiteY22281" fmla="*/ 972487 h 4687251"/>
              <a:gd name="connsiteX22282" fmla="*/ 4978310 w 8079933"/>
              <a:gd name="connsiteY22282" fmla="*/ 970321 h 4687251"/>
              <a:gd name="connsiteX22283" fmla="*/ 4975163 w 8079933"/>
              <a:gd name="connsiteY22283" fmla="*/ 969455 h 4687251"/>
              <a:gd name="connsiteX22284" fmla="*/ 4283477 w 8079933"/>
              <a:gd name="connsiteY22284" fmla="*/ 965990 h 4687251"/>
              <a:gd name="connsiteX22285" fmla="*/ 4285213 w 8079933"/>
              <a:gd name="connsiteY22285" fmla="*/ 968696 h 4687251"/>
              <a:gd name="connsiteX22286" fmla="*/ 4289337 w 8079933"/>
              <a:gd name="connsiteY22286" fmla="*/ 968047 h 4687251"/>
              <a:gd name="connsiteX22287" fmla="*/ 4289988 w 8079933"/>
              <a:gd name="connsiteY22287" fmla="*/ 969347 h 4687251"/>
              <a:gd name="connsiteX22288" fmla="*/ 4286299 w 8079933"/>
              <a:gd name="connsiteY22288" fmla="*/ 972161 h 4687251"/>
              <a:gd name="connsiteX22289" fmla="*/ 4286732 w 8079933"/>
              <a:gd name="connsiteY22289" fmla="*/ 976276 h 4687251"/>
              <a:gd name="connsiteX22290" fmla="*/ 4285431 w 8079933"/>
              <a:gd name="connsiteY22290" fmla="*/ 978333 h 4687251"/>
              <a:gd name="connsiteX22291" fmla="*/ 4282066 w 8079933"/>
              <a:gd name="connsiteY22291" fmla="*/ 978333 h 4687251"/>
              <a:gd name="connsiteX22292" fmla="*/ 4276098 w 8079933"/>
              <a:gd name="connsiteY22292" fmla="*/ 972161 h 4687251"/>
              <a:gd name="connsiteX22293" fmla="*/ 4279895 w 8079933"/>
              <a:gd name="connsiteY22293" fmla="*/ 961876 h 4687251"/>
              <a:gd name="connsiteX22294" fmla="*/ 4279678 w 8079933"/>
              <a:gd name="connsiteY22294" fmla="*/ 965124 h 4687251"/>
              <a:gd name="connsiteX22295" fmla="*/ 4273710 w 8079933"/>
              <a:gd name="connsiteY22295" fmla="*/ 969130 h 4687251"/>
              <a:gd name="connsiteX22296" fmla="*/ 4273710 w 8079933"/>
              <a:gd name="connsiteY22296" fmla="*/ 963608 h 4687251"/>
              <a:gd name="connsiteX22297" fmla="*/ 4446903 w 8079933"/>
              <a:gd name="connsiteY22297" fmla="*/ 959818 h 4687251"/>
              <a:gd name="connsiteX22298" fmla="*/ 4436703 w 8079933"/>
              <a:gd name="connsiteY22298" fmla="*/ 959926 h 4687251"/>
              <a:gd name="connsiteX22299" fmla="*/ 4432796 w 8079933"/>
              <a:gd name="connsiteY22299" fmla="*/ 964257 h 4687251"/>
              <a:gd name="connsiteX22300" fmla="*/ 4433121 w 8079933"/>
              <a:gd name="connsiteY22300" fmla="*/ 966314 h 4687251"/>
              <a:gd name="connsiteX22301" fmla="*/ 4429540 w 8079933"/>
              <a:gd name="connsiteY22301" fmla="*/ 967180 h 4687251"/>
              <a:gd name="connsiteX22302" fmla="*/ 4423246 w 8079933"/>
              <a:gd name="connsiteY22302" fmla="*/ 965989 h 4687251"/>
              <a:gd name="connsiteX22303" fmla="*/ 4418254 w 8079933"/>
              <a:gd name="connsiteY22303" fmla="*/ 968263 h 4687251"/>
              <a:gd name="connsiteX22304" fmla="*/ 4418472 w 8079933"/>
              <a:gd name="connsiteY22304" fmla="*/ 970074 h 4687251"/>
              <a:gd name="connsiteX22305" fmla="*/ 4418472 w 8079933"/>
              <a:gd name="connsiteY22305" fmla="*/ 969888 h 4687251"/>
              <a:gd name="connsiteX22306" fmla="*/ 4423464 w 8079933"/>
              <a:gd name="connsiteY22306" fmla="*/ 967614 h 4687251"/>
              <a:gd name="connsiteX22307" fmla="*/ 4429649 w 8079933"/>
              <a:gd name="connsiteY22307" fmla="*/ 968805 h 4687251"/>
              <a:gd name="connsiteX22308" fmla="*/ 4433231 w 8079933"/>
              <a:gd name="connsiteY22308" fmla="*/ 967939 h 4687251"/>
              <a:gd name="connsiteX22309" fmla="*/ 4433231 w 8079933"/>
              <a:gd name="connsiteY22309" fmla="*/ 965882 h 4687251"/>
              <a:gd name="connsiteX22310" fmla="*/ 4437246 w 8079933"/>
              <a:gd name="connsiteY22310" fmla="*/ 961551 h 4687251"/>
              <a:gd name="connsiteX22311" fmla="*/ 4447446 w 8079933"/>
              <a:gd name="connsiteY22311" fmla="*/ 961551 h 4687251"/>
              <a:gd name="connsiteX22312" fmla="*/ 4451896 w 8079933"/>
              <a:gd name="connsiteY22312" fmla="*/ 964582 h 4687251"/>
              <a:gd name="connsiteX22313" fmla="*/ 4457647 w 8079933"/>
              <a:gd name="connsiteY22313" fmla="*/ 971945 h 4687251"/>
              <a:gd name="connsiteX22314" fmla="*/ 4461011 w 8079933"/>
              <a:gd name="connsiteY22314" fmla="*/ 975410 h 4687251"/>
              <a:gd name="connsiteX22315" fmla="*/ 4466220 w 8079933"/>
              <a:gd name="connsiteY22315" fmla="*/ 977359 h 4687251"/>
              <a:gd name="connsiteX22316" fmla="*/ 4474141 w 8079933"/>
              <a:gd name="connsiteY22316" fmla="*/ 978224 h 4687251"/>
              <a:gd name="connsiteX22317" fmla="*/ 4475552 w 8079933"/>
              <a:gd name="connsiteY22317" fmla="*/ 982122 h 4687251"/>
              <a:gd name="connsiteX22318" fmla="*/ 4479627 w 8079933"/>
              <a:gd name="connsiteY22318" fmla="*/ 986373 h 4687251"/>
              <a:gd name="connsiteX22319" fmla="*/ 4479784 w 8079933"/>
              <a:gd name="connsiteY22319" fmla="*/ 985370 h 4687251"/>
              <a:gd name="connsiteX22320" fmla="*/ 4475009 w 8079933"/>
              <a:gd name="connsiteY22320" fmla="*/ 980281 h 4687251"/>
              <a:gd name="connsiteX22321" fmla="*/ 4473707 w 8079933"/>
              <a:gd name="connsiteY22321" fmla="*/ 976492 h 4687251"/>
              <a:gd name="connsiteX22322" fmla="*/ 4465676 w 8079933"/>
              <a:gd name="connsiteY22322" fmla="*/ 975625 h 4687251"/>
              <a:gd name="connsiteX22323" fmla="*/ 4460576 w 8079933"/>
              <a:gd name="connsiteY22323" fmla="*/ 973676 h 4687251"/>
              <a:gd name="connsiteX22324" fmla="*/ 4457212 w 8079933"/>
              <a:gd name="connsiteY22324" fmla="*/ 970212 h 4687251"/>
              <a:gd name="connsiteX22325" fmla="*/ 4451352 w 8079933"/>
              <a:gd name="connsiteY22325" fmla="*/ 962849 h 4687251"/>
              <a:gd name="connsiteX22326" fmla="*/ 4309087 w 8079933"/>
              <a:gd name="connsiteY22326" fmla="*/ 955812 h 4687251"/>
              <a:gd name="connsiteX22327" fmla="*/ 4313971 w 8079933"/>
              <a:gd name="connsiteY22327" fmla="*/ 959601 h 4687251"/>
              <a:gd name="connsiteX22328" fmla="*/ 4311909 w 8079933"/>
              <a:gd name="connsiteY22328" fmla="*/ 964257 h 4687251"/>
              <a:gd name="connsiteX22329" fmla="*/ 4314730 w 8079933"/>
              <a:gd name="connsiteY22329" fmla="*/ 968047 h 4687251"/>
              <a:gd name="connsiteX22330" fmla="*/ 4312560 w 8079933"/>
              <a:gd name="connsiteY22330" fmla="*/ 972161 h 4687251"/>
              <a:gd name="connsiteX22331" fmla="*/ 4309955 w 8079933"/>
              <a:gd name="connsiteY22331" fmla="*/ 968155 h 4687251"/>
              <a:gd name="connsiteX22332" fmla="*/ 4306374 w 8079933"/>
              <a:gd name="connsiteY22332" fmla="*/ 966855 h 4687251"/>
              <a:gd name="connsiteX22333" fmla="*/ 4305832 w 8079933"/>
              <a:gd name="connsiteY22333" fmla="*/ 958952 h 4687251"/>
              <a:gd name="connsiteX22334" fmla="*/ 4284887 w 8079933"/>
              <a:gd name="connsiteY22334" fmla="*/ 955163 h 4687251"/>
              <a:gd name="connsiteX22335" fmla="*/ 4281957 w 8079933"/>
              <a:gd name="connsiteY22335" fmla="*/ 959818 h 4687251"/>
              <a:gd name="connsiteX22336" fmla="*/ 4280764 w 8079933"/>
              <a:gd name="connsiteY22336" fmla="*/ 956462 h 4687251"/>
              <a:gd name="connsiteX22337" fmla="*/ 4845703 w 8079933"/>
              <a:gd name="connsiteY22337" fmla="*/ 953971 h 4687251"/>
              <a:gd name="connsiteX22338" fmla="*/ 4853624 w 8079933"/>
              <a:gd name="connsiteY22338" fmla="*/ 955379 h 4687251"/>
              <a:gd name="connsiteX22339" fmla="*/ 4870879 w 8079933"/>
              <a:gd name="connsiteY22339" fmla="*/ 962632 h 4687251"/>
              <a:gd name="connsiteX22340" fmla="*/ 4875328 w 8079933"/>
              <a:gd name="connsiteY22340" fmla="*/ 967721 h 4687251"/>
              <a:gd name="connsiteX22341" fmla="*/ 4875328 w 8079933"/>
              <a:gd name="connsiteY22341" fmla="*/ 973243 h 4687251"/>
              <a:gd name="connsiteX22342" fmla="*/ 4871856 w 8079933"/>
              <a:gd name="connsiteY22342" fmla="*/ 979198 h 4687251"/>
              <a:gd name="connsiteX22343" fmla="*/ 4873266 w 8079933"/>
              <a:gd name="connsiteY22343" fmla="*/ 972701 h 4687251"/>
              <a:gd name="connsiteX22344" fmla="*/ 4871530 w 8079933"/>
              <a:gd name="connsiteY22344" fmla="*/ 968587 h 4687251"/>
              <a:gd name="connsiteX22345" fmla="*/ 4868600 w 8079933"/>
              <a:gd name="connsiteY22345" fmla="*/ 971727 h 4687251"/>
              <a:gd name="connsiteX22346" fmla="*/ 4868600 w 8079933"/>
              <a:gd name="connsiteY22346" fmla="*/ 979956 h 4687251"/>
              <a:gd name="connsiteX22347" fmla="*/ 4864368 w 8079933"/>
              <a:gd name="connsiteY22347" fmla="*/ 985261 h 4687251"/>
              <a:gd name="connsiteX22348" fmla="*/ 4857965 w 8079933"/>
              <a:gd name="connsiteY22348" fmla="*/ 990566 h 4687251"/>
              <a:gd name="connsiteX22349" fmla="*/ 4852973 w 8079933"/>
              <a:gd name="connsiteY22349" fmla="*/ 990999 h 4687251"/>
              <a:gd name="connsiteX22350" fmla="*/ 4849392 w 8079933"/>
              <a:gd name="connsiteY22350" fmla="*/ 994248 h 4687251"/>
              <a:gd name="connsiteX22351" fmla="*/ 4845703 w 8079933"/>
              <a:gd name="connsiteY22351" fmla="*/ 994248 h 4687251"/>
              <a:gd name="connsiteX22352" fmla="*/ 4847113 w 8079933"/>
              <a:gd name="connsiteY22352" fmla="*/ 990999 h 4687251"/>
              <a:gd name="connsiteX22353" fmla="*/ 4843423 w 8079933"/>
              <a:gd name="connsiteY22353" fmla="*/ 988834 h 4687251"/>
              <a:gd name="connsiteX22354" fmla="*/ 4841904 w 8079933"/>
              <a:gd name="connsiteY22354" fmla="*/ 990133 h 4687251"/>
              <a:gd name="connsiteX22355" fmla="*/ 4840494 w 8079933"/>
              <a:gd name="connsiteY22355" fmla="*/ 984070 h 4687251"/>
              <a:gd name="connsiteX22356" fmla="*/ 4837564 w 8079933"/>
              <a:gd name="connsiteY22356" fmla="*/ 978765 h 4687251"/>
              <a:gd name="connsiteX22357" fmla="*/ 4837781 w 8079933"/>
              <a:gd name="connsiteY22357" fmla="*/ 966855 h 4687251"/>
              <a:gd name="connsiteX22358" fmla="*/ 4840710 w 8079933"/>
              <a:gd name="connsiteY22358" fmla="*/ 957111 h 4687251"/>
              <a:gd name="connsiteX22359" fmla="*/ 2517803 w 8079933"/>
              <a:gd name="connsiteY22359" fmla="*/ 952131 h 4687251"/>
              <a:gd name="connsiteX22360" fmla="*/ 2518019 w 8079933"/>
              <a:gd name="connsiteY22360" fmla="*/ 954729 h 4687251"/>
              <a:gd name="connsiteX22361" fmla="*/ 2518128 w 8079933"/>
              <a:gd name="connsiteY22361" fmla="*/ 957220 h 4687251"/>
              <a:gd name="connsiteX22362" fmla="*/ 2519756 w 8079933"/>
              <a:gd name="connsiteY22362" fmla="*/ 956353 h 4687251"/>
              <a:gd name="connsiteX22363" fmla="*/ 2523445 w 8079933"/>
              <a:gd name="connsiteY22363" fmla="*/ 956678 h 4687251"/>
              <a:gd name="connsiteX22364" fmla="*/ 2525616 w 8079933"/>
              <a:gd name="connsiteY22364" fmla="*/ 960143 h 4687251"/>
              <a:gd name="connsiteX22365" fmla="*/ 2530282 w 8079933"/>
              <a:gd name="connsiteY22365" fmla="*/ 960468 h 4687251"/>
              <a:gd name="connsiteX22366" fmla="*/ 2530065 w 8079933"/>
              <a:gd name="connsiteY22366" fmla="*/ 965340 h 4687251"/>
              <a:gd name="connsiteX22367" fmla="*/ 2531476 w 8079933"/>
              <a:gd name="connsiteY22367" fmla="*/ 968047 h 4687251"/>
              <a:gd name="connsiteX22368" fmla="*/ 2529740 w 8079933"/>
              <a:gd name="connsiteY22368" fmla="*/ 971078 h 4687251"/>
              <a:gd name="connsiteX22369" fmla="*/ 2525507 w 8079933"/>
              <a:gd name="connsiteY22369" fmla="*/ 969671 h 4687251"/>
              <a:gd name="connsiteX22370" fmla="*/ 2521601 w 8079933"/>
              <a:gd name="connsiteY22370" fmla="*/ 970428 h 4687251"/>
              <a:gd name="connsiteX22371" fmla="*/ 2519214 w 8079933"/>
              <a:gd name="connsiteY22371" fmla="*/ 969345 h 4687251"/>
              <a:gd name="connsiteX22372" fmla="*/ 2514873 w 8079933"/>
              <a:gd name="connsiteY22372" fmla="*/ 968155 h 4687251"/>
              <a:gd name="connsiteX22373" fmla="*/ 2512377 w 8079933"/>
              <a:gd name="connsiteY22373" fmla="*/ 969237 h 4687251"/>
              <a:gd name="connsiteX22374" fmla="*/ 2510315 w 8079933"/>
              <a:gd name="connsiteY22374" fmla="*/ 967830 h 4687251"/>
              <a:gd name="connsiteX22375" fmla="*/ 2509447 w 8079933"/>
              <a:gd name="connsiteY22375" fmla="*/ 961984 h 4687251"/>
              <a:gd name="connsiteX22376" fmla="*/ 2508145 w 8079933"/>
              <a:gd name="connsiteY22376" fmla="*/ 957653 h 4687251"/>
              <a:gd name="connsiteX22377" fmla="*/ 2509013 w 8079933"/>
              <a:gd name="connsiteY22377" fmla="*/ 955920 h 4687251"/>
              <a:gd name="connsiteX22378" fmla="*/ 2512051 w 8079933"/>
              <a:gd name="connsiteY22378" fmla="*/ 956029 h 4687251"/>
              <a:gd name="connsiteX22379" fmla="*/ 2514330 w 8079933"/>
              <a:gd name="connsiteY22379" fmla="*/ 955596 h 4687251"/>
              <a:gd name="connsiteX22380" fmla="*/ 2516066 w 8079933"/>
              <a:gd name="connsiteY22380" fmla="*/ 952780 h 4687251"/>
              <a:gd name="connsiteX22381" fmla="*/ 4292701 w 8079933"/>
              <a:gd name="connsiteY22381" fmla="*/ 952023 h 4687251"/>
              <a:gd name="connsiteX22382" fmla="*/ 4293678 w 8079933"/>
              <a:gd name="connsiteY22382" fmla="*/ 958627 h 4687251"/>
              <a:gd name="connsiteX22383" fmla="*/ 4298126 w 8079933"/>
              <a:gd name="connsiteY22383" fmla="*/ 962200 h 4687251"/>
              <a:gd name="connsiteX22384" fmla="*/ 4299429 w 8079933"/>
              <a:gd name="connsiteY22384" fmla="*/ 965015 h 4687251"/>
              <a:gd name="connsiteX22385" fmla="*/ 4297258 w 8079933"/>
              <a:gd name="connsiteY22385" fmla="*/ 966747 h 4687251"/>
              <a:gd name="connsiteX22386" fmla="*/ 4291942 w 8079933"/>
              <a:gd name="connsiteY22386" fmla="*/ 964473 h 4687251"/>
              <a:gd name="connsiteX22387" fmla="*/ 4291724 w 8079933"/>
              <a:gd name="connsiteY22387" fmla="*/ 960143 h 4687251"/>
              <a:gd name="connsiteX22388" fmla="*/ 4289988 w 8079933"/>
              <a:gd name="connsiteY22388" fmla="*/ 953863 h 4687251"/>
              <a:gd name="connsiteX22389" fmla="*/ 5054161 w 8079933"/>
              <a:gd name="connsiteY22389" fmla="*/ 950616 h 4687251"/>
              <a:gd name="connsiteX22390" fmla="*/ 5051232 w 8079933"/>
              <a:gd name="connsiteY22390" fmla="*/ 954189 h 4687251"/>
              <a:gd name="connsiteX22391" fmla="*/ 5050364 w 8079933"/>
              <a:gd name="connsiteY22391" fmla="*/ 951265 h 4687251"/>
              <a:gd name="connsiteX22392" fmla="*/ 2653232 w 8079933"/>
              <a:gd name="connsiteY22392" fmla="*/ 949749 h 4687251"/>
              <a:gd name="connsiteX22393" fmla="*/ 2655294 w 8079933"/>
              <a:gd name="connsiteY22393" fmla="*/ 951265 h 4687251"/>
              <a:gd name="connsiteX22394" fmla="*/ 2652907 w 8079933"/>
              <a:gd name="connsiteY22394" fmla="*/ 952131 h 4687251"/>
              <a:gd name="connsiteX22395" fmla="*/ 2649977 w 8079933"/>
              <a:gd name="connsiteY22395" fmla="*/ 950074 h 4687251"/>
              <a:gd name="connsiteX22396" fmla="*/ 4342076 w 8079933"/>
              <a:gd name="connsiteY22396" fmla="*/ 946826 h 4687251"/>
              <a:gd name="connsiteX22397" fmla="*/ 4347176 w 8079933"/>
              <a:gd name="connsiteY22397" fmla="*/ 947259 h 4687251"/>
              <a:gd name="connsiteX22398" fmla="*/ 4349455 w 8079933"/>
              <a:gd name="connsiteY22398" fmla="*/ 949641 h 4687251"/>
              <a:gd name="connsiteX22399" fmla="*/ 4348479 w 8079933"/>
              <a:gd name="connsiteY22399" fmla="*/ 954081 h 4687251"/>
              <a:gd name="connsiteX22400" fmla="*/ 4343812 w 8079933"/>
              <a:gd name="connsiteY22400" fmla="*/ 952023 h 4687251"/>
              <a:gd name="connsiteX22401" fmla="*/ 4338604 w 8079933"/>
              <a:gd name="connsiteY22401" fmla="*/ 949424 h 4687251"/>
              <a:gd name="connsiteX22402" fmla="*/ 2524747 w 8079933"/>
              <a:gd name="connsiteY22402" fmla="*/ 940438 h 4687251"/>
              <a:gd name="connsiteX22403" fmla="*/ 2525941 w 8079933"/>
              <a:gd name="connsiteY22403" fmla="*/ 941304 h 4687251"/>
              <a:gd name="connsiteX22404" fmla="*/ 2526158 w 8079933"/>
              <a:gd name="connsiteY22404" fmla="*/ 944876 h 4687251"/>
              <a:gd name="connsiteX22405" fmla="*/ 2524747 w 8079933"/>
              <a:gd name="connsiteY22405" fmla="*/ 946176 h 4687251"/>
              <a:gd name="connsiteX22406" fmla="*/ 2523120 w 8079933"/>
              <a:gd name="connsiteY22406" fmla="*/ 943469 h 4687251"/>
              <a:gd name="connsiteX22407" fmla="*/ 494944 w 8079933"/>
              <a:gd name="connsiteY22407" fmla="*/ 940114 h 4687251"/>
              <a:gd name="connsiteX22408" fmla="*/ 494512 w 8079933"/>
              <a:gd name="connsiteY22408" fmla="*/ 943795 h 4687251"/>
              <a:gd name="connsiteX22409" fmla="*/ 499937 w 8079933"/>
              <a:gd name="connsiteY22409" fmla="*/ 947693 h 4687251"/>
              <a:gd name="connsiteX22410" fmla="*/ 500480 w 8079933"/>
              <a:gd name="connsiteY22410" fmla="*/ 951699 h 4687251"/>
              <a:gd name="connsiteX22411" fmla="*/ 496030 w 8079933"/>
              <a:gd name="connsiteY22411" fmla="*/ 958195 h 4687251"/>
              <a:gd name="connsiteX22412" fmla="*/ 494296 w 8079933"/>
              <a:gd name="connsiteY22412" fmla="*/ 964042 h 4687251"/>
              <a:gd name="connsiteX22413" fmla="*/ 487893 w 8079933"/>
              <a:gd name="connsiteY22413" fmla="*/ 964042 h 4687251"/>
              <a:gd name="connsiteX22414" fmla="*/ 483443 w 8079933"/>
              <a:gd name="connsiteY22414" fmla="*/ 962310 h 4687251"/>
              <a:gd name="connsiteX22415" fmla="*/ 479320 w 8079933"/>
              <a:gd name="connsiteY22415" fmla="*/ 965233 h 4687251"/>
              <a:gd name="connsiteX22416" fmla="*/ 474978 w 8079933"/>
              <a:gd name="connsiteY22416" fmla="*/ 961985 h 4687251"/>
              <a:gd name="connsiteX22417" fmla="*/ 470312 w 8079933"/>
              <a:gd name="connsiteY22417" fmla="*/ 961119 h 4687251"/>
              <a:gd name="connsiteX22418" fmla="*/ 465320 w 8079933"/>
              <a:gd name="connsiteY22418" fmla="*/ 952565 h 4687251"/>
              <a:gd name="connsiteX22419" fmla="*/ 462934 w 8079933"/>
              <a:gd name="connsiteY22419" fmla="*/ 943579 h 4687251"/>
              <a:gd name="connsiteX22420" fmla="*/ 468686 w 8079933"/>
              <a:gd name="connsiteY22420" fmla="*/ 943254 h 4687251"/>
              <a:gd name="connsiteX22421" fmla="*/ 474327 w 8079933"/>
              <a:gd name="connsiteY22421" fmla="*/ 945203 h 4687251"/>
              <a:gd name="connsiteX22422" fmla="*/ 478993 w 8079933"/>
              <a:gd name="connsiteY22422" fmla="*/ 944769 h 4687251"/>
              <a:gd name="connsiteX22423" fmla="*/ 482791 w 8079933"/>
              <a:gd name="connsiteY22423" fmla="*/ 946502 h 4687251"/>
              <a:gd name="connsiteX22424" fmla="*/ 488433 w 8079933"/>
              <a:gd name="connsiteY22424" fmla="*/ 941522 h 4687251"/>
              <a:gd name="connsiteX22425" fmla="*/ 3452022 w 8079933"/>
              <a:gd name="connsiteY22425" fmla="*/ 938706 h 4687251"/>
              <a:gd name="connsiteX22426" fmla="*/ 3455603 w 8079933"/>
              <a:gd name="connsiteY22426" fmla="*/ 939355 h 4687251"/>
              <a:gd name="connsiteX22427" fmla="*/ 3455603 w 8079933"/>
              <a:gd name="connsiteY22427" fmla="*/ 941196 h 4687251"/>
              <a:gd name="connsiteX22428" fmla="*/ 3452347 w 8079933"/>
              <a:gd name="connsiteY22428" fmla="*/ 941846 h 4687251"/>
              <a:gd name="connsiteX22429" fmla="*/ 3450069 w 8079933"/>
              <a:gd name="connsiteY22429" fmla="*/ 940763 h 4687251"/>
              <a:gd name="connsiteX22430" fmla="*/ 3452022 w 8079933"/>
              <a:gd name="connsiteY22430" fmla="*/ 938706 h 4687251"/>
              <a:gd name="connsiteX22431" fmla="*/ 2489696 w 8079933"/>
              <a:gd name="connsiteY22431" fmla="*/ 936324 h 4687251"/>
              <a:gd name="connsiteX22432" fmla="*/ 2494688 w 8079933"/>
              <a:gd name="connsiteY22432" fmla="*/ 937840 h 4687251"/>
              <a:gd name="connsiteX22433" fmla="*/ 2496858 w 8079933"/>
              <a:gd name="connsiteY22433" fmla="*/ 940979 h 4687251"/>
              <a:gd name="connsiteX22434" fmla="*/ 2499462 w 8079933"/>
              <a:gd name="connsiteY22434" fmla="*/ 940979 h 4687251"/>
              <a:gd name="connsiteX22435" fmla="*/ 2502718 w 8079933"/>
              <a:gd name="connsiteY22435" fmla="*/ 944553 h 4687251"/>
              <a:gd name="connsiteX22436" fmla="*/ 2504454 w 8079933"/>
              <a:gd name="connsiteY22436" fmla="*/ 949208 h 4687251"/>
              <a:gd name="connsiteX22437" fmla="*/ 2504346 w 8079933"/>
              <a:gd name="connsiteY22437" fmla="*/ 952781 h 4687251"/>
              <a:gd name="connsiteX22438" fmla="*/ 2500222 w 8079933"/>
              <a:gd name="connsiteY22438" fmla="*/ 956246 h 4687251"/>
              <a:gd name="connsiteX22439" fmla="*/ 2498160 w 8079933"/>
              <a:gd name="connsiteY22439" fmla="*/ 960902 h 4687251"/>
              <a:gd name="connsiteX22440" fmla="*/ 2497726 w 8079933"/>
              <a:gd name="connsiteY22440" fmla="*/ 965665 h 4687251"/>
              <a:gd name="connsiteX22441" fmla="*/ 2491541 w 8079933"/>
              <a:gd name="connsiteY22441" fmla="*/ 975302 h 4687251"/>
              <a:gd name="connsiteX22442" fmla="*/ 2489479 w 8079933"/>
              <a:gd name="connsiteY22442" fmla="*/ 978875 h 4687251"/>
              <a:gd name="connsiteX22443" fmla="*/ 2485681 w 8079933"/>
              <a:gd name="connsiteY22443" fmla="*/ 980065 h 4687251"/>
              <a:gd name="connsiteX22444" fmla="*/ 2479821 w 8079933"/>
              <a:gd name="connsiteY22444" fmla="*/ 982989 h 4687251"/>
              <a:gd name="connsiteX22445" fmla="*/ 2478519 w 8079933"/>
              <a:gd name="connsiteY22445" fmla="*/ 984613 h 4687251"/>
              <a:gd name="connsiteX22446" fmla="*/ 2475046 w 8079933"/>
              <a:gd name="connsiteY22446" fmla="*/ 985046 h 4687251"/>
              <a:gd name="connsiteX22447" fmla="*/ 2469838 w 8079933"/>
              <a:gd name="connsiteY22447" fmla="*/ 987320 h 4687251"/>
              <a:gd name="connsiteX22448" fmla="*/ 2467125 w 8079933"/>
              <a:gd name="connsiteY22448" fmla="*/ 985479 h 4687251"/>
              <a:gd name="connsiteX22449" fmla="*/ 2460397 w 8079933"/>
              <a:gd name="connsiteY22449" fmla="*/ 986779 h 4687251"/>
              <a:gd name="connsiteX22450" fmla="*/ 2456599 w 8079933"/>
              <a:gd name="connsiteY22450" fmla="*/ 985479 h 4687251"/>
              <a:gd name="connsiteX22451" fmla="*/ 2453669 w 8079933"/>
              <a:gd name="connsiteY22451" fmla="*/ 985587 h 4687251"/>
              <a:gd name="connsiteX22452" fmla="*/ 2452909 w 8079933"/>
              <a:gd name="connsiteY22452" fmla="*/ 984071 h 4687251"/>
              <a:gd name="connsiteX22453" fmla="*/ 2454536 w 8079933"/>
              <a:gd name="connsiteY22453" fmla="*/ 978767 h 4687251"/>
              <a:gd name="connsiteX22454" fmla="*/ 2453126 w 8079933"/>
              <a:gd name="connsiteY22454" fmla="*/ 976818 h 4687251"/>
              <a:gd name="connsiteX22455" fmla="*/ 2453669 w 8079933"/>
              <a:gd name="connsiteY22455" fmla="*/ 971512 h 4687251"/>
              <a:gd name="connsiteX22456" fmla="*/ 2454211 w 8079933"/>
              <a:gd name="connsiteY22456" fmla="*/ 966207 h 4687251"/>
              <a:gd name="connsiteX22457" fmla="*/ 2460397 w 8079933"/>
              <a:gd name="connsiteY22457" fmla="*/ 960036 h 4687251"/>
              <a:gd name="connsiteX22458" fmla="*/ 2463001 w 8079933"/>
              <a:gd name="connsiteY22458" fmla="*/ 954622 h 4687251"/>
              <a:gd name="connsiteX22459" fmla="*/ 2466582 w 8079933"/>
              <a:gd name="connsiteY22459" fmla="*/ 952240 h 4687251"/>
              <a:gd name="connsiteX22460" fmla="*/ 2473527 w 8079933"/>
              <a:gd name="connsiteY22460" fmla="*/ 942279 h 4687251"/>
              <a:gd name="connsiteX22461" fmla="*/ 2478085 w 8079933"/>
              <a:gd name="connsiteY22461" fmla="*/ 939355 h 4687251"/>
              <a:gd name="connsiteX22462" fmla="*/ 2480364 w 8079933"/>
              <a:gd name="connsiteY22462" fmla="*/ 939355 h 4687251"/>
              <a:gd name="connsiteX22463" fmla="*/ 2482208 w 8079933"/>
              <a:gd name="connsiteY22463" fmla="*/ 937298 h 4687251"/>
              <a:gd name="connsiteX22464" fmla="*/ 2485030 w 8079933"/>
              <a:gd name="connsiteY22464" fmla="*/ 938706 h 4687251"/>
              <a:gd name="connsiteX22465" fmla="*/ 4357811 w 8079933"/>
              <a:gd name="connsiteY22465" fmla="*/ 936215 h 4687251"/>
              <a:gd name="connsiteX22466" fmla="*/ 4359222 w 8079933"/>
              <a:gd name="connsiteY22466" fmla="*/ 941520 h 4687251"/>
              <a:gd name="connsiteX22467" fmla="*/ 4355424 w 8079933"/>
              <a:gd name="connsiteY22467" fmla="*/ 946067 h 4687251"/>
              <a:gd name="connsiteX22468" fmla="*/ 4354664 w 8079933"/>
              <a:gd name="connsiteY22468" fmla="*/ 950182 h 4687251"/>
              <a:gd name="connsiteX22469" fmla="*/ 4349347 w 8079933"/>
              <a:gd name="connsiteY22469" fmla="*/ 943577 h 4687251"/>
              <a:gd name="connsiteX22470" fmla="*/ 5035606 w 8079933"/>
              <a:gd name="connsiteY22470" fmla="*/ 934592 h 4687251"/>
              <a:gd name="connsiteX22471" fmla="*/ 5038644 w 8079933"/>
              <a:gd name="connsiteY22471" fmla="*/ 937840 h 4687251"/>
              <a:gd name="connsiteX22472" fmla="*/ 5046241 w 8079933"/>
              <a:gd name="connsiteY22472" fmla="*/ 941738 h 4687251"/>
              <a:gd name="connsiteX22473" fmla="*/ 5047109 w 8079933"/>
              <a:gd name="connsiteY22473" fmla="*/ 947151 h 4687251"/>
              <a:gd name="connsiteX22474" fmla="*/ 5039404 w 8079933"/>
              <a:gd name="connsiteY22474" fmla="*/ 941629 h 4687251"/>
              <a:gd name="connsiteX22475" fmla="*/ 5034521 w 8079933"/>
              <a:gd name="connsiteY22475" fmla="*/ 936974 h 4687251"/>
              <a:gd name="connsiteX22476" fmla="*/ 2435222 w 8079933"/>
              <a:gd name="connsiteY22476" fmla="*/ 929177 h 4687251"/>
              <a:gd name="connsiteX22477" fmla="*/ 2436523 w 8079933"/>
              <a:gd name="connsiteY22477" fmla="*/ 930152 h 4687251"/>
              <a:gd name="connsiteX22478" fmla="*/ 2440539 w 8079933"/>
              <a:gd name="connsiteY22478" fmla="*/ 930476 h 4687251"/>
              <a:gd name="connsiteX22479" fmla="*/ 2440431 w 8079933"/>
              <a:gd name="connsiteY22479" fmla="*/ 933508 h 4687251"/>
              <a:gd name="connsiteX22480" fmla="*/ 2436958 w 8079933"/>
              <a:gd name="connsiteY22480" fmla="*/ 934266 h 4687251"/>
              <a:gd name="connsiteX22481" fmla="*/ 2436523 w 8079933"/>
              <a:gd name="connsiteY22481" fmla="*/ 937297 h 4687251"/>
              <a:gd name="connsiteX22482" fmla="*/ 2434896 w 8079933"/>
              <a:gd name="connsiteY22482" fmla="*/ 938489 h 4687251"/>
              <a:gd name="connsiteX22483" fmla="*/ 2433160 w 8079933"/>
              <a:gd name="connsiteY22483" fmla="*/ 932858 h 4687251"/>
              <a:gd name="connsiteX22484" fmla="*/ 5028227 w 8079933"/>
              <a:gd name="connsiteY22484" fmla="*/ 929070 h 4687251"/>
              <a:gd name="connsiteX22485" fmla="*/ 5030614 w 8079933"/>
              <a:gd name="connsiteY22485" fmla="*/ 930478 h 4687251"/>
              <a:gd name="connsiteX22486" fmla="*/ 5029855 w 8079933"/>
              <a:gd name="connsiteY22486" fmla="*/ 934050 h 4687251"/>
              <a:gd name="connsiteX22487" fmla="*/ 5028010 w 8079933"/>
              <a:gd name="connsiteY22487" fmla="*/ 934917 h 4687251"/>
              <a:gd name="connsiteX22488" fmla="*/ 4365734 w 8079933"/>
              <a:gd name="connsiteY22488" fmla="*/ 929070 h 4687251"/>
              <a:gd name="connsiteX22489" fmla="*/ 4371268 w 8079933"/>
              <a:gd name="connsiteY22489" fmla="*/ 933184 h 4687251"/>
              <a:gd name="connsiteX22490" fmla="*/ 4369640 w 8079933"/>
              <a:gd name="connsiteY22490" fmla="*/ 937299 h 4687251"/>
              <a:gd name="connsiteX22491" fmla="*/ 4363237 w 8079933"/>
              <a:gd name="connsiteY22491" fmla="*/ 939681 h 4687251"/>
              <a:gd name="connsiteX22492" fmla="*/ 4362695 w 8079933"/>
              <a:gd name="connsiteY22492" fmla="*/ 935133 h 4687251"/>
              <a:gd name="connsiteX22493" fmla="*/ 4359114 w 8079933"/>
              <a:gd name="connsiteY22493" fmla="*/ 931452 h 4687251"/>
              <a:gd name="connsiteX22494" fmla="*/ 2518345 w 8079933"/>
              <a:gd name="connsiteY22494" fmla="*/ 927337 h 4687251"/>
              <a:gd name="connsiteX22495" fmla="*/ 2519755 w 8079933"/>
              <a:gd name="connsiteY22495" fmla="*/ 931884 h 4687251"/>
              <a:gd name="connsiteX22496" fmla="*/ 2521275 w 8079933"/>
              <a:gd name="connsiteY22496" fmla="*/ 934591 h 4687251"/>
              <a:gd name="connsiteX22497" fmla="*/ 2519864 w 8079933"/>
              <a:gd name="connsiteY22497" fmla="*/ 936540 h 4687251"/>
              <a:gd name="connsiteX22498" fmla="*/ 2518129 w 8079933"/>
              <a:gd name="connsiteY22498" fmla="*/ 936322 h 4687251"/>
              <a:gd name="connsiteX22499" fmla="*/ 2517152 w 8079933"/>
              <a:gd name="connsiteY22499" fmla="*/ 932642 h 4687251"/>
              <a:gd name="connsiteX22500" fmla="*/ 2271903 w 8079933"/>
              <a:gd name="connsiteY22500" fmla="*/ 926796 h 4687251"/>
              <a:gd name="connsiteX22501" fmla="*/ 2276353 w 8079933"/>
              <a:gd name="connsiteY22501" fmla="*/ 927553 h 4687251"/>
              <a:gd name="connsiteX22502" fmla="*/ 2277112 w 8079933"/>
              <a:gd name="connsiteY22502" fmla="*/ 929394 h 4687251"/>
              <a:gd name="connsiteX22503" fmla="*/ 2274073 w 8079933"/>
              <a:gd name="connsiteY22503" fmla="*/ 932534 h 4687251"/>
              <a:gd name="connsiteX22504" fmla="*/ 2269082 w 8079933"/>
              <a:gd name="connsiteY22504" fmla="*/ 932534 h 4687251"/>
              <a:gd name="connsiteX22505" fmla="*/ 2267780 w 8079933"/>
              <a:gd name="connsiteY22505" fmla="*/ 931342 h 4687251"/>
              <a:gd name="connsiteX22506" fmla="*/ 2268322 w 8079933"/>
              <a:gd name="connsiteY22506" fmla="*/ 927012 h 4687251"/>
              <a:gd name="connsiteX22507" fmla="*/ 2986487 w 8079933"/>
              <a:gd name="connsiteY22507" fmla="*/ 926038 h 4687251"/>
              <a:gd name="connsiteX22508" fmla="*/ 2987681 w 8079933"/>
              <a:gd name="connsiteY22508" fmla="*/ 927770 h 4687251"/>
              <a:gd name="connsiteX22509" fmla="*/ 2984209 w 8079933"/>
              <a:gd name="connsiteY22509" fmla="*/ 931018 h 4687251"/>
              <a:gd name="connsiteX22510" fmla="*/ 2982472 w 8079933"/>
              <a:gd name="connsiteY22510" fmla="*/ 937840 h 4687251"/>
              <a:gd name="connsiteX22511" fmla="*/ 2979433 w 8079933"/>
              <a:gd name="connsiteY22511" fmla="*/ 940114 h 4687251"/>
              <a:gd name="connsiteX22512" fmla="*/ 2977697 w 8079933"/>
              <a:gd name="connsiteY22512" fmla="*/ 938056 h 4687251"/>
              <a:gd name="connsiteX22513" fmla="*/ 2978999 w 8079933"/>
              <a:gd name="connsiteY22513" fmla="*/ 933401 h 4687251"/>
              <a:gd name="connsiteX22514" fmla="*/ 2978674 w 8079933"/>
              <a:gd name="connsiteY22514" fmla="*/ 930477 h 4687251"/>
              <a:gd name="connsiteX22515" fmla="*/ 2976178 w 8079933"/>
              <a:gd name="connsiteY22515" fmla="*/ 930910 h 4687251"/>
              <a:gd name="connsiteX22516" fmla="*/ 2976178 w 8079933"/>
              <a:gd name="connsiteY22516" fmla="*/ 929395 h 4687251"/>
              <a:gd name="connsiteX22517" fmla="*/ 2979759 w 8079933"/>
              <a:gd name="connsiteY22517" fmla="*/ 926254 h 4687251"/>
              <a:gd name="connsiteX22518" fmla="*/ 2984100 w 8079933"/>
              <a:gd name="connsiteY22518" fmla="*/ 926579 h 4687251"/>
              <a:gd name="connsiteX22519" fmla="*/ 4355859 w 8079933"/>
              <a:gd name="connsiteY22519" fmla="*/ 925713 h 4687251"/>
              <a:gd name="connsiteX22520" fmla="*/ 4356727 w 8079933"/>
              <a:gd name="connsiteY22520" fmla="*/ 928853 h 4687251"/>
              <a:gd name="connsiteX22521" fmla="*/ 4344356 w 8079933"/>
              <a:gd name="connsiteY22521" fmla="*/ 941304 h 4687251"/>
              <a:gd name="connsiteX22522" fmla="*/ 4341209 w 8079933"/>
              <a:gd name="connsiteY22522" fmla="*/ 941954 h 4687251"/>
              <a:gd name="connsiteX22523" fmla="*/ 4333613 w 8079933"/>
              <a:gd name="connsiteY22523" fmla="*/ 939680 h 4687251"/>
              <a:gd name="connsiteX22524" fmla="*/ 4331768 w 8079933"/>
              <a:gd name="connsiteY22524" fmla="*/ 934699 h 4687251"/>
              <a:gd name="connsiteX22525" fmla="*/ 4336000 w 8079933"/>
              <a:gd name="connsiteY22525" fmla="*/ 935674 h 4687251"/>
              <a:gd name="connsiteX22526" fmla="*/ 4340015 w 8079933"/>
              <a:gd name="connsiteY22526" fmla="*/ 932534 h 4687251"/>
              <a:gd name="connsiteX22527" fmla="*/ 4342837 w 8079933"/>
              <a:gd name="connsiteY22527" fmla="*/ 935782 h 4687251"/>
              <a:gd name="connsiteX22528" fmla="*/ 4345224 w 8079933"/>
              <a:gd name="connsiteY22528" fmla="*/ 931018 h 4687251"/>
              <a:gd name="connsiteX22529" fmla="*/ 4348263 w 8079933"/>
              <a:gd name="connsiteY22529" fmla="*/ 932750 h 4687251"/>
              <a:gd name="connsiteX22530" fmla="*/ 2512051 w 8079933"/>
              <a:gd name="connsiteY22530" fmla="*/ 922789 h 4687251"/>
              <a:gd name="connsiteX22531" fmla="*/ 2514547 w 8079933"/>
              <a:gd name="connsiteY22531" fmla="*/ 926579 h 4687251"/>
              <a:gd name="connsiteX22532" fmla="*/ 2513679 w 8079933"/>
              <a:gd name="connsiteY22532" fmla="*/ 932967 h 4687251"/>
              <a:gd name="connsiteX22533" fmla="*/ 2514547 w 8079933"/>
              <a:gd name="connsiteY22533" fmla="*/ 939788 h 4687251"/>
              <a:gd name="connsiteX22534" fmla="*/ 2512485 w 8079933"/>
              <a:gd name="connsiteY22534" fmla="*/ 940654 h 4687251"/>
              <a:gd name="connsiteX22535" fmla="*/ 2510098 w 8079933"/>
              <a:gd name="connsiteY22535" fmla="*/ 942387 h 4687251"/>
              <a:gd name="connsiteX22536" fmla="*/ 2509446 w 8079933"/>
              <a:gd name="connsiteY22536" fmla="*/ 939030 h 4687251"/>
              <a:gd name="connsiteX22537" fmla="*/ 2507710 w 8079933"/>
              <a:gd name="connsiteY22537" fmla="*/ 936864 h 4687251"/>
              <a:gd name="connsiteX22538" fmla="*/ 2506951 w 8079933"/>
              <a:gd name="connsiteY22538" fmla="*/ 932425 h 4687251"/>
              <a:gd name="connsiteX22539" fmla="*/ 2509338 w 8079933"/>
              <a:gd name="connsiteY22539" fmla="*/ 927553 h 4687251"/>
              <a:gd name="connsiteX22540" fmla="*/ 2509664 w 8079933"/>
              <a:gd name="connsiteY22540" fmla="*/ 923547 h 4687251"/>
              <a:gd name="connsiteX22541" fmla="*/ 3434552 w 8079933"/>
              <a:gd name="connsiteY22541" fmla="*/ 918892 h 4687251"/>
              <a:gd name="connsiteX22542" fmla="*/ 3433249 w 8079933"/>
              <a:gd name="connsiteY22542" fmla="*/ 921382 h 4687251"/>
              <a:gd name="connsiteX22543" fmla="*/ 3430645 w 8079933"/>
              <a:gd name="connsiteY22543" fmla="*/ 922032 h 4687251"/>
              <a:gd name="connsiteX22544" fmla="*/ 3429126 w 8079933"/>
              <a:gd name="connsiteY22544" fmla="*/ 921490 h 4687251"/>
              <a:gd name="connsiteX22545" fmla="*/ 3431404 w 8079933"/>
              <a:gd name="connsiteY22545" fmla="*/ 919325 h 4687251"/>
              <a:gd name="connsiteX22546" fmla="*/ 4369856 w 8079933"/>
              <a:gd name="connsiteY22546" fmla="*/ 917160 h 4687251"/>
              <a:gd name="connsiteX22547" fmla="*/ 4372135 w 8079933"/>
              <a:gd name="connsiteY22547" fmla="*/ 919975 h 4687251"/>
              <a:gd name="connsiteX22548" fmla="*/ 4370724 w 8079933"/>
              <a:gd name="connsiteY22548" fmla="*/ 922357 h 4687251"/>
              <a:gd name="connsiteX22549" fmla="*/ 4368662 w 8079933"/>
              <a:gd name="connsiteY22549" fmla="*/ 923007 h 4687251"/>
              <a:gd name="connsiteX22550" fmla="*/ 4365624 w 8079933"/>
              <a:gd name="connsiteY22550" fmla="*/ 918243 h 4687251"/>
              <a:gd name="connsiteX22551" fmla="*/ 5192304 w 8079933"/>
              <a:gd name="connsiteY22551" fmla="*/ 915753 h 4687251"/>
              <a:gd name="connsiteX22552" fmla="*/ 5194583 w 8079933"/>
              <a:gd name="connsiteY22552" fmla="*/ 918351 h 4687251"/>
              <a:gd name="connsiteX22553" fmla="*/ 5194583 w 8079933"/>
              <a:gd name="connsiteY22553" fmla="*/ 921924 h 4687251"/>
              <a:gd name="connsiteX22554" fmla="*/ 5192413 w 8079933"/>
              <a:gd name="connsiteY22554" fmla="*/ 925173 h 4687251"/>
              <a:gd name="connsiteX22555" fmla="*/ 5189157 w 8079933"/>
              <a:gd name="connsiteY22555" fmla="*/ 924090 h 4687251"/>
              <a:gd name="connsiteX22556" fmla="*/ 5188072 w 8079933"/>
              <a:gd name="connsiteY22556" fmla="*/ 922032 h 4687251"/>
              <a:gd name="connsiteX22557" fmla="*/ 5189374 w 8079933"/>
              <a:gd name="connsiteY22557" fmla="*/ 919867 h 4687251"/>
              <a:gd name="connsiteX22558" fmla="*/ 5189374 w 8079933"/>
              <a:gd name="connsiteY22558" fmla="*/ 917594 h 4687251"/>
              <a:gd name="connsiteX22559" fmla="*/ 2439888 w 8079933"/>
              <a:gd name="connsiteY22559" fmla="*/ 914778 h 4687251"/>
              <a:gd name="connsiteX22560" fmla="*/ 2442168 w 8079933"/>
              <a:gd name="connsiteY22560" fmla="*/ 915644 h 4687251"/>
              <a:gd name="connsiteX22561" fmla="*/ 2444772 w 8079933"/>
              <a:gd name="connsiteY22561" fmla="*/ 917592 h 4687251"/>
              <a:gd name="connsiteX22562" fmla="*/ 2443687 w 8079933"/>
              <a:gd name="connsiteY22562" fmla="*/ 920516 h 4687251"/>
              <a:gd name="connsiteX22563" fmla="*/ 2443144 w 8079933"/>
              <a:gd name="connsiteY22563" fmla="*/ 923655 h 4687251"/>
              <a:gd name="connsiteX22564" fmla="*/ 2439346 w 8079933"/>
              <a:gd name="connsiteY22564" fmla="*/ 923981 h 4687251"/>
              <a:gd name="connsiteX22565" fmla="*/ 2439346 w 8079933"/>
              <a:gd name="connsiteY22565" fmla="*/ 921490 h 4687251"/>
              <a:gd name="connsiteX22566" fmla="*/ 2441191 w 8079933"/>
              <a:gd name="connsiteY22566" fmla="*/ 919325 h 4687251"/>
              <a:gd name="connsiteX22567" fmla="*/ 3465152 w 8079933"/>
              <a:gd name="connsiteY22567" fmla="*/ 911639 h 4687251"/>
              <a:gd name="connsiteX22568" fmla="*/ 3468951 w 8079933"/>
              <a:gd name="connsiteY22568" fmla="*/ 911855 h 4687251"/>
              <a:gd name="connsiteX22569" fmla="*/ 3470904 w 8079933"/>
              <a:gd name="connsiteY22569" fmla="*/ 916294 h 4687251"/>
              <a:gd name="connsiteX22570" fmla="*/ 3474268 w 8079933"/>
              <a:gd name="connsiteY22570" fmla="*/ 919434 h 4687251"/>
              <a:gd name="connsiteX22571" fmla="*/ 3473833 w 8079933"/>
              <a:gd name="connsiteY22571" fmla="*/ 932318 h 4687251"/>
              <a:gd name="connsiteX22572" fmla="*/ 3468082 w 8079933"/>
              <a:gd name="connsiteY22572" fmla="*/ 936649 h 4687251"/>
              <a:gd name="connsiteX22573" fmla="*/ 3465478 w 8079933"/>
              <a:gd name="connsiteY22573" fmla="*/ 935891 h 4687251"/>
              <a:gd name="connsiteX22574" fmla="*/ 3460052 w 8079933"/>
              <a:gd name="connsiteY22574" fmla="*/ 938057 h 4687251"/>
              <a:gd name="connsiteX22575" fmla="*/ 3454843 w 8079933"/>
              <a:gd name="connsiteY22575" fmla="*/ 934917 h 4687251"/>
              <a:gd name="connsiteX22576" fmla="*/ 3450394 w 8079933"/>
              <a:gd name="connsiteY22576" fmla="*/ 935891 h 4687251"/>
              <a:gd name="connsiteX22577" fmla="*/ 3447247 w 8079933"/>
              <a:gd name="connsiteY22577" fmla="*/ 939248 h 4687251"/>
              <a:gd name="connsiteX22578" fmla="*/ 3436938 w 8079933"/>
              <a:gd name="connsiteY22578" fmla="*/ 936974 h 4687251"/>
              <a:gd name="connsiteX22579" fmla="*/ 3426412 w 8079933"/>
              <a:gd name="connsiteY22579" fmla="*/ 939248 h 4687251"/>
              <a:gd name="connsiteX22580" fmla="*/ 3420769 w 8079933"/>
              <a:gd name="connsiteY22580" fmla="*/ 940114 h 4687251"/>
              <a:gd name="connsiteX22581" fmla="*/ 3419901 w 8079933"/>
              <a:gd name="connsiteY22581" fmla="*/ 937840 h 4687251"/>
              <a:gd name="connsiteX22582" fmla="*/ 3421637 w 8079933"/>
              <a:gd name="connsiteY22582" fmla="*/ 934592 h 4687251"/>
              <a:gd name="connsiteX22583" fmla="*/ 3422288 w 8079933"/>
              <a:gd name="connsiteY22583" fmla="*/ 931452 h 4687251"/>
              <a:gd name="connsiteX22584" fmla="*/ 3427497 w 8079933"/>
              <a:gd name="connsiteY22584" fmla="*/ 930586 h 4687251"/>
              <a:gd name="connsiteX22585" fmla="*/ 3430210 w 8079933"/>
              <a:gd name="connsiteY22585" fmla="*/ 925822 h 4687251"/>
              <a:gd name="connsiteX22586" fmla="*/ 3434876 w 8079933"/>
              <a:gd name="connsiteY22586" fmla="*/ 923549 h 4687251"/>
              <a:gd name="connsiteX22587" fmla="*/ 3438348 w 8079933"/>
              <a:gd name="connsiteY22587" fmla="*/ 919651 h 4687251"/>
              <a:gd name="connsiteX22588" fmla="*/ 3451262 w 8079933"/>
              <a:gd name="connsiteY22588" fmla="*/ 918027 h 4687251"/>
              <a:gd name="connsiteX22589" fmla="*/ 4380817 w 8079933"/>
              <a:gd name="connsiteY22589" fmla="*/ 909147 h 4687251"/>
              <a:gd name="connsiteX22590" fmla="*/ 4384181 w 8079933"/>
              <a:gd name="connsiteY22590" fmla="*/ 909147 h 4687251"/>
              <a:gd name="connsiteX22591" fmla="*/ 4382445 w 8079933"/>
              <a:gd name="connsiteY22591" fmla="*/ 912504 h 4687251"/>
              <a:gd name="connsiteX22592" fmla="*/ 4379189 w 8079933"/>
              <a:gd name="connsiteY22592" fmla="*/ 912504 h 4687251"/>
              <a:gd name="connsiteX22593" fmla="*/ 2279934 w 8079933"/>
              <a:gd name="connsiteY22593" fmla="*/ 908606 h 4687251"/>
              <a:gd name="connsiteX22594" fmla="*/ 2280694 w 8079933"/>
              <a:gd name="connsiteY22594" fmla="*/ 910014 h 4687251"/>
              <a:gd name="connsiteX22595" fmla="*/ 2280694 w 8079933"/>
              <a:gd name="connsiteY22595" fmla="*/ 914777 h 4687251"/>
              <a:gd name="connsiteX22596" fmla="*/ 2279609 w 8079933"/>
              <a:gd name="connsiteY22596" fmla="*/ 919649 h 4687251"/>
              <a:gd name="connsiteX22597" fmla="*/ 2279609 w 8079933"/>
              <a:gd name="connsiteY22597" fmla="*/ 924089 h 4687251"/>
              <a:gd name="connsiteX22598" fmla="*/ 2275702 w 8079933"/>
              <a:gd name="connsiteY22598" fmla="*/ 925496 h 4687251"/>
              <a:gd name="connsiteX22599" fmla="*/ 2269300 w 8079933"/>
              <a:gd name="connsiteY22599" fmla="*/ 925063 h 4687251"/>
              <a:gd name="connsiteX22600" fmla="*/ 2271579 w 8079933"/>
              <a:gd name="connsiteY22600" fmla="*/ 920949 h 4687251"/>
              <a:gd name="connsiteX22601" fmla="*/ 2271362 w 8079933"/>
              <a:gd name="connsiteY22601" fmla="*/ 916185 h 4687251"/>
              <a:gd name="connsiteX22602" fmla="*/ 2276679 w 8079933"/>
              <a:gd name="connsiteY22602" fmla="*/ 911530 h 4687251"/>
              <a:gd name="connsiteX22603" fmla="*/ 3472857 w 8079933"/>
              <a:gd name="connsiteY22603" fmla="*/ 907957 h 4687251"/>
              <a:gd name="connsiteX22604" fmla="*/ 3474919 w 8079933"/>
              <a:gd name="connsiteY22604" fmla="*/ 909473 h 4687251"/>
              <a:gd name="connsiteX22605" fmla="*/ 3475353 w 8079933"/>
              <a:gd name="connsiteY22605" fmla="*/ 912612 h 4687251"/>
              <a:gd name="connsiteX22606" fmla="*/ 3474160 w 8079933"/>
              <a:gd name="connsiteY22606" fmla="*/ 914236 h 4687251"/>
              <a:gd name="connsiteX22607" fmla="*/ 3472098 w 8079933"/>
              <a:gd name="connsiteY22607" fmla="*/ 912395 h 4687251"/>
              <a:gd name="connsiteX22608" fmla="*/ 3472315 w 8079933"/>
              <a:gd name="connsiteY22608" fmla="*/ 909473 h 4687251"/>
              <a:gd name="connsiteX22609" fmla="*/ 4397093 w 8079933"/>
              <a:gd name="connsiteY22609" fmla="*/ 906224 h 4687251"/>
              <a:gd name="connsiteX22610" fmla="*/ 4399806 w 8079933"/>
              <a:gd name="connsiteY22610" fmla="*/ 908497 h 4687251"/>
              <a:gd name="connsiteX22611" fmla="*/ 4403604 w 8079933"/>
              <a:gd name="connsiteY22611" fmla="*/ 909472 h 4687251"/>
              <a:gd name="connsiteX22612" fmla="*/ 4400565 w 8079933"/>
              <a:gd name="connsiteY22612" fmla="*/ 913370 h 4687251"/>
              <a:gd name="connsiteX22613" fmla="*/ 4406317 w 8079933"/>
              <a:gd name="connsiteY22613" fmla="*/ 913370 h 4687251"/>
              <a:gd name="connsiteX22614" fmla="*/ 4404255 w 8079933"/>
              <a:gd name="connsiteY22614" fmla="*/ 918783 h 4687251"/>
              <a:gd name="connsiteX22615" fmla="*/ 4399372 w 8079933"/>
              <a:gd name="connsiteY22615" fmla="*/ 919866 h 4687251"/>
              <a:gd name="connsiteX22616" fmla="*/ 4394271 w 8079933"/>
              <a:gd name="connsiteY22616" fmla="*/ 915860 h 4687251"/>
              <a:gd name="connsiteX22617" fmla="*/ 4389063 w 8079933"/>
              <a:gd name="connsiteY22617" fmla="*/ 915101 h 4687251"/>
              <a:gd name="connsiteX22618" fmla="*/ 4389388 w 8079933"/>
              <a:gd name="connsiteY22618" fmla="*/ 912720 h 4687251"/>
              <a:gd name="connsiteX22619" fmla="*/ 4391450 w 8079933"/>
              <a:gd name="connsiteY22619" fmla="*/ 910771 h 4687251"/>
              <a:gd name="connsiteX22620" fmla="*/ 4394271 w 8079933"/>
              <a:gd name="connsiteY22620" fmla="*/ 912070 h 4687251"/>
              <a:gd name="connsiteX22621" fmla="*/ 4396551 w 8079933"/>
              <a:gd name="connsiteY22621" fmla="*/ 910013 h 4687251"/>
              <a:gd name="connsiteX22622" fmla="*/ 2675261 w 8079933"/>
              <a:gd name="connsiteY22622" fmla="*/ 899620 h 4687251"/>
              <a:gd name="connsiteX22623" fmla="*/ 2678950 w 8079933"/>
              <a:gd name="connsiteY22623" fmla="*/ 900919 h 4687251"/>
              <a:gd name="connsiteX22624" fmla="*/ 2676455 w 8079933"/>
              <a:gd name="connsiteY22624" fmla="*/ 903518 h 4687251"/>
              <a:gd name="connsiteX22625" fmla="*/ 2673633 w 8079933"/>
              <a:gd name="connsiteY22625" fmla="*/ 903518 h 4687251"/>
              <a:gd name="connsiteX22626" fmla="*/ 2672765 w 8079933"/>
              <a:gd name="connsiteY22626" fmla="*/ 902326 h 4687251"/>
              <a:gd name="connsiteX22627" fmla="*/ 356586 w 8079933"/>
              <a:gd name="connsiteY22627" fmla="*/ 897671 h 4687251"/>
              <a:gd name="connsiteX22628" fmla="*/ 359299 w 8079933"/>
              <a:gd name="connsiteY22628" fmla="*/ 899620 h 4687251"/>
              <a:gd name="connsiteX22629" fmla="*/ 359518 w 8079933"/>
              <a:gd name="connsiteY22629" fmla="*/ 903734 h 4687251"/>
              <a:gd name="connsiteX22630" fmla="*/ 366027 w 8079933"/>
              <a:gd name="connsiteY22630" fmla="*/ 910554 h 4687251"/>
              <a:gd name="connsiteX22631" fmla="*/ 365160 w 8079933"/>
              <a:gd name="connsiteY22631" fmla="*/ 914453 h 4687251"/>
              <a:gd name="connsiteX22632" fmla="*/ 356479 w 8079933"/>
              <a:gd name="connsiteY22632" fmla="*/ 907740 h 4687251"/>
              <a:gd name="connsiteX22633" fmla="*/ 355611 w 8079933"/>
              <a:gd name="connsiteY22633" fmla="*/ 902976 h 4687251"/>
              <a:gd name="connsiteX22634" fmla="*/ 354093 w 8079933"/>
              <a:gd name="connsiteY22634" fmla="*/ 899511 h 4687251"/>
              <a:gd name="connsiteX22635" fmla="*/ 356586 w 8079933"/>
              <a:gd name="connsiteY22635" fmla="*/ 897671 h 4687251"/>
              <a:gd name="connsiteX22636" fmla="*/ 2921050 w 8079933"/>
              <a:gd name="connsiteY22636" fmla="*/ 896371 h 4687251"/>
              <a:gd name="connsiteX22637" fmla="*/ 2926260 w 8079933"/>
              <a:gd name="connsiteY22637" fmla="*/ 898428 h 4687251"/>
              <a:gd name="connsiteX22638" fmla="*/ 2933313 w 8079933"/>
              <a:gd name="connsiteY22638" fmla="*/ 899186 h 4687251"/>
              <a:gd name="connsiteX22639" fmla="*/ 2937762 w 8079933"/>
              <a:gd name="connsiteY22639" fmla="*/ 904166 h 4687251"/>
              <a:gd name="connsiteX22640" fmla="*/ 2945250 w 8079933"/>
              <a:gd name="connsiteY22640" fmla="*/ 905899 h 4687251"/>
              <a:gd name="connsiteX22641" fmla="*/ 2949699 w 8079933"/>
              <a:gd name="connsiteY22641" fmla="*/ 913586 h 4687251"/>
              <a:gd name="connsiteX22642" fmla="*/ 2952738 w 8079933"/>
              <a:gd name="connsiteY22642" fmla="*/ 924954 h 4687251"/>
              <a:gd name="connsiteX22643" fmla="*/ 2957295 w 8079933"/>
              <a:gd name="connsiteY22643" fmla="*/ 927011 h 4687251"/>
              <a:gd name="connsiteX22644" fmla="*/ 2961853 w 8079933"/>
              <a:gd name="connsiteY22644" fmla="*/ 927336 h 4687251"/>
              <a:gd name="connsiteX22645" fmla="*/ 2964675 w 8079933"/>
              <a:gd name="connsiteY22645" fmla="*/ 933399 h 4687251"/>
              <a:gd name="connsiteX22646" fmla="*/ 2966085 w 8079933"/>
              <a:gd name="connsiteY22646" fmla="*/ 940437 h 4687251"/>
              <a:gd name="connsiteX22647" fmla="*/ 2957730 w 8079933"/>
              <a:gd name="connsiteY22647" fmla="*/ 947583 h 4687251"/>
              <a:gd name="connsiteX22648" fmla="*/ 2950567 w 8079933"/>
              <a:gd name="connsiteY22648" fmla="*/ 947583 h 4687251"/>
              <a:gd name="connsiteX22649" fmla="*/ 2937762 w 8079933"/>
              <a:gd name="connsiteY22649" fmla="*/ 949856 h 4687251"/>
              <a:gd name="connsiteX22650" fmla="*/ 2934833 w 8079933"/>
              <a:gd name="connsiteY22650" fmla="*/ 952130 h 4687251"/>
              <a:gd name="connsiteX22651" fmla="*/ 2930600 w 8079933"/>
              <a:gd name="connsiteY22651" fmla="*/ 951264 h 4687251"/>
              <a:gd name="connsiteX22652" fmla="*/ 2929298 w 8079933"/>
              <a:gd name="connsiteY22652" fmla="*/ 947799 h 4687251"/>
              <a:gd name="connsiteX22653" fmla="*/ 2922244 w 8079933"/>
              <a:gd name="connsiteY22653" fmla="*/ 946933 h 4687251"/>
              <a:gd name="connsiteX22654" fmla="*/ 2919749 w 8079933"/>
              <a:gd name="connsiteY22654" fmla="*/ 944984 h 4687251"/>
              <a:gd name="connsiteX22655" fmla="*/ 2920074 w 8079933"/>
              <a:gd name="connsiteY22655" fmla="*/ 940762 h 4687251"/>
              <a:gd name="connsiteX22656" fmla="*/ 2922787 w 8079933"/>
              <a:gd name="connsiteY22656" fmla="*/ 940112 h 4687251"/>
              <a:gd name="connsiteX22657" fmla="*/ 2929515 w 8079933"/>
              <a:gd name="connsiteY22657" fmla="*/ 942603 h 4687251"/>
              <a:gd name="connsiteX22658" fmla="*/ 2933530 w 8079933"/>
              <a:gd name="connsiteY22658" fmla="*/ 942494 h 4687251"/>
              <a:gd name="connsiteX22659" fmla="*/ 2938847 w 8079933"/>
              <a:gd name="connsiteY22659" fmla="*/ 935781 h 4687251"/>
              <a:gd name="connsiteX22660" fmla="*/ 2931360 w 8079933"/>
              <a:gd name="connsiteY22660" fmla="*/ 940437 h 4687251"/>
              <a:gd name="connsiteX22661" fmla="*/ 2928321 w 8079933"/>
              <a:gd name="connsiteY22661" fmla="*/ 939354 h 4687251"/>
              <a:gd name="connsiteX22662" fmla="*/ 2926585 w 8079933"/>
              <a:gd name="connsiteY22662" fmla="*/ 937189 h 4687251"/>
              <a:gd name="connsiteX22663" fmla="*/ 2915191 w 8079933"/>
              <a:gd name="connsiteY22663" fmla="*/ 934374 h 4687251"/>
              <a:gd name="connsiteX22664" fmla="*/ 2913346 w 8079933"/>
              <a:gd name="connsiteY22664" fmla="*/ 930476 h 4687251"/>
              <a:gd name="connsiteX22665" fmla="*/ 2914756 w 8079933"/>
              <a:gd name="connsiteY22665" fmla="*/ 928744 h 4687251"/>
              <a:gd name="connsiteX22666" fmla="*/ 2918881 w 8079933"/>
              <a:gd name="connsiteY22666" fmla="*/ 927553 h 4687251"/>
              <a:gd name="connsiteX22667" fmla="*/ 2912478 w 8079933"/>
              <a:gd name="connsiteY22667" fmla="*/ 923872 h 4687251"/>
              <a:gd name="connsiteX22668" fmla="*/ 2913997 w 8079933"/>
              <a:gd name="connsiteY22668" fmla="*/ 920299 h 4687251"/>
              <a:gd name="connsiteX22669" fmla="*/ 2913997 w 8079933"/>
              <a:gd name="connsiteY22669" fmla="*/ 916726 h 4687251"/>
              <a:gd name="connsiteX22670" fmla="*/ 2918012 w 8079933"/>
              <a:gd name="connsiteY22670" fmla="*/ 914993 h 4687251"/>
              <a:gd name="connsiteX22671" fmla="*/ 2922461 w 8079933"/>
              <a:gd name="connsiteY22671" fmla="*/ 917701 h 4687251"/>
              <a:gd name="connsiteX22672" fmla="*/ 2920399 w 8079933"/>
              <a:gd name="connsiteY22672" fmla="*/ 913261 h 4687251"/>
              <a:gd name="connsiteX22673" fmla="*/ 2915191 w 8079933"/>
              <a:gd name="connsiteY22673" fmla="*/ 910338 h 4687251"/>
              <a:gd name="connsiteX22674" fmla="*/ 2915191 w 8079933"/>
              <a:gd name="connsiteY22674" fmla="*/ 904491 h 4687251"/>
              <a:gd name="connsiteX22675" fmla="*/ 2920725 w 8079933"/>
              <a:gd name="connsiteY22675" fmla="*/ 899294 h 4687251"/>
              <a:gd name="connsiteX22676" fmla="*/ 2670594 w 8079933"/>
              <a:gd name="connsiteY22676" fmla="*/ 895614 h 4687251"/>
              <a:gd name="connsiteX22677" fmla="*/ 2672005 w 8079933"/>
              <a:gd name="connsiteY22677" fmla="*/ 897779 h 4687251"/>
              <a:gd name="connsiteX22678" fmla="*/ 2668316 w 8079933"/>
              <a:gd name="connsiteY22678" fmla="*/ 902218 h 4687251"/>
              <a:gd name="connsiteX22679" fmla="*/ 2665168 w 8079933"/>
              <a:gd name="connsiteY22679" fmla="*/ 902435 h 4687251"/>
              <a:gd name="connsiteX22680" fmla="*/ 2663975 w 8079933"/>
              <a:gd name="connsiteY22680" fmla="*/ 900811 h 4687251"/>
              <a:gd name="connsiteX22681" fmla="*/ 2664083 w 8079933"/>
              <a:gd name="connsiteY22681" fmla="*/ 897779 h 4687251"/>
              <a:gd name="connsiteX22682" fmla="*/ 2668966 w 8079933"/>
              <a:gd name="connsiteY22682" fmla="*/ 897022 h 4687251"/>
              <a:gd name="connsiteX22683" fmla="*/ 7288304 w 8079933"/>
              <a:gd name="connsiteY22683" fmla="*/ 890633 h 4687251"/>
              <a:gd name="connsiteX22684" fmla="*/ 7289714 w 8079933"/>
              <a:gd name="connsiteY22684" fmla="*/ 892041 h 4687251"/>
              <a:gd name="connsiteX22685" fmla="*/ 7289606 w 8079933"/>
              <a:gd name="connsiteY22685" fmla="*/ 894855 h 4687251"/>
              <a:gd name="connsiteX22686" fmla="*/ 7287435 w 8079933"/>
              <a:gd name="connsiteY22686" fmla="*/ 897562 h 4687251"/>
              <a:gd name="connsiteX22687" fmla="*/ 7285808 w 8079933"/>
              <a:gd name="connsiteY22687" fmla="*/ 892690 h 4687251"/>
              <a:gd name="connsiteX22688" fmla="*/ 7287327 w 8079933"/>
              <a:gd name="connsiteY22688" fmla="*/ 891932 h 4687251"/>
              <a:gd name="connsiteX22689" fmla="*/ 358324 w 8079933"/>
              <a:gd name="connsiteY22689" fmla="*/ 890417 h 4687251"/>
              <a:gd name="connsiteX22690" fmla="*/ 359842 w 8079933"/>
              <a:gd name="connsiteY22690" fmla="*/ 893882 h 4687251"/>
              <a:gd name="connsiteX22691" fmla="*/ 357238 w 8079933"/>
              <a:gd name="connsiteY22691" fmla="*/ 894748 h 4687251"/>
              <a:gd name="connsiteX22692" fmla="*/ 356152 w 8079933"/>
              <a:gd name="connsiteY22692" fmla="*/ 892907 h 4687251"/>
              <a:gd name="connsiteX22693" fmla="*/ 2486224 w 8079933"/>
              <a:gd name="connsiteY22693" fmla="*/ 886952 h 4687251"/>
              <a:gd name="connsiteX22694" fmla="*/ 2488829 w 8079933"/>
              <a:gd name="connsiteY22694" fmla="*/ 887493 h 4687251"/>
              <a:gd name="connsiteX22695" fmla="*/ 2494146 w 8079933"/>
              <a:gd name="connsiteY22695" fmla="*/ 888035 h 4687251"/>
              <a:gd name="connsiteX22696" fmla="*/ 2495014 w 8079933"/>
              <a:gd name="connsiteY22696" fmla="*/ 893340 h 4687251"/>
              <a:gd name="connsiteX22697" fmla="*/ 2492952 w 8079933"/>
              <a:gd name="connsiteY22697" fmla="*/ 897238 h 4687251"/>
              <a:gd name="connsiteX22698" fmla="*/ 2490022 w 8079933"/>
              <a:gd name="connsiteY22698" fmla="*/ 897563 h 4687251"/>
              <a:gd name="connsiteX22699" fmla="*/ 2487093 w 8079933"/>
              <a:gd name="connsiteY22699" fmla="*/ 901569 h 4687251"/>
              <a:gd name="connsiteX22700" fmla="*/ 2483294 w 8079933"/>
              <a:gd name="connsiteY22700" fmla="*/ 900919 h 4687251"/>
              <a:gd name="connsiteX22701" fmla="*/ 2482101 w 8079933"/>
              <a:gd name="connsiteY22701" fmla="*/ 893989 h 4687251"/>
              <a:gd name="connsiteX22702" fmla="*/ 2483837 w 8079933"/>
              <a:gd name="connsiteY22702" fmla="*/ 892041 h 4687251"/>
              <a:gd name="connsiteX22703" fmla="*/ 2979758 w 8079933"/>
              <a:gd name="connsiteY22703" fmla="*/ 885545 h 4687251"/>
              <a:gd name="connsiteX22704" fmla="*/ 2982036 w 8079933"/>
              <a:gd name="connsiteY22704" fmla="*/ 886302 h 4687251"/>
              <a:gd name="connsiteX22705" fmla="*/ 2983990 w 8079933"/>
              <a:gd name="connsiteY22705" fmla="*/ 888793 h 4687251"/>
              <a:gd name="connsiteX22706" fmla="*/ 2982796 w 8079933"/>
              <a:gd name="connsiteY22706" fmla="*/ 891283 h 4687251"/>
              <a:gd name="connsiteX22707" fmla="*/ 2980626 w 8079933"/>
              <a:gd name="connsiteY22707" fmla="*/ 889226 h 4687251"/>
              <a:gd name="connsiteX22708" fmla="*/ 2922786 w 8079933"/>
              <a:gd name="connsiteY22708" fmla="*/ 884029 h 4687251"/>
              <a:gd name="connsiteX22709" fmla="*/ 2925390 w 8079933"/>
              <a:gd name="connsiteY22709" fmla="*/ 888793 h 4687251"/>
              <a:gd name="connsiteX22710" fmla="*/ 2924414 w 8079933"/>
              <a:gd name="connsiteY22710" fmla="*/ 891392 h 4687251"/>
              <a:gd name="connsiteX22711" fmla="*/ 2921158 w 8079933"/>
              <a:gd name="connsiteY22711" fmla="*/ 890417 h 4687251"/>
              <a:gd name="connsiteX22712" fmla="*/ 2918880 w 8079933"/>
              <a:gd name="connsiteY22712" fmla="*/ 886411 h 4687251"/>
              <a:gd name="connsiteX22713" fmla="*/ 2920398 w 8079933"/>
              <a:gd name="connsiteY22713" fmla="*/ 884137 h 4687251"/>
              <a:gd name="connsiteX22714" fmla="*/ 5020414 w 8079933"/>
              <a:gd name="connsiteY22714" fmla="*/ 883704 h 4687251"/>
              <a:gd name="connsiteX22715" fmla="*/ 5023669 w 8079933"/>
              <a:gd name="connsiteY22715" fmla="*/ 883920 h 4687251"/>
              <a:gd name="connsiteX22716" fmla="*/ 5029746 w 8079933"/>
              <a:gd name="connsiteY22716" fmla="*/ 888359 h 4687251"/>
              <a:gd name="connsiteX22717" fmla="*/ 5031266 w 8079933"/>
              <a:gd name="connsiteY22717" fmla="*/ 891608 h 4687251"/>
              <a:gd name="connsiteX22718" fmla="*/ 5036257 w 8079933"/>
              <a:gd name="connsiteY22718" fmla="*/ 894314 h 4687251"/>
              <a:gd name="connsiteX22719" fmla="*/ 5041466 w 8079933"/>
              <a:gd name="connsiteY22719" fmla="*/ 899620 h 4687251"/>
              <a:gd name="connsiteX22720" fmla="*/ 5046240 w 8079933"/>
              <a:gd name="connsiteY22720" fmla="*/ 900161 h 4687251"/>
              <a:gd name="connsiteX22721" fmla="*/ 5051774 w 8079933"/>
              <a:gd name="connsiteY22721" fmla="*/ 906332 h 4687251"/>
              <a:gd name="connsiteX22722" fmla="*/ 5060564 w 8079933"/>
              <a:gd name="connsiteY22722" fmla="*/ 911854 h 4687251"/>
              <a:gd name="connsiteX22723" fmla="*/ 5061758 w 8079933"/>
              <a:gd name="connsiteY22723" fmla="*/ 919433 h 4687251"/>
              <a:gd name="connsiteX22724" fmla="*/ 5059371 w 8079933"/>
              <a:gd name="connsiteY22724" fmla="*/ 924089 h 4687251"/>
              <a:gd name="connsiteX22725" fmla="*/ 5054379 w 8079933"/>
              <a:gd name="connsiteY22725" fmla="*/ 922681 h 4687251"/>
              <a:gd name="connsiteX22726" fmla="*/ 5051992 w 8079933"/>
              <a:gd name="connsiteY22726" fmla="*/ 925930 h 4687251"/>
              <a:gd name="connsiteX22727" fmla="*/ 5045806 w 8079933"/>
              <a:gd name="connsiteY22727" fmla="*/ 924955 h 4687251"/>
              <a:gd name="connsiteX22728" fmla="*/ 5042985 w 8079933"/>
              <a:gd name="connsiteY22728" fmla="*/ 922140 h 4687251"/>
              <a:gd name="connsiteX22729" fmla="*/ 5043853 w 8079933"/>
              <a:gd name="connsiteY22729" fmla="*/ 920083 h 4687251"/>
              <a:gd name="connsiteX22730" fmla="*/ 5042333 w 8079933"/>
              <a:gd name="connsiteY22730" fmla="*/ 914236 h 4687251"/>
              <a:gd name="connsiteX22731" fmla="*/ 5040923 w 8079933"/>
              <a:gd name="connsiteY22731" fmla="*/ 912396 h 4687251"/>
              <a:gd name="connsiteX22732" fmla="*/ 5036800 w 8079933"/>
              <a:gd name="connsiteY22732" fmla="*/ 912937 h 4687251"/>
              <a:gd name="connsiteX22733" fmla="*/ 5033327 w 8079933"/>
              <a:gd name="connsiteY22733" fmla="*/ 911313 h 4687251"/>
              <a:gd name="connsiteX22734" fmla="*/ 5033002 w 8079933"/>
              <a:gd name="connsiteY22734" fmla="*/ 916726 h 4687251"/>
              <a:gd name="connsiteX22735" fmla="*/ 5030722 w 8079933"/>
              <a:gd name="connsiteY22735" fmla="*/ 916402 h 4687251"/>
              <a:gd name="connsiteX22736" fmla="*/ 5027684 w 8079933"/>
              <a:gd name="connsiteY22736" fmla="*/ 912071 h 4687251"/>
              <a:gd name="connsiteX22737" fmla="*/ 5023018 w 8079933"/>
              <a:gd name="connsiteY22737" fmla="*/ 909473 h 4687251"/>
              <a:gd name="connsiteX22738" fmla="*/ 5014771 w 8079933"/>
              <a:gd name="connsiteY22738" fmla="*/ 900161 h 4687251"/>
              <a:gd name="connsiteX22739" fmla="*/ 5013035 w 8079933"/>
              <a:gd name="connsiteY22739" fmla="*/ 896263 h 4687251"/>
              <a:gd name="connsiteX22740" fmla="*/ 5014880 w 8079933"/>
              <a:gd name="connsiteY22740" fmla="*/ 895938 h 4687251"/>
              <a:gd name="connsiteX22741" fmla="*/ 5018352 w 8079933"/>
              <a:gd name="connsiteY22741" fmla="*/ 898861 h 4687251"/>
              <a:gd name="connsiteX22742" fmla="*/ 5020740 w 8079933"/>
              <a:gd name="connsiteY22742" fmla="*/ 897996 h 4687251"/>
              <a:gd name="connsiteX22743" fmla="*/ 5021608 w 8079933"/>
              <a:gd name="connsiteY22743" fmla="*/ 895722 h 4687251"/>
              <a:gd name="connsiteX22744" fmla="*/ 5017701 w 8079933"/>
              <a:gd name="connsiteY22744" fmla="*/ 895073 h 4687251"/>
              <a:gd name="connsiteX22745" fmla="*/ 5014880 w 8079933"/>
              <a:gd name="connsiteY22745" fmla="*/ 891067 h 4687251"/>
              <a:gd name="connsiteX22746" fmla="*/ 5018243 w 8079933"/>
              <a:gd name="connsiteY22746" fmla="*/ 888359 h 4687251"/>
              <a:gd name="connsiteX22747" fmla="*/ 5017810 w 8079933"/>
              <a:gd name="connsiteY22747" fmla="*/ 885761 h 4687251"/>
              <a:gd name="connsiteX22748" fmla="*/ 2463436 w 8079933"/>
              <a:gd name="connsiteY22748" fmla="*/ 881647 h 4687251"/>
              <a:gd name="connsiteX22749" fmla="*/ 2465715 w 8079933"/>
              <a:gd name="connsiteY22749" fmla="*/ 882838 h 4687251"/>
              <a:gd name="connsiteX22750" fmla="*/ 2466040 w 8079933"/>
              <a:gd name="connsiteY22750" fmla="*/ 887494 h 4687251"/>
              <a:gd name="connsiteX22751" fmla="*/ 2462134 w 8079933"/>
              <a:gd name="connsiteY22751" fmla="*/ 890741 h 4687251"/>
              <a:gd name="connsiteX22752" fmla="*/ 2458119 w 8079933"/>
              <a:gd name="connsiteY22752" fmla="*/ 894639 h 4687251"/>
              <a:gd name="connsiteX22753" fmla="*/ 2455732 w 8079933"/>
              <a:gd name="connsiteY22753" fmla="*/ 894639 h 4687251"/>
              <a:gd name="connsiteX22754" fmla="*/ 2453778 w 8079933"/>
              <a:gd name="connsiteY22754" fmla="*/ 897996 h 4687251"/>
              <a:gd name="connsiteX22755" fmla="*/ 2444880 w 8079933"/>
              <a:gd name="connsiteY22755" fmla="*/ 905359 h 4687251"/>
              <a:gd name="connsiteX22756" fmla="*/ 2441733 w 8079933"/>
              <a:gd name="connsiteY22756" fmla="*/ 905359 h 4687251"/>
              <a:gd name="connsiteX22757" fmla="*/ 2437284 w 8079933"/>
              <a:gd name="connsiteY22757" fmla="*/ 904276 h 4687251"/>
              <a:gd name="connsiteX22758" fmla="*/ 2435547 w 8079933"/>
              <a:gd name="connsiteY22758" fmla="*/ 905684 h 4687251"/>
              <a:gd name="connsiteX22759" fmla="*/ 2434137 w 8079933"/>
              <a:gd name="connsiteY22759" fmla="*/ 900378 h 4687251"/>
              <a:gd name="connsiteX22760" fmla="*/ 2437609 w 8079933"/>
              <a:gd name="connsiteY22760" fmla="*/ 897996 h 4687251"/>
              <a:gd name="connsiteX22761" fmla="*/ 2439345 w 8079933"/>
              <a:gd name="connsiteY22761" fmla="*/ 894206 h 4687251"/>
              <a:gd name="connsiteX22762" fmla="*/ 2442818 w 8079933"/>
              <a:gd name="connsiteY22762" fmla="*/ 892257 h 4687251"/>
              <a:gd name="connsiteX22763" fmla="*/ 2449003 w 8079933"/>
              <a:gd name="connsiteY22763" fmla="*/ 892474 h 4687251"/>
              <a:gd name="connsiteX22764" fmla="*/ 2452584 w 8079933"/>
              <a:gd name="connsiteY22764" fmla="*/ 890741 h 4687251"/>
              <a:gd name="connsiteX22765" fmla="*/ 2456708 w 8079933"/>
              <a:gd name="connsiteY22765" fmla="*/ 886302 h 4687251"/>
              <a:gd name="connsiteX22766" fmla="*/ 2458987 w 8079933"/>
              <a:gd name="connsiteY22766" fmla="*/ 886302 h 4687251"/>
              <a:gd name="connsiteX22767" fmla="*/ 2459855 w 8079933"/>
              <a:gd name="connsiteY22767" fmla="*/ 882513 h 4687251"/>
              <a:gd name="connsiteX22768" fmla="*/ 7285048 w 8079933"/>
              <a:gd name="connsiteY22768" fmla="*/ 880023 h 4687251"/>
              <a:gd name="connsiteX22769" fmla="*/ 7288304 w 8079933"/>
              <a:gd name="connsiteY22769" fmla="*/ 884570 h 4687251"/>
              <a:gd name="connsiteX22770" fmla="*/ 7288087 w 8079933"/>
              <a:gd name="connsiteY22770" fmla="*/ 886735 h 4687251"/>
              <a:gd name="connsiteX22771" fmla="*/ 7285916 w 8079933"/>
              <a:gd name="connsiteY22771" fmla="*/ 887386 h 4687251"/>
              <a:gd name="connsiteX22772" fmla="*/ 7280925 w 8079933"/>
              <a:gd name="connsiteY22772" fmla="*/ 882621 h 4687251"/>
              <a:gd name="connsiteX22773" fmla="*/ 7281901 w 8079933"/>
              <a:gd name="connsiteY22773" fmla="*/ 880348 h 4687251"/>
              <a:gd name="connsiteX22774" fmla="*/ 2976828 w 8079933"/>
              <a:gd name="connsiteY22774" fmla="*/ 874284 h 4687251"/>
              <a:gd name="connsiteX22775" fmla="*/ 2981169 w 8079933"/>
              <a:gd name="connsiteY22775" fmla="*/ 875908 h 4687251"/>
              <a:gd name="connsiteX22776" fmla="*/ 2982580 w 8079933"/>
              <a:gd name="connsiteY22776" fmla="*/ 880022 h 4687251"/>
              <a:gd name="connsiteX22777" fmla="*/ 2980301 w 8079933"/>
              <a:gd name="connsiteY22777" fmla="*/ 880022 h 4687251"/>
              <a:gd name="connsiteX22778" fmla="*/ 2975526 w 8079933"/>
              <a:gd name="connsiteY22778" fmla="*/ 876774 h 4687251"/>
              <a:gd name="connsiteX22779" fmla="*/ 2037942 w 8079933"/>
              <a:gd name="connsiteY22779" fmla="*/ 872011 h 4687251"/>
              <a:gd name="connsiteX22780" fmla="*/ 2042174 w 8079933"/>
              <a:gd name="connsiteY22780" fmla="*/ 872011 h 4687251"/>
              <a:gd name="connsiteX22781" fmla="*/ 2042174 w 8079933"/>
              <a:gd name="connsiteY22781" fmla="*/ 876125 h 4687251"/>
              <a:gd name="connsiteX22782" fmla="*/ 2039461 w 8079933"/>
              <a:gd name="connsiteY22782" fmla="*/ 877642 h 4687251"/>
              <a:gd name="connsiteX22783" fmla="*/ 2038050 w 8079933"/>
              <a:gd name="connsiteY22783" fmla="*/ 875801 h 4687251"/>
              <a:gd name="connsiteX22784" fmla="*/ 1840442 w 8079933"/>
              <a:gd name="connsiteY22784" fmla="*/ 869737 h 4687251"/>
              <a:gd name="connsiteX22785" fmla="*/ 1841853 w 8079933"/>
              <a:gd name="connsiteY22785" fmla="*/ 872335 h 4687251"/>
              <a:gd name="connsiteX22786" fmla="*/ 1840767 w 8079933"/>
              <a:gd name="connsiteY22786" fmla="*/ 875476 h 4687251"/>
              <a:gd name="connsiteX22787" fmla="*/ 1842721 w 8079933"/>
              <a:gd name="connsiteY22787" fmla="*/ 877533 h 4687251"/>
              <a:gd name="connsiteX22788" fmla="*/ 1841310 w 8079933"/>
              <a:gd name="connsiteY22788" fmla="*/ 880023 h 4687251"/>
              <a:gd name="connsiteX22789" fmla="*/ 1842721 w 8079933"/>
              <a:gd name="connsiteY22789" fmla="*/ 882947 h 4687251"/>
              <a:gd name="connsiteX22790" fmla="*/ 1839574 w 8079933"/>
              <a:gd name="connsiteY22790" fmla="*/ 884678 h 4687251"/>
              <a:gd name="connsiteX22791" fmla="*/ 1838597 w 8079933"/>
              <a:gd name="connsiteY22791" fmla="*/ 887494 h 4687251"/>
              <a:gd name="connsiteX22792" fmla="*/ 1836318 w 8079933"/>
              <a:gd name="connsiteY22792" fmla="*/ 888793 h 4687251"/>
              <a:gd name="connsiteX22793" fmla="*/ 1834799 w 8079933"/>
              <a:gd name="connsiteY22793" fmla="*/ 881214 h 4687251"/>
              <a:gd name="connsiteX22794" fmla="*/ 1836969 w 8079933"/>
              <a:gd name="connsiteY22794" fmla="*/ 878723 h 4687251"/>
              <a:gd name="connsiteX22795" fmla="*/ 1837404 w 8079933"/>
              <a:gd name="connsiteY22795" fmla="*/ 875043 h 4687251"/>
              <a:gd name="connsiteX22796" fmla="*/ 2401257 w 8079933"/>
              <a:gd name="connsiteY22796" fmla="*/ 869088 h 4687251"/>
              <a:gd name="connsiteX22797" fmla="*/ 2403861 w 8079933"/>
              <a:gd name="connsiteY22797" fmla="*/ 870820 h 4687251"/>
              <a:gd name="connsiteX22798" fmla="*/ 2403644 w 8079933"/>
              <a:gd name="connsiteY22798" fmla="*/ 873527 h 4687251"/>
              <a:gd name="connsiteX22799" fmla="*/ 2400605 w 8079933"/>
              <a:gd name="connsiteY22799" fmla="*/ 872228 h 4687251"/>
              <a:gd name="connsiteX22800" fmla="*/ 2398110 w 8079933"/>
              <a:gd name="connsiteY22800" fmla="*/ 872553 h 4687251"/>
              <a:gd name="connsiteX22801" fmla="*/ 2396482 w 8079933"/>
              <a:gd name="connsiteY22801" fmla="*/ 870387 h 4687251"/>
              <a:gd name="connsiteX22802" fmla="*/ 2397567 w 8079933"/>
              <a:gd name="connsiteY22802" fmla="*/ 869304 h 4687251"/>
              <a:gd name="connsiteX22803" fmla="*/ 2475048 w 8079933"/>
              <a:gd name="connsiteY22803" fmla="*/ 865623 h 4687251"/>
              <a:gd name="connsiteX22804" fmla="*/ 2477001 w 8079933"/>
              <a:gd name="connsiteY22804" fmla="*/ 868113 h 4687251"/>
              <a:gd name="connsiteX22805" fmla="*/ 2476567 w 8079933"/>
              <a:gd name="connsiteY22805" fmla="*/ 870278 h 4687251"/>
              <a:gd name="connsiteX22806" fmla="*/ 2472009 w 8079933"/>
              <a:gd name="connsiteY22806" fmla="*/ 872335 h 4687251"/>
              <a:gd name="connsiteX22807" fmla="*/ 2468103 w 8079933"/>
              <a:gd name="connsiteY22807" fmla="*/ 875367 h 4687251"/>
              <a:gd name="connsiteX22808" fmla="*/ 2464739 w 8079933"/>
              <a:gd name="connsiteY22808" fmla="*/ 875584 h 4687251"/>
              <a:gd name="connsiteX22809" fmla="*/ 2462460 w 8079933"/>
              <a:gd name="connsiteY22809" fmla="*/ 876125 h 4687251"/>
              <a:gd name="connsiteX22810" fmla="*/ 2465390 w 8079933"/>
              <a:gd name="connsiteY22810" fmla="*/ 873094 h 4687251"/>
              <a:gd name="connsiteX22811" fmla="*/ 2467886 w 8079933"/>
              <a:gd name="connsiteY22811" fmla="*/ 868871 h 4687251"/>
              <a:gd name="connsiteX22812" fmla="*/ 2471358 w 8079933"/>
              <a:gd name="connsiteY22812" fmla="*/ 868979 h 4687251"/>
              <a:gd name="connsiteX22813" fmla="*/ 2473312 w 8079933"/>
              <a:gd name="connsiteY22813" fmla="*/ 865948 h 4687251"/>
              <a:gd name="connsiteX22814" fmla="*/ 2400170 w 8079933"/>
              <a:gd name="connsiteY22814" fmla="*/ 864324 h 4687251"/>
              <a:gd name="connsiteX22815" fmla="*/ 2402341 w 8079933"/>
              <a:gd name="connsiteY22815" fmla="*/ 864649 h 4687251"/>
              <a:gd name="connsiteX22816" fmla="*/ 2401690 w 8079933"/>
              <a:gd name="connsiteY22816" fmla="*/ 866381 h 4687251"/>
              <a:gd name="connsiteX22817" fmla="*/ 2392792 w 8079933"/>
              <a:gd name="connsiteY22817" fmla="*/ 863025 h 4687251"/>
              <a:gd name="connsiteX22818" fmla="*/ 2395287 w 8079933"/>
              <a:gd name="connsiteY22818" fmla="*/ 864324 h 4687251"/>
              <a:gd name="connsiteX22819" fmla="*/ 2395830 w 8079933"/>
              <a:gd name="connsiteY22819" fmla="*/ 865948 h 4687251"/>
              <a:gd name="connsiteX22820" fmla="*/ 2395071 w 8079933"/>
              <a:gd name="connsiteY22820" fmla="*/ 867139 h 4687251"/>
              <a:gd name="connsiteX22821" fmla="*/ 1848038 w 8079933"/>
              <a:gd name="connsiteY22821" fmla="*/ 858261 h 4687251"/>
              <a:gd name="connsiteX22822" fmla="*/ 1850968 w 8079933"/>
              <a:gd name="connsiteY22822" fmla="*/ 858261 h 4687251"/>
              <a:gd name="connsiteX22823" fmla="*/ 1848689 w 8079933"/>
              <a:gd name="connsiteY22823" fmla="*/ 860859 h 4687251"/>
              <a:gd name="connsiteX22824" fmla="*/ 1850100 w 8079933"/>
              <a:gd name="connsiteY22824" fmla="*/ 862592 h 4687251"/>
              <a:gd name="connsiteX22825" fmla="*/ 1846627 w 8079933"/>
              <a:gd name="connsiteY22825" fmla="*/ 866815 h 4687251"/>
              <a:gd name="connsiteX22826" fmla="*/ 1844782 w 8079933"/>
              <a:gd name="connsiteY22826" fmla="*/ 866165 h 4687251"/>
              <a:gd name="connsiteX22827" fmla="*/ 1842829 w 8079933"/>
              <a:gd name="connsiteY22827" fmla="*/ 860102 h 4687251"/>
              <a:gd name="connsiteX22828" fmla="*/ 1845107 w 8079933"/>
              <a:gd name="connsiteY22828" fmla="*/ 859236 h 4687251"/>
              <a:gd name="connsiteX22829" fmla="*/ 1846519 w 8079933"/>
              <a:gd name="connsiteY22829" fmla="*/ 860968 h 4687251"/>
              <a:gd name="connsiteX22830" fmla="*/ 4897681 w 8079933"/>
              <a:gd name="connsiteY22830" fmla="*/ 856311 h 4687251"/>
              <a:gd name="connsiteX22831" fmla="*/ 4900828 w 8079933"/>
              <a:gd name="connsiteY22831" fmla="*/ 858043 h 4687251"/>
              <a:gd name="connsiteX22832" fmla="*/ 4901913 w 8079933"/>
              <a:gd name="connsiteY22832" fmla="*/ 861183 h 4687251"/>
              <a:gd name="connsiteX22833" fmla="*/ 4907230 w 8079933"/>
              <a:gd name="connsiteY22833" fmla="*/ 862915 h 4687251"/>
              <a:gd name="connsiteX22834" fmla="*/ 4908750 w 8079933"/>
              <a:gd name="connsiteY22834" fmla="*/ 866489 h 4687251"/>
              <a:gd name="connsiteX22835" fmla="*/ 4906579 w 8079933"/>
              <a:gd name="connsiteY22835" fmla="*/ 870278 h 4687251"/>
              <a:gd name="connsiteX22836" fmla="*/ 4908750 w 8079933"/>
              <a:gd name="connsiteY22836" fmla="*/ 873201 h 4687251"/>
              <a:gd name="connsiteX22837" fmla="*/ 4908424 w 8079933"/>
              <a:gd name="connsiteY22837" fmla="*/ 875909 h 4687251"/>
              <a:gd name="connsiteX22838" fmla="*/ 4906579 w 8079933"/>
              <a:gd name="connsiteY22838" fmla="*/ 875042 h 4687251"/>
              <a:gd name="connsiteX22839" fmla="*/ 4903107 w 8079933"/>
              <a:gd name="connsiteY22839" fmla="*/ 870062 h 4687251"/>
              <a:gd name="connsiteX22840" fmla="*/ 4899092 w 8079933"/>
              <a:gd name="connsiteY22840" fmla="*/ 869195 h 4687251"/>
              <a:gd name="connsiteX22841" fmla="*/ 4898766 w 8079933"/>
              <a:gd name="connsiteY22841" fmla="*/ 864973 h 4687251"/>
              <a:gd name="connsiteX22842" fmla="*/ 4895294 w 8079933"/>
              <a:gd name="connsiteY22842" fmla="*/ 863565 h 4687251"/>
              <a:gd name="connsiteX22843" fmla="*/ 4892907 w 8079933"/>
              <a:gd name="connsiteY22843" fmla="*/ 864431 h 4687251"/>
              <a:gd name="connsiteX22844" fmla="*/ 4889651 w 8079933"/>
              <a:gd name="connsiteY22844" fmla="*/ 862699 h 4687251"/>
              <a:gd name="connsiteX22845" fmla="*/ 4889000 w 8079933"/>
              <a:gd name="connsiteY22845" fmla="*/ 860101 h 4687251"/>
              <a:gd name="connsiteX22846" fmla="*/ 4892255 w 8079933"/>
              <a:gd name="connsiteY22846" fmla="*/ 856852 h 4687251"/>
              <a:gd name="connsiteX22847" fmla="*/ 2431424 w 8079933"/>
              <a:gd name="connsiteY22847" fmla="*/ 852847 h 4687251"/>
              <a:gd name="connsiteX22848" fmla="*/ 2435655 w 8079933"/>
              <a:gd name="connsiteY22848" fmla="*/ 853496 h 4687251"/>
              <a:gd name="connsiteX22849" fmla="*/ 2439128 w 8079933"/>
              <a:gd name="connsiteY22849" fmla="*/ 856745 h 4687251"/>
              <a:gd name="connsiteX22850" fmla="*/ 2445096 w 8079933"/>
              <a:gd name="connsiteY22850" fmla="*/ 857178 h 4687251"/>
              <a:gd name="connsiteX22851" fmla="*/ 2447375 w 8079933"/>
              <a:gd name="connsiteY22851" fmla="*/ 860318 h 4687251"/>
              <a:gd name="connsiteX22852" fmla="*/ 2444771 w 8079933"/>
              <a:gd name="connsiteY22852" fmla="*/ 862916 h 4687251"/>
              <a:gd name="connsiteX22853" fmla="*/ 2443034 w 8079933"/>
              <a:gd name="connsiteY22853" fmla="*/ 862916 h 4687251"/>
              <a:gd name="connsiteX22854" fmla="*/ 2439453 w 8079933"/>
              <a:gd name="connsiteY22854" fmla="*/ 863782 h 4687251"/>
              <a:gd name="connsiteX22855" fmla="*/ 2436523 w 8079933"/>
              <a:gd name="connsiteY22855" fmla="*/ 862592 h 4687251"/>
              <a:gd name="connsiteX22856" fmla="*/ 2436523 w 8079933"/>
              <a:gd name="connsiteY22856" fmla="*/ 865840 h 4687251"/>
              <a:gd name="connsiteX22857" fmla="*/ 2433810 w 8079933"/>
              <a:gd name="connsiteY22857" fmla="*/ 866923 h 4687251"/>
              <a:gd name="connsiteX22858" fmla="*/ 2432725 w 8079933"/>
              <a:gd name="connsiteY22858" fmla="*/ 864649 h 4687251"/>
              <a:gd name="connsiteX22859" fmla="*/ 2433377 w 8079933"/>
              <a:gd name="connsiteY22859" fmla="*/ 862592 h 4687251"/>
              <a:gd name="connsiteX22860" fmla="*/ 2432183 w 8079933"/>
              <a:gd name="connsiteY22860" fmla="*/ 861076 h 4687251"/>
              <a:gd name="connsiteX22861" fmla="*/ 2431206 w 8079933"/>
              <a:gd name="connsiteY22861" fmla="*/ 858694 h 4687251"/>
              <a:gd name="connsiteX22862" fmla="*/ 2427734 w 8079933"/>
              <a:gd name="connsiteY22862" fmla="*/ 857935 h 4687251"/>
              <a:gd name="connsiteX22863" fmla="*/ 2431424 w 8079933"/>
              <a:gd name="connsiteY22863" fmla="*/ 855337 h 4687251"/>
              <a:gd name="connsiteX22864" fmla="*/ 2968690 w 8079933"/>
              <a:gd name="connsiteY22864" fmla="*/ 851115 h 4687251"/>
              <a:gd name="connsiteX22865" fmla="*/ 2973139 w 8079933"/>
              <a:gd name="connsiteY22865" fmla="*/ 852847 h 4687251"/>
              <a:gd name="connsiteX22866" fmla="*/ 2973790 w 8079933"/>
              <a:gd name="connsiteY22866" fmla="*/ 857719 h 4687251"/>
              <a:gd name="connsiteX22867" fmla="*/ 2970209 w 8079933"/>
              <a:gd name="connsiteY22867" fmla="*/ 861617 h 4687251"/>
              <a:gd name="connsiteX22868" fmla="*/ 2965977 w 8079933"/>
              <a:gd name="connsiteY22868" fmla="*/ 862158 h 4687251"/>
              <a:gd name="connsiteX22869" fmla="*/ 2963915 w 8079933"/>
              <a:gd name="connsiteY22869" fmla="*/ 860426 h 4687251"/>
              <a:gd name="connsiteX22870" fmla="*/ 2965651 w 8079933"/>
              <a:gd name="connsiteY22870" fmla="*/ 852414 h 4687251"/>
              <a:gd name="connsiteX22871" fmla="*/ 2956970 w 8079933"/>
              <a:gd name="connsiteY22871" fmla="*/ 850574 h 4687251"/>
              <a:gd name="connsiteX22872" fmla="*/ 2955559 w 8079933"/>
              <a:gd name="connsiteY22872" fmla="*/ 857178 h 4687251"/>
              <a:gd name="connsiteX22873" fmla="*/ 2956102 w 8079933"/>
              <a:gd name="connsiteY22873" fmla="*/ 859994 h 4687251"/>
              <a:gd name="connsiteX22874" fmla="*/ 2952954 w 8079933"/>
              <a:gd name="connsiteY22874" fmla="*/ 863784 h 4687251"/>
              <a:gd name="connsiteX22875" fmla="*/ 2949048 w 8079933"/>
              <a:gd name="connsiteY22875" fmla="*/ 861617 h 4687251"/>
              <a:gd name="connsiteX22876" fmla="*/ 2948723 w 8079933"/>
              <a:gd name="connsiteY22876" fmla="*/ 856745 h 4687251"/>
              <a:gd name="connsiteX22877" fmla="*/ 2950676 w 8079933"/>
              <a:gd name="connsiteY22877" fmla="*/ 853605 h 4687251"/>
              <a:gd name="connsiteX22878" fmla="*/ 2484270 w 8079933"/>
              <a:gd name="connsiteY22878" fmla="*/ 850140 h 4687251"/>
              <a:gd name="connsiteX22879" fmla="*/ 2483076 w 8079933"/>
              <a:gd name="connsiteY22879" fmla="*/ 853605 h 4687251"/>
              <a:gd name="connsiteX22880" fmla="*/ 2481232 w 8079933"/>
              <a:gd name="connsiteY22880" fmla="*/ 854146 h 4687251"/>
              <a:gd name="connsiteX22881" fmla="*/ 2481991 w 8079933"/>
              <a:gd name="connsiteY22881" fmla="*/ 851115 h 4687251"/>
              <a:gd name="connsiteX22882" fmla="*/ 2383785 w 8079933"/>
              <a:gd name="connsiteY22882" fmla="*/ 846026 h 4687251"/>
              <a:gd name="connsiteX22883" fmla="*/ 2387474 w 8079933"/>
              <a:gd name="connsiteY22883" fmla="*/ 846026 h 4687251"/>
              <a:gd name="connsiteX22884" fmla="*/ 2387908 w 8079933"/>
              <a:gd name="connsiteY22884" fmla="*/ 847217 h 4687251"/>
              <a:gd name="connsiteX22885" fmla="*/ 2391489 w 8079933"/>
              <a:gd name="connsiteY22885" fmla="*/ 849274 h 4687251"/>
              <a:gd name="connsiteX22886" fmla="*/ 2391597 w 8079933"/>
              <a:gd name="connsiteY22886" fmla="*/ 851331 h 4687251"/>
              <a:gd name="connsiteX22887" fmla="*/ 2388993 w 8079933"/>
              <a:gd name="connsiteY22887" fmla="*/ 851764 h 4687251"/>
              <a:gd name="connsiteX22888" fmla="*/ 2387148 w 8079933"/>
              <a:gd name="connsiteY22888" fmla="*/ 849923 h 4687251"/>
              <a:gd name="connsiteX22889" fmla="*/ 2384218 w 8079933"/>
              <a:gd name="connsiteY22889" fmla="*/ 849490 h 4687251"/>
              <a:gd name="connsiteX22890" fmla="*/ 2382808 w 8079933"/>
              <a:gd name="connsiteY22890" fmla="*/ 848299 h 4687251"/>
              <a:gd name="connsiteX22891" fmla="*/ 2378576 w 8079933"/>
              <a:gd name="connsiteY22891" fmla="*/ 845701 h 4687251"/>
              <a:gd name="connsiteX22892" fmla="*/ 2379987 w 8079933"/>
              <a:gd name="connsiteY22892" fmla="*/ 848191 h 4687251"/>
              <a:gd name="connsiteX22893" fmla="*/ 2376406 w 8079933"/>
              <a:gd name="connsiteY22893" fmla="*/ 847109 h 4687251"/>
              <a:gd name="connsiteX22894" fmla="*/ 1835667 w 8079933"/>
              <a:gd name="connsiteY22894" fmla="*/ 843319 h 4687251"/>
              <a:gd name="connsiteX22895" fmla="*/ 1836860 w 8079933"/>
              <a:gd name="connsiteY22895" fmla="*/ 847217 h 4687251"/>
              <a:gd name="connsiteX22896" fmla="*/ 1835124 w 8079933"/>
              <a:gd name="connsiteY22896" fmla="*/ 847000 h 4687251"/>
              <a:gd name="connsiteX22897" fmla="*/ 1834582 w 8079933"/>
              <a:gd name="connsiteY22897" fmla="*/ 844294 h 4687251"/>
              <a:gd name="connsiteX22898" fmla="*/ 1832194 w 8079933"/>
              <a:gd name="connsiteY22898" fmla="*/ 843103 h 4687251"/>
              <a:gd name="connsiteX22899" fmla="*/ 1835341 w 8079933"/>
              <a:gd name="connsiteY22899" fmla="*/ 849166 h 4687251"/>
              <a:gd name="connsiteX22900" fmla="*/ 1832736 w 8079933"/>
              <a:gd name="connsiteY22900" fmla="*/ 847542 h 4687251"/>
              <a:gd name="connsiteX22901" fmla="*/ 1831001 w 8079933"/>
              <a:gd name="connsiteY22901" fmla="*/ 845160 h 4687251"/>
              <a:gd name="connsiteX22902" fmla="*/ 2365988 w 8079933"/>
              <a:gd name="connsiteY22902" fmla="*/ 841695 h 4687251"/>
              <a:gd name="connsiteX22903" fmla="*/ 2368701 w 8079933"/>
              <a:gd name="connsiteY22903" fmla="*/ 842778 h 4687251"/>
              <a:gd name="connsiteX22904" fmla="*/ 2371522 w 8079933"/>
              <a:gd name="connsiteY22904" fmla="*/ 842778 h 4687251"/>
              <a:gd name="connsiteX22905" fmla="*/ 2372282 w 8079933"/>
              <a:gd name="connsiteY22905" fmla="*/ 845376 h 4687251"/>
              <a:gd name="connsiteX22906" fmla="*/ 2370980 w 8079933"/>
              <a:gd name="connsiteY22906" fmla="*/ 846459 h 4687251"/>
              <a:gd name="connsiteX22907" fmla="*/ 2367941 w 8079933"/>
              <a:gd name="connsiteY22907" fmla="*/ 846351 h 4687251"/>
              <a:gd name="connsiteX22908" fmla="*/ 2227954 w 8079933"/>
              <a:gd name="connsiteY22908" fmla="*/ 841046 h 4687251"/>
              <a:gd name="connsiteX22909" fmla="*/ 2229473 w 8079933"/>
              <a:gd name="connsiteY22909" fmla="*/ 842995 h 4687251"/>
              <a:gd name="connsiteX22910" fmla="*/ 2229799 w 8079933"/>
              <a:gd name="connsiteY22910" fmla="*/ 849382 h 4687251"/>
              <a:gd name="connsiteX22911" fmla="*/ 2228605 w 8079933"/>
              <a:gd name="connsiteY22911" fmla="*/ 851223 h 4687251"/>
              <a:gd name="connsiteX22912" fmla="*/ 2227303 w 8079933"/>
              <a:gd name="connsiteY22912" fmla="*/ 849923 h 4687251"/>
              <a:gd name="connsiteX22913" fmla="*/ 2227411 w 8079933"/>
              <a:gd name="connsiteY22913" fmla="*/ 847650 h 4687251"/>
              <a:gd name="connsiteX22914" fmla="*/ 2225350 w 8079933"/>
              <a:gd name="connsiteY22914" fmla="*/ 845160 h 4687251"/>
              <a:gd name="connsiteX22915" fmla="*/ 2226869 w 8079933"/>
              <a:gd name="connsiteY22915" fmla="*/ 842020 h 4687251"/>
              <a:gd name="connsiteX22916" fmla="*/ 2233489 w 8079933"/>
              <a:gd name="connsiteY22916" fmla="*/ 839746 h 4687251"/>
              <a:gd name="connsiteX22917" fmla="*/ 2235659 w 8079933"/>
              <a:gd name="connsiteY22917" fmla="*/ 841262 h 4687251"/>
              <a:gd name="connsiteX22918" fmla="*/ 2235442 w 8079933"/>
              <a:gd name="connsiteY22918" fmla="*/ 845051 h 4687251"/>
              <a:gd name="connsiteX22919" fmla="*/ 2234248 w 8079933"/>
              <a:gd name="connsiteY22919" fmla="*/ 845160 h 4687251"/>
              <a:gd name="connsiteX22920" fmla="*/ 2231535 w 8079933"/>
              <a:gd name="connsiteY22920" fmla="*/ 847650 h 4687251"/>
              <a:gd name="connsiteX22921" fmla="*/ 2231210 w 8079933"/>
              <a:gd name="connsiteY22921" fmla="*/ 841803 h 4687251"/>
              <a:gd name="connsiteX22922" fmla="*/ 2966954 w 8079933"/>
              <a:gd name="connsiteY22922" fmla="*/ 833574 h 4687251"/>
              <a:gd name="connsiteX22923" fmla="*/ 2970100 w 8079933"/>
              <a:gd name="connsiteY22923" fmla="*/ 835631 h 4687251"/>
              <a:gd name="connsiteX22924" fmla="*/ 2974007 w 8079933"/>
              <a:gd name="connsiteY22924" fmla="*/ 835847 h 4687251"/>
              <a:gd name="connsiteX22925" fmla="*/ 2973899 w 8079933"/>
              <a:gd name="connsiteY22925" fmla="*/ 837688 h 4687251"/>
              <a:gd name="connsiteX22926" fmla="*/ 2970317 w 8079933"/>
              <a:gd name="connsiteY22926" fmla="*/ 838988 h 4687251"/>
              <a:gd name="connsiteX22927" fmla="*/ 2966845 w 8079933"/>
              <a:gd name="connsiteY22927" fmla="*/ 842560 h 4687251"/>
              <a:gd name="connsiteX22928" fmla="*/ 2963589 w 8079933"/>
              <a:gd name="connsiteY22928" fmla="*/ 842452 h 4687251"/>
              <a:gd name="connsiteX22929" fmla="*/ 2962504 w 8079933"/>
              <a:gd name="connsiteY22929" fmla="*/ 839204 h 4687251"/>
              <a:gd name="connsiteX22930" fmla="*/ 2963697 w 8079933"/>
              <a:gd name="connsiteY22930" fmla="*/ 835739 h 4687251"/>
              <a:gd name="connsiteX22931" fmla="*/ 1829590 w 8079933"/>
              <a:gd name="connsiteY22931" fmla="*/ 827295 h 4687251"/>
              <a:gd name="connsiteX22932" fmla="*/ 1832520 w 8079933"/>
              <a:gd name="connsiteY22932" fmla="*/ 827944 h 4687251"/>
              <a:gd name="connsiteX22933" fmla="*/ 1833280 w 8079933"/>
              <a:gd name="connsiteY22933" fmla="*/ 829894 h 4687251"/>
              <a:gd name="connsiteX22934" fmla="*/ 1828071 w 8079933"/>
              <a:gd name="connsiteY22934" fmla="*/ 830002 h 4687251"/>
              <a:gd name="connsiteX22935" fmla="*/ 1992691 w 8079933"/>
              <a:gd name="connsiteY22935" fmla="*/ 826645 h 4687251"/>
              <a:gd name="connsiteX22936" fmla="*/ 1993558 w 8079933"/>
              <a:gd name="connsiteY22936" fmla="*/ 827511 h 4687251"/>
              <a:gd name="connsiteX22937" fmla="*/ 1992799 w 8079933"/>
              <a:gd name="connsiteY22937" fmla="*/ 830326 h 4687251"/>
              <a:gd name="connsiteX22938" fmla="*/ 1993124 w 8079933"/>
              <a:gd name="connsiteY22938" fmla="*/ 832924 h 4687251"/>
              <a:gd name="connsiteX22939" fmla="*/ 1992148 w 8079933"/>
              <a:gd name="connsiteY22939" fmla="*/ 835739 h 4687251"/>
              <a:gd name="connsiteX22940" fmla="*/ 1988458 w 8079933"/>
              <a:gd name="connsiteY22940" fmla="*/ 837905 h 4687251"/>
              <a:gd name="connsiteX22941" fmla="*/ 1986180 w 8079933"/>
              <a:gd name="connsiteY22941" fmla="*/ 836497 h 4687251"/>
              <a:gd name="connsiteX22942" fmla="*/ 1983033 w 8079933"/>
              <a:gd name="connsiteY22942" fmla="*/ 832383 h 4687251"/>
              <a:gd name="connsiteX22943" fmla="*/ 1984010 w 8079933"/>
              <a:gd name="connsiteY22943" fmla="*/ 830326 h 4687251"/>
              <a:gd name="connsiteX22944" fmla="*/ 1988675 w 8079933"/>
              <a:gd name="connsiteY22944" fmla="*/ 830542 h 4687251"/>
              <a:gd name="connsiteX22945" fmla="*/ 1989326 w 8079933"/>
              <a:gd name="connsiteY22945" fmla="*/ 828918 h 4687251"/>
              <a:gd name="connsiteX22946" fmla="*/ 1846084 w 8079933"/>
              <a:gd name="connsiteY22946" fmla="*/ 820799 h 4687251"/>
              <a:gd name="connsiteX22947" fmla="*/ 1849556 w 8079933"/>
              <a:gd name="connsiteY22947" fmla="*/ 820799 h 4687251"/>
              <a:gd name="connsiteX22948" fmla="*/ 1846518 w 8079933"/>
              <a:gd name="connsiteY22948" fmla="*/ 823072 h 4687251"/>
              <a:gd name="connsiteX22949" fmla="*/ 1843805 w 8079933"/>
              <a:gd name="connsiteY22949" fmla="*/ 823072 h 4687251"/>
              <a:gd name="connsiteX22950" fmla="*/ 2032734 w 8079933"/>
              <a:gd name="connsiteY22950" fmla="*/ 817551 h 4687251"/>
              <a:gd name="connsiteX22951" fmla="*/ 2035664 w 8079933"/>
              <a:gd name="connsiteY22951" fmla="*/ 818092 h 4687251"/>
              <a:gd name="connsiteX22952" fmla="*/ 2035772 w 8079933"/>
              <a:gd name="connsiteY22952" fmla="*/ 820799 h 4687251"/>
              <a:gd name="connsiteX22953" fmla="*/ 2038919 w 8079933"/>
              <a:gd name="connsiteY22953" fmla="*/ 824697 h 4687251"/>
              <a:gd name="connsiteX22954" fmla="*/ 2036206 w 8079933"/>
              <a:gd name="connsiteY22954" fmla="*/ 829461 h 4687251"/>
              <a:gd name="connsiteX22955" fmla="*/ 2031757 w 8079933"/>
              <a:gd name="connsiteY22955" fmla="*/ 832059 h 4687251"/>
              <a:gd name="connsiteX22956" fmla="*/ 2031106 w 8079933"/>
              <a:gd name="connsiteY22956" fmla="*/ 834766 h 4687251"/>
              <a:gd name="connsiteX22957" fmla="*/ 2029261 w 8079933"/>
              <a:gd name="connsiteY22957" fmla="*/ 837149 h 4687251"/>
              <a:gd name="connsiteX22958" fmla="*/ 2026440 w 8079933"/>
              <a:gd name="connsiteY22958" fmla="*/ 832817 h 4687251"/>
              <a:gd name="connsiteX22959" fmla="*/ 2026331 w 8079933"/>
              <a:gd name="connsiteY22959" fmla="*/ 830219 h 4687251"/>
              <a:gd name="connsiteX22960" fmla="*/ 2030780 w 8079933"/>
              <a:gd name="connsiteY22960" fmla="*/ 823506 h 4687251"/>
              <a:gd name="connsiteX22961" fmla="*/ 2030563 w 8079933"/>
              <a:gd name="connsiteY22961" fmla="*/ 820149 h 4687251"/>
              <a:gd name="connsiteX22962" fmla="*/ 3502916 w 8079933"/>
              <a:gd name="connsiteY22962" fmla="*/ 817334 h 4687251"/>
              <a:gd name="connsiteX22963" fmla="*/ 3508125 w 8079933"/>
              <a:gd name="connsiteY22963" fmla="*/ 818092 h 4687251"/>
              <a:gd name="connsiteX22964" fmla="*/ 3510295 w 8079933"/>
              <a:gd name="connsiteY22964" fmla="*/ 819175 h 4687251"/>
              <a:gd name="connsiteX22965" fmla="*/ 3513876 w 8079933"/>
              <a:gd name="connsiteY22965" fmla="*/ 819066 h 4687251"/>
              <a:gd name="connsiteX22966" fmla="*/ 3519845 w 8079933"/>
              <a:gd name="connsiteY22966" fmla="*/ 822856 h 4687251"/>
              <a:gd name="connsiteX22967" fmla="*/ 3523968 w 8079933"/>
              <a:gd name="connsiteY22967" fmla="*/ 822748 h 4687251"/>
              <a:gd name="connsiteX22968" fmla="*/ 3526247 w 8079933"/>
              <a:gd name="connsiteY22968" fmla="*/ 823938 h 4687251"/>
              <a:gd name="connsiteX22969" fmla="*/ 3530045 w 8079933"/>
              <a:gd name="connsiteY22969" fmla="*/ 830651 h 4687251"/>
              <a:gd name="connsiteX22970" fmla="*/ 3541439 w 8079933"/>
              <a:gd name="connsiteY22970" fmla="*/ 835956 h 4687251"/>
              <a:gd name="connsiteX22971" fmla="*/ 3543501 w 8079933"/>
              <a:gd name="connsiteY22971" fmla="*/ 840503 h 4687251"/>
              <a:gd name="connsiteX22972" fmla="*/ 3542307 w 8079933"/>
              <a:gd name="connsiteY22972" fmla="*/ 842128 h 4687251"/>
              <a:gd name="connsiteX22973" fmla="*/ 3540680 w 8079933"/>
              <a:gd name="connsiteY22973" fmla="*/ 840612 h 4687251"/>
              <a:gd name="connsiteX22974" fmla="*/ 3535688 w 8079933"/>
              <a:gd name="connsiteY22974" fmla="*/ 840071 h 4687251"/>
              <a:gd name="connsiteX22975" fmla="*/ 3531890 w 8079933"/>
              <a:gd name="connsiteY22975" fmla="*/ 837148 h 4687251"/>
              <a:gd name="connsiteX22976" fmla="*/ 3529286 w 8079933"/>
              <a:gd name="connsiteY22976" fmla="*/ 836389 h 4687251"/>
              <a:gd name="connsiteX22977" fmla="*/ 3527875 w 8079933"/>
              <a:gd name="connsiteY22977" fmla="*/ 838555 h 4687251"/>
              <a:gd name="connsiteX22978" fmla="*/ 3526247 w 8079933"/>
              <a:gd name="connsiteY22978" fmla="*/ 839962 h 4687251"/>
              <a:gd name="connsiteX22979" fmla="*/ 3528743 w 8079933"/>
              <a:gd name="connsiteY22979" fmla="*/ 842994 h 4687251"/>
              <a:gd name="connsiteX22980" fmla="*/ 3530696 w 8079933"/>
              <a:gd name="connsiteY22980" fmla="*/ 842994 h 4687251"/>
              <a:gd name="connsiteX22981" fmla="*/ 3535688 w 8079933"/>
              <a:gd name="connsiteY22981" fmla="*/ 844943 h 4687251"/>
              <a:gd name="connsiteX22982" fmla="*/ 3538943 w 8079933"/>
              <a:gd name="connsiteY22982" fmla="*/ 849707 h 4687251"/>
              <a:gd name="connsiteX22983" fmla="*/ 3536339 w 8079933"/>
              <a:gd name="connsiteY22983" fmla="*/ 851656 h 4687251"/>
              <a:gd name="connsiteX22984" fmla="*/ 3536556 w 8079933"/>
              <a:gd name="connsiteY22984" fmla="*/ 854470 h 4687251"/>
              <a:gd name="connsiteX22985" fmla="*/ 3535470 w 8079933"/>
              <a:gd name="connsiteY22985" fmla="*/ 856203 h 4687251"/>
              <a:gd name="connsiteX22986" fmla="*/ 3530588 w 8079933"/>
              <a:gd name="connsiteY22986" fmla="*/ 854362 h 4687251"/>
              <a:gd name="connsiteX22987" fmla="*/ 3529503 w 8079933"/>
              <a:gd name="connsiteY22987" fmla="*/ 851872 h 4687251"/>
              <a:gd name="connsiteX22988" fmla="*/ 3526790 w 8079933"/>
              <a:gd name="connsiteY22988" fmla="*/ 851547 h 4687251"/>
              <a:gd name="connsiteX22989" fmla="*/ 3522231 w 8079933"/>
              <a:gd name="connsiteY22989" fmla="*/ 849382 h 4687251"/>
              <a:gd name="connsiteX22990" fmla="*/ 3518651 w 8079933"/>
              <a:gd name="connsiteY22990" fmla="*/ 844293 h 4687251"/>
              <a:gd name="connsiteX22991" fmla="*/ 3513225 w 8079933"/>
              <a:gd name="connsiteY22991" fmla="*/ 839854 h 4687251"/>
              <a:gd name="connsiteX22992" fmla="*/ 3507148 w 8079933"/>
              <a:gd name="connsiteY22992" fmla="*/ 838122 h 4687251"/>
              <a:gd name="connsiteX22993" fmla="*/ 3504978 w 8079933"/>
              <a:gd name="connsiteY22993" fmla="*/ 833142 h 4687251"/>
              <a:gd name="connsiteX22994" fmla="*/ 3501722 w 8079933"/>
              <a:gd name="connsiteY22994" fmla="*/ 827295 h 4687251"/>
              <a:gd name="connsiteX22995" fmla="*/ 3502048 w 8079933"/>
              <a:gd name="connsiteY22995" fmla="*/ 823722 h 4687251"/>
              <a:gd name="connsiteX22996" fmla="*/ 3500963 w 8079933"/>
              <a:gd name="connsiteY22996" fmla="*/ 822206 h 4687251"/>
              <a:gd name="connsiteX22997" fmla="*/ 3500963 w 8079933"/>
              <a:gd name="connsiteY22997" fmla="*/ 819066 h 4687251"/>
              <a:gd name="connsiteX22998" fmla="*/ 2616661 w 8079933"/>
              <a:gd name="connsiteY22998" fmla="*/ 814736 h 4687251"/>
              <a:gd name="connsiteX22999" fmla="*/ 2620242 w 8079933"/>
              <a:gd name="connsiteY22999" fmla="*/ 815818 h 4687251"/>
              <a:gd name="connsiteX23000" fmla="*/ 2621110 w 8079933"/>
              <a:gd name="connsiteY23000" fmla="*/ 819067 h 4687251"/>
              <a:gd name="connsiteX23001" fmla="*/ 2624257 w 8079933"/>
              <a:gd name="connsiteY23001" fmla="*/ 819067 h 4687251"/>
              <a:gd name="connsiteX23002" fmla="*/ 2626428 w 8079933"/>
              <a:gd name="connsiteY23002" fmla="*/ 821016 h 4687251"/>
              <a:gd name="connsiteX23003" fmla="*/ 2623715 w 8079933"/>
              <a:gd name="connsiteY23003" fmla="*/ 824697 h 4687251"/>
              <a:gd name="connsiteX23004" fmla="*/ 2619808 w 8079933"/>
              <a:gd name="connsiteY23004" fmla="*/ 825780 h 4687251"/>
              <a:gd name="connsiteX23005" fmla="*/ 2617855 w 8079933"/>
              <a:gd name="connsiteY23005" fmla="*/ 824481 h 4687251"/>
              <a:gd name="connsiteX23006" fmla="*/ 2615034 w 8079933"/>
              <a:gd name="connsiteY23006" fmla="*/ 825888 h 4687251"/>
              <a:gd name="connsiteX23007" fmla="*/ 2613514 w 8079933"/>
              <a:gd name="connsiteY23007" fmla="*/ 828271 h 4687251"/>
              <a:gd name="connsiteX23008" fmla="*/ 2611778 w 8079933"/>
              <a:gd name="connsiteY23008" fmla="*/ 827296 h 4687251"/>
              <a:gd name="connsiteX23009" fmla="*/ 2611778 w 8079933"/>
              <a:gd name="connsiteY23009" fmla="*/ 823614 h 4687251"/>
              <a:gd name="connsiteX23010" fmla="*/ 2610259 w 8079933"/>
              <a:gd name="connsiteY23010" fmla="*/ 821232 h 4687251"/>
              <a:gd name="connsiteX23011" fmla="*/ 2612538 w 8079933"/>
              <a:gd name="connsiteY23011" fmla="*/ 817334 h 4687251"/>
              <a:gd name="connsiteX23012" fmla="*/ 5479222 w 8079933"/>
              <a:gd name="connsiteY23012" fmla="*/ 814628 h 4687251"/>
              <a:gd name="connsiteX23013" fmla="*/ 5481067 w 8079933"/>
              <a:gd name="connsiteY23013" fmla="*/ 814953 h 4687251"/>
              <a:gd name="connsiteX23014" fmla="*/ 5482694 w 8079933"/>
              <a:gd name="connsiteY23014" fmla="*/ 818309 h 4687251"/>
              <a:gd name="connsiteX23015" fmla="*/ 5481610 w 8079933"/>
              <a:gd name="connsiteY23015" fmla="*/ 822857 h 4687251"/>
              <a:gd name="connsiteX23016" fmla="*/ 5479330 w 8079933"/>
              <a:gd name="connsiteY23016" fmla="*/ 819934 h 4687251"/>
              <a:gd name="connsiteX23017" fmla="*/ 3494344 w 8079933"/>
              <a:gd name="connsiteY23017" fmla="*/ 814195 h 4687251"/>
              <a:gd name="connsiteX23018" fmla="*/ 3492065 w 8079933"/>
              <a:gd name="connsiteY23018" fmla="*/ 817119 h 4687251"/>
              <a:gd name="connsiteX23019" fmla="*/ 3492391 w 8079933"/>
              <a:gd name="connsiteY23019" fmla="*/ 819934 h 4687251"/>
              <a:gd name="connsiteX23020" fmla="*/ 3490220 w 8079933"/>
              <a:gd name="connsiteY23020" fmla="*/ 821342 h 4687251"/>
              <a:gd name="connsiteX23021" fmla="*/ 3487942 w 8079933"/>
              <a:gd name="connsiteY23021" fmla="*/ 819717 h 4687251"/>
              <a:gd name="connsiteX23022" fmla="*/ 3488267 w 8079933"/>
              <a:gd name="connsiteY23022" fmla="*/ 816902 h 4687251"/>
              <a:gd name="connsiteX23023" fmla="*/ 2928322 w 8079933"/>
              <a:gd name="connsiteY23023" fmla="*/ 813870 h 4687251"/>
              <a:gd name="connsiteX23024" fmla="*/ 2931577 w 8079933"/>
              <a:gd name="connsiteY23024" fmla="*/ 816901 h 4687251"/>
              <a:gd name="connsiteX23025" fmla="*/ 2929950 w 8079933"/>
              <a:gd name="connsiteY23025" fmla="*/ 819176 h 4687251"/>
              <a:gd name="connsiteX23026" fmla="*/ 2927453 w 8079933"/>
              <a:gd name="connsiteY23026" fmla="*/ 818309 h 4687251"/>
              <a:gd name="connsiteX23027" fmla="*/ 2926260 w 8079933"/>
              <a:gd name="connsiteY23027" fmla="*/ 814303 h 4687251"/>
              <a:gd name="connsiteX23028" fmla="*/ 2310970 w 8079933"/>
              <a:gd name="connsiteY23028" fmla="*/ 813870 h 4687251"/>
              <a:gd name="connsiteX23029" fmla="*/ 2314768 w 8079933"/>
              <a:gd name="connsiteY23029" fmla="*/ 813870 h 4687251"/>
              <a:gd name="connsiteX23030" fmla="*/ 2317264 w 8079933"/>
              <a:gd name="connsiteY23030" fmla="*/ 817659 h 4687251"/>
              <a:gd name="connsiteX23031" fmla="*/ 2322256 w 8079933"/>
              <a:gd name="connsiteY23031" fmla="*/ 818525 h 4687251"/>
              <a:gd name="connsiteX23032" fmla="*/ 2323015 w 8079933"/>
              <a:gd name="connsiteY23032" fmla="*/ 822423 h 4687251"/>
              <a:gd name="connsiteX23033" fmla="*/ 2321496 w 8079933"/>
              <a:gd name="connsiteY23033" fmla="*/ 825129 h 4687251"/>
              <a:gd name="connsiteX23034" fmla="*/ 2318566 w 8079933"/>
              <a:gd name="connsiteY23034" fmla="*/ 825780 h 4687251"/>
              <a:gd name="connsiteX23035" fmla="*/ 2317264 w 8079933"/>
              <a:gd name="connsiteY23035" fmla="*/ 823614 h 4687251"/>
              <a:gd name="connsiteX23036" fmla="*/ 2313792 w 8079933"/>
              <a:gd name="connsiteY23036" fmla="*/ 823614 h 4687251"/>
              <a:gd name="connsiteX23037" fmla="*/ 2311079 w 8079933"/>
              <a:gd name="connsiteY23037" fmla="*/ 820907 h 4687251"/>
              <a:gd name="connsiteX23038" fmla="*/ 2310102 w 8079933"/>
              <a:gd name="connsiteY23038" fmla="*/ 822856 h 4687251"/>
              <a:gd name="connsiteX23039" fmla="*/ 2307172 w 8079933"/>
              <a:gd name="connsiteY23039" fmla="*/ 822207 h 4687251"/>
              <a:gd name="connsiteX23040" fmla="*/ 2307172 w 8079933"/>
              <a:gd name="connsiteY23040" fmla="*/ 818092 h 4687251"/>
              <a:gd name="connsiteX23041" fmla="*/ 2305219 w 8079933"/>
              <a:gd name="connsiteY23041" fmla="*/ 816576 h 4687251"/>
              <a:gd name="connsiteX23042" fmla="*/ 2310102 w 8079933"/>
              <a:gd name="connsiteY23042" fmla="*/ 815386 h 4687251"/>
              <a:gd name="connsiteX23043" fmla="*/ 2217537 w 8079933"/>
              <a:gd name="connsiteY23043" fmla="*/ 813328 h 4687251"/>
              <a:gd name="connsiteX23044" fmla="*/ 2220684 w 8079933"/>
              <a:gd name="connsiteY23044" fmla="*/ 813328 h 4687251"/>
              <a:gd name="connsiteX23045" fmla="*/ 2222528 w 8079933"/>
              <a:gd name="connsiteY23045" fmla="*/ 814627 h 4687251"/>
              <a:gd name="connsiteX23046" fmla="*/ 2221443 w 8079933"/>
              <a:gd name="connsiteY23046" fmla="*/ 816901 h 4687251"/>
              <a:gd name="connsiteX23047" fmla="*/ 2219381 w 8079933"/>
              <a:gd name="connsiteY23047" fmla="*/ 817009 h 4687251"/>
              <a:gd name="connsiteX23048" fmla="*/ 2216994 w 8079933"/>
              <a:gd name="connsiteY23048" fmla="*/ 817767 h 4687251"/>
              <a:gd name="connsiteX23049" fmla="*/ 2215801 w 8079933"/>
              <a:gd name="connsiteY23049" fmla="*/ 815601 h 4687251"/>
              <a:gd name="connsiteX23050" fmla="*/ 2137559 w 8079933"/>
              <a:gd name="connsiteY23050" fmla="*/ 812354 h 4687251"/>
              <a:gd name="connsiteX23051" fmla="*/ 2143202 w 8079933"/>
              <a:gd name="connsiteY23051" fmla="*/ 814303 h 4687251"/>
              <a:gd name="connsiteX23052" fmla="*/ 2143202 w 8079933"/>
              <a:gd name="connsiteY23052" fmla="*/ 818417 h 4687251"/>
              <a:gd name="connsiteX23053" fmla="*/ 2138536 w 8079933"/>
              <a:gd name="connsiteY23053" fmla="*/ 826104 h 4687251"/>
              <a:gd name="connsiteX23054" fmla="*/ 2135172 w 8079933"/>
              <a:gd name="connsiteY23054" fmla="*/ 827403 h 4687251"/>
              <a:gd name="connsiteX23055" fmla="*/ 2135823 w 8079933"/>
              <a:gd name="connsiteY23055" fmla="*/ 823831 h 4687251"/>
              <a:gd name="connsiteX23056" fmla="*/ 2135823 w 8079933"/>
              <a:gd name="connsiteY23056" fmla="*/ 819716 h 4687251"/>
              <a:gd name="connsiteX23057" fmla="*/ 2134087 w 8079933"/>
              <a:gd name="connsiteY23057" fmla="*/ 822098 h 4687251"/>
              <a:gd name="connsiteX23058" fmla="*/ 2133436 w 8079933"/>
              <a:gd name="connsiteY23058" fmla="*/ 824805 h 4687251"/>
              <a:gd name="connsiteX23059" fmla="*/ 2130289 w 8079933"/>
              <a:gd name="connsiteY23059" fmla="*/ 824805 h 4687251"/>
              <a:gd name="connsiteX23060" fmla="*/ 2132567 w 8079933"/>
              <a:gd name="connsiteY23060" fmla="*/ 817009 h 4687251"/>
              <a:gd name="connsiteX23061" fmla="*/ 2044886 w 8079933"/>
              <a:gd name="connsiteY23061" fmla="*/ 811921 h 4687251"/>
              <a:gd name="connsiteX23062" fmla="*/ 2047382 w 8079933"/>
              <a:gd name="connsiteY23062" fmla="*/ 816360 h 4687251"/>
              <a:gd name="connsiteX23063" fmla="*/ 2044995 w 8079933"/>
              <a:gd name="connsiteY23063" fmla="*/ 819284 h 4687251"/>
              <a:gd name="connsiteX23064" fmla="*/ 2044235 w 8079933"/>
              <a:gd name="connsiteY23064" fmla="*/ 823181 h 4687251"/>
              <a:gd name="connsiteX23065" fmla="*/ 2041957 w 8079933"/>
              <a:gd name="connsiteY23065" fmla="*/ 823940 h 4687251"/>
              <a:gd name="connsiteX23066" fmla="*/ 2041305 w 8079933"/>
              <a:gd name="connsiteY23066" fmla="*/ 820907 h 4687251"/>
              <a:gd name="connsiteX23067" fmla="*/ 2039678 w 8079933"/>
              <a:gd name="connsiteY23067" fmla="*/ 819176 h 4687251"/>
              <a:gd name="connsiteX23068" fmla="*/ 2042933 w 8079933"/>
              <a:gd name="connsiteY23068" fmla="*/ 812679 h 4687251"/>
              <a:gd name="connsiteX23069" fmla="*/ 3526031 w 8079933"/>
              <a:gd name="connsiteY23069" fmla="*/ 809539 h 4687251"/>
              <a:gd name="connsiteX23070" fmla="*/ 3532217 w 8079933"/>
              <a:gd name="connsiteY23070" fmla="*/ 809539 h 4687251"/>
              <a:gd name="connsiteX23071" fmla="*/ 3538185 w 8079933"/>
              <a:gd name="connsiteY23071" fmla="*/ 813220 h 4687251"/>
              <a:gd name="connsiteX23072" fmla="*/ 3542092 w 8079933"/>
              <a:gd name="connsiteY23072" fmla="*/ 813870 h 4687251"/>
              <a:gd name="connsiteX23073" fmla="*/ 3547734 w 8079933"/>
              <a:gd name="connsiteY23073" fmla="*/ 818092 h 4687251"/>
              <a:gd name="connsiteX23074" fmla="*/ 3544696 w 8079933"/>
              <a:gd name="connsiteY23074" fmla="*/ 819500 h 4687251"/>
              <a:gd name="connsiteX23075" fmla="*/ 3543611 w 8079933"/>
              <a:gd name="connsiteY23075" fmla="*/ 822748 h 4687251"/>
              <a:gd name="connsiteX23076" fmla="*/ 3545022 w 8079933"/>
              <a:gd name="connsiteY23076" fmla="*/ 824914 h 4687251"/>
              <a:gd name="connsiteX23077" fmla="*/ 3545022 w 8079933"/>
              <a:gd name="connsiteY23077" fmla="*/ 827512 h 4687251"/>
              <a:gd name="connsiteX23078" fmla="*/ 3541766 w 8079933"/>
              <a:gd name="connsiteY23078" fmla="*/ 828378 h 4687251"/>
              <a:gd name="connsiteX23079" fmla="*/ 3539053 w 8079933"/>
              <a:gd name="connsiteY23079" fmla="*/ 827296 h 4687251"/>
              <a:gd name="connsiteX23080" fmla="*/ 3534604 w 8079933"/>
              <a:gd name="connsiteY23080" fmla="*/ 827296 h 4687251"/>
              <a:gd name="connsiteX23081" fmla="*/ 3531891 w 8079933"/>
              <a:gd name="connsiteY23081" fmla="*/ 825347 h 4687251"/>
              <a:gd name="connsiteX23082" fmla="*/ 3531891 w 8079933"/>
              <a:gd name="connsiteY23082" fmla="*/ 822639 h 4687251"/>
              <a:gd name="connsiteX23083" fmla="*/ 3529938 w 8079933"/>
              <a:gd name="connsiteY23083" fmla="*/ 821665 h 4687251"/>
              <a:gd name="connsiteX23084" fmla="*/ 3526357 w 8079933"/>
              <a:gd name="connsiteY23084" fmla="*/ 821665 h 4687251"/>
              <a:gd name="connsiteX23085" fmla="*/ 3521039 w 8079933"/>
              <a:gd name="connsiteY23085" fmla="*/ 818850 h 4687251"/>
              <a:gd name="connsiteX23086" fmla="*/ 3514854 w 8079933"/>
              <a:gd name="connsiteY23086" fmla="*/ 817767 h 4687251"/>
              <a:gd name="connsiteX23087" fmla="*/ 3510405 w 8079933"/>
              <a:gd name="connsiteY23087" fmla="*/ 815277 h 4687251"/>
              <a:gd name="connsiteX23088" fmla="*/ 3502809 w 8079933"/>
              <a:gd name="connsiteY23088" fmla="*/ 815277 h 4687251"/>
              <a:gd name="connsiteX23089" fmla="*/ 3499879 w 8079933"/>
              <a:gd name="connsiteY23089" fmla="*/ 812787 h 4687251"/>
              <a:gd name="connsiteX23090" fmla="*/ 3501832 w 8079933"/>
              <a:gd name="connsiteY23090" fmla="*/ 810730 h 4687251"/>
              <a:gd name="connsiteX23091" fmla="*/ 3505955 w 8079933"/>
              <a:gd name="connsiteY23091" fmla="*/ 810730 h 4687251"/>
              <a:gd name="connsiteX23092" fmla="*/ 3513009 w 8079933"/>
              <a:gd name="connsiteY23092" fmla="*/ 810080 h 4687251"/>
              <a:gd name="connsiteX23093" fmla="*/ 3517784 w 8079933"/>
              <a:gd name="connsiteY23093" fmla="*/ 811704 h 4687251"/>
              <a:gd name="connsiteX23094" fmla="*/ 2128337 w 8079933"/>
              <a:gd name="connsiteY23094" fmla="*/ 809106 h 4687251"/>
              <a:gd name="connsiteX23095" fmla="*/ 2131158 w 8079933"/>
              <a:gd name="connsiteY23095" fmla="*/ 814520 h 4687251"/>
              <a:gd name="connsiteX23096" fmla="*/ 2128553 w 8079933"/>
              <a:gd name="connsiteY23096" fmla="*/ 819717 h 4687251"/>
              <a:gd name="connsiteX23097" fmla="*/ 2126492 w 8079933"/>
              <a:gd name="connsiteY23097" fmla="*/ 819067 h 4687251"/>
              <a:gd name="connsiteX23098" fmla="*/ 2126275 w 8079933"/>
              <a:gd name="connsiteY23098" fmla="*/ 812354 h 4687251"/>
              <a:gd name="connsiteX23099" fmla="*/ 603026 w 8079933"/>
              <a:gd name="connsiteY23099" fmla="*/ 805641 h 4687251"/>
              <a:gd name="connsiteX23100" fmla="*/ 605306 w 8079933"/>
              <a:gd name="connsiteY23100" fmla="*/ 807590 h 4687251"/>
              <a:gd name="connsiteX23101" fmla="*/ 605087 w 8079933"/>
              <a:gd name="connsiteY23101" fmla="*/ 817226 h 4687251"/>
              <a:gd name="connsiteX23102" fmla="*/ 602483 w 8079933"/>
              <a:gd name="connsiteY23102" fmla="*/ 822747 h 4687251"/>
              <a:gd name="connsiteX23103" fmla="*/ 601507 w 8079933"/>
              <a:gd name="connsiteY23103" fmla="*/ 833250 h 4687251"/>
              <a:gd name="connsiteX23104" fmla="*/ 598035 w 8079933"/>
              <a:gd name="connsiteY23104" fmla="*/ 831192 h 4687251"/>
              <a:gd name="connsiteX23105" fmla="*/ 598252 w 8079933"/>
              <a:gd name="connsiteY23105" fmla="*/ 828052 h 4687251"/>
              <a:gd name="connsiteX23106" fmla="*/ 594780 w 8079933"/>
              <a:gd name="connsiteY23106" fmla="*/ 825995 h 4687251"/>
              <a:gd name="connsiteX23107" fmla="*/ 589244 w 8079933"/>
              <a:gd name="connsiteY23107" fmla="*/ 827619 h 4687251"/>
              <a:gd name="connsiteX23108" fmla="*/ 584578 w 8079933"/>
              <a:gd name="connsiteY23108" fmla="*/ 824371 h 4687251"/>
              <a:gd name="connsiteX23109" fmla="*/ 584686 w 8079933"/>
              <a:gd name="connsiteY23109" fmla="*/ 821556 h 4687251"/>
              <a:gd name="connsiteX23110" fmla="*/ 597493 w 8079933"/>
              <a:gd name="connsiteY23110" fmla="*/ 808564 h 4687251"/>
              <a:gd name="connsiteX23111" fmla="*/ 3559236 w 8079933"/>
              <a:gd name="connsiteY23111" fmla="*/ 805316 h 4687251"/>
              <a:gd name="connsiteX23112" fmla="*/ 3559453 w 8079933"/>
              <a:gd name="connsiteY23112" fmla="*/ 808022 h 4687251"/>
              <a:gd name="connsiteX23113" fmla="*/ 3557066 w 8079933"/>
              <a:gd name="connsiteY23113" fmla="*/ 809538 h 4687251"/>
              <a:gd name="connsiteX23114" fmla="*/ 3554896 w 8079933"/>
              <a:gd name="connsiteY23114" fmla="*/ 808130 h 4687251"/>
              <a:gd name="connsiteX23115" fmla="*/ 3556198 w 8079933"/>
              <a:gd name="connsiteY23115" fmla="*/ 806291 h 4687251"/>
              <a:gd name="connsiteX23116" fmla="*/ 5471518 w 8079933"/>
              <a:gd name="connsiteY23116" fmla="*/ 800120 h 4687251"/>
              <a:gd name="connsiteX23117" fmla="*/ 5474556 w 8079933"/>
              <a:gd name="connsiteY23117" fmla="*/ 806075 h 4687251"/>
              <a:gd name="connsiteX23118" fmla="*/ 5475859 w 8079933"/>
              <a:gd name="connsiteY23118" fmla="*/ 818958 h 4687251"/>
              <a:gd name="connsiteX23119" fmla="*/ 5473146 w 8079933"/>
              <a:gd name="connsiteY23119" fmla="*/ 823289 h 4687251"/>
              <a:gd name="connsiteX23120" fmla="*/ 5471626 w 8079933"/>
              <a:gd name="connsiteY23120" fmla="*/ 821556 h 4687251"/>
              <a:gd name="connsiteX23121" fmla="*/ 5472278 w 8079933"/>
              <a:gd name="connsiteY23121" fmla="*/ 813870 h 4687251"/>
              <a:gd name="connsiteX23122" fmla="*/ 5469890 w 8079933"/>
              <a:gd name="connsiteY23122" fmla="*/ 808673 h 4687251"/>
              <a:gd name="connsiteX23123" fmla="*/ 5469890 w 8079933"/>
              <a:gd name="connsiteY23123" fmla="*/ 800228 h 4687251"/>
              <a:gd name="connsiteX23124" fmla="*/ 618979 w 8079933"/>
              <a:gd name="connsiteY23124" fmla="*/ 798495 h 4687251"/>
              <a:gd name="connsiteX23125" fmla="*/ 627336 w 8079933"/>
              <a:gd name="connsiteY23125" fmla="*/ 804017 h 4687251"/>
              <a:gd name="connsiteX23126" fmla="*/ 627336 w 8079933"/>
              <a:gd name="connsiteY23126" fmla="*/ 807048 h 4687251"/>
              <a:gd name="connsiteX23127" fmla="*/ 622235 w 8079933"/>
              <a:gd name="connsiteY23127" fmla="*/ 809322 h 4687251"/>
              <a:gd name="connsiteX23128" fmla="*/ 612468 w 8079933"/>
              <a:gd name="connsiteY23128" fmla="*/ 818093 h 4687251"/>
              <a:gd name="connsiteX23129" fmla="*/ 609432 w 8079933"/>
              <a:gd name="connsiteY23129" fmla="*/ 816901 h 4687251"/>
              <a:gd name="connsiteX23130" fmla="*/ 611817 w 8079933"/>
              <a:gd name="connsiteY23130" fmla="*/ 814519 h 4687251"/>
              <a:gd name="connsiteX23131" fmla="*/ 611817 w 8079933"/>
              <a:gd name="connsiteY23131" fmla="*/ 812029 h 4687251"/>
              <a:gd name="connsiteX23132" fmla="*/ 608996 w 8079933"/>
              <a:gd name="connsiteY23132" fmla="*/ 809105 h 4687251"/>
              <a:gd name="connsiteX23133" fmla="*/ 610299 w 8079933"/>
              <a:gd name="connsiteY23133" fmla="*/ 805316 h 4687251"/>
              <a:gd name="connsiteX23134" fmla="*/ 606282 w 8079933"/>
              <a:gd name="connsiteY23134" fmla="*/ 801201 h 4687251"/>
              <a:gd name="connsiteX23135" fmla="*/ 609864 w 8079933"/>
              <a:gd name="connsiteY23135" fmla="*/ 799253 h 4687251"/>
              <a:gd name="connsiteX23136" fmla="*/ 2940151 w 8079933"/>
              <a:gd name="connsiteY23136" fmla="*/ 794598 h 4687251"/>
              <a:gd name="connsiteX23137" fmla="*/ 2941995 w 8079933"/>
              <a:gd name="connsiteY23137" fmla="*/ 795681 h 4687251"/>
              <a:gd name="connsiteX23138" fmla="*/ 2940910 w 8079933"/>
              <a:gd name="connsiteY23138" fmla="*/ 798171 h 4687251"/>
              <a:gd name="connsiteX23139" fmla="*/ 2936244 w 8079933"/>
              <a:gd name="connsiteY23139" fmla="*/ 799687 h 4687251"/>
              <a:gd name="connsiteX23140" fmla="*/ 2932880 w 8079933"/>
              <a:gd name="connsiteY23140" fmla="*/ 803910 h 4687251"/>
              <a:gd name="connsiteX23141" fmla="*/ 2929733 w 8079933"/>
              <a:gd name="connsiteY23141" fmla="*/ 803910 h 4687251"/>
              <a:gd name="connsiteX23142" fmla="*/ 2929950 w 8079933"/>
              <a:gd name="connsiteY23142" fmla="*/ 799903 h 4687251"/>
              <a:gd name="connsiteX23143" fmla="*/ 2931903 w 8079933"/>
              <a:gd name="connsiteY23143" fmla="*/ 798820 h 4687251"/>
              <a:gd name="connsiteX23144" fmla="*/ 2932988 w 8079933"/>
              <a:gd name="connsiteY23144" fmla="*/ 795897 h 4687251"/>
              <a:gd name="connsiteX23145" fmla="*/ 2937871 w 8079933"/>
              <a:gd name="connsiteY23145" fmla="*/ 795897 h 4687251"/>
              <a:gd name="connsiteX23146" fmla="*/ 5465224 w 8079933"/>
              <a:gd name="connsiteY23146" fmla="*/ 790483 h 4687251"/>
              <a:gd name="connsiteX23147" fmla="*/ 5468263 w 8079933"/>
              <a:gd name="connsiteY23147" fmla="*/ 793623 h 4687251"/>
              <a:gd name="connsiteX23148" fmla="*/ 5468155 w 8079933"/>
              <a:gd name="connsiteY23148" fmla="*/ 797412 h 4687251"/>
              <a:gd name="connsiteX23149" fmla="*/ 5465659 w 8079933"/>
              <a:gd name="connsiteY23149" fmla="*/ 796221 h 4687251"/>
              <a:gd name="connsiteX23150" fmla="*/ 5463271 w 8079933"/>
              <a:gd name="connsiteY23150" fmla="*/ 791241 h 4687251"/>
              <a:gd name="connsiteX23151" fmla="*/ 2033601 w 8079933"/>
              <a:gd name="connsiteY23151" fmla="*/ 788318 h 4687251"/>
              <a:gd name="connsiteX23152" fmla="*/ 2033601 w 8079933"/>
              <a:gd name="connsiteY23152" fmla="*/ 791349 h 4687251"/>
              <a:gd name="connsiteX23153" fmla="*/ 2035880 w 8079933"/>
              <a:gd name="connsiteY23153" fmla="*/ 793515 h 4687251"/>
              <a:gd name="connsiteX23154" fmla="*/ 2035880 w 8079933"/>
              <a:gd name="connsiteY23154" fmla="*/ 796222 h 4687251"/>
              <a:gd name="connsiteX23155" fmla="*/ 2034036 w 8079933"/>
              <a:gd name="connsiteY23155" fmla="*/ 799037 h 4687251"/>
              <a:gd name="connsiteX23156" fmla="*/ 2032191 w 8079933"/>
              <a:gd name="connsiteY23156" fmla="*/ 798604 h 4687251"/>
              <a:gd name="connsiteX23157" fmla="*/ 2030671 w 8079933"/>
              <a:gd name="connsiteY23157" fmla="*/ 801202 h 4687251"/>
              <a:gd name="connsiteX23158" fmla="*/ 2028935 w 8079933"/>
              <a:gd name="connsiteY23158" fmla="*/ 800877 h 4687251"/>
              <a:gd name="connsiteX23159" fmla="*/ 2028176 w 8079933"/>
              <a:gd name="connsiteY23159" fmla="*/ 798604 h 4687251"/>
              <a:gd name="connsiteX23160" fmla="*/ 2029044 w 8079933"/>
              <a:gd name="connsiteY23160" fmla="*/ 795897 h 4687251"/>
              <a:gd name="connsiteX23161" fmla="*/ 2032299 w 8079933"/>
              <a:gd name="connsiteY23161" fmla="*/ 794814 h 4687251"/>
              <a:gd name="connsiteX23162" fmla="*/ 2029912 w 8079933"/>
              <a:gd name="connsiteY23162" fmla="*/ 791566 h 4687251"/>
              <a:gd name="connsiteX23163" fmla="*/ 2031323 w 8079933"/>
              <a:gd name="connsiteY23163" fmla="*/ 788751 h 4687251"/>
              <a:gd name="connsiteX23164" fmla="*/ 3494235 w 8079933"/>
              <a:gd name="connsiteY23164" fmla="*/ 787885 h 4687251"/>
              <a:gd name="connsiteX23165" fmla="*/ 3508560 w 8079933"/>
              <a:gd name="connsiteY23165" fmla="*/ 790483 h 4687251"/>
              <a:gd name="connsiteX23166" fmla="*/ 3518651 w 8079933"/>
              <a:gd name="connsiteY23166" fmla="*/ 797629 h 4687251"/>
              <a:gd name="connsiteX23167" fmla="*/ 3521039 w 8079933"/>
              <a:gd name="connsiteY23167" fmla="*/ 800444 h 4687251"/>
              <a:gd name="connsiteX23168" fmla="*/ 3518435 w 8079933"/>
              <a:gd name="connsiteY23168" fmla="*/ 800769 h 4687251"/>
              <a:gd name="connsiteX23169" fmla="*/ 3509753 w 8079933"/>
              <a:gd name="connsiteY23169" fmla="*/ 799362 h 4687251"/>
              <a:gd name="connsiteX23170" fmla="*/ 3502483 w 8079933"/>
              <a:gd name="connsiteY23170" fmla="*/ 793948 h 4687251"/>
              <a:gd name="connsiteX23171" fmla="*/ 3499228 w 8079933"/>
              <a:gd name="connsiteY23171" fmla="*/ 793840 h 4687251"/>
              <a:gd name="connsiteX23172" fmla="*/ 3497166 w 8079933"/>
              <a:gd name="connsiteY23172" fmla="*/ 795572 h 4687251"/>
              <a:gd name="connsiteX23173" fmla="*/ 3499228 w 8079933"/>
              <a:gd name="connsiteY23173" fmla="*/ 798279 h 4687251"/>
              <a:gd name="connsiteX23174" fmla="*/ 3503894 w 8079933"/>
              <a:gd name="connsiteY23174" fmla="*/ 798928 h 4687251"/>
              <a:gd name="connsiteX23175" fmla="*/ 3510296 w 8079933"/>
              <a:gd name="connsiteY23175" fmla="*/ 802393 h 4687251"/>
              <a:gd name="connsiteX23176" fmla="*/ 3514853 w 8079933"/>
              <a:gd name="connsiteY23176" fmla="*/ 804342 h 4687251"/>
              <a:gd name="connsiteX23177" fmla="*/ 3526248 w 8079933"/>
              <a:gd name="connsiteY23177" fmla="*/ 803909 h 4687251"/>
              <a:gd name="connsiteX23178" fmla="*/ 3531782 w 8079933"/>
              <a:gd name="connsiteY23178" fmla="*/ 804883 h 4687251"/>
              <a:gd name="connsiteX23179" fmla="*/ 3531999 w 8079933"/>
              <a:gd name="connsiteY23179" fmla="*/ 807049 h 4687251"/>
              <a:gd name="connsiteX23180" fmla="*/ 3526139 w 8079933"/>
              <a:gd name="connsiteY23180" fmla="*/ 808456 h 4687251"/>
              <a:gd name="connsiteX23181" fmla="*/ 3512466 w 8079933"/>
              <a:gd name="connsiteY23181" fmla="*/ 807591 h 4687251"/>
              <a:gd name="connsiteX23182" fmla="*/ 3502917 w 8079933"/>
              <a:gd name="connsiteY23182" fmla="*/ 808673 h 4687251"/>
              <a:gd name="connsiteX23183" fmla="*/ 3496298 w 8079933"/>
              <a:gd name="connsiteY23183" fmla="*/ 806075 h 4687251"/>
              <a:gd name="connsiteX23184" fmla="*/ 3491088 w 8079933"/>
              <a:gd name="connsiteY23184" fmla="*/ 800336 h 4687251"/>
              <a:gd name="connsiteX23185" fmla="*/ 3484686 w 8079933"/>
              <a:gd name="connsiteY23185" fmla="*/ 799470 h 4687251"/>
              <a:gd name="connsiteX23186" fmla="*/ 3481431 w 8079933"/>
              <a:gd name="connsiteY23186" fmla="*/ 796330 h 4687251"/>
              <a:gd name="connsiteX23187" fmla="*/ 3484252 w 8079933"/>
              <a:gd name="connsiteY23187" fmla="*/ 793840 h 4687251"/>
              <a:gd name="connsiteX23188" fmla="*/ 3490655 w 8079933"/>
              <a:gd name="connsiteY23188" fmla="*/ 791783 h 4687251"/>
              <a:gd name="connsiteX23189" fmla="*/ 3490763 w 8079933"/>
              <a:gd name="connsiteY23189" fmla="*/ 789076 h 4687251"/>
              <a:gd name="connsiteX23190" fmla="*/ 2110867 w 8079933"/>
              <a:gd name="connsiteY23190" fmla="*/ 785177 h 4687251"/>
              <a:gd name="connsiteX23191" fmla="*/ 2110867 w 8079933"/>
              <a:gd name="connsiteY23191" fmla="*/ 790374 h 4687251"/>
              <a:gd name="connsiteX23192" fmla="*/ 2110215 w 8079933"/>
              <a:gd name="connsiteY23192" fmla="*/ 794163 h 4687251"/>
              <a:gd name="connsiteX23193" fmla="*/ 2112277 w 8079933"/>
              <a:gd name="connsiteY23193" fmla="*/ 799036 h 4687251"/>
              <a:gd name="connsiteX23194" fmla="*/ 2108804 w 8079933"/>
              <a:gd name="connsiteY23194" fmla="*/ 802067 h 4687251"/>
              <a:gd name="connsiteX23195" fmla="*/ 2108479 w 8079933"/>
              <a:gd name="connsiteY23195" fmla="*/ 807589 h 4687251"/>
              <a:gd name="connsiteX23196" fmla="*/ 2112277 w 8079933"/>
              <a:gd name="connsiteY23196" fmla="*/ 802717 h 4687251"/>
              <a:gd name="connsiteX23197" fmla="*/ 2116075 w 8079933"/>
              <a:gd name="connsiteY23197" fmla="*/ 803150 h 4687251"/>
              <a:gd name="connsiteX23198" fmla="*/ 2116075 w 8079933"/>
              <a:gd name="connsiteY23198" fmla="*/ 807914 h 4687251"/>
              <a:gd name="connsiteX23199" fmla="*/ 2122586 w 8079933"/>
              <a:gd name="connsiteY23199" fmla="*/ 812461 h 4687251"/>
              <a:gd name="connsiteX23200" fmla="*/ 2125082 w 8079933"/>
              <a:gd name="connsiteY23200" fmla="*/ 828268 h 4687251"/>
              <a:gd name="connsiteX23201" fmla="*/ 2121609 w 8079933"/>
              <a:gd name="connsiteY23201" fmla="*/ 839312 h 4687251"/>
              <a:gd name="connsiteX23202" fmla="*/ 2121935 w 8079933"/>
              <a:gd name="connsiteY23202" fmla="*/ 843751 h 4687251"/>
              <a:gd name="connsiteX23203" fmla="*/ 2125299 w 8079933"/>
              <a:gd name="connsiteY23203" fmla="*/ 836713 h 4687251"/>
              <a:gd name="connsiteX23204" fmla="*/ 2130616 w 8079933"/>
              <a:gd name="connsiteY23204" fmla="*/ 833682 h 4687251"/>
              <a:gd name="connsiteX23205" fmla="*/ 2129205 w 8079933"/>
              <a:gd name="connsiteY23205" fmla="*/ 838337 h 4687251"/>
              <a:gd name="connsiteX23206" fmla="*/ 2124431 w 8079933"/>
              <a:gd name="connsiteY23206" fmla="*/ 848298 h 4687251"/>
              <a:gd name="connsiteX23207" fmla="*/ 2126818 w 8079933"/>
              <a:gd name="connsiteY23207" fmla="*/ 851872 h 4687251"/>
              <a:gd name="connsiteX23208" fmla="*/ 2132352 w 8079933"/>
              <a:gd name="connsiteY23208" fmla="*/ 849814 h 4687251"/>
              <a:gd name="connsiteX23209" fmla="*/ 2132135 w 8079933"/>
              <a:gd name="connsiteY23209" fmla="*/ 853387 h 4687251"/>
              <a:gd name="connsiteX23210" fmla="*/ 2125407 w 8079933"/>
              <a:gd name="connsiteY23210" fmla="*/ 857935 h 4687251"/>
              <a:gd name="connsiteX23211" fmla="*/ 2123346 w 8079933"/>
              <a:gd name="connsiteY23211" fmla="*/ 860208 h 4687251"/>
              <a:gd name="connsiteX23212" fmla="*/ 2121284 w 8079933"/>
              <a:gd name="connsiteY23212" fmla="*/ 856527 h 4687251"/>
              <a:gd name="connsiteX23213" fmla="*/ 2115750 w 8079933"/>
              <a:gd name="connsiteY23213" fmla="*/ 860641 h 4687251"/>
              <a:gd name="connsiteX23214" fmla="*/ 2112277 w 8079933"/>
              <a:gd name="connsiteY23214" fmla="*/ 861291 h 4687251"/>
              <a:gd name="connsiteX23215" fmla="*/ 2107394 w 8079933"/>
              <a:gd name="connsiteY23215" fmla="*/ 866163 h 4687251"/>
              <a:gd name="connsiteX23216" fmla="*/ 2102944 w 8079933"/>
              <a:gd name="connsiteY23216" fmla="*/ 866163 h 4687251"/>
              <a:gd name="connsiteX23217" fmla="*/ 2099472 w 8079933"/>
              <a:gd name="connsiteY23217" fmla="*/ 866488 h 4687251"/>
              <a:gd name="connsiteX23218" fmla="*/ 2093286 w 8079933"/>
              <a:gd name="connsiteY23218" fmla="*/ 861291 h 4687251"/>
              <a:gd name="connsiteX23219" fmla="*/ 2092961 w 8079933"/>
              <a:gd name="connsiteY23219" fmla="*/ 856852 h 4687251"/>
              <a:gd name="connsiteX23220" fmla="*/ 2089163 w 8079933"/>
              <a:gd name="connsiteY23220" fmla="*/ 862698 h 4687251"/>
              <a:gd name="connsiteX23221" fmla="*/ 2086016 w 8079933"/>
              <a:gd name="connsiteY23221" fmla="*/ 859233 h 4687251"/>
              <a:gd name="connsiteX23222" fmla="*/ 2083629 w 8079933"/>
              <a:gd name="connsiteY23222" fmla="*/ 852304 h 4687251"/>
              <a:gd name="connsiteX23223" fmla="*/ 2079179 w 8079933"/>
              <a:gd name="connsiteY23223" fmla="*/ 851330 h 4687251"/>
              <a:gd name="connsiteX23224" fmla="*/ 2073645 w 8079933"/>
              <a:gd name="connsiteY23224" fmla="*/ 845159 h 4687251"/>
              <a:gd name="connsiteX23225" fmla="*/ 2075381 w 8079933"/>
              <a:gd name="connsiteY23225" fmla="*/ 840936 h 4687251"/>
              <a:gd name="connsiteX23226" fmla="*/ 2073645 w 8079933"/>
              <a:gd name="connsiteY23226" fmla="*/ 837905 h 4687251"/>
              <a:gd name="connsiteX23227" fmla="*/ 2070824 w 8079933"/>
              <a:gd name="connsiteY23227" fmla="*/ 842668 h 4687251"/>
              <a:gd name="connsiteX23228" fmla="*/ 2065615 w 8079933"/>
              <a:gd name="connsiteY23228" fmla="*/ 838554 h 4687251"/>
              <a:gd name="connsiteX23229" fmla="*/ 2067351 w 8079933"/>
              <a:gd name="connsiteY23229" fmla="*/ 832058 h 4687251"/>
              <a:gd name="connsiteX23230" fmla="*/ 2062902 w 8079933"/>
              <a:gd name="connsiteY23230" fmla="*/ 828268 h 4687251"/>
              <a:gd name="connsiteX23231" fmla="*/ 2061491 w 8079933"/>
              <a:gd name="connsiteY23231" fmla="*/ 831625 h 4687251"/>
              <a:gd name="connsiteX23232" fmla="*/ 2062576 w 8079933"/>
              <a:gd name="connsiteY23232" fmla="*/ 834440 h 4687251"/>
              <a:gd name="connsiteX23233" fmla="*/ 2058453 w 8079933"/>
              <a:gd name="connsiteY23233" fmla="*/ 836822 h 4687251"/>
              <a:gd name="connsiteX23234" fmla="*/ 2053570 w 8079933"/>
              <a:gd name="connsiteY23234" fmla="*/ 830650 h 4687251"/>
              <a:gd name="connsiteX23235" fmla="*/ 2052593 w 8079933"/>
              <a:gd name="connsiteY23235" fmla="*/ 825886 h 4687251"/>
              <a:gd name="connsiteX23236" fmla="*/ 2063227 w 8079933"/>
              <a:gd name="connsiteY23236" fmla="*/ 819282 h 4687251"/>
              <a:gd name="connsiteX23237" fmla="*/ 2066374 w 8079933"/>
              <a:gd name="connsiteY23237" fmla="*/ 819932 h 4687251"/>
              <a:gd name="connsiteX23238" fmla="*/ 2069522 w 8079933"/>
              <a:gd name="connsiteY23238" fmla="*/ 818633 h 4687251"/>
              <a:gd name="connsiteX23239" fmla="*/ 2077118 w 8079933"/>
              <a:gd name="connsiteY23239" fmla="*/ 819282 h 4687251"/>
              <a:gd name="connsiteX23240" fmla="*/ 2079831 w 8079933"/>
              <a:gd name="connsiteY23240" fmla="*/ 815168 h 4687251"/>
              <a:gd name="connsiteX23241" fmla="*/ 2083629 w 8079933"/>
              <a:gd name="connsiteY23241" fmla="*/ 815168 h 4687251"/>
              <a:gd name="connsiteX23242" fmla="*/ 2086342 w 8079933"/>
              <a:gd name="connsiteY23242" fmla="*/ 811054 h 4687251"/>
              <a:gd name="connsiteX23243" fmla="*/ 2083954 w 8079933"/>
              <a:gd name="connsiteY23243" fmla="*/ 806615 h 4687251"/>
              <a:gd name="connsiteX23244" fmla="*/ 2087101 w 8079933"/>
              <a:gd name="connsiteY23244" fmla="*/ 806181 h 4687251"/>
              <a:gd name="connsiteX23245" fmla="*/ 2088078 w 8079933"/>
              <a:gd name="connsiteY23245" fmla="*/ 800660 h 4687251"/>
              <a:gd name="connsiteX23246" fmla="*/ 2090140 w 8079933"/>
              <a:gd name="connsiteY23246" fmla="*/ 800984 h 4687251"/>
              <a:gd name="connsiteX23247" fmla="*/ 2091876 w 8079933"/>
              <a:gd name="connsiteY23247" fmla="*/ 807264 h 4687251"/>
              <a:gd name="connsiteX23248" fmla="*/ 2095674 w 8079933"/>
              <a:gd name="connsiteY23248" fmla="*/ 808672 h 4687251"/>
              <a:gd name="connsiteX23249" fmla="*/ 2093938 w 8079933"/>
              <a:gd name="connsiteY23249" fmla="*/ 801417 h 4687251"/>
              <a:gd name="connsiteX23250" fmla="*/ 2097085 w 8079933"/>
              <a:gd name="connsiteY23250" fmla="*/ 793081 h 4687251"/>
              <a:gd name="connsiteX23251" fmla="*/ 2104029 w 8079933"/>
              <a:gd name="connsiteY23251" fmla="*/ 787234 h 4687251"/>
              <a:gd name="connsiteX23252" fmla="*/ 662713 w 8079933"/>
              <a:gd name="connsiteY23252" fmla="*/ 784853 h 4687251"/>
              <a:gd name="connsiteX23253" fmla="*/ 665426 w 8079933"/>
              <a:gd name="connsiteY23253" fmla="*/ 788534 h 4687251"/>
              <a:gd name="connsiteX23254" fmla="*/ 663905 w 8079933"/>
              <a:gd name="connsiteY23254" fmla="*/ 791999 h 4687251"/>
              <a:gd name="connsiteX23255" fmla="*/ 660976 w 8079933"/>
              <a:gd name="connsiteY23255" fmla="*/ 792541 h 4687251"/>
              <a:gd name="connsiteX23256" fmla="*/ 654900 w 8079933"/>
              <a:gd name="connsiteY23256" fmla="*/ 786802 h 4687251"/>
              <a:gd name="connsiteX23257" fmla="*/ 657069 w 8079933"/>
              <a:gd name="connsiteY23257" fmla="*/ 785286 h 4687251"/>
              <a:gd name="connsiteX23258" fmla="*/ 2601686 w 8079933"/>
              <a:gd name="connsiteY23258" fmla="*/ 783878 h 4687251"/>
              <a:gd name="connsiteX23259" fmla="*/ 2603314 w 8079933"/>
              <a:gd name="connsiteY23259" fmla="*/ 787126 h 4687251"/>
              <a:gd name="connsiteX23260" fmla="*/ 2604833 w 8079933"/>
              <a:gd name="connsiteY23260" fmla="*/ 786693 h 4687251"/>
              <a:gd name="connsiteX23261" fmla="*/ 2607438 w 8079933"/>
              <a:gd name="connsiteY23261" fmla="*/ 788317 h 4687251"/>
              <a:gd name="connsiteX23262" fmla="*/ 2603857 w 8079933"/>
              <a:gd name="connsiteY23262" fmla="*/ 791023 h 4687251"/>
              <a:gd name="connsiteX23263" fmla="*/ 2602012 w 8079933"/>
              <a:gd name="connsiteY23263" fmla="*/ 795355 h 4687251"/>
              <a:gd name="connsiteX23264" fmla="*/ 2600492 w 8079933"/>
              <a:gd name="connsiteY23264" fmla="*/ 796221 h 4687251"/>
              <a:gd name="connsiteX23265" fmla="*/ 2598756 w 8079933"/>
              <a:gd name="connsiteY23265" fmla="*/ 792539 h 4687251"/>
              <a:gd name="connsiteX23266" fmla="*/ 2599733 w 8079933"/>
              <a:gd name="connsiteY23266" fmla="*/ 790374 h 4687251"/>
              <a:gd name="connsiteX23267" fmla="*/ 2599407 w 8079933"/>
              <a:gd name="connsiteY23267" fmla="*/ 785719 h 4687251"/>
              <a:gd name="connsiteX23268" fmla="*/ 2938088 w 8079933"/>
              <a:gd name="connsiteY23268" fmla="*/ 780631 h 4687251"/>
              <a:gd name="connsiteX23269" fmla="*/ 2940150 w 8079933"/>
              <a:gd name="connsiteY23269" fmla="*/ 781931 h 4687251"/>
              <a:gd name="connsiteX23270" fmla="*/ 2937763 w 8079933"/>
              <a:gd name="connsiteY23270" fmla="*/ 784313 h 4687251"/>
              <a:gd name="connsiteX23271" fmla="*/ 2936461 w 8079933"/>
              <a:gd name="connsiteY23271" fmla="*/ 783771 h 4687251"/>
              <a:gd name="connsiteX23272" fmla="*/ 2936461 w 8079933"/>
              <a:gd name="connsiteY23272" fmla="*/ 781714 h 4687251"/>
              <a:gd name="connsiteX23273" fmla="*/ 2946335 w 8079933"/>
              <a:gd name="connsiteY23273" fmla="*/ 779006 h 4687251"/>
              <a:gd name="connsiteX23274" fmla="*/ 2946986 w 8079933"/>
              <a:gd name="connsiteY23274" fmla="*/ 781279 h 4687251"/>
              <a:gd name="connsiteX23275" fmla="*/ 2944381 w 8079933"/>
              <a:gd name="connsiteY23275" fmla="*/ 781930 h 4687251"/>
              <a:gd name="connsiteX23276" fmla="*/ 2944056 w 8079933"/>
              <a:gd name="connsiteY23276" fmla="*/ 780197 h 4687251"/>
              <a:gd name="connsiteX23277" fmla="*/ 2609933 w 8079933"/>
              <a:gd name="connsiteY23277" fmla="*/ 776408 h 4687251"/>
              <a:gd name="connsiteX23278" fmla="*/ 2611777 w 8079933"/>
              <a:gd name="connsiteY23278" fmla="*/ 779548 h 4687251"/>
              <a:gd name="connsiteX23279" fmla="*/ 2610584 w 8079933"/>
              <a:gd name="connsiteY23279" fmla="*/ 783337 h 4687251"/>
              <a:gd name="connsiteX23280" fmla="*/ 2608522 w 8079933"/>
              <a:gd name="connsiteY23280" fmla="*/ 783987 h 4687251"/>
              <a:gd name="connsiteX23281" fmla="*/ 2607437 w 8079933"/>
              <a:gd name="connsiteY23281" fmla="*/ 781279 h 4687251"/>
              <a:gd name="connsiteX23282" fmla="*/ 2607437 w 8079933"/>
              <a:gd name="connsiteY23282" fmla="*/ 778032 h 4687251"/>
              <a:gd name="connsiteX23283" fmla="*/ 2015587 w 8079933"/>
              <a:gd name="connsiteY23283" fmla="*/ 776083 h 4687251"/>
              <a:gd name="connsiteX23284" fmla="*/ 2016130 w 8079933"/>
              <a:gd name="connsiteY23284" fmla="*/ 778140 h 4687251"/>
              <a:gd name="connsiteX23285" fmla="*/ 2015262 w 8079933"/>
              <a:gd name="connsiteY23285" fmla="*/ 780847 h 4687251"/>
              <a:gd name="connsiteX23286" fmla="*/ 2013852 w 8079933"/>
              <a:gd name="connsiteY23286" fmla="*/ 780197 h 4687251"/>
              <a:gd name="connsiteX23287" fmla="*/ 2013960 w 8079933"/>
              <a:gd name="connsiteY23287" fmla="*/ 777815 h 4687251"/>
              <a:gd name="connsiteX23288" fmla="*/ 2603423 w 8079933"/>
              <a:gd name="connsiteY23288" fmla="*/ 774459 h 4687251"/>
              <a:gd name="connsiteX23289" fmla="*/ 2603531 w 8079933"/>
              <a:gd name="connsiteY23289" fmla="*/ 779006 h 4687251"/>
              <a:gd name="connsiteX23290" fmla="*/ 2601903 w 8079933"/>
              <a:gd name="connsiteY23290" fmla="*/ 779873 h 4687251"/>
              <a:gd name="connsiteX23291" fmla="*/ 2601578 w 8079933"/>
              <a:gd name="connsiteY23291" fmla="*/ 776408 h 4687251"/>
              <a:gd name="connsiteX23292" fmla="*/ 2951001 w 8079933"/>
              <a:gd name="connsiteY23292" fmla="*/ 773918 h 4687251"/>
              <a:gd name="connsiteX23293" fmla="*/ 2950784 w 8079933"/>
              <a:gd name="connsiteY23293" fmla="*/ 775759 h 4687251"/>
              <a:gd name="connsiteX23294" fmla="*/ 2948723 w 8079933"/>
              <a:gd name="connsiteY23294" fmla="*/ 777167 h 4687251"/>
              <a:gd name="connsiteX23295" fmla="*/ 2947529 w 8079933"/>
              <a:gd name="connsiteY23295" fmla="*/ 777058 h 4687251"/>
              <a:gd name="connsiteX23296" fmla="*/ 2937220 w 8079933"/>
              <a:gd name="connsiteY23296" fmla="*/ 766988 h 4687251"/>
              <a:gd name="connsiteX23297" fmla="*/ 2937437 w 8079933"/>
              <a:gd name="connsiteY23297" fmla="*/ 768937 h 4687251"/>
              <a:gd name="connsiteX23298" fmla="*/ 2936026 w 8079933"/>
              <a:gd name="connsiteY23298" fmla="*/ 769045 h 4687251"/>
              <a:gd name="connsiteX23299" fmla="*/ 2932336 w 8079933"/>
              <a:gd name="connsiteY23299" fmla="*/ 770670 h 4687251"/>
              <a:gd name="connsiteX23300" fmla="*/ 2930600 w 8079933"/>
              <a:gd name="connsiteY23300" fmla="*/ 769262 h 4687251"/>
              <a:gd name="connsiteX23301" fmla="*/ 2932445 w 8079933"/>
              <a:gd name="connsiteY23301" fmla="*/ 767096 h 4687251"/>
              <a:gd name="connsiteX23302" fmla="*/ 2947746 w 8079933"/>
              <a:gd name="connsiteY23302" fmla="*/ 766230 h 4687251"/>
              <a:gd name="connsiteX23303" fmla="*/ 2951544 w 8079933"/>
              <a:gd name="connsiteY23303" fmla="*/ 766230 h 4687251"/>
              <a:gd name="connsiteX23304" fmla="*/ 2951761 w 8079933"/>
              <a:gd name="connsiteY23304" fmla="*/ 768720 h 4687251"/>
              <a:gd name="connsiteX23305" fmla="*/ 2947420 w 8079933"/>
              <a:gd name="connsiteY23305" fmla="*/ 772509 h 4687251"/>
              <a:gd name="connsiteX23306" fmla="*/ 2939716 w 8079933"/>
              <a:gd name="connsiteY23306" fmla="*/ 778572 h 4687251"/>
              <a:gd name="connsiteX23307" fmla="*/ 2938631 w 8079933"/>
              <a:gd name="connsiteY23307" fmla="*/ 779331 h 4687251"/>
              <a:gd name="connsiteX23308" fmla="*/ 2937328 w 8079933"/>
              <a:gd name="connsiteY23308" fmla="*/ 779222 h 4687251"/>
              <a:gd name="connsiteX23309" fmla="*/ 2937437 w 8079933"/>
              <a:gd name="connsiteY23309" fmla="*/ 777056 h 4687251"/>
              <a:gd name="connsiteX23310" fmla="*/ 2937003 w 8079933"/>
              <a:gd name="connsiteY23310" fmla="*/ 774350 h 4687251"/>
              <a:gd name="connsiteX23311" fmla="*/ 2938848 w 8079933"/>
              <a:gd name="connsiteY23311" fmla="*/ 773050 h 4687251"/>
              <a:gd name="connsiteX23312" fmla="*/ 2940584 w 8079933"/>
              <a:gd name="connsiteY23312" fmla="*/ 770128 h 4687251"/>
              <a:gd name="connsiteX23313" fmla="*/ 2943623 w 8079933"/>
              <a:gd name="connsiteY23313" fmla="*/ 769803 h 4687251"/>
              <a:gd name="connsiteX23314" fmla="*/ 2948614 w 8079933"/>
              <a:gd name="connsiteY23314" fmla="*/ 755078 h 4687251"/>
              <a:gd name="connsiteX23315" fmla="*/ 2950893 w 8079933"/>
              <a:gd name="connsiteY23315" fmla="*/ 756268 h 4687251"/>
              <a:gd name="connsiteX23316" fmla="*/ 2949917 w 8079933"/>
              <a:gd name="connsiteY23316" fmla="*/ 758651 h 4687251"/>
              <a:gd name="connsiteX23317" fmla="*/ 2947638 w 8079933"/>
              <a:gd name="connsiteY23317" fmla="*/ 758651 h 4687251"/>
              <a:gd name="connsiteX23318" fmla="*/ 2945576 w 8079933"/>
              <a:gd name="connsiteY23318" fmla="*/ 757568 h 4687251"/>
              <a:gd name="connsiteX23319" fmla="*/ 2939173 w 8079933"/>
              <a:gd name="connsiteY23319" fmla="*/ 753022 h 4687251"/>
              <a:gd name="connsiteX23320" fmla="*/ 2942211 w 8079933"/>
              <a:gd name="connsiteY23320" fmla="*/ 753347 h 4687251"/>
              <a:gd name="connsiteX23321" fmla="*/ 2944381 w 8079933"/>
              <a:gd name="connsiteY23321" fmla="*/ 753347 h 4687251"/>
              <a:gd name="connsiteX23322" fmla="*/ 2943513 w 8079933"/>
              <a:gd name="connsiteY23322" fmla="*/ 754863 h 4687251"/>
              <a:gd name="connsiteX23323" fmla="*/ 2939933 w 8079933"/>
              <a:gd name="connsiteY23323" fmla="*/ 754972 h 4687251"/>
              <a:gd name="connsiteX23324" fmla="*/ 2942862 w 8079933"/>
              <a:gd name="connsiteY23324" fmla="*/ 744251 h 4687251"/>
              <a:gd name="connsiteX23325" fmla="*/ 2942536 w 8079933"/>
              <a:gd name="connsiteY23325" fmla="*/ 745767 h 4687251"/>
              <a:gd name="connsiteX23326" fmla="*/ 2940258 w 8079933"/>
              <a:gd name="connsiteY23326" fmla="*/ 746741 h 4687251"/>
              <a:gd name="connsiteX23327" fmla="*/ 2940909 w 8079933"/>
              <a:gd name="connsiteY23327" fmla="*/ 744467 h 4687251"/>
              <a:gd name="connsiteX23328" fmla="*/ 4901913 w 8079933"/>
              <a:gd name="connsiteY23328" fmla="*/ 743061 h 4687251"/>
              <a:gd name="connsiteX23329" fmla="*/ 4905712 w 8079933"/>
              <a:gd name="connsiteY23329" fmla="*/ 743061 h 4687251"/>
              <a:gd name="connsiteX23330" fmla="*/ 4910161 w 8079933"/>
              <a:gd name="connsiteY23330" fmla="*/ 745985 h 4687251"/>
              <a:gd name="connsiteX23331" fmla="*/ 4921664 w 8079933"/>
              <a:gd name="connsiteY23331" fmla="*/ 747716 h 4687251"/>
              <a:gd name="connsiteX23332" fmla="*/ 4930453 w 8079933"/>
              <a:gd name="connsiteY23332" fmla="*/ 747716 h 4687251"/>
              <a:gd name="connsiteX23333" fmla="*/ 4932407 w 8079933"/>
              <a:gd name="connsiteY23333" fmla="*/ 749773 h 4687251"/>
              <a:gd name="connsiteX23334" fmla="*/ 4931213 w 8079933"/>
              <a:gd name="connsiteY23334" fmla="*/ 752481 h 4687251"/>
              <a:gd name="connsiteX23335" fmla="*/ 4924811 w 8079933"/>
              <a:gd name="connsiteY23335" fmla="*/ 754971 h 4687251"/>
              <a:gd name="connsiteX23336" fmla="*/ 4923075 w 8079933"/>
              <a:gd name="connsiteY23336" fmla="*/ 757028 h 4687251"/>
              <a:gd name="connsiteX23337" fmla="*/ 4927415 w 8079933"/>
              <a:gd name="connsiteY23337" fmla="*/ 755728 h 4687251"/>
              <a:gd name="connsiteX23338" fmla="*/ 4931539 w 8079933"/>
              <a:gd name="connsiteY23338" fmla="*/ 754971 h 4687251"/>
              <a:gd name="connsiteX23339" fmla="*/ 4932516 w 8079933"/>
              <a:gd name="connsiteY23339" fmla="*/ 759085 h 4687251"/>
              <a:gd name="connsiteX23340" fmla="*/ 4931647 w 8079933"/>
              <a:gd name="connsiteY23340" fmla="*/ 768179 h 4687251"/>
              <a:gd name="connsiteX23341" fmla="*/ 4926330 w 8079933"/>
              <a:gd name="connsiteY23341" fmla="*/ 771428 h 4687251"/>
              <a:gd name="connsiteX23342" fmla="*/ 4919818 w 8079933"/>
              <a:gd name="connsiteY23342" fmla="*/ 770887 h 4687251"/>
              <a:gd name="connsiteX23343" fmla="*/ 4918733 w 8079933"/>
              <a:gd name="connsiteY23343" fmla="*/ 772510 h 4687251"/>
              <a:gd name="connsiteX23344" fmla="*/ 4921664 w 8079933"/>
              <a:gd name="connsiteY23344" fmla="*/ 774676 h 4687251"/>
              <a:gd name="connsiteX23345" fmla="*/ 4925353 w 8079933"/>
              <a:gd name="connsiteY23345" fmla="*/ 772944 h 4687251"/>
              <a:gd name="connsiteX23346" fmla="*/ 4929477 w 8079933"/>
              <a:gd name="connsiteY23346" fmla="*/ 774026 h 4687251"/>
              <a:gd name="connsiteX23347" fmla="*/ 4930019 w 8079933"/>
              <a:gd name="connsiteY23347" fmla="*/ 776950 h 4687251"/>
              <a:gd name="connsiteX23348" fmla="*/ 4927741 w 8079933"/>
              <a:gd name="connsiteY23348" fmla="*/ 780956 h 4687251"/>
              <a:gd name="connsiteX23349" fmla="*/ 4928826 w 8079933"/>
              <a:gd name="connsiteY23349" fmla="*/ 783987 h 4687251"/>
              <a:gd name="connsiteX23350" fmla="*/ 4930888 w 8079933"/>
              <a:gd name="connsiteY23350" fmla="*/ 797088 h 4687251"/>
              <a:gd name="connsiteX23351" fmla="*/ 4934360 w 8079933"/>
              <a:gd name="connsiteY23351" fmla="*/ 803909 h 4687251"/>
              <a:gd name="connsiteX23352" fmla="*/ 4934685 w 8079933"/>
              <a:gd name="connsiteY23352" fmla="*/ 815711 h 4687251"/>
              <a:gd name="connsiteX23353" fmla="*/ 4939135 w 8079933"/>
              <a:gd name="connsiteY23353" fmla="*/ 823289 h 4687251"/>
              <a:gd name="connsiteX23354" fmla="*/ 4942282 w 8079933"/>
              <a:gd name="connsiteY23354" fmla="*/ 833576 h 4687251"/>
              <a:gd name="connsiteX23355" fmla="*/ 4950529 w 8079933"/>
              <a:gd name="connsiteY23355" fmla="*/ 843536 h 4687251"/>
              <a:gd name="connsiteX23356" fmla="*/ 4956497 w 8079933"/>
              <a:gd name="connsiteY23356" fmla="*/ 853930 h 4687251"/>
              <a:gd name="connsiteX23357" fmla="*/ 4961598 w 8079933"/>
              <a:gd name="connsiteY23357" fmla="*/ 853930 h 4687251"/>
              <a:gd name="connsiteX23358" fmla="*/ 4964420 w 8079933"/>
              <a:gd name="connsiteY23358" fmla="*/ 858694 h 4687251"/>
              <a:gd name="connsiteX23359" fmla="*/ 4972341 w 8079933"/>
              <a:gd name="connsiteY23359" fmla="*/ 864865 h 4687251"/>
              <a:gd name="connsiteX23360" fmla="*/ 4977115 w 8079933"/>
              <a:gd name="connsiteY23360" fmla="*/ 864865 h 4687251"/>
              <a:gd name="connsiteX23361" fmla="*/ 4980588 w 8079933"/>
              <a:gd name="connsiteY23361" fmla="*/ 871145 h 4687251"/>
              <a:gd name="connsiteX23362" fmla="*/ 4984386 w 8079933"/>
              <a:gd name="connsiteY23362" fmla="*/ 872120 h 4687251"/>
              <a:gd name="connsiteX23363" fmla="*/ 4987099 w 8079933"/>
              <a:gd name="connsiteY23363" fmla="*/ 870820 h 4687251"/>
              <a:gd name="connsiteX23364" fmla="*/ 4992308 w 8079933"/>
              <a:gd name="connsiteY23364" fmla="*/ 874610 h 4687251"/>
              <a:gd name="connsiteX23365" fmla="*/ 4992525 w 8079933"/>
              <a:gd name="connsiteY23365" fmla="*/ 877100 h 4687251"/>
              <a:gd name="connsiteX23366" fmla="*/ 4991331 w 8079933"/>
              <a:gd name="connsiteY23366" fmla="*/ 880023 h 4687251"/>
              <a:gd name="connsiteX23367" fmla="*/ 4988184 w 8079933"/>
              <a:gd name="connsiteY23367" fmla="*/ 884029 h 4687251"/>
              <a:gd name="connsiteX23368" fmla="*/ 4985471 w 8079933"/>
              <a:gd name="connsiteY23368" fmla="*/ 884029 h 4687251"/>
              <a:gd name="connsiteX23369" fmla="*/ 4983193 w 8079933"/>
              <a:gd name="connsiteY23369" fmla="*/ 882947 h 4687251"/>
              <a:gd name="connsiteX23370" fmla="*/ 4982325 w 8079933"/>
              <a:gd name="connsiteY23370" fmla="*/ 884571 h 4687251"/>
              <a:gd name="connsiteX23371" fmla="*/ 4984712 w 8079933"/>
              <a:gd name="connsiteY23371" fmla="*/ 886520 h 4687251"/>
              <a:gd name="connsiteX23372" fmla="*/ 4987642 w 8079933"/>
              <a:gd name="connsiteY23372" fmla="*/ 886736 h 4687251"/>
              <a:gd name="connsiteX23373" fmla="*/ 4989595 w 8079933"/>
              <a:gd name="connsiteY23373" fmla="*/ 890309 h 4687251"/>
              <a:gd name="connsiteX23374" fmla="*/ 4988727 w 8079933"/>
              <a:gd name="connsiteY23374" fmla="*/ 894098 h 4687251"/>
              <a:gd name="connsiteX23375" fmla="*/ 4986556 w 8079933"/>
              <a:gd name="connsiteY23375" fmla="*/ 895290 h 4687251"/>
              <a:gd name="connsiteX23376" fmla="*/ 4983626 w 8079933"/>
              <a:gd name="connsiteY23376" fmla="*/ 893341 h 4687251"/>
              <a:gd name="connsiteX23377" fmla="*/ 4982108 w 8079933"/>
              <a:gd name="connsiteY23377" fmla="*/ 888902 h 4687251"/>
              <a:gd name="connsiteX23378" fmla="*/ 4980805 w 8079933"/>
              <a:gd name="connsiteY23378" fmla="*/ 888793 h 4687251"/>
              <a:gd name="connsiteX23379" fmla="*/ 4978960 w 8079933"/>
              <a:gd name="connsiteY23379" fmla="*/ 886520 h 4687251"/>
              <a:gd name="connsiteX23380" fmla="*/ 4974077 w 8079933"/>
              <a:gd name="connsiteY23380" fmla="*/ 883921 h 4687251"/>
              <a:gd name="connsiteX23381" fmla="*/ 4972124 w 8079933"/>
              <a:gd name="connsiteY23381" fmla="*/ 884787 h 4687251"/>
              <a:gd name="connsiteX23382" fmla="*/ 4972124 w 8079933"/>
              <a:gd name="connsiteY23382" fmla="*/ 886845 h 4687251"/>
              <a:gd name="connsiteX23383" fmla="*/ 4976139 w 8079933"/>
              <a:gd name="connsiteY23383" fmla="*/ 890092 h 4687251"/>
              <a:gd name="connsiteX23384" fmla="*/ 4976139 w 8079933"/>
              <a:gd name="connsiteY23384" fmla="*/ 892908 h 4687251"/>
              <a:gd name="connsiteX23385" fmla="*/ 4972775 w 8079933"/>
              <a:gd name="connsiteY23385" fmla="*/ 893232 h 4687251"/>
              <a:gd name="connsiteX23386" fmla="*/ 4967458 w 8079933"/>
              <a:gd name="connsiteY23386" fmla="*/ 890634 h 4687251"/>
              <a:gd name="connsiteX23387" fmla="*/ 4964636 w 8079933"/>
              <a:gd name="connsiteY23387" fmla="*/ 886845 h 4687251"/>
              <a:gd name="connsiteX23388" fmla="*/ 4962791 w 8079933"/>
              <a:gd name="connsiteY23388" fmla="*/ 887602 h 4687251"/>
              <a:gd name="connsiteX23389" fmla="*/ 4961707 w 8079933"/>
              <a:gd name="connsiteY23389" fmla="*/ 891716 h 4687251"/>
              <a:gd name="connsiteX23390" fmla="*/ 4959970 w 8079933"/>
              <a:gd name="connsiteY23390" fmla="*/ 891933 h 4687251"/>
              <a:gd name="connsiteX23391" fmla="*/ 4957800 w 8079933"/>
              <a:gd name="connsiteY23391" fmla="*/ 887169 h 4687251"/>
              <a:gd name="connsiteX23392" fmla="*/ 4955738 w 8079933"/>
              <a:gd name="connsiteY23392" fmla="*/ 883704 h 4687251"/>
              <a:gd name="connsiteX23393" fmla="*/ 4951072 w 8079933"/>
              <a:gd name="connsiteY23393" fmla="*/ 880890 h 4687251"/>
              <a:gd name="connsiteX23394" fmla="*/ 4947599 w 8079933"/>
              <a:gd name="connsiteY23394" fmla="*/ 880023 h 4687251"/>
              <a:gd name="connsiteX23395" fmla="*/ 4945537 w 8079933"/>
              <a:gd name="connsiteY23395" fmla="*/ 881214 h 4687251"/>
              <a:gd name="connsiteX23396" fmla="*/ 4947708 w 8079933"/>
              <a:gd name="connsiteY23396" fmla="*/ 882622 h 4687251"/>
              <a:gd name="connsiteX23397" fmla="*/ 4953893 w 8079933"/>
              <a:gd name="connsiteY23397" fmla="*/ 885437 h 4687251"/>
              <a:gd name="connsiteX23398" fmla="*/ 4954978 w 8079933"/>
              <a:gd name="connsiteY23398" fmla="*/ 890309 h 4687251"/>
              <a:gd name="connsiteX23399" fmla="*/ 4951722 w 8079933"/>
              <a:gd name="connsiteY23399" fmla="*/ 894207 h 4687251"/>
              <a:gd name="connsiteX23400" fmla="*/ 4948468 w 8079933"/>
              <a:gd name="connsiteY23400" fmla="*/ 894423 h 4687251"/>
              <a:gd name="connsiteX23401" fmla="*/ 4944778 w 8079933"/>
              <a:gd name="connsiteY23401" fmla="*/ 891392 h 4687251"/>
              <a:gd name="connsiteX23402" fmla="*/ 4942933 w 8079933"/>
              <a:gd name="connsiteY23402" fmla="*/ 884896 h 4687251"/>
              <a:gd name="connsiteX23403" fmla="*/ 4941305 w 8079933"/>
              <a:gd name="connsiteY23403" fmla="*/ 881972 h 4687251"/>
              <a:gd name="connsiteX23404" fmla="*/ 4938592 w 8079933"/>
              <a:gd name="connsiteY23404" fmla="*/ 881106 h 4687251"/>
              <a:gd name="connsiteX23405" fmla="*/ 4938918 w 8079933"/>
              <a:gd name="connsiteY23405" fmla="*/ 885437 h 4687251"/>
              <a:gd name="connsiteX23406" fmla="*/ 4932949 w 8079933"/>
              <a:gd name="connsiteY23406" fmla="*/ 882947 h 4687251"/>
              <a:gd name="connsiteX23407" fmla="*/ 4928066 w 8079933"/>
              <a:gd name="connsiteY23407" fmla="*/ 884246 h 4687251"/>
              <a:gd name="connsiteX23408" fmla="*/ 4923291 w 8079933"/>
              <a:gd name="connsiteY23408" fmla="*/ 881972 h 4687251"/>
              <a:gd name="connsiteX23409" fmla="*/ 4916237 w 8079933"/>
              <a:gd name="connsiteY23409" fmla="*/ 881214 h 4687251"/>
              <a:gd name="connsiteX23410" fmla="*/ 4913634 w 8079933"/>
              <a:gd name="connsiteY23410" fmla="*/ 878724 h 4687251"/>
              <a:gd name="connsiteX23411" fmla="*/ 4913416 w 8079933"/>
              <a:gd name="connsiteY23411" fmla="*/ 875801 h 4687251"/>
              <a:gd name="connsiteX23412" fmla="*/ 4916237 w 8079933"/>
              <a:gd name="connsiteY23412" fmla="*/ 876667 h 4687251"/>
              <a:gd name="connsiteX23413" fmla="*/ 4918950 w 8079933"/>
              <a:gd name="connsiteY23413" fmla="*/ 876451 h 4687251"/>
              <a:gd name="connsiteX23414" fmla="*/ 4918625 w 8079933"/>
              <a:gd name="connsiteY23414" fmla="*/ 872986 h 4687251"/>
              <a:gd name="connsiteX23415" fmla="*/ 4914284 w 8079933"/>
              <a:gd name="connsiteY23415" fmla="*/ 869196 h 4687251"/>
              <a:gd name="connsiteX23416" fmla="*/ 4915152 w 8079933"/>
              <a:gd name="connsiteY23416" fmla="*/ 866490 h 4687251"/>
              <a:gd name="connsiteX23417" fmla="*/ 4918408 w 8079933"/>
              <a:gd name="connsiteY23417" fmla="*/ 864433 h 4687251"/>
              <a:gd name="connsiteX23418" fmla="*/ 4919927 w 8079933"/>
              <a:gd name="connsiteY23418" fmla="*/ 861509 h 4687251"/>
              <a:gd name="connsiteX23419" fmla="*/ 4922532 w 8079933"/>
              <a:gd name="connsiteY23419" fmla="*/ 861509 h 4687251"/>
              <a:gd name="connsiteX23420" fmla="*/ 4923725 w 8079933"/>
              <a:gd name="connsiteY23420" fmla="*/ 859560 h 4687251"/>
              <a:gd name="connsiteX23421" fmla="*/ 4921555 w 8079933"/>
              <a:gd name="connsiteY23421" fmla="*/ 858369 h 4687251"/>
              <a:gd name="connsiteX23422" fmla="*/ 4918300 w 8079933"/>
              <a:gd name="connsiteY23422" fmla="*/ 860643 h 4687251"/>
              <a:gd name="connsiteX23423" fmla="*/ 4914502 w 8079933"/>
              <a:gd name="connsiteY23423" fmla="*/ 860859 h 4687251"/>
              <a:gd name="connsiteX23424" fmla="*/ 4908967 w 8079933"/>
              <a:gd name="connsiteY23424" fmla="*/ 857503 h 4687251"/>
              <a:gd name="connsiteX23425" fmla="*/ 4904301 w 8079933"/>
              <a:gd name="connsiteY23425" fmla="*/ 850357 h 4687251"/>
              <a:gd name="connsiteX23426" fmla="*/ 4904084 w 8079933"/>
              <a:gd name="connsiteY23426" fmla="*/ 846027 h 4687251"/>
              <a:gd name="connsiteX23427" fmla="*/ 4904843 w 8079933"/>
              <a:gd name="connsiteY23427" fmla="*/ 843969 h 4687251"/>
              <a:gd name="connsiteX23428" fmla="*/ 4903650 w 8079933"/>
              <a:gd name="connsiteY23428" fmla="*/ 841588 h 4687251"/>
              <a:gd name="connsiteX23429" fmla="*/ 4901045 w 8079933"/>
              <a:gd name="connsiteY23429" fmla="*/ 846351 h 4687251"/>
              <a:gd name="connsiteX23430" fmla="*/ 4901045 w 8079933"/>
              <a:gd name="connsiteY23430" fmla="*/ 849599 h 4687251"/>
              <a:gd name="connsiteX23431" fmla="*/ 4897899 w 8079933"/>
              <a:gd name="connsiteY23431" fmla="*/ 851873 h 4687251"/>
              <a:gd name="connsiteX23432" fmla="*/ 4894969 w 8079933"/>
              <a:gd name="connsiteY23432" fmla="*/ 851007 h 4687251"/>
              <a:gd name="connsiteX23433" fmla="*/ 4893233 w 8079933"/>
              <a:gd name="connsiteY23433" fmla="*/ 844835 h 4687251"/>
              <a:gd name="connsiteX23434" fmla="*/ 4891171 w 8079933"/>
              <a:gd name="connsiteY23434" fmla="*/ 841588 h 4687251"/>
              <a:gd name="connsiteX23435" fmla="*/ 4891387 w 8079933"/>
              <a:gd name="connsiteY23435" fmla="*/ 838123 h 4687251"/>
              <a:gd name="connsiteX23436" fmla="*/ 4893666 w 8079933"/>
              <a:gd name="connsiteY23436" fmla="*/ 832601 h 4687251"/>
              <a:gd name="connsiteX23437" fmla="*/ 4890736 w 8079933"/>
              <a:gd name="connsiteY23437" fmla="*/ 836931 h 4687251"/>
              <a:gd name="connsiteX23438" fmla="*/ 4889651 w 8079933"/>
              <a:gd name="connsiteY23438" fmla="*/ 841588 h 4687251"/>
              <a:gd name="connsiteX23439" fmla="*/ 4891171 w 8079933"/>
              <a:gd name="connsiteY23439" fmla="*/ 847867 h 4687251"/>
              <a:gd name="connsiteX23440" fmla="*/ 4887264 w 8079933"/>
              <a:gd name="connsiteY23440" fmla="*/ 853930 h 4687251"/>
              <a:gd name="connsiteX23441" fmla="*/ 4883466 w 8079933"/>
              <a:gd name="connsiteY23441" fmla="*/ 855013 h 4687251"/>
              <a:gd name="connsiteX23442" fmla="*/ 4881078 w 8079933"/>
              <a:gd name="connsiteY23442" fmla="*/ 856312 h 4687251"/>
              <a:gd name="connsiteX23443" fmla="*/ 4876737 w 8079933"/>
              <a:gd name="connsiteY23443" fmla="*/ 854580 h 4687251"/>
              <a:gd name="connsiteX23444" fmla="*/ 4870335 w 8079933"/>
              <a:gd name="connsiteY23444" fmla="*/ 849599 h 4687251"/>
              <a:gd name="connsiteX23445" fmla="*/ 4870226 w 8079933"/>
              <a:gd name="connsiteY23445" fmla="*/ 846676 h 4687251"/>
              <a:gd name="connsiteX23446" fmla="*/ 4863824 w 8079933"/>
              <a:gd name="connsiteY23446" fmla="*/ 841370 h 4687251"/>
              <a:gd name="connsiteX23447" fmla="*/ 4862630 w 8079933"/>
              <a:gd name="connsiteY23447" fmla="*/ 837040 h 4687251"/>
              <a:gd name="connsiteX23448" fmla="*/ 4863607 w 8079933"/>
              <a:gd name="connsiteY23448" fmla="*/ 831735 h 4687251"/>
              <a:gd name="connsiteX23449" fmla="*/ 4862197 w 8079933"/>
              <a:gd name="connsiteY23449" fmla="*/ 825780 h 4687251"/>
              <a:gd name="connsiteX23450" fmla="*/ 4862088 w 8079933"/>
              <a:gd name="connsiteY23450" fmla="*/ 820907 h 4687251"/>
              <a:gd name="connsiteX23451" fmla="*/ 4866211 w 8079933"/>
              <a:gd name="connsiteY23451" fmla="*/ 815819 h 4687251"/>
              <a:gd name="connsiteX23452" fmla="*/ 4869250 w 8079933"/>
              <a:gd name="connsiteY23452" fmla="*/ 815386 h 4687251"/>
              <a:gd name="connsiteX23453" fmla="*/ 4872722 w 8079933"/>
              <a:gd name="connsiteY23453" fmla="*/ 817335 h 4687251"/>
              <a:gd name="connsiteX23454" fmla="*/ 4877063 w 8079933"/>
              <a:gd name="connsiteY23454" fmla="*/ 816144 h 4687251"/>
              <a:gd name="connsiteX23455" fmla="*/ 4879450 w 8079933"/>
              <a:gd name="connsiteY23455" fmla="*/ 817335 h 4687251"/>
              <a:gd name="connsiteX23456" fmla="*/ 4881512 w 8079933"/>
              <a:gd name="connsiteY23456" fmla="*/ 815602 h 4687251"/>
              <a:gd name="connsiteX23457" fmla="*/ 4879017 w 8079933"/>
              <a:gd name="connsiteY23457" fmla="*/ 810838 h 4687251"/>
              <a:gd name="connsiteX23458" fmla="*/ 4878799 w 8079933"/>
              <a:gd name="connsiteY23458" fmla="*/ 807482 h 4687251"/>
              <a:gd name="connsiteX23459" fmla="*/ 4881947 w 8079933"/>
              <a:gd name="connsiteY23459" fmla="*/ 804558 h 4687251"/>
              <a:gd name="connsiteX23460" fmla="*/ 4885202 w 8079933"/>
              <a:gd name="connsiteY23460" fmla="*/ 804450 h 4687251"/>
              <a:gd name="connsiteX23461" fmla="*/ 4887915 w 8079933"/>
              <a:gd name="connsiteY23461" fmla="*/ 802935 h 4687251"/>
              <a:gd name="connsiteX23462" fmla="*/ 4883140 w 8079933"/>
              <a:gd name="connsiteY23462" fmla="*/ 802935 h 4687251"/>
              <a:gd name="connsiteX23463" fmla="*/ 4879667 w 8079933"/>
              <a:gd name="connsiteY23463" fmla="*/ 799145 h 4687251"/>
              <a:gd name="connsiteX23464" fmla="*/ 4880535 w 8079933"/>
              <a:gd name="connsiteY23464" fmla="*/ 795681 h 4687251"/>
              <a:gd name="connsiteX23465" fmla="*/ 4884334 w 8079933"/>
              <a:gd name="connsiteY23465" fmla="*/ 792216 h 4687251"/>
              <a:gd name="connsiteX23466" fmla="*/ 4883248 w 8079933"/>
              <a:gd name="connsiteY23466" fmla="*/ 790159 h 4687251"/>
              <a:gd name="connsiteX23467" fmla="*/ 4880210 w 8079933"/>
              <a:gd name="connsiteY23467" fmla="*/ 791025 h 4687251"/>
              <a:gd name="connsiteX23468" fmla="*/ 4877063 w 8079933"/>
              <a:gd name="connsiteY23468" fmla="*/ 794815 h 4687251"/>
              <a:gd name="connsiteX23469" fmla="*/ 4874459 w 8079933"/>
              <a:gd name="connsiteY23469" fmla="*/ 794815 h 4687251"/>
              <a:gd name="connsiteX23470" fmla="*/ 4875327 w 8079933"/>
              <a:gd name="connsiteY23470" fmla="*/ 790809 h 4687251"/>
              <a:gd name="connsiteX23471" fmla="*/ 4879667 w 8079933"/>
              <a:gd name="connsiteY23471" fmla="*/ 787019 h 4687251"/>
              <a:gd name="connsiteX23472" fmla="*/ 4878582 w 8079933"/>
              <a:gd name="connsiteY23472" fmla="*/ 784962 h 4687251"/>
              <a:gd name="connsiteX23473" fmla="*/ 4872614 w 8079933"/>
              <a:gd name="connsiteY23473" fmla="*/ 788318 h 4687251"/>
              <a:gd name="connsiteX23474" fmla="*/ 4868816 w 8079933"/>
              <a:gd name="connsiteY23474" fmla="*/ 789509 h 4687251"/>
              <a:gd name="connsiteX23475" fmla="*/ 4866537 w 8079933"/>
              <a:gd name="connsiteY23475" fmla="*/ 786911 h 4687251"/>
              <a:gd name="connsiteX23476" fmla="*/ 4866863 w 8079933"/>
              <a:gd name="connsiteY23476" fmla="*/ 781605 h 4687251"/>
              <a:gd name="connsiteX23477" fmla="*/ 4870877 w 8079933"/>
              <a:gd name="connsiteY23477" fmla="*/ 774676 h 4687251"/>
              <a:gd name="connsiteX23478" fmla="*/ 4875869 w 8079933"/>
              <a:gd name="connsiteY23478" fmla="*/ 773160 h 4687251"/>
              <a:gd name="connsiteX23479" fmla="*/ 4880210 w 8079933"/>
              <a:gd name="connsiteY23479" fmla="*/ 773269 h 4687251"/>
              <a:gd name="connsiteX23480" fmla="*/ 4881187 w 8079933"/>
              <a:gd name="connsiteY23480" fmla="*/ 770778 h 4687251"/>
              <a:gd name="connsiteX23481" fmla="*/ 4879450 w 8079933"/>
              <a:gd name="connsiteY23481" fmla="*/ 769046 h 4687251"/>
              <a:gd name="connsiteX23482" fmla="*/ 4875327 w 8079933"/>
              <a:gd name="connsiteY23482" fmla="*/ 768505 h 4687251"/>
              <a:gd name="connsiteX23483" fmla="*/ 4874133 w 8079933"/>
              <a:gd name="connsiteY23483" fmla="*/ 763849 h 4687251"/>
              <a:gd name="connsiteX23484" fmla="*/ 4875652 w 8079933"/>
              <a:gd name="connsiteY23484" fmla="*/ 760817 h 4687251"/>
              <a:gd name="connsiteX23485" fmla="*/ 4876195 w 8079933"/>
              <a:gd name="connsiteY23485" fmla="*/ 755404 h 4687251"/>
              <a:gd name="connsiteX23486" fmla="*/ 4882380 w 8079933"/>
              <a:gd name="connsiteY23486" fmla="*/ 750965 h 4687251"/>
              <a:gd name="connsiteX23487" fmla="*/ 4885310 w 8079933"/>
              <a:gd name="connsiteY23487" fmla="*/ 748583 h 4687251"/>
              <a:gd name="connsiteX23488" fmla="*/ 4893449 w 8079933"/>
              <a:gd name="connsiteY23488" fmla="*/ 748583 h 4687251"/>
              <a:gd name="connsiteX23489" fmla="*/ 2942863 w 8079933"/>
              <a:gd name="connsiteY23489" fmla="*/ 738947 h 4687251"/>
              <a:gd name="connsiteX23490" fmla="*/ 2944925 w 8079933"/>
              <a:gd name="connsiteY23490" fmla="*/ 740030 h 4687251"/>
              <a:gd name="connsiteX23491" fmla="*/ 2943622 w 8079933"/>
              <a:gd name="connsiteY23491" fmla="*/ 741437 h 4687251"/>
              <a:gd name="connsiteX23492" fmla="*/ 2942212 w 8079933"/>
              <a:gd name="connsiteY23492" fmla="*/ 740571 h 4687251"/>
              <a:gd name="connsiteX23493" fmla="*/ 2949700 w 8079933"/>
              <a:gd name="connsiteY23493" fmla="*/ 738838 h 4687251"/>
              <a:gd name="connsiteX23494" fmla="*/ 2950893 w 8079933"/>
              <a:gd name="connsiteY23494" fmla="*/ 739054 h 4687251"/>
              <a:gd name="connsiteX23495" fmla="*/ 2951327 w 8079933"/>
              <a:gd name="connsiteY23495" fmla="*/ 740246 h 4687251"/>
              <a:gd name="connsiteX23496" fmla="*/ 2950459 w 8079933"/>
              <a:gd name="connsiteY23496" fmla="*/ 740246 h 4687251"/>
              <a:gd name="connsiteX23497" fmla="*/ 2936677 w 8079933"/>
              <a:gd name="connsiteY23497" fmla="*/ 738405 h 4687251"/>
              <a:gd name="connsiteX23498" fmla="*/ 2937546 w 8079933"/>
              <a:gd name="connsiteY23498" fmla="*/ 740245 h 4687251"/>
              <a:gd name="connsiteX23499" fmla="*/ 2935918 w 8079933"/>
              <a:gd name="connsiteY23499" fmla="*/ 741870 h 4687251"/>
              <a:gd name="connsiteX23500" fmla="*/ 2935375 w 8079933"/>
              <a:gd name="connsiteY23500" fmla="*/ 740570 h 4687251"/>
              <a:gd name="connsiteX23501" fmla="*/ 4253961 w 8079933"/>
              <a:gd name="connsiteY23501" fmla="*/ 738296 h 4687251"/>
              <a:gd name="connsiteX23502" fmla="*/ 4258302 w 8079933"/>
              <a:gd name="connsiteY23502" fmla="*/ 738621 h 4687251"/>
              <a:gd name="connsiteX23503" fmla="*/ 4261557 w 8079933"/>
              <a:gd name="connsiteY23503" fmla="*/ 742085 h 4687251"/>
              <a:gd name="connsiteX23504" fmla="*/ 4261015 w 8079933"/>
              <a:gd name="connsiteY23504" fmla="*/ 748473 h 4687251"/>
              <a:gd name="connsiteX23505" fmla="*/ 4259170 w 8079933"/>
              <a:gd name="connsiteY23505" fmla="*/ 751396 h 4687251"/>
              <a:gd name="connsiteX23506" fmla="*/ 4257433 w 8079933"/>
              <a:gd name="connsiteY23506" fmla="*/ 750314 h 4687251"/>
              <a:gd name="connsiteX23507" fmla="*/ 4256891 w 8079933"/>
              <a:gd name="connsiteY23507" fmla="*/ 747282 h 4687251"/>
              <a:gd name="connsiteX23508" fmla="*/ 4253852 w 8079933"/>
              <a:gd name="connsiteY23508" fmla="*/ 744900 h 4687251"/>
              <a:gd name="connsiteX23509" fmla="*/ 4252659 w 8079933"/>
              <a:gd name="connsiteY23509" fmla="*/ 741219 h 4687251"/>
              <a:gd name="connsiteX23510" fmla="*/ 3572041 w 8079933"/>
              <a:gd name="connsiteY23510" fmla="*/ 734507 h 4687251"/>
              <a:gd name="connsiteX23511" fmla="*/ 3581590 w 8079933"/>
              <a:gd name="connsiteY23511" fmla="*/ 740137 h 4687251"/>
              <a:gd name="connsiteX23512" fmla="*/ 3581807 w 8079933"/>
              <a:gd name="connsiteY23512" fmla="*/ 746200 h 4687251"/>
              <a:gd name="connsiteX23513" fmla="*/ 3580071 w 8079933"/>
              <a:gd name="connsiteY23513" fmla="*/ 749123 h 4687251"/>
              <a:gd name="connsiteX23514" fmla="*/ 3579203 w 8079933"/>
              <a:gd name="connsiteY23514" fmla="*/ 753562 h 4687251"/>
              <a:gd name="connsiteX23515" fmla="*/ 3575297 w 8079933"/>
              <a:gd name="connsiteY23515" fmla="*/ 755945 h 4687251"/>
              <a:gd name="connsiteX23516" fmla="*/ 3569979 w 8079933"/>
              <a:gd name="connsiteY23516" fmla="*/ 755294 h 4687251"/>
              <a:gd name="connsiteX23517" fmla="*/ 3566615 w 8079933"/>
              <a:gd name="connsiteY23517" fmla="*/ 755294 h 4687251"/>
              <a:gd name="connsiteX23518" fmla="*/ 3562166 w 8079933"/>
              <a:gd name="connsiteY23518" fmla="*/ 750964 h 4687251"/>
              <a:gd name="connsiteX23519" fmla="*/ 3558693 w 8079933"/>
              <a:gd name="connsiteY23519" fmla="*/ 749773 h 4687251"/>
              <a:gd name="connsiteX23520" fmla="*/ 3555439 w 8079933"/>
              <a:gd name="connsiteY23520" fmla="*/ 747499 h 4687251"/>
              <a:gd name="connsiteX23521" fmla="*/ 3555330 w 8079933"/>
              <a:gd name="connsiteY23521" fmla="*/ 743602 h 4687251"/>
              <a:gd name="connsiteX23522" fmla="*/ 3559020 w 8079933"/>
              <a:gd name="connsiteY23522" fmla="*/ 736889 h 4687251"/>
              <a:gd name="connsiteX23523" fmla="*/ 3565639 w 8079933"/>
              <a:gd name="connsiteY23523" fmla="*/ 735698 h 4687251"/>
              <a:gd name="connsiteX23524" fmla="*/ 2074404 w 8079933"/>
              <a:gd name="connsiteY23524" fmla="*/ 729635 h 4687251"/>
              <a:gd name="connsiteX23525" fmla="*/ 2076032 w 8079933"/>
              <a:gd name="connsiteY23525" fmla="*/ 731584 h 4687251"/>
              <a:gd name="connsiteX23526" fmla="*/ 2075706 w 8079933"/>
              <a:gd name="connsiteY23526" fmla="*/ 733857 h 4687251"/>
              <a:gd name="connsiteX23527" fmla="*/ 2077985 w 8079933"/>
              <a:gd name="connsiteY23527" fmla="*/ 736456 h 4687251"/>
              <a:gd name="connsiteX23528" fmla="*/ 2075598 w 8079933"/>
              <a:gd name="connsiteY23528" fmla="*/ 739163 h 4687251"/>
              <a:gd name="connsiteX23529" fmla="*/ 2075164 w 8079933"/>
              <a:gd name="connsiteY23529" fmla="*/ 743926 h 4687251"/>
              <a:gd name="connsiteX23530" fmla="*/ 2072993 w 8079933"/>
              <a:gd name="connsiteY23530" fmla="*/ 744143 h 4687251"/>
              <a:gd name="connsiteX23531" fmla="*/ 2072017 w 8079933"/>
              <a:gd name="connsiteY23531" fmla="*/ 738188 h 4687251"/>
              <a:gd name="connsiteX23532" fmla="*/ 2070498 w 8079933"/>
              <a:gd name="connsiteY23532" fmla="*/ 736456 h 4687251"/>
              <a:gd name="connsiteX23533" fmla="*/ 2071583 w 8079933"/>
              <a:gd name="connsiteY23533" fmla="*/ 730718 h 4687251"/>
              <a:gd name="connsiteX23534" fmla="*/ 3609697 w 8079933"/>
              <a:gd name="connsiteY23534" fmla="*/ 726928 h 4687251"/>
              <a:gd name="connsiteX23535" fmla="*/ 3609914 w 8079933"/>
              <a:gd name="connsiteY23535" fmla="*/ 729526 h 4687251"/>
              <a:gd name="connsiteX23536" fmla="*/ 3606550 w 8079933"/>
              <a:gd name="connsiteY23536" fmla="*/ 733207 h 4687251"/>
              <a:gd name="connsiteX23537" fmla="*/ 3604055 w 8079933"/>
              <a:gd name="connsiteY23537" fmla="*/ 732882 h 4687251"/>
              <a:gd name="connsiteX23538" fmla="*/ 3604272 w 8079933"/>
              <a:gd name="connsiteY23538" fmla="*/ 729309 h 4687251"/>
              <a:gd name="connsiteX23539" fmla="*/ 3607202 w 8079933"/>
              <a:gd name="connsiteY23539" fmla="*/ 727144 h 4687251"/>
              <a:gd name="connsiteX23540" fmla="*/ 2943946 w 8079933"/>
              <a:gd name="connsiteY23540" fmla="*/ 726712 h 4687251"/>
              <a:gd name="connsiteX23541" fmla="*/ 2945031 w 8079933"/>
              <a:gd name="connsiteY23541" fmla="*/ 729635 h 4687251"/>
              <a:gd name="connsiteX23542" fmla="*/ 2946550 w 8079933"/>
              <a:gd name="connsiteY23542" fmla="*/ 732559 h 4687251"/>
              <a:gd name="connsiteX23543" fmla="*/ 2945357 w 8079933"/>
              <a:gd name="connsiteY23543" fmla="*/ 734075 h 4687251"/>
              <a:gd name="connsiteX23544" fmla="*/ 2943404 w 8079933"/>
              <a:gd name="connsiteY23544" fmla="*/ 733749 h 4687251"/>
              <a:gd name="connsiteX23545" fmla="*/ 2943296 w 8079933"/>
              <a:gd name="connsiteY23545" fmla="*/ 728661 h 4687251"/>
              <a:gd name="connsiteX23546" fmla="*/ 482573 w 8079933"/>
              <a:gd name="connsiteY23546" fmla="*/ 722164 h 4687251"/>
              <a:gd name="connsiteX23547" fmla="*/ 485396 w 8079933"/>
              <a:gd name="connsiteY23547" fmla="*/ 722164 h 4687251"/>
              <a:gd name="connsiteX23548" fmla="*/ 485396 w 8079933"/>
              <a:gd name="connsiteY23548" fmla="*/ 731150 h 4687251"/>
              <a:gd name="connsiteX23549" fmla="*/ 483227 w 8079933"/>
              <a:gd name="connsiteY23549" fmla="*/ 734182 h 4687251"/>
              <a:gd name="connsiteX23550" fmla="*/ 489303 w 8079933"/>
              <a:gd name="connsiteY23550" fmla="*/ 736456 h 4687251"/>
              <a:gd name="connsiteX23551" fmla="*/ 489522 w 8079933"/>
              <a:gd name="connsiteY23551" fmla="*/ 739596 h 4687251"/>
              <a:gd name="connsiteX23552" fmla="*/ 494947 w 8079933"/>
              <a:gd name="connsiteY23552" fmla="*/ 740245 h 4687251"/>
              <a:gd name="connsiteX23553" fmla="*/ 497441 w 8079933"/>
              <a:gd name="connsiteY23553" fmla="*/ 737972 h 4687251"/>
              <a:gd name="connsiteX23554" fmla="*/ 506340 w 8079933"/>
              <a:gd name="connsiteY23554" fmla="*/ 738837 h 4687251"/>
              <a:gd name="connsiteX23555" fmla="*/ 511006 w 8079933"/>
              <a:gd name="connsiteY23555" fmla="*/ 743385 h 4687251"/>
              <a:gd name="connsiteX23556" fmla="*/ 510463 w 8079933"/>
              <a:gd name="connsiteY23556" fmla="*/ 746308 h 4687251"/>
              <a:gd name="connsiteX23557" fmla="*/ 507750 w 8079933"/>
              <a:gd name="connsiteY23557" fmla="*/ 748798 h 4687251"/>
              <a:gd name="connsiteX23558" fmla="*/ 510463 w 8079933"/>
              <a:gd name="connsiteY23558" fmla="*/ 754862 h 4687251"/>
              <a:gd name="connsiteX23559" fmla="*/ 515130 w 8079933"/>
              <a:gd name="connsiteY23559" fmla="*/ 758110 h 4687251"/>
              <a:gd name="connsiteX23560" fmla="*/ 515021 w 8079933"/>
              <a:gd name="connsiteY23560" fmla="*/ 762982 h 4687251"/>
              <a:gd name="connsiteX23561" fmla="*/ 523810 w 8079933"/>
              <a:gd name="connsiteY23561" fmla="*/ 771319 h 4687251"/>
              <a:gd name="connsiteX23562" fmla="*/ 525115 w 8079933"/>
              <a:gd name="connsiteY23562" fmla="*/ 775867 h 4687251"/>
              <a:gd name="connsiteX23563" fmla="*/ 521206 w 8079933"/>
              <a:gd name="connsiteY23563" fmla="*/ 778573 h 4687251"/>
              <a:gd name="connsiteX23564" fmla="*/ 515021 w 8079933"/>
              <a:gd name="connsiteY23564" fmla="*/ 774675 h 4687251"/>
              <a:gd name="connsiteX23565" fmla="*/ 512417 w 8079933"/>
              <a:gd name="connsiteY23565" fmla="*/ 775650 h 4687251"/>
              <a:gd name="connsiteX23566" fmla="*/ 510463 w 8079933"/>
              <a:gd name="connsiteY23566" fmla="*/ 778032 h 4687251"/>
              <a:gd name="connsiteX23567" fmla="*/ 505689 w 8079933"/>
              <a:gd name="connsiteY23567" fmla="*/ 778249 h 4687251"/>
              <a:gd name="connsiteX23568" fmla="*/ 498962 w 8079933"/>
              <a:gd name="connsiteY23568" fmla="*/ 783770 h 4687251"/>
              <a:gd name="connsiteX23569" fmla="*/ 494947 w 8079933"/>
              <a:gd name="connsiteY23569" fmla="*/ 781821 h 4687251"/>
              <a:gd name="connsiteX23570" fmla="*/ 499286 w 8079933"/>
              <a:gd name="connsiteY23570" fmla="*/ 775650 h 4687251"/>
              <a:gd name="connsiteX23571" fmla="*/ 497875 w 8079933"/>
              <a:gd name="connsiteY23571" fmla="*/ 770020 h 4687251"/>
              <a:gd name="connsiteX23572" fmla="*/ 492558 w 8079933"/>
              <a:gd name="connsiteY23572" fmla="*/ 767205 h 4687251"/>
              <a:gd name="connsiteX23573" fmla="*/ 493753 w 8079933"/>
              <a:gd name="connsiteY23573" fmla="*/ 761250 h 4687251"/>
              <a:gd name="connsiteX23574" fmla="*/ 492015 w 8079933"/>
              <a:gd name="connsiteY23574" fmla="*/ 753346 h 4687251"/>
              <a:gd name="connsiteX23575" fmla="*/ 486914 w 8079933"/>
              <a:gd name="connsiteY23575" fmla="*/ 749231 h 4687251"/>
              <a:gd name="connsiteX23576" fmla="*/ 478993 w 8079933"/>
              <a:gd name="connsiteY23576" fmla="*/ 749015 h 4687251"/>
              <a:gd name="connsiteX23577" fmla="*/ 477258 w 8079933"/>
              <a:gd name="connsiteY23577" fmla="*/ 753021 h 4687251"/>
              <a:gd name="connsiteX23578" fmla="*/ 472373 w 8079933"/>
              <a:gd name="connsiteY23578" fmla="*/ 753129 h 4687251"/>
              <a:gd name="connsiteX23579" fmla="*/ 467599 w 8079933"/>
              <a:gd name="connsiteY23579" fmla="*/ 747500 h 4687251"/>
              <a:gd name="connsiteX23580" fmla="*/ 467599 w 8079933"/>
              <a:gd name="connsiteY23580" fmla="*/ 741436 h 4687251"/>
              <a:gd name="connsiteX23581" fmla="*/ 478669 w 8079933"/>
              <a:gd name="connsiteY23581" fmla="*/ 731475 h 4687251"/>
              <a:gd name="connsiteX23582" fmla="*/ 5329904 w 8079933"/>
              <a:gd name="connsiteY23582" fmla="*/ 717834 h 4687251"/>
              <a:gd name="connsiteX23583" fmla="*/ 5334787 w 8079933"/>
              <a:gd name="connsiteY23583" fmla="*/ 718483 h 4687251"/>
              <a:gd name="connsiteX23584" fmla="*/ 5337066 w 8079933"/>
              <a:gd name="connsiteY23584" fmla="*/ 719783 h 4687251"/>
              <a:gd name="connsiteX23585" fmla="*/ 5337500 w 8079933"/>
              <a:gd name="connsiteY23585" fmla="*/ 723464 h 4687251"/>
              <a:gd name="connsiteX23586" fmla="*/ 5333376 w 8079933"/>
              <a:gd name="connsiteY23586" fmla="*/ 728877 h 4687251"/>
              <a:gd name="connsiteX23587" fmla="*/ 5329578 w 8079933"/>
              <a:gd name="connsiteY23587" fmla="*/ 730610 h 4687251"/>
              <a:gd name="connsiteX23588" fmla="*/ 5326323 w 8079933"/>
              <a:gd name="connsiteY23588" fmla="*/ 735915 h 4687251"/>
              <a:gd name="connsiteX23589" fmla="*/ 5323284 w 8079933"/>
              <a:gd name="connsiteY23589" fmla="*/ 737431 h 4687251"/>
              <a:gd name="connsiteX23590" fmla="*/ 5318509 w 8079933"/>
              <a:gd name="connsiteY23590" fmla="*/ 741546 h 4687251"/>
              <a:gd name="connsiteX23591" fmla="*/ 5315905 w 8079933"/>
              <a:gd name="connsiteY23591" fmla="*/ 741979 h 4687251"/>
              <a:gd name="connsiteX23592" fmla="*/ 5313626 w 8079933"/>
              <a:gd name="connsiteY23592" fmla="*/ 738947 h 4687251"/>
              <a:gd name="connsiteX23593" fmla="*/ 5314386 w 8079933"/>
              <a:gd name="connsiteY23593" fmla="*/ 734508 h 4687251"/>
              <a:gd name="connsiteX23594" fmla="*/ 5317099 w 8079933"/>
              <a:gd name="connsiteY23594" fmla="*/ 732559 h 4687251"/>
              <a:gd name="connsiteX23595" fmla="*/ 5320245 w 8079933"/>
              <a:gd name="connsiteY23595" fmla="*/ 728228 h 4687251"/>
              <a:gd name="connsiteX23596" fmla="*/ 5319703 w 8079933"/>
              <a:gd name="connsiteY23596" fmla="*/ 723681 h 4687251"/>
              <a:gd name="connsiteX23597" fmla="*/ 5322958 w 8079933"/>
              <a:gd name="connsiteY23597" fmla="*/ 719783 h 4687251"/>
              <a:gd name="connsiteX23598" fmla="*/ 2938088 w 8079933"/>
              <a:gd name="connsiteY23598" fmla="*/ 713286 h 4687251"/>
              <a:gd name="connsiteX23599" fmla="*/ 2939824 w 8079933"/>
              <a:gd name="connsiteY23599" fmla="*/ 714261 h 4687251"/>
              <a:gd name="connsiteX23600" fmla="*/ 2944707 w 8079933"/>
              <a:gd name="connsiteY23600" fmla="*/ 715126 h 4687251"/>
              <a:gd name="connsiteX23601" fmla="*/ 2941669 w 8079933"/>
              <a:gd name="connsiteY23601" fmla="*/ 717508 h 4687251"/>
              <a:gd name="connsiteX23602" fmla="*/ 2938088 w 8079933"/>
              <a:gd name="connsiteY23602" fmla="*/ 716750 h 4687251"/>
              <a:gd name="connsiteX23603" fmla="*/ 2937003 w 8079933"/>
              <a:gd name="connsiteY23603" fmla="*/ 714693 h 4687251"/>
              <a:gd name="connsiteX23604" fmla="*/ 2511834 w 8079933"/>
              <a:gd name="connsiteY23604" fmla="*/ 712529 h 4687251"/>
              <a:gd name="connsiteX23605" fmla="*/ 2515089 w 8079933"/>
              <a:gd name="connsiteY23605" fmla="*/ 715235 h 4687251"/>
              <a:gd name="connsiteX23606" fmla="*/ 2513570 w 8079933"/>
              <a:gd name="connsiteY23606" fmla="*/ 716643 h 4687251"/>
              <a:gd name="connsiteX23607" fmla="*/ 2510314 w 8079933"/>
              <a:gd name="connsiteY23607" fmla="*/ 715777 h 4687251"/>
              <a:gd name="connsiteX23608" fmla="*/ 2509772 w 8079933"/>
              <a:gd name="connsiteY23608" fmla="*/ 712962 h 4687251"/>
              <a:gd name="connsiteX23609" fmla="*/ 2501308 w 8079933"/>
              <a:gd name="connsiteY23609" fmla="*/ 711988 h 4687251"/>
              <a:gd name="connsiteX23610" fmla="*/ 2503045 w 8079933"/>
              <a:gd name="connsiteY23610" fmla="*/ 712204 h 4687251"/>
              <a:gd name="connsiteX23611" fmla="*/ 2503587 w 8079933"/>
              <a:gd name="connsiteY23611" fmla="*/ 715452 h 4687251"/>
              <a:gd name="connsiteX23612" fmla="*/ 2501091 w 8079933"/>
              <a:gd name="connsiteY23612" fmla="*/ 716643 h 4687251"/>
              <a:gd name="connsiteX23613" fmla="*/ 2499355 w 8079933"/>
              <a:gd name="connsiteY23613" fmla="*/ 713720 h 4687251"/>
              <a:gd name="connsiteX23614" fmla="*/ 2163604 w 8079933"/>
              <a:gd name="connsiteY23614" fmla="*/ 710363 h 4687251"/>
              <a:gd name="connsiteX23615" fmla="*/ 2163604 w 8079933"/>
              <a:gd name="connsiteY23615" fmla="*/ 714910 h 4687251"/>
              <a:gd name="connsiteX23616" fmla="*/ 2161868 w 8079933"/>
              <a:gd name="connsiteY23616" fmla="*/ 715669 h 4687251"/>
              <a:gd name="connsiteX23617" fmla="*/ 2160349 w 8079933"/>
              <a:gd name="connsiteY23617" fmla="*/ 714044 h 4687251"/>
              <a:gd name="connsiteX23618" fmla="*/ 2161542 w 8079933"/>
              <a:gd name="connsiteY23618" fmla="*/ 711121 h 4687251"/>
              <a:gd name="connsiteX23619" fmla="*/ 3584196 w 8079933"/>
              <a:gd name="connsiteY23619" fmla="*/ 706141 h 4687251"/>
              <a:gd name="connsiteX23620" fmla="*/ 3587342 w 8079933"/>
              <a:gd name="connsiteY23620" fmla="*/ 706682 h 4687251"/>
              <a:gd name="connsiteX23621" fmla="*/ 3591792 w 8079933"/>
              <a:gd name="connsiteY23621" fmla="*/ 709822 h 4687251"/>
              <a:gd name="connsiteX23622" fmla="*/ 3592443 w 8079933"/>
              <a:gd name="connsiteY23622" fmla="*/ 714045 h 4687251"/>
              <a:gd name="connsiteX23623" fmla="*/ 3590381 w 8079933"/>
              <a:gd name="connsiteY23623" fmla="*/ 716535 h 4687251"/>
              <a:gd name="connsiteX23624" fmla="*/ 3590055 w 8079933"/>
              <a:gd name="connsiteY23624" fmla="*/ 720432 h 4687251"/>
              <a:gd name="connsiteX23625" fmla="*/ 3587886 w 8079933"/>
              <a:gd name="connsiteY23625" fmla="*/ 722057 h 4687251"/>
              <a:gd name="connsiteX23626" fmla="*/ 3583979 w 8079933"/>
              <a:gd name="connsiteY23626" fmla="*/ 719133 h 4687251"/>
              <a:gd name="connsiteX23627" fmla="*/ 3582351 w 8079933"/>
              <a:gd name="connsiteY23627" fmla="*/ 715344 h 4687251"/>
              <a:gd name="connsiteX23628" fmla="*/ 3582460 w 8079933"/>
              <a:gd name="connsiteY23628" fmla="*/ 709172 h 4687251"/>
              <a:gd name="connsiteX23629" fmla="*/ 2495230 w 8079933"/>
              <a:gd name="connsiteY23629" fmla="*/ 705166 h 4687251"/>
              <a:gd name="connsiteX23630" fmla="*/ 2496750 w 8079933"/>
              <a:gd name="connsiteY23630" fmla="*/ 707223 h 4687251"/>
              <a:gd name="connsiteX23631" fmla="*/ 2496750 w 8079933"/>
              <a:gd name="connsiteY23631" fmla="*/ 710146 h 4687251"/>
              <a:gd name="connsiteX23632" fmla="*/ 2493929 w 8079933"/>
              <a:gd name="connsiteY23632" fmla="*/ 712421 h 4687251"/>
              <a:gd name="connsiteX23633" fmla="*/ 2493495 w 8079933"/>
              <a:gd name="connsiteY23633" fmla="*/ 707656 h 4687251"/>
              <a:gd name="connsiteX23634" fmla="*/ 5254158 w 8079933"/>
              <a:gd name="connsiteY23634" fmla="*/ 701593 h 4687251"/>
              <a:gd name="connsiteX23635" fmla="*/ 5258390 w 8079933"/>
              <a:gd name="connsiteY23635" fmla="*/ 702784 h 4687251"/>
              <a:gd name="connsiteX23636" fmla="*/ 5259909 w 8079933"/>
              <a:gd name="connsiteY23636" fmla="*/ 706032 h 4687251"/>
              <a:gd name="connsiteX23637" fmla="*/ 5257522 w 8079933"/>
              <a:gd name="connsiteY23637" fmla="*/ 708089 h 4687251"/>
              <a:gd name="connsiteX23638" fmla="*/ 5257413 w 8079933"/>
              <a:gd name="connsiteY23638" fmla="*/ 711338 h 4687251"/>
              <a:gd name="connsiteX23639" fmla="*/ 5259909 w 8079933"/>
              <a:gd name="connsiteY23639" fmla="*/ 713936 h 4687251"/>
              <a:gd name="connsiteX23640" fmla="*/ 5260886 w 8079933"/>
              <a:gd name="connsiteY23640" fmla="*/ 718592 h 4687251"/>
              <a:gd name="connsiteX23641" fmla="*/ 5257413 w 8079933"/>
              <a:gd name="connsiteY23641" fmla="*/ 718375 h 4687251"/>
              <a:gd name="connsiteX23642" fmla="*/ 5254809 w 8079933"/>
              <a:gd name="connsiteY23642" fmla="*/ 715344 h 4687251"/>
              <a:gd name="connsiteX23643" fmla="*/ 5250903 w 8079933"/>
              <a:gd name="connsiteY23643" fmla="*/ 714910 h 4687251"/>
              <a:gd name="connsiteX23644" fmla="*/ 5249058 w 8079933"/>
              <a:gd name="connsiteY23644" fmla="*/ 711554 h 4687251"/>
              <a:gd name="connsiteX23645" fmla="*/ 5250468 w 8079933"/>
              <a:gd name="connsiteY23645" fmla="*/ 703434 h 4687251"/>
              <a:gd name="connsiteX23646" fmla="*/ 2945250 w 8079933"/>
              <a:gd name="connsiteY23646" fmla="*/ 701376 h 4687251"/>
              <a:gd name="connsiteX23647" fmla="*/ 2949590 w 8079933"/>
              <a:gd name="connsiteY23647" fmla="*/ 704191 h 4687251"/>
              <a:gd name="connsiteX23648" fmla="*/ 2951001 w 8079933"/>
              <a:gd name="connsiteY23648" fmla="*/ 707007 h 4687251"/>
              <a:gd name="connsiteX23649" fmla="*/ 2948289 w 8079933"/>
              <a:gd name="connsiteY23649" fmla="*/ 708523 h 4687251"/>
              <a:gd name="connsiteX23650" fmla="*/ 2946444 w 8079933"/>
              <a:gd name="connsiteY23650" fmla="*/ 705815 h 4687251"/>
              <a:gd name="connsiteX23651" fmla="*/ 2942971 w 8079933"/>
              <a:gd name="connsiteY23651" fmla="*/ 705815 h 4687251"/>
              <a:gd name="connsiteX23652" fmla="*/ 2941669 w 8079933"/>
              <a:gd name="connsiteY23652" fmla="*/ 703433 h 4687251"/>
              <a:gd name="connsiteX23653" fmla="*/ 2942646 w 8079933"/>
              <a:gd name="connsiteY23653" fmla="*/ 701917 h 4687251"/>
              <a:gd name="connsiteX23654" fmla="*/ 5181994 w 8079933"/>
              <a:gd name="connsiteY23654" fmla="*/ 688600 h 4687251"/>
              <a:gd name="connsiteX23655" fmla="*/ 5184707 w 8079933"/>
              <a:gd name="connsiteY23655" fmla="*/ 690332 h 4687251"/>
              <a:gd name="connsiteX23656" fmla="*/ 5188831 w 8079933"/>
              <a:gd name="connsiteY23656" fmla="*/ 695421 h 4687251"/>
              <a:gd name="connsiteX23657" fmla="*/ 5189699 w 8079933"/>
              <a:gd name="connsiteY23657" fmla="*/ 699210 h 4687251"/>
              <a:gd name="connsiteX23658" fmla="*/ 5196101 w 8079933"/>
              <a:gd name="connsiteY23658" fmla="*/ 702459 h 4687251"/>
              <a:gd name="connsiteX23659" fmla="*/ 5198489 w 8079933"/>
              <a:gd name="connsiteY23659" fmla="*/ 707439 h 4687251"/>
              <a:gd name="connsiteX23660" fmla="*/ 5197837 w 8079933"/>
              <a:gd name="connsiteY23660" fmla="*/ 709930 h 4687251"/>
              <a:gd name="connsiteX23661" fmla="*/ 5193063 w 8079933"/>
              <a:gd name="connsiteY23661" fmla="*/ 711553 h 4687251"/>
              <a:gd name="connsiteX23662" fmla="*/ 5188614 w 8079933"/>
              <a:gd name="connsiteY23662" fmla="*/ 715451 h 4687251"/>
              <a:gd name="connsiteX23663" fmla="*/ 5186878 w 8079933"/>
              <a:gd name="connsiteY23663" fmla="*/ 719349 h 4687251"/>
              <a:gd name="connsiteX23664" fmla="*/ 5183297 w 8079933"/>
              <a:gd name="connsiteY23664" fmla="*/ 720216 h 4687251"/>
              <a:gd name="connsiteX23665" fmla="*/ 5181452 w 8079933"/>
              <a:gd name="connsiteY23665" fmla="*/ 719241 h 4687251"/>
              <a:gd name="connsiteX23666" fmla="*/ 5178847 w 8079933"/>
              <a:gd name="connsiteY23666" fmla="*/ 720432 h 4687251"/>
              <a:gd name="connsiteX23667" fmla="*/ 5176894 w 8079933"/>
              <a:gd name="connsiteY23667" fmla="*/ 715992 h 4687251"/>
              <a:gd name="connsiteX23668" fmla="*/ 5174072 w 8079933"/>
              <a:gd name="connsiteY23668" fmla="*/ 716210 h 4687251"/>
              <a:gd name="connsiteX23669" fmla="*/ 5173747 w 8079933"/>
              <a:gd name="connsiteY23669" fmla="*/ 719024 h 4687251"/>
              <a:gd name="connsiteX23670" fmla="*/ 5174941 w 8079933"/>
              <a:gd name="connsiteY23670" fmla="*/ 721731 h 4687251"/>
              <a:gd name="connsiteX23671" fmla="*/ 5173096 w 8079933"/>
              <a:gd name="connsiteY23671" fmla="*/ 721406 h 4687251"/>
              <a:gd name="connsiteX23672" fmla="*/ 5168972 w 8079933"/>
              <a:gd name="connsiteY23672" fmla="*/ 717833 h 4687251"/>
              <a:gd name="connsiteX23673" fmla="*/ 5169623 w 8079933"/>
              <a:gd name="connsiteY23673" fmla="*/ 711229 h 4687251"/>
              <a:gd name="connsiteX23674" fmla="*/ 5168972 w 8079933"/>
              <a:gd name="connsiteY23674" fmla="*/ 706790 h 4687251"/>
              <a:gd name="connsiteX23675" fmla="*/ 5165825 w 8079933"/>
              <a:gd name="connsiteY23675" fmla="*/ 702242 h 4687251"/>
              <a:gd name="connsiteX23676" fmla="*/ 5165500 w 8079933"/>
              <a:gd name="connsiteY23676" fmla="*/ 698669 h 4687251"/>
              <a:gd name="connsiteX23677" fmla="*/ 5170275 w 8079933"/>
              <a:gd name="connsiteY23677" fmla="*/ 694555 h 4687251"/>
              <a:gd name="connsiteX23678" fmla="*/ 5174181 w 8079933"/>
              <a:gd name="connsiteY23678" fmla="*/ 694230 h 4687251"/>
              <a:gd name="connsiteX23679" fmla="*/ 5178413 w 8079933"/>
              <a:gd name="connsiteY23679" fmla="*/ 690224 h 4687251"/>
              <a:gd name="connsiteX23680" fmla="*/ 5276406 w 8079933"/>
              <a:gd name="connsiteY23680" fmla="*/ 688275 h 4687251"/>
              <a:gd name="connsiteX23681" fmla="*/ 5280855 w 8079933"/>
              <a:gd name="connsiteY23681" fmla="*/ 690224 h 4687251"/>
              <a:gd name="connsiteX23682" fmla="*/ 5287691 w 8079933"/>
              <a:gd name="connsiteY23682" fmla="*/ 691198 h 4687251"/>
              <a:gd name="connsiteX23683" fmla="*/ 5287908 w 8079933"/>
              <a:gd name="connsiteY23683" fmla="*/ 693905 h 4687251"/>
              <a:gd name="connsiteX23684" fmla="*/ 5284653 w 8079933"/>
              <a:gd name="connsiteY23684" fmla="*/ 694663 h 4687251"/>
              <a:gd name="connsiteX23685" fmla="*/ 5278467 w 8079933"/>
              <a:gd name="connsiteY23685" fmla="*/ 693797 h 4687251"/>
              <a:gd name="connsiteX23686" fmla="*/ 5273584 w 8079933"/>
              <a:gd name="connsiteY23686" fmla="*/ 689574 h 4687251"/>
              <a:gd name="connsiteX23687" fmla="*/ 3626625 w 8079933"/>
              <a:gd name="connsiteY23687" fmla="*/ 683187 h 4687251"/>
              <a:gd name="connsiteX23688" fmla="*/ 3629664 w 8079933"/>
              <a:gd name="connsiteY23688" fmla="*/ 684811 h 4687251"/>
              <a:gd name="connsiteX23689" fmla="*/ 3629338 w 8079933"/>
              <a:gd name="connsiteY23689" fmla="*/ 688601 h 4687251"/>
              <a:gd name="connsiteX23690" fmla="*/ 3627167 w 8079933"/>
              <a:gd name="connsiteY23690" fmla="*/ 688601 h 4687251"/>
              <a:gd name="connsiteX23691" fmla="*/ 3624889 w 8079933"/>
              <a:gd name="connsiteY23691" fmla="*/ 690658 h 4687251"/>
              <a:gd name="connsiteX23692" fmla="*/ 3628035 w 8079933"/>
              <a:gd name="connsiteY23692" fmla="*/ 694447 h 4687251"/>
              <a:gd name="connsiteX23693" fmla="*/ 3627602 w 8079933"/>
              <a:gd name="connsiteY23693" fmla="*/ 697478 h 4687251"/>
              <a:gd name="connsiteX23694" fmla="*/ 3630532 w 8079933"/>
              <a:gd name="connsiteY23694" fmla="*/ 702134 h 4687251"/>
              <a:gd name="connsiteX23695" fmla="*/ 3633461 w 8079933"/>
              <a:gd name="connsiteY23695" fmla="*/ 703866 h 4687251"/>
              <a:gd name="connsiteX23696" fmla="*/ 3633461 w 8079933"/>
              <a:gd name="connsiteY23696" fmla="*/ 700943 h 4687251"/>
              <a:gd name="connsiteX23697" fmla="*/ 3634655 w 8079933"/>
              <a:gd name="connsiteY23697" fmla="*/ 697911 h 4687251"/>
              <a:gd name="connsiteX23698" fmla="*/ 3637585 w 8079933"/>
              <a:gd name="connsiteY23698" fmla="*/ 699752 h 4687251"/>
              <a:gd name="connsiteX23699" fmla="*/ 3637585 w 8079933"/>
              <a:gd name="connsiteY23699" fmla="*/ 706573 h 4687251"/>
              <a:gd name="connsiteX23700" fmla="*/ 3635523 w 8079933"/>
              <a:gd name="connsiteY23700" fmla="*/ 707980 h 4687251"/>
              <a:gd name="connsiteX23701" fmla="*/ 3633353 w 8079933"/>
              <a:gd name="connsiteY23701" fmla="*/ 712745 h 4687251"/>
              <a:gd name="connsiteX23702" fmla="*/ 3630098 w 8079933"/>
              <a:gd name="connsiteY23702" fmla="*/ 711229 h 4687251"/>
              <a:gd name="connsiteX23703" fmla="*/ 3629230 w 8079933"/>
              <a:gd name="connsiteY23703" fmla="*/ 707980 h 4687251"/>
              <a:gd name="connsiteX23704" fmla="*/ 3627276 w 8079933"/>
              <a:gd name="connsiteY23704" fmla="*/ 709496 h 4687251"/>
              <a:gd name="connsiteX23705" fmla="*/ 3622284 w 8079933"/>
              <a:gd name="connsiteY23705" fmla="*/ 709496 h 4687251"/>
              <a:gd name="connsiteX23706" fmla="*/ 3617293 w 8079933"/>
              <a:gd name="connsiteY23706" fmla="*/ 710579 h 4687251"/>
              <a:gd name="connsiteX23707" fmla="*/ 3613169 w 8079933"/>
              <a:gd name="connsiteY23707" fmla="*/ 707114 h 4687251"/>
              <a:gd name="connsiteX23708" fmla="*/ 3611650 w 8079933"/>
              <a:gd name="connsiteY23708" fmla="*/ 703000 h 4687251"/>
              <a:gd name="connsiteX23709" fmla="*/ 3613386 w 8079933"/>
              <a:gd name="connsiteY23709" fmla="*/ 697911 h 4687251"/>
              <a:gd name="connsiteX23710" fmla="*/ 3613386 w 8079933"/>
              <a:gd name="connsiteY23710" fmla="*/ 687842 h 4687251"/>
              <a:gd name="connsiteX23711" fmla="*/ 3617076 w 8079933"/>
              <a:gd name="connsiteY23711" fmla="*/ 687301 h 4687251"/>
              <a:gd name="connsiteX23712" fmla="*/ 3618812 w 8079933"/>
              <a:gd name="connsiteY23712" fmla="*/ 686219 h 4687251"/>
              <a:gd name="connsiteX23713" fmla="*/ 3622501 w 8079933"/>
              <a:gd name="connsiteY23713" fmla="*/ 686976 h 4687251"/>
              <a:gd name="connsiteX23714" fmla="*/ 591198 w 8079933"/>
              <a:gd name="connsiteY23714" fmla="*/ 681130 h 4687251"/>
              <a:gd name="connsiteX23715" fmla="*/ 594672 w 8079933"/>
              <a:gd name="connsiteY23715" fmla="*/ 681779 h 4687251"/>
              <a:gd name="connsiteX23716" fmla="*/ 591308 w 8079933"/>
              <a:gd name="connsiteY23716" fmla="*/ 685352 h 4687251"/>
              <a:gd name="connsiteX23717" fmla="*/ 587726 w 8079933"/>
              <a:gd name="connsiteY23717" fmla="*/ 681887 h 4687251"/>
              <a:gd name="connsiteX23718" fmla="*/ 5336957 w 8079933"/>
              <a:gd name="connsiteY23718" fmla="*/ 680155 h 4687251"/>
              <a:gd name="connsiteX23719" fmla="*/ 5339344 w 8079933"/>
              <a:gd name="connsiteY23719" fmla="*/ 685352 h 4687251"/>
              <a:gd name="connsiteX23720" fmla="*/ 5344879 w 8079933"/>
              <a:gd name="connsiteY23720" fmla="*/ 690116 h 4687251"/>
              <a:gd name="connsiteX23721" fmla="*/ 5345856 w 8079933"/>
              <a:gd name="connsiteY23721" fmla="*/ 696612 h 4687251"/>
              <a:gd name="connsiteX23722" fmla="*/ 5349654 w 8079933"/>
              <a:gd name="connsiteY23722" fmla="*/ 703542 h 4687251"/>
              <a:gd name="connsiteX23723" fmla="*/ 5349545 w 8079933"/>
              <a:gd name="connsiteY23723" fmla="*/ 706573 h 4687251"/>
              <a:gd name="connsiteX23724" fmla="*/ 5345530 w 8079933"/>
              <a:gd name="connsiteY23724" fmla="*/ 707981 h 4687251"/>
              <a:gd name="connsiteX23725" fmla="*/ 5341623 w 8079933"/>
              <a:gd name="connsiteY23725" fmla="*/ 706248 h 4687251"/>
              <a:gd name="connsiteX23726" fmla="*/ 5336740 w 8079933"/>
              <a:gd name="connsiteY23726" fmla="*/ 705707 h 4687251"/>
              <a:gd name="connsiteX23727" fmla="*/ 5334895 w 8079933"/>
              <a:gd name="connsiteY23727" fmla="*/ 703324 h 4687251"/>
              <a:gd name="connsiteX23728" fmla="*/ 5329361 w 8079933"/>
              <a:gd name="connsiteY23728" fmla="*/ 702459 h 4687251"/>
              <a:gd name="connsiteX23729" fmla="*/ 5328710 w 8079933"/>
              <a:gd name="connsiteY23729" fmla="*/ 698994 h 4687251"/>
              <a:gd name="connsiteX23730" fmla="*/ 5331640 w 8079933"/>
              <a:gd name="connsiteY23730" fmla="*/ 693255 h 4687251"/>
              <a:gd name="connsiteX23731" fmla="*/ 5332833 w 8079933"/>
              <a:gd name="connsiteY23731" fmla="*/ 685677 h 4687251"/>
              <a:gd name="connsiteX23732" fmla="*/ 2942753 w 8079933"/>
              <a:gd name="connsiteY23732" fmla="*/ 672252 h 4687251"/>
              <a:gd name="connsiteX23733" fmla="*/ 2943296 w 8079933"/>
              <a:gd name="connsiteY23733" fmla="*/ 674202 h 4687251"/>
              <a:gd name="connsiteX23734" fmla="*/ 2941668 w 8079933"/>
              <a:gd name="connsiteY23734" fmla="*/ 674202 h 4687251"/>
              <a:gd name="connsiteX23735" fmla="*/ 2940475 w 8079933"/>
              <a:gd name="connsiteY23735" fmla="*/ 672685 h 4687251"/>
              <a:gd name="connsiteX23736" fmla="*/ 5265335 w 8079933"/>
              <a:gd name="connsiteY23736" fmla="*/ 669762 h 4687251"/>
              <a:gd name="connsiteX23737" fmla="*/ 5266637 w 8079933"/>
              <a:gd name="connsiteY23737" fmla="*/ 671061 h 4687251"/>
              <a:gd name="connsiteX23738" fmla="*/ 5264033 w 8079933"/>
              <a:gd name="connsiteY23738" fmla="*/ 672576 h 4687251"/>
              <a:gd name="connsiteX23739" fmla="*/ 5263273 w 8079933"/>
              <a:gd name="connsiteY23739" fmla="*/ 675067 h 4687251"/>
              <a:gd name="connsiteX23740" fmla="*/ 5264250 w 8079933"/>
              <a:gd name="connsiteY23740" fmla="*/ 677665 h 4687251"/>
              <a:gd name="connsiteX23741" fmla="*/ 5260018 w 8079933"/>
              <a:gd name="connsiteY23741" fmla="*/ 680805 h 4687251"/>
              <a:gd name="connsiteX23742" fmla="*/ 5257197 w 8079933"/>
              <a:gd name="connsiteY23742" fmla="*/ 679398 h 4687251"/>
              <a:gd name="connsiteX23743" fmla="*/ 5252856 w 8079933"/>
              <a:gd name="connsiteY23743" fmla="*/ 683945 h 4687251"/>
              <a:gd name="connsiteX23744" fmla="*/ 5252639 w 8079933"/>
              <a:gd name="connsiteY23744" fmla="*/ 680372 h 4687251"/>
              <a:gd name="connsiteX23745" fmla="*/ 5255243 w 8079933"/>
              <a:gd name="connsiteY23745" fmla="*/ 674959 h 4687251"/>
              <a:gd name="connsiteX23746" fmla="*/ 5261755 w 8079933"/>
              <a:gd name="connsiteY23746" fmla="*/ 670087 h 4687251"/>
              <a:gd name="connsiteX23747" fmla="*/ 2938305 w 8079933"/>
              <a:gd name="connsiteY23747" fmla="*/ 661641 h 4687251"/>
              <a:gd name="connsiteX23748" fmla="*/ 2942754 w 8079933"/>
              <a:gd name="connsiteY23748" fmla="*/ 664456 h 4687251"/>
              <a:gd name="connsiteX23749" fmla="*/ 2944816 w 8079933"/>
              <a:gd name="connsiteY23749" fmla="*/ 663049 h 4687251"/>
              <a:gd name="connsiteX23750" fmla="*/ 2950676 w 8079933"/>
              <a:gd name="connsiteY23750" fmla="*/ 664239 h 4687251"/>
              <a:gd name="connsiteX23751" fmla="*/ 2954040 w 8079933"/>
              <a:gd name="connsiteY23751" fmla="*/ 667704 h 4687251"/>
              <a:gd name="connsiteX23752" fmla="*/ 2952737 w 8079933"/>
              <a:gd name="connsiteY23752" fmla="*/ 670953 h 4687251"/>
              <a:gd name="connsiteX23753" fmla="*/ 2951436 w 8079933"/>
              <a:gd name="connsiteY23753" fmla="*/ 669112 h 4687251"/>
              <a:gd name="connsiteX23754" fmla="*/ 2948180 w 8079933"/>
              <a:gd name="connsiteY23754" fmla="*/ 667379 h 4687251"/>
              <a:gd name="connsiteX23755" fmla="*/ 2940150 w 8079933"/>
              <a:gd name="connsiteY23755" fmla="*/ 667812 h 4687251"/>
              <a:gd name="connsiteX23756" fmla="*/ 2937762 w 8079933"/>
              <a:gd name="connsiteY23756" fmla="*/ 666513 h 4687251"/>
              <a:gd name="connsiteX23757" fmla="*/ 2934290 w 8079933"/>
              <a:gd name="connsiteY23757" fmla="*/ 665863 h 4687251"/>
              <a:gd name="connsiteX23758" fmla="*/ 2933422 w 8079933"/>
              <a:gd name="connsiteY23758" fmla="*/ 663698 h 4687251"/>
              <a:gd name="connsiteX23759" fmla="*/ 2935484 w 8079933"/>
              <a:gd name="connsiteY23759" fmla="*/ 661857 h 4687251"/>
              <a:gd name="connsiteX23760" fmla="*/ 1362752 w 8079933"/>
              <a:gd name="connsiteY23760" fmla="*/ 653737 h 4687251"/>
              <a:gd name="connsiteX23761" fmla="*/ 1369045 w 8079933"/>
              <a:gd name="connsiteY23761" fmla="*/ 659800 h 4687251"/>
              <a:gd name="connsiteX23762" fmla="*/ 1374146 w 8079933"/>
              <a:gd name="connsiteY23762" fmla="*/ 659800 h 4687251"/>
              <a:gd name="connsiteX23763" fmla="*/ 1374146 w 8079933"/>
              <a:gd name="connsiteY23763" fmla="*/ 667163 h 4687251"/>
              <a:gd name="connsiteX23764" fmla="*/ 1376967 w 8079933"/>
              <a:gd name="connsiteY23764" fmla="*/ 675066 h 4687251"/>
              <a:gd name="connsiteX23765" fmla="*/ 1374363 w 8079933"/>
              <a:gd name="connsiteY23765" fmla="*/ 679181 h 4687251"/>
              <a:gd name="connsiteX23766" fmla="*/ 1367635 w 8079933"/>
              <a:gd name="connsiteY23766" fmla="*/ 670844 h 4687251"/>
              <a:gd name="connsiteX23767" fmla="*/ 1362643 w 8079933"/>
              <a:gd name="connsiteY23767" fmla="*/ 666838 h 4687251"/>
              <a:gd name="connsiteX23768" fmla="*/ 1362643 w 8079933"/>
              <a:gd name="connsiteY23768" fmla="*/ 664131 h 4687251"/>
              <a:gd name="connsiteX23769" fmla="*/ 1368828 w 8079933"/>
              <a:gd name="connsiteY23769" fmla="*/ 664997 h 4687251"/>
              <a:gd name="connsiteX23770" fmla="*/ 1360039 w 8079933"/>
              <a:gd name="connsiteY23770" fmla="*/ 657527 h 4687251"/>
              <a:gd name="connsiteX23771" fmla="*/ 1360039 w 8079933"/>
              <a:gd name="connsiteY23771" fmla="*/ 654278 h 4687251"/>
              <a:gd name="connsiteX23772" fmla="*/ 2935375 w 8079933"/>
              <a:gd name="connsiteY23772" fmla="*/ 644534 h 4687251"/>
              <a:gd name="connsiteX23773" fmla="*/ 2937111 w 8079933"/>
              <a:gd name="connsiteY23773" fmla="*/ 646266 h 4687251"/>
              <a:gd name="connsiteX23774" fmla="*/ 2934832 w 8079933"/>
              <a:gd name="connsiteY23774" fmla="*/ 649189 h 4687251"/>
              <a:gd name="connsiteX23775" fmla="*/ 2933096 w 8079933"/>
              <a:gd name="connsiteY23775" fmla="*/ 648215 h 4687251"/>
              <a:gd name="connsiteX23776" fmla="*/ 2933964 w 8079933"/>
              <a:gd name="connsiteY23776" fmla="*/ 645075 h 4687251"/>
              <a:gd name="connsiteX23777" fmla="*/ 1608650 w 8079933"/>
              <a:gd name="connsiteY23777" fmla="*/ 643235 h 4687251"/>
              <a:gd name="connsiteX23778" fmla="*/ 1613967 w 8079933"/>
              <a:gd name="connsiteY23778" fmla="*/ 643884 h 4687251"/>
              <a:gd name="connsiteX23779" fmla="*/ 1611689 w 8079933"/>
              <a:gd name="connsiteY23779" fmla="*/ 645076 h 4687251"/>
              <a:gd name="connsiteX23780" fmla="*/ 1611797 w 8079933"/>
              <a:gd name="connsiteY23780" fmla="*/ 647241 h 4687251"/>
              <a:gd name="connsiteX23781" fmla="*/ 1609627 w 8079933"/>
              <a:gd name="connsiteY23781" fmla="*/ 648325 h 4687251"/>
              <a:gd name="connsiteX23782" fmla="*/ 1606697 w 8079933"/>
              <a:gd name="connsiteY23782" fmla="*/ 645833 h 4687251"/>
              <a:gd name="connsiteX23783" fmla="*/ 1367417 w 8079933"/>
              <a:gd name="connsiteY23783" fmla="*/ 637713 h 4687251"/>
              <a:gd name="connsiteX23784" fmla="*/ 1367417 w 8079933"/>
              <a:gd name="connsiteY23784" fmla="*/ 647349 h 4687251"/>
              <a:gd name="connsiteX23785" fmla="*/ 1365898 w 8079933"/>
              <a:gd name="connsiteY23785" fmla="*/ 651680 h 4687251"/>
              <a:gd name="connsiteX23786" fmla="*/ 1361449 w 8079933"/>
              <a:gd name="connsiteY23786" fmla="*/ 649514 h 4687251"/>
              <a:gd name="connsiteX23787" fmla="*/ 1359713 w 8079933"/>
              <a:gd name="connsiteY23787" fmla="*/ 647998 h 4687251"/>
              <a:gd name="connsiteX23788" fmla="*/ 1361558 w 8079933"/>
              <a:gd name="connsiteY23788" fmla="*/ 646482 h 4687251"/>
              <a:gd name="connsiteX23789" fmla="*/ 1362426 w 8079933"/>
              <a:gd name="connsiteY23789" fmla="*/ 642152 h 4687251"/>
              <a:gd name="connsiteX23790" fmla="*/ 2518454 w 8079933"/>
              <a:gd name="connsiteY23790" fmla="*/ 636522 h 4687251"/>
              <a:gd name="connsiteX23791" fmla="*/ 2521493 w 8079933"/>
              <a:gd name="connsiteY23791" fmla="*/ 639446 h 4687251"/>
              <a:gd name="connsiteX23792" fmla="*/ 2522578 w 8079933"/>
              <a:gd name="connsiteY23792" fmla="*/ 643343 h 4687251"/>
              <a:gd name="connsiteX23793" fmla="*/ 2531693 w 8079933"/>
              <a:gd name="connsiteY23793" fmla="*/ 646483 h 4687251"/>
              <a:gd name="connsiteX23794" fmla="*/ 2535166 w 8079933"/>
              <a:gd name="connsiteY23794" fmla="*/ 650056 h 4687251"/>
              <a:gd name="connsiteX23795" fmla="*/ 2540483 w 8079933"/>
              <a:gd name="connsiteY23795" fmla="*/ 651463 h 4687251"/>
              <a:gd name="connsiteX23796" fmla="*/ 2542328 w 8079933"/>
              <a:gd name="connsiteY23796" fmla="*/ 649514 h 4687251"/>
              <a:gd name="connsiteX23797" fmla="*/ 2551009 w 8079933"/>
              <a:gd name="connsiteY23797" fmla="*/ 652438 h 4687251"/>
              <a:gd name="connsiteX23798" fmla="*/ 2557846 w 8079933"/>
              <a:gd name="connsiteY23798" fmla="*/ 652329 h 4687251"/>
              <a:gd name="connsiteX23799" fmla="*/ 2560884 w 8079933"/>
              <a:gd name="connsiteY23799" fmla="*/ 654495 h 4687251"/>
              <a:gd name="connsiteX23800" fmla="*/ 2561969 w 8079933"/>
              <a:gd name="connsiteY23800" fmla="*/ 658825 h 4687251"/>
              <a:gd name="connsiteX23801" fmla="*/ 2568697 w 8079933"/>
              <a:gd name="connsiteY23801" fmla="*/ 662940 h 4687251"/>
              <a:gd name="connsiteX23802" fmla="*/ 2570976 w 8079933"/>
              <a:gd name="connsiteY23802" fmla="*/ 667812 h 4687251"/>
              <a:gd name="connsiteX23803" fmla="*/ 2569132 w 8079933"/>
              <a:gd name="connsiteY23803" fmla="*/ 672901 h 4687251"/>
              <a:gd name="connsiteX23804" fmla="*/ 2569457 w 8079933"/>
              <a:gd name="connsiteY23804" fmla="*/ 675824 h 4687251"/>
              <a:gd name="connsiteX23805" fmla="*/ 2573364 w 8079933"/>
              <a:gd name="connsiteY23805" fmla="*/ 678747 h 4687251"/>
              <a:gd name="connsiteX23806" fmla="*/ 2572387 w 8079933"/>
              <a:gd name="connsiteY23806" fmla="*/ 681346 h 4687251"/>
              <a:gd name="connsiteX23807" fmla="*/ 2573364 w 8079933"/>
              <a:gd name="connsiteY23807" fmla="*/ 685460 h 4687251"/>
              <a:gd name="connsiteX23808" fmla="*/ 2573038 w 8079933"/>
              <a:gd name="connsiteY23808" fmla="*/ 688383 h 4687251"/>
              <a:gd name="connsiteX23809" fmla="*/ 2575426 w 8079933"/>
              <a:gd name="connsiteY23809" fmla="*/ 693688 h 4687251"/>
              <a:gd name="connsiteX23810" fmla="*/ 2574558 w 8079933"/>
              <a:gd name="connsiteY23810" fmla="*/ 697153 h 4687251"/>
              <a:gd name="connsiteX23811" fmla="*/ 2572387 w 8079933"/>
              <a:gd name="connsiteY23811" fmla="*/ 700401 h 4687251"/>
              <a:gd name="connsiteX23812" fmla="*/ 2578247 w 8079933"/>
              <a:gd name="connsiteY23812" fmla="*/ 702133 h 4687251"/>
              <a:gd name="connsiteX23813" fmla="*/ 2578247 w 8079933"/>
              <a:gd name="connsiteY23813" fmla="*/ 704515 h 4687251"/>
              <a:gd name="connsiteX23814" fmla="*/ 2575317 w 8079933"/>
              <a:gd name="connsiteY23814" fmla="*/ 706789 h 4687251"/>
              <a:gd name="connsiteX23815" fmla="*/ 2573798 w 8079933"/>
              <a:gd name="connsiteY23815" fmla="*/ 709388 h 4687251"/>
              <a:gd name="connsiteX23816" fmla="*/ 2564791 w 8079933"/>
              <a:gd name="connsiteY23816" fmla="*/ 707439 h 4687251"/>
              <a:gd name="connsiteX23817" fmla="*/ 2563380 w 8079933"/>
              <a:gd name="connsiteY23817" fmla="*/ 705706 h 4687251"/>
              <a:gd name="connsiteX23818" fmla="*/ 2554590 w 8079933"/>
              <a:gd name="connsiteY23818" fmla="*/ 703649 h 4687251"/>
              <a:gd name="connsiteX23819" fmla="*/ 2551877 w 8079933"/>
              <a:gd name="connsiteY23819" fmla="*/ 701267 h 4687251"/>
              <a:gd name="connsiteX23820" fmla="*/ 2545692 w 8079933"/>
              <a:gd name="connsiteY23820" fmla="*/ 700076 h 4687251"/>
              <a:gd name="connsiteX23821" fmla="*/ 2543304 w 8079933"/>
              <a:gd name="connsiteY23821" fmla="*/ 700076 h 4687251"/>
              <a:gd name="connsiteX23822" fmla="*/ 2539506 w 8079933"/>
              <a:gd name="connsiteY23822" fmla="*/ 697694 h 4687251"/>
              <a:gd name="connsiteX23823" fmla="*/ 2532778 w 8079933"/>
              <a:gd name="connsiteY23823" fmla="*/ 699751 h 4687251"/>
              <a:gd name="connsiteX23824" fmla="*/ 2528546 w 8079933"/>
              <a:gd name="connsiteY23824" fmla="*/ 700076 h 4687251"/>
              <a:gd name="connsiteX23825" fmla="*/ 2523988 w 8079933"/>
              <a:gd name="connsiteY23825" fmla="*/ 704407 h 4687251"/>
              <a:gd name="connsiteX23826" fmla="*/ 2521384 w 8079933"/>
              <a:gd name="connsiteY23826" fmla="*/ 704949 h 4687251"/>
              <a:gd name="connsiteX23827" fmla="*/ 2514981 w 8079933"/>
              <a:gd name="connsiteY23827" fmla="*/ 701592 h 4687251"/>
              <a:gd name="connsiteX23828" fmla="*/ 2509989 w 8079933"/>
              <a:gd name="connsiteY23828" fmla="*/ 700293 h 4687251"/>
              <a:gd name="connsiteX23829" fmla="*/ 2507927 w 8079933"/>
              <a:gd name="connsiteY23829" fmla="*/ 694555 h 4687251"/>
              <a:gd name="connsiteX23830" fmla="*/ 2504998 w 8079933"/>
              <a:gd name="connsiteY23830" fmla="*/ 693039 h 4687251"/>
              <a:gd name="connsiteX23831" fmla="*/ 2502936 w 8079933"/>
              <a:gd name="connsiteY23831" fmla="*/ 688600 h 4687251"/>
              <a:gd name="connsiteX23832" fmla="*/ 2504455 w 8079933"/>
              <a:gd name="connsiteY23832" fmla="*/ 682537 h 4687251"/>
              <a:gd name="connsiteX23833" fmla="*/ 2509339 w 8079933"/>
              <a:gd name="connsiteY23833" fmla="*/ 679613 h 4687251"/>
              <a:gd name="connsiteX23834" fmla="*/ 2508796 w 8079933"/>
              <a:gd name="connsiteY23834" fmla="*/ 676040 h 4687251"/>
              <a:gd name="connsiteX23835" fmla="*/ 2511400 w 8079933"/>
              <a:gd name="connsiteY23835" fmla="*/ 672792 h 4687251"/>
              <a:gd name="connsiteX23836" fmla="*/ 2510532 w 8079933"/>
              <a:gd name="connsiteY23836" fmla="*/ 669003 h 4687251"/>
              <a:gd name="connsiteX23837" fmla="*/ 2506409 w 8079933"/>
              <a:gd name="connsiteY23837" fmla="*/ 668245 h 4687251"/>
              <a:gd name="connsiteX23838" fmla="*/ 2501851 w 8079933"/>
              <a:gd name="connsiteY23838" fmla="*/ 664672 h 4687251"/>
              <a:gd name="connsiteX23839" fmla="*/ 2506409 w 8079933"/>
              <a:gd name="connsiteY23839" fmla="*/ 654819 h 4687251"/>
              <a:gd name="connsiteX23840" fmla="*/ 2509447 w 8079933"/>
              <a:gd name="connsiteY23840" fmla="*/ 655361 h 4687251"/>
              <a:gd name="connsiteX23841" fmla="*/ 2510857 w 8079933"/>
              <a:gd name="connsiteY23841" fmla="*/ 652329 h 4687251"/>
              <a:gd name="connsiteX23842" fmla="*/ 2509989 w 8079933"/>
              <a:gd name="connsiteY23842" fmla="*/ 647782 h 4687251"/>
              <a:gd name="connsiteX23843" fmla="*/ 2512702 w 8079933"/>
              <a:gd name="connsiteY23843" fmla="*/ 644426 h 4687251"/>
              <a:gd name="connsiteX23844" fmla="*/ 2514330 w 8079933"/>
              <a:gd name="connsiteY23844" fmla="*/ 638039 h 4687251"/>
              <a:gd name="connsiteX23845" fmla="*/ 1378160 w 8079933"/>
              <a:gd name="connsiteY23845" fmla="*/ 630567 h 4687251"/>
              <a:gd name="connsiteX23846" fmla="*/ 1380222 w 8079933"/>
              <a:gd name="connsiteY23846" fmla="*/ 635764 h 4687251"/>
              <a:gd name="connsiteX23847" fmla="*/ 1379571 w 8079933"/>
              <a:gd name="connsiteY23847" fmla="*/ 647240 h 4687251"/>
              <a:gd name="connsiteX23848" fmla="*/ 1377075 w 8079933"/>
              <a:gd name="connsiteY23848" fmla="*/ 650813 h 4687251"/>
              <a:gd name="connsiteX23849" fmla="*/ 1379137 w 8079933"/>
              <a:gd name="connsiteY23849" fmla="*/ 654603 h 4687251"/>
              <a:gd name="connsiteX23850" fmla="*/ 1372844 w 8079933"/>
              <a:gd name="connsiteY23850" fmla="*/ 657959 h 4687251"/>
              <a:gd name="connsiteX23851" fmla="*/ 1366984 w 8079933"/>
              <a:gd name="connsiteY23851" fmla="*/ 654928 h 4687251"/>
              <a:gd name="connsiteX23852" fmla="*/ 1370022 w 8079933"/>
              <a:gd name="connsiteY23852" fmla="*/ 653303 h 4687251"/>
              <a:gd name="connsiteX23853" fmla="*/ 1371650 w 8079933"/>
              <a:gd name="connsiteY23853" fmla="*/ 650164 h 4687251"/>
              <a:gd name="connsiteX23854" fmla="*/ 1369371 w 8079933"/>
              <a:gd name="connsiteY23854" fmla="*/ 645075 h 4687251"/>
              <a:gd name="connsiteX23855" fmla="*/ 1369697 w 8079933"/>
              <a:gd name="connsiteY23855" fmla="*/ 636089 h 4687251"/>
              <a:gd name="connsiteX23856" fmla="*/ 1372409 w 8079933"/>
              <a:gd name="connsiteY23856" fmla="*/ 633165 h 4687251"/>
              <a:gd name="connsiteX23857" fmla="*/ 1374905 w 8079933"/>
              <a:gd name="connsiteY23857" fmla="*/ 634898 h 4687251"/>
              <a:gd name="connsiteX23858" fmla="*/ 1375557 w 8079933"/>
              <a:gd name="connsiteY23858" fmla="*/ 631759 h 4687251"/>
              <a:gd name="connsiteX23859" fmla="*/ 2211677 w 8079933"/>
              <a:gd name="connsiteY23859" fmla="*/ 622123 h 4687251"/>
              <a:gd name="connsiteX23860" fmla="*/ 2209507 w 8079933"/>
              <a:gd name="connsiteY23860" fmla="*/ 627969 h 4687251"/>
              <a:gd name="connsiteX23861" fmla="*/ 2207337 w 8079933"/>
              <a:gd name="connsiteY23861" fmla="*/ 629701 h 4687251"/>
              <a:gd name="connsiteX23862" fmla="*/ 2204407 w 8079933"/>
              <a:gd name="connsiteY23862" fmla="*/ 628401 h 4687251"/>
              <a:gd name="connsiteX23863" fmla="*/ 2204732 w 8079933"/>
              <a:gd name="connsiteY23863" fmla="*/ 625262 h 4687251"/>
              <a:gd name="connsiteX23864" fmla="*/ 2208205 w 8079933"/>
              <a:gd name="connsiteY23864" fmla="*/ 622339 h 4687251"/>
              <a:gd name="connsiteX23865" fmla="*/ 3585281 w 8079933"/>
              <a:gd name="connsiteY23865" fmla="*/ 622015 h 4687251"/>
              <a:gd name="connsiteX23866" fmla="*/ 3589296 w 8079933"/>
              <a:gd name="connsiteY23866" fmla="*/ 622772 h 4687251"/>
              <a:gd name="connsiteX23867" fmla="*/ 3591466 w 8079933"/>
              <a:gd name="connsiteY23867" fmla="*/ 625479 h 4687251"/>
              <a:gd name="connsiteX23868" fmla="*/ 3588862 w 8079933"/>
              <a:gd name="connsiteY23868" fmla="*/ 628294 h 4687251"/>
              <a:gd name="connsiteX23869" fmla="*/ 3584087 w 8079933"/>
              <a:gd name="connsiteY23869" fmla="*/ 628403 h 4687251"/>
              <a:gd name="connsiteX23870" fmla="*/ 3582351 w 8079933"/>
              <a:gd name="connsiteY23870" fmla="*/ 627103 h 4687251"/>
              <a:gd name="connsiteX23871" fmla="*/ 3583653 w 8079933"/>
              <a:gd name="connsiteY23871" fmla="*/ 623639 h 4687251"/>
              <a:gd name="connsiteX23872" fmla="*/ 1393027 w 8079933"/>
              <a:gd name="connsiteY23872" fmla="*/ 619091 h 4687251"/>
              <a:gd name="connsiteX23873" fmla="*/ 1394329 w 8079933"/>
              <a:gd name="connsiteY23873" fmla="*/ 621473 h 4687251"/>
              <a:gd name="connsiteX23874" fmla="*/ 1391725 w 8079933"/>
              <a:gd name="connsiteY23874" fmla="*/ 622556 h 4687251"/>
              <a:gd name="connsiteX23875" fmla="*/ 1390640 w 8079933"/>
              <a:gd name="connsiteY23875" fmla="*/ 620282 h 4687251"/>
              <a:gd name="connsiteX23876" fmla="*/ 1413321 w 8079933"/>
              <a:gd name="connsiteY23876" fmla="*/ 618225 h 4687251"/>
              <a:gd name="connsiteX23877" fmla="*/ 1414298 w 8079933"/>
              <a:gd name="connsiteY23877" fmla="*/ 626453 h 4687251"/>
              <a:gd name="connsiteX23878" fmla="*/ 1416902 w 8079933"/>
              <a:gd name="connsiteY23878" fmla="*/ 628510 h 4687251"/>
              <a:gd name="connsiteX23879" fmla="*/ 1419832 w 8079933"/>
              <a:gd name="connsiteY23879" fmla="*/ 626995 h 4687251"/>
              <a:gd name="connsiteX23880" fmla="*/ 1416793 w 8079933"/>
              <a:gd name="connsiteY23880" fmla="*/ 632841 h 4687251"/>
              <a:gd name="connsiteX23881" fmla="*/ 1409632 w 8079933"/>
              <a:gd name="connsiteY23881" fmla="*/ 636631 h 4687251"/>
              <a:gd name="connsiteX23882" fmla="*/ 1393680 w 8079933"/>
              <a:gd name="connsiteY23882" fmla="*/ 649839 h 4687251"/>
              <a:gd name="connsiteX23883" fmla="*/ 1389556 w 8079933"/>
              <a:gd name="connsiteY23883" fmla="*/ 650164 h 4687251"/>
              <a:gd name="connsiteX23884" fmla="*/ 1386300 w 8079933"/>
              <a:gd name="connsiteY23884" fmla="*/ 652979 h 4687251"/>
              <a:gd name="connsiteX23885" fmla="*/ 1381634 w 8079933"/>
              <a:gd name="connsiteY23885" fmla="*/ 652762 h 4687251"/>
              <a:gd name="connsiteX23886" fmla="*/ 1380766 w 8079933"/>
              <a:gd name="connsiteY23886" fmla="*/ 648432 h 4687251"/>
              <a:gd name="connsiteX23887" fmla="*/ 1383479 w 8079933"/>
              <a:gd name="connsiteY23887" fmla="*/ 644534 h 4687251"/>
              <a:gd name="connsiteX23888" fmla="*/ 1383153 w 8079933"/>
              <a:gd name="connsiteY23888" fmla="*/ 637064 h 4687251"/>
              <a:gd name="connsiteX23889" fmla="*/ 1385757 w 8079933"/>
              <a:gd name="connsiteY23889" fmla="*/ 634032 h 4687251"/>
              <a:gd name="connsiteX23890" fmla="*/ 1387928 w 8079933"/>
              <a:gd name="connsiteY23890" fmla="*/ 628835 h 4687251"/>
              <a:gd name="connsiteX23891" fmla="*/ 1389664 w 8079933"/>
              <a:gd name="connsiteY23891" fmla="*/ 629918 h 4687251"/>
              <a:gd name="connsiteX23892" fmla="*/ 1392594 w 8079933"/>
              <a:gd name="connsiteY23892" fmla="*/ 626237 h 4687251"/>
              <a:gd name="connsiteX23893" fmla="*/ 1395524 w 8079933"/>
              <a:gd name="connsiteY23893" fmla="*/ 629052 h 4687251"/>
              <a:gd name="connsiteX23894" fmla="*/ 1393680 w 8079933"/>
              <a:gd name="connsiteY23894" fmla="*/ 631434 h 4687251"/>
              <a:gd name="connsiteX23895" fmla="*/ 1395850 w 8079933"/>
              <a:gd name="connsiteY23895" fmla="*/ 635548 h 4687251"/>
              <a:gd name="connsiteX23896" fmla="*/ 1397586 w 8079933"/>
              <a:gd name="connsiteY23896" fmla="*/ 631434 h 4687251"/>
              <a:gd name="connsiteX23897" fmla="*/ 1399323 w 8079933"/>
              <a:gd name="connsiteY23897" fmla="*/ 629918 h 4687251"/>
              <a:gd name="connsiteX23898" fmla="*/ 1403121 w 8079933"/>
              <a:gd name="connsiteY23898" fmla="*/ 630243 h 4687251"/>
              <a:gd name="connsiteX23899" fmla="*/ 1402252 w 8079933"/>
              <a:gd name="connsiteY23899" fmla="*/ 626453 h 4687251"/>
              <a:gd name="connsiteX23900" fmla="*/ 1406919 w 8079933"/>
              <a:gd name="connsiteY23900" fmla="*/ 624613 h 4687251"/>
              <a:gd name="connsiteX23901" fmla="*/ 1409848 w 8079933"/>
              <a:gd name="connsiteY23901" fmla="*/ 618766 h 4687251"/>
              <a:gd name="connsiteX23902" fmla="*/ 5398811 w 8079933"/>
              <a:gd name="connsiteY23902" fmla="*/ 617793 h 4687251"/>
              <a:gd name="connsiteX23903" fmla="*/ 5403585 w 8079933"/>
              <a:gd name="connsiteY23903" fmla="*/ 620282 h 4687251"/>
              <a:gd name="connsiteX23904" fmla="*/ 5401415 w 8079933"/>
              <a:gd name="connsiteY23904" fmla="*/ 621798 h 4687251"/>
              <a:gd name="connsiteX23905" fmla="*/ 5394687 w 8079933"/>
              <a:gd name="connsiteY23905" fmla="*/ 621474 h 4687251"/>
              <a:gd name="connsiteX23906" fmla="*/ 5392951 w 8079933"/>
              <a:gd name="connsiteY23906" fmla="*/ 620066 h 4687251"/>
              <a:gd name="connsiteX23907" fmla="*/ 5367666 w 8079933"/>
              <a:gd name="connsiteY23907" fmla="*/ 614869 h 4687251"/>
              <a:gd name="connsiteX23908" fmla="*/ 5369620 w 8079933"/>
              <a:gd name="connsiteY23908" fmla="*/ 617035 h 4687251"/>
              <a:gd name="connsiteX23909" fmla="*/ 5365930 w 8079933"/>
              <a:gd name="connsiteY23909" fmla="*/ 622448 h 4687251"/>
              <a:gd name="connsiteX23910" fmla="*/ 5362349 w 8079933"/>
              <a:gd name="connsiteY23910" fmla="*/ 621798 h 4687251"/>
              <a:gd name="connsiteX23911" fmla="*/ 5360613 w 8079933"/>
              <a:gd name="connsiteY23911" fmla="*/ 617900 h 4687251"/>
              <a:gd name="connsiteX23912" fmla="*/ 5363651 w 8079933"/>
              <a:gd name="connsiteY23912" fmla="*/ 615193 h 4687251"/>
              <a:gd name="connsiteX23913" fmla="*/ 3581050 w 8079933"/>
              <a:gd name="connsiteY23913" fmla="*/ 614544 h 4687251"/>
              <a:gd name="connsiteX23914" fmla="*/ 3582786 w 8079933"/>
              <a:gd name="connsiteY23914" fmla="*/ 617901 h 4687251"/>
              <a:gd name="connsiteX23915" fmla="*/ 3580073 w 8079933"/>
              <a:gd name="connsiteY23915" fmla="*/ 619199 h 4687251"/>
              <a:gd name="connsiteX23916" fmla="*/ 3577794 w 8079933"/>
              <a:gd name="connsiteY23916" fmla="*/ 615952 h 4687251"/>
              <a:gd name="connsiteX23917" fmla="*/ 3578987 w 8079933"/>
              <a:gd name="connsiteY23917" fmla="*/ 614761 h 4687251"/>
              <a:gd name="connsiteX23918" fmla="*/ 3619464 w 8079933"/>
              <a:gd name="connsiteY23918" fmla="*/ 612162 h 4687251"/>
              <a:gd name="connsiteX23919" fmla="*/ 3621634 w 8079933"/>
              <a:gd name="connsiteY23919" fmla="*/ 614653 h 4687251"/>
              <a:gd name="connsiteX23920" fmla="*/ 3622611 w 8079933"/>
              <a:gd name="connsiteY23920" fmla="*/ 618442 h 4687251"/>
              <a:gd name="connsiteX23921" fmla="*/ 3621091 w 8079933"/>
              <a:gd name="connsiteY23921" fmla="*/ 623423 h 4687251"/>
              <a:gd name="connsiteX23922" fmla="*/ 3621959 w 8079933"/>
              <a:gd name="connsiteY23922" fmla="*/ 632626 h 4687251"/>
              <a:gd name="connsiteX23923" fmla="*/ 3624781 w 8079933"/>
              <a:gd name="connsiteY23923" fmla="*/ 637715 h 4687251"/>
              <a:gd name="connsiteX23924" fmla="*/ 3625432 w 8079933"/>
              <a:gd name="connsiteY23924" fmla="*/ 644535 h 4687251"/>
              <a:gd name="connsiteX23925" fmla="*/ 3623262 w 8079933"/>
              <a:gd name="connsiteY23925" fmla="*/ 646700 h 4687251"/>
              <a:gd name="connsiteX23926" fmla="*/ 3622502 w 8079933"/>
              <a:gd name="connsiteY23926" fmla="*/ 653413 h 4687251"/>
              <a:gd name="connsiteX23927" fmla="*/ 3620658 w 8079933"/>
              <a:gd name="connsiteY23927" fmla="*/ 655904 h 4687251"/>
              <a:gd name="connsiteX23928" fmla="*/ 3618921 w 8079933"/>
              <a:gd name="connsiteY23928" fmla="*/ 653629 h 4687251"/>
              <a:gd name="connsiteX23929" fmla="*/ 3619030 w 8079933"/>
              <a:gd name="connsiteY23929" fmla="*/ 648324 h 4687251"/>
              <a:gd name="connsiteX23930" fmla="*/ 3620658 w 8079933"/>
              <a:gd name="connsiteY23930" fmla="*/ 643235 h 4687251"/>
              <a:gd name="connsiteX23931" fmla="*/ 3620332 w 8079933"/>
              <a:gd name="connsiteY23931" fmla="*/ 635766 h 4687251"/>
              <a:gd name="connsiteX23932" fmla="*/ 3617402 w 8079933"/>
              <a:gd name="connsiteY23932" fmla="*/ 630461 h 4687251"/>
              <a:gd name="connsiteX23933" fmla="*/ 3617510 w 8079933"/>
              <a:gd name="connsiteY23933" fmla="*/ 624289 h 4687251"/>
              <a:gd name="connsiteX23934" fmla="*/ 3619572 w 8079933"/>
              <a:gd name="connsiteY23934" fmla="*/ 622015 h 4687251"/>
              <a:gd name="connsiteX23935" fmla="*/ 3619030 w 8079933"/>
              <a:gd name="connsiteY23935" fmla="*/ 619199 h 4687251"/>
              <a:gd name="connsiteX23936" fmla="*/ 3616425 w 8079933"/>
              <a:gd name="connsiteY23936" fmla="*/ 616926 h 4687251"/>
              <a:gd name="connsiteX23937" fmla="*/ 3615883 w 8079933"/>
              <a:gd name="connsiteY23937" fmla="*/ 615086 h 4687251"/>
              <a:gd name="connsiteX23938" fmla="*/ 5379061 w 8079933"/>
              <a:gd name="connsiteY23938" fmla="*/ 611838 h 4687251"/>
              <a:gd name="connsiteX23939" fmla="*/ 5384271 w 8079933"/>
              <a:gd name="connsiteY23939" fmla="*/ 612596 h 4687251"/>
              <a:gd name="connsiteX23940" fmla="*/ 5383294 w 8079933"/>
              <a:gd name="connsiteY23940" fmla="*/ 615736 h 4687251"/>
              <a:gd name="connsiteX23941" fmla="*/ 5380146 w 8079933"/>
              <a:gd name="connsiteY23941" fmla="*/ 618660 h 4687251"/>
              <a:gd name="connsiteX23942" fmla="*/ 5375046 w 8079933"/>
              <a:gd name="connsiteY23942" fmla="*/ 617037 h 4687251"/>
              <a:gd name="connsiteX23943" fmla="*/ 5373310 w 8079933"/>
              <a:gd name="connsiteY23943" fmla="*/ 614871 h 4687251"/>
              <a:gd name="connsiteX23944" fmla="*/ 5377000 w 8079933"/>
              <a:gd name="connsiteY23944" fmla="*/ 613464 h 4687251"/>
              <a:gd name="connsiteX23945" fmla="*/ 1395415 w 8079933"/>
              <a:gd name="connsiteY23945" fmla="*/ 611404 h 4687251"/>
              <a:gd name="connsiteX23946" fmla="*/ 1397477 w 8079933"/>
              <a:gd name="connsiteY23946" fmla="*/ 612054 h 4687251"/>
              <a:gd name="connsiteX23947" fmla="*/ 1394981 w 8079933"/>
              <a:gd name="connsiteY23947" fmla="*/ 615843 h 4687251"/>
              <a:gd name="connsiteX23948" fmla="*/ 1392594 w 8079933"/>
              <a:gd name="connsiteY23948" fmla="*/ 614435 h 4687251"/>
              <a:gd name="connsiteX23949" fmla="*/ 2405597 w 8079933"/>
              <a:gd name="connsiteY23949" fmla="*/ 611079 h 4687251"/>
              <a:gd name="connsiteX23950" fmla="*/ 2411782 w 8079933"/>
              <a:gd name="connsiteY23950" fmla="*/ 612271 h 4687251"/>
              <a:gd name="connsiteX23951" fmla="*/ 2415364 w 8079933"/>
              <a:gd name="connsiteY23951" fmla="*/ 611079 h 4687251"/>
              <a:gd name="connsiteX23952" fmla="*/ 2417968 w 8079933"/>
              <a:gd name="connsiteY23952" fmla="*/ 612053 h 4687251"/>
              <a:gd name="connsiteX23953" fmla="*/ 2425564 w 8079933"/>
              <a:gd name="connsiteY23953" fmla="*/ 612271 h 4687251"/>
              <a:gd name="connsiteX23954" fmla="*/ 2430556 w 8079933"/>
              <a:gd name="connsiteY23954" fmla="*/ 615735 h 4687251"/>
              <a:gd name="connsiteX23955" fmla="*/ 2440540 w 8079933"/>
              <a:gd name="connsiteY23955" fmla="*/ 620499 h 4687251"/>
              <a:gd name="connsiteX23956" fmla="*/ 2441299 w 8079933"/>
              <a:gd name="connsiteY23956" fmla="*/ 623422 h 4687251"/>
              <a:gd name="connsiteX23957" fmla="*/ 2439997 w 8079933"/>
              <a:gd name="connsiteY23957" fmla="*/ 627212 h 4687251"/>
              <a:gd name="connsiteX23958" fmla="*/ 2434029 w 8079933"/>
              <a:gd name="connsiteY23958" fmla="*/ 629810 h 4687251"/>
              <a:gd name="connsiteX23959" fmla="*/ 2426215 w 8079933"/>
              <a:gd name="connsiteY23959" fmla="*/ 632842 h 4687251"/>
              <a:gd name="connsiteX23960" fmla="*/ 2421658 w 8079933"/>
              <a:gd name="connsiteY23960" fmla="*/ 632734 h 4687251"/>
              <a:gd name="connsiteX23961" fmla="*/ 2419378 w 8079933"/>
              <a:gd name="connsiteY23961" fmla="*/ 636307 h 4687251"/>
              <a:gd name="connsiteX23962" fmla="*/ 2415364 w 8079933"/>
              <a:gd name="connsiteY23962" fmla="*/ 641287 h 4687251"/>
              <a:gd name="connsiteX23963" fmla="*/ 2410263 w 8079933"/>
              <a:gd name="connsiteY23963" fmla="*/ 642694 h 4687251"/>
              <a:gd name="connsiteX23964" fmla="*/ 2401473 w 8079933"/>
              <a:gd name="connsiteY23964" fmla="*/ 651139 h 4687251"/>
              <a:gd name="connsiteX23965" fmla="*/ 2393009 w 8079933"/>
              <a:gd name="connsiteY23965" fmla="*/ 661533 h 4687251"/>
              <a:gd name="connsiteX23966" fmla="*/ 2385956 w 8079933"/>
              <a:gd name="connsiteY23966" fmla="*/ 666189 h 4687251"/>
              <a:gd name="connsiteX23967" fmla="*/ 2383243 w 8079933"/>
              <a:gd name="connsiteY23967" fmla="*/ 667596 h 4687251"/>
              <a:gd name="connsiteX23968" fmla="*/ 2378685 w 8079933"/>
              <a:gd name="connsiteY23968" fmla="*/ 676691 h 4687251"/>
              <a:gd name="connsiteX23969" fmla="*/ 2378034 w 8079933"/>
              <a:gd name="connsiteY23969" fmla="*/ 682213 h 4687251"/>
              <a:gd name="connsiteX23970" fmla="*/ 2379878 w 8079933"/>
              <a:gd name="connsiteY23970" fmla="*/ 686868 h 4687251"/>
              <a:gd name="connsiteX23971" fmla="*/ 2382483 w 8079933"/>
              <a:gd name="connsiteY23971" fmla="*/ 690117 h 4687251"/>
              <a:gd name="connsiteX23972" fmla="*/ 2382483 w 8079933"/>
              <a:gd name="connsiteY23972" fmla="*/ 694231 h 4687251"/>
              <a:gd name="connsiteX23973" fmla="*/ 2378577 w 8079933"/>
              <a:gd name="connsiteY23973" fmla="*/ 696288 h 4687251"/>
              <a:gd name="connsiteX23974" fmla="*/ 2375104 w 8079933"/>
              <a:gd name="connsiteY23974" fmla="*/ 700943 h 4687251"/>
              <a:gd name="connsiteX23975" fmla="*/ 2370763 w 8079933"/>
              <a:gd name="connsiteY23975" fmla="*/ 705708 h 4687251"/>
              <a:gd name="connsiteX23976" fmla="*/ 2370438 w 8079933"/>
              <a:gd name="connsiteY23976" fmla="*/ 710580 h 4687251"/>
              <a:gd name="connsiteX23977" fmla="*/ 2367508 w 8079933"/>
              <a:gd name="connsiteY23977" fmla="*/ 716643 h 4687251"/>
              <a:gd name="connsiteX23978" fmla="*/ 2365120 w 8079933"/>
              <a:gd name="connsiteY23978" fmla="*/ 718267 h 4687251"/>
              <a:gd name="connsiteX23979" fmla="*/ 2364795 w 8079933"/>
              <a:gd name="connsiteY23979" fmla="*/ 721948 h 4687251"/>
              <a:gd name="connsiteX23980" fmla="*/ 2366965 w 8079933"/>
              <a:gd name="connsiteY23980" fmla="*/ 726063 h 4687251"/>
              <a:gd name="connsiteX23981" fmla="*/ 2368050 w 8079933"/>
              <a:gd name="connsiteY23981" fmla="*/ 732883 h 4687251"/>
              <a:gd name="connsiteX23982" fmla="*/ 2369786 w 8079933"/>
              <a:gd name="connsiteY23982" fmla="*/ 736023 h 4687251"/>
              <a:gd name="connsiteX23983" fmla="*/ 2369786 w 8079933"/>
              <a:gd name="connsiteY23983" fmla="*/ 742195 h 4687251"/>
              <a:gd name="connsiteX23984" fmla="*/ 2373910 w 8079933"/>
              <a:gd name="connsiteY23984" fmla="*/ 747716 h 4687251"/>
              <a:gd name="connsiteX23985" fmla="*/ 2374778 w 8079933"/>
              <a:gd name="connsiteY23985" fmla="*/ 750098 h 4687251"/>
              <a:gd name="connsiteX23986" fmla="*/ 2379227 w 8079933"/>
              <a:gd name="connsiteY23986" fmla="*/ 752697 h 4687251"/>
              <a:gd name="connsiteX23987" fmla="*/ 2379227 w 8079933"/>
              <a:gd name="connsiteY23987" fmla="*/ 757461 h 4687251"/>
              <a:gd name="connsiteX23988" fmla="*/ 2377274 w 8079933"/>
              <a:gd name="connsiteY23988" fmla="*/ 761791 h 4687251"/>
              <a:gd name="connsiteX23989" fmla="*/ 2375755 w 8079933"/>
              <a:gd name="connsiteY23989" fmla="*/ 757894 h 4687251"/>
              <a:gd name="connsiteX23990" fmla="*/ 2373367 w 8079933"/>
              <a:gd name="connsiteY23990" fmla="*/ 757894 h 4687251"/>
              <a:gd name="connsiteX23991" fmla="*/ 2373042 w 8079933"/>
              <a:gd name="connsiteY23991" fmla="*/ 760059 h 4687251"/>
              <a:gd name="connsiteX23992" fmla="*/ 2370112 w 8079933"/>
              <a:gd name="connsiteY23992" fmla="*/ 760384 h 4687251"/>
              <a:gd name="connsiteX23993" fmla="*/ 2366965 w 8079933"/>
              <a:gd name="connsiteY23993" fmla="*/ 761575 h 4687251"/>
              <a:gd name="connsiteX23994" fmla="*/ 2364686 w 8079933"/>
              <a:gd name="connsiteY23994" fmla="*/ 762549 h 4687251"/>
              <a:gd name="connsiteX23995" fmla="*/ 2366423 w 8079933"/>
              <a:gd name="connsiteY23995" fmla="*/ 763740 h 4687251"/>
              <a:gd name="connsiteX23996" fmla="*/ 2369461 w 8079933"/>
              <a:gd name="connsiteY23996" fmla="*/ 767313 h 4687251"/>
              <a:gd name="connsiteX23997" fmla="*/ 2372825 w 8079933"/>
              <a:gd name="connsiteY23997" fmla="*/ 766881 h 4687251"/>
              <a:gd name="connsiteX23998" fmla="*/ 2373693 w 8079933"/>
              <a:gd name="connsiteY23998" fmla="*/ 765906 h 4687251"/>
              <a:gd name="connsiteX23999" fmla="*/ 2375321 w 8079933"/>
              <a:gd name="connsiteY23999" fmla="*/ 767638 h 4687251"/>
              <a:gd name="connsiteX24000" fmla="*/ 2371631 w 8079933"/>
              <a:gd name="connsiteY24000" fmla="*/ 771211 h 4687251"/>
              <a:gd name="connsiteX24001" fmla="*/ 2369895 w 8079933"/>
              <a:gd name="connsiteY24001" fmla="*/ 778032 h 4687251"/>
              <a:gd name="connsiteX24002" fmla="*/ 2369786 w 8079933"/>
              <a:gd name="connsiteY24002" fmla="*/ 782471 h 4687251"/>
              <a:gd name="connsiteX24003" fmla="*/ 2368593 w 8079933"/>
              <a:gd name="connsiteY24003" fmla="*/ 785070 h 4687251"/>
              <a:gd name="connsiteX24004" fmla="*/ 2374452 w 8079933"/>
              <a:gd name="connsiteY24004" fmla="*/ 779332 h 4687251"/>
              <a:gd name="connsiteX24005" fmla="*/ 2374452 w 8079933"/>
              <a:gd name="connsiteY24005" fmla="*/ 776191 h 4687251"/>
              <a:gd name="connsiteX24006" fmla="*/ 2379445 w 8079933"/>
              <a:gd name="connsiteY24006" fmla="*/ 767422 h 4687251"/>
              <a:gd name="connsiteX24007" fmla="*/ 2381723 w 8079933"/>
              <a:gd name="connsiteY24007" fmla="*/ 765256 h 4687251"/>
              <a:gd name="connsiteX24008" fmla="*/ 2383025 w 8079933"/>
              <a:gd name="connsiteY24008" fmla="*/ 756595 h 4687251"/>
              <a:gd name="connsiteX24009" fmla="*/ 2385088 w 8079933"/>
              <a:gd name="connsiteY24009" fmla="*/ 753563 h 4687251"/>
              <a:gd name="connsiteX24010" fmla="*/ 2389211 w 8079933"/>
              <a:gd name="connsiteY24010" fmla="*/ 750748 h 4687251"/>
              <a:gd name="connsiteX24011" fmla="*/ 2389211 w 8079933"/>
              <a:gd name="connsiteY24011" fmla="*/ 746309 h 4687251"/>
              <a:gd name="connsiteX24012" fmla="*/ 2387909 w 8079933"/>
              <a:gd name="connsiteY24012" fmla="*/ 743385 h 4687251"/>
              <a:gd name="connsiteX24013" fmla="*/ 2388777 w 8079933"/>
              <a:gd name="connsiteY24013" fmla="*/ 740354 h 4687251"/>
              <a:gd name="connsiteX24014" fmla="*/ 2385738 w 8079933"/>
              <a:gd name="connsiteY24014" fmla="*/ 738189 h 4687251"/>
              <a:gd name="connsiteX24015" fmla="*/ 2382808 w 8079933"/>
              <a:gd name="connsiteY24015" fmla="*/ 737539 h 4687251"/>
              <a:gd name="connsiteX24016" fmla="*/ 2382591 w 8079933"/>
              <a:gd name="connsiteY24016" fmla="*/ 731584 h 4687251"/>
              <a:gd name="connsiteX24017" fmla="*/ 2381615 w 8079933"/>
              <a:gd name="connsiteY24017" fmla="*/ 730177 h 4687251"/>
              <a:gd name="connsiteX24018" fmla="*/ 2381289 w 8079933"/>
              <a:gd name="connsiteY24018" fmla="*/ 724222 h 4687251"/>
              <a:gd name="connsiteX24019" fmla="*/ 2378794 w 8079933"/>
              <a:gd name="connsiteY24019" fmla="*/ 719458 h 4687251"/>
              <a:gd name="connsiteX24020" fmla="*/ 2378142 w 8079933"/>
              <a:gd name="connsiteY24020" fmla="*/ 714802 h 4687251"/>
              <a:gd name="connsiteX24021" fmla="*/ 2380204 w 8079933"/>
              <a:gd name="connsiteY24021" fmla="*/ 713611 h 4687251"/>
              <a:gd name="connsiteX24022" fmla="*/ 2381723 w 8079933"/>
              <a:gd name="connsiteY24022" fmla="*/ 717076 h 4687251"/>
              <a:gd name="connsiteX24023" fmla="*/ 2383893 w 8079933"/>
              <a:gd name="connsiteY24023" fmla="*/ 715127 h 4687251"/>
              <a:gd name="connsiteX24024" fmla="*/ 2388777 w 8079933"/>
              <a:gd name="connsiteY24024" fmla="*/ 713719 h 4687251"/>
              <a:gd name="connsiteX24025" fmla="*/ 2391381 w 8079933"/>
              <a:gd name="connsiteY24025" fmla="*/ 710255 h 4687251"/>
              <a:gd name="connsiteX24026" fmla="*/ 2390404 w 8079933"/>
              <a:gd name="connsiteY24026" fmla="*/ 707223 h 4687251"/>
              <a:gd name="connsiteX24027" fmla="*/ 2392900 w 8079933"/>
              <a:gd name="connsiteY24027" fmla="*/ 703217 h 4687251"/>
              <a:gd name="connsiteX24028" fmla="*/ 2396482 w 8079933"/>
              <a:gd name="connsiteY24028" fmla="*/ 704408 h 4687251"/>
              <a:gd name="connsiteX24029" fmla="*/ 2399412 w 8079933"/>
              <a:gd name="connsiteY24029" fmla="*/ 710580 h 4687251"/>
              <a:gd name="connsiteX24030" fmla="*/ 2398218 w 8079933"/>
              <a:gd name="connsiteY24030" fmla="*/ 713286 h 4687251"/>
              <a:gd name="connsiteX24031" fmla="*/ 2400388 w 8079933"/>
              <a:gd name="connsiteY24031" fmla="*/ 715019 h 4687251"/>
              <a:gd name="connsiteX24032" fmla="*/ 2403535 w 8079933"/>
              <a:gd name="connsiteY24032" fmla="*/ 711445 h 4687251"/>
              <a:gd name="connsiteX24033" fmla="*/ 2403535 w 8079933"/>
              <a:gd name="connsiteY24033" fmla="*/ 707115 h 4687251"/>
              <a:gd name="connsiteX24034" fmla="*/ 2406791 w 8079933"/>
              <a:gd name="connsiteY24034" fmla="*/ 703217 h 4687251"/>
              <a:gd name="connsiteX24035" fmla="*/ 2409938 w 8079933"/>
              <a:gd name="connsiteY24035" fmla="*/ 703217 h 4687251"/>
              <a:gd name="connsiteX24036" fmla="*/ 2409395 w 8079933"/>
              <a:gd name="connsiteY24036" fmla="*/ 700619 h 4687251"/>
              <a:gd name="connsiteX24037" fmla="*/ 2411240 w 8079933"/>
              <a:gd name="connsiteY24037" fmla="*/ 698994 h 4687251"/>
              <a:gd name="connsiteX24038" fmla="*/ 2415580 w 8079933"/>
              <a:gd name="connsiteY24038" fmla="*/ 697696 h 4687251"/>
              <a:gd name="connsiteX24039" fmla="*/ 2414061 w 8079933"/>
              <a:gd name="connsiteY24039" fmla="*/ 695097 h 4687251"/>
              <a:gd name="connsiteX24040" fmla="*/ 2410806 w 8079933"/>
              <a:gd name="connsiteY24040" fmla="*/ 694555 h 4687251"/>
              <a:gd name="connsiteX24041" fmla="*/ 2402993 w 8079933"/>
              <a:gd name="connsiteY24041" fmla="*/ 700077 h 4687251"/>
              <a:gd name="connsiteX24042" fmla="*/ 2399737 w 8079933"/>
              <a:gd name="connsiteY24042" fmla="*/ 699861 h 4687251"/>
              <a:gd name="connsiteX24043" fmla="*/ 2398327 w 8079933"/>
              <a:gd name="connsiteY24043" fmla="*/ 695313 h 4687251"/>
              <a:gd name="connsiteX24044" fmla="*/ 2395830 w 8079933"/>
              <a:gd name="connsiteY24044" fmla="*/ 692715 h 4687251"/>
              <a:gd name="connsiteX24045" fmla="*/ 2396156 w 8079933"/>
              <a:gd name="connsiteY24045" fmla="*/ 689900 h 4687251"/>
              <a:gd name="connsiteX24046" fmla="*/ 2401148 w 8079933"/>
              <a:gd name="connsiteY24046" fmla="*/ 688168 h 4687251"/>
              <a:gd name="connsiteX24047" fmla="*/ 2398218 w 8079933"/>
              <a:gd name="connsiteY24047" fmla="*/ 684270 h 4687251"/>
              <a:gd name="connsiteX24048" fmla="*/ 2399954 w 8079933"/>
              <a:gd name="connsiteY24048" fmla="*/ 677774 h 4687251"/>
              <a:gd name="connsiteX24049" fmla="*/ 2403318 w 8079933"/>
              <a:gd name="connsiteY24049" fmla="*/ 671386 h 4687251"/>
              <a:gd name="connsiteX24050" fmla="*/ 2403861 w 8079933"/>
              <a:gd name="connsiteY24050" fmla="*/ 667813 h 4687251"/>
              <a:gd name="connsiteX24051" fmla="*/ 2407442 w 8079933"/>
              <a:gd name="connsiteY24051" fmla="*/ 664131 h 4687251"/>
              <a:gd name="connsiteX24052" fmla="*/ 2413193 w 8079933"/>
              <a:gd name="connsiteY24052" fmla="*/ 664673 h 4687251"/>
              <a:gd name="connsiteX24053" fmla="*/ 2417100 w 8079933"/>
              <a:gd name="connsiteY24053" fmla="*/ 669004 h 4687251"/>
              <a:gd name="connsiteX24054" fmla="*/ 2417642 w 8079933"/>
              <a:gd name="connsiteY24054" fmla="*/ 672035 h 4687251"/>
              <a:gd name="connsiteX24055" fmla="*/ 2424045 w 8079933"/>
              <a:gd name="connsiteY24055" fmla="*/ 675500 h 4687251"/>
              <a:gd name="connsiteX24056" fmla="*/ 2426974 w 8079933"/>
              <a:gd name="connsiteY24056" fmla="*/ 679831 h 4687251"/>
              <a:gd name="connsiteX24057" fmla="*/ 2431424 w 8079933"/>
              <a:gd name="connsiteY24057" fmla="*/ 680156 h 4687251"/>
              <a:gd name="connsiteX24058" fmla="*/ 2427843 w 8079933"/>
              <a:gd name="connsiteY24058" fmla="*/ 677233 h 4687251"/>
              <a:gd name="connsiteX24059" fmla="*/ 2426974 w 8079933"/>
              <a:gd name="connsiteY24059" fmla="*/ 673768 h 4687251"/>
              <a:gd name="connsiteX24060" fmla="*/ 2420247 w 8079933"/>
              <a:gd name="connsiteY24060" fmla="*/ 669329 h 4687251"/>
              <a:gd name="connsiteX24061" fmla="*/ 2419053 w 8079933"/>
              <a:gd name="connsiteY24061" fmla="*/ 664564 h 4687251"/>
              <a:gd name="connsiteX24062" fmla="*/ 2417859 w 8079933"/>
              <a:gd name="connsiteY24062" fmla="*/ 661966 h 4687251"/>
              <a:gd name="connsiteX24063" fmla="*/ 2412759 w 8079933"/>
              <a:gd name="connsiteY24063" fmla="*/ 661966 h 4687251"/>
              <a:gd name="connsiteX24064" fmla="*/ 2410806 w 8079933"/>
              <a:gd name="connsiteY24064" fmla="*/ 659692 h 4687251"/>
              <a:gd name="connsiteX24065" fmla="*/ 2412325 w 8079933"/>
              <a:gd name="connsiteY24065" fmla="*/ 659043 h 4687251"/>
              <a:gd name="connsiteX24066" fmla="*/ 2420355 w 8079933"/>
              <a:gd name="connsiteY24066" fmla="*/ 658501 h 4687251"/>
              <a:gd name="connsiteX24067" fmla="*/ 2421766 w 8079933"/>
              <a:gd name="connsiteY24067" fmla="*/ 656228 h 4687251"/>
              <a:gd name="connsiteX24068" fmla="*/ 2423828 w 8079933"/>
              <a:gd name="connsiteY24068" fmla="*/ 656228 h 4687251"/>
              <a:gd name="connsiteX24069" fmla="*/ 2431207 w 8079933"/>
              <a:gd name="connsiteY24069" fmla="*/ 664348 h 4687251"/>
              <a:gd name="connsiteX24070" fmla="*/ 2437610 w 8079933"/>
              <a:gd name="connsiteY24070" fmla="*/ 667921 h 4687251"/>
              <a:gd name="connsiteX24071" fmla="*/ 2439888 w 8079933"/>
              <a:gd name="connsiteY24071" fmla="*/ 667813 h 4687251"/>
              <a:gd name="connsiteX24072" fmla="*/ 2434029 w 8079933"/>
              <a:gd name="connsiteY24072" fmla="*/ 664348 h 4687251"/>
              <a:gd name="connsiteX24073" fmla="*/ 2429904 w 8079933"/>
              <a:gd name="connsiteY24073" fmla="*/ 657419 h 4687251"/>
              <a:gd name="connsiteX24074" fmla="*/ 2424370 w 8079933"/>
              <a:gd name="connsiteY24074" fmla="*/ 653521 h 4687251"/>
              <a:gd name="connsiteX24075" fmla="*/ 2424153 w 8079933"/>
              <a:gd name="connsiteY24075" fmla="*/ 650597 h 4687251"/>
              <a:gd name="connsiteX24076" fmla="*/ 2426106 w 8079933"/>
              <a:gd name="connsiteY24076" fmla="*/ 646267 h 4687251"/>
              <a:gd name="connsiteX24077" fmla="*/ 2432943 w 8079933"/>
              <a:gd name="connsiteY24077" fmla="*/ 644860 h 4687251"/>
              <a:gd name="connsiteX24078" fmla="*/ 2435439 w 8079933"/>
              <a:gd name="connsiteY24078" fmla="*/ 645942 h 4687251"/>
              <a:gd name="connsiteX24079" fmla="*/ 2434679 w 8079933"/>
              <a:gd name="connsiteY24079" fmla="*/ 650056 h 4687251"/>
              <a:gd name="connsiteX24080" fmla="*/ 2435439 w 8079933"/>
              <a:gd name="connsiteY24080" fmla="*/ 653305 h 4687251"/>
              <a:gd name="connsiteX24081" fmla="*/ 2437501 w 8079933"/>
              <a:gd name="connsiteY24081" fmla="*/ 651247 h 4687251"/>
              <a:gd name="connsiteX24082" fmla="*/ 2437284 w 8079933"/>
              <a:gd name="connsiteY24082" fmla="*/ 647999 h 4687251"/>
              <a:gd name="connsiteX24083" fmla="*/ 2439997 w 8079933"/>
              <a:gd name="connsiteY24083" fmla="*/ 644534 h 4687251"/>
              <a:gd name="connsiteX24084" fmla="*/ 2445423 w 8079933"/>
              <a:gd name="connsiteY24084" fmla="*/ 644534 h 4687251"/>
              <a:gd name="connsiteX24085" fmla="*/ 2447919 w 8079933"/>
              <a:gd name="connsiteY24085" fmla="*/ 649731 h 4687251"/>
              <a:gd name="connsiteX24086" fmla="*/ 2450089 w 8079933"/>
              <a:gd name="connsiteY24086" fmla="*/ 651464 h 4687251"/>
              <a:gd name="connsiteX24087" fmla="*/ 2451717 w 8079933"/>
              <a:gd name="connsiteY24087" fmla="*/ 657419 h 4687251"/>
              <a:gd name="connsiteX24088" fmla="*/ 2453995 w 8079933"/>
              <a:gd name="connsiteY24088" fmla="*/ 654821 h 4687251"/>
              <a:gd name="connsiteX24089" fmla="*/ 2453995 w 8079933"/>
              <a:gd name="connsiteY24089" fmla="*/ 651247 h 4687251"/>
              <a:gd name="connsiteX24090" fmla="*/ 2449546 w 8079933"/>
              <a:gd name="connsiteY24090" fmla="*/ 645942 h 4687251"/>
              <a:gd name="connsiteX24091" fmla="*/ 2450849 w 8079933"/>
              <a:gd name="connsiteY24091" fmla="*/ 643235 h 4687251"/>
              <a:gd name="connsiteX24092" fmla="*/ 2462785 w 8079933"/>
              <a:gd name="connsiteY24092" fmla="*/ 640420 h 4687251"/>
              <a:gd name="connsiteX24093" fmla="*/ 2469730 w 8079933"/>
              <a:gd name="connsiteY24093" fmla="*/ 637389 h 4687251"/>
              <a:gd name="connsiteX24094" fmla="*/ 2475590 w 8079933"/>
              <a:gd name="connsiteY24094" fmla="*/ 636848 h 4687251"/>
              <a:gd name="connsiteX24095" fmla="*/ 2480908 w 8079933"/>
              <a:gd name="connsiteY24095" fmla="*/ 633058 h 4687251"/>
              <a:gd name="connsiteX24096" fmla="*/ 2487744 w 8079933"/>
              <a:gd name="connsiteY24096" fmla="*/ 635440 h 4687251"/>
              <a:gd name="connsiteX24097" fmla="*/ 2495340 w 8079933"/>
              <a:gd name="connsiteY24097" fmla="*/ 635765 h 4687251"/>
              <a:gd name="connsiteX24098" fmla="*/ 2502611 w 8079933"/>
              <a:gd name="connsiteY24098" fmla="*/ 637497 h 4687251"/>
              <a:gd name="connsiteX24099" fmla="*/ 2503262 w 8079933"/>
              <a:gd name="connsiteY24099" fmla="*/ 640312 h 4687251"/>
              <a:gd name="connsiteX24100" fmla="*/ 2501851 w 8079933"/>
              <a:gd name="connsiteY24100" fmla="*/ 642153 h 4687251"/>
              <a:gd name="connsiteX24101" fmla="*/ 2500983 w 8079933"/>
              <a:gd name="connsiteY24101" fmla="*/ 652546 h 4687251"/>
              <a:gd name="connsiteX24102" fmla="*/ 2499790 w 8079933"/>
              <a:gd name="connsiteY24102" fmla="*/ 655362 h 4687251"/>
              <a:gd name="connsiteX24103" fmla="*/ 2496751 w 8079933"/>
              <a:gd name="connsiteY24103" fmla="*/ 658935 h 4687251"/>
              <a:gd name="connsiteX24104" fmla="*/ 2493495 w 8079933"/>
              <a:gd name="connsiteY24104" fmla="*/ 664889 h 4687251"/>
              <a:gd name="connsiteX24105" fmla="*/ 2494689 w 8079933"/>
              <a:gd name="connsiteY24105" fmla="*/ 667380 h 4687251"/>
              <a:gd name="connsiteX24106" fmla="*/ 2498921 w 8079933"/>
              <a:gd name="connsiteY24106" fmla="*/ 669329 h 4687251"/>
              <a:gd name="connsiteX24107" fmla="*/ 2500658 w 8079933"/>
              <a:gd name="connsiteY24107" fmla="*/ 673118 h 4687251"/>
              <a:gd name="connsiteX24108" fmla="*/ 2499790 w 8079933"/>
              <a:gd name="connsiteY24108" fmla="*/ 675608 h 4687251"/>
              <a:gd name="connsiteX24109" fmla="*/ 2493278 w 8079933"/>
              <a:gd name="connsiteY24109" fmla="*/ 682862 h 4687251"/>
              <a:gd name="connsiteX24110" fmla="*/ 2492085 w 8079933"/>
              <a:gd name="connsiteY24110" fmla="*/ 685786 h 4687251"/>
              <a:gd name="connsiteX24111" fmla="*/ 2491542 w 8079933"/>
              <a:gd name="connsiteY24111" fmla="*/ 690441 h 4687251"/>
              <a:gd name="connsiteX24112" fmla="*/ 2495340 w 8079933"/>
              <a:gd name="connsiteY24112" fmla="*/ 693906 h 4687251"/>
              <a:gd name="connsiteX24113" fmla="*/ 2495232 w 8079933"/>
              <a:gd name="connsiteY24113" fmla="*/ 696180 h 4687251"/>
              <a:gd name="connsiteX24114" fmla="*/ 2492085 w 8079933"/>
              <a:gd name="connsiteY24114" fmla="*/ 701160 h 4687251"/>
              <a:gd name="connsiteX24115" fmla="*/ 2488395 w 8079933"/>
              <a:gd name="connsiteY24115" fmla="*/ 701484 h 4687251"/>
              <a:gd name="connsiteX24116" fmla="*/ 2485139 w 8079933"/>
              <a:gd name="connsiteY24116" fmla="*/ 705274 h 4687251"/>
              <a:gd name="connsiteX24117" fmla="*/ 2481016 w 8079933"/>
              <a:gd name="connsiteY24117" fmla="*/ 706465 h 4687251"/>
              <a:gd name="connsiteX24118" fmla="*/ 2477760 w 8079933"/>
              <a:gd name="connsiteY24118" fmla="*/ 709497 h 4687251"/>
              <a:gd name="connsiteX24119" fmla="*/ 2474830 w 8079933"/>
              <a:gd name="connsiteY24119" fmla="*/ 713719 h 4687251"/>
              <a:gd name="connsiteX24120" fmla="*/ 2471792 w 8079933"/>
              <a:gd name="connsiteY24120" fmla="*/ 717292 h 4687251"/>
              <a:gd name="connsiteX24121" fmla="*/ 2475047 w 8079933"/>
              <a:gd name="connsiteY24121" fmla="*/ 716967 h 4687251"/>
              <a:gd name="connsiteX24122" fmla="*/ 2480040 w 8079933"/>
              <a:gd name="connsiteY24122" fmla="*/ 711987 h 4687251"/>
              <a:gd name="connsiteX24123" fmla="*/ 2486008 w 8079933"/>
              <a:gd name="connsiteY24123" fmla="*/ 707331 h 4687251"/>
              <a:gd name="connsiteX24124" fmla="*/ 2488395 w 8079933"/>
              <a:gd name="connsiteY24124" fmla="*/ 707439 h 4687251"/>
              <a:gd name="connsiteX24125" fmla="*/ 2490565 w 8079933"/>
              <a:gd name="connsiteY24125" fmla="*/ 707115 h 4687251"/>
              <a:gd name="connsiteX24126" fmla="*/ 2487419 w 8079933"/>
              <a:gd name="connsiteY24126" fmla="*/ 710580 h 4687251"/>
              <a:gd name="connsiteX24127" fmla="*/ 2486442 w 8079933"/>
              <a:gd name="connsiteY24127" fmla="*/ 714044 h 4687251"/>
              <a:gd name="connsiteX24128" fmla="*/ 2479714 w 8079933"/>
              <a:gd name="connsiteY24128" fmla="*/ 720216 h 4687251"/>
              <a:gd name="connsiteX24129" fmla="*/ 2475156 w 8079933"/>
              <a:gd name="connsiteY24129" fmla="*/ 722381 h 4687251"/>
              <a:gd name="connsiteX24130" fmla="*/ 2474830 w 8079933"/>
              <a:gd name="connsiteY24130" fmla="*/ 724114 h 4687251"/>
              <a:gd name="connsiteX24131" fmla="*/ 2475156 w 8079933"/>
              <a:gd name="connsiteY24131" fmla="*/ 726387 h 4687251"/>
              <a:gd name="connsiteX24132" fmla="*/ 2474505 w 8079933"/>
              <a:gd name="connsiteY24132" fmla="*/ 728769 h 4687251"/>
              <a:gd name="connsiteX24133" fmla="*/ 2472117 w 8079933"/>
              <a:gd name="connsiteY24133" fmla="*/ 727470 h 4687251"/>
              <a:gd name="connsiteX24134" fmla="*/ 2468971 w 8079933"/>
              <a:gd name="connsiteY24134" fmla="*/ 727794 h 4687251"/>
              <a:gd name="connsiteX24135" fmla="*/ 2469187 w 8079933"/>
              <a:gd name="connsiteY24135" fmla="*/ 730285 h 4687251"/>
              <a:gd name="connsiteX24136" fmla="*/ 2471249 w 8079933"/>
              <a:gd name="connsiteY24136" fmla="*/ 730502 h 4687251"/>
              <a:gd name="connsiteX24137" fmla="*/ 2473094 w 8079933"/>
              <a:gd name="connsiteY24137" fmla="*/ 732559 h 4687251"/>
              <a:gd name="connsiteX24138" fmla="*/ 2472769 w 8079933"/>
              <a:gd name="connsiteY24138" fmla="*/ 736240 h 4687251"/>
              <a:gd name="connsiteX24139" fmla="*/ 2469079 w 8079933"/>
              <a:gd name="connsiteY24139" fmla="*/ 738947 h 4687251"/>
              <a:gd name="connsiteX24140" fmla="*/ 2472986 w 8079933"/>
              <a:gd name="connsiteY24140" fmla="*/ 738947 h 4687251"/>
              <a:gd name="connsiteX24141" fmla="*/ 2474939 w 8079933"/>
              <a:gd name="connsiteY24141" fmla="*/ 736131 h 4687251"/>
              <a:gd name="connsiteX24142" fmla="*/ 2478303 w 8079933"/>
              <a:gd name="connsiteY24142" fmla="*/ 734941 h 4687251"/>
              <a:gd name="connsiteX24143" fmla="*/ 2481341 w 8079933"/>
              <a:gd name="connsiteY24143" fmla="*/ 730610 h 4687251"/>
              <a:gd name="connsiteX24144" fmla="*/ 2481450 w 8079933"/>
              <a:gd name="connsiteY24144" fmla="*/ 727253 h 4687251"/>
              <a:gd name="connsiteX24145" fmla="*/ 2485791 w 8079933"/>
              <a:gd name="connsiteY24145" fmla="*/ 725629 h 4687251"/>
              <a:gd name="connsiteX24146" fmla="*/ 2487527 w 8079933"/>
              <a:gd name="connsiteY24146" fmla="*/ 721731 h 4687251"/>
              <a:gd name="connsiteX24147" fmla="*/ 2488938 w 8079933"/>
              <a:gd name="connsiteY24147" fmla="*/ 722922 h 4687251"/>
              <a:gd name="connsiteX24148" fmla="*/ 2488938 w 8079933"/>
              <a:gd name="connsiteY24148" fmla="*/ 728986 h 4687251"/>
              <a:gd name="connsiteX24149" fmla="*/ 2491651 w 8079933"/>
              <a:gd name="connsiteY24149" fmla="*/ 730610 h 4687251"/>
              <a:gd name="connsiteX24150" fmla="*/ 2491651 w 8079933"/>
              <a:gd name="connsiteY24150" fmla="*/ 725304 h 4687251"/>
              <a:gd name="connsiteX24151" fmla="*/ 2490457 w 8079933"/>
              <a:gd name="connsiteY24151" fmla="*/ 720432 h 4687251"/>
              <a:gd name="connsiteX24152" fmla="*/ 2491325 w 8079933"/>
              <a:gd name="connsiteY24152" fmla="*/ 716967 h 4687251"/>
              <a:gd name="connsiteX24153" fmla="*/ 2493495 w 8079933"/>
              <a:gd name="connsiteY24153" fmla="*/ 715451 h 4687251"/>
              <a:gd name="connsiteX24154" fmla="*/ 2497945 w 8079933"/>
              <a:gd name="connsiteY24154" fmla="*/ 716643 h 4687251"/>
              <a:gd name="connsiteX24155" fmla="*/ 2497293 w 8079933"/>
              <a:gd name="connsiteY24155" fmla="*/ 721948 h 4687251"/>
              <a:gd name="connsiteX24156" fmla="*/ 2498813 w 8079933"/>
              <a:gd name="connsiteY24156" fmla="*/ 724547 h 4687251"/>
              <a:gd name="connsiteX24157" fmla="*/ 2501200 w 8079933"/>
              <a:gd name="connsiteY24157" fmla="*/ 722057 h 4687251"/>
              <a:gd name="connsiteX24158" fmla="*/ 2506192 w 8079933"/>
              <a:gd name="connsiteY24158" fmla="*/ 716967 h 4687251"/>
              <a:gd name="connsiteX24159" fmla="*/ 2507603 w 8079933"/>
              <a:gd name="connsiteY24159" fmla="*/ 721082 h 4687251"/>
              <a:gd name="connsiteX24160" fmla="*/ 2510641 w 8079933"/>
              <a:gd name="connsiteY24160" fmla="*/ 724547 h 4687251"/>
              <a:gd name="connsiteX24161" fmla="*/ 2509339 w 8079933"/>
              <a:gd name="connsiteY24161" fmla="*/ 728444 h 4687251"/>
              <a:gd name="connsiteX24162" fmla="*/ 2503479 w 8079933"/>
              <a:gd name="connsiteY24162" fmla="*/ 736565 h 4687251"/>
              <a:gd name="connsiteX24163" fmla="*/ 2498813 w 8079933"/>
              <a:gd name="connsiteY24163" fmla="*/ 740137 h 4687251"/>
              <a:gd name="connsiteX24164" fmla="*/ 2496534 w 8079933"/>
              <a:gd name="connsiteY24164" fmla="*/ 743385 h 4687251"/>
              <a:gd name="connsiteX24165" fmla="*/ 2501091 w 8079933"/>
              <a:gd name="connsiteY24165" fmla="*/ 744469 h 4687251"/>
              <a:gd name="connsiteX24166" fmla="*/ 2505215 w 8079933"/>
              <a:gd name="connsiteY24166" fmla="*/ 746526 h 4687251"/>
              <a:gd name="connsiteX24167" fmla="*/ 2508254 w 8079933"/>
              <a:gd name="connsiteY24167" fmla="*/ 744469 h 4687251"/>
              <a:gd name="connsiteX24168" fmla="*/ 2505649 w 8079933"/>
              <a:gd name="connsiteY24168" fmla="*/ 741328 h 4687251"/>
              <a:gd name="connsiteX24169" fmla="*/ 2507711 w 8079933"/>
              <a:gd name="connsiteY24169" fmla="*/ 736673 h 4687251"/>
              <a:gd name="connsiteX24170" fmla="*/ 2511509 w 8079933"/>
              <a:gd name="connsiteY24170" fmla="*/ 732234 h 4687251"/>
              <a:gd name="connsiteX24171" fmla="*/ 2514873 w 8079933"/>
              <a:gd name="connsiteY24171" fmla="*/ 738297 h 4687251"/>
              <a:gd name="connsiteX24172" fmla="*/ 2514982 w 8079933"/>
              <a:gd name="connsiteY24172" fmla="*/ 742520 h 4687251"/>
              <a:gd name="connsiteX24173" fmla="*/ 2516175 w 8079933"/>
              <a:gd name="connsiteY24173" fmla="*/ 739488 h 4687251"/>
              <a:gd name="connsiteX24174" fmla="*/ 2515524 w 8079933"/>
              <a:gd name="connsiteY24174" fmla="*/ 733641 h 4687251"/>
              <a:gd name="connsiteX24175" fmla="*/ 2513137 w 8079933"/>
              <a:gd name="connsiteY24175" fmla="*/ 729094 h 4687251"/>
              <a:gd name="connsiteX24176" fmla="*/ 2512920 w 8079933"/>
              <a:gd name="connsiteY24176" fmla="*/ 720324 h 4687251"/>
              <a:gd name="connsiteX24177" fmla="*/ 2514873 w 8079933"/>
              <a:gd name="connsiteY24177" fmla="*/ 719349 h 4687251"/>
              <a:gd name="connsiteX24178" fmla="*/ 2519865 w 8079933"/>
              <a:gd name="connsiteY24178" fmla="*/ 721623 h 4687251"/>
              <a:gd name="connsiteX24179" fmla="*/ 2518780 w 8079933"/>
              <a:gd name="connsiteY24179" fmla="*/ 726063 h 4687251"/>
              <a:gd name="connsiteX24180" fmla="*/ 2517260 w 8079933"/>
              <a:gd name="connsiteY24180" fmla="*/ 729635 h 4687251"/>
              <a:gd name="connsiteX24181" fmla="*/ 2519865 w 8079933"/>
              <a:gd name="connsiteY24181" fmla="*/ 728444 h 4687251"/>
              <a:gd name="connsiteX24182" fmla="*/ 2523663 w 8079933"/>
              <a:gd name="connsiteY24182" fmla="*/ 727794 h 4687251"/>
              <a:gd name="connsiteX24183" fmla="*/ 2531367 w 8079933"/>
              <a:gd name="connsiteY24183" fmla="*/ 735157 h 4687251"/>
              <a:gd name="connsiteX24184" fmla="*/ 2531367 w 8079933"/>
              <a:gd name="connsiteY24184" fmla="*/ 738297 h 4687251"/>
              <a:gd name="connsiteX24185" fmla="*/ 2536685 w 8079933"/>
              <a:gd name="connsiteY24185" fmla="*/ 738297 h 4687251"/>
              <a:gd name="connsiteX24186" fmla="*/ 2540158 w 8079933"/>
              <a:gd name="connsiteY24186" fmla="*/ 740354 h 4687251"/>
              <a:gd name="connsiteX24187" fmla="*/ 2542328 w 8079933"/>
              <a:gd name="connsiteY24187" fmla="*/ 740354 h 4687251"/>
              <a:gd name="connsiteX24188" fmla="*/ 2540158 w 8079933"/>
              <a:gd name="connsiteY24188" fmla="*/ 735482 h 4687251"/>
              <a:gd name="connsiteX24189" fmla="*/ 2536902 w 8079933"/>
              <a:gd name="connsiteY24189" fmla="*/ 734832 h 4687251"/>
              <a:gd name="connsiteX24190" fmla="*/ 2535491 w 8079933"/>
              <a:gd name="connsiteY24190" fmla="*/ 732559 h 4687251"/>
              <a:gd name="connsiteX24191" fmla="*/ 2526919 w 8079933"/>
              <a:gd name="connsiteY24191" fmla="*/ 724980 h 4687251"/>
              <a:gd name="connsiteX24192" fmla="*/ 2523663 w 8079933"/>
              <a:gd name="connsiteY24192" fmla="*/ 724005 h 4687251"/>
              <a:gd name="connsiteX24193" fmla="*/ 2522035 w 8079933"/>
              <a:gd name="connsiteY24193" fmla="*/ 721731 h 4687251"/>
              <a:gd name="connsiteX24194" fmla="*/ 2526919 w 8079933"/>
              <a:gd name="connsiteY24194" fmla="*/ 714586 h 4687251"/>
              <a:gd name="connsiteX24195" fmla="*/ 2532236 w 8079933"/>
              <a:gd name="connsiteY24195" fmla="*/ 714369 h 4687251"/>
              <a:gd name="connsiteX24196" fmla="*/ 2536685 w 8079933"/>
              <a:gd name="connsiteY24196" fmla="*/ 710255 h 4687251"/>
              <a:gd name="connsiteX24197" fmla="*/ 2543739 w 8079933"/>
              <a:gd name="connsiteY24197" fmla="*/ 708955 h 4687251"/>
              <a:gd name="connsiteX24198" fmla="*/ 2549599 w 8079933"/>
              <a:gd name="connsiteY24198" fmla="*/ 709497 h 4687251"/>
              <a:gd name="connsiteX24199" fmla="*/ 2551660 w 8079933"/>
              <a:gd name="connsiteY24199" fmla="*/ 711770 h 4687251"/>
              <a:gd name="connsiteX24200" fmla="*/ 2553939 w 8079933"/>
              <a:gd name="connsiteY24200" fmla="*/ 711445 h 4687251"/>
              <a:gd name="connsiteX24201" fmla="*/ 2560450 w 8079933"/>
              <a:gd name="connsiteY24201" fmla="*/ 714586 h 4687251"/>
              <a:gd name="connsiteX24202" fmla="*/ 2560885 w 8079933"/>
              <a:gd name="connsiteY24202" fmla="*/ 717400 h 4687251"/>
              <a:gd name="connsiteX24203" fmla="*/ 2564574 w 8079933"/>
              <a:gd name="connsiteY24203" fmla="*/ 720649 h 4687251"/>
              <a:gd name="connsiteX24204" fmla="*/ 2567504 w 8079933"/>
              <a:gd name="connsiteY24204" fmla="*/ 721948 h 4687251"/>
              <a:gd name="connsiteX24205" fmla="*/ 2568046 w 8079933"/>
              <a:gd name="connsiteY24205" fmla="*/ 725737 h 4687251"/>
              <a:gd name="connsiteX24206" fmla="*/ 2570434 w 8079933"/>
              <a:gd name="connsiteY24206" fmla="*/ 725521 h 4687251"/>
              <a:gd name="connsiteX24207" fmla="*/ 2571519 w 8079933"/>
              <a:gd name="connsiteY24207" fmla="*/ 723680 h 4687251"/>
              <a:gd name="connsiteX24208" fmla="*/ 2575317 w 8079933"/>
              <a:gd name="connsiteY24208" fmla="*/ 724330 h 4687251"/>
              <a:gd name="connsiteX24209" fmla="*/ 2577053 w 8079933"/>
              <a:gd name="connsiteY24209" fmla="*/ 728120 h 4687251"/>
              <a:gd name="connsiteX24210" fmla="*/ 2582153 w 8079933"/>
              <a:gd name="connsiteY24210" fmla="*/ 730502 h 4687251"/>
              <a:gd name="connsiteX24211" fmla="*/ 2582371 w 8079933"/>
              <a:gd name="connsiteY24211" fmla="*/ 733641 h 4687251"/>
              <a:gd name="connsiteX24212" fmla="*/ 2582045 w 8079933"/>
              <a:gd name="connsiteY24212" fmla="*/ 736889 h 4687251"/>
              <a:gd name="connsiteX24213" fmla="*/ 2583239 w 8079933"/>
              <a:gd name="connsiteY24213" fmla="*/ 739271 h 4687251"/>
              <a:gd name="connsiteX24214" fmla="*/ 2583781 w 8079933"/>
              <a:gd name="connsiteY24214" fmla="*/ 742411 h 4687251"/>
              <a:gd name="connsiteX24215" fmla="*/ 2579658 w 8079933"/>
              <a:gd name="connsiteY24215" fmla="*/ 747175 h 4687251"/>
              <a:gd name="connsiteX24216" fmla="*/ 2575860 w 8079933"/>
              <a:gd name="connsiteY24216" fmla="*/ 746526 h 4687251"/>
              <a:gd name="connsiteX24217" fmla="*/ 2571519 w 8079933"/>
              <a:gd name="connsiteY24217" fmla="*/ 745334 h 4687251"/>
              <a:gd name="connsiteX24218" fmla="*/ 2564791 w 8079933"/>
              <a:gd name="connsiteY24218" fmla="*/ 747175 h 4687251"/>
              <a:gd name="connsiteX24219" fmla="*/ 2557520 w 8079933"/>
              <a:gd name="connsiteY24219" fmla="*/ 753888 h 4687251"/>
              <a:gd name="connsiteX24220" fmla="*/ 2565659 w 8079933"/>
              <a:gd name="connsiteY24220" fmla="*/ 748691 h 4687251"/>
              <a:gd name="connsiteX24221" fmla="*/ 2573364 w 8079933"/>
              <a:gd name="connsiteY24221" fmla="*/ 748257 h 4687251"/>
              <a:gd name="connsiteX24222" fmla="*/ 2574991 w 8079933"/>
              <a:gd name="connsiteY24222" fmla="*/ 750640 h 4687251"/>
              <a:gd name="connsiteX24223" fmla="*/ 2571627 w 8079933"/>
              <a:gd name="connsiteY24223" fmla="*/ 753888 h 4687251"/>
              <a:gd name="connsiteX24224" fmla="*/ 2566527 w 8079933"/>
              <a:gd name="connsiteY24224" fmla="*/ 757136 h 4687251"/>
              <a:gd name="connsiteX24225" fmla="*/ 2561210 w 8079933"/>
              <a:gd name="connsiteY24225" fmla="*/ 764932 h 4687251"/>
              <a:gd name="connsiteX24226" fmla="*/ 2557412 w 8079933"/>
              <a:gd name="connsiteY24226" fmla="*/ 767855 h 4687251"/>
              <a:gd name="connsiteX24227" fmla="*/ 2554807 w 8079933"/>
              <a:gd name="connsiteY24227" fmla="*/ 768179 h 4687251"/>
              <a:gd name="connsiteX24228" fmla="*/ 2554156 w 8079933"/>
              <a:gd name="connsiteY24228" fmla="*/ 771752 h 4687251"/>
              <a:gd name="connsiteX24229" fmla="*/ 2556543 w 8079933"/>
              <a:gd name="connsiteY24229" fmla="*/ 772077 h 4687251"/>
              <a:gd name="connsiteX24230" fmla="*/ 2565116 w 8079933"/>
              <a:gd name="connsiteY24230" fmla="*/ 763307 h 4687251"/>
              <a:gd name="connsiteX24231" fmla="*/ 2568697 w 8079933"/>
              <a:gd name="connsiteY24231" fmla="*/ 757677 h 4687251"/>
              <a:gd name="connsiteX24232" fmla="*/ 2574991 w 8079933"/>
              <a:gd name="connsiteY24232" fmla="*/ 755404 h 4687251"/>
              <a:gd name="connsiteX24233" fmla="*/ 2579983 w 8079933"/>
              <a:gd name="connsiteY24233" fmla="*/ 750640 h 4687251"/>
              <a:gd name="connsiteX24234" fmla="*/ 2584758 w 8079933"/>
              <a:gd name="connsiteY24234" fmla="*/ 752155 h 4687251"/>
              <a:gd name="connsiteX24235" fmla="*/ 2586820 w 8079933"/>
              <a:gd name="connsiteY24235" fmla="*/ 754212 h 4687251"/>
              <a:gd name="connsiteX24236" fmla="*/ 2590075 w 8079933"/>
              <a:gd name="connsiteY24236" fmla="*/ 754538 h 4687251"/>
              <a:gd name="connsiteX24237" fmla="*/ 2590075 w 8079933"/>
              <a:gd name="connsiteY24237" fmla="*/ 758002 h 4687251"/>
              <a:gd name="connsiteX24238" fmla="*/ 2588230 w 8079933"/>
              <a:gd name="connsiteY24238" fmla="*/ 761575 h 4687251"/>
              <a:gd name="connsiteX24239" fmla="*/ 2588556 w 8079933"/>
              <a:gd name="connsiteY24239" fmla="*/ 765256 h 4687251"/>
              <a:gd name="connsiteX24240" fmla="*/ 2583347 w 8079933"/>
              <a:gd name="connsiteY24240" fmla="*/ 766989 h 4687251"/>
              <a:gd name="connsiteX24241" fmla="*/ 2580960 w 8079933"/>
              <a:gd name="connsiteY24241" fmla="*/ 771752 h 4687251"/>
              <a:gd name="connsiteX24242" fmla="*/ 2575968 w 8079933"/>
              <a:gd name="connsiteY24242" fmla="*/ 772077 h 4687251"/>
              <a:gd name="connsiteX24243" fmla="*/ 2573798 w 8079933"/>
              <a:gd name="connsiteY24243" fmla="*/ 770345 h 4687251"/>
              <a:gd name="connsiteX24244" fmla="*/ 2569457 w 8079933"/>
              <a:gd name="connsiteY24244" fmla="*/ 770345 h 4687251"/>
              <a:gd name="connsiteX24245" fmla="*/ 2567070 w 8079933"/>
              <a:gd name="connsiteY24245" fmla="*/ 773485 h 4687251"/>
              <a:gd name="connsiteX24246" fmla="*/ 2571844 w 8079933"/>
              <a:gd name="connsiteY24246" fmla="*/ 773485 h 4687251"/>
              <a:gd name="connsiteX24247" fmla="*/ 2572930 w 8079933"/>
              <a:gd name="connsiteY24247" fmla="*/ 776083 h 4687251"/>
              <a:gd name="connsiteX24248" fmla="*/ 2564574 w 8079933"/>
              <a:gd name="connsiteY24248" fmla="*/ 780522 h 4687251"/>
              <a:gd name="connsiteX24249" fmla="*/ 2567721 w 8079933"/>
              <a:gd name="connsiteY24249" fmla="*/ 781280 h 4687251"/>
              <a:gd name="connsiteX24250" fmla="*/ 2570434 w 8079933"/>
              <a:gd name="connsiteY24250" fmla="*/ 778465 h 4687251"/>
              <a:gd name="connsiteX24251" fmla="*/ 2575643 w 8079933"/>
              <a:gd name="connsiteY24251" fmla="*/ 776950 h 4687251"/>
              <a:gd name="connsiteX24252" fmla="*/ 2578355 w 8079933"/>
              <a:gd name="connsiteY24252" fmla="*/ 775326 h 4687251"/>
              <a:gd name="connsiteX24253" fmla="*/ 2579115 w 8079933"/>
              <a:gd name="connsiteY24253" fmla="*/ 777599 h 4687251"/>
              <a:gd name="connsiteX24254" fmla="*/ 2577162 w 8079933"/>
              <a:gd name="connsiteY24254" fmla="*/ 780197 h 4687251"/>
              <a:gd name="connsiteX24255" fmla="*/ 2572170 w 8079933"/>
              <a:gd name="connsiteY24255" fmla="*/ 781280 h 4687251"/>
              <a:gd name="connsiteX24256" fmla="*/ 2567721 w 8079933"/>
              <a:gd name="connsiteY24256" fmla="*/ 784853 h 4687251"/>
              <a:gd name="connsiteX24257" fmla="*/ 2571194 w 8079933"/>
              <a:gd name="connsiteY24257" fmla="*/ 784312 h 4687251"/>
              <a:gd name="connsiteX24258" fmla="*/ 2572495 w 8079933"/>
              <a:gd name="connsiteY24258" fmla="*/ 785395 h 4687251"/>
              <a:gd name="connsiteX24259" fmla="*/ 2569891 w 8079933"/>
              <a:gd name="connsiteY24259" fmla="*/ 789509 h 4687251"/>
              <a:gd name="connsiteX24260" fmla="*/ 2565008 w 8079933"/>
              <a:gd name="connsiteY24260" fmla="*/ 793731 h 4687251"/>
              <a:gd name="connsiteX24261" fmla="*/ 2561535 w 8079933"/>
              <a:gd name="connsiteY24261" fmla="*/ 796654 h 4687251"/>
              <a:gd name="connsiteX24262" fmla="*/ 2564574 w 8079933"/>
              <a:gd name="connsiteY24262" fmla="*/ 797196 h 4687251"/>
              <a:gd name="connsiteX24263" fmla="*/ 2570108 w 8079933"/>
              <a:gd name="connsiteY24263" fmla="*/ 793623 h 4687251"/>
              <a:gd name="connsiteX24264" fmla="*/ 2573907 w 8079933"/>
              <a:gd name="connsiteY24264" fmla="*/ 786261 h 4687251"/>
              <a:gd name="connsiteX24265" fmla="*/ 2577053 w 8079933"/>
              <a:gd name="connsiteY24265" fmla="*/ 782471 h 4687251"/>
              <a:gd name="connsiteX24266" fmla="*/ 2584216 w 8079933"/>
              <a:gd name="connsiteY24266" fmla="*/ 777058 h 4687251"/>
              <a:gd name="connsiteX24267" fmla="*/ 2585409 w 8079933"/>
              <a:gd name="connsiteY24267" fmla="*/ 778790 h 4687251"/>
              <a:gd name="connsiteX24268" fmla="*/ 2585409 w 8079933"/>
              <a:gd name="connsiteY24268" fmla="*/ 781280 h 4687251"/>
              <a:gd name="connsiteX24269" fmla="*/ 2589424 w 8079933"/>
              <a:gd name="connsiteY24269" fmla="*/ 779332 h 4687251"/>
              <a:gd name="connsiteX24270" fmla="*/ 2590075 w 8079933"/>
              <a:gd name="connsiteY24270" fmla="*/ 776083 h 4687251"/>
              <a:gd name="connsiteX24271" fmla="*/ 2595935 w 8079933"/>
              <a:gd name="connsiteY24271" fmla="*/ 772294 h 4687251"/>
              <a:gd name="connsiteX24272" fmla="*/ 2599082 w 8079933"/>
              <a:gd name="connsiteY24272" fmla="*/ 772618 h 4687251"/>
              <a:gd name="connsiteX24273" fmla="*/ 2598756 w 8079933"/>
              <a:gd name="connsiteY24273" fmla="*/ 775542 h 4687251"/>
              <a:gd name="connsiteX24274" fmla="*/ 2591486 w 8079933"/>
              <a:gd name="connsiteY24274" fmla="*/ 781713 h 4687251"/>
              <a:gd name="connsiteX24275" fmla="*/ 2583347 w 8079933"/>
              <a:gd name="connsiteY24275" fmla="*/ 787019 h 4687251"/>
              <a:gd name="connsiteX24276" fmla="*/ 2580091 w 8079933"/>
              <a:gd name="connsiteY24276" fmla="*/ 787885 h 4687251"/>
              <a:gd name="connsiteX24277" fmla="*/ 2580091 w 8079933"/>
              <a:gd name="connsiteY24277" fmla="*/ 790158 h 4687251"/>
              <a:gd name="connsiteX24278" fmla="*/ 2582153 w 8079933"/>
              <a:gd name="connsiteY24278" fmla="*/ 791241 h 4687251"/>
              <a:gd name="connsiteX24279" fmla="*/ 2579766 w 8079933"/>
              <a:gd name="connsiteY24279" fmla="*/ 795356 h 4687251"/>
              <a:gd name="connsiteX24280" fmla="*/ 2578790 w 8079933"/>
              <a:gd name="connsiteY24280" fmla="*/ 799578 h 4687251"/>
              <a:gd name="connsiteX24281" fmla="*/ 2580309 w 8079933"/>
              <a:gd name="connsiteY24281" fmla="*/ 800228 h 4687251"/>
              <a:gd name="connsiteX24282" fmla="*/ 2583021 w 8079933"/>
              <a:gd name="connsiteY24282" fmla="*/ 796330 h 4687251"/>
              <a:gd name="connsiteX24283" fmla="*/ 2583998 w 8079933"/>
              <a:gd name="connsiteY24283" fmla="*/ 792107 h 4687251"/>
              <a:gd name="connsiteX24284" fmla="*/ 2590509 w 8079933"/>
              <a:gd name="connsiteY24284" fmla="*/ 786694 h 4687251"/>
              <a:gd name="connsiteX24285" fmla="*/ 2595501 w 8079933"/>
              <a:gd name="connsiteY24285" fmla="*/ 783554 h 4687251"/>
              <a:gd name="connsiteX24286" fmla="*/ 2595284 w 8079933"/>
              <a:gd name="connsiteY24286" fmla="*/ 786694 h 4687251"/>
              <a:gd name="connsiteX24287" fmla="*/ 2595935 w 8079933"/>
              <a:gd name="connsiteY24287" fmla="*/ 789401 h 4687251"/>
              <a:gd name="connsiteX24288" fmla="*/ 2593548 w 8079933"/>
              <a:gd name="connsiteY24288" fmla="*/ 792432 h 4687251"/>
              <a:gd name="connsiteX24289" fmla="*/ 2587796 w 8079933"/>
              <a:gd name="connsiteY24289" fmla="*/ 797954 h 4687251"/>
              <a:gd name="connsiteX24290" fmla="*/ 2587146 w 8079933"/>
              <a:gd name="connsiteY24290" fmla="*/ 800877 h 4687251"/>
              <a:gd name="connsiteX24291" fmla="*/ 2583456 w 8079933"/>
              <a:gd name="connsiteY24291" fmla="*/ 807265 h 4687251"/>
              <a:gd name="connsiteX24292" fmla="*/ 2580960 w 8079933"/>
              <a:gd name="connsiteY24292" fmla="*/ 809431 h 4687251"/>
              <a:gd name="connsiteX24293" fmla="*/ 2581286 w 8079933"/>
              <a:gd name="connsiteY24293" fmla="*/ 810621 h 4687251"/>
              <a:gd name="connsiteX24294" fmla="*/ 2585517 w 8079933"/>
              <a:gd name="connsiteY24294" fmla="*/ 809431 h 4687251"/>
              <a:gd name="connsiteX24295" fmla="*/ 2587362 w 8079933"/>
              <a:gd name="connsiteY24295" fmla="*/ 805858 h 4687251"/>
              <a:gd name="connsiteX24296" fmla="*/ 2593222 w 8079933"/>
              <a:gd name="connsiteY24296" fmla="*/ 797954 h 4687251"/>
              <a:gd name="connsiteX24297" fmla="*/ 2596912 w 8079933"/>
              <a:gd name="connsiteY24297" fmla="*/ 796330 h 4687251"/>
              <a:gd name="connsiteX24298" fmla="*/ 2598865 w 8079933"/>
              <a:gd name="connsiteY24298" fmla="*/ 799362 h 4687251"/>
              <a:gd name="connsiteX24299" fmla="*/ 2600059 w 8079933"/>
              <a:gd name="connsiteY24299" fmla="*/ 800228 h 4687251"/>
              <a:gd name="connsiteX24300" fmla="*/ 2599841 w 8079933"/>
              <a:gd name="connsiteY24300" fmla="*/ 802718 h 4687251"/>
              <a:gd name="connsiteX24301" fmla="*/ 2596695 w 8079933"/>
              <a:gd name="connsiteY24301" fmla="*/ 803909 h 4687251"/>
              <a:gd name="connsiteX24302" fmla="*/ 2592463 w 8079933"/>
              <a:gd name="connsiteY24302" fmla="*/ 810080 h 4687251"/>
              <a:gd name="connsiteX24303" fmla="*/ 2591269 w 8079933"/>
              <a:gd name="connsiteY24303" fmla="*/ 816035 h 4687251"/>
              <a:gd name="connsiteX24304" fmla="*/ 2593114 w 8079933"/>
              <a:gd name="connsiteY24304" fmla="*/ 816793 h 4687251"/>
              <a:gd name="connsiteX24305" fmla="*/ 2594850 w 8079933"/>
              <a:gd name="connsiteY24305" fmla="*/ 813545 h 4687251"/>
              <a:gd name="connsiteX24306" fmla="*/ 2595827 w 8079933"/>
              <a:gd name="connsiteY24306" fmla="*/ 809864 h 4687251"/>
              <a:gd name="connsiteX24307" fmla="*/ 2598973 w 8079933"/>
              <a:gd name="connsiteY24307" fmla="*/ 805208 h 4687251"/>
              <a:gd name="connsiteX24308" fmla="*/ 2603857 w 8079933"/>
              <a:gd name="connsiteY24308" fmla="*/ 803042 h 4687251"/>
              <a:gd name="connsiteX24309" fmla="*/ 2603857 w 8079933"/>
              <a:gd name="connsiteY24309" fmla="*/ 798387 h 4687251"/>
              <a:gd name="connsiteX24310" fmla="*/ 2605702 w 8079933"/>
              <a:gd name="connsiteY24310" fmla="*/ 794706 h 4687251"/>
              <a:gd name="connsiteX24311" fmla="*/ 2609391 w 8079933"/>
              <a:gd name="connsiteY24311" fmla="*/ 792865 h 4687251"/>
              <a:gd name="connsiteX24312" fmla="*/ 2609934 w 8079933"/>
              <a:gd name="connsiteY24312" fmla="*/ 789401 h 4687251"/>
              <a:gd name="connsiteX24313" fmla="*/ 2611236 w 8079933"/>
              <a:gd name="connsiteY24313" fmla="*/ 787019 h 4687251"/>
              <a:gd name="connsiteX24314" fmla="*/ 2613298 w 8079933"/>
              <a:gd name="connsiteY24314" fmla="*/ 786152 h 4687251"/>
              <a:gd name="connsiteX24315" fmla="*/ 2615468 w 8079933"/>
              <a:gd name="connsiteY24315" fmla="*/ 782796 h 4687251"/>
              <a:gd name="connsiteX24316" fmla="*/ 2615793 w 8079933"/>
              <a:gd name="connsiteY24316" fmla="*/ 779440 h 4687251"/>
              <a:gd name="connsiteX24317" fmla="*/ 2617747 w 8079933"/>
              <a:gd name="connsiteY24317" fmla="*/ 778573 h 4687251"/>
              <a:gd name="connsiteX24318" fmla="*/ 2621328 w 8079933"/>
              <a:gd name="connsiteY24318" fmla="*/ 785828 h 4687251"/>
              <a:gd name="connsiteX24319" fmla="*/ 2624692 w 8079933"/>
              <a:gd name="connsiteY24319" fmla="*/ 787885 h 4687251"/>
              <a:gd name="connsiteX24320" fmla="*/ 2628815 w 8079933"/>
              <a:gd name="connsiteY24320" fmla="*/ 792107 h 4687251"/>
              <a:gd name="connsiteX24321" fmla="*/ 2629792 w 8079933"/>
              <a:gd name="connsiteY24321" fmla="*/ 796438 h 4687251"/>
              <a:gd name="connsiteX24322" fmla="*/ 2630769 w 8079933"/>
              <a:gd name="connsiteY24322" fmla="*/ 800985 h 4687251"/>
              <a:gd name="connsiteX24323" fmla="*/ 2635218 w 8079933"/>
              <a:gd name="connsiteY24323" fmla="*/ 805858 h 4687251"/>
              <a:gd name="connsiteX24324" fmla="*/ 2635543 w 8079933"/>
              <a:gd name="connsiteY24324" fmla="*/ 807915 h 4687251"/>
              <a:gd name="connsiteX24325" fmla="*/ 2632397 w 8079933"/>
              <a:gd name="connsiteY24325" fmla="*/ 811054 h 4687251"/>
              <a:gd name="connsiteX24326" fmla="*/ 2627839 w 8079933"/>
              <a:gd name="connsiteY24326" fmla="*/ 816685 h 4687251"/>
              <a:gd name="connsiteX24327" fmla="*/ 2625126 w 8079933"/>
              <a:gd name="connsiteY24327" fmla="*/ 816793 h 4687251"/>
              <a:gd name="connsiteX24328" fmla="*/ 2621979 w 8079933"/>
              <a:gd name="connsiteY24328" fmla="*/ 814195 h 4687251"/>
              <a:gd name="connsiteX24329" fmla="*/ 2617964 w 8079933"/>
              <a:gd name="connsiteY24329" fmla="*/ 810730 h 4687251"/>
              <a:gd name="connsiteX24330" fmla="*/ 2615685 w 8079933"/>
              <a:gd name="connsiteY24330" fmla="*/ 811054 h 4687251"/>
              <a:gd name="connsiteX24331" fmla="*/ 2613515 w 8079933"/>
              <a:gd name="connsiteY24331" fmla="*/ 812787 h 4687251"/>
              <a:gd name="connsiteX24332" fmla="*/ 2610694 w 8079933"/>
              <a:gd name="connsiteY24332" fmla="*/ 813870 h 4687251"/>
              <a:gd name="connsiteX24333" fmla="*/ 2608523 w 8079933"/>
              <a:gd name="connsiteY24333" fmla="*/ 818201 h 4687251"/>
              <a:gd name="connsiteX24334" fmla="*/ 2605159 w 8079933"/>
              <a:gd name="connsiteY24334" fmla="*/ 820150 h 4687251"/>
              <a:gd name="connsiteX24335" fmla="*/ 2602338 w 8079933"/>
              <a:gd name="connsiteY24335" fmla="*/ 820041 h 4687251"/>
              <a:gd name="connsiteX24336" fmla="*/ 2599733 w 8079933"/>
              <a:gd name="connsiteY24336" fmla="*/ 823181 h 4687251"/>
              <a:gd name="connsiteX24337" fmla="*/ 2604942 w 8079933"/>
              <a:gd name="connsiteY24337" fmla="*/ 822423 h 4687251"/>
              <a:gd name="connsiteX24338" fmla="*/ 2607329 w 8079933"/>
              <a:gd name="connsiteY24338" fmla="*/ 822423 h 4687251"/>
              <a:gd name="connsiteX24339" fmla="*/ 2608414 w 8079933"/>
              <a:gd name="connsiteY24339" fmla="*/ 825238 h 4687251"/>
              <a:gd name="connsiteX24340" fmla="*/ 2604725 w 8079933"/>
              <a:gd name="connsiteY24340" fmla="*/ 829352 h 4687251"/>
              <a:gd name="connsiteX24341" fmla="*/ 2600818 w 8079933"/>
              <a:gd name="connsiteY24341" fmla="*/ 831301 h 4687251"/>
              <a:gd name="connsiteX24342" fmla="*/ 2597020 w 8079933"/>
              <a:gd name="connsiteY24342" fmla="*/ 833250 h 4687251"/>
              <a:gd name="connsiteX24343" fmla="*/ 2602663 w 8079933"/>
              <a:gd name="connsiteY24343" fmla="*/ 833358 h 4687251"/>
              <a:gd name="connsiteX24344" fmla="*/ 2606461 w 8079933"/>
              <a:gd name="connsiteY24344" fmla="*/ 831085 h 4687251"/>
              <a:gd name="connsiteX24345" fmla="*/ 2611562 w 8079933"/>
              <a:gd name="connsiteY24345" fmla="*/ 830327 h 4687251"/>
              <a:gd name="connsiteX24346" fmla="*/ 2615360 w 8079933"/>
              <a:gd name="connsiteY24346" fmla="*/ 830976 h 4687251"/>
              <a:gd name="connsiteX24347" fmla="*/ 2619483 w 8079933"/>
              <a:gd name="connsiteY24347" fmla="*/ 827620 h 4687251"/>
              <a:gd name="connsiteX24348" fmla="*/ 2623716 w 8079933"/>
              <a:gd name="connsiteY24348" fmla="*/ 827728 h 4687251"/>
              <a:gd name="connsiteX24349" fmla="*/ 2626429 w 8079933"/>
              <a:gd name="connsiteY24349" fmla="*/ 829894 h 4687251"/>
              <a:gd name="connsiteX24350" fmla="*/ 2626862 w 8079933"/>
              <a:gd name="connsiteY24350" fmla="*/ 832059 h 4687251"/>
              <a:gd name="connsiteX24351" fmla="*/ 2626102 w 8079933"/>
              <a:gd name="connsiteY24351" fmla="*/ 833683 h 4687251"/>
              <a:gd name="connsiteX24352" fmla="*/ 2628056 w 8079933"/>
              <a:gd name="connsiteY24352" fmla="*/ 832492 h 4687251"/>
              <a:gd name="connsiteX24353" fmla="*/ 2629250 w 8079933"/>
              <a:gd name="connsiteY24353" fmla="*/ 827187 h 4687251"/>
              <a:gd name="connsiteX24354" fmla="*/ 2628815 w 8079933"/>
              <a:gd name="connsiteY24354" fmla="*/ 823181 h 4687251"/>
              <a:gd name="connsiteX24355" fmla="*/ 2631529 w 8079933"/>
              <a:gd name="connsiteY24355" fmla="*/ 819717 h 4687251"/>
              <a:gd name="connsiteX24356" fmla="*/ 2638365 w 8079933"/>
              <a:gd name="connsiteY24356" fmla="*/ 816468 h 4687251"/>
              <a:gd name="connsiteX24357" fmla="*/ 2639559 w 8079933"/>
              <a:gd name="connsiteY24357" fmla="*/ 817659 h 4687251"/>
              <a:gd name="connsiteX24358" fmla="*/ 2639016 w 8079933"/>
              <a:gd name="connsiteY24358" fmla="*/ 820799 h 4687251"/>
              <a:gd name="connsiteX24359" fmla="*/ 2640318 w 8079933"/>
              <a:gd name="connsiteY24359" fmla="*/ 824697 h 4687251"/>
              <a:gd name="connsiteX24360" fmla="*/ 2638148 w 8079933"/>
              <a:gd name="connsiteY24360" fmla="*/ 828811 h 4687251"/>
              <a:gd name="connsiteX24361" fmla="*/ 2633916 w 8079933"/>
              <a:gd name="connsiteY24361" fmla="*/ 834441 h 4687251"/>
              <a:gd name="connsiteX24362" fmla="*/ 2629141 w 8079933"/>
              <a:gd name="connsiteY24362" fmla="*/ 836282 h 4687251"/>
              <a:gd name="connsiteX24363" fmla="*/ 2625777 w 8079933"/>
              <a:gd name="connsiteY24363" fmla="*/ 839205 h 4687251"/>
              <a:gd name="connsiteX24364" fmla="*/ 2624909 w 8079933"/>
              <a:gd name="connsiteY24364" fmla="*/ 841262 h 4687251"/>
              <a:gd name="connsiteX24365" fmla="*/ 2620568 w 8079933"/>
              <a:gd name="connsiteY24365" fmla="*/ 841154 h 4687251"/>
              <a:gd name="connsiteX24366" fmla="*/ 2617964 w 8079933"/>
              <a:gd name="connsiteY24366" fmla="*/ 839963 h 4687251"/>
              <a:gd name="connsiteX24367" fmla="*/ 2615143 w 8079933"/>
              <a:gd name="connsiteY24367" fmla="*/ 840071 h 4687251"/>
              <a:gd name="connsiteX24368" fmla="*/ 2612755 w 8079933"/>
              <a:gd name="connsiteY24368" fmla="*/ 842994 h 4687251"/>
              <a:gd name="connsiteX24369" fmla="*/ 2611995 w 8079933"/>
              <a:gd name="connsiteY24369" fmla="*/ 846243 h 4687251"/>
              <a:gd name="connsiteX24370" fmla="*/ 2607764 w 8079933"/>
              <a:gd name="connsiteY24370" fmla="*/ 850465 h 4687251"/>
              <a:gd name="connsiteX24371" fmla="*/ 2607112 w 8079933"/>
              <a:gd name="connsiteY24371" fmla="*/ 853280 h 4687251"/>
              <a:gd name="connsiteX24372" fmla="*/ 2605811 w 8079933"/>
              <a:gd name="connsiteY24372" fmla="*/ 855987 h 4687251"/>
              <a:gd name="connsiteX24373" fmla="*/ 2608197 w 8079933"/>
              <a:gd name="connsiteY24373" fmla="*/ 855554 h 4687251"/>
              <a:gd name="connsiteX24374" fmla="*/ 2613623 w 8079933"/>
              <a:gd name="connsiteY24374" fmla="*/ 849707 h 4687251"/>
              <a:gd name="connsiteX24375" fmla="*/ 2617096 w 8079933"/>
              <a:gd name="connsiteY24375" fmla="*/ 843752 h 4687251"/>
              <a:gd name="connsiteX24376" fmla="*/ 2619591 w 8079933"/>
              <a:gd name="connsiteY24376" fmla="*/ 842670 h 4687251"/>
              <a:gd name="connsiteX24377" fmla="*/ 2620894 w 8079933"/>
              <a:gd name="connsiteY24377" fmla="*/ 843969 h 4687251"/>
              <a:gd name="connsiteX24378" fmla="*/ 2622630 w 8079933"/>
              <a:gd name="connsiteY24378" fmla="*/ 844186 h 4687251"/>
              <a:gd name="connsiteX24379" fmla="*/ 2623173 w 8079933"/>
              <a:gd name="connsiteY24379" fmla="*/ 846026 h 4687251"/>
              <a:gd name="connsiteX24380" fmla="*/ 2621003 w 8079933"/>
              <a:gd name="connsiteY24380" fmla="*/ 848408 h 4687251"/>
              <a:gd name="connsiteX24381" fmla="*/ 2618181 w 8079933"/>
              <a:gd name="connsiteY24381" fmla="*/ 853605 h 4687251"/>
              <a:gd name="connsiteX24382" fmla="*/ 2612321 w 8079933"/>
              <a:gd name="connsiteY24382" fmla="*/ 859452 h 4687251"/>
              <a:gd name="connsiteX24383" fmla="*/ 2608740 w 8079933"/>
              <a:gd name="connsiteY24383" fmla="*/ 862916 h 4687251"/>
              <a:gd name="connsiteX24384" fmla="*/ 2608849 w 8079933"/>
              <a:gd name="connsiteY24384" fmla="*/ 864324 h 4687251"/>
              <a:gd name="connsiteX24385" fmla="*/ 2616336 w 8079933"/>
              <a:gd name="connsiteY24385" fmla="*/ 860318 h 4687251"/>
              <a:gd name="connsiteX24386" fmla="*/ 2624258 w 8079933"/>
              <a:gd name="connsiteY24386" fmla="*/ 851439 h 4687251"/>
              <a:gd name="connsiteX24387" fmla="*/ 2627405 w 8079933"/>
              <a:gd name="connsiteY24387" fmla="*/ 844077 h 4687251"/>
              <a:gd name="connsiteX24388" fmla="*/ 2628165 w 8079933"/>
              <a:gd name="connsiteY24388" fmla="*/ 840937 h 4687251"/>
              <a:gd name="connsiteX24389" fmla="*/ 2630118 w 8079933"/>
              <a:gd name="connsiteY24389" fmla="*/ 838447 h 4687251"/>
              <a:gd name="connsiteX24390" fmla="*/ 2632722 w 8079933"/>
              <a:gd name="connsiteY24390" fmla="*/ 838447 h 4687251"/>
              <a:gd name="connsiteX24391" fmla="*/ 2639559 w 8079933"/>
              <a:gd name="connsiteY24391" fmla="*/ 833683 h 4687251"/>
              <a:gd name="connsiteX24392" fmla="*/ 2645744 w 8079933"/>
              <a:gd name="connsiteY24392" fmla="*/ 831193 h 4687251"/>
              <a:gd name="connsiteX24393" fmla="*/ 2648783 w 8079933"/>
              <a:gd name="connsiteY24393" fmla="*/ 830219 h 4687251"/>
              <a:gd name="connsiteX24394" fmla="*/ 2649217 w 8079933"/>
              <a:gd name="connsiteY24394" fmla="*/ 831843 h 4687251"/>
              <a:gd name="connsiteX24395" fmla="*/ 2647480 w 8079933"/>
              <a:gd name="connsiteY24395" fmla="*/ 834658 h 4687251"/>
              <a:gd name="connsiteX24396" fmla="*/ 2642597 w 8079933"/>
              <a:gd name="connsiteY24396" fmla="*/ 839746 h 4687251"/>
              <a:gd name="connsiteX24397" fmla="*/ 2637931 w 8079933"/>
              <a:gd name="connsiteY24397" fmla="*/ 839746 h 4687251"/>
              <a:gd name="connsiteX24398" fmla="*/ 2635218 w 8079933"/>
              <a:gd name="connsiteY24398" fmla="*/ 842020 h 4687251"/>
              <a:gd name="connsiteX24399" fmla="*/ 2634567 w 8079933"/>
              <a:gd name="connsiteY24399" fmla="*/ 846026 h 4687251"/>
              <a:gd name="connsiteX24400" fmla="*/ 2635652 w 8079933"/>
              <a:gd name="connsiteY24400" fmla="*/ 846892 h 4687251"/>
              <a:gd name="connsiteX24401" fmla="*/ 2638799 w 8079933"/>
              <a:gd name="connsiteY24401" fmla="*/ 843644 h 4687251"/>
              <a:gd name="connsiteX24402" fmla="*/ 2643574 w 8079933"/>
              <a:gd name="connsiteY24402" fmla="*/ 843103 h 4687251"/>
              <a:gd name="connsiteX24403" fmla="*/ 2647806 w 8079933"/>
              <a:gd name="connsiteY24403" fmla="*/ 839421 h 4687251"/>
              <a:gd name="connsiteX24404" fmla="*/ 2651170 w 8079933"/>
              <a:gd name="connsiteY24404" fmla="*/ 838339 h 4687251"/>
              <a:gd name="connsiteX24405" fmla="*/ 2653449 w 8079933"/>
              <a:gd name="connsiteY24405" fmla="*/ 836390 h 4687251"/>
              <a:gd name="connsiteX24406" fmla="*/ 2656813 w 8079933"/>
              <a:gd name="connsiteY24406" fmla="*/ 834225 h 4687251"/>
              <a:gd name="connsiteX24407" fmla="*/ 2660068 w 8079933"/>
              <a:gd name="connsiteY24407" fmla="*/ 834658 h 4687251"/>
              <a:gd name="connsiteX24408" fmla="*/ 2662131 w 8079933"/>
              <a:gd name="connsiteY24408" fmla="*/ 838988 h 4687251"/>
              <a:gd name="connsiteX24409" fmla="*/ 2667230 w 8079933"/>
              <a:gd name="connsiteY24409" fmla="*/ 844727 h 4687251"/>
              <a:gd name="connsiteX24410" fmla="*/ 2669835 w 8079933"/>
              <a:gd name="connsiteY24410" fmla="*/ 848841 h 4687251"/>
              <a:gd name="connsiteX24411" fmla="*/ 2673525 w 8079933"/>
              <a:gd name="connsiteY24411" fmla="*/ 850682 h 4687251"/>
              <a:gd name="connsiteX24412" fmla="*/ 2674393 w 8079933"/>
              <a:gd name="connsiteY24412" fmla="*/ 853280 h 4687251"/>
              <a:gd name="connsiteX24413" fmla="*/ 2673742 w 8079933"/>
              <a:gd name="connsiteY24413" fmla="*/ 857178 h 4687251"/>
              <a:gd name="connsiteX24414" fmla="*/ 2669075 w 8079933"/>
              <a:gd name="connsiteY24414" fmla="*/ 861617 h 4687251"/>
              <a:gd name="connsiteX24415" fmla="*/ 2667230 w 8079933"/>
              <a:gd name="connsiteY24415" fmla="*/ 860535 h 4687251"/>
              <a:gd name="connsiteX24416" fmla="*/ 2667665 w 8079933"/>
              <a:gd name="connsiteY24416" fmla="*/ 855878 h 4687251"/>
              <a:gd name="connsiteX24417" fmla="*/ 2664734 w 8079933"/>
              <a:gd name="connsiteY24417" fmla="*/ 856637 h 4687251"/>
              <a:gd name="connsiteX24418" fmla="*/ 2663975 w 8079933"/>
              <a:gd name="connsiteY24418" fmla="*/ 858910 h 4687251"/>
              <a:gd name="connsiteX24419" fmla="*/ 2661804 w 8079933"/>
              <a:gd name="connsiteY24419" fmla="*/ 861509 h 4687251"/>
              <a:gd name="connsiteX24420" fmla="*/ 2658766 w 8079933"/>
              <a:gd name="connsiteY24420" fmla="*/ 864324 h 4687251"/>
              <a:gd name="connsiteX24421" fmla="*/ 2651279 w 8079933"/>
              <a:gd name="connsiteY24421" fmla="*/ 864865 h 4687251"/>
              <a:gd name="connsiteX24422" fmla="*/ 2647915 w 8079933"/>
              <a:gd name="connsiteY24422" fmla="*/ 866381 h 4687251"/>
              <a:gd name="connsiteX24423" fmla="*/ 2642923 w 8079933"/>
              <a:gd name="connsiteY24423" fmla="*/ 866164 h 4687251"/>
              <a:gd name="connsiteX24424" fmla="*/ 2636520 w 8079933"/>
              <a:gd name="connsiteY24424" fmla="*/ 870387 h 4687251"/>
              <a:gd name="connsiteX24425" fmla="*/ 2632614 w 8079933"/>
              <a:gd name="connsiteY24425" fmla="*/ 870712 h 4687251"/>
              <a:gd name="connsiteX24426" fmla="*/ 2625994 w 8079933"/>
              <a:gd name="connsiteY24426" fmla="*/ 874501 h 4687251"/>
              <a:gd name="connsiteX24427" fmla="*/ 2630227 w 8079933"/>
              <a:gd name="connsiteY24427" fmla="*/ 873960 h 4687251"/>
              <a:gd name="connsiteX24428" fmla="*/ 2632505 w 8079933"/>
              <a:gd name="connsiteY24428" fmla="*/ 875151 h 4687251"/>
              <a:gd name="connsiteX24429" fmla="*/ 2631203 w 8079933"/>
              <a:gd name="connsiteY24429" fmla="*/ 878290 h 4687251"/>
              <a:gd name="connsiteX24430" fmla="*/ 2625234 w 8079933"/>
              <a:gd name="connsiteY24430" fmla="*/ 879590 h 4687251"/>
              <a:gd name="connsiteX24431" fmla="*/ 2623498 w 8079933"/>
              <a:gd name="connsiteY24431" fmla="*/ 881755 h 4687251"/>
              <a:gd name="connsiteX24432" fmla="*/ 2631529 w 8079933"/>
              <a:gd name="connsiteY24432" fmla="*/ 880672 h 4687251"/>
              <a:gd name="connsiteX24433" fmla="*/ 2636195 w 8079933"/>
              <a:gd name="connsiteY24433" fmla="*/ 875800 h 4687251"/>
              <a:gd name="connsiteX24434" fmla="*/ 2643140 w 8079933"/>
              <a:gd name="connsiteY24434" fmla="*/ 869737 h 4687251"/>
              <a:gd name="connsiteX24435" fmla="*/ 2648240 w 8079933"/>
              <a:gd name="connsiteY24435" fmla="*/ 869304 h 4687251"/>
              <a:gd name="connsiteX24436" fmla="*/ 2651821 w 8079933"/>
              <a:gd name="connsiteY24436" fmla="*/ 870387 h 4687251"/>
              <a:gd name="connsiteX24437" fmla="*/ 2655077 w 8079933"/>
              <a:gd name="connsiteY24437" fmla="*/ 869088 h 4687251"/>
              <a:gd name="connsiteX24438" fmla="*/ 2658115 w 8079933"/>
              <a:gd name="connsiteY24438" fmla="*/ 868980 h 4687251"/>
              <a:gd name="connsiteX24439" fmla="*/ 2658332 w 8079933"/>
              <a:gd name="connsiteY24439" fmla="*/ 870712 h 4687251"/>
              <a:gd name="connsiteX24440" fmla="*/ 2657898 w 8079933"/>
              <a:gd name="connsiteY24440" fmla="*/ 875692 h 4687251"/>
              <a:gd name="connsiteX24441" fmla="*/ 2654751 w 8079933"/>
              <a:gd name="connsiteY24441" fmla="*/ 877857 h 4687251"/>
              <a:gd name="connsiteX24442" fmla="*/ 2650627 w 8079933"/>
              <a:gd name="connsiteY24442" fmla="*/ 880456 h 4687251"/>
              <a:gd name="connsiteX24443" fmla="*/ 2648023 w 8079933"/>
              <a:gd name="connsiteY24443" fmla="*/ 880348 h 4687251"/>
              <a:gd name="connsiteX24444" fmla="*/ 2644442 w 8079933"/>
              <a:gd name="connsiteY24444" fmla="*/ 881972 h 4687251"/>
              <a:gd name="connsiteX24445" fmla="*/ 2641729 w 8079933"/>
              <a:gd name="connsiteY24445" fmla="*/ 886194 h 4687251"/>
              <a:gd name="connsiteX24446" fmla="*/ 2637931 w 8079933"/>
              <a:gd name="connsiteY24446" fmla="*/ 887818 h 4687251"/>
              <a:gd name="connsiteX24447" fmla="*/ 2634242 w 8079933"/>
              <a:gd name="connsiteY24447" fmla="*/ 885870 h 4687251"/>
              <a:gd name="connsiteX24448" fmla="*/ 2631637 w 8079933"/>
              <a:gd name="connsiteY24448" fmla="*/ 886953 h 4687251"/>
              <a:gd name="connsiteX24449" fmla="*/ 2627622 w 8079933"/>
              <a:gd name="connsiteY24449" fmla="*/ 890850 h 4687251"/>
              <a:gd name="connsiteX24450" fmla="*/ 2630118 w 8079933"/>
              <a:gd name="connsiteY24450" fmla="*/ 890309 h 4687251"/>
              <a:gd name="connsiteX24451" fmla="*/ 2634133 w 8079933"/>
              <a:gd name="connsiteY24451" fmla="*/ 888793 h 4687251"/>
              <a:gd name="connsiteX24452" fmla="*/ 2637388 w 8079933"/>
              <a:gd name="connsiteY24452" fmla="*/ 889659 h 4687251"/>
              <a:gd name="connsiteX24453" fmla="*/ 2639668 w 8079933"/>
              <a:gd name="connsiteY24453" fmla="*/ 891067 h 4687251"/>
              <a:gd name="connsiteX24454" fmla="*/ 2644442 w 8079933"/>
              <a:gd name="connsiteY24454" fmla="*/ 887169 h 4687251"/>
              <a:gd name="connsiteX24455" fmla="*/ 2647480 w 8079933"/>
              <a:gd name="connsiteY24455" fmla="*/ 882838 h 4687251"/>
              <a:gd name="connsiteX24456" fmla="*/ 2651604 w 8079933"/>
              <a:gd name="connsiteY24456" fmla="*/ 881431 h 4687251"/>
              <a:gd name="connsiteX24457" fmla="*/ 2654643 w 8079933"/>
              <a:gd name="connsiteY24457" fmla="*/ 882621 h 4687251"/>
              <a:gd name="connsiteX24458" fmla="*/ 2658875 w 8079933"/>
              <a:gd name="connsiteY24458" fmla="*/ 883488 h 4687251"/>
              <a:gd name="connsiteX24459" fmla="*/ 2661913 w 8079933"/>
              <a:gd name="connsiteY24459" fmla="*/ 879915 h 4687251"/>
              <a:gd name="connsiteX24460" fmla="*/ 2666471 w 8079933"/>
              <a:gd name="connsiteY24460" fmla="*/ 877857 h 4687251"/>
              <a:gd name="connsiteX24461" fmla="*/ 2668207 w 8079933"/>
              <a:gd name="connsiteY24461" fmla="*/ 876450 h 4687251"/>
              <a:gd name="connsiteX24462" fmla="*/ 2668207 w 8079933"/>
              <a:gd name="connsiteY24462" fmla="*/ 873635 h 4687251"/>
              <a:gd name="connsiteX24463" fmla="*/ 2666579 w 8079933"/>
              <a:gd name="connsiteY24463" fmla="*/ 872227 h 4687251"/>
              <a:gd name="connsiteX24464" fmla="*/ 2669292 w 8079933"/>
              <a:gd name="connsiteY24464" fmla="*/ 868329 h 4687251"/>
              <a:gd name="connsiteX24465" fmla="*/ 2669401 w 8079933"/>
              <a:gd name="connsiteY24465" fmla="*/ 865839 h 4687251"/>
              <a:gd name="connsiteX24466" fmla="*/ 2672548 w 8079933"/>
              <a:gd name="connsiteY24466" fmla="*/ 864974 h 4687251"/>
              <a:gd name="connsiteX24467" fmla="*/ 2673633 w 8079933"/>
              <a:gd name="connsiteY24467" fmla="*/ 865948 h 4687251"/>
              <a:gd name="connsiteX24468" fmla="*/ 2675478 w 8079933"/>
              <a:gd name="connsiteY24468" fmla="*/ 865298 h 4687251"/>
              <a:gd name="connsiteX24469" fmla="*/ 2676888 w 8079933"/>
              <a:gd name="connsiteY24469" fmla="*/ 870278 h 4687251"/>
              <a:gd name="connsiteX24470" fmla="*/ 2681121 w 8079933"/>
              <a:gd name="connsiteY24470" fmla="*/ 879698 h 4687251"/>
              <a:gd name="connsiteX24471" fmla="*/ 2682314 w 8079933"/>
              <a:gd name="connsiteY24471" fmla="*/ 885437 h 4687251"/>
              <a:gd name="connsiteX24472" fmla="*/ 2684919 w 8079933"/>
              <a:gd name="connsiteY24472" fmla="*/ 888901 h 4687251"/>
              <a:gd name="connsiteX24473" fmla="*/ 2684051 w 8079933"/>
              <a:gd name="connsiteY24473" fmla="*/ 892582 h 4687251"/>
              <a:gd name="connsiteX24474" fmla="*/ 2681989 w 8079933"/>
              <a:gd name="connsiteY24474" fmla="*/ 895831 h 4687251"/>
              <a:gd name="connsiteX24475" fmla="*/ 2676888 w 8079933"/>
              <a:gd name="connsiteY24475" fmla="*/ 895614 h 4687251"/>
              <a:gd name="connsiteX24476" fmla="*/ 2673742 w 8079933"/>
              <a:gd name="connsiteY24476" fmla="*/ 893340 h 4687251"/>
              <a:gd name="connsiteX24477" fmla="*/ 2667230 w 8079933"/>
              <a:gd name="connsiteY24477" fmla="*/ 892799 h 4687251"/>
              <a:gd name="connsiteX24478" fmla="*/ 2663758 w 8079933"/>
              <a:gd name="connsiteY24478" fmla="*/ 894639 h 4687251"/>
              <a:gd name="connsiteX24479" fmla="*/ 2660068 w 8079933"/>
              <a:gd name="connsiteY24479" fmla="*/ 897130 h 4687251"/>
              <a:gd name="connsiteX24480" fmla="*/ 2657138 w 8079933"/>
              <a:gd name="connsiteY24480" fmla="*/ 897238 h 4687251"/>
              <a:gd name="connsiteX24481" fmla="*/ 2655728 w 8079933"/>
              <a:gd name="connsiteY24481" fmla="*/ 896047 h 4687251"/>
              <a:gd name="connsiteX24482" fmla="*/ 2652038 w 8079933"/>
              <a:gd name="connsiteY24482" fmla="*/ 896263 h 4687251"/>
              <a:gd name="connsiteX24483" fmla="*/ 2649108 w 8079933"/>
              <a:gd name="connsiteY24483" fmla="*/ 899079 h 4687251"/>
              <a:gd name="connsiteX24484" fmla="*/ 2641838 w 8079933"/>
              <a:gd name="connsiteY24484" fmla="*/ 900161 h 4687251"/>
              <a:gd name="connsiteX24485" fmla="*/ 2644984 w 8079933"/>
              <a:gd name="connsiteY24485" fmla="*/ 901353 h 4687251"/>
              <a:gd name="connsiteX24486" fmla="*/ 2653232 w 8079933"/>
              <a:gd name="connsiteY24486" fmla="*/ 900161 h 4687251"/>
              <a:gd name="connsiteX24487" fmla="*/ 2657464 w 8079933"/>
              <a:gd name="connsiteY24487" fmla="*/ 901461 h 4687251"/>
              <a:gd name="connsiteX24488" fmla="*/ 2663867 w 8079933"/>
              <a:gd name="connsiteY24488" fmla="*/ 907416 h 4687251"/>
              <a:gd name="connsiteX24489" fmla="*/ 2667122 w 8079933"/>
              <a:gd name="connsiteY24489" fmla="*/ 909256 h 4687251"/>
              <a:gd name="connsiteX24490" fmla="*/ 2669618 w 8079933"/>
              <a:gd name="connsiteY24490" fmla="*/ 907957 h 4687251"/>
              <a:gd name="connsiteX24491" fmla="*/ 2672331 w 8079933"/>
              <a:gd name="connsiteY24491" fmla="*/ 907199 h 4687251"/>
              <a:gd name="connsiteX24492" fmla="*/ 2674610 w 8079933"/>
              <a:gd name="connsiteY24492" fmla="*/ 908823 h 4687251"/>
              <a:gd name="connsiteX24493" fmla="*/ 2678408 w 8079933"/>
              <a:gd name="connsiteY24493" fmla="*/ 911205 h 4687251"/>
              <a:gd name="connsiteX24494" fmla="*/ 2683182 w 8079933"/>
              <a:gd name="connsiteY24494" fmla="*/ 913045 h 4687251"/>
              <a:gd name="connsiteX24495" fmla="*/ 2683725 w 8079933"/>
              <a:gd name="connsiteY24495" fmla="*/ 916402 h 4687251"/>
              <a:gd name="connsiteX24496" fmla="*/ 2686004 w 8079933"/>
              <a:gd name="connsiteY24496" fmla="*/ 920191 h 4687251"/>
              <a:gd name="connsiteX24497" fmla="*/ 2686221 w 8079933"/>
              <a:gd name="connsiteY24497" fmla="*/ 925280 h 4687251"/>
              <a:gd name="connsiteX24498" fmla="*/ 2684376 w 8079933"/>
              <a:gd name="connsiteY24498" fmla="*/ 926796 h 4687251"/>
              <a:gd name="connsiteX24499" fmla="*/ 2681121 w 8079933"/>
              <a:gd name="connsiteY24499" fmla="*/ 926688 h 4687251"/>
              <a:gd name="connsiteX24500" fmla="*/ 2678842 w 8079933"/>
              <a:gd name="connsiteY24500" fmla="*/ 922898 h 4687251"/>
              <a:gd name="connsiteX24501" fmla="*/ 2677214 w 8079933"/>
              <a:gd name="connsiteY24501" fmla="*/ 923223 h 4687251"/>
              <a:gd name="connsiteX24502" fmla="*/ 2675152 w 8079933"/>
              <a:gd name="connsiteY24502" fmla="*/ 925713 h 4687251"/>
              <a:gd name="connsiteX24503" fmla="*/ 2672982 w 8079933"/>
              <a:gd name="connsiteY24503" fmla="*/ 924630 h 4687251"/>
              <a:gd name="connsiteX24504" fmla="*/ 2671463 w 8079933"/>
              <a:gd name="connsiteY24504" fmla="*/ 922140 h 4687251"/>
              <a:gd name="connsiteX24505" fmla="*/ 2668967 w 8079933"/>
              <a:gd name="connsiteY24505" fmla="*/ 923440 h 4687251"/>
              <a:gd name="connsiteX24506" fmla="*/ 2666037 w 8079933"/>
              <a:gd name="connsiteY24506" fmla="*/ 922681 h 4687251"/>
              <a:gd name="connsiteX24507" fmla="*/ 2660503 w 8079933"/>
              <a:gd name="connsiteY24507" fmla="*/ 916510 h 4687251"/>
              <a:gd name="connsiteX24508" fmla="*/ 2658224 w 8079933"/>
              <a:gd name="connsiteY24508" fmla="*/ 915752 h 4687251"/>
              <a:gd name="connsiteX24509" fmla="*/ 2655077 w 8079933"/>
              <a:gd name="connsiteY24509" fmla="*/ 916185 h 4687251"/>
              <a:gd name="connsiteX24510" fmla="*/ 2651170 w 8079933"/>
              <a:gd name="connsiteY24510" fmla="*/ 916618 h 4687251"/>
              <a:gd name="connsiteX24511" fmla="*/ 2647589 w 8079933"/>
              <a:gd name="connsiteY24511" fmla="*/ 914886 h 4687251"/>
              <a:gd name="connsiteX24512" fmla="*/ 2649000 w 8079933"/>
              <a:gd name="connsiteY24512" fmla="*/ 916943 h 4687251"/>
              <a:gd name="connsiteX24513" fmla="*/ 2653557 w 8079933"/>
              <a:gd name="connsiteY24513" fmla="*/ 918351 h 4687251"/>
              <a:gd name="connsiteX24514" fmla="*/ 2657247 w 8079933"/>
              <a:gd name="connsiteY24514" fmla="*/ 919108 h 4687251"/>
              <a:gd name="connsiteX24515" fmla="*/ 2656053 w 8079933"/>
              <a:gd name="connsiteY24515" fmla="*/ 921166 h 4687251"/>
              <a:gd name="connsiteX24516" fmla="*/ 2650410 w 8079933"/>
              <a:gd name="connsiteY24516" fmla="*/ 921599 h 4687251"/>
              <a:gd name="connsiteX24517" fmla="*/ 2648023 w 8079933"/>
              <a:gd name="connsiteY24517" fmla="*/ 922790 h 4687251"/>
              <a:gd name="connsiteX24518" fmla="*/ 2642814 w 8079933"/>
              <a:gd name="connsiteY24518" fmla="*/ 922790 h 4687251"/>
              <a:gd name="connsiteX24519" fmla="*/ 2639016 w 8079933"/>
              <a:gd name="connsiteY24519" fmla="*/ 925280 h 4687251"/>
              <a:gd name="connsiteX24520" fmla="*/ 2639668 w 8079933"/>
              <a:gd name="connsiteY24520" fmla="*/ 928312 h 4687251"/>
              <a:gd name="connsiteX24521" fmla="*/ 2641946 w 8079933"/>
              <a:gd name="connsiteY24521" fmla="*/ 927879 h 4687251"/>
              <a:gd name="connsiteX24522" fmla="*/ 2643031 w 8079933"/>
              <a:gd name="connsiteY24522" fmla="*/ 925822 h 4687251"/>
              <a:gd name="connsiteX24523" fmla="*/ 2648891 w 8079933"/>
              <a:gd name="connsiteY24523" fmla="*/ 925930 h 4687251"/>
              <a:gd name="connsiteX24524" fmla="*/ 2652581 w 8079933"/>
              <a:gd name="connsiteY24524" fmla="*/ 923873 h 4687251"/>
              <a:gd name="connsiteX24525" fmla="*/ 2656162 w 8079933"/>
              <a:gd name="connsiteY24525" fmla="*/ 923223 h 4687251"/>
              <a:gd name="connsiteX24526" fmla="*/ 2658549 w 8079933"/>
              <a:gd name="connsiteY24526" fmla="*/ 926579 h 4687251"/>
              <a:gd name="connsiteX24527" fmla="*/ 2658658 w 8079933"/>
              <a:gd name="connsiteY24527" fmla="*/ 928312 h 4687251"/>
              <a:gd name="connsiteX24528" fmla="*/ 2661479 w 8079933"/>
              <a:gd name="connsiteY24528" fmla="*/ 929611 h 4687251"/>
              <a:gd name="connsiteX24529" fmla="*/ 2661913 w 8079933"/>
              <a:gd name="connsiteY24529" fmla="*/ 931235 h 4687251"/>
              <a:gd name="connsiteX24530" fmla="*/ 2660828 w 8079933"/>
              <a:gd name="connsiteY24530" fmla="*/ 931777 h 4687251"/>
              <a:gd name="connsiteX24531" fmla="*/ 2656379 w 8079933"/>
              <a:gd name="connsiteY24531" fmla="*/ 931777 h 4687251"/>
              <a:gd name="connsiteX24532" fmla="*/ 2654208 w 8079933"/>
              <a:gd name="connsiteY24532" fmla="*/ 933400 h 4687251"/>
              <a:gd name="connsiteX24533" fmla="*/ 2652255 w 8079933"/>
              <a:gd name="connsiteY24533" fmla="*/ 932101 h 4687251"/>
              <a:gd name="connsiteX24534" fmla="*/ 2651062 w 8079933"/>
              <a:gd name="connsiteY24534" fmla="*/ 930369 h 4687251"/>
              <a:gd name="connsiteX24535" fmla="*/ 2648457 w 8079933"/>
              <a:gd name="connsiteY24535" fmla="*/ 930585 h 4687251"/>
              <a:gd name="connsiteX24536" fmla="*/ 2647264 w 8079933"/>
              <a:gd name="connsiteY24536" fmla="*/ 931560 h 4687251"/>
              <a:gd name="connsiteX24537" fmla="*/ 2650736 w 8079933"/>
              <a:gd name="connsiteY24537" fmla="*/ 934158 h 4687251"/>
              <a:gd name="connsiteX24538" fmla="*/ 2654100 w 8079933"/>
              <a:gd name="connsiteY24538" fmla="*/ 935566 h 4687251"/>
              <a:gd name="connsiteX24539" fmla="*/ 2655945 w 8079933"/>
              <a:gd name="connsiteY24539" fmla="*/ 937623 h 4687251"/>
              <a:gd name="connsiteX24540" fmla="*/ 2655836 w 8079933"/>
              <a:gd name="connsiteY24540" fmla="*/ 940546 h 4687251"/>
              <a:gd name="connsiteX24541" fmla="*/ 2657356 w 8079933"/>
              <a:gd name="connsiteY24541" fmla="*/ 942603 h 4687251"/>
              <a:gd name="connsiteX24542" fmla="*/ 2654860 w 8079933"/>
              <a:gd name="connsiteY24542" fmla="*/ 942928 h 4687251"/>
              <a:gd name="connsiteX24543" fmla="*/ 2645744 w 8079933"/>
              <a:gd name="connsiteY24543" fmla="*/ 940438 h 4687251"/>
              <a:gd name="connsiteX24544" fmla="*/ 2640101 w 8079933"/>
              <a:gd name="connsiteY24544" fmla="*/ 940222 h 4687251"/>
              <a:gd name="connsiteX24545" fmla="*/ 2631312 w 8079933"/>
              <a:gd name="connsiteY24545" fmla="*/ 936973 h 4687251"/>
              <a:gd name="connsiteX24546" fmla="*/ 2627622 w 8079933"/>
              <a:gd name="connsiteY24546" fmla="*/ 937514 h 4687251"/>
              <a:gd name="connsiteX24547" fmla="*/ 2628815 w 8079933"/>
              <a:gd name="connsiteY24547" fmla="*/ 939030 h 4687251"/>
              <a:gd name="connsiteX24548" fmla="*/ 2634025 w 8079933"/>
              <a:gd name="connsiteY24548" fmla="*/ 940438 h 4687251"/>
              <a:gd name="connsiteX24549" fmla="*/ 2646287 w 8079933"/>
              <a:gd name="connsiteY24549" fmla="*/ 946393 h 4687251"/>
              <a:gd name="connsiteX24550" fmla="*/ 2646938 w 8079933"/>
              <a:gd name="connsiteY24550" fmla="*/ 948883 h 4687251"/>
              <a:gd name="connsiteX24551" fmla="*/ 2644876 w 8079933"/>
              <a:gd name="connsiteY24551" fmla="*/ 949316 h 4687251"/>
              <a:gd name="connsiteX24552" fmla="*/ 2638148 w 8079933"/>
              <a:gd name="connsiteY24552" fmla="*/ 945202 h 4687251"/>
              <a:gd name="connsiteX24553" fmla="*/ 2636086 w 8079933"/>
              <a:gd name="connsiteY24553" fmla="*/ 945852 h 4687251"/>
              <a:gd name="connsiteX24554" fmla="*/ 2632831 w 8079933"/>
              <a:gd name="connsiteY24554" fmla="*/ 949532 h 4687251"/>
              <a:gd name="connsiteX24555" fmla="*/ 2635978 w 8079933"/>
              <a:gd name="connsiteY24555" fmla="*/ 948991 h 4687251"/>
              <a:gd name="connsiteX24556" fmla="*/ 2638040 w 8079933"/>
              <a:gd name="connsiteY24556" fmla="*/ 950399 h 4687251"/>
              <a:gd name="connsiteX24557" fmla="*/ 2640536 w 8079933"/>
              <a:gd name="connsiteY24557" fmla="*/ 952564 h 4687251"/>
              <a:gd name="connsiteX24558" fmla="*/ 2642163 w 8079933"/>
              <a:gd name="connsiteY24558" fmla="*/ 951698 h 4687251"/>
              <a:gd name="connsiteX24559" fmla="*/ 2644225 w 8079933"/>
              <a:gd name="connsiteY24559" fmla="*/ 952781 h 4687251"/>
              <a:gd name="connsiteX24560" fmla="*/ 2644551 w 8079933"/>
              <a:gd name="connsiteY24560" fmla="*/ 955921 h 4687251"/>
              <a:gd name="connsiteX24561" fmla="*/ 2646070 w 8079933"/>
              <a:gd name="connsiteY24561" fmla="*/ 958411 h 4687251"/>
              <a:gd name="connsiteX24562" fmla="*/ 2647806 w 8079933"/>
              <a:gd name="connsiteY24562" fmla="*/ 957220 h 4687251"/>
              <a:gd name="connsiteX24563" fmla="*/ 2648349 w 8079933"/>
              <a:gd name="connsiteY24563" fmla="*/ 954622 h 4687251"/>
              <a:gd name="connsiteX24564" fmla="*/ 2652255 w 8079933"/>
              <a:gd name="connsiteY24564" fmla="*/ 954622 h 4687251"/>
              <a:gd name="connsiteX24565" fmla="*/ 2651930 w 8079933"/>
              <a:gd name="connsiteY24565" fmla="*/ 957112 h 4687251"/>
              <a:gd name="connsiteX24566" fmla="*/ 2650410 w 8079933"/>
              <a:gd name="connsiteY24566" fmla="*/ 958952 h 4687251"/>
              <a:gd name="connsiteX24567" fmla="*/ 2650410 w 8079933"/>
              <a:gd name="connsiteY24567" fmla="*/ 960901 h 4687251"/>
              <a:gd name="connsiteX24568" fmla="*/ 2653015 w 8079933"/>
              <a:gd name="connsiteY24568" fmla="*/ 960685 h 4687251"/>
              <a:gd name="connsiteX24569" fmla="*/ 2653123 w 8079933"/>
              <a:gd name="connsiteY24569" fmla="*/ 956354 h 4687251"/>
              <a:gd name="connsiteX24570" fmla="*/ 2656379 w 8079933"/>
              <a:gd name="connsiteY24570" fmla="*/ 956354 h 4687251"/>
              <a:gd name="connsiteX24571" fmla="*/ 2661045 w 8079933"/>
              <a:gd name="connsiteY24571" fmla="*/ 958844 h 4687251"/>
              <a:gd name="connsiteX24572" fmla="*/ 2665386 w 8079933"/>
              <a:gd name="connsiteY24572" fmla="*/ 960144 h 4687251"/>
              <a:gd name="connsiteX24573" fmla="*/ 2669075 w 8079933"/>
              <a:gd name="connsiteY24573" fmla="*/ 960035 h 4687251"/>
              <a:gd name="connsiteX24574" fmla="*/ 2667447 w 8079933"/>
              <a:gd name="connsiteY24574" fmla="*/ 963824 h 4687251"/>
              <a:gd name="connsiteX24575" fmla="*/ 2666797 w 8079933"/>
              <a:gd name="connsiteY24575" fmla="*/ 965881 h 4687251"/>
              <a:gd name="connsiteX24576" fmla="*/ 2662673 w 8079933"/>
              <a:gd name="connsiteY24576" fmla="*/ 964474 h 4687251"/>
              <a:gd name="connsiteX24577" fmla="*/ 2660068 w 8079933"/>
              <a:gd name="connsiteY24577" fmla="*/ 962742 h 4687251"/>
              <a:gd name="connsiteX24578" fmla="*/ 2654751 w 8079933"/>
              <a:gd name="connsiteY24578" fmla="*/ 963608 h 4687251"/>
              <a:gd name="connsiteX24579" fmla="*/ 2647480 w 8079933"/>
              <a:gd name="connsiteY24579" fmla="*/ 967073 h 4687251"/>
              <a:gd name="connsiteX24580" fmla="*/ 2647264 w 8079933"/>
              <a:gd name="connsiteY24580" fmla="*/ 970429 h 4687251"/>
              <a:gd name="connsiteX24581" fmla="*/ 2650410 w 8079933"/>
              <a:gd name="connsiteY24581" fmla="*/ 967181 h 4687251"/>
              <a:gd name="connsiteX24582" fmla="*/ 2656053 w 8079933"/>
              <a:gd name="connsiteY24582" fmla="*/ 967181 h 4687251"/>
              <a:gd name="connsiteX24583" fmla="*/ 2660286 w 8079933"/>
              <a:gd name="connsiteY24583" fmla="*/ 968372 h 4687251"/>
              <a:gd name="connsiteX24584" fmla="*/ 2656379 w 8079933"/>
              <a:gd name="connsiteY24584" fmla="*/ 969130 h 4687251"/>
              <a:gd name="connsiteX24585" fmla="*/ 2655077 w 8079933"/>
              <a:gd name="connsiteY24585" fmla="*/ 972053 h 4687251"/>
              <a:gd name="connsiteX24586" fmla="*/ 2658006 w 8079933"/>
              <a:gd name="connsiteY24586" fmla="*/ 970646 h 4687251"/>
              <a:gd name="connsiteX24587" fmla="*/ 2663867 w 8079933"/>
              <a:gd name="connsiteY24587" fmla="*/ 970862 h 4687251"/>
              <a:gd name="connsiteX24588" fmla="*/ 2665929 w 8079933"/>
              <a:gd name="connsiteY24588" fmla="*/ 972919 h 4687251"/>
              <a:gd name="connsiteX24589" fmla="*/ 2664734 w 8079933"/>
              <a:gd name="connsiteY24589" fmla="*/ 974219 h 4687251"/>
              <a:gd name="connsiteX24590" fmla="*/ 2668641 w 8079933"/>
              <a:gd name="connsiteY24590" fmla="*/ 975842 h 4687251"/>
              <a:gd name="connsiteX24591" fmla="*/ 2670377 w 8079933"/>
              <a:gd name="connsiteY24591" fmla="*/ 978766 h 4687251"/>
              <a:gd name="connsiteX24592" fmla="*/ 2669075 w 8079933"/>
              <a:gd name="connsiteY24592" fmla="*/ 981364 h 4687251"/>
              <a:gd name="connsiteX24593" fmla="*/ 2666797 w 8079933"/>
              <a:gd name="connsiteY24593" fmla="*/ 986670 h 4687251"/>
              <a:gd name="connsiteX24594" fmla="*/ 2667339 w 8079933"/>
              <a:gd name="connsiteY24594" fmla="*/ 989593 h 4687251"/>
              <a:gd name="connsiteX24595" fmla="*/ 2668859 w 8079933"/>
              <a:gd name="connsiteY24595" fmla="*/ 988185 h 4687251"/>
              <a:gd name="connsiteX24596" fmla="*/ 2669401 w 8079933"/>
              <a:gd name="connsiteY24596" fmla="*/ 984937 h 4687251"/>
              <a:gd name="connsiteX24597" fmla="*/ 2672440 w 8079933"/>
              <a:gd name="connsiteY24597" fmla="*/ 981689 h 4687251"/>
              <a:gd name="connsiteX24598" fmla="*/ 2675695 w 8079933"/>
              <a:gd name="connsiteY24598" fmla="*/ 981364 h 4687251"/>
              <a:gd name="connsiteX24599" fmla="*/ 2676455 w 8079933"/>
              <a:gd name="connsiteY24599" fmla="*/ 984937 h 4687251"/>
              <a:gd name="connsiteX24600" fmla="*/ 2674718 w 8079933"/>
              <a:gd name="connsiteY24600" fmla="*/ 987536 h 4687251"/>
              <a:gd name="connsiteX24601" fmla="*/ 2670269 w 8079933"/>
              <a:gd name="connsiteY24601" fmla="*/ 995007 h 4687251"/>
              <a:gd name="connsiteX24602" fmla="*/ 2668424 w 8079933"/>
              <a:gd name="connsiteY24602" fmla="*/ 999229 h 4687251"/>
              <a:gd name="connsiteX24603" fmla="*/ 2668424 w 8079933"/>
              <a:gd name="connsiteY24603" fmla="*/ 1002585 h 4687251"/>
              <a:gd name="connsiteX24604" fmla="*/ 2670595 w 8079933"/>
              <a:gd name="connsiteY24604" fmla="*/ 1001286 h 4687251"/>
              <a:gd name="connsiteX24605" fmla="*/ 2673850 w 8079933"/>
              <a:gd name="connsiteY24605" fmla="*/ 995548 h 4687251"/>
              <a:gd name="connsiteX24606" fmla="*/ 2673850 w 8079933"/>
              <a:gd name="connsiteY24606" fmla="*/ 992841 h 4687251"/>
              <a:gd name="connsiteX24607" fmla="*/ 2676129 w 8079933"/>
              <a:gd name="connsiteY24607" fmla="*/ 989809 h 4687251"/>
              <a:gd name="connsiteX24608" fmla="*/ 2680469 w 8079933"/>
              <a:gd name="connsiteY24608" fmla="*/ 987752 h 4687251"/>
              <a:gd name="connsiteX24609" fmla="*/ 2680144 w 8079933"/>
              <a:gd name="connsiteY24609" fmla="*/ 986562 h 4687251"/>
              <a:gd name="connsiteX24610" fmla="*/ 2681772 w 8079933"/>
              <a:gd name="connsiteY24610" fmla="*/ 983421 h 4687251"/>
              <a:gd name="connsiteX24611" fmla="*/ 2685136 w 8079933"/>
              <a:gd name="connsiteY24611" fmla="*/ 980931 h 4687251"/>
              <a:gd name="connsiteX24612" fmla="*/ 2686329 w 8079933"/>
              <a:gd name="connsiteY24612" fmla="*/ 982014 h 4687251"/>
              <a:gd name="connsiteX24613" fmla="*/ 2685027 w 8079933"/>
              <a:gd name="connsiteY24613" fmla="*/ 985370 h 4687251"/>
              <a:gd name="connsiteX24614" fmla="*/ 2680795 w 8079933"/>
              <a:gd name="connsiteY24614" fmla="*/ 991109 h 4687251"/>
              <a:gd name="connsiteX24615" fmla="*/ 2678733 w 8079933"/>
              <a:gd name="connsiteY24615" fmla="*/ 994465 h 4687251"/>
              <a:gd name="connsiteX24616" fmla="*/ 2678625 w 8079933"/>
              <a:gd name="connsiteY24616" fmla="*/ 998796 h 4687251"/>
              <a:gd name="connsiteX24617" fmla="*/ 2679059 w 8079933"/>
              <a:gd name="connsiteY24617" fmla="*/ 1003127 h 4687251"/>
              <a:gd name="connsiteX24618" fmla="*/ 2681012 w 8079933"/>
              <a:gd name="connsiteY24618" fmla="*/ 1001719 h 4687251"/>
              <a:gd name="connsiteX24619" fmla="*/ 2680686 w 8079933"/>
              <a:gd name="connsiteY24619" fmla="*/ 998904 h 4687251"/>
              <a:gd name="connsiteX24620" fmla="*/ 2681121 w 8079933"/>
              <a:gd name="connsiteY24620" fmla="*/ 994682 h 4687251"/>
              <a:gd name="connsiteX24621" fmla="*/ 2684159 w 8079933"/>
              <a:gd name="connsiteY24621" fmla="*/ 992083 h 4687251"/>
              <a:gd name="connsiteX24622" fmla="*/ 2686764 w 8079933"/>
              <a:gd name="connsiteY24622" fmla="*/ 988619 h 4687251"/>
              <a:gd name="connsiteX24623" fmla="*/ 2692190 w 8079933"/>
              <a:gd name="connsiteY24623" fmla="*/ 984179 h 4687251"/>
              <a:gd name="connsiteX24624" fmla="*/ 2695879 w 8079933"/>
              <a:gd name="connsiteY24624" fmla="*/ 981256 h 4687251"/>
              <a:gd name="connsiteX24625" fmla="*/ 2696856 w 8079933"/>
              <a:gd name="connsiteY24625" fmla="*/ 982988 h 4687251"/>
              <a:gd name="connsiteX24626" fmla="*/ 2696638 w 8079933"/>
              <a:gd name="connsiteY24626" fmla="*/ 988185 h 4687251"/>
              <a:gd name="connsiteX24627" fmla="*/ 2694577 w 8079933"/>
              <a:gd name="connsiteY24627" fmla="*/ 990351 h 4687251"/>
              <a:gd name="connsiteX24628" fmla="*/ 2689368 w 8079933"/>
              <a:gd name="connsiteY24628" fmla="*/ 991542 h 4687251"/>
              <a:gd name="connsiteX24629" fmla="*/ 2688717 w 8079933"/>
              <a:gd name="connsiteY24629" fmla="*/ 995331 h 4687251"/>
              <a:gd name="connsiteX24630" fmla="*/ 2686980 w 8079933"/>
              <a:gd name="connsiteY24630" fmla="*/ 999121 h 4687251"/>
              <a:gd name="connsiteX24631" fmla="*/ 2688392 w 8079933"/>
              <a:gd name="connsiteY24631" fmla="*/ 999987 h 4687251"/>
              <a:gd name="connsiteX24632" fmla="*/ 2689802 w 8079933"/>
              <a:gd name="connsiteY24632" fmla="*/ 998471 h 4687251"/>
              <a:gd name="connsiteX24633" fmla="*/ 2691972 w 8079933"/>
              <a:gd name="connsiteY24633" fmla="*/ 999987 h 4687251"/>
              <a:gd name="connsiteX24634" fmla="*/ 2694360 w 8079933"/>
              <a:gd name="connsiteY24634" fmla="*/ 998254 h 4687251"/>
              <a:gd name="connsiteX24635" fmla="*/ 2699786 w 8079933"/>
              <a:gd name="connsiteY24635" fmla="*/ 996305 h 4687251"/>
              <a:gd name="connsiteX24636" fmla="*/ 2701413 w 8079933"/>
              <a:gd name="connsiteY24636" fmla="*/ 998904 h 4687251"/>
              <a:gd name="connsiteX24637" fmla="*/ 2702824 w 8079933"/>
              <a:gd name="connsiteY24637" fmla="*/ 1004643 h 4687251"/>
              <a:gd name="connsiteX24638" fmla="*/ 2702499 w 8079933"/>
              <a:gd name="connsiteY24638" fmla="*/ 1007349 h 4687251"/>
              <a:gd name="connsiteX24639" fmla="*/ 2698918 w 8079933"/>
              <a:gd name="connsiteY24639" fmla="*/ 1008974 h 4687251"/>
              <a:gd name="connsiteX24640" fmla="*/ 2698918 w 8079933"/>
              <a:gd name="connsiteY24640" fmla="*/ 1010381 h 4687251"/>
              <a:gd name="connsiteX24641" fmla="*/ 2701739 w 8079933"/>
              <a:gd name="connsiteY24641" fmla="*/ 1011031 h 4687251"/>
              <a:gd name="connsiteX24642" fmla="*/ 2703909 w 8079933"/>
              <a:gd name="connsiteY24642" fmla="*/ 1014820 h 4687251"/>
              <a:gd name="connsiteX24643" fmla="*/ 2700545 w 8079933"/>
              <a:gd name="connsiteY24643" fmla="*/ 1015903 h 4687251"/>
              <a:gd name="connsiteX24644" fmla="*/ 2697615 w 8079933"/>
              <a:gd name="connsiteY24644" fmla="*/ 1015361 h 4687251"/>
              <a:gd name="connsiteX24645" fmla="*/ 2700545 w 8079933"/>
              <a:gd name="connsiteY24645" fmla="*/ 1017202 h 4687251"/>
              <a:gd name="connsiteX24646" fmla="*/ 2704343 w 8079933"/>
              <a:gd name="connsiteY24646" fmla="*/ 1018935 h 4687251"/>
              <a:gd name="connsiteX24647" fmla="*/ 2695228 w 8079933"/>
              <a:gd name="connsiteY24647" fmla="*/ 1020992 h 4687251"/>
              <a:gd name="connsiteX24648" fmla="*/ 2690779 w 8079933"/>
              <a:gd name="connsiteY24648" fmla="*/ 1020666 h 4687251"/>
              <a:gd name="connsiteX24649" fmla="*/ 2692949 w 8079933"/>
              <a:gd name="connsiteY24649" fmla="*/ 1022941 h 4687251"/>
              <a:gd name="connsiteX24650" fmla="*/ 2697398 w 8079933"/>
              <a:gd name="connsiteY24650" fmla="*/ 1022615 h 4687251"/>
              <a:gd name="connsiteX24651" fmla="*/ 2703692 w 8079933"/>
              <a:gd name="connsiteY24651" fmla="*/ 1023915 h 4687251"/>
              <a:gd name="connsiteX24652" fmla="*/ 2705537 w 8079933"/>
              <a:gd name="connsiteY24652" fmla="*/ 1021858 h 4687251"/>
              <a:gd name="connsiteX24653" fmla="*/ 2709878 w 8079933"/>
              <a:gd name="connsiteY24653" fmla="*/ 1020992 h 4687251"/>
              <a:gd name="connsiteX24654" fmla="*/ 2710854 w 8079933"/>
              <a:gd name="connsiteY24654" fmla="*/ 1021316 h 4687251"/>
              <a:gd name="connsiteX24655" fmla="*/ 2707490 w 8079933"/>
              <a:gd name="connsiteY24655" fmla="*/ 1025972 h 4687251"/>
              <a:gd name="connsiteX24656" fmla="*/ 2705537 w 8079933"/>
              <a:gd name="connsiteY24656" fmla="*/ 1030627 h 4687251"/>
              <a:gd name="connsiteX24657" fmla="*/ 2709660 w 8079933"/>
              <a:gd name="connsiteY24657" fmla="*/ 1026513 h 4687251"/>
              <a:gd name="connsiteX24658" fmla="*/ 2713242 w 8079933"/>
              <a:gd name="connsiteY24658" fmla="*/ 1025322 h 4687251"/>
              <a:gd name="connsiteX24659" fmla="*/ 2716063 w 8079933"/>
              <a:gd name="connsiteY24659" fmla="*/ 1022182 h 4687251"/>
              <a:gd name="connsiteX24660" fmla="*/ 2720512 w 8079933"/>
              <a:gd name="connsiteY24660" fmla="*/ 1018935 h 4687251"/>
              <a:gd name="connsiteX24661" fmla="*/ 2723985 w 8079933"/>
              <a:gd name="connsiteY24661" fmla="*/ 1020017 h 4687251"/>
              <a:gd name="connsiteX24662" fmla="*/ 2723117 w 8079933"/>
              <a:gd name="connsiteY24662" fmla="*/ 1022182 h 4687251"/>
              <a:gd name="connsiteX24663" fmla="*/ 2720404 w 8079933"/>
              <a:gd name="connsiteY24663" fmla="*/ 1025322 h 4687251"/>
              <a:gd name="connsiteX24664" fmla="*/ 2718451 w 8079933"/>
              <a:gd name="connsiteY24664" fmla="*/ 1025539 h 4687251"/>
              <a:gd name="connsiteX24665" fmla="*/ 2716388 w 8079933"/>
              <a:gd name="connsiteY24665" fmla="*/ 1029112 h 4687251"/>
              <a:gd name="connsiteX24666" fmla="*/ 2714327 w 8079933"/>
              <a:gd name="connsiteY24666" fmla="*/ 1033767 h 4687251"/>
              <a:gd name="connsiteX24667" fmla="*/ 2709010 w 8079933"/>
              <a:gd name="connsiteY24667" fmla="*/ 1035825 h 4687251"/>
              <a:gd name="connsiteX24668" fmla="*/ 2706730 w 8079933"/>
              <a:gd name="connsiteY24668" fmla="*/ 1039939 h 4687251"/>
              <a:gd name="connsiteX24669" fmla="*/ 2706947 w 8079933"/>
              <a:gd name="connsiteY24669" fmla="*/ 1042862 h 4687251"/>
              <a:gd name="connsiteX24670" fmla="*/ 2709660 w 8079933"/>
              <a:gd name="connsiteY24670" fmla="*/ 1043404 h 4687251"/>
              <a:gd name="connsiteX24671" fmla="*/ 2713133 w 8079933"/>
              <a:gd name="connsiteY24671" fmla="*/ 1039722 h 4687251"/>
              <a:gd name="connsiteX24672" fmla="*/ 2713133 w 8079933"/>
              <a:gd name="connsiteY24672" fmla="*/ 1037882 h 4687251"/>
              <a:gd name="connsiteX24673" fmla="*/ 2717799 w 8079933"/>
              <a:gd name="connsiteY24673" fmla="*/ 1032143 h 4687251"/>
              <a:gd name="connsiteX24674" fmla="*/ 2721923 w 8079933"/>
              <a:gd name="connsiteY24674" fmla="*/ 1030627 h 4687251"/>
              <a:gd name="connsiteX24675" fmla="*/ 2721597 w 8079933"/>
              <a:gd name="connsiteY24675" fmla="*/ 1033876 h 4687251"/>
              <a:gd name="connsiteX24676" fmla="*/ 2718451 w 8079933"/>
              <a:gd name="connsiteY24676" fmla="*/ 1039072 h 4687251"/>
              <a:gd name="connsiteX24677" fmla="*/ 2717908 w 8079933"/>
              <a:gd name="connsiteY24677" fmla="*/ 1044053 h 4687251"/>
              <a:gd name="connsiteX24678" fmla="*/ 2716606 w 8079933"/>
              <a:gd name="connsiteY24678" fmla="*/ 1047193 h 4687251"/>
              <a:gd name="connsiteX24679" fmla="*/ 2719101 w 8079933"/>
              <a:gd name="connsiteY24679" fmla="*/ 1045244 h 4687251"/>
              <a:gd name="connsiteX24680" fmla="*/ 2722466 w 8079933"/>
              <a:gd name="connsiteY24680" fmla="*/ 1039398 h 4687251"/>
              <a:gd name="connsiteX24681" fmla="*/ 2722574 w 8079933"/>
              <a:gd name="connsiteY24681" fmla="*/ 1036474 h 4687251"/>
              <a:gd name="connsiteX24682" fmla="*/ 2724311 w 8079933"/>
              <a:gd name="connsiteY24682" fmla="*/ 1035608 h 4687251"/>
              <a:gd name="connsiteX24683" fmla="*/ 2725721 w 8079933"/>
              <a:gd name="connsiteY24683" fmla="*/ 1036690 h 4687251"/>
              <a:gd name="connsiteX24684" fmla="*/ 2726264 w 8079933"/>
              <a:gd name="connsiteY24684" fmla="*/ 1043186 h 4687251"/>
              <a:gd name="connsiteX24685" fmla="*/ 2728651 w 8079933"/>
              <a:gd name="connsiteY24685" fmla="*/ 1045244 h 4687251"/>
              <a:gd name="connsiteX24686" fmla="*/ 2730170 w 8079933"/>
              <a:gd name="connsiteY24686" fmla="*/ 1045135 h 4687251"/>
              <a:gd name="connsiteX24687" fmla="*/ 2729519 w 8079933"/>
              <a:gd name="connsiteY24687" fmla="*/ 1040047 h 4687251"/>
              <a:gd name="connsiteX24688" fmla="*/ 2731255 w 8079933"/>
              <a:gd name="connsiteY24688" fmla="*/ 1037232 h 4687251"/>
              <a:gd name="connsiteX24689" fmla="*/ 2737115 w 8079933"/>
              <a:gd name="connsiteY24689" fmla="*/ 1034092 h 4687251"/>
              <a:gd name="connsiteX24690" fmla="*/ 2738309 w 8079933"/>
              <a:gd name="connsiteY24690" fmla="*/ 1035608 h 4687251"/>
              <a:gd name="connsiteX24691" fmla="*/ 2736247 w 8079933"/>
              <a:gd name="connsiteY24691" fmla="*/ 1038423 h 4687251"/>
              <a:gd name="connsiteX24692" fmla="*/ 2737549 w 8079933"/>
              <a:gd name="connsiteY24692" fmla="*/ 1038856 h 4687251"/>
              <a:gd name="connsiteX24693" fmla="*/ 2741347 w 8079933"/>
              <a:gd name="connsiteY24693" fmla="*/ 1038748 h 4687251"/>
              <a:gd name="connsiteX24694" fmla="*/ 2743626 w 8079933"/>
              <a:gd name="connsiteY24694" fmla="*/ 1041671 h 4687251"/>
              <a:gd name="connsiteX24695" fmla="*/ 2741890 w 8079933"/>
              <a:gd name="connsiteY24695" fmla="*/ 1046435 h 4687251"/>
              <a:gd name="connsiteX24696" fmla="*/ 2745905 w 8079933"/>
              <a:gd name="connsiteY24696" fmla="*/ 1046002 h 4687251"/>
              <a:gd name="connsiteX24697" fmla="*/ 2747424 w 8079933"/>
              <a:gd name="connsiteY24697" fmla="*/ 1048167 h 4687251"/>
              <a:gd name="connsiteX24698" fmla="*/ 2747750 w 8079933"/>
              <a:gd name="connsiteY24698" fmla="*/ 1051307 h 4687251"/>
              <a:gd name="connsiteX24699" fmla="*/ 2750572 w 8079933"/>
              <a:gd name="connsiteY24699" fmla="*/ 1053689 h 4687251"/>
              <a:gd name="connsiteX24700" fmla="*/ 2751222 w 8079933"/>
              <a:gd name="connsiteY24700" fmla="*/ 1056504 h 4687251"/>
              <a:gd name="connsiteX24701" fmla="*/ 2749920 w 8079933"/>
              <a:gd name="connsiteY24701" fmla="*/ 1057912 h 4687251"/>
              <a:gd name="connsiteX24702" fmla="*/ 2748075 w 8079933"/>
              <a:gd name="connsiteY24702" fmla="*/ 1059427 h 4687251"/>
              <a:gd name="connsiteX24703" fmla="*/ 2743192 w 8079933"/>
              <a:gd name="connsiteY24703" fmla="*/ 1059427 h 4687251"/>
              <a:gd name="connsiteX24704" fmla="*/ 2743409 w 8079933"/>
              <a:gd name="connsiteY24704" fmla="*/ 1056504 h 4687251"/>
              <a:gd name="connsiteX24705" fmla="*/ 2741347 w 8079933"/>
              <a:gd name="connsiteY24705" fmla="*/ 1053473 h 4687251"/>
              <a:gd name="connsiteX24706" fmla="*/ 2738851 w 8079933"/>
              <a:gd name="connsiteY24706" fmla="*/ 1052173 h 4687251"/>
              <a:gd name="connsiteX24707" fmla="*/ 2737333 w 8079933"/>
              <a:gd name="connsiteY24707" fmla="*/ 1050874 h 4687251"/>
              <a:gd name="connsiteX24708" fmla="*/ 2735271 w 8079933"/>
              <a:gd name="connsiteY24708" fmla="*/ 1052715 h 4687251"/>
              <a:gd name="connsiteX24709" fmla="*/ 2732775 w 8079933"/>
              <a:gd name="connsiteY24709" fmla="*/ 1055963 h 4687251"/>
              <a:gd name="connsiteX24710" fmla="*/ 2735813 w 8079933"/>
              <a:gd name="connsiteY24710" fmla="*/ 1054663 h 4687251"/>
              <a:gd name="connsiteX24711" fmla="*/ 2738092 w 8079933"/>
              <a:gd name="connsiteY24711" fmla="*/ 1055205 h 4687251"/>
              <a:gd name="connsiteX24712" fmla="*/ 2739719 w 8079933"/>
              <a:gd name="connsiteY24712" fmla="*/ 1057262 h 4687251"/>
              <a:gd name="connsiteX24713" fmla="*/ 2738092 w 8079933"/>
              <a:gd name="connsiteY24713" fmla="*/ 1058128 h 4687251"/>
              <a:gd name="connsiteX24714" fmla="*/ 2740262 w 8079933"/>
              <a:gd name="connsiteY24714" fmla="*/ 1059319 h 4687251"/>
              <a:gd name="connsiteX24715" fmla="*/ 2741239 w 8079933"/>
              <a:gd name="connsiteY24715" fmla="*/ 1061810 h 4687251"/>
              <a:gd name="connsiteX24716" fmla="*/ 2739286 w 8079933"/>
              <a:gd name="connsiteY24716" fmla="*/ 1062675 h 4687251"/>
              <a:gd name="connsiteX24717" fmla="*/ 2735921 w 8079933"/>
              <a:gd name="connsiteY24717" fmla="*/ 1061810 h 4687251"/>
              <a:gd name="connsiteX24718" fmla="*/ 2733208 w 8079933"/>
              <a:gd name="connsiteY24718" fmla="*/ 1063433 h 4687251"/>
              <a:gd name="connsiteX24719" fmla="*/ 2734728 w 8079933"/>
              <a:gd name="connsiteY24719" fmla="*/ 1064733 h 4687251"/>
              <a:gd name="connsiteX24720" fmla="*/ 2740696 w 8079933"/>
              <a:gd name="connsiteY24720" fmla="*/ 1064841 h 4687251"/>
              <a:gd name="connsiteX24721" fmla="*/ 2742867 w 8079933"/>
              <a:gd name="connsiteY24721" fmla="*/ 1064841 h 4687251"/>
              <a:gd name="connsiteX24722" fmla="*/ 2743192 w 8079933"/>
              <a:gd name="connsiteY24722" fmla="*/ 1066573 h 4687251"/>
              <a:gd name="connsiteX24723" fmla="*/ 2741022 w 8079933"/>
              <a:gd name="connsiteY24723" fmla="*/ 1069388 h 4687251"/>
              <a:gd name="connsiteX24724" fmla="*/ 2737333 w 8079933"/>
              <a:gd name="connsiteY24724" fmla="*/ 1069388 h 4687251"/>
              <a:gd name="connsiteX24725" fmla="*/ 2733968 w 8079933"/>
              <a:gd name="connsiteY24725" fmla="*/ 1070146 h 4687251"/>
              <a:gd name="connsiteX24726" fmla="*/ 2729410 w 8079933"/>
              <a:gd name="connsiteY24726" fmla="*/ 1069496 h 4687251"/>
              <a:gd name="connsiteX24727" fmla="*/ 2725612 w 8079933"/>
              <a:gd name="connsiteY24727" fmla="*/ 1068739 h 4687251"/>
              <a:gd name="connsiteX24728" fmla="*/ 2726697 w 8079933"/>
              <a:gd name="connsiteY24728" fmla="*/ 1065274 h 4687251"/>
              <a:gd name="connsiteX24729" fmla="*/ 2726372 w 8079933"/>
              <a:gd name="connsiteY24729" fmla="*/ 1063217 h 4687251"/>
              <a:gd name="connsiteX24730" fmla="*/ 2723225 w 8079933"/>
              <a:gd name="connsiteY24730" fmla="*/ 1061484 h 4687251"/>
              <a:gd name="connsiteX24731" fmla="*/ 2721923 w 8079933"/>
              <a:gd name="connsiteY24731" fmla="*/ 1059861 h 4687251"/>
              <a:gd name="connsiteX24732" fmla="*/ 2719969 w 8079933"/>
              <a:gd name="connsiteY24732" fmla="*/ 1060510 h 4687251"/>
              <a:gd name="connsiteX24733" fmla="*/ 2720404 w 8079933"/>
              <a:gd name="connsiteY24733" fmla="*/ 1063000 h 4687251"/>
              <a:gd name="connsiteX24734" fmla="*/ 2722466 w 8079933"/>
              <a:gd name="connsiteY24734" fmla="*/ 1064516 h 4687251"/>
              <a:gd name="connsiteX24735" fmla="*/ 2723442 w 8079933"/>
              <a:gd name="connsiteY24735" fmla="*/ 1068197 h 4687251"/>
              <a:gd name="connsiteX24736" fmla="*/ 2722791 w 8079933"/>
              <a:gd name="connsiteY24736" fmla="*/ 1070038 h 4687251"/>
              <a:gd name="connsiteX24737" fmla="*/ 2719644 w 8079933"/>
              <a:gd name="connsiteY24737" fmla="*/ 1070363 h 4687251"/>
              <a:gd name="connsiteX24738" fmla="*/ 2716280 w 8079933"/>
              <a:gd name="connsiteY24738" fmla="*/ 1068197 h 4687251"/>
              <a:gd name="connsiteX24739" fmla="*/ 2715520 w 8079933"/>
              <a:gd name="connsiteY24739" fmla="*/ 1065816 h 4687251"/>
              <a:gd name="connsiteX24740" fmla="*/ 2714869 w 8079933"/>
              <a:gd name="connsiteY24740" fmla="*/ 1070038 h 4687251"/>
              <a:gd name="connsiteX24741" fmla="*/ 2717256 w 8079933"/>
              <a:gd name="connsiteY24741" fmla="*/ 1072528 h 4687251"/>
              <a:gd name="connsiteX24742" fmla="*/ 2721923 w 8079933"/>
              <a:gd name="connsiteY24742" fmla="*/ 1072528 h 4687251"/>
              <a:gd name="connsiteX24743" fmla="*/ 2724311 w 8079933"/>
              <a:gd name="connsiteY24743" fmla="*/ 1074694 h 4687251"/>
              <a:gd name="connsiteX24744" fmla="*/ 2727024 w 8079933"/>
              <a:gd name="connsiteY24744" fmla="*/ 1075559 h 4687251"/>
              <a:gd name="connsiteX24745" fmla="*/ 2727566 w 8079933"/>
              <a:gd name="connsiteY24745" fmla="*/ 1078267 h 4687251"/>
              <a:gd name="connsiteX24746" fmla="*/ 2726264 w 8079933"/>
              <a:gd name="connsiteY24746" fmla="*/ 1081514 h 4687251"/>
              <a:gd name="connsiteX24747" fmla="*/ 2719536 w 8079933"/>
              <a:gd name="connsiteY24747" fmla="*/ 1081298 h 4687251"/>
              <a:gd name="connsiteX24748" fmla="*/ 2717908 w 8079933"/>
              <a:gd name="connsiteY24748" fmla="*/ 1078483 h 4687251"/>
              <a:gd name="connsiteX24749" fmla="*/ 2713676 w 8079933"/>
              <a:gd name="connsiteY24749" fmla="*/ 1075776 h 4687251"/>
              <a:gd name="connsiteX24750" fmla="*/ 2711722 w 8079933"/>
              <a:gd name="connsiteY24750" fmla="*/ 1073719 h 4687251"/>
              <a:gd name="connsiteX24751" fmla="*/ 2710420 w 8079933"/>
              <a:gd name="connsiteY24751" fmla="*/ 1073828 h 4687251"/>
              <a:gd name="connsiteX24752" fmla="*/ 2711614 w 8079933"/>
              <a:gd name="connsiteY24752" fmla="*/ 1075776 h 4687251"/>
              <a:gd name="connsiteX24753" fmla="*/ 2716280 w 8079933"/>
              <a:gd name="connsiteY24753" fmla="*/ 1079241 h 4687251"/>
              <a:gd name="connsiteX24754" fmla="*/ 2718016 w 8079933"/>
              <a:gd name="connsiteY24754" fmla="*/ 1082814 h 4687251"/>
              <a:gd name="connsiteX24755" fmla="*/ 2717908 w 8079933"/>
              <a:gd name="connsiteY24755" fmla="*/ 1087902 h 4687251"/>
              <a:gd name="connsiteX24756" fmla="*/ 2716388 w 8079933"/>
              <a:gd name="connsiteY24756" fmla="*/ 1090609 h 4687251"/>
              <a:gd name="connsiteX24757" fmla="*/ 2714218 w 8079933"/>
              <a:gd name="connsiteY24757" fmla="*/ 1090285 h 4687251"/>
              <a:gd name="connsiteX24758" fmla="*/ 2713025 w 8079933"/>
              <a:gd name="connsiteY24758" fmla="*/ 1087036 h 4687251"/>
              <a:gd name="connsiteX24759" fmla="*/ 2710203 w 8079933"/>
              <a:gd name="connsiteY24759" fmla="*/ 1084763 h 4687251"/>
              <a:gd name="connsiteX24760" fmla="*/ 2706947 w 8079933"/>
              <a:gd name="connsiteY24760" fmla="*/ 1083572 h 4687251"/>
              <a:gd name="connsiteX24761" fmla="*/ 2707707 w 8079933"/>
              <a:gd name="connsiteY24761" fmla="*/ 1084871 h 4687251"/>
              <a:gd name="connsiteX24762" fmla="*/ 2709335 w 8079933"/>
              <a:gd name="connsiteY24762" fmla="*/ 1086387 h 4687251"/>
              <a:gd name="connsiteX24763" fmla="*/ 2709227 w 8079933"/>
              <a:gd name="connsiteY24763" fmla="*/ 1090609 h 4687251"/>
              <a:gd name="connsiteX24764" fmla="*/ 2709010 w 8079933"/>
              <a:gd name="connsiteY24764" fmla="*/ 1096240 h 4687251"/>
              <a:gd name="connsiteX24765" fmla="*/ 2707815 w 8079933"/>
              <a:gd name="connsiteY24765" fmla="*/ 1097106 h 4687251"/>
              <a:gd name="connsiteX24766" fmla="*/ 2705537 w 8079933"/>
              <a:gd name="connsiteY24766" fmla="*/ 1097106 h 4687251"/>
              <a:gd name="connsiteX24767" fmla="*/ 2704017 w 8079933"/>
              <a:gd name="connsiteY24767" fmla="*/ 1095590 h 4687251"/>
              <a:gd name="connsiteX24768" fmla="*/ 2704235 w 8079933"/>
              <a:gd name="connsiteY24768" fmla="*/ 1091259 h 4687251"/>
              <a:gd name="connsiteX24769" fmla="*/ 2702499 w 8079933"/>
              <a:gd name="connsiteY24769" fmla="*/ 1092017 h 4687251"/>
              <a:gd name="connsiteX24770" fmla="*/ 2701847 w 8079933"/>
              <a:gd name="connsiteY24770" fmla="*/ 1094616 h 4687251"/>
              <a:gd name="connsiteX24771" fmla="*/ 2698592 w 8079933"/>
              <a:gd name="connsiteY24771" fmla="*/ 1095373 h 4687251"/>
              <a:gd name="connsiteX24772" fmla="*/ 2696530 w 8079933"/>
              <a:gd name="connsiteY24772" fmla="*/ 1094507 h 4687251"/>
              <a:gd name="connsiteX24773" fmla="*/ 2697181 w 8079933"/>
              <a:gd name="connsiteY24773" fmla="*/ 1091367 h 4687251"/>
              <a:gd name="connsiteX24774" fmla="*/ 2695988 w 8079933"/>
              <a:gd name="connsiteY24774" fmla="*/ 1088010 h 4687251"/>
              <a:gd name="connsiteX24775" fmla="*/ 2695770 w 8079933"/>
              <a:gd name="connsiteY24775" fmla="*/ 1084438 h 4687251"/>
              <a:gd name="connsiteX24776" fmla="*/ 2694251 w 8079933"/>
              <a:gd name="connsiteY24776" fmla="*/ 1082706 h 4687251"/>
              <a:gd name="connsiteX24777" fmla="*/ 2693600 w 8079933"/>
              <a:gd name="connsiteY24777" fmla="*/ 1085196 h 4687251"/>
              <a:gd name="connsiteX24778" fmla="*/ 2693600 w 8079933"/>
              <a:gd name="connsiteY24778" fmla="*/ 1091584 h 4687251"/>
              <a:gd name="connsiteX24779" fmla="*/ 2691538 w 8079933"/>
              <a:gd name="connsiteY24779" fmla="*/ 1093316 h 4687251"/>
              <a:gd name="connsiteX24780" fmla="*/ 2688500 w 8079933"/>
              <a:gd name="connsiteY24780" fmla="*/ 1093424 h 4687251"/>
              <a:gd name="connsiteX24781" fmla="*/ 2689585 w 8079933"/>
              <a:gd name="connsiteY24781" fmla="*/ 1094616 h 4687251"/>
              <a:gd name="connsiteX24782" fmla="*/ 2692190 w 8079933"/>
              <a:gd name="connsiteY24782" fmla="*/ 1095048 h 4687251"/>
              <a:gd name="connsiteX24783" fmla="*/ 2692840 w 8079933"/>
              <a:gd name="connsiteY24783" fmla="*/ 1096997 h 4687251"/>
              <a:gd name="connsiteX24784" fmla="*/ 2690887 w 8079933"/>
              <a:gd name="connsiteY24784" fmla="*/ 1099487 h 4687251"/>
              <a:gd name="connsiteX24785" fmla="*/ 2688066 w 8079933"/>
              <a:gd name="connsiteY24785" fmla="*/ 1098838 h 4687251"/>
              <a:gd name="connsiteX24786" fmla="*/ 2686872 w 8079933"/>
              <a:gd name="connsiteY24786" fmla="*/ 1098080 h 4687251"/>
              <a:gd name="connsiteX24787" fmla="*/ 2686547 w 8079933"/>
              <a:gd name="connsiteY24787" fmla="*/ 1099487 h 4687251"/>
              <a:gd name="connsiteX24788" fmla="*/ 2689151 w 8079933"/>
              <a:gd name="connsiteY24788" fmla="*/ 1101545 h 4687251"/>
              <a:gd name="connsiteX24789" fmla="*/ 2691104 w 8079933"/>
              <a:gd name="connsiteY24789" fmla="*/ 1101545 h 4687251"/>
              <a:gd name="connsiteX24790" fmla="*/ 2691538 w 8079933"/>
              <a:gd name="connsiteY24790" fmla="*/ 1103493 h 4687251"/>
              <a:gd name="connsiteX24791" fmla="*/ 2691104 w 8079933"/>
              <a:gd name="connsiteY24791" fmla="*/ 1106308 h 4687251"/>
              <a:gd name="connsiteX24792" fmla="*/ 2689151 w 8079933"/>
              <a:gd name="connsiteY24792" fmla="*/ 1106958 h 4687251"/>
              <a:gd name="connsiteX24793" fmla="*/ 2688717 w 8079933"/>
              <a:gd name="connsiteY24793" fmla="*/ 1109124 h 4687251"/>
              <a:gd name="connsiteX24794" fmla="*/ 2690127 w 8079933"/>
              <a:gd name="connsiteY24794" fmla="*/ 1112480 h 4687251"/>
              <a:gd name="connsiteX24795" fmla="*/ 2690127 w 8079933"/>
              <a:gd name="connsiteY24795" fmla="*/ 1115079 h 4687251"/>
              <a:gd name="connsiteX24796" fmla="*/ 2688717 w 8079933"/>
              <a:gd name="connsiteY24796" fmla="*/ 1115079 h 4687251"/>
              <a:gd name="connsiteX24797" fmla="*/ 2686764 w 8079933"/>
              <a:gd name="connsiteY24797" fmla="*/ 1113671 h 4687251"/>
              <a:gd name="connsiteX24798" fmla="*/ 2685787 w 8079933"/>
              <a:gd name="connsiteY24798" fmla="*/ 1114104 h 4687251"/>
              <a:gd name="connsiteX24799" fmla="*/ 2688825 w 8079933"/>
              <a:gd name="connsiteY24799" fmla="*/ 1117352 h 4687251"/>
              <a:gd name="connsiteX24800" fmla="*/ 2689259 w 8079933"/>
              <a:gd name="connsiteY24800" fmla="*/ 1119951 h 4687251"/>
              <a:gd name="connsiteX24801" fmla="*/ 2688717 w 8079933"/>
              <a:gd name="connsiteY24801" fmla="*/ 1123524 h 4687251"/>
              <a:gd name="connsiteX24802" fmla="*/ 2684051 w 8079933"/>
              <a:gd name="connsiteY24802" fmla="*/ 1125040 h 4687251"/>
              <a:gd name="connsiteX24803" fmla="*/ 2682966 w 8079933"/>
              <a:gd name="connsiteY24803" fmla="*/ 1126880 h 4687251"/>
              <a:gd name="connsiteX24804" fmla="*/ 2681121 w 8079933"/>
              <a:gd name="connsiteY24804" fmla="*/ 1126122 h 4687251"/>
              <a:gd name="connsiteX24805" fmla="*/ 2680686 w 8079933"/>
              <a:gd name="connsiteY24805" fmla="*/ 1124173 h 4687251"/>
              <a:gd name="connsiteX24806" fmla="*/ 2679710 w 8079933"/>
              <a:gd name="connsiteY24806" fmla="*/ 1123199 h 4687251"/>
              <a:gd name="connsiteX24807" fmla="*/ 2679927 w 8079933"/>
              <a:gd name="connsiteY24807" fmla="*/ 1121250 h 4687251"/>
              <a:gd name="connsiteX24808" fmla="*/ 2677431 w 8079933"/>
              <a:gd name="connsiteY24808" fmla="*/ 1120383 h 4687251"/>
              <a:gd name="connsiteX24809" fmla="*/ 2676888 w 8079933"/>
              <a:gd name="connsiteY24809" fmla="*/ 1118760 h 4687251"/>
              <a:gd name="connsiteX24810" fmla="*/ 2678516 w 8079933"/>
              <a:gd name="connsiteY24810" fmla="*/ 1116377 h 4687251"/>
              <a:gd name="connsiteX24811" fmla="*/ 2678516 w 8079933"/>
              <a:gd name="connsiteY24811" fmla="*/ 1114429 h 4687251"/>
              <a:gd name="connsiteX24812" fmla="*/ 2677106 w 8079933"/>
              <a:gd name="connsiteY24812" fmla="*/ 1114646 h 4687251"/>
              <a:gd name="connsiteX24813" fmla="*/ 2673850 w 8079933"/>
              <a:gd name="connsiteY24813" fmla="*/ 1116053 h 4687251"/>
              <a:gd name="connsiteX24814" fmla="*/ 2672765 w 8079933"/>
              <a:gd name="connsiteY24814" fmla="*/ 1118543 h 4687251"/>
              <a:gd name="connsiteX24815" fmla="*/ 2671245 w 8079933"/>
              <a:gd name="connsiteY24815" fmla="*/ 1118326 h 4687251"/>
              <a:gd name="connsiteX24816" fmla="*/ 2669075 w 8079933"/>
              <a:gd name="connsiteY24816" fmla="*/ 1115620 h 4687251"/>
              <a:gd name="connsiteX24817" fmla="*/ 2670595 w 8079933"/>
              <a:gd name="connsiteY24817" fmla="*/ 1113454 h 4687251"/>
              <a:gd name="connsiteX24818" fmla="*/ 2668967 w 8079933"/>
              <a:gd name="connsiteY24818" fmla="*/ 1111289 h 4687251"/>
              <a:gd name="connsiteX24819" fmla="*/ 2668967 w 8079933"/>
              <a:gd name="connsiteY24819" fmla="*/ 1109773 h 4687251"/>
              <a:gd name="connsiteX24820" fmla="*/ 2670595 w 8079933"/>
              <a:gd name="connsiteY24820" fmla="*/ 1108257 h 4687251"/>
              <a:gd name="connsiteX24821" fmla="*/ 2670812 w 8079933"/>
              <a:gd name="connsiteY24821" fmla="*/ 1106417 h 4687251"/>
              <a:gd name="connsiteX24822" fmla="*/ 2671463 w 8079933"/>
              <a:gd name="connsiteY24822" fmla="*/ 1104360 h 4687251"/>
              <a:gd name="connsiteX24823" fmla="*/ 2670595 w 8079933"/>
              <a:gd name="connsiteY24823" fmla="*/ 1103926 h 4687251"/>
              <a:gd name="connsiteX24824" fmla="*/ 2668207 w 8079933"/>
              <a:gd name="connsiteY24824" fmla="*/ 1106417 h 4687251"/>
              <a:gd name="connsiteX24825" fmla="*/ 2666254 w 8079933"/>
              <a:gd name="connsiteY24825" fmla="*/ 1110964 h 4687251"/>
              <a:gd name="connsiteX24826" fmla="*/ 2663649 w 8079933"/>
              <a:gd name="connsiteY24826" fmla="*/ 1113887 h 4687251"/>
              <a:gd name="connsiteX24827" fmla="*/ 2662890 w 8079933"/>
              <a:gd name="connsiteY24827" fmla="*/ 1112805 h 4687251"/>
              <a:gd name="connsiteX24828" fmla="*/ 2662781 w 8079933"/>
              <a:gd name="connsiteY24828" fmla="*/ 1110098 h 4687251"/>
              <a:gd name="connsiteX24829" fmla="*/ 2661045 w 8079933"/>
              <a:gd name="connsiteY24829" fmla="*/ 1107175 h 4687251"/>
              <a:gd name="connsiteX24830" fmla="*/ 2660177 w 8079933"/>
              <a:gd name="connsiteY24830" fmla="*/ 1104360 h 4687251"/>
              <a:gd name="connsiteX24831" fmla="*/ 2661804 w 8079933"/>
              <a:gd name="connsiteY24831" fmla="*/ 1102628 h 4687251"/>
              <a:gd name="connsiteX24832" fmla="*/ 2666037 w 8079933"/>
              <a:gd name="connsiteY24832" fmla="*/ 1100895 h 4687251"/>
              <a:gd name="connsiteX24833" fmla="*/ 2666037 w 8079933"/>
              <a:gd name="connsiteY24833" fmla="*/ 1099812 h 4687251"/>
              <a:gd name="connsiteX24834" fmla="*/ 2668424 w 8079933"/>
              <a:gd name="connsiteY24834" fmla="*/ 1098946 h 4687251"/>
              <a:gd name="connsiteX24835" fmla="*/ 2667556 w 8079933"/>
              <a:gd name="connsiteY24835" fmla="*/ 1097755 h 4687251"/>
              <a:gd name="connsiteX24836" fmla="*/ 2664084 w 8079933"/>
              <a:gd name="connsiteY24836" fmla="*/ 1097430 h 4687251"/>
              <a:gd name="connsiteX24837" fmla="*/ 2661154 w 8079933"/>
              <a:gd name="connsiteY24837" fmla="*/ 1098188 h 4687251"/>
              <a:gd name="connsiteX24838" fmla="*/ 2658006 w 8079933"/>
              <a:gd name="connsiteY24838" fmla="*/ 1097430 h 4687251"/>
              <a:gd name="connsiteX24839" fmla="*/ 2657247 w 8079933"/>
              <a:gd name="connsiteY24839" fmla="*/ 1095914 h 4687251"/>
              <a:gd name="connsiteX24840" fmla="*/ 2658224 w 8079933"/>
              <a:gd name="connsiteY24840" fmla="*/ 1093749 h 4687251"/>
              <a:gd name="connsiteX24841" fmla="*/ 2661804 w 8079933"/>
              <a:gd name="connsiteY24841" fmla="*/ 1092883 h 4687251"/>
              <a:gd name="connsiteX24842" fmla="*/ 2664952 w 8079933"/>
              <a:gd name="connsiteY24842" fmla="*/ 1088877 h 4687251"/>
              <a:gd name="connsiteX24843" fmla="*/ 2662890 w 8079933"/>
              <a:gd name="connsiteY24843" fmla="*/ 1089526 h 4687251"/>
              <a:gd name="connsiteX24844" fmla="*/ 2660068 w 8079933"/>
              <a:gd name="connsiteY24844" fmla="*/ 1090718 h 4687251"/>
              <a:gd name="connsiteX24845" fmla="*/ 2658006 w 8079933"/>
              <a:gd name="connsiteY24845" fmla="*/ 1089743 h 4687251"/>
              <a:gd name="connsiteX24846" fmla="*/ 2657681 w 8079933"/>
              <a:gd name="connsiteY24846" fmla="*/ 1087469 h 4687251"/>
              <a:gd name="connsiteX24847" fmla="*/ 2660068 w 8079933"/>
              <a:gd name="connsiteY24847" fmla="*/ 1086495 h 4687251"/>
              <a:gd name="connsiteX24848" fmla="*/ 2663216 w 8079933"/>
              <a:gd name="connsiteY24848" fmla="*/ 1085196 h 4687251"/>
              <a:gd name="connsiteX24849" fmla="*/ 2666362 w 8079933"/>
              <a:gd name="connsiteY24849" fmla="*/ 1084222 h 4687251"/>
              <a:gd name="connsiteX24850" fmla="*/ 2663649 w 8079933"/>
              <a:gd name="connsiteY24850" fmla="*/ 1083030 h 4687251"/>
              <a:gd name="connsiteX24851" fmla="*/ 2660177 w 8079933"/>
              <a:gd name="connsiteY24851" fmla="*/ 1083139 h 4687251"/>
              <a:gd name="connsiteX24852" fmla="*/ 2657898 w 8079933"/>
              <a:gd name="connsiteY24852" fmla="*/ 1084655 h 4687251"/>
              <a:gd name="connsiteX24853" fmla="*/ 2656270 w 8079933"/>
              <a:gd name="connsiteY24853" fmla="*/ 1083572 h 4687251"/>
              <a:gd name="connsiteX24854" fmla="*/ 2656705 w 8079933"/>
              <a:gd name="connsiteY24854" fmla="*/ 1081514 h 4687251"/>
              <a:gd name="connsiteX24855" fmla="*/ 2660286 w 8079933"/>
              <a:gd name="connsiteY24855" fmla="*/ 1076426 h 4687251"/>
              <a:gd name="connsiteX24856" fmla="*/ 2662564 w 8079933"/>
              <a:gd name="connsiteY24856" fmla="*/ 1075559 h 4687251"/>
              <a:gd name="connsiteX24857" fmla="*/ 2667339 w 8079933"/>
              <a:gd name="connsiteY24857" fmla="*/ 1074694 h 4687251"/>
              <a:gd name="connsiteX24858" fmla="*/ 2671137 w 8079933"/>
              <a:gd name="connsiteY24858" fmla="*/ 1071553 h 4687251"/>
              <a:gd name="connsiteX24859" fmla="*/ 2674176 w 8079933"/>
              <a:gd name="connsiteY24859" fmla="*/ 1069605 h 4687251"/>
              <a:gd name="connsiteX24860" fmla="*/ 2676020 w 8079933"/>
              <a:gd name="connsiteY24860" fmla="*/ 1065816 h 4687251"/>
              <a:gd name="connsiteX24861" fmla="*/ 2679493 w 8079933"/>
              <a:gd name="connsiteY24861" fmla="*/ 1061918 h 4687251"/>
              <a:gd name="connsiteX24862" fmla="*/ 2681446 w 8079933"/>
              <a:gd name="connsiteY24862" fmla="*/ 1060835 h 4687251"/>
              <a:gd name="connsiteX24863" fmla="*/ 2681012 w 8079933"/>
              <a:gd name="connsiteY24863" fmla="*/ 1059211 h 4687251"/>
              <a:gd name="connsiteX24864" fmla="*/ 2679059 w 8079933"/>
              <a:gd name="connsiteY24864" fmla="*/ 1059535 h 4687251"/>
              <a:gd name="connsiteX24865" fmla="*/ 2674718 w 8079933"/>
              <a:gd name="connsiteY24865" fmla="*/ 1063000 h 4687251"/>
              <a:gd name="connsiteX24866" fmla="*/ 2672331 w 8079933"/>
              <a:gd name="connsiteY24866" fmla="*/ 1064300 h 4687251"/>
              <a:gd name="connsiteX24867" fmla="*/ 2670269 w 8079933"/>
              <a:gd name="connsiteY24867" fmla="*/ 1067765 h 4687251"/>
              <a:gd name="connsiteX24868" fmla="*/ 2664734 w 8079933"/>
              <a:gd name="connsiteY24868" fmla="*/ 1070363 h 4687251"/>
              <a:gd name="connsiteX24869" fmla="*/ 2661804 w 8079933"/>
              <a:gd name="connsiteY24869" fmla="*/ 1070363 h 4687251"/>
              <a:gd name="connsiteX24870" fmla="*/ 2655620 w 8079933"/>
              <a:gd name="connsiteY24870" fmla="*/ 1074694 h 4687251"/>
              <a:gd name="connsiteX24871" fmla="*/ 2651170 w 8079933"/>
              <a:gd name="connsiteY24871" fmla="*/ 1075343 h 4687251"/>
              <a:gd name="connsiteX24872" fmla="*/ 2648132 w 8079933"/>
              <a:gd name="connsiteY24872" fmla="*/ 1074152 h 4687251"/>
              <a:gd name="connsiteX24873" fmla="*/ 2648240 w 8079933"/>
              <a:gd name="connsiteY24873" fmla="*/ 1072420 h 4687251"/>
              <a:gd name="connsiteX24874" fmla="*/ 2654643 w 8079933"/>
              <a:gd name="connsiteY24874" fmla="*/ 1065707 h 4687251"/>
              <a:gd name="connsiteX24875" fmla="*/ 2659418 w 8079933"/>
              <a:gd name="connsiteY24875" fmla="*/ 1063108 h 4687251"/>
              <a:gd name="connsiteX24876" fmla="*/ 2660719 w 8079933"/>
              <a:gd name="connsiteY24876" fmla="*/ 1060835 h 4687251"/>
              <a:gd name="connsiteX24877" fmla="*/ 2662456 w 8079933"/>
              <a:gd name="connsiteY24877" fmla="*/ 1058886 h 4687251"/>
              <a:gd name="connsiteX24878" fmla="*/ 2662131 w 8079933"/>
              <a:gd name="connsiteY24878" fmla="*/ 1055638 h 4687251"/>
              <a:gd name="connsiteX24879" fmla="*/ 2658766 w 8079933"/>
              <a:gd name="connsiteY24879" fmla="*/ 1060618 h 4687251"/>
              <a:gd name="connsiteX24880" fmla="*/ 2649759 w 8079933"/>
              <a:gd name="connsiteY24880" fmla="*/ 1066032 h 4687251"/>
              <a:gd name="connsiteX24881" fmla="*/ 2646829 w 8079933"/>
              <a:gd name="connsiteY24881" fmla="*/ 1067547 h 4687251"/>
              <a:gd name="connsiteX24882" fmla="*/ 2644659 w 8079933"/>
              <a:gd name="connsiteY24882" fmla="*/ 1066790 h 4687251"/>
              <a:gd name="connsiteX24883" fmla="*/ 2643574 w 8079933"/>
              <a:gd name="connsiteY24883" fmla="*/ 1065057 h 4687251"/>
              <a:gd name="connsiteX24884" fmla="*/ 2644116 w 8079933"/>
              <a:gd name="connsiteY24884" fmla="*/ 1061810 h 4687251"/>
              <a:gd name="connsiteX24885" fmla="*/ 2642923 w 8079933"/>
              <a:gd name="connsiteY24885" fmla="*/ 1060185 h 4687251"/>
              <a:gd name="connsiteX24886" fmla="*/ 2640427 w 8079933"/>
              <a:gd name="connsiteY24886" fmla="*/ 1060943 h 4687251"/>
              <a:gd name="connsiteX24887" fmla="*/ 2638148 w 8079933"/>
              <a:gd name="connsiteY24887" fmla="*/ 1059535 h 4687251"/>
              <a:gd name="connsiteX24888" fmla="*/ 2639341 w 8079933"/>
              <a:gd name="connsiteY24888" fmla="*/ 1057804 h 4687251"/>
              <a:gd name="connsiteX24889" fmla="*/ 2641621 w 8079933"/>
              <a:gd name="connsiteY24889" fmla="*/ 1057045 h 4687251"/>
              <a:gd name="connsiteX24890" fmla="*/ 2641621 w 8079933"/>
              <a:gd name="connsiteY24890" fmla="*/ 1054772 h 4687251"/>
              <a:gd name="connsiteX24891" fmla="*/ 2639884 w 8079933"/>
              <a:gd name="connsiteY24891" fmla="*/ 1053473 h 4687251"/>
              <a:gd name="connsiteX24892" fmla="*/ 2637606 w 8079933"/>
              <a:gd name="connsiteY24892" fmla="*/ 1053473 h 4687251"/>
              <a:gd name="connsiteX24893" fmla="*/ 2637171 w 8079933"/>
              <a:gd name="connsiteY24893" fmla="*/ 1052282 h 4687251"/>
              <a:gd name="connsiteX24894" fmla="*/ 2637714 w 8079933"/>
              <a:gd name="connsiteY24894" fmla="*/ 1047843 h 4687251"/>
              <a:gd name="connsiteX24895" fmla="*/ 2639341 w 8079933"/>
              <a:gd name="connsiteY24895" fmla="*/ 1046868 h 4687251"/>
              <a:gd name="connsiteX24896" fmla="*/ 2639450 w 8079933"/>
              <a:gd name="connsiteY24896" fmla="*/ 1044270 h 4687251"/>
              <a:gd name="connsiteX24897" fmla="*/ 2636955 w 8079933"/>
              <a:gd name="connsiteY24897" fmla="*/ 1042862 h 4687251"/>
              <a:gd name="connsiteX24898" fmla="*/ 2635110 w 8079933"/>
              <a:gd name="connsiteY24898" fmla="*/ 1040480 h 4687251"/>
              <a:gd name="connsiteX24899" fmla="*/ 2634133 w 8079933"/>
              <a:gd name="connsiteY24899" fmla="*/ 1040696 h 4687251"/>
              <a:gd name="connsiteX24900" fmla="*/ 2634025 w 8079933"/>
              <a:gd name="connsiteY24900" fmla="*/ 1043837 h 4687251"/>
              <a:gd name="connsiteX24901" fmla="*/ 2634784 w 8079933"/>
              <a:gd name="connsiteY24901" fmla="*/ 1046327 h 4687251"/>
              <a:gd name="connsiteX24902" fmla="*/ 2631095 w 8079933"/>
              <a:gd name="connsiteY24902" fmla="*/ 1047734 h 4687251"/>
              <a:gd name="connsiteX24903" fmla="*/ 2629032 w 8079933"/>
              <a:gd name="connsiteY24903" fmla="*/ 1045785 h 4687251"/>
              <a:gd name="connsiteX24904" fmla="*/ 2626646 w 8079933"/>
              <a:gd name="connsiteY24904" fmla="*/ 1043512 h 4687251"/>
              <a:gd name="connsiteX24905" fmla="*/ 2622630 w 8079933"/>
              <a:gd name="connsiteY24905" fmla="*/ 1043620 h 4687251"/>
              <a:gd name="connsiteX24906" fmla="*/ 2627079 w 8079933"/>
              <a:gd name="connsiteY24906" fmla="*/ 1046327 h 4687251"/>
              <a:gd name="connsiteX24907" fmla="*/ 2629684 w 8079933"/>
              <a:gd name="connsiteY24907" fmla="*/ 1050766 h 4687251"/>
              <a:gd name="connsiteX24908" fmla="*/ 2630227 w 8079933"/>
              <a:gd name="connsiteY24908" fmla="*/ 1054772 h 4687251"/>
              <a:gd name="connsiteX24909" fmla="*/ 2627297 w 8079933"/>
              <a:gd name="connsiteY24909" fmla="*/ 1054014 h 4687251"/>
              <a:gd name="connsiteX24910" fmla="*/ 2626537 w 8079933"/>
              <a:gd name="connsiteY24910" fmla="*/ 1055313 h 4687251"/>
              <a:gd name="connsiteX24911" fmla="*/ 2627188 w 8079933"/>
              <a:gd name="connsiteY24911" fmla="*/ 1056504 h 4687251"/>
              <a:gd name="connsiteX24912" fmla="*/ 2623607 w 8079933"/>
              <a:gd name="connsiteY24912" fmla="*/ 1057045 h 4687251"/>
              <a:gd name="connsiteX24913" fmla="*/ 2621436 w 8079933"/>
              <a:gd name="connsiteY24913" fmla="*/ 1054447 h 4687251"/>
              <a:gd name="connsiteX24914" fmla="*/ 2620351 w 8079933"/>
              <a:gd name="connsiteY24914" fmla="*/ 1049792 h 4687251"/>
              <a:gd name="connsiteX24915" fmla="*/ 2618398 w 8079933"/>
              <a:gd name="connsiteY24915" fmla="*/ 1048384 h 4687251"/>
              <a:gd name="connsiteX24916" fmla="*/ 2617096 w 8079933"/>
              <a:gd name="connsiteY24916" fmla="*/ 1049683 h 4687251"/>
              <a:gd name="connsiteX24917" fmla="*/ 2619591 w 8079933"/>
              <a:gd name="connsiteY24917" fmla="*/ 1052173 h 4687251"/>
              <a:gd name="connsiteX24918" fmla="*/ 2620026 w 8079933"/>
              <a:gd name="connsiteY24918" fmla="*/ 1055313 h 4687251"/>
              <a:gd name="connsiteX24919" fmla="*/ 2618615 w 8079933"/>
              <a:gd name="connsiteY24919" fmla="*/ 1058669 h 4687251"/>
              <a:gd name="connsiteX24920" fmla="*/ 2621545 w 8079933"/>
              <a:gd name="connsiteY24920" fmla="*/ 1059319 h 4687251"/>
              <a:gd name="connsiteX24921" fmla="*/ 2624475 w 8079933"/>
              <a:gd name="connsiteY24921" fmla="*/ 1062892 h 4687251"/>
              <a:gd name="connsiteX24922" fmla="*/ 2625994 w 8079933"/>
              <a:gd name="connsiteY24922" fmla="*/ 1066898 h 4687251"/>
              <a:gd name="connsiteX24923" fmla="*/ 2625560 w 8079933"/>
              <a:gd name="connsiteY24923" fmla="*/ 1069930 h 4687251"/>
              <a:gd name="connsiteX24924" fmla="*/ 2627514 w 8079933"/>
              <a:gd name="connsiteY24924" fmla="*/ 1070471 h 4687251"/>
              <a:gd name="connsiteX24925" fmla="*/ 2627079 w 8079933"/>
              <a:gd name="connsiteY24925" fmla="*/ 1072528 h 4687251"/>
              <a:gd name="connsiteX24926" fmla="*/ 2624475 w 8079933"/>
              <a:gd name="connsiteY24926" fmla="*/ 1073394 h 4687251"/>
              <a:gd name="connsiteX24927" fmla="*/ 2619591 w 8079933"/>
              <a:gd name="connsiteY24927" fmla="*/ 1072853 h 4687251"/>
              <a:gd name="connsiteX24928" fmla="*/ 2617530 w 8079933"/>
              <a:gd name="connsiteY24928" fmla="*/ 1070255 h 4687251"/>
              <a:gd name="connsiteX24929" fmla="*/ 2616228 w 8079933"/>
              <a:gd name="connsiteY24929" fmla="*/ 1074369 h 4687251"/>
              <a:gd name="connsiteX24930" fmla="*/ 2614708 w 8079933"/>
              <a:gd name="connsiteY24930" fmla="*/ 1074369 h 4687251"/>
              <a:gd name="connsiteX24931" fmla="*/ 2610259 w 8079933"/>
              <a:gd name="connsiteY24931" fmla="*/ 1069280 h 4687251"/>
              <a:gd name="connsiteX24932" fmla="*/ 2609500 w 8079933"/>
              <a:gd name="connsiteY24932" fmla="*/ 1066140 h 4687251"/>
              <a:gd name="connsiteX24933" fmla="*/ 2611127 w 8079933"/>
              <a:gd name="connsiteY24933" fmla="*/ 1063433 h 4687251"/>
              <a:gd name="connsiteX24934" fmla="*/ 2610259 w 8079933"/>
              <a:gd name="connsiteY24934" fmla="*/ 1060618 h 4687251"/>
              <a:gd name="connsiteX24935" fmla="*/ 2606461 w 8079933"/>
              <a:gd name="connsiteY24935" fmla="*/ 1058237 h 4687251"/>
              <a:gd name="connsiteX24936" fmla="*/ 2602663 w 8079933"/>
              <a:gd name="connsiteY24936" fmla="*/ 1058453 h 4687251"/>
              <a:gd name="connsiteX24937" fmla="*/ 2602012 w 8079933"/>
              <a:gd name="connsiteY24937" fmla="*/ 1055963 h 4687251"/>
              <a:gd name="connsiteX24938" fmla="*/ 2600276 w 8079933"/>
              <a:gd name="connsiteY24938" fmla="*/ 1052715 h 4687251"/>
              <a:gd name="connsiteX24939" fmla="*/ 2597888 w 8079933"/>
              <a:gd name="connsiteY24939" fmla="*/ 1054447 h 4687251"/>
              <a:gd name="connsiteX24940" fmla="*/ 2593765 w 8079933"/>
              <a:gd name="connsiteY24940" fmla="*/ 1055529 h 4687251"/>
              <a:gd name="connsiteX24941" fmla="*/ 2588447 w 8079933"/>
              <a:gd name="connsiteY24941" fmla="*/ 1055096 h 4687251"/>
              <a:gd name="connsiteX24942" fmla="*/ 2590509 w 8079933"/>
              <a:gd name="connsiteY24942" fmla="*/ 1057587 h 4687251"/>
              <a:gd name="connsiteX24943" fmla="*/ 2596261 w 8079933"/>
              <a:gd name="connsiteY24943" fmla="*/ 1058020 h 4687251"/>
              <a:gd name="connsiteX24944" fmla="*/ 2599841 w 8079933"/>
              <a:gd name="connsiteY24944" fmla="*/ 1059535 h 4687251"/>
              <a:gd name="connsiteX24945" fmla="*/ 2604834 w 8079933"/>
              <a:gd name="connsiteY24945" fmla="*/ 1061051 h 4687251"/>
              <a:gd name="connsiteX24946" fmla="*/ 2604834 w 8079933"/>
              <a:gd name="connsiteY24946" fmla="*/ 1065816 h 4687251"/>
              <a:gd name="connsiteX24947" fmla="*/ 2602229 w 8079933"/>
              <a:gd name="connsiteY24947" fmla="*/ 1069063 h 4687251"/>
              <a:gd name="connsiteX24948" fmla="*/ 2602338 w 8079933"/>
              <a:gd name="connsiteY24948" fmla="*/ 1071770 h 4687251"/>
              <a:gd name="connsiteX24949" fmla="*/ 2604942 w 8079933"/>
              <a:gd name="connsiteY24949" fmla="*/ 1071229 h 4687251"/>
              <a:gd name="connsiteX24950" fmla="*/ 2606461 w 8079933"/>
              <a:gd name="connsiteY24950" fmla="*/ 1073394 h 4687251"/>
              <a:gd name="connsiteX24951" fmla="*/ 2604725 w 8079933"/>
              <a:gd name="connsiteY24951" fmla="*/ 1075885 h 4687251"/>
              <a:gd name="connsiteX24952" fmla="*/ 2606679 w 8079933"/>
              <a:gd name="connsiteY24952" fmla="*/ 1076751 h 4687251"/>
              <a:gd name="connsiteX24953" fmla="*/ 2610585 w 8079933"/>
              <a:gd name="connsiteY24953" fmla="*/ 1076751 h 4687251"/>
              <a:gd name="connsiteX24954" fmla="*/ 2610802 w 8079933"/>
              <a:gd name="connsiteY24954" fmla="*/ 1078808 h 4687251"/>
              <a:gd name="connsiteX24955" fmla="*/ 2608197 w 8079933"/>
              <a:gd name="connsiteY24955" fmla="*/ 1082922 h 4687251"/>
              <a:gd name="connsiteX24956" fmla="*/ 2601904 w 8079933"/>
              <a:gd name="connsiteY24956" fmla="*/ 1088336 h 4687251"/>
              <a:gd name="connsiteX24957" fmla="*/ 2597997 w 8079933"/>
              <a:gd name="connsiteY24957" fmla="*/ 1091584 h 4687251"/>
              <a:gd name="connsiteX24958" fmla="*/ 2606461 w 8079933"/>
              <a:gd name="connsiteY24958" fmla="*/ 1089526 h 4687251"/>
              <a:gd name="connsiteX24959" fmla="*/ 2609065 w 8079933"/>
              <a:gd name="connsiteY24959" fmla="*/ 1086495 h 4687251"/>
              <a:gd name="connsiteX24960" fmla="*/ 2609934 w 8079933"/>
              <a:gd name="connsiteY24960" fmla="*/ 1084438 h 4687251"/>
              <a:gd name="connsiteX24961" fmla="*/ 2616553 w 8079933"/>
              <a:gd name="connsiteY24961" fmla="*/ 1084546 h 4687251"/>
              <a:gd name="connsiteX24962" fmla="*/ 2618506 w 8079933"/>
              <a:gd name="connsiteY24962" fmla="*/ 1086712 h 4687251"/>
              <a:gd name="connsiteX24963" fmla="*/ 2618506 w 8079933"/>
              <a:gd name="connsiteY24963" fmla="*/ 1088336 h 4687251"/>
              <a:gd name="connsiteX24964" fmla="*/ 2614383 w 8079933"/>
              <a:gd name="connsiteY24964" fmla="*/ 1090501 h 4687251"/>
              <a:gd name="connsiteX24965" fmla="*/ 2612321 w 8079933"/>
              <a:gd name="connsiteY24965" fmla="*/ 1093424 h 4687251"/>
              <a:gd name="connsiteX24966" fmla="*/ 2614057 w 8079933"/>
              <a:gd name="connsiteY24966" fmla="*/ 1094724 h 4687251"/>
              <a:gd name="connsiteX24967" fmla="*/ 2618073 w 8079933"/>
              <a:gd name="connsiteY24967" fmla="*/ 1095265 h 4687251"/>
              <a:gd name="connsiteX24968" fmla="*/ 2620677 w 8079933"/>
              <a:gd name="connsiteY24968" fmla="*/ 1097863 h 4687251"/>
              <a:gd name="connsiteX24969" fmla="*/ 2618398 w 8079933"/>
              <a:gd name="connsiteY24969" fmla="*/ 1099271 h 4687251"/>
              <a:gd name="connsiteX24970" fmla="*/ 2614166 w 8079933"/>
              <a:gd name="connsiteY24970" fmla="*/ 1099812 h 4687251"/>
              <a:gd name="connsiteX24971" fmla="*/ 2612864 w 8079933"/>
              <a:gd name="connsiteY24971" fmla="*/ 1101761 h 4687251"/>
              <a:gd name="connsiteX24972" fmla="*/ 2615143 w 8079933"/>
              <a:gd name="connsiteY24972" fmla="*/ 1102519 h 4687251"/>
              <a:gd name="connsiteX24973" fmla="*/ 2615902 w 8079933"/>
              <a:gd name="connsiteY24973" fmla="*/ 1105334 h 4687251"/>
              <a:gd name="connsiteX24974" fmla="*/ 2615360 w 8079933"/>
              <a:gd name="connsiteY24974" fmla="*/ 1105875 h 4687251"/>
              <a:gd name="connsiteX24975" fmla="*/ 2615793 w 8079933"/>
              <a:gd name="connsiteY24975" fmla="*/ 1107391 h 4687251"/>
              <a:gd name="connsiteX24976" fmla="*/ 2617530 w 8079933"/>
              <a:gd name="connsiteY24976" fmla="*/ 1107391 h 4687251"/>
              <a:gd name="connsiteX24977" fmla="*/ 2616770 w 8079933"/>
              <a:gd name="connsiteY24977" fmla="*/ 1111181 h 4687251"/>
              <a:gd name="connsiteX24978" fmla="*/ 2618723 w 8079933"/>
              <a:gd name="connsiteY24978" fmla="*/ 1111614 h 4687251"/>
              <a:gd name="connsiteX24979" fmla="*/ 2619591 w 8079933"/>
              <a:gd name="connsiteY24979" fmla="*/ 1114862 h 4687251"/>
              <a:gd name="connsiteX24980" fmla="*/ 2620134 w 8079933"/>
              <a:gd name="connsiteY24980" fmla="*/ 1120601 h 4687251"/>
              <a:gd name="connsiteX24981" fmla="*/ 2621219 w 8079933"/>
              <a:gd name="connsiteY24981" fmla="*/ 1121358 h 4687251"/>
              <a:gd name="connsiteX24982" fmla="*/ 2622522 w 8079933"/>
              <a:gd name="connsiteY24982" fmla="*/ 1118760 h 4687251"/>
              <a:gd name="connsiteX24983" fmla="*/ 2622956 w 8079933"/>
              <a:gd name="connsiteY24983" fmla="*/ 1114320 h 4687251"/>
              <a:gd name="connsiteX24984" fmla="*/ 2625017 w 8079933"/>
              <a:gd name="connsiteY24984" fmla="*/ 1113021 h 4687251"/>
              <a:gd name="connsiteX24985" fmla="*/ 2627730 w 8079933"/>
              <a:gd name="connsiteY24985" fmla="*/ 1115512 h 4687251"/>
              <a:gd name="connsiteX24986" fmla="*/ 2628382 w 8079933"/>
              <a:gd name="connsiteY24986" fmla="*/ 1120383 h 4687251"/>
              <a:gd name="connsiteX24987" fmla="*/ 2630227 w 8079933"/>
              <a:gd name="connsiteY24987" fmla="*/ 1122549 h 4687251"/>
              <a:gd name="connsiteX24988" fmla="*/ 2629250 w 8079933"/>
              <a:gd name="connsiteY24988" fmla="*/ 1124173 h 4687251"/>
              <a:gd name="connsiteX24989" fmla="*/ 2625777 w 8079933"/>
              <a:gd name="connsiteY24989" fmla="*/ 1126338 h 4687251"/>
              <a:gd name="connsiteX24990" fmla="*/ 2626537 w 8079933"/>
              <a:gd name="connsiteY24990" fmla="*/ 1128071 h 4687251"/>
              <a:gd name="connsiteX24991" fmla="*/ 2632288 w 8079933"/>
              <a:gd name="connsiteY24991" fmla="*/ 1127205 h 4687251"/>
              <a:gd name="connsiteX24992" fmla="*/ 2633590 w 8079933"/>
              <a:gd name="connsiteY24992" fmla="*/ 1126122 h 4687251"/>
              <a:gd name="connsiteX24993" fmla="*/ 2633916 w 8079933"/>
              <a:gd name="connsiteY24993" fmla="*/ 1129154 h 4687251"/>
              <a:gd name="connsiteX24994" fmla="*/ 2635978 w 8079933"/>
              <a:gd name="connsiteY24994" fmla="*/ 1126014 h 4687251"/>
              <a:gd name="connsiteX24995" fmla="*/ 2636086 w 8079933"/>
              <a:gd name="connsiteY24995" fmla="*/ 1123524 h 4687251"/>
              <a:gd name="connsiteX24996" fmla="*/ 2638691 w 8079933"/>
              <a:gd name="connsiteY24996" fmla="*/ 1123848 h 4687251"/>
              <a:gd name="connsiteX24997" fmla="*/ 2640753 w 8079933"/>
              <a:gd name="connsiteY24997" fmla="*/ 1127313 h 4687251"/>
              <a:gd name="connsiteX24998" fmla="*/ 2639884 w 8079933"/>
              <a:gd name="connsiteY24998" fmla="*/ 1131319 h 4687251"/>
              <a:gd name="connsiteX24999" fmla="*/ 2636846 w 8079933"/>
              <a:gd name="connsiteY24999" fmla="*/ 1134350 h 4687251"/>
              <a:gd name="connsiteX25000" fmla="*/ 2636195 w 8079933"/>
              <a:gd name="connsiteY25000" fmla="*/ 1137058 h 4687251"/>
              <a:gd name="connsiteX25001" fmla="*/ 2635218 w 8079933"/>
              <a:gd name="connsiteY25001" fmla="*/ 1138465 h 4687251"/>
              <a:gd name="connsiteX25002" fmla="*/ 2637497 w 8079933"/>
              <a:gd name="connsiteY25002" fmla="*/ 1140522 h 4687251"/>
              <a:gd name="connsiteX25003" fmla="*/ 2643140 w 8079933"/>
              <a:gd name="connsiteY25003" fmla="*/ 1139981 h 4687251"/>
              <a:gd name="connsiteX25004" fmla="*/ 2645961 w 8079933"/>
              <a:gd name="connsiteY25004" fmla="*/ 1138573 h 4687251"/>
              <a:gd name="connsiteX25005" fmla="*/ 2647915 w 8079933"/>
              <a:gd name="connsiteY25005" fmla="*/ 1140414 h 4687251"/>
              <a:gd name="connsiteX25006" fmla="*/ 2644225 w 8079933"/>
              <a:gd name="connsiteY25006" fmla="*/ 1143121 h 4687251"/>
              <a:gd name="connsiteX25007" fmla="*/ 2643248 w 8079933"/>
              <a:gd name="connsiteY25007" fmla="*/ 1144744 h 4687251"/>
              <a:gd name="connsiteX25008" fmla="*/ 2638148 w 8079933"/>
              <a:gd name="connsiteY25008" fmla="*/ 1145611 h 4687251"/>
              <a:gd name="connsiteX25009" fmla="*/ 2640969 w 8079933"/>
              <a:gd name="connsiteY25009" fmla="*/ 1148859 h 4687251"/>
              <a:gd name="connsiteX25010" fmla="*/ 2643682 w 8079933"/>
              <a:gd name="connsiteY25010" fmla="*/ 1153839 h 4687251"/>
              <a:gd name="connsiteX25011" fmla="*/ 2642706 w 8079933"/>
              <a:gd name="connsiteY25011" fmla="*/ 1157304 h 4687251"/>
              <a:gd name="connsiteX25012" fmla="*/ 2644876 w 8079933"/>
              <a:gd name="connsiteY25012" fmla="*/ 1157845 h 4687251"/>
              <a:gd name="connsiteX25013" fmla="*/ 2645744 w 8079933"/>
              <a:gd name="connsiteY25013" fmla="*/ 1163692 h 4687251"/>
              <a:gd name="connsiteX25014" fmla="*/ 2650953 w 8079933"/>
              <a:gd name="connsiteY25014" fmla="*/ 1171812 h 4687251"/>
              <a:gd name="connsiteX25015" fmla="*/ 2652472 w 8079933"/>
              <a:gd name="connsiteY25015" fmla="*/ 1173111 h 4687251"/>
              <a:gd name="connsiteX25016" fmla="*/ 2649434 w 8079933"/>
              <a:gd name="connsiteY25016" fmla="*/ 1174844 h 4687251"/>
              <a:gd name="connsiteX25017" fmla="*/ 2648891 w 8079933"/>
              <a:gd name="connsiteY25017" fmla="*/ 1181448 h 4687251"/>
              <a:gd name="connsiteX25018" fmla="*/ 2646612 w 8079933"/>
              <a:gd name="connsiteY25018" fmla="*/ 1186212 h 4687251"/>
              <a:gd name="connsiteX25019" fmla="*/ 2647697 w 8079933"/>
              <a:gd name="connsiteY25019" fmla="*/ 1191193 h 4687251"/>
              <a:gd name="connsiteX25020" fmla="*/ 2646287 w 8079933"/>
              <a:gd name="connsiteY25020" fmla="*/ 1192925 h 4687251"/>
              <a:gd name="connsiteX25021" fmla="*/ 2640210 w 8079933"/>
              <a:gd name="connsiteY25021" fmla="*/ 1186104 h 4687251"/>
              <a:gd name="connsiteX25022" fmla="*/ 2638908 w 8079933"/>
              <a:gd name="connsiteY25022" fmla="*/ 1180690 h 4687251"/>
              <a:gd name="connsiteX25023" fmla="*/ 2639559 w 8079933"/>
              <a:gd name="connsiteY25023" fmla="*/ 1175927 h 4687251"/>
              <a:gd name="connsiteX25024" fmla="*/ 2638040 w 8079933"/>
              <a:gd name="connsiteY25024" fmla="*/ 1169213 h 4687251"/>
              <a:gd name="connsiteX25025" fmla="*/ 2637497 w 8079933"/>
              <a:gd name="connsiteY25025" fmla="*/ 1175168 h 4687251"/>
              <a:gd name="connsiteX25026" fmla="*/ 2636629 w 8079933"/>
              <a:gd name="connsiteY25026" fmla="*/ 1181882 h 4687251"/>
              <a:gd name="connsiteX25027" fmla="*/ 2639559 w 8079933"/>
              <a:gd name="connsiteY25027" fmla="*/ 1189785 h 4687251"/>
              <a:gd name="connsiteX25028" fmla="*/ 2639016 w 8079933"/>
              <a:gd name="connsiteY25028" fmla="*/ 1197256 h 4687251"/>
              <a:gd name="connsiteX25029" fmla="*/ 2637497 w 8079933"/>
              <a:gd name="connsiteY25029" fmla="*/ 1201045 h 4687251"/>
              <a:gd name="connsiteX25030" fmla="*/ 2640101 w 8079933"/>
              <a:gd name="connsiteY25030" fmla="*/ 1205484 h 4687251"/>
              <a:gd name="connsiteX25031" fmla="*/ 2638691 w 8079933"/>
              <a:gd name="connsiteY25031" fmla="*/ 1207000 h 4687251"/>
              <a:gd name="connsiteX25032" fmla="*/ 2634567 w 8079933"/>
              <a:gd name="connsiteY25032" fmla="*/ 1206134 h 4687251"/>
              <a:gd name="connsiteX25033" fmla="*/ 2632505 w 8079933"/>
              <a:gd name="connsiteY25033" fmla="*/ 1202669 h 4687251"/>
              <a:gd name="connsiteX25034" fmla="*/ 2628707 w 8079933"/>
              <a:gd name="connsiteY25034" fmla="*/ 1202669 h 4687251"/>
              <a:gd name="connsiteX25035" fmla="*/ 2631312 w 8079933"/>
              <a:gd name="connsiteY25035" fmla="*/ 1211439 h 4687251"/>
              <a:gd name="connsiteX25036" fmla="*/ 2630986 w 8079933"/>
              <a:gd name="connsiteY25036" fmla="*/ 1217178 h 4687251"/>
              <a:gd name="connsiteX25037" fmla="*/ 2632288 w 8079933"/>
              <a:gd name="connsiteY25037" fmla="*/ 1218585 h 4687251"/>
              <a:gd name="connsiteX25038" fmla="*/ 2632288 w 8079933"/>
              <a:gd name="connsiteY25038" fmla="*/ 1221617 h 4687251"/>
              <a:gd name="connsiteX25039" fmla="*/ 2628056 w 8079933"/>
              <a:gd name="connsiteY25039" fmla="*/ 1221075 h 4687251"/>
              <a:gd name="connsiteX25040" fmla="*/ 2625452 w 8079933"/>
              <a:gd name="connsiteY25040" fmla="*/ 1218152 h 4687251"/>
              <a:gd name="connsiteX25041" fmla="*/ 2623716 w 8079933"/>
              <a:gd name="connsiteY25041" fmla="*/ 1210790 h 4687251"/>
              <a:gd name="connsiteX25042" fmla="*/ 2625234 w 8079933"/>
              <a:gd name="connsiteY25042" fmla="*/ 1208624 h 4687251"/>
              <a:gd name="connsiteX25043" fmla="*/ 2625234 w 8079933"/>
              <a:gd name="connsiteY25043" fmla="*/ 1203968 h 4687251"/>
              <a:gd name="connsiteX25044" fmla="*/ 2623173 w 8079933"/>
              <a:gd name="connsiteY25044" fmla="*/ 1206459 h 4687251"/>
              <a:gd name="connsiteX25045" fmla="*/ 2619917 w 8079933"/>
              <a:gd name="connsiteY25045" fmla="*/ 1207000 h 4687251"/>
              <a:gd name="connsiteX25046" fmla="*/ 2617964 w 8079933"/>
              <a:gd name="connsiteY25046" fmla="*/ 1204294 h 4687251"/>
              <a:gd name="connsiteX25047" fmla="*/ 2617964 w 8079933"/>
              <a:gd name="connsiteY25047" fmla="*/ 1197364 h 4687251"/>
              <a:gd name="connsiteX25048" fmla="*/ 2615468 w 8079933"/>
              <a:gd name="connsiteY25048" fmla="*/ 1198880 h 4687251"/>
              <a:gd name="connsiteX25049" fmla="*/ 2615143 w 8079933"/>
              <a:gd name="connsiteY25049" fmla="*/ 1202345 h 4687251"/>
              <a:gd name="connsiteX25050" fmla="*/ 2614057 w 8079933"/>
              <a:gd name="connsiteY25050" fmla="*/ 1200829 h 4687251"/>
              <a:gd name="connsiteX25051" fmla="*/ 2614275 w 8079933"/>
              <a:gd name="connsiteY25051" fmla="*/ 1197905 h 4687251"/>
              <a:gd name="connsiteX25052" fmla="*/ 2612647 w 8079933"/>
              <a:gd name="connsiteY25052" fmla="*/ 1193574 h 4687251"/>
              <a:gd name="connsiteX25053" fmla="*/ 2609717 w 8079933"/>
              <a:gd name="connsiteY25053" fmla="*/ 1192925 h 4687251"/>
              <a:gd name="connsiteX25054" fmla="*/ 2609717 w 8079933"/>
              <a:gd name="connsiteY25054" fmla="*/ 1194766 h 4687251"/>
              <a:gd name="connsiteX25055" fmla="*/ 2611453 w 8079933"/>
              <a:gd name="connsiteY25055" fmla="*/ 1197039 h 4687251"/>
              <a:gd name="connsiteX25056" fmla="*/ 2610150 w 8079933"/>
              <a:gd name="connsiteY25056" fmla="*/ 1199746 h 4687251"/>
              <a:gd name="connsiteX25057" fmla="*/ 2607112 w 8079933"/>
              <a:gd name="connsiteY25057" fmla="*/ 1197689 h 4687251"/>
              <a:gd name="connsiteX25058" fmla="*/ 2604942 w 8079933"/>
              <a:gd name="connsiteY25058" fmla="*/ 1197039 h 4687251"/>
              <a:gd name="connsiteX25059" fmla="*/ 2604399 w 8079933"/>
              <a:gd name="connsiteY25059" fmla="*/ 1193250 h 4687251"/>
              <a:gd name="connsiteX25060" fmla="*/ 2604942 w 8079933"/>
              <a:gd name="connsiteY25060" fmla="*/ 1189135 h 4687251"/>
              <a:gd name="connsiteX25061" fmla="*/ 2602338 w 8079933"/>
              <a:gd name="connsiteY25061" fmla="*/ 1181882 h 4687251"/>
              <a:gd name="connsiteX25062" fmla="*/ 2602338 w 8079933"/>
              <a:gd name="connsiteY25062" fmla="*/ 1178958 h 4687251"/>
              <a:gd name="connsiteX25063" fmla="*/ 2601144 w 8079933"/>
              <a:gd name="connsiteY25063" fmla="*/ 1183180 h 4687251"/>
              <a:gd name="connsiteX25064" fmla="*/ 2601469 w 8079933"/>
              <a:gd name="connsiteY25064" fmla="*/ 1190218 h 4687251"/>
              <a:gd name="connsiteX25065" fmla="*/ 2602663 w 8079933"/>
              <a:gd name="connsiteY25065" fmla="*/ 1194657 h 4687251"/>
              <a:gd name="connsiteX25066" fmla="*/ 2600059 w 8079933"/>
              <a:gd name="connsiteY25066" fmla="*/ 1197364 h 4687251"/>
              <a:gd name="connsiteX25067" fmla="*/ 2596803 w 8079933"/>
              <a:gd name="connsiteY25067" fmla="*/ 1189677 h 4687251"/>
              <a:gd name="connsiteX25068" fmla="*/ 2593548 w 8079933"/>
              <a:gd name="connsiteY25068" fmla="*/ 1186429 h 4687251"/>
              <a:gd name="connsiteX25069" fmla="*/ 2593548 w 8079933"/>
              <a:gd name="connsiteY25069" fmla="*/ 1184155 h 4687251"/>
              <a:gd name="connsiteX25070" fmla="*/ 2590292 w 8079933"/>
              <a:gd name="connsiteY25070" fmla="*/ 1183505 h 4687251"/>
              <a:gd name="connsiteX25071" fmla="*/ 2588014 w 8079933"/>
              <a:gd name="connsiteY25071" fmla="*/ 1176035 h 4687251"/>
              <a:gd name="connsiteX25072" fmla="*/ 2585952 w 8079933"/>
              <a:gd name="connsiteY25072" fmla="*/ 1174194 h 4687251"/>
              <a:gd name="connsiteX25073" fmla="*/ 2585952 w 8079933"/>
              <a:gd name="connsiteY25073" fmla="*/ 1171812 h 4687251"/>
              <a:gd name="connsiteX25074" fmla="*/ 2583889 w 8079933"/>
              <a:gd name="connsiteY25074" fmla="*/ 1168348 h 4687251"/>
              <a:gd name="connsiteX25075" fmla="*/ 2581503 w 8079933"/>
              <a:gd name="connsiteY25075" fmla="*/ 1169755 h 4687251"/>
              <a:gd name="connsiteX25076" fmla="*/ 2581177 w 8079933"/>
              <a:gd name="connsiteY25076" fmla="*/ 1171812 h 4687251"/>
              <a:gd name="connsiteX25077" fmla="*/ 2583347 w 8079933"/>
              <a:gd name="connsiteY25077" fmla="*/ 1177334 h 4687251"/>
              <a:gd name="connsiteX25078" fmla="*/ 2583781 w 8079933"/>
              <a:gd name="connsiteY25078" fmla="*/ 1181015 h 4687251"/>
              <a:gd name="connsiteX25079" fmla="*/ 2581719 w 8079933"/>
              <a:gd name="connsiteY25079" fmla="*/ 1178958 h 4687251"/>
              <a:gd name="connsiteX25080" fmla="*/ 2581286 w 8079933"/>
              <a:gd name="connsiteY25080" fmla="*/ 1175927 h 4687251"/>
              <a:gd name="connsiteX25081" fmla="*/ 2578898 w 8079933"/>
              <a:gd name="connsiteY25081" fmla="*/ 1173870 h 4687251"/>
              <a:gd name="connsiteX25082" fmla="*/ 2573580 w 8079933"/>
              <a:gd name="connsiteY25082" fmla="*/ 1171271 h 4687251"/>
              <a:gd name="connsiteX25083" fmla="*/ 2570434 w 8079933"/>
              <a:gd name="connsiteY25083" fmla="*/ 1165316 h 4687251"/>
              <a:gd name="connsiteX25084" fmla="*/ 2570108 w 8079933"/>
              <a:gd name="connsiteY25084" fmla="*/ 1160768 h 4687251"/>
              <a:gd name="connsiteX25085" fmla="*/ 2565442 w 8079933"/>
              <a:gd name="connsiteY25085" fmla="*/ 1159686 h 4687251"/>
              <a:gd name="connsiteX25086" fmla="*/ 2563598 w 8079933"/>
              <a:gd name="connsiteY25086" fmla="*/ 1162826 h 4687251"/>
              <a:gd name="connsiteX25087" fmla="*/ 2560450 w 8079933"/>
              <a:gd name="connsiteY25087" fmla="*/ 1161093 h 4687251"/>
              <a:gd name="connsiteX25088" fmla="*/ 2559908 w 8079933"/>
              <a:gd name="connsiteY25088" fmla="*/ 1165099 h 4687251"/>
              <a:gd name="connsiteX25089" fmla="*/ 2561210 w 8079933"/>
              <a:gd name="connsiteY25089" fmla="*/ 1170946 h 4687251"/>
              <a:gd name="connsiteX25090" fmla="*/ 2567721 w 8079933"/>
              <a:gd name="connsiteY25090" fmla="*/ 1176468 h 4687251"/>
              <a:gd name="connsiteX25091" fmla="*/ 2567829 w 8079933"/>
              <a:gd name="connsiteY25091" fmla="*/ 1178633 h 4687251"/>
              <a:gd name="connsiteX25092" fmla="*/ 2568372 w 8079933"/>
              <a:gd name="connsiteY25092" fmla="*/ 1181882 h 4687251"/>
              <a:gd name="connsiteX25093" fmla="*/ 2568914 w 8079933"/>
              <a:gd name="connsiteY25093" fmla="*/ 1187619 h 4687251"/>
              <a:gd name="connsiteX25094" fmla="*/ 2570868 w 8079933"/>
              <a:gd name="connsiteY25094" fmla="*/ 1187295 h 4687251"/>
              <a:gd name="connsiteX25095" fmla="*/ 2576293 w 8079933"/>
              <a:gd name="connsiteY25095" fmla="*/ 1188270 h 4687251"/>
              <a:gd name="connsiteX25096" fmla="*/ 2579223 w 8079933"/>
              <a:gd name="connsiteY25096" fmla="*/ 1192276 h 4687251"/>
              <a:gd name="connsiteX25097" fmla="*/ 2578030 w 8079933"/>
              <a:gd name="connsiteY25097" fmla="*/ 1194766 h 4687251"/>
              <a:gd name="connsiteX25098" fmla="*/ 2580091 w 8079933"/>
              <a:gd name="connsiteY25098" fmla="*/ 1194441 h 4687251"/>
              <a:gd name="connsiteX25099" fmla="*/ 2583239 w 8079933"/>
              <a:gd name="connsiteY25099" fmla="*/ 1195199 h 4687251"/>
              <a:gd name="connsiteX25100" fmla="*/ 2580634 w 8079933"/>
              <a:gd name="connsiteY25100" fmla="*/ 1198555 h 4687251"/>
              <a:gd name="connsiteX25101" fmla="*/ 2584975 w 8079933"/>
              <a:gd name="connsiteY25101" fmla="*/ 1198772 h 4687251"/>
              <a:gd name="connsiteX25102" fmla="*/ 2586494 w 8079933"/>
              <a:gd name="connsiteY25102" fmla="*/ 1201803 h 4687251"/>
              <a:gd name="connsiteX25103" fmla="*/ 2588882 w 8079933"/>
              <a:gd name="connsiteY25103" fmla="*/ 1206351 h 4687251"/>
              <a:gd name="connsiteX25104" fmla="*/ 2588014 w 8079933"/>
              <a:gd name="connsiteY25104" fmla="*/ 1210249 h 4687251"/>
              <a:gd name="connsiteX25105" fmla="*/ 2591812 w 8079933"/>
              <a:gd name="connsiteY25105" fmla="*/ 1209815 h 4687251"/>
              <a:gd name="connsiteX25106" fmla="*/ 2594307 w 8079933"/>
              <a:gd name="connsiteY25106" fmla="*/ 1210790 h 4687251"/>
              <a:gd name="connsiteX25107" fmla="*/ 2595501 w 8079933"/>
              <a:gd name="connsiteY25107" fmla="*/ 1216204 h 4687251"/>
              <a:gd name="connsiteX25108" fmla="*/ 2591703 w 8079933"/>
              <a:gd name="connsiteY25108" fmla="*/ 1220426 h 4687251"/>
              <a:gd name="connsiteX25109" fmla="*/ 2594199 w 8079933"/>
              <a:gd name="connsiteY25109" fmla="*/ 1220318 h 4687251"/>
              <a:gd name="connsiteX25110" fmla="*/ 2595393 w 8079933"/>
              <a:gd name="connsiteY25110" fmla="*/ 1223349 h 4687251"/>
              <a:gd name="connsiteX25111" fmla="*/ 2595610 w 8079933"/>
              <a:gd name="connsiteY25111" fmla="*/ 1225623 h 4687251"/>
              <a:gd name="connsiteX25112" fmla="*/ 2599516 w 8079933"/>
              <a:gd name="connsiteY25112" fmla="*/ 1221833 h 4687251"/>
              <a:gd name="connsiteX25113" fmla="*/ 2600601 w 8079933"/>
              <a:gd name="connsiteY25113" fmla="*/ 1222916 h 4687251"/>
              <a:gd name="connsiteX25114" fmla="*/ 2600059 w 8079933"/>
              <a:gd name="connsiteY25114" fmla="*/ 1227896 h 4687251"/>
              <a:gd name="connsiteX25115" fmla="*/ 2601469 w 8079933"/>
              <a:gd name="connsiteY25115" fmla="*/ 1229737 h 4687251"/>
              <a:gd name="connsiteX25116" fmla="*/ 2603314 w 8079933"/>
              <a:gd name="connsiteY25116" fmla="*/ 1228546 h 4687251"/>
              <a:gd name="connsiteX25117" fmla="*/ 2604725 w 8079933"/>
              <a:gd name="connsiteY25117" fmla="*/ 1231253 h 4687251"/>
              <a:gd name="connsiteX25118" fmla="*/ 2603423 w 8079933"/>
              <a:gd name="connsiteY25118" fmla="*/ 1234176 h 4687251"/>
              <a:gd name="connsiteX25119" fmla="*/ 2599841 w 8079933"/>
              <a:gd name="connsiteY25119" fmla="*/ 1233310 h 4687251"/>
              <a:gd name="connsiteX25120" fmla="*/ 2597997 w 8079933"/>
              <a:gd name="connsiteY25120" fmla="*/ 1235367 h 4687251"/>
              <a:gd name="connsiteX25121" fmla="*/ 2599733 w 8079933"/>
              <a:gd name="connsiteY25121" fmla="*/ 1238398 h 4687251"/>
              <a:gd name="connsiteX25122" fmla="*/ 2602663 w 8079933"/>
              <a:gd name="connsiteY25122" fmla="*/ 1241647 h 4687251"/>
              <a:gd name="connsiteX25123" fmla="*/ 2602446 w 8079933"/>
              <a:gd name="connsiteY25123" fmla="*/ 1244353 h 4687251"/>
              <a:gd name="connsiteX25124" fmla="*/ 2601469 w 8079933"/>
              <a:gd name="connsiteY25124" fmla="*/ 1245545 h 4687251"/>
              <a:gd name="connsiteX25125" fmla="*/ 2597237 w 8079933"/>
              <a:gd name="connsiteY25125" fmla="*/ 1245545 h 4687251"/>
              <a:gd name="connsiteX25126" fmla="*/ 2593005 w 8079933"/>
              <a:gd name="connsiteY25126" fmla="*/ 1242946 h 4687251"/>
              <a:gd name="connsiteX25127" fmla="*/ 2585734 w 8079933"/>
              <a:gd name="connsiteY25127" fmla="*/ 1240455 h 4687251"/>
              <a:gd name="connsiteX25128" fmla="*/ 2582371 w 8079933"/>
              <a:gd name="connsiteY25128" fmla="*/ 1237857 h 4687251"/>
              <a:gd name="connsiteX25129" fmla="*/ 2579115 w 8079933"/>
              <a:gd name="connsiteY25129" fmla="*/ 1237316 h 4687251"/>
              <a:gd name="connsiteX25130" fmla="*/ 2572604 w 8079933"/>
              <a:gd name="connsiteY25130" fmla="*/ 1231686 h 4687251"/>
              <a:gd name="connsiteX25131" fmla="*/ 2571410 w 8079933"/>
              <a:gd name="connsiteY25131" fmla="*/ 1228979 h 4687251"/>
              <a:gd name="connsiteX25132" fmla="*/ 2567937 w 8079933"/>
              <a:gd name="connsiteY25132" fmla="*/ 1227030 h 4687251"/>
              <a:gd name="connsiteX25133" fmla="*/ 2565116 w 8079933"/>
              <a:gd name="connsiteY25133" fmla="*/ 1227355 h 4687251"/>
              <a:gd name="connsiteX25134" fmla="*/ 2562512 w 8079933"/>
              <a:gd name="connsiteY25134" fmla="*/ 1226272 h 4687251"/>
              <a:gd name="connsiteX25135" fmla="*/ 2560667 w 8079933"/>
              <a:gd name="connsiteY25135" fmla="*/ 1227788 h 4687251"/>
              <a:gd name="connsiteX25136" fmla="*/ 2553505 w 8079933"/>
              <a:gd name="connsiteY25136" fmla="*/ 1224757 h 4687251"/>
              <a:gd name="connsiteX25137" fmla="*/ 2552637 w 8079933"/>
              <a:gd name="connsiteY25137" fmla="*/ 1222266 h 4687251"/>
              <a:gd name="connsiteX25138" fmla="*/ 2550032 w 8079933"/>
              <a:gd name="connsiteY25138" fmla="*/ 1219776 h 4687251"/>
              <a:gd name="connsiteX25139" fmla="*/ 2546777 w 8079933"/>
              <a:gd name="connsiteY25139" fmla="*/ 1219776 h 4687251"/>
              <a:gd name="connsiteX25140" fmla="*/ 2541894 w 8079933"/>
              <a:gd name="connsiteY25140" fmla="*/ 1214146 h 4687251"/>
              <a:gd name="connsiteX25141" fmla="*/ 2542003 w 8079933"/>
              <a:gd name="connsiteY25141" fmla="*/ 1211006 h 4687251"/>
              <a:gd name="connsiteX25142" fmla="*/ 2539723 w 8079933"/>
              <a:gd name="connsiteY25142" fmla="*/ 1211223 h 4687251"/>
              <a:gd name="connsiteX25143" fmla="*/ 2536902 w 8079933"/>
              <a:gd name="connsiteY25143" fmla="*/ 1209274 h 4687251"/>
              <a:gd name="connsiteX25144" fmla="*/ 2534840 w 8079933"/>
              <a:gd name="connsiteY25144" fmla="*/ 1205160 h 4687251"/>
              <a:gd name="connsiteX25145" fmla="*/ 2536793 w 8079933"/>
              <a:gd name="connsiteY25145" fmla="*/ 1203319 h 4687251"/>
              <a:gd name="connsiteX25146" fmla="*/ 2539073 w 8079933"/>
              <a:gd name="connsiteY25146" fmla="*/ 1201803 h 4687251"/>
              <a:gd name="connsiteX25147" fmla="*/ 2534732 w 8079933"/>
              <a:gd name="connsiteY25147" fmla="*/ 1199963 h 4687251"/>
              <a:gd name="connsiteX25148" fmla="*/ 2533212 w 8079933"/>
              <a:gd name="connsiteY25148" fmla="*/ 1201045 h 4687251"/>
              <a:gd name="connsiteX25149" fmla="*/ 2532019 w 8079933"/>
              <a:gd name="connsiteY25149" fmla="*/ 1202778 h 4687251"/>
              <a:gd name="connsiteX25150" fmla="*/ 2529523 w 8079933"/>
              <a:gd name="connsiteY25150" fmla="*/ 1201262 h 4687251"/>
              <a:gd name="connsiteX25151" fmla="*/ 2529632 w 8079933"/>
              <a:gd name="connsiteY25151" fmla="*/ 1199313 h 4687251"/>
              <a:gd name="connsiteX25152" fmla="*/ 2525725 w 8079933"/>
              <a:gd name="connsiteY25152" fmla="*/ 1199313 h 4687251"/>
              <a:gd name="connsiteX25153" fmla="*/ 2518346 w 8079933"/>
              <a:gd name="connsiteY25153" fmla="*/ 1194333 h 4687251"/>
              <a:gd name="connsiteX25154" fmla="*/ 2515307 w 8079933"/>
              <a:gd name="connsiteY25154" fmla="*/ 1194116 h 4687251"/>
              <a:gd name="connsiteX25155" fmla="*/ 2512920 w 8079933"/>
              <a:gd name="connsiteY25155" fmla="*/ 1191843 h 4687251"/>
              <a:gd name="connsiteX25156" fmla="*/ 2508579 w 8079933"/>
              <a:gd name="connsiteY25156" fmla="*/ 1188270 h 4687251"/>
              <a:gd name="connsiteX25157" fmla="*/ 2508905 w 8079933"/>
              <a:gd name="connsiteY25157" fmla="*/ 1185779 h 4687251"/>
              <a:gd name="connsiteX25158" fmla="*/ 2505866 w 8079933"/>
              <a:gd name="connsiteY25158" fmla="*/ 1185346 h 4687251"/>
              <a:gd name="connsiteX25159" fmla="*/ 2503153 w 8079933"/>
              <a:gd name="connsiteY25159" fmla="*/ 1181990 h 4687251"/>
              <a:gd name="connsiteX25160" fmla="*/ 2500223 w 8079933"/>
              <a:gd name="connsiteY25160" fmla="*/ 1178092 h 4687251"/>
              <a:gd name="connsiteX25161" fmla="*/ 2499790 w 8079933"/>
              <a:gd name="connsiteY25161" fmla="*/ 1172462 h 4687251"/>
              <a:gd name="connsiteX25162" fmla="*/ 2495340 w 8079933"/>
              <a:gd name="connsiteY25162" fmla="*/ 1170188 h 4687251"/>
              <a:gd name="connsiteX25163" fmla="*/ 2496860 w 8079933"/>
              <a:gd name="connsiteY25163" fmla="*/ 1168348 h 4687251"/>
              <a:gd name="connsiteX25164" fmla="*/ 2503262 w 8079933"/>
              <a:gd name="connsiteY25164" fmla="*/ 1168672 h 4687251"/>
              <a:gd name="connsiteX25165" fmla="*/ 2511835 w 8079933"/>
              <a:gd name="connsiteY25165" fmla="*/ 1162826 h 4687251"/>
              <a:gd name="connsiteX25166" fmla="*/ 2513571 w 8079933"/>
              <a:gd name="connsiteY25166" fmla="*/ 1160444 h 4687251"/>
              <a:gd name="connsiteX25167" fmla="*/ 2506734 w 8079933"/>
              <a:gd name="connsiteY25167" fmla="*/ 1161310 h 4687251"/>
              <a:gd name="connsiteX25168" fmla="*/ 2503479 w 8079933"/>
              <a:gd name="connsiteY25168" fmla="*/ 1156329 h 4687251"/>
              <a:gd name="connsiteX25169" fmla="*/ 2501851 w 8079933"/>
              <a:gd name="connsiteY25169" fmla="*/ 1151133 h 4687251"/>
              <a:gd name="connsiteX25170" fmla="*/ 2502936 w 8079933"/>
              <a:gd name="connsiteY25170" fmla="*/ 1149292 h 4687251"/>
              <a:gd name="connsiteX25171" fmla="*/ 2500332 w 8079933"/>
              <a:gd name="connsiteY25171" fmla="*/ 1150483 h 4687251"/>
              <a:gd name="connsiteX25172" fmla="*/ 2498162 w 8079933"/>
              <a:gd name="connsiteY25172" fmla="*/ 1154814 h 4687251"/>
              <a:gd name="connsiteX25173" fmla="*/ 2497619 w 8079933"/>
              <a:gd name="connsiteY25173" fmla="*/ 1158170 h 4687251"/>
              <a:gd name="connsiteX25174" fmla="*/ 2493604 w 8079933"/>
              <a:gd name="connsiteY25174" fmla="*/ 1154272 h 4687251"/>
              <a:gd name="connsiteX25175" fmla="*/ 2496425 w 8079933"/>
              <a:gd name="connsiteY25175" fmla="*/ 1150807 h 4687251"/>
              <a:gd name="connsiteX25176" fmla="*/ 2497293 w 8079933"/>
              <a:gd name="connsiteY25176" fmla="*/ 1143554 h 4687251"/>
              <a:gd name="connsiteX25177" fmla="*/ 2494255 w 8079933"/>
              <a:gd name="connsiteY25177" fmla="*/ 1148750 h 4687251"/>
              <a:gd name="connsiteX25178" fmla="*/ 2492302 w 8079933"/>
              <a:gd name="connsiteY25178" fmla="*/ 1146693 h 4687251"/>
              <a:gd name="connsiteX25179" fmla="*/ 2492302 w 8079933"/>
              <a:gd name="connsiteY25179" fmla="*/ 1141497 h 4687251"/>
              <a:gd name="connsiteX25180" fmla="*/ 2488395 w 8079933"/>
              <a:gd name="connsiteY25180" fmla="*/ 1142254 h 4687251"/>
              <a:gd name="connsiteX25181" fmla="*/ 2487419 w 8079933"/>
              <a:gd name="connsiteY25181" fmla="*/ 1137924 h 4687251"/>
              <a:gd name="connsiteX25182" fmla="*/ 2487744 w 8079933"/>
              <a:gd name="connsiteY25182" fmla="*/ 1133809 h 4687251"/>
              <a:gd name="connsiteX25183" fmla="*/ 2485465 w 8079933"/>
              <a:gd name="connsiteY25183" fmla="*/ 1127638 h 4687251"/>
              <a:gd name="connsiteX25184" fmla="*/ 2481885 w 8079933"/>
              <a:gd name="connsiteY25184" fmla="*/ 1125581 h 4687251"/>
              <a:gd name="connsiteX25185" fmla="*/ 2482101 w 8079933"/>
              <a:gd name="connsiteY25185" fmla="*/ 1121899 h 4687251"/>
              <a:gd name="connsiteX25186" fmla="*/ 2487093 w 8079933"/>
              <a:gd name="connsiteY25186" fmla="*/ 1117136 h 4687251"/>
              <a:gd name="connsiteX25187" fmla="*/ 2485899 w 8079933"/>
              <a:gd name="connsiteY25187" fmla="*/ 1114862 h 4687251"/>
              <a:gd name="connsiteX25188" fmla="*/ 2477760 w 8079933"/>
              <a:gd name="connsiteY25188" fmla="*/ 1121791 h 4687251"/>
              <a:gd name="connsiteX25189" fmla="*/ 2477435 w 8079933"/>
              <a:gd name="connsiteY25189" fmla="*/ 1125905 h 4687251"/>
              <a:gd name="connsiteX25190" fmla="*/ 2476024 w 8079933"/>
              <a:gd name="connsiteY25190" fmla="*/ 1122658 h 4687251"/>
              <a:gd name="connsiteX25191" fmla="*/ 2478846 w 8079933"/>
              <a:gd name="connsiteY25191" fmla="*/ 1117136 h 4687251"/>
              <a:gd name="connsiteX25192" fmla="*/ 2475156 w 8079933"/>
              <a:gd name="connsiteY25192" fmla="*/ 1115944 h 4687251"/>
              <a:gd name="connsiteX25193" fmla="*/ 2472986 w 8079933"/>
              <a:gd name="connsiteY25193" fmla="*/ 1117244 h 4687251"/>
              <a:gd name="connsiteX25194" fmla="*/ 2471792 w 8079933"/>
              <a:gd name="connsiteY25194" fmla="*/ 1116053 h 4687251"/>
              <a:gd name="connsiteX25195" fmla="*/ 2469187 w 8079933"/>
              <a:gd name="connsiteY25195" fmla="*/ 1123957 h 4687251"/>
              <a:gd name="connsiteX25196" fmla="*/ 2465173 w 8079933"/>
              <a:gd name="connsiteY25196" fmla="*/ 1126447 h 4687251"/>
              <a:gd name="connsiteX25197" fmla="*/ 2464847 w 8079933"/>
              <a:gd name="connsiteY25197" fmla="*/ 1121466 h 4687251"/>
              <a:gd name="connsiteX25198" fmla="*/ 2468103 w 8079933"/>
              <a:gd name="connsiteY25198" fmla="*/ 1117460 h 4687251"/>
              <a:gd name="connsiteX25199" fmla="*/ 2467777 w 8079933"/>
              <a:gd name="connsiteY25199" fmla="*/ 1112805 h 4687251"/>
              <a:gd name="connsiteX25200" fmla="*/ 2468645 w 8079933"/>
              <a:gd name="connsiteY25200" fmla="*/ 1109881 h 4687251"/>
              <a:gd name="connsiteX25201" fmla="*/ 2464738 w 8079933"/>
              <a:gd name="connsiteY25201" fmla="*/ 1111289 h 4687251"/>
              <a:gd name="connsiteX25202" fmla="*/ 2461049 w 8079933"/>
              <a:gd name="connsiteY25202" fmla="*/ 1114862 h 4687251"/>
              <a:gd name="connsiteX25203" fmla="*/ 2458878 w 8079933"/>
              <a:gd name="connsiteY25203" fmla="*/ 1115079 h 4687251"/>
              <a:gd name="connsiteX25204" fmla="*/ 2456057 w 8079933"/>
              <a:gd name="connsiteY25204" fmla="*/ 1118868 h 4687251"/>
              <a:gd name="connsiteX25205" fmla="*/ 2454538 w 8079933"/>
              <a:gd name="connsiteY25205" fmla="*/ 1121575 h 4687251"/>
              <a:gd name="connsiteX25206" fmla="*/ 2448787 w 8079933"/>
              <a:gd name="connsiteY25206" fmla="*/ 1120383 h 4687251"/>
              <a:gd name="connsiteX25207" fmla="*/ 2445965 w 8079933"/>
              <a:gd name="connsiteY25207" fmla="*/ 1116919 h 4687251"/>
              <a:gd name="connsiteX25208" fmla="*/ 2442493 w 8079933"/>
              <a:gd name="connsiteY25208" fmla="*/ 1116919 h 4687251"/>
              <a:gd name="connsiteX25209" fmla="*/ 2437826 w 8079933"/>
              <a:gd name="connsiteY25209" fmla="*/ 1109232 h 4687251"/>
              <a:gd name="connsiteX25210" fmla="*/ 2435873 w 8079933"/>
              <a:gd name="connsiteY25210" fmla="*/ 1109015 h 4687251"/>
              <a:gd name="connsiteX25211" fmla="*/ 2434571 w 8079933"/>
              <a:gd name="connsiteY25211" fmla="*/ 1112480 h 4687251"/>
              <a:gd name="connsiteX25212" fmla="*/ 2434571 w 8079933"/>
              <a:gd name="connsiteY25212" fmla="*/ 1117136 h 4687251"/>
              <a:gd name="connsiteX25213" fmla="*/ 2432292 w 8079933"/>
              <a:gd name="connsiteY25213" fmla="*/ 1119409 h 4687251"/>
              <a:gd name="connsiteX25214" fmla="*/ 2428494 w 8079933"/>
              <a:gd name="connsiteY25214" fmla="*/ 1118002 h 4687251"/>
              <a:gd name="connsiteX25215" fmla="*/ 2425564 w 8079933"/>
              <a:gd name="connsiteY25215" fmla="*/ 1119193 h 4687251"/>
              <a:gd name="connsiteX25216" fmla="*/ 2420572 w 8079933"/>
              <a:gd name="connsiteY25216" fmla="*/ 1119409 h 4687251"/>
              <a:gd name="connsiteX25217" fmla="*/ 2418836 w 8079933"/>
              <a:gd name="connsiteY25217" fmla="*/ 1121791 h 4687251"/>
              <a:gd name="connsiteX25218" fmla="*/ 2414170 w 8079933"/>
              <a:gd name="connsiteY25218" fmla="*/ 1121466 h 4687251"/>
              <a:gd name="connsiteX25219" fmla="*/ 2412108 w 8079933"/>
              <a:gd name="connsiteY25219" fmla="*/ 1123632 h 4687251"/>
              <a:gd name="connsiteX25220" fmla="*/ 2407768 w 8079933"/>
              <a:gd name="connsiteY25220" fmla="*/ 1122116 h 4687251"/>
              <a:gd name="connsiteX25221" fmla="*/ 2400713 w 8079933"/>
              <a:gd name="connsiteY25221" fmla="*/ 1121575 h 4687251"/>
              <a:gd name="connsiteX25222" fmla="*/ 2401582 w 8079933"/>
              <a:gd name="connsiteY25222" fmla="*/ 1118652 h 4687251"/>
              <a:gd name="connsiteX25223" fmla="*/ 2396807 w 8079933"/>
              <a:gd name="connsiteY25223" fmla="*/ 1113130 h 4687251"/>
              <a:gd name="connsiteX25224" fmla="*/ 2394529 w 8079933"/>
              <a:gd name="connsiteY25224" fmla="*/ 1114754 h 4687251"/>
              <a:gd name="connsiteX25225" fmla="*/ 2390404 w 8079933"/>
              <a:gd name="connsiteY25225" fmla="*/ 1110748 h 4687251"/>
              <a:gd name="connsiteX25226" fmla="*/ 2387366 w 8079933"/>
              <a:gd name="connsiteY25226" fmla="*/ 1101653 h 4687251"/>
              <a:gd name="connsiteX25227" fmla="*/ 2389103 w 8079933"/>
              <a:gd name="connsiteY25227" fmla="*/ 1096348 h 4687251"/>
              <a:gd name="connsiteX25228" fmla="*/ 2392684 w 8079933"/>
              <a:gd name="connsiteY25228" fmla="*/ 1093857 h 4687251"/>
              <a:gd name="connsiteX25229" fmla="*/ 2392684 w 8079933"/>
              <a:gd name="connsiteY25229" fmla="*/ 1089418 h 4687251"/>
              <a:gd name="connsiteX25230" fmla="*/ 2396156 w 8079933"/>
              <a:gd name="connsiteY25230" fmla="*/ 1085845 h 4687251"/>
              <a:gd name="connsiteX25231" fmla="*/ 2401256 w 8079933"/>
              <a:gd name="connsiteY25231" fmla="*/ 1085304 h 4687251"/>
              <a:gd name="connsiteX25232" fmla="*/ 2404078 w 8079933"/>
              <a:gd name="connsiteY25232" fmla="*/ 1082164 h 4687251"/>
              <a:gd name="connsiteX25233" fmla="*/ 2408527 w 8079933"/>
              <a:gd name="connsiteY25233" fmla="*/ 1081406 h 4687251"/>
              <a:gd name="connsiteX25234" fmla="*/ 2410589 w 8079933"/>
              <a:gd name="connsiteY25234" fmla="*/ 1081731 h 4687251"/>
              <a:gd name="connsiteX25235" fmla="*/ 2411240 w 8079933"/>
              <a:gd name="connsiteY25235" fmla="*/ 1077941 h 4687251"/>
              <a:gd name="connsiteX25236" fmla="*/ 2409286 w 8079933"/>
              <a:gd name="connsiteY25236" fmla="*/ 1074910 h 4687251"/>
              <a:gd name="connsiteX25237" fmla="*/ 2409069 w 8079933"/>
              <a:gd name="connsiteY25237" fmla="*/ 1071987 h 4687251"/>
              <a:gd name="connsiteX25238" fmla="*/ 2410154 w 8079933"/>
              <a:gd name="connsiteY25238" fmla="*/ 1071120 h 4687251"/>
              <a:gd name="connsiteX25239" fmla="*/ 2412759 w 8079933"/>
              <a:gd name="connsiteY25239" fmla="*/ 1071770 h 4687251"/>
              <a:gd name="connsiteX25240" fmla="*/ 2413519 w 8079933"/>
              <a:gd name="connsiteY25240" fmla="*/ 1069605 h 4687251"/>
              <a:gd name="connsiteX25241" fmla="*/ 2413085 w 8079933"/>
              <a:gd name="connsiteY25241" fmla="*/ 1066790 h 4687251"/>
              <a:gd name="connsiteX25242" fmla="*/ 2414604 w 8079933"/>
              <a:gd name="connsiteY25242" fmla="*/ 1064949 h 4687251"/>
              <a:gd name="connsiteX25243" fmla="*/ 2419595 w 8079933"/>
              <a:gd name="connsiteY25243" fmla="*/ 1072420 h 4687251"/>
              <a:gd name="connsiteX25244" fmla="*/ 2424479 w 8079933"/>
              <a:gd name="connsiteY25244" fmla="*/ 1073286 h 4687251"/>
              <a:gd name="connsiteX25245" fmla="*/ 2429471 w 8079933"/>
              <a:gd name="connsiteY25245" fmla="*/ 1076859 h 4687251"/>
              <a:gd name="connsiteX25246" fmla="*/ 2432943 w 8079933"/>
              <a:gd name="connsiteY25246" fmla="*/ 1080757 h 4687251"/>
              <a:gd name="connsiteX25247" fmla="*/ 2435439 w 8079933"/>
              <a:gd name="connsiteY25247" fmla="*/ 1081406 h 4687251"/>
              <a:gd name="connsiteX25248" fmla="*/ 2440648 w 8079933"/>
              <a:gd name="connsiteY25248" fmla="*/ 1083896 h 4687251"/>
              <a:gd name="connsiteX25249" fmla="*/ 2443686 w 8079933"/>
              <a:gd name="connsiteY25249" fmla="*/ 1081190 h 4687251"/>
              <a:gd name="connsiteX25250" fmla="*/ 2447159 w 8079933"/>
              <a:gd name="connsiteY25250" fmla="*/ 1081298 h 4687251"/>
              <a:gd name="connsiteX25251" fmla="*/ 2449004 w 8079933"/>
              <a:gd name="connsiteY25251" fmla="*/ 1083896 h 4687251"/>
              <a:gd name="connsiteX25252" fmla="*/ 2452151 w 8079933"/>
              <a:gd name="connsiteY25252" fmla="*/ 1084005 h 4687251"/>
              <a:gd name="connsiteX25253" fmla="*/ 2457468 w 8079933"/>
              <a:gd name="connsiteY25253" fmla="*/ 1085087 h 4687251"/>
              <a:gd name="connsiteX25254" fmla="*/ 2460723 w 8079933"/>
              <a:gd name="connsiteY25254" fmla="*/ 1081514 h 4687251"/>
              <a:gd name="connsiteX25255" fmla="*/ 2463003 w 8079933"/>
              <a:gd name="connsiteY25255" fmla="*/ 1077075 h 4687251"/>
              <a:gd name="connsiteX25256" fmla="*/ 2468971 w 8079933"/>
              <a:gd name="connsiteY25256" fmla="*/ 1077075 h 4687251"/>
              <a:gd name="connsiteX25257" fmla="*/ 2468971 w 8079933"/>
              <a:gd name="connsiteY25257" fmla="*/ 1078916 h 4687251"/>
              <a:gd name="connsiteX25258" fmla="*/ 2467669 w 8079933"/>
              <a:gd name="connsiteY25258" fmla="*/ 1080865 h 4687251"/>
              <a:gd name="connsiteX25259" fmla="*/ 2470924 w 8079933"/>
              <a:gd name="connsiteY25259" fmla="*/ 1082706 h 4687251"/>
              <a:gd name="connsiteX25260" fmla="*/ 2475373 w 8079933"/>
              <a:gd name="connsiteY25260" fmla="*/ 1078916 h 4687251"/>
              <a:gd name="connsiteX25261" fmla="*/ 2477218 w 8079933"/>
              <a:gd name="connsiteY25261" fmla="*/ 1074694 h 4687251"/>
              <a:gd name="connsiteX25262" fmla="*/ 2481776 w 8079933"/>
              <a:gd name="connsiteY25262" fmla="*/ 1072095 h 4687251"/>
              <a:gd name="connsiteX25263" fmla="*/ 2483621 w 8079933"/>
              <a:gd name="connsiteY25263" fmla="*/ 1074694 h 4687251"/>
              <a:gd name="connsiteX25264" fmla="*/ 2483838 w 8079933"/>
              <a:gd name="connsiteY25264" fmla="*/ 1081190 h 4687251"/>
              <a:gd name="connsiteX25265" fmla="*/ 2485139 w 8079933"/>
              <a:gd name="connsiteY25265" fmla="*/ 1085087 h 4687251"/>
              <a:gd name="connsiteX25266" fmla="*/ 2486008 w 8079933"/>
              <a:gd name="connsiteY25266" fmla="*/ 1080324 h 4687251"/>
              <a:gd name="connsiteX25267" fmla="*/ 2488612 w 8079933"/>
              <a:gd name="connsiteY25267" fmla="*/ 1078267 h 4687251"/>
              <a:gd name="connsiteX25268" fmla="*/ 2490891 w 8079933"/>
              <a:gd name="connsiteY25268" fmla="*/ 1079457 h 4687251"/>
              <a:gd name="connsiteX25269" fmla="*/ 2493062 w 8079933"/>
              <a:gd name="connsiteY25269" fmla="*/ 1077400 h 4687251"/>
              <a:gd name="connsiteX25270" fmla="*/ 2491867 w 8079933"/>
              <a:gd name="connsiteY25270" fmla="*/ 1065598 h 4687251"/>
              <a:gd name="connsiteX25271" fmla="*/ 2487961 w 8079933"/>
              <a:gd name="connsiteY25271" fmla="*/ 1059535 h 4687251"/>
              <a:gd name="connsiteX25272" fmla="*/ 2487310 w 8079933"/>
              <a:gd name="connsiteY25272" fmla="*/ 1055422 h 4687251"/>
              <a:gd name="connsiteX25273" fmla="*/ 2484380 w 8079933"/>
              <a:gd name="connsiteY25273" fmla="*/ 1051090 h 4687251"/>
              <a:gd name="connsiteX25274" fmla="*/ 2485682 w 8079933"/>
              <a:gd name="connsiteY25274" fmla="*/ 1045569 h 4687251"/>
              <a:gd name="connsiteX25275" fmla="*/ 2487744 w 8079933"/>
              <a:gd name="connsiteY25275" fmla="*/ 1043512 h 4687251"/>
              <a:gd name="connsiteX25276" fmla="*/ 2490349 w 8079933"/>
              <a:gd name="connsiteY25276" fmla="*/ 1043404 h 4687251"/>
              <a:gd name="connsiteX25277" fmla="*/ 2497293 w 8079933"/>
              <a:gd name="connsiteY25277" fmla="*/ 1037882 h 4687251"/>
              <a:gd name="connsiteX25278" fmla="*/ 2505541 w 8079933"/>
              <a:gd name="connsiteY25278" fmla="*/ 1032901 h 4687251"/>
              <a:gd name="connsiteX25279" fmla="*/ 2508796 w 8079933"/>
              <a:gd name="connsiteY25279" fmla="*/ 1030952 h 4687251"/>
              <a:gd name="connsiteX25280" fmla="*/ 2514656 w 8079933"/>
              <a:gd name="connsiteY25280" fmla="*/ 1024997 h 4687251"/>
              <a:gd name="connsiteX25281" fmla="*/ 2517043 w 8079933"/>
              <a:gd name="connsiteY25281" fmla="*/ 1024997 h 4687251"/>
              <a:gd name="connsiteX25282" fmla="*/ 2519865 w 8079933"/>
              <a:gd name="connsiteY25282" fmla="*/ 1027271 h 4687251"/>
              <a:gd name="connsiteX25283" fmla="*/ 2523229 w 8079933"/>
              <a:gd name="connsiteY25283" fmla="*/ 1026188 h 4687251"/>
              <a:gd name="connsiteX25284" fmla="*/ 2525508 w 8079933"/>
              <a:gd name="connsiteY25284" fmla="*/ 1025864 h 4687251"/>
              <a:gd name="connsiteX25285" fmla="*/ 2519323 w 8079933"/>
              <a:gd name="connsiteY25285" fmla="*/ 1022399 h 4687251"/>
              <a:gd name="connsiteX25286" fmla="*/ 2519105 w 8079933"/>
              <a:gd name="connsiteY25286" fmla="*/ 1018826 h 4687251"/>
              <a:gd name="connsiteX25287" fmla="*/ 2527787 w 8079933"/>
              <a:gd name="connsiteY25287" fmla="*/ 1011897 h 4687251"/>
              <a:gd name="connsiteX25288" fmla="*/ 2528764 w 8079933"/>
              <a:gd name="connsiteY25288" fmla="*/ 1008432 h 4687251"/>
              <a:gd name="connsiteX25289" fmla="*/ 2531367 w 8079933"/>
              <a:gd name="connsiteY25289" fmla="*/ 1006916 h 4687251"/>
              <a:gd name="connsiteX25290" fmla="*/ 2538313 w 8079933"/>
              <a:gd name="connsiteY25290" fmla="*/ 1008432 h 4687251"/>
              <a:gd name="connsiteX25291" fmla="*/ 2545366 w 8079933"/>
              <a:gd name="connsiteY25291" fmla="*/ 1006050 h 4687251"/>
              <a:gd name="connsiteX25292" fmla="*/ 2546126 w 8079933"/>
              <a:gd name="connsiteY25292" fmla="*/ 1003019 h 4687251"/>
              <a:gd name="connsiteX25293" fmla="*/ 2543630 w 8079933"/>
              <a:gd name="connsiteY25293" fmla="*/ 998471 h 4687251"/>
              <a:gd name="connsiteX25294" fmla="*/ 2546017 w 8079933"/>
              <a:gd name="connsiteY25294" fmla="*/ 995115 h 4687251"/>
              <a:gd name="connsiteX25295" fmla="*/ 2546994 w 8079933"/>
              <a:gd name="connsiteY25295" fmla="*/ 986453 h 4687251"/>
              <a:gd name="connsiteX25296" fmla="*/ 2547428 w 8079933"/>
              <a:gd name="connsiteY25296" fmla="*/ 984829 h 4687251"/>
              <a:gd name="connsiteX25297" fmla="*/ 2546451 w 8079933"/>
              <a:gd name="connsiteY25297" fmla="*/ 983421 h 4687251"/>
              <a:gd name="connsiteX25298" fmla="*/ 2546451 w 8079933"/>
              <a:gd name="connsiteY25298" fmla="*/ 979632 h 4687251"/>
              <a:gd name="connsiteX25299" fmla="*/ 2548947 w 8079933"/>
              <a:gd name="connsiteY25299" fmla="*/ 975193 h 4687251"/>
              <a:gd name="connsiteX25300" fmla="*/ 2549056 w 8079933"/>
              <a:gd name="connsiteY25300" fmla="*/ 970970 h 4687251"/>
              <a:gd name="connsiteX25301" fmla="*/ 2545692 w 8079933"/>
              <a:gd name="connsiteY25301" fmla="*/ 969887 h 4687251"/>
              <a:gd name="connsiteX25302" fmla="*/ 2545584 w 8079933"/>
              <a:gd name="connsiteY25302" fmla="*/ 967938 h 4687251"/>
              <a:gd name="connsiteX25303" fmla="*/ 2547646 w 8079933"/>
              <a:gd name="connsiteY25303" fmla="*/ 961442 h 4687251"/>
              <a:gd name="connsiteX25304" fmla="*/ 2550901 w 8079933"/>
              <a:gd name="connsiteY25304" fmla="*/ 960793 h 4687251"/>
              <a:gd name="connsiteX25305" fmla="*/ 2551443 w 8079933"/>
              <a:gd name="connsiteY25305" fmla="*/ 957328 h 4687251"/>
              <a:gd name="connsiteX25306" fmla="*/ 2553722 w 8079933"/>
              <a:gd name="connsiteY25306" fmla="*/ 953322 h 4687251"/>
              <a:gd name="connsiteX25307" fmla="*/ 2553288 w 8079933"/>
              <a:gd name="connsiteY25307" fmla="*/ 950615 h 4687251"/>
              <a:gd name="connsiteX25308" fmla="*/ 2550901 w 8079933"/>
              <a:gd name="connsiteY25308" fmla="*/ 951048 h 4687251"/>
              <a:gd name="connsiteX25309" fmla="*/ 2548405 w 8079933"/>
              <a:gd name="connsiteY25309" fmla="*/ 953972 h 4687251"/>
              <a:gd name="connsiteX25310" fmla="*/ 2548296 w 8079933"/>
              <a:gd name="connsiteY25310" fmla="*/ 956679 h 4687251"/>
              <a:gd name="connsiteX25311" fmla="*/ 2546343 w 8079933"/>
              <a:gd name="connsiteY25311" fmla="*/ 957436 h 4687251"/>
              <a:gd name="connsiteX25312" fmla="*/ 2546017 w 8079933"/>
              <a:gd name="connsiteY25312" fmla="*/ 954405 h 4687251"/>
              <a:gd name="connsiteX25313" fmla="*/ 2546343 w 8079933"/>
              <a:gd name="connsiteY25313" fmla="*/ 950291 h 4687251"/>
              <a:gd name="connsiteX25314" fmla="*/ 2544607 w 8079933"/>
              <a:gd name="connsiteY25314" fmla="*/ 949100 h 4687251"/>
              <a:gd name="connsiteX25315" fmla="*/ 2535166 w 8079933"/>
              <a:gd name="connsiteY25315" fmla="*/ 948775 h 4687251"/>
              <a:gd name="connsiteX25316" fmla="*/ 2532127 w 8079933"/>
              <a:gd name="connsiteY25316" fmla="*/ 945635 h 4687251"/>
              <a:gd name="connsiteX25317" fmla="*/ 2533104 w 8079933"/>
              <a:gd name="connsiteY25317" fmla="*/ 943578 h 4687251"/>
              <a:gd name="connsiteX25318" fmla="*/ 2539941 w 8079933"/>
              <a:gd name="connsiteY25318" fmla="*/ 940763 h 4687251"/>
              <a:gd name="connsiteX25319" fmla="*/ 2539073 w 8079933"/>
              <a:gd name="connsiteY25319" fmla="*/ 938922 h 4687251"/>
              <a:gd name="connsiteX25320" fmla="*/ 2535600 w 8079933"/>
              <a:gd name="connsiteY25320" fmla="*/ 936865 h 4687251"/>
              <a:gd name="connsiteX25321" fmla="*/ 2538096 w 8079933"/>
              <a:gd name="connsiteY25321" fmla="*/ 932534 h 4687251"/>
              <a:gd name="connsiteX25322" fmla="*/ 2538096 w 8079933"/>
              <a:gd name="connsiteY25322" fmla="*/ 929286 h 4687251"/>
              <a:gd name="connsiteX25323" fmla="*/ 2532887 w 8079933"/>
              <a:gd name="connsiteY25323" fmla="*/ 925497 h 4687251"/>
              <a:gd name="connsiteX25324" fmla="*/ 2530934 w 8079933"/>
              <a:gd name="connsiteY25324" fmla="*/ 926255 h 4687251"/>
              <a:gd name="connsiteX25325" fmla="*/ 2530500 w 8079933"/>
              <a:gd name="connsiteY25325" fmla="*/ 929178 h 4687251"/>
              <a:gd name="connsiteX25326" fmla="*/ 2532127 w 8079933"/>
              <a:gd name="connsiteY25326" fmla="*/ 932101 h 4687251"/>
              <a:gd name="connsiteX25327" fmla="*/ 2530934 w 8079933"/>
              <a:gd name="connsiteY25327" fmla="*/ 934700 h 4687251"/>
              <a:gd name="connsiteX25328" fmla="*/ 2525399 w 8079933"/>
              <a:gd name="connsiteY25328" fmla="*/ 935999 h 4687251"/>
              <a:gd name="connsiteX25329" fmla="*/ 2523446 w 8079933"/>
              <a:gd name="connsiteY25329" fmla="*/ 931777 h 4687251"/>
              <a:gd name="connsiteX25330" fmla="*/ 2521385 w 8079933"/>
              <a:gd name="connsiteY25330" fmla="*/ 931018 h 4687251"/>
              <a:gd name="connsiteX25331" fmla="*/ 2520625 w 8079933"/>
              <a:gd name="connsiteY25331" fmla="*/ 925389 h 4687251"/>
              <a:gd name="connsiteX25332" fmla="*/ 2524423 w 8079933"/>
              <a:gd name="connsiteY25332" fmla="*/ 921707 h 4687251"/>
              <a:gd name="connsiteX25333" fmla="*/ 2523229 w 8079933"/>
              <a:gd name="connsiteY25333" fmla="*/ 918675 h 4687251"/>
              <a:gd name="connsiteX25334" fmla="*/ 2517043 w 8079933"/>
              <a:gd name="connsiteY25334" fmla="*/ 919434 h 4687251"/>
              <a:gd name="connsiteX25335" fmla="*/ 2517586 w 8079933"/>
              <a:gd name="connsiteY25335" fmla="*/ 918026 h 4687251"/>
              <a:gd name="connsiteX25336" fmla="*/ 2522578 w 8079933"/>
              <a:gd name="connsiteY25336" fmla="*/ 916402 h 4687251"/>
              <a:gd name="connsiteX25337" fmla="*/ 2523012 w 8079933"/>
              <a:gd name="connsiteY25337" fmla="*/ 914345 h 4687251"/>
              <a:gd name="connsiteX25338" fmla="*/ 2520408 w 8079933"/>
              <a:gd name="connsiteY25338" fmla="*/ 913371 h 4687251"/>
              <a:gd name="connsiteX25339" fmla="*/ 2522903 w 8079933"/>
              <a:gd name="connsiteY25339" fmla="*/ 911530 h 4687251"/>
              <a:gd name="connsiteX25340" fmla="*/ 2525725 w 8079933"/>
              <a:gd name="connsiteY25340" fmla="*/ 910122 h 4687251"/>
              <a:gd name="connsiteX25341" fmla="*/ 2526159 w 8079933"/>
              <a:gd name="connsiteY25341" fmla="*/ 907632 h 4687251"/>
              <a:gd name="connsiteX25342" fmla="*/ 2523771 w 8079933"/>
              <a:gd name="connsiteY25342" fmla="*/ 905683 h 4687251"/>
              <a:gd name="connsiteX25343" fmla="*/ 2519648 w 8079933"/>
              <a:gd name="connsiteY25343" fmla="*/ 908823 h 4687251"/>
              <a:gd name="connsiteX25344" fmla="*/ 2516392 w 8079933"/>
              <a:gd name="connsiteY25344" fmla="*/ 914020 h 4687251"/>
              <a:gd name="connsiteX25345" fmla="*/ 2513245 w 8079933"/>
              <a:gd name="connsiteY25345" fmla="*/ 916077 h 4687251"/>
              <a:gd name="connsiteX25346" fmla="*/ 2511617 w 8079933"/>
              <a:gd name="connsiteY25346" fmla="*/ 914561 h 4687251"/>
              <a:gd name="connsiteX25347" fmla="*/ 2511075 w 8079933"/>
              <a:gd name="connsiteY25347" fmla="*/ 909256 h 4687251"/>
              <a:gd name="connsiteX25348" fmla="*/ 2508796 w 8079933"/>
              <a:gd name="connsiteY25348" fmla="*/ 910663 h 4687251"/>
              <a:gd name="connsiteX25349" fmla="*/ 2506517 w 8079933"/>
              <a:gd name="connsiteY25349" fmla="*/ 914778 h 4687251"/>
              <a:gd name="connsiteX25350" fmla="*/ 2502936 w 8079933"/>
              <a:gd name="connsiteY25350" fmla="*/ 914886 h 4687251"/>
              <a:gd name="connsiteX25351" fmla="*/ 2500006 w 8079933"/>
              <a:gd name="connsiteY25351" fmla="*/ 916943 h 4687251"/>
              <a:gd name="connsiteX25352" fmla="*/ 2495665 w 8079933"/>
              <a:gd name="connsiteY25352" fmla="*/ 916835 h 4687251"/>
              <a:gd name="connsiteX25353" fmla="*/ 2492627 w 8079933"/>
              <a:gd name="connsiteY25353" fmla="*/ 918026 h 4687251"/>
              <a:gd name="connsiteX25354" fmla="*/ 2492085 w 8079933"/>
              <a:gd name="connsiteY25354" fmla="*/ 919542 h 4687251"/>
              <a:gd name="connsiteX25355" fmla="*/ 2489589 w 8079933"/>
              <a:gd name="connsiteY25355" fmla="*/ 919542 h 4687251"/>
              <a:gd name="connsiteX25356" fmla="*/ 2488829 w 8079933"/>
              <a:gd name="connsiteY25356" fmla="*/ 917051 h 4687251"/>
              <a:gd name="connsiteX25357" fmla="*/ 2491434 w 8079933"/>
              <a:gd name="connsiteY25357" fmla="*/ 913912 h 4687251"/>
              <a:gd name="connsiteX25358" fmla="*/ 2490999 w 8079933"/>
              <a:gd name="connsiteY25358" fmla="*/ 911746 h 4687251"/>
              <a:gd name="connsiteX25359" fmla="*/ 2489155 w 8079933"/>
              <a:gd name="connsiteY25359" fmla="*/ 910555 h 4687251"/>
              <a:gd name="connsiteX25360" fmla="*/ 2492519 w 8079933"/>
              <a:gd name="connsiteY25360" fmla="*/ 905791 h 4687251"/>
              <a:gd name="connsiteX25361" fmla="*/ 2494689 w 8079933"/>
              <a:gd name="connsiteY25361" fmla="*/ 905033 h 4687251"/>
              <a:gd name="connsiteX25362" fmla="*/ 2497619 w 8079933"/>
              <a:gd name="connsiteY25362" fmla="*/ 906441 h 4687251"/>
              <a:gd name="connsiteX25363" fmla="*/ 2500115 w 8079933"/>
              <a:gd name="connsiteY25363" fmla="*/ 907957 h 4687251"/>
              <a:gd name="connsiteX25364" fmla="*/ 2502503 w 8079933"/>
              <a:gd name="connsiteY25364" fmla="*/ 906766 h 4687251"/>
              <a:gd name="connsiteX25365" fmla="*/ 2505324 w 8079933"/>
              <a:gd name="connsiteY25365" fmla="*/ 906441 h 4687251"/>
              <a:gd name="connsiteX25366" fmla="*/ 2509122 w 8079933"/>
              <a:gd name="connsiteY25366" fmla="*/ 902977 h 4687251"/>
              <a:gd name="connsiteX25367" fmla="*/ 2510424 w 8079933"/>
              <a:gd name="connsiteY25367" fmla="*/ 898862 h 4687251"/>
              <a:gd name="connsiteX25368" fmla="*/ 2508905 w 8079933"/>
              <a:gd name="connsiteY25368" fmla="*/ 896155 h 4687251"/>
              <a:gd name="connsiteX25369" fmla="*/ 2506192 w 8079933"/>
              <a:gd name="connsiteY25369" fmla="*/ 893340 h 4687251"/>
              <a:gd name="connsiteX25370" fmla="*/ 2501634 w 8079933"/>
              <a:gd name="connsiteY25370" fmla="*/ 891824 h 4687251"/>
              <a:gd name="connsiteX25371" fmla="*/ 2499681 w 8079933"/>
              <a:gd name="connsiteY25371" fmla="*/ 888468 h 4687251"/>
              <a:gd name="connsiteX25372" fmla="*/ 2499464 w 8079933"/>
              <a:gd name="connsiteY25372" fmla="*/ 885437 h 4687251"/>
              <a:gd name="connsiteX25373" fmla="*/ 2498053 w 8079933"/>
              <a:gd name="connsiteY25373" fmla="*/ 883488 h 4687251"/>
              <a:gd name="connsiteX25374" fmla="*/ 2498162 w 8079933"/>
              <a:gd name="connsiteY25374" fmla="*/ 880348 h 4687251"/>
              <a:gd name="connsiteX25375" fmla="*/ 2493604 w 8079933"/>
              <a:gd name="connsiteY25375" fmla="*/ 879806 h 4687251"/>
              <a:gd name="connsiteX25376" fmla="*/ 2492953 w 8079933"/>
              <a:gd name="connsiteY25376" fmla="*/ 878616 h 4687251"/>
              <a:gd name="connsiteX25377" fmla="*/ 2490240 w 8079933"/>
              <a:gd name="connsiteY25377" fmla="*/ 876992 h 4687251"/>
              <a:gd name="connsiteX25378" fmla="*/ 2489372 w 8079933"/>
              <a:gd name="connsiteY25378" fmla="*/ 874068 h 4687251"/>
              <a:gd name="connsiteX25379" fmla="*/ 2492953 w 8079933"/>
              <a:gd name="connsiteY25379" fmla="*/ 872553 h 4687251"/>
              <a:gd name="connsiteX25380" fmla="*/ 2494580 w 8079933"/>
              <a:gd name="connsiteY25380" fmla="*/ 874826 h 4687251"/>
              <a:gd name="connsiteX25381" fmla="*/ 2496425 w 8079933"/>
              <a:gd name="connsiteY25381" fmla="*/ 873635 h 4687251"/>
              <a:gd name="connsiteX25382" fmla="*/ 2497185 w 8079933"/>
              <a:gd name="connsiteY25382" fmla="*/ 871037 h 4687251"/>
              <a:gd name="connsiteX25383" fmla="*/ 2501417 w 8079933"/>
              <a:gd name="connsiteY25383" fmla="*/ 868871 h 4687251"/>
              <a:gd name="connsiteX25384" fmla="*/ 2495232 w 8079933"/>
              <a:gd name="connsiteY25384" fmla="*/ 867680 h 4687251"/>
              <a:gd name="connsiteX25385" fmla="*/ 2492627 w 8079933"/>
              <a:gd name="connsiteY25385" fmla="*/ 864757 h 4687251"/>
              <a:gd name="connsiteX25386" fmla="*/ 2489697 w 8079933"/>
              <a:gd name="connsiteY25386" fmla="*/ 864649 h 4687251"/>
              <a:gd name="connsiteX25387" fmla="*/ 2489372 w 8079933"/>
              <a:gd name="connsiteY25387" fmla="*/ 863241 h 4687251"/>
              <a:gd name="connsiteX25388" fmla="*/ 2485465 w 8079933"/>
              <a:gd name="connsiteY25388" fmla="*/ 862266 h 4687251"/>
              <a:gd name="connsiteX25389" fmla="*/ 2483621 w 8079933"/>
              <a:gd name="connsiteY25389" fmla="*/ 866381 h 4687251"/>
              <a:gd name="connsiteX25390" fmla="*/ 2482101 w 8079933"/>
              <a:gd name="connsiteY25390" fmla="*/ 866814 h 4687251"/>
              <a:gd name="connsiteX25391" fmla="*/ 2482101 w 8079933"/>
              <a:gd name="connsiteY25391" fmla="*/ 864107 h 4687251"/>
              <a:gd name="connsiteX25392" fmla="*/ 2485465 w 8079933"/>
              <a:gd name="connsiteY25392" fmla="*/ 856637 h 4687251"/>
              <a:gd name="connsiteX25393" fmla="*/ 2489481 w 8079933"/>
              <a:gd name="connsiteY25393" fmla="*/ 850249 h 4687251"/>
              <a:gd name="connsiteX25394" fmla="*/ 2489806 w 8079933"/>
              <a:gd name="connsiteY25394" fmla="*/ 848408 h 4687251"/>
              <a:gd name="connsiteX25395" fmla="*/ 2492302 w 8079933"/>
              <a:gd name="connsiteY25395" fmla="*/ 842129 h 4687251"/>
              <a:gd name="connsiteX25396" fmla="*/ 2492410 w 8079933"/>
              <a:gd name="connsiteY25396" fmla="*/ 837581 h 4687251"/>
              <a:gd name="connsiteX25397" fmla="*/ 2493821 w 8079933"/>
              <a:gd name="connsiteY25397" fmla="*/ 835091 h 4687251"/>
              <a:gd name="connsiteX25398" fmla="*/ 2492302 w 8079933"/>
              <a:gd name="connsiteY25398" fmla="*/ 832492 h 4687251"/>
              <a:gd name="connsiteX25399" fmla="*/ 2488069 w 8079933"/>
              <a:gd name="connsiteY25399" fmla="*/ 834874 h 4687251"/>
              <a:gd name="connsiteX25400" fmla="*/ 2485465 w 8079933"/>
              <a:gd name="connsiteY25400" fmla="*/ 833033 h 4687251"/>
              <a:gd name="connsiteX25401" fmla="*/ 2483838 w 8079933"/>
              <a:gd name="connsiteY25401" fmla="*/ 834008 h 4687251"/>
              <a:gd name="connsiteX25402" fmla="*/ 2483403 w 8079933"/>
              <a:gd name="connsiteY25402" fmla="*/ 836715 h 4687251"/>
              <a:gd name="connsiteX25403" fmla="*/ 2480908 w 8079933"/>
              <a:gd name="connsiteY25403" fmla="*/ 836065 h 4687251"/>
              <a:gd name="connsiteX25404" fmla="*/ 2475047 w 8079933"/>
              <a:gd name="connsiteY25404" fmla="*/ 829894 h 4687251"/>
              <a:gd name="connsiteX25405" fmla="*/ 2474722 w 8079933"/>
              <a:gd name="connsiteY25405" fmla="*/ 826537 h 4687251"/>
              <a:gd name="connsiteX25406" fmla="*/ 2472552 w 8079933"/>
              <a:gd name="connsiteY25406" fmla="*/ 823723 h 4687251"/>
              <a:gd name="connsiteX25407" fmla="*/ 2470490 w 8079933"/>
              <a:gd name="connsiteY25407" fmla="*/ 822640 h 4687251"/>
              <a:gd name="connsiteX25408" fmla="*/ 2471358 w 8079933"/>
              <a:gd name="connsiteY25408" fmla="*/ 817442 h 4687251"/>
              <a:gd name="connsiteX25409" fmla="*/ 2475807 w 8079933"/>
              <a:gd name="connsiteY25409" fmla="*/ 815494 h 4687251"/>
              <a:gd name="connsiteX25410" fmla="*/ 2476675 w 8079933"/>
              <a:gd name="connsiteY25410" fmla="*/ 813328 h 4687251"/>
              <a:gd name="connsiteX25411" fmla="*/ 2475265 w 8079933"/>
              <a:gd name="connsiteY25411" fmla="*/ 810621 h 4687251"/>
              <a:gd name="connsiteX25412" fmla="*/ 2474830 w 8079933"/>
              <a:gd name="connsiteY25412" fmla="*/ 805858 h 4687251"/>
              <a:gd name="connsiteX25413" fmla="*/ 2472226 w 8079933"/>
              <a:gd name="connsiteY25413" fmla="*/ 806507 h 4687251"/>
              <a:gd name="connsiteX25414" fmla="*/ 2469622 w 8079933"/>
              <a:gd name="connsiteY25414" fmla="*/ 809106 h 4687251"/>
              <a:gd name="connsiteX25415" fmla="*/ 2469405 w 8079933"/>
              <a:gd name="connsiteY25415" fmla="*/ 815927 h 4687251"/>
              <a:gd name="connsiteX25416" fmla="*/ 2466909 w 8079933"/>
              <a:gd name="connsiteY25416" fmla="*/ 819825 h 4687251"/>
              <a:gd name="connsiteX25417" fmla="*/ 2465715 w 8079933"/>
              <a:gd name="connsiteY25417" fmla="*/ 815602 h 4687251"/>
              <a:gd name="connsiteX25418" fmla="*/ 2463436 w 8079933"/>
              <a:gd name="connsiteY25418" fmla="*/ 813762 h 4687251"/>
              <a:gd name="connsiteX25419" fmla="*/ 2462243 w 8079933"/>
              <a:gd name="connsiteY25419" fmla="*/ 814736 h 4687251"/>
              <a:gd name="connsiteX25420" fmla="*/ 2461917 w 8079933"/>
              <a:gd name="connsiteY25420" fmla="*/ 817659 h 4687251"/>
              <a:gd name="connsiteX25421" fmla="*/ 2459747 w 8079933"/>
              <a:gd name="connsiteY25421" fmla="*/ 818417 h 4687251"/>
              <a:gd name="connsiteX25422" fmla="*/ 2458878 w 8079933"/>
              <a:gd name="connsiteY25422" fmla="*/ 823505 h 4687251"/>
              <a:gd name="connsiteX25423" fmla="*/ 2462676 w 8079933"/>
              <a:gd name="connsiteY25423" fmla="*/ 828703 h 4687251"/>
              <a:gd name="connsiteX25424" fmla="*/ 2465389 w 8079933"/>
              <a:gd name="connsiteY25424" fmla="*/ 828270 h 4687251"/>
              <a:gd name="connsiteX25425" fmla="*/ 2469079 w 8079933"/>
              <a:gd name="connsiteY25425" fmla="*/ 836715 h 4687251"/>
              <a:gd name="connsiteX25426" fmla="*/ 2471467 w 8079933"/>
              <a:gd name="connsiteY25426" fmla="*/ 839313 h 4687251"/>
              <a:gd name="connsiteX25427" fmla="*/ 2469947 w 8079933"/>
              <a:gd name="connsiteY25427" fmla="*/ 843860 h 4687251"/>
              <a:gd name="connsiteX25428" fmla="*/ 2469622 w 8079933"/>
              <a:gd name="connsiteY25428" fmla="*/ 847650 h 4687251"/>
              <a:gd name="connsiteX25429" fmla="*/ 2466474 w 8079933"/>
              <a:gd name="connsiteY25429" fmla="*/ 852522 h 4687251"/>
              <a:gd name="connsiteX25430" fmla="*/ 2463220 w 8079933"/>
              <a:gd name="connsiteY25430" fmla="*/ 854904 h 4687251"/>
              <a:gd name="connsiteX25431" fmla="*/ 2452694 w 8079933"/>
              <a:gd name="connsiteY25431" fmla="*/ 854688 h 4687251"/>
              <a:gd name="connsiteX25432" fmla="*/ 2451282 w 8079933"/>
              <a:gd name="connsiteY25432" fmla="*/ 853388 h 4687251"/>
              <a:gd name="connsiteX25433" fmla="*/ 2447159 w 8079933"/>
              <a:gd name="connsiteY25433" fmla="*/ 853713 h 4687251"/>
              <a:gd name="connsiteX25434" fmla="*/ 2442384 w 8079933"/>
              <a:gd name="connsiteY25434" fmla="*/ 850682 h 4687251"/>
              <a:gd name="connsiteX25435" fmla="*/ 2443578 w 8079933"/>
              <a:gd name="connsiteY25435" fmla="*/ 848949 h 4687251"/>
              <a:gd name="connsiteX25436" fmla="*/ 2443578 w 8079933"/>
              <a:gd name="connsiteY25436" fmla="*/ 844619 h 4687251"/>
              <a:gd name="connsiteX25437" fmla="*/ 2436090 w 8079933"/>
              <a:gd name="connsiteY25437" fmla="*/ 844727 h 4687251"/>
              <a:gd name="connsiteX25438" fmla="*/ 2428277 w 8079933"/>
              <a:gd name="connsiteY25438" fmla="*/ 840829 h 4687251"/>
              <a:gd name="connsiteX25439" fmla="*/ 2421658 w 8079933"/>
              <a:gd name="connsiteY25439" fmla="*/ 840180 h 4687251"/>
              <a:gd name="connsiteX25440" fmla="*/ 2424804 w 8079933"/>
              <a:gd name="connsiteY25440" fmla="*/ 848733 h 4687251"/>
              <a:gd name="connsiteX25441" fmla="*/ 2426974 w 8079933"/>
              <a:gd name="connsiteY25441" fmla="*/ 853930 h 4687251"/>
              <a:gd name="connsiteX25442" fmla="*/ 2425998 w 8079933"/>
              <a:gd name="connsiteY25442" fmla="*/ 854904 h 4687251"/>
              <a:gd name="connsiteX25443" fmla="*/ 2422200 w 8079933"/>
              <a:gd name="connsiteY25443" fmla="*/ 854796 h 4687251"/>
              <a:gd name="connsiteX25444" fmla="*/ 2420030 w 8079933"/>
              <a:gd name="connsiteY25444" fmla="*/ 850140 h 4687251"/>
              <a:gd name="connsiteX25445" fmla="*/ 2416123 w 8079933"/>
              <a:gd name="connsiteY25445" fmla="*/ 845917 h 4687251"/>
              <a:gd name="connsiteX25446" fmla="*/ 2414495 w 8079933"/>
              <a:gd name="connsiteY25446" fmla="*/ 845160 h 4687251"/>
              <a:gd name="connsiteX25447" fmla="*/ 2413302 w 8079933"/>
              <a:gd name="connsiteY25447" fmla="*/ 841803 h 4687251"/>
              <a:gd name="connsiteX25448" fmla="*/ 2408744 w 8079933"/>
              <a:gd name="connsiteY25448" fmla="*/ 837040 h 4687251"/>
              <a:gd name="connsiteX25449" fmla="*/ 2405271 w 8079933"/>
              <a:gd name="connsiteY25449" fmla="*/ 832817 h 4687251"/>
              <a:gd name="connsiteX25450" fmla="*/ 2404511 w 8079933"/>
              <a:gd name="connsiteY25450" fmla="*/ 830435 h 4687251"/>
              <a:gd name="connsiteX25451" fmla="*/ 2401256 w 8079933"/>
              <a:gd name="connsiteY25451" fmla="*/ 829677 h 4687251"/>
              <a:gd name="connsiteX25452" fmla="*/ 2397350 w 8079933"/>
              <a:gd name="connsiteY25452" fmla="*/ 824697 h 4687251"/>
              <a:gd name="connsiteX25453" fmla="*/ 2394420 w 8079933"/>
              <a:gd name="connsiteY25453" fmla="*/ 823505 h 4687251"/>
              <a:gd name="connsiteX25454" fmla="*/ 2393009 w 8079933"/>
              <a:gd name="connsiteY25454" fmla="*/ 821665 h 4687251"/>
              <a:gd name="connsiteX25455" fmla="*/ 2389211 w 8079933"/>
              <a:gd name="connsiteY25455" fmla="*/ 819608 h 4687251"/>
              <a:gd name="connsiteX25456" fmla="*/ 2390079 w 8079933"/>
              <a:gd name="connsiteY25456" fmla="*/ 823181 h 4687251"/>
              <a:gd name="connsiteX25457" fmla="*/ 2399195 w 8079933"/>
              <a:gd name="connsiteY25457" fmla="*/ 830435 h 4687251"/>
              <a:gd name="connsiteX25458" fmla="*/ 2401256 w 8079933"/>
              <a:gd name="connsiteY25458" fmla="*/ 834008 h 4687251"/>
              <a:gd name="connsiteX25459" fmla="*/ 2404511 w 8079933"/>
              <a:gd name="connsiteY25459" fmla="*/ 837906 h 4687251"/>
              <a:gd name="connsiteX25460" fmla="*/ 2408201 w 8079933"/>
              <a:gd name="connsiteY25460" fmla="*/ 840396 h 4687251"/>
              <a:gd name="connsiteX25461" fmla="*/ 2409504 w 8079933"/>
              <a:gd name="connsiteY25461" fmla="*/ 843752 h 4687251"/>
              <a:gd name="connsiteX25462" fmla="*/ 2407116 w 8079933"/>
              <a:gd name="connsiteY25462" fmla="*/ 846892 h 4687251"/>
              <a:gd name="connsiteX25463" fmla="*/ 2405380 w 8079933"/>
              <a:gd name="connsiteY25463" fmla="*/ 845376 h 4687251"/>
              <a:gd name="connsiteX25464" fmla="*/ 2402993 w 8079933"/>
              <a:gd name="connsiteY25464" fmla="*/ 847758 h 4687251"/>
              <a:gd name="connsiteX25465" fmla="*/ 2396265 w 8079933"/>
              <a:gd name="connsiteY25465" fmla="*/ 843427 h 4687251"/>
              <a:gd name="connsiteX25466" fmla="*/ 2393660 w 8079933"/>
              <a:gd name="connsiteY25466" fmla="*/ 844186 h 4687251"/>
              <a:gd name="connsiteX25467" fmla="*/ 2391490 w 8079933"/>
              <a:gd name="connsiteY25467" fmla="*/ 840504 h 4687251"/>
              <a:gd name="connsiteX25468" fmla="*/ 2387149 w 8079933"/>
              <a:gd name="connsiteY25468" fmla="*/ 838988 h 4687251"/>
              <a:gd name="connsiteX25469" fmla="*/ 2385413 w 8079933"/>
              <a:gd name="connsiteY25469" fmla="*/ 834982 h 4687251"/>
              <a:gd name="connsiteX25470" fmla="*/ 2377708 w 8079933"/>
              <a:gd name="connsiteY25470" fmla="*/ 836065 h 4687251"/>
              <a:gd name="connsiteX25471" fmla="*/ 2373693 w 8079933"/>
              <a:gd name="connsiteY25471" fmla="*/ 838339 h 4687251"/>
              <a:gd name="connsiteX25472" fmla="*/ 2370221 w 8079933"/>
              <a:gd name="connsiteY25472" fmla="*/ 835415 h 4687251"/>
              <a:gd name="connsiteX25473" fmla="*/ 2365120 w 8079933"/>
              <a:gd name="connsiteY25473" fmla="*/ 834333 h 4687251"/>
              <a:gd name="connsiteX25474" fmla="*/ 2360780 w 8079933"/>
              <a:gd name="connsiteY25474" fmla="*/ 834658 h 4687251"/>
              <a:gd name="connsiteX25475" fmla="*/ 2358392 w 8079933"/>
              <a:gd name="connsiteY25475" fmla="*/ 831409 h 4687251"/>
              <a:gd name="connsiteX25476" fmla="*/ 2352858 w 8079933"/>
              <a:gd name="connsiteY25476" fmla="*/ 827837 h 4687251"/>
              <a:gd name="connsiteX25477" fmla="*/ 2352749 w 8079933"/>
              <a:gd name="connsiteY25477" fmla="*/ 824913 h 4687251"/>
              <a:gd name="connsiteX25478" fmla="*/ 2359369 w 8079933"/>
              <a:gd name="connsiteY25478" fmla="*/ 818742 h 4687251"/>
              <a:gd name="connsiteX25479" fmla="*/ 2362190 w 8079933"/>
              <a:gd name="connsiteY25479" fmla="*/ 817334 h 4687251"/>
              <a:gd name="connsiteX25480" fmla="*/ 2361973 w 8079933"/>
              <a:gd name="connsiteY25480" fmla="*/ 815385 h 4687251"/>
              <a:gd name="connsiteX25481" fmla="*/ 2358935 w 8079933"/>
              <a:gd name="connsiteY25481" fmla="*/ 815602 h 4687251"/>
              <a:gd name="connsiteX25482" fmla="*/ 2354811 w 8079933"/>
              <a:gd name="connsiteY25482" fmla="*/ 819933 h 4687251"/>
              <a:gd name="connsiteX25483" fmla="*/ 2351447 w 8079933"/>
              <a:gd name="connsiteY25483" fmla="*/ 823723 h 4687251"/>
              <a:gd name="connsiteX25484" fmla="*/ 2349060 w 8079933"/>
              <a:gd name="connsiteY25484" fmla="*/ 824588 h 4687251"/>
              <a:gd name="connsiteX25485" fmla="*/ 2345261 w 8079933"/>
              <a:gd name="connsiteY25485" fmla="*/ 821448 h 4687251"/>
              <a:gd name="connsiteX25486" fmla="*/ 2340813 w 8079933"/>
              <a:gd name="connsiteY25486" fmla="*/ 820582 h 4687251"/>
              <a:gd name="connsiteX25487" fmla="*/ 2338859 w 8079933"/>
              <a:gd name="connsiteY25487" fmla="*/ 821232 h 4687251"/>
              <a:gd name="connsiteX25488" fmla="*/ 2342875 w 8079933"/>
              <a:gd name="connsiteY25488" fmla="*/ 824047 h 4687251"/>
              <a:gd name="connsiteX25489" fmla="*/ 2340595 w 8079933"/>
              <a:gd name="connsiteY25489" fmla="*/ 825780 h 4687251"/>
              <a:gd name="connsiteX25490" fmla="*/ 2334410 w 8079933"/>
              <a:gd name="connsiteY25490" fmla="*/ 825346 h 4687251"/>
              <a:gd name="connsiteX25491" fmla="*/ 2328550 w 8079933"/>
              <a:gd name="connsiteY25491" fmla="*/ 820474 h 4687251"/>
              <a:gd name="connsiteX25492" fmla="*/ 2327682 w 8079933"/>
              <a:gd name="connsiteY25492" fmla="*/ 814086 h 4687251"/>
              <a:gd name="connsiteX25493" fmla="*/ 2323558 w 8079933"/>
              <a:gd name="connsiteY25493" fmla="*/ 810946 h 4687251"/>
              <a:gd name="connsiteX25494" fmla="*/ 2324318 w 8079933"/>
              <a:gd name="connsiteY25494" fmla="*/ 807048 h 4687251"/>
              <a:gd name="connsiteX25495" fmla="*/ 2332348 w 8079933"/>
              <a:gd name="connsiteY25495" fmla="*/ 802934 h 4687251"/>
              <a:gd name="connsiteX25496" fmla="*/ 2334302 w 8079933"/>
              <a:gd name="connsiteY25496" fmla="*/ 800011 h 4687251"/>
              <a:gd name="connsiteX25497" fmla="*/ 2332674 w 8079933"/>
              <a:gd name="connsiteY25497" fmla="*/ 798928 h 4687251"/>
              <a:gd name="connsiteX25498" fmla="*/ 2329093 w 8079933"/>
              <a:gd name="connsiteY25498" fmla="*/ 801635 h 4687251"/>
              <a:gd name="connsiteX25499" fmla="*/ 2323450 w 8079933"/>
              <a:gd name="connsiteY25499" fmla="*/ 802393 h 4687251"/>
              <a:gd name="connsiteX25500" fmla="*/ 2321388 w 8079933"/>
              <a:gd name="connsiteY25500" fmla="*/ 807374 h 4687251"/>
              <a:gd name="connsiteX25501" fmla="*/ 2318892 w 8079933"/>
              <a:gd name="connsiteY25501" fmla="*/ 807915 h 4687251"/>
              <a:gd name="connsiteX25502" fmla="*/ 2318024 w 8079933"/>
              <a:gd name="connsiteY25502" fmla="*/ 804450 h 4687251"/>
              <a:gd name="connsiteX25503" fmla="*/ 2319109 w 8079933"/>
              <a:gd name="connsiteY25503" fmla="*/ 800661 h 4687251"/>
              <a:gd name="connsiteX25504" fmla="*/ 2317156 w 8079933"/>
              <a:gd name="connsiteY25504" fmla="*/ 798928 h 4687251"/>
              <a:gd name="connsiteX25505" fmla="*/ 2314877 w 8079933"/>
              <a:gd name="connsiteY25505" fmla="*/ 799470 h 4687251"/>
              <a:gd name="connsiteX25506" fmla="*/ 2314009 w 8079933"/>
              <a:gd name="connsiteY25506" fmla="*/ 802501 h 4687251"/>
              <a:gd name="connsiteX25507" fmla="*/ 2314660 w 8079933"/>
              <a:gd name="connsiteY25507" fmla="*/ 804991 h 4687251"/>
              <a:gd name="connsiteX25508" fmla="*/ 2313466 w 8079933"/>
              <a:gd name="connsiteY25508" fmla="*/ 807482 h 4687251"/>
              <a:gd name="connsiteX25509" fmla="*/ 2310103 w 8079933"/>
              <a:gd name="connsiteY25509" fmla="*/ 806507 h 4687251"/>
              <a:gd name="connsiteX25510" fmla="*/ 2307281 w 8079933"/>
              <a:gd name="connsiteY25510" fmla="*/ 803260 h 4687251"/>
              <a:gd name="connsiteX25511" fmla="*/ 2303375 w 8079933"/>
              <a:gd name="connsiteY25511" fmla="*/ 802393 h 4687251"/>
              <a:gd name="connsiteX25512" fmla="*/ 2300227 w 8079933"/>
              <a:gd name="connsiteY25512" fmla="*/ 803260 h 4687251"/>
              <a:gd name="connsiteX25513" fmla="*/ 2299793 w 8079933"/>
              <a:gd name="connsiteY25513" fmla="*/ 806183 h 4687251"/>
              <a:gd name="connsiteX25514" fmla="*/ 2297297 w 8079933"/>
              <a:gd name="connsiteY25514" fmla="*/ 806291 h 4687251"/>
              <a:gd name="connsiteX25515" fmla="*/ 2294151 w 8079933"/>
              <a:gd name="connsiteY25515" fmla="*/ 802501 h 4687251"/>
              <a:gd name="connsiteX25516" fmla="*/ 2292848 w 8079933"/>
              <a:gd name="connsiteY25516" fmla="*/ 798712 h 4687251"/>
              <a:gd name="connsiteX25517" fmla="*/ 2294259 w 8079933"/>
              <a:gd name="connsiteY25517" fmla="*/ 798928 h 4687251"/>
              <a:gd name="connsiteX25518" fmla="*/ 2296646 w 8079933"/>
              <a:gd name="connsiteY25518" fmla="*/ 800661 h 4687251"/>
              <a:gd name="connsiteX25519" fmla="*/ 2296537 w 8079933"/>
              <a:gd name="connsiteY25519" fmla="*/ 798928 h 4687251"/>
              <a:gd name="connsiteX25520" fmla="*/ 2292089 w 8079933"/>
              <a:gd name="connsiteY25520" fmla="*/ 794706 h 4687251"/>
              <a:gd name="connsiteX25521" fmla="*/ 2286446 w 8079933"/>
              <a:gd name="connsiteY25521" fmla="*/ 791458 h 4687251"/>
              <a:gd name="connsiteX25522" fmla="*/ 2285795 w 8079933"/>
              <a:gd name="connsiteY25522" fmla="*/ 787452 h 4687251"/>
              <a:gd name="connsiteX25523" fmla="*/ 2286555 w 8079933"/>
              <a:gd name="connsiteY25523" fmla="*/ 782363 h 4687251"/>
              <a:gd name="connsiteX25524" fmla="*/ 2285903 w 8079933"/>
              <a:gd name="connsiteY25524" fmla="*/ 776516 h 4687251"/>
              <a:gd name="connsiteX25525" fmla="*/ 2283733 w 8079933"/>
              <a:gd name="connsiteY25525" fmla="*/ 769371 h 4687251"/>
              <a:gd name="connsiteX25526" fmla="*/ 2285143 w 8079933"/>
              <a:gd name="connsiteY25526" fmla="*/ 765906 h 4687251"/>
              <a:gd name="connsiteX25527" fmla="*/ 2288073 w 8079933"/>
              <a:gd name="connsiteY25527" fmla="*/ 765906 h 4687251"/>
              <a:gd name="connsiteX25528" fmla="*/ 2288073 w 8079933"/>
              <a:gd name="connsiteY25528" fmla="*/ 763199 h 4687251"/>
              <a:gd name="connsiteX25529" fmla="*/ 2286337 w 8079933"/>
              <a:gd name="connsiteY25529" fmla="*/ 757677 h 4687251"/>
              <a:gd name="connsiteX25530" fmla="*/ 2287096 w 8079933"/>
              <a:gd name="connsiteY25530" fmla="*/ 755728 h 4687251"/>
              <a:gd name="connsiteX25531" fmla="*/ 2291546 w 8079933"/>
              <a:gd name="connsiteY25531" fmla="*/ 757028 h 4687251"/>
              <a:gd name="connsiteX25532" fmla="*/ 2293282 w 8079933"/>
              <a:gd name="connsiteY25532" fmla="*/ 759410 h 4687251"/>
              <a:gd name="connsiteX25533" fmla="*/ 2300987 w 8079933"/>
              <a:gd name="connsiteY25533" fmla="*/ 759951 h 4687251"/>
              <a:gd name="connsiteX25534" fmla="*/ 2305111 w 8079933"/>
              <a:gd name="connsiteY25534" fmla="*/ 763199 h 4687251"/>
              <a:gd name="connsiteX25535" fmla="*/ 2306521 w 8079933"/>
              <a:gd name="connsiteY25535" fmla="*/ 767638 h 4687251"/>
              <a:gd name="connsiteX25536" fmla="*/ 2314986 w 8079933"/>
              <a:gd name="connsiteY25536" fmla="*/ 770887 h 4687251"/>
              <a:gd name="connsiteX25537" fmla="*/ 2322582 w 8079933"/>
              <a:gd name="connsiteY25537" fmla="*/ 770887 h 4687251"/>
              <a:gd name="connsiteX25538" fmla="*/ 2324752 w 8079933"/>
              <a:gd name="connsiteY25538" fmla="*/ 769587 h 4687251"/>
              <a:gd name="connsiteX25539" fmla="*/ 2331480 w 8079933"/>
              <a:gd name="connsiteY25539" fmla="*/ 769371 h 4687251"/>
              <a:gd name="connsiteX25540" fmla="*/ 2328550 w 8079933"/>
              <a:gd name="connsiteY25540" fmla="*/ 766989 h 4687251"/>
              <a:gd name="connsiteX25541" fmla="*/ 2327899 w 8079933"/>
              <a:gd name="connsiteY25541" fmla="*/ 763849 h 4687251"/>
              <a:gd name="connsiteX25542" fmla="*/ 2321713 w 8079933"/>
              <a:gd name="connsiteY25542" fmla="*/ 760059 h 4687251"/>
              <a:gd name="connsiteX25543" fmla="*/ 2320954 w 8079933"/>
              <a:gd name="connsiteY25543" fmla="*/ 753671 h 4687251"/>
              <a:gd name="connsiteX25544" fmla="*/ 2314769 w 8079933"/>
              <a:gd name="connsiteY25544" fmla="*/ 753671 h 4687251"/>
              <a:gd name="connsiteX25545" fmla="*/ 2309451 w 8079933"/>
              <a:gd name="connsiteY25545" fmla="*/ 750423 h 4687251"/>
              <a:gd name="connsiteX25546" fmla="*/ 2305870 w 8079933"/>
              <a:gd name="connsiteY25546" fmla="*/ 750423 h 4687251"/>
              <a:gd name="connsiteX25547" fmla="*/ 2300336 w 8079933"/>
              <a:gd name="connsiteY25547" fmla="*/ 746850 h 4687251"/>
              <a:gd name="connsiteX25548" fmla="*/ 2295669 w 8079933"/>
              <a:gd name="connsiteY25548" fmla="*/ 746634 h 4687251"/>
              <a:gd name="connsiteX25549" fmla="*/ 2287205 w 8079933"/>
              <a:gd name="connsiteY25549" fmla="*/ 741978 h 4687251"/>
              <a:gd name="connsiteX25550" fmla="*/ 2284926 w 8079933"/>
              <a:gd name="connsiteY25550" fmla="*/ 737755 h 4687251"/>
              <a:gd name="connsiteX25551" fmla="*/ 2286663 w 8079933"/>
              <a:gd name="connsiteY25551" fmla="*/ 730177 h 4687251"/>
              <a:gd name="connsiteX25552" fmla="*/ 2290678 w 8079933"/>
              <a:gd name="connsiteY25552" fmla="*/ 727578 h 4687251"/>
              <a:gd name="connsiteX25553" fmla="*/ 2290352 w 8079933"/>
              <a:gd name="connsiteY25553" fmla="*/ 724114 h 4687251"/>
              <a:gd name="connsiteX25554" fmla="*/ 2291871 w 8079933"/>
              <a:gd name="connsiteY25554" fmla="*/ 718808 h 4687251"/>
              <a:gd name="connsiteX25555" fmla="*/ 2295669 w 8079933"/>
              <a:gd name="connsiteY25555" fmla="*/ 718808 h 4687251"/>
              <a:gd name="connsiteX25556" fmla="*/ 2298057 w 8079933"/>
              <a:gd name="connsiteY25556" fmla="*/ 714153 h 4687251"/>
              <a:gd name="connsiteX25557" fmla="*/ 2298057 w 8079933"/>
              <a:gd name="connsiteY25557" fmla="*/ 705708 h 4687251"/>
              <a:gd name="connsiteX25558" fmla="*/ 2299685 w 8079933"/>
              <a:gd name="connsiteY25558" fmla="*/ 702351 h 4687251"/>
              <a:gd name="connsiteX25559" fmla="*/ 2303048 w 8079933"/>
              <a:gd name="connsiteY25559" fmla="*/ 701268 h 4687251"/>
              <a:gd name="connsiteX25560" fmla="*/ 2304243 w 8079933"/>
              <a:gd name="connsiteY25560" fmla="*/ 697154 h 4687251"/>
              <a:gd name="connsiteX25561" fmla="*/ 2310645 w 8079933"/>
              <a:gd name="connsiteY25561" fmla="*/ 693690 h 4687251"/>
              <a:gd name="connsiteX25562" fmla="*/ 2314443 w 8079933"/>
              <a:gd name="connsiteY25562" fmla="*/ 693364 h 4687251"/>
              <a:gd name="connsiteX25563" fmla="*/ 2315528 w 8079933"/>
              <a:gd name="connsiteY25563" fmla="*/ 690117 h 4687251"/>
              <a:gd name="connsiteX25564" fmla="*/ 2313900 w 8079933"/>
              <a:gd name="connsiteY25564" fmla="*/ 690333 h 4687251"/>
              <a:gd name="connsiteX25565" fmla="*/ 2311730 w 8079933"/>
              <a:gd name="connsiteY25565" fmla="*/ 691199 h 4687251"/>
              <a:gd name="connsiteX25566" fmla="*/ 2311187 w 8079933"/>
              <a:gd name="connsiteY25566" fmla="*/ 687301 h 4687251"/>
              <a:gd name="connsiteX25567" fmla="*/ 2315962 w 8079933"/>
              <a:gd name="connsiteY25567" fmla="*/ 680156 h 4687251"/>
              <a:gd name="connsiteX25568" fmla="*/ 2319652 w 8079933"/>
              <a:gd name="connsiteY25568" fmla="*/ 673227 h 4687251"/>
              <a:gd name="connsiteX25569" fmla="*/ 2321388 w 8079933"/>
              <a:gd name="connsiteY25569" fmla="*/ 671602 h 4687251"/>
              <a:gd name="connsiteX25570" fmla="*/ 2324969 w 8079933"/>
              <a:gd name="connsiteY25570" fmla="*/ 666946 h 4687251"/>
              <a:gd name="connsiteX25571" fmla="*/ 2328441 w 8079933"/>
              <a:gd name="connsiteY25571" fmla="*/ 666946 h 4687251"/>
              <a:gd name="connsiteX25572" fmla="*/ 2330178 w 8079933"/>
              <a:gd name="connsiteY25572" fmla="*/ 667380 h 4687251"/>
              <a:gd name="connsiteX25573" fmla="*/ 2332239 w 8079933"/>
              <a:gd name="connsiteY25573" fmla="*/ 660017 h 4687251"/>
              <a:gd name="connsiteX25574" fmla="*/ 2334410 w 8079933"/>
              <a:gd name="connsiteY25574" fmla="*/ 660342 h 4687251"/>
              <a:gd name="connsiteX25575" fmla="*/ 2336146 w 8079933"/>
              <a:gd name="connsiteY25575" fmla="*/ 664023 h 4687251"/>
              <a:gd name="connsiteX25576" fmla="*/ 2338534 w 8079933"/>
              <a:gd name="connsiteY25576" fmla="*/ 660667 h 4687251"/>
              <a:gd name="connsiteX25577" fmla="*/ 2336797 w 8079933"/>
              <a:gd name="connsiteY25577" fmla="*/ 657635 h 4687251"/>
              <a:gd name="connsiteX25578" fmla="*/ 2342332 w 8079933"/>
              <a:gd name="connsiteY25578" fmla="*/ 649082 h 4687251"/>
              <a:gd name="connsiteX25579" fmla="*/ 2346130 w 8079933"/>
              <a:gd name="connsiteY25579" fmla="*/ 649190 h 4687251"/>
              <a:gd name="connsiteX25580" fmla="*/ 2345804 w 8079933"/>
              <a:gd name="connsiteY25580" fmla="*/ 644860 h 4687251"/>
              <a:gd name="connsiteX25581" fmla="*/ 2349711 w 8079933"/>
              <a:gd name="connsiteY25581" fmla="*/ 639446 h 4687251"/>
              <a:gd name="connsiteX25582" fmla="*/ 2354811 w 8079933"/>
              <a:gd name="connsiteY25582" fmla="*/ 639229 h 4687251"/>
              <a:gd name="connsiteX25583" fmla="*/ 2357632 w 8079933"/>
              <a:gd name="connsiteY25583" fmla="*/ 635116 h 4687251"/>
              <a:gd name="connsiteX25584" fmla="*/ 2361322 w 8079933"/>
              <a:gd name="connsiteY25584" fmla="*/ 635224 h 4687251"/>
              <a:gd name="connsiteX25585" fmla="*/ 2364252 w 8079933"/>
              <a:gd name="connsiteY25585" fmla="*/ 636848 h 4687251"/>
              <a:gd name="connsiteX25586" fmla="*/ 2362733 w 8079933"/>
              <a:gd name="connsiteY25586" fmla="*/ 632517 h 4687251"/>
              <a:gd name="connsiteX25587" fmla="*/ 2363926 w 8079933"/>
              <a:gd name="connsiteY25587" fmla="*/ 628078 h 4687251"/>
              <a:gd name="connsiteX25588" fmla="*/ 2372391 w 8079933"/>
              <a:gd name="connsiteY25588" fmla="*/ 624289 h 4687251"/>
              <a:gd name="connsiteX25589" fmla="*/ 2380421 w 8079933"/>
              <a:gd name="connsiteY25589" fmla="*/ 617251 h 4687251"/>
              <a:gd name="connsiteX25590" fmla="*/ 2393334 w 8079933"/>
              <a:gd name="connsiteY25590" fmla="*/ 612920 h 4687251"/>
              <a:gd name="connsiteX25591" fmla="*/ 2401908 w 8079933"/>
              <a:gd name="connsiteY25591" fmla="*/ 612379 h 4687251"/>
              <a:gd name="connsiteX25592" fmla="*/ 5435707 w 8079933"/>
              <a:gd name="connsiteY25592" fmla="*/ 610865 h 4687251"/>
              <a:gd name="connsiteX25593" fmla="*/ 5439397 w 8079933"/>
              <a:gd name="connsiteY25593" fmla="*/ 612381 h 4687251"/>
              <a:gd name="connsiteX25594" fmla="*/ 5442327 w 8079933"/>
              <a:gd name="connsiteY25594" fmla="*/ 615520 h 4687251"/>
              <a:gd name="connsiteX25595" fmla="*/ 5440157 w 8079933"/>
              <a:gd name="connsiteY25595" fmla="*/ 618119 h 4687251"/>
              <a:gd name="connsiteX25596" fmla="*/ 5437769 w 8079933"/>
              <a:gd name="connsiteY25596" fmla="*/ 616820 h 4687251"/>
              <a:gd name="connsiteX25597" fmla="*/ 2214282 w 8079933"/>
              <a:gd name="connsiteY25597" fmla="*/ 604582 h 4687251"/>
              <a:gd name="connsiteX25598" fmla="*/ 2215475 w 8079933"/>
              <a:gd name="connsiteY25598" fmla="*/ 608372 h 4687251"/>
              <a:gd name="connsiteX25599" fmla="*/ 2216886 w 8079933"/>
              <a:gd name="connsiteY25599" fmla="*/ 610429 h 4687251"/>
              <a:gd name="connsiteX25600" fmla="*/ 2216343 w 8079933"/>
              <a:gd name="connsiteY25600" fmla="*/ 613677 h 4687251"/>
              <a:gd name="connsiteX25601" fmla="*/ 2212437 w 8079933"/>
              <a:gd name="connsiteY25601" fmla="*/ 618657 h 4687251"/>
              <a:gd name="connsiteX25602" fmla="*/ 2210158 w 8079933"/>
              <a:gd name="connsiteY25602" fmla="*/ 619415 h 4687251"/>
              <a:gd name="connsiteX25603" fmla="*/ 2207879 w 8079933"/>
              <a:gd name="connsiteY25603" fmla="*/ 616709 h 4687251"/>
              <a:gd name="connsiteX25604" fmla="*/ 2207337 w 8079933"/>
              <a:gd name="connsiteY25604" fmla="*/ 611295 h 4687251"/>
              <a:gd name="connsiteX25605" fmla="*/ 2209832 w 8079933"/>
              <a:gd name="connsiteY25605" fmla="*/ 609671 h 4687251"/>
              <a:gd name="connsiteX25606" fmla="*/ 2211026 w 8079933"/>
              <a:gd name="connsiteY25606" fmla="*/ 605990 h 4687251"/>
              <a:gd name="connsiteX25607" fmla="*/ 5419538 w 8079933"/>
              <a:gd name="connsiteY25607" fmla="*/ 602094 h 4687251"/>
              <a:gd name="connsiteX25608" fmla="*/ 5423662 w 8079933"/>
              <a:gd name="connsiteY25608" fmla="*/ 603611 h 4687251"/>
              <a:gd name="connsiteX25609" fmla="*/ 5420949 w 8079933"/>
              <a:gd name="connsiteY25609" fmla="*/ 607182 h 4687251"/>
              <a:gd name="connsiteX25610" fmla="*/ 5415740 w 8079933"/>
              <a:gd name="connsiteY25610" fmla="*/ 607507 h 4687251"/>
              <a:gd name="connsiteX25611" fmla="*/ 5417042 w 8079933"/>
              <a:gd name="connsiteY25611" fmla="*/ 605233 h 4687251"/>
              <a:gd name="connsiteX25612" fmla="*/ 5416717 w 8079933"/>
              <a:gd name="connsiteY25612" fmla="*/ 602959 h 4687251"/>
              <a:gd name="connsiteX25613" fmla="*/ 2213630 w 8079933"/>
              <a:gd name="connsiteY25613" fmla="*/ 599928 h 4687251"/>
              <a:gd name="connsiteX25614" fmla="*/ 2216559 w 8079933"/>
              <a:gd name="connsiteY25614" fmla="*/ 600252 h 4687251"/>
              <a:gd name="connsiteX25615" fmla="*/ 2215583 w 8079933"/>
              <a:gd name="connsiteY25615" fmla="*/ 602525 h 4687251"/>
              <a:gd name="connsiteX25616" fmla="*/ 2213305 w 8079933"/>
              <a:gd name="connsiteY25616" fmla="*/ 602202 h 4687251"/>
              <a:gd name="connsiteX25617" fmla="*/ 1568283 w 8079933"/>
              <a:gd name="connsiteY25617" fmla="*/ 593863 h 4687251"/>
              <a:gd name="connsiteX25618" fmla="*/ 1568391 w 8079933"/>
              <a:gd name="connsiteY25618" fmla="*/ 599169 h 4687251"/>
              <a:gd name="connsiteX25619" fmla="*/ 1563834 w 8079933"/>
              <a:gd name="connsiteY25619" fmla="*/ 601551 h 4687251"/>
              <a:gd name="connsiteX25620" fmla="*/ 1560904 w 8079933"/>
              <a:gd name="connsiteY25620" fmla="*/ 599927 h 4687251"/>
              <a:gd name="connsiteX25621" fmla="*/ 1563074 w 8079933"/>
              <a:gd name="connsiteY25621" fmla="*/ 596678 h 4687251"/>
              <a:gd name="connsiteX25622" fmla="*/ 5299952 w 8079933"/>
              <a:gd name="connsiteY25622" fmla="*/ 592242 h 4687251"/>
              <a:gd name="connsiteX25623" fmla="*/ 5303316 w 8079933"/>
              <a:gd name="connsiteY25623" fmla="*/ 593649 h 4687251"/>
              <a:gd name="connsiteX25624" fmla="*/ 5302991 w 8079933"/>
              <a:gd name="connsiteY25624" fmla="*/ 596464 h 4687251"/>
              <a:gd name="connsiteX25625" fmla="*/ 5304185 w 8079933"/>
              <a:gd name="connsiteY25625" fmla="*/ 600362 h 4687251"/>
              <a:gd name="connsiteX25626" fmla="*/ 5301038 w 8079933"/>
              <a:gd name="connsiteY25626" fmla="*/ 602419 h 4687251"/>
              <a:gd name="connsiteX25627" fmla="*/ 5297240 w 8079933"/>
              <a:gd name="connsiteY25627" fmla="*/ 600578 h 4687251"/>
              <a:gd name="connsiteX25628" fmla="*/ 5296263 w 8079933"/>
              <a:gd name="connsiteY25628" fmla="*/ 597006 h 4687251"/>
              <a:gd name="connsiteX25629" fmla="*/ 5293767 w 8079933"/>
              <a:gd name="connsiteY25629" fmla="*/ 595381 h 4687251"/>
              <a:gd name="connsiteX25630" fmla="*/ 5294852 w 8079933"/>
              <a:gd name="connsiteY25630" fmla="*/ 593107 h 4687251"/>
              <a:gd name="connsiteX25631" fmla="*/ 1324011 w 8079933"/>
              <a:gd name="connsiteY25631" fmla="*/ 590183 h 4687251"/>
              <a:gd name="connsiteX25632" fmla="*/ 1328677 w 8079933"/>
              <a:gd name="connsiteY25632" fmla="*/ 591807 h 4687251"/>
              <a:gd name="connsiteX25633" fmla="*/ 1333560 w 8079933"/>
              <a:gd name="connsiteY25633" fmla="*/ 598519 h 4687251"/>
              <a:gd name="connsiteX25634" fmla="*/ 1331824 w 8079933"/>
              <a:gd name="connsiteY25634" fmla="*/ 599711 h 4687251"/>
              <a:gd name="connsiteX25635" fmla="*/ 1327483 w 8079933"/>
              <a:gd name="connsiteY25635" fmla="*/ 597220 h 4687251"/>
              <a:gd name="connsiteX25636" fmla="*/ 1324445 w 8079933"/>
              <a:gd name="connsiteY25636" fmla="*/ 598195 h 4687251"/>
              <a:gd name="connsiteX25637" fmla="*/ 1320864 w 8079933"/>
              <a:gd name="connsiteY25637" fmla="*/ 592673 h 4687251"/>
              <a:gd name="connsiteX25638" fmla="*/ 5397618 w 8079933"/>
              <a:gd name="connsiteY25638" fmla="*/ 584770 h 4687251"/>
              <a:gd name="connsiteX25639" fmla="*/ 5400331 w 8079933"/>
              <a:gd name="connsiteY25639" fmla="*/ 584987 h 4687251"/>
              <a:gd name="connsiteX25640" fmla="*/ 5400222 w 8079933"/>
              <a:gd name="connsiteY25640" fmla="*/ 587152 h 4687251"/>
              <a:gd name="connsiteX25641" fmla="*/ 5397184 w 8079933"/>
              <a:gd name="connsiteY25641" fmla="*/ 588885 h 4687251"/>
              <a:gd name="connsiteX25642" fmla="*/ 5396533 w 8079933"/>
              <a:gd name="connsiteY25642" fmla="*/ 590292 h 4687251"/>
              <a:gd name="connsiteX25643" fmla="*/ 5397510 w 8079933"/>
              <a:gd name="connsiteY25643" fmla="*/ 591917 h 4687251"/>
              <a:gd name="connsiteX25644" fmla="*/ 5396316 w 8079933"/>
              <a:gd name="connsiteY25644" fmla="*/ 593649 h 4687251"/>
              <a:gd name="connsiteX25645" fmla="*/ 5391975 w 8079933"/>
              <a:gd name="connsiteY25645" fmla="*/ 591699 h 4687251"/>
              <a:gd name="connsiteX25646" fmla="*/ 5391975 w 8079933"/>
              <a:gd name="connsiteY25646" fmla="*/ 588993 h 4687251"/>
              <a:gd name="connsiteX25647" fmla="*/ 4923074 w 8079933"/>
              <a:gd name="connsiteY25647" fmla="*/ 582065 h 4687251"/>
              <a:gd name="connsiteX25648" fmla="*/ 4924593 w 8079933"/>
              <a:gd name="connsiteY25648" fmla="*/ 582173 h 4687251"/>
              <a:gd name="connsiteX25649" fmla="*/ 4923833 w 8079933"/>
              <a:gd name="connsiteY25649" fmla="*/ 585529 h 4687251"/>
              <a:gd name="connsiteX25650" fmla="*/ 4917323 w 8079933"/>
              <a:gd name="connsiteY25650" fmla="*/ 589860 h 4687251"/>
              <a:gd name="connsiteX25651" fmla="*/ 4916021 w 8079933"/>
              <a:gd name="connsiteY25651" fmla="*/ 592350 h 4687251"/>
              <a:gd name="connsiteX25652" fmla="*/ 4914176 w 8079933"/>
              <a:gd name="connsiteY25652" fmla="*/ 592782 h 4687251"/>
              <a:gd name="connsiteX25653" fmla="*/ 4912331 w 8079933"/>
              <a:gd name="connsiteY25653" fmla="*/ 589860 h 4687251"/>
              <a:gd name="connsiteX25654" fmla="*/ 4914935 w 8079933"/>
              <a:gd name="connsiteY25654" fmla="*/ 586720 h 4687251"/>
              <a:gd name="connsiteX25655" fmla="*/ 4917865 w 8079933"/>
              <a:gd name="connsiteY25655" fmla="*/ 585746 h 4687251"/>
              <a:gd name="connsiteX25656" fmla="*/ 2357198 w 8079933"/>
              <a:gd name="connsiteY25656" fmla="*/ 581196 h 4687251"/>
              <a:gd name="connsiteX25657" fmla="*/ 2363383 w 8079933"/>
              <a:gd name="connsiteY25657" fmla="*/ 582929 h 4687251"/>
              <a:gd name="connsiteX25658" fmla="*/ 2364143 w 8079933"/>
              <a:gd name="connsiteY25658" fmla="*/ 584986 h 4687251"/>
              <a:gd name="connsiteX25659" fmla="*/ 2361213 w 8079933"/>
              <a:gd name="connsiteY25659" fmla="*/ 586827 h 4687251"/>
              <a:gd name="connsiteX25660" fmla="*/ 2358934 w 8079933"/>
              <a:gd name="connsiteY25660" fmla="*/ 586285 h 4687251"/>
              <a:gd name="connsiteX25661" fmla="*/ 2355896 w 8079933"/>
              <a:gd name="connsiteY25661" fmla="*/ 583037 h 4687251"/>
              <a:gd name="connsiteX25662" fmla="*/ 5406842 w 8079933"/>
              <a:gd name="connsiteY25662" fmla="*/ 580657 h 4687251"/>
              <a:gd name="connsiteX25663" fmla="*/ 5411834 w 8079933"/>
              <a:gd name="connsiteY25663" fmla="*/ 580874 h 4687251"/>
              <a:gd name="connsiteX25664" fmla="*/ 5412810 w 8079933"/>
              <a:gd name="connsiteY25664" fmla="*/ 583798 h 4687251"/>
              <a:gd name="connsiteX25665" fmla="*/ 5412267 w 8079933"/>
              <a:gd name="connsiteY25665" fmla="*/ 585421 h 4687251"/>
              <a:gd name="connsiteX25666" fmla="*/ 5409772 w 8079933"/>
              <a:gd name="connsiteY25666" fmla="*/ 587045 h 4687251"/>
              <a:gd name="connsiteX25667" fmla="*/ 5406299 w 8079933"/>
              <a:gd name="connsiteY25667" fmla="*/ 586828 h 4687251"/>
              <a:gd name="connsiteX25668" fmla="*/ 5405431 w 8079933"/>
              <a:gd name="connsiteY25668" fmla="*/ 582821 h 4687251"/>
              <a:gd name="connsiteX25669" fmla="*/ 5420406 w 8079933"/>
              <a:gd name="connsiteY25669" fmla="*/ 576867 h 4687251"/>
              <a:gd name="connsiteX25670" fmla="*/ 5422577 w 8079933"/>
              <a:gd name="connsiteY25670" fmla="*/ 579575 h 4687251"/>
              <a:gd name="connsiteX25671" fmla="*/ 5422251 w 8079933"/>
              <a:gd name="connsiteY25671" fmla="*/ 582716 h 4687251"/>
              <a:gd name="connsiteX25672" fmla="*/ 5417801 w 8079933"/>
              <a:gd name="connsiteY25672" fmla="*/ 586504 h 4687251"/>
              <a:gd name="connsiteX25673" fmla="*/ 5415848 w 8079933"/>
              <a:gd name="connsiteY25673" fmla="*/ 587261 h 4687251"/>
              <a:gd name="connsiteX25674" fmla="*/ 5414763 w 8079933"/>
              <a:gd name="connsiteY25674" fmla="*/ 586178 h 4687251"/>
              <a:gd name="connsiteX25675" fmla="*/ 5416282 w 8079933"/>
              <a:gd name="connsiteY25675" fmla="*/ 583254 h 4687251"/>
              <a:gd name="connsiteX25676" fmla="*/ 5415522 w 8079933"/>
              <a:gd name="connsiteY25676" fmla="*/ 580441 h 4687251"/>
              <a:gd name="connsiteX25677" fmla="*/ 5416065 w 8079933"/>
              <a:gd name="connsiteY25677" fmla="*/ 577083 h 4687251"/>
              <a:gd name="connsiteX25678" fmla="*/ 5399680 w 8079933"/>
              <a:gd name="connsiteY25678" fmla="*/ 564524 h 4687251"/>
              <a:gd name="connsiteX25679" fmla="*/ 5402827 w 8079933"/>
              <a:gd name="connsiteY25679" fmla="*/ 565391 h 4687251"/>
              <a:gd name="connsiteX25680" fmla="*/ 5403913 w 8079933"/>
              <a:gd name="connsiteY25680" fmla="*/ 567230 h 4687251"/>
              <a:gd name="connsiteX25681" fmla="*/ 5400331 w 8079933"/>
              <a:gd name="connsiteY25681" fmla="*/ 571886 h 4687251"/>
              <a:gd name="connsiteX25682" fmla="*/ 5398269 w 8079933"/>
              <a:gd name="connsiteY25682" fmla="*/ 570047 h 4687251"/>
              <a:gd name="connsiteX25683" fmla="*/ 5392409 w 8079933"/>
              <a:gd name="connsiteY25683" fmla="*/ 568206 h 4687251"/>
              <a:gd name="connsiteX25684" fmla="*/ 5392192 w 8079933"/>
              <a:gd name="connsiteY25684" fmla="*/ 566905 h 4687251"/>
              <a:gd name="connsiteX25685" fmla="*/ 5396099 w 8079933"/>
              <a:gd name="connsiteY25685" fmla="*/ 565932 h 4687251"/>
              <a:gd name="connsiteX25686" fmla="*/ 2287097 w 8079933"/>
              <a:gd name="connsiteY25686" fmla="*/ 559759 h 4687251"/>
              <a:gd name="connsiteX25687" fmla="*/ 2289375 w 8079933"/>
              <a:gd name="connsiteY25687" fmla="*/ 561492 h 4687251"/>
              <a:gd name="connsiteX25688" fmla="*/ 2293716 w 8079933"/>
              <a:gd name="connsiteY25688" fmla="*/ 561492 h 4687251"/>
              <a:gd name="connsiteX25689" fmla="*/ 2294910 w 8079933"/>
              <a:gd name="connsiteY25689" fmla="*/ 564956 h 4687251"/>
              <a:gd name="connsiteX25690" fmla="*/ 2298165 w 8079933"/>
              <a:gd name="connsiteY25690" fmla="*/ 562249 h 4687251"/>
              <a:gd name="connsiteX25691" fmla="*/ 2304243 w 8079933"/>
              <a:gd name="connsiteY25691" fmla="*/ 562249 h 4687251"/>
              <a:gd name="connsiteX25692" fmla="*/ 2307389 w 8079933"/>
              <a:gd name="connsiteY25692" fmla="*/ 567555 h 4687251"/>
              <a:gd name="connsiteX25693" fmla="*/ 2312055 w 8079933"/>
              <a:gd name="connsiteY25693" fmla="*/ 568962 h 4687251"/>
              <a:gd name="connsiteX25694" fmla="*/ 2313032 w 8079933"/>
              <a:gd name="connsiteY25694" fmla="*/ 570153 h 4687251"/>
              <a:gd name="connsiteX25695" fmla="*/ 2315311 w 8079933"/>
              <a:gd name="connsiteY25695" fmla="*/ 570153 h 4687251"/>
              <a:gd name="connsiteX25696" fmla="*/ 2317915 w 8079933"/>
              <a:gd name="connsiteY25696" fmla="*/ 574592 h 4687251"/>
              <a:gd name="connsiteX25697" fmla="*/ 2317915 w 8079933"/>
              <a:gd name="connsiteY25697" fmla="*/ 578381 h 4687251"/>
              <a:gd name="connsiteX25698" fmla="*/ 2319760 w 8079933"/>
              <a:gd name="connsiteY25698" fmla="*/ 579897 h 4687251"/>
              <a:gd name="connsiteX25699" fmla="*/ 2323016 w 8079933"/>
              <a:gd name="connsiteY25699" fmla="*/ 578381 h 4687251"/>
              <a:gd name="connsiteX25700" fmla="*/ 2329744 w 8079933"/>
              <a:gd name="connsiteY25700" fmla="*/ 579031 h 4687251"/>
              <a:gd name="connsiteX25701" fmla="*/ 2340595 w 8079933"/>
              <a:gd name="connsiteY25701" fmla="*/ 580439 h 4687251"/>
              <a:gd name="connsiteX25702" fmla="*/ 2346998 w 8079933"/>
              <a:gd name="connsiteY25702" fmla="*/ 584445 h 4687251"/>
              <a:gd name="connsiteX25703" fmla="*/ 2346998 w 8079933"/>
              <a:gd name="connsiteY25703" fmla="*/ 588234 h 4687251"/>
              <a:gd name="connsiteX25704" fmla="*/ 2349927 w 8079933"/>
              <a:gd name="connsiteY25704" fmla="*/ 590291 h 4687251"/>
              <a:gd name="connsiteX25705" fmla="*/ 2351121 w 8079933"/>
              <a:gd name="connsiteY25705" fmla="*/ 594081 h 4687251"/>
              <a:gd name="connsiteX25706" fmla="*/ 2349277 w 8079933"/>
              <a:gd name="connsiteY25706" fmla="*/ 592890 h 4687251"/>
              <a:gd name="connsiteX25707" fmla="*/ 2347214 w 8079933"/>
              <a:gd name="connsiteY25707" fmla="*/ 592890 h 4687251"/>
              <a:gd name="connsiteX25708" fmla="*/ 2344936 w 8079933"/>
              <a:gd name="connsiteY25708" fmla="*/ 598195 h 4687251"/>
              <a:gd name="connsiteX25709" fmla="*/ 2337991 w 8079933"/>
              <a:gd name="connsiteY25709" fmla="*/ 604583 h 4687251"/>
              <a:gd name="connsiteX25710" fmla="*/ 2334410 w 8079933"/>
              <a:gd name="connsiteY25710" fmla="*/ 609780 h 4687251"/>
              <a:gd name="connsiteX25711" fmla="*/ 2330286 w 8079933"/>
              <a:gd name="connsiteY25711" fmla="*/ 610971 h 4687251"/>
              <a:gd name="connsiteX25712" fmla="*/ 2330286 w 8079933"/>
              <a:gd name="connsiteY25712" fmla="*/ 612811 h 4687251"/>
              <a:gd name="connsiteX25713" fmla="*/ 2320411 w 8079933"/>
              <a:gd name="connsiteY25713" fmla="*/ 620390 h 4687251"/>
              <a:gd name="connsiteX25714" fmla="*/ 2315420 w 8079933"/>
              <a:gd name="connsiteY25714" fmla="*/ 627320 h 4687251"/>
              <a:gd name="connsiteX25715" fmla="*/ 2310102 w 8079933"/>
              <a:gd name="connsiteY25715" fmla="*/ 627320 h 4687251"/>
              <a:gd name="connsiteX25716" fmla="*/ 2309451 w 8079933"/>
              <a:gd name="connsiteY25716" fmla="*/ 629593 h 4687251"/>
              <a:gd name="connsiteX25717" fmla="*/ 2311187 w 8079933"/>
              <a:gd name="connsiteY25717" fmla="*/ 631109 h 4687251"/>
              <a:gd name="connsiteX25718" fmla="*/ 2308800 w 8079933"/>
              <a:gd name="connsiteY25718" fmla="*/ 634574 h 4687251"/>
              <a:gd name="connsiteX25719" fmla="*/ 2301529 w 8079933"/>
              <a:gd name="connsiteY25719" fmla="*/ 639879 h 4687251"/>
              <a:gd name="connsiteX25720" fmla="*/ 2295670 w 8079933"/>
              <a:gd name="connsiteY25720" fmla="*/ 645942 h 4687251"/>
              <a:gd name="connsiteX25721" fmla="*/ 2287097 w 8079933"/>
              <a:gd name="connsiteY25721" fmla="*/ 651572 h 4687251"/>
              <a:gd name="connsiteX25722" fmla="*/ 2281454 w 8079933"/>
              <a:gd name="connsiteY25722" fmla="*/ 655037 h 4687251"/>
              <a:gd name="connsiteX25723" fmla="*/ 2278632 w 8079933"/>
              <a:gd name="connsiteY25723" fmla="*/ 653629 h 4687251"/>
              <a:gd name="connsiteX25724" fmla="*/ 2277656 w 8079933"/>
              <a:gd name="connsiteY25724" fmla="*/ 651464 h 4687251"/>
              <a:gd name="connsiteX25725" fmla="*/ 2274617 w 8079933"/>
              <a:gd name="connsiteY25725" fmla="*/ 651464 h 4687251"/>
              <a:gd name="connsiteX25726" fmla="*/ 2268323 w 8079933"/>
              <a:gd name="connsiteY25726" fmla="*/ 646375 h 4687251"/>
              <a:gd name="connsiteX25727" fmla="*/ 2267672 w 8079933"/>
              <a:gd name="connsiteY25727" fmla="*/ 642369 h 4687251"/>
              <a:gd name="connsiteX25728" fmla="*/ 2264308 w 8079933"/>
              <a:gd name="connsiteY25728" fmla="*/ 640854 h 4687251"/>
              <a:gd name="connsiteX25729" fmla="*/ 2260944 w 8079933"/>
              <a:gd name="connsiteY25729" fmla="*/ 642694 h 4687251"/>
              <a:gd name="connsiteX25730" fmla="*/ 2256387 w 8079933"/>
              <a:gd name="connsiteY25730" fmla="*/ 641503 h 4687251"/>
              <a:gd name="connsiteX25731" fmla="*/ 2252588 w 8079933"/>
              <a:gd name="connsiteY25731" fmla="*/ 641503 h 4687251"/>
              <a:gd name="connsiteX25732" fmla="*/ 2249224 w 8079933"/>
              <a:gd name="connsiteY25732" fmla="*/ 639554 h 4687251"/>
              <a:gd name="connsiteX25733" fmla="*/ 2245643 w 8079933"/>
              <a:gd name="connsiteY25733" fmla="*/ 639554 h 4687251"/>
              <a:gd name="connsiteX25734" fmla="*/ 2244992 w 8079933"/>
              <a:gd name="connsiteY25734" fmla="*/ 642478 h 4687251"/>
              <a:gd name="connsiteX25735" fmla="*/ 2246837 w 8079933"/>
              <a:gd name="connsiteY25735" fmla="*/ 644751 h 4687251"/>
              <a:gd name="connsiteX25736" fmla="*/ 2255952 w 8079933"/>
              <a:gd name="connsiteY25736" fmla="*/ 644751 h 4687251"/>
              <a:gd name="connsiteX25737" fmla="*/ 2254433 w 8079933"/>
              <a:gd name="connsiteY25737" fmla="*/ 648215 h 4687251"/>
              <a:gd name="connsiteX25738" fmla="*/ 2251177 w 8079933"/>
              <a:gd name="connsiteY25738" fmla="*/ 651788 h 4687251"/>
              <a:gd name="connsiteX25739" fmla="*/ 2253674 w 8079933"/>
              <a:gd name="connsiteY25739" fmla="*/ 654278 h 4687251"/>
              <a:gd name="connsiteX25740" fmla="*/ 2253674 w 8079933"/>
              <a:gd name="connsiteY25740" fmla="*/ 659476 h 4687251"/>
              <a:gd name="connsiteX25741" fmla="*/ 2251395 w 8079933"/>
              <a:gd name="connsiteY25741" fmla="*/ 663807 h 4687251"/>
              <a:gd name="connsiteX25742" fmla="*/ 2248247 w 8079933"/>
              <a:gd name="connsiteY25742" fmla="*/ 665864 h 4687251"/>
              <a:gd name="connsiteX25743" fmla="*/ 2245534 w 8079933"/>
              <a:gd name="connsiteY25743" fmla="*/ 668896 h 4687251"/>
              <a:gd name="connsiteX25744" fmla="*/ 2240977 w 8079933"/>
              <a:gd name="connsiteY25744" fmla="*/ 668896 h 4687251"/>
              <a:gd name="connsiteX25745" fmla="*/ 2238047 w 8079933"/>
              <a:gd name="connsiteY25745" fmla="*/ 671277 h 4687251"/>
              <a:gd name="connsiteX25746" fmla="*/ 2235768 w 8079933"/>
              <a:gd name="connsiteY25746" fmla="*/ 675825 h 4687251"/>
              <a:gd name="connsiteX25747" fmla="*/ 2232187 w 8079933"/>
              <a:gd name="connsiteY25747" fmla="*/ 679289 h 4687251"/>
              <a:gd name="connsiteX25748" fmla="*/ 2228715 w 8079933"/>
              <a:gd name="connsiteY25748" fmla="*/ 679289 h 4687251"/>
              <a:gd name="connsiteX25749" fmla="*/ 2228715 w 8079933"/>
              <a:gd name="connsiteY25749" fmla="*/ 683620 h 4687251"/>
              <a:gd name="connsiteX25750" fmla="*/ 2227304 w 8079933"/>
              <a:gd name="connsiteY25750" fmla="*/ 685353 h 4687251"/>
              <a:gd name="connsiteX25751" fmla="*/ 2220033 w 8079933"/>
              <a:gd name="connsiteY25751" fmla="*/ 679181 h 4687251"/>
              <a:gd name="connsiteX25752" fmla="*/ 2216561 w 8079933"/>
              <a:gd name="connsiteY25752" fmla="*/ 680588 h 4687251"/>
              <a:gd name="connsiteX25753" fmla="*/ 2208314 w 8079933"/>
              <a:gd name="connsiteY25753" fmla="*/ 679614 h 4687251"/>
              <a:gd name="connsiteX25754" fmla="*/ 2211569 w 8079933"/>
              <a:gd name="connsiteY25754" fmla="*/ 674526 h 4687251"/>
              <a:gd name="connsiteX25755" fmla="*/ 2215367 w 8079933"/>
              <a:gd name="connsiteY25755" fmla="*/ 672793 h 4687251"/>
              <a:gd name="connsiteX25756" fmla="*/ 2218080 w 8079933"/>
              <a:gd name="connsiteY25756" fmla="*/ 673984 h 4687251"/>
              <a:gd name="connsiteX25757" fmla="*/ 2219600 w 8079933"/>
              <a:gd name="connsiteY25757" fmla="*/ 672468 h 4687251"/>
              <a:gd name="connsiteX25758" fmla="*/ 2218948 w 8079933"/>
              <a:gd name="connsiteY25758" fmla="*/ 670411 h 4687251"/>
              <a:gd name="connsiteX25759" fmla="*/ 2214825 w 8079933"/>
              <a:gd name="connsiteY25759" fmla="*/ 670411 h 4687251"/>
              <a:gd name="connsiteX25760" fmla="*/ 2213631 w 8079933"/>
              <a:gd name="connsiteY25760" fmla="*/ 668679 h 4687251"/>
              <a:gd name="connsiteX25761" fmla="*/ 2219491 w 8079933"/>
              <a:gd name="connsiteY25761" fmla="*/ 660775 h 4687251"/>
              <a:gd name="connsiteX25762" fmla="*/ 2222095 w 8079933"/>
              <a:gd name="connsiteY25762" fmla="*/ 652871 h 4687251"/>
              <a:gd name="connsiteX25763" fmla="*/ 2222095 w 8079933"/>
              <a:gd name="connsiteY25763" fmla="*/ 648541 h 4687251"/>
              <a:gd name="connsiteX25764" fmla="*/ 2224483 w 8079933"/>
              <a:gd name="connsiteY25764" fmla="*/ 647133 h 4687251"/>
              <a:gd name="connsiteX25765" fmla="*/ 2224483 w 8079933"/>
              <a:gd name="connsiteY25765" fmla="*/ 644426 h 4687251"/>
              <a:gd name="connsiteX25766" fmla="*/ 2220685 w 8079933"/>
              <a:gd name="connsiteY25766" fmla="*/ 641503 h 4687251"/>
              <a:gd name="connsiteX25767" fmla="*/ 2223072 w 8079933"/>
              <a:gd name="connsiteY25767" fmla="*/ 638255 h 4687251"/>
              <a:gd name="connsiteX25768" fmla="*/ 2223072 w 8079933"/>
              <a:gd name="connsiteY25768" fmla="*/ 632733 h 4687251"/>
              <a:gd name="connsiteX25769" fmla="*/ 2227413 w 8079933"/>
              <a:gd name="connsiteY25769" fmla="*/ 623097 h 4687251"/>
              <a:gd name="connsiteX25770" fmla="*/ 2230668 w 8079933"/>
              <a:gd name="connsiteY25770" fmla="*/ 620824 h 4687251"/>
              <a:gd name="connsiteX25771" fmla="*/ 2230668 w 8079933"/>
              <a:gd name="connsiteY25771" fmla="*/ 616493 h 4687251"/>
              <a:gd name="connsiteX25772" fmla="*/ 2234683 w 8079933"/>
              <a:gd name="connsiteY25772" fmla="*/ 613569 h 4687251"/>
              <a:gd name="connsiteX25773" fmla="*/ 2236311 w 8079933"/>
              <a:gd name="connsiteY25773" fmla="*/ 608914 h 4687251"/>
              <a:gd name="connsiteX25774" fmla="*/ 2237830 w 8079933"/>
              <a:gd name="connsiteY25774" fmla="*/ 605774 h 4687251"/>
              <a:gd name="connsiteX25775" fmla="*/ 2238481 w 8079933"/>
              <a:gd name="connsiteY25775" fmla="*/ 600577 h 4687251"/>
              <a:gd name="connsiteX25776" fmla="*/ 2244558 w 8079933"/>
              <a:gd name="connsiteY25776" fmla="*/ 594081 h 4687251"/>
              <a:gd name="connsiteX25777" fmla="*/ 2245969 w 8079933"/>
              <a:gd name="connsiteY25777" fmla="*/ 587585 h 4687251"/>
              <a:gd name="connsiteX25778" fmla="*/ 2249984 w 8079933"/>
              <a:gd name="connsiteY25778" fmla="*/ 586935 h 4687251"/>
              <a:gd name="connsiteX25779" fmla="*/ 2249984 w 8079933"/>
              <a:gd name="connsiteY25779" fmla="*/ 583795 h 4687251"/>
              <a:gd name="connsiteX25780" fmla="*/ 2248791 w 8079933"/>
              <a:gd name="connsiteY25780" fmla="*/ 581955 h 4687251"/>
              <a:gd name="connsiteX25781" fmla="*/ 2252263 w 8079933"/>
              <a:gd name="connsiteY25781" fmla="*/ 576108 h 4687251"/>
              <a:gd name="connsiteX25782" fmla="*/ 2255193 w 8079933"/>
              <a:gd name="connsiteY25782" fmla="*/ 577191 h 4687251"/>
              <a:gd name="connsiteX25783" fmla="*/ 2258991 w 8079933"/>
              <a:gd name="connsiteY25783" fmla="*/ 582821 h 4687251"/>
              <a:gd name="connsiteX25784" fmla="*/ 2260185 w 8079933"/>
              <a:gd name="connsiteY25784" fmla="*/ 587260 h 4687251"/>
              <a:gd name="connsiteX25785" fmla="*/ 2265176 w 8079933"/>
              <a:gd name="connsiteY25785" fmla="*/ 587260 h 4687251"/>
              <a:gd name="connsiteX25786" fmla="*/ 2264308 w 8079933"/>
              <a:gd name="connsiteY25786" fmla="*/ 582063 h 4687251"/>
              <a:gd name="connsiteX25787" fmla="*/ 2260727 w 8079933"/>
              <a:gd name="connsiteY25787" fmla="*/ 577949 h 4687251"/>
              <a:gd name="connsiteX25788" fmla="*/ 2261378 w 8079933"/>
              <a:gd name="connsiteY25788" fmla="*/ 575891 h 4687251"/>
              <a:gd name="connsiteX25789" fmla="*/ 2264851 w 8079933"/>
              <a:gd name="connsiteY25789" fmla="*/ 574700 h 4687251"/>
              <a:gd name="connsiteX25790" fmla="*/ 2261053 w 8079933"/>
              <a:gd name="connsiteY25790" fmla="*/ 570045 h 4687251"/>
              <a:gd name="connsiteX25791" fmla="*/ 2265176 w 8079933"/>
              <a:gd name="connsiteY25791" fmla="*/ 563548 h 4687251"/>
              <a:gd name="connsiteX25792" fmla="*/ 2276028 w 8079933"/>
              <a:gd name="connsiteY25792" fmla="*/ 561167 h 4687251"/>
              <a:gd name="connsiteX25793" fmla="*/ 2283081 w 8079933"/>
              <a:gd name="connsiteY25793" fmla="*/ 561167 h 4687251"/>
              <a:gd name="connsiteX25794" fmla="*/ 2178798 w 8079933"/>
              <a:gd name="connsiteY25794" fmla="*/ 548931 h 4687251"/>
              <a:gd name="connsiteX25795" fmla="*/ 2184984 w 8079933"/>
              <a:gd name="connsiteY25795" fmla="*/ 549580 h 4687251"/>
              <a:gd name="connsiteX25796" fmla="*/ 2186394 w 8079933"/>
              <a:gd name="connsiteY25796" fmla="*/ 551855 h 4687251"/>
              <a:gd name="connsiteX25797" fmla="*/ 2184332 w 8079933"/>
              <a:gd name="connsiteY25797" fmla="*/ 553586 h 4687251"/>
              <a:gd name="connsiteX25798" fmla="*/ 2184332 w 8079933"/>
              <a:gd name="connsiteY25798" fmla="*/ 556510 h 4687251"/>
              <a:gd name="connsiteX25799" fmla="*/ 2187588 w 8079933"/>
              <a:gd name="connsiteY25799" fmla="*/ 558784 h 4687251"/>
              <a:gd name="connsiteX25800" fmla="*/ 2190843 w 8079933"/>
              <a:gd name="connsiteY25800" fmla="*/ 563439 h 4687251"/>
              <a:gd name="connsiteX25801" fmla="*/ 2194641 w 8079933"/>
              <a:gd name="connsiteY25801" fmla="*/ 562032 h 4687251"/>
              <a:gd name="connsiteX25802" fmla="*/ 2199416 w 8079933"/>
              <a:gd name="connsiteY25802" fmla="*/ 564306 h 4687251"/>
              <a:gd name="connsiteX25803" fmla="*/ 2205059 w 8079933"/>
              <a:gd name="connsiteY25803" fmla="*/ 564306 h 4687251"/>
              <a:gd name="connsiteX25804" fmla="*/ 2207447 w 8079933"/>
              <a:gd name="connsiteY25804" fmla="*/ 562032 h 4687251"/>
              <a:gd name="connsiteX25805" fmla="*/ 2211028 w 8079933"/>
              <a:gd name="connsiteY25805" fmla="*/ 562898 h 4687251"/>
              <a:gd name="connsiteX25806" fmla="*/ 2221879 w 8079933"/>
              <a:gd name="connsiteY25806" fmla="*/ 562898 h 4687251"/>
              <a:gd name="connsiteX25807" fmla="*/ 2225460 w 8079933"/>
              <a:gd name="connsiteY25807" fmla="*/ 566904 h 4687251"/>
              <a:gd name="connsiteX25808" fmla="*/ 2228390 w 8079933"/>
              <a:gd name="connsiteY25808" fmla="*/ 566038 h 4687251"/>
              <a:gd name="connsiteX25809" fmla="*/ 2229258 w 8079933"/>
              <a:gd name="connsiteY25809" fmla="*/ 568961 h 4687251"/>
              <a:gd name="connsiteX25810" fmla="*/ 2228607 w 8079933"/>
              <a:gd name="connsiteY25810" fmla="*/ 571559 h 4687251"/>
              <a:gd name="connsiteX25811" fmla="*/ 2229801 w 8079933"/>
              <a:gd name="connsiteY25811" fmla="*/ 575025 h 4687251"/>
              <a:gd name="connsiteX25812" fmla="*/ 2227522 w 8079933"/>
              <a:gd name="connsiteY25812" fmla="*/ 578814 h 4687251"/>
              <a:gd name="connsiteX25813" fmla="*/ 2221445 w 8079933"/>
              <a:gd name="connsiteY25813" fmla="*/ 582386 h 4687251"/>
              <a:gd name="connsiteX25814" fmla="*/ 2217864 w 8079933"/>
              <a:gd name="connsiteY25814" fmla="*/ 580871 h 4687251"/>
              <a:gd name="connsiteX25815" fmla="*/ 2216996 w 8079933"/>
              <a:gd name="connsiteY25815" fmla="*/ 578598 h 4687251"/>
              <a:gd name="connsiteX25816" fmla="*/ 2214608 w 8079933"/>
              <a:gd name="connsiteY25816" fmla="*/ 580979 h 4687251"/>
              <a:gd name="connsiteX25817" fmla="*/ 2211678 w 8079933"/>
              <a:gd name="connsiteY25817" fmla="*/ 581954 h 4687251"/>
              <a:gd name="connsiteX25818" fmla="*/ 2212764 w 8079933"/>
              <a:gd name="connsiteY25818" fmla="*/ 584552 h 4687251"/>
              <a:gd name="connsiteX25819" fmla="*/ 2217973 w 8079933"/>
              <a:gd name="connsiteY25819" fmla="*/ 587800 h 4687251"/>
              <a:gd name="connsiteX25820" fmla="*/ 2216236 w 8079933"/>
              <a:gd name="connsiteY25820" fmla="*/ 590724 h 4687251"/>
              <a:gd name="connsiteX25821" fmla="*/ 2215368 w 8079933"/>
              <a:gd name="connsiteY25821" fmla="*/ 596679 h 4687251"/>
              <a:gd name="connsiteX25822" fmla="*/ 2212981 w 8079933"/>
              <a:gd name="connsiteY25822" fmla="*/ 597869 h 4687251"/>
              <a:gd name="connsiteX25823" fmla="*/ 2211245 w 8079933"/>
              <a:gd name="connsiteY25823" fmla="*/ 596137 h 4687251"/>
              <a:gd name="connsiteX25824" fmla="*/ 2207772 w 8079933"/>
              <a:gd name="connsiteY25824" fmla="*/ 596137 h 4687251"/>
              <a:gd name="connsiteX25825" fmla="*/ 2202780 w 8079933"/>
              <a:gd name="connsiteY25825" fmla="*/ 597328 h 4687251"/>
              <a:gd name="connsiteX25826" fmla="*/ 2201044 w 8079933"/>
              <a:gd name="connsiteY25826" fmla="*/ 599927 h 4687251"/>
              <a:gd name="connsiteX25827" fmla="*/ 2191928 w 8079933"/>
              <a:gd name="connsiteY25827" fmla="*/ 601984 h 4687251"/>
              <a:gd name="connsiteX25828" fmla="*/ 2186394 w 8079933"/>
              <a:gd name="connsiteY25828" fmla="*/ 606423 h 4687251"/>
              <a:gd name="connsiteX25829" fmla="*/ 2183681 w 8079933"/>
              <a:gd name="connsiteY25829" fmla="*/ 606423 h 4687251"/>
              <a:gd name="connsiteX25830" fmla="*/ 2179883 w 8079933"/>
              <a:gd name="connsiteY25830" fmla="*/ 612269 h 4687251"/>
              <a:gd name="connsiteX25831" fmla="*/ 2179883 w 8079933"/>
              <a:gd name="connsiteY25831" fmla="*/ 614976 h 4687251"/>
              <a:gd name="connsiteX25832" fmla="*/ 2183031 w 8079933"/>
              <a:gd name="connsiteY25832" fmla="*/ 614976 h 4687251"/>
              <a:gd name="connsiteX25833" fmla="*/ 2184224 w 8079933"/>
              <a:gd name="connsiteY25833" fmla="*/ 612920 h 4687251"/>
              <a:gd name="connsiteX25834" fmla="*/ 2191277 w 8079933"/>
              <a:gd name="connsiteY25834" fmla="*/ 611404 h 4687251"/>
              <a:gd name="connsiteX25835" fmla="*/ 2193882 w 8079933"/>
              <a:gd name="connsiteY25835" fmla="*/ 610320 h 4687251"/>
              <a:gd name="connsiteX25836" fmla="*/ 2201152 w 8079933"/>
              <a:gd name="connsiteY25836" fmla="*/ 614435 h 4687251"/>
              <a:gd name="connsiteX25837" fmla="*/ 2202563 w 8079933"/>
              <a:gd name="connsiteY25837" fmla="*/ 619416 h 4687251"/>
              <a:gd name="connsiteX25838" fmla="*/ 2200501 w 8079933"/>
              <a:gd name="connsiteY25838" fmla="*/ 620931 h 4687251"/>
              <a:gd name="connsiteX25839" fmla="*/ 2197354 w 8079933"/>
              <a:gd name="connsiteY25839" fmla="*/ 620931 h 4687251"/>
              <a:gd name="connsiteX25840" fmla="*/ 2200827 w 8079933"/>
              <a:gd name="connsiteY25840" fmla="*/ 622447 h 4687251"/>
              <a:gd name="connsiteX25841" fmla="*/ 2201695 w 8079933"/>
              <a:gd name="connsiteY25841" fmla="*/ 626236 h 4687251"/>
              <a:gd name="connsiteX25842" fmla="*/ 2201695 w 8079933"/>
              <a:gd name="connsiteY25842" fmla="*/ 630675 h 4687251"/>
              <a:gd name="connsiteX25843" fmla="*/ 2198114 w 8079933"/>
              <a:gd name="connsiteY25843" fmla="*/ 633057 h 4687251"/>
              <a:gd name="connsiteX25844" fmla="*/ 2198114 w 8079933"/>
              <a:gd name="connsiteY25844" fmla="*/ 637930 h 4687251"/>
              <a:gd name="connsiteX25845" fmla="*/ 2199524 w 8079933"/>
              <a:gd name="connsiteY25845" fmla="*/ 639987 h 4687251"/>
              <a:gd name="connsiteX25846" fmla="*/ 2202237 w 8079933"/>
              <a:gd name="connsiteY25846" fmla="*/ 634681 h 4687251"/>
              <a:gd name="connsiteX25847" fmla="*/ 2207447 w 8079933"/>
              <a:gd name="connsiteY25847" fmla="*/ 632733 h 4687251"/>
              <a:gd name="connsiteX25848" fmla="*/ 2209183 w 8079933"/>
              <a:gd name="connsiteY25848" fmla="*/ 630675 h 4687251"/>
              <a:gd name="connsiteX25849" fmla="*/ 2211896 w 8079933"/>
              <a:gd name="connsiteY25849" fmla="*/ 630675 h 4687251"/>
              <a:gd name="connsiteX25850" fmla="*/ 2209292 w 8079933"/>
              <a:gd name="connsiteY25850" fmla="*/ 633815 h 4687251"/>
              <a:gd name="connsiteX25851" fmla="*/ 2209292 w 8079933"/>
              <a:gd name="connsiteY25851" fmla="*/ 640636 h 4687251"/>
              <a:gd name="connsiteX25852" fmla="*/ 2206579 w 8079933"/>
              <a:gd name="connsiteY25852" fmla="*/ 647891 h 4687251"/>
              <a:gd name="connsiteX25853" fmla="*/ 2206579 w 8079933"/>
              <a:gd name="connsiteY25853" fmla="*/ 652221 h 4687251"/>
              <a:gd name="connsiteX25854" fmla="*/ 2198656 w 8079933"/>
              <a:gd name="connsiteY25854" fmla="*/ 656877 h 4687251"/>
              <a:gd name="connsiteX25855" fmla="*/ 2195510 w 8079933"/>
              <a:gd name="connsiteY25855" fmla="*/ 656660 h 4687251"/>
              <a:gd name="connsiteX25856" fmla="*/ 2194099 w 8079933"/>
              <a:gd name="connsiteY25856" fmla="*/ 658934 h 4687251"/>
              <a:gd name="connsiteX25857" fmla="*/ 2195618 w 8079933"/>
              <a:gd name="connsiteY25857" fmla="*/ 661532 h 4687251"/>
              <a:gd name="connsiteX25858" fmla="*/ 2193556 w 8079933"/>
              <a:gd name="connsiteY25858" fmla="*/ 667921 h 4687251"/>
              <a:gd name="connsiteX25859" fmla="*/ 2190952 w 8079933"/>
              <a:gd name="connsiteY25859" fmla="*/ 668570 h 4687251"/>
              <a:gd name="connsiteX25860" fmla="*/ 2189758 w 8079933"/>
              <a:gd name="connsiteY25860" fmla="*/ 666513 h 4687251"/>
              <a:gd name="connsiteX25861" fmla="*/ 2186611 w 8079933"/>
              <a:gd name="connsiteY25861" fmla="*/ 668245 h 4687251"/>
              <a:gd name="connsiteX25862" fmla="*/ 2186611 w 8079933"/>
              <a:gd name="connsiteY25862" fmla="*/ 670303 h 4687251"/>
              <a:gd name="connsiteX25863" fmla="*/ 2192688 w 8079933"/>
              <a:gd name="connsiteY25863" fmla="*/ 673550 h 4687251"/>
              <a:gd name="connsiteX25864" fmla="*/ 2191495 w 8079933"/>
              <a:gd name="connsiteY25864" fmla="*/ 675932 h 4687251"/>
              <a:gd name="connsiteX25865" fmla="*/ 2186828 w 8079933"/>
              <a:gd name="connsiteY25865" fmla="*/ 675932 h 4687251"/>
              <a:gd name="connsiteX25866" fmla="*/ 2189541 w 8079933"/>
              <a:gd name="connsiteY25866" fmla="*/ 680264 h 4687251"/>
              <a:gd name="connsiteX25867" fmla="*/ 2184332 w 8079933"/>
              <a:gd name="connsiteY25867" fmla="*/ 684703 h 4687251"/>
              <a:gd name="connsiteX25868" fmla="*/ 2182271 w 8079933"/>
              <a:gd name="connsiteY25868" fmla="*/ 682645 h 4687251"/>
              <a:gd name="connsiteX25869" fmla="*/ 2179341 w 8079933"/>
              <a:gd name="connsiteY25869" fmla="*/ 685244 h 4687251"/>
              <a:gd name="connsiteX25870" fmla="*/ 2174891 w 8079933"/>
              <a:gd name="connsiteY25870" fmla="*/ 685244 h 4687251"/>
              <a:gd name="connsiteX25871" fmla="*/ 2169357 w 8079933"/>
              <a:gd name="connsiteY25871" fmla="*/ 687842 h 4687251"/>
              <a:gd name="connsiteX25872" fmla="*/ 2169357 w 8079933"/>
              <a:gd name="connsiteY25872" fmla="*/ 691415 h 4687251"/>
              <a:gd name="connsiteX25873" fmla="*/ 2162846 w 8079933"/>
              <a:gd name="connsiteY25873" fmla="*/ 693472 h 4687251"/>
              <a:gd name="connsiteX25874" fmla="*/ 2157311 w 8079933"/>
              <a:gd name="connsiteY25874" fmla="*/ 689683 h 4687251"/>
              <a:gd name="connsiteX25875" fmla="*/ 2152645 w 8079933"/>
              <a:gd name="connsiteY25875" fmla="*/ 692282 h 4687251"/>
              <a:gd name="connsiteX25876" fmla="*/ 2149498 w 8079933"/>
              <a:gd name="connsiteY25876" fmla="*/ 691199 h 4687251"/>
              <a:gd name="connsiteX25877" fmla="*/ 2147654 w 8079933"/>
              <a:gd name="connsiteY25877" fmla="*/ 681887 h 4687251"/>
              <a:gd name="connsiteX25878" fmla="*/ 2151777 w 8079933"/>
              <a:gd name="connsiteY25878" fmla="*/ 676041 h 4687251"/>
              <a:gd name="connsiteX25879" fmla="*/ 2151777 w 8079933"/>
              <a:gd name="connsiteY25879" fmla="*/ 672576 h 4687251"/>
              <a:gd name="connsiteX25880" fmla="*/ 2143856 w 8079933"/>
              <a:gd name="connsiteY25880" fmla="*/ 680155 h 4687251"/>
              <a:gd name="connsiteX25881" fmla="*/ 2143204 w 8079933"/>
              <a:gd name="connsiteY25881" fmla="*/ 684594 h 4687251"/>
              <a:gd name="connsiteX25882" fmla="*/ 2146677 w 8079933"/>
              <a:gd name="connsiteY25882" fmla="*/ 693472 h 4687251"/>
              <a:gd name="connsiteX25883" fmla="*/ 2149064 w 8079933"/>
              <a:gd name="connsiteY25883" fmla="*/ 695854 h 4687251"/>
              <a:gd name="connsiteX25884" fmla="*/ 2147870 w 8079933"/>
              <a:gd name="connsiteY25884" fmla="*/ 700185 h 4687251"/>
              <a:gd name="connsiteX25885" fmla="*/ 2141902 w 8079933"/>
              <a:gd name="connsiteY25885" fmla="*/ 706790 h 4687251"/>
              <a:gd name="connsiteX25886" fmla="*/ 2139623 w 8079933"/>
              <a:gd name="connsiteY25886" fmla="*/ 711770 h 4687251"/>
              <a:gd name="connsiteX25887" fmla="*/ 2133221 w 8079933"/>
              <a:gd name="connsiteY25887" fmla="*/ 713719 h 4687251"/>
              <a:gd name="connsiteX25888" fmla="*/ 2130291 w 8079933"/>
              <a:gd name="connsiteY25888" fmla="*/ 711337 h 4687251"/>
              <a:gd name="connsiteX25889" fmla="*/ 2130291 w 8079933"/>
              <a:gd name="connsiteY25889" fmla="*/ 706031 h 4687251"/>
              <a:gd name="connsiteX25890" fmla="*/ 2128337 w 8079933"/>
              <a:gd name="connsiteY25890" fmla="*/ 703974 h 4687251"/>
              <a:gd name="connsiteX25891" fmla="*/ 2125407 w 8079933"/>
              <a:gd name="connsiteY25891" fmla="*/ 706573 h 4687251"/>
              <a:gd name="connsiteX25892" fmla="*/ 2124322 w 8079933"/>
              <a:gd name="connsiteY25892" fmla="*/ 703974 h 4687251"/>
              <a:gd name="connsiteX25893" fmla="*/ 2125516 w 8079933"/>
              <a:gd name="connsiteY25893" fmla="*/ 699319 h 4687251"/>
              <a:gd name="connsiteX25894" fmla="*/ 2124431 w 8079933"/>
              <a:gd name="connsiteY25894" fmla="*/ 694339 h 4687251"/>
              <a:gd name="connsiteX25895" fmla="*/ 2121176 w 8079933"/>
              <a:gd name="connsiteY25895" fmla="*/ 690874 h 4687251"/>
              <a:gd name="connsiteX25896" fmla="*/ 2123888 w 8079933"/>
              <a:gd name="connsiteY25896" fmla="*/ 685568 h 4687251"/>
              <a:gd name="connsiteX25897" fmla="*/ 2123020 w 8079933"/>
              <a:gd name="connsiteY25897" fmla="*/ 678748 h 4687251"/>
              <a:gd name="connsiteX25898" fmla="*/ 2124539 w 8079933"/>
              <a:gd name="connsiteY25898" fmla="*/ 675824 h 4687251"/>
              <a:gd name="connsiteX25899" fmla="*/ 2121067 w 8079933"/>
              <a:gd name="connsiteY25899" fmla="*/ 674091 h 4687251"/>
              <a:gd name="connsiteX25900" fmla="*/ 2119005 w 8079933"/>
              <a:gd name="connsiteY25900" fmla="*/ 669978 h 4687251"/>
              <a:gd name="connsiteX25901" fmla="*/ 2119005 w 8079933"/>
              <a:gd name="connsiteY25901" fmla="*/ 666188 h 4687251"/>
              <a:gd name="connsiteX25902" fmla="*/ 2115098 w 8079933"/>
              <a:gd name="connsiteY25902" fmla="*/ 661207 h 4687251"/>
              <a:gd name="connsiteX25903" fmla="*/ 2115098 w 8079933"/>
              <a:gd name="connsiteY25903" fmla="*/ 653845 h 4687251"/>
              <a:gd name="connsiteX25904" fmla="*/ 2111952 w 8079933"/>
              <a:gd name="connsiteY25904" fmla="*/ 648215 h 4687251"/>
              <a:gd name="connsiteX25905" fmla="*/ 2109564 w 8079933"/>
              <a:gd name="connsiteY25905" fmla="*/ 648215 h 4687251"/>
              <a:gd name="connsiteX25906" fmla="*/ 2108045 w 8079933"/>
              <a:gd name="connsiteY25906" fmla="*/ 645942 h 4687251"/>
              <a:gd name="connsiteX25907" fmla="*/ 2108045 w 8079933"/>
              <a:gd name="connsiteY25907" fmla="*/ 640636 h 4687251"/>
              <a:gd name="connsiteX25908" fmla="*/ 2105441 w 8079933"/>
              <a:gd name="connsiteY25908" fmla="*/ 639229 h 4687251"/>
              <a:gd name="connsiteX25909" fmla="*/ 2101859 w 8079933"/>
              <a:gd name="connsiteY25909" fmla="*/ 641503 h 4687251"/>
              <a:gd name="connsiteX25910" fmla="*/ 2099906 w 8079933"/>
              <a:gd name="connsiteY25910" fmla="*/ 639662 h 4687251"/>
              <a:gd name="connsiteX25911" fmla="*/ 2096433 w 8079933"/>
              <a:gd name="connsiteY25911" fmla="*/ 640312 h 4687251"/>
              <a:gd name="connsiteX25912" fmla="*/ 2094155 w 8079933"/>
              <a:gd name="connsiteY25912" fmla="*/ 638038 h 4687251"/>
              <a:gd name="connsiteX25913" fmla="*/ 2094155 w 8079933"/>
              <a:gd name="connsiteY25913" fmla="*/ 632841 h 4687251"/>
              <a:gd name="connsiteX25914" fmla="*/ 2099038 w 8079933"/>
              <a:gd name="connsiteY25914" fmla="*/ 630243 h 4687251"/>
              <a:gd name="connsiteX25915" fmla="*/ 2100015 w 8079933"/>
              <a:gd name="connsiteY25915" fmla="*/ 623530 h 4687251"/>
              <a:gd name="connsiteX25916" fmla="*/ 2097627 w 8079933"/>
              <a:gd name="connsiteY25916" fmla="*/ 620282 h 4687251"/>
              <a:gd name="connsiteX25917" fmla="*/ 2098821 w 8079933"/>
              <a:gd name="connsiteY25917" fmla="*/ 617575 h 4687251"/>
              <a:gd name="connsiteX25918" fmla="*/ 2098821 w 8079933"/>
              <a:gd name="connsiteY25918" fmla="*/ 609454 h 4687251"/>
              <a:gd name="connsiteX25919" fmla="*/ 2097085 w 8079933"/>
              <a:gd name="connsiteY25919" fmla="*/ 606206 h 4687251"/>
              <a:gd name="connsiteX25920" fmla="*/ 2102728 w 8079933"/>
              <a:gd name="connsiteY25920" fmla="*/ 598953 h 4687251"/>
              <a:gd name="connsiteX25921" fmla="*/ 2107394 w 8079933"/>
              <a:gd name="connsiteY25921" fmla="*/ 597220 h 4687251"/>
              <a:gd name="connsiteX25922" fmla="*/ 2109239 w 8079933"/>
              <a:gd name="connsiteY25922" fmla="*/ 594080 h 4687251"/>
              <a:gd name="connsiteX25923" fmla="*/ 2111626 w 8079933"/>
              <a:gd name="connsiteY25923" fmla="*/ 593430 h 4687251"/>
              <a:gd name="connsiteX25924" fmla="*/ 2113037 w 8079933"/>
              <a:gd name="connsiteY25924" fmla="*/ 595704 h 4687251"/>
              <a:gd name="connsiteX25925" fmla="*/ 2120090 w 8079933"/>
              <a:gd name="connsiteY25925" fmla="*/ 593430 h 4687251"/>
              <a:gd name="connsiteX25926" fmla="*/ 2124214 w 8079933"/>
              <a:gd name="connsiteY25926" fmla="*/ 594621 h 4687251"/>
              <a:gd name="connsiteX25927" fmla="*/ 2126276 w 8079933"/>
              <a:gd name="connsiteY25927" fmla="*/ 597545 h 4687251"/>
              <a:gd name="connsiteX25928" fmla="*/ 2124431 w 8079933"/>
              <a:gd name="connsiteY25928" fmla="*/ 599818 h 4687251"/>
              <a:gd name="connsiteX25929" fmla="*/ 2122369 w 8079933"/>
              <a:gd name="connsiteY25929" fmla="*/ 600468 h 4687251"/>
              <a:gd name="connsiteX25930" fmla="*/ 2122369 w 8079933"/>
              <a:gd name="connsiteY25930" fmla="*/ 602849 h 4687251"/>
              <a:gd name="connsiteX25931" fmla="*/ 2126384 w 8079933"/>
              <a:gd name="connsiteY25931" fmla="*/ 603499 h 4687251"/>
              <a:gd name="connsiteX25932" fmla="*/ 2127252 w 8079933"/>
              <a:gd name="connsiteY25932" fmla="*/ 606206 h 4687251"/>
              <a:gd name="connsiteX25933" fmla="*/ 2127252 w 8079933"/>
              <a:gd name="connsiteY25933" fmla="*/ 610320 h 4687251"/>
              <a:gd name="connsiteX25934" fmla="*/ 2133112 w 8079933"/>
              <a:gd name="connsiteY25934" fmla="*/ 616708 h 4687251"/>
              <a:gd name="connsiteX25935" fmla="*/ 2133112 w 8079933"/>
              <a:gd name="connsiteY25935" fmla="*/ 620822 h 4687251"/>
              <a:gd name="connsiteX25936" fmla="*/ 2135825 w 8079933"/>
              <a:gd name="connsiteY25936" fmla="*/ 624829 h 4687251"/>
              <a:gd name="connsiteX25937" fmla="*/ 2140274 w 8079933"/>
              <a:gd name="connsiteY25937" fmla="*/ 625479 h 4687251"/>
              <a:gd name="connsiteX25938" fmla="*/ 2142336 w 8079933"/>
              <a:gd name="connsiteY25938" fmla="*/ 623746 h 4687251"/>
              <a:gd name="connsiteX25939" fmla="*/ 2141468 w 8079933"/>
              <a:gd name="connsiteY25939" fmla="*/ 619740 h 4687251"/>
              <a:gd name="connsiteX25940" fmla="*/ 2144072 w 8079933"/>
              <a:gd name="connsiteY25940" fmla="*/ 617900 h 4687251"/>
              <a:gd name="connsiteX25941" fmla="*/ 2147219 w 8079933"/>
              <a:gd name="connsiteY25941" fmla="*/ 612702 h 4687251"/>
              <a:gd name="connsiteX25942" fmla="*/ 2146351 w 8079933"/>
              <a:gd name="connsiteY25942" fmla="*/ 609563 h 4687251"/>
              <a:gd name="connsiteX25943" fmla="*/ 2149607 w 8079933"/>
              <a:gd name="connsiteY25943" fmla="*/ 606423 h 4687251"/>
              <a:gd name="connsiteX25944" fmla="*/ 2150258 w 8079933"/>
              <a:gd name="connsiteY25944" fmla="*/ 602959 h 4687251"/>
              <a:gd name="connsiteX25945" fmla="*/ 2148522 w 8079933"/>
              <a:gd name="connsiteY25945" fmla="*/ 598844 h 4687251"/>
              <a:gd name="connsiteX25946" fmla="*/ 2150258 w 8079933"/>
              <a:gd name="connsiteY25946" fmla="*/ 596786 h 4687251"/>
              <a:gd name="connsiteX25947" fmla="*/ 2154598 w 8079933"/>
              <a:gd name="connsiteY25947" fmla="*/ 595812 h 4687251"/>
              <a:gd name="connsiteX25948" fmla="*/ 2157746 w 8079933"/>
              <a:gd name="connsiteY25948" fmla="*/ 597003 h 4687251"/>
              <a:gd name="connsiteX25949" fmla="*/ 2160024 w 8079933"/>
              <a:gd name="connsiteY25949" fmla="*/ 601767 h 4687251"/>
              <a:gd name="connsiteX25950" fmla="*/ 2163280 w 8079933"/>
              <a:gd name="connsiteY25950" fmla="*/ 601767 h 4687251"/>
              <a:gd name="connsiteX25951" fmla="*/ 2163280 w 8079933"/>
              <a:gd name="connsiteY25951" fmla="*/ 598844 h 4687251"/>
              <a:gd name="connsiteX25952" fmla="*/ 2159808 w 8079933"/>
              <a:gd name="connsiteY25952" fmla="*/ 593214 h 4687251"/>
              <a:gd name="connsiteX25953" fmla="*/ 2158723 w 8079933"/>
              <a:gd name="connsiteY25953" fmla="*/ 588775 h 4687251"/>
              <a:gd name="connsiteX25954" fmla="*/ 2156986 w 8079933"/>
              <a:gd name="connsiteY25954" fmla="*/ 588775 h 4687251"/>
              <a:gd name="connsiteX25955" fmla="*/ 2154707 w 8079933"/>
              <a:gd name="connsiteY25955" fmla="*/ 593106 h 4687251"/>
              <a:gd name="connsiteX25956" fmla="*/ 2149390 w 8079933"/>
              <a:gd name="connsiteY25956" fmla="*/ 593106 h 4687251"/>
              <a:gd name="connsiteX25957" fmla="*/ 2145266 w 8079933"/>
              <a:gd name="connsiteY25957" fmla="*/ 587259 h 4687251"/>
              <a:gd name="connsiteX25958" fmla="*/ 2145266 w 8079933"/>
              <a:gd name="connsiteY25958" fmla="*/ 584119 h 4687251"/>
              <a:gd name="connsiteX25959" fmla="*/ 2141468 w 8079933"/>
              <a:gd name="connsiteY25959" fmla="*/ 579355 h 4687251"/>
              <a:gd name="connsiteX25960" fmla="*/ 2141468 w 8079933"/>
              <a:gd name="connsiteY25960" fmla="*/ 573833 h 4687251"/>
              <a:gd name="connsiteX25961" fmla="*/ 2144398 w 8079933"/>
              <a:gd name="connsiteY25961" fmla="*/ 570910 h 4687251"/>
              <a:gd name="connsiteX25962" fmla="*/ 2147979 w 8079933"/>
              <a:gd name="connsiteY25962" fmla="*/ 570910 h 4687251"/>
              <a:gd name="connsiteX25963" fmla="*/ 2149064 w 8079933"/>
              <a:gd name="connsiteY25963" fmla="*/ 567121 h 4687251"/>
              <a:gd name="connsiteX25964" fmla="*/ 2152645 w 8079933"/>
              <a:gd name="connsiteY25964" fmla="*/ 569178 h 4687251"/>
              <a:gd name="connsiteX25965" fmla="*/ 2155033 w 8079933"/>
              <a:gd name="connsiteY25965" fmla="*/ 573292 h 4687251"/>
              <a:gd name="connsiteX25966" fmla="*/ 2156552 w 8079933"/>
              <a:gd name="connsiteY25966" fmla="*/ 582604 h 4687251"/>
              <a:gd name="connsiteX25967" fmla="*/ 2157637 w 8079933"/>
              <a:gd name="connsiteY25967" fmla="*/ 582604 h 4687251"/>
              <a:gd name="connsiteX25968" fmla="*/ 2158614 w 8079933"/>
              <a:gd name="connsiteY25968" fmla="*/ 577623 h 4687251"/>
              <a:gd name="connsiteX25969" fmla="*/ 2160350 w 8079933"/>
              <a:gd name="connsiteY25969" fmla="*/ 575349 h 4687251"/>
              <a:gd name="connsiteX25970" fmla="*/ 2160350 w 8079933"/>
              <a:gd name="connsiteY25970" fmla="*/ 570368 h 4687251"/>
              <a:gd name="connsiteX25971" fmla="*/ 2156878 w 8079933"/>
              <a:gd name="connsiteY25971" fmla="*/ 568528 h 4687251"/>
              <a:gd name="connsiteX25972" fmla="*/ 2156878 w 8079933"/>
              <a:gd name="connsiteY25972" fmla="*/ 564089 h 4687251"/>
              <a:gd name="connsiteX25973" fmla="*/ 2155901 w 8079933"/>
              <a:gd name="connsiteY25973" fmla="*/ 559433 h 4687251"/>
              <a:gd name="connsiteX25974" fmla="*/ 2157963 w 8079933"/>
              <a:gd name="connsiteY25974" fmla="*/ 558243 h 4687251"/>
              <a:gd name="connsiteX25975" fmla="*/ 2159373 w 8079933"/>
              <a:gd name="connsiteY25975" fmla="*/ 553478 h 4687251"/>
              <a:gd name="connsiteX25976" fmla="*/ 2163822 w 8079933"/>
              <a:gd name="connsiteY25976" fmla="*/ 551746 h 4687251"/>
              <a:gd name="connsiteX25977" fmla="*/ 2165884 w 8079933"/>
              <a:gd name="connsiteY25977" fmla="*/ 552829 h 4687251"/>
              <a:gd name="connsiteX25978" fmla="*/ 2168163 w 8079933"/>
              <a:gd name="connsiteY25978" fmla="*/ 552180 h 4687251"/>
              <a:gd name="connsiteX25979" fmla="*/ 2171636 w 8079933"/>
              <a:gd name="connsiteY25979" fmla="*/ 557376 h 4687251"/>
              <a:gd name="connsiteX25980" fmla="*/ 2177279 w 8079933"/>
              <a:gd name="connsiteY25980" fmla="*/ 558784 h 4687251"/>
              <a:gd name="connsiteX25981" fmla="*/ 2179558 w 8079933"/>
              <a:gd name="connsiteY25981" fmla="*/ 554778 h 4687251"/>
              <a:gd name="connsiteX25982" fmla="*/ 2174891 w 8079933"/>
              <a:gd name="connsiteY25982" fmla="*/ 554778 h 4687251"/>
              <a:gd name="connsiteX25983" fmla="*/ 2172830 w 8079933"/>
              <a:gd name="connsiteY25983" fmla="*/ 552504 h 4687251"/>
              <a:gd name="connsiteX25984" fmla="*/ 2175217 w 8079933"/>
              <a:gd name="connsiteY25984" fmla="*/ 550664 h 4687251"/>
              <a:gd name="connsiteX25985" fmla="*/ 5417911 w 8079933"/>
              <a:gd name="connsiteY25985" fmla="*/ 548501 h 4687251"/>
              <a:gd name="connsiteX25986" fmla="*/ 5423662 w 8079933"/>
              <a:gd name="connsiteY25986" fmla="*/ 549259 h 4687251"/>
              <a:gd name="connsiteX25987" fmla="*/ 5426701 w 8079933"/>
              <a:gd name="connsiteY25987" fmla="*/ 552723 h 4687251"/>
              <a:gd name="connsiteX25988" fmla="*/ 5426484 w 8079933"/>
              <a:gd name="connsiteY25988" fmla="*/ 554673 h 4687251"/>
              <a:gd name="connsiteX25989" fmla="*/ 5422794 w 8079933"/>
              <a:gd name="connsiteY25989" fmla="*/ 555430 h 4687251"/>
              <a:gd name="connsiteX25990" fmla="*/ 5424639 w 8079933"/>
              <a:gd name="connsiteY25990" fmla="*/ 558136 h 4687251"/>
              <a:gd name="connsiteX25991" fmla="*/ 5424965 w 8079933"/>
              <a:gd name="connsiteY25991" fmla="*/ 559761 h 4687251"/>
              <a:gd name="connsiteX25992" fmla="*/ 5422903 w 8079933"/>
              <a:gd name="connsiteY25992" fmla="*/ 560735 h 4687251"/>
              <a:gd name="connsiteX25993" fmla="*/ 5419430 w 8079933"/>
              <a:gd name="connsiteY25993" fmla="*/ 558355 h 4687251"/>
              <a:gd name="connsiteX25994" fmla="*/ 5414764 w 8079933"/>
              <a:gd name="connsiteY25994" fmla="*/ 558136 h 4687251"/>
              <a:gd name="connsiteX25995" fmla="*/ 5412159 w 8079933"/>
              <a:gd name="connsiteY25995" fmla="*/ 556404 h 4687251"/>
              <a:gd name="connsiteX25996" fmla="*/ 5409772 w 8079933"/>
              <a:gd name="connsiteY25996" fmla="*/ 552399 h 4687251"/>
              <a:gd name="connsiteX25997" fmla="*/ 5411183 w 8079933"/>
              <a:gd name="connsiteY25997" fmla="*/ 551423 h 4687251"/>
              <a:gd name="connsiteX25998" fmla="*/ 5414655 w 8079933"/>
              <a:gd name="connsiteY25998" fmla="*/ 553481 h 4687251"/>
              <a:gd name="connsiteX25999" fmla="*/ 5415957 w 8079933"/>
              <a:gd name="connsiteY25999" fmla="*/ 553156 h 4687251"/>
              <a:gd name="connsiteX26000" fmla="*/ 5415523 w 8079933"/>
              <a:gd name="connsiteY26000" fmla="*/ 550016 h 4687251"/>
              <a:gd name="connsiteX26001" fmla="*/ 2223614 w 8079933"/>
              <a:gd name="connsiteY26001" fmla="*/ 544384 h 4687251"/>
              <a:gd name="connsiteX26002" fmla="*/ 2230450 w 8079933"/>
              <a:gd name="connsiteY26002" fmla="*/ 548390 h 4687251"/>
              <a:gd name="connsiteX26003" fmla="*/ 2230993 w 8079933"/>
              <a:gd name="connsiteY26003" fmla="*/ 551963 h 4687251"/>
              <a:gd name="connsiteX26004" fmla="*/ 2225133 w 8079933"/>
              <a:gd name="connsiteY26004" fmla="*/ 551639 h 4687251"/>
              <a:gd name="connsiteX26005" fmla="*/ 2221769 w 8079933"/>
              <a:gd name="connsiteY26005" fmla="*/ 555212 h 4687251"/>
              <a:gd name="connsiteX26006" fmla="*/ 2218405 w 8079933"/>
              <a:gd name="connsiteY26006" fmla="*/ 556078 h 4687251"/>
              <a:gd name="connsiteX26007" fmla="*/ 2214824 w 8079933"/>
              <a:gd name="connsiteY26007" fmla="*/ 554670 h 4687251"/>
              <a:gd name="connsiteX26008" fmla="*/ 2209073 w 8079933"/>
              <a:gd name="connsiteY26008" fmla="*/ 557594 h 4687251"/>
              <a:gd name="connsiteX26009" fmla="*/ 2204732 w 8079933"/>
              <a:gd name="connsiteY26009" fmla="*/ 555970 h 4687251"/>
              <a:gd name="connsiteX26010" fmla="*/ 2202671 w 8079933"/>
              <a:gd name="connsiteY26010" fmla="*/ 558460 h 4687251"/>
              <a:gd name="connsiteX26011" fmla="*/ 2196485 w 8079933"/>
              <a:gd name="connsiteY26011" fmla="*/ 553913 h 4687251"/>
              <a:gd name="connsiteX26012" fmla="*/ 2190625 w 8079933"/>
              <a:gd name="connsiteY26012" fmla="*/ 552288 h 4687251"/>
              <a:gd name="connsiteX26013" fmla="*/ 2188672 w 8079933"/>
              <a:gd name="connsiteY26013" fmla="*/ 549256 h 4687251"/>
              <a:gd name="connsiteX26014" fmla="*/ 2190191 w 8079933"/>
              <a:gd name="connsiteY26014" fmla="*/ 548607 h 4687251"/>
              <a:gd name="connsiteX26015" fmla="*/ 2195725 w 8079933"/>
              <a:gd name="connsiteY26015" fmla="*/ 549148 h 4687251"/>
              <a:gd name="connsiteX26016" fmla="*/ 2200608 w 8079933"/>
              <a:gd name="connsiteY26016" fmla="*/ 545684 h 4687251"/>
              <a:gd name="connsiteX26017" fmla="*/ 2207011 w 8079933"/>
              <a:gd name="connsiteY26017" fmla="*/ 548715 h 4687251"/>
              <a:gd name="connsiteX26018" fmla="*/ 2211786 w 8079933"/>
              <a:gd name="connsiteY26018" fmla="*/ 546009 h 4687251"/>
              <a:gd name="connsiteX26019" fmla="*/ 2214173 w 8079933"/>
              <a:gd name="connsiteY26019" fmla="*/ 547308 h 4687251"/>
              <a:gd name="connsiteX26020" fmla="*/ 2219708 w 8079933"/>
              <a:gd name="connsiteY26020" fmla="*/ 546550 h 4687251"/>
              <a:gd name="connsiteX26021" fmla="*/ 3646919 w 8079933"/>
              <a:gd name="connsiteY26021" fmla="*/ 541028 h 4687251"/>
              <a:gd name="connsiteX26022" fmla="*/ 3646919 w 8079933"/>
              <a:gd name="connsiteY26022" fmla="*/ 545899 h 4687251"/>
              <a:gd name="connsiteX26023" fmla="*/ 3645399 w 8079933"/>
              <a:gd name="connsiteY26023" fmla="*/ 548606 h 4687251"/>
              <a:gd name="connsiteX26024" fmla="*/ 3644857 w 8079933"/>
              <a:gd name="connsiteY26024" fmla="*/ 553262 h 4687251"/>
              <a:gd name="connsiteX26025" fmla="*/ 3645616 w 8079933"/>
              <a:gd name="connsiteY26025" fmla="*/ 555860 h 4687251"/>
              <a:gd name="connsiteX26026" fmla="*/ 3644206 w 8079933"/>
              <a:gd name="connsiteY26026" fmla="*/ 558350 h 4687251"/>
              <a:gd name="connsiteX26027" fmla="*/ 3640625 w 8079933"/>
              <a:gd name="connsiteY26027" fmla="*/ 558351 h 4687251"/>
              <a:gd name="connsiteX26028" fmla="*/ 3639648 w 8079933"/>
              <a:gd name="connsiteY26028" fmla="*/ 555752 h 4687251"/>
              <a:gd name="connsiteX26029" fmla="*/ 3642144 w 8079933"/>
              <a:gd name="connsiteY26029" fmla="*/ 551746 h 4687251"/>
              <a:gd name="connsiteX26030" fmla="*/ 3642144 w 8079933"/>
              <a:gd name="connsiteY26030" fmla="*/ 547091 h 4687251"/>
              <a:gd name="connsiteX26031" fmla="*/ 3609806 w 8079933"/>
              <a:gd name="connsiteY26031" fmla="*/ 536156 h 4687251"/>
              <a:gd name="connsiteX26032" fmla="*/ 3611759 w 8079933"/>
              <a:gd name="connsiteY26032" fmla="*/ 536373 h 4687251"/>
              <a:gd name="connsiteX26033" fmla="*/ 3615124 w 8079933"/>
              <a:gd name="connsiteY26033" fmla="*/ 540920 h 4687251"/>
              <a:gd name="connsiteX26034" fmla="*/ 3618488 w 8079933"/>
              <a:gd name="connsiteY26034" fmla="*/ 542760 h 4687251"/>
              <a:gd name="connsiteX26035" fmla="*/ 3618596 w 8079933"/>
              <a:gd name="connsiteY26035" fmla="*/ 545576 h 4687251"/>
              <a:gd name="connsiteX26036" fmla="*/ 3615774 w 8079933"/>
              <a:gd name="connsiteY26036" fmla="*/ 545251 h 4687251"/>
              <a:gd name="connsiteX26037" fmla="*/ 3612302 w 8079933"/>
              <a:gd name="connsiteY26037" fmla="*/ 543085 h 4687251"/>
              <a:gd name="connsiteX26038" fmla="*/ 3608938 w 8079933"/>
              <a:gd name="connsiteY26038" fmla="*/ 537455 h 4687251"/>
              <a:gd name="connsiteX26039" fmla="*/ 5322742 w 8079933"/>
              <a:gd name="connsiteY26039" fmla="*/ 529445 h 4687251"/>
              <a:gd name="connsiteX26040" fmla="*/ 5323935 w 8079933"/>
              <a:gd name="connsiteY26040" fmla="*/ 533344 h 4687251"/>
              <a:gd name="connsiteX26041" fmla="*/ 5323935 w 8079933"/>
              <a:gd name="connsiteY26041" fmla="*/ 536374 h 4687251"/>
              <a:gd name="connsiteX26042" fmla="*/ 5327300 w 8079933"/>
              <a:gd name="connsiteY26042" fmla="*/ 539623 h 4687251"/>
              <a:gd name="connsiteX26043" fmla="*/ 5327300 w 8079933"/>
              <a:gd name="connsiteY26043" fmla="*/ 542220 h 4687251"/>
              <a:gd name="connsiteX26044" fmla="*/ 5324044 w 8079933"/>
              <a:gd name="connsiteY26044" fmla="*/ 544386 h 4687251"/>
              <a:gd name="connsiteX26045" fmla="*/ 5325563 w 8079933"/>
              <a:gd name="connsiteY26045" fmla="*/ 549800 h 4687251"/>
              <a:gd name="connsiteX26046" fmla="*/ 5325129 w 8079933"/>
              <a:gd name="connsiteY26046" fmla="*/ 554563 h 4687251"/>
              <a:gd name="connsiteX26047" fmla="*/ 5322850 w 8079933"/>
              <a:gd name="connsiteY26047" fmla="*/ 551857 h 4687251"/>
              <a:gd name="connsiteX26048" fmla="*/ 5322308 w 8079933"/>
              <a:gd name="connsiteY26048" fmla="*/ 546878 h 4687251"/>
              <a:gd name="connsiteX26049" fmla="*/ 5320463 w 8079933"/>
              <a:gd name="connsiteY26049" fmla="*/ 545470 h 4687251"/>
              <a:gd name="connsiteX26050" fmla="*/ 5317967 w 8079933"/>
              <a:gd name="connsiteY26050" fmla="*/ 547634 h 4687251"/>
              <a:gd name="connsiteX26051" fmla="*/ 5314820 w 8079933"/>
              <a:gd name="connsiteY26051" fmla="*/ 546552 h 4687251"/>
              <a:gd name="connsiteX26052" fmla="*/ 5314386 w 8079933"/>
              <a:gd name="connsiteY26052" fmla="*/ 537565 h 4687251"/>
              <a:gd name="connsiteX26053" fmla="*/ 5316339 w 8079933"/>
              <a:gd name="connsiteY26053" fmla="*/ 539730 h 4687251"/>
              <a:gd name="connsiteX26054" fmla="*/ 5318509 w 8079933"/>
              <a:gd name="connsiteY26054" fmla="*/ 540705 h 4687251"/>
              <a:gd name="connsiteX26055" fmla="*/ 5319161 w 8079933"/>
              <a:gd name="connsiteY26055" fmla="*/ 537132 h 4687251"/>
              <a:gd name="connsiteX26056" fmla="*/ 5315688 w 8079933"/>
              <a:gd name="connsiteY26056" fmla="*/ 533451 h 4687251"/>
              <a:gd name="connsiteX26057" fmla="*/ 5317207 w 8079933"/>
              <a:gd name="connsiteY26057" fmla="*/ 531502 h 4687251"/>
              <a:gd name="connsiteX26058" fmla="*/ 5319377 w 8079933"/>
              <a:gd name="connsiteY26058" fmla="*/ 531502 h 4687251"/>
              <a:gd name="connsiteX26059" fmla="*/ 2062358 w 8079933"/>
              <a:gd name="connsiteY26059" fmla="*/ 526953 h 4687251"/>
              <a:gd name="connsiteX26060" fmla="*/ 2065940 w 8079933"/>
              <a:gd name="connsiteY26060" fmla="*/ 529875 h 4687251"/>
              <a:gd name="connsiteX26061" fmla="*/ 2069304 w 8079933"/>
              <a:gd name="connsiteY26061" fmla="*/ 530092 h 4687251"/>
              <a:gd name="connsiteX26062" fmla="*/ 2073427 w 8079933"/>
              <a:gd name="connsiteY26062" fmla="*/ 532799 h 4687251"/>
              <a:gd name="connsiteX26063" fmla="*/ 2076140 w 8079933"/>
              <a:gd name="connsiteY26063" fmla="*/ 531933 h 4687251"/>
              <a:gd name="connsiteX26064" fmla="*/ 2080807 w 8079933"/>
              <a:gd name="connsiteY26064" fmla="*/ 533881 h 4687251"/>
              <a:gd name="connsiteX26065" fmla="*/ 2083520 w 8079933"/>
              <a:gd name="connsiteY26065" fmla="*/ 533016 h 4687251"/>
              <a:gd name="connsiteX26066" fmla="*/ 2086992 w 8079933"/>
              <a:gd name="connsiteY26066" fmla="*/ 533124 h 4687251"/>
              <a:gd name="connsiteX26067" fmla="*/ 2091332 w 8079933"/>
              <a:gd name="connsiteY26067" fmla="*/ 539187 h 4687251"/>
              <a:gd name="connsiteX26068" fmla="*/ 2091116 w 8079933"/>
              <a:gd name="connsiteY26068" fmla="*/ 542652 h 4687251"/>
              <a:gd name="connsiteX26069" fmla="*/ 2089922 w 8079933"/>
              <a:gd name="connsiteY26069" fmla="*/ 544709 h 4687251"/>
              <a:gd name="connsiteX26070" fmla="*/ 2092743 w 8079933"/>
              <a:gd name="connsiteY26070" fmla="*/ 549473 h 4687251"/>
              <a:gd name="connsiteX26071" fmla="*/ 2092743 w 8079933"/>
              <a:gd name="connsiteY26071" fmla="*/ 552396 h 4687251"/>
              <a:gd name="connsiteX26072" fmla="*/ 2090681 w 8079933"/>
              <a:gd name="connsiteY26072" fmla="*/ 554345 h 4687251"/>
              <a:gd name="connsiteX26073" fmla="*/ 2090464 w 8079933"/>
              <a:gd name="connsiteY26073" fmla="*/ 557917 h 4687251"/>
              <a:gd name="connsiteX26074" fmla="*/ 2084930 w 8079933"/>
              <a:gd name="connsiteY26074" fmla="*/ 563440 h 4687251"/>
              <a:gd name="connsiteX26075" fmla="*/ 2082543 w 8079933"/>
              <a:gd name="connsiteY26075" fmla="*/ 563440 h 4687251"/>
              <a:gd name="connsiteX26076" fmla="*/ 2075815 w 8079933"/>
              <a:gd name="connsiteY26076" fmla="*/ 569827 h 4687251"/>
              <a:gd name="connsiteX26077" fmla="*/ 2069846 w 8079933"/>
              <a:gd name="connsiteY26077" fmla="*/ 573617 h 4687251"/>
              <a:gd name="connsiteX26078" fmla="*/ 2064312 w 8079933"/>
              <a:gd name="connsiteY26078" fmla="*/ 580221 h 4687251"/>
              <a:gd name="connsiteX26079" fmla="*/ 2059754 w 8079933"/>
              <a:gd name="connsiteY26079" fmla="*/ 580221 h 4687251"/>
              <a:gd name="connsiteX26080" fmla="*/ 2056824 w 8079933"/>
              <a:gd name="connsiteY26080" fmla="*/ 582279 h 4687251"/>
              <a:gd name="connsiteX26081" fmla="*/ 2057150 w 8079933"/>
              <a:gd name="connsiteY26081" fmla="*/ 585743 h 4687251"/>
              <a:gd name="connsiteX26082" fmla="*/ 2055522 w 8079933"/>
              <a:gd name="connsiteY26082" fmla="*/ 587151 h 4687251"/>
              <a:gd name="connsiteX26083" fmla="*/ 2052049 w 8079933"/>
              <a:gd name="connsiteY26083" fmla="*/ 582821 h 4687251"/>
              <a:gd name="connsiteX26084" fmla="*/ 2051507 w 8079933"/>
              <a:gd name="connsiteY26084" fmla="*/ 573076 h 4687251"/>
              <a:gd name="connsiteX26085" fmla="*/ 2048794 w 8079933"/>
              <a:gd name="connsiteY26085" fmla="*/ 568203 h 4687251"/>
              <a:gd name="connsiteX26086" fmla="*/ 2048794 w 8079933"/>
              <a:gd name="connsiteY26086" fmla="*/ 564414 h 4687251"/>
              <a:gd name="connsiteX26087" fmla="*/ 2049663 w 8079933"/>
              <a:gd name="connsiteY26087" fmla="*/ 561924 h 4687251"/>
              <a:gd name="connsiteX26088" fmla="*/ 2048251 w 8079933"/>
              <a:gd name="connsiteY26088" fmla="*/ 556402 h 4687251"/>
              <a:gd name="connsiteX26089" fmla="*/ 2048251 w 8079933"/>
              <a:gd name="connsiteY26089" fmla="*/ 550880 h 4687251"/>
              <a:gd name="connsiteX26090" fmla="*/ 2044453 w 8079933"/>
              <a:gd name="connsiteY26090" fmla="*/ 545358 h 4687251"/>
              <a:gd name="connsiteX26091" fmla="*/ 2040330 w 8079933"/>
              <a:gd name="connsiteY26091" fmla="*/ 541785 h 4687251"/>
              <a:gd name="connsiteX26092" fmla="*/ 2040438 w 8079933"/>
              <a:gd name="connsiteY26092" fmla="*/ 539187 h 4687251"/>
              <a:gd name="connsiteX26093" fmla="*/ 2047926 w 8079933"/>
              <a:gd name="connsiteY26093" fmla="*/ 533341 h 4687251"/>
              <a:gd name="connsiteX26094" fmla="*/ 2051507 w 8079933"/>
              <a:gd name="connsiteY26094" fmla="*/ 531933 h 4687251"/>
              <a:gd name="connsiteX26095" fmla="*/ 2055956 w 8079933"/>
              <a:gd name="connsiteY26095" fmla="*/ 527710 h 4687251"/>
              <a:gd name="connsiteX26096" fmla="*/ 2026548 w 8079933"/>
              <a:gd name="connsiteY26096" fmla="*/ 526629 h 4687251"/>
              <a:gd name="connsiteX26097" fmla="*/ 2032191 w 8079933"/>
              <a:gd name="connsiteY26097" fmla="*/ 527495 h 4687251"/>
              <a:gd name="connsiteX26098" fmla="*/ 2034144 w 8079933"/>
              <a:gd name="connsiteY26098" fmla="*/ 530310 h 4687251"/>
              <a:gd name="connsiteX26099" fmla="*/ 2032517 w 8079933"/>
              <a:gd name="connsiteY26099" fmla="*/ 532150 h 4687251"/>
              <a:gd name="connsiteX26100" fmla="*/ 2029152 w 8079933"/>
              <a:gd name="connsiteY26100" fmla="*/ 530742 h 4687251"/>
              <a:gd name="connsiteX26101" fmla="*/ 2026331 w 8079933"/>
              <a:gd name="connsiteY26101" fmla="*/ 531934 h 4687251"/>
              <a:gd name="connsiteX26102" fmla="*/ 2024921 w 8079933"/>
              <a:gd name="connsiteY26102" fmla="*/ 530418 h 4687251"/>
              <a:gd name="connsiteX26103" fmla="*/ 2024812 w 8079933"/>
              <a:gd name="connsiteY26103" fmla="*/ 527603 h 4687251"/>
              <a:gd name="connsiteX26104" fmla="*/ 2281019 w 8079933"/>
              <a:gd name="connsiteY26104" fmla="*/ 522405 h 4687251"/>
              <a:gd name="connsiteX26105" fmla="*/ 2282972 w 8079933"/>
              <a:gd name="connsiteY26105" fmla="*/ 523379 h 4687251"/>
              <a:gd name="connsiteX26106" fmla="*/ 2284817 w 8079933"/>
              <a:gd name="connsiteY26106" fmla="*/ 526953 h 4687251"/>
              <a:gd name="connsiteX26107" fmla="*/ 2283514 w 8079933"/>
              <a:gd name="connsiteY26107" fmla="*/ 531176 h 4687251"/>
              <a:gd name="connsiteX26108" fmla="*/ 2281887 w 8079933"/>
              <a:gd name="connsiteY26108" fmla="*/ 532475 h 4687251"/>
              <a:gd name="connsiteX26109" fmla="*/ 2280259 w 8079933"/>
              <a:gd name="connsiteY26109" fmla="*/ 530202 h 4687251"/>
              <a:gd name="connsiteX26110" fmla="*/ 2278849 w 8079933"/>
              <a:gd name="connsiteY26110" fmla="*/ 524895 h 4687251"/>
              <a:gd name="connsiteX26111" fmla="*/ 3629555 w 8079933"/>
              <a:gd name="connsiteY26111" fmla="*/ 520672 h 4687251"/>
              <a:gd name="connsiteX26112" fmla="*/ 3629881 w 8079933"/>
              <a:gd name="connsiteY26112" fmla="*/ 523595 h 4687251"/>
              <a:gd name="connsiteX26113" fmla="*/ 3628470 w 8079933"/>
              <a:gd name="connsiteY26113" fmla="*/ 528360 h 4687251"/>
              <a:gd name="connsiteX26114" fmla="*/ 3626517 w 8079933"/>
              <a:gd name="connsiteY26114" fmla="*/ 529442 h 4687251"/>
              <a:gd name="connsiteX26115" fmla="*/ 3625432 w 8079933"/>
              <a:gd name="connsiteY26115" fmla="*/ 528468 h 4687251"/>
              <a:gd name="connsiteX26116" fmla="*/ 3628036 w 8079933"/>
              <a:gd name="connsiteY26116" fmla="*/ 522296 h 4687251"/>
              <a:gd name="connsiteX26117" fmla="*/ 2242712 w 8079933"/>
              <a:gd name="connsiteY26117" fmla="*/ 515801 h 4687251"/>
              <a:gd name="connsiteX26118" fmla="*/ 2245968 w 8079933"/>
              <a:gd name="connsiteY26118" fmla="*/ 518075 h 4687251"/>
              <a:gd name="connsiteX26119" fmla="*/ 2244557 w 8079933"/>
              <a:gd name="connsiteY26119" fmla="*/ 520890 h 4687251"/>
              <a:gd name="connsiteX26120" fmla="*/ 2241193 w 8079933"/>
              <a:gd name="connsiteY26120" fmla="*/ 521108 h 4687251"/>
              <a:gd name="connsiteX26121" fmla="*/ 2237829 w 8079933"/>
              <a:gd name="connsiteY26121" fmla="*/ 523489 h 4687251"/>
              <a:gd name="connsiteX26122" fmla="*/ 2234031 w 8079933"/>
              <a:gd name="connsiteY26122" fmla="*/ 523056 h 4687251"/>
              <a:gd name="connsiteX26123" fmla="*/ 2237069 w 8079933"/>
              <a:gd name="connsiteY26123" fmla="*/ 518075 h 4687251"/>
              <a:gd name="connsiteX26124" fmla="*/ 1898715 w 8079933"/>
              <a:gd name="connsiteY26124" fmla="*/ 513202 h 4687251"/>
              <a:gd name="connsiteX26125" fmla="*/ 1902622 w 8079933"/>
              <a:gd name="connsiteY26125" fmla="*/ 513419 h 4687251"/>
              <a:gd name="connsiteX26126" fmla="*/ 1904032 w 8079933"/>
              <a:gd name="connsiteY26126" fmla="*/ 517641 h 4687251"/>
              <a:gd name="connsiteX26127" fmla="*/ 1902839 w 8079933"/>
              <a:gd name="connsiteY26127" fmla="*/ 521430 h 4687251"/>
              <a:gd name="connsiteX26128" fmla="*/ 1903381 w 8079933"/>
              <a:gd name="connsiteY26128" fmla="*/ 528577 h 4687251"/>
              <a:gd name="connsiteX26129" fmla="*/ 1899909 w 8079933"/>
              <a:gd name="connsiteY26129" fmla="*/ 535289 h 4687251"/>
              <a:gd name="connsiteX26130" fmla="*/ 1896111 w 8079933"/>
              <a:gd name="connsiteY26130" fmla="*/ 535289 h 4687251"/>
              <a:gd name="connsiteX26131" fmla="*/ 1894266 w 8079933"/>
              <a:gd name="connsiteY26131" fmla="*/ 537779 h 4687251"/>
              <a:gd name="connsiteX26132" fmla="*/ 1893940 w 8079933"/>
              <a:gd name="connsiteY26132" fmla="*/ 543301 h 4687251"/>
              <a:gd name="connsiteX26133" fmla="*/ 1890468 w 8079933"/>
              <a:gd name="connsiteY26133" fmla="*/ 547957 h 4687251"/>
              <a:gd name="connsiteX26134" fmla="*/ 1887538 w 8079933"/>
              <a:gd name="connsiteY26134" fmla="*/ 547308 h 4687251"/>
              <a:gd name="connsiteX26135" fmla="*/ 1883522 w 8079933"/>
              <a:gd name="connsiteY26135" fmla="*/ 548823 h 4687251"/>
              <a:gd name="connsiteX26136" fmla="*/ 1881786 w 8079933"/>
              <a:gd name="connsiteY26136" fmla="*/ 552938 h 4687251"/>
              <a:gd name="connsiteX26137" fmla="*/ 1874949 w 8079933"/>
              <a:gd name="connsiteY26137" fmla="*/ 554453 h 4687251"/>
              <a:gd name="connsiteX26138" fmla="*/ 1873213 w 8079933"/>
              <a:gd name="connsiteY26138" fmla="*/ 556185 h 4687251"/>
              <a:gd name="connsiteX26139" fmla="*/ 1875058 w 8079933"/>
              <a:gd name="connsiteY26139" fmla="*/ 557918 h 4687251"/>
              <a:gd name="connsiteX26140" fmla="*/ 1879941 w 8079933"/>
              <a:gd name="connsiteY26140" fmla="*/ 558134 h 4687251"/>
              <a:gd name="connsiteX26141" fmla="*/ 1882003 w 8079933"/>
              <a:gd name="connsiteY26141" fmla="*/ 556185 h 4687251"/>
              <a:gd name="connsiteX26142" fmla="*/ 1886670 w 8079933"/>
              <a:gd name="connsiteY26142" fmla="*/ 555861 h 4687251"/>
              <a:gd name="connsiteX26143" fmla="*/ 1890142 w 8079933"/>
              <a:gd name="connsiteY26143" fmla="*/ 558243 h 4687251"/>
              <a:gd name="connsiteX26144" fmla="*/ 1893723 w 8079933"/>
              <a:gd name="connsiteY26144" fmla="*/ 557593 h 4687251"/>
              <a:gd name="connsiteX26145" fmla="*/ 1893940 w 8079933"/>
              <a:gd name="connsiteY26145" fmla="*/ 559650 h 4687251"/>
              <a:gd name="connsiteX26146" fmla="*/ 1897196 w 8079933"/>
              <a:gd name="connsiteY26146" fmla="*/ 558134 h 4687251"/>
              <a:gd name="connsiteX26147" fmla="*/ 1900126 w 8079933"/>
              <a:gd name="connsiteY26147" fmla="*/ 557052 h 4687251"/>
              <a:gd name="connsiteX26148" fmla="*/ 1900234 w 8079933"/>
              <a:gd name="connsiteY26148" fmla="*/ 554020 h 4687251"/>
              <a:gd name="connsiteX26149" fmla="*/ 1898389 w 8079933"/>
              <a:gd name="connsiteY26149" fmla="*/ 552288 h 4687251"/>
              <a:gd name="connsiteX26150" fmla="*/ 1905877 w 8079933"/>
              <a:gd name="connsiteY26150" fmla="*/ 544492 h 4687251"/>
              <a:gd name="connsiteX26151" fmla="*/ 1909024 w 8079933"/>
              <a:gd name="connsiteY26151" fmla="*/ 544167 h 4687251"/>
              <a:gd name="connsiteX26152" fmla="*/ 1914232 w 8079933"/>
              <a:gd name="connsiteY26152" fmla="*/ 540378 h 4687251"/>
              <a:gd name="connsiteX26153" fmla="*/ 1918139 w 8079933"/>
              <a:gd name="connsiteY26153" fmla="*/ 540378 h 4687251"/>
              <a:gd name="connsiteX26154" fmla="*/ 1919224 w 8079933"/>
              <a:gd name="connsiteY26154" fmla="*/ 542977 h 4687251"/>
              <a:gd name="connsiteX26155" fmla="*/ 1926495 w 8079933"/>
              <a:gd name="connsiteY26155" fmla="*/ 549690 h 4687251"/>
              <a:gd name="connsiteX26156" fmla="*/ 1927146 w 8079933"/>
              <a:gd name="connsiteY26156" fmla="*/ 552938 h 4687251"/>
              <a:gd name="connsiteX26157" fmla="*/ 1932463 w 8079933"/>
              <a:gd name="connsiteY26157" fmla="*/ 554670 h 4687251"/>
              <a:gd name="connsiteX26158" fmla="*/ 1936479 w 8079933"/>
              <a:gd name="connsiteY26158" fmla="*/ 562573 h 4687251"/>
              <a:gd name="connsiteX26159" fmla="*/ 1939517 w 8079933"/>
              <a:gd name="connsiteY26159" fmla="*/ 565281 h 4687251"/>
              <a:gd name="connsiteX26160" fmla="*/ 1938649 w 8079933"/>
              <a:gd name="connsiteY26160" fmla="*/ 568095 h 4687251"/>
              <a:gd name="connsiteX26161" fmla="*/ 1938649 w 8079933"/>
              <a:gd name="connsiteY26161" fmla="*/ 571993 h 4687251"/>
              <a:gd name="connsiteX26162" fmla="*/ 1933874 w 8079933"/>
              <a:gd name="connsiteY26162" fmla="*/ 576107 h 4687251"/>
              <a:gd name="connsiteX26163" fmla="*/ 1930619 w 8079933"/>
              <a:gd name="connsiteY26163" fmla="*/ 575132 h 4687251"/>
              <a:gd name="connsiteX26164" fmla="*/ 1927471 w 8079933"/>
              <a:gd name="connsiteY26164" fmla="*/ 576107 h 4687251"/>
              <a:gd name="connsiteX26165" fmla="*/ 1927146 w 8079933"/>
              <a:gd name="connsiteY26165" fmla="*/ 579030 h 4687251"/>
              <a:gd name="connsiteX26166" fmla="*/ 1921829 w 8079933"/>
              <a:gd name="connsiteY26166" fmla="*/ 580438 h 4687251"/>
              <a:gd name="connsiteX26167" fmla="*/ 1918899 w 8079933"/>
              <a:gd name="connsiteY26167" fmla="*/ 579464 h 4687251"/>
              <a:gd name="connsiteX26168" fmla="*/ 1912822 w 8079933"/>
              <a:gd name="connsiteY26168" fmla="*/ 580114 h 4687251"/>
              <a:gd name="connsiteX26169" fmla="*/ 1909024 w 8079933"/>
              <a:gd name="connsiteY26169" fmla="*/ 583578 h 4687251"/>
              <a:gd name="connsiteX26170" fmla="*/ 1911303 w 8079933"/>
              <a:gd name="connsiteY26170" fmla="*/ 585635 h 4687251"/>
              <a:gd name="connsiteX26171" fmla="*/ 1916620 w 8079933"/>
              <a:gd name="connsiteY26171" fmla="*/ 584769 h 4687251"/>
              <a:gd name="connsiteX26172" fmla="*/ 1917705 w 8079933"/>
              <a:gd name="connsiteY26172" fmla="*/ 587367 h 4687251"/>
              <a:gd name="connsiteX26173" fmla="*/ 1923022 w 8079933"/>
              <a:gd name="connsiteY26173" fmla="*/ 587151 h 4687251"/>
              <a:gd name="connsiteX26174" fmla="*/ 1925952 w 8079933"/>
              <a:gd name="connsiteY26174" fmla="*/ 584228 h 4687251"/>
              <a:gd name="connsiteX26175" fmla="*/ 1928991 w 8079933"/>
              <a:gd name="connsiteY26175" fmla="*/ 583903 h 4687251"/>
              <a:gd name="connsiteX26176" fmla="*/ 1932246 w 8079933"/>
              <a:gd name="connsiteY26176" fmla="*/ 589533 h 4687251"/>
              <a:gd name="connsiteX26177" fmla="*/ 1937672 w 8079933"/>
              <a:gd name="connsiteY26177" fmla="*/ 584444 h 4687251"/>
              <a:gd name="connsiteX26178" fmla="*/ 1943858 w 8079933"/>
              <a:gd name="connsiteY26178" fmla="*/ 581954 h 4687251"/>
              <a:gd name="connsiteX26179" fmla="*/ 1945268 w 8079933"/>
              <a:gd name="connsiteY26179" fmla="*/ 583036 h 4687251"/>
              <a:gd name="connsiteX26180" fmla="*/ 1942339 w 8079933"/>
              <a:gd name="connsiteY26180" fmla="*/ 586068 h 4687251"/>
              <a:gd name="connsiteX26181" fmla="*/ 1942339 w 8079933"/>
              <a:gd name="connsiteY26181" fmla="*/ 591049 h 4687251"/>
              <a:gd name="connsiteX26182" fmla="*/ 1944183 w 8079933"/>
              <a:gd name="connsiteY26182" fmla="*/ 591915 h 4687251"/>
              <a:gd name="connsiteX26183" fmla="*/ 1946788 w 8079933"/>
              <a:gd name="connsiteY26183" fmla="*/ 587151 h 4687251"/>
              <a:gd name="connsiteX26184" fmla="*/ 1949718 w 8079933"/>
              <a:gd name="connsiteY26184" fmla="*/ 586609 h 4687251"/>
              <a:gd name="connsiteX26185" fmla="*/ 1949718 w 8079933"/>
              <a:gd name="connsiteY26185" fmla="*/ 590615 h 4687251"/>
              <a:gd name="connsiteX26186" fmla="*/ 1953624 w 8079933"/>
              <a:gd name="connsiteY26186" fmla="*/ 593647 h 4687251"/>
              <a:gd name="connsiteX26187" fmla="*/ 1954926 w 8079933"/>
              <a:gd name="connsiteY26187" fmla="*/ 588233 h 4687251"/>
              <a:gd name="connsiteX26188" fmla="*/ 1956988 w 8079933"/>
              <a:gd name="connsiteY26188" fmla="*/ 590291 h 4687251"/>
              <a:gd name="connsiteX26189" fmla="*/ 1957639 w 8079933"/>
              <a:gd name="connsiteY26189" fmla="*/ 592131 h 4687251"/>
              <a:gd name="connsiteX26190" fmla="*/ 1960027 w 8079933"/>
              <a:gd name="connsiteY26190" fmla="*/ 590399 h 4687251"/>
              <a:gd name="connsiteX26191" fmla="*/ 1958291 w 8079933"/>
              <a:gd name="connsiteY26191" fmla="*/ 584769 h 4687251"/>
              <a:gd name="connsiteX26192" fmla="*/ 1957097 w 8079933"/>
              <a:gd name="connsiteY26192" fmla="*/ 580763 h 4687251"/>
              <a:gd name="connsiteX26193" fmla="*/ 1955035 w 8079933"/>
              <a:gd name="connsiteY26193" fmla="*/ 579464 h 4687251"/>
              <a:gd name="connsiteX26194" fmla="*/ 1956771 w 8079933"/>
              <a:gd name="connsiteY26194" fmla="*/ 574266 h 4687251"/>
              <a:gd name="connsiteX26195" fmla="*/ 1960027 w 8079933"/>
              <a:gd name="connsiteY26195" fmla="*/ 574266 h 4687251"/>
              <a:gd name="connsiteX26196" fmla="*/ 1961546 w 8079933"/>
              <a:gd name="connsiteY26196" fmla="*/ 578706 h 4687251"/>
              <a:gd name="connsiteX26197" fmla="*/ 1964693 w 8079933"/>
              <a:gd name="connsiteY26197" fmla="*/ 578598 h 4687251"/>
              <a:gd name="connsiteX26198" fmla="*/ 1964693 w 8079933"/>
              <a:gd name="connsiteY26198" fmla="*/ 574916 h 4687251"/>
              <a:gd name="connsiteX26199" fmla="*/ 1962305 w 8079933"/>
              <a:gd name="connsiteY26199" fmla="*/ 571993 h 4687251"/>
              <a:gd name="connsiteX26200" fmla="*/ 1962414 w 8079933"/>
              <a:gd name="connsiteY26200" fmla="*/ 567879 h 4687251"/>
              <a:gd name="connsiteX26201" fmla="*/ 1957965 w 8079933"/>
              <a:gd name="connsiteY26201" fmla="*/ 564414 h 4687251"/>
              <a:gd name="connsiteX26202" fmla="*/ 1959484 w 8079933"/>
              <a:gd name="connsiteY26202" fmla="*/ 559434 h 4687251"/>
              <a:gd name="connsiteX26203" fmla="*/ 1966212 w 8079933"/>
              <a:gd name="connsiteY26203" fmla="*/ 557268 h 4687251"/>
              <a:gd name="connsiteX26204" fmla="*/ 1970553 w 8079933"/>
              <a:gd name="connsiteY26204" fmla="*/ 562898 h 4687251"/>
              <a:gd name="connsiteX26205" fmla="*/ 1973483 w 8079933"/>
              <a:gd name="connsiteY26205" fmla="*/ 563440 h 4687251"/>
              <a:gd name="connsiteX26206" fmla="*/ 1973157 w 8079933"/>
              <a:gd name="connsiteY26206" fmla="*/ 569069 h 4687251"/>
              <a:gd name="connsiteX26207" fmla="*/ 1971638 w 8079933"/>
              <a:gd name="connsiteY26207" fmla="*/ 571018 h 4687251"/>
              <a:gd name="connsiteX26208" fmla="*/ 1973700 w 8079933"/>
              <a:gd name="connsiteY26208" fmla="*/ 576540 h 4687251"/>
              <a:gd name="connsiteX26209" fmla="*/ 1976196 w 8079933"/>
              <a:gd name="connsiteY26209" fmla="*/ 578164 h 4687251"/>
              <a:gd name="connsiteX26210" fmla="*/ 1975762 w 8079933"/>
              <a:gd name="connsiteY26210" fmla="*/ 588017 h 4687251"/>
              <a:gd name="connsiteX26211" fmla="*/ 1972832 w 8079933"/>
              <a:gd name="connsiteY26211" fmla="*/ 591265 h 4687251"/>
              <a:gd name="connsiteX26212" fmla="*/ 1972397 w 8079933"/>
              <a:gd name="connsiteY26212" fmla="*/ 594730 h 4687251"/>
              <a:gd name="connsiteX26213" fmla="*/ 1974676 w 8079933"/>
              <a:gd name="connsiteY26213" fmla="*/ 595271 h 4687251"/>
              <a:gd name="connsiteX26214" fmla="*/ 1977389 w 8079933"/>
              <a:gd name="connsiteY26214" fmla="*/ 594730 h 4687251"/>
              <a:gd name="connsiteX26215" fmla="*/ 1976955 w 8079933"/>
              <a:gd name="connsiteY26215" fmla="*/ 600360 h 4687251"/>
              <a:gd name="connsiteX26216" fmla="*/ 1971421 w 8079933"/>
              <a:gd name="connsiteY26216" fmla="*/ 603283 h 4687251"/>
              <a:gd name="connsiteX26217" fmla="*/ 1968816 w 8079933"/>
              <a:gd name="connsiteY26217" fmla="*/ 613244 h 4687251"/>
              <a:gd name="connsiteX26218" fmla="*/ 1967623 w 8079933"/>
              <a:gd name="connsiteY26218" fmla="*/ 617250 h 4687251"/>
              <a:gd name="connsiteX26219" fmla="*/ 1967297 w 8079933"/>
              <a:gd name="connsiteY26219" fmla="*/ 621148 h 4687251"/>
              <a:gd name="connsiteX26220" fmla="*/ 1964042 w 8079933"/>
              <a:gd name="connsiteY26220" fmla="*/ 623963 h 4687251"/>
              <a:gd name="connsiteX26221" fmla="*/ 1963174 w 8079933"/>
              <a:gd name="connsiteY26221" fmla="*/ 629809 h 4687251"/>
              <a:gd name="connsiteX26222" fmla="*/ 1959701 w 8079933"/>
              <a:gd name="connsiteY26222" fmla="*/ 636847 h 4687251"/>
              <a:gd name="connsiteX26223" fmla="*/ 1959810 w 8079933"/>
              <a:gd name="connsiteY26223" fmla="*/ 643884 h 4687251"/>
              <a:gd name="connsiteX26224" fmla="*/ 1962414 w 8079933"/>
              <a:gd name="connsiteY26224" fmla="*/ 647024 h 4687251"/>
              <a:gd name="connsiteX26225" fmla="*/ 1961112 w 8079933"/>
              <a:gd name="connsiteY26225" fmla="*/ 650597 h 4687251"/>
              <a:gd name="connsiteX26226" fmla="*/ 1961546 w 8079933"/>
              <a:gd name="connsiteY26226" fmla="*/ 655361 h 4687251"/>
              <a:gd name="connsiteX26227" fmla="*/ 1964801 w 8079933"/>
              <a:gd name="connsiteY26227" fmla="*/ 657310 h 4687251"/>
              <a:gd name="connsiteX26228" fmla="*/ 1966971 w 8079933"/>
              <a:gd name="connsiteY26228" fmla="*/ 655253 h 4687251"/>
              <a:gd name="connsiteX26229" fmla="*/ 1966538 w 8079933"/>
              <a:gd name="connsiteY26229" fmla="*/ 650597 h 4687251"/>
              <a:gd name="connsiteX26230" fmla="*/ 1968708 w 8079933"/>
              <a:gd name="connsiteY26230" fmla="*/ 648323 h 4687251"/>
              <a:gd name="connsiteX26231" fmla="*/ 1971638 w 8079933"/>
              <a:gd name="connsiteY26231" fmla="*/ 649406 h 4687251"/>
              <a:gd name="connsiteX26232" fmla="*/ 1975327 w 8079933"/>
              <a:gd name="connsiteY26232" fmla="*/ 646808 h 4687251"/>
              <a:gd name="connsiteX26233" fmla="*/ 1978474 w 8079933"/>
              <a:gd name="connsiteY26233" fmla="*/ 646050 h 4687251"/>
              <a:gd name="connsiteX26234" fmla="*/ 1981405 w 8079933"/>
              <a:gd name="connsiteY26234" fmla="*/ 647457 h 4687251"/>
              <a:gd name="connsiteX26235" fmla="*/ 1981405 w 8079933"/>
              <a:gd name="connsiteY26235" fmla="*/ 643343 h 4687251"/>
              <a:gd name="connsiteX26236" fmla="*/ 1977281 w 8079933"/>
              <a:gd name="connsiteY26236" fmla="*/ 641503 h 4687251"/>
              <a:gd name="connsiteX26237" fmla="*/ 1975327 w 8079933"/>
              <a:gd name="connsiteY26237" fmla="*/ 639229 h 4687251"/>
              <a:gd name="connsiteX26238" fmla="*/ 1980428 w 8079933"/>
              <a:gd name="connsiteY26238" fmla="*/ 639229 h 4687251"/>
              <a:gd name="connsiteX26239" fmla="*/ 1981079 w 8079933"/>
              <a:gd name="connsiteY26239" fmla="*/ 635764 h 4687251"/>
              <a:gd name="connsiteX26240" fmla="*/ 1978692 w 8079933"/>
              <a:gd name="connsiteY26240" fmla="*/ 632191 h 4687251"/>
              <a:gd name="connsiteX26241" fmla="*/ 1982055 w 8079933"/>
              <a:gd name="connsiteY26241" fmla="*/ 627752 h 4687251"/>
              <a:gd name="connsiteX26242" fmla="*/ 1982598 w 8079933"/>
              <a:gd name="connsiteY26242" fmla="*/ 622880 h 4687251"/>
              <a:gd name="connsiteX26243" fmla="*/ 1984009 w 8079933"/>
              <a:gd name="connsiteY26243" fmla="*/ 618441 h 4687251"/>
              <a:gd name="connsiteX26244" fmla="*/ 1982490 w 8079933"/>
              <a:gd name="connsiteY26244" fmla="*/ 615734 h 4687251"/>
              <a:gd name="connsiteX26245" fmla="*/ 1985745 w 8079933"/>
              <a:gd name="connsiteY26245" fmla="*/ 607939 h 4687251"/>
              <a:gd name="connsiteX26246" fmla="*/ 1987807 w 8079933"/>
              <a:gd name="connsiteY26246" fmla="*/ 608805 h 4687251"/>
              <a:gd name="connsiteX26247" fmla="*/ 1991388 w 8079933"/>
              <a:gd name="connsiteY26247" fmla="*/ 606423 h 4687251"/>
              <a:gd name="connsiteX26248" fmla="*/ 1991931 w 8079933"/>
              <a:gd name="connsiteY26248" fmla="*/ 596787 h 4687251"/>
              <a:gd name="connsiteX26249" fmla="*/ 1995403 w 8079933"/>
              <a:gd name="connsiteY26249" fmla="*/ 594513 h 4687251"/>
              <a:gd name="connsiteX26250" fmla="*/ 1995729 w 8079933"/>
              <a:gd name="connsiteY26250" fmla="*/ 590615 h 4687251"/>
              <a:gd name="connsiteX26251" fmla="*/ 1997248 w 8079933"/>
              <a:gd name="connsiteY26251" fmla="*/ 589208 h 4687251"/>
              <a:gd name="connsiteX26252" fmla="*/ 1997574 w 8079933"/>
              <a:gd name="connsiteY26252" fmla="*/ 583578 h 4687251"/>
              <a:gd name="connsiteX26253" fmla="*/ 2000178 w 8079933"/>
              <a:gd name="connsiteY26253" fmla="*/ 579789 h 4687251"/>
              <a:gd name="connsiteX26254" fmla="*/ 2000178 w 8079933"/>
              <a:gd name="connsiteY26254" fmla="*/ 574916 h 4687251"/>
              <a:gd name="connsiteX26255" fmla="*/ 2003976 w 8079933"/>
              <a:gd name="connsiteY26255" fmla="*/ 563440 h 4687251"/>
              <a:gd name="connsiteX26256" fmla="*/ 2006906 w 8079933"/>
              <a:gd name="connsiteY26256" fmla="*/ 561707 h 4687251"/>
              <a:gd name="connsiteX26257" fmla="*/ 2006906 w 8079933"/>
              <a:gd name="connsiteY26257" fmla="*/ 558784 h 4687251"/>
              <a:gd name="connsiteX26258" fmla="*/ 2009293 w 8079933"/>
              <a:gd name="connsiteY26258" fmla="*/ 553154 h 4687251"/>
              <a:gd name="connsiteX26259" fmla="*/ 2012549 w 8079933"/>
              <a:gd name="connsiteY26259" fmla="*/ 554020 h 4687251"/>
              <a:gd name="connsiteX26260" fmla="*/ 2014285 w 8079933"/>
              <a:gd name="connsiteY26260" fmla="*/ 552720 h 4687251"/>
              <a:gd name="connsiteX26261" fmla="*/ 2013417 w 8079933"/>
              <a:gd name="connsiteY26261" fmla="*/ 546766 h 4687251"/>
              <a:gd name="connsiteX26262" fmla="*/ 2016564 w 8079933"/>
              <a:gd name="connsiteY26262" fmla="*/ 545034 h 4687251"/>
              <a:gd name="connsiteX26263" fmla="*/ 2019820 w 8079933"/>
              <a:gd name="connsiteY26263" fmla="*/ 548823 h 4687251"/>
              <a:gd name="connsiteX26264" fmla="*/ 2022966 w 8079933"/>
              <a:gd name="connsiteY26264" fmla="*/ 549364 h 4687251"/>
              <a:gd name="connsiteX26265" fmla="*/ 2027958 w 8079933"/>
              <a:gd name="connsiteY26265" fmla="*/ 558459 h 4687251"/>
              <a:gd name="connsiteX26266" fmla="*/ 2030129 w 8079933"/>
              <a:gd name="connsiteY26266" fmla="*/ 558567 h 4687251"/>
              <a:gd name="connsiteX26267" fmla="*/ 2030997 w 8079933"/>
              <a:gd name="connsiteY26267" fmla="*/ 552396 h 4687251"/>
              <a:gd name="connsiteX26268" fmla="*/ 2032950 w 8079933"/>
              <a:gd name="connsiteY26268" fmla="*/ 552071 h 4687251"/>
              <a:gd name="connsiteX26269" fmla="*/ 2034795 w 8079933"/>
              <a:gd name="connsiteY26269" fmla="*/ 554128 h 4687251"/>
              <a:gd name="connsiteX26270" fmla="*/ 2039135 w 8079933"/>
              <a:gd name="connsiteY26270" fmla="*/ 554994 h 4687251"/>
              <a:gd name="connsiteX26271" fmla="*/ 2042391 w 8079933"/>
              <a:gd name="connsiteY26271" fmla="*/ 563115 h 4687251"/>
              <a:gd name="connsiteX26272" fmla="*/ 2040872 w 8079933"/>
              <a:gd name="connsiteY26272" fmla="*/ 565281 h 4687251"/>
              <a:gd name="connsiteX26273" fmla="*/ 2042933 w 8079933"/>
              <a:gd name="connsiteY26273" fmla="*/ 572210 h 4687251"/>
              <a:gd name="connsiteX26274" fmla="*/ 2047057 w 8079933"/>
              <a:gd name="connsiteY26274" fmla="*/ 574375 h 4687251"/>
              <a:gd name="connsiteX26275" fmla="*/ 2047057 w 8079933"/>
              <a:gd name="connsiteY26275" fmla="*/ 578056 h 4687251"/>
              <a:gd name="connsiteX26276" fmla="*/ 2046298 w 8079933"/>
              <a:gd name="connsiteY26276" fmla="*/ 580979 h 4687251"/>
              <a:gd name="connsiteX26277" fmla="*/ 2048793 w 8079933"/>
              <a:gd name="connsiteY26277" fmla="*/ 585960 h 4687251"/>
              <a:gd name="connsiteX26278" fmla="*/ 2048468 w 8079933"/>
              <a:gd name="connsiteY26278" fmla="*/ 590615 h 4687251"/>
              <a:gd name="connsiteX26279" fmla="*/ 2045321 w 8079933"/>
              <a:gd name="connsiteY26279" fmla="*/ 591481 h 4687251"/>
              <a:gd name="connsiteX26280" fmla="*/ 2044778 w 8079933"/>
              <a:gd name="connsiteY26280" fmla="*/ 594730 h 4687251"/>
              <a:gd name="connsiteX26281" fmla="*/ 2045321 w 8079933"/>
              <a:gd name="connsiteY26281" fmla="*/ 599927 h 4687251"/>
              <a:gd name="connsiteX26282" fmla="*/ 2040112 w 8079933"/>
              <a:gd name="connsiteY26282" fmla="*/ 605665 h 4687251"/>
              <a:gd name="connsiteX26283" fmla="*/ 2040112 w 8079933"/>
              <a:gd name="connsiteY26283" fmla="*/ 610213 h 4687251"/>
              <a:gd name="connsiteX26284" fmla="*/ 2037182 w 8079933"/>
              <a:gd name="connsiteY26284" fmla="*/ 611403 h 4687251"/>
              <a:gd name="connsiteX26285" fmla="*/ 2037182 w 8079933"/>
              <a:gd name="connsiteY26285" fmla="*/ 620499 h 4687251"/>
              <a:gd name="connsiteX26286" fmla="*/ 2034686 w 8079933"/>
              <a:gd name="connsiteY26286" fmla="*/ 623638 h 4687251"/>
              <a:gd name="connsiteX26287" fmla="*/ 2034144 w 8079933"/>
              <a:gd name="connsiteY26287" fmla="*/ 627536 h 4687251"/>
              <a:gd name="connsiteX26288" fmla="*/ 2029261 w 8079933"/>
              <a:gd name="connsiteY26288" fmla="*/ 634032 h 4687251"/>
              <a:gd name="connsiteX26289" fmla="*/ 2028935 w 8079933"/>
              <a:gd name="connsiteY26289" fmla="*/ 640961 h 4687251"/>
              <a:gd name="connsiteX26290" fmla="*/ 2026005 w 8079933"/>
              <a:gd name="connsiteY26290" fmla="*/ 641503 h 4687251"/>
              <a:gd name="connsiteX26291" fmla="*/ 2024268 w 8079933"/>
              <a:gd name="connsiteY26291" fmla="*/ 647024 h 4687251"/>
              <a:gd name="connsiteX26292" fmla="*/ 2027741 w 8079933"/>
              <a:gd name="connsiteY26292" fmla="*/ 654712 h 4687251"/>
              <a:gd name="connsiteX26293" fmla="*/ 2026765 w 8079933"/>
              <a:gd name="connsiteY26293" fmla="*/ 657310 h 4687251"/>
              <a:gd name="connsiteX26294" fmla="*/ 2026765 w 8079933"/>
              <a:gd name="connsiteY26294" fmla="*/ 663481 h 4687251"/>
              <a:gd name="connsiteX26295" fmla="*/ 2022423 w 8079933"/>
              <a:gd name="connsiteY26295" fmla="*/ 672792 h 4687251"/>
              <a:gd name="connsiteX26296" fmla="*/ 2022207 w 8079933"/>
              <a:gd name="connsiteY26296" fmla="*/ 676907 h 4687251"/>
              <a:gd name="connsiteX26297" fmla="*/ 2019169 w 8079933"/>
              <a:gd name="connsiteY26297" fmla="*/ 678964 h 4687251"/>
              <a:gd name="connsiteX26298" fmla="*/ 2018300 w 8079933"/>
              <a:gd name="connsiteY26298" fmla="*/ 677557 h 4687251"/>
              <a:gd name="connsiteX26299" fmla="*/ 2015153 w 8079933"/>
              <a:gd name="connsiteY26299" fmla="*/ 677557 h 4687251"/>
              <a:gd name="connsiteX26300" fmla="*/ 2013634 w 8079933"/>
              <a:gd name="connsiteY26300" fmla="*/ 682537 h 4687251"/>
              <a:gd name="connsiteX26301" fmla="*/ 2008859 w 8079933"/>
              <a:gd name="connsiteY26301" fmla="*/ 683078 h 4687251"/>
              <a:gd name="connsiteX26302" fmla="*/ 2008859 w 8079933"/>
              <a:gd name="connsiteY26302" fmla="*/ 686326 h 4687251"/>
              <a:gd name="connsiteX26303" fmla="*/ 2010487 w 8079933"/>
              <a:gd name="connsiteY26303" fmla="*/ 689466 h 4687251"/>
              <a:gd name="connsiteX26304" fmla="*/ 2010704 w 8079933"/>
              <a:gd name="connsiteY26304" fmla="*/ 694014 h 4687251"/>
              <a:gd name="connsiteX26305" fmla="*/ 2013959 w 8079933"/>
              <a:gd name="connsiteY26305" fmla="*/ 698344 h 4687251"/>
              <a:gd name="connsiteX26306" fmla="*/ 2014827 w 8079933"/>
              <a:gd name="connsiteY26306" fmla="*/ 706140 h 4687251"/>
              <a:gd name="connsiteX26307" fmla="*/ 2017757 w 8079933"/>
              <a:gd name="connsiteY26307" fmla="*/ 707872 h 4687251"/>
              <a:gd name="connsiteX26308" fmla="*/ 2019169 w 8079933"/>
              <a:gd name="connsiteY26308" fmla="*/ 717616 h 4687251"/>
              <a:gd name="connsiteX26309" fmla="*/ 2024160 w 8079933"/>
              <a:gd name="connsiteY26309" fmla="*/ 720323 h 4687251"/>
              <a:gd name="connsiteX26310" fmla="*/ 2027741 w 8079933"/>
              <a:gd name="connsiteY26310" fmla="*/ 725412 h 4687251"/>
              <a:gd name="connsiteX26311" fmla="*/ 2027416 w 8079933"/>
              <a:gd name="connsiteY26311" fmla="*/ 720648 h 4687251"/>
              <a:gd name="connsiteX26312" fmla="*/ 2030129 w 8079933"/>
              <a:gd name="connsiteY26312" fmla="*/ 715234 h 4687251"/>
              <a:gd name="connsiteX26313" fmla="*/ 2032299 w 8079933"/>
              <a:gd name="connsiteY26313" fmla="*/ 722164 h 4687251"/>
              <a:gd name="connsiteX26314" fmla="*/ 2030129 w 8079933"/>
              <a:gd name="connsiteY26314" fmla="*/ 727252 h 4687251"/>
              <a:gd name="connsiteX26315" fmla="*/ 2030671 w 8079933"/>
              <a:gd name="connsiteY26315" fmla="*/ 733099 h 4687251"/>
              <a:gd name="connsiteX26316" fmla="*/ 2034035 w 8079933"/>
              <a:gd name="connsiteY26316" fmla="*/ 740354 h 4687251"/>
              <a:gd name="connsiteX26317" fmla="*/ 2034035 w 8079933"/>
              <a:gd name="connsiteY26317" fmla="*/ 743818 h 4687251"/>
              <a:gd name="connsiteX26318" fmla="*/ 2038375 w 8079933"/>
              <a:gd name="connsiteY26318" fmla="*/ 747391 h 4687251"/>
              <a:gd name="connsiteX26319" fmla="*/ 2039135 w 8079933"/>
              <a:gd name="connsiteY26319" fmla="*/ 749448 h 4687251"/>
              <a:gd name="connsiteX26320" fmla="*/ 2043585 w 8079933"/>
              <a:gd name="connsiteY26320" fmla="*/ 748907 h 4687251"/>
              <a:gd name="connsiteX26321" fmla="*/ 2044995 w 8079933"/>
              <a:gd name="connsiteY26321" fmla="*/ 751289 h 4687251"/>
              <a:gd name="connsiteX26322" fmla="*/ 2042933 w 8079933"/>
              <a:gd name="connsiteY26322" fmla="*/ 752696 h 4687251"/>
              <a:gd name="connsiteX26323" fmla="*/ 2042933 w 8079933"/>
              <a:gd name="connsiteY26323" fmla="*/ 757893 h 4687251"/>
              <a:gd name="connsiteX26324" fmla="*/ 2045646 w 8079933"/>
              <a:gd name="connsiteY26324" fmla="*/ 755728 h 4687251"/>
              <a:gd name="connsiteX26325" fmla="*/ 2048251 w 8079933"/>
              <a:gd name="connsiteY26325" fmla="*/ 757027 h 4687251"/>
              <a:gd name="connsiteX26326" fmla="*/ 2050964 w 8079933"/>
              <a:gd name="connsiteY26326" fmla="*/ 756702 h 4687251"/>
              <a:gd name="connsiteX26327" fmla="*/ 2051723 w 8079933"/>
              <a:gd name="connsiteY26327" fmla="*/ 759084 h 4687251"/>
              <a:gd name="connsiteX26328" fmla="*/ 2049987 w 8079933"/>
              <a:gd name="connsiteY26328" fmla="*/ 761141 h 4687251"/>
              <a:gd name="connsiteX26329" fmla="*/ 2051181 w 8079933"/>
              <a:gd name="connsiteY26329" fmla="*/ 766230 h 4687251"/>
              <a:gd name="connsiteX26330" fmla="*/ 2048902 w 8079933"/>
              <a:gd name="connsiteY26330" fmla="*/ 771211 h 4687251"/>
              <a:gd name="connsiteX26331" fmla="*/ 2047274 w 8079933"/>
              <a:gd name="connsiteY26331" fmla="*/ 778140 h 4687251"/>
              <a:gd name="connsiteX26332" fmla="*/ 2041848 w 8079933"/>
              <a:gd name="connsiteY26332" fmla="*/ 782796 h 4687251"/>
              <a:gd name="connsiteX26333" fmla="*/ 2039787 w 8079933"/>
              <a:gd name="connsiteY26333" fmla="*/ 786043 h 4687251"/>
              <a:gd name="connsiteX26334" fmla="*/ 2036857 w 8079933"/>
              <a:gd name="connsiteY26334" fmla="*/ 784095 h 4687251"/>
              <a:gd name="connsiteX26335" fmla="*/ 2033384 w 8079933"/>
              <a:gd name="connsiteY26335" fmla="*/ 783986 h 4687251"/>
              <a:gd name="connsiteX26336" fmla="*/ 2032407 w 8079933"/>
              <a:gd name="connsiteY26336" fmla="*/ 776624 h 4687251"/>
              <a:gd name="connsiteX26337" fmla="*/ 2036205 w 8079933"/>
              <a:gd name="connsiteY26337" fmla="*/ 772076 h 4687251"/>
              <a:gd name="connsiteX26338" fmla="*/ 2037182 w 8079933"/>
              <a:gd name="connsiteY26338" fmla="*/ 767096 h 4687251"/>
              <a:gd name="connsiteX26339" fmla="*/ 2034252 w 8079933"/>
              <a:gd name="connsiteY26339" fmla="*/ 768287 h 4687251"/>
              <a:gd name="connsiteX26340" fmla="*/ 2030671 w 8079933"/>
              <a:gd name="connsiteY26340" fmla="*/ 775325 h 4687251"/>
              <a:gd name="connsiteX26341" fmla="*/ 2028284 w 8079933"/>
              <a:gd name="connsiteY26341" fmla="*/ 777057 h 4687251"/>
              <a:gd name="connsiteX26342" fmla="*/ 2026222 w 8079933"/>
              <a:gd name="connsiteY26342" fmla="*/ 782254 h 4687251"/>
              <a:gd name="connsiteX26343" fmla="*/ 2023292 w 8079933"/>
              <a:gd name="connsiteY26343" fmla="*/ 782254 h 4687251"/>
              <a:gd name="connsiteX26344" fmla="*/ 2025354 w 8079933"/>
              <a:gd name="connsiteY26344" fmla="*/ 778464 h 4687251"/>
              <a:gd name="connsiteX26345" fmla="*/ 2023292 w 8079933"/>
              <a:gd name="connsiteY26345" fmla="*/ 777274 h 4687251"/>
              <a:gd name="connsiteX26346" fmla="*/ 2021339 w 8079933"/>
              <a:gd name="connsiteY26346" fmla="*/ 778356 h 4687251"/>
              <a:gd name="connsiteX26347" fmla="*/ 2021013 w 8079933"/>
              <a:gd name="connsiteY26347" fmla="*/ 772293 h 4687251"/>
              <a:gd name="connsiteX26348" fmla="*/ 2024486 w 8079933"/>
              <a:gd name="connsiteY26348" fmla="*/ 764714 h 4687251"/>
              <a:gd name="connsiteX26349" fmla="*/ 2020470 w 8079933"/>
              <a:gd name="connsiteY26349" fmla="*/ 768287 h 4687251"/>
              <a:gd name="connsiteX26350" fmla="*/ 2018734 w 8079933"/>
              <a:gd name="connsiteY26350" fmla="*/ 768179 h 4687251"/>
              <a:gd name="connsiteX26351" fmla="*/ 2017975 w 8079933"/>
              <a:gd name="connsiteY26351" fmla="*/ 764064 h 4687251"/>
              <a:gd name="connsiteX26352" fmla="*/ 2016347 w 8079933"/>
              <a:gd name="connsiteY26352" fmla="*/ 769045 h 4687251"/>
              <a:gd name="connsiteX26353" fmla="*/ 2012549 w 8079933"/>
              <a:gd name="connsiteY26353" fmla="*/ 772618 h 4687251"/>
              <a:gd name="connsiteX26354" fmla="*/ 2010161 w 8079933"/>
              <a:gd name="connsiteY26354" fmla="*/ 773268 h 4687251"/>
              <a:gd name="connsiteX26355" fmla="*/ 2008643 w 8079933"/>
              <a:gd name="connsiteY26355" fmla="*/ 771644 h 4687251"/>
              <a:gd name="connsiteX26356" fmla="*/ 2005387 w 8079933"/>
              <a:gd name="connsiteY26356" fmla="*/ 771752 h 4687251"/>
              <a:gd name="connsiteX26357" fmla="*/ 2005170 w 8079933"/>
              <a:gd name="connsiteY26357" fmla="*/ 773701 h 4687251"/>
              <a:gd name="connsiteX26358" fmla="*/ 2007774 w 8079933"/>
              <a:gd name="connsiteY26358" fmla="*/ 775866 h 4687251"/>
              <a:gd name="connsiteX26359" fmla="*/ 2005495 w 8079933"/>
              <a:gd name="connsiteY26359" fmla="*/ 781280 h 4687251"/>
              <a:gd name="connsiteX26360" fmla="*/ 2000720 w 8079933"/>
              <a:gd name="connsiteY26360" fmla="*/ 781388 h 4687251"/>
              <a:gd name="connsiteX26361" fmla="*/ 1998442 w 8079933"/>
              <a:gd name="connsiteY26361" fmla="*/ 782470 h 4687251"/>
              <a:gd name="connsiteX26362" fmla="*/ 1995403 w 8079933"/>
              <a:gd name="connsiteY26362" fmla="*/ 779331 h 4687251"/>
              <a:gd name="connsiteX26363" fmla="*/ 1993341 w 8079933"/>
              <a:gd name="connsiteY26363" fmla="*/ 772835 h 4687251"/>
              <a:gd name="connsiteX26364" fmla="*/ 1993992 w 8079933"/>
              <a:gd name="connsiteY26364" fmla="*/ 770236 h 4687251"/>
              <a:gd name="connsiteX26365" fmla="*/ 1990737 w 8079933"/>
              <a:gd name="connsiteY26365" fmla="*/ 770019 h 4687251"/>
              <a:gd name="connsiteX26366" fmla="*/ 1987916 w 8079933"/>
              <a:gd name="connsiteY26366" fmla="*/ 773701 h 4687251"/>
              <a:gd name="connsiteX26367" fmla="*/ 1991062 w 8079933"/>
              <a:gd name="connsiteY26367" fmla="*/ 779547 h 4687251"/>
              <a:gd name="connsiteX26368" fmla="*/ 1987048 w 8079933"/>
              <a:gd name="connsiteY26368" fmla="*/ 782470 h 4687251"/>
              <a:gd name="connsiteX26369" fmla="*/ 1987265 w 8079933"/>
              <a:gd name="connsiteY26369" fmla="*/ 786260 h 4687251"/>
              <a:gd name="connsiteX26370" fmla="*/ 1989326 w 8079933"/>
              <a:gd name="connsiteY26370" fmla="*/ 787235 h 4687251"/>
              <a:gd name="connsiteX26371" fmla="*/ 1991279 w 8079933"/>
              <a:gd name="connsiteY26371" fmla="*/ 784095 h 4687251"/>
              <a:gd name="connsiteX26372" fmla="*/ 1991388 w 8079933"/>
              <a:gd name="connsiteY26372" fmla="*/ 789508 h 4687251"/>
              <a:gd name="connsiteX26373" fmla="*/ 1988784 w 8079933"/>
              <a:gd name="connsiteY26373" fmla="*/ 792865 h 4687251"/>
              <a:gd name="connsiteX26374" fmla="*/ 1983683 w 8079933"/>
              <a:gd name="connsiteY26374" fmla="*/ 796004 h 4687251"/>
              <a:gd name="connsiteX26375" fmla="*/ 1983575 w 8079933"/>
              <a:gd name="connsiteY26375" fmla="*/ 798062 h 4687251"/>
              <a:gd name="connsiteX26376" fmla="*/ 1988133 w 8079933"/>
              <a:gd name="connsiteY26376" fmla="*/ 795139 h 4687251"/>
              <a:gd name="connsiteX26377" fmla="*/ 1993776 w 8079933"/>
              <a:gd name="connsiteY26377" fmla="*/ 789292 h 4687251"/>
              <a:gd name="connsiteX26378" fmla="*/ 1999527 w 8079933"/>
              <a:gd name="connsiteY26378" fmla="*/ 789508 h 4687251"/>
              <a:gd name="connsiteX26379" fmla="*/ 2002348 w 8079933"/>
              <a:gd name="connsiteY26379" fmla="*/ 791132 h 4687251"/>
              <a:gd name="connsiteX26380" fmla="*/ 2004085 w 8079933"/>
              <a:gd name="connsiteY26380" fmla="*/ 789400 h 4687251"/>
              <a:gd name="connsiteX26381" fmla="*/ 2004410 w 8079933"/>
              <a:gd name="connsiteY26381" fmla="*/ 786476 h 4687251"/>
              <a:gd name="connsiteX26382" fmla="*/ 2007448 w 8079933"/>
              <a:gd name="connsiteY26382" fmla="*/ 785394 h 4687251"/>
              <a:gd name="connsiteX26383" fmla="*/ 2012223 w 8079933"/>
              <a:gd name="connsiteY26383" fmla="*/ 788101 h 4687251"/>
              <a:gd name="connsiteX26384" fmla="*/ 2011789 w 8079933"/>
              <a:gd name="connsiteY26384" fmla="*/ 792107 h 4687251"/>
              <a:gd name="connsiteX26385" fmla="*/ 2008100 w 8079933"/>
              <a:gd name="connsiteY26385" fmla="*/ 792865 h 4687251"/>
              <a:gd name="connsiteX26386" fmla="*/ 2006580 w 8079933"/>
              <a:gd name="connsiteY26386" fmla="*/ 796654 h 4687251"/>
              <a:gd name="connsiteX26387" fmla="*/ 2007448 w 8079933"/>
              <a:gd name="connsiteY26387" fmla="*/ 800227 h 4687251"/>
              <a:gd name="connsiteX26388" fmla="*/ 2011138 w 8079933"/>
              <a:gd name="connsiteY26388" fmla="*/ 800335 h 4687251"/>
              <a:gd name="connsiteX26389" fmla="*/ 2011355 w 8079933"/>
              <a:gd name="connsiteY26389" fmla="*/ 803475 h 4687251"/>
              <a:gd name="connsiteX26390" fmla="*/ 2009184 w 8079933"/>
              <a:gd name="connsiteY26390" fmla="*/ 806182 h 4687251"/>
              <a:gd name="connsiteX26391" fmla="*/ 2009184 w 8079933"/>
              <a:gd name="connsiteY26391" fmla="*/ 808131 h 4687251"/>
              <a:gd name="connsiteX26392" fmla="*/ 2006255 w 8079933"/>
              <a:gd name="connsiteY26392" fmla="*/ 811487 h 4687251"/>
              <a:gd name="connsiteX26393" fmla="*/ 2007123 w 8079933"/>
              <a:gd name="connsiteY26393" fmla="*/ 814194 h 4687251"/>
              <a:gd name="connsiteX26394" fmla="*/ 2006580 w 8079933"/>
              <a:gd name="connsiteY26394" fmla="*/ 815926 h 4687251"/>
              <a:gd name="connsiteX26395" fmla="*/ 2004627 w 8079933"/>
              <a:gd name="connsiteY26395" fmla="*/ 816792 h 4687251"/>
              <a:gd name="connsiteX26396" fmla="*/ 2002782 w 8079933"/>
              <a:gd name="connsiteY26396" fmla="*/ 816035 h 4687251"/>
              <a:gd name="connsiteX26397" fmla="*/ 2001805 w 8079933"/>
              <a:gd name="connsiteY26397" fmla="*/ 814410 h 4687251"/>
              <a:gd name="connsiteX26398" fmla="*/ 1998659 w 8079933"/>
              <a:gd name="connsiteY26398" fmla="*/ 814086 h 4687251"/>
              <a:gd name="connsiteX26399" fmla="*/ 1996054 w 8079933"/>
              <a:gd name="connsiteY26399" fmla="*/ 816792 h 4687251"/>
              <a:gd name="connsiteX26400" fmla="*/ 1994861 w 8079933"/>
              <a:gd name="connsiteY26400" fmla="*/ 817333 h 4687251"/>
              <a:gd name="connsiteX26401" fmla="*/ 1993341 w 8079933"/>
              <a:gd name="connsiteY26401" fmla="*/ 819391 h 4687251"/>
              <a:gd name="connsiteX26402" fmla="*/ 1991388 w 8079933"/>
              <a:gd name="connsiteY26402" fmla="*/ 819499 h 4687251"/>
              <a:gd name="connsiteX26403" fmla="*/ 1990628 w 8079933"/>
              <a:gd name="connsiteY26403" fmla="*/ 816576 h 4687251"/>
              <a:gd name="connsiteX26404" fmla="*/ 1988784 w 8079933"/>
              <a:gd name="connsiteY26404" fmla="*/ 815493 h 4687251"/>
              <a:gd name="connsiteX26405" fmla="*/ 1986288 w 8079933"/>
              <a:gd name="connsiteY26405" fmla="*/ 818958 h 4687251"/>
              <a:gd name="connsiteX26406" fmla="*/ 1982598 w 8079933"/>
              <a:gd name="connsiteY26406" fmla="*/ 820041 h 4687251"/>
              <a:gd name="connsiteX26407" fmla="*/ 1980970 w 8079933"/>
              <a:gd name="connsiteY26407" fmla="*/ 819066 h 4687251"/>
              <a:gd name="connsiteX26408" fmla="*/ 1981187 w 8079933"/>
              <a:gd name="connsiteY26408" fmla="*/ 815818 h 4687251"/>
              <a:gd name="connsiteX26409" fmla="*/ 1979342 w 8079933"/>
              <a:gd name="connsiteY26409" fmla="*/ 814302 h 4687251"/>
              <a:gd name="connsiteX26410" fmla="*/ 1976087 w 8079933"/>
              <a:gd name="connsiteY26410" fmla="*/ 815493 h 4687251"/>
              <a:gd name="connsiteX26411" fmla="*/ 1973917 w 8079933"/>
              <a:gd name="connsiteY26411" fmla="*/ 815493 h 4687251"/>
              <a:gd name="connsiteX26412" fmla="*/ 1974134 w 8079933"/>
              <a:gd name="connsiteY26412" fmla="*/ 819282 h 4687251"/>
              <a:gd name="connsiteX26413" fmla="*/ 1972397 w 8079933"/>
              <a:gd name="connsiteY26413" fmla="*/ 819174 h 4687251"/>
              <a:gd name="connsiteX26414" fmla="*/ 1970336 w 8079933"/>
              <a:gd name="connsiteY26414" fmla="*/ 816684 h 4687251"/>
              <a:gd name="connsiteX26415" fmla="*/ 1966863 w 8079933"/>
              <a:gd name="connsiteY26415" fmla="*/ 816684 h 4687251"/>
              <a:gd name="connsiteX26416" fmla="*/ 1964801 w 8079933"/>
              <a:gd name="connsiteY26416" fmla="*/ 813653 h 4687251"/>
              <a:gd name="connsiteX26417" fmla="*/ 1961112 w 8079933"/>
              <a:gd name="connsiteY26417" fmla="*/ 812678 h 4687251"/>
              <a:gd name="connsiteX26418" fmla="*/ 1958399 w 8079933"/>
              <a:gd name="connsiteY26418" fmla="*/ 814519 h 4687251"/>
              <a:gd name="connsiteX26419" fmla="*/ 1955578 w 8079933"/>
              <a:gd name="connsiteY26419" fmla="*/ 813653 h 4687251"/>
              <a:gd name="connsiteX26420" fmla="*/ 1952973 w 8079933"/>
              <a:gd name="connsiteY26420" fmla="*/ 808997 h 4687251"/>
              <a:gd name="connsiteX26421" fmla="*/ 1953299 w 8079933"/>
              <a:gd name="connsiteY26421" fmla="*/ 805099 h 4687251"/>
              <a:gd name="connsiteX26422" fmla="*/ 1951779 w 8079933"/>
              <a:gd name="connsiteY26422" fmla="*/ 804991 h 4687251"/>
              <a:gd name="connsiteX26423" fmla="*/ 1948306 w 8079933"/>
              <a:gd name="connsiteY26423" fmla="*/ 809755 h 4687251"/>
              <a:gd name="connsiteX26424" fmla="*/ 1945377 w 8079933"/>
              <a:gd name="connsiteY26424" fmla="*/ 810729 h 4687251"/>
              <a:gd name="connsiteX26425" fmla="*/ 1941687 w 8079933"/>
              <a:gd name="connsiteY26425" fmla="*/ 807590 h 4687251"/>
              <a:gd name="connsiteX26426" fmla="*/ 1938757 w 8079933"/>
              <a:gd name="connsiteY26426" fmla="*/ 806939 h 4687251"/>
              <a:gd name="connsiteX26427" fmla="*/ 1936262 w 8079933"/>
              <a:gd name="connsiteY26427" fmla="*/ 806939 h 4687251"/>
              <a:gd name="connsiteX26428" fmla="*/ 1935719 w 8079933"/>
              <a:gd name="connsiteY26428" fmla="*/ 804666 h 4687251"/>
              <a:gd name="connsiteX26429" fmla="*/ 1938324 w 8079933"/>
              <a:gd name="connsiteY26429" fmla="*/ 801418 h 4687251"/>
              <a:gd name="connsiteX26430" fmla="*/ 1941796 w 8079933"/>
              <a:gd name="connsiteY26430" fmla="*/ 801418 h 4687251"/>
              <a:gd name="connsiteX26431" fmla="*/ 1944726 w 8079933"/>
              <a:gd name="connsiteY26431" fmla="*/ 798603 h 4687251"/>
              <a:gd name="connsiteX26432" fmla="*/ 1944726 w 8079933"/>
              <a:gd name="connsiteY26432" fmla="*/ 795571 h 4687251"/>
              <a:gd name="connsiteX26433" fmla="*/ 1941796 w 8079933"/>
              <a:gd name="connsiteY26433" fmla="*/ 794272 h 4687251"/>
              <a:gd name="connsiteX26434" fmla="*/ 1940385 w 8079933"/>
              <a:gd name="connsiteY26434" fmla="*/ 795680 h 4687251"/>
              <a:gd name="connsiteX26435" fmla="*/ 1940168 w 8079933"/>
              <a:gd name="connsiteY26435" fmla="*/ 797737 h 4687251"/>
              <a:gd name="connsiteX26436" fmla="*/ 1938215 w 8079933"/>
              <a:gd name="connsiteY26436" fmla="*/ 795896 h 4687251"/>
              <a:gd name="connsiteX26437" fmla="*/ 1936804 w 8079933"/>
              <a:gd name="connsiteY26437" fmla="*/ 791674 h 4687251"/>
              <a:gd name="connsiteX26438" fmla="*/ 1932898 w 8079933"/>
              <a:gd name="connsiteY26438" fmla="*/ 789725 h 4687251"/>
              <a:gd name="connsiteX26439" fmla="*/ 1929968 w 8079933"/>
              <a:gd name="connsiteY26439" fmla="*/ 790049 h 4687251"/>
              <a:gd name="connsiteX26440" fmla="*/ 1928557 w 8079933"/>
              <a:gd name="connsiteY26440" fmla="*/ 791241 h 4687251"/>
              <a:gd name="connsiteX26441" fmla="*/ 1924976 w 8079933"/>
              <a:gd name="connsiteY26441" fmla="*/ 788317 h 4687251"/>
              <a:gd name="connsiteX26442" fmla="*/ 1921829 w 8079933"/>
              <a:gd name="connsiteY26442" fmla="*/ 787668 h 4687251"/>
              <a:gd name="connsiteX26443" fmla="*/ 1921504 w 8079933"/>
              <a:gd name="connsiteY26443" fmla="*/ 786043 h 4687251"/>
              <a:gd name="connsiteX26444" fmla="*/ 1923782 w 8079933"/>
              <a:gd name="connsiteY26444" fmla="*/ 784419 h 4687251"/>
              <a:gd name="connsiteX26445" fmla="*/ 1925735 w 8079933"/>
              <a:gd name="connsiteY26445" fmla="*/ 781496 h 4687251"/>
              <a:gd name="connsiteX26446" fmla="*/ 1925735 w 8079933"/>
              <a:gd name="connsiteY26446" fmla="*/ 778573 h 4687251"/>
              <a:gd name="connsiteX26447" fmla="*/ 1929208 w 8079933"/>
              <a:gd name="connsiteY26447" fmla="*/ 776299 h 4687251"/>
              <a:gd name="connsiteX26448" fmla="*/ 1927580 w 8079933"/>
              <a:gd name="connsiteY26448" fmla="*/ 773917 h 4687251"/>
              <a:gd name="connsiteX26449" fmla="*/ 1927580 w 8079933"/>
              <a:gd name="connsiteY26449" fmla="*/ 771644 h 4687251"/>
              <a:gd name="connsiteX26450" fmla="*/ 1926061 w 8079933"/>
              <a:gd name="connsiteY26450" fmla="*/ 768937 h 4687251"/>
              <a:gd name="connsiteX26451" fmla="*/ 1923890 w 8079933"/>
              <a:gd name="connsiteY26451" fmla="*/ 769370 h 4687251"/>
              <a:gd name="connsiteX26452" fmla="*/ 1921829 w 8079933"/>
              <a:gd name="connsiteY26452" fmla="*/ 768504 h 4687251"/>
              <a:gd name="connsiteX26453" fmla="*/ 1922263 w 8079933"/>
              <a:gd name="connsiteY26453" fmla="*/ 770886 h 4687251"/>
              <a:gd name="connsiteX26454" fmla="*/ 1920635 w 8079933"/>
              <a:gd name="connsiteY26454" fmla="*/ 773376 h 4687251"/>
              <a:gd name="connsiteX26455" fmla="*/ 1917705 w 8079933"/>
              <a:gd name="connsiteY26455" fmla="*/ 773809 h 4687251"/>
              <a:gd name="connsiteX26456" fmla="*/ 1915861 w 8079933"/>
              <a:gd name="connsiteY26456" fmla="*/ 773051 h 4687251"/>
              <a:gd name="connsiteX26457" fmla="*/ 1914449 w 8079933"/>
              <a:gd name="connsiteY26457" fmla="*/ 774892 h 4687251"/>
              <a:gd name="connsiteX26458" fmla="*/ 1914667 w 8079933"/>
              <a:gd name="connsiteY26458" fmla="*/ 777815 h 4687251"/>
              <a:gd name="connsiteX26459" fmla="*/ 1910977 w 8079933"/>
              <a:gd name="connsiteY26459" fmla="*/ 779980 h 4687251"/>
              <a:gd name="connsiteX26460" fmla="*/ 1909566 w 8079933"/>
              <a:gd name="connsiteY26460" fmla="*/ 782579 h 4687251"/>
              <a:gd name="connsiteX26461" fmla="*/ 1908047 w 8079933"/>
              <a:gd name="connsiteY26461" fmla="*/ 780955 h 4687251"/>
              <a:gd name="connsiteX26462" fmla="*/ 1906311 w 8079933"/>
              <a:gd name="connsiteY26462" fmla="*/ 781063 h 4687251"/>
              <a:gd name="connsiteX26463" fmla="*/ 1904792 w 8079933"/>
              <a:gd name="connsiteY26463" fmla="*/ 783986 h 4687251"/>
              <a:gd name="connsiteX26464" fmla="*/ 1895351 w 8079933"/>
              <a:gd name="connsiteY26464" fmla="*/ 790158 h 4687251"/>
              <a:gd name="connsiteX26465" fmla="*/ 1886235 w 8079933"/>
              <a:gd name="connsiteY26465" fmla="*/ 790158 h 4687251"/>
              <a:gd name="connsiteX26466" fmla="*/ 1882980 w 8079933"/>
              <a:gd name="connsiteY26466" fmla="*/ 788425 h 4687251"/>
              <a:gd name="connsiteX26467" fmla="*/ 1879724 w 8079933"/>
              <a:gd name="connsiteY26467" fmla="*/ 788967 h 4687251"/>
              <a:gd name="connsiteX26468" fmla="*/ 1874949 w 8079933"/>
              <a:gd name="connsiteY26468" fmla="*/ 788101 h 4687251"/>
              <a:gd name="connsiteX26469" fmla="*/ 1871694 w 8079933"/>
              <a:gd name="connsiteY26469" fmla="*/ 787992 h 4687251"/>
              <a:gd name="connsiteX26470" fmla="*/ 1870609 w 8079933"/>
              <a:gd name="connsiteY26470" fmla="*/ 790049 h 4687251"/>
              <a:gd name="connsiteX26471" fmla="*/ 1866593 w 8079933"/>
              <a:gd name="connsiteY26471" fmla="*/ 791024 h 4687251"/>
              <a:gd name="connsiteX26472" fmla="*/ 1860951 w 8079933"/>
              <a:gd name="connsiteY26472" fmla="*/ 793514 h 4687251"/>
              <a:gd name="connsiteX26473" fmla="*/ 1856068 w 8079933"/>
              <a:gd name="connsiteY26473" fmla="*/ 798278 h 4687251"/>
              <a:gd name="connsiteX26474" fmla="*/ 1852595 w 8079933"/>
              <a:gd name="connsiteY26474" fmla="*/ 798278 h 4687251"/>
              <a:gd name="connsiteX26475" fmla="*/ 1848797 w 8079933"/>
              <a:gd name="connsiteY26475" fmla="*/ 799577 h 4687251"/>
              <a:gd name="connsiteX26476" fmla="*/ 1846084 w 8079933"/>
              <a:gd name="connsiteY26476" fmla="*/ 802500 h 4687251"/>
              <a:gd name="connsiteX26477" fmla="*/ 1840116 w 8079933"/>
              <a:gd name="connsiteY26477" fmla="*/ 803151 h 4687251"/>
              <a:gd name="connsiteX26478" fmla="*/ 1838162 w 8079933"/>
              <a:gd name="connsiteY26478" fmla="*/ 805208 h 4687251"/>
              <a:gd name="connsiteX26479" fmla="*/ 1835775 w 8079933"/>
              <a:gd name="connsiteY26479" fmla="*/ 805316 h 4687251"/>
              <a:gd name="connsiteX26480" fmla="*/ 1834907 w 8079933"/>
              <a:gd name="connsiteY26480" fmla="*/ 801743 h 4687251"/>
              <a:gd name="connsiteX26481" fmla="*/ 1832736 w 8079933"/>
              <a:gd name="connsiteY26481" fmla="*/ 800335 h 4687251"/>
              <a:gd name="connsiteX26482" fmla="*/ 1831000 w 8079933"/>
              <a:gd name="connsiteY26482" fmla="*/ 801418 h 4687251"/>
              <a:gd name="connsiteX26483" fmla="*/ 1828287 w 8079933"/>
              <a:gd name="connsiteY26483" fmla="*/ 801851 h 4687251"/>
              <a:gd name="connsiteX26484" fmla="*/ 1827636 w 8079933"/>
              <a:gd name="connsiteY26484" fmla="*/ 799036 h 4687251"/>
              <a:gd name="connsiteX26485" fmla="*/ 1825466 w 8079933"/>
              <a:gd name="connsiteY26485" fmla="*/ 798170 h 4687251"/>
              <a:gd name="connsiteX26486" fmla="*/ 1821994 w 8079933"/>
              <a:gd name="connsiteY26486" fmla="*/ 799036 h 4687251"/>
              <a:gd name="connsiteX26487" fmla="*/ 1820257 w 8079933"/>
              <a:gd name="connsiteY26487" fmla="*/ 800227 h 4687251"/>
              <a:gd name="connsiteX26488" fmla="*/ 1818955 w 8079933"/>
              <a:gd name="connsiteY26488" fmla="*/ 799794 h 4687251"/>
              <a:gd name="connsiteX26489" fmla="*/ 1817761 w 8079933"/>
              <a:gd name="connsiteY26489" fmla="*/ 797629 h 4687251"/>
              <a:gd name="connsiteX26490" fmla="*/ 1811685 w 8079933"/>
              <a:gd name="connsiteY26490" fmla="*/ 797304 h 4687251"/>
              <a:gd name="connsiteX26491" fmla="*/ 1808755 w 8079933"/>
              <a:gd name="connsiteY26491" fmla="*/ 800768 h 4687251"/>
              <a:gd name="connsiteX26492" fmla="*/ 1801267 w 8079933"/>
              <a:gd name="connsiteY26492" fmla="*/ 797304 h 4687251"/>
              <a:gd name="connsiteX26493" fmla="*/ 1795298 w 8079933"/>
              <a:gd name="connsiteY26493" fmla="*/ 797304 h 4687251"/>
              <a:gd name="connsiteX26494" fmla="*/ 1793236 w 8079933"/>
              <a:gd name="connsiteY26494" fmla="*/ 796004 h 4687251"/>
              <a:gd name="connsiteX26495" fmla="*/ 1790632 w 8079933"/>
              <a:gd name="connsiteY26495" fmla="*/ 796437 h 4687251"/>
              <a:gd name="connsiteX26496" fmla="*/ 1788679 w 8079933"/>
              <a:gd name="connsiteY26496" fmla="*/ 799145 h 4687251"/>
              <a:gd name="connsiteX26497" fmla="*/ 1787160 w 8079933"/>
              <a:gd name="connsiteY26497" fmla="*/ 797520 h 4687251"/>
              <a:gd name="connsiteX26498" fmla="*/ 1784880 w 8079933"/>
              <a:gd name="connsiteY26498" fmla="*/ 797196 h 4687251"/>
              <a:gd name="connsiteX26499" fmla="*/ 1781734 w 8079933"/>
              <a:gd name="connsiteY26499" fmla="*/ 798062 h 4687251"/>
              <a:gd name="connsiteX26500" fmla="*/ 1773812 w 8079933"/>
              <a:gd name="connsiteY26500" fmla="*/ 796546 h 4687251"/>
              <a:gd name="connsiteX26501" fmla="*/ 1772185 w 8079933"/>
              <a:gd name="connsiteY26501" fmla="*/ 794597 h 4687251"/>
              <a:gd name="connsiteX26502" fmla="*/ 1777719 w 8079933"/>
              <a:gd name="connsiteY26502" fmla="*/ 793406 h 4687251"/>
              <a:gd name="connsiteX26503" fmla="*/ 1778153 w 8079933"/>
              <a:gd name="connsiteY26503" fmla="*/ 790482 h 4687251"/>
              <a:gd name="connsiteX26504" fmla="*/ 1775656 w 8079933"/>
              <a:gd name="connsiteY26504" fmla="*/ 784961 h 4687251"/>
              <a:gd name="connsiteX26505" fmla="*/ 1775440 w 8079933"/>
              <a:gd name="connsiteY26505" fmla="*/ 779331 h 4687251"/>
              <a:gd name="connsiteX26506" fmla="*/ 1771750 w 8079933"/>
              <a:gd name="connsiteY26506" fmla="*/ 776732 h 4687251"/>
              <a:gd name="connsiteX26507" fmla="*/ 1773486 w 8079933"/>
              <a:gd name="connsiteY26507" fmla="*/ 773701 h 4687251"/>
              <a:gd name="connsiteX26508" fmla="*/ 1773812 w 8079933"/>
              <a:gd name="connsiteY26508" fmla="*/ 771319 h 4687251"/>
              <a:gd name="connsiteX26509" fmla="*/ 1779563 w 8079933"/>
              <a:gd name="connsiteY26509" fmla="*/ 768395 h 4687251"/>
              <a:gd name="connsiteX26510" fmla="*/ 1781299 w 8079933"/>
              <a:gd name="connsiteY26510" fmla="*/ 765364 h 4687251"/>
              <a:gd name="connsiteX26511" fmla="*/ 1780974 w 8079933"/>
              <a:gd name="connsiteY26511" fmla="*/ 762982 h 4687251"/>
              <a:gd name="connsiteX26512" fmla="*/ 1783253 w 8079933"/>
              <a:gd name="connsiteY26512" fmla="*/ 760600 h 4687251"/>
              <a:gd name="connsiteX26513" fmla="*/ 1782710 w 8079933"/>
              <a:gd name="connsiteY26513" fmla="*/ 757785 h 4687251"/>
              <a:gd name="connsiteX26514" fmla="*/ 1787810 w 8079933"/>
              <a:gd name="connsiteY26514" fmla="*/ 756161 h 4687251"/>
              <a:gd name="connsiteX26515" fmla="*/ 1786834 w 8079933"/>
              <a:gd name="connsiteY26515" fmla="*/ 753562 h 4687251"/>
              <a:gd name="connsiteX26516" fmla="*/ 1784012 w 8079933"/>
              <a:gd name="connsiteY26516" fmla="*/ 752588 h 4687251"/>
              <a:gd name="connsiteX26517" fmla="*/ 1780974 w 8079933"/>
              <a:gd name="connsiteY26517" fmla="*/ 747283 h 4687251"/>
              <a:gd name="connsiteX26518" fmla="*/ 1775874 w 8079933"/>
              <a:gd name="connsiteY26518" fmla="*/ 747283 h 4687251"/>
              <a:gd name="connsiteX26519" fmla="*/ 1772510 w 8079933"/>
              <a:gd name="connsiteY26519" fmla="*/ 743710 h 4687251"/>
              <a:gd name="connsiteX26520" fmla="*/ 1769472 w 8079933"/>
              <a:gd name="connsiteY26520" fmla="*/ 743601 h 4687251"/>
              <a:gd name="connsiteX26521" fmla="*/ 1764588 w 8079933"/>
              <a:gd name="connsiteY26521" fmla="*/ 745767 h 4687251"/>
              <a:gd name="connsiteX26522" fmla="*/ 1761441 w 8079933"/>
              <a:gd name="connsiteY26522" fmla="*/ 745009 h 4687251"/>
              <a:gd name="connsiteX26523" fmla="*/ 1758945 w 8079933"/>
              <a:gd name="connsiteY26523" fmla="*/ 742303 h 4687251"/>
              <a:gd name="connsiteX26524" fmla="*/ 1755038 w 8079933"/>
              <a:gd name="connsiteY26524" fmla="*/ 743277 h 4687251"/>
              <a:gd name="connsiteX26525" fmla="*/ 1752976 w 8079933"/>
              <a:gd name="connsiteY26525" fmla="*/ 741111 h 4687251"/>
              <a:gd name="connsiteX26526" fmla="*/ 1746140 w 8079933"/>
              <a:gd name="connsiteY26526" fmla="*/ 737105 h 4687251"/>
              <a:gd name="connsiteX26527" fmla="*/ 1745055 w 8079933"/>
              <a:gd name="connsiteY26527" fmla="*/ 734832 h 4687251"/>
              <a:gd name="connsiteX26528" fmla="*/ 1741583 w 8079933"/>
              <a:gd name="connsiteY26528" fmla="*/ 731908 h 4687251"/>
              <a:gd name="connsiteX26529" fmla="*/ 1738327 w 8079933"/>
              <a:gd name="connsiteY26529" fmla="*/ 722056 h 4687251"/>
              <a:gd name="connsiteX26530" fmla="*/ 1740063 w 8079933"/>
              <a:gd name="connsiteY26530" fmla="*/ 720648 h 4687251"/>
              <a:gd name="connsiteX26531" fmla="*/ 1740931 w 8079933"/>
              <a:gd name="connsiteY26531" fmla="*/ 718050 h 4687251"/>
              <a:gd name="connsiteX26532" fmla="*/ 1737676 w 8079933"/>
              <a:gd name="connsiteY26532" fmla="*/ 716642 h 4687251"/>
              <a:gd name="connsiteX26533" fmla="*/ 1736591 w 8079933"/>
              <a:gd name="connsiteY26533" fmla="*/ 714152 h 4687251"/>
              <a:gd name="connsiteX26534" fmla="*/ 1738110 w 8079933"/>
              <a:gd name="connsiteY26534" fmla="*/ 711337 h 4687251"/>
              <a:gd name="connsiteX26535" fmla="*/ 1736808 w 8079933"/>
              <a:gd name="connsiteY26535" fmla="*/ 704083 h 4687251"/>
              <a:gd name="connsiteX26536" fmla="*/ 1740931 w 8079933"/>
              <a:gd name="connsiteY26536" fmla="*/ 697587 h 4687251"/>
              <a:gd name="connsiteX26537" fmla="*/ 1741366 w 8079933"/>
              <a:gd name="connsiteY26537" fmla="*/ 690332 h 4687251"/>
              <a:gd name="connsiteX26538" fmla="*/ 1743970 w 8079933"/>
              <a:gd name="connsiteY26538" fmla="*/ 686651 h 4687251"/>
              <a:gd name="connsiteX26539" fmla="*/ 1749504 w 8079933"/>
              <a:gd name="connsiteY26539" fmla="*/ 685244 h 4687251"/>
              <a:gd name="connsiteX26540" fmla="*/ 1752543 w 8079933"/>
              <a:gd name="connsiteY26540" fmla="*/ 683944 h 4687251"/>
              <a:gd name="connsiteX26541" fmla="*/ 1771316 w 8079933"/>
              <a:gd name="connsiteY26541" fmla="*/ 684269 h 4687251"/>
              <a:gd name="connsiteX26542" fmla="*/ 1775983 w 8079933"/>
              <a:gd name="connsiteY26542" fmla="*/ 685677 h 4687251"/>
              <a:gd name="connsiteX26543" fmla="*/ 1782276 w 8079933"/>
              <a:gd name="connsiteY26543" fmla="*/ 686218 h 4687251"/>
              <a:gd name="connsiteX26544" fmla="*/ 1792803 w 8079933"/>
              <a:gd name="connsiteY26544" fmla="*/ 685785 h 4687251"/>
              <a:gd name="connsiteX26545" fmla="*/ 1795081 w 8079933"/>
              <a:gd name="connsiteY26545" fmla="*/ 687084 h 4687251"/>
              <a:gd name="connsiteX26546" fmla="*/ 1800182 w 8079933"/>
              <a:gd name="connsiteY26546" fmla="*/ 686759 h 4687251"/>
              <a:gd name="connsiteX26547" fmla="*/ 1802786 w 8079933"/>
              <a:gd name="connsiteY26547" fmla="*/ 687842 h 4687251"/>
              <a:gd name="connsiteX26548" fmla="*/ 1804631 w 8079933"/>
              <a:gd name="connsiteY26548" fmla="*/ 687842 h 4687251"/>
              <a:gd name="connsiteX26549" fmla="*/ 1805499 w 8079933"/>
              <a:gd name="connsiteY26549" fmla="*/ 691524 h 4687251"/>
              <a:gd name="connsiteX26550" fmla="*/ 1810708 w 8079933"/>
              <a:gd name="connsiteY26550" fmla="*/ 693473 h 4687251"/>
              <a:gd name="connsiteX26551" fmla="*/ 1812878 w 8079933"/>
              <a:gd name="connsiteY26551" fmla="*/ 695530 h 4687251"/>
              <a:gd name="connsiteX26552" fmla="*/ 1815591 w 8079933"/>
              <a:gd name="connsiteY26552" fmla="*/ 696287 h 4687251"/>
              <a:gd name="connsiteX26553" fmla="*/ 1820583 w 8079933"/>
              <a:gd name="connsiteY26553" fmla="*/ 695638 h 4687251"/>
              <a:gd name="connsiteX26554" fmla="*/ 1822753 w 8079933"/>
              <a:gd name="connsiteY26554" fmla="*/ 696396 h 4687251"/>
              <a:gd name="connsiteX26555" fmla="*/ 1825466 w 8079933"/>
              <a:gd name="connsiteY26555" fmla="*/ 700402 h 4687251"/>
              <a:gd name="connsiteX26556" fmla="*/ 1828505 w 8079933"/>
              <a:gd name="connsiteY26556" fmla="*/ 700510 h 4687251"/>
              <a:gd name="connsiteX26557" fmla="*/ 1831868 w 8079933"/>
              <a:gd name="connsiteY26557" fmla="*/ 704408 h 4687251"/>
              <a:gd name="connsiteX26558" fmla="*/ 1835233 w 8079933"/>
              <a:gd name="connsiteY26558" fmla="*/ 704408 h 4687251"/>
              <a:gd name="connsiteX26559" fmla="*/ 1836318 w 8079933"/>
              <a:gd name="connsiteY26559" fmla="*/ 703433 h 4687251"/>
              <a:gd name="connsiteX26560" fmla="*/ 1839899 w 8079933"/>
              <a:gd name="connsiteY26560" fmla="*/ 704624 h 4687251"/>
              <a:gd name="connsiteX26561" fmla="*/ 1843371 w 8079933"/>
              <a:gd name="connsiteY26561" fmla="*/ 703433 h 4687251"/>
              <a:gd name="connsiteX26562" fmla="*/ 1850316 w 8079933"/>
              <a:gd name="connsiteY26562" fmla="*/ 705491 h 4687251"/>
              <a:gd name="connsiteX26563" fmla="*/ 1858564 w 8079933"/>
              <a:gd name="connsiteY26563" fmla="*/ 707439 h 4687251"/>
              <a:gd name="connsiteX26564" fmla="*/ 1860842 w 8079933"/>
              <a:gd name="connsiteY26564" fmla="*/ 708630 h 4687251"/>
              <a:gd name="connsiteX26565" fmla="*/ 1859757 w 8079933"/>
              <a:gd name="connsiteY26565" fmla="*/ 706032 h 4687251"/>
              <a:gd name="connsiteX26566" fmla="*/ 1860951 w 8079933"/>
              <a:gd name="connsiteY26566" fmla="*/ 704732 h 4687251"/>
              <a:gd name="connsiteX26567" fmla="*/ 1860842 w 8079933"/>
              <a:gd name="connsiteY26567" fmla="*/ 702134 h 4687251"/>
              <a:gd name="connsiteX26568" fmla="*/ 1854766 w 8079933"/>
              <a:gd name="connsiteY26568" fmla="*/ 698236 h 4687251"/>
              <a:gd name="connsiteX26569" fmla="*/ 1850533 w 8079933"/>
              <a:gd name="connsiteY26569" fmla="*/ 693797 h 4687251"/>
              <a:gd name="connsiteX26570" fmla="*/ 1850968 w 8079933"/>
              <a:gd name="connsiteY26570" fmla="*/ 690332 h 4687251"/>
              <a:gd name="connsiteX26571" fmla="*/ 1851618 w 8079933"/>
              <a:gd name="connsiteY26571" fmla="*/ 688600 h 4687251"/>
              <a:gd name="connsiteX26572" fmla="*/ 1848905 w 8079933"/>
              <a:gd name="connsiteY26572" fmla="*/ 685569 h 4687251"/>
              <a:gd name="connsiteX26573" fmla="*/ 1846302 w 8079933"/>
              <a:gd name="connsiteY26573" fmla="*/ 684810 h 4687251"/>
              <a:gd name="connsiteX26574" fmla="*/ 1845216 w 8079933"/>
              <a:gd name="connsiteY26574" fmla="*/ 681563 h 4687251"/>
              <a:gd name="connsiteX26575" fmla="*/ 1842395 w 8079933"/>
              <a:gd name="connsiteY26575" fmla="*/ 680155 h 4687251"/>
              <a:gd name="connsiteX26576" fmla="*/ 1837946 w 8079933"/>
              <a:gd name="connsiteY26576" fmla="*/ 680155 h 4687251"/>
              <a:gd name="connsiteX26577" fmla="*/ 1836426 w 8079933"/>
              <a:gd name="connsiteY26577" fmla="*/ 678098 h 4687251"/>
              <a:gd name="connsiteX26578" fmla="*/ 1836209 w 8079933"/>
              <a:gd name="connsiteY26578" fmla="*/ 676257 h 4687251"/>
              <a:gd name="connsiteX26579" fmla="*/ 1832194 w 8079933"/>
              <a:gd name="connsiteY26579" fmla="*/ 673009 h 4687251"/>
              <a:gd name="connsiteX26580" fmla="*/ 1831543 w 8079933"/>
              <a:gd name="connsiteY26580" fmla="*/ 669003 h 4687251"/>
              <a:gd name="connsiteX26581" fmla="*/ 1828613 w 8079933"/>
              <a:gd name="connsiteY26581" fmla="*/ 670952 h 4687251"/>
              <a:gd name="connsiteX26582" fmla="*/ 1827093 w 8079933"/>
              <a:gd name="connsiteY26582" fmla="*/ 667596 h 4687251"/>
              <a:gd name="connsiteX26583" fmla="*/ 1823296 w 8079933"/>
              <a:gd name="connsiteY26583" fmla="*/ 665863 h 4687251"/>
              <a:gd name="connsiteX26584" fmla="*/ 1818413 w 8079933"/>
              <a:gd name="connsiteY26584" fmla="*/ 667163 h 4687251"/>
              <a:gd name="connsiteX26585" fmla="*/ 1812770 w 8079933"/>
              <a:gd name="connsiteY26585" fmla="*/ 666621 h 4687251"/>
              <a:gd name="connsiteX26586" fmla="*/ 1809948 w 8079933"/>
              <a:gd name="connsiteY26586" fmla="*/ 665430 h 4687251"/>
              <a:gd name="connsiteX26587" fmla="*/ 1806042 w 8079933"/>
              <a:gd name="connsiteY26587" fmla="*/ 667379 h 4687251"/>
              <a:gd name="connsiteX26588" fmla="*/ 1801701 w 8079933"/>
              <a:gd name="connsiteY26588" fmla="*/ 665539 h 4687251"/>
              <a:gd name="connsiteX26589" fmla="*/ 1798337 w 8079933"/>
              <a:gd name="connsiteY26589" fmla="*/ 666188 h 4687251"/>
              <a:gd name="connsiteX26590" fmla="*/ 1793236 w 8079933"/>
              <a:gd name="connsiteY26590" fmla="*/ 665971 h 4687251"/>
              <a:gd name="connsiteX26591" fmla="*/ 1791283 w 8079933"/>
              <a:gd name="connsiteY26591" fmla="*/ 664023 h 4687251"/>
              <a:gd name="connsiteX26592" fmla="*/ 1788462 w 8079933"/>
              <a:gd name="connsiteY26592" fmla="*/ 663914 h 4687251"/>
              <a:gd name="connsiteX26593" fmla="*/ 1784664 w 8079933"/>
              <a:gd name="connsiteY26593" fmla="*/ 664997 h 4687251"/>
              <a:gd name="connsiteX26594" fmla="*/ 1781734 w 8079933"/>
              <a:gd name="connsiteY26594" fmla="*/ 664131 h 4687251"/>
              <a:gd name="connsiteX26595" fmla="*/ 1781299 w 8079933"/>
              <a:gd name="connsiteY26595" fmla="*/ 661424 h 4687251"/>
              <a:gd name="connsiteX26596" fmla="*/ 1778587 w 8079933"/>
              <a:gd name="connsiteY26596" fmla="*/ 658934 h 4687251"/>
              <a:gd name="connsiteX26597" fmla="*/ 1776199 w 8079933"/>
              <a:gd name="connsiteY26597" fmla="*/ 659800 h 4687251"/>
              <a:gd name="connsiteX26598" fmla="*/ 1774355 w 8079933"/>
              <a:gd name="connsiteY26598" fmla="*/ 658068 h 4687251"/>
              <a:gd name="connsiteX26599" fmla="*/ 1771316 w 8079933"/>
              <a:gd name="connsiteY26599" fmla="*/ 656552 h 4687251"/>
              <a:gd name="connsiteX26600" fmla="*/ 1770340 w 8079933"/>
              <a:gd name="connsiteY26600" fmla="*/ 656985 h 4687251"/>
              <a:gd name="connsiteX26601" fmla="*/ 1769146 w 8079933"/>
              <a:gd name="connsiteY26601" fmla="*/ 658934 h 4687251"/>
              <a:gd name="connsiteX26602" fmla="*/ 1764914 w 8079933"/>
              <a:gd name="connsiteY26602" fmla="*/ 658826 h 4687251"/>
              <a:gd name="connsiteX26603" fmla="*/ 1762201 w 8079933"/>
              <a:gd name="connsiteY26603" fmla="*/ 656769 h 4687251"/>
              <a:gd name="connsiteX26604" fmla="*/ 1759705 w 8079933"/>
              <a:gd name="connsiteY26604" fmla="*/ 656769 h 4687251"/>
              <a:gd name="connsiteX26605" fmla="*/ 1755581 w 8079933"/>
              <a:gd name="connsiteY26605" fmla="*/ 657418 h 4687251"/>
              <a:gd name="connsiteX26606" fmla="*/ 1753520 w 8079933"/>
              <a:gd name="connsiteY26606" fmla="*/ 655578 h 4687251"/>
              <a:gd name="connsiteX26607" fmla="*/ 1752976 w 8079933"/>
              <a:gd name="connsiteY26607" fmla="*/ 652113 h 4687251"/>
              <a:gd name="connsiteX26608" fmla="*/ 1754822 w 8079933"/>
              <a:gd name="connsiteY26608" fmla="*/ 650922 h 4687251"/>
              <a:gd name="connsiteX26609" fmla="*/ 1754822 w 8079933"/>
              <a:gd name="connsiteY26609" fmla="*/ 645941 h 4687251"/>
              <a:gd name="connsiteX26610" fmla="*/ 1753736 w 8079933"/>
              <a:gd name="connsiteY26610" fmla="*/ 643343 h 4687251"/>
              <a:gd name="connsiteX26611" fmla="*/ 1752435 w 8079933"/>
              <a:gd name="connsiteY26611" fmla="*/ 630351 h 4687251"/>
              <a:gd name="connsiteX26612" fmla="*/ 1753953 w 8079933"/>
              <a:gd name="connsiteY26612" fmla="*/ 625262 h 4687251"/>
              <a:gd name="connsiteX26613" fmla="*/ 1762961 w 8079933"/>
              <a:gd name="connsiteY26613" fmla="*/ 623638 h 4687251"/>
              <a:gd name="connsiteX26614" fmla="*/ 1764805 w 8079933"/>
              <a:gd name="connsiteY26614" fmla="*/ 622013 h 4687251"/>
              <a:gd name="connsiteX26615" fmla="*/ 1776091 w 8079933"/>
              <a:gd name="connsiteY26615" fmla="*/ 621364 h 4687251"/>
              <a:gd name="connsiteX26616" fmla="*/ 1779672 w 8079933"/>
              <a:gd name="connsiteY26616" fmla="*/ 621689 h 4687251"/>
              <a:gd name="connsiteX26617" fmla="*/ 1783253 w 8079933"/>
              <a:gd name="connsiteY26617" fmla="*/ 620715 h 4687251"/>
              <a:gd name="connsiteX26618" fmla="*/ 1786074 w 8079933"/>
              <a:gd name="connsiteY26618" fmla="*/ 620715 h 4687251"/>
              <a:gd name="connsiteX26619" fmla="*/ 1789113 w 8079933"/>
              <a:gd name="connsiteY26619" fmla="*/ 622555 h 4687251"/>
              <a:gd name="connsiteX26620" fmla="*/ 1791935 w 8079933"/>
              <a:gd name="connsiteY26620" fmla="*/ 619957 h 4687251"/>
              <a:gd name="connsiteX26621" fmla="*/ 1802352 w 8079933"/>
              <a:gd name="connsiteY26621" fmla="*/ 618766 h 4687251"/>
              <a:gd name="connsiteX26622" fmla="*/ 1805824 w 8079933"/>
              <a:gd name="connsiteY26622" fmla="*/ 621689 h 4687251"/>
              <a:gd name="connsiteX26623" fmla="*/ 1813638 w 8079933"/>
              <a:gd name="connsiteY26623" fmla="*/ 621689 h 4687251"/>
              <a:gd name="connsiteX26624" fmla="*/ 1812227 w 8079933"/>
              <a:gd name="connsiteY26624" fmla="*/ 619091 h 4687251"/>
              <a:gd name="connsiteX26625" fmla="*/ 1806367 w 8079933"/>
              <a:gd name="connsiteY26625" fmla="*/ 617033 h 4687251"/>
              <a:gd name="connsiteX26626" fmla="*/ 1808103 w 8079933"/>
              <a:gd name="connsiteY26626" fmla="*/ 615301 h 4687251"/>
              <a:gd name="connsiteX26627" fmla="*/ 1817219 w 8079933"/>
              <a:gd name="connsiteY26627" fmla="*/ 615517 h 4687251"/>
              <a:gd name="connsiteX26628" fmla="*/ 1823730 w 8079933"/>
              <a:gd name="connsiteY26628" fmla="*/ 619848 h 4687251"/>
              <a:gd name="connsiteX26629" fmla="*/ 1827202 w 8079933"/>
              <a:gd name="connsiteY26629" fmla="*/ 619848 h 4687251"/>
              <a:gd name="connsiteX26630" fmla="*/ 1828722 w 8079933"/>
              <a:gd name="connsiteY26630" fmla="*/ 617358 h 4687251"/>
              <a:gd name="connsiteX26631" fmla="*/ 1825140 w 8079933"/>
              <a:gd name="connsiteY26631" fmla="*/ 616925 h 4687251"/>
              <a:gd name="connsiteX26632" fmla="*/ 1822427 w 8079933"/>
              <a:gd name="connsiteY26632" fmla="*/ 613027 h 4687251"/>
              <a:gd name="connsiteX26633" fmla="*/ 1817761 w 8079933"/>
              <a:gd name="connsiteY26633" fmla="*/ 610970 h 4687251"/>
              <a:gd name="connsiteX26634" fmla="*/ 1812661 w 8079933"/>
              <a:gd name="connsiteY26634" fmla="*/ 611945 h 4687251"/>
              <a:gd name="connsiteX26635" fmla="*/ 1805933 w 8079933"/>
              <a:gd name="connsiteY26635" fmla="*/ 609022 h 4687251"/>
              <a:gd name="connsiteX26636" fmla="*/ 1801375 w 8079933"/>
              <a:gd name="connsiteY26636" fmla="*/ 609022 h 4687251"/>
              <a:gd name="connsiteX26637" fmla="*/ 1793996 w 8079933"/>
              <a:gd name="connsiteY26637" fmla="*/ 611078 h 4687251"/>
              <a:gd name="connsiteX26638" fmla="*/ 1786074 w 8079933"/>
              <a:gd name="connsiteY26638" fmla="*/ 609671 h 4687251"/>
              <a:gd name="connsiteX26639" fmla="*/ 1782276 w 8079933"/>
              <a:gd name="connsiteY26639" fmla="*/ 610104 h 4687251"/>
              <a:gd name="connsiteX26640" fmla="*/ 1784121 w 8079933"/>
              <a:gd name="connsiteY26640" fmla="*/ 606748 h 4687251"/>
              <a:gd name="connsiteX26641" fmla="*/ 1782494 w 8079933"/>
              <a:gd name="connsiteY26641" fmla="*/ 604474 h 4687251"/>
              <a:gd name="connsiteX26642" fmla="*/ 1779781 w 8079933"/>
              <a:gd name="connsiteY26642" fmla="*/ 604582 h 4687251"/>
              <a:gd name="connsiteX26643" fmla="*/ 1778804 w 8079933"/>
              <a:gd name="connsiteY26643" fmla="*/ 608048 h 4687251"/>
              <a:gd name="connsiteX26644" fmla="*/ 1776091 w 8079933"/>
              <a:gd name="connsiteY26644" fmla="*/ 609779 h 4687251"/>
              <a:gd name="connsiteX26645" fmla="*/ 1767844 w 8079933"/>
              <a:gd name="connsiteY26645" fmla="*/ 605556 h 4687251"/>
              <a:gd name="connsiteX26646" fmla="*/ 1766867 w 8079933"/>
              <a:gd name="connsiteY26646" fmla="*/ 601226 h 4687251"/>
              <a:gd name="connsiteX26647" fmla="*/ 1770448 w 8079933"/>
              <a:gd name="connsiteY26647" fmla="*/ 599277 h 4687251"/>
              <a:gd name="connsiteX26648" fmla="*/ 1775656 w 8079933"/>
              <a:gd name="connsiteY26648" fmla="*/ 602200 h 4687251"/>
              <a:gd name="connsiteX26649" fmla="*/ 1781083 w 8079933"/>
              <a:gd name="connsiteY26649" fmla="*/ 599927 h 4687251"/>
              <a:gd name="connsiteX26650" fmla="*/ 1782602 w 8079933"/>
              <a:gd name="connsiteY26650" fmla="*/ 596354 h 4687251"/>
              <a:gd name="connsiteX26651" fmla="*/ 1778912 w 8079933"/>
              <a:gd name="connsiteY26651" fmla="*/ 593972 h 4687251"/>
              <a:gd name="connsiteX26652" fmla="*/ 1774463 w 8079933"/>
              <a:gd name="connsiteY26652" fmla="*/ 593539 h 4687251"/>
              <a:gd name="connsiteX26653" fmla="*/ 1770340 w 8079933"/>
              <a:gd name="connsiteY26653" fmla="*/ 596029 h 4687251"/>
              <a:gd name="connsiteX26654" fmla="*/ 1767518 w 8079933"/>
              <a:gd name="connsiteY26654" fmla="*/ 596570 h 4687251"/>
              <a:gd name="connsiteX26655" fmla="*/ 1766107 w 8079933"/>
              <a:gd name="connsiteY26655" fmla="*/ 595379 h 4687251"/>
              <a:gd name="connsiteX26656" fmla="*/ 1767844 w 8079933"/>
              <a:gd name="connsiteY26656" fmla="*/ 592348 h 4687251"/>
              <a:gd name="connsiteX26657" fmla="*/ 1764697 w 8079933"/>
              <a:gd name="connsiteY26657" fmla="*/ 589641 h 4687251"/>
              <a:gd name="connsiteX26658" fmla="*/ 1761332 w 8079933"/>
              <a:gd name="connsiteY26658" fmla="*/ 591373 h 4687251"/>
              <a:gd name="connsiteX26659" fmla="*/ 1761549 w 8079933"/>
              <a:gd name="connsiteY26659" fmla="*/ 585527 h 4687251"/>
              <a:gd name="connsiteX26660" fmla="*/ 1764479 w 8079933"/>
              <a:gd name="connsiteY26660" fmla="*/ 581738 h 4687251"/>
              <a:gd name="connsiteX26661" fmla="*/ 1770882 w 8079933"/>
              <a:gd name="connsiteY26661" fmla="*/ 576973 h 4687251"/>
              <a:gd name="connsiteX26662" fmla="*/ 1772076 w 8079933"/>
              <a:gd name="connsiteY26662" fmla="*/ 572751 h 4687251"/>
              <a:gd name="connsiteX26663" fmla="*/ 1775331 w 8079933"/>
              <a:gd name="connsiteY26663" fmla="*/ 569936 h 4687251"/>
              <a:gd name="connsiteX26664" fmla="*/ 1781951 w 8079933"/>
              <a:gd name="connsiteY26664" fmla="*/ 569611 h 4687251"/>
              <a:gd name="connsiteX26665" fmla="*/ 1789438 w 8079933"/>
              <a:gd name="connsiteY26665" fmla="*/ 562790 h 4687251"/>
              <a:gd name="connsiteX26666" fmla="*/ 1793996 w 8079933"/>
              <a:gd name="connsiteY26666" fmla="*/ 562790 h 4687251"/>
              <a:gd name="connsiteX26667" fmla="*/ 1798662 w 8079933"/>
              <a:gd name="connsiteY26667" fmla="*/ 559325 h 4687251"/>
              <a:gd name="connsiteX26668" fmla="*/ 1796166 w 8079933"/>
              <a:gd name="connsiteY26668" fmla="*/ 557377 h 4687251"/>
              <a:gd name="connsiteX26669" fmla="*/ 1792260 w 8079933"/>
              <a:gd name="connsiteY26669" fmla="*/ 557052 h 4687251"/>
              <a:gd name="connsiteX26670" fmla="*/ 1792803 w 8079933"/>
              <a:gd name="connsiteY26670" fmla="*/ 553479 h 4687251"/>
              <a:gd name="connsiteX26671" fmla="*/ 1798771 w 8079933"/>
              <a:gd name="connsiteY26671" fmla="*/ 547957 h 4687251"/>
              <a:gd name="connsiteX26672" fmla="*/ 1816134 w 8079933"/>
              <a:gd name="connsiteY26672" fmla="*/ 539837 h 4687251"/>
              <a:gd name="connsiteX26673" fmla="*/ 1829264 w 8079933"/>
              <a:gd name="connsiteY26673" fmla="*/ 536805 h 4687251"/>
              <a:gd name="connsiteX26674" fmla="*/ 1834798 w 8079933"/>
              <a:gd name="connsiteY26674" fmla="*/ 531933 h 4687251"/>
              <a:gd name="connsiteX26675" fmla="*/ 1856176 w 8079933"/>
              <a:gd name="connsiteY26675" fmla="*/ 523704 h 4687251"/>
              <a:gd name="connsiteX26676" fmla="*/ 1873539 w 8079933"/>
              <a:gd name="connsiteY26676" fmla="*/ 520998 h 4687251"/>
              <a:gd name="connsiteX26677" fmla="*/ 1882654 w 8079933"/>
              <a:gd name="connsiteY26677" fmla="*/ 517316 h 4687251"/>
              <a:gd name="connsiteX26678" fmla="*/ 1891444 w 8079933"/>
              <a:gd name="connsiteY26678" fmla="*/ 515476 h 4687251"/>
              <a:gd name="connsiteX26679" fmla="*/ 3630424 w 8079933"/>
              <a:gd name="connsiteY26679" fmla="*/ 511254 h 4687251"/>
              <a:gd name="connsiteX26680" fmla="*/ 3630207 w 8079933"/>
              <a:gd name="connsiteY26680" fmla="*/ 513420 h 4687251"/>
              <a:gd name="connsiteX26681" fmla="*/ 3629122 w 8079933"/>
              <a:gd name="connsiteY26681" fmla="*/ 514503 h 4687251"/>
              <a:gd name="connsiteX26682" fmla="*/ 3627277 w 8079933"/>
              <a:gd name="connsiteY26682" fmla="*/ 512987 h 4687251"/>
              <a:gd name="connsiteX26683" fmla="*/ 3628254 w 8079933"/>
              <a:gd name="connsiteY26683" fmla="*/ 511363 h 4687251"/>
              <a:gd name="connsiteX26684" fmla="*/ 5300387 w 8079933"/>
              <a:gd name="connsiteY26684" fmla="*/ 507141 h 4687251"/>
              <a:gd name="connsiteX26685" fmla="*/ 5303208 w 8079933"/>
              <a:gd name="connsiteY26685" fmla="*/ 508006 h 4687251"/>
              <a:gd name="connsiteX26686" fmla="*/ 5304836 w 8079933"/>
              <a:gd name="connsiteY26686" fmla="*/ 510822 h 4687251"/>
              <a:gd name="connsiteX26687" fmla="*/ 5311021 w 8079933"/>
              <a:gd name="connsiteY26687" fmla="*/ 512446 h 4687251"/>
              <a:gd name="connsiteX26688" fmla="*/ 5309176 w 8079933"/>
              <a:gd name="connsiteY26688" fmla="*/ 514830 h 4687251"/>
              <a:gd name="connsiteX26689" fmla="*/ 5304510 w 8079933"/>
              <a:gd name="connsiteY26689" fmla="*/ 514612 h 4687251"/>
              <a:gd name="connsiteX26690" fmla="*/ 5298976 w 8079933"/>
              <a:gd name="connsiteY26690" fmla="*/ 512121 h 4687251"/>
              <a:gd name="connsiteX26691" fmla="*/ 5298325 w 8079933"/>
              <a:gd name="connsiteY26691" fmla="*/ 509090 h 4687251"/>
              <a:gd name="connsiteX26692" fmla="*/ 4295415 w 8079933"/>
              <a:gd name="connsiteY26692" fmla="*/ 506382 h 4687251"/>
              <a:gd name="connsiteX26693" fmla="*/ 4297151 w 8079933"/>
              <a:gd name="connsiteY26693" fmla="*/ 511687 h 4687251"/>
              <a:gd name="connsiteX26694" fmla="*/ 4300949 w 8079933"/>
              <a:gd name="connsiteY26694" fmla="*/ 517317 h 4687251"/>
              <a:gd name="connsiteX26695" fmla="*/ 4300624 w 8079933"/>
              <a:gd name="connsiteY26695" fmla="*/ 519808 h 4687251"/>
              <a:gd name="connsiteX26696" fmla="*/ 4296934 w 8079933"/>
              <a:gd name="connsiteY26696" fmla="*/ 520783 h 4687251"/>
              <a:gd name="connsiteX26697" fmla="*/ 4295415 w 8079933"/>
              <a:gd name="connsiteY26697" fmla="*/ 523055 h 4687251"/>
              <a:gd name="connsiteX26698" fmla="*/ 4296500 w 8079933"/>
              <a:gd name="connsiteY26698" fmla="*/ 528902 h 4687251"/>
              <a:gd name="connsiteX26699" fmla="*/ 4302034 w 8079933"/>
              <a:gd name="connsiteY26699" fmla="*/ 534748 h 4687251"/>
              <a:gd name="connsiteX26700" fmla="*/ 4307460 w 8079933"/>
              <a:gd name="connsiteY26700" fmla="*/ 538214 h 4687251"/>
              <a:gd name="connsiteX26701" fmla="*/ 4310607 w 8079933"/>
              <a:gd name="connsiteY26701" fmla="*/ 535398 h 4687251"/>
              <a:gd name="connsiteX26702" fmla="*/ 4316141 w 8079933"/>
              <a:gd name="connsiteY26702" fmla="*/ 532476 h 4687251"/>
              <a:gd name="connsiteX26703" fmla="*/ 4320048 w 8079933"/>
              <a:gd name="connsiteY26703" fmla="*/ 534532 h 4687251"/>
              <a:gd name="connsiteX26704" fmla="*/ 4322111 w 8079933"/>
              <a:gd name="connsiteY26704" fmla="*/ 537132 h 4687251"/>
              <a:gd name="connsiteX26705" fmla="*/ 4326668 w 8079933"/>
              <a:gd name="connsiteY26705" fmla="*/ 539187 h 4687251"/>
              <a:gd name="connsiteX26706" fmla="*/ 4324932 w 8079933"/>
              <a:gd name="connsiteY26706" fmla="*/ 540920 h 4687251"/>
              <a:gd name="connsiteX26707" fmla="*/ 4319723 w 8079933"/>
              <a:gd name="connsiteY26707" fmla="*/ 542978 h 4687251"/>
              <a:gd name="connsiteX26708" fmla="*/ 4315382 w 8079933"/>
              <a:gd name="connsiteY26708" fmla="*/ 549798 h 4687251"/>
              <a:gd name="connsiteX26709" fmla="*/ 4314731 w 8079933"/>
              <a:gd name="connsiteY26709" fmla="*/ 554129 h 4687251"/>
              <a:gd name="connsiteX26710" fmla="*/ 4311584 w 8079933"/>
              <a:gd name="connsiteY26710" fmla="*/ 563765 h 4687251"/>
              <a:gd name="connsiteX26711" fmla="*/ 4307894 w 8079933"/>
              <a:gd name="connsiteY26711" fmla="*/ 564849 h 4687251"/>
              <a:gd name="connsiteX26712" fmla="*/ 4303554 w 8079933"/>
              <a:gd name="connsiteY26712" fmla="*/ 567338 h 4687251"/>
              <a:gd name="connsiteX26713" fmla="*/ 4301166 w 8079933"/>
              <a:gd name="connsiteY26713" fmla="*/ 571020 h 4687251"/>
              <a:gd name="connsiteX26714" fmla="*/ 4301166 w 8079933"/>
              <a:gd name="connsiteY26714" fmla="*/ 574917 h 4687251"/>
              <a:gd name="connsiteX26715" fmla="*/ 4297476 w 8079933"/>
              <a:gd name="connsiteY26715" fmla="*/ 577840 h 4687251"/>
              <a:gd name="connsiteX26716" fmla="*/ 4294763 w 8079933"/>
              <a:gd name="connsiteY26716" fmla="*/ 577732 h 4687251"/>
              <a:gd name="connsiteX26717" fmla="*/ 4293245 w 8079933"/>
              <a:gd name="connsiteY26717" fmla="*/ 573726 h 4687251"/>
              <a:gd name="connsiteX26718" fmla="*/ 4295849 w 8079933"/>
              <a:gd name="connsiteY26718" fmla="*/ 570152 h 4687251"/>
              <a:gd name="connsiteX26719" fmla="*/ 4294981 w 8079933"/>
              <a:gd name="connsiteY26719" fmla="*/ 564631 h 4687251"/>
              <a:gd name="connsiteX26720" fmla="*/ 4296934 w 8079933"/>
              <a:gd name="connsiteY26720" fmla="*/ 557702 h 4687251"/>
              <a:gd name="connsiteX26721" fmla="*/ 4296934 w 8079933"/>
              <a:gd name="connsiteY26721" fmla="*/ 552722 h 4687251"/>
              <a:gd name="connsiteX26722" fmla="*/ 4294981 w 8079933"/>
              <a:gd name="connsiteY26722" fmla="*/ 554346 h 4687251"/>
              <a:gd name="connsiteX26723" fmla="*/ 4291508 w 8079933"/>
              <a:gd name="connsiteY26723" fmla="*/ 553589 h 4687251"/>
              <a:gd name="connsiteX26724" fmla="*/ 4289120 w 8079933"/>
              <a:gd name="connsiteY26724" fmla="*/ 555320 h 4687251"/>
              <a:gd name="connsiteX26725" fmla="*/ 4286299 w 8079933"/>
              <a:gd name="connsiteY26725" fmla="*/ 560842 h 4687251"/>
              <a:gd name="connsiteX26726" fmla="*/ 4283261 w 8079933"/>
              <a:gd name="connsiteY26726" fmla="*/ 563441 h 4687251"/>
              <a:gd name="connsiteX26727" fmla="*/ 4279788 w 8079933"/>
              <a:gd name="connsiteY26727" fmla="*/ 563224 h 4687251"/>
              <a:gd name="connsiteX26728" fmla="*/ 4275230 w 8079933"/>
              <a:gd name="connsiteY26728" fmla="*/ 567555 h 4687251"/>
              <a:gd name="connsiteX26729" fmla="*/ 4270781 w 8079933"/>
              <a:gd name="connsiteY26729" fmla="*/ 568096 h 4687251"/>
              <a:gd name="connsiteX26730" fmla="*/ 4266874 w 8079933"/>
              <a:gd name="connsiteY26730" fmla="*/ 570152 h 4687251"/>
              <a:gd name="connsiteX26731" fmla="*/ 4264921 w 8079933"/>
              <a:gd name="connsiteY26731" fmla="*/ 569829 h 4687251"/>
              <a:gd name="connsiteX26732" fmla="*/ 4264379 w 8079933"/>
              <a:gd name="connsiteY26732" fmla="*/ 566147 h 4687251"/>
              <a:gd name="connsiteX26733" fmla="*/ 4265789 w 8079933"/>
              <a:gd name="connsiteY26733" fmla="*/ 563765 h 4687251"/>
              <a:gd name="connsiteX26734" fmla="*/ 4265247 w 8079933"/>
              <a:gd name="connsiteY26734" fmla="*/ 559435 h 4687251"/>
              <a:gd name="connsiteX26735" fmla="*/ 4268719 w 8079933"/>
              <a:gd name="connsiteY26735" fmla="*/ 556945 h 4687251"/>
              <a:gd name="connsiteX26736" fmla="*/ 4269805 w 8079933"/>
              <a:gd name="connsiteY26736" fmla="*/ 549798 h 4687251"/>
              <a:gd name="connsiteX26737" fmla="*/ 4273277 w 8079933"/>
              <a:gd name="connsiteY26737" fmla="*/ 543627 h 4687251"/>
              <a:gd name="connsiteX26738" fmla="*/ 4273385 w 8079933"/>
              <a:gd name="connsiteY26738" fmla="*/ 538971 h 4687251"/>
              <a:gd name="connsiteX26739" fmla="*/ 4274471 w 8079933"/>
              <a:gd name="connsiteY26739" fmla="*/ 536156 h 4687251"/>
              <a:gd name="connsiteX26740" fmla="*/ 4273603 w 8079933"/>
              <a:gd name="connsiteY26740" fmla="*/ 533558 h 4687251"/>
              <a:gd name="connsiteX26741" fmla="*/ 4269370 w 8079933"/>
              <a:gd name="connsiteY26741" fmla="*/ 533558 h 4687251"/>
              <a:gd name="connsiteX26742" fmla="*/ 4265681 w 8079933"/>
              <a:gd name="connsiteY26742" fmla="*/ 529552 h 4687251"/>
              <a:gd name="connsiteX26743" fmla="*/ 4261666 w 8079933"/>
              <a:gd name="connsiteY26743" fmla="*/ 527169 h 4687251"/>
              <a:gd name="connsiteX26744" fmla="*/ 4263944 w 8079933"/>
              <a:gd name="connsiteY26744" fmla="*/ 522298 h 4687251"/>
              <a:gd name="connsiteX26745" fmla="*/ 4268177 w 8079933"/>
              <a:gd name="connsiteY26745" fmla="*/ 518617 h 4687251"/>
              <a:gd name="connsiteX26746" fmla="*/ 4277509 w 8079933"/>
              <a:gd name="connsiteY26746" fmla="*/ 516451 h 4687251"/>
              <a:gd name="connsiteX26747" fmla="*/ 4282718 w 8079933"/>
              <a:gd name="connsiteY26747" fmla="*/ 516019 h 4687251"/>
              <a:gd name="connsiteX26748" fmla="*/ 4288687 w 8079933"/>
              <a:gd name="connsiteY26748" fmla="*/ 510821 h 4687251"/>
              <a:gd name="connsiteX26749" fmla="*/ 2612863 w 8079933"/>
              <a:gd name="connsiteY26749" fmla="*/ 502374 h 4687251"/>
              <a:gd name="connsiteX26750" fmla="*/ 2610042 w 8079933"/>
              <a:gd name="connsiteY26750" fmla="*/ 507139 h 4687251"/>
              <a:gd name="connsiteX26751" fmla="*/ 2603205 w 8079933"/>
              <a:gd name="connsiteY26751" fmla="*/ 512552 h 4687251"/>
              <a:gd name="connsiteX26752" fmla="*/ 2601795 w 8079933"/>
              <a:gd name="connsiteY26752" fmla="*/ 516125 h 4687251"/>
              <a:gd name="connsiteX26753" fmla="*/ 2603531 w 8079933"/>
              <a:gd name="connsiteY26753" fmla="*/ 519048 h 4687251"/>
              <a:gd name="connsiteX26754" fmla="*/ 2602988 w 8079933"/>
              <a:gd name="connsiteY26754" fmla="*/ 521539 h 4687251"/>
              <a:gd name="connsiteX26755" fmla="*/ 2600601 w 8079933"/>
              <a:gd name="connsiteY26755" fmla="*/ 520889 h 4687251"/>
              <a:gd name="connsiteX26756" fmla="*/ 2598756 w 8079933"/>
              <a:gd name="connsiteY26756" fmla="*/ 517858 h 4687251"/>
              <a:gd name="connsiteX26757" fmla="*/ 2596586 w 8079933"/>
              <a:gd name="connsiteY26757" fmla="*/ 519373 h 4687251"/>
              <a:gd name="connsiteX26758" fmla="*/ 2595066 w 8079933"/>
              <a:gd name="connsiteY26758" fmla="*/ 521647 h 4687251"/>
              <a:gd name="connsiteX26759" fmla="*/ 2593005 w 8079933"/>
              <a:gd name="connsiteY26759" fmla="*/ 521430 h 4687251"/>
              <a:gd name="connsiteX26760" fmla="*/ 2592571 w 8079933"/>
              <a:gd name="connsiteY26760" fmla="*/ 515801 h 4687251"/>
              <a:gd name="connsiteX26761" fmla="*/ 2594958 w 8079933"/>
              <a:gd name="connsiteY26761" fmla="*/ 514393 h 4687251"/>
              <a:gd name="connsiteX26762" fmla="*/ 2597888 w 8079933"/>
              <a:gd name="connsiteY26762" fmla="*/ 510062 h 4687251"/>
              <a:gd name="connsiteX26763" fmla="*/ 2608631 w 8079933"/>
              <a:gd name="connsiteY26763" fmla="*/ 503240 h 4687251"/>
              <a:gd name="connsiteX26764" fmla="*/ 5317316 w 8079933"/>
              <a:gd name="connsiteY26764" fmla="*/ 501186 h 4687251"/>
              <a:gd name="connsiteX26765" fmla="*/ 5320571 w 8079933"/>
              <a:gd name="connsiteY26765" fmla="*/ 503135 h 4687251"/>
              <a:gd name="connsiteX26766" fmla="*/ 5327951 w 8079933"/>
              <a:gd name="connsiteY26766" fmla="*/ 504216 h 4687251"/>
              <a:gd name="connsiteX26767" fmla="*/ 5327299 w 8079933"/>
              <a:gd name="connsiteY26767" fmla="*/ 506057 h 4687251"/>
              <a:gd name="connsiteX26768" fmla="*/ 5323067 w 8079933"/>
              <a:gd name="connsiteY26768" fmla="*/ 507790 h 4687251"/>
              <a:gd name="connsiteX26769" fmla="*/ 5319486 w 8079933"/>
              <a:gd name="connsiteY26769" fmla="*/ 507790 h 4687251"/>
              <a:gd name="connsiteX26770" fmla="*/ 5313951 w 8079933"/>
              <a:gd name="connsiteY26770" fmla="*/ 508765 h 4687251"/>
              <a:gd name="connsiteX26771" fmla="*/ 5311781 w 8079933"/>
              <a:gd name="connsiteY26771" fmla="*/ 507248 h 4687251"/>
              <a:gd name="connsiteX26772" fmla="*/ 5314385 w 8079933"/>
              <a:gd name="connsiteY26772" fmla="*/ 502052 h 4687251"/>
              <a:gd name="connsiteX26773" fmla="*/ 6051756 w 8079933"/>
              <a:gd name="connsiteY26773" fmla="*/ 498913 h 4687251"/>
              <a:gd name="connsiteX26774" fmla="*/ 6055446 w 8079933"/>
              <a:gd name="connsiteY26774" fmla="*/ 498913 h 4687251"/>
              <a:gd name="connsiteX26775" fmla="*/ 6060330 w 8079933"/>
              <a:gd name="connsiteY26775" fmla="*/ 502377 h 4687251"/>
              <a:gd name="connsiteX26776" fmla="*/ 6063368 w 8079933"/>
              <a:gd name="connsiteY26776" fmla="*/ 505409 h 4687251"/>
              <a:gd name="connsiteX26777" fmla="*/ 6063368 w 8079933"/>
              <a:gd name="connsiteY26777" fmla="*/ 507356 h 4687251"/>
              <a:gd name="connsiteX26778" fmla="*/ 6061415 w 8079933"/>
              <a:gd name="connsiteY26778" fmla="*/ 507356 h 4687251"/>
              <a:gd name="connsiteX26779" fmla="*/ 6059570 w 8079933"/>
              <a:gd name="connsiteY26779" fmla="*/ 508874 h 4687251"/>
              <a:gd name="connsiteX26780" fmla="*/ 6053385 w 8079933"/>
              <a:gd name="connsiteY26780" fmla="*/ 508874 h 4687251"/>
              <a:gd name="connsiteX26781" fmla="*/ 6053385 w 8079933"/>
              <a:gd name="connsiteY26781" fmla="*/ 505300 h 4687251"/>
              <a:gd name="connsiteX26782" fmla="*/ 6049586 w 8079933"/>
              <a:gd name="connsiteY26782" fmla="*/ 503026 h 4687251"/>
              <a:gd name="connsiteX26783" fmla="*/ 6049586 w 8079933"/>
              <a:gd name="connsiteY26783" fmla="*/ 500861 h 4687251"/>
              <a:gd name="connsiteX26784" fmla="*/ 2574014 w 8079933"/>
              <a:gd name="connsiteY26784" fmla="*/ 496747 h 4687251"/>
              <a:gd name="connsiteX26785" fmla="*/ 2575425 w 8079933"/>
              <a:gd name="connsiteY26785" fmla="*/ 498587 h 4687251"/>
              <a:gd name="connsiteX26786" fmla="*/ 2573689 w 8079933"/>
              <a:gd name="connsiteY26786" fmla="*/ 501186 h 4687251"/>
              <a:gd name="connsiteX26787" fmla="*/ 2571301 w 8079933"/>
              <a:gd name="connsiteY26787" fmla="*/ 501186 h 4687251"/>
              <a:gd name="connsiteX26788" fmla="*/ 2569348 w 8079933"/>
              <a:gd name="connsiteY26788" fmla="*/ 498912 h 4687251"/>
              <a:gd name="connsiteX26789" fmla="*/ 5053946 w 8079933"/>
              <a:gd name="connsiteY26789" fmla="*/ 492308 h 4687251"/>
              <a:gd name="connsiteX26790" fmla="*/ 5055791 w 8079933"/>
              <a:gd name="connsiteY26790" fmla="*/ 494798 h 4687251"/>
              <a:gd name="connsiteX26791" fmla="*/ 5055791 w 8079933"/>
              <a:gd name="connsiteY26791" fmla="*/ 498697 h 4687251"/>
              <a:gd name="connsiteX26792" fmla="*/ 5058395 w 8079933"/>
              <a:gd name="connsiteY26792" fmla="*/ 502161 h 4687251"/>
              <a:gd name="connsiteX26793" fmla="*/ 5062844 w 8079933"/>
              <a:gd name="connsiteY26793" fmla="*/ 502811 h 4687251"/>
              <a:gd name="connsiteX26794" fmla="*/ 5065232 w 8079933"/>
              <a:gd name="connsiteY26794" fmla="*/ 505409 h 4687251"/>
              <a:gd name="connsiteX26795" fmla="*/ 5070115 w 8079933"/>
              <a:gd name="connsiteY26795" fmla="*/ 506058 h 4687251"/>
              <a:gd name="connsiteX26796" fmla="*/ 5071525 w 8079933"/>
              <a:gd name="connsiteY26796" fmla="*/ 508116 h 4687251"/>
              <a:gd name="connsiteX26797" fmla="*/ 5069138 w 8079933"/>
              <a:gd name="connsiteY26797" fmla="*/ 513963 h 4687251"/>
              <a:gd name="connsiteX26798" fmla="*/ 5069138 w 8079933"/>
              <a:gd name="connsiteY26798" fmla="*/ 520027 h 4687251"/>
              <a:gd name="connsiteX26799" fmla="*/ 5072285 w 8079933"/>
              <a:gd name="connsiteY26799" fmla="*/ 520027 h 4687251"/>
              <a:gd name="connsiteX26800" fmla="*/ 5073804 w 8079933"/>
              <a:gd name="connsiteY26800" fmla="*/ 521218 h 4687251"/>
              <a:gd name="connsiteX26801" fmla="*/ 5073804 w 8079933"/>
              <a:gd name="connsiteY26801" fmla="*/ 527712 h 4687251"/>
              <a:gd name="connsiteX26802" fmla="*/ 5074455 w 8079933"/>
              <a:gd name="connsiteY26802" fmla="*/ 531719 h 4687251"/>
              <a:gd name="connsiteX26803" fmla="*/ 5072177 w 8079933"/>
              <a:gd name="connsiteY26803" fmla="*/ 536159 h 4687251"/>
              <a:gd name="connsiteX26804" fmla="*/ 5073587 w 8079933"/>
              <a:gd name="connsiteY26804" fmla="*/ 538432 h 4687251"/>
              <a:gd name="connsiteX26805" fmla="*/ 5073587 w 8079933"/>
              <a:gd name="connsiteY26805" fmla="*/ 541572 h 4687251"/>
              <a:gd name="connsiteX26806" fmla="*/ 5070006 w 8079933"/>
              <a:gd name="connsiteY26806" fmla="*/ 543088 h 4687251"/>
              <a:gd name="connsiteX26807" fmla="*/ 5067402 w 8079933"/>
              <a:gd name="connsiteY26807" fmla="*/ 543088 h 4687251"/>
              <a:gd name="connsiteX26808" fmla="*/ 5063604 w 8079933"/>
              <a:gd name="connsiteY26808" fmla="*/ 545469 h 4687251"/>
              <a:gd name="connsiteX26809" fmla="*/ 5056876 w 8079933"/>
              <a:gd name="connsiteY26809" fmla="*/ 553698 h 4687251"/>
              <a:gd name="connsiteX26810" fmla="*/ 5052426 w 8079933"/>
              <a:gd name="connsiteY26810" fmla="*/ 557272 h 4687251"/>
              <a:gd name="connsiteX26811" fmla="*/ 5044830 w 8079933"/>
              <a:gd name="connsiteY26811" fmla="*/ 559544 h 4687251"/>
              <a:gd name="connsiteX26812" fmla="*/ 5038428 w 8079933"/>
              <a:gd name="connsiteY26812" fmla="*/ 565066 h 4687251"/>
              <a:gd name="connsiteX26813" fmla="*/ 5035715 w 8079933"/>
              <a:gd name="connsiteY26813" fmla="*/ 565066 h 4687251"/>
              <a:gd name="connsiteX26814" fmla="*/ 5028010 w 8079933"/>
              <a:gd name="connsiteY26814" fmla="*/ 571238 h 4687251"/>
              <a:gd name="connsiteX26815" fmla="*/ 5018352 w 8079933"/>
              <a:gd name="connsiteY26815" fmla="*/ 582065 h 4687251"/>
              <a:gd name="connsiteX26816" fmla="*/ 5009562 w 8079933"/>
              <a:gd name="connsiteY26816" fmla="*/ 588561 h 4687251"/>
              <a:gd name="connsiteX26817" fmla="*/ 5005764 w 8079933"/>
              <a:gd name="connsiteY26817" fmla="*/ 588561 h 4687251"/>
              <a:gd name="connsiteX26818" fmla="*/ 5003051 w 8079933"/>
              <a:gd name="connsiteY26818" fmla="*/ 597114 h 4687251"/>
              <a:gd name="connsiteX26819" fmla="*/ 4999253 w 8079933"/>
              <a:gd name="connsiteY26819" fmla="*/ 603828 h 4687251"/>
              <a:gd name="connsiteX26820" fmla="*/ 4992308 w 8079933"/>
              <a:gd name="connsiteY26820" fmla="*/ 608158 h 4687251"/>
              <a:gd name="connsiteX26821" fmla="*/ 4991657 w 8079933"/>
              <a:gd name="connsiteY26821" fmla="*/ 614004 h 4687251"/>
              <a:gd name="connsiteX26822" fmla="*/ 4988944 w 8079933"/>
              <a:gd name="connsiteY26822" fmla="*/ 616603 h 4687251"/>
              <a:gd name="connsiteX26823" fmla="*/ 4987208 w 8079933"/>
              <a:gd name="connsiteY26823" fmla="*/ 621908 h 4687251"/>
              <a:gd name="connsiteX26824" fmla="*/ 4980479 w 8079933"/>
              <a:gd name="connsiteY26824" fmla="*/ 630462 h 4687251"/>
              <a:gd name="connsiteX26825" fmla="*/ 4977550 w 8079933"/>
              <a:gd name="connsiteY26825" fmla="*/ 632844 h 4687251"/>
              <a:gd name="connsiteX26826" fmla="*/ 4975271 w 8079933"/>
              <a:gd name="connsiteY26826" fmla="*/ 628729 h 4687251"/>
              <a:gd name="connsiteX26827" fmla="*/ 4972883 w 8079933"/>
              <a:gd name="connsiteY26827" fmla="*/ 632844 h 4687251"/>
              <a:gd name="connsiteX26828" fmla="*/ 4974837 w 8079933"/>
              <a:gd name="connsiteY26828" fmla="*/ 636308 h 4687251"/>
              <a:gd name="connsiteX26829" fmla="*/ 4978743 w 8079933"/>
              <a:gd name="connsiteY26829" fmla="*/ 638906 h 4687251"/>
              <a:gd name="connsiteX26830" fmla="*/ 4977550 w 8079933"/>
              <a:gd name="connsiteY26830" fmla="*/ 642370 h 4687251"/>
              <a:gd name="connsiteX26831" fmla="*/ 4971364 w 8079933"/>
              <a:gd name="connsiteY26831" fmla="*/ 645293 h 4687251"/>
              <a:gd name="connsiteX26832" fmla="*/ 4970496 w 8079933"/>
              <a:gd name="connsiteY26832" fmla="*/ 647242 h 4687251"/>
              <a:gd name="connsiteX26833" fmla="*/ 4972015 w 8079933"/>
              <a:gd name="connsiteY26833" fmla="*/ 648974 h 4687251"/>
              <a:gd name="connsiteX26834" fmla="*/ 4972015 w 8079933"/>
              <a:gd name="connsiteY26834" fmla="*/ 653738 h 4687251"/>
              <a:gd name="connsiteX26835" fmla="*/ 4968543 w 8079933"/>
              <a:gd name="connsiteY26835" fmla="*/ 656878 h 4687251"/>
              <a:gd name="connsiteX26836" fmla="*/ 4965830 w 8079933"/>
              <a:gd name="connsiteY26836" fmla="*/ 655470 h 4687251"/>
              <a:gd name="connsiteX26837" fmla="*/ 4962032 w 8079933"/>
              <a:gd name="connsiteY26837" fmla="*/ 655470 h 4687251"/>
              <a:gd name="connsiteX26838" fmla="*/ 4962032 w 8079933"/>
              <a:gd name="connsiteY26838" fmla="*/ 658069 h 4687251"/>
              <a:gd name="connsiteX26839" fmla="*/ 4965504 w 8079933"/>
              <a:gd name="connsiteY26839" fmla="*/ 660343 h 4687251"/>
              <a:gd name="connsiteX26840" fmla="*/ 4963551 w 8079933"/>
              <a:gd name="connsiteY26840" fmla="*/ 663050 h 4687251"/>
              <a:gd name="connsiteX26841" fmla="*/ 4957366 w 8079933"/>
              <a:gd name="connsiteY26841" fmla="*/ 660668 h 4687251"/>
              <a:gd name="connsiteX26842" fmla="*/ 4953242 w 8079933"/>
              <a:gd name="connsiteY26842" fmla="*/ 657744 h 4687251"/>
              <a:gd name="connsiteX26843" fmla="*/ 4950312 w 8079933"/>
              <a:gd name="connsiteY26843" fmla="*/ 658611 h 4687251"/>
              <a:gd name="connsiteX26844" fmla="*/ 4950312 w 8079933"/>
              <a:gd name="connsiteY26844" fmla="*/ 664566 h 4687251"/>
              <a:gd name="connsiteX26845" fmla="*/ 4953459 w 8079933"/>
              <a:gd name="connsiteY26845" fmla="*/ 664566 h 4687251"/>
              <a:gd name="connsiteX26846" fmla="*/ 4954653 w 8079933"/>
              <a:gd name="connsiteY26846" fmla="*/ 665973 h 4687251"/>
              <a:gd name="connsiteX26847" fmla="*/ 4952808 w 8079933"/>
              <a:gd name="connsiteY26847" fmla="*/ 671170 h 4687251"/>
              <a:gd name="connsiteX26848" fmla="*/ 4949552 w 8079933"/>
              <a:gd name="connsiteY26848" fmla="*/ 672036 h 4687251"/>
              <a:gd name="connsiteX26849" fmla="*/ 4945754 w 8079933"/>
              <a:gd name="connsiteY26849" fmla="*/ 668572 h 4687251"/>
              <a:gd name="connsiteX26850" fmla="*/ 4942282 w 8079933"/>
              <a:gd name="connsiteY26850" fmla="*/ 668572 h 4687251"/>
              <a:gd name="connsiteX26851" fmla="*/ 4947274 w 8079933"/>
              <a:gd name="connsiteY26851" fmla="*/ 674743 h 4687251"/>
              <a:gd name="connsiteX26852" fmla="*/ 4950855 w 8079933"/>
              <a:gd name="connsiteY26852" fmla="*/ 679182 h 4687251"/>
              <a:gd name="connsiteX26853" fmla="*/ 4950855 w 8079933"/>
              <a:gd name="connsiteY26853" fmla="*/ 683621 h 4687251"/>
              <a:gd name="connsiteX26854" fmla="*/ 4948142 w 8079933"/>
              <a:gd name="connsiteY26854" fmla="*/ 688385 h 4687251"/>
              <a:gd name="connsiteX26855" fmla="*/ 4948142 w 8079933"/>
              <a:gd name="connsiteY26855" fmla="*/ 691308 h 4687251"/>
              <a:gd name="connsiteX26856" fmla="*/ 4949987 w 8079933"/>
              <a:gd name="connsiteY26856" fmla="*/ 693149 h 4687251"/>
              <a:gd name="connsiteX26857" fmla="*/ 4949987 w 8079933"/>
              <a:gd name="connsiteY26857" fmla="*/ 696288 h 4687251"/>
              <a:gd name="connsiteX26858" fmla="*/ 4948793 w 8079933"/>
              <a:gd name="connsiteY26858" fmla="*/ 698996 h 4687251"/>
              <a:gd name="connsiteX26859" fmla="*/ 4944669 w 8079933"/>
              <a:gd name="connsiteY26859" fmla="*/ 697804 h 4687251"/>
              <a:gd name="connsiteX26860" fmla="*/ 4940220 w 8079933"/>
              <a:gd name="connsiteY26860" fmla="*/ 695747 h 4687251"/>
              <a:gd name="connsiteX26861" fmla="*/ 4939569 w 8079933"/>
              <a:gd name="connsiteY26861" fmla="*/ 692282 h 4687251"/>
              <a:gd name="connsiteX26862" fmla="*/ 4936313 w 8079933"/>
              <a:gd name="connsiteY26862" fmla="*/ 688493 h 4687251"/>
              <a:gd name="connsiteX26863" fmla="*/ 4934903 w 8079933"/>
              <a:gd name="connsiteY26863" fmla="*/ 691092 h 4687251"/>
              <a:gd name="connsiteX26864" fmla="*/ 4939569 w 8079933"/>
              <a:gd name="connsiteY26864" fmla="*/ 697588 h 4687251"/>
              <a:gd name="connsiteX26865" fmla="*/ 4944561 w 8079933"/>
              <a:gd name="connsiteY26865" fmla="*/ 704301 h 4687251"/>
              <a:gd name="connsiteX26866" fmla="*/ 4946406 w 8079933"/>
              <a:gd name="connsiteY26866" fmla="*/ 711338 h 4687251"/>
              <a:gd name="connsiteX26867" fmla="*/ 4944126 w 8079933"/>
              <a:gd name="connsiteY26867" fmla="*/ 714478 h 4687251"/>
              <a:gd name="connsiteX26868" fmla="*/ 4941739 w 8079933"/>
              <a:gd name="connsiteY26868" fmla="*/ 713071 h 4687251"/>
              <a:gd name="connsiteX26869" fmla="*/ 4941739 w 8079933"/>
              <a:gd name="connsiteY26869" fmla="*/ 710147 h 4687251"/>
              <a:gd name="connsiteX26870" fmla="*/ 4939135 w 8079933"/>
              <a:gd name="connsiteY26870" fmla="*/ 706358 h 4687251"/>
              <a:gd name="connsiteX26871" fmla="*/ 4935988 w 8079933"/>
              <a:gd name="connsiteY26871" fmla="*/ 707441 h 4687251"/>
              <a:gd name="connsiteX26872" fmla="*/ 4932190 w 8079933"/>
              <a:gd name="connsiteY26872" fmla="*/ 706358 h 4687251"/>
              <a:gd name="connsiteX26873" fmla="*/ 4929477 w 8079933"/>
              <a:gd name="connsiteY26873" fmla="*/ 707765 h 4687251"/>
              <a:gd name="connsiteX26874" fmla="*/ 4931213 w 8079933"/>
              <a:gd name="connsiteY26874" fmla="*/ 710039 h 4687251"/>
              <a:gd name="connsiteX26875" fmla="*/ 4934469 w 8079933"/>
              <a:gd name="connsiteY26875" fmla="*/ 710039 h 4687251"/>
              <a:gd name="connsiteX26876" fmla="*/ 4938918 w 8079933"/>
              <a:gd name="connsiteY26876" fmla="*/ 711121 h 4687251"/>
              <a:gd name="connsiteX26877" fmla="*/ 4941523 w 8079933"/>
              <a:gd name="connsiteY26877" fmla="*/ 716968 h 4687251"/>
              <a:gd name="connsiteX26878" fmla="*/ 4944777 w 8079933"/>
              <a:gd name="connsiteY26878" fmla="*/ 719892 h 4687251"/>
              <a:gd name="connsiteX26879" fmla="*/ 4944126 w 8079933"/>
              <a:gd name="connsiteY26879" fmla="*/ 724222 h 4687251"/>
              <a:gd name="connsiteX26880" fmla="*/ 4940980 w 8079933"/>
              <a:gd name="connsiteY26880" fmla="*/ 729419 h 4687251"/>
              <a:gd name="connsiteX26881" fmla="*/ 4940980 w 8079933"/>
              <a:gd name="connsiteY26881" fmla="*/ 734616 h 4687251"/>
              <a:gd name="connsiteX26882" fmla="*/ 4938592 w 8079933"/>
              <a:gd name="connsiteY26882" fmla="*/ 740463 h 4687251"/>
              <a:gd name="connsiteX26883" fmla="*/ 4935011 w 8079933"/>
              <a:gd name="connsiteY26883" fmla="*/ 741329 h 4687251"/>
              <a:gd name="connsiteX26884" fmla="*/ 4933817 w 8079933"/>
              <a:gd name="connsiteY26884" fmla="*/ 743928 h 4687251"/>
              <a:gd name="connsiteX26885" fmla="*/ 4926872 w 8079933"/>
              <a:gd name="connsiteY26885" fmla="*/ 743928 h 4687251"/>
              <a:gd name="connsiteX26886" fmla="*/ 4922858 w 8079933"/>
              <a:gd name="connsiteY26886" fmla="*/ 741871 h 4687251"/>
              <a:gd name="connsiteX26887" fmla="*/ 4920578 w 8079933"/>
              <a:gd name="connsiteY26887" fmla="*/ 737215 h 4687251"/>
              <a:gd name="connsiteX26888" fmla="*/ 4918517 w 8079933"/>
              <a:gd name="connsiteY26888" fmla="*/ 736565 h 4687251"/>
              <a:gd name="connsiteX26889" fmla="*/ 4918517 w 8079933"/>
              <a:gd name="connsiteY26889" fmla="*/ 740030 h 4687251"/>
              <a:gd name="connsiteX26890" fmla="*/ 4920578 w 8079933"/>
              <a:gd name="connsiteY26890" fmla="*/ 742628 h 4687251"/>
              <a:gd name="connsiteX26891" fmla="*/ 4916997 w 8079933"/>
              <a:gd name="connsiteY26891" fmla="*/ 744686 h 4687251"/>
              <a:gd name="connsiteX26892" fmla="*/ 4911680 w 8079933"/>
              <a:gd name="connsiteY26892" fmla="*/ 743494 h 4687251"/>
              <a:gd name="connsiteX26893" fmla="*/ 4909401 w 8079933"/>
              <a:gd name="connsiteY26893" fmla="*/ 740788 h 4687251"/>
              <a:gd name="connsiteX26894" fmla="*/ 4904952 w 8079933"/>
              <a:gd name="connsiteY26894" fmla="*/ 739705 h 4687251"/>
              <a:gd name="connsiteX26895" fmla="*/ 4899309 w 8079933"/>
              <a:gd name="connsiteY26895" fmla="*/ 742304 h 4687251"/>
              <a:gd name="connsiteX26896" fmla="*/ 4892472 w 8079933"/>
              <a:gd name="connsiteY26896" fmla="*/ 745769 h 4687251"/>
              <a:gd name="connsiteX26897" fmla="*/ 4885419 w 8079933"/>
              <a:gd name="connsiteY26897" fmla="*/ 745769 h 4687251"/>
              <a:gd name="connsiteX26898" fmla="*/ 4885419 w 8079933"/>
              <a:gd name="connsiteY26898" fmla="*/ 743494 h 4687251"/>
              <a:gd name="connsiteX26899" fmla="*/ 4886504 w 8079933"/>
              <a:gd name="connsiteY26899" fmla="*/ 741546 h 4687251"/>
              <a:gd name="connsiteX26900" fmla="*/ 4885202 w 8079933"/>
              <a:gd name="connsiteY26900" fmla="*/ 737539 h 4687251"/>
              <a:gd name="connsiteX26901" fmla="*/ 4886179 w 8079933"/>
              <a:gd name="connsiteY26901" fmla="*/ 733426 h 4687251"/>
              <a:gd name="connsiteX26902" fmla="*/ 4888783 w 8079933"/>
              <a:gd name="connsiteY26902" fmla="*/ 729528 h 4687251"/>
              <a:gd name="connsiteX26903" fmla="*/ 4895185 w 8079933"/>
              <a:gd name="connsiteY26903" fmla="*/ 725738 h 4687251"/>
              <a:gd name="connsiteX26904" fmla="*/ 4896813 w 8079933"/>
              <a:gd name="connsiteY26904" fmla="*/ 723031 h 4687251"/>
              <a:gd name="connsiteX26905" fmla="*/ 4899526 w 8079933"/>
              <a:gd name="connsiteY26905" fmla="*/ 723031 h 4687251"/>
              <a:gd name="connsiteX26906" fmla="*/ 4902456 w 8079933"/>
              <a:gd name="connsiteY26906" fmla="*/ 725414 h 4687251"/>
              <a:gd name="connsiteX26907" fmla="*/ 4904518 w 8079933"/>
              <a:gd name="connsiteY26907" fmla="*/ 725414 h 4687251"/>
              <a:gd name="connsiteX26908" fmla="*/ 4904518 w 8079933"/>
              <a:gd name="connsiteY26908" fmla="*/ 723139 h 4687251"/>
              <a:gd name="connsiteX26909" fmla="*/ 4902239 w 8079933"/>
              <a:gd name="connsiteY26909" fmla="*/ 721082 h 4687251"/>
              <a:gd name="connsiteX26910" fmla="*/ 4897356 w 8079933"/>
              <a:gd name="connsiteY26910" fmla="*/ 721082 h 4687251"/>
              <a:gd name="connsiteX26911" fmla="*/ 4892472 w 8079933"/>
              <a:gd name="connsiteY26911" fmla="*/ 722815 h 4687251"/>
              <a:gd name="connsiteX26912" fmla="*/ 4886396 w 8079933"/>
              <a:gd name="connsiteY26912" fmla="*/ 727687 h 4687251"/>
              <a:gd name="connsiteX26913" fmla="*/ 4883140 w 8079933"/>
              <a:gd name="connsiteY26913" fmla="*/ 729528 h 4687251"/>
              <a:gd name="connsiteX26914" fmla="*/ 4881946 w 8079933"/>
              <a:gd name="connsiteY26914" fmla="*/ 732235 h 4687251"/>
              <a:gd name="connsiteX26915" fmla="*/ 4879993 w 8079933"/>
              <a:gd name="connsiteY26915" fmla="*/ 733534 h 4687251"/>
              <a:gd name="connsiteX26916" fmla="*/ 4875652 w 8079933"/>
              <a:gd name="connsiteY26916" fmla="*/ 731260 h 4687251"/>
              <a:gd name="connsiteX26917" fmla="*/ 4870444 w 8079933"/>
              <a:gd name="connsiteY26917" fmla="*/ 726063 h 4687251"/>
              <a:gd name="connsiteX26918" fmla="*/ 4870444 w 8079933"/>
              <a:gd name="connsiteY26918" fmla="*/ 724547 h 4687251"/>
              <a:gd name="connsiteX26919" fmla="*/ 4874459 w 8079933"/>
              <a:gd name="connsiteY26919" fmla="*/ 723465 h 4687251"/>
              <a:gd name="connsiteX26920" fmla="*/ 4875870 w 8079933"/>
              <a:gd name="connsiteY26920" fmla="*/ 721516 h 4687251"/>
              <a:gd name="connsiteX26921" fmla="*/ 4875110 w 8079933"/>
              <a:gd name="connsiteY26921" fmla="*/ 719783 h 4687251"/>
              <a:gd name="connsiteX26922" fmla="*/ 4876520 w 8079933"/>
              <a:gd name="connsiteY26922" fmla="*/ 715994 h 4687251"/>
              <a:gd name="connsiteX26923" fmla="*/ 4879342 w 8079933"/>
              <a:gd name="connsiteY26923" fmla="*/ 712529 h 4687251"/>
              <a:gd name="connsiteX26924" fmla="*/ 4881513 w 8079933"/>
              <a:gd name="connsiteY26924" fmla="*/ 712529 h 4687251"/>
              <a:gd name="connsiteX26925" fmla="*/ 4884334 w 8079933"/>
              <a:gd name="connsiteY26925" fmla="*/ 711880 h 4687251"/>
              <a:gd name="connsiteX26926" fmla="*/ 4884985 w 8079933"/>
              <a:gd name="connsiteY26926" fmla="*/ 709714 h 4687251"/>
              <a:gd name="connsiteX26927" fmla="*/ 4883249 w 8079933"/>
              <a:gd name="connsiteY26927" fmla="*/ 707657 h 4687251"/>
              <a:gd name="connsiteX26928" fmla="*/ 4883249 w 8079933"/>
              <a:gd name="connsiteY26928" fmla="*/ 705058 h 4687251"/>
              <a:gd name="connsiteX26929" fmla="*/ 4885093 w 8079933"/>
              <a:gd name="connsiteY26929" fmla="*/ 703326 h 4687251"/>
              <a:gd name="connsiteX26930" fmla="*/ 4885853 w 8079933"/>
              <a:gd name="connsiteY26930" fmla="*/ 700186 h 4687251"/>
              <a:gd name="connsiteX26931" fmla="*/ 4888566 w 8079933"/>
              <a:gd name="connsiteY26931" fmla="*/ 697480 h 4687251"/>
              <a:gd name="connsiteX26932" fmla="*/ 4892690 w 8079933"/>
              <a:gd name="connsiteY26932" fmla="*/ 697480 h 4687251"/>
              <a:gd name="connsiteX26933" fmla="*/ 4896596 w 8079933"/>
              <a:gd name="connsiteY26933" fmla="*/ 699862 h 4687251"/>
              <a:gd name="connsiteX26934" fmla="*/ 4900828 w 8079933"/>
              <a:gd name="connsiteY26934" fmla="*/ 699862 h 4687251"/>
              <a:gd name="connsiteX26935" fmla="*/ 4905603 w 8079933"/>
              <a:gd name="connsiteY26935" fmla="*/ 701919 h 4687251"/>
              <a:gd name="connsiteX26936" fmla="*/ 4908751 w 8079933"/>
              <a:gd name="connsiteY26936" fmla="*/ 705600 h 4687251"/>
              <a:gd name="connsiteX26937" fmla="*/ 4908751 w 8079933"/>
              <a:gd name="connsiteY26937" fmla="*/ 702568 h 4687251"/>
              <a:gd name="connsiteX26938" fmla="*/ 4908751 w 8079933"/>
              <a:gd name="connsiteY26938" fmla="*/ 701161 h 4687251"/>
              <a:gd name="connsiteX26939" fmla="*/ 4904952 w 8079933"/>
              <a:gd name="connsiteY26939" fmla="*/ 699645 h 4687251"/>
              <a:gd name="connsiteX26940" fmla="*/ 4898333 w 8079933"/>
              <a:gd name="connsiteY26940" fmla="*/ 695423 h 4687251"/>
              <a:gd name="connsiteX26941" fmla="*/ 4892472 w 8079933"/>
              <a:gd name="connsiteY26941" fmla="*/ 694665 h 4687251"/>
              <a:gd name="connsiteX26942" fmla="*/ 4890954 w 8079933"/>
              <a:gd name="connsiteY26942" fmla="*/ 693690 h 4687251"/>
              <a:gd name="connsiteX26943" fmla="*/ 4890954 w 8079933"/>
              <a:gd name="connsiteY26943" fmla="*/ 691200 h 4687251"/>
              <a:gd name="connsiteX26944" fmla="*/ 4895728 w 8079933"/>
              <a:gd name="connsiteY26944" fmla="*/ 690442 h 4687251"/>
              <a:gd name="connsiteX26945" fmla="*/ 4898658 w 8079933"/>
              <a:gd name="connsiteY26945" fmla="*/ 689359 h 4687251"/>
              <a:gd name="connsiteX26946" fmla="*/ 4898658 w 8079933"/>
              <a:gd name="connsiteY26946" fmla="*/ 687411 h 4687251"/>
              <a:gd name="connsiteX26947" fmla="*/ 4893883 w 8079933"/>
              <a:gd name="connsiteY26947" fmla="*/ 687411 h 4687251"/>
              <a:gd name="connsiteX26948" fmla="*/ 4889759 w 8079933"/>
              <a:gd name="connsiteY26948" fmla="*/ 688060 h 4687251"/>
              <a:gd name="connsiteX26949" fmla="*/ 4887481 w 8079933"/>
              <a:gd name="connsiteY26949" fmla="*/ 686436 h 4687251"/>
              <a:gd name="connsiteX26950" fmla="*/ 4887481 w 8079933"/>
              <a:gd name="connsiteY26950" fmla="*/ 683837 h 4687251"/>
              <a:gd name="connsiteX26951" fmla="*/ 4890194 w 8079933"/>
              <a:gd name="connsiteY26951" fmla="*/ 681889 h 4687251"/>
              <a:gd name="connsiteX26952" fmla="*/ 4895837 w 8079933"/>
              <a:gd name="connsiteY26952" fmla="*/ 681889 h 4687251"/>
              <a:gd name="connsiteX26953" fmla="*/ 4901154 w 8079933"/>
              <a:gd name="connsiteY26953" fmla="*/ 679615 h 4687251"/>
              <a:gd name="connsiteX26954" fmla="*/ 4902239 w 8079933"/>
              <a:gd name="connsiteY26954" fmla="*/ 677774 h 4687251"/>
              <a:gd name="connsiteX26955" fmla="*/ 4900720 w 8079933"/>
              <a:gd name="connsiteY26955" fmla="*/ 676258 h 4687251"/>
              <a:gd name="connsiteX26956" fmla="*/ 4897573 w 8079933"/>
              <a:gd name="connsiteY26956" fmla="*/ 677558 h 4687251"/>
              <a:gd name="connsiteX26957" fmla="*/ 4894426 w 8079933"/>
              <a:gd name="connsiteY26957" fmla="*/ 676908 h 4687251"/>
              <a:gd name="connsiteX26958" fmla="*/ 4890736 w 8079933"/>
              <a:gd name="connsiteY26958" fmla="*/ 674851 h 4687251"/>
              <a:gd name="connsiteX26959" fmla="*/ 4889217 w 8079933"/>
              <a:gd name="connsiteY26959" fmla="*/ 669870 h 4687251"/>
              <a:gd name="connsiteX26960" fmla="*/ 4890954 w 8079933"/>
              <a:gd name="connsiteY26960" fmla="*/ 666839 h 4687251"/>
              <a:gd name="connsiteX26961" fmla="*/ 4893666 w 8079933"/>
              <a:gd name="connsiteY26961" fmla="*/ 667922 h 4687251"/>
              <a:gd name="connsiteX26962" fmla="*/ 4895837 w 8079933"/>
              <a:gd name="connsiteY26962" fmla="*/ 665215 h 4687251"/>
              <a:gd name="connsiteX26963" fmla="*/ 4901588 w 8079933"/>
              <a:gd name="connsiteY26963" fmla="*/ 665215 h 4687251"/>
              <a:gd name="connsiteX26964" fmla="*/ 4905278 w 8079933"/>
              <a:gd name="connsiteY26964" fmla="*/ 664349 h 4687251"/>
              <a:gd name="connsiteX26965" fmla="*/ 4906906 w 8079933"/>
              <a:gd name="connsiteY26965" fmla="*/ 661101 h 4687251"/>
              <a:gd name="connsiteX26966" fmla="*/ 4905494 w 8079933"/>
              <a:gd name="connsiteY26966" fmla="*/ 659909 h 4687251"/>
              <a:gd name="connsiteX26967" fmla="*/ 4902456 w 8079933"/>
              <a:gd name="connsiteY26967" fmla="*/ 661967 h 4687251"/>
              <a:gd name="connsiteX26968" fmla="*/ 4897681 w 8079933"/>
              <a:gd name="connsiteY26968" fmla="*/ 661967 h 4687251"/>
              <a:gd name="connsiteX26969" fmla="*/ 4895728 w 8079933"/>
              <a:gd name="connsiteY26969" fmla="*/ 660560 h 4687251"/>
              <a:gd name="connsiteX26970" fmla="*/ 4893666 w 8079933"/>
              <a:gd name="connsiteY26970" fmla="*/ 660560 h 4687251"/>
              <a:gd name="connsiteX26971" fmla="*/ 4891279 w 8079933"/>
              <a:gd name="connsiteY26971" fmla="*/ 663374 h 4687251"/>
              <a:gd name="connsiteX26972" fmla="*/ 4888349 w 8079933"/>
              <a:gd name="connsiteY26972" fmla="*/ 661858 h 4687251"/>
              <a:gd name="connsiteX26973" fmla="*/ 4887698 w 8079933"/>
              <a:gd name="connsiteY26973" fmla="*/ 659585 h 4687251"/>
              <a:gd name="connsiteX26974" fmla="*/ 4889977 w 8079933"/>
              <a:gd name="connsiteY26974" fmla="*/ 654605 h 4687251"/>
              <a:gd name="connsiteX26975" fmla="*/ 4889977 w 8079933"/>
              <a:gd name="connsiteY26975" fmla="*/ 651464 h 4687251"/>
              <a:gd name="connsiteX26976" fmla="*/ 4888457 w 8079933"/>
              <a:gd name="connsiteY26976" fmla="*/ 650815 h 4687251"/>
              <a:gd name="connsiteX26977" fmla="*/ 4885419 w 8079933"/>
              <a:gd name="connsiteY26977" fmla="*/ 651789 h 4687251"/>
              <a:gd name="connsiteX26978" fmla="*/ 4881187 w 8079933"/>
              <a:gd name="connsiteY26978" fmla="*/ 648325 h 4687251"/>
              <a:gd name="connsiteX26979" fmla="*/ 4880210 w 8079933"/>
              <a:gd name="connsiteY26979" fmla="*/ 643128 h 4687251"/>
              <a:gd name="connsiteX26980" fmla="*/ 4881513 w 8079933"/>
              <a:gd name="connsiteY26980" fmla="*/ 637067 h 4687251"/>
              <a:gd name="connsiteX26981" fmla="*/ 4883357 w 8079933"/>
              <a:gd name="connsiteY26981" fmla="*/ 636093 h 4687251"/>
              <a:gd name="connsiteX26982" fmla="*/ 4884551 w 8079933"/>
              <a:gd name="connsiteY26982" fmla="*/ 639340 h 4687251"/>
              <a:gd name="connsiteX26983" fmla="*/ 4887047 w 8079933"/>
              <a:gd name="connsiteY26983" fmla="*/ 642478 h 4687251"/>
              <a:gd name="connsiteX26984" fmla="*/ 4890411 w 8079933"/>
              <a:gd name="connsiteY26984" fmla="*/ 644319 h 4687251"/>
              <a:gd name="connsiteX26985" fmla="*/ 4894752 w 8079933"/>
              <a:gd name="connsiteY26985" fmla="*/ 640639 h 4687251"/>
              <a:gd name="connsiteX26986" fmla="*/ 4896813 w 8079933"/>
              <a:gd name="connsiteY26986" fmla="*/ 636634 h 4687251"/>
              <a:gd name="connsiteX26987" fmla="*/ 4896813 w 8079933"/>
              <a:gd name="connsiteY26987" fmla="*/ 633277 h 4687251"/>
              <a:gd name="connsiteX26988" fmla="*/ 4898115 w 8079933"/>
              <a:gd name="connsiteY26988" fmla="*/ 630029 h 4687251"/>
              <a:gd name="connsiteX26989" fmla="*/ 4903216 w 8079933"/>
              <a:gd name="connsiteY26989" fmla="*/ 627322 h 4687251"/>
              <a:gd name="connsiteX26990" fmla="*/ 4908967 w 8079933"/>
              <a:gd name="connsiteY26990" fmla="*/ 628622 h 4687251"/>
              <a:gd name="connsiteX26991" fmla="*/ 4911897 w 8079933"/>
              <a:gd name="connsiteY26991" fmla="*/ 629704 h 4687251"/>
              <a:gd name="connsiteX26992" fmla="*/ 4915044 w 8079933"/>
              <a:gd name="connsiteY26992" fmla="*/ 627105 h 4687251"/>
              <a:gd name="connsiteX26993" fmla="*/ 4915044 w 8079933"/>
              <a:gd name="connsiteY26993" fmla="*/ 623100 h 4687251"/>
              <a:gd name="connsiteX26994" fmla="*/ 4915804 w 8079933"/>
              <a:gd name="connsiteY26994" fmla="*/ 620718 h 4687251"/>
              <a:gd name="connsiteX26995" fmla="*/ 4914393 w 8079933"/>
              <a:gd name="connsiteY26995" fmla="*/ 618769 h 4687251"/>
              <a:gd name="connsiteX26996" fmla="*/ 4910920 w 8079933"/>
              <a:gd name="connsiteY26996" fmla="*/ 619418 h 4687251"/>
              <a:gd name="connsiteX26997" fmla="*/ 4908642 w 8079933"/>
              <a:gd name="connsiteY26997" fmla="*/ 619418 h 4687251"/>
              <a:gd name="connsiteX26998" fmla="*/ 4907882 w 8079933"/>
              <a:gd name="connsiteY26998" fmla="*/ 615845 h 4687251"/>
              <a:gd name="connsiteX26999" fmla="*/ 4908859 w 8079933"/>
              <a:gd name="connsiteY26999" fmla="*/ 609674 h 4687251"/>
              <a:gd name="connsiteX27000" fmla="*/ 4911463 w 8079933"/>
              <a:gd name="connsiteY27000" fmla="*/ 607617 h 4687251"/>
              <a:gd name="connsiteX27001" fmla="*/ 4918517 w 8079933"/>
              <a:gd name="connsiteY27001" fmla="*/ 607617 h 4687251"/>
              <a:gd name="connsiteX27002" fmla="*/ 4921990 w 8079933"/>
              <a:gd name="connsiteY27002" fmla="*/ 604260 h 4687251"/>
              <a:gd name="connsiteX27003" fmla="*/ 4919168 w 8079933"/>
              <a:gd name="connsiteY27003" fmla="*/ 604260 h 4687251"/>
              <a:gd name="connsiteX27004" fmla="*/ 4917865 w 8079933"/>
              <a:gd name="connsiteY27004" fmla="*/ 602744 h 4687251"/>
              <a:gd name="connsiteX27005" fmla="*/ 4918842 w 8079933"/>
              <a:gd name="connsiteY27005" fmla="*/ 596140 h 4687251"/>
              <a:gd name="connsiteX27006" fmla="*/ 4921555 w 8079933"/>
              <a:gd name="connsiteY27006" fmla="*/ 593325 h 4687251"/>
              <a:gd name="connsiteX27007" fmla="*/ 4925896 w 8079933"/>
              <a:gd name="connsiteY27007" fmla="*/ 591917 h 4687251"/>
              <a:gd name="connsiteX27008" fmla="*/ 4926547 w 8079933"/>
              <a:gd name="connsiteY27008" fmla="*/ 589103 h 4687251"/>
              <a:gd name="connsiteX27009" fmla="*/ 4929477 w 8079933"/>
              <a:gd name="connsiteY27009" fmla="*/ 586720 h 4687251"/>
              <a:gd name="connsiteX27010" fmla="*/ 4934794 w 8079933"/>
              <a:gd name="connsiteY27010" fmla="*/ 586720 h 4687251"/>
              <a:gd name="connsiteX27011" fmla="*/ 4936639 w 8079933"/>
              <a:gd name="connsiteY27011" fmla="*/ 582930 h 4687251"/>
              <a:gd name="connsiteX27012" fmla="*/ 4939026 w 8079933"/>
              <a:gd name="connsiteY27012" fmla="*/ 580982 h 4687251"/>
              <a:gd name="connsiteX27013" fmla="*/ 4935988 w 8079933"/>
              <a:gd name="connsiteY27013" fmla="*/ 579466 h 4687251"/>
              <a:gd name="connsiteX27014" fmla="*/ 4935988 w 8079933"/>
              <a:gd name="connsiteY27014" fmla="*/ 576109 h 4687251"/>
              <a:gd name="connsiteX27015" fmla="*/ 4939460 w 8079933"/>
              <a:gd name="connsiteY27015" fmla="*/ 573620 h 4687251"/>
              <a:gd name="connsiteX27016" fmla="*/ 4943367 w 8079933"/>
              <a:gd name="connsiteY27016" fmla="*/ 568314 h 4687251"/>
              <a:gd name="connsiteX27017" fmla="*/ 4946406 w 8079933"/>
              <a:gd name="connsiteY27017" fmla="*/ 568314 h 4687251"/>
              <a:gd name="connsiteX27018" fmla="*/ 4946406 w 8079933"/>
              <a:gd name="connsiteY27018" fmla="*/ 571671 h 4687251"/>
              <a:gd name="connsiteX27019" fmla="*/ 4944669 w 8079933"/>
              <a:gd name="connsiteY27019" fmla="*/ 573620 h 4687251"/>
              <a:gd name="connsiteX27020" fmla="*/ 4944669 w 8079933"/>
              <a:gd name="connsiteY27020" fmla="*/ 576326 h 4687251"/>
              <a:gd name="connsiteX27021" fmla="*/ 4946622 w 8079933"/>
              <a:gd name="connsiteY27021" fmla="*/ 576976 h 4687251"/>
              <a:gd name="connsiteX27022" fmla="*/ 4949552 w 8079933"/>
              <a:gd name="connsiteY27022" fmla="*/ 572862 h 4687251"/>
              <a:gd name="connsiteX27023" fmla="*/ 4951832 w 8079933"/>
              <a:gd name="connsiteY27023" fmla="*/ 571996 h 4687251"/>
              <a:gd name="connsiteX27024" fmla="*/ 4951832 w 8079933"/>
              <a:gd name="connsiteY27024" fmla="*/ 569938 h 4687251"/>
              <a:gd name="connsiteX27025" fmla="*/ 4949878 w 8079933"/>
              <a:gd name="connsiteY27025" fmla="*/ 567991 h 4687251"/>
              <a:gd name="connsiteX27026" fmla="*/ 4947165 w 8079933"/>
              <a:gd name="connsiteY27026" fmla="*/ 561927 h 4687251"/>
              <a:gd name="connsiteX27027" fmla="*/ 4948575 w 8079933"/>
              <a:gd name="connsiteY27027" fmla="*/ 559436 h 4687251"/>
              <a:gd name="connsiteX27028" fmla="*/ 4952048 w 8079933"/>
              <a:gd name="connsiteY27028" fmla="*/ 558787 h 4687251"/>
              <a:gd name="connsiteX27029" fmla="*/ 4953893 w 8079933"/>
              <a:gd name="connsiteY27029" fmla="*/ 557055 h 4687251"/>
              <a:gd name="connsiteX27030" fmla="*/ 4962900 w 8079933"/>
              <a:gd name="connsiteY27030" fmla="*/ 554673 h 4687251"/>
              <a:gd name="connsiteX27031" fmla="*/ 4970170 w 8079933"/>
              <a:gd name="connsiteY27031" fmla="*/ 553914 h 4687251"/>
              <a:gd name="connsiteX27032" fmla="*/ 4972450 w 8079933"/>
              <a:gd name="connsiteY27032" fmla="*/ 557920 h 4687251"/>
              <a:gd name="connsiteX27033" fmla="*/ 4973968 w 8079933"/>
              <a:gd name="connsiteY27033" fmla="*/ 562034 h 4687251"/>
              <a:gd name="connsiteX27034" fmla="*/ 4975488 w 8079933"/>
              <a:gd name="connsiteY27034" fmla="*/ 560409 h 4687251"/>
              <a:gd name="connsiteX27035" fmla="*/ 4974728 w 8079933"/>
              <a:gd name="connsiteY27035" fmla="*/ 555105 h 4687251"/>
              <a:gd name="connsiteX27036" fmla="*/ 4975488 w 8079933"/>
              <a:gd name="connsiteY27036" fmla="*/ 551966 h 4687251"/>
              <a:gd name="connsiteX27037" fmla="*/ 4977333 w 8079933"/>
              <a:gd name="connsiteY27037" fmla="*/ 551966 h 4687251"/>
              <a:gd name="connsiteX27038" fmla="*/ 4978852 w 8079933"/>
              <a:gd name="connsiteY27038" fmla="*/ 555430 h 4687251"/>
              <a:gd name="connsiteX27039" fmla="*/ 4980697 w 8079933"/>
              <a:gd name="connsiteY27039" fmla="*/ 556730 h 4687251"/>
              <a:gd name="connsiteX27040" fmla="*/ 4984278 w 8079933"/>
              <a:gd name="connsiteY27040" fmla="*/ 554347 h 4687251"/>
              <a:gd name="connsiteX27041" fmla="*/ 4988184 w 8079933"/>
              <a:gd name="connsiteY27041" fmla="*/ 548392 h 4687251"/>
              <a:gd name="connsiteX27042" fmla="*/ 4991765 w 8079933"/>
              <a:gd name="connsiteY27042" fmla="*/ 545685 h 4687251"/>
              <a:gd name="connsiteX27043" fmla="*/ 4995781 w 8079933"/>
              <a:gd name="connsiteY27043" fmla="*/ 545685 h 4687251"/>
              <a:gd name="connsiteX27044" fmla="*/ 4997625 w 8079933"/>
              <a:gd name="connsiteY27044" fmla="*/ 546552 h 4687251"/>
              <a:gd name="connsiteX27045" fmla="*/ 5000556 w 8079933"/>
              <a:gd name="connsiteY27045" fmla="*/ 544170 h 4687251"/>
              <a:gd name="connsiteX27046" fmla="*/ 5008803 w 8079933"/>
              <a:gd name="connsiteY27046" fmla="*/ 538757 h 4687251"/>
              <a:gd name="connsiteX27047" fmla="*/ 5011515 w 8079933"/>
              <a:gd name="connsiteY27047" fmla="*/ 535184 h 4687251"/>
              <a:gd name="connsiteX27048" fmla="*/ 5013795 w 8079933"/>
              <a:gd name="connsiteY27048" fmla="*/ 533559 h 4687251"/>
              <a:gd name="connsiteX27049" fmla="*/ 5013795 w 8079933"/>
              <a:gd name="connsiteY27049" fmla="*/ 530095 h 4687251"/>
              <a:gd name="connsiteX27050" fmla="*/ 5015856 w 8079933"/>
              <a:gd name="connsiteY27050" fmla="*/ 527712 h 4687251"/>
              <a:gd name="connsiteX27051" fmla="*/ 5019871 w 8079933"/>
              <a:gd name="connsiteY27051" fmla="*/ 527712 h 4687251"/>
              <a:gd name="connsiteX27052" fmla="*/ 5019871 w 8079933"/>
              <a:gd name="connsiteY27052" fmla="*/ 524572 h 4687251"/>
              <a:gd name="connsiteX27053" fmla="*/ 5017050 w 8079933"/>
              <a:gd name="connsiteY27053" fmla="*/ 519809 h 4687251"/>
              <a:gd name="connsiteX27054" fmla="*/ 5017050 w 8079933"/>
              <a:gd name="connsiteY27054" fmla="*/ 517426 h 4687251"/>
              <a:gd name="connsiteX27055" fmla="*/ 5020631 w 8079933"/>
              <a:gd name="connsiteY27055" fmla="*/ 513530 h 4687251"/>
              <a:gd name="connsiteX27056" fmla="*/ 5020631 w 8079933"/>
              <a:gd name="connsiteY27056" fmla="*/ 510174 h 4687251"/>
              <a:gd name="connsiteX27057" fmla="*/ 5023452 w 8079933"/>
              <a:gd name="connsiteY27057" fmla="*/ 507250 h 4687251"/>
              <a:gd name="connsiteX27058" fmla="*/ 5026925 w 8079933"/>
              <a:gd name="connsiteY27058" fmla="*/ 506600 h 4687251"/>
              <a:gd name="connsiteX27059" fmla="*/ 5029747 w 8079933"/>
              <a:gd name="connsiteY27059" fmla="*/ 504327 h 4687251"/>
              <a:gd name="connsiteX27060" fmla="*/ 5031048 w 8079933"/>
              <a:gd name="connsiteY27060" fmla="*/ 500212 h 4687251"/>
              <a:gd name="connsiteX27061" fmla="*/ 5036908 w 8079933"/>
              <a:gd name="connsiteY27061" fmla="*/ 496423 h 4687251"/>
              <a:gd name="connsiteX27062" fmla="*/ 5040924 w 8079933"/>
              <a:gd name="connsiteY27062" fmla="*/ 495340 h 4687251"/>
              <a:gd name="connsiteX27063" fmla="*/ 5044614 w 8079933"/>
              <a:gd name="connsiteY27063" fmla="*/ 497072 h 4687251"/>
              <a:gd name="connsiteX27064" fmla="*/ 5047543 w 8079933"/>
              <a:gd name="connsiteY27064" fmla="*/ 498155 h 4687251"/>
              <a:gd name="connsiteX27065" fmla="*/ 5048520 w 8079933"/>
              <a:gd name="connsiteY27065" fmla="*/ 495773 h 4687251"/>
              <a:gd name="connsiteX27066" fmla="*/ 6438510 w 8079933"/>
              <a:gd name="connsiteY27066" fmla="*/ 490033 h 4687251"/>
              <a:gd name="connsiteX27067" fmla="*/ 6440355 w 8079933"/>
              <a:gd name="connsiteY27067" fmla="*/ 495338 h 4687251"/>
              <a:gd name="connsiteX27068" fmla="*/ 6442091 w 8079933"/>
              <a:gd name="connsiteY27068" fmla="*/ 498479 h 4687251"/>
              <a:gd name="connsiteX27069" fmla="*/ 6440680 w 8079933"/>
              <a:gd name="connsiteY27069" fmla="*/ 500752 h 4687251"/>
              <a:gd name="connsiteX27070" fmla="*/ 6434277 w 8079933"/>
              <a:gd name="connsiteY27070" fmla="*/ 502701 h 4687251"/>
              <a:gd name="connsiteX27071" fmla="*/ 6434277 w 8079933"/>
              <a:gd name="connsiteY27071" fmla="*/ 505300 h 4687251"/>
              <a:gd name="connsiteX27072" fmla="*/ 6430045 w 8079933"/>
              <a:gd name="connsiteY27072" fmla="*/ 503676 h 4687251"/>
              <a:gd name="connsiteX27073" fmla="*/ 6425704 w 8079933"/>
              <a:gd name="connsiteY27073" fmla="*/ 498046 h 4687251"/>
              <a:gd name="connsiteX27074" fmla="*/ 6431239 w 8079933"/>
              <a:gd name="connsiteY27074" fmla="*/ 498046 h 4687251"/>
              <a:gd name="connsiteX27075" fmla="*/ 6435689 w 8079933"/>
              <a:gd name="connsiteY27075" fmla="*/ 494907 h 4687251"/>
              <a:gd name="connsiteX27076" fmla="*/ 6436557 w 8079933"/>
              <a:gd name="connsiteY27076" fmla="*/ 490900 h 4687251"/>
              <a:gd name="connsiteX27077" fmla="*/ 4275773 w 8079933"/>
              <a:gd name="connsiteY27077" fmla="*/ 486678 h 4687251"/>
              <a:gd name="connsiteX27078" fmla="*/ 4277509 w 8079933"/>
              <a:gd name="connsiteY27078" fmla="*/ 487543 h 4687251"/>
              <a:gd name="connsiteX27079" fmla="*/ 4279137 w 8079933"/>
              <a:gd name="connsiteY27079" fmla="*/ 490141 h 4687251"/>
              <a:gd name="connsiteX27080" fmla="*/ 4282827 w 8079933"/>
              <a:gd name="connsiteY27080" fmla="*/ 490683 h 4687251"/>
              <a:gd name="connsiteX27081" fmla="*/ 4284563 w 8079933"/>
              <a:gd name="connsiteY27081" fmla="*/ 494365 h 4687251"/>
              <a:gd name="connsiteX27082" fmla="*/ 4282935 w 8079933"/>
              <a:gd name="connsiteY27082" fmla="*/ 498262 h 4687251"/>
              <a:gd name="connsiteX27083" fmla="*/ 4280114 w 8079933"/>
              <a:gd name="connsiteY27083" fmla="*/ 500104 h 4687251"/>
              <a:gd name="connsiteX27084" fmla="*/ 4279462 w 8079933"/>
              <a:gd name="connsiteY27084" fmla="*/ 506166 h 4687251"/>
              <a:gd name="connsiteX27085" fmla="*/ 4280114 w 8079933"/>
              <a:gd name="connsiteY27085" fmla="*/ 508765 h 4687251"/>
              <a:gd name="connsiteX27086" fmla="*/ 4277184 w 8079933"/>
              <a:gd name="connsiteY27086" fmla="*/ 511362 h 4687251"/>
              <a:gd name="connsiteX27087" fmla="*/ 4274036 w 8079933"/>
              <a:gd name="connsiteY27087" fmla="*/ 511362 h 4687251"/>
              <a:gd name="connsiteX27088" fmla="*/ 4267743 w 8079933"/>
              <a:gd name="connsiteY27088" fmla="*/ 515152 h 4687251"/>
              <a:gd name="connsiteX27089" fmla="*/ 4265898 w 8079933"/>
              <a:gd name="connsiteY27089" fmla="*/ 516994 h 4687251"/>
              <a:gd name="connsiteX27090" fmla="*/ 4263511 w 8079933"/>
              <a:gd name="connsiteY27090" fmla="*/ 516018 h 4687251"/>
              <a:gd name="connsiteX27091" fmla="*/ 4260472 w 8079933"/>
              <a:gd name="connsiteY27091" fmla="*/ 516452 h 4687251"/>
              <a:gd name="connsiteX27092" fmla="*/ 4262534 w 8079933"/>
              <a:gd name="connsiteY27092" fmla="*/ 512770 h 4687251"/>
              <a:gd name="connsiteX27093" fmla="*/ 4260364 w 8079933"/>
              <a:gd name="connsiteY27093" fmla="*/ 511362 h 4687251"/>
              <a:gd name="connsiteX27094" fmla="*/ 4260689 w 8079933"/>
              <a:gd name="connsiteY27094" fmla="*/ 508765 h 4687251"/>
              <a:gd name="connsiteX27095" fmla="*/ 4259170 w 8079933"/>
              <a:gd name="connsiteY27095" fmla="*/ 506275 h 4687251"/>
              <a:gd name="connsiteX27096" fmla="*/ 4257325 w 8079933"/>
              <a:gd name="connsiteY27096" fmla="*/ 502161 h 4687251"/>
              <a:gd name="connsiteX27097" fmla="*/ 4252442 w 8079933"/>
              <a:gd name="connsiteY27097" fmla="*/ 502052 h 4687251"/>
              <a:gd name="connsiteX27098" fmla="*/ 4248427 w 8079933"/>
              <a:gd name="connsiteY27098" fmla="*/ 499995 h 4687251"/>
              <a:gd name="connsiteX27099" fmla="*/ 4251682 w 8079933"/>
              <a:gd name="connsiteY27099" fmla="*/ 497829 h 4687251"/>
              <a:gd name="connsiteX27100" fmla="*/ 4254395 w 8079933"/>
              <a:gd name="connsiteY27100" fmla="*/ 494473 h 4687251"/>
              <a:gd name="connsiteX27101" fmla="*/ 4258085 w 8079933"/>
              <a:gd name="connsiteY27101" fmla="*/ 495230 h 4687251"/>
              <a:gd name="connsiteX27102" fmla="*/ 4260038 w 8079933"/>
              <a:gd name="connsiteY27102" fmla="*/ 493606 h 4687251"/>
              <a:gd name="connsiteX27103" fmla="*/ 4260581 w 8079933"/>
              <a:gd name="connsiteY27103" fmla="*/ 490900 h 4687251"/>
              <a:gd name="connsiteX27104" fmla="*/ 4263945 w 8079933"/>
              <a:gd name="connsiteY27104" fmla="*/ 488626 h 4687251"/>
              <a:gd name="connsiteX27105" fmla="*/ 4266007 w 8079933"/>
              <a:gd name="connsiteY27105" fmla="*/ 489600 h 4687251"/>
              <a:gd name="connsiteX27106" fmla="*/ 4266657 w 8079933"/>
              <a:gd name="connsiteY27106" fmla="*/ 491983 h 4687251"/>
              <a:gd name="connsiteX27107" fmla="*/ 4273495 w 8079933"/>
              <a:gd name="connsiteY27107" fmla="*/ 488843 h 4687251"/>
              <a:gd name="connsiteX27108" fmla="*/ 4096829 w 8079933"/>
              <a:gd name="connsiteY27108" fmla="*/ 479098 h 4687251"/>
              <a:gd name="connsiteX27109" fmla="*/ 4099107 w 8079933"/>
              <a:gd name="connsiteY27109" fmla="*/ 479856 h 4687251"/>
              <a:gd name="connsiteX27110" fmla="*/ 4103773 w 8079933"/>
              <a:gd name="connsiteY27110" fmla="*/ 485378 h 4687251"/>
              <a:gd name="connsiteX27111" fmla="*/ 4103773 w 8079933"/>
              <a:gd name="connsiteY27111" fmla="*/ 489925 h 4687251"/>
              <a:gd name="connsiteX27112" fmla="*/ 4103122 w 8079933"/>
              <a:gd name="connsiteY27112" fmla="*/ 494690 h 4687251"/>
              <a:gd name="connsiteX27113" fmla="*/ 4106704 w 8079933"/>
              <a:gd name="connsiteY27113" fmla="*/ 500103 h 4687251"/>
              <a:gd name="connsiteX27114" fmla="*/ 4109308 w 8079933"/>
              <a:gd name="connsiteY27114" fmla="*/ 502485 h 4687251"/>
              <a:gd name="connsiteX27115" fmla="*/ 4111044 w 8079933"/>
              <a:gd name="connsiteY27115" fmla="*/ 502485 h 4687251"/>
              <a:gd name="connsiteX27116" fmla="*/ 4111695 w 8079933"/>
              <a:gd name="connsiteY27116" fmla="*/ 503892 h 4687251"/>
              <a:gd name="connsiteX27117" fmla="*/ 4113540 w 8079933"/>
              <a:gd name="connsiteY27117" fmla="*/ 503892 h 4687251"/>
              <a:gd name="connsiteX27118" fmla="*/ 4115168 w 8079933"/>
              <a:gd name="connsiteY27118" fmla="*/ 508656 h 4687251"/>
              <a:gd name="connsiteX27119" fmla="*/ 4118966 w 8079933"/>
              <a:gd name="connsiteY27119" fmla="*/ 514828 h 4687251"/>
              <a:gd name="connsiteX27120" fmla="*/ 4120376 w 8079933"/>
              <a:gd name="connsiteY27120" fmla="*/ 519266 h 4687251"/>
              <a:gd name="connsiteX27121" fmla="*/ 4119725 w 8079933"/>
              <a:gd name="connsiteY27121" fmla="*/ 522191 h 4687251"/>
              <a:gd name="connsiteX27122" fmla="*/ 4117446 w 8079933"/>
              <a:gd name="connsiteY27122" fmla="*/ 522839 h 4687251"/>
              <a:gd name="connsiteX27123" fmla="*/ 4115602 w 8079933"/>
              <a:gd name="connsiteY27123" fmla="*/ 521215 h 4687251"/>
              <a:gd name="connsiteX27124" fmla="*/ 4113323 w 8079933"/>
              <a:gd name="connsiteY27124" fmla="*/ 515369 h 4687251"/>
              <a:gd name="connsiteX27125" fmla="*/ 4111695 w 8079933"/>
              <a:gd name="connsiteY27125" fmla="*/ 514503 h 4687251"/>
              <a:gd name="connsiteX27126" fmla="*/ 4110068 w 8079933"/>
              <a:gd name="connsiteY27126" fmla="*/ 510064 h 4687251"/>
              <a:gd name="connsiteX27127" fmla="*/ 4105727 w 8079933"/>
              <a:gd name="connsiteY27127" fmla="*/ 506708 h 4687251"/>
              <a:gd name="connsiteX27128" fmla="*/ 4102146 w 8079933"/>
              <a:gd name="connsiteY27128" fmla="*/ 506708 h 4687251"/>
              <a:gd name="connsiteX27129" fmla="*/ 4099759 w 8079933"/>
              <a:gd name="connsiteY27129" fmla="*/ 503135 h 4687251"/>
              <a:gd name="connsiteX27130" fmla="*/ 4099759 w 8079933"/>
              <a:gd name="connsiteY27130" fmla="*/ 495338 h 4687251"/>
              <a:gd name="connsiteX27131" fmla="*/ 4097697 w 8079933"/>
              <a:gd name="connsiteY27131" fmla="*/ 490900 h 4687251"/>
              <a:gd name="connsiteX27132" fmla="*/ 4094984 w 8079933"/>
              <a:gd name="connsiteY27132" fmla="*/ 487436 h 4687251"/>
              <a:gd name="connsiteX27133" fmla="*/ 4094984 w 8079933"/>
              <a:gd name="connsiteY27133" fmla="*/ 481589 h 4687251"/>
              <a:gd name="connsiteX27134" fmla="*/ 2272773 w 8079933"/>
              <a:gd name="connsiteY27134" fmla="*/ 473576 h 4687251"/>
              <a:gd name="connsiteX27135" fmla="*/ 2273749 w 8079933"/>
              <a:gd name="connsiteY27135" fmla="*/ 475091 h 4687251"/>
              <a:gd name="connsiteX27136" fmla="*/ 2272773 w 8079933"/>
              <a:gd name="connsiteY27136" fmla="*/ 477473 h 4687251"/>
              <a:gd name="connsiteX27137" fmla="*/ 2271362 w 8079933"/>
              <a:gd name="connsiteY27137" fmla="*/ 478231 h 4687251"/>
              <a:gd name="connsiteX27138" fmla="*/ 2270928 w 8079933"/>
              <a:gd name="connsiteY27138" fmla="*/ 474658 h 4687251"/>
              <a:gd name="connsiteX27139" fmla="*/ 4346634 w 8079933"/>
              <a:gd name="connsiteY27139" fmla="*/ 472277 h 4687251"/>
              <a:gd name="connsiteX27140" fmla="*/ 4348045 w 8079933"/>
              <a:gd name="connsiteY27140" fmla="*/ 472710 h 4687251"/>
              <a:gd name="connsiteX27141" fmla="*/ 4348913 w 8079933"/>
              <a:gd name="connsiteY27141" fmla="*/ 478016 h 4687251"/>
              <a:gd name="connsiteX27142" fmla="*/ 4352494 w 8079933"/>
              <a:gd name="connsiteY27142" fmla="*/ 481264 h 4687251"/>
              <a:gd name="connsiteX27143" fmla="*/ 4352386 w 8079933"/>
              <a:gd name="connsiteY27143" fmla="*/ 483754 h 4687251"/>
              <a:gd name="connsiteX27144" fmla="*/ 4349130 w 8079933"/>
              <a:gd name="connsiteY27144" fmla="*/ 487651 h 4687251"/>
              <a:gd name="connsiteX27145" fmla="*/ 4346743 w 8079933"/>
              <a:gd name="connsiteY27145" fmla="*/ 487003 h 4687251"/>
              <a:gd name="connsiteX27146" fmla="*/ 4346417 w 8079933"/>
              <a:gd name="connsiteY27146" fmla="*/ 483320 h 4687251"/>
              <a:gd name="connsiteX27147" fmla="*/ 4344030 w 8079933"/>
              <a:gd name="connsiteY27147" fmla="*/ 479424 h 4687251"/>
              <a:gd name="connsiteX27148" fmla="*/ 4344030 w 8079933"/>
              <a:gd name="connsiteY27148" fmla="*/ 475418 h 4687251"/>
              <a:gd name="connsiteX27149" fmla="*/ 4345332 w 8079933"/>
              <a:gd name="connsiteY27149" fmla="*/ 474226 h 4687251"/>
              <a:gd name="connsiteX27150" fmla="*/ 2318240 w 8079933"/>
              <a:gd name="connsiteY27150" fmla="*/ 469353 h 4687251"/>
              <a:gd name="connsiteX27151" fmla="*/ 2324534 w 8079933"/>
              <a:gd name="connsiteY27151" fmla="*/ 472276 h 4687251"/>
              <a:gd name="connsiteX27152" fmla="*/ 2325619 w 8079933"/>
              <a:gd name="connsiteY27152" fmla="*/ 476174 h 4687251"/>
              <a:gd name="connsiteX27153" fmla="*/ 2327681 w 8079933"/>
              <a:gd name="connsiteY27153" fmla="*/ 478557 h 4687251"/>
              <a:gd name="connsiteX27154" fmla="*/ 2327681 w 8079933"/>
              <a:gd name="connsiteY27154" fmla="*/ 483321 h 4687251"/>
              <a:gd name="connsiteX27155" fmla="*/ 2331371 w 8079933"/>
              <a:gd name="connsiteY27155" fmla="*/ 486677 h 4687251"/>
              <a:gd name="connsiteX27156" fmla="*/ 2332781 w 8079933"/>
              <a:gd name="connsiteY27156" fmla="*/ 491333 h 4687251"/>
              <a:gd name="connsiteX27157" fmla="*/ 2331045 w 8079933"/>
              <a:gd name="connsiteY27157" fmla="*/ 493065 h 4687251"/>
              <a:gd name="connsiteX27158" fmla="*/ 2330937 w 8079933"/>
              <a:gd name="connsiteY27158" fmla="*/ 499020 h 4687251"/>
              <a:gd name="connsiteX27159" fmla="*/ 2328441 w 8079933"/>
              <a:gd name="connsiteY27159" fmla="*/ 507032 h 4687251"/>
              <a:gd name="connsiteX27160" fmla="*/ 2326813 w 8079933"/>
              <a:gd name="connsiteY27160" fmla="*/ 508764 h 4687251"/>
              <a:gd name="connsiteX27161" fmla="*/ 2323340 w 8079933"/>
              <a:gd name="connsiteY27161" fmla="*/ 515261 h 4687251"/>
              <a:gd name="connsiteX27162" fmla="*/ 2324426 w 8079933"/>
              <a:gd name="connsiteY27162" fmla="*/ 520241 h 4687251"/>
              <a:gd name="connsiteX27163" fmla="*/ 2322038 w 8079933"/>
              <a:gd name="connsiteY27163" fmla="*/ 526520 h 4687251"/>
              <a:gd name="connsiteX27164" fmla="*/ 2318023 w 8079933"/>
              <a:gd name="connsiteY27164" fmla="*/ 527820 h 4687251"/>
              <a:gd name="connsiteX27165" fmla="*/ 2319217 w 8079933"/>
              <a:gd name="connsiteY27165" fmla="*/ 531067 h 4687251"/>
              <a:gd name="connsiteX27166" fmla="*/ 2317915 w 8079933"/>
              <a:gd name="connsiteY27166" fmla="*/ 532583 h 4687251"/>
              <a:gd name="connsiteX27167" fmla="*/ 2316504 w 8079933"/>
              <a:gd name="connsiteY27167" fmla="*/ 531067 h 4687251"/>
              <a:gd name="connsiteX27168" fmla="*/ 2312163 w 8079933"/>
              <a:gd name="connsiteY27168" fmla="*/ 531176 h 4687251"/>
              <a:gd name="connsiteX27169" fmla="*/ 2306412 w 8079933"/>
              <a:gd name="connsiteY27169" fmla="*/ 527711 h 4687251"/>
              <a:gd name="connsiteX27170" fmla="*/ 2301963 w 8079933"/>
              <a:gd name="connsiteY27170" fmla="*/ 527820 h 4687251"/>
              <a:gd name="connsiteX27171" fmla="*/ 2300878 w 8079933"/>
              <a:gd name="connsiteY27171" fmla="*/ 523164 h 4687251"/>
              <a:gd name="connsiteX27172" fmla="*/ 2296428 w 8079933"/>
              <a:gd name="connsiteY27172" fmla="*/ 524030 h 4687251"/>
              <a:gd name="connsiteX27173" fmla="*/ 2295560 w 8079933"/>
              <a:gd name="connsiteY27173" fmla="*/ 521756 h 4687251"/>
              <a:gd name="connsiteX27174" fmla="*/ 2295886 w 8079933"/>
              <a:gd name="connsiteY27174" fmla="*/ 515585 h 4687251"/>
              <a:gd name="connsiteX27175" fmla="*/ 2292956 w 8079933"/>
              <a:gd name="connsiteY27175" fmla="*/ 514935 h 4687251"/>
              <a:gd name="connsiteX27176" fmla="*/ 2291219 w 8079933"/>
              <a:gd name="connsiteY27176" fmla="*/ 517534 h 4687251"/>
              <a:gd name="connsiteX27177" fmla="*/ 2289701 w 8079933"/>
              <a:gd name="connsiteY27177" fmla="*/ 517751 h 4687251"/>
              <a:gd name="connsiteX27178" fmla="*/ 2289158 w 8079933"/>
              <a:gd name="connsiteY27178" fmla="*/ 513528 h 4687251"/>
              <a:gd name="connsiteX27179" fmla="*/ 2287638 w 8079933"/>
              <a:gd name="connsiteY27179" fmla="*/ 512445 h 4687251"/>
              <a:gd name="connsiteX27180" fmla="*/ 2285685 w 8079933"/>
              <a:gd name="connsiteY27180" fmla="*/ 513419 h 4687251"/>
              <a:gd name="connsiteX27181" fmla="*/ 2282321 w 8079933"/>
              <a:gd name="connsiteY27181" fmla="*/ 511363 h 4687251"/>
              <a:gd name="connsiteX27182" fmla="*/ 2281670 w 8079933"/>
              <a:gd name="connsiteY27182" fmla="*/ 509197 h 4687251"/>
              <a:gd name="connsiteX27183" fmla="*/ 2283406 w 8079933"/>
              <a:gd name="connsiteY27183" fmla="*/ 504325 h 4687251"/>
              <a:gd name="connsiteX27184" fmla="*/ 2282321 w 8079933"/>
              <a:gd name="connsiteY27184" fmla="*/ 503675 h 4687251"/>
              <a:gd name="connsiteX27185" fmla="*/ 2279283 w 8079933"/>
              <a:gd name="connsiteY27185" fmla="*/ 507140 h 4687251"/>
              <a:gd name="connsiteX27186" fmla="*/ 2278197 w 8079933"/>
              <a:gd name="connsiteY27186" fmla="*/ 506815 h 4687251"/>
              <a:gd name="connsiteX27187" fmla="*/ 2278523 w 8079933"/>
              <a:gd name="connsiteY27187" fmla="*/ 503892 h 4687251"/>
              <a:gd name="connsiteX27188" fmla="*/ 2279500 w 8079933"/>
              <a:gd name="connsiteY27188" fmla="*/ 501510 h 4687251"/>
              <a:gd name="connsiteX27189" fmla="*/ 2277438 w 8079933"/>
              <a:gd name="connsiteY27189" fmla="*/ 501077 h 4687251"/>
              <a:gd name="connsiteX27190" fmla="*/ 2276570 w 8079933"/>
              <a:gd name="connsiteY27190" fmla="*/ 499778 h 4687251"/>
              <a:gd name="connsiteX27191" fmla="*/ 2277980 w 8079933"/>
              <a:gd name="connsiteY27191" fmla="*/ 498261 h 4687251"/>
              <a:gd name="connsiteX27192" fmla="*/ 2279934 w 8079933"/>
              <a:gd name="connsiteY27192" fmla="*/ 493714 h 4687251"/>
              <a:gd name="connsiteX27193" fmla="*/ 2283623 w 8079933"/>
              <a:gd name="connsiteY27193" fmla="*/ 490358 h 4687251"/>
              <a:gd name="connsiteX27194" fmla="*/ 2289049 w 8079933"/>
              <a:gd name="connsiteY27194" fmla="*/ 488951 h 4687251"/>
              <a:gd name="connsiteX27195" fmla="*/ 2294041 w 8079933"/>
              <a:gd name="connsiteY27195" fmla="*/ 490683 h 4687251"/>
              <a:gd name="connsiteX27196" fmla="*/ 2294258 w 8079933"/>
              <a:gd name="connsiteY27196" fmla="*/ 488951 h 4687251"/>
              <a:gd name="connsiteX27197" fmla="*/ 2293173 w 8079933"/>
              <a:gd name="connsiteY27197" fmla="*/ 488517 h 4687251"/>
              <a:gd name="connsiteX27198" fmla="*/ 2291002 w 8079933"/>
              <a:gd name="connsiteY27198" fmla="*/ 483862 h 4687251"/>
              <a:gd name="connsiteX27199" fmla="*/ 2293064 w 8079933"/>
              <a:gd name="connsiteY27199" fmla="*/ 482563 h 4687251"/>
              <a:gd name="connsiteX27200" fmla="*/ 2299250 w 8079933"/>
              <a:gd name="connsiteY27200" fmla="*/ 481804 h 4687251"/>
              <a:gd name="connsiteX27201" fmla="*/ 2299792 w 8079933"/>
              <a:gd name="connsiteY27201" fmla="*/ 479964 h 4687251"/>
              <a:gd name="connsiteX27202" fmla="*/ 2298165 w 8079933"/>
              <a:gd name="connsiteY27202" fmla="*/ 478015 h 4687251"/>
              <a:gd name="connsiteX27203" fmla="*/ 2294041 w 8079933"/>
              <a:gd name="connsiteY27203" fmla="*/ 477907 h 4687251"/>
              <a:gd name="connsiteX27204" fmla="*/ 2295669 w 8079933"/>
              <a:gd name="connsiteY27204" fmla="*/ 475308 h 4687251"/>
              <a:gd name="connsiteX27205" fmla="*/ 2299358 w 8079933"/>
              <a:gd name="connsiteY27205" fmla="*/ 475633 h 4687251"/>
              <a:gd name="connsiteX27206" fmla="*/ 2303265 w 8079933"/>
              <a:gd name="connsiteY27206" fmla="*/ 478665 h 4687251"/>
              <a:gd name="connsiteX27207" fmla="*/ 2305110 w 8079933"/>
              <a:gd name="connsiteY27207" fmla="*/ 478881 h 4687251"/>
              <a:gd name="connsiteX27208" fmla="*/ 2304893 w 8079933"/>
              <a:gd name="connsiteY27208" fmla="*/ 476391 h 4687251"/>
              <a:gd name="connsiteX27209" fmla="*/ 2302180 w 8079933"/>
              <a:gd name="connsiteY27209" fmla="*/ 472926 h 4687251"/>
              <a:gd name="connsiteX27210" fmla="*/ 2303590 w 8079933"/>
              <a:gd name="connsiteY27210" fmla="*/ 470653 h 4687251"/>
              <a:gd name="connsiteX27211" fmla="*/ 2309451 w 8079933"/>
              <a:gd name="connsiteY27211" fmla="*/ 470111 h 4687251"/>
              <a:gd name="connsiteX27212" fmla="*/ 2313574 w 8079933"/>
              <a:gd name="connsiteY27212" fmla="*/ 471303 h 4687251"/>
              <a:gd name="connsiteX27213" fmla="*/ 2286988 w 8079933"/>
              <a:gd name="connsiteY27213" fmla="*/ 464264 h 4687251"/>
              <a:gd name="connsiteX27214" fmla="*/ 2289592 w 8079933"/>
              <a:gd name="connsiteY27214" fmla="*/ 465889 h 4687251"/>
              <a:gd name="connsiteX27215" fmla="*/ 2290894 w 8079933"/>
              <a:gd name="connsiteY27215" fmla="*/ 467295 h 4687251"/>
              <a:gd name="connsiteX27216" fmla="*/ 2289700 w 8079933"/>
              <a:gd name="connsiteY27216" fmla="*/ 469461 h 4687251"/>
              <a:gd name="connsiteX27217" fmla="*/ 2289918 w 8079933"/>
              <a:gd name="connsiteY27217" fmla="*/ 472385 h 4687251"/>
              <a:gd name="connsiteX27218" fmla="*/ 2286988 w 8079933"/>
              <a:gd name="connsiteY27218" fmla="*/ 473142 h 4687251"/>
              <a:gd name="connsiteX27219" fmla="*/ 2285685 w 8079933"/>
              <a:gd name="connsiteY27219" fmla="*/ 475199 h 4687251"/>
              <a:gd name="connsiteX27220" fmla="*/ 2283949 w 8079933"/>
              <a:gd name="connsiteY27220" fmla="*/ 475849 h 4687251"/>
              <a:gd name="connsiteX27221" fmla="*/ 2281128 w 8079933"/>
              <a:gd name="connsiteY27221" fmla="*/ 474117 h 4687251"/>
              <a:gd name="connsiteX27222" fmla="*/ 2280260 w 8079933"/>
              <a:gd name="connsiteY27222" fmla="*/ 467837 h 4687251"/>
              <a:gd name="connsiteX27223" fmla="*/ 2282105 w 8079933"/>
              <a:gd name="connsiteY27223" fmla="*/ 466538 h 4687251"/>
              <a:gd name="connsiteX27224" fmla="*/ 2284058 w 8079933"/>
              <a:gd name="connsiteY27224" fmla="*/ 464806 h 4687251"/>
              <a:gd name="connsiteX27225" fmla="*/ 2295126 w 8079933"/>
              <a:gd name="connsiteY27225" fmla="*/ 462315 h 4687251"/>
              <a:gd name="connsiteX27226" fmla="*/ 2297514 w 8079933"/>
              <a:gd name="connsiteY27226" fmla="*/ 464590 h 4687251"/>
              <a:gd name="connsiteX27227" fmla="*/ 2299250 w 8079933"/>
              <a:gd name="connsiteY27227" fmla="*/ 467838 h 4687251"/>
              <a:gd name="connsiteX27228" fmla="*/ 2295343 w 8079933"/>
              <a:gd name="connsiteY27228" fmla="*/ 471085 h 4687251"/>
              <a:gd name="connsiteX27229" fmla="*/ 2293281 w 8079933"/>
              <a:gd name="connsiteY27229" fmla="*/ 471410 h 4687251"/>
              <a:gd name="connsiteX27230" fmla="*/ 2294040 w 8079933"/>
              <a:gd name="connsiteY27230" fmla="*/ 468379 h 4687251"/>
              <a:gd name="connsiteX27231" fmla="*/ 2292630 w 8079933"/>
              <a:gd name="connsiteY27231" fmla="*/ 466646 h 4687251"/>
              <a:gd name="connsiteX27232" fmla="*/ 2293390 w 8079933"/>
              <a:gd name="connsiteY27232" fmla="*/ 462748 h 4687251"/>
              <a:gd name="connsiteX27233" fmla="*/ 6954397 w 8079933"/>
              <a:gd name="connsiteY27233" fmla="*/ 461018 h 4687251"/>
              <a:gd name="connsiteX27234" fmla="*/ 6958630 w 8079933"/>
              <a:gd name="connsiteY27234" fmla="*/ 464482 h 4687251"/>
              <a:gd name="connsiteX27235" fmla="*/ 6960366 w 8079933"/>
              <a:gd name="connsiteY27235" fmla="*/ 470653 h 4687251"/>
              <a:gd name="connsiteX27236" fmla="*/ 6959063 w 8079933"/>
              <a:gd name="connsiteY27236" fmla="*/ 472711 h 4687251"/>
              <a:gd name="connsiteX27237" fmla="*/ 6956677 w 8079933"/>
              <a:gd name="connsiteY27237" fmla="*/ 468164 h 4687251"/>
              <a:gd name="connsiteX27238" fmla="*/ 6952770 w 8079933"/>
              <a:gd name="connsiteY27238" fmla="*/ 462966 h 4687251"/>
              <a:gd name="connsiteX27239" fmla="*/ 6952444 w 8079933"/>
              <a:gd name="connsiteY27239" fmla="*/ 461125 h 4687251"/>
              <a:gd name="connsiteX27240" fmla="*/ 4378536 w 8079933"/>
              <a:gd name="connsiteY27240" fmla="*/ 459610 h 4687251"/>
              <a:gd name="connsiteX27241" fmla="*/ 4379838 w 8079933"/>
              <a:gd name="connsiteY27241" fmla="*/ 462207 h 4687251"/>
              <a:gd name="connsiteX27242" fmla="*/ 4386675 w 8079933"/>
              <a:gd name="connsiteY27242" fmla="*/ 462966 h 4687251"/>
              <a:gd name="connsiteX27243" fmla="*/ 4389713 w 8079933"/>
              <a:gd name="connsiteY27243" fmla="*/ 462641 h 4687251"/>
              <a:gd name="connsiteX27244" fmla="*/ 4388303 w 8079933"/>
              <a:gd name="connsiteY27244" fmla="*/ 465889 h 4687251"/>
              <a:gd name="connsiteX27245" fmla="*/ 4384179 w 8079933"/>
              <a:gd name="connsiteY27245" fmla="*/ 468162 h 4687251"/>
              <a:gd name="connsiteX27246" fmla="*/ 4378536 w 8079933"/>
              <a:gd name="connsiteY27246" fmla="*/ 465132 h 4687251"/>
              <a:gd name="connsiteX27247" fmla="*/ 4375390 w 8079933"/>
              <a:gd name="connsiteY27247" fmla="*/ 465132 h 4687251"/>
              <a:gd name="connsiteX27248" fmla="*/ 4373110 w 8079933"/>
              <a:gd name="connsiteY27248" fmla="*/ 466757 h 4687251"/>
              <a:gd name="connsiteX27249" fmla="*/ 4370615 w 8079933"/>
              <a:gd name="connsiteY27249" fmla="*/ 466863 h 4687251"/>
              <a:gd name="connsiteX27250" fmla="*/ 4366600 w 8079933"/>
              <a:gd name="connsiteY27250" fmla="*/ 471844 h 4687251"/>
              <a:gd name="connsiteX27251" fmla="*/ 4364864 w 8079933"/>
              <a:gd name="connsiteY27251" fmla="*/ 471520 h 4687251"/>
              <a:gd name="connsiteX27252" fmla="*/ 4368445 w 8079933"/>
              <a:gd name="connsiteY27252" fmla="*/ 464697 h 4687251"/>
              <a:gd name="connsiteX27253" fmla="*/ 4372894 w 8079933"/>
              <a:gd name="connsiteY27253" fmla="*/ 461666 h 4687251"/>
              <a:gd name="connsiteX27254" fmla="*/ 4375390 w 8079933"/>
              <a:gd name="connsiteY27254" fmla="*/ 461666 h 4687251"/>
              <a:gd name="connsiteX27255" fmla="*/ 6944848 w 8079933"/>
              <a:gd name="connsiteY27255" fmla="*/ 457335 h 4687251"/>
              <a:gd name="connsiteX27256" fmla="*/ 6947778 w 8079933"/>
              <a:gd name="connsiteY27256" fmla="*/ 458852 h 4687251"/>
              <a:gd name="connsiteX27257" fmla="*/ 6949080 w 8079933"/>
              <a:gd name="connsiteY27257" fmla="*/ 463940 h 4687251"/>
              <a:gd name="connsiteX27258" fmla="*/ 6947778 w 8079933"/>
              <a:gd name="connsiteY27258" fmla="*/ 464590 h 4687251"/>
              <a:gd name="connsiteX27259" fmla="*/ 6946367 w 8079933"/>
              <a:gd name="connsiteY27259" fmla="*/ 467188 h 4687251"/>
              <a:gd name="connsiteX27260" fmla="*/ 6943329 w 8079933"/>
              <a:gd name="connsiteY27260" fmla="*/ 465023 h 4687251"/>
              <a:gd name="connsiteX27261" fmla="*/ 6940724 w 8079933"/>
              <a:gd name="connsiteY27261" fmla="*/ 460042 h 4687251"/>
              <a:gd name="connsiteX27262" fmla="*/ 6944197 w 8079933"/>
              <a:gd name="connsiteY27262" fmla="*/ 458635 h 4687251"/>
              <a:gd name="connsiteX27263" fmla="*/ 2290677 w 8079933"/>
              <a:gd name="connsiteY27263" fmla="*/ 456902 h 4687251"/>
              <a:gd name="connsiteX27264" fmla="*/ 2288615 w 8079933"/>
              <a:gd name="connsiteY27264" fmla="*/ 459825 h 4687251"/>
              <a:gd name="connsiteX27265" fmla="*/ 2286770 w 8079933"/>
              <a:gd name="connsiteY27265" fmla="*/ 460908 h 4687251"/>
              <a:gd name="connsiteX27266" fmla="*/ 2285902 w 8079933"/>
              <a:gd name="connsiteY27266" fmla="*/ 459068 h 4687251"/>
              <a:gd name="connsiteX27267" fmla="*/ 2288724 w 8079933"/>
              <a:gd name="connsiteY27267" fmla="*/ 457119 h 4687251"/>
              <a:gd name="connsiteX27268" fmla="*/ 4241264 w 8079933"/>
              <a:gd name="connsiteY27268" fmla="*/ 455603 h 4687251"/>
              <a:gd name="connsiteX27269" fmla="*/ 4249620 w 8079933"/>
              <a:gd name="connsiteY27269" fmla="*/ 457336 h 4687251"/>
              <a:gd name="connsiteX27270" fmla="*/ 4252333 w 8079933"/>
              <a:gd name="connsiteY27270" fmla="*/ 460583 h 4687251"/>
              <a:gd name="connsiteX27271" fmla="*/ 4252333 w 8079933"/>
              <a:gd name="connsiteY27271" fmla="*/ 464807 h 4687251"/>
              <a:gd name="connsiteX27272" fmla="*/ 4248101 w 8079933"/>
              <a:gd name="connsiteY27272" fmla="*/ 466104 h 4687251"/>
              <a:gd name="connsiteX27273" fmla="*/ 4243868 w 8079933"/>
              <a:gd name="connsiteY27273" fmla="*/ 465781 h 4687251"/>
              <a:gd name="connsiteX27274" fmla="*/ 4241047 w 8079933"/>
              <a:gd name="connsiteY27274" fmla="*/ 462425 h 4687251"/>
              <a:gd name="connsiteX27275" fmla="*/ 4239745 w 8079933"/>
              <a:gd name="connsiteY27275" fmla="*/ 457878 h 4687251"/>
              <a:gd name="connsiteX27276" fmla="*/ 4239745 w 8079933"/>
              <a:gd name="connsiteY27276" fmla="*/ 456470 h 4687251"/>
              <a:gd name="connsiteX27277" fmla="*/ 6953747 w 8079933"/>
              <a:gd name="connsiteY27277" fmla="*/ 454197 h 4687251"/>
              <a:gd name="connsiteX27278" fmla="*/ 6956786 w 8079933"/>
              <a:gd name="connsiteY27278" fmla="*/ 454304 h 4687251"/>
              <a:gd name="connsiteX27279" fmla="*/ 6958957 w 8079933"/>
              <a:gd name="connsiteY27279" fmla="*/ 458093 h 4687251"/>
              <a:gd name="connsiteX27280" fmla="*/ 6959174 w 8079933"/>
              <a:gd name="connsiteY27280" fmla="*/ 461667 h 4687251"/>
              <a:gd name="connsiteX27281" fmla="*/ 6956895 w 8079933"/>
              <a:gd name="connsiteY27281" fmla="*/ 460583 h 4687251"/>
              <a:gd name="connsiteX27282" fmla="*/ 6953422 w 8079933"/>
              <a:gd name="connsiteY27282" fmla="*/ 456470 h 4687251"/>
              <a:gd name="connsiteX27283" fmla="*/ 2300444 w 8079933"/>
              <a:gd name="connsiteY27283" fmla="*/ 449539 h 4687251"/>
              <a:gd name="connsiteX27284" fmla="*/ 2301203 w 8079933"/>
              <a:gd name="connsiteY27284" fmla="*/ 450731 h 4687251"/>
              <a:gd name="connsiteX27285" fmla="*/ 2298816 w 8079933"/>
              <a:gd name="connsiteY27285" fmla="*/ 452246 h 4687251"/>
              <a:gd name="connsiteX27286" fmla="*/ 2297731 w 8079933"/>
              <a:gd name="connsiteY27286" fmla="*/ 454411 h 4687251"/>
              <a:gd name="connsiteX27287" fmla="*/ 2295343 w 8079933"/>
              <a:gd name="connsiteY27287" fmla="*/ 454953 h 4687251"/>
              <a:gd name="connsiteX27288" fmla="*/ 2293716 w 8079933"/>
              <a:gd name="connsiteY27288" fmla="*/ 452896 h 4687251"/>
              <a:gd name="connsiteX27289" fmla="*/ 2295778 w 8079933"/>
              <a:gd name="connsiteY27289" fmla="*/ 450405 h 4687251"/>
              <a:gd name="connsiteX27290" fmla="*/ 5890175 w 8079933"/>
              <a:gd name="connsiteY27290" fmla="*/ 449108 h 4687251"/>
              <a:gd name="connsiteX27291" fmla="*/ 5893865 w 8079933"/>
              <a:gd name="connsiteY27291" fmla="*/ 449973 h 4687251"/>
              <a:gd name="connsiteX27292" fmla="*/ 5893973 w 8079933"/>
              <a:gd name="connsiteY27292" fmla="*/ 453006 h 4687251"/>
              <a:gd name="connsiteX27293" fmla="*/ 5896252 w 8079933"/>
              <a:gd name="connsiteY27293" fmla="*/ 457985 h 4687251"/>
              <a:gd name="connsiteX27294" fmla="*/ 5899182 w 8079933"/>
              <a:gd name="connsiteY27294" fmla="*/ 461125 h 4687251"/>
              <a:gd name="connsiteX27295" fmla="*/ 5899291 w 8079933"/>
              <a:gd name="connsiteY27295" fmla="*/ 469246 h 4687251"/>
              <a:gd name="connsiteX27296" fmla="*/ 5901895 w 8079933"/>
              <a:gd name="connsiteY27296" fmla="*/ 471953 h 4687251"/>
              <a:gd name="connsiteX27297" fmla="*/ 5901895 w 8079933"/>
              <a:gd name="connsiteY27297" fmla="*/ 474877 h 4687251"/>
              <a:gd name="connsiteX27298" fmla="*/ 5899508 w 8079933"/>
              <a:gd name="connsiteY27298" fmla="*/ 476934 h 4687251"/>
              <a:gd name="connsiteX27299" fmla="*/ 5898640 w 8079933"/>
              <a:gd name="connsiteY27299" fmla="*/ 480724 h 4687251"/>
              <a:gd name="connsiteX27300" fmla="*/ 5895167 w 8079933"/>
              <a:gd name="connsiteY27300" fmla="*/ 482672 h 4687251"/>
              <a:gd name="connsiteX27301" fmla="*/ 5892454 w 8079933"/>
              <a:gd name="connsiteY27301" fmla="*/ 481049 h 4687251"/>
              <a:gd name="connsiteX27302" fmla="*/ 5887137 w 8079933"/>
              <a:gd name="connsiteY27302" fmla="*/ 479856 h 4687251"/>
              <a:gd name="connsiteX27303" fmla="*/ 5875200 w 8079933"/>
              <a:gd name="connsiteY27303" fmla="*/ 477150 h 4687251"/>
              <a:gd name="connsiteX27304" fmla="*/ 5868472 w 8079933"/>
              <a:gd name="connsiteY27304" fmla="*/ 476718 h 4687251"/>
              <a:gd name="connsiteX27305" fmla="*/ 5866302 w 8079933"/>
              <a:gd name="connsiteY27305" fmla="*/ 474010 h 4687251"/>
              <a:gd name="connsiteX27306" fmla="*/ 5867061 w 8079933"/>
              <a:gd name="connsiteY27306" fmla="*/ 472604 h 4687251"/>
              <a:gd name="connsiteX27307" fmla="*/ 5871620 w 8079933"/>
              <a:gd name="connsiteY27307" fmla="*/ 473036 h 4687251"/>
              <a:gd name="connsiteX27308" fmla="*/ 5873681 w 8079933"/>
              <a:gd name="connsiteY27308" fmla="*/ 470546 h 4687251"/>
              <a:gd name="connsiteX27309" fmla="*/ 5872596 w 8079933"/>
              <a:gd name="connsiteY27309" fmla="*/ 466648 h 4687251"/>
              <a:gd name="connsiteX27310" fmla="*/ 5868689 w 8079933"/>
              <a:gd name="connsiteY27310" fmla="*/ 464266 h 4687251"/>
              <a:gd name="connsiteX27311" fmla="*/ 5867278 w 8079933"/>
              <a:gd name="connsiteY27311" fmla="*/ 459177 h 4687251"/>
              <a:gd name="connsiteX27312" fmla="*/ 5868472 w 8079933"/>
              <a:gd name="connsiteY27312" fmla="*/ 457011 h 4687251"/>
              <a:gd name="connsiteX27313" fmla="*/ 5873030 w 8079933"/>
              <a:gd name="connsiteY27313" fmla="*/ 456794 h 4687251"/>
              <a:gd name="connsiteX27314" fmla="*/ 5881385 w 8079933"/>
              <a:gd name="connsiteY27314" fmla="*/ 451707 h 4687251"/>
              <a:gd name="connsiteX27315" fmla="*/ 2328766 w 8079933"/>
              <a:gd name="connsiteY27315" fmla="*/ 448998 h 4687251"/>
              <a:gd name="connsiteX27316" fmla="*/ 2335277 w 8079933"/>
              <a:gd name="connsiteY27316" fmla="*/ 448998 h 4687251"/>
              <a:gd name="connsiteX27317" fmla="*/ 2332347 w 8079933"/>
              <a:gd name="connsiteY27317" fmla="*/ 459284 h 4687251"/>
              <a:gd name="connsiteX27318" fmla="*/ 2329851 w 8079933"/>
              <a:gd name="connsiteY27318" fmla="*/ 463723 h 4687251"/>
              <a:gd name="connsiteX27319" fmla="*/ 2328332 w 8079933"/>
              <a:gd name="connsiteY27319" fmla="*/ 465455 h 4687251"/>
              <a:gd name="connsiteX27320" fmla="*/ 2327464 w 8079933"/>
              <a:gd name="connsiteY27320" fmla="*/ 461666 h 4687251"/>
              <a:gd name="connsiteX27321" fmla="*/ 2325728 w 8079933"/>
              <a:gd name="connsiteY27321" fmla="*/ 460367 h 4687251"/>
              <a:gd name="connsiteX27322" fmla="*/ 2325728 w 8079933"/>
              <a:gd name="connsiteY27322" fmla="*/ 458093 h 4687251"/>
              <a:gd name="connsiteX27323" fmla="*/ 2327573 w 8079933"/>
              <a:gd name="connsiteY27323" fmla="*/ 456469 h 4687251"/>
              <a:gd name="connsiteX27324" fmla="*/ 2327573 w 8079933"/>
              <a:gd name="connsiteY27324" fmla="*/ 451164 h 4687251"/>
              <a:gd name="connsiteX27325" fmla="*/ 6959064 w 8079933"/>
              <a:gd name="connsiteY27325" fmla="*/ 448675 h 4687251"/>
              <a:gd name="connsiteX27326" fmla="*/ 6961561 w 8079933"/>
              <a:gd name="connsiteY27326" fmla="*/ 448891 h 4687251"/>
              <a:gd name="connsiteX27327" fmla="*/ 6963080 w 8079933"/>
              <a:gd name="connsiteY27327" fmla="*/ 452788 h 4687251"/>
              <a:gd name="connsiteX27328" fmla="*/ 6962103 w 8079933"/>
              <a:gd name="connsiteY27328" fmla="*/ 456578 h 4687251"/>
              <a:gd name="connsiteX27329" fmla="*/ 6960366 w 8079933"/>
              <a:gd name="connsiteY27329" fmla="*/ 456794 h 4687251"/>
              <a:gd name="connsiteX27330" fmla="*/ 6958304 w 8079933"/>
              <a:gd name="connsiteY27330" fmla="*/ 450623 h 4687251"/>
              <a:gd name="connsiteX27331" fmla="*/ 3656359 w 8079933"/>
              <a:gd name="connsiteY27331" fmla="*/ 447265 h 4687251"/>
              <a:gd name="connsiteX27332" fmla="*/ 3658530 w 8079933"/>
              <a:gd name="connsiteY27332" fmla="*/ 448781 h 4687251"/>
              <a:gd name="connsiteX27333" fmla="*/ 3657227 w 8079933"/>
              <a:gd name="connsiteY27333" fmla="*/ 452246 h 4687251"/>
              <a:gd name="connsiteX27334" fmla="*/ 3657662 w 8079933"/>
              <a:gd name="connsiteY27334" fmla="*/ 457226 h 4687251"/>
              <a:gd name="connsiteX27335" fmla="*/ 3655709 w 8079933"/>
              <a:gd name="connsiteY27335" fmla="*/ 463182 h 4687251"/>
              <a:gd name="connsiteX27336" fmla="*/ 3651476 w 8079933"/>
              <a:gd name="connsiteY27336" fmla="*/ 466321 h 4687251"/>
              <a:gd name="connsiteX27337" fmla="*/ 3651259 w 8079933"/>
              <a:gd name="connsiteY27337" fmla="*/ 464264 h 4687251"/>
              <a:gd name="connsiteX27338" fmla="*/ 3648981 w 8079933"/>
              <a:gd name="connsiteY27338" fmla="*/ 460150 h 4687251"/>
              <a:gd name="connsiteX27339" fmla="*/ 3652127 w 8079933"/>
              <a:gd name="connsiteY27339" fmla="*/ 453220 h 4687251"/>
              <a:gd name="connsiteX27340" fmla="*/ 3653321 w 8079933"/>
              <a:gd name="connsiteY27340" fmla="*/ 449323 h 4687251"/>
              <a:gd name="connsiteX27341" fmla="*/ 2758059 w 8079933"/>
              <a:gd name="connsiteY27341" fmla="*/ 444452 h 4687251"/>
              <a:gd name="connsiteX27342" fmla="*/ 2764787 w 8079933"/>
              <a:gd name="connsiteY27342" fmla="*/ 447049 h 4687251"/>
              <a:gd name="connsiteX27343" fmla="*/ 2770539 w 8079933"/>
              <a:gd name="connsiteY27343" fmla="*/ 452030 h 4687251"/>
              <a:gd name="connsiteX27344" fmla="*/ 2765005 w 8079933"/>
              <a:gd name="connsiteY27344" fmla="*/ 455170 h 4687251"/>
              <a:gd name="connsiteX27345" fmla="*/ 2760881 w 8079933"/>
              <a:gd name="connsiteY27345" fmla="*/ 452679 h 4687251"/>
              <a:gd name="connsiteX27346" fmla="*/ 2755346 w 8079933"/>
              <a:gd name="connsiteY27346" fmla="*/ 452572 h 4687251"/>
              <a:gd name="connsiteX27347" fmla="*/ 2750680 w 8079933"/>
              <a:gd name="connsiteY27347" fmla="*/ 447049 h 4687251"/>
              <a:gd name="connsiteX27348" fmla="*/ 2752416 w 8079933"/>
              <a:gd name="connsiteY27348" fmla="*/ 444993 h 4687251"/>
              <a:gd name="connsiteX27349" fmla="*/ 2774445 w 8079933"/>
              <a:gd name="connsiteY27349" fmla="*/ 444342 h 4687251"/>
              <a:gd name="connsiteX27350" fmla="*/ 2777593 w 8079933"/>
              <a:gd name="connsiteY27350" fmla="*/ 445316 h 4687251"/>
              <a:gd name="connsiteX27351" fmla="*/ 2781824 w 8079933"/>
              <a:gd name="connsiteY27351" fmla="*/ 444342 h 4687251"/>
              <a:gd name="connsiteX27352" fmla="*/ 2785623 w 8079933"/>
              <a:gd name="connsiteY27352" fmla="*/ 448890 h 4687251"/>
              <a:gd name="connsiteX27353" fmla="*/ 2788444 w 8079933"/>
              <a:gd name="connsiteY27353" fmla="*/ 448890 h 4687251"/>
              <a:gd name="connsiteX27354" fmla="*/ 2790940 w 8079933"/>
              <a:gd name="connsiteY27354" fmla="*/ 452896 h 4687251"/>
              <a:gd name="connsiteX27355" fmla="*/ 2787251 w 8079933"/>
              <a:gd name="connsiteY27355" fmla="*/ 452896 h 4687251"/>
              <a:gd name="connsiteX27356" fmla="*/ 2783452 w 8079933"/>
              <a:gd name="connsiteY27356" fmla="*/ 451164 h 4687251"/>
              <a:gd name="connsiteX27357" fmla="*/ 2776725 w 8079933"/>
              <a:gd name="connsiteY27357" fmla="*/ 450514 h 4687251"/>
              <a:gd name="connsiteX27358" fmla="*/ 2773903 w 8079933"/>
              <a:gd name="connsiteY27358" fmla="*/ 446400 h 4687251"/>
              <a:gd name="connsiteX27359" fmla="*/ 2209832 w 8079933"/>
              <a:gd name="connsiteY27359" fmla="*/ 440986 h 4687251"/>
              <a:gd name="connsiteX27360" fmla="*/ 2211568 w 8079933"/>
              <a:gd name="connsiteY27360" fmla="*/ 442827 h 4687251"/>
              <a:gd name="connsiteX27361" fmla="*/ 2210483 w 8079933"/>
              <a:gd name="connsiteY27361" fmla="*/ 445208 h 4687251"/>
              <a:gd name="connsiteX27362" fmla="*/ 2208747 w 8079933"/>
              <a:gd name="connsiteY27362" fmla="*/ 443152 h 4687251"/>
              <a:gd name="connsiteX27363" fmla="*/ 2332131 w 8079933"/>
              <a:gd name="connsiteY27363" fmla="*/ 436872 h 4687251"/>
              <a:gd name="connsiteX27364" fmla="*/ 2335712 w 8079933"/>
              <a:gd name="connsiteY27364" fmla="*/ 436872 h 4687251"/>
              <a:gd name="connsiteX27365" fmla="*/ 2334193 w 8079933"/>
              <a:gd name="connsiteY27365" fmla="*/ 441095 h 4687251"/>
              <a:gd name="connsiteX27366" fmla="*/ 2331263 w 8079933"/>
              <a:gd name="connsiteY27366" fmla="*/ 438929 h 4687251"/>
              <a:gd name="connsiteX27367" fmla="*/ 2161218 w 8079933"/>
              <a:gd name="connsiteY27367" fmla="*/ 434599 h 4687251"/>
              <a:gd name="connsiteX27368" fmla="*/ 2161326 w 8079933"/>
              <a:gd name="connsiteY27368" fmla="*/ 439146 h 4687251"/>
              <a:gd name="connsiteX27369" fmla="*/ 2162194 w 8079933"/>
              <a:gd name="connsiteY27369" fmla="*/ 441745 h 4687251"/>
              <a:gd name="connsiteX27370" fmla="*/ 2162194 w 8079933"/>
              <a:gd name="connsiteY27370" fmla="*/ 447916 h 4687251"/>
              <a:gd name="connsiteX27371" fmla="*/ 2161000 w 8079933"/>
              <a:gd name="connsiteY27371" fmla="*/ 452247 h 4687251"/>
              <a:gd name="connsiteX27372" fmla="*/ 2156768 w 8079933"/>
              <a:gd name="connsiteY27372" fmla="*/ 455929 h 4687251"/>
              <a:gd name="connsiteX27373" fmla="*/ 2152536 w 8079933"/>
              <a:gd name="connsiteY27373" fmla="*/ 455712 h 4687251"/>
              <a:gd name="connsiteX27374" fmla="*/ 2150257 w 8079933"/>
              <a:gd name="connsiteY27374" fmla="*/ 457119 h 4687251"/>
              <a:gd name="connsiteX27375" fmla="*/ 2146567 w 8079933"/>
              <a:gd name="connsiteY27375" fmla="*/ 457119 h 4687251"/>
              <a:gd name="connsiteX27376" fmla="*/ 2145157 w 8079933"/>
              <a:gd name="connsiteY27376" fmla="*/ 453655 h 4687251"/>
              <a:gd name="connsiteX27377" fmla="*/ 2141901 w 8079933"/>
              <a:gd name="connsiteY27377" fmla="*/ 451381 h 4687251"/>
              <a:gd name="connsiteX27378" fmla="*/ 2140491 w 8079933"/>
              <a:gd name="connsiteY27378" fmla="*/ 449323 h 4687251"/>
              <a:gd name="connsiteX27379" fmla="*/ 2141684 w 8079933"/>
              <a:gd name="connsiteY27379" fmla="*/ 447808 h 4687251"/>
              <a:gd name="connsiteX27380" fmla="*/ 2146676 w 8079933"/>
              <a:gd name="connsiteY27380" fmla="*/ 446184 h 4687251"/>
              <a:gd name="connsiteX27381" fmla="*/ 2148412 w 8079933"/>
              <a:gd name="connsiteY27381" fmla="*/ 442610 h 4687251"/>
              <a:gd name="connsiteX27382" fmla="*/ 2148412 w 8079933"/>
              <a:gd name="connsiteY27382" fmla="*/ 440445 h 4687251"/>
              <a:gd name="connsiteX27383" fmla="*/ 2155466 w 8079933"/>
              <a:gd name="connsiteY27383" fmla="*/ 436547 h 4687251"/>
              <a:gd name="connsiteX27384" fmla="*/ 2156768 w 8079933"/>
              <a:gd name="connsiteY27384" fmla="*/ 434814 h 4687251"/>
              <a:gd name="connsiteX27385" fmla="*/ 6115672 w 8079933"/>
              <a:gd name="connsiteY27385" fmla="*/ 432542 h 4687251"/>
              <a:gd name="connsiteX27386" fmla="*/ 6116215 w 8079933"/>
              <a:gd name="connsiteY27386" fmla="*/ 436440 h 4687251"/>
              <a:gd name="connsiteX27387" fmla="*/ 6115347 w 8079933"/>
              <a:gd name="connsiteY27387" fmla="*/ 441746 h 4687251"/>
              <a:gd name="connsiteX27388" fmla="*/ 6113068 w 8079933"/>
              <a:gd name="connsiteY27388" fmla="*/ 443154 h 4687251"/>
              <a:gd name="connsiteX27389" fmla="*/ 6111115 w 8079933"/>
              <a:gd name="connsiteY27389" fmla="*/ 441204 h 4687251"/>
              <a:gd name="connsiteX27390" fmla="*/ 6108836 w 8079933"/>
              <a:gd name="connsiteY27390" fmla="*/ 441097 h 4687251"/>
              <a:gd name="connsiteX27391" fmla="*/ 6107859 w 8079933"/>
              <a:gd name="connsiteY27391" fmla="*/ 436981 h 4687251"/>
              <a:gd name="connsiteX27392" fmla="*/ 6109270 w 8079933"/>
              <a:gd name="connsiteY27392" fmla="*/ 435466 h 4687251"/>
              <a:gd name="connsiteX27393" fmla="*/ 5545526 w 8079933"/>
              <a:gd name="connsiteY27393" fmla="*/ 426912 h 4687251"/>
              <a:gd name="connsiteX27394" fmla="*/ 5546827 w 8079933"/>
              <a:gd name="connsiteY27394" fmla="*/ 431025 h 4687251"/>
              <a:gd name="connsiteX27395" fmla="*/ 5545959 w 8079933"/>
              <a:gd name="connsiteY27395" fmla="*/ 433301 h 4687251"/>
              <a:gd name="connsiteX27396" fmla="*/ 5547479 w 8079933"/>
              <a:gd name="connsiteY27396" fmla="*/ 433735 h 4687251"/>
              <a:gd name="connsiteX27397" fmla="*/ 5547479 w 8079933"/>
              <a:gd name="connsiteY27397" fmla="*/ 435683 h 4687251"/>
              <a:gd name="connsiteX27398" fmla="*/ 5545742 w 8079933"/>
              <a:gd name="connsiteY27398" fmla="*/ 438714 h 4687251"/>
              <a:gd name="connsiteX27399" fmla="*/ 5542053 w 8079933"/>
              <a:gd name="connsiteY27399" fmla="*/ 439579 h 4687251"/>
              <a:gd name="connsiteX27400" fmla="*/ 5537278 w 8079933"/>
              <a:gd name="connsiteY27400" fmla="*/ 438931 h 4687251"/>
              <a:gd name="connsiteX27401" fmla="*/ 5534240 w 8079933"/>
              <a:gd name="connsiteY27401" fmla="*/ 440013 h 4687251"/>
              <a:gd name="connsiteX27402" fmla="*/ 5529790 w 8079933"/>
              <a:gd name="connsiteY27402" fmla="*/ 440121 h 4687251"/>
              <a:gd name="connsiteX27403" fmla="*/ 5527403 w 8079933"/>
              <a:gd name="connsiteY27403" fmla="*/ 437848 h 4687251"/>
              <a:gd name="connsiteX27404" fmla="*/ 5523822 w 8079933"/>
              <a:gd name="connsiteY27404" fmla="*/ 438605 h 4687251"/>
              <a:gd name="connsiteX27405" fmla="*/ 5522303 w 8079933"/>
              <a:gd name="connsiteY27405" fmla="*/ 436767 h 4687251"/>
              <a:gd name="connsiteX27406" fmla="*/ 5524473 w 8079933"/>
              <a:gd name="connsiteY27406" fmla="*/ 433518 h 4687251"/>
              <a:gd name="connsiteX27407" fmla="*/ 5528054 w 8079933"/>
              <a:gd name="connsiteY27407" fmla="*/ 434060 h 4687251"/>
              <a:gd name="connsiteX27408" fmla="*/ 5530442 w 8079933"/>
              <a:gd name="connsiteY27408" fmla="*/ 432760 h 4687251"/>
              <a:gd name="connsiteX27409" fmla="*/ 5532503 w 8079933"/>
              <a:gd name="connsiteY27409" fmla="*/ 429944 h 4687251"/>
              <a:gd name="connsiteX27410" fmla="*/ 5534348 w 8079933"/>
              <a:gd name="connsiteY27410" fmla="*/ 430052 h 4687251"/>
              <a:gd name="connsiteX27411" fmla="*/ 5535976 w 8079933"/>
              <a:gd name="connsiteY27411" fmla="*/ 432218 h 4687251"/>
              <a:gd name="connsiteX27412" fmla="*/ 5538363 w 8079933"/>
              <a:gd name="connsiteY27412" fmla="*/ 432868 h 4687251"/>
              <a:gd name="connsiteX27413" fmla="*/ 5539991 w 8079933"/>
              <a:gd name="connsiteY27413" fmla="*/ 431892 h 4687251"/>
              <a:gd name="connsiteX27414" fmla="*/ 5539232 w 8079933"/>
              <a:gd name="connsiteY27414" fmla="*/ 429509 h 4687251"/>
              <a:gd name="connsiteX27415" fmla="*/ 5541727 w 8079933"/>
              <a:gd name="connsiteY27415" fmla="*/ 427129 h 4687251"/>
              <a:gd name="connsiteX27416" fmla="*/ 2437067 w 8079933"/>
              <a:gd name="connsiteY27416" fmla="*/ 415434 h 4687251"/>
              <a:gd name="connsiteX27417" fmla="*/ 2444121 w 8079933"/>
              <a:gd name="connsiteY27417" fmla="*/ 418467 h 4687251"/>
              <a:gd name="connsiteX27418" fmla="*/ 2444880 w 8079933"/>
              <a:gd name="connsiteY27418" fmla="*/ 423988 h 4687251"/>
              <a:gd name="connsiteX27419" fmla="*/ 2441625 w 8079933"/>
              <a:gd name="connsiteY27419" fmla="*/ 433299 h 4687251"/>
              <a:gd name="connsiteX27420" fmla="*/ 2440539 w 8079933"/>
              <a:gd name="connsiteY27420" fmla="*/ 436005 h 4687251"/>
              <a:gd name="connsiteX27421" fmla="*/ 2441950 w 8079933"/>
              <a:gd name="connsiteY27421" fmla="*/ 437738 h 4687251"/>
              <a:gd name="connsiteX27422" fmla="*/ 2442818 w 8079933"/>
              <a:gd name="connsiteY27422" fmla="*/ 441419 h 4687251"/>
              <a:gd name="connsiteX27423" fmla="*/ 2440322 w 8079933"/>
              <a:gd name="connsiteY27423" fmla="*/ 441527 h 4687251"/>
              <a:gd name="connsiteX27424" fmla="*/ 2434788 w 8079933"/>
              <a:gd name="connsiteY27424" fmla="*/ 439578 h 4687251"/>
              <a:gd name="connsiteX27425" fmla="*/ 2434245 w 8079933"/>
              <a:gd name="connsiteY27425" fmla="*/ 434923 h 4687251"/>
              <a:gd name="connsiteX27426" fmla="*/ 2434897 w 8079933"/>
              <a:gd name="connsiteY27426" fmla="*/ 426153 h 4687251"/>
              <a:gd name="connsiteX27427" fmla="*/ 2433269 w 8079933"/>
              <a:gd name="connsiteY27427" fmla="*/ 423879 h 4687251"/>
              <a:gd name="connsiteX27428" fmla="*/ 2433160 w 8079933"/>
              <a:gd name="connsiteY27428" fmla="*/ 418574 h 4687251"/>
              <a:gd name="connsiteX27429" fmla="*/ 2432292 w 8079933"/>
              <a:gd name="connsiteY27429" fmla="*/ 417383 h 4687251"/>
              <a:gd name="connsiteX27430" fmla="*/ 2213631 w 8079933"/>
              <a:gd name="connsiteY27430" fmla="*/ 411861 h 4687251"/>
              <a:gd name="connsiteX27431" fmla="*/ 2216453 w 8079933"/>
              <a:gd name="connsiteY27431" fmla="*/ 411970 h 4687251"/>
              <a:gd name="connsiteX27432" fmla="*/ 2217429 w 8079933"/>
              <a:gd name="connsiteY27432" fmla="*/ 414568 h 4687251"/>
              <a:gd name="connsiteX27433" fmla="*/ 2213740 w 8079933"/>
              <a:gd name="connsiteY27433" fmla="*/ 417167 h 4687251"/>
              <a:gd name="connsiteX27434" fmla="*/ 2210158 w 8079933"/>
              <a:gd name="connsiteY27434" fmla="*/ 417708 h 4687251"/>
              <a:gd name="connsiteX27435" fmla="*/ 2204732 w 8079933"/>
              <a:gd name="connsiteY27435" fmla="*/ 418249 h 4687251"/>
              <a:gd name="connsiteX27436" fmla="*/ 2203430 w 8079933"/>
              <a:gd name="connsiteY27436" fmla="*/ 420523 h 4687251"/>
              <a:gd name="connsiteX27437" fmla="*/ 2198221 w 8079933"/>
              <a:gd name="connsiteY27437" fmla="*/ 423988 h 4687251"/>
              <a:gd name="connsiteX27438" fmla="*/ 2193447 w 8079933"/>
              <a:gd name="connsiteY27438" fmla="*/ 421389 h 4687251"/>
              <a:gd name="connsiteX27439" fmla="*/ 2189323 w 8079933"/>
              <a:gd name="connsiteY27439" fmla="*/ 421174 h 4687251"/>
              <a:gd name="connsiteX27440" fmla="*/ 2187369 w 8079933"/>
              <a:gd name="connsiteY27440" fmla="*/ 422580 h 4687251"/>
              <a:gd name="connsiteX27441" fmla="*/ 2185742 w 8079933"/>
              <a:gd name="connsiteY27441" fmla="*/ 421389 h 4687251"/>
              <a:gd name="connsiteX27442" fmla="*/ 2186284 w 8079933"/>
              <a:gd name="connsiteY27442" fmla="*/ 419333 h 4687251"/>
              <a:gd name="connsiteX27443" fmla="*/ 2189648 w 8079933"/>
              <a:gd name="connsiteY27443" fmla="*/ 418142 h 4687251"/>
              <a:gd name="connsiteX27444" fmla="*/ 2193230 w 8079933"/>
              <a:gd name="connsiteY27444" fmla="*/ 417925 h 4687251"/>
              <a:gd name="connsiteX27445" fmla="*/ 2198547 w 8079933"/>
              <a:gd name="connsiteY27445" fmla="*/ 414568 h 4687251"/>
              <a:gd name="connsiteX27446" fmla="*/ 2208422 w 8079933"/>
              <a:gd name="connsiteY27446" fmla="*/ 412511 h 4687251"/>
              <a:gd name="connsiteX27447" fmla="*/ 2210810 w 8079933"/>
              <a:gd name="connsiteY27447" fmla="*/ 413053 h 4687251"/>
              <a:gd name="connsiteX27448" fmla="*/ 1820366 w 8079933"/>
              <a:gd name="connsiteY27448" fmla="*/ 410887 h 4687251"/>
              <a:gd name="connsiteX27449" fmla="*/ 1833388 w 8079933"/>
              <a:gd name="connsiteY27449" fmla="*/ 414784 h 4687251"/>
              <a:gd name="connsiteX27450" fmla="*/ 1832086 w 8079933"/>
              <a:gd name="connsiteY27450" fmla="*/ 419873 h 4687251"/>
              <a:gd name="connsiteX27451" fmla="*/ 1835124 w 8079933"/>
              <a:gd name="connsiteY27451" fmla="*/ 422363 h 4687251"/>
              <a:gd name="connsiteX27452" fmla="*/ 1838271 w 8079933"/>
              <a:gd name="connsiteY27452" fmla="*/ 427776 h 4687251"/>
              <a:gd name="connsiteX27453" fmla="*/ 1850643 w 8079933"/>
              <a:gd name="connsiteY27453" fmla="*/ 434382 h 4687251"/>
              <a:gd name="connsiteX27454" fmla="*/ 1851402 w 8079933"/>
              <a:gd name="connsiteY27454" fmla="*/ 437845 h 4687251"/>
              <a:gd name="connsiteX27455" fmla="*/ 1848255 w 8079933"/>
              <a:gd name="connsiteY27455" fmla="*/ 441202 h 4687251"/>
              <a:gd name="connsiteX27456" fmla="*/ 1852053 w 8079933"/>
              <a:gd name="connsiteY27456" fmla="*/ 440553 h 4687251"/>
              <a:gd name="connsiteX27457" fmla="*/ 1856177 w 8079933"/>
              <a:gd name="connsiteY27457" fmla="*/ 438495 h 4687251"/>
              <a:gd name="connsiteX27458" fmla="*/ 1861060 w 8079933"/>
              <a:gd name="connsiteY27458" fmla="*/ 441202 h 4687251"/>
              <a:gd name="connsiteX27459" fmla="*/ 1859324 w 8079933"/>
              <a:gd name="connsiteY27459" fmla="*/ 447482 h 4687251"/>
              <a:gd name="connsiteX27460" fmla="*/ 1852813 w 8079933"/>
              <a:gd name="connsiteY27460" fmla="*/ 454303 h 4687251"/>
              <a:gd name="connsiteX27461" fmla="*/ 1853138 w 8079933"/>
              <a:gd name="connsiteY27461" fmla="*/ 456794 h 4687251"/>
              <a:gd name="connsiteX27462" fmla="*/ 1862470 w 8079933"/>
              <a:gd name="connsiteY27462" fmla="*/ 450839 h 4687251"/>
              <a:gd name="connsiteX27463" fmla="*/ 1862470 w 8079933"/>
              <a:gd name="connsiteY27463" fmla="*/ 445424 h 4687251"/>
              <a:gd name="connsiteX27464" fmla="*/ 1865835 w 8079933"/>
              <a:gd name="connsiteY27464" fmla="*/ 442285 h 4687251"/>
              <a:gd name="connsiteX27465" fmla="*/ 1872454 w 8079933"/>
              <a:gd name="connsiteY27465" fmla="*/ 442935 h 4687251"/>
              <a:gd name="connsiteX27466" fmla="*/ 1878640 w 8079933"/>
              <a:gd name="connsiteY27466" fmla="*/ 440878 h 4687251"/>
              <a:gd name="connsiteX27467" fmla="*/ 1881352 w 8079933"/>
              <a:gd name="connsiteY27467" fmla="*/ 441960 h 4687251"/>
              <a:gd name="connsiteX27468" fmla="*/ 1882763 w 8079933"/>
              <a:gd name="connsiteY27468" fmla="*/ 446399 h 4687251"/>
              <a:gd name="connsiteX27469" fmla="*/ 1891770 w 8079933"/>
              <a:gd name="connsiteY27469" fmla="*/ 455710 h 4687251"/>
              <a:gd name="connsiteX27470" fmla="*/ 1892747 w 8079933"/>
              <a:gd name="connsiteY27470" fmla="*/ 467404 h 4687251"/>
              <a:gd name="connsiteX27471" fmla="*/ 1890685 w 8079933"/>
              <a:gd name="connsiteY27471" fmla="*/ 471843 h 4687251"/>
              <a:gd name="connsiteX27472" fmla="*/ 1894157 w 8079933"/>
              <a:gd name="connsiteY27472" fmla="*/ 479854 h 4687251"/>
              <a:gd name="connsiteX27473" fmla="*/ 1893832 w 8079933"/>
              <a:gd name="connsiteY27473" fmla="*/ 486676 h 4687251"/>
              <a:gd name="connsiteX27474" fmla="*/ 1892096 w 8079933"/>
              <a:gd name="connsiteY27474" fmla="*/ 489057 h 4687251"/>
              <a:gd name="connsiteX27475" fmla="*/ 1894483 w 8079933"/>
              <a:gd name="connsiteY27475" fmla="*/ 492198 h 4687251"/>
              <a:gd name="connsiteX27476" fmla="*/ 1894483 w 8079933"/>
              <a:gd name="connsiteY27476" fmla="*/ 497070 h 4687251"/>
              <a:gd name="connsiteX27477" fmla="*/ 1895568 w 8079933"/>
              <a:gd name="connsiteY27477" fmla="*/ 501509 h 4687251"/>
              <a:gd name="connsiteX27478" fmla="*/ 1891444 w 8079933"/>
              <a:gd name="connsiteY27478" fmla="*/ 507031 h 4687251"/>
              <a:gd name="connsiteX27479" fmla="*/ 1882438 w 8079933"/>
              <a:gd name="connsiteY27479" fmla="*/ 509088 h 4687251"/>
              <a:gd name="connsiteX27480" fmla="*/ 1878965 w 8079933"/>
              <a:gd name="connsiteY27480" fmla="*/ 511470 h 4687251"/>
              <a:gd name="connsiteX27481" fmla="*/ 1868873 w 8079933"/>
              <a:gd name="connsiteY27481" fmla="*/ 512661 h 4687251"/>
              <a:gd name="connsiteX27482" fmla="*/ 1861711 w 8079933"/>
              <a:gd name="connsiteY27482" fmla="*/ 512012 h 4687251"/>
              <a:gd name="connsiteX27483" fmla="*/ 1848580 w 8079933"/>
              <a:gd name="connsiteY27483" fmla="*/ 517858 h 4687251"/>
              <a:gd name="connsiteX27484" fmla="*/ 1840116 w 8079933"/>
              <a:gd name="connsiteY27484" fmla="*/ 518615 h 4687251"/>
              <a:gd name="connsiteX27485" fmla="*/ 1829807 w 8079933"/>
              <a:gd name="connsiteY27485" fmla="*/ 523379 h 4687251"/>
              <a:gd name="connsiteX27486" fmla="*/ 1825683 w 8079933"/>
              <a:gd name="connsiteY27486" fmla="*/ 523487 h 4687251"/>
              <a:gd name="connsiteX27487" fmla="*/ 1820475 w 8079933"/>
              <a:gd name="connsiteY27487" fmla="*/ 526953 h 4687251"/>
              <a:gd name="connsiteX27488" fmla="*/ 1812228 w 8079933"/>
              <a:gd name="connsiteY27488" fmla="*/ 527277 h 4687251"/>
              <a:gd name="connsiteX27489" fmla="*/ 1808972 w 8079933"/>
              <a:gd name="connsiteY27489" fmla="*/ 529551 h 4687251"/>
              <a:gd name="connsiteX27490" fmla="*/ 1806476 w 8079933"/>
              <a:gd name="connsiteY27490" fmla="*/ 526953 h 4687251"/>
              <a:gd name="connsiteX27491" fmla="*/ 1803655 w 8079933"/>
              <a:gd name="connsiteY27491" fmla="*/ 528360 h 4687251"/>
              <a:gd name="connsiteX27492" fmla="*/ 1795516 w 8079933"/>
              <a:gd name="connsiteY27492" fmla="*/ 530093 h 4687251"/>
              <a:gd name="connsiteX27493" fmla="*/ 1793237 w 8079933"/>
              <a:gd name="connsiteY27493" fmla="*/ 536264 h 4687251"/>
              <a:gd name="connsiteX27494" fmla="*/ 1788896 w 8079933"/>
              <a:gd name="connsiteY27494" fmla="*/ 540920 h 4687251"/>
              <a:gd name="connsiteX27495" fmla="*/ 1786183 w 8079933"/>
              <a:gd name="connsiteY27495" fmla="*/ 541136 h 4687251"/>
              <a:gd name="connsiteX27496" fmla="*/ 1784447 w 8079933"/>
              <a:gd name="connsiteY27496" fmla="*/ 547740 h 4687251"/>
              <a:gd name="connsiteX27497" fmla="*/ 1778262 w 8079933"/>
              <a:gd name="connsiteY27497" fmla="*/ 549148 h 4687251"/>
              <a:gd name="connsiteX27498" fmla="*/ 1772945 w 8079933"/>
              <a:gd name="connsiteY27498" fmla="*/ 554020 h 4687251"/>
              <a:gd name="connsiteX27499" fmla="*/ 1766433 w 8079933"/>
              <a:gd name="connsiteY27499" fmla="*/ 553479 h 4687251"/>
              <a:gd name="connsiteX27500" fmla="*/ 1762310 w 8079933"/>
              <a:gd name="connsiteY27500" fmla="*/ 547308 h 4687251"/>
              <a:gd name="connsiteX27501" fmla="*/ 1759706 w 8079933"/>
              <a:gd name="connsiteY27501" fmla="*/ 553262 h 4687251"/>
              <a:gd name="connsiteX27502" fmla="*/ 1758946 w 8079933"/>
              <a:gd name="connsiteY27502" fmla="*/ 558134 h 4687251"/>
              <a:gd name="connsiteX27503" fmla="*/ 1753520 w 8079933"/>
              <a:gd name="connsiteY27503" fmla="*/ 560191 h 4687251"/>
              <a:gd name="connsiteX27504" fmla="*/ 1747443 w 8079933"/>
              <a:gd name="connsiteY27504" fmla="*/ 566363 h 4687251"/>
              <a:gd name="connsiteX27505" fmla="*/ 1746249 w 8079933"/>
              <a:gd name="connsiteY27505" fmla="*/ 569936 h 4687251"/>
              <a:gd name="connsiteX27506" fmla="*/ 1740715 w 8079933"/>
              <a:gd name="connsiteY27506" fmla="*/ 575999 h 4687251"/>
              <a:gd name="connsiteX27507" fmla="*/ 1741583 w 8079933"/>
              <a:gd name="connsiteY27507" fmla="*/ 579248 h 4687251"/>
              <a:gd name="connsiteX27508" fmla="*/ 1734638 w 8079933"/>
              <a:gd name="connsiteY27508" fmla="*/ 585743 h 4687251"/>
              <a:gd name="connsiteX27509" fmla="*/ 1730406 w 8079933"/>
              <a:gd name="connsiteY27509" fmla="*/ 590724 h 4687251"/>
              <a:gd name="connsiteX27510" fmla="*/ 1723352 w 8079933"/>
              <a:gd name="connsiteY27510" fmla="*/ 590291 h 4687251"/>
              <a:gd name="connsiteX27511" fmla="*/ 1717167 w 8079933"/>
              <a:gd name="connsiteY27511" fmla="*/ 593323 h 4687251"/>
              <a:gd name="connsiteX27512" fmla="*/ 1713151 w 8079933"/>
              <a:gd name="connsiteY27512" fmla="*/ 593539 h 4687251"/>
              <a:gd name="connsiteX27513" fmla="*/ 1710438 w 8079933"/>
              <a:gd name="connsiteY27513" fmla="*/ 589209 h 4687251"/>
              <a:gd name="connsiteX27514" fmla="*/ 1714020 w 8079933"/>
              <a:gd name="connsiteY27514" fmla="*/ 586285 h 4687251"/>
              <a:gd name="connsiteX27515" fmla="*/ 1713694 w 8079933"/>
              <a:gd name="connsiteY27515" fmla="*/ 580438 h 4687251"/>
              <a:gd name="connsiteX27516" fmla="*/ 1711090 w 8079933"/>
              <a:gd name="connsiteY27516" fmla="*/ 577731 h 4687251"/>
              <a:gd name="connsiteX27517" fmla="*/ 1707075 w 8079933"/>
              <a:gd name="connsiteY27517" fmla="*/ 581305 h 4687251"/>
              <a:gd name="connsiteX27518" fmla="*/ 1707292 w 8079933"/>
              <a:gd name="connsiteY27518" fmla="*/ 583578 h 4687251"/>
              <a:gd name="connsiteX27519" fmla="*/ 1704362 w 8079933"/>
              <a:gd name="connsiteY27519" fmla="*/ 584878 h 4687251"/>
              <a:gd name="connsiteX27520" fmla="*/ 1697308 w 8079933"/>
              <a:gd name="connsiteY27520" fmla="*/ 591266 h 4687251"/>
              <a:gd name="connsiteX27521" fmla="*/ 1691232 w 8079933"/>
              <a:gd name="connsiteY27521" fmla="*/ 592781 h 4687251"/>
              <a:gd name="connsiteX27522" fmla="*/ 1686999 w 8079933"/>
              <a:gd name="connsiteY27522" fmla="*/ 592023 h 4687251"/>
              <a:gd name="connsiteX27523" fmla="*/ 1682007 w 8079933"/>
              <a:gd name="connsiteY27523" fmla="*/ 593431 h 4687251"/>
              <a:gd name="connsiteX27524" fmla="*/ 1678209 w 8079933"/>
              <a:gd name="connsiteY27524" fmla="*/ 597003 h 4687251"/>
              <a:gd name="connsiteX27525" fmla="*/ 1675930 w 8079933"/>
              <a:gd name="connsiteY27525" fmla="*/ 595921 h 4687251"/>
              <a:gd name="connsiteX27526" fmla="*/ 1672132 w 8079933"/>
              <a:gd name="connsiteY27526" fmla="*/ 596029 h 4687251"/>
              <a:gd name="connsiteX27527" fmla="*/ 1672567 w 8079933"/>
              <a:gd name="connsiteY27527" fmla="*/ 593756 h 4687251"/>
              <a:gd name="connsiteX27528" fmla="*/ 1672567 w 8079933"/>
              <a:gd name="connsiteY27528" fmla="*/ 584878 h 4687251"/>
              <a:gd name="connsiteX27529" fmla="*/ 1676798 w 8079933"/>
              <a:gd name="connsiteY27529" fmla="*/ 577190 h 4687251"/>
              <a:gd name="connsiteX27530" fmla="*/ 1674736 w 8079933"/>
              <a:gd name="connsiteY27530" fmla="*/ 571344 h 4687251"/>
              <a:gd name="connsiteX27531" fmla="*/ 1676473 w 8079933"/>
              <a:gd name="connsiteY27531" fmla="*/ 564847 h 4687251"/>
              <a:gd name="connsiteX27532" fmla="*/ 1677124 w 8079933"/>
              <a:gd name="connsiteY27532" fmla="*/ 559326 h 4687251"/>
              <a:gd name="connsiteX27533" fmla="*/ 1673977 w 8079933"/>
              <a:gd name="connsiteY27533" fmla="*/ 556620 h 4687251"/>
              <a:gd name="connsiteX27534" fmla="*/ 1670179 w 8079933"/>
              <a:gd name="connsiteY27534" fmla="*/ 543843 h 4687251"/>
              <a:gd name="connsiteX27535" fmla="*/ 1675713 w 8079933"/>
              <a:gd name="connsiteY27535" fmla="*/ 545575 h 4687251"/>
              <a:gd name="connsiteX27536" fmla="*/ 1675713 w 8079933"/>
              <a:gd name="connsiteY27536" fmla="*/ 541461 h 4687251"/>
              <a:gd name="connsiteX27537" fmla="*/ 1667466 w 8079933"/>
              <a:gd name="connsiteY27537" fmla="*/ 541461 h 4687251"/>
              <a:gd name="connsiteX27538" fmla="*/ 1659544 w 8079933"/>
              <a:gd name="connsiteY27538" fmla="*/ 538646 h 4687251"/>
              <a:gd name="connsiteX27539" fmla="*/ 1659219 w 8079933"/>
              <a:gd name="connsiteY27539" fmla="*/ 534532 h 4687251"/>
              <a:gd name="connsiteX27540" fmla="*/ 1663017 w 8079933"/>
              <a:gd name="connsiteY27540" fmla="*/ 535939 h 4687251"/>
              <a:gd name="connsiteX27541" fmla="*/ 1667792 w 8079933"/>
              <a:gd name="connsiteY27541" fmla="*/ 532150 h 4687251"/>
              <a:gd name="connsiteX27542" fmla="*/ 1673977 w 8079933"/>
              <a:gd name="connsiteY27542" fmla="*/ 529010 h 4687251"/>
              <a:gd name="connsiteX27543" fmla="*/ 1674736 w 8079933"/>
              <a:gd name="connsiteY27543" fmla="*/ 525220 h 4687251"/>
              <a:gd name="connsiteX27544" fmla="*/ 1677450 w 8079933"/>
              <a:gd name="connsiteY27544" fmla="*/ 525220 h 4687251"/>
              <a:gd name="connsiteX27545" fmla="*/ 1681247 w 8079933"/>
              <a:gd name="connsiteY27545" fmla="*/ 520781 h 4687251"/>
              <a:gd name="connsiteX27546" fmla="*/ 1685372 w 8079933"/>
              <a:gd name="connsiteY27546" fmla="*/ 520132 h 4687251"/>
              <a:gd name="connsiteX27547" fmla="*/ 1687759 w 8079933"/>
              <a:gd name="connsiteY27547" fmla="*/ 513202 h 4687251"/>
              <a:gd name="connsiteX27548" fmla="*/ 1696766 w 8079933"/>
              <a:gd name="connsiteY27548" fmla="*/ 511144 h 4687251"/>
              <a:gd name="connsiteX27549" fmla="*/ 1697525 w 8079933"/>
              <a:gd name="connsiteY27549" fmla="*/ 509088 h 4687251"/>
              <a:gd name="connsiteX27550" fmla="*/ 1700564 w 8079933"/>
              <a:gd name="connsiteY27550" fmla="*/ 507681 h 4687251"/>
              <a:gd name="connsiteX27551" fmla="*/ 1704687 w 8079933"/>
              <a:gd name="connsiteY27551" fmla="*/ 501509 h 4687251"/>
              <a:gd name="connsiteX27552" fmla="*/ 1705447 w 8079933"/>
              <a:gd name="connsiteY27552" fmla="*/ 493605 h 4687251"/>
              <a:gd name="connsiteX27553" fmla="*/ 1706749 w 8079933"/>
              <a:gd name="connsiteY27553" fmla="*/ 496312 h 4687251"/>
              <a:gd name="connsiteX27554" fmla="*/ 1719879 w 8079933"/>
              <a:gd name="connsiteY27554" fmla="*/ 498044 h 4687251"/>
              <a:gd name="connsiteX27555" fmla="*/ 1720206 w 8079933"/>
              <a:gd name="connsiteY27555" fmla="*/ 491548 h 4687251"/>
              <a:gd name="connsiteX27556" fmla="*/ 1717493 w 8079933"/>
              <a:gd name="connsiteY27556" fmla="*/ 484618 h 4687251"/>
              <a:gd name="connsiteX27557" fmla="*/ 1717818 w 8079933"/>
              <a:gd name="connsiteY27557" fmla="*/ 481154 h 4687251"/>
              <a:gd name="connsiteX27558" fmla="*/ 1722701 w 8079933"/>
              <a:gd name="connsiteY27558" fmla="*/ 479422 h 4687251"/>
              <a:gd name="connsiteX27559" fmla="*/ 1733336 w 8079933"/>
              <a:gd name="connsiteY27559" fmla="*/ 471518 h 4687251"/>
              <a:gd name="connsiteX27560" fmla="*/ 1737894 w 8079933"/>
              <a:gd name="connsiteY27560" fmla="*/ 465022 h 4687251"/>
              <a:gd name="connsiteX27561" fmla="*/ 1747551 w 8079933"/>
              <a:gd name="connsiteY27561" fmla="*/ 461557 h 4687251"/>
              <a:gd name="connsiteX27562" fmla="*/ 1749613 w 8079933"/>
              <a:gd name="connsiteY27562" fmla="*/ 457118 h 4687251"/>
              <a:gd name="connsiteX27563" fmla="*/ 1755799 w 8079933"/>
              <a:gd name="connsiteY27563" fmla="*/ 450839 h 4687251"/>
              <a:gd name="connsiteX27564" fmla="*/ 1761333 w 8079933"/>
              <a:gd name="connsiteY27564" fmla="*/ 450839 h 4687251"/>
              <a:gd name="connsiteX27565" fmla="*/ 1764372 w 8079933"/>
              <a:gd name="connsiteY27565" fmla="*/ 447157 h 4687251"/>
              <a:gd name="connsiteX27566" fmla="*/ 1761007 w 8079933"/>
              <a:gd name="connsiteY27566" fmla="*/ 442610 h 4687251"/>
              <a:gd name="connsiteX27567" fmla="*/ 1762310 w 8079933"/>
              <a:gd name="connsiteY27567" fmla="*/ 432974 h 4687251"/>
              <a:gd name="connsiteX27568" fmla="*/ 1762310 w 8079933"/>
              <a:gd name="connsiteY27568" fmla="*/ 426478 h 4687251"/>
              <a:gd name="connsiteX27569" fmla="*/ 1764805 w 8079933"/>
              <a:gd name="connsiteY27569" fmla="*/ 421930 h 4687251"/>
              <a:gd name="connsiteX27570" fmla="*/ 1762744 w 8079933"/>
              <a:gd name="connsiteY27570" fmla="*/ 419548 h 4687251"/>
              <a:gd name="connsiteX27571" fmla="*/ 1764372 w 8079933"/>
              <a:gd name="connsiteY27571" fmla="*/ 415759 h 4687251"/>
              <a:gd name="connsiteX27572" fmla="*/ 1771642 w 8079933"/>
              <a:gd name="connsiteY27572" fmla="*/ 413702 h 4687251"/>
              <a:gd name="connsiteX27573" fmla="*/ 1775440 w 8079933"/>
              <a:gd name="connsiteY27573" fmla="*/ 414784 h 4687251"/>
              <a:gd name="connsiteX27574" fmla="*/ 1789981 w 8079933"/>
              <a:gd name="connsiteY27574" fmla="*/ 413702 h 4687251"/>
              <a:gd name="connsiteX27575" fmla="*/ 1793346 w 8079933"/>
              <a:gd name="connsiteY27575" fmla="*/ 415434 h 4687251"/>
              <a:gd name="connsiteX27576" fmla="*/ 1809298 w 8079933"/>
              <a:gd name="connsiteY27576" fmla="*/ 415434 h 4687251"/>
              <a:gd name="connsiteX27577" fmla="*/ 5499407 w 8079933"/>
              <a:gd name="connsiteY27577" fmla="*/ 407425 h 4687251"/>
              <a:gd name="connsiteX27578" fmla="*/ 5502553 w 8079933"/>
              <a:gd name="connsiteY27578" fmla="*/ 409697 h 4687251"/>
              <a:gd name="connsiteX27579" fmla="*/ 5502988 w 8079933"/>
              <a:gd name="connsiteY27579" fmla="*/ 412188 h 4687251"/>
              <a:gd name="connsiteX27580" fmla="*/ 5497995 w 8079933"/>
              <a:gd name="connsiteY27580" fmla="*/ 414029 h 4687251"/>
              <a:gd name="connsiteX27581" fmla="*/ 5493546 w 8079933"/>
              <a:gd name="connsiteY27581" fmla="*/ 414462 h 4687251"/>
              <a:gd name="connsiteX27582" fmla="*/ 5492244 w 8079933"/>
              <a:gd name="connsiteY27582" fmla="*/ 412405 h 4687251"/>
              <a:gd name="connsiteX27583" fmla="*/ 5497345 w 8079933"/>
              <a:gd name="connsiteY27583" fmla="*/ 410564 h 4687251"/>
              <a:gd name="connsiteX27584" fmla="*/ 2190843 w 8079933"/>
              <a:gd name="connsiteY27584" fmla="*/ 403524 h 4687251"/>
              <a:gd name="connsiteX27585" fmla="*/ 2196702 w 8079933"/>
              <a:gd name="connsiteY27585" fmla="*/ 403957 h 4687251"/>
              <a:gd name="connsiteX27586" fmla="*/ 2198330 w 8079933"/>
              <a:gd name="connsiteY27586" fmla="*/ 405906 h 4687251"/>
              <a:gd name="connsiteX27587" fmla="*/ 2202888 w 8079933"/>
              <a:gd name="connsiteY27587" fmla="*/ 404716 h 4687251"/>
              <a:gd name="connsiteX27588" fmla="*/ 2213522 w 8079933"/>
              <a:gd name="connsiteY27588" fmla="*/ 403524 h 4687251"/>
              <a:gd name="connsiteX27589" fmla="*/ 2216886 w 8079933"/>
              <a:gd name="connsiteY27589" fmla="*/ 404390 h 4687251"/>
              <a:gd name="connsiteX27590" fmla="*/ 2216778 w 8079933"/>
              <a:gd name="connsiteY27590" fmla="*/ 407531 h 4687251"/>
              <a:gd name="connsiteX27591" fmla="*/ 2212437 w 8079933"/>
              <a:gd name="connsiteY27591" fmla="*/ 408180 h 4687251"/>
              <a:gd name="connsiteX27592" fmla="*/ 2209181 w 8079933"/>
              <a:gd name="connsiteY27592" fmla="*/ 409696 h 4687251"/>
              <a:gd name="connsiteX27593" fmla="*/ 2207445 w 8079933"/>
              <a:gd name="connsiteY27593" fmla="*/ 408288 h 4687251"/>
              <a:gd name="connsiteX27594" fmla="*/ 2203213 w 8079933"/>
              <a:gd name="connsiteY27594" fmla="*/ 408288 h 4687251"/>
              <a:gd name="connsiteX27595" fmla="*/ 2198981 w 8079933"/>
              <a:gd name="connsiteY27595" fmla="*/ 410345 h 4687251"/>
              <a:gd name="connsiteX27596" fmla="*/ 2188021 w 8079933"/>
              <a:gd name="connsiteY27596" fmla="*/ 407206 h 4687251"/>
              <a:gd name="connsiteX27597" fmla="*/ 2187153 w 8079933"/>
              <a:gd name="connsiteY27597" fmla="*/ 404932 h 4687251"/>
              <a:gd name="connsiteX27598" fmla="*/ 5520025 w 8079933"/>
              <a:gd name="connsiteY27598" fmla="*/ 402010 h 4687251"/>
              <a:gd name="connsiteX27599" fmla="*/ 5522846 w 8079933"/>
              <a:gd name="connsiteY27599" fmla="*/ 402010 h 4687251"/>
              <a:gd name="connsiteX27600" fmla="*/ 5522521 w 8079933"/>
              <a:gd name="connsiteY27600" fmla="*/ 407316 h 4687251"/>
              <a:gd name="connsiteX27601" fmla="*/ 5524258 w 8079933"/>
              <a:gd name="connsiteY27601" fmla="*/ 408723 h 4687251"/>
              <a:gd name="connsiteX27602" fmla="*/ 5523823 w 8079933"/>
              <a:gd name="connsiteY27602" fmla="*/ 412405 h 4687251"/>
              <a:gd name="connsiteX27603" fmla="*/ 5521761 w 8079933"/>
              <a:gd name="connsiteY27603" fmla="*/ 414786 h 4687251"/>
              <a:gd name="connsiteX27604" fmla="*/ 5520568 w 8079933"/>
              <a:gd name="connsiteY27604" fmla="*/ 410348 h 4687251"/>
              <a:gd name="connsiteX27605" fmla="*/ 5518832 w 8079933"/>
              <a:gd name="connsiteY27605" fmla="*/ 408940 h 4687251"/>
              <a:gd name="connsiteX27606" fmla="*/ 5515901 w 8079933"/>
              <a:gd name="connsiteY27606" fmla="*/ 411647 h 4687251"/>
              <a:gd name="connsiteX27607" fmla="*/ 5513297 w 8079933"/>
              <a:gd name="connsiteY27607" fmla="*/ 412620 h 4687251"/>
              <a:gd name="connsiteX27608" fmla="*/ 5512537 w 8079933"/>
              <a:gd name="connsiteY27608" fmla="*/ 410889 h 4687251"/>
              <a:gd name="connsiteX27609" fmla="*/ 5516444 w 8079933"/>
              <a:gd name="connsiteY27609" fmla="*/ 407857 h 4687251"/>
              <a:gd name="connsiteX27610" fmla="*/ 5517746 w 8079933"/>
              <a:gd name="connsiteY27610" fmla="*/ 404176 h 4687251"/>
              <a:gd name="connsiteX27611" fmla="*/ 2681446 w 8079933"/>
              <a:gd name="connsiteY27611" fmla="*/ 397678 h 4687251"/>
              <a:gd name="connsiteX27612" fmla="*/ 2683833 w 8079933"/>
              <a:gd name="connsiteY27612" fmla="*/ 401684 h 4687251"/>
              <a:gd name="connsiteX27613" fmla="*/ 2679493 w 8079933"/>
              <a:gd name="connsiteY27613" fmla="*/ 401900 h 4687251"/>
              <a:gd name="connsiteX27614" fmla="*/ 2677648 w 8079933"/>
              <a:gd name="connsiteY27614" fmla="*/ 398870 h 4687251"/>
              <a:gd name="connsiteX27615" fmla="*/ 4175502 w 8079933"/>
              <a:gd name="connsiteY27615" fmla="*/ 395513 h 4687251"/>
              <a:gd name="connsiteX27616" fmla="*/ 4177238 w 8079933"/>
              <a:gd name="connsiteY27616" fmla="*/ 396271 h 4687251"/>
              <a:gd name="connsiteX27617" fmla="*/ 4181688 w 8079933"/>
              <a:gd name="connsiteY27617" fmla="*/ 402334 h 4687251"/>
              <a:gd name="connsiteX27618" fmla="*/ 4182664 w 8079933"/>
              <a:gd name="connsiteY27618" fmla="*/ 407855 h 4687251"/>
              <a:gd name="connsiteX27619" fmla="*/ 4184943 w 8079933"/>
              <a:gd name="connsiteY27619" fmla="*/ 409480 h 4687251"/>
              <a:gd name="connsiteX27620" fmla="*/ 4187005 w 8079933"/>
              <a:gd name="connsiteY27620" fmla="*/ 405799 h 4687251"/>
              <a:gd name="connsiteX27621" fmla="*/ 4190369 w 8079933"/>
              <a:gd name="connsiteY27621" fmla="*/ 403634 h 4687251"/>
              <a:gd name="connsiteX27622" fmla="*/ 4194058 w 8079933"/>
              <a:gd name="connsiteY27622" fmla="*/ 406232 h 4687251"/>
              <a:gd name="connsiteX27623" fmla="*/ 4198725 w 8079933"/>
              <a:gd name="connsiteY27623" fmla="*/ 412945 h 4687251"/>
              <a:gd name="connsiteX27624" fmla="*/ 4200678 w 8079933"/>
              <a:gd name="connsiteY27624" fmla="*/ 418250 h 4687251"/>
              <a:gd name="connsiteX27625" fmla="*/ 4200895 w 8079933"/>
              <a:gd name="connsiteY27625" fmla="*/ 423556 h 4687251"/>
              <a:gd name="connsiteX27626" fmla="*/ 4199050 w 8079933"/>
              <a:gd name="connsiteY27626" fmla="*/ 426045 h 4687251"/>
              <a:gd name="connsiteX27627" fmla="*/ 4198833 w 8079933"/>
              <a:gd name="connsiteY27627" fmla="*/ 436223 h 4687251"/>
              <a:gd name="connsiteX27628" fmla="*/ 4198942 w 8079933"/>
              <a:gd name="connsiteY27628" fmla="*/ 442179 h 4687251"/>
              <a:gd name="connsiteX27629" fmla="*/ 4198616 w 8079933"/>
              <a:gd name="connsiteY27629" fmla="*/ 444560 h 4687251"/>
              <a:gd name="connsiteX27630" fmla="*/ 4200244 w 8079933"/>
              <a:gd name="connsiteY27630" fmla="*/ 445426 h 4687251"/>
              <a:gd name="connsiteX27631" fmla="*/ 4203283 w 8079933"/>
              <a:gd name="connsiteY27631" fmla="*/ 442611 h 4687251"/>
              <a:gd name="connsiteX27632" fmla="*/ 4203174 w 8079933"/>
              <a:gd name="connsiteY27632" fmla="*/ 436764 h 4687251"/>
              <a:gd name="connsiteX27633" fmla="*/ 4202306 w 8079933"/>
              <a:gd name="connsiteY27633" fmla="*/ 427996 h 4687251"/>
              <a:gd name="connsiteX27634" fmla="*/ 4203499 w 8079933"/>
              <a:gd name="connsiteY27634" fmla="*/ 423664 h 4687251"/>
              <a:gd name="connsiteX27635" fmla="*/ 4206647 w 8079933"/>
              <a:gd name="connsiteY27635" fmla="*/ 421281 h 4687251"/>
              <a:gd name="connsiteX27636" fmla="*/ 4212615 w 8079933"/>
              <a:gd name="connsiteY27636" fmla="*/ 426370 h 4687251"/>
              <a:gd name="connsiteX27637" fmla="*/ 4216196 w 8079933"/>
              <a:gd name="connsiteY27637" fmla="*/ 435248 h 4687251"/>
              <a:gd name="connsiteX27638" fmla="*/ 4219235 w 8079933"/>
              <a:gd name="connsiteY27638" fmla="*/ 446076 h 4687251"/>
              <a:gd name="connsiteX27639" fmla="*/ 4219343 w 8079933"/>
              <a:gd name="connsiteY27639" fmla="*/ 449215 h 4687251"/>
              <a:gd name="connsiteX27640" fmla="*/ 4222164 w 8079933"/>
              <a:gd name="connsiteY27640" fmla="*/ 452356 h 4687251"/>
              <a:gd name="connsiteX27641" fmla="*/ 4227047 w 8079933"/>
              <a:gd name="connsiteY27641" fmla="*/ 452680 h 4687251"/>
              <a:gd name="connsiteX27642" fmla="*/ 4229435 w 8079933"/>
              <a:gd name="connsiteY27642" fmla="*/ 453872 h 4687251"/>
              <a:gd name="connsiteX27643" fmla="*/ 4235078 w 8079933"/>
              <a:gd name="connsiteY27643" fmla="*/ 460583 h 4687251"/>
              <a:gd name="connsiteX27644" fmla="*/ 4237900 w 8079933"/>
              <a:gd name="connsiteY27644" fmla="*/ 462966 h 4687251"/>
              <a:gd name="connsiteX27645" fmla="*/ 4244085 w 8079933"/>
              <a:gd name="connsiteY27645" fmla="*/ 469462 h 4687251"/>
              <a:gd name="connsiteX27646" fmla="*/ 4249185 w 8079933"/>
              <a:gd name="connsiteY27646" fmla="*/ 472277 h 4687251"/>
              <a:gd name="connsiteX27647" fmla="*/ 4259494 w 8079933"/>
              <a:gd name="connsiteY27647" fmla="*/ 474876 h 4687251"/>
              <a:gd name="connsiteX27648" fmla="*/ 4262858 w 8079933"/>
              <a:gd name="connsiteY27648" fmla="*/ 475850 h 4687251"/>
              <a:gd name="connsiteX27649" fmla="*/ 4263075 w 8079933"/>
              <a:gd name="connsiteY27649" fmla="*/ 481264 h 4687251"/>
              <a:gd name="connsiteX27650" fmla="*/ 4261556 w 8079933"/>
              <a:gd name="connsiteY27650" fmla="*/ 483862 h 4687251"/>
              <a:gd name="connsiteX27651" fmla="*/ 4260796 w 8079933"/>
              <a:gd name="connsiteY27651" fmla="*/ 487003 h 4687251"/>
              <a:gd name="connsiteX27652" fmla="*/ 4258843 w 8079933"/>
              <a:gd name="connsiteY27652" fmla="*/ 487544 h 4687251"/>
              <a:gd name="connsiteX27653" fmla="*/ 4256238 w 8079933"/>
              <a:gd name="connsiteY27653" fmla="*/ 483104 h 4687251"/>
              <a:gd name="connsiteX27654" fmla="*/ 4251464 w 8079933"/>
              <a:gd name="connsiteY27654" fmla="*/ 485270 h 4687251"/>
              <a:gd name="connsiteX27655" fmla="*/ 4248100 w 8079933"/>
              <a:gd name="connsiteY27655" fmla="*/ 484729 h 4687251"/>
              <a:gd name="connsiteX27656" fmla="*/ 4241589 w 8079933"/>
              <a:gd name="connsiteY27656" fmla="*/ 489925 h 4687251"/>
              <a:gd name="connsiteX27657" fmla="*/ 4237032 w 8079933"/>
              <a:gd name="connsiteY27657" fmla="*/ 490250 h 4687251"/>
              <a:gd name="connsiteX27658" fmla="*/ 4236272 w 8079933"/>
              <a:gd name="connsiteY27658" fmla="*/ 491983 h 4687251"/>
              <a:gd name="connsiteX27659" fmla="*/ 4237791 w 8079933"/>
              <a:gd name="connsiteY27659" fmla="*/ 494582 h 4687251"/>
              <a:gd name="connsiteX27660" fmla="*/ 4237574 w 8079933"/>
              <a:gd name="connsiteY27660" fmla="*/ 497287 h 4687251"/>
              <a:gd name="connsiteX27661" fmla="*/ 4232365 w 8079933"/>
              <a:gd name="connsiteY27661" fmla="*/ 501727 h 4687251"/>
              <a:gd name="connsiteX27662" fmla="*/ 4231497 w 8079933"/>
              <a:gd name="connsiteY27662" fmla="*/ 504217 h 4687251"/>
              <a:gd name="connsiteX27663" fmla="*/ 4232799 w 8079933"/>
              <a:gd name="connsiteY27663" fmla="*/ 509955 h 4687251"/>
              <a:gd name="connsiteX27664" fmla="*/ 4233016 w 8079933"/>
              <a:gd name="connsiteY27664" fmla="*/ 518619 h 4687251"/>
              <a:gd name="connsiteX27665" fmla="*/ 4232040 w 8079933"/>
              <a:gd name="connsiteY27665" fmla="*/ 522406 h 4687251"/>
              <a:gd name="connsiteX27666" fmla="*/ 4232473 w 8079933"/>
              <a:gd name="connsiteY27666" fmla="*/ 527820 h 4687251"/>
              <a:gd name="connsiteX27667" fmla="*/ 4233559 w 8079933"/>
              <a:gd name="connsiteY27667" fmla="*/ 529661 h 4687251"/>
              <a:gd name="connsiteX27668" fmla="*/ 4231388 w 8079933"/>
              <a:gd name="connsiteY27668" fmla="*/ 533125 h 4687251"/>
              <a:gd name="connsiteX27669" fmla="*/ 4227047 w 8079933"/>
              <a:gd name="connsiteY27669" fmla="*/ 531285 h 4687251"/>
              <a:gd name="connsiteX27670" fmla="*/ 4225202 w 8079933"/>
              <a:gd name="connsiteY27670" fmla="*/ 532584 h 4687251"/>
              <a:gd name="connsiteX27671" fmla="*/ 4224769 w 8079933"/>
              <a:gd name="connsiteY27671" fmla="*/ 537673 h 4687251"/>
              <a:gd name="connsiteX27672" fmla="*/ 4228133 w 8079933"/>
              <a:gd name="connsiteY27672" fmla="*/ 543520 h 4687251"/>
              <a:gd name="connsiteX27673" fmla="*/ 4228133 w 8079933"/>
              <a:gd name="connsiteY27673" fmla="*/ 548608 h 4687251"/>
              <a:gd name="connsiteX27674" fmla="*/ 4226722 w 8079933"/>
              <a:gd name="connsiteY27674" fmla="*/ 553805 h 4687251"/>
              <a:gd name="connsiteX27675" fmla="*/ 4226831 w 8079933"/>
              <a:gd name="connsiteY27675" fmla="*/ 560085 h 4687251"/>
              <a:gd name="connsiteX27676" fmla="*/ 4226397 w 8079933"/>
              <a:gd name="connsiteY27676" fmla="*/ 564740 h 4687251"/>
              <a:gd name="connsiteX27677" fmla="*/ 4224552 w 8079933"/>
              <a:gd name="connsiteY27677" fmla="*/ 564849 h 4687251"/>
              <a:gd name="connsiteX27678" fmla="*/ 4219560 w 8079933"/>
              <a:gd name="connsiteY27678" fmla="*/ 564307 h 4687251"/>
              <a:gd name="connsiteX27679" fmla="*/ 4215654 w 8079933"/>
              <a:gd name="connsiteY27679" fmla="*/ 567664 h 4687251"/>
              <a:gd name="connsiteX27680" fmla="*/ 4219994 w 8079933"/>
              <a:gd name="connsiteY27680" fmla="*/ 569830 h 4687251"/>
              <a:gd name="connsiteX27681" fmla="*/ 4219235 w 8079933"/>
              <a:gd name="connsiteY27681" fmla="*/ 571670 h 4687251"/>
              <a:gd name="connsiteX27682" fmla="*/ 4216196 w 8079933"/>
              <a:gd name="connsiteY27682" fmla="*/ 574701 h 4687251"/>
              <a:gd name="connsiteX27683" fmla="*/ 4216196 w 8079933"/>
              <a:gd name="connsiteY27683" fmla="*/ 578167 h 4687251"/>
              <a:gd name="connsiteX27684" fmla="*/ 4215545 w 8079933"/>
              <a:gd name="connsiteY27684" fmla="*/ 582173 h 4687251"/>
              <a:gd name="connsiteX27685" fmla="*/ 4215111 w 8079933"/>
              <a:gd name="connsiteY27685" fmla="*/ 597006 h 4687251"/>
              <a:gd name="connsiteX27686" fmla="*/ 4213266 w 8079933"/>
              <a:gd name="connsiteY27686" fmla="*/ 600903 h 4687251"/>
              <a:gd name="connsiteX27687" fmla="*/ 4211095 w 8079933"/>
              <a:gd name="connsiteY27687" fmla="*/ 603826 h 4687251"/>
              <a:gd name="connsiteX27688" fmla="*/ 4211747 w 8079933"/>
              <a:gd name="connsiteY27688" fmla="*/ 609240 h 4687251"/>
              <a:gd name="connsiteX27689" fmla="*/ 4213808 w 8079933"/>
              <a:gd name="connsiteY27689" fmla="*/ 615303 h 4687251"/>
              <a:gd name="connsiteX27690" fmla="*/ 4213808 w 8079933"/>
              <a:gd name="connsiteY27690" fmla="*/ 618335 h 4687251"/>
              <a:gd name="connsiteX27691" fmla="*/ 4212615 w 8079933"/>
              <a:gd name="connsiteY27691" fmla="*/ 619526 h 4687251"/>
              <a:gd name="connsiteX27692" fmla="*/ 4211964 w 8079933"/>
              <a:gd name="connsiteY27692" fmla="*/ 624614 h 4687251"/>
              <a:gd name="connsiteX27693" fmla="*/ 4209034 w 8079933"/>
              <a:gd name="connsiteY27693" fmla="*/ 628837 h 4687251"/>
              <a:gd name="connsiteX27694" fmla="*/ 4205344 w 8079933"/>
              <a:gd name="connsiteY27694" fmla="*/ 629487 h 4687251"/>
              <a:gd name="connsiteX27695" fmla="*/ 4202740 w 8079933"/>
              <a:gd name="connsiteY27695" fmla="*/ 626671 h 4687251"/>
              <a:gd name="connsiteX27696" fmla="*/ 4200895 w 8079933"/>
              <a:gd name="connsiteY27696" fmla="*/ 627322 h 4687251"/>
              <a:gd name="connsiteX27697" fmla="*/ 4199593 w 8079933"/>
              <a:gd name="connsiteY27697" fmla="*/ 629487 h 4687251"/>
              <a:gd name="connsiteX27698" fmla="*/ 4197965 w 8079933"/>
              <a:gd name="connsiteY27698" fmla="*/ 629811 h 4687251"/>
              <a:gd name="connsiteX27699" fmla="*/ 4197206 w 8079933"/>
              <a:gd name="connsiteY27699" fmla="*/ 626346 h 4687251"/>
              <a:gd name="connsiteX27700" fmla="*/ 4197640 w 8079933"/>
              <a:gd name="connsiteY27700" fmla="*/ 620175 h 4687251"/>
              <a:gd name="connsiteX27701" fmla="*/ 4196012 w 8079933"/>
              <a:gd name="connsiteY27701" fmla="*/ 617793 h 4687251"/>
              <a:gd name="connsiteX27702" fmla="*/ 4193625 w 8079933"/>
              <a:gd name="connsiteY27702" fmla="*/ 616602 h 4687251"/>
              <a:gd name="connsiteX27703" fmla="*/ 4186245 w 8079933"/>
              <a:gd name="connsiteY27703" fmla="*/ 609348 h 4687251"/>
              <a:gd name="connsiteX27704" fmla="*/ 4186245 w 8079933"/>
              <a:gd name="connsiteY27704" fmla="*/ 606966 h 4687251"/>
              <a:gd name="connsiteX27705" fmla="*/ 4190369 w 8079933"/>
              <a:gd name="connsiteY27705" fmla="*/ 603611 h 4687251"/>
              <a:gd name="connsiteX27706" fmla="*/ 4192431 w 8079933"/>
              <a:gd name="connsiteY27706" fmla="*/ 603502 h 4687251"/>
              <a:gd name="connsiteX27707" fmla="*/ 4194167 w 8079933"/>
              <a:gd name="connsiteY27707" fmla="*/ 601553 h 4687251"/>
              <a:gd name="connsiteX27708" fmla="*/ 4194602 w 8079933"/>
              <a:gd name="connsiteY27708" fmla="*/ 598630 h 4687251"/>
              <a:gd name="connsiteX27709" fmla="*/ 4193082 w 8079933"/>
              <a:gd name="connsiteY27709" fmla="*/ 597655 h 4687251"/>
              <a:gd name="connsiteX27710" fmla="*/ 4190477 w 8079933"/>
              <a:gd name="connsiteY27710" fmla="*/ 597980 h 4687251"/>
              <a:gd name="connsiteX27711" fmla="*/ 4188959 w 8079933"/>
              <a:gd name="connsiteY27711" fmla="*/ 596032 h 4687251"/>
              <a:gd name="connsiteX27712" fmla="*/ 4187114 w 8079933"/>
              <a:gd name="connsiteY27712" fmla="*/ 596032 h 4687251"/>
              <a:gd name="connsiteX27713" fmla="*/ 4185377 w 8079933"/>
              <a:gd name="connsiteY27713" fmla="*/ 599495 h 4687251"/>
              <a:gd name="connsiteX27714" fmla="*/ 4180386 w 8079933"/>
              <a:gd name="connsiteY27714" fmla="*/ 601228 h 4687251"/>
              <a:gd name="connsiteX27715" fmla="*/ 4175177 w 8079933"/>
              <a:gd name="connsiteY27715" fmla="*/ 597114 h 4687251"/>
              <a:gd name="connsiteX27716" fmla="*/ 4175068 w 8079933"/>
              <a:gd name="connsiteY27716" fmla="*/ 593649 h 4687251"/>
              <a:gd name="connsiteX27717" fmla="*/ 4173332 w 8079933"/>
              <a:gd name="connsiteY27717" fmla="*/ 592999 h 4687251"/>
              <a:gd name="connsiteX27718" fmla="*/ 4170727 w 8079933"/>
              <a:gd name="connsiteY27718" fmla="*/ 589860 h 4687251"/>
              <a:gd name="connsiteX27719" fmla="*/ 4167798 w 8079933"/>
              <a:gd name="connsiteY27719" fmla="*/ 589101 h 4687251"/>
              <a:gd name="connsiteX27720" fmla="*/ 4166604 w 8079933"/>
              <a:gd name="connsiteY27720" fmla="*/ 589209 h 4687251"/>
              <a:gd name="connsiteX27721" fmla="*/ 4164325 w 8079933"/>
              <a:gd name="connsiteY27721" fmla="*/ 586612 h 4687251"/>
              <a:gd name="connsiteX27722" fmla="*/ 4164108 w 8079933"/>
              <a:gd name="connsiteY27722" fmla="*/ 584338 h 4687251"/>
              <a:gd name="connsiteX27723" fmla="*/ 4161395 w 8079933"/>
              <a:gd name="connsiteY27723" fmla="*/ 581631 h 4687251"/>
              <a:gd name="connsiteX27724" fmla="*/ 4159768 w 8079933"/>
              <a:gd name="connsiteY27724" fmla="*/ 581848 h 4687251"/>
              <a:gd name="connsiteX27725" fmla="*/ 4159008 w 8079933"/>
              <a:gd name="connsiteY27725" fmla="*/ 580441 h 4687251"/>
              <a:gd name="connsiteX27726" fmla="*/ 4158682 w 8079933"/>
              <a:gd name="connsiteY27726" fmla="*/ 577408 h 4687251"/>
              <a:gd name="connsiteX27727" fmla="*/ 4155319 w 8079933"/>
              <a:gd name="connsiteY27727" fmla="*/ 575351 h 4687251"/>
              <a:gd name="connsiteX27728" fmla="*/ 4154775 w 8079933"/>
              <a:gd name="connsiteY27728" fmla="*/ 573619 h 4687251"/>
              <a:gd name="connsiteX27729" fmla="*/ 4154884 w 8079933"/>
              <a:gd name="connsiteY27729" fmla="*/ 571670 h 4687251"/>
              <a:gd name="connsiteX27730" fmla="*/ 4153907 w 8079933"/>
              <a:gd name="connsiteY27730" fmla="*/ 571128 h 4687251"/>
              <a:gd name="connsiteX27731" fmla="*/ 4154993 w 8079933"/>
              <a:gd name="connsiteY27731" fmla="*/ 568206 h 4687251"/>
              <a:gd name="connsiteX27732" fmla="*/ 4154884 w 8079933"/>
              <a:gd name="connsiteY27732" fmla="*/ 565823 h 4687251"/>
              <a:gd name="connsiteX27733" fmla="*/ 4152388 w 8079933"/>
              <a:gd name="connsiteY27733" fmla="*/ 563008 h 4687251"/>
              <a:gd name="connsiteX27734" fmla="*/ 4152497 w 8079933"/>
              <a:gd name="connsiteY27734" fmla="*/ 561601 h 4687251"/>
              <a:gd name="connsiteX27735" fmla="*/ 4158140 w 8079933"/>
              <a:gd name="connsiteY27735" fmla="*/ 557812 h 4687251"/>
              <a:gd name="connsiteX27736" fmla="*/ 4160527 w 8079933"/>
              <a:gd name="connsiteY27736" fmla="*/ 558028 h 4687251"/>
              <a:gd name="connsiteX27737" fmla="*/ 4163131 w 8079933"/>
              <a:gd name="connsiteY27737" fmla="*/ 561817 h 4687251"/>
              <a:gd name="connsiteX27738" fmla="*/ 4165085 w 8079933"/>
              <a:gd name="connsiteY27738" fmla="*/ 563550 h 4687251"/>
              <a:gd name="connsiteX27739" fmla="*/ 4166279 w 8079933"/>
              <a:gd name="connsiteY27739" fmla="*/ 563550 h 4687251"/>
              <a:gd name="connsiteX27740" fmla="*/ 4167580 w 8079933"/>
              <a:gd name="connsiteY27740" fmla="*/ 561492 h 4687251"/>
              <a:gd name="connsiteX27741" fmla="*/ 4171704 w 8079933"/>
              <a:gd name="connsiteY27741" fmla="*/ 562575 h 4687251"/>
              <a:gd name="connsiteX27742" fmla="*/ 4173875 w 8079933"/>
              <a:gd name="connsiteY27742" fmla="*/ 563767 h 4687251"/>
              <a:gd name="connsiteX27743" fmla="*/ 4177456 w 8079933"/>
              <a:gd name="connsiteY27743" fmla="*/ 563116 h 4687251"/>
              <a:gd name="connsiteX27744" fmla="*/ 4185594 w 8079933"/>
              <a:gd name="connsiteY27744" fmla="*/ 562575 h 4687251"/>
              <a:gd name="connsiteX27745" fmla="*/ 4185920 w 8079933"/>
              <a:gd name="connsiteY27745" fmla="*/ 560301 h 4687251"/>
              <a:gd name="connsiteX27746" fmla="*/ 4181471 w 8079933"/>
              <a:gd name="connsiteY27746" fmla="*/ 557162 h 4687251"/>
              <a:gd name="connsiteX27747" fmla="*/ 4177673 w 8079933"/>
              <a:gd name="connsiteY27747" fmla="*/ 557487 h 4687251"/>
              <a:gd name="connsiteX27748" fmla="*/ 4171379 w 8079933"/>
              <a:gd name="connsiteY27748" fmla="*/ 556404 h 4687251"/>
              <a:gd name="connsiteX27749" fmla="*/ 4167038 w 8079933"/>
              <a:gd name="connsiteY27749" fmla="*/ 554563 h 4687251"/>
              <a:gd name="connsiteX27750" fmla="*/ 4167038 w 8079933"/>
              <a:gd name="connsiteY27750" fmla="*/ 553047 h 4687251"/>
              <a:gd name="connsiteX27751" fmla="*/ 4170836 w 8079933"/>
              <a:gd name="connsiteY27751" fmla="*/ 552073 h 4687251"/>
              <a:gd name="connsiteX27752" fmla="*/ 4174200 w 8079933"/>
              <a:gd name="connsiteY27752" fmla="*/ 551966 h 4687251"/>
              <a:gd name="connsiteX27753" fmla="*/ 4181796 w 8079933"/>
              <a:gd name="connsiteY27753" fmla="*/ 548608 h 4687251"/>
              <a:gd name="connsiteX27754" fmla="*/ 4185703 w 8079933"/>
              <a:gd name="connsiteY27754" fmla="*/ 546119 h 4687251"/>
              <a:gd name="connsiteX27755" fmla="*/ 4191889 w 8079933"/>
              <a:gd name="connsiteY27755" fmla="*/ 546551 h 4687251"/>
              <a:gd name="connsiteX27756" fmla="*/ 4194927 w 8079933"/>
              <a:gd name="connsiteY27756" fmla="*/ 545035 h 4687251"/>
              <a:gd name="connsiteX27757" fmla="*/ 4196771 w 8079933"/>
              <a:gd name="connsiteY27757" fmla="*/ 544927 h 4687251"/>
              <a:gd name="connsiteX27758" fmla="*/ 4197748 w 8079933"/>
              <a:gd name="connsiteY27758" fmla="*/ 545793 h 4687251"/>
              <a:gd name="connsiteX27759" fmla="*/ 4198291 w 8079933"/>
              <a:gd name="connsiteY27759" fmla="*/ 542545 h 4687251"/>
              <a:gd name="connsiteX27760" fmla="*/ 4200678 w 8079933"/>
              <a:gd name="connsiteY27760" fmla="*/ 540704 h 4687251"/>
              <a:gd name="connsiteX27761" fmla="*/ 4200786 w 8079933"/>
              <a:gd name="connsiteY27761" fmla="*/ 538323 h 4687251"/>
              <a:gd name="connsiteX27762" fmla="*/ 4198725 w 8079933"/>
              <a:gd name="connsiteY27762" fmla="*/ 537565 h 4687251"/>
              <a:gd name="connsiteX27763" fmla="*/ 4195252 w 8079933"/>
              <a:gd name="connsiteY27763" fmla="*/ 539947 h 4687251"/>
              <a:gd name="connsiteX27764" fmla="*/ 4192865 w 8079933"/>
              <a:gd name="connsiteY27764" fmla="*/ 542220 h 4687251"/>
              <a:gd name="connsiteX27765" fmla="*/ 4183532 w 8079933"/>
              <a:gd name="connsiteY27765" fmla="*/ 542220 h 4687251"/>
              <a:gd name="connsiteX27766" fmla="*/ 4181037 w 8079933"/>
              <a:gd name="connsiteY27766" fmla="*/ 542436 h 4687251"/>
              <a:gd name="connsiteX27767" fmla="*/ 4180060 w 8079933"/>
              <a:gd name="connsiteY27767" fmla="*/ 541030 h 4687251"/>
              <a:gd name="connsiteX27768" fmla="*/ 4176153 w 8079933"/>
              <a:gd name="connsiteY27768" fmla="*/ 541030 h 4687251"/>
              <a:gd name="connsiteX27769" fmla="*/ 4174525 w 8079933"/>
              <a:gd name="connsiteY27769" fmla="*/ 542327 h 4687251"/>
              <a:gd name="connsiteX27770" fmla="*/ 4173224 w 8079933"/>
              <a:gd name="connsiteY27770" fmla="*/ 542653 h 4687251"/>
              <a:gd name="connsiteX27771" fmla="*/ 4169859 w 8079933"/>
              <a:gd name="connsiteY27771" fmla="*/ 546984 h 4687251"/>
              <a:gd name="connsiteX27772" fmla="*/ 4166061 w 8079933"/>
              <a:gd name="connsiteY27772" fmla="*/ 547634 h 4687251"/>
              <a:gd name="connsiteX27773" fmla="*/ 4163240 w 8079933"/>
              <a:gd name="connsiteY27773" fmla="*/ 547201 h 4687251"/>
              <a:gd name="connsiteX27774" fmla="*/ 4161070 w 8079933"/>
              <a:gd name="connsiteY27774" fmla="*/ 548608 h 4687251"/>
              <a:gd name="connsiteX27775" fmla="*/ 4156187 w 8079933"/>
              <a:gd name="connsiteY27775" fmla="*/ 549149 h 4687251"/>
              <a:gd name="connsiteX27776" fmla="*/ 4152714 w 8079933"/>
              <a:gd name="connsiteY27776" fmla="*/ 551099 h 4687251"/>
              <a:gd name="connsiteX27777" fmla="*/ 4149350 w 8079933"/>
              <a:gd name="connsiteY27777" fmla="*/ 551207 h 4687251"/>
              <a:gd name="connsiteX27778" fmla="*/ 4147939 w 8079933"/>
              <a:gd name="connsiteY27778" fmla="*/ 550016 h 4687251"/>
              <a:gd name="connsiteX27779" fmla="*/ 4147614 w 8079933"/>
              <a:gd name="connsiteY27779" fmla="*/ 543737 h 4687251"/>
              <a:gd name="connsiteX27780" fmla="*/ 4146202 w 8079933"/>
              <a:gd name="connsiteY27780" fmla="*/ 536807 h 4687251"/>
              <a:gd name="connsiteX27781" fmla="*/ 4146854 w 8079933"/>
              <a:gd name="connsiteY27781" fmla="*/ 534749 h 4687251"/>
              <a:gd name="connsiteX27782" fmla="*/ 4147071 w 8079933"/>
              <a:gd name="connsiteY27782" fmla="*/ 532584 h 4687251"/>
              <a:gd name="connsiteX27783" fmla="*/ 4149784 w 8079933"/>
              <a:gd name="connsiteY27783" fmla="*/ 531068 h 4687251"/>
              <a:gd name="connsiteX27784" fmla="*/ 4152931 w 8079933"/>
              <a:gd name="connsiteY27784" fmla="*/ 529553 h 4687251"/>
              <a:gd name="connsiteX27785" fmla="*/ 4154450 w 8079933"/>
              <a:gd name="connsiteY27785" fmla="*/ 531177 h 4687251"/>
              <a:gd name="connsiteX27786" fmla="*/ 4155427 w 8079933"/>
              <a:gd name="connsiteY27786" fmla="*/ 534209 h 4687251"/>
              <a:gd name="connsiteX27787" fmla="*/ 4157055 w 8079933"/>
              <a:gd name="connsiteY27787" fmla="*/ 533884 h 4687251"/>
              <a:gd name="connsiteX27788" fmla="*/ 4158140 w 8079933"/>
              <a:gd name="connsiteY27788" fmla="*/ 529986 h 4687251"/>
              <a:gd name="connsiteX27789" fmla="*/ 4162154 w 8079933"/>
              <a:gd name="connsiteY27789" fmla="*/ 527604 h 4687251"/>
              <a:gd name="connsiteX27790" fmla="*/ 4164216 w 8079933"/>
              <a:gd name="connsiteY27790" fmla="*/ 528254 h 4687251"/>
              <a:gd name="connsiteX27791" fmla="*/ 4167038 w 8079933"/>
              <a:gd name="connsiteY27791" fmla="*/ 524464 h 4687251"/>
              <a:gd name="connsiteX27792" fmla="*/ 4171053 w 8079933"/>
              <a:gd name="connsiteY27792" fmla="*/ 520024 h 4687251"/>
              <a:gd name="connsiteX27793" fmla="*/ 4175502 w 8079933"/>
              <a:gd name="connsiteY27793" fmla="*/ 518292 h 4687251"/>
              <a:gd name="connsiteX27794" fmla="*/ 4174852 w 8079933"/>
              <a:gd name="connsiteY27794" fmla="*/ 515369 h 4687251"/>
              <a:gd name="connsiteX27795" fmla="*/ 4176262 w 8079933"/>
              <a:gd name="connsiteY27795" fmla="*/ 513095 h 4687251"/>
              <a:gd name="connsiteX27796" fmla="*/ 4182339 w 8079933"/>
              <a:gd name="connsiteY27796" fmla="*/ 510606 h 4687251"/>
              <a:gd name="connsiteX27797" fmla="*/ 4189827 w 8079933"/>
              <a:gd name="connsiteY27797" fmla="*/ 510172 h 4687251"/>
              <a:gd name="connsiteX27798" fmla="*/ 4193625 w 8079933"/>
              <a:gd name="connsiteY27798" fmla="*/ 506816 h 4687251"/>
              <a:gd name="connsiteX27799" fmla="*/ 4197748 w 8079933"/>
              <a:gd name="connsiteY27799" fmla="*/ 505300 h 4687251"/>
              <a:gd name="connsiteX27800" fmla="*/ 4200244 w 8079933"/>
              <a:gd name="connsiteY27800" fmla="*/ 502918 h 4687251"/>
              <a:gd name="connsiteX27801" fmla="*/ 4200353 w 8079933"/>
              <a:gd name="connsiteY27801" fmla="*/ 500753 h 4687251"/>
              <a:gd name="connsiteX27802" fmla="*/ 4197748 w 8079933"/>
              <a:gd name="connsiteY27802" fmla="*/ 500753 h 4687251"/>
              <a:gd name="connsiteX27803" fmla="*/ 4194384 w 8079933"/>
              <a:gd name="connsiteY27803" fmla="*/ 504108 h 4687251"/>
              <a:gd name="connsiteX27804" fmla="*/ 4190586 w 8079933"/>
              <a:gd name="connsiteY27804" fmla="*/ 504867 h 4687251"/>
              <a:gd name="connsiteX27805" fmla="*/ 4187222 w 8079933"/>
              <a:gd name="connsiteY27805" fmla="*/ 503135 h 4687251"/>
              <a:gd name="connsiteX27806" fmla="*/ 4187331 w 8079933"/>
              <a:gd name="connsiteY27806" fmla="*/ 499778 h 4687251"/>
              <a:gd name="connsiteX27807" fmla="*/ 4189501 w 8079933"/>
              <a:gd name="connsiteY27807" fmla="*/ 495123 h 4687251"/>
              <a:gd name="connsiteX27808" fmla="*/ 4189827 w 8079933"/>
              <a:gd name="connsiteY27808" fmla="*/ 489708 h 4687251"/>
              <a:gd name="connsiteX27809" fmla="*/ 4187765 w 8079933"/>
              <a:gd name="connsiteY27809" fmla="*/ 486353 h 4687251"/>
              <a:gd name="connsiteX27810" fmla="*/ 4185594 w 8079933"/>
              <a:gd name="connsiteY27810" fmla="*/ 486244 h 4687251"/>
              <a:gd name="connsiteX27811" fmla="*/ 4184292 w 8079933"/>
              <a:gd name="connsiteY27811" fmla="*/ 488734 h 4687251"/>
              <a:gd name="connsiteX27812" fmla="*/ 4184401 w 8079933"/>
              <a:gd name="connsiteY27812" fmla="*/ 493931 h 4687251"/>
              <a:gd name="connsiteX27813" fmla="*/ 4182990 w 8079933"/>
              <a:gd name="connsiteY27813" fmla="*/ 498371 h 4687251"/>
              <a:gd name="connsiteX27814" fmla="*/ 4176262 w 8079933"/>
              <a:gd name="connsiteY27814" fmla="*/ 505191 h 4687251"/>
              <a:gd name="connsiteX27815" fmla="*/ 4172464 w 8079933"/>
              <a:gd name="connsiteY27815" fmla="*/ 506165 h 4687251"/>
              <a:gd name="connsiteX27816" fmla="*/ 4170402 w 8079933"/>
              <a:gd name="connsiteY27816" fmla="*/ 504867 h 4687251"/>
              <a:gd name="connsiteX27817" fmla="*/ 4169317 w 8079933"/>
              <a:gd name="connsiteY27817" fmla="*/ 498587 h 4687251"/>
              <a:gd name="connsiteX27818" fmla="*/ 4169968 w 8079933"/>
              <a:gd name="connsiteY27818" fmla="*/ 496422 h 4687251"/>
              <a:gd name="connsiteX27819" fmla="*/ 4172572 w 8079933"/>
              <a:gd name="connsiteY27819" fmla="*/ 493390 h 4687251"/>
              <a:gd name="connsiteX27820" fmla="*/ 4172572 w 8079933"/>
              <a:gd name="connsiteY27820" fmla="*/ 490575 h 4687251"/>
              <a:gd name="connsiteX27821" fmla="*/ 4171053 w 8079933"/>
              <a:gd name="connsiteY27821" fmla="*/ 488193 h 4687251"/>
              <a:gd name="connsiteX27822" fmla="*/ 4170402 w 8079933"/>
              <a:gd name="connsiteY27822" fmla="*/ 482347 h 4687251"/>
              <a:gd name="connsiteX27823" fmla="*/ 4168883 w 8079933"/>
              <a:gd name="connsiteY27823" fmla="*/ 479639 h 4687251"/>
              <a:gd name="connsiteX27824" fmla="*/ 4167472 w 8079933"/>
              <a:gd name="connsiteY27824" fmla="*/ 479748 h 4687251"/>
              <a:gd name="connsiteX27825" fmla="*/ 4165627 w 8079933"/>
              <a:gd name="connsiteY27825" fmla="*/ 482780 h 4687251"/>
              <a:gd name="connsiteX27826" fmla="*/ 4166604 w 8079933"/>
              <a:gd name="connsiteY27826" fmla="*/ 490142 h 4687251"/>
              <a:gd name="connsiteX27827" fmla="*/ 4165844 w 8079933"/>
              <a:gd name="connsiteY27827" fmla="*/ 493498 h 4687251"/>
              <a:gd name="connsiteX27828" fmla="*/ 4163023 w 8079933"/>
              <a:gd name="connsiteY27828" fmla="*/ 496314 h 4687251"/>
              <a:gd name="connsiteX27829" fmla="*/ 4162372 w 8079933"/>
              <a:gd name="connsiteY27829" fmla="*/ 493931 h 4687251"/>
              <a:gd name="connsiteX27830" fmla="*/ 4162914 w 8079933"/>
              <a:gd name="connsiteY27830" fmla="*/ 492199 h 4687251"/>
              <a:gd name="connsiteX27831" fmla="*/ 4160745 w 8079933"/>
              <a:gd name="connsiteY27831" fmla="*/ 488085 h 4687251"/>
              <a:gd name="connsiteX27832" fmla="*/ 4158357 w 8079933"/>
              <a:gd name="connsiteY27832" fmla="*/ 487003 h 4687251"/>
              <a:gd name="connsiteX27833" fmla="*/ 4156512 w 8079933"/>
              <a:gd name="connsiteY27833" fmla="*/ 488085 h 4687251"/>
              <a:gd name="connsiteX27834" fmla="*/ 4156403 w 8079933"/>
              <a:gd name="connsiteY27834" fmla="*/ 491333 h 4687251"/>
              <a:gd name="connsiteX27835" fmla="*/ 4157380 w 8079933"/>
              <a:gd name="connsiteY27835" fmla="*/ 494582 h 4687251"/>
              <a:gd name="connsiteX27836" fmla="*/ 4157380 w 8079933"/>
              <a:gd name="connsiteY27836" fmla="*/ 499669 h 4687251"/>
              <a:gd name="connsiteX27837" fmla="*/ 4159659 w 8079933"/>
              <a:gd name="connsiteY27837" fmla="*/ 503784 h 4687251"/>
              <a:gd name="connsiteX27838" fmla="*/ 4161721 w 8079933"/>
              <a:gd name="connsiteY27838" fmla="*/ 508549 h 4687251"/>
              <a:gd name="connsiteX27839" fmla="*/ 4161829 w 8079933"/>
              <a:gd name="connsiteY27839" fmla="*/ 511472 h 4687251"/>
              <a:gd name="connsiteX27840" fmla="*/ 4158465 w 8079933"/>
              <a:gd name="connsiteY27840" fmla="*/ 511147 h 4687251"/>
              <a:gd name="connsiteX27841" fmla="*/ 4155644 w 8079933"/>
              <a:gd name="connsiteY27841" fmla="*/ 512229 h 4687251"/>
              <a:gd name="connsiteX27842" fmla="*/ 4153582 w 8079933"/>
              <a:gd name="connsiteY27842" fmla="*/ 517535 h 4687251"/>
              <a:gd name="connsiteX27843" fmla="*/ 4153474 w 8079933"/>
              <a:gd name="connsiteY27843" fmla="*/ 520783 h 4687251"/>
              <a:gd name="connsiteX27844" fmla="*/ 4150327 w 8079933"/>
              <a:gd name="connsiteY27844" fmla="*/ 523273 h 4687251"/>
              <a:gd name="connsiteX27845" fmla="*/ 4141645 w 8079933"/>
              <a:gd name="connsiteY27845" fmla="*/ 524030 h 4687251"/>
              <a:gd name="connsiteX27846" fmla="*/ 4136762 w 8079933"/>
              <a:gd name="connsiteY27846" fmla="*/ 523490 h 4687251"/>
              <a:gd name="connsiteX27847" fmla="*/ 4137413 w 8079933"/>
              <a:gd name="connsiteY27847" fmla="*/ 521324 h 4687251"/>
              <a:gd name="connsiteX27848" fmla="*/ 4138824 w 8079933"/>
              <a:gd name="connsiteY27848" fmla="*/ 519266 h 4687251"/>
              <a:gd name="connsiteX27849" fmla="*/ 4136870 w 8079933"/>
              <a:gd name="connsiteY27849" fmla="*/ 515694 h 4687251"/>
              <a:gd name="connsiteX27850" fmla="*/ 4131336 w 8079933"/>
              <a:gd name="connsiteY27850" fmla="*/ 510280 h 4687251"/>
              <a:gd name="connsiteX27851" fmla="*/ 4127755 w 8079933"/>
              <a:gd name="connsiteY27851" fmla="*/ 509198 h 4687251"/>
              <a:gd name="connsiteX27852" fmla="*/ 4126561 w 8079933"/>
              <a:gd name="connsiteY27852" fmla="*/ 509740 h 4687251"/>
              <a:gd name="connsiteX27853" fmla="*/ 4124066 w 8079933"/>
              <a:gd name="connsiteY27853" fmla="*/ 505191 h 4687251"/>
              <a:gd name="connsiteX27854" fmla="*/ 4123523 w 8079933"/>
              <a:gd name="connsiteY27854" fmla="*/ 501186 h 4687251"/>
              <a:gd name="connsiteX27855" fmla="*/ 4128949 w 8079933"/>
              <a:gd name="connsiteY27855" fmla="*/ 500969 h 4687251"/>
              <a:gd name="connsiteX27856" fmla="*/ 4131662 w 8079933"/>
              <a:gd name="connsiteY27856" fmla="*/ 499021 h 4687251"/>
              <a:gd name="connsiteX27857" fmla="*/ 4130685 w 8079933"/>
              <a:gd name="connsiteY27857" fmla="*/ 497612 h 4687251"/>
              <a:gd name="connsiteX27858" fmla="*/ 4127104 w 8079933"/>
              <a:gd name="connsiteY27858" fmla="*/ 497287 h 4687251"/>
              <a:gd name="connsiteX27859" fmla="*/ 4124825 w 8079933"/>
              <a:gd name="connsiteY27859" fmla="*/ 497938 h 4687251"/>
              <a:gd name="connsiteX27860" fmla="*/ 4121461 w 8079933"/>
              <a:gd name="connsiteY27860" fmla="*/ 496314 h 4687251"/>
              <a:gd name="connsiteX27861" fmla="*/ 4120268 w 8079933"/>
              <a:gd name="connsiteY27861" fmla="*/ 493390 h 4687251"/>
              <a:gd name="connsiteX27862" fmla="*/ 4117555 w 8079933"/>
              <a:gd name="connsiteY27862" fmla="*/ 491333 h 4687251"/>
              <a:gd name="connsiteX27863" fmla="*/ 4113431 w 8079933"/>
              <a:gd name="connsiteY27863" fmla="*/ 489275 h 4687251"/>
              <a:gd name="connsiteX27864" fmla="*/ 4110935 w 8079933"/>
              <a:gd name="connsiteY27864" fmla="*/ 486244 h 4687251"/>
              <a:gd name="connsiteX27865" fmla="*/ 4112997 w 8079933"/>
              <a:gd name="connsiteY27865" fmla="*/ 483971 h 4687251"/>
              <a:gd name="connsiteX27866" fmla="*/ 4112889 w 8079933"/>
              <a:gd name="connsiteY27866" fmla="*/ 482780 h 4687251"/>
              <a:gd name="connsiteX27867" fmla="*/ 4110392 w 8079933"/>
              <a:gd name="connsiteY27867" fmla="*/ 480289 h 4687251"/>
              <a:gd name="connsiteX27868" fmla="*/ 4107137 w 8079933"/>
              <a:gd name="connsiteY27868" fmla="*/ 478665 h 4687251"/>
              <a:gd name="connsiteX27869" fmla="*/ 4104098 w 8079933"/>
              <a:gd name="connsiteY27869" fmla="*/ 474442 h 4687251"/>
              <a:gd name="connsiteX27870" fmla="*/ 4104424 w 8079933"/>
              <a:gd name="connsiteY27870" fmla="*/ 471303 h 4687251"/>
              <a:gd name="connsiteX27871" fmla="*/ 4106052 w 8079933"/>
              <a:gd name="connsiteY27871" fmla="*/ 470653 h 4687251"/>
              <a:gd name="connsiteX27872" fmla="*/ 4111804 w 8079933"/>
              <a:gd name="connsiteY27872" fmla="*/ 475309 h 4687251"/>
              <a:gd name="connsiteX27873" fmla="*/ 4113431 w 8079933"/>
              <a:gd name="connsiteY27873" fmla="*/ 477474 h 4687251"/>
              <a:gd name="connsiteX27874" fmla="*/ 4113539 w 8079933"/>
              <a:gd name="connsiteY27874" fmla="*/ 479098 h 4687251"/>
              <a:gd name="connsiteX27875" fmla="*/ 4115493 w 8079933"/>
              <a:gd name="connsiteY27875" fmla="*/ 479098 h 4687251"/>
              <a:gd name="connsiteX27876" fmla="*/ 4119074 w 8079933"/>
              <a:gd name="connsiteY27876" fmla="*/ 476392 h 4687251"/>
              <a:gd name="connsiteX27877" fmla="*/ 4119399 w 8079933"/>
              <a:gd name="connsiteY27877" fmla="*/ 472493 h 4687251"/>
              <a:gd name="connsiteX27878" fmla="*/ 4118097 w 8079933"/>
              <a:gd name="connsiteY27878" fmla="*/ 471518 h 4687251"/>
              <a:gd name="connsiteX27879" fmla="*/ 4115058 w 8079933"/>
              <a:gd name="connsiteY27879" fmla="*/ 471953 h 4687251"/>
              <a:gd name="connsiteX27880" fmla="*/ 4112997 w 8079933"/>
              <a:gd name="connsiteY27880" fmla="*/ 470653 h 4687251"/>
              <a:gd name="connsiteX27881" fmla="*/ 4112997 w 8079933"/>
              <a:gd name="connsiteY27881" fmla="*/ 469246 h 4687251"/>
              <a:gd name="connsiteX27882" fmla="*/ 4108873 w 8079933"/>
              <a:gd name="connsiteY27882" fmla="*/ 465782 h 4687251"/>
              <a:gd name="connsiteX27883" fmla="*/ 4108765 w 8079933"/>
              <a:gd name="connsiteY27883" fmla="*/ 462533 h 4687251"/>
              <a:gd name="connsiteX27884" fmla="*/ 4109633 w 8079933"/>
              <a:gd name="connsiteY27884" fmla="*/ 461775 h 4687251"/>
              <a:gd name="connsiteX27885" fmla="*/ 4111369 w 8079933"/>
              <a:gd name="connsiteY27885" fmla="*/ 455712 h 4687251"/>
              <a:gd name="connsiteX27886" fmla="*/ 4113648 w 8079933"/>
              <a:gd name="connsiteY27886" fmla="*/ 451056 h 4687251"/>
              <a:gd name="connsiteX27887" fmla="*/ 4112563 w 8079933"/>
              <a:gd name="connsiteY27887" fmla="*/ 450190 h 4687251"/>
              <a:gd name="connsiteX27888" fmla="*/ 4109416 w 8079933"/>
              <a:gd name="connsiteY27888" fmla="*/ 451922 h 4687251"/>
              <a:gd name="connsiteX27889" fmla="*/ 4106703 w 8079933"/>
              <a:gd name="connsiteY27889" fmla="*/ 449433 h 4687251"/>
              <a:gd name="connsiteX27890" fmla="*/ 4104858 w 8079933"/>
              <a:gd name="connsiteY27890" fmla="*/ 449757 h 4687251"/>
              <a:gd name="connsiteX27891" fmla="*/ 4104207 w 8079933"/>
              <a:gd name="connsiteY27891" fmla="*/ 454737 h 4687251"/>
              <a:gd name="connsiteX27892" fmla="*/ 4104858 w 8079933"/>
              <a:gd name="connsiteY27892" fmla="*/ 458960 h 4687251"/>
              <a:gd name="connsiteX27893" fmla="*/ 4102579 w 8079933"/>
              <a:gd name="connsiteY27893" fmla="*/ 462100 h 4687251"/>
              <a:gd name="connsiteX27894" fmla="*/ 4099541 w 8079933"/>
              <a:gd name="connsiteY27894" fmla="*/ 463615 h 4687251"/>
              <a:gd name="connsiteX27895" fmla="*/ 4098998 w 8079933"/>
              <a:gd name="connsiteY27895" fmla="*/ 459392 h 4687251"/>
              <a:gd name="connsiteX27896" fmla="*/ 4094224 w 8079933"/>
              <a:gd name="connsiteY27896" fmla="*/ 452356 h 4687251"/>
              <a:gd name="connsiteX27897" fmla="*/ 4093681 w 8079933"/>
              <a:gd name="connsiteY27897" fmla="*/ 447158 h 4687251"/>
              <a:gd name="connsiteX27898" fmla="*/ 4092162 w 8079933"/>
              <a:gd name="connsiteY27898" fmla="*/ 441203 h 4687251"/>
              <a:gd name="connsiteX27899" fmla="*/ 4092162 w 8079933"/>
              <a:gd name="connsiteY27899" fmla="*/ 437198 h 4687251"/>
              <a:gd name="connsiteX27900" fmla="*/ 4094983 w 8079933"/>
              <a:gd name="connsiteY27900" fmla="*/ 436547 h 4687251"/>
              <a:gd name="connsiteX27901" fmla="*/ 4098673 w 8079933"/>
              <a:gd name="connsiteY27901" fmla="*/ 433300 h 4687251"/>
              <a:gd name="connsiteX27902" fmla="*/ 4099975 w 8079933"/>
              <a:gd name="connsiteY27902" fmla="*/ 432434 h 4687251"/>
              <a:gd name="connsiteX27903" fmla="*/ 4099975 w 8079933"/>
              <a:gd name="connsiteY27903" fmla="*/ 428320 h 4687251"/>
              <a:gd name="connsiteX27904" fmla="*/ 4098673 w 8079933"/>
              <a:gd name="connsiteY27904" fmla="*/ 426045 h 4687251"/>
              <a:gd name="connsiteX27905" fmla="*/ 4098347 w 8079933"/>
              <a:gd name="connsiteY27905" fmla="*/ 420957 h 4687251"/>
              <a:gd name="connsiteX27906" fmla="*/ 4102579 w 8079933"/>
              <a:gd name="connsiteY27906" fmla="*/ 416301 h 4687251"/>
              <a:gd name="connsiteX27907" fmla="*/ 4105834 w 8079933"/>
              <a:gd name="connsiteY27907" fmla="*/ 416518 h 4687251"/>
              <a:gd name="connsiteX27908" fmla="*/ 4108439 w 8079933"/>
              <a:gd name="connsiteY27908" fmla="*/ 422906 h 4687251"/>
              <a:gd name="connsiteX27909" fmla="*/ 4110392 w 8079933"/>
              <a:gd name="connsiteY27909" fmla="*/ 427020 h 4687251"/>
              <a:gd name="connsiteX27910" fmla="*/ 4114190 w 8079933"/>
              <a:gd name="connsiteY27910" fmla="*/ 427670 h 4687251"/>
              <a:gd name="connsiteX27911" fmla="*/ 4115276 w 8079933"/>
              <a:gd name="connsiteY27911" fmla="*/ 425613 h 4687251"/>
              <a:gd name="connsiteX27912" fmla="*/ 4110392 w 8079933"/>
              <a:gd name="connsiteY27912" fmla="*/ 419333 h 4687251"/>
              <a:gd name="connsiteX27913" fmla="*/ 4110392 w 8079933"/>
              <a:gd name="connsiteY27913" fmla="*/ 414677 h 4687251"/>
              <a:gd name="connsiteX27914" fmla="*/ 4112345 w 8079933"/>
              <a:gd name="connsiteY27914" fmla="*/ 413703 h 4687251"/>
              <a:gd name="connsiteX27915" fmla="*/ 4115058 w 8079933"/>
              <a:gd name="connsiteY27915" fmla="*/ 415435 h 4687251"/>
              <a:gd name="connsiteX27916" fmla="*/ 4115493 w 8079933"/>
              <a:gd name="connsiteY27916" fmla="*/ 418250 h 4687251"/>
              <a:gd name="connsiteX27917" fmla="*/ 4117338 w 8079933"/>
              <a:gd name="connsiteY27917" fmla="*/ 420090 h 4687251"/>
              <a:gd name="connsiteX27918" fmla="*/ 4121027 w 8079933"/>
              <a:gd name="connsiteY27918" fmla="*/ 418359 h 4687251"/>
              <a:gd name="connsiteX27919" fmla="*/ 4130685 w 8079933"/>
              <a:gd name="connsiteY27919" fmla="*/ 410780 h 4687251"/>
              <a:gd name="connsiteX27920" fmla="*/ 4135460 w 8079933"/>
              <a:gd name="connsiteY27920" fmla="*/ 409697 h 4687251"/>
              <a:gd name="connsiteX27921" fmla="*/ 4138173 w 8079933"/>
              <a:gd name="connsiteY27921" fmla="*/ 411971 h 4687251"/>
              <a:gd name="connsiteX27922" fmla="*/ 4140994 w 8079933"/>
              <a:gd name="connsiteY27922" fmla="*/ 417276 h 4687251"/>
              <a:gd name="connsiteX27923" fmla="*/ 4140126 w 8079933"/>
              <a:gd name="connsiteY27923" fmla="*/ 420740 h 4687251"/>
              <a:gd name="connsiteX27924" fmla="*/ 4137522 w 8079933"/>
              <a:gd name="connsiteY27924" fmla="*/ 423556 h 4687251"/>
              <a:gd name="connsiteX27925" fmla="*/ 4134592 w 8079933"/>
              <a:gd name="connsiteY27925" fmla="*/ 423339 h 4687251"/>
              <a:gd name="connsiteX27926" fmla="*/ 4133290 w 8079933"/>
              <a:gd name="connsiteY27926" fmla="*/ 422148 h 4687251"/>
              <a:gd name="connsiteX27927" fmla="*/ 4131010 w 8079933"/>
              <a:gd name="connsiteY27927" fmla="*/ 422473 h 4687251"/>
              <a:gd name="connsiteX27928" fmla="*/ 4126019 w 8079933"/>
              <a:gd name="connsiteY27928" fmla="*/ 426478 h 4687251"/>
              <a:gd name="connsiteX27929" fmla="*/ 4125259 w 8079933"/>
              <a:gd name="connsiteY27929" fmla="*/ 428644 h 4687251"/>
              <a:gd name="connsiteX27930" fmla="*/ 4123306 w 8079933"/>
              <a:gd name="connsiteY27930" fmla="*/ 429078 h 4687251"/>
              <a:gd name="connsiteX27931" fmla="*/ 4122329 w 8079933"/>
              <a:gd name="connsiteY27931" fmla="*/ 432000 h 4687251"/>
              <a:gd name="connsiteX27932" fmla="*/ 4124825 w 8079933"/>
              <a:gd name="connsiteY27932" fmla="*/ 433842 h 4687251"/>
              <a:gd name="connsiteX27933" fmla="*/ 4128623 w 8079933"/>
              <a:gd name="connsiteY27933" fmla="*/ 431459 h 4687251"/>
              <a:gd name="connsiteX27934" fmla="*/ 4134157 w 8079933"/>
              <a:gd name="connsiteY27934" fmla="*/ 429078 h 4687251"/>
              <a:gd name="connsiteX27935" fmla="*/ 4136436 w 8079933"/>
              <a:gd name="connsiteY27935" fmla="*/ 430269 h 4687251"/>
              <a:gd name="connsiteX27936" fmla="*/ 4136328 w 8079933"/>
              <a:gd name="connsiteY27936" fmla="*/ 432000 h 4687251"/>
              <a:gd name="connsiteX27937" fmla="*/ 4131987 w 8079933"/>
              <a:gd name="connsiteY27937" fmla="*/ 435357 h 4687251"/>
              <a:gd name="connsiteX27938" fmla="*/ 4131554 w 8079933"/>
              <a:gd name="connsiteY27938" fmla="*/ 437631 h 4687251"/>
              <a:gd name="connsiteX27939" fmla="*/ 4133941 w 8079933"/>
              <a:gd name="connsiteY27939" fmla="*/ 438713 h 4687251"/>
              <a:gd name="connsiteX27940" fmla="*/ 4135351 w 8079933"/>
              <a:gd name="connsiteY27940" fmla="*/ 436981 h 4687251"/>
              <a:gd name="connsiteX27941" fmla="*/ 4137088 w 8079933"/>
              <a:gd name="connsiteY27941" fmla="*/ 437198 h 4687251"/>
              <a:gd name="connsiteX27942" fmla="*/ 4138932 w 8079933"/>
              <a:gd name="connsiteY27942" fmla="*/ 440337 h 4687251"/>
              <a:gd name="connsiteX27943" fmla="*/ 4140886 w 8079933"/>
              <a:gd name="connsiteY27943" fmla="*/ 441853 h 4687251"/>
              <a:gd name="connsiteX27944" fmla="*/ 4140560 w 8079933"/>
              <a:gd name="connsiteY27944" fmla="*/ 444777 h 4687251"/>
              <a:gd name="connsiteX27945" fmla="*/ 4141536 w 8079933"/>
              <a:gd name="connsiteY27945" fmla="*/ 450081 h 4687251"/>
              <a:gd name="connsiteX27946" fmla="*/ 4143924 w 8079933"/>
              <a:gd name="connsiteY27946" fmla="*/ 453006 h 4687251"/>
              <a:gd name="connsiteX27947" fmla="*/ 4145986 w 8079933"/>
              <a:gd name="connsiteY27947" fmla="*/ 453980 h 4687251"/>
              <a:gd name="connsiteX27948" fmla="*/ 4144901 w 8079933"/>
              <a:gd name="connsiteY27948" fmla="*/ 447267 h 4687251"/>
              <a:gd name="connsiteX27949" fmla="*/ 4142188 w 8079933"/>
              <a:gd name="connsiteY27949" fmla="*/ 441853 h 4687251"/>
              <a:gd name="connsiteX27950" fmla="*/ 4141428 w 8079933"/>
              <a:gd name="connsiteY27950" fmla="*/ 436439 h 4687251"/>
              <a:gd name="connsiteX27951" fmla="*/ 4142622 w 8079933"/>
              <a:gd name="connsiteY27951" fmla="*/ 431025 h 4687251"/>
              <a:gd name="connsiteX27952" fmla="*/ 4147397 w 8079933"/>
              <a:gd name="connsiteY27952" fmla="*/ 423556 h 4687251"/>
              <a:gd name="connsiteX27953" fmla="*/ 4148265 w 8079933"/>
              <a:gd name="connsiteY27953" fmla="*/ 418899 h 4687251"/>
              <a:gd name="connsiteX27954" fmla="*/ 4150435 w 8079933"/>
              <a:gd name="connsiteY27954" fmla="*/ 416951 h 4687251"/>
              <a:gd name="connsiteX27955" fmla="*/ 4152714 w 8079933"/>
              <a:gd name="connsiteY27955" fmla="*/ 417925 h 4687251"/>
              <a:gd name="connsiteX27956" fmla="*/ 4156946 w 8079933"/>
              <a:gd name="connsiteY27956" fmla="*/ 422798 h 4687251"/>
              <a:gd name="connsiteX27957" fmla="*/ 4162046 w 8079933"/>
              <a:gd name="connsiteY27957" fmla="*/ 426370 h 4687251"/>
              <a:gd name="connsiteX27958" fmla="*/ 4162589 w 8079933"/>
              <a:gd name="connsiteY27958" fmla="*/ 429078 h 4687251"/>
              <a:gd name="connsiteX27959" fmla="*/ 4162589 w 8079933"/>
              <a:gd name="connsiteY27959" fmla="*/ 438171 h 4687251"/>
              <a:gd name="connsiteX27960" fmla="*/ 4166496 w 8079933"/>
              <a:gd name="connsiteY27960" fmla="*/ 447917 h 4687251"/>
              <a:gd name="connsiteX27961" fmla="*/ 4166496 w 8079933"/>
              <a:gd name="connsiteY27961" fmla="*/ 451922 h 4687251"/>
              <a:gd name="connsiteX27962" fmla="*/ 4165411 w 8079933"/>
              <a:gd name="connsiteY27962" fmla="*/ 454954 h 4687251"/>
              <a:gd name="connsiteX27963" fmla="*/ 4161938 w 8079933"/>
              <a:gd name="connsiteY27963" fmla="*/ 458203 h 4687251"/>
              <a:gd name="connsiteX27964" fmla="*/ 4162372 w 8079933"/>
              <a:gd name="connsiteY27964" fmla="*/ 460044 h 4687251"/>
              <a:gd name="connsiteX27965" fmla="*/ 4163999 w 8079933"/>
              <a:gd name="connsiteY27965" fmla="*/ 460800 h 4687251"/>
              <a:gd name="connsiteX27966" fmla="*/ 4167364 w 8079933"/>
              <a:gd name="connsiteY27966" fmla="*/ 458744 h 4687251"/>
              <a:gd name="connsiteX27967" fmla="*/ 4169751 w 8079933"/>
              <a:gd name="connsiteY27967" fmla="*/ 459176 h 4687251"/>
              <a:gd name="connsiteX27968" fmla="*/ 4172681 w 8079933"/>
              <a:gd name="connsiteY27968" fmla="*/ 463508 h 4687251"/>
              <a:gd name="connsiteX27969" fmla="*/ 4175828 w 8079933"/>
              <a:gd name="connsiteY27969" fmla="*/ 471086 h 4687251"/>
              <a:gd name="connsiteX27970" fmla="*/ 4177890 w 8079933"/>
              <a:gd name="connsiteY27970" fmla="*/ 473143 h 4687251"/>
              <a:gd name="connsiteX27971" fmla="*/ 4181145 w 8079933"/>
              <a:gd name="connsiteY27971" fmla="*/ 473035 h 4687251"/>
              <a:gd name="connsiteX27972" fmla="*/ 4182013 w 8079933"/>
              <a:gd name="connsiteY27972" fmla="*/ 469246 h 4687251"/>
              <a:gd name="connsiteX27973" fmla="*/ 4177456 w 8079933"/>
              <a:gd name="connsiteY27973" fmla="*/ 463833 h 4687251"/>
              <a:gd name="connsiteX27974" fmla="*/ 4176697 w 8079933"/>
              <a:gd name="connsiteY27974" fmla="*/ 459068 h 4687251"/>
              <a:gd name="connsiteX27975" fmla="*/ 4172681 w 8079933"/>
              <a:gd name="connsiteY27975" fmla="*/ 452572 h 4687251"/>
              <a:gd name="connsiteX27976" fmla="*/ 4170945 w 8079933"/>
              <a:gd name="connsiteY27976" fmla="*/ 447267 h 4687251"/>
              <a:gd name="connsiteX27977" fmla="*/ 4170836 w 8079933"/>
              <a:gd name="connsiteY27977" fmla="*/ 440554 h 4687251"/>
              <a:gd name="connsiteX27978" fmla="*/ 4171053 w 8079933"/>
              <a:gd name="connsiteY27978" fmla="*/ 426370 h 4687251"/>
              <a:gd name="connsiteX27979" fmla="*/ 4169642 w 8079933"/>
              <a:gd name="connsiteY27979" fmla="*/ 423556 h 4687251"/>
              <a:gd name="connsiteX27980" fmla="*/ 4167580 w 8079933"/>
              <a:gd name="connsiteY27980" fmla="*/ 422256 h 4687251"/>
              <a:gd name="connsiteX27981" fmla="*/ 4168666 w 8079933"/>
              <a:gd name="connsiteY27981" fmla="*/ 417276 h 4687251"/>
              <a:gd name="connsiteX27982" fmla="*/ 4168340 w 8079933"/>
              <a:gd name="connsiteY27982" fmla="*/ 412838 h 4687251"/>
              <a:gd name="connsiteX27983" fmla="*/ 4170402 w 8079933"/>
              <a:gd name="connsiteY27983" fmla="*/ 408723 h 4687251"/>
              <a:gd name="connsiteX27984" fmla="*/ 4169859 w 8079933"/>
              <a:gd name="connsiteY27984" fmla="*/ 401685 h 4687251"/>
              <a:gd name="connsiteX27985" fmla="*/ 4172681 w 8079933"/>
              <a:gd name="connsiteY27985" fmla="*/ 396705 h 4687251"/>
              <a:gd name="connsiteX27986" fmla="*/ 5536519 w 8079933"/>
              <a:gd name="connsiteY27986" fmla="*/ 393782 h 4687251"/>
              <a:gd name="connsiteX27987" fmla="*/ 5538364 w 8079933"/>
              <a:gd name="connsiteY27987" fmla="*/ 393891 h 4687251"/>
              <a:gd name="connsiteX27988" fmla="*/ 5540426 w 8079933"/>
              <a:gd name="connsiteY27988" fmla="*/ 397463 h 4687251"/>
              <a:gd name="connsiteX27989" fmla="*/ 5544441 w 8079933"/>
              <a:gd name="connsiteY27989" fmla="*/ 398872 h 4687251"/>
              <a:gd name="connsiteX27990" fmla="*/ 5543464 w 8079933"/>
              <a:gd name="connsiteY27990" fmla="*/ 401578 h 4687251"/>
              <a:gd name="connsiteX27991" fmla="*/ 5541511 w 8079933"/>
              <a:gd name="connsiteY27991" fmla="*/ 402660 h 4687251"/>
              <a:gd name="connsiteX27992" fmla="*/ 5539449 w 8079933"/>
              <a:gd name="connsiteY27992" fmla="*/ 402770 h 4687251"/>
              <a:gd name="connsiteX27993" fmla="*/ 5538581 w 8079933"/>
              <a:gd name="connsiteY27993" fmla="*/ 398546 h 4687251"/>
              <a:gd name="connsiteX27994" fmla="*/ 5536085 w 8079933"/>
              <a:gd name="connsiteY27994" fmla="*/ 395839 h 4687251"/>
              <a:gd name="connsiteX27995" fmla="*/ 2328875 w 8079933"/>
              <a:gd name="connsiteY27995" fmla="*/ 393130 h 4687251"/>
              <a:gd name="connsiteX27996" fmla="*/ 2329201 w 8079933"/>
              <a:gd name="connsiteY27996" fmla="*/ 396920 h 4687251"/>
              <a:gd name="connsiteX27997" fmla="*/ 2326705 w 8079933"/>
              <a:gd name="connsiteY27997" fmla="*/ 399301 h 4687251"/>
              <a:gd name="connsiteX27998" fmla="*/ 2324535 w 8079933"/>
              <a:gd name="connsiteY27998" fmla="*/ 399735 h 4687251"/>
              <a:gd name="connsiteX27999" fmla="*/ 2327465 w 8079933"/>
              <a:gd name="connsiteY27999" fmla="*/ 396379 h 4687251"/>
              <a:gd name="connsiteX28000" fmla="*/ 7107190 w 8079933"/>
              <a:gd name="connsiteY28000" fmla="*/ 388152 h 4687251"/>
              <a:gd name="connsiteX28001" fmla="*/ 7106430 w 8079933"/>
              <a:gd name="connsiteY28001" fmla="*/ 391617 h 4687251"/>
              <a:gd name="connsiteX28002" fmla="*/ 7103392 w 8079933"/>
              <a:gd name="connsiteY28002" fmla="*/ 394429 h 4687251"/>
              <a:gd name="connsiteX28003" fmla="*/ 7101438 w 8079933"/>
              <a:gd name="connsiteY28003" fmla="*/ 391617 h 4687251"/>
              <a:gd name="connsiteX28004" fmla="*/ 7102957 w 8079933"/>
              <a:gd name="connsiteY28004" fmla="*/ 389342 h 4687251"/>
              <a:gd name="connsiteX28005" fmla="*/ 2556976 w 8079933"/>
              <a:gd name="connsiteY28005" fmla="*/ 387934 h 4687251"/>
              <a:gd name="connsiteX28006" fmla="*/ 2559146 w 8079933"/>
              <a:gd name="connsiteY28006" fmla="*/ 390640 h 4687251"/>
              <a:gd name="connsiteX28007" fmla="*/ 2559146 w 8079933"/>
              <a:gd name="connsiteY28007" fmla="*/ 394863 h 4687251"/>
              <a:gd name="connsiteX28008" fmla="*/ 2557627 w 8079933"/>
              <a:gd name="connsiteY28008" fmla="*/ 396595 h 4687251"/>
              <a:gd name="connsiteX28009" fmla="*/ 2556217 w 8079933"/>
              <a:gd name="connsiteY28009" fmla="*/ 396703 h 4687251"/>
              <a:gd name="connsiteX28010" fmla="*/ 2554047 w 8079933"/>
              <a:gd name="connsiteY28010" fmla="*/ 390965 h 4687251"/>
              <a:gd name="connsiteX28011" fmla="*/ 2554264 w 8079933"/>
              <a:gd name="connsiteY28011" fmla="*/ 388150 h 4687251"/>
              <a:gd name="connsiteX28012" fmla="*/ 2444989 w 8079933"/>
              <a:gd name="connsiteY28012" fmla="*/ 387176 h 4687251"/>
              <a:gd name="connsiteX28013" fmla="*/ 2445639 w 8079933"/>
              <a:gd name="connsiteY28013" fmla="*/ 390425 h 4687251"/>
              <a:gd name="connsiteX28014" fmla="*/ 2447592 w 8079933"/>
              <a:gd name="connsiteY28014" fmla="*/ 391724 h 4687251"/>
              <a:gd name="connsiteX28015" fmla="*/ 2448026 w 8079933"/>
              <a:gd name="connsiteY28015" fmla="*/ 394430 h 4687251"/>
              <a:gd name="connsiteX28016" fmla="*/ 2446616 w 8079933"/>
              <a:gd name="connsiteY28016" fmla="*/ 396162 h 4687251"/>
              <a:gd name="connsiteX28017" fmla="*/ 2443904 w 8079933"/>
              <a:gd name="connsiteY28017" fmla="*/ 394539 h 4687251"/>
              <a:gd name="connsiteX28018" fmla="*/ 2442927 w 8079933"/>
              <a:gd name="connsiteY28018" fmla="*/ 390425 h 4687251"/>
              <a:gd name="connsiteX28019" fmla="*/ 2443686 w 8079933"/>
              <a:gd name="connsiteY28019" fmla="*/ 387718 h 4687251"/>
              <a:gd name="connsiteX28020" fmla="*/ 5536085 w 8079933"/>
              <a:gd name="connsiteY28020" fmla="*/ 386852 h 4687251"/>
              <a:gd name="connsiteX28021" fmla="*/ 5539558 w 8079933"/>
              <a:gd name="connsiteY28021" fmla="*/ 387718 h 4687251"/>
              <a:gd name="connsiteX28022" fmla="*/ 5537170 w 8079933"/>
              <a:gd name="connsiteY28022" fmla="*/ 391183 h 4687251"/>
              <a:gd name="connsiteX28023" fmla="*/ 5531962 w 8079933"/>
              <a:gd name="connsiteY28023" fmla="*/ 392160 h 4687251"/>
              <a:gd name="connsiteX28024" fmla="*/ 5530985 w 8079933"/>
              <a:gd name="connsiteY28024" fmla="*/ 390860 h 4687251"/>
              <a:gd name="connsiteX28025" fmla="*/ 5532287 w 8079933"/>
              <a:gd name="connsiteY28025" fmla="*/ 388477 h 4687251"/>
              <a:gd name="connsiteX28026" fmla="*/ 5381233 w 8079933"/>
              <a:gd name="connsiteY28026" fmla="*/ 385877 h 4687251"/>
              <a:gd name="connsiteX28027" fmla="*/ 5384271 w 8079933"/>
              <a:gd name="connsiteY28027" fmla="*/ 386095 h 4687251"/>
              <a:gd name="connsiteX28028" fmla="*/ 5387635 w 8079933"/>
              <a:gd name="connsiteY28028" fmla="*/ 389126 h 4687251"/>
              <a:gd name="connsiteX28029" fmla="*/ 5388070 w 8079933"/>
              <a:gd name="connsiteY28029" fmla="*/ 395405 h 4687251"/>
              <a:gd name="connsiteX28030" fmla="*/ 5386550 w 8079933"/>
              <a:gd name="connsiteY28030" fmla="*/ 398437 h 4687251"/>
              <a:gd name="connsiteX28031" fmla="*/ 5382317 w 8079933"/>
              <a:gd name="connsiteY28031" fmla="*/ 400386 h 4687251"/>
              <a:gd name="connsiteX28032" fmla="*/ 5379930 w 8079933"/>
              <a:gd name="connsiteY28032" fmla="*/ 400062 h 4687251"/>
              <a:gd name="connsiteX28033" fmla="*/ 5379062 w 8079933"/>
              <a:gd name="connsiteY28033" fmla="*/ 397138 h 4687251"/>
              <a:gd name="connsiteX28034" fmla="*/ 5379388 w 8079933"/>
              <a:gd name="connsiteY28034" fmla="*/ 392481 h 4687251"/>
              <a:gd name="connsiteX28035" fmla="*/ 5378845 w 8079933"/>
              <a:gd name="connsiteY28035" fmla="*/ 388368 h 4687251"/>
              <a:gd name="connsiteX28036" fmla="*/ 2194314 w 8079933"/>
              <a:gd name="connsiteY28036" fmla="*/ 384685 h 4687251"/>
              <a:gd name="connsiteX28037" fmla="*/ 2197895 w 8079933"/>
              <a:gd name="connsiteY28037" fmla="*/ 385010 h 4687251"/>
              <a:gd name="connsiteX28038" fmla="*/ 2202127 w 8079933"/>
              <a:gd name="connsiteY28038" fmla="*/ 386093 h 4687251"/>
              <a:gd name="connsiteX28039" fmla="*/ 2208095 w 8079933"/>
              <a:gd name="connsiteY28039" fmla="*/ 385660 h 4687251"/>
              <a:gd name="connsiteX28040" fmla="*/ 2213956 w 8079933"/>
              <a:gd name="connsiteY28040" fmla="*/ 388150 h 4687251"/>
              <a:gd name="connsiteX28041" fmla="*/ 2218079 w 8079933"/>
              <a:gd name="connsiteY28041" fmla="*/ 387608 h 4687251"/>
              <a:gd name="connsiteX28042" fmla="*/ 2221335 w 8079933"/>
              <a:gd name="connsiteY28042" fmla="*/ 391831 h 4687251"/>
              <a:gd name="connsiteX28043" fmla="*/ 2217971 w 8079933"/>
              <a:gd name="connsiteY28043" fmla="*/ 398544 h 4687251"/>
              <a:gd name="connsiteX28044" fmla="*/ 2214607 w 8079933"/>
              <a:gd name="connsiteY28044" fmla="*/ 401466 h 4687251"/>
              <a:gd name="connsiteX28045" fmla="*/ 2205166 w 8079933"/>
              <a:gd name="connsiteY28045" fmla="*/ 400601 h 4687251"/>
              <a:gd name="connsiteX28046" fmla="*/ 2199740 w 8079933"/>
              <a:gd name="connsiteY28046" fmla="*/ 399952 h 4687251"/>
              <a:gd name="connsiteX28047" fmla="*/ 2196050 w 8079933"/>
              <a:gd name="connsiteY28047" fmla="*/ 397677 h 4687251"/>
              <a:gd name="connsiteX28048" fmla="*/ 2192252 w 8079933"/>
              <a:gd name="connsiteY28048" fmla="*/ 396920 h 4687251"/>
              <a:gd name="connsiteX28049" fmla="*/ 2190841 w 8079933"/>
              <a:gd name="connsiteY28049" fmla="*/ 394213 h 4687251"/>
              <a:gd name="connsiteX28050" fmla="*/ 2188997 w 8079933"/>
              <a:gd name="connsiteY28050" fmla="*/ 393780 h 4687251"/>
              <a:gd name="connsiteX28051" fmla="*/ 2188237 w 8079933"/>
              <a:gd name="connsiteY28051" fmla="*/ 391831 h 4687251"/>
              <a:gd name="connsiteX28052" fmla="*/ 2188888 w 8079933"/>
              <a:gd name="connsiteY28052" fmla="*/ 388367 h 4687251"/>
              <a:gd name="connsiteX28053" fmla="*/ 2191818 w 8079933"/>
              <a:gd name="connsiteY28053" fmla="*/ 386851 h 4687251"/>
              <a:gd name="connsiteX28054" fmla="*/ 7063023 w 8079933"/>
              <a:gd name="connsiteY28054" fmla="*/ 382196 h 4687251"/>
              <a:gd name="connsiteX28055" fmla="*/ 7067906 w 8079933"/>
              <a:gd name="connsiteY28055" fmla="*/ 382412 h 4687251"/>
              <a:gd name="connsiteX28056" fmla="*/ 7072138 w 8079933"/>
              <a:gd name="connsiteY28056" fmla="*/ 384579 h 4687251"/>
              <a:gd name="connsiteX28057" fmla="*/ 7076153 w 8079933"/>
              <a:gd name="connsiteY28057" fmla="*/ 385012 h 4687251"/>
              <a:gd name="connsiteX28058" fmla="*/ 7077238 w 8079933"/>
              <a:gd name="connsiteY28058" fmla="*/ 382955 h 4687251"/>
              <a:gd name="connsiteX28059" fmla="*/ 7082230 w 8079933"/>
              <a:gd name="connsiteY28059" fmla="*/ 386311 h 4687251"/>
              <a:gd name="connsiteX28060" fmla="*/ 7084074 w 8079933"/>
              <a:gd name="connsiteY28060" fmla="*/ 390859 h 4687251"/>
              <a:gd name="connsiteX28061" fmla="*/ 7082556 w 8079933"/>
              <a:gd name="connsiteY28061" fmla="*/ 392373 h 4687251"/>
              <a:gd name="connsiteX28062" fmla="*/ 7086354 w 8079933"/>
              <a:gd name="connsiteY28062" fmla="*/ 396813 h 4687251"/>
              <a:gd name="connsiteX28063" fmla="*/ 7087222 w 8079933"/>
              <a:gd name="connsiteY28063" fmla="*/ 402009 h 4687251"/>
              <a:gd name="connsiteX28064" fmla="*/ 7084401 w 8079933"/>
              <a:gd name="connsiteY28064" fmla="*/ 406664 h 4687251"/>
              <a:gd name="connsiteX28065" fmla="*/ 7078975 w 8079933"/>
              <a:gd name="connsiteY28065" fmla="*/ 407965 h 4687251"/>
              <a:gd name="connsiteX28066" fmla="*/ 7073874 w 8079933"/>
              <a:gd name="connsiteY28066" fmla="*/ 405473 h 4687251"/>
              <a:gd name="connsiteX28067" fmla="*/ 7067906 w 8079933"/>
              <a:gd name="connsiteY28067" fmla="*/ 400926 h 4687251"/>
              <a:gd name="connsiteX28068" fmla="*/ 7062046 w 8079933"/>
              <a:gd name="connsiteY28068" fmla="*/ 399736 h 4687251"/>
              <a:gd name="connsiteX28069" fmla="*/ 7057596 w 8079933"/>
              <a:gd name="connsiteY28069" fmla="*/ 400494 h 4687251"/>
              <a:gd name="connsiteX28070" fmla="*/ 7055317 w 8079933"/>
              <a:gd name="connsiteY28070" fmla="*/ 399086 h 4687251"/>
              <a:gd name="connsiteX28071" fmla="*/ 7054992 w 8079933"/>
              <a:gd name="connsiteY28071" fmla="*/ 390965 h 4687251"/>
              <a:gd name="connsiteX28072" fmla="*/ 7056512 w 8079933"/>
              <a:gd name="connsiteY28072" fmla="*/ 386852 h 4687251"/>
              <a:gd name="connsiteX28073" fmla="*/ 7060092 w 8079933"/>
              <a:gd name="connsiteY28073" fmla="*/ 386527 h 4687251"/>
              <a:gd name="connsiteX28074" fmla="*/ 7059441 w 8079933"/>
              <a:gd name="connsiteY28074" fmla="*/ 384795 h 4687251"/>
              <a:gd name="connsiteX28075" fmla="*/ 7062371 w 8079933"/>
              <a:gd name="connsiteY28075" fmla="*/ 384253 h 4687251"/>
              <a:gd name="connsiteX28076" fmla="*/ 1076051 w 8079933"/>
              <a:gd name="connsiteY28076" fmla="*/ 381873 h 4687251"/>
              <a:gd name="connsiteX28077" fmla="*/ 1078329 w 8079933"/>
              <a:gd name="connsiteY28077" fmla="*/ 382307 h 4687251"/>
              <a:gd name="connsiteX28078" fmla="*/ 1077461 w 8079933"/>
              <a:gd name="connsiteY28078" fmla="*/ 384146 h 4687251"/>
              <a:gd name="connsiteX28079" fmla="*/ 1074966 w 8079933"/>
              <a:gd name="connsiteY28079" fmla="*/ 385012 h 4687251"/>
              <a:gd name="connsiteX28080" fmla="*/ 1074098 w 8079933"/>
              <a:gd name="connsiteY28080" fmla="*/ 386420 h 4687251"/>
              <a:gd name="connsiteX28081" fmla="*/ 1075725 w 8079933"/>
              <a:gd name="connsiteY28081" fmla="*/ 387722 h 4687251"/>
              <a:gd name="connsiteX28082" fmla="*/ 1077461 w 8079933"/>
              <a:gd name="connsiteY28082" fmla="*/ 389562 h 4687251"/>
              <a:gd name="connsiteX28083" fmla="*/ 1077787 w 8079933"/>
              <a:gd name="connsiteY28083" fmla="*/ 393458 h 4687251"/>
              <a:gd name="connsiteX28084" fmla="*/ 1079632 w 8079933"/>
              <a:gd name="connsiteY28084" fmla="*/ 393351 h 4687251"/>
              <a:gd name="connsiteX28085" fmla="*/ 1085275 w 8079933"/>
              <a:gd name="connsiteY28085" fmla="*/ 395731 h 4687251"/>
              <a:gd name="connsiteX28086" fmla="*/ 1086360 w 8079933"/>
              <a:gd name="connsiteY28086" fmla="*/ 397787 h 4687251"/>
              <a:gd name="connsiteX28087" fmla="*/ 1085057 w 8079933"/>
              <a:gd name="connsiteY28087" fmla="*/ 400063 h 4687251"/>
              <a:gd name="connsiteX28088" fmla="*/ 1084515 w 8079933"/>
              <a:gd name="connsiteY28088" fmla="*/ 402230 h 4687251"/>
              <a:gd name="connsiteX28089" fmla="*/ 1079740 w 8079933"/>
              <a:gd name="connsiteY28089" fmla="*/ 406991 h 4687251"/>
              <a:gd name="connsiteX28090" fmla="*/ 1075399 w 8079933"/>
              <a:gd name="connsiteY28090" fmla="*/ 408182 h 4687251"/>
              <a:gd name="connsiteX28091" fmla="*/ 1068888 w 8079933"/>
              <a:gd name="connsiteY28091" fmla="*/ 410890 h 4687251"/>
              <a:gd name="connsiteX28092" fmla="*/ 1063680 w 8079933"/>
              <a:gd name="connsiteY28092" fmla="*/ 406883 h 4687251"/>
              <a:gd name="connsiteX28093" fmla="*/ 1058905 w 8079933"/>
              <a:gd name="connsiteY28093" fmla="*/ 408074 h 4687251"/>
              <a:gd name="connsiteX28094" fmla="*/ 1053479 w 8079933"/>
              <a:gd name="connsiteY28094" fmla="*/ 412297 h 4687251"/>
              <a:gd name="connsiteX28095" fmla="*/ 1052611 w 8079933"/>
              <a:gd name="connsiteY28095" fmla="*/ 415436 h 4687251"/>
              <a:gd name="connsiteX28096" fmla="*/ 1056952 w 8079933"/>
              <a:gd name="connsiteY28096" fmla="*/ 414896 h 4687251"/>
              <a:gd name="connsiteX28097" fmla="*/ 1059664 w 8079933"/>
              <a:gd name="connsiteY28097" fmla="*/ 419442 h 4687251"/>
              <a:gd name="connsiteX28098" fmla="*/ 1056952 w 8079933"/>
              <a:gd name="connsiteY28098" fmla="*/ 426481 h 4687251"/>
              <a:gd name="connsiteX28099" fmla="*/ 1060532 w 8079933"/>
              <a:gd name="connsiteY28099" fmla="*/ 425506 h 4687251"/>
              <a:gd name="connsiteX28100" fmla="*/ 1061835 w 8079933"/>
              <a:gd name="connsiteY28100" fmla="*/ 422368 h 4687251"/>
              <a:gd name="connsiteX28101" fmla="*/ 1064982 w 8079933"/>
              <a:gd name="connsiteY28101" fmla="*/ 419116 h 4687251"/>
              <a:gd name="connsiteX28102" fmla="*/ 1067043 w 8079933"/>
              <a:gd name="connsiteY28102" fmla="*/ 419766 h 4687251"/>
              <a:gd name="connsiteX28103" fmla="*/ 1064765 w 8079933"/>
              <a:gd name="connsiteY28103" fmla="*/ 423884 h 4687251"/>
              <a:gd name="connsiteX28104" fmla="*/ 1064873 w 8079933"/>
              <a:gd name="connsiteY28104" fmla="*/ 428753 h 4687251"/>
              <a:gd name="connsiteX28105" fmla="*/ 1066610 w 8079933"/>
              <a:gd name="connsiteY28105" fmla="*/ 433627 h 4687251"/>
              <a:gd name="connsiteX28106" fmla="*/ 1066827 w 8079933"/>
              <a:gd name="connsiteY28106" fmla="*/ 428863 h 4687251"/>
              <a:gd name="connsiteX28107" fmla="*/ 1069431 w 8079933"/>
              <a:gd name="connsiteY28107" fmla="*/ 422910 h 4687251"/>
              <a:gd name="connsiteX28108" fmla="*/ 1070733 w 8079933"/>
              <a:gd name="connsiteY28108" fmla="*/ 424750 h 4687251"/>
              <a:gd name="connsiteX28109" fmla="*/ 1072904 w 8079933"/>
              <a:gd name="connsiteY28109" fmla="*/ 424423 h 4687251"/>
              <a:gd name="connsiteX28110" fmla="*/ 1076051 w 8079933"/>
              <a:gd name="connsiteY28110" fmla="*/ 421067 h 4687251"/>
              <a:gd name="connsiteX28111" fmla="*/ 1075074 w 8079933"/>
              <a:gd name="connsiteY28111" fmla="*/ 416302 h 4687251"/>
              <a:gd name="connsiteX28112" fmla="*/ 1076051 w 8079933"/>
              <a:gd name="connsiteY28112" fmla="*/ 413923 h 4687251"/>
              <a:gd name="connsiteX28113" fmla="*/ 1080825 w 8079933"/>
              <a:gd name="connsiteY28113" fmla="*/ 412081 h 4687251"/>
              <a:gd name="connsiteX28114" fmla="*/ 1084081 w 8079933"/>
              <a:gd name="connsiteY28114" fmla="*/ 414464 h 4687251"/>
              <a:gd name="connsiteX28115" fmla="*/ 1085275 w 8079933"/>
              <a:gd name="connsiteY28115" fmla="*/ 414356 h 4687251"/>
              <a:gd name="connsiteX28116" fmla="*/ 1086468 w 8079933"/>
              <a:gd name="connsiteY28116" fmla="*/ 410242 h 4687251"/>
              <a:gd name="connsiteX28117" fmla="*/ 1092111 w 8079933"/>
              <a:gd name="connsiteY28117" fmla="*/ 404827 h 4687251"/>
              <a:gd name="connsiteX28118" fmla="*/ 1093631 w 8079933"/>
              <a:gd name="connsiteY28118" fmla="*/ 405042 h 4687251"/>
              <a:gd name="connsiteX28119" fmla="*/ 1095041 w 8079933"/>
              <a:gd name="connsiteY28119" fmla="*/ 407749 h 4687251"/>
              <a:gd name="connsiteX28120" fmla="*/ 1093631 w 8079933"/>
              <a:gd name="connsiteY28120" fmla="*/ 411865 h 4687251"/>
              <a:gd name="connsiteX28121" fmla="*/ 1093196 w 8079933"/>
              <a:gd name="connsiteY28121" fmla="*/ 416302 h 4687251"/>
              <a:gd name="connsiteX28122" fmla="*/ 1090809 w 8079933"/>
              <a:gd name="connsiteY28122" fmla="*/ 417710 h 4687251"/>
              <a:gd name="connsiteX28123" fmla="*/ 1089181 w 8079933"/>
              <a:gd name="connsiteY28123" fmla="*/ 420960 h 4687251"/>
              <a:gd name="connsiteX28124" fmla="*/ 1089506 w 8079933"/>
              <a:gd name="connsiteY28124" fmla="*/ 424965 h 4687251"/>
              <a:gd name="connsiteX28125" fmla="*/ 1087445 w 8079933"/>
              <a:gd name="connsiteY28125" fmla="*/ 426264 h 4687251"/>
              <a:gd name="connsiteX28126" fmla="*/ 1085708 w 8079933"/>
              <a:gd name="connsiteY28126" fmla="*/ 430160 h 4687251"/>
              <a:gd name="connsiteX28127" fmla="*/ 1088530 w 8079933"/>
              <a:gd name="connsiteY28127" fmla="*/ 434060 h 4687251"/>
              <a:gd name="connsiteX28128" fmla="*/ 1088530 w 8079933"/>
              <a:gd name="connsiteY28128" fmla="*/ 432005 h 4687251"/>
              <a:gd name="connsiteX28129" fmla="*/ 1091026 w 8079933"/>
              <a:gd name="connsiteY28129" fmla="*/ 428104 h 4687251"/>
              <a:gd name="connsiteX28130" fmla="*/ 1096452 w 8079933"/>
              <a:gd name="connsiteY28130" fmla="*/ 427996 h 4687251"/>
              <a:gd name="connsiteX28131" fmla="*/ 1099924 w 8079933"/>
              <a:gd name="connsiteY28131" fmla="*/ 426805 h 4687251"/>
              <a:gd name="connsiteX28132" fmla="*/ 1102637 w 8079933"/>
              <a:gd name="connsiteY28132" fmla="*/ 427672 h 4687251"/>
              <a:gd name="connsiteX28133" fmla="*/ 1108063 w 8079933"/>
              <a:gd name="connsiteY28133" fmla="*/ 430052 h 4687251"/>
              <a:gd name="connsiteX28134" fmla="*/ 1112621 w 8079933"/>
              <a:gd name="connsiteY28134" fmla="*/ 429510 h 4687251"/>
              <a:gd name="connsiteX28135" fmla="*/ 1116311 w 8079933"/>
              <a:gd name="connsiteY28135" fmla="*/ 431353 h 4687251"/>
              <a:gd name="connsiteX28136" fmla="*/ 1118047 w 8079933"/>
              <a:gd name="connsiteY28136" fmla="*/ 434494 h 4687251"/>
              <a:gd name="connsiteX28137" fmla="*/ 1120542 w 8079933"/>
              <a:gd name="connsiteY28137" fmla="*/ 433301 h 4687251"/>
              <a:gd name="connsiteX28138" fmla="*/ 1122713 w 8079933"/>
              <a:gd name="connsiteY28138" fmla="*/ 433518 h 4687251"/>
              <a:gd name="connsiteX28139" fmla="*/ 1125317 w 8079933"/>
              <a:gd name="connsiteY28139" fmla="*/ 438607 h 4687251"/>
              <a:gd name="connsiteX28140" fmla="*/ 1127705 w 8079933"/>
              <a:gd name="connsiteY28140" fmla="*/ 441311 h 4687251"/>
              <a:gd name="connsiteX28141" fmla="*/ 1124449 w 8079933"/>
              <a:gd name="connsiteY28141" fmla="*/ 444997 h 4687251"/>
              <a:gd name="connsiteX28142" fmla="*/ 1118047 w 8079933"/>
              <a:gd name="connsiteY28142" fmla="*/ 448028 h 4687251"/>
              <a:gd name="connsiteX28143" fmla="*/ 1115551 w 8079933"/>
              <a:gd name="connsiteY28143" fmla="*/ 451814 h 4687251"/>
              <a:gd name="connsiteX28144" fmla="*/ 1116744 w 8079933"/>
              <a:gd name="connsiteY28144" fmla="*/ 454740 h 4687251"/>
              <a:gd name="connsiteX28145" fmla="*/ 1128356 w 8079933"/>
              <a:gd name="connsiteY28145" fmla="*/ 461235 h 4687251"/>
              <a:gd name="connsiteX28146" fmla="*/ 1128681 w 8079933"/>
              <a:gd name="connsiteY28146" fmla="*/ 463075 h 4687251"/>
              <a:gd name="connsiteX28147" fmla="*/ 1124883 w 8079933"/>
              <a:gd name="connsiteY28147" fmla="*/ 463292 h 4687251"/>
              <a:gd name="connsiteX28148" fmla="*/ 1120434 w 8079933"/>
              <a:gd name="connsiteY28148" fmla="*/ 465025 h 4687251"/>
              <a:gd name="connsiteX28149" fmla="*/ 1120434 w 8079933"/>
              <a:gd name="connsiteY28149" fmla="*/ 466974 h 4687251"/>
              <a:gd name="connsiteX28150" fmla="*/ 1128030 w 8079933"/>
              <a:gd name="connsiteY28150" fmla="*/ 471522 h 4687251"/>
              <a:gd name="connsiteX28151" fmla="*/ 1128247 w 8079933"/>
              <a:gd name="connsiteY28151" fmla="*/ 475526 h 4687251"/>
              <a:gd name="connsiteX28152" fmla="*/ 1127270 w 8079933"/>
              <a:gd name="connsiteY28152" fmla="*/ 481051 h 4687251"/>
              <a:gd name="connsiteX28153" fmla="*/ 1128030 w 8079933"/>
              <a:gd name="connsiteY28153" fmla="*/ 487436 h 4687251"/>
              <a:gd name="connsiteX28154" fmla="*/ 1123472 w 8079933"/>
              <a:gd name="connsiteY28154" fmla="*/ 492417 h 4687251"/>
              <a:gd name="connsiteX28155" fmla="*/ 1129006 w 8079933"/>
              <a:gd name="connsiteY28155" fmla="*/ 488195 h 4687251"/>
              <a:gd name="connsiteX28156" fmla="*/ 1135409 w 8079933"/>
              <a:gd name="connsiteY28156" fmla="*/ 481267 h 4687251"/>
              <a:gd name="connsiteX28157" fmla="*/ 1142137 w 8079933"/>
              <a:gd name="connsiteY28157" fmla="*/ 480184 h 4687251"/>
              <a:gd name="connsiteX28158" fmla="*/ 1143982 w 8079933"/>
              <a:gd name="connsiteY28158" fmla="*/ 478776 h 4687251"/>
              <a:gd name="connsiteX28159" fmla="*/ 1147780 w 8079933"/>
              <a:gd name="connsiteY28159" fmla="*/ 478776 h 4687251"/>
              <a:gd name="connsiteX28160" fmla="*/ 1153857 w 8079933"/>
              <a:gd name="connsiteY28160" fmla="*/ 476392 h 4687251"/>
              <a:gd name="connsiteX28161" fmla="*/ 1159717 w 8079933"/>
              <a:gd name="connsiteY28161" fmla="*/ 476392 h 4687251"/>
              <a:gd name="connsiteX28162" fmla="*/ 1166011 w 8079933"/>
              <a:gd name="connsiteY28162" fmla="*/ 480833 h 4687251"/>
              <a:gd name="connsiteX28163" fmla="*/ 1169158 w 8079933"/>
              <a:gd name="connsiteY28163" fmla="*/ 482890 h 4687251"/>
              <a:gd name="connsiteX28164" fmla="*/ 1167964 w 8079933"/>
              <a:gd name="connsiteY28164" fmla="*/ 488737 h 4687251"/>
              <a:gd name="connsiteX28165" fmla="*/ 1162647 w 8079933"/>
              <a:gd name="connsiteY28165" fmla="*/ 494042 h 4687251"/>
              <a:gd name="connsiteX28166" fmla="*/ 1157221 w 8079933"/>
              <a:gd name="connsiteY28166" fmla="*/ 502164 h 4687251"/>
              <a:gd name="connsiteX28167" fmla="*/ 1148431 w 8079933"/>
              <a:gd name="connsiteY28167" fmla="*/ 508223 h 4687251"/>
              <a:gd name="connsiteX28168" fmla="*/ 1158524 w 8079933"/>
              <a:gd name="connsiteY28168" fmla="*/ 503245 h 4687251"/>
              <a:gd name="connsiteX28169" fmla="*/ 1167747 w 8079933"/>
              <a:gd name="connsiteY28169" fmla="*/ 494581 h 4687251"/>
              <a:gd name="connsiteX28170" fmla="*/ 1169918 w 8079933"/>
              <a:gd name="connsiteY28170" fmla="*/ 492852 h 4687251"/>
              <a:gd name="connsiteX28171" fmla="*/ 1172956 w 8079933"/>
              <a:gd name="connsiteY28171" fmla="*/ 493716 h 4687251"/>
              <a:gd name="connsiteX28172" fmla="*/ 1174367 w 8079933"/>
              <a:gd name="connsiteY28172" fmla="*/ 495448 h 4687251"/>
              <a:gd name="connsiteX28173" fmla="*/ 1173607 w 8079933"/>
              <a:gd name="connsiteY28173" fmla="*/ 496855 h 4687251"/>
              <a:gd name="connsiteX28174" fmla="*/ 1176862 w 8079933"/>
              <a:gd name="connsiteY28174" fmla="*/ 500971 h 4687251"/>
              <a:gd name="connsiteX28175" fmla="*/ 1180878 w 8079933"/>
              <a:gd name="connsiteY28175" fmla="*/ 503570 h 4687251"/>
              <a:gd name="connsiteX28176" fmla="*/ 1181203 w 8079933"/>
              <a:gd name="connsiteY28176" fmla="*/ 505301 h 4687251"/>
              <a:gd name="connsiteX28177" fmla="*/ 1180010 w 8079933"/>
              <a:gd name="connsiteY28177" fmla="*/ 507358 h 4687251"/>
              <a:gd name="connsiteX28178" fmla="*/ 1183482 w 8079933"/>
              <a:gd name="connsiteY28178" fmla="*/ 506492 h 4687251"/>
              <a:gd name="connsiteX28179" fmla="*/ 1187280 w 8079933"/>
              <a:gd name="connsiteY28179" fmla="*/ 508007 h 4687251"/>
              <a:gd name="connsiteX28180" fmla="*/ 1188583 w 8079933"/>
              <a:gd name="connsiteY28180" fmla="*/ 510065 h 4687251"/>
              <a:gd name="connsiteX28181" fmla="*/ 1186955 w 8079933"/>
              <a:gd name="connsiteY28181" fmla="*/ 511257 h 4687251"/>
              <a:gd name="connsiteX28182" fmla="*/ 1186738 w 8079933"/>
              <a:gd name="connsiteY28182" fmla="*/ 514180 h 4687251"/>
              <a:gd name="connsiteX28183" fmla="*/ 1189125 w 8079933"/>
              <a:gd name="connsiteY28183" fmla="*/ 515912 h 4687251"/>
              <a:gd name="connsiteX28184" fmla="*/ 1191946 w 8079933"/>
              <a:gd name="connsiteY28184" fmla="*/ 511691 h 4687251"/>
              <a:gd name="connsiteX28185" fmla="*/ 1195311 w 8079933"/>
              <a:gd name="connsiteY28185" fmla="*/ 513531 h 4687251"/>
              <a:gd name="connsiteX28186" fmla="*/ 1196070 w 8079933"/>
              <a:gd name="connsiteY28186" fmla="*/ 515372 h 4687251"/>
              <a:gd name="connsiteX28187" fmla="*/ 1195527 w 8079933"/>
              <a:gd name="connsiteY28187" fmla="*/ 517102 h 4687251"/>
              <a:gd name="connsiteX28188" fmla="*/ 1197807 w 8079933"/>
              <a:gd name="connsiteY28188" fmla="*/ 515048 h 4687251"/>
              <a:gd name="connsiteX28189" fmla="*/ 1199868 w 8079933"/>
              <a:gd name="connsiteY28189" fmla="*/ 515048 h 4687251"/>
              <a:gd name="connsiteX28190" fmla="*/ 1201713 w 8079933"/>
              <a:gd name="connsiteY28190" fmla="*/ 516452 h 4687251"/>
              <a:gd name="connsiteX28191" fmla="*/ 1203232 w 8079933"/>
              <a:gd name="connsiteY28191" fmla="*/ 515912 h 4687251"/>
              <a:gd name="connsiteX28192" fmla="*/ 1210394 w 8079933"/>
              <a:gd name="connsiteY28192" fmla="*/ 521108 h 4687251"/>
              <a:gd name="connsiteX28193" fmla="*/ 1213758 w 8079933"/>
              <a:gd name="connsiteY28193" fmla="*/ 524572 h 4687251"/>
              <a:gd name="connsiteX28194" fmla="*/ 1213433 w 8079933"/>
              <a:gd name="connsiteY28194" fmla="*/ 526956 h 4687251"/>
              <a:gd name="connsiteX28195" fmla="*/ 1217014 w 8079933"/>
              <a:gd name="connsiteY28195" fmla="*/ 527605 h 4687251"/>
              <a:gd name="connsiteX28196" fmla="*/ 1219835 w 8079933"/>
              <a:gd name="connsiteY28196" fmla="*/ 527279 h 4687251"/>
              <a:gd name="connsiteX28197" fmla="*/ 1221572 w 8079933"/>
              <a:gd name="connsiteY28197" fmla="*/ 529119 h 4687251"/>
              <a:gd name="connsiteX28198" fmla="*/ 1219510 w 8079933"/>
              <a:gd name="connsiteY28198" fmla="*/ 530744 h 4687251"/>
              <a:gd name="connsiteX28199" fmla="*/ 1218750 w 8079933"/>
              <a:gd name="connsiteY28199" fmla="*/ 532259 h 4687251"/>
              <a:gd name="connsiteX28200" fmla="*/ 1221897 w 8079933"/>
              <a:gd name="connsiteY28200" fmla="*/ 533455 h 4687251"/>
              <a:gd name="connsiteX28201" fmla="*/ 1224610 w 8079933"/>
              <a:gd name="connsiteY28201" fmla="*/ 531936 h 4687251"/>
              <a:gd name="connsiteX28202" fmla="*/ 1228734 w 8079933"/>
              <a:gd name="connsiteY28202" fmla="*/ 534644 h 4687251"/>
              <a:gd name="connsiteX28203" fmla="*/ 1228408 w 8079933"/>
              <a:gd name="connsiteY28203" fmla="*/ 536916 h 4687251"/>
              <a:gd name="connsiteX28204" fmla="*/ 1226238 w 8079933"/>
              <a:gd name="connsiteY28204" fmla="*/ 537350 h 4687251"/>
              <a:gd name="connsiteX28205" fmla="*/ 1226563 w 8079933"/>
              <a:gd name="connsiteY28205" fmla="*/ 538647 h 4687251"/>
              <a:gd name="connsiteX28206" fmla="*/ 1229276 w 8079933"/>
              <a:gd name="connsiteY28206" fmla="*/ 539190 h 4687251"/>
              <a:gd name="connsiteX28207" fmla="*/ 1230796 w 8079933"/>
              <a:gd name="connsiteY28207" fmla="*/ 537784 h 4687251"/>
              <a:gd name="connsiteX28208" fmla="*/ 1232857 w 8079933"/>
              <a:gd name="connsiteY28208" fmla="*/ 538973 h 4687251"/>
              <a:gd name="connsiteX28209" fmla="*/ 1234811 w 8079933"/>
              <a:gd name="connsiteY28209" fmla="*/ 538324 h 4687251"/>
              <a:gd name="connsiteX28210" fmla="*/ 1237524 w 8079933"/>
              <a:gd name="connsiteY28210" fmla="*/ 540380 h 4687251"/>
              <a:gd name="connsiteX28211" fmla="*/ 1243600 w 8079933"/>
              <a:gd name="connsiteY28211" fmla="*/ 538973 h 4687251"/>
              <a:gd name="connsiteX28212" fmla="*/ 1250437 w 8079933"/>
              <a:gd name="connsiteY28212" fmla="*/ 539842 h 4687251"/>
              <a:gd name="connsiteX28213" fmla="*/ 1251848 w 8079933"/>
              <a:gd name="connsiteY28213" fmla="*/ 538432 h 4687251"/>
              <a:gd name="connsiteX28214" fmla="*/ 1260312 w 8079933"/>
              <a:gd name="connsiteY28214" fmla="*/ 538756 h 4687251"/>
              <a:gd name="connsiteX28215" fmla="*/ 1262373 w 8079933"/>
              <a:gd name="connsiteY28215" fmla="*/ 540814 h 4687251"/>
              <a:gd name="connsiteX28216" fmla="*/ 1265521 w 8079933"/>
              <a:gd name="connsiteY28216" fmla="*/ 546985 h 4687251"/>
              <a:gd name="connsiteX28217" fmla="*/ 1266498 w 8079933"/>
              <a:gd name="connsiteY28217" fmla="*/ 552182 h 4687251"/>
              <a:gd name="connsiteX28218" fmla="*/ 1269644 w 8079933"/>
              <a:gd name="connsiteY28218" fmla="*/ 554022 h 4687251"/>
              <a:gd name="connsiteX28219" fmla="*/ 1272141 w 8079933"/>
              <a:gd name="connsiteY28219" fmla="*/ 559004 h 4687251"/>
              <a:gd name="connsiteX28220" fmla="*/ 1273877 w 8079933"/>
              <a:gd name="connsiteY28220" fmla="*/ 568317 h 4687251"/>
              <a:gd name="connsiteX28221" fmla="*/ 1276481 w 8079933"/>
              <a:gd name="connsiteY28221" fmla="*/ 571239 h 4687251"/>
              <a:gd name="connsiteX28222" fmla="*/ 1280279 w 8079933"/>
              <a:gd name="connsiteY28222" fmla="*/ 570591 h 4687251"/>
              <a:gd name="connsiteX28223" fmla="*/ 1285271 w 8079933"/>
              <a:gd name="connsiteY28223" fmla="*/ 572105 h 4687251"/>
              <a:gd name="connsiteX28224" fmla="*/ 1286030 w 8079933"/>
              <a:gd name="connsiteY28224" fmla="*/ 574160 h 4687251"/>
              <a:gd name="connsiteX28225" fmla="*/ 1286030 w 8079933"/>
              <a:gd name="connsiteY28225" fmla="*/ 574159 h 4687251"/>
              <a:gd name="connsiteX28226" fmla="*/ 1287223 w 8079933"/>
              <a:gd name="connsiteY28226" fmla="*/ 577300 h 4687251"/>
              <a:gd name="connsiteX28227" fmla="*/ 1289936 w 8079933"/>
              <a:gd name="connsiteY28227" fmla="*/ 577300 h 4687251"/>
              <a:gd name="connsiteX28228" fmla="*/ 1303392 w 8079933"/>
              <a:gd name="connsiteY28228" fmla="*/ 587152 h 4687251"/>
              <a:gd name="connsiteX28229" fmla="*/ 1307516 w 8079933"/>
              <a:gd name="connsiteY28229" fmla="*/ 587260 h 4687251"/>
              <a:gd name="connsiteX28230" fmla="*/ 1311856 w 8079933"/>
              <a:gd name="connsiteY28230" fmla="*/ 591050 h 4687251"/>
              <a:gd name="connsiteX28231" fmla="*/ 1313593 w 8079933"/>
              <a:gd name="connsiteY28231" fmla="*/ 594514 h 4687251"/>
              <a:gd name="connsiteX28232" fmla="*/ 1315438 w 8079933"/>
              <a:gd name="connsiteY28232" fmla="*/ 594298 h 4687251"/>
              <a:gd name="connsiteX28233" fmla="*/ 1320104 w 8079933"/>
              <a:gd name="connsiteY28233" fmla="*/ 597979 h 4687251"/>
              <a:gd name="connsiteX28234" fmla="*/ 1320104 w 8079933"/>
              <a:gd name="connsiteY28234" fmla="*/ 601985 h 4687251"/>
              <a:gd name="connsiteX28235" fmla="*/ 1325422 w 8079933"/>
              <a:gd name="connsiteY28235" fmla="*/ 607724 h 4687251"/>
              <a:gd name="connsiteX28236" fmla="*/ 1324445 w 8079933"/>
              <a:gd name="connsiteY28236" fmla="*/ 610430 h 4687251"/>
              <a:gd name="connsiteX28237" fmla="*/ 1325096 w 8079933"/>
              <a:gd name="connsiteY28237" fmla="*/ 612054 h 4687251"/>
              <a:gd name="connsiteX28238" fmla="*/ 1322817 w 8079933"/>
              <a:gd name="connsiteY28238" fmla="*/ 617359 h 4687251"/>
              <a:gd name="connsiteX28239" fmla="*/ 1324770 w 8079933"/>
              <a:gd name="connsiteY28239" fmla="*/ 622340 h 4687251"/>
              <a:gd name="connsiteX28240" fmla="*/ 1326940 w 8079933"/>
              <a:gd name="connsiteY28240" fmla="*/ 623314 h 4687251"/>
              <a:gd name="connsiteX28241" fmla="*/ 1328677 w 8079933"/>
              <a:gd name="connsiteY28241" fmla="*/ 621149 h 4687251"/>
              <a:gd name="connsiteX28242" fmla="*/ 1330088 w 8079933"/>
              <a:gd name="connsiteY28242" fmla="*/ 622015 h 4687251"/>
              <a:gd name="connsiteX28243" fmla="*/ 1330196 w 8079933"/>
              <a:gd name="connsiteY28243" fmla="*/ 629378 h 4687251"/>
              <a:gd name="connsiteX28244" fmla="*/ 1331933 w 8079933"/>
              <a:gd name="connsiteY28244" fmla="*/ 636415 h 4687251"/>
              <a:gd name="connsiteX28245" fmla="*/ 1339854 w 8079933"/>
              <a:gd name="connsiteY28245" fmla="*/ 644643 h 4687251"/>
              <a:gd name="connsiteX28246" fmla="*/ 1344087 w 8079933"/>
              <a:gd name="connsiteY28246" fmla="*/ 647891 h 4687251"/>
              <a:gd name="connsiteX28247" fmla="*/ 1345823 w 8079933"/>
              <a:gd name="connsiteY28247" fmla="*/ 646592 h 4687251"/>
              <a:gd name="connsiteX28248" fmla="*/ 1348861 w 8079933"/>
              <a:gd name="connsiteY28248" fmla="*/ 648433 h 4687251"/>
              <a:gd name="connsiteX28249" fmla="*/ 1349512 w 8079933"/>
              <a:gd name="connsiteY28249" fmla="*/ 652438 h 4687251"/>
              <a:gd name="connsiteX28250" fmla="*/ 1352659 w 8079933"/>
              <a:gd name="connsiteY28250" fmla="*/ 653954 h 4687251"/>
              <a:gd name="connsiteX28251" fmla="*/ 1353853 w 8079933"/>
              <a:gd name="connsiteY28251" fmla="*/ 653629 h 4687251"/>
              <a:gd name="connsiteX28252" fmla="*/ 1358844 w 8079933"/>
              <a:gd name="connsiteY28252" fmla="*/ 660884 h 4687251"/>
              <a:gd name="connsiteX28253" fmla="*/ 1359387 w 8079933"/>
              <a:gd name="connsiteY28253" fmla="*/ 667055 h 4687251"/>
              <a:gd name="connsiteX28254" fmla="*/ 1362100 w 8079933"/>
              <a:gd name="connsiteY28254" fmla="*/ 668246 h 4687251"/>
              <a:gd name="connsiteX28255" fmla="*/ 1364162 w 8079933"/>
              <a:gd name="connsiteY28255" fmla="*/ 672035 h 4687251"/>
              <a:gd name="connsiteX28256" fmla="*/ 1367635 w 8079933"/>
              <a:gd name="connsiteY28256" fmla="*/ 672144 h 4687251"/>
              <a:gd name="connsiteX28257" fmla="*/ 1372952 w 8079933"/>
              <a:gd name="connsiteY28257" fmla="*/ 679398 h 4687251"/>
              <a:gd name="connsiteX28258" fmla="*/ 1372952 w 8079933"/>
              <a:gd name="connsiteY28258" fmla="*/ 682538 h 4687251"/>
              <a:gd name="connsiteX28259" fmla="*/ 1375447 w 8079933"/>
              <a:gd name="connsiteY28259" fmla="*/ 683729 h 4687251"/>
              <a:gd name="connsiteX28260" fmla="*/ 1374579 w 8079933"/>
              <a:gd name="connsiteY28260" fmla="*/ 687302 h 4687251"/>
              <a:gd name="connsiteX28261" fmla="*/ 1369913 w 8079933"/>
              <a:gd name="connsiteY28261" fmla="*/ 692823 h 4687251"/>
              <a:gd name="connsiteX28262" fmla="*/ 1366983 w 8079933"/>
              <a:gd name="connsiteY28262" fmla="*/ 697154 h 4687251"/>
              <a:gd name="connsiteX28263" fmla="*/ 1376967 w 8079933"/>
              <a:gd name="connsiteY28263" fmla="*/ 688492 h 4687251"/>
              <a:gd name="connsiteX28264" fmla="*/ 1380548 w 8079933"/>
              <a:gd name="connsiteY28264" fmla="*/ 686652 h 4687251"/>
              <a:gd name="connsiteX28265" fmla="*/ 1382827 w 8079933"/>
              <a:gd name="connsiteY28265" fmla="*/ 687518 h 4687251"/>
              <a:gd name="connsiteX28266" fmla="*/ 1384020 w 8079933"/>
              <a:gd name="connsiteY28266" fmla="*/ 681131 h 4687251"/>
              <a:gd name="connsiteX28267" fmla="*/ 1383152 w 8079933"/>
              <a:gd name="connsiteY28267" fmla="*/ 667921 h 4687251"/>
              <a:gd name="connsiteX28268" fmla="*/ 1383695 w 8079933"/>
              <a:gd name="connsiteY28268" fmla="*/ 660126 h 4687251"/>
              <a:gd name="connsiteX28269" fmla="*/ 1386300 w 8079933"/>
              <a:gd name="connsiteY28269" fmla="*/ 655687 h 4687251"/>
              <a:gd name="connsiteX28270" fmla="*/ 1394221 w 8079933"/>
              <a:gd name="connsiteY28270" fmla="*/ 653088 h 4687251"/>
              <a:gd name="connsiteX28271" fmla="*/ 1400407 w 8079933"/>
              <a:gd name="connsiteY28271" fmla="*/ 649623 h 4687251"/>
              <a:gd name="connsiteX28272" fmla="*/ 1404205 w 8079933"/>
              <a:gd name="connsiteY28272" fmla="*/ 646267 h 4687251"/>
              <a:gd name="connsiteX28273" fmla="*/ 1408654 w 8079933"/>
              <a:gd name="connsiteY28273" fmla="*/ 645076 h 4687251"/>
              <a:gd name="connsiteX28274" fmla="*/ 1410824 w 8079933"/>
              <a:gd name="connsiteY28274" fmla="*/ 641936 h 4687251"/>
              <a:gd name="connsiteX28275" fmla="*/ 1414188 w 8079933"/>
              <a:gd name="connsiteY28275" fmla="*/ 641396 h 4687251"/>
              <a:gd name="connsiteX28276" fmla="*/ 1417552 w 8079933"/>
              <a:gd name="connsiteY28276" fmla="*/ 639663 h 4687251"/>
              <a:gd name="connsiteX28277" fmla="*/ 1423086 w 8079933"/>
              <a:gd name="connsiteY28277" fmla="*/ 639663 h 4687251"/>
              <a:gd name="connsiteX28278" fmla="*/ 1424280 w 8079933"/>
              <a:gd name="connsiteY28278" fmla="*/ 640422 h 4687251"/>
              <a:gd name="connsiteX28279" fmla="*/ 1429163 w 8079933"/>
              <a:gd name="connsiteY28279" fmla="*/ 640422 h 4687251"/>
              <a:gd name="connsiteX28280" fmla="*/ 1431225 w 8079933"/>
              <a:gd name="connsiteY28280" fmla="*/ 642045 h 4687251"/>
              <a:gd name="connsiteX28281" fmla="*/ 1437302 w 8079933"/>
              <a:gd name="connsiteY28281" fmla="*/ 635440 h 4687251"/>
              <a:gd name="connsiteX28282" fmla="*/ 1439472 w 8079933"/>
              <a:gd name="connsiteY28282" fmla="*/ 630244 h 4687251"/>
              <a:gd name="connsiteX28283" fmla="*/ 1442620 w 8079933"/>
              <a:gd name="connsiteY28283" fmla="*/ 629702 h 4687251"/>
              <a:gd name="connsiteX28284" fmla="*/ 1446743 w 8079933"/>
              <a:gd name="connsiteY28284" fmla="*/ 630785 h 4687251"/>
              <a:gd name="connsiteX28285" fmla="*/ 1449348 w 8079933"/>
              <a:gd name="connsiteY28285" fmla="*/ 629053 h 4687251"/>
              <a:gd name="connsiteX28286" fmla="*/ 1448588 w 8079933"/>
              <a:gd name="connsiteY28286" fmla="*/ 627104 h 4687251"/>
              <a:gd name="connsiteX28287" fmla="*/ 1452061 w 8079933"/>
              <a:gd name="connsiteY28287" fmla="*/ 626995 h 4687251"/>
              <a:gd name="connsiteX28288" fmla="*/ 1454339 w 8079933"/>
              <a:gd name="connsiteY28288" fmla="*/ 629594 h 4687251"/>
              <a:gd name="connsiteX28289" fmla="*/ 1467904 w 8079933"/>
              <a:gd name="connsiteY28289" fmla="*/ 628295 h 4687251"/>
              <a:gd name="connsiteX28290" fmla="*/ 1479081 w 8079933"/>
              <a:gd name="connsiteY28290" fmla="*/ 624722 h 4687251"/>
              <a:gd name="connsiteX28291" fmla="*/ 1483205 w 8079933"/>
              <a:gd name="connsiteY28291" fmla="*/ 622015 h 4687251"/>
              <a:gd name="connsiteX28292" fmla="*/ 1485483 w 8079933"/>
              <a:gd name="connsiteY28292" fmla="*/ 621798 h 4687251"/>
              <a:gd name="connsiteX28293" fmla="*/ 1487871 w 8079933"/>
              <a:gd name="connsiteY28293" fmla="*/ 625588 h 4687251"/>
              <a:gd name="connsiteX28294" fmla="*/ 1491017 w 8079933"/>
              <a:gd name="connsiteY28294" fmla="*/ 623855 h 4687251"/>
              <a:gd name="connsiteX28295" fmla="*/ 1492754 w 8079933"/>
              <a:gd name="connsiteY28295" fmla="*/ 619092 h 4687251"/>
              <a:gd name="connsiteX28296" fmla="*/ 1500676 w 8079933"/>
              <a:gd name="connsiteY28296" fmla="*/ 615627 h 4687251"/>
              <a:gd name="connsiteX28297" fmla="*/ 1505668 w 8079933"/>
              <a:gd name="connsiteY28297" fmla="*/ 615627 h 4687251"/>
              <a:gd name="connsiteX28298" fmla="*/ 1507078 w 8079933"/>
              <a:gd name="connsiteY28298" fmla="*/ 617467 h 4687251"/>
              <a:gd name="connsiteX28299" fmla="*/ 1509466 w 8079933"/>
              <a:gd name="connsiteY28299" fmla="*/ 617467 h 4687251"/>
              <a:gd name="connsiteX28300" fmla="*/ 1510659 w 8079933"/>
              <a:gd name="connsiteY28300" fmla="*/ 620067 h 4687251"/>
              <a:gd name="connsiteX28301" fmla="*/ 1514566 w 8079933"/>
              <a:gd name="connsiteY28301" fmla="*/ 619200 h 4687251"/>
              <a:gd name="connsiteX28302" fmla="*/ 1514783 w 8079933"/>
              <a:gd name="connsiteY28302" fmla="*/ 615953 h 4687251"/>
              <a:gd name="connsiteX28303" fmla="*/ 1516302 w 8079933"/>
              <a:gd name="connsiteY28303" fmla="*/ 613569 h 4687251"/>
              <a:gd name="connsiteX28304" fmla="*/ 1519775 w 8079933"/>
              <a:gd name="connsiteY28304" fmla="*/ 615627 h 4687251"/>
              <a:gd name="connsiteX28305" fmla="*/ 1519775 w 8079933"/>
              <a:gd name="connsiteY28305" fmla="*/ 620067 h 4687251"/>
              <a:gd name="connsiteX28306" fmla="*/ 1522162 w 8079933"/>
              <a:gd name="connsiteY28306" fmla="*/ 622340 h 4687251"/>
              <a:gd name="connsiteX28307" fmla="*/ 1520317 w 8079933"/>
              <a:gd name="connsiteY28307" fmla="*/ 624614 h 4687251"/>
              <a:gd name="connsiteX28308" fmla="*/ 1518038 w 8079933"/>
              <a:gd name="connsiteY28308" fmla="*/ 624614 h 4687251"/>
              <a:gd name="connsiteX28309" fmla="*/ 1516845 w 8079933"/>
              <a:gd name="connsiteY28309" fmla="*/ 629053 h 4687251"/>
              <a:gd name="connsiteX28310" fmla="*/ 1506210 w 8079933"/>
              <a:gd name="connsiteY28310" fmla="*/ 631975 h 4687251"/>
              <a:gd name="connsiteX28311" fmla="*/ 1496878 w 8079933"/>
              <a:gd name="connsiteY28311" fmla="*/ 634683 h 4687251"/>
              <a:gd name="connsiteX28312" fmla="*/ 1493731 w 8079933"/>
              <a:gd name="connsiteY28312" fmla="*/ 638797 h 4687251"/>
              <a:gd name="connsiteX28313" fmla="*/ 1488088 w 8079933"/>
              <a:gd name="connsiteY28313" fmla="*/ 640422 h 4687251"/>
              <a:gd name="connsiteX28314" fmla="*/ 1484290 w 8079933"/>
              <a:gd name="connsiteY28314" fmla="*/ 639880 h 4687251"/>
              <a:gd name="connsiteX28315" fmla="*/ 1480817 w 8079933"/>
              <a:gd name="connsiteY28315" fmla="*/ 642478 h 4687251"/>
              <a:gd name="connsiteX28316" fmla="*/ 1478430 w 8079933"/>
              <a:gd name="connsiteY28316" fmla="*/ 642478 h 4687251"/>
              <a:gd name="connsiteX28317" fmla="*/ 1476694 w 8079933"/>
              <a:gd name="connsiteY28317" fmla="*/ 639122 h 4687251"/>
              <a:gd name="connsiteX28318" fmla="*/ 1469314 w 8079933"/>
              <a:gd name="connsiteY28318" fmla="*/ 642586 h 4687251"/>
              <a:gd name="connsiteX28319" fmla="*/ 1462044 w 8079933"/>
              <a:gd name="connsiteY28319" fmla="*/ 642261 h 4687251"/>
              <a:gd name="connsiteX28320" fmla="*/ 1460633 w 8079933"/>
              <a:gd name="connsiteY28320" fmla="*/ 643993 h 4687251"/>
              <a:gd name="connsiteX28321" fmla="*/ 1452277 w 8079933"/>
              <a:gd name="connsiteY28321" fmla="*/ 643344 h 4687251"/>
              <a:gd name="connsiteX28322" fmla="*/ 1447068 w 8079933"/>
              <a:gd name="connsiteY28322" fmla="*/ 645293 h 4687251"/>
              <a:gd name="connsiteX28323" fmla="*/ 1443488 w 8079933"/>
              <a:gd name="connsiteY28323" fmla="*/ 650815 h 4687251"/>
              <a:gd name="connsiteX28324" fmla="*/ 1432419 w 8079933"/>
              <a:gd name="connsiteY28324" fmla="*/ 655687 h 4687251"/>
              <a:gd name="connsiteX28325" fmla="*/ 1431768 w 8079933"/>
              <a:gd name="connsiteY28325" fmla="*/ 653629 h 4687251"/>
              <a:gd name="connsiteX28326" fmla="*/ 1426016 w 8079933"/>
              <a:gd name="connsiteY28326" fmla="*/ 657744 h 4687251"/>
              <a:gd name="connsiteX28327" fmla="*/ 1425148 w 8079933"/>
              <a:gd name="connsiteY28327" fmla="*/ 661209 h 4687251"/>
              <a:gd name="connsiteX28328" fmla="*/ 1421567 w 8079933"/>
              <a:gd name="connsiteY28328" fmla="*/ 662941 h 4687251"/>
              <a:gd name="connsiteX28329" fmla="*/ 1419180 w 8079933"/>
              <a:gd name="connsiteY28329" fmla="*/ 660450 h 4687251"/>
              <a:gd name="connsiteX28330" fmla="*/ 1414731 w 8079933"/>
              <a:gd name="connsiteY28330" fmla="*/ 664240 h 4687251"/>
              <a:gd name="connsiteX28331" fmla="*/ 1411801 w 8079933"/>
              <a:gd name="connsiteY28331" fmla="*/ 668896 h 4687251"/>
              <a:gd name="connsiteX28332" fmla="*/ 1408436 w 8079933"/>
              <a:gd name="connsiteY28332" fmla="*/ 669112 h 4687251"/>
              <a:gd name="connsiteX28333" fmla="*/ 1406050 w 8079933"/>
              <a:gd name="connsiteY28333" fmla="*/ 673010 h 4687251"/>
              <a:gd name="connsiteX28334" fmla="*/ 1410173 w 8079933"/>
              <a:gd name="connsiteY28334" fmla="*/ 678315 h 4687251"/>
              <a:gd name="connsiteX28335" fmla="*/ 1414839 w 8079933"/>
              <a:gd name="connsiteY28335" fmla="*/ 680805 h 4687251"/>
              <a:gd name="connsiteX28336" fmla="*/ 1410064 w 8079933"/>
              <a:gd name="connsiteY28336" fmla="*/ 675284 h 4687251"/>
              <a:gd name="connsiteX28337" fmla="*/ 1410824 w 8079933"/>
              <a:gd name="connsiteY28337" fmla="*/ 673551 h 4687251"/>
              <a:gd name="connsiteX28338" fmla="*/ 1415273 w 8079933"/>
              <a:gd name="connsiteY28338" fmla="*/ 674959 h 4687251"/>
              <a:gd name="connsiteX28339" fmla="*/ 1417660 w 8079933"/>
              <a:gd name="connsiteY28339" fmla="*/ 673227 h 4687251"/>
              <a:gd name="connsiteX28340" fmla="*/ 1421784 w 8079933"/>
              <a:gd name="connsiteY28340" fmla="*/ 674634 h 4687251"/>
              <a:gd name="connsiteX28341" fmla="*/ 1420048 w 8079933"/>
              <a:gd name="connsiteY28341" fmla="*/ 670411 h 4687251"/>
              <a:gd name="connsiteX28342" fmla="*/ 1425908 w 8079933"/>
              <a:gd name="connsiteY28342" fmla="*/ 664240 h 4687251"/>
              <a:gd name="connsiteX28343" fmla="*/ 1433938 w 8079933"/>
              <a:gd name="connsiteY28343" fmla="*/ 662183 h 4687251"/>
              <a:gd name="connsiteX28344" fmla="*/ 1438387 w 8079933"/>
              <a:gd name="connsiteY28344" fmla="*/ 662183 h 4687251"/>
              <a:gd name="connsiteX28345" fmla="*/ 1450758 w 8079933"/>
              <a:gd name="connsiteY28345" fmla="*/ 654279 h 4687251"/>
              <a:gd name="connsiteX28346" fmla="*/ 1451843 w 8079933"/>
              <a:gd name="connsiteY28346" fmla="*/ 650490 h 4687251"/>
              <a:gd name="connsiteX28347" fmla="*/ 1455641 w 8079933"/>
              <a:gd name="connsiteY28347" fmla="*/ 649407 h 4687251"/>
              <a:gd name="connsiteX28348" fmla="*/ 1458788 w 8079933"/>
              <a:gd name="connsiteY28348" fmla="*/ 652872 h 4687251"/>
              <a:gd name="connsiteX28349" fmla="*/ 1461827 w 8079933"/>
              <a:gd name="connsiteY28349" fmla="*/ 650490 h 4687251"/>
              <a:gd name="connsiteX28350" fmla="*/ 1465299 w 8079933"/>
              <a:gd name="connsiteY28350" fmla="*/ 649840 h 4687251"/>
              <a:gd name="connsiteX28351" fmla="*/ 1465950 w 8079933"/>
              <a:gd name="connsiteY28351" fmla="*/ 651897 h 4687251"/>
              <a:gd name="connsiteX28352" fmla="*/ 1473221 w 8079933"/>
              <a:gd name="connsiteY28352" fmla="*/ 647025 h 4687251"/>
              <a:gd name="connsiteX28353" fmla="*/ 1474957 w 8079933"/>
              <a:gd name="connsiteY28353" fmla="*/ 649840 h 4687251"/>
              <a:gd name="connsiteX28354" fmla="*/ 1469098 w 8079933"/>
              <a:gd name="connsiteY28354" fmla="*/ 657419 h 4687251"/>
              <a:gd name="connsiteX28355" fmla="*/ 1469749 w 8079933"/>
              <a:gd name="connsiteY28355" fmla="*/ 661209 h 4687251"/>
              <a:gd name="connsiteX28356" fmla="*/ 1474957 w 8079933"/>
              <a:gd name="connsiteY28356" fmla="*/ 652872 h 4687251"/>
              <a:gd name="connsiteX28357" fmla="*/ 1482553 w 8079933"/>
              <a:gd name="connsiteY28357" fmla="*/ 651139 h 4687251"/>
              <a:gd name="connsiteX28358" fmla="*/ 1496335 w 8079933"/>
              <a:gd name="connsiteY28358" fmla="*/ 640854 h 4687251"/>
              <a:gd name="connsiteX28359" fmla="*/ 1503606 w 8079933"/>
              <a:gd name="connsiteY28359" fmla="*/ 640854 h 4687251"/>
              <a:gd name="connsiteX28360" fmla="*/ 1509140 w 8079933"/>
              <a:gd name="connsiteY28360" fmla="*/ 637389 h 4687251"/>
              <a:gd name="connsiteX28361" fmla="*/ 1517713 w 8079933"/>
              <a:gd name="connsiteY28361" fmla="*/ 637064 h 4687251"/>
              <a:gd name="connsiteX28362" fmla="*/ 1521945 w 8079933"/>
              <a:gd name="connsiteY28362" fmla="*/ 634683 h 4687251"/>
              <a:gd name="connsiteX28363" fmla="*/ 1526069 w 8079933"/>
              <a:gd name="connsiteY28363" fmla="*/ 634683 h 4687251"/>
              <a:gd name="connsiteX28364" fmla="*/ 1524658 w 8079933"/>
              <a:gd name="connsiteY28364" fmla="*/ 639446 h 4687251"/>
              <a:gd name="connsiteX28365" fmla="*/ 1518472 w 8079933"/>
              <a:gd name="connsiteY28365" fmla="*/ 641504 h 4687251"/>
              <a:gd name="connsiteX28366" fmla="*/ 1518472 w 8079933"/>
              <a:gd name="connsiteY28366" fmla="*/ 645293 h 4687251"/>
              <a:gd name="connsiteX28367" fmla="*/ 1522271 w 8079933"/>
              <a:gd name="connsiteY28367" fmla="*/ 648107 h 4687251"/>
              <a:gd name="connsiteX28368" fmla="*/ 1528131 w 8079933"/>
              <a:gd name="connsiteY28368" fmla="*/ 641504 h 4687251"/>
              <a:gd name="connsiteX28369" fmla="*/ 1539199 w 8079933"/>
              <a:gd name="connsiteY28369" fmla="*/ 636307 h 4687251"/>
              <a:gd name="connsiteX28370" fmla="*/ 1541586 w 8079933"/>
              <a:gd name="connsiteY28370" fmla="*/ 636740 h 4687251"/>
              <a:gd name="connsiteX28371" fmla="*/ 1541261 w 8079933"/>
              <a:gd name="connsiteY28371" fmla="*/ 633600 h 4687251"/>
              <a:gd name="connsiteX28372" fmla="*/ 1545710 w 8079933"/>
              <a:gd name="connsiteY28372" fmla="*/ 630136 h 4687251"/>
              <a:gd name="connsiteX28373" fmla="*/ 1549508 w 8079933"/>
              <a:gd name="connsiteY28373" fmla="*/ 631868 h 4687251"/>
              <a:gd name="connsiteX28374" fmla="*/ 1549834 w 8079933"/>
              <a:gd name="connsiteY28374" fmla="*/ 628078 h 4687251"/>
              <a:gd name="connsiteX28375" fmla="*/ 1551244 w 8079933"/>
              <a:gd name="connsiteY28375" fmla="*/ 625371 h 4687251"/>
              <a:gd name="connsiteX28376" fmla="*/ 1554283 w 8079933"/>
              <a:gd name="connsiteY28376" fmla="*/ 628403 h 4687251"/>
              <a:gd name="connsiteX28377" fmla="*/ 1558081 w 8079933"/>
              <a:gd name="connsiteY28377" fmla="*/ 629485 h 4687251"/>
              <a:gd name="connsiteX28378" fmla="*/ 1559166 w 8079933"/>
              <a:gd name="connsiteY28378" fmla="*/ 622232 h 4687251"/>
              <a:gd name="connsiteX28379" fmla="*/ 1557105 w 8079933"/>
              <a:gd name="connsiteY28379" fmla="*/ 617035 h 4687251"/>
              <a:gd name="connsiteX28380" fmla="*/ 1559492 w 8079933"/>
              <a:gd name="connsiteY28380" fmla="*/ 614328 h 4687251"/>
              <a:gd name="connsiteX28381" fmla="*/ 1556779 w 8079933"/>
              <a:gd name="connsiteY28381" fmla="*/ 611188 h 4687251"/>
              <a:gd name="connsiteX28382" fmla="*/ 1560903 w 8079933"/>
              <a:gd name="connsiteY28382" fmla="*/ 605017 h 4687251"/>
              <a:gd name="connsiteX28383" fmla="*/ 1567739 w 8079933"/>
              <a:gd name="connsiteY28383" fmla="*/ 602310 h 4687251"/>
              <a:gd name="connsiteX28384" fmla="*/ 1567739 w 8079933"/>
              <a:gd name="connsiteY28384" fmla="*/ 608481 h 4687251"/>
              <a:gd name="connsiteX28385" fmla="*/ 1569150 w 8079933"/>
              <a:gd name="connsiteY28385" fmla="*/ 626671 h 4687251"/>
              <a:gd name="connsiteX28386" fmla="*/ 1566437 w 8079933"/>
              <a:gd name="connsiteY28386" fmla="*/ 631868 h 4687251"/>
              <a:gd name="connsiteX28387" fmla="*/ 1567088 w 8079933"/>
              <a:gd name="connsiteY28387" fmla="*/ 646700 h 4687251"/>
              <a:gd name="connsiteX28388" fmla="*/ 1562964 w 8079933"/>
              <a:gd name="connsiteY28388" fmla="*/ 655254 h 4687251"/>
              <a:gd name="connsiteX28389" fmla="*/ 1562639 w 8079933"/>
              <a:gd name="connsiteY28389" fmla="*/ 676691 h 4687251"/>
              <a:gd name="connsiteX28390" fmla="*/ 1564701 w 8079933"/>
              <a:gd name="connsiteY28390" fmla="*/ 682538 h 4687251"/>
              <a:gd name="connsiteX28391" fmla="*/ 1569801 w 8079933"/>
              <a:gd name="connsiteY28391" fmla="*/ 684270 h 4687251"/>
              <a:gd name="connsiteX28392" fmla="*/ 1572948 w 8079933"/>
              <a:gd name="connsiteY28392" fmla="*/ 691091 h 4687251"/>
              <a:gd name="connsiteX28393" fmla="*/ 1580544 w 8079933"/>
              <a:gd name="connsiteY28393" fmla="*/ 686976 h 4687251"/>
              <a:gd name="connsiteX28394" fmla="*/ 1578157 w 8079933"/>
              <a:gd name="connsiteY28394" fmla="*/ 683512 h 4687251"/>
              <a:gd name="connsiteX28395" fmla="*/ 1573707 w 8079933"/>
              <a:gd name="connsiteY28395" fmla="*/ 683512 h 4687251"/>
              <a:gd name="connsiteX28396" fmla="*/ 1572297 w 8079933"/>
              <a:gd name="connsiteY28396" fmla="*/ 680480 h 4687251"/>
              <a:gd name="connsiteX28397" fmla="*/ 1576746 w 8079933"/>
              <a:gd name="connsiteY28397" fmla="*/ 677666 h 4687251"/>
              <a:gd name="connsiteX28398" fmla="*/ 1581303 w 8079933"/>
              <a:gd name="connsiteY28398" fmla="*/ 679398 h 4687251"/>
              <a:gd name="connsiteX28399" fmla="*/ 1582606 w 8079933"/>
              <a:gd name="connsiteY28399" fmla="*/ 674201 h 4687251"/>
              <a:gd name="connsiteX28400" fmla="*/ 1579893 w 8079933"/>
              <a:gd name="connsiteY28400" fmla="*/ 673227 h 4687251"/>
              <a:gd name="connsiteX28401" fmla="*/ 1584668 w 8079933"/>
              <a:gd name="connsiteY28401" fmla="*/ 669112 h 4687251"/>
              <a:gd name="connsiteX28402" fmla="*/ 1590853 w 8079933"/>
              <a:gd name="connsiteY28402" fmla="*/ 669437 h 4687251"/>
              <a:gd name="connsiteX28403" fmla="*/ 1591612 w 8079933"/>
              <a:gd name="connsiteY28403" fmla="*/ 673227 h 4687251"/>
              <a:gd name="connsiteX28404" fmla="*/ 1595411 w 8079933"/>
              <a:gd name="connsiteY28404" fmla="*/ 669762 h 4687251"/>
              <a:gd name="connsiteX28405" fmla="*/ 1590527 w 8079933"/>
              <a:gd name="connsiteY28405" fmla="*/ 660776 h 4687251"/>
              <a:gd name="connsiteX28406" fmla="*/ 1595085 w 8079933"/>
              <a:gd name="connsiteY28406" fmla="*/ 661533 h 4687251"/>
              <a:gd name="connsiteX28407" fmla="*/ 1603984 w 8079933"/>
              <a:gd name="connsiteY28407" fmla="*/ 656011 h 4687251"/>
              <a:gd name="connsiteX28408" fmla="*/ 1603984 w 8079933"/>
              <a:gd name="connsiteY28408" fmla="*/ 652222 h 4687251"/>
              <a:gd name="connsiteX28409" fmla="*/ 1609518 w 8079933"/>
              <a:gd name="connsiteY28409" fmla="*/ 650815 h 4687251"/>
              <a:gd name="connsiteX28410" fmla="*/ 1610603 w 8079933"/>
              <a:gd name="connsiteY28410" fmla="*/ 656336 h 4687251"/>
              <a:gd name="connsiteX28411" fmla="*/ 1610386 w 8079933"/>
              <a:gd name="connsiteY28411" fmla="*/ 659801 h 4687251"/>
              <a:gd name="connsiteX28412" fmla="*/ 1605937 w 8079933"/>
              <a:gd name="connsiteY28412" fmla="*/ 664132 h 4687251"/>
              <a:gd name="connsiteX28413" fmla="*/ 1606479 w 8079933"/>
              <a:gd name="connsiteY28413" fmla="*/ 666622 h 4687251"/>
              <a:gd name="connsiteX28414" fmla="*/ 1601922 w 8079933"/>
              <a:gd name="connsiteY28414" fmla="*/ 670519 h 4687251"/>
              <a:gd name="connsiteX28415" fmla="*/ 1601271 w 8079933"/>
              <a:gd name="connsiteY28415" fmla="*/ 673335 h 4687251"/>
              <a:gd name="connsiteX28416" fmla="*/ 1603116 w 8079933"/>
              <a:gd name="connsiteY28416" fmla="*/ 675284 h 4687251"/>
              <a:gd name="connsiteX28417" fmla="*/ 1606588 w 8079933"/>
              <a:gd name="connsiteY28417" fmla="*/ 674201 h 4687251"/>
              <a:gd name="connsiteX28418" fmla="*/ 1607782 w 8079933"/>
              <a:gd name="connsiteY28418" fmla="*/ 676799 h 4687251"/>
              <a:gd name="connsiteX28419" fmla="*/ 1606696 w 8079933"/>
              <a:gd name="connsiteY28419" fmla="*/ 678748 h 4687251"/>
              <a:gd name="connsiteX28420" fmla="*/ 1603116 w 8079933"/>
              <a:gd name="connsiteY28420" fmla="*/ 680480 h 4687251"/>
              <a:gd name="connsiteX28421" fmla="*/ 1598883 w 8079933"/>
              <a:gd name="connsiteY28421" fmla="*/ 684703 h 4687251"/>
              <a:gd name="connsiteX28422" fmla="*/ 1595954 w 8079933"/>
              <a:gd name="connsiteY28422" fmla="*/ 684270 h 4687251"/>
              <a:gd name="connsiteX28423" fmla="*/ 1594325 w 8079933"/>
              <a:gd name="connsiteY28423" fmla="*/ 686652 h 4687251"/>
              <a:gd name="connsiteX28424" fmla="*/ 1590853 w 8079933"/>
              <a:gd name="connsiteY28424" fmla="*/ 691091 h 4687251"/>
              <a:gd name="connsiteX28425" fmla="*/ 1593675 w 8079933"/>
              <a:gd name="connsiteY28425" fmla="*/ 693906 h 4687251"/>
              <a:gd name="connsiteX28426" fmla="*/ 1600620 w 8079933"/>
              <a:gd name="connsiteY28426" fmla="*/ 694880 h 4687251"/>
              <a:gd name="connsiteX28427" fmla="*/ 1604309 w 8079933"/>
              <a:gd name="connsiteY28427" fmla="*/ 697696 h 4687251"/>
              <a:gd name="connsiteX28428" fmla="*/ 1608867 w 8079933"/>
              <a:gd name="connsiteY28428" fmla="*/ 697263 h 4687251"/>
              <a:gd name="connsiteX28429" fmla="*/ 1612990 w 8079933"/>
              <a:gd name="connsiteY28429" fmla="*/ 693582 h 4687251"/>
              <a:gd name="connsiteX28430" fmla="*/ 1617873 w 8079933"/>
              <a:gd name="connsiteY28430" fmla="*/ 692498 h 4687251"/>
              <a:gd name="connsiteX28431" fmla="*/ 1622648 w 8079933"/>
              <a:gd name="connsiteY28431" fmla="*/ 683837 h 4687251"/>
              <a:gd name="connsiteX28432" fmla="*/ 1628183 w 8079933"/>
              <a:gd name="connsiteY28432" fmla="*/ 678315 h 4687251"/>
              <a:gd name="connsiteX28433" fmla="*/ 1633392 w 8079933"/>
              <a:gd name="connsiteY28433" fmla="*/ 676691 h 4687251"/>
              <a:gd name="connsiteX28434" fmla="*/ 1636430 w 8079933"/>
              <a:gd name="connsiteY28434" fmla="*/ 679398 h 4687251"/>
              <a:gd name="connsiteX28435" fmla="*/ 1641313 w 8079933"/>
              <a:gd name="connsiteY28435" fmla="*/ 680047 h 4687251"/>
              <a:gd name="connsiteX28436" fmla="*/ 1645111 w 8079933"/>
              <a:gd name="connsiteY28436" fmla="*/ 683188 h 4687251"/>
              <a:gd name="connsiteX28437" fmla="*/ 1649235 w 8079933"/>
              <a:gd name="connsiteY28437" fmla="*/ 683512 h 4687251"/>
              <a:gd name="connsiteX28438" fmla="*/ 1655095 w 8079933"/>
              <a:gd name="connsiteY28438" fmla="*/ 688060 h 4687251"/>
              <a:gd name="connsiteX28439" fmla="*/ 1659218 w 8079933"/>
              <a:gd name="connsiteY28439" fmla="*/ 688060 h 4687251"/>
              <a:gd name="connsiteX28440" fmla="*/ 1659218 w 8079933"/>
              <a:gd name="connsiteY28440" fmla="*/ 692498 h 4687251"/>
              <a:gd name="connsiteX28441" fmla="*/ 1663342 w 8079933"/>
              <a:gd name="connsiteY28441" fmla="*/ 703867 h 4687251"/>
              <a:gd name="connsiteX28442" fmla="*/ 1663342 w 8079933"/>
              <a:gd name="connsiteY28442" fmla="*/ 710039 h 4687251"/>
              <a:gd name="connsiteX28443" fmla="*/ 1668877 w 8079933"/>
              <a:gd name="connsiteY28443" fmla="*/ 718267 h 4687251"/>
              <a:gd name="connsiteX28444" fmla="*/ 1688192 w 8079933"/>
              <a:gd name="connsiteY28444" fmla="*/ 730393 h 4687251"/>
              <a:gd name="connsiteX28445" fmla="*/ 1689604 w 8079933"/>
              <a:gd name="connsiteY28445" fmla="*/ 734832 h 4687251"/>
              <a:gd name="connsiteX28446" fmla="*/ 1696223 w 8079933"/>
              <a:gd name="connsiteY28446" fmla="*/ 737973 h 4687251"/>
              <a:gd name="connsiteX28447" fmla="*/ 1703276 w 8079933"/>
              <a:gd name="connsiteY28447" fmla="*/ 745551 h 4687251"/>
              <a:gd name="connsiteX28448" fmla="*/ 1705664 w 8079933"/>
              <a:gd name="connsiteY28448" fmla="*/ 745551 h 4687251"/>
              <a:gd name="connsiteX28449" fmla="*/ 1710547 w 8079933"/>
              <a:gd name="connsiteY28449" fmla="*/ 748799 h 4687251"/>
              <a:gd name="connsiteX28450" fmla="*/ 1712175 w 8079933"/>
              <a:gd name="connsiteY28450" fmla="*/ 753022 h 4687251"/>
              <a:gd name="connsiteX28451" fmla="*/ 1715213 w 8079933"/>
              <a:gd name="connsiteY28451" fmla="*/ 754863 h 4687251"/>
              <a:gd name="connsiteX28452" fmla="*/ 1717601 w 8079933"/>
              <a:gd name="connsiteY28452" fmla="*/ 752589 h 4687251"/>
              <a:gd name="connsiteX28453" fmla="*/ 1719120 w 8079933"/>
              <a:gd name="connsiteY28453" fmla="*/ 755512 h 4687251"/>
              <a:gd name="connsiteX28454" fmla="*/ 1726174 w 8079933"/>
              <a:gd name="connsiteY28454" fmla="*/ 760167 h 4687251"/>
              <a:gd name="connsiteX28455" fmla="*/ 1730189 w 8079933"/>
              <a:gd name="connsiteY28455" fmla="*/ 760167 h 4687251"/>
              <a:gd name="connsiteX28456" fmla="*/ 1730189 w 8079933"/>
              <a:gd name="connsiteY28456" fmla="*/ 764824 h 4687251"/>
              <a:gd name="connsiteX28457" fmla="*/ 1733444 w 8079933"/>
              <a:gd name="connsiteY28457" fmla="*/ 769154 h 4687251"/>
              <a:gd name="connsiteX28458" fmla="*/ 1735180 w 8079933"/>
              <a:gd name="connsiteY28458" fmla="*/ 764824 h 4687251"/>
              <a:gd name="connsiteX28459" fmla="*/ 1733118 w 8079933"/>
              <a:gd name="connsiteY28459" fmla="*/ 761900 h 4687251"/>
              <a:gd name="connsiteX28460" fmla="*/ 1734095 w 8079933"/>
              <a:gd name="connsiteY28460" fmla="*/ 759302 h 4687251"/>
              <a:gd name="connsiteX28461" fmla="*/ 1729755 w 8079933"/>
              <a:gd name="connsiteY28461" fmla="*/ 755728 h 4687251"/>
              <a:gd name="connsiteX28462" fmla="*/ 1729755 w 8079933"/>
              <a:gd name="connsiteY28462" fmla="*/ 753130 h 4687251"/>
              <a:gd name="connsiteX28463" fmla="*/ 1736700 w 8079933"/>
              <a:gd name="connsiteY28463" fmla="*/ 756703 h 4687251"/>
              <a:gd name="connsiteX28464" fmla="*/ 1738219 w 8079933"/>
              <a:gd name="connsiteY28464" fmla="*/ 760385 h 4687251"/>
              <a:gd name="connsiteX28465" fmla="*/ 1740281 w 8079933"/>
              <a:gd name="connsiteY28465" fmla="*/ 760167 h 4687251"/>
              <a:gd name="connsiteX28466" fmla="*/ 1741691 w 8079933"/>
              <a:gd name="connsiteY28466" fmla="*/ 756595 h 4687251"/>
              <a:gd name="connsiteX28467" fmla="*/ 1743536 w 8079933"/>
              <a:gd name="connsiteY28467" fmla="*/ 756053 h 4687251"/>
              <a:gd name="connsiteX28468" fmla="*/ 1749938 w 8079933"/>
              <a:gd name="connsiteY28468" fmla="*/ 762225 h 4687251"/>
              <a:gd name="connsiteX28469" fmla="*/ 1751024 w 8079933"/>
              <a:gd name="connsiteY28469" fmla="*/ 765581 h 4687251"/>
              <a:gd name="connsiteX28470" fmla="*/ 1754062 w 8079933"/>
              <a:gd name="connsiteY28470" fmla="*/ 766881 h 4687251"/>
              <a:gd name="connsiteX28471" fmla="*/ 1756667 w 8079933"/>
              <a:gd name="connsiteY28471" fmla="*/ 772944 h 4687251"/>
              <a:gd name="connsiteX28472" fmla="*/ 1759054 w 8079933"/>
              <a:gd name="connsiteY28472" fmla="*/ 777058 h 4687251"/>
              <a:gd name="connsiteX28473" fmla="*/ 1759596 w 8079933"/>
              <a:gd name="connsiteY28473" fmla="*/ 782905 h 4687251"/>
              <a:gd name="connsiteX28474" fmla="*/ 1761876 w 8079933"/>
              <a:gd name="connsiteY28474" fmla="*/ 788318 h 4687251"/>
              <a:gd name="connsiteX28475" fmla="*/ 1759596 w 8079933"/>
              <a:gd name="connsiteY28475" fmla="*/ 793082 h 4687251"/>
              <a:gd name="connsiteX28476" fmla="*/ 1759054 w 8079933"/>
              <a:gd name="connsiteY28476" fmla="*/ 798387 h 4687251"/>
              <a:gd name="connsiteX28477" fmla="*/ 1754822 w 8079933"/>
              <a:gd name="connsiteY28477" fmla="*/ 803151 h 4687251"/>
              <a:gd name="connsiteX28478" fmla="*/ 1744296 w 8079933"/>
              <a:gd name="connsiteY28478" fmla="*/ 799362 h 4687251"/>
              <a:gd name="connsiteX28479" fmla="*/ 1738436 w 8079933"/>
              <a:gd name="connsiteY28479" fmla="*/ 798820 h 4687251"/>
              <a:gd name="connsiteX28480" fmla="*/ 1738545 w 8079933"/>
              <a:gd name="connsiteY28480" fmla="*/ 800769 h 4687251"/>
              <a:gd name="connsiteX28481" fmla="*/ 1736483 w 8079933"/>
              <a:gd name="connsiteY28481" fmla="*/ 802285 h 4687251"/>
              <a:gd name="connsiteX28482" fmla="*/ 1730514 w 8079933"/>
              <a:gd name="connsiteY28482" fmla="*/ 799903 h 4687251"/>
              <a:gd name="connsiteX28483" fmla="*/ 1726499 w 8079933"/>
              <a:gd name="connsiteY28483" fmla="*/ 799687 h 4687251"/>
              <a:gd name="connsiteX28484" fmla="*/ 1727692 w 8079933"/>
              <a:gd name="connsiteY28484" fmla="*/ 803368 h 4687251"/>
              <a:gd name="connsiteX28485" fmla="*/ 1723786 w 8079933"/>
              <a:gd name="connsiteY28485" fmla="*/ 806074 h 4687251"/>
              <a:gd name="connsiteX28486" fmla="*/ 1723244 w 8079933"/>
              <a:gd name="connsiteY28486" fmla="*/ 811055 h 4687251"/>
              <a:gd name="connsiteX28487" fmla="*/ 1718251 w 8079933"/>
              <a:gd name="connsiteY28487" fmla="*/ 810513 h 4687251"/>
              <a:gd name="connsiteX28488" fmla="*/ 1713911 w 8079933"/>
              <a:gd name="connsiteY28488" fmla="*/ 812138 h 4687251"/>
              <a:gd name="connsiteX28489" fmla="*/ 1715647 w 8079933"/>
              <a:gd name="connsiteY28489" fmla="*/ 814519 h 4687251"/>
              <a:gd name="connsiteX28490" fmla="*/ 1720313 w 8079933"/>
              <a:gd name="connsiteY28490" fmla="*/ 816577 h 4687251"/>
              <a:gd name="connsiteX28491" fmla="*/ 1721724 w 8079933"/>
              <a:gd name="connsiteY28491" fmla="*/ 821882 h 4687251"/>
              <a:gd name="connsiteX28492" fmla="*/ 1725631 w 8079933"/>
              <a:gd name="connsiteY28492" fmla="*/ 825130 h 4687251"/>
              <a:gd name="connsiteX28493" fmla="*/ 1728560 w 8079933"/>
              <a:gd name="connsiteY28493" fmla="*/ 823290 h 4687251"/>
              <a:gd name="connsiteX28494" fmla="*/ 1734095 w 8079933"/>
              <a:gd name="connsiteY28494" fmla="*/ 827729 h 4687251"/>
              <a:gd name="connsiteX28495" fmla="*/ 1734421 w 8079933"/>
              <a:gd name="connsiteY28495" fmla="*/ 831843 h 4687251"/>
              <a:gd name="connsiteX28496" fmla="*/ 1741040 w 8079933"/>
              <a:gd name="connsiteY28496" fmla="*/ 831843 h 4687251"/>
              <a:gd name="connsiteX28497" fmla="*/ 1748419 w 8079933"/>
              <a:gd name="connsiteY28497" fmla="*/ 836390 h 4687251"/>
              <a:gd name="connsiteX28498" fmla="*/ 1756341 w 8079933"/>
              <a:gd name="connsiteY28498" fmla="*/ 836823 h 4687251"/>
              <a:gd name="connsiteX28499" fmla="*/ 1766325 w 8079933"/>
              <a:gd name="connsiteY28499" fmla="*/ 841370 h 4687251"/>
              <a:gd name="connsiteX28500" fmla="*/ 1772402 w 8079933"/>
              <a:gd name="connsiteY28500" fmla="*/ 841696 h 4687251"/>
              <a:gd name="connsiteX28501" fmla="*/ 1772402 w 8079933"/>
              <a:gd name="connsiteY28501" fmla="*/ 839097 h 4687251"/>
              <a:gd name="connsiteX28502" fmla="*/ 1774789 w 8079933"/>
              <a:gd name="connsiteY28502" fmla="*/ 838772 h 4687251"/>
              <a:gd name="connsiteX28503" fmla="*/ 1779021 w 8079933"/>
              <a:gd name="connsiteY28503" fmla="*/ 841154 h 4687251"/>
              <a:gd name="connsiteX28504" fmla="*/ 1778696 w 8079933"/>
              <a:gd name="connsiteY28504" fmla="*/ 844944 h 4687251"/>
              <a:gd name="connsiteX28505" fmla="*/ 1785641 w 8079933"/>
              <a:gd name="connsiteY28505" fmla="*/ 839422 h 4687251"/>
              <a:gd name="connsiteX28506" fmla="*/ 1788028 w 8079933"/>
              <a:gd name="connsiteY28506" fmla="*/ 842129 h 4687251"/>
              <a:gd name="connsiteX28507" fmla="*/ 1790958 w 8079933"/>
              <a:gd name="connsiteY28507" fmla="*/ 841804 h 4687251"/>
              <a:gd name="connsiteX28508" fmla="*/ 1794213 w 8079933"/>
              <a:gd name="connsiteY28508" fmla="*/ 838014 h 4687251"/>
              <a:gd name="connsiteX28509" fmla="*/ 1796275 w 8079933"/>
              <a:gd name="connsiteY28509" fmla="*/ 838231 h 4687251"/>
              <a:gd name="connsiteX28510" fmla="*/ 1796167 w 8079933"/>
              <a:gd name="connsiteY28510" fmla="*/ 840505 h 4687251"/>
              <a:gd name="connsiteX28511" fmla="*/ 1798663 w 8079933"/>
              <a:gd name="connsiteY28511" fmla="*/ 841479 h 4687251"/>
              <a:gd name="connsiteX28512" fmla="*/ 1806259 w 8079933"/>
              <a:gd name="connsiteY28512" fmla="*/ 837582 h 4687251"/>
              <a:gd name="connsiteX28513" fmla="*/ 1819389 w 8079933"/>
              <a:gd name="connsiteY28513" fmla="*/ 832709 h 4687251"/>
              <a:gd name="connsiteX28514" fmla="*/ 1823404 w 8079933"/>
              <a:gd name="connsiteY28514" fmla="*/ 831843 h 4687251"/>
              <a:gd name="connsiteX28515" fmla="*/ 1823187 w 8079933"/>
              <a:gd name="connsiteY28515" fmla="*/ 836390 h 4687251"/>
              <a:gd name="connsiteX28516" fmla="*/ 1821994 w 8079933"/>
              <a:gd name="connsiteY28516" fmla="*/ 838772 h 4687251"/>
              <a:gd name="connsiteX28517" fmla="*/ 1821994 w 8079933"/>
              <a:gd name="connsiteY28517" fmla="*/ 840505 h 4687251"/>
              <a:gd name="connsiteX28518" fmla="*/ 1824164 w 8079933"/>
              <a:gd name="connsiteY28518" fmla="*/ 840613 h 4687251"/>
              <a:gd name="connsiteX28519" fmla="*/ 1824598 w 8079933"/>
              <a:gd name="connsiteY28519" fmla="*/ 845593 h 4687251"/>
              <a:gd name="connsiteX28520" fmla="*/ 1823839 w 8079933"/>
              <a:gd name="connsiteY28520" fmla="*/ 849274 h 4687251"/>
              <a:gd name="connsiteX28521" fmla="*/ 1825032 w 8079933"/>
              <a:gd name="connsiteY28521" fmla="*/ 851764 h 4687251"/>
              <a:gd name="connsiteX28522" fmla="*/ 1826660 w 8079933"/>
              <a:gd name="connsiteY28522" fmla="*/ 852847 h 4687251"/>
              <a:gd name="connsiteX28523" fmla="*/ 1829373 w 8079933"/>
              <a:gd name="connsiteY28523" fmla="*/ 849924 h 4687251"/>
              <a:gd name="connsiteX28524" fmla="*/ 1832303 w 8079933"/>
              <a:gd name="connsiteY28524" fmla="*/ 852523 h 4687251"/>
              <a:gd name="connsiteX28525" fmla="*/ 1831651 w 8079933"/>
              <a:gd name="connsiteY28525" fmla="*/ 856637 h 4687251"/>
              <a:gd name="connsiteX28526" fmla="*/ 1828505 w 8079933"/>
              <a:gd name="connsiteY28526" fmla="*/ 864216 h 4687251"/>
              <a:gd name="connsiteX28527" fmla="*/ 1829590 w 8079933"/>
              <a:gd name="connsiteY28527" fmla="*/ 869196 h 4687251"/>
              <a:gd name="connsiteX28528" fmla="*/ 1830892 w 8079933"/>
              <a:gd name="connsiteY28528" fmla="*/ 870171 h 4687251"/>
              <a:gd name="connsiteX28529" fmla="*/ 1834365 w 8079933"/>
              <a:gd name="connsiteY28529" fmla="*/ 866814 h 4687251"/>
              <a:gd name="connsiteX28530" fmla="*/ 1835016 w 8079933"/>
              <a:gd name="connsiteY28530" fmla="*/ 860968 h 4687251"/>
              <a:gd name="connsiteX28531" fmla="*/ 1836752 w 8079933"/>
              <a:gd name="connsiteY28531" fmla="*/ 858045 h 4687251"/>
              <a:gd name="connsiteX28532" fmla="*/ 1838163 w 8079933"/>
              <a:gd name="connsiteY28532" fmla="*/ 858045 h 4687251"/>
              <a:gd name="connsiteX28533" fmla="*/ 1837620 w 8079933"/>
              <a:gd name="connsiteY28533" fmla="*/ 864324 h 4687251"/>
              <a:gd name="connsiteX28534" fmla="*/ 1834365 w 8079933"/>
              <a:gd name="connsiteY28534" fmla="*/ 872120 h 4687251"/>
              <a:gd name="connsiteX28535" fmla="*/ 1830892 w 8079933"/>
              <a:gd name="connsiteY28535" fmla="*/ 877316 h 4687251"/>
              <a:gd name="connsiteX28536" fmla="*/ 1830567 w 8079933"/>
              <a:gd name="connsiteY28536" fmla="*/ 885653 h 4687251"/>
              <a:gd name="connsiteX28537" fmla="*/ 1833822 w 8079933"/>
              <a:gd name="connsiteY28537" fmla="*/ 890851 h 4687251"/>
              <a:gd name="connsiteX28538" fmla="*/ 1834039 w 8079933"/>
              <a:gd name="connsiteY28538" fmla="*/ 899079 h 4687251"/>
              <a:gd name="connsiteX28539" fmla="*/ 1832303 w 8079933"/>
              <a:gd name="connsiteY28539" fmla="*/ 904926 h 4687251"/>
              <a:gd name="connsiteX28540" fmla="*/ 1837294 w 8079933"/>
              <a:gd name="connsiteY28540" fmla="*/ 908498 h 4687251"/>
              <a:gd name="connsiteX28541" fmla="*/ 1837294 w 8079933"/>
              <a:gd name="connsiteY28541" fmla="*/ 911530 h 4687251"/>
              <a:gd name="connsiteX28542" fmla="*/ 1835233 w 8079933"/>
              <a:gd name="connsiteY28542" fmla="*/ 915428 h 4687251"/>
              <a:gd name="connsiteX28543" fmla="*/ 1837294 w 8079933"/>
              <a:gd name="connsiteY28543" fmla="*/ 917810 h 4687251"/>
              <a:gd name="connsiteX28544" fmla="*/ 1839899 w 8079933"/>
              <a:gd name="connsiteY28544" fmla="*/ 924847 h 4687251"/>
              <a:gd name="connsiteX28545" fmla="*/ 1840767 w 8079933"/>
              <a:gd name="connsiteY28545" fmla="*/ 939681 h 4687251"/>
              <a:gd name="connsiteX28546" fmla="*/ 1841093 w 8079933"/>
              <a:gd name="connsiteY28546" fmla="*/ 924847 h 4687251"/>
              <a:gd name="connsiteX28547" fmla="*/ 1838488 w 8079933"/>
              <a:gd name="connsiteY28547" fmla="*/ 913154 h 4687251"/>
              <a:gd name="connsiteX28548" fmla="*/ 1839899 w 8079933"/>
              <a:gd name="connsiteY28548" fmla="*/ 902869 h 4687251"/>
              <a:gd name="connsiteX28549" fmla="*/ 1845433 w 8079933"/>
              <a:gd name="connsiteY28549" fmla="*/ 892908 h 4687251"/>
              <a:gd name="connsiteX28550" fmla="*/ 1848689 w 8079933"/>
              <a:gd name="connsiteY28550" fmla="*/ 893016 h 4687251"/>
              <a:gd name="connsiteX28551" fmla="*/ 1848689 w 8079933"/>
              <a:gd name="connsiteY28551" fmla="*/ 897347 h 4687251"/>
              <a:gd name="connsiteX28552" fmla="*/ 1846952 w 8079933"/>
              <a:gd name="connsiteY28552" fmla="*/ 897996 h 4687251"/>
              <a:gd name="connsiteX28553" fmla="*/ 1846302 w 8079933"/>
              <a:gd name="connsiteY28553" fmla="*/ 901894 h 4687251"/>
              <a:gd name="connsiteX28554" fmla="*/ 1847929 w 8079933"/>
              <a:gd name="connsiteY28554" fmla="*/ 903085 h 4687251"/>
              <a:gd name="connsiteX28555" fmla="*/ 1851076 w 8079933"/>
              <a:gd name="connsiteY28555" fmla="*/ 901028 h 4687251"/>
              <a:gd name="connsiteX28556" fmla="*/ 1852270 w 8079933"/>
              <a:gd name="connsiteY28556" fmla="*/ 902869 h 4687251"/>
              <a:gd name="connsiteX28557" fmla="*/ 1854331 w 8079933"/>
              <a:gd name="connsiteY28557" fmla="*/ 900703 h 4687251"/>
              <a:gd name="connsiteX28558" fmla="*/ 1854331 w 8079933"/>
              <a:gd name="connsiteY28558" fmla="*/ 895831 h 4687251"/>
              <a:gd name="connsiteX28559" fmla="*/ 1851618 w 8079933"/>
              <a:gd name="connsiteY28559" fmla="*/ 891500 h 4687251"/>
              <a:gd name="connsiteX28560" fmla="*/ 1851402 w 8079933"/>
              <a:gd name="connsiteY28560" fmla="*/ 888793 h 4687251"/>
              <a:gd name="connsiteX28561" fmla="*/ 1855959 w 8079933"/>
              <a:gd name="connsiteY28561" fmla="*/ 887602 h 4687251"/>
              <a:gd name="connsiteX28562" fmla="*/ 1857153 w 8079933"/>
              <a:gd name="connsiteY28562" fmla="*/ 885112 h 4687251"/>
              <a:gd name="connsiteX28563" fmla="*/ 1852813 w 8079933"/>
              <a:gd name="connsiteY28563" fmla="*/ 881755 h 4687251"/>
              <a:gd name="connsiteX28564" fmla="*/ 1853138 w 8079933"/>
              <a:gd name="connsiteY28564" fmla="*/ 878508 h 4687251"/>
              <a:gd name="connsiteX28565" fmla="*/ 1855417 w 8079933"/>
              <a:gd name="connsiteY28565" fmla="*/ 869521 h 4687251"/>
              <a:gd name="connsiteX28566" fmla="*/ 1859541 w 8079933"/>
              <a:gd name="connsiteY28566" fmla="*/ 857503 h 4687251"/>
              <a:gd name="connsiteX28567" fmla="*/ 1858456 w 8079933"/>
              <a:gd name="connsiteY28567" fmla="*/ 853497 h 4687251"/>
              <a:gd name="connsiteX28568" fmla="*/ 1858456 w 8079933"/>
              <a:gd name="connsiteY28568" fmla="*/ 849708 h 4687251"/>
              <a:gd name="connsiteX28569" fmla="*/ 1861602 w 8079933"/>
              <a:gd name="connsiteY28569" fmla="*/ 847325 h 4687251"/>
              <a:gd name="connsiteX28570" fmla="*/ 1868330 w 8079933"/>
              <a:gd name="connsiteY28570" fmla="*/ 846676 h 4687251"/>
              <a:gd name="connsiteX28571" fmla="*/ 1868656 w 8079933"/>
              <a:gd name="connsiteY28571" fmla="*/ 845160 h 4687251"/>
              <a:gd name="connsiteX28572" fmla="*/ 1870718 w 8079933"/>
              <a:gd name="connsiteY28572" fmla="*/ 842345 h 4687251"/>
              <a:gd name="connsiteX28573" fmla="*/ 1873973 w 8079933"/>
              <a:gd name="connsiteY28573" fmla="*/ 841804 h 4687251"/>
              <a:gd name="connsiteX28574" fmla="*/ 1876035 w 8079933"/>
              <a:gd name="connsiteY28574" fmla="*/ 844294 h 4687251"/>
              <a:gd name="connsiteX28575" fmla="*/ 1879507 w 8079933"/>
              <a:gd name="connsiteY28575" fmla="*/ 842670 h 4687251"/>
              <a:gd name="connsiteX28576" fmla="*/ 1882437 w 8079933"/>
              <a:gd name="connsiteY28576" fmla="*/ 838772 h 4687251"/>
              <a:gd name="connsiteX28577" fmla="*/ 1884717 w 8079933"/>
              <a:gd name="connsiteY28577" fmla="*/ 838556 h 4687251"/>
              <a:gd name="connsiteX28578" fmla="*/ 1884717 w 8079933"/>
              <a:gd name="connsiteY28578" fmla="*/ 841804 h 4687251"/>
              <a:gd name="connsiteX28579" fmla="*/ 1887103 w 8079933"/>
              <a:gd name="connsiteY28579" fmla="*/ 840613 h 4687251"/>
              <a:gd name="connsiteX28580" fmla="*/ 1892313 w 8079933"/>
              <a:gd name="connsiteY28580" fmla="*/ 839747 h 4687251"/>
              <a:gd name="connsiteX28581" fmla="*/ 1894700 w 8079933"/>
              <a:gd name="connsiteY28581" fmla="*/ 835091 h 4687251"/>
              <a:gd name="connsiteX28582" fmla="*/ 1897413 w 8079933"/>
              <a:gd name="connsiteY28582" fmla="*/ 835091 h 4687251"/>
              <a:gd name="connsiteX28583" fmla="*/ 1899041 w 8079933"/>
              <a:gd name="connsiteY28583" fmla="*/ 838772 h 4687251"/>
              <a:gd name="connsiteX28584" fmla="*/ 1901211 w 8079933"/>
              <a:gd name="connsiteY28584" fmla="*/ 839313 h 4687251"/>
              <a:gd name="connsiteX28585" fmla="*/ 1902404 w 8079933"/>
              <a:gd name="connsiteY28585" fmla="*/ 845268 h 4687251"/>
              <a:gd name="connsiteX28586" fmla="*/ 1902296 w 8079933"/>
              <a:gd name="connsiteY28586" fmla="*/ 839313 h 4687251"/>
              <a:gd name="connsiteX28587" fmla="*/ 1900668 w 8079933"/>
              <a:gd name="connsiteY28587" fmla="*/ 834117 h 4687251"/>
              <a:gd name="connsiteX28588" fmla="*/ 1904467 w 8079933"/>
              <a:gd name="connsiteY28588" fmla="*/ 826862 h 4687251"/>
              <a:gd name="connsiteX28589" fmla="*/ 1907830 w 8079933"/>
              <a:gd name="connsiteY28589" fmla="*/ 826754 h 4687251"/>
              <a:gd name="connsiteX28590" fmla="*/ 1910001 w 8079933"/>
              <a:gd name="connsiteY28590" fmla="*/ 828486 h 4687251"/>
              <a:gd name="connsiteX28591" fmla="*/ 1914016 w 8079933"/>
              <a:gd name="connsiteY28591" fmla="*/ 828270 h 4687251"/>
              <a:gd name="connsiteX28592" fmla="*/ 1916620 w 8079933"/>
              <a:gd name="connsiteY28592" fmla="*/ 826538 h 4687251"/>
              <a:gd name="connsiteX28593" fmla="*/ 1919442 w 8079933"/>
              <a:gd name="connsiteY28593" fmla="*/ 828811 h 4687251"/>
              <a:gd name="connsiteX28594" fmla="*/ 1924867 w 8079933"/>
              <a:gd name="connsiteY28594" fmla="*/ 822964 h 4687251"/>
              <a:gd name="connsiteX28595" fmla="*/ 1923131 w 8079933"/>
              <a:gd name="connsiteY28595" fmla="*/ 819825 h 4687251"/>
              <a:gd name="connsiteX28596" fmla="*/ 1926170 w 8079933"/>
              <a:gd name="connsiteY28596" fmla="*/ 816577 h 4687251"/>
              <a:gd name="connsiteX28597" fmla="*/ 1921937 w 8079933"/>
              <a:gd name="connsiteY28597" fmla="*/ 816252 h 4687251"/>
              <a:gd name="connsiteX28598" fmla="*/ 1921395 w 8079933"/>
              <a:gd name="connsiteY28598" fmla="*/ 814844 h 4687251"/>
              <a:gd name="connsiteX28599" fmla="*/ 1917814 w 8079933"/>
              <a:gd name="connsiteY28599" fmla="*/ 815061 h 4687251"/>
              <a:gd name="connsiteX28600" fmla="*/ 1908156 w 8079933"/>
              <a:gd name="connsiteY28600" fmla="*/ 818417 h 4687251"/>
              <a:gd name="connsiteX28601" fmla="*/ 1905335 w 8079933"/>
              <a:gd name="connsiteY28601" fmla="*/ 818093 h 4687251"/>
              <a:gd name="connsiteX28602" fmla="*/ 1904032 w 8079933"/>
              <a:gd name="connsiteY28602" fmla="*/ 821341 h 4687251"/>
              <a:gd name="connsiteX28603" fmla="*/ 1899801 w 8079933"/>
              <a:gd name="connsiteY28603" fmla="*/ 821774 h 4687251"/>
              <a:gd name="connsiteX28604" fmla="*/ 1899801 w 8079933"/>
              <a:gd name="connsiteY28604" fmla="*/ 824697 h 4687251"/>
              <a:gd name="connsiteX28605" fmla="*/ 1898824 w 8079933"/>
              <a:gd name="connsiteY28605" fmla="*/ 827079 h 4687251"/>
              <a:gd name="connsiteX28606" fmla="*/ 1894808 w 8079933"/>
              <a:gd name="connsiteY28606" fmla="*/ 822207 h 4687251"/>
              <a:gd name="connsiteX28607" fmla="*/ 1895351 w 8079933"/>
              <a:gd name="connsiteY28607" fmla="*/ 818417 h 4687251"/>
              <a:gd name="connsiteX28608" fmla="*/ 1892638 w 8079933"/>
              <a:gd name="connsiteY28608" fmla="*/ 820691 h 4687251"/>
              <a:gd name="connsiteX28609" fmla="*/ 1891553 w 8079933"/>
              <a:gd name="connsiteY28609" fmla="*/ 824805 h 4687251"/>
              <a:gd name="connsiteX28610" fmla="*/ 1888297 w 8079933"/>
              <a:gd name="connsiteY28610" fmla="*/ 826213 h 4687251"/>
              <a:gd name="connsiteX28611" fmla="*/ 1883849 w 8079933"/>
              <a:gd name="connsiteY28611" fmla="*/ 823290 h 4687251"/>
              <a:gd name="connsiteX28612" fmla="*/ 1880159 w 8079933"/>
              <a:gd name="connsiteY28612" fmla="*/ 823290 h 4687251"/>
              <a:gd name="connsiteX28613" fmla="*/ 1879507 w 8079933"/>
              <a:gd name="connsiteY28613" fmla="*/ 821016 h 4687251"/>
              <a:gd name="connsiteX28614" fmla="*/ 1876469 w 8079933"/>
              <a:gd name="connsiteY28614" fmla="*/ 821882 h 4687251"/>
              <a:gd name="connsiteX28615" fmla="*/ 1875926 w 8079933"/>
              <a:gd name="connsiteY28615" fmla="*/ 824697 h 4687251"/>
              <a:gd name="connsiteX28616" fmla="*/ 1879182 w 8079933"/>
              <a:gd name="connsiteY28616" fmla="*/ 827945 h 4687251"/>
              <a:gd name="connsiteX28617" fmla="*/ 1879182 w 8079933"/>
              <a:gd name="connsiteY28617" fmla="*/ 830652 h 4687251"/>
              <a:gd name="connsiteX28618" fmla="*/ 1874190 w 8079933"/>
              <a:gd name="connsiteY28618" fmla="*/ 832276 h 4687251"/>
              <a:gd name="connsiteX28619" fmla="*/ 1872780 w 8079933"/>
              <a:gd name="connsiteY28619" fmla="*/ 830002 h 4687251"/>
              <a:gd name="connsiteX28620" fmla="*/ 1866377 w 8079933"/>
              <a:gd name="connsiteY28620" fmla="*/ 829136 h 4687251"/>
              <a:gd name="connsiteX28621" fmla="*/ 1865509 w 8079933"/>
              <a:gd name="connsiteY28621" fmla="*/ 826754 h 4687251"/>
              <a:gd name="connsiteX28622" fmla="*/ 1868547 w 8079933"/>
              <a:gd name="connsiteY28622" fmla="*/ 824156 h 4687251"/>
              <a:gd name="connsiteX28623" fmla="*/ 1869850 w 8079933"/>
              <a:gd name="connsiteY28623" fmla="*/ 819825 h 4687251"/>
              <a:gd name="connsiteX28624" fmla="*/ 1868005 w 8079933"/>
              <a:gd name="connsiteY28624" fmla="*/ 819609 h 4687251"/>
              <a:gd name="connsiteX28625" fmla="*/ 1865184 w 8079933"/>
              <a:gd name="connsiteY28625" fmla="*/ 821341 h 4687251"/>
              <a:gd name="connsiteX28626" fmla="*/ 1861602 w 8079933"/>
              <a:gd name="connsiteY28626" fmla="*/ 819500 h 4687251"/>
              <a:gd name="connsiteX28627" fmla="*/ 1863447 w 8079933"/>
              <a:gd name="connsiteY28627" fmla="*/ 815711 h 4687251"/>
              <a:gd name="connsiteX28628" fmla="*/ 1867788 w 8079933"/>
              <a:gd name="connsiteY28628" fmla="*/ 813112 h 4687251"/>
              <a:gd name="connsiteX28629" fmla="*/ 1873864 w 8079933"/>
              <a:gd name="connsiteY28629" fmla="*/ 804558 h 4687251"/>
              <a:gd name="connsiteX28630" fmla="*/ 1878097 w 8079933"/>
              <a:gd name="connsiteY28630" fmla="*/ 804558 h 4687251"/>
              <a:gd name="connsiteX28631" fmla="*/ 1883306 w 8079933"/>
              <a:gd name="connsiteY28631" fmla="*/ 805966 h 4687251"/>
              <a:gd name="connsiteX28632" fmla="*/ 1900668 w 8079933"/>
              <a:gd name="connsiteY28632" fmla="*/ 805209 h 4687251"/>
              <a:gd name="connsiteX28633" fmla="*/ 1912931 w 8079933"/>
              <a:gd name="connsiteY28633" fmla="*/ 801419 h 4687251"/>
              <a:gd name="connsiteX28634" fmla="*/ 1916186 w 8079933"/>
              <a:gd name="connsiteY28634" fmla="*/ 802177 h 4687251"/>
              <a:gd name="connsiteX28635" fmla="*/ 1922263 w 8079933"/>
              <a:gd name="connsiteY28635" fmla="*/ 800011 h 4687251"/>
              <a:gd name="connsiteX28636" fmla="*/ 1924433 w 8079933"/>
              <a:gd name="connsiteY28636" fmla="*/ 803476 h 4687251"/>
              <a:gd name="connsiteX28637" fmla="*/ 1927363 w 8079933"/>
              <a:gd name="connsiteY28637" fmla="*/ 806074 h 4687251"/>
              <a:gd name="connsiteX28638" fmla="*/ 1929642 w 8079933"/>
              <a:gd name="connsiteY28638" fmla="*/ 806291 h 4687251"/>
              <a:gd name="connsiteX28639" fmla="*/ 1931053 w 8079933"/>
              <a:gd name="connsiteY28639" fmla="*/ 810080 h 4687251"/>
              <a:gd name="connsiteX28640" fmla="*/ 1930185 w 8079933"/>
              <a:gd name="connsiteY28640" fmla="*/ 819609 h 4687251"/>
              <a:gd name="connsiteX28641" fmla="*/ 1928991 w 8079933"/>
              <a:gd name="connsiteY28641" fmla="*/ 822748 h 4687251"/>
              <a:gd name="connsiteX28642" fmla="*/ 1931270 w 8079933"/>
              <a:gd name="connsiteY28642" fmla="*/ 824156 h 4687251"/>
              <a:gd name="connsiteX28643" fmla="*/ 1930510 w 8079933"/>
              <a:gd name="connsiteY28643" fmla="*/ 825996 h 4687251"/>
              <a:gd name="connsiteX28644" fmla="*/ 1926712 w 8079933"/>
              <a:gd name="connsiteY28644" fmla="*/ 828486 h 4687251"/>
              <a:gd name="connsiteX28645" fmla="*/ 1927255 w 8079933"/>
              <a:gd name="connsiteY28645" fmla="*/ 830111 h 4687251"/>
              <a:gd name="connsiteX28646" fmla="*/ 1928991 w 8079933"/>
              <a:gd name="connsiteY28646" fmla="*/ 831518 h 4687251"/>
              <a:gd name="connsiteX28647" fmla="*/ 1930185 w 8079933"/>
              <a:gd name="connsiteY28647" fmla="*/ 840829 h 4687251"/>
              <a:gd name="connsiteX28648" fmla="*/ 1933766 w 8079933"/>
              <a:gd name="connsiteY28648" fmla="*/ 840937 h 4687251"/>
              <a:gd name="connsiteX28649" fmla="*/ 1936696 w 8079933"/>
              <a:gd name="connsiteY28649" fmla="*/ 842345 h 4687251"/>
              <a:gd name="connsiteX28650" fmla="*/ 1936696 w 8079933"/>
              <a:gd name="connsiteY28650" fmla="*/ 844727 h 4687251"/>
              <a:gd name="connsiteX28651" fmla="*/ 1932898 w 8079933"/>
              <a:gd name="connsiteY28651" fmla="*/ 847542 h 4687251"/>
              <a:gd name="connsiteX28652" fmla="*/ 1932572 w 8079933"/>
              <a:gd name="connsiteY28652" fmla="*/ 851115 h 4687251"/>
              <a:gd name="connsiteX28653" fmla="*/ 1930728 w 8079933"/>
              <a:gd name="connsiteY28653" fmla="*/ 854255 h 4687251"/>
              <a:gd name="connsiteX28654" fmla="*/ 1935394 w 8079933"/>
              <a:gd name="connsiteY28654" fmla="*/ 854039 h 4687251"/>
              <a:gd name="connsiteX28655" fmla="*/ 1939626 w 8079933"/>
              <a:gd name="connsiteY28655" fmla="*/ 855988 h 4687251"/>
              <a:gd name="connsiteX28656" fmla="*/ 1940494 w 8079933"/>
              <a:gd name="connsiteY28656" fmla="*/ 857719 h 4687251"/>
              <a:gd name="connsiteX28657" fmla="*/ 1942447 w 8079933"/>
              <a:gd name="connsiteY28657" fmla="*/ 857178 h 4687251"/>
              <a:gd name="connsiteX28658" fmla="*/ 1945703 w 8079933"/>
              <a:gd name="connsiteY28658" fmla="*/ 860751 h 4687251"/>
              <a:gd name="connsiteX28659" fmla="*/ 1950694 w 8079933"/>
              <a:gd name="connsiteY28659" fmla="*/ 860968 h 4687251"/>
              <a:gd name="connsiteX28660" fmla="*/ 1954818 w 8079933"/>
              <a:gd name="connsiteY28660" fmla="*/ 858478 h 4687251"/>
              <a:gd name="connsiteX28661" fmla="*/ 1956554 w 8079933"/>
              <a:gd name="connsiteY28661" fmla="*/ 859560 h 4687251"/>
              <a:gd name="connsiteX28662" fmla="*/ 1956229 w 8079933"/>
              <a:gd name="connsiteY28662" fmla="*/ 862808 h 4687251"/>
              <a:gd name="connsiteX28663" fmla="*/ 1957423 w 8079933"/>
              <a:gd name="connsiteY28663" fmla="*/ 864216 h 4687251"/>
              <a:gd name="connsiteX28664" fmla="*/ 1959592 w 8079933"/>
              <a:gd name="connsiteY28664" fmla="*/ 863349 h 4687251"/>
              <a:gd name="connsiteX28665" fmla="*/ 1962089 w 8079933"/>
              <a:gd name="connsiteY28665" fmla="*/ 866273 h 4687251"/>
              <a:gd name="connsiteX28666" fmla="*/ 1960787 w 8079933"/>
              <a:gd name="connsiteY28666" fmla="*/ 868547 h 4687251"/>
              <a:gd name="connsiteX28667" fmla="*/ 1960787 w 8079933"/>
              <a:gd name="connsiteY28667" fmla="*/ 871362 h 4687251"/>
              <a:gd name="connsiteX28668" fmla="*/ 1962849 w 8079933"/>
              <a:gd name="connsiteY28668" fmla="*/ 872228 h 4687251"/>
              <a:gd name="connsiteX28669" fmla="*/ 1963825 w 8079933"/>
              <a:gd name="connsiteY28669" fmla="*/ 875151 h 4687251"/>
              <a:gd name="connsiteX28670" fmla="*/ 1970336 w 8079933"/>
              <a:gd name="connsiteY28670" fmla="*/ 881431 h 4687251"/>
              <a:gd name="connsiteX28671" fmla="*/ 1970336 w 8079933"/>
              <a:gd name="connsiteY28671" fmla="*/ 884787 h 4687251"/>
              <a:gd name="connsiteX28672" fmla="*/ 1975436 w 8079933"/>
              <a:gd name="connsiteY28672" fmla="*/ 881214 h 4687251"/>
              <a:gd name="connsiteX28673" fmla="*/ 1977172 w 8079933"/>
              <a:gd name="connsiteY28673" fmla="*/ 882622 h 4687251"/>
              <a:gd name="connsiteX28674" fmla="*/ 1977932 w 8079933"/>
              <a:gd name="connsiteY28674" fmla="*/ 886736 h 4687251"/>
              <a:gd name="connsiteX28675" fmla="*/ 1979126 w 8079933"/>
              <a:gd name="connsiteY28675" fmla="*/ 887277 h 4687251"/>
              <a:gd name="connsiteX28676" fmla="*/ 1984118 w 8079933"/>
              <a:gd name="connsiteY28676" fmla="*/ 891392 h 4687251"/>
              <a:gd name="connsiteX28677" fmla="*/ 1989435 w 8079933"/>
              <a:gd name="connsiteY28677" fmla="*/ 888577 h 4687251"/>
              <a:gd name="connsiteX28678" fmla="*/ 1997357 w 8079933"/>
              <a:gd name="connsiteY28678" fmla="*/ 888902 h 4687251"/>
              <a:gd name="connsiteX28679" fmla="*/ 1999744 w 8079933"/>
              <a:gd name="connsiteY28679" fmla="*/ 885112 h 4687251"/>
              <a:gd name="connsiteX28680" fmla="*/ 2006146 w 8079933"/>
              <a:gd name="connsiteY28680" fmla="*/ 881755 h 4687251"/>
              <a:gd name="connsiteX28681" fmla="*/ 2007557 w 8079933"/>
              <a:gd name="connsiteY28681" fmla="*/ 881755 h 4687251"/>
              <a:gd name="connsiteX28682" fmla="*/ 2008968 w 8079933"/>
              <a:gd name="connsiteY28682" fmla="*/ 884463 h 4687251"/>
              <a:gd name="connsiteX28683" fmla="*/ 2018192 w 8079933"/>
              <a:gd name="connsiteY28683" fmla="*/ 883921 h 4687251"/>
              <a:gd name="connsiteX28684" fmla="*/ 2026113 w 8079933"/>
              <a:gd name="connsiteY28684" fmla="*/ 890200 h 4687251"/>
              <a:gd name="connsiteX28685" fmla="*/ 2029694 w 8079933"/>
              <a:gd name="connsiteY28685" fmla="*/ 891175 h 4687251"/>
              <a:gd name="connsiteX28686" fmla="*/ 2033384 w 8079933"/>
              <a:gd name="connsiteY28686" fmla="*/ 894640 h 4687251"/>
              <a:gd name="connsiteX28687" fmla="*/ 2035446 w 8079933"/>
              <a:gd name="connsiteY28687" fmla="*/ 892908 h 4687251"/>
              <a:gd name="connsiteX28688" fmla="*/ 2044019 w 8079933"/>
              <a:gd name="connsiteY28688" fmla="*/ 891067 h 4687251"/>
              <a:gd name="connsiteX28689" fmla="*/ 2047166 w 8079933"/>
              <a:gd name="connsiteY28689" fmla="*/ 895181 h 4687251"/>
              <a:gd name="connsiteX28690" fmla="*/ 2049553 w 8079933"/>
              <a:gd name="connsiteY28690" fmla="*/ 893557 h 4687251"/>
              <a:gd name="connsiteX28691" fmla="*/ 2048902 w 8079933"/>
              <a:gd name="connsiteY28691" fmla="*/ 888468 h 4687251"/>
              <a:gd name="connsiteX28692" fmla="*/ 2045213 w 8079933"/>
              <a:gd name="connsiteY28692" fmla="*/ 884354 h 4687251"/>
              <a:gd name="connsiteX28693" fmla="*/ 2043910 w 8079933"/>
              <a:gd name="connsiteY28693" fmla="*/ 877749 h 4687251"/>
              <a:gd name="connsiteX28694" fmla="*/ 2045646 w 8079933"/>
              <a:gd name="connsiteY28694" fmla="*/ 875692 h 4687251"/>
              <a:gd name="connsiteX28695" fmla="*/ 2048359 w 8079933"/>
              <a:gd name="connsiteY28695" fmla="*/ 876234 h 4687251"/>
              <a:gd name="connsiteX28696" fmla="*/ 2050964 w 8079933"/>
              <a:gd name="connsiteY28696" fmla="*/ 883921 h 4687251"/>
              <a:gd name="connsiteX28697" fmla="*/ 2052158 w 8079933"/>
              <a:gd name="connsiteY28697" fmla="*/ 890200 h 4687251"/>
              <a:gd name="connsiteX28698" fmla="*/ 2058669 w 8079933"/>
              <a:gd name="connsiteY28698" fmla="*/ 897996 h 4687251"/>
              <a:gd name="connsiteX28699" fmla="*/ 2061924 w 8079933"/>
              <a:gd name="connsiteY28699" fmla="*/ 900703 h 4687251"/>
              <a:gd name="connsiteX28700" fmla="*/ 2063552 w 8079933"/>
              <a:gd name="connsiteY28700" fmla="*/ 906008 h 4687251"/>
              <a:gd name="connsiteX28701" fmla="*/ 2063877 w 8079933"/>
              <a:gd name="connsiteY28701" fmla="*/ 896155 h 4687251"/>
              <a:gd name="connsiteX28702" fmla="*/ 2061490 w 8079933"/>
              <a:gd name="connsiteY28702" fmla="*/ 892908 h 4687251"/>
              <a:gd name="connsiteX28703" fmla="*/ 2054871 w 8079933"/>
              <a:gd name="connsiteY28703" fmla="*/ 890200 h 4687251"/>
              <a:gd name="connsiteX28704" fmla="*/ 2053351 w 8079933"/>
              <a:gd name="connsiteY28704" fmla="*/ 883271 h 4687251"/>
              <a:gd name="connsiteX28705" fmla="*/ 2050964 w 8079933"/>
              <a:gd name="connsiteY28705" fmla="*/ 873852 h 4687251"/>
              <a:gd name="connsiteX28706" fmla="*/ 2052158 w 8079933"/>
              <a:gd name="connsiteY28706" fmla="*/ 870604 h 4687251"/>
              <a:gd name="connsiteX28707" fmla="*/ 2054002 w 8079933"/>
              <a:gd name="connsiteY28707" fmla="*/ 871037 h 4687251"/>
              <a:gd name="connsiteX28708" fmla="*/ 2054219 w 8079933"/>
              <a:gd name="connsiteY28708" fmla="*/ 874176 h 4687251"/>
              <a:gd name="connsiteX28709" fmla="*/ 2056064 w 8079933"/>
              <a:gd name="connsiteY28709" fmla="*/ 876017 h 4687251"/>
              <a:gd name="connsiteX28710" fmla="*/ 2058669 w 8079933"/>
              <a:gd name="connsiteY28710" fmla="*/ 873960 h 4687251"/>
              <a:gd name="connsiteX28711" fmla="*/ 2058669 w 8079933"/>
              <a:gd name="connsiteY28711" fmla="*/ 870712 h 4687251"/>
              <a:gd name="connsiteX28712" fmla="*/ 2056607 w 8079933"/>
              <a:gd name="connsiteY28712" fmla="*/ 866814 h 4687251"/>
              <a:gd name="connsiteX28713" fmla="*/ 2058234 w 8079933"/>
              <a:gd name="connsiteY28713" fmla="*/ 864216 h 4687251"/>
              <a:gd name="connsiteX28714" fmla="*/ 2056824 w 8079933"/>
              <a:gd name="connsiteY28714" fmla="*/ 861617 h 4687251"/>
              <a:gd name="connsiteX28715" fmla="*/ 2057692 w 8079933"/>
              <a:gd name="connsiteY28715" fmla="*/ 858694 h 4687251"/>
              <a:gd name="connsiteX28716" fmla="*/ 2061273 w 8079933"/>
              <a:gd name="connsiteY28716" fmla="*/ 858911 h 4687251"/>
              <a:gd name="connsiteX28717" fmla="*/ 2063877 w 8079933"/>
              <a:gd name="connsiteY28717" fmla="*/ 862484 h 4687251"/>
              <a:gd name="connsiteX28718" fmla="*/ 2063660 w 8079933"/>
              <a:gd name="connsiteY28718" fmla="*/ 865515 h 4687251"/>
              <a:gd name="connsiteX28719" fmla="*/ 2065722 w 8079933"/>
              <a:gd name="connsiteY28719" fmla="*/ 866814 h 4687251"/>
              <a:gd name="connsiteX28720" fmla="*/ 2066590 w 8079933"/>
              <a:gd name="connsiteY28720" fmla="*/ 864865 h 4687251"/>
              <a:gd name="connsiteX28721" fmla="*/ 2071474 w 8079933"/>
              <a:gd name="connsiteY28721" fmla="*/ 862159 h 4687251"/>
              <a:gd name="connsiteX28722" fmla="*/ 2073210 w 8079933"/>
              <a:gd name="connsiteY28722" fmla="*/ 857286 h 4687251"/>
              <a:gd name="connsiteX28723" fmla="*/ 2077334 w 8079933"/>
              <a:gd name="connsiteY28723" fmla="*/ 857286 h 4687251"/>
              <a:gd name="connsiteX28724" fmla="*/ 2079504 w 8079933"/>
              <a:gd name="connsiteY28724" fmla="*/ 861292 h 4687251"/>
              <a:gd name="connsiteX28725" fmla="*/ 2077984 w 8079933"/>
              <a:gd name="connsiteY28725" fmla="*/ 864000 h 4687251"/>
              <a:gd name="connsiteX28726" fmla="*/ 2077984 w 8079933"/>
              <a:gd name="connsiteY28726" fmla="*/ 866814 h 4687251"/>
              <a:gd name="connsiteX28727" fmla="*/ 2079179 w 8079933"/>
              <a:gd name="connsiteY28727" fmla="*/ 863674 h 4687251"/>
              <a:gd name="connsiteX28728" fmla="*/ 2081565 w 8079933"/>
              <a:gd name="connsiteY28728" fmla="*/ 863025 h 4687251"/>
              <a:gd name="connsiteX28729" fmla="*/ 2085255 w 8079933"/>
              <a:gd name="connsiteY28729" fmla="*/ 866056 h 4687251"/>
              <a:gd name="connsiteX28730" fmla="*/ 2084495 w 8079933"/>
              <a:gd name="connsiteY28730" fmla="*/ 871362 h 4687251"/>
              <a:gd name="connsiteX28731" fmla="*/ 2082976 w 8079933"/>
              <a:gd name="connsiteY28731" fmla="*/ 874502 h 4687251"/>
              <a:gd name="connsiteX28732" fmla="*/ 2085798 w 8079933"/>
              <a:gd name="connsiteY28732" fmla="*/ 877749 h 4687251"/>
              <a:gd name="connsiteX28733" fmla="*/ 2089596 w 8079933"/>
              <a:gd name="connsiteY28733" fmla="*/ 876775 h 4687251"/>
              <a:gd name="connsiteX28734" fmla="*/ 2092634 w 8079933"/>
              <a:gd name="connsiteY28734" fmla="*/ 878508 h 4687251"/>
              <a:gd name="connsiteX28735" fmla="*/ 2091441 w 8079933"/>
              <a:gd name="connsiteY28735" fmla="*/ 882188 h 4687251"/>
              <a:gd name="connsiteX28736" fmla="*/ 2085906 w 8079933"/>
              <a:gd name="connsiteY28736" fmla="*/ 884463 h 4687251"/>
              <a:gd name="connsiteX28737" fmla="*/ 2085038 w 8079933"/>
              <a:gd name="connsiteY28737" fmla="*/ 886303 h 4687251"/>
              <a:gd name="connsiteX28738" fmla="*/ 2088294 w 8079933"/>
              <a:gd name="connsiteY28738" fmla="*/ 887710 h 4687251"/>
              <a:gd name="connsiteX28739" fmla="*/ 2093719 w 8079933"/>
              <a:gd name="connsiteY28739" fmla="*/ 884137 h 4687251"/>
              <a:gd name="connsiteX28740" fmla="*/ 2096649 w 8079933"/>
              <a:gd name="connsiteY28740" fmla="*/ 879374 h 4687251"/>
              <a:gd name="connsiteX28741" fmla="*/ 2102510 w 8079933"/>
              <a:gd name="connsiteY28741" fmla="*/ 877749 h 4687251"/>
              <a:gd name="connsiteX28742" fmla="*/ 2107284 w 8079933"/>
              <a:gd name="connsiteY28742" fmla="*/ 878291 h 4687251"/>
              <a:gd name="connsiteX28743" fmla="*/ 2107176 w 8079933"/>
              <a:gd name="connsiteY28743" fmla="*/ 880240 h 4687251"/>
              <a:gd name="connsiteX28744" fmla="*/ 2103811 w 8079933"/>
              <a:gd name="connsiteY28744" fmla="*/ 881214 h 4687251"/>
              <a:gd name="connsiteX28745" fmla="*/ 2100882 w 8079933"/>
              <a:gd name="connsiteY28745" fmla="*/ 883813 h 4687251"/>
              <a:gd name="connsiteX28746" fmla="*/ 2100447 w 8079933"/>
              <a:gd name="connsiteY28746" fmla="*/ 889443 h 4687251"/>
              <a:gd name="connsiteX28747" fmla="*/ 2093394 w 8079933"/>
              <a:gd name="connsiteY28747" fmla="*/ 893774 h 4687251"/>
              <a:gd name="connsiteX28748" fmla="*/ 2092851 w 8079933"/>
              <a:gd name="connsiteY28748" fmla="*/ 896697 h 4687251"/>
              <a:gd name="connsiteX28749" fmla="*/ 2085906 w 8079933"/>
              <a:gd name="connsiteY28749" fmla="*/ 903085 h 4687251"/>
              <a:gd name="connsiteX28750" fmla="*/ 2085906 w 8079933"/>
              <a:gd name="connsiteY28750" fmla="*/ 906116 h 4687251"/>
              <a:gd name="connsiteX28751" fmla="*/ 2084062 w 8079933"/>
              <a:gd name="connsiteY28751" fmla="*/ 908715 h 4687251"/>
              <a:gd name="connsiteX28752" fmla="*/ 2082976 w 8079933"/>
              <a:gd name="connsiteY28752" fmla="*/ 904709 h 4687251"/>
              <a:gd name="connsiteX28753" fmla="*/ 2080047 w 8079933"/>
              <a:gd name="connsiteY28753" fmla="*/ 909040 h 4687251"/>
              <a:gd name="connsiteX28754" fmla="*/ 2078202 w 8079933"/>
              <a:gd name="connsiteY28754" fmla="*/ 916944 h 4687251"/>
              <a:gd name="connsiteX28755" fmla="*/ 2078635 w 8079933"/>
              <a:gd name="connsiteY28755" fmla="*/ 919759 h 4687251"/>
              <a:gd name="connsiteX28756" fmla="*/ 2082433 w 8079933"/>
              <a:gd name="connsiteY28756" fmla="*/ 917810 h 4687251"/>
              <a:gd name="connsiteX28757" fmla="*/ 2085255 w 8079933"/>
              <a:gd name="connsiteY28757" fmla="*/ 917702 h 4687251"/>
              <a:gd name="connsiteX28758" fmla="*/ 2085038 w 8079933"/>
              <a:gd name="connsiteY28758" fmla="*/ 921924 h 4687251"/>
              <a:gd name="connsiteX28759" fmla="*/ 2080047 w 8079933"/>
              <a:gd name="connsiteY28759" fmla="*/ 925389 h 4687251"/>
              <a:gd name="connsiteX28760" fmla="*/ 2079720 w 8079933"/>
              <a:gd name="connsiteY28760" fmla="*/ 928095 h 4687251"/>
              <a:gd name="connsiteX28761" fmla="*/ 2086123 w 8079933"/>
              <a:gd name="connsiteY28761" fmla="*/ 926255 h 4687251"/>
              <a:gd name="connsiteX28762" fmla="*/ 2089379 w 8079933"/>
              <a:gd name="connsiteY28762" fmla="*/ 923115 h 4687251"/>
              <a:gd name="connsiteX28763" fmla="*/ 2092851 w 8079933"/>
              <a:gd name="connsiteY28763" fmla="*/ 923548 h 4687251"/>
              <a:gd name="connsiteX28764" fmla="*/ 2089704 w 8079933"/>
              <a:gd name="connsiteY28764" fmla="*/ 928528 h 4687251"/>
              <a:gd name="connsiteX28765" fmla="*/ 2086449 w 8079933"/>
              <a:gd name="connsiteY28765" fmla="*/ 930910 h 4687251"/>
              <a:gd name="connsiteX28766" fmla="*/ 2089379 w 8079933"/>
              <a:gd name="connsiteY28766" fmla="*/ 931777 h 4687251"/>
              <a:gd name="connsiteX28767" fmla="*/ 2093177 w 8079933"/>
              <a:gd name="connsiteY28767" fmla="*/ 930153 h 4687251"/>
              <a:gd name="connsiteX28768" fmla="*/ 2091115 w 8079933"/>
              <a:gd name="connsiteY28768" fmla="*/ 936216 h 4687251"/>
              <a:gd name="connsiteX28769" fmla="*/ 2090572 w 8079933"/>
              <a:gd name="connsiteY28769" fmla="*/ 940005 h 4687251"/>
              <a:gd name="connsiteX28770" fmla="*/ 2087317 w 8079933"/>
              <a:gd name="connsiteY28770" fmla="*/ 942712 h 4687251"/>
              <a:gd name="connsiteX28771" fmla="*/ 2082108 w 8079933"/>
              <a:gd name="connsiteY28771" fmla="*/ 940655 h 4687251"/>
              <a:gd name="connsiteX28772" fmla="*/ 2079938 w 8079933"/>
              <a:gd name="connsiteY28772" fmla="*/ 936324 h 4687251"/>
              <a:gd name="connsiteX28773" fmla="*/ 2074186 w 8079933"/>
              <a:gd name="connsiteY28773" fmla="*/ 939139 h 4687251"/>
              <a:gd name="connsiteX28774" fmla="*/ 2072124 w 8079933"/>
              <a:gd name="connsiteY28774" fmla="*/ 932643 h 4687251"/>
              <a:gd name="connsiteX28775" fmla="*/ 2070280 w 8079933"/>
              <a:gd name="connsiteY28775" fmla="*/ 932751 h 4687251"/>
              <a:gd name="connsiteX28776" fmla="*/ 2068652 w 8079933"/>
              <a:gd name="connsiteY28776" fmla="*/ 939356 h 4687251"/>
              <a:gd name="connsiteX28777" fmla="*/ 2071799 w 8079933"/>
              <a:gd name="connsiteY28777" fmla="*/ 944011 h 4687251"/>
              <a:gd name="connsiteX28778" fmla="*/ 2073644 w 8079933"/>
              <a:gd name="connsiteY28778" fmla="*/ 950183 h 4687251"/>
              <a:gd name="connsiteX28779" fmla="*/ 2072016 w 8079933"/>
              <a:gd name="connsiteY28779" fmla="*/ 960468 h 4687251"/>
              <a:gd name="connsiteX28780" fmla="*/ 2076140 w 8079933"/>
              <a:gd name="connsiteY28780" fmla="*/ 950940 h 4687251"/>
              <a:gd name="connsiteX28781" fmla="*/ 2074729 w 8079933"/>
              <a:gd name="connsiteY28781" fmla="*/ 943578 h 4687251"/>
              <a:gd name="connsiteX28782" fmla="*/ 2077659 w 8079933"/>
              <a:gd name="connsiteY28782" fmla="*/ 940979 h 4687251"/>
              <a:gd name="connsiteX28783" fmla="*/ 2080589 w 8079933"/>
              <a:gd name="connsiteY28783" fmla="*/ 944011 h 4687251"/>
              <a:gd name="connsiteX28784" fmla="*/ 2085798 w 8079933"/>
              <a:gd name="connsiteY28784" fmla="*/ 944336 h 4687251"/>
              <a:gd name="connsiteX28785" fmla="*/ 2089704 w 8079933"/>
              <a:gd name="connsiteY28785" fmla="*/ 947259 h 4687251"/>
              <a:gd name="connsiteX28786" fmla="*/ 2092960 w 8079933"/>
              <a:gd name="connsiteY28786" fmla="*/ 944444 h 4687251"/>
              <a:gd name="connsiteX28787" fmla="*/ 2093502 w 8079933"/>
              <a:gd name="connsiteY28787" fmla="*/ 939139 h 4687251"/>
              <a:gd name="connsiteX28788" fmla="*/ 2099688 w 8079933"/>
              <a:gd name="connsiteY28788" fmla="*/ 937299 h 4687251"/>
              <a:gd name="connsiteX28789" fmla="*/ 2103811 w 8079933"/>
              <a:gd name="connsiteY28789" fmla="*/ 932643 h 4687251"/>
              <a:gd name="connsiteX28790" fmla="*/ 2108478 w 8079933"/>
              <a:gd name="connsiteY28790" fmla="*/ 932426 h 4687251"/>
              <a:gd name="connsiteX28791" fmla="*/ 2111733 w 8079933"/>
              <a:gd name="connsiteY28791" fmla="*/ 928095 h 4687251"/>
              <a:gd name="connsiteX28792" fmla="*/ 2107826 w 8079933"/>
              <a:gd name="connsiteY28792" fmla="*/ 930910 h 4687251"/>
              <a:gd name="connsiteX28793" fmla="*/ 2103160 w 8079933"/>
              <a:gd name="connsiteY28793" fmla="*/ 930153 h 4687251"/>
              <a:gd name="connsiteX28794" fmla="*/ 2100882 w 8079933"/>
              <a:gd name="connsiteY28794" fmla="*/ 933617 h 4687251"/>
              <a:gd name="connsiteX28795" fmla="*/ 2097843 w 8079933"/>
              <a:gd name="connsiteY28795" fmla="*/ 935024 h 4687251"/>
              <a:gd name="connsiteX28796" fmla="*/ 2096215 w 8079933"/>
              <a:gd name="connsiteY28796" fmla="*/ 935024 h 4687251"/>
              <a:gd name="connsiteX28797" fmla="*/ 2098385 w 8079933"/>
              <a:gd name="connsiteY28797" fmla="*/ 929720 h 4687251"/>
              <a:gd name="connsiteX28798" fmla="*/ 2101424 w 8079933"/>
              <a:gd name="connsiteY28798" fmla="*/ 927338 h 4687251"/>
              <a:gd name="connsiteX28799" fmla="*/ 2099688 w 8079933"/>
              <a:gd name="connsiteY28799" fmla="*/ 924414 h 4687251"/>
              <a:gd name="connsiteX28800" fmla="*/ 2099905 w 8079933"/>
              <a:gd name="connsiteY28800" fmla="*/ 921058 h 4687251"/>
              <a:gd name="connsiteX28801" fmla="*/ 2102618 w 8079933"/>
              <a:gd name="connsiteY28801" fmla="*/ 914237 h 4687251"/>
              <a:gd name="connsiteX28802" fmla="*/ 2102292 w 8079933"/>
              <a:gd name="connsiteY28802" fmla="*/ 910772 h 4687251"/>
              <a:gd name="connsiteX28803" fmla="*/ 2099905 w 8079933"/>
              <a:gd name="connsiteY28803" fmla="*/ 908065 h 4687251"/>
              <a:gd name="connsiteX28804" fmla="*/ 2101424 w 8079933"/>
              <a:gd name="connsiteY28804" fmla="*/ 906008 h 4687251"/>
              <a:gd name="connsiteX28805" fmla="*/ 2105331 w 8079933"/>
              <a:gd name="connsiteY28805" fmla="*/ 899945 h 4687251"/>
              <a:gd name="connsiteX28806" fmla="*/ 2107176 w 8079933"/>
              <a:gd name="connsiteY28806" fmla="*/ 893882 h 4687251"/>
              <a:gd name="connsiteX28807" fmla="*/ 2111951 w 8079933"/>
              <a:gd name="connsiteY28807" fmla="*/ 889984 h 4687251"/>
              <a:gd name="connsiteX28808" fmla="*/ 2113361 w 8079933"/>
              <a:gd name="connsiteY28808" fmla="*/ 891825 h 4687251"/>
              <a:gd name="connsiteX28809" fmla="*/ 2112059 w 8079933"/>
              <a:gd name="connsiteY28809" fmla="*/ 893882 h 4687251"/>
              <a:gd name="connsiteX28810" fmla="*/ 2114880 w 8079933"/>
              <a:gd name="connsiteY28810" fmla="*/ 893016 h 4687251"/>
              <a:gd name="connsiteX28811" fmla="*/ 2117485 w 8079933"/>
              <a:gd name="connsiteY28811" fmla="*/ 889335 h 4687251"/>
              <a:gd name="connsiteX28812" fmla="*/ 2118679 w 8079933"/>
              <a:gd name="connsiteY28812" fmla="*/ 891500 h 4687251"/>
              <a:gd name="connsiteX28813" fmla="*/ 2120523 w 8079933"/>
              <a:gd name="connsiteY28813" fmla="*/ 891716 h 4687251"/>
              <a:gd name="connsiteX28814" fmla="*/ 2121933 w 8079933"/>
              <a:gd name="connsiteY28814" fmla="*/ 894098 h 4687251"/>
              <a:gd name="connsiteX28815" fmla="*/ 2126275 w 8079933"/>
              <a:gd name="connsiteY28815" fmla="*/ 893232 h 4687251"/>
              <a:gd name="connsiteX28816" fmla="*/ 2128988 w 8079933"/>
              <a:gd name="connsiteY28816" fmla="*/ 889335 h 4687251"/>
              <a:gd name="connsiteX28817" fmla="*/ 2139839 w 8079933"/>
              <a:gd name="connsiteY28817" fmla="*/ 884787 h 4687251"/>
              <a:gd name="connsiteX28818" fmla="*/ 2142118 w 8079933"/>
              <a:gd name="connsiteY28818" fmla="*/ 880673 h 4687251"/>
              <a:gd name="connsiteX28819" fmla="*/ 2141901 w 8079933"/>
              <a:gd name="connsiteY28819" fmla="*/ 878291 h 4687251"/>
              <a:gd name="connsiteX28820" fmla="*/ 2144831 w 8079933"/>
              <a:gd name="connsiteY28820" fmla="*/ 877425 h 4687251"/>
              <a:gd name="connsiteX28821" fmla="*/ 2149280 w 8079933"/>
              <a:gd name="connsiteY28821" fmla="*/ 872661 h 4687251"/>
              <a:gd name="connsiteX28822" fmla="*/ 2156008 w 8079933"/>
              <a:gd name="connsiteY28822" fmla="*/ 871903 h 4687251"/>
              <a:gd name="connsiteX28823" fmla="*/ 2159372 w 8079933"/>
              <a:gd name="connsiteY28823" fmla="*/ 868114 h 4687251"/>
              <a:gd name="connsiteX28824" fmla="*/ 2158938 w 8079933"/>
              <a:gd name="connsiteY28824" fmla="*/ 865190 h 4687251"/>
              <a:gd name="connsiteX28825" fmla="*/ 2160132 w 8079933"/>
              <a:gd name="connsiteY28825" fmla="*/ 859019 h 4687251"/>
              <a:gd name="connsiteX28826" fmla="*/ 2163496 w 8079933"/>
              <a:gd name="connsiteY28826" fmla="*/ 853389 h 4687251"/>
              <a:gd name="connsiteX28827" fmla="*/ 2164255 w 8079933"/>
              <a:gd name="connsiteY28827" fmla="*/ 849058 h 4687251"/>
              <a:gd name="connsiteX28828" fmla="*/ 2162628 w 8079933"/>
              <a:gd name="connsiteY28828" fmla="*/ 846784 h 4687251"/>
              <a:gd name="connsiteX28829" fmla="*/ 2159806 w 8079933"/>
              <a:gd name="connsiteY28829" fmla="*/ 848950 h 4687251"/>
              <a:gd name="connsiteX28830" fmla="*/ 2156008 w 8079933"/>
              <a:gd name="connsiteY28830" fmla="*/ 849599 h 4687251"/>
              <a:gd name="connsiteX28831" fmla="*/ 2156876 w 8079933"/>
              <a:gd name="connsiteY28831" fmla="*/ 851440 h 4687251"/>
              <a:gd name="connsiteX28832" fmla="*/ 2154706 w 8079933"/>
              <a:gd name="connsiteY28832" fmla="*/ 855446 h 4687251"/>
              <a:gd name="connsiteX28833" fmla="*/ 2150148 w 8079933"/>
              <a:gd name="connsiteY28833" fmla="*/ 856312 h 4687251"/>
              <a:gd name="connsiteX28834" fmla="*/ 2147761 w 8079933"/>
              <a:gd name="connsiteY28834" fmla="*/ 854363 h 4687251"/>
              <a:gd name="connsiteX28835" fmla="*/ 2144614 w 8079933"/>
              <a:gd name="connsiteY28835" fmla="*/ 854363 h 4687251"/>
              <a:gd name="connsiteX28836" fmla="*/ 2143637 w 8079933"/>
              <a:gd name="connsiteY28836" fmla="*/ 852631 h 4687251"/>
              <a:gd name="connsiteX28837" fmla="*/ 2146893 w 8079933"/>
              <a:gd name="connsiteY28837" fmla="*/ 846459 h 4687251"/>
              <a:gd name="connsiteX28838" fmla="*/ 2149823 w 8079933"/>
              <a:gd name="connsiteY28838" fmla="*/ 846459 h 4687251"/>
              <a:gd name="connsiteX28839" fmla="*/ 2152644 w 8079933"/>
              <a:gd name="connsiteY28839" fmla="*/ 842995 h 4687251"/>
              <a:gd name="connsiteX28840" fmla="*/ 2158830 w 8079933"/>
              <a:gd name="connsiteY28840" fmla="*/ 840288 h 4687251"/>
              <a:gd name="connsiteX28841" fmla="*/ 2159155 w 8079933"/>
              <a:gd name="connsiteY28841" fmla="*/ 837256 h 4687251"/>
              <a:gd name="connsiteX28842" fmla="*/ 2156550 w 8079933"/>
              <a:gd name="connsiteY28842" fmla="*/ 834983 h 4687251"/>
              <a:gd name="connsiteX28843" fmla="*/ 2160674 w 8079933"/>
              <a:gd name="connsiteY28843" fmla="*/ 829786 h 4687251"/>
              <a:gd name="connsiteX28844" fmla="*/ 2165991 w 8079933"/>
              <a:gd name="connsiteY28844" fmla="*/ 828811 h 4687251"/>
              <a:gd name="connsiteX28845" fmla="*/ 2171417 w 8079933"/>
              <a:gd name="connsiteY28845" fmla="*/ 830327 h 4687251"/>
              <a:gd name="connsiteX28846" fmla="*/ 2167402 w 8079933"/>
              <a:gd name="connsiteY28846" fmla="*/ 832925 h 4687251"/>
              <a:gd name="connsiteX28847" fmla="*/ 2166751 w 8079933"/>
              <a:gd name="connsiteY28847" fmla="*/ 837690 h 4687251"/>
              <a:gd name="connsiteX28848" fmla="*/ 2168271 w 8079933"/>
              <a:gd name="connsiteY28848" fmla="*/ 838772 h 4687251"/>
              <a:gd name="connsiteX28849" fmla="*/ 2173045 w 8079933"/>
              <a:gd name="connsiteY28849" fmla="*/ 836390 h 4687251"/>
              <a:gd name="connsiteX28850" fmla="*/ 2177277 w 8079933"/>
              <a:gd name="connsiteY28850" fmla="*/ 827403 h 4687251"/>
              <a:gd name="connsiteX28851" fmla="*/ 2177385 w 8079933"/>
              <a:gd name="connsiteY28851" fmla="*/ 823615 h 4687251"/>
              <a:gd name="connsiteX28852" fmla="*/ 2172394 w 8079933"/>
              <a:gd name="connsiteY28852" fmla="*/ 822423 h 4687251"/>
              <a:gd name="connsiteX28853" fmla="*/ 2168271 w 8079933"/>
              <a:gd name="connsiteY28853" fmla="*/ 822640 h 4687251"/>
              <a:gd name="connsiteX28854" fmla="*/ 2165341 w 8079933"/>
              <a:gd name="connsiteY28854" fmla="*/ 820366 h 4687251"/>
              <a:gd name="connsiteX28855" fmla="*/ 2158612 w 8079933"/>
              <a:gd name="connsiteY28855" fmla="*/ 818850 h 4687251"/>
              <a:gd name="connsiteX28856" fmla="*/ 2156225 w 8079933"/>
              <a:gd name="connsiteY28856" fmla="*/ 812138 h 4687251"/>
              <a:gd name="connsiteX28857" fmla="*/ 2157202 w 8079933"/>
              <a:gd name="connsiteY28857" fmla="*/ 806832 h 4687251"/>
              <a:gd name="connsiteX28858" fmla="*/ 2153837 w 8079933"/>
              <a:gd name="connsiteY28858" fmla="*/ 811705 h 4687251"/>
              <a:gd name="connsiteX28859" fmla="*/ 2151233 w 8079933"/>
              <a:gd name="connsiteY28859" fmla="*/ 811705 h 4687251"/>
              <a:gd name="connsiteX28860" fmla="*/ 2148846 w 8079933"/>
              <a:gd name="connsiteY28860" fmla="*/ 807482 h 4687251"/>
              <a:gd name="connsiteX28861" fmla="*/ 2144505 w 8079933"/>
              <a:gd name="connsiteY28861" fmla="*/ 804883 h 4687251"/>
              <a:gd name="connsiteX28862" fmla="*/ 2143311 w 8079933"/>
              <a:gd name="connsiteY28862" fmla="*/ 799578 h 4687251"/>
              <a:gd name="connsiteX28863" fmla="*/ 2141250 w 8079933"/>
              <a:gd name="connsiteY28863" fmla="*/ 798495 h 4687251"/>
              <a:gd name="connsiteX28864" fmla="*/ 2137777 w 8079933"/>
              <a:gd name="connsiteY28864" fmla="*/ 799037 h 4687251"/>
              <a:gd name="connsiteX28865" fmla="*/ 2136800 w 8079933"/>
              <a:gd name="connsiteY28865" fmla="*/ 795248 h 4687251"/>
              <a:gd name="connsiteX28866" fmla="*/ 2135173 w 8079933"/>
              <a:gd name="connsiteY28866" fmla="*/ 793190 h 4687251"/>
              <a:gd name="connsiteX28867" fmla="*/ 2137452 w 8079933"/>
              <a:gd name="connsiteY28867" fmla="*/ 789293 h 4687251"/>
              <a:gd name="connsiteX28868" fmla="*/ 2137235 w 8079933"/>
              <a:gd name="connsiteY28868" fmla="*/ 785503 h 4687251"/>
              <a:gd name="connsiteX28869" fmla="*/ 2135390 w 8079933"/>
              <a:gd name="connsiteY28869" fmla="*/ 780956 h 4687251"/>
              <a:gd name="connsiteX28870" fmla="*/ 2136041 w 8079933"/>
              <a:gd name="connsiteY28870" fmla="*/ 769479 h 4687251"/>
              <a:gd name="connsiteX28871" fmla="*/ 2139405 w 8079933"/>
              <a:gd name="connsiteY28871" fmla="*/ 765581 h 4687251"/>
              <a:gd name="connsiteX28872" fmla="*/ 2147326 w 8079933"/>
              <a:gd name="connsiteY28872" fmla="*/ 758544 h 4687251"/>
              <a:gd name="connsiteX28873" fmla="*/ 2151993 w 8079933"/>
              <a:gd name="connsiteY28873" fmla="*/ 756703 h 4687251"/>
              <a:gd name="connsiteX28874" fmla="*/ 2155791 w 8079933"/>
              <a:gd name="connsiteY28874" fmla="*/ 756811 h 4687251"/>
              <a:gd name="connsiteX28875" fmla="*/ 2156225 w 8079933"/>
              <a:gd name="connsiteY28875" fmla="*/ 755079 h 4687251"/>
              <a:gd name="connsiteX28876" fmla="*/ 2160023 w 8079933"/>
              <a:gd name="connsiteY28876" fmla="*/ 752047 h 4687251"/>
              <a:gd name="connsiteX28877" fmla="*/ 2160457 w 8079933"/>
              <a:gd name="connsiteY28877" fmla="*/ 749232 h 4687251"/>
              <a:gd name="connsiteX28878" fmla="*/ 2157853 w 8079933"/>
              <a:gd name="connsiteY28878" fmla="*/ 749232 h 4687251"/>
              <a:gd name="connsiteX28879" fmla="*/ 2154164 w 8079933"/>
              <a:gd name="connsiteY28879" fmla="*/ 751722 h 4687251"/>
              <a:gd name="connsiteX28880" fmla="*/ 2151667 w 8079933"/>
              <a:gd name="connsiteY28880" fmla="*/ 750532 h 4687251"/>
              <a:gd name="connsiteX28881" fmla="*/ 2151776 w 8079933"/>
              <a:gd name="connsiteY28881" fmla="*/ 747608 h 4687251"/>
              <a:gd name="connsiteX28882" fmla="*/ 2150039 w 8079933"/>
              <a:gd name="connsiteY28882" fmla="*/ 742628 h 4687251"/>
              <a:gd name="connsiteX28883" fmla="*/ 2150691 w 8079933"/>
              <a:gd name="connsiteY28883" fmla="*/ 737647 h 4687251"/>
              <a:gd name="connsiteX28884" fmla="*/ 2156767 w 8079933"/>
              <a:gd name="connsiteY28884" fmla="*/ 730935 h 4687251"/>
              <a:gd name="connsiteX28885" fmla="*/ 2160566 w 8079933"/>
              <a:gd name="connsiteY28885" fmla="*/ 722598 h 4687251"/>
              <a:gd name="connsiteX28886" fmla="*/ 2163496 w 8079933"/>
              <a:gd name="connsiteY28886" fmla="*/ 721298 h 4687251"/>
              <a:gd name="connsiteX28887" fmla="*/ 2166751 w 8079933"/>
              <a:gd name="connsiteY28887" fmla="*/ 715127 h 4687251"/>
              <a:gd name="connsiteX28888" fmla="*/ 2169789 w 8079933"/>
              <a:gd name="connsiteY28888" fmla="*/ 715019 h 4687251"/>
              <a:gd name="connsiteX28889" fmla="*/ 2173262 w 8079933"/>
              <a:gd name="connsiteY28889" fmla="*/ 709714 h 4687251"/>
              <a:gd name="connsiteX28890" fmla="*/ 2178905 w 8079933"/>
              <a:gd name="connsiteY28890" fmla="*/ 707223 h 4687251"/>
              <a:gd name="connsiteX28891" fmla="*/ 2182269 w 8079933"/>
              <a:gd name="connsiteY28891" fmla="*/ 710039 h 4687251"/>
              <a:gd name="connsiteX28892" fmla="*/ 2180533 w 8079933"/>
              <a:gd name="connsiteY28892" fmla="*/ 715127 h 4687251"/>
              <a:gd name="connsiteX28893" fmla="*/ 2183137 w 8079933"/>
              <a:gd name="connsiteY28893" fmla="*/ 717726 h 4687251"/>
              <a:gd name="connsiteX28894" fmla="*/ 2182052 w 8079933"/>
              <a:gd name="connsiteY28894" fmla="*/ 721190 h 4687251"/>
              <a:gd name="connsiteX28895" fmla="*/ 2186935 w 8079933"/>
              <a:gd name="connsiteY28895" fmla="*/ 718592 h 4687251"/>
              <a:gd name="connsiteX28896" fmla="*/ 2187586 w 8079933"/>
              <a:gd name="connsiteY28896" fmla="*/ 715452 h 4687251"/>
              <a:gd name="connsiteX28897" fmla="*/ 2193121 w 8079933"/>
              <a:gd name="connsiteY28897" fmla="*/ 707223 h 4687251"/>
              <a:gd name="connsiteX28898" fmla="*/ 2193121 w 8079933"/>
              <a:gd name="connsiteY28898" fmla="*/ 705166 h 4687251"/>
              <a:gd name="connsiteX28899" fmla="*/ 2189323 w 8079933"/>
              <a:gd name="connsiteY28899" fmla="*/ 704625 h 4687251"/>
              <a:gd name="connsiteX28900" fmla="*/ 2185308 w 8079933"/>
              <a:gd name="connsiteY28900" fmla="*/ 703001 h 4687251"/>
              <a:gd name="connsiteX28901" fmla="*/ 2182269 w 8079933"/>
              <a:gd name="connsiteY28901" fmla="*/ 698670 h 4687251"/>
              <a:gd name="connsiteX28902" fmla="*/ 2186393 w 8079933"/>
              <a:gd name="connsiteY28902" fmla="*/ 694880 h 4687251"/>
              <a:gd name="connsiteX28903" fmla="*/ 2192687 w 8079933"/>
              <a:gd name="connsiteY28903" fmla="*/ 694880 h 4687251"/>
              <a:gd name="connsiteX28904" fmla="*/ 2194423 w 8079933"/>
              <a:gd name="connsiteY28904" fmla="*/ 692066 h 4687251"/>
              <a:gd name="connsiteX28905" fmla="*/ 2201043 w 8079933"/>
              <a:gd name="connsiteY28905" fmla="*/ 687843 h 4687251"/>
              <a:gd name="connsiteX28906" fmla="*/ 2200825 w 8079933"/>
              <a:gd name="connsiteY28906" fmla="*/ 683837 h 4687251"/>
              <a:gd name="connsiteX28907" fmla="*/ 2204298 w 8079933"/>
              <a:gd name="connsiteY28907" fmla="*/ 682105 h 4687251"/>
              <a:gd name="connsiteX28908" fmla="*/ 2209615 w 8079933"/>
              <a:gd name="connsiteY28908" fmla="*/ 684053 h 4687251"/>
              <a:gd name="connsiteX28909" fmla="*/ 2217428 w 8079933"/>
              <a:gd name="connsiteY28909" fmla="*/ 685786 h 4687251"/>
              <a:gd name="connsiteX28910" fmla="*/ 2217862 w 8079933"/>
              <a:gd name="connsiteY28910" fmla="*/ 690225 h 4687251"/>
              <a:gd name="connsiteX28911" fmla="*/ 2216886 w 8079933"/>
              <a:gd name="connsiteY28911" fmla="*/ 692282 h 4687251"/>
              <a:gd name="connsiteX28912" fmla="*/ 2219816 w 8079933"/>
              <a:gd name="connsiteY28912" fmla="*/ 693473 h 4687251"/>
              <a:gd name="connsiteX28913" fmla="*/ 2223614 w 8079933"/>
              <a:gd name="connsiteY28913" fmla="*/ 697263 h 4687251"/>
              <a:gd name="connsiteX28914" fmla="*/ 2227195 w 8079933"/>
              <a:gd name="connsiteY28914" fmla="*/ 699645 h 4687251"/>
              <a:gd name="connsiteX28915" fmla="*/ 2225459 w 8079933"/>
              <a:gd name="connsiteY28915" fmla="*/ 704300 h 4687251"/>
              <a:gd name="connsiteX28916" fmla="*/ 2223288 w 8079933"/>
              <a:gd name="connsiteY28916" fmla="*/ 705383 h 4687251"/>
              <a:gd name="connsiteX28917" fmla="*/ 2224156 w 8079933"/>
              <a:gd name="connsiteY28917" fmla="*/ 709497 h 4687251"/>
              <a:gd name="connsiteX28918" fmla="*/ 2223397 w 8079933"/>
              <a:gd name="connsiteY28918" fmla="*/ 713070 h 4687251"/>
              <a:gd name="connsiteX28919" fmla="*/ 2227412 w 8079933"/>
              <a:gd name="connsiteY28919" fmla="*/ 716859 h 4687251"/>
              <a:gd name="connsiteX28920" fmla="*/ 2228714 w 8079933"/>
              <a:gd name="connsiteY28920" fmla="*/ 720649 h 4687251"/>
              <a:gd name="connsiteX28921" fmla="*/ 2227846 w 8079933"/>
              <a:gd name="connsiteY28921" fmla="*/ 728877 h 4687251"/>
              <a:gd name="connsiteX28922" fmla="*/ 2230776 w 8079933"/>
              <a:gd name="connsiteY28922" fmla="*/ 730935 h 4687251"/>
              <a:gd name="connsiteX28923" fmla="*/ 2230776 w 8079933"/>
              <a:gd name="connsiteY28923" fmla="*/ 733208 h 4687251"/>
              <a:gd name="connsiteX28924" fmla="*/ 2227412 w 8079933"/>
              <a:gd name="connsiteY28924" fmla="*/ 737864 h 4687251"/>
              <a:gd name="connsiteX28925" fmla="*/ 2227195 w 8079933"/>
              <a:gd name="connsiteY28925" fmla="*/ 741437 h 4687251"/>
              <a:gd name="connsiteX28926" fmla="*/ 2223614 w 8079933"/>
              <a:gd name="connsiteY28926" fmla="*/ 746959 h 4687251"/>
              <a:gd name="connsiteX28927" fmla="*/ 2223397 w 8079933"/>
              <a:gd name="connsiteY28927" fmla="*/ 753022 h 4687251"/>
              <a:gd name="connsiteX28928" fmla="*/ 2221010 w 8079933"/>
              <a:gd name="connsiteY28928" fmla="*/ 754538 h 4687251"/>
              <a:gd name="connsiteX28929" fmla="*/ 2223288 w 8079933"/>
              <a:gd name="connsiteY28929" fmla="*/ 758760 h 4687251"/>
              <a:gd name="connsiteX28930" fmla="*/ 2221552 w 8079933"/>
              <a:gd name="connsiteY28930" fmla="*/ 763416 h 4687251"/>
              <a:gd name="connsiteX28931" fmla="*/ 2226327 w 8079933"/>
              <a:gd name="connsiteY28931" fmla="*/ 769154 h 4687251"/>
              <a:gd name="connsiteX28932" fmla="*/ 2226327 w 8079933"/>
              <a:gd name="connsiteY28932" fmla="*/ 772944 h 4687251"/>
              <a:gd name="connsiteX28933" fmla="*/ 2224916 w 8079933"/>
              <a:gd name="connsiteY28933" fmla="*/ 774676 h 4687251"/>
              <a:gd name="connsiteX28934" fmla="*/ 2226327 w 8079933"/>
              <a:gd name="connsiteY28934" fmla="*/ 778791 h 4687251"/>
              <a:gd name="connsiteX28935" fmla="*/ 2224916 w 8079933"/>
              <a:gd name="connsiteY28935" fmla="*/ 783013 h 4687251"/>
              <a:gd name="connsiteX28936" fmla="*/ 2224916 w 8079933"/>
              <a:gd name="connsiteY28936" fmla="*/ 786369 h 4687251"/>
              <a:gd name="connsiteX28937" fmla="*/ 2228063 w 8079933"/>
              <a:gd name="connsiteY28937" fmla="*/ 787127 h 4687251"/>
              <a:gd name="connsiteX28938" fmla="*/ 2231102 w 8079933"/>
              <a:gd name="connsiteY28938" fmla="*/ 791458 h 4687251"/>
              <a:gd name="connsiteX28939" fmla="*/ 2230667 w 8079933"/>
              <a:gd name="connsiteY28939" fmla="*/ 795464 h 4687251"/>
              <a:gd name="connsiteX28940" fmla="*/ 2227195 w 8079933"/>
              <a:gd name="connsiteY28940" fmla="*/ 798495 h 4687251"/>
              <a:gd name="connsiteX28941" fmla="*/ 2224265 w 8079933"/>
              <a:gd name="connsiteY28941" fmla="*/ 796980 h 4687251"/>
              <a:gd name="connsiteX28942" fmla="*/ 2220141 w 8079933"/>
              <a:gd name="connsiteY28942" fmla="*/ 797846 h 4687251"/>
              <a:gd name="connsiteX28943" fmla="*/ 2217754 w 8079933"/>
              <a:gd name="connsiteY28943" fmla="*/ 793407 h 4687251"/>
              <a:gd name="connsiteX28944" fmla="*/ 2219273 w 8079933"/>
              <a:gd name="connsiteY28944" fmla="*/ 788210 h 4687251"/>
              <a:gd name="connsiteX28945" fmla="*/ 2213739 w 8079933"/>
              <a:gd name="connsiteY28945" fmla="*/ 790591 h 4687251"/>
              <a:gd name="connsiteX28946" fmla="*/ 2211569 w 8079933"/>
              <a:gd name="connsiteY28946" fmla="*/ 795572 h 4687251"/>
              <a:gd name="connsiteX28947" fmla="*/ 2207445 w 8079933"/>
              <a:gd name="connsiteY28947" fmla="*/ 797305 h 4687251"/>
              <a:gd name="connsiteX28948" fmla="*/ 2207445 w 8079933"/>
              <a:gd name="connsiteY28948" fmla="*/ 799362 h 4687251"/>
              <a:gd name="connsiteX28949" fmla="*/ 2213414 w 8079933"/>
              <a:gd name="connsiteY28949" fmla="*/ 797846 h 4687251"/>
              <a:gd name="connsiteX28950" fmla="*/ 2216560 w 8079933"/>
              <a:gd name="connsiteY28950" fmla="*/ 800986 h 4687251"/>
              <a:gd name="connsiteX28951" fmla="*/ 2215800 w 8079933"/>
              <a:gd name="connsiteY28951" fmla="*/ 803368 h 4687251"/>
              <a:gd name="connsiteX28952" fmla="*/ 2203105 w 8079933"/>
              <a:gd name="connsiteY28952" fmla="*/ 812246 h 4687251"/>
              <a:gd name="connsiteX28953" fmla="*/ 2199848 w 8079933"/>
              <a:gd name="connsiteY28953" fmla="*/ 812787 h 4687251"/>
              <a:gd name="connsiteX28954" fmla="*/ 2199089 w 8079933"/>
              <a:gd name="connsiteY28954" fmla="*/ 815386 h 4687251"/>
              <a:gd name="connsiteX28955" fmla="*/ 2196159 w 8079933"/>
              <a:gd name="connsiteY28955" fmla="*/ 816793 h 4687251"/>
              <a:gd name="connsiteX28956" fmla="*/ 2194965 w 8079933"/>
              <a:gd name="connsiteY28956" fmla="*/ 821341 h 4687251"/>
              <a:gd name="connsiteX28957" fmla="*/ 2197353 w 8079933"/>
              <a:gd name="connsiteY28957" fmla="*/ 823939 h 4687251"/>
              <a:gd name="connsiteX28958" fmla="*/ 2202019 w 8079933"/>
              <a:gd name="connsiteY28958" fmla="*/ 822748 h 4687251"/>
              <a:gd name="connsiteX28959" fmla="*/ 2204949 w 8079933"/>
              <a:gd name="connsiteY28959" fmla="*/ 823831 h 4687251"/>
              <a:gd name="connsiteX28960" fmla="*/ 2205491 w 8079933"/>
              <a:gd name="connsiteY28960" fmla="*/ 828270 h 4687251"/>
              <a:gd name="connsiteX28961" fmla="*/ 2209832 w 8079933"/>
              <a:gd name="connsiteY28961" fmla="*/ 832601 h 4687251"/>
              <a:gd name="connsiteX28962" fmla="*/ 2215800 w 8079933"/>
              <a:gd name="connsiteY28962" fmla="*/ 830652 h 4687251"/>
              <a:gd name="connsiteX28963" fmla="*/ 2216669 w 8079933"/>
              <a:gd name="connsiteY28963" fmla="*/ 827079 h 4687251"/>
              <a:gd name="connsiteX28964" fmla="*/ 2220250 w 8079933"/>
              <a:gd name="connsiteY28964" fmla="*/ 826213 h 4687251"/>
              <a:gd name="connsiteX28965" fmla="*/ 2221878 w 8079933"/>
              <a:gd name="connsiteY28965" fmla="*/ 828054 h 4687251"/>
              <a:gd name="connsiteX28966" fmla="*/ 2219598 w 8079933"/>
              <a:gd name="connsiteY28966" fmla="*/ 830002 h 4687251"/>
              <a:gd name="connsiteX28967" fmla="*/ 2219598 w 8079933"/>
              <a:gd name="connsiteY28967" fmla="*/ 831301 h 4687251"/>
              <a:gd name="connsiteX28968" fmla="*/ 2223723 w 8079933"/>
              <a:gd name="connsiteY28968" fmla="*/ 832925 h 4687251"/>
              <a:gd name="connsiteX28969" fmla="*/ 2226653 w 8079933"/>
              <a:gd name="connsiteY28969" fmla="*/ 835957 h 4687251"/>
              <a:gd name="connsiteX28970" fmla="*/ 2230993 w 8079933"/>
              <a:gd name="connsiteY28970" fmla="*/ 832709 h 4687251"/>
              <a:gd name="connsiteX28971" fmla="*/ 2234249 w 8079933"/>
              <a:gd name="connsiteY28971" fmla="*/ 834658 h 4687251"/>
              <a:gd name="connsiteX28972" fmla="*/ 2231102 w 8079933"/>
              <a:gd name="connsiteY28972" fmla="*/ 838014 h 4687251"/>
              <a:gd name="connsiteX28973" fmla="*/ 2226653 w 8079933"/>
              <a:gd name="connsiteY28973" fmla="*/ 838231 h 4687251"/>
              <a:gd name="connsiteX28974" fmla="*/ 2221878 w 8079933"/>
              <a:gd name="connsiteY28974" fmla="*/ 843753 h 4687251"/>
              <a:gd name="connsiteX28975" fmla="*/ 2220141 w 8079933"/>
              <a:gd name="connsiteY28975" fmla="*/ 845268 h 4687251"/>
              <a:gd name="connsiteX28976" fmla="*/ 2219057 w 8079933"/>
              <a:gd name="connsiteY28976" fmla="*/ 839639 h 4687251"/>
              <a:gd name="connsiteX28977" fmla="*/ 2216886 w 8079933"/>
              <a:gd name="connsiteY28977" fmla="*/ 839747 h 4687251"/>
              <a:gd name="connsiteX28978" fmla="*/ 2214932 w 8079933"/>
              <a:gd name="connsiteY28978" fmla="*/ 838772 h 4687251"/>
              <a:gd name="connsiteX28979" fmla="*/ 2214932 w 8079933"/>
              <a:gd name="connsiteY28979" fmla="*/ 841154 h 4687251"/>
              <a:gd name="connsiteX28980" fmla="*/ 2217537 w 8079933"/>
              <a:gd name="connsiteY28980" fmla="*/ 845485 h 4687251"/>
              <a:gd name="connsiteX28981" fmla="*/ 2217537 w 8079933"/>
              <a:gd name="connsiteY28981" fmla="*/ 849058 h 4687251"/>
              <a:gd name="connsiteX28982" fmla="*/ 2221986 w 8079933"/>
              <a:gd name="connsiteY28982" fmla="*/ 856096 h 4687251"/>
              <a:gd name="connsiteX28983" fmla="*/ 2221227 w 8079933"/>
              <a:gd name="connsiteY28983" fmla="*/ 861725 h 4687251"/>
              <a:gd name="connsiteX28984" fmla="*/ 2221986 w 8079933"/>
              <a:gd name="connsiteY28984" fmla="*/ 862808 h 4687251"/>
              <a:gd name="connsiteX28985" fmla="*/ 2221552 w 8079933"/>
              <a:gd name="connsiteY28985" fmla="*/ 867572 h 4687251"/>
              <a:gd name="connsiteX28986" fmla="*/ 2218188 w 8079933"/>
              <a:gd name="connsiteY28986" fmla="*/ 869521 h 4687251"/>
              <a:gd name="connsiteX28987" fmla="*/ 2217971 w 8079933"/>
              <a:gd name="connsiteY28987" fmla="*/ 874069 h 4687251"/>
              <a:gd name="connsiteX28988" fmla="*/ 2217320 w 8079933"/>
              <a:gd name="connsiteY28988" fmla="*/ 878941 h 4687251"/>
              <a:gd name="connsiteX28989" fmla="*/ 2212762 w 8079933"/>
              <a:gd name="connsiteY28989" fmla="*/ 884571 h 4687251"/>
              <a:gd name="connsiteX28990" fmla="*/ 2213956 w 8079933"/>
              <a:gd name="connsiteY28990" fmla="*/ 887169 h 4687251"/>
              <a:gd name="connsiteX28991" fmla="*/ 2214282 w 8079933"/>
              <a:gd name="connsiteY28991" fmla="*/ 892258 h 4687251"/>
              <a:gd name="connsiteX28992" fmla="*/ 2211352 w 8079933"/>
              <a:gd name="connsiteY28992" fmla="*/ 893557 h 4687251"/>
              <a:gd name="connsiteX28993" fmla="*/ 2211786 w 8079933"/>
              <a:gd name="connsiteY28993" fmla="*/ 896805 h 4687251"/>
              <a:gd name="connsiteX28994" fmla="*/ 2214607 w 8079933"/>
              <a:gd name="connsiteY28994" fmla="*/ 896697 h 4687251"/>
              <a:gd name="connsiteX28995" fmla="*/ 2218405 w 8079933"/>
              <a:gd name="connsiteY28995" fmla="*/ 892366 h 4687251"/>
              <a:gd name="connsiteX28996" fmla="*/ 2220141 w 8079933"/>
              <a:gd name="connsiteY28996" fmla="*/ 889118 h 4687251"/>
              <a:gd name="connsiteX28997" fmla="*/ 2226218 w 8079933"/>
              <a:gd name="connsiteY28997" fmla="*/ 885978 h 4687251"/>
              <a:gd name="connsiteX28998" fmla="*/ 2227195 w 8079933"/>
              <a:gd name="connsiteY28998" fmla="*/ 883921 h 4687251"/>
              <a:gd name="connsiteX28999" fmla="*/ 2226327 w 8079933"/>
              <a:gd name="connsiteY28999" fmla="*/ 882622 h 4687251"/>
              <a:gd name="connsiteX29000" fmla="*/ 2229039 w 8079933"/>
              <a:gd name="connsiteY29000" fmla="*/ 879374 h 4687251"/>
              <a:gd name="connsiteX29001" fmla="*/ 2231861 w 8079933"/>
              <a:gd name="connsiteY29001" fmla="*/ 881539 h 4687251"/>
              <a:gd name="connsiteX29002" fmla="*/ 2234140 w 8079933"/>
              <a:gd name="connsiteY29002" fmla="*/ 879374 h 4687251"/>
              <a:gd name="connsiteX29003" fmla="*/ 2234140 w 8079933"/>
              <a:gd name="connsiteY29003" fmla="*/ 871037 h 4687251"/>
              <a:gd name="connsiteX29004" fmla="*/ 2235117 w 8079933"/>
              <a:gd name="connsiteY29004" fmla="*/ 866381 h 4687251"/>
              <a:gd name="connsiteX29005" fmla="*/ 2241193 w 8079933"/>
              <a:gd name="connsiteY29005" fmla="*/ 861401 h 4687251"/>
              <a:gd name="connsiteX29006" fmla="*/ 2246619 w 8079933"/>
              <a:gd name="connsiteY29006" fmla="*/ 853064 h 4687251"/>
              <a:gd name="connsiteX29007" fmla="*/ 2248356 w 8079933"/>
              <a:gd name="connsiteY29007" fmla="*/ 848192 h 4687251"/>
              <a:gd name="connsiteX29008" fmla="*/ 2250417 w 8079933"/>
              <a:gd name="connsiteY29008" fmla="*/ 847867 h 4687251"/>
              <a:gd name="connsiteX29009" fmla="*/ 2252479 w 8079933"/>
              <a:gd name="connsiteY29009" fmla="*/ 849924 h 4687251"/>
              <a:gd name="connsiteX29010" fmla="*/ 2253347 w 8079933"/>
              <a:gd name="connsiteY29010" fmla="*/ 854255 h 4687251"/>
              <a:gd name="connsiteX29011" fmla="*/ 2257037 w 8079933"/>
              <a:gd name="connsiteY29011" fmla="*/ 862267 h 4687251"/>
              <a:gd name="connsiteX29012" fmla="*/ 2257905 w 8079933"/>
              <a:gd name="connsiteY29012" fmla="*/ 868547 h 4687251"/>
              <a:gd name="connsiteX29013" fmla="*/ 2262138 w 8079933"/>
              <a:gd name="connsiteY29013" fmla="*/ 873852 h 4687251"/>
              <a:gd name="connsiteX29014" fmla="*/ 2262138 w 8079933"/>
              <a:gd name="connsiteY29014" fmla="*/ 878941 h 4687251"/>
              <a:gd name="connsiteX29015" fmla="*/ 2260510 w 8079933"/>
              <a:gd name="connsiteY29015" fmla="*/ 883488 h 4687251"/>
              <a:gd name="connsiteX29016" fmla="*/ 2262029 w 8079933"/>
              <a:gd name="connsiteY29016" fmla="*/ 893016 h 4687251"/>
              <a:gd name="connsiteX29017" fmla="*/ 2259099 w 8079933"/>
              <a:gd name="connsiteY29017" fmla="*/ 897888 h 4687251"/>
              <a:gd name="connsiteX29018" fmla="*/ 2255627 w 8079933"/>
              <a:gd name="connsiteY29018" fmla="*/ 899404 h 4687251"/>
              <a:gd name="connsiteX29019" fmla="*/ 2252914 w 8079933"/>
              <a:gd name="connsiteY29019" fmla="*/ 897022 h 4687251"/>
              <a:gd name="connsiteX29020" fmla="*/ 2250092 w 8079933"/>
              <a:gd name="connsiteY29020" fmla="*/ 899404 h 4687251"/>
              <a:gd name="connsiteX29021" fmla="*/ 2248030 w 8079933"/>
              <a:gd name="connsiteY29021" fmla="*/ 903518 h 4687251"/>
              <a:gd name="connsiteX29022" fmla="*/ 2249224 w 8079933"/>
              <a:gd name="connsiteY29022" fmla="*/ 908498 h 4687251"/>
              <a:gd name="connsiteX29023" fmla="*/ 2245860 w 8079933"/>
              <a:gd name="connsiteY29023" fmla="*/ 912829 h 4687251"/>
              <a:gd name="connsiteX29024" fmla="*/ 2243689 w 8079933"/>
              <a:gd name="connsiteY29024" fmla="*/ 918676 h 4687251"/>
              <a:gd name="connsiteX29025" fmla="*/ 2245318 w 8079933"/>
              <a:gd name="connsiteY29025" fmla="*/ 921816 h 4687251"/>
              <a:gd name="connsiteX29026" fmla="*/ 2245426 w 8079933"/>
              <a:gd name="connsiteY29026" fmla="*/ 929720 h 4687251"/>
              <a:gd name="connsiteX29027" fmla="*/ 2249224 w 8079933"/>
              <a:gd name="connsiteY29027" fmla="*/ 946177 h 4687251"/>
              <a:gd name="connsiteX29028" fmla="*/ 2252914 w 8079933"/>
              <a:gd name="connsiteY29028" fmla="*/ 953106 h 4687251"/>
              <a:gd name="connsiteX29029" fmla="*/ 2251502 w 8079933"/>
              <a:gd name="connsiteY29029" fmla="*/ 957654 h 4687251"/>
              <a:gd name="connsiteX29030" fmla="*/ 2255084 w 8079933"/>
              <a:gd name="connsiteY29030" fmla="*/ 961334 h 4687251"/>
              <a:gd name="connsiteX29031" fmla="*/ 2258557 w 8079933"/>
              <a:gd name="connsiteY29031" fmla="*/ 961334 h 4687251"/>
              <a:gd name="connsiteX29032" fmla="*/ 2257688 w 8079933"/>
              <a:gd name="connsiteY29032" fmla="*/ 955488 h 4687251"/>
              <a:gd name="connsiteX29033" fmla="*/ 2256169 w 8079933"/>
              <a:gd name="connsiteY29033" fmla="*/ 953756 h 4687251"/>
              <a:gd name="connsiteX29034" fmla="*/ 2259533 w 8079933"/>
              <a:gd name="connsiteY29034" fmla="*/ 950291 h 4687251"/>
              <a:gd name="connsiteX29035" fmla="*/ 2262571 w 8079933"/>
              <a:gd name="connsiteY29035" fmla="*/ 949966 h 4687251"/>
              <a:gd name="connsiteX29036" fmla="*/ 2264959 w 8079933"/>
              <a:gd name="connsiteY29036" fmla="*/ 955705 h 4687251"/>
              <a:gd name="connsiteX29037" fmla="*/ 2267346 w 8079933"/>
              <a:gd name="connsiteY29037" fmla="*/ 955163 h 4687251"/>
              <a:gd name="connsiteX29038" fmla="*/ 2268431 w 8079933"/>
              <a:gd name="connsiteY29038" fmla="*/ 949750 h 4687251"/>
              <a:gd name="connsiteX29039" fmla="*/ 2271795 w 8079933"/>
              <a:gd name="connsiteY29039" fmla="*/ 946068 h 4687251"/>
              <a:gd name="connsiteX29040" fmla="*/ 2272555 w 8079933"/>
              <a:gd name="connsiteY29040" fmla="*/ 938598 h 4687251"/>
              <a:gd name="connsiteX29041" fmla="*/ 2276353 w 8079933"/>
              <a:gd name="connsiteY29041" fmla="*/ 936865 h 4687251"/>
              <a:gd name="connsiteX29042" fmla="*/ 2280802 w 8079933"/>
              <a:gd name="connsiteY29042" fmla="*/ 930694 h 4687251"/>
              <a:gd name="connsiteX29043" fmla="*/ 2282538 w 8079933"/>
              <a:gd name="connsiteY29043" fmla="*/ 930369 h 4687251"/>
              <a:gd name="connsiteX29044" fmla="*/ 2285143 w 8079933"/>
              <a:gd name="connsiteY29044" fmla="*/ 926255 h 4687251"/>
              <a:gd name="connsiteX29045" fmla="*/ 2293499 w 8079933"/>
              <a:gd name="connsiteY29045" fmla="*/ 920083 h 4687251"/>
              <a:gd name="connsiteX29046" fmla="*/ 2299250 w 8079933"/>
              <a:gd name="connsiteY29046" fmla="*/ 910447 h 4687251"/>
              <a:gd name="connsiteX29047" fmla="*/ 2303374 w 8079933"/>
              <a:gd name="connsiteY29047" fmla="*/ 900270 h 4687251"/>
              <a:gd name="connsiteX29048" fmla="*/ 2307280 w 8079933"/>
              <a:gd name="connsiteY29048" fmla="*/ 891825 h 4687251"/>
              <a:gd name="connsiteX29049" fmla="*/ 2311838 w 8079933"/>
              <a:gd name="connsiteY29049" fmla="*/ 888577 h 4687251"/>
              <a:gd name="connsiteX29050" fmla="*/ 2315202 w 8079933"/>
              <a:gd name="connsiteY29050" fmla="*/ 893557 h 4687251"/>
              <a:gd name="connsiteX29051" fmla="*/ 2318132 w 8079933"/>
              <a:gd name="connsiteY29051" fmla="*/ 890851 h 4687251"/>
              <a:gd name="connsiteX29052" fmla="*/ 2320736 w 8079933"/>
              <a:gd name="connsiteY29052" fmla="*/ 892691 h 4687251"/>
              <a:gd name="connsiteX29053" fmla="*/ 2325294 w 8079933"/>
              <a:gd name="connsiteY29053" fmla="*/ 892041 h 4687251"/>
              <a:gd name="connsiteX29054" fmla="*/ 2325402 w 8079933"/>
              <a:gd name="connsiteY29054" fmla="*/ 889335 h 4687251"/>
              <a:gd name="connsiteX29055" fmla="*/ 2322798 w 8079933"/>
              <a:gd name="connsiteY29055" fmla="*/ 889118 h 4687251"/>
              <a:gd name="connsiteX29056" fmla="*/ 2318891 w 8079933"/>
              <a:gd name="connsiteY29056" fmla="*/ 885112 h 4687251"/>
              <a:gd name="connsiteX29057" fmla="*/ 2320736 w 8079933"/>
              <a:gd name="connsiteY29057" fmla="*/ 882406 h 4687251"/>
              <a:gd name="connsiteX29058" fmla="*/ 2325728 w 8079933"/>
              <a:gd name="connsiteY29058" fmla="*/ 881755 h 4687251"/>
              <a:gd name="connsiteX29059" fmla="*/ 2328332 w 8079933"/>
              <a:gd name="connsiteY29059" fmla="*/ 883921 h 4687251"/>
              <a:gd name="connsiteX29060" fmla="*/ 2330394 w 8079933"/>
              <a:gd name="connsiteY29060" fmla="*/ 882188 h 4687251"/>
              <a:gd name="connsiteX29061" fmla="*/ 2333867 w 8079933"/>
              <a:gd name="connsiteY29061" fmla="*/ 882622 h 4687251"/>
              <a:gd name="connsiteX29062" fmla="*/ 2335712 w 8079933"/>
              <a:gd name="connsiteY29062" fmla="*/ 881214 h 4687251"/>
              <a:gd name="connsiteX29063" fmla="*/ 2333541 w 8079933"/>
              <a:gd name="connsiteY29063" fmla="*/ 876775 h 4687251"/>
              <a:gd name="connsiteX29064" fmla="*/ 2331479 w 8079933"/>
              <a:gd name="connsiteY29064" fmla="*/ 876342 h 4687251"/>
              <a:gd name="connsiteX29065" fmla="*/ 2329201 w 8079933"/>
              <a:gd name="connsiteY29065" fmla="*/ 872228 h 4687251"/>
              <a:gd name="connsiteX29066" fmla="*/ 2326596 w 8079933"/>
              <a:gd name="connsiteY29066" fmla="*/ 872120 h 4687251"/>
              <a:gd name="connsiteX29067" fmla="*/ 2326922 w 8079933"/>
              <a:gd name="connsiteY29067" fmla="*/ 865082 h 4687251"/>
              <a:gd name="connsiteX29068" fmla="*/ 2329744 w 8079933"/>
              <a:gd name="connsiteY29068" fmla="*/ 861942 h 4687251"/>
              <a:gd name="connsiteX29069" fmla="*/ 2330286 w 8079933"/>
              <a:gd name="connsiteY29069" fmla="*/ 857719 h 4687251"/>
              <a:gd name="connsiteX29070" fmla="*/ 2333541 w 8079933"/>
              <a:gd name="connsiteY29070" fmla="*/ 857503 h 4687251"/>
              <a:gd name="connsiteX29071" fmla="*/ 2331045 w 8079933"/>
              <a:gd name="connsiteY29071" fmla="*/ 853713 h 4687251"/>
              <a:gd name="connsiteX29072" fmla="*/ 2331588 w 8079933"/>
              <a:gd name="connsiteY29072" fmla="*/ 850574 h 4687251"/>
              <a:gd name="connsiteX29073" fmla="*/ 2335060 w 8079933"/>
              <a:gd name="connsiteY29073" fmla="*/ 847001 h 4687251"/>
              <a:gd name="connsiteX29074" fmla="*/ 2333541 w 8079933"/>
              <a:gd name="connsiteY29074" fmla="*/ 845268 h 4687251"/>
              <a:gd name="connsiteX29075" fmla="*/ 2333324 w 8079933"/>
              <a:gd name="connsiteY29075" fmla="*/ 843861 h 4687251"/>
              <a:gd name="connsiteX29076" fmla="*/ 2337773 w 8079933"/>
              <a:gd name="connsiteY29076" fmla="*/ 843861 h 4687251"/>
              <a:gd name="connsiteX29077" fmla="*/ 2339401 w 8079933"/>
              <a:gd name="connsiteY29077" fmla="*/ 839639 h 4687251"/>
              <a:gd name="connsiteX29078" fmla="*/ 2335712 w 8079933"/>
              <a:gd name="connsiteY29078" fmla="*/ 837582 h 4687251"/>
              <a:gd name="connsiteX29079" fmla="*/ 2334518 w 8079933"/>
              <a:gd name="connsiteY29079" fmla="*/ 835091 h 4687251"/>
              <a:gd name="connsiteX29080" fmla="*/ 2339401 w 8079933"/>
              <a:gd name="connsiteY29080" fmla="*/ 835849 h 4687251"/>
              <a:gd name="connsiteX29081" fmla="*/ 2341463 w 8079933"/>
              <a:gd name="connsiteY29081" fmla="*/ 839313 h 4687251"/>
              <a:gd name="connsiteX29082" fmla="*/ 2345044 w 8079933"/>
              <a:gd name="connsiteY29082" fmla="*/ 839639 h 4687251"/>
              <a:gd name="connsiteX29083" fmla="*/ 2348082 w 8079933"/>
              <a:gd name="connsiteY29083" fmla="*/ 837582 h 4687251"/>
              <a:gd name="connsiteX29084" fmla="*/ 2355570 w 8079933"/>
              <a:gd name="connsiteY29084" fmla="*/ 838014 h 4687251"/>
              <a:gd name="connsiteX29085" fmla="*/ 2362081 w 8079933"/>
              <a:gd name="connsiteY29085" fmla="*/ 842886 h 4687251"/>
              <a:gd name="connsiteX29086" fmla="*/ 2362624 w 8079933"/>
              <a:gd name="connsiteY29086" fmla="*/ 845268 h 4687251"/>
              <a:gd name="connsiteX29087" fmla="*/ 2364686 w 8079933"/>
              <a:gd name="connsiteY29087" fmla="*/ 848192 h 4687251"/>
              <a:gd name="connsiteX29088" fmla="*/ 2373692 w 8079933"/>
              <a:gd name="connsiteY29088" fmla="*/ 852631 h 4687251"/>
              <a:gd name="connsiteX29089" fmla="*/ 2377816 w 8079933"/>
              <a:gd name="connsiteY29089" fmla="*/ 849924 h 4687251"/>
              <a:gd name="connsiteX29090" fmla="*/ 2382374 w 8079933"/>
              <a:gd name="connsiteY29090" fmla="*/ 853172 h 4687251"/>
              <a:gd name="connsiteX29091" fmla="*/ 2388342 w 8079933"/>
              <a:gd name="connsiteY29091" fmla="*/ 855662 h 4687251"/>
              <a:gd name="connsiteX29092" fmla="*/ 2388342 w 8079933"/>
              <a:gd name="connsiteY29092" fmla="*/ 858153 h 4687251"/>
              <a:gd name="connsiteX29093" fmla="*/ 2385846 w 8079933"/>
              <a:gd name="connsiteY29093" fmla="*/ 859776 h 4687251"/>
              <a:gd name="connsiteX29094" fmla="*/ 2388668 w 8079933"/>
              <a:gd name="connsiteY29094" fmla="*/ 862808 h 4687251"/>
              <a:gd name="connsiteX29095" fmla="*/ 2385738 w 8079933"/>
              <a:gd name="connsiteY29095" fmla="*/ 864324 h 4687251"/>
              <a:gd name="connsiteX29096" fmla="*/ 2382374 w 8079933"/>
              <a:gd name="connsiteY29096" fmla="*/ 861292 h 4687251"/>
              <a:gd name="connsiteX29097" fmla="*/ 2379118 w 8079933"/>
              <a:gd name="connsiteY29097" fmla="*/ 860968 h 4687251"/>
              <a:gd name="connsiteX29098" fmla="*/ 2379661 w 8079933"/>
              <a:gd name="connsiteY29098" fmla="*/ 863458 h 4687251"/>
              <a:gd name="connsiteX29099" fmla="*/ 2389644 w 8079933"/>
              <a:gd name="connsiteY29099" fmla="*/ 869846 h 4687251"/>
              <a:gd name="connsiteX29100" fmla="*/ 2390187 w 8079933"/>
              <a:gd name="connsiteY29100" fmla="*/ 874826 h 4687251"/>
              <a:gd name="connsiteX29101" fmla="*/ 2386280 w 8079933"/>
              <a:gd name="connsiteY29101" fmla="*/ 876342 h 4687251"/>
              <a:gd name="connsiteX29102" fmla="*/ 2388668 w 8079933"/>
              <a:gd name="connsiteY29102" fmla="*/ 877749 h 4687251"/>
              <a:gd name="connsiteX29103" fmla="*/ 2392792 w 8079933"/>
              <a:gd name="connsiteY29103" fmla="*/ 876342 h 4687251"/>
              <a:gd name="connsiteX29104" fmla="*/ 2399845 w 8079933"/>
              <a:gd name="connsiteY29104" fmla="*/ 878074 h 4687251"/>
              <a:gd name="connsiteX29105" fmla="*/ 2401364 w 8079933"/>
              <a:gd name="connsiteY29105" fmla="*/ 880890 h 4687251"/>
              <a:gd name="connsiteX29106" fmla="*/ 2403969 w 8079933"/>
              <a:gd name="connsiteY29106" fmla="*/ 881864 h 4687251"/>
              <a:gd name="connsiteX29107" fmla="*/ 2404728 w 8079933"/>
              <a:gd name="connsiteY29107" fmla="*/ 883921 h 4687251"/>
              <a:gd name="connsiteX29108" fmla="*/ 2401798 w 8079933"/>
              <a:gd name="connsiteY29108" fmla="*/ 888577 h 4687251"/>
              <a:gd name="connsiteX29109" fmla="*/ 2394419 w 8079933"/>
              <a:gd name="connsiteY29109" fmla="*/ 894315 h 4687251"/>
              <a:gd name="connsiteX29110" fmla="*/ 2389970 w 8079933"/>
              <a:gd name="connsiteY29110" fmla="*/ 895181 h 4687251"/>
              <a:gd name="connsiteX29111" fmla="*/ 2386606 w 8079933"/>
              <a:gd name="connsiteY29111" fmla="*/ 896805 h 4687251"/>
              <a:gd name="connsiteX29112" fmla="*/ 2393008 w 8079933"/>
              <a:gd name="connsiteY29112" fmla="*/ 896914 h 4687251"/>
              <a:gd name="connsiteX29113" fmla="*/ 2395396 w 8079933"/>
              <a:gd name="connsiteY29113" fmla="*/ 898429 h 4687251"/>
              <a:gd name="connsiteX29114" fmla="*/ 2395830 w 8079933"/>
              <a:gd name="connsiteY29114" fmla="*/ 902002 h 4687251"/>
              <a:gd name="connsiteX29115" fmla="*/ 2397566 w 8079933"/>
              <a:gd name="connsiteY29115" fmla="*/ 901894 h 4687251"/>
              <a:gd name="connsiteX29116" fmla="*/ 2399194 w 8079933"/>
              <a:gd name="connsiteY29116" fmla="*/ 903193 h 4687251"/>
              <a:gd name="connsiteX29117" fmla="*/ 2396155 w 8079933"/>
              <a:gd name="connsiteY29117" fmla="*/ 907849 h 4687251"/>
              <a:gd name="connsiteX29118" fmla="*/ 2397891 w 8079933"/>
              <a:gd name="connsiteY29118" fmla="*/ 909581 h 4687251"/>
              <a:gd name="connsiteX29119" fmla="*/ 2392249 w 8079933"/>
              <a:gd name="connsiteY29119" fmla="*/ 913371 h 4687251"/>
              <a:gd name="connsiteX29120" fmla="*/ 2385738 w 8079933"/>
              <a:gd name="connsiteY29120" fmla="*/ 915536 h 4687251"/>
              <a:gd name="connsiteX29121" fmla="*/ 2382266 w 8079933"/>
              <a:gd name="connsiteY29121" fmla="*/ 914887 h 4687251"/>
              <a:gd name="connsiteX29122" fmla="*/ 2379986 w 8079933"/>
              <a:gd name="connsiteY29122" fmla="*/ 917810 h 4687251"/>
              <a:gd name="connsiteX29123" fmla="*/ 2376405 w 8079933"/>
              <a:gd name="connsiteY29123" fmla="*/ 916618 h 4687251"/>
              <a:gd name="connsiteX29124" fmla="*/ 2372607 w 8079933"/>
              <a:gd name="connsiteY29124" fmla="*/ 912180 h 4687251"/>
              <a:gd name="connsiteX29125" fmla="*/ 2368267 w 8079933"/>
              <a:gd name="connsiteY29125" fmla="*/ 911963 h 4687251"/>
              <a:gd name="connsiteX29126" fmla="*/ 2366964 w 8079933"/>
              <a:gd name="connsiteY29126" fmla="*/ 909581 h 4687251"/>
              <a:gd name="connsiteX29127" fmla="*/ 2364034 w 8079933"/>
              <a:gd name="connsiteY29127" fmla="*/ 909906 h 4687251"/>
              <a:gd name="connsiteX29128" fmla="*/ 2363818 w 8079933"/>
              <a:gd name="connsiteY29128" fmla="*/ 913695 h 4687251"/>
              <a:gd name="connsiteX29129" fmla="*/ 2361756 w 8079933"/>
              <a:gd name="connsiteY29129" fmla="*/ 915103 h 4687251"/>
              <a:gd name="connsiteX29130" fmla="*/ 2365662 w 8079933"/>
              <a:gd name="connsiteY29130" fmla="*/ 915969 h 4687251"/>
              <a:gd name="connsiteX29131" fmla="*/ 2368701 w 8079933"/>
              <a:gd name="connsiteY29131" fmla="*/ 918351 h 4687251"/>
              <a:gd name="connsiteX29132" fmla="*/ 2367290 w 8079933"/>
              <a:gd name="connsiteY29132" fmla="*/ 921599 h 4687251"/>
              <a:gd name="connsiteX29133" fmla="*/ 2364469 w 8079933"/>
              <a:gd name="connsiteY29133" fmla="*/ 924522 h 4687251"/>
              <a:gd name="connsiteX29134" fmla="*/ 2368484 w 8079933"/>
              <a:gd name="connsiteY29134" fmla="*/ 924847 h 4687251"/>
              <a:gd name="connsiteX29135" fmla="*/ 2365662 w 8079933"/>
              <a:gd name="connsiteY29135" fmla="*/ 928961 h 4687251"/>
              <a:gd name="connsiteX29136" fmla="*/ 2366096 w 8079933"/>
              <a:gd name="connsiteY29136" fmla="*/ 931885 h 4687251"/>
              <a:gd name="connsiteX29137" fmla="*/ 2367615 w 8079933"/>
              <a:gd name="connsiteY29137" fmla="*/ 932318 h 4687251"/>
              <a:gd name="connsiteX29138" fmla="*/ 2370545 w 8079933"/>
              <a:gd name="connsiteY29138" fmla="*/ 929287 h 4687251"/>
              <a:gd name="connsiteX29139" fmla="*/ 2372065 w 8079933"/>
              <a:gd name="connsiteY29139" fmla="*/ 929503 h 4687251"/>
              <a:gd name="connsiteX29140" fmla="*/ 2370871 w 8079933"/>
              <a:gd name="connsiteY29140" fmla="*/ 932967 h 4687251"/>
              <a:gd name="connsiteX29141" fmla="*/ 2365228 w 8079933"/>
              <a:gd name="connsiteY29141" fmla="*/ 935241 h 4687251"/>
              <a:gd name="connsiteX29142" fmla="*/ 2363058 w 8079933"/>
              <a:gd name="connsiteY29142" fmla="*/ 939572 h 4687251"/>
              <a:gd name="connsiteX29143" fmla="*/ 2364034 w 8079933"/>
              <a:gd name="connsiteY29143" fmla="*/ 944661 h 4687251"/>
              <a:gd name="connsiteX29144" fmla="*/ 2369460 w 8079933"/>
              <a:gd name="connsiteY29144" fmla="*/ 948775 h 4687251"/>
              <a:gd name="connsiteX29145" fmla="*/ 2368701 w 8079933"/>
              <a:gd name="connsiteY29145" fmla="*/ 952023 h 4687251"/>
              <a:gd name="connsiteX29146" fmla="*/ 2373801 w 8079933"/>
              <a:gd name="connsiteY29146" fmla="*/ 962201 h 4687251"/>
              <a:gd name="connsiteX29147" fmla="*/ 2373150 w 8079933"/>
              <a:gd name="connsiteY29147" fmla="*/ 968048 h 4687251"/>
              <a:gd name="connsiteX29148" fmla="*/ 2371414 w 8079933"/>
              <a:gd name="connsiteY29148" fmla="*/ 969238 h 4687251"/>
              <a:gd name="connsiteX29149" fmla="*/ 2370762 w 8079933"/>
              <a:gd name="connsiteY29149" fmla="*/ 972703 h 4687251"/>
              <a:gd name="connsiteX29150" fmla="*/ 2364360 w 8079933"/>
              <a:gd name="connsiteY29150" fmla="*/ 978117 h 4687251"/>
              <a:gd name="connsiteX29151" fmla="*/ 2365554 w 8079933"/>
              <a:gd name="connsiteY29151" fmla="*/ 982447 h 4687251"/>
              <a:gd name="connsiteX29152" fmla="*/ 2363275 w 8079933"/>
              <a:gd name="connsiteY29152" fmla="*/ 985587 h 4687251"/>
              <a:gd name="connsiteX29153" fmla="*/ 2359151 w 8079933"/>
              <a:gd name="connsiteY29153" fmla="*/ 983854 h 4687251"/>
              <a:gd name="connsiteX29154" fmla="*/ 2351772 w 8079933"/>
              <a:gd name="connsiteY29154" fmla="*/ 983963 h 4687251"/>
              <a:gd name="connsiteX29155" fmla="*/ 2348517 w 8079933"/>
              <a:gd name="connsiteY29155" fmla="*/ 986237 h 4687251"/>
              <a:gd name="connsiteX29156" fmla="*/ 2347323 w 8079933"/>
              <a:gd name="connsiteY29156" fmla="*/ 991758 h 4687251"/>
              <a:gd name="connsiteX29157" fmla="*/ 2342656 w 8079933"/>
              <a:gd name="connsiteY29157" fmla="*/ 994466 h 4687251"/>
              <a:gd name="connsiteX29158" fmla="*/ 2340378 w 8079933"/>
              <a:gd name="connsiteY29158" fmla="*/ 997605 h 4687251"/>
              <a:gd name="connsiteX29159" fmla="*/ 2336580 w 8079933"/>
              <a:gd name="connsiteY29159" fmla="*/ 997713 h 4687251"/>
              <a:gd name="connsiteX29160" fmla="*/ 2329852 w 8079933"/>
              <a:gd name="connsiteY29160" fmla="*/ 1004968 h 4687251"/>
              <a:gd name="connsiteX29161" fmla="*/ 2327464 w 8079933"/>
              <a:gd name="connsiteY29161" fmla="*/ 1004101 h 4687251"/>
              <a:gd name="connsiteX29162" fmla="*/ 2323558 w 8079933"/>
              <a:gd name="connsiteY29162" fmla="*/ 1004318 h 4687251"/>
              <a:gd name="connsiteX29163" fmla="*/ 2321062 w 8079933"/>
              <a:gd name="connsiteY29163" fmla="*/ 1008974 h 4687251"/>
              <a:gd name="connsiteX29164" fmla="*/ 2309559 w 8079933"/>
              <a:gd name="connsiteY29164" fmla="*/ 1012221 h 4687251"/>
              <a:gd name="connsiteX29165" fmla="*/ 2307280 w 8079933"/>
              <a:gd name="connsiteY29165" fmla="*/ 1010164 h 4687251"/>
              <a:gd name="connsiteX29166" fmla="*/ 2309017 w 8079933"/>
              <a:gd name="connsiteY29166" fmla="*/ 1007241 h 4687251"/>
              <a:gd name="connsiteX29167" fmla="*/ 2307497 w 8079933"/>
              <a:gd name="connsiteY29167" fmla="*/ 1001503 h 4687251"/>
              <a:gd name="connsiteX29168" fmla="*/ 2304242 w 8079933"/>
              <a:gd name="connsiteY29168" fmla="*/ 997930 h 4687251"/>
              <a:gd name="connsiteX29169" fmla="*/ 2304242 w 8079933"/>
              <a:gd name="connsiteY29169" fmla="*/ 995331 h 4687251"/>
              <a:gd name="connsiteX29170" fmla="*/ 2306954 w 8079933"/>
              <a:gd name="connsiteY29170" fmla="*/ 994357 h 4687251"/>
              <a:gd name="connsiteX29171" fmla="*/ 2307172 w 8079933"/>
              <a:gd name="connsiteY29171" fmla="*/ 990568 h 4687251"/>
              <a:gd name="connsiteX29172" fmla="*/ 2310970 w 8079933"/>
              <a:gd name="connsiteY29172" fmla="*/ 983963 h 4687251"/>
              <a:gd name="connsiteX29173" fmla="*/ 2305978 w 8079933"/>
              <a:gd name="connsiteY29173" fmla="*/ 988835 h 4687251"/>
              <a:gd name="connsiteX29174" fmla="*/ 2304242 w 8079933"/>
              <a:gd name="connsiteY29174" fmla="*/ 989376 h 4687251"/>
              <a:gd name="connsiteX29175" fmla="*/ 2303699 w 8079933"/>
              <a:gd name="connsiteY29175" fmla="*/ 979415 h 4687251"/>
              <a:gd name="connsiteX29176" fmla="*/ 2301420 w 8079933"/>
              <a:gd name="connsiteY29176" fmla="*/ 978550 h 4687251"/>
              <a:gd name="connsiteX29177" fmla="*/ 2298708 w 8079933"/>
              <a:gd name="connsiteY29177" fmla="*/ 974002 h 4687251"/>
              <a:gd name="connsiteX29178" fmla="*/ 2294258 w 8079933"/>
              <a:gd name="connsiteY29178" fmla="*/ 976601 h 4687251"/>
              <a:gd name="connsiteX29179" fmla="*/ 2292630 w 8079933"/>
              <a:gd name="connsiteY29179" fmla="*/ 975085 h 4687251"/>
              <a:gd name="connsiteX29180" fmla="*/ 2288507 w 8079933"/>
              <a:gd name="connsiteY29180" fmla="*/ 975409 h 4687251"/>
              <a:gd name="connsiteX29181" fmla="*/ 2284274 w 8079933"/>
              <a:gd name="connsiteY29181" fmla="*/ 981906 h 4687251"/>
              <a:gd name="connsiteX29182" fmla="*/ 2286445 w 8079933"/>
              <a:gd name="connsiteY29182" fmla="*/ 982447 h 4687251"/>
              <a:gd name="connsiteX29183" fmla="*/ 2292630 w 8079933"/>
              <a:gd name="connsiteY29183" fmla="*/ 978333 h 4687251"/>
              <a:gd name="connsiteX29184" fmla="*/ 2295127 w 8079933"/>
              <a:gd name="connsiteY29184" fmla="*/ 979524 h 4687251"/>
              <a:gd name="connsiteX29185" fmla="*/ 2294801 w 8079933"/>
              <a:gd name="connsiteY29185" fmla="*/ 983638 h 4687251"/>
              <a:gd name="connsiteX29186" fmla="*/ 2298925 w 8079933"/>
              <a:gd name="connsiteY29186" fmla="*/ 985587 h 4687251"/>
              <a:gd name="connsiteX29187" fmla="*/ 2301854 w 8079933"/>
              <a:gd name="connsiteY29187" fmla="*/ 992733 h 4687251"/>
              <a:gd name="connsiteX29188" fmla="*/ 2300552 w 8079933"/>
              <a:gd name="connsiteY29188" fmla="*/ 999662 h 4687251"/>
              <a:gd name="connsiteX29189" fmla="*/ 2302831 w 8079933"/>
              <a:gd name="connsiteY29189" fmla="*/ 1001070 h 4687251"/>
              <a:gd name="connsiteX29190" fmla="*/ 2303916 w 8079933"/>
              <a:gd name="connsiteY29190" fmla="*/ 1007566 h 4687251"/>
              <a:gd name="connsiteX29191" fmla="*/ 2301963 w 8079933"/>
              <a:gd name="connsiteY29191" fmla="*/ 1010490 h 4687251"/>
              <a:gd name="connsiteX29192" fmla="*/ 2303483 w 8079933"/>
              <a:gd name="connsiteY29192" fmla="*/ 1012221 h 4687251"/>
              <a:gd name="connsiteX29193" fmla="*/ 2303156 w 8079933"/>
              <a:gd name="connsiteY29193" fmla="*/ 1016011 h 4687251"/>
              <a:gd name="connsiteX29194" fmla="*/ 2300770 w 8079933"/>
              <a:gd name="connsiteY29194" fmla="*/ 1016119 h 4687251"/>
              <a:gd name="connsiteX29195" fmla="*/ 2293173 w 8079933"/>
              <a:gd name="connsiteY29195" fmla="*/ 1009623 h 4687251"/>
              <a:gd name="connsiteX29196" fmla="*/ 2292522 w 8079933"/>
              <a:gd name="connsiteY29196" fmla="*/ 1005725 h 4687251"/>
              <a:gd name="connsiteX29197" fmla="*/ 2289267 w 8079933"/>
              <a:gd name="connsiteY29197" fmla="*/ 1004426 h 4687251"/>
              <a:gd name="connsiteX29198" fmla="*/ 2288181 w 8079933"/>
              <a:gd name="connsiteY29198" fmla="*/ 1000637 h 4687251"/>
              <a:gd name="connsiteX29199" fmla="*/ 2285468 w 8079933"/>
              <a:gd name="connsiteY29199" fmla="*/ 1004643 h 4687251"/>
              <a:gd name="connsiteX29200" fmla="*/ 2289917 w 8079933"/>
              <a:gd name="connsiteY29200" fmla="*/ 1008757 h 4687251"/>
              <a:gd name="connsiteX29201" fmla="*/ 2288832 w 8079933"/>
              <a:gd name="connsiteY29201" fmla="*/ 1012655 h 4687251"/>
              <a:gd name="connsiteX29202" fmla="*/ 2283406 w 8079933"/>
              <a:gd name="connsiteY29202" fmla="*/ 1009623 h 4687251"/>
              <a:gd name="connsiteX29203" fmla="*/ 2279717 w 8079933"/>
              <a:gd name="connsiteY29203" fmla="*/ 1008757 h 4687251"/>
              <a:gd name="connsiteX29204" fmla="*/ 2278849 w 8079933"/>
              <a:gd name="connsiteY29204" fmla="*/ 1006484 h 4687251"/>
              <a:gd name="connsiteX29205" fmla="*/ 2275593 w 8079933"/>
              <a:gd name="connsiteY29205" fmla="*/ 1008107 h 4687251"/>
              <a:gd name="connsiteX29206" fmla="*/ 2275485 w 8079933"/>
              <a:gd name="connsiteY29206" fmla="*/ 1004859 h 4687251"/>
              <a:gd name="connsiteX29207" fmla="*/ 2277655 w 8079933"/>
              <a:gd name="connsiteY29207" fmla="*/ 997930 h 4687251"/>
              <a:gd name="connsiteX29208" fmla="*/ 2278740 w 8079933"/>
              <a:gd name="connsiteY29208" fmla="*/ 996739 h 4687251"/>
              <a:gd name="connsiteX29209" fmla="*/ 2276136 w 8079933"/>
              <a:gd name="connsiteY29209" fmla="*/ 995548 h 4687251"/>
              <a:gd name="connsiteX29210" fmla="*/ 2275919 w 8079933"/>
              <a:gd name="connsiteY29210" fmla="*/ 993274 h 4687251"/>
              <a:gd name="connsiteX29211" fmla="*/ 2269082 w 8079933"/>
              <a:gd name="connsiteY29211" fmla="*/ 996089 h 4687251"/>
              <a:gd name="connsiteX29212" fmla="*/ 2263548 w 8079933"/>
              <a:gd name="connsiteY29212" fmla="*/ 996089 h 4687251"/>
              <a:gd name="connsiteX29213" fmla="*/ 2259533 w 8079933"/>
              <a:gd name="connsiteY29213" fmla="*/ 993166 h 4687251"/>
              <a:gd name="connsiteX29214" fmla="*/ 2255627 w 8079933"/>
              <a:gd name="connsiteY29214" fmla="*/ 993815 h 4687251"/>
              <a:gd name="connsiteX29215" fmla="*/ 2250417 w 8079933"/>
              <a:gd name="connsiteY29215" fmla="*/ 990351 h 4687251"/>
              <a:gd name="connsiteX29216" fmla="*/ 2249658 w 8079933"/>
              <a:gd name="connsiteY29216" fmla="*/ 994032 h 4687251"/>
              <a:gd name="connsiteX29217" fmla="*/ 2250960 w 8079933"/>
              <a:gd name="connsiteY29217" fmla="*/ 996956 h 4687251"/>
              <a:gd name="connsiteX29218" fmla="*/ 2248681 w 8079933"/>
              <a:gd name="connsiteY29218" fmla="*/ 998472 h 4687251"/>
              <a:gd name="connsiteX29219" fmla="*/ 2249115 w 8079933"/>
              <a:gd name="connsiteY29219" fmla="*/ 1003127 h 4687251"/>
              <a:gd name="connsiteX29220" fmla="*/ 2251286 w 8079933"/>
              <a:gd name="connsiteY29220" fmla="*/ 1006484 h 4687251"/>
              <a:gd name="connsiteX29221" fmla="*/ 2257145 w 8079933"/>
              <a:gd name="connsiteY29221" fmla="*/ 1007566 h 4687251"/>
              <a:gd name="connsiteX29222" fmla="*/ 2259750 w 8079933"/>
              <a:gd name="connsiteY29222" fmla="*/ 1011897 h 4687251"/>
              <a:gd name="connsiteX29223" fmla="*/ 2255952 w 8079933"/>
              <a:gd name="connsiteY29223" fmla="*/ 1018393 h 4687251"/>
              <a:gd name="connsiteX29224" fmla="*/ 2252914 w 8079933"/>
              <a:gd name="connsiteY29224" fmla="*/ 1019368 h 4687251"/>
              <a:gd name="connsiteX29225" fmla="*/ 2241628 w 8079933"/>
              <a:gd name="connsiteY29225" fmla="*/ 1027488 h 4687251"/>
              <a:gd name="connsiteX29226" fmla="*/ 2236853 w 8079933"/>
              <a:gd name="connsiteY29226" fmla="*/ 1033659 h 4687251"/>
              <a:gd name="connsiteX29227" fmla="*/ 2231319 w 8079933"/>
              <a:gd name="connsiteY29227" fmla="*/ 1040588 h 4687251"/>
              <a:gd name="connsiteX29228" fmla="*/ 2227846 w 8079933"/>
              <a:gd name="connsiteY29228" fmla="*/ 1039181 h 4687251"/>
              <a:gd name="connsiteX29229" fmla="*/ 2224265 w 8079933"/>
              <a:gd name="connsiteY29229" fmla="*/ 1041563 h 4687251"/>
              <a:gd name="connsiteX29230" fmla="*/ 2222420 w 8079933"/>
              <a:gd name="connsiteY29230" fmla="*/ 1047302 h 4687251"/>
              <a:gd name="connsiteX29231" fmla="*/ 2218080 w 8079933"/>
              <a:gd name="connsiteY29231" fmla="*/ 1049033 h 4687251"/>
              <a:gd name="connsiteX29232" fmla="*/ 2203105 w 8079933"/>
              <a:gd name="connsiteY29232" fmla="*/ 1045677 h 4687251"/>
              <a:gd name="connsiteX29233" fmla="*/ 2199848 w 8079933"/>
              <a:gd name="connsiteY29233" fmla="*/ 1041130 h 4687251"/>
              <a:gd name="connsiteX29234" fmla="*/ 2197787 w 8079933"/>
              <a:gd name="connsiteY29234" fmla="*/ 1035933 h 4687251"/>
              <a:gd name="connsiteX29235" fmla="*/ 2190299 w 8079933"/>
              <a:gd name="connsiteY29235" fmla="*/ 1032684 h 4687251"/>
              <a:gd name="connsiteX29236" fmla="*/ 2190516 w 8079933"/>
              <a:gd name="connsiteY29236" fmla="*/ 1030411 h 4687251"/>
              <a:gd name="connsiteX29237" fmla="*/ 2192904 w 8079933"/>
              <a:gd name="connsiteY29237" fmla="*/ 1030303 h 4687251"/>
              <a:gd name="connsiteX29238" fmla="*/ 2194749 w 8079933"/>
              <a:gd name="connsiteY29238" fmla="*/ 1028678 h 4687251"/>
              <a:gd name="connsiteX29239" fmla="*/ 2192361 w 8079933"/>
              <a:gd name="connsiteY29239" fmla="*/ 1026080 h 4687251"/>
              <a:gd name="connsiteX29240" fmla="*/ 2187912 w 8079933"/>
              <a:gd name="connsiteY29240" fmla="*/ 1024890 h 4687251"/>
              <a:gd name="connsiteX29241" fmla="*/ 2182920 w 8079933"/>
              <a:gd name="connsiteY29241" fmla="*/ 1015470 h 4687251"/>
              <a:gd name="connsiteX29242" fmla="*/ 2177060 w 8079933"/>
              <a:gd name="connsiteY29242" fmla="*/ 1010814 h 4687251"/>
              <a:gd name="connsiteX29243" fmla="*/ 2167402 w 8079933"/>
              <a:gd name="connsiteY29243" fmla="*/ 1010814 h 4687251"/>
              <a:gd name="connsiteX29244" fmla="*/ 2160566 w 8079933"/>
              <a:gd name="connsiteY29244" fmla="*/ 1006700 h 4687251"/>
              <a:gd name="connsiteX29245" fmla="*/ 2149497 w 8079933"/>
              <a:gd name="connsiteY29245" fmla="*/ 1006050 h 4687251"/>
              <a:gd name="connsiteX29246" fmla="*/ 2145156 w 8079933"/>
              <a:gd name="connsiteY29246" fmla="*/ 1004643 h 4687251"/>
              <a:gd name="connsiteX29247" fmla="*/ 2145048 w 8079933"/>
              <a:gd name="connsiteY29247" fmla="*/ 1007891 h 4687251"/>
              <a:gd name="connsiteX29248" fmla="*/ 2147978 w 8079933"/>
              <a:gd name="connsiteY29248" fmla="*/ 1011139 h 4687251"/>
              <a:gd name="connsiteX29249" fmla="*/ 2149606 w 8079933"/>
              <a:gd name="connsiteY29249" fmla="*/ 1008974 h 4687251"/>
              <a:gd name="connsiteX29250" fmla="*/ 2152644 w 8079933"/>
              <a:gd name="connsiteY29250" fmla="*/ 1008433 h 4687251"/>
              <a:gd name="connsiteX29251" fmla="*/ 2163278 w 8079933"/>
              <a:gd name="connsiteY29251" fmla="*/ 1012221 h 4687251"/>
              <a:gd name="connsiteX29252" fmla="*/ 2173045 w 8079933"/>
              <a:gd name="connsiteY29252" fmla="*/ 1012005 h 4687251"/>
              <a:gd name="connsiteX29253" fmla="*/ 2176192 w 8079933"/>
              <a:gd name="connsiteY29253" fmla="*/ 1014062 h 4687251"/>
              <a:gd name="connsiteX29254" fmla="*/ 2175107 w 8079933"/>
              <a:gd name="connsiteY29254" fmla="*/ 1016878 h 4687251"/>
              <a:gd name="connsiteX29255" fmla="*/ 2173262 w 8079933"/>
              <a:gd name="connsiteY29255" fmla="*/ 1016661 h 4687251"/>
              <a:gd name="connsiteX29256" fmla="*/ 2171743 w 8079933"/>
              <a:gd name="connsiteY29256" fmla="*/ 1018610 h 4687251"/>
              <a:gd name="connsiteX29257" fmla="*/ 2173045 w 8079933"/>
              <a:gd name="connsiteY29257" fmla="*/ 1019909 h 4687251"/>
              <a:gd name="connsiteX29258" fmla="*/ 2173805 w 8079933"/>
              <a:gd name="connsiteY29258" fmla="*/ 1027813 h 4687251"/>
              <a:gd name="connsiteX29259" fmla="*/ 2175867 w 8079933"/>
              <a:gd name="connsiteY29259" fmla="*/ 1028029 h 4687251"/>
              <a:gd name="connsiteX29260" fmla="*/ 2181075 w 8079933"/>
              <a:gd name="connsiteY29260" fmla="*/ 1038098 h 4687251"/>
              <a:gd name="connsiteX29261" fmla="*/ 2184114 w 8079933"/>
              <a:gd name="connsiteY29261" fmla="*/ 1045244 h 4687251"/>
              <a:gd name="connsiteX29262" fmla="*/ 2192904 w 8079933"/>
              <a:gd name="connsiteY29262" fmla="*/ 1048167 h 4687251"/>
              <a:gd name="connsiteX29263" fmla="*/ 2202236 w 8079933"/>
              <a:gd name="connsiteY29263" fmla="*/ 1049792 h 4687251"/>
              <a:gd name="connsiteX29264" fmla="*/ 2219273 w 8079933"/>
              <a:gd name="connsiteY29264" fmla="*/ 1054664 h 4687251"/>
              <a:gd name="connsiteX29265" fmla="*/ 2219925 w 8079933"/>
              <a:gd name="connsiteY29265" fmla="*/ 1059861 h 4687251"/>
              <a:gd name="connsiteX29266" fmla="*/ 2217862 w 8079933"/>
              <a:gd name="connsiteY29266" fmla="*/ 1061593 h 4687251"/>
              <a:gd name="connsiteX29267" fmla="*/ 2212545 w 8079933"/>
              <a:gd name="connsiteY29267" fmla="*/ 1065491 h 4687251"/>
              <a:gd name="connsiteX29268" fmla="*/ 2208204 w 8079933"/>
              <a:gd name="connsiteY29268" fmla="*/ 1067765 h 4687251"/>
              <a:gd name="connsiteX29269" fmla="*/ 2201368 w 8079933"/>
              <a:gd name="connsiteY29269" fmla="*/ 1076859 h 4687251"/>
              <a:gd name="connsiteX29270" fmla="*/ 2200283 w 8079933"/>
              <a:gd name="connsiteY29270" fmla="*/ 1074910 h 4687251"/>
              <a:gd name="connsiteX29271" fmla="*/ 2198221 w 8079933"/>
              <a:gd name="connsiteY29271" fmla="*/ 1076426 h 4687251"/>
              <a:gd name="connsiteX29272" fmla="*/ 2197570 w 8079933"/>
              <a:gd name="connsiteY29272" fmla="*/ 1079349 h 4687251"/>
              <a:gd name="connsiteX29273" fmla="*/ 2182378 w 8079933"/>
              <a:gd name="connsiteY29273" fmla="*/ 1095049 h 4687251"/>
              <a:gd name="connsiteX29274" fmla="*/ 2176192 w 8079933"/>
              <a:gd name="connsiteY29274" fmla="*/ 1097972 h 4687251"/>
              <a:gd name="connsiteX29275" fmla="*/ 2172069 w 8079933"/>
              <a:gd name="connsiteY29275" fmla="*/ 1105226 h 4687251"/>
              <a:gd name="connsiteX29276" fmla="*/ 2167945 w 8079933"/>
              <a:gd name="connsiteY29276" fmla="*/ 1106093 h 4687251"/>
              <a:gd name="connsiteX29277" fmla="*/ 2165666 w 8079933"/>
              <a:gd name="connsiteY29277" fmla="*/ 1104360 h 4687251"/>
              <a:gd name="connsiteX29278" fmla="*/ 2162953 w 8079933"/>
              <a:gd name="connsiteY29278" fmla="*/ 1104360 h 4687251"/>
              <a:gd name="connsiteX29279" fmla="*/ 2161868 w 8079933"/>
              <a:gd name="connsiteY29279" fmla="*/ 1106958 h 4687251"/>
              <a:gd name="connsiteX29280" fmla="*/ 2156008 w 8079933"/>
              <a:gd name="connsiteY29280" fmla="*/ 1100029 h 4687251"/>
              <a:gd name="connsiteX29281" fmla="*/ 2152427 w 8079933"/>
              <a:gd name="connsiteY29281" fmla="*/ 1098513 h 4687251"/>
              <a:gd name="connsiteX29282" fmla="*/ 2149606 w 8079933"/>
              <a:gd name="connsiteY29282" fmla="*/ 1101978 h 4687251"/>
              <a:gd name="connsiteX29283" fmla="*/ 2148521 w 8079933"/>
              <a:gd name="connsiteY29283" fmla="*/ 1098622 h 4687251"/>
              <a:gd name="connsiteX29284" fmla="*/ 2146567 w 8079933"/>
              <a:gd name="connsiteY29284" fmla="*/ 1097755 h 4687251"/>
              <a:gd name="connsiteX29285" fmla="*/ 2150039 w 8079933"/>
              <a:gd name="connsiteY29285" fmla="*/ 1093208 h 4687251"/>
              <a:gd name="connsiteX29286" fmla="*/ 2148521 w 8079933"/>
              <a:gd name="connsiteY29286" fmla="*/ 1092017 h 4687251"/>
              <a:gd name="connsiteX29287" fmla="*/ 2147435 w 8079933"/>
              <a:gd name="connsiteY29287" fmla="*/ 1089527 h 4687251"/>
              <a:gd name="connsiteX29288" fmla="*/ 2142769 w 8079933"/>
              <a:gd name="connsiteY29288" fmla="*/ 1092126 h 4687251"/>
              <a:gd name="connsiteX29289" fmla="*/ 2139188 w 8079933"/>
              <a:gd name="connsiteY29289" fmla="*/ 1101545 h 4687251"/>
              <a:gd name="connsiteX29290" fmla="*/ 2138862 w 8079933"/>
              <a:gd name="connsiteY29290" fmla="*/ 1097322 h 4687251"/>
              <a:gd name="connsiteX29291" fmla="*/ 2136258 w 8079933"/>
              <a:gd name="connsiteY29291" fmla="*/ 1089744 h 4687251"/>
              <a:gd name="connsiteX29292" fmla="*/ 2134196 w 8079933"/>
              <a:gd name="connsiteY29292" fmla="*/ 1096456 h 4687251"/>
              <a:gd name="connsiteX29293" fmla="*/ 2136584 w 8079933"/>
              <a:gd name="connsiteY29293" fmla="*/ 1099379 h 4687251"/>
              <a:gd name="connsiteX29294" fmla="*/ 2136041 w 8079933"/>
              <a:gd name="connsiteY29294" fmla="*/ 1108258 h 4687251"/>
              <a:gd name="connsiteX29295" fmla="*/ 2130398 w 8079933"/>
              <a:gd name="connsiteY29295" fmla="*/ 1116161 h 4687251"/>
              <a:gd name="connsiteX29296" fmla="*/ 2127251 w 8079933"/>
              <a:gd name="connsiteY29296" fmla="*/ 1115403 h 4687251"/>
              <a:gd name="connsiteX29297" fmla="*/ 2126275 w 8079933"/>
              <a:gd name="connsiteY29297" fmla="*/ 1112372 h 4687251"/>
              <a:gd name="connsiteX29298" fmla="*/ 2122802 w 8079933"/>
              <a:gd name="connsiteY29298" fmla="*/ 1106742 h 4687251"/>
              <a:gd name="connsiteX29299" fmla="*/ 2121608 w 8079933"/>
              <a:gd name="connsiteY29299" fmla="*/ 1111073 h 4687251"/>
              <a:gd name="connsiteX29300" fmla="*/ 2124864 w 8079933"/>
              <a:gd name="connsiteY29300" fmla="*/ 1113671 h 4687251"/>
              <a:gd name="connsiteX29301" fmla="*/ 2120089 w 8079933"/>
              <a:gd name="connsiteY29301" fmla="*/ 1116161 h 4687251"/>
              <a:gd name="connsiteX29302" fmla="*/ 2119547 w 8079933"/>
              <a:gd name="connsiteY29302" fmla="*/ 1121358 h 4687251"/>
              <a:gd name="connsiteX29303" fmla="*/ 2117810 w 8079933"/>
              <a:gd name="connsiteY29303" fmla="*/ 1119626 h 4687251"/>
              <a:gd name="connsiteX29304" fmla="*/ 2112601 w 8079933"/>
              <a:gd name="connsiteY29304" fmla="*/ 1117894 h 4687251"/>
              <a:gd name="connsiteX29305" fmla="*/ 2111951 w 8079933"/>
              <a:gd name="connsiteY29305" fmla="*/ 1114429 h 4687251"/>
              <a:gd name="connsiteX29306" fmla="*/ 2107935 w 8079933"/>
              <a:gd name="connsiteY29306" fmla="*/ 1111939 h 4687251"/>
              <a:gd name="connsiteX29307" fmla="*/ 2103269 w 8079933"/>
              <a:gd name="connsiteY29307" fmla="*/ 1105659 h 4687251"/>
              <a:gd name="connsiteX29308" fmla="*/ 2093828 w 8079933"/>
              <a:gd name="connsiteY29308" fmla="*/ 1102303 h 4687251"/>
              <a:gd name="connsiteX29309" fmla="*/ 2084930 w 8079933"/>
              <a:gd name="connsiteY29309" fmla="*/ 1097106 h 4687251"/>
              <a:gd name="connsiteX29310" fmla="*/ 2082000 w 8079933"/>
              <a:gd name="connsiteY29310" fmla="*/ 1090068 h 4687251"/>
              <a:gd name="connsiteX29311" fmla="*/ 2078202 w 8079933"/>
              <a:gd name="connsiteY29311" fmla="*/ 1088661 h 4687251"/>
              <a:gd name="connsiteX29312" fmla="*/ 2071582 w 8079933"/>
              <a:gd name="connsiteY29312" fmla="*/ 1083680 h 4687251"/>
              <a:gd name="connsiteX29313" fmla="*/ 2069411 w 8079933"/>
              <a:gd name="connsiteY29313" fmla="*/ 1079891 h 4687251"/>
              <a:gd name="connsiteX29314" fmla="*/ 2069086 w 8079933"/>
              <a:gd name="connsiteY29314" fmla="*/ 1086928 h 4687251"/>
              <a:gd name="connsiteX29315" fmla="*/ 2064854 w 8079933"/>
              <a:gd name="connsiteY29315" fmla="*/ 1085954 h 4687251"/>
              <a:gd name="connsiteX29316" fmla="*/ 2067458 w 8079933"/>
              <a:gd name="connsiteY29316" fmla="*/ 1092775 h 4687251"/>
              <a:gd name="connsiteX29317" fmla="*/ 2071582 w 8079933"/>
              <a:gd name="connsiteY29317" fmla="*/ 1096456 h 4687251"/>
              <a:gd name="connsiteX29318" fmla="*/ 2073210 w 8079933"/>
              <a:gd name="connsiteY29318" fmla="*/ 1094507 h 4687251"/>
              <a:gd name="connsiteX29319" fmla="*/ 2071256 w 8079933"/>
              <a:gd name="connsiteY29319" fmla="*/ 1091043 h 4687251"/>
              <a:gd name="connsiteX29320" fmla="*/ 2072124 w 8079933"/>
              <a:gd name="connsiteY29320" fmla="*/ 1088985 h 4687251"/>
              <a:gd name="connsiteX29321" fmla="*/ 2074078 w 8079933"/>
              <a:gd name="connsiteY29321" fmla="*/ 1089202 h 4687251"/>
              <a:gd name="connsiteX29322" fmla="*/ 2083627 w 8079933"/>
              <a:gd name="connsiteY29322" fmla="*/ 1099163 h 4687251"/>
              <a:gd name="connsiteX29323" fmla="*/ 2092309 w 8079933"/>
              <a:gd name="connsiteY29323" fmla="*/ 1104468 h 4687251"/>
              <a:gd name="connsiteX29324" fmla="*/ 2093177 w 8079933"/>
              <a:gd name="connsiteY29324" fmla="*/ 1106526 h 4687251"/>
              <a:gd name="connsiteX29325" fmla="*/ 2087426 w 8079933"/>
              <a:gd name="connsiteY29325" fmla="*/ 1110315 h 4687251"/>
              <a:gd name="connsiteX29326" fmla="*/ 2081783 w 8079933"/>
              <a:gd name="connsiteY29326" fmla="*/ 1111181 h 4687251"/>
              <a:gd name="connsiteX29327" fmla="*/ 2078635 w 8079933"/>
              <a:gd name="connsiteY29327" fmla="*/ 1110315 h 4687251"/>
              <a:gd name="connsiteX29328" fmla="*/ 2079720 w 8079933"/>
              <a:gd name="connsiteY29328" fmla="*/ 1113238 h 4687251"/>
              <a:gd name="connsiteX29329" fmla="*/ 2079720 w 8079933"/>
              <a:gd name="connsiteY29329" fmla="*/ 1114862 h 4687251"/>
              <a:gd name="connsiteX29330" fmla="*/ 2082108 w 8079933"/>
              <a:gd name="connsiteY29330" fmla="*/ 1113671 h 4687251"/>
              <a:gd name="connsiteX29331" fmla="*/ 2091441 w 8079933"/>
              <a:gd name="connsiteY29331" fmla="*/ 1112913 h 4687251"/>
              <a:gd name="connsiteX29332" fmla="*/ 2096432 w 8079933"/>
              <a:gd name="connsiteY29332" fmla="*/ 1107933 h 4687251"/>
              <a:gd name="connsiteX29333" fmla="*/ 2098711 w 8079933"/>
              <a:gd name="connsiteY29333" fmla="*/ 1107391 h 4687251"/>
              <a:gd name="connsiteX29334" fmla="*/ 2101641 w 8079933"/>
              <a:gd name="connsiteY29334" fmla="*/ 1110856 h 4687251"/>
              <a:gd name="connsiteX29335" fmla="*/ 2102618 w 8079933"/>
              <a:gd name="connsiteY29335" fmla="*/ 1116919 h 4687251"/>
              <a:gd name="connsiteX29336" fmla="*/ 2111624 w 8079933"/>
              <a:gd name="connsiteY29336" fmla="*/ 1127422 h 4687251"/>
              <a:gd name="connsiteX29337" fmla="*/ 2110756 w 8079933"/>
              <a:gd name="connsiteY29337" fmla="*/ 1138248 h 4687251"/>
              <a:gd name="connsiteX29338" fmla="*/ 2104571 w 8079933"/>
              <a:gd name="connsiteY29338" fmla="*/ 1144745 h 4687251"/>
              <a:gd name="connsiteX29339" fmla="*/ 2100556 w 8079933"/>
              <a:gd name="connsiteY29339" fmla="*/ 1145070 h 4687251"/>
              <a:gd name="connsiteX29340" fmla="*/ 2097843 w 8079933"/>
              <a:gd name="connsiteY29340" fmla="*/ 1147343 h 4687251"/>
              <a:gd name="connsiteX29341" fmla="*/ 2092309 w 8079933"/>
              <a:gd name="connsiteY29341" fmla="*/ 1147019 h 4687251"/>
              <a:gd name="connsiteX29342" fmla="*/ 2088294 w 8079933"/>
              <a:gd name="connsiteY29342" fmla="*/ 1144203 h 4687251"/>
              <a:gd name="connsiteX29343" fmla="*/ 2077659 w 8079933"/>
              <a:gd name="connsiteY29343" fmla="*/ 1142146 h 4687251"/>
              <a:gd name="connsiteX29344" fmla="*/ 2071474 w 8079933"/>
              <a:gd name="connsiteY29344" fmla="*/ 1134134 h 4687251"/>
              <a:gd name="connsiteX29345" fmla="*/ 2069194 w 8079933"/>
              <a:gd name="connsiteY29345" fmla="*/ 1126339 h 4687251"/>
              <a:gd name="connsiteX29346" fmla="*/ 2065722 w 8079933"/>
              <a:gd name="connsiteY29346" fmla="*/ 1123091 h 4687251"/>
              <a:gd name="connsiteX29347" fmla="*/ 2064528 w 8079933"/>
              <a:gd name="connsiteY29347" fmla="*/ 1124931 h 4687251"/>
              <a:gd name="connsiteX29348" fmla="*/ 2065288 w 8079933"/>
              <a:gd name="connsiteY29348" fmla="*/ 1128071 h 4687251"/>
              <a:gd name="connsiteX29349" fmla="*/ 2065071 w 8079933"/>
              <a:gd name="connsiteY29349" fmla="*/ 1132727 h 4687251"/>
              <a:gd name="connsiteX29350" fmla="*/ 2069194 w 8079933"/>
              <a:gd name="connsiteY29350" fmla="*/ 1137815 h 4687251"/>
              <a:gd name="connsiteX29351" fmla="*/ 2072667 w 8079933"/>
              <a:gd name="connsiteY29351" fmla="*/ 1147668 h 4687251"/>
              <a:gd name="connsiteX29352" fmla="*/ 2077442 w 8079933"/>
              <a:gd name="connsiteY29352" fmla="*/ 1155897 h 4687251"/>
              <a:gd name="connsiteX29353" fmla="*/ 2074729 w 8079933"/>
              <a:gd name="connsiteY29353" fmla="*/ 1158279 h 4687251"/>
              <a:gd name="connsiteX29354" fmla="*/ 2072016 w 8079933"/>
              <a:gd name="connsiteY29354" fmla="*/ 1156980 h 4687251"/>
              <a:gd name="connsiteX29355" fmla="*/ 2067458 w 8079933"/>
              <a:gd name="connsiteY29355" fmla="*/ 1157629 h 4687251"/>
              <a:gd name="connsiteX29356" fmla="*/ 2065940 w 8079933"/>
              <a:gd name="connsiteY29356" fmla="*/ 1151458 h 4687251"/>
              <a:gd name="connsiteX29357" fmla="*/ 2065071 w 8079933"/>
              <a:gd name="connsiteY29357" fmla="*/ 1154489 h 4687251"/>
              <a:gd name="connsiteX29358" fmla="*/ 2063227 w 8079933"/>
              <a:gd name="connsiteY29358" fmla="*/ 1155897 h 4687251"/>
              <a:gd name="connsiteX29359" fmla="*/ 2064745 w 8079933"/>
              <a:gd name="connsiteY29359" fmla="*/ 1158820 h 4687251"/>
              <a:gd name="connsiteX29360" fmla="*/ 2068652 w 8079933"/>
              <a:gd name="connsiteY29360" fmla="*/ 1160552 h 4687251"/>
              <a:gd name="connsiteX29361" fmla="*/ 2070063 w 8079933"/>
              <a:gd name="connsiteY29361" fmla="*/ 1163476 h 4687251"/>
              <a:gd name="connsiteX29362" fmla="*/ 2061598 w 8079933"/>
              <a:gd name="connsiteY29362" fmla="*/ 1161419 h 4687251"/>
              <a:gd name="connsiteX29363" fmla="*/ 2059537 w 8079933"/>
              <a:gd name="connsiteY29363" fmla="*/ 1159686 h 4687251"/>
              <a:gd name="connsiteX29364" fmla="*/ 2059211 w 8079933"/>
              <a:gd name="connsiteY29364" fmla="*/ 1163801 h 4687251"/>
              <a:gd name="connsiteX29365" fmla="*/ 2061924 w 8079933"/>
              <a:gd name="connsiteY29365" fmla="*/ 1166182 h 4687251"/>
              <a:gd name="connsiteX29366" fmla="*/ 2061924 w 8079933"/>
              <a:gd name="connsiteY29366" fmla="*/ 1169864 h 4687251"/>
              <a:gd name="connsiteX29367" fmla="*/ 2058343 w 8079933"/>
              <a:gd name="connsiteY29367" fmla="*/ 1174411 h 4687251"/>
              <a:gd name="connsiteX29368" fmla="*/ 2057475 w 8079933"/>
              <a:gd name="connsiteY29368" fmla="*/ 1168997 h 4687251"/>
              <a:gd name="connsiteX29369" fmla="*/ 2054545 w 8079933"/>
              <a:gd name="connsiteY29369" fmla="*/ 1168456 h 4687251"/>
              <a:gd name="connsiteX29370" fmla="*/ 2056064 w 8079933"/>
              <a:gd name="connsiteY29370" fmla="*/ 1170513 h 4687251"/>
              <a:gd name="connsiteX29371" fmla="*/ 2055304 w 8079933"/>
              <a:gd name="connsiteY29371" fmla="*/ 1174086 h 4687251"/>
              <a:gd name="connsiteX29372" fmla="*/ 2053677 w 8079933"/>
              <a:gd name="connsiteY29372" fmla="*/ 1172895 h 4687251"/>
              <a:gd name="connsiteX29373" fmla="*/ 2047817 w 8079933"/>
              <a:gd name="connsiteY29373" fmla="*/ 1172570 h 4687251"/>
              <a:gd name="connsiteX29374" fmla="*/ 2045646 w 8079933"/>
              <a:gd name="connsiteY29374" fmla="*/ 1175494 h 4687251"/>
              <a:gd name="connsiteX29375" fmla="*/ 2038484 w 8079933"/>
              <a:gd name="connsiteY29375" fmla="*/ 1178309 h 4687251"/>
              <a:gd name="connsiteX29376" fmla="*/ 2042391 w 8079933"/>
              <a:gd name="connsiteY29376" fmla="*/ 1180691 h 4687251"/>
              <a:gd name="connsiteX29377" fmla="*/ 2043150 w 8079933"/>
              <a:gd name="connsiteY29377" fmla="*/ 1184047 h 4687251"/>
              <a:gd name="connsiteX29378" fmla="*/ 2041089 w 8079933"/>
              <a:gd name="connsiteY29378" fmla="*/ 1184913 h 4687251"/>
              <a:gd name="connsiteX29379" fmla="*/ 2040220 w 8079933"/>
              <a:gd name="connsiteY29379" fmla="*/ 1182856 h 4687251"/>
              <a:gd name="connsiteX29380" fmla="*/ 2034904 w 8079933"/>
              <a:gd name="connsiteY29380" fmla="*/ 1178958 h 4687251"/>
              <a:gd name="connsiteX29381" fmla="*/ 2031105 w 8079933"/>
              <a:gd name="connsiteY29381" fmla="*/ 1178309 h 4687251"/>
              <a:gd name="connsiteX29382" fmla="*/ 2030780 w 8079933"/>
              <a:gd name="connsiteY29382" fmla="*/ 1181123 h 4687251"/>
              <a:gd name="connsiteX29383" fmla="*/ 2028393 w 8079933"/>
              <a:gd name="connsiteY29383" fmla="*/ 1182531 h 4687251"/>
              <a:gd name="connsiteX29384" fmla="*/ 2034253 w 8079933"/>
              <a:gd name="connsiteY29384" fmla="*/ 1186862 h 4687251"/>
              <a:gd name="connsiteX29385" fmla="*/ 2032191 w 8079933"/>
              <a:gd name="connsiteY29385" fmla="*/ 1189461 h 4687251"/>
              <a:gd name="connsiteX29386" fmla="*/ 2032191 w 8079933"/>
              <a:gd name="connsiteY29386" fmla="*/ 1192059 h 4687251"/>
              <a:gd name="connsiteX29387" fmla="*/ 2027524 w 8079933"/>
              <a:gd name="connsiteY29387" fmla="*/ 1191843 h 4687251"/>
              <a:gd name="connsiteX29388" fmla="*/ 2023727 w 8079933"/>
              <a:gd name="connsiteY29388" fmla="*/ 1198014 h 4687251"/>
              <a:gd name="connsiteX29389" fmla="*/ 2017866 w 8079933"/>
              <a:gd name="connsiteY29389" fmla="*/ 1201154 h 4687251"/>
              <a:gd name="connsiteX29390" fmla="*/ 2020254 w 8079933"/>
              <a:gd name="connsiteY29390" fmla="*/ 1204186 h 4687251"/>
              <a:gd name="connsiteX29391" fmla="*/ 2019060 w 8079933"/>
              <a:gd name="connsiteY29391" fmla="*/ 1207000 h 4687251"/>
              <a:gd name="connsiteX29392" fmla="*/ 2016021 w 8079933"/>
              <a:gd name="connsiteY29392" fmla="*/ 1207000 h 4687251"/>
              <a:gd name="connsiteX29393" fmla="*/ 2013200 w 8079933"/>
              <a:gd name="connsiteY29393" fmla="*/ 1210573 h 4687251"/>
              <a:gd name="connsiteX29394" fmla="*/ 2014068 w 8079933"/>
              <a:gd name="connsiteY29394" fmla="*/ 1214471 h 4687251"/>
              <a:gd name="connsiteX29395" fmla="*/ 2009945 w 8079933"/>
              <a:gd name="connsiteY29395" fmla="*/ 1216204 h 4687251"/>
              <a:gd name="connsiteX29396" fmla="*/ 2002891 w 8079933"/>
              <a:gd name="connsiteY29396" fmla="*/ 1224107 h 4687251"/>
              <a:gd name="connsiteX29397" fmla="*/ 1997791 w 8079933"/>
              <a:gd name="connsiteY29397" fmla="*/ 1225515 h 4687251"/>
              <a:gd name="connsiteX29398" fmla="*/ 1997466 w 8079933"/>
              <a:gd name="connsiteY29398" fmla="*/ 1229629 h 4687251"/>
              <a:gd name="connsiteX29399" fmla="*/ 1992582 w 8079933"/>
              <a:gd name="connsiteY29399" fmla="*/ 1234068 h 4687251"/>
              <a:gd name="connsiteX29400" fmla="*/ 1987373 w 8079933"/>
              <a:gd name="connsiteY29400" fmla="*/ 1230604 h 4687251"/>
              <a:gd name="connsiteX29401" fmla="*/ 1987048 w 8079933"/>
              <a:gd name="connsiteY29401" fmla="*/ 1233418 h 4687251"/>
              <a:gd name="connsiteX29402" fmla="*/ 1989435 w 8079933"/>
              <a:gd name="connsiteY29402" fmla="*/ 1238832 h 4687251"/>
              <a:gd name="connsiteX29403" fmla="*/ 1984985 w 8079933"/>
              <a:gd name="connsiteY29403" fmla="*/ 1243379 h 4687251"/>
              <a:gd name="connsiteX29404" fmla="*/ 1983250 w 8079933"/>
              <a:gd name="connsiteY29404" fmla="*/ 1251933 h 4687251"/>
              <a:gd name="connsiteX29405" fmla="*/ 1980537 w 8079933"/>
              <a:gd name="connsiteY29405" fmla="*/ 1256480 h 4687251"/>
              <a:gd name="connsiteX29406" fmla="*/ 1978475 w 8079933"/>
              <a:gd name="connsiteY29406" fmla="*/ 1262652 h 4687251"/>
              <a:gd name="connsiteX29407" fmla="*/ 1974676 w 8079933"/>
              <a:gd name="connsiteY29407" fmla="*/ 1264708 h 4687251"/>
              <a:gd name="connsiteX29408" fmla="*/ 1971204 w 8079933"/>
              <a:gd name="connsiteY29408" fmla="*/ 1274345 h 4687251"/>
              <a:gd name="connsiteX29409" fmla="*/ 1973049 w 8079933"/>
              <a:gd name="connsiteY29409" fmla="*/ 1276402 h 4687251"/>
              <a:gd name="connsiteX29410" fmla="*/ 1973049 w 8079933"/>
              <a:gd name="connsiteY29410" fmla="*/ 1283331 h 4687251"/>
              <a:gd name="connsiteX29411" fmla="*/ 1968816 w 8079933"/>
              <a:gd name="connsiteY29411" fmla="*/ 1290693 h 4687251"/>
              <a:gd name="connsiteX29412" fmla="*/ 1967189 w 8079933"/>
              <a:gd name="connsiteY29412" fmla="*/ 1294808 h 4687251"/>
              <a:gd name="connsiteX29413" fmla="*/ 1962849 w 8079933"/>
              <a:gd name="connsiteY29413" fmla="*/ 1296215 h 4687251"/>
              <a:gd name="connsiteX29414" fmla="*/ 1960787 w 8079933"/>
              <a:gd name="connsiteY29414" fmla="*/ 1298381 h 4687251"/>
              <a:gd name="connsiteX29415" fmla="*/ 1965887 w 8079933"/>
              <a:gd name="connsiteY29415" fmla="*/ 1299464 h 4687251"/>
              <a:gd name="connsiteX29416" fmla="*/ 1967080 w 8079933"/>
              <a:gd name="connsiteY29416" fmla="*/ 1303036 h 4687251"/>
              <a:gd name="connsiteX29417" fmla="*/ 1965670 w 8079933"/>
              <a:gd name="connsiteY29417" fmla="*/ 1307367 h 4687251"/>
              <a:gd name="connsiteX29418" fmla="*/ 1968057 w 8079933"/>
              <a:gd name="connsiteY29418" fmla="*/ 1310291 h 4687251"/>
              <a:gd name="connsiteX29419" fmla="*/ 1967840 w 8079933"/>
              <a:gd name="connsiteY29419" fmla="*/ 1316462 h 4687251"/>
              <a:gd name="connsiteX29420" fmla="*/ 1969793 w 8079933"/>
              <a:gd name="connsiteY29420" fmla="*/ 1317545 h 4687251"/>
              <a:gd name="connsiteX29421" fmla="*/ 1965344 w 8079933"/>
              <a:gd name="connsiteY29421" fmla="*/ 1328697 h 4687251"/>
              <a:gd name="connsiteX29422" fmla="*/ 1959050 w 8079933"/>
              <a:gd name="connsiteY29422" fmla="*/ 1334652 h 4687251"/>
              <a:gd name="connsiteX29423" fmla="*/ 1946137 w 8079933"/>
              <a:gd name="connsiteY29423" fmla="*/ 1337575 h 4687251"/>
              <a:gd name="connsiteX29424" fmla="*/ 1944292 w 8079933"/>
              <a:gd name="connsiteY29424" fmla="*/ 1342447 h 4687251"/>
              <a:gd name="connsiteX29425" fmla="*/ 1950694 w 8079933"/>
              <a:gd name="connsiteY29425" fmla="*/ 1337142 h 4687251"/>
              <a:gd name="connsiteX29426" fmla="*/ 1961655 w 8079933"/>
              <a:gd name="connsiteY29426" fmla="*/ 1335734 h 4687251"/>
              <a:gd name="connsiteX29427" fmla="*/ 1970010 w 8079933"/>
              <a:gd name="connsiteY29427" fmla="*/ 1325556 h 4687251"/>
              <a:gd name="connsiteX29428" fmla="*/ 1975979 w 8079933"/>
              <a:gd name="connsiteY29428" fmla="*/ 1313755 h 4687251"/>
              <a:gd name="connsiteX29429" fmla="*/ 1989760 w 8079933"/>
              <a:gd name="connsiteY29429" fmla="*/ 1313214 h 4687251"/>
              <a:gd name="connsiteX29430" fmla="*/ 1993884 w 8079933"/>
              <a:gd name="connsiteY29430" fmla="*/ 1315054 h 4687251"/>
              <a:gd name="connsiteX29431" fmla="*/ 1993884 w 8079933"/>
              <a:gd name="connsiteY29431" fmla="*/ 1319601 h 4687251"/>
              <a:gd name="connsiteX29432" fmla="*/ 1992039 w 8079933"/>
              <a:gd name="connsiteY29432" fmla="*/ 1324691 h 4687251"/>
              <a:gd name="connsiteX29433" fmla="*/ 1992039 w 8079933"/>
              <a:gd name="connsiteY29433" fmla="*/ 1330429 h 4687251"/>
              <a:gd name="connsiteX29434" fmla="*/ 1994753 w 8079933"/>
              <a:gd name="connsiteY29434" fmla="*/ 1336709 h 4687251"/>
              <a:gd name="connsiteX29435" fmla="*/ 1994753 w 8079933"/>
              <a:gd name="connsiteY29435" fmla="*/ 1346345 h 4687251"/>
              <a:gd name="connsiteX29436" fmla="*/ 1991171 w 8079933"/>
              <a:gd name="connsiteY29436" fmla="*/ 1355656 h 4687251"/>
              <a:gd name="connsiteX29437" fmla="*/ 1994101 w 8079933"/>
              <a:gd name="connsiteY29437" fmla="*/ 1359770 h 4687251"/>
              <a:gd name="connsiteX29438" fmla="*/ 1995837 w 8079933"/>
              <a:gd name="connsiteY29438" fmla="*/ 1369082 h 4687251"/>
              <a:gd name="connsiteX29439" fmla="*/ 1993884 w 8079933"/>
              <a:gd name="connsiteY29439" fmla="*/ 1373845 h 4687251"/>
              <a:gd name="connsiteX29440" fmla="*/ 1979234 w 8079933"/>
              <a:gd name="connsiteY29440" fmla="*/ 1387812 h 4687251"/>
              <a:gd name="connsiteX29441" fmla="*/ 1972181 w 8079933"/>
              <a:gd name="connsiteY29441" fmla="*/ 1390194 h 4687251"/>
              <a:gd name="connsiteX29442" fmla="*/ 1967080 w 8079933"/>
              <a:gd name="connsiteY29442" fmla="*/ 1389328 h 4687251"/>
              <a:gd name="connsiteX29443" fmla="*/ 1972398 w 8079933"/>
              <a:gd name="connsiteY29443" fmla="*/ 1391602 h 4687251"/>
              <a:gd name="connsiteX29444" fmla="*/ 1979451 w 8079933"/>
              <a:gd name="connsiteY29444" fmla="*/ 1391710 h 4687251"/>
              <a:gd name="connsiteX29445" fmla="*/ 1996489 w 8079933"/>
              <a:gd name="connsiteY29445" fmla="*/ 1386296 h 4687251"/>
              <a:gd name="connsiteX29446" fmla="*/ 2013743 w 8079933"/>
              <a:gd name="connsiteY29446" fmla="*/ 1380558 h 4687251"/>
              <a:gd name="connsiteX29447" fmla="*/ 2022207 w 8079933"/>
              <a:gd name="connsiteY29447" fmla="*/ 1379692 h 4687251"/>
              <a:gd name="connsiteX29448" fmla="*/ 2033059 w 8079933"/>
              <a:gd name="connsiteY29448" fmla="*/ 1386730 h 4687251"/>
              <a:gd name="connsiteX29449" fmla="*/ 2040112 w 8079933"/>
              <a:gd name="connsiteY29449" fmla="*/ 1393118 h 4687251"/>
              <a:gd name="connsiteX29450" fmla="*/ 2050421 w 8079933"/>
              <a:gd name="connsiteY29450" fmla="*/ 1396257 h 4687251"/>
              <a:gd name="connsiteX29451" fmla="*/ 2053243 w 8079933"/>
              <a:gd name="connsiteY29451" fmla="*/ 1398639 h 4687251"/>
              <a:gd name="connsiteX29452" fmla="*/ 2057801 w 8079933"/>
              <a:gd name="connsiteY29452" fmla="*/ 1399830 h 4687251"/>
              <a:gd name="connsiteX29453" fmla="*/ 2065397 w 8079933"/>
              <a:gd name="connsiteY29453" fmla="*/ 1407518 h 4687251"/>
              <a:gd name="connsiteX29454" fmla="*/ 2069086 w 8079933"/>
              <a:gd name="connsiteY29454" fmla="*/ 1409141 h 4687251"/>
              <a:gd name="connsiteX29455" fmla="*/ 2072884 w 8079933"/>
              <a:gd name="connsiteY29455" fmla="*/ 1416179 h 4687251"/>
              <a:gd name="connsiteX29456" fmla="*/ 2077008 w 8079933"/>
              <a:gd name="connsiteY29456" fmla="*/ 1418778 h 4687251"/>
              <a:gd name="connsiteX29457" fmla="*/ 2077008 w 8079933"/>
              <a:gd name="connsiteY29457" fmla="*/ 1422892 h 4687251"/>
              <a:gd name="connsiteX29458" fmla="*/ 2080047 w 8079933"/>
              <a:gd name="connsiteY29458" fmla="*/ 1426357 h 4687251"/>
              <a:gd name="connsiteX29459" fmla="*/ 2083302 w 8079933"/>
              <a:gd name="connsiteY29459" fmla="*/ 1434369 h 4687251"/>
              <a:gd name="connsiteX29460" fmla="*/ 2083193 w 8079933"/>
              <a:gd name="connsiteY29460" fmla="*/ 1436642 h 4687251"/>
              <a:gd name="connsiteX29461" fmla="*/ 2086449 w 8079933"/>
              <a:gd name="connsiteY29461" fmla="*/ 1435235 h 4687251"/>
              <a:gd name="connsiteX29462" fmla="*/ 2088728 w 8079933"/>
              <a:gd name="connsiteY29462" fmla="*/ 1437834 h 4687251"/>
              <a:gd name="connsiteX29463" fmla="*/ 2098494 w 8079933"/>
              <a:gd name="connsiteY29463" fmla="*/ 1444330 h 4687251"/>
              <a:gd name="connsiteX29464" fmla="*/ 2101967 w 8079933"/>
              <a:gd name="connsiteY29464" fmla="*/ 1445196 h 4687251"/>
              <a:gd name="connsiteX29465" fmla="*/ 2109020 w 8079933"/>
              <a:gd name="connsiteY29465" fmla="*/ 1450176 h 4687251"/>
              <a:gd name="connsiteX29466" fmla="*/ 2112601 w 8079933"/>
              <a:gd name="connsiteY29466" fmla="*/ 1451367 h 4687251"/>
              <a:gd name="connsiteX29467" fmla="*/ 2120740 w 8079933"/>
              <a:gd name="connsiteY29467" fmla="*/ 1458621 h 4687251"/>
              <a:gd name="connsiteX29468" fmla="*/ 2121608 w 8079933"/>
              <a:gd name="connsiteY29468" fmla="*/ 1462086 h 4687251"/>
              <a:gd name="connsiteX29469" fmla="*/ 2127576 w 8079933"/>
              <a:gd name="connsiteY29469" fmla="*/ 1467932 h 4687251"/>
              <a:gd name="connsiteX29470" fmla="*/ 2126708 w 8079933"/>
              <a:gd name="connsiteY29470" fmla="*/ 1470098 h 4687251"/>
              <a:gd name="connsiteX29471" fmla="*/ 2128336 w 8079933"/>
              <a:gd name="connsiteY29471" fmla="*/ 1471722 h 4687251"/>
              <a:gd name="connsiteX29472" fmla="*/ 2135824 w 8079933"/>
              <a:gd name="connsiteY29472" fmla="*/ 1471830 h 4687251"/>
              <a:gd name="connsiteX29473" fmla="*/ 2138103 w 8079933"/>
              <a:gd name="connsiteY29473" fmla="*/ 1472697 h 4687251"/>
              <a:gd name="connsiteX29474" fmla="*/ 2143528 w 8079933"/>
              <a:gd name="connsiteY29474" fmla="*/ 1471505 h 4687251"/>
              <a:gd name="connsiteX29475" fmla="*/ 2153621 w 8079933"/>
              <a:gd name="connsiteY29475" fmla="*/ 1471830 h 4687251"/>
              <a:gd name="connsiteX29476" fmla="*/ 2156008 w 8079933"/>
              <a:gd name="connsiteY29476" fmla="*/ 1474104 h 4687251"/>
              <a:gd name="connsiteX29477" fmla="*/ 2157962 w 8079933"/>
              <a:gd name="connsiteY29477" fmla="*/ 1474104 h 4687251"/>
              <a:gd name="connsiteX29478" fmla="*/ 2165341 w 8079933"/>
              <a:gd name="connsiteY29478" fmla="*/ 1476378 h 4687251"/>
              <a:gd name="connsiteX29479" fmla="*/ 2173479 w 8079933"/>
              <a:gd name="connsiteY29479" fmla="*/ 1477893 h 4687251"/>
              <a:gd name="connsiteX29480" fmla="*/ 2179339 w 8079933"/>
              <a:gd name="connsiteY29480" fmla="*/ 1475944 h 4687251"/>
              <a:gd name="connsiteX29481" fmla="*/ 2182703 w 8079933"/>
              <a:gd name="connsiteY29481" fmla="*/ 1475944 h 4687251"/>
              <a:gd name="connsiteX29482" fmla="*/ 2182595 w 8079933"/>
              <a:gd name="connsiteY29482" fmla="*/ 1477677 h 4687251"/>
              <a:gd name="connsiteX29483" fmla="*/ 2184114 w 8079933"/>
              <a:gd name="connsiteY29483" fmla="*/ 1476811 h 4687251"/>
              <a:gd name="connsiteX29484" fmla="*/ 2186501 w 8079933"/>
              <a:gd name="connsiteY29484" fmla="*/ 1476811 h 4687251"/>
              <a:gd name="connsiteX29485" fmla="*/ 2187369 w 8079933"/>
              <a:gd name="connsiteY29485" fmla="*/ 1483956 h 4687251"/>
              <a:gd name="connsiteX29486" fmla="*/ 2181184 w 8079933"/>
              <a:gd name="connsiteY29486" fmla="*/ 1495542 h 4687251"/>
              <a:gd name="connsiteX29487" fmla="*/ 2180858 w 8079933"/>
              <a:gd name="connsiteY29487" fmla="*/ 1499656 h 4687251"/>
              <a:gd name="connsiteX29488" fmla="*/ 2177603 w 8079933"/>
              <a:gd name="connsiteY29488" fmla="*/ 1504203 h 4687251"/>
              <a:gd name="connsiteX29489" fmla="*/ 2174130 w 8079933"/>
              <a:gd name="connsiteY29489" fmla="*/ 1510483 h 4687251"/>
              <a:gd name="connsiteX29490" fmla="*/ 2174998 w 8079933"/>
              <a:gd name="connsiteY29490" fmla="*/ 1515896 h 4687251"/>
              <a:gd name="connsiteX29491" fmla="*/ 2176518 w 8079933"/>
              <a:gd name="connsiteY29491" fmla="*/ 1517196 h 4687251"/>
              <a:gd name="connsiteX29492" fmla="*/ 2176844 w 8079933"/>
              <a:gd name="connsiteY29492" fmla="*/ 1527590 h 4687251"/>
              <a:gd name="connsiteX29493" fmla="*/ 2170658 w 8079933"/>
              <a:gd name="connsiteY29493" fmla="*/ 1537117 h 4687251"/>
              <a:gd name="connsiteX29494" fmla="*/ 2170658 w 8079933"/>
              <a:gd name="connsiteY29494" fmla="*/ 1541340 h 4687251"/>
              <a:gd name="connsiteX29495" fmla="*/ 2168813 w 8079933"/>
              <a:gd name="connsiteY29495" fmla="*/ 1547511 h 4687251"/>
              <a:gd name="connsiteX29496" fmla="*/ 2164146 w 8079933"/>
              <a:gd name="connsiteY29496" fmla="*/ 1551409 h 4687251"/>
              <a:gd name="connsiteX29497" fmla="*/ 2161542 w 8079933"/>
              <a:gd name="connsiteY29497" fmla="*/ 1560937 h 4687251"/>
              <a:gd name="connsiteX29498" fmla="*/ 2163605 w 8079933"/>
              <a:gd name="connsiteY29498" fmla="*/ 1564835 h 4687251"/>
              <a:gd name="connsiteX29499" fmla="*/ 2168488 w 8079933"/>
              <a:gd name="connsiteY29499" fmla="*/ 1568624 h 4687251"/>
              <a:gd name="connsiteX29500" fmla="*/ 2168488 w 8079933"/>
              <a:gd name="connsiteY29500" fmla="*/ 1574471 h 4687251"/>
              <a:gd name="connsiteX29501" fmla="*/ 2172069 w 8079933"/>
              <a:gd name="connsiteY29501" fmla="*/ 1576420 h 4687251"/>
              <a:gd name="connsiteX29502" fmla="*/ 2174782 w 8079933"/>
              <a:gd name="connsiteY29502" fmla="*/ 1580318 h 4687251"/>
              <a:gd name="connsiteX29503" fmla="*/ 2173805 w 8079933"/>
              <a:gd name="connsiteY29503" fmla="*/ 1584324 h 4687251"/>
              <a:gd name="connsiteX29504" fmla="*/ 2174456 w 8079933"/>
              <a:gd name="connsiteY29504" fmla="*/ 1586381 h 4687251"/>
              <a:gd name="connsiteX29505" fmla="*/ 2174130 w 8079933"/>
              <a:gd name="connsiteY29505" fmla="*/ 1589737 h 4687251"/>
              <a:gd name="connsiteX29506" fmla="*/ 2178580 w 8079933"/>
              <a:gd name="connsiteY29506" fmla="*/ 1591469 h 4687251"/>
              <a:gd name="connsiteX29507" fmla="*/ 2184331 w 8079933"/>
              <a:gd name="connsiteY29507" fmla="*/ 1594392 h 4687251"/>
              <a:gd name="connsiteX29508" fmla="*/ 2185524 w 8079933"/>
              <a:gd name="connsiteY29508" fmla="*/ 1594392 h 4687251"/>
              <a:gd name="connsiteX29509" fmla="*/ 2186176 w 8079933"/>
              <a:gd name="connsiteY29509" fmla="*/ 1597641 h 4687251"/>
              <a:gd name="connsiteX29510" fmla="*/ 2189106 w 8079933"/>
              <a:gd name="connsiteY29510" fmla="*/ 1601647 h 4687251"/>
              <a:gd name="connsiteX29511" fmla="*/ 2189974 w 8079933"/>
              <a:gd name="connsiteY29511" fmla="*/ 1609226 h 4687251"/>
              <a:gd name="connsiteX29512" fmla="*/ 2191167 w 8079933"/>
              <a:gd name="connsiteY29512" fmla="*/ 1612257 h 4687251"/>
              <a:gd name="connsiteX29513" fmla="*/ 2189323 w 8079933"/>
              <a:gd name="connsiteY29513" fmla="*/ 1618970 h 4687251"/>
              <a:gd name="connsiteX29514" fmla="*/ 2180207 w 8079933"/>
              <a:gd name="connsiteY29514" fmla="*/ 1627091 h 4687251"/>
              <a:gd name="connsiteX29515" fmla="*/ 2187044 w 8079933"/>
              <a:gd name="connsiteY29515" fmla="*/ 1623626 h 4687251"/>
              <a:gd name="connsiteX29516" fmla="*/ 2192904 w 8079933"/>
              <a:gd name="connsiteY29516" fmla="*/ 1619295 h 4687251"/>
              <a:gd name="connsiteX29517" fmla="*/ 2199306 w 8079933"/>
              <a:gd name="connsiteY29517" fmla="*/ 1621569 h 4687251"/>
              <a:gd name="connsiteX29518" fmla="*/ 2203430 w 8079933"/>
              <a:gd name="connsiteY29518" fmla="*/ 1625575 h 4687251"/>
              <a:gd name="connsiteX29519" fmla="*/ 2207445 w 8079933"/>
              <a:gd name="connsiteY29519" fmla="*/ 1625899 h 4687251"/>
              <a:gd name="connsiteX29520" fmla="*/ 2208747 w 8079933"/>
              <a:gd name="connsiteY29520" fmla="*/ 1621893 h 4687251"/>
              <a:gd name="connsiteX29521" fmla="*/ 2208747 w 8079933"/>
              <a:gd name="connsiteY29521" fmla="*/ 1617779 h 4687251"/>
              <a:gd name="connsiteX29522" fmla="*/ 2216886 w 8079933"/>
              <a:gd name="connsiteY29522" fmla="*/ 1607818 h 4687251"/>
              <a:gd name="connsiteX29523" fmla="*/ 2218730 w 8079933"/>
              <a:gd name="connsiteY29523" fmla="*/ 1607710 h 4687251"/>
              <a:gd name="connsiteX29524" fmla="*/ 2217754 w 8079933"/>
              <a:gd name="connsiteY29524" fmla="*/ 1611608 h 4687251"/>
              <a:gd name="connsiteX29525" fmla="*/ 2218405 w 8079933"/>
              <a:gd name="connsiteY29525" fmla="*/ 1614206 h 4687251"/>
              <a:gd name="connsiteX29526" fmla="*/ 2221227 w 8079933"/>
              <a:gd name="connsiteY29526" fmla="*/ 1614856 h 4687251"/>
              <a:gd name="connsiteX29527" fmla="*/ 2222854 w 8079933"/>
              <a:gd name="connsiteY29527" fmla="*/ 1623301 h 4687251"/>
              <a:gd name="connsiteX29528" fmla="*/ 2221986 w 8079933"/>
              <a:gd name="connsiteY29528" fmla="*/ 1629797 h 4687251"/>
              <a:gd name="connsiteX29529" fmla="*/ 2227521 w 8079933"/>
              <a:gd name="connsiteY29529" fmla="*/ 1634128 h 4687251"/>
              <a:gd name="connsiteX29530" fmla="*/ 2235659 w 8079933"/>
              <a:gd name="connsiteY29530" fmla="*/ 1634994 h 4687251"/>
              <a:gd name="connsiteX29531" fmla="*/ 2231102 w 8079933"/>
              <a:gd name="connsiteY29531" fmla="*/ 1632937 h 4687251"/>
              <a:gd name="connsiteX29532" fmla="*/ 2226544 w 8079933"/>
              <a:gd name="connsiteY29532" fmla="*/ 1627740 h 4687251"/>
              <a:gd name="connsiteX29533" fmla="*/ 2225676 w 8079933"/>
              <a:gd name="connsiteY29533" fmla="*/ 1622110 h 4687251"/>
              <a:gd name="connsiteX29534" fmla="*/ 2226653 w 8079933"/>
              <a:gd name="connsiteY29534" fmla="*/ 1614748 h 4687251"/>
              <a:gd name="connsiteX29535" fmla="*/ 2229039 w 8079933"/>
              <a:gd name="connsiteY29535" fmla="*/ 1611499 h 4687251"/>
              <a:gd name="connsiteX29536" fmla="*/ 2226653 w 8079933"/>
              <a:gd name="connsiteY29536" fmla="*/ 1608467 h 4687251"/>
              <a:gd name="connsiteX29537" fmla="*/ 2226327 w 8079933"/>
              <a:gd name="connsiteY29537" fmla="*/ 1603920 h 4687251"/>
              <a:gd name="connsiteX29538" fmla="*/ 2228172 w 8079933"/>
              <a:gd name="connsiteY29538" fmla="*/ 1604895 h 4687251"/>
              <a:gd name="connsiteX29539" fmla="*/ 2230776 w 8079933"/>
              <a:gd name="connsiteY29539" fmla="*/ 1604028 h 4687251"/>
              <a:gd name="connsiteX29540" fmla="*/ 2233055 w 8079933"/>
              <a:gd name="connsiteY29540" fmla="*/ 1597208 h 4687251"/>
              <a:gd name="connsiteX29541" fmla="*/ 2238698 w 8079933"/>
              <a:gd name="connsiteY29541" fmla="*/ 1591686 h 4687251"/>
              <a:gd name="connsiteX29542" fmla="*/ 2237070 w 8079933"/>
              <a:gd name="connsiteY29542" fmla="*/ 1589737 h 4687251"/>
              <a:gd name="connsiteX29543" fmla="*/ 2236310 w 8079933"/>
              <a:gd name="connsiteY29543" fmla="*/ 1582699 h 4687251"/>
              <a:gd name="connsiteX29544" fmla="*/ 2233597 w 8079933"/>
              <a:gd name="connsiteY29544" fmla="*/ 1581184 h 4687251"/>
              <a:gd name="connsiteX29545" fmla="*/ 2233706 w 8079933"/>
              <a:gd name="connsiteY29545" fmla="*/ 1576203 h 4687251"/>
              <a:gd name="connsiteX29546" fmla="*/ 2238263 w 8079933"/>
              <a:gd name="connsiteY29546" fmla="*/ 1570681 h 4687251"/>
              <a:gd name="connsiteX29547" fmla="*/ 2236310 w 8079933"/>
              <a:gd name="connsiteY29547" fmla="*/ 1568083 h 4687251"/>
              <a:gd name="connsiteX29548" fmla="*/ 2236527 w 8079933"/>
              <a:gd name="connsiteY29548" fmla="*/ 1565376 h 4687251"/>
              <a:gd name="connsiteX29549" fmla="*/ 2234140 w 8079933"/>
              <a:gd name="connsiteY29549" fmla="*/ 1564510 h 4687251"/>
              <a:gd name="connsiteX29550" fmla="*/ 2233380 w 8079933"/>
              <a:gd name="connsiteY29550" fmla="*/ 1561370 h 4687251"/>
              <a:gd name="connsiteX29551" fmla="*/ 2237178 w 8079933"/>
              <a:gd name="connsiteY29551" fmla="*/ 1549677 h 4687251"/>
              <a:gd name="connsiteX29552" fmla="*/ 2235985 w 8079933"/>
              <a:gd name="connsiteY29552" fmla="*/ 1545129 h 4687251"/>
              <a:gd name="connsiteX29553" fmla="*/ 2237178 w 8079933"/>
              <a:gd name="connsiteY29553" fmla="*/ 1537117 h 4687251"/>
              <a:gd name="connsiteX29554" fmla="*/ 2239783 w 8079933"/>
              <a:gd name="connsiteY29554" fmla="*/ 1534627 h 4687251"/>
              <a:gd name="connsiteX29555" fmla="*/ 2238698 w 8079933"/>
              <a:gd name="connsiteY29555" fmla="*/ 1530080 h 4687251"/>
              <a:gd name="connsiteX29556" fmla="*/ 2240976 w 8079933"/>
              <a:gd name="connsiteY29556" fmla="*/ 1528564 h 4687251"/>
              <a:gd name="connsiteX29557" fmla="*/ 2239240 w 8079933"/>
              <a:gd name="connsiteY29557" fmla="*/ 1524666 h 4687251"/>
              <a:gd name="connsiteX29558" fmla="*/ 2242061 w 8079933"/>
              <a:gd name="connsiteY29558" fmla="*/ 1522609 h 4687251"/>
              <a:gd name="connsiteX29559" fmla="*/ 2239457 w 8079933"/>
              <a:gd name="connsiteY29559" fmla="*/ 1521851 h 4687251"/>
              <a:gd name="connsiteX29560" fmla="*/ 2237938 w 8079933"/>
              <a:gd name="connsiteY29560" fmla="*/ 1518819 h 4687251"/>
              <a:gd name="connsiteX29561" fmla="*/ 2240325 w 8079933"/>
              <a:gd name="connsiteY29561" fmla="*/ 1517412 h 4687251"/>
              <a:gd name="connsiteX29562" fmla="*/ 2238372 w 8079933"/>
              <a:gd name="connsiteY29562" fmla="*/ 1513839 h 4687251"/>
              <a:gd name="connsiteX29563" fmla="*/ 2238589 w 8079933"/>
              <a:gd name="connsiteY29563" fmla="*/ 1509509 h 4687251"/>
              <a:gd name="connsiteX29564" fmla="*/ 2236527 w 8079933"/>
              <a:gd name="connsiteY29564" fmla="*/ 1505719 h 4687251"/>
              <a:gd name="connsiteX29565" fmla="*/ 2235985 w 8079933"/>
              <a:gd name="connsiteY29565" fmla="*/ 1500955 h 4687251"/>
              <a:gd name="connsiteX29566" fmla="*/ 2234465 w 8079933"/>
              <a:gd name="connsiteY29566" fmla="*/ 1498356 h 4687251"/>
              <a:gd name="connsiteX29567" fmla="*/ 2240868 w 8079933"/>
              <a:gd name="connsiteY29567" fmla="*/ 1495433 h 4687251"/>
              <a:gd name="connsiteX29568" fmla="*/ 2250309 w 8079933"/>
              <a:gd name="connsiteY29568" fmla="*/ 1493809 h 4687251"/>
              <a:gd name="connsiteX29569" fmla="*/ 2254975 w 8079933"/>
              <a:gd name="connsiteY29569" fmla="*/ 1490236 h 4687251"/>
              <a:gd name="connsiteX29570" fmla="*/ 2260510 w 8079933"/>
              <a:gd name="connsiteY29570" fmla="*/ 1490453 h 4687251"/>
              <a:gd name="connsiteX29571" fmla="*/ 2263006 w 8079933"/>
              <a:gd name="connsiteY29571" fmla="*/ 1488395 h 4687251"/>
              <a:gd name="connsiteX29572" fmla="*/ 2272338 w 8079933"/>
              <a:gd name="connsiteY29572" fmla="*/ 1483740 h 4687251"/>
              <a:gd name="connsiteX29573" fmla="*/ 2287204 w 8079933"/>
              <a:gd name="connsiteY29573" fmla="*/ 1478218 h 4687251"/>
              <a:gd name="connsiteX29574" fmla="*/ 2287313 w 8079933"/>
              <a:gd name="connsiteY29574" fmla="*/ 1476486 h 4687251"/>
              <a:gd name="connsiteX29575" fmla="*/ 2290460 w 8079933"/>
              <a:gd name="connsiteY29575" fmla="*/ 1473562 h 4687251"/>
              <a:gd name="connsiteX29576" fmla="*/ 2301638 w 8079933"/>
              <a:gd name="connsiteY29576" fmla="*/ 1468799 h 4687251"/>
              <a:gd name="connsiteX29577" fmla="*/ 2302288 w 8079933"/>
              <a:gd name="connsiteY29577" fmla="*/ 1464685 h 4687251"/>
              <a:gd name="connsiteX29578" fmla="*/ 2307822 w 8079933"/>
              <a:gd name="connsiteY29578" fmla="*/ 1462086 h 4687251"/>
              <a:gd name="connsiteX29579" fmla="*/ 2314442 w 8079933"/>
              <a:gd name="connsiteY29579" fmla="*/ 1451800 h 4687251"/>
              <a:gd name="connsiteX29580" fmla="*/ 2317263 w 8079933"/>
              <a:gd name="connsiteY29580" fmla="*/ 1452125 h 4687251"/>
              <a:gd name="connsiteX29581" fmla="*/ 2319543 w 8079933"/>
              <a:gd name="connsiteY29581" fmla="*/ 1454291 h 4687251"/>
              <a:gd name="connsiteX29582" fmla="*/ 2324318 w 8079933"/>
              <a:gd name="connsiteY29582" fmla="*/ 1453965 h 4687251"/>
              <a:gd name="connsiteX29583" fmla="*/ 2328007 w 8079933"/>
              <a:gd name="connsiteY29583" fmla="*/ 1450068 h 4687251"/>
              <a:gd name="connsiteX29584" fmla="*/ 2323666 w 8079933"/>
              <a:gd name="connsiteY29584" fmla="*/ 1444546 h 4687251"/>
              <a:gd name="connsiteX29585" fmla="*/ 2323341 w 8079933"/>
              <a:gd name="connsiteY29585" fmla="*/ 1438483 h 4687251"/>
              <a:gd name="connsiteX29586" fmla="*/ 2320411 w 8079933"/>
              <a:gd name="connsiteY29586" fmla="*/ 1441081 h 4687251"/>
              <a:gd name="connsiteX29587" fmla="*/ 2319435 w 8079933"/>
              <a:gd name="connsiteY29587" fmla="*/ 1445845 h 4687251"/>
              <a:gd name="connsiteX29588" fmla="*/ 2317263 w 8079933"/>
              <a:gd name="connsiteY29588" fmla="*/ 1446387 h 4687251"/>
              <a:gd name="connsiteX29589" fmla="*/ 2319000 w 8079933"/>
              <a:gd name="connsiteY29589" fmla="*/ 1440215 h 4687251"/>
              <a:gd name="connsiteX29590" fmla="*/ 2323341 w 8079933"/>
              <a:gd name="connsiteY29590" fmla="*/ 1428738 h 4687251"/>
              <a:gd name="connsiteX29591" fmla="*/ 2325077 w 8079933"/>
              <a:gd name="connsiteY29591" fmla="*/ 1426790 h 4687251"/>
              <a:gd name="connsiteX29592" fmla="*/ 2325077 w 8079933"/>
              <a:gd name="connsiteY29592" fmla="*/ 1418561 h 4687251"/>
              <a:gd name="connsiteX29593" fmla="*/ 2325728 w 8079933"/>
              <a:gd name="connsiteY29593" fmla="*/ 1412714 h 4687251"/>
              <a:gd name="connsiteX29594" fmla="*/ 2321930 w 8079933"/>
              <a:gd name="connsiteY29594" fmla="*/ 1405461 h 4687251"/>
              <a:gd name="connsiteX29595" fmla="*/ 2322689 w 8079933"/>
              <a:gd name="connsiteY29595" fmla="*/ 1391061 h 4687251"/>
              <a:gd name="connsiteX29596" fmla="*/ 2321062 w 8079933"/>
              <a:gd name="connsiteY29596" fmla="*/ 1378392 h 4687251"/>
              <a:gd name="connsiteX29597" fmla="*/ 2313900 w 8079933"/>
              <a:gd name="connsiteY29597" fmla="*/ 1367133 h 4687251"/>
              <a:gd name="connsiteX29598" fmla="*/ 2308691 w 8079933"/>
              <a:gd name="connsiteY29598" fmla="*/ 1363776 h 4687251"/>
              <a:gd name="connsiteX29599" fmla="*/ 2307280 w 8079933"/>
              <a:gd name="connsiteY29599" fmla="*/ 1358688 h 4687251"/>
              <a:gd name="connsiteX29600" fmla="*/ 2302506 w 8079933"/>
              <a:gd name="connsiteY29600" fmla="*/ 1357280 h 4687251"/>
              <a:gd name="connsiteX29601" fmla="*/ 2301095 w 8079933"/>
              <a:gd name="connsiteY29601" fmla="*/ 1353599 h 4687251"/>
              <a:gd name="connsiteX29602" fmla="*/ 2303916 w 8079933"/>
              <a:gd name="connsiteY29602" fmla="*/ 1344288 h 4687251"/>
              <a:gd name="connsiteX29603" fmla="*/ 2308582 w 8079933"/>
              <a:gd name="connsiteY29603" fmla="*/ 1342231 h 4687251"/>
              <a:gd name="connsiteX29604" fmla="*/ 2321062 w 8079933"/>
              <a:gd name="connsiteY29604" fmla="*/ 1329130 h 4687251"/>
              <a:gd name="connsiteX29605" fmla="*/ 2325077 w 8079933"/>
              <a:gd name="connsiteY29605" fmla="*/ 1328697 h 4687251"/>
              <a:gd name="connsiteX29606" fmla="*/ 2328115 w 8079933"/>
              <a:gd name="connsiteY29606" fmla="*/ 1325123 h 4687251"/>
              <a:gd name="connsiteX29607" fmla="*/ 2328007 w 8079933"/>
              <a:gd name="connsiteY29607" fmla="*/ 1321768 h 4687251"/>
              <a:gd name="connsiteX29608" fmla="*/ 2326271 w 8079933"/>
              <a:gd name="connsiteY29608" fmla="*/ 1320793 h 4687251"/>
              <a:gd name="connsiteX29609" fmla="*/ 2326054 w 8079933"/>
              <a:gd name="connsiteY29609" fmla="*/ 1318844 h 4687251"/>
              <a:gd name="connsiteX29610" fmla="*/ 2331045 w 8079933"/>
              <a:gd name="connsiteY29610" fmla="*/ 1312348 h 4687251"/>
              <a:gd name="connsiteX29611" fmla="*/ 2333650 w 8079933"/>
              <a:gd name="connsiteY29611" fmla="*/ 1312348 h 4687251"/>
              <a:gd name="connsiteX29612" fmla="*/ 2336580 w 8079933"/>
              <a:gd name="connsiteY29612" fmla="*/ 1317978 h 4687251"/>
              <a:gd name="connsiteX29613" fmla="*/ 2339726 w 8079933"/>
              <a:gd name="connsiteY29613" fmla="*/ 1319601 h 4687251"/>
              <a:gd name="connsiteX29614" fmla="*/ 2337990 w 8079933"/>
              <a:gd name="connsiteY29614" fmla="*/ 1317003 h 4687251"/>
              <a:gd name="connsiteX29615" fmla="*/ 2338316 w 8079933"/>
              <a:gd name="connsiteY29615" fmla="*/ 1311481 h 4687251"/>
              <a:gd name="connsiteX29616" fmla="*/ 2343525 w 8079933"/>
              <a:gd name="connsiteY29616" fmla="*/ 1309208 h 4687251"/>
              <a:gd name="connsiteX29617" fmla="*/ 2348517 w 8079933"/>
              <a:gd name="connsiteY29617" fmla="*/ 1300113 h 4687251"/>
              <a:gd name="connsiteX29618" fmla="*/ 2347649 w 8079933"/>
              <a:gd name="connsiteY29618" fmla="*/ 1297081 h 4687251"/>
              <a:gd name="connsiteX29619" fmla="*/ 2341138 w 8079933"/>
              <a:gd name="connsiteY29619" fmla="*/ 1297081 h 4687251"/>
              <a:gd name="connsiteX29620" fmla="*/ 2340595 w 8079933"/>
              <a:gd name="connsiteY29620" fmla="*/ 1295024 h 4687251"/>
              <a:gd name="connsiteX29621" fmla="*/ 2344827 w 8079933"/>
              <a:gd name="connsiteY29621" fmla="*/ 1289503 h 4687251"/>
              <a:gd name="connsiteX29622" fmla="*/ 2342331 w 8079933"/>
              <a:gd name="connsiteY29622" fmla="*/ 1287446 h 4687251"/>
              <a:gd name="connsiteX29623" fmla="*/ 2340703 w 8079933"/>
              <a:gd name="connsiteY29623" fmla="*/ 1283981 h 4687251"/>
              <a:gd name="connsiteX29624" fmla="*/ 2343959 w 8079933"/>
              <a:gd name="connsiteY29624" fmla="*/ 1280191 h 4687251"/>
              <a:gd name="connsiteX29625" fmla="*/ 2348625 w 8079933"/>
              <a:gd name="connsiteY29625" fmla="*/ 1278675 h 4687251"/>
              <a:gd name="connsiteX29626" fmla="*/ 2343525 w 8079933"/>
              <a:gd name="connsiteY29626" fmla="*/ 1277809 h 4687251"/>
              <a:gd name="connsiteX29627" fmla="*/ 2343199 w 8079933"/>
              <a:gd name="connsiteY29627" fmla="*/ 1275211 h 4687251"/>
              <a:gd name="connsiteX29628" fmla="*/ 2345261 w 8079933"/>
              <a:gd name="connsiteY29628" fmla="*/ 1268498 h 4687251"/>
              <a:gd name="connsiteX29629" fmla="*/ 2348842 w 8079933"/>
              <a:gd name="connsiteY29629" fmla="*/ 1266224 h 4687251"/>
              <a:gd name="connsiteX29630" fmla="*/ 2346021 w 8079933"/>
              <a:gd name="connsiteY29630" fmla="*/ 1265791 h 4687251"/>
              <a:gd name="connsiteX29631" fmla="*/ 2338208 w 8079933"/>
              <a:gd name="connsiteY29631" fmla="*/ 1266441 h 4687251"/>
              <a:gd name="connsiteX29632" fmla="*/ 2335928 w 8079933"/>
              <a:gd name="connsiteY29632" fmla="*/ 1265467 h 4687251"/>
              <a:gd name="connsiteX29633" fmla="*/ 2336254 w 8079933"/>
              <a:gd name="connsiteY29633" fmla="*/ 1261785 h 4687251"/>
              <a:gd name="connsiteX29634" fmla="*/ 2346455 w 8079933"/>
              <a:gd name="connsiteY29634" fmla="*/ 1253773 h 4687251"/>
              <a:gd name="connsiteX29635" fmla="*/ 2352749 w 8079933"/>
              <a:gd name="connsiteY29635" fmla="*/ 1244571 h 4687251"/>
              <a:gd name="connsiteX29636" fmla="*/ 2353834 w 8079933"/>
              <a:gd name="connsiteY29636" fmla="*/ 1239049 h 4687251"/>
              <a:gd name="connsiteX29637" fmla="*/ 2356873 w 8079933"/>
              <a:gd name="connsiteY29637" fmla="*/ 1239590 h 4687251"/>
              <a:gd name="connsiteX29638" fmla="*/ 2359043 w 8079933"/>
              <a:gd name="connsiteY29638" fmla="*/ 1236991 h 4687251"/>
              <a:gd name="connsiteX29639" fmla="*/ 2359043 w 8079933"/>
              <a:gd name="connsiteY29639" fmla="*/ 1231578 h 4687251"/>
              <a:gd name="connsiteX29640" fmla="*/ 2356438 w 8079933"/>
              <a:gd name="connsiteY29640" fmla="*/ 1230495 h 4687251"/>
              <a:gd name="connsiteX29641" fmla="*/ 2356113 w 8079933"/>
              <a:gd name="connsiteY29641" fmla="*/ 1228438 h 4687251"/>
              <a:gd name="connsiteX29642" fmla="*/ 2353617 w 8079933"/>
              <a:gd name="connsiteY29642" fmla="*/ 1227896 h 4687251"/>
              <a:gd name="connsiteX29643" fmla="*/ 2350687 w 8079933"/>
              <a:gd name="connsiteY29643" fmla="*/ 1223241 h 4687251"/>
              <a:gd name="connsiteX29644" fmla="*/ 2350904 w 8079933"/>
              <a:gd name="connsiteY29644" fmla="*/ 1214147 h 4687251"/>
              <a:gd name="connsiteX29645" fmla="*/ 2354160 w 8079933"/>
              <a:gd name="connsiteY29645" fmla="*/ 1207109 h 4687251"/>
              <a:gd name="connsiteX29646" fmla="*/ 2354377 w 8079933"/>
              <a:gd name="connsiteY29646" fmla="*/ 1201154 h 4687251"/>
              <a:gd name="connsiteX29647" fmla="*/ 2358175 w 8079933"/>
              <a:gd name="connsiteY29647" fmla="*/ 1199096 h 4687251"/>
              <a:gd name="connsiteX29648" fmla="*/ 2360019 w 8079933"/>
              <a:gd name="connsiteY29648" fmla="*/ 1200396 h 4687251"/>
              <a:gd name="connsiteX29649" fmla="*/ 2362841 w 8079933"/>
              <a:gd name="connsiteY29649" fmla="*/ 1200288 h 4687251"/>
              <a:gd name="connsiteX29650" fmla="*/ 2362841 w 8079933"/>
              <a:gd name="connsiteY29650" fmla="*/ 1197364 h 4687251"/>
              <a:gd name="connsiteX29651" fmla="*/ 2366096 w 8079933"/>
              <a:gd name="connsiteY29651" fmla="*/ 1194116 h 4687251"/>
              <a:gd name="connsiteX29652" fmla="*/ 2369026 w 8079933"/>
              <a:gd name="connsiteY29652" fmla="*/ 1193683 h 4687251"/>
              <a:gd name="connsiteX29653" fmla="*/ 2371956 w 8079933"/>
              <a:gd name="connsiteY29653" fmla="*/ 1192492 h 4687251"/>
              <a:gd name="connsiteX29654" fmla="*/ 2374886 w 8079933"/>
              <a:gd name="connsiteY29654" fmla="*/ 1194441 h 4687251"/>
              <a:gd name="connsiteX29655" fmla="*/ 2382808 w 8079933"/>
              <a:gd name="connsiteY29655" fmla="*/ 1194874 h 4687251"/>
              <a:gd name="connsiteX29656" fmla="*/ 2390838 w 8079933"/>
              <a:gd name="connsiteY29656" fmla="*/ 1199313 h 4687251"/>
              <a:gd name="connsiteX29657" fmla="*/ 2401473 w 8079933"/>
              <a:gd name="connsiteY29657" fmla="*/ 1205160 h 4687251"/>
              <a:gd name="connsiteX29658" fmla="*/ 2407332 w 8079933"/>
              <a:gd name="connsiteY29658" fmla="*/ 1205160 h 4687251"/>
              <a:gd name="connsiteX29659" fmla="*/ 2406031 w 8079933"/>
              <a:gd name="connsiteY29659" fmla="*/ 1209599 h 4687251"/>
              <a:gd name="connsiteX29660" fmla="*/ 2399845 w 8079933"/>
              <a:gd name="connsiteY29660" fmla="*/ 1211981 h 4687251"/>
              <a:gd name="connsiteX29661" fmla="*/ 2407767 w 8079933"/>
              <a:gd name="connsiteY29661" fmla="*/ 1211656 h 4687251"/>
              <a:gd name="connsiteX29662" fmla="*/ 2414278 w 8079933"/>
              <a:gd name="connsiteY29662" fmla="*/ 1206892 h 4687251"/>
              <a:gd name="connsiteX29663" fmla="*/ 2418727 w 8079933"/>
              <a:gd name="connsiteY29663" fmla="*/ 1207217 h 4687251"/>
              <a:gd name="connsiteX29664" fmla="*/ 2421223 w 8079933"/>
              <a:gd name="connsiteY29664" fmla="*/ 1209924 h 4687251"/>
              <a:gd name="connsiteX29665" fmla="*/ 2424587 w 8079933"/>
              <a:gd name="connsiteY29665" fmla="*/ 1209924 h 4687251"/>
              <a:gd name="connsiteX29666" fmla="*/ 2428059 w 8079933"/>
              <a:gd name="connsiteY29666" fmla="*/ 1214796 h 4687251"/>
              <a:gd name="connsiteX29667" fmla="*/ 2428059 w 8079933"/>
              <a:gd name="connsiteY29667" fmla="*/ 1209599 h 4687251"/>
              <a:gd name="connsiteX29668" fmla="*/ 2433593 w 8079933"/>
              <a:gd name="connsiteY29668" fmla="*/ 1211981 h 4687251"/>
              <a:gd name="connsiteX29669" fmla="*/ 2435981 w 8079933"/>
              <a:gd name="connsiteY29669" fmla="*/ 1209274 h 4687251"/>
              <a:gd name="connsiteX29670" fmla="*/ 2439779 w 8079933"/>
              <a:gd name="connsiteY29670" fmla="*/ 1208949 h 4687251"/>
              <a:gd name="connsiteX29671" fmla="*/ 2446073 w 8079933"/>
              <a:gd name="connsiteY29671" fmla="*/ 1205160 h 4687251"/>
              <a:gd name="connsiteX29672" fmla="*/ 2454320 w 8079933"/>
              <a:gd name="connsiteY29672" fmla="*/ 1211656 h 4687251"/>
              <a:gd name="connsiteX29673" fmla="*/ 2454320 w 8079933"/>
              <a:gd name="connsiteY29673" fmla="*/ 1216528 h 4687251"/>
              <a:gd name="connsiteX29674" fmla="*/ 2459854 w 8079933"/>
              <a:gd name="connsiteY29674" fmla="*/ 1220967 h 4687251"/>
              <a:gd name="connsiteX29675" fmla="*/ 2463979 w 8079933"/>
              <a:gd name="connsiteY29675" fmla="*/ 1220967 h 4687251"/>
              <a:gd name="connsiteX29676" fmla="*/ 2463979 w 8079933"/>
              <a:gd name="connsiteY29676" fmla="*/ 1228546 h 4687251"/>
              <a:gd name="connsiteX29677" fmla="*/ 2461266 w 8079933"/>
              <a:gd name="connsiteY29677" fmla="*/ 1232336 h 4687251"/>
              <a:gd name="connsiteX29678" fmla="*/ 2461266 w 8079933"/>
              <a:gd name="connsiteY29678" fmla="*/ 1235800 h 4687251"/>
              <a:gd name="connsiteX29679" fmla="*/ 2464304 w 8079933"/>
              <a:gd name="connsiteY29679" fmla="*/ 1233743 h 4687251"/>
              <a:gd name="connsiteX29680" fmla="*/ 2469513 w 8079933"/>
              <a:gd name="connsiteY29680" fmla="*/ 1238507 h 4687251"/>
              <a:gd name="connsiteX29681" fmla="*/ 2471900 w 8079933"/>
              <a:gd name="connsiteY29681" fmla="*/ 1243704 h 4687251"/>
              <a:gd name="connsiteX29682" fmla="*/ 2468102 w 8079933"/>
              <a:gd name="connsiteY29682" fmla="*/ 1244787 h 4687251"/>
              <a:gd name="connsiteX29683" fmla="*/ 2472225 w 8079933"/>
              <a:gd name="connsiteY29683" fmla="*/ 1247818 h 4687251"/>
              <a:gd name="connsiteX29684" fmla="*/ 2475698 w 8079933"/>
              <a:gd name="connsiteY29684" fmla="*/ 1244787 h 4687251"/>
              <a:gd name="connsiteX29685" fmla="*/ 2479822 w 8079933"/>
              <a:gd name="connsiteY29685" fmla="*/ 1250634 h 4687251"/>
              <a:gd name="connsiteX29686" fmla="*/ 2479171 w 8079933"/>
              <a:gd name="connsiteY29686" fmla="*/ 1253340 h 4687251"/>
              <a:gd name="connsiteX29687" fmla="*/ 2475047 w 8079933"/>
              <a:gd name="connsiteY29687" fmla="*/ 1250200 h 4687251"/>
              <a:gd name="connsiteX29688" fmla="*/ 2472985 w 8079933"/>
              <a:gd name="connsiteY29688" fmla="*/ 1254748 h 4687251"/>
              <a:gd name="connsiteX29689" fmla="*/ 2468753 w 8079933"/>
              <a:gd name="connsiteY29689" fmla="*/ 1254748 h 4687251"/>
              <a:gd name="connsiteX29690" fmla="*/ 2474613 w 8079933"/>
              <a:gd name="connsiteY29690" fmla="*/ 1260594 h 4687251"/>
              <a:gd name="connsiteX29691" fmla="*/ 2474613 w 8079933"/>
              <a:gd name="connsiteY29691" fmla="*/ 1265034 h 4687251"/>
              <a:gd name="connsiteX29692" fmla="*/ 2478845 w 8079933"/>
              <a:gd name="connsiteY29692" fmla="*/ 1261244 h 4687251"/>
              <a:gd name="connsiteX29693" fmla="*/ 2478845 w 8079933"/>
              <a:gd name="connsiteY29693" fmla="*/ 1265034 h 4687251"/>
              <a:gd name="connsiteX29694" fmla="*/ 2482643 w 8079933"/>
              <a:gd name="connsiteY29694" fmla="*/ 1262652 h 4687251"/>
              <a:gd name="connsiteX29695" fmla="*/ 2490240 w 8079933"/>
              <a:gd name="connsiteY29695" fmla="*/ 1269148 h 4687251"/>
              <a:gd name="connsiteX29696" fmla="*/ 2492952 w 8079933"/>
              <a:gd name="connsiteY29696" fmla="*/ 1268173 h 4687251"/>
              <a:gd name="connsiteX29697" fmla="*/ 2494688 w 8079933"/>
              <a:gd name="connsiteY29697" fmla="*/ 1270555 h 4687251"/>
              <a:gd name="connsiteX29698" fmla="*/ 2499897 w 8079933"/>
              <a:gd name="connsiteY29698" fmla="*/ 1268173 h 4687251"/>
              <a:gd name="connsiteX29699" fmla="*/ 2506083 w 8079933"/>
              <a:gd name="connsiteY29699" fmla="*/ 1270230 h 4687251"/>
              <a:gd name="connsiteX29700" fmla="*/ 2504997 w 8079933"/>
              <a:gd name="connsiteY29700" fmla="*/ 1278784 h 4687251"/>
              <a:gd name="connsiteX29701" fmla="*/ 2507494 w 8079933"/>
              <a:gd name="connsiteY29701" fmla="*/ 1282573 h 4687251"/>
              <a:gd name="connsiteX29702" fmla="*/ 2512920 w 8079933"/>
              <a:gd name="connsiteY29702" fmla="*/ 1278459 h 4687251"/>
              <a:gd name="connsiteX29703" fmla="*/ 2514005 w 8079933"/>
              <a:gd name="connsiteY29703" fmla="*/ 1271313 h 4687251"/>
              <a:gd name="connsiteX29704" fmla="*/ 2517803 w 8079933"/>
              <a:gd name="connsiteY29704" fmla="*/ 1270880 h 4687251"/>
              <a:gd name="connsiteX29705" fmla="*/ 2518128 w 8079933"/>
              <a:gd name="connsiteY29705" fmla="*/ 1279217 h 4687251"/>
              <a:gd name="connsiteX29706" fmla="*/ 2516826 w 8079933"/>
              <a:gd name="connsiteY29706" fmla="*/ 1287120 h 4687251"/>
              <a:gd name="connsiteX29707" fmla="*/ 2510532 w 8079933"/>
              <a:gd name="connsiteY29707" fmla="*/ 1288420 h 4687251"/>
              <a:gd name="connsiteX29708" fmla="*/ 2506083 w 8079933"/>
              <a:gd name="connsiteY29708" fmla="*/ 1295350 h 4687251"/>
              <a:gd name="connsiteX29709" fmla="*/ 2507060 w 8079933"/>
              <a:gd name="connsiteY29709" fmla="*/ 1307042 h 4687251"/>
              <a:gd name="connsiteX29710" fmla="*/ 2504997 w 8079933"/>
              <a:gd name="connsiteY29710" fmla="*/ 1311156 h 4687251"/>
              <a:gd name="connsiteX29711" fmla="*/ 2504021 w 8079933"/>
              <a:gd name="connsiteY29711" fmla="*/ 1304985 h 4687251"/>
              <a:gd name="connsiteX29712" fmla="*/ 2501959 w 8079933"/>
              <a:gd name="connsiteY29712" fmla="*/ 1307801 h 4687251"/>
              <a:gd name="connsiteX29713" fmla="*/ 2500549 w 8079933"/>
              <a:gd name="connsiteY29713" fmla="*/ 1314946 h 4687251"/>
              <a:gd name="connsiteX29714" fmla="*/ 2490240 w 8079933"/>
              <a:gd name="connsiteY29714" fmla="*/ 1313647 h 4687251"/>
              <a:gd name="connsiteX29715" fmla="*/ 2477760 w 8079933"/>
              <a:gd name="connsiteY29715" fmla="*/ 1309858 h 4687251"/>
              <a:gd name="connsiteX29716" fmla="*/ 2488829 w 8079933"/>
              <a:gd name="connsiteY29716" fmla="*/ 1315704 h 4687251"/>
              <a:gd name="connsiteX29717" fmla="*/ 2497836 w 8079933"/>
              <a:gd name="connsiteY29717" fmla="*/ 1317436 h 4687251"/>
              <a:gd name="connsiteX29718" fmla="*/ 2504238 w 8079933"/>
              <a:gd name="connsiteY29718" fmla="*/ 1322850 h 4687251"/>
              <a:gd name="connsiteX29719" fmla="*/ 2503696 w 8079933"/>
              <a:gd name="connsiteY29719" fmla="*/ 1331078 h 4687251"/>
              <a:gd name="connsiteX29720" fmla="*/ 2499572 w 8079933"/>
              <a:gd name="connsiteY29720" fmla="*/ 1337142 h 4687251"/>
              <a:gd name="connsiteX29721" fmla="*/ 2498921 w 8079933"/>
              <a:gd name="connsiteY29721" fmla="*/ 1340065 h 4687251"/>
              <a:gd name="connsiteX29722" fmla="*/ 2493929 w 8079933"/>
              <a:gd name="connsiteY29722" fmla="*/ 1346345 h 4687251"/>
              <a:gd name="connsiteX29723" fmla="*/ 2495231 w 8079933"/>
              <a:gd name="connsiteY29723" fmla="*/ 1347103 h 4687251"/>
              <a:gd name="connsiteX29724" fmla="*/ 2501199 w 8079933"/>
              <a:gd name="connsiteY29724" fmla="*/ 1356305 h 4687251"/>
              <a:gd name="connsiteX29725" fmla="*/ 2505106 w 8079933"/>
              <a:gd name="connsiteY29725" fmla="*/ 1357496 h 4687251"/>
              <a:gd name="connsiteX29726" fmla="*/ 2502719 w 8079933"/>
              <a:gd name="connsiteY29726" fmla="*/ 1358579 h 4687251"/>
              <a:gd name="connsiteX29727" fmla="*/ 2494471 w 8079933"/>
              <a:gd name="connsiteY29727" fmla="*/ 1354573 h 4687251"/>
              <a:gd name="connsiteX29728" fmla="*/ 2499897 w 8079933"/>
              <a:gd name="connsiteY29728" fmla="*/ 1362910 h 4687251"/>
              <a:gd name="connsiteX29729" fmla="*/ 2504238 w 8079933"/>
              <a:gd name="connsiteY29729" fmla="*/ 1365941 h 4687251"/>
              <a:gd name="connsiteX29730" fmla="*/ 2505757 w 8079933"/>
              <a:gd name="connsiteY29730" fmla="*/ 1365833 h 4687251"/>
              <a:gd name="connsiteX29731" fmla="*/ 2504238 w 8079933"/>
              <a:gd name="connsiteY29731" fmla="*/ 1360853 h 4687251"/>
              <a:gd name="connsiteX29732" fmla="*/ 2508579 w 8079933"/>
              <a:gd name="connsiteY29732" fmla="*/ 1360637 h 4687251"/>
              <a:gd name="connsiteX29733" fmla="*/ 2513353 w 8079933"/>
              <a:gd name="connsiteY29733" fmla="*/ 1364751 h 4687251"/>
              <a:gd name="connsiteX29734" fmla="*/ 2515958 w 8079933"/>
              <a:gd name="connsiteY29734" fmla="*/ 1369623 h 4687251"/>
              <a:gd name="connsiteX29735" fmla="*/ 2514873 w 8079933"/>
              <a:gd name="connsiteY29735" fmla="*/ 1374712 h 4687251"/>
              <a:gd name="connsiteX29736" fmla="*/ 2515306 w 8079933"/>
              <a:gd name="connsiteY29736" fmla="*/ 1380125 h 4687251"/>
              <a:gd name="connsiteX29737" fmla="*/ 2510098 w 8079933"/>
              <a:gd name="connsiteY29737" fmla="*/ 1388137 h 4687251"/>
              <a:gd name="connsiteX29738" fmla="*/ 2509122 w 8079933"/>
              <a:gd name="connsiteY29738" fmla="*/ 1393334 h 4687251"/>
              <a:gd name="connsiteX29739" fmla="*/ 2505649 w 8079933"/>
              <a:gd name="connsiteY29739" fmla="*/ 1397773 h 4687251"/>
              <a:gd name="connsiteX29740" fmla="*/ 2510640 w 8079933"/>
              <a:gd name="connsiteY29740" fmla="*/ 1395175 h 4687251"/>
              <a:gd name="connsiteX29741" fmla="*/ 2516826 w 8079933"/>
              <a:gd name="connsiteY29741" fmla="*/ 1382615 h 4687251"/>
              <a:gd name="connsiteX29742" fmla="*/ 2523011 w 8079933"/>
              <a:gd name="connsiteY29742" fmla="*/ 1376444 h 4687251"/>
              <a:gd name="connsiteX29743" fmla="*/ 2524422 w 8079933"/>
              <a:gd name="connsiteY29743" fmla="*/ 1376985 h 4687251"/>
              <a:gd name="connsiteX29744" fmla="*/ 2523662 w 8079933"/>
              <a:gd name="connsiteY29744" fmla="*/ 1381641 h 4687251"/>
              <a:gd name="connsiteX29745" fmla="*/ 2524205 w 8079933"/>
              <a:gd name="connsiteY29745" fmla="*/ 1391277 h 4687251"/>
              <a:gd name="connsiteX29746" fmla="*/ 2522903 w 8079933"/>
              <a:gd name="connsiteY29746" fmla="*/ 1393118 h 4687251"/>
              <a:gd name="connsiteX29747" fmla="*/ 2523229 w 8079933"/>
              <a:gd name="connsiteY29747" fmla="*/ 1397124 h 4687251"/>
              <a:gd name="connsiteX29748" fmla="*/ 2521275 w 8079933"/>
              <a:gd name="connsiteY29748" fmla="*/ 1401779 h 4687251"/>
              <a:gd name="connsiteX29749" fmla="*/ 2526592 w 8079933"/>
              <a:gd name="connsiteY29749" fmla="*/ 1395716 h 4687251"/>
              <a:gd name="connsiteX29750" fmla="*/ 2527352 w 8079933"/>
              <a:gd name="connsiteY29750" fmla="*/ 1390194 h 4687251"/>
              <a:gd name="connsiteX29751" fmla="*/ 2532453 w 8079933"/>
              <a:gd name="connsiteY29751" fmla="*/ 1386080 h 4687251"/>
              <a:gd name="connsiteX29752" fmla="*/ 2536793 w 8079933"/>
              <a:gd name="connsiteY29752" fmla="*/ 1385539 h 4687251"/>
              <a:gd name="connsiteX29753" fmla="*/ 2540917 w 8079933"/>
              <a:gd name="connsiteY29753" fmla="*/ 1381749 h 4687251"/>
              <a:gd name="connsiteX29754" fmla="*/ 2544389 w 8079933"/>
              <a:gd name="connsiteY29754" fmla="*/ 1382290 h 4687251"/>
              <a:gd name="connsiteX29755" fmla="*/ 2545040 w 8079933"/>
              <a:gd name="connsiteY29755" fmla="*/ 1384564 h 4687251"/>
              <a:gd name="connsiteX29756" fmla="*/ 2547102 w 8079933"/>
              <a:gd name="connsiteY29756" fmla="*/ 1382182 h 4687251"/>
              <a:gd name="connsiteX29757" fmla="*/ 2551443 w 8079933"/>
              <a:gd name="connsiteY29757" fmla="*/ 1381100 h 4687251"/>
              <a:gd name="connsiteX29758" fmla="*/ 2552094 w 8079933"/>
              <a:gd name="connsiteY29758" fmla="*/ 1376661 h 4687251"/>
              <a:gd name="connsiteX29759" fmla="*/ 2555241 w 8079933"/>
              <a:gd name="connsiteY29759" fmla="*/ 1372329 h 4687251"/>
              <a:gd name="connsiteX29760" fmla="*/ 2561644 w 8079933"/>
              <a:gd name="connsiteY29760" fmla="*/ 1367674 h 4687251"/>
              <a:gd name="connsiteX29761" fmla="*/ 2564682 w 8079933"/>
              <a:gd name="connsiteY29761" fmla="*/ 1370814 h 4687251"/>
              <a:gd name="connsiteX29762" fmla="*/ 2566092 w 8079933"/>
              <a:gd name="connsiteY29762" fmla="*/ 1377635 h 4687251"/>
              <a:gd name="connsiteX29763" fmla="*/ 2565224 w 8079933"/>
              <a:gd name="connsiteY29763" fmla="*/ 1383157 h 4687251"/>
              <a:gd name="connsiteX29764" fmla="*/ 2568480 w 8079933"/>
              <a:gd name="connsiteY29764" fmla="*/ 1375794 h 4687251"/>
              <a:gd name="connsiteX29765" fmla="*/ 2568155 w 8079933"/>
              <a:gd name="connsiteY29765" fmla="*/ 1368757 h 4687251"/>
              <a:gd name="connsiteX29766" fmla="*/ 2570216 w 8079933"/>
              <a:gd name="connsiteY29766" fmla="*/ 1368215 h 4687251"/>
              <a:gd name="connsiteX29767" fmla="*/ 2569673 w 8079933"/>
              <a:gd name="connsiteY29767" fmla="*/ 1365941 h 4687251"/>
              <a:gd name="connsiteX29768" fmla="*/ 2572495 w 8079933"/>
              <a:gd name="connsiteY29768" fmla="*/ 1361502 h 4687251"/>
              <a:gd name="connsiteX29769" fmla="*/ 2576401 w 8079933"/>
              <a:gd name="connsiteY29769" fmla="*/ 1360853 h 4687251"/>
              <a:gd name="connsiteX29770" fmla="*/ 2577596 w 8079933"/>
              <a:gd name="connsiteY29770" fmla="*/ 1354573 h 4687251"/>
              <a:gd name="connsiteX29771" fmla="*/ 2581285 w 8079933"/>
              <a:gd name="connsiteY29771" fmla="*/ 1352192 h 4687251"/>
              <a:gd name="connsiteX29772" fmla="*/ 2584215 w 8079933"/>
              <a:gd name="connsiteY29772" fmla="*/ 1347752 h 4687251"/>
              <a:gd name="connsiteX29773" fmla="*/ 2585734 w 8079933"/>
              <a:gd name="connsiteY29773" fmla="*/ 1344612 h 4687251"/>
              <a:gd name="connsiteX29774" fmla="*/ 2588338 w 8079933"/>
              <a:gd name="connsiteY29774" fmla="*/ 1344504 h 4687251"/>
              <a:gd name="connsiteX29775" fmla="*/ 2592245 w 8079933"/>
              <a:gd name="connsiteY29775" fmla="*/ 1348619 h 4687251"/>
              <a:gd name="connsiteX29776" fmla="*/ 2592462 w 8079933"/>
              <a:gd name="connsiteY29776" fmla="*/ 1345695 h 4687251"/>
              <a:gd name="connsiteX29777" fmla="*/ 2590400 w 8079933"/>
              <a:gd name="connsiteY29777" fmla="*/ 1342122 h 4687251"/>
              <a:gd name="connsiteX29778" fmla="*/ 2586385 w 8079933"/>
              <a:gd name="connsiteY29778" fmla="*/ 1341906 h 4687251"/>
              <a:gd name="connsiteX29779" fmla="*/ 2586277 w 8079933"/>
              <a:gd name="connsiteY29779" fmla="*/ 1338982 h 4687251"/>
              <a:gd name="connsiteX29780" fmla="*/ 2589315 w 8079933"/>
              <a:gd name="connsiteY29780" fmla="*/ 1331728 h 4687251"/>
              <a:gd name="connsiteX29781" fmla="*/ 2591811 w 8079933"/>
              <a:gd name="connsiteY29781" fmla="*/ 1330537 h 4687251"/>
              <a:gd name="connsiteX29782" fmla="*/ 2594524 w 8079933"/>
              <a:gd name="connsiteY29782" fmla="*/ 1333460 h 4687251"/>
              <a:gd name="connsiteX29783" fmla="*/ 2594198 w 8079933"/>
              <a:gd name="connsiteY29783" fmla="*/ 1329021 h 4687251"/>
              <a:gd name="connsiteX29784" fmla="*/ 2597128 w 8079933"/>
              <a:gd name="connsiteY29784" fmla="*/ 1326964 h 4687251"/>
              <a:gd name="connsiteX29785" fmla="*/ 2597671 w 8079933"/>
              <a:gd name="connsiteY29785" fmla="*/ 1323391 h 4687251"/>
              <a:gd name="connsiteX29786" fmla="*/ 2602771 w 8079933"/>
              <a:gd name="connsiteY29786" fmla="*/ 1317653 h 4687251"/>
              <a:gd name="connsiteX29787" fmla="*/ 2605050 w 8079933"/>
              <a:gd name="connsiteY29787" fmla="*/ 1313755 h 4687251"/>
              <a:gd name="connsiteX29788" fmla="*/ 2603965 w 8079933"/>
              <a:gd name="connsiteY29788" fmla="*/ 1310399 h 4687251"/>
              <a:gd name="connsiteX29789" fmla="*/ 2608088 w 8079933"/>
              <a:gd name="connsiteY29789" fmla="*/ 1304985 h 4687251"/>
              <a:gd name="connsiteX29790" fmla="*/ 2612971 w 8079933"/>
              <a:gd name="connsiteY29790" fmla="*/ 1303361 h 4687251"/>
              <a:gd name="connsiteX29791" fmla="*/ 2614816 w 8079933"/>
              <a:gd name="connsiteY29791" fmla="*/ 1305310 h 4687251"/>
              <a:gd name="connsiteX29792" fmla="*/ 2611018 w 8079933"/>
              <a:gd name="connsiteY29792" fmla="*/ 1308558 h 4687251"/>
              <a:gd name="connsiteX29793" fmla="*/ 2615251 w 8079933"/>
              <a:gd name="connsiteY29793" fmla="*/ 1306826 h 4687251"/>
              <a:gd name="connsiteX29794" fmla="*/ 2616770 w 8079933"/>
              <a:gd name="connsiteY29794" fmla="*/ 1308883 h 4687251"/>
              <a:gd name="connsiteX29795" fmla="*/ 2613840 w 8079933"/>
              <a:gd name="connsiteY29795" fmla="*/ 1310940 h 4687251"/>
              <a:gd name="connsiteX29796" fmla="*/ 2613298 w 8079933"/>
              <a:gd name="connsiteY29796" fmla="*/ 1314188 h 4687251"/>
              <a:gd name="connsiteX29797" fmla="*/ 2616444 w 8079933"/>
              <a:gd name="connsiteY29797" fmla="*/ 1316246 h 4687251"/>
              <a:gd name="connsiteX29798" fmla="*/ 2613623 w 8079933"/>
              <a:gd name="connsiteY29798" fmla="*/ 1320035 h 4687251"/>
              <a:gd name="connsiteX29799" fmla="*/ 2611018 w 8079933"/>
              <a:gd name="connsiteY29799" fmla="*/ 1320576 h 4687251"/>
              <a:gd name="connsiteX29800" fmla="*/ 2610910 w 8079933"/>
              <a:gd name="connsiteY29800" fmla="*/ 1321659 h 4687251"/>
              <a:gd name="connsiteX29801" fmla="*/ 2613840 w 8079933"/>
              <a:gd name="connsiteY29801" fmla="*/ 1322309 h 4687251"/>
              <a:gd name="connsiteX29802" fmla="*/ 2616770 w 8079933"/>
              <a:gd name="connsiteY29802" fmla="*/ 1322850 h 4687251"/>
              <a:gd name="connsiteX29803" fmla="*/ 2615359 w 8079933"/>
              <a:gd name="connsiteY29803" fmla="*/ 1326748 h 4687251"/>
              <a:gd name="connsiteX29804" fmla="*/ 2613948 w 8079933"/>
              <a:gd name="connsiteY29804" fmla="*/ 1328697 h 4687251"/>
              <a:gd name="connsiteX29805" fmla="*/ 2617421 w 8079933"/>
              <a:gd name="connsiteY29805" fmla="*/ 1328480 h 4687251"/>
              <a:gd name="connsiteX29806" fmla="*/ 2617746 w 8079933"/>
              <a:gd name="connsiteY29806" fmla="*/ 1332594 h 4687251"/>
              <a:gd name="connsiteX29807" fmla="*/ 2614708 w 8079933"/>
              <a:gd name="connsiteY29807" fmla="*/ 1334652 h 4687251"/>
              <a:gd name="connsiteX29808" fmla="*/ 2615684 w 8079933"/>
              <a:gd name="connsiteY29808" fmla="*/ 1339307 h 4687251"/>
              <a:gd name="connsiteX29809" fmla="*/ 2620134 w 8079933"/>
              <a:gd name="connsiteY29809" fmla="*/ 1343421 h 4687251"/>
              <a:gd name="connsiteX29810" fmla="*/ 2620459 w 8079933"/>
              <a:gd name="connsiteY29810" fmla="*/ 1349376 h 4687251"/>
              <a:gd name="connsiteX29811" fmla="*/ 2618614 w 8079933"/>
              <a:gd name="connsiteY29811" fmla="*/ 1351217 h 4687251"/>
              <a:gd name="connsiteX29812" fmla="*/ 2616336 w 8079933"/>
              <a:gd name="connsiteY29812" fmla="*/ 1349160 h 4687251"/>
              <a:gd name="connsiteX29813" fmla="*/ 2613189 w 8079933"/>
              <a:gd name="connsiteY29813" fmla="*/ 1350459 h 4687251"/>
              <a:gd name="connsiteX29814" fmla="*/ 2616336 w 8079933"/>
              <a:gd name="connsiteY29814" fmla="*/ 1353274 h 4687251"/>
              <a:gd name="connsiteX29815" fmla="*/ 2617313 w 8079933"/>
              <a:gd name="connsiteY29815" fmla="*/ 1356198 h 4687251"/>
              <a:gd name="connsiteX29816" fmla="*/ 2619374 w 8079933"/>
              <a:gd name="connsiteY29816" fmla="*/ 1356198 h 4687251"/>
              <a:gd name="connsiteX29817" fmla="*/ 2622412 w 8079933"/>
              <a:gd name="connsiteY29817" fmla="*/ 1353166 h 4687251"/>
              <a:gd name="connsiteX29818" fmla="*/ 2622847 w 8079933"/>
              <a:gd name="connsiteY29818" fmla="*/ 1356414 h 4687251"/>
              <a:gd name="connsiteX29819" fmla="*/ 2626211 w 8079933"/>
              <a:gd name="connsiteY29819" fmla="*/ 1358363 h 4687251"/>
              <a:gd name="connsiteX29820" fmla="*/ 2622630 w 8079933"/>
              <a:gd name="connsiteY29820" fmla="*/ 1364318 h 4687251"/>
              <a:gd name="connsiteX29821" fmla="*/ 2618397 w 8079933"/>
              <a:gd name="connsiteY29821" fmla="*/ 1365509 h 4687251"/>
              <a:gd name="connsiteX29822" fmla="*/ 2613406 w 8079933"/>
              <a:gd name="connsiteY29822" fmla="*/ 1364643 h 4687251"/>
              <a:gd name="connsiteX29823" fmla="*/ 2611018 w 8079933"/>
              <a:gd name="connsiteY29823" fmla="*/ 1367566 h 4687251"/>
              <a:gd name="connsiteX29824" fmla="*/ 2614599 w 8079933"/>
              <a:gd name="connsiteY29824" fmla="*/ 1369731 h 4687251"/>
              <a:gd name="connsiteX29825" fmla="*/ 2625560 w 8079933"/>
              <a:gd name="connsiteY29825" fmla="*/ 1366700 h 4687251"/>
              <a:gd name="connsiteX29826" fmla="*/ 2629141 w 8079933"/>
              <a:gd name="connsiteY29826" fmla="*/ 1367457 h 4687251"/>
              <a:gd name="connsiteX29827" fmla="*/ 2627838 w 8079933"/>
              <a:gd name="connsiteY29827" fmla="*/ 1371680 h 4687251"/>
              <a:gd name="connsiteX29828" fmla="*/ 2623607 w 8079933"/>
              <a:gd name="connsiteY29828" fmla="*/ 1376444 h 4687251"/>
              <a:gd name="connsiteX29829" fmla="*/ 2627079 w 8079933"/>
              <a:gd name="connsiteY29829" fmla="*/ 1378068 h 4687251"/>
              <a:gd name="connsiteX29830" fmla="*/ 2631094 w 8079933"/>
              <a:gd name="connsiteY29830" fmla="*/ 1375578 h 4687251"/>
              <a:gd name="connsiteX29831" fmla="*/ 2631094 w 8079933"/>
              <a:gd name="connsiteY29831" fmla="*/ 1380883 h 4687251"/>
              <a:gd name="connsiteX29832" fmla="*/ 2627079 w 8079933"/>
              <a:gd name="connsiteY29832" fmla="*/ 1386622 h 4687251"/>
              <a:gd name="connsiteX29833" fmla="*/ 2619700 w 8079933"/>
              <a:gd name="connsiteY29833" fmla="*/ 1386622 h 4687251"/>
              <a:gd name="connsiteX29834" fmla="*/ 2616227 w 8079933"/>
              <a:gd name="connsiteY29834" fmla="*/ 1384023 h 4687251"/>
              <a:gd name="connsiteX29835" fmla="*/ 2614383 w 8079933"/>
              <a:gd name="connsiteY29835" fmla="*/ 1387271 h 4687251"/>
              <a:gd name="connsiteX29836" fmla="*/ 2615359 w 8079933"/>
              <a:gd name="connsiteY29836" fmla="*/ 1390519 h 4687251"/>
              <a:gd name="connsiteX29837" fmla="*/ 2613623 w 8079933"/>
              <a:gd name="connsiteY29837" fmla="*/ 1394308 h 4687251"/>
              <a:gd name="connsiteX29838" fmla="*/ 2620242 w 8079933"/>
              <a:gd name="connsiteY29838" fmla="*/ 1391385 h 4687251"/>
              <a:gd name="connsiteX29839" fmla="*/ 2627622 w 8079933"/>
              <a:gd name="connsiteY29839" fmla="*/ 1391602 h 4687251"/>
              <a:gd name="connsiteX29840" fmla="*/ 2632830 w 8079933"/>
              <a:gd name="connsiteY29840" fmla="*/ 1389328 h 4687251"/>
              <a:gd name="connsiteX29841" fmla="*/ 2634133 w 8079933"/>
              <a:gd name="connsiteY29841" fmla="*/ 1390735 h 4687251"/>
              <a:gd name="connsiteX29842" fmla="*/ 2631420 w 8079933"/>
              <a:gd name="connsiteY29842" fmla="*/ 1393767 h 4687251"/>
              <a:gd name="connsiteX29843" fmla="*/ 2631420 w 8079933"/>
              <a:gd name="connsiteY29843" fmla="*/ 1396041 h 4687251"/>
              <a:gd name="connsiteX29844" fmla="*/ 2627296 w 8079933"/>
              <a:gd name="connsiteY29844" fmla="*/ 1398639 h 4687251"/>
              <a:gd name="connsiteX29845" fmla="*/ 2622739 w 8079933"/>
              <a:gd name="connsiteY29845" fmla="*/ 1398639 h 4687251"/>
              <a:gd name="connsiteX29846" fmla="*/ 2615902 w 8079933"/>
              <a:gd name="connsiteY29846" fmla="*/ 1407085 h 4687251"/>
              <a:gd name="connsiteX29847" fmla="*/ 2623498 w 8079933"/>
              <a:gd name="connsiteY29847" fmla="*/ 1403620 h 4687251"/>
              <a:gd name="connsiteX29848" fmla="*/ 2628598 w 8079933"/>
              <a:gd name="connsiteY29848" fmla="*/ 1403620 h 4687251"/>
              <a:gd name="connsiteX29849" fmla="*/ 2632071 w 8079933"/>
              <a:gd name="connsiteY29849" fmla="*/ 1402429 h 4687251"/>
              <a:gd name="connsiteX29850" fmla="*/ 2636411 w 8079933"/>
              <a:gd name="connsiteY29850" fmla="*/ 1403295 h 4687251"/>
              <a:gd name="connsiteX29851" fmla="*/ 2636411 w 8079933"/>
              <a:gd name="connsiteY29851" fmla="*/ 1407518 h 4687251"/>
              <a:gd name="connsiteX29852" fmla="*/ 2632613 w 8079933"/>
              <a:gd name="connsiteY29852" fmla="*/ 1408059 h 4687251"/>
              <a:gd name="connsiteX29853" fmla="*/ 2627622 w 8079933"/>
              <a:gd name="connsiteY29853" fmla="*/ 1411307 h 4687251"/>
              <a:gd name="connsiteX29854" fmla="*/ 2626211 w 8079933"/>
              <a:gd name="connsiteY29854" fmla="*/ 1415963 h 4687251"/>
              <a:gd name="connsiteX29855" fmla="*/ 2629141 w 8079933"/>
              <a:gd name="connsiteY29855" fmla="*/ 1413039 h 4687251"/>
              <a:gd name="connsiteX29856" fmla="*/ 2633590 w 8079933"/>
              <a:gd name="connsiteY29856" fmla="*/ 1414447 h 4687251"/>
              <a:gd name="connsiteX29857" fmla="*/ 2636194 w 8079933"/>
              <a:gd name="connsiteY29857" fmla="*/ 1411524 h 4687251"/>
              <a:gd name="connsiteX29858" fmla="*/ 2640644 w 8079933"/>
              <a:gd name="connsiteY29858" fmla="*/ 1415638 h 4687251"/>
              <a:gd name="connsiteX29859" fmla="*/ 2642922 w 8079933"/>
              <a:gd name="connsiteY29859" fmla="*/ 1423542 h 4687251"/>
              <a:gd name="connsiteX29860" fmla="*/ 2638147 w 8079933"/>
              <a:gd name="connsiteY29860" fmla="*/ 1427548 h 4687251"/>
              <a:gd name="connsiteX29861" fmla="*/ 2634892 w 8079933"/>
              <a:gd name="connsiteY29861" fmla="*/ 1426357 h 4687251"/>
              <a:gd name="connsiteX29862" fmla="*/ 2632396 w 8079933"/>
              <a:gd name="connsiteY29862" fmla="*/ 1428414 h 4687251"/>
              <a:gd name="connsiteX29863" fmla="*/ 2627730 w 8079933"/>
              <a:gd name="connsiteY29863" fmla="*/ 1428414 h 4687251"/>
              <a:gd name="connsiteX29864" fmla="*/ 2631203 w 8079933"/>
              <a:gd name="connsiteY29864" fmla="*/ 1431446 h 4687251"/>
              <a:gd name="connsiteX29865" fmla="*/ 2634458 w 8079933"/>
              <a:gd name="connsiteY29865" fmla="*/ 1430796 h 4687251"/>
              <a:gd name="connsiteX29866" fmla="*/ 2636520 w 8079933"/>
              <a:gd name="connsiteY29866" fmla="*/ 1432095 h 4687251"/>
              <a:gd name="connsiteX29867" fmla="*/ 2641729 w 8079933"/>
              <a:gd name="connsiteY29867" fmla="*/ 1432312 h 4687251"/>
              <a:gd name="connsiteX29868" fmla="*/ 2643790 w 8079933"/>
              <a:gd name="connsiteY29868" fmla="*/ 1434369 h 4687251"/>
              <a:gd name="connsiteX29869" fmla="*/ 2642380 w 8079933"/>
              <a:gd name="connsiteY29869" fmla="*/ 1438158 h 4687251"/>
              <a:gd name="connsiteX29870" fmla="*/ 2639124 w 8079933"/>
              <a:gd name="connsiteY29870" fmla="*/ 1440432 h 4687251"/>
              <a:gd name="connsiteX29871" fmla="*/ 2643465 w 8079933"/>
              <a:gd name="connsiteY29871" fmla="*/ 1441948 h 4687251"/>
              <a:gd name="connsiteX29872" fmla="*/ 2646937 w 8079933"/>
              <a:gd name="connsiteY29872" fmla="*/ 1441298 h 4687251"/>
              <a:gd name="connsiteX29873" fmla="*/ 2651386 w 8079933"/>
              <a:gd name="connsiteY29873" fmla="*/ 1445196 h 4687251"/>
              <a:gd name="connsiteX29874" fmla="*/ 2650301 w 8079933"/>
              <a:gd name="connsiteY29874" fmla="*/ 1449310 h 4687251"/>
              <a:gd name="connsiteX29875" fmla="*/ 2646720 w 8079933"/>
              <a:gd name="connsiteY29875" fmla="*/ 1451259 h 4687251"/>
              <a:gd name="connsiteX29876" fmla="*/ 2640861 w 8079933"/>
              <a:gd name="connsiteY29876" fmla="*/ 1456022 h 4687251"/>
              <a:gd name="connsiteX29877" fmla="*/ 2637279 w 8079933"/>
              <a:gd name="connsiteY29877" fmla="*/ 1454615 h 4687251"/>
              <a:gd name="connsiteX29878" fmla="*/ 2635869 w 8079933"/>
              <a:gd name="connsiteY29878" fmla="*/ 1456781 h 4687251"/>
              <a:gd name="connsiteX29879" fmla="*/ 2640209 w 8079933"/>
              <a:gd name="connsiteY29879" fmla="*/ 1458621 h 4687251"/>
              <a:gd name="connsiteX29880" fmla="*/ 2640535 w 8079933"/>
              <a:gd name="connsiteY29880" fmla="*/ 1461544 h 4687251"/>
              <a:gd name="connsiteX29881" fmla="*/ 2635543 w 8079933"/>
              <a:gd name="connsiteY29881" fmla="*/ 1462086 h 4687251"/>
              <a:gd name="connsiteX29882" fmla="*/ 2629358 w 8079933"/>
              <a:gd name="connsiteY29882" fmla="*/ 1458513 h 4687251"/>
              <a:gd name="connsiteX29883" fmla="*/ 2622630 w 8079933"/>
              <a:gd name="connsiteY29883" fmla="*/ 1458621 h 4687251"/>
              <a:gd name="connsiteX29884" fmla="*/ 2628815 w 8079933"/>
              <a:gd name="connsiteY29884" fmla="*/ 1462086 h 4687251"/>
              <a:gd name="connsiteX29885" fmla="*/ 2628923 w 8079933"/>
              <a:gd name="connsiteY29885" fmla="*/ 1466525 h 4687251"/>
              <a:gd name="connsiteX29886" fmla="*/ 2633807 w 8079933"/>
              <a:gd name="connsiteY29886" fmla="*/ 1470964 h 4687251"/>
              <a:gd name="connsiteX29887" fmla="*/ 2635869 w 8079933"/>
              <a:gd name="connsiteY29887" fmla="*/ 1473779 h 4687251"/>
              <a:gd name="connsiteX29888" fmla="*/ 2635001 w 8079933"/>
              <a:gd name="connsiteY29888" fmla="*/ 1475944 h 4687251"/>
              <a:gd name="connsiteX29889" fmla="*/ 2629792 w 8079933"/>
              <a:gd name="connsiteY29889" fmla="*/ 1476703 h 4687251"/>
              <a:gd name="connsiteX29890" fmla="*/ 2627947 w 8079933"/>
              <a:gd name="connsiteY29890" fmla="*/ 1479409 h 4687251"/>
              <a:gd name="connsiteX29891" fmla="*/ 2621436 w 8079933"/>
              <a:gd name="connsiteY29891" fmla="*/ 1478868 h 4687251"/>
              <a:gd name="connsiteX29892" fmla="*/ 2629792 w 8079933"/>
              <a:gd name="connsiteY29892" fmla="*/ 1481358 h 4687251"/>
              <a:gd name="connsiteX29893" fmla="*/ 2632939 w 8079933"/>
              <a:gd name="connsiteY29893" fmla="*/ 1480600 h 4687251"/>
              <a:gd name="connsiteX29894" fmla="*/ 2633481 w 8079933"/>
              <a:gd name="connsiteY29894" fmla="*/ 1478868 h 4687251"/>
              <a:gd name="connsiteX29895" fmla="*/ 2639992 w 8079933"/>
              <a:gd name="connsiteY29895" fmla="*/ 1477569 h 4687251"/>
              <a:gd name="connsiteX29896" fmla="*/ 2642597 w 8079933"/>
              <a:gd name="connsiteY29896" fmla="*/ 1478001 h 4687251"/>
              <a:gd name="connsiteX29897" fmla="*/ 2642597 w 8079933"/>
              <a:gd name="connsiteY29897" fmla="*/ 1481358 h 4687251"/>
              <a:gd name="connsiteX29898" fmla="*/ 2644442 w 8079933"/>
              <a:gd name="connsiteY29898" fmla="*/ 1483523 h 4687251"/>
              <a:gd name="connsiteX29899" fmla="*/ 2642271 w 8079933"/>
              <a:gd name="connsiteY29899" fmla="*/ 1485581 h 4687251"/>
              <a:gd name="connsiteX29900" fmla="*/ 2645201 w 8079933"/>
              <a:gd name="connsiteY29900" fmla="*/ 1486014 h 4687251"/>
              <a:gd name="connsiteX29901" fmla="*/ 2646070 w 8079933"/>
              <a:gd name="connsiteY29901" fmla="*/ 1487313 h 4687251"/>
              <a:gd name="connsiteX29902" fmla="*/ 2645201 w 8079933"/>
              <a:gd name="connsiteY29902" fmla="*/ 1490994 h 4687251"/>
              <a:gd name="connsiteX29903" fmla="*/ 2646503 w 8079933"/>
              <a:gd name="connsiteY29903" fmla="*/ 1492619 h 4687251"/>
              <a:gd name="connsiteX29904" fmla="*/ 2651061 w 8079933"/>
              <a:gd name="connsiteY29904" fmla="*/ 1489695 h 4687251"/>
              <a:gd name="connsiteX29905" fmla="*/ 2652580 w 8079933"/>
              <a:gd name="connsiteY29905" fmla="*/ 1490561 h 4687251"/>
              <a:gd name="connsiteX29906" fmla="*/ 2655727 w 8079933"/>
              <a:gd name="connsiteY29906" fmla="*/ 1491427 h 4687251"/>
              <a:gd name="connsiteX29907" fmla="*/ 2655293 w 8079933"/>
              <a:gd name="connsiteY29907" fmla="*/ 1497490 h 4687251"/>
              <a:gd name="connsiteX29908" fmla="*/ 2653666 w 8079933"/>
              <a:gd name="connsiteY29908" fmla="*/ 1500197 h 4687251"/>
              <a:gd name="connsiteX29909" fmla="*/ 2653666 w 8079933"/>
              <a:gd name="connsiteY29909" fmla="*/ 1502471 h 4687251"/>
              <a:gd name="connsiteX29910" fmla="*/ 2655836 w 8079933"/>
              <a:gd name="connsiteY29910" fmla="*/ 1502146 h 4687251"/>
              <a:gd name="connsiteX29911" fmla="*/ 2660502 w 8079933"/>
              <a:gd name="connsiteY29911" fmla="*/ 1495758 h 4687251"/>
              <a:gd name="connsiteX29912" fmla="*/ 2661587 w 8079933"/>
              <a:gd name="connsiteY29912" fmla="*/ 1496408 h 4687251"/>
              <a:gd name="connsiteX29913" fmla="*/ 2660827 w 8079933"/>
              <a:gd name="connsiteY29913" fmla="*/ 1500413 h 4687251"/>
              <a:gd name="connsiteX29914" fmla="*/ 2663649 w 8079933"/>
              <a:gd name="connsiteY29914" fmla="*/ 1503445 h 4687251"/>
              <a:gd name="connsiteX29915" fmla="*/ 2657897 w 8079933"/>
              <a:gd name="connsiteY29915" fmla="*/ 1507127 h 4687251"/>
              <a:gd name="connsiteX29916" fmla="*/ 2650736 w 8079933"/>
              <a:gd name="connsiteY29916" fmla="*/ 1516546 h 4687251"/>
              <a:gd name="connsiteX29917" fmla="*/ 2646503 w 8079933"/>
              <a:gd name="connsiteY29917" fmla="*/ 1519794 h 4687251"/>
              <a:gd name="connsiteX29918" fmla="*/ 2641512 w 8079933"/>
              <a:gd name="connsiteY29918" fmla="*/ 1518495 h 4687251"/>
              <a:gd name="connsiteX29919" fmla="*/ 2646178 w 8079933"/>
              <a:gd name="connsiteY29919" fmla="*/ 1521202 h 4687251"/>
              <a:gd name="connsiteX29920" fmla="*/ 2650301 w 8079933"/>
              <a:gd name="connsiteY29920" fmla="*/ 1520011 h 4687251"/>
              <a:gd name="connsiteX29921" fmla="*/ 2659091 w 8079933"/>
              <a:gd name="connsiteY29921" fmla="*/ 1511566 h 4687251"/>
              <a:gd name="connsiteX29922" fmla="*/ 2662564 w 8079933"/>
              <a:gd name="connsiteY29922" fmla="*/ 1511566 h 4687251"/>
              <a:gd name="connsiteX29923" fmla="*/ 2662781 w 8079933"/>
              <a:gd name="connsiteY29923" fmla="*/ 1514164 h 4687251"/>
              <a:gd name="connsiteX29924" fmla="*/ 2658766 w 8079933"/>
              <a:gd name="connsiteY29924" fmla="*/ 1517087 h 4687251"/>
              <a:gd name="connsiteX29925" fmla="*/ 2656596 w 8079933"/>
              <a:gd name="connsiteY29925" fmla="*/ 1521418 h 4687251"/>
              <a:gd name="connsiteX29926" fmla="*/ 2658982 w 8079933"/>
              <a:gd name="connsiteY29926" fmla="*/ 1522176 h 4687251"/>
              <a:gd name="connsiteX29927" fmla="*/ 2663757 w 8079933"/>
              <a:gd name="connsiteY29927" fmla="*/ 1516762 h 4687251"/>
              <a:gd name="connsiteX29928" fmla="*/ 2667881 w 8079933"/>
              <a:gd name="connsiteY29928" fmla="*/ 1511890 h 4687251"/>
              <a:gd name="connsiteX29929" fmla="*/ 2673090 w 8079933"/>
              <a:gd name="connsiteY29929" fmla="*/ 1511025 h 4687251"/>
              <a:gd name="connsiteX29930" fmla="*/ 2673090 w 8079933"/>
              <a:gd name="connsiteY29930" fmla="*/ 1513082 h 4687251"/>
              <a:gd name="connsiteX29931" fmla="*/ 2669509 w 8079933"/>
              <a:gd name="connsiteY29931" fmla="*/ 1515139 h 4687251"/>
              <a:gd name="connsiteX29932" fmla="*/ 2667447 w 8079933"/>
              <a:gd name="connsiteY29932" fmla="*/ 1517196 h 4687251"/>
              <a:gd name="connsiteX29933" fmla="*/ 2668966 w 8079933"/>
              <a:gd name="connsiteY29933" fmla="*/ 1518278 h 4687251"/>
              <a:gd name="connsiteX29934" fmla="*/ 2675369 w 8079933"/>
              <a:gd name="connsiteY29934" fmla="*/ 1515572 h 4687251"/>
              <a:gd name="connsiteX29935" fmla="*/ 2677431 w 8079933"/>
              <a:gd name="connsiteY29935" fmla="*/ 1517412 h 4687251"/>
              <a:gd name="connsiteX29936" fmla="*/ 2670486 w 8079933"/>
              <a:gd name="connsiteY29936" fmla="*/ 1522609 h 4687251"/>
              <a:gd name="connsiteX29937" fmla="*/ 2667556 w 8079933"/>
              <a:gd name="connsiteY29937" fmla="*/ 1526182 h 4687251"/>
              <a:gd name="connsiteX29938" fmla="*/ 2669835 w 8079933"/>
              <a:gd name="connsiteY29938" fmla="*/ 1526723 h 4687251"/>
              <a:gd name="connsiteX29939" fmla="*/ 2673633 w 8079933"/>
              <a:gd name="connsiteY29939" fmla="*/ 1523584 h 4687251"/>
              <a:gd name="connsiteX29940" fmla="*/ 2682531 w 8079933"/>
              <a:gd name="connsiteY29940" fmla="*/ 1515896 h 4687251"/>
              <a:gd name="connsiteX29941" fmla="*/ 2684267 w 8079933"/>
              <a:gd name="connsiteY29941" fmla="*/ 1516546 h 4687251"/>
              <a:gd name="connsiteX29942" fmla="*/ 2681880 w 8079933"/>
              <a:gd name="connsiteY29942" fmla="*/ 1518603 h 4687251"/>
              <a:gd name="connsiteX29943" fmla="*/ 2681337 w 8079933"/>
              <a:gd name="connsiteY29943" fmla="*/ 1520985 h 4687251"/>
              <a:gd name="connsiteX29944" fmla="*/ 2687848 w 8079933"/>
              <a:gd name="connsiteY29944" fmla="*/ 1516546 h 4687251"/>
              <a:gd name="connsiteX29945" fmla="*/ 2687197 w 8079933"/>
              <a:gd name="connsiteY29945" fmla="*/ 1518928 h 4687251"/>
              <a:gd name="connsiteX29946" fmla="*/ 2687088 w 8079933"/>
              <a:gd name="connsiteY29946" fmla="*/ 1526507 h 4687251"/>
              <a:gd name="connsiteX29947" fmla="*/ 2684267 w 8079933"/>
              <a:gd name="connsiteY29947" fmla="*/ 1527373 h 4687251"/>
              <a:gd name="connsiteX29948" fmla="*/ 2685027 w 8079933"/>
              <a:gd name="connsiteY29948" fmla="*/ 1530296 h 4687251"/>
              <a:gd name="connsiteX29949" fmla="*/ 2690127 w 8079933"/>
              <a:gd name="connsiteY29949" fmla="*/ 1529647 h 4687251"/>
              <a:gd name="connsiteX29950" fmla="*/ 2695661 w 8079933"/>
              <a:gd name="connsiteY29950" fmla="*/ 1532895 h 4687251"/>
              <a:gd name="connsiteX29951" fmla="*/ 2699242 w 8079933"/>
              <a:gd name="connsiteY29951" fmla="*/ 1528564 h 4687251"/>
              <a:gd name="connsiteX29952" fmla="*/ 2705970 w 8079933"/>
              <a:gd name="connsiteY29952" fmla="*/ 1526831 h 4687251"/>
              <a:gd name="connsiteX29953" fmla="*/ 2709118 w 8079933"/>
              <a:gd name="connsiteY29953" fmla="*/ 1528023 h 4687251"/>
              <a:gd name="connsiteX29954" fmla="*/ 2706838 w 8079933"/>
              <a:gd name="connsiteY29954" fmla="*/ 1532570 h 4687251"/>
              <a:gd name="connsiteX29955" fmla="*/ 2703908 w 8079933"/>
              <a:gd name="connsiteY29955" fmla="*/ 1532570 h 4687251"/>
              <a:gd name="connsiteX29956" fmla="*/ 2702172 w 8079933"/>
              <a:gd name="connsiteY29956" fmla="*/ 1534411 h 4687251"/>
              <a:gd name="connsiteX29957" fmla="*/ 2713567 w 8079933"/>
              <a:gd name="connsiteY29957" fmla="*/ 1537659 h 4687251"/>
              <a:gd name="connsiteX29958" fmla="*/ 2718016 w 8079933"/>
              <a:gd name="connsiteY29958" fmla="*/ 1541665 h 4687251"/>
              <a:gd name="connsiteX29959" fmla="*/ 2710528 w 8079933"/>
              <a:gd name="connsiteY29959" fmla="*/ 1542639 h 4687251"/>
              <a:gd name="connsiteX29960" fmla="*/ 2710528 w 8079933"/>
              <a:gd name="connsiteY29960" fmla="*/ 1544372 h 4687251"/>
              <a:gd name="connsiteX29961" fmla="*/ 2701195 w 8079933"/>
              <a:gd name="connsiteY29961" fmla="*/ 1546104 h 4687251"/>
              <a:gd name="connsiteX29962" fmla="*/ 2699242 w 8079933"/>
              <a:gd name="connsiteY29962" fmla="*/ 1544372 h 4687251"/>
              <a:gd name="connsiteX29963" fmla="*/ 2691863 w 8079933"/>
              <a:gd name="connsiteY29963" fmla="*/ 1547295 h 4687251"/>
              <a:gd name="connsiteX29964" fmla="*/ 2687848 w 8079933"/>
              <a:gd name="connsiteY29964" fmla="*/ 1551626 h 4687251"/>
              <a:gd name="connsiteX29965" fmla="*/ 2678733 w 8079933"/>
              <a:gd name="connsiteY29965" fmla="*/ 1551951 h 4687251"/>
              <a:gd name="connsiteX29966" fmla="*/ 2666362 w 8079933"/>
              <a:gd name="connsiteY29966" fmla="*/ 1554224 h 4687251"/>
              <a:gd name="connsiteX29967" fmla="*/ 2665711 w 8079933"/>
              <a:gd name="connsiteY29967" fmla="*/ 1557473 h 4687251"/>
              <a:gd name="connsiteX29968" fmla="*/ 2674826 w 8079933"/>
              <a:gd name="connsiteY29968" fmla="*/ 1555415 h 4687251"/>
              <a:gd name="connsiteX29969" fmla="*/ 2683942 w 8079933"/>
              <a:gd name="connsiteY29969" fmla="*/ 1552708 h 4687251"/>
              <a:gd name="connsiteX29970" fmla="*/ 2687088 w 8079933"/>
              <a:gd name="connsiteY29970" fmla="*/ 1553466 h 4687251"/>
              <a:gd name="connsiteX29971" fmla="*/ 2687740 w 8079933"/>
              <a:gd name="connsiteY29971" fmla="*/ 1555523 h 4687251"/>
              <a:gd name="connsiteX29972" fmla="*/ 2678624 w 8079933"/>
              <a:gd name="connsiteY29972" fmla="*/ 1556931 h 4687251"/>
              <a:gd name="connsiteX29973" fmla="*/ 2669835 w 8079933"/>
              <a:gd name="connsiteY29973" fmla="*/ 1558663 h 4687251"/>
              <a:gd name="connsiteX29974" fmla="*/ 2661913 w 8079933"/>
              <a:gd name="connsiteY29974" fmla="*/ 1562778 h 4687251"/>
              <a:gd name="connsiteX29975" fmla="*/ 2658766 w 8079933"/>
              <a:gd name="connsiteY29975" fmla="*/ 1565701 h 4687251"/>
              <a:gd name="connsiteX29976" fmla="*/ 2653231 w 8079933"/>
              <a:gd name="connsiteY29976" fmla="*/ 1565918 h 4687251"/>
              <a:gd name="connsiteX29977" fmla="*/ 2652580 w 8079933"/>
              <a:gd name="connsiteY29977" fmla="*/ 1570140 h 4687251"/>
              <a:gd name="connsiteX29978" fmla="*/ 2650736 w 8079933"/>
              <a:gd name="connsiteY29978" fmla="*/ 1572630 h 4687251"/>
              <a:gd name="connsiteX29979" fmla="*/ 2642271 w 8079933"/>
              <a:gd name="connsiteY29979" fmla="*/ 1566892 h 4687251"/>
              <a:gd name="connsiteX29980" fmla="*/ 2637279 w 8079933"/>
              <a:gd name="connsiteY29980" fmla="*/ 1558339 h 4687251"/>
              <a:gd name="connsiteX29981" fmla="*/ 2637605 w 8079933"/>
              <a:gd name="connsiteY29981" fmla="*/ 1562345 h 4687251"/>
              <a:gd name="connsiteX29982" fmla="*/ 2636303 w 8079933"/>
              <a:gd name="connsiteY29982" fmla="*/ 1564726 h 4687251"/>
              <a:gd name="connsiteX29983" fmla="*/ 2639775 w 8079933"/>
              <a:gd name="connsiteY29983" fmla="*/ 1566242 h 4687251"/>
              <a:gd name="connsiteX29984" fmla="*/ 2640644 w 8079933"/>
              <a:gd name="connsiteY29984" fmla="*/ 1568300 h 4687251"/>
              <a:gd name="connsiteX29985" fmla="*/ 2650193 w 8079933"/>
              <a:gd name="connsiteY29985" fmla="*/ 1576203 h 4687251"/>
              <a:gd name="connsiteX29986" fmla="*/ 2648782 w 8079933"/>
              <a:gd name="connsiteY29986" fmla="*/ 1579126 h 4687251"/>
              <a:gd name="connsiteX29987" fmla="*/ 2646070 w 8079933"/>
              <a:gd name="connsiteY29987" fmla="*/ 1578261 h 4687251"/>
              <a:gd name="connsiteX29988" fmla="*/ 2642922 w 8079933"/>
              <a:gd name="connsiteY29988" fmla="*/ 1580967 h 4687251"/>
              <a:gd name="connsiteX29989" fmla="*/ 2644875 w 8079933"/>
              <a:gd name="connsiteY29989" fmla="*/ 1584648 h 4687251"/>
              <a:gd name="connsiteX29990" fmla="*/ 2647263 w 8079933"/>
              <a:gd name="connsiteY29990" fmla="*/ 1585190 h 4687251"/>
              <a:gd name="connsiteX29991" fmla="*/ 2649000 w 8079933"/>
              <a:gd name="connsiteY29991" fmla="*/ 1583132 h 4687251"/>
              <a:gd name="connsiteX29992" fmla="*/ 2652038 w 8079933"/>
              <a:gd name="connsiteY29992" fmla="*/ 1583241 h 4687251"/>
              <a:gd name="connsiteX29993" fmla="*/ 2656053 w 8079933"/>
              <a:gd name="connsiteY29993" fmla="*/ 1575012 h 4687251"/>
              <a:gd name="connsiteX29994" fmla="*/ 2663107 w 8079933"/>
              <a:gd name="connsiteY29994" fmla="*/ 1575337 h 4687251"/>
              <a:gd name="connsiteX29995" fmla="*/ 2668098 w 8079933"/>
              <a:gd name="connsiteY29995" fmla="*/ 1571006 h 4687251"/>
              <a:gd name="connsiteX29996" fmla="*/ 2671679 w 8079933"/>
              <a:gd name="connsiteY29996" fmla="*/ 1570681 h 4687251"/>
              <a:gd name="connsiteX29997" fmla="*/ 2673633 w 8079933"/>
              <a:gd name="connsiteY29997" fmla="*/ 1566242 h 4687251"/>
              <a:gd name="connsiteX29998" fmla="*/ 2678299 w 8079933"/>
              <a:gd name="connsiteY29998" fmla="*/ 1561045 h 4687251"/>
              <a:gd name="connsiteX29999" fmla="*/ 2683725 w 8079933"/>
              <a:gd name="connsiteY29999" fmla="*/ 1560396 h 4687251"/>
              <a:gd name="connsiteX30000" fmla="*/ 2691321 w 8079933"/>
              <a:gd name="connsiteY30000" fmla="*/ 1557147 h 4687251"/>
              <a:gd name="connsiteX30001" fmla="*/ 2697506 w 8079933"/>
              <a:gd name="connsiteY30001" fmla="*/ 1557797 h 4687251"/>
              <a:gd name="connsiteX30002" fmla="*/ 2702498 w 8079933"/>
              <a:gd name="connsiteY30002" fmla="*/ 1557473 h 4687251"/>
              <a:gd name="connsiteX30003" fmla="*/ 2700436 w 8079933"/>
              <a:gd name="connsiteY30003" fmla="*/ 1556065 h 4687251"/>
              <a:gd name="connsiteX30004" fmla="*/ 2694902 w 8079933"/>
              <a:gd name="connsiteY30004" fmla="*/ 1556065 h 4687251"/>
              <a:gd name="connsiteX30005" fmla="*/ 2693383 w 8079933"/>
              <a:gd name="connsiteY30005" fmla="*/ 1554765 h 4687251"/>
              <a:gd name="connsiteX30006" fmla="*/ 2696856 w 8079933"/>
              <a:gd name="connsiteY30006" fmla="*/ 1553358 h 4687251"/>
              <a:gd name="connsiteX30007" fmla="*/ 2706838 w 8079933"/>
              <a:gd name="connsiteY30007" fmla="*/ 1552167 h 4687251"/>
              <a:gd name="connsiteX30008" fmla="*/ 2714977 w 8079933"/>
              <a:gd name="connsiteY30008" fmla="*/ 1554224 h 4687251"/>
              <a:gd name="connsiteX30009" fmla="*/ 2718342 w 8079933"/>
              <a:gd name="connsiteY30009" fmla="*/ 1561803 h 4687251"/>
              <a:gd name="connsiteX30010" fmla="*/ 2717691 w 8079933"/>
              <a:gd name="connsiteY30010" fmla="*/ 1566026 h 4687251"/>
              <a:gd name="connsiteX30011" fmla="*/ 2712373 w 8079933"/>
              <a:gd name="connsiteY30011" fmla="*/ 1570898 h 4687251"/>
              <a:gd name="connsiteX30012" fmla="*/ 2709768 w 8079933"/>
              <a:gd name="connsiteY30012" fmla="*/ 1571006 h 4687251"/>
              <a:gd name="connsiteX30013" fmla="*/ 2706296 w 8079933"/>
              <a:gd name="connsiteY30013" fmla="*/ 1574687 h 4687251"/>
              <a:gd name="connsiteX30014" fmla="*/ 2712373 w 8079933"/>
              <a:gd name="connsiteY30014" fmla="*/ 1575012 h 4687251"/>
              <a:gd name="connsiteX30015" fmla="*/ 2714109 w 8079933"/>
              <a:gd name="connsiteY30015" fmla="*/ 1578910 h 4687251"/>
              <a:gd name="connsiteX30016" fmla="*/ 2716497 w 8079933"/>
              <a:gd name="connsiteY30016" fmla="*/ 1576745 h 4687251"/>
              <a:gd name="connsiteX30017" fmla="*/ 2718016 w 8079933"/>
              <a:gd name="connsiteY30017" fmla="*/ 1572630 h 4687251"/>
              <a:gd name="connsiteX30018" fmla="*/ 2724961 w 8079933"/>
              <a:gd name="connsiteY30018" fmla="*/ 1568949 h 4687251"/>
              <a:gd name="connsiteX30019" fmla="*/ 2730170 w 8079933"/>
              <a:gd name="connsiteY30019" fmla="*/ 1569165 h 4687251"/>
              <a:gd name="connsiteX30020" fmla="*/ 2730929 w 8079933"/>
              <a:gd name="connsiteY30020" fmla="*/ 1571006 h 4687251"/>
              <a:gd name="connsiteX30021" fmla="*/ 2729193 w 8079933"/>
              <a:gd name="connsiteY30021" fmla="*/ 1571764 h 4687251"/>
              <a:gd name="connsiteX30022" fmla="*/ 2728542 w 8079933"/>
              <a:gd name="connsiteY30022" fmla="*/ 1574687 h 4687251"/>
              <a:gd name="connsiteX30023" fmla="*/ 2735161 w 8079933"/>
              <a:gd name="connsiteY30023" fmla="*/ 1575012 h 4687251"/>
              <a:gd name="connsiteX30024" fmla="*/ 2741130 w 8079933"/>
              <a:gd name="connsiteY30024" fmla="*/ 1577719 h 4687251"/>
              <a:gd name="connsiteX30025" fmla="*/ 2742215 w 8079933"/>
              <a:gd name="connsiteY30025" fmla="*/ 1580534 h 4687251"/>
              <a:gd name="connsiteX30026" fmla="*/ 2737874 w 8079933"/>
              <a:gd name="connsiteY30026" fmla="*/ 1578261 h 4687251"/>
              <a:gd name="connsiteX30027" fmla="*/ 2735596 w 8079933"/>
              <a:gd name="connsiteY30027" fmla="*/ 1578910 h 4687251"/>
              <a:gd name="connsiteX30028" fmla="*/ 2736789 w 8079933"/>
              <a:gd name="connsiteY30028" fmla="*/ 1583241 h 4687251"/>
              <a:gd name="connsiteX30029" fmla="*/ 2743408 w 8079933"/>
              <a:gd name="connsiteY30029" fmla="*/ 1586056 h 4687251"/>
              <a:gd name="connsiteX30030" fmla="*/ 2744603 w 8079933"/>
              <a:gd name="connsiteY30030" fmla="*/ 1589412 h 4687251"/>
              <a:gd name="connsiteX30031" fmla="*/ 2740804 w 8079933"/>
              <a:gd name="connsiteY30031" fmla="*/ 1592552 h 4687251"/>
              <a:gd name="connsiteX30032" fmla="*/ 2737006 w 8079933"/>
              <a:gd name="connsiteY30032" fmla="*/ 1591361 h 4687251"/>
              <a:gd name="connsiteX30033" fmla="*/ 2733208 w 8079933"/>
              <a:gd name="connsiteY30033" fmla="*/ 1594718 h 4687251"/>
              <a:gd name="connsiteX30034" fmla="*/ 2740262 w 8079933"/>
              <a:gd name="connsiteY30034" fmla="*/ 1596991 h 4687251"/>
              <a:gd name="connsiteX30035" fmla="*/ 2738417 w 8079933"/>
              <a:gd name="connsiteY30035" fmla="*/ 1601430 h 4687251"/>
              <a:gd name="connsiteX30036" fmla="*/ 2735270 w 8079933"/>
              <a:gd name="connsiteY30036" fmla="*/ 1602512 h 4687251"/>
              <a:gd name="connsiteX30037" fmla="*/ 2733859 w 8079933"/>
              <a:gd name="connsiteY30037" fmla="*/ 1606627 h 4687251"/>
              <a:gd name="connsiteX30038" fmla="*/ 2729953 w 8079933"/>
              <a:gd name="connsiteY30038" fmla="*/ 1608576 h 4687251"/>
              <a:gd name="connsiteX30039" fmla="*/ 2724310 w 8079933"/>
              <a:gd name="connsiteY30039" fmla="*/ 1604895 h 4687251"/>
              <a:gd name="connsiteX30040" fmla="*/ 2726697 w 8079933"/>
              <a:gd name="connsiteY30040" fmla="*/ 1608685 h 4687251"/>
              <a:gd name="connsiteX30041" fmla="*/ 2733317 w 8079933"/>
              <a:gd name="connsiteY30041" fmla="*/ 1611608 h 4687251"/>
              <a:gd name="connsiteX30042" fmla="*/ 2737224 w 8079933"/>
              <a:gd name="connsiteY30042" fmla="*/ 1611283 h 4687251"/>
              <a:gd name="connsiteX30043" fmla="*/ 2740587 w 8079933"/>
              <a:gd name="connsiteY30043" fmla="*/ 1615072 h 4687251"/>
              <a:gd name="connsiteX30044" fmla="*/ 2737115 w 8079933"/>
              <a:gd name="connsiteY30044" fmla="*/ 1616263 h 4687251"/>
              <a:gd name="connsiteX30045" fmla="*/ 2732883 w 8079933"/>
              <a:gd name="connsiteY30045" fmla="*/ 1615505 h 4687251"/>
              <a:gd name="connsiteX30046" fmla="*/ 2730495 w 8079933"/>
              <a:gd name="connsiteY30046" fmla="*/ 1615722 h 4687251"/>
              <a:gd name="connsiteX30047" fmla="*/ 2733859 w 8079933"/>
              <a:gd name="connsiteY30047" fmla="*/ 1618320 h 4687251"/>
              <a:gd name="connsiteX30048" fmla="*/ 2737657 w 8079933"/>
              <a:gd name="connsiteY30048" fmla="*/ 1617238 h 4687251"/>
              <a:gd name="connsiteX30049" fmla="*/ 2740587 w 8079933"/>
              <a:gd name="connsiteY30049" fmla="*/ 1618862 h 4687251"/>
              <a:gd name="connsiteX30050" fmla="*/ 2738200 w 8079933"/>
              <a:gd name="connsiteY30050" fmla="*/ 1623301 h 4687251"/>
              <a:gd name="connsiteX30051" fmla="*/ 2737549 w 8079933"/>
              <a:gd name="connsiteY30051" fmla="*/ 1627632 h 4687251"/>
              <a:gd name="connsiteX30052" fmla="*/ 2734076 w 8079933"/>
              <a:gd name="connsiteY30052" fmla="*/ 1627740 h 4687251"/>
              <a:gd name="connsiteX30053" fmla="*/ 2732340 w 8079933"/>
              <a:gd name="connsiteY30053" fmla="*/ 1631529 h 4687251"/>
              <a:gd name="connsiteX30054" fmla="*/ 2725829 w 8079933"/>
              <a:gd name="connsiteY30054" fmla="*/ 1636401 h 4687251"/>
              <a:gd name="connsiteX30055" fmla="*/ 2720404 w 8079933"/>
              <a:gd name="connsiteY30055" fmla="*/ 1636726 h 4687251"/>
              <a:gd name="connsiteX30056" fmla="*/ 2715846 w 8079933"/>
              <a:gd name="connsiteY30056" fmla="*/ 1640624 h 4687251"/>
              <a:gd name="connsiteX30057" fmla="*/ 2713784 w 8079933"/>
              <a:gd name="connsiteY30057" fmla="*/ 1640624 h 4687251"/>
              <a:gd name="connsiteX30058" fmla="*/ 2710094 w 8079933"/>
              <a:gd name="connsiteY30058" fmla="*/ 1644413 h 4687251"/>
              <a:gd name="connsiteX30059" fmla="*/ 2707381 w 8079933"/>
              <a:gd name="connsiteY30059" fmla="*/ 1644630 h 4687251"/>
              <a:gd name="connsiteX30060" fmla="*/ 2706296 w 8079933"/>
              <a:gd name="connsiteY30060" fmla="*/ 1647229 h 4687251"/>
              <a:gd name="connsiteX30061" fmla="*/ 2702172 w 8079933"/>
              <a:gd name="connsiteY30061" fmla="*/ 1647878 h 4687251"/>
              <a:gd name="connsiteX30062" fmla="*/ 2699677 w 8079933"/>
              <a:gd name="connsiteY30062" fmla="*/ 1645280 h 4687251"/>
              <a:gd name="connsiteX30063" fmla="*/ 2696204 w 8079933"/>
              <a:gd name="connsiteY30063" fmla="*/ 1647337 h 4687251"/>
              <a:gd name="connsiteX30064" fmla="*/ 2692406 w 8079933"/>
              <a:gd name="connsiteY30064" fmla="*/ 1646795 h 4687251"/>
              <a:gd name="connsiteX30065" fmla="*/ 2691213 w 8079933"/>
              <a:gd name="connsiteY30065" fmla="*/ 1645171 h 4687251"/>
              <a:gd name="connsiteX30066" fmla="*/ 2686329 w 8079933"/>
              <a:gd name="connsiteY30066" fmla="*/ 1648528 h 4687251"/>
              <a:gd name="connsiteX30067" fmla="*/ 2681012 w 8079933"/>
              <a:gd name="connsiteY30067" fmla="*/ 1647878 h 4687251"/>
              <a:gd name="connsiteX30068" fmla="*/ 2678733 w 8079933"/>
              <a:gd name="connsiteY30068" fmla="*/ 1644413 h 4687251"/>
              <a:gd name="connsiteX30069" fmla="*/ 2677214 w 8079933"/>
              <a:gd name="connsiteY30069" fmla="*/ 1645821 h 4687251"/>
              <a:gd name="connsiteX30070" fmla="*/ 2677756 w 8079933"/>
              <a:gd name="connsiteY30070" fmla="*/ 1648744 h 4687251"/>
              <a:gd name="connsiteX30071" fmla="*/ 2673198 w 8079933"/>
              <a:gd name="connsiteY30071" fmla="*/ 1649827 h 4687251"/>
              <a:gd name="connsiteX30072" fmla="*/ 2668424 w 8079933"/>
              <a:gd name="connsiteY30072" fmla="*/ 1649394 h 4687251"/>
              <a:gd name="connsiteX30073" fmla="*/ 2666905 w 8079933"/>
              <a:gd name="connsiteY30073" fmla="*/ 1651343 h 4687251"/>
              <a:gd name="connsiteX30074" fmla="*/ 2668749 w 8079933"/>
              <a:gd name="connsiteY30074" fmla="*/ 1651993 h 4687251"/>
              <a:gd name="connsiteX30075" fmla="*/ 2668098 w 8079933"/>
              <a:gd name="connsiteY30075" fmla="*/ 1654807 h 4687251"/>
              <a:gd name="connsiteX30076" fmla="*/ 2664517 w 8079933"/>
              <a:gd name="connsiteY30076" fmla="*/ 1658164 h 4687251"/>
              <a:gd name="connsiteX30077" fmla="*/ 2661695 w 8079933"/>
              <a:gd name="connsiteY30077" fmla="*/ 1657731 h 4687251"/>
              <a:gd name="connsiteX30078" fmla="*/ 2661587 w 8079933"/>
              <a:gd name="connsiteY30078" fmla="*/ 1661845 h 4687251"/>
              <a:gd name="connsiteX30079" fmla="*/ 2658332 w 8079933"/>
              <a:gd name="connsiteY30079" fmla="*/ 1668450 h 4687251"/>
              <a:gd name="connsiteX30080" fmla="*/ 2654534 w 8079933"/>
              <a:gd name="connsiteY30080" fmla="*/ 1667800 h 4687251"/>
              <a:gd name="connsiteX30081" fmla="*/ 2653123 w 8079933"/>
              <a:gd name="connsiteY30081" fmla="*/ 1669857 h 4687251"/>
              <a:gd name="connsiteX30082" fmla="*/ 2649000 w 8079933"/>
              <a:gd name="connsiteY30082" fmla="*/ 1672131 h 4687251"/>
              <a:gd name="connsiteX30083" fmla="*/ 2645852 w 8079933"/>
              <a:gd name="connsiteY30083" fmla="*/ 1676786 h 4687251"/>
              <a:gd name="connsiteX30084" fmla="*/ 2644007 w 8079933"/>
              <a:gd name="connsiteY30084" fmla="*/ 1676137 h 4687251"/>
              <a:gd name="connsiteX30085" fmla="*/ 2641186 w 8079933"/>
              <a:gd name="connsiteY30085" fmla="*/ 1677761 h 4687251"/>
              <a:gd name="connsiteX30086" fmla="*/ 2636194 w 8079933"/>
              <a:gd name="connsiteY30086" fmla="*/ 1677652 h 4687251"/>
              <a:gd name="connsiteX30087" fmla="*/ 2635218 w 8079933"/>
              <a:gd name="connsiteY30087" fmla="*/ 1680684 h 4687251"/>
              <a:gd name="connsiteX30088" fmla="*/ 2630877 w 8079933"/>
              <a:gd name="connsiteY30088" fmla="*/ 1682633 h 4687251"/>
              <a:gd name="connsiteX30089" fmla="*/ 2627730 w 8079933"/>
              <a:gd name="connsiteY30089" fmla="*/ 1680684 h 4687251"/>
              <a:gd name="connsiteX30090" fmla="*/ 2620242 w 8079933"/>
              <a:gd name="connsiteY30090" fmla="*/ 1680576 h 4687251"/>
              <a:gd name="connsiteX30091" fmla="*/ 2618289 w 8079933"/>
              <a:gd name="connsiteY30091" fmla="*/ 1678952 h 4687251"/>
              <a:gd name="connsiteX30092" fmla="*/ 2612971 w 8079933"/>
              <a:gd name="connsiteY30092" fmla="*/ 1680684 h 4687251"/>
              <a:gd name="connsiteX30093" fmla="*/ 2610367 w 8079933"/>
              <a:gd name="connsiteY30093" fmla="*/ 1680576 h 4687251"/>
              <a:gd name="connsiteX30094" fmla="*/ 2599516 w 8079933"/>
              <a:gd name="connsiteY30094" fmla="*/ 1684366 h 4687251"/>
              <a:gd name="connsiteX30095" fmla="*/ 2595066 w 8079933"/>
              <a:gd name="connsiteY30095" fmla="*/ 1683174 h 4687251"/>
              <a:gd name="connsiteX30096" fmla="*/ 2596043 w 8079933"/>
              <a:gd name="connsiteY30096" fmla="*/ 1680576 h 4687251"/>
              <a:gd name="connsiteX30097" fmla="*/ 2592679 w 8079933"/>
              <a:gd name="connsiteY30097" fmla="*/ 1679710 h 4687251"/>
              <a:gd name="connsiteX30098" fmla="*/ 2588338 w 8079933"/>
              <a:gd name="connsiteY30098" fmla="*/ 1681442 h 4687251"/>
              <a:gd name="connsiteX30099" fmla="*/ 2584757 w 8079933"/>
              <a:gd name="connsiteY30099" fmla="*/ 1681550 h 4687251"/>
              <a:gd name="connsiteX30100" fmla="*/ 2577813 w 8079933"/>
              <a:gd name="connsiteY30100" fmla="*/ 1678519 h 4687251"/>
              <a:gd name="connsiteX30101" fmla="*/ 2575533 w 8079933"/>
              <a:gd name="connsiteY30101" fmla="*/ 1679168 h 4687251"/>
              <a:gd name="connsiteX30102" fmla="*/ 2570108 w 8079933"/>
              <a:gd name="connsiteY30102" fmla="*/ 1678519 h 4687251"/>
              <a:gd name="connsiteX30103" fmla="*/ 2566092 w 8079933"/>
              <a:gd name="connsiteY30103" fmla="*/ 1675595 h 4687251"/>
              <a:gd name="connsiteX30104" fmla="*/ 2563705 w 8079933"/>
              <a:gd name="connsiteY30104" fmla="*/ 1675595 h 4687251"/>
              <a:gd name="connsiteX30105" fmla="*/ 2560449 w 8079933"/>
              <a:gd name="connsiteY30105" fmla="*/ 1678194 h 4687251"/>
              <a:gd name="connsiteX30106" fmla="*/ 2553288 w 8079933"/>
              <a:gd name="connsiteY30106" fmla="*/ 1677436 h 4687251"/>
              <a:gd name="connsiteX30107" fmla="*/ 2547645 w 8079933"/>
              <a:gd name="connsiteY30107" fmla="*/ 1673863 h 4687251"/>
              <a:gd name="connsiteX30108" fmla="*/ 2543847 w 8079933"/>
              <a:gd name="connsiteY30108" fmla="*/ 1676245 h 4687251"/>
              <a:gd name="connsiteX30109" fmla="*/ 2539614 w 8079933"/>
              <a:gd name="connsiteY30109" fmla="*/ 1676462 h 4687251"/>
              <a:gd name="connsiteX30110" fmla="*/ 2535925 w 8079933"/>
              <a:gd name="connsiteY30110" fmla="*/ 1673539 h 4687251"/>
              <a:gd name="connsiteX30111" fmla="*/ 2530608 w 8079933"/>
              <a:gd name="connsiteY30111" fmla="*/ 1676462 h 4687251"/>
              <a:gd name="connsiteX30112" fmla="*/ 2527895 w 8079933"/>
              <a:gd name="connsiteY30112" fmla="*/ 1675595 h 4687251"/>
              <a:gd name="connsiteX30113" fmla="*/ 2524747 w 8079933"/>
              <a:gd name="connsiteY30113" fmla="*/ 1675704 h 4687251"/>
              <a:gd name="connsiteX30114" fmla="*/ 2517477 w 8079933"/>
              <a:gd name="connsiteY30114" fmla="*/ 1672780 h 4687251"/>
              <a:gd name="connsiteX30115" fmla="*/ 2507710 w 8079933"/>
              <a:gd name="connsiteY30115" fmla="*/ 1674405 h 4687251"/>
              <a:gd name="connsiteX30116" fmla="*/ 2501851 w 8079933"/>
              <a:gd name="connsiteY30116" fmla="*/ 1672672 h 4687251"/>
              <a:gd name="connsiteX30117" fmla="*/ 2497510 w 8079933"/>
              <a:gd name="connsiteY30117" fmla="*/ 1668341 h 4687251"/>
              <a:gd name="connsiteX30118" fmla="*/ 2493712 w 8079933"/>
              <a:gd name="connsiteY30118" fmla="*/ 1670182 h 4687251"/>
              <a:gd name="connsiteX30119" fmla="*/ 2491325 w 8079933"/>
              <a:gd name="connsiteY30119" fmla="*/ 1672997 h 4687251"/>
              <a:gd name="connsiteX30120" fmla="*/ 2493603 w 8079933"/>
              <a:gd name="connsiteY30120" fmla="*/ 1675162 h 4687251"/>
              <a:gd name="connsiteX30121" fmla="*/ 2491542 w 8079933"/>
              <a:gd name="connsiteY30121" fmla="*/ 1677328 h 4687251"/>
              <a:gd name="connsiteX30122" fmla="*/ 2487201 w 8079933"/>
              <a:gd name="connsiteY30122" fmla="*/ 1678194 h 4687251"/>
              <a:gd name="connsiteX30123" fmla="*/ 2478628 w 8079933"/>
              <a:gd name="connsiteY30123" fmla="*/ 1685990 h 4687251"/>
              <a:gd name="connsiteX30124" fmla="*/ 2473093 w 8079933"/>
              <a:gd name="connsiteY30124" fmla="*/ 1688588 h 4687251"/>
              <a:gd name="connsiteX30125" fmla="*/ 2472768 w 8079933"/>
              <a:gd name="connsiteY30125" fmla="*/ 1692269 h 4687251"/>
              <a:gd name="connsiteX30126" fmla="*/ 2470706 w 8079933"/>
              <a:gd name="connsiteY30126" fmla="*/ 1694759 h 4687251"/>
              <a:gd name="connsiteX30127" fmla="*/ 2469947 w 8079933"/>
              <a:gd name="connsiteY30127" fmla="*/ 1700606 h 4687251"/>
              <a:gd name="connsiteX30128" fmla="*/ 2467017 w 8079933"/>
              <a:gd name="connsiteY30128" fmla="*/ 1704612 h 4687251"/>
              <a:gd name="connsiteX30129" fmla="*/ 2459854 w 8079933"/>
              <a:gd name="connsiteY30129" fmla="*/ 1704612 h 4687251"/>
              <a:gd name="connsiteX30130" fmla="*/ 2455948 w 8079933"/>
              <a:gd name="connsiteY30130" fmla="*/ 1706453 h 4687251"/>
              <a:gd name="connsiteX30131" fmla="*/ 2447700 w 8079933"/>
              <a:gd name="connsiteY30131" fmla="*/ 1706994 h 4687251"/>
              <a:gd name="connsiteX30132" fmla="*/ 2443903 w 8079933"/>
              <a:gd name="connsiteY30132" fmla="*/ 1712408 h 4687251"/>
              <a:gd name="connsiteX30133" fmla="*/ 2441190 w 8079933"/>
              <a:gd name="connsiteY30133" fmla="*/ 1713057 h 4687251"/>
              <a:gd name="connsiteX30134" fmla="*/ 2439236 w 8079933"/>
              <a:gd name="connsiteY30134" fmla="*/ 1711108 h 4687251"/>
              <a:gd name="connsiteX30135" fmla="*/ 2435330 w 8079933"/>
              <a:gd name="connsiteY30135" fmla="*/ 1713490 h 4687251"/>
              <a:gd name="connsiteX30136" fmla="*/ 2433485 w 8079933"/>
              <a:gd name="connsiteY30136" fmla="*/ 1718363 h 4687251"/>
              <a:gd name="connsiteX30137" fmla="*/ 2428819 w 8079933"/>
              <a:gd name="connsiteY30137" fmla="*/ 1719445 h 4687251"/>
              <a:gd name="connsiteX30138" fmla="*/ 2423827 w 8079933"/>
              <a:gd name="connsiteY30138" fmla="*/ 1723126 h 4687251"/>
              <a:gd name="connsiteX30139" fmla="*/ 2422634 w 8079933"/>
              <a:gd name="connsiteY30139" fmla="*/ 1725616 h 4687251"/>
              <a:gd name="connsiteX30140" fmla="*/ 2420029 w 8079933"/>
              <a:gd name="connsiteY30140" fmla="*/ 1726483 h 4687251"/>
              <a:gd name="connsiteX30141" fmla="*/ 2414278 w 8079933"/>
              <a:gd name="connsiteY30141" fmla="*/ 1735036 h 4687251"/>
              <a:gd name="connsiteX30142" fmla="*/ 2404837 w 8079933"/>
              <a:gd name="connsiteY30142" fmla="*/ 1739800 h 4687251"/>
              <a:gd name="connsiteX30143" fmla="*/ 2402449 w 8079933"/>
              <a:gd name="connsiteY30143" fmla="*/ 1748137 h 4687251"/>
              <a:gd name="connsiteX30144" fmla="*/ 2396047 w 8079933"/>
              <a:gd name="connsiteY30144" fmla="*/ 1751385 h 4687251"/>
              <a:gd name="connsiteX30145" fmla="*/ 2390730 w 8079933"/>
              <a:gd name="connsiteY30145" fmla="*/ 1756907 h 4687251"/>
              <a:gd name="connsiteX30146" fmla="*/ 2385846 w 8079933"/>
              <a:gd name="connsiteY30146" fmla="*/ 1758098 h 4687251"/>
              <a:gd name="connsiteX30147" fmla="*/ 2384219 w 8079933"/>
              <a:gd name="connsiteY30147" fmla="*/ 1764053 h 4687251"/>
              <a:gd name="connsiteX30148" fmla="*/ 2380854 w 8079933"/>
              <a:gd name="connsiteY30148" fmla="*/ 1769033 h 4687251"/>
              <a:gd name="connsiteX30149" fmla="*/ 2369894 w 8079933"/>
              <a:gd name="connsiteY30149" fmla="*/ 1775638 h 4687251"/>
              <a:gd name="connsiteX30150" fmla="*/ 2369135 w 8079933"/>
              <a:gd name="connsiteY30150" fmla="*/ 1779318 h 4687251"/>
              <a:gd name="connsiteX30151" fmla="*/ 2356547 w 8079933"/>
              <a:gd name="connsiteY30151" fmla="*/ 1784732 h 4687251"/>
              <a:gd name="connsiteX30152" fmla="*/ 2349385 w 8079933"/>
              <a:gd name="connsiteY30152" fmla="*/ 1786465 h 4687251"/>
              <a:gd name="connsiteX30153" fmla="*/ 2355136 w 8079933"/>
              <a:gd name="connsiteY30153" fmla="*/ 1786681 h 4687251"/>
              <a:gd name="connsiteX30154" fmla="*/ 2367399 w 8079933"/>
              <a:gd name="connsiteY30154" fmla="*/ 1781267 h 4687251"/>
              <a:gd name="connsiteX30155" fmla="*/ 2378141 w 8079933"/>
              <a:gd name="connsiteY30155" fmla="*/ 1776071 h 4687251"/>
              <a:gd name="connsiteX30156" fmla="*/ 2386280 w 8079933"/>
              <a:gd name="connsiteY30156" fmla="*/ 1771090 h 4687251"/>
              <a:gd name="connsiteX30157" fmla="*/ 2392575 w 8079933"/>
              <a:gd name="connsiteY30157" fmla="*/ 1763078 h 4687251"/>
              <a:gd name="connsiteX30158" fmla="*/ 2397891 w 8079933"/>
              <a:gd name="connsiteY30158" fmla="*/ 1757340 h 4687251"/>
              <a:gd name="connsiteX30159" fmla="*/ 2401907 w 8079933"/>
              <a:gd name="connsiteY30159" fmla="*/ 1755499 h 4687251"/>
              <a:gd name="connsiteX30160" fmla="*/ 2413843 w 8079933"/>
              <a:gd name="connsiteY30160" fmla="*/ 1744455 h 4687251"/>
              <a:gd name="connsiteX30161" fmla="*/ 2430013 w 8079933"/>
              <a:gd name="connsiteY30161" fmla="*/ 1733304 h 4687251"/>
              <a:gd name="connsiteX30162" fmla="*/ 2440648 w 8079933"/>
              <a:gd name="connsiteY30162" fmla="*/ 1726483 h 4687251"/>
              <a:gd name="connsiteX30163" fmla="*/ 2447592 w 8079933"/>
              <a:gd name="connsiteY30163" fmla="*/ 1725616 h 4687251"/>
              <a:gd name="connsiteX30164" fmla="*/ 2453778 w 8079933"/>
              <a:gd name="connsiteY30164" fmla="*/ 1721935 h 4687251"/>
              <a:gd name="connsiteX30165" fmla="*/ 2466040 w 8079933"/>
              <a:gd name="connsiteY30165" fmla="*/ 1719878 h 4687251"/>
              <a:gd name="connsiteX30166" fmla="*/ 2481016 w 8079933"/>
              <a:gd name="connsiteY30166" fmla="*/ 1714790 h 4687251"/>
              <a:gd name="connsiteX30167" fmla="*/ 2486007 w 8079933"/>
              <a:gd name="connsiteY30167" fmla="*/ 1714465 h 4687251"/>
              <a:gd name="connsiteX30168" fmla="*/ 2490673 w 8079933"/>
              <a:gd name="connsiteY30168" fmla="*/ 1711866 h 4687251"/>
              <a:gd name="connsiteX30169" fmla="*/ 2506842 w 8079933"/>
              <a:gd name="connsiteY30169" fmla="*/ 1712191 h 4687251"/>
              <a:gd name="connsiteX30170" fmla="*/ 2515415 w 8079933"/>
              <a:gd name="connsiteY30170" fmla="*/ 1715439 h 4687251"/>
              <a:gd name="connsiteX30171" fmla="*/ 2524965 w 8079933"/>
              <a:gd name="connsiteY30171" fmla="*/ 1721177 h 4687251"/>
              <a:gd name="connsiteX30172" fmla="*/ 2524965 w 8079933"/>
              <a:gd name="connsiteY30172" fmla="*/ 1723343 h 4687251"/>
              <a:gd name="connsiteX30173" fmla="*/ 2517694 w 8079933"/>
              <a:gd name="connsiteY30173" fmla="*/ 1721935 h 4687251"/>
              <a:gd name="connsiteX30174" fmla="*/ 2518237 w 8079933"/>
              <a:gd name="connsiteY30174" fmla="*/ 1723018 h 4687251"/>
              <a:gd name="connsiteX30175" fmla="*/ 2517477 w 8079933"/>
              <a:gd name="connsiteY30175" fmla="*/ 1724534 h 4687251"/>
              <a:gd name="connsiteX30176" fmla="*/ 2521275 w 8079933"/>
              <a:gd name="connsiteY30176" fmla="*/ 1724209 h 4687251"/>
              <a:gd name="connsiteX30177" fmla="*/ 2526484 w 8079933"/>
              <a:gd name="connsiteY30177" fmla="*/ 1726266 h 4687251"/>
              <a:gd name="connsiteX30178" fmla="*/ 2528329 w 8079933"/>
              <a:gd name="connsiteY30178" fmla="*/ 1729190 h 4687251"/>
              <a:gd name="connsiteX30179" fmla="*/ 2525399 w 8079933"/>
              <a:gd name="connsiteY30179" fmla="*/ 1730381 h 4687251"/>
              <a:gd name="connsiteX30180" fmla="*/ 2527678 w 8079933"/>
              <a:gd name="connsiteY30180" fmla="*/ 1732113 h 4687251"/>
              <a:gd name="connsiteX30181" fmla="*/ 2524097 w 8079933"/>
              <a:gd name="connsiteY30181" fmla="*/ 1740341 h 4687251"/>
              <a:gd name="connsiteX30182" fmla="*/ 2518888 w 8079933"/>
              <a:gd name="connsiteY30182" fmla="*/ 1741532 h 4687251"/>
              <a:gd name="connsiteX30183" fmla="*/ 2514113 w 8079933"/>
              <a:gd name="connsiteY30183" fmla="*/ 1745538 h 4687251"/>
              <a:gd name="connsiteX30184" fmla="*/ 2510315 w 8079933"/>
              <a:gd name="connsiteY30184" fmla="*/ 1745863 h 4687251"/>
              <a:gd name="connsiteX30185" fmla="*/ 2503912 w 8079933"/>
              <a:gd name="connsiteY30185" fmla="*/ 1750735 h 4687251"/>
              <a:gd name="connsiteX30186" fmla="*/ 2498704 w 8079933"/>
              <a:gd name="connsiteY30186" fmla="*/ 1750518 h 4687251"/>
              <a:gd name="connsiteX30187" fmla="*/ 2494797 w 8079933"/>
              <a:gd name="connsiteY30187" fmla="*/ 1747271 h 4687251"/>
              <a:gd name="connsiteX30188" fmla="*/ 2489588 w 8079933"/>
              <a:gd name="connsiteY30188" fmla="*/ 1745322 h 4687251"/>
              <a:gd name="connsiteX30189" fmla="*/ 2486116 w 8079933"/>
              <a:gd name="connsiteY30189" fmla="*/ 1747595 h 4687251"/>
              <a:gd name="connsiteX30190" fmla="*/ 2481016 w 8079933"/>
              <a:gd name="connsiteY30190" fmla="*/ 1748570 h 4687251"/>
              <a:gd name="connsiteX30191" fmla="*/ 2475806 w 8079933"/>
              <a:gd name="connsiteY30191" fmla="*/ 1747595 h 4687251"/>
              <a:gd name="connsiteX30192" fmla="*/ 2469404 w 8079933"/>
              <a:gd name="connsiteY30192" fmla="*/ 1750518 h 4687251"/>
              <a:gd name="connsiteX30193" fmla="*/ 2476132 w 8079933"/>
              <a:gd name="connsiteY30193" fmla="*/ 1749653 h 4687251"/>
              <a:gd name="connsiteX30194" fmla="*/ 2482643 w 8079933"/>
              <a:gd name="connsiteY30194" fmla="*/ 1750302 h 4687251"/>
              <a:gd name="connsiteX30195" fmla="*/ 2491976 w 8079933"/>
              <a:gd name="connsiteY30195" fmla="*/ 1752900 h 4687251"/>
              <a:gd name="connsiteX30196" fmla="*/ 2493386 w 8079933"/>
              <a:gd name="connsiteY30196" fmla="*/ 1757340 h 4687251"/>
              <a:gd name="connsiteX30197" fmla="*/ 2495123 w 8079933"/>
              <a:gd name="connsiteY30197" fmla="*/ 1760479 h 4687251"/>
              <a:gd name="connsiteX30198" fmla="*/ 2500440 w 8079933"/>
              <a:gd name="connsiteY30198" fmla="*/ 1758098 h 4687251"/>
              <a:gd name="connsiteX30199" fmla="*/ 2505106 w 8079933"/>
              <a:gd name="connsiteY30199" fmla="*/ 1754849 h 4687251"/>
              <a:gd name="connsiteX30200" fmla="*/ 2509772 w 8079933"/>
              <a:gd name="connsiteY30200" fmla="*/ 1754849 h 4687251"/>
              <a:gd name="connsiteX30201" fmla="*/ 2511183 w 8079933"/>
              <a:gd name="connsiteY30201" fmla="*/ 1756907 h 4687251"/>
              <a:gd name="connsiteX30202" fmla="*/ 2514547 w 8079933"/>
              <a:gd name="connsiteY30202" fmla="*/ 1756582 h 4687251"/>
              <a:gd name="connsiteX30203" fmla="*/ 2515633 w 8079933"/>
              <a:gd name="connsiteY30203" fmla="*/ 1759614 h 4687251"/>
              <a:gd name="connsiteX30204" fmla="*/ 2511183 w 8079933"/>
              <a:gd name="connsiteY30204" fmla="*/ 1763403 h 4687251"/>
              <a:gd name="connsiteX30205" fmla="*/ 2505106 w 8079933"/>
              <a:gd name="connsiteY30205" fmla="*/ 1775421 h 4687251"/>
              <a:gd name="connsiteX30206" fmla="*/ 2502176 w 8079933"/>
              <a:gd name="connsiteY30206" fmla="*/ 1775962 h 4687251"/>
              <a:gd name="connsiteX30207" fmla="*/ 2499029 w 8079933"/>
              <a:gd name="connsiteY30207" fmla="*/ 1778994 h 4687251"/>
              <a:gd name="connsiteX30208" fmla="*/ 2508036 w 8079933"/>
              <a:gd name="connsiteY30208" fmla="*/ 1779210 h 4687251"/>
              <a:gd name="connsiteX30209" fmla="*/ 2508036 w 8079933"/>
              <a:gd name="connsiteY30209" fmla="*/ 1781484 h 4687251"/>
              <a:gd name="connsiteX30210" fmla="*/ 2505323 w 8079933"/>
              <a:gd name="connsiteY30210" fmla="*/ 1785382 h 4687251"/>
              <a:gd name="connsiteX30211" fmla="*/ 2508579 w 8079933"/>
              <a:gd name="connsiteY30211" fmla="*/ 1789063 h 4687251"/>
              <a:gd name="connsiteX30212" fmla="*/ 2507819 w 8079933"/>
              <a:gd name="connsiteY30212" fmla="*/ 1793285 h 4687251"/>
              <a:gd name="connsiteX30213" fmla="*/ 2508362 w 8079933"/>
              <a:gd name="connsiteY30213" fmla="*/ 1799890 h 4687251"/>
              <a:gd name="connsiteX30214" fmla="*/ 2510640 w 8079933"/>
              <a:gd name="connsiteY30214" fmla="*/ 1801514 h 4687251"/>
              <a:gd name="connsiteX30215" fmla="*/ 2513245 w 8079933"/>
              <a:gd name="connsiteY30215" fmla="*/ 1807577 h 4687251"/>
              <a:gd name="connsiteX30216" fmla="*/ 2518019 w 8079933"/>
              <a:gd name="connsiteY30216" fmla="*/ 1807577 h 4687251"/>
              <a:gd name="connsiteX30217" fmla="*/ 2520081 w 8079933"/>
              <a:gd name="connsiteY30217" fmla="*/ 1809526 h 4687251"/>
              <a:gd name="connsiteX30218" fmla="*/ 2527027 w 8079933"/>
              <a:gd name="connsiteY30218" fmla="*/ 1809851 h 4687251"/>
              <a:gd name="connsiteX30219" fmla="*/ 2525724 w 8079933"/>
              <a:gd name="connsiteY30219" fmla="*/ 1813207 h 4687251"/>
              <a:gd name="connsiteX30220" fmla="*/ 2520407 w 8079933"/>
              <a:gd name="connsiteY30220" fmla="*/ 1814940 h 4687251"/>
              <a:gd name="connsiteX30221" fmla="*/ 2527027 w 8079933"/>
              <a:gd name="connsiteY30221" fmla="*/ 1819487 h 4687251"/>
              <a:gd name="connsiteX30222" fmla="*/ 2534406 w 8079933"/>
              <a:gd name="connsiteY30222" fmla="*/ 1819487 h 4687251"/>
              <a:gd name="connsiteX30223" fmla="*/ 2538855 w 8079933"/>
              <a:gd name="connsiteY30223" fmla="*/ 1821544 h 4687251"/>
              <a:gd name="connsiteX30224" fmla="*/ 2540917 w 8079933"/>
              <a:gd name="connsiteY30224" fmla="*/ 1820137 h 4687251"/>
              <a:gd name="connsiteX30225" fmla="*/ 2547428 w 8079933"/>
              <a:gd name="connsiteY30225" fmla="*/ 1822519 h 4687251"/>
              <a:gd name="connsiteX30226" fmla="*/ 2548730 w 8079933"/>
              <a:gd name="connsiteY30226" fmla="*/ 1825117 h 4687251"/>
              <a:gd name="connsiteX30227" fmla="*/ 2556760 w 8079933"/>
              <a:gd name="connsiteY30227" fmla="*/ 1826525 h 4687251"/>
              <a:gd name="connsiteX30228" fmla="*/ 2558279 w 8079933"/>
              <a:gd name="connsiteY30228" fmla="*/ 1824251 h 4687251"/>
              <a:gd name="connsiteX30229" fmla="*/ 2565224 w 8079933"/>
              <a:gd name="connsiteY30229" fmla="*/ 1819487 h 4687251"/>
              <a:gd name="connsiteX30230" fmla="*/ 2565875 w 8079933"/>
              <a:gd name="connsiteY30230" fmla="*/ 1823385 h 4687251"/>
              <a:gd name="connsiteX30231" fmla="*/ 2564682 w 8079933"/>
              <a:gd name="connsiteY30231" fmla="*/ 1825334 h 4687251"/>
              <a:gd name="connsiteX30232" fmla="*/ 2570542 w 8079933"/>
              <a:gd name="connsiteY30232" fmla="*/ 1826092 h 4687251"/>
              <a:gd name="connsiteX30233" fmla="*/ 2578681 w 8079933"/>
              <a:gd name="connsiteY30233" fmla="*/ 1830314 h 4687251"/>
              <a:gd name="connsiteX30234" fmla="*/ 2578897 w 8079933"/>
              <a:gd name="connsiteY30234" fmla="*/ 1832696 h 4687251"/>
              <a:gd name="connsiteX30235" fmla="*/ 2575533 w 8079933"/>
              <a:gd name="connsiteY30235" fmla="*/ 1833562 h 4687251"/>
              <a:gd name="connsiteX30236" fmla="*/ 2573471 w 8079933"/>
              <a:gd name="connsiteY30236" fmla="*/ 1833995 h 4687251"/>
              <a:gd name="connsiteX30237" fmla="*/ 2577921 w 8079933"/>
              <a:gd name="connsiteY30237" fmla="*/ 1836594 h 4687251"/>
              <a:gd name="connsiteX30238" fmla="*/ 2582696 w 8079933"/>
              <a:gd name="connsiteY30238" fmla="*/ 1836269 h 4687251"/>
              <a:gd name="connsiteX30239" fmla="*/ 2584866 w 8079933"/>
              <a:gd name="connsiteY30239" fmla="*/ 1838868 h 4687251"/>
              <a:gd name="connsiteX30240" fmla="*/ 2581068 w 8079933"/>
              <a:gd name="connsiteY30240" fmla="*/ 1840600 h 4687251"/>
              <a:gd name="connsiteX30241" fmla="*/ 2578138 w 8079933"/>
              <a:gd name="connsiteY30241" fmla="*/ 1839409 h 4687251"/>
              <a:gd name="connsiteX30242" fmla="*/ 2573689 w 8079933"/>
              <a:gd name="connsiteY30242" fmla="*/ 1839842 h 4687251"/>
              <a:gd name="connsiteX30243" fmla="*/ 2566744 w 8079933"/>
              <a:gd name="connsiteY30243" fmla="*/ 1841791 h 4687251"/>
              <a:gd name="connsiteX30244" fmla="*/ 2555892 w 8079933"/>
              <a:gd name="connsiteY30244" fmla="*/ 1847854 h 4687251"/>
              <a:gd name="connsiteX30245" fmla="*/ 2551660 w 8079933"/>
              <a:gd name="connsiteY30245" fmla="*/ 1847962 h 4687251"/>
              <a:gd name="connsiteX30246" fmla="*/ 2543412 w 8079933"/>
              <a:gd name="connsiteY30246" fmla="*/ 1850236 h 4687251"/>
              <a:gd name="connsiteX30247" fmla="*/ 2535925 w 8079933"/>
              <a:gd name="connsiteY30247" fmla="*/ 1851860 h 4687251"/>
              <a:gd name="connsiteX30248" fmla="*/ 2528546 w 8079933"/>
              <a:gd name="connsiteY30248" fmla="*/ 1856082 h 4687251"/>
              <a:gd name="connsiteX30249" fmla="*/ 2524747 w 8079933"/>
              <a:gd name="connsiteY30249" fmla="*/ 1856082 h 4687251"/>
              <a:gd name="connsiteX30250" fmla="*/ 2525290 w 8079933"/>
              <a:gd name="connsiteY30250" fmla="*/ 1858248 h 4687251"/>
              <a:gd name="connsiteX30251" fmla="*/ 2518888 w 8079933"/>
              <a:gd name="connsiteY30251" fmla="*/ 1857598 h 4687251"/>
              <a:gd name="connsiteX30252" fmla="*/ 2516826 w 8079933"/>
              <a:gd name="connsiteY30252" fmla="*/ 1852618 h 4687251"/>
              <a:gd name="connsiteX30253" fmla="*/ 2514547 w 8079933"/>
              <a:gd name="connsiteY30253" fmla="*/ 1852293 h 4687251"/>
              <a:gd name="connsiteX30254" fmla="*/ 2512811 w 8079933"/>
              <a:gd name="connsiteY30254" fmla="*/ 1855000 h 4687251"/>
              <a:gd name="connsiteX30255" fmla="*/ 2510098 w 8079933"/>
              <a:gd name="connsiteY30255" fmla="*/ 1854675 h 4687251"/>
              <a:gd name="connsiteX30256" fmla="*/ 2506517 w 8079933"/>
              <a:gd name="connsiteY30256" fmla="*/ 1860197 h 4687251"/>
              <a:gd name="connsiteX30257" fmla="*/ 2508253 w 8079933"/>
              <a:gd name="connsiteY30257" fmla="*/ 1862578 h 4687251"/>
              <a:gd name="connsiteX30258" fmla="*/ 2500983 w 8079933"/>
              <a:gd name="connsiteY30258" fmla="*/ 1868425 h 4687251"/>
              <a:gd name="connsiteX30259" fmla="*/ 2494580 w 8079933"/>
              <a:gd name="connsiteY30259" fmla="*/ 1876871 h 4687251"/>
              <a:gd name="connsiteX30260" fmla="*/ 2489913 w 8079933"/>
              <a:gd name="connsiteY30260" fmla="*/ 1877737 h 4687251"/>
              <a:gd name="connsiteX30261" fmla="*/ 2484597 w 8079933"/>
              <a:gd name="connsiteY30261" fmla="*/ 1881851 h 4687251"/>
              <a:gd name="connsiteX30262" fmla="*/ 2481884 w 8079933"/>
              <a:gd name="connsiteY30262" fmla="*/ 1881526 h 4687251"/>
              <a:gd name="connsiteX30263" fmla="*/ 2479931 w 8079933"/>
              <a:gd name="connsiteY30263" fmla="*/ 1882717 h 4687251"/>
              <a:gd name="connsiteX30264" fmla="*/ 2479496 w 8079933"/>
              <a:gd name="connsiteY30264" fmla="*/ 1887048 h 4687251"/>
              <a:gd name="connsiteX30265" fmla="*/ 2477326 w 8079933"/>
              <a:gd name="connsiteY30265" fmla="*/ 1888888 h 4687251"/>
              <a:gd name="connsiteX30266" fmla="*/ 2474938 w 8079933"/>
              <a:gd name="connsiteY30266" fmla="*/ 1886615 h 4687251"/>
              <a:gd name="connsiteX30267" fmla="*/ 2472334 w 8079933"/>
              <a:gd name="connsiteY30267" fmla="*/ 1888564 h 4687251"/>
              <a:gd name="connsiteX30268" fmla="*/ 2468536 w 8079933"/>
              <a:gd name="connsiteY30268" fmla="*/ 1885857 h 4687251"/>
              <a:gd name="connsiteX30269" fmla="*/ 2468102 w 8079933"/>
              <a:gd name="connsiteY30269" fmla="*/ 1880335 h 4687251"/>
              <a:gd name="connsiteX30270" fmla="*/ 2465606 w 8079933"/>
              <a:gd name="connsiteY30270" fmla="*/ 1878711 h 4687251"/>
              <a:gd name="connsiteX30271" fmla="*/ 2463219 w 8079933"/>
              <a:gd name="connsiteY30271" fmla="*/ 1880335 h 4687251"/>
              <a:gd name="connsiteX30272" fmla="*/ 2462567 w 8079933"/>
              <a:gd name="connsiteY30272" fmla="*/ 1875463 h 4687251"/>
              <a:gd name="connsiteX30273" fmla="*/ 2461048 w 8079933"/>
              <a:gd name="connsiteY30273" fmla="*/ 1871024 h 4687251"/>
              <a:gd name="connsiteX30274" fmla="*/ 2461374 w 8079933"/>
              <a:gd name="connsiteY30274" fmla="*/ 1865502 h 4687251"/>
              <a:gd name="connsiteX30275" fmla="*/ 2464738 w 8079933"/>
              <a:gd name="connsiteY30275" fmla="*/ 1858140 h 4687251"/>
              <a:gd name="connsiteX30276" fmla="*/ 2470706 w 8079933"/>
              <a:gd name="connsiteY30276" fmla="*/ 1853484 h 4687251"/>
              <a:gd name="connsiteX30277" fmla="*/ 2471466 w 8079933"/>
              <a:gd name="connsiteY30277" fmla="*/ 1849695 h 4687251"/>
              <a:gd name="connsiteX30278" fmla="*/ 2480473 w 8079933"/>
              <a:gd name="connsiteY30278" fmla="*/ 1844714 h 4687251"/>
              <a:gd name="connsiteX30279" fmla="*/ 2490673 w 8079933"/>
              <a:gd name="connsiteY30279" fmla="*/ 1842115 h 4687251"/>
              <a:gd name="connsiteX30280" fmla="*/ 2498595 w 8079933"/>
              <a:gd name="connsiteY30280" fmla="*/ 1836594 h 4687251"/>
              <a:gd name="connsiteX30281" fmla="*/ 2506083 w 8079933"/>
              <a:gd name="connsiteY30281" fmla="*/ 1834753 h 4687251"/>
              <a:gd name="connsiteX30282" fmla="*/ 2509230 w 8079933"/>
              <a:gd name="connsiteY30282" fmla="*/ 1835944 h 4687251"/>
              <a:gd name="connsiteX30283" fmla="*/ 2510098 w 8079933"/>
              <a:gd name="connsiteY30283" fmla="*/ 1840275 h 4687251"/>
              <a:gd name="connsiteX30284" fmla="*/ 2513028 w 8079933"/>
              <a:gd name="connsiteY30284" fmla="*/ 1842440 h 4687251"/>
              <a:gd name="connsiteX30285" fmla="*/ 2512485 w 8079933"/>
              <a:gd name="connsiteY30285" fmla="*/ 1840275 h 4687251"/>
              <a:gd name="connsiteX30286" fmla="*/ 2513245 w 8079933"/>
              <a:gd name="connsiteY30286" fmla="*/ 1837460 h 4687251"/>
              <a:gd name="connsiteX30287" fmla="*/ 2517803 w 8079933"/>
              <a:gd name="connsiteY30287" fmla="*/ 1836594 h 4687251"/>
              <a:gd name="connsiteX30288" fmla="*/ 2524205 w 8079933"/>
              <a:gd name="connsiteY30288" fmla="*/ 1835836 h 4687251"/>
              <a:gd name="connsiteX30289" fmla="*/ 2529522 w 8079933"/>
              <a:gd name="connsiteY30289" fmla="*/ 1833237 h 4687251"/>
              <a:gd name="connsiteX30290" fmla="*/ 2522361 w 8079933"/>
              <a:gd name="connsiteY30290" fmla="*/ 1833670 h 4687251"/>
              <a:gd name="connsiteX30291" fmla="*/ 2512377 w 8079933"/>
              <a:gd name="connsiteY30291" fmla="*/ 1832805 h 4687251"/>
              <a:gd name="connsiteX30292" fmla="*/ 2508904 w 8079933"/>
              <a:gd name="connsiteY30292" fmla="*/ 1830639 h 4687251"/>
              <a:gd name="connsiteX30293" fmla="*/ 2504455 w 8079933"/>
              <a:gd name="connsiteY30293" fmla="*/ 1830639 h 4687251"/>
              <a:gd name="connsiteX30294" fmla="*/ 2501308 w 8079933"/>
              <a:gd name="connsiteY30294" fmla="*/ 1834537 h 4687251"/>
              <a:gd name="connsiteX30295" fmla="*/ 2495774 w 8079933"/>
              <a:gd name="connsiteY30295" fmla="*/ 1833021 h 4687251"/>
              <a:gd name="connsiteX30296" fmla="*/ 2500657 w 8079933"/>
              <a:gd name="connsiteY30296" fmla="*/ 1827066 h 4687251"/>
              <a:gd name="connsiteX30297" fmla="*/ 2505323 w 8079933"/>
              <a:gd name="connsiteY30297" fmla="*/ 1825983 h 4687251"/>
              <a:gd name="connsiteX30298" fmla="*/ 2510315 w 8079933"/>
              <a:gd name="connsiteY30298" fmla="*/ 1820786 h 4687251"/>
              <a:gd name="connsiteX30299" fmla="*/ 2510423 w 8079933"/>
              <a:gd name="connsiteY30299" fmla="*/ 1818296 h 4687251"/>
              <a:gd name="connsiteX30300" fmla="*/ 2507385 w 8079933"/>
              <a:gd name="connsiteY30300" fmla="*/ 1819920 h 4687251"/>
              <a:gd name="connsiteX30301" fmla="*/ 2506842 w 8079933"/>
              <a:gd name="connsiteY30301" fmla="*/ 1817213 h 4687251"/>
              <a:gd name="connsiteX30302" fmla="*/ 2501634 w 8079933"/>
              <a:gd name="connsiteY30302" fmla="*/ 1824468 h 4687251"/>
              <a:gd name="connsiteX30303" fmla="*/ 2497727 w 8079933"/>
              <a:gd name="connsiteY30303" fmla="*/ 1825442 h 4687251"/>
              <a:gd name="connsiteX30304" fmla="*/ 2492735 w 8079933"/>
              <a:gd name="connsiteY30304" fmla="*/ 1830639 h 4687251"/>
              <a:gd name="connsiteX30305" fmla="*/ 2486658 w 8079933"/>
              <a:gd name="connsiteY30305" fmla="*/ 1831180 h 4687251"/>
              <a:gd name="connsiteX30306" fmla="*/ 2484922 w 8079933"/>
              <a:gd name="connsiteY30306" fmla="*/ 1833995 h 4687251"/>
              <a:gd name="connsiteX30307" fmla="*/ 2474288 w 8079933"/>
              <a:gd name="connsiteY30307" fmla="*/ 1836811 h 4687251"/>
              <a:gd name="connsiteX30308" fmla="*/ 2472334 w 8079933"/>
              <a:gd name="connsiteY30308" fmla="*/ 1835619 h 4687251"/>
              <a:gd name="connsiteX30309" fmla="*/ 2473419 w 8079933"/>
              <a:gd name="connsiteY30309" fmla="*/ 1833237 h 4687251"/>
              <a:gd name="connsiteX30310" fmla="*/ 2471792 w 8079933"/>
              <a:gd name="connsiteY30310" fmla="*/ 1833021 h 4687251"/>
              <a:gd name="connsiteX30311" fmla="*/ 2474830 w 8079933"/>
              <a:gd name="connsiteY30311" fmla="*/ 1828149 h 4687251"/>
              <a:gd name="connsiteX30312" fmla="*/ 2470706 w 8079933"/>
              <a:gd name="connsiteY30312" fmla="*/ 1832696 h 4687251"/>
              <a:gd name="connsiteX30313" fmla="*/ 2468210 w 8079933"/>
              <a:gd name="connsiteY30313" fmla="*/ 1837135 h 4687251"/>
              <a:gd name="connsiteX30314" fmla="*/ 2462567 w 8079933"/>
              <a:gd name="connsiteY30314" fmla="*/ 1838543 h 4687251"/>
              <a:gd name="connsiteX30315" fmla="*/ 2458878 w 8079933"/>
              <a:gd name="connsiteY30315" fmla="*/ 1836811 h 4687251"/>
              <a:gd name="connsiteX30316" fmla="*/ 2456491 w 8079933"/>
              <a:gd name="connsiteY30316" fmla="*/ 1839842 h 4687251"/>
              <a:gd name="connsiteX30317" fmla="*/ 2453778 w 8079933"/>
              <a:gd name="connsiteY30317" fmla="*/ 1839192 h 4687251"/>
              <a:gd name="connsiteX30318" fmla="*/ 2452693 w 8079933"/>
              <a:gd name="connsiteY30318" fmla="*/ 1835836 h 4687251"/>
              <a:gd name="connsiteX30319" fmla="*/ 2447375 w 8079933"/>
              <a:gd name="connsiteY30319" fmla="*/ 1836485 h 4687251"/>
              <a:gd name="connsiteX30320" fmla="*/ 2440559 w 8079933"/>
              <a:gd name="connsiteY30320" fmla="*/ 1834998 h 4687251"/>
              <a:gd name="connsiteX30321" fmla="*/ 2449329 w 8079933"/>
              <a:gd name="connsiteY30321" fmla="*/ 1840058 h 4687251"/>
              <a:gd name="connsiteX30322" fmla="*/ 2447701 w 8079933"/>
              <a:gd name="connsiteY30322" fmla="*/ 1845364 h 4687251"/>
              <a:gd name="connsiteX30323" fmla="*/ 2451066 w 8079933"/>
              <a:gd name="connsiteY30323" fmla="*/ 1849044 h 4687251"/>
              <a:gd name="connsiteX30324" fmla="*/ 2453019 w 8079933"/>
              <a:gd name="connsiteY30324" fmla="*/ 1845688 h 4687251"/>
              <a:gd name="connsiteX30325" fmla="*/ 2457577 w 8079933"/>
              <a:gd name="connsiteY30325" fmla="*/ 1848395 h 4687251"/>
              <a:gd name="connsiteX30326" fmla="*/ 2454429 w 8079933"/>
              <a:gd name="connsiteY30326" fmla="*/ 1852401 h 4687251"/>
              <a:gd name="connsiteX30327" fmla="*/ 2450197 w 8079933"/>
              <a:gd name="connsiteY30327" fmla="*/ 1852942 h 4687251"/>
              <a:gd name="connsiteX30328" fmla="*/ 2448570 w 8079933"/>
              <a:gd name="connsiteY30328" fmla="*/ 1850127 h 4687251"/>
              <a:gd name="connsiteX30329" fmla="*/ 2442710 w 8079933"/>
              <a:gd name="connsiteY30329" fmla="*/ 1853484 h 4687251"/>
              <a:gd name="connsiteX30330" fmla="*/ 2439129 w 8079933"/>
              <a:gd name="connsiteY30330" fmla="*/ 1853159 h 4687251"/>
              <a:gd name="connsiteX30331" fmla="*/ 2434788 w 8079933"/>
              <a:gd name="connsiteY30331" fmla="*/ 1856082 h 4687251"/>
              <a:gd name="connsiteX30332" fmla="*/ 2432184 w 8079933"/>
              <a:gd name="connsiteY30332" fmla="*/ 1857382 h 4687251"/>
              <a:gd name="connsiteX30333" fmla="*/ 2428603 w 8079933"/>
              <a:gd name="connsiteY30333" fmla="*/ 1855866 h 4687251"/>
              <a:gd name="connsiteX30334" fmla="*/ 2424696 w 8079933"/>
              <a:gd name="connsiteY30334" fmla="*/ 1861171 h 4687251"/>
              <a:gd name="connsiteX30335" fmla="*/ 2421332 w 8079933"/>
              <a:gd name="connsiteY30335" fmla="*/ 1861171 h 4687251"/>
              <a:gd name="connsiteX30336" fmla="*/ 2420030 w 8079933"/>
              <a:gd name="connsiteY30336" fmla="*/ 1855866 h 4687251"/>
              <a:gd name="connsiteX30337" fmla="*/ 2414604 w 8079933"/>
              <a:gd name="connsiteY30337" fmla="*/ 1855866 h 4687251"/>
              <a:gd name="connsiteX30338" fmla="*/ 2410480 w 8079933"/>
              <a:gd name="connsiteY30338" fmla="*/ 1860413 h 4687251"/>
              <a:gd name="connsiteX30339" fmla="*/ 2406031 w 8079933"/>
              <a:gd name="connsiteY30339" fmla="*/ 1861062 h 4687251"/>
              <a:gd name="connsiteX30340" fmla="*/ 2404837 w 8079933"/>
              <a:gd name="connsiteY30340" fmla="*/ 1857273 h 4687251"/>
              <a:gd name="connsiteX30341" fmla="*/ 2406248 w 8079933"/>
              <a:gd name="connsiteY30341" fmla="*/ 1852617 h 4687251"/>
              <a:gd name="connsiteX30342" fmla="*/ 2399954 w 8079933"/>
              <a:gd name="connsiteY30342" fmla="*/ 1860413 h 4687251"/>
              <a:gd name="connsiteX30343" fmla="*/ 2395505 w 8079933"/>
              <a:gd name="connsiteY30343" fmla="*/ 1867776 h 4687251"/>
              <a:gd name="connsiteX30344" fmla="*/ 2392792 w 8079933"/>
              <a:gd name="connsiteY30344" fmla="*/ 1869616 h 4687251"/>
              <a:gd name="connsiteX30345" fmla="*/ 2391381 w 8079933"/>
              <a:gd name="connsiteY30345" fmla="*/ 1867450 h 4687251"/>
              <a:gd name="connsiteX30346" fmla="*/ 2388668 w 8079933"/>
              <a:gd name="connsiteY30346" fmla="*/ 1872756 h 4687251"/>
              <a:gd name="connsiteX30347" fmla="*/ 2385847 w 8079933"/>
              <a:gd name="connsiteY30347" fmla="*/ 1872756 h 4687251"/>
              <a:gd name="connsiteX30348" fmla="*/ 2385196 w 8079933"/>
              <a:gd name="connsiteY30348" fmla="*/ 1867776 h 4687251"/>
              <a:gd name="connsiteX30349" fmla="*/ 2382592 w 8079933"/>
              <a:gd name="connsiteY30349" fmla="*/ 1872539 h 4687251"/>
              <a:gd name="connsiteX30350" fmla="*/ 2380312 w 8079933"/>
              <a:gd name="connsiteY30350" fmla="*/ 1875462 h 4687251"/>
              <a:gd name="connsiteX30351" fmla="*/ 2377057 w 8079933"/>
              <a:gd name="connsiteY30351" fmla="*/ 1874488 h 4687251"/>
              <a:gd name="connsiteX30352" fmla="*/ 2376731 w 8079933"/>
              <a:gd name="connsiteY30352" fmla="*/ 1871348 h 4687251"/>
              <a:gd name="connsiteX30353" fmla="*/ 2374019 w 8079933"/>
              <a:gd name="connsiteY30353" fmla="*/ 1875679 h 4687251"/>
              <a:gd name="connsiteX30354" fmla="*/ 2371414 w 8079933"/>
              <a:gd name="connsiteY30354" fmla="*/ 1875679 h 4687251"/>
              <a:gd name="connsiteX30355" fmla="*/ 2368485 w 8079933"/>
              <a:gd name="connsiteY30355" fmla="*/ 1881959 h 4687251"/>
              <a:gd name="connsiteX30356" fmla="*/ 2359694 w 8079933"/>
              <a:gd name="connsiteY30356" fmla="*/ 1888888 h 4687251"/>
              <a:gd name="connsiteX30357" fmla="*/ 2356548 w 8079933"/>
              <a:gd name="connsiteY30357" fmla="*/ 1897333 h 4687251"/>
              <a:gd name="connsiteX30358" fmla="*/ 2353618 w 8079933"/>
              <a:gd name="connsiteY30358" fmla="*/ 1900906 h 4687251"/>
              <a:gd name="connsiteX30359" fmla="*/ 2352641 w 8079933"/>
              <a:gd name="connsiteY30359" fmla="*/ 1904371 h 4687251"/>
              <a:gd name="connsiteX30360" fmla="*/ 2350253 w 8079933"/>
              <a:gd name="connsiteY30360" fmla="*/ 1906212 h 4687251"/>
              <a:gd name="connsiteX30361" fmla="*/ 2349711 w 8079933"/>
              <a:gd name="connsiteY30361" fmla="*/ 1909135 h 4687251"/>
              <a:gd name="connsiteX30362" fmla="*/ 2352749 w 8079933"/>
              <a:gd name="connsiteY30362" fmla="*/ 1909135 h 4687251"/>
              <a:gd name="connsiteX30363" fmla="*/ 2353183 w 8079933"/>
              <a:gd name="connsiteY30363" fmla="*/ 1912816 h 4687251"/>
              <a:gd name="connsiteX30364" fmla="*/ 2344719 w 8079933"/>
              <a:gd name="connsiteY30364" fmla="*/ 1920394 h 4687251"/>
              <a:gd name="connsiteX30365" fmla="*/ 2344719 w 8079933"/>
              <a:gd name="connsiteY30365" fmla="*/ 1922561 h 4687251"/>
              <a:gd name="connsiteX30366" fmla="*/ 2350688 w 8079933"/>
              <a:gd name="connsiteY30366" fmla="*/ 1926025 h 4687251"/>
              <a:gd name="connsiteX30367" fmla="*/ 2353292 w 8079933"/>
              <a:gd name="connsiteY30367" fmla="*/ 1933712 h 4687251"/>
              <a:gd name="connsiteX30368" fmla="*/ 2354051 w 8079933"/>
              <a:gd name="connsiteY30368" fmla="*/ 1937718 h 4687251"/>
              <a:gd name="connsiteX30369" fmla="*/ 2360888 w 8079933"/>
              <a:gd name="connsiteY30369" fmla="*/ 1937502 h 4687251"/>
              <a:gd name="connsiteX30370" fmla="*/ 2362842 w 8079933"/>
              <a:gd name="connsiteY30370" fmla="*/ 1932196 h 4687251"/>
              <a:gd name="connsiteX30371" fmla="*/ 2362299 w 8079933"/>
              <a:gd name="connsiteY30371" fmla="*/ 1928082 h 4687251"/>
              <a:gd name="connsiteX30372" fmla="*/ 2364469 w 8079933"/>
              <a:gd name="connsiteY30372" fmla="*/ 1927432 h 4687251"/>
              <a:gd name="connsiteX30373" fmla="*/ 2366748 w 8079933"/>
              <a:gd name="connsiteY30373" fmla="*/ 1935445 h 4687251"/>
              <a:gd name="connsiteX30374" fmla="*/ 2363818 w 8079933"/>
              <a:gd name="connsiteY30374" fmla="*/ 1940425 h 4687251"/>
              <a:gd name="connsiteX30375" fmla="*/ 2352641 w 8079933"/>
              <a:gd name="connsiteY30375" fmla="*/ 1945947 h 4687251"/>
              <a:gd name="connsiteX30376" fmla="*/ 2349711 w 8079933"/>
              <a:gd name="connsiteY30376" fmla="*/ 1944864 h 4687251"/>
              <a:gd name="connsiteX30377" fmla="*/ 2349819 w 8079933"/>
              <a:gd name="connsiteY30377" fmla="*/ 1941616 h 4687251"/>
              <a:gd name="connsiteX30378" fmla="*/ 2347649 w 8079933"/>
              <a:gd name="connsiteY30378" fmla="*/ 1937177 h 4687251"/>
              <a:gd name="connsiteX30379" fmla="*/ 2343200 w 8079933"/>
              <a:gd name="connsiteY30379" fmla="*/ 1945405 h 4687251"/>
              <a:gd name="connsiteX30380" fmla="*/ 2338859 w 8079933"/>
              <a:gd name="connsiteY30380" fmla="*/ 1949953 h 4687251"/>
              <a:gd name="connsiteX30381" fmla="*/ 2335713 w 8079933"/>
              <a:gd name="connsiteY30381" fmla="*/ 1949412 h 4687251"/>
              <a:gd name="connsiteX30382" fmla="*/ 2336254 w 8079933"/>
              <a:gd name="connsiteY30382" fmla="*/ 1946163 h 4687251"/>
              <a:gd name="connsiteX30383" fmla="*/ 2336254 w 8079933"/>
              <a:gd name="connsiteY30383" fmla="*/ 1941508 h 4687251"/>
              <a:gd name="connsiteX30384" fmla="*/ 2331480 w 8079933"/>
              <a:gd name="connsiteY30384" fmla="*/ 1936310 h 4687251"/>
              <a:gd name="connsiteX30385" fmla="*/ 2331480 w 8079933"/>
              <a:gd name="connsiteY30385" fmla="*/ 1941832 h 4687251"/>
              <a:gd name="connsiteX30386" fmla="*/ 2330720 w 8079933"/>
              <a:gd name="connsiteY30386" fmla="*/ 1948220 h 4687251"/>
              <a:gd name="connsiteX30387" fmla="*/ 2332674 w 8079933"/>
              <a:gd name="connsiteY30387" fmla="*/ 1950386 h 4687251"/>
              <a:gd name="connsiteX30388" fmla="*/ 2329852 w 8079933"/>
              <a:gd name="connsiteY30388" fmla="*/ 1951469 h 4687251"/>
              <a:gd name="connsiteX30389" fmla="*/ 2320086 w 8079933"/>
              <a:gd name="connsiteY30389" fmla="*/ 1952118 h 4687251"/>
              <a:gd name="connsiteX30390" fmla="*/ 2314009 w 8079933"/>
              <a:gd name="connsiteY30390" fmla="*/ 1953526 h 4687251"/>
              <a:gd name="connsiteX30391" fmla="*/ 2309560 w 8079933"/>
              <a:gd name="connsiteY30391" fmla="*/ 1952335 h 4687251"/>
              <a:gd name="connsiteX30392" fmla="*/ 2300119 w 8079933"/>
              <a:gd name="connsiteY30392" fmla="*/ 1952985 h 4687251"/>
              <a:gd name="connsiteX30393" fmla="*/ 2298166 w 8079933"/>
              <a:gd name="connsiteY30393" fmla="*/ 1951469 h 4687251"/>
              <a:gd name="connsiteX30394" fmla="*/ 2295453 w 8079933"/>
              <a:gd name="connsiteY30394" fmla="*/ 1951577 h 4687251"/>
              <a:gd name="connsiteX30395" fmla="*/ 2287857 w 8079933"/>
              <a:gd name="connsiteY30395" fmla="*/ 1956991 h 4687251"/>
              <a:gd name="connsiteX30396" fmla="*/ 2282647 w 8079933"/>
              <a:gd name="connsiteY30396" fmla="*/ 1957099 h 4687251"/>
              <a:gd name="connsiteX30397" fmla="*/ 2275268 w 8079933"/>
              <a:gd name="connsiteY30397" fmla="*/ 1961105 h 4687251"/>
              <a:gd name="connsiteX30398" fmla="*/ 2271036 w 8079933"/>
              <a:gd name="connsiteY30398" fmla="*/ 1962404 h 4687251"/>
              <a:gd name="connsiteX30399" fmla="*/ 2267130 w 8079933"/>
              <a:gd name="connsiteY30399" fmla="*/ 1965760 h 4687251"/>
              <a:gd name="connsiteX30400" fmla="*/ 2267021 w 8079933"/>
              <a:gd name="connsiteY30400" fmla="*/ 1968901 h 4687251"/>
              <a:gd name="connsiteX30401" fmla="*/ 2260619 w 8079933"/>
              <a:gd name="connsiteY30401" fmla="*/ 1972473 h 4687251"/>
              <a:gd name="connsiteX30402" fmla="*/ 2262572 w 8079933"/>
              <a:gd name="connsiteY30402" fmla="*/ 1975721 h 4687251"/>
              <a:gd name="connsiteX30403" fmla="*/ 2265502 w 8079933"/>
              <a:gd name="connsiteY30403" fmla="*/ 1978211 h 4687251"/>
              <a:gd name="connsiteX30404" fmla="*/ 2266262 w 8079933"/>
              <a:gd name="connsiteY30404" fmla="*/ 1981134 h 4687251"/>
              <a:gd name="connsiteX30405" fmla="*/ 2263549 w 8079933"/>
              <a:gd name="connsiteY30405" fmla="*/ 1984491 h 4687251"/>
              <a:gd name="connsiteX30406" fmla="*/ 2263766 w 8079933"/>
              <a:gd name="connsiteY30406" fmla="*/ 1986115 h 4687251"/>
              <a:gd name="connsiteX30407" fmla="*/ 2261704 w 8079933"/>
              <a:gd name="connsiteY30407" fmla="*/ 1990662 h 4687251"/>
              <a:gd name="connsiteX30408" fmla="*/ 2262355 w 8079933"/>
              <a:gd name="connsiteY30408" fmla="*/ 1992828 h 4687251"/>
              <a:gd name="connsiteX30409" fmla="*/ 2260510 w 8079933"/>
              <a:gd name="connsiteY30409" fmla="*/ 1995860 h 4687251"/>
              <a:gd name="connsiteX30410" fmla="*/ 2258666 w 8079933"/>
              <a:gd name="connsiteY30410" fmla="*/ 2000840 h 4687251"/>
              <a:gd name="connsiteX30411" fmla="*/ 2256603 w 8079933"/>
              <a:gd name="connsiteY30411" fmla="*/ 2000840 h 4687251"/>
              <a:gd name="connsiteX30412" fmla="*/ 2254216 w 8079933"/>
              <a:gd name="connsiteY30412" fmla="*/ 2003546 h 4687251"/>
              <a:gd name="connsiteX30413" fmla="*/ 2252155 w 8079933"/>
              <a:gd name="connsiteY30413" fmla="*/ 2010693 h 4687251"/>
              <a:gd name="connsiteX30414" fmla="*/ 2248790 w 8079933"/>
              <a:gd name="connsiteY30414" fmla="*/ 2011667 h 4687251"/>
              <a:gd name="connsiteX30415" fmla="*/ 2246945 w 8079933"/>
              <a:gd name="connsiteY30415" fmla="*/ 2014482 h 4687251"/>
              <a:gd name="connsiteX30416" fmla="*/ 2244992 w 8079933"/>
              <a:gd name="connsiteY30416" fmla="*/ 2014374 h 4687251"/>
              <a:gd name="connsiteX30417" fmla="*/ 2244450 w 8079933"/>
              <a:gd name="connsiteY30417" fmla="*/ 2017405 h 4687251"/>
              <a:gd name="connsiteX30418" fmla="*/ 2240652 w 8079933"/>
              <a:gd name="connsiteY30418" fmla="*/ 2022170 h 4687251"/>
              <a:gd name="connsiteX30419" fmla="*/ 2240218 w 8079933"/>
              <a:gd name="connsiteY30419" fmla="*/ 2020870 h 4687251"/>
              <a:gd name="connsiteX30420" fmla="*/ 2236745 w 8079933"/>
              <a:gd name="connsiteY30420" fmla="*/ 2023468 h 4687251"/>
              <a:gd name="connsiteX30421" fmla="*/ 2239349 w 8079933"/>
              <a:gd name="connsiteY30421" fmla="*/ 2017080 h 4687251"/>
              <a:gd name="connsiteX30422" fmla="*/ 2237288 w 8079933"/>
              <a:gd name="connsiteY30422" fmla="*/ 2014915 h 4687251"/>
              <a:gd name="connsiteX30423" fmla="*/ 2233815 w 8079933"/>
              <a:gd name="connsiteY30423" fmla="*/ 2015781 h 4687251"/>
              <a:gd name="connsiteX30424" fmla="*/ 2228280 w 8079933"/>
              <a:gd name="connsiteY30424" fmla="*/ 2010260 h 4687251"/>
              <a:gd name="connsiteX30425" fmla="*/ 2226327 w 8079933"/>
              <a:gd name="connsiteY30425" fmla="*/ 2006795 h 4687251"/>
              <a:gd name="connsiteX30426" fmla="*/ 2227738 w 8079933"/>
              <a:gd name="connsiteY30426" fmla="*/ 2003222 h 4687251"/>
              <a:gd name="connsiteX30427" fmla="*/ 2235443 w 8079933"/>
              <a:gd name="connsiteY30427" fmla="*/ 1994885 h 4687251"/>
              <a:gd name="connsiteX30428" fmla="*/ 2230343 w 8079933"/>
              <a:gd name="connsiteY30428" fmla="*/ 1997484 h 4687251"/>
              <a:gd name="connsiteX30429" fmla="*/ 2226002 w 8079933"/>
              <a:gd name="connsiteY30429" fmla="*/ 2001381 h 4687251"/>
              <a:gd name="connsiteX30430" fmla="*/ 2223723 w 8079933"/>
              <a:gd name="connsiteY30430" fmla="*/ 2005929 h 4687251"/>
              <a:gd name="connsiteX30431" fmla="*/ 2224374 w 8079933"/>
              <a:gd name="connsiteY30431" fmla="*/ 2010801 h 4687251"/>
              <a:gd name="connsiteX30432" fmla="*/ 2226544 w 8079933"/>
              <a:gd name="connsiteY30432" fmla="*/ 2013074 h 4687251"/>
              <a:gd name="connsiteX30433" fmla="*/ 2227195 w 8079933"/>
              <a:gd name="connsiteY30433" fmla="*/ 2019571 h 4687251"/>
              <a:gd name="connsiteX30434" fmla="*/ 2229475 w 8079933"/>
              <a:gd name="connsiteY30434" fmla="*/ 2022061 h 4687251"/>
              <a:gd name="connsiteX30435" fmla="*/ 2232513 w 8079933"/>
              <a:gd name="connsiteY30435" fmla="*/ 2030073 h 4687251"/>
              <a:gd name="connsiteX30436" fmla="*/ 2232405 w 8079933"/>
              <a:gd name="connsiteY30436" fmla="*/ 2036028 h 4687251"/>
              <a:gd name="connsiteX30437" fmla="*/ 2228389 w 8079933"/>
              <a:gd name="connsiteY30437" fmla="*/ 2045014 h 4687251"/>
              <a:gd name="connsiteX30438" fmla="*/ 2223072 w 8079933"/>
              <a:gd name="connsiteY30438" fmla="*/ 2048046 h 4687251"/>
              <a:gd name="connsiteX30439" fmla="*/ 2219274 w 8079933"/>
              <a:gd name="connsiteY30439" fmla="*/ 2057682 h 4687251"/>
              <a:gd name="connsiteX30440" fmla="*/ 2216561 w 8079933"/>
              <a:gd name="connsiteY30440" fmla="*/ 2062337 h 4687251"/>
              <a:gd name="connsiteX30441" fmla="*/ 2216561 w 8079933"/>
              <a:gd name="connsiteY30441" fmla="*/ 2065261 h 4687251"/>
              <a:gd name="connsiteX30442" fmla="*/ 2215150 w 8079933"/>
              <a:gd name="connsiteY30442" fmla="*/ 2067210 h 4687251"/>
              <a:gd name="connsiteX30443" fmla="*/ 2214825 w 8079933"/>
              <a:gd name="connsiteY30443" fmla="*/ 2065261 h 4687251"/>
              <a:gd name="connsiteX30444" fmla="*/ 2214282 w 8079933"/>
              <a:gd name="connsiteY30444" fmla="*/ 2063529 h 4687251"/>
              <a:gd name="connsiteX30445" fmla="*/ 2209399 w 8079933"/>
              <a:gd name="connsiteY30445" fmla="*/ 2072082 h 4687251"/>
              <a:gd name="connsiteX30446" fmla="*/ 2208965 w 8079933"/>
              <a:gd name="connsiteY30446" fmla="*/ 2074356 h 4687251"/>
              <a:gd name="connsiteX30447" fmla="*/ 2207771 w 8079933"/>
              <a:gd name="connsiteY30447" fmla="*/ 2076196 h 4687251"/>
              <a:gd name="connsiteX30448" fmla="*/ 2207228 w 8079933"/>
              <a:gd name="connsiteY30448" fmla="*/ 2071649 h 4687251"/>
              <a:gd name="connsiteX30449" fmla="*/ 2208422 w 8079933"/>
              <a:gd name="connsiteY30449" fmla="*/ 2066343 h 4687251"/>
              <a:gd name="connsiteX30450" fmla="*/ 2211135 w 8079933"/>
              <a:gd name="connsiteY30450" fmla="*/ 2061796 h 4687251"/>
              <a:gd name="connsiteX30451" fmla="*/ 2210484 w 8079933"/>
              <a:gd name="connsiteY30451" fmla="*/ 2058765 h 4687251"/>
              <a:gd name="connsiteX30452" fmla="*/ 2213414 w 8079933"/>
              <a:gd name="connsiteY30452" fmla="*/ 2054975 h 4687251"/>
              <a:gd name="connsiteX30453" fmla="*/ 2212655 w 8079933"/>
              <a:gd name="connsiteY30453" fmla="*/ 2053892 h 4687251"/>
              <a:gd name="connsiteX30454" fmla="*/ 2216778 w 8079933"/>
              <a:gd name="connsiteY30454" fmla="*/ 2051619 h 4687251"/>
              <a:gd name="connsiteX30455" fmla="*/ 2211027 w 8079933"/>
              <a:gd name="connsiteY30455" fmla="*/ 2051727 h 4687251"/>
              <a:gd name="connsiteX30456" fmla="*/ 2209399 w 8079933"/>
              <a:gd name="connsiteY30456" fmla="*/ 2048371 h 4687251"/>
              <a:gd name="connsiteX30457" fmla="*/ 2210918 w 8079933"/>
              <a:gd name="connsiteY30457" fmla="*/ 2046097 h 4687251"/>
              <a:gd name="connsiteX30458" fmla="*/ 2210701 w 8079933"/>
              <a:gd name="connsiteY30458" fmla="*/ 2045123 h 4687251"/>
              <a:gd name="connsiteX30459" fmla="*/ 2208530 w 8079933"/>
              <a:gd name="connsiteY30459" fmla="*/ 2045231 h 4687251"/>
              <a:gd name="connsiteX30460" fmla="*/ 2207988 w 8079933"/>
              <a:gd name="connsiteY30460" fmla="*/ 2043282 h 4687251"/>
              <a:gd name="connsiteX30461" fmla="*/ 2206360 w 8079933"/>
              <a:gd name="connsiteY30461" fmla="*/ 2045123 h 4687251"/>
              <a:gd name="connsiteX30462" fmla="*/ 2202562 w 8079933"/>
              <a:gd name="connsiteY30462" fmla="*/ 2040251 h 4687251"/>
              <a:gd name="connsiteX30463" fmla="*/ 2202454 w 8079933"/>
              <a:gd name="connsiteY30463" fmla="*/ 2035811 h 4687251"/>
              <a:gd name="connsiteX30464" fmla="*/ 2205817 w 8079933"/>
              <a:gd name="connsiteY30464" fmla="*/ 2030831 h 4687251"/>
              <a:gd name="connsiteX30465" fmla="*/ 2206903 w 8079933"/>
              <a:gd name="connsiteY30465" fmla="*/ 2024010 h 4687251"/>
              <a:gd name="connsiteX30466" fmla="*/ 2203105 w 8079933"/>
              <a:gd name="connsiteY30466" fmla="*/ 2017730 h 4687251"/>
              <a:gd name="connsiteX30467" fmla="*/ 2205817 w 8079933"/>
              <a:gd name="connsiteY30467" fmla="*/ 2012642 h 4687251"/>
              <a:gd name="connsiteX30468" fmla="*/ 2209833 w 8079933"/>
              <a:gd name="connsiteY30468" fmla="*/ 2010260 h 4687251"/>
              <a:gd name="connsiteX30469" fmla="*/ 2208530 w 8079933"/>
              <a:gd name="connsiteY30469" fmla="*/ 2008744 h 4687251"/>
              <a:gd name="connsiteX30470" fmla="*/ 2209724 w 8079933"/>
              <a:gd name="connsiteY30470" fmla="*/ 2004197 h 4687251"/>
              <a:gd name="connsiteX30471" fmla="*/ 2208422 w 8079933"/>
              <a:gd name="connsiteY30471" fmla="*/ 2002356 h 4687251"/>
              <a:gd name="connsiteX30472" fmla="*/ 2208530 w 8079933"/>
              <a:gd name="connsiteY30472" fmla="*/ 2003764 h 4687251"/>
              <a:gd name="connsiteX30473" fmla="*/ 2207337 w 8079933"/>
              <a:gd name="connsiteY30473" fmla="*/ 2008311 h 4687251"/>
              <a:gd name="connsiteX30474" fmla="*/ 2202562 w 8079933"/>
              <a:gd name="connsiteY30474" fmla="*/ 2012100 h 4687251"/>
              <a:gd name="connsiteX30475" fmla="*/ 2199415 w 8079933"/>
              <a:gd name="connsiteY30475" fmla="*/ 2014266 h 4687251"/>
              <a:gd name="connsiteX30476" fmla="*/ 2197462 w 8079933"/>
              <a:gd name="connsiteY30476" fmla="*/ 2014049 h 4687251"/>
              <a:gd name="connsiteX30477" fmla="*/ 2199741 w 8079933"/>
              <a:gd name="connsiteY30477" fmla="*/ 2017405 h 4687251"/>
              <a:gd name="connsiteX30478" fmla="*/ 2198873 w 8079933"/>
              <a:gd name="connsiteY30478" fmla="*/ 2020112 h 4687251"/>
              <a:gd name="connsiteX30479" fmla="*/ 2198113 w 8079933"/>
              <a:gd name="connsiteY30479" fmla="*/ 2027041 h 4687251"/>
              <a:gd name="connsiteX30480" fmla="*/ 2199089 w 8079933"/>
              <a:gd name="connsiteY30480" fmla="*/ 2029856 h 4687251"/>
              <a:gd name="connsiteX30481" fmla="*/ 2198439 w 8079933"/>
              <a:gd name="connsiteY30481" fmla="*/ 2033105 h 4687251"/>
              <a:gd name="connsiteX30482" fmla="*/ 2198764 w 8079933"/>
              <a:gd name="connsiteY30482" fmla="*/ 2037760 h 4687251"/>
              <a:gd name="connsiteX30483" fmla="*/ 2198221 w 8079933"/>
              <a:gd name="connsiteY30483" fmla="*/ 2047072 h 4687251"/>
              <a:gd name="connsiteX30484" fmla="*/ 2196919 w 8079933"/>
              <a:gd name="connsiteY30484" fmla="*/ 2047396 h 4687251"/>
              <a:gd name="connsiteX30485" fmla="*/ 2191168 w 8079933"/>
              <a:gd name="connsiteY30485" fmla="*/ 2040684 h 4687251"/>
              <a:gd name="connsiteX30486" fmla="*/ 2186502 w 8079933"/>
              <a:gd name="connsiteY30486" fmla="*/ 2040034 h 4687251"/>
              <a:gd name="connsiteX30487" fmla="*/ 2183572 w 8079933"/>
              <a:gd name="connsiteY30487" fmla="*/ 2034621 h 4687251"/>
              <a:gd name="connsiteX30488" fmla="*/ 2181401 w 8079933"/>
              <a:gd name="connsiteY30488" fmla="*/ 2034512 h 4687251"/>
              <a:gd name="connsiteX30489" fmla="*/ 2180533 w 8079933"/>
              <a:gd name="connsiteY30489" fmla="*/ 2032131 h 4687251"/>
              <a:gd name="connsiteX30490" fmla="*/ 2182596 w 8079933"/>
              <a:gd name="connsiteY30490" fmla="*/ 2027041 h 4687251"/>
              <a:gd name="connsiteX30491" fmla="*/ 2179123 w 8079933"/>
              <a:gd name="connsiteY30491" fmla="*/ 2031697 h 4687251"/>
              <a:gd name="connsiteX30492" fmla="*/ 2179123 w 8079933"/>
              <a:gd name="connsiteY30492" fmla="*/ 2035811 h 4687251"/>
              <a:gd name="connsiteX30493" fmla="*/ 2182596 w 8079933"/>
              <a:gd name="connsiteY30493" fmla="*/ 2037435 h 4687251"/>
              <a:gd name="connsiteX30494" fmla="*/ 2185308 w 8079933"/>
              <a:gd name="connsiteY30494" fmla="*/ 2041874 h 4687251"/>
              <a:gd name="connsiteX30495" fmla="*/ 2190625 w 8079933"/>
              <a:gd name="connsiteY30495" fmla="*/ 2043931 h 4687251"/>
              <a:gd name="connsiteX30496" fmla="*/ 2196051 w 8079933"/>
              <a:gd name="connsiteY30496" fmla="*/ 2050428 h 4687251"/>
              <a:gd name="connsiteX30497" fmla="*/ 2199415 w 8079933"/>
              <a:gd name="connsiteY30497" fmla="*/ 2052485 h 4687251"/>
              <a:gd name="connsiteX30498" fmla="*/ 2200175 w 8079933"/>
              <a:gd name="connsiteY30498" fmla="*/ 2056708 h 4687251"/>
              <a:gd name="connsiteX30499" fmla="*/ 2198764 w 8079933"/>
              <a:gd name="connsiteY30499" fmla="*/ 2061580 h 4687251"/>
              <a:gd name="connsiteX30500" fmla="*/ 2195292 w 8079933"/>
              <a:gd name="connsiteY30500" fmla="*/ 2061255 h 4687251"/>
              <a:gd name="connsiteX30501" fmla="*/ 2193773 w 8079933"/>
              <a:gd name="connsiteY30501" fmla="*/ 2057141 h 4687251"/>
              <a:gd name="connsiteX30502" fmla="*/ 2191493 w 8079933"/>
              <a:gd name="connsiteY30502" fmla="*/ 2056166 h 4687251"/>
              <a:gd name="connsiteX30503" fmla="*/ 2193664 w 8079933"/>
              <a:gd name="connsiteY30503" fmla="*/ 2062013 h 4687251"/>
              <a:gd name="connsiteX30504" fmla="*/ 2198764 w 8079933"/>
              <a:gd name="connsiteY30504" fmla="*/ 2065261 h 4687251"/>
              <a:gd name="connsiteX30505" fmla="*/ 2200175 w 8079933"/>
              <a:gd name="connsiteY30505" fmla="*/ 2068509 h 4687251"/>
              <a:gd name="connsiteX30506" fmla="*/ 2198547 w 8079933"/>
              <a:gd name="connsiteY30506" fmla="*/ 2069917 h 4687251"/>
              <a:gd name="connsiteX30507" fmla="*/ 2198221 w 8079933"/>
              <a:gd name="connsiteY30507" fmla="*/ 2072082 h 4687251"/>
              <a:gd name="connsiteX30508" fmla="*/ 2193230 w 8079933"/>
              <a:gd name="connsiteY30508" fmla="*/ 2071108 h 4687251"/>
              <a:gd name="connsiteX30509" fmla="*/ 2199307 w 8079933"/>
              <a:gd name="connsiteY30509" fmla="*/ 2076196 h 4687251"/>
              <a:gd name="connsiteX30510" fmla="*/ 2197353 w 8079933"/>
              <a:gd name="connsiteY30510" fmla="*/ 2079553 h 4687251"/>
              <a:gd name="connsiteX30511" fmla="*/ 2194423 w 8079933"/>
              <a:gd name="connsiteY30511" fmla="*/ 2078145 h 4687251"/>
              <a:gd name="connsiteX30512" fmla="*/ 2192036 w 8079933"/>
              <a:gd name="connsiteY30512" fmla="*/ 2073814 h 4687251"/>
              <a:gd name="connsiteX30513" fmla="*/ 2186176 w 8079933"/>
              <a:gd name="connsiteY30513" fmla="*/ 2073706 h 4687251"/>
              <a:gd name="connsiteX30514" fmla="*/ 2182269 w 8079933"/>
              <a:gd name="connsiteY30514" fmla="*/ 2071757 h 4687251"/>
              <a:gd name="connsiteX30515" fmla="*/ 2185525 w 8079933"/>
              <a:gd name="connsiteY30515" fmla="*/ 2075763 h 4687251"/>
              <a:gd name="connsiteX30516" fmla="*/ 2189323 w 8079933"/>
              <a:gd name="connsiteY30516" fmla="*/ 2077063 h 4687251"/>
              <a:gd name="connsiteX30517" fmla="*/ 2192253 w 8079933"/>
              <a:gd name="connsiteY30517" fmla="*/ 2077171 h 4687251"/>
              <a:gd name="connsiteX30518" fmla="*/ 2194098 w 8079933"/>
              <a:gd name="connsiteY30518" fmla="*/ 2082909 h 4687251"/>
              <a:gd name="connsiteX30519" fmla="*/ 2198221 w 8079933"/>
              <a:gd name="connsiteY30519" fmla="*/ 2083992 h 4687251"/>
              <a:gd name="connsiteX30520" fmla="*/ 2201586 w 8079933"/>
              <a:gd name="connsiteY30520" fmla="*/ 2083125 h 4687251"/>
              <a:gd name="connsiteX30521" fmla="*/ 2203756 w 8079933"/>
              <a:gd name="connsiteY30521" fmla="*/ 2085075 h 4687251"/>
              <a:gd name="connsiteX30522" fmla="*/ 2204949 w 8079933"/>
              <a:gd name="connsiteY30522" fmla="*/ 2089514 h 4687251"/>
              <a:gd name="connsiteX30523" fmla="*/ 2203105 w 8079933"/>
              <a:gd name="connsiteY30523" fmla="*/ 2094061 h 4687251"/>
              <a:gd name="connsiteX30524" fmla="*/ 2200609 w 8079933"/>
              <a:gd name="connsiteY30524" fmla="*/ 2092870 h 4687251"/>
              <a:gd name="connsiteX30525" fmla="*/ 2200501 w 8079933"/>
              <a:gd name="connsiteY30525" fmla="*/ 2095143 h 4687251"/>
              <a:gd name="connsiteX30526" fmla="*/ 2202454 w 8079933"/>
              <a:gd name="connsiteY30526" fmla="*/ 2097200 h 4687251"/>
              <a:gd name="connsiteX30527" fmla="*/ 2203322 w 8079933"/>
              <a:gd name="connsiteY30527" fmla="*/ 2102398 h 4687251"/>
              <a:gd name="connsiteX30528" fmla="*/ 2201802 w 8079933"/>
              <a:gd name="connsiteY30528" fmla="*/ 2104888 h 4687251"/>
              <a:gd name="connsiteX30529" fmla="*/ 2198764 w 8079933"/>
              <a:gd name="connsiteY30529" fmla="*/ 2104888 h 4687251"/>
              <a:gd name="connsiteX30530" fmla="*/ 2197571 w 8079933"/>
              <a:gd name="connsiteY30530" fmla="*/ 2106187 h 4687251"/>
              <a:gd name="connsiteX30531" fmla="*/ 2191277 w 8079933"/>
              <a:gd name="connsiteY30531" fmla="*/ 2107920 h 4687251"/>
              <a:gd name="connsiteX30532" fmla="*/ 2188780 w 8079933"/>
              <a:gd name="connsiteY30532" fmla="*/ 2110085 h 4687251"/>
              <a:gd name="connsiteX30533" fmla="*/ 2185742 w 8079933"/>
              <a:gd name="connsiteY30533" fmla="*/ 2109110 h 4687251"/>
              <a:gd name="connsiteX30534" fmla="*/ 2183463 w 8079933"/>
              <a:gd name="connsiteY30534" fmla="*/ 2104130 h 4687251"/>
              <a:gd name="connsiteX30535" fmla="*/ 2181836 w 8079933"/>
              <a:gd name="connsiteY30535" fmla="*/ 2105104 h 4687251"/>
              <a:gd name="connsiteX30536" fmla="*/ 2181619 w 8079933"/>
              <a:gd name="connsiteY30536" fmla="*/ 2112251 h 4687251"/>
              <a:gd name="connsiteX30537" fmla="*/ 2180751 w 8079933"/>
              <a:gd name="connsiteY30537" fmla="*/ 2115065 h 4687251"/>
              <a:gd name="connsiteX30538" fmla="*/ 2185525 w 8079933"/>
              <a:gd name="connsiteY30538" fmla="*/ 2113550 h 4687251"/>
              <a:gd name="connsiteX30539" fmla="*/ 2195183 w 8079933"/>
              <a:gd name="connsiteY30539" fmla="*/ 2112142 h 4687251"/>
              <a:gd name="connsiteX30540" fmla="*/ 2197136 w 8079933"/>
              <a:gd name="connsiteY30540" fmla="*/ 2113008 h 4687251"/>
              <a:gd name="connsiteX30541" fmla="*/ 2197788 w 8079933"/>
              <a:gd name="connsiteY30541" fmla="*/ 2120046 h 4687251"/>
              <a:gd name="connsiteX30542" fmla="*/ 2200175 w 8079933"/>
              <a:gd name="connsiteY30542" fmla="*/ 2121020 h 4687251"/>
              <a:gd name="connsiteX30543" fmla="*/ 2200392 w 8079933"/>
              <a:gd name="connsiteY30543" fmla="*/ 2118097 h 4687251"/>
              <a:gd name="connsiteX30544" fmla="*/ 2202888 w 8079933"/>
              <a:gd name="connsiteY30544" fmla="*/ 2113333 h 4687251"/>
              <a:gd name="connsiteX30545" fmla="*/ 2204082 w 8079933"/>
              <a:gd name="connsiteY30545" fmla="*/ 2113008 h 4687251"/>
              <a:gd name="connsiteX30546" fmla="*/ 2205926 w 8079933"/>
              <a:gd name="connsiteY30546" fmla="*/ 2117014 h 4687251"/>
              <a:gd name="connsiteX30547" fmla="*/ 2204732 w 8079933"/>
              <a:gd name="connsiteY30547" fmla="*/ 2122103 h 4687251"/>
              <a:gd name="connsiteX30548" fmla="*/ 2203214 w 8079933"/>
              <a:gd name="connsiteY30548" fmla="*/ 2122211 h 4687251"/>
              <a:gd name="connsiteX30549" fmla="*/ 2198221 w 8079933"/>
              <a:gd name="connsiteY30549" fmla="*/ 2126434 h 4687251"/>
              <a:gd name="connsiteX30550" fmla="*/ 2196485 w 8079933"/>
              <a:gd name="connsiteY30550" fmla="*/ 2129899 h 4687251"/>
              <a:gd name="connsiteX30551" fmla="*/ 2194423 w 8079933"/>
              <a:gd name="connsiteY30551" fmla="*/ 2131631 h 4687251"/>
              <a:gd name="connsiteX30552" fmla="*/ 2191168 w 8079933"/>
              <a:gd name="connsiteY30552" fmla="*/ 2129573 h 4687251"/>
              <a:gd name="connsiteX30553" fmla="*/ 2187912 w 8079933"/>
              <a:gd name="connsiteY30553" fmla="*/ 2130115 h 4687251"/>
              <a:gd name="connsiteX30554" fmla="*/ 2185959 w 8079933"/>
              <a:gd name="connsiteY30554" fmla="*/ 2124918 h 4687251"/>
              <a:gd name="connsiteX30555" fmla="*/ 2185525 w 8079933"/>
              <a:gd name="connsiteY30555" fmla="*/ 2128166 h 4687251"/>
              <a:gd name="connsiteX30556" fmla="*/ 2182269 w 8079933"/>
              <a:gd name="connsiteY30556" fmla="*/ 2129573 h 4687251"/>
              <a:gd name="connsiteX30557" fmla="*/ 2178906 w 8079933"/>
              <a:gd name="connsiteY30557" fmla="*/ 2127950 h 4687251"/>
              <a:gd name="connsiteX30558" fmla="*/ 2175650 w 8079933"/>
              <a:gd name="connsiteY30558" fmla="*/ 2127842 h 4687251"/>
              <a:gd name="connsiteX30559" fmla="*/ 2178254 w 8079933"/>
              <a:gd name="connsiteY30559" fmla="*/ 2130873 h 4687251"/>
              <a:gd name="connsiteX30560" fmla="*/ 2183897 w 8079933"/>
              <a:gd name="connsiteY30560" fmla="*/ 2131956 h 4687251"/>
              <a:gd name="connsiteX30561" fmla="*/ 2185525 w 8079933"/>
              <a:gd name="connsiteY30561" fmla="*/ 2134338 h 4687251"/>
              <a:gd name="connsiteX30562" fmla="*/ 2183137 w 8079933"/>
              <a:gd name="connsiteY30562" fmla="*/ 2136395 h 4687251"/>
              <a:gd name="connsiteX30563" fmla="*/ 2184114 w 8079933"/>
              <a:gd name="connsiteY30563" fmla="*/ 2138127 h 4687251"/>
              <a:gd name="connsiteX30564" fmla="*/ 2177712 w 8079933"/>
              <a:gd name="connsiteY30564" fmla="*/ 2140834 h 4687251"/>
              <a:gd name="connsiteX30565" fmla="*/ 2173480 w 8079933"/>
              <a:gd name="connsiteY30565" fmla="*/ 2139210 h 4687251"/>
              <a:gd name="connsiteX30566" fmla="*/ 2177061 w 8079933"/>
              <a:gd name="connsiteY30566" fmla="*/ 2142566 h 4687251"/>
              <a:gd name="connsiteX30567" fmla="*/ 2183137 w 8079933"/>
              <a:gd name="connsiteY30567" fmla="*/ 2143108 h 4687251"/>
              <a:gd name="connsiteX30568" fmla="*/ 2187370 w 8079933"/>
              <a:gd name="connsiteY30568" fmla="*/ 2139210 h 4687251"/>
              <a:gd name="connsiteX30569" fmla="*/ 2188455 w 8079933"/>
              <a:gd name="connsiteY30569" fmla="*/ 2140834 h 4687251"/>
              <a:gd name="connsiteX30570" fmla="*/ 2190192 w 8079933"/>
              <a:gd name="connsiteY30570" fmla="*/ 2141592 h 4687251"/>
              <a:gd name="connsiteX30571" fmla="*/ 2185634 w 8079933"/>
              <a:gd name="connsiteY30571" fmla="*/ 2146789 h 4687251"/>
              <a:gd name="connsiteX30572" fmla="*/ 2181510 w 8079933"/>
              <a:gd name="connsiteY30572" fmla="*/ 2146897 h 4687251"/>
              <a:gd name="connsiteX30573" fmla="*/ 2181076 w 8079933"/>
              <a:gd name="connsiteY30573" fmla="*/ 2145381 h 4687251"/>
              <a:gd name="connsiteX30574" fmla="*/ 2178146 w 8079933"/>
              <a:gd name="connsiteY30574" fmla="*/ 2145706 h 4687251"/>
              <a:gd name="connsiteX30575" fmla="*/ 2176518 w 8079933"/>
              <a:gd name="connsiteY30575" fmla="*/ 2146897 h 4687251"/>
              <a:gd name="connsiteX30576" fmla="*/ 2170658 w 8079933"/>
              <a:gd name="connsiteY30576" fmla="*/ 2147438 h 4687251"/>
              <a:gd name="connsiteX30577" fmla="*/ 2159481 w 8079933"/>
              <a:gd name="connsiteY30577" fmla="*/ 2154152 h 4687251"/>
              <a:gd name="connsiteX30578" fmla="*/ 2147436 w 8079933"/>
              <a:gd name="connsiteY30578" fmla="*/ 2163895 h 4687251"/>
              <a:gd name="connsiteX30579" fmla="*/ 2143529 w 8079933"/>
              <a:gd name="connsiteY30579" fmla="*/ 2171366 h 4687251"/>
              <a:gd name="connsiteX30580" fmla="*/ 2141359 w 8079933"/>
              <a:gd name="connsiteY30580" fmla="*/ 2171691 h 4687251"/>
              <a:gd name="connsiteX30581" fmla="*/ 2138971 w 8079933"/>
              <a:gd name="connsiteY30581" fmla="*/ 2170175 h 4687251"/>
              <a:gd name="connsiteX30582" fmla="*/ 2132135 w 8079933"/>
              <a:gd name="connsiteY30582" fmla="*/ 2170933 h 4687251"/>
              <a:gd name="connsiteX30583" fmla="*/ 2127469 w 8079933"/>
              <a:gd name="connsiteY30583" fmla="*/ 2175048 h 4687251"/>
              <a:gd name="connsiteX30584" fmla="*/ 2118462 w 8079933"/>
              <a:gd name="connsiteY30584" fmla="*/ 2186957 h 4687251"/>
              <a:gd name="connsiteX30585" fmla="*/ 2118462 w 8079933"/>
              <a:gd name="connsiteY30585" fmla="*/ 2189664 h 4687251"/>
              <a:gd name="connsiteX30586" fmla="*/ 2114663 w 8079933"/>
              <a:gd name="connsiteY30586" fmla="*/ 2193021 h 4687251"/>
              <a:gd name="connsiteX30587" fmla="*/ 2112277 w 8079933"/>
              <a:gd name="connsiteY30587" fmla="*/ 2192803 h 4687251"/>
              <a:gd name="connsiteX30588" fmla="*/ 2111950 w 8079933"/>
              <a:gd name="connsiteY30588" fmla="*/ 2195835 h 4687251"/>
              <a:gd name="connsiteX30589" fmla="*/ 2107827 w 8079933"/>
              <a:gd name="connsiteY30589" fmla="*/ 2200599 h 4687251"/>
              <a:gd name="connsiteX30590" fmla="*/ 2105006 w 8079933"/>
              <a:gd name="connsiteY30590" fmla="*/ 2199300 h 4687251"/>
              <a:gd name="connsiteX30591" fmla="*/ 2102510 w 8079933"/>
              <a:gd name="connsiteY30591" fmla="*/ 2200058 h 4687251"/>
              <a:gd name="connsiteX30592" fmla="*/ 2101208 w 8079933"/>
              <a:gd name="connsiteY30592" fmla="*/ 2202223 h 4687251"/>
              <a:gd name="connsiteX30593" fmla="*/ 2096216 w 8079933"/>
              <a:gd name="connsiteY30593" fmla="*/ 2201790 h 4687251"/>
              <a:gd name="connsiteX30594" fmla="*/ 2093720 w 8079933"/>
              <a:gd name="connsiteY30594" fmla="*/ 2205147 h 4687251"/>
              <a:gd name="connsiteX30595" fmla="*/ 2086449 w 8079933"/>
              <a:gd name="connsiteY30595" fmla="*/ 2206013 h 4687251"/>
              <a:gd name="connsiteX30596" fmla="*/ 2085256 w 8079933"/>
              <a:gd name="connsiteY30596" fmla="*/ 2208611 h 4687251"/>
              <a:gd name="connsiteX30597" fmla="*/ 2080589 w 8079933"/>
              <a:gd name="connsiteY30597" fmla="*/ 2208286 h 4687251"/>
              <a:gd name="connsiteX30598" fmla="*/ 2079721 w 8079933"/>
              <a:gd name="connsiteY30598" fmla="*/ 2211209 h 4687251"/>
              <a:gd name="connsiteX30599" fmla="*/ 2074079 w 8079933"/>
              <a:gd name="connsiteY30599" fmla="*/ 2211209 h 4687251"/>
              <a:gd name="connsiteX30600" fmla="*/ 2072668 w 8079933"/>
              <a:gd name="connsiteY30600" fmla="*/ 2212401 h 4687251"/>
              <a:gd name="connsiteX30601" fmla="*/ 2074404 w 8079933"/>
              <a:gd name="connsiteY30601" fmla="*/ 2213592 h 4687251"/>
              <a:gd name="connsiteX30602" fmla="*/ 2073862 w 8079933"/>
              <a:gd name="connsiteY30602" fmla="*/ 2217598 h 4687251"/>
              <a:gd name="connsiteX30603" fmla="*/ 2070606 w 8079933"/>
              <a:gd name="connsiteY30603" fmla="*/ 2222253 h 4687251"/>
              <a:gd name="connsiteX30604" fmla="*/ 2068544 w 8079933"/>
              <a:gd name="connsiteY30604" fmla="*/ 2222578 h 4687251"/>
              <a:gd name="connsiteX30605" fmla="*/ 2066482 w 8079933"/>
              <a:gd name="connsiteY30605" fmla="*/ 2225502 h 4687251"/>
              <a:gd name="connsiteX30606" fmla="*/ 2062468 w 8079933"/>
              <a:gd name="connsiteY30606" fmla="*/ 2226476 h 4687251"/>
              <a:gd name="connsiteX30607" fmla="*/ 2058343 w 8079933"/>
              <a:gd name="connsiteY30607" fmla="*/ 2233188 h 4687251"/>
              <a:gd name="connsiteX30608" fmla="*/ 2054871 w 8079933"/>
              <a:gd name="connsiteY30608" fmla="*/ 2240118 h 4687251"/>
              <a:gd name="connsiteX30609" fmla="*/ 2054871 w 8079933"/>
              <a:gd name="connsiteY30609" fmla="*/ 2248130 h 4687251"/>
              <a:gd name="connsiteX30610" fmla="*/ 2053677 w 8079933"/>
              <a:gd name="connsiteY30610" fmla="*/ 2262963 h 4687251"/>
              <a:gd name="connsiteX30611" fmla="*/ 2054437 w 8079933"/>
              <a:gd name="connsiteY30611" fmla="*/ 2269676 h 4687251"/>
              <a:gd name="connsiteX30612" fmla="*/ 2053026 w 8079933"/>
              <a:gd name="connsiteY30612" fmla="*/ 2279961 h 4687251"/>
              <a:gd name="connsiteX30613" fmla="*/ 2055630 w 8079933"/>
              <a:gd name="connsiteY30613" fmla="*/ 2286458 h 4687251"/>
              <a:gd name="connsiteX30614" fmla="*/ 2056607 w 8079933"/>
              <a:gd name="connsiteY30614" fmla="*/ 2296852 h 4687251"/>
              <a:gd name="connsiteX30615" fmla="*/ 2058669 w 8079933"/>
              <a:gd name="connsiteY30615" fmla="*/ 2301075 h 4687251"/>
              <a:gd name="connsiteX30616" fmla="*/ 2061165 w 8079933"/>
              <a:gd name="connsiteY30616" fmla="*/ 2312659 h 4687251"/>
              <a:gd name="connsiteX30617" fmla="*/ 2064203 w 8079933"/>
              <a:gd name="connsiteY30617" fmla="*/ 2316773 h 4687251"/>
              <a:gd name="connsiteX30618" fmla="*/ 2065939 w 8079933"/>
              <a:gd name="connsiteY30618" fmla="*/ 2320996 h 4687251"/>
              <a:gd name="connsiteX30619" fmla="*/ 2063878 w 8079933"/>
              <a:gd name="connsiteY30619" fmla="*/ 2326518 h 4687251"/>
              <a:gd name="connsiteX30620" fmla="*/ 2063227 w 8079933"/>
              <a:gd name="connsiteY30620" fmla="*/ 2333772 h 4687251"/>
              <a:gd name="connsiteX30621" fmla="*/ 2064854 w 8079933"/>
              <a:gd name="connsiteY30621" fmla="*/ 2336154 h 4687251"/>
              <a:gd name="connsiteX30622" fmla="*/ 2067459 w 8079933"/>
              <a:gd name="connsiteY30622" fmla="*/ 2351529 h 4687251"/>
              <a:gd name="connsiteX30623" fmla="*/ 2072342 w 8079933"/>
              <a:gd name="connsiteY30623" fmla="*/ 2354560 h 4687251"/>
              <a:gd name="connsiteX30624" fmla="*/ 2073862 w 8079933"/>
              <a:gd name="connsiteY30624" fmla="*/ 2361597 h 4687251"/>
              <a:gd name="connsiteX30625" fmla="*/ 2071149 w 8079933"/>
              <a:gd name="connsiteY30625" fmla="*/ 2364305 h 4687251"/>
              <a:gd name="connsiteX30626" fmla="*/ 2072342 w 8079933"/>
              <a:gd name="connsiteY30626" fmla="*/ 2366145 h 4687251"/>
              <a:gd name="connsiteX30627" fmla="*/ 2071474 w 8079933"/>
              <a:gd name="connsiteY30627" fmla="*/ 2374482 h 4687251"/>
              <a:gd name="connsiteX30628" fmla="*/ 2070280 w 8079933"/>
              <a:gd name="connsiteY30628" fmla="*/ 2376756 h 4687251"/>
              <a:gd name="connsiteX30629" fmla="*/ 2070714 w 8079933"/>
              <a:gd name="connsiteY30629" fmla="*/ 2380870 h 4687251"/>
              <a:gd name="connsiteX30630" fmla="*/ 2066591 w 8079933"/>
              <a:gd name="connsiteY30630" fmla="*/ 2389315 h 4687251"/>
              <a:gd name="connsiteX30631" fmla="*/ 2064421 w 8079933"/>
              <a:gd name="connsiteY30631" fmla="*/ 2394945 h 4687251"/>
              <a:gd name="connsiteX30632" fmla="*/ 2061491 w 8079933"/>
              <a:gd name="connsiteY30632" fmla="*/ 2399276 h 4687251"/>
              <a:gd name="connsiteX30633" fmla="*/ 2060731 w 8079933"/>
              <a:gd name="connsiteY30633" fmla="*/ 2405231 h 4687251"/>
              <a:gd name="connsiteX30634" fmla="*/ 2056825 w 8079933"/>
              <a:gd name="connsiteY30634" fmla="*/ 2406639 h 4687251"/>
              <a:gd name="connsiteX30635" fmla="*/ 2052375 w 8079933"/>
              <a:gd name="connsiteY30635" fmla="*/ 2408154 h 4687251"/>
              <a:gd name="connsiteX30636" fmla="*/ 2047818 w 8079933"/>
              <a:gd name="connsiteY30636" fmla="*/ 2406963 h 4687251"/>
              <a:gd name="connsiteX30637" fmla="*/ 2045647 w 8079933"/>
              <a:gd name="connsiteY30637" fmla="*/ 2404040 h 4687251"/>
              <a:gd name="connsiteX30638" fmla="*/ 2040655 w 8079933"/>
              <a:gd name="connsiteY30638" fmla="*/ 2402741 h 4687251"/>
              <a:gd name="connsiteX30639" fmla="*/ 2043368 w 8079933"/>
              <a:gd name="connsiteY30639" fmla="*/ 2401550 h 4687251"/>
              <a:gd name="connsiteX30640" fmla="*/ 2037617 w 8079933"/>
              <a:gd name="connsiteY30640" fmla="*/ 2396786 h 4687251"/>
              <a:gd name="connsiteX30641" fmla="*/ 2038160 w 8079933"/>
              <a:gd name="connsiteY30641" fmla="*/ 2392780 h 4687251"/>
              <a:gd name="connsiteX30642" fmla="*/ 2036423 w 8079933"/>
              <a:gd name="connsiteY30642" fmla="*/ 2389640 h 4687251"/>
              <a:gd name="connsiteX30643" fmla="*/ 2032408 w 8079933"/>
              <a:gd name="connsiteY30643" fmla="*/ 2389423 h 4687251"/>
              <a:gd name="connsiteX30644" fmla="*/ 2030564 w 8079933"/>
              <a:gd name="connsiteY30644" fmla="*/ 2387799 h 4687251"/>
              <a:gd name="connsiteX30645" fmla="*/ 2030889 w 8079933"/>
              <a:gd name="connsiteY30645" fmla="*/ 2381519 h 4687251"/>
              <a:gd name="connsiteX30646" fmla="*/ 2030129 w 8079933"/>
              <a:gd name="connsiteY30646" fmla="*/ 2376647 h 4687251"/>
              <a:gd name="connsiteX30647" fmla="*/ 2024269 w 8079933"/>
              <a:gd name="connsiteY30647" fmla="*/ 2372100 h 4687251"/>
              <a:gd name="connsiteX30648" fmla="*/ 2023835 w 8079933"/>
              <a:gd name="connsiteY30648" fmla="*/ 2369285 h 4687251"/>
              <a:gd name="connsiteX30649" fmla="*/ 2025789 w 8079933"/>
              <a:gd name="connsiteY30649" fmla="*/ 2367119 h 4687251"/>
              <a:gd name="connsiteX30650" fmla="*/ 2026657 w 8079933"/>
              <a:gd name="connsiteY30650" fmla="*/ 2363113 h 4687251"/>
              <a:gd name="connsiteX30651" fmla="*/ 2030129 w 8079933"/>
              <a:gd name="connsiteY30651" fmla="*/ 2359649 h 4687251"/>
              <a:gd name="connsiteX30652" fmla="*/ 2025680 w 8079933"/>
              <a:gd name="connsiteY30652" fmla="*/ 2360840 h 4687251"/>
              <a:gd name="connsiteX30653" fmla="*/ 2023726 w 8079933"/>
              <a:gd name="connsiteY30653" fmla="*/ 2359540 h 4687251"/>
              <a:gd name="connsiteX30654" fmla="*/ 2023726 w 8079933"/>
              <a:gd name="connsiteY30654" fmla="*/ 2361489 h 4687251"/>
              <a:gd name="connsiteX30655" fmla="*/ 2022208 w 8079933"/>
              <a:gd name="connsiteY30655" fmla="*/ 2363655 h 4687251"/>
              <a:gd name="connsiteX30656" fmla="*/ 2021014 w 8079933"/>
              <a:gd name="connsiteY30656" fmla="*/ 2359216 h 4687251"/>
              <a:gd name="connsiteX30657" fmla="*/ 2019060 w 8079933"/>
              <a:gd name="connsiteY30657" fmla="*/ 2359757 h 4687251"/>
              <a:gd name="connsiteX30658" fmla="*/ 2018192 w 8079933"/>
              <a:gd name="connsiteY30658" fmla="*/ 2357375 h 4687251"/>
              <a:gd name="connsiteX30659" fmla="*/ 2015262 w 8079933"/>
              <a:gd name="connsiteY30659" fmla="*/ 2353911 h 4687251"/>
              <a:gd name="connsiteX30660" fmla="*/ 2014937 w 8079933"/>
              <a:gd name="connsiteY30660" fmla="*/ 2349364 h 4687251"/>
              <a:gd name="connsiteX30661" fmla="*/ 2013526 w 8079933"/>
              <a:gd name="connsiteY30661" fmla="*/ 2346440 h 4687251"/>
              <a:gd name="connsiteX30662" fmla="*/ 2019386 w 8079933"/>
              <a:gd name="connsiteY30662" fmla="*/ 2338103 h 4687251"/>
              <a:gd name="connsiteX30663" fmla="*/ 2019169 w 8079933"/>
              <a:gd name="connsiteY30663" fmla="*/ 2333664 h 4687251"/>
              <a:gd name="connsiteX30664" fmla="*/ 2015697 w 8079933"/>
              <a:gd name="connsiteY30664" fmla="*/ 2332256 h 4687251"/>
              <a:gd name="connsiteX30665" fmla="*/ 2013960 w 8079933"/>
              <a:gd name="connsiteY30665" fmla="*/ 2333664 h 4687251"/>
              <a:gd name="connsiteX30666" fmla="*/ 2014828 w 8079933"/>
              <a:gd name="connsiteY30666" fmla="*/ 2335721 h 4687251"/>
              <a:gd name="connsiteX30667" fmla="*/ 2012007 w 8079933"/>
              <a:gd name="connsiteY30667" fmla="*/ 2339511 h 4687251"/>
              <a:gd name="connsiteX30668" fmla="*/ 2010705 w 8079933"/>
              <a:gd name="connsiteY30668" fmla="*/ 2340810 h 4687251"/>
              <a:gd name="connsiteX30669" fmla="*/ 2007883 w 8079933"/>
              <a:gd name="connsiteY30669" fmla="*/ 2335938 h 4687251"/>
              <a:gd name="connsiteX30670" fmla="*/ 2008101 w 8079933"/>
              <a:gd name="connsiteY30670" fmla="*/ 2332365 h 4687251"/>
              <a:gd name="connsiteX30671" fmla="*/ 2012767 w 8079933"/>
              <a:gd name="connsiteY30671" fmla="*/ 2323703 h 4687251"/>
              <a:gd name="connsiteX30672" fmla="*/ 2015914 w 8079933"/>
              <a:gd name="connsiteY30672" fmla="*/ 2312551 h 4687251"/>
              <a:gd name="connsiteX30673" fmla="*/ 2016348 w 8079933"/>
              <a:gd name="connsiteY30673" fmla="*/ 2307030 h 4687251"/>
              <a:gd name="connsiteX30674" fmla="*/ 2013201 w 8079933"/>
              <a:gd name="connsiteY30674" fmla="*/ 2301075 h 4687251"/>
              <a:gd name="connsiteX30675" fmla="*/ 2009728 w 8079933"/>
              <a:gd name="connsiteY30675" fmla="*/ 2300425 h 4687251"/>
              <a:gd name="connsiteX30676" fmla="*/ 2007558 w 8079933"/>
              <a:gd name="connsiteY30676" fmla="*/ 2297069 h 4687251"/>
              <a:gd name="connsiteX30677" fmla="*/ 2007666 w 8079933"/>
              <a:gd name="connsiteY30677" fmla="*/ 2295336 h 4687251"/>
              <a:gd name="connsiteX30678" fmla="*/ 2005604 w 8079933"/>
              <a:gd name="connsiteY30678" fmla="*/ 2295336 h 4687251"/>
              <a:gd name="connsiteX30679" fmla="*/ 2002240 w 8079933"/>
              <a:gd name="connsiteY30679" fmla="*/ 2292846 h 4687251"/>
              <a:gd name="connsiteX30680" fmla="*/ 2001589 w 8079933"/>
              <a:gd name="connsiteY30680" fmla="*/ 2287865 h 4687251"/>
              <a:gd name="connsiteX30681" fmla="*/ 1999962 w 8079933"/>
              <a:gd name="connsiteY30681" fmla="*/ 2287324 h 4687251"/>
              <a:gd name="connsiteX30682" fmla="*/ 1997465 w 8079933"/>
              <a:gd name="connsiteY30682" fmla="*/ 2284834 h 4687251"/>
              <a:gd name="connsiteX30683" fmla="*/ 1995079 w 8079933"/>
              <a:gd name="connsiteY30683" fmla="*/ 2276605 h 4687251"/>
              <a:gd name="connsiteX30684" fmla="*/ 1989544 w 8079933"/>
              <a:gd name="connsiteY30684" fmla="*/ 2274657 h 4687251"/>
              <a:gd name="connsiteX30685" fmla="*/ 1986506 w 8079933"/>
              <a:gd name="connsiteY30685" fmla="*/ 2272924 h 4687251"/>
              <a:gd name="connsiteX30686" fmla="*/ 1981731 w 8079933"/>
              <a:gd name="connsiteY30686" fmla="*/ 2273790 h 4687251"/>
              <a:gd name="connsiteX30687" fmla="*/ 1978584 w 8079933"/>
              <a:gd name="connsiteY30687" fmla="*/ 2276281 h 4687251"/>
              <a:gd name="connsiteX30688" fmla="*/ 1978584 w 8079933"/>
              <a:gd name="connsiteY30688" fmla="*/ 2277363 h 4687251"/>
              <a:gd name="connsiteX30689" fmla="*/ 1977715 w 8079933"/>
              <a:gd name="connsiteY30689" fmla="*/ 2278121 h 4687251"/>
              <a:gd name="connsiteX30690" fmla="*/ 1975762 w 8079933"/>
              <a:gd name="connsiteY30690" fmla="*/ 2277255 h 4687251"/>
              <a:gd name="connsiteX30691" fmla="*/ 1969686 w 8079933"/>
              <a:gd name="connsiteY30691" fmla="*/ 2283426 h 4687251"/>
              <a:gd name="connsiteX30692" fmla="*/ 1965236 w 8079933"/>
              <a:gd name="connsiteY30692" fmla="*/ 2283967 h 4687251"/>
              <a:gd name="connsiteX30693" fmla="*/ 1958400 w 8079933"/>
              <a:gd name="connsiteY30693" fmla="*/ 2284942 h 4687251"/>
              <a:gd name="connsiteX30694" fmla="*/ 1957206 w 8079933"/>
              <a:gd name="connsiteY30694" fmla="*/ 2283210 h 4687251"/>
              <a:gd name="connsiteX30695" fmla="*/ 1957857 w 8079933"/>
              <a:gd name="connsiteY30695" fmla="*/ 2281369 h 4687251"/>
              <a:gd name="connsiteX30696" fmla="*/ 1958508 w 8079933"/>
              <a:gd name="connsiteY30696" fmla="*/ 2282993 h 4687251"/>
              <a:gd name="connsiteX30697" fmla="*/ 1959593 w 8079933"/>
              <a:gd name="connsiteY30697" fmla="*/ 2282560 h 4687251"/>
              <a:gd name="connsiteX30698" fmla="*/ 1958400 w 8079933"/>
              <a:gd name="connsiteY30698" fmla="*/ 2280286 h 4687251"/>
              <a:gd name="connsiteX30699" fmla="*/ 1956121 w 8079933"/>
              <a:gd name="connsiteY30699" fmla="*/ 2276930 h 4687251"/>
              <a:gd name="connsiteX30700" fmla="*/ 1950261 w 8079933"/>
              <a:gd name="connsiteY30700" fmla="*/ 2272924 h 4687251"/>
              <a:gd name="connsiteX30701" fmla="*/ 1951021 w 8079933"/>
              <a:gd name="connsiteY30701" fmla="*/ 2272599 h 4687251"/>
              <a:gd name="connsiteX30702" fmla="*/ 1954167 w 8079933"/>
              <a:gd name="connsiteY30702" fmla="*/ 2274115 h 4687251"/>
              <a:gd name="connsiteX30703" fmla="*/ 1954927 w 8079933"/>
              <a:gd name="connsiteY30703" fmla="*/ 2272491 h 4687251"/>
              <a:gd name="connsiteX30704" fmla="*/ 1950369 w 8079933"/>
              <a:gd name="connsiteY30704" fmla="*/ 2269351 h 4687251"/>
              <a:gd name="connsiteX30705" fmla="*/ 1949501 w 8079933"/>
              <a:gd name="connsiteY30705" fmla="*/ 2266861 h 4687251"/>
              <a:gd name="connsiteX30706" fmla="*/ 1947440 w 8079933"/>
              <a:gd name="connsiteY30706" fmla="*/ 2266536 h 4687251"/>
              <a:gd name="connsiteX30707" fmla="*/ 1946897 w 8079933"/>
              <a:gd name="connsiteY30707" fmla="*/ 2268702 h 4687251"/>
              <a:gd name="connsiteX30708" fmla="*/ 1949176 w 8079933"/>
              <a:gd name="connsiteY30708" fmla="*/ 2271949 h 4687251"/>
              <a:gd name="connsiteX30709" fmla="*/ 1945594 w 8079933"/>
              <a:gd name="connsiteY30709" fmla="*/ 2269892 h 4687251"/>
              <a:gd name="connsiteX30710" fmla="*/ 1941905 w 8079933"/>
              <a:gd name="connsiteY30710" fmla="*/ 2266536 h 4687251"/>
              <a:gd name="connsiteX30711" fmla="*/ 1935720 w 8079933"/>
              <a:gd name="connsiteY30711" fmla="*/ 2266536 h 4687251"/>
              <a:gd name="connsiteX30712" fmla="*/ 1929534 w 8079933"/>
              <a:gd name="connsiteY30712" fmla="*/ 2265670 h 4687251"/>
              <a:gd name="connsiteX30713" fmla="*/ 1930402 w 8079933"/>
              <a:gd name="connsiteY30713" fmla="*/ 2264479 h 4687251"/>
              <a:gd name="connsiteX30714" fmla="*/ 1936045 w 8079933"/>
              <a:gd name="connsiteY30714" fmla="*/ 2264912 h 4687251"/>
              <a:gd name="connsiteX30715" fmla="*/ 1938867 w 8079933"/>
              <a:gd name="connsiteY30715" fmla="*/ 2264046 h 4687251"/>
              <a:gd name="connsiteX30716" fmla="*/ 1937673 w 8079933"/>
              <a:gd name="connsiteY30716" fmla="*/ 2262530 h 4687251"/>
              <a:gd name="connsiteX30717" fmla="*/ 1932572 w 8079933"/>
              <a:gd name="connsiteY30717" fmla="*/ 2262206 h 4687251"/>
              <a:gd name="connsiteX30718" fmla="*/ 1927256 w 8079933"/>
              <a:gd name="connsiteY30718" fmla="*/ 2265886 h 4687251"/>
              <a:gd name="connsiteX30719" fmla="*/ 1925085 w 8079933"/>
              <a:gd name="connsiteY30719" fmla="*/ 2264804 h 4687251"/>
              <a:gd name="connsiteX30720" fmla="*/ 1917923 w 8079933"/>
              <a:gd name="connsiteY30720" fmla="*/ 2265670 h 4687251"/>
              <a:gd name="connsiteX30721" fmla="*/ 1915210 w 8079933"/>
              <a:gd name="connsiteY30721" fmla="*/ 2263721 h 4687251"/>
              <a:gd name="connsiteX30722" fmla="*/ 1911737 w 8079933"/>
              <a:gd name="connsiteY30722" fmla="*/ 2265129 h 4687251"/>
              <a:gd name="connsiteX30723" fmla="*/ 1905010 w 8079933"/>
              <a:gd name="connsiteY30723" fmla="*/ 2264804 h 4687251"/>
              <a:gd name="connsiteX30724" fmla="*/ 1901211 w 8079933"/>
              <a:gd name="connsiteY30724" fmla="*/ 2266428 h 4687251"/>
              <a:gd name="connsiteX30725" fmla="*/ 1896545 w 8079933"/>
              <a:gd name="connsiteY30725" fmla="*/ 2262422 h 4687251"/>
              <a:gd name="connsiteX30726" fmla="*/ 1896437 w 8079933"/>
              <a:gd name="connsiteY30726" fmla="*/ 2259715 h 4687251"/>
              <a:gd name="connsiteX30727" fmla="*/ 1897088 w 8079933"/>
              <a:gd name="connsiteY30727" fmla="*/ 2256575 h 4687251"/>
              <a:gd name="connsiteX30728" fmla="*/ 1894158 w 8079933"/>
              <a:gd name="connsiteY30728" fmla="*/ 2256033 h 4687251"/>
              <a:gd name="connsiteX30729" fmla="*/ 1892096 w 8079933"/>
              <a:gd name="connsiteY30729" fmla="*/ 2260148 h 4687251"/>
              <a:gd name="connsiteX30730" fmla="*/ 1889817 w 8079933"/>
              <a:gd name="connsiteY30730" fmla="*/ 2263938 h 4687251"/>
              <a:gd name="connsiteX30731" fmla="*/ 1886453 w 8079933"/>
              <a:gd name="connsiteY30731" fmla="*/ 2263288 h 4687251"/>
              <a:gd name="connsiteX30732" fmla="*/ 1883523 w 8079933"/>
              <a:gd name="connsiteY30732" fmla="*/ 2264371 h 4687251"/>
              <a:gd name="connsiteX30733" fmla="*/ 1878097 w 8079933"/>
              <a:gd name="connsiteY30733" fmla="*/ 2263504 h 4687251"/>
              <a:gd name="connsiteX30734" fmla="*/ 1863990 w 8079933"/>
              <a:gd name="connsiteY30734" fmla="*/ 2265994 h 4687251"/>
              <a:gd name="connsiteX30735" fmla="*/ 1860084 w 8079933"/>
              <a:gd name="connsiteY30735" fmla="*/ 2269459 h 4687251"/>
              <a:gd name="connsiteX30736" fmla="*/ 1852162 w 8079933"/>
              <a:gd name="connsiteY30736" fmla="*/ 2272708 h 4687251"/>
              <a:gd name="connsiteX30737" fmla="*/ 1847821 w 8079933"/>
              <a:gd name="connsiteY30737" fmla="*/ 2277255 h 4687251"/>
              <a:gd name="connsiteX30738" fmla="*/ 1847821 w 8079933"/>
              <a:gd name="connsiteY30738" fmla="*/ 2280503 h 4687251"/>
              <a:gd name="connsiteX30739" fmla="*/ 1850968 w 8079933"/>
              <a:gd name="connsiteY30739" fmla="*/ 2279312 h 4687251"/>
              <a:gd name="connsiteX30740" fmla="*/ 1853681 w 8079933"/>
              <a:gd name="connsiteY30740" fmla="*/ 2276497 h 4687251"/>
              <a:gd name="connsiteX30741" fmla="*/ 1855201 w 8079933"/>
              <a:gd name="connsiteY30741" fmla="*/ 2276822 h 4687251"/>
              <a:gd name="connsiteX30742" fmla="*/ 1856937 w 8079933"/>
              <a:gd name="connsiteY30742" fmla="*/ 2279096 h 4687251"/>
              <a:gd name="connsiteX30743" fmla="*/ 1861060 w 8079933"/>
              <a:gd name="connsiteY30743" fmla="*/ 2280828 h 4687251"/>
              <a:gd name="connsiteX30744" fmla="*/ 1859541 w 8079933"/>
              <a:gd name="connsiteY30744" fmla="*/ 2282560 h 4687251"/>
              <a:gd name="connsiteX30745" fmla="*/ 1851945 w 8079933"/>
              <a:gd name="connsiteY30745" fmla="*/ 2285483 h 4687251"/>
              <a:gd name="connsiteX30746" fmla="*/ 1852162 w 8079933"/>
              <a:gd name="connsiteY30746" fmla="*/ 2289598 h 4687251"/>
              <a:gd name="connsiteX30747" fmla="*/ 1853464 w 8079933"/>
              <a:gd name="connsiteY30747" fmla="*/ 2293063 h 4687251"/>
              <a:gd name="connsiteX30748" fmla="*/ 1861060 w 8079933"/>
              <a:gd name="connsiteY30748" fmla="*/ 2295553 h 4687251"/>
              <a:gd name="connsiteX30749" fmla="*/ 1866811 w 8079933"/>
              <a:gd name="connsiteY30749" fmla="*/ 2299883 h 4687251"/>
              <a:gd name="connsiteX30750" fmla="*/ 1866378 w 8079933"/>
              <a:gd name="connsiteY30750" fmla="*/ 2301399 h 4687251"/>
              <a:gd name="connsiteX30751" fmla="*/ 1862797 w 8079933"/>
              <a:gd name="connsiteY30751" fmla="*/ 2302482 h 4687251"/>
              <a:gd name="connsiteX30752" fmla="*/ 1861277 w 8079933"/>
              <a:gd name="connsiteY30752" fmla="*/ 2305405 h 4687251"/>
              <a:gd name="connsiteX30753" fmla="*/ 1861060 w 8079933"/>
              <a:gd name="connsiteY30753" fmla="*/ 2300750 h 4687251"/>
              <a:gd name="connsiteX30754" fmla="*/ 1858673 w 8079933"/>
              <a:gd name="connsiteY30754" fmla="*/ 2299234 h 4687251"/>
              <a:gd name="connsiteX30755" fmla="*/ 1855960 w 8079933"/>
              <a:gd name="connsiteY30755" fmla="*/ 2299559 h 4687251"/>
              <a:gd name="connsiteX30756" fmla="*/ 1853464 w 8079933"/>
              <a:gd name="connsiteY30756" fmla="*/ 2296310 h 4687251"/>
              <a:gd name="connsiteX30757" fmla="*/ 1850100 w 8079933"/>
              <a:gd name="connsiteY30757" fmla="*/ 2294903 h 4687251"/>
              <a:gd name="connsiteX30758" fmla="*/ 1846628 w 8079933"/>
              <a:gd name="connsiteY30758" fmla="*/ 2289706 h 4687251"/>
              <a:gd name="connsiteX30759" fmla="*/ 1842287 w 8079933"/>
              <a:gd name="connsiteY30759" fmla="*/ 2290139 h 4687251"/>
              <a:gd name="connsiteX30760" fmla="*/ 1844348 w 8079933"/>
              <a:gd name="connsiteY30760" fmla="*/ 2294037 h 4687251"/>
              <a:gd name="connsiteX30761" fmla="*/ 1844240 w 8079933"/>
              <a:gd name="connsiteY30761" fmla="*/ 2299883 h 4687251"/>
              <a:gd name="connsiteX30762" fmla="*/ 1840550 w 8079933"/>
              <a:gd name="connsiteY30762" fmla="*/ 2301940 h 4687251"/>
              <a:gd name="connsiteX30763" fmla="*/ 1838706 w 8079933"/>
              <a:gd name="connsiteY30763" fmla="*/ 2298909 h 4687251"/>
              <a:gd name="connsiteX30764" fmla="*/ 1834691 w 8079933"/>
              <a:gd name="connsiteY30764" fmla="*/ 2296094 h 4687251"/>
              <a:gd name="connsiteX30765" fmla="*/ 1831218 w 8079933"/>
              <a:gd name="connsiteY30765" fmla="*/ 2298692 h 4687251"/>
              <a:gd name="connsiteX30766" fmla="*/ 1828831 w 8079933"/>
              <a:gd name="connsiteY30766" fmla="*/ 2301399 h 4687251"/>
              <a:gd name="connsiteX30767" fmla="*/ 1822862 w 8079933"/>
              <a:gd name="connsiteY30767" fmla="*/ 2299667 h 4687251"/>
              <a:gd name="connsiteX30768" fmla="*/ 1819607 w 8079933"/>
              <a:gd name="connsiteY30768" fmla="*/ 2297610 h 4687251"/>
              <a:gd name="connsiteX30769" fmla="*/ 1815592 w 8079933"/>
              <a:gd name="connsiteY30769" fmla="*/ 2298367 h 4687251"/>
              <a:gd name="connsiteX30770" fmla="*/ 1813096 w 8079933"/>
              <a:gd name="connsiteY30770" fmla="*/ 2297177 h 4687251"/>
              <a:gd name="connsiteX30771" fmla="*/ 1814941 w 8079933"/>
              <a:gd name="connsiteY30771" fmla="*/ 2294795 h 4687251"/>
              <a:gd name="connsiteX30772" fmla="*/ 1818196 w 8079933"/>
              <a:gd name="connsiteY30772" fmla="*/ 2292304 h 4687251"/>
              <a:gd name="connsiteX30773" fmla="*/ 1816569 w 8079933"/>
              <a:gd name="connsiteY30773" fmla="*/ 2289706 h 4687251"/>
              <a:gd name="connsiteX30774" fmla="*/ 1811685 w 8079933"/>
              <a:gd name="connsiteY30774" fmla="*/ 2290247 h 4687251"/>
              <a:gd name="connsiteX30775" fmla="*/ 1810275 w 8079933"/>
              <a:gd name="connsiteY30775" fmla="*/ 2288406 h 4687251"/>
              <a:gd name="connsiteX30776" fmla="*/ 1810275 w 8079933"/>
              <a:gd name="connsiteY30776" fmla="*/ 2284834 h 4687251"/>
              <a:gd name="connsiteX30777" fmla="*/ 1808646 w 8079933"/>
              <a:gd name="connsiteY30777" fmla="*/ 2283102 h 4687251"/>
              <a:gd name="connsiteX30778" fmla="*/ 1805391 w 8079933"/>
              <a:gd name="connsiteY30778" fmla="*/ 2284401 h 4687251"/>
              <a:gd name="connsiteX30779" fmla="*/ 1802787 w 8079933"/>
              <a:gd name="connsiteY30779" fmla="*/ 2283535 h 4687251"/>
              <a:gd name="connsiteX30780" fmla="*/ 1804632 w 8079933"/>
              <a:gd name="connsiteY30780" fmla="*/ 2280720 h 4687251"/>
              <a:gd name="connsiteX30781" fmla="*/ 1802027 w 8079933"/>
              <a:gd name="connsiteY30781" fmla="*/ 2279637 h 4687251"/>
              <a:gd name="connsiteX30782" fmla="*/ 1797252 w 8079933"/>
              <a:gd name="connsiteY30782" fmla="*/ 2281369 h 4687251"/>
              <a:gd name="connsiteX30783" fmla="*/ 1796819 w 8079933"/>
              <a:gd name="connsiteY30783" fmla="*/ 2283859 h 4687251"/>
              <a:gd name="connsiteX30784" fmla="*/ 1797687 w 8079933"/>
              <a:gd name="connsiteY30784" fmla="*/ 2286783 h 4687251"/>
              <a:gd name="connsiteX30785" fmla="*/ 1793346 w 8079933"/>
              <a:gd name="connsiteY30785" fmla="*/ 2287324 h 4687251"/>
              <a:gd name="connsiteX30786" fmla="*/ 1779564 w 8079933"/>
              <a:gd name="connsiteY30786" fmla="*/ 2286025 h 4687251"/>
              <a:gd name="connsiteX30787" fmla="*/ 1777719 w 8079933"/>
              <a:gd name="connsiteY30787" fmla="*/ 2283751 h 4687251"/>
              <a:gd name="connsiteX30788" fmla="*/ 1766542 w 8079933"/>
              <a:gd name="connsiteY30788" fmla="*/ 2281044 h 4687251"/>
              <a:gd name="connsiteX30789" fmla="*/ 1760249 w 8079933"/>
              <a:gd name="connsiteY30789" fmla="*/ 2281044 h 4687251"/>
              <a:gd name="connsiteX30790" fmla="*/ 1752218 w 8079933"/>
              <a:gd name="connsiteY30790" fmla="*/ 2282669 h 4687251"/>
              <a:gd name="connsiteX30791" fmla="*/ 1748963 w 8079933"/>
              <a:gd name="connsiteY30791" fmla="*/ 2284942 h 4687251"/>
              <a:gd name="connsiteX30792" fmla="*/ 1745490 w 8079933"/>
              <a:gd name="connsiteY30792" fmla="*/ 2285267 h 4687251"/>
              <a:gd name="connsiteX30793" fmla="*/ 1741475 w 8079933"/>
              <a:gd name="connsiteY30793" fmla="*/ 2291005 h 4687251"/>
              <a:gd name="connsiteX30794" fmla="*/ 1736158 w 8079933"/>
              <a:gd name="connsiteY30794" fmla="*/ 2291655 h 4687251"/>
              <a:gd name="connsiteX30795" fmla="*/ 1737026 w 8079933"/>
              <a:gd name="connsiteY30795" fmla="*/ 2287324 h 4687251"/>
              <a:gd name="connsiteX30796" fmla="*/ 1735832 w 8079933"/>
              <a:gd name="connsiteY30796" fmla="*/ 2283751 h 4687251"/>
              <a:gd name="connsiteX30797" fmla="*/ 1738545 w 8079933"/>
              <a:gd name="connsiteY30797" fmla="*/ 2279961 h 4687251"/>
              <a:gd name="connsiteX30798" fmla="*/ 1736917 w 8079933"/>
              <a:gd name="connsiteY30798" fmla="*/ 2274981 h 4687251"/>
              <a:gd name="connsiteX30799" fmla="*/ 1736483 w 8079933"/>
              <a:gd name="connsiteY30799" fmla="*/ 2277904 h 4687251"/>
              <a:gd name="connsiteX30800" fmla="*/ 1731817 w 8079933"/>
              <a:gd name="connsiteY30800" fmla="*/ 2281802 h 4687251"/>
              <a:gd name="connsiteX30801" fmla="*/ 1729430 w 8079933"/>
              <a:gd name="connsiteY30801" fmla="*/ 2281802 h 4687251"/>
              <a:gd name="connsiteX30802" fmla="*/ 1726825 w 8079933"/>
              <a:gd name="connsiteY30802" fmla="*/ 2278446 h 4687251"/>
              <a:gd name="connsiteX30803" fmla="*/ 1729646 w 8079933"/>
              <a:gd name="connsiteY30803" fmla="*/ 2285483 h 4687251"/>
              <a:gd name="connsiteX30804" fmla="*/ 1729430 w 8079933"/>
              <a:gd name="connsiteY30804" fmla="*/ 2290247 h 4687251"/>
              <a:gd name="connsiteX30805" fmla="*/ 1730515 w 8079933"/>
              <a:gd name="connsiteY30805" fmla="*/ 2295120 h 4687251"/>
              <a:gd name="connsiteX30806" fmla="*/ 1727368 w 8079933"/>
              <a:gd name="connsiteY30806" fmla="*/ 2297718 h 4687251"/>
              <a:gd name="connsiteX30807" fmla="*/ 1724329 w 8079933"/>
              <a:gd name="connsiteY30807" fmla="*/ 2297718 h 4687251"/>
              <a:gd name="connsiteX30808" fmla="*/ 1716733 w 8079933"/>
              <a:gd name="connsiteY30808" fmla="*/ 2304539 h 4687251"/>
              <a:gd name="connsiteX30809" fmla="*/ 1706532 w 8079933"/>
              <a:gd name="connsiteY30809" fmla="*/ 2309520 h 4687251"/>
              <a:gd name="connsiteX30810" fmla="*/ 1703385 w 8079933"/>
              <a:gd name="connsiteY30810" fmla="*/ 2309303 h 4687251"/>
              <a:gd name="connsiteX30811" fmla="*/ 1698936 w 8079933"/>
              <a:gd name="connsiteY30811" fmla="*/ 2313201 h 4687251"/>
              <a:gd name="connsiteX30812" fmla="*/ 1695681 w 8079933"/>
              <a:gd name="connsiteY30812" fmla="*/ 2313526 h 4687251"/>
              <a:gd name="connsiteX30813" fmla="*/ 1699804 w 8079933"/>
              <a:gd name="connsiteY30813" fmla="*/ 2309844 h 4687251"/>
              <a:gd name="connsiteX30814" fmla="*/ 1696223 w 8079933"/>
              <a:gd name="connsiteY30814" fmla="*/ 2307246 h 4687251"/>
              <a:gd name="connsiteX30815" fmla="*/ 1693945 w 8079933"/>
              <a:gd name="connsiteY30815" fmla="*/ 2308545 h 4687251"/>
              <a:gd name="connsiteX30816" fmla="*/ 1692208 w 8079933"/>
              <a:gd name="connsiteY30816" fmla="*/ 2307246 h 4687251"/>
              <a:gd name="connsiteX30817" fmla="*/ 1687759 w 8079933"/>
              <a:gd name="connsiteY30817" fmla="*/ 2309844 h 4687251"/>
              <a:gd name="connsiteX30818" fmla="*/ 1690363 w 8079933"/>
              <a:gd name="connsiteY30818" fmla="*/ 2312226 h 4687251"/>
              <a:gd name="connsiteX30819" fmla="*/ 1685372 w 8079933"/>
              <a:gd name="connsiteY30819" fmla="*/ 2314175 h 4687251"/>
              <a:gd name="connsiteX30820" fmla="*/ 1682767 w 8079933"/>
              <a:gd name="connsiteY30820" fmla="*/ 2312118 h 4687251"/>
              <a:gd name="connsiteX30821" fmla="*/ 1683093 w 8079933"/>
              <a:gd name="connsiteY30821" fmla="*/ 2318073 h 4687251"/>
              <a:gd name="connsiteX30822" fmla="*/ 1678752 w 8079933"/>
              <a:gd name="connsiteY30822" fmla="*/ 2320130 h 4687251"/>
              <a:gd name="connsiteX30823" fmla="*/ 1676365 w 8079933"/>
              <a:gd name="connsiteY30823" fmla="*/ 2318614 h 4687251"/>
              <a:gd name="connsiteX30824" fmla="*/ 1672133 w 8079933"/>
              <a:gd name="connsiteY30824" fmla="*/ 2323920 h 4687251"/>
              <a:gd name="connsiteX30825" fmla="*/ 1674846 w 8079933"/>
              <a:gd name="connsiteY30825" fmla="*/ 2327059 h 4687251"/>
              <a:gd name="connsiteX30826" fmla="*/ 1670071 w 8079933"/>
              <a:gd name="connsiteY30826" fmla="*/ 2330849 h 4687251"/>
              <a:gd name="connsiteX30827" fmla="*/ 1666598 w 8079933"/>
              <a:gd name="connsiteY30827" fmla="*/ 2332365 h 4687251"/>
              <a:gd name="connsiteX30828" fmla="*/ 1668118 w 8079933"/>
              <a:gd name="connsiteY30828" fmla="*/ 2341459 h 4687251"/>
              <a:gd name="connsiteX30829" fmla="*/ 1664862 w 8079933"/>
              <a:gd name="connsiteY30829" fmla="*/ 2346115 h 4687251"/>
              <a:gd name="connsiteX30830" fmla="*/ 1662800 w 8079933"/>
              <a:gd name="connsiteY30830" fmla="*/ 2353044 h 4687251"/>
              <a:gd name="connsiteX30831" fmla="*/ 1659979 w 8079933"/>
              <a:gd name="connsiteY30831" fmla="*/ 2358891 h 4687251"/>
              <a:gd name="connsiteX30832" fmla="*/ 1662041 w 8079933"/>
              <a:gd name="connsiteY30832" fmla="*/ 2362464 h 4687251"/>
              <a:gd name="connsiteX30833" fmla="*/ 1661607 w 8079933"/>
              <a:gd name="connsiteY30833" fmla="*/ 2372750 h 4687251"/>
              <a:gd name="connsiteX30834" fmla="*/ 1662800 w 8079933"/>
              <a:gd name="connsiteY30834" fmla="*/ 2376106 h 4687251"/>
              <a:gd name="connsiteX30835" fmla="*/ 1661281 w 8079933"/>
              <a:gd name="connsiteY30835" fmla="*/ 2381195 h 4687251"/>
              <a:gd name="connsiteX30836" fmla="*/ 1658785 w 8079933"/>
              <a:gd name="connsiteY30836" fmla="*/ 2388233 h 4687251"/>
              <a:gd name="connsiteX30837" fmla="*/ 1656723 w 8079933"/>
              <a:gd name="connsiteY30837" fmla="*/ 2387258 h 4687251"/>
              <a:gd name="connsiteX30838" fmla="*/ 1655204 w 8079933"/>
              <a:gd name="connsiteY30838" fmla="*/ 2384335 h 4687251"/>
              <a:gd name="connsiteX30839" fmla="*/ 1650863 w 8079933"/>
              <a:gd name="connsiteY30839" fmla="*/ 2383252 h 4687251"/>
              <a:gd name="connsiteX30840" fmla="*/ 1646414 w 8079933"/>
              <a:gd name="connsiteY30840" fmla="*/ 2380978 h 4687251"/>
              <a:gd name="connsiteX30841" fmla="*/ 1638601 w 8079933"/>
              <a:gd name="connsiteY30841" fmla="*/ 2378380 h 4687251"/>
              <a:gd name="connsiteX30842" fmla="*/ 1634694 w 8079933"/>
              <a:gd name="connsiteY30842" fmla="*/ 2374590 h 4687251"/>
              <a:gd name="connsiteX30843" fmla="*/ 1631656 w 8079933"/>
              <a:gd name="connsiteY30843" fmla="*/ 2372858 h 4687251"/>
              <a:gd name="connsiteX30844" fmla="*/ 1634694 w 8079933"/>
              <a:gd name="connsiteY30844" fmla="*/ 2374590 h 4687251"/>
              <a:gd name="connsiteX30845" fmla="*/ 1638600 w 8079933"/>
              <a:gd name="connsiteY30845" fmla="*/ 2378380 h 4687251"/>
              <a:gd name="connsiteX30846" fmla="*/ 1646413 w 8079933"/>
              <a:gd name="connsiteY30846" fmla="*/ 2380978 h 4687251"/>
              <a:gd name="connsiteX30847" fmla="*/ 1650863 w 8079933"/>
              <a:gd name="connsiteY30847" fmla="*/ 2383252 h 4687251"/>
              <a:gd name="connsiteX30848" fmla="*/ 1655204 w 8079933"/>
              <a:gd name="connsiteY30848" fmla="*/ 2384335 h 4687251"/>
              <a:gd name="connsiteX30849" fmla="*/ 1656722 w 8079933"/>
              <a:gd name="connsiteY30849" fmla="*/ 2387258 h 4687251"/>
              <a:gd name="connsiteX30850" fmla="*/ 1658785 w 8079933"/>
              <a:gd name="connsiteY30850" fmla="*/ 2388233 h 4687251"/>
              <a:gd name="connsiteX30851" fmla="*/ 1657591 w 8079933"/>
              <a:gd name="connsiteY30851" fmla="*/ 2391697 h 4687251"/>
              <a:gd name="connsiteX30852" fmla="*/ 1661715 w 8079933"/>
              <a:gd name="connsiteY30852" fmla="*/ 2388990 h 4687251"/>
              <a:gd name="connsiteX30853" fmla="*/ 1663125 w 8079933"/>
              <a:gd name="connsiteY30853" fmla="*/ 2382061 h 4687251"/>
              <a:gd name="connsiteX30854" fmla="*/ 1666381 w 8079933"/>
              <a:gd name="connsiteY30854" fmla="*/ 2379354 h 4687251"/>
              <a:gd name="connsiteX30855" fmla="*/ 1665730 w 8079933"/>
              <a:gd name="connsiteY30855" fmla="*/ 2381737 h 4687251"/>
              <a:gd name="connsiteX30856" fmla="*/ 1664970 w 8079933"/>
              <a:gd name="connsiteY30856" fmla="*/ 2387908 h 4687251"/>
              <a:gd name="connsiteX30857" fmla="*/ 1663125 w 8079933"/>
              <a:gd name="connsiteY30857" fmla="*/ 2389965 h 4687251"/>
              <a:gd name="connsiteX30858" fmla="*/ 1661715 w 8079933"/>
              <a:gd name="connsiteY30858" fmla="*/ 2395270 h 4687251"/>
              <a:gd name="connsiteX30859" fmla="*/ 1658134 w 8079933"/>
              <a:gd name="connsiteY30859" fmla="*/ 2400467 h 4687251"/>
              <a:gd name="connsiteX30860" fmla="*/ 1657482 w 8079933"/>
              <a:gd name="connsiteY30860" fmla="*/ 2404581 h 4687251"/>
              <a:gd name="connsiteX30861" fmla="*/ 1654661 w 8079933"/>
              <a:gd name="connsiteY30861" fmla="*/ 2404906 h 4687251"/>
              <a:gd name="connsiteX30862" fmla="*/ 1655529 w 8079933"/>
              <a:gd name="connsiteY30862" fmla="*/ 2402524 h 4687251"/>
              <a:gd name="connsiteX30863" fmla="*/ 1656289 w 8079933"/>
              <a:gd name="connsiteY30863" fmla="*/ 2398194 h 4687251"/>
              <a:gd name="connsiteX30864" fmla="*/ 1652056 w 8079933"/>
              <a:gd name="connsiteY30864" fmla="*/ 2397869 h 4687251"/>
              <a:gd name="connsiteX30865" fmla="*/ 1652056 w 8079933"/>
              <a:gd name="connsiteY30865" fmla="*/ 2404581 h 4687251"/>
              <a:gd name="connsiteX30866" fmla="*/ 1649126 w 8079933"/>
              <a:gd name="connsiteY30866" fmla="*/ 2408155 h 4687251"/>
              <a:gd name="connsiteX30867" fmla="*/ 1652274 w 8079933"/>
              <a:gd name="connsiteY30867" fmla="*/ 2410645 h 4687251"/>
              <a:gd name="connsiteX30868" fmla="*/ 1651188 w 8079933"/>
              <a:gd name="connsiteY30868" fmla="*/ 2412810 h 4687251"/>
              <a:gd name="connsiteX30869" fmla="*/ 1649669 w 8079933"/>
              <a:gd name="connsiteY30869" fmla="*/ 2419523 h 4687251"/>
              <a:gd name="connsiteX30870" fmla="*/ 1647281 w 8079933"/>
              <a:gd name="connsiteY30870" fmla="*/ 2421904 h 4687251"/>
              <a:gd name="connsiteX30871" fmla="*/ 1647281 w 8079933"/>
              <a:gd name="connsiteY30871" fmla="*/ 2427643 h 4687251"/>
              <a:gd name="connsiteX30872" fmla="*/ 1648801 w 8079933"/>
              <a:gd name="connsiteY30872" fmla="*/ 2429700 h 4687251"/>
              <a:gd name="connsiteX30873" fmla="*/ 1647065 w 8079933"/>
              <a:gd name="connsiteY30873" fmla="*/ 2432948 h 4687251"/>
              <a:gd name="connsiteX30874" fmla="*/ 1647390 w 8079933"/>
              <a:gd name="connsiteY30874" fmla="*/ 2436413 h 4687251"/>
              <a:gd name="connsiteX30875" fmla="*/ 1644895 w 8079933"/>
              <a:gd name="connsiteY30875" fmla="*/ 2448214 h 4687251"/>
              <a:gd name="connsiteX30876" fmla="*/ 1646088 w 8079933"/>
              <a:gd name="connsiteY30876" fmla="*/ 2455685 h 4687251"/>
              <a:gd name="connsiteX30877" fmla="*/ 1644895 w 8079933"/>
              <a:gd name="connsiteY30877" fmla="*/ 2466946 h 4687251"/>
              <a:gd name="connsiteX30878" fmla="*/ 1641097 w 8079933"/>
              <a:gd name="connsiteY30878" fmla="*/ 2471926 h 4687251"/>
              <a:gd name="connsiteX30879" fmla="*/ 1642290 w 8079933"/>
              <a:gd name="connsiteY30879" fmla="*/ 2475715 h 4687251"/>
              <a:gd name="connsiteX30880" fmla="*/ 1643809 w 8079933"/>
              <a:gd name="connsiteY30880" fmla="*/ 2484810 h 4687251"/>
              <a:gd name="connsiteX30881" fmla="*/ 1643158 w 8079933"/>
              <a:gd name="connsiteY30881" fmla="*/ 2490007 h 4687251"/>
              <a:gd name="connsiteX30882" fmla="*/ 1649344 w 8079933"/>
              <a:gd name="connsiteY30882" fmla="*/ 2499860 h 4687251"/>
              <a:gd name="connsiteX30883" fmla="*/ 1649452 w 8079933"/>
              <a:gd name="connsiteY30883" fmla="*/ 2506897 h 4687251"/>
              <a:gd name="connsiteX30884" fmla="*/ 1647933 w 8079933"/>
              <a:gd name="connsiteY30884" fmla="*/ 2508196 h 4687251"/>
              <a:gd name="connsiteX30885" fmla="*/ 1647281 w 8079933"/>
              <a:gd name="connsiteY30885" fmla="*/ 2499860 h 4687251"/>
              <a:gd name="connsiteX30886" fmla="*/ 1641965 w 8079933"/>
              <a:gd name="connsiteY30886" fmla="*/ 2492930 h 4687251"/>
              <a:gd name="connsiteX30887" fmla="*/ 1641205 w 8079933"/>
              <a:gd name="connsiteY30887" fmla="*/ 2498127 h 4687251"/>
              <a:gd name="connsiteX30888" fmla="*/ 1644895 w 8079933"/>
              <a:gd name="connsiteY30888" fmla="*/ 2501375 h 4687251"/>
              <a:gd name="connsiteX30889" fmla="*/ 1647608 w 8079933"/>
              <a:gd name="connsiteY30889" fmla="*/ 2511119 h 4687251"/>
              <a:gd name="connsiteX30890" fmla="*/ 1648801 w 8079933"/>
              <a:gd name="connsiteY30890" fmla="*/ 2514476 h 4687251"/>
              <a:gd name="connsiteX30891" fmla="*/ 1647065 w 8079933"/>
              <a:gd name="connsiteY30891" fmla="*/ 2517724 h 4687251"/>
              <a:gd name="connsiteX30892" fmla="*/ 1649886 w 8079933"/>
              <a:gd name="connsiteY30892" fmla="*/ 2521838 h 4687251"/>
              <a:gd name="connsiteX30893" fmla="*/ 1650863 w 8079933"/>
              <a:gd name="connsiteY30893" fmla="*/ 2526494 h 4687251"/>
              <a:gd name="connsiteX30894" fmla="*/ 1663993 w 8079933"/>
              <a:gd name="connsiteY30894" fmla="*/ 2540569 h 4687251"/>
              <a:gd name="connsiteX30895" fmla="*/ 1666163 w 8079933"/>
              <a:gd name="connsiteY30895" fmla="*/ 2545874 h 4687251"/>
              <a:gd name="connsiteX30896" fmla="*/ 1670613 w 8079933"/>
              <a:gd name="connsiteY30896" fmla="*/ 2552371 h 4687251"/>
              <a:gd name="connsiteX30897" fmla="*/ 1670179 w 8079933"/>
              <a:gd name="connsiteY30897" fmla="*/ 2555943 h 4687251"/>
              <a:gd name="connsiteX30898" fmla="*/ 1671481 w 8079933"/>
              <a:gd name="connsiteY30898" fmla="*/ 2559841 h 4687251"/>
              <a:gd name="connsiteX30899" fmla="*/ 1681465 w 8079933"/>
              <a:gd name="connsiteY30899" fmla="*/ 2571643 h 4687251"/>
              <a:gd name="connsiteX30900" fmla="*/ 1684611 w 8079933"/>
              <a:gd name="connsiteY30900" fmla="*/ 2575000 h 4687251"/>
              <a:gd name="connsiteX30901" fmla="*/ 1686890 w 8079933"/>
              <a:gd name="connsiteY30901" fmla="*/ 2574458 h 4687251"/>
              <a:gd name="connsiteX30902" fmla="*/ 1693510 w 8079933"/>
              <a:gd name="connsiteY30902" fmla="*/ 2574566 h 4687251"/>
              <a:gd name="connsiteX30903" fmla="*/ 1695029 w 8079933"/>
              <a:gd name="connsiteY30903" fmla="*/ 2576407 h 4687251"/>
              <a:gd name="connsiteX30904" fmla="*/ 1701974 w 8079933"/>
              <a:gd name="connsiteY30904" fmla="*/ 2579330 h 4687251"/>
              <a:gd name="connsiteX30905" fmla="*/ 1707400 w 8079933"/>
              <a:gd name="connsiteY30905" fmla="*/ 2586909 h 4687251"/>
              <a:gd name="connsiteX30906" fmla="*/ 1709244 w 8079933"/>
              <a:gd name="connsiteY30906" fmla="*/ 2592864 h 4687251"/>
              <a:gd name="connsiteX30907" fmla="*/ 1714996 w 8079933"/>
              <a:gd name="connsiteY30907" fmla="*/ 2590265 h 4687251"/>
              <a:gd name="connsiteX30908" fmla="*/ 1723026 w 8079933"/>
              <a:gd name="connsiteY30908" fmla="*/ 2588533 h 4687251"/>
              <a:gd name="connsiteX30909" fmla="*/ 1725088 w 8079933"/>
              <a:gd name="connsiteY30909" fmla="*/ 2590915 h 4687251"/>
              <a:gd name="connsiteX30910" fmla="*/ 1727909 w 8079933"/>
              <a:gd name="connsiteY30910" fmla="*/ 2590915 h 4687251"/>
              <a:gd name="connsiteX30911" fmla="*/ 1737893 w 8079933"/>
              <a:gd name="connsiteY30911" fmla="*/ 2585285 h 4687251"/>
              <a:gd name="connsiteX30912" fmla="*/ 1739304 w 8079933"/>
              <a:gd name="connsiteY30912" fmla="*/ 2583228 h 4687251"/>
              <a:gd name="connsiteX30913" fmla="*/ 1747768 w 8079933"/>
              <a:gd name="connsiteY30913" fmla="*/ 2582470 h 4687251"/>
              <a:gd name="connsiteX30914" fmla="*/ 1753194 w 8079933"/>
              <a:gd name="connsiteY30914" fmla="*/ 2582362 h 4687251"/>
              <a:gd name="connsiteX30915" fmla="*/ 1757535 w 8079933"/>
              <a:gd name="connsiteY30915" fmla="*/ 2578680 h 4687251"/>
              <a:gd name="connsiteX30916" fmla="*/ 1763937 w 8079933"/>
              <a:gd name="connsiteY30916" fmla="*/ 2578572 h 4687251"/>
              <a:gd name="connsiteX30917" fmla="*/ 1769038 w 8079933"/>
              <a:gd name="connsiteY30917" fmla="*/ 2580088 h 4687251"/>
              <a:gd name="connsiteX30918" fmla="*/ 1771099 w 8079933"/>
              <a:gd name="connsiteY30918" fmla="*/ 2577381 h 4687251"/>
              <a:gd name="connsiteX30919" fmla="*/ 1777827 w 8079933"/>
              <a:gd name="connsiteY30919" fmla="*/ 2579222 h 4687251"/>
              <a:gd name="connsiteX30920" fmla="*/ 1773269 w 8079933"/>
              <a:gd name="connsiteY30920" fmla="*/ 2581604 h 4687251"/>
              <a:gd name="connsiteX30921" fmla="*/ 1771967 w 8079933"/>
              <a:gd name="connsiteY30921" fmla="*/ 2584527 h 4687251"/>
              <a:gd name="connsiteX30922" fmla="*/ 1777502 w 8079933"/>
              <a:gd name="connsiteY30922" fmla="*/ 2587018 h 4687251"/>
              <a:gd name="connsiteX30923" fmla="*/ 1780323 w 8079933"/>
              <a:gd name="connsiteY30923" fmla="*/ 2589724 h 4687251"/>
              <a:gd name="connsiteX30924" fmla="*/ 1781300 w 8079933"/>
              <a:gd name="connsiteY30924" fmla="*/ 2587126 h 4687251"/>
              <a:gd name="connsiteX30925" fmla="*/ 1784121 w 8079933"/>
              <a:gd name="connsiteY30925" fmla="*/ 2587018 h 4687251"/>
              <a:gd name="connsiteX30926" fmla="*/ 1788679 w 8079933"/>
              <a:gd name="connsiteY30926" fmla="*/ 2581496 h 4687251"/>
              <a:gd name="connsiteX30927" fmla="*/ 1788896 w 8079933"/>
              <a:gd name="connsiteY30927" fmla="*/ 2574566 h 4687251"/>
              <a:gd name="connsiteX30928" fmla="*/ 1790089 w 8079933"/>
              <a:gd name="connsiteY30928" fmla="*/ 2570452 h 4687251"/>
              <a:gd name="connsiteX30929" fmla="*/ 1785423 w 8079933"/>
              <a:gd name="connsiteY30929" fmla="*/ 2573592 h 4687251"/>
              <a:gd name="connsiteX30930" fmla="*/ 1784555 w 8079933"/>
              <a:gd name="connsiteY30930" fmla="*/ 2572725 h 4687251"/>
              <a:gd name="connsiteX30931" fmla="*/ 1795299 w 8079933"/>
              <a:gd name="connsiteY30931" fmla="*/ 2566987 h 4687251"/>
              <a:gd name="connsiteX30932" fmla="*/ 1798880 w 8079933"/>
              <a:gd name="connsiteY30932" fmla="*/ 2566229 h 4687251"/>
              <a:gd name="connsiteX30933" fmla="*/ 1803437 w 8079933"/>
              <a:gd name="connsiteY30933" fmla="*/ 2560707 h 4687251"/>
              <a:gd name="connsiteX30934" fmla="*/ 1803437 w 8079933"/>
              <a:gd name="connsiteY30934" fmla="*/ 2552371 h 4687251"/>
              <a:gd name="connsiteX30935" fmla="*/ 1812119 w 8079933"/>
              <a:gd name="connsiteY30935" fmla="*/ 2543060 h 4687251"/>
              <a:gd name="connsiteX30936" fmla="*/ 1811467 w 8079933"/>
              <a:gd name="connsiteY30936" fmla="*/ 2541327 h 4687251"/>
              <a:gd name="connsiteX30937" fmla="*/ 1812119 w 8079933"/>
              <a:gd name="connsiteY30937" fmla="*/ 2526602 h 4687251"/>
              <a:gd name="connsiteX30938" fmla="*/ 1821125 w 8079933"/>
              <a:gd name="connsiteY30938" fmla="*/ 2516641 h 4687251"/>
              <a:gd name="connsiteX30939" fmla="*/ 1817327 w 8079933"/>
              <a:gd name="connsiteY30939" fmla="*/ 2516209 h 4687251"/>
              <a:gd name="connsiteX30940" fmla="*/ 1817327 w 8079933"/>
              <a:gd name="connsiteY30940" fmla="*/ 2512852 h 4687251"/>
              <a:gd name="connsiteX30941" fmla="*/ 1832845 w 8079933"/>
              <a:gd name="connsiteY30941" fmla="*/ 2509062 h 4687251"/>
              <a:gd name="connsiteX30942" fmla="*/ 1853138 w 8079933"/>
              <a:gd name="connsiteY30942" fmla="*/ 2509387 h 4687251"/>
              <a:gd name="connsiteX30943" fmla="*/ 1856610 w 8079933"/>
              <a:gd name="connsiteY30943" fmla="*/ 2504515 h 4687251"/>
              <a:gd name="connsiteX30944" fmla="*/ 1862470 w 8079933"/>
              <a:gd name="connsiteY30944" fmla="*/ 2503866 h 4687251"/>
              <a:gd name="connsiteX30945" fmla="*/ 1864532 w 8079933"/>
              <a:gd name="connsiteY30945" fmla="*/ 2505923 h 4687251"/>
              <a:gd name="connsiteX30946" fmla="*/ 1870392 w 8079933"/>
              <a:gd name="connsiteY30946" fmla="*/ 2503216 h 4687251"/>
              <a:gd name="connsiteX30947" fmla="*/ 1870066 w 8079933"/>
              <a:gd name="connsiteY30947" fmla="*/ 2500726 h 4687251"/>
              <a:gd name="connsiteX30948" fmla="*/ 1879399 w 8079933"/>
              <a:gd name="connsiteY30948" fmla="*/ 2500401 h 4687251"/>
              <a:gd name="connsiteX30949" fmla="*/ 1890467 w 8079933"/>
              <a:gd name="connsiteY30949" fmla="*/ 2503216 h 4687251"/>
              <a:gd name="connsiteX30950" fmla="*/ 1893180 w 8079933"/>
              <a:gd name="connsiteY30950" fmla="*/ 2502133 h 4687251"/>
              <a:gd name="connsiteX30951" fmla="*/ 1892204 w 8079933"/>
              <a:gd name="connsiteY30951" fmla="*/ 2499427 h 4687251"/>
              <a:gd name="connsiteX30952" fmla="*/ 1896653 w 8079933"/>
              <a:gd name="connsiteY30952" fmla="*/ 2498993 h 4687251"/>
              <a:gd name="connsiteX30953" fmla="*/ 1903598 w 8079933"/>
              <a:gd name="connsiteY30953" fmla="*/ 2507763 h 4687251"/>
              <a:gd name="connsiteX30954" fmla="*/ 1904032 w 8079933"/>
              <a:gd name="connsiteY30954" fmla="*/ 2513068 h 4687251"/>
              <a:gd name="connsiteX30955" fmla="*/ 1900234 w 8079933"/>
              <a:gd name="connsiteY30955" fmla="*/ 2519023 h 4687251"/>
              <a:gd name="connsiteX30956" fmla="*/ 1894808 w 8079933"/>
              <a:gd name="connsiteY30956" fmla="*/ 2528010 h 4687251"/>
              <a:gd name="connsiteX30957" fmla="*/ 1884391 w 8079933"/>
              <a:gd name="connsiteY30957" fmla="*/ 2537429 h 4687251"/>
              <a:gd name="connsiteX30958" fmla="*/ 1882329 w 8079933"/>
              <a:gd name="connsiteY30958" fmla="*/ 2540894 h 4687251"/>
              <a:gd name="connsiteX30959" fmla="*/ 1881786 w 8079933"/>
              <a:gd name="connsiteY30959" fmla="*/ 2547282 h 4687251"/>
              <a:gd name="connsiteX30960" fmla="*/ 1877120 w 8079933"/>
              <a:gd name="connsiteY30960" fmla="*/ 2550205 h 4687251"/>
              <a:gd name="connsiteX30961" fmla="*/ 1875600 w 8079933"/>
              <a:gd name="connsiteY30961" fmla="*/ 2551937 h 4687251"/>
              <a:gd name="connsiteX30962" fmla="*/ 1878639 w 8079933"/>
              <a:gd name="connsiteY30962" fmla="*/ 2554536 h 4687251"/>
              <a:gd name="connsiteX30963" fmla="*/ 1882654 w 8079933"/>
              <a:gd name="connsiteY30963" fmla="*/ 2554536 h 4687251"/>
              <a:gd name="connsiteX30964" fmla="*/ 1881786 w 8079933"/>
              <a:gd name="connsiteY30964" fmla="*/ 2557892 h 4687251"/>
              <a:gd name="connsiteX30965" fmla="*/ 1876468 w 8079933"/>
              <a:gd name="connsiteY30965" fmla="*/ 2563631 h 4687251"/>
              <a:gd name="connsiteX30966" fmla="*/ 1876468 w 8079933"/>
              <a:gd name="connsiteY30966" fmla="*/ 2565472 h 4687251"/>
              <a:gd name="connsiteX30967" fmla="*/ 1878531 w 8079933"/>
              <a:gd name="connsiteY30967" fmla="*/ 2566554 h 4687251"/>
              <a:gd name="connsiteX30968" fmla="*/ 1880918 w 8079933"/>
              <a:gd name="connsiteY30968" fmla="*/ 2564064 h 4687251"/>
              <a:gd name="connsiteX30969" fmla="*/ 1883088 w 8079933"/>
              <a:gd name="connsiteY30969" fmla="*/ 2563739 h 4687251"/>
              <a:gd name="connsiteX30970" fmla="*/ 1880701 w 8079933"/>
              <a:gd name="connsiteY30970" fmla="*/ 2567745 h 4687251"/>
              <a:gd name="connsiteX30971" fmla="*/ 1876903 w 8079933"/>
              <a:gd name="connsiteY30971" fmla="*/ 2582686 h 4687251"/>
              <a:gd name="connsiteX30972" fmla="*/ 1872454 w 8079933"/>
              <a:gd name="connsiteY30972" fmla="*/ 2590374 h 4687251"/>
              <a:gd name="connsiteX30973" fmla="*/ 1871477 w 8079933"/>
              <a:gd name="connsiteY30973" fmla="*/ 2591457 h 4687251"/>
              <a:gd name="connsiteX30974" fmla="*/ 1869524 w 8079933"/>
              <a:gd name="connsiteY30974" fmla="*/ 2587018 h 4687251"/>
              <a:gd name="connsiteX30975" fmla="*/ 1864206 w 8079933"/>
              <a:gd name="connsiteY30975" fmla="*/ 2583661 h 4687251"/>
              <a:gd name="connsiteX30976" fmla="*/ 1863989 w 8079933"/>
              <a:gd name="connsiteY30976" fmla="*/ 2582362 h 4687251"/>
              <a:gd name="connsiteX30977" fmla="*/ 1866268 w 8079933"/>
              <a:gd name="connsiteY30977" fmla="*/ 2580088 h 4687251"/>
              <a:gd name="connsiteX30978" fmla="*/ 1866811 w 8079933"/>
              <a:gd name="connsiteY30978" fmla="*/ 2575324 h 4687251"/>
              <a:gd name="connsiteX30979" fmla="*/ 1863989 w 8079933"/>
              <a:gd name="connsiteY30979" fmla="*/ 2576190 h 4687251"/>
              <a:gd name="connsiteX30980" fmla="*/ 1858781 w 8079933"/>
              <a:gd name="connsiteY30980" fmla="*/ 2582145 h 4687251"/>
              <a:gd name="connsiteX30981" fmla="*/ 1854657 w 8079933"/>
              <a:gd name="connsiteY30981" fmla="*/ 2585718 h 4687251"/>
              <a:gd name="connsiteX30982" fmla="*/ 1854765 w 8079933"/>
              <a:gd name="connsiteY30982" fmla="*/ 2585826 h 4687251"/>
              <a:gd name="connsiteX30983" fmla="*/ 1854766 w 8079933"/>
              <a:gd name="connsiteY30983" fmla="*/ 2585826 h 4687251"/>
              <a:gd name="connsiteX30984" fmla="*/ 1855959 w 8079933"/>
              <a:gd name="connsiteY30984" fmla="*/ 2587991 h 4687251"/>
              <a:gd name="connsiteX30985" fmla="*/ 1858347 w 8079933"/>
              <a:gd name="connsiteY30985" fmla="*/ 2585718 h 4687251"/>
              <a:gd name="connsiteX30986" fmla="*/ 1861385 w 8079933"/>
              <a:gd name="connsiteY30986" fmla="*/ 2585718 h 4687251"/>
              <a:gd name="connsiteX30987" fmla="*/ 1861928 w 8079933"/>
              <a:gd name="connsiteY30987" fmla="*/ 2588316 h 4687251"/>
              <a:gd name="connsiteX30988" fmla="*/ 1861277 w 8079933"/>
              <a:gd name="connsiteY30988" fmla="*/ 2590914 h 4687251"/>
              <a:gd name="connsiteX30989" fmla="*/ 1860626 w 8079933"/>
              <a:gd name="connsiteY30989" fmla="*/ 2602608 h 4687251"/>
              <a:gd name="connsiteX30990" fmla="*/ 1858021 w 8079933"/>
              <a:gd name="connsiteY30990" fmla="*/ 2606939 h 4687251"/>
              <a:gd name="connsiteX30991" fmla="*/ 1856936 w 8079933"/>
              <a:gd name="connsiteY30991" fmla="*/ 2613977 h 4687251"/>
              <a:gd name="connsiteX30992" fmla="*/ 1859541 w 8079933"/>
              <a:gd name="connsiteY30992" fmla="*/ 2616575 h 4687251"/>
              <a:gd name="connsiteX30993" fmla="*/ 1859324 w 8079933"/>
              <a:gd name="connsiteY30993" fmla="*/ 2624479 h 4687251"/>
              <a:gd name="connsiteX30994" fmla="*/ 1856936 w 8079933"/>
              <a:gd name="connsiteY30994" fmla="*/ 2630975 h 4687251"/>
              <a:gd name="connsiteX30995" fmla="*/ 1850208 w 8079933"/>
              <a:gd name="connsiteY30995" fmla="*/ 2640286 h 4687251"/>
              <a:gd name="connsiteX30996" fmla="*/ 1847603 w 8079933"/>
              <a:gd name="connsiteY30996" fmla="*/ 2638013 h 4687251"/>
              <a:gd name="connsiteX30997" fmla="*/ 1843155 w 8079933"/>
              <a:gd name="connsiteY30997" fmla="*/ 2642668 h 4687251"/>
              <a:gd name="connsiteX30998" fmla="*/ 1841310 w 8079933"/>
              <a:gd name="connsiteY30998" fmla="*/ 2646673 h 4687251"/>
              <a:gd name="connsiteX30999" fmla="*/ 1842830 w 8079933"/>
              <a:gd name="connsiteY30999" fmla="*/ 2649380 h 4687251"/>
              <a:gd name="connsiteX31000" fmla="*/ 1846302 w 8079933"/>
              <a:gd name="connsiteY31000" fmla="*/ 2649380 h 4687251"/>
              <a:gd name="connsiteX31001" fmla="*/ 1850100 w 8079933"/>
              <a:gd name="connsiteY31001" fmla="*/ 2651978 h 4687251"/>
              <a:gd name="connsiteX31002" fmla="*/ 1851294 w 8079933"/>
              <a:gd name="connsiteY31002" fmla="*/ 2649055 h 4687251"/>
              <a:gd name="connsiteX31003" fmla="*/ 1855526 w 8079933"/>
              <a:gd name="connsiteY31003" fmla="*/ 2649597 h 4687251"/>
              <a:gd name="connsiteX31004" fmla="*/ 1857479 w 8079933"/>
              <a:gd name="connsiteY31004" fmla="*/ 2651113 h 4687251"/>
              <a:gd name="connsiteX31005" fmla="*/ 1857479 w 8079933"/>
              <a:gd name="connsiteY31005" fmla="*/ 2651113 h 4687251"/>
              <a:gd name="connsiteX31006" fmla="*/ 1860409 w 8079933"/>
              <a:gd name="connsiteY31006" fmla="*/ 2653495 h 4687251"/>
              <a:gd name="connsiteX31007" fmla="*/ 1866594 w 8079933"/>
              <a:gd name="connsiteY31007" fmla="*/ 2650030 h 4687251"/>
              <a:gd name="connsiteX31008" fmla="*/ 1880701 w 8079933"/>
              <a:gd name="connsiteY31008" fmla="*/ 2649706 h 4687251"/>
              <a:gd name="connsiteX31009" fmla="*/ 1890902 w 8079933"/>
              <a:gd name="connsiteY31009" fmla="*/ 2650571 h 4687251"/>
              <a:gd name="connsiteX31010" fmla="*/ 1898823 w 8079933"/>
              <a:gd name="connsiteY31010" fmla="*/ 2648514 h 4687251"/>
              <a:gd name="connsiteX31011" fmla="*/ 1902730 w 8079933"/>
              <a:gd name="connsiteY31011" fmla="*/ 2649922 h 4687251"/>
              <a:gd name="connsiteX31012" fmla="*/ 1905226 w 8079933"/>
              <a:gd name="connsiteY31012" fmla="*/ 2648190 h 4687251"/>
              <a:gd name="connsiteX31013" fmla="*/ 1908916 w 8079933"/>
              <a:gd name="connsiteY31013" fmla="*/ 2646674 h 4687251"/>
              <a:gd name="connsiteX31014" fmla="*/ 1907071 w 8079933"/>
              <a:gd name="connsiteY31014" fmla="*/ 2645267 h 4687251"/>
              <a:gd name="connsiteX31015" fmla="*/ 1908156 w 8079933"/>
              <a:gd name="connsiteY31015" fmla="*/ 2642343 h 4687251"/>
              <a:gd name="connsiteX31016" fmla="*/ 1913147 w 8079933"/>
              <a:gd name="connsiteY31016" fmla="*/ 2644725 h 4687251"/>
              <a:gd name="connsiteX31017" fmla="*/ 1918682 w 8079933"/>
              <a:gd name="connsiteY31017" fmla="*/ 2649380 h 4687251"/>
              <a:gd name="connsiteX31018" fmla="*/ 1928774 w 8079933"/>
              <a:gd name="connsiteY31018" fmla="*/ 2649922 h 4687251"/>
              <a:gd name="connsiteX31019" fmla="*/ 1939300 w 8079933"/>
              <a:gd name="connsiteY31019" fmla="*/ 2650896 h 4687251"/>
              <a:gd name="connsiteX31020" fmla="*/ 1942447 w 8079933"/>
              <a:gd name="connsiteY31020" fmla="*/ 2653170 h 4687251"/>
              <a:gd name="connsiteX31021" fmla="*/ 1943424 w 8079933"/>
              <a:gd name="connsiteY31021" fmla="*/ 2650247 h 4687251"/>
              <a:gd name="connsiteX31022" fmla="*/ 1946028 w 8079933"/>
              <a:gd name="connsiteY31022" fmla="*/ 2651437 h 4687251"/>
              <a:gd name="connsiteX31023" fmla="*/ 1949935 w 8079933"/>
              <a:gd name="connsiteY31023" fmla="*/ 2650571 h 4687251"/>
              <a:gd name="connsiteX31024" fmla="*/ 1954167 w 8079933"/>
              <a:gd name="connsiteY31024" fmla="*/ 2650896 h 4687251"/>
              <a:gd name="connsiteX31025" fmla="*/ 1960027 w 8079933"/>
              <a:gd name="connsiteY31025" fmla="*/ 2654145 h 4687251"/>
              <a:gd name="connsiteX31026" fmla="*/ 1964259 w 8079933"/>
              <a:gd name="connsiteY31026" fmla="*/ 2657610 h 4687251"/>
              <a:gd name="connsiteX31027" fmla="*/ 1963391 w 8079933"/>
              <a:gd name="connsiteY31027" fmla="*/ 2658259 h 4687251"/>
              <a:gd name="connsiteX31028" fmla="*/ 1957097 w 8079933"/>
              <a:gd name="connsiteY31028" fmla="*/ 2656418 h 4687251"/>
              <a:gd name="connsiteX31029" fmla="*/ 1953299 w 8079933"/>
              <a:gd name="connsiteY31029" fmla="*/ 2655552 h 4687251"/>
              <a:gd name="connsiteX31030" fmla="*/ 1951237 w 8079933"/>
              <a:gd name="connsiteY31030" fmla="*/ 2656094 h 4687251"/>
              <a:gd name="connsiteX31031" fmla="*/ 1951562 w 8079933"/>
              <a:gd name="connsiteY31031" fmla="*/ 2658259 h 4687251"/>
              <a:gd name="connsiteX31032" fmla="*/ 1948416 w 8079933"/>
              <a:gd name="connsiteY31032" fmla="*/ 2659125 h 4687251"/>
              <a:gd name="connsiteX31033" fmla="*/ 1947439 w 8079933"/>
              <a:gd name="connsiteY31033" fmla="*/ 2661074 h 4687251"/>
              <a:gd name="connsiteX31034" fmla="*/ 1951346 w 8079933"/>
              <a:gd name="connsiteY31034" fmla="*/ 2661074 h 4687251"/>
              <a:gd name="connsiteX31035" fmla="*/ 1955795 w 8079933"/>
              <a:gd name="connsiteY31035" fmla="*/ 2661615 h 4687251"/>
              <a:gd name="connsiteX31036" fmla="*/ 1958291 w 8079933"/>
              <a:gd name="connsiteY31036" fmla="*/ 2663456 h 4687251"/>
              <a:gd name="connsiteX31037" fmla="*/ 1964476 w 8079933"/>
              <a:gd name="connsiteY31037" fmla="*/ 2664106 h 4687251"/>
              <a:gd name="connsiteX31038" fmla="*/ 1969576 w 8079933"/>
              <a:gd name="connsiteY31038" fmla="*/ 2664322 h 4687251"/>
              <a:gd name="connsiteX31039" fmla="*/ 1967514 w 8079933"/>
              <a:gd name="connsiteY31039" fmla="*/ 2660424 h 4687251"/>
              <a:gd name="connsiteX31040" fmla="*/ 1967840 w 8079933"/>
              <a:gd name="connsiteY31040" fmla="*/ 2659558 h 4687251"/>
              <a:gd name="connsiteX31041" fmla="*/ 1973049 w 8079933"/>
              <a:gd name="connsiteY31041" fmla="*/ 2661723 h 4687251"/>
              <a:gd name="connsiteX31042" fmla="*/ 1978583 w 8079933"/>
              <a:gd name="connsiteY31042" fmla="*/ 2666271 h 4687251"/>
              <a:gd name="connsiteX31043" fmla="*/ 1979994 w 8079933"/>
              <a:gd name="connsiteY31043" fmla="*/ 2668653 h 4687251"/>
              <a:gd name="connsiteX31044" fmla="*/ 1978475 w 8079933"/>
              <a:gd name="connsiteY31044" fmla="*/ 2670169 h 4687251"/>
              <a:gd name="connsiteX31045" fmla="*/ 1976305 w 8079933"/>
              <a:gd name="connsiteY31045" fmla="*/ 2670602 h 4687251"/>
              <a:gd name="connsiteX31046" fmla="*/ 1977823 w 8079933"/>
              <a:gd name="connsiteY31046" fmla="*/ 2670602 h 4687251"/>
              <a:gd name="connsiteX31047" fmla="*/ 1976412 w 8079933"/>
              <a:gd name="connsiteY31047" fmla="*/ 2672118 h 4687251"/>
              <a:gd name="connsiteX31048" fmla="*/ 1975002 w 8079933"/>
              <a:gd name="connsiteY31048" fmla="*/ 2674716 h 4687251"/>
              <a:gd name="connsiteX31049" fmla="*/ 1975002 w 8079933"/>
              <a:gd name="connsiteY31049" fmla="*/ 2681104 h 4687251"/>
              <a:gd name="connsiteX31050" fmla="*/ 1975653 w 8079933"/>
              <a:gd name="connsiteY31050" fmla="*/ 2685110 h 4687251"/>
              <a:gd name="connsiteX31051" fmla="*/ 1974242 w 8079933"/>
              <a:gd name="connsiteY31051" fmla="*/ 2688141 h 4687251"/>
              <a:gd name="connsiteX31052" fmla="*/ 1974242 w 8079933"/>
              <a:gd name="connsiteY31052" fmla="*/ 2690198 h 4687251"/>
              <a:gd name="connsiteX31053" fmla="*/ 1976521 w 8079933"/>
              <a:gd name="connsiteY31053" fmla="*/ 2691823 h 4687251"/>
              <a:gd name="connsiteX31054" fmla="*/ 1976521 w 8079933"/>
              <a:gd name="connsiteY31054" fmla="*/ 2694205 h 4687251"/>
              <a:gd name="connsiteX31055" fmla="*/ 1974676 w 8079933"/>
              <a:gd name="connsiteY31055" fmla="*/ 2697453 h 4687251"/>
              <a:gd name="connsiteX31056" fmla="*/ 1970769 w 8079933"/>
              <a:gd name="connsiteY31056" fmla="*/ 2702325 h 4687251"/>
              <a:gd name="connsiteX31057" fmla="*/ 1969250 w 8079933"/>
              <a:gd name="connsiteY31057" fmla="*/ 2708280 h 4687251"/>
              <a:gd name="connsiteX31058" fmla="*/ 1968382 w 8079933"/>
              <a:gd name="connsiteY31058" fmla="*/ 2706764 h 4687251"/>
              <a:gd name="connsiteX31059" fmla="*/ 1966863 w 8079933"/>
              <a:gd name="connsiteY31059" fmla="*/ 2706764 h 4687251"/>
              <a:gd name="connsiteX31060" fmla="*/ 1965235 w 8079933"/>
              <a:gd name="connsiteY31060" fmla="*/ 2708496 h 4687251"/>
              <a:gd name="connsiteX31061" fmla="*/ 1965235 w 8079933"/>
              <a:gd name="connsiteY31061" fmla="*/ 2710879 h 4687251"/>
              <a:gd name="connsiteX31062" fmla="*/ 1966755 w 8079933"/>
              <a:gd name="connsiteY31062" fmla="*/ 2711528 h 4687251"/>
              <a:gd name="connsiteX31063" fmla="*/ 1968600 w 8079933"/>
              <a:gd name="connsiteY31063" fmla="*/ 2714235 h 4687251"/>
              <a:gd name="connsiteX31064" fmla="*/ 1967731 w 8079933"/>
              <a:gd name="connsiteY31064" fmla="*/ 2716617 h 4687251"/>
              <a:gd name="connsiteX31065" fmla="*/ 1967731 w 8079933"/>
              <a:gd name="connsiteY31065" fmla="*/ 2727444 h 4687251"/>
              <a:gd name="connsiteX31066" fmla="*/ 1966646 w 8079933"/>
              <a:gd name="connsiteY31066" fmla="*/ 2736647 h 4687251"/>
              <a:gd name="connsiteX31067" fmla="*/ 1964802 w 8079933"/>
              <a:gd name="connsiteY31067" fmla="*/ 2739787 h 4687251"/>
              <a:gd name="connsiteX31068" fmla="*/ 1963499 w 8079933"/>
              <a:gd name="connsiteY31068" fmla="*/ 2739787 h 4687251"/>
              <a:gd name="connsiteX31069" fmla="*/ 1963499 w 8079933"/>
              <a:gd name="connsiteY31069" fmla="*/ 2734807 h 4687251"/>
              <a:gd name="connsiteX31070" fmla="*/ 1963499 w 8079933"/>
              <a:gd name="connsiteY31070" fmla="*/ 2731017 h 4687251"/>
              <a:gd name="connsiteX31071" fmla="*/ 1964367 w 8079933"/>
              <a:gd name="connsiteY31071" fmla="*/ 2729177 h 4687251"/>
              <a:gd name="connsiteX31072" fmla="*/ 1962305 w 8079933"/>
              <a:gd name="connsiteY31072" fmla="*/ 2729177 h 4687251"/>
              <a:gd name="connsiteX31073" fmla="*/ 1959592 w 8079933"/>
              <a:gd name="connsiteY31073" fmla="*/ 2736214 h 4687251"/>
              <a:gd name="connsiteX31074" fmla="*/ 1959592 w 8079933"/>
              <a:gd name="connsiteY31074" fmla="*/ 2739462 h 4687251"/>
              <a:gd name="connsiteX31075" fmla="*/ 1960244 w 8079933"/>
              <a:gd name="connsiteY31075" fmla="*/ 2742602 h 4687251"/>
              <a:gd name="connsiteX31076" fmla="*/ 1957965 w 8079933"/>
              <a:gd name="connsiteY31076" fmla="*/ 2747799 h 4687251"/>
              <a:gd name="connsiteX31077" fmla="*/ 1956771 w 8079933"/>
              <a:gd name="connsiteY31077" fmla="*/ 2751588 h 4687251"/>
              <a:gd name="connsiteX31078" fmla="*/ 1956771 w 8079933"/>
              <a:gd name="connsiteY31078" fmla="*/ 2755053 h 4687251"/>
              <a:gd name="connsiteX31079" fmla="*/ 1959159 w 8079933"/>
              <a:gd name="connsiteY31079" fmla="*/ 2753646 h 4687251"/>
              <a:gd name="connsiteX31080" fmla="*/ 1959809 w 8079933"/>
              <a:gd name="connsiteY31080" fmla="*/ 2751372 h 4687251"/>
              <a:gd name="connsiteX31081" fmla="*/ 1961220 w 8079933"/>
              <a:gd name="connsiteY31081" fmla="*/ 2748665 h 4687251"/>
              <a:gd name="connsiteX31082" fmla="*/ 1961220 w 8079933"/>
              <a:gd name="connsiteY31082" fmla="*/ 2753646 h 4687251"/>
              <a:gd name="connsiteX31083" fmla="*/ 1959701 w 8079933"/>
              <a:gd name="connsiteY31083" fmla="*/ 2757435 h 4687251"/>
              <a:gd name="connsiteX31084" fmla="*/ 1956771 w 8079933"/>
              <a:gd name="connsiteY31084" fmla="*/ 2763065 h 4687251"/>
              <a:gd name="connsiteX31085" fmla="*/ 1957965 w 8079933"/>
              <a:gd name="connsiteY31085" fmla="*/ 2768046 h 4687251"/>
              <a:gd name="connsiteX31086" fmla="*/ 1960569 w 8079933"/>
              <a:gd name="connsiteY31086" fmla="*/ 2771185 h 4687251"/>
              <a:gd name="connsiteX31087" fmla="*/ 1961220 w 8079933"/>
              <a:gd name="connsiteY31087" fmla="*/ 2774758 h 4687251"/>
              <a:gd name="connsiteX31088" fmla="*/ 1958941 w 8079933"/>
              <a:gd name="connsiteY31088" fmla="*/ 2776166 h 4687251"/>
              <a:gd name="connsiteX31089" fmla="*/ 1958562 w 8079933"/>
              <a:gd name="connsiteY31089" fmla="*/ 2776166 h 4687251"/>
              <a:gd name="connsiteX31090" fmla="*/ 1957749 w 8079933"/>
              <a:gd name="connsiteY31090" fmla="*/ 2777464 h 4687251"/>
              <a:gd name="connsiteX31091" fmla="*/ 1962740 w 8079933"/>
              <a:gd name="connsiteY31091" fmla="*/ 2777464 h 4687251"/>
              <a:gd name="connsiteX31092" fmla="*/ 1963392 w 8079933"/>
              <a:gd name="connsiteY31092" fmla="*/ 2775191 h 4687251"/>
              <a:gd name="connsiteX31093" fmla="*/ 1965670 w 8079933"/>
              <a:gd name="connsiteY31093" fmla="*/ 2774758 h 4687251"/>
              <a:gd name="connsiteX31094" fmla="*/ 1967298 w 8079933"/>
              <a:gd name="connsiteY31094" fmla="*/ 2778980 h 4687251"/>
              <a:gd name="connsiteX31095" fmla="*/ 1968058 w 8079933"/>
              <a:gd name="connsiteY31095" fmla="*/ 2784068 h 4687251"/>
              <a:gd name="connsiteX31096" fmla="*/ 1970988 w 8079933"/>
              <a:gd name="connsiteY31096" fmla="*/ 2788725 h 4687251"/>
              <a:gd name="connsiteX31097" fmla="*/ 1975762 w 8079933"/>
              <a:gd name="connsiteY31097" fmla="*/ 2793596 h 4687251"/>
              <a:gd name="connsiteX31098" fmla="*/ 1977282 w 8079933"/>
              <a:gd name="connsiteY31098" fmla="*/ 2797494 h 4687251"/>
              <a:gd name="connsiteX31099" fmla="*/ 1979886 w 8079933"/>
              <a:gd name="connsiteY31099" fmla="*/ 2800634 h 4687251"/>
              <a:gd name="connsiteX31100" fmla="*/ 1983684 w 8079933"/>
              <a:gd name="connsiteY31100" fmla="*/ 2801825 h 4687251"/>
              <a:gd name="connsiteX31101" fmla="*/ 1987048 w 8079933"/>
              <a:gd name="connsiteY31101" fmla="*/ 2804315 h 4687251"/>
              <a:gd name="connsiteX31102" fmla="*/ 1987482 w 8079933"/>
              <a:gd name="connsiteY31102" fmla="*/ 2805506 h 4687251"/>
              <a:gd name="connsiteX31103" fmla="*/ 1983358 w 8079933"/>
              <a:gd name="connsiteY31103" fmla="*/ 2805290 h 4687251"/>
              <a:gd name="connsiteX31104" fmla="*/ 1981080 w 8079933"/>
              <a:gd name="connsiteY31104" fmla="*/ 2806805 h 4687251"/>
              <a:gd name="connsiteX31105" fmla="*/ 1981080 w 8079933"/>
              <a:gd name="connsiteY31105" fmla="*/ 2806806 h 4687251"/>
              <a:gd name="connsiteX31106" fmla="*/ 1983358 w 8079933"/>
              <a:gd name="connsiteY31106" fmla="*/ 2805291 h 4687251"/>
              <a:gd name="connsiteX31107" fmla="*/ 1987481 w 8079933"/>
              <a:gd name="connsiteY31107" fmla="*/ 2805507 h 4687251"/>
              <a:gd name="connsiteX31108" fmla="*/ 1988458 w 8079933"/>
              <a:gd name="connsiteY31108" fmla="*/ 2808106 h 4687251"/>
              <a:gd name="connsiteX31109" fmla="*/ 1991063 w 8079933"/>
              <a:gd name="connsiteY31109" fmla="*/ 2810812 h 4687251"/>
              <a:gd name="connsiteX31110" fmla="*/ 1993992 w 8079933"/>
              <a:gd name="connsiteY31110" fmla="*/ 2811787 h 4687251"/>
              <a:gd name="connsiteX31111" fmla="*/ 1995946 w 8079933"/>
              <a:gd name="connsiteY31111" fmla="*/ 2811679 h 4687251"/>
              <a:gd name="connsiteX31112" fmla="*/ 1997140 w 8079933"/>
              <a:gd name="connsiteY31112" fmla="*/ 2813086 h 4687251"/>
              <a:gd name="connsiteX31113" fmla="*/ 1995512 w 8079933"/>
              <a:gd name="connsiteY31113" fmla="*/ 2813628 h 4687251"/>
              <a:gd name="connsiteX31114" fmla="*/ 1994644 w 8079933"/>
              <a:gd name="connsiteY31114" fmla="*/ 2814602 h 4687251"/>
              <a:gd name="connsiteX31115" fmla="*/ 1995837 w 8079933"/>
              <a:gd name="connsiteY31115" fmla="*/ 2816442 h 4687251"/>
              <a:gd name="connsiteX31116" fmla="*/ 1999744 w 8079933"/>
              <a:gd name="connsiteY31116" fmla="*/ 2818499 h 4687251"/>
              <a:gd name="connsiteX31117" fmla="*/ 2003542 w 8079933"/>
              <a:gd name="connsiteY31117" fmla="*/ 2817850 h 4687251"/>
              <a:gd name="connsiteX31118" fmla="*/ 2003542 w 8079933"/>
              <a:gd name="connsiteY31118" fmla="*/ 2815468 h 4687251"/>
              <a:gd name="connsiteX31119" fmla="*/ 2000829 w 8079933"/>
              <a:gd name="connsiteY31119" fmla="*/ 2813736 h 4687251"/>
              <a:gd name="connsiteX31120" fmla="*/ 2002240 w 8079933"/>
              <a:gd name="connsiteY31120" fmla="*/ 2812545 h 4687251"/>
              <a:gd name="connsiteX31121" fmla="*/ 2007666 w 8079933"/>
              <a:gd name="connsiteY31121" fmla="*/ 2815035 h 4687251"/>
              <a:gd name="connsiteX31122" fmla="*/ 2016022 w 8079933"/>
              <a:gd name="connsiteY31122" fmla="*/ 2820773 h 4687251"/>
              <a:gd name="connsiteX31123" fmla="*/ 2023726 w 8079933"/>
              <a:gd name="connsiteY31123" fmla="*/ 2821098 h 4687251"/>
              <a:gd name="connsiteX31124" fmla="*/ 2027850 w 8079933"/>
              <a:gd name="connsiteY31124" fmla="*/ 2820557 h 4687251"/>
              <a:gd name="connsiteX31125" fmla="*/ 2032191 w 8079933"/>
              <a:gd name="connsiteY31125" fmla="*/ 2816442 h 4687251"/>
              <a:gd name="connsiteX31126" fmla="*/ 2046840 w 8079933"/>
              <a:gd name="connsiteY31126" fmla="*/ 2809080 h 4687251"/>
              <a:gd name="connsiteX31127" fmla="*/ 2054002 w 8079933"/>
              <a:gd name="connsiteY31127" fmla="*/ 2807348 h 4687251"/>
              <a:gd name="connsiteX31128" fmla="*/ 2060730 w 8079933"/>
              <a:gd name="connsiteY31128" fmla="*/ 2802584 h 4687251"/>
              <a:gd name="connsiteX31129" fmla="*/ 2063226 w 8079933"/>
              <a:gd name="connsiteY31129" fmla="*/ 2802151 h 4687251"/>
              <a:gd name="connsiteX31130" fmla="*/ 2066807 w 8079933"/>
              <a:gd name="connsiteY31130" fmla="*/ 2803775 h 4687251"/>
              <a:gd name="connsiteX31131" fmla="*/ 2068218 w 8079933"/>
              <a:gd name="connsiteY31131" fmla="*/ 2806049 h 4687251"/>
              <a:gd name="connsiteX31132" fmla="*/ 2071582 w 8079933"/>
              <a:gd name="connsiteY31132" fmla="*/ 2806806 h 4687251"/>
              <a:gd name="connsiteX31133" fmla="*/ 2082108 w 8079933"/>
              <a:gd name="connsiteY31133" fmla="*/ 2806806 h 4687251"/>
              <a:gd name="connsiteX31134" fmla="*/ 2087968 w 8079933"/>
              <a:gd name="connsiteY31134" fmla="*/ 2808214 h 4687251"/>
              <a:gd name="connsiteX31135" fmla="*/ 2097951 w 8079933"/>
              <a:gd name="connsiteY31135" fmla="*/ 2814061 h 4687251"/>
              <a:gd name="connsiteX31136" fmla="*/ 2102292 w 8079933"/>
              <a:gd name="connsiteY31136" fmla="*/ 2819041 h 4687251"/>
              <a:gd name="connsiteX31137" fmla="*/ 2103160 w 8079933"/>
              <a:gd name="connsiteY31137" fmla="*/ 2821639 h 4687251"/>
              <a:gd name="connsiteX31138" fmla="*/ 2106415 w 8079933"/>
              <a:gd name="connsiteY31138" fmla="*/ 2823480 h 4687251"/>
              <a:gd name="connsiteX31139" fmla="*/ 2108369 w 8079933"/>
              <a:gd name="connsiteY31139" fmla="*/ 2825212 h 4687251"/>
              <a:gd name="connsiteX31140" fmla="*/ 2107392 w 8079933"/>
              <a:gd name="connsiteY31140" fmla="*/ 2829434 h 4687251"/>
              <a:gd name="connsiteX31141" fmla="*/ 2108151 w 8079933"/>
              <a:gd name="connsiteY31141" fmla="*/ 2832466 h 4687251"/>
              <a:gd name="connsiteX31142" fmla="*/ 2110322 w 8079933"/>
              <a:gd name="connsiteY31142" fmla="*/ 2838421 h 4687251"/>
              <a:gd name="connsiteX31143" fmla="*/ 2107939 w 8079933"/>
              <a:gd name="connsiteY31143" fmla="*/ 2842657 h 4687251"/>
              <a:gd name="connsiteX31144" fmla="*/ 2110323 w 8079933"/>
              <a:gd name="connsiteY31144" fmla="*/ 2838421 h 4687251"/>
              <a:gd name="connsiteX31145" fmla="*/ 2108152 w 8079933"/>
              <a:gd name="connsiteY31145" fmla="*/ 2832466 h 4687251"/>
              <a:gd name="connsiteX31146" fmla="*/ 2107393 w 8079933"/>
              <a:gd name="connsiteY31146" fmla="*/ 2829434 h 4687251"/>
              <a:gd name="connsiteX31147" fmla="*/ 2108369 w 8079933"/>
              <a:gd name="connsiteY31147" fmla="*/ 2825211 h 4687251"/>
              <a:gd name="connsiteX31148" fmla="*/ 2113687 w 8079933"/>
              <a:gd name="connsiteY31148" fmla="*/ 2829867 h 4687251"/>
              <a:gd name="connsiteX31149" fmla="*/ 2115206 w 8079933"/>
              <a:gd name="connsiteY31149" fmla="*/ 2834415 h 4687251"/>
              <a:gd name="connsiteX31150" fmla="*/ 2118787 w 8079933"/>
              <a:gd name="connsiteY31150" fmla="*/ 2835931 h 4687251"/>
              <a:gd name="connsiteX31151" fmla="*/ 2117268 w 8079933"/>
              <a:gd name="connsiteY31151" fmla="*/ 2838637 h 4687251"/>
              <a:gd name="connsiteX31152" fmla="*/ 2116725 w 8079933"/>
              <a:gd name="connsiteY31152" fmla="*/ 2840370 h 4687251"/>
              <a:gd name="connsiteX31153" fmla="*/ 2121066 w 8079933"/>
              <a:gd name="connsiteY31153" fmla="*/ 2843943 h 4687251"/>
              <a:gd name="connsiteX31154" fmla="*/ 2123670 w 8079933"/>
              <a:gd name="connsiteY31154" fmla="*/ 2844159 h 4687251"/>
              <a:gd name="connsiteX31155" fmla="*/ 2126057 w 8079933"/>
              <a:gd name="connsiteY31155" fmla="*/ 2838962 h 4687251"/>
              <a:gd name="connsiteX31156" fmla="*/ 2126057 w 8079933"/>
              <a:gd name="connsiteY31156" fmla="*/ 2833115 h 4687251"/>
              <a:gd name="connsiteX31157" fmla="*/ 2121934 w 8079933"/>
              <a:gd name="connsiteY31157" fmla="*/ 2828460 h 4687251"/>
              <a:gd name="connsiteX31158" fmla="*/ 2120523 w 8079933"/>
              <a:gd name="connsiteY31158" fmla="*/ 2824021 h 4687251"/>
              <a:gd name="connsiteX31159" fmla="*/ 2124539 w 8079933"/>
              <a:gd name="connsiteY31159" fmla="*/ 2823804 h 4687251"/>
              <a:gd name="connsiteX31160" fmla="*/ 2127252 w 8079933"/>
              <a:gd name="connsiteY31160" fmla="*/ 2823479 h 4687251"/>
              <a:gd name="connsiteX31161" fmla="*/ 2131918 w 8079933"/>
              <a:gd name="connsiteY31161" fmla="*/ 2816658 h 4687251"/>
              <a:gd name="connsiteX31162" fmla="*/ 2134522 w 8079933"/>
              <a:gd name="connsiteY31162" fmla="*/ 2815250 h 4687251"/>
              <a:gd name="connsiteX31163" fmla="*/ 2140707 w 8079933"/>
              <a:gd name="connsiteY31163" fmla="*/ 2809296 h 4687251"/>
              <a:gd name="connsiteX31164" fmla="*/ 2144180 w 8079933"/>
              <a:gd name="connsiteY31164" fmla="*/ 2807347 h 4687251"/>
              <a:gd name="connsiteX31165" fmla="*/ 2148629 w 8079933"/>
              <a:gd name="connsiteY31165" fmla="*/ 2807023 h 4687251"/>
              <a:gd name="connsiteX31166" fmla="*/ 2152102 w 8079933"/>
              <a:gd name="connsiteY31166" fmla="*/ 2805290 h 4687251"/>
              <a:gd name="connsiteX31167" fmla="*/ 2153404 w 8079933"/>
              <a:gd name="connsiteY31167" fmla="*/ 2800959 h 4687251"/>
              <a:gd name="connsiteX31168" fmla="*/ 2152753 w 8079933"/>
              <a:gd name="connsiteY31168" fmla="*/ 2797061 h 4687251"/>
              <a:gd name="connsiteX31169" fmla="*/ 2151017 w 8079933"/>
              <a:gd name="connsiteY31169" fmla="*/ 2795113 h 4687251"/>
              <a:gd name="connsiteX31170" fmla="*/ 2149172 w 8079933"/>
              <a:gd name="connsiteY31170" fmla="*/ 2795979 h 4687251"/>
              <a:gd name="connsiteX31171" fmla="*/ 2150040 w 8079933"/>
              <a:gd name="connsiteY31171" fmla="*/ 2792622 h 4687251"/>
              <a:gd name="connsiteX31172" fmla="*/ 2156443 w 8079933"/>
              <a:gd name="connsiteY31172" fmla="*/ 2780496 h 4687251"/>
              <a:gd name="connsiteX31173" fmla="*/ 2161759 w 8079933"/>
              <a:gd name="connsiteY31173" fmla="*/ 2774324 h 4687251"/>
              <a:gd name="connsiteX31174" fmla="*/ 2163604 w 8079933"/>
              <a:gd name="connsiteY31174" fmla="*/ 2771076 h 4687251"/>
              <a:gd name="connsiteX31175" fmla="*/ 2171526 w 8079933"/>
              <a:gd name="connsiteY31175" fmla="*/ 2766204 h 4687251"/>
              <a:gd name="connsiteX31176" fmla="*/ 2174673 w 8079933"/>
              <a:gd name="connsiteY31176" fmla="*/ 2766096 h 4687251"/>
              <a:gd name="connsiteX31177" fmla="*/ 2180642 w 8079933"/>
              <a:gd name="connsiteY31177" fmla="*/ 2768695 h 4687251"/>
              <a:gd name="connsiteX31178" fmla="*/ 2185634 w 8079933"/>
              <a:gd name="connsiteY31178" fmla="*/ 2769128 h 4687251"/>
              <a:gd name="connsiteX31179" fmla="*/ 2182269 w 8079933"/>
              <a:gd name="connsiteY31179" fmla="*/ 2770426 h 4687251"/>
              <a:gd name="connsiteX31180" fmla="*/ 2182704 w 8079933"/>
              <a:gd name="connsiteY31180" fmla="*/ 2771618 h 4687251"/>
              <a:gd name="connsiteX31181" fmla="*/ 2181835 w 8079933"/>
              <a:gd name="connsiteY31181" fmla="*/ 2775407 h 4687251"/>
              <a:gd name="connsiteX31182" fmla="*/ 2184331 w 8079933"/>
              <a:gd name="connsiteY31182" fmla="*/ 2776381 h 4687251"/>
              <a:gd name="connsiteX31183" fmla="*/ 2187912 w 8079933"/>
              <a:gd name="connsiteY31183" fmla="*/ 2773134 h 4687251"/>
              <a:gd name="connsiteX31184" fmla="*/ 2188455 w 8079933"/>
              <a:gd name="connsiteY31184" fmla="*/ 2769344 h 4687251"/>
              <a:gd name="connsiteX31185" fmla="*/ 2186935 w 8079933"/>
              <a:gd name="connsiteY31185" fmla="*/ 2765554 h 4687251"/>
              <a:gd name="connsiteX31186" fmla="*/ 2186502 w 8079933"/>
              <a:gd name="connsiteY31186" fmla="*/ 2762631 h 4687251"/>
              <a:gd name="connsiteX31187" fmla="*/ 2191385 w 8079933"/>
              <a:gd name="connsiteY31187" fmla="*/ 2760032 h 4687251"/>
              <a:gd name="connsiteX31188" fmla="*/ 2199089 w 8079933"/>
              <a:gd name="connsiteY31188" fmla="*/ 2760899 h 4687251"/>
              <a:gd name="connsiteX31189" fmla="*/ 2206143 w 8079933"/>
              <a:gd name="connsiteY31189" fmla="*/ 2760357 h 4687251"/>
              <a:gd name="connsiteX31190" fmla="*/ 2212546 w 8079933"/>
              <a:gd name="connsiteY31190" fmla="*/ 2759058 h 4687251"/>
              <a:gd name="connsiteX31191" fmla="*/ 2218080 w 8079933"/>
              <a:gd name="connsiteY31191" fmla="*/ 2755052 h 4687251"/>
              <a:gd name="connsiteX31192" fmla="*/ 2226327 w 8079933"/>
              <a:gd name="connsiteY31192" fmla="*/ 2750071 h 4687251"/>
              <a:gd name="connsiteX31193" fmla="*/ 2232513 w 8079933"/>
              <a:gd name="connsiteY31193" fmla="*/ 2747040 h 4687251"/>
              <a:gd name="connsiteX31194" fmla="*/ 2234141 w 8079933"/>
              <a:gd name="connsiteY31194" fmla="*/ 2744767 h 4687251"/>
              <a:gd name="connsiteX31195" fmla="*/ 2232078 w 8079933"/>
              <a:gd name="connsiteY31195" fmla="*/ 2742385 h 4687251"/>
              <a:gd name="connsiteX31196" fmla="*/ 2233923 w 8079933"/>
              <a:gd name="connsiteY31196" fmla="*/ 2740111 h 4687251"/>
              <a:gd name="connsiteX31197" fmla="*/ 2237396 w 8079933"/>
              <a:gd name="connsiteY31197" fmla="*/ 2738704 h 4687251"/>
              <a:gd name="connsiteX31198" fmla="*/ 2241302 w 8079933"/>
              <a:gd name="connsiteY31198" fmla="*/ 2739245 h 4687251"/>
              <a:gd name="connsiteX31199" fmla="*/ 2243255 w 8079933"/>
              <a:gd name="connsiteY31199" fmla="*/ 2737729 h 4687251"/>
              <a:gd name="connsiteX31200" fmla="*/ 2246837 w 8079933"/>
              <a:gd name="connsiteY31200" fmla="*/ 2737188 h 4687251"/>
              <a:gd name="connsiteX31201" fmla="*/ 2247162 w 8079933"/>
              <a:gd name="connsiteY31201" fmla="*/ 2735022 h 4687251"/>
              <a:gd name="connsiteX31202" fmla="*/ 2248356 w 8079933"/>
              <a:gd name="connsiteY31202" fmla="*/ 2732857 h 4687251"/>
              <a:gd name="connsiteX31203" fmla="*/ 2251828 w 8079933"/>
              <a:gd name="connsiteY31203" fmla="*/ 2733073 h 4687251"/>
              <a:gd name="connsiteX31204" fmla="*/ 2260510 w 8079933"/>
              <a:gd name="connsiteY31204" fmla="*/ 2737729 h 4687251"/>
              <a:gd name="connsiteX31205" fmla="*/ 2263223 w 8079933"/>
              <a:gd name="connsiteY31205" fmla="*/ 2741302 h 4687251"/>
              <a:gd name="connsiteX31206" fmla="*/ 2262138 w 8079933"/>
              <a:gd name="connsiteY31206" fmla="*/ 2744117 h 4687251"/>
              <a:gd name="connsiteX31207" fmla="*/ 2259425 w 8079933"/>
              <a:gd name="connsiteY31207" fmla="*/ 2746174 h 4687251"/>
              <a:gd name="connsiteX31208" fmla="*/ 2258774 w 8079933"/>
              <a:gd name="connsiteY31208" fmla="*/ 2746932 h 4687251"/>
              <a:gd name="connsiteX31209" fmla="*/ 2253782 w 8079933"/>
              <a:gd name="connsiteY31209" fmla="*/ 2752670 h 4687251"/>
              <a:gd name="connsiteX31210" fmla="*/ 2248031 w 8079933"/>
              <a:gd name="connsiteY31210" fmla="*/ 2754078 h 4687251"/>
              <a:gd name="connsiteX31211" fmla="*/ 2242496 w 8079933"/>
              <a:gd name="connsiteY31211" fmla="*/ 2756460 h 4687251"/>
              <a:gd name="connsiteX31212" fmla="*/ 2241303 w 8079933"/>
              <a:gd name="connsiteY31212" fmla="*/ 2759708 h 4687251"/>
              <a:gd name="connsiteX31213" fmla="*/ 2243256 w 8079933"/>
              <a:gd name="connsiteY31213" fmla="*/ 2763714 h 4687251"/>
              <a:gd name="connsiteX31214" fmla="*/ 2247054 w 8079933"/>
              <a:gd name="connsiteY31214" fmla="*/ 2766421 h 4687251"/>
              <a:gd name="connsiteX31215" fmla="*/ 2247163 w 8079933"/>
              <a:gd name="connsiteY31215" fmla="*/ 2769344 h 4687251"/>
              <a:gd name="connsiteX31216" fmla="*/ 2246837 w 8079933"/>
              <a:gd name="connsiteY31216" fmla="*/ 2771618 h 4687251"/>
              <a:gd name="connsiteX31217" fmla="*/ 2249659 w 8079933"/>
              <a:gd name="connsiteY31217" fmla="*/ 2776490 h 4687251"/>
              <a:gd name="connsiteX31218" fmla="*/ 2249659 w 8079933"/>
              <a:gd name="connsiteY31218" fmla="*/ 2784069 h 4687251"/>
              <a:gd name="connsiteX31219" fmla="*/ 2240651 w 8079933"/>
              <a:gd name="connsiteY31219" fmla="*/ 2793055 h 4687251"/>
              <a:gd name="connsiteX31220" fmla="*/ 2240326 w 8079933"/>
              <a:gd name="connsiteY31220" fmla="*/ 2795871 h 4687251"/>
              <a:gd name="connsiteX31221" fmla="*/ 2235877 w 8079933"/>
              <a:gd name="connsiteY31221" fmla="*/ 2799660 h 4687251"/>
              <a:gd name="connsiteX31222" fmla="*/ 2237287 w 8079933"/>
              <a:gd name="connsiteY31222" fmla="*/ 2804423 h 4687251"/>
              <a:gd name="connsiteX31223" fmla="*/ 2242062 w 8079933"/>
              <a:gd name="connsiteY31223" fmla="*/ 2809945 h 4687251"/>
              <a:gd name="connsiteX31224" fmla="*/ 2242062 w 8079933"/>
              <a:gd name="connsiteY31224" fmla="*/ 2816875 h 4687251"/>
              <a:gd name="connsiteX31225" fmla="*/ 2246186 w 8079933"/>
              <a:gd name="connsiteY31225" fmla="*/ 2817524 h 4687251"/>
              <a:gd name="connsiteX31226" fmla="*/ 2254542 w 8079933"/>
              <a:gd name="connsiteY31226" fmla="*/ 2812652 h 4687251"/>
              <a:gd name="connsiteX31227" fmla="*/ 2257906 w 8079933"/>
              <a:gd name="connsiteY31227" fmla="*/ 2805506 h 4687251"/>
              <a:gd name="connsiteX31228" fmla="*/ 2255844 w 8079933"/>
              <a:gd name="connsiteY31228" fmla="*/ 2799984 h 4687251"/>
              <a:gd name="connsiteX31229" fmla="*/ 2254867 w 8079933"/>
              <a:gd name="connsiteY31229" fmla="*/ 2793380 h 4687251"/>
              <a:gd name="connsiteX31230" fmla="*/ 2254867 w 8079933"/>
              <a:gd name="connsiteY31230" fmla="*/ 2783744 h 4687251"/>
              <a:gd name="connsiteX31231" fmla="*/ 2252154 w 8079933"/>
              <a:gd name="connsiteY31231" fmla="*/ 2778872 h 4687251"/>
              <a:gd name="connsiteX31232" fmla="*/ 2252154 w 8079933"/>
              <a:gd name="connsiteY31232" fmla="*/ 2774866 h 4687251"/>
              <a:gd name="connsiteX31233" fmla="*/ 2255410 w 8079933"/>
              <a:gd name="connsiteY31233" fmla="*/ 2770751 h 4687251"/>
              <a:gd name="connsiteX31234" fmla="*/ 2265936 w 8079933"/>
              <a:gd name="connsiteY31234" fmla="*/ 2766204 h 4687251"/>
              <a:gd name="connsiteX31235" fmla="*/ 2276462 w 8079933"/>
              <a:gd name="connsiteY31235" fmla="*/ 2764364 h 4687251"/>
              <a:gd name="connsiteX31236" fmla="*/ 2281996 w 8079933"/>
              <a:gd name="connsiteY31236" fmla="*/ 2761441 h 4687251"/>
              <a:gd name="connsiteX31237" fmla="*/ 2282213 w 8079933"/>
              <a:gd name="connsiteY31237" fmla="*/ 2759600 h 4687251"/>
              <a:gd name="connsiteX31238" fmla="*/ 2283190 w 8079933"/>
              <a:gd name="connsiteY31238" fmla="*/ 2758192 h 4687251"/>
              <a:gd name="connsiteX31239" fmla="*/ 2285469 w 8079933"/>
              <a:gd name="connsiteY31239" fmla="*/ 2759708 h 4687251"/>
              <a:gd name="connsiteX31240" fmla="*/ 2290244 w 8079933"/>
              <a:gd name="connsiteY31240" fmla="*/ 2761982 h 4687251"/>
              <a:gd name="connsiteX31241" fmla="*/ 2294367 w 8079933"/>
              <a:gd name="connsiteY31241" fmla="*/ 2760790 h 4687251"/>
              <a:gd name="connsiteX31242" fmla="*/ 2295127 w 8079933"/>
              <a:gd name="connsiteY31242" fmla="*/ 2757867 h 4687251"/>
              <a:gd name="connsiteX31243" fmla="*/ 2291329 w 8079933"/>
              <a:gd name="connsiteY31243" fmla="*/ 2753753 h 4687251"/>
              <a:gd name="connsiteX31244" fmla="*/ 2286988 w 8079933"/>
              <a:gd name="connsiteY31244" fmla="*/ 2753428 h 4687251"/>
              <a:gd name="connsiteX31245" fmla="*/ 2282539 w 8079933"/>
              <a:gd name="connsiteY31245" fmla="*/ 2755810 h 4687251"/>
              <a:gd name="connsiteX31246" fmla="*/ 2280260 w 8079933"/>
              <a:gd name="connsiteY31246" fmla="*/ 2753753 h 4687251"/>
              <a:gd name="connsiteX31247" fmla="*/ 2278741 w 8079933"/>
              <a:gd name="connsiteY31247" fmla="*/ 2748556 h 4687251"/>
              <a:gd name="connsiteX31248" fmla="*/ 2285252 w 8079933"/>
              <a:gd name="connsiteY31248" fmla="*/ 2740869 h 4687251"/>
              <a:gd name="connsiteX31249" fmla="*/ 2291980 w 8079933"/>
              <a:gd name="connsiteY31249" fmla="*/ 2738054 h 4687251"/>
              <a:gd name="connsiteX31250" fmla="*/ 2294259 w 8079933"/>
              <a:gd name="connsiteY31250" fmla="*/ 2738920 h 4687251"/>
              <a:gd name="connsiteX31251" fmla="*/ 2295887 w 8079933"/>
              <a:gd name="connsiteY31251" fmla="*/ 2746823 h 4687251"/>
              <a:gd name="connsiteX31252" fmla="*/ 2295887 w 8079933"/>
              <a:gd name="connsiteY31252" fmla="*/ 2753211 h 4687251"/>
              <a:gd name="connsiteX31253" fmla="*/ 2299901 w 8079933"/>
              <a:gd name="connsiteY31253" fmla="*/ 2759600 h 4687251"/>
              <a:gd name="connsiteX31254" fmla="*/ 2303049 w 8079933"/>
              <a:gd name="connsiteY31254" fmla="*/ 2758517 h 4687251"/>
              <a:gd name="connsiteX31255" fmla="*/ 2306738 w 8079933"/>
              <a:gd name="connsiteY31255" fmla="*/ 2758733 h 4687251"/>
              <a:gd name="connsiteX31256" fmla="*/ 2311947 w 8079933"/>
              <a:gd name="connsiteY31256" fmla="*/ 2761657 h 4687251"/>
              <a:gd name="connsiteX31257" fmla="*/ 2323341 w 8079933"/>
              <a:gd name="connsiteY31257" fmla="*/ 2760790 h 4687251"/>
              <a:gd name="connsiteX31258" fmla="*/ 2327790 w 8079933"/>
              <a:gd name="connsiteY31258" fmla="*/ 2761982 h 4687251"/>
              <a:gd name="connsiteX31259" fmla="*/ 2332674 w 8079933"/>
              <a:gd name="connsiteY31259" fmla="*/ 2768478 h 4687251"/>
              <a:gd name="connsiteX31260" fmla="*/ 2333108 w 8079933"/>
              <a:gd name="connsiteY31260" fmla="*/ 2773350 h 4687251"/>
              <a:gd name="connsiteX31261" fmla="*/ 2330395 w 8079933"/>
              <a:gd name="connsiteY31261" fmla="*/ 2773458 h 4687251"/>
              <a:gd name="connsiteX31262" fmla="*/ 2330395 w 8079933"/>
              <a:gd name="connsiteY31262" fmla="*/ 2777573 h 4687251"/>
              <a:gd name="connsiteX31263" fmla="*/ 2332131 w 8079933"/>
              <a:gd name="connsiteY31263" fmla="*/ 2781037 h 4687251"/>
              <a:gd name="connsiteX31264" fmla="*/ 2336472 w 8079933"/>
              <a:gd name="connsiteY31264" fmla="*/ 2783311 h 4687251"/>
              <a:gd name="connsiteX31265" fmla="*/ 2347432 w 8079933"/>
              <a:gd name="connsiteY31265" fmla="*/ 2783311 h 4687251"/>
              <a:gd name="connsiteX31266" fmla="*/ 2370003 w 8079933"/>
              <a:gd name="connsiteY31266" fmla="*/ 2779521 h 4687251"/>
              <a:gd name="connsiteX31267" fmla="*/ 2381723 w 8079933"/>
              <a:gd name="connsiteY31267" fmla="*/ 2778655 h 4687251"/>
              <a:gd name="connsiteX31268" fmla="*/ 2384871 w 8079933"/>
              <a:gd name="connsiteY31268" fmla="*/ 2779196 h 4687251"/>
              <a:gd name="connsiteX31269" fmla="*/ 2386932 w 8079933"/>
              <a:gd name="connsiteY31269" fmla="*/ 2783419 h 4687251"/>
              <a:gd name="connsiteX31270" fmla="*/ 2397458 w 8079933"/>
              <a:gd name="connsiteY31270" fmla="*/ 2790457 h 4687251"/>
              <a:gd name="connsiteX31271" fmla="*/ 2401039 w 8079933"/>
              <a:gd name="connsiteY31271" fmla="*/ 2791756 h 4687251"/>
              <a:gd name="connsiteX31272" fmla="*/ 2403318 w 8079933"/>
              <a:gd name="connsiteY31272" fmla="*/ 2790349 h 4687251"/>
              <a:gd name="connsiteX31273" fmla="*/ 2410372 w 8079933"/>
              <a:gd name="connsiteY31273" fmla="*/ 2789483 h 4687251"/>
              <a:gd name="connsiteX31274" fmla="*/ 2412433 w 8079933"/>
              <a:gd name="connsiteY31274" fmla="*/ 2786884 h 4687251"/>
              <a:gd name="connsiteX31275" fmla="*/ 2417751 w 8079933"/>
              <a:gd name="connsiteY31275" fmla="*/ 2784177 h 4687251"/>
              <a:gd name="connsiteX31276" fmla="*/ 2422200 w 8079933"/>
              <a:gd name="connsiteY31276" fmla="*/ 2783094 h 4687251"/>
              <a:gd name="connsiteX31277" fmla="*/ 2430990 w 8079933"/>
              <a:gd name="connsiteY31277" fmla="*/ 2776923 h 4687251"/>
              <a:gd name="connsiteX31278" fmla="*/ 2435331 w 8079933"/>
              <a:gd name="connsiteY31278" fmla="*/ 2776382 h 4687251"/>
              <a:gd name="connsiteX31279" fmla="*/ 2438911 w 8079933"/>
              <a:gd name="connsiteY31279" fmla="*/ 2777898 h 4687251"/>
              <a:gd name="connsiteX31280" fmla="*/ 2449438 w 8079933"/>
              <a:gd name="connsiteY31280" fmla="*/ 2774216 h 4687251"/>
              <a:gd name="connsiteX31281" fmla="*/ 2454646 w 8079933"/>
              <a:gd name="connsiteY31281" fmla="*/ 2774541 h 4687251"/>
              <a:gd name="connsiteX31282" fmla="*/ 2462351 w 8079933"/>
              <a:gd name="connsiteY31282" fmla="*/ 2773458 h 4687251"/>
              <a:gd name="connsiteX31283" fmla="*/ 2473094 w 8079933"/>
              <a:gd name="connsiteY31283" fmla="*/ 2775732 h 4687251"/>
              <a:gd name="connsiteX31284" fmla="*/ 2479279 w 8079933"/>
              <a:gd name="connsiteY31284" fmla="*/ 2774541 h 4687251"/>
              <a:gd name="connsiteX31285" fmla="*/ 2478629 w 8079933"/>
              <a:gd name="connsiteY31285" fmla="*/ 2778439 h 4687251"/>
              <a:gd name="connsiteX31286" fmla="*/ 2471792 w 8079933"/>
              <a:gd name="connsiteY31286" fmla="*/ 2779196 h 4687251"/>
              <a:gd name="connsiteX31287" fmla="*/ 2467885 w 8079933"/>
              <a:gd name="connsiteY31287" fmla="*/ 2781795 h 4687251"/>
              <a:gd name="connsiteX31288" fmla="*/ 2457251 w 8079933"/>
              <a:gd name="connsiteY31288" fmla="*/ 2781363 h 4687251"/>
              <a:gd name="connsiteX31289" fmla="*/ 2454646 w 8079933"/>
              <a:gd name="connsiteY31289" fmla="*/ 2783419 h 4687251"/>
              <a:gd name="connsiteX31290" fmla="*/ 2455949 w 8079933"/>
              <a:gd name="connsiteY31290" fmla="*/ 2786018 h 4687251"/>
              <a:gd name="connsiteX31291" fmla="*/ 2460832 w 8079933"/>
              <a:gd name="connsiteY31291" fmla="*/ 2788400 h 4687251"/>
              <a:gd name="connsiteX31292" fmla="*/ 2462677 w 8079933"/>
              <a:gd name="connsiteY31292" fmla="*/ 2793055 h 4687251"/>
              <a:gd name="connsiteX31293" fmla="*/ 2465824 w 8079933"/>
              <a:gd name="connsiteY31293" fmla="*/ 2797169 h 4687251"/>
              <a:gd name="connsiteX31294" fmla="*/ 2465607 w 8079933"/>
              <a:gd name="connsiteY31294" fmla="*/ 2793272 h 4687251"/>
              <a:gd name="connsiteX31295" fmla="*/ 2468211 w 8079933"/>
              <a:gd name="connsiteY31295" fmla="*/ 2793055 h 4687251"/>
              <a:gd name="connsiteX31296" fmla="*/ 2473094 w 8079933"/>
              <a:gd name="connsiteY31296" fmla="*/ 2795112 h 4687251"/>
              <a:gd name="connsiteX31297" fmla="*/ 2474613 w 8079933"/>
              <a:gd name="connsiteY31297" fmla="*/ 2797386 h 4687251"/>
              <a:gd name="connsiteX31298" fmla="*/ 2479279 w 8079933"/>
              <a:gd name="connsiteY31298" fmla="*/ 2797603 h 4687251"/>
              <a:gd name="connsiteX31299" fmla="*/ 2482210 w 8079933"/>
              <a:gd name="connsiteY31299" fmla="*/ 2799443 h 4687251"/>
              <a:gd name="connsiteX31300" fmla="*/ 2484597 w 8079933"/>
              <a:gd name="connsiteY31300" fmla="*/ 2801825 h 4687251"/>
              <a:gd name="connsiteX31301" fmla="*/ 2492519 w 8079933"/>
              <a:gd name="connsiteY31301" fmla="*/ 2803882 h 4687251"/>
              <a:gd name="connsiteX31302" fmla="*/ 2499030 w 8079933"/>
              <a:gd name="connsiteY31302" fmla="*/ 2807347 h 4687251"/>
              <a:gd name="connsiteX31303" fmla="*/ 2500441 w 8079933"/>
              <a:gd name="connsiteY31303" fmla="*/ 2811136 h 4687251"/>
              <a:gd name="connsiteX31304" fmla="*/ 2500115 w 8079933"/>
              <a:gd name="connsiteY31304" fmla="*/ 2812652 h 4687251"/>
              <a:gd name="connsiteX31305" fmla="*/ 2503370 w 8079933"/>
              <a:gd name="connsiteY31305" fmla="*/ 2814926 h 4687251"/>
              <a:gd name="connsiteX31306" fmla="*/ 2502394 w 8079933"/>
              <a:gd name="connsiteY31306" fmla="*/ 2817308 h 4687251"/>
              <a:gd name="connsiteX31307" fmla="*/ 2497402 w 8079933"/>
              <a:gd name="connsiteY31307" fmla="*/ 2821097 h 4687251"/>
              <a:gd name="connsiteX31308" fmla="*/ 2495231 w 8079933"/>
              <a:gd name="connsiteY31308" fmla="*/ 2824887 h 4687251"/>
              <a:gd name="connsiteX31309" fmla="*/ 2491868 w 8079933"/>
              <a:gd name="connsiteY31309" fmla="*/ 2827161 h 4687251"/>
              <a:gd name="connsiteX31310" fmla="*/ 2489046 w 8079933"/>
              <a:gd name="connsiteY31310" fmla="*/ 2826727 h 4687251"/>
              <a:gd name="connsiteX31311" fmla="*/ 2484054 w 8079933"/>
              <a:gd name="connsiteY31311" fmla="*/ 2827702 h 4687251"/>
              <a:gd name="connsiteX31312" fmla="*/ 2486985 w 8079933"/>
              <a:gd name="connsiteY31312" fmla="*/ 2828027 h 4687251"/>
              <a:gd name="connsiteX31313" fmla="*/ 2492519 w 8079933"/>
              <a:gd name="connsiteY31313" fmla="*/ 2828677 h 4687251"/>
              <a:gd name="connsiteX31314" fmla="*/ 2500224 w 8079933"/>
              <a:gd name="connsiteY31314" fmla="*/ 2827377 h 4687251"/>
              <a:gd name="connsiteX31315" fmla="*/ 2504130 w 8079933"/>
              <a:gd name="connsiteY31315" fmla="*/ 2825645 h 4687251"/>
              <a:gd name="connsiteX31316" fmla="*/ 2506735 w 8079933"/>
              <a:gd name="connsiteY31316" fmla="*/ 2825645 h 4687251"/>
              <a:gd name="connsiteX31317" fmla="*/ 2511618 w 8079933"/>
              <a:gd name="connsiteY31317" fmla="*/ 2826619 h 4687251"/>
              <a:gd name="connsiteX31318" fmla="*/ 2514873 w 8079933"/>
              <a:gd name="connsiteY31318" fmla="*/ 2825320 h 4687251"/>
              <a:gd name="connsiteX31319" fmla="*/ 2518129 w 8079933"/>
              <a:gd name="connsiteY31319" fmla="*/ 2825428 h 4687251"/>
              <a:gd name="connsiteX31320" fmla="*/ 2527244 w 8079933"/>
              <a:gd name="connsiteY31320" fmla="*/ 2829542 h 4687251"/>
              <a:gd name="connsiteX31321" fmla="*/ 2528437 w 8079933"/>
              <a:gd name="connsiteY31321" fmla="*/ 2830409 h 4687251"/>
              <a:gd name="connsiteX31322" fmla="*/ 2529848 w 8079933"/>
              <a:gd name="connsiteY31322" fmla="*/ 2831166 h 4687251"/>
              <a:gd name="connsiteX31323" fmla="*/ 2534188 w 8079933"/>
              <a:gd name="connsiteY31323" fmla="*/ 2832140 h 4687251"/>
              <a:gd name="connsiteX31324" fmla="*/ 2538855 w 8079933"/>
              <a:gd name="connsiteY31324" fmla="*/ 2836580 h 4687251"/>
              <a:gd name="connsiteX31325" fmla="*/ 2539397 w 8079933"/>
              <a:gd name="connsiteY31325" fmla="*/ 2840370 h 4687251"/>
              <a:gd name="connsiteX31326" fmla="*/ 2545692 w 8079933"/>
              <a:gd name="connsiteY31326" fmla="*/ 2847407 h 4687251"/>
              <a:gd name="connsiteX31327" fmla="*/ 2555133 w 8079933"/>
              <a:gd name="connsiteY31327" fmla="*/ 2853254 h 4687251"/>
              <a:gd name="connsiteX31328" fmla="*/ 2558714 w 8079933"/>
              <a:gd name="connsiteY31328" fmla="*/ 2855960 h 4687251"/>
              <a:gd name="connsiteX31329" fmla="*/ 2561209 w 8079933"/>
              <a:gd name="connsiteY31329" fmla="*/ 2863864 h 4687251"/>
              <a:gd name="connsiteX31330" fmla="*/ 2559582 w 8079933"/>
              <a:gd name="connsiteY31330" fmla="*/ 2868086 h 4687251"/>
              <a:gd name="connsiteX31331" fmla="*/ 2558605 w 8079933"/>
              <a:gd name="connsiteY31331" fmla="*/ 2875557 h 4687251"/>
              <a:gd name="connsiteX31332" fmla="*/ 2559473 w 8079933"/>
              <a:gd name="connsiteY31332" fmla="*/ 2881188 h 4687251"/>
              <a:gd name="connsiteX31333" fmla="*/ 2560450 w 8079933"/>
              <a:gd name="connsiteY31333" fmla="*/ 2876749 h 4687251"/>
              <a:gd name="connsiteX31334" fmla="*/ 2563705 w 8079933"/>
              <a:gd name="connsiteY31334" fmla="*/ 2873067 h 4687251"/>
              <a:gd name="connsiteX31335" fmla="*/ 2568588 w 8079933"/>
              <a:gd name="connsiteY31335" fmla="*/ 2871443 h 4687251"/>
              <a:gd name="connsiteX31336" fmla="*/ 2571518 w 8079933"/>
              <a:gd name="connsiteY31336" fmla="*/ 2869927 h 4687251"/>
              <a:gd name="connsiteX31337" fmla="*/ 2575968 w 8079933"/>
              <a:gd name="connsiteY31337" fmla="*/ 2873392 h 4687251"/>
              <a:gd name="connsiteX31338" fmla="*/ 2583672 w 8079933"/>
              <a:gd name="connsiteY31338" fmla="*/ 2881404 h 4687251"/>
              <a:gd name="connsiteX31339" fmla="*/ 2592679 w 8079933"/>
              <a:gd name="connsiteY31339" fmla="*/ 2883894 h 4687251"/>
              <a:gd name="connsiteX31340" fmla="*/ 2594199 w 8079933"/>
              <a:gd name="connsiteY31340" fmla="*/ 2887467 h 4687251"/>
              <a:gd name="connsiteX31341" fmla="*/ 2594199 w 8079933"/>
              <a:gd name="connsiteY31341" fmla="*/ 2893314 h 4687251"/>
              <a:gd name="connsiteX31342" fmla="*/ 2595609 w 8079933"/>
              <a:gd name="connsiteY31342" fmla="*/ 2898077 h 4687251"/>
              <a:gd name="connsiteX31343" fmla="*/ 2595609 w 8079933"/>
              <a:gd name="connsiteY31343" fmla="*/ 2898078 h 4687251"/>
              <a:gd name="connsiteX31344" fmla="*/ 2596586 w 8079933"/>
              <a:gd name="connsiteY31344" fmla="*/ 2892556 h 4687251"/>
              <a:gd name="connsiteX31345" fmla="*/ 2602663 w 8079933"/>
              <a:gd name="connsiteY31345" fmla="*/ 2890390 h 4687251"/>
              <a:gd name="connsiteX31346" fmla="*/ 2613189 w 8079933"/>
              <a:gd name="connsiteY31346" fmla="*/ 2890174 h 4687251"/>
              <a:gd name="connsiteX31347" fmla="*/ 2620894 w 8079933"/>
              <a:gd name="connsiteY31347" fmla="*/ 2892448 h 4687251"/>
              <a:gd name="connsiteX31348" fmla="*/ 2630226 w 8079933"/>
              <a:gd name="connsiteY31348" fmla="*/ 2890499 h 4687251"/>
              <a:gd name="connsiteX31349" fmla="*/ 2637605 w 8079933"/>
              <a:gd name="connsiteY31349" fmla="*/ 2891256 h 4687251"/>
              <a:gd name="connsiteX31350" fmla="*/ 2641946 w 8079933"/>
              <a:gd name="connsiteY31350" fmla="*/ 2889307 h 4687251"/>
              <a:gd name="connsiteX31351" fmla="*/ 2644985 w 8079933"/>
              <a:gd name="connsiteY31351" fmla="*/ 2888983 h 4687251"/>
              <a:gd name="connsiteX31352" fmla="*/ 2654534 w 8079933"/>
              <a:gd name="connsiteY31352" fmla="*/ 2892556 h 4687251"/>
              <a:gd name="connsiteX31353" fmla="*/ 2662781 w 8079933"/>
              <a:gd name="connsiteY31353" fmla="*/ 2893964 h 4687251"/>
              <a:gd name="connsiteX31354" fmla="*/ 2667773 w 8079933"/>
              <a:gd name="connsiteY31354" fmla="*/ 2896237 h 4687251"/>
              <a:gd name="connsiteX31355" fmla="*/ 2668099 w 8079933"/>
              <a:gd name="connsiteY31355" fmla="*/ 2899485 h 4687251"/>
              <a:gd name="connsiteX31356" fmla="*/ 2663433 w 8079933"/>
              <a:gd name="connsiteY31356" fmla="*/ 2905115 h 4687251"/>
              <a:gd name="connsiteX31357" fmla="*/ 2663215 w 8079933"/>
              <a:gd name="connsiteY31357" fmla="*/ 2905332 h 4687251"/>
              <a:gd name="connsiteX31358" fmla="*/ 2661370 w 8079933"/>
              <a:gd name="connsiteY31358" fmla="*/ 2907389 h 4687251"/>
              <a:gd name="connsiteX31359" fmla="*/ 2658570 w 8079933"/>
              <a:gd name="connsiteY31359" fmla="*/ 2911141 h 4687251"/>
              <a:gd name="connsiteX31360" fmla="*/ 2661370 w 8079933"/>
              <a:gd name="connsiteY31360" fmla="*/ 2907390 h 4687251"/>
              <a:gd name="connsiteX31361" fmla="*/ 2663215 w 8079933"/>
              <a:gd name="connsiteY31361" fmla="*/ 2905333 h 4687251"/>
              <a:gd name="connsiteX31362" fmla="*/ 2663432 w 8079933"/>
              <a:gd name="connsiteY31362" fmla="*/ 2905117 h 4687251"/>
              <a:gd name="connsiteX31363" fmla="*/ 2667773 w 8079933"/>
              <a:gd name="connsiteY31363" fmla="*/ 2902734 h 4687251"/>
              <a:gd name="connsiteX31364" fmla="*/ 2672113 w 8079933"/>
              <a:gd name="connsiteY31364" fmla="*/ 2899703 h 4687251"/>
              <a:gd name="connsiteX31365" fmla="*/ 2679059 w 8079933"/>
              <a:gd name="connsiteY31365" fmla="*/ 2900352 h 4687251"/>
              <a:gd name="connsiteX31366" fmla="*/ 2685135 w 8079933"/>
              <a:gd name="connsiteY31366" fmla="*/ 2903925 h 4687251"/>
              <a:gd name="connsiteX31367" fmla="*/ 2698591 w 8079933"/>
              <a:gd name="connsiteY31367" fmla="*/ 2907390 h 4687251"/>
              <a:gd name="connsiteX31368" fmla="*/ 2704125 w 8079933"/>
              <a:gd name="connsiteY31368" fmla="*/ 2912695 h 4687251"/>
              <a:gd name="connsiteX31369" fmla="*/ 2706296 w 8079933"/>
              <a:gd name="connsiteY31369" fmla="*/ 2913561 h 4687251"/>
              <a:gd name="connsiteX31370" fmla="*/ 2714760 w 8079933"/>
              <a:gd name="connsiteY31370" fmla="*/ 2922331 h 4687251"/>
              <a:gd name="connsiteX31371" fmla="*/ 2715303 w 8079933"/>
              <a:gd name="connsiteY31371" fmla="*/ 2926121 h 4687251"/>
              <a:gd name="connsiteX31372" fmla="*/ 2718233 w 8079933"/>
              <a:gd name="connsiteY31372" fmla="*/ 2928719 h 4687251"/>
              <a:gd name="connsiteX31373" fmla="*/ 2720295 w 8079933"/>
              <a:gd name="connsiteY31373" fmla="*/ 2926445 h 4687251"/>
              <a:gd name="connsiteX31374" fmla="*/ 2724635 w 8079933"/>
              <a:gd name="connsiteY31374" fmla="*/ 2931317 h 4687251"/>
              <a:gd name="connsiteX31375" fmla="*/ 2724948 w 8079933"/>
              <a:gd name="connsiteY31375" fmla="*/ 2937044 h 4687251"/>
              <a:gd name="connsiteX31376" fmla="*/ 2725829 w 8079933"/>
              <a:gd name="connsiteY31376" fmla="*/ 2935648 h 4687251"/>
              <a:gd name="connsiteX31377" fmla="*/ 2725829 w 8079933"/>
              <a:gd name="connsiteY31377" fmla="*/ 2931858 h 4687251"/>
              <a:gd name="connsiteX31378" fmla="*/ 2727023 w 8079933"/>
              <a:gd name="connsiteY31378" fmla="*/ 2931209 h 4687251"/>
              <a:gd name="connsiteX31379" fmla="*/ 2729953 w 8079933"/>
              <a:gd name="connsiteY31379" fmla="*/ 2936839 h 4687251"/>
              <a:gd name="connsiteX31380" fmla="*/ 2730712 w 8079933"/>
              <a:gd name="connsiteY31380" fmla="*/ 2941494 h 4687251"/>
              <a:gd name="connsiteX31381" fmla="*/ 2732666 w 8079933"/>
              <a:gd name="connsiteY31381" fmla="*/ 2943335 h 4687251"/>
              <a:gd name="connsiteX31382" fmla="*/ 2733860 w 8079933"/>
              <a:gd name="connsiteY31382" fmla="*/ 2948316 h 4687251"/>
              <a:gd name="connsiteX31383" fmla="*/ 2733860 w 8079933"/>
              <a:gd name="connsiteY31383" fmla="*/ 2953296 h 4687251"/>
              <a:gd name="connsiteX31384" fmla="*/ 2737332 w 8079933"/>
              <a:gd name="connsiteY31384" fmla="*/ 2962390 h 4687251"/>
              <a:gd name="connsiteX31385" fmla="*/ 2742215 w 8079933"/>
              <a:gd name="connsiteY31385" fmla="*/ 2969212 h 4687251"/>
              <a:gd name="connsiteX31386" fmla="*/ 2747532 w 8079933"/>
              <a:gd name="connsiteY31386" fmla="*/ 2982421 h 4687251"/>
              <a:gd name="connsiteX31387" fmla="*/ 2750680 w 8079933"/>
              <a:gd name="connsiteY31387" fmla="*/ 2991407 h 4687251"/>
              <a:gd name="connsiteX31388" fmla="*/ 2752958 w 8079933"/>
              <a:gd name="connsiteY31388" fmla="*/ 2995197 h 4687251"/>
              <a:gd name="connsiteX31389" fmla="*/ 2754478 w 8079933"/>
              <a:gd name="connsiteY31389" fmla="*/ 2993465 h 4687251"/>
              <a:gd name="connsiteX31390" fmla="*/ 2759469 w 8079933"/>
              <a:gd name="connsiteY31390" fmla="*/ 2993465 h 4687251"/>
              <a:gd name="connsiteX31391" fmla="*/ 2763919 w 8079933"/>
              <a:gd name="connsiteY31391" fmla="*/ 2996712 h 4687251"/>
              <a:gd name="connsiteX31392" fmla="*/ 2763919 w 8079933"/>
              <a:gd name="connsiteY31392" fmla="*/ 3001368 h 4687251"/>
              <a:gd name="connsiteX31393" fmla="*/ 2762399 w 8079933"/>
              <a:gd name="connsiteY31393" fmla="*/ 3002667 h 4687251"/>
              <a:gd name="connsiteX31394" fmla="*/ 2761531 w 8079933"/>
              <a:gd name="connsiteY31394" fmla="*/ 3005916 h 4687251"/>
              <a:gd name="connsiteX31395" fmla="*/ 2763919 w 8079933"/>
              <a:gd name="connsiteY31395" fmla="*/ 3009055 h 4687251"/>
              <a:gd name="connsiteX31396" fmla="*/ 2761639 w 8079933"/>
              <a:gd name="connsiteY31396" fmla="*/ 3010787 h 4687251"/>
              <a:gd name="connsiteX31397" fmla="*/ 2760989 w 8079933"/>
              <a:gd name="connsiteY31397" fmla="*/ 3013495 h 4687251"/>
              <a:gd name="connsiteX31398" fmla="*/ 2750137 w 8079933"/>
              <a:gd name="connsiteY31398" fmla="*/ 3024322 h 4687251"/>
              <a:gd name="connsiteX31399" fmla="*/ 2745687 w 8079933"/>
              <a:gd name="connsiteY31399" fmla="*/ 3031034 h 4687251"/>
              <a:gd name="connsiteX31400" fmla="*/ 2742107 w 8079933"/>
              <a:gd name="connsiteY31400" fmla="*/ 3032550 h 4687251"/>
              <a:gd name="connsiteX31401" fmla="*/ 2737114 w 8079933"/>
              <a:gd name="connsiteY31401" fmla="*/ 3036123 h 4687251"/>
              <a:gd name="connsiteX31402" fmla="*/ 2732448 w 8079933"/>
              <a:gd name="connsiteY31402" fmla="*/ 3038721 h 4687251"/>
              <a:gd name="connsiteX31403" fmla="*/ 2729302 w 8079933"/>
              <a:gd name="connsiteY31403" fmla="*/ 3043052 h 4687251"/>
              <a:gd name="connsiteX31404" fmla="*/ 2727240 w 8079933"/>
              <a:gd name="connsiteY31404" fmla="*/ 3050090 h 4687251"/>
              <a:gd name="connsiteX31405" fmla="*/ 2718776 w 8079933"/>
              <a:gd name="connsiteY31405" fmla="*/ 3060917 h 4687251"/>
              <a:gd name="connsiteX31406" fmla="*/ 2718124 w 8079933"/>
              <a:gd name="connsiteY31406" fmla="*/ 3066547 h 4687251"/>
              <a:gd name="connsiteX31407" fmla="*/ 2714327 w 8079933"/>
              <a:gd name="connsiteY31407" fmla="*/ 3073801 h 4687251"/>
              <a:gd name="connsiteX31408" fmla="*/ 2718233 w 8079933"/>
              <a:gd name="connsiteY31408" fmla="*/ 3071203 h 4687251"/>
              <a:gd name="connsiteX31409" fmla="*/ 2720621 w 8079933"/>
              <a:gd name="connsiteY31409" fmla="*/ 3065031 h 4687251"/>
              <a:gd name="connsiteX31410" fmla="*/ 2723008 w 8079933"/>
              <a:gd name="connsiteY31410" fmla="*/ 3059509 h 4687251"/>
              <a:gd name="connsiteX31411" fmla="*/ 2727782 w 8079933"/>
              <a:gd name="connsiteY31411" fmla="*/ 3055611 h 4687251"/>
              <a:gd name="connsiteX31412" fmla="*/ 2730170 w 8079933"/>
              <a:gd name="connsiteY31412" fmla="*/ 3055611 h 4687251"/>
              <a:gd name="connsiteX31413" fmla="*/ 2730170 w 8079933"/>
              <a:gd name="connsiteY31413" fmla="*/ 3059076 h 4687251"/>
              <a:gd name="connsiteX31414" fmla="*/ 2728976 w 8079933"/>
              <a:gd name="connsiteY31414" fmla="*/ 3061891 h 4687251"/>
              <a:gd name="connsiteX31415" fmla="*/ 2728976 w 8079933"/>
              <a:gd name="connsiteY31415" fmla="*/ 3066872 h 4687251"/>
              <a:gd name="connsiteX31416" fmla="*/ 2723442 w 8079933"/>
              <a:gd name="connsiteY31416" fmla="*/ 3074559 h 4687251"/>
              <a:gd name="connsiteX31417" fmla="*/ 2730821 w 8079933"/>
              <a:gd name="connsiteY31417" fmla="*/ 3066114 h 4687251"/>
              <a:gd name="connsiteX31418" fmla="*/ 2736355 w 8079933"/>
              <a:gd name="connsiteY31418" fmla="*/ 3058427 h 4687251"/>
              <a:gd name="connsiteX31419" fmla="*/ 2741564 w 8079933"/>
              <a:gd name="connsiteY31419" fmla="*/ 3056369 h 4687251"/>
              <a:gd name="connsiteX31420" fmla="*/ 2743843 w 8079933"/>
              <a:gd name="connsiteY31420" fmla="*/ 3057236 h 4687251"/>
              <a:gd name="connsiteX31421" fmla="*/ 2745037 w 8079933"/>
              <a:gd name="connsiteY31421" fmla="*/ 3060809 h 4687251"/>
              <a:gd name="connsiteX31422" fmla="*/ 2746773 w 8079933"/>
              <a:gd name="connsiteY31422" fmla="*/ 3056695 h 4687251"/>
              <a:gd name="connsiteX31423" fmla="*/ 2748726 w 8079933"/>
              <a:gd name="connsiteY31423" fmla="*/ 3055720 h 4687251"/>
              <a:gd name="connsiteX31424" fmla="*/ 2751873 w 8079933"/>
              <a:gd name="connsiteY31424" fmla="*/ 3055720 h 4687251"/>
              <a:gd name="connsiteX31425" fmla="*/ 2750462 w 8079933"/>
              <a:gd name="connsiteY31425" fmla="*/ 3053446 h 4687251"/>
              <a:gd name="connsiteX31426" fmla="*/ 2748292 w 8079933"/>
              <a:gd name="connsiteY31426" fmla="*/ 3051823 h 4687251"/>
              <a:gd name="connsiteX31427" fmla="*/ 2748292 w 8079933"/>
              <a:gd name="connsiteY31427" fmla="*/ 3049115 h 4687251"/>
              <a:gd name="connsiteX31428" fmla="*/ 2754803 w 8079933"/>
              <a:gd name="connsiteY31428" fmla="*/ 3042186 h 4687251"/>
              <a:gd name="connsiteX31429" fmla="*/ 2763810 w 8079933"/>
              <a:gd name="connsiteY31429" fmla="*/ 3042836 h 4687251"/>
              <a:gd name="connsiteX31430" fmla="*/ 2772057 w 8079933"/>
              <a:gd name="connsiteY31430" fmla="*/ 3046301 h 4687251"/>
              <a:gd name="connsiteX31431" fmla="*/ 2777917 w 8079933"/>
              <a:gd name="connsiteY31431" fmla="*/ 3046301 h 4687251"/>
              <a:gd name="connsiteX31432" fmla="*/ 2784862 w 8079933"/>
              <a:gd name="connsiteY31432" fmla="*/ 3042186 h 4687251"/>
              <a:gd name="connsiteX31433" fmla="*/ 2789637 w 8079933"/>
              <a:gd name="connsiteY31433" fmla="*/ 3042186 h 4687251"/>
              <a:gd name="connsiteX31434" fmla="*/ 2794846 w 8079933"/>
              <a:gd name="connsiteY31434" fmla="*/ 3046301 h 4687251"/>
              <a:gd name="connsiteX31435" fmla="*/ 2801357 w 8079933"/>
              <a:gd name="connsiteY31435" fmla="*/ 3047708 h 4687251"/>
              <a:gd name="connsiteX31436" fmla="*/ 2801357 w 8079933"/>
              <a:gd name="connsiteY31436" fmla="*/ 3051823 h 4687251"/>
              <a:gd name="connsiteX31437" fmla="*/ 2798969 w 8079933"/>
              <a:gd name="connsiteY31437" fmla="*/ 3055287 h 4687251"/>
              <a:gd name="connsiteX31438" fmla="*/ 2798969 w 8079933"/>
              <a:gd name="connsiteY31438" fmla="*/ 3060484 h 4687251"/>
              <a:gd name="connsiteX31439" fmla="*/ 2793001 w 8079933"/>
              <a:gd name="connsiteY31439" fmla="*/ 3064815 h 4687251"/>
              <a:gd name="connsiteX31440" fmla="*/ 2793001 w 8079933"/>
              <a:gd name="connsiteY31440" fmla="*/ 3070336 h 4687251"/>
              <a:gd name="connsiteX31441" fmla="*/ 2786055 w 8079933"/>
              <a:gd name="connsiteY31441" fmla="*/ 3072719 h 4687251"/>
              <a:gd name="connsiteX31442" fmla="*/ 2781932 w 8079933"/>
              <a:gd name="connsiteY31442" fmla="*/ 3075100 h 4687251"/>
              <a:gd name="connsiteX31443" fmla="*/ 2779544 w 8079933"/>
              <a:gd name="connsiteY31443" fmla="*/ 3075858 h 4687251"/>
              <a:gd name="connsiteX31444" fmla="*/ 2777266 w 8079933"/>
              <a:gd name="connsiteY31444" fmla="*/ 3074126 h 4687251"/>
              <a:gd name="connsiteX31445" fmla="*/ 2775313 w 8079933"/>
              <a:gd name="connsiteY31445" fmla="*/ 3074126 h 4687251"/>
              <a:gd name="connsiteX31446" fmla="*/ 2771515 w 8079933"/>
              <a:gd name="connsiteY31446" fmla="*/ 3078890 h 4687251"/>
              <a:gd name="connsiteX31447" fmla="*/ 2767391 w 8079933"/>
              <a:gd name="connsiteY31447" fmla="*/ 3079864 h 4687251"/>
              <a:gd name="connsiteX31448" fmla="*/ 2760229 w 8079933"/>
              <a:gd name="connsiteY31448" fmla="*/ 3078565 h 4687251"/>
              <a:gd name="connsiteX31449" fmla="*/ 2755997 w 8079933"/>
              <a:gd name="connsiteY31449" fmla="*/ 3079539 h 4687251"/>
              <a:gd name="connsiteX31450" fmla="*/ 2751982 w 8079933"/>
              <a:gd name="connsiteY31450" fmla="*/ 3082571 h 4687251"/>
              <a:gd name="connsiteX31451" fmla="*/ 2748509 w 8079933"/>
              <a:gd name="connsiteY31451" fmla="*/ 3082571 h 4687251"/>
              <a:gd name="connsiteX31452" fmla="*/ 2751548 w 8079933"/>
              <a:gd name="connsiteY31452" fmla="*/ 3085170 h 4687251"/>
              <a:gd name="connsiteX31453" fmla="*/ 2755888 w 8079933"/>
              <a:gd name="connsiteY31453" fmla="*/ 3084087 h 4687251"/>
              <a:gd name="connsiteX31454" fmla="*/ 2761206 w 8079933"/>
              <a:gd name="connsiteY31454" fmla="*/ 3084087 h 4687251"/>
              <a:gd name="connsiteX31455" fmla="*/ 2767391 w 8079933"/>
              <a:gd name="connsiteY31455" fmla="*/ 3085927 h 4687251"/>
              <a:gd name="connsiteX31456" fmla="*/ 2773034 w 8079933"/>
              <a:gd name="connsiteY31456" fmla="*/ 3083978 h 4687251"/>
              <a:gd name="connsiteX31457" fmla="*/ 2775855 w 8079933"/>
              <a:gd name="connsiteY31457" fmla="*/ 3083978 h 4687251"/>
              <a:gd name="connsiteX31458" fmla="*/ 2775855 w 8079933"/>
              <a:gd name="connsiteY31458" fmla="*/ 3086902 h 4687251"/>
              <a:gd name="connsiteX31459" fmla="*/ 2773902 w 8079933"/>
              <a:gd name="connsiteY31459" fmla="*/ 3092423 h 4687251"/>
              <a:gd name="connsiteX31460" fmla="*/ 2774553 w 8079933"/>
              <a:gd name="connsiteY31460" fmla="*/ 3099028 h 4687251"/>
              <a:gd name="connsiteX31461" fmla="*/ 2770647 w 8079933"/>
              <a:gd name="connsiteY31461" fmla="*/ 3102168 h 4687251"/>
              <a:gd name="connsiteX31462" fmla="*/ 2767391 w 8079933"/>
              <a:gd name="connsiteY31462" fmla="*/ 3106282 h 4687251"/>
              <a:gd name="connsiteX31463" fmla="*/ 2767391 w 8079933"/>
              <a:gd name="connsiteY31463" fmla="*/ 3110288 h 4687251"/>
              <a:gd name="connsiteX31464" fmla="*/ 2770647 w 8079933"/>
              <a:gd name="connsiteY31464" fmla="*/ 3115594 h 4687251"/>
              <a:gd name="connsiteX31465" fmla="*/ 2772166 w 8079933"/>
              <a:gd name="connsiteY31465" fmla="*/ 3121007 h 4687251"/>
              <a:gd name="connsiteX31466" fmla="*/ 2773034 w 8079933"/>
              <a:gd name="connsiteY31466" fmla="*/ 3112021 h 4687251"/>
              <a:gd name="connsiteX31467" fmla="*/ 2772274 w 8079933"/>
              <a:gd name="connsiteY31467" fmla="*/ 3107149 h 4687251"/>
              <a:gd name="connsiteX31468" fmla="*/ 2772274 w 8079933"/>
              <a:gd name="connsiteY31468" fmla="*/ 3104333 h 4687251"/>
              <a:gd name="connsiteX31469" fmla="*/ 2776181 w 8079933"/>
              <a:gd name="connsiteY31469" fmla="*/ 3100219 h 4687251"/>
              <a:gd name="connsiteX31470" fmla="*/ 2778459 w 8079933"/>
              <a:gd name="connsiteY31470" fmla="*/ 3096755 h 4687251"/>
              <a:gd name="connsiteX31471" fmla="*/ 2779436 w 8079933"/>
              <a:gd name="connsiteY31471" fmla="*/ 3090258 h 4687251"/>
              <a:gd name="connsiteX31472" fmla="*/ 2782041 w 8079933"/>
              <a:gd name="connsiteY31472" fmla="*/ 3083545 h 4687251"/>
              <a:gd name="connsiteX31473" fmla="*/ 2786164 w 8079933"/>
              <a:gd name="connsiteY31473" fmla="*/ 3078348 h 4687251"/>
              <a:gd name="connsiteX31474" fmla="*/ 2794737 w 8079933"/>
              <a:gd name="connsiteY31474" fmla="*/ 3073368 h 4687251"/>
              <a:gd name="connsiteX31475" fmla="*/ 2801466 w 8079933"/>
              <a:gd name="connsiteY31475" fmla="*/ 3069362 h 4687251"/>
              <a:gd name="connsiteX31476" fmla="*/ 2806674 w 8079933"/>
              <a:gd name="connsiteY31476" fmla="*/ 3064165 h 4687251"/>
              <a:gd name="connsiteX31477" fmla="*/ 2806674 w 8079933"/>
              <a:gd name="connsiteY31477" fmla="*/ 3061458 h 4687251"/>
              <a:gd name="connsiteX31478" fmla="*/ 2809279 w 8079933"/>
              <a:gd name="connsiteY31478" fmla="*/ 3056803 h 4687251"/>
              <a:gd name="connsiteX31479" fmla="*/ 2813945 w 8079933"/>
              <a:gd name="connsiteY31479" fmla="*/ 3054204 h 4687251"/>
              <a:gd name="connsiteX31480" fmla="*/ 2819479 w 8079933"/>
              <a:gd name="connsiteY31480" fmla="*/ 3054204 h 4687251"/>
              <a:gd name="connsiteX31481" fmla="*/ 2820672 w 8079933"/>
              <a:gd name="connsiteY31481" fmla="*/ 3057452 h 4687251"/>
              <a:gd name="connsiteX31482" fmla="*/ 2822952 w 8079933"/>
              <a:gd name="connsiteY31482" fmla="*/ 3057452 h 4687251"/>
              <a:gd name="connsiteX31483" fmla="*/ 2823602 w 8079933"/>
              <a:gd name="connsiteY31483" fmla="*/ 3054529 h 4687251"/>
              <a:gd name="connsiteX31484" fmla="*/ 2826750 w 8079933"/>
              <a:gd name="connsiteY31484" fmla="*/ 3054529 h 4687251"/>
              <a:gd name="connsiteX31485" fmla="*/ 2831090 w 8079933"/>
              <a:gd name="connsiteY31485" fmla="*/ 3057452 h 4687251"/>
              <a:gd name="connsiteX31486" fmla="*/ 2832284 w 8079933"/>
              <a:gd name="connsiteY31486" fmla="*/ 3055395 h 4687251"/>
              <a:gd name="connsiteX31487" fmla="*/ 2834346 w 8079933"/>
              <a:gd name="connsiteY31487" fmla="*/ 3055395 h 4687251"/>
              <a:gd name="connsiteX31488" fmla="*/ 2841399 w 8079933"/>
              <a:gd name="connsiteY31488" fmla="*/ 3059509 h 4687251"/>
              <a:gd name="connsiteX31489" fmla="*/ 2846717 w 8079933"/>
              <a:gd name="connsiteY31489" fmla="*/ 3061025 h 4687251"/>
              <a:gd name="connsiteX31490" fmla="*/ 2849647 w 8079933"/>
              <a:gd name="connsiteY31490" fmla="*/ 3059834 h 4687251"/>
              <a:gd name="connsiteX31491" fmla="*/ 2851383 w 8079933"/>
              <a:gd name="connsiteY31491" fmla="*/ 3063299 h 4687251"/>
              <a:gd name="connsiteX31492" fmla="*/ 2853987 w 8079933"/>
              <a:gd name="connsiteY31492" fmla="*/ 3064815 h 4687251"/>
              <a:gd name="connsiteX31493" fmla="*/ 2853987 w 8079933"/>
              <a:gd name="connsiteY31493" fmla="*/ 3066872 h 4687251"/>
              <a:gd name="connsiteX31494" fmla="*/ 2855832 w 8079933"/>
              <a:gd name="connsiteY31494" fmla="*/ 3064489 h 4687251"/>
              <a:gd name="connsiteX31495" fmla="*/ 2859088 w 8079933"/>
              <a:gd name="connsiteY31495" fmla="*/ 3065681 h 4687251"/>
              <a:gd name="connsiteX31496" fmla="*/ 2860932 w 8079933"/>
              <a:gd name="connsiteY31496" fmla="*/ 3068063 h 4687251"/>
              <a:gd name="connsiteX31497" fmla="*/ 2864730 w 8079933"/>
              <a:gd name="connsiteY31497" fmla="*/ 3068063 h 4687251"/>
              <a:gd name="connsiteX31498" fmla="*/ 2867443 w 8079933"/>
              <a:gd name="connsiteY31498" fmla="*/ 3070228 h 4687251"/>
              <a:gd name="connsiteX31499" fmla="*/ 2868420 w 8079933"/>
              <a:gd name="connsiteY31499" fmla="*/ 3073693 h 4687251"/>
              <a:gd name="connsiteX31500" fmla="*/ 2870698 w 8079933"/>
              <a:gd name="connsiteY31500" fmla="*/ 3075100 h 4687251"/>
              <a:gd name="connsiteX31501" fmla="*/ 2872218 w 8079933"/>
              <a:gd name="connsiteY31501" fmla="*/ 3078673 h 4687251"/>
              <a:gd name="connsiteX31502" fmla="*/ 2875256 w 8079933"/>
              <a:gd name="connsiteY31502" fmla="*/ 3077158 h 4687251"/>
              <a:gd name="connsiteX31503" fmla="*/ 2878404 w 8079933"/>
              <a:gd name="connsiteY31503" fmla="*/ 3073152 h 4687251"/>
              <a:gd name="connsiteX31504" fmla="*/ 2883720 w 8079933"/>
              <a:gd name="connsiteY31504" fmla="*/ 3074017 h 4687251"/>
              <a:gd name="connsiteX31505" fmla="*/ 2887302 w 8079933"/>
              <a:gd name="connsiteY31505" fmla="*/ 3074017 h 4687251"/>
              <a:gd name="connsiteX31506" fmla="*/ 2891100 w 8079933"/>
              <a:gd name="connsiteY31506" fmla="*/ 3079972 h 4687251"/>
              <a:gd name="connsiteX31507" fmla="*/ 2897611 w 8079933"/>
              <a:gd name="connsiteY31507" fmla="*/ 3087010 h 4687251"/>
              <a:gd name="connsiteX31508" fmla="*/ 2892619 w 8079933"/>
              <a:gd name="connsiteY31508" fmla="*/ 3092640 h 4687251"/>
              <a:gd name="connsiteX31509" fmla="*/ 2896418 w 8079933"/>
              <a:gd name="connsiteY31509" fmla="*/ 3092640 h 4687251"/>
              <a:gd name="connsiteX31510" fmla="*/ 2898154 w 8079933"/>
              <a:gd name="connsiteY31510" fmla="*/ 3094156 h 4687251"/>
              <a:gd name="connsiteX31511" fmla="*/ 2896091 w 8079933"/>
              <a:gd name="connsiteY31511" fmla="*/ 3096105 h 4687251"/>
              <a:gd name="connsiteX31512" fmla="*/ 2893705 w 8079933"/>
              <a:gd name="connsiteY31512" fmla="*/ 3103792 h 4687251"/>
              <a:gd name="connsiteX31513" fmla="*/ 2894573 w 8079933"/>
              <a:gd name="connsiteY31513" fmla="*/ 3109097 h 4687251"/>
              <a:gd name="connsiteX31514" fmla="*/ 2893053 w 8079933"/>
              <a:gd name="connsiteY31514" fmla="*/ 3115160 h 4687251"/>
              <a:gd name="connsiteX31515" fmla="*/ 2894464 w 8079933"/>
              <a:gd name="connsiteY31515" fmla="*/ 3121115 h 4687251"/>
              <a:gd name="connsiteX31516" fmla="*/ 2894464 w 8079933"/>
              <a:gd name="connsiteY31516" fmla="*/ 3114727 h 4687251"/>
              <a:gd name="connsiteX31517" fmla="*/ 2898371 w 8079933"/>
              <a:gd name="connsiteY31517" fmla="*/ 3107149 h 4687251"/>
              <a:gd name="connsiteX31518" fmla="*/ 2898371 w 8079933"/>
              <a:gd name="connsiteY31518" fmla="*/ 3102709 h 4687251"/>
              <a:gd name="connsiteX31519" fmla="*/ 2900758 w 8079933"/>
              <a:gd name="connsiteY31519" fmla="*/ 3101735 h 4687251"/>
              <a:gd name="connsiteX31520" fmla="*/ 2902169 w 8079933"/>
              <a:gd name="connsiteY31520" fmla="*/ 3105308 h 4687251"/>
              <a:gd name="connsiteX31521" fmla="*/ 2904556 w 8079933"/>
              <a:gd name="connsiteY31521" fmla="*/ 3109422 h 4687251"/>
              <a:gd name="connsiteX31522" fmla="*/ 2905207 w 8079933"/>
              <a:gd name="connsiteY31522" fmla="*/ 3103792 h 4687251"/>
              <a:gd name="connsiteX31523" fmla="*/ 2906835 w 8079933"/>
              <a:gd name="connsiteY31523" fmla="*/ 3101410 h 4687251"/>
              <a:gd name="connsiteX31524" fmla="*/ 2911393 w 8079933"/>
              <a:gd name="connsiteY31524" fmla="*/ 3099244 h 4687251"/>
              <a:gd name="connsiteX31525" fmla="*/ 2912152 w 8079933"/>
              <a:gd name="connsiteY31525" fmla="*/ 3097296 h 4687251"/>
              <a:gd name="connsiteX31526" fmla="*/ 2913346 w 8079933"/>
              <a:gd name="connsiteY31526" fmla="*/ 3096646 h 4687251"/>
              <a:gd name="connsiteX31527" fmla="*/ 2916059 w 8079933"/>
              <a:gd name="connsiteY31527" fmla="*/ 3098162 h 4687251"/>
              <a:gd name="connsiteX31528" fmla="*/ 2917144 w 8079933"/>
              <a:gd name="connsiteY31528" fmla="*/ 3096862 h 4687251"/>
              <a:gd name="connsiteX31529" fmla="*/ 2916059 w 8079933"/>
              <a:gd name="connsiteY31529" fmla="*/ 3094156 h 4687251"/>
              <a:gd name="connsiteX31530" fmla="*/ 2916059 w 8079933"/>
              <a:gd name="connsiteY31530" fmla="*/ 3092749 h 4687251"/>
              <a:gd name="connsiteX31531" fmla="*/ 2921050 w 8079933"/>
              <a:gd name="connsiteY31531" fmla="*/ 3092749 h 4687251"/>
              <a:gd name="connsiteX31532" fmla="*/ 2934181 w 8079933"/>
              <a:gd name="connsiteY31532" fmla="*/ 3098920 h 4687251"/>
              <a:gd name="connsiteX31533" fmla="*/ 2940149 w 8079933"/>
              <a:gd name="connsiteY31533" fmla="*/ 3100003 h 4687251"/>
              <a:gd name="connsiteX31534" fmla="*/ 2942429 w 8079933"/>
              <a:gd name="connsiteY31534" fmla="*/ 3100003 h 4687251"/>
              <a:gd name="connsiteX31535" fmla="*/ 2949482 w 8079933"/>
              <a:gd name="connsiteY31535" fmla="*/ 3102709 h 4687251"/>
              <a:gd name="connsiteX31536" fmla="*/ 2950893 w 8079933"/>
              <a:gd name="connsiteY31536" fmla="*/ 3101735 h 4687251"/>
              <a:gd name="connsiteX31537" fmla="*/ 2950025 w 8079933"/>
              <a:gd name="connsiteY31537" fmla="*/ 3099353 h 4687251"/>
              <a:gd name="connsiteX31538" fmla="*/ 2952846 w 8079933"/>
              <a:gd name="connsiteY31538" fmla="*/ 3100111 h 4687251"/>
              <a:gd name="connsiteX31539" fmla="*/ 2953497 w 8079933"/>
              <a:gd name="connsiteY31539" fmla="*/ 3102493 h 4687251"/>
              <a:gd name="connsiteX31540" fmla="*/ 2957295 w 8079933"/>
              <a:gd name="connsiteY31540" fmla="*/ 3105633 h 4687251"/>
              <a:gd name="connsiteX31541" fmla="*/ 2957295 w 8079933"/>
              <a:gd name="connsiteY31541" fmla="*/ 3103251 h 4687251"/>
              <a:gd name="connsiteX31542" fmla="*/ 2958381 w 8079933"/>
              <a:gd name="connsiteY31542" fmla="*/ 3100111 h 4687251"/>
              <a:gd name="connsiteX31543" fmla="*/ 2961093 w 8079933"/>
              <a:gd name="connsiteY31543" fmla="*/ 3102493 h 4687251"/>
              <a:gd name="connsiteX31544" fmla="*/ 2962179 w 8079933"/>
              <a:gd name="connsiteY31544" fmla="*/ 3100435 h 4687251"/>
              <a:gd name="connsiteX31545" fmla="*/ 2968690 w 8079933"/>
              <a:gd name="connsiteY31545" fmla="*/ 3105308 h 4687251"/>
              <a:gd name="connsiteX31546" fmla="*/ 2971402 w 8079933"/>
              <a:gd name="connsiteY31546" fmla="*/ 3108015 h 4687251"/>
              <a:gd name="connsiteX31547" fmla="*/ 2973464 w 8079933"/>
              <a:gd name="connsiteY31547" fmla="*/ 3104875 h 4687251"/>
              <a:gd name="connsiteX31548" fmla="*/ 2977913 w 8079933"/>
              <a:gd name="connsiteY31548" fmla="*/ 3102817 h 4687251"/>
              <a:gd name="connsiteX31549" fmla="*/ 2982037 w 8079933"/>
              <a:gd name="connsiteY31549" fmla="*/ 3104875 h 4687251"/>
              <a:gd name="connsiteX31550" fmla="*/ 2988982 w 8079933"/>
              <a:gd name="connsiteY31550" fmla="*/ 3104875 h 4687251"/>
              <a:gd name="connsiteX31551" fmla="*/ 2993431 w 8079933"/>
              <a:gd name="connsiteY31551" fmla="*/ 3102493 h 4687251"/>
              <a:gd name="connsiteX31552" fmla="*/ 3000702 w 8079933"/>
              <a:gd name="connsiteY31552" fmla="*/ 3105633 h 4687251"/>
              <a:gd name="connsiteX31553" fmla="*/ 3007213 w 8079933"/>
              <a:gd name="connsiteY31553" fmla="*/ 3105633 h 4687251"/>
              <a:gd name="connsiteX31554" fmla="*/ 3021754 w 8079933"/>
              <a:gd name="connsiteY31554" fmla="*/ 3116460 h 4687251"/>
              <a:gd name="connsiteX31555" fmla="*/ 3026963 w 8079933"/>
              <a:gd name="connsiteY31555" fmla="*/ 3116460 h 4687251"/>
              <a:gd name="connsiteX31556" fmla="*/ 3032822 w 8079933"/>
              <a:gd name="connsiteY31556" fmla="*/ 3121982 h 4687251"/>
              <a:gd name="connsiteX31557" fmla="*/ 3036946 w 8079933"/>
              <a:gd name="connsiteY31557" fmla="*/ 3123064 h 4687251"/>
              <a:gd name="connsiteX31558" fmla="*/ 3045519 w 8079933"/>
              <a:gd name="connsiteY31558" fmla="*/ 3135082 h 4687251"/>
              <a:gd name="connsiteX31559" fmla="*/ 3056371 w 8079933"/>
              <a:gd name="connsiteY31559" fmla="*/ 3146451 h 4687251"/>
              <a:gd name="connsiteX31560" fmla="*/ 3061254 w 8079933"/>
              <a:gd name="connsiteY31560" fmla="*/ 3147100 h 4687251"/>
              <a:gd name="connsiteX31561" fmla="*/ 3068199 w 8079933"/>
              <a:gd name="connsiteY31561" fmla="*/ 3150565 h 4687251"/>
              <a:gd name="connsiteX31562" fmla="*/ 3073408 w 8079933"/>
              <a:gd name="connsiteY31562" fmla="*/ 3156412 h 4687251"/>
              <a:gd name="connsiteX31563" fmla="*/ 3078617 w 8079933"/>
              <a:gd name="connsiteY31563" fmla="*/ 3157386 h 4687251"/>
              <a:gd name="connsiteX31564" fmla="*/ 3083066 w 8079933"/>
              <a:gd name="connsiteY31564" fmla="*/ 3163557 h 4687251"/>
              <a:gd name="connsiteX31565" fmla="*/ 3089576 w 8079933"/>
              <a:gd name="connsiteY31565" fmla="*/ 3160742 h 4687251"/>
              <a:gd name="connsiteX31566" fmla="*/ 3098583 w 8079933"/>
              <a:gd name="connsiteY31566" fmla="*/ 3160742 h 4687251"/>
              <a:gd name="connsiteX31567" fmla="*/ 3114101 w 8079933"/>
              <a:gd name="connsiteY31567" fmla="*/ 3167671 h 4687251"/>
              <a:gd name="connsiteX31568" fmla="*/ 3115512 w 8079933"/>
              <a:gd name="connsiteY31568" fmla="*/ 3175251 h 4687251"/>
              <a:gd name="connsiteX31569" fmla="*/ 3115512 w 8079933"/>
              <a:gd name="connsiteY31569" fmla="*/ 3181422 h 4687251"/>
              <a:gd name="connsiteX31570" fmla="*/ 3123760 w 8079933"/>
              <a:gd name="connsiteY31570" fmla="*/ 3199720 h 4687251"/>
              <a:gd name="connsiteX31571" fmla="*/ 3124845 w 8079933"/>
              <a:gd name="connsiteY31571" fmla="*/ 3205566 h 4687251"/>
              <a:gd name="connsiteX31572" fmla="*/ 3127558 w 8079933"/>
              <a:gd name="connsiteY31572" fmla="*/ 3207299 h 4687251"/>
              <a:gd name="connsiteX31573" fmla="*/ 3128317 w 8079933"/>
              <a:gd name="connsiteY31573" fmla="*/ 3219100 h 4687251"/>
              <a:gd name="connsiteX31574" fmla="*/ 3125713 w 8079933"/>
              <a:gd name="connsiteY31574" fmla="*/ 3221373 h 4687251"/>
              <a:gd name="connsiteX31575" fmla="*/ 3124519 w 8079933"/>
              <a:gd name="connsiteY31575" fmla="*/ 3226138 h 4687251"/>
              <a:gd name="connsiteX31576" fmla="*/ 3127666 w 8079933"/>
              <a:gd name="connsiteY31576" fmla="*/ 3230793 h 4687251"/>
              <a:gd name="connsiteX31577" fmla="*/ 3127666 w 8079933"/>
              <a:gd name="connsiteY31577" fmla="*/ 3234908 h 4687251"/>
              <a:gd name="connsiteX31578" fmla="*/ 3124736 w 8079933"/>
              <a:gd name="connsiteY31578" fmla="*/ 3239022 h 4687251"/>
              <a:gd name="connsiteX31579" fmla="*/ 3123217 w 8079933"/>
              <a:gd name="connsiteY31579" fmla="*/ 3244652 h 4687251"/>
              <a:gd name="connsiteX31580" fmla="*/ 3117357 w 8079933"/>
              <a:gd name="connsiteY31580" fmla="*/ 3257537 h 4687251"/>
              <a:gd name="connsiteX31581" fmla="*/ 3114969 w 8079933"/>
              <a:gd name="connsiteY31581" fmla="*/ 3261001 h 4687251"/>
              <a:gd name="connsiteX31582" fmla="*/ 3105528 w 8079933"/>
              <a:gd name="connsiteY31582" fmla="*/ 3273777 h 4687251"/>
              <a:gd name="connsiteX31583" fmla="*/ 3094677 w 8079933"/>
              <a:gd name="connsiteY31583" fmla="*/ 3283413 h 4687251"/>
              <a:gd name="connsiteX31584" fmla="*/ 3091964 w 8079933"/>
              <a:gd name="connsiteY31584" fmla="*/ 3287852 h 4687251"/>
              <a:gd name="connsiteX31585" fmla="*/ 3087841 w 8079933"/>
              <a:gd name="connsiteY31585" fmla="*/ 3289801 h 4687251"/>
              <a:gd name="connsiteX31586" fmla="*/ 3086322 w 8079933"/>
              <a:gd name="connsiteY31586" fmla="*/ 3293915 h 4687251"/>
              <a:gd name="connsiteX31587" fmla="*/ 3073733 w 8079933"/>
              <a:gd name="connsiteY31587" fmla="*/ 3302469 h 4687251"/>
              <a:gd name="connsiteX31588" fmla="*/ 3070261 w 8079933"/>
              <a:gd name="connsiteY31588" fmla="*/ 3309506 h 4687251"/>
              <a:gd name="connsiteX31589" fmla="*/ 3067223 w 8079933"/>
              <a:gd name="connsiteY31589" fmla="*/ 3316761 h 4687251"/>
              <a:gd name="connsiteX31590" fmla="*/ 3064075 w 8079933"/>
              <a:gd name="connsiteY31590" fmla="*/ 3319467 h 4687251"/>
              <a:gd name="connsiteX31591" fmla="*/ 3062882 w 8079933"/>
              <a:gd name="connsiteY31591" fmla="*/ 3324989 h 4687251"/>
              <a:gd name="connsiteX31592" fmla="*/ 3059300 w 8079933"/>
              <a:gd name="connsiteY31592" fmla="*/ 3334084 h 4687251"/>
              <a:gd name="connsiteX31593" fmla="*/ 3051162 w 8079933"/>
              <a:gd name="connsiteY31593" fmla="*/ 3346426 h 4687251"/>
              <a:gd name="connsiteX31594" fmla="*/ 3044760 w 8079933"/>
              <a:gd name="connsiteY31594" fmla="*/ 3349675 h 4687251"/>
              <a:gd name="connsiteX31595" fmla="*/ 3040094 w 8079933"/>
              <a:gd name="connsiteY31595" fmla="*/ 3354005 h 4687251"/>
              <a:gd name="connsiteX31596" fmla="*/ 3037706 w 8079933"/>
              <a:gd name="connsiteY31596" fmla="*/ 3354005 h 4687251"/>
              <a:gd name="connsiteX31597" fmla="*/ 3038574 w 8079933"/>
              <a:gd name="connsiteY31597" fmla="*/ 3351082 h 4687251"/>
              <a:gd name="connsiteX31598" fmla="*/ 3042047 w 8079933"/>
              <a:gd name="connsiteY31598" fmla="*/ 3348483 h 4687251"/>
              <a:gd name="connsiteX31599" fmla="*/ 3044651 w 8079933"/>
              <a:gd name="connsiteY31599" fmla="*/ 3344910 h 4687251"/>
              <a:gd name="connsiteX31600" fmla="*/ 3042264 w 8079933"/>
              <a:gd name="connsiteY31600" fmla="*/ 3343720 h 4687251"/>
              <a:gd name="connsiteX31601" fmla="*/ 3040853 w 8079933"/>
              <a:gd name="connsiteY31601" fmla="*/ 3340797 h 4687251"/>
              <a:gd name="connsiteX31602" fmla="*/ 3037597 w 8079933"/>
              <a:gd name="connsiteY31602" fmla="*/ 3340797 h 4687251"/>
              <a:gd name="connsiteX31603" fmla="*/ 3036187 w 8079933"/>
              <a:gd name="connsiteY31603" fmla="*/ 3345993 h 4687251"/>
              <a:gd name="connsiteX31604" fmla="*/ 3032714 w 8079933"/>
              <a:gd name="connsiteY31604" fmla="*/ 3344803 h 4687251"/>
              <a:gd name="connsiteX31605" fmla="*/ 3028916 w 8079933"/>
              <a:gd name="connsiteY31605" fmla="*/ 3342529 h 4687251"/>
              <a:gd name="connsiteX31606" fmla="*/ 3027722 w 8079933"/>
              <a:gd name="connsiteY31606" fmla="*/ 3339930 h 4687251"/>
              <a:gd name="connsiteX31607" fmla="*/ 3026854 w 8079933"/>
              <a:gd name="connsiteY31607" fmla="*/ 3341987 h 4687251"/>
              <a:gd name="connsiteX31608" fmla="*/ 3025010 w 8079933"/>
              <a:gd name="connsiteY31608" fmla="*/ 3343503 h 4687251"/>
              <a:gd name="connsiteX31609" fmla="*/ 3031412 w 8079933"/>
              <a:gd name="connsiteY31609" fmla="*/ 3346426 h 4687251"/>
              <a:gd name="connsiteX31610" fmla="*/ 3034667 w 8079933"/>
              <a:gd name="connsiteY31610" fmla="*/ 3351732 h 4687251"/>
              <a:gd name="connsiteX31611" fmla="*/ 3034016 w 8079933"/>
              <a:gd name="connsiteY31611" fmla="*/ 3357362 h 4687251"/>
              <a:gd name="connsiteX31612" fmla="*/ 3030869 w 8079933"/>
              <a:gd name="connsiteY31612" fmla="*/ 3358228 h 4687251"/>
              <a:gd name="connsiteX31613" fmla="*/ 3030001 w 8079933"/>
              <a:gd name="connsiteY31613" fmla="*/ 3361801 h 4687251"/>
              <a:gd name="connsiteX31614" fmla="*/ 3030869 w 8079933"/>
              <a:gd name="connsiteY31614" fmla="*/ 3367106 h 4687251"/>
              <a:gd name="connsiteX31615" fmla="*/ 3027396 w 8079933"/>
              <a:gd name="connsiteY31615" fmla="*/ 3372411 h 4687251"/>
              <a:gd name="connsiteX31616" fmla="*/ 3027396 w 8079933"/>
              <a:gd name="connsiteY31616" fmla="*/ 3375118 h 4687251"/>
              <a:gd name="connsiteX31617" fmla="*/ 3031195 w 8079933"/>
              <a:gd name="connsiteY31617" fmla="*/ 3377825 h 4687251"/>
              <a:gd name="connsiteX31618" fmla="*/ 3033256 w 8079933"/>
              <a:gd name="connsiteY31618" fmla="*/ 3375552 h 4687251"/>
              <a:gd name="connsiteX31619" fmla="*/ 3033256 w 8079933"/>
              <a:gd name="connsiteY31619" fmla="*/ 3379882 h 4687251"/>
              <a:gd name="connsiteX31620" fmla="*/ 3031303 w 8079933"/>
              <a:gd name="connsiteY31620" fmla="*/ 3384430 h 4687251"/>
              <a:gd name="connsiteX31621" fmla="*/ 3031303 w 8079933"/>
              <a:gd name="connsiteY31621" fmla="*/ 3390384 h 4687251"/>
              <a:gd name="connsiteX31622" fmla="*/ 3033691 w 8079933"/>
              <a:gd name="connsiteY31622" fmla="*/ 3422866 h 4687251"/>
              <a:gd name="connsiteX31623" fmla="*/ 3031629 w 8079933"/>
              <a:gd name="connsiteY31623" fmla="*/ 3431852 h 4687251"/>
              <a:gd name="connsiteX31624" fmla="*/ 3031629 w 8079933"/>
              <a:gd name="connsiteY31624" fmla="*/ 3435317 h 4687251"/>
              <a:gd name="connsiteX31625" fmla="*/ 3030218 w 8079933"/>
              <a:gd name="connsiteY31625" fmla="*/ 3441488 h 4687251"/>
              <a:gd name="connsiteX31626" fmla="*/ 3031303 w 8079933"/>
              <a:gd name="connsiteY31626" fmla="*/ 3449717 h 4687251"/>
              <a:gd name="connsiteX31627" fmla="*/ 3027505 w 8079933"/>
              <a:gd name="connsiteY31627" fmla="*/ 3460544 h 4687251"/>
              <a:gd name="connsiteX31628" fmla="*/ 3029350 w 8079933"/>
              <a:gd name="connsiteY31628" fmla="*/ 3469421 h 4687251"/>
              <a:gd name="connsiteX31629" fmla="*/ 3028373 w 8079933"/>
              <a:gd name="connsiteY31629" fmla="*/ 3472129 h 4687251"/>
              <a:gd name="connsiteX31630" fmla="*/ 3021320 w 8079933"/>
              <a:gd name="connsiteY31630" fmla="*/ 3477759 h 4687251"/>
              <a:gd name="connsiteX31631" fmla="*/ 3021320 w 8079933"/>
              <a:gd name="connsiteY31631" fmla="*/ 3480898 h 4687251"/>
              <a:gd name="connsiteX31632" fmla="*/ 3018932 w 8079933"/>
              <a:gd name="connsiteY31632" fmla="*/ 3484471 h 4687251"/>
              <a:gd name="connsiteX31633" fmla="*/ 3016002 w 8079933"/>
              <a:gd name="connsiteY31633" fmla="*/ 3493566 h 4687251"/>
              <a:gd name="connsiteX31634" fmla="*/ 3017088 w 8079933"/>
              <a:gd name="connsiteY31634" fmla="*/ 3495839 h 4687251"/>
              <a:gd name="connsiteX31635" fmla="*/ 3018932 w 8079933"/>
              <a:gd name="connsiteY31635" fmla="*/ 3510998 h 4687251"/>
              <a:gd name="connsiteX31636" fmla="*/ 3018932 w 8079933"/>
              <a:gd name="connsiteY31636" fmla="*/ 3515761 h 4687251"/>
              <a:gd name="connsiteX31637" fmla="*/ 3009817 w 8079933"/>
              <a:gd name="connsiteY31637" fmla="*/ 3526589 h 4687251"/>
              <a:gd name="connsiteX31638" fmla="*/ 3003089 w 8079933"/>
              <a:gd name="connsiteY31638" fmla="*/ 3537416 h 4687251"/>
              <a:gd name="connsiteX31639" fmla="*/ 3004283 w 8079933"/>
              <a:gd name="connsiteY31639" fmla="*/ 3538065 h 4687251"/>
              <a:gd name="connsiteX31640" fmla="*/ 3003415 w 8079933"/>
              <a:gd name="connsiteY31640" fmla="*/ 3542830 h 4687251"/>
              <a:gd name="connsiteX31641" fmla="*/ 2999399 w 8079933"/>
              <a:gd name="connsiteY31641" fmla="*/ 3545644 h 4687251"/>
              <a:gd name="connsiteX31642" fmla="*/ 2997121 w 8079933"/>
              <a:gd name="connsiteY31642" fmla="*/ 3547485 h 4687251"/>
              <a:gd name="connsiteX31643" fmla="*/ 2997121 w 8079933"/>
              <a:gd name="connsiteY31643" fmla="*/ 3552140 h 4687251"/>
              <a:gd name="connsiteX31644" fmla="*/ 2993756 w 8079933"/>
              <a:gd name="connsiteY31644" fmla="*/ 3556255 h 4687251"/>
              <a:gd name="connsiteX31645" fmla="*/ 2990826 w 8079933"/>
              <a:gd name="connsiteY31645" fmla="*/ 3562426 h 4687251"/>
              <a:gd name="connsiteX31646" fmla="*/ 2994842 w 8079933"/>
              <a:gd name="connsiteY31646" fmla="*/ 3571521 h 4687251"/>
              <a:gd name="connsiteX31647" fmla="*/ 2996144 w 8079933"/>
              <a:gd name="connsiteY31647" fmla="*/ 3573362 h 4687251"/>
              <a:gd name="connsiteX31648" fmla="*/ 2994733 w 8079933"/>
              <a:gd name="connsiteY31648" fmla="*/ 3576285 h 4687251"/>
              <a:gd name="connsiteX31649" fmla="*/ 2990067 w 8079933"/>
              <a:gd name="connsiteY31649" fmla="*/ 3579100 h 4687251"/>
              <a:gd name="connsiteX31650" fmla="*/ 2981060 w 8079933"/>
              <a:gd name="connsiteY31650" fmla="*/ 3582348 h 4687251"/>
              <a:gd name="connsiteX31651" fmla="*/ 2970208 w 8079933"/>
              <a:gd name="connsiteY31651" fmla="*/ 3589711 h 4687251"/>
              <a:gd name="connsiteX31652" fmla="*/ 2969558 w 8079933"/>
              <a:gd name="connsiteY31652" fmla="*/ 3592093 h 4687251"/>
              <a:gd name="connsiteX31653" fmla="*/ 2970751 w 8079933"/>
              <a:gd name="connsiteY31653" fmla="*/ 3593283 h 4687251"/>
              <a:gd name="connsiteX31654" fmla="*/ 2970751 w 8079933"/>
              <a:gd name="connsiteY31654" fmla="*/ 3595666 h 4687251"/>
              <a:gd name="connsiteX31655" fmla="*/ 2965977 w 8079933"/>
              <a:gd name="connsiteY31655" fmla="*/ 3598913 h 4687251"/>
              <a:gd name="connsiteX31656" fmla="*/ 2958054 w 8079933"/>
              <a:gd name="connsiteY31656" fmla="*/ 3598047 h 4687251"/>
              <a:gd name="connsiteX31657" fmla="*/ 2951543 w 8079933"/>
              <a:gd name="connsiteY31657" fmla="*/ 3598047 h 4687251"/>
              <a:gd name="connsiteX31658" fmla="*/ 2947637 w 8079933"/>
              <a:gd name="connsiteY31658" fmla="*/ 3600213 h 4687251"/>
              <a:gd name="connsiteX31659" fmla="*/ 2940692 w 8079933"/>
              <a:gd name="connsiteY31659" fmla="*/ 3599239 h 4687251"/>
              <a:gd name="connsiteX31660" fmla="*/ 2940041 w 8079933"/>
              <a:gd name="connsiteY31660" fmla="*/ 3595124 h 4687251"/>
              <a:gd name="connsiteX31661" fmla="*/ 2941017 w 8079933"/>
              <a:gd name="connsiteY31661" fmla="*/ 3592417 h 4687251"/>
              <a:gd name="connsiteX31662" fmla="*/ 2938304 w 8079933"/>
              <a:gd name="connsiteY31662" fmla="*/ 3592417 h 4687251"/>
              <a:gd name="connsiteX31663" fmla="*/ 2935375 w 8079933"/>
              <a:gd name="connsiteY31663" fmla="*/ 3594907 h 4687251"/>
              <a:gd name="connsiteX31664" fmla="*/ 2936351 w 8079933"/>
              <a:gd name="connsiteY31664" fmla="*/ 3596748 h 4687251"/>
              <a:gd name="connsiteX31665" fmla="*/ 2925500 w 8079933"/>
              <a:gd name="connsiteY31665" fmla="*/ 3601187 h 4687251"/>
              <a:gd name="connsiteX31666" fmla="*/ 2916276 w 8079933"/>
              <a:gd name="connsiteY31666" fmla="*/ 3604652 h 4687251"/>
              <a:gd name="connsiteX31667" fmla="*/ 2914323 w 8079933"/>
              <a:gd name="connsiteY31667" fmla="*/ 3603136 h 4687251"/>
              <a:gd name="connsiteX31668" fmla="*/ 2915516 w 8079933"/>
              <a:gd name="connsiteY31668" fmla="*/ 3601729 h 4687251"/>
              <a:gd name="connsiteX31669" fmla="*/ 2921593 w 8079933"/>
              <a:gd name="connsiteY31669" fmla="*/ 3600538 h 4687251"/>
              <a:gd name="connsiteX31670" fmla="*/ 2927345 w 8079933"/>
              <a:gd name="connsiteY31670" fmla="*/ 3597289 h 4687251"/>
              <a:gd name="connsiteX31671" fmla="*/ 2927345 w 8079933"/>
              <a:gd name="connsiteY31671" fmla="*/ 3595340 h 4687251"/>
              <a:gd name="connsiteX31672" fmla="*/ 2923329 w 8079933"/>
              <a:gd name="connsiteY31672" fmla="*/ 3595340 h 4687251"/>
              <a:gd name="connsiteX31673" fmla="*/ 2920399 w 8079933"/>
              <a:gd name="connsiteY31673" fmla="*/ 3597614 h 4687251"/>
              <a:gd name="connsiteX31674" fmla="*/ 2916384 w 8079933"/>
              <a:gd name="connsiteY31674" fmla="*/ 3597614 h 4687251"/>
              <a:gd name="connsiteX31675" fmla="*/ 2912803 w 8079933"/>
              <a:gd name="connsiteY31675" fmla="*/ 3596640 h 4687251"/>
              <a:gd name="connsiteX31676" fmla="*/ 2906618 w 8079933"/>
              <a:gd name="connsiteY31676" fmla="*/ 3600429 h 4687251"/>
              <a:gd name="connsiteX31677" fmla="*/ 2903037 w 8079933"/>
              <a:gd name="connsiteY31677" fmla="*/ 3601296 h 4687251"/>
              <a:gd name="connsiteX31678" fmla="*/ 2904556 w 8079933"/>
              <a:gd name="connsiteY31678" fmla="*/ 3604218 h 4687251"/>
              <a:gd name="connsiteX31679" fmla="*/ 2907812 w 8079933"/>
              <a:gd name="connsiteY31679" fmla="*/ 3604869 h 4687251"/>
              <a:gd name="connsiteX31680" fmla="*/ 2910199 w 8079933"/>
              <a:gd name="connsiteY31680" fmla="*/ 3606384 h 4687251"/>
              <a:gd name="connsiteX31681" fmla="*/ 2910199 w 8079933"/>
              <a:gd name="connsiteY31681" fmla="*/ 3608225 h 4687251"/>
              <a:gd name="connsiteX31682" fmla="*/ 2906292 w 8079933"/>
              <a:gd name="connsiteY31682" fmla="*/ 3609416 h 4687251"/>
              <a:gd name="connsiteX31683" fmla="*/ 2896091 w 8079933"/>
              <a:gd name="connsiteY31683" fmla="*/ 3615803 h 4687251"/>
              <a:gd name="connsiteX31684" fmla="*/ 2892511 w 8079933"/>
              <a:gd name="connsiteY31684" fmla="*/ 3622192 h 4687251"/>
              <a:gd name="connsiteX31685" fmla="*/ 2892511 w 8079933"/>
              <a:gd name="connsiteY31685" fmla="*/ 3625657 h 4687251"/>
              <a:gd name="connsiteX31686" fmla="*/ 2888930 w 8079933"/>
              <a:gd name="connsiteY31686" fmla="*/ 3624790 h 4687251"/>
              <a:gd name="connsiteX31687" fmla="*/ 2885782 w 8079933"/>
              <a:gd name="connsiteY31687" fmla="*/ 3622192 h 4687251"/>
              <a:gd name="connsiteX31688" fmla="*/ 2879706 w 8079933"/>
              <a:gd name="connsiteY31688" fmla="*/ 3622192 h 4687251"/>
              <a:gd name="connsiteX31689" fmla="*/ 2874497 w 8079933"/>
              <a:gd name="connsiteY31689" fmla="*/ 3626306 h 4687251"/>
              <a:gd name="connsiteX31690" fmla="*/ 2869831 w 8079933"/>
              <a:gd name="connsiteY31690" fmla="*/ 3630745 h 4687251"/>
              <a:gd name="connsiteX31691" fmla="*/ 2861257 w 8079933"/>
              <a:gd name="connsiteY31691" fmla="*/ 3631828 h 4687251"/>
              <a:gd name="connsiteX31692" fmla="*/ 2851491 w 8079933"/>
              <a:gd name="connsiteY31692" fmla="*/ 3642655 h 4687251"/>
              <a:gd name="connsiteX31693" fmla="*/ 2844112 w 8079933"/>
              <a:gd name="connsiteY31693" fmla="*/ 3647419 h 4687251"/>
              <a:gd name="connsiteX31694" fmla="*/ 2837710 w 8079933"/>
              <a:gd name="connsiteY31694" fmla="*/ 3652940 h 4687251"/>
              <a:gd name="connsiteX31695" fmla="*/ 2837710 w 8079933"/>
              <a:gd name="connsiteY31695" fmla="*/ 3655322 h 4687251"/>
              <a:gd name="connsiteX31696" fmla="*/ 2833261 w 8079933"/>
              <a:gd name="connsiteY31696" fmla="*/ 3658246 h 4687251"/>
              <a:gd name="connsiteX31697" fmla="*/ 2825664 w 8079933"/>
              <a:gd name="connsiteY31697" fmla="*/ 3665283 h 4687251"/>
              <a:gd name="connsiteX31698" fmla="*/ 2823277 w 8079933"/>
              <a:gd name="connsiteY31698" fmla="*/ 3663443 h 4687251"/>
              <a:gd name="connsiteX31699" fmla="*/ 2820130 w 8079933"/>
              <a:gd name="connsiteY31699" fmla="*/ 3667882 h 4687251"/>
              <a:gd name="connsiteX31700" fmla="*/ 2815355 w 8079933"/>
              <a:gd name="connsiteY31700" fmla="*/ 3669289 h 4687251"/>
              <a:gd name="connsiteX31701" fmla="*/ 2821215 w 8079933"/>
              <a:gd name="connsiteY31701" fmla="*/ 3671888 h 4687251"/>
              <a:gd name="connsiteX31702" fmla="*/ 2821215 w 8079933"/>
              <a:gd name="connsiteY31702" fmla="*/ 3676544 h 4687251"/>
              <a:gd name="connsiteX31703" fmla="*/ 2815573 w 8079933"/>
              <a:gd name="connsiteY31703" fmla="*/ 3677952 h 4687251"/>
              <a:gd name="connsiteX31704" fmla="*/ 2818502 w 8079933"/>
              <a:gd name="connsiteY31704" fmla="*/ 3679683 h 4687251"/>
              <a:gd name="connsiteX31705" fmla="*/ 2820021 w 8079933"/>
              <a:gd name="connsiteY31705" fmla="*/ 3683689 h 4687251"/>
              <a:gd name="connsiteX31706" fmla="*/ 2813945 w 8079933"/>
              <a:gd name="connsiteY31706" fmla="*/ 3684880 h 4687251"/>
              <a:gd name="connsiteX31707" fmla="*/ 2812100 w 8079933"/>
              <a:gd name="connsiteY31707" fmla="*/ 3686613 h 4687251"/>
              <a:gd name="connsiteX31708" fmla="*/ 2814487 w 8079933"/>
              <a:gd name="connsiteY31708" fmla="*/ 3693867 h 4687251"/>
              <a:gd name="connsiteX31709" fmla="*/ 2816006 w 8079933"/>
              <a:gd name="connsiteY31709" fmla="*/ 3700688 h 4687251"/>
              <a:gd name="connsiteX31710" fmla="*/ 2816874 w 8079933"/>
              <a:gd name="connsiteY31710" fmla="*/ 3703828 h 4687251"/>
              <a:gd name="connsiteX31711" fmla="*/ 2816006 w 8079933"/>
              <a:gd name="connsiteY31711" fmla="*/ 3706751 h 4687251"/>
              <a:gd name="connsiteX31712" fmla="*/ 2816006 w 8079933"/>
              <a:gd name="connsiteY31712" fmla="*/ 3709675 h 4687251"/>
              <a:gd name="connsiteX31713" fmla="*/ 2820672 w 8079933"/>
              <a:gd name="connsiteY31713" fmla="*/ 3716171 h 4687251"/>
              <a:gd name="connsiteX31714" fmla="*/ 2820672 w 8079933"/>
              <a:gd name="connsiteY31714" fmla="*/ 3720934 h 4687251"/>
              <a:gd name="connsiteX31715" fmla="*/ 2821758 w 8079933"/>
              <a:gd name="connsiteY31715" fmla="*/ 3722558 h 4687251"/>
              <a:gd name="connsiteX31716" fmla="*/ 2822843 w 8079933"/>
              <a:gd name="connsiteY31716" fmla="*/ 3723966 h 4687251"/>
              <a:gd name="connsiteX31717" fmla="*/ 2821758 w 8079933"/>
              <a:gd name="connsiteY31717" fmla="*/ 3727106 h 4687251"/>
              <a:gd name="connsiteX31718" fmla="*/ 2822843 w 8079933"/>
              <a:gd name="connsiteY31718" fmla="*/ 3731436 h 4687251"/>
              <a:gd name="connsiteX31719" fmla="*/ 2819696 w 8079933"/>
              <a:gd name="connsiteY31719" fmla="*/ 3733278 h 4687251"/>
              <a:gd name="connsiteX31720" fmla="*/ 2817959 w 8079933"/>
              <a:gd name="connsiteY31720" fmla="*/ 3738583 h 4687251"/>
              <a:gd name="connsiteX31721" fmla="*/ 2815681 w 8079933"/>
              <a:gd name="connsiteY31721" fmla="*/ 3739232 h 4687251"/>
              <a:gd name="connsiteX31722" fmla="*/ 2815681 w 8079933"/>
              <a:gd name="connsiteY31722" fmla="*/ 3742480 h 4687251"/>
              <a:gd name="connsiteX31723" fmla="*/ 2816766 w 8079933"/>
              <a:gd name="connsiteY31723" fmla="*/ 3743779 h 4687251"/>
              <a:gd name="connsiteX31724" fmla="*/ 2815030 w 8079933"/>
              <a:gd name="connsiteY31724" fmla="*/ 3747569 h 4687251"/>
              <a:gd name="connsiteX31725" fmla="*/ 2804178 w 8079933"/>
              <a:gd name="connsiteY31725" fmla="*/ 3760237 h 4687251"/>
              <a:gd name="connsiteX31726" fmla="*/ 2793327 w 8079933"/>
              <a:gd name="connsiteY31726" fmla="*/ 3780916 h 4687251"/>
              <a:gd name="connsiteX31727" fmla="*/ 2788986 w 8079933"/>
              <a:gd name="connsiteY31727" fmla="*/ 3793259 h 4687251"/>
              <a:gd name="connsiteX31728" fmla="*/ 2784645 w 8079933"/>
              <a:gd name="connsiteY31728" fmla="*/ 3802896 h 4687251"/>
              <a:gd name="connsiteX31729" fmla="*/ 2773793 w 8079933"/>
              <a:gd name="connsiteY31729" fmla="*/ 3821951 h 4687251"/>
              <a:gd name="connsiteX31730" fmla="*/ 2766089 w 8079933"/>
              <a:gd name="connsiteY31730" fmla="*/ 3830721 h 4687251"/>
              <a:gd name="connsiteX31731" fmla="*/ 2750897 w 8079933"/>
              <a:gd name="connsiteY31731" fmla="*/ 3842522 h 4687251"/>
              <a:gd name="connsiteX31732" fmla="*/ 2746231 w 8079933"/>
              <a:gd name="connsiteY31732" fmla="*/ 3841115 h 4687251"/>
              <a:gd name="connsiteX31733" fmla="*/ 2746231 w 8079933"/>
              <a:gd name="connsiteY31733" fmla="*/ 3838516 h 4687251"/>
              <a:gd name="connsiteX31734" fmla="*/ 2748184 w 8079933"/>
              <a:gd name="connsiteY31734" fmla="*/ 3836676 h 4687251"/>
              <a:gd name="connsiteX31735" fmla="*/ 2752090 w 8079933"/>
              <a:gd name="connsiteY31735" fmla="*/ 3836026 h 4687251"/>
              <a:gd name="connsiteX31736" fmla="*/ 2752090 w 8079933"/>
              <a:gd name="connsiteY31736" fmla="*/ 3833428 h 4687251"/>
              <a:gd name="connsiteX31737" fmla="*/ 2755671 w 8079933"/>
              <a:gd name="connsiteY31737" fmla="*/ 3830288 h 4687251"/>
              <a:gd name="connsiteX31738" fmla="*/ 2760663 w 8079933"/>
              <a:gd name="connsiteY31738" fmla="*/ 3827581 h 4687251"/>
              <a:gd name="connsiteX31739" fmla="*/ 2762182 w 8079933"/>
              <a:gd name="connsiteY31739" fmla="*/ 3827581 h 4687251"/>
              <a:gd name="connsiteX31740" fmla="*/ 2763919 w 8079933"/>
              <a:gd name="connsiteY31740" fmla="*/ 3824333 h 4687251"/>
              <a:gd name="connsiteX31741" fmla="*/ 2764569 w 8079933"/>
              <a:gd name="connsiteY31741" fmla="*/ 3818270 h 4687251"/>
              <a:gd name="connsiteX31742" fmla="*/ 2769562 w 8079933"/>
              <a:gd name="connsiteY31742" fmla="*/ 3818270 h 4687251"/>
              <a:gd name="connsiteX31743" fmla="*/ 2775096 w 8079933"/>
              <a:gd name="connsiteY31743" fmla="*/ 3808742 h 4687251"/>
              <a:gd name="connsiteX31744" fmla="*/ 2777375 w 8079933"/>
              <a:gd name="connsiteY31744" fmla="*/ 3800513 h 4687251"/>
              <a:gd name="connsiteX31745" fmla="*/ 2779219 w 8079933"/>
              <a:gd name="connsiteY31745" fmla="*/ 3800513 h 4687251"/>
              <a:gd name="connsiteX31746" fmla="*/ 2779219 w 8079933"/>
              <a:gd name="connsiteY31746" fmla="*/ 3796399 h 4687251"/>
              <a:gd name="connsiteX31747" fmla="*/ 2777700 w 8079933"/>
              <a:gd name="connsiteY31747" fmla="*/ 3794884 h 4687251"/>
              <a:gd name="connsiteX31748" fmla="*/ 2775313 w 8079933"/>
              <a:gd name="connsiteY31748" fmla="*/ 3796291 h 4687251"/>
              <a:gd name="connsiteX31749" fmla="*/ 2773034 w 8079933"/>
              <a:gd name="connsiteY31749" fmla="*/ 3796291 h 4687251"/>
              <a:gd name="connsiteX31750" fmla="*/ 2767391 w 8079933"/>
              <a:gd name="connsiteY31750" fmla="*/ 3790120 h 4687251"/>
              <a:gd name="connsiteX31751" fmla="*/ 2764678 w 8079933"/>
              <a:gd name="connsiteY31751" fmla="*/ 3784489 h 4687251"/>
              <a:gd name="connsiteX31752" fmla="*/ 2762291 w 8079933"/>
              <a:gd name="connsiteY31752" fmla="*/ 3783840 h 4687251"/>
              <a:gd name="connsiteX31753" fmla="*/ 2764352 w 8079933"/>
              <a:gd name="connsiteY31753" fmla="*/ 3785680 h 4687251"/>
              <a:gd name="connsiteX31754" fmla="*/ 2764352 w 8079933"/>
              <a:gd name="connsiteY31754" fmla="*/ 3792935 h 4687251"/>
              <a:gd name="connsiteX31755" fmla="*/ 2766957 w 8079933"/>
              <a:gd name="connsiteY31755" fmla="*/ 3795641 h 4687251"/>
              <a:gd name="connsiteX31756" fmla="*/ 2768150 w 8079933"/>
              <a:gd name="connsiteY31756" fmla="*/ 3799105 h 4687251"/>
              <a:gd name="connsiteX31757" fmla="*/ 2766414 w 8079933"/>
              <a:gd name="connsiteY31757" fmla="*/ 3803761 h 4687251"/>
              <a:gd name="connsiteX31758" fmla="*/ 2762616 w 8079933"/>
              <a:gd name="connsiteY31758" fmla="*/ 3803761 h 4687251"/>
              <a:gd name="connsiteX31759" fmla="*/ 2760880 w 8079933"/>
              <a:gd name="connsiteY31759" fmla="*/ 3806035 h 4687251"/>
              <a:gd name="connsiteX31760" fmla="*/ 2760880 w 8079933"/>
              <a:gd name="connsiteY31760" fmla="*/ 3811557 h 4687251"/>
              <a:gd name="connsiteX31761" fmla="*/ 2759361 w 8079933"/>
              <a:gd name="connsiteY31761" fmla="*/ 3813181 h 4687251"/>
              <a:gd name="connsiteX31762" fmla="*/ 2759361 w 8079933"/>
              <a:gd name="connsiteY31762" fmla="*/ 3817945 h 4687251"/>
              <a:gd name="connsiteX31763" fmla="*/ 2755346 w 8079933"/>
              <a:gd name="connsiteY31763" fmla="*/ 3822600 h 4687251"/>
              <a:gd name="connsiteX31764" fmla="*/ 2752090 w 8079933"/>
              <a:gd name="connsiteY31764" fmla="*/ 3822600 h 4687251"/>
              <a:gd name="connsiteX31765" fmla="*/ 2749703 w 8079933"/>
              <a:gd name="connsiteY31765" fmla="*/ 3820652 h 4687251"/>
              <a:gd name="connsiteX31766" fmla="*/ 2749703 w 8079933"/>
              <a:gd name="connsiteY31766" fmla="*/ 3824116 h 4687251"/>
              <a:gd name="connsiteX31767" fmla="*/ 2745687 w 8079933"/>
              <a:gd name="connsiteY31767" fmla="*/ 3828555 h 4687251"/>
              <a:gd name="connsiteX31768" fmla="*/ 2745687 w 8079933"/>
              <a:gd name="connsiteY31768" fmla="*/ 3831587 h 4687251"/>
              <a:gd name="connsiteX31769" fmla="*/ 2742215 w 8079933"/>
              <a:gd name="connsiteY31769" fmla="*/ 3833320 h 4687251"/>
              <a:gd name="connsiteX31770" fmla="*/ 2740479 w 8079933"/>
              <a:gd name="connsiteY31770" fmla="*/ 3838083 h 4687251"/>
              <a:gd name="connsiteX31771" fmla="*/ 2743951 w 8079933"/>
              <a:gd name="connsiteY31771" fmla="*/ 3843714 h 4687251"/>
              <a:gd name="connsiteX31772" fmla="*/ 2746013 w 8079933"/>
              <a:gd name="connsiteY31772" fmla="*/ 3846312 h 4687251"/>
              <a:gd name="connsiteX31773" fmla="*/ 2744494 w 8079933"/>
              <a:gd name="connsiteY31773" fmla="*/ 3848585 h 4687251"/>
              <a:gd name="connsiteX31774" fmla="*/ 2740913 w 8079933"/>
              <a:gd name="connsiteY31774" fmla="*/ 3859412 h 4687251"/>
              <a:gd name="connsiteX31775" fmla="*/ 2736898 w 8079933"/>
              <a:gd name="connsiteY31775" fmla="*/ 3876087 h 4687251"/>
              <a:gd name="connsiteX31776" fmla="*/ 2733860 w 8079933"/>
              <a:gd name="connsiteY31776" fmla="*/ 3883340 h 4687251"/>
              <a:gd name="connsiteX31777" fmla="*/ 2725178 w 8079933"/>
              <a:gd name="connsiteY31777" fmla="*/ 3890486 h 4687251"/>
              <a:gd name="connsiteX31778" fmla="*/ 2723876 w 8079933"/>
              <a:gd name="connsiteY31778" fmla="*/ 3889403 h 4687251"/>
              <a:gd name="connsiteX31779" fmla="*/ 2721054 w 8079933"/>
              <a:gd name="connsiteY31779" fmla="*/ 3885722 h 4687251"/>
              <a:gd name="connsiteX31780" fmla="*/ 2720403 w 8079933"/>
              <a:gd name="connsiteY31780" fmla="*/ 3884531 h 4687251"/>
              <a:gd name="connsiteX31781" fmla="*/ 2719535 w 8079933"/>
              <a:gd name="connsiteY31781" fmla="*/ 3882799 h 4687251"/>
              <a:gd name="connsiteX31782" fmla="*/ 2717256 w 8079933"/>
              <a:gd name="connsiteY31782" fmla="*/ 3875545 h 4687251"/>
              <a:gd name="connsiteX31783" fmla="*/ 2721706 w 8079933"/>
              <a:gd name="connsiteY31783" fmla="*/ 3869374 h 4687251"/>
              <a:gd name="connsiteX31784" fmla="*/ 2722672 w 8079933"/>
              <a:gd name="connsiteY31784" fmla="*/ 3862727 h 4687251"/>
              <a:gd name="connsiteX31785" fmla="*/ 2721598 w 8079933"/>
              <a:gd name="connsiteY31785" fmla="*/ 3869373 h 4687251"/>
              <a:gd name="connsiteX31786" fmla="*/ 2717148 w 8079933"/>
              <a:gd name="connsiteY31786" fmla="*/ 3875546 h 4687251"/>
              <a:gd name="connsiteX31787" fmla="*/ 2719427 w 8079933"/>
              <a:gd name="connsiteY31787" fmla="*/ 3882799 h 4687251"/>
              <a:gd name="connsiteX31788" fmla="*/ 2720295 w 8079933"/>
              <a:gd name="connsiteY31788" fmla="*/ 3884532 h 4687251"/>
              <a:gd name="connsiteX31789" fmla="*/ 2720946 w 8079933"/>
              <a:gd name="connsiteY31789" fmla="*/ 3885723 h 4687251"/>
              <a:gd name="connsiteX31790" fmla="*/ 2723659 w 8079933"/>
              <a:gd name="connsiteY31790" fmla="*/ 3889512 h 4687251"/>
              <a:gd name="connsiteX31791" fmla="*/ 2725070 w 8079933"/>
              <a:gd name="connsiteY31791" fmla="*/ 3890595 h 4687251"/>
              <a:gd name="connsiteX31792" fmla="*/ 2723008 w 8079933"/>
              <a:gd name="connsiteY31792" fmla="*/ 3892218 h 4687251"/>
              <a:gd name="connsiteX31793" fmla="*/ 2719210 w 8079933"/>
              <a:gd name="connsiteY31793" fmla="*/ 3896658 h 4687251"/>
              <a:gd name="connsiteX31794" fmla="*/ 2719210 w 8079933"/>
              <a:gd name="connsiteY31794" fmla="*/ 3903371 h 4687251"/>
              <a:gd name="connsiteX31795" fmla="*/ 2714652 w 8079933"/>
              <a:gd name="connsiteY31795" fmla="*/ 3907701 h 4687251"/>
              <a:gd name="connsiteX31796" fmla="*/ 2712265 w 8079933"/>
              <a:gd name="connsiteY31796" fmla="*/ 3911383 h 4687251"/>
              <a:gd name="connsiteX31797" fmla="*/ 2713134 w 8079933"/>
              <a:gd name="connsiteY31797" fmla="*/ 3912140 h 4687251"/>
              <a:gd name="connsiteX31798" fmla="*/ 2711614 w 8079933"/>
              <a:gd name="connsiteY31798" fmla="*/ 3914631 h 4687251"/>
              <a:gd name="connsiteX31799" fmla="*/ 2705863 w 8079933"/>
              <a:gd name="connsiteY31799" fmla="*/ 3921344 h 4687251"/>
              <a:gd name="connsiteX31800" fmla="*/ 2696965 w 8079933"/>
              <a:gd name="connsiteY31800" fmla="*/ 3924592 h 4687251"/>
              <a:gd name="connsiteX31801" fmla="*/ 2694902 w 8079933"/>
              <a:gd name="connsiteY31801" fmla="*/ 3922860 h 4687251"/>
              <a:gd name="connsiteX31802" fmla="*/ 2693709 w 8079933"/>
              <a:gd name="connsiteY31802" fmla="*/ 3923726 h 4687251"/>
              <a:gd name="connsiteX31803" fmla="*/ 2693166 w 8079933"/>
              <a:gd name="connsiteY31803" fmla="*/ 3926540 h 4687251"/>
              <a:gd name="connsiteX31804" fmla="*/ 2690779 w 8079933"/>
              <a:gd name="connsiteY31804" fmla="*/ 3928273 h 4687251"/>
              <a:gd name="connsiteX31805" fmla="*/ 2687306 w 8079933"/>
              <a:gd name="connsiteY31805" fmla="*/ 3927948 h 4687251"/>
              <a:gd name="connsiteX31806" fmla="*/ 2683725 w 8079933"/>
              <a:gd name="connsiteY31806" fmla="*/ 3926540 h 4687251"/>
              <a:gd name="connsiteX31807" fmla="*/ 2681230 w 8079933"/>
              <a:gd name="connsiteY31807" fmla="*/ 3927082 h 4687251"/>
              <a:gd name="connsiteX31808" fmla="*/ 2678191 w 8079933"/>
              <a:gd name="connsiteY31808" fmla="*/ 3925350 h 4687251"/>
              <a:gd name="connsiteX31809" fmla="*/ 2673525 w 8079933"/>
              <a:gd name="connsiteY31809" fmla="*/ 3923617 h 4687251"/>
              <a:gd name="connsiteX31810" fmla="*/ 2666796 w 8079933"/>
              <a:gd name="connsiteY31810" fmla="*/ 3924809 h 4687251"/>
              <a:gd name="connsiteX31811" fmla="*/ 2661588 w 8079933"/>
              <a:gd name="connsiteY31811" fmla="*/ 3928056 h 4687251"/>
              <a:gd name="connsiteX31812" fmla="*/ 2656705 w 8079933"/>
              <a:gd name="connsiteY31812" fmla="*/ 3927840 h 4687251"/>
              <a:gd name="connsiteX31813" fmla="*/ 2656813 w 8079933"/>
              <a:gd name="connsiteY31813" fmla="*/ 3925350 h 4687251"/>
              <a:gd name="connsiteX31814" fmla="*/ 2657464 w 8079933"/>
              <a:gd name="connsiteY31814" fmla="*/ 3923509 h 4687251"/>
              <a:gd name="connsiteX31815" fmla="*/ 2656270 w 8079933"/>
              <a:gd name="connsiteY31815" fmla="*/ 3922318 h 4687251"/>
              <a:gd name="connsiteX31816" fmla="*/ 2652581 w 8079933"/>
              <a:gd name="connsiteY31816" fmla="*/ 3922101 h 4687251"/>
              <a:gd name="connsiteX31817" fmla="*/ 2648891 w 8079933"/>
              <a:gd name="connsiteY31817" fmla="*/ 3921452 h 4687251"/>
              <a:gd name="connsiteX31818" fmla="*/ 2643248 w 8079933"/>
              <a:gd name="connsiteY31818" fmla="*/ 3917554 h 4687251"/>
              <a:gd name="connsiteX31819" fmla="*/ 2637063 w 8079933"/>
              <a:gd name="connsiteY31819" fmla="*/ 3917121 h 4687251"/>
              <a:gd name="connsiteX31820" fmla="*/ 2626537 w 8079933"/>
              <a:gd name="connsiteY31820" fmla="*/ 3918095 h 4687251"/>
              <a:gd name="connsiteX31821" fmla="*/ 2622956 w 8079933"/>
              <a:gd name="connsiteY31821" fmla="*/ 3917229 h 4687251"/>
              <a:gd name="connsiteX31822" fmla="*/ 2616336 w 8079933"/>
              <a:gd name="connsiteY31822" fmla="*/ 3910625 h 4687251"/>
              <a:gd name="connsiteX31823" fmla="*/ 2613949 w 8079933"/>
              <a:gd name="connsiteY31823" fmla="*/ 3910084 h 4687251"/>
              <a:gd name="connsiteX31824" fmla="*/ 2606895 w 8079933"/>
              <a:gd name="connsiteY31824" fmla="*/ 3900339 h 4687251"/>
              <a:gd name="connsiteX31825" fmla="*/ 2603640 w 8079933"/>
              <a:gd name="connsiteY31825" fmla="*/ 3891894 h 4687251"/>
              <a:gd name="connsiteX31826" fmla="*/ 2603423 w 8079933"/>
              <a:gd name="connsiteY31826" fmla="*/ 3881283 h 4687251"/>
              <a:gd name="connsiteX31827" fmla="*/ 2603531 w 8079933"/>
              <a:gd name="connsiteY31827" fmla="*/ 3880850 h 4687251"/>
              <a:gd name="connsiteX31828" fmla="*/ 2604400 w 8079933"/>
              <a:gd name="connsiteY31828" fmla="*/ 3879226 h 4687251"/>
              <a:gd name="connsiteX31829" fmla="*/ 2607981 w 8079933"/>
              <a:gd name="connsiteY31829" fmla="*/ 3875978 h 4687251"/>
              <a:gd name="connsiteX31830" fmla="*/ 2609499 w 8079933"/>
              <a:gd name="connsiteY31830" fmla="*/ 3872514 h 4687251"/>
              <a:gd name="connsiteX31831" fmla="*/ 2609499 w 8079933"/>
              <a:gd name="connsiteY31831" fmla="*/ 3872513 h 4687251"/>
              <a:gd name="connsiteX31832" fmla="*/ 2607981 w 8079933"/>
              <a:gd name="connsiteY31832" fmla="*/ 3875977 h 4687251"/>
              <a:gd name="connsiteX31833" fmla="*/ 2604399 w 8079933"/>
              <a:gd name="connsiteY31833" fmla="*/ 3879226 h 4687251"/>
              <a:gd name="connsiteX31834" fmla="*/ 2603531 w 8079933"/>
              <a:gd name="connsiteY31834" fmla="*/ 3880850 h 4687251"/>
              <a:gd name="connsiteX31835" fmla="*/ 2603423 w 8079933"/>
              <a:gd name="connsiteY31835" fmla="*/ 3881283 h 4687251"/>
              <a:gd name="connsiteX31836" fmla="*/ 2602229 w 8079933"/>
              <a:gd name="connsiteY31836" fmla="*/ 3891027 h 4687251"/>
              <a:gd name="connsiteX31837" fmla="*/ 2603965 w 8079933"/>
              <a:gd name="connsiteY31837" fmla="*/ 3899689 h 4687251"/>
              <a:gd name="connsiteX31838" fmla="*/ 2602988 w 8079933"/>
              <a:gd name="connsiteY31838" fmla="*/ 3902287 h 4687251"/>
              <a:gd name="connsiteX31839" fmla="*/ 2606027 w 8079933"/>
              <a:gd name="connsiteY31839" fmla="*/ 3905427 h 4687251"/>
              <a:gd name="connsiteX31840" fmla="*/ 2606244 w 8079933"/>
              <a:gd name="connsiteY31840" fmla="*/ 3909542 h 4687251"/>
              <a:gd name="connsiteX31841" fmla="*/ 2604724 w 8079933"/>
              <a:gd name="connsiteY31841" fmla="*/ 3911058 h 4687251"/>
              <a:gd name="connsiteX31842" fmla="*/ 2607112 w 8079933"/>
              <a:gd name="connsiteY31842" fmla="*/ 3915388 h 4687251"/>
              <a:gd name="connsiteX31843" fmla="*/ 2617095 w 8079933"/>
              <a:gd name="connsiteY31843" fmla="*/ 3923184 h 4687251"/>
              <a:gd name="connsiteX31844" fmla="*/ 2627079 w 8079933"/>
              <a:gd name="connsiteY31844" fmla="*/ 3926974 h 4687251"/>
              <a:gd name="connsiteX31845" fmla="*/ 2639450 w 8079933"/>
              <a:gd name="connsiteY31845" fmla="*/ 3936501 h 4687251"/>
              <a:gd name="connsiteX31846" fmla="*/ 2642271 w 8079933"/>
              <a:gd name="connsiteY31846" fmla="*/ 3939966 h 4687251"/>
              <a:gd name="connsiteX31847" fmla="*/ 2641946 w 8079933"/>
              <a:gd name="connsiteY31847" fmla="*/ 3944838 h 4687251"/>
              <a:gd name="connsiteX31848" fmla="*/ 2636086 w 8079933"/>
              <a:gd name="connsiteY31848" fmla="*/ 3956531 h 4687251"/>
              <a:gd name="connsiteX31849" fmla="*/ 2635652 w 8079933"/>
              <a:gd name="connsiteY31849" fmla="*/ 3959996 h 4687251"/>
              <a:gd name="connsiteX31850" fmla="*/ 2639341 w 8079933"/>
              <a:gd name="connsiteY31850" fmla="*/ 3966817 h 4687251"/>
              <a:gd name="connsiteX31851" fmla="*/ 2645527 w 8079933"/>
              <a:gd name="connsiteY31851" fmla="*/ 3970931 h 4687251"/>
              <a:gd name="connsiteX31852" fmla="*/ 2650736 w 8079933"/>
              <a:gd name="connsiteY31852" fmla="*/ 3971147 h 4687251"/>
              <a:gd name="connsiteX31853" fmla="*/ 2653774 w 8079933"/>
              <a:gd name="connsiteY31853" fmla="*/ 3967900 h 4687251"/>
              <a:gd name="connsiteX31854" fmla="*/ 2654968 w 8079933"/>
              <a:gd name="connsiteY31854" fmla="*/ 3968007 h 4687251"/>
              <a:gd name="connsiteX31855" fmla="*/ 2656053 w 8079933"/>
              <a:gd name="connsiteY31855" fmla="*/ 3972013 h 4687251"/>
              <a:gd name="connsiteX31856" fmla="*/ 2656053 w 8079933"/>
              <a:gd name="connsiteY31856" fmla="*/ 3982083 h 4687251"/>
              <a:gd name="connsiteX31857" fmla="*/ 2654968 w 8079933"/>
              <a:gd name="connsiteY31857" fmla="*/ 3986739 h 4687251"/>
              <a:gd name="connsiteX31858" fmla="*/ 2650302 w 8079933"/>
              <a:gd name="connsiteY31858" fmla="*/ 3994318 h 4687251"/>
              <a:gd name="connsiteX31859" fmla="*/ 2648674 w 8079933"/>
              <a:gd name="connsiteY31859" fmla="*/ 4001896 h 4687251"/>
              <a:gd name="connsiteX31860" fmla="*/ 2646937 w 8079933"/>
              <a:gd name="connsiteY31860" fmla="*/ 4004278 h 4687251"/>
              <a:gd name="connsiteX31861" fmla="*/ 2646178 w 8079933"/>
              <a:gd name="connsiteY31861" fmla="*/ 4001680 h 4687251"/>
              <a:gd name="connsiteX31862" fmla="*/ 2644442 w 8079933"/>
              <a:gd name="connsiteY31862" fmla="*/ 4003304 h 4687251"/>
              <a:gd name="connsiteX31863" fmla="*/ 2642054 w 8079933"/>
              <a:gd name="connsiteY31863" fmla="*/ 4010666 h 4687251"/>
              <a:gd name="connsiteX31864" fmla="*/ 2643465 w 8079933"/>
              <a:gd name="connsiteY31864" fmla="*/ 4016188 h 4687251"/>
              <a:gd name="connsiteX31865" fmla="*/ 2641512 w 8079933"/>
              <a:gd name="connsiteY31865" fmla="*/ 4020843 h 4687251"/>
              <a:gd name="connsiteX31866" fmla="*/ 2628490 w 8079933"/>
              <a:gd name="connsiteY31866" fmla="*/ 4028855 h 4687251"/>
              <a:gd name="connsiteX31867" fmla="*/ 2618290 w 8079933"/>
              <a:gd name="connsiteY31867" fmla="*/ 4032320 h 4687251"/>
              <a:gd name="connsiteX31868" fmla="*/ 2616445 w 8079933"/>
              <a:gd name="connsiteY31868" fmla="*/ 4029722 h 4687251"/>
              <a:gd name="connsiteX31869" fmla="*/ 2615685 w 8079933"/>
              <a:gd name="connsiteY31869" fmla="*/ 4032862 h 4687251"/>
              <a:gd name="connsiteX31870" fmla="*/ 2601035 w 8079933"/>
              <a:gd name="connsiteY31870" fmla="*/ 4038816 h 4687251"/>
              <a:gd name="connsiteX31871" fmla="*/ 2584324 w 8079933"/>
              <a:gd name="connsiteY31871" fmla="*/ 4043147 h 4687251"/>
              <a:gd name="connsiteX31872" fmla="*/ 2574340 w 8079933"/>
              <a:gd name="connsiteY31872" fmla="*/ 4043689 h 4687251"/>
              <a:gd name="connsiteX31873" fmla="*/ 2566418 w 8079933"/>
              <a:gd name="connsiteY31873" fmla="*/ 4042498 h 4687251"/>
              <a:gd name="connsiteX31874" fmla="*/ 2559039 w 8079933"/>
              <a:gd name="connsiteY31874" fmla="*/ 4043797 h 4687251"/>
              <a:gd name="connsiteX31875" fmla="*/ 2554373 w 8079933"/>
              <a:gd name="connsiteY31875" fmla="*/ 4043797 h 4687251"/>
              <a:gd name="connsiteX31876" fmla="*/ 2549056 w 8079933"/>
              <a:gd name="connsiteY31876" fmla="*/ 4040441 h 4687251"/>
              <a:gd name="connsiteX31877" fmla="*/ 2542328 w 8079933"/>
              <a:gd name="connsiteY31877" fmla="*/ 4038167 h 4687251"/>
              <a:gd name="connsiteX31878" fmla="*/ 2539072 w 8079933"/>
              <a:gd name="connsiteY31878" fmla="*/ 4038167 h 4687251"/>
              <a:gd name="connsiteX31879" fmla="*/ 2537010 w 8079933"/>
              <a:gd name="connsiteY31879" fmla="*/ 4035352 h 4687251"/>
              <a:gd name="connsiteX31880" fmla="*/ 2535382 w 8079933"/>
              <a:gd name="connsiteY31880" fmla="*/ 4036976 h 4687251"/>
              <a:gd name="connsiteX31881" fmla="*/ 2535382 w 8079933"/>
              <a:gd name="connsiteY31881" fmla="*/ 4040874 h 4687251"/>
              <a:gd name="connsiteX31882" fmla="*/ 2536685 w 8079933"/>
              <a:gd name="connsiteY31882" fmla="*/ 4043689 h 4687251"/>
              <a:gd name="connsiteX31883" fmla="*/ 2536685 w 8079933"/>
              <a:gd name="connsiteY31883" fmla="*/ 4052026 h 4687251"/>
              <a:gd name="connsiteX31884" fmla="*/ 2538855 w 8079933"/>
              <a:gd name="connsiteY31884" fmla="*/ 4055382 h 4687251"/>
              <a:gd name="connsiteX31885" fmla="*/ 2538312 w 8079933"/>
              <a:gd name="connsiteY31885" fmla="*/ 4057873 h 4687251"/>
              <a:gd name="connsiteX31886" fmla="*/ 2542328 w 8079933"/>
              <a:gd name="connsiteY31886" fmla="*/ 4058305 h 4687251"/>
              <a:gd name="connsiteX31887" fmla="*/ 2543196 w 8079933"/>
              <a:gd name="connsiteY31887" fmla="*/ 4062420 h 4687251"/>
              <a:gd name="connsiteX31888" fmla="*/ 2542436 w 8079933"/>
              <a:gd name="connsiteY31888" fmla="*/ 4065451 h 4687251"/>
              <a:gd name="connsiteX31889" fmla="*/ 2540808 w 8079933"/>
              <a:gd name="connsiteY31889" fmla="*/ 4065993 h 4687251"/>
              <a:gd name="connsiteX31890" fmla="*/ 2540917 w 8079933"/>
              <a:gd name="connsiteY31890" fmla="*/ 4067617 h 4687251"/>
              <a:gd name="connsiteX31891" fmla="*/ 2536685 w 8079933"/>
              <a:gd name="connsiteY31891" fmla="*/ 4071839 h 4687251"/>
              <a:gd name="connsiteX31892" fmla="*/ 2537662 w 8079933"/>
              <a:gd name="connsiteY31892" fmla="*/ 4074113 h 4687251"/>
              <a:gd name="connsiteX31893" fmla="*/ 2535925 w 8079933"/>
              <a:gd name="connsiteY31893" fmla="*/ 4077361 h 4687251"/>
              <a:gd name="connsiteX31894" fmla="*/ 2535925 w 8079933"/>
              <a:gd name="connsiteY31894" fmla="*/ 4081692 h 4687251"/>
              <a:gd name="connsiteX31895" fmla="*/ 2538855 w 8079933"/>
              <a:gd name="connsiteY31895" fmla="*/ 4086672 h 4687251"/>
              <a:gd name="connsiteX31896" fmla="*/ 2542979 w 8079933"/>
              <a:gd name="connsiteY31896" fmla="*/ 4087863 h 4687251"/>
              <a:gd name="connsiteX31897" fmla="*/ 2541676 w 8079933"/>
              <a:gd name="connsiteY31897" fmla="*/ 4091761 h 4687251"/>
              <a:gd name="connsiteX31898" fmla="*/ 2540266 w 8079933"/>
              <a:gd name="connsiteY31898" fmla="*/ 4094360 h 4687251"/>
              <a:gd name="connsiteX31899" fmla="*/ 2541460 w 8079933"/>
              <a:gd name="connsiteY31899" fmla="*/ 4097825 h 4687251"/>
              <a:gd name="connsiteX31900" fmla="*/ 2540375 w 8079933"/>
              <a:gd name="connsiteY31900" fmla="*/ 4102264 h 4687251"/>
              <a:gd name="connsiteX31901" fmla="*/ 2534949 w 8079933"/>
              <a:gd name="connsiteY31901" fmla="*/ 4106270 h 4687251"/>
              <a:gd name="connsiteX31902" fmla="*/ 2535600 w 8079933"/>
              <a:gd name="connsiteY31902" fmla="*/ 4107785 h 4687251"/>
              <a:gd name="connsiteX31903" fmla="*/ 2527461 w 8079933"/>
              <a:gd name="connsiteY31903" fmla="*/ 4113307 h 4687251"/>
              <a:gd name="connsiteX31904" fmla="*/ 2514113 w 8079933"/>
              <a:gd name="connsiteY31904" fmla="*/ 4113415 h 4687251"/>
              <a:gd name="connsiteX31905" fmla="*/ 2506843 w 8079933"/>
              <a:gd name="connsiteY31905" fmla="*/ 4111683 h 4687251"/>
              <a:gd name="connsiteX31906" fmla="*/ 2498378 w 8079933"/>
              <a:gd name="connsiteY31906" fmla="*/ 4104645 h 4687251"/>
              <a:gd name="connsiteX31907" fmla="*/ 2489263 w 8079933"/>
              <a:gd name="connsiteY31907" fmla="*/ 4101722 h 4687251"/>
              <a:gd name="connsiteX31908" fmla="*/ 2483946 w 8079933"/>
              <a:gd name="connsiteY31908" fmla="*/ 4102264 h 4687251"/>
              <a:gd name="connsiteX31909" fmla="*/ 2482535 w 8079933"/>
              <a:gd name="connsiteY31909" fmla="*/ 4101397 h 4687251"/>
              <a:gd name="connsiteX31910" fmla="*/ 2484054 w 8079933"/>
              <a:gd name="connsiteY31910" fmla="*/ 4098691 h 4687251"/>
              <a:gd name="connsiteX31911" fmla="*/ 2480473 w 8079933"/>
              <a:gd name="connsiteY31911" fmla="*/ 4098799 h 4687251"/>
              <a:gd name="connsiteX31912" fmla="*/ 2475590 w 8079933"/>
              <a:gd name="connsiteY31912" fmla="*/ 4103671 h 4687251"/>
              <a:gd name="connsiteX31913" fmla="*/ 2475481 w 8079933"/>
              <a:gd name="connsiteY31913" fmla="*/ 4112116 h 4687251"/>
              <a:gd name="connsiteX31914" fmla="*/ 2480690 w 8079933"/>
              <a:gd name="connsiteY31914" fmla="*/ 4116772 h 4687251"/>
              <a:gd name="connsiteX31915" fmla="*/ 2482535 w 8079933"/>
              <a:gd name="connsiteY31915" fmla="*/ 4125325 h 4687251"/>
              <a:gd name="connsiteX31916" fmla="*/ 2482318 w 8079933"/>
              <a:gd name="connsiteY31916" fmla="*/ 4136585 h 4687251"/>
              <a:gd name="connsiteX31917" fmla="*/ 2483946 w 8079933"/>
              <a:gd name="connsiteY31917" fmla="*/ 4140916 h 4687251"/>
              <a:gd name="connsiteX31918" fmla="*/ 2489480 w 8079933"/>
              <a:gd name="connsiteY31918" fmla="*/ 4144056 h 4687251"/>
              <a:gd name="connsiteX31919" fmla="*/ 2496642 w 8079933"/>
              <a:gd name="connsiteY31919" fmla="*/ 4143515 h 4687251"/>
              <a:gd name="connsiteX31920" fmla="*/ 2499247 w 8079933"/>
              <a:gd name="connsiteY31920" fmla="*/ 4144922 h 4687251"/>
              <a:gd name="connsiteX31921" fmla="*/ 2496534 w 8079933"/>
              <a:gd name="connsiteY31921" fmla="*/ 4146438 h 4687251"/>
              <a:gd name="connsiteX31922" fmla="*/ 2494255 w 8079933"/>
              <a:gd name="connsiteY31922" fmla="*/ 4148711 h 4687251"/>
              <a:gd name="connsiteX31923" fmla="*/ 2497835 w 8079933"/>
              <a:gd name="connsiteY31923" fmla="*/ 4150011 h 4687251"/>
              <a:gd name="connsiteX31924" fmla="*/ 2505974 w 8079933"/>
              <a:gd name="connsiteY31924" fmla="*/ 4147629 h 4687251"/>
              <a:gd name="connsiteX31925" fmla="*/ 2506300 w 8079933"/>
              <a:gd name="connsiteY31925" fmla="*/ 4145030 h 4687251"/>
              <a:gd name="connsiteX31926" fmla="*/ 2502393 w 8079933"/>
              <a:gd name="connsiteY31926" fmla="*/ 4144056 h 4687251"/>
              <a:gd name="connsiteX31927" fmla="*/ 2500983 w 8079933"/>
              <a:gd name="connsiteY31927" fmla="*/ 4142973 h 4687251"/>
              <a:gd name="connsiteX31928" fmla="*/ 2503261 w 8079933"/>
              <a:gd name="connsiteY31928" fmla="*/ 4141133 h 4687251"/>
              <a:gd name="connsiteX31929" fmla="*/ 2506843 w 8079933"/>
              <a:gd name="connsiteY31929" fmla="*/ 4140916 h 4687251"/>
              <a:gd name="connsiteX31930" fmla="*/ 2511509 w 8079933"/>
              <a:gd name="connsiteY31930" fmla="*/ 4137884 h 4687251"/>
              <a:gd name="connsiteX31931" fmla="*/ 2515090 w 8079933"/>
              <a:gd name="connsiteY31931" fmla="*/ 4138209 h 4687251"/>
              <a:gd name="connsiteX31932" fmla="*/ 2518345 w 8079933"/>
              <a:gd name="connsiteY31932" fmla="*/ 4143731 h 4687251"/>
              <a:gd name="connsiteX31933" fmla="*/ 2517369 w 8079933"/>
              <a:gd name="connsiteY31933" fmla="*/ 4147954 h 4687251"/>
              <a:gd name="connsiteX31934" fmla="*/ 2515415 w 8079933"/>
              <a:gd name="connsiteY31934" fmla="*/ 4148819 h 4687251"/>
              <a:gd name="connsiteX31935" fmla="*/ 2518562 w 8079933"/>
              <a:gd name="connsiteY31935" fmla="*/ 4152609 h 4687251"/>
              <a:gd name="connsiteX31936" fmla="*/ 2520733 w 8079933"/>
              <a:gd name="connsiteY31936" fmla="*/ 4157590 h 4687251"/>
              <a:gd name="connsiteX31937" fmla="*/ 2519430 w 8079933"/>
              <a:gd name="connsiteY31937" fmla="*/ 4162245 h 4687251"/>
              <a:gd name="connsiteX31938" fmla="*/ 2510098 w 8079933"/>
              <a:gd name="connsiteY31938" fmla="*/ 4167551 h 4687251"/>
              <a:gd name="connsiteX31939" fmla="*/ 2506626 w 8079933"/>
              <a:gd name="connsiteY31939" fmla="*/ 4166359 h 4687251"/>
              <a:gd name="connsiteX31940" fmla="*/ 2504781 w 8079933"/>
              <a:gd name="connsiteY31940" fmla="*/ 4161704 h 4687251"/>
              <a:gd name="connsiteX31941" fmla="*/ 2505649 w 8079933"/>
              <a:gd name="connsiteY31941" fmla="*/ 4159647 h 4687251"/>
              <a:gd name="connsiteX31942" fmla="*/ 2505649 w 8079933"/>
              <a:gd name="connsiteY31942" fmla="*/ 4156940 h 4687251"/>
              <a:gd name="connsiteX31943" fmla="*/ 2499789 w 8079933"/>
              <a:gd name="connsiteY31943" fmla="*/ 4153800 h 4687251"/>
              <a:gd name="connsiteX31944" fmla="*/ 2493387 w 8079933"/>
              <a:gd name="connsiteY31944" fmla="*/ 4156290 h 4687251"/>
              <a:gd name="connsiteX31945" fmla="*/ 2489046 w 8079933"/>
              <a:gd name="connsiteY31945" fmla="*/ 4159539 h 4687251"/>
              <a:gd name="connsiteX31946" fmla="*/ 2488178 w 8079933"/>
              <a:gd name="connsiteY31946" fmla="*/ 4162137 h 4687251"/>
              <a:gd name="connsiteX31947" fmla="*/ 2490239 w 8079933"/>
              <a:gd name="connsiteY31947" fmla="*/ 4165494 h 4687251"/>
              <a:gd name="connsiteX31948" fmla="*/ 2495123 w 8079933"/>
              <a:gd name="connsiteY31948" fmla="*/ 4165710 h 4687251"/>
              <a:gd name="connsiteX31949" fmla="*/ 2502176 w 8079933"/>
              <a:gd name="connsiteY31949" fmla="*/ 4167767 h 4687251"/>
              <a:gd name="connsiteX31950" fmla="*/ 2502393 w 8079933"/>
              <a:gd name="connsiteY31950" fmla="*/ 4170149 h 4687251"/>
              <a:gd name="connsiteX31951" fmla="*/ 2497185 w 8079933"/>
              <a:gd name="connsiteY31951" fmla="*/ 4175021 h 4687251"/>
              <a:gd name="connsiteX31952" fmla="*/ 2489806 w 8079933"/>
              <a:gd name="connsiteY31952" fmla="*/ 4177727 h 4687251"/>
              <a:gd name="connsiteX31953" fmla="*/ 2486984 w 8079933"/>
              <a:gd name="connsiteY31953" fmla="*/ 4180868 h 4687251"/>
              <a:gd name="connsiteX31954" fmla="*/ 2488721 w 8079933"/>
              <a:gd name="connsiteY31954" fmla="*/ 4182708 h 4687251"/>
              <a:gd name="connsiteX31955" fmla="*/ 2486876 w 8079933"/>
              <a:gd name="connsiteY31955" fmla="*/ 4187364 h 4687251"/>
              <a:gd name="connsiteX31956" fmla="*/ 2483078 w 8079933"/>
              <a:gd name="connsiteY31956" fmla="*/ 4191262 h 4687251"/>
              <a:gd name="connsiteX31957" fmla="*/ 2484597 w 8079933"/>
              <a:gd name="connsiteY31957" fmla="*/ 4197325 h 4687251"/>
              <a:gd name="connsiteX31958" fmla="*/ 2486333 w 8079933"/>
              <a:gd name="connsiteY31958" fmla="*/ 4199924 h 4687251"/>
              <a:gd name="connsiteX31959" fmla="*/ 2486333 w 8079933"/>
              <a:gd name="connsiteY31959" fmla="*/ 4203171 h 4687251"/>
              <a:gd name="connsiteX31960" fmla="*/ 2485465 w 8079933"/>
              <a:gd name="connsiteY31960" fmla="*/ 4206095 h 4687251"/>
              <a:gd name="connsiteX31961" fmla="*/ 2491107 w 8079933"/>
              <a:gd name="connsiteY31961" fmla="*/ 4212266 h 4687251"/>
              <a:gd name="connsiteX31962" fmla="*/ 2490999 w 8079933"/>
              <a:gd name="connsiteY31962" fmla="*/ 4214540 h 4687251"/>
              <a:gd name="connsiteX31963" fmla="*/ 2488721 w 8079933"/>
              <a:gd name="connsiteY31963" fmla="*/ 4217788 h 4687251"/>
              <a:gd name="connsiteX31964" fmla="*/ 2489914 w 8079933"/>
              <a:gd name="connsiteY31964" fmla="*/ 4219196 h 4687251"/>
              <a:gd name="connsiteX31965" fmla="*/ 2483403 w 8079933"/>
              <a:gd name="connsiteY31965" fmla="*/ 4223418 h 4687251"/>
              <a:gd name="connsiteX31966" fmla="*/ 2482535 w 8079933"/>
              <a:gd name="connsiteY31966" fmla="*/ 4227099 h 4687251"/>
              <a:gd name="connsiteX31967" fmla="*/ 2481884 w 8079933"/>
              <a:gd name="connsiteY31967" fmla="*/ 4229157 h 4687251"/>
              <a:gd name="connsiteX31968" fmla="*/ 2486441 w 8079933"/>
              <a:gd name="connsiteY31968" fmla="*/ 4230889 h 4687251"/>
              <a:gd name="connsiteX31969" fmla="*/ 2488721 w 8079933"/>
              <a:gd name="connsiteY31969" fmla="*/ 4233054 h 4687251"/>
              <a:gd name="connsiteX31970" fmla="*/ 2488394 w 8079933"/>
              <a:gd name="connsiteY31970" fmla="*/ 4235111 h 4687251"/>
              <a:gd name="connsiteX31971" fmla="*/ 2480798 w 8079933"/>
              <a:gd name="connsiteY31971" fmla="*/ 4236519 h 4687251"/>
              <a:gd name="connsiteX31972" fmla="*/ 2476567 w 8079933"/>
              <a:gd name="connsiteY31972" fmla="*/ 4235869 h 4687251"/>
              <a:gd name="connsiteX31973" fmla="*/ 2469621 w 8079933"/>
              <a:gd name="connsiteY31973" fmla="*/ 4236844 h 4687251"/>
              <a:gd name="connsiteX31974" fmla="*/ 2465172 w 8079933"/>
              <a:gd name="connsiteY31974" fmla="*/ 4241716 h 4687251"/>
              <a:gd name="connsiteX31975" fmla="*/ 2459855 w 8079933"/>
              <a:gd name="connsiteY31975" fmla="*/ 4242365 h 4687251"/>
              <a:gd name="connsiteX31976" fmla="*/ 2455840 w 8079933"/>
              <a:gd name="connsiteY31976" fmla="*/ 4247021 h 4687251"/>
              <a:gd name="connsiteX31977" fmla="*/ 2452693 w 8079933"/>
              <a:gd name="connsiteY31977" fmla="*/ 4247671 h 4687251"/>
              <a:gd name="connsiteX31978" fmla="*/ 2451065 w 8079933"/>
              <a:gd name="connsiteY31978" fmla="*/ 4253409 h 4687251"/>
              <a:gd name="connsiteX31979" fmla="*/ 2449112 w 8079933"/>
              <a:gd name="connsiteY31979" fmla="*/ 4257524 h 4687251"/>
              <a:gd name="connsiteX31980" fmla="*/ 2443795 w 8079933"/>
              <a:gd name="connsiteY31980" fmla="*/ 4261312 h 4687251"/>
              <a:gd name="connsiteX31981" fmla="*/ 2443469 w 8079933"/>
              <a:gd name="connsiteY31981" fmla="*/ 4264236 h 4687251"/>
              <a:gd name="connsiteX31982" fmla="*/ 2446399 w 8079933"/>
              <a:gd name="connsiteY31982" fmla="*/ 4268134 h 4687251"/>
              <a:gd name="connsiteX31983" fmla="*/ 2446399 w 8079933"/>
              <a:gd name="connsiteY31983" fmla="*/ 4273331 h 4687251"/>
              <a:gd name="connsiteX31984" fmla="*/ 2451499 w 8079933"/>
              <a:gd name="connsiteY31984" fmla="*/ 4281884 h 4687251"/>
              <a:gd name="connsiteX31985" fmla="*/ 2456382 w 8079933"/>
              <a:gd name="connsiteY31985" fmla="*/ 4285890 h 4687251"/>
              <a:gd name="connsiteX31986" fmla="*/ 2459638 w 8079933"/>
              <a:gd name="connsiteY31986" fmla="*/ 4286865 h 4687251"/>
              <a:gd name="connsiteX31987" fmla="*/ 2466040 w 8079933"/>
              <a:gd name="connsiteY31987" fmla="*/ 4292387 h 4687251"/>
              <a:gd name="connsiteX31988" fmla="*/ 2475481 w 8079933"/>
              <a:gd name="connsiteY31988" fmla="*/ 4301156 h 4687251"/>
              <a:gd name="connsiteX31989" fmla="*/ 2483403 w 8079933"/>
              <a:gd name="connsiteY31989" fmla="*/ 4300507 h 4687251"/>
              <a:gd name="connsiteX31990" fmla="*/ 2487744 w 8079933"/>
              <a:gd name="connsiteY31990" fmla="*/ 4300615 h 4687251"/>
              <a:gd name="connsiteX31991" fmla="*/ 2489806 w 8079933"/>
              <a:gd name="connsiteY31991" fmla="*/ 4299640 h 4687251"/>
              <a:gd name="connsiteX31992" fmla="*/ 2493604 w 8079933"/>
              <a:gd name="connsiteY31992" fmla="*/ 4300832 h 4687251"/>
              <a:gd name="connsiteX31993" fmla="*/ 2495123 w 8079933"/>
              <a:gd name="connsiteY31993" fmla="*/ 4303430 h 4687251"/>
              <a:gd name="connsiteX31994" fmla="*/ 2493387 w 8079933"/>
              <a:gd name="connsiteY31994" fmla="*/ 4305271 h 4687251"/>
              <a:gd name="connsiteX31995" fmla="*/ 2493387 w 8079933"/>
              <a:gd name="connsiteY31995" fmla="*/ 4307870 h 4687251"/>
              <a:gd name="connsiteX31996" fmla="*/ 2496208 w 8079933"/>
              <a:gd name="connsiteY31996" fmla="*/ 4313499 h 4687251"/>
              <a:gd name="connsiteX31997" fmla="*/ 2496208 w 8079933"/>
              <a:gd name="connsiteY31997" fmla="*/ 4317289 h 4687251"/>
              <a:gd name="connsiteX31998" fmla="*/ 2491976 w 8079933"/>
              <a:gd name="connsiteY31998" fmla="*/ 4321295 h 4687251"/>
              <a:gd name="connsiteX31999" fmla="*/ 2494797 w 8079933"/>
              <a:gd name="connsiteY31999" fmla="*/ 4321295 h 4687251"/>
              <a:gd name="connsiteX32000" fmla="*/ 2499030 w 8079933"/>
              <a:gd name="connsiteY32000" fmla="*/ 4325192 h 4687251"/>
              <a:gd name="connsiteX32001" fmla="*/ 2496208 w 8079933"/>
              <a:gd name="connsiteY32001" fmla="*/ 4327250 h 4687251"/>
              <a:gd name="connsiteX32002" fmla="*/ 2495665 w 8079933"/>
              <a:gd name="connsiteY32002" fmla="*/ 4330390 h 4687251"/>
              <a:gd name="connsiteX32003" fmla="*/ 2496534 w 8079933"/>
              <a:gd name="connsiteY32003" fmla="*/ 4332122 h 4687251"/>
              <a:gd name="connsiteX32004" fmla="*/ 2492736 w 8079933"/>
              <a:gd name="connsiteY32004" fmla="*/ 4336452 h 4687251"/>
              <a:gd name="connsiteX32005" fmla="*/ 2488937 w 8079933"/>
              <a:gd name="connsiteY32005" fmla="*/ 4338294 h 4687251"/>
              <a:gd name="connsiteX32006" fmla="*/ 2488069 w 8079933"/>
              <a:gd name="connsiteY32006" fmla="*/ 4342083 h 4687251"/>
              <a:gd name="connsiteX32007" fmla="*/ 2485682 w 8079933"/>
              <a:gd name="connsiteY32007" fmla="*/ 4342949 h 4687251"/>
              <a:gd name="connsiteX32008" fmla="*/ 2482210 w 8079933"/>
              <a:gd name="connsiteY32008" fmla="*/ 4347604 h 4687251"/>
              <a:gd name="connsiteX32009" fmla="*/ 2480473 w 8079933"/>
              <a:gd name="connsiteY32009" fmla="*/ 4353126 h 4687251"/>
              <a:gd name="connsiteX32010" fmla="*/ 2475807 w 8079933"/>
              <a:gd name="connsiteY32010" fmla="*/ 4353451 h 4687251"/>
              <a:gd name="connsiteX32011" fmla="*/ 2470272 w 8079933"/>
              <a:gd name="connsiteY32011" fmla="*/ 4358756 h 4687251"/>
              <a:gd name="connsiteX32012" fmla="*/ 2469296 w 8079933"/>
              <a:gd name="connsiteY32012" fmla="*/ 4364062 h 4687251"/>
              <a:gd name="connsiteX32013" fmla="*/ 2467559 w 8079933"/>
              <a:gd name="connsiteY32013" fmla="*/ 4369259 h 4687251"/>
              <a:gd name="connsiteX32014" fmla="*/ 2463436 w 8079933"/>
              <a:gd name="connsiteY32014" fmla="*/ 4373157 h 4687251"/>
              <a:gd name="connsiteX32015" fmla="*/ 2462351 w 8079933"/>
              <a:gd name="connsiteY32015" fmla="*/ 4376296 h 4687251"/>
              <a:gd name="connsiteX32016" fmla="*/ 2464630 w 8079933"/>
              <a:gd name="connsiteY32016" fmla="*/ 4374564 h 4687251"/>
              <a:gd name="connsiteX32017" fmla="*/ 2468211 w 8079933"/>
              <a:gd name="connsiteY32017" fmla="*/ 4375430 h 4687251"/>
              <a:gd name="connsiteX32018" fmla="*/ 2469838 w 8079933"/>
              <a:gd name="connsiteY32018" fmla="*/ 4382685 h 4687251"/>
              <a:gd name="connsiteX32019" fmla="*/ 2468428 w 8079933"/>
              <a:gd name="connsiteY32019" fmla="*/ 4386474 h 4687251"/>
              <a:gd name="connsiteX32020" fmla="*/ 2464087 w 8079933"/>
              <a:gd name="connsiteY32020" fmla="*/ 4391454 h 4687251"/>
              <a:gd name="connsiteX32021" fmla="*/ 2463436 w 8079933"/>
              <a:gd name="connsiteY32021" fmla="*/ 4395136 h 4687251"/>
              <a:gd name="connsiteX32022" fmla="*/ 2458444 w 8079933"/>
              <a:gd name="connsiteY32022" fmla="*/ 4399358 h 4687251"/>
              <a:gd name="connsiteX32023" fmla="*/ 2454754 w 8079933"/>
              <a:gd name="connsiteY32023" fmla="*/ 4398059 h 4687251"/>
              <a:gd name="connsiteX32024" fmla="*/ 2451716 w 8079933"/>
              <a:gd name="connsiteY32024" fmla="*/ 4394594 h 4687251"/>
              <a:gd name="connsiteX32025" fmla="*/ 2448569 w 8079933"/>
              <a:gd name="connsiteY32025" fmla="*/ 4392970 h 4687251"/>
              <a:gd name="connsiteX32026" fmla="*/ 2450848 w 8079933"/>
              <a:gd name="connsiteY32026" fmla="*/ 4395893 h 4687251"/>
              <a:gd name="connsiteX32027" fmla="*/ 2450848 w 8079933"/>
              <a:gd name="connsiteY32027" fmla="*/ 4400224 h 4687251"/>
              <a:gd name="connsiteX32028" fmla="*/ 2452584 w 8079933"/>
              <a:gd name="connsiteY32028" fmla="*/ 4402065 h 4687251"/>
              <a:gd name="connsiteX32029" fmla="*/ 2450523 w 8079933"/>
              <a:gd name="connsiteY32029" fmla="*/ 4405854 h 4687251"/>
              <a:gd name="connsiteX32030" fmla="*/ 2444663 w 8079933"/>
              <a:gd name="connsiteY32030" fmla="*/ 4410618 h 4687251"/>
              <a:gd name="connsiteX32031" fmla="*/ 2441841 w 8079933"/>
              <a:gd name="connsiteY32031" fmla="*/ 4418630 h 4687251"/>
              <a:gd name="connsiteX32032" fmla="*/ 2442709 w 8079933"/>
              <a:gd name="connsiteY32032" fmla="*/ 4425668 h 4687251"/>
              <a:gd name="connsiteX32033" fmla="*/ 2447376 w 8079933"/>
              <a:gd name="connsiteY32033" fmla="*/ 4432814 h 4687251"/>
              <a:gd name="connsiteX32034" fmla="*/ 2451391 w 8079933"/>
              <a:gd name="connsiteY32034" fmla="*/ 4443857 h 4687251"/>
              <a:gd name="connsiteX32035" fmla="*/ 2451391 w 8079933"/>
              <a:gd name="connsiteY32035" fmla="*/ 4447214 h 4687251"/>
              <a:gd name="connsiteX32036" fmla="*/ 2452693 w 8079933"/>
              <a:gd name="connsiteY32036" fmla="*/ 4447972 h 4687251"/>
              <a:gd name="connsiteX32037" fmla="*/ 2451824 w 8079933"/>
              <a:gd name="connsiteY32037" fmla="*/ 4451111 h 4687251"/>
              <a:gd name="connsiteX32038" fmla="*/ 2448244 w 8079933"/>
              <a:gd name="connsiteY32038" fmla="*/ 4453168 h 4687251"/>
              <a:gd name="connsiteX32039" fmla="*/ 2450848 w 8079933"/>
              <a:gd name="connsiteY32039" fmla="*/ 4455659 h 4687251"/>
              <a:gd name="connsiteX32040" fmla="*/ 2453561 w 8079933"/>
              <a:gd name="connsiteY32040" fmla="*/ 4454793 h 4687251"/>
              <a:gd name="connsiteX32041" fmla="*/ 2457685 w 8079933"/>
              <a:gd name="connsiteY32041" fmla="*/ 4458799 h 4687251"/>
              <a:gd name="connsiteX32042" fmla="*/ 2458553 w 8079933"/>
              <a:gd name="connsiteY32042" fmla="*/ 4463454 h 4687251"/>
              <a:gd name="connsiteX32043" fmla="*/ 2466691 w 8079933"/>
              <a:gd name="connsiteY32043" fmla="*/ 4468434 h 4687251"/>
              <a:gd name="connsiteX32044" fmla="*/ 2471466 w 8079933"/>
              <a:gd name="connsiteY32044" fmla="*/ 4472224 h 4687251"/>
              <a:gd name="connsiteX32045" fmla="*/ 2472009 w 8079933"/>
              <a:gd name="connsiteY32045" fmla="*/ 4476663 h 4687251"/>
              <a:gd name="connsiteX32046" fmla="*/ 2469947 w 8079933"/>
              <a:gd name="connsiteY32046" fmla="*/ 4476555 h 4687251"/>
              <a:gd name="connsiteX32047" fmla="*/ 2464413 w 8079933"/>
              <a:gd name="connsiteY32047" fmla="*/ 4473956 h 4687251"/>
              <a:gd name="connsiteX32048" fmla="*/ 2460504 w 8079933"/>
              <a:gd name="connsiteY32048" fmla="*/ 4470440 h 4687251"/>
              <a:gd name="connsiteX32049" fmla="*/ 2464413 w 8079933"/>
              <a:gd name="connsiteY32049" fmla="*/ 4473957 h 4687251"/>
              <a:gd name="connsiteX32050" fmla="*/ 2463545 w 8079933"/>
              <a:gd name="connsiteY32050" fmla="*/ 4473632 h 4687251"/>
              <a:gd name="connsiteX32051" fmla="*/ 2460615 w 8079933"/>
              <a:gd name="connsiteY32051" fmla="*/ 4475256 h 4687251"/>
              <a:gd name="connsiteX32052" fmla="*/ 2454430 w 8079933"/>
              <a:gd name="connsiteY32052" fmla="*/ 4471684 h 4687251"/>
              <a:gd name="connsiteX32053" fmla="*/ 2449112 w 8079933"/>
              <a:gd name="connsiteY32053" fmla="*/ 4473091 h 4687251"/>
              <a:gd name="connsiteX32054" fmla="*/ 2446399 w 8079933"/>
              <a:gd name="connsiteY32054" fmla="*/ 4475690 h 4687251"/>
              <a:gd name="connsiteX32055" fmla="*/ 2446834 w 8079933"/>
              <a:gd name="connsiteY32055" fmla="*/ 4481644 h 4687251"/>
              <a:gd name="connsiteX32056" fmla="*/ 2444989 w 8079933"/>
              <a:gd name="connsiteY32056" fmla="*/ 4483593 h 4687251"/>
              <a:gd name="connsiteX32057" fmla="*/ 2440106 w 8079933"/>
              <a:gd name="connsiteY32057" fmla="*/ 4483593 h 4687251"/>
              <a:gd name="connsiteX32058" fmla="*/ 2436850 w 8079933"/>
              <a:gd name="connsiteY32058" fmla="*/ 4484892 h 4687251"/>
              <a:gd name="connsiteX32059" fmla="*/ 2431424 w 8079933"/>
              <a:gd name="connsiteY32059" fmla="*/ 4491388 h 4687251"/>
              <a:gd name="connsiteX32060" fmla="*/ 2425456 w 8079933"/>
              <a:gd name="connsiteY32060" fmla="*/ 4494854 h 4687251"/>
              <a:gd name="connsiteX32061" fmla="*/ 2424804 w 8079933"/>
              <a:gd name="connsiteY32061" fmla="*/ 4498210 h 4687251"/>
              <a:gd name="connsiteX32062" fmla="*/ 2425999 w 8079933"/>
              <a:gd name="connsiteY32062" fmla="*/ 4502974 h 4687251"/>
              <a:gd name="connsiteX32063" fmla="*/ 2425564 w 8079933"/>
              <a:gd name="connsiteY32063" fmla="*/ 4510119 h 4687251"/>
              <a:gd name="connsiteX32064" fmla="*/ 2424804 w 8079933"/>
              <a:gd name="connsiteY32064" fmla="*/ 4516400 h 4687251"/>
              <a:gd name="connsiteX32065" fmla="*/ 2425130 w 8079933"/>
              <a:gd name="connsiteY32065" fmla="*/ 4519539 h 4687251"/>
              <a:gd name="connsiteX32066" fmla="*/ 2424479 w 8079933"/>
              <a:gd name="connsiteY32066" fmla="*/ 4523004 h 4687251"/>
              <a:gd name="connsiteX32067" fmla="*/ 2426867 w 8079933"/>
              <a:gd name="connsiteY32067" fmla="*/ 4530258 h 4687251"/>
              <a:gd name="connsiteX32068" fmla="*/ 2424045 w 8079933"/>
              <a:gd name="connsiteY32068" fmla="*/ 4535563 h 4687251"/>
              <a:gd name="connsiteX32069" fmla="*/ 2421874 w 8079933"/>
              <a:gd name="connsiteY32069" fmla="*/ 4537837 h 4687251"/>
              <a:gd name="connsiteX32070" fmla="*/ 2418728 w 8079933"/>
              <a:gd name="connsiteY32070" fmla="*/ 4536213 h 4687251"/>
              <a:gd name="connsiteX32071" fmla="*/ 2415798 w 8079933"/>
              <a:gd name="connsiteY32071" fmla="*/ 4536429 h 4687251"/>
              <a:gd name="connsiteX32072" fmla="*/ 2411349 w 8079933"/>
              <a:gd name="connsiteY32072" fmla="*/ 4533939 h 4687251"/>
              <a:gd name="connsiteX32073" fmla="*/ 2404512 w 8079933"/>
              <a:gd name="connsiteY32073" fmla="*/ 4532748 h 4687251"/>
              <a:gd name="connsiteX32074" fmla="*/ 2396807 w 8079933"/>
              <a:gd name="connsiteY32074" fmla="*/ 4525386 h 4687251"/>
              <a:gd name="connsiteX32075" fmla="*/ 2394420 w 8079933"/>
              <a:gd name="connsiteY32075" fmla="*/ 4521380 h 4687251"/>
              <a:gd name="connsiteX32076" fmla="*/ 2396265 w 8079933"/>
              <a:gd name="connsiteY32076" fmla="*/ 4519106 h 4687251"/>
              <a:gd name="connsiteX32077" fmla="*/ 2398869 w 8079933"/>
              <a:gd name="connsiteY32077" fmla="*/ 4518890 h 4687251"/>
              <a:gd name="connsiteX32078" fmla="*/ 2400606 w 8079933"/>
              <a:gd name="connsiteY32078" fmla="*/ 4519539 h 4687251"/>
              <a:gd name="connsiteX32079" fmla="*/ 2401365 w 8079933"/>
              <a:gd name="connsiteY32079" fmla="*/ 4516400 h 4687251"/>
              <a:gd name="connsiteX32080" fmla="*/ 2403536 w 8079933"/>
              <a:gd name="connsiteY32080" fmla="*/ 4514776 h 4687251"/>
              <a:gd name="connsiteX32081" fmla="*/ 2405163 w 8079933"/>
              <a:gd name="connsiteY32081" fmla="*/ 4515641 h 4687251"/>
              <a:gd name="connsiteX32082" fmla="*/ 2405054 w 8079933"/>
              <a:gd name="connsiteY32082" fmla="*/ 4521596 h 4687251"/>
              <a:gd name="connsiteX32083" fmla="*/ 2402993 w 8079933"/>
              <a:gd name="connsiteY32083" fmla="*/ 4523004 h 4687251"/>
              <a:gd name="connsiteX32084" fmla="*/ 2402884 w 8079933"/>
              <a:gd name="connsiteY32084" fmla="*/ 4525061 h 4687251"/>
              <a:gd name="connsiteX32085" fmla="*/ 2406682 w 8079933"/>
              <a:gd name="connsiteY32085" fmla="*/ 4523329 h 4687251"/>
              <a:gd name="connsiteX32086" fmla="*/ 2409070 w 8079933"/>
              <a:gd name="connsiteY32086" fmla="*/ 4520622 h 4687251"/>
              <a:gd name="connsiteX32087" fmla="*/ 2407767 w 8079933"/>
              <a:gd name="connsiteY32087" fmla="*/ 4517374 h 4687251"/>
              <a:gd name="connsiteX32088" fmla="*/ 2407767 w 8079933"/>
              <a:gd name="connsiteY32088" fmla="*/ 4512502 h 4687251"/>
              <a:gd name="connsiteX32089" fmla="*/ 2411783 w 8079933"/>
              <a:gd name="connsiteY32089" fmla="*/ 4508387 h 4687251"/>
              <a:gd name="connsiteX32090" fmla="*/ 2412651 w 8079933"/>
              <a:gd name="connsiteY32090" fmla="*/ 4505572 h 4687251"/>
              <a:gd name="connsiteX32091" fmla="*/ 2414930 w 8079933"/>
              <a:gd name="connsiteY32091" fmla="*/ 4501674 h 4687251"/>
              <a:gd name="connsiteX32092" fmla="*/ 2418185 w 8079933"/>
              <a:gd name="connsiteY32092" fmla="*/ 4500376 h 4687251"/>
              <a:gd name="connsiteX32093" fmla="*/ 2417643 w 8079933"/>
              <a:gd name="connsiteY32093" fmla="*/ 4499184 h 4687251"/>
              <a:gd name="connsiteX32094" fmla="*/ 2414930 w 8079933"/>
              <a:gd name="connsiteY32094" fmla="*/ 4499184 h 4687251"/>
              <a:gd name="connsiteX32095" fmla="*/ 2411674 w 8079933"/>
              <a:gd name="connsiteY32095" fmla="*/ 4497452 h 4687251"/>
              <a:gd name="connsiteX32096" fmla="*/ 2410915 w 8079933"/>
              <a:gd name="connsiteY32096" fmla="*/ 4496152 h 4687251"/>
              <a:gd name="connsiteX32097" fmla="*/ 2407984 w 8079933"/>
              <a:gd name="connsiteY32097" fmla="*/ 4497993 h 4687251"/>
              <a:gd name="connsiteX32098" fmla="*/ 2403861 w 8079933"/>
              <a:gd name="connsiteY32098" fmla="*/ 4503948 h 4687251"/>
              <a:gd name="connsiteX32099" fmla="*/ 2400063 w 8079933"/>
              <a:gd name="connsiteY32099" fmla="*/ 4507413 h 4687251"/>
              <a:gd name="connsiteX32100" fmla="*/ 2393768 w 8079933"/>
              <a:gd name="connsiteY32100" fmla="*/ 4508712 h 4687251"/>
              <a:gd name="connsiteX32101" fmla="*/ 2397458 w 8079933"/>
              <a:gd name="connsiteY32101" fmla="*/ 4512827 h 4687251"/>
              <a:gd name="connsiteX32102" fmla="*/ 2397025 w 8079933"/>
              <a:gd name="connsiteY32102" fmla="*/ 4514776 h 4687251"/>
              <a:gd name="connsiteX32103" fmla="*/ 2393877 w 8079933"/>
              <a:gd name="connsiteY32103" fmla="*/ 4515533 h 4687251"/>
              <a:gd name="connsiteX32104" fmla="*/ 2391164 w 8079933"/>
              <a:gd name="connsiteY32104" fmla="*/ 4518890 h 4687251"/>
              <a:gd name="connsiteX32105" fmla="*/ 2392141 w 8079933"/>
              <a:gd name="connsiteY32105" fmla="*/ 4522463 h 4687251"/>
              <a:gd name="connsiteX32106" fmla="*/ 2391164 w 8079933"/>
              <a:gd name="connsiteY32106" fmla="*/ 4524628 h 4687251"/>
              <a:gd name="connsiteX32107" fmla="*/ 2389645 w 8079933"/>
              <a:gd name="connsiteY32107" fmla="*/ 4524520 h 4687251"/>
              <a:gd name="connsiteX32108" fmla="*/ 2384654 w 8079933"/>
              <a:gd name="connsiteY32108" fmla="*/ 4520189 h 4687251"/>
              <a:gd name="connsiteX32109" fmla="*/ 2377708 w 8079933"/>
              <a:gd name="connsiteY32109" fmla="*/ 4517807 h 4687251"/>
              <a:gd name="connsiteX32110" fmla="*/ 2377708 w 8079933"/>
              <a:gd name="connsiteY32110" fmla="*/ 4515966 h 4687251"/>
              <a:gd name="connsiteX32111" fmla="*/ 2379445 w 8079933"/>
              <a:gd name="connsiteY32111" fmla="*/ 4513801 h 4687251"/>
              <a:gd name="connsiteX32112" fmla="*/ 2377383 w 8079933"/>
              <a:gd name="connsiteY32112" fmla="*/ 4512502 h 4687251"/>
              <a:gd name="connsiteX32113" fmla="*/ 2377275 w 8079933"/>
              <a:gd name="connsiteY32113" fmla="*/ 4510661 h 4687251"/>
              <a:gd name="connsiteX32114" fmla="*/ 2378576 w 8079933"/>
              <a:gd name="connsiteY32114" fmla="*/ 4508821 h 4687251"/>
              <a:gd name="connsiteX32115" fmla="*/ 2380096 w 8079933"/>
              <a:gd name="connsiteY32115" fmla="*/ 4505789 h 4687251"/>
              <a:gd name="connsiteX32116" fmla="*/ 2379445 w 8079933"/>
              <a:gd name="connsiteY32116" fmla="*/ 4502866 h 4687251"/>
              <a:gd name="connsiteX32117" fmla="*/ 2382266 w 8079933"/>
              <a:gd name="connsiteY32117" fmla="*/ 4499834 h 4687251"/>
              <a:gd name="connsiteX32118" fmla="*/ 2384436 w 8079933"/>
              <a:gd name="connsiteY32118" fmla="*/ 4500267 h 4687251"/>
              <a:gd name="connsiteX32119" fmla="*/ 2386172 w 8079933"/>
              <a:gd name="connsiteY32119" fmla="*/ 4499942 h 4687251"/>
              <a:gd name="connsiteX32120" fmla="*/ 2393552 w 8079933"/>
              <a:gd name="connsiteY32120" fmla="*/ 4493446 h 4687251"/>
              <a:gd name="connsiteX32121" fmla="*/ 2396699 w 8079933"/>
              <a:gd name="connsiteY32121" fmla="*/ 4492580 h 4687251"/>
              <a:gd name="connsiteX32122" fmla="*/ 2399629 w 8079933"/>
              <a:gd name="connsiteY32122" fmla="*/ 4494854 h 4687251"/>
              <a:gd name="connsiteX32123" fmla="*/ 2402341 w 8079933"/>
              <a:gd name="connsiteY32123" fmla="*/ 4495611 h 4687251"/>
              <a:gd name="connsiteX32124" fmla="*/ 2404404 w 8079933"/>
              <a:gd name="connsiteY32124" fmla="*/ 4492580 h 4687251"/>
              <a:gd name="connsiteX32125" fmla="*/ 2407008 w 8079933"/>
              <a:gd name="connsiteY32125" fmla="*/ 4491388 h 4687251"/>
              <a:gd name="connsiteX32126" fmla="*/ 2406574 w 8079933"/>
              <a:gd name="connsiteY32126" fmla="*/ 4489657 h 4687251"/>
              <a:gd name="connsiteX32127" fmla="*/ 2402559 w 8079933"/>
              <a:gd name="connsiteY32127" fmla="*/ 4489331 h 4687251"/>
              <a:gd name="connsiteX32128" fmla="*/ 2397893 w 8079933"/>
              <a:gd name="connsiteY32128" fmla="*/ 4489764 h 4687251"/>
              <a:gd name="connsiteX32129" fmla="*/ 2393768 w 8079933"/>
              <a:gd name="connsiteY32129" fmla="*/ 4488465 h 4687251"/>
              <a:gd name="connsiteX32130" fmla="*/ 2389102 w 8079933"/>
              <a:gd name="connsiteY32130" fmla="*/ 4489548 h 4687251"/>
              <a:gd name="connsiteX32131" fmla="*/ 2387909 w 8079933"/>
              <a:gd name="connsiteY32131" fmla="*/ 4491930 h 4687251"/>
              <a:gd name="connsiteX32132" fmla="*/ 2385522 w 8079933"/>
              <a:gd name="connsiteY32132" fmla="*/ 4490847 h 4687251"/>
              <a:gd name="connsiteX32133" fmla="*/ 2384654 w 8079933"/>
              <a:gd name="connsiteY32133" fmla="*/ 4488356 h 4687251"/>
              <a:gd name="connsiteX32134" fmla="*/ 2382374 w 8079933"/>
              <a:gd name="connsiteY32134" fmla="*/ 4489764 h 4687251"/>
              <a:gd name="connsiteX32135" fmla="*/ 2377057 w 8079933"/>
              <a:gd name="connsiteY32135" fmla="*/ 4488032 h 4687251"/>
              <a:gd name="connsiteX32136" fmla="*/ 2374995 w 8079933"/>
              <a:gd name="connsiteY32136" fmla="*/ 4489115 h 4687251"/>
              <a:gd name="connsiteX32137" fmla="*/ 2375104 w 8079933"/>
              <a:gd name="connsiteY32137" fmla="*/ 4491930 h 4687251"/>
              <a:gd name="connsiteX32138" fmla="*/ 2372391 w 8079933"/>
              <a:gd name="connsiteY32138" fmla="*/ 4493771 h 4687251"/>
              <a:gd name="connsiteX32139" fmla="*/ 2371197 w 8079933"/>
              <a:gd name="connsiteY32139" fmla="*/ 4495070 h 4687251"/>
              <a:gd name="connsiteX32140" fmla="*/ 2374670 w 8079933"/>
              <a:gd name="connsiteY32140" fmla="*/ 4495611 h 4687251"/>
              <a:gd name="connsiteX32141" fmla="*/ 2376515 w 8079933"/>
              <a:gd name="connsiteY32141" fmla="*/ 4494529 h 4687251"/>
              <a:gd name="connsiteX32142" fmla="*/ 2377816 w 8079933"/>
              <a:gd name="connsiteY32142" fmla="*/ 4498318 h 4687251"/>
              <a:gd name="connsiteX32143" fmla="*/ 2376623 w 8079933"/>
              <a:gd name="connsiteY32143" fmla="*/ 4501891 h 4687251"/>
              <a:gd name="connsiteX32144" fmla="*/ 2378576 w 8079933"/>
              <a:gd name="connsiteY32144" fmla="*/ 4506763 h 4687251"/>
              <a:gd name="connsiteX32145" fmla="*/ 2376515 w 8079933"/>
              <a:gd name="connsiteY32145" fmla="*/ 4509686 h 4687251"/>
              <a:gd name="connsiteX32146" fmla="*/ 2374236 w 8079933"/>
              <a:gd name="connsiteY32146" fmla="*/ 4510553 h 4687251"/>
              <a:gd name="connsiteX32147" fmla="*/ 2367616 w 8079933"/>
              <a:gd name="connsiteY32147" fmla="*/ 4506872 h 4687251"/>
              <a:gd name="connsiteX32148" fmla="*/ 2361973 w 8079933"/>
              <a:gd name="connsiteY32148" fmla="*/ 4506330 h 4687251"/>
              <a:gd name="connsiteX32149" fmla="*/ 2360996 w 8079933"/>
              <a:gd name="connsiteY32149" fmla="*/ 4503840 h 4687251"/>
              <a:gd name="connsiteX32150" fmla="*/ 2364361 w 8079933"/>
              <a:gd name="connsiteY32150" fmla="*/ 4500917 h 4687251"/>
              <a:gd name="connsiteX32151" fmla="*/ 2367725 w 8079933"/>
              <a:gd name="connsiteY32151" fmla="*/ 4499617 h 4687251"/>
              <a:gd name="connsiteX32152" fmla="*/ 2367725 w 8079933"/>
              <a:gd name="connsiteY32152" fmla="*/ 4498318 h 4687251"/>
              <a:gd name="connsiteX32153" fmla="*/ 2364144 w 8079933"/>
              <a:gd name="connsiteY32153" fmla="*/ 4497019 h 4687251"/>
              <a:gd name="connsiteX32154" fmla="*/ 2361973 w 8079933"/>
              <a:gd name="connsiteY32154" fmla="*/ 4495719 h 4687251"/>
              <a:gd name="connsiteX32155" fmla="*/ 2360128 w 8079933"/>
              <a:gd name="connsiteY32155" fmla="*/ 4499293 h 4687251"/>
              <a:gd name="connsiteX32156" fmla="*/ 2356981 w 8079933"/>
              <a:gd name="connsiteY32156" fmla="*/ 4498751 h 4687251"/>
              <a:gd name="connsiteX32157" fmla="*/ 2356222 w 8079933"/>
              <a:gd name="connsiteY32157" fmla="*/ 4497127 h 4687251"/>
              <a:gd name="connsiteX32158" fmla="*/ 2357633 w 8079933"/>
              <a:gd name="connsiteY32158" fmla="*/ 4494637 h 4687251"/>
              <a:gd name="connsiteX32159" fmla="*/ 2356873 w 8079933"/>
              <a:gd name="connsiteY32159" fmla="*/ 4491821 h 4687251"/>
              <a:gd name="connsiteX32160" fmla="*/ 2354811 w 8079933"/>
              <a:gd name="connsiteY32160" fmla="*/ 4488249 h 4687251"/>
              <a:gd name="connsiteX32161" fmla="*/ 2354486 w 8079933"/>
              <a:gd name="connsiteY32161" fmla="*/ 4482510 h 4687251"/>
              <a:gd name="connsiteX32162" fmla="*/ 2350362 w 8079933"/>
              <a:gd name="connsiteY32162" fmla="*/ 4479478 h 4687251"/>
              <a:gd name="connsiteX32163" fmla="*/ 2354811 w 8079933"/>
              <a:gd name="connsiteY32163" fmla="*/ 4477638 h 4687251"/>
              <a:gd name="connsiteX32164" fmla="*/ 2360237 w 8079933"/>
              <a:gd name="connsiteY32164" fmla="*/ 4477638 h 4687251"/>
              <a:gd name="connsiteX32165" fmla="*/ 2363818 w 8079933"/>
              <a:gd name="connsiteY32165" fmla="*/ 4475148 h 4687251"/>
              <a:gd name="connsiteX32166" fmla="*/ 2366423 w 8079933"/>
              <a:gd name="connsiteY32166" fmla="*/ 4475148 h 4687251"/>
              <a:gd name="connsiteX32167" fmla="*/ 2367399 w 8079933"/>
              <a:gd name="connsiteY32167" fmla="*/ 4479045 h 4687251"/>
              <a:gd name="connsiteX32168" fmla="*/ 2369027 w 8079933"/>
              <a:gd name="connsiteY32168" fmla="*/ 4480994 h 4687251"/>
              <a:gd name="connsiteX32169" fmla="*/ 2370872 w 8079933"/>
              <a:gd name="connsiteY32169" fmla="*/ 4477313 h 4687251"/>
              <a:gd name="connsiteX32170" fmla="*/ 2368810 w 8079933"/>
              <a:gd name="connsiteY32170" fmla="*/ 4474498 h 4687251"/>
              <a:gd name="connsiteX32171" fmla="*/ 2369136 w 8079933"/>
              <a:gd name="connsiteY32171" fmla="*/ 4470600 h 4687251"/>
              <a:gd name="connsiteX32172" fmla="*/ 2371089 w 8079933"/>
              <a:gd name="connsiteY32172" fmla="*/ 4467677 h 4687251"/>
              <a:gd name="connsiteX32173" fmla="*/ 2374345 w 8079933"/>
              <a:gd name="connsiteY32173" fmla="*/ 4470492 h 4687251"/>
              <a:gd name="connsiteX32174" fmla="*/ 2377600 w 8079933"/>
              <a:gd name="connsiteY32174" fmla="*/ 4478179 h 4687251"/>
              <a:gd name="connsiteX32175" fmla="*/ 2375863 w 8079933"/>
              <a:gd name="connsiteY32175" fmla="*/ 4483701 h 4687251"/>
              <a:gd name="connsiteX32176" fmla="*/ 2379336 w 8079933"/>
              <a:gd name="connsiteY32176" fmla="*/ 4481103 h 4687251"/>
              <a:gd name="connsiteX32177" fmla="*/ 2379661 w 8079933"/>
              <a:gd name="connsiteY32177" fmla="*/ 4477638 h 4687251"/>
              <a:gd name="connsiteX32178" fmla="*/ 2376515 w 8079933"/>
              <a:gd name="connsiteY32178" fmla="*/ 4471358 h 4687251"/>
              <a:gd name="connsiteX32179" fmla="*/ 2376732 w 8079933"/>
              <a:gd name="connsiteY32179" fmla="*/ 4467677 h 4687251"/>
              <a:gd name="connsiteX32180" fmla="*/ 2379879 w 8079933"/>
              <a:gd name="connsiteY32180" fmla="*/ 4464321 h 4687251"/>
              <a:gd name="connsiteX32181" fmla="*/ 2378685 w 8079933"/>
              <a:gd name="connsiteY32181" fmla="*/ 4458582 h 4687251"/>
              <a:gd name="connsiteX32182" fmla="*/ 2371089 w 8079933"/>
              <a:gd name="connsiteY32182" fmla="*/ 4454360 h 4687251"/>
              <a:gd name="connsiteX32183" fmla="*/ 2363601 w 8079933"/>
              <a:gd name="connsiteY32183" fmla="*/ 4451544 h 4687251"/>
              <a:gd name="connsiteX32184" fmla="*/ 2361105 w 8079933"/>
              <a:gd name="connsiteY32184" fmla="*/ 4452627 h 4687251"/>
              <a:gd name="connsiteX32185" fmla="*/ 2361431 w 8079933"/>
              <a:gd name="connsiteY32185" fmla="*/ 4454685 h 4687251"/>
              <a:gd name="connsiteX32186" fmla="*/ 2369895 w 8079933"/>
              <a:gd name="connsiteY32186" fmla="*/ 4455226 h 4687251"/>
              <a:gd name="connsiteX32187" fmla="*/ 2374453 w 8079933"/>
              <a:gd name="connsiteY32187" fmla="*/ 4457608 h 4687251"/>
              <a:gd name="connsiteX32188" fmla="*/ 2375755 w 8079933"/>
              <a:gd name="connsiteY32188" fmla="*/ 4461506 h 4687251"/>
              <a:gd name="connsiteX32189" fmla="*/ 2370872 w 8079933"/>
              <a:gd name="connsiteY32189" fmla="*/ 4461397 h 4687251"/>
              <a:gd name="connsiteX32190" fmla="*/ 2369678 w 8079933"/>
              <a:gd name="connsiteY32190" fmla="*/ 4459665 h 4687251"/>
              <a:gd name="connsiteX32191" fmla="*/ 2362082 w 8079933"/>
              <a:gd name="connsiteY32191" fmla="*/ 4457391 h 4687251"/>
              <a:gd name="connsiteX32192" fmla="*/ 2358501 w 8079933"/>
              <a:gd name="connsiteY32192" fmla="*/ 4457391 h 4687251"/>
              <a:gd name="connsiteX32193" fmla="*/ 2358501 w 8079933"/>
              <a:gd name="connsiteY32193" fmla="*/ 4459340 h 4687251"/>
              <a:gd name="connsiteX32194" fmla="*/ 2364144 w 8079933"/>
              <a:gd name="connsiteY32194" fmla="*/ 4460207 h 4687251"/>
              <a:gd name="connsiteX32195" fmla="*/ 2367291 w 8079933"/>
              <a:gd name="connsiteY32195" fmla="*/ 4461181 h 4687251"/>
              <a:gd name="connsiteX32196" fmla="*/ 2367399 w 8079933"/>
              <a:gd name="connsiteY32196" fmla="*/ 4464321 h 4687251"/>
              <a:gd name="connsiteX32197" fmla="*/ 2364469 w 8079933"/>
              <a:gd name="connsiteY32197" fmla="*/ 4467244 h 4687251"/>
              <a:gd name="connsiteX32198" fmla="*/ 2362841 w 8079933"/>
              <a:gd name="connsiteY32198" fmla="*/ 4471900 h 4687251"/>
              <a:gd name="connsiteX32199" fmla="*/ 2360020 w 8079933"/>
              <a:gd name="connsiteY32199" fmla="*/ 4468110 h 4687251"/>
              <a:gd name="connsiteX32200" fmla="*/ 2359369 w 8079933"/>
              <a:gd name="connsiteY32200" fmla="*/ 4464321 h 4687251"/>
              <a:gd name="connsiteX32201" fmla="*/ 2355354 w 8079933"/>
              <a:gd name="connsiteY32201" fmla="*/ 4461506 h 4687251"/>
              <a:gd name="connsiteX32202" fmla="*/ 2356548 w 8079933"/>
              <a:gd name="connsiteY32202" fmla="*/ 4465187 h 4687251"/>
              <a:gd name="connsiteX32203" fmla="*/ 2355571 w 8079933"/>
              <a:gd name="connsiteY32203" fmla="*/ 4467894 h 4687251"/>
              <a:gd name="connsiteX32204" fmla="*/ 2357850 w 8079933"/>
              <a:gd name="connsiteY32204" fmla="*/ 4474282 h 4687251"/>
              <a:gd name="connsiteX32205" fmla="*/ 2354486 w 8079933"/>
              <a:gd name="connsiteY32205" fmla="*/ 4474823 h 4687251"/>
              <a:gd name="connsiteX32206" fmla="*/ 2350362 w 8079933"/>
              <a:gd name="connsiteY32206" fmla="*/ 4471033 h 4687251"/>
              <a:gd name="connsiteX32207" fmla="*/ 2348300 w 8079933"/>
              <a:gd name="connsiteY32207" fmla="*/ 4468219 h 4687251"/>
              <a:gd name="connsiteX32208" fmla="*/ 2346781 w 8079933"/>
              <a:gd name="connsiteY32208" fmla="*/ 4463238 h 4687251"/>
              <a:gd name="connsiteX32209" fmla="*/ 2345262 w 8079933"/>
              <a:gd name="connsiteY32209" fmla="*/ 4462805 h 4687251"/>
              <a:gd name="connsiteX32210" fmla="*/ 2340921 w 8079933"/>
              <a:gd name="connsiteY32210" fmla="*/ 4457500 h 4687251"/>
              <a:gd name="connsiteX32211" fmla="*/ 2341898 w 8079933"/>
              <a:gd name="connsiteY32211" fmla="*/ 4454793 h 4687251"/>
              <a:gd name="connsiteX32212" fmla="*/ 2344177 w 8079933"/>
              <a:gd name="connsiteY32212" fmla="*/ 4454468 h 4687251"/>
              <a:gd name="connsiteX32213" fmla="*/ 2346239 w 8079933"/>
              <a:gd name="connsiteY32213" fmla="*/ 4455984 h 4687251"/>
              <a:gd name="connsiteX32214" fmla="*/ 2348517 w 8079933"/>
              <a:gd name="connsiteY32214" fmla="*/ 4456092 h 4687251"/>
              <a:gd name="connsiteX32215" fmla="*/ 2347107 w 8079933"/>
              <a:gd name="connsiteY32215" fmla="*/ 4451544 h 4687251"/>
              <a:gd name="connsiteX32216" fmla="*/ 2347541 w 8079933"/>
              <a:gd name="connsiteY32216" fmla="*/ 4446998 h 4687251"/>
              <a:gd name="connsiteX32217" fmla="*/ 2344828 w 8079933"/>
              <a:gd name="connsiteY32217" fmla="*/ 4449704 h 4687251"/>
              <a:gd name="connsiteX32218" fmla="*/ 2342658 w 8079933"/>
              <a:gd name="connsiteY32218" fmla="*/ 4449813 h 4687251"/>
              <a:gd name="connsiteX32219" fmla="*/ 2338968 w 8079933"/>
              <a:gd name="connsiteY32219" fmla="*/ 4445590 h 4687251"/>
              <a:gd name="connsiteX32220" fmla="*/ 2338968 w 8079933"/>
              <a:gd name="connsiteY32220" fmla="*/ 4442666 h 4687251"/>
              <a:gd name="connsiteX32221" fmla="*/ 2335603 w 8079933"/>
              <a:gd name="connsiteY32221" fmla="*/ 4442666 h 4687251"/>
              <a:gd name="connsiteX32222" fmla="*/ 2333108 w 8079933"/>
              <a:gd name="connsiteY32222" fmla="*/ 4441042 h 4687251"/>
              <a:gd name="connsiteX32223" fmla="*/ 2335930 w 8079933"/>
              <a:gd name="connsiteY32223" fmla="*/ 4437253 h 4687251"/>
              <a:gd name="connsiteX32224" fmla="*/ 2339728 w 8079933"/>
              <a:gd name="connsiteY32224" fmla="*/ 4435954 h 4687251"/>
              <a:gd name="connsiteX32225" fmla="*/ 2340704 w 8079933"/>
              <a:gd name="connsiteY32225" fmla="*/ 4433031 h 4687251"/>
              <a:gd name="connsiteX32226" fmla="*/ 2340921 w 8079933"/>
              <a:gd name="connsiteY32226" fmla="*/ 4429457 h 4687251"/>
              <a:gd name="connsiteX32227" fmla="*/ 2337123 w 8079933"/>
              <a:gd name="connsiteY32227" fmla="*/ 4433680 h 4687251"/>
              <a:gd name="connsiteX32228" fmla="*/ 2335387 w 8079933"/>
              <a:gd name="connsiteY32228" fmla="*/ 4431299 h 4687251"/>
              <a:gd name="connsiteX32229" fmla="*/ 2333976 w 8079933"/>
              <a:gd name="connsiteY32229" fmla="*/ 4426859 h 4687251"/>
              <a:gd name="connsiteX32230" fmla="*/ 2336146 w 8079933"/>
              <a:gd name="connsiteY32230" fmla="*/ 4426642 h 4687251"/>
              <a:gd name="connsiteX32231" fmla="*/ 2336798 w 8079933"/>
              <a:gd name="connsiteY32231" fmla="*/ 4424369 h 4687251"/>
              <a:gd name="connsiteX32232" fmla="*/ 2333108 w 8079933"/>
              <a:gd name="connsiteY32232" fmla="*/ 4421662 h 4687251"/>
              <a:gd name="connsiteX32233" fmla="*/ 2323993 w 8079933"/>
              <a:gd name="connsiteY32233" fmla="*/ 4419713 h 4687251"/>
              <a:gd name="connsiteX32234" fmla="*/ 2317481 w 8079933"/>
              <a:gd name="connsiteY32234" fmla="*/ 4414949 h 4687251"/>
              <a:gd name="connsiteX32235" fmla="*/ 2317156 w 8079933"/>
              <a:gd name="connsiteY32235" fmla="*/ 4411809 h 4687251"/>
              <a:gd name="connsiteX32236" fmla="*/ 2319001 w 8079933"/>
              <a:gd name="connsiteY32236" fmla="*/ 4407695 h 4687251"/>
              <a:gd name="connsiteX32237" fmla="*/ 2321496 w 8079933"/>
              <a:gd name="connsiteY32237" fmla="*/ 4406071 h 4687251"/>
              <a:gd name="connsiteX32238" fmla="*/ 2321496 w 8079933"/>
              <a:gd name="connsiteY32238" fmla="*/ 4401849 h 4687251"/>
              <a:gd name="connsiteX32239" fmla="*/ 2322473 w 8079933"/>
              <a:gd name="connsiteY32239" fmla="*/ 4397626 h 4687251"/>
              <a:gd name="connsiteX32240" fmla="*/ 2321822 w 8079933"/>
              <a:gd name="connsiteY32240" fmla="*/ 4395136 h 4687251"/>
              <a:gd name="connsiteX32241" fmla="*/ 2325946 w 8079933"/>
              <a:gd name="connsiteY32241" fmla="*/ 4391455 h 4687251"/>
              <a:gd name="connsiteX32242" fmla="*/ 2331480 w 8079933"/>
              <a:gd name="connsiteY32242" fmla="*/ 4390156 h 4687251"/>
              <a:gd name="connsiteX32243" fmla="*/ 2332674 w 8079933"/>
              <a:gd name="connsiteY32243" fmla="*/ 4388965 h 4687251"/>
              <a:gd name="connsiteX32244" fmla="*/ 2329527 w 8079933"/>
              <a:gd name="connsiteY32244" fmla="*/ 4389181 h 4687251"/>
              <a:gd name="connsiteX32245" fmla="*/ 2325946 w 8079933"/>
              <a:gd name="connsiteY32245" fmla="*/ 4386799 h 4687251"/>
              <a:gd name="connsiteX32246" fmla="*/ 2325621 w 8079933"/>
              <a:gd name="connsiteY32246" fmla="*/ 4384200 h 4687251"/>
              <a:gd name="connsiteX32247" fmla="*/ 2328333 w 8079933"/>
              <a:gd name="connsiteY32247" fmla="*/ 4374240 h 4687251"/>
              <a:gd name="connsiteX32248" fmla="*/ 2330612 w 8079933"/>
              <a:gd name="connsiteY32248" fmla="*/ 4374023 h 4687251"/>
              <a:gd name="connsiteX32249" fmla="*/ 2329419 w 8079933"/>
              <a:gd name="connsiteY32249" fmla="*/ 4371966 h 4687251"/>
              <a:gd name="connsiteX32250" fmla="*/ 2326054 w 8079933"/>
              <a:gd name="connsiteY32250" fmla="*/ 4374240 h 4687251"/>
              <a:gd name="connsiteX32251" fmla="*/ 2323667 w 8079933"/>
              <a:gd name="connsiteY32251" fmla="*/ 4383118 h 4687251"/>
              <a:gd name="connsiteX32252" fmla="*/ 2323667 w 8079933"/>
              <a:gd name="connsiteY32252" fmla="*/ 4391022 h 4687251"/>
              <a:gd name="connsiteX32253" fmla="*/ 2319869 w 8079933"/>
              <a:gd name="connsiteY32253" fmla="*/ 4389506 h 4687251"/>
              <a:gd name="connsiteX32254" fmla="*/ 2317156 w 8079933"/>
              <a:gd name="connsiteY32254" fmla="*/ 4384850 h 4687251"/>
              <a:gd name="connsiteX32255" fmla="*/ 2317265 w 8079933"/>
              <a:gd name="connsiteY32255" fmla="*/ 4379545 h 4687251"/>
              <a:gd name="connsiteX32256" fmla="*/ 2314768 w 8079933"/>
              <a:gd name="connsiteY32256" fmla="*/ 4376297 h 4687251"/>
              <a:gd name="connsiteX32257" fmla="*/ 2311947 w 8079933"/>
              <a:gd name="connsiteY32257" fmla="*/ 4364712 h 4687251"/>
              <a:gd name="connsiteX32258" fmla="*/ 2312273 w 8079933"/>
              <a:gd name="connsiteY32258" fmla="*/ 4361681 h 4687251"/>
              <a:gd name="connsiteX32259" fmla="*/ 2314877 w 8079933"/>
              <a:gd name="connsiteY32259" fmla="*/ 4361464 h 4687251"/>
              <a:gd name="connsiteX32260" fmla="*/ 2316288 w 8079933"/>
              <a:gd name="connsiteY32260" fmla="*/ 4358757 h 4687251"/>
              <a:gd name="connsiteX32261" fmla="*/ 2315528 w 8079933"/>
              <a:gd name="connsiteY32261" fmla="*/ 4356700 h 4687251"/>
              <a:gd name="connsiteX32262" fmla="*/ 2315420 w 8079933"/>
              <a:gd name="connsiteY32262" fmla="*/ 4354318 h 4687251"/>
              <a:gd name="connsiteX32263" fmla="*/ 2319001 w 8079933"/>
              <a:gd name="connsiteY32263" fmla="*/ 4350853 h 4687251"/>
              <a:gd name="connsiteX32264" fmla="*/ 2319543 w 8079933"/>
              <a:gd name="connsiteY32264" fmla="*/ 4348255 h 4687251"/>
              <a:gd name="connsiteX32265" fmla="*/ 2316071 w 8079933"/>
              <a:gd name="connsiteY32265" fmla="*/ 4350204 h 4687251"/>
              <a:gd name="connsiteX32266" fmla="*/ 2311947 w 8079933"/>
              <a:gd name="connsiteY32266" fmla="*/ 4349121 h 4687251"/>
              <a:gd name="connsiteX32267" fmla="*/ 2311079 w 8079933"/>
              <a:gd name="connsiteY32267" fmla="*/ 4345115 h 4687251"/>
              <a:gd name="connsiteX32268" fmla="*/ 2306413 w 8079933"/>
              <a:gd name="connsiteY32268" fmla="*/ 4342300 h 4687251"/>
              <a:gd name="connsiteX32269" fmla="*/ 2305653 w 8079933"/>
              <a:gd name="connsiteY32269" fmla="*/ 4339809 h 4687251"/>
              <a:gd name="connsiteX32270" fmla="*/ 2307281 w 8079933"/>
              <a:gd name="connsiteY32270" fmla="*/ 4336453 h 4687251"/>
              <a:gd name="connsiteX32271" fmla="*/ 2314552 w 8079933"/>
              <a:gd name="connsiteY32271" fmla="*/ 4334504 h 4687251"/>
              <a:gd name="connsiteX32272" fmla="*/ 2317807 w 8079933"/>
              <a:gd name="connsiteY32272" fmla="*/ 4337103 h 4687251"/>
              <a:gd name="connsiteX32273" fmla="*/ 2319001 w 8079933"/>
              <a:gd name="connsiteY32273" fmla="*/ 4335371 h 4687251"/>
              <a:gd name="connsiteX32274" fmla="*/ 2323341 w 8079933"/>
              <a:gd name="connsiteY32274" fmla="*/ 4335154 h 4687251"/>
              <a:gd name="connsiteX32275" fmla="*/ 2324861 w 8079933"/>
              <a:gd name="connsiteY32275" fmla="*/ 4334180 h 4687251"/>
              <a:gd name="connsiteX32276" fmla="*/ 2323993 w 8079933"/>
              <a:gd name="connsiteY32276" fmla="*/ 4332447 h 4687251"/>
              <a:gd name="connsiteX32277" fmla="*/ 2325729 w 8079933"/>
              <a:gd name="connsiteY32277" fmla="*/ 4329307 h 4687251"/>
              <a:gd name="connsiteX32278" fmla="*/ 2321822 w 8079933"/>
              <a:gd name="connsiteY32278" fmla="*/ 4331039 h 4687251"/>
              <a:gd name="connsiteX32279" fmla="*/ 2319435 w 8079933"/>
              <a:gd name="connsiteY32279" fmla="*/ 4331257 h 4687251"/>
              <a:gd name="connsiteX32280" fmla="*/ 2316830 w 8079933"/>
              <a:gd name="connsiteY32280" fmla="*/ 4328658 h 4687251"/>
              <a:gd name="connsiteX32281" fmla="*/ 2310428 w 8079933"/>
              <a:gd name="connsiteY32281" fmla="*/ 4331906 h 4687251"/>
              <a:gd name="connsiteX32282" fmla="*/ 2304026 w 8079933"/>
              <a:gd name="connsiteY32282" fmla="*/ 4330931 h 4687251"/>
              <a:gd name="connsiteX32283" fmla="*/ 2302506 w 8079933"/>
              <a:gd name="connsiteY32283" fmla="*/ 4327575 h 4687251"/>
              <a:gd name="connsiteX32284" fmla="*/ 2298925 w 8079933"/>
              <a:gd name="connsiteY32284" fmla="*/ 4324327 h 4687251"/>
              <a:gd name="connsiteX32285" fmla="*/ 2299251 w 8079933"/>
              <a:gd name="connsiteY32285" fmla="*/ 4320646 h 4687251"/>
              <a:gd name="connsiteX32286" fmla="*/ 2301855 w 8079933"/>
              <a:gd name="connsiteY32286" fmla="*/ 4320213 h 4687251"/>
              <a:gd name="connsiteX32287" fmla="*/ 2303374 w 8079933"/>
              <a:gd name="connsiteY32287" fmla="*/ 4322486 h 4687251"/>
              <a:gd name="connsiteX32288" fmla="*/ 2307715 w 8079933"/>
              <a:gd name="connsiteY32288" fmla="*/ 4324327 h 4687251"/>
              <a:gd name="connsiteX32289" fmla="*/ 2308366 w 8079933"/>
              <a:gd name="connsiteY32289" fmla="*/ 4323027 h 4687251"/>
              <a:gd name="connsiteX32290" fmla="*/ 2304026 w 8079933"/>
              <a:gd name="connsiteY32290" fmla="*/ 4320213 h 4687251"/>
              <a:gd name="connsiteX32291" fmla="*/ 2302181 w 8079933"/>
              <a:gd name="connsiteY32291" fmla="*/ 4317506 h 4687251"/>
              <a:gd name="connsiteX32292" fmla="*/ 2304243 w 8079933"/>
              <a:gd name="connsiteY32292" fmla="*/ 4314258 h 4687251"/>
              <a:gd name="connsiteX32293" fmla="*/ 2306956 w 8079933"/>
              <a:gd name="connsiteY32293" fmla="*/ 4312201 h 4687251"/>
              <a:gd name="connsiteX32294" fmla="*/ 2304894 w 8079933"/>
              <a:gd name="connsiteY32294" fmla="*/ 4309386 h 4687251"/>
              <a:gd name="connsiteX32295" fmla="*/ 2306087 w 8079933"/>
              <a:gd name="connsiteY32295" fmla="*/ 4307003 h 4687251"/>
              <a:gd name="connsiteX32296" fmla="*/ 2308692 w 8079933"/>
              <a:gd name="connsiteY32296" fmla="*/ 4306462 h 4687251"/>
              <a:gd name="connsiteX32297" fmla="*/ 2306304 w 8079933"/>
              <a:gd name="connsiteY32297" fmla="*/ 4303756 h 4687251"/>
              <a:gd name="connsiteX32298" fmla="*/ 2300119 w 8079933"/>
              <a:gd name="connsiteY32298" fmla="*/ 4300615 h 4687251"/>
              <a:gd name="connsiteX32299" fmla="*/ 2298383 w 8079933"/>
              <a:gd name="connsiteY32299" fmla="*/ 4297909 h 4687251"/>
              <a:gd name="connsiteX32300" fmla="*/ 2295453 w 8079933"/>
              <a:gd name="connsiteY32300" fmla="*/ 4296718 h 4687251"/>
              <a:gd name="connsiteX32301" fmla="*/ 2293174 w 8079933"/>
              <a:gd name="connsiteY32301" fmla="*/ 4299100 h 4687251"/>
              <a:gd name="connsiteX32302" fmla="*/ 2287856 w 8079933"/>
              <a:gd name="connsiteY32302" fmla="*/ 4299317 h 4687251"/>
              <a:gd name="connsiteX32303" fmla="*/ 2283408 w 8079933"/>
              <a:gd name="connsiteY32303" fmla="*/ 4296285 h 4687251"/>
              <a:gd name="connsiteX32304" fmla="*/ 2282322 w 8079933"/>
              <a:gd name="connsiteY32304" fmla="*/ 4290872 h 4687251"/>
              <a:gd name="connsiteX32305" fmla="*/ 2281128 w 8079933"/>
              <a:gd name="connsiteY32305" fmla="*/ 4292388 h 4687251"/>
              <a:gd name="connsiteX32306" fmla="*/ 2275052 w 8079933"/>
              <a:gd name="connsiteY32306" fmla="*/ 4292929 h 4687251"/>
              <a:gd name="connsiteX32307" fmla="*/ 2272881 w 8079933"/>
              <a:gd name="connsiteY32307" fmla="*/ 4297368 h 4687251"/>
              <a:gd name="connsiteX32308" fmla="*/ 2273424 w 8079933"/>
              <a:gd name="connsiteY32308" fmla="*/ 4299750 h 4687251"/>
              <a:gd name="connsiteX32309" fmla="*/ 2277656 w 8079933"/>
              <a:gd name="connsiteY32309" fmla="*/ 4301049 h 4687251"/>
              <a:gd name="connsiteX32310" fmla="*/ 2277982 w 8079933"/>
              <a:gd name="connsiteY32310" fmla="*/ 4303972 h 4687251"/>
              <a:gd name="connsiteX32311" fmla="*/ 2275811 w 8079933"/>
              <a:gd name="connsiteY32311" fmla="*/ 4306354 h 4687251"/>
              <a:gd name="connsiteX32312" fmla="*/ 2272122 w 8079933"/>
              <a:gd name="connsiteY32312" fmla="*/ 4305813 h 4687251"/>
              <a:gd name="connsiteX32313" fmla="*/ 2265611 w 8079933"/>
              <a:gd name="connsiteY32313" fmla="*/ 4298558 h 4687251"/>
              <a:gd name="connsiteX32314" fmla="*/ 2265936 w 8079933"/>
              <a:gd name="connsiteY32314" fmla="*/ 4294986 h 4687251"/>
              <a:gd name="connsiteX32315" fmla="*/ 2272122 w 8079933"/>
              <a:gd name="connsiteY32315" fmla="*/ 4291521 h 4687251"/>
              <a:gd name="connsiteX32316" fmla="*/ 2273858 w 8079933"/>
              <a:gd name="connsiteY32316" fmla="*/ 4287515 h 4687251"/>
              <a:gd name="connsiteX32317" fmla="*/ 2277113 w 8079933"/>
              <a:gd name="connsiteY32317" fmla="*/ 4285133 h 4687251"/>
              <a:gd name="connsiteX32318" fmla="*/ 2278741 w 8079933"/>
              <a:gd name="connsiteY32318" fmla="*/ 4280694 h 4687251"/>
              <a:gd name="connsiteX32319" fmla="*/ 2281671 w 8079933"/>
              <a:gd name="connsiteY32319" fmla="*/ 4280152 h 4687251"/>
              <a:gd name="connsiteX32320" fmla="*/ 2280586 w 8079933"/>
              <a:gd name="connsiteY32320" fmla="*/ 4276472 h 4687251"/>
              <a:gd name="connsiteX32321" fmla="*/ 2278850 w 8079933"/>
              <a:gd name="connsiteY32321" fmla="*/ 4276254 h 4687251"/>
              <a:gd name="connsiteX32322" fmla="*/ 2276462 w 8079933"/>
              <a:gd name="connsiteY32322" fmla="*/ 4271274 h 4687251"/>
              <a:gd name="connsiteX32323" fmla="*/ 2276679 w 8079933"/>
              <a:gd name="connsiteY32323" fmla="*/ 4268568 h 4687251"/>
              <a:gd name="connsiteX32324" fmla="*/ 2279935 w 8079933"/>
              <a:gd name="connsiteY32324" fmla="*/ 4267701 h 4687251"/>
              <a:gd name="connsiteX32325" fmla="*/ 2282648 w 8079933"/>
              <a:gd name="connsiteY32325" fmla="*/ 4268568 h 4687251"/>
              <a:gd name="connsiteX32326" fmla="*/ 2291112 w 8079933"/>
              <a:gd name="connsiteY32326" fmla="*/ 4268134 h 4687251"/>
              <a:gd name="connsiteX32327" fmla="*/ 2295887 w 8079933"/>
              <a:gd name="connsiteY32327" fmla="*/ 4266402 h 4687251"/>
              <a:gd name="connsiteX32328" fmla="*/ 2297732 w 8079933"/>
              <a:gd name="connsiteY32328" fmla="*/ 4267701 h 4687251"/>
              <a:gd name="connsiteX32329" fmla="*/ 2297732 w 8079933"/>
              <a:gd name="connsiteY32329" fmla="*/ 4274197 h 4687251"/>
              <a:gd name="connsiteX32330" fmla="*/ 2294910 w 8079933"/>
              <a:gd name="connsiteY32330" fmla="*/ 4276254 h 4687251"/>
              <a:gd name="connsiteX32331" fmla="*/ 2290569 w 8079933"/>
              <a:gd name="connsiteY32331" fmla="*/ 4277770 h 4687251"/>
              <a:gd name="connsiteX32332" fmla="*/ 2290461 w 8079933"/>
              <a:gd name="connsiteY32332" fmla="*/ 4279828 h 4687251"/>
              <a:gd name="connsiteX32333" fmla="*/ 2293065 w 8079933"/>
              <a:gd name="connsiteY32333" fmla="*/ 4280152 h 4687251"/>
              <a:gd name="connsiteX32334" fmla="*/ 2297515 w 8079933"/>
              <a:gd name="connsiteY32334" fmla="*/ 4277121 h 4687251"/>
              <a:gd name="connsiteX32335" fmla="*/ 2303699 w 8079933"/>
              <a:gd name="connsiteY32335" fmla="*/ 4275064 h 4687251"/>
              <a:gd name="connsiteX32336" fmla="*/ 2305762 w 8079933"/>
              <a:gd name="connsiteY32336" fmla="*/ 4275713 h 4687251"/>
              <a:gd name="connsiteX32337" fmla="*/ 2304894 w 8079933"/>
              <a:gd name="connsiteY32337" fmla="*/ 4278095 h 4687251"/>
              <a:gd name="connsiteX32338" fmla="*/ 2305653 w 8079933"/>
              <a:gd name="connsiteY32338" fmla="*/ 4282101 h 4687251"/>
              <a:gd name="connsiteX32339" fmla="*/ 2304243 w 8079933"/>
              <a:gd name="connsiteY32339" fmla="*/ 4289680 h 4687251"/>
              <a:gd name="connsiteX32340" fmla="*/ 2302506 w 8079933"/>
              <a:gd name="connsiteY32340" fmla="*/ 4291846 h 4687251"/>
              <a:gd name="connsiteX32341" fmla="*/ 2304243 w 8079933"/>
              <a:gd name="connsiteY32341" fmla="*/ 4294661 h 4687251"/>
              <a:gd name="connsiteX32342" fmla="*/ 2305111 w 8079933"/>
              <a:gd name="connsiteY32342" fmla="*/ 4290005 h 4687251"/>
              <a:gd name="connsiteX32343" fmla="*/ 2308366 w 8079933"/>
              <a:gd name="connsiteY32343" fmla="*/ 4288273 h 4687251"/>
              <a:gd name="connsiteX32344" fmla="*/ 2308692 w 8079933"/>
              <a:gd name="connsiteY32344" fmla="*/ 4279395 h 4687251"/>
              <a:gd name="connsiteX32345" fmla="*/ 2309885 w 8079933"/>
              <a:gd name="connsiteY32345" fmla="*/ 4276579 h 4687251"/>
              <a:gd name="connsiteX32346" fmla="*/ 2307281 w 8079933"/>
              <a:gd name="connsiteY32346" fmla="*/ 4275389 h 4687251"/>
              <a:gd name="connsiteX32347" fmla="*/ 2307498 w 8079933"/>
              <a:gd name="connsiteY32347" fmla="*/ 4270084 h 4687251"/>
              <a:gd name="connsiteX32348" fmla="*/ 2310102 w 8079933"/>
              <a:gd name="connsiteY32348" fmla="*/ 4262613 h 4687251"/>
              <a:gd name="connsiteX32349" fmla="*/ 2313467 w 8079933"/>
              <a:gd name="connsiteY32349" fmla="*/ 4258499 h 4687251"/>
              <a:gd name="connsiteX32350" fmla="*/ 2311622 w 8079933"/>
              <a:gd name="connsiteY32350" fmla="*/ 4257307 h 4687251"/>
              <a:gd name="connsiteX32351" fmla="*/ 2311405 w 8079933"/>
              <a:gd name="connsiteY32351" fmla="*/ 4254384 h 4687251"/>
              <a:gd name="connsiteX32352" fmla="*/ 2313141 w 8079933"/>
              <a:gd name="connsiteY32352" fmla="*/ 4252111 h 4687251"/>
              <a:gd name="connsiteX32353" fmla="*/ 2311296 w 8079933"/>
              <a:gd name="connsiteY32353" fmla="*/ 4247022 h 4687251"/>
              <a:gd name="connsiteX32354" fmla="*/ 2311839 w 8079933"/>
              <a:gd name="connsiteY32354" fmla="*/ 4242366 h 4687251"/>
              <a:gd name="connsiteX32355" fmla="*/ 2314552 w 8079933"/>
              <a:gd name="connsiteY32355" fmla="*/ 4242366 h 4687251"/>
              <a:gd name="connsiteX32356" fmla="*/ 2320737 w 8079933"/>
              <a:gd name="connsiteY32356" fmla="*/ 4238577 h 4687251"/>
              <a:gd name="connsiteX32357" fmla="*/ 2324209 w 8079933"/>
              <a:gd name="connsiteY32357" fmla="*/ 4233379 h 4687251"/>
              <a:gd name="connsiteX32358" fmla="*/ 2324752 w 8079933"/>
              <a:gd name="connsiteY32358" fmla="*/ 4225909 h 4687251"/>
              <a:gd name="connsiteX32359" fmla="*/ 2322799 w 8079933"/>
              <a:gd name="connsiteY32359" fmla="*/ 4222985 h 4687251"/>
              <a:gd name="connsiteX32360" fmla="*/ 2318675 w 8079933"/>
              <a:gd name="connsiteY32360" fmla="*/ 4222228 h 4687251"/>
              <a:gd name="connsiteX32361" fmla="*/ 2318133 w 8079933"/>
              <a:gd name="connsiteY32361" fmla="*/ 4218655 h 4687251"/>
              <a:gd name="connsiteX32362" fmla="*/ 2315203 w 8079933"/>
              <a:gd name="connsiteY32362" fmla="*/ 4215732 h 4687251"/>
              <a:gd name="connsiteX32363" fmla="*/ 2310645 w 8079933"/>
              <a:gd name="connsiteY32363" fmla="*/ 4215515 h 4687251"/>
              <a:gd name="connsiteX32364" fmla="*/ 2308149 w 8079933"/>
              <a:gd name="connsiteY32364" fmla="*/ 4213133 h 4687251"/>
              <a:gd name="connsiteX32365" fmla="*/ 2308366 w 8079933"/>
              <a:gd name="connsiteY32365" fmla="*/ 4210210 h 4687251"/>
              <a:gd name="connsiteX32366" fmla="*/ 2311296 w 8079933"/>
              <a:gd name="connsiteY32366" fmla="*/ 4206637 h 4687251"/>
              <a:gd name="connsiteX32367" fmla="*/ 2312164 w 8079933"/>
              <a:gd name="connsiteY32367" fmla="*/ 4200790 h 4687251"/>
              <a:gd name="connsiteX32368" fmla="*/ 2313467 w 8079933"/>
              <a:gd name="connsiteY32368" fmla="*/ 4196784 h 4687251"/>
              <a:gd name="connsiteX32369" fmla="*/ 2308366 w 8079933"/>
              <a:gd name="connsiteY32369" fmla="*/ 4193536 h 4687251"/>
              <a:gd name="connsiteX32370" fmla="*/ 2307715 w 8079933"/>
              <a:gd name="connsiteY32370" fmla="*/ 4191154 h 4687251"/>
              <a:gd name="connsiteX32371" fmla="*/ 2311839 w 8079933"/>
              <a:gd name="connsiteY32371" fmla="*/ 4186715 h 4687251"/>
              <a:gd name="connsiteX32372" fmla="*/ 2310102 w 8079933"/>
              <a:gd name="connsiteY32372" fmla="*/ 4185308 h 4687251"/>
              <a:gd name="connsiteX32373" fmla="*/ 2310428 w 8079933"/>
              <a:gd name="connsiteY32373" fmla="*/ 4182059 h 4687251"/>
              <a:gd name="connsiteX32374" fmla="*/ 2314009 w 8079933"/>
              <a:gd name="connsiteY32374" fmla="*/ 4177945 h 4687251"/>
              <a:gd name="connsiteX32375" fmla="*/ 2310102 w 8079933"/>
              <a:gd name="connsiteY32375" fmla="*/ 4174155 h 4687251"/>
              <a:gd name="connsiteX32376" fmla="*/ 2309669 w 8079933"/>
              <a:gd name="connsiteY32376" fmla="*/ 4168309 h 4687251"/>
              <a:gd name="connsiteX32377" fmla="*/ 2311839 w 8079933"/>
              <a:gd name="connsiteY32377" fmla="*/ 4166576 h 4687251"/>
              <a:gd name="connsiteX32378" fmla="*/ 2314877 w 8079933"/>
              <a:gd name="connsiteY32378" fmla="*/ 4165494 h 4687251"/>
              <a:gd name="connsiteX32379" fmla="*/ 2314009 w 8079933"/>
              <a:gd name="connsiteY32379" fmla="*/ 4163112 h 4687251"/>
              <a:gd name="connsiteX32380" fmla="*/ 2309560 w 8079933"/>
              <a:gd name="connsiteY32380" fmla="*/ 4159864 h 4687251"/>
              <a:gd name="connsiteX32381" fmla="*/ 2309234 w 8079933"/>
              <a:gd name="connsiteY32381" fmla="*/ 4157482 h 4687251"/>
              <a:gd name="connsiteX32382" fmla="*/ 2310645 w 8079933"/>
              <a:gd name="connsiteY32382" fmla="*/ 4155100 h 4687251"/>
              <a:gd name="connsiteX32383" fmla="*/ 2313358 w 8079933"/>
              <a:gd name="connsiteY32383" fmla="*/ 4156291 h 4687251"/>
              <a:gd name="connsiteX32384" fmla="*/ 2315094 w 8079933"/>
              <a:gd name="connsiteY32384" fmla="*/ 4160188 h 4687251"/>
              <a:gd name="connsiteX32385" fmla="*/ 2317265 w 8079933"/>
              <a:gd name="connsiteY32385" fmla="*/ 4162570 h 4687251"/>
              <a:gd name="connsiteX32386" fmla="*/ 2318567 w 8079933"/>
              <a:gd name="connsiteY32386" fmla="*/ 4161380 h 4687251"/>
              <a:gd name="connsiteX32387" fmla="*/ 2316288 w 8079933"/>
              <a:gd name="connsiteY32387" fmla="*/ 4158673 h 4687251"/>
              <a:gd name="connsiteX32388" fmla="*/ 2315745 w 8079933"/>
              <a:gd name="connsiteY32388" fmla="*/ 4150336 h 4687251"/>
              <a:gd name="connsiteX32389" fmla="*/ 2315203 w 8079933"/>
              <a:gd name="connsiteY32389" fmla="*/ 4146763 h 4687251"/>
              <a:gd name="connsiteX32390" fmla="*/ 2312490 w 8079933"/>
              <a:gd name="connsiteY32390" fmla="*/ 4148496 h 4687251"/>
              <a:gd name="connsiteX32391" fmla="*/ 2308583 w 8079933"/>
              <a:gd name="connsiteY32391" fmla="*/ 4146763 h 4687251"/>
              <a:gd name="connsiteX32392" fmla="*/ 2308583 w 8079933"/>
              <a:gd name="connsiteY32392" fmla="*/ 4143731 h 4687251"/>
              <a:gd name="connsiteX32393" fmla="*/ 2313684 w 8079933"/>
              <a:gd name="connsiteY32393" fmla="*/ 4139076 h 4687251"/>
              <a:gd name="connsiteX32394" fmla="*/ 2316071 w 8079933"/>
              <a:gd name="connsiteY32394" fmla="*/ 4135503 h 4687251"/>
              <a:gd name="connsiteX32395" fmla="*/ 2313032 w 8079933"/>
              <a:gd name="connsiteY32395" fmla="*/ 4135936 h 4687251"/>
              <a:gd name="connsiteX32396" fmla="*/ 2311405 w 8079933"/>
              <a:gd name="connsiteY32396" fmla="*/ 4137019 h 4687251"/>
              <a:gd name="connsiteX32397" fmla="*/ 2307824 w 8079933"/>
              <a:gd name="connsiteY32397" fmla="*/ 4132688 h 4687251"/>
              <a:gd name="connsiteX32398" fmla="*/ 2303483 w 8079933"/>
              <a:gd name="connsiteY32398" fmla="*/ 4132580 h 4687251"/>
              <a:gd name="connsiteX32399" fmla="*/ 2302506 w 8079933"/>
              <a:gd name="connsiteY32399" fmla="*/ 4133879 h 4687251"/>
              <a:gd name="connsiteX32400" fmla="*/ 2302181 w 8079933"/>
              <a:gd name="connsiteY32400" fmla="*/ 4140592 h 4687251"/>
              <a:gd name="connsiteX32401" fmla="*/ 2295453 w 8079933"/>
              <a:gd name="connsiteY32401" fmla="*/ 4142324 h 4687251"/>
              <a:gd name="connsiteX32402" fmla="*/ 2288507 w 8079933"/>
              <a:gd name="connsiteY32402" fmla="*/ 4139401 h 4687251"/>
              <a:gd name="connsiteX32403" fmla="*/ 2286771 w 8079933"/>
              <a:gd name="connsiteY32403" fmla="*/ 4135828 h 4687251"/>
              <a:gd name="connsiteX32404" fmla="*/ 2284601 w 8079933"/>
              <a:gd name="connsiteY32404" fmla="*/ 4133554 h 4687251"/>
              <a:gd name="connsiteX32405" fmla="*/ 2277113 w 8079933"/>
              <a:gd name="connsiteY32405" fmla="*/ 4122078 h 4687251"/>
              <a:gd name="connsiteX32406" fmla="*/ 2275594 w 8079933"/>
              <a:gd name="connsiteY32406" fmla="*/ 4119587 h 4687251"/>
              <a:gd name="connsiteX32407" fmla="*/ 2276679 w 8079933"/>
              <a:gd name="connsiteY32407" fmla="*/ 4118072 h 4687251"/>
              <a:gd name="connsiteX32408" fmla="*/ 2277656 w 8079933"/>
              <a:gd name="connsiteY32408" fmla="*/ 4114823 h 4687251"/>
              <a:gd name="connsiteX32409" fmla="*/ 2275052 w 8079933"/>
              <a:gd name="connsiteY32409" fmla="*/ 4112550 h 4687251"/>
              <a:gd name="connsiteX32410" fmla="*/ 2277330 w 8079933"/>
              <a:gd name="connsiteY32410" fmla="*/ 4109843 h 4687251"/>
              <a:gd name="connsiteX32411" fmla="*/ 2276462 w 8079933"/>
              <a:gd name="connsiteY32411" fmla="*/ 4105512 h 4687251"/>
              <a:gd name="connsiteX32412" fmla="*/ 2279067 w 8079933"/>
              <a:gd name="connsiteY32412" fmla="*/ 4095768 h 4687251"/>
              <a:gd name="connsiteX32413" fmla="*/ 2275920 w 8079933"/>
              <a:gd name="connsiteY32413" fmla="*/ 4093169 h 4687251"/>
              <a:gd name="connsiteX32414" fmla="*/ 2274726 w 8079933"/>
              <a:gd name="connsiteY32414" fmla="*/ 4088730 h 4687251"/>
              <a:gd name="connsiteX32415" fmla="*/ 2276354 w 8079933"/>
              <a:gd name="connsiteY32415" fmla="*/ 4084399 h 4687251"/>
              <a:gd name="connsiteX32416" fmla="*/ 2278850 w 8079933"/>
              <a:gd name="connsiteY32416" fmla="*/ 4084075 h 4687251"/>
              <a:gd name="connsiteX32417" fmla="*/ 2280586 w 8079933"/>
              <a:gd name="connsiteY32417" fmla="*/ 4085049 h 4687251"/>
              <a:gd name="connsiteX32418" fmla="*/ 2281454 w 8079933"/>
              <a:gd name="connsiteY32418" fmla="*/ 4082017 h 4687251"/>
              <a:gd name="connsiteX32419" fmla="*/ 2280586 w 8079933"/>
              <a:gd name="connsiteY32419" fmla="*/ 4078661 h 4687251"/>
              <a:gd name="connsiteX32420" fmla="*/ 2282539 w 8079933"/>
              <a:gd name="connsiteY32420" fmla="*/ 4077145 h 4687251"/>
              <a:gd name="connsiteX32421" fmla="*/ 2284601 w 8079933"/>
              <a:gd name="connsiteY32421" fmla="*/ 4066643 h 4687251"/>
              <a:gd name="connsiteX32422" fmla="*/ 2284601 w 8079933"/>
              <a:gd name="connsiteY32422" fmla="*/ 4058631 h 4687251"/>
              <a:gd name="connsiteX32423" fmla="*/ 2281671 w 8079933"/>
              <a:gd name="connsiteY32423" fmla="*/ 4055924 h 4687251"/>
              <a:gd name="connsiteX32424" fmla="*/ 2280477 w 8079933"/>
              <a:gd name="connsiteY32424" fmla="*/ 4052460 h 4687251"/>
              <a:gd name="connsiteX32425" fmla="*/ 2272990 w 8079933"/>
              <a:gd name="connsiteY32425" fmla="*/ 4039900 h 4687251"/>
              <a:gd name="connsiteX32426" fmla="*/ 2273858 w 8079933"/>
              <a:gd name="connsiteY32426" fmla="*/ 4033512 h 4687251"/>
              <a:gd name="connsiteX32427" fmla="*/ 2273207 w 8079933"/>
              <a:gd name="connsiteY32427" fmla="*/ 4028531 h 4687251"/>
              <a:gd name="connsiteX32428" fmla="*/ 2267998 w 8079933"/>
              <a:gd name="connsiteY32428" fmla="*/ 4024200 h 4687251"/>
              <a:gd name="connsiteX32429" fmla="*/ 2264743 w 8079933"/>
              <a:gd name="connsiteY32429" fmla="*/ 4019437 h 4687251"/>
              <a:gd name="connsiteX32430" fmla="*/ 2264634 w 8079933"/>
              <a:gd name="connsiteY32430" fmla="*/ 4012183 h 4687251"/>
              <a:gd name="connsiteX32431" fmla="*/ 2263766 w 8079933"/>
              <a:gd name="connsiteY32431" fmla="*/ 4006986 h 4687251"/>
              <a:gd name="connsiteX32432" fmla="*/ 2264200 w 8079933"/>
              <a:gd name="connsiteY32432" fmla="*/ 4004063 h 4687251"/>
              <a:gd name="connsiteX32433" fmla="*/ 2267672 w 8079933"/>
              <a:gd name="connsiteY32433" fmla="*/ 4003304 h 4687251"/>
              <a:gd name="connsiteX32434" fmla="*/ 2270602 w 8079933"/>
              <a:gd name="connsiteY32434" fmla="*/ 4005470 h 4687251"/>
              <a:gd name="connsiteX32435" fmla="*/ 2273424 w 8079933"/>
              <a:gd name="connsiteY32435" fmla="*/ 4005145 h 4687251"/>
              <a:gd name="connsiteX32436" fmla="*/ 2276137 w 8079933"/>
              <a:gd name="connsiteY32436" fmla="*/ 4001247 h 4687251"/>
              <a:gd name="connsiteX32437" fmla="*/ 2275920 w 8079933"/>
              <a:gd name="connsiteY32437" fmla="*/ 3996375 h 4687251"/>
              <a:gd name="connsiteX32438" fmla="*/ 2274400 w 8079933"/>
              <a:gd name="connsiteY32438" fmla="*/ 3992478 h 4687251"/>
              <a:gd name="connsiteX32439" fmla="*/ 2274726 w 8079933"/>
              <a:gd name="connsiteY32439" fmla="*/ 3989013 h 4687251"/>
              <a:gd name="connsiteX32440" fmla="*/ 2276354 w 8079933"/>
              <a:gd name="connsiteY32440" fmla="*/ 3986090 h 4687251"/>
              <a:gd name="connsiteX32441" fmla="*/ 2276354 w 8079933"/>
              <a:gd name="connsiteY32441" fmla="*/ 3981651 h 4687251"/>
              <a:gd name="connsiteX32442" fmla="*/ 2279610 w 8079933"/>
              <a:gd name="connsiteY32442" fmla="*/ 3979377 h 4687251"/>
              <a:gd name="connsiteX32443" fmla="*/ 2280151 w 8079933"/>
              <a:gd name="connsiteY32443" fmla="*/ 3975371 h 4687251"/>
              <a:gd name="connsiteX32444" fmla="*/ 2280260 w 8079933"/>
              <a:gd name="connsiteY32444" fmla="*/ 3968874 h 4687251"/>
              <a:gd name="connsiteX32445" fmla="*/ 2283190 w 8079933"/>
              <a:gd name="connsiteY32445" fmla="*/ 3964544 h 4687251"/>
              <a:gd name="connsiteX32446" fmla="*/ 2281454 w 8079933"/>
              <a:gd name="connsiteY32446" fmla="*/ 3961837 h 4687251"/>
              <a:gd name="connsiteX32447" fmla="*/ 2281128 w 8079933"/>
              <a:gd name="connsiteY32447" fmla="*/ 3959238 h 4687251"/>
              <a:gd name="connsiteX32448" fmla="*/ 2283841 w 8079933"/>
              <a:gd name="connsiteY32448" fmla="*/ 3956315 h 4687251"/>
              <a:gd name="connsiteX32449" fmla="*/ 2284384 w 8079933"/>
              <a:gd name="connsiteY32449" fmla="*/ 3950468 h 4687251"/>
              <a:gd name="connsiteX32450" fmla="*/ 2285578 w 8079933"/>
              <a:gd name="connsiteY32450" fmla="*/ 3948411 h 4687251"/>
              <a:gd name="connsiteX32451" fmla="*/ 2285252 w 8079933"/>
              <a:gd name="connsiteY32451" fmla="*/ 3944081 h 4687251"/>
              <a:gd name="connsiteX32452" fmla="*/ 2287314 w 8079933"/>
              <a:gd name="connsiteY32452" fmla="*/ 3940183 h 4687251"/>
              <a:gd name="connsiteX32453" fmla="*/ 2287965 w 8079933"/>
              <a:gd name="connsiteY32453" fmla="*/ 3932929 h 4687251"/>
              <a:gd name="connsiteX32454" fmla="*/ 2287965 w 8079933"/>
              <a:gd name="connsiteY32454" fmla="*/ 3929031 h 4687251"/>
              <a:gd name="connsiteX32455" fmla="*/ 2290787 w 8079933"/>
              <a:gd name="connsiteY32455" fmla="*/ 3925891 h 4687251"/>
              <a:gd name="connsiteX32456" fmla="*/ 2292522 w 8079933"/>
              <a:gd name="connsiteY32456" fmla="*/ 3920261 h 4687251"/>
              <a:gd name="connsiteX32457" fmla="*/ 2290569 w 8079933"/>
              <a:gd name="connsiteY32457" fmla="*/ 3917987 h 4687251"/>
              <a:gd name="connsiteX32458" fmla="*/ 2290569 w 8079933"/>
              <a:gd name="connsiteY32458" fmla="*/ 3915930 h 4687251"/>
              <a:gd name="connsiteX32459" fmla="*/ 2293825 w 8079933"/>
              <a:gd name="connsiteY32459" fmla="*/ 3909217 h 4687251"/>
              <a:gd name="connsiteX32460" fmla="*/ 2297515 w 8079933"/>
              <a:gd name="connsiteY32460" fmla="*/ 3907052 h 4687251"/>
              <a:gd name="connsiteX32461" fmla="*/ 2300119 w 8079933"/>
              <a:gd name="connsiteY32461" fmla="*/ 3902830 h 4687251"/>
              <a:gd name="connsiteX32462" fmla="*/ 2299360 w 8079933"/>
              <a:gd name="connsiteY32462" fmla="*/ 3898715 h 4687251"/>
              <a:gd name="connsiteX32463" fmla="*/ 2294042 w 8079933"/>
              <a:gd name="connsiteY32463" fmla="*/ 3891353 h 4687251"/>
              <a:gd name="connsiteX32464" fmla="*/ 2292631 w 8079933"/>
              <a:gd name="connsiteY32464" fmla="*/ 3888971 h 4687251"/>
              <a:gd name="connsiteX32465" fmla="*/ 2293825 w 8079933"/>
              <a:gd name="connsiteY32465" fmla="*/ 3884857 h 4687251"/>
              <a:gd name="connsiteX32466" fmla="*/ 2294585 w 8079933"/>
              <a:gd name="connsiteY32466" fmla="*/ 3881175 h 4687251"/>
              <a:gd name="connsiteX32467" fmla="*/ 2293390 w 8079933"/>
              <a:gd name="connsiteY32467" fmla="*/ 3877061 h 4687251"/>
              <a:gd name="connsiteX32468" fmla="*/ 2293174 w 8079933"/>
              <a:gd name="connsiteY32468" fmla="*/ 3874679 h 4687251"/>
              <a:gd name="connsiteX32469" fmla="*/ 2294802 w 8079933"/>
              <a:gd name="connsiteY32469" fmla="*/ 3868832 h 4687251"/>
              <a:gd name="connsiteX32470" fmla="*/ 2294367 w 8079933"/>
              <a:gd name="connsiteY32470" fmla="*/ 3860387 h 4687251"/>
              <a:gd name="connsiteX32471" fmla="*/ 2289376 w 8079933"/>
              <a:gd name="connsiteY32471" fmla="*/ 3853133 h 4687251"/>
              <a:gd name="connsiteX32472" fmla="*/ 2288833 w 8079933"/>
              <a:gd name="connsiteY32472" fmla="*/ 3848911 h 4687251"/>
              <a:gd name="connsiteX32473" fmla="*/ 2291112 w 8079933"/>
              <a:gd name="connsiteY32473" fmla="*/ 3846312 h 4687251"/>
              <a:gd name="connsiteX32474" fmla="*/ 2291112 w 8079933"/>
              <a:gd name="connsiteY32474" fmla="*/ 3838408 h 4687251"/>
              <a:gd name="connsiteX32475" fmla="*/ 2285578 w 8079933"/>
              <a:gd name="connsiteY32475" fmla="*/ 3824117 h 4687251"/>
              <a:gd name="connsiteX32476" fmla="*/ 2285144 w 8079933"/>
              <a:gd name="connsiteY32476" fmla="*/ 3819137 h 4687251"/>
              <a:gd name="connsiteX32477" fmla="*/ 2284058 w 8079933"/>
              <a:gd name="connsiteY32477" fmla="*/ 3813831 h 4687251"/>
              <a:gd name="connsiteX32478" fmla="*/ 2284276 w 8079933"/>
              <a:gd name="connsiteY32478" fmla="*/ 3807660 h 4687251"/>
              <a:gd name="connsiteX32479" fmla="*/ 2287531 w 8079933"/>
              <a:gd name="connsiteY32479" fmla="*/ 3806252 h 4687251"/>
              <a:gd name="connsiteX32480" fmla="*/ 2291004 w 8079933"/>
              <a:gd name="connsiteY32480" fmla="*/ 3802138 h 4687251"/>
              <a:gd name="connsiteX32481" fmla="*/ 2287639 w 8079933"/>
              <a:gd name="connsiteY32481" fmla="*/ 3798023 h 4687251"/>
              <a:gd name="connsiteX32482" fmla="*/ 2289701 w 8079933"/>
              <a:gd name="connsiteY32482" fmla="*/ 3792719 h 4687251"/>
              <a:gd name="connsiteX32483" fmla="*/ 2293174 w 8079933"/>
              <a:gd name="connsiteY32483" fmla="*/ 3790228 h 4687251"/>
              <a:gd name="connsiteX32484" fmla="*/ 2290461 w 8079933"/>
              <a:gd name="connsiteY32484" fmla="*/ 3786005 h 4687251"/>
              <a:gd name="connsiteX32485" fmla="*/ 2289593 w 8079933"/>
              <a:gd name="connsiteY32485" fmla="*/ 3779076 h 4687251"/>
              <a:gd name="connsiteX32486" fmla="*/ 2285252 w 8079933"/>
              <a:gd name="connsiteY32486" fmla="*/ 3772364 h 4687251"/>
              <a:gd name="connsiteX32487" fmla="*/ 2285252 w 8079933"/>
              <a:gd name="connsiteY32487" fmla="*/ 3768574 h 4687251"/>
              <a:gd name="connsiteX32488" fmla="*/ 2289267 w 8079933"/>
              <a:gd name="connsiteY32488" fmla="*/ 3759695 h 4687251"/>
              <a:gd name="connsiteX32489" fmla="*/ 2290135 w 8079933"/>
              <a:gd name="connsiteY32489" fmla="*/ 3756340 h 4687251"/>
              <a:gd name="connsiteX32490" fmla="*/ 2288724 w 8079933"/>
              <a:gd name="connsiteY32490" fmla="*/ 3748869 h 4687251"/>
              <a:gd name="connsiteX32491" fmla="*/ 2291112 w 8079933"/>
              <a:gd name="connsiteY32491" fmla="*/ 3744863 h 4687251"/>
              <a:gd name="connsiteX32492" fmla="*/ 2291437 w 8079933"/>
              <a:gd name="connsiteY32492" fmla="*/ 3738691 h 4687251"/>
              <a:gd name="connsiteX32493" fmla="*/ 2295453 w 8079933"/>
              <a:gd name="connsiteY32493" fmla="*/ 3732628 h 4687251"/>
              <a:gd name="connsiteX32494" fmla="*/ 2295453 w 8079933"/>
              <a:gd name="connsiteY32494" fmla="*/ 3729813 h 4687251"/>
              <a:gd name="connsiteX32495" fmla="*/ 2294259 w 8079933"/>
              <a:gd name="connsiteY32495" fmla="*/ 3726348 h 4687251"/>
              <a:gd name="connsiteX32496" fmla="*/ 2294259 w 8079933"/>
              <a:gd name="connsiteY32496" fmla="*/ 3719744 h 4687251"/>
              <a:gd name="connsiteX32497" fmla="*/ 2296863 w 8079933"/>
              <a:gd name="connsiteY32497" fmla="*/ 3715305 h 4687251"/>
              <a:gd name="connsiteX32498" fmla="*/ 2297297 w 8079933"/>
              <a:gd name="connsiteY32498" fmla="*/ 3703287 h 4687251"/>
              <a:gd name="connsiteX32499" fmla="*/ 2298383 w 8079933"/>
              <a:gd name="connsiteY32499" fmla="*/ 3698306 h 4687251"/>
              <a:gd name="connsiteX32500" fmla="*/ 2293825 w 8079933"/>
              <a:gd name="connsiteY32500" fmla="*/ 3690186 h 4687251"/>
              <a:gd name="connsiteX32501" fmla="*/ 2293825 w 8079933"/>
              <a:gd name="connsiteY32501" fmla="*/ 3684014 h 4687251"/>
              <a:gd name="connsiteX32502" fmla="*/ 2297840 w 8079933"/>
              <a:gd name="connsiteY32502" fmla="*/ 3677627 h 4687251"/>
              <a:gd name="connsiteX32503" fmla="*/ 2298708 w 8079933"/>
              <a:gd name="connsiteY32503" fmla="*/ 3671455 h 4687251"/>
              <a:gd name="connsiteX32504" fmla="*/ 2297948 w 8079933"/>
              <a:gd name="connsiteY32504" fmla="*/ 3664093 h 4687251"/>
              <a:gd name="connsiteX32505" fmla="*/ 2294585 w 8079933"/>
              <a:gd name="connsiteY32505" fmla="*/ 3654673 h 4687251"/>
              <a:gd name="connsiteX32506" fmla="*/ 2294367 w 8079933"/>
              <a:gd name="connsiteY32506" fmla="*/ 3629662 h 4687251"/>
              <a:gd name="connsiteX32507" fmla="*/ 2297297 w 8079933"/>
              <a:gd name="connsiteY32507" fmla="*/ 3626956 h 4687251"/>
              <a:gd name="connsiteX32508" fmla="*/ 2295453 w 8079933"/>
              <a:gd name="connsiteY32508" fmla="*/ 3625223 h 4687251"/>
              <a:gd name="connsiteX32509" fmla="*/ 2292306 w 8079933"/>
              <a:gd name="connsiteY32509" fmla="*/ 3627498 h 4687251"/>
              <a:gd name="connsiteX32510" fmla="*/ 2290787 w 8079933"/>
              <a:gd name="connsiteY32510" fmla="*/ 3625115 h 4687251"/>
              <a:gd name="connsiteX32511" fmla="*/ 2290244 w 8079933"/>
              <a:gd name="connsiteY32511" fmla="*/ 3615588 h 4687251"/>
              <a:gd name="connsiteX32512" fmla="*/ 2293499 w 8079933"/>
              <a:gd name="connsiteY32512" fmla="*/ 3613422 h 4687251"/>
              <a:gd name="connsiteX32513" fmla="*/ 2296972 w 8079933"/>
              <a:gd name="connsiteY32513" fmla="*/ 3611365 h 4687251"/>
              <a:gd name="connsiteX32514" fmla="*/ 2296972 w 8079933"/>
              <a:gd name="connsiteY32514" fmla="*/ 3607251 h 4687251"/>
              <a:gd name="connsiteX32515" fmla="*/ 2296103 w 8079933"/>
              <a:gd name="connsiteY32515" fmla="*/ 3590360 h 4687251"/>
              <a:gd name="connsiteX32516" fmla="*/ 2297189 w 8079933"/>
              <a:gd name="connsiteY32516" fmla="*/ 3588087 h 4687251"/>
              <a:gd name="connsiteX32517" fmla="*/ 2298491 w 8079933"/>
              <a:gd name="connsiteY32517" fmla="*/ 3584730 h 4687251"/>
              <a:gd name="connsiteX32518" fmla="*/ 2298491 w 8079933"/>
              <a:gd name="connsiteY32518" fmla="*/ 3572279 h 4687251"/>
              <a:gd name="connsiteX32519" fmla="*/ 2295453 w 8079933"/>
              <a:gd name="connsiteY32519" fmla="*/ 3564700 h 4687251"/>
              <a:gd name="connsiteX32520" fmla="*/ 2292522 w 8079933"/>
              <a:gd name="connsiteY32520" fmla="*/ 3555822 h 4687251"/>
              <a:gd name="connsiteX32521" fmla="*/ 2290569 w 8079933"/>
              <a:gd name="connsiteY32521" fmla="*/ 3546728 h 4687251"/>
              <a:gd name="connsiteX32522" fmla="*/ 2293174 w 8079933"/>
              <a:gd name="connsiteY32522" fmla="*/ 3543912 h 4687251"/>
              <a:gd name="connsiteX32523" fmla="*/ 2294585 w 8079933"/>
              <a:gd name="connsiteY32523" fmla="*/ 3539149 h 4687251"/>
              <a:gd name="connsiteX32524" fmla="*/ 2294585 w 8079933"/>
              <a:gd name="connsiteY32524" fmla="*/ 3532436 h 4687251"/>
              <a:gd name="connsiteX32525" fmla="*/ 2290787 w 8079933"/>
              <a:gd name="connsiteY32525" fmla="*/ 3514571 h 4687251"/>
              <a:gd name="connsiteX32526" fmla="*/ 2289593 w 8079933"/>
              <a:gd name="connsiteY32526" fmla="*/ 3507859 h 4687251"/>
              <a:gd name="connsiteX32527" fmla="*/ 2290244 w 8079933"/>
              <a:gd name="connsiteY32527" fmla="*/ 3502878 h 4687251"/>
              <a:gd name="connsiteX32528" fmla="*/ 2289701 w 8079933"/>
              <a:gd name="connsiteY32528" fmla="*/ 3496165 h 4687251"/>
              <a:gd name="connsiteX32529" fmla="*/ 2287639 w 8079933"/>
              <a:gd name="connsiteY32529" fmla="*/ 3494216 h 4687251"/>
              <a:gd name="connsiteX32530" fmla="*/ 2293608 w 8079933"/>
              <a:gd name="connsiteY32530" fmla="*/ 3491402 h 4687251"/>
              <a:gd name="connsiteX32531" fmla="*/ 2298816 w 8079933"/>
              <a:gd name="connsiteY32531" fmla="*/ 3487937 h 4687251"/>
              <a:gd name="connsiteX32532" fmla="*/ 2301964 w 8079933"/>
              <a:gd name="connsiteY32532" fmla="*/ 3488586 h 4687251"/>
              <a:gd name="connsiteX32533" fmla="*/ 2306521 w 8079933"/>
              <a:gd name="connsiteY32533" fmla="*/ 3485663 h 4687251"/>
              <a:gd name="connsiteX32534" fmla="*/ 2308258 w 8079933"/>
              <a:gd name="connsiteY32534" fmla="*/ 3481765 h 4687251"/>
              <a:gd name="connsiteX32535" fmla="*/ 2308257 w 8079933"/>
              <a:gd name="connsiteY32535" fmla="*/ 3481765 h 4687251"/>
              <a:gd name="connsiteX32536" fmla="*/ 2306521 w 8079933"/>
              <a:gd name="connsiteY32536" fmla="*/ 3485663 h 4687251"/>
              <a:gd name="connsiteX32537" fmla="*/ 2301963 w 8079933"/>
              <a:gd name="connsiteY32537" fmla="*/ 3488586 h 4687251"/>
              <a:gd name="connsiteX32538" fmla="*/ 2298816 w 8079933"/>
              <a:gd name="connsiteY32538" fmla="*/ 3487936 h 4687251"/>
              <a:gd name="connsiteX32539" fmla="*/ 2293608 w 8079933"/>
              <a:gd name="connsiteY32539" fmla="*/ 3491401 h 4687251"/>
              <a:gd name="connsiteX32540" fmla="*/ 2287639 w 8079933"/>
              <a:gd name="connsiteY32540" fmla="*/ 3494216 h 4687251"/>
              <a:gd name="connsiteX32541" fmla="*/ 2286771 w 8079933"/>
              <a:gd name="connsiteY32541" fmla="*/ 3493350 h 4687251"/>
              <a:gd name="connsiteX32542" fmla="*/ 2282648 w 8079933"/>
              <a:gd name="connsiteY32542" fmla="*/ 3492050 h 4687251"/>
              <a:gd name="connsiteX32543" fmla="*/ 2276462 w 8079933"/>
              <a:gd name="connsiteY32543" fmla="*/ 3486420 h 4687251"/>
              <a:gd name="connsiteX32544" fmla="*/ 2269950 w 8079933"/>
              <a:gd name="connsiteY32544" fmla="*/ 3479708 h 4687251"/>
              <a:gd name="connsiteX32545" fmla="*/ 2264525 w 8079933"/>
              <a:gd name="connsiteY32545" fmla="*/ 3477434 h 4687251"/>
              <a:gd name="connsiteX32546" fmla="*/ 2259099 w 8079933"/>
              <a:gd name="connsiteY32546" fmla="*/ 3476351 h 4687251"/>
              <a:gd name="connsiteX32547" fmla="*/ 2258991 w 8079933"/>
              <a:gd name="connsiteY32547" fmla="*/ 3472995 h 4687251"/>
              <a:gd name="connsiteX32548" fmla="*/ 2259316 w 8079933"/>
              <a:gd name="connsiteY32548" fmla="*/ 3470505 h 4687251"/>
              <a:gd name="connsiteX32549" fmla="*/ 2257797 w 8079933"/>
              <a:gd name="connsiteY32549" fmla="*/ 3467473 h 4687251"/>
              <a:gd name="connsiteX32550" fmla="*/ 2254541 w 8079933"/>
              <a:gd name="connsiteY32550" fmla="*/ 3466174 h 4687251"/>
              <a:gd name="connsiteX32551" fmla="*/ 2249441 w 8079933"/>
              <a:gd name="connsiteY32551" fmla="*/ 3461302 h 4687251"/>
              <a:gd name="connsiteX32552" fmla="*/ 2245751 w 8079933"/>
              <a:gd name="connsiteY32552" fmla="*/ 3459028 h 4687251"/>
              <a:gd name="connsiteX32553" fmla="*/ 2239241 w 8079933"/>
              <a:gd name="connsiteY32553" fmla="*/ 3454264 h 4687251"/>
              <a:gd name="connsiteX32554" fmla="*/ 2237938 w 8079933"/>
              <a:gd name="connsiteY32554" fmla="*/ 3451124 h 4687251"/>
              <a:gd name="connsiteX32555" fmla="*/ 2235768 w 8079933"/>
              <a:gd name="connsiteY32555" fmla="*/ 3449934 h 4687251"/>
              <a:gd name="connsiteX32556" fmla="*/ 2231319 w 8079933"/>
              <a:gd name="connsiteY32556" fmla="*/ 3449717 h 4687251"/>
              <a:gd name="connsiteX32557" fmla="*/ 2225024 w 8079933"/>
              <a:gd name="connsiteY32557" fmla="*/ 3447335 h 4687251"/>
              <a:gd name="connsiteX32558" fmla="*/ 2215801 w 8079933"/>
              <a:gd name="connsiteY32558" fmla="*/ 3441704 h 4687251"/>
              <a:gd name="connsiteX32559" fmla="*/ 2211677 w 8079933"/>
              <a:gd name="connsiteY32559" fmla="*/ 3440622 h 4687251"/>
              <a:gd name="connsiteX32560" fmla="*/ 2209615 w 8079933"/>
              <a:gd name="connsiteY32560" fmla="*/ 3441380 h 4687251"/>
              <a:gd name="connsiteX32561" fmla="*/ 2203864 w 8079933"/>
              <a:gd name="connsiteY32561" fmla="*/ 3439323 h 4687251"/>
              <a:gd name="connsiteX32562" fmla="*/ 2200175 w 8079933"/>
              <a:gd name="connsiteY32562" fmla="*/ 3436941 h 4687251"/>
              <a:gd name="connsiteX32563" fmla="*/ 2199632 w 8079933"/>
              <a:gd name="connsiteY32563" fmla="*/ 3433368 h 4687251"/>
              <a:gd name="connsiteX32564" fmla="*/ 2196160 w 8079933"/>
              <a:gd name="connsiteY32564" fmla="*/ 3430120 h 4687251"/>
              <a:gd name="connsiteX32565" fmla="*/ 2188454 w 8079933"/>
              <a:gd name="connsiteY32565" fmla="*/ 3426114 h 4687251"/>
              <a:gd name="connsiteX32566" fmla="*/ 2184331 w 8079933"/>
              <a:gd name="connsiteY32566" fmla="*/ 3421458 h 4687251"/>
              <a:gd name="connsiteX32567" fmla="*/ 2185742 w 8079933"/>
              <a:gd name="connsiteY32567" fmla="*/ 3417344 h 4687251"/>
              <a:gd name="connsiteX32568" fmla="*/ 2183463 w 8079933"/>
              <a:gd name="connsiteY32568" fmla="*/ 3420159 h 4687251"/>
              <a:gd name="connsiteX32569" fmla="*/ 2176192 w 8079933"/>
              <a:gd name="connsiteY32569" fmla="*/ 3420484 h 4687251"/>
              <a:gd name="connsiteX32570" fmla="*/ 2173154 w 8079933"/>
              <a:gd name="connsiteY32570" fmla="*/ 3418535 h 4687251"/>
              <a:gd name="connsiteX32571" fmla="*/ 2171417 w 8079933"/>
              <a:gd name="connsiteY32571" fmla="*/ 3414529 h 4687251"/>
              <a:gd name="connsiteX32572" fmla="*/ 2169681 w 8079933"/>
              <a:gd name="connsiteY32572" fmla="*/ 3412255 h 4687251"/>
              <a:gd name="connsiteX32573" fmla="*/ 2165123 w 8079933"/>
              <a:gd name="connsiteY32573" fmla="*/ 3411713 h 4687251"/>
              <a:gd name="connsiteX32574" fmla="*/ 2161543 w 8079933"/>
              <a:gd name="connsiteY32574" fmla="*/ 3407275 h 4687251"/>
              <a:gd name="connsiteX32575" fmla="*/ 2161217 w 8079933"/>
              <a:gd name="connsiteY32575" fmla="*/ 3404027 h 4687251"/>
              <a:gd name="connsiteX32576" fmla="*/ 2153621 w 8079933"/>
              <a:gd name="connsiteY32576" fmla="*/ 3400237 h 4687251"/>
              <a:gd name="connsiteX32577" fmla="*/ 2145699 w 8079933"/>
              <a:gd name="connsiteY32577" fmla="*/ 3394715 h 4687251"/>
              <a:gd name="connsiteX32578" fmla="*/ 2146784 w 8079933"/>
              <a:gd name="connsiteY32578" fmla="*/ 3392333 h 4687251"/>
              <a:gd name="connsiteX32579" fmla="*/ 2146024 w 8079933"/>
              <a:gd name="connsiteY32579" fmla="*/ 3389193 h 4687251"/>
              <a:gd name="connsiteX32580" fmla="*/ 2142986 w 8079933"/>
              <a:gd name="connsiteY32580" fmla="*/ 3387136 h 4687251"/>
              <a:gd name="connsiteX32581" fmla="*/ 2140165 w 8079933"/>
              <a:gd name="connsiteY32581" fmla="*/ 3387678 h 4687251"/>
              <a:gd name="connsiteX32582" fmla="*/ 2140165 w 8079933"/>
              <a:gd name="connsiteY32582" fmla="*/ 3384105 h 4687251"/>
              <a:gd name="connsiteX32583" fmla="*/ 2139297 w 8079933"/>
              <a:gd name="connsiteY32583" fmla="*/ 3380099 h 4687251"/>
              <a:gd name="connsiteX32584" fmla="*/ 2139513 w 8079933"/>
              <a:gd name="connsiteY32584" fmla="*/ 3377717 h 4687251"/>
              <a:gd name="connsiteX32585" fmla="*/ 2141793 w 8079933"/>
              <a:gd name="connsiteY32585" fmla="*/ 3379232 h 4687251"/>
              <a:gd name="connsiteX32586" fmla="*/ 2143854 w 8079933"/>
              <a:gd name="connsiteY32586" fmla="*/ 3378366 h 4687251"/>
              <a:gd name="connsiteX32587" fmla="*/ 2143637 w 8079933"/>
              <a:gd name="connsiteY32587" fmla="*/ 3373927 h 4687251"/>
              <a:gd name="connsiteX32588" fmla="*/ 2135715 w 8079933"/>
              <a:gd name="connsiteY32588" fmla="*/ 3362775 h 4687251"/>
              <a:gd name="connsiteX32589" fmla="*/ 2133979 w 8079933"/>
              <a:gd name="connsiteY32589" fmla="*/ 3357254 h 4687251"/>
              <a:gd name="connsiteX32590" fmla="*/ 2127143 w 8079933"/>
              <a:gd name="connsiteY32590" fmla="*/ 3346210 h 4687251"/>
              <a:gd name="connsiteX32591" fmla="*/ 2125841 w 8079933"/>
              <a:gd name="connsiteY32591" fmla="*/ 3340580 h 4687251"/>
              <a:gd name="connsiteX32592" fmla="*/ 2119655 w 8079933"/>
              <a:gd name="connsiteY32592" fmla="*/ 3338306 h 4687251"/>
              <a:gd name="connsiteX32593" fmla="*/ 2117485 w 8079933"/>
              <a:gd name="connsiteY32593" fmla="*/ 3335383 h 4687251"/>
              <a:gd name="connsiteX32594" fmla="*/ 2116617 w 8079933"/>
              <a:gd name="connsiteY32594" fmla="*/ 3328671 h 4687251"/>
              <a:gd name="connsiteX32595" fmla="*/ 2114555 w 8079933"/>
              <a:gd name="connsiteY32595" fmla="*/ 3324447 h 4687251"/>
              <a:gd name="connsiteX32596" fmla="*/ 2106416 w 8079933"/>
              <a:gd name="connsiteY32596" fmla="*/ 3317194 h 4687251"/>
              <a:gd name="connsiteX32597" fmla="*/ 2103269 w 8079933"/>
              <a:gd name="connsiteY32597" fmla="*/ 3316220 h 4687251"/>
              <a:gd name="connsiteX32598" fmla="*/ 2102510 w 8079933"/>
              <a:gd name="connsiteY32598" fmla="*/ 3312863 h 4687251"/>
              <a:gd name="connsiteX32599" fmla="*/ 2103703 w 8079933"/>
              <a:gd name="connsiteY32599" fmla="*/ 3308965 h 4687251"/>
              <a:gd name="connsiteX32600" fmla="*/ 2100773 w 8079933"/>
              <a:gd name="connsiteY32600" fmla="*/ 3303985 h 4687251"/>
              <a:gd name="connsiteX32601" fmla="*/ 2093177 w 8079933"/>
              <a:gd name="connsiteY32601" fmla="*/ 3294457 h 4687251"/>
              <a:gd name="connsiteX32602" fmla="*/ 2089379 w 8079933"/>
              <a:gd name="connsiteY32602" fmla="*/ 3286228 h 4687251"/>
              <a:gd name="connsiteX32603" fmla="*/ 2090789 w 8079933"/>
              <a:gd name="connsiteY32603" fmla="*/ 3284388 h 4687251"/>
              <a:gd name="connsiteX32604" fmla="*/ 2089921 w 8079933"/>
              <a:gd name="connsiteY32604" fmla="*/ 3278649 h 4687251"/>
              <a:gd name="connsiteX32605" fmla="*/ 2085581 w 8079933"/>
              <a:gd name="connsiteY32605" fmla="*/ 3270962 h 4687251"/>
              <a:gd name="connsiteX32606" fmla="*/ 2081783 w 8079933"/>
              <a:gd name="connsiteY32606" fmla="*/ 3268688 h 4687251"/>
              <a:gd name="connsiteX32607" fmla="*/ 2078527 w 8079933"/>
              <a:gd name="connsiteY32607" fmla="*/ 3263384 h 4687251"/>
              <a:gd name="connsiteX32608" fmla="*/ 2077659 w 8079933"/>
              <a:gd name="connsiteY32608" fmla="*/ 3255588 h 4687251"/>
              <a:gd name="connsiteX32609" fmla="*/ 2074946 w 8079933"/>
              <a:gd name="connsiteY32609" fmla="*/ 3251040 h 4687251"/>
              <a:gd name="connsiteX32610" fmla="*/ 2073536 w 8079933"/>
              <a:gd name="connsiteY32610" fmla="*/ 3244111 h 4687251"/>
              <a:gd name="connsiteX32611" fmla="*/ 2069194 w 8079933"/>
              <a:gd name="connsiteY32611" fmla="*/ 3237074 h 4687251"/>
              <a:gd name="connsiteX32612" fmla="*/ 2059537 w 8079933"/>
              <a:gd name="connsiteY32612" fmla="*/ 3232093 h 4687251"/>
              <a:gd name="connsiteX32613" fmla="*/ 2056824 w 8079933"/>
              <a:gd name="connsiteY32613" fmla="*/ 3227329 h 4687251"/>
              <a:gd name="connsiteX32614" fmla="*/ 2056064 w 8079933"/>
              <a:gd name="connsiteY32614" fmla="*/ 3220725 h 4687251"/>
              <a:gd name="connsiteX32615" fmla="*/ 2050747 w 8079933"/>
              <a:gd name="connsiteY32615" fmla="*/ 3213254 h 4687251"/>
              <a:gd name="connsiteX32616" fmla="*/ 2049553 w 8079933"/>
              <a:gd name="connsiteY32616" fmla="*/ 3209248 h 4687251"/>
              <a:gd name="connsiteX32617" fmla="*/ 2044778 w 8079933"/>
              <a:gd name="connsiteY32617" fmla="*/ 3208057 h 4687251"/>
              <a:gd name="connsiteX32618" fmla="*/ 2034903 w 8079933"/>
              <a:gd name="connsiteY32618" fmla="*/ 3201561 h 4687251"/>
              <a:gd name="connsiteX32619" fmla="*/ 2028393 w 8079933"/>
              <a:gd name="connsiteY32619" fmla="*/ 3200695 h 4687251"/>
              <a:gd name="connsiteX32620" fmla="*/ 2021339 w 8079933"/>
              <a:gd name="connsiteY32620" fmla="*/ 3194632 h 4687251"/>
              <a:gd name="connsiteX32621" fmla="*/ 2016456 w 8079933"/>
              <a:gd name="connsiteY32621" fmla="*/ 3192791 h 4687251"/>
              <a:gd name="connsiteX32622" fmla="*/ 2012549 w 8079933"/>
              <a:gd name="connsiteY32622" fmla="*/ 3189001 h 4687251"/>
              <a:gd name="connsiteX32623" fmla="*/ 2013959 w 8079933"/>
              <a:gd name="connsiteY32623" fmla="*/ 3185320 h 4687251"/>
              <a:gd name="connsiteX32624" fmla="*/ 2017757 w 8079933"/>
              <a:gd name="connsiteY32624" fmla="*/ 3183696 h 4687251"/>
              <a:gd name="connsiteX32625" fmla="*/ 2021339 w 8079933"/>
              <a:gd name="connsiteY32625" fmla="*/ 3183479 h 4687251"/>
              <a:gd name="connsiteX32626" fmla="*/ 2021773 w 8079933"/>
              <a:gd name="connsiteY32626" fmla="*/ 3178824 h 4687251"/>
              <a:gd name="connsiteX32627" fmla="*/ 2018192 w 8079933"/>
              <a:gd name="connsiteY32627" fmla="*/ 3172111 h 4687251"/>
              <a:gd name="connsiteX32628" fmla="*/ 2013526 w 8079933"/>
              <a:gd name="connsiteY32628" fmla="*/ 3167997 h 4687251"/>
              <a:gd name="connsiteX32629" fmla="*/ 2013526 w 8079933"/>
              <a:gd name="connsiteY32629" fmla="*/ 3165398 h 4687251"/>
              <a:gd name="connsiteX32630" fmla="*/ 2016456 w 8079933"/>
              <a:gd name="connsiteY32630" fmla="*/ 3163342 h 4687251"/>
              <a:gd name="connsiteX32631" fmla="*/ 2016021 w 8079933"/>
              <a:gd name="connsiteY32631" fmla="*/ 3159877 h 4687251"/>
              <a:gd name="connsiteX32632" fmla="*/ 2012223 w 8079933"/>
              <a:gd name="connsiteY32632" fmla="*/ 3156845 h 4687251"/>
              <a:gd name="connsiteX32633" fmla="*/ 2011681 w 8079933"/>
              <a:gd name="connsiteY32633" fmla="*/ 3154571 h 4687251"/>
              <a:gd name="connsiteX32634" fmla="*/ 2013526 w 8079933"/>
              <a:gd name="connsiteY32634" fmla="*/ 3149916 h 4687251"/>
              <a:gd name="connsiteX32635" fmla="*/ 2015262 w 8079933"/>
              <a:gd name="connsiteY32635" fmla="*/ 3143961 h 4687251"/>
              <a:gd name="connsiteX32636" fmla="*/ 2023509 w 8079933"/>
              <a:gd name="connsiteY32636" fmla="*/ 3135841 h 4687251"/>
              <a:gd name="connsiteX32637" fmla="*/ 2027850 w 8079933"/>
              <a:gd name="connsiteY32637" fmla="*/ 3131835 h 4687251"/>
              <a:gd name="connsiteX32638" fmla="*/ 2039570 w 8079933"/>
              <a:gd name="connsiteY32638" fmla="*/ 3126746 h 4687251"/>
              <a:gd name="connsiteX32639" fmla="*/ 2039895 w 8079933"/>
              <a:gd name="connsiteY32639" fmla="*/ 3126421 h 4687251"/>
              <a:gd name="connsiteX32640" fmla="*/ 2042065 w 8079933"/>
              <a:gd name="connsiteY32640" fmla="*/ 3127612 h 4687251"/>
              <a:gd name="connsiteX32641" fmla="*/ 2044127 w 8079933"/>
              <a:gd name="connsiteY32641" fmla="*/ 3134108 h 4687251"/>
              <a:gd name="connsiteX32642" fmla="*/ 2039135 w 8079933"/>
              <a:gd name="connsiteY32642" fmla="*/ 3136707 h 4687251"/>
              <a:gd name="connsiteX32643" fmla="*/ 2035120 w 8079933"/>
              <a:gd name="connsiteY32643" fmla="*/ 3141146 h 4687251"/>
              <a:gd name="connsiteX32644" fmla="*/ 2035880 w 8079933"/>
              <a:gd name="connsiteY32644" fmla="*/ 3145802 h 4687251"/>
              <a:gd name="connsiteX32645" fmla="*/ 2040655 w 8079933"/>
              <a:gd name="connsiteY32645" fmla="*/ 3146018 h 4687251"/>
              <a:gd name="connsiteX32646" fmla="*/ 2035881 w 8079933"/>
              <a:gd name="connsiteY32646" fmla="*/ 3145801 h 4687251"/>
              <a:gd name="connsiteX32647" fmla="*/ 2035121 w 8079933"/>
              <a:gd name="connsiteY32647" fmla="*/ 3141145 h 4687251"/>
              <a:gd name="connsiteX32648" fmla="*/ 2039136 w 8079933"/>
              <a:gd name="connsiteY32648" fmla="*/ 3136706 h 4687251"/>
              <a:gd name="connsiteX32649" fmla="*/ 2044128 w 8079933"/>
              <a:gd name="connsiteY32649" fmla="*/ 3134108 h 4687251"/>
              <a:gd name="connsiteX32650" fmla="*/ 2042066 w 8079933"/>
              <a:gd name="connsiteY32650" fmla="*/ 3127612 h 4687251"/>
              <a:gd name="connsiteX32651" fmla="*/ 2039896 w 8079933"/>
              <a:gd name="connsiteY32651" fmla="*/ 3126421 h 4687251"/>
              <a:gd name="connsiteX32652" fmla="*/ 2046081 w 8079933"/>
              <a:gd name="connsiteY32652" fmla="*/ 3121224 h 4687251"/>
              <a:gd name="connsiteX32653" fmla="*/ 2048577 w 8079933"/>
              <a:gd name="connsiteY32653" fmla="*/ 3115160 h 4687251"/>
              <a:gd name="connsiteX32654" fmla="*/ 2047817 w 8079933"/>
              <a:gd name="connsiteY32654" fmla="*/ 3111588 h 4687251"/>
              <a:gd name="connsiteX32655" fmla="*/ 2049012 w 8079933"/>
              <a:gd name="connsiteY32655" fmla="*/ 3104875 h 4687251"/>
              <a:gd name="connsiteX32656" fmla="*/ 2047492 w 8079933"/>
              <a:gd name="connsiteY32656" fmla="*/ 3098704 h 4687251"/>
              <a:gd name="connsiteX32657" fmla="*/ 2045973 w 8079933"/>
              <a:gd name="connsiteY32657" fmla="*/ 3098379 h 4687251"/>
              <a:gd name="connsiteX32658" fmla="*/ 2046299 w 8079933"/>
              <a:gd name="connsiteY32658" fmla="*/ 3102168 h 4687251"/>
              <a:gd name="connsiteX32659" fmla="*/ 2045431 w 8079933"/>
              <a:gd name="connsiteY32659" fmla="*/ 3104442 h 4687251"/>
              <a:gd name="connsiteX32660" fmla="*/ 2044888 w 8079933"/>
              <a:gd name="connsiteY32660" fmla="*/ 3100761 h 4687251"/>
              <a:gd name="connsiteX32661" fmla="*/ 2044779 w 8079933"/>
              <a:gd name="connsiteY32661" fmla="*/ 3096647 h 4687251"/>
              <a:gd name="connsiteX32662" fmla="*/ 2041306 w 8079933"/>
              <a:gd name="connsiteY32662" fmla="*/ 3100111 h 4687251"/>
              <a:gd name="connsiteX32663" fmla="*/ 2039788 w 8079933"/>
              <a:gd name="connsiteY32663" fmla="*/ 3103035 h 4687251"/>
              <a:gd name="connsiteX32664" fmla="*/ 2037726 w 8079933"/>
              <a:gd name="connsiteY32664" fmla="*/ 3108664 h 4687251"/>
              <a:gd name="connsiteX32665" fmla="*/ 2035772 w 8079933"/>
              <a:gd name="connsiteY32665" fmla="*/ 3110072 h 4687251"/>
              <a:gd name="connsiteX32666" fmla="*/ 2031865 w 8079933"/>
              <a:gd name="connsiteY32666" fmla="*/ 3107474 h 4687251"/>
              <a:gd name="connsiteX32667" fmla="*/ 2026982 w 8079933"/>
              <a:gd name="connsiteY32667" fmla="*/ 3102493 h 4687251"/>
              <a:gd name="connsiteX32668" fmla="*/ 2021774 w 8079933"/>
              <a:gd name="connsiteY32668" fmla="*/ 3100436 h 4687251"/>
              <a:gd name="connsiteX32669" fmla="*/ 2019061 w 8079933"/>
              <a:gd name="connsiteY32669" fmla="*/ 3096863 h 4687251"/>
              <a:gd name="connsiteX32670" fmla="*/ 2021448 w 8079933"/>
              <a:gd name="connsiteY32670" fmla="*/ 3094589 h 4687251"/>
              <a:gd name="connsiteX32671" fmla="*/ 2024053 w 8079933"/>
              <a:gd name="connsiteY32671" fmla="*/ 3090150 h 4687251"/>
              <a:gd name="connsiteX32672" fmla="*/ 2023184 w 8079933"/>
              <a:gd name="connsiteY32672" fmla="*/ 3083113 h 4687251"/>
              <a:gd name="connsiteX32673" fmla="*/ 2023727 w 8079933"/>
              <a:gd name="connsiteY32673" fmla="*/ 3079323 h 4687251"/>
              <a:gd name="connsiteX32674" fmla="*/ 2021883 w 8079933"/>
              <a:gd name="connsiteY32674" fmla="*/ 3074343 h 4687251"/>
              <a:gd name="connsiteX32675" fmla="*/ 2020146 w 8079933"/>
              <a:gd name="connsiteY32675" fmla="*/ 3070554 h 4687251"/>
              <a:gd name="connsiteX32676" fmla="*/ 2024378 w 8079933"/>
              <a:gd name="connsiteY32676" fmla="*/ 3064707 h 4687251"/>
              <a:gd name="connsiteX32677" fmla="*/ 2029479 w 8079933"/>
              <a:gd name="connsiteY32677" fmla="*/ 3064057 h 4687251"/>
              <a:gd name="connsiteX32678" fmla="*/ 2034036 w 8079933"/>
              <a:gd name="connsiteY32678" fmla="*/ 3057452 h 4687251"/>
              <a:gd name="connsiteX32679" fmla="*/ 2031974 w 8079933"/>
              <a:gd name="connsiteY32679" fmla="*/ 3054746 h 4687251"/>
              <a:gd name="connsiteX32680" fmla="*/ 2032625 w 8079933"/>
              <a:gd name="connsiteY32680" fmla="*/ 3050632 h 4687251"/>
              <a:gd name="connsiteX32681" fmla="*/ 2041632 w 8079933"/>
              <a:gd name="connsiteY32681" fmla="*/ 3040995 h 4687251"/>
              <a:gd name="connsiteX32682" fmla="*/ 2042934 w 8079933"/>
              <a:gd name="connsiteY32682" fmla="*/ 3034391 h 4687251"/>
              <a:gd name="connsiteX32683" fmla="*/ 2040873 w 8079933"/>
              <a:gd name="connsiteY32683" fmla="*/ 3030926 h 4687251"/>
              <a:gd name="connsiteX32684" fmla="*/ 2040547 w 8079933"/>
              <a:gd name="connsiteY32684" fmla="*/ 3027570 h 4687251"/>
              <a:gd name="connsiteX32685" fmla="*/ 2037400 w 8079933"/>
              <a:gd name="connsiteY32685" fmla="*/ 3022048 h 4687251"/>
              <a:gd name="connsiteX32686" fmla="*/ 2043694 w 8079933"/>
              <a:gd name="connsiteY32686" fmla="*/ 3018908 h 4687251"/>
              <a:gd name="connsiteX32687" fmla="*/ 2049554 w 8079933"/>
              <a:gd name="connsiteY32687" fmla="*/ 3018583 h 4687251"/>
              <a:gd name="connsiteX32688" fmla="*/ 2060948 w 8079933"/>
              <a:gd name="connsiteY32688" fmla="*/ 3010680 h 4687251"/>
              <a:gd name="connsiteX32689" fmla="*/ 2067785 w 8079933"/>
              <a:gd name="connsiteY32689" fmla="*/ 3010355 h 4687251"/>
              <a:gd name="connsiteX32690" fmla="*/ 2069195 w 8079933"/>
              <a:gd name="connsiteY32690" fmla="*/ 3004725 h 4687251"/>
              <a:gd name="connsiteX32691" fmla="*/ 2076140 w 8079933"/>
              <a:gd name="connsiteY32691" fmla="*/ 3007324 h 4687251"/>
              <a:gd name="connsiteX32692" fmla="*/ 2081966 w 8079933"/>
              <a:gd name="connsiteY32692" fmla="*/ 3011359 h 4687251"/>
              <a:gd name="connsiteX32693" fmla="*/ 2076140 w 8079933"/>
              <a:gd name="connsiteY32693" fmla="*/ 3007323 h 4687251"/>
              <a:gd name="connsiteX32694" fmla="*/ 2069195 w 8079933"/>
              <a:gd name="connsiteY32694" fmla="*/ 3004724 h 4687251"/>
              <a:gd name="connsiteX32695" fmla="*/ 2070280 w 8079933"/>
              <a:gd name="connsiteY32695" fmla="*/ 3000393 h 4687251"/>
              <a:gd name="connsiteX32696" fmla="*/ 2071257 w 8079933"/>
              <a:gd name="connsiteY32696" fmla="*/ 2992382 h 4687251"/>
              <a:gd name="connsiteX32697" fmla="*/ 2077876 w 8079933"/>
              <a:gd name="connsiteY32697" fmla="*/ 2982421 h 4687251"/>
              <a:gd name="connsiteX32698" fmla="*/ 2084712 w 8079933"/>
              <a:gd name="connsiteY32698" fmla="*/ 2977224 h 4687251"/>
              <a:gd name="connsiteX32699" fmla="*/ 2093720 w 8079933"/>
              <a:gd name="connsiteY32699" fmla="*/ 2975275 h 4687251"/>
              <a:gd name="connsiteX32700" fmla="*/ 2100448 w 8079933"/>
              <a:gd name="connsiteY32700" fmla="*/ 2968779 h 4687251"/>
              <a:gd name="connsiteX32701" fmla="*/ 2102835 w 8079933"/>
              <a:gd name="connsiteY32701" fmla="*/ 2963798 h 4687251"/>
              <a:gd name="connsiteX32702" fmla="*/ 2111733 w 8079933"/>
              <a:gd name="connsiteY32702" fmla="*/ 2954812 h 4687251"/>
              <a:gd name="connsiteX32703" fmla="*/ 2113795 w 8079933"/>
              <a:gd name="connsiteY32703" fmla="*/ 2949507 h 4687251"/>
              <a:gd name="connsiteX32704" fmla="*/ 2116291 w 8079933"/>
              <a:gd name="connsiteY32704" fmla="*/ 2946475 h 4687251"/>
              <a:gd name="connsiteX32705" fmla="*/ 2116074 w 8079933"/>
              <a:gd name="connsiteY32705" fmla="*/ 2944201 h 4687251"/>
              <a:gd name="connsiteX32706" fmla="*/ 2113578 w 8079933"/>
              <a:gd name="connsiteY32706" fmla="*/ 2944418 h 4687251"/>
              <a:gd name="connsiteX32707" fmla="*/ 2111082 w 8079933"/>
              <a:gd name="connsiteY32707" fmla="*/ 2940953 h 4687251"/>
              <a:gd name="connsiteX32708" fmla="*/ 2111733 w 8079933"/>
              <a:gd name="connsiteY32708" fmla="*/ 2938354 h 4687251"/>
              <a:gd name="connsiteX32709" fmla="*/ 2107501 w 8079933"/>
              <a:gd name="connsiteY32709" fmla="*/ 2940195 h 4687251"/>
              <a:gd name="connsiteX32710" fmla="*/ 2104680 w 8079933"/>
              <a:gd name="connsiteY32710" fmla="*/ 2936189 h 4687251"/>
              <a:gd name="connsiteX32711" fmla="*/ 2105222 w 8079933"/>
              <a:gd name="connsiteY32711" fmla="*/ 2932832 h 4687251"/>
              <a:gd name="connsiteX32712" fmla="*/ 2108587 w 8079933"/>
              <a:gd name="connsiteY32712" fmla="*/ 2928935 h 4687251"/>
              <a:gd name="connsiteX32713" fmla="*/ 2108152 w 8079933"/>
              <a:gd name="connsiteY32713" fmla="*/ 2917783 h 4687251"/>
              <a:gd name="connsiteX32714" fmla="*/ 2108695 w 8079933"/>
              <a:gd name="connsiteY32714" fmla="*/ 2909771 h 4687251"/>
              <a:gd name="connsiteX32715" fmla="*/ 2106850 w 8079933"/>
              <a:gd name="connsiteY32715" fmla="*/ 2905440 h 4687251"/>
              <a:gd name="connsiteX32716" fmla="*/ 2104897 w 8079933"/>
              <a:gd name="connsiteY32716" fmla="*/ 2904574 h 4687251"/>
              <a:gd name="connsiteX32717" fmla="*/ 2106850 w 8079933"/>
              <a:gd name="connsiteY32717" fmla="*/ 2901110 h 4687251"/>
              <a:gd name="connsiteX32718" fmla="*/ 2109888 w 8079933"/>
              <a:gd name="connsiteY32718" fmla="*/ 2898835 h 4687251"/>
              <a:gd name="connsiteX32719" fmla="*/ 2109888 w 8079933"/>
              <a:gd name="connsiteY32719" fmla="*/ 2892231 h 4687251"/>
              <a:gd name="connsiteX32720" fmla="*/ 2107067 w 8079933"/>
              <a:gd name="connsiteY32720" fmla="*/ 2889091 h 4687251"/>
              <a:gd name="connsiteX32721" fmla="*/ 2107175 w 8079933"/>
              <a:gd name="connsiteY32721" fmla="*/ 2887034 h 4687251"/>
              <a:gd name="connsiteX32722" fmla="*/ 2110105 w 8079933"/>
              <a:gd name="connsiteY32722" fmla="*/ 2883786 h 4687251"/>
              <a:gd name="connsiteX32723" fmla="*/ 2109455 w 8079933"/>
              <a:gd name="connsiteY32723" fmla="*/ 2878480 h 4687251"/>
              <a:gd name="connsiteX32724" fmla="*/ 2108152 w 8079933"/>
              <a:gd name="connsiteY32724" fmla="*/ 2876316 h 4687251"/>
              <a:gd name="connsiteX32725" fmla="*/ 2105874 w 8079933"/>
              <a:gd name="connsiteY32725" fmla="*/ 2877506 h 4687251"/>
              <a:gd name="connsiteX32726" fmla="*/ 2104029 w 8079933"/>
              <a:gd name="connsiteY32726" fmla="*/ 2877723 h 4687251"/>
              <a:gd name="connsiteX32727" fmla="*/ 2099363 w 8079933"/>
              <a:gd name="connsiteY32727" fmla="*/ 2871876 h 4687251"/>
              <a:gd name="connsiteX32728" fmla="*/ 2098820 w 8079933"/>
              <a:gd name="connsiteY32728" fmla="*/ 2866463 h 4687251"/>
              <a:gd name="connsiteX32729" fmla="*/ 2097843 w 8079933"/>
              <a:gd name="connsiteY32729" fmla="*/ 2860941 h 4687251"/>
              <a:gd name="connsiteX32730" fmla="*/ 2096866 w 8079933"/>
              <a:gd name="connsiteY32730" fmla="*/ 2860075 h 4687251"/>
              <a:gd name="connsiteX32731" fmla="*/ 2099905 w 8079933"/>
              <a:gd name="connsiteY32731" fmla="*/ 2852821 h 4687251"/>
              <a:gd name="connsiteX32732" fmla="*/ 2099905 w 8079933"/>
              <a:gd name="connsiteY32732" fmla="*/ 2852821 h 4687251"/>
              <a:gd name="connsiteX32733" fmla="*/ 2096866 w 8079933"/>
              <a:gd name="connsiteY32733" fmla="*/ 2860075 h 4687251"/>
              <a:gd name="connsiteX32734" fmla="*/ 2091874 w 8079933"/>
              <a:gd name="connsiteY32734" fmla="*/ 2855636 h 4687251"/>
              <a:gd name="connsiteX32735" fmla="*/ 2086557 w 8079933"/>
              <a:gd name="connsiteY32735" fmla="*/ 2848166 h 4687251"/>
              <a:gd name="connsiteX32736" fmla="*/ 2084495 w 8079933"/>
              <a:gd name="connsiteY32736" fmla="*/ 2841994 h 4687251"/>
              <a:gd name="connsiteX32737" fmla="*/ 2086448 w 8079933"/>
              <a:gd name="connsiteY32737" fmla="*/ 2840154 h 4687251"/>
              <a:gd name="connsiteX32738" fmla="*/ 2090355 w 8079933"/>
              <a:gd name="connsiteY32738" fmla="*/ 2834199 h 4687251"/>
              <a:gd name="connsiteX32739" fmla="*/ 2092851 w 8079933"/>
              <a:gd name="connsiteY32739" fmla="*/ 2833873 h 4687251"/>
              <a:gd name="connsiteX32740" fmla="*/ 2094804 w 8079933"/>
              <a:gd name="connsiteY32740" fmla="*/ 2831816 h 4687251"/>
              <a:gd name="connsiteX32741" fmla="*/ 2093719 w 8079933"/>
              <a:gd name="connsiteY32741" fmla="*/ 2828569 h 4687251"/>
              <a:gd name="connsiteX32742" fmla="*/ 2091114 w 8079933"/>
              <a:gd name="connsiteY32742" fmla="*/ 2828677 h 4687251"/>
              <a:gd name="connsiteX32743" fmla="*/ 2087968 w 8079933"/>
              <a:gd name="connsiteY32743" fmla="*/ 2832250 h 4687251"/>
              <a:gd name="connsiteX32744" fmla="*/ 2086557 w 8079933"/>
              <a:gd name="connsiteY32744" fmla="*/ 2833441 h 4687251"/>
              <a:gd name="connsiteX32745" fmla="*/ 2084061 w 8079933"/>
              <a:gd name="connsiteY32745" fmla="*/ 2831492 h 4687251"/>
              <a:gd name="connsiteX32746" fmla="*/ 2082433 w 8079933"/>
              <a:gd name="connsiteY32746" fmla="*/ 2827053 h 4687251"/>
              <a:gd name="connsiteX32747" fmla="*/ 2078201 w 8079933"/>
              <a:gd name="connsiteY32747" fmla="*/ 2821531 h 4687251"/>
              <a:gd name="connsiteX32748" fmla="*/ 2075054 w 8079933"/>
              <a:gd name="connsiteY32748" fmla="*/ 2820989 h 4687251"/>
              <a:gd name="connsiteX32749" fmla="*/ 2070714 w 8079933"/>
              <a:gd name="connsiteY32749" fmla="*/ 2816659 h 4687251"/>
              <a:gd name="connsiteX32750" fmla="*/ 2067675 w 8079933"/>
              <a:gd name="connsiteY32750" fmla="*/ 2815035 h 4687251"/>
              <a:gd name="connsiteX32751" fmla="*/ 2061923 w 8079933"/>
              <a:gd name="connsiteY32751" fmla="*/ 2815576 h 4687251"/>
              <a:gd name="connsiteX32752" fmla="*/ 2054762 w 8079933"/>
              <a:gd name="connsiteY32752" fmla="*/ 2819365 h 4687251"/>
              <a:gd name="connsiteX32753" fmla="*/ 2054219 w 8079933"/>
              <a:gd name="connsiteY32753" fmla="*/ 2824021 h 4687251"/>
              <a:gd name="connsiteX32754" fmla="*/ 2055630 w 8079933"/>
              <a:gd name="connsiteY32754" fmla="*/ 2825104 h 4687251"/>
              <a:gd name="connsiteX32755" fmla="*/ 2055847 w 8079933"/>
              <a:gd name="connsiteY32755" fmla="*/ 2827269 h 4687251"/>
              <a:gd name="connsiteX32756" fmla="*/ 2049119 w 8079933"/>
              <a:gd name="connsiteY32756" fmla="*/ 2833441 h 4687251"/>
              <a:gd name="connsiteX32757" fmla="*/ 2041632 w 8079933"/>
              <a:gd name="connsiteY32757" fmla="*/ 2835065 h 4687251"/>
              <a:gd name="connsiteX32758" fmla="*/ 2037725 w 8079933"/>
              <a:gd name="connsiteY32758" fmla="*/ 2837122 h 4687251"/>
              <a:gd name="connsiteX32759" fmla="*/ 2036857 w 8079933"/>
              <a:gd name="connsiteY32759" fmla="*/ 2839829 h 4687251"/>
              <a:gd name="connsiteX32760" fmla="*/ 2038702 w 8079933"/>
              <a:gd name="connsiteY32760" fmla="*/ 2843726 h 4687251"/>
              <a:gd name="connsiteX32761" fmla="*/ 2042717 w 8079933"/>
              <a:gd name="connsiteY32761" fmla="*/ 2846541 h 4687251"/>
              <a:gd name="connsiteX32762" fmla="*/ 2046406 w 8079933"/>
              <a:gd name="connsiteY32762" fmla="*/ 2849789 h 4687251"/>
              <a:gd name="connsiteX32763" fmla="*/ 2046080 w 8079933"/>
              <a:gd name="connsiteY32763" fmla="*/ 2854662 h 4687251"/>
              <a:gd name="connsiteX32764" fmla="*/ 2043585 w 8079933"/>
              <a:gd name="connsiteY32764" fmla="*/ 2855419 h 4687251"/>
              <a:gd name="connsiteX32765" fmla="*/ 2039352 w 8079933"/>
              <a:gd name="connsiteY32765" fmla="*/ 2854770 h 4687251"/>
              <a:gd name="connsiteX32766" fmla="*/ 2036097 w 8079933"/>
              <a:gd name="connsiteY32766" fmla="*/ 2858127 h 4687251"/>
              <a:gd name="connsiteX32767" fmla="*/ 2033167 w 8079933"/>
              <a:gd name="connsiteY32767" fmla="*/ 2862565 h 4687251"/>
              <a:gd name="connsiteX32768" fmla="*/ 2026439 w 8079933"/>
              <a:gd name="connsiteY32768" fmla="*/ 2861591 h 4687251"/>
              <a:gd name="connsiteX32769" fmla="*/ 2024920 w 8079933"/>
              <a:gd name="connsiteY32769" fmla="*/ 2858884 h 4687251"/>
              <a:gd name="connsiteX32770" fmla="*/ 2025788 w 8079933"/>
              <a:gd name="connsiteY32770" fmla="*/ 2855419 h 4687251"/>
              <a:gd name="connsiteX32771" fmla="*/ 2024595 w 8079933"/>
              <a:gd name="connsiteY32771" fmla="*/ 2850656 h 4687251"/>
              <a:gd name="connsiteX32772" fmla="*/ 2025463 w 8079933"/>
              <a:gd name="connsiteY32772" fmla="*/ 2848057 h 4687251"/>
              <a:gd name="connsiteX32773" fmla="*/ 2023943 w 8079933"/>
              <a:gd name="connsiteY32773" fmla="*/ 2846000 h 4687251"/>
              <a:gd name="connsiteX32774" fmla="*/ 2020796 w 8079933"/>
              <a:gd name="connsiteY32774" fmla="*/ 2845458 h 4687251"/>
              <a:gd name="connsiteX32775" fmla="*/ 2019169 w 8079933"/>
              <a:gd name="connsiteY32775" fmla="*/ 2848057 h 4687251"/>
              <a:gd name="connsiteX32776" fmla="*/ 2020796 w 8079933"/>
              <a:gd name="connsiteY32776" fmla="*/ 2849789 h 4687251"/>
              <a:gd name="connsiteX32777" fmla="*/ 2019385 w 8079933"/>
              <a:gd name="connsiteY32777" fmla="*/ 2852713 h 4687251"/>
              <a:gd name="connsiteX32778" fmla="*/ 2015371 w 8079933"/>
              <a:gd name="connsiteY32778" fmla="*/ 2852821 h 4687251"/>
              <a:gd name="connsiteX32779" fmla="*/ 2011572 w 8079933"/>
              <a:gd name="connsiteY32779" fmla="*/ 2850656 h 4687251"/>
              <a:gd name="connsiteX32780" fmla="*/ 2008534 w 8079933"/>
              <a:gd name="connsiteY32780" fmla="*/ 2844484 h 4687251"/>
              <a:gd name="connsiteX32781" fmla="*/ 2007449 w 8079933"/>
              <a:gd name="connsiteY32781" fmla="*/ 2838313 h 4687251"/>
              <a:gd name="connsiteX32782" fmla="*/ 1998767 w 8079933"/>
              <a:gd name="connsiteY32782" fmla="*/ 2837122 h 4687251"/>
              <a:gd name="connsiteX32783" fmla="*/ 1996054 w 8079933"/>
              <a:gd name="connsiteY32783" fmla="*/ 2836364 h 4687251"/>
              <a:gd name="connsiteX32784" fmla="*/ 1996380 w 8079933"/>
              <a:gd name="connsiteY32784" fmla="*/ 2834632 h 4687251"/>
              <a:gd name="connsiteX32785" fmla="*/ 1994209 w 8079933"/>
              <a:gd name="connsiteY32785" fmla="*/ 2832466 h 4687251"/>
              <a:gd name="connsiteX32786" fmla="*/ 1992039 w 8079933"/>
              <a:gd name="connsiteY32786" fmla="*/ 2834091 h 4687251"/>
              <a:gd name="connsiteX32787" fmla="*/ 1987590 w 8079933"/>
              <a:gd name="connsiteY32787" fmla="*/ 2834848 h 4687251"/>
              <a:gd name="connsiteX32788" fmla="*/ 1983575 w 8079933"/>
              <a:gd name="connsiteY32788" fmla="*/ 2834199 h 4687251"/>
              <a:gd name="connsiteX32789" fmla="*/ 1980211 w 8079933"/>
              <a:gd name="connsiteY32789" fmla="*/ 2834523 h 4687251"/>
              <a:gd name="connsiteX32790" fmla="*/ 1980210 w 8079933"/>
              <a:gd name="connsiteY32790" fmla="*/ 2834522 h 4687251"/>
              <a:gd name="connsiteX32791" fmla="*/ 1979452 w 8079933"/>
              <a:gd name="connsiteY32791" fmla="*/ 2834522 h 4687251"/>
              <a:gd name="connsiteX32792" fmla="*/ 1979777 w 8079933"/>
              <a:gd name="connsiteY32792" fmla="*/ 2837337 h 4687251"/>
              <a:gd name="connsiteX32793" fmla="*/ 1979018 w 8079933"/>
              <a:gd name="connsiteY32793" fmla="*/ 2839611 h 4687251"/>
              <a:gd name="connsiteX32794" fmla="*/ 1975979 w 8079933"/>
              <a:gd name="connsiteY32794" fmla="*/ 2839503 h 4687251"/>
              <a:gd name="connsiteX32795" fmla="*/ 1974243 w 8079933"/>
              <a:gd name="connsiteY32795" fmla="*/ 2837554 h 4687251"/>
              <a:gd name="connsiteX32796" fmla="*/ 1972941 w 8079933"/>
              <a:gd name="connsiteY32796" fmla="*/ 2836796 h 4687251"/>
              <a:gd name="connsiteX32797" fmla="*/ 1971313 w 8079933"/>
              <a:gd name="connsiteY32797" fmla="*/ 2835930 h 4687251"/>
              <a:gd name="connsiteX32798" fmla="*/ 1971530 w 8079933"/>
              <a:gd name="connsiteY32798" fmla="*/ 2831599 h 4687251"/>
              <a:gd name="connsiteX32799" fmla="*/ 1967407 w 8079933"/>
              <a:gd name="connsiteY32799" fmla="*/ 2826619 h 4687251"/>
              <a:gd name="connsiteX32800" fmla="*/ 1964802 w 8079933"/>
              <a:gd name="connsiteY32800" fmla="*/ 2824670 h 4687251"/>
              <a:gd name="connsiteX32801" fmla="*/ 1963066 w 8079933"/>
              <a:gd name="connsiteY32801" fmla="*/ 2825969 h 4687251"/>
              <a:gd name="connsiteX32802" fmla="*/ 1963066 w 8079933"/>
              <a:gd name="connsiteY32802" fmla="*/ 2826727 h 4687251"/>
              <a:gd name="connsiteX32803" fmla="*/ 1967190 w 8079933"/>
              <a:gd name="connsiteY32803" fmla="*/ 2828784 h 4687251"/>
              <a:gd name="connsiteX32804" fmla="*/ 1969468 w 8079933"/>
              <a:gd name="connsiteY32804" fmla="*/ 2831708 h 4687251"/>
              <a:gd name="connsiteX32805" fmla="*/ 1968926 w 8079933"/>
              <a:gd name="connsiteY32805" fmla="*/ 2835714 h 4687251"/>
              <a:gd name="connsiteX32806" fmla="*/ 1967081 w 8079933"/>
              <a:gd name="connsiteY32806" fmla="*/ 2836796 h 4687251"/>
              <a:gd name="connsiteX32807" fmla="*/ 1963283 w 8079933"/>
              <a:gd name="connsiteY32807" fmla="*/ 2834414 h 4687251"/>
              <a:gd name="connsiteX32808" fmla="*/ 1957532 w 8079933"/>
              <a:gd name="connsiteY32808" fmla="*/ 2832249 h 4687251"/>
              <a:gd name="connsiteX32809" fmla="*/ 1955470 w 8079933"/>
              <a:gd name="connsiteY32809" fmla="*/ 2829000 h 4687251"/>
              <a:gd name="connsiteX32810" fmla="*/ 1955470 w 8079933"/>
              <a:gd name="connsiteY32810" fmla="*/ 2825753 h 4687251"/>
              <a:gd name="connsiteX32811" fmla="*/ 1958617 w 8079933"/>
              <a:gd name="connsiteY32811" fmla="*/ 2821855 h 4687251"/>
              <a:gd name="connsiteX32812" fmla="*/ 1957749 w 8079933"/>
              <a:gd name="connsiteY32812" fmla="*/ 2819581 h 4687251"/>
              <a:gd name="connsiteX32813" fmla="*/ 1952539 w 8079933"/>
              <a:gd name="connsiteY32813" fmla="*/ 2813518 h 4687251"/>
              <a:gd name="connsiteX32814" fmla="*/ 1949501 w 8079933"/>
              <a:gd name="connsiteY32814" fmla="*/ 2811678 h 4687251"/>
              <a:gd name="connsiteX32815" fmla="*/ 1945378 w 8079933"/>
              <a:gd name="connsiteY32815" fmla="*/ 2807888 h 4687251"/>
              <a:gd name="connsiteX32816" fmla="*/ 1939844 w 8079933"/>
              <a:gd name="connsiteY32816" fmla="*/ 2804748 h 4687251"/>
              <a:gd name="connsiteX32817" fmla="*/ 1938324 w 8079933"/>
              <a:gd name="connsiteY32817" fmla="*/ 2799984 h 4687251"/>
              <a:gd name="connsiteX32818" fmla="*/ 1933658 w 8079933"/>
              <a:gd name="connsiteY32818" fmla="*/ 2796736 h 4687251"/>
              <a:gd name="connsiteX32819" fmla="*/ 1933333 w 8079933"/>
              <a:gd name="connsiteY32819" fmla="*/ 2792730 h 4687251"/>
              <a:gd name="connsiteX32820" fmla="*/ 1928775 w 8079933"/>
              <a:gd name="connsiteY32820" fmla="*/ 2790457 h 4687251"/>
              <a:gd name="connsiteX32821" fmla="*/ 1924651 w 8079933"/>
              <a:gd name="connsiteY32821" fmla="*/ 2787209 h 4687251"/>
              <a:gd name="connsiteX32822" fmla="*/ 1922589 w 8079933"/>
              <a:gd name="connsiteY32822" fmla="*/ 2788941 h 4687251"/>
              <a:gd name="connsiteX32823" fmla="*/ 1924108 w 8079933"/>
              <a:gd name="connsiteY32823" fmla="*/ 2791539 h 4687251"/>
              <a:gd name="connsiteX32824" fmla="*/ 1930511 w 8079933"/>
              <a:gd name="connsiteY32824" fmla="*/ 2796195 h 4687251"/>
              <a:gd name="connsiteX32825" fmla="*/ 1931704 w 8079933"/>
              <a:gd name="connsiteY32825" fmla="*/ 2800309 h 4687251"/>
              <a:gd name="connsiteX32826" fmla="*/ 1928991 w 8079933"/>
              <a:gd name="connsiteY32826" fmla="*/ 2805073 h 4687251"/>
              <a:gd name="connsiteX32827" fmla="*/ 1926713 w 8079933"/>
              <a:gd name="connsiteY32827" fmla="*/ 2805073 h 4687251"/>
              <a:gd name="connsiteX32828" fmla="*/ 1924434 w 8079933"/>
              <a:gd name="connsiteY32828" fmla="*/ 2801176 h 4687251"/>
              <a:gd name="connsiteX32829" fmla="*/ 1920744 w 8079933"/>
              <a:gd name="connsiteY32829" fmla="*/ 2798793 h 4687251"/>
              <a:gd name="connsiteX32830" fmla="*/ 1914342 w 8079933"/>
              <a:gd name="connsiteY32830" fmla="*/ 2798577 h 4687251"/>
              <a:gd name="connsiteX32831" fmla="*/ 1907940 w 8079933"/>
              <a:gd name="connsiteY32831" fmla="*/ 2793055 h 4687251"/>
              <a:gd name="connsiteX32832" fmla="*/ 1906963 w 8079933"/>
              <a:gd name="connsiteY32832" fmla="*/ 2788399 h 4687251"/>
              <a:gd name="connsiteX32833" fmla="*/ 1909133 w 8079933"/>
              <a:gd name="connsiteY32833" fmla="*/ 2782986 h 4687251"/>
              <a:gd name="connsiteX32834" fmla="*/ 1913257 w 8079933"/>
              <a:gd name="connsiteY32834" fmla="*/ 2780495 h 4687251"/>
              <a:gd name="connsiteX32835" fmla="*/ 1912280 w 8079933"/>
              <a:gd name="connsiteY32835" fmla="*/ 2775732 h 4687251"/>
              <a:gd name="connsiteX32836" fmla="*/ 1908590 w 8079933"/>
              <a:gd name="connsiteY32836" fmla="*/ 2774866 h 4687251"/>
              <a:gd name="connsiteX32837" fmla="*/ 1907288 w 8079933"/>
              <a:gd name="connsiteY32837" fmla="*/ 2773675 h 4687251"/>
              <a:gd name="connsiteX32838" fmla="*/ 1908808 w 8079933"/>
              <a:gd name="connsiteY32838" fmla="*/ 2772267 h 4687251"/>
              <a:gd name="connsiteX32839" fmla="*/ 1910218 w 8079933"/>
              <a:gd name="connsiteY32839" fmla="*/ 2766962 h 4687251"/>
              <a:gd name="connsiteX32840" fmla="*/ 1909676 w 8079933"/>
              <a:gd name="connsiteY32840" fmla="*/ 2766637 h 4687251"/>
              <a:gd name="connsiteX32841" fmla="*/ 1911303 w 8079933"/>
              <a:gd name="connsiteY32841" fmla="*/ 2765879 h 4687251"/>
              <a:gd name="connsiteX32842" fmla="*/ 1911303 w 8079933"/>
              <a:gd name="connsiteY32842" fmla="*/ 2764581 h 4687251"/>
              <a:gd name="connsiteX32843" fmla="*/ 1911303 w 8079933"/>
              <a:gd name="connsiteY32843" fmla="*/ 2764581 h 4687251"/>
              <a:gd name="connsiteX32844" fmla="*/ 1910543 w 8079933"/>
              <a:gd name="connsiteY32844" fmla="*/ 2763715 h 4687251"/>
              <a:gd name="connsiteX32845" fmla="*/ 1908915 w 8079933"/>
              <a:gd name="connsiteY32845" fmla="*/ 2764364 h 4687251"/>
              <a:gd name="connsiteX32846" fmla="*/ 1907179 w 8079933"/>
              <a:gd name="connsiteY32846" fmla="*/ 2763174 h 4687251"/>
              <a:gd name="connsiteX32847" fmla="*/ 1904249 w 8079933"/>
              <a:gd name="connsiteY32847" fmla="*/ 2763174 h 4687251"/>
              <a:gd name="connsiteX32848" fmla="*/ 1893398 w 8079933"/>
              <a:gd name="connsiteY32848" fmla="*/ 2751155 h 4687251"/>
              <a:gd name="connsiteX32849" fmla="*/ 1887321 w 8079933"/>
              <a:gd name="connsiteY32849" fmla="*/ 2742927 h 4687251"/>
              <a:gd name="connsiteX32850" fmla="*/ 1880484 w 8079933"/>
              <a:gd name="connsiteY32850" fmla="*/ 2736756 h 4687251"/>
              <a:gd name="connsiteX32851" fmla="*/ 1880484 w 8079933"/>
              <a:gd name="connsiteY32851" fmla="*/ 2733832 h 4687251"/>
              <a:gd name="connsiteX32852" fmla="*/ 1876361 w 8079933"/>
              <a:gd name="connsiteY32852" fmla="*/ 2731125 h 4687251"/>
              <a:gd name="connsiteX32853" fmla="*/ 1867788 w 8079933"/>
              <a:gd name="connsiteY32853" fmla="*/ 2720298 h 4687251"/>
              <a:gd name="connsiteX32854" fmla="*/ 1868656 w 8079933"/>
              <a:gd name="connsiteY32854" fmla="*/ 2718783 h 4687251"/>
              <a:gd name="connsiteX32855" fmla="*/ 1872996 w 8079933"/>
              <a:gd name="connsiteY32855" fmla="*/ 2720298 h 4687251"/>
              <a:gd name="connsiteX32856" fmla="*/ 1874841 w 8079933"/>
              <a:gd name="connsiteY32856" fmla="*/ 2720298 h 4687251"/>
              <a:gd name="connsiteX32857" fmla="*/ 1874841 w 8079933"/>
              <a:gd name="connsiteY32857" fmla="*/ 2717700 h 4687251"/>
              <a:gd name="connsiteX32858" fmla="*/ 1874918 w 8079933"/>
              <a:gd name="connsiteY32858" fmla="*/ 2717687 h 4687251"/>
              <a:gd name="connsiteX32859" fmla="*/ 1874516 w 8079933"/>
              <a:gd name="connsiteY32859" fmla="*/ 2716725 h 4687251"/>
              <a:gd name="connsiteX32860" fmla="*/ 1874516 w 8079933"/>
              <a:gd name="connsiteY32860" fmla="*/ 2713802 h 4687251"/>
              <a:gd name="connsiteX32861" fmla="*/ 1872671 w 8079933"/>
              <a:gd name="connsiteY32861" fmla="*/ 2712828 h 4687251"/>
              <a:gd name="connsiteX32862" fmla="*/ 1871586 w 8079933"/>
              <a:gd name="connsiteY32862" fmla="*/ 2714343 h 4687251"/>
              <a:gd name="connsiteX32863" fmla="*/ 1869524 w 8079933"/>
              <a:gd name="connsiteY32863" fmla="*/ 2714560 h 4687251"/>
              <a:gd name="connsiteX32864" fmla="*/ 1868330 w 8079933"/>
              <a:gd name="connsiteY32864" fmla="*/ 2712828 h 4687251"/>
              <a:gd name="connsiteX32865" fmla="*/ 1865726 w 8079933"/>
              <a:gd name="connsiteY32865" fmla="*/ 2711420 h 4687251"/>
              <a:gd name="connsiteX32866" fmla="*/ 1865618 w 8079933"/>
              <a:gd name="connsiteY32866" fmla="*/ 2711636 h 4687251"/>
              <a:gd name="connsiteX32867" fmla="*/ 1865618 w 8079933"/>
              <a:gd name="connsiteY32867" fmla="*/ 2711636 h 4687251"/>
              <a:gd name="connsiteX32868" fmla="*/ 1865617 w 8079933"/>
              <a:gd name="connsiteY32868" fmla="*/ 2711636 h 4687251"/>
              <a:gd name="connsiteX32869" fmla="*/ 1865617 w 8079933"/>
              <a:gd name="connsiteY32869" fmla="*/ 2711637 h 4687251"/>
              <a:gd name="connsiteX32870" fmla="*/ 1864207 w 8079933"/>
              <a:gd name="connsiteY32870" fmla="*/ 2712936 h 4687251"/>
              <a:gd name="connsiteX32871" fmla="*/ 1865401 w 8079933"/>
              <a:gd name="connsiteY32871" fmla="*/ 2715209 h 4687251"/>
              <a:gd name="connsiteX32872" fmla="*/ 1862254 w 8079933"/>
              <a:gd name="connsiteY32872" fmla="*/ 2719540 h 4687251"/>
              <a:gd name="connsiteX32873" fmla="*/ 1851402 w 8079933"/>
              <a:gd name="connsiteY32873" fmla="*/ 2719323 h 4687251"/>
              <a:gd name="connsiteX32874" fmla="*/ 1848906 w 8079933"/>
              <a:gd name="connsiteY32874" fmla="*/ 2717158 h 4687251"/>
              <a:gd name="connsiteX32875" fmla="*/ 1845217 w 8079933"/>
              <a:gd name="connsiteY32875" fmla="*/ 2712286 h 4687251"/>
              <a:gd name="connsiteX32876" fmla="*/ 1840876 w 8079933"/>
              <a:gd name="connsiteY32876" fmla="*/ 2712070 h 4687251"/>
              <a:gd name="connsiteX32877" fmla="*/ 1839248 w 8079933"/>
              <a:gd name="connsiteY32877" fmla="*/ 2713152 h 4687251"/>
              <a:gd name="connsiteX32878" fmla="*/ 1842613 w 8079933"/>
              <a:gd name="connsiteY32878" fmla="*/ 2715101 h 4687251"/>
              <a:gd name="connsiteX32879" fmla="*/ 1841636 w 8079933"/>
              <a:gd name="connsiteY32879" fmla="*/ 2717158 h 4687251"/>
              <a:gd name="connsiteX32880" fmla="*/ 1834040 w 8079933"/>
              <a:gd name="connsiteY32880" fmla="*/ 2712936 h 4687251"/>
              <a:gd name="connsiteX32881" fmla="*/ 1825901 w 8079933"/>
              <a:gd name="connsiteY32881" fmla="*/ 2709363 h 4687251"/>
              <a:gd name="connsiteX32882" fmla="*/ 1823948 w 8079933"/>
              <a:gd name="connsiteY32882" fmla="*/ 2709471 h 4687251"/>
              <a:gd name="connsiteX32883" fmla="*/ 1823188 w 8079933"/>
              <a:gd name="connsiteY32883" fmla="*/ 2709579 h 4687251"/>
              <a:gd name="connsiteX32884" fmla="*/ 1817653 w 8079933"/>
              <a:gd name="connsiteY32884" fmla="*/ 2708389 h 4687251"/>
              <a:gd name="connsiteX32885" fmla="*/ 1813855 w 8079933"/>
              <a:gd name="connsiteY32885" fmla="*/ 2704707 h 4687251"/>
              <a:gd name="connsiteX32886" fmla="*/ 1809189 w 8079933"/>
              <a:gd name="connsiteY32886" fmla="*/ 2704707 h 4687251"/>
              <a:gd name="connsiteX32887" fmla="*/ 1807019 w 8079933"/>
              <a:gd name="connsiteY32887" fmla="*/ 2703950 h 4687251"/>
              <a:gd name="connsiteX32888" fmla="*/ 1808755 w 8079933"/>
              <a:gd name="connsiteY32888" fmla="*/ 2701242 h 4687251"/>
              <a:gd name="connsiteX32889" fmla="*/ 1807019 w 8079933"/>
              <a:gd name="connsiteY32889" fmla="*/ 2703949 h 4687251"/>
              <a:gd name="connsiteX32890" fmla="*/ 1797903 w 8079933"/>
              <a:gd name="connsiteY32890" fmla="*/ 2700808 h 4687251"/>
              <a:gd name="connsiteX32891" fmla="*/ 1792152 w 8079933"/>
              <a:gd name="connsiteY32891" fmla="*/ 2701458 h 4687251"/>
              <a:gd name="connsiteX32892" fmla="*/ 1784773 w 8079933"/>
              <a:gd name="connsiteY32892" fmla="*/ 2701350 h 4687251"/>
              <a:gd name="connsiteX32893" fmla="*/ 1772185 w 8079933"/>
              <a:gd name="connsiteY32893" fmla="*/ 2696478 h 4687251"/>
              <a:gd name="connsiteX32894" fmla="*/ 1768929 w 8079933"/>
              <a:gd name="connsiteY32894" fmla="*/ 2692580 h 4687251"/>
              <a:gd name="connsiteX32895" fmla="*/ 1765240 w 8079933"/>
              <a:gd name="connsiteY32895" fmla="*/ 2692147 h 4687251"/>
              <a:gd name="connsiteX32896" fmla="*/ 1762418 w 8079933"/>
              <a:gd name="connsiteY32896" fmla="*/ 2687383 h 4687251"/>
              <a:gd name="connsiteX32897" fmla="*/ 1758513 w 8079933"/>
              <a:gd name="connsiteY32897" fmla="*/ 2682620 h 4687251"/>
              <a:gd name="connsiteX32898" fmla="*/ 1758512 w 8079933"/>
              <a:gd name="connsiteY32898" fmla="*/ 2682621 h 4687251"/>
              <a:gd name="connsiteX32899" fmla="*/ 1754822 w 8079933"/>
              <a:gd name="connsiteY32899" fmla="*/ 2678073 h 4687251"/>
              <a:gd name="connsiteX32900" fmla="*/ 1748094 w 8079933"/>
              <a:gd name="connsiteY32900" fmla="*/ 2672876 h 4687251"/>
              <a:gd name="connsiteX32901" fmla="*/ 1747334 w 8079933"/>
              <a:gd name="connsiteY32901" fmla="*/ 2670169 h 4687251"/>
              <a:gd name="connsiteX32902" fmla="*/ 1742234 w 8079933"/>
              <a:gd name="connsiteY32902" fmla="*/ 2668654 h 4687251"/>
              <a:gd name="connsiteX32903" fmla="*/ 1725631 w 8079933"/>
              <a:gd name="connsiteY32903" fmla="*/ 2654903 h 4687251"/>
              <a:gd name="connsiteX32904" fmla="*/ 1723569 w 8079933"/>
              <a:gd name="connsiteY32904" fmla="*/ 2652088 h 4687251"/>
              <a:gd name="connsiteX32905" fmla="*/ 1723569 w 8079933"/>
              <a:gd name="connsiteY32905" fmla="*/ 2650030 h 4687251"/>
              <a:gd name="connsiteX32906" fmla="*/ 1719445 w 8079933"/>
              <a:gd name="connsiteY32906" fmla="*/ 2644834 h 4687251"/>
              <a:gd name="connsiteX32907" fmla="*/ 1715322 w 8079933"/>
              <a:gd name="connsiteY32907" fmla="*/ 2641261 h 4687251"/>
              <a:gd name="connsiteX32908" fmla="*/ 1710656 w 8079933"/>
              <a:gd name="connsiteY32908" fmla="*/ 2640395 h 4687251"/>
              <a:gd name="connsiteX32909" fmla="*/ 1709787 w 8079933"/>
              <a:gd name="connsiteY32909" fmla="*/ 2639528 h 4687251"/>
              <a:gd name="connsiteX32910" fmla="*/ 1708051 w 8079933"/>
              <a:gd name="connsiteY32910" fmla="*/ 2639745 h 4687251"/>
              <a:gd name="connsiteX32911" fmla="*/ 1708485 w 8079933"/>
              <a:gd name="connsiteY32911" fmla="*/ 2641152 h 4687251"/>
              <a:gd name="connsiteX32912" fmla="*/ 1716190 w 8079933"/>
              <a:gd name="connsiteY32912" fmla="*/ 2644509 h 4687251"/>
              <a:gd name="connsiteX32913" fmla="*/ 1721724 w 8079933"/>
              <a:gd name="connsiteY32913" fmla="*/ 2650030 h 4687251"/>
              <a:gd name="connsiteX32914" fmla="*/ 1721724 w 8079933"/>
              <a:gd name="connsiteY32914" fmla="*/ 2651438 h 4687251"/>
              <a:gd name="connsiteX32915" fmla="*/ 1718360 w 8079933"/>
              <a:gd name="connsiteY32915" fmla="*/ 2648515 h 4687251"/>
              <a:gd name="connsiteX32916" fmla="*/ 1711198 w 8079933"/>
              <a:gd name="connsiteY32916" fmla="*/ 2643859 h 4687251"/>
              <a:gd name="connsiteX32917" fmla="*/ 1706858 w 8079933"/>
              <a:gd name="connsiteY32917" fmla="*/ 2642344 h 4687251"/>
              <a:gd name="connsiteX32918" fmla="*/ 1703385 w 8079933"/>
              <a:gd name="connsiteY32918" fmla="*/ 2642452 h 4687251"/>
              <a:gd name="connsiteX32919" fmla="*/ 1701757 w 8079933"/>
              <a:gd name="connsiteY32919" fmla="*/ 2641694 h 4687251"/>
              <a:gd name="connsiteX32920" fmla="*/ 1702733 w 8079933"/>
              <a:gd name="connsiteY32920" fmla="*/ 2640611 h 4687251"/>
              <a:gd name="connsiteX32921" fmla="*/ 1705121 w 8079933"/>
              <a:gd name="connsiteY32921" fmla="*/ 2640395 h 4687251"/>
              <a:gd name="connsiteX32922" fmla="*/ 1705121 w 8079933"/>
              <a:gd name="connsiteY32922" fmla="*/ 2638446 h 4687251"/>
              <a:gd name="connsiteX32923" fmla="*/ 1702083 w 8079933"/>
              <a:gd name="connsiteY32923" fmla="*/ 2638446 h 4687251"/>
              <a:gd name="connsiteX32924" fmla="*/ 1699153 w 8079933"/>
              <a:gd name="connsiteY32924" fmla="*/ 2639962 h 4687251"/>
              <a:gd name="connsiteX32925" fmla="*/ 1699153 w 8079933"/>
              <a:gd name="connsiteY32925" fmla="*/ 2637363 h 4687251"/>
              <a:gd name="connsiteX32926" fmla="*/ 1697417 w 8079933"/>
              <a:gd name="connsiteY32926" fmla="*/ 2636497 h 4687251"/>
              <a:gd name="connsiteX32927" fmla="*/ 1692099 w 8079933"/>
              <a:gd name="connsiteY32927" fmla="*/ 2639528 h 4687251"/>
              <a:gd name="connsiteX32928" fmla="*/ 1691882 w 8079933"/>
              <a:gd name="connsiteY32928" fmla="*/ 2641802 h 4687251"/>
              <a:gd name="connsiteX32929" fmla="*/ 1695897 w 8079933"/>
              <a:gd name="connsiteY32929" fmla="*/ 2641802 h 4687251"/>
              <a:gd name="connsiteX32930" fmla="*/ 1700563 w 8079933"/>
              <a:gd name="connsiteY32930" fmla="*/ 2642452 h 4687251"/>
              <a:gd name="connsiteX32931" fmla="*/ 1700563 w 8079933"/>
              <a:gd name="connsiteY32931" fmla="*/ 2643859 h 4687251"/>
              <a:gd name="connsiteX32932" fmla="*/ 1698067 w 8079933"/>
              <a:gd name="connsiteY32932" fmla="*/ 2643534 h 4687251"/>
              <a:gd name="connsiteX32933" fmla="*/ 1692099 w 8079933"/>
              <a:gd name="connsiteY32933" fmla="*/ 2644076 h 4687251"/>
              <a:gd name="connsiteX32934" fmla="*/ 1687216 w 8079933"/>
              <a:gd name="connsiteY32934" fmla="*/ 2644834 h 4687251"/>
              <a:gd name="connsiteX32935" fmla="*/ 1680705 w 8079933"/>
              <a:gd name="connsiteY32935" fmla="*/ 2649165 h 4687251"/>
              <a:gd name="connsiteX32936" fmla="*/ 1675496 w 8079933"/>
              <a:gd name="connsiteY32936" fmla="*/ 2649597 h 4687251"/>
              <a:gd name="connsiteX32937" fmla="*/ 1663342 w 8079933"/>
              <a:gd name="connsiteY32937" fmla="*/ 2654687 h 4687251"/>
              <a:gd name="connsiteX32938" fmla="*/ 1658459 w 8079933"/>
              <a:gd name="connsiteY32938" fmla="*/ 2655011 h 4687251"/>
              <a:gd name="connsiteX32939" fmla="*/ 1646631 w 8079933"/>
              <a:gd name="connsiteY32939" fmla="*/ 2650789 h 4687251"/>
              <a:gd name="connsiteX32940" fmla="*/ 1640228 w 8079933"/>
              <a:gd name="connsiteY32940" fmla="*/ 2647324 h 4687251"/>
              <a:gd name="connsiteX32941" fmla="*/ 1631873 w 8079933"/>
              <a:gd name="connsiteY32941" fmla="*/ 2647324 h 4687251"/>
              <a:gd name="connsiteX32942" fmla="*/ 1623191 w 8079933"/>
              <a:gd name="connsiteY32942" fmla="*/ 2643859 h 4687251"/>
              <a:gd name="connsiteX32943" fmla="*/ 1618634 w 8079933"/>
              <a:gd name="connsiteY32943" fmla="*/ 2641152 h 4687251"/>
              <a:gd name="connsiteX32944" fmla="*/ 1616789 w 8079933"/>
              <a:gd name="connsiteY32944" fmla="*/ 2641694 h 4687251"/>
              <a:gd name="connsiteX32945" fmla="*/ 1612774 w 8079933"/>
              <a:gd name="connsiteY32945" fmla="*/ 2641261 h 4687251"/>
              <a:gd name="connsiteX32946" fmla="*/ 1606805 w 8079933"/>
              <a:gd name="connsiteY32946" fmla="*/ 2638554 h 4687251"/>
              <a:gd name="connsiteX32947" fmla="*/ 1603550 w 8079933"/>
              <a:gd name="connsiteY32947" fmla="*/ 2633249 h 4687251"/>
              <a:gd name="connsiteX32948" fmla="*/ 1602139 w 8079933"/>
              <a:gd name="connsiteY32948" fmla="*/ 2632166 h 4687251"/>
              <a:gd name="connsiteX32949" fmla="*/ 1598666 w 8079933"/>
              <a:gd name="connsiteY32949" fmla="*/ 2633573 h 4687251"/>
              <a:gd name="connsiteX32950" fmla="*/ 1592481 w 8079933"/>
              <a:gd name="connsiteY32950" fmla="*/ 2630650 h 4687251"/>
              <a:gd name="connsiteX32951" fmla="*/ 1585753 w 8079933"/>
              <a:gd name="connsiteY32951" fmla="*/ 2630109 h 4687251"/>
              <a:gd name="connsiteX32952" fmla="*/ 1582823 w 8079933"/>
              <a:gd name="connsiteY32952" fmla="*/ 2625345 h 4687251"/>
              <a:gd name="connsiteX32953" fmla="*/ 1577180 w 8079933"/>
              <a:gd name="connsiteY32953" fmla="*/ 2622422 h 4687251"/>
              <a:gd name="connsiteX32954" fmla="*/ 1565243 w 8079933"/>
              <a:gd name="connsiteY32954" fmla="*/ 2620689 h 4687251"/>
              <a:gd name="connsiteX32955" fmla="*/ 1554934 w 8079933"/>
              <a:gd name="connsiteY32955" fmla="*/ 2616575 h 4687251"/>
              <a:gd name="connsiteX32956" fmla="*/ 1547989 w 8079933"/>
              <a:gd name="connsiteY32956" fmla="*/ 2609538 h 4687251"/>
              <a:gd name="connsiteX32957" fmla="*/ 1544950 w 8079933"/>
              <a:gd name="connsiteY32957" fmla="*/ 2608996 h 4687251"/>
              <a:gd name="connsiteX32958" fmla="*/ 1533231 w 8079933"/>
              <a:gd name="connsiteY32958" fmla="*/ 2597628 h 4687251"/>
              <a:gd name="connsiteX32959" fmla="*/ 1531061 w 8079933"/>
              <a:gd name="connsiteY32959" fmla="*/ 2594813 h 4687251"/>
              <a:gd name="connsiteX32960" fmla="*/ 1528456 w 8079933"/>
              <a:gd name="connsiteY32960" fmla="*/ 2595029 h 4687251"/>
              <a:gd name="connsiteX32961" fmla="*/ 1527154 w 8079933"/>
              <a:gd name="connsiteY32961" fmla="*/ 2596870 h 4687251"/>
              <a:gd name="connsiteX32962" fmla="*/ 1523573 w 8079933"/>
              <a:gd name="connsiteY32962" fmla="*/ 2596653 h 4687251"/>
              <a:gd name="connsiteX32963" fmla="*/ 1514349 w 8079933"/>
              <a:gd name="connsiteY32963" fmla="*/ 2593080 h 4687251"/>
              <a:gd name="connsiteX32964" fmla="*/ 1511311 w 8079933"/>
              <a:gd name="connsiteY32964" fmla="*/ 2592755 h 4687251"/>
              <a:gd name="connsiteX32965" fmla="*/ 1506536 w 8079933"/>
              <a:gd name="connsiteY32965" fmla="*/ 2590806 h 4687251"/>
              <a:gd name="connsiteX32966" fmla="*/ 1504582 w 8079933"/>
              <a:gd name="connsiteY32966" fmla="*/ 2591457 h 4687251"/>
              <a:gd name="connsiteX32967" fmla="*/ 1499807 w 8079933"/>
              <a:gd name="connsiteY32967" fmla="*/ 2589724 h 4687251"/>
              <a:gd name="connsiteX32968" fmla="*/ 1496335 w 8079933"/>
              <a:gd name="connsiteY32968" fmla="*/ 2584419 h 4687251"/>
              <a:gd name="connsiteX32969" fmla="*/ 1492211 w 8079933"/>
              <a:gd name="connsiteY32969" fmla="*/ 2577814 h 4687251"/>
              <a:gd name="connsiteX32970" fmla="*/ 1486135 w 8079933"/>
              <a:gd name="connsiteY32970" fmla="*/ 2572184 h 4687251"/>
              <a:gd name="connsiteX32971" fmla="*/ 1480275 w 8079933"/>
              <a:gd name="connsiteY32971" fmla="*/ 2570127 h 4687251"/>
              <a:gd name="connsiteX32972" fmla="*/ 1480275 w 8079933"/>
              <a:gd name="connsiteY32972" fmla="*/ 2568070 h 4687251"/>
              <a:gd name="connsiteX32973" fmla="*/ 1482554 w 8079933"/>
              <a:gd name="connsiteY32973" fmla="*/ 2565147 h 4687251"/>
              <a:gd name="connsiteX32974" fmla="*/ 1479624 w 8079933"/>
              <a:gd name="connsiteY32974" fmla="*/ 2564605 h 4687251"/>
              <a:gd name="connsiteX32975" fmla="*/ 1474414 w 8079933"/>
              <a:gd name="connsiteY32975" fmla="*/ 2565688 h 4687251"/>
              <a:gd name="connsiteX32976" fmla="*/ 1466927 w 8079933"/>
              <a:gd name="connsiteY32976" fmla="*/ 2563739 h 4687251"/>
              <a:gd name="connsiteX32977" fmla="*/ 1465517 w 8079933"/>
              <a:gd name="connsiteY32977" fmla="*/ 2561033 h 4687251"/>
              <a:gd name="connsiteX32978" fmla="*/ 1461935 w 8079933"/>
              <a:gd name="connsiteY32978" fmla="*/ 2561033 h 4687251"/>
              <a:gd name="connsiteX32979" fmla="*/ 1459657 w 8079933"/>
              <a:gd name="connsiteY32979" fmla="*/ 2559084 h 4687251"/>
              <a:gd name="connsiteX32980" fmla="*/ 1457921 w 8079933"/>
              <a:gd name="connsiteY32980" fmla="*/ 2553237 h 4687251"/>
              <a:gd name="connsiteX32981" fmla="*/ 1453471 w 8079933"/>
              <a:gd name="connsiteY32981" fmla="*/ 2547390 h 4687251"/>
              <a:gd name="connsiteX32982" fmla="*/ 1453471 w 8079933"/>
              <a:gd name="connsiteY32982" fmla="*/ 2544034 h 4687251"/>
              <a:gd name="connsiteX32983" fmla="*/ 1450324 w 8079933"/>
              <a:gd name="connsiteY32983" fmla="*/ 2540894 h 4687251"/>
              <a:gd name="connsiteX32984" fmla="*/ 1447069 w 8079933"/>
              <a:gd name="connsiteY32984" fmla="*/ 2532449 h 4687251"/>
              <a:gd name="connsiteX32985" fmla="*/ 1447069 w 8079933"/>
              <a:gd name="connsiteY32985" fmla="*/ 2530176 h 4687251"/>
              <a:gd name="connsiteX32986" fmla="*/ 1449998 w 8079933"/>
              <a:gd name="connsiteY32986" fmla="*/ 2528551 h 4687251"/>
              <a:gd name="connsiteX32987" fmla="*/ 1455533 w 8079933"/>
              <a:gd name="connsiteY32987" fmla="*/ 2528660 h 4687251"/>
              <a:gd name="connsiteX32988" fmla="*/ 1457594 w 8079933"/>
              <a:gd name="connsiteY32988" fmla="*/ 2526278 h 4687251"/>
              <a:gd name="connsiteX32989" fmla="*/ 1454773 w 8079933"/>
              <a:gd name="connsiteY32989" fmla="*/ 2523679 h 4687251"/>
              <a:gd name="connsiteX32990" fmla="*/ 1452386 w 8079933"/>
              <a:gd name="connsiteY32990" fmla="*/ 2523354 h 4687251"/>
              <a:gd name="connsiteX32991" fmla="*/ 1453146 w 8079933"/>
              <a:gd name="connsiteY32991" fmla="*/ 2520648 h 4687251"/>
              <a:gd name="connsiteX32992" fmla="*/ 1458571 w 8079933"/>
              <a:gd name="connsiteY32992" fmla="*/ 2515775 h 4687251"/>
              <a:gd name="connsiteX32993" fmla="*/ 1461175 w 8079933"/>
              <a:gd name="connsiteY32993" fmla="*/ 2511552 h 4687251"/>
              <a:gd name="connsiteX32994" fmla="*/ 1460850 w 8079933"/>
              <a:gd name="connsiteY32994" fmla="*/ 2506139 h 4687251"/>
              <a:gd name="connsiteX32995" fmla="*/ 1455641 w 8079933"/>
              <a:gd name="connsiteY32995" fmla="*/ 2493146 h 4687251"/>
              <a:gd name="connsiteX32996" fmla="*/ 1453146 w 8079933"/>
              <a:gd name="connsiteY32996" fmla="*/ 2486217 h 4687251"/>
              <a:gd name="connsiteX32997" fmla="*/ 1451409 w 8079933"/>
              <a:gd name="connsiteY32997" fmla="*/ 2482969 h 4687251"/>
              <a:gd name="connsiteX32998" fmla="*/ 1453146 w 8079933"/>
              <a:gd name="connsiteY32998" fmla="*/ 2478530 h 4687251"/>
              <a:gd name="connsiteX32999" fmla="*/ 1452278 w 8079933"/>
              <a:gd name="connsiteY32999" fmla="*/ 2473875 h 4687251"/>
              <a:gd name="connsiteX33000" fmla="*/ 1443487 w 8079933"/>
              <a:gd name="connsiteY33000" fmla="*/ 2462831 h 4687251"/>
              <a:gd name="connsiteX33001" fmla="*/ 1443270 w 8079933"/>
              <a:gd name="connsiteY33001" fmla="*/ 2458067 h 4687251"/>
              <a:gd name="connsiteX33002" fmla="*/ 1435566 w 8079933"/>
              <a:gd name="connsiteY33002" fmla="*/ 2450163 h 4687251"/>
              <a:gd name="connsiteX33003" fmla="*/ 1430140 w 8079933"/>
              <a:gd name="connsiteY33003" fmla="*/ 2440310 h 4687251"/>
              <a:gd name="connsiteX33004" fmla="*/ 1422978 w 8079933"/>
              <a:gd name="connsiteY33004" fmla="*/ 2430891 h 4687251"/>
              <a:gd name="connsiteX33005" fmla="*/ 1416576 w 8079933"/>
              <a:gd name="connsiteY33005" fmla="*/ 2425369 h 4687251"/>
              <a:gd name="connsiteX33006" fmla="*/ 1414296 w 8079933"/>
              <a:gd name="connsiteY33006" fmla="*/ 2423853 h 4687251"/>
              <a:gd name="connsiteX33007" fmla="*/ 1413971 w 8079933"/>
              <a:gd name="connsiteY33007" fmla="*/ 2420930 h 4687251"/>
              <a:gd name="connsiteX33008" fmla="*/ 1406917 w 8079933"/>
              <a:gd name="connsiteY33008" fmla="*/ 2418007 h 4687251"/>
              <a:gd name="connsiteX33009" fmla="*/ 1403010 w 8079933"/>
              <a:gd name="connsiteY33009" fmla="*/ 2415733 h 4687251"/>
              <a:gd name="connsiteX33010" fmla="*/ 1402577 w 8079933"/>
              <a:gd name="connsiteY33010" fmla="*/ 2414001 h 4687251"/>
              <a:gd name="connsiteX33011" fmla="*/ 1405507 w 8079933"/>
              <a:gd name="connsiteY33011" fmla="*/ 2412810 h 4687251"/>
              <a:gd name="connsiteX33012" fmla="*/ 1407460 w 8079933"/>
              <a:gd name="connsiteY33012" fmla="*/ 2408696 h 4687251"/>
              <a:gd name="connsiteX33013" fmla="*/ 1405507 w 8079933"/>
              <a:gd name="connsiteY33013" fmla="*/ 2405772 h 4687251"/>
              <a:gd name="connsiteX33014" fmla="*/ 1403770 w 8079933"/>
              <a:gd name="connsiteY33014" fmla="*/ 2401333 h 4687251"/>
              <a:gd name="connsiteX33015" fmla="*/ 1402577 w 8079933"/>
              <a:gd name="connsiteY33015" fmla="*/ 2398518 h 4687251"/>
              <a:gd name="connsiteX33016" fmla="*/ 1399647 w 8079933"/>
              <a:gd name="connsiteY33016" fmla="*/ 2398518 h 4687251"/>
              <a:gd name="connsiteX33017" fmla="*/ 1394221 w 8079933"/>
              <a:gd name="connsiteY33017" fmla="*/ 2397219 h 4687251"/>
              <a:gd name="connsiteX33018" fmla="*/ 1384672 w 8079933"/>
              <a:gd name="connsiteY33018" fmla="*/ 2389749 h 4687251"/>
              <a:gd name="connsiteX33019" fmla="*/ 1381959 w 8079933"/>
              <a:gd name="connsiteY33019" fmla="*/ 2387366 h 4687251"/>
              <a:gd name="connsiteX33020" fmla="*/ 1377618 w 8079933"/>
              <a:gd name="connsiteY33020" fmla="*/ 2387041 h 4687251"/>
              <a:gd name="connsiteX33021" fmla="*/ 1373711 w 8079933"/>
              <a:gd name="connsiteY33021" fmla="*/ 2384335 h 4687251"/>
              <a:gd name="connsiteX33022" fmla="*/ 1372951 w 8079933"/>
              <a:gd name="connsiteY33022" fmla="*/ 2379463 h 4687251"/>
              <a:gd name="connsiteX33023" fmla="*/ 1375448 w 8079933"/>
              <a:gd name="connsiteY33023" fmla="*/ 2372750 h 4687251"/>
              <a:gd name="connsiteX33024" fmla="*/ 1379571 w 8079933"/>
              <a:gd name="connsiteY33024" fmla="*/ 2368311 h 4687251"/>
              <a:gd name="connsiteX33025" fmla="*/ 1382610 w 8079933"/>
              <a:gd name="connsiteY33025" fmla="*/ 2367336 h 4687251"/>
              <a:gd name="connsiteX33026" fmla="*/ 1384997 w 8079933"/>
              <a:gd name="connsiteY33026" fmla="*/ 2369827 h 4687251"/>
              <a:gd name="connsiteX33027" fmla="*/ 1386950 w 8079933"/>
              <a:gd name="connsiteY33027" fmla="*/ 2367661 h 4687251"/>
              <a:gd name="connsiteX33028" fmla="*/ 1386299 w 8079933"/>
              <a:gd name="connsiteY33028" fmla="*/ 2364521 h 4687251"/>
              <a:gd name="connsiteX33029" fmla="*/ 1384997 w 8079933"/>
              <a:gd name="connsiteY33029" fmla="*/ 2363005 h 4687251"/>
              <a:gd name="connsiteX33030" fmla="*/ 1383478 w 8079933"/>
              <a:gd name="connsiteY33030" fmla="*/ 2364521 h 4687251"/>
              <a:gd name="connsiteX33031" fmla="*/ 1380222 w 8079933"/>
              <a:gd name="connsiteY33031" fmla="*/ 2362789 h 4687251"/>
              <a:gd name="connsiteX33032" fmla="*/ 1379571 w 8079933"/>
              <a:gd name="connsiteY33032" fmla="*/ 2359216 h 4687251"/>
              <a:gd name="connsiteX33033" fmla="*/ 1375448 w 8079933"/>
              <a:gd name="connsiteY33033" fmla="*/ 2354019 h 4687251"/>
              <a:gd name="connsiteX33034" fmla="*/ 1371650 w 8079933"/>
              <a:gd name="connsiteY33034" fmla="*/ 2354560 h 4687251"/>
              <a:gd name="connsiteX33035" fmla="*/ 1367526 w 8079933"/>
              <a:gd name="connsiteY33035" fmla="*/ 2353478 h 4687251"/>
              <a:gd name="connsiteX33036" fmla="*/ 1365355 w 8079933"/>
              <a:gd name="connsiteY33036" fmla="*/ 2349580 h 4687251"/>
              <a:gd name="connsiteX33037" fmla="*/ 1366440 w 8079933"/>
              <a:gd name="connsiteY33037" fmla="*/ 2345249 h 4687251"/>
              <a:gd name="connsiteX33038" fmla="*/ 1363511 w 8079933"/>
              <a:gd name="connsiteY33038" fmla="*/ 2344275 h 4687251"/>
              <a:gd name="connsiteX33039" fmla="*/ 1360581 w 8079933"/>
              <a:gd name="connsiteY33039" fmla="*/ 2344599 h 4687251"/>
              <a:gd name="connsiteX33040" fmla="*/ 1352333 w 8079933"/>
              <a:gd name="connsiteY33040" fmla="*/ 2337237 h 4687251"/>
              <a:gd name="connsiteX33041" fmla="*/ 1351465 w 8079933"/>
              <a:gd name="connsiteY33041" fmla="*/ 2330632 h 4687251"/>
              <a:gd name="connsiteX33042" fmla="*/ 1353310 w 8079933"/>
              <a:gd name="connsiteY33042" fmla="*/ 2327709 h 4687251"/>
              <a:gd name="connsiteX33043" fmla="*/ 1353527 w 8079933"/>
              <a:gd name="connsiteY33043" fmla="*/ 2322295 h 4687251"/>
              <a:gd name="connsiteX33044" fmla="*/ 1350923 w 8079933"/>
              <a:gd name="connsiteY33044" fmla="*/ 2320130 h 4687251"/>
              <a:gd name="connsiteX33045" fmla="*/ 1347667 w 8079933"/>
              <a:gd name="connsiteY33045" fmla="*/ 2321538 h 4687251"/>
              <a:gd name="connsiteX33046" fmla="*/ 1345931 w 8079933"/>
              <a:gd name="connsiteY33046" fmla="*/ 2320130 h 4687251"/>
              <a:gd name="connsiteX33047" fmla="*/ 1342784 w 8079933"/>
              <a:gd name="connsiteY33047" fmla="*/ 2320022 h 4687251"/>
              <a:gd name="connsiteX33048" fmla="*/ 1341807 w 8079933"/>
              <a:gd name="connsiteY33048" fmla="*/ 2317748 h 4687251"/>
              <a:gd name="connsiteX33049" fmla="*/ 1338661 w 8079933"/>
              <a:gd name="connsiteY33049" fmla="*/ 2315258 h 4687251"/>
              <a:gd name="connsiteX33050" fmla="*/ 1337358 w 8079933"/>
              <a:gd name="connsiteY33050" fmla="*/ 2311144 h 4687251"/>
              <a:gd name="connsiteX33051" fmla="*/ 1334754 w 8079933"/>
              <a:gd name="connsiteY33051" fmla="*/ 2305514 h 4687251"/>
              <a:gd name="connsiteX33052" fmla="*/ 1331607 w 8079933"/>
              <a:gd name="connsiteY33052" fmla="*/ 2304756 h 4687251"/>
              <a:gd name="connsiteX33053" fmla="*/ 1329762 w 8079933"/>
              <a:gd name="connsiteY33053" fmla="*/ 2302699 h 4687251"/>
              <a:gd name="connsiteX33054" fmla="*/ 1329220 w 8079933"/>
              <a:gd name="connsiteY33054" fmla="*/ 2297177 h 4687251"/>
              <a:gd name="connsiteX33055" fmla="*/ 1327809 w 8079933"/>
              <a:gd name="connsiteY33055" fmla="*/ 2293387 h 4687251"/>
              <a:gd name="connsiteX33056" fmla="*/ 1324554 w 8079933"/>
              <a:gd name="connsiteY33056" fmla="*/ 2291871 h 4687251"/>
              <a:gd name="connsiteX33057" fmla="*/ 1321949 w 8079933"/>
              <a:gd name="connsiteY33057" fmla="*/ 2284077 h 4687251"/>
              <a:gd name="connsiteX33058" fmla="*/ 1320321 w 8079933"/>
              <a:gd name="connsiteY33058" fmla="*/ 2281477 h 4687251"/>
              <a:gd name="connsiteX33059" fmla="*/ 1318368 w 8079933"/>
              <a:gd name="connsiteY33059" fmla="*/ 2281477 h 4687251"/>
              <a:gd name="connsiteX33060" fmla="*/ 1316849 w 8079933"/>
              <a:gd name="connsiteY33060" fmla="*/ 2278230 h 4687251"/>
              <a:gd name="connsiteX33061" fmla="*/ 1318151 w 8079933"/>
              <a:gd name="connsiteY33061" fmla="*/ 2276064 h 4687251"/>
              <a:gd name="connsiteX33062" fmla="*/ 1318585 w 8079933"/>
              <a:gd name="connsiteY33062" fmla="*/ 2273574 h 4687251"/>
              <a:gd name="connsiteX33063" fmla="*/ 1312725 w 8079933"/>
              <a:gd name="connsiteY33063" fmla="*/ 2265345 h 4687251"/>
              <a:gd name="connsiteX33064" fmla="*/ 1310988 w 8079933"/>
              <a:gd name="connsiteY33064" fmla="*/ 2261231 h 4687251"/>
              <a:gd name="connsiteX33065" fmla="*/ 1311965 w 8079933"/>
              <a:gd name="connsiteY33065" fmla="*/ 2258091 h 4687251"/>
              <a:gd name="connsiteX33066" fmla="*/ 1311315 w 8079933"/>
              <a:gd name="connsiteY33066" fmla="*/ 2252461 h 4687251"/>
              <a:gd name="connsiteX33067" fmla="*/ 1309252 w 8079933"/>
              <a:gd name="connsiteY33067" fmla="*/ 2248672 h 4687251"/>
              <a:gd name="connsiteX33068" fmla="*/ 1308059 w 8079933"/>
              <a:gd name="connsiteY33068" fmla="*/ 2240443 h 4687251"/>
              <a:gd name="connsiteX33069" fmla="*/ 1305563 w 8079933"/>
              <a:gd name="connsiteY33069" fmla="*/ 2234705 h 4687251"/>
              <a:gd name="connsiteX33070" fmla="*/ 1305237 w 8079933"/>
              <a:gd name="connsiteY33070" fmla="*/ 2230590 h 4687251"/>
              <a:gd name="connsiteX33071" fmla="*/ 1308493 w 8079933"/>
              <a:gd name="connsiteY33071" fmla="*/ 2226801 h 4687251"/>
              <a:gd name="connsiteX33072" fmla="*/ 1308493 w 8079933"/>
              <a:gd name="connsiteY33072" fmla="*/ 2224419 h 4687251"/>
              <a:gd name="connsiteX33073" fmla="*/ 1303609 w 8079933"/>
              <a:gd name="connsiteY33073" fmla="*/ 2221712 h 4687251"/>
              <a:gd name="connsiteX33074" fmla="*/ 1298943 w 8079933"/>
              <a:gd name="connsiteY33074" fmla="*/ 2221496 h 4687251"/>
              <a:gd name="connsiteX33075" fmla="*/ 1297533 w 8079933"/>
              <a:gd name="connsiteY33075" fmla="*/ 2218789 h 4687251"/>
              <a:gd name="connsiteX33076" fmla="*/ 1293518 w 8079933"/>
              <a:gd name="connsiteY33076" fmla="*/ 2215000 h 4687251"/>
              <a:gd name="connsiteX33077" fmla="*/ 1291347 w 8079933"/>
              <a:gd name="connsiteY33077" fmla="*/ 2216732 h 4687251"/>
              <a:gd name="connsiteX33078" fmla="*/ 1287332 w 8079933"/>
              <a:gd name="connsiteY33078" fmla="*/ 2217382 h 4687251"/>
              <a:gd name="connsiteX33079" fmla="*/ 1284619 w 8079933"/>
              <a:gd name="connsiteY33079" fmla="*/ 2215000 h 4687251"/>
              <a:gd name="connsiteX33080" fmla="*/ 1280279 w 8079933"/>
              <a:gd name="connsiteY33080" fmla="*/ 2208287 h 4687251"/>
              <a:gd name="connsiteX33081" fmla="*/ 1273876 w 8079933"/>
              <a:gd name="connsiteY33081" fmla="*/ 2205364 h 4687251"/>
              <a:gd name="connsiteX33082" fmla="*/ 1270838 w 8079933"/>
              <a:gd name="connsiteY33082" fmla="*/ 2199842 h 4687251"/>
              <a:gd name="connsiteX33083" fmla="*/ 1272574 w 8079933"/>
              <a:gd name="connsiteY33083" fmla="*/ 2205364 h 4687251"/>
              <a:gd name="connsiteX33084" fmla="*/ 1273442 w 8079933"/>
              <a:gd name="connsiteY33084" fmla="*/ 2209803 h 4687251"/>
              <a:gd name="connsiteX33085" fmla="*/ 1271163 w 8079933"/>
              <a:gd name="connsiteY33085" fmla="*/ 2218031 h 4687251"/>
              <a:gd name="connsiteX33086" fmla="*/ 1269102 w 8079933"/>
              <a:gd name="connsiteY33086" fmla="*/ 2223445 h 4687251"/>
              <a:gd name="connsiteX33087" fmla="*/ 1270295 w 8079933"/>
              <a:gd name="connsiteY33087" fmla="*/ 2233514 h 4687251"/>
              <a:gd name="connsiteX33088" fmla="*/ 1270946 w 8079933"/>
              <a:gd name="connsiteY33088" fmla="*/ 2250188 h 4687251"/>
              <a:gd name="connsiteX33089" fmla="*/ 1268884 w 8079933"/>
              <a:gd name="connsiteY33089" fmla="*/ 2254194 h 4687251"/>
              <a:gd name="connsiteX33090" fmla="*/ 1271488 w 8079933"/>
              <a:gd name="connsiteY33090" fmla="*/ 2256900 h 4687251"/>
              <a:gd name="connsiteX33091" fmla="*/ 1274745 w 8079933"/>
              <a:gd name="connsiteY33091" fmla="*/ 2263830 h 4687251"/>
              <a:gd name="connsiteX33092" fmla="*/ 1274636 w 8079933"/>
              <a:gd name="connsiteY33092" fmla="*/ 2268485 h 4687251"/>
              <a:gd name="connsiteX33093" fmla="*/ 1277240 w 8079933"/>
              <a:gd name="connsiteY33093" fmla="*/ 2268594 h 4687251"/>
              <a:gd name="connsiteX33094" fmla="*/ 1279411 w 8079933"/>
              <a:gd name="connsiteY33094" fmla="*/ 2272058 h 4687251"/>
              <a:gd name="connsiteX33095" fmla="*/ 1285922 w 8079933"/>
              <a:gd name="connsiteY33095" fmla="*/ 2276497 h 4687251"/>
              <a:gd name="connsiteX33096" fmla="*/ 1287332 w 8079933"/>
              <a:gd name="connsiteY33096" fmla="*/ 2282885 h 4687251"/>
              <a:gd name="connsiteX33097" fmla="*/ 1286464 w 8079933"/>
              <a:gd name="connsiteY33097" fmla="*/ 2286025 h 4687251"/>
              <a:gd name="connsiteX33098" fmla="*/ 1287658 w 8079933"/>
              <a:gd name="connsiteY33098" fmla="*/ 2290248 h 4687251"/>
              <a:gd name="connsiteX33099" fmla="*/ 1291673 w 8079933"/>
              <a:gd name="connsiteY33099" fmla="*/ 2292197 h 4687251"/>
              <a:gd name="connsiteX33100" fmla="*/ 1294711 w 8079933"/>
              <a:gd name="connsiteY33100" fmla="*/ 2295444 h 4687251"/>
              <a:gd name="connsiteX33101" fmla="*/ 1295254 w 8079933"/>
              <a:gd name="connsiteY33101" fmla="*/ 2300534 h 4687251"/>
              <a:gd name="connsiteX33102" fmla="*/ 1297207 w 8079933"/>
              <a:gd name="connsiteY33102" fmla="*/ 2302699 h 4687251"/>
              <a:gd name="connsiteX33103" fmla="*/ 1300246 w 8079933"/>
              <a:gd name="connsiteY33103" fmla="*/ 2303348 h 4687251"/>
              <a:gd name="connsiteX33104" fmla="*/ 1304261 w 8079933"/>
              <a:gd name="connsiteY33104" fmla="*/ 2309520 h 4687251"/>
              <a:gd name="connsiteX33105" fmla="*/ 1303718 w 8079933"/>
              <a:gd name="connsiteY33105" fmla="*/ 2314501 h 4687251"/>
              <a:gd name="connsiteX33106" fmla="*/ 1303935 w 8079933"/>
              <a:gd name="connsiteY33106" fmla="*/ 2320130 h 4687251"/>
              <a:gd name="connsiteX33107" fmla="*/ 1308384 w 8079933"/>
              <a:gd name="connsiteY33107" fmla="*/ 2324353 h 4687251"/>
              <a:gd name="connsiteX33108" fmla="*/ 1310229 w 8079933"/>
              <a:gd name="connsiteY33108" fmla="*/ 2325003 h 4687251"/>
              <a:gd name="connsiteX33109" fmla="*/ 1314245 w 8079933"/>
              <a:gd name="connsiteY33109" fmla="*/ 2331391 h 4687251"/>
              <a:gd name="connsiteX33110" fmla="*/ 1315655 w 8079933"/>
              <a:gd name="connsiteY33110" fmla="*/ 2341027 h 4687251"/>
              <a:gd name="connsiteX33111" fmla="*/ 1317717 w 8079933"/>
              <a:gd name="connsiteY33111" fmla="*/ 2341135 h 4687251"/>
              <a:gd name="connsiteX33112" fmla="*/ 1319019 w 8079933"/>
              <a:gd name="connsiteY33112" fmla="*/ 2343625 h 4687251"/>
              <a:gd name="connsiteX33113" fmla="*/ 1317500 w 8079933"/>
              <a:gd name="connsiteY33113" fmla="*/ 2346982 h 4687251"/>
              <a:gd name="connsiteX33114" fmla="*/ 1317825 w 8079933"/>
              <a:gd name="connsiteY33114" fmla="*/ 2350121 h 4687251"/>
              <a:gd name="connsiteX33115" fmla="*/ 1322166 w 8079933"/>
              <a:gd name="connsiteY33115" fmla="*/ 2356617 h 4687251"/>
              <a:gd name="connsiteX33116" fmla="*/ 1323902 w 8079933"/>
              <a:gd name="connsiteY33116" fmla="*/ 2355102 h 4687251"/>
              <a:gd name="connsiteX33117" fmla="*/ 1323685 w 8079933"/>
              <a:gd name="connsiteY33117" fmla="*/ 2352287 h 4687251"/>
              <a:gd name="connsiteX33118" fmla="*/ 1323902 w 8079933"/>
              <a:gd name="connsiteY33118" fmla="*/ 2350446 h 4687251"/>
              <a:gd name="connsiteX33119" fmla="*/ 1325639 w 8079933"/>
              <a:gd name="connsiteY33119" fmla="*/ 2350771 h 4687251"/>
              <a:gd name="connsiteX33120" fmla="*/ 1326940 w 8079933"/>
              <a:gd name="connsiteY33120" fmla="*/ 2354019 h 4687251"/>
              <a:gd name="connsiteX33121" fmla="*/ 1329870 w 8079933"/>
              <a:gd name="connsiteY33121" fmla="*/ 2358891 h 4687251"/>
              <a:gd name="connsiteX33122" fmla="*/ 1331281 w 8079933"/>
              <a:gd name="connsiteY33122" fmla="*/ 2367770 h 4687251"/>
              <a:gd name="connsiteX33123" fmla="*/ 1330196 w 8079933"/>
              <a:gd name="connsiteY33123" fmla="*/ 2371234 h 4687251"/>
              <a:gd name="connsiteX33124" fmla="*/ 1330738 w 8079933"/>
              <a:gd name="connsiteY33124" fmla="*/ 2377298 h 4687251"/>
              <a:gd name="connsiteX33125" fmla="*/ 1332150 w 8079933"/>
              <a:gd name="connsiteY33125" fmla="*/ 2379463 h 4687251"/>
              <a:gd name="connsiteX33126" fmla="*/ 1332150 w 8079933"/>
              <a:gd name="connsiteY33126" fmla="*/ 2384118 h 4687251"/>
              <a:gd name="connsiteX33127" fmla="*/ 1334863 w 8079933"/>
              <a:gd name="connsiteY33127" fmla="*/ 2387258 h 4687251"/>
              <a:gd name="connsiteX33128" fmla="*/ 1334754 w 8079933"/>
              <a:gd name="connsiteY33128" fmla="*/ 2390614 h 4687251"/>
              <a:gd name="connsiteX33129" fmla="*/ 1337033 w 8079933"/>
              <a:gd name="connsiteY33129" fmla="*/ 2393321 h 4687251"/>
              <a:gd name="connsiteX33130" fmla="*/ 1337141 w 8079933"/>
              <a:gd name="connsiteY33130" fmla="*/ 2396245 h 4687251"/>
              <a:gd name="connsiteX33131" fmla="*/ 1336164 w 8079933"/>
              <a:gd name="connsiteY33131" fmla="*/ 2399492 h 4687251"/>
              <a:gd name="connsiteX33132" fmla="*/ 1339746 w 8079933"/>
              <a:gd name="connsiteY33132" fmla="*/ 2404473 h 4687251"/>
              <a:gd name="connsiteX33133" fmla="*/ 1339854 w 8079933"/>
              <a:gd name="connsiteY33133" fmla="*/ 2409453 h 4687251"/>
              <a:gd name="connsiteX33134" fmla="*/ 1337467 w 8079933"/>
              <a:gd name="connsiteY33134" fmla="*/ 2414434 h 4687251"/>
              <a:gd name="connsiteX33135" fmla="*/ 1338009 w 8079933"/>
              <a:gd name="connsiteY33135" fmla="*/ 2417249 h 4687251"/>
              <a:gd name="connsiteX33136" fmla="*/ 1342133 w 8079933"/>
              <a:gd name="connsiteY33136" fmla="*/ 2422337 h 4687251"/>
              <a:gd name="connsiteX33137" fmla="*/ 1345822 w 8079933"/>
              <a:gd name="connsiteY33137" fmla="*/ 2425261 h 4687251"/>
              <a:gd name="connsiteX33138" fmla="*/ 1346474 w 8079933"/>
              <a:gd name="connsiteY33138" fmla="*/ 2427968 h 4687251"/>
              <a:gd name="connsiteX33139" fmla="*/ 1348535 w 8079933"/>
              <a:gd name="connsiteY33139" fmla="*/ 2427102 h 4687251"/>
              <a:gd name="connsiteX33140" fmla="*/ 1348318 w 8079933"/>
              <a:gd name="connsiteY33140" fmla="*/ 2423853 h 4687251"/>
              <a:gd name="connsiteX33141" fmla="*/ 1349729 w 8079933"/>
              <a:gd name="connsiteY33141" fmla="*/ 2422771 h 4687251"/>
              <a:gd name="connsiteX33142" fmla="*/ 1352008 w 8079933"/>
              <a:gd name="connsiteY33142" fmla="*/ 2423962 h 4687251"/>
              <a:gd name="connsiteX33143" fmla="*/ 1354395 w 8079933"/>
              <a:gd name="connsiteY33143" fmla="*/ 2427102 h 4687251"/>
              <a:gd name="connsiteX33144" fmla="*/ 1355914 w 8079933"/>
              <a:gd name="connsiteY33144" fmla="*/ 2430242 h 4687251"/>
              <a:gd name="connsiteX33145" fmla="*/ 1359496 w 8079933"/>
              <a:gd name="connsiteY33145" fmla="*/ 2432298 h 4687251"/>
              <a:gd name="connsiteX33146" fmla="*/ 1360906 w 8079933"/>
              <a:gd name="connsiteY33146" fmla="*/ 2436738 h 4687251"/>
              <a:gd name="connsiteX33147" fmla="*/ 1363185 w 8079933"/>
              <a:gd name="connsiteY33147" fmla="*/ 2439012 h 4687251"/>
              <a:gd name="connsiteX33148" fmla="*/ 1364596 w 8079933"/>
              <a:gd name="connsiteY33148" fmla="*/ 2443234 h 4687251"/>
              <a:gd name="connsiteX33149" fmla="*/ 1367526 w 8079933"/>
              <a:gd name="connsiteY33149" fmla="*/ 2445183 h 4687251"/>
              <a:gd name="connsiteX33150" fmla="*/ 1367092 w 8079933"/>
              <a:gd name="connsiteY33150" fmla="*/ 2451138 h 4687251"/>
              <a:gd name="connsiteX33151" fmla="*/ 1362751 w 8079933"/>
              <a:gd name="connsiteY33151" fmla="*/ 2457742 h 4687251"/>
              <a:gd name="connsiteX33152" fmla="*/ 1355589 w 8079933"/>
              <a:gd name="connsiteY33152" fmla="*/ 2460991 h 4687251"/>
              <a:gd name="connsiteX33153" fmla="*/ 1352659 w 8079933"/>
              <a:gd name="connsiteY33153" fmla="*/ 2460124 h 4687251"/>
              <a:gd name="connsiteX33154" fmla="*/ 1350597 w 8079933"/>
              <a:gd name="connsiteY33154" fmla="*/ 2455144 h 4687251"/>
              <a:gd name="connsiteX33155" fmla="*/ 1350272 w 8079933"/>
              <a:gd name="connsiteY33155" fmla="*/ 2451571 h 4687251"/>
              <a:gd name="connsiteX33156" fmla="*/ 1347450 w 8079933"/>
              <a:gd name="connsiteY33156" fmla="*/ 2449297 h 4687251"/>
              <a:gd name="connsiteX33157" fmla="*/ 1347017 w 8079933"/>
              <a:gd name="connsiteY33157" fmla="*/ 2442909 h 4687251"/>
              <a:gd name="connsiteX33158" fmla="*/ 1344737 w 8079933"/>
              <a:gd name="connsiteY33158" fmla="*/ 2439877 h 4687251"/>
              <a:gd name="connsiteX33159" fmla="*/ 1339746 w 8079933"/>
              <a:gd name="connsiteY33159" fmla="*/ 2439336 h 4687251"/>
              <a:gd name="connsiteX33160" fmla="*/ 1336164 w 8079933"/>
              <a:gd name="connsiteY33160" fmla="*/ 2435006 h 4687251"/>
              <a:gd name="connsiteX33161" fmla="*/ 1334428 w 8079933"/>
              <a:gd name="connsiteY33161" fmla="*/ 2431757 h 4687251"/>
              <a:gd name="connsiteX33162" fmla="*/ 1330738 w 8079933"/>
              <a:gd name="connsiteY33162" fmla="*/ 2430242 h 4687251"/>
              <a:gd name="connsiteX33163" fmla="*/ 1320647 w 8079933"/>
              <a:gd name="connsiteY33163" fmla="*/ 2419198 h 4687251"/>
              <a:gd name="connsiteX33164" fmla="*/ 1318368 w 8079933"/>
              <a:gd name="connsiteY33164" fmla="*/ 2414542 h 4687251"/>
              <a:gd name="connsiteX33165" fmla="*/ 1313701 w 8079933"/>
              <a:gd name="connsiteY33165" fmla="*/ 2413568 h 4687251"/>
              <a:gd name="connsiteX33166" fmla="*/ 1312508 w 8079933"/>
              <a:gd name="connsiteY33166" fmla="*/ 2410320 h 4687251"/>
              <a:gd name="connsiteX33167" fmla="*/ 1310446 w 8079933"/>
              <a:gd name="connsiteY33167" fmla="*/ 2410753 h 4687251"/>
              <a:gd name="connsiteX33168" fmla="*/ 1305780 w 8079933"/>
              <a:gd name="connsiteY33168" fmla="*/ 2406963 h 4687251"/>
              <a:gd name="connsiteX33169" fmla="*/ 1305129 w 8079933"/>
              <a:gd name="connsiteY33169" fmla="*/ 2403174 h 4687251"/>
              <a:gd name="connsiteX33170" fmla="*/ 1309035 w 8079933"/>
              <a:gd name="connsiteY33170" fmla="*/ 2396461 h 4687251"/>
              <a:gd name="connsiteX33171" fmla="*/ 1310663 w 8079933"/>
              <a:gd name="connsiteY33171" fmla="*/ 2388774 h 4687251"/>
              <a:gd name="connsiteX33172" fmla="*/ 1309903 w 8079933"/>
              <a:gd name="connsiteY33172" fmla="*/ 2379029 h 4687251"/>
              <a:gd name="connsiteX33173" fmla="*/ 1306974 w 8079933"/>
              <a:gd name="connsiteY33173" fmla="*/ 2369827 h 4687251"/>
              <a:gd name="connsiteX33174" fmla="*/ 1304586 w 8079933"/>
              <a:gd name="connsiteY33174" fmla="*/ 2366254 h 4687251"/>
              <a:gd name="connsiteX33175" fmla="*/ 1302199 w 8079933"/>
              <a:gd name="connsiteY33175" fmla="*/ 2366903 h 4687251"/>
              <a:gd name="connsiteX33176" fmla="*/ 1298726 w 8079933"/>
              <a:gd name="connsiteY33176" fmla="*/ 2365388 h 4687251"/>
              <a:gd name="connsiteX33177" fmla="*/ 1290479 w 8079933"/>
              <a:gd name="connsiteY33177" fmla="*/ 2357484 h 4687251"/>
              <a:gd name="connsiteX33178" fmla="*/ 1289285 w 8079933"/>
              <a:gd name="connsiteY33178" fmla="*/ 2349905 h 4687251"/>
              <a:gd name="connsiteX33179" fmla="*/ 1290805 w 8079933"/>
              <a:gd name="connsiteY33179" fmla="*/ 2346007 h 4687251"/>
              <a:gd name="connsiteX33180" fmla="*/ 1288960 w 8079933"/>
              <a:gd name="connsiteY33180" fmla="*/ 2345466 h 4687251"/>
              <a:gd name="connsiteX33181" fmla="*/ 1284727 w 8079933"/>
              <a:gd name="connsiteY33181" fmla="*/ 2350229 h 4687251"/>
              <a:gd name="connsiteX33182" fmla="*/ 1281689 w 8079933"/>
              <a:gd name="connsiteY33182" fmla="*/ 2350446 h 4687251"/>
              <a:gd name="connsiteX33183" fmla="*/ 1278543 w 8079933"/>
              <a:gd name="connsiteY33183" fmla="*/ 2351854 h 4687251"/>
              <a:gd name="connsiteX33184" fmla="*/ 1276806 w 8079933"/>
              <a:gd name="connsiteY33184" fmla="*/ 2348389 h 4687251"/>
              <a:gd name="connsiteX33185" fmla="*/ 1277566 w 8079933"/>
              <a:gd name="connsiteY33185" fmla="*/ 2346656 h 4687251"/>
              <a:gd name="connsiteX33186" fmla="*/ 1274418 w 8079933"/>
              <a:gd name="connsiteY33186" fmla="*/ 2345466 h 4687251"/>
              <a:gd name="connsiteX33187" fmla="*/ 1271380 w 8079933"/>
              <a:gd name="connsiteY33187" fmla="*/ 2345574 h 4687251"/>
              <a:gd name="connsiteX33188" fmla="*/ 1271380 w 8079933"/>
              <a:gd name="connsiteY33188" fmla="*/ 2343192 h 4687251"/>
              <a:gd name="connsiteX33189" fmla="*/ 1265846 w 8079933"/>
              <a:gd name="connsiteY33189" fmla="*/ 2340701 h 4687251"/>
              <a:gd name="connsiteX33190" fmla="*/ 1261722 w 8079933"/>
              <a:gd name="connsiteY33190" fmla="*/ 2339294 h 4687251"/>
              <a:gd name="connsiteX33191" fmla="*/ 1259226 w 8079933"/>
              <a:gd name="connsiteY33191" fmla="*/ 2334964 h 4687251"/>
              <a:gd name="connsiteX33192" fmla="*/ 1258901 w 8079933"/>
              <a:gd name="connsiteY33192" fmla="*/ 2330308 h 4687251"/>
              <a:gd name="connsiteX33193" fmla="*/ 1254560 w 8079933"/>
              <a:gd name="connsiteY33193" fmla="*/ 2328467 h 4687251"/>
              <a:gd name="connsiteX33194" fmla="*/ 1249785 w 8079933"/>
              <a:gd name="connsiteY33194" fmla="*/ 2322079 h 4687251"/>
              <a:gd name="connsiteX33195" fmla="*/ 1250979 w 8079933"/>
              <a:gd name="connsiteY33195" fmla="*/ 2320671 h 4687251"/>
              <a:gd name="connsiteX33196" fmla="*/ 1257165 w 8079933"/>
              <a:gd name="connsiteY33196" fmla="*/ 2320130 h 4687251"/>
              <a:gd name="connsiteX33197" fmla="*/ 1260854 w 8079933"/>
              <a:gd name="connsiteY33197" fmla="*/ 2321538 h 4687251"/>
              <a:gd name="connsiteX33198" fmla="*/ 1266714 w 8079933"/>
              <a:gd name="connsiteY33198" fmla="*/ 2322621 h 4687251"/>
              <a:gd name="connsiteX33199" fmla="*/ 1269970 w 8079933"/>
              <a:gd name="connsiteY33199" fmla="*/ 2324678 h 4687251"/>
              <a:gd name="connsiteX33200" fmla="*/ 1271706 w 8079933"/>
              <a:gd name="connsiteY33200" fmla="*/ 2322295 h 4687251"/>
              <a:gd name="connsiteX33201" fmla="*/ 1272357 w 8079933"/>
              <a:gd name="connsiteY33201" fmla="*/ 2319372 h 4687251"/>
              <a:gd name="connsiteX33202" fmla="*/ 1268450 w 8079933"/>
              <a:gd name="connsiteY33202" fmla="*/ 2318614 h 4687251"/>
              <a:gd name="connsiteX33203" fmla="*/ 1267907 w 8079933"/>
              <a:gd name="connsiteY33203" fmla="*/ 2317424 h 4687251"/>
              <a:gd name="connsiteX33204" fmla="*/ 1270295 w 8079933"/>
              <a:gd name="connsiteY33204" fmla="*/ 2314825 h 4687251"/>
              <a:gd name="connsiteX33205" fmla="*/ 1273008 w 8079933"/>
              <a:gd name="connsiteY33205" fmla="*/ 2316016 h 4687251"/>
              <a:gd name="connsiteX33206" fmla="*/ 1274310 w 8079933"/>
              <a:gd name="connsiteY33206" fmla="*/ 2312226 h 4687251"/>
              <a:gd name="connsiteX33207" fmla="*/ 1272574 w 8079933"/>
              <a:gd name="connsiteY33207" fmla="*/ 2309520 h 4687251"/>
              <a:gd name="connsiteX33208" fmla="*/ 1272682 w 8079933"/>
              <a:gd name="connsiteY33208" fmla="*/ 2306921 h 4687251"/>
              <a:gd name="connsiteX33209" fmla="*/ 1275504 w 8079933"/>
              <a:gd name="connsiteY33209" fmla="*/ 2303348 h 4687251"/>
              <a:gd name="connsiteX33210" fmla="*/ 1272357 w 8079933"/>
              <a:gd name="connsiteY33210" fmla="*/ 2298151 h 4687251"/>
              <a:gd name="connsiteX33211" fmla="*/ 1270295 w 8079933"/>
              <a:gd name="connsiteY33211" fmla="*/ 2297285 h 4687251"/>
              <a:gd name="connsiteX33212" fmla="*/ 1267907 w 8079933"/>
              <a:gd name="connsiteY33212" fmla="*/ 2290140 h 4687251"/>
              <a:gd name="connsiteX33213" fmla="*/ 1262048 w 8079933"/>
              <a:gd name="connsiteY33213" fmla="*/ 2284293 h 4687251"/>
              <a:gd name="connsiteX33214" fmla="*/ 1260963 w 8079933"/>
              <a:gd name="connsiteY33214" fmla="*/ 2280503 h 4687251"/>
              <a:gd name="connsiteX33215" fmla="*/ 1257598 w 8079933"/>
              <a:gd name="connsiteY33215" fmla="*/ 2275631 h 4687251"/>
              <a:gd name="connsiteX33216" fmla="*/ 1250870 w 8079933"/>
              <a:gd name="connsiteY33216" fmla="*/ 2268918 h 4687251"/>
              <a:gd name="connsiteX33217" fmla="*/ 1248049 w 8079933"/>
              <a:gd name="connsiteY33217" fmla="*/ 2269135 h 4687251"/>
              <a:gd name="connsiteX33218" fmla="*/ 1243926 w 8079933"/>
              <a:gd name="connsiteY33218" fmla="*/ 2265129 h 4687251"/>
              <a:gd name="connsiteX33219" fmla="*/ 1241646 w 8079933"/>
              <a:gd name="connsiteY33219" fmla="*/ 2258633 h 4687251"/>
              <a:gd name="connsiteX33220" fmla="*/ 1241538 w 8079933"/>
              <a:gd name="connsiteY33220" fmla="*/ 2250620 h 4687251"/>
              <a:gd name="connsiteX33221" fmla="*/ 1240128 w 8079933"/>
              <a:gd name="connsiteY33221" fmla="*/ 2247806 h 4687251"/>
              <a:gd name="connsiteX33222" fmla="*/ 1237198 w 8079933"/>
              <a:gd name="connsiteY33222" fmla="*/ 2245207 h 4687251"/>
              <a:gd name="connsiteX33223" fmla="*/ 1237523 w 8079933"/>
              <a:gd name="connsiteY33223" fmla="*/ 2240443 h 4687251"/>
              <a:gd name="connsiteX33224" fmla="*/ 1239151 w 8079933"/>
              <a:gd name="connsiteY33224" fmla="*/ 2238169 h 4687251"/>
              <a:gd name="connsiteX33225" fmla="*/ 1238391 w 8079933"/>
              <a:gd name="connsiteY33225" fmla="*/ 2233514 h 4687251"/>
              <a:gd name="connsiteX33226" fmla="*/ 1233400 w 8079933"/>
              <a:gd name="connsiteY33226" fmla="*/ 2229075 h 4687251"/>
              <a:gd name="connsiteX33227" fmla="*/ 1232423 w 8079933"/>
              <a:gd name="connsiteY33227" fmla="*/ 2226151 h 4687251"/>
              <a:gd name="connsiteX33228" fmla="*/ 1233942 w 8079933"/>
              <a:gd name="connsiteY33228" fmla="*/ 2224635 h 4687251"/>
              <a:gd name="connsiteX33229" fmla="*/ 1234159 w 8079933"/>
              <a:gd name="connsiteY33229" fmla="*/ 2222037 h 4687251"/>
              <a:gd name="connsiteX33230" fmla="*/ 1227757 w 8079933"/>
              <a:gd name="connsiteY33230" fmla="*/ 2214242 h 4687251"/>
              <a:gd name="connsiteX33231" fmla="*/ 1226237 w 8079933"/>
              <a:gd name="connsiteY33231" fmla="*/ 2209803 h 4687251"/>
              <a:gd name="connsiteX33232" fmla="*/ 1226889 w 8079933"/>
              <a:gd name="connsiteY33232" fmla="*/ 2206013 h 4687251"/>
              <a:gd name="connsiteX33233" fmla="*/ 1228734 w 8079933"/>
              <a:gd name="connsiteY33233" fmla="*/ 2204605 h 4687251"/>
              <a:gd name="connsiteX33234" fmla="*/ 1226237 w 8079933"/>
              <a:gd name="connsiteY33234" fmla="*/ 2201249 h 4687251"/>
              <a:gd name="connsiteX33235" fmla="*/ 1223416 w 8079933"/>
              <a:gd name="connsiteY33235" fmla="*/ 2196052 h 4687251"/>
              <a:gd name="connsiteX33236" fmla="*/ 1220161 w 8079933"/>
              <a:gd name="connsiteY33236" fmla="*/ 2183926 h 4687251"/>
              <a:gd name="connsiteX33237" fmla="*/ 1219401 w 8079933"/>
              <a:gd name="connsiteY33237" fmla="*/ 2178079 h 4687251"/>
              <a:gd name="connsiteX33238" fmla="*/ 1219401 w 8079933"/>
              <a:gd name="connsiteY33238" fmla="*/ 2178079 h 4687251"/>
              <a:gd name="connsiteX33239" fmla="*/ 1218967 w 8079933"/>
              <a:gd name="connsiteY33239" fmla="*/ 2174289 h 4687251"/>
              <a:gd name="connsiteX33240" fmla="*/ 1220160 w 8079933"/>
              <a:gd name="connsiteY33240" fmla="*/ 2168443 h 4687251"/>
              <a:gd name="connsiteX33241" fmla="*/ 1219075 w 8079933"/>
              <a:gd name="connsiteY33241" fmla="*/ 2161189 h 4687251"/>
              <a:gd name="connsiteX33242" fmla="*/ 1210828 w 8079933"/>
              <a:gd name="connsiteY33242" fmla="*/ 2148630 h 4687251"/>
              <a:gd name="connsiteX33243" fmla="*/ 1205511 w 8079933"/>
              <a:gd name="connsiteY33243" fmla="*/ 2143108 h 4687251"/>
              <a:gd name="connsiteX33244" fmla="*/ 1202473 w 8079933"/>
              <a:gd name="connsiteY33244" fmla="*/ 2143757 h 4687251"/>
              <a:gd name="connsiteX33245" fmla="*/ 1199977 w 8079933"/>
              <a:gd name="connsiteY33245" fmla="*/ 2143974 h 4687251"/>
              <a:gd name="connsiteX33246" fmla="*/ 1198457 w 8079933"/>
              <a:gd name="connsiteY33246" fmla="*/ 2143108 h 4687251"/>
              <a:gd name="connsiteX33247" fmla="*/ 1198674 w 8079933"/>
              <a:gd name="connsiteY33247" fmla="*/ 2138993 h 4687251"/>
              <a:gd name="connsiteX33248" fmla="*/ 1197589 w 8079933"/>
              <a:gd name="connsiteY33248" fmla="*/ 2136395 h 4687251"/>
              <a:gd name="connsiteX33249" fmla="*/ 1191729 w 8079933"/>
              <a:gd name="connsiteY33249" fmla="*/ 2134663 h 4687251"/>
              <a:gd name="connsiteX33250" fmla="*/ 1187823 w 8079933"/>
              <a:gd name="connsiteY33250" fmla="*/ 2134554 h 4687251"/>
              <a:gd name="connsiteX33251" fmla="*/ 1181420 w 8079933"/>
              <a:gd name="connsiteY33251" fmla="*/ 2131089 h 4687251"/>
              <a:gd name="connsiteX33252" fmla="*/ 1181420 w 8079933"/>
              <a:gd name="connsiteY33252" fmla="*/ 2126975 h 4687251"/>
              <a:gd name="connsiteX33253" fmla="*/ 1178490 w 8079933"/>
              <a:gd name="connsiteY33253" fmla="*/ 2123727 h 4687251"/>
              <a:gd name="connsiteX33254" fmla="*/ 1172088 w 8079933"/>
              <a:gd name="connsiteY33254" fmla="*/ 2123727 h 4687251"/>
              <a:gd name="connsiteX33255" fmla="*/ 1168615 w 8079933"/>
              <a:gd name="connsiteY33255" fmla="*/ 2123077 h 4687251"/>
              <a:gd name="connsiteX33256" fmla="*/ 1164817 w 8079933"/>
              <a:gd name="connsiteY33256" fmla="*/ 2120696 h 4687251"/>
              <a:gd name="connsiteX33257" fmla="*/ 1159934 w 8079933"/>
              <a:gd name="connsiteY33257" fmla="*/ 2119396 h 4687251"/>
              <a:gd name="connsiteX33258" fmla="*/ 1151795 w 8079933"/>
              <a:gd name="connsiteY33258" fmla="*/ 2119396 h 4687251"/>
              <a:gd name="connsiteX33259" fmla="*/ 1149299 w 8079933"/>
              <a:gd name="connsiteY33259" fmla="*/ 2117664 h 4687251"/>
              <a:gd name="connsiteX33260" fmla="*/ 1147997 w 8079933"/>
              <a:gd name="connsiteY33260" fmla="*/ 2113766 h 4687251"/>
              <a:gd name="connsiteX33261" fmla="*/ 1149083 w 8079933"/>
              <a:gd name="connsiteY33261" fmla="*/ 2113008 h 4687251"/>
              <a:gd name="connsiteX33262" fmla="*/ 1150276 w 8079933"/>
              <a:gd name="connsiteY33262" fmla="*/ 2109219 h 4687251"/>
              <a:gd name="connsiteX33263" fmla="*/ 1152012 w 8079933"/>
              <a:gd name="connsiteY33263" fmla="*/ 2101965 h 4687251"/>
              <a:gd name="connsiteX33264" fmla="*/ 1150493 w 8079933"/>
              <a:gd name="connsiteY33264" fmla="*/ 2096984 h 4687251"/>
              <a:gd name="connsiteX33265" fmla="*/ 1146695 w 8079933"/>
              <a:gd name="connsiteY33265" fmla="*/ 2092653 h 4687251"/>
              <a:gd name="connsiteX33266" fmla="*/ 1146261 w 8079933"/>
              <a:gd name="connsiteY33266" fmla="*/ 2091354 h 4687251"/>
              <a:gd name="connsiteX33267" fmla="*/ 1147238 w 8079933"/>
              <a:gd name="connsiteY33267" fmla="*/ 2089622 h 4687251"/>
              <a:gd name="connsiteX33268" fmla="*/ 1145176 w 8079933"/>
              <a:gd name="connsiteY33268" fmla="*/ 2088106 h 4687251"/>
              <a:gd name="connsiteX33269" fmla="*/ 1141595 w 8079933"/>
              <a:gd name="connsiteY33269" fmla="*/ 2083125 h 4687251"/>
              <a:gd name="connsiteX33270" fmla="*/ 1136603 w 8079933"/>
              <a:gd name="connsiteY33270" fmla="*/ 2072515 h 4687251"/>
              <a:gd name="connsiteX33271" fmla="*/ 1135517 w 8079933"/>
              <a:gd name="connsiteY33271" fmla="*/ 2064178 h 4687251"/>
              <a:gd name="connsiteX33272" fmla="*/ 1131828 w 8079933"/>
              <a:gd name="connsiteY33272" fmla="*/ 2061472 h 4687251"/>
              <a:gd name="connsiteX33273" fmla="*/ 1131068 w 8079933"/>
              <a:gd name="connsiteY33273" fmla="*/ 2058549 h 4687251"/>
              <a:gd name="connsiteX33274" fmla="*/ 1131394 w 8079933"/>
              <a:gd name="connsiteY33274" fmla="*/ 2054109 h 4687251"/>
              <a:gd name="connsiteX33275" fmla="*/ 1130200 w 8079933"/>
              <a:gd name="connsiteY33275" fmla="*/ 2049129 h 4687251"/>
              <a:gd name="connsiteX33276" fmla="*/ 1130418 w 8079933"/>
              <a:gd name="connsiteY33276" fmla="*/ 2047072 h 4687251"/>
              <a:gd name="connsiteX33277" fmla="*/ 1132479 w 8079933"/>
              <a:gd name="connsiteY33277" fmla="*/ 2047396 h 4687251"/>
              <a:gd name="connsiteX33278" fmla="*/ 1135517 w 8079933"/>
              <a:gd name="connsiteY33278" fmla="*/ 2043931 h 4687251"/>
              <a:gd name="connsiteX33279" fmla="*/ 1135409 w 8079933"/>
              <a:gd name="connsiteY33279" fmla="*/ 2040142 h 4687251"/>
              <a:gd name="connsiteX33280" fmla="*/ 1132804 w 8079933"/>
              <a:gd name="connsiteY33280" fmla="*/ 2037544 h 4687251"/>
              <a:gd name="connsiteX33281" fmla="*/ 1129224 w 8079933"/>
              <a:gd name="connsiteY33281" fmla="*/ 2035378 h 4687251"/>
              <a:gd name="connsiteX33282" fmla="*/ 1128138 w 8079933"/>
              <a:gd name="connsiteY33282" fmla="*/ 2030723 h 4687251"/>
              <a:gd name="connsiteX33283" fmla="*/ 1125860 w 8079933"/>
              <a:gd name="connsiteY33283" fmla="*/ 2029532 h 4687251"/>
              <a:gd name="connsiteX33284" fmla="*/ 1125426 w 8079933"/>
              <a:gd name="connsiteY33284" fmla="*/ 2025742 h 4687251"/>
              <a:gd name="connsiteX33285" fmla="*/ 1126620 w 8079933"/>
              <a:gd name="connsiteY33285" fmla="*/ 2021411 h 4687251"/>
              <a:gd name="connsiteX33286" fmla="*/ 1126077 w 8079933"/>
              <a:gd name="connsiteY33286" fmla="*/ 2019246 h 4687251"/>
              <a:gd name="connsiteX33287" fmla="*/ 1128356 w 8079933"/>
              <a:gd name="connsiteY33287" fmla="*/ 2016972 h 4687251"/>
              <a:gd name="connsiteX33288" fmla="*/ 1127813 w 8079933"/>
              <a:gd name="connsiteY33288" fmla="*/ 2014049 h 4687251"/>
              <a:gd name="connsiteX33289" fmla="*/ 1129549 w 8079933"/>
              <a:gd name="connsiteY33289" fmla="*/ 2011558 h 4687251"/>
              <a:gd name="connsiteX33290" fmla="*/ 1131611 w 8079933"/>
              <a:gd name="connsiteY33290" fmla="*/ 2012966 h 4687251"/>
              <a:gd name="connsiteX33291" fmla="*/ 1133673 w 8079933"/>
              <a:gd name="connsiteY33291" fmla="*/ 2017297 h 4687251"/>
              <a:gd name="connsiteX33292" fmla="*/ 1137579 w 8079933"/>
              <a:gd name="connsiteY33292" fmla="*/ 2019354 h 4687251"/>
              <a:gd name="connsiteX33293" fmla="*/ 1136061 w 8079933"/>
              <a:gd name="connsiteY33293" fmla="*/ 2017297 h 4687251"/>
              <a:gd name="connsiteX33294" fmla="*/ 1134541 w 8079933"/>
              <a:gd name="connsiteY33294" fmla="*/ 2013725 h 4687251"/>
              <a:gd name="connsiteX33295" fmla="*/ 1133781 w 8079933"/>
              <a:gd name="connsiteY33295" fmla="*/ 2007444 h 4687251"/>
              <a:gd name="connsiteX33296" fmla="*/ 1131936 w 8079933"/>
              <a:gd name="connsiteY33296" fmla="*/ 2006145 h 4687251"/>
              <a:gd name="connsiteX33297" fmla="*/ 1132262 w 8079933"/>
              <a:gd name="connsiteY33297" fmla="*/ 2002897 h 4687251"/>
              <a:gd name="connsiteX33298" fmla="*/ 1134324 w 8079933"/>
              <a:gd name="connsiteY33298" fmla="*/ 2002897 h 4687251"/>
              <a:gd name="connsiteX33299" fmla="*/ 1136061 w 8079933"/>
              <a:gd name="connsiteY33299" fmla="*/ 2004413 h 4687251"/>
              <a:gd name="connsiteX33300" fmla="*/ 1140184 w 8079933"/>
              <a:gd name="connsiteY33300" fmla="*/ 2003222 h 4687251"/>
              <a:gd name="connsiteX33301" fmla="*/ 1144525 w 8079933"/>
              <a:gd name="connsiteY33301" fmla="*/ 2002139 h 4687251"/>
              <a:gd name="connsiteX33302" fmla="*/ 1138556 w 8079933"/>
              <a:gd name="connsiteY33302" fmla="*/ 2001489 h 4687251"/>
              <a:gd name="connsiteX33303" fmla="*/ 1137254 w 8079933"/>
              <a:gd name="connsiteY33303" fmla="*/ 1999758 h 4687251"/>
              <a:gd name="connsiteX33304" fmla="*/ 1133456 w 8079933"/>
              <a:gd name="connsiteY33304" fmla="*/ 1999649 h 4687251"/>
              <a:gd name="connsiteX33305" fmla="*/ 1133022 w 8079933"/>
              <a:gd name="connsiteY33305" fmla="*/ 1997700 h 4687251"/>
              <a:gd name="connsiteX33306" fmla="*/ 1131828 w 8079933"/>
              <a:gd name="connsiteY33306" fmla="*/ 1998675 h 4687251"/>
              <a:gd name="connsiteX33307" fmla="*/ 1128681 w 8079933"/>
              <a:gd name="connsiteY33307" fmla="*/ 1996834 h 4687251"/>
              <a:gd name="connsiteX33308" fmla="*/ 1128464 w 8079933"/>
              <a:gd name="connsiteY33308" fmla="*/ 2002139 h 4687251"/>
              <a:gd name="connsiteX33309" fmla="*/ 1128464 w 8079933"/>
              <a:gd name="connsiteY33309" fmla="*/ 2007336 h 4687251"/>
              <a:gd name="connsiteX33310" fmla="*/ 1127270 w 8079933"/>
              <a:gd name="connsiteY33310" fmla="*/ 2006687 h 4687251"/>
              <a:gd name="connsiteX33311" fmla="*/ 1125426 w 8079933"/>
              <a:gd name="connsiteY33311" fmla="*/ 2006795 h 4687251"/>
              <a:gd name="connsiteX33312" fmla="*/ 1124558 w 8079933"/>
              <a:gd name="connsiteY33312" fmla="*/ 2004413 h 4687251"/>
              <a:gd name="connsiteX33313" fmla="*/ 1119023 w 8079933"/>
              <a:gd name="connsiteY33313" fmla="*/ 1999216 h 4687251"/>
              <a:gd name="connsiteX33314" fmla="*/ 1117829 w 8079933"/>
              <a:gd name="connsiteY33314" fmla="*/ 1995860 h 4687251"/>
              <a:gd name="connsiteX33315" fmla="*/ 1119240 w 8079933"/>
              <a:gd name="connsiteY33315" fmla="*/ 1992828 h 4687251"/>
              <a:gd name="connsiteX33316" fmla="*/ 1118480 w 8079933"/>
              <a:gd name="connsiteY33316" fmla="*/ 1988281 h 4687251"/>
              <a:gd name="connsiteX33317" fmla="*/ 1108497 w 8079933"/>
              <a:gd name="connsiteY33317" fmla="*/ 1972906 h 4687251"/>
              <a:gd name="connsiteX33318" fmla="*/ 1107520 w 8079933"/>
              <a:gd name="connsiteY33318" fmla="*/ 1970199 h 4687251"/>
              <a:gd name="connsiteX33319" fmla="*/ 1108388 w 8079933"/>
              <a:gd name="connsiteY33319" fmla="*/ 1967059 h 4687251"/>
              <a:gd name="connsiteX33320" fmla="*/ 1110450 w 8079933"/>
              <a:gd name="connsiteY33320" fmla="*/ 1963487 h 4687251"/>
              <a:gd name="connsiteX33321" fmla="*/ 1109908 w 8079933"/>
              <a:gd name="connsiteY33321" fmla="*/ 1958722 h 4687251"/>
              <a:gd name="connsiteX33322" fmla="*/ 1107846 w 8079933"/>
              <a:gd name="connsiteY33322" fmla="*/ 1954608 h 4687251"/>
              <a:gd name="connsiteX33323" fmla="*/ 1107846 w 8079933"/>
              <a:gd name="connsiteY33323" fmla="*/ 1952335 h 4687251"/>
              <a:gd name="connsiteX33324" fmla="*/ 1110559 w 8079933"/>
              <a:gd name="connsiteY33324" fmla="*/ 1948004 h 4687251"/>
              <a:gd name="connsiteX33325" fmla="*/ 1111427 w 8079933"/>
              <a:gd name="connsiteY33325" fmla="*/ 1942698 h 4687251"/>
              <a:gd name="connsiteX33326" fmla="*/ 1111101 w 8079933"/>
              <a:gd name="connsiteY33326" fmla="*/ 1933063 h 4687251"/>
              <a:gd name="connsiteX33327" fmla="*/ 1107303 w 8079933"/>
              <a:gd name="connsiteY33327" fmla="*/ 1924292 h 4687251"/>
              <a:gd name="connsiteX33328" fmla="*/ 1103180 w 8079933"/>
              <a:gd name="connsiteY33328" fmla="*/ 1918663 h 4687251"/>
              <a:gd name="connsiteX33329" fmla="*/ 1103180 w 8079933"/>
              <a:gd name="connsiteY33329" fmla="*/ 1913249 h 4687251"/>
              <a:gd name="connsiteX33330" fmla="*/ 1105784 w 8079933"/>
              <a:gd name="connsiteY33330" fmla="*/ 1907835 h 4687251"/>
              <a:gd name="connsiteX33331" fmla="*/ 1112838 w 8079933"/>
              <a:gd name="connsiteY33331" fmla="*/ 1902963 h 4687251"/>
              <a:gd name="connsiteX33332" fmla="*/ 1115225 w 8079933"/>
              <a:gd name="connsiteY33332" fmla="*/ 1896684 h 4687251"/>
              <a:gd name="connsiteX33333" fmla="*/ 1113706 w 8079933"/>
              <a:gd name="connsiteY33333" fmla="*/ 1895601 h 4687251"/>
              <a:gd name="connsiteX33334" fmla="*/ 1112946 w 8079933"/>
              <a:gd name="connsiteY33334" fmla="*/ 1892461 h 4687251"/>
              <a:gd name="connsiteX33335" fmla="*/ 1115551 w 8079933"/>
              <a:gd name="connsiteY33335" fmla="*/ 1889971 h 4687251"/>
              <a:gd name="connsiteX33336" fmla="*/ 1118155 w 8079933"/>
              <a:gd name="connsiteY33336" fmla="*/ 1884557 h 4687251"/>
              <a:gd name="connsiteX33337" fmla="*/ 1119240 w 8079933"/>
              <a:gd name="connsiteY33337" fmla="*/ 1874813 h 4687251"/>
              <a:gd name="connsiteX33338" fmla="*/ 1117504 w 8079933"/>
              <a:gd name="connsiteY33338" fmla="*/ 1868966 h 4687251"/>
              <a:gd name="connsiteX33339" fmla="*/ 1117612 w 8079933"/>
              <a:gd name="connsiteY33339" fmla="*/ 1865177 h 4687251"/>
              <a:gd name="connsiteX33340" fmla="*/ 1119674 w 8079933"/>
              <a:gd name="connsiteY33340" fmla="*/ 1862362 h 4687251"/>
              <a:gd name="connsiteX33341" fmla="*/ 1116419 w 8079933"/>
              <a:gd name="connsiteY33341" fmla="*/ 1857273 h 4687251"/>
              <a:gd name="connsiteX33342" fmla="*/ 1116744 w 8079933"/>
              <a:gd name="connsiteY33342" fmla="*/ 1851102 h 4687251"/>
              <a:gd name="connsiteX33343" fmla="*/ 1119240 w 8079933"/>
              <a:gd name="connsiteY33343" fmla="*/ 1842007 h 4687251"/>
              <a:gd name="connsiteX33344" fmla="*/ 1118480 w 8079933"/>
              <a:gd name="connsiteY33344" fmla="*/ 1832804 h 4687251"/>
              <a:gd name="connsiteX33345" fmla="*/ 1120217 w 8079933"/>
              <a:gd name="connsiteY33345" fmla="*/ 1828689 h 4687251"/>
              <a:gd name="connsiteX33346" fmla="*/ 1126402 w 8079933"/>
              <a:gd name="connsiteY33346" fmla="*/ 1820786 h 4687251"/>
              <a:gd name="connsiteX33347" fmla="*/ 1127813 w 8079933"/>
              <a:gd name="connsiteY33347" fmla="*/ 1815914 h 4687251"/>
              <a:gd name="connsiteX33348" fmla="*/ 1130200 w 8079933"/>
              <a:gd name="connsiteY33348" fmla="*/ 1813532 h 4687251"/>
              <a:gd name="connsiteX33349" fmla="*/ 1133022 w 8079933"/>
              <a:gd name="connsiteY33349" fmla="*/ 1805628 h 4687251"/>
              <a:gd name="connsiteX33350" fmla="*/ 1137471 w 8079933"/>
              <a:gd name="connsiteY33350" fmla="*/ 1800431 h 4687251"/>
              <a:gd name="connsiteX33351" fmla="*/ 1140618 w 8079933"/>
              <a:gd name="connsiteY33351" fmla="*/ 1794260 h 4687251"/>
              <a:gd name="connsiteX33352" fmla="*/ 1142354 w 8079933"/>
              <a:gd name="connsiteY33352" fmla="*/ 1781483 h 4687251"/>
              <a:gd name="connsiteX33353" fmla="*/ 1148214 w 8079933"/>
              <a:gd name="connsiteY33353" fmla="*/ 1770115 h 4687251"/>
              <a:gd name="connsiteX33354" fmla="*/ 1149191 w 8079933"/>
              <a:gd name="connsiteY33354" fmla="*/ 1759504 h 4687251"/>
              <a:gd name="connsiteX33355" fmla="*/ 1155702 w 8079933"/>
              <a:gd name="connsiteY33355" fmla="*/ 1744996 h 4687251"/>
              <a:gd name="connsiteX33356" fmla="*/ 1158197 w 8079933"/>
              <a:gd name="connsiteY33356" fmla="*/ 1739800 h 4687251"/>
              <a:gd name="connsiteX33357" fmla="*/ 1161887 w 8079933"/>
              <a:gd name="connsiteY33357" fmla="*/ 1733303 h 4687251"/>
              <a:gd name="connsiteX33358" fmla="*/ 1161453 w 8079933"/>
              <a:gd name="connsiteY33358" fmla="*/ 1729839 h 4687251"/>
              <a:gd name="connsiteX33359" fmla="*/ 1161453 w 8079933"/>
              <a:gd name="connsiteY33359" fmla="*/ 1726266 h 4687251"/>
              <a:gd name="connsiteX33360" fmla="*/ 1166228 w 8079933"/>
              <a:gd name="connsiteY33360" fmla="*/ 1720094 h 4687251"/>
              <a:gd name="connsiteX33361" fmla="*/ 1166011 w 8079933"/>
              <a:gd name="connsiteY33361" fmla="*/ 1716305 h 4687251"/>
              <a:gd name="connsiteX33362" fmla="*/ 1167638 w 8079933"/>
              <a:gd name="connsiteY33362" fmla="*/ 1715114 h 4687251"/>
              <a:gd name="connsiteX33363" fmla="*/ 1170351 w 8079933"/>
              <a:gd name="connsiteY33363" fmla="*/ 1717171 h 4687251"/>
              <a:gd name="connsiteX33364" fmla="*/ 1178490 w 8079933"/>
              <a:gd name="connsiteY33364" fmla="*/ 1717496 h 4687251"/>
              <a:gd name="connsiteX33365" fmla="*/ 1181963 w 8079933"/>
              <a:gd name="connsiteY33365" fmla="*/ 1719878 h 4687251"/>
              <a:gd name="connsiteX33366" fmla="*/ 1184893 w 8079933"/>
              <a:gd name="connsiteY33366" fmla="*/ 1719445 h 4687251"/>
              <a:gd name="connsiteX33367" fmla="*/ 1189125 w 8079933"/>
              <a:gd name="connsiteY33367" fmla="*/ 1721935 h 4687251"/>
              <a:gd name="connsiteX33368" fmla="*/ 1191404 w 8079933"/>
              <a:gd name="connsiteY33368" fmla="*/ 1727349 h 4687251"/>
              <a:gd name="connsiteX33369" fmla="*/ 1190536 w 8079933"/>
              <a:gd name="connsiteY33369" fmla="*/ 1721502 h 4687251"/>
              <a:gd name="connsiteX33370" fmla="*/ 1188148 w 8079933"/>
              <a:gd name="connsiteY33370" fmla="*/ 1718362 h 4687251"/>
              <a:gd name="connsiteX33371" fmla="*/ 1183157 w 8079933"/>
              <a:gd name="connsiteY33371" fmla="*/ 1717496 h 4687251"/>
              <a:gd name="connsiteX33372" fmla="*/ 1179142 w 8079933"/>
              <a:gd name="connsiteY33372" fmla="*/ 1714247 h 4687251"/>
              <a:gd name="connsiteX33373" fmla="*/ 1172631 w 8079933"/>
              <a:gd name="connsiteY33373" fmla="*/ 1713706 h 4687251"/>
              <a:gd name="connsiteX33374" fmla="*/ 1166011 w 8079933"/>
              <a:gd name="connsiteY33374" fmla="*/ 1711974 h 4687251"/>
              <a:gd name="connsiteX33375" fmla="*/ 1165577 w 8079933"/>
              <a:gd name="connsiteY33375" fmla="*/ 1709376 h 4687251"/>
              <a:gd name="connsiteX33376" fmla="*/ 1167205 w 8079933"/>
              <a:gd name="connsiteY33376" fmla="*/ 1707535 h 4687251"/>
              <a:gd name="connsiteX33377" fmla="*/ 1168833 w 8079933"/>
              <a:gd name="connsiteY33377" fmla="*/ 1708184 h 4687251"/>
              <a:gd name="connsiteX33378" fmla="*/ 1171545 w 8079933"/>
              <a:gd name="connsiteY33378" fmla="*/ 1704937 h 4687251"/>
              <a:gd name="connsiteX33379" fmla="*/ 1171762 w 8079933"/>
              <a:gd name="connsiteY33379" fmla="*/ 1700280 h 4687251"/>
              <a:gd name="connsiteX33380" fmla="*/ 1173173 w 8079933"/>
              <a:gd name="connsiteY33380" fmla="*/ 1696708 h 4687251"/>
              <a:gd name="connsiteX33381" fmla="*/ 1169375 w 8079933"/>
              <a:gd name="connsiteY33381" fmla="*/ 1695192 h 4687251"/>
              <a:gd name="connsiteX33382" fmla="*/ 1167638 w 8079933"/>
              <a:gd name="connsiteY33382" fmla="*/ 1693135 h 4687251"/>
              <a:gd name="connsiteX33383" fmla="*/ 1168833 w 8079933"/>
              <a:gd name="connsiteY33383" fmla="*/ 1689345 h 4687251"/>
              <a:gd name="connsiteX33384" fmla="*/ 1171219 w 8079933"/>
              <a:gd name="connsiteY33384" fmla="*/ 1689345 h 4687251"/>
              <a:gd name="connsiteX33385" fmla="*/ 1173173 w 8079933"/>
              <a:gd name="connsiteY33385" fmla="*/ 1686531 h 4687251"/>
              <a:gd name="connsiteX33386" fmla="*/ 1172739 w 8079933"/>
              <a:gd name="connsiteY33386" fmla="*/ 1684798 h 4687251"/>
              <a:gd name="connsiteX33387" fmla="*/ 1169701 w 8079933"/>
              <a:gd name="connsiteY33387" fmla="*/ 1683932 h 4687251"/>
              <a:gd name="connsiteX33388" fmla="*/ 1169375 w 8079933"/>
              <a:gd name="connsiteY33388" fmla="*/ 1680900 h 4687251"/>
              <a:gd name="connsiteX33389" fmla="*/ 1170351 w 8079933"/>
              <a:gd name="connsiteY33389" fmla="*/ 1674837 h 4687251"/>
              <a:gd name="connsiteX33390" fmla="*/ 1169158 w 8079933"/>
              <a:gd name="connsiteY33390" fmla="*/ 1668666 h 4687251"/>
              <a:gd name="connsiteX33391" fmla="*/ 1171545 w 8079933"/>
              <a:gd name="connsiteY33391" fmla="*/ 1656539 h 4687251"/>
              <a:gd name="connsiteX33392" fmla="*/ 1168941 w 8079933"/>
              <a:gd name="connsiteY33392" fmla="*/ 1647661 h 4687251"/>
              <a:gd name="connsiteX33393" fmla="*/ 1168833 w 8079933"/>
              <a:gd name="connsiteY33393" fmla="*/ 1643438 h 4687251"/>
              <a:gd name="connsiteX33394" fmla="*/ 1172631 w 8079933"/>
              <a:gd name="connsiteY33394" fmla="*/ 1634669 h 4687251"/>
              <a:gd name="connsiteX33395" fmla="*/ 1173281 w 8079933"/>
              <a:gd name="connsiteY33395" fmla="*/ 1629797 h 4687251"/>
              <a:gd name="connsiteX33396" fmla="*/ 1175017 w 8079933"/>
              <a:gd name="connsiteY33396" fmla="*/ 1629364 h 4687251"/>
              <a:gd name="connsiteX33397" fmla="*/ 1186086 w 8079933"/>
              <a:gd name="connsiteY33397" fmla="*/ 1638999 h 4687251"/>
              <a:gd name="connsiteX33398" fmla="*/ 1191946 w 8079933"/>
              <a:gd name="connsiteY33398" fmla="*/ 1642681 h 4687251"/>
              <a:gd name="connsiteX33399" fmla="*/ 1202581 w 8079933"/>
              <a:gd name="connsiteY33399" fmla="*/ 1643438 h 4687251"/>
              <a:gd name="connsiteX33400" fmla="*/ 1206379 w 8079933"/>
              <a:gd name="connsiteY33400" fmla="*/ 1645279 h 4687251"/>
              <a:gd name="connsiteX33401" fmla="*/ 1208658 w 8079933"/>
              <a:gd name="connsiteY33401" fmla="*/ 1649610 h 4687251"/>
              <a:gd name="connsiteX33402" fmla="*/ 1210828 w 8079933"/>
              <a:gd name="connsiteY33402" fmla="*/ 1648527 h 4687251"/>
              <a:gd name="connsiteX33403" fmla="*/ 1213107 w 8079933"/>
              <a:gd name="connsiteY33403" fmla="*/ 1648744 h 4687251"/>
              <a:gd name="connsiteX33404" fmla="*/ 1214626 w 8079933"/>
              <a:gd name="connsiteY33404" fmla="*/ 1651668 h 4687251"/>
              <a:gd name="connsiteX33405" fmla="*/ 1213324 w 8079933"/>
              <a:gd name="connsiteY33405" fmla="*/ 1654374 h 4687251"/>
              <a:gd name="connsiteX33406" fmla="*/ 1208224 w 8079933"/>
              <a:gd name="connsiteY33406" fmla="*/ 1656323 h 4687251"/>
              <a:gd name="connsiteX33407" fmla="*/ 1203775 w 8079933"/>
              <a:gd name="connsiteY33407" fmla="*/ 1660762 h 4687251"/>
              <a:gd name="connsiteX33408" fmla="*/ 1203666 w 8079933"/>
              <a:gd name="connsiteY33408" fmla="*/ 1663144 h 4687251"/>
              <a:gd name="connsiteX33409" fmla="*/ 1207464 w 8079933"/>
              <a:gd name="connsiteY33409" fmla="*/ 1663144 h 4687251"/>
              <a:gd name="connsiteX33410" fmla="*/ 1209092 w 8079933"/>
              <a:gd name="connsiteY33410" fmla="*/ 1660221 h 4687251"/>
              <a:gd name="connsiteX33411" fmla="*/ 1214084 w 8079933"/>
              <a:gd name="connsiteY33411" fmla="*/ 1656106 h 4687251"/>
              <a:gd name="connsiteX33412" fmla="*/ 1216580 w 8079933"/>
              <a:gd name="connsiteY33412" fmla="*/ 1655565 h 4687251"/>
              <a:gd name="connsiteX33413" fmla="*/ 1217014 w 8079933"/>
              <a:gd name="connsiteY33413" fmla="*/ 1659354 h 4687251"/>
              <a:gd name="connsiteX33414" fmla="*/ 1213432 w 8079933"/>
              <a:gd name="connsiteY33414" fmla="*/ 1662494 h 4687251"/>
              <a:gd name="connsiteX33415" fmla="*/ 1210719 w 8079933"/>
              <a:gd name="connsiteY33415" fmla="*/ 1668125 h 4687251"/>
              <a:gd name="connsiteX33416" fmla="*/ 1210503 w 8079933"/>
              <a:gd name="connsiteY33416" fmla="*/ 1673971 h 4687251"/>
              <a:gd name="connsiteX33417" fmla="*/ 1208983 w 8079933"/>
              <a:gd name="connsiteY33417" fmla="*/ 1675703 h 4687251"/>
              <a:gd name="connsiteX33418" fmla="*/ 1208224 w 8079933"/>
              <a:gd name="connsiteY33418" fmla="*/ 1672131 h 4687251"/>
              <a:gd name="connsiteX33419" fmla="*/ 1205185 w 8079933"/>
              <a:gd name="connsiteY33419" fmla="*/ 1674729 h 4687251"/>
              <a:gd name="connsiteX33420" fmla="*/ 1204100 w 8079933"/>
              <a:gd name="connsiteY33420" fmla="*/ 1672780 h 4687251"/>
              <a:gd name="connsiteX33421" fmla="*/ 1200737 w 8079933"/>
              <a:gd name="connsiteY33421" fmla="*/ 1677111 h 4687251"/>
              <a:gd name="connsiteX33422" fmla="*/ 1202038 w 8079933"/>
              <a:gd name="connsiteY33422" fmla="*/ 1679493 h 4687251"/>
              <a:gd name="connsiteX33423" fmla="*/ 1206053 w 8079933"/>
              <a:gd name="connsiteY33423" fmla="*/ 1681550 h 4687251"/>
              <a:gd name="connsiteX33424" fmla="*/ 1211154 w 8079933"/>
              <a:gd name="connsiteY33424" fmla="*/ 1678193 h 4687251"/>
              <a:gd name="connsiteX33425" fmla="*/ 1212782 w 8079933"/>
              <a:gd name="connsiteY33425" fmla="*/ 1673971 h 4687251"/>
              <a:gd name="connsiteX33426" fmla="*/ 1215386 w 8079933"/>
              <a:gd name="connsiteY33426" fmla="*/ 1671048 h 4687251"/>
              <a:gd name="connsiteX33427" fmla="*/ 1215494 w 8079933"/>
              <a:gd name="connsiteY33427" fmla="*/ 1665742 h 4687251"/>
              <a:gd name="connsiteX33428" fmla="*/ 1218316 w 8079933"/>
              <a:gd name="connsiteY33428" fmla="*/ 1663360 h 4687251"/>
              <a:gd name="connsiteX33429" fmla="*/ 1219618 w 8079933"/>
              <a:gd name="connsiteY33429" fmla="*/ 1657297 h 4687251"/>
              <a:gd name="connsiteX33430" fmla="*/ 1223633 w 8079933"/>
              <a:gd name="connsiteY33430" fmla="*/ 1654807 h 4687251"/>
              <a:gd name="connsiteX33431" fmla="*/ 1227540 w 8079933"/>
              <a:gd name="connsiteY33431" fmla="*/ 1649935 h 4687251"/>
              <a:gd name="connsiteX33432" fmla="*/ 1225370 w 8079933"/>
              <a:gd name="connsiteY33432" fmla="*/ 1647228 h 4687251"/>
              <a:gd name="connsiteX33433" fmla="*/ 1224935 w 8079933"/>
              <a:gd name="connsiteY33433" fmla="*/ 1643872 h 4687251"/>
              <a:gd name="connsiteX33434" fmla="*/ 1223416 w 8079933"/>
              <a:gd name="connsiteY33434" fmla="*/ 1642572 h 4687251"/>
              <a:gd name="connsiteX33435" fmla="*/ 1226238 w 8079933"/>
              <a:gd name="connsiteY33435" fmla="*/ 1638783 h 4687251"/>
              <a:gd name="connsiteX33436" fmla="*/ 1227757 w 8079933"/>
              <a:gd name="connsiteY33436" fmla="*/ 1636834 h 4687251"/>
              <a:gd name="connsiteX33437" fmla="*/ 1224285 w 8079933"/>
              <a:gd name="connsiteY33437" fmla="*/ 1634452 h 4687251"/>
              <a:gd name="connsiteX33438" fmla="*/ 1223633 w 8079933"/>
              <a:gd name="connsiteY33438" fmla="*/ 1630554 h 4687251"/>
              <a:gd name="connsiteX33439" fmla="*/ 1227757 w 8079933"/>
              <a:gd name="connsiteY33439" fmla="*/ 1627414 h 4687251"/>
              <a:gd name="connsiteX33440" fmla="*/ 1228299 w 8079933"/>
              <a:gd name="connsiteY33440" fmla="*/ 1624166 h 4687251"/>
              <a:gd name="connsiteX33441" fmla="*/ 1223091 w 8079933"/>
              <a:gd name="connsiteY33441" fmla="*/ 1620377 h 4687251"/>
              <a:gd name="connsiteX33442" fmla="*/ 1221246 w 8079933"/>
              <a:gd name="connsiteY33442" fmla="*/ 1611933 h 4687251"/>
              <a:gd name="connsiteX33443" fmla="*/ 1221245 w 8079933"/>
              <a:gd name="connsiteY33443" fmla="*/ 1611932 h 4687251"/>
              <a:gd name="connsiteX33444" fmla="*/ 1221245 w 8079933"/>
              <a:gd name="connsiteY33444" fmla="*/ 1611824 h 4687251"/>
              <a:gd name="connsiteX33445" fmla="*/ 1217556 w 8079933"/>
              <a:gd name="connsiteY33445" fmla="*/ 1611066 h 4687251"/>
              <a:gd name="connsiteX33446" fmla="*/ 1216036 w 8079933"/>
              <a:gd name="connsiteY33446" fmla="*/ 1603054 h 4687251"/>
              <a:gd name="connsiteX33447" fmla="*/ 1220486 w 8079933"/>
              <a:gd name="connsiteY33447" fmla="*/ 1593418 h 4687251"/>
              <a:gd name="connsiteX33448" fmla="*/ 1221897 w 8079933"/>
              <a:gd name="connsiteY33448" fmla="*/ 1587355 h 4687251"/>
              <a:gd name="connsiteX33449" fmla="*/ 1218966 w 8079933"/>
              <a:gd name="connsiteY33449" fmla="*/ 1590170 h 4687251"/>
              <a:gd name="connsiteX33450" fmla="*/ 1213432 w 8079933"/>
              <a:gd name="connsiteY33450" fmla="*/ 1592010 h 4687251"/>
              <a:gd name="connsiteX33451" fmla="*/ 1207572 w 8079933"/>
              <a:gd name="connsiteY33451" fmla="*/ 1595259 h 4687251"/>
              <a:gd name="connsiteX33452" fmla="*/ 1203232 w 8079933"/>
              <a:gd name="connsiteY33452" fmla="*/ 1589087 h 4687251"/>
              <a:gd name="connsiteX33453" fmla="*/ 1203449 w 8079933"/>
              <a:gd name="connsiteY33453" fmla="*/ 1584324 h 4687251"/>
              <a:gd name="connsiteX33454" fmla="*/ 1206053 w 8079933"/>
              <a:gd name="connsiteY33454" fmla="*/ 1584757 h 4687251"/>
              <a:gd name="connsiteX33455" fmla="*/ 1207789 w 8079933"/>
              <a:gd name="connsiteY33455" fmla="*/ 1588763 h 4687251"/>
              <a:gd name="connsiteX33456" fmla="*/ 1209960 w 8079933"/>
              <a:gd name="connsiteY33456" fmla="*/ 1589304 h 4687251"/>
              <a:gd name="connsiteX33457" fmla="*/ 1210393 w 8079933"/>
              <a:gd name="connsiteY33457" fmla="*/ 1586489 h 4687251"/>
              <a:gd name="connsiteX33458" fmla="*/ 1208115 w 8079933"/>
              <a:gd name="connsiteY33458" fmla="*/ 1582591 h 4687251"/>
              <a:gd name="connsiteX33459" fmla="*/ 1206921 w 8079933"/>
              <a:gd name="connsiteY33459" fmla="*/ 1578585 h 4687251"/>
              <a:gd name="connsiteX33460" fmla="*/ 1203449 w 8079933"/>
              <a:gd name="connsiteY33460" fmla="*/ 1578585 h 4687251"/>
              <a:gd name="connsiteX33461" fmla="*/ 1200302 w 8079933"/>
              <a:gd name="connsiteY33461" fmla="*/ 1580642 h 4687251"/>
              <a:gd name="connsiteX33462" fmla="*/ 1195310 w 8079933"/>
              <a:gd name="connsiteY33462" fmla="*/ 1578261 h 4687251"/>
              <a:gd name="connsiteX33463" fmla="*/ 1191946 w 8079933"/>
              <a:gd name="connsiteY33463" fmla="*/ 1572089 h 4687251"/>
              <a:gd name="connsiteX33464" fmla="*/ 1192055 w 8079933"/>
              <a:gd name="connsiteY33464" fmla="*/ 1569816 h 4687251"/>
              <a:gd name="connsiteX33465" fmla="*/ 1198131 w 8079933"/>
              <a:gd name="connsiteY33465" fmla="*/ 1565701 h 4687251"/>
              <a:gd name="connsiteX33466" fmla="*/ 1200736 w 8079933"/>
              <a:gd name="connsiteY33466" fmla="*/ 1560071 h 4687251"/>
              <a:gd name="connsiteX33467" fmla="*/ 1203774 w 8079933"/>
              <a:gd name="connsiteY33467" fmla="*/ 1556931 h 4687251"/>
              <a:gd name="connsiteX33468" fmla="*/ 1202472 w 8079933"/>
              <a:gd name="connsiteY33468" fmla="*/ 1555523 h 4687251"/>
              <a:gd name="connsiteX33469" fmla="*/ 1197914 w 8079933"/>
              <a:gd name="connsiteY33469" fmla="*/ 1556931 h 4687251"/>
              <a:gd name="connsiteX33470" fmla="*/ 1192814 w 8079933"/>
              <a:gd name="connsiteY33470" fmla="*/ 1556931 h 4687251"/>
              <a:gd name="connsiteX33471" fmla="*/ 1191512 w 8079933"/>
              <a:gd name="connsiteY33471" fmla="*/ 1555090 h 4687251"/>
              <a:gd name="connsiteX33472" fmla="*/ 1194984 w 8079933"/>
              <a:gd name="connsiteY33472" fmla="*/ 1551409 h 4687251"/>
              <a:gd name="connsiteX33473" fmla="*/ 1199108 w 8079933"/>
              <a:gd name="connsiteY33473" fmla="*/ 1545129 h 4687251"/>
              <a:gd name="connsiteX33474" fmla="*/ 1199325 w 8079933"/>
              <a:gd name="connsiteY33474" fmla="*/ 1538417 h 4687251"/>
              <a:gd name="connsiteX33475" fmla="*/ 1201170 w 8079933"/>
              <a:gd name="connsiteY33475" fmla="*/ 1535927 h 4687251"/>
              <a:gd name="connsiteX33476" fmla="*/ 1201170 w 8079933"/>
              <a:gd name="connsiteY33476" fmla="*/ 1533112 h 4687251"/>
              <a:gd name="connsiteX33477" fmla="*/ 1198239 w 8079933"/>
              <a:gd name="connsiteY33477" fmla="*/ 1533869 h 4687251"/>
              <a:gd name="connsiteX33478" fmla="*/ 1196395 w 8079933"/>
              <a:gd name="connsiteY33478" fmla="*/ 1537875 h 4687251"/>
              <a:gd name="connsiteX33479" fmla="*/ 1195744 w 8079933"/>
              <a:gd name="connsiteY33479" fmla="*/ 1546212 h 4687251"/>
              <a:gd name="connsiteX33480" fmla="*/ 1190535 w 8079933"/>
              <a:gd name="connsiteY33480" fmla="*/ 1553358 h 4687251"/>
              <a:gd name="connsiteX33481" fmla="*/ 1187605 w 8079933"/>
              <a:gd name="connsiteY33481" fmla="*/ 1553900 h 4687251"/>
              <a:gd name="connsiteX33482" fmla="*/ 1184784 w 8079933"/>
              <a:gd name="connsiteY33482" fmla="*/ 1551951 h 4687251"/>
              <a:gd name="connsiteX33483" fmla="*/ 1182179 w 8079933"/>
              <a:gd name="connsiteY33483" fmla="*/ 1550976 h 4687251"/>
              <a:gd name="connsiteX33484" fmla="*/ 1182179 w 8079933"/>
              <a:gd name="connsiteY33484" fmla="*/ 1548594 h 4687251"/>
              <a:gd name="connsiteX33485" fmla="*/ 1183699 w 8079933"/>
              <a:gd name="connsiteY33485" fmla="*/ 1546537 h 4687251"/>
              <a:gd name="connsiteX33486" fmla="*/ 1183699 w 8079933"/>
              <a:gd name="connsiteY33486" fmla="*/ 1544372 h 4687251"/>
              <a:gd name="connsiteX33487" fmla="*/ 1179901 w 8079933"/>
              <a:gd name="connsiteY33487" fmla="*/ 1546862 h 4687251"/>
              <a:gd name="connsiteX33488" fmla="*/ 1177730 w 8079933"/>
              <a:gd name="connsiteY33488" fmla="*/ 1549785 h 4687251"/>
              <a:gd name="connsiteX33489" fmla="*/ 1176211 w 8079933"/>
              <a:gd name="connsiteY33489" fmla="*/ 1549894 h 4687251"/>
              <a:gd name="connsiteX33490" fmla="*/ 1175018 w 8079933"/>
              <a:gd name="connsiteY33490" fmla="*/ 1547186 h 4687251"/>
              <a:gd name="connsiteX33491" fmla="*/ 1172413 w 8079933"/>
              <a:gd name="connsiteY33491" fmla="*/ 1547945 h 4687251"/>
              <a:gd name="connsiteX33492" fmla="*/ 1169917 w 8079933"/>
              <a:gd name="connsiteY33492" fmla="*/ 1550002 h 4687251"/>
              <a:gd name="connsiteX33493" fmla="*/ 1166662 w 8079933"/>
              <a:gd name="connsiteY33493" fmla="*/ 1548161 h 4687251"/>
              <a:gd name="connsiteX33494" fmla="*/ 1166553 w 8079933"/>
              <a:gd name="connsiteY33494" fmla="*/ 1546429 h 4687251"/>
              <a:gd name="connsiteX33495" fmla="*/ 1169917 w 8079933"/>
              <a:gd name="connsiteY33495" fmla="*/ 1542747 h 4687251"/>
              <a:gd name="connsiteX33496" fmla="*/ 1173823 w 8079933"/>
              <a:gd name="connsiteY33496" fmla="*/ 1542531 h 4687251"/>
              <a:gd name="connsiteX33497" fmla="*/ 1179466 w 8079933"/>
              <a:gd name="connsiteY33497" fmla="*/ 1541015 h 4687251"/>
              <a:gd name="connsiteX33498" fmla="*/ 1185760 w 8079933"/>
              <a:gd name="connsiteY33498" fmla="*/ 1536468 h 4687251"/>
              <a:gd name="connsiteX33499" fmla="*/ 1187930 w 8079933"/>
              <a:gd name="connsiteY33499" fmla="*/ 1532029 h 4687251"/>
              <a:gd name="connsiteX33500" fmla="*/ 1187822 w 8079933"/>
              <a:gd name="connsiteY33500" fmla="*/ 1527048 h 4687251"/>
              <a:gd name="connsiteX33501" fmla="*/ 1187062 w 8079933"/>
              <a:gd name="connsiteY33501" fmla="*/ 1531162 h 4687251"/>
              <a:gd name="connsiteX33502" fmla="*/ 1182830 w 8079933"/>
              <a:gd name="connsiteY33502" fmla="*/ 1534086 h 4687251"/>
              <a:gd name="connsiteX33503" fmla="*/ 1180009 w 8079933"/>
              <a:gd name="connsiteY33503" fmla="*/ 1539066 h 4687251"/>
              <a:gd name="connsiteX33504" fmla="*/ 1177404 w 8079933"/>
              <a:gd name="connsiteY33504" fmla="*/ 1540798 h 4687251"/>
              <a:gd name="connsiteX33505" fmla="*/ 1170893 w 8079933"/>
              <a:gd name="connsiteY33505" fmla="*/ 1538525 h 4687251"/>
              <a:gd name="connsiteX33506" fmla="*/ 1169483 w 8079933"/>
              <a:gd name="connsiteY33506" fmla="*/ 1535168 h 4687251"/>
              <a:gd name="connsiteX33507" fmla="*/ 1165359 w 8079933"/>
              <a:gd name="connsiteY33507" fmla="*/ 1534735 h 4687251"/>
              <a:gd name="connsiteX33508" fmla="*/ 1165359 w 8079933"/>
              <a:gd name="connsiteY33508" fmla="*/ 1533112 h 4687251"/>
              <a:gd name="connsiteX33509" fmla="*/ 1168832 w 8079933"/>
              <a:gd name="connsiteY33509" fmla="*/ 1531704 h 4687251"/>
              <a:gd name="connsiteX33510" fmla="*/ 1166879 w 8079933"/>
              <a:gd name="connsiteY33510" fmla="*/ 1529972 h 4687251"/>
              <a:gd name="connsiteX33511" fmla="*/ 1160910 w 8079933"/>
              <a:gd name="connsiteY33511" fmla="*/ 1531162 h 4687251"/>
              <a:gd name="connsiteX33512" fmla="*/ 1157112 w 8079933"/>
              <a:gd name="connsiteY33512" fmla="*/ 1529105 h 4687251"/>
              <a:gd name="connsiteX33513" fmla="*/ 1153856 w 8079933"/>
              <a:gd name="connsiteY33513" fmla="*/ 1529430 h 4687251"/>
              <a:gd name="connsiteX33514" fmla="*/ 1152988 w 8079933"/>
              <a:gd name="connsiteY33514" fmla="*/ 1533112 h 4687251"/>
              <a:gd name="connsiteX33515" fmla="*/ 1147454 w 8079933"/>
              <a:gd name="connsiteY33515" fmla="*/ 1529322 h 4687251"/>
              <a:gd name="connsiteX33516" fmla="*/ 1145175 w 8079933"/>
              <a:gd name="connsiteY33516" fmla="*/ 1524666 h 4687251"/>
              <a:gd name="connsiteX33517" fmla="*/ 1146912 w 8079933"/>
              <a:gd name="connsiteY33517" fmla="*/ 1522934 h 4687251"/>
              <a:gd name="connsiteX33518" fmla="*/ 1149842 w 8079933"/>
              <a:gd name="connsiteY33518" fmla="*/ 1525100 h 4687251"/>
              <a:gd name="connsiteX33519" fmla="*/ 1155376 w 8079933"/>
              <a:gd name="connsiteY33519" fmla="*/ 1526507 h 4687251"/>
              <a:gd name="connsiteX33520" fmla="*/ 1160910 w 8079933"/>
              <a:gd name="connsiteY33520" fmla="*/ 1525533 h 4687251"/>
              <a:gd name="connsiteX33521" fmla="*/ 1161236 w 8079933"/>
              <a:gd name="connsiteY33521" fmla="*/ 1523150 h 4687251"/>
              <a:gd name="connsiteX33522" fmla="*/ 1158631 w 8079933"/>
              <a:gd name="connsiteY33522" fmla="*/ 1523476 h 4687251"/>
              <a:gd name="connsiteX33523" fmla="*/ 1152228 w 8079933"/>
              <a:gd name="connsiteY33523" fmla="*/ 1523259 h 4687251"/>
              <a:gd name="connsiteX33524" fmla="*/ 1150710 w 8079933"/>
              <a:gd name="connsiteY33524" fmla="*/ 1522068 h 4687251"/>
              <a:gd name="connsiteX33525" fmla="*/ 1151578 w 8079933"/>
              <a:gd name="connsiteY33525" fmla="*/ 1520877 h 4687251"/>
              <a:gd name="connsiteX33526" fmla="*/ 1155701 w 8079933"/>
              <a:gd name="connsiteY33526" fmla="*/ 1521851 h 4687251"/>
              <a:gd name="connsiteX33527" fmla="*/ 1160367 w 8079933"/>
              <a:gd name="connsiteY33527" fmla="*/ 1520877 h 4687251"/>
              <a:gd name="connsiteX33528" fmla="*/ 1161127 w 8079933"/>
              <a:gd name="connsiteY33528" fmla="*/ 1518819 h 4687251"/>
              <a:gd name="connsiteX33529" fmla="*/ 1155050 w 8079933"/>
              <a:gd name="connsiteY33529" fmla="*/ 1518928 h 4687251"/>
              <a:gd name="connsiteX33530" fmla="*/ 1151903 w 8079933"/>
              <a:gd name="connsiteY33530" fmla="*/ 1517087 h 4687251"/>
              <a:gd name="connsiteX33531" fmla="*/ 1146803 w 8079933"/>
              <a:gd name="connsiteY33531" fmla="*/ 1518278 h 4687251"/>
              <a:gd name="connsiteX33532" fmla="*/ 1143547 w 8079933"/>
              <a:gd name="connsiteY33532" fmla="*/ 1518278 h 4687251"/>
              <a:gd name="connsiteX33533" fmla="*/ 1141269 w 8079933"/>
              <a:gd name="connsiteY33533" fmla="*/ 1516438 h 4687251"/>
              <a:gd name="connsiteX33534" fmla="*/ 1142246 w 8079933"/>
              <a:gd name="connsiteY33534" fmla="*/ 1512215 h 4687251"/>
              <a:gd name="connsiteX33535" fmla="*/ 1146586 w 8079933"/>
              <a:gd name="connsiteY33535" fmla="*/ 1511241 h 4687251"/>
              <a:gd name="connsiteX33536" fmla="*/ 1149516 w 8079933"/>
              <a:gd name="connsiteY33536" fmla="*/ 1513298 h 4687251"/>
              <a:gd name="connsiteX33537" fmla="*/ 1154182 w 8079933"/>
              <a:gd name="connsiteY33537" fmla="*/ 1513623 h 4687251"/>
              <a:gd name="connsiteX33538" fmla="*/ 1156895 w 8079933"/>
              <a:gd name="connsiteY33538" fmla="*/ 1511025 h 4687251"/>
              <a:gd name="connsiteX33539" fmla="*/ 1152228 w 8079933"/>
              <a:gd name="connsiteY33539" fmla="*/ 1511025 h 4687251"/>
              <a:gd name="connsiteX33540" fmla="*/ 1148865 w 8079933"/>
              <a:gd name="connsiteY33540" fmla="*/ 1509184 h 4687251"/>
              <a:gd name="connsiteX33541" fmla="*/ 1143114 w 8079933"/>
              <a:gd name="connsiteY33541" fmla="*/ 1508967 h 4687251"/>
              <a:gd name="connsiteX33542" fmla="*/ 1143656 w 8079933"/>
              <a:gd name="connsiteY33542" fmla="*/ 1507235 h 4687251"/>
              <a:gd name="connsiteX33543" fmla="*/ 1150384 w 8079933"/>
              <a:gd name="connsiteY33543" fmla="*/ 1505503 h 4687251"/>
              <a:gd name="connsiteX33544" fmla="*/ 1152988 w 8079933"/>
              <a:gd name="connsiteY33544" fmla="*/ 1506801 h 4687251"/>
              <a:gd name="connsiteX33545" fmla="*/ 1155918 w 8079933"/>
              <a:gd name="connsiteY33545" fmla="*/ 1505935 h 4687251"/>
              <a:gd name="connsiteX33546" fmla="*/ 1155050 w 8079933"/>
              <a:gd name="connsiteY33546" fmla="*/ 1503662 h 4687251"/>
              <a:gd name="connsiteX33547" fmla="*/ 1155050 w 8079933"/>
              <a:gd name="connsiteY33547" fmla="*/ 1501280 h 4687251"/>
              <a:gd name="connsiteX33548" fmla="*/ 1157763 w 8079933"/>
              <a:gd name="connsiteY33548" fmla="*/ 1498681 h 4687251"/>
              <a:gd name="connsiteX33549" fmla="*/ 1163840 w 8079933"/>
              <a:gd name="connsiteY33549" fmla="*/ 1498681 h 4687251"/>
              <a:gd name="connsiteX33550" fmla="*/ 1167963 w 8079933"/>
              <a:gd name="connsiteY33550" fmla="*/ 1499548 h 4687251"/>
              <a:gd name="connsiteX33551" fmla="*/ 1169375 w 8079933"/>
              <a:gd name="connsiteY33551" fmla="*/ 1498140 h 4687251"/>
              <a:gd name="connsiteX33552" fmla="*/ 1161887 w 8079933"/>
              <a:gd name="connsiteY33552" fmla="*/ 1497166 h 4687251"/>
              <a:gd name="connsiteX33553" fmla="*/ 1159716 w 8079933"/>
              <a:gd name="connsiteY33553" fmla="*/ 1494784 h 4687251"/>
              <a:gd name="connsiteX33554" fmla="*/ 1157438 w 8079933"/>
              <a:gd name="connsiteY33554" fmla="*/ 1494026 h 4687251"/>
              <a:gd name="connsiteX33555" fmla="*/ 1155050 w 8079933"/>
              <a:gd name="connsiteY33555" fmla="*/ 1497815 h 4687251"/>
              <a:gd name="connsiteX33556" fmla="*/ 1150710 w 8079933"/>
              <a:gd name="connsiteY33556" fmla="*/ 1499872 h 4687251"/>
              <a:gd name="connsiteX33557" fmla="*/ 1147562 w 8079933"/>
              <a:gd name="connsiteY33557" fmla="*/ 1502146 h 4687251"/>
              <a:gd name="connsiteX33558" fmla="*/ 1146044 w 8079933"/>
              <a:gd name="connsiteY33558" fmla="*/ 1500739 h 4687251"/>
              <a:gd name="connsiteX33559" fmla="*/ 1146369 w 8079933"/>
              <a:gd name="connsiteY33559" fmla="*/ 1497274 h 4687251"/>
              <a:gd name="connsiteX33560" fmla="*/ 1145718 w 8079933"/>
              <a:gd name="connsiteY33560" fmla="*/ 1493809 h 4687251"/>
              <a:gd name="connsiteX33561" fmla="*/ 1147454 w 8079933"/>
              <a:gd name="connsiteY33561" fmla="*/ 1490128 h 4687251"/>
              <a:gd name="connsiteX33562" fmla="*/ 1153531 w 8079933"/>
              <a:gd name="connsiteY33562" fmla="*/ 1487097 h 4687251"/>
              <a:gd name="connsiteX33563" fmla="*/ 1156027 w 8079933"/>
              <a:gd name="connsiteY33563" fmla="*/ 1483956 h 4687251"/>
              <a:gd name="connsiteX33564" fmla="*/ 1167095 w 8079933"/>
              <a:gd name="connsiteY33564" fmla="*/ 1475836 h 4687251"/>
              <a:gd name="connsiteX33565" fmla="*/ 1170568 w 8079933"/>
              <a:gd name="connsiteY33565" fmla="*/ 1474104 h 4687251"/>
              <a:gd name="connsiteX33566" fmla="*/ 1172413 w 8079933"/>
              <a:gd name="connsiteY33566" fmla="*/ 1477027 h 4687251"/>
              <a:gd name="connsiteX33567" fmla="*/ 1172630 w 8079933"/>
              <a:gd name="connsiteY33567" fmla="*/ 1483523 h 4687251"/>
              <a:gd name="connsiteX33568" fmla="*/ 1175234 w 8079933"/>
              <a:gd name="connsiteY33568" fmla="*/ 1487313 h 4687251"/>
              <a:gd name="connsiteX33569" fmla="*/ 1176753 w 8079933"/>
              <a:gd name="connsiteY33569" fmla="*/ 1486122 h 4687251"/>
              <a:gd name="connsiteX33570" fmla="*/ 1175234 w 8079933"/>
              <a:gd name="connsiteY33570" fmla="*/ 1480275 h 4687251"/>
              <a:gd name="connsiteX33571" fmla="*/ 1175234 w 8079933"/>
              <a:gd name="connsiteY33571" fmla="*/ 1473454 h 4687251"/>
              <a:gd name="connsiteX33572" fmla="*/ 1179684 w 8079933"/>
              <a:gd name="connsiteY33572" fmla="*/ 1471505 h 4687251"/>
              <a:gd name="connsiteX33573" fmla="*/ 1185000 w 8079933"/>
              <a:gd name="connsiteY33573" fmla="*/ 1471505 h 4687251"/>
              <a:gd name="connsiteX33574" fmla="*/ 1180660 w 8079933"/>
              <a:gd name="connsiteY33574" fmla="*/ 1470098 h 4687251"/>
              <a:gd name="connsiteX33575" fmla="*/ 1175234 w 8079933"/>
              <a:gd name="connsiteY33575" fmla="*/ 1470098 h 4687251"/>
              <a:gd name="connsiteX33576" fmla="*/ 1171978 w 8079933"/>
              <a:gd name="connsiteY33576" fmla="*/ 1471181 h 4687251"/>
              <a:gd name="connsiteX33577" fmla="*/ 1169700 w 8079933"/>
              <a:gd name="connsiteY33577" fmla="*/ 1468474 h 4687251"/>
              <a:gd name="connsiteX33578" fmla="*/ 1170893 w 8079933"/>
              <a:gd name="connsiteY33578" fmla="*/ 1465334 h 4687251"/>
              <a:gd name="connsiteX33579" fmla="*/ 1175668 w 8079933"/>
              <a:gd name="connsiteY33579" fmla="*/ 1463385 h 4687251"/>
              <a:gd name="connsiteX33580" fmla="*/ 1180552 w 8079933"/>
              <a:gd name="connsiteY33580" fmla="*/ 1460029 h 4687251"/>
              <a:gd name="connsiteX33581" fmla="*/ 1184132 w 8079933"/>
              <a:gd name="connsiteY33581" fmla="*/ 1453965 h 4687251"/>
              <a:gd name="connsiteX33582" fmla="*/ 1182939 w 8079933"/>
              <a:gd name="connsiteY33582" fmla="*/ 1450501 h 4687251"/>
              <a:gd name="connsiteX33583" fmla="*/ 1181420 w 8079933"/>
              <a:gd name="connsiteY33583" fmla="*/ 1451367 h 4687251"/>
              <a:gd name="connsiteX33584" fmla="*/ 1180226 w 8079933"/>
              <a:gd name="connsiteY33584" fmla="*/ 1455481 h 4687251"/>
              <a:gd name="connsiteX33585" fmla="*/ 1176211 w 8079933"/>
              <a:gd name="connsiteY33585" fmla="*/ 1459163 h 4687251"/>
              <a:gd name="connsiteX33586" fmla="*/ 1171436 w 8079933"/>
              <a:gd name="connsiteY33586" fmla="*/ 1459487 h 4687251"/>
              <a:gd name="connsiteX33587" fmla="*/ 1166879 w 8079933"/>
              <a:gd name="connsiteY33587" fmla="*/ 1465442 h 4687251"/>
              <a:gd name="connsiteX33588" fmla="*/ 1160259 w 8079933"/>
              <a:gd name="connsiteY33588" fmla="*/ 1470423 h 4687251"/>
              <a:gd name="connsiteX33589" fmla="*/ 1153531 w 8079933"/>
              <a:gd name="connsiteY33589" fmla="*/ 1472913 h 4687251"/>
              <a:gd name="connsiteX33590" fmla="*/ 1150167 w 8079933"/>
              <a:gd name="connsiteY33590" fmla="*/ 1468799 h 4687251"/>
              <a:gd name="connsiteX33591" fmla="*/ 1151252 w 8079933"/>
              <a:gd name="connsiteY33591" fmla="*/ 1466525 h 4687251"/>
              <a:gd name="connsiteX33592" fmla="*/ 1155050 w 8079933"/>
              <a:gd name="connsiteY33592" fmla="*/ 1465442 h 4687251"/>
              <a:gd name="connsiteX33593" fmla="*/ 1151469 w 8079933"/>
              <a:gd name="connsiteY33593" fmla="*/ 1464685 h 4687251"/>
              <a:gd name="connsiteX33594" fmla="*/ 1144741 w 8079933"/>
              <a:gd name="connsiteY33594" fmla="*/ 1467066 h 4687251"/>
              <a:gd name="connsiteX33595" fmla="*/ 1142246 w 8079933"/>
              <a:gd name="connsiteY33595" fmla="*/ 1464793 h 4687251"/>
              <a:gd name="connsiteX33596" fmla="*/ 1143331 w 8079933"/>
              <a:gd name="connsiteY33596" fmla="*/ 1462627 h 4687251"/>
              <a:gd name="connsiteX33597" fmla="*/ 1149190 w 8079933"/>
              <a:gd name="connsiteY33597" fmla="*/ 1458621 h 4687251"/>
              <a:gd name="connsiteX33598" fmla="*/ 1153097 w 8079933"/>
              <a:gd name="connsiteY33598" fmla="*/ 1456781 h 4687251"/>
              <a:gd name="connsiteX33599" fmla="*/ 1157112 w 8079933"/>
              <a:gd name="connsiteY33599" fmla="*/ 1457430 h 4687251"/>
              <a:gd name="connsiteX33600" fmla="*/ 1158631 w 8079933"/>
              <a:gd name="connsiteY33600" fmla="*/ 1455481 h 4687251"/>
              <a:gd name="connsiteX33601" fmla="*/ 1158848 w 8079933"/>
              <a:gd name="connsiteY33601" fmla="*/ 1453316 h 4687251"/>
              <a:gd name="connsiteX33602" fmla="*/ 1156027 w 8079933"/>
              <a:gd name="connsiteY33602" fmla="*/ 1451259 h 4687251"/>
              <a:gd name="connsiteX33603" fmla="*/ 1156895 w 8079933"/>
              <a:gd name="connsiteY33603" fmla="*/ 1449310 h 4687251"/>
              <a:gd name="connsiteX33604" fmla="*/ 1159174 w 8079933"/>
              <a:gd name="connsiteY33604" fmla="*/ 1447253 h 4687251"/>
              <a:gd name="connsiteX33605" fmla="*/ 1157221 w 8079933"/>
              <a:gd name="connsiteY33605" fmla="*/ 1445412 h 4687251"/>
              <a:gd name="connsiteX33606" fmla="*/ 1153531 w 8079933"/>
              <a:gd name="connsiteY33606" fmla="*/ 1447469 h 4687251"/>
              <a:gd name="connsiteX33607" fmla="*/ 1151252 w 8079933"/>
              <a:gd name="connsiteY33607" fmla="*/ 1447469 h 4687251"/>
              <a:gd name="connsiteX33608" fmla="*/ 1149516 w 8079933"/>
              <a:gd name="connsiteY33608" fmla="*/ 1443680 h 4687251"/>
              <a:gd name="connsiteX33609" fmla="*/ 1148865 w 8079933"/>
              <a:gd name="connsiteY33609" fmla="*/ 1433719 h 4687251"/>
              <a:gd name="connsiteX33610" fmla="*/ 1146586 w 8079933"/>
              <a:gd name="connsiteY33610" fmla="*/ 1430471 h 4687251"/>
              <a:gd name="connsiteX33611" fmla="*/ 1146260 w 8079933"/>
              <a:gd name="connsiteY33611" fmla="*/ 1426681 h 4687251"/>
              <a:gd name="connsiteX33612" fmla="*/ 1147997 w 8079933"/>
              <a:gd name="connsiteY33612" fmla="*/ 1423216 h 4687251"/>
              <a:gd name="connsiteX33613" fmla="*/ 1153965 w 8079933"/>
              <a:gd name="connsiteY33613" fmla="*/ 1423758 h 4687251"/>
              <a:gd name="connsiteX33614" fmla="*/ 1158523 w 8079933"/>
              <a:gd name="connsiteY33614" fmla="*/ 1425815 h 4687251"/>
              <a:gd name="connsiteX33615" fmla="*/ 1164382 w 8079933"/>
              <a:gd name="connsiteY33615" fmla="*/ 1425491 h 4687251"/>
              <a:gd name="connsiteX33616" fmla="*/ 1169483 w 8079933"/>
              <a:gd name="connsiteY33616" fmla="*/ 1427981 h 4687251"/>
              <a:gd name="connsiteX33617" fmla="*/ 1167747 w 8079933"/>
              <a:gd name="connsiteY33617" fmla="*/ 1425491 h 4687251"/>
              <a:gd name="connsiteX33618" fmla="*/ 1163949 w 8079933"/>
              <a:gd name="connsiteY33618" fmla="*/ 1424191 h 4687251"/>
              <a:gd name="connsiteX33619" fmla="*/ 1159499 w 8079933"/>
              <a:gd name="connsiteY33619" fmla="*/ 1424191 h 4687251"/>
              <a:gd name="connsiteX33620" fmla="*/ 1156244 w 8079933"/>
              <a:gd name="connsiteY33620" fmla="*/ 1420835 h 4687251"/>
              <a:gd name="connsiteX33621" fmla="*/ 1152228 w 8079933"/>
              <a:gd name="connsiteY33621" fmla="*/ 1417695 h 4687251"/>
              <a:gd name="connsiteX33622" fmla="*/ 1152120 w 8079933"/>
              <a:gd name="connsiteY33622" fmla="*/ 1415530 h 4687251"/>
              <a:gd name="connsiteX33623" fmla="*/ 1155050 w 8079933"/>
              <a:gd name="connsiteY33623" fmla="*/ 1410657 h 4687251"/>
              <a:gd name="connsiteX33624" fmla="*/ 1157654 w 8079933"/>
              <a:gd name="connsiteY33624" fmla="*/ 1409683 h 4687251"/>
              <a:gd name="connsiteX33625" fmla="*/ 1159825 w 8079933"/>
              <a:gd name="connsiteY33625" fmla="*/ 1405352 h 4687251"/>
              <a:gd name="connsiteX33626" fmla="*/ 1159499 w 8079933"/>
              <a:gd name="connsiteY33626" fmla="*/ 1400372 h 4687251"/>
              <a:gd name="connsiteX33627" fmla="*/ 1157654 w 8079933"/>
              <a:gd name="connsiteY33627" fmla="*/ 1400804 h 4687251"/>
              <a:gd name="connsiteX33628" fmla="*/ 1153314 w 8079933"/>
              <a:gd name="connsiteY33628" fmla="*/ 1406002 h 4687251"/>
              <a:gd name="connsiteX33629" fmla="*/ 1149190 w 8079933"/>
              <a:gd name="connsiteY33629" fmla="*/ 1408925 h 4687251"/>
              <a:gd name="connsiteX33630" fmla="*/ 1141919 w 8079933"/>
              <a:gd name="connsiteY33630" fmla="*/ 1411198 h 4687251"/>
              <a:gd name="connsiteX33631" fmla="*/ 1138339 w 8079933"/>
              <a:gd name="connsiteY33631" fmla="*/ 1414988 h 4687251"/>
              <a:gd name="connsiteX33632" fmla="*/ 1137471 w 8079933"/>
              <a:gd name="connsiteY33632" fmla="*/ 1418561 h 4687251"/>
              <a:gd name="connsiteX33633" fmla="*/ 1134649 w 8079933"/>
              <a:gd name="connsiteY33633" fmla="*/ 1417912 h 4687251"/>
              <a:gd name="connsiteX33634" fmla="*/ 1131285 w 8079933"/>
              <a:gd name="connsiteY33634" fmla="*/ 1410983 h 4687251"/>
              <a:gd name="connsiteX33635" fmla="*/ 1129223 w 8079933"/>
              <a:gd name="connsiteY33635" fmla="*/ 1403945 h 4687251"/>
              <a:gd name="connsiteX33636" fmla="*/ 1130200 w 8079933"/>
              <a:gd name="connsiteY33636" fmla="*/ 1391710 h 4687251"/>
              <a:gd name="connsiteX33637" fmla="*/ 1131936 w 8079933"/>
              <a:gd name="connsiteY33637" fmla="*/ 1384023 h 4687251"/>
              <a:gd name="connsiteX33638" fmla="*/ 1131285 w 8079933"/>
              <a:gd name="connsiteY33638" fmla="*/ 1380883 h 4687251"/>
              <a:gd name="connsiteX33639" fmla="*/ 1127162 w 8079933"/>
              <a:gd name="connsiteY33639" fmla="*/ 1380450 h 4687251"/>
              <a:gd name="connsiteX33640" fmla="*/ 1126944 w 8079933"/>
              <a:gd name="connsiteY33640" fmla="*/ 1373737 h 4687251"/>
              <a:gd name="connsiteX33641" fmla="*/ 1130417 w 8079933"/>
              <a:gd name="connsiteY33641" fmla="*/ 1371463 h 4687251"/>
              <a:gd name="connsiteX33642" fmla="*/ 1132696 w 8079933"/>
              <a:gd name="connsiteY33642" fmla="*/ 1373521 h 4687251"/>
              <a:gd name="connsiteX33643" fmla="*/ 1135191 w 8079933"/>
              <a:gd name="connsiteY33643" fmla="*/ 1374604 h 4687251"/>
              <a:gd name="connsiteX33644" fmla="*/ 1134215 w 8079933"/>
              <a:gd name="connsiteY33644" fmla="*/ 1369623 h 4687251"/>
              <a:gd name="connsiteX33645" fmla="*/ 1138881 w 8079933"/>
              <a:gd name="connsiteY33645" fmla="*/ 1365833 h 4687251"/>
              <a:gd name="connsiteX33646" fmla="*/ 1141269 w 8079933"/>
              <a:gd name="connsiteY33646" fmla="*/ 1359445 h 4687251"/>
              <a:gd name="connsiteX33647" fmla="*/ 1145067 w 8079933"/>
              <a:gd name="connsiteY33647" fmla="*/ 1358579 h 4687251"/>
              <a:gd name="connsiteX33648" fmla="*/ 1150167 w 8079933"/>
              <a:gd name="connsiteY33648" fmla="*/ 1359445 h 4687251"/>
              <a:gd name="connsiteX33649" fmla="*/ 1152771 w 8079933"/>
              <a:gd name="connsiteY33649" fmla="*/ 1357172 h 4687251"/>
              <a:gd name="connsiteX33650" fmla="*/ 1149733 w 8079933"/>
              <a:gd name="connsiteY33650" fmla="*/ 1356847 h 4687251"/>
              <a:gd name="connsiteX33651" fmla="*/ 1149190 w 8079933"/>
              <a:gd name="connsiteY33651" fmla="*/ 1355331 h 4687251"/>
              <a:gd name="connsiteX33652" fmla="*/ 1155701 w 8079933"/>
              <a:gd name="connsiteY33652" fmla="*/ 1347968 h 4687251"/>
              <a:gd name="connsiteX33653" fmla="*/ 1158306 w 8079933"/>
              <a:gd name="connsiteY33653" fmla="*/ 1343746 h 4687251"/>
              <a:gd name="connsiteX33654" fmla="*/ 1164817 w 8079933"/>
              <a:gd name="connsiteY33654" fmla="*/ 1340065 h 4687251"/>
              <a:gd name="connsiteX33655" fmla="*/ 1165359 w 8079933"/>
              <a:gd name="connsiteY33655" fmla="*/ 1337791 h 4687251"/>
              <a:gd name="connsiteX33656" fmla="*/ 1162321 w 8079933"/>
              <a:gd name="connsiteY33656" fmla="*/ 1337142 h 4687251"/>
              <a:gd name="connsiteX33657" fmla="*/ 1161452 w 8079933"/>
              <a:gd name="connsiteY33657" fmla="*/ 1334652 h 4687251"/>
              <a:gd name="connsiteX33658" fmla="*/ 1155593 w 8079933"/>
              <a:gd name="connsiteY33658" fmla="*/ 1339523 h 4687251"/>
              <a:gd name="connsiteX33659" fmla="*/ 1154725 w 8079933"/>
              <a:gd name="connsiteY33659" fmla="*/ 1344612 h 4687251"/>
              <a:gd name="connsiteX33660" fmla="*/ 1146803 w 8079933"/>
              <a:gd name="connsiteY33660" fmla="*/ 1353599 h 4687251"/>
              <a:gd name="connsiteX33661" fmla="*/ 1145175 w 8079933"/>
              <a:gd name="connsiteY33661" fmla="*/ 1353599 h 4687251"/>
              <a:gd name="connsiteX33662" fmla="*/ 1145718 w 8079933"/>
              <a:gd name="connsiteY33662" fmla="*/ 1350351 h 4687251"/>
              <a:gd name="connsiteX33663" fmla="*/ 1150710 w 8079933"/>
              <a:gd name="connsiteY33663" fmla="*/ 1343638 h 4687251"/>
              <a:gd name="connsiteX33664" fmla="*/ 1151578 w 8079933"/>
              <a:gd name="connsiteY33664" fmla="*/ 1335842 h 4687251"/>
              <a:gd name="connsiteX33665" fmla="*/ 1157763 w 8079933"/>
              <a:gd name="connsiteY33665" fmla="*/ 1324149 h 4687251"/>
              <a:gd name="connsiteX33666" fmla="*/ 1160042 w 8079933"/>
              <a:gd name="connsiteY33666" fmla="*/ 1319060 h 4687251"/>
              <a:gd name="connsiteX33667" fmla="*/ 1158739 w 8079933"/>
              <a:gd name="connsiteY33667" fmla="*/ 1318411 h 4687251"/>
              <a:gd name="connsiteX33668" fmla="*/ 1158632 w 8079933"/>
              <a:gd name="connsiteY33668" fmla="*/ 1318411 h 4687251"/>
              <a:gd name="connsiteX33669" fmla="*/ 1156787 w 8079933"/>
              <a:gd name="connsiteY33669" fmla="*/ 1319927 h 4687251"/>
              <a:gd name="connsiteX33670" fmla="*/ 1151469 w 8079933"/>
              <a:gd name="connsiteY33670" fmla="*/ 1331079 h 4687251"/>
              <a:gd name="connsiteX33671" fmla="*/ 1149516 w 8079933"/>
              <a:gd name="connsiteY33671" fmla="*/ 1340823 h 4687251"/>
              <a:gd name="connsiteX33672" fmla="*/ 1144525 w 8079933"/>
              <a:gd name="connsiteY33672" fmla="*/ 1348185 h 4687251"/>
              <a:gd name="connsiteX33673" fmla="*/ 1138665 w 8079933"/>
              <a:gd name="connsiteY33673" fmla="*/ 1355006 h 4687251"/>
              <a:gd name="connsiteX33674" fmla="*/ 1134324 w 8079933"/>
              <a:gd name="connsiteY33674" fmla="*/ 1356847 h 4687251"/>
              <a:gd name="connsiteX33675" fmla="*/ 1131177 w 8079933"/>
              <a:gd name="connsiteY33675" fmla="*/ 1356306 h 4687251"/>
              <a:gd name="connsiteX33676" fmla="*/ 1130526 w 8079933"/>
              <a:gd name="connsiteY33676" fmla="*/ 1359662 h 4687251"/>
              <a:gd name="connsiteX33677" fmla="*/ 1127488 w 8079933"/>
              <a:gd name="connsiteY33677" fmla="*/ 1361287 h 4687251"/>
              <a:gd name="connsiteX33678" fmla="*/ 1125208 w 8079933"/>
              <a:gd name="connsiteY33678" fmla="*/ 1356522 h 4687251"/>
              <a:gd name="connsiteX33679" fmla="*/ 1126294 w 8079933"/>
              <a:gd name="connsiteY33679" fmla="*/ 1351000 h 4687251"/>
              <a:gd name="connsiteX33680" fmla="*/ 1128681 w 8079933"/>
              <a:gd name="connsiteY33680" fmla="*/ 1349051 h 4687251"/>
              <a:gd name="connsiteX33681" fmla="*/ 1131069 w 8079933"/>
              <a:gd name="connsiteY33681" fmla="*/ 1348943 h 4687251"/>
              <a:gd name="connsiteX33682" fmla="*/ 1134324 w 8079933"/>
              <a:gd name="connsiteY33682" fmla="*/ 1349377 h 4687251"/>
              <a:gd name="connsiteX33683" fmla="*/ 1138231 w 8079933"/>
              <a:gd name="connsiteY33683" fmla="*/ 1345912 h 4687251"/>
              <a:gd name="connsiteX33684" fmla="*/ 1137797 w 8079933"/>
              <a:gd name="connsiteY33684" fmla="*/ 1344612 h 4687251"/>
              <a:gd name="connsiteX33685" fmla="*/ 1133131 w 8079933"/>
              <a:gd name="connsiteY33685" fmla="*/ 1344396 h 4687251"/>
              <a:gd name="connsiteX33686" fmla="*/ 1130960 w 8079933"/>
              <a:gd name="connsiteY33686" fmla="*/ 1345479 h 4687251"/>
              <a:gd name="connsiteX33687" fmla="*/ 1127379 w 8079933"/>
              <a:gd name="connsiteY33687" fmla="*/ 1344937 h 4687251"/>
              <a:gd name="connsiteX33688" fmla="*/ 1127270 w 8079933"/>
              <a:gd name="connsiteY33688" fmla="*/ 1343097 h 4687251"/>
              <a:gd name="connsiteX33689" fmla="*/ 1130526 w 8079933"/>
              <a:gd name="connsiteY33689" fmla="*/ 1339416 h 4687251"/>
              <a:gd name="connsiteX33690" fmla="*/ 1134867 w 8079933"/>
              <a:gd name="connsiteY33690" fmla="*/ 1339091 h 4687251"/>
              <a:gd name="connsiteX33691" fmla="*/ 1138231 w 8079933"/>
              <a:gd name="connsiteY33691" fmla="*/ 1339524 h 4687251"/>
              <a:gd name="connsiteX33692" fmla="*/ 1137146 w 8079933"/>
              <a:gd name="connsiteY33692" fmla="*/ 1337250 h 4687251"/>
              <a:gd name="connsiteX33693" fmla="*/ 1135952 w 8079933"/>
              <a:gd name="connsiteY33693" fmla="*/ 1334760 h 4687251"/>
              <a:gd name="connsiteX33694" fmla="*/ 1137471 w 8079933"/>
              <a:gd name="connsiteY33694" fmla="*/ 1331404 h 4687251"/>
              <a:gd name="connsiteX33695" fmla="*/ 1140727 w 8079933"/>
              <a:gd name="connsiteY33695" fmla="*/ 1325882 h 4687251"/>
              <a:gd name="connsiteX33696" fmla="*/ 1139859 w 8079933"/>
              <a:gd name="connsiteY33696" fmla="*/ 1322850 h 4687251"/>
              <a:gd name="connsiteX33697" fmla="*/ 1139859 w 8079933"/>
              <a:gd name="connsiteY33697" fmla="*/ 1318736 h 4687251"/>
              <a:gd name="connsiteX33698" fmla="*/ 1144742 w 8079933"/>
              <a:gd name="connsiteY33698" fmla="*/ 1314188 h 4687251"/>
              <a:gd name="connsiteX33699" fmla="*/ 1144742 w 8079933"/>
              <a:gd name="connsiteY33699" fmla="*/ 1312348 h 4687251"/>
              <a:gd name="connsiteX33700" fmla="*/ 1139207 w 8079933"/>
              <a:gd name="connsiteY33700" fmla="*/ 1312131 h 4687251"/>
              <a:gd name="connsiteX33701" fmla="*/ 1138556 w 8079933"/>
              <a:gd name="connsiteY33701" fmla="*/ 1310616 h 4687251"/>
              <a:gd name="connsiteX33702" fmla="*/ 1142137 w 8079933"/>
              <a:gd name="connsiteY33702" fmla="*/ 1306502 h 4687251"/>
              <a:gd name="connsiteX33703" fmla="*/ 1136277 w 8079933"/>
              <a:gd name="connsiteY33703" fmla="*/ 1307043 h 4687251"/>
              <a:gd name="connsiteX33704" fmla="*/ 1132696 w 8079933"/>
              <a:gd name="connsiteY33704" fmla="*/ 1307367 h 4687251"/>
              <a:gd name="connsiteX33705" fmla="*/ 1131611 w 8079933"/>
              <a:gd name="connsiteY33705" fmla="*/ 1305419 h 4687251"/>
              <a:gd name="connsiteX33706" fmla="*/ 1126077 w 8079933"/>
              <a:gd name="connsiteY33706" fmla="*/ 1310941 h 4687251"/>
              <a:gd name="connsiteX33707" fmla="*/ 1122279 w 8079933"/>
              <a:gd name="connsiteY33707" fmla="*/ 1311806 h 4687251"/>
              <a:gd name="connsiteX33708" fmla="*/ 1121953 w 8079933"/>
              <a:gd name="connsiteY33708" fmla="*/ 1313864 h 4687251"/>
              <a:gd name="connsiteX33709" fmla="*/ 1119024 w 8079933"/>
              <a:gd name="connsiteY33709" fmla="*/ 1320576 h 4687251"/>
              <a:gd name="connsiteX33710" fmla="*/ 1114031 w 8079933"/>
              <a:gd name="connsiteY33710" fmla="*/ 1324908 h 4687251"/>
              <a:gd name="connsiteX33711" fmla="*/ 1112078 w 8079933"/>
              <a:gd name="connsiteY33711" fmla="*/ 1320468 h 4687251"/>
              <a:gd name="connsiteX33712" fmla="*/ 1112078 w 8079933"/>
              <a:gd name="connsiteY33712" fmla="*/ 1315812 h 4687251"/>
              <a:gd name="connsiteX33713" fmla="*/ 1117504 w 8079933"/>
              <a:gd name="connsiteY33713" fmla="*/ 1311482 h 4687251"/>
              <a:gd name="connsiteX33714" fmla="*/ 1124666 w 8079933"/>
              <a:gd name="connsiteY33714" fmla="*/ 1303794 h 4687251"/>
              <a:gd name="connsiteX33715" fmla="*/ 1127596 w 8079933"/>
              <a:gd name="connsiteY33715" fmla="*/ 1297515 h 4687251"/>
              <a:gd name="connsiteX33716" fmla="*/ 1130960 w 8079933"/>
              <a:gd name="connsiteY33716" fmla="*/ 1296757 h 4687251"/>
              <a:gd name="connsiteX33717" fmla="*/ 1136061 w 8079933"/>
              <a:gd name="connsiteY33717" fmla="*/ 1297731 h 4687251"/>
              <a:gd name="connsiteX33718" fmla="*/ 1141052 w 8079933"/>
              <a:gd name="connsiteY33718" fmla="*/ 1295025 h 4687251"/>
              <a:gd name="connsiteX33719" fmla="*/ 1138339 w 8079933"/>
              <a:gd name="connsiteY33719" fmla="*/ 1293942 h 4687251"/>
              <a:gd name="connsiteX33720" fmla="*/ 1133131 w 8079933"/>
              <a:gd name="connsiteY33720" fmla="*/ 1294158 h 4687251"/>
              <a:gd name="connsiteX33721" fmla="*/ 1129549 w 8079933"/>
              <a:gd name="connsiteY33721" fmla="*/ 1291668 h 4687251"/>
              <a:gd name="connsiteX33722" fmla="*/ 1125534 w 8079933"/>
              <a:gd name="connsiteY33722" fmla="*/ 1284739 h 4687251"/>
              <a:gd name="connsiteX33723" fmla="*/ 1124883 w 8079933"/>
              <a:gd name="connsiteY33723" fmla="*/ 1279542 h 4687251"/>
              <a:gd name="connsiteX33724" fmla="*/ 1127705 w 8079933"/>
              <a:gd name="connsiteY33724" fmla="*/ 1275752 h 4687251"/>
              <a:gd name="connsiteX33725" fmla="*/ 1130635 w 8079933"/>
              <a:gd name="connsiteY33725" fmla="*/ 1275319 h 4687251"/>
              <a:gd name="connsiteX33726" fmla="*/ 1133456 w 8079933"/>
              <a:gd name="connsiteY33726" fmla="*/ 1274129 h 4687251"/>
              <a:gd name="connsiteX33727" fmla="*/ 1131069 w 8079933"/>
              <a:gd name="connsiteY33727" fmla="*/ 1274020 h 4687251"/>
              <a:gd name="connsiteX33728" fmla="*/ 1127270 w 8079933"/>
              <a:gd name="connsiteY33728" fmla="*/ 1270664 h 4687251"/>
              <a:gd name="connsiteX33729" fmla="*/ 1125643 w 8079933"/>
              <a:gd name="connsiteY33729" fmla="*/ 1266658 h 4687251"/>
              <a:gd name="connsiteX33730" fmla="*/ 1122279 w 8079933"/>
              <a:gd name="connsiteY33730" fmla="*/ 1264384 h 4687251"/>
              <a:gd name="connsiteX33731" fmla="*/ 1121302 w 8079933"/>
              <a:gd name="connsiteY33731" fmla="*/ 1261786 h 4687251"/>
              <a:gd name="connsiteX33732" fmla="*/ 1122930 w 8079933"/>
              <a:gd name="connsiteY33732" fmla="*/ 1260378 h 4687251"/>
              <a:gd name="connsiteX33733" fmla="*/ 1126836 w 8079933"/>
              <a:gd name="connsiteY33733" fmla="*/ 1260811 h 4687251"/>
              <a:gd name="connsiteX33734" fmla="*/ 1126620 w 8079933"/>
              <a:gd name="connsiteY33734" fmla="*/ 1259187 h 4687251"/>
              <a:gd name="connsiteX33735" fmla="*/ 1124232 w 8079933"/>
              <a:gd name="connsiteY33735" fmla="*/ 1257346 h 4687251"/>
              <a:gd name="connsiteX33736" fmla="*/ 1121410 w 8079933"/>
              <a:gd name="connsiteY33736" fmla="*/ 1257780 h 4687251"/>
              <a:gd name="connsiteX33737" fmla="*/ 1118264 w 8079933"/>
              <a:gd name="connsiteY33737" fmla="*/ 1254748 h 4687251"/>
              <a:gd name="connsiteX33738" fmla="*/ 1116961 w 8079933"/>
              <a:gd name="connsiteY33738" fmla="*/ 1250742 h 4687251"/>
              <a:gd name="connsiteX33739" fmla="*/ 1114249 w 8079933"/>
              <a:gd name="connsiteY33739" fmla="*/ 1251066 h 4687251"/>
              <a:gd name="connsiteX33740" fmla="*/ 1111536 w 8079933"/>
              <a:gd name="connsiteY33740" fmla="*/ 1250742 h 4687251"/>
              <a:gd name="connsiteX33741" fmla="*/ 1110776 w 8079933"/>
              <a:gd name="connsiteY33741" fmla="*/ 1248901 h 4687251"/>
              <a:gd name="connsiteX33742" fmla="*/ 1112946 w 8079933"/>
              <a:gd name="connsiteY33742" fmla="*/ 1245220 h 4687251"/>
              <a:gd name="connsiteX33743" fmla="*/ 1116093 w 8079933"/>
              <a:gd name="connsiteY33743" fmla="*/ 1244679 h 4687251"/>
              <a:gd name="connsiteX33744" fmla="*/ 1117721 w 8079933"/>
              <a:gd name="connsiteY33744" fmla="*/ 1242405 h 4687251"/>
              <a:gd name="connsiteX33745" fmla="*/ 1116419 w 8079933"/>
              <a:gd name="connsiteY33745" fmla="*/ 1240781 h 4687251"/>
              <a:gd name="connsiteX33746" fmla="*/ 1116202 w 8079933"/>
              <a:gd name="connsiteY33746" fmla="*/ 1235584 h 4687251"/>
              <a:gd name="connsiteX33747" fmla="*/ 1118697 w 8079933"/>
              <a:gd name="connsiteY33747" fmla="*/ 1231903 h 4687251"/>
              <a:gd name="connsiteX33748" fmla="*/ 1117504 w 8079933"/>
              <a:gd name="connsiteY33748" fmla="*/ 1228979 h 4687251"/>
              <a:gd name="connsiteX33749" fmla="*/ 1118806 w 8079933"/>
              <a:gd name="connsiteY33749" fmla="*/ 1227356 h 4687251"/>
              <a:gd name="connsiteX33750" fmla="*/ 1120434 w 8079933"/>
              <a:gd name="connsiteY33750" fmla="*/ 1231036 h 4687251"/>
              <a:gd name="connsiteX33751" fmla="*/ 1124015 w 8079933"/>
              <a:gd name="connsiteY33751" fmla="*/ 1233744 h 4687251"/>
              <a:gd name="connsiteX33752" fmla="*/ 1125860 w 8079933"/>
              <a:gd name="connsiteY33752" fmla="*/ 1232985 h 4687251"/>
              <a:gd name="connsiteX33753" fmla="*/ 1125860 w 8079933"/>
              <a:gd name="connsiteY33753" fmla="*/ 1228330 h 4687251"/>
              <a:gd name="connsiteX33754" fmla="*/ 1122604 w 8079933"/>
              <a:gd name="connsiteY33754" fmla="*/ 1222916 h 4687251"/>
              <a:gd name="connsiteX33755" fmla="*/ 1122279 w 8079933"/>
              <a:gd name="connsiteY33755" fmla="*/ 1220426 h 4687251"/>
              <a:gd name="connsiteX33756" fmla="*/ 1125860 w 8079933"/>
              <a:gd name="connsiteY33756" fmla="*/ 1219885 h 4687251"/>
              <a:gd name="connsiteX33757" fmla="*/ 1128030 w 8079933"/>
              <a:gd name="connsiteY33757" fmla="*/ 1218152 h 4687251"/>
              <a:gd name="connsiteX33758" fmla="*/ 1124883 w 8079933"/>
              <a:gd name="connsiteY33758" fmla="*/ 1215770 h 4687251"/>
              <a:gd name="connsiteX33759" fmla="*/ 1124883 w 8079933"/>
              <a:gd name="connsiteY33759" fmla="*/ 1213713 h 4687251"/>
              <a:gd name="connsiteX33760" fmla="*/ 1127270 w 8079933"/>
              <a:gd name="connsiteY33760" fmla="*/ 1212630 h 4687251"/>
              <a:gd name="connsiteX33761" fmla="*/ 1133673 w 8079933"/>
              <a:gd name="connsiteY33761" fmla="*/ 1208516 h 4687251"/>
              <a:gd name="connsiteX33762" fmla="*/ 1133781 w 8079933"/>
              <a:gd name="connsiteY33762" fmla="*/ 1207109 h 4687251"/>
              <a:gd name="connsiteX33763" fmla="*/ 1128030 w 8079933"/>
              <a:gd name="connsiteY33763" fmla="*/ 1207434 h 4687251"/>
              <a:gd name="connsiteX33764" fmla="*/ 1124015 w 8079933"/>
              <a:gd name="connsiteY33764" fmla="*/ 1209166 h 4687251"/>
              <a:gd name="connsiteX33765" fmla="*/ 1121410 w 8079933"/>
              <a:gd name="connsiteY33765" fmla="*/ 1207650 h 4687251"/>
              <a:gd name="connsiteX33766" fmla="*/ 1118915 w 8079933"/>
              <a:gd name="connsiteY33766" fmla="*/ 1209491 h 4687251"/>
              <a:gd name="connsiteX33767" fmla="*/ 1115442 w 8079933"/>
              <a:gd name="connsiteY33767" fmla="*/ 1206567 h 4687251"/>
              <a:gd name="connsiteX33768" fmla="*/ 1115008 w 8079933"/>
              <a:gd name="connsiteY33768" fmla="*/ 1201479 h 4687251"/>
              <a:gd name="connsiteX33769" fmla="*/ 1112838 w 8079933"/>
              <a:gd name="connsiteY33769" fmla="*/ 1201479 h 4687251"/>
              <a:gd name="connsiteX33770" fmla="*/ 1112078 w 8079933"/>
              <a:gd name="connsiteY33770" fmla="*/ 1195957 h 4687251"/>
              <a:gd name="connsiteX33771" fmla="*/ 1107955 w 8079933"/>
              <a:gd name="connsiteY33771" fmla="*/ 1192059 h 4687251"/>
              <a:gd name="connsiteX33772" fmla="*/ 1106978 w 8079933"/>
              <a:gd name="connsiteY33772" fmla="*/ 1187187 h 4687251"/>
              <a:gd name="connsiteX33773" fmla="*/ 1106110 w 8079933"/>
              <a:gd name="connsiteY33773" fmla="*/ 1183181 h 4687251"/>
              <a:gd name="connsiteX33774" fmla="*/ 1106435 w 8079933"/>
              <a:gd name="connsiteY33774" fmla="*/ 1176252 h 4687251"/>
              <a:gd name="connsiteX33775" fmla="*/ 1109583 w 8079933"/>
              <a:gd name="connsiteY33775" fmla="*/ 1173437 h 4687251"/>
              <a:gd name="connsiteX33776" fmla="*/ 1107955 w 8079933"/>
              <a:gd name="connsiteY33776" fmla="*/ 1170514 h 4687251"/>
              <a:gd name="connsiteX33777" fmla="*/ 1108497 w 8079933"/>
              <a:gd name="connsiteY33777" fmla="*/ 1164883 h 4687251"/>
              <a:gd name="connsiteX33778" fmla="*/ 1112946 w 8079933"/>
              <a:gd name="connsiteY33778" fmla="*/ 1156114 h 4687251"/>
              <a:gd name="connsiteX33779" fmla="*/ 1111644 w 8079933"/>
              <a:gd name="connsiteY33779" fmla="*/ 1149400 h 4687251"/>
              <a:gd name="connsiteX33780" fmla="*/ 1113489 w 8079933"/>
              <a:gd name="connsiteY33780" fmla="*/ 1141172 h 4687251"/>
              <a:gd name="connsiteX33781" fmla="*/ 1116744 w 8079933"/>
              <a:gd name="connsiteY33781" fmla="*/ 1134567 h 4687251"/>
              <a:gd name="connsiteX33782" fmla="*/ 1111753 w 8079933"/>
              <a:gd name="connsiteY33782" fmla="*/ 1138249 h 4687251"/>
              <a:gd name="connsiteX33783" fmla="*/ 1109365 w 8079933"/>
              <a:gd name="connsiteY33783" fmla="*/ 1144095 h 4687251"/>
              <a:gd name="connsiteX33784" fmla="*/ 1106761 w 8079933"/>
              <a:gd name="connsiteY33784" fmla="*/ 1143012 h 4687251"/>
              <a:gd name="connsiteX33785" fmla="*/ 1104590 w 8079933"/>
              <a:gd name="connsiteY33785" fmla="*/ 1137166 h 4687251"/>
              <a:gd name="connsiteX33786" fmla="*/ 1102854 w 8079933"/>
              <a:gd name="connsiteY33786" fmla="*/ 1136300 h 4687251"/>
              <a:gd name="connsiteX33787" fmla="*/ 1102529 w 8079933"/>
              <a:gd name="connsiteY33787" fmla="*/ 1137166 h 4687251"/>
              <a:gd name="connsiteX33788" fmla="*/ 1104157 w 8079933"/>
              <a:gd name="connsiteY33788" fmla="*/ 1140631 h 4687251"/>
              <a:gd name="connsiteX33789" fmla="*/ 1105458 w 8079933"/>
              <a:gd name="connsiteY33789" fmla="*/ 1147451 h 4687251"/>
              <a:gd name="connsiteX33790" fmla="*/ 1105458 w 8079933"/>
              <a:gd name="connsiteY33790" fmla="*/ 1157412 h 4687251"/>
              <a:gd name="connsiteX33791" fmla="*/ 1101986 w 8079933"/>
              <a:gd name="connsiteY33791" fmla="*/ 1167590 h 4687251"/>
              <a:gd name="connsiteX33792" fmla="*/ 1101118 w 8079933"/>
              <a:gd name="connsiteY33792" fmla="*/ 1179067 h 4687251"/>
              <a:gd name="connsiteX33793" fmla="*/ 1099382 w 8079933"/>
              <a:gd name="connsiteY33793" fmla="*/ 1182532 h 4687251"/>
              <a:gd name="connsiteX33794" fmla="*/ 1098839 w 8079933"/>
              <a:gd name="connsiteY33794" fmla="*/ 1188595 h 4687251"/>
              <a:gd name="connsiteX33795" fmla="*/ 1094716 w 8079933"/>
              <a:gd name="connsiteY33795" fmla="*/ 1196499 h 4687251"/>
              <a:gd name="connsiteX33796" fmla="*/ 1091677 w 8079933"/>
              <a:gd name="connsiteY33796" fmla="*/ 1194224 h 4687251"/>
              <a:gd name="connsiteX33797" fmla="*/ 1090049 w 8079933"/>
              <a:gd name="connsiteY33797" fmla="*/ 1188269 h 4687251"/>
              <a:gd name="connsiteX33798" fmla="*/ 1091460 w 8079933"/>
              <a:gd name="connsiteY33798" fmla="*/ 1186538 h 4687251"/>
              <a:gd name="connsiteX33799" fmla="*/ 1090918 w 8079933"/>
              <a:gd name="connsiteY33799" fmla="*/ 1183073 h 4687251"/>
              <a:gd name="connsiteX33800" fmla="*/ 1088530 w 8079933"/>
              <a:gd name="connsiteY33800" fmla="*/ 1186862 h 4687251"/>
              <a:gd name="connsiteX33801" fmla="*/ 1087879 w 8079933"/>
              <a:gd name="connsiteY33801" fmla="*/ 1188919 h 4687251"/>
              <a:gd name="connsiteX33802" fmla="*/ 1082887 w 8079933"/>
              <a:gd name="connsiteY33802" fmla="*/ 1187512 h 4687251"/>
              <a:gd name="connsiteX33803" fmla="*/ 1081477 w 8079933"/>
              <a:gd name="connsiteY33803" fmla="*/ 1185130 h 4687251"/>
              <a:gd name="connsiteX33804" fmla="*/ 1083213 w 8079933"/>
              <a:gd name="connsiteY33804" fmla="*/ 1180149 h 4687251"/>
              <a:gd name="connsiteX33805" fmla="*/ 1082019 w 8079933"/>
              <a:gd name="connsiteY33805" fmla="*/ 1175818 h 4687251"/>
              <a:gd name="connsiteX33806" fmla="*/ 1081802 w 8079933"/>
              <a:gd name="connsiteY33806" fmla="*/ 1172246 h 4687251"/>
              <a:gd name="connsiteX33807" fmla="*/ 1085275 w 8079933"/>
              <a:gd name="connsiteY33807" fmla="*/ 1169106 h 4687251"/>
              <a:gd name="connsiteX33808" fmla="*/ 1086685 w 8079933"/>
              <a:gd name="connsiteY33808" fmla="*/ 1165424 h 4687251"/>
              <a:gd name="connsiteX33809" fmla="*/ 1084515 w 8079933"/>
              <a:gd name="connsiteY33809" fmla="*/ 1165749 h 4687251"/>
              <a:gd name="connsiteX33810" fmla="*/ 1080391 w 8079933"/>
              <a:gd name="connsiteY33810" fmla="*/ 1169647 h 4687251"/>
              <a:gd name="connsiteX33811" fmla="*/ 1077896 w 8079933"/>
              <a:gd name="connsiteY33811" fmla="*/ 1168998 h 4687251"/>
              <a:gd name="connsiteX33812" fmla="*/ 1076811 w 8079933"/>
              <a:gd name="connsiteY33812" fmla="*/ 1165424 h 4687251"/>
              <a:gd name="connsiteX33813" fmla="*/ 1078547 w 8079933"/>
              <a:gd name="connsiteY33813" fmla="*/ 1160661 h 4687251"/>
              <a:gd name="connsiteX33814" fmla="*/ 1076811 w 8079933"/>
              <a:gd name="connsiteY33814" fmla="*/ 1157412 h 4687251"/>
              <a:gd name="connsiteX33815" fmla="*/ 1075399 w 8079933"/>
              <a:gd name="connsiteY33815" fmla="*/ 1154706 h 4687251"/>
              <a:gd name="connsiteX33816" fmla="*/ 1072686 w 8079933"/>
              <a:gd name="connsiteY33816" fmla="*/ 1159145 h 4687251"/>
              <a:gd name="connsiteX33817" fmla="*/ 1071168 w 8079933"/>
              <a:gd name="connsiteY33817" fmla="*/ 1156222 h 4687251"/>
              <a:gd name="connsiteX33818" fmla="*/ 1070841 w 8079933"/>
              <a:gd name="connsiteY33818" fmla="*/ 1151457 h 4687251"/>
              <a:gd name="connsiteX33819" fmla="*/ 1068020 w 8079933"/>
              <a:gd name="connsiteY33819" fmla="*/ 1151133 h 4687251"/>
              <a:gd name="connsiteX33820" fmla="*/ 1067370 w 8079933"/>
              <a:gd name="connsiteY33820" fmla="*/ 1156438 h 4687251"/>
              <a:gd name="connsiteX33821" fmla="*/ 1065633 w 8079933"/>
              <a:gd name="connsiteY33821" fmla="*/ 1158712 h 4687251"/>
              <a:gd name="connsiteX33822" fmla="*/ 1065742 w 8079933"/>
              <a:gd name="connsiteY33822" fmla="*/ 1161094 h 4687251"/>
              <a:gd name="connsiteX33823" fmla="*/ 1068997 w 8079933"/>
              <a:gd name="connsiteY33823" fmla="*/ 1162501 h 4687251"/>
              <a:gd name="connsiteX33824" fmla="*/ 1070408 w 8079933"/>
              <a:gd name="connsiteY33824" fmla="*/ 1165749 h 4687251"/>
              <a:gd name="connsiteX33825" fmla="*/ 1070841 w 8079933"/>
              <a:gd name="connsiteY33825" fmla="*/ 1168781 h 4687251"/>
              <a:gd name="connsiteX33826" fmla="*/ 1067478 w 8079933"/>
              <a:gd name="connsiteY33826" fmla="*/ 1173112 h 4687251"/>
              <a:gd name="connsiteX33827" fmla="*/ 1069106 w 8079933"/>
              <a:gd name="connsiteY33827" fmla="*/ 1174628 h 4687251"/>
              <a:gd name="connsiteX33828" fmla="*/ 1070841 w 8079933"/>
              <a:gd name="connsiteY33828" fmla="*/ 1173653 h 4687251"/>
              <a:gd name="connsiteX33829" fmla="*/ 1073338 w 8079933"/>
              <a:gd name="connsiteY33829" fmla="*/ 1173437 h 4687251"/>
              <a:gd name="connsiteX33830" fmla="*/ 1076159 w 8079933"/>
              <a:gd name="connsiteY33830" fmla="*/ 1180149 h 4687251"/>
              <a:gd name="connsiteX33831" fmla="*/ 1074423 w 8079933"/>
              <a:gd name="connsiteY33831" fmla="*/ 1183939 h 4687251"/>
              <a:gd name="connsiteX33832" fmla="*/ 1071601 w 8079933"/>
              <a:gd name="connsiteY33832" fmla="*/ 1183181 h 4687251"/>
              <a:gd name="connsiteX33833" fmla="*/ 1069756 w 8079933"/>
              <a:gd name="connsiteY33833" fmla="*/ 1181016 h 4687251"/>
              <a:gd name="connsiteX33834" fmla="*/ 1068346 w 8079933"/>
              <a:gd name="connsiteY33834" fmla="*/ 1183073 h 4687251"/>
              <a:gd name="connsiteX33835" fmla="*/ 1069865 w 8079933"/>
              <a:gd name="connsiteY33835" fmla="*/ 1185130 h 4687251"/>
              <a:gd name="connsiteX33836" fmla="*/ 1066501 w 8079933"/>
              <a:gd name="connsiteY33836" fmla="*/ 1186320 h 4687251"/>
              <a:gd name="connsiteX33837" fmla="*/ 1063897 w 8079933"/>
              <a:gd name="connsiteY33837" fmla="*/ 1183073 h 4687251"/>
              <a:gd name="connsiteX33838" fmla="*/ 1061292 w 8079933"/>
              <a:gd name="connsiteY33838" fmla="*/ 1185130 h 4687251"/>
              <a:gd name="connsiteX33839" fmla="*/ 1060750 w 8079933"/>
              <a:gd name="connsiteY33839" fmla="*/ 1182532 h 4687251"/>
              <a:gd name="connsiteX33840" fmla="*/ 1058254 w 8079933"/>
              <a:gd name="connsiteY33840" fmla="*/ 1181340 h 4687251"/>
              <a:gd name="connsiteX33841" fmla="*/ 1051091 w 8079933"/>
              <a:gd name="connsiteY33841" fmla="*/ 1173220 h 4687251"/>
              <a:gd name="connsiteX33842" fmla="*/ 1049790 w 8079933"/>
              <a:gd name="connsiteY33842" fmla="*/ 1169106 h 4687251"/>
              <a:gd name="connsiteX33843" fmla="*/ 1050983 w 8079933"/>
              <a:gd name="connsiteY33843" fmla="*/ 1165208 h 4687251"/>
              <a:gd name="connsiteX33844" fmla="*/ 1047728 w 8079933"/>
              <a:gd name="connsiteY33844" fmla="*/ 1164991 h 4687251"/>
              <a:gd name="connsiteX33845" fmla="*/ 1045340 w 8079933"/>
              <a:gd name="connsiteY33845" fmla="*/ 1162610 h 4687251"/>
              <a:gd name="connsiteX33846" fmla="*/ 1045449 w 8079933"/>
              <a:gd name="connsiteY33846" fmla="*/ 1151782 h 4687251"/>
              <a:gd name="connsiteX33847" fmla="*/ 1047185 w 8079933"/>
              <a:gd name="connsiteY33847" fmla="*/ 1149184 h 4687251"/>
              <a:gd name="connsiteX33848" fmla="*/ 1043604 w 8079933"/>
              <a:gd name="connsiteY33848" fmla="*/ 1146586 h 4687251"/>
              <a:gd name="connsiteX33849" fmla="*/ 1042845 w 8079933"/>
              <a:gd name="connsiteY33849" fmla="*/ 1143879 h 4687251"/>
              <a:gd name="connsiteX33850" fmla="*/ 1046208 w 8079933"/>
              <a:gd name="connsiteY33850" fmla="*/ 1139981 h 4687251"/>
              <a:gd name="connsiteX33851" fmla="*/ 1048705 w 8079933"/>
              <a:gd name="connsiteY33851" fmla="*/ 1138573 h 4687251"/>
              <a:gd name="connsiteX33852" fmla="*/ 1049898 w 8079933"/>
              <a:gd name="connsiteY33852" fmla="*/ 1135325 h 4687251"/>
              <a:gd name="connsiteX33853" fmla="*/ 1049898 w 8079933"/>
              <a:gd name="connsiteY33853" fmla="*/ 1129912 h 4687251"/>
              <a:gd name="connsiteX33854" fmla="*/ 1052503 w 8079933"/>
              <a:gd name="connsiteY33854" fmla="*/ 1122225 h 4687251"/>
              <a:gd name="connsiteX33855" fmla="*/ 1046968 w 8079933"/>
              <a:gd name="connsiteY33855" fmla="*/ 1132186 h 4687251"/>
              <a:gd name="connsiteX33856" fmla="*/ 1044798 w 8079933"/>
              <a:gd name="connsiteY33856" fmla="*/ 1136841 h 4687251"/>
              <a:gd name="connsiteX33857" fmla="*/ 1039372 w 8079933"/>
              <a:gd name="connsiteY33857" fmla="*/ 1136192 h 4687251"/>
              <a:gd name="connsiteX33858" fmla="*/ 1037202 w 8079933"/>
              <a:gd name="connsiteY33858" fmla="*/ 1137490 h 4687251"/>
              <a:gd name="connsiteX33859" fmla="*/ 1030257 w 8079933"/>
              <a:gd name="connsiteY33859" fmla="*/ 1130778 h 4687251"/>
              <a:gd name="connsiteX33860" fmla="*/ 1030257 w 8079933"/>
              <a:gd name="connsiteY33860" fmla="*/ 1129045 h 4687251"/>
              <a:gd name="connsiteX33861" fmla="*/ 1033078 w 8079933"/>
              <a:gd name="connsiteY33861" fmla="*/ 1129045 h 4687251"/>
              <a:gd name="connsiteX33862" fmla="*/ 1034380 w 8079933"/>
              <a:gd name="connsiteY33862" fmla="*/ 1126122 h 4687251"/>
              <a:gd name="connsiteX33863" fmla="*/ 1031668 w 8079933"/>
              <a:gd name="connsiteY33863" fmla="*/ 1124606 h 4687251"/>
              <a:gd name="connsiteX33864" fmla="*/ 1027761 w 8079933"/>
              <a:gd name="connsiteY33864" fmla="*/ 1125798 h 4687251"/>
              <a:gd name="connsiteX33865" fmla="*/ 1024830 w 8079933"/>
              <a:gd name="connsiteY33865" fmla="*/ 1123416 h 4687251"/>
              <a:gd name="connsiteX33866" fmla="*/ 1023529 w 8079933"/>
              <a:gd name="connsiteY33866" fmla="*/ 1118868 h 4687251"/>
              <a:gd name="connsiteX33867" fmla="*/ 1020273 w 8079933"/>
              <a:gd name="connsiteY33867" fmla="*/ 1113238 h 4687251"/>
              <a:gd name="connsiteX33868" fmla="*/ 1022009 w 8079933"/>
              <a:gd name="connsiteY33868" fmla="*/ 1112588 h 4687251"/>
              <a:gd name="connsiteX33869" fmla="*/ 1027001 w 8079933"/>
              <a:gd name="connsiteY33869" fmla="*/ 1115404 h 4687251"/>
              <a:gd name="connsiteX33870" fmla="*/ 1030148 w 8079933"/>
              <a:gd name="connsiteY33870" fmla="*/ 1114862 h 4687251"/>
              <a:gd name="connsiteX33871" fmla="*/ 1032210 w 8079933"/>
              <a:gd name="connsiteY33871" fmla="*/ 1109882 h 4687251"/>
              <a:gd name="connsiteX33872" fmla="*/ 1033078 w 8079933"/>
              <a:gd name="connsiteY33872" fmla="*/ 1101545 h 4687251"/>
              <a:gd name="connsiteX33873" fmla="*/ 1037527 w 8079933"/>
              <a:gd name="connsiteY33873" fmla="*/ 1098188 h 4687251"/>
              <a:gd name="connsiteX33874" fmla="*/ 1039372 w 8079933"/>
              <a:gd name="connsiteY33874" fmla="*/ 1095265 h 4687251"/>
              <a:gd name="connsiteX33875" fmla="*/ 1036984 w 8079933"/>
              <a:gd name="connsiteY33875" fmla="*/ 1095049 h 4687251"/>
              <a:gd name="connsiteX33876" fmla="*/ 1030799 w 8079933"/>
              <a:gd name="connsiteY33876" fmla="*/ 1099488 h 4687251"/>
              <a:gd name="connsiteX33877" fmla="*/ 1028086 w 8079933"/>
              <a:gd name="connsiteY33877" fmla="*/ 1103169 h 4687251"/>
              <a:gd name="connsiteX33878" fmla="*/ 1026893 w 8079933"/>
              <a:gd name="connsiteY33878" fmla="*/ 1100678 h 4687251"/>
              <a:gd name="connsiteX33879" fmla="*/ 1023094 w 8079933"/>
              <a:gd name="connsiteY33879" fmla="*/ 1102086 h 4687251"/>
              <a:gd name="connsiteX33880" fmla="*/ 1014305 w 8079933"/>
              <a:gd name="connsiteY33880" fmla="*/ 1104143 h 4687251"/>
              <a:gd name="connsiteX33881" fmla="*/ 1007143 w 8079933"/>
              <a:gd name="connsiteY33881" fmla="*/ 1101870 h 4687251"/>
              <a:gd name="connsiteX33882" fmla="*/ 1004321 w 8079933"/>
              <a:gd name="connsiteY33882" fmla="*/ 1099163 h 4687251"/>
              <a:gd name="connsiteX33883" fmla="*/ 1003127 w 8079933"/>
              <a:gd name="connsiteY33883" fmla="*/ 1094940 h 4687251"/>
              <a:gd name="connsiteX33884" fmla="*/ 996183 w 8079933"/>
              <a:gd name="connsiteY33884" fmla="*/ 1093208 h 4687251"/>
              <a:gd name="connsiteX33885" fmla="*/ 995314 w 8079933"/>
              <a:gd name="connsiteY33885" fmla="*/ 1090935 h 4687251"/>
              <a:gd name="connsiteX33886" fmla="*/ 999764 w 8079933"/>
              <a:gd name="connsiteY33886" fmla="*/ 1089743 h 4687251"/>
              <a:gd name="connsiteX33887" fmla="*/ 1003236 w 8079933"/>
              <a:gd name="connsiteY33887" fmla="*/ 1086929 h 4687251"/>
              <a:gd name="connsiteX33888" fmla="*/ 1003562 w 8079933"/>
              <a:gd name="connsiteY33888" fmla="*/ 1083356 h 4687251"/>
              <a:gd name="connsiteX33889" fmla="*/ 1001174 w 8079933"/>
              <a:gd name="connsiteY33889" fmla="*/ 1082164 h 4687251"/>
              <a:gd name="connsiteX33890" fmla="*/ 999764 w 8079933"/>
              <a:gd name="connsiteY33890" fmla="*/ 1083680 h 4687251"/>
              <a:gd name="connsiteX33891" fmla="*/ 993253 w 8079933"/>
              <a:gd name="connsiteY33891" fmla="*/ 1086929 h 4687251"/>
              <a:gd name="connsiteX33892" fmla="*/ 989128 w 8079933"/>
              <a:gd name="connsiteY33892" fmla="*/ 1087145 h 4687251"/>
              <a:gd name="connsiteX33893" fmla="*/ 987935 w 8079933"/>
              <a:gd name="connsiteY33893" fmla="*/ 1083897 h 4687251"/>
              <a:gd name="connsiteX33894" fmla="*/ 984788 w 8079933"/>
              <a:gd name="connsiteY33894" fmla="*/ 1081623 h 4687251"/>
              <a:gd name="connsiteX33895" fmla="*/ 981751 w 8079933"/>
              <a:gd name="connsiteY33895" fmla="*/ 1077834 h 4687251"/>
              <a:gd name="connsiteX33896" fmla="*/ 978496 w 8079933"/>
              <a:gd name="connsiteY33896" fmla="*/ 1077509 h 4687251"/>
              <a:gd name="connsiteX33897" fmla="*/ 978604 w 8079933"/>
              <a:gd name="connsiteY33897" fmla="*/ 1074044 h 4687251"/>
              <a:gd name="connsiteX33898" fmla="*/ 976216 w 8079933"/>
              <a:gd name="connsiteY33898" fmla="*/ 1073286 h 4687251"/>
              <a:gd name="connsiteX33899" fmla="*/ 970898 w 8079933"/>
              <a:gd name="connsiteY33899" fmla="*/ 1074260 h 4687251"/>
              <a:gd name="connsiteX33900" fmla="*/ 964931 w 8079933"/>
              <a:gd name="connsiteY33900" fmla="*/ 1073719 h 4687251"/>
              <a:gd name="connsiteX33901" fmla="*/ 960156 w 8079933"/>
              <a:gd name="connsiteY33901" fmla="*/ 1074260 h 4687251"/>
              <a:gd name="connsiteX33902" fmla="*/ 956576 w 8079933"/>
              <a:gd name="connsiteY33902" fmla="*/ 1073395 h 4687251"/>
              <a:gd name="connsiteX33903" fmla="*/ 953210 w 8079933"/>
              <a:gd name="connsiteY33903" fmla="*/ 1074802 h 4687251"/>
              <a:gd name="connsiteX33904" fmla="*/ 941816 w 8079933"/>
              <a:gd name="connsiteY33904" fmla="*/ 1072528 h 4687251"/>
              <a:gd name="connsiteX33905" fmla="*/ 940298 w 8079933"/>
              <a:gd name="connsiteY33905" fmla="*/ 1069713 h 4687251"/>
              <a:gd name="connsiteX33906" fmla="*/ 943227 w 8079933"/>
              <a:gd name="connsiteY33906" fmla="*/ 1068631 h 4687251"/>
              <a:gd name="connsiteX33907" fmla="*/ 945723 w 8079933"/>
              <a:gd name="connsiteY33907" fmla="*/ 1069605 h 4687251"/>
              <a:gd name="connsiteX33908" fmla="*/ 947785 w 8079933"/>
              <a:gd name="connsiteY33908" fmla="*/ 1068414 h 4687251"/>
              <a:gd name="connsiteX33909" fmla="*/ 943118 w 8079933"/>
              <a:gd name="connsiteY33909" fmla="*/ 1064083 h 4687251"/>
              <a:gd name="connsiteX33910" fmla="*/ 949195 w 8079933"/>
              <a:gd name="connsiteY33910" fmla="*/ 1058128 h 4687251"/>
              <a:gd name="connsiteX33911" fmla="*/ 948760 w 8079933"/>
              <a:gd name="connsiteY33911" fmla="*/ 1055205 h 4687251"/>
              <a:gd name="connsiteX33912" fmla="*/ 952235 w 8079933"/>
              <a:gd name="connsiteY33912" fmla="*/ 1050766 h 4687251"/>
              <a:gd name="connsiteX33913" fmla="*/ 946374 w 8079933"/>
              <a:gd name="connsiteY33913" fmla="*/ 1050550 h 4687251"/>
              <a:gd name="connsiteX33914" fmla="*/ 945180 w 8079933"/>
              <a:gd name="connsiteY33914" fmla="*/ 1052607 h 4687251"/>
              <a:gd name="connsiteX33915" fmla="*/ 946590 w 8079933"/>
              <a:gd name="connsiteY33915" fmla="*/ 1054664 h 4687251"/>
              <a:gd name="connsiteX33916" fmla="*/ 943444 w 8079933"/>
              <a:gd name="connsiteY33916" fmla="*/ 1059428 h 4687251"/>
              <a:gd name="connsiteX33917" fmla="*/ 939647 w 8079933"/>
              <a:gd name="connsiteY33917" fmla="*/ 1058128 h 4687251"/>
              <a:gd name="connsiteX33918" fmla="*/ 938996 w 8079933"/>
              <a:gd name="connsiteY33918" fmla="*/ 1055205 h 4687251"/>
              <a:gd name="connsiteX33919" fmla="*/ 936932 w 8079933"/>
              <a:gd name="connsiteY33919" fmla="*/ 1054339 h 4687251"/>
              <a:gd name="connsiteX33920" fmla="*/ 936173 w 8079933"/>
              <a:gd name="connsiteY33920" fmla="*/ 1051632 h 4687251"/>
              <a:gd name="connsiteX33921" fmla="*/ 939104 w 8079933"/>
              <a:gd name="connsiteY33921" fmla="*/ 1049575 h 4687251"/>
              <a:gd name="connsiteX33922" fmla="*/ 939104 w 8079933"/>
              <a:gd name="connsiteY33922" fmla="*/ 1047301 h 4687251"/>
              <a:gd name="connsiteX33923" fmla="*/ 937042 w 8079933"/>
              <a:gd name="connsiteY33923" fmla="*/ 1044486 h 4687251"/>
              <a:gd name="connsiteX33924" fmla="*/ 930313 w 8079933"/>
              <a:gd name="connsiteY33924" fmla="*/ 1047085 h 4687251"/>
              <a:gd name="connsiteX33925" fmla="*/ 926189 w 8079933"/>
              <a:gd name="connsiteY33925" fmla="*/ 1045244 h 4687251"/>
              <a:gd name="connsiteX33926" fmla="*/ 922067 w 8079933"/>
              <a:gd name="connsiteY33926" fmla="*/ 1041563 h 4687251"/>
              <a:gd name="connsiteX33927" fmla="*/ 917292 w 8079933"/>
              <a:gd name="connsiteY33927" fmla="*/ 1043620 h 4687251"/>
              <a:gd name="connsiteX33928" fmla="*/ 912627 w 8079933"/>
              <a:gd name="connsiteY33928" fmla="*/ 1043620 h 4687251"/>
              <a:gd name="connsiteX33929" fmla="*/ 912084 w 8079933"/>
              <a:gd name="connsiteY33929" fmla="*/ 1041130 h 4687251"/>
              <a:gd name="connsiteX33930" fmla="*/ 915882 w 8079933"/>
              <a:gd name="connsiteY33930" fmla="*/ 1039722 h 4687251"/>
              <a:gd name="connsiteX33931" fmla="*/ 919462 w 8079933"/>
              <a:gd name="connsiteY33931" fmla="*/ 1038531 h 4687251"/>
              <a:gd name="connsiteX33932" fmla="*/ 917292 w 8079933"/>
              <a:gd name="connsiteY33932" fmla="*/ 1035391 h 4687251"/>
              <a:gd name="connsiteX33933" fmla="*/ 910673 w 8079933"/>
              <a:gd name="connsiteY33933" fmla="*/ 1033659 h 4687251"/>
              <a:gd name="connsiteX33934" fmla="*/ 910238 w 8079933"/>
              <a:gd name="connsiteY33934" fmla="*/ 1030303 h 4687251"/>
              <a:gd name="connsiteX33935" fmla="*/ 915229 w 8079933"/>
              <a:gd name="connsiteY33935" fmla="*/ 1030086 h 4687251"/>
              <a:gd name="connsiteX33936" fmla="*/ 917400 w 8079933"/>
              <a:gd name="connsiteY33936" fmla="*/ 1028895 h 4687251"/>
              <a:gd name="connsiteX33937" fmla="*/ 913602 w 8079933"/>
              <a:gd name="connsiteY33937" fmla="*/ 1026080 h 4687251"/>
              <a:gd name="connsiteX33938" fmla="*/ 909695 w 8079933"/>
              <a:gd name="connsiteY33938" fmla="*/ 1028354 h 4687251"/>
              <a:gd name="connsiteX33939" fmla="*/ 906223 w 8079933"/>
              <a:gd name="connsiteY33939" fmla="*/ 1027163 h 4687251"/>
              <a:gd name="connsiteX33940" fmla="*/ 906765 w 8079933"/>
              <a:gd name="connsiteY33940" fmla="*/ 1023157 h 4687251"/>
              <a:gd name="connsiteX33941" fmla="*/ 910673 w 8079933"/>
              <a:gd name="connsiteY33941" fmla="*/ 1021316 h 4687251"/>
              <a:gd name="connsiteX33942" fmla="*/ 917074 w 8079933"/>
              <a:gd name="connsiteY33942" fmla="*/ 1021966 h 4687251"/>
              <a:gd name="connsiteX33943" fmla="*/ 922283 w 8079933"/>
              <a:gd name="connsiteY33943" fmla="*/ 1026297 h 4687251"/>
              <a:gd name="connsiteX33944" fmla="*/ 922826 w 8079933"/>
              <a:gd name="connsiteY33944" fmla="*/ 1023915 h 4687251"/>
              <a:gd name="connsiteX33945" fmla="*/ 919678 w 8079933"/>
              <a:gd name="connsiteY33945" fmla="*/ 1020775 h 4687251"/>
              <a:gd name="connsiteX33946" fmla="*/ 910673 w 8079933"/>
              <a:gd name="connsiteY33946" fmla="*/ 1018934 h 4687251"/>
              <a:gd name="connsiteX33947" fmla="*/ 908828 w 8079933"/>
              <a:gd name="connsiteY33947" fmla="*/ 1016336 h 4687251"/>
              <a:gd name="connsiteX33948" fmla="*/ 911215 w 8079933"/>
              <a:gd name="connsiteY33948" fmla="*/ 1013088 h 4687251"/>
              <a:gd name="connsiteX33949" fmla="*/ 914472 w 8079933"/>
              <a:gd name="connsiteY33949" fmla="*/ 1013088 h 4687251"/>
              <a:gd name="connsiteX33950" fmla="*/ 919462 w 8079933"/>
              <a:gd name="connsiteY33950" fmla="*/ 1007891 h 4687251"/>
              <a:gd name="connsiteX33951" fmla="*/ 924455 w 8079933"/>
              <a:gd name="connsiteY33951" fmla="*/ 1007783 h 4687251"/>
              <a:gd name="connsiteX33952" fmla="*/ 925323 w 8079933"/>
              <a:gd name="connsiteY33952" fmla="*/ 1006050 h 4687251"/>
              <a:gd name="connsiteX33953" fmla="*/ 921415 w 8079933"/>
              <a:gd name="connsiteY33953" fmla="*/ 1004643 h 4687251"/>
              <a:gd name="connsiteX33954" fmla="*/ 916098 w 8079933"/>
              <a:gd name="connsiteY33954" fmla="*/ 1005726 h 4687251"/>
              <a:gd name="connsiteX33955" fmla="*/ 911432 w 8079933"/>
              <a:gd name="connsiteY33955" fmla="*/ 1008973 h 4687251"/>
              <a:gd name="connsiteX33956" fmla="*/ 909479 w 8079933"/>
              <a:gd name="connsiteY33956" fmla="*/ 1009082 h 4687251"/>
              <a:gd name="connsiteX33957" fmla="*/ 904921 w 8079933"/>
              <a:gd name="connsiteY33957" fmla="*/ 1012546 h 4687251"/>
              <a:gd name="connsiteX33958" fmla="*/ 901231 w 8079933"/>
              <a:gd name="connsiteY33958" fmla="*/ 1009840 h 4687251"/>
              <a:gd name="connsiteX33959" fmla="*/ 900037 w 8079933"/>
              <a:gd name="connsiteY33959" fmla="*/ 1012546 h 4687251"/>
              <a:gd name="connsiteX33960" fmla="*/ 894395 w 8079933"/>
              <a:gd name="connsiteY33960" fmla="*/ 1016661 h 4687251"/>
              <a:gd name="connsiteX33961" fmla="*/ 893526 w 8079933"/>
              <a:gd name="connsiteY33961" fmla="*/ 1013629 h 4687251"/>
              <a:gd name="connsiteX33962" fmla="*/ 895913 w 8079933"/>
              <a:gd name="connsiteY33962" fmla="*/ 1009948 h 4687251"/>
              <a:gd name="connsiteX33963" fmla="*/ 897433 w 8079933"/>
              <a:gd name="connsiteY33963" fmla="*/ 1007024 h 4687251"/>
              <a:gd name="connsiteX33964" fmla="*/ 895262 w 8079933"/>
              <a:gd name="connsiteY33964" fmla="*/ 1007024 h 4687251"/>
              <a:gd name="connsiteX33965" fmla="*/ 891574 w 8079933"/>
              <a:gd name="connsiteY33965" fmla="*/ 1009407 h 4687251"/>
              <a:gd name="connsiteX33966" fmla="*/ 888643 w 8079933"/>
              <a:gd name="connsiteY33966" fmla="*/ 1018610 h 4687251"/>
              <a:gd name="connsiteX33967" fmla="*/ 886581 w 8079933"/>
              <a:gd name="connsiteY33967" fmla="*/ 1019042 h 4687251"/>
              <a:gd name="connsiteX33968" fmla="*/ 885063 w 8079933"/>
              <a:gd name="connsiteY33968" fmla="*/ 1011139 h 4687251"/>
              <a:gd name="connsiteX33969" fmla="*/ 884520 w 8079933"/>
              <a:gd name="connsiteY33969" fmla="*/ 1007241 h 4687251"/>
              <a:gd name="connsiteX33970" fmla="*/ 893309 w 8079933"/>
              <a:gd name="connsiteY33970" fmla="*/ 1001178 h 4687251"/>
              <a:gd name="connsiteX33971" fmla="*/ 887449 w 8079933"/>
              <a:gd name="connsiteY33971" fmla="*/ 1001178 h 4687251"/>
              <a:gd name="connsiteX33972" fmla="*/ 884194 w 8079933"/>
              <a:gd name="connsiteY33972" fmla="*/ 1002044 h 4687251"/>
              <a:gd name="connsiteX33973" fmla="*/ 879744 w 8079933"/>
              <a:gd name="connsiteY33973" fmla="*/ 998796 h 4687251"/>
              <a:gd name="connsiteX33974" fmla="*/ 871931 w 8079933"/>
              <a:gd name="connsiteY33974" fmla="*/ 1002044 h 4687251"/>
              <a:gd name="connsiteX33975" fmla="*/ 873667 w 8079933"/>
              <a:gd name="connsiteY33975" fmla="*/ 1007566 h 4687251"/>
              <a:gd name="connsiteX33976" fmla="*/ 873016 w 8079933"/>
              <a:gd name="connsiteY33976" fmla="*/ 1009840 h 4687251"/>
              <a:gd name="connsiteX33977" fmla="*/ 870954 w 8079933"/>
              <a:gd name="connsiteY33977" fmla="*/ 1008432 h 4687251"/>
              <a:gd name="connsiteX33978" fmla="*/ 868134 w 8079933"/>
              <a:gd name="connsiteY33978" fmla="*/ 1009840 h 4687251"/>
              <a:gd name="connsiteX33979" fmla="*/ 861947 w 8079933"/>
              <a:gd name="connsiteY33979" fmla="*/ 1010489 h 4687251"/>
              <a:gd name="connsiteX33980" fmla="*/ 862166 w 8079933"/>
              <a:gd name="connsiteY33980" fmla="*/ 1014279 h 4687251"/>
              <a:gd name="connsiteX33981" fmla="*/ 866940 w 8079933"/>
              <a:gd name="connsiteY33981" fmla="*/ 1018177 h 4687251"/>
              <a:gd name="connsiteX33982" fmla="*/ 871065 w 8079933"/>
              <a:gd name="connsiteY33982" fmla="*/ 1016552 h 4687251"/>
              <a:gd name="connsiteX33983" fmla="*/ 871065 w 8079933"/>
              <a:gd name="connsiteY33983" fmla="*/ 1020450 h 4687251"/>
              <a:gd name="connsiteX33984" fmla="*/ 869001 w 8079933"/>
              <a:gd name="connsiteY33984" fmla="*/ 1023157 h 4687251"/>
              <a:gd name="connsiteX33985" fmla="*/ 865421 w 8079933"/>
              <a:gd name="connsiteY33985" fmla="*/ 1021858 h 4687251"/>
              <a:gd name="connsiteX33986" fmla="*/ 861298 w 8079933"/>
              <a:gd name="connsiteY33986" fmla="*/ 1021966 h 4687251"/>
              <a:gd name="connsiteX33987" fmla="*/ 859343 w 8079933"/>
              <a:gd name="connsiteY33987" fmla="*/ 1024889 h 4687251"/>
              <a:gd name="connsiteX33988" fmla="*/ 864770 w 8079933"/>
              <a:gd name="connsiteY33988" fmla="*/ 1025648 h 4687251"/>
              <a:gd name="connsiteX33989" fmla="*/ 867810 w 8079933"/>
              <a:gd name="connsiteY33989" fmla="*/ 1027704 h 4687251"/>
              <a:gd name="connsiteX33990" fmla="*/ 872149 w 8079933"/>
              <a:gd name="connsiteY33990" fmla="*/ 1026946 h 4687251"/>
              <a:gd name="connsiteX33991" fmla="*/ 871931 w 8079933"/>
              <a:gd name="connsiteY33991" fmla="*/ 1031602 h 4687251"/>
              <a:gd name="connsiteX33992" fmla="*/ 870412 w 8079933"/>
              <a:gd name="connsiteY33992" fmla="*/ 1034850 h 4687251"/>
              <a:gd name="connsiteX33993" fmla="*/ 861623 w 8079933"/>
              <a:gd name="connsiteY33993" fmla="*/ 1037990 h 4687251"/>
              <a:gd name="connsiteX33994" fmla="*/ 860104 w 8079933"/>
              <a:gd name="connsiteY33994" fmla="*/ 1042970 h 4687251"/>
              <a:gd name="connsiteX33995" fmla="*/ 863033 w 8079933"/>
              <a:gd name="connsiteY33995" fmla="*/ 1044486 h 4687251"/>
              <a:gd name="connsiteX33996" fmla="*/ 859018 w 8079933"/>
              <a:gd name="connsiteY33996" fmla="*/ 1047301 h 4687251"/>
              <a:gd name="connsiteX33997" fmla="*/ 852615 w 8079933"/>
              <a:gd name="connsiteY33997" fmla="*/ 1047951 h 4687251"/>
              <a:gd name="connsiteX33998" fmla="*/ 850554 w 8079933"/>
              <a:gd name="connsiteY33998" fmla="*/ 1053256 h 4687251"/>
              <a:gd name="connsiteX33999" fmla="*/ 846756 w 8079933"/>
              <a:gd name="connsiteY33999" fmla="*/ 1056396 h 4687251"/>
              <a:gd name="connsiteX34000" fmla="*/ 844693 w 8079933"/>
              <a:gd name="connsiteY34000" fmla="*/ 1054664 h 4687251"/>
              <a:gd name="connsiteX34001" fmla="*/ 839593 w 8079933"/>
              <a:gd name="connsiteY34001" fmla="*/ 1054014 h 4687251"/>
              <a:gd name="connsiteX34002" fmla="*/ 839919 w 8079933"/>
              <a:gd name="connsiteY34002" fmla="*/ 1050874 h 4687251"/>
              <a:gd name="connsiteX34003" fmla="*/ 838291 w 8079933"/>
              <a:gd name="connsiteY34003" fmla="*/ 1048060 h 4687251"/>
              <a:gd name="connsiteX34004" fmla="*/ 832322 w 8079933"/>
              <a:gd name="connsiteY34004" fmla="*/ 1053797 h 4687251"/>
              <a:gd name="connsiteX34005" fmla="*/ 831998 w 8079933"/>
              <a:gd name="connsiteY34005" fmla="*/ 1051848 h 4687251"/>
              <a:gd name="connsiteX34006" fmla="*/ 835145 w 8079933"/>
              <a:gd name="connsiteY34006" fmla="*/ 1046219 h 4687251"/>
              <a:gd name="connsiteX34007" fmla="*/ 835253 w 8079933"/>
              <a:gd name="connsiteY34007" fmla="*/ 1042754 h 4687251"/>
              <a:gd name="connsiteX34008" fmla="*/ 831890 w 8079933"/>
              <a:gd name="connsiteY34008" fmla="*/ 1044703 h 4687251"/>
              <a:gd name="connsiteX34009" fmla="*/ 828850 w 8079933"/>
              <a:gd name="connsiteY34009" fmla="*/ 1052607 h 4687251"/>
              <a:gd name="connsiteX34010" fmla="*/ 823860 w 8079933"/>
              <a:gd name="connsiteY34010" fmla="*/ 1059319 h 4687251"/>
              <a:gd name="connsiteX34011" fmla="*/ 820928 w 8079933"/>
              <a:gd name="connsiteY34011" fmla="*/ 1061376 h 4687251"/>
              <a:gd name="connsiteX34012" fmla="*/ 820820 w 8079933"/>
              <a:gd name="connsiteY34012" fmla="*/ 1057587 h 4687251"/>
              <a:gd name="connsiteX34013" fmla="*/ 826463 w 8079933"/>
              <a:gd name="connsiteY34013" fmla="*/ 1051524 h 4687251"/>
              <a:gd name="connsiteX34014" fmla="*/ 824076 w 8079933"/>
              <a:gd name="connsiteY34014" fmla="*/ 1051091 h 4687251"/>
              <a:gd name="connsiteX34015" fmla="*/ 818759 w 8079933"/>
              <a:gd name="connsiteY34015" fmla="*/ 1054664 h 4687251"/>
              <a:gd name="connsiteX34016" fmla="*/ 816696 w 8079933"/>
              <a:gd name="connsiteY34016" fmla="*/ 1063109 h 4687251"/>
              <a:gd name="connsiteX34017" fmla="*/ 813766 w 8079933"/>
              <a:gd name="connsiteY34017" fmla="*/ 1065166 h 4687251"/>
              <a:gd name="connsiteX34018" fmla="*/ 812572 w 8079933"/>
              <a:gd name="connsiteY34018" fmla="*/ 1062351 h 4687251"/>
              <a:gd name="connsiteX34019" fmla="*/ 807364 w 8079933"/>
              <a:gd name="connsiteY34019" fmla="*/ 1062568 h 4687251"/>
              <a:gd name="connsiteX34020" fmla="*/ 800094 w 8079933"/>
              <a:gd name="connsiteY34020" fmla="*/ 1068414 h 4687251"/>
              <a:gd name="connsiteX34021" fmla="*/ 794775 w 8079933"/>
              <a:gd name="connsiteY34021" fmla="*/ 1068631 h 4687251"/>
              <a:gd name="connsiteX34022" fmla="*/ 792714 w 8079933"/>
              <a:gd name="connsiteY34022" fmla="*/ 1065815 h 4687251"/>
              <a:gd name="connsiteX34023" fmla="*/ 794451 w 8079933"/>
              <a:gd name="connsiteY34023" fmla="*/ 1063434 h 4687251"/>
              <a:gd name="connsiteX34024" fmla="*/ 793908 w 8079933"/>
              <a:gd name="connsiteY34024" fmla="*/ 1061052 h 4687251"/>
              <a:gd name="connsiteX34025" fmla="*/ 790653 w 8079933"/>
              <a:gd name="connsiteY34025" fmla="*/ 1064083 h 4687251"/>
              <a:gd name="connsiteX34026" fmla="*/ 790110 w 8079933"/>
              <a:gd name="connsiteY34026" fmla="*/ 1069280 h 4687251"/>
              <a:gd name="connsiteX34027" fmla="*/ 785443 w 8079933"/>
              <a:gd name="connsiteY34027" fmla="*/ 1072745 h 4687251"/>
              <a:gd name="connsiteX34028" fmla="*/ 781862 w 8079933"/>
              <a:gd name="connsiteY34028" fmla="*/ 1074369 h 4687251"/>
              <a:gd name="connsiteX34029" fmla="*/ 780997 w 8079933"/>
              <a:gd name="connsiteY34029" fmla="*/ 1077184 h 4687251"/>
              <a:gd name="connsiteX34030" fmla="*/ 778065 w 8079933"/>
              <a:gd name="connsiteY34030" fmla="*/ 1079025 h 4687251"/>
              <a:gd name="connsiteX34031" fmla="*/ 778282 w 8079933"/>
              <a:gd name="connsiteY34031" fmla="*/ 1075127 h 4687251"/>
              <a:gd name="connsiteX34032" fmla="*/ 774809 w 8079933"/>
              <a:gd name="connsiteY34032" fmla="*/ 1074911 h 4687251"/>
              <a:gd name="connsiteX34033" fmla="*/ 773072 w 8079933"/>
              <a:gd name="connsiteY34033" fmla="*/ 1080324 h 4687251"/>
              <a:gd name="connsiteX34034" fmla="*/ 770468 w 8079933"/>
              <a:gd name="connsiteY34034" fmla="*/ 1077509 h 4687251"/>
              <a:gd name="connsiteX34035" fmla="*/ 768299 w 8079933"/>
              <a:gd name="connsiteY34035" fmla="*/ 1080757 h 4687251"/>
              <a:gd name="connsiteX34036" fmla="*/ 766237 w 8079933"/>
              <a:gd name="connsiteY34036" fmla="*/ 1081840 h 4687251"/>
              <a:gd name="connsiteX34037" fmla="*/ 759617 w 8079933"/>
              <a:gd name="connsiteY34037" fmla="*/ 1074586 h 4687251"/>
              <a:gd name="connsiteX34038" fmla="*/ 759401 w 8079933"/>
              <a:gd name="connsiteY34038" fmla="*/ 1068739 h 4687251"/>
              <a:gd name="connsiteX34039" fmla="*/ 763197 w 8079933"/>
              <a:gd name="connsiteY34039" fmla="*/ 1067873 h 4687251"/>
              <a:gd name="connsiteX34040" fmla="*/ 766345 w 8079933"/>
              <a:gd name="connsiteY34040" fmla="*/ 1068739 h 4687251"/>
              <a:gd name="connsiteX34041" fmla="*/ 766345 w 8079933"/>
              <a:gd name="connsiteY34041" fmla="*/ 1064625 h 4687251"/>
              <a:gd name="connsiteX34042" fmla="*/ 769927 w 8079933"/>
              <a:gd name="connsiteY34042" fmla="*/ 1063217 h 4687251"/>
              <a:gd name="connsiteX34043" fmla="*/ 773615 w 8079933"/>
              <a:gd name="connsiteY34043" fmla="*/ 1063109 h 4687251"/>
              <a:gd name="connsiteX34044" fmla="*/ 778065 w 8079933"/>
              <a:gd name="connsiteY34044" fmla="*/ 1065166 h 4687251"/>
              <a:gd name="connsiteX34045" fmla="*/ 780343 w 8079933"/>
              <a:gd name="connsiteY34045" fmla="*/ 1060835 h 4687251"/>
              <a:gd name="connsiteX34046" fmla="*/ 784033 w 8079933"/>
              <a:gd name="connsiteY34046" fmla="*/ 1060727 h 4687251"/>
              <a:gd name="connsiteX34047" fmla="*/ 792388 w 8079933"/>
              <a:gd name="connsiteY34047" fmla="*/ 1054122 h 4687251"/>
              <a:gd name="connsiteX34048" fmla="*/ 792388 w 8079933"/>
              <a:gd name="connsiteY34048" fmla="*/ 1051524 h 4687251"/>
              <a:gd name="connsiteX34049" fmla="*/ 788808 w 8079933"/>
              <a:gd name="connsiteY34049" fmla="*/ 1050874 h 4687251"/>
              <a:gd name="connsiteX34050" fmla="*/ 784468 w 8079933"/>
              <a:gd name="connsiteY34050" fmla="*/ 1053797 h 4687251"/>
              <a:gd name="connsiteX34051" fmla="*/ 781972 w 8079933"/>
              <a:gd name="connsiteY34051" fmla="*/ 1054014 h 4687251"/>
              <a:gd name="connsiteX34052" fmla="*/ 779475 w 8079933"/>
              <a:gd name="connsiteY34052" fmla="*/ 1057695 h 4687251"/>
              <a:gd name="connsiteX34053" fmla="*/ 774809 w 8079933"/>
              <a:gd name="connsiteY34053" fmla="*/ 1051091 h 4687251"/>
              <a:gd name="connsiteX34054" fmla="*/ 774266 w 8079933"/>
              <a:gd name="connsiteY34054" fmla="*/ 1047626 h 4687251"/>
              <a:gd name="connsiteX34055" fmla="*/ 777849 w 8079933"/>
              <a:gd name="connsiteY34055" fmla="*/ 1042754 h 4687251"/>
              <a:gd name="connsiteX34056" fmla="*/ 791628 w 8079933"/>
              <a:gd name="connsiteY34056" fmla="*/ 1030952 h 4687251"/>
              <a:gd name="connsiteX34057" fmla="*/ 793908 w 8079933"/>
              <a:gd name="connsiteY34057" fmla="*/ 1024348 h 4687251"/>
              <a:gd name="connsiteX34058" fmla="*/ 799441 w 8079933"/>
              <a:gd name="connsiteY34058" fmla="*/ 1021100 h 4687251"/>
              <a:gd name="connsiteX34059" fmla="*/ 803240 w 8079933"/>
              <a:gd name="connsiteY34059" fmla="*/ 1013738 h 4687251"/>
              <a:gd name="connsiteX34060" fmla="*/ 802373 w 8079933"/>
              <a:gd name="connsiteY34060" fmla="*/ 1011356 h 4687251"/>
              <a:gd name="connsiteX34061" fmla="*/ 802697 w 8079933"/>
              <a:gd name="connsiteY34061" fmla="*/ 1006700 h 4687251"/>
              <a:gd name="connsiteX34062" fmla="*/ 807582 w 8079933"/>
              <a:gd name="connsiteY34062" fmla="*/ 1002261 h 4687251"/>
              <a:gd name="connsiteX34063" fmla="*/ 813875 w 8079933"/>
              <a:gd name="connsiteY34063" fmla="*/ 1002261 h 4687251"/>
              <a:gd name="connsiteX34064" fmla="*/ 820820 w 8079933"/>
              <a:gd name="connsiteY34064" fmla="*/ 997389 h 4687251"/>
              <a:gd name="connsiteX34065" fmla="*/ 824619 w 8079933"/>
              <a:gd name="connsiteY34065" fmla="*/ 997063 h 4687251"/>
              <a:gd name="connsiteX34066" fmla="*/ 832215 w 8079933"/>
              <a:gd name="connsiteY34066" fmla="*/ 993599 h 4687251"/>
              <a:gd name="connsiteX34067" fmla="*/ 833408 w 8079933"/>
              <a:gd name="connsiteY34067" fmla="*/ 999662 h 4687251"/>
              <a:gd name="connsiteX34068" fmla="*/ 838185 w 8079933"/>
              <a:gd name="connsiteY34068" fmla="*/ 1002910 h 4687251"/>
              <a:gd name="connsiteX34069" fmla="*/ 841764 w 8079933"/>
              <a:gd name="connsiteY34069" fmla="*/ 1002910 h 4687251"/>
              <a:gd name="connsiteX34070" fmla="*/ 844043 w 8079933"/>
              <a:gd name="connsiteY34070" fmla="*/ 1001828 h 4687251"/>
              <a:gd name="connsiteX34071" fmla="*/ 847841 w 8079933"/>
              <a:gd name="connsiteY34071" fmla="*/ 1002261 h 4687251"/>
              <a:gd name="connsiteX34072" fmla="*/ 852834 w 8079933"/>
              <a:gd name="connsiteY34072" fmla="*/ 1006050 h 4687251"/>
              <a:gd name="connsiteX34073" fmla="*/ 851421 w 8079933"/>
              <a:gd name="connsiteY34073" fmla="*/ 1000637 h 4687251"/>
              <a:gd name="connsiteX34074" fmla="*/ 846322 w 8079933"/>
              <a:gd name="connsiteY34074" fmla="*/ 993166 h 4687251"/>
              <a:gd name="connsiteX34075" fmla="*/ 847190 w 8079933"/>
              <a:gd name="connsiteY34075" fmla="*/ 988943 h 4687251"/>
              <a:gd name="connsiteX34076" fmla="*/ 857500 w 8079933"/>
              <a:gd name="connsiteY34076" fmla="*/ 978333 h 4687251"/>
              <a:gd name="connsiteX34077" fmla="*/ 863141 w 8079933"/>
              <a:gd name="connsiteY34077" fmla="*/ 977792 h 4687251"/>
              <a:gd name="connsiteX34078" fmla="*/ 870630 w 8079933"/>
              <a:gd name="connsiteY34078" fmla="*/ 973353 h 4687251"/>
              <a:gd name="connsiteX34079" fmla="*/ 872473 w 8079933"/>
              <a:gd name="connsiteY34079" fmla="*/ 968372 h 4687251"/>
              <a:gd name="connsiteX34080" fmla="*/ 869328 w 8079933"/>
              <a:gd name="connsiteY34080" fmla="*/ 971837 h 4687251"/>
              <a:gd name="connsiteX34081" fmla="*/ 859561 w 8079933"/>
              <a:gd name="connsiteY34081" fmla="*/ 974760 h 4687251"/>
              <a:gd name="connsiteX34082" fmla="*/ 854895 w 8079933"/>
              <a:gd name="connsiteY34082" fmla="*/ 976492 h 4687251"/>
              <a:gd name="connsiteX34083" fmla="*/ 848927 w 8079933"/>
              <a:gd name="connsiteY34083" fmla="*/ 982989 h 4687251"/>
              <a:gd name="connsiteX34084" fmla="*/ 847515 w 8079933"/>
              <a:gd name="connsiteY34084" fmla="*/ 981256 h 4687251"/>
              <a:gd name="connsiteX34085" fmla="*/ 843934 w 8079933"/>
              <a:gd name="connsiteY34085" fmla="*/ 980606 h 4687251"/>
              <a:gd name="connsiteX34086" fmla="*/ 841438 w 8079933"/>
              <a:gd name="connsiteY34086" fmla="*/ 979199 h 4687251"/>
              <a:gd name="connsiteX34087" fmla="*/ 841113 w 8079933"/>
              <a:gd name="connsiteY34087" fmla="*/ 973894 h 4687251"/>
              <a:gd name="connsiteX34088" fmla="*/ 843934 w 8079933"/>
              <a:gd name="connsiteY34088" fmla="*/ 967722 h 4687251"/>
              <a:gd name="connsiteX34089" fmla="*/ 835796 w 8079933"/>
              <a:gd name="connsiteY34089" fmla="*/ 977792 h 4687251"/>
              <a:gd name="connsiteX34090" fmla="*/ 828526 w 8079933"/>
              <a:gd name="connsiteY34090" fmla="*/ 978549 h 4687251"/>
              <a:gd name="connsiteX34091" fmla="*/ 818759 w 8079933"/>
              <a:gd name="connsiteY34091" fmla="*/ 987320 h 4687251"/>
              <a:gd name="connsiteX34092" fmla="*/ 810294 w 8079933"/>
              <a:gd name="connsiteY34092" fmla="*/ 988077 h 4687251"/>
              <a:gd name="connsiteX34093" fmla="*/ 800094 w 8079933"/>
              <a:gd name="connsiteY34093" fmla="*/ 995656 h 4687251"/>
              <a:gd name="connsiteX34094" fmla="*/ 800094 w 8079933"/>
              <a:gd name="connsiteY34094" fmla="*/ 998471 h 4687251"/>
              <a:gd name="connsiteX34095" fmla="*/ 798031 w 8079933"/>
              <a:gd name="connsiteY34095" fmla="*/ 1000637 h 4687251"/>
              <a:gd name="connsiteX34096" fmla="*/ 793041 w 8079933"/>
              <a:gd name="connsiteY34096" fmla="*/ 1001069 h 4687251"/>
              <a:gd name="connsiteX34097" fmla="*/ 787181 w 8079933"/>
              <a:gd name="connsiteY34097" fmla="*/ 1006050 h 4687251"/>
              <a:gd name="connsiteX34098" fmla="*/ 776328 w 8079933"/>
              <a:gd name="connsiteY34098" fmla="*/ 1011463 h 4687251"/>
              <a:gd name="connsiteX34099" fmla="*/ 776545 w 8079933"/>
              <a:gd name="connsiteY34099" fmla="*/ 1014279 h 4687251"/>
              <a:gd name="connsiteX34100" fmla="*/ 771878 w 8079933"/>
              <a:gd name="connsiteY34100" fmla="*/ 1018610 h 4687251"/>
              <a:gd name="connsiteX34101" fmla="*/ 765477 w 8079933"/>
              <a:gd name="connsiteY34101" fmla="*/ 1019042 h 4687251"/>
              <a:gd name="connsiteX34102" fmla="*/ 762004 w 8079933"/>
              <a:gd name="connsiteY34102" fmla="*/ 1016011 h 4687251"/>
              <a:gd name="connsiteX34103" fmla="*/ 756035 w 8079933"/>
              <a:gd name="connsiteY34103" fmla="*/ 1016552 h 4687251"/>
              <a:gd name="connsiteX34104" fmla="*/ 752780 w 8079933"/>
              <a:gd name="connsiteY34104" fmla="*/ 1019042 h 4687251"/>
              <a:gd name="connsiteX34105" fmla="*/ 752780 w 8079933"/>
              <a:gd name="connsiteY34105" fmla="*/ 1020234 h 4687251"/>
              <a:gd name="connsiteX34106" fmla="*/ 755387 w 8079933"/>
              <a:gd name="connsiteY34106" fmla="*/ 1018177 h 4687251"/>
              <a:gd name="connsiteX34107" fmla="*/ 758099 w 8079933"/>
              <a:gd name="connsiteY34107" fmla="*/ 1017852 h 4687251"/>
              <a:gd name="connsiteX34108" fmla="*/ 764934 w 8079933"/>
              <a:gd name="connsiteY34108" fmla="*/ 1022507 h 4687251"/>
              <a:gd name="connsiteX34109" fmla="*/ 766888 w 8079933"/>
              <a:gd name="connsiteY34109" fmla="*/ 1027813 h 4687251"/>
              <a:gd name="connsiteX34110" fmla="*/ 765151 w 8079933"/>
              <a:gd name="connsiteY34110" fmla="*/ 1034201 h 4687251"/>
              <a:gd name="connsiteX34111" fmla="*/ 756905 w 8079933"/>
              <a:gd name="connsiteY34111" fmla="*/ 1036799 h 4687251"/>
              <a:gd name="connsiteX34112" fmla="*/ 752347 w 8079933"/>
              <a:gd name="connsiteY34112" fmla="*/ 1035067 h 4687251"/>
              <a:gd name="connsiteX34113" fmla="*/ 749958 w 8079933"/>
              <a:gd name="connsiteY34113" fmla="*/ 1035933 h 4687251"/>
              <a:gd name="connsiteX34114" fmla="*/ 750829 w 8079933"/>
              <a:gd name="connsiteY34114" fmla="*/ 1038315 h 4687251"/>
              <a:gd name="connsiteX34115" fmla="*/ 753215 w 8079933"/>
              <a:gd name="connsiteY34115" fmla="*/ 1039181 h 4687251"/>
              <a:gd name="connsiteX34116" fmla="*/ 754625 w 8079933"/>
              <a:gd name="connsiteY34116" fmla="*/ 1041238 h 4687251"/>
              <a:gd name="connsiteX34117" fmla="*/ 749417 w 8079933"/>
              <a:gd name="connsiteY34117" fmla="*/ 1046760 h 4687251"/>
              <a:gd name="connsiteX34118" fmla="*/ 746704 w 8079933"/>
              <a:gd name="connsiteY34118" fmla="*/ 1047085 h 4687251"/>
              <a:gd name="connsiteX34119" fmla="*/ 745509 w 8079933"/>
              <a:gd name="connsiteY34119" fmla="*/ 1044486 h 4687251"/>
              <a:gd name="connsiteX34120" fmla="*/ 746161 w 8079933"/>
              <a:gd name="connsiteY34120" fmla="*/ 1041130 h 4687251"/>
              <a:gd name="connsiteX34121" fmla="*/ 740300 w 8079933"/>
              <a:gd name="connsiteY34121" fmla="*/ 1044378 h 4687251"/>
              <a:gd name="connsiteX34122" fmla="*/ 736069 w 8079933"/>
              <a:gd name="connsiteY34122" fmla="*/ 1040589 h 4687251"/>
              <a:gd name="connsiteX34123" fmla="*/ 729992 w 8079933"/>
              <a:gd name="connsiteY34123" fmla="*/ 1044811 h 4687251"/>
              <a:gd name="connsiteX34124" fmla="*/ 725216 w 8079933"/>
              <a:gd name="connsiteY34124" fmla="*/ 1043836 h 4687251"/>
              <a:gd name="connsiteX34125" fmla="*/ 722612 w 8079933"/>
              <a:gd name="connsiteY34125" fmla="*/ 1045677 h 4687251"/>
              <a:gd name="connsiteX34126" fmla="*/ 723808 w 8079933"/>
              <a:gd name="connsiteY34126" fmla="*/ 1046219 h 4687251"/>
              <a:gd name="connsiteX34127" fmla="*/ 722612 w 8079933"/>
              <a:gd name="connsiteY34127" fmla="*/ 1049142 h 4687251"/>
              <a:gd name="connsiteX34128" fmla="*/ 719356 w 8079933"/>
              <a:gd name="connsiteY34128" fmla="*/ 1049791 h 4687251"/>
              <a:gd name="connsiteX34129" fmla="*/ 718056 w 8079933"/>
              <a:gd name="connsiteY34129" fmla="*/ 1052282 h 4687251"/>
              <a:gd name="connsiteX34130" fmla="*/ 711761 w 8079933"/>
              <a:gd name="connsiteY34130" fmla="*/ 1054772 h 4687251"/>
              <a:gd name="connsiteX34131" fmla="*/ 712086 w 8079933"/>
              <a:gd name="connsiteY34131" fmla="*/ 1059319 h 4687251"/>
              <a:gd name="connsiteX34132" fmla="*/ 711110 w 8079933"/>
              <a:gd name="connsiteY34132" fmla="*/ 1063758 h 4687251"/>
              <a:gd name="connsiteX34133" fmla="*/ 717403 w 8079933"/>
              <a:gd name="connsiteY34133" fmla="*/ 1063542 h 4687251"/>
              <a:gd name="connsiteX34134" fmla="*/ 719791 w 8079933"/>
              <a:gd name="connsiteY34134" fmla="*/ 1065166 h 4687251"/>
              <a:gd name="connsiteX34135" fmla="*/ 721528 w 8079933"/>
              <a:gd name="connsiteY34135" fmla="*/ 1070363 h 4687251"/>
              <a:gd name="connsiteX34136" fmla="*/ 722938 w 8079933"/>
              <a:gd name="connsiteY34136" fmla="*/ 1070363 h 4687251"/>
              <a:gd name="connsiteX34137" fmla="*/ 724783 w 8079933"/>
              <a:gd name="connsiteY34137" fmla="*/ 1071987 h 4687251"/>
              <a:gd name="connsiteX34138" fmla="*/ 724783 w 8079933"/>
              <a:gd name="connsiteY34138" fmla="*/ 1079025 h 4687251"/>
              <a:gd name="connsiteX34139" fmla="*/ 719140 w 8079933"/>
              <a:gd name="connsiteY34139" fmla="*/ 1084438 h 4687251"/>
              <a:gd name="connsiteX34140" fmla="*/ 715668 w 8079933"/>
              <a:gd name="connsiteY34140" fmla="*/ 1085088 h 4687251"/>
              <a:gd name="connsiteX34141" fmla="*/ 710894 w 8079933"/>
              <a:gd name="connsiteY34141" fmla="*/ 1088986 h 4687251"/>
              <a:gd name="connsiteX34142" fmla="*/ 705141 w 8079933"/>
              <a:gd name="connsiteY34142" fmla="*/ 1088986 h 4687251"/>
              <a:gd name="connsiteX34143" fmla="*/ 700149 w 8079933"/>
              <a:gd name="connsiteY34143" fmla="*/ 1094074 h 4687251"/>
              <a:gd name="connsiteX34144" fmla="*/ 695918 w 8079933"/>
              <a:gd name="connsiteY34144" fmla="*/ 1092450 h 4687251"/>
              <a:gd name="connsiteX34145" fmla="*/ 693421 w 8079933"/>
              <a:gd name="connsiteY34145" fmla="*/ 1093641 h 4687251"/>
              <a:gd name="connsiteX34146" fmla="*/ 696243 w 8079933"/>
              <a:gd name="connsiteY34146" fmla="*/ 1095049 h 4687251"/>
              <a:gd name="connsiteX34147" fmla="*/ 697979 w 8079933"/>
              <a:gd name="connsiteY34147" fmla="*/ 1097755 h 4687251"/>
              <a:gd name="connsiteX34148" fmla="*/ 697112 w 8079933"/>
              <a:gd name="connsiteY34148" fmla="*/ 1099163 h 4687251"/>
              <a:gd name="connsiteX34149" fmla="*/ 695374 w 8079933"/>
              <a:gd name="connsiteY34149" fmla="*/ 1097755 h 4687251"/>
              <a:gd name="connsiteX34150" fmla="*/ 692987 w 8079933"/>
              <a:gd name="connsiteY34150" fmla="*/ 1097755 h 4687251"/>
              <a:gd name="connsiteX34151" fmla="*/ 688321 w 8079933"/>
              <a:gd name="connsiteY34151" fmla="*/ 1101545 h 4687251"/>
              <a:gd name="connsiteX34152" fmla="*/ 686802 w 8079933"/>
              <a:gd name="connsiteY34152" fmla="*/ 1105009 h 4687251"/>
              <a:gd name="connsiteX34153" fmla="*/ 689190 w 8079933"/>
              <a:gd name="connsiteY34153" fmla="*/ 1104035 h 4687251"/>
              <a:gd name="connsiteX34154" fmla="*/ 691252 w 8079933"/>
              <a:gd name="connsiteY34154" fmla="*/ 1104035 h 4687251"/>
              <a:gd name="connsiteX34155" fmla="*/ 688973 w 8079933"/>
              <a:gd name="connsiteY34155" fmla="*/ 1110639 h 4687251"/>
              <a:gd name="connsiteX34156" fmla="*/ 687237 w 8079933"/>
              <a:gd name="connsiteY34156" fmla="*/ 1111939 h 4687251"/>
              <a:gd name="connsiteX34157" fmla="*/ 685176 w 8079933"/>
              <a:gd name="connsiteY34157" fmla="*/ 1109990 h 4687251"/>
              <a:gd name="connsiteX34158" fmla="*/ 682787 w 8079933"/>
              <a:gd name="connsiteY34158" fmla="*/ 1112047 h 4687251"/>
              <a:gd name="connsiteX34159" fmla="*/ 681050 w 8079933"/>
              <a:gd name="connsiteY34159" fmla="*/ 1112264 h 4687251"/>
              <a:gd name="connsiteX34160" fmla="*/ 680726 w 8079933"/>
              <a:gd name="connsiteY34160" fmla="*/ 1109882 h 4687251"/>
              <a:gd name="connsiteX34161" fmla="*/ 678664 w 8079933"/>
              <a:gd name="connsiteY34161" fmla="*/ 1109990 h 4687251"/>
              <a:gd name="connsiteX34162" fmla="*/ 677252 w 8079933"/>
              <a:gd name="connsiteY34162" fmla="*/ 1114104 h 4687251"/>
              <a:gd name="connsiteX34163" fmla="*/ 670415 w 8079933"/>
              <a:gd name="connsiteY34163" fmla="*/ 1113455 h 4687251"/>
              <a:gd name="connsiteX34164" fmla="*/ 669222 w 8079933"/>
              <a:gd name="connsiteY34164" fmla="*/ 1112264 h 4687251"/>
              <a:gd name="connsiteX34165" fmla="*/ 667811 w 8079933"/>
              <a:gd name="connsiteY34165" fmla="*/ 1114104 h 4687251"/>
              <a:gd name="connsiteX34166" fmla="*/ 663689 w 8079933"/>
              <a:gd name="connsiteY34166" fmla="*/ 1115187 h 4687251"/>
              <a:gd name="connsiteX34167" fmla="*/ 663796 w 8079933"/>
              <a:gd name="connsiteY34167" fmla="*/ 1118110 h 4687251"/>
              <a:gd name="connsiteX34168" fmla="*/ 661951 w 8079933"/>
              <a:gd name="connsiteY34168" fmla="*/ 1119626 h 4687251"/>
              <a:gd name="connsiteX34169" fmla="*/ 657937 w 8079933"/>
              <a:gd name="connsiteY34169" fmla="*/ 1119626 h 4687251"/>
              <a:gd name="connsiteX34170" fmla="*/ 656742 w 8079933"/>
              <a:gd name="connsiteY34170" fmla="*/ 1123090 h 4687251"/>
              <a:gd name="connsiteX34171" fmla="*/ 654681 w 8079933"/>
              <a:gd name="connsiteY34171" fmla="*/ 1121900 h 4687251"/>
              <a:gd name="connsiteX34172" fmla="*/ 653163 w 8079933"/>
              <a:gd name="connsiteY34172" fmla="*/ 1119084 h 4687251"/>
              <a:gd name="connsiteX34173" fmla="*/ 649907 w 8079933"/>
              <a:gd name="connsiteY34173" fmla="*/ 1119626 h 4687251"/>
              <a:gd name="connsiteX34174" fmla="*/ 648280 w 8079933"/>
              <a:gd name="connsiteY34174" fmla="*/ 1121900 h 4687251"/>
              <a:gd name="connsiteX34175" fmla="*/ 645568 w 8079933"/>
              <a:gd name="connsiteY34175" fmla="*/ 1122874 h 4687251"/>
              <a:gd name="connsiteX34176" fmla="*/ 644155 w 8079933"/>
              <a:gd name="connsiteY34176" fmla="*/ 1126555 h 4687251"/>
              <a:gd name="connsiteX34177" fmla="*/ 639924 w 8079933"/>
              <a:gd name="connsiteY34177" fmla="*/ 1128396 h 4687251"/>
              <a:gd name="connsiteX34178" fmla="*/ 634930 w 8079933"/>
              <a:gd name="connsiteY34178" fmla="*/ 1133593 h 4687251"/>
              <a:gd name="connsiteX34179" fmla="*/ 633304 w 8079933"/>
              <a:gd name="connsiteY34179" fmla="*/ 1131861 h 4687251"/>
              <a:gd name="connsiteX34180" fmla="*/ 631568 w 8079933"/>
              <a:gd name="connsiteY34180" fmla="*/ 1131427 h 4687251"/>
              <a:gd name="connsiteX34181" fmla="*/ 628203 w 8079933"/>
              <a:gd name="connsiteY34181" fmla="*/ 1135434 h 4687251"/>
              <a:gd name="connsiteX34182" fmla="*/ 623861 w 8079933"/>
              <a:gd name="connsiteY34182" fmla="*/ 1137057 h 4687251"/>
              <a:gd name="connsiteX34183" fmla="*/ 617351 w 8079933"/>
              <a:gd name="connsiteY34183" fmla="*/ 1141822 h 4687251"/>
              <a:gd name="connsiteX34184" fmla="*/ 618220 w 8079933"/>
              <a:gd name="connsiteY34184" fmla="*/ 1142471 h 4687251"/>
              <a:gd name="connsiteX34185" fmla="*/ 621476 w 8079933"/>
              <a:gd name="connsiteY34185" fmla="*/ 1142363 h 4687251"/>
              <a:gd name="connsiteX34186" fmla="*/ 622886 w 8079933"/>
              <a:gd name="connsiteY34186" fmla="*/ 1142471 h 4687251"/>
              <a:gd name="connsiteX34187" fmla="*/ 622670 w 8079933"/>
              <a:gd name="connsiteY34187" fmla="*/ 1146261 h 4687251"/>
              <a:gd name="connsiteX34188" fmla="*/ 617677 w 8079933"/>
              <a:gd name="connsiteY34188" fmla="*/ 1152324 h 4687251"/>
              <a:gd name="connsiteX34189" fmla="*/ 613662 w 8079933"/>
              <a:gd name="connsiteY34189" fmla="*/ 1153190 h 4687251"/>
              <a:gd name="connsiteX34190" fmla="*/ 611491 w 8079933"/>
              <a:gd name="connsiteY34190" fmla="*/ 1150700 h 4687251"/>
              <a:gd name="connsiteX34191" fmla="*/ 609864 w 8079933"/>
              <a:gd name="connsiteY34191" fmla="*/ 1151782 h 4687251"/>
              <a:gd name="connsiteX34192" fmla="*/ 607367 w 8079933"/>
              <a:gd name="connsiteY34192" fmla="*/ 1155788 h 4687251"/>
              <a:gd name="connsiteX34193" fmla="*/ 603895 w 8079933"/>
              <a:gd name="connsiteY34193" fmla="*/ 1155572 h 4687251"/>
              <a:gd name="connsiteX34194" fmla="*/ 601834 w 8079933"/>
              <a:gd name="connsiteY34194" fmla="*/ 1159037 h 4687251"/>
              <a:gd name="connsiteX34195" fmla="*/ 595974 w 8079933"/>
              <a:gd name="connsiteY34195" fmla="*/ 1162718 h 4687251"/>
              <a:gd name="connsiteX34196" fmla="*/ 593586 w 8079933"/>
              <a:gd name="connsiteY34196" fmla="*/ 1161094 h 4687251"/>
              <a:gd name="connsiteX34197" fmla="*/ 593586 w 8079933"/>
              <a:gd name="connsiteY34197" fmla="*/ 1157954 h 4687251"/>
              <a:gd name="connsiteX34198" fmla="*/ 591851 w 8079933"/>
              <a:gd name="connsiteY34198" fmla="*/ 1155897 h 4687251"/>
              <a:gd name="connsiteX34199" fmla="*/ 589898 w 8079933"/>
              <a:gd name="connsiteY34199" fmla="*/ 1157629 h 4687251"/>
              <a:gd name="connsiteX34200" fmla="*/ 589787 w 8079933"/>
              <a:gd name="connsiteY34200" fmla="*/ 1161743 h 4687251"/>
              <a:gd name="connsiteX34201" fmla="*/ 586315 w 8079933"/>
              <a:gd name="connsiteY34201" fmla="*/ 1164559 h 4687251"/>
              <a:gd name="connsiteX34202" fmla="*/ 587183 w 8079933"/>
              <a:gd name="connsiteY34202" fmla="*/ 1166074 h 4687251"/>
              <a:gd name="connsiteX34203" fmla="*/ 585448 w 8079933"/>
              <a:gd name="connsiteY34203" fmla="*/ 1169106 h 4687251"/>
              <a:gd name="connsiteX34204" fmla="*/ 583168 w 8079933"/>
              <a:gd name="connsiteY34204" fmla="*/ 1169106 h 4687251"/>
              <a:gd name="connsiteX34205" fmla="*/ 581976 w 8079933"/>
              <a:gd name="connsiteY34205" fmla="*/ 1165208 h 4687251"/>
              <a:gd name="connsiteX34206" fmla="*/ 579588 w 8079933"/>
              <a:gd name="connsiteY34206" fmla="*/ 1164991 h 4687251"/>
              <a:gd name="connsiteX34207" fmla="*/ 576657 w 8079933"/>
              <a:gd name="connsiteY34207" fmla="*/ 1167049 h 4687251"/>
              <a:gd name="connsiteX34208" fmla="*/ 573076 w 8079933"/>
              <a:gd name="connsiteY34208" fmla="*/ 1167806 h 4687251"/>
              <a:gd name="connsiteX34209" fmla="*/ 570799 w 8079933"/>
              <a:gd name="connsiteY34209" fmla="*/ 1169106 h 4687251"/>
              <a:gd name="connsiteX34210" fmla="*/ 572642 w 8079933"/>
              <a:gd name="connsiteY34210" fmla="*/ 1169647 h 4687251"/>
              <a:gd name="connsiteX34211" fmla="*/ 573184 w 8079933"/>
              <a:gd name="connsiteY34211" fmla="*/ 1172787 h 4687251"/>
              <a:gd name="connsiteX34212" fmla="*/ 571015 w 8079933"/>
              <a:gd name="connsiteY34212" fmla="*/ 1174844 h 4687251"/>
              <a:gd name="connsiteX34213" fmla="*/ 561683 w 8079933"/>
              <a:gd name="connsiteY34213" fmla="*/ 1175169 h 4687251"/>
              <a:gd name="connsiteX34214" fmla="*/ 554303 w 8079933"/>
              <a:gd name="connsiteY34214" fmla="*/ 1179067 h 4687251"/>
              <a:gd name="connsiteX34215" fmla="*/ 548334 w 8079933"/>
              <a:gd name="connsiteY34215" fmla="*/ 1180691 h 4687251"/>
              <a:gd name="connsiteX34216" fmla="*/ 549855 w 8079933"/>
              <a:gd name="connsiteY34216" fmla="*/ 1182098 h 4687251"/>
              <a:gd name="connsiteX34217" fmla="*/ 557233 w 8079933"/>
              <a:gd name="connsiteY34217" fmla="*/ 1182206 h 4687251"/>
              <a:gd name="connsiteX34218" fmla="*/ 557450 w 8079933"/>
              <a:gd name="connsiteY34218" fmla="*/ 1184263 h 4687251"/>
              <a:gd name="connsiteX34219" fmla="*/ 553762 w 8079933"/>
              <a:gd name="connsiteY34219" fmla="*/ 1186971 h 4687251"/>
              <a:gd name="connsiteX34220" fmla="*/ 555605 w 8079933"/>
              <a:gd name="connsiteY34220" fmla="*/ 1188053 h 4687251"/>
              <a:gd name="connsiteX34221" fmla="*/ 551916 w 8079933"/>
              <a:gd name="connsiteY34221" fmla="*/ 1192059 h 4687251"/>
              <a:gd name="connsiteX34222" fmla="*/ 549312 w 8079933"/>
              <a:gd name="connsiteY34222" fmla="*/ 1193250 h 4687251"/>
              <a:gd name="connsiteX34223" fmla="*/ 549096 w 8079933"/>
              <a:gd name="connsiteY34223" fmla="*/ 1189028 h 4687251"/>
              <a:gd name="connsiteX34224" fmla="*/ 549855 w 8079933"/>
              <a:gd name="connsiteY34224" fmla="*/ 1185779 h 4687251"/>
              <a:gd name="connsiteX34225" fmla="*/ 548988 w 8079933"/>
              <a:gd name="connsiteY34225" fmla="*/ 1184372 h 4687251"/>
              <a:gd name="connsiteX34226" fmla="*/ 546273 w 8079933"/>
              <a:gd name="connsiteY34226" fmla="*/ 1186646 h 4687251"/>
              <a:gd name="connsiteX34227" fmla="*/ 543887 w 8079933"/>
              <a:gd name="connsiteY34227" fmla="*/ 1192059 h 4687251"/>
              <a:gd name="connsiteX34228" fmla="*/ 542801 w 8079933"/>
              <a:gd name="connsiteY34228" fmla="*/ 1190760 h 4687251"/>
              <a:gd name="connsiteX34229" fmla="*/ 541282 w 8079933"/>
              <a:gd name="connsiteY34229" fmla="*/ 1191193 h 4687251"/>
              <a:gd name="connsiteX34230" fmla="*/ 537049 w 8079933"/>
              <a:gd name="connsiteY34230" fmla="*/ 1196281 h 4687251"/>
              <a:gd name="connsiteX34231" fmla="*/ 532166 w 8079933"/>
              <a:gd name="connsiteY34231" fmla="*/ 1196499 h 4687251"/>
              <a:gd name="connsiteX34232" fmla="*/ 528803 w 8079933"/>
              <a:gd name="connsiteY34232" fmla="*/ 1195632 h 4687251"/>
              <a:gd name="connsiteX34233" fmla="*/ 525871 w 8079933"/>
              <a:gd name="connsiteY34233" fmla="*/ 1197364 h 4687251"/>
              <a:gd name="connsiteX34234" fmla="*/ 523267 w 8079933"/>
              <a:gd name="connsiteY34234" fmla="*/ 1194441 h 4687251"/>
              <a:gd name="connsiteX34235" fmla="*/ 522507 w 8079933"/>
              <a:gd name="connsiteY34235" fmla="*/ 1195957 h 4687251"/>
              <a:gd name="connsiteX34236" fmla="*/ 522183 w 8079933"/>
              <a:gd name="connsiteY34236" fmla="*/ 1203211 h 4687251"/>
              <a:gd name="connsiteX34237" fmla="*/ 515672 w 8079933"/>
              <a:gd name="connsiteY34237" fmla="*/ 1210032 h 4687251"/>
              <a:gd name="connsiteX34238" fmla="*/ 513393 w 8079933"/>
              <a:gd name="connsiteY34238" fmla="*/ 1209924 h 4687251"/>
              <a:gd name="connsiteX34239" fmla="*/ 513284 w 8079933"/>
              <a:gd name="connsiteY34239" fmla="*/ 1207975 h 4687251"/>
              <a:gd name="connsiteX34240" fmla="*/ 516215 w 8079933"/>
              <a:gd name="connsiteY34240" fmla="*/ 1202886 h 4687251"/>
              <a:gd name="connsiteX34241" fmla="*/ 519471 w 8079933"/>
              <a:gd name="connsiteY34241" fmla="*/ 1198555 h 4687251"/>
              <a:gd name="connsiteX34242" fmla="*/ 519471 w 8079933"/>
              <a:gd name="connsiteY34242" fmla="*/ 1195740 h 4687251"/>
              <a:gd name="connsiteX34243" fmla="*/ 516323 w 8079933"/>
              <a:gd name="connsiteY34243" fmla="*/ 1194550 h 4687251"/>
              <a:gd name="connsiteX34244" fmla="*/ 512089 w 8079933"/>
              <a:gd name="connsiteY34244" fmla="*/ 1197040 h 4687251"/>
              <a:gd name="connsiteX34245" fmla="*/ 507532 w 8079933"/>
              <a:gd name="connsiteY34245" fmla="*/ 1203536 h 4687251"/>
              <a:gd name="connsiteX34246" fmla="*/ 503409 w 8079933"/>
              <a:gd name="connsiteY34246" fmla="*/ 1203536 h 4687251"/>
              <a:gd name="connsiteX34247" fmla="*/ 499829 w 8079933"/>
              <a:gd name="connsiteY34247" fmla="*/ 1206459 h 4687251"/>
              <a:gd name="connsiteX34248" fmla="*/ 496246 w 8079933"/>
              <a:gd name="connsiteY34248" fmla="*/ 1205918 h 4687251"/>
              <a:gd name="connsiteX34249" fmla="*/ 492883 w 8079933"/>
              <a:gd name="connsiteY34249" fmla="*/ 1210790 h 4687251"/>
              <a:gd name="connsiteX34250" fmla="*/ 491256 w 8079933"/>
              <a:gd name="connsiteY34250" fmla="*/ 1210357 h 4687251"/>
              <a:gd name="connsiteX34251" fmla="*/ 492774 w 8079933"/>
              <a:gd name="connsiteY34251" fmla="*/ 1207325 h 4687251"/>
              <a:gd name="connsiteX34252" fmla="*/ 491689 w 8079933"/>
              <a:gd name="connsiteY34252" fmla="*/ 1204402 h 4687251"/>
              <a:gd name="connsiteX34253" fmla="*/ 489303 w 8079933"/>
              <a:gd name="connsiteY34253" fmla="*/ 1204185 h 4687251"/>
              <a:gd name="connsiteX34254" fmla="*/ 488216 w 8079933"/>
              <a:gd name="connsiteY34254" fmla="*/ 1206784 h 4687251"/>
              <a:gd name="connsiteX34255" fmla="*/ 487025 w 8079933"/>
              <a:gd name="connsiteY34255" fmla="*/ 1204510 h 4687251"/>
              <a:gd name="connsiteX34256" fmla="*/ 484311 w 8079933"/>
              <a:gd name="connsiteY34256" fmla="*/ 1205701 h 4687251"/>
              <a:gd name="connsiteX34257" fmla="*/ 483227 w 8079933"/>
              <a:gd name="connsiteY34257" fmla="*/ 1209166 h 4687251"/>
              <a:gd name="connsiteX34258" fmla="*/ 476388 w 8079933"/>
              <a:gd name="connsiteY34258" fmla="*/ 1213822 h 4687251"/>
              <a:gd name="connsiteX34259" fmla="*/ 474870 w 8079933"/>
              <a:gd name="connsiteY34259" fmla="*/ 1212847 h 4687251"/>
              <a:gd name="connsiteX34260" fmla="*/ 474870 w 8079933"/>
              <a:gd name="connsiteY34260" fmla="*/ 1208732 h 4687251"/>
              <a:gd name="connsiteX34261" fmla="*/ 477583 w 8079933"/>
              <a:gd name="connsiteY34261" fmla="*/ 1204726 h 4687251"/>
              <a:gd name="connsiteX34262" fmla="*/ 481162 w 8079933"/>
              <a:gd name="connsiteY34262" fmla="*/ 1204077 h 4687251"/>
              <a:gd name="connsiteX34263" fmla="*/ 482573 w 8079933"/>
              <a:gd name="connsiteY34263" fmla="*/ 1202020 h 4687251"/>
              <a:gd name="connsiteX34264" fmla="*/ 477799 w 8079933"/>
              <a:gd name="connsiteY34264" fmla="*/ 1198230 h 4687251"/>
              <a:gd name="connsiteX34265" fmla="*/ 475303 w 8079933"/>
              <a:gd name="connsiteY34265" fmla="*/ 1198339 h 4687251"/>
              <a:gd name="connsiteX34266" fmla="*/ 471396 w 8079933"/>
              <a:gd name="connsiteY34266" fmla="*/ 1202886 h 4687251"/>
              <a:gd name="connsiteX34267" fmla="*/ 467599 w 8079933"/>
              <a:gd name="connsiteY34267" fmla="*/ 1205052 h 4687251"/>
              <a:gd name="connsiteX34268" fmla="*/ 468249 w 8079933"/>
              <a:gd name="connsiteY34268" fmla="*/ 1209058 h 4687251"/>
              <a:gd name="connsiteX34269" fmla="*/ 465536 w 8079933"/>
              <a:gd name="connsiteY34269" fmla="*/ 1214363 h 4687251"/>
              <a:gd name="connsiteX34270" fmla="*/ 461088 w 8079933"/>
              <a:gd name="connsiteY34270" fmla="*/ 1217070 h 4687251"/>
              <a:gd name="connsiteX34271" fmla="*/ 456422 w 8079933"/>
              <a:gd name="connsiteY34271" fmla="*/ 1216853 h 4687251"/>
              <a:gd name="connsiteX34272" fmla="*/ 453491 w 8079933"/>
              <a:gd name="connsiteY34272" fmla="*/ 1218802 h 4687251"/>
              <a:gd name="connsiteX34273" fmla="*/ 452623 w 8079933"/>
              <a:gd name="connsiteY34273" fmla="*/ 1222158 h 4687251"/>
              <a:gd name="connsiteX34274" fmla="*/ 451105 w 8079933"/>
              <a:gd name="connsiteY34274" fmla="*/ 1221725 h 4687251"/>
              <a:gd name="connsiteX34275" fmla="*/ 450562 w 8079933"/>
              <a:gd name="connsiteY34275" fmla="*/ 1218802 h 4687251"/>
              <a:gd name="connsiteX34276" fmla="*/ 447958 w 8079933"/>
              <a:gd name="connsiteY34276" fmla="*/ 1223133 h 4687251"/>
              <a:gd name="connsiteX34277" fmla="*/ 443943 w 8079933"/>
              <a:gd name="connsiteY34277" fmla="*/ 1223350 h 4687251"/>
              <a:gd name="connsiteX34278" fmla="*/ 443292 w 8079933"/>
              <a:gd name="connsiteY34278" fmla="*/ 1221401 h 4687251"/>
              <a:gd name="connsiteX34279" fmla="*/ 444159 w 8079933"/>
              <a:gd name="connsiteY34279" fmla="*/ 1218802 h 4687251"/>
              <a:gd name="connsiteX34280" fmla="*/ 442313 w 8079933"/>
              <a:gd name="connsiteY34280" fmla="*/ 1215554 h 4687251"/>
              <a:gd name="connsiteX34281" fmla="*/ 440252 w 8079933"/>
              <a:gd name="connsiteY34281" fmla="*/ 1216745 h 4687251"/>
              <a:gd name="connsiteX34282" fmla="*/ 436345 w 8079933"/>
              <a:gd name="connsiteY34282" fmla="*/ 1224107 h 4687251"/>
              <a:gd name="connsiteX34283" fmla="*/ 432004 w 8079933"/>
              <a:gd name="connsiteY34283" fmla="*/ 1224324 h 4687251"/>
              <a:gd name="connsiteX34284" fmla="*/ 431680 w 8079933"/>
              <a:gd name="connsiteY34284" fmla="*/ 1222808 h 4687251"/>
              <a:gd name="connsiteX34285" fmla="*/ 432004 w 8079933"/>
              <a:gd name="connsiteY34285" fmla="*/ 1219560 h 4687251"/>
              <a:gd name="connsiteX34286" fmla="*/ 430812 w 8079933"/>
              <a:gd name="connsiteY34286" fmla="*/ 1217828 h 4687251"/>
              <a:gd name="connsiteX34287" fmla="*/ 427557 w 8079933"/>
              <a:gd name="connsiteY34287" fmla="*/ 1219560 h 4687251"/>
              <a:gd name="connsiteX34288" fmla="*/ 428100 w 8079933"/>
              <a:gd name="connsiteY34288" fmla="*/ 1222483 h 4687251"/>
              <a:gd name="connsiteX34289" fmla="*/ 426687 w 8079933"/>
              <a:gd name="connsiteY34289" fmla="*/ 1225515 h 4687251"/>
              <a:gd name="connsiteX34290" fmla="*/ 423542 w 8079933"/>
              <a:gd name="connsiteY34290" fmla="*/ 1226814 h 4687251"/>
              <a:gd name="connsiteX34291" fmla="*/ 422455 w 8079933"/>
              <a:gd name="connsiteY34291" fmla="*/ 1223891 h 4687251"/>
              <a:gd name="connsiteX34292" fmla="*/ 423434 w 8079933"/>
              <a:gd name="connsiteY34292" fmla="*/ 1218802 h 4687251"/>
              <a:gd name="connsiteX34293" fmla="*/ 424952 w 8079933"/>
              <a:gd name="connsiteY34293" fmla="*/ 1215770 h 4687251"/>
              <a:gd name="connsiteX34294" fmla="*/ 429618 w 8079933"/>
              <a:gd name="connsiteY34294" fmla="*/ 1214471 h 4687251"/>
              <a:gd name="connsiteX34295" fmla="*/ 433741 w 8079933"/>
              <a:gd name="connsiteY34295" fmla="*/ 1215662 h 4687251"/>
              <a:gd name="connsiteX34296" fmla="*/ 435802 w 8079933"/>
              <a:gd name="connsiteY34296" fmla="*/ 1215229 h 4687251"/>
              <a:gd name="connsiteX34297" fmla="*/ 436237 w 8079933"/>
              <a:gd name="connsiteY34297" fmla="*/ 1212414 h 4687251"/>
              <a:gd name="connsiteX34298" fmla="*/ 439493 w 8079933"/>
              <a:gd name="connsiteY34298" fmla="*/ 1209924 h 4687251"/>
              <a:gd name="connsiteX34299" fmla="*/ 445245 w 8079933"/>
              <a:gd name="connsiteY34299" fmla="*/ 1207867 h 4687251"/>
              <a:gd name="connsiteX34300" fmla="*/ 447522 w 8079933"/>
              <a:gd name="connsiteY34300" fmla="*/ 1208408 h 4687251"/>
              <a:gd name="connsiteX34301" fmla="*/ 449368 w 8079933"/>
              <a:gd name="connsiteY34301" fmla="*/ 1206134 h 4687251"/>
              <a:gd name="connsiteX34302" fmla="*/ 448175 w 8079933"/>
              <a:gd name="connsiteY34302" fmla="*/ 1204185 h 4687251"/>
              <a:gd name="connsiteX34303" fmla="*/ 454034 w 8079933"/>
              <a:gd name="connsiteY34303" fmla="*/ 1198014 h 4687251"/>
              <a:gd name="connsiteX34304" fmla="*/ 459460 w 8079933"/>
              <a:gd name="connsiteY34304" fmla="*/ 1194550 h 4687251"/>
              <a:gd name="connsiteX34305" fmla="*/ 465646 w 8079933"/>
              <a:gd name="connsiteY34305" fmla="*/ 1192059 h 4687251"/>
              <a:gd name="connsiteX34306" fmla="*/ 468575 w 8079933"/>
              <a:gd name="connsiteY34306" fmla="*/ 1188053 h 4687251"/>
              <a:gd name="connsiteX34307" fmla="*/ 472917 w 8079933"/>
              <a:gd name="connsiteY34307" fmla="*/ 1186212 h 4687251"/>
              <a:gd name="connsiteX34308" fmla="*/ 479971 w 8079933"/>
              <a:gd name="connsiteY34308" fmla="*/ 1185346 h 4687251"/>
              <a:gd name="connsiteX34309" fmla="*/ 484637 w 8079933"/>
              <a:gd name="connsiteY34309" fmla="*/ 1184047 h 4687251"/>
              <a:gd name="connsiteX34310" fmla="*/ 486914 w 8079933"/>
              <a:gd name="connsiteY34310" fmla="*/ 1185130 h 4687251"/>
              <a:gd name="connsiteX34311" fmla="*/ 491580 w 8079933"/>
              <a:gd name="connsiteY34311" fmla="*/ 1184697 h 4687251"/>
              <a:gd name="connsiteX34312" fmla="*/ 494944 w 8079933"/>
              <a:gd name="connsiteY34312" fmla="*/ 1186429 h 4687251"/>
              <a:gd name="connsiteX34313" fmla="*/ 493210 w 8079933"/>
              <a:gd name="connsiteY34313" fmla="*/ 1189569 h 4687251"/>
              <a:gd name="connsiteX34314" fmla="*/ 493210 w 8079933"/>
              <a:gd name="connsiteY34314" fmla="*/ 1193791 h 4687251"/>
              <a:gd name="connsiteX34315" fmla="*/ 495814 w 8079933"/>
              <a:gd name="connsiteY34315" fmla="*/ 1197148 h 4687251"/>
              <a:gd name="connsiteX34316" fmla="*/ 498092 w 8079933"/>
              <a:gd name="connsiteY34316" fmla="*/ 1195849 h 4687251"/>
              <a:gd name="connsiteX34317" fmla="*/ 497440 w 8079933"/>
              <a:gd name="connsiteY34317" fmla="*/ 1192384 h 4687251"/>
              <a:gd name="connsiteX34318" fmla="*/ 498200 w 8079933"/>
              <a:gd name="connsiteY34318" fmla="*/ 1190110 h 4687251"/>
              <a:gd name="connsiteX34319" fmla="*/ 500696 w 8079933"/>
              <a:gd name="connsiteY34319" fmla="*/ 1190110 h 4687251"/>
              <a:gd name="connsiteX34320" fmla="*/ 503409 w 8079933"/>
              <a:gd name="connsiteY34320" fmla="*/ 1194116 h 4687251"/>
              <a:gd name="connsiteX34321" fmla="*/ 504928 w 8079933"/>
              <a:gd name="connsiteY34321" fmla="*/ 1193034 h 4687251"/>
              <a:gd name="connsiteX34322" fmla="*/ 505254 w 8079933"/>
              <a:gd name="connsiteY34322" fmla="*/ 1189677 h 4687251"/>
              <a:gd name="connsiteX34323" fmla="*/ 503300 w 8079933"/>
              <a:gd name="connsiteY34323" fmla="*/ 1185888 h 4687251"/>
              <a:gd name="connsiteX34324" fmla="*/ 503734 w 8079933"/>
              <a:gd name="connsiteY34324" fmla="*/ 1183397 h 4687251"/>
              <a:gd name="connsiteX34325" fmla="*/ 506665 w 8079933"/>
              <a:gd name="connsiteY34325" fmla="*/ 1176793 h 4687251"/>
              <a:gd name="connsiteX34326" fmla="*/ 514260 w 8079933"/>
              <a:gd name="connsiteY34326" fmla="*/ 1170730 h 4687251"/>
              <a:gd name="connsiteX34327" fmla="*/ 525329 w 8079933"/>
              <a:gd name="connsiteY34327" fmla="*/ 1166724 h 4687251"/>
              <a:gd name="connsiteX34328" fmla="*/ 531839 w 8079933"/>
              <a:gd name="connsiteY34328" fmla="*/ 1160661 h 4687251"/>
              <a:gd name="connsiteX34329" fmla="*/ 538568 w 8079933"/>
              <a:gd name="connsiteY34329" fmla="*/ 1160661 h 4687251"/>
              <a:gd name="connsiteX34330" fmla="*/ 542476 w 8079933"/>
              <a:gd name="connsiteY34330" fmla="*/ 1158928 h 4687251"/>
              <a:gd name="connsiteX34331" fmla="*/ 543125 w 8079933"/>
              <a:gd name="connsiteY34331" fmla="*/ 1155463 h 4687251"/>
              <a:gd name="connsiteX34332" fmla="*/ 547466 w 8079933"/>
              <a:gd name="connsiteY34332" fmla="*/ 1153731 h 4687251"/>
              <a:gd name="connsiteX34333" fmla="*/ 552784 w 8079933"/>
              <a:gd name="connsiteY34333" fmla="*/ 1150050 h 4687251"/>
              <a:gd name="connsiteX34334" fmla="*/ 559730 w 8079933"/>
              <a:gd name="connsiteY34334" fmla="*/ 1146910 h 4687251"/>
              <a:gd name="connsiteX34335" fmla="*/ 559730 w 8079933"/>
              <a:gd name="connsiteY34335" fmla="*/ 1151674 h 4687251"/>
              <a:gd name="connsiteX34336" fmla="*/ 563418 w 8079933"/>
              <a:gd name="connsiteY34336" fmla="*/ 1153190 h 4687251"/>
              <a:gd name="connsiteX34337" fmla="*/ 565047 w 8079933"/>
              <a:gd name="connsiteY34337" fmla="*/ 1151133 h 4687251"/>
              <a:gd name="connsiteX34338" fmla="*/ 564396 w 8079933"/>
              <a:gd name="connsiteY34338" fmla="*/ 1148318 h 4687251"/>
              <a:gd name="connsiteX34339" fmla="*/ 567109 w 8079933"/>
              <a:gd name="connsiteY34339" fmla="*/ 1143445 h 4687251"/>
              <a:gd name="connsiteX34340" fmla="*/ 577635 w 8079933"/>
              <a:gd name="connsiteY34340" fmla="*/ 1135109 h 4687251"/>
              <a:gd name="connsiteX34341" fmla="*/ 580348 w 8079933"/>
              <a:gd name="connsiteY34341" fmla="*/ 1133376 h 4687251"/>
              <a:gd name="connsiteX34342" fmla="*/ 581325 w 8079933"/>
              <a:gd name="connsiteY34342" fmla="*/ 1135867 h 4687251"/>
              <a:gd name="connsiteX34343" fmla="*/ 584689 w 8079933"/>
              <a:gd name="connsiteY34343" fmla="*/ 1136516 h 4687251"/>
              <a:gd name="connsiteX34344" fmla="*/ 586642 w 8079933"/>
              <a:gd name="connsiteY34344" fmla="*/ 1133160 h 4687251"/>
              <a:gd name="connsiteX34345" fmla="*/ 584689 w 8079933"/>
              <a:gd name="connsiteY34345" fmla="*/ 1130237 h 4687251"/>
              <a:gd name="connsiteX34346" fmla="*/ 591200 w 8079933"/>
              <a:gd name="connsiteY34346" fmla="*/ 1126555 h 4687251"/>
              <a:gd name="connsiteX34347" fmla="*/ 594672 w 8079933"/>
              <a:gd name="connsiteY34347" fmla="*/ 1121900 h 4687251"/>
              <a:gd name="connsiteX34348" fmla="*/ 597819 w 8079933"/>
              <a:gd name="connsiteY34348" fmla="*/ 1122441 h 4687251"/>
              <a:gd name="connsiteX34349" fmla="*/ 599122 w 8079933"/>
              <a:gd name="connsiteY34349" fmla="*/ 1125581 h 4687251"/>
              <a:gd name="connsiteX34350" fmla="*/ 602267 w 8079933"/>
              <a:gd name="connsiteY34350" fmla="*/ 1126664 h 4687251"/>
              <a:gd name="connsiteX34351" fmla="*/ 603026 w 8079933"/>
              <a:gd name="connsiteY34351" fmla="*/ 1123199 h 4687251"/>
              <a:gd name="connsiteX34352" fmla="*/ 601399 w 8079933"/>
              <a:gd name="connsiteY34352" fmla="*/ 1121359 h 4687251"/>
              <a:gd name="connsiteX34353" fmla="*/ 599989 w 8079933"/>
              <a:gd name="connsiteY34353" fmla="*/ 1118868 h 4687251"/>
              <a:gd name="connsiteX34354" fmla="*/ 602810 w 8079933"/>
              <a:gd name="connsiteY34354" fmla="*/ 1114429 h 4687251"/>
              <a:gd name="connsiteX34355" fmla="*/ 608888 w 8079933"/>
              <a:gd name="connsiteY34355" fmla="*/ 1107500 h 4687251"/>
              <a:gd name="connsiteX34356" fmla="*/ 610515 w 8079933"/>
              <a:gd name="connsiteY34356" fmla="*/ 1101653 h 4687251"/>
              <a:gd name="connsiteX34357" fmla="*/ 614747 w 8079933"/>
              <a:gd name="connsiteY34357" fmla="*/ 1096131 h 4687251"/>
              <a:gd name="connsiteX34358" fmla="*/ 617786 w 8079933"/>
              <a:gd name="connsiteY34358" fmla="*/ 1094940 h 4687251"/>
              <a:gd name="connsiteX34359" fmla="*/ 625707 w 8079933"/>
              <a:gd name="connsiteY34359" fmla="*/ 1096348 h 4687251"/>
              <a:gd name="connsiteX34360" fmla="*/ 621258 w 8079933"/>
              <a:gd name="connsiteY34360" fmla="*/ 1093425 h 4687251"/>
              <a:gd name="connsiteX34361" fmla="*/ 619415 w 8079933"/>
              <a:gd name="connsiteY34361" fmla="*/ 1089419 h 4687251"/>
              <a:gd name="connsiteX34362" fmla="*/ 620174 w 8079933"/>
              <a:gd name="connsiteY34362" fmla="*/ 1084871 h 4687251"/>
              <a:gd name="connsiteX34363" fmla="*/ 624079 w 8079933"/>
              <a:gd name="connsiteY34363" fmla="*/ 1077509 h 4687251"/>
              <a:gd name="connsiteX34364" fmla="*/ 630049 w 8079933"/>
              <a:gd name="connsiteY34364" fmla="*/ 1072528 h 4687251"/>
              <a:gd name="connsiteX34365" fmla="*/ 643287 w 8079933"/>
              <a:gd name="connsiteY34365" fmla="*/ 1065382 h 4687251"/>
              <a:gd name="connsiteX34366" fmla="*/ 646543 w 8079933"/>
              <a:gd name="connsiteY34366" fmla="*/ 1062242 h 4687251"/>
              <a:gd name="connsiteX34367" fmla="*/ 646435 w 8079933"/>
              <a:gd name="connsiteY34367" fmla="*/ 1059644 h 4687251"/>
              <a:gd name="connsiteX34368" fmla="*/ 651642 w 8079933"/>
              <a:gd name="connsiteY34368" fmla="*/ 1053581 h 4687251"/>
              <a:gd name="connsiteX34369" fmla="*/ 654681 w 8079933"/>
              <a:gd name="connsiteY34369" fmla="*/ 1052174 h 4687251"/>
              <a:gd name="connsiteX34370" fmla="*/ 651860 w 8079933"/>
              <a:gd name="connsiteY34370" fmla="*/ 1052174 h 4687251"/>
              <a:gd name="connsiteX34371" fmla="*/ 643503 w 8079933"/>
              <a:gd name="connsiteY34371" fmla="*/ 1056287 h 4687251"/>
              <a:gd name="connsiteX34372" fmla="*/ 640575 w 8079933"/>
              <a:gd name="connsiteY34372" fmla="*/ 1056396 h 4687251"/>
              <a:gd name="connsiteX34373" fmla="*/ 636125 w 8079933"/>
              <a:gd name="connsiteY34373" fmla="*/ 1059860 h 4687251"/>
              <a:gd name="connsiteX34374" fmla="*/ 626685 w 8079933"/>
              <a:gd name="connsiteY34374" fmla="*/ 1061268 h 4687251"/>
              <a:gd name="connsiteX34375" fmla="*/ 619847 w 8079933"/>
              <a:gd name="connsiteY34375" fmla="*/ 1064733 h 4687251"/>
              <a:gd name="connsiteX34376" fmla="*/ 616808 w 8079933"/>
              <a:gd name="connsiteY34376" fmla="*/ 1063975 h 4687251"/>
              <a:gd name="connsiteX34377" fmla="*/ 610950 w 8079933"/>
              <a:gd name="connsiteY34377" fmla="*/ 1057154 h 4687251"/>
              <a:gd name="connsiteX34378" fmla="*/ 611166 w 8079933"/>
              <a:gd name="connsiteY34378" fmla="*/ 1054556 h 4687251"/>
              <a:gd name="connsiteX34379" fmla="*/ 617786 w 8079933"/>
              <a:gd name="connsiteY34379" fmla="*/ 1047518 h 4687251"/>
              <a:gd name="connsiteX34380" fmla="*/ 623861 w 8079933"/>
              <a:gd name="connsiteY34380" fmla="*/ 1044595 h 4687251"/>
              <a:gd name="connsiteX34381" fmla="*/ 616918 w 8079933"/>
              <a:gd name="connsiteY34381" fmla="*/ 1044919 h 4687251"/>
              <a:gd name="connsiteX34382" fmla="*/ 612144 w 8079933"/>
              <a:gd name="connsiteY34382" fmla="*/ 1048384 h 4687251"/>
              <a:gd name="connsiteX34383" fmla="*/ 610623 w 8079933"/>
              <a:gd name="connsiteY34383" fmla="*/ 1048601 h 4687251"/>
              <a:gd name="connsiteX34384" fmla="*/ 605414 w 8079933"/>
              <a:gd name="connsiteY34384" fmla="*/ 1052823 h 4687251"/>
              <a:gd name="connsiteX34385" fmla="*/ 604654 w 8079933"/>
              <a:gd name="connsiteY34385" fmla="*/ 1056721 h 4687251"/>
              <a:gd name="connsiteX34386" fmla="*/ 600313 w 8079933"/>
              <a:gd name="connsiteY34386" fmla="*/ 1063650 h 4687251"/>
              <a:gd name="connsiteX34387" fmla="*/ 600856 w 8079933"/>
              <a:gd name="connsiteY34387" fmla="*/ 1068414 h 4687251"/>
              <a:gd name="connsiteX34388" fmla="*/ 598686 w 8079933"/>
              <a:gd name="connsiteY34388" fmla="*/ 1074152 h 4687251"/>
              <a:gd name="connsiteX34389" fmla="*/ 595974 w 8079933"/>
              <a:gd name="connsiteY34389" fmla="*/ 1073719 h 4687251"/>
              <a:gd name="connsiteX34390" fmla="*/ 593694 w 8079933"/>
              <a:gd name="connsiteY34390" fmla="*/ 1067656 h 4687251"/>
              <a:gd name="connsiteX34391" fmla="*/ 594780 w 8079933"/>
              <a:gd name="connsiteY34391" fmla="*/ 1063325 h 4687251"/>
              <a:gd name="connsiteX34392" fmla="*/ 593261 w 8079933"/>
              <a:gd name="connsiteY34392" fmla="*/ 1055854 h 4687251"/>
              <a:gd name="connsiteX34393" fmla="*/ 590222 w 8079933"/>
              <a:gd name="connsiteY34393" fmla="*/ 1050333 h 4687251"/>
              <a:gd name="connsiteX34394" fmla="*/ 591851 w 8079933"/>
              <a:gd name="connsiteY34394" fmla="*/ 1047951 h 4687251"/>
              <a:gd name="connsiteX34395" fmla="*/ 590114 w 8079933"/>
              <a:gd name="connsiteY34395" fmla="*/ 1045785 h 4687251"/>
              <a:gd name="connsiteX34396" fmla="*/ 587836 w 8079933"/>
              <a:gd name="connsiteY34396" fmla="*/ 1049358 h 4687251"/>
              <a:gd name="connsiteX34397" fmla="*/ 583819 w 8079933"/>
              <a:gd name="connsiteY34397" fmla="*/ 1052282 h 4687251"/>
              <a:gd name="connsiteX34398" fmla="*/ 580455 w 8079933"/>
              <a:gd name="connsiteY34398" fmla="*/ 1050441 h 4687251"/>
              <a:gd name="connsiteX34399" fmla="*/ 581215 w 8079933"/>
              <a:gd name="connsiteY34399" fmla="*/ 1047842 h 4687251"/>
              <a:gd name="connsiteX34400" fmla="*/ 580239 w 8079933"/>
              <a:gd name="connsiteY34400" fmla="*/ 1043295 h 4687251"/>
              <a:gd name="connsiteX34401" fmla="*/ 576657 w 8079933"/>
              <a:gd name="connsiteY34401" fmla="*/ 1041779 h 4687251"/>
              <a:gd name="connsiteX34402" fmla="*/ 576657 w 8079933"/>
              <a:gd name="connsiteY34402" fmla="*/ 1040047 h 4687251"/>
              <a:gd name="connsiteX34403" fmla="*/ 580023 w 8079933"/>
              <a:gd name="connsiteY34403" fmla="*/ 1037990 h 4687251"/>
              <a:gd name="connsiteX34404" fmla="*/ 580998 w 8079933"/>
              <a:gd name="connsiteY34404" fmla="*/ 1034742 h 4687251"/>
              <a:gd name="connsiteX34405" fmla="*/ 573295 w 8079933"/>
              <a:gd name="connsiteY34405" fmla="*/ 1037665 h 4687251"/>
              <a:gd name="connsiteX34406" fmla="*/ 569929 w 8079933"/>
              <a:gd name="connsiteY34406" fmla="*/ 1041238 h 4687251"/>
              <a:gd name="connsiteX34407" fmla="*/ 566241 w 8079933"/>
              <a:gd name="connsiteY34407" fmla="*/ 1040697 h 4687251"/>
              <a:gd name="connsiteX34408" fmla="*/ 564288 w 8079933"/>
              <a:gd name="connsiteY34408" fmla="*/ 1040264 h 4687251"/>
              <a:gd name="connsiteX34409" fmla="*/ 554413 w 8079933"/>
              <a:gd name="connsiteY34409" fmla="*/ 1046544 h 4687251"/>
              <a:gd name="connsiteX34410" fmla="*/ 549204 w 8079933"/>
              <a:gd name="connsiteY34410" fmla="*/ 1051632 h 4687251"/>
              <a:gd name="connsiteX34411" fmla="*/ 546273 w 8079933"/>
              <a:gd name="connsiteY34411" fmla="*/ 1049250 h 4687251"/>
              <a:gd name="connsiteX34412" fmla="*/ 541823 w 8079933"/>
              <a:gd name="connsiteY34412" fmla="*/ 1048709 h 4687251"/>
              <a:gd name="connsiteX34413" fmla="*/ 538893 w 8079933"/>
              <a:gd name="connsiteY34413" fmla="*/ 1046327 h 4687251"/>
              <a:gd name="connsiteX34414" fmla="*/ 540847 w 8079933"/>
              <a:gd name="connsiteY34414" fmla="*/ 1045352 h 4687251"/>
              <a:gd name="connsiteX34415" fmla="*/ 543887 w 8079933"/>
              <a:gd name="connsiteY34415" fmla="*/ 1046219 h 4687251"/>
              <a:gd name="connsiteX34416" fmla="*/ 548229 w 8079933"/>
              <a:gd name="connsiteY34416" fmla="*/ 1043512 h 4687251"/>
              <a:gd name="connsiteX34417" fmla="*/ 552025 w 8079933"/>
              <a:gd name="connsiteY34417" fmla="*/ 1042754 h 4687251"/>
              <a:gd name="connsiteX34418" fmla="*/ 554737 w 8079933"/>
              <a:gd name="connsiteY34418" fmla="*/ 1040589 h 4687251"/>
              <a:gd name="connsiteX34419" fmla="*/ 553543 w 8079933"/>
              <a:gd name="connsiteY34419" fmla="*/ 1037124 h 4687251"/>
              <a:gd name="connsiteX34420" fmla="*/ 554194 w 8079933"/>
              <a:gd name="connsiteY34420" fmla="*/ 1035175 h 4687251"/>
              <a:gd name="connsiteX34421" fmla="*/ 553110 w 8079933"/>
              <a:gd name="connsiteY34421" fmla="*/ 1032577 h 4687251"/>
              <a:gd name="connsiteX34422" fmla="*/ 555064 w 8079933"/>
              <a:gd name="connsiteY34422" fmla="*/ 1030411 h 4687251"/>
              <a:gd name="connsiteX34423" fmla="*/ 560489 w 8079933"/>
              <a:gd name="connsiteY34423" fmla="*/ 1030519 h 4687251"/>
              <a:gd name="connsiteX34424" fmla="*/ 562985 w 8079933"/>
              <a:gd name="connsiteY34424" fmla="*/ 1027596 h 4687251"/>
              <a:gd name="connsiteX34425" fmla="*/ 562226 w 8079933"/>
              <a:gd name="connsiteY34425" fmla="*/ 1024997 h 4687251"/>
              <a:gd name="connsiteX34426" fmla="*/ 558860 w 8079933"/>
              <a:gd name="connsiteY34426" fmla="*/ 1025106 h 4687251"/>
              <a:gd name="connsiteX34427" fmla="*/ 554521 w 8079933"/>
              <a:gd name="connsiteY34427" fmla="*/ 1026513 h 4687251"/>
              <a:gd name="connsiteX34428" fmla="*/ 552349 w 8079933"/>
              <a:gd name="connsiteY34428" fmla="*/ 1025648 h 4687251"/>
              <a:gd name="connsiteX34429" fmla="*/ 552132 w 8079933"/>
              <a:gd name="connsiteY34429" fmla="*/ 1020775 h 4687251"/>
              <a:gd name="connsiteX34430" fmla="*/ 550506 w 8079933"/>
              <a:gd name="connsiteY34430" fmla="*/ 1016011 h 4687251"/>
              <a:gd name="connsiteX34431" fmla="*/ 552459 w 8079933"/>
              <a:gd name="connsiteY34431" fmla="*/ 1014604 h 4687251"/>
              <a:gd name="connsiteX34432" fmla="*/ 554737 w 8079933"/>
              <a:gd name="connsiteY34432" fmla="*/ 1015469 h 4687251"/>
              <a:gd name="connsiteX34433" fmla="*/ 555931 w 8079933"/>
              <a:gd name="connsiteY34433" fmla="*/ 1011789 h 4687251"/>
              <a:gd name="connsiteX34434" fmla="*/ 558755 w 8079933"/>
              <a:gd name="connsiteY34434" fmla="*/ 1009407 h 4687251"/>
              <a:gd name="connsiteX34435" fmla="*/ 565263 w 8079933"/>
              <a:gd name="connsiteY34435" fmla="*/ 1007349 h 4687251"/>
              <a:gd name="connsiteX34436" fmla="*/ 564504 w 8079933"/>
              <a:gd name="connsiteY34436" fmla="*/ 1002044 h 4687251"/>
              <a:gd name="connsiteX34437" fmla="*/ 564829 w 8079933"/>
              <a:gd name="connsiteY34437" fmla="*/ 998038 h 4687251"/>
              <a:gd name="connsiteX34438" fmla="*/ 564504 w 8079933"/>
              <a:gd name="connsiteY34438" fmla="*/ 995656 h 4687251"/>
              <a:gd name="connsiteX34439" fmla="*/ 566025 w 8079933"/>
              <a:gd name="connsiteY34439" fmla="*/ 991109 h 4687251"/>
              <a:gd name="connsiteX34440" fmla="*/ 564829 w 8079933"/>
              <a:gd name="connsiteY34440" fmla="*/ 985046 h 4687251"/>
              <a:gd name="connsiteX34441" fmla="*/ 565482 w 8079933"/>
              <a:gd name="connsiteY34441" fmla="*/ 979957 h 4687251"/>
              <a:gd name="connsiteX34442" fmla="*/ 570689 w 8079933"/>
              <a:gd name="connsiteY34442" fmla="*/ 976709 h 4687251"/>
              <a:gd name="connsiteX34443" fmla="*/ 574596 w 8079933"/>
              <a:gd name="connsiteY34443" fmla="*/ 969888 h 4687251"/>
              <a:gd name="connsiteX34444" fmla="*/ 574704 w 8079933"/>
              <a:gd name="connsiteY34444" fmla="*/ 967073 h 4687251"/>
              <a:gd name="connsiteX34445" fmla="*/ 570799 w 8079933"/>
              <a:gd name="connsiteY34445" fmla="*/ 963716 h 4687251"/>
              <a:gd name="connsiteX34446" fmla="*/ 571124 w 8079933"/>
              <a:gd name="connsiteY34446" fmla="*/ 961010 h 4687251"/>
              <a:gd name="connsiteX34447" fmla="*/ 577200 w 8079933"/>
              <a:gd name="connsiteY34447" fmla="*/ 957328 h 4687251"/>
              <a:gd name="connsiteX34448" fmla="*/ 587183 w 8079933"/>
              <a:gd name="connsiteY34448" fmla="*/ 947476 h 4687251"/>
              <a:gd name="connsiteX34449" fmla="*/ 591959 w 8079933"/>
              <a:gd name="connsiteY34449" fmla="*/ 947043 h 4687251"/>
              <a:gd name="connsiteX34450" fmla="*/ 587509 w 8079933"/>
              <a:gd name="connsiteY34450" fmla="*/ 946068 h 4687251"/>
              <a:gd name="connsiteX34451" fmla="*/ 576875 w 8079933"/>
              <a:gd name="connsiteY34451" fmla="*/ 952998 h 4687251"/>
              <a:gd name="connsiteX34452" fmla="*/ 569929 w 8079933"/>
              <a:gd name="connsiteY34452" fmla="*/ 958303 h 4687251"/>
              <a:gd name="connsiteX34453" fmla="*/ 563744 w 8079933"/>
              <a:gd name="connsiteY34453" fmla="*/ 961551 h 4687251"/>
              <a:gd name="connsiteX34454" fmla="*/ 563636 w 8079933"/>
              <a:gd name="connsiteY34454" fmla="*/ 963608 h 4687251"/>
              <a:gd name="connsiteX34455" fmla="*/ 566131 w 8079933"/>
              <a:gd name="connsiteY34455" fmla="*/ 967073 h 4687251"/>
              <a:gd name="connsiteX34456" fmla="*/ 566025 w 8079933"/>
              <a:gd name="connsiteY34456" fmla="*/ 971187 h 4687251"/>
              <a:gd name="connsiteX34457" fmla="*/ 559622 w 8079933"/>
              <a:gd name="connsiteY34457" fmla="*/ 979740 h 4687251"/>
              <a:gd name="connsiteX34458" fmla="*/ 556799 w 8079933"/>
              <a:gd name="connsiteY34458" fmla="*/ 979957 h 4687251"/>
              <a:gd name="connsiteX34459" fmla="*/ 554086 w 8079933"/>
              <a:gd name="connsiteY34459" fmla="*/ 978333 h 4687251"/>
              <a:gd name="connsiteX34460" fmla="*/ 550288 w 8079933"/>
              <a:gd name="connsiteY34460" fmla="*/ 979957 h 4687251"/>
              <a:gd name="connsiteX34461" fmla="*/ 543235 w 8079933"/>
              <a:gd name="connsiteY34461" fmla="*/ 982880 h 4687251"/>
              <a:gd name="connsiteX34462" fmla="*/ 537159 w 8079933"/>
              <a:gd name="connsiteY34462" fmla="*/ 982880 h 4687251"/>
              <a:gd name="connsiteX34463" fmla="*/ 521422 w 8079933"/>
              <a:gd name="connsiteY34463" fmla="*/ 975734 h 4687251"/>
              <a:gd name="connsiteX34464" fmla="*/ 522834 w 8079933"/>
              <a:gd name="connsiteY34464" fmla="*/ 973136 h 4687251"/>
              <a:gd name="connsiteX34465" fmla="*/ 528151 w 8079933"/>
              <a:gd name="connsiteY34465" fmla="*/ 972378 h 4687251"/>
              <a:gd name="connsiteX34466" fmla="*/ 528041 w 8079933"/>
              <a:gd name="connsiteY34466" fmla="*/ 970645 h 4687251"/>
              <a:gd name="connsiteX34467" fmla="*/ 523594 w 8079933"/>
              <a:gd name="connsiteY34467" fmla="*/ 966856 h 4687251"/>
              <a:gd name="connsiteX34468" fmla="*/ 523702 w 8079933"/>
              <a:gd name="connsiteY34468" fmla="*/ 963175 h 4687251"/>
              <a:gd name="connsiteX34469" fmla="*/ 522942 w 8079933"/>
              <a:gd name="connsiteY34469" fmla="*/ 960577 h 4687251"/>
              <a:gd name="connsiteX34470" fmla="*/ 522507 w 8079933"/>
              <a:gd name="connsiteY34470" fmla="*/ 952457 h 4687251"/>
              <a:gd name="connsiteX34471" fmla="*/ 519252 w 8079933"/>
              <a:gd name="connsiteY34471" fmla="*/ 952131 h 4687251"/>
              <a:gd name="connsiteX34472" fmla="*/ 517841 w 8079933"/>
              <a:gd name="connsiteY34472" fmla="*/ 947909 h 4687251"/>
              <a:gd name="connsiteX34473" fmla="*/ 518820 w 8079933"/>
              <a:gd name="connsiteY34473" fmla="*/ 941629 h 4687251"/>
              <a:gd name="connsiteX34474" fmla="*/ 521640 w 8079933"/>
              <a:gd name="connsiteY34474" fmla="*/ 937948 h 4687251"/>
              <a:gd name="connsiteX34475" fmla="*/ 519252 w 8079933"/>
              <a:gd name="connsiteY34475" fmla="*/ 937623 h 4687251"/>
              <a:gd name="connsiteX34476" fmla="*/ 516866 w 8079933"/>
              <a:gd name="connsiteY34476" fmla="*/ 933833 h 4687251"/>
              <a:gd name="connsiteX34477" fmla="*/ 517734 w 8079933"/>
              <a:gd name="connsiteY34477" fmla="*/ 930586 h 4687251"/>
              <a:gd name="connsiteX34478" fmla="*/ 522726 w 8079933"/>
              <a:gd name="connsiteY34478" fmla="*/ 931776 h 4687251"/>
              <a:gd name="connsiteX34479" fmla="*/ 526306 w 8079933"/>
              <a:gd name="connsiteY34479" fmla="*/ 929286 h 4687251"/>
              <a:gd name="connsiteX34480" fmla="*/ 527500 w 8079933"/>
              <a:gd name="connsiteY34480" fmla="*/ 925388 h 4687251"/>
              <a:gd name="connsiteX34481" fmla="*/ 531515 w 8079933"/>
              <a:gd name="connsiteY34481" fmla="*/ 924523 h 4687251"/>
              <a:gd name="connsiteX34482" fmla="*/ 535206 w 8079933"/>
              <a:gd name="connsiteY34482" fmla="*/ 921707 h 4687251"/>
              <a:gd name="connsiteX34483" fmla="*/ 537483 w 8079933"/>
              <a:gd name="connsiteY34483" fmla="*/ 924955 h 4687251"/>
              <a:gd name="connsiteX34484" fmla="*/ 544103 w 8079933"/>
              <a:gd name="connsiteY34484" fmla="*/ 926147 h 4687251"/>
              <a:gd name="connsiteX34485" fmla="*/ 546381 w 8079933"/>
              <a:gd name="connsiteY34485" fmla="*/ 929936 h 4687251"/>
              <a:gd name="connsiteX34486" fmla="*/ 550722 w 8079933"/>
              <a:gd name="connsiteY34486" fmla="*/ 929611 h 4687251"/>
              <a:gd name="connsiteX34487" fmla="*/ 552784 w 8079933"/>
              <a:gd name="connsiteY34487" fmla="*/ 932101 h 4687251"/>
              <a:gd name="connsiteX34488" fmla="*/ 552784 w 8079933"/>
              <a:gd name="connsiteY34488" fmla="*/ 935025 h 4687251"/>
              <a:gd name="connsiteX34489" fmla="*/ 554956 w 8079933"/>
              <a:gd name="connsiteY34489" fmla="*/ 936974 h 4687251"/>
              <a:gd name="connsiteX34490" fmla="*/ 561140 w 8079933"/>
              <a:gd name="connsiteY34490" fmla="*/ 935349 h 4687251"/>
              <a:gd name="connsiteX34491" fmla="*/ 560814 w 8079933"/>
              <a:gd name="connsiteY34491" fmla="*/ 931993 h 4687251"/>
              <a:gd name="connsiteX34492" fmla="*/ 556366 w 8079933"/>
              <a:gd name="connsiteY34492" fmla="*/ 927121 h 4687251"/>
              <a:gd name="connsiteX34493" fmla="*/ 559403 w 8079933"/>
              <a:gd name="connsiteY34493" fmla="*/ 923981 h 4687251"/>
              <a:gd name="connsiteX34494" fmla="*/ 560273 w 8079933"/>
              <a:gd name="connsiteY34494" fmla="*/ 919433 h 4687251"/>
              <a:gd name="connsiteX34495" fmla="*/ 567868 w 8079933"/>
              <a:gd name="connsiteY34495" fmla="*/ 911963 h 4687251"/>
              <a:gd name="connsiteX34496" fmla="*/ 571666 w 8079933"/>
              <a:gd name="connsiteY34496" fmla="*/ 911421 h 4687251"/>
              <a:gd name="connsiteX34497" fmla="*/ 575898 w 8079933"/>
              <a:gd name="connsiteY34497" fmla="*/ 906549 h 4687251"/>
              <a:gd name="connsiteX34498" fmla="*/ 572317 w 8079933"/>
              <a:gd name="connsiteY34498" fmla="*/ 909148 h 4687251"/>
              <a:gd name="connsiteX34499" fmla="*/ 563636 w 8079933"/>
              <a:gd name="connsiteY34499" fmla="*/ 909148 h 4687251"/>
              <a:gd name="connsiteX34500" fmla="*/ 560597 w 8079933"/>
              <a:gd name="connsiteY34500" fmla="*/ 912504 h 4687251"/>
              <a:gd name="connsiteX34501" fmla="*/ 558643 w 8079933"/>
              <a:gd name="connsiteY34501" fmla="*/ 921274 h 4687251"/>
              <a:gd name="connsiteX34502" fmla="*/ 554845 w 8079933"/>
              <a:gd name="connsiteY34502" fmla="*/ 924631 h 4687251"/>
              <a:gd name="connsiteX34503" fmla="*/ 549855 w 8079933"/>
              <a:gd name="connsiteY34503" fmla="*/ 924955 h 4687251"/>
              <a:gd name="connsiteX34504" fmla="*/ 545948 w 8079933"/>
              <a:gd name="connsiteY34504" fmla="*/ 922357 h 4687251"/>
              <a:gd name="connsiteX34505" fmla="*/ 540847 w 8079933"/>
              <a:gd name="connsiteY34505" fmla="*/ 921707 h 4687251"/>
              <a:gd name="connsiteX34506" fmla="*/ 540412 w 8079933"/>
              <a:gd name="connsiteY34506" fmla="*/ 919109 h 4687251"/>
              <a:gd name="connsiteX34507" fmla="*/ 538893 w 8079933"/>
              <a:gd name="connsiteY34507" fmla="*/ 917376 h 4687251"/>
              <a:gd name="connsiteX34508" fmla="*/ 536073 w 8079933"/>
              <a:gd name="connsiteY34508" fmla="*/ 917485 h 4687251"/>
              <a:gd name="connsiteX34509" fmla="*/ 533904 w 8079933"/>
              <a:gd name="connsiteY34509" fmla="*/ 919433 h 4687251"/>
              <a:gd name="connsiteX34510" fmla="*/ 530756 w 8079933"/>
              <a:gd name="connsiteY34510" fmla="*/ 919975 h 4687251"/>
              <a:gd name="connsiteX34511" fmla="*/ 529346 w 8079933"/>
              <a:gd name="connsiteY34511" fmla="*/ 918135 h 4687251"/>
              <a:gd name="connsiteX34512" fmla="*/ 531080 w 8079933"/>
              <a:gd name="connsiteY34512" fmla="*/ 915752 h 4687251"/>
              <a:gd name="connsiteX34513" fmla="*/ 533361 w 8079933"/>
              <a:gd name="connsiteY34513" fmla="*/ 914453 h 4687251"/>
              <a:gd name="connsiteX34514" fmla="*/ 532599 w 8079933"/>
              <a:gd name="connsiteY34514" fmla="*/ 907849 h 4687251"/>
              <a:gd name="connsiteX34515" fmla="*/ 531515 w 8079933"/>
              <a:gd name="connsiteY34515" fmla="*/ 905250 h 4687251"/>
              <a:gd name="connsiteX34516" fmla="*/ 528803 w 8079933"/>
              <a:gd name="connsiteY34516" fmla="*/ 908931 h 4687251"/>
              <a:gd name="connsiteX34517" fmla="*/ 525871 w 8079933"/>
              <a:gd name="connsiteY34517" fmla="*/ 909581 h 4687251"/>
              <a:gd name="connsiteX34518" fmla="*/ 524896 w 8079933"/>
              <a:gd name="connsiteY34518" fmla="*/ 905684 h 4687251"/>
              <a:gd name="connsiteX34519" fmla="*/ 527065 w 8079933"/>
              <a:gd name="connsiteY34519" fmla="*/ 901460 h 4687251"/>
              <a:gd name="connsiteX34520" fmla="*/ 528041 w 8079933"/>
              <a:gd name="connsiteY34520" fmla="*/ 897563 h 4687251"/>
              <a:gd name="connsiteX34521" fmla="*/ 527282 w 8079933"/>
              <a:gd name="connsiteY34521" fmla="*/ 891608 h 4687251"/>
              <a:gd name="connsiteX34522" fmla="*/ 523158 w 8079933"/>
              <a:gd name="connsiteY34522" fmla="*/ 885437 h 4687251"/>
              <a:gd name="connsiteX34523" fmla="*/ 523158 w 8079933"/>
              <a:gd name="connsiteY34523" fmla="*/ 882513 h 4687251"/>
              <a:gd name="connsiteX34524" fmla="*/ 528803 w 8079933"/>
              <a:gd name="connsiteY34524" fmla="*/ 875801 h 4687251"/>
              <a:gd name="connsiteX34525" fmla="*/ 531080 w 8079933"/>
              <a:gd name="connsiteY34525" fmla="*/ 871362 h 4687251"/>
              <a:gd name="connsiteX34526" fmla="*/ 533142 w 8079933"/>
              <a:gd name="connsiteY34526" fmla="*/ 871036 h 4687251"/>
              <a:gd name="connsiteX34527" fmla="*/ 535530 w 8079933"/>
              <a:gd name="connsiteY34527" fmla="*/ 875151 h 4687251"/>
              <a:gd name="connsiteX34528" fmla="*/ 538350 w 8079933"/>
              <a:gd name="connsiteY34528" fmla="*/ 874826 h 4687251"/>
              <a:gd name="connsiteX34529" fmla="*/ 539545 w 8079933"/>
              <a:gd name="connsiteY34529" fmla="*/ 871470 h 4687251"/>
              <a:gd name="connsiteX34530" fmla="*/ 534663 w 8079933"/>
              <a:gd name="connsiteY34530" fmla="*/ 866056 h 4687251"/>
              <a:gd name="connsiteX34531" fmla="*/ 535747 w 8079933"/>
              <a:gd name="connsiteY34531" fmla="*/ 864865 h 4687251"/>
              <a:gd name="connsiteX34532" fmla="*/ 540412 w 8079933"/>
              <a:gd name="connsiteY34532" fmla="*/ 866489 h 4687251"/>
              <a:gd name="connsiteX34533" fmla="*/ 545514 w 8079933"/>
              <a:gd name="connsiteY34533" fmla="*/ 865299 h 4687251"/>
              <a:gd name="connsiteX34534" fmla="*/ 547575 w 8079933"/>
              <a:gd name="connsiteY34534" fmla="*/ 863783 h 4687251"/>
              <a:gd name="connsiteX34535" fmla="*/ 549529 w 8079933"/>
              <a:gd name="connsiteY34535" fmla="*/ 856528 h 4687251"/>
              <a:gd name="connsiteX34536" fmla="*/ 560055 w 8079933"/>
              <a:gd name="connsiteY34536" fmla="*/ 847001 h 4687251"/>
              <a:gd name="connsiteX34537" fmla="*/ 562769 w 8079933"/>
              <a:gd name="connsiteY34537" fmla="*/ 846784 h 4687251"/>
              <a:gd name="connsiteX34538" fmla="*/ 565698 w 8079933"/>
              <a:gd name="connsiteY34538" fmla="*/ 845485 h 4687251"/>
              <a:gd name="connsiteX34539" fmla="*/ 568302 w 8079933"/>
              <a:gd name="connsiteY34539" fmla="*/ 839638 h 4687251"/>
              <a:gd name="connsiteX34540" fmla="*/ 575247 w 8079933"/>
              <a:gd name="connsiteY34540" fmla="*/ 832817 h 4687251"/>
              <a:gd name="connsiteX34541" fmla="*/ 577310 w 8079933"/>
              <a:gd name="connsiteY34541" fmla="*/ 832709 h 4687251"/>
              <a:gd name="connsiteX34542" fmla="*/ 581325 w 8079933"/>
              <a:gd name="connsiteY34542" fmla="*/ 837473 h 4687251"/>
              <a:gd name="connsiteX34543" fmla="*/ 583062 w 8079933"/>
              <a:gd name="connsiteY34543" fmla="*/ 841804 h 4687251"/>
              <a:gd name="connsiteX34544" fmla="*/ 585448 w 8079933"/>
              <a:gd name="connsiteY34544" fmla="*/ 841804 h 4687251"/>
              <a:gd name="connsiteX34545" fmla="*/ 587617 w 8079933"/>
              <a:gd name="connsiteY34545" fmla="*/ 838014 h 4687251"/>
              <a:gd name="connsiteX34546" fmla="*/ 584689 w 8079933"/>
              <a:gd name="connsiteY34546" fmla="*/ 835416 h 4687251"/>
              <a:gd name="connsiteX34547" fmla="*/ 583711 w 8079933"/>
              <a:gd name="connsiteY34547" fmla="*/ 831951 h 4687251"/>
              <a:gd name="connsiteX34548" fmla="*/ 586750 w 8079933"/>
              <a:gd name="connsiteY34548" fmla="*/ 830327 h 4687251"/>
              <a:gd name="connsiteX34549" fmla="*/ 593586 w 8079933"/>
              <a:gd name="connsiteY34549" fmla="*/ 830652 h 4687251"/>
              <a:gd name="connsiteX34550" fmla="*/ 599122 w 8079933"/>
              <a:gd name="connsiteY34550" fmla="*/ 836606 h 4687251"/>
              <a:gd name="connsiteX34551" fmla="*/ 599663 w 8079933"/>
              <a:gd name="connsiteY34551" fmla="*/ 839746 h 4687251"/>
              <a:gd name="connsiteX34552" fmla="*/ 603136 w 8079933"/>
              <a:gd name="connsiteY34552" fmla="*/ 836282 h 4687251"/>
              <a:gd name="connsiteX34553" fmla="*/ 606392 w 8079933"/>
              <a:gd name="connsiteY34553" fmla="*/ 828053 h 4687251"/>
              <a:gd name="connsiteX34554" fmla="*/ 606608 w 8079933"/>
              <a:gd name="connsiteY34554" fmla="*/ 822098 h 4687251"/>
              <a:gd name="connsiteX34555" fmla="*/ 609648 w 8079933"/>
              <a:gd name="connsiteY34555" fmla="*/ 819716 h 4687251"/>
              <a:gd name="connsiteX34556" fmla="*/ 615181 w 8079933"/>
              <a:gd name="connsiteY34556" fmla="*/ 819283 h 4687251"/>
              <a:gd name="connsiteX34557" fmla="*/ 621041 w 8079933"/>
              <a:gd name="connsiteY34557" fmla="*/ 814953 h 4687251"/>
              <a:gd name="connsiteX34558" fmla="*/ 628419 w 8079933"/>
              <a:gd name="connsiteY34558" fmla="*/ 814953 h 4687251"/>
              <a:gd name="connsiteX34559" fmla="*/ 632869 w 8079933"/>
              <a:gd name="connsiteY34559" fmla="*/ 816252 h 4687251"/>
              <a:gd name="connsiteX34560" fmla="*/ 637101 w 8079933"/>
              <a:gd name="connsiteY34560" fmla="*/ 816035 h 4687251"/>
              <a:gd name="connsiteX34561" fmla="*/ 639924 w 8079933"/>
              <a:gd name="connsiteY34561" fmla="*/ 813545 h 4687251"/>
              <a:gd name="connsiteX34562" fmla="*/ 649583 w 8079933"/>
              <a:gd name="connsiteY34562" fmla="*/ 810189 h 4687251"/>
              <a:gd name="connsiteX34563" fmla="*/ 653054 w 8079933"/>
              <a:gd name="connsiteY34563" fmla="*/ 805425 h 4687251"/>
              <a:gd name="connsiteX34564" fmla="*/ 658587 w 8079933"/>
              <a:gd name="connsiteY34564" fmla="*/ 801851 h 4687251"/>
              <a:gd name="connsiteX34565" fmla="*/ 663146 w 8079933"/>
              <a:gd name="connsiteY34565" fmla="*/ 795680 h 4687251"/>
              <a:gd name="connsiteX34566" fmla="*/ 664664 w 8079933"/>
              <a:gd name="connsiteY34566" fmla="*/ 795031 h 4687251"/>
              <a:gd name="connsiteX34567" fmla="*/ 668354 w 8079933"/>
              <a:gd name="connsiteY34567" fmla="*/ 799253 h 4687251"/>
              <a:gd name="connsiteX34568" fmla="*/ 670308 w 8079933"/>
              <a:gd name="connsiteY34568" fmla="*/ 801635 h 4687251"/>
              <a:gd name="connsiteX34569" fmla="*/ 672478 w 8079933"/>
              <a:gd name="connsiteY34569" fmla="*/ 800661 h 4687251"/>
              <a:gd name="connsiteX34570" fmla="*/ 679532 w 8079933"/>
              <a:gd name="connsiteY34570" fmla="*/ 804775 h 4687251"/>
              <a:gd name="connsiteX34571" fmla="*/ 684524 w 8079933"/>
              <a:gd name="connsiteY34571" fmla="*/ 805533 h 4687251"/>
              <a:gd name="connsiteX34572" fmla="*/ 688212 w 8079933"/>
              <a:gd name="connsiteY34572" fmla="*/ 804234 h 4687251"/>
              <a:gd name="connsiteX34573" fmla="*/ 693095 w 8079933"/>
              <a:gd name="connsiteY34573" fmla="*/ 799794 h 4687251"/>
              <a:gd name="connsiteX34574" fmla="*/ 696134 w 8079933"/>
              <a:gd name="connsiteY34574" fmla="*/ 798171 h 4687251"/>
              <a:gd name="connsiteX34575" fmla="*/ 700691 w 8079933"/>
              <a:gd name="connsiteY34575" fmla="*/ 798604 h 4687251"/>
              <a:gd name="connsiteX34576" fmla="*/ 704707 w 8079933"/>
              <a:gd name="connsiteY34576" fmla="*/ 795572 h 4687251"/>
              <a:gd name="connsiteX34577" fmla="*/ 709156 w 8079933"/>
              <a:gd name="connsiteY34577" fmla="*/ 789834 h 4687251"/>
              <a:gd name="connsiteX34578" fmla="*/ 710675 w 8079933"/>
              <a:gd name="connsiteY34578" fmla="*/ 785070 h 4687251"/>
              <a:gd name="connsiteX34579" fmla="*/ 709915 w 8079933"/>
              <a:gd name="connsiteY34579" fmla="*/ 781388 h 4687251"/>
              <a:gd name="connsiteX34580" fmla="*/ 708724 w 8079933"/>
              <a:gd name="connsiteY34580" fmla="*/ 779223 h 4687251"/>
              <a:gd name="connsiteX34581" fmla="*/ 709915 w 8079933"/>
              <a:gd name="connsiteY34581" fmla="*/ 776408 h 4687251"/>
              <a:gd name="connsiteX34582" fmla="*/ 712196 w 8079933"/>
              <a:gd name="connsiteY34582" fmla="*/ 772835 h 4687251"/>
              <a:gd name="connsiteX34583" fmla="*/ 713498 w 8079933"/>
              <a:gd name="connsiteY34583" fmla="*/ 767205 h 4687251"/>
              <a:gd name="connsiteX34584" fmla="*/ 720985 w 8079933"/>
              <a:gd name="connsiteY34584" fmla="*/ 758760 h 4687251"/>
              <a:gd name="connsiteX34585" fmla="*/ 721528 w 8079933"/>
              <a:gd name="connsiteY34585" fmla="*/ 752264 h 4687251"/>
              <a:gd name="connsiteX34586" fmla="*/ 718597 w 8079933"/>
              <a:gd name="connsiteY34586" fmla="*/ 749015 h 4687251"/>
              <a:gd name="connsiteX34587" fmla="*/ 713498 w 8079933"/>
              <a:gd name="connsiteY34587" fmla="*/ 748366 h 4687251"/>
              <a:gd name="connsiteX34588" fmla="*/ 712955 w 8079933"/>
              <a:gd name="connsiteY34588" fmla="*/ 747175 h 4687251"/>
              <a:gd name="connsiteX34589" fmla="*/ 719356 w 8079933"/>
              <a:gd name="connsiteY34589" fmla="*/ 742195 h 4687251"/>
              <a:gd name="connsiteX34590" fmla="*/ 722287 w 8079933"/>
              <a:gd name="connsiteY34590" fmla="*/ 742519 h 4687251"/>
              <a:gd name="connsiteX34591" fmla="*/ 724457 w 8079933"/>
              <a:gd name="connsiteY34591" fmla="*/ 744685 h 4687251"/>
              <a:gd name="connsiteX34592" fmla="*/ 731403 w 8079933"/>
              <a:gd name="connsiteY34592" fmla="*/ 743710 h 4687251"/>
              <a:gd name="connsiteX34593" fmla="*/ 735635 w 8079933"/>
              <a:gd name="connsiteY34593" fmla="*/ 735807 h 4687251"/>
              <a:gd name="connsiteX34594" fmla="*/ 733138 w 8079933"/>
              <a:gd name="connsiteY34594" fmla="*/ 734399 h 4687251"/>
              <a:gd name="connsiteX34595" fmla="*/ 732922 w 8079933"/>
              <a:gd name="connsiteY34595" fmla="*/ 732558 h 4687251"/>
              <a:gd name="connsiteX34596" fmla="*/ 738238 w 8079933"/>
              <a:gd name="connsiteY34596" fmla="*/ 728769 h 4687251"/>
              <a:gd name="connsiteX34597" fmla="*/ 740300 w 8079933"/>
              <a:gd name="connsiteY34597" fmla="*/ 725304 h 4687251"/>
              <a:gd name="connsiteX34598" fmla="*/ 737914 w 8079933"/>
              <a:gd name="connsiteY34598" fmla="*/ 727037 h 4687251"/>
              <a:gd name="connsiteX34599" fmla="*/ 731727 w 8079933"/>
              <a:gd name="connsiteY34599" fmla="*/ 727362 h 4687251"/>
              <a:gd name="connsiteX34600" fmla="*/ 723589 w 8079933"/>
              <a:gd name="connsiteY34600" fmla="*/ 732342 h 4687251"/>
              <a:gd name="connsiteX34601" fmla="*/ 721201 w 8079933"/>
              <a:gd name="connsiteY34601" fmla="*/ 731476 h 4687251"/>
              <a:gd name="connsiteX34602" fmla="*/ 720225 w 8079933"/>
              <a:gd name="connsiteY34602" fmla="*/ 728552 h 4687251"/>
              <a:gd name="connsiteX34603" fmla="*/ 718272 w 8079933"/>
              <a:gd name="connsiteY34603" fmla="*/ 728552 h 4687251"/>
              <a:gd name="connsiteX34604" fmla="*/ 715233 w 8079933"/>
              <a:gd name="connsiteY34604" fmla="*/ 733317 h 4687251"/>
              <a:gd name="connsiteX34605" fmla="*/ 708287 w 8079933"/>
              <a:gd name="connsiteY34605" fmla="*/ 734074 h 4687251"/>
              <a:gd name="connsiteX34606" fmla="*/ 698414 w 8079933"/>
              <a:gd name="connsiteY34606" fmla="*/ 740029 h 4687251"/>
              <a:gd name="connsiteX34607" fmla="*/ 690709 w 8079933"/>
              <a:gd name="connsiteY34607" fmla="*/ 741762 h 4687251"/>
              <a:gd name="connsiteX34608" fmla="*/ 688973 w 8079933"/>
              <a:gd name="connsiteY34608" fmla="*/ 744576 h 4687251"/>
              <a:gd name="connsiteX34609" fmla="*/ 682787 w 8079933"/>
              <a:gd name="connsiteY34609" fmla="*/ 749882 h 4687251"/>
              <a:gd name="connsiteX34610" fmla="*/ 680399 w 8079933"/>
              <a:gd name="connsiteY34610" fmla="*/ 749665 h 4687251"/>
              <a:gd name="connsiteX34611" fmla="*/ 680182 w 8079933"/>
              <a:gd name="connsiteY34611" fmla="*/ 745226 h 4687251"/>
              <a:gd name="connsiteX34612" fmla="*/ 685065 w 8079933"/>
              <a:gd name="connsiteY34612" fmla="*/ 739380 h 4687251"/>
              <a:gd name="connsiteX34613" fmla="*/ 685176 w 8079933"/>
              <a:gd name="connsiteY34613" fmla="*/ 736672 h 4687251"/>
              <a:gd name="connsiteX34614" fmla="*/ 680399 w 8079933"/>
              <a:gd name="connsiteY34614" fmla="*/ 734941 h 4687251"/>
              <a:gd name="connsiteX34615" fmla="*/ 678772 w 8079933"/>
              <a:gd name="connsiteY34615" fmla="*/ 736998 h 4687251"/>
              <a:gd name="connsiteX34616" fmla="*/ 679205 w 8079933"/>
              <a:gd name="connsiteY34616" fmla="*/ 743494 h 4687251"/>
              <a:gd name="connsiteX34617" fmla="*/ 677143 w 8079933"/>
              <a:gd name="connsiteY34617" fmla="*/ 745876 h 4687251"/>
              <a:gd name="connsiteX34618" fmla="*/ 674539 w 8079933"/>
              <a:gd name="connsiteY34618" fmla="*/ 744576 h 4687251"/>
              <a:gd name="connsiteX34619" fmla="*/ 673020 w 8079933"/>
              <a:gd name="connsiteY34619" fmla="*/ 738838 h 4687251"/>
              <a:gd name="connsiteX34620" fmla="*/ 669005 w 8079933"/>
              <a:gd name="connsiteY34620" fmla="*/ 736131 h 4687251"/>
              <a:gd name="connsiteX34621" fmla="*/ 658371 w 8079933"/>
              <a:gd name="connsiteY34621" fmla="*/ 734724 h 4687251"/>
              <a:gd name="connsiteX34622" fmla="*/ 652838 w 8079933"/>
              <a:gd name="connsiteY34622" fmla="*/ 731692 h 4687251"/>
              <a:gd name="connsiteX34623" fmla="*/ 646109 w 8079933"/>
              <a:gd name="connsiteY34623" fmla="*/ 733858 h 4687251"/>
              <a:gd name="connsiteX34624" fmla="*/ 639924 w 8079933"/>
              <a:gd name="connsiteY34624" fmla="*/ 738297 h 4687251"/>
              <a:gd name="connsiteX34625" fmla="*/ 636776 w 8079933"/>
              <a:gd name="connsiteY34625" fmla="*/ 738188 h 4687251"/>
              <a:gd name="connsiteX34626" fmla="*/ 631568 w 8079933"/>
              <a:gd name="connsiteY34626" fmla="*/ 732558 h 4687251"/>
              <a:gd name="connsiteX34627" fmla="*/ 623755 w 8079933"/>
              <a:gd name="connsiteY34627" fmla="*/ 729419 h 4687251"/>
              <a:gd name="connsiteX34628" fmla="*/ 615397 w 8079933"/>
              <a:gd name="connsiteY34628" fmla="*/ 720107 h 4687251"/>
              <a:gd name="connsiteX34629" fmla="*/ 614747 w 8079933"/>
              <a:gd name="connsiteY34629" fmla="*/ 713828 h 4687251"/>
              <a:gd name="connsiteX34630" fmla="*/ 615940 w 8079933"/>
              <a:gd name="connsiteY34630" fmla="*/ 707115 h 4687251"/>
              <a:gd name="connsiteX34631" fmla="*/ 619738 w 8079933"/>
              <a:gd name="connsiteY34631" fmla="*/ 701052 h 4687251"/>
              <a:gd name="connsiteX34632" fmla="*/ 624948 w 8079933"/>
              <a:gd name="connsiteY34632" fmla="*/ 696288 h 4687251"/>
              <a:gd name="connsiteX34633" fmla="*/ 624732 w 8079933"/>
              <a:gd name="connsiteY34633" fmla="*/ 692607 h 4687251"/>
              <a:gd name="connsiteX34634" fmla="*/ 623319 w 8079933"/>
              <a:gd name="connsiteY34634" fmla="*/ 690874 h 4687251"/>
              <a:gd name="connsiteX34635" fmla="*/ 622343 w 8079933"/>
              <a:gd name="connsiteY34635" fmla="*/ 681238 h 4687251"/>
              <a:gd name="connsiteX34636" fmla="*/ 625924 w 8079933"/>
              <a:gd name="connsiteY34636" fmla="*/ 676366 h 4687251"/>
              <a:gd name="connsiteX34637" fmla="*/ 629722 w 8079933"/>
              <a:gd name="connsiteY34637" fmla="*/ 675933 h 4687251"/>
              <a:gd name="connsiteX34638" fmla="*/ 629722 w 8079933"/>
              <a:gd name="connsiteY34638" fmla="*/ 677882 h 4687251"/>
              <a:gd name="connsiteX34639" fmla="*/ 625599 w 8079933"/>
              <a:gd name="connsiteY34639" fmla="*/ 682321 h 4687251"/>
              <a:gd name="connsiteX34640" fmla="*/ 628855 w 8079933"/>
              <a:gd name="connsiteY34640" fmla="*/ 686977 h 4687251"/>
              <a:gd name="connsiteX34641" fmla="*/ 631784 w 8079933"/>
              <a:gd name="connsiteY34641" fmla="*/ 686977 h 4687251"/>
              <a:gd name="connsiteX34642" fmla="*/ 637101 w 8079933"/>
              <a:gd name="connsiteY34642" fmla="*/ 681455 h 4687251"/>
              <a:gd name="connsiteX34643" fmla="*/ 639381 w 8079933"/>
              <a:gd name="connsiteY34643" fmla="*/ 681130 h 4687251"/>
              <a:gd name="connsiteX34644" fmla="*/ 642636 w 8079933"/>
              <a:gd name="connsiteY34644" fmla="*/ 683728 h 4687251"/>
              <a:gd name="connsiteX34645" fmla="*/ 648170 w 8079933"/>
              <a:gd name="connsiteY34645" fmla="*/ 687518 h 4687251"/>
              <a:gd name="connsiteX34646" fmla="*/ 649039 w 8079933"/>
              <a:gd name="connsiteY34646" fmla="*/ 692282 h 4687251"/>
              <a:gd name="connsiteX34647" fmla="*/ 657069 w 8079933"/>
              <a:gd name="connsiteY34647" fmla="*/ 692065 h 4687251"/>
              <a:gd name="connsiteX34648" fmla="*/ 658806 w 8079933"/>
              <a:gd name="connsiteY34648" fmla="*/ 690766 h 4687251"/>
              <a:gd name="connsiteX34649" fmla="*/ 653270 w 8079933"/>
              <a:gd name="connsiteY34649" fmla="*/ 687842 h 4687251"/>
              <a:gd name="connsiteX34650" fmla="*/ 648496 w 8079933"/>
              <a:gd name="connsiteY34650" fmla="*/ 686652 h 4687251"/>
              <a:gd name="connsiteX34651" fmla="*/ 646435 w 8079933"/>
              <a:gd name="connsiteY34651" fmla="*/ 680913 h 4687251"/>
              <a:gd name="connsiteX34652" fmla="*/ 641226 w 8079933"/>
              <a:gd name="connsiteY34652" fmla="*/ 678207 h 4687251"/>
              <a:gd name="connsiteX34653" fmla="*/ 636233 w 8079933"/>
              <a:gd name="connsiteY34653" fmla="*/ 671277 h 4687251"/>
              <a:gd name="connsiteX34654" fmla="*/ 629505 w 8079933"/>
              <a:gd name="connsiteY34654" fmla="*/ 669545 h 4687251"/>
              <a:gd name="connsiteX34655" fmla="*/ 623319 w 8079933"/>
              <a:gd name="connsiteY34655" fmla="*/ 660017 h 4687251"/>
              <a:gd name="connsiteX34656" fmla="*/ 616808 w 8079933"/>
              <a:gd name="connsiteY34656" fmla="*/ 651897 h 4687251"/>
              <a:gd name="connsiteX34657" fmla="*/ 616918 w 8079933"/>
              <a:gd name="connsiteY34657" fmla="*/ 650165 h 4687251"/>
              <a:gd name="connsiteX34658" fmla="*/ 620717 w 8079933"/>
              <a:gd name="connsiteY34658" fmla="*/ 644534 h 4687251"/>
              <a:gd name="connsiteX34659" fmla="*/ 624732 w 8079933"/>
              <a:gd name="connsiteY34659" fmla="*/ 642802 h 4687251"/>
              <a:gd name="connsiteX34660" fmla="*/ 623537 w 8079933"/>
              <a:gd name="connsiteY34660" fmla="*/ 645726 h 4687251"/>
              <a:gd name="connsiteX34661" fmla="*/ 622343 w 8079933"/>
              <a:gd name="connsiteY34661" fmla="*/ 647458 h 4687251"/>
              <a:gd name="connsiteX34662" fmla="*/ 625273 w 8079933"/>
              <a:gd name="connsiteY34662" fmla="*/ 646916 h 4687251"/>
              <a:gd name="connsiteX34663" fmla="*/ 630265 w 8079933"/>
              <a:gd name="connsiteY34663" fmla="*/ 643669 h 4687251"/>
              <a:gd name="connsiteX34664" fmla="*/ 637427 w 8079933"/>
              <a:gd name="connsiteY34664" fmla="*/ 640422 h 4687251"/>
              <a:gd name="connsiteX34665" fmla="*/ 641116 w 8079933"/>
              <a:gd name="connsiteY34665" fmla="*/ 639014 h 4687251"/>
              <a:gd name="connsiteX34666" fmla="*/ 641116 w 8079933"/>
              <a:gd name="connsiteY34666" fmla="*/ 636418 h 4687251"/>
              <a:gd name="connsiteX34667" fmla="*/ 647845 w 8079933"/>
              <a:gd name="connsiteY34667" fmla="*/ 632518 h 4687251"/>
              <a:gd name="connsiteX34668" fmla="*/ 651425 w 8079933"/>
              <a:gd name="connsiteY34668" fmla="*/ 632518 h 4687251"/>
              <a:gd name="connsiteX34669" fmla="*/ 652511 w 8079933"/>
              <a:gd name="connsiteY34669" fmla="*/ 634036 h 4687251"/>
              <a:gd name="connsiteX34670" fmla="*/ 657285 w 8079933"/>
              <a:gd name="connsiteY34670" fmla="*/ 633819 h 4687251"/>
              <a:gd name="connsiteX34671" fmla="*/ 657610 w 8079933"/>
              <a:gd name="connsiteY34671" fmla="*/ 631436 h 4687251"/>
              <a:gd name="connsiteX34672" fmla="*/ 660758 w 8079933"/>
              <a:gd name="connsiteY34672" fmla="*/ 628836 h 4687251"/>
              <a:gd name="connsiteX34673" fmla="*/ 669873 w 8079933"/>
              <a:gd name="connsiteY34673" fmla="*/ 627430 h 4687251"/>
              <a:gd name="connsiteX34674" fmla="*/ 678337 w 8079933"/>
              <a:gd name="connsiteY34674" fmla="*/ 628836 h 4687251"/>
              <a:gd name="connsiteX34675" fmla="*/ 682787 w 8079933"/>
              <a:gd name="connsiteY34675" fmla="*/ 630461 h 4687251"/>
              <a:gd name="connsiteX34676" fmla="*/ 684524 w 8079933"/>
              <a:gd name="connsiteY34676" fmla="*/ 632844 h 4687251"/>
              <a:gd name="connsiteX34677" fmla="*/ 688647 w 8079933"/>
              <a:gd name="connsiteY34677" fmla="*/ 632844 h 4687251"/>
              <a:gd name="connsiteX34678" fmla="*/ 692662 w 8079933"/>
              <a:gd name="connsiteY34678" fmla="*/ 633494 h 4687251"/>
              <a:gd name="connsiteX34679" fmla="*/ 693421 w 8079933"/>
              <a:gd name="connsiteY34679" fmla="*/ 631978 h 4687251"/>
              <a:gd name="connsiteX34680" fmla="*/ 688104 w 8079933"/>
              <a:gd name="connsiteY34680" fmla="*/ 627106 h 4687251"/>
              <a:gd name="connsiteX34681" fmla="*/ 685935 w 8079933"/>
              <a:gd name="connsiteY34681" fmla="*/ 624725 h 4687251"/>
              <a:gd name="connsiteX34682" fmla="*/ 686910 w 8079933"/>
              <a:gd name="connsiteY34682" fmla="*/ 622343 h 4687251"/>
              <a:gd name="connsiteX34683" fmla="*/ 701235 w 8079933"/>
              <a:gd name="connsiteY34683" fmla="*/ 616495 h 4687251"/>
              <a:gd name="connsiteX34684" fmla="*/ 705358 w 8079933"/>
              <a:gd name="connsiteY34684" fmla="*/ 616278 h 4687251"/>
              <a:gd name="connsiteX34685" fmla="*/ 709264 w 8079933"/>
              <a:gd name="connsiteY34685" fmla="*/ 619093 h 4687251"/>
              <a:gd name="connsiteX34686" fmla="*/ 713606 w 8079933"/>
              <a:gd name="connsiteY34686" fmla="*/ 618877 h 4687251"/>
              <a:gd name="connsiteX34687" fmla="*/ 721201 w 8079933"/>
              <a:gd name="connsiteY34687" fmla="*/ 614764 h 4687251"/>
              <a:gd name="connsiteX34688" fmla="*/ 725868 w 8079933"/>
              <a:gd name="connsiteY34688" fmla="*/ 614982 h 4687251"/>
              <a:gd name="connsiteX34689" fmla="*/ 729666 w 8079933"/>
              <a:gd name="connsiteY34689" fmla="*/ 616603 h 4687251"/>
              <a:gd name="connsiteX34690" fmla="*/ 735853 w 8079933"/>
              <a:gd name="connsiteY34690" fmla="*/ 623210 h 4687251"/>
              <a:gd name="connsiteX34691" fmla="*/ 736177 w 8079933"/>
              <a:gd name="connsiteY34691" fmla="*/ 626133 h 4687251"/>
              <a:gd name="connsiteX34692" fmla="*/ 733248 w 8079933"/>
              <a:gd name="connsiteY34692" fmla="*/ 629596 h 4687251"/>
              <a:gd name="connsiteX34693" fmla="*/ 730536 w 8079933"/>
              <a:gd name="connsiteY34693" fmla="*/ 630029 h 4687251"/>
              <a:gd name="connsiteX34694" fmla="*/ 725542 w 8079933"/>
              <a:gd name="connsiteY34694" fmla="*/ 637285 h 4687251"/>
              <a:gd name="connsiteX34695" fmla="*/ 721201 w 8079933"/>
              <a:gd name="connsiteY34695" fmla="*/ 638797 h 4687251"/>
              <a:gd name="connsiteX34696" fmla="*/ 720985 w 8079933"/>
              <a:gd name="connsiteY34696" fmla="*/ 641614 h 4687251"/>
              <a:gd name="connsiteX34697" fmla="*/ 722938 w 8079933"/>
              <a:gd name="connsiteY34697" fmla="*/ 645292 h 4687251"/>
              <a:gd name="connsiteX34698" fmla="*/ 723265 w 8079933"/>
              <a:gd name="connsiteY34698" fmla="*/ 650489 h 4687251"/>
              <a:gd name="connsiteX34699" fmla="*/ 725326 w 8079933"/>
              <a:gd name="connsiteY34699" fmla="*/ 650814 h 4687251"/>
              <a:gd name="connsiteX34700" fmla="*/ 728582 w 8079933"/>
              <a:gd name="connsiteY34700" fmla="*/ 648973 h 4687251"/>
              <a:gd name="connsiteX34701" fmla="*/ 731838 w 8079933"/>
              <a:gd name="connsiteY34701" fmla="*/ 651247 h 4687251"/>
              <a:gd name="connsiteX34702" fmla="*/ 732379 w 8079933"/>
              <a:gd name="connsiteY34702" fmla="*/ 654928 h 4687251"/>
              <a:gd name="connsiteX34703" fmla="*/ 736504 w 8079933"/>
              <a:gd name="connsiteY34703" fmla="*/ 655145 h 4687251"/>
              <a:gd name="connsiteX34704" fmla="*/ 739108 w 8079933"/>
              <a:gd name="connsiteY34704" fmla="*/ 654171 h 4687251"/>
              <a:gd name="connsiteX34705" fmla="*/ 742364 w 8079933"/>
              <a:gd name="connsiteY34705" fmla="*/ 654928 h 4687251"/>
              <a:gd name="connsiteX34706" fmla="*/ 743123 w 8079933"/>
              <a:gd name="connsiteY34706" fmla="*/ 660017 h 4687251"/>
              <a:gd name="connsiteX34707" fmla="*/ 746161 w 8079933"/>
              <a:gd name="connsiteY34707" fmla="*/ 661533 h 4687251"/>
              <a:gd name="connsiteX34708" fmla="*/ 752237 w 8079933"/>
              <a:gd name="connsiteY34708" fmla="*/ 660991 h 4687251"/>
              <a:gd name="connsiteX34709" fmla="*/ 754082 w 8079933"/>
              <a:gd name="connsiteY34709" fmla="*/ 662074 h 4687251"/>
              <a:gd name="connsiteX34710" fmla="*/ 755387 w 8079933"/>
              <a:gd name="connsiteY34710" fmla="*/ 666513 h 4687251"/>
              <a:gd name="connsiteX34711" fmla="*/ 759617 w 8079933"/>
              <a:gd name="connsiteY34711" fmla="*/ 664456 h 4687251"/>
              <a:gd name="connsiteX34712" fmla="*/ 763959 w 8079933"/>
              <a:gd name="connsiteY34712" fmla="*/ 662940 h 4687251"/>
              <a:gd name="connsiteX34713" fmla="*/ 764500 w 8079933"/>
              <a:gd name="connsiteY34713" fmla="*/ 658718 h 4687251"/>
              <a:gd name="connsiteX34714" fmla="*/ 771662 w 8079933"/>
              <a:gd name="connsiteY34714" fmla="*/ 653088 h 4687251"/>
              <a:gd name="connsiteX34715" fmla="*/ 774485 w 8079933"/>
              <a:gd name="connsiteY34715" fmla="*/ 650706 h 4687251"/>
              <a:gd name="connsiteX34716" fmla="*/ 776328 w 8079933"/>
              <a:gd name="connsiteY34716" fmla="*/ 652438 h 4687251"/>
              <a:gd name="connsiteX34717" fmla="*/ 779475 w 8079933"/>
              <a:gd name="connsiteY34717" fmla="*/ 653954 h 4687251"/>
              <a:gd name="connsiteX34718" fmla="*/ 779800 w 8079933"/>
              <a:gd name="connsiteY34718" fmla="*/ 656661 h 4687251"/>
              <a:gd name="connsiteX34719" fmla="*/ 773615 w 8079933"/>
              <a:gd name="connsiteY34719" fmla="*/ 664565 h 4687251"/>
              <a:gd name="connsiteX34720" fmla="*/ 780451 w 8079933"/>
              <a:gd name="connsiteY34720" fmla="*/ 662074 h 4687251"/>
              <a:gd name="connsiteX34721" fmla="*/ 785335 w 8079933"/>
              <a:gd name="connsiteY34721" fmla="*/ 656661 h 4687251"/>
              <a:gd name="connsiteX34722" fmla="*/ 785660 w 8079933"/>
              <a:gd name="connsiteY34722" fmla="*/ 648324 h 4687251"/>
              <a:gd name="connsiteX34723" fmla="*/ 783274 w 8079933"/>
              <a:gd name="connsiteY34723" fmla="*/ 642802 h 4687251"/>
              <a:gd name="connsiteX34724" fmla="*/ 777414 w 8079933"/>
              <a:gd name="connsiteY34724" fmla="*/ 642802 h 4687251"/>
              <a:gd name="connsiteX34725" fmla="*/ 775134 w 8079933"/>
              <a:gd name="connsiteY34725" fmla="*/ 640529 h 4687251"/>
              <a:gd name="connsiteX34726" fmla="*/ 771878 w 8079933"/>
              <a:gd name="connsiteY34726" fmla="*/ 640529 h 4687251"/>
              <a:gd name="connsiteX34727" fmla="*/ 768733 w 8079933"/>
              <a:gd name="connsiteY34727" fmla="*/ 645509 h 4687251"/>
              <a:gd name="connsiteX34728" fmla="*/ 768733 w 8079933"/>
              <a:gd name="connsiteY34728" fmla="*/ 641721 h 4687251"/>
              <a:gd name="connsiteX34729" fmla="*/ 773072 w 8079933"/>
              <a:gd name="connsiteY34729" fmla="*/ 636959 h 4687251"/>
              <a:gd name="connsiteX34730" fmla="*/ 775352 w 8079933"/>
              <a:gd name="connsiteY34730" fmla="*/ 627863 h 4687251"/>
              <a:gd name="connsiteX34731" fmla="*/ 775786 w 8079933"/>
              <a:gd name="connsiteY34731" fmla="*/ 613897 h 4687251"/>
              <a:gd name="connsiteX34732" fmla="*/ 779910 w 8079933"/>
              <a:gd name="connsiteY34732" fmla="*/ 609457 h 4687251"/>
              <a:gd name="connsiteX34733" fmla="*/ 781862 w 8079933"/>
              <a:gd name="connsiteY34733" fmla="*/ 609565 h 4687251"/>
              <a:gd name="connsiteX34734" fmla="*/ 782515 w 8079933"/>
              <a:gd name="connsiteY34734" fmla="*/ 614115 h 4687251"/>
              <a:gd name="connsiteX34735" fmla="*/ 777414 w 8079933"/>
              <a:gd name="connsiteY34735" fmla="*/ 628189 h 4687251"/>
              <a:gd name="connsiteX34736" fmla="*/ 776655 w 8079933"/>
              <a:gd name="connsiteY34736" fmla="*/ 635444 h 4687251"/>
              <a:gd name="connsiteX34737" fmla="*/ 782404 w 8079933"/>
              <a:gd name="connsiteY34737" fmla="*/ 639881 h 4687251"/>
              <a:gd name="connsiteX34738" fmla="*/ 784576 w 8079933"/>
              <a:gd name="connsiteY34738" fmla="*/ 639556 h 4687251"/>
              <a:gd name="connsiteX34739" fmla="*/ 788808 w 8079933"/>
              <a:gd name="connsiteY34739" fmla="*/ 641071 h 4687251"/>
              <a:gd name="connsiteX34740" fmla="*/ 790977 w 8079933"/>
              <a:gd name="connsiteY34740" fmla="*/ 647783 h 4687251"/>
              <a:gd name="connsiteX34741" fmla="*/ 793582 w 8079933"/>
              <a:gd name="connsiteY34741" fmla="*/ 650381 h 4687251"/>
              <a:gd name="connsiteX34742" fmla="*/ 799768 w 8079933"/>
              <a:gd name="connsiteY34742" fmla="*/ 651030 h 4687251"/>
              <a:gd name="connsiteX34743" fmla="*/ 802697 w 8079933"/>
              <a:gd name="connsiteY34743" fmla="*/ 649298 h 4687251"/>
              <a:gd name="connsiteX34744" fmla="*/ 807582 w 8079933"/>
              <a:gd name="connsiteY34744" fmla="*/ 652114 h 4687251"/>
              <a:gd name="connsiteX34745" fmla="*/ 806823 w 8079933"/>
              <a:gd name="connsiteY34745" fmla="*/ 655361 h 4687251"/>
              <a:gd name="connsiteX34746" fmla="*/ 814744 w 8079933"/>
              <a:gd name="connsiteY34746" fmla="*/ 654495 h 4687251"/>
              <a:gd name="connsiteX34747" fmla="*/ 816263 w 8079933"/>
              <a:gd name="connsiteY34747" fmla="*/ 649623 h 4687251"/>
              <a:gd name="connsiteX34748" fmla="*/ 814961 w 8079933"/>
              <a:gd name="connsiteY34748" fmla="*/ 644318 h 4687251"/>
              <a:gd name="connsiteX34749" fmla="*/ 821148 w 8079933"/>
              <a:gd name="connsiteY34749" fmla="*/ 641071 h 4687251"/>
              <a:gd name="connsiteX34750" fmla="*/ 814744 w 8079933"/>
              <a:gd name="connsiteY34750" fmla="*/ 637609 h 4687251"/>
              <a:gd name="connsiteX34751" fmla="*/ 807364 w 8079933"/>
              <a:gd name="connsiteY34751" fmla="*/ 635444 h 4687251"/>
              <a:gd name="connsiteX34752" fmla="*/ 801179 w 8079933"/>
              <a:gd name="connsiteY34752" fmla="*/ 637285 h 4687251"/>
              <a:gd name="connsiteX34753" fmla="*/ 799441 w 8079933"/>
              <a:gd name="connsiteY34753" fmla="*/ 634146 h 4687251"/>
              <a:gd name="connsiteX34754" fmla="*/ 795643 w 8079933"/>
              <a:gd name="connsiteY34754" fmla="*/ 632518 h 4687251"/>
              <a:gd name="connsiteX34755" fmla="*/ 790218 w 8079933"/>
              <a:gd name="connsiteY34755" fmla="*/ 634036 h 4687251"/>
              <a:gd name="connsiteX34756" fmla="*/ 786746 w 8079933"/>
              <a:gd name="connsiteY34756" fmla="*/ 636959 h 4687251"/>
              <a:gd name="connsiteX34757" fmla="*/ 784358 w 8079933"/>
              <a:gd name="connsiteY34757" fmla="*/ 635011 h 4687251"/>
              <a:gd name="connsiteX34758" fmla="*/ 783817 w 8079933"/>
              <a:gd name="connsiteY34758" fmla="*/ 629596 h 4687251"/>
              <a:gd name="connsiteX34759" fmla="*/ 784468 w 8079933"/>
              <a:gd name="connsiteY34759" fmla="*/ 617254 h 4687251"/>
              <a:gd name="connsiteX34760" fmla="*/ 785878 w 8079933"/>
              <a:gd name="connsiteY34760" fmla="*/ 613897 h 4687251"/>
              <a:gd name="connsiteX34761" fmla="*/ 790869 w 8079933"/>
              <a:gd name="connsiteY34761" fmla="*/ 614546 h 4687251"/>
              <a:gd name="connsiteX34762" fmla="*/ 793690 w 8079933"/>
              <a:gd name="connsiteY34762" fmla="*/ 612599 h 4687251"/>
              <a:gd name="connsiteX34763" fmla="*/ 781972 w 8079933"/>
              <a:gd name="connsiteY34763" fmla="*/ 603287 h 4687251"/>
              <a:gd name="connsiteX34764" fmla="*/ 782404 w 8079933"/>
              <a:gd name="connsiteY34764" fmla="*/ 600147 h 4687251"/>
              <a:gd name="connsiteX34765" fmla="*/ 785878 w 8079933"/>
              <a:gd name="connsiteY34765" fmla="*/ 597223 h 4687251"/>
              <a:gd name="connsiteX34766" fmla="*/ 782404 w 8079933"/>
              <a:gd name="connsiteY34766" fmla="*/ 597223 h 4687251"/>
              <a:gd name="connsiteX34767" fmla="*/ 778606 w 8079933"/>
              <a:gd name="connsiteY34767" fmla="*/ 599607 h 4687251"/>
              <a:gd name="connsiteX34768" fmla="*/ 776220 w 8079933"/>
              <a:gd name="connsiteY34768" fmla="*/ 597441 h 4687251"/>
              <a:gd name="connsiteX34769" fmla="*/ 776328 w 8079933"/>
              <a:gd name="connsiteY34769" fmla="*/ 602529 h 4687251"/>
              <a:gd name="connsiteX34770" fmla="*/ 771338 w 8079933"/>
              <a:gd name="connsiteY34770" fmla="*/ 600363 h 4687251"/>
              <a:gd name="connsiteX34771" fmla="*/ 762330 w 8079933"/>
              <a:gd name="connsiteY34771" fmla="*/ 589536 h 4687251"/>
              <a:gd name="connsiteX34772" fmla="*/ 762330 w 8079933"/>
              <a:gd name="connsiteY34772" fmla="*/ 586936 h 4687251"/>
              <a:gd name="connsiteX34773" fmla="*/ 766561 w 8079933"/>
              <a:gd name="connsiteY34773" fmla="*/ 580875 h 4687251"/>
              <a:gd name="connsiteX34774" fmla="*/ 771989 w 8079933"/>
              <a:gd name="connsiteY34774" fmla="*/ 570914 h 4687251"/>
              <a:gd name="connsiteX34775" fmla="*/ 773399 w 8079933"/>
              <a:gd name="connsiteY34775" fmla="*/ 557921 h 4687251"/>
              <a:gd name="connsiteX34776" fmla="*/ 771010 w 8079933"/>
              <a:gd name="connsiteY34776" fmla="*/ 543412 h 4687251"/>
              <a:gd name="connsiteX34777" fmla="*/ 765151 w 8079933"/>
              <a:gd name="connsiteY34777" fmla="*/ 527172 h 4687251"/>
              <a:gd name="connsiteX34778" fmla="*/ 759291 w 8079933"/>
              <a:gd name="connsiteY34778" fmla="*/ 506167 h 4687251"/>
              <a:gd name="connsiteX34779" fmla="*/ 754951 w 8079933"/>
              <a:gd name="connsiteY34779" fmla="*/ 496205 h 4687251"/>
              <a:gd name="connsiteX34780" fmla="*/ 757772 w 8079933"/>
              <a:gd name="connsiteY34780" fmla="*/ 494258 h 4687251"/>
              <a:gd name="connsiteX34781" fmla="*/ 760812 w 8079933"/>
              <a:gd name="connsiteY34781" fmla="*/ 496532 h 4687251"/>
              <a:gd name="connsiteX34782" fmla="*/ 764500 w 8079933"/>
              <a:gd name="connsiteY34782" fmla="*/ 496963 h 4687251"/>
              <a:gd name="connsiteX34783" fmla="*/ 766888 w 8079933"/>
              <a:gd name="connsiteY34783" fmla="*/ 491227 h 4687251"/>
              <a:gd name="connsiteX34784" fmla="*/ 771554 w 8079933"/>
              <a:gd name="connsiteY34784" fmla="*/ 486680 h 4687251"/>
              <a:gd name="connsiteX34785" fmla="*/ 773723 w 8079933"/>
              <a:gd name="connsiteY34785" fmla="*/ 481267 h 4687251"/>
              <a:gd name="connsiteX34786" fmla="*/ 782188 w 8079933"/>
              <a:gd name="connsiteY34786" fmla="*/ 472060 h 4687251"/>
              <a:gd name="connsiteX34787" fmla="*/ 787940 w 8079933"/>
              <a:gd name="connsiteY34787" fmla="*/ 466542 h 4687251"/>
              <a:gd name="connsiteX34788" fmla="*/ 790653 w 8079933"/>
              <a:gd name="connsiteY34788" fmla="*/ 465892 h 4687251"/>
              <a:gd name="connsiteX34789" fmla="*/ 797923 w 8079933"/>
              <a:gd name="connsiteY34789" fmla="*/ 469573 h 4687251"/>
              <a:gd name="connsiteX34790" fmla="*/ 802697 w 8079933"/>
              <a:gd name="connsiteY34790" fmla="*/ 472060 h 4687251"/>
              <a:gd name="connsiteX34791" fmla="*/ 809208 w 8079933"/>
              <a:gd name="connsiteY34791" fmla="*/ 476068 h 4687251"/>
              <a:gd name="connsiteX34792" fmla="*/ 816263 w 8079933"/>
              <a:gd name="connsiteY34792" fmla="*/ 476718 h 4687251"/>
              <a:gd name="connsiteX34793" fmla="*/ 819951 w 8079933"/>
              <a:gd name="connsiteY34793" fmla="*/ 479426 h 4687251"/>
              <a:gd name="connsiteX34794" fmla="*/ 827005 w 8079933"/>
              <a:gd name="connsiteY34794" fmla="*/ 479317 h 4687251"/>
              <a:gd name="connsiteX34795" fmla="*/ 835145 w 8079933"/>
              <a:gd name="connsiteY34795" fmla="*/ 474335 h 4687251"/>
              <a:gd name="connsiteX34796" fmla="*/ 840462 w 8079933"/>
              <a:gd name="connsiteY34796" fmla="*/ 474011 h 4687251"/>
              <a:gd name="connsiteX34797" fmla="*/ 847190 w 8079933"/>
              <a:gd name="connsiteY34797" fmla="*/ 470006 h 4687251"/>
              <a:gd name="connsiteX34798" fmla="*/ 851313 w 8079933"/>
              <a:gd name="connsiteY34798" fmla="*/ 469357 h 4687251"/>
              <a:gd name="connsiteX34799" fmla="*/ 859234 w 8079933"/>
              <a:gd name="connsiteY34799" fmla="*/ 466107 h 4687251"/>
              <a:gd name="connsiteX34800" fmla="*/ 871281 w 8079933"/>
              <a:gd name="connsiteY34800" fmla="*/ 455281 h 4687251"/>
              <a:gd name="connsiteX34801" fmla="*/ 881264 w 8079933"/>
              <a:gd name="connsiteY34801" fmla="*/ 446294 h 4687251"/>
              <a:gd name="connsiteX34802" fmla="*/ 890705 w 8079933"/>
              <a:gd name="connsiteY34802" fmla="*/ 439256 h 4687251"/>
              <a:gd name="connsiteX34803" fmla="*/ 904487 w 8079933"/>
              <a:gd name="connsiteY34803" fmla="*/ 432760 h 4687251"/>
              <a:gd name="connsiteX34804" fmla="*/ 916966 w 8079933"/>
              <a:gd name="connsiteY34804" fmla="*/ 422368 h 4687251"/>
              <a:gd name="connsiteX34805" fmla="*/ 926732 w 8079933"/>
              <a:gd name="connsiteY34805" fmla="*/ 417603 h 4687251"/>
              <a:gd name="connsiteX34806" fmla="*/ 934871 w 8079933"/>
              <a:gd name="connsiteY34806" fmla="*/ 418792 h 4687251"/>
              <a:gd name="connsiteX34807" fmla="*/ 941708 w 8079933"/>
              <a:gd name="connsiteY34807" fmla="*/ 420525 h 4687251"/>
              <a:gd name="connsiteX34808" fmla="*/ 944095 w 8079933"/>
              <a:gd name="connsiteY34808" fmla="*/ 419116 h 4687251"/>
              <a:gd name="connsiteX34809" fmla="*/ 941599 w 8079933"/>
              <a:gd name="connsiteY34809" fmla="*/ 416086 h 4687251"/>
              <a:gd name="connsiteX34810" fmla="*/ 934546 w 8079933"/>
              <a:gd name="connsiteY34810" fmla="*/ 412946 h 4687251"/>
              <a:gd name="connsiteX34811" fmla="*/ 934003 w 8079933"/>
              <a:gd name="connsiteY34811" fmla="*/ 411216 h 4687251"/>
              <a:gd name="connsiteX34812" fmla="*/ 936932 w 8079933"/>
              <a:gd name="connsiteY34812" fmla="*/ 411108 h 4687251"/>
              <a:gd name="connsiteX34813" fmla="*/ 942575 w 8079933"/>
              <a:gd name="connsiteY34813" fmla="*/ 412405 h 4687251"/>
              <a:gd name="connsiteX34814" fmla="*/ 946266 w 8079933"/>
              <a:gd name="connsiteY34814" fmla="*/ 417276 h 4687251"/>
              <a:gd name="connsiteX34815" fmla="*/ 949303 w 8079933"/>
              <a:gd name="connsiteY34815" fmla="*/ 418792 h 4687251"/>
              <a:gd name="connsiteX34816" fmla="*/ 954296 w 8079933"/>
              <a:gd name="connsiteY34816" fmla="*/ 418792 h 4687251"/>
              <a:gd name="connsiteX34817" fmla="*/ 966340 w 8079933"/>
              <a:gd name="connsiteY34817" fmla="*/ 413598 h 4687251"/>
              <a:gd name="connsiteX34818" fmla="*/ 968837 w 8079933"/>
              <a:gd name="connsiteY34818" fmla="*/ 413813 h 4687251"/>
              <a:gd name="connsiteX34819" fmla="*/ 968405 w 8079933"/>
              <a:gd name="connsiteY34819" fmla="*/ 416952 h 4687251"/>
              <a:gd name="connsiteX34820" fmla="*/ 961350 w 8079933"/>
              <a:gd name="connsiteY34820" fmla="*/ 427563 h 4687251"/>
              <a:gd name="connsiteX34821" fmla="*/ 959829 w 8079933"/>
              <a:gd name="connsiteY34821" fmla="*/ 435684 h 4687251"/>
              <a:gd name="connsiteX34822" fmla="*/ 960915 w 8079933"/>
              <a:gd name="connsiteY34822" fmla="*/ 437417 h 4687251"/>
              <a:gd name="connsiteX34823" fmla="*/ 963085 w 8079933"/>
              <a:gd name="connsiteY34823" fmla="*/ 436983 h 4687251"/>
              <a:gd name="connsiteX34824" fmla="*/ 965690 w 8079933"/>
              <a:gd name="connsiteY34824" fmla="*/ 428971 h 4687251"/>
              <a:gd name="connsiteX34825" fmla="*/ 970355 w 8079933"/>
              <a:gd name="connsiteY34825" fmla="*/ 418468 h 4687251"/>
              <a:gd name="connsiteX34826" fmla="*/ 976324 w 8079933"/>
              <a:gd name="connsiteY34826" fmla="*/ 413272 h 4687251"/>
              <a:gd name="connsiteX34827" fmla="*/ 982618 w 8079933"/>
              <a:gd name="connsiteY34827" fmla="*/ 413272 h 4687251"/>
              <a:gd name="connsiteX34828" fmla="*/ 985874 w 8079933"/>
              <a:gd name="connsiteY34828" fmla="*/ 410564 h 4687251"/>
              <a:gd name="connsiteX34829" fmla="*/ 980122 w 8079933"/>
              <a:gd name="connsiteY34829" fmla="*/ 409155 h 4687251"/>
              <a:gd name="connsiteX34830" fmla="*/ 979147 w 8079933"/>
              <a:gd name="connsiteY34830" fmla="*/ 405042 h 4687251"/>
              <a:gd name="connsiteX34831" fmla="*/ 981533 w 8079933"/>
              <a:gd name="connsiteY34831" fmla="*/ 400063 h 4687251"/>
              <a:gd name="connsiteX34832" fmla="*/ 988043 w 8079933"/>
              <a:gd name="connsiteY34832" fmla="*/ 396813 h 4687251"/>
              <a:gd name="connsiteX34833" fmla="*/ 997051 w 8079933"/>
              <a:gd name="connsiteY34833" fmla="*/ 391944 h 4687251"/>
              <a:gd name="connsiteX34834" fmla="*/ 1002694 w 8079933"/>
              <a:gd name="connsiteY34834" fmla="*/ 390319 h 4687251"/>
              <a:gd name="connsiteX34835" fmla="*/ 1004972 w 8079933"/>
              <a:gd name="connsiteY34835" fmla="*/ 392267 h 4687251"/>
              <a:gd name="connsiteX34836" fmla="*/ 1000849 w 8079933"/>
              <a:gd name="connsiteY34836" fmla="*/ 393999 h 4687251"/>
              <a:gd name="connsiteX34837" fmla="*/ 999764 w 8079933"/>
              <a:gd name="connsiteY34837" fmla="*/ 396922 h 4687251"/>
              <a:gd name="connsiteX34838" fmla="*/ 1001066 w 8079933"/>
              <a:gd name="connsiteY34838" fmla="*/ 400063 h 4687251"/>
              <a:gd name="connsiteX34839" fmla="*/ 1003453 w 8079933"/>
              <a:gd name="connsiteY34839" fmla="*/ 399846 h 4687251"/>
              <a:gd name="connsiteX34840" fmla="*/ 1004755 w 8079933"/>
              <a:gd name="connsiteY34840" fmla="*/ 396163 h 4687251"/>
              <a:gd name="connsiteX34841" fmla="*/ 1008770 w 8079933"/>
              <a:gd name="connsiteY34841" fmla="*/ 394216 h 4687251"/>
              <a:gd name="connsiteX34842" fmla="*/ 1013545 w 8079933"/>
              <a:gd name="connsiteY34842" fmla="*/ 398329 h 4687251"/>
              <a:gd name="connsiteX34843" fmla="*/ 1017018 w 8079933"/>
              <a:gd name="connsiteY34843" fmla="*/ 398872 h 4687251"/>
              <a:gd name="connsiteX34844" fmla="*/ 1017560 w 8079933"/>
              <a:gd name="connsiteY34844" fmla="*/ 396272 h 4687251"/>
              <a:gd name="connsiteX34845" fmla="*/ 1020164 w 8079933"/>
              <a:gd name="connsiteY34845" fmla="*/ 398222 h 4687251"/>
              <a:gd name="connsiteX34846" fmla="*/ 1026350 w 8079933"/>
              <a:gd name="connsiteY34846" fmla="*/ 402120 h 4687251"/>
              <a:gd name="connsiteX34847" fmla="*/ 1037527 w 8079933"/>
              <a:gd name="connsiteY34847" fmla="*/ 402230 h 4687251"/>
              <a:gd name="connsiteX34848" fmla="*/ 1043604 w 8079933"/>
              <a:gd name="connsiteY34848" fmla="*/ 399955 h 4687251"/>
              <a:gd name="connsiteX34849" fmla="*/ 1053805 w 8079933"/>
              <a:gd name="connsiteY34849" fmla="*/ 391727 h 4687251"/>
              <a:gd name="connsiteX34850" fmla="*/ 1058797 w 8079933"/>
              <a:gd name="connsiteY34850" fmla="*/ 388696 h 4687251"/>
              <a:gd name="connsiteX34851" fmla="*/ 1064982 w 8079933"/>
              <a:gd name="connsiteY34851" fmla="*/ 388152 h 4687251"/>
              <a:gd name="connsiteX34852" fmla="*/ 1067152 w 8079933"/>
              <a:gd name="connsiteY34852" fmla="*/ 386203 h 4687251"/>
              <a:gd name="connsiteX34853" fmla="*/ 6871382 w 8079933"/>
              <a:gd name="connsiteY34853" fmla="*/ 378407 h 4687251"/>
              <a:gd name="connsiteX34854" fmla="*/ 6874963 w 8079933"/>
              <a:gd name="connsiteY34854" fmla="*/ 379490 h 4687251"/>
              <a:gd name="connsiteX34855" fmla="*/ 6875940 w 8079933"/>
              <a:gd name="connsiteY34855" fmla="*/ 383605 h 4687251"/>
              <a:gd name="connsiteX34856" fmla="*/ 6874312 w 8079933"/>
              <a:gd name="connsiteY34856" fmla="*/ 385228 h 4687251"/>
              <a:gd name="connsiteX34857" fmla="*/ 6872250 w 8079933"/>
              <a:gd name="connsiteY34857" fmla="*/ 385337 h 4687251"/>
              <a:gd name="connsiteX34858" fmla="*/ 6869320 w 8079933"/>
              <a:gd name="connsiteY34858" fmla="*/ 381656 h 4687251"/>
              <a:gd name="connsiteX34859" fmla="*/ 6908820 w 8079933"/>
              <a:gd name="connsiteY34859" fmla="*/ 377215 h 4687251"/>
              <a:gd name="connsiteX34860" fmla="*/ 6911317 w 8079933"/>
              <a:gd name="connsiteY34860" fmla="*/ 379273 h 4687251"/>
              <a:gd name="connsiteX34861" fmla="*/ 6910231 w 8079933"/>
              <a:gd name="connsiteY34861" fmla="*/ 382087 h 4687251"/>
              <a:gd name="connsiteX34862" fmla="*/ 6908495 w 8079933"/>
              <a:gd name="connsiteY34862" fmla="*/ 382629 h 4687251"/>
              <a:gd name="connsiteX34863" fmla="*/ 6907084 w 8079933"/>
              <a:gd name="connsiteY34863" fmla="*/ 379273 h 4687251"/>
              <a:gd name="connsiteX34864" fmla="*/ 2272771 w 8079933"/>
              <a:gd name="connsiteY34864" fmla="*/ 376674 h 4687251"/>
              <a:gd name="connsiteX34865" fmla="*/ 2275918 w 8079933"/>
              <a:gd name="connsiteY34865" fmla="*/ 376674 h 4687251"/>
              <a:gd name="connsiteX34866" fmla="*/ 2277112 w 8079933"/>
              <a:gd name="connsiteY34866" fmla="*/ 380031 h 4687251"/>
              <a:gd name="connsiteX34867" fmla="*/ 2280693 w 8079933"/>
              <a:gd name="connsiteY34867" fmla="*/ 381872 h 4687251"/>
              <a:gd name="connsiteX34868" fmla="*/ 2283840 w 8079933"/>
              <a:gd name="connsiteY34868" fmla="*/ 380788 h 4687251"/>
              <a:gd name="connsiteX34869" fmla="*/ 2286119 w 8079933"/>
              <a:gd name="connsiteY34869" fmla="*/ 383279 h 4687251"/>
              <a:gd name="connsiteX34870" fmla="*/ 2284708 w 8079933"/>
              <a:gd name="connsiteY34870" fmla="*/ 392807 h 4687251"/>
              <a:gd name="connsiteX34871" fmla="*/ 2281669 w 8079933"/>
              <a:gd name="connsiteY34871" fmla="*/ 396380 h 4687251"/>
              <a:gd name="connsiteX34872" fmla="*/ 2281669 w 8079933"/>
              <a:gd name="connsiteY34872" fmla="*/ 399736 h 4687251"/>
              <a:gd name="connsiteX34873" fmla="*/ 2284165 w 8079933"/>
              <a:gd name="connsiteY34873" fmla="*/ 399736 h 4687251"/>
              <a:gd name="connsiteX34874" fmla="*/ 2286010 w 8079933"/>
              <a:gd name="connsiteY34874" fmla="*/ 397245 h 4687251"/>
              <a:gd name="connsiteX34875" fmla="*/ 2288289 w 8079933"/>
              <a:gd name="connsiteY34875" fmla="*/ 397245 h 4687251"/>
              <a:gd name="connsiteX34876" fmla="*/ 2290677 w 8079933"/>
              <a:gd name="connsiteY34876" fmla="*/ 394972 h 4687251"/>
              <a:gd name="connsiteX34877" fmla="*/ 2290677 w 8079933"/>
              <a:gd name="connsiteY34877" fmla="*/ 387935 h 4687251"/>
              <a:gd name="connsiteX34878" fmla="*/ 2294040 w 8079933"/>
              <a:gd name="connsiteY34878" fmla="*/ 385011 h 4687251"/>
              <a:gd name="connsiteX34879" fmla="*/ 2297621 w 8079933"/>
              <a:gd name="connsiteY34879" fmla="*/ 387718 h 4687251"/>
              <a:gd name="connsiteX34880" fmla="*/ 2301202 w 8079933"/>
              <a:gd name="connsiteY34880" fmla="*/ 386635 h 4687251"/>
              <a:gd name="connsiteX34881" fmla="*/ 2301202 w 8079933"/>
              <a:gd name="connsiteY34881" fmla="*/ 382412 h 4687251"/>
              <a:gd name="connsiteX34882" fmla="*/ 2300226 w 8079933"/>
              <a:gd name="connsiteY34882" fmla="*/ 380681 h 4687251"/>
              <a:gd name="connsiteX34883" fmla="*/ 2303590 w 8079933"/>
              <a:gd name="connsiteY34883" fmla="*/ 380681 h 4687251"/>
              <a:gd name="connsiteX34884" fmla="*/ 2305109 w 8079933"/>
              <a:gd name="connsiteY34884" fmla="*/ 384145 h 4687251"/>
              <a:gd name="connsiteX34885" fmla="*/ 2304349 w 8079933"/>
              <a:gd name="connsiteY34885" fmla="*/ 387284 h 4687251"/>
              <a:gd name="connsiteX34886" fmla="*/ 2305326 w 8079933"/>
              <a:gd name="connsiteY34886" fmla="*/ 389234 h 4687251"/>
              <a:gd name="connsiteX34887" fmla="*/ 2304241 w 8079933"/>
              <a:gd name="connsiteY34887" fmla="*/ 391399 h 4687251"/>
              <a:gd name="connsiteX34888" fmla="*/ 2301745 w 8079933"/>
              <a:gd name="connsiteY34888" fmla="*/ 391399 h 4687251"/>
              <a:gd name="connsiteX34889" fmla="*/ 2304024 w 8079933"/>
              <a:gd name="connsiteY34889" fmla="*/ 395513 h 4687251"/>
              <a:gd name="connsiteX34890" fmla="*/ 2308473 w 8079933"/>
              <a:gd name="connsiteY34890" fmla="*/ 397029 h 4687251"/>
              <a:gd name="connsiteX34891" fmla="*/ 2310318 w 8079933"/>
              <a:gd name="connsiteY34891" fmla="*/ 401252 h 4687251"/>
              <a:gd name="connsiteX34892" fmla="*/ 2309124 w 8079933"/>
              <a:gd name="connsiteY34892" fmla="*/ 405799 h 4687251"/>
              <a:gd name="connsiteX34893" fmla="*/ 2304675 w 8079933"/>
              <a:gd name="connsiteY34893" fmla="*/ 408831 h 4687251"/>
              <a:gd name="connsiteX34894" fmla="*/ 2300660 w 8079933"/>
              <a:gd name="connsiteY34894" fmla="*/ 416085 h 4687251"/>
              <a:gd name="connsiteX34895" fmla="*/ 2301311 w 8079933"/>
              <a:gd name="connsiteY34895" fmla="*/ 421282 h 4687251"/>
              <a:gd name="connsiteX34896" fmla="*/ 2300009 w 8079933"/>
              <a:gd name="connsiteY34896" fmla="*/ 424422 h 4687251"/>
              <a:gd name="connsiteX34897" fmla="*/ 2295776 w 8079933"/>
              <a:gd name="connsiteY34897" fmla="*/ 426804 h 4687251"/>
              <a:gd name="connsiteX34898" fmla="*/ 2290568 w 8079933"/>
              <a:gd name="connsiteY34898" fmla="*/ 432650 h 4687251"/>
              <a:gd name="connsiteX34899" fmla="*/ 2289157 w 8079933"/>
              <a:gd name="connsiteY34899" fmla="*/ 435357 h 4687251"/>
              <a:gd name="connsiteX34900" fmla="*/ 2284600 w 8079933"/>
              <a:gd name="connsiteY34900" fmla="*/ 440338 h 4687251"/>
              <a:gd name="connsiteX34901" fmla="*/ 2284600 w 8079933"/>
              <a:gd name="connsiteY34901" fmla="*/ 442178 h 4687251"/>
              <a:gd name="connsiteX34902" fmla="*/ 2283189 w 8079933"/>
              <a:gd name="connsiteY34902" fmla="*/ 446076 h 4687251"/>
              <a:gd name="connsiteX34903" fmla="*/ 2279934 w 8079933"/>
              <a:gd name="connsiteY34903" fmla="*/ 446076 h 4687251"/>
              <a:gd name="connsiteX34904" fmla="*/ 2277329 w 8079933"/>
              <a:gd name="connsiteY34904" fmla="*/ 445426 h 4687251"/>
              <a:gd name="connsiteX34905" fmla="*/ 2274941 w 8079933"/>
              <a:gd name="connsiteY34905" fmla="*/ 447268 h 4687251"/>
              <a:gd name="connsiteX34906" fmla="*/ 2274941 w 8079933"/>
              <a:gd name="connsiteY34906" fmla="*/ 449324 h 4687251"/>
              <a:gd name="connsiteX34907" fmla="*/ 2280584 w 8079933"/>
              <a:gd name="connsiteY34907" fmla="*/ 452356 h 4687251"/>
              <a:gd name="connsiteX34908" fmla="*/ 2280584 w 8079933"/>
              <a:gd name="connsiteY34908" fmla="*/ 454738 h 4687251"/>
              <a:gd name="connsiteX34909" fmla="*/ 2274941 w 8079933"/>
              <a:gd name="connsiteY34909" fmla="*/ 462858 h 4687251"/>
              <a:gd name="connsiteX34910" fmla="*/ 2273205 w 8079933"/>
              <a:gd name="connsiteY34910" fmla="*/ 465457 h 4687251"/>
              <a:gd name="connsiteX34911" fmla="*/ 2273205 w 8079933"/>
              <a:gd name="connsiteY34911" fmla="*/ 462425 h 4687251"/>
              <a:gd name="connsiteX34912" fmla="*/ 2273205 w 8079933"/>
              <a:gd name="connsiteY34912" fmla="*/ 459611 h 4687251"/>
              <a:gd name="connsiteX34913" fmla="*/ 2270275 w 8079933"/>
              <a:gd name="connsiteY34913" fmla="*/ 458419 h 4687251"/>
              <a:gd name="connsiteX34914" fmla="*/ 2267888 w 8079933"/>
              <a:gd name="connsiteY34914" fmla="*/ 459718 h 4687251"/>
              <a:gd name="connsiteX34915" fmla="*/ 2267888 w 8079933"/>
              <a:gd name="connsiteY34915" fmla="*/ 462858 h 4687251"/>
              <a:gd name="connsiteX34916" fmla="*/ 2265067 w 8079933"/>
              <a:gd name="connsiteY34916" fmla="*/ 464590 h 4687251"/>
              <a:gd name="connsiteX34917" fmla="*/ 2262679 w 8079933"/>
              <a:gd name="connsiteY34917" fmla="*/ 467730 h 4687251"/>
              <a:gd name="connsiteX34918" fmla="*/ 2258013 w 8079933"/>
              <a:gd name="connsiteY34918" fmla="*/ 468596 h 4687251"/>
              <a:gd name="connsiteX34919" fmla="*/ 2256386 w 8079933"/>
              <a:gd name="connsiteY34919" fmla="*/ 472819 h 4687251"/>
              <a:gd name="connsiteX34920" fmla="*/ 2259316 w 8079933"/>
              <a:gd name="connsiteY34920" fmla="*/ 474443 h 4687251"/>
              <a:gd name="connsiteX34921" fmla="*/ 2263439 w 8079933"/>
              <a:gd name="connsiteY34921" fmla="*/ 473794 h 4687251"/>
              <a:gd name="connsiteX34922" fmla="*/ 2262788 w 8079933"/>
              <a:gd name="connsiteY34922" fmla="*/ 476392 h 4687251"/>
              <a:gd name="connsiteX34923" fmla="*/ 2260726 w 8079933"/>
              <a:gd name="connsiteY34923" fmla="*/ 479207 h 4687251"/>
              <a:gd name="connsiteX34924" fmla="*/ 2260726 w 8079933"/>
              <a:gd name="connsiteY34924" fmla="*/ 481264 h 4687251"/>
              <a:gd name="connsiteX34925" fmla="*/ 2260726 w 8079933"/>
              <a:gd name="connsiteY34925" fmla="*/ 485595 h 4687251"/>
              <a:gd name="connsiteX34926" fmla="*/ 2259207 w 8079933"/>
              <a:gd name="connsiteY34926" fmla="*/ 487544 h 4687251"/>
              <a:gd name="connsiteX34927" fmla="*/ 2256494 w 8079933"/>
              <a:gd name="connsiteY34927" fmla="*/ 482997 h 4687251"/>
              <a:gd name="connsiteX34928" fmla="*/ 2256494 w 8079933"/>
              <a:gd name="connsiteY34928" fmla="*/ 478449 h 4687251"/>
              <a:gd name="connsiteX34929" fmla="*/ 2255409 w 8079933"/>
              <a:gd name="connsiteY34929" fmla="*/ 475850 h 4687251"/>
              <a:gd name="connsiteX34930" fmla="*/ 2253781 w 8079933"/>
              <a:gd name="connsiteY34930" fmla="*/ 478125 h 4687251"/>
              <a:gd name="connsiteX34931" fmla="*/ 2253130 w 8079933"/>
              <a:gd name="connsiteY34931" fmla="*/ 481914 h 4687251"/>
              <a:gd name="connsiteX34932" fmla="*/ 2254215 w 8079933"/>
              <a:gd name="connsiteY34932" fmla="*/ 484946 h 4687251"/>
              <a:gd name="connsiteX34933" fmla="*/ 2250851 w 8079933"/>
              <a:gd name="connsiteY34933" fmla="*/ 489493 h 4687251"/>
              <a:gd name="connsiteX34934" fmla="*/ 2238372 w 8079933"/>
              <a:gd name="connsiteY34934" fmla="*/ 488843 h 4687251"/>
              <a:gd name="connsiteX34935" fmla="*/ 2237721 w 8079933"/>
              <a:gd name="connsiteY34935" fmla="*/ 484946 h 4687251"/>
              <a:gd name="connsiteX34936" fmla="*/ 2236201 w 8079933"/>
              <a:gd name="connsiteY34936" fmla="*/ 482780 h 4687251"/>
              <a:gd name="connsiteX34937" fmla="*/ 2232946 w 8079933"/>
              <a:gd name="connsiteY34937" fmla="*/ 486353 h 4687251"/>
              <a:gd name="connsiteX34938" fmla="*/ 2229365 w 8079933"/>
              <a:gd name="connsiteY34938" fmla="*/ 486353 h 4687251"/>
              <a:gd name="connsiteX34939" fmla="*/ 2228714 w 8079933"/>
              <a:gd name="connsiteY34939" fmla="*/ 483538 h 4687251"/>
              <a:gd name="connsiteX34940" fmla="*/ 2232186 w 8079933"/>
              <a:gd name="connsiteY34940" fmla="*/ 479207 h 4687251"/>
              <a:gd name="connsiteX34941" fmla="*/ 2226327 w 8079933"/>
              <a:gd name="connsiteY34941" fmla="*/ 481698 h 4687251"/>
              <a:gd name="connsiteX34942" fmla="*/ 2224590 w 8079933"/>
              <a:gd name="connsiteY34942" fmla="*/ 484946 h 4687251"/>
              <a:gd name="connsiteX34943" fmla="*/ 2222745 w 8079933"/>
              <a:gd name="connsiteY34943" fmla="*/ 484946 h 4687251"/>
              <a:gd name="connsiteX34944" fmla="*/ 2220358 w 8079933"/>
              <a:gd name="connsiteY34944" fmla="*/ 482563 h 4687251"/>
              <a:gd name="connsiteX34945" fmla="*/ 2216018 w 8079933"/>
              <a:gd name="connsiteY34945" fmla="*/ 482563 h 4687251"/>
              <a:gd name="connsiteX34946" fmla="*/ 2213304 w 8079933"/>
              <a:gd name="connsiteY34946" fmla="*/ 479965 h 4687251"/>
              <a:gd name="connsiteX34947" fmla="*/ 2213304 w 8079933"/>
              <a:gd name="connsiteY34947" fmla="*/ 475310 h 4687251"/>
              <a:gd name="connsiteX34948" fmla="*/ 2214716 w 8079933"/>
              <a:gd name="connsiteY34948" fmla="*/ 473469 h 4687251"/>
              <a:gd name="connsiteX34949" fmla="*/ 2214716 w 8079933"/>
              <a:gd name="connsiteY34949" fmla="*/ 471086 h 4687251"/>
              <a:gd name="connsiteX34950" fmla="*/ 2216777 w 8079933"/>
              <a:gd name="connsiteY34950" fmla="*/ 466431 h 4687251"/>
              <a:gd name="connsiteX34951" fmla="*/ 2218514 w 8079933"/>
              <a:gd name="connsiteY34951" fmla="*/ 466431 h 4687251"/>
              <a:gd name="connsiteX34952" fmla="*/ 2220792 w 8079933"/>
              <a:gd name="connsiteY34952" fmla="*/ 469463 h 4687251"/>
              <a:gd name="connsiteX34953" fmla="*/ 2222854 w 8079933"/>
              <a:gd name="connsiteY34953" fmla="*/ 469463 h 4687251"/>
              <a:gd name="connsiteX34954" fmla="*/ 2220250 w 8079933"/>
              <a:gd name="connsiteY34954" fmla="*/ 465998 h 4687251"/>
              <a:gd name="connsiteX34955" fmla="*/ 2221444 w 8079933"/>
              <a:gd name="connsiteY34955" fmla="*/ 463292 h 4687251"/>
              <a:gd name="connsiteX34956" fmla="*/ 2217971 w 8079933"/>
              <a:gd name="connsiteY34956" fmla="*/ 462425 h 4687251"/>
              <a:gd name="connsiteX34957" fmla="*/ 2215366 w 8079933"/>
              <a:gd name="connsiteY34957" fmla="*/ 460043 h 4687251"/>
              <a:gd name="connsiteX34958" fmla="*/ 2215366 w 8079933"/>
              <a:gd name="connsiteY34958" fmla="*/ 457661 h 4687251"/>
              <a:gd name="connsiteX34959" fmla="*/ 2214716 w 8079933"/>
              <a:gd name="connsiteY34959" fmla="*/ 455929 h 4687251"/>
              <a:gd name="connsiteX34960" fmla="*/ 2216451 w 8079933"/>
              <a:gd name="connsiteY34960" fmla="*/ 455929 h 4687251"/>
              <a:gd name="connsiteX34961" fmla="*/ 2218839 w 8079933"/>
              <a:gd name="connsiteY34961" fmla="*/ 458310 h 4687251"/>
              <a:gd name="connsiteX34962" fmla="*/ 2220250 w 8079933"/>
              <a:gd name="connsiteY34962" fmla="*/ 456578 h 4687251"/>
              <a:gd name="connsiteX34963" fmla="*/ 2219599 w 8079933"/>
              <a:gd name="connsiteY34963" fmla="*/ 454304 h 4687251"/>
              <a:gd name="connsiteX34964" fmla="*/ 2222312 w 8079933"/>
              <a:gd name="connsiteY34964" fmla="*/ 452572 h 4687251"/>
              <a:gd name="connsiteX34965" fmla="*/ 2225892 w 8079933"/>
              <a:gd name="connsiteY34965" fmla="*/ 453980 h 4687251"/>
              <a:gd name="connsiteX34966" fmla="*/ 2233271 w 8079933"/>
              <a:gd name="connsiteY34966" fmla="*/ 455712 h 4687251"/>
              <a:gd name="connsiteX34967" fmla="*/ 2235551 w 8079933"/>
              <a:gd name="connsiteY34967" fmla="*/ 454304 h 4687251"/>
              <a:gd name="connsiteX34968" fmla="*/ 2232946 w 8079933"/>
              <a:gd name="connsiteY34968" fmla="*/ 452031 h 4687251"/>
              <a:gd name="connsiteX34969" fmla="*/ 2231535 w 8079933"/>
              <a:gd name="connsiteY34969" fmla="*/ 452031 h 4687251"/>
              <a:gd name="connsiteX34970" fmla="*/ 2238806 w 8079933"/>
              <a:gd name="connsiteY34970" fmla="*/ 450949 h 4687251"/>
              <a:gd name="connsiteX34971" fmla="*/ 2243472 w 8079933"/>
              <a:gd name="connsiteY34971" fmla="*/ 448350 h 4687251"/>
              <a:gd name="connsiteX34972" fmla="*/ 2249332 w 8079933"/>
              <a:gd name="connsiteY34972" fmla="*/ 448350 h 4687251"/>
              <a:gd name="connsiteX34973" fmla="*/ 2254541 w 8079933"/>
              <a:gd name="connsiteY34973" fmla="*/ 449000 h 4687251"/>
              <a:gd name="connsiteX34974" fmla="*/ 2258013 w 8079933"/>
              <a:gd name="connsiteY34974" fmla="*/ 446617 h 4687251"/>
              <a:gd name="connsiteX34975" fmla="*/ 2255409 w 8079933"/>
              <a:gd name="connsiteY34975" fmla="*/ 444560 h 4687251"/>
              <a:gd name="connsiteX34976" fmla="*/ 2236093 w 8079933"/>
              <a:gd name="connsiteY34976" fmla="*/ 441096 h 4687251"/>
              <a:gd name="connsiteX34977" fmla="*/ 2231318 w 8079933"/>
              <a:gd name="connsiteY34977" fmla="*/ 441096 h 4687251"/>
              <a:gd name="connsiteX34978" fmla="*/ 2227737 w 8079933"/>
              <a:gd name="connsiteY34978" fmla="*/ 439364 h 4687251"/>
              <a:gd name="connsiteX34979" fmla="*/ 2221335 w 8079933"/>
              <a:gd name="connsiteY34979" fmla="*/ 440229 h 4687251"/>
              <a:gd name="connsiteX34980" fmla="*/ 2216343 w 8079933"/>
              <a:gd name="connsiteY34980" fmla="*/ 437631 h 4687251"/>
              <a:gd name="connsiteX34981" fmla="*/ 2213413 w 8079933"/>
              <a:gd name="connsiteY34981" fmla="*/ 438281 h 4687251"/>
              <a:gd name="connsiteX34982" fmla="*/ 2210266 w 8079933"/>
              <a:gd name="connsiteY34982" fmla="*/ 436873 h 4687251"/>
              <a:gd name="connsiteX34983" fmla="*/ 2205925 w 8079933"/>
              <a:gd name="connsiteY34983" fmla="*/ 436873 h 4687251"/>
              <a:gd name="connsiteX34984" fmla="*/ 2203864 w 8079933"/>
              <a:gd name="connsiteY34984" fmla="*/ 438389 h 4687251"/>
              <a:gd name="connsiteX34985" fmla="*/ 2201477 w 8079933"/>
              <a:gd name="connsiteY34985" fmla="*/ 437306 h 4687251"/>
              <a:gd name="connsiteX34986" fmla="*/ 2198764 w 8079933"/>
              <a:gd name="connsiteY34986" fmla="*/ 437306 h 4687251"/>
              <a:gd name="connsiteX34987" fmla="*/ 2196919 w 8079933"/>
              <a:gd name="connsiteY34987" fmla="*/ 435466 h 4687251"/>
              <a:gd name="connsiteX34988" fmla="*/ 2196919 w 8079933"/>
              <a:gd name="connsiteY34988" fmla="*/ 430160 h 4687251"/>
              <a:gd name="connsiteX34989" fmla="*/ 2200500 w 8079933"/>
              <a:gd name="connsiteY34989" fmla="*/ 430810 h 4687251"/>
              <a:gd name="connsiteX34990" fmla="*/ 2203212 w 8079933"/>
              <a:gd name="connsiteY34990" fmla="*/ 428211 h 4687251"/>
              <a:gd name="connsiteX34991" fmla="*/ 2205925 w 8079933"/>
              <a:gd name="connsiteY34991" fmla="*/ 429944 h 4687251"/>
              <a:gd name="connsiteX34992" fmla="*/ 2208638 w 8079933"/>
              <a:gd name="connsiteY34992" fmla="*/ 428861 h 4687251"/>
              <a:gd name="connsiteX34993" fmla="*/ 2206793 w 8079933"/>
              <a:gd name="connsiteY34993" fmla="*/ 426263 h 4687251"/>
              <a:gd name="connsiteX34994" fmla="*/ 2208205 w 8079933"/>
              <a:gd name="connsiteY34994" fmla="*/ 423122 h 4687251"/>
              <a:gd name="connsiteX34995" fmla="*/ 2210809 w 8079933"/>
              <a:gd name="connsiteY34995" fmla="*/ 421066 h 4687251"/>
              <a:gd name="connsiteX34996" fmla="*/ 2215475 w 8079933"/>
              <a:gd name="connsiteY34996" fmla="*/ 421066 h 4687251"/>
              <a:gd name="connsiteX34997" fmla="*/ 2217754 w 8079933"/>
              <a:gd name="connsiteY34997" fmla="*/ 419982 h 4687251"/>
              <a:gd name="connsiteX34998" fmla="*/ 2217754 w 8079933"/>
              <a:gd name="connsiteY34998" fmla="*/ 424097 h 4687251"/>
              <a:gd name="connsiteX34999" fmla="*/ 2220141 w 8079933"/>
              <a:gd name="connsiteY34999" fmla="*/ 425505 h 4687251"/>
              <a:gd name="connsiteX35000" fmla="*/ 2220141 w 8079933"/>
              <a:gd name="connsiteY35000" fmla="*/ 432001 h 4687251"/>
              <a:gd name="connsiteX35001" fmla="*/ 2221877 w 8079933"/>
              <a:gd name="connsiteY35001" fmla="*/ 432976 h 4687251"/>
              <a:gd name="connsiteX35002" fmla="*/ 2223939 w 8079933"/>
              <a:gd name="connsiteY35002" fmla="*/ 430377 h 4687251"/>
              <a:gd name="connsiteX35003" fmla="*/ 2223288 w 8079933"/>
              <a:gd name="connsiteY35003" fmla="*/ 425721 h 4687251"/>
              <a:gd name="connsiteX35004" fmla="*/ 2220901 w 8079933"/>
              <a:gd name="connsiteY35004" fmla="*/ 422473 h 4687251"/>
              <a:gd name="connsiteX35005" fmla="*/ 2222420 w 8079933"/>
              <a:gd name="connsiteY35005" fmla="*/ 418575 h 4687251"/>
              <a:gd name="connsiteX35006" fmla="*/ 2227412 w 8079933"/>
              <a:gd name="connsiteY35006" fmla="*/ 416843 h 4687251"/>
              <a:gd name="connsiteX35007" fmla="*/ 2227412 w 8079933"/>
              <a:gd name="connsiteY35007" fmla="*/ 414244 h 4687251"/>
              <a:gd name="connsiteX35008" fmla="*/ 2223397 w 8079933"/>
              <a:gd name="connsiteY35008" fmla="*/ 412728 h 4687251"/>
              <a:gd name="connsiteX35009" fmla="*/ 2224807 w 8079933"/>
              <a:gd name="connsiteY35009" fmla="*/ 406557 h 4687251"/>
              <a:gd name="connsiteX35010" fmla="*/ 2229473 w 8079933"/>
              <a:gd name="connsiteY35010" fmla="*/ 404825 h 4687251"/>
              <a:gd name="connsiteX35011" fmla="*/ 2230450 w 8079933"/>
              <a:gd name="connsiteY35011" fmla="*/ 401901 h 4687251"/>
              <a:gd name="connsiteX35012" fmla="*/ 2235225 w 8079933"/>
              <a:gd name="connsiteY35012" fmla="*/ 400386 h 4687251"/>
              <a:gd name="connsiteX35013" fmla="*/ 2232621 w 8079933"/>
              <a:gd name="connsiteY35013" fmla="*/ 397138 h 4687251"/>
              <a:gd name="connsiteX35014" fmla="*/ 2230233 w 8079933"/>
              <a:gd name="connsiteY35014" fmla="*/ 397138 h 4687251"/>
              <a:gd name="connsiteX35015" fmla="*/ 2227846 w 8079933"/>
              <a:gd name="connsiteY35015" fmla="*/ 396272 h 4687251"/>
              <a:gd name="connsiteX35016" fmla="*/ 2228497 w 8079933"/>
              <a:gd name="connsiteY35016" fmla="*/ 393564 h 4687251"/>
              <a:gd name="connsiteX35017" fmla="*/ 2232838 w 8079933"/>
              <a:gd name="connsiteY35017" fmla="*/ 389884 h 4687251"/>
              <a:gd name="connsiteX35018" fmla="*/ 2233923 w 8079933"/>
              <a:gd name="connsiteY35018" fmla="*/ 387935 h 4687251"/>
              <a:gd name="connsiteX35019" fmla="*/ 2239240 w 8079933"/>
              <a:gd name="connsiteY35019" fmla="*/ 387935 h 4687251"/>
              <a:gd name="connsiteX35020" fmla="*/ 2241302 w 8079933"/>
              <a:gd name="connsiteY35020" fmla="*/ 389559 h 4687251"/>
              <a:gd name="connsiteX35021" fmla="*/ 2241953 w 8079933"/>
              <a:gd name="connsiteY35021" fmla="*/ 393673 h 4687251"/>
              <a:gd name="connsiteX35022" fmla="*/ 2244232 w 8079933"/>
              <a:gd name="connsiteY35022" fmla="*/ 395946 h 4687251"/>
              <a:gd name="connsiteX35023" fmla="*/ 2244232 w 8079933"/>
              <a:gd name="connsiteY35023" fmla="*/ 399736 h 4687251"/>
              <a:gd name="connsiteX35024" fmla="*/ 2243038 w 8079933"/>
              <a:gd name="connsiteY35024" fmla="*/ 401468 h 4687251"/>
              <a:gd name="connsiteX35025" fmla="*/ 2244232 w 8079933"/>
              <a:gd name="connsiteY35025" fmla="*/ 404933 h 4687251"/>
              <a:gd name="connsiteX35026" fmla="*/ 2246945 w 8079933"/>
              <a:gd name="connsiteY35026" fmla="*/ 408074 h 4687251"/>
              <a:gd name="connsiteX35027" fmla="*/ 2248355 w 8079933"/>
              <a:gd name="connsiteY35027" fmla="*/ 421066 h 4687251"/>
              <a:gd name="connsiteX35028" fmla="*/ 2247270 w 8079933"/>
              <a:gd name="connsiteY35028" fmla="*/ 425288 h 4687251"/>
              <a:gd name="connsiteX35029" fmla="*/ 2247270 w 8079933"/>
              <a:gd name="connsiteY35029" fmla="*/ 427670 h 4687251"/>
              <a:gd name="connsiteX35030" fmla="*/ 2251393 w 8079933"/>
              <a:gd name="connsiteY35030" fmla="*/ 430269 h 4687251"/>
              <a:gd name="connsiteX35031" fmla="*/ 2256168 w 8079933"/>
              <a:gd name="connsiteY35031" fmla="*/ 426696 h 4687251"/>
              <a:gd name="connsiteX35032" fmla="*/ 2253890 w 8079933"/>
              <a:gd name="connsiteY35032" fmla="*/ 423447 h 4687251"/>
              <a:gd name="connsiteX35033" fmla="*/ 2255192 w 8079933"/>
              <a:gd name="connsiteY35033" fmla="*/ 416410 h 4687251"/>
              <a:gd name="connsiteX35034" fmla="*/ 2259098 w 8079933"/>
              <a:gd name="connsiteY35034" fmla="*/ 415543 h 4687251"/>
              <a:gd name="connsiteX35035" fmla="*/ 2259098 w 8079933"/>
              <a:gd name="connsiteY35035" fmla="*/ 411754 h 4687251"/>
              <a:gd name="connsiteX35036" fmla="*/ 2251720 w 8079933"/>
              <a:gd name="connsiteY35036" fmla="*/ 406666 h 4687251"/>
              <a:gd name="connsiteX35037" fmla="*/ 2252696 w 8079933"/>
              <a:gd name="connsiteY35037" fmla="*/ 404500 h 4687251"/>
              <a:gd name="connsiteX35038" fmla="*/ 2256386 w 8079933"/>
              <a:gd name="connsiteY35038" fmla="*/ 404500 h 4687251"/>
              <a:gd name="connsiteX35039" fmla="*/ 2260617 w 8079933"/>
              <a:gd name="connsiteY35039" fmla="*/ 406991 h 4687251"/>
              <a:gd name="connsiteX35040" fmla="*/ 2259749 w 8079933"/>
              <a:gd name="connsiteY35040" fmla="*/ 403525 h 4687251"/>
              <a:gd name="connsiteX35041" fmla="*/ 2255409 w 8079933"/>
              <a:gd name="connsiteY35041" fmla="*/ 398762 h 4687251"/>
              <a:gd name="connsiteX35042" fmla="*/ 2254106 w 8079933"/>
              <a:gd name="connsiteY35042" fmla="*/ 392807 h 4687251"/>
              <a:gd name="connsiteX35043" fmla="*/ 2255192 w 8079933"/>
              <a:gd name="connsiteY35043" fmla="*/ 390209 h 4687251"/>
              <a:gd name="connsiteX35044" fmla="*/ 2255192 w 8079933"/>
              <a:gd name="connsiteY35044" fmla="*/ 383929 h 4687251"/>
              <a:gd name="connsiteX35045" fmla="*/ 2257904 w 8079933"/>
              <a:gd name="connsiteY35045" fmla="*/ 381980 h 4687251"/>
              <a:gd name="connsiteX35046" fmla="*/ 2261920 w 8079933"/>
              <a:gd name="connsiteY35046" fmla="*/ 381980 h 4687251"/>
              <a:gd name="connsiteX35047" fmla="*/ 2263656 w 8079933"/>
              <a:gd name="connsiteY35047" fmla="*/ 379598 h 4687251"/>
              <a:gd name="connsiteX35048" fmla="*/ 2267780 w 8079933"/>
              <a:gd name="connsiteY35048" fmla="*/ 379598 h 4687251"/>
              <a:gd name="connsiteX35049" fmla="*/ 2272771 w 8079933"/>
              <a:gd name="connsiteY35049" fmla="*/ 376674 h 4687251"/>
              <a:gd name="connsiteX35050" fmla="*/ 3644531 w 8079933"/>
              <a:gd name="connsiteY35050" fmla="*/ 376456 h 4687251"/>
              <a:gd name="connsiteX35051" fmla="*/ 3647895 w 8079933"/>
              <a:gd name="connsiteY35051" fmla="*/ 379813 h 4687251"/>
              <a:gd name="connsiteX35052" fmla="*/ 3647678 w 8079933"/>
              <a:gd name="connsiteY35052" fmla="*/ 385118 h 4687251"/>
              <a:gd name="connsiteX35053" fmla="*/ 3644422 w 8079933"/>
              <a:gd name="connsiteY35053" fmla="*/ 388799 h 4687251"/>
              <a:gd name="connsiteX35054" fmla="*/ 3638671 w 8079933"/>
              <a:gd name="connsiteY35054" fmla="*/ 388366 h 4687251"/>
              <a:gd name="connsiteX35055" fmla="*/ 3637043 w 8079933"/>
              <a:gd name="connsiteY35055" fmla="*/ 390315 h 4687251"/>
              <a:gd name="connsiteX35056" fmla="*/ 3635198 w 8079933"/>
              <a:gd name="connsiteY35056" fmla="*/ 390423 h 4687251"/>
              <a:gd name="connsiteX35057" fmla="*/ 3634873 w 8079933"/>
              <a:gd name="connsiteY35057" fmla="*/ 386201 h 4687251"/>
              <a:gd name="connsiteX35058" fmla="*/ 3636718 w 8079933"/>
              <a:gd name="connsiteY35058" fmla="*/ 379705 h 4687251"/>
              <a:gd name="connsiteX35059" fmla="*/ 6889177 w 8079933"/>
              <a:gd name="connsiteY35059" fmla="*/ 374293 h 4687251"/>
              <a:gd name="connsiteX35060" fmla="*/ 6894929 w 8079933"/>
              <a:gd name="connsiteY35060" fmla="*/ 375916 h 4687251"/>
              <a:gd name="connsiteX35061" fmla="*/ 6893301 w 8079933"/>
              <a:gd name="connsiteY35061" fmla="*/ 378515 h 4687251"/>
              <a:gd name="connsiteX35062" fmla="*/ 6890371 w 8079933"/>
              <a:gd name="connsiteY35062" fmla="*/ 378948 h 4687251"/>
              <a:gd name="connsiteX35063" fmla="*/ 6887984 w 8079933"/>
              <a:gd name="connsiteY35063" fmla="*/ 376566 h 4687251"/>
              <a:gd name="connsiteX35064" fmla="*/ 4347719 w 8079933"/>
              <a:gd name="connsiteY35064" fmla="*/ 373751 h 4687251"/>
              <a:gd name="connsiteX35065" fmla="*/ 4350866 w 8079933"/>
              <a:gd name="connsiteY35065" fmla="*/ 375592 h 4687251"/>
              <a:gd name="connsiteX35066" fmla="*/ 4352385 w 8079933"/>
              <a:gd name="connsiteY35066" fmla="*/ 379382 h 4687251"/>
              <a:gd name="connsiteX35067" fmla="*/ 4350432 w 8079933"/>
              <a:gd name="connsiteY35067" fmla="*/ 381655 h 4687251"/>
              <a:gd name="connsiteX35068" fmla="*/ 4347611 w 8079933"/>
              <a:gd name="connsiteY35068" fmla="*/ 381546 h 4687251"/>
              <a:gd name="connsiteX35069" fmla="*/ 4345224 w 8079933"/>
              <a:gd name="connsiteY35069" fmla="*/ 377216 h 4687251"/>
              <a:gd name="connsiteX35070" fmla="*/ 4345874 w 8079933"/>
              <a:gd name="connsiteY35070" fmla="*/ 374835 h 4687251"/>
              <a:gd name="connsiteX35071" fmla="*/ 4207081 w 8079933"/>
              <a:gd name="connsiteY35071" fmla="*/ 371802 h 4687251"/>
              <a:gd name="connsiteX35072" fmla="*/ 4209577 w 8079933"/>
              <a:gd name="connsiteY35072" fmla="*/ 372777 h 4687251"/>
              <a:gd name="connsiteX35073" fmla="*/ 4211856 w 8079933"/>
              <a:gd name="connsiteY35073" fmla="*/ 376674 h 4687251"/>
              <a:gd name="connsiteX35074" fmla="*/ 4211530 w 8079933"/>
              <a:gd name="connsiteY35074" fmla="*/ 379165 h 4687251"/>
              <a:gd name="connsiteX35075" fmla="*/ 4209685 w 8079933"/>
              <a:gd name="connsiteY35075" fmla="*/ 381330 h 4687251"/>
              <a:gd name="connsiteX35076" fmla="*/ 4208167 w 8079933"/>
              <a:gd name="connsiteY35076" fmla="*/ 381655 h 4687251"/>
              <a:gd name="connsiteX35077" fmla="*/ 4204260 w 8079933"/>
              <a:gd name="connsiteY35077" fmla="*/ 379165 h 4687251"/>
              <a:gd name="connsiteX35078" fmla="*/ 4203500 w 8079933"/>
              <a:gd name="connsiteY35078" fmla="*/ 376891 h 4687251"/>
              <a:gd name="connsiteX35079" fmla="*/ 4204260 w 8079933"/>
              <a:gd name="connsiteY35079" fmla="*/ 373969 h 4687251"/>
              <a:gd name="connsiteX35080" fmla="*/ 2356005 w 8079933"/>
              <a:gd name="connsiteY35080" fmla="*/ 371584 h 4687251"/>
              <a:gd name="connsiteX35081" fmla="*/ 2361105 w 8079933"/>
              <a:gd name="connsiteY35081" fmla="*/ 374183 h 4687251"/>
              <a:gd name="connsiteX35082" fmla="*/ 2365771 w 8079933"/>
              <a:gd name="connsiteY35082" fmla="*/ 374183 h 4687251"/>
              <a:gd name="connsiteX35083" fmla="*/ 2369786 w 8079933"/>
              <a:gd name="connsiteY35083" fmla="*/ 378513 h 4687251"/>
              <a:gd name="connsiteX35084" fmla="*/ 2377491 w 8079933"/>
              <a:gd name="connsiteY35084" fmla="*/ 381004 h 4687251"/>
              <a:gd name="connsiteX35085" fmla="*/ 2378250 w 8079933"/>
              <a:gd name="connsiteY35085" fmla="*/ 383927 h 4687251"/>
              <a:gd name="connsiteX35086" fmla="*/ 2378359 w 8079933"/>
              <a:gd name="connsiteY35086" fmla="*/ 388258 h 4687251"/>
              <a:gd name="connsiteX35087" fmla="*/ 2380746 w 8079933"/>
              <a:gd name="connsiteY35087" fmla="*/ 390640 h 4687251"/>
              <a:gd name="connsiteX35088" fmla="*/ 2385955 w 8079933"/>
              <a:gd name="connsiteY35088" fmla="*/ 390965 h 4687251"/>
              <a:gd name="connsiteX35089" fmla="*/ 2388017 w 8079933"/>
              <a:gd name="connsiteY35089" fmla="*/ 388583 h 4687251"/>
              <a:gd name="connsiteX35090" fmla="*/ 2391489 w 8079933"/>
              <a:gd name="connsiteY35090" fmla="*/ 392697 h 4687251"/>
              <a:gd name="connsiteX35091" fmla="*/ 2390079 w 8079933"/>
              <a:gd name="connsiteY35091" fmla="*/ 394105 h 4687251"/>
              <a:gd name="connsiteX35092" fmla="*/ 2389862 w 8079933"/>
              <a:gd name="connsiteY35092" fmla="*/ 404607 h 4687251"/>
              <a:gd name="connsiteX35093" fmla="*/ 2392140 w 8079933"/>
              <a:gd name="connsiteY35093" fmla="*/ 409262 h 4687251"/>
              <a:gd name="connsiteX35094" fmla="*/ 2391272 w 8079933"/>
              <a:gd name="connsiteY35094" fmla="*/ 412186 h 4687251"/>
              <a:gd name="connsiteX35095" fmla="*/ 2381506 w 8079933"/>
              <a:gd name="connsiteY35095" fmla="*/ 421388 h 4687251"/>
              <a:gd name="connsiteX35096" fmla="*/ 2378901 w 8079933"/>
              <a:gd name="connsiteY35096" fmla="*/ 422471 h 4687251"/>
              <a:gd name="connsiteX35097" fmla="*/ 2375646 w 8079933"/>
              <a:gd name="connsiteY35097" fmla="*/ 426803 h 4687251"/>
              <a:gd name="connsiteX35098" fmla="*/ 2375755 w 8079933"/>
              <a:gd name="connsiteY35098" fmla="*/ 430051 h 4687251"/>
              <a:gd name="connsiteX35099" fmla="*/ 2379227 w 8079933"/>
              <a:gd name="connsiteY35099" fmla="*/ 427994 h 4687251"/>
              <a:gd name="connsiteX35100" fmla="*/ 2380421 w 8079933"/>
              <a:gd name="connsiteY35100" fmla="*/ 424313 h 4687251"/>
              <a:gd name="connsiteX35101" fmla="*/ 2387041 w 8079933"/>
              <a:gd name="connsiteY35101" fmla="*/ 420956 h 4687251"/>
              <a:gd name="connsiteX35102" fmla="*/ 2391815 w 8079933"/>
              <a:gd name="connsiteY35102" fmla="*/ 413702 h 4687251"/>
              <a:gd name="connsiteX35103" fmla="*/ 2394745 w 8079933"/>
              <a:gd name="connsiteY35103" fmla="*/ 417491 h 4687251"/>
              <a:gd name="connsiteX35104" fmla="*/ 2398000 w 8079933"/>
              <a:gd name="connsiteY35104" fmla="*/ 416841 h 4687251"/>
              <a:gd name="connsiteX35105" fmla="*/ 2402124 w 8079933"/>
              <a:gd name="connsiteY35105" fmla="*/ 419873 h 4687251"/>
              <a:gd name="connsiteX35106" fmla="*/ 2406464 w 8079933"/>
              <a:gd name="connsiteY35106" fmla="*/ 419873 h 4687251"/>
              <a:gd name="connsiteX35107" fmla="*/ 2411782 w 8079933"/>
              <a:gd name="connsiteY35107" fmla="*/ 416624 h 4687251"/>
              <a:gd name="connsiteX35108" fmla="*/ 2416557 w 8079933"/>
              <a:gd name="connsiteY35108" fmla="*/ 416409 h 4687251"/>
              <a:gd name="connsiteX35109" fmla="*/ 2417859 w 8079933"/>
              <a:gd name="connsiteY35109" fmla="*/ 417491 h 4687251"/>
              <a:gd name="connsiteX35110" fmla="*/ 2421766 w 8079933"/>
              <a:gd name="connsiteY35110" fmla="*/ 417274 h 4687251"/>
              <a:gd name="connsiteX35111" fmla="*/ 2427083 w 8079933"/>
              <a:gd name="connsiteY35111" fmla="*/ 424205 h 4687251"/>
              <a:gd name="connsiteX35112" fmla="*/ 2429036 w 8079933"/>
              <a:gd name="connsiteY35112" fmla="*/ 431892 h 4687251"/>
              <a:gd name="connsiteX35113" fmla="*/ 2427300 w 8079933"/>
              <a:gd name="connsiteY35113" fmla="*/ 435248 h 4687251"/>
              <a:gd name="connsiteX35114" fmla="*/ 2424587 w 8079933"/>
              <a:gd name="connsiteY35114" fmla="*/ 434814 h 4687251"/>
              <a:gd name="connsiteX35115" fmla="*/ 2423502 w 8079933"/>
              <a:gd name="connsiteY35115" fmla="*/ 430700 h 4687251"/>
              <a:gd name="connsiteX35116" fmla="*/ 2420246 w 8079933"/>
              <a:gd name="connsiteY35116" fmla="*/ 430700 h 4687251"/>
              <a:gd name="connsiteX35117" fmla="*/ 2416991 w 8079933"/>
              <a:gd name="connsiteY35117" fmla="*/ 426803 h 4687251"/>
              <a:gd name="connsiteX35118" fmla="*/ 2413518 w 8079933"/>
              <a:gd name="connsiteY35118" fmla="*/ 425612 h 4687251"/>
              <a:gd name="connsiteX35119" fmla="*/ 2411999 w 8079933"/>
              <a:gd name="connsiteY35119" fmla="*/ 428318 h 4687251"/>
              <a:gd name="connsiteX35120" fmla="*/ 2414061 w 8079933"/>
              <a:gd name="connsiteY35120" fmla="*/ 430700 h 4687251"/>
              <a:gd name="connsiteX35121" fmla="*/ 2416231 w 8079933"/>
              <a:gd name="connsiteY35121" fmla="*/ 430916 h 4687251"/>
              <a:gd name="connsiteX35122" fmla="*/ 2420572 w 8079933"/>
              <a:gd name="connsiteY35122" fmla="*/ 435248 h 4687251"/>
              <a:gd name="connsiteX35123" fmla="*/ 2421657 w 8079933"/>
              <a:gd name="connsiteY35123" fmla="*/ 439361 h 4687251"/>
              <a:gd name="connsiteX35124" fmla="*/ 2424587 w 8079933"/>
              <a:gd name="connsiteY35124" fmla="*/ 438821 h 4687251"/>
              <a:gd name="connsiteX35125" fmla="*/ 2428710 w 8079933"/>
              <a:gd name="connsiteY35125" fmla="*/ 443259 h 4687251"/>
              <a:gd name="connsiteX35126" fmla="*/ 2438260 w 8079933"/>
              <a:gd name="connsiteY35126" fmla="*/ 450514 h 4687251"/>
              <a:gd name="connsiteX35127" fmla="*/ 2439888 w 8079933"/>
              <a:gd name="connsiteY35127" fmla="*/ 455818 h 4687251"/>
              <a:gd name="connsiteX35128" fmla="*/ 2438151 w 8079933"/>
              <a:gd name="connsiteY35128" fmla="*/ 459825 h 4687251"/>
              <a:gd name="connsiteX35129" fmla="*/ 2433160 w 8079933"/>
              <a:gd name="connsiteY35129" fmla="*/ 459825 h 4687251"/>
              <a:gd name="connsiteX35130" fmla="*/ 2425781 w 8079933"/>
              <a:gd name="connsiteY35130" fmla="*/ 458093 h 4687251"/>
              <a:gd name="connsiteX35131" fmla="*/ 2422959 w 8079933"/>
              <a:gd name="connsiteY35131" fmla="*/ 454736 h 4687251"/>
              <a:gd name="connsiteX35132" fmla="*/ 2420572 w 8079933"/>
              <a:gd name="connsiteY35132" fmla="*/ 457551 h 4687251"/>
              <a:gd name="connsiteX35133" fmla="*/ 2416557 w 8079933"/>
              <a:gd name="connsiteY35133" fmla="*/ 453545 h 4687251"/>
              <a:gd name="connsiteX35134" fmla="*/ 2410914 w 8079933"/>
              <a:gd name="connsiteY35134" fmla="*/ 452030 h 4687251"/>
              <a:gd name="connsiteX35135" fmla="*/ 2406248 w 8079933"/>
              <a:gd name="connsiteY35135" fmla="*/ 447265 h 4687251"/>
              <a:gd name="connsiteX35136" fmla="*/ 2404077 w 8079933"/>
              <a:gd name="connsiteY35136" fmla="*/ 442610 h 4687251"/>
              <a:gd name="connsiteX35137" fmla="*/ 2401581 w 8079933"/>
              <a:gd name="connsiteY35137" fmla="*/ 442610 h 4687251"/>
              <a:gd name="connsiteX35138" fmla="*/ 2401148 w 8079933"/>
              <a:gd name="connsiteY35138" fmla="*/ 445641 h 4687251"/>
              <a:gd name="connsiteX35139" fmla="*/ 2398543 w 8079933"/>
              <a:gd name="connsiteY35139" fmla="*/ 446400 h 4687251"/>
              <a:gd name="connsiteX35140" fmla="*/ 2403209 w 8079933"/>
              <a:gd name="connsiteY35140" fmla="*/ 448890 h 4687251"/>
              <a:gd name="connsiteX35141" fmla="*/ 2408852 w 8079933"/>
              <a:gd name="connsiteY35141" fmla="*/ 454736 h 4687251"/>
              <a:gd name="connsiteX35142" fmla="*/ 2406464 w 8079933"/>
              <a:gd name="connsiteY35142" fmla="*/ 456360 h 4687251"/>
              <a:gd name="connsiteX35143" fmla="*/ 2410805 w 8079933"/>
              <a:gd name="connsiteY35143" fmla="*/ 456901 h 4687251"/>
              <a:gd name="connsiteX35144" fmla="*/ 2414929 w 8079933"/>
              <a:gd name="connsiteY35144" fmla="*/ 461449 h 4687251"/>
              <a:gd name="connsiteX35145" fmla="*/ 2415580 w 8079933"/>
              <a:gd name="connsiteY35145" fmla="*/ 464264 h 4687251"/>
              <a:gd name="connsiteX35146" fmla="*/ 2409069 w 8079933"/>
              <a:gd name="connsiteY35146" fmla="*/ 464264 h 4687251"/>
              <a:gd name="connsiteX35147" fmla="*/ 2405054 w 8079933"/>
              <a:gd name="connsiteY35147" fmla="*/ 460150 h 4687251"/>
              <a:gd name="connsiteX35148" fmla="*/ 2401907 w 8079933"/>
              <a:gd name="connsiteY35148" fmla="*/ 459933 h 4687251"/>
              <a:gd name="connsiteX35149" fmla="*/ 2400930 w 8079933"/>
              <a:gd name="connsiteY35149" fmla="*/ 463506 h 4687251"/>
              <a:gd name="connsiteX35150" fmla="*/ 2398651 w 8079933"/>
              <a:gd name="connsiteY35150" fmla="*/ 467296 h 4687251"/>
              <a:gd name="connsiteX35151" fmla="*/ 2395830 w 8079933"/>
              <a:gd name="connsiteY35151" fmla="*/ 468920 h 4687251"/>
              <a:gd name="connsiteX35152" fmla="*/ 2395830 w 8079933"/>
              <a:gd name="connsiteY35152" fmla="*/ 471301 h 4687251"/>
              <a:gd name="connsiteX35153" fmla="*/ 2401473 w 8079933"/>
              <a:gd name="connsiteY35153" fmla="*/ 470219 h 4687251"/>
              <a:gd name="connsiteX35154" fmla="*/ 2404403 w 8079933"/>
              <a:gd name="connsiteY35154" fmla="*/ 467296 h 4687251"/>
              <a:gd name="connsiteX35155" fmla="*/ 2408201 w 8079933"/>
              <a:gd name="connsiteY35155" fmla="*/ 467296 h 4687251"/>
              <a:gd name="connsiteX35156" fmla="*/ 2408852 w 8079933"/>
              <a:gd name="connsiteY35156" fmla="*/ 469569 h 4687251"/>
              <a:gd name="connsiteX35157" fmla="*/ 2406248 w 8079933"/>
              <a:gd name="connsiteY35157" fmla="*/ 471627 h 4687251"/>
              <a:gd name="connsiteX35158" fmla="*/ 2410371 w 8079933"/>
              <a:gd name="connsiteY35158" fmla="*/ 471518 h 4687251"/>
              <a:gd name="connsiteX35159" fmla="*/ 2412107 w 8079933"/>
              <a:gd name="connsiteY35159" fmla="*/ 470111 h 4687251"/>
              <a:gd name="connsiteX35160" fmla="*/ 2416231 w 8079933"/>
              <a:gd name="connsiteY35160" fmla="*/ 471301 h 4687251"/>
              <a:gd name="connsiteX35161" fmla="*/ 2419595 w 8079933"/>
              <a:gd name="connsiteY35161" fmla="*/ 469894 h 4687251"/>
              <a:gd name="connsiteX35162" fmla="*/ 2420029 w 8079933"/>
              <a:gd name="connsiteY35162" fmla="*/ 473467 h 4687251"/>
              <a:gd name="connsiteX35163" fmla="*/ 2417641 w 8079933"/>
              <a:gd name="connsiteY35163" fmla="*/ 478881 h 4687251"/>
              <a:gd name="connsiteX35164" fmla="*/ 2414061 w 8079933"/>
              <a:gd name="connsiteY35164" fmla="*/ 480396 h 4687251"/>
              <a:gd name="connsiteX35165" fmla="*/ 2414061 w 8079933"/>
              <a:gd name="connsiteY35165" fmla="*/ 482995 h 4687251"/>
              <a:gd name="connsiteX35166" fmla="*/ 2419595 w 8079933"/>
              <a:gd name="connsiteY35166" fmla="*/ 480722 h 4687251"/>
              <a:gd name="connsiteX35167" fmla="*/ 2422851 w 8079933"/>
              <a:gd name="connsiteY35167" fmla="*/ 484186 h 4687251"/>
              <a:gd name="connsiteX35168" fmla="*/ 2420029 w 8079933"/>
              <a:gd name="connsiteY35168" fmla="*/ 491224 h 4687251"/>
              <a:gd name="connsiteX35169" fmla="*/ 2420029 w 8079933"/>
              <a:gd name="connsiteY35169" fmla="*/ 494363 h 4687251"/>
              <a:gd name="connsiteX35170" fmla="*/ 2418185 w 8079933"/>
              <a:gd name="connsiteY35170" fmla="*/ 498153 h 4687251"/>
              <a:gd name="connsiteX35171" fmla="*/ 2420029 w 8079933"/>
              <a:gd name="connsiteY35171" fmla="*/ 502376 h 4687251"/>
              <a:gd name="connsiteX35172" fmla="*/ 2423176 w 8079933"/>
              <a:gd name="connsiteY35172" fmla="*/ 502268 h 4687251"/>
              <a:gd name="connsiteX35173" fmla="*/ 2422634 w 8079933"/>
              <a:gd name="connsiteY35173" fmla="*/ 496529 h 4687251"/>
              <a:gd name="connsiteX35174" fmla="*/ 2427517 w 8079933"/>
              <a:gd name="connsiteY35174" fmla="*/ 491007 h 4687251"/>
              <a:gd name="connsiteX35175" fmla="*/ 2432617 w 8079933"/>
              <a:gd name="connsiteY35175" fmla="*/ 489708 h 4687251"/>
              <a:gd name="connsiteX35176" fmla="*/ 2432834 w 8079933"/>
              <a:gd name="connsiteY35176" fmla="*/ 494797 h 4687251"/>
              <a:gd name="connsiteX35177" fmla="*/ 2433377 w 8079933"/>
              <a:gd name="connsiteY35177" fmla="*/ 497070 h 4687251"/>
              <a:gd name="connsiteX35178" fmla="*/ 2431966 w 8079933"/>
              <a:gd name="connsiteY35178" fmla="*/ 501401 h 4687251"/>
              <a:gd name="connsiteX35179" fmla="*/ 2435222 w 8079933"/>
              <a:gd name="connsiteY35179" fmla="*/ 501401 h 4687251"/>
              <a:gd name="connsiteX35180" fmla="*/ 2437935 w 8079933"/>
              <a:gd name="connsiteY35180" fmla="*/ 499344 h 4687251"/>
              <a:gd name="connsiteX35181" fmla="*/ 2442492 w 8079933"/>
              <a:gd name="connsiteY35181" fmla="*/ 500534 h 4687251"/>
              <a:gd name="connsiteX35182" fmla="*/ 2442926 w 8079933"/>
              <a:gd name="connsiteY35182" fmla="*/ 503459 h 4687251"/>
              <a:gd name="connsiteX35183" fmla="*/ 2441298 w 8079933"/>
              <a:gd name="connsiteY35183" fmla="*/ 506381 h 4687251"/>
              <a:gd name="connsiteX35184" fmla="*/ 2445205 w 8079933"/>
              <a:gd name="connsiteY35184" fmla="*/ 507681 h 4687251"/>
              <a:gd name="connsiteX35185" fmla="*/ 2446399 w 8079933"/>
              <a:gd name="connsiteY35185" fmla="*/ 504974 h 4687251"/>
              <a:gd name="connsiteX35186" fmla="*/ 2445422 w 8079933"/>
              <a:gd name="connsiteY35186" fmla="*/ 501726 h 4687251"/>
              <a:gd name="connsiteX35187" fmla="*/ 2451065 w 8079933"/>
              <a:gd name="connsiteY35187" fmla="*/ 498477 h 4687251"/>
              <a:gd name="connsiteX35188" fmla="*/ 2452584 w 8079933"/>
              <a:gd name="connsiteY35188" fmla="*/ 500968 h 4687251"/>
              <a:gd name="connsiteX35189" fmla="*/ 2452150 w 8079933"/>
              <a:gd name="connsiteY35189" fmla="*/ 504000 h 4687251"/>
              <a:gd name="connsiteX35190" fmla="*/ 2457142 w 8079933"/>
              <a:gd name="connsiteY35190" fmla="*/ 509629 h 4687251"/>
              <a:gd name="connsiteX35191" fmla="*/ 2456925 w 8079933"/>
              <a:gd name="connsiteY35191" fmla="*/ 513203 h 4687251"/>
              <a:gd name="connsiteX35192" fmla="*/ 2451933 w 8079933"/>
              <a:gd name="connsiteY35192" fmla="*/ 515152 h 4687251"/>
              <a:gd name="connsiteX35193" fmla="*/ 2454646 w 8079933"/>
              <a:gd name="connsiteY35193" fmla="*/ 516667 h 4687251"/>
              <a:gd name="connsiteX35194" fmla="*/ 2460940 w 8079933"/>
              <a:gd name="connsiteY35194" fmla="*/ 515152 h 4687251"/>
              <a:gd name="connsiteX35195" fmla="*/ 2464196 w 8079933"/>
              <a:gd name="connsiteY35195" fmla="*/ 516018 h 4687251"/>
              <a:gd name="connsiteX35196" fmla="*/ 2466040 w 8079933"/>
              <a:gd name="connsiteY35196" fmla="*/ 519049 h 4687251"/>
              <a:gd name="connsiteX35197" fmla="*/ 2471032 w 8079933"/>
              <a:gd name="connsiteY35197" fmla="*/ 520132 h 4687251"/>
              <a:gd name="connsiteX35198" fmla="*/ 2467234 w 8079933"/>
              <a:gd name="connsiteY35198" fmla="*/ 516884 h 4687251"/>
              <a:gd name="connsiteX35199" fmla="*/ 2467451 w 8079933"/>
              <a:gd name="connsiteY35199" fmla="*/ 513203 h 4687251"/>
              <a:gd name="connsiteX35200" fmla="*/ 2464196 w 8079933"/>
              <a:gd name="connsiteY35200" fmla="*/ 509954 h 4687251"/>
              <a:gd name="connsiteX35201" fmla="*/ 2465497 w 8079933"/>
              <a:gd name="connsiteY35201" fmla="*/ 508546 h 4687251"/>
              <a:gd name="connsiteX35202" fmla="*/ 2475915 w 8079933"/>
              <a:gd name="connsiteY35202" fmla="*/ 510171 h 4687251"/>
              <a:gd name="connsiteX35203" fmla="*/ 2480365 w 8079933"/>
              <a:gd name="connsiteY35203" fmla="*/ 508763 h 4687251"/>
              <a:gd name="connsiteX35204" fmla="*/ 2482426 w 8079933"/>
              <a:gd name="connsiteY35204" fmla="*/ 510820 h 4687251"/>
              <a:gd name="connsiteX35205" fmla="*/ 2482426 w 8079933"/>
              <a:gd name="connsiteY35205" fmla="*/ 513960 h 4687251"/>
              <a:gd name="connsiteX35206" fmla="*/ 2484379 w 8079933"/>
              <a:gd name="connsiteY35206" fmla="*/ 512228 h 4687251"/>
              <a:gd name="connsiteX35207" fmla="*/ 2484162 w 8079933"/>
              <a:gd name="connsiteY35207" fmla="*/ 509305 h 4687251"/>
              <a:gd name="connsiteX35208" fmla="*/ 2489697 w 8079933"/>
              <a:gd name="connsiteY35208" fmla="*/ 508439 h 4687251"/>
              <a:gd name="connsiteX35209" fmla="*/ 2494146 w 8079933"/>
              <a:gd name="connsiteY35209" fmla="*/ 506706 h 4687251"/>
              <a:gd name="connsiteX35210" fmla="*/ 2497944 w 8079933"/>
              <a:gd name="connsiteY35210" fmla="*/ 509089 h 4687251"/>
              <a:gd name="connsiteX35211" fmla="*/ 2500331 w 8079933"/>
              <a:gd name="connsiteY35211" fmla="*/ 512012 h 4687251"/>
              <a:gd name="connsiteX35212" fmla="*/ 2502285 w 8079933"/>
              <a:gd name="connsiteY35212" fmla="*/ 507572 h 4687251"/>
              <a:gd name="connsiteX35213" fmla="*/ 2507602 w 8079933"/>
              <a:gd name="connsiteY35213" fmla="*/ 507356 h 4687251"/>
              <a:gd name="connsiteX35214" fmla="*/ 2510207 w 8079933"/>
              <a:gd name="connsiteY35214" fmla="*/ 506165 h 4687251"/>
              <a:gd name="connsiteX35215" fmla="*/ 2513462 w 8079933"/>
              <a:gd name="connsiteY35215" fmla="*/ 506489 h 4687251"/>
              <a:gd name="connsiteX35216" fmla="*/ 2517694 w 8079933"/>
              <a:gd name="connsiteY35216" fmla="*/ 503783 h 4687251"/>
              <a:gd name="connsiteX35217" fmla="*/ 2520299 w 8079933"/>
              <a:gd name="connsiteY35217" fmla="*/ 505191 h 4687251"/>
              <a:gd name="connsiteX35218" fmla="*/ 2521492 w 8079933"/>
              <a:gd name="connsiteY35218" fmla="*/ 508763 h 4687251"/>
              <a:gd name="connsiteX35219" fmla="*/ 2529631 w 8079933"/>
              <a:gd name="connsiteY35219" fmla="*/ 514393 h 4687251"/>
              <a:gd name="connsiteX35220" fmla="*/ 2536901 w 8079933"/>
              <a:gd name="connsiteY35220" fmla="*/ 512336 h 4687251"/>
              <a:gd name="connsiteX35221" fmla="*/ 2543087 w 8079933"/>
              <a:gd name="connsiteY35221" fmla="*/ 512336 h 4687251"/>
              <a:gd name="connsiteX35222" fmla="*/ 2546668 w 8079933"/>
              <a:gd name="connsiteY35222" fmla="*/ 510171 h 4687251"/>
              <a:gd name="connsiteX35223" fmla="*/ 2550467 w 8079933"/>
              <a:gd name="connsiteY35223" fmla="*/ 510171 h 4687251"/>
              <a:gd name="connsiteX35224" fmla="*/ 2558063 w 8079933"/>
              <a:gd name="connsiteY35224" fmla="*/ 516343 h 4687251"/>
              <a:gd name="connsiteX35225" fmla="*/ 2559582 w 8079933"/>
              <a:gd name="connsiteY35225" fmla="*/ 520673 h 4687251"/>
              <a:gd name="connsiteX35226" fmla="*/ 2557194 w 8079933"/>
              <a:gd name="connsiteY35226" fmla="*/ 521648 h 4687251"/>
              <a:gd name="connsiteX35227" fmla="*/ 2556651 w 8079933"/>
              <a:gd name="connsiteY35227" fmla="*/ 524462 h 4687251"/>
              <a:gd name="connsiteX35228" fmla="*/ 2558605 w 8079933"/>
              <a:gd name="connsiteY35228" fmla="*/ 527278 h 4687251"/>
              <a:gd name="connsiteX35229" fmla="*/ 2567829 w 8079933"/>
              <a:gd name="connsiteY35229" fmla="*/ 527169 h 4687251"/>
              <a:gd name="connsiteX35230" fmla="*/ 2572061 w 8079933"/>
              <a:gd name="connsiteY35230" fmla="*/ 529876 h 4687251"/>
              <a:gd name="connsiteX35231" fmla="*/ 2571627 w 8079933"/>
              <a:gd name="connsiteY35231" fmla="*/ 534315 h 4687251"/>
              <a:gd name="connsiteX35232" fmla="*/ 2568914 w 8079933"/>
              <a:gd name="connsiteY35232" fmla="*/ 535398 h 4687251"/>
              <a:gd name="connsiteX35233" fmla="*/ 2567178 w 8079933"/>
              <a:gd name="connsiteY35233" fmla="*/ 539187 h 4687251"/>
              <a:gd name="connsiteX35234" fmla="*/ 2571627 w 8079933"/>
              <a:gd name="connsiteY35234" fmla="*/ 538213 h 4687251"/>
              <a:gd name="connsiteX35235" fmla="*/ 2577378 w 8079933"/>
              <a:gd name="connsiteY35235" fmla="*/ 539729 h 4687251"/>
              <a:gd name="connsiteX35236" fmla="*/ 2576619 w 8079933"/>
              <a:gd name="connsiteY35236" fmla="*/ 541894 h 4687251"/>
              <a:gd name="connsiteX35237" fmla="*/ 2573906 w 8079933"/>
              <a:gd name="connsiteY35237" fmla="*/ 542652 h 4687251"/>
              <a:gd name="connsiteX35238" fmla="*/ 2574991 w 8079933"/>
              <a:gd name="connsiteY35238" fmla="*/ 545576 h 4687251"/>
              <a:gd name="connsiteX35239" fmla="*/ 2572495 w 8079933"/>
              <a:gd name="connsiteY35239" fmla="*/ 550231 h 4687251"/>
              <a:gd name="connsiteX35240" fmla="*/ 2573255 w 8079933"/>
              <a:gd name="connsiteY35240" fmla="*/ 552938 h 4687251"/>
              <a:gd name="connsiteX35241" fmla="*/ 2570650 w 8079933"/>
              <a:gd name="connsiteY35241" fmla="*/ 557377 h 4687251"/>
              <a:gd name="connsiteX35242" fmla="*/ 2567720 w 8079933"/>
              <a:gd name="connsiteY35242" fmla="*/ 557918 h 4687251"/>
              <a:gd name="connsiteX35243" fmla="*/ 2565116 w 8079933"/>
              <a:gd name="connsiteY35243" fmla="*/ 555537 h 4687251"/>
              <a:gd name="connsiteX35244" fmla="*/ 2562403 w 8079933"/>
              <a:gd name="connsiteY35244" fmla="*/ 559650 h 4687251"/>
              <a:gd name="connsiteX35245" fmla="*/ 2557411 w 8079933"/>
              <a:gd name="connsiteY35245" fmla="*/ 561383 h 4687251"/>
              <a:gd name="connsiteX35246" fmla="*/ 2554481 w 8079933"/>
              <a:gd name="connsiteY35246" fmla="*/ 560192 h 4687251"/>
              <a:gd name="connsiteX35247" fmla="*/ 2552203 w 8079933"/>
              <a:gd name="connsiteY35247" fmla="*/ 561599 h 4687251"/>
              <a:gd name="connsiteX35248" fmla="*/ 2553396 w 8079933"/>
              <a:gd name="connsiteY35248" fmla="*/ 565497 h 4687251"/>
              <a:gd name="connsiteX35249" fmla="*/ 2558931 w 8079933"/>
              <a:gd name="connsiteY35249" fmla="*/ 565173 h 4687251"/>
              <a:gd name="connsiteX35250" fmla="*/ 2564139 w 8079933"/>
              <a:gd name="connsiteY35250" fmla="*/ 563440 h 4687251"/>
              <a:gd name="connsiteX35251" fmla="*/ 2567069 w 8079933"/>
              <a:gd name="connsiteY35251" fmla="*/ 565605 h 4687251"/>
              <a:gd name="connsiteX35252" fmla="*/ 2566527 w 8079933"/>
              <a:gd name="connsiteY35252" fmla="*/ 568745 h 4687251"/>
              <a:gd name="connsiteX35253" fmla="*/ 2567829 w 8079933"/>
              <a:gd name="connsiteY35253" fmla="*/ 573942 h 4687251"/>
              <a:gd name="connsiteX35254" fmla="*/ 2567069 w 8079933"/>
              <a:gd name="connsiteY35254" fmla="*/ 576541 h 4687251"/>
              <a:gd name="connsiteX35255" fmla="*/ 2564791 w 8079933"/>
              <a:gd name="connsiteY35255" fmla="*/ 575242 h 4687251"/>
              <a:gd name="connsiteX35256" fmla="*/ 2561644 w 8079933"/>
              <a:gd name="connsiteY35256" fmla="*/ 575999 h 4687251"/>
              <a:gd name="connsiteX35257" fmla="*/ 2558714 w 8079933"/>
              <a:gd name="connsiteY35257" fmla="*/ 575458 h 4687251"/>
              <a:gd name="connsiteX35258" fmla="*/ 2556651 w 8079933"/>
              <a:gd name="connsiteY35258" fmla="*/ 578706 h 4687251"/>
              <a:gd name="connsiteX35259" fmla="*/ 2552745 w 8079933"/>
              <a:gd name="connsiteY35259" fmla="*/ 573077 h 4687251"/>
              <a:gd name="connsiteX35260" fmla="*/ 2552853 w 8079933"/>
              <a:gd name="connsiteY35260" fmla="*/ 570153 h 4687251"/>
              <a:gd name="connsiteX35261" fmla="*/ 2550141 w 8079933"/>
              <a:gd name="connsiteY35261" fmla="*/ 567230 h 4687251"/>
              <a:gd name="connsiteX35262" fmla="*/ 2550141 w 8079933"/>
              <a:gd name="connsiteY35262" fmla="*/ 572535 h 4687251"/>
              <a:gd name="connsiteX35263" fmla="*/ 2552528 w 8079933"/>
              <a:gd name="connsiteY35263" fmla="*/ 577732 h 4687251"/>
              <a:gd name="connsiteX35264" fmla="*/ 2552420 w 8079933"/>
              <a:gd name="connsiteY35264" fmla="*/ 580439 h 4687251"/>
              <a:gd name="connsiteX35265" fmla="*/ 2549490 w 8079933"/>
              <a:gd name="connsiteY35265" fmla="*/ 580656 h 4687251"/>
              <a:gd name="connsiteX35266" fmla="*/ 2546342 w 8079933"/>
              <a:gd name="connsiteY35266" fmla="*/ 586610 h 4687251"/>
              <a:gd name="connsiteX35267" fmla="*/ 2546560 w 8079933"/>
              <a:gd name="connsiteY35267" fmla="*/ 588992 h 4687251"/>
              <a:gd name="connsiteX35268" fmla="*/ 2543847 w 8079933"/>
              <a:gd name="connsiteY35268" fmla="*/ 591482 h 4687251"/>
              <a:gd name="connsiteX35269" fmla="*/ 2541134 w 8079933"/>
              <a:gd name="connsiteY35269" fmla="*/ 589966 h 4687251"/>
              <a:gd name="connsiteX35270" fmla="*/ 2536901 w 8079933"/>
              <a:gd name="connsiteY35270" fmla="*/ 590508 h 4687251"/>
              <a:gd name="connsiteX35271" fmla="*/ 2529631 w 8079933"/>
              <a:gd name="connsiteY35271" fmla="*/ 587043 h 4687251"/>
              <a:gd name="connsiteX35272" fmla="*/ 2525507 w 8079933"/>
              <a:gd name="connsiteY35272" fmla="*/ 587476 h 4687251"/>
              <a:gd name="connsiteX35273" fmla="*/ 2517151 w 8079933"/>
              <a:gd name="connsiteY35273" fmla="*/ 592998 h 4687251"/>
              <a:gd name="connsiteX35274" fmla="*/ 2512703 w 8079933"/>
              <a:gd name="connsiteY35274" fmla="*/ 592782 h 4687251"/>
              <a:gd name="connsiteX35275" fmla="*/ 2511835 w 8079933"/>
              <a:gd name="connsiteY35275" fmla="*/ 590832 h 4687251"/>
              <a:gd name="connsiteX35276" fmla="*/ 2507385 w 8079933"/>
              <a:gd name="connsiteY35276" fmla="*/ 590832 h 4687251"/>
              <a:gd name="connsiteX35277" fmla="*/ 2506517 w 8079933"/>
              <a:gd name="connsiteY35277" fmla="*/ 586068 h 4687251"/>
              <a:gd name="connsiteX35278" fmla="*/ 2501851 w 8079933"/>
              <a:gd name="connsiteY35278" fmla="*/ 588125 h 4687251"/>
              <a:gd name="connsiteX35279" fmla="*/ 2497076 w 8079933"/>
              <a:gd name="connsiteY35279" fmla="*/ 586610 h 4687251"/>
              <a:gd name="connsiteX35280" fmla="*/ 2496208 w 8079933"/>
              <a:gd name="connsiteY35280" fmla="*/ 576649 h 4687251"/>
              <a:gd name="connsiteX35281" fmla="*/ 2498595 w 8079933"/>
              <a:gd name="connsiteY35281" fmla="*/ 570261 h 4687251"/>
              <a:gd name="connsiteX35282" fmla="*/ 2502068 w 8079933"/>
              <a:gd name="connsiteY35282" fmla="*/ 567230 h 4687251"/>
              <a:gd name="connsiteX35283" fmla="*/ 2501742 w 8079933"/>
              <a:gd name="connsiteY35283" fmla="*/ 564847 h 4687251"/>
              <a:gd name="connsiteX35284" fmla="*/ 2498921 w 8079933"/>
              <a:gd name="connsiteY35284" fmla="*/ 564306 h 4687251"/>
              <a:gd name="connsiteX35285" fmla="*/ 2498595 w 8079933"/>
              <a:gd name="connsiteY35285" fmla="*/ 558568 h 4687251"/>
              <a:gd name="connsiteX35286" fmla="*/ 2496751 w 8079933"/>
              <a:gd name="connsiteY35286" fmla="*/ 557918 h 4687251"/>
              <a:gd name="connsiteX35287" fmla="*/ 2494688 w 8079933"/>
              <a:gd name="connsiteY35287" fmla="*/ 561925 h 4687251"/>
              <a:gd name="connsiteX35288" fmla="*/ 2496859 w 8079933"/>
              <a:gd name="connsiteY35288" fmla="*/ 566580 h 4687251"/>
              <a:gd name="connsiteX35289" fmla="*/ 2495231 w 8079933"/>
              <a:gd name="connsiteY35289" fmla="*/ 569611 h 4687251"/>
              <a:gd name="connsiteX35290" fmla="*/ 2490674 w 8079933"/>
              <a:gd name="connsiteY35290" fmla="*/ 573726 h 4687251"/>
              <a:gd name="connsiteX35291" fmla="*/ 2490674 w 8079933"/>
              <a:gd name="connsiteY35291" fmla="*/ 578706 h 4687251"/>
              <a:gd name="connsiteX35292" fmla="*/ 2487418 w 8079933"/>
              <a:gd name="connsiteY35292" fmla="*/ 580656 h 4687251"/>
              <a:gd name="connsiteX35293" fmla="*/ 2481884 w 8079933"/>
              <a:gd name="connsiteY35293" fmla="*/ 582171 h 4687251"/>
              <a:gd name="connsiteX35294" fmla="*/ 2480690 w 8079933"/>
              <a:gd name="connsiteY35294" fmla="*/ 579464 h 4687251"/>
              <a:gd name="connsiteX35295" fmla="*/ 2477543 w 8079933"/>
              <a:gd name="connsiteY35295" fmla="*/ 580439 h 4687251"/>
              <a:gd name="connsiteX35296" fmla="*/ 2473528 w 8079933"/>
              <a:gd name="connsiteY35296" fmla="*/ 581954 h 4687251"/>
              <a:gd name="connsiteX35297" fmla="*/ 2466909 w 8079933"/>
              <a:gd name="connsiteY35297" fmla="*/ 578166 h 4687251"/>
              <a:gd name="connsiteX35298" fmla="*/ 2462459 w 8079933"/>
              <a:gd name="connsiteY35298" fmla="*/ 578057 h 4687251"/>
              <a:gd name="connsiteX35299" fmla="*/ 2461591 w 8079933"/>
              <a:gd name="connsiteY35299" fmla="*/ 574809 h 4687251"/>
              <a:gd name="connsiteX35300" fmla="*/ 2462785 w 8079933"/>
              <a:gd name="connsiteY35300" fmla="*/ 564956 h 4687251"/>
              <a:gd name="connsiteX35301" fmla="*/ 2460940 w 8079933"/>
              <a:gd name="connsiteY35301" fmla="*/ 567771 h 4687251"/>
              <a:gd name="connsiteX35302" fmla="*/ 2458987 w 8079933"/>
              <a:gd name="connsiteY35302" fmla="*/ 574268 h 4687251"/>
              <a:gd name="connsiteX35303" fmla="*/ 2453452 w 8079933"/>
              <a:gd name="connsiteY35303" fmla="*/ 575242 h 4687251"/>
              <a:gd name="connsiteX35304" fmla="*/ 2453452 w 8079933"/>
              <a:gd name="connsiteY35304" fmla="*/ 571884 h 4687251"/>
              <a:gd name="connsiteX35305" fmla="*/ 2455515 w 8079933"/>
              <a:gd name="connsiteY35305" fmla="*/ 568962 h 4687251"/>
              <a:gd name="connsiteX35306" fmla="*/ 2454863 w 8079933"/>
              <a:gd name="connsiteY35306" fmla="*/ 565173 h 4687251"/>
              <a:gd name="connsiteX35307" fmla="*/ 2451608 w 8079933"/>
              <a:gd name="connsiteY35307" fmla="*/ 572318 h 4687251"/>
              <a:gd name="connsiteX35308" fmla="*/ 2447918 w 8079933"/>
              <a:gd name="connsiteY35308" fmla="*/ 574917 h 4687251"/>
              <a:gd name="connsiteX35309" fmla="*/ 2441733 w 8079933"/>
              <a:gd name="connsiteY35309" fmla="*/ 574809 h 4687251"/>
              <a:gd name="connsiteX35310" fmla="*/ 2441624 w 8079933"/>
              <a:gd name="connsiteY35310" fmla="*/ 571019 h 4687251"/>
              <a:gd name="connsiteX35311" fmla="*/ 2443794 w 8079933"/>
              <a:gd name="connsiteY35311" fmla="*/ 569070 h 4687251"/>
              <a:gd name="connsiteX35312" fmla="*/ 2444011 w 8079933"/>
              <a:gd name="connsiteY35312" fmla="*/ 566364 h 4687251"/>
              <a:gd name="connsiteX35313" fmla="*/ 2440539 w 8079933"/>
              <a:gd name="connsiteY35313" fmla="*/ 566905 h 4687251"/>
              <a:gd name="connsiteX35314" fmla="*/ 2439020 w 8079933"/>
              <a:gd name="connsiteY35314" fmla="*/ 569395 h 4687251"/>
              <a:gd name="connsiteX35315" fmla="*/ 2437826 w 8079933"/>
              <a:gd name="connsiteY35315" fmla="*/ 574051 h 4687251"/>
              <a:gd name="connsiteX35316" fmla="*/ 2434570 w 8079933"/>
              <a:gd name="connsiteY35316" fmla="*/ 574268 h 4687251"/>
              <a:gd name="connsiteX35317" fmla="*/ 2433485 w 8079933"/>
              <a:gd name="connsiteY35317" fmla="*/ 569286 h 4687251"/>
              <a:gd name="connsiteX35318" fmla="*/ 2434679 w 8079933"/>
              <a:gd name="connsiteY35318" fmla="*/ 565173 h 4687251"/>
              <a:gd name="connsiteX35319" fmla="*/ 2433485 w 8079933"/>
              <a:gd name="connsiteY35319" fmla="*/ 561707 h 4687251"/>
              <a:gd name="connsiteX35320" fmla="*/ 2430555 w 8079933"/>
              <a:gd name="connsiteY35320" fmla="*/ 565822 h 4687251"/>
              <a:gd name="connsiteX35321" fmla="*/ 2430772 w 8079933"/>
              <a:gd name="connsiteY35321" fmla="*/ 569611 h 4687251"/>
              <a:gd name="connsiteX35322" fmla="*/ 2431749 w 8079933"/>
              <a:gd name="connsiteY35322" fmla="*/ 572318 h 4687251"/>
              <a:gd name="connsiteX35323" fmla="*/ 2428819 w 8079933"/>
              <a:gd name="connsiteY35323" fmla="*/ 574268 h 4687251"/>
              <a:gd name="connsiteX35324" fmla="*/ 2425564 w 8079933"/>
              <a:gd name="connsiteY35324" fmla="*/ 571884 h 4687251"/>
              <a:gd name="connsiteX35325" fmla="*/ 2422091 w 8079933"/>
              <a:gd name="connsiteY35325" fmla="*/ 570802 h 4687251"/>
              <a:gd name="connsiteX35326" fmla="*/ 2421657 w 8079933"/>
              <a:gd name="connsiteY35326" fmla="*/ 568420 h 4687251"/>
              <a:gd name="connsiteX35327" fmla="*/ 2423176 w 8079933"/>
              <a:gd name="connsiteY35327" fmla="*/ 566148 h 4687251"/>
              <a:gd name="connsiteX35328" fmla="*/ 2418293 w 8079933"/>
              <a:gd name="connsiteY35328" fmla="*/ 565605 h 4687251"/>
              <a:gd name="connsiteX35329" fmla="*/ 2416991 w 8079933"/>
              <a:gd name="connsiteY35329" fmla="*/ 569070 h 4687251"/>
              <a:gd name="connsiteX35330" fmla="*/ 2411999 w 8079933"/>
              <a:gd name="connsiteY35330" fmla="*/ 568637 h 4687251"/>
              <a:gd name="connsiteX35331" fmla="*/ 2410589 w 8079933"/>
              <a:gd name="connsiteY35331" fmla="*/ 567013 h 4687251"/>
              <a:gd name="connsiteX35332" fmla="*/ 2406464 w 8079933"/>
              <a:gd name="connsiteY35332" fmla="*/ 567338 h 4687251"/>
              <a:gd name="connsiteX35333" fmla="*/ 2402449 w 8079933"/>
              <a:gd name="connsiteY35333" fmla="*/ 564090 h 4687251"/>
              <a:gd name="connsiteX35334" fmla="*/ 2397350 w 8079933"/>
              <a:gd name="connsiteY35334" fmla="*/ 562358 h 4687251"/>
              <a:gd name="connsiteX35335" fmla="*/ 2397458 w 8079933"/>
              <a:gd name="connsiteY35335" fmla="*/ 558785 h 4687251"/>
              <a:gd name="connsiteX35336" fmla="*/ 2400279 w 8079933"/>
              <a:gd name="connsiteY35336" fmla="*/ 555861 h 4687251"/>
              <a:gd name="connsiteX35337" fmla="*/ 2406464 w 8079933"/>
              <a:gd name="connsiteY35337" fmla="*/ 547741 h 4687251"/>
              <a:gd name="connsiteX35338" fmla="*/ 2407659 w 8079933"/>
              <a:gd name="connsiteY35338" fmla="*/ 542652 h 4687251"/>
              <a:gd name="connsiteX35339" fmla="*/ 2406248 w 8079933"/>
              <a:gd name="connsiteY35339" fmla="*/ 540378 h 4687251"/>
              <a:gd name="connsiteX35340" fmla="*/ 2403535 w 8079933"/>
              <a:gd name="connsiteY35340" fmla="*/ 541570 h 4687251"/>
              <a:gd name="connsiteX35341" fmla="*/ 2400713 w 8079933"/>
              <a:gd name="connsiteY35341" fmla="*/ 548499 h 4687251"/>
              <a:gd name="connsiteX35342" fmla="*/ 2398326 w 8079933"/>
              <a:gd name="connsiteY35342" fmla="*/ 549473 h 4687251"/>
              <a:gd name="connsiteX35343" fmla="*/ 2398000 w 8079933"/>
              <a:gd name="connsiteY35343" fmla="*/ 545684 h 4687251"/>
              <a:gd name="connsiteX35344" fmla="*/ 2399086 w 8079933"/>
              <a:gd name="connsiteY35344" fmla="*/ 544168 h 4687251"/>
              <a:gd name="connsiteX35345" fmla="*/ 2398218 w 8079933"/>
              <a:gd name="connsiteY35345" fmla="*/ 541461 h 4687251"/>
              <a:gd name="connsiteX35346" fmla="*/ 2396155 w 8079933"/>
              <a:gd name="connsiteY35346" fmla="*/ 543519 h 4687251"/>
              <a:gd name="connsiteX35347" fmla="*/ 2393334 w 8079933"/>
              <a:gd name="connsiteY35347" fmla="*/ 543627 h 4687251"/>
              <a:gd name="connsiteX35348" fmla="*/ 2393660 w 8079933"/>
              <a:gd name="connsiteY35348" fmla="*/ 549148 h 4687251"/>
              <a:gd name="connsiteX35349" fmla="*/ 2388126 w 8079933"/>
              <a:gd name="connsiteY35349" fmla="*/ 551206 h 4687251"/>
              <a:gd name="connsiteX35350" fmla="*/ 2385413 w 8079933"/>
              <a:gd name="connsiteY35350" fmla="*/ 553804 h 4687251"/>
              <a:gd name="connsiteX35351" fmla="*/ 2379553 w 8079933"/>
              <a:gd name="connsiteY35351" fmla="*/ 553154 h 4687251"/>
              <a:gd name="connsiteX35352" fmla="*/ 2378359 w 8079933"/>
              <a:gd name="connsiteY35352" fmla="*/ 551206 h 4687251"/>
              <a:gd name="connsiteX35353" fmla="*/ 2373910 w 8079933"/>
              <a:gd name="connsiteY35353" fmla="*/ 552613 h 4687251"/>
              <a:gd name="connsiteX35354" fmla="*/ 2369352 w 8079933"/>
              <a:gd name="connsiteY35354" fmla="*/ 547091 h 4687251"/>
              <a:gd name="connsiteX35355" fmla="*/ 2368918 w 8079933"/>
              <a:gd name="connsiteY35355" fmla="*/ 544492 h 4687251"/>
              <a:gd name="connsiteX35356" fmla="*/ 2367182 w 8079933"/>
              <a:gd name="connsiteY35356" fmla="*/ 542327 h 4687251"/>
              <a:gd name="connsiteX35357" fmla="*/ 2367832 w 8079933"/>
              <a:gd name="connsiteY35357" fmla="*/ 540054 h 4687251"/>
              <a:gd name="connsiteX35358" fmla="*/ 2371957 w 8079933"/>
              <a:gd name="connsiteY35358" fmla="*/ 538971 h 4687251"/>
              <a:gd name="connsiteX35359" fmla="*/ 2374452 w 8079933"/>
              <a:gd name="connsiteY35359" fmla="*/ 532799 h 4687251"/>
              <a:gd name="connsiteX35360" fmla="*/ 2372825 w 8079933"/>
              <a:gd name="connsiteY35360" fmla="*/ 530958 h 4687251"/>
              <a:gd name="connsiteX35361" fmla="*/ 2368592 w 8079933"/>
              <a:gd name="connsiteY35361" fmla="*/ 536589 h 4687251"/>
              <a:gd name="connsiteX35362" fmla="*/ 2366422 w 8079933"/>
              <a:gd name="connsiteY35362" fmla="*/ 536805 h 4687251"/>
              <a:gd name="connsiteX35363" fmla="*/ 2364251 w 8079933"/>
              <a:gd name="connsiteY35363" fmla="*/ 535073 h 4687251"/>
              <a:gd name="connsiteX35364" fmla="*/ 2362733 w 8079933"/>
              <a:gd name="connsiteY35364" fmla="*/ 537455 h 4687251"/>
              <a:gd name="connsiteX35365" fmla="*/ 2362190 w 8079933"/>
              <a:gd name="connsiteY35365" fmla="*/ 541787 h 4687251"/>
              <a:gd name="connsiteX35366" fmla="*/ 2359585 w 8079933"/>
              <a:gd name="connsiteY35366" fmla="*/ 542327 h 4687251"/>
              <a:gd name="connsiteX35367" fmla="*/ 2355787 w 8079933"/>
              <a:gd name="connsiteY35367" fmla="*/ 538862 h 4687251"/>
              <a:gd name="connsiteX35368" fmla="*/ 2355787 w 8079933"/>
              <a:gd name="connsiteY35368" fmla="*/ 535723 h 4687251"/>
              <a:gd name="connsiteX35369" fmla="*/ 2352857 w 8079933"/>
              <a:gd name="connsiteY35369" fmla="*/ 534857 h 4687251"/>
              <a:gd name="connsiteX35370" fmla="*/ 2350796 w 8079933"/>
              <a:gd name="connsiteY35370" fmla="*/ 529876 h 4687251"/>
              <a:gd name="connsiteX35371" fmla="*/ 2351989 w 8079933"/>
              <a:gd name="connsiteY35371" fmla="*/ 525654 h 4687251"/>
              <a:gd name="connsiteX35372" fmla="*/ 2355462 w 8079933"/>
              <a:gd name="connsiteY35372" fmla="*/ 521107 h 4687251"/>
              <a:gd name="connsiteX35373" fmla="*/ 2353183 w 8079933"/>
              <a:gd name="connsiteY35373" fmla="*/ 518940 h 4687251"/>
              <a:gd name="connsiteX35374" fmla="*/ 2354051 w 8079933"/>
              <a:gd name="connsiteY35374" fmla="*/ 515476 h 4687251"/>
              <a:gd name="connsiteX35375" fmla="*/ 2358392 w 8079933"/>
              <a:gd name="connsiteY35375" fmla="*/ 513636 h 4687251"/>
              <a:gd name="connsiteX35376" fmla="*/ 2358392 w 8079933"/>
              <a:gd name="connsiteY35376" fmla="*/ 510495 h 4687251"/>
              <a:gd name="connsiteX35377" fmla="*/ 2355137 w 8079933"/>
              <a:gd name="connsiteY35377" fmla="*/ 509413 h 4687251"/>
              <a:gd name="connsiteX35378" fmla="*/ 2354810 w 8079933"/>
              <a:gd name="connsiteY35378" fmla="*/ 504324 h 4687251"/>
              <a:gd name="connsiteX35379" fmla="*/ 2357307 w 8079933"/>
              <a:gd name="connsiteY35379" fmla="*/ 500318 h 4687251"/>
              <a:gd name="connsiteX35380" fmla="*/ 2361539 w 8079933"/>
              <a:gd name="connsiteY35380" fmla="*/ 497611 h 4687251"/>
              <a:gd name="connsiteX35381" fmla="*/ 2361322 w 8079933"/>
              <a:gd name="connsiteY35381" fmla="*/ 494472 h 4687251"/>
              <a:gd name="connsiteX35382" fmla="*/ 2366314 w 8079933"/>
              <a:gd name="connsiteY35382" fmla="*/ 488300 h 4687251"/>
              <a:gd name="connsiteX35383" fmla="*/ 2367182 w 8079933"/>
              <a:gd name="connsiteY35383" fmla="*/ 484294 h 4687251"/>
              <a:gd name="connsiteX35384" fmla="*/ 2373042 w 8079933"/>
              <a:gd name="connsiteY35384" fmla="*/ 482995 h 4687251"/>
              <a:gd name="connsiteX35385" fmla="*/ 2379553 w 8079933"/>
              <a:gd name="connsiteY35385" fmla="*/ 478339 h 4687251"/>
              <a:gd name="connsiteX35386" fmla="*/ 2381506 w 8079933"/>
              <a:gd name="connsiteY35386" fmla="*/ 472818 h 4687251"/>
              <a:gd name="connsiteX35387" fmla="*/ 2381506 w 8079933"/>
              <a:gd name="connsiteY35387" fmla="*/ 469569 h 4687251"/>
              <a:gd name="connsiteX35388" fmla="*/ 2383025 w 8079933"/>
              <a:gd name="connsiteY35388" fmla="*/ 463939 h 4687251"/>
              <a:gd name="connsiteX35389" fmla="*/ 2379878 w 8079933"/>
              <a:gd name="connsiteY35389" fmla="*/ 459284 h 4687251"/>
              <a:gd name="connsiteX35390" fmla="*/ 2379878 w 8079933"/>
              <a:gd name="connsiteY35390" fmla="*/ 455169 h 4687251"/>
              <a:gd name="connsiteX35391" fmla="*/ 2381831 w 8079933"/>
              <a:gd name="connsiteY35391" fmla="*/ 449323 h 4687251"/>
              <a:gd name="connsiteX35392" fmla="*/ 2381831 w 8079933"/>
              <a:gd name="connsiteY35392" fmla="*/ 440878 h 4687251"/>
              <a:gd name="connsiteX35393" fmla="*/ 2383676 w 8079933"/>
              <a:gd name="connsiteY35393" fmla="*/ 436547 h 4687251"/>
              <a:gd name="connsiteX35394" fmla="*/ 2382700 w 8079933"/>
              <a:gd name="connsiteY35394" fmla="*/ 433515 h 4687251"/>
              <a:gd name="connsiteX35395" fmla="*/ 2379444 w 8079933"/>
              <a:gd name="connsiteY35395" fmla="*/ 432758 h 4687251"/>
              <a:gd name="connsiteX35396" fmla="*/ 2374887 w 8079933"/>
              <a:gd name="connsiteY35396" fmla="*/ 435356 h 4687251"/>
              <a:gd name="connsiteX35397" fmla="*/ 2373042 w 8079933"/>
              <a:gd name="connsiteY35397" fmla="*/ 433515 h 4687251"/>
              <a:gd name="connsiteX35398" fmla="*/ 2372716 w 8079933"/>
              <a:gd name="connsiteY35398" fmla="*/ 436547 h 4687251"/>
              <a:gd name="connsiteX35399" fmla="*/ 2370220 w 8079933"/>
              <a:gd name="connsiteY35399" fmla="*/ 436763 h 4687251"/>
              <a:gd name="connsiteX35400" fmla="*/ 2363926 w 8079933"/>
              <a:gd name="connsiteY35400" fmla="*/ 431567 h 4687251"/>
              <a:gd name="connsiteX35401" fmla="*/ 2363166 w 8079933"/>
              <a:gd name="connsiteY35401" fmla="*/ 428535 h 4687251"/>
              <a:gd name="connsiteX35402" fmla="*/ 2358066 w 8079933"/>
              <a:gd name="connsiteY35402" fmla="*/ 427452 h 4687251"/>
              <a:gd name="connsiteX35403" fmla="*/ 2357307 w 8079933"/>
              <a:gd name="connsiteY35403" fmla="*/ 424313 h 4687251"/>
              <a:gd name="connsiteX35404" fmla="*/ 2349711 w 8079933"/>
              <a:gd name="connsiteY35404" fmla="*/ 427127 h 4687251"/>
              <a:gd name="connsiteX35405" fmla="*/ 2346672 w 8079933"/>
              <a:gd name="connsiteY35405" fmla="*/ 424528 h 4687251"/>
              <a:gd name="connsiteX35406" fmla="*/ 2340270 w 8079933"/>
              <a:gd name="connsiteY35406" fmla="*/ 427127 h 4687251"/>
              <a:gd name="connsiteX35407" fmla="*/ 2341680 w 8079933"/>
              <a:gd name="connsiteY35407" fmla="*/ 423555 h 4687251"/>
              <a:gd name="connsiteX35408" fmla="*/ 2344284 w 8079933"/>
              <a:gd name="connsiteY35408" fmla="*/ 421606 h 4687251"/>
              <a:gd name="connsiteX35409" fmla="*/ 2344284 w 8079933"/>
              <a:gd name="connsiteY35409" fmla="*/ 419223 h 4687251"/>
              <a:gd name="connsiteX35410" fmla="*/ 2351664 w 8079933"/>
              <a:gd name="connsiteY35410" fmla="*/ 419765 h 4687251"/>
              <a:gd name="connsiteX35411" fmla="*/ 2353400 w 8079933"/>
              <a:gd name="connsiteY35411" fmla="*/ 421606 h 4687251"/>
              <a:gd name="connsiteX35412" fmla="*/ 2353509 w 8079933"/>
              <a:gd name="connsiteY35412" fmla="*/ 418357 h 4687251"/>
              <a:gd name="connsiteX35413" fmla="*/ 2348951 w 8079933"/>
              <a:gd name="connsiteY35413" fmla="*/ 416409 h 4687251"/>
              <a:gd name="connsiteX35414" fmla="*/ 2343091 w 8079933"/>
              <a:gd name="connsiteY35414" fmla="*/ 408721 h 4687251"/>
              <a:gd name="connsiteX35415" fmla="*/ 2343959 w 8079933"/>
              <a:gd name="connsiteY35415" fmla="*/ 404066 h 4687251"/>
              <a:gd name="connsiteX35416" fmla="*/ 2347866 w 8079933"/>
              <a:gd name="connsiteY35416" fmla="*/ 404282 h 4687251"/>
              <a:gd name="connsiteX35417" fmla="*/ 2350687 w 8079933"/>
              <a:gd name="connsiteY35417" fmla="*/ 401684 h 4687251"/>
              <a:gd name="connsiteX35418" fmla="*/ 2346346 w 8079933"/>
              <a:gd name="connsiteY35418" fmla="*/ 401684 h 4687251"/>
              <a:gd name="connsiteX35419" fmla="*/ 2341897 w 8079933"/>
              <a:gd name="connsiteY35419" fmla="*/ 393564 h 4687251"/>
              <a:gd name="connsiteX35420" fmla="*/ 2337014 w 8079933"/>
              <a:gd name="connsiteY35420" fmla="*/ 391506 h 4687251"/>
              <a:gd name="connsiteX35421" fmla="*/ 2335495 w 8079933"/>
              <a:gd name="connsiteY35421" fmla="*/ 387067 h 4687251"/>
              <a:gd name="connsiteX35422" fmla="*/ 2336472 w 8079933"/>
              <a:gd name="connsiteY35422" fmla="*/ 382087 h 4687251"/>
              <a:gd name="connsiteX35423" fmla="*/ 2341897 w 8079933"/>
              <a:gd name="connsiteY35423" fmla="*/ 389666 h 4687251"/>
              <a:gd name="connsiteX35424" fmla="*/ 2345153 w 8079933"/>
              <a:gd name="connsiteY35424" fmla="*/ 389774 h 4687251"/>
              <a:gd name="connsiteX35425" fmla="*/ 2343091 w 8079933"/>
              <a:gd name="connsiteY35425" fmla="*/ 385334 h 4687251"/>
              <a:gd name="connsiteX35426" fmla="*/ 2339944 w 8079933"/>
              <a:gd name="connsiteY35426" fmla="*/ 381004 h 4687251"/>
              <a:gd name="connsiteX35427" fmla="*/ 2341897 w 8079933"/>
              <a:gd name="connsiteY35427" fmla="*/ 376781 h 4687251"/>
              <a:gd name="connsiteX35428" fmla="*/ 2344284 w 8079933"/>
              <a:gd name="connsiteY35428" fmla="*/ 376565 h 4687251"/>
              <a:gd name="connsiteX35429" fmla="*/ 2345261 w 8079933"/>
              <a:gd name="connsiteY35429" fmla="*/ 374833 h 4687251"/>
              <a:gd name="connsiteX35430" fmla="*/ 2353942 w 8079933"/>
              <a:gd name="connsiteY35430" fmla="*/ 373858 h 4687251"/>
              <a:gd name="connsiteX35431" fmla="*/ 2284493 w 8079933"/>
              <a:gd name="connsiteY35431" fmla="*/ 368879 h 4687251"/>
              <a:gd name="connsiteX35432" fmla="*/ 2286446 w 8079933"/>
              <a:gd name="connsiteY35432" fmla="*/ 369095 h 4687251"/>
              <a:gd name="connsiteX35433" fmla="*/ 2289376 w 8079933"/>
              <a:gd name="connsiteY35433" fmla="*/ 372235 h 4687251"/>
              <a:gd name="connsiteX35434" fmla="*/ 2290352 w 8079933"/>
              <a:gd name="connsiteY35434" fmla="*/ 376459 h 4687251"/>
              <a:gd name="connsiteX35435" fmla="*/ 2287964 w 8079933"/>
              <a:gd name="connsiteY35435" fmla="*/ 377432 h 4687251"/>
              <a:gd name="connsiteX35436" fmla="*/ 2287096 w 8079933"/>
              <a:gd name="connsiteY35436" fmla="*/ 374942 h 4687251"/>
              <a:gd name="connsiteX35437" fmla="*/ 2284384 w 8079933"/>
              <a:gd name="connsiteY35437" fmla="*/ 371044 h 4687251"/>
              <a:gd name="connsiteX35438" fmla="*/ 2456057 w 8079933"/>
              <a:gd name="connsiteY35438" fmla="*/ 367470 h 4687251"/>
              <a:gd name="connsiteX35439" fmla="*/ 2459530 w 8079933"/>
              <a:gd name="connsiteY35439" fmla="*/ 367579 h 4687251"/>
              <a:gd name="connsiteX35440" fmla="*/ 2461917 w 8079933"/>
              <a:gd name="connsiteY35440" fmla="*/ 372450 h 4687251"/>
              <a:gd name="connsiteX35441" fmla="*/ 2465607 w 8079933"/>
              <a:gd name="connsiteY35441" fmla="*/ 372667 h 4687251"/>
              <a:gd name="connsiteX35442" fmla="*/ 2467994 w 8079933"/>
              <a:gd name="connsiteY35442" fmla="*/ 376240 h 4687251"/>
              <a:gd name="connsiteX35443" fmla="*/ 2467343 w 8079933"/>
              <a:gd name="connsiteY35443" fmla="*/ 378297 h 4687251"/>
              <a:gd name="connsiteX35444" fmla="*/ 2469296 w 8079933"/>
              <a:gd name="connsiteY35444" fmla="*/ 380137 h 4687251"/>
              <a:gd name="connsiteX35445" fmla="*/ 2468754 w 8079933"/>
              <a:gd name="connsiteY35445" fmla="*/ 382953 h 4687251"/>
              <a:gd name="connsiteX35446" fmla="*/ 2463979 w 8079933"/>
              <a:gd name="connsiteY35446" fmla="*/ 391072 h 4687251"/>
              <a:gd name="connsiteX35447" fmla="*/ 2458662 w 8079933"/>
              <a:gd name="connsiteY35447" fmla="*/ 393238 h 4687251"/>
              <a:gd name="connsiteX35448" fmla="*/ 2453344 w 8079933"/>
              <a:gd name="connsiteY35448" fmla="*/ 393130 h 4687251"/>
              <a:gd name="connsiteX35449" fmla="*/ 2450089 w 8079933"/>
              <a:gd name="connsiteY35449" fmla="*/ 389665 h 4687251"/>
              <a:gd name="connsiteX35450" fmla="*/ 2449980 w 8079933"/>
              <a:gd name="connsiteY35450" fmla="*/ 385768 h 4687251"/>
              <a:gd name="connsiteX35451" fmla="*/ 2448461 w 8079933"/>
              <a:gd name="connsiteY35451" fmla="*/ 380679 h 4687251"/>
              <a:gd name="connsiteX35452" fmla="*/ 2450414 w 8079933"/>
              <a:gd name="connsiteY35452" fmla="*/ 376023 h 4687251"/>
              <a:gd name="connsiteX35453" fmla="*/ 2450957 w 8079933"/>
              <a:gd name="connsiteY35453" fmla="*/ 371044 h 4687251"/>
              <a:gd name="connsiteX35454" fmla="*/ 5506242 w 8079933"/>
              <a:gd name="connsiteY35454" fmla="*/ 366824 h 4687251"/>
              <a:gd name="connsiteX35455" fmla="*/ 5507870 w 8079933"/>
              <a:gd name="connsiteY35455" fmla="*/ 368339 h 4687251"/>
              <a:gd name="connsiteX35456" fmla="*/ 5508087 w 8079933"/>
              <a:gd name="connsiteY35456" fmla="*/ 373751 h 4687251"/>
              <a:gd name="connsiteX35457" fmla="*/ 5505374 w 8079933"/>
              <a:gd name="connsiteY35457" fmla="*/ 375592 h 4687251"/>
              <a:gd name="connsiteX35458" fmla="*/ 5505049 w 8079933"/>
              <a:gd name="connsiteY35458" fmla="*/ 379707 h 4687251"/>
              <a:gd name="connsiteX35459" fmla="*/ 5500925 w 8079933"/>
              <a:gd name="connsiteY35459" fmla="*/ 384471 h 4687251"/>
              <a:gd name="connsiteX35460" fmla="*/ 5495933 w 8079933"/>
              <a:gd name="connsiteY35460" fmla="*/ 387829 h 4687251"/>
              <a:gd name="connsiteX35461" fmla="*/ 5497453 w 8079933"/>
              <a:gd name="connsiteY35461" fmla="*/ 385229 h 4687251"/>
              <a:gd name="connsiteX35462" fmla="*/ 5497127 w 8079933"/>
              <a:gd name="connsiteY35462" fmla="*/ 383064 h 4687251"/>
              <a:gd name="connsiteX35463" fmla="*/ 5494957 w 8079933"/>
              <a:gd name="connsiteY35463" fmla="*/ 383496 h 4687251"/>
              <a:gd name="connsiteX35464" fmla="*/ 5491810 w 8079933"/>
              <a:gd name="connsiteY35464" fmla="*/ 387071 h 4687251"/>
              <a:gd name="connsiteX35465" fmla="*/ 5487469 w 8079933"/>
              <a:gd name="connsiteY35465" fmla="*/ 388586 h 4687251"/>
              <a:gd name="connsiteX35466" fmla="*/ 5485082 w 8079933"/>
              <a:gd name="connsiteY35466" fmla="*/ 388586 h 4687251"/>
              <a:gd name="connsiteX35467" fmla="*/ 5487252 w 8079933"/>
              <a:gd name="connsiteY35467" fmla="*/ 383172 h 4687251"/>
              <a:gd name="connsiteX35468" fmla="*/ 5491918 w 8079933"/>
              <a:gd name="connsiteY35468" fmla="*/ 376784 h 4687251"/>
              <a:gd name="connsiteX35469" fmla="*/ 5497778 w 8079933"/>
              <a:gd name="connsiteY35469" fmla="*/ 373751 h 4687251"/>
              <a:gd name="connsiteX35470" fmla="*/ 5502119 w 8079933"/>
              <a:gd name="connsiteY35470" fmla="*/ 370072 h 4687251"/>
              <a:gd name="connsiteX35471" fmla="*/ 5503746 w 8079933"/>
              <a:gd name="connsiteY35471" fmla="*/ 367907 h 4687251"/>
              <a:gd name="connsiteX35472" fmla="*/ 2333541 w 8079933"/>
              <a:gd name="connsiteY35472" fmla="*/ 366822 h 4687251"/>
              <a:gd name="connsiteX35473" fmla="*/ 2336580 w 8079933"/>
              <a:gd name="connsiteY35473" fmla="*/ 367795 h 4687251"/>
              <a:gd name="connsiteX35474" fmla="*/ 2336580 w 8079933"/>
              <a:gd name="connsiteY35474" fmla="*/ 369961 h 4687251"/>
              <a:gd name="connsiteX35475" fmla="*/ 2333325 w 8079933"/>
              <a:gd name="connsiteY35475" fmla="*/ 370827 h 4687251"/>
              <a:gd name="connsiteX35476" fmla="*/ 2331263 w 8079933"/>
              <a:gd name="connsiteY35476" fmla="*/ 368879 h 4687251"/>
              <a:gd name="connsiteX35477" fmla="*/ 2268431 w 8079933"/>
              <a:gd name="connsiteY35477" fmla="*/ 364764 h 4687251"/>
              <a:gd name="connsiteX35478" fmla="*/ 2275376 w 8079933"/>
              <a:gd name="connsiteY35478" fmla="*/ 365630 h 4687251"/>
              <a:gd name="connsiteX35479" fmla="*/ 2276896 w 8079933"/>
              <a:gd name="connsiteY35479" fmla="*/ 367146 h 4687251"/>
              <a:gd name="connsiteX35480" fmla="*/ 2272663 w 8079933"/>
              <a:gd name="connsiteY35480" fmla="*/ 368987 h 4687251"/>
              <a:gd name="connsiteX35481" fmla="*/ 2268974 w 8079933"/>
              <a:gd name="connsiteY35481" fmla="*/ 368987 h 4687251"/>
              <a:gd name="connsiteX35482" fmla="*/ 2262029 w 8079933"/>
              <a:gd name="connsiteY35482" fmla="*/ 373101 h 4687251"/>
              <a:gd name="connsiteX35483" fmla="*/ 2258665 w 8079933"/>
              <a:gd name="connsiteY35483" fmla="*/ 372126 h 4687251"/>
              <a:gd name="connsiteX35484" fmla="*/ 2253781 w 8079933"/>
              <a:gd name="connsiteY35484" fmla="*/ 373209 h 4687251"/>
              <a:gd name="connsiteX35485" fmla="*/ 2250526 w 8079933"/>
              <a:gd name="connsiteY35485" fmla="*/ 375482 h 4687251"/>
              <a:gd name="connsiteX35486" fmla="*/ 2248464 w 8079933"/>
              <a:gd name="connsiteY35486" fmla="*/ 373317 h 4687251"/>
              <a:gd name="connsiteX35487" fmla="*/ 2248464 w 8079933"/>
              <a:gd name="connsiteY35487" fmla="*/ 370611 h 4687251"/>
              <a:gd name="connsiteX35488" fmla="*/ 2251068 w 8079933"/>
              <a:gd name="connsiteY35488" fmla="*/ 368987 h 4687251"/>
              <a:gd name="connsiteX35489" fmla="*/ 2255517 w 8079933"/>
              <a:gd name="connsiteY35489" fmla="*/ 367579 h 4687251"/>
              <a:gd name="connsiteX35490" fmla="*/ 2258990 w 8079933"/>
              <a:gd name="connsiteY35490" fmla="*/ 368337 h 4687251"/>
              <a:gd name="connsiteX35491" fmla="*/ 2263114 w 8079933"/>
              <a:gd name="connsiteY35491" fmla="*/ 365847 h 4687251"/>
              <a:gd name="connsiteX35492" fmla="*/ 4424874 w 8079933"/>
              <a:gd name="connsiteY35492" fmla="*/ 358269 h 4687251"/>
              <a:gd name="connsiteX35493" fmla="*/ 4429214 w 8079933"/>
              <a:gd name="connsiteY35493" fmla="*/ 358269 h 4687251"/>
              <a:gd name="connsiteX35494" fmla="*/ 4430516 w 8079933"/>
              <a:gd name="connsiteY35494" fmla="*/ 360001 h 4687251"/>
              <a:gd name="connsiteX35495" fmla="*/ 4430516 w 8079933"/>
              <a:gd name="connsiteY35495" fmla="*/ 362167 h 4687251"/>
              <a:gd name="connsiteX35496" fmla="*/ 4423788 w 8079933"/>
              <a:gd name="connsiteY35496" fmla="*/ 366929 h 4687251"/>
              <a:gd name="connsiteX35497" fmla="*/ 4420316 w 8079933"/>
              <a:gd name="connsiteY35497" fmla="*/ 368662 h 4687251"/>
              <a:gd name="connsiteX35498" fmla="*/ 4414130 w 8079933"/>
              <a:gd name="connsiteY35498" fmla="*/ 373967 h 4687251"/>
              <a:gd name="connsiteX35499" fmla="*/ 4408814 w 8079933"/>
              <a:gd name="connsiteY35499" fmla="*/ 375375 h 4687251"/>
              <a:gd name="connsiteX35500" fmla="*/ 4406209 w 8079933"/>
              <a:gd name="connsiteY35500" fmla="*/ 374726 h 4687251"/>
              <a:gd name="connsiteX35501" fmla="*/ 4405124 w 8079933"/>
              <a:gd name="connsiteY35501" fmla="*/ 372777 h 4687251"/>
              <a:gd name="connsiteX35502" fmla="*/ 4407837 w 8079933"/>
              <a:gd name="connsiteY35502" fmla="*/ 369852 h 4687251"/>
              <a:gd name="connsiteX35503" fmla="*/ 4412503 w 8079933"/>
              <a:gd name="connsiteY35503" fmla="*/ 368554 h 4687251"/>
              <a:gd name="connsiteX35504" fmla="*/ 4416083 w 8079933"/>
              <a:gd name="connsiteY35504" fmla="*/ 365847 h 4687251"/>
              <a:gd name="connsiteX35505" fmla="*/ 4420208 w 8079933"/>
              <a:gd name="connsiteY35505" fmla="*/ 360867 h 4687251"/>
              <a:gd name="connsiteX35506" fmla="*/ 2203214 w 8079933"/>
              <a:gd name="connsiteY35506" fmla="*/ 355669 h 4687251"/>
              <a:gd name="connsiteX35507" fmla="*/ 2209507 w 8079933"/>
              <a:gd name="connsiteY35507" fmla="*/ 355669 h 4687251"/>
              <a:gd name="connsiteX35508" fmla="*/ 2211352 w 8079933"/>
              <a:gd name="connsiteY35508" fmla="*/ 357076 h 4687251"/>
              <a:gd name="connsiteX35509" fmla="*/ 2213197 w 8079933"/>
              <a:gd name="connsiteY35509" fmla="*/ 358266 h 4687251"/>
              <a:gd name="connsiteX35510" fmla="*/ 2214173 w 8079933"/>
              <a:gd name="connsiteY35510" fmla="*/ 360541 h 4687251"/>
              <a:gd name="connsiteX35511" fmla="*/ 2211244 w 8079933"/>
              <a:gd name="connsiteY35511" fmla="*/ 362056 h 4687251"/>
              <a:gd name="connsiteX35512" fmla="*/ 2210158 w 8079933"/>
              <a:gd name="connsiteY35512" fmla="*/ 364654 h 4687251"/>
              <a:gd name="connsiteX35513" fmla="*/ 2212112 w 8079933"/>
              <a:gd name="connsiteY35513" fmla="*/ 365305 h 4687251"/>
              <a:gd name="connsiteX35514" fmla="*/ 2216452 w 8079933"/>
              <a:gd name="connsiteY35514" fmla="*/ 365196 h 4687251"/>
              <a:gd name="connsiteX35515" fmla="*/ 2216344 w 8079933"/>
              <a:gd name="connsiteY35515" fmla="*/ 367361 h 4687251"/>
              <a:gd name="connsiteX35516" fmla="*/ 2214608 w 8079933"/>
              <a:gd name="connsiteY35516" fmla="*/ 370068 h 4687251"/>
              <a:gd name="connsiteX35517" fmla="*/ 2216344 w 8079933"/>
              <a:gd name="connsiteY35517" fmla="*/ 373425 h 4687251"/>
              <a:gd name="connsiteX35518" fmla="*/ 2216344 w 8079933"/>
              <a:gd name="connsiteY35518" fmla="*/ 378080 h 4687251"/>
              <a:gd name="connsiteX35519" fmla="*/ 2214716 w 8079933"/>
              <a:gd name="connsiteY35519" fmla="*/ 381869 h 4687251"/>
              <a:gd name="connsiteX35520" fmla="*/ 2211678 w 8079933"/>
              <a:gd name="connsiteY35520" fmla="*/ 383169 h 4687251"/>
              <a:gd name="connsiteX35521" fmla="*/ 2209182 w 8079933"/>
              <a:gd name="connsiteY35521" fmla="*/ 380354 h 4687251"/>
              <a:gd name="connsiteX35522" fmla="*/ 2202454 w 8079933"/>
              <a:gd name="connsiteY35522" fmla="*/ 379704 h 4687251"/>
              <a:gd name="connsiteX35523" fmla="*/ 2197788 w 8079933"/>
              <a:gd name="connsiteY35523" fmla="*/ 378297 h 4687251"/>
              <a:gd name="connsiteX35524" fmla="*/ 2196486 w 8079933"/>
              <a:gd name="connsiteY35524" fmla="*/ 371909 h 4687251"/>
              <a:gd name="connsiteX35525" fmla="*/ 2200175 w 8079933"/>
              <a:gd name="connsiteY35525" fmla="*/ 368444 h 4687251"/>
              <a:gd name="connsiteX35526" fmla="*/ 2200826 w 8079933"/>
              <a:gd name="connsiteY35526" fmla="*/ 365088 h 4687251"/>
              <a:gd name="connsiteX35527" fmla="*/ 2199741 w 8079933"/>
              <a:gd name="connsiteY35527" fmla="*/ 362489 h 4687251"/>
              <a:gd name="connsiteX35528" fmla="*/ 2200392 w 8079933"/>
              <a:gd name="connsiteY35528" fmla="*/ 357834 h 4687251"/>
              <a:gd name="connsiteX35529" fmla="*/ 4268502 w 8079933"/>
              <a:gd name="connsiteY35529" fmla="*/ 355344 h 4687251"/>
              <a:gd name="connsiteX35530" fmla="*/ 4270021 w 8079933"/>
              <a:gd name="connsiteY35530" fmla="*/ 355344 h 4687251"/>
              <a:gd name="connsiteX35531" fmla="*/ 4272299 w 8079933"/>
              <a:gd name="connsiteY35531" fmla="*/ 358593 h 4687251"/>
              <a:gd name="connsiteX35532" fmla="*/ 4277074 w 8079933"/>
              <a:gd name="connsiteY35532" fmla="*/ 361299 h 4687251"/>
              <a:gd name="connsiteX35533" fmla="*/ 4277943 w 8079933"/>
              <a:gd name="connsiteY35533" fmla="*/ 364547 h 4687251"/>
              <a:gd name="connsiteX35534" fmla="*/ 4277943 w 8079933"/>
              <a:gd name="connsiteY35534" fmla="*/ 373858 h 4687251"/>
              <a:gd name="connsiteX35535" fmla="*/ 4276749 w 8079933"/>
              <a:gd name="connsiteY35535" fmla="*/ 378838 h 4687251"/>
              <a:gd name="connsiteX35536" fmla="*/ 4276749 w 8079933"/>
              <a:gd name="connsiteY35536" fmla="*/ 382304 h 4687251"/>
              <a:gd name="connsiteX35537" fmla="*/ 4278159 w 8079933"/>
              <a:gd name="connsiteY35537" fmla="*/ 384902 h 4687251"/>
              <a:gd name="connsiteX35538" fmla="*/ 4279244 w 8079933"/>
              <a:gd name="connsiteY35538" fmla="*/ 382195 h 4687251"/>
              <a:gd name="connsiteX35539" fmla="*/ 4279244 w 8079933"/>
              <a:gd name="connsiteY35539" fmla="*/ 379489 h 4687251"/>
              <a:gd name="connsiteX35540" fmla="*/ 4280438 w 8079933"/>
              <a:gd name="connsiteY35540" fmla="*/ 379489 h 4687251"/>
              <a:gd name="connsiteX35541" fmla="*/ 4281957 w 8079933"/>
              <a:gd name="connsiteY35541" fmla="*/ 382195 h 4687251"/>
              <a:gd name="connsiteX35542" fmla="*/ 4285213 w 8079933"/>
              <a:gd name="connsiteY35542" fmla="*/ 383711 h 4687251"/>
              <a:gd name="connsiteX35543" fmla="*/ 4286081 w 8079933"/>
              <a:gd name="connsiteY35543" fmla="*/ 380572 h 4687251"/>
              <a:gd name="connsiteX35544" fmla="*/ 4286081 w 8079933"/>
              <a:gd name="connsiteY35544" fmla="*/ 376458 h 4687251"/>
              <a:gd name="connsiteX35545" fmla="*/ 4289011 w 8079933"/>
              <a:gd name="connsiteY35545" fmla="*/ 373209 h 4687251"/>
              <a:gd name="connsiteX35546" fmla="*/ 4289880 w 8079933"/>
              <a:gd name="connsiteY35546" fmla="*/ 370937 h 4687251"/>
              <a:gd name="connsiteX35547" fmla="*/ 4288794 w 8079933"/>
              <a:gd name="connsiteY35547" fmla="*/ 369204 h 4687251"/>
              <a:gd name="connsiteX35548" fmla="*/ 4290856 w 8079933"/>
              <a:gd name="connsiteY35548" fmla="*/ 366929 h 4687251"/>
              <a:gd name="connsiteX35549" fmla="*/ 4291941 w 8079933"/>
              <a:gd name="connsiteY35549" fmla="*/ 366929 h 4687251"/>
              <a:gd name="connsiteX35550" fmla="*/ 4292809 w 8079933"/>
              <a:gd name="connsiteY35550" fmla="*/ 372235 h 4687251"/>
              <a:gd name="connsiteX35551" fmla="*/ 4294871 w 8079933"/>
              <a:gd name="connsiteY35551" fmla="*/ 371152 h 4687251"/>
              <a:gd name="connsiteX35552" fmla="*/ 4296282 w 8079933"/>
              <a:gd name="connsiteY35552" fmla="*/ 367146 h 4687251"/>
              <a:gd name="connsiteX35553" fmla="*/ 4298994 w 8079933"/>
              <a:gd name="connsiteY35553" fmla="*/ 365198 h 4687251"/>
              <a:gd name="connsiteX35554" fmla="*/ 4298994 w 8079933"/>
              <a:gd name="connsiteY35554" fmla="*/ 367687 h 4687251"/>
              <a:gd name="connsiteX35555" fmla="*/ 4298994 w 8079933"/>
              <a:gd name="connsiteY35555" fmla="*/ 370937 h 4687251"/>
              <a:gd name="connsiteX35556" fmla="*/ 4298994 w 8079933"/>
              <a:gd name="connsiteY35556" fmla="*/ 372992 h 4687251"/>
              <a:gd name="connsiteX35557" fmla="*/ 4303010 w 8079933"/>
              <a:gd name="connsiteY35557" fmla="*/ 370393 h 4687251"/>
              <a:gd name="connsiteX35558" fmla="*/ 4304529 w 8079933"/>
              <a:gd name="connsiteY35558" fmla="*/ 371801 h 4687251"/>
              <a:gd name="connsiteX35559" fmla="*/ 4304529 w 8079933"/>
              <a:gd name="connsiteY35559" fmla="*/ 373967 h 4687251"/>
              <a:gd name="connsiteX35560" fmla="*/ 4307893 w 8079933"/>
              <a:gd name="connsiteY35560" fmla="*/ 376023 h 4687251"/>
              <a:gd name="connsiteX35561" fmla="*/ 4312125 w 8079933"/>
              <a:gd name="connsiteY35561" fmla="*/ 376023 h 4687251"/>
              <a:gd name="connsiteX35562" fmla="*/ 4315489 w 8079933"/>
              <a:gd name="connsiteY35562" fmla="*/ 378189 h 4687251"/>
              <a:gd name="connsiteX35563" fmla="*/ 4319939 w 8079933"/>
              <a:gd name="connsiteY35563" fmla="*/ 378838 h 4687251"/>
              <a:gd name="connsiteX35564" fmla="*/ 4328077 w 8079933"/>
              <a:gd name="connsiteY35564" fmla="*/ 378189 h 4687251"/>
              <a:gd name="connsiteX35565" fmla="*/ 4330573 w 8079933"/>
              <a:gd name="connsiteY35565" fmla="*/ 378189 h 4687251"/>
              <a:gd name="connsiteX35566" fmla="*/ 4334371 w 8079933"/>
              <a:gd name="connsiteY35566" fmla="*/ 381438 h 4687251"/>
              <a:gd name="connsiteX35567" fmla="*/ 4340882 w 8079933"/>
              <a:gd name="connsiteY35567" fmla="*/ 381438 h 4687251"/>
              <a:gd name="connsiteX35568" fmla="*/ 4342510 w 8079933"/>
              <a:gd name="connsiteY35568" fmla="*/ 382521 h 4687251"/>
              <a:gd name="connsiteX35569" fmla="*/ 4342510 w 8079933"/>
              <a:gd name="connsiteY35569" fmla="*/ 385227 h 4687251"/>
              <a:gd name="connsiteX35570" fmla="*/ 4341099 w 8079933"/>
              <a:gd name="connsiteY35570" fmla="*/ 387826 h 4687251"/>
              <a:gd name="connsiteX35571" fmla="*/ 4341750 w 8079933"/>
              <a:gd name="connsiteY35571" fmla="*/ 391290 h 4687251"/>
              <a:gd name="connsiteX35572" fmla="*/ 4343269 w 8079933"/>
              <a:gd name="connsiteY35572" fmla="*/ 395187 h 4687251"/>
              <a:gd name="connsiteX35573" fmla="*/ 4343269 w 8079933"/>
              <a:gd name="connsiteY35573" fmla="*/ 398652 h 4687251"/>
              <a:gd name="connsiteX35574" fmla="*/ 4341967 w 8079933"/>
              <a:gd name="connsiteY35574" fmla="*/ 402442 h 4687251"/>
              <a:gd name="connsiteX35575" fmla="*/ 4336976 w 8079933"/>
              <a:gd name="connsiteY35575" fmla="*/ 408289 h 4687251"/>
              <a:gd name="connsiteX35576" fmla="*/ 4333937 w 8079933"/>
              <a:gd name="connsiteY35576" fmla="*/ 412294 h 4687251"/>
              <a:gd name="connsiteX35577" fmla="*/ 4330356 w 8079933"/>
              <a:gd name="connsiteY35577" fmla="*/ 419765 h 4687251"/>
              <a:gd name="connsiteX35578" fmla="*/ 4326992 w 8079933"/>
              <a:gd name="connsiteY35578" fmla="*/ 422905 h 4687251"/>
              <a:gd name="connsiteX35579" fmla="*/ 4324387 w 8079933"/>
              <a:gd name="connsiteY35579" fmla="*/ 425828 h 4687251"/>
              <a:gd name="connsiteX35580" fmla="*/ 4325473 w 8079933"/>
              <a:gd name="connsiteY35580" fmla="*/ 429509 h 4687251"/>
              <a:gd name="connsiteX35581" fmla="*/ 4326558 w 8079933"/>
              <a:gd name="connsiteY35581" fmla="*/ 435789 h 4687251"/>
              <a:gd name="connsiteX35582" fmla="*/ 4325039 w 8079933"/>
              <a:gd name="connsiteY35582" fmla="*/ 437955 h 4687251"/>
              <a:gd name="connsiteX35583" fmla="*/ 4320047 w 8079933"/>
              <a:gd name="connsiteY35583" fmla="*/ 441527 h 4687251"/>
              <a:gd name="connsiteX35584" fmla="*/ 4315598 w 8079933"/>
              <a:gd name="connsiteY35584" fmla="*/ 441527 h 4687251"/>
              <a:gd name="connsiteX35585" fmla="*/ 4311908 w 8079933"/>
              <a:gd name="connsiteY35585" fmla="*/ 439146 h 4687251"/>
              <a:gd name="connsiteX35586" fmla="*/ 4308870 w 8079933"/>
              <a:gd name="connsiteY35586" fmla="*/ 436547 h 4687251"/>
              <a:gd name="connsiteX35587" fmla="*/ 4305940 w 8079933"/>
              <a:gd name="connsiteY35587" fmla="*/ 437088 h 4687251"/>
              <a:gd name="connsiteX35588" fmla="*/ 4301599 w 8079933"/>
              <a:gd name="connsiteY35588" fmla="*/ 441311 h 4687251"/>
              <a:gd name="connsiteX35589" fmla="*/ 4299754 w 8079933"/>
              <a:gd name="connsiteY35589" fmla="*/ 444452 h 4687251"/>
              <a:gd name="connsiteX35590" fmla="*/ 4299754 w 8079933"/>
              <a:gd name="connsiteY35590" fmla="*/ 447049 h 4687251"/>
              <a:gd name="connsiteX35591" fmla="*/ 4300297 w 8079933"/>
              <a:gd name="connsiteY35591" fmla="*/ 449107 h 4687251"/>
              <a:gd name="connsiteX35592" fmla="*/ 4298777 w 8079933"/>
              <a:gd name="connsiteY35592" fmla="*/ 451379 h 4687251"/>
              <a:gd name="connsiteX35593" fmla="*/ 4291615 w 8079933"/>
              <a:gd name="connsiteY35593" fmla="*/ 453546 h 4687251"/>
              <a:gd name="connsiteX35594" fmla="*/ 4286298 w 8079933"/>
              <a:gd name="connsiteY35594" fmla="*/ 452896 h 4687251"/>
              <a:gd name="connsiteX35595" fmla="*/ 4281306 w 8079933"/>
              <a:gd name="connsiteY35595" fmla="*/ 449323 h 4687251"/>
              <a:gd name="connsiteX35596" fmla="*/ 4280330 w 8079933"/>
              <a:gd name="connsiteY35596" fmla="*/ 444884 h 4687251"/>
              <a:gd name="connsiteX35597" fmla="*/ 4281089 w 8079933"/>
              <a:gd name="connsiteY35597" fmla="*/ 440878 h 4687251"/>
              <a:gd name="connsiteX35598" fmla="*/ 4281089 w 8079933"/>
              <a:gd name="connsiteY35598" fmla="*/ 438389 h 4687251"/>
              <a:gd name="connsiteX35599" fmla="*/ 4275012 w 8079933"/>
              <a:gd name="connsiteY35599" fmla="*/ 439578 h 4687251"/>
              <a:gd name="connsiteX35600" fmla="*/ 4270238 w 8079933"/>
              <a:gd name="connsiteY35600" fmla="*/ 439578 h 4687251"/>
              <a:gd name="connsiteX35601" fmla="*/ 4263727 w 8079933"/>
              <a:gd name="connsiteY35601" fmla="*/ 442068 h 4687251"/>
              <a:gd name="connsiteX35602" fmla="*/ 4257216 w 8079933"/>
              <a:gd name="connsiteY35602" fmla="*/ 442068 h 4687251"/>
              <a:gd name="connsiteX35603" fmla="*/ 4252875 w 8079933"/>
              <a:gd name="connsiteY35603" fmla="*/ 443476 h 4687251"/>
              <a:gd name="connsiteX35604" fmla="*/ 4249620 w 8079933"/>
              <a:gd name="connsiteY35604" fmla="*/ 442393 h 4687251"/>
              <a:gd name="connsiteX35605" fmla="*/ 4249620 w 8079933"/>
              <a:gd name="connsiteY35605" fmla="*/ 438711 h 4687251"/>
              <a:gd name="connsiteX35606" fmla="*/ 4247666 w 8079933"/>
              <a:gd name="connsiteY35606" fmla="*/ 434166 h 4687251"/>
              <a:gd name="connsiteX35607" fmla="*/ 4245279 w 8079933"/>
              <a:gd name="connsiteY35607" fmla="*/ 433407 h 4687251"/>
              <a:gd name="connsiteX35608" fmla="*/ 4241372 w 8079933"/>
              <a:gd name="connsiteY35608" fmla="*/ 435465 h 4687251"/>
              <a:gd name="connsiteX35609" fmla="*/ 4238551 w 8079933"/>
              <a:gd name="connsiteY35609" fmla="*/ 434814 h 4687251"/>
              <a:gd name="connsiteX35610" fmla="*/ 4229978 w 8079933"/>
              <a:gd name="connsiteY35610" fmla="*/ 427235 h 4687251"/>
              <a:gd name="connsiteX35611" fmla="*/ 4227156 w 8079933"/>
              <a:gd name="connsiteY35611" fmla="*/ 425721 h 4687251"/>
              <a:gd name="connsiteX35612" fmla="*/ 4227156 w 8079933"/>
              <a:gd name="connsiteY35612" fmla="*/ 423229 h 4687251"/>
              <a:gd name="connsiteX35613" fmla="*/ 4233016 w 8079933"/>
              <a:gd name="connsiteY35613" fmla="*/ 421498 h 4687251"/>
              <a:gd name="connsiteX35614" fmla="*/ 4237574 w 8079933"/>
              <a:gd name="connsiteY35614" fmla="*/ 422364 h 4687251"/>
              <a:gd name="connsiteX35615" fmla="*/ 4242240 w 8079933"/>
              <a:gd name="connsiteY35615" fmla="*/ 425937 h 4687251"/>
              <a:gd name="connsiteX35616" fmla="*/ 4244845 w 8079933"/>
              <a:gd name="connsiteY35616" fmla="*/ 425937 h 4687251"/>
              <a:gd name="connsiteX35617" fmla="*/ 4246039 w 8079933"/>
              <a:gd name="connsiteY35617" fmla="*/ 424312 h 4687251"/>
              <a:gd name="connsiteX35618" fmla="*/ 4250921 w 8079933"/>
              <a:gd name="connsiteY35618" fmla="*/ 426262 h 4687251"/>
              <a:gd name="connsiteX35619" fmla="*/ 4253309 w 8079933"/>
              <a:gd name="connsiteY35619" fmla="*/ 426262 h 4687251"/>
              <a:gd name="connsiteX35620" fmla="*/ 4253309 w 8079933"/>
              <a:gd name="connsiteY35620" fmla="*/ 424095 h 4687251"/>
              <a:gd name="connsiteX35621" fmla="*/ 4250921 w 8079933"/>
              <a:gd name="connsiteY35621" fmla="*/ 422255 h 4687251"/>
              <a:gd name="connsiteX35622" fmla="*/ 4243868 w 8079933"/>
              <a:gd name="connsiteY35622" fmla="*/ 420416 h 4687251"/>
              <a:gd name="connsiteX35623" fmla="*/ 4241915 w 8079933"/>
              <a:gd name="connsiteY35623" fmla="*/ 419008 h 4687251"/>
              <a:gd name="connsiteX35624" fmla="*/ 4242892 w 8079933"/>
              <a:gd name="connsiteY35624" fmla="*/ 417274 h 4687251"/>
              <a:gd name="connsiteX35625" fmla="*/ 4247232 w 8079933"/>
              <a:gd name="connsiteY35625" fmla="*/ 418249 h 4687251"/>
              <a:gd name="connsiteX35626" fmla="*/ 4252875 w 8079933"/>
              <a:gd name="connsiteY35626" fmla="*/ 418249 h 4687251"/>
              <a:gd name="connsiteX35627" fmla="*/ 4257867 w 8079933"/>
              <a:gd name="connsiteY35627" fmla="*/ 419333 h 4687251"/>
              <a:gd name="connsiteX35628" fmla="*/ 4260471 w 8079933"/>
              <a:gd name="connsiteY35628" fmla="*/ 417817 h 4687251"/>
              <a:gd name="connsiteX35629" fmla="*/ 4261991 w 8079933"/>
              <a:gd name="connsiteY35629" fmla="*/ 415001 h 4687251"/>
              <a:gd name="connsiteX35630" fmla="*/ 4263510 w 8079933"/>
              <a:gd name="connsiteY35630" fmla="*/ 413269 h 4687251"/>
              <a:gd name="connsiteX35631" fmla="*/ 4263510 w 8079933"/>
              <a:gd name="connsiteY35631" fmla="*/ 411320 h 4687251"/>
              <a:gd name="connsiteX35632" fmla="*/ 4261556 w 8079933"/>
              <a:gd name="connsiteY35632" fmla="*/ 409913 h 4687251"/>
              <a:gd name="connsiteX35633" fmla="*/ 4258952 w 8079933"/>
              <a:gd name="connsiteY35633" fmla="*/ 409913 h 4687251"/>
              <a:gd name="connsiteX35634" fmla="*/ 4255371 w 8079933"/>
              <a:gd name="connsiteY35634" fmla="*/ 412510 h 4687251"/>
              <a:gd name="connsiteX35635" fmla="*/ 4248752 w 8079933"/>
              <a:gd name="connsiteY35635" fmla="*/ 412510 h 4687251"/>
              <a:gd name="connsiteX35636" fmla="*/ 4240287 w 8079933"/>
              <a:gd name="connsiteY35636" fmla="*/ 413269 h 4687251"/>
              <a:gd name="connsiteX35637" fmla="*/ 4237574 w 8079933"/>
              <a:gd name="connsiteY35637" fmla="*/ 414352 h 4687251"/>
              <a:gd name="connsiteX35638" fmla="*/ 4232256 w 8079933"/>
              <a:gd name="connsiteY35638" fmla="*/ 418140 h 4687251"/>
              <a:gd name="connsiteX35639" fmla="*/ 4230303 w 8079933"/>
              <a:gd name="connsiteY35639" fmla="*/ 418140 h 4687251"/>
              <a:gd name="connsiteX35640" fmla="*/ 4227374 w 8079933"/>
              <a:gd name="connsiteY35640" fmla="*/ 415867 h 4687251"/>
              <a:gd name="connsiteX35641" fmla="*/ 4223575 w 8079933"/>
              <a:gd name="connsiteY35641" fmla="*/ 417383 h 4687251"/>
              <a:gd name="connsiteX35642" fmla="*/ 4217716 w 8079933"/>
              <a:gd name="connsiteY35642" fmla="*/ 417383 h 4687251"/>
              <a:gd name="connsiteX35643" fmla="*/ 4213592 w 8079933"/>
              <a:gd name="connsiteY35643" fmla="*/ 414785 h 4687251"/>
              <a:gd name="connsiteX35644" fmla="*/ 4210120 w 8079933"/>
              <a:gd name="connsiteY35644" fmla="*/ 413377 h 4687251"/>
              <a:gd name="connsiteX35645" fmla="*/ 4205128 w 8079933"/>
              <a:gd name="connsiteY35645" fmla="*/ 405690 h 4687251"/>
              <a:gd name="connsiteX35646" fmla="*/ 4205128 w 8079933"/>
              <a:gd name="connsiteY35646" fmla="*/ 403092 h 4687251"/>
              <a:gd name="connsiteX35647" fmla="*/ 4211530 w 8079933"/>
              <a:gd name="connsiteY35647" fmla="*/ 398976 h 4687251"/>
              <a:gd name="connsiteX35648" fmla="*/ 4210336 w 8079933"/>
              <a:gd name="connsiteY35648" fmla="*/ 397245 h 4687251"/>
              <a:gd name="connsiteX35649" fmla="*/ 4206213 w 8079933"/>
              <a:gd name="connsiteY35649" fmla="*/ 397245 h 4687251"/>
              <a:gd name="connsiteX35650" fmla="*/ 4205019 w 8079933"/>
              <a:gd name="connsiteY35650" fmla="*/ 395513 h 4687251"/>
              <a:gd name="connsiteX35651" fmla="*/ 4206538 w 8079933"/>
              <a:gd name="connsiteY35651" fmla="*/ 392913 h 4687251"/>
              <a:gd name="connsiteX35652" fmla="*/ 4203934 w 8079933"/>
              <a:gd name="connsiteY35652" fmla="*/ 390315 h 4687251"/>
              <a:gd name="connsiteX35653" fmla="*/ 4200570 w 8079933"/>
              <a:gd name="connsiteY35653" fmla="*/ 390858 h 4687251"/>
              <a:gd name="connsiteX35654" fmla="*/ 4198834 w 8079933"/>
              <a:gd name="connsiteY35654" fmla="*/ 386202 h 4687251"/>
              <a:gd name="connsiteX35655" fmla="*/ 4202524 w 8079933"/>
              <a:gd name="connsiteY35655" fmla="*/ 383170 h 4687251"/>
              <a:gd name="connsiteX35656" fmla="*/ 4205779 w 8079933"/>
              <a:gd name="connsiteY35656" fmla="*/ 385552 h 4687251"/>
              <a:gd name="connsiteX35657" fmla="*/ 4214026 w 8079933"/>
              <a:gd name="connsiteY35657" fmla="*/ 384469 h 4687251"/>
              <a:gd name="connsiteX35658" fmla="*/ 4215763 w 8079933"/>
              <a:gd name="connsiteY35658" fmla="*/ 386526 h 4687251"/>
              <a:gd name="connsiteX35659" fmla="*/ 4217824 w 8079933"/>
              <a:gd name="connsiteY35659" fmla="*/ 392048 h 4687251"/>
              <a:gd name="connsiteX35660" fmla="*/ 4219344 w 8079933"/>
              <a:gd name="connsiteY35660" fmla="*/ 392913 h 4687251"/>
              <a:gd name="connsiteX35661" fmla="*/ 4220537 w 8079933"/>
              <a:gd name="connsiteY35661" fmla="*/ 389449 h 4687251"/>
              <a:gd name="connsiteX35662" fmla="*/ 4220537 w 8079933"/>
              <a:gd name="connsiteY35662" fmla="*/ 385985 h 4687251"/>
              <a:gd name="connsiteX35663" fmla="*/ 4218149 w 8079933"/>
              <a:gd name="connsiteY35663" fmla="*/ 382521 h 4687251"/>
              <a:gd name="connsiteX35664" fmla="*/ 4217173 w 8079933"/>
              <a:gd name="connsiteY35664" fmla="*/ 377323 h 4687251"/>
              <a:gd name="connsiteX35665" fmla="*/ 4217173 w 8079933"/>
              <a:gd name="connsiteY35665" fmla="*/ 373317 h 4687251"/>
              <a:gd name="connsiteX35666" fmla="*/ 4218692 w 8079933"/>
              <a:gd name="connsiteY35666" fmla="*/ 374833 h 4687251"/>
              <a:gd name="connsiteX35667" fmla="*/ 4220103 w 8079933"/>
              <a:gd name="connsiteY35667" fmla="*/ 378948 h 4687251"/>
              <a:gd name="connsiteX35668" fmla="*/ 4222816 w 8079933"/>
              <a:gd name="connsiteY35668" fmla="*/ 382087 h 4687251"/>
              <a:gd name="connsiteX35669" fmla="*/ 4224878 w 8079933"/>
              <a:gd name="connsiteY35669" fmla="*/ 380896 h 4687251"/>
              <a:gd name="connsiteX35670" fmla="*/ 4223467 w 8079933"/>
              <a:gd name="connsiteY35670" fmla="*/ 374726 h 4687251"/>
              <a:gd name="connsiteX35671" fmla="*/ 4220754 w 8079933"/>
              <a:gd name="connsiteY35671" fmla="*/ 369744 h 4687251"/>
              <a:gd name="connsiteX35672" fmla="*/ 4219886 w 8079933"/>
              <a:gd name="connsiteY35672" fmla="*/ 364764 h 4687251"/>
              <a:gd name="connsiteX35673" fmla="*/ 4220537 w 8079933"/>
              <a:gd name="connsiteY35673" fmla="*/ 358269 h 4687251"/>
              <a:gd name="connsiteX35674" fmla="*/ 4222924 w 8079933"/>
              <a:gd name="connsiteY35674" fmla="*/ 355560 h 4687251"/>
              <a:gd name="connsiteX35675" fmla="*/ 4224878 w 8079933"/>
              <a:gd name="connsiteY35675" fmla="*/ 356427 h 4687251"/>
              <a:gd name="connsiteX35676" fmla="*/ 4226397 w 8079933"/>
              <a:gd name="connsiteY35676" fmla="*/ 360325 h 4687251"/>
              <a:gd name="connsiteX35677" fmla="*/ 4225312 w 8079933"/>
              <a:gd name="connsiteY35677" fmla="*/ 363898 h 4687251"/>
              <a:gd name="connsiteX35678" fmla="*/ 4228025 w 8079933"/>
              <a:gd name="connsiteY35678" fmla="*/ 366821 h 4687251"/>
              <a:gd name="connsiteX35679" fmla="*/ 4229869 w 8079933"/>
              <a:gd name="connsiteY35679" fmla="*/ 365954 h 4687251"/>
              <a:gd name="connsiteX35680" fmla="*/ 4233125 w 8079933"/>
              <a:gd name="connsiteY35680" fmla="*/ 367362 h 4687251"/>
              <a:gd name="connsiteX35681" fmla="*/ 4234536 w 8079933"/>
              <a:gd name="connsiteY35681" fmla="*/ 371693 h 4687251"/>
              <a:gd name="connsiteX35682" fmla="*/ 4237249 w 8079933"/>
              <a:gd name="connsiteY35682" fmla="*/ 375483 h 4687251"/>
              <a:gd name="connsiteX35683" fmla="*/ 4239853 w 8079933"/>
              <a:gd name="connsiteY35683" fmla="*/ 375483 h 4687251"/>
              <a:gd name="connsiteX35684" fmla="*/ 4239853 w 8079933"/>
              <a:gd name="connsiteY35684" fmla="*/ 377540 h 4687251"/>
              <a:gd name="connsiteX35685" fmla="*/ 4239853 w 8079933"/>
              <a:gd name="connsiteY35685" fmla="*/ 379922 h 4687251"/>
              <a:gd name="connsiteX35686" fmla="*/ 4243108 w 8079933"/>
              <a:gd name="connsiteY35686" fmla="*/ 381438 h 4687251"/>
              <a:gd name="connsiteX35687" fmla="*/ 4246907 w 8079933"/>
              <a:gd name="connsiteY35687" fmla="*/ 378838 h 4687251"/>
              <a:gd name="connsiteX35688" fmla="*/ 4248100 w 8079933"/>
              <a:gd name="connsiteY35688" fmla="*/ 377107 h 4687251"/>
              <a:gd name="connsiteX35689" fmla="*/ 4249945 w 8079933"/>
              <a:gd name="connsiteY35689" fmla="*/ 377107 h 4687251"/>
              <a:gd name="connsiteX35690" fmla="*/ 4254286 w 8079933"/>
              <a:gd name="connsiteY35690" fmla="*/ 374508 h 4687251"/>
              <a:gd name="connsiteX35691" fmla="*/ 4256999 w 8079933"/>
              <a:gd name="connsiteY35691" fmla="*/ 376023 h 4687251"/>
              <a:gd name="connsiteX35692" fmla="*/ 4256999 w 8079933"/>
              <a:gd name="connsiteY35692" fmla="*/ 378297 h 4687251"/>
              <a:gd name="connsiteX35693" fmla="*/ 4255154 w 8079933"/>
              <a:gd name="connsiteY35693" fmla="*/ 381546 h 4687251"/>
              <a:gd name="connsiteX35694" fmla="*/ 4255805 w 8079933"/>
              <a:gd name="connsiteY35694" fmla="*/ 384686 h 4687251"/>
              <a:gd name="connsiteX35695" fmla="*/ 4260146 w 8079933"/>
              <a:gd name="connsiteY35695" fmla="*/ 387284 h 4687251"/>
              <a:gd name="connsiteX35696" fmla="*/ 4264269 w 8079933"/>
              <a:gd name="connsiteY35696" fmla="*/ 390858 h 4687251"/>
              <a:gd name="connsiteX35697" fmla="*/ 4265789 w 8079933"/>
              <a:gd name="connsiteY35697" fmla="*/ 395295 h 4687251"/>
              <a:gd name="connsiteX35698" fmla="*/ 4267633 w 8079933"/>
              <a:gd name="connsiteY35698" fmla="*/ 395295 h 4687251"/>
              <a:gd name="connsiteX35699" fmla="*/ 4269153 w 8079933"/>
              <a:gd name="connsiteY35699" fmla="*/ 391398 h 4687251"/>
              <a:gd name="connsiteX35700" fmla="*/ 4266548 w 8079933"/>
              <a:gd name="connsiteY35700" fmla="*/ 384902 h 4687251"/>
              <a:gd name="connsiteX35701" fmla="*/ 4266548 w 8079933"/>
              <a:gd name="connsiteY35701" fmla="*/ 379380 h 4687251"/>
              <a:gd name="connsiteX35702" fmla="*/ 4267417 w 8079933"/>
              <a:gd name="connsiteY35702" fmla="*/ 375267 h 4687251"/>
              <a:gd name="connsiteX35703" fmla="*/ 4267417 w 8079933"/>
              <a:gd name="connsiteY35703" fmla="*/ 370827 h 4687251"/>
              <a:gd name="connsiteX35704" fmla="*/ 4263944 w 8079933"/>
              <a:gd name="connsiteY35704" fmla="*/ 367037 h 4687251"/>
              <a:gd name="connsiteX35705" fmla="*/ 4263944 w 8079933"/>
              <a:gd name="connsiteY35705" fmla="*/ 362382 h 4687251"/>
              <a:gd name="connsiteX35706" fmla="*/ 4266005 w 8079933"/>
              <a:gd name="connsiteY35706" fmla="*/ 360866 h 4687251"/>
              <a:gd name="connsiteX35707" fmla="*/ 4267958 w 8079933"/>
              <a:gd name="connsiteY35707" fmla="*/ 363248 h 4687251"/>
              <a:gd name="connsiteX35708" fmla="*/ 4271431 w 8079933"/>
              <a:gd name="connsiteY35708" fmla="*/ 364115 h 4687251"/>
              <a:gd name="connsiteX35709" fmla="*/ 4270238 w 8079933"/>
              <a:gd name="connsiteY35709" fmla="*/ 361190 h 4687251"/>
              <a:gd name="connsiteX35710" fmla="*/ 4267633 w 8079933"/>
              <a:gd name="connsiteY35710" fmla="*/ 358484 h 4687251"/>
              <a:gd name="connsiteX35711" fmla="*/ 5404454 w 8079933"/>
              <a:gd name="connsiteY35711" fmla="*/ 350365 h 4687251"/>
              <a:gd name="connsiteX35712" fmla="*/ 5407819 w 8079933"/>
              <a:gd name="connsiteY35712" fmla="*/ 351664 h 4687251"/>
              <a:gd name="connsiteX35713" fmla="*/ 5407927 w 8079933"/>
              <a:gd name="connsiteY35713" fmla="*/ 354912 h 4687251"/>
              <a:gd name="connsiteX35714" fmla="*/ 5405757 w 8079933"/>
              <a:gd name="connsiteY35714" fmla="*/ 355455 h 4687251"/>
              <a:gd name="connsiteX35715" fmla="*/ 5402501 w 8079933"/>
              <a:gd name="connsiteY35715" fmla="*/ 351664 h 4687251"/>
              <a:gd name="connsiteX35716" fmla="*/ 2763485 w 8079933"/>
              <a:gd name="connsiteY35716" fmla="*/ 345925 h 4687251"/>
              <a:gd name="connsiteX35717" fmla="*/ 2765655 w 8079933"/>
              <a:gd name="connsiteY35717" fmla="*/ 345925 h 4687251"/>
              <a:gd name="connsiteX35718" fmla="*/ 2768693 w 8079933"/>
              <a:gd name="connsiteY35718" fmla="*/ 347658 h 4687251"/>
              <a:gd name="connsiteX35719" fmla="*/ 2768476 w 8079933"/>
              <a:gd name="connsiteY35719" fmla="*/ 350580 h 4687251"/>
              <a:gd name="connsiteX35720" fmla="*/ 2763810 w 8079933"/>
              <a:gd name="connsiteY35720" fmla="*/ 350580 h 4687251"/>
              <a:gd name="connsiteX35721" fmla="*/ 2761640 w 8079933"/>
              <a:gd name="connsiteY35721" fmla="*/ 347766 h 4687251"/>
              <a:gd name="connsiteX35722" fmla="*/ 6275083 w 8079933"/>
              <a:gd name="connsiteY35722" fmla="*/ 345816 h 4687251"/>
              <a:gd name="connsiteX35723" fmla="*/ 6278556 w 8079933"/>
              <a:gd name="connsiteY35723" fmla="*/ 346682 h 4687251"/>
              <a:gd name="connsiteX35724" fmla="*/ 6284415 w 8079933"/>
              <a:gd name="connsiteY35724" fmla="*/ 351772 h 4687251"/>
              <a:gd name="connsiteX35725" fmla="*/ 6289950 w 8079933"/>
              <a:gd name="connsiteY35725" fmla="*/ 351988 h 4687251"/>
              <a:gd name="connsiteX35726" fmla="*/ 6294942 w 8079933"/>
              <a:gd name="connsiteY35726" fmla="*/ 353720 h 4687251"/>
              <a:gd name="connsiteX35727" fmla="*/ 6301669 w 8079933"/>
              <a:gd name="connsiteY35727" fmla="*/ 360216 h 4687251"/>
              <a:gd name="connsiteX35728" fmla="*/ 6301344 w 8079933"/>
              <a:gd name="connsiteY35728" fmla="*/ 363464 h 4687251"/>
              <a:gd name="connsiteX35729" fmla="*/ 6298414 w 8079933"/>
              <a:gd name="connsiteY35729" fmla="*/ 363248 h 4687251"/>
              <a:gd name="connsiteX35730" fmla="*/ 6293530 w 8079933"/>
              <a:gd name="connsiteY35730" fmla="*/ 358808 h 4687251"/>
              <a:gd name="connsiteX35731" fmla="*/ 6288105 w 8079933"/>
              <a:gd name="connsiteY35731" fmla="*/ 358267 h 4687251"/>
              <a:gd name="connsiteX35732" fmla="*/ 6283547 w 8079933"/>
              <a:gd name="connsiteY35732" fmla="*/ 354911 h 4687251"/>
              <a:gd name="connsiteX35733" fmla="*/ 6278556 w 8079933"/>
              <a:gd name="connsiteY35733" fmla="*/ 355019 h 4687251"/>
              <a:gd name="connsiteX35734" fmla="*/ 6275843 w 8079933"/>
              <a:gd name="connsiteY35734" fmla="*/ 351447 h 4687251"/>
              <a:gd name="connsiteX35735" fmla="*/ 6274106 w 8079933"/>
              <a:gd name="connsiteY35735" fmla="*/ 347116 h 4687251"/>
              <a:gd name="connsiteX35736" fmla="*/ 4230087 w 8079933"/>
              <a:gd name="connsiteY35736" fmla="*/ 337697 h 4687251"/>
              <a:gd name="connsiteX35737" fmla="*/ 4233669 w 8079933"/>
              <a:gd name="connsiteY35737" fmla="*/ 338888 h 4687251"/>
              <a:gd name="connsiteX35738" fmla="*/ 4238768 w 8079933"/>
              <a:gd name="connsiteY35738" fmla="*/ 341811 h 4687251"/>
              <a:gd name="connsiteX35739" fmla="*/ 4243760 w 8079933"/>
              <a:gd name="connsiteY35739" fmla="*/ 341054 h 4687251"/>
              <a:gd name="connsiteX35740" fmla="*/ 4245822 w 8079933"/>
              <a:gd name="connsiteY35740" fmla="*/ 342894 h 4687251"/>
              <a:gd name="connsiteX35741" fmla="*/ 4243869 w 8079933"/>
              <a:gd name="connsiteY35741" fmla="*/ 346250 h 4687251"/>
              <a:gd name="connsiteX35742" fmla="*/ 4241807 w 8079933"/>
              <a:gd name="connsiteY35742" fmla="*/ 347658 h 4687251"/>
              <a:gd name="connsiteX35743" fmla="*/ 4238335 w 8079933"/>
              <a:gd name="connsiteY35743" fmla="*/ 346901 h 4687251"/>
              <a:gd name="connsiteX35744" fmla="*/ 4230847 w 8079933"/>
              <a:gd name="connsiteY35744" fmla="*/ 341054 h 4687251"/>
              <a:gd name="connsiteX35745" fmla="*/ 4229002 w 8079933"/>
              <a:gd name="connsiteY35745" fmla="*/ 339322 h 4687251"/>
              <a:gd name="connsiteX35746" fmla="*/ 4693670 w 8079933"/>
              <a:gd name="connsiteY35746" fmla="*/ 334665 h 4687251"/>
              <a:gd name="connsiteX35747" fmla="*/ 4698879 w 8079933"/>
              <a:gd name="connsiteY35747" fmla="*/ 342353 h 4687251"/>
              <a:gd name="connsiteX35748" fmla="*/ 4698879 w 8079933"/>
              <a:gd name="connsiteY35748" fmla="*/ 347116 h 4687251"/>
              <a:gd name="connsiteX35749" fmla="*/ 4704196 w 8079933"/>
              <a:gd name="connsiteY35749" fmla="*/ 347982 h 4687251"/>
              <a:gd name="connsiteX35750" fmla="*/ 4705390 w 8079933"/>
              <a:gd name="connsiteY35750" fmla="*/ 351447 h 4687251"/>
              <a:gd name="connsiteX35751" fmla="*/ 4703546 w 8079933"/>
              <a:gd name="connsiteY35751" fmla="*/ 354263 h 4687251"/>
              <a:gd name="connsiteX35752" fmla="*/ 4696491 w 8079933"/>
              <a:gd name="connsiteY35752" fmla="*/ 354263 h 4687251"/>
              <a:gd name="connsiteX35753" fmla="*/ 4692910 w 8079933"/>
              <a:gd name="connsiteY35753" fmla="*/ 356536 h 4687251"/>
              <a:gd name="connsiteX35754" fmla="*/ 4688787 w 8079933"/>
              <a:gd name="connsiteY35754" fmla="*/ 356536 h 4687251"/>
              <a:gd name="connsiteX35755" fmla="*/ 4687702 w 8079933"/>
              <a:gd name="connsiteY35755" fmla="*/ 352422 h 4687251"/>
              <a:gd name="connsiteX35756" fmla="*/ 4682927 w 8079933"/>
              <a:gd name="connsiteY35756" fmla="*/ 348849 h 4687251"/>
              <a:gd name="connsiteX35757" fmla="*/ 4685314 w 8079933"/>
              <a:gd name="connsiteY35757" fmla="*/ 347766 h 4687251"/>
              <a:gd name="connsiteX35758" fmla="*/ 4690957 w 8079933"/>
              <a:gd name="connsiteY35758" fmla="*/ 347766 h 4687251"/>
              <a:gd name="connsiteX35759" fmla="*/ 4692476 w 8079933"/>
              <a:gd name="connsiteY35759" fmla="*/ 344844 h 4687251"/>
              <a:gd name="connsiteX35760" fmla="*/ 4692476 w 8079933"/>
              <a:gd name="connsiteY35760" fmla="*/ 336940 h 4687251"/>
              <a:gd name="connsiteX35761" fmla="*/ 4812495 w 8079933"/>
              <a:gd name="connsiteY35761" fmla="*/ 332717 h 4687251"/>
              <a:gd name="connsiteX35762" fmla="*/ 4816728 w 8079933"/>
              <a:gd name="connsiteY35762" fmla="*/ 332717 h 4687251"/>
              <a:gd name="connsiteX35763" fmla="*/ 4821068 w 8079933"/>
              <a:gd name="connsiteY35763" fmla="*/ 337155 h 4687251"/>
              <a:gd name="connsiteX35764" fmla="*/ 4819006 w 8079933"/>
              <a:gd name="connsiteY35764" fmla="*/ 338779 h 4687251"/>
              <a:gd name="connsiteX35765" fmla="*/ 4816728 w 8079933"/>
              <a:gd name="connsiteY35765" fmla="*/ 337479 h 4687251"/>
              <a:gd name="connsiteX35766" fmla="*/ 4811953 w 8079933"/>
              <a:gd name="connsiteY35766" fmla="*/ 335965 h 4687251"/>
              <a:gd name="connsiteX35767" fmla="*/ 2387148 w 8079933"/>
              <a:gd name="connsiteY35767" fmla="*/ 331741 h 4687251"/>
              <a:gd name="connsiteX35768" fmla="*/ 2390730 w 8079933"/>
              <a:gd name="connsiteY35768" fmla="*/ 332932 h 4687251"/>
              <a:gd name="connsiteX35769" fmla="*/ 2394203 w 8079933"/>
              <a:gd name="connsiteY35769" fmla="*/ 332175 h 4687251"/>
              <a:gd name="connsiteX35770" fmla="*/ 2396807 w 8079933"/>
              <a:gd name="connsiteY35770" fmla="*/ 332932 h 4687251"/>
              <a:gd name="connsiteX35771" fmla="*/ 2397349 w 8079933"/>
              <a:gd name="connsiteY35771" fmla="*/ 335531 h 4687251"/>
              <a:gd name="connsiteX35772" fmla="*/ 2401473 w 8079933"/>
              <a:gd name="connsiteY35772" fmla="*/ 335964 h 4687251"/>
              <a:gd name="connsiteX35773" fmla="*/ 2403209 w 8079933"/>
              <a:gd name="connsiteY35773" fmla="*/ 334664 h 4687251"/>
              <a:gd name="connsiteX35774" fmla="*/ 2406790 w 8079933"/>
              <a:gd name="connsiteY35774" fmla="*/ 336722 h 4687251"/>
              <a:gd name="connsiteX35775" fmla="*/ 2410371 w 8079933"/>
              <a:gd name="connsiteY35775" fmla="*/ 337155 h 4687251"/>
              <a:gd name="connsiteX35776" fmla="*/ 2415255 w 8079933"/>
              <a:gd name="connsiteY35776" fmla="*/ 343001 h 4687251"/>
              <a:gd name="connsiteX35777" fmla="*/ 2418619 w 8079933"/>
              <a:gd name="connsiteY35777" fmla="*/ 344951 h 4687251"/>
              <a:gd name="connsiteX35778" fmla="*/ 2416774 w 8079933"/>
              <a:gd name="connsiteY35778" fmla="*/ 346791 h 4687251"/>
              <a:gd name="connsiteX35779" fmla="*/ 2418185 w 8079933"/>
              <a:gd name="connsiteY35779" fmla="*/ 349065 h 4687251"/>
              <a:gd name="connsiteX35780" fmla="*/ 2421440 w 8079933"/>
              <a:gd name="connsiteY35780" fmla="*/ 349065 h 4687251"/>
              <a:gd name="connsiteX35781" fmla="*/ 2424913 w 8079933"/>
              <a:gd name="connsiteY35781" fmla="*/ 347224 h 4687251"/>
              <a:gd name="connsiteX35782" fmla="*/ 2427843 w 8079933"/>
              <a:gd name="connsiteY35782" fmla="*/ 351122 h 4687251"/>
              <a:gd name="connsiteX35783" fmla="*/ 2430773 w 8079933"/>
              <a:gd name="connsiteY35783" fmla="*/ 353504 h 4687251"/>
              <a:gd name="connsiteX35784" fmla="*/ 2430231 w 8079933"/>
              <a:gd name="connsiteY35784" fmla="*/ 356426 h 4687251"/>
              <a:gd name="connsiteX35785" fmla="*/ 2431207 w 8079933"/>
              <a:gd name="connsiteY35785" fmla="*/ 358700 h 4687251"/>
              <a:gd name="connsiteX35786" fmla="*/ 2429145 w 8079933"/>
              <a:gd name="connsiteY35786" fmla="*/ 360541 h 4687251"/>
              <a:gd name="connsiteX35787" fmla="*/ 2424045 w 8079933"/>
              <a:gd name="connsiteY35787" fmla="*/ 359242 h 4687251"/>
              <a:gd name="connsiteX35788" fmla="*/ 2417968 w 8079933"/>
              <a:gd name="connsiteY35788" fmla="*/ 364655 h 4687251"/>
              <a:gd name="connsiteX35789" fmla="*/ 2413844 w 8079933"/>
              <a:gd name="connsiteY35789" fmla="*/ 365738 h 4687251"/>
              <a:gd name="connsiteX35790" fmla="*/ 2407984 w 8079933"/>
              <a:gd name="connsiteY35790" fmla="*/ 361949 h 4687251"/>
              <a:gd name="connsiteX35791" fmla="*/ 2400930 w 8079933"/>
              <a:gd name="connsiteY35791" fmla="*/ 361840 h 4687251"/>
              <a:gd name="connsiteX35792" fmla="*/ 2394419 w 8079933"/>
              <a:gd name="connsiteY35792" fmla="*/ 357185 h 4687251"/>
              <a:gd name="connsiteX35793" fmla="*/ 2389102 w 8079933"/>
              <a:gd name="connsiteY35793" fmla="*/ 357185 h 4687251"/>
              <a:gd name="connsiteX35794" fmla="*/ 2384435 w 8079933"/>
              <a:gd name="connsiteY35794" fmla="*/ 354694 h 4687251"/>
              <a:gd name="connsiteX35795" fmla="*/ 2381289 w 8079933"/>
              <a:gd name="connsiteY35795" fmla="*/ 350580 h 4687251"/>
              <a:gd name="connsiteX35796" fmla="*/ 2376297 w 8079933"/>
              <a:gd name="connsiteY35796" fmla="*/ 351122 h 4687251"/>
              <a:gd name="connsiteX35797" fmla="*/ 2373367 w 8079933"/>
              <a:gd name="connsiteY35797" fmla="*/ 350580 h 4687251"/>
              <a:gd name="connsiteX35798" fmla="*/ 2372716 w 8079933"/>
              <a:gd name="connsiteY35798" fmla="*/ 343543 h 4687251"/>
              <a:gd name="connsiteX35799" fmla="*/ 2375212 w 8079933"/>
              <a:gd name="connsiteY35799" fmla="*/ 336180 h 4687251"/>
              <a:gd name="connsiteX35800" fmla="*/ 2378901 w 8079933"/>
              <a:gd name="connsiteY35800" fmla="*/ 332175 h 4687251"/>
              <a:gd name="connsiteX35801" fmla="*/ 2383676 w 8079933"/>
              <a:gd name="connsiteY35801" fmla="*/ 332390 h 4687251"/>
              <a:gd name="connsiteX35802" fmla="*/ 2227086 w 8079933"/>
              <a:gd name="connsiteY35802" fmla="*/ 327518 h 4687251"/>
              <a:gd name="connsiteX35803" fmla="*/ 2234031 w 8079933"/>
              <a:gd name="connsiteY35803" fmla="*/ 327518 h 4687251"/>
              <a:gd name="connsiteX35804" fmla="*/ 2232295 w 8079933"/>
              <a:gd name="connsiteY35804" fmla="*/ 331201 h 4687251"/>
              <a:gd name="connsiteX35805" fmla="*/ 2226761 w 8079933"/>
              <a:gd name="connsiteY35805" fmla="*/ 332607 h 4687251"/>
              <a:gd name="connsiteX35806" fmla="*/ 2223614 w 8079933"/>
              <a:gd name="connsiteY35806" fmla="*/ 330334 h 4687251"/>
              <a:gd name="connsiteX35807" fmla="*/ 4675331 w 8079933"/>
              <a:gd name="connsiteY35807" fmla="*/ 327410 h 4687251"/>
              <a:gd name="connsiteX35808" fmla="*/ 4679455 w 8079933"/>
              <a:gd name="connsiteY35808" fmla="*/ 329793 h 4687251"/>
              <a:gd name="connsiteX35809" fmla="*/ 4684772 w 8079933"/>
              <a:gd name="connsiteY35809" fmla="*/ 331524 h 4687251"/>
              <a:gd name="connsiteX35810" fmla="*/ 4684989 w 8079933"/>
              <a:gd name="connsiteY35810" fmla="*/ 335965 h 4687251"/>
              <a:gd name="connsiteX35811" fmla="*/ 4682710 w 8079933"/>
              <a:gd name="connsiteY35811" fmla="*/ 339862 h 4687251"/>
              <a:gd name="connsiteX35812" fmla="*/ 4681733 w 8079933"/>
              <a:gd name="connsiteY35812" fmla="*/ 344084 h 4687251"/>
              <a:gd name="connsiteX35813" fmla="*/ 4674788 w 8079933"/>
              <a:gd name="connsiteY35813" fmla="*/ 340294 h 4687251"/>
              <a:gd name="connsiteX35814" fmla="*/ 4673269 w 8079933"/>
              <a:gd name="connsiteY35814" fmla="*/ 336180 h 4687251"/>
              <a:gd name="connsiteX35815" fmla="*/ 4674246 w 8079933"/>
              <a:gd name="connsiteY35815" fmla="*/ 333366 h 4687251"/>
              <a:gd name="connsiteX35816" fmla="*/ 1962305 w 8079933"/>
              <a:gd name="connsiteY35816" fmla="*/ 324162 h 4687251"/>
              <a:gd name="connsiteX35817" fmla="*/ 1964367 w 8079933"/>
              <a:gd name="connsiteY35817" fmla="*/ 324596 h 4687251"/>
              <a:gd name="connsiteX35818" fmla="*/ 1962956 w 8079933"/>
              <a:gd name="connsiteY35818" fmla="*/ 328060 h 4687251"/>
              <a:gd name="connsiteX35819" fmla="*/ 1955903 w 8079933"/>
              <a:gd name="connsiteY35819" fmla="*/ 333474 h 4687251"/>
              <a:gd name="connsiteX35820" fmla="*/ 1948524 w 8079933"/>
              <a:gd name="connsiteY35820" fmla="*/ 338237 h 4687251"/>
              <a:gd name="connsiteX35821" fmla="*/ 1934308 w 8079933"/>
              <a:gd name="connsiteY35821" fmla="*/ 348956 h 4687251"/>
              <a:gd name="connsiteX35822" fmla="*/ 1929751 w 8079933"/>
              <a:gd name="connsiteY35822" fmla="*/ 354694 h 4687251"/>
              <a:gd name="connsiteX35823" fmla="*/ 1925953 w 8079933"/>
              <a:gd name="connsiteY35823" fmla="*/ 355994 h 4687251"/>
              <a:gd name="connsiteX35824" fmla="*/ 1923131 w 8079933"/>
              <a:gd name="connsiteY35824" fmla="*/ 355994 h 4687251"/>
              <a:gd name="connsiteX35825" fmla="*/ 1920960 w 8079933"/>
              <a:gd name="connsiteY35825" fmla="*/ 359025 h 4687251"/>
              <a:gd name="connsiteX35826" fmla="*/ 1918899 w 8079933"/>
              <a:gd name="connsiteY35826" fmla="*/ 359241 h 4687251"/>
              <a:gd name="connsiteX35827" fmla="*/ 1916945 w 8079933"/>
              <a:gd name="connsiteY35827" fmla="*/ 354044 h 4687251"/>
              <a:gd name="connsiteX35828" fmla="*/ 1913907 w 8079933"/>
              <a:gd name="connsiteY35828" fmla="*/ 353179 h 4687251"/>
              <a:gd name="connsiteX35829" fmla="*/ 1911303 w 8079933"/>
              <a:gd name="connsiteY35829" fmla="*/ 353936 h 4687251"/>
              <a:gd name="connsiteX35830" fmla="*/ 1909241 w 8079933"/>
              <a:gd name="connsiteY35830" fmla="*/ 352312 h 4687251"/>
              <a:gd name="connsiteX35831" fmla="*/ 1911845 w 8079933"/>
              <a:gd name="connsiteY35831" fmla="*/ 347007 h 4687251"/>
              <a:gd name="connsiteX35832" fmla="*/ 1921286 w 8079933"/>
              <a:gd name="connsiteY35832" fmla="*/ 339103 h 4687251"/>
              <a:gd name="connsiteX35833" fmla="*/ 1927797 w 8079933"/>
              <a:gd name="connsiteY35833" fmla="*/ 337047 h 4687251"/>
              <a:gd name="connsiteX35834" fmla="*/ 1931812 w 8079933"/>
              <a:gd name="connsiteY35834" fmla="*/ 333798 h 4687251"/>
              <a:gd name="connsiteX35835" fmla="*/ 1934742 w 8079933"/>
              <a:gd name="connsiteY35835" fmla="*/ 333474 h 4687251"/>
              <a:gd name="connsiteX35836" fmla="*/ 1941145 w 8079933"/>
              <a:gd name="connsiteY35836" fmla="*/ 328926 h 4687251"/>
              <a:gd name="connsiteX35837" fmla="*/ 1948198 w 8079933"/>
              <a:gd name="connsiteY35837" fmla="*/ 327735 h 4687251"/>
              <a:gd name="connsiteX35838" fmla="*/ 1951779 w 8079933"/>
              <a:gd name="connsiteY35838" fmla="*/ 325895 h 4687251"/>
              <a:gd name="connsiteX35839" fmla="*/ 1954167 w 8079933"/>
              <a:gd name="connsiteY35839" fmla="*/ 326219 h 4687251"/>
              <a:gd name="connsiteX35840" fmla="*/ 2534405 w 8079933"/>
              <a:gd name="connsiteY35840" fmla="*/ 323839 h 4687251"/>
              <a:gd name="connsiteX35841" fmla="*/ 2536141 w 8079933"/>
              <a:gd name="connsiteY35841" fmla="*/ 325138 h 4687251"/>
              <a:gd name="connsiteX35842" fmla="*/ 2534405 w 8079933"/>
              <a:gd name="connsiteY35842" fmla="*/ 328169 h 4687251"/>
              <a:gd name="connsiteX35843" fmla="*/ 2533862 w 8079933"/>
              <a:gd name="connsiteY35843" fmla="*/ 330876 h 4687251"/>
              <a:gd name="connsiteX35844" fmla="*/ 2528979 w 8079933"/>
              <a:gd name="connsiteY35844" fmla="*/ 335315 h 4687251"/>
              <a:gd name="connsiteX35845" fmla="*/ 2527026 w 8079933"/>
              <a:gd name="connsiteY35845" fmla="*/ 335748 h 4687251"/>
              <a:gd name="connsiteX35846" fmla="*/ 2527786 w 8079933"/>
              <a:gd name="connsiteY35846" fmla="*/ 331526 h 4687251"/>
              <a:gd name="connsiteX35847" fmla="*/ 2530932 w 8079933"/>
              <a:gd name="connsiteY35847" fmla="*/ 328386 h 4687251"/>
              <a:gd name="connsiteX35848" fmla="*/ 2531366 w 8079933"/>
              <a:gd name="connsiteY35848" fmla="*/ 325246 h 4687251"/>
              <a:gd name="connsiteX35849" fmla="*/ 6400746 w 8079933"/>
              <a:gd name="connsiteY35849" fmla="*/ 322755 h 4687251"/>
              <a:gd name="connsiteX35850" fmla="*/ 6404327 w 8079933"/>
              <a:gd name="connsiteY35850" fmla="*/ 322755 h 4687251"/>
              <a:gd name="connsiteX35851" fmla="*/ 6411054 w 8079933"/>
              <a:gd name="connsiteY35851" fmla="*/ 325462 h 4687251"/>
              <a:gd name="connsiteX35852" fmla="*/ 6414202 w 8079933"/>
              <a:gd name="connsiteY35852" fmla="*/ 323405 h 4687251"/>
              <a:gd name="connsiteX35853" fmla="*/ 6418434 w 8079933"/>
              <a:gd name="connsiteY35853" fmla="*/ 323405 h 4687251"/>
              <a:gd name="connsiteX35854" fmla="*/ 6423101 w 8079933"/>
              <a:gd name="connsiteY35854" fmla="*/ 328061 h 4687251"/>
              <a:gd name="connsiteX35855" fmla="*/ 6429720 w 8079933"/>
              <a:gd name="connsiteY35855" fmla="*/ 329793 h 4687251"/>
              <a:gd name="connsiteX35856" fmla="*/ 6436014 w 8079933"/>
              <a:gd name="connsiteY35856" fmla="*/ 330334 h 4687251"/>
              <a:gd name="connsiteX35857" fmla="*/ 6445671 w 8079933"/>
              <a:gd name="connsiteY35857" fmla="*/ 338021 h 4687251"/>
              <a:gd name="connsiteX35858" fmla="*/ 6451423 w 8079933"/>
              <a:gd name="connsiteY35858" fmla="*/ 345383 h 4687251"/>
              <a:gd name="connsiteX35859" fmla="*/ 6453485 w 8079933"/>
              <a:gd name="connsiteY35859" fmla="*/ 349931 h 4687251"/>
              <a:gd name="connsiteX35860" fmla="*/ 6457718 w 8079933"/>
              <a:gd name="connsiteY35860" fmla="*/ 353505 h 4687251"/>
              <a:gd name="connsiteX35861" fmla="*/ 6453485 w 8079933"/>
              <a:gd name="connsiteY35861" fmla="*/ 357293 h 4687251"/>
              <a:gd name="connsiteX35862" fmla="*/ 6448601 w 8079933"/>
              <a:gd name="connsiteY35862" fmla="*/ 356101 h 4687251"/>
              <a:gd name="connsiteX35863" fmla="*/ 6441005 w 8079933"/>
              <a:gd name="connsiteY35863" fmla="*/ 356752 h 4687251"/>
              <a:gd name="connsiteX35864" fmla="*/ 6436556 w 8079933"/>
              <a:gd name="connsiteY35864" fmla="*/ 359675 h 4687251"/>
              <a:gd name="connsiteX35865" fmla="*/ 6425596 w 8079933"/>
              <a:gd name="connsiteY35865" fmla="*/ 359567 h 4687251"/>
              <a:gd name="connsiteX35866" fmla="*/ 6418977 w 8079933"/>
              <a:gd name="connsiteY35866" fmla="*/ 360867 h 4687251"/>
              <a:gd name="connsiteX35867" fmla="*/ 6409318 w 8079933"/>
              <a:gd name="connsiteY35867" fmla="*/ 360758 h 4687251"/>
              <a:gd name="connsiteX35868" fmla="*/ 6402156 w 8079933"/>
              <a:gd name="connsiteY35868" fmla="*/ 359135 h 4687251"/>
              <a:gd name="connsiteX35869" fmla="*/ 6394886 w 8079933"/>
              <a:gd name="connsiteY35869" fmla="*/ 363465 h 4687251"/>
              <a:gd name="connsiteX35870" fmla="*/ 6391304 w 8079933"/>
              <a:gd name="connsiteY35870" fmla="*/ 368987 h 4687251"/>
              <a:gd name="connsiteX35871" fmla="*/ 6388158 w 8079933"/>
              <a:gd name="connsiteY35871" fmla="*/ 370719 h 4687251"/>
              <a:gd name="connsiteX35872" fmla="*/ 6384685 w 8079933"/>
              <a:gd name="connsiteY35872" fmla="*/ 370176 h 4687251"/>
              <a:gd name="connsiteX35873" fmla="*/ 6385011 w 8079933"/>
              <a:gd name="connsiteY35873" fmla="*/ 366063 h 4687251"/>
              <a:gd name="connsiteX35874" fmla="*/ 6389894 w 8079933"/>
              <a:gd name="connsiteY35874" fmla="*/ 361948 h 4687251"/>
              <a:gd name="connsiteX35875" fmla="*/ 6393041 w 8079933"/>
              <a:gd name="connsiteY35875" fmla="*/ 350580 h 4687251"/>
              <a:gd name="connsiteX35876" fmla="*/ 6393150 w 8079933"/>
              <a:gd name="connsiteY35876" fmla="*/ 340620 h 4687251"/>
              <a:gd name="connsiteX35877" fmla="*/ 6391630 w 8079933"/>
              <a:gd name="connsiteY35877" fmla="*/ 335423 h 4687251"/>
              <a:gd name="connsiteX35878" fmla="*/ 6396947 w 8079933"/>
              <a:gd name="connsiteY35878" fmla="*/ 327953 h 4687251"/>
              <a:gd name="connsiteX35879" fmla="*/ 1896437 w 8079933"/>
              <a:gd name="connsiteY35879" fmla="*/ 318748 h 4687251"/>
              <a:gd name="connsiteX35880" fmla="*/ 1896437 w 8079933"/>
              <a:gd name="connsiteY35880" fmla="*/ 320913 h 4687251"/>
              <a:gd name="connsiteX35881" fmla="*/ 1891554 w 8079933"/>
              <a:gd name="connsiteY35881" fmla="*/ 324486 h 4687251"/>
              <a:gd name="connsiteX35882" fmla="*/ 1891554 w 8079933"/>
              <a:gd name="connsiteY35882" fmla="*/ 322646 h 4687251"/>
              <a:gd name="connsiteX35883" fmla="*/ 4826710 w 8079933"/>
              <a:gd name="connsiteY35883" fmla="*/ 316910 h 4687251"/>
              <a:gd name="connsiteX35884" fmla="*/ 4830943 w 8079933"/>
              <a:gd name="connsiteY35884" fmla="*/ 319183 h 4687251"/>
              <a:gd name="connsiteX35885" fmla="*/ 4832787 w 8079933"/>
              <a:gd name="connsiteY35885" fmla="*/ 326221 h 4687251"/>
              <a:gd name="connsiteX35886" fmla="*/ 4828881 w 8079933"/>
              <a:gd name="connsiteY35886" fmla="*/ 333257 h 4687251"/>
              <a:gd name="connsiteX35887" fmla="*/ 4823021 w 8079933"/>
              <a:gd name="connsiteY35887" fmla="*/ 332717 h 4687251"/>
              <a:gd name="connsiteX35888" fmla="*/ 4819006 w 8079933"/>
              <a:gd name="connsiteY35888" fmla="*/ 328603 h 4687251"/>
              <a:gd name="connsiteX35889" fmla="*/ 4813689 w 8079933"/>
              <a:gd name="connsiteY35889" fmla="*/ 325679 h 4687251"/>
              <a:gd name="connsiteX35890" fmla="*/ 4814014 w 8079933"/>
              <a:gd name="connsiteY35890" fmla="*/ 322756 h 4687251"/>
              <a:gd name="connsiteX35891" fmla="*/ 4820742 w 8079933"/>
              <a:gd name="connsiteY35891" fmla="*/ 318425 h 4687251"/>
              <a:gd name="connsiteX35892" fmla="*/ 4737836 w 8079933"/>
              <a:gd name="connsiteY35892" fmla="*/ 316585 h 4687251"/>
              <a:gd name="connsiteX35893" fmla="*/ 4740657 w 8079933"/>
              <a:gd name="connsiteY35893" fmla="*/ 317558 h 4687251"/>
              <a:gd name="connsiteX35894" fmla="*/ 4742718 w 8079933"/>
              <a:gd name="connsiteY35894" fmla="*/ 321131 h 4687251"/>
              <a:gd name="connsiteX35895" fmla="*/ 4742501 w 8079933"/>
              <a:gd name="connsiteY35895" fmla="*/ 325787 h 4687251"/>
              <a:gd name="connsiteX35896" fmla="*/ 4739572 w 8079933"/>
              <a:gd name="connsiteY35896" fmla="*/ 324596 h 4687251"/>
              <a:gd name="connsiteX35897" fmla="*/ 4738053 w 8079933"/>
              <a:gd name="connsiteY35897" fmla="*/ 320483 h 4687251"/>
              <a:gd name="connsiteX35898" fmla="*/ 4726009 w 8079933"/>
              <a:gd name="connsiteY35898" fmla="*/ 316151 h 4687251"/>
              <a:gd name="connsiteX35899" fmla="*/ 4729807 w 8079933"/>
              <a:gd name="connsiteY35899" fmla="*/ 320483 h 4687251"/>
              <a:gd name="connsiteX35900" fmla="*/ 4733171 w 8079933"/>
              <a:gd name="connsiteY35900" fmla="*/ 320374 h 4687251"/>
              <a:gd name="connsiteX35901" fmla="*/ 4734256 w 8079933"/>
              <a:gd name="connsiteY35901" fmla="*/ 324489 h 4687251"/>
              <a:gd name="connsiteX35902" fmla="*/ 4731977 w 8079933"/>
              <a:gd name="connsiteY35902" fmla="*/ 330011 h 4687251"/>
              <a:gd name="connsiteX35903" fmla="*/ 4727203 w 8079933"/>
              <a:gd name="connsiteY35903" fmla="*/ 333366 h 4687251"/>
              <a:gd name="connsiteX35904" fmla="*/ 4720149 w 8079933"/>
              <a:gd name="connsiteY35904" fmla="*/ 331634 h 4687251"/>
              <a:gd name="connsiteX35905" fmla="*/ 4718087 w 8079933"/>
              <a:gd name="connsiteY35905" fmla="*/ 328929 h 4687251"/>
              <a:gd name="connsiteX35906" fmla="*/ 4722210 w 8079933"/>
              <a:gd name="connsiteY35906" fmla="*/ 325790 h 4687251"/>
              <a:gd name="connsiteX35907" fmla="*/ 4722210 w 8079933"/>
              <a:gd name="connsiteY35907" fmla="*/ 322432 h 4687251"/>
              <a:gd name="connsiteX35908" fmla="*/ 4719823 w 8079933"/>
              <a:gd name="connsiteY35908" fmla="*/ 318641 h 4687251"/>
              <a:gd name="connsiteX35909" fmla="*/ 4723187 w 8079933"/>
              <a:gd name="connsiteY35909" fmla="*/ 316369 h 4687251"/>
              <a:gd name="connsiteX35910" fmla="*/ 2014611 w 8079933"/>
              <a:gd name="connsiteY35910" fmla="*/ 313876 h 4687251"/>
              <a:gd name="connsiteX35911" fmla="*/ 2018735 w 8079933"/>
              <a:gd name="connsiteY35911" fmla="*/ 314850 h 4687251"/>
              <a:gd name="connsiteX35912" fmla="*/ 2026331 w 8079933"/>
              <a:gd name="connsiteY35912" fmla="*/ 314525 h 4687251"/>
              <a:gd name="connsiteX35913" fmla="*/ 2031214 w 8079933"/>
              <a:gd name="connsiteY35913" fmla="*/ 318640 h 4687251"/>
              <a:gd name="connsiteX35914" fmla="*/ 2033276 w 8079933"/>
              <a:gd name="connsiteY35914" fmla="*/ 325895 h 4687251"/>
              <a:gd name="connsiteX35915" fmla="*/ 2029478 w 8079933"/>
              <a:gd name="connsiteY35915" fmla="*/ 327952 h 4687251"/>
              <a:gd name="connsiteX35916" fmla="*/ 2025680 w 8079933"/>
              <a:gd name="connsiteY35916" fmla="*/ 333798 h 4687251"/>
              <a:gd name="connsiteX35917" fmla="*/ 2026982 w 8079933"/>
              <a:gd name="connsiteY35917" fmla="*/ 337912 h 4687251"/>
              <a:gd name="connsiteX35918" fmla="*/ 2036206 w 8079933"/>
              <a:gd name="connsiteY35918" fmla="*/ 337371 h 4687251"/>
              <a:gd name="connsiteX35919" fmla="*/ 2039136 w 8079933"/>
              <a:gd name="connsiteY35919" fmla="*/ 335531 h 4687251"/>
              <a:gd name="connsiteX35920" fmla="*/ 2042065 w 8079933"/>
              <a:gd name="connsiteY35920" fmla="*/ 337371 h 4687251"/>
              <a:gd name="connsiteX35921" fmla="*/ 2044996 w 8079933"/>
              <a:gd name="connsiteY35921" fmla="*/ 337371 h 4687251"/>
              <a:gd name="connsiteX35922" fmla="*/ 2046515 w 8079933"/>
              <a:gd name="connsiteY35922" fmla="*/ 340511 h 4687251"/>
              <a:gd name="connsiteX35923" fmla="*/ 2047275 w 8079933"/>
              <a:gd name="connsiteY35923" fmla="*/ 343218 h 4687251"/>
              <a:gd name="connsiteX35924" fmla="*/ 2049988 w 8079933"/>
              <a:gd name="connsiteY35924" fmla="*/ 345925 h 4687251"/>
              <a:gd name="connsiteX35925" fmla="*/ 2049662 w 8079933"/>
              <a:gd name="connsiteY35925" fmla="*/ 349281 h 4687251"/>
              <a:gd name="connsiteX35926" fmla="*/ 2046732 w 8079933"/>
              <a:gd name="connsiteY35926" fmla="*/ 350796 h 4687251"/>
              <a:gd name="connsiteX35927" fmla="*/ 2044996 w 8079933"/>
              <a:gd name="connsiteY35927" fmla="*/ 354044 h 4687251"/>
              <a:gd name="connsiteX35928" fmla="*/ 2049120 w 8079933"/>
              <a:gd name="connsiteY35928" fmla="*/ 359350 h 4687251"/>
              <a:gd name="connsiteX35929" fmla="*/ 2049771 w 8079933"/>
              <a:gd name="connsiteY35929" fmla="*/ 369202 h 4687251"/>
              <a:gd name="connsiteX35930" fmla="*/ 2048143 w 8079933"/>
              <a:gd name="connsiteY35930" fmla="*/ 372451 h 4687251"/>
              <a:gd name="connsiteX35931" fmla="*/ 2043260 w 8079933"/>
              <a:gd name="connsiteY35931" fmla="*/ 370935 h 4687251"/>
              <a:gd name="connsiteX35932" fmla="*/ 2038919 w 8079933"/>
              <a:gd name="connsiteY35932" fmla="*/ 372667 h 4687251"/>
              <a:gd name="connsiteX35933" fmla="*/ 2040112 w 8079933"/>
              <a:gd name="connsiteY35933" fmla="*/ 375590 h 4687251"/>
              <a:gd name="connsiteX35934" fmla="*/ 2044453 w 8079933"/>
              <a:gd name="connsiteY35934" fmla="*/ 374616 h 4687251"/>
              <a:gd name="connsiteX35935" fmla="*/ 2049771 w 8079933"/>
              <a:gd name="connsiteY35935" fmla="*/ 376890 h 4687251"/>
              <a:gd name="connsiteX35936" fmla="*/ 2053026 w 8079933"/>
              <a:gd name="connsiteY35936" fmla="*/ 376890 h 4687251"/>
              <a:gd name="connsiteX35937" fmla="*/ 2049771 w 8079933"/>
              <a:gd name="connsiteY35937" fmla="*/ 386742 h 4687251"/>
              <a:gd name="connsiteX35938" fmla="*/ 2046190 w 8079933"/>
              <a:gd name="connsiteY35938" fmla="*/ 389774 h 4687251"/>
              <a:gd name="connsiteX35939" fmla="*/ 2045864 w 8079933"/>
              <a:gd name="connsiteY35939" fmla="*/ 398436 h 4687251"/>
              <a:gd name="connsiteX35940" fmla="*/ 2048468 w 8079933"/>
              <a:gd name="connsiteY35940" fmla="*/ 399735 h 4687251"/>
              <a:gd name="connsiteX35941" fmla="*/ 2053786 w 8079933"/>
              <a:gd name="connsiteY35941" fmla="*/ 398436 h 4687251"/>
              <a:gd name="connsiteX35942" fmla="*/ 2056499 w 8079933"/>
              <a:gd name="connsiteY35942" fmla="*/ 395188 h 4687251"/>
              <a:gd name="connsiteX35943" fmla="*/ 2058560 w 8079933"/>
              <a:gd name="connsiteY35943" fmla="*/ 397245 h 4687251"/>
              <a:gd name="connsiteX35944" fmla="*/ 2059645 w 8079933"/>
              <a:gd name="connsiteY35944" fmla="*/ 400601 h 4687251"/>
              <a:gd name="connsiteX35945" fmla="*/ 2064963 w 8079933"/>
              <a:gd name="connsiteY35945" fmla="*/ 401359 h 4687251"/>
              <a:gd name="connsiteX35946" fmla="*/ 2067676 w 8079933"/>
              <a:gd name="connsiteY35946" fmla="*/ 400601 h 4687251"/>
              <a:gd name="connsiteX35947" fmla="*/ 2076357 w 8079933"/>
              <a:gd name="connsiteY35947" fmla="*/ 402874 h 4687251"/>
              <a:gd name="connsiteX35948" fmla="*/ 2079830 w 8079933"/>
              <a:gd name="connsiteY35948" fmla="*/ 408180 h 4687251"/>
              <a:gd name="connsiteX35949" fmla="*/ 2082868 w 8079933"/>
              <a:gd name="connsiteY35949" fmla="*/ 407206 h 4687251"/>
              <a:gd name="connsiteX35950" fmla="*/ 2082217 w 8079933"/>
              <a:gd name="connsiteY35950" fmla="*/ 404066 h 4687251"/>
              <a:gd name="connsiteX35951" fmla="*/ 2080698 w 8079933"/>
              <a:gd name="connsiteY35951" fmla="*/ 402659 h 4687251"/>
              <a:gd name="connsiteX35952" fmla="*/ 2087860 w 8079933"/>
              <a:gd name="connsiteY35952" fmla="*/ 399085 h 4687251"/>
              <a:gd name="connsiteX35953" fmla="*/ 2086015 w 8079933"/>
              <a:gd name="connsiteY35953" fmla="*/ 391181 h 4687251"/>
              <a:gd name="connsiteX35954" fmla="*/ 2081675 w 8079933"/>
              <a:gd name="connsiteY35954" fmla="*/ 386418 h 4687251"/>
              <a:gd name="connsiteX35955" fmla="*/ 2082000 w 8079933"/>
              <a:gd name="connsiteY35955" fmla="*/ 382953 h 4687251"/>
              <a:gd name="connsiteX35956" fmla="*/ 2079287 w 8079933"/>
              <a:gd name="connsiteY35956" fmla="*/ 378947 h 4687251"/>
              <a:gd name="connsiteX35957" fmla="*/ 2081457 w 8079933"/>
              <a:gd name="connsiteY35957" fmla="*/ 376565 h 4687251"/>
              <a:gd name="connsiteX35958" fmla="*/ 2084387 w 8079933"/>
              <a:gd name="connsiteY35958" fmla="*/ 376565 h 4687251"/>
              <a:gd name="connsiteX35959" fmla="*/ 2091333 w 8079933"/>
              <a:gd name="connsiteY35959" fmla="*/ 373858 h 4687251"/>
              <a:gd name="connsiteX35960" fmla="*/ 2096324 w 8079933"/>
              <a:gd name="connsiteY35960" fmla="*/ 374292 h 4687251"/>
              <a:gd name="connsiteX35961" fmla="*/ 2098712 w 8079933"/>
              <a:gd name="connsiteY35961" fmla="*/ 367578 h 4687251"/>
              <a:gd name="connsiteX35962" fmla="*/ 2095673 w 8079933"/>
              <a:gd name="connsiteY35962" fmla="*/ 360541 h 4687251"/>
              <a:gd name="connsiteX35963" fmla="*/ 2093394 w 8079933"/>
              <a:gd name="connsiteY35963" fmla="*/ 358159 h 4687251"/>
              <a:gd name="connsiteX35964" fmla="*/ 2093720 w 8079933"/>
              <a:gd name="connsiteY35964" fmla="*/ 352854 h 4687251"/>
              <a:gd name="connsiteX35965" fmla="*/ 2091549 w 8079933"/>
              <a:gd name="connsiteY35965" fmla="*/ 347223 h 4687251"/>
              <a:gd name="connsiteX35966" fmla="*/ 2095782 w 8079933"/>
              <a:gd name="connsiteY35966" fmla="*/ 341160 h 4687251"/>
              <a:gd name="connsiteX35967" fmla="*/ 2099580 w 8079933"/>
              <a:gd name="connsiteY35967" fmla="*/ 338778 h 4687251"/>
              <a:gd name="connsiteX35968" fmla="*/ 2101967 w 8079933"/>
              <a:gd name="connsiteY35968" fmla="*/ 339645 h 4687251"/>
              <a:gd name="connsiteX35969" fmla="*/ 2106850 w 8079933"/>
              <a:gd name="connsiteY35969" fmla="*/ 339754 h 4687251"/>
              <a:gd name="connsiteX35970" fmla="*/ 2105656 w 8079933"/>
              <a:gd name="connsiteY35970" fmla="*/ 337047 h 4687251"/>
              <a:gd name="connsiteX35971" fmla="*/ 2107718 w 8079933"/>
              <a:gd name="connsiteY35971" fmla="*/ 332932 h 4687251"/>
              <a:gd name="connsiteX35972" fmla="*/ 2113253 w 8079933"/>
              <a:gd name="connsiteY35972" fmla="*/ 330983 h 4687251"/>
              <a:gd name="connsiteX35973" fmla="*/ 2123888 w 8079933"/>
              <a:gd name="connsiteY35973" fmla="*/ 321023 h 4687251"/>
              <a:gd name="connsiteX35974" fmla="*/ 2127034 w 8079933"/>
              <a:gd name="connsiteY35974" fmla="*/ 321347 h 4687251"/>
              <a:gd name="connsiteX35975" fmla="*/ 2133762 w 8079933"/>
              <a:gd name="connsiteY35975" fmla="*/ 324595 h 4687251"/>
              <a:gd name="connsiteX35976" fmla="*/ 2132677 w 8079933"/>
              <a:gd name="connsiteY35976" fmla="*/ 327411 h 4687251"/>
              <a:gd name="connsiteX35977" fmla="*/ 2134631 w 8079933"/>
              <a:gd name="connsiteY35977" fmla="*/ 331201 h 4687251"/>
              <a:gd name="connsiteX35978" fmla="*/ 2133220 w 8079933"/>
              <a:gd name="connsiteY35978" fmla="*/ 334123 h 4687251"/>
              <a:gd name="connsiteX35979" fmla="*/ 2128879 w 8079933"/>
              <a:gd name="connsiteY35979" fmla="*/ 334231 h 4687251"/>
              <a:gd name="connsiteX35980" fmla="*/ 2126166 w 8079933"/>
              <a:gd name="connsiteY35980" fmla="*/ 337047 h 4687251"/>
              <a:gd name="connsiteX35981" fmla="*/ 2126166 w 8079933"/>
              <a:gd name="connsiteY35981" fmla="*/ 340836 h 4687251"/>
              <a:gd name="connsiteX35982" fmla="*/ 2124755 w 8079933"/>
              <a:gd name="connsiteY35982" fmla="*/ 345492 h 4687251"/>
              <a:gd name="connsiteX35983" fmla="*/ 2124755 w 8079933"/>
              <a:gd name="connsiteY35983" fmla="*/ 351338 h 4687251"/>
              <a:gd name="connsiteX35984" fmla="*/ 2126166 w 8079933"/>
              <a:gd name="connsiteY35984" fmla="*/ 353070 h 4687251"/>
              <a:gd name="connsiteX35985" fmla="*/ 2126166 w 8079933"/>
              <a:gd name="connsiteY35985" fmla="*/ 364547 h 4687251"/>
              <a:gd name="connsiteX35986" fmla="*/ 2123888 w 8079933"/>
              <a:gd name="connsiteY35986" fmla="*/ 366604 h 4687251"/>
              <a:gd name="connsiteX35987" fmla="*/ 2121500 w 8079933"/>
              <a:gd name="connsiteY35987" fmla="*/ 366604 h 4687251"/>
              <a:gd name="connsiteX35988" fmla="*/ 2114772 w 8079933"/>
              <a:gd name="connsiteY35988" fmla="*/ 372667 h 4687251"/>
              <a:gd name="connsiteX35989" fmla="*/ 2110974 w 8079933"/>
              <a:gd name="connsiteY35989" fmla="*/ 375374 h 4687251"/>
              <a:gd name="connsiteX35990" fmla="*/ 2110974 w 8079933"/>
              <a:gd name="connsiteY35990" fmla="*/ 377106 h 4687251"/>
              <a:gd name="connsiteX35991" fmla="*/ 2113361 w 8079933"/>
              <a:gd name="connsiteY35991" fmla="*/ 377215 h 4687251"/>
              <a:gd name="connsiteX35992" fmla="*/ 2117485 w 8079933"/>
              <a:gd name="connsiteY35992" fmla="*/ 376024 h 4687251"/>
              <a:gd name="connsiteX35993" fmla="*/ 2124430 w 8079933"/>
              <a:gd name="connsiteY35993" fmla="*/ 376457 h 4687251"/>
              <a:gd name="connsiteX35994" fmla="*/ 2125623 w 8079933"/>
              <a:gd name="connsiteY35994" fmla="*/ 378838 h 4687251"/>
              <a:gd name="connsiteX35995" fmla="*/ 2122151 w 8079933"/>
              <a:gd name="connsiteY35995" fmla="*/ 384144 h 4687251"/>
              <a:gd name="connsiteX35996" fmla="*/ 2114555 w 8079933"/>
              <a:gd name="connsiteY35996" fmla="*/ 388475 h 4687251"/>
              <a:gd name="connsiteX35997" fmla="*/ 2108044 w 8079933"/>
              <a:gd name="connsiteY35997" fmla="*/ 394322 h 4687251"/>
              <a:gd name="connsiteX35998" fmla="*/ 2106525 w 8079933"/>
              <a:gd name="connsiteY35998" fmla="*/ 398544 h 4687251"/>
              <a:gd name="connsiteX35999" fmla="*/ 2108369 w 8079933"/>
              <a:gd name="connsiteY35999" fmla="*/ 400926 h 4687251"/>
              <a:gd name="connsiteX36000" fmla="*/ 2110648 w 8079933"/>
              <a:gd name="connsiteY36000" fmla="*/ 396487 h 4687251"/>
              <a:gd name="connsiteX36001" fmla="*/ 2118895 w 8079933"/>
              <a:gd name="connsiteY36001" fmla="*/ 392698 h 4687251"/>
              <a:gd name="connsiteX36002" fmla="*/ 2121934 w 8079933"/>
              <a:gd name="connsiteY36002" fmla="*/ 389666 h 4687251"/>
              <a:gd name="connsiteX36003" fmla="*/ 2124864 w 8079933"/>
              <a:gd name="connsiteY36003" fmla="*/ 388475 h 4687251"/>
              <a:gd name="connsiteX36004" fmla="*/ 2131266 w 8079933"/>
              <a:gd name="connsiteY36004" fmla="*/ 391506 h 4687251"/>
              <a:gd name="connsiteX36005" fmla="*/ 2130616 w 8079933"/>
              <a:gd name="connsiteY36005" fmla="*/ 397569 h 4687251"/>
              <a:gd name="connsiteX36006" fmla="*/ 2127034 w 8079933"/>
              <a:gd name="connsiteY36006" fmla="*/ 404390 h 4687251"/>
              <a:gd name="connsiteX36007" fmla="*/ 2128011 w 8079933"/>
              <a:gd name="connsiteY36007" fmla="*/ 406989 h 4687251"/>
              <a:gd name="connsiteX36008" fmla="*/ 2132460 w 8079933"/>
              <a:gd name="connsiteY36008" fmla="*/ 402225 h 4687251"/>
              <a:gd name="connsiteX36009" fmla="*/ 2136259 w 8079933"/>
              <a:gd name="connsiteY36009" fmla="*/ 402659 h 4687251"/>
              <a:gd name="connsiteX36010" fmla="*/ 2137127 w 8079933"/>
              <a:gd name="connsiteY36010" fmla="*/ 399952 h 4687251"/>
              <a:gd name="connsiteX36011" fmla="*/ 2136150 w 8079933"/>
              <a:gd name="connsiteY36011" fmla="*/ 398761 h 4687251"/>
              <a:gd name="connsiteX36012" fmla="*/ 2138863 w 8079933"/>
              <a:gd name="connsiteY36012" fmla="*/ 394322 h 4687251"/>
              <a:gd name="connsiteX36013" fmla="*/ 2139622 w 8079933"/>
              <a:gd name="connsiteY36013" fmla="*/ 389449 h 4687251"/>
              <a:gd name="connsiteX36014" fmla="*/ 2147001 w 8079933"/>
              <a:gd name="connsiteY36014" fmla="*/ 384144 h 4687251"/>
              <a:gd name="connsiteX36015" fmla="*/ 2149931 w 8079933"/>
              <a:gd name="connsiteY36015" fmla="*/ 383927 h 4687251"/>
              <a:gd name="connsiteX36016" fmla="*/ 2155791 w 8079933"/>
              <a:gd name="connsiteY36016" fmla="*/ 387717 h 4687251"/>
              <a:gd name="connsiteX36017" fmla="*/ 2158504 w 8079933"/>
              <a:gd name="connsiteY36017" fmla="*/ 395295 h 4687251"/>
              <a:gd name="connsiteX36018" fmla="*/ 2160566 w 8079933"/>
              <a:gd name="connsiteY36018" fmla="*/ 398869 h 4687251"/>
              <a:gd name="connsiteX36019" fmla="*/ 2159264 w 8079933"/>
              <a:gd name="connsiteY36019" fmla="*/ 405581 h 4687251"/>
              <a:gd name="connsiteX36020" fmla="*/ 2153187 w 8079933"/>
              <a:gd name="connsiteY36020" fmla="*/ 416841 h 4687251"/>
              <a:gd name="connsiteX36021" fmla="*/ 2147653 w 8079933"/>
              <a:gd name="connsiteY36021" fmla="*/ 421606 h 4687251"/>
              <a:gd name="connsiteX36022" fmla="*/ 2143203 w 8079933"/>
              <a:gd name="connsiteY36022" fmla="*/ 423663 h 4687251"/>
              <a:gd name="connsiteX36023" fmla="*/ 2139948 w 8079933"/>
              <a:gd name="connsiteY36023" fmla="*/ 423988 h 4687251"/>
              <a:gd name="connsiteX36024" fmla="*/ 2138754 w 8079933"/>
              <a:gd name="connsiteY36024" fmla="*/ 426045 h 4687251"/>
              <a:gd name="connsiteX36025" fmla="*/ 2139405 w 8079933"/>
              <a:gd name="connsiteY36025" fmla="*/ 429726 h 4687251"/>
              <a:gd name="connsiteX36026" fmla="*/ 2134414 w 8079933"/>
              <a:gd name="connsiteY36026" fmla="*/ 436547 h 4687251"/>
              <a:gd name="connsiteX36027" fmla="*/ 2130616 w 8079933"/>
              <a:gd name="connsiteY36027" fmla="*/ 436763 h 4687251"/>
              <a:gd name="connsiteX36028" fmla="*/ 2126166 w 8079933"/>
              <a:gd name="connsiteY36028" fmla="*/ 440012 h 4687251"/>
              <a:gd name="connsiteX36029" fmla="*/ 2126275 w 8079933"/>
              <a:gd name="connsiteY36029" fmla="*/ 443909 h 4687251"/>
              <a:gd name="connsiteX36030" fmla="*/ 2124538 w 8079933"/>
              <a:gd name="connsiteY36030" fmla="*/ 446400 h 4687251"/>
              <a:gd name="connsiteX36031" fmla="*/ 2121825 w 8079933"/>
              <a:gd name="connsiteY36031" fmla="*/ 446507 h 4687251"/>
              <a:gd name="connsiteX36032" fmla="*/ 2119655 w 8079933"/>
              <a:gd name="connsiteY36032" fmla="*/ 447807 h 4687251"/>
              <a:gd name="connsiteX36033" fmla="*/ 2119655 w 8079933"/>
              <a:gd name="connsiteY36033" fmla="*/ 450406 h 4687251"/>
              <a:gd name="connsiteX36034" fmla="*/ 2117485 w 8079933"/>
              <a:gd name="connsiteY36034" fmla="*/ 451597 h 4687251"/>
              <a:gd name="connsiteX36035" fmla="*/ 2114121 w 8079933"/>
              <a:gd name="connsiteY36035" fmla="*/ 448781 h 4687251"/>
              <a:gd name="connsiteX36036" fmla="*/ 2109998 w 8079933"/>
              <a:gd name="connsiteY36036" fmla="*/ 450622 h 4687251"/>
              <a:gd name="connsiteX36037" fmla="*/ 2106633 w 8079933"/>
              <a:gd name="connsiteY36037" fmla="*/ 449864 h 4687251"/>
              <a:gd name="connsiteX36038" fmla="*/ 2098820 w 8079933"/>
              <a:gd name="connsiteY36038" fmla="*/ 453762 h 4687251"/>
              <a:gd name="connsiteX36039" fmla="*/ 2091766 w 8079933"/>
              <a:gd name="connsiteY36039" fmla="*/ 454845 h 4687251"/>
              <a:gd name="connsiteX36040" fmla="*/ 2086123 w 8079933"/>
              <a:gd name="connsiteY36040" fmla="*/ 452354 h 4687251"/>
              <a:gd name="connsiteX36041" fmla="*/ 2084821 w 8079933"/>
              <a:gd name="connsiteY36041" fmla="*/ 449215 h 4687251"/>
              <a:gd name="connsiteX36042" fmla="*/ 2087643 w 8079933"/>
              <a:gd name="connsiteY36042" fmla="*/ 445317 h 4687251"/>
              <a:gd name="connsiteX36043" fmla="*/ 2087209 w 8079933"/>
              <a:gd name="connsiteY36043" fmla="*/ 442502 h 4687251"/>
              <a:gd name="connsiteX36044" fmla="*/ 2085690 w 8079933"/>
              <a:gd name="connsiteY36044" fmla="*/ 442177 h 4687251"/>
              <a:gd name="connsiteX36045" fmla="*/ 2080698 w 8079933"/>
              <a:gd name="connsiteY36045" fmla="*/ 444450 h 4687251"/>
              <a:gd name="connsiteX36046" fmla="*/ 2079612 w 8079933"/>
              <a:gd name="connsiteY36046" fmla="*/ 447374 h 4687251"/>
              <a:gd name="connsiteX36047" fmla="*/ 2075923 w 8079933"/>
              <a:gd name="connsiteY36047" fmla="*/ 448781 h 4687251"/>
              <a:gd name="connsiteX36048" fmla="*/ 2069955 w 8079933"/>
              <a:gd name="connsiteY36048" fmla="*/ 446940 h 4687251"/>
              <a:gd name="connsiteX36049" fmla="*/ 2069955 w 8079933"/>
              <a:gd name="connsiteY36049" fmla="*/ 444126 h 4687251"/>
              <a:gd name="connsiteX36050" fmla="*/ 2071908 w 8079933"/>
              <a:gd name="connsiteY36050" fmla="*/ 441636 h 4687251"/>
              <a:gd name="connsiteX36051" fmla="*/ 2070606 w 8079933"/>
              <a:gd name="connsiteY36051" fmla="*/ 438171 h 4687251"/>
              <a:gd name="connsiteX36052" fmla="*/ 2067459 w 8079933"/>
              <a:gd name="connsiteY36052" fmla="*/ 437089 h 4687251"/>
              <a:gd name="connsiteX36053" fmla="*/ 2067133 w 8079933"/>
              <a:gd name="connsiteY36053" fmla="*/ 439903 h 4687251"/>
              <a:gd name="connsiteX36054" fmla="*/ 2064312 w 8079933"/>
              <a:gd name="connsiteY36054" fmla="*/ 441744 h 4687251"/>
              <a:gd name="connsiteX36055" fmla="*/ 2060839 w 8079933"/>
              <a:gd name="connsiteY36055" fmla="*/ 441744 h 4687251"/>
              <a:gd name="connsiteX36056" fmla="*/ 2053243 w 8079933"/>
              <a:gd name="connsiteY36056" fmla="*/ 445101 h 4687251"/>
              <a:gd name="connsiteX36057" fmla="*/ 2050964 w 8079933"/>
              <a:gd name="connsiteY36057" fmla="*/ 446940 h 4687251"/>
              <a:gd name="connsiteX36058" fmla="*/ 2045972 w 8079933"/>
              <a:gd name="connsiteY36058" fmla="*/ 446832 h 4687251"/>
              <a:gd name="connsiteX36059" fmla="*/ 2044237 w 8079933"/>
              <a:gd name="connsiteY36059" fmla="*/ 445209 h 4687251"/>
              <a:gd name="connsiteX36060" fmla="*/ 2038159 w 8079933"/>
              <a:gd name="connsiteY36060" fmla="*/ 445966 h 4687251"/>
              <a:gd name="connsiteX36061" fmla="*/ 2035229 w 8079933"/>
              <a:gd name="connsiteY36061" fmla="*/ 443801 h 4687251"/>
              <a:gd name="connsiteX36062" fmla="*/ 2033276 w 8079933"/>
              <a:gd name="connsiteY36062" fmla="*/ 446616 h 4687251"/>
              <a:gd name="connsiteX36063" fmla="*/ 2029803 w 8079933"/>
              <a:gd name="connsiteY36063" fmla="*/ 446400 h 4687251"/>
              <a:gd name="connsiteX36064" fmla="*/ 2026440 w 8079933"/>
              <a:gd name="connsiteY36064" fmla="*/ 448024 h 4687251"/>
              <a:gd name="connsiteX36065" fmla="*/ 2025680 w 8079933"/>
              <a:gd name="connsiteY36065" fmla="*/ 451813 h 4687251"/>
              <a:gd name="connsiteX36066" fmla="*/ 2023292 w 8079933"/>
              <a:gd name="connsiteY36066" fmla="*/ 453762 h 4687251"/>
              <a:gd name="connsiteX36067" fmla="*/ 2017649 w 8079933"/>
              <a:gd name="connsiteY36067" fmla="*/ 453870 h 4687251"/>
              <a:gd name="connsiteX36068" fmla="*/ 2016564 w 8079933"/>
              <a:gd name="connsiteY36068" fmla="*/ 456360 h 4687251"/>
              <a:gd name="connsiteX36069" fmla="*/ 2011681 w 8079933"/>
              <a:gd name="connsiteY36069" fmla="*/ 457877 h 4687251"/>
              <a:gd name="connsiteX36070" fmla="*/ 2010053 w 8079933"/>
              <a:gd name="connsiteY36070" fmla="*/ 457118 h 4687251"/>
              <a:gd name="connsiteX36071" fmla="*/ 2005062 w 8079933"/>
              <a:gd name="connsiteY36071" fmla="*/ 459283 h 4687251"/>
              <a:gd name="connsiteX36072" fmla="*/ 1999744 w 8079933"/>
              <a:gd name="connsiteY36072" fmla="*/ 459283 h 4687251"/>
              <a:gd name="connsiteX36073" fmla="*/ 1998117 w 8079933"/>
              <a:gd name="connsiteY36073" fmla="*/ 456685 h 4687251"/>
              <a:gd name="connsiteX36074" fmla="*/ 1991606 w 8079933"/>
              <a:gd name="connsiteY36074" fmla="*/ 456794 h 4687251"/>
              <a:gd name="connsiteX36075" fmla="*/ 1985312 w 8079933"/>
              <a:gd name="connsiteY36075" fmla="*/ 458742 h 4687251"/>
              <a:gd name="connsiteX36076" fmla="*/ 1978258 w 8079933"/>
              <a:gd name="connsiteY36076" fmla="*/ 458742 h 4687251"/>
              <a:gd name="connsiteX36077" fmla="*/ 1971204 w 8079933"/>
              <a:gd name="connsiteY36077" fmla="*/ 455278 h 4687251"/>
              <a:gd name="connsiteX36078" fmla="*/ 1965019 w 8079933"/>
              <a:gd name="connsiteY36078" fmla="*/ 454087 h 4687251"/>
              <a:gd name="connsiteX36079" fmla="*/ 1961981 w 8079933"/>
              <a:gd name="connsiteY36079" fmla="*/ 449648 h 4687251"/>
              <a:gd name="connsiteX36080" fmla="*/ 1957314 w 8079933"/>
              <a:gd name="connsiteY36080" fmla="*/ 444667 h 4687251"/>
              <a:gd name="connsiteX36081" fmla="*/ 1958725 w 8079933"/>
              <a:gd name="connsiteY36081" fmla="*/ 439470 h 4687251"/>
              <a:gd name="connsiteX36082" fmla="*/ 1958074 w 8079933"/>
              <a:gd name="connsiteY36082" fmla="*/ 435789 h 4687251"/>
              <a:gd name="connsiteX36083" fmla="*/ 1958725 w 8079933"/>
              <a:gd name="connsiteY36083" fmla="*/ 428210 h 4687251"/>
              <a:gd name="connsiteX36084" fmla="*/ 1965887 w 8079933"/>
              <a:gd name="connsiteY36084" fmla="*/ 426802 h 4687251"/>
              <a:gd name="connsiteX36085" fmla="*/ 1973158 w 8079933"/>
              <a:gd name="connsiteY36085" fmla="*/ 428860 h 4687251"/>
              <a:gd name="connsiteX36086" fmla="*/ 1976631 w 8079933"/>
              <a:gd name="connsiteY36086" fmla="*/ 426478 h 4687251"/>
              <a:gd name="connsiteX36087" fmla="*/ 1982165 w 8079933"/>
              <a:gd name="connsiteY36087" fmla="*/ 427777 h 4687251"/>
              <a:gd name="connsiteX36088" fmla="*/ 1986614 w 8079933"/>
              <a:gd name="connsiteY36088" fmla="*/ 427128 h 4687251"/>
              <a:gd name="connsiteX36089" fmla="*/ 1992908 w 8079933"/>
              <a:gd name="connsiteY36089" fmla="*/ 423663 h 4687251"/>
              <a:gd name="connsiteX36090" fmla="*/ 2000395 w 8079933"/>
              <a:gd name="connsiteY36090" fmla="*/ 423663 h 4687251"/>
              <a:gd name="connsiteX36091" fmla="*/ 2007666 w 8079933"/>
              <a:gd name="connsiteY36091" fmla="*/ 426478 h 4687251"/>
              <a:gd name="connsiteX36092" fmla="*/ 2013526 w 8079933"/>
              <a:gd name="connsiteY36092" fmla="*/ 426478 h 4687251"/>
              <a:gd name="connsiteX36093" fmla="*/ 2016673 w 8079933"/>
              <a:gd name="connsiteY36093" fmla="*/ 427777 h 4687251"/>
              <a:gd name="connsiteX36094" fmla="*/ 2020471 w 8079933"/>
              <a:gd name="connsiteY36094" fmla="*/ 424420 h 4687251"/>
              <a:gd name="connsiteX36095" fmla="*/ 2032191 w 8079933"/>
              <a:gd name="connsiteY36095" fmla="*/ 423988 h 4687251"/>
              <a:gd name="connsiteX36096" fmla="*/ 2033276 w 8079933"/>
              <a:gd name="connsiteY36096" fmla="*/ 420956 h 4687251"/>
              <a:gd name="connsiteX36097" fmla="*/ 2035989 w 8079933"/>
              <a:gd name="connsiteY36097" fmla="*/ 418574 h 4687251"/>
              <a:gd name="connsiteX36098" fmla="*/ 2034253 w 8079933"/>
              <a:gd name="connsiteY36098" fmla="*/ 416084 h 4687251"/>
              <a:gd name="connsiteX36099" fmla="*/ 2031214 w 8079933"/>
              <a:gd name="connsiteY36099" fmla="*/ 419549 h 4687251"/>
              <a:gd name="connsiteX36100" fmla="*/ 2024595 w 8079933"/>
              <a:gd name="connsiteY36100" fmla="*/ 419549 h 4687251"/>
              <a:gd name="connsiteX36101" fmla="*/ 2024269 w 8079933"/>
              <a:gd name="connsiteY36101" fmla="*/ 416841 h 4687251"/>
              <a:gd name="connsiteX36102" fmla="*/ 2017324 w 8079933"/>
              <a:gd name="connsiteY36102" fmla="*/ 419873 h 4687251"/>
              <a:gd name="connsiteX36103" fmla="*/ 2011464 w 8079933"/>
              <a:gd name="connsiteY36103" fmla="*/ 419873 h 4687251"/>
              <a:gd name="connsiteX36104" fmla="*/ 2011464 w 8079933"/>
              <a:gd name="connsiteY36104" fmla="*/ 416084 h 4687251"/>
              <a:gd name="connsiteX36105" fmla="*/ 2008426 w 8079933"/>
              <a:gd name="connsiteY36105" fmla="*/ 413702 h 4687251"/>
              <a:gd name="connsiteX36106" fmla="*/ 2004953 w 8079933"/>
              <a:gd name="connsiteY36106" fmla="*/ 416517 h 4687251"/>
              <a:gd name="connsiteX36107" fmla="*/ 1999744 w 8079933"/>
              <a:gd name="connsiteY36107" fmla="*/ 417166 h 4687251"/>
              <a:gd name="connsiteX36108" fmla="*/ 1995946 w 8079933"/>
              <a:gd name="connsiteY36108" fmla="*/ 418141 h 4687251"/>
              <a:gd name="connsiteX36109" fmla="*/ 1993559 w 8079933"/>
              <a:gd name="connsiteY36109" fmla="*/ 416517 h 4687251"/>
              <a:gd name="connsiteX36110" fmla="*/ 1989110 w 8079933"/>
              <a:gd name="connsiteY36110" fmla="*/ 417491 h 4687251"/>
              <a:gd name="connsiteX36111" fmla="*/ 1983141 w 8079933"/>
              <a:gd name="connsiteY36111" fmla="*/ 415759 h 4687251"/>
              <a:gd name="connsiteX36112" fmla="*/ 1983141 w 8079933"/>
              <a:gd name="connsiteY36112" fmla="*/ 411645 h 4687251"/>
              <a:gd name="connsiteX36113" fmla="*/ 1988350 w 8079933"/>
              <a:gd name="connsiteY36113" fmla="*/ 407855 h 4687251"/>
              <a:gd name="connsiteX36114" fmla="*/ 1993884 w 8079933"/>
              <a:gd name="connsiteY36114" fmla="*/ 403741 h 4687251"/>
              <a:gd name="connsiteX36115" fmla="*/ 1990846 w 8079933"/>
              <a:gd name="connsiteY36115" fmla="*/ 403416 h 4687251"/>
              <a:gd name="connsiteX36116" fmla="*/ 1985637 w 8079933"/>
              <a:gd name="connsiteY36116" fmla="*/ 404390 h 4687251"/>
              <a:gd name="connsiteX36117" fmla="*/ 1982490 w 8079933"/>
              <a:gd name="connsiteY36117" fmla="*/ 408180 h 4687251"/>
              <a:gd name="connsiteX36118" fmla="*/ 1980102 w 8079933"/>
              <a:gd name="connsiteY36118" fmla="*/ 403092 h 4687251"/>
              <a:gd name="connsiteX36119" fmla="*/ 1978366 w 8079933"/>
              <a:gd name="connsiteY36119" fmla="*/ 405040 h 4687251"/>
              <a:gd name="connsiteX36120" fmla="*/ 1977716 w 8079933"/>
              <a:gd name="connsiteY36120" fmla="*/ 409587 h 4687251"/>
              <a:gd name="connsiteX36121" fmla="*/ 1969685 w 8079933"/>
              <a:gd name="connsiteY36121" fmla="*/ 413702 h 4687251"/>
              <a:gd name="connsiteX36122" fmla="*/ 1968383 w 8079933"/>
              <a:gd name="connsiteY36122" fmla="*/ 416841 h 4687251"/>
              <a:gd name="connsiteX36123" fmla="*/ 1964259 w 8079933"/>
              <a:gd name="connsiteY36123" fmla="*/ 417816 h 4687251"/>
              <a:gd name="connsiteX36124" fmla="*/ 1958725 w 8079933"/>
              <a:gd name="connsiteY36124" fmla="*/ 414026 h 4687251"/>
              <a:gd name="connsiteX36125" fmla="*/ 1959051 w 8079933"/>
              <a:gd name="connsiteY36125" fmla="*/ 410237 h 4687251"/>
              <a:gd name="connsiteX36126" fmla="*/ 1961438 w 8079933"/>
              <a:gd name="connsiteY36126" fmla="*/ 406773 h 4687251"/>
              <a:gd name="connsiteX36127" fmla="*/ 1957314 w 8079933"/>
              <a:gd name="connsiteY36127" fmla="*/ 407206 h 4687251"/>
              <a:gd name="connsiteX36128" fmla="*/ 1955252 w 8079933"/>
              <a:gd name="connsiteY36128" fmla="*/ 405473 h 4687251"/>
              <a:gd name="connsiteX36129" fmla="*/ 1954601 w 8079933"/>
              <a:gd name="connsiteY36129" fmla="*/ 411645 h 4687251"/>
              <a:gd name="connsiteX36130" fmla="*/ 1951455 w 8079933"/>
              <a:gd name="connsiteY36130" fmla="*/ 414026 h 4687251"/>
              <a:gd name="connsiteX36131" fmla="*/ 1947005 w 8079933"/>
              <a:gd name="connsiteY36131" fmla="*/ 411969 h 4687251"/>
              <a:gd name="connsiteX36132" fmla="*/ 1947331 w 8079933"/>
              <a:gd name="connsiteY36132" fmla="*/ 406448 h 4687251"/>
              <a:gd name="connsiteX36133" fmla="*/ 1942122 w 8079933"/>
              <a:gd name="connsiteY36133" fmla="*/ 402659 h 4687251"/>
              <a:gd name="connsiteX36134" fmla="*/ 1943532 w 8079933"/>
              <a:gd name="connsiteY36134" fmla="*/ 398869 h 4687251"/>
              <a:gd name="connsiteX36135" fmla="*/ 1940711 w 8079933"/>
              <a:gd name="connsiteY36135" fmla="*/ 397894 h 4687251"/>
              <a:gd name="connsiteX36136" fmla="*/ 1940060 w 8079933"/>
              <a:gd name="connsiteY36136" fmla="*/ 402659 h 4687251"/>
              <a:gd name="connsiteX36137" fmla="*/ 1937347 w 8079933"/>
              <a:gd name="connsiteY36137" fmla="*/ 402333 h 4687251"/>
              <a:gd name="connsiteX36138" fmla="*/ 1932464 w 8079933"/>
              <a:gd name="connsiteY36138" fmla="*/ 395404 h 4687251"/>
              <a:gd name="connsiteX36139" fmla="*/ 1924217 w 8079933"/>
              <a:gd name="connsiteY36139" fmla="*/ 390316 h 4687251"/>
              <a:gd name="connsiteX36140" fmla="*/ 1924217 w 8079933"/>
              <a:gd name="connsiteY36140" fmla="*/ 388259 h 4687251"/>
              <a:gd name="connsiteX36141" fmla="*/ 1929751 w 8079933"/>
              <a:gd name="connsiteY36141" fmla="*/ 387933 h 4687251"/>
              <a:gd name="connsiteX36142" fmla="*/ 1929751 w 8079933"/>
              <a:gd name="connsiteY36142" fmla="*/ 383386 h 4687251"/>
              <a:gd name="connsiteX36143" fmla="*/ 1927580 w 8079933"/>
              <a:gd name="connsiteY36143" fmla="*/ 380355 h 4687251"/>
              <a:gd name="connsiteX36144" fmla="*/ 1936913 w 8079933"/>
              <a:gd name="connsiteY36144" fmla="*/ 374075 h 4687251"/>
              <a:gd name="connsiteX36145" fmla="*/ 1942122 w 8079933"/>
              <a:gd name="connsiteY36145" fmla="*/ 372776 h 4687251"/>
              <a:gd name="connsiteX36146" fmla="*/ 1944509 w 8079933"/>
              <a:gd name="connsiteY36146" fmla="*/ 374075 h 4687251"/>
              <a:gd name="connsiteX36147" fmla="*/ 1953191 w 8079933"/>
              <a:gd name="connsiteY36147" fmla="*/ 373749 h 4687251"/>
              <a:gd name="connsiteX36148" fmla="*/ 1959051 w 8079933"/>
              <a:gd name="connsiteY36148" fmla="*/ 377540 h 4687251"/>
              <a:gd name="connsiteX36149" fmla="*/ 1964910 w 8079933"/>
              <a:gd name="connsiteY36149" fmla="*/ 378297 h 4687251"/>
              <a:gd name="connsiteX36150" fmla="*/ 1968383 w 8079933"/>
              <a:gd name="connsiteY36150" fmla="*/ 375482 h 4687251"/>
              <a:gd name="connsiteX36151" fmla="*/ 1974243 w 8079933"/>
              <a:gd name="connsiteY36151" fmla="*/ 375157 h 4687251"/>
              <a:gd name="connsiteX36152" fmla="*/ 1979777 w 8079933"/>
              <a:gd name="connsiteY36152" fmla="*/ 371367 h 4687251"/>
              <a:gd name="connsiteX36153" fmla="*/ 1976304 w 8079933"/>
              <a:gd name="connsiteY36153" fmla="*/ 368987 h 4687251"/>
              <a:gd name="connsiteX36154" fmla="*/ 1973917 w 8079933"/>
              <a:gd name="connsiteY36154" fmla="*/ 366929 h 4687251"/>
              <a:gd name="connsiteX36155" fmla="*/ 1968708 w 8079933"/>
              <a:gd name="connsiteY36155" fmla="*/ 366929 h 4687251"/>
              <a:gd name="connsiteX36156" fmla="*/ 1963825 w 8079933"/>
              <a:gd name="connsiteY36156" fmla="*/ 368228 h 4687251"/>
              <a:gd name="connsiteX36157" fmla="*/ 1955904 w 8079933"/>
              <a:gd name="connsiteY36157" fmla="*/ 365197 h 4687251"/>
              <a:gd name="connsiteX36158" fmla="*/ 1950803 w 8079933"/>
              <a:gd name="connsiteY36158" fmla="*/ 365197 h 4687251"/>
              <a:gd name="connsiteX36159" fmla="*/ 1949393 w 8079933"/>
              <a:gd name="connsiteY36159" fmla="*/ 363464 h 4687251"/>
              <a:gd name="connsiteX36160" fmla="*/ 1956229 w 8079933"/>
              <a:gd name="connsiteY36160" fmla="*/ 356860 h 4687251"/>
              <a:gd name="connsiteX36161" fmla="*/ 1961764 w 8079933"/>
              <a:gd name="connsiteY36161" fmla="*/ 350364 h 4687251"/>
              <a:gd name="connsiteX36162" fmla="*/ 1966647 w 8079933"/>
              <a:gd name="connsiteY36162" fmla="*/ 349714 h 4687251"/>
              <a:gd name="connsiteX36163" fmla="*/ 1969685 w 8079933"/>
              <a:gd name="connsiteY36163" fmla="*/ 350688 h 4687251"/>
              <a:gd name="connsiteX36164" fmla="*/ 1978692 w 8079933"/>
              <a:gd name="connsiteY36164" fmla="*/ 348956 h 4687251"/>
              <a:gd name="connsiteX36165" fmla="*/ 1989110 w 8079933"/>
              <a:gd name="connsiteY36165" fmla="*/ 350039 h 4687251"/>
              <a:gd name="connsiteX36166" fmla="*/ 1994969 w 8079933"/>
              <a:gd name="connsiteY36166" fmla="*/ 351771 h 4687251"/>
              <a:gd name="connsiteX36167" fmla="*/ 1997357 w 8079933"/>
              <a:gd name="connsiteY36167" fmla="*/ 350688 h 4687251"/>
              <a:gd name="connsiteX36168" fmla="*/ 1995946 w 8079933"/>
              <a:gd name="connsiteY36168" fmla="*/ 347982 h 4687251"/>
              <a:gd name="connsiteX36169" fmla="*/ 1993233 w 8079933"/>
              <a:gd name="connsiteY36169" fmla="*/ 347982 h 4687251"/>
              <a:gd name="connsiteX36170" fmla="*/ 1988350 w 8079933"/>
              <a:gd name="connsiteY36170" fmla="*/ 345492 h 4687251"/>
              <a:gd name="connsiteX36171" fmla="*/ 1983575 w 8079933"/>
              <a:gd name="connsiteY36171" fmla="*/ 345492 h 4687251"/>
              <a:gd name="connsiteX36172" fmla="*/ 1973917 w 8079933"/>
              <a:gd name="connsiteY36172" fmla="*/ 342784 h 4687251"/>
              <a:gd name="connsiteX36173" fmla="*/ 1970770 w 8079933"/>
              <a:gd name="connsiteY36173" fmla="*/ 338671 h 4687251"/>
              <a:gd name="connsiteX36174" fmla="*/ 1976304 w 8079933"/>
              <a:gd name="connsiteY36174" fmla="*/ 334556 h 4687251"/>
              <a:gd name="connsiteX36175" fmla="*/ 1979017 w 8079933"/>
              <a:gd name="connsiteY36175" fmla="*/ 330334 h 4687251"/>
              <a:gd name="connsiteX36176" fmla="*/ 1982165 w 8079933"/>
              <a:gd name="connsiteY36176" fmla="*/ 327952 h 4687251"/>
              <a:gd name="connsiteX36177" fmla="*/ 1985312 w 8079933"/>
              <a:gd name="connsiteY36177" fmla="*/ 327952 h 4687251"/>
              <a:gd name="connsiteX36178" fmla="*/ 1990846 w 8079933"/>
              <a:gd name="connsiteY36178" fmla="*/ 325246 h 4687251"/>
              <a:gd name="connsiteX36179" fmla="*/ 1994969 w 8079933"/>
              <a:gd name="connsiteY36179" fmla="*/ 325246 h 4687251"/>
              <a:gd name="connsiteX36180" fmla="*/ 1996706 w 8079933"/>
              <a:gd name="connsiteY36180" fmla="*/ 327627 h 4687251"/>
              <a:gd name="connsiteX36181" fmla="*/ 2000829 w 8079933"/>
              <a:gd name="connsiteY36181" fmla="*/ 327627 h 4687251"/>
              <a:gd name="connsiteX36182" fmla="*/ 2005930 w 8079933"/>
              <a:gd name="connsiteY36182" fmla="*/ 332065 h 4687251"/>
              <a:gd name="connsiteX36183" fmla="*/ 2009077 w 8079933"/>
              <a:gd name="connsiteY36183" fmla="*/ 333473 h 4687251"/>
              <a:gd name="connsiteX36184" fmla="*/ 2007015 w 8079933"/>
              <a:gd name="connsiteY36184" fmla="*/ 329034 h 4687251"/>
              <a:gd name="connsiteX36185" fmla="*/ 2001806 w 8079933"/>
              <a:gd name="connsiteY36185" fmla="*/ 325246 h 4687251"/>
              <a:gd name="connsiteX36186" fmla="*/ 2001155 w 8079933"/>
              <a:gd name="connsiteY36186" fmla="*/ 321455 h 4687251"/>
              <a:gd name="connsiteX36187" fmla="*/ 1999093 w 8079933"/>
              <a:gd name="connsiteY36187" fmla="*/ 319399 h 4687251"/>
              <a:gd name="connsiteX36188" fmla="*/ 2001806 w 8079933"/>
              <a:gd name="connsiteY36188" fmla="*/ 316583 h 4687251"/>
              <a:gd name="connsiteX36189" fmla="*/ 4755850 w 8079933"/>
              <a:gd name="connsiteY36189" fmla="*/ 309763 h 4687251"/>
              <a:gd name="connsiteX36190" fmla="*/ 4757912 w 8079933"/>
              <a:gd name="connsiteY36190" fmla="*/ 312470 h 4687251"/>
              <a:gd name="connsiteX36191" fmla="*/ 4758563 w 8079933"/>
              <a:gd name="connsiteY36191" fmla="*/ 316151 h 4687251"/>
              <a:gd name="connsiteX36192" fmla="*/ 4757043 w 8079933"/>
              <a:gd name="connsiteY36192" fmla="*/ 318858 h 4687251"/>
              <a:gd name="connsiteX36193" fmla="*/ 4753680 w 8079933"/>
              <a:gd name="connsiteY36193" fmla="*/ 319618 h 4687251"/>
              <a:gd name="connsiteX36194" fmla="*/ 4748688 w 8079933"/>
              <a:gd name="connsiteY36194" fmla="*/ 318208 h 4687251"/>
              <a:gd name="connsiteX36195" fmla="*/ 4747386 w 8079933"/>
              <a:gd name="connsiteY36195" fmla="*/ 315177 h 4687251"/>
              <a:gd name="connsiteX36196" fmla="*/ 4750749 w 8079933"/>
              <a:gd name="connsiteY36196" fmla="*/ 314094 h 4687251"/>
              <a:gd name="connsiteX36197" fmla="*/ 4753462 w 8079933"/>
              <a:gd name="connsiteY36197" fmla="*/ 310630 h 4687251"/>
              <a:gd name="connsiteX36198" fmla="*/ 6366671 w 8079933"/>
              <a:gd name="connsiteY36198" fmla="*/ 305325 h 4687251"/>
              <a:gd name="connsiteX36199" fmla="*/ 6370035 w 8079933"/>
              <a:gd name="connsiteY36199" fmla="*/ 306081 h 4687251"/>
              <a:gd name="connsiteX36200" fmla="*/ 6372313 w 8079933"/>
              <a:gd name="connsiteY36200" fmla="*/ 311712 h 4687251"/>
              <a:gd name="connsiteX36201" fmla="*/ 6378716 w 8079933"/>
              <a:gd name="connsiteY36201" fmla="*/ 318208 h 4687251"/>
              <a:gd name="connsiteX36202" fmla="*/ 6379694 w 8079933"/>
              <a:gd name="connsiteY36202" fmla="*/ 322864 h 4687251"/>
              <a:gd name="connsiteX36203" fmla="*/ 6377088 w 8079933"/>
              <a:gd name="connsiteY36203" fmla="*/ 326871 h 4687251"/>
              <a:gd name="connsiteX36204" fmla="*/ 6375352 w 8079933"/>
              <a:gd name="connsiteY36204" fmla="*/ 331525 h 4687251"/>
              <a:gd name="connsiteX36205" fmla="*/ 6376437 w 8079933"/>
              <a:gd name="connsiteY36205" fmla="*/ 333259 h 4687251"/>
              <a:gd name="connsiteX36206" fmla="*/ 6374159 w 8079933"/>
              <a:gd name="connsiteY36206" fmla="*/ 335099 h 4687251"/>
              <a:gd name="connsiteX36207" fmla="*/ 6369709 w 8079933"/>
              <a:gd name="connsiteY36207" fmla="*/ 333042 h 4687251"/>
              <a:gd name="connsiteX36208" fmla="*/ 6365369 w 8079933"/>
              <a:gd name="connsiteY36208" fmla="*/ 327196 h 4687251"/>
              <a:gd name="connsiteX36209" fmla="*/ 6361462 w 8079933"/>
              <a:gd name="connsiteY36209" fmla="*/ 326005 h 4687251"/>
              <a:gd name="connsiteX36210" fmla="*/ 6359726 w 8079933"/>
              <a:gd name="connsiteY36210" fmla="*/ 323081 h 4687251"/>
              <a:gd name="connsiteX36211" fmla="*/ 6360485 w 8079933"/>
              <a:gd name="connsiteY36211" fmla="*/ 320483 h 4687251"/>
              <a:gd name="connsiteX36212" fmla="*/ 6357122 w 8079933"/>
              <a:gd name="connsiteY36212" fmla="*/ 315393 h 4687251"/>
              <a:gd name="connsiteX36213" fmla="*/ 6356579 w 8079933"/>
              <a:gd name="connsiteY36213" fmla="*/ 311279 h 4687251"/>
              <a:gd name="connsiteX36214" fmla="*/ 6361137 w 8079933"/>
              <a:gd name="connsiteY36214" fmla="*/ 306732 h 4687251"/>
              <a:gd name="connsiteX36215" fmla="*/ 4739356 w 8079933"/>
              <a:gd name="connsiteY36215" fmla="*/ 301642 h 4687251"/>
              <a:gd name="connsiteX36216" fmla="*/ 4743154 w 8079933"/>
              <a:gd name="connsiteY36216" fmla="*/ 303160 h 4687251"/>
              <a:gd name="connsiteX36217" fmla="*/ 4743588 w 8079933"/>
              <a:gd name="connsiteY36217" fmla="*/ 305866 h 4687251"/>
              <a:gd name="connsiteX36218" fmla="*/ 4742177 w 8079933"/>
              <a:gd name="connsiteY36218" fmla="*/ 310847 h 4687251"/>
              <a:gd name="connsiteX36219" fmla="*/ 4740224 w 8079933"/>
              <a:gd name="connsiteY36219" fmla="*/ 312254 h 4687251"/>
              <a:gd name="connsiteX36220" fmla="*/ 4737294 w 8079933"/>
              <a:gd name="connsiteY36220" fmla="*/ 309548 h 4687251"/>
              <a:gd name="connsiteX36221" fmla="*/ 4738704 w 8079933"/>
              <a:gd name="connsiteY36221" fmla="*/ 306190 h 4687251"/>
              <a:gd name="connsiteX36222" fmla="*/ 4738379 w 8079933"/>
              <a:gd name="connsiteY36222" fmla="*/ 303700 h 4687251"/>
              <a:gd name="connsiteX36223" fmla="*/ 2434353 w 8079933"/>
              <a:gd name="connsiteY36223" fmla="*/ 301425 h 4687251"/>
              <a:gd name="connsiteX36224" fmla="*/ 2435330 w 8079933"/>
              <a:gd name="connsiteY36224" fmla="*/ 309438 h 4687251"/>
              <a:gd name="connsiteX36225" fmla="*/ 2434136 w 8079933"/>
              <a:gd name="connsiteY36225" fmla="*/ 313119 h 4687251"/>
              <a:gd name="connsiteX36226" fmla="*/ 2431966 w 8079933"/>
              <a:gd name="connsiteY36226" fmla="*/ 313444 h 4687251"/>
              <a:gd name="connsiteX36227" fmla="*/ 2430664 w 8079933"/>
              <a:gd name="connsiteY36227" fmla="*/ 309655 h 4687251"/>
              <a:gd name="connsiteX36228" fmla="*/ 2430555 w 8079933"/>
              <a:gd name="connsiteY36228" fmla="*/ 304132 h 4687251"/>
              <a:gd name="connsiteX36229" fmla="*/ 2431748 w 8079933"/>
              <a:gd name="connsiteY36229" fmla="*/ 301534 h 4687251"/>
              <a:gd name="connsiteX36230" fmla="*/ 4777010 w 8079933"/>
              <a:gd name="connsiteY36230" fmla="*/ 301102 h 4687251"/>
              <a:gd name="connsiteX36231" fmla="*/ 4780375 w 8079933"/>
              <a:gd name="connsiteY36231" fmla="*/ 303807 h 4687251"/>
              <a:gd name="connsiteX36232" fmla="*/ 4784064 w 8079933"/>
              <a:gd name="connsiteY36232" fmla="*/ 309871 h 4687251"/>
              <a:gd name="connsiteX36233" fmla="*/ 4783305 w 8079933"/>
              <a:gd name="connsiteY36233" fmla="*/ 313769 h 4687251"/>
              <a:gd name="connsiteX36234" fmla="*/ 4784064 w 8079933"/>
              <a:gd name="connsiteY36234" fmla="*/ 319290 h 4687251"/>
              <a:gd name="connsiteX36235" fmla="*/ 4786994 w 8079933"/>
              <a:gd name="connsiteY36235" fmla="*/ 323406 h 4687251"/>
              <a:gd name="connsiteX36236" fmla="*/ 4786668 w 8079933"/>
              <a:gd name="connsiteY36236" fmla="*/ 326545 h 4687251"/>
              <a:gd name="connsiteX36237" fmla="*/ 4780917 w 8079933"/>
              <a:gd name="connsiteY36237" fmla="*/ 326219 h 4687251"/>
              <a:gd name="connsiteX36238" fmla="*/ 4774081 w 8079933"/>
              <a:gd name="connsiteY36238" fmla="*/ 328926 h 4687251"/>
              <a:gd name="connsiteX36239" fmla="*/ 4770717 w 8079933"/>
              <a:gd name="connsiteY36239" fmla="*/ 327736 h 4687251"/>
              <a:gd name="connsiteX36240" fmla="*/ 4767678 w 8079933"/>
              <a:gd name="connsiteY36240" fmla="*/ 324813 h 4687251"/>
              <a:gd name="connsiteX36241" fmla="*/ 4766268 w 8079933"/>
              <a:gd name="connsiteY36241" fmla="*/ 316909 h 4687251"/>
              <a:gd name="connsiteX36242" fmla="*/ 4762361 w 8079933"/>
              <a:gd name="connsiteY36242" fmla="*/ 311279 h 4687251"/>
              <a:gd name="connsiteX36243" fmla="*/ 4763555 w 8079933"/>
              <a:gd name="connsiteY36243" fmla="*/ 307489 h 4687251"/>
              <a:gd name="connsiteX36244" fmla="*/ 4768872 w 8079933"/>
              <a:gd name="connsiteY36244" fmla="*/ 304024 h 4687251"/>
              <a:gd name="connsiteX36245" fmla="*/ 4774732 w 8079933"/>
              <a:gd name="connsiteY36245" fmla="*/ 303267 h 4687251"/>
              <a:gd name="connsiteX36246" fmla="*/ 4753680 w 8079933"/>
              <a:gd name="connsiteY36246" fmla="*/ 299910 h 4687251"/>
              <a:gd name="connsiteX36247" fmla="*/ 4753463 w 8079933"/>
              <a:gd name="connsiteY36247" fmla="*/ 303160 h 4687251"/>
              <a:gd name="connsiteX36248" fmla="*/ 4751618 w 8079933"/>
              <a:gd name="connsiteY36248" fmla="*/ 305864 h 4687251"/>
              <a:gd name="connsiteX36249" fmla="*/ 4749882 w 8079933"/>
              <a:gd name="connsiteY36249" fmla="*/ 306407 h 4687251"/>
              <a:gd name="connsiteX36250" fmla="*/ 4750859 w 8079933"/>
              <a:gd name="connsiteY36250" fmla="*/ 301535 h 4687251"/>
              <a:gd name="connsiteX36251" fmla="*/ 4763663 w 8079933"/>
              <a:gd name="connsiteY36251" fmla="*/ 299586 h 4687251"/>
              <a:gd name="connsiteX36252" fmla="*/ 4765182 w 8079933"/>
              <a:gd name="connsiteY36252" fmla="*/ 301425 h 4687251"/>
              <a:gd name="connsiteX36253" fmla="*/ 4763771 w 8079933"/>
              <a:gd name="connsiteY36253" fmla="*/ 304024 h 4687251"/>
              <a:gd name="connsiteX36254" fmla="*/ 4760299 w 8079933"/>
              <a:gd name="connsiteY36254" fmla="*/ 305107 h 4687251"/>
              <a:gd name="connsiteX36255" fmla="*/ 4757260 w 8079933"/>
              <a:gd name="connsiteY36255" fmla="*/ 304240 h 4687251"/>
              <a:gd name="connsiteX36256" fmla="*/ 4756718 w 8079933"/>
              <a:gd name="connsiteY36256" fmla="*/ 302508 h 4687251"/>
              <a:gd name="connsiteX36257" fmla="*/ 4759540 w 8079933"/>
              <a:gd name="connsiteY36257" fmla="*/ 301425 h 4687251"/>
              <a:gd name="connsiteX36258" fmla="*/ 4760516 w 8079933"/>
              <a:gd name="connsiteY36258" fmla="*/ 299693 h 4687251"/>
              <a:gd name="connsiteX36259" fmla="*/ 5669452 w 8079933"/>
              <a:gd name="connsiteY36259" fmla="*/ 297854 h 4687251"/>
              <a:gd name="connsiteX36260" fmla="*/ 5674335 w 8079933"/>
              <a:gd name="connsiteY36260" fmla="*/ 298503 h 4687251"/>
              <a:gd name="connsiteX36261" fmla="*/ 5677374 w 8079933"/>
              <a:gd name="connsiteY36261" fmla="*/ 305324 h 4687251"/>
              <a:gd name="connsiteX36262" fmla="*/ 5675854 w 8079933"/>
              <a:gd name="connsiteY36262" fmla="*/ 310304 h 4687251"/>
              <a:gd name="connsiteX36263" fmla="*/ 5671405 w 8079933"/>
              <a:gd name="connsiteY36263" fmla="*/ 312252 h 4687251"/>
              <a:gd name="connsiteX36264" fmla="*/ 5670863 w 8079933"/>
              <a:gd name="connsiteY36264" fmla="*/ 310196 h 4687251"/>
              <a:gd name="connsiteX36265" fmla="*/ 5671839 w 8079933"/>
              <a:gd name="connsiteY36265" fmla="*/ 308354 h 4687251"/>
              <a:gd name="connsiteX36266" fmla="*/ 5667390 w 8079933"/>
              <a:gd name="connsiteY36266" fmla="*/ 302618 h 4687251"/>
              <a:gd name="connsiteX36267" fmla="*/ 5667390 w 8079933"/>
              <a:gd name="connsiteY36267" fmla="*/ 298827 h 4687251"/>
              <a:gd name="connsiteX36268" fmla="*/ 4721884 w 8079933"/>
              <a:gd name="connsiteY36268" fmla="*/ 295039 h 4687251"/>
              <a:gd name="connsiteX36269" fmla="*/ 4724379 w 8079933"/>
              <a:gd name="connsiteY36269" fmla="*/ 296122 h 4687251"/>
              <a:gd name="connsiteX36270" fmla="*/ 4724706 w 8079933"/>
              <a:gd name="connsiteY36270" fmla="*/ 302835 h 4687251"/>
              <a:gd name="connsiteX36271" fmla="*/ 4727527 w 8079933"/>
              <a:gd name="connsiteY36271" fmla="*/ 306949 h 4687251"/>
              <a:gd name="connsiteX36272" fmla="*/ 4725465 w 8079933"/>
              <a:gd name="connsiteY36272" fmla="*/ 308465 h 4687251"/>
              <a:gd name="connsiteX36273" fmla="*/ 4721125 w 8079933"/>
              <a:gd name="connsiteY36273" fmla="*/ 306624 h 4687251"/>
              <a:gd name="connsiteX36274" fmla="*/ 4719280 w 8079933"/>
              <a:gd name="connsiteY36274" fmla="*/ 303700 h 4687251"/>
              <a:gd name="connsiteX36275" fmla="*/ 4720799 w 8079933"/>
              <a:gd name="connsiteY36275" fmla="*/ 302077 h 4687251"/>
              <a:gd name="connsiteX36276" fmla="*/ 4739790 w 8079933"/>
              <a:gd name="connsiteY36276" fmla="*/ 294714 h 4687251"/>
              <a:gd name="connsiteX36277" fmla="*/ 4743805 w 8079933"/>
              <a:gd name="connsiteY36277" fmla="*/ 295579 h 4687251"/>
              <a:gd name="connsiteX36278" fmla="*/ 4746843 w 8079933"/>
              <a:gd name="connsiteY36278" fmla="*/ 299586 h 4687251"/>
              <a:gd name="connsiteX36279" fmla="*/ 4746301 w 8079933"/>
              <a:gd name="connsiteY36279" fmla="*/ 301751 h 4687251"/>
              <a:gd name="connsiteX36280" fmla="*/ 4741851 w 8079933"/>
              <a:gd name="connsiteY36280" fmla="*/ 300344 h 4687251"/>
              <a:gd name="connsiteX36281" fmla="*/ 4738271 w 8079933"/>
              <a:gd name="connsiteY36281" fmla="*/ 296230 h 4687251"/>
              <a:gd name="connsiteX36282" fmla="*/ 1869958 w 8079933"/>
              <a:gd name="connsiteY36282" fmla="*/ 293955 h 4687251"/>
              <a:gd name="connsiteX36283" fmla="*/ 1874733 w 8079933"/>
              <a:gd name="connsiteY36283" fmla="*/ 295471 h 4687251"/>
              <a:gd name="connsiteX36284" fmla="*/ 1875492 w 8079933"/>
              <a:gd name="connsiteY36284" fmla="*/ 298178 h 4687251"/>
              <a:gd name="connsiteX36285" fmla="*/ 1873648 w 8079933"/>
              <a:gd name="connsiteY36285" fmla="*/ 299261 h 4687251"/>
              <a:gd name="connsiteX36286" fmla="*/ 1869415 w 8079933"/>
              <a:gd name="connsiteY36286" fmla="*/ 297421 h 4687251"/>
              <a:gd name="connsiteX36287" fmla="*/ 1868222 w 8079933"/>
              <a:gd name="connsiteY36287" fmla="*/ 295471 h 4687251"/>
              <a:gd name="connsiteX36288" fmla="*/ 4730458 w 8079933"/>
              <a:gd name="connsiteY36288" fmla="*/ 293524 h 4687251"/>
              <a:gd name="connsiteX36289" fmla="*/ 4733930 w 8079933"/>
              <a:gd name="connsiteY36289" fmla="*/ 298505 h 4687251"/>
              <a:gd name="connsiteX36290" fmla="*/ 4735666 w 8079933"/>
              <a:gd name="connsiteY36290" fmla="*/ 302836 h 4687251"/>
              <a:gd name="connsiteX36291" fmla="*/ 4734364 w 8079933"/>
              <a:gd name="connsiteY36291" fmla="*/ 305542 h 4687251"/>
              <a:gd name="connsiteX36292" fmla="*/ 4732194 w 8079933"/>
              <a:gd name="connsiteY36292" fmla="*/ 305218 h 4687251"/>
              <a:gd name="connsiteX36293" fmla="*/ 4727853 w 8079933"/>
              <a:gd name="connsiteY36293" fmla="*/ 298505 h 4687251"/>
              <a:gd name="connsiteX36294" fmla="*/ 4727853 w 8079933"/>
              <a:gd name="connsiteY36294" fmla="*/ 294064 h 4687251"/>
              <a:gd name="connsiteX36295" fmla="*/ 5097026 w 8079933"/>
              <a:gd name="connsiteY36295" fmla="*/ 292873 h 4687251"/>
              <a:gd name="connsiteX36296" fmla="*/ 5099847 w 8079933"/>
              <a:gd name="connsiteY36296" fmla="*/ 294822 h 4687251"/>
              <a:gd name="connsiteX36297" fmla="*/ 5103754 w 8079933"/>
              <a:gd name="connsiteY36297" fmla="*/ 296121 h 4687251"/>
              <a:gd name="connsiteX36298" fmla="*/ 5109940 w 8079933"/>
              <a:gd name="connsiteY36298" fmla="*/ 294497 h 4687251"/>
              <a:gd name="connsiteX36299" fmla="*/ 5112544 w 8079933"/>
              <a:gd name="connsiteY36299" fmla="*/ 295688 h 4687251"/>
              <a:gd name="connsiteX36300" fmla="*/ 5112001 w 8079933"/>
              <a:gd name="connsiteY36300" fmla="*/ 298286 h 4687251"/>
              <a:gd name="connsiteX36301" fmla="*/ 5105165 w 8079933"/>
              <a:gd name="connsiteY36301" fmla="*/ 301317 h 4687251"/>
              <a:gd name="connsiteX36302" fmla="*/ 5102777 w 8079933"/>
              <a:gd name="connsiteY36302" fmla="*/ 301428 h 4687251"/>
              <a:gd name="connsiteX36303" fmla="*/ 5099304 w 8079933"/>
              <a:gd name="connsiteY36303" fmla="*/ 298395 h 4687251"/>
              <a:gd name="connsiteX36304" fmla="*/ 5094421 w 8079933"/>
              <a:gd name="connsiteY36304" fmla="*/ 297528 h 4687251"/>
              <a:gd name="connsiteX36305" fmla="*/ 5093228 w 8079933"/>
              <a:gd name="connsiteY36305" fmla="*/ 296121 h 4687251"/>
              <a:gd name="connsiteX36306" fmla="*/ 5094096 w 8079933"/>
              <a:gd name="connsiteY36306" fmla="*/ 293522 h 4687251"/>
              <a:gd name="connsiteX36307" fmla="*/ 5605860 w 8079933"/>
              <a:gd name="connsiteY36307" fmla="*/ 289191 h 4687251"/>
              <a:gd name="connsiteX36308" fmla="*/ 5609117 w 8079933"/>
              <a:gd name="connsiteY36308" fmla="*/ 289191 h 4687251"/>
              <a:gd name="connsiteX36309" fmla="*/ 5614868 w 8079933"/>
              <a:gd name="connsiteY36309" fmla="*/ 295904 h 4687251"/>
              <a:gd name="connsiteX36310" fmla="*/ 5619426 w 8079933"/>
              <a:gd name="connsiteY36310" fmla="*/ 291356 h 4687251"/>
              <a:gd name="connsiteX36311" fmla="*/ 5623549 w 8079933"/>
              <a:gd name="connsiteY36311" fmla="*/ 291356 h 4687251"/>
              <a:gd name="connsiteX36312" fmla="*/ 5626046 w 8079933"/>
              <a:gd name="connsiteY36312" fmla="*/ 298177 h 4687251"/>
              <a:gd name="connsiteX36313" fmla="*/ 5632556 w 8079933"/>
              <a:gd name="connsiteY36313" fmla="*/ 299260 h 4687251"/>
              <a:gd name="connsiteX36314" fmla="*/ 5638958 w 8079933"/>
              <a:gd name="connsiteY36314" fmla="*/ 293846 h 4687251"/>
              <a:gd name="connsiteX36315" fmla="*/ 5641129 w 8079933"/>
              <a:gd name="connsiteY36315" fmla="*/ 294605 h 4687251"/>
              <a:gd name="connsiteX36316" fmla="*/ 5641129 w 8079933"/>
              <a:gd name="connsiteY36316" fmla="*/ 301426 h 4687251"/>
              <a:gd name="connsiteX36317" fmla="*/ 5642974 w 8079933"/>
              <a:gd name="connsiteY36317" fmla="*/ 303591 h 4687251"/>
              <a:gd name="connsiteX36318" fmla="*/ 5650244 w 8079933"/>
              <a:gd name="connsiteY36318" fmla="*/ 305432 h 4687251"/>
              <a:gd name="connsiteX36319" fmla="*/ 5650244 w 8079933"/>
              <a:gd name="connsiteY36319" fmla="*/ 307381 h 4687251"/>
              <a:gd name="connsiteX36320" fmla="*/ 5645578 w 8079933"/>
              <a:gd name="connsiteY36320" fmla="*/ 310304 h 4687251"/>
              <a:gd name="connsiteX36321" fmla="*/ 5645578 w 8079933"/>
              <a:gd name="connsiteY36321" fmla="*/ 312470 h 4687251"/>
              <a:gd name="connsiteX36322" fmla="*/ 5643190 w 8079933"/>
              <a:gd name="connsiteY36322" fmla="*/ 316584 h 4687251"/>
              <a:gd name="connsiteX36323" fmla="*/ 5644601 w 8079933"/>
              <a:gd name="connsiteY36323" fmla="*/ 321672 h 4687251"/>
              <a:gd name="connsiteX36324" fmla="*/ 5639501 w 8079933"/>
              <a:gd name="connsiteY36324" fmla="*/ 329468 h 4687251"/>
              <a:gd name="connsiteX36325" fmla="*/ 5634292 w 8079933"/>
              <a:gd name="connsiteY36325" fmla="*/ 330550 h 4687251"/>
              <a:gd name="connsiteX36326" fmla="*/ 5630494 w 8079933"/>
              <a:gd name="connsiteY36326" fmla="*/ 336830 h 4687251"/>
              <a:gd name="connsiteX36327" fmla="*/ 5634292 w 8079933"/>
              <a:gd name="connsiteY36327" fmla="*/ 337913 h 4687251"/>
              <a:gd name="connsiteX36328" fmla="*/ 5645144 w 8079933"/>
              <a:gd name="connsiteY36328" fmla="*/ 333582 h 4687251"/>
              <a:gd name="connsiteX36329" fmla="*/ 5652957 w 8079933"/>
              <a:gd name="connsiteY36329" fmla="*/ 321997 h 4687251"/>
              <a:gd name="connsiteX36330" fmla="*/ 5656430 w 8079933"/>
              <a:gd name="connsiteY36330" fmla="*/ 322755 h 4687251"/>
              <a:gd name="connsiteX36331" fmla="*/ 5656430 w 8079933"/>
              <a:gd name="connsiteY36331" fmla="*/ 326219 h 4687251"/>
              <a:gd name="connsiteX36332" fmla="*/ 5652957 w 8079933"/>
              <a:gd name="connsiteY36332" fmla="*/ 331092 h 4687251"/>
              <a:gd name="connsiteX36333" fmla="*/ 5652957 w 8079933"/>
              <a:gd name="connsiteY36333" fmla="*/ 334556 h 4687251"/>
              <a:gd name="connsiteX36334" fmla="*/ 5656430 w 8079933"/>
              <a:gd name="connsiteY36334" fmla="*/ 334556 h 4687251"/>
              <a:gd name="connsiteX36335" fmla="*/ 5660553 w 8079933"/>
              <a:gd name="connsiteY36335" fmla="*/ 328277 h 4687251"/>
              <a:gd name="connsiteX36336" fmla="*/ 5665219 w 8079933"/>
              <a:gd name="connsiteY36336" fmla="*/ 325787 h 4687251"/>
              <a:gd name="connsiteX36337" fmla="*/ 5667499 w 8079933"/>
              <a:gd name="connsiteY36337" fmla="*/ 327952 h 4687251"/>
              <a:gd name="connsiteX36338" fmla="*/ 5673467 w 8079933"/>
              <a:gd name="connsiteY36338" fmla="*/ 327411 h 4687251"/>
              <a:gd name="connsiteX36339" fmla="*/ 5674769 w 8079933"/>
              <a:gd name="connsiteY36339" fmla="*/ 321997 h 4687251"/>
              <a:gd name="connsiteX36340" fmla="*/ 5677265 w 8079933"/>
              <a:gd name="connsiteY36340" fmla="*/ 321997 h 4687251"/>
              <a:gd name="connsiteX36341" fmla="*/ 5680520 w 8079933"/>
              <a:gd name="connsiteY36341" fmla="*/ 324162 h 4687251"/>
              <a:gd name="connsiteX36342" fmla="*/ 5684319 w 8079933"/>
              <a:gd name="connsiteY36342" fmla="*/ 321997 h 4687251"/>
              <a:gd name="connsiteX36343" fmla="*/ 5690612 w 8079933"/>
              <a:gd name="connsiteY36343" fmla="*/ 328277 h 4687251"/>
              <a:gd name="connsiteX36344" fmla="*/ 5690612 w 8079933"/>
              <a:gd name="connsiteY36344" fmla="*/ 332933 h 4687251"/>
              <a:gd name="connsiteX36345" fmla="*/ 5693434 w 8079933"/>
              <a:gd name="connsiteY36345" fmla="*/ 340186 h 4687251"/>
              <a:gd name="connsiteX36346" fmla="*/ 5691698 w 8079933"/>
              <a:gd name="connsiteY36346" fmla="*/ 343110 h 4687251"/>
              <a:gd name="connsiteX36347" fmla="*/ 5691698 w 8079933"/>
              <a:gd name="connsiteY36347" fmla="*/ 347657 h 4687251"/>
              <a:gd name="connsiteX36348" fmla="*/ 5688442 w 8079933"/>
              <a:gd name="connsiteY36348" fmla="*/ 354478 h 4687251"/>
              <a:gd name="connsiteX36349" fmla="*/ 5694193 w 8079933"/>
              <a:gd name="connsiteY36349" fmla="*/ 364006 h 4687251"/>
              <a:gd name="connsiteX36350" fmla="*/ 5693651 w 8079933"/>
              <a:gd name="connsiteY36350" fmla="*/ 369419 h 4687251"/>
              <a:gd name="connsiteX36351" fmla="*/ 5689853 w 8079933"/>
              <a:gd name="connsiteY36351" fmla="*/ 370827 h 4687251"/>
              <a:gd name="connsiteX36352" fmla="*/ 5685838 w 8079933"/>
              <a:gd name="connsiteY36352" fmla="*/ 374076 h 4687251"/>
              <a:gd name="connsiteX36353" fmla="*/ 5689094 w 8079933"/>
              <a:gd name="connsiteY36353" fmla="*/ 374833 h 4687251"/>
              <a:gd name="connsiteX36354" fmla="*/ 5698317 w 8079933"/>
              <a:gd name="connsiteY36354" fmla="*/ 372668 h 4687251"/>
              <a:gd name="connsiteX36355" fmla="*/ 5703960 w 8079933"/>
              <a:gd name="connsiteY36355" fmla="*/ 367037 h 4687251"/>
              <a:gd name="connsiteX36356" fmla="*/ 5711230 w 8079933"/>
              <a:gd name="connsiteY36356" fmla="*/ 367037 h 4687251"/>
              <a:gd name="connsiteX36357" fmla="*/ 5714486 w 8079933"/>
              <a:gd name="connsiteY36357" fmla="*/ 360325 h 4687251"/>
              <a:gd name="connsiteX36358" fmla="*/ 5713726 w 8079933"/>
              <a:gd name="connsiteY36358" fmla="*/ 351772 h 4687251"/>
              <a:gd name="connsiteX36359" fmla="*/ 5711339 w 8079933"/>
              <a:gd name="connsiteY36359" fmla="*/ 345276 h 4687251"/>
              <a:gd name="connsiteX36360" fmla="*/ 5708735 w 8079933"/>
              <a:gd name="connsiteY36360" fmla="*/ 345276 h 4687251"/>
              <a:gd name="connsiteX36361" fmla="*/ 5705154 w 8079933"/>
              <a:gd name="connsiteY36361" fmla="*/ 343868 h 4687251"/>
              <a:gd name="connsiteX36362" fmla="*/ 5705154 w 8079933"/>
              <a:gd name="connsiteY36362" fmla="*/ 338996 h 4687251"/>
              <a:gd name="connsiteX36363" fmla="*/ 5707215 w 8079933"/>
              <a:gd name="connsiteY36363" fmla="*/ 337264 h 4687251"/>
              <a:gd name="connsiteX36364" fmla="*/ 5710797 w 8079933"/>
              <a:gd name="connsiteY36364" fmla="*/ 337264 h 4687251"/>
              <a:gd name="connsiteX36365" fmla="*/ 5713075 w 8079933"/>
              <a:gd name="connsiteY36365" fmla="*/ 338996 h 4687251"/>
              <a:gd name="connsiteX36366" fmla="*/ 5716332 w 8079933"/>
              <a:gd name="connsiteY36366" fmla="*/ 337805 h 4687251"/>
              <a:gd name="connsiteX36367" fmla="*/ 5724470 w 8079933"/>
              <a:gd name="connsiteY36367" fmla="*/ 335747 h 4687251"/>
              <a:gd name="connsiteX36368" fmla="*/ 5730438 w 8079933"/>
              <a:gd name="connsiteY36368" fmla="*/ 329468 h 4687251"/>
              <a:gd name="connsiteX36369" fmla="*/ 5733910 w 8079933"/>
              <a:gd name="connsiteY36369" fmla="*/ 330225 h 4687251"/>
              <a:gd name="connsiteX36370" fmla="*/ 5740422 w 8079933"/>
              <a:gd name="connsiteY36370" fmla="*/ 330225 h 4687251"/>
              <a:gd name="connsiteX36371" fmla="*/ 5742158 w 8079933"/>
              <a:gd name="connsiteY36371" fmla="*/ 325570 h 4687251"/>
              <a:gd name="connsiteX36372" fmla="*/ 5746499 w 8079933"/>
              <a:gd name="connsiteY36372" fmla="*/ 321564 h 4687251"/>
              <a:gd name="connsiteX36373" fmla="*/ 5748235 w 8079933"/>
              <a:gd name="connsiteY36373" fmla="*/ 322647 h 4687251"/>
              <a:gd name="connsiteX36374" fmla="*/ 5751925 w 8079933"/>
              <a:gd name="connsiteY36374" fmla="*/ 319074 h 4687251"/>
              <a:gd name="connsiteX36375" fmla="*/ 5756808 w 8079933"/>
              <a:gd name="connsiteY36375" fmla="*/ 317991 h 4687251"/>
              <a:gd name="connsiteX36376" fmla="*/ 5758761 w 8079933"/>
              <a:gd name="connsiteY36376" fmla="*/ 319832 h 4687251"/>
              <a:gd name="connsiteX36377" fmla="*/ 5763753 w 8079933"/>
              <a:gd name="connsiteY36377" fmla="*/ 318749 h 4687251"/>
              <a:gd name="connsiteX36378" fmla="*/ 5764620 w 8079933"/>
              <a:gd name="connsiteY36378" fmla="*/ 321780 h 4687251"/>
              <a:gd name="connsiteX36379" fmla="*/ 5762993 w 8079933"/>
              <a:gd name="connsiteY36379" fmla="*/ 324271 h 4687251"/>
              <a:gd name="connsiteX36380" fmla="*/ 5763861 w 8079933"/>
              <a:gd name="connsiteY36380" fmla="*/ 328169 h 4687251"/>
              <a:gd name="connsiteX36381" fmla="*/ 5774712 w 8079933"/>
              <a:gd name="connsiteY36381" fmla="*/ 327303 h 4687251"/>
              <a:gd name="connsiteX36382" fmla="*/ 5776015 w 8079933"/>
              <a:gd name="connsiteY36382" fmla="*/ 328710 h 4687251"/>
              <a:gd name="connsiteX36383" fmla="*/ 5780790 w 8079933"/>
              <a:gd name="connsiteY36383" fmla="*/ 330442 h 4687251"/>
              <a:gd name="connsiteX36384" fmla="*/ 5798695 w 8079933"/>
              <a:gd name="connsiteY36384" fmla="*/ 341270 h 4687251"/>
              <a:gd name="connsiteX36385" fmla="*/ 5802819 w 8079933"/>
              <a:gd name="connsiteY36385" fmla="*/ 342136 h 4687251"/>
              <a:gd name="connsiteX36386" fmla="*/ 5805423 w 8079933"/>
              <a:gd name="connsiteY36386" fmla="*/ 347224 h 4687251"/>
              <a:gd name="connsiteX36387" fmla="*/ 5805423 w 8079933"/>
              <a:gd name="connsiteY36387" fmla="*/ 350689 h 4687251"/>
              <a:gd name="connsiteX36388" fmla="*/ 5813670 w 8079933"/>
              <a:gd name="connsiteY36388" fmla="*/ 360325 h 4687251"/>
              <a:gd name="connsiteX36389" fmla="*/ 5815732 w 8079933"/>
              <a:gd name="connsiteY36389" fmla="*/ 359242 h 4687251"/>
              <a:gd name="connsiteX36390" fmla="*/ 5815732 w 8079933"/>
              <a:gd name="connsiteY36390" fmla="*/ 355778 h 4687251"/>
              <a:gd name="connsiteX36391" fmla="*/ 5818445 w 8079933"/>
              <a:gd name="connsiteY36391" fmla="*/ 353937 h 4687251"/>
              <a:gd name="connsiteX36392" fmla="*/ 5819204 w 8079933"/>
              <a:gd name="connsiteY36392" fmla="*/ 351447 h 4687251"/>
              <a:gd name="connsiteX36393" fmla="*/ 5816166 w 8079933"/>
              <a:gd name="connsiteY36393" fmla="*/ 349282 h 4687251"/>
              <a:gd name="connsiteX36394" fmla="*/ 5811826 w 8079933"/>
              <a:gd name="connsiteY36394" fmla="*/ 349282 h 4687251"/>
              <a:gd name="connsiteX36395" fmla="*/ 5811826 w 8079933"/>
              <a:gd name="connsiteY36395" fmla="*/ 344734 h 4687251"/>
              <a:gd name="connsiteX36396" fmla="*/ 5815732 w 8079933"/>
              <a:gd name="connsiteY36396" fmla="*/ 342027 h 4687251"/>
              <a:gd name="connsiteX36397" fmla="*/ 5819747 w 8079933"/>
              <a:gd name="connsiteY36397" fmla="*/ 342027 h 4687251"/>
              <a:gd name="connsiteX36398" fmla="*/ 5822243 w 8079933"/>
              <a:gd name="connsiteY36398" fmla="*/ 345817 h 4687251"/>
              <a:gd name="connsiteX36399" fmla="*/ 5825824 w 8079933"/>
              <a:gd name="connsiteY36399" fmla="*/ 348956 h 4687251"/>
              <a:gd name="connsiteX36400" fmla="*/ 5825824 w 8079933"/>
              <a:gd name="connsiteY36400" fmla="*/ 352962 h 4687251"/>
              <a:gd name="connsiteX36401" fmla="*/ 5832661 w 8079933"/>
              <a:gd name="connsiteY36401" fmla="*/ 359242 h 4687251"/>
              <a:gd name="connsiteX36402" fmla="*/ 5833638 w 8079933"/>
              <a:gd name="connsiteY36402" fmla="*/ 364439 h 4687251"/>
              <a:gd name="connsiteX36403" fmla="*/ 5836784 w 8079933"/>
              <a:gd name="connsiteY36403" fmla="*/ 365739 h 4687251"/>
              <a:gd name="connsiteX36404" fmla="*/ 5839389 w 8079933"/>
              <a:gd name="connsiteY36404" fmla="*/ 364114 h 4687251"/>
              <a:gd name="connsiteX36405" fmla="*/ 5841233 w 8079933"/>
              <a:gd name="connsiteY36405" fmla="*/ 364114 h 4687251"/>
              <a:gd name="connsiteX36406" fmla="*/ 5844272 w 8079933"/>
              <a:gd name="connsiteY36406" fmla="*/ 366063 h 4687251"/>
              <a:gd name="connsiteX36407" fmla="*/ 5847419 w 8079933"/>
              <a:gd name="connsiteY36407" fmla="*/ 370610 h 4687251"/>
              <a:gd name="connsiteX36408" fmla="*/ 5847419 w 8079933"/>
              <a:gd name="connsiteY36408" fmla="*/ 375158 h 4687251"/>
              <a:gd name="connsiteX36409" fmla="*/ 5851326 w 8079933"/>
              <a:gd name="connsiteY36409" fmla="*/ 380139 h 4687251"/>
              <a:gd name="connsiteX36410" fmla="*/ 5851326 w 8079933"/>
              <a:gd name="connsiteY36410" fmla="*/ 383712 h 4687251"/>
              <a:gd name="connsiteX36411" fmla="*/ 5849481 w 8079933"/>
              <a:gd name="connsiteY36411" fmla="*/ 383712 h 4687251"/>
              <a:gd name="connsiteX36412" fmla="*/ 5848830 w 8079933"/>
              <a:gd name="connsiteY36412" fmla="*/ 381113 h 4687251"/>
              <a:gd name="connsiteX36413" fmla="*/ 5846877 w 8079933"/>
              <a:gd name="connsiteY36413" fmla="*/ 378298 h 4687251"/>
              <a:gd name="connsiteX36414" fmla="*/ 5845032 w 8079933"/>
              <a:gd name="connsiteY36414" fmla="*/ 378298 h 4687251"/>
              <a:gd name="connsiteX36415" fmla="*/ 5842862 w 8079933"/>
              <a:gd name="connsiteY36415" fmla="*/ 380788 h 4687251"/>
              <a:gd name="connsiteX36416" fmla="*/ 5839063 w 8079933"/>
              <a:gd name="connsiteY36416" fmla="*/ 377323 h 4687251"/>
              <a:gd name="connsiteX36417" fmla="*/ 5830816 w 8079933"/>
              <a:gd name="connsiteY36417" fmla="*/ 374076 h 4687251"/>
              <a:gd name="connsiteX36418" fmla="*/ 5824413 w 8079933"/>
              <a:gd name="connsiteY36418" fmla="*/ 374076 h 4687251"/>
              <a:gd name="connsiteX36419" fmla="*/ 5823437 w 8079933"/>
              <a:gd name="connsiteY36419" fmla="*/ 375482 h 4687251"/>
              <a:gd name="connsiteX36420" fmla="*/ 5826692 w 8079933"/>
              <a:gd name="connsiteY36420" fmla="*/ 379814 h 4687251"/>
              <a:gd name="connsiteX36421" fmla="*/ 5832878 w 8079933"/>
              <a:gd name="connsiteY36421" fmla="*/ 380572 h 4687251"/>
              <a:gd name="connsiteX36422" fmla="*/ 5835156 w 8079933"/>
              <a:gd name="connsiteY36422" fmla="*/ 382196 h 4687251"/>
              <a:gd name="connsiteX36423" fmla="*/ 5834180 w 8079933"/>
              <a:gd name="connsiteY36423" fmla="*/ 383495 h 4687251"/>
              <a:gd name="connsiteX36424" fmla="*/ 5837110 w 8079933"/>
              <a:gd name="connsiteY36424" fmla="*/ 389125 h 4687251"/>
              <a:gd name="connsiteX36425" fmla="*/ 5839714 w 8079933"/>
              <a:gd name="connsiteY36425" fmla="*/ 390965 h 4687251"/>
              <a:gd name="connsiteX36426" fmla="*/ 5841668 w 8079933"/>
              <a:gd name="connsiteY36426" fmla="*/ 389233 h 4687251"/>
              <a:gd name="connsiteX36427" fmla="*/ 5844272 w 8079933"/>
              <a:gd name="connsiteY36427" fmla="*/ 383820 h 4687251"/>
              <a:gd name="connsiteX36428" fmla="*/ 5845683 w 8079933"/>
              <a:gd name="connsiteY36428" fmla="*/ 383820 h 4687251"/>
              <a:gd name="connsiteX36429" fmla="*/ 5847961 w 8079933"/>
              <a:gd name="connsiteY36429" fmla="*/ 387501 h 4687251"/>
              <a:gd name="connsiteX36430" fmla="*/ 5851326 w 8079933"/>
              <a:gd name="connsiteY36430" fmla="*/ 389449 h 4687251"/>
              <a:gd name="connsiteX36431" fmla="*/ 5853713 w 8079933"/>
              <a:gd name="connsiteY36431" fmla="*/ 388043 h 4687251"/>
              <a:gd name="connsiteX36432" fmla="*/ 5856426 w 8079933"/>
              <a:gd name="connsiteY36432" fmla="*/ 388909 h 4687251"/>
              <a:gd name="connsiteX36433" fmla="*/ 5857511 w 8079933"/>
              <a:gd name="connsiteY36433" fmla="*/ 392265 h 4687251"/>
              <a:gd name="connsiteX36434" fmla="*/ 5856100 w 8079933"/>
              <a:gd name="connsiteY36434" fmla="*/ 394863 h 4687251"/>
              <a:gd name="connsiteX36435" fmla="*/ 5860441 w 8079933"/>
              <a:gd name="connsiteY36435" fmla="*/ 402334 h 4687251"/>
              <a:gd name="connsiteX36436" fmla="*/ 5862069 w 8079933"/>
              <a:gd name="connsiteY36436" fmla="*/ 410563 h 4687251"/>
              <a:gd name="connsiteX36437" fmla="*/ 5862069 w 8079933"/>
              <a:gd name="connsiteY36437" fmla="*/ 419765 h 4687251"/>
              <a:gd name="connsiteX36438" fmla="*/ 5858705 w 8079933"/>
              <a:gd name="connsiteY36438" fmla="*/ 427453 h 4687251"/>
              <a:gd name="connsiteX36439" fmla="*/ 5856752 w 8079933"/>
              <a:gd name="connsiteY36439" fmla="*/ 428211 h 4687251"/>
              <a:gd name="connsiteX36440" fmla="*/ 5854798 w 8079933"/>
              <a:gd name="connsiteY36440" fmla="*/ 432108 h 4687251"/>
              <a:gd name="connsiteX36441" fmla="*/ 5855992 w 8079933"/>
              <a:gd name="connsiteY36441" fmla="*/ 436656 h 4687251"/>
              <a:gd name="connsiteX36442" fmla="*/ 5852411 w 8079933"/>
              <a:gd name="connsiteY36442" fmla="*/ 442611 h 4687251"/>
              <a:gd name="connsiteX36443" fmla="*/ 5852411 w 8079933"/>
              <a:gd name="connsiteY36443" fmla="*/ 444885 h 4687251"/>
              <a:gd name="connsiteX36444" fmla="*/ 5855449 w 8079933"/>
              <a:gd name="connsiteY36444" fmla="*/ 448132 h 4687251"/>
              <a:gd name="connsiteX36445" fmla="*/ 5855449 w 8079933"/>
              <a:gd name="connsiteY36445" fmla="*/ 452030 h 4687251"/>
              <a:gd name="connsiteX36446" fmla="*/ 5849372 w 8079933"/>
              <a:gd name="connsiteY36446" fmla="*/ 454954 h 4687251"/>
              <a:gd name="connsiteX36447" fmla="*/ 5847419 w 8079933"/>
              <a:gd name="connsiteY36447" fmla="*/ 459718 h 4687251"/>
              <a:gd name="connsiteX36448" fmla="*/ 5848721 w 8079933"/>
              <a:gd name="connsiteY36448" fmla="*/ 462099 h 4687251"/>
              <a:gd name="connsiteX36449" fmla="*/ 5845141 w 8079933"/>
              <a:gd name="connsiteY36449" fmla="*/ 469787 h 4687251"/>
              <a:gd name="connsiteX36450" fmla="*/ 5842428 w 8079933"/>
              <a:gd name="connsiteY36450" fmla="*/ 472926 h 4687251"/>
              <a:gd name="connsiteX36451" fmla="*/ 5843187 w 8079933"/>
              <a:gd name="connsiteY36451" fmla="*/ 475525 h 4687251"/>
              <a:gd name="connsiteX36452" fmla="*/ 5841016 w 8079933"/>
              <a:gd name="connsiteY36452" fmla="*/ 480289 h 4687251"/>
              <a:gd name="connsiteX36453" fmla="*/ 5836784 w 8079933"/>
              <a:gd name="connsiteY36453" fmla="*/ 482346 h 4687251"/>
              <a:gd name="connsiteX36454" fmla="*/ 5831250 w 8079933"/>
              <a:gd name="connsiteY36454" fmla="*/ 487001 h 4687251"/>
              <a:gd name="connsiteX36455" fmla="*/ 5826258 w 8079933"/>
              <a:gd name="connsiteY36455" fmla="*/ 487001 h 4687251"/>
              <a:gd name="connsiteX36456" fmla="*/ 5831684 w 8079933"/>
              <a:gd name="connsiteY36456" fmla="*/ 488734 h 4687251"/>
              <a:gd name="connsiteX36457" fmla="*/ 5835482 w 8079933"/>
              <a:gd name="connsiteY36457" fmla="*/ 488734 h 4687251"/>
              <a:gd name="connsiteX36458" fmla="*/ 5838413 w 8079933"/>
              <a:gd name="connsiteY36458" fmla="*/ 485486 h 4687251"/>
              <a:gd name="connsiteX36459" fmla="*/ 5839931 w 8079933"/>
              <a:gd name="connsiteY36459" fmla="*/ 485486 h 4687251"/>
              <a:gd name="connsiteX36460" fmla="*/ 5842428 w 8079933"/>
              <a:gd name="connsiteY36460" fmla="*/ 492307 h 4687251"/>
              <a:gd name="connsiteX36461" fmla="*/ 5838520 w 8079933"/>
              <a:gd name="connsiteY36461" fmla="*/ 500427 h 4687251"/>
              <a:gd name="connsiteX36462" fmla="*/ 5834831 w 8079933"/>
              <a:gd name="connsiteY36462" fmla="*/ 505516 h 4687251"/>
              <a:gd name="connsiteX36463" fmla="*/ 5832010 w 8079933"/>
              <a:gd name="connsiteY36463" fmla="*/ 516992 h 4687251"/>
              <a:gd name="connsiteX36464" fmla="*/ 5834614 w 8079933"/>
              <a:gd name="connsiteY36464" fmla="*/ 522082 h 4687251"/>
              <a:gd name="connsiteX36465" fmla="*/ 5835374 w 8079933"/>
              <a:gd name="connsiteY36465" fmla="*/ 526087 h 4687251"/>
              <a:gd name="connsiteX36466" fmla="*/ 5831141 w 8079933"/>
              <a:gd name="connsiteY36466" fmla="*/ 536914 h 4687251"/>
              <a:gd name="connsiteX36467" fmla="*/ 5824739 w 8079933"/>
              <a:gd name="connsiteY36467" fmla="*/ 539188 h 4687251"/>
              <a:gd name="connsiteX36468" fmla="*/ 5822786 w 8079933"/>
              <a:gd name="connsiteY36468" fmla="*/ 538430 h 4687251"/>
              <a:gd name="connsiteX36469" fmla="*/ 5819639 w 8079933"/>
              <a:gd name="connsiteY36469" fmla="*/ 538430 h 4687251"/>
              <a:gd name="connsiteX36470" fmla="*/ 5817903 w 8079933"/>
              <a:gd name="connsiteY36470" fmla="*/ 541353 h 4687251"/>
              <a:gd name="connsiteX36471" fmla="*/ 5819313 w 8079933"/>
              <a:gd name="connsiteY36471" fmla="*/ 544060 h 4687251"/>
              <a:gd name="connsiteX36472" fmla="*/ 5822026 w 8079933"/>
              <a:gd name="connsiteY36472" fmla="*/ 553480 h 4687251"/>
              <a:gd name="connsiteX36473" fmla="*/ 5820181 w 8079933"/>
              <a:gd name="connsiteY36473" fmla="*/ 557702 h 4687251"/>
              <a:gd name="connsiteX36474" fmla="*/ 5815515 w 8079933"/>
              <a:gd name="connsiteY36474" fmla="*/ 560626 h 4687251"/>
              <a:gd name="connsiteX36475" fmla="*/ 5813237 w 8079933"/>
              <a:gd name="connsiteY36475" fmla="*/ 567014 h 4687251"/>
              <a:gd name="connsiteX36476" fmla="*/ 5815515 w 8079933"/>
              <a:gd name="connsiteY36476" fmla="*/ 573726 h 4687251"/>
              <a:gd name="connsiteX36477" fmla="*/ 5815515 w 8079933"/>
              <a:gd name="connsiteY36477" fmla="*/ 579465 h 4687251"/>
              <a:gd name="connsiteX36478" fmla="*/ 5813453 w 8079933"/>
              <a:gd name="connsiteY36478" fmla="*/ 581955 h 4687251"/>
              <a:gd name="connsiteX36479" fmla="*/ 5813453 w 8079933"/>
              <a:gd name="connsiteY36479" fmla="*/ 585853 h 4687251"/>
              <a:gd name="connsiteX36480" fmla="*/ 5816709 w 8079933"/>
              <a:gd name="connsiteY36480" fmla="*/ 588126 h 4687251"/>
              <a:gd name="connsiteX36481" fmla="*/ 5813453 w 8079933"/>
              <a:gd name="connsiteY36481" fmla="*/ 600686 h 4687251"/>
              <a:gd name="connsiteX36482" fmla="*/ 5809547 w 8079933"/>
              <a:gd name="connsiteY36482" fmla="*/ 603718 h 4687251"/>
              <a:gd name="connsiteX36483" fmla="*/ 5808462 w 8079933"/>
              <a:gd name="connsiteY36483" fmla="*/ 608156 h 4687251"/>
              <a:gd name="connsiteX36484" fmla="*/ 5810089 w 8079933"/>
              <a:gd name="connsiteY36484" fmla="*/ 605124 h 4687251"/>
              <a:gd name="connsiteX36485" fmla="*/ 5814647 w 8079933"/>
              <a:gd name="connsiteY36485" fmla="*/ 605124 h 4687251"/>
              <a:gd name="connsiteX36486" fmla="*/ 5819204 w 8079933"/>
              <a:gd name="connsiteY36486" fmla="*/ 600577 h 4687251"/>
              <a:gd name="connsiteX36487" fmla="*/ 5821376 w 8079933"/>
              <a:gd name="connsiteY36487" fmla="*/ 596138 h 4687251"/>
              <a:gd name="connsiteX36488" fmla="*/ 5820290 w 8079933"/>
              <a:gd name="connsiteY36488" fmla="*/ 594189 h 4687251"/>
              <a:gd name="connsiteX36489" fmla="*/ 5821917 w 8079933"/>
              <a:gd name="connsiteY36489" fmla="*/ 590941 h 4687251"/>
              <a:gd name="connsiteX36490" fmla="*/ 5828212 w 8079933"/>
              <a:gd name="connsiteY36490" fmla="*/ 590941 h 4687251"/>
              <a:gd name="connsiteX36491" fmla="*/ 5831684 w 8079933"/>
              <a:gd name="connsiteY36491" fmla="*/ 589859 h 4687251"/>
              <a:gd name="connsiteX36492" fmla="*/ 5828103 w 8079933"/>
              <a:gd name="connsiteY36492" fmla="*/ 588884 h 4687251"/>
              <a:gd name="connsiteX36493" fmla="*/ 5820073 w 8079933"/>
              <a:gd name="connsiteY36493" fmla="*/ 580547 h 4687251"/>
              <a:gd name="connsiteX36494" fmla="*/ 5817686 w 8079933"/>
              <a:gd name="connsiteY36494" fmla="*/ 574268 h 4687251"/>
              <a:gd name="connsiteX36495" fmla="*/ 5820398 w 8079933"/>
              <a:gd name="connsiteY36495" fmla="*/ 569071 h 4687251"/>
              <a:gd name="connsiteX36496" fmla="*/ 5828537 w 8079933"/>
              <a:gd name="connsiteY36496" fmla="*/ 568313 h 4687251"/>
              <a:gd name="connsiteX36497" fmla="*/ 5837110 w 8079933"/>
              <a:gd name="connsiteY36497" fmla="*/ 567230 h 4687251"/>
              <a:gd name="connsiteX36498" fmla="*/ 5844164 w 8079933"/>
              <a:gd name="connsiteY36498" fmla="*/ 561059 h 4687251"/>
              <a:gd name="connsiteX36499" fmla="*/ 5847745 w 8079933"/>
              <a:gd name="connsiteY36499" fmla="*/ 561059 h 4687251"/>
              <a:gd name="connsiteX36500" fmla="*/ 5850458 w 8079933"/>
              <a:gd name="connsiteY36500" fmla="*/ 558676 h 4687251"/>
              <a:gd name="connsiteX36501" fmla="*/ 5847745 w 8079933"/>
              <a:gd name="connsiteY36501" fmla="*/ 554671 h 4687251"/>
              <a:gd name="connsiteX36502" fmla="*/ 5854798 w 8079933"/>
              <a:gd name="connsiteY36502" fmla="*/ 549041 h 4687251"/>
              <a:gd name="connsiteX36503" fmla="*/ 5858270 w 8079933"/>
              <a:gd name="connsiteY36503" fmla="*/ 543410 h 4687251"/>
              <a:gd name="connsiteX36504" fmla="*/ 5855775 w 8079933"/>
              <a:gd name="connsiteY36504" fmla="*/ 538322 h 4687251"/>
              <a:gd name="connsiteX36505" fmla="*/ 5855775 w 8079933"/>
              <a:gd name="connsiteY36505" fmla="*/ 536481 h 4687251"/>
              <a:gd name="connsiteX36506" fmla="*/ 5860875 w 8079933"/>
              <a:gd name="connsiteY36506" fmla="*/ 539405 h 4687251"/>
              <a:gd name="connsiteX36507" fmla="*/ 5866627 w 8079933"/>
              <a:gd name="connsiteY36507" fmla="*/ 537564 h 4687251"/>
              <a:gd name="connsiteX36508" fmla="*/ 5870099 w 8079933"/>
              <a:gd name="connsiteY36508" fmla="*/ 532367 h 4687251"/>
              <a:gd name="connsiteX36509" fmla="*/ 5867386 w 8079933"/>
              <a:gd name="connsiteY36509" fmla="*/ 528794 h 4687251"/>
              <a:gd name="connsiteX36510" fmla="*/ 5876285 w 8079933"/>
              <a:gd name="connsiteY36510" fmla="*/ 522082 h 4687251"/>
              <a:gd name="connsiteX36511" fmla="*/ 5876827 w 8079933"/>
              <a:gd name="connsiteY36511" fmla="*/ 516884 h 4687251"/>
              <a:gd name="connsiteX36512" fmla="*/ 5874874 w 8079933"/>
              <a:gd name="connsiteY36512" fmla="*/ 513311 h 4687251"/>
              <a:gd name="connsiteX36513" fmla="*/ 5865975 w 8079933"/>
              <a:gd name="connsiteY36513" fmla="*/ 518400 h 4687251"/>
              <a:gd name="connsiteX36514" fmla="*/ 5865216 w 8079933"/>
              <a:gd name="connsiteY36514" fmla="*/ 521648 h 4687251"/>
              <a:gd name="connsiteX36515" fmla="*/ 5858162 w 8079933"/>
              <a:gd name="connsiteY36515" fmla="*/ 526845 h 4687251"/>
              <a:gd name="connsiteX36516" fmla="*/ 5852953 w 8079933"/>
              <a:gd name="connsiteY36516" fmla="*/ 524355 h 4687251"/>
              <a:gd name="connsiteX36517" fmla="*/ 5849481 w 8079933"/>
              <a:gd name="connsiteY36517" fmla="*/ 518184 h 4687251"/>
              <a:gd name="connsiteX36518" fmla="*/ 5853279 w 8079933"/>
              <a:gd name="connsiteY36518" fmla="*/ 512770 h 4687251"/>
              <a:gd name="connsiteX36519" fmla="*/ 5852194 w 8079933"/>
              <a:gd name="connsiteY36519" fmla="*/ 504866 h 4687251"/>
              <a:gd name="connsiteX36520" fmla="*/ 5856860 w 8079933"/>
              <a:gd name="connsiteY36520" fmla="*/ 500860 h 4687251"/>
              <a:gd name="connsiteX36521" fmla="*/ 5863697 w 8079933"/>
              <a:gd name="connsiteY36521" fmla="*/ 500860 h 4687251"/>
              <a:gd name="connsiteX36522" fmla="*/ 5871835 w 8079933"/>
              <a:gd name="connsiteY36522" fmla="*/ 506274 h 4687251"/>
              <a:gd name="connsiteX36523" fmla="*/ 5875090 w 8079933"/>
              <a:gd name="connsiteY36523" fmla="*/ 502484 h 4687251"/>
              <a:gd name="connsiteX36524" fmla="*/ 5875090 w 8079933"/>
              <a:gd name="connsiteY36524" fmla="*/ 497070 h 4687251"/>
              <a:gd name="connsiteX36525" fmla="*/ 5881602 w 8079933"/>
              <a:gd name="connsiteY36525" fmla="*/ 494364 h 4687251"/>
              <a:gd name="connsiteX36526" fmla="*/ 5882362 w 8079933"/>
              <a:gd name="connsiteY36526" fmla="*/ 498153 h 4687251"/>
              <a:gd name="connsiteX36527" fmla="*/ 5879649 w 8079933"/>
              <a:gd name="connsiteY36527" fmla="*/ 501185 h 4687251"/>
              <a:gd name="connsiteX36528" fmla="*/ 5879649 w 8079933"/>
              <a:gd name="connsiteY36528" fmla="*/ 505841 h 4687251"/>
              <a:gd name="connsiteX36529" fmla="*/ 5892670 w 8079933"/>
              <a:gd name="connsiteY36529" fmla="*/ 516668 h 4687251"/>
              <a:gd name="connsiteX36530" fmla="*/ 5899072 w 8079933"/>
              <a:gd name="connsiteY36530" fmla="*/ 516668 h 4687251"/>
              <a:gd name="connsiteX36531" fmla="*/ 5902328 w 8079933"/>
              <a:gd name="connsiteY36531" fmla="*/ 514719 h 4687251"/>
              <a:gd name="connsiteX36532" fmla="*/ 5911335 w 8079933"/>
              <a:gd name="connsiteY36532" fmla="*/ 513094 h 4687251"/>
              <a:gd name="connsiteX36533" fmla="*/ 5915351 w 8079933"/>
              <a:gd name="connsiteY36533" fmla="*/ 508764 h 4687251"/>
              <a:gd name="connsiteX36534" fmla="*/ 5914591 w 8079933"/>
              <a:gd name="connsiteY36534" fmla="*/ 503675 h 4687251"/>
              <a:gd name="connsiteX36535" fmla="*/ 5907211 w 8079933"/>
              <a:gd name="connsiteY36535" fmla="*/ 495231 h 4687251"/>
              <a:gd name="connsiteX36536" fmla="*/ 5907211 w 8079933"/>
              <a:gd name="connsiteY36536" fmla="*/ 492307 h 4687251"/>
              <a:gd name="connsiteX36537" fmla="*/ 5909707 w 8079933"/>
              <a:gd name="connsiteY36537" fmla="*/ 492307 h 4687251"/>
              <a:gd name="connsiteX36538" fmla="*/ 5918932 w 8079933"/>
              <a:gd name="connsiteY36538" fmla="*/ 501293 h 4687251"/>
              <a:gd name="connsiteX36539" fmla="*/ 5922187 w 8079933"/>
              <a:gd name="connsiteY36539" fmla="*/ 501293 h 4687251"/>
              <a:gd name="connsiteX36540" fmla="*/ 5927287 w 8079933"/>
              <a:gd name="connsiteY36540" fmla="*/ 505841 h 4687251"/>
              <a:gd name="connsiteX36541" fmla="*/ 5926202 w 8079933"/>
              <a:gd name="connsiteY36541" fmla="*/ 509413 h 4687251"/>
              <a:gd name="connsiteX36542" fmla="*/ 5927287 w 8079933"/>
              <a:gd name="connsiteY36542" fmla="*/ 512878 h 4687251"/>
              <a:gd name="connsiteX36543" fmla="*/ 5933581 w 8079933"/>
              <a:gd name="connsiteY36543" fmla="*/ 517967 h 4687251"/>
              <a:gd name="connsiteX36544" fmla="*/ 5934449 w 8079933"/>
              <a:gd name="connsiteY36544" fmla="*/ 526953 h 4687251"/>
              <a:gd name="connsiteX36545" fmla="*/ 5936294 w 8079933"/>
              <a:gd name="connsiteY36545" fmla="*/ 528577 h 4687251"/>
              <a:gd name="connsiteX36546" fmla="*/ 5936294 w 8079933"/>
              <a:gd name="connsiteY36546" fmla="*/ 526087 h 4687251"/>
              <a:gd name="connsiteX36547" fmla="*/ 5940635 w 8079933"/>
              <a:gd name="connsiteY36547" fmla="*/ 521432 h 4687251"/>
              <a:gd name="connsiteX36548" fmla="*/ 5943130 w 8079933"/>
              <a:gd name="connsiteY36548" fmla="*/ 520890 h 4687251"/>
              <a:gd name="connsiteX36549" fmla="*/ 5945519 w 8079933"/>
              <a:gd name="connsiteY36549" fmla="*/ 517317 h 4687251"/>
              <a:gd name="connsiteX36550" fmla="*/ 5943565 w 8079933"/>
              <a:gd name="connsiteY36550" fmla="*/ 515909 h 4687251"/>
              <a:gd name="connsiteX36551" fmla="*/ 5939767 w 8079933"/>
              <a:gd name="connsiteY36551" fmla="*/ 517750 h 4687251"/>
              <a:gd name="connsiteX36552" fmla="*/ 5936294 w 8079933"/>
              <a:gd name="connsiteY36552" fmla="*/ 516668 h 4687251"/>
              <a:gd name="connsiteX36553" fmla="*/ 5933256 w 8079933"/>
              <a:gd name="connsiteY36553" fmla="*/ 510713 h 4687251"/>
              <a:gd name="connsiteX36554" fmla="*/ 5939441 w 8079933"/>
              <a:gd name="connsiteY36554" fmla="*/ 504975 h 4687251"/>
              <a:gd name="connsiteX36555" fmla="*/ 5944542 w 8079933"/>
              <a:gd name="connsiteY36555" fmla="*/ 502051 h 4687251"/>
              <a:gd name="connsiteX36556" fmla="*/ 5946929 w 8079933"/>
              <a:gd name="connsiteY36556" fmla="*/ 498803 h 4687251"/>
              <a:gd name="connsiteX36557" fmla="*/ 5949968 w 8079933"/>
              <a:gd name="connsiteY36557" fmla="*/ 498803 h 4687251"/>
              <a:gd name="connsiteX36558" fmla="*/ 5951921 w 8079933"/>
              <a:gd name="connsiteY36558" fmla="*/ 495338 h 4687251"/>
              <a:gd name="connsiteX36559" fmla="*/ 5961904 w 8079933"/>
              <a:gd name="connsiteY36559" fmla="*/ 493498 h 4687251"/>
              <a:gd name="connsiteX36560" fmla="*/ 5977639 w 8079933"/>
              <a:gd name="connsiteY36560" fmla="*/ 489384 h 4687251"/>
              <a:gd name="connsiteX36561" fmla="*/ 5996629 w 8079933"/>
              <a:gd name="connsiteY36561" fmla="*/ 488626 h 4687251"/>
              <a:gd name="connsiteX36562" fmla="*/ 6011280 w 8079933"/>
              <a:gd name="connsiteY36562" fmla="*/ 482129 h 4687251"/>
              <a:gd name="connsiteX36563" fmla="*/ 6018550 w 8079933"/>
              <a:gd name="connsiteY36563" fmla="*/ 482129 h 4687251"/>
              <a:gd name="connsiteX36564" fmla="*/ 6025278 w 8079933"/>
              <a:gd name="connsiteY36564" fmla="*/ 484620 h 4687251"/>
              <a:gd name="connsiteX36565" fmla="*/ 6025278 w 8079933"/>
              <a:gd name="connsiteY36565" fmla="*/ 488409 h 4687251"/>
              <a:gd name="connsiteX36566" fmla="*/ 6023433 w 8079933"/>
              <a:gd name="connsiteY36566" fmla="*/ 489276 h 4687251"/>
              <a:gd name="connsiteX36567" fmla="*/ 6020395 w 8079933"/>
              <a:gd name="connsiteY36567" fmla="*/ 494905 h 4687251"/>
              <a:gd name="connsiteX36568" fmla="*/ 6023108 w 8079933"/>
              <a:gd name="connsiteY36568" fmla="*/ 503892 h 4687251"/>
              <a:gd name="connsiteX36569" fmla="*/ 6029401 w 8079933"/>
              <a:gd name="connsiteY36569" fmla="*/ 508980 h 4687251"/>
              <a:gd name="connsiteX36570" fmla="*/ 6051105 w 8079933"/>
              <a:gd name="connsiteY36570" fmla="*/ 509847 h 4687251"/>
              <a:gd name="connsiteX36571" fmla="*/ 6055229 w 8079933"/>
              <a:gd name="connsiteY36571" fmla="*/ 511146 h 4687251"/>
              <a:gd name="connsiteX36572" fmla="*/ 6056856 w 8079933"/>
              <a:gd name="connsiteY36572" fmla="*/ 510280 h 4687251"/>
              <a:gd name="connsiteX36573" fmla="*/ 6064561 w 8079933"/>
              <a:gd name="connsiteY36573" fmla="*/ 510280 h 4687251"/>
              <a:gd name="connsiteX36574" fmla="*/ 6070313 w 8079933"/>
              <a:gd name="connsiteY36574" fmla="*/ 512120 h 4687251"/>
              <a:gd name="connsiteX36575" fmla="*/ 6085070 w 8079933"/>
              <a:gd name="connsiteY36575" fmla="*/ 509739 h 4687251"/>
              <a:gd name="connsiteX36576" fmla="*/ 6095922 w 8079933"/>
              <a:gd name="connsiteY36576" fmla="*/ 504109 h 4687251"/>
              <a:gd name="connsiteX36577" fmla="*/ 6099611 w 8079933"/>
              <a:gd name="connsiteY36577" fmla="*/ 505407 h 4687251"/>
              <a:gd name="connsiteX36578" fmla="*/ 6104603 w 8079933"/>
              <a:gd name="connsiteY36578" fmla="*/ 505407 h 4687251"/>
              <a:gd name="connsiteX36579" fmla="*/ 6107425 w 8079933"/>
              <a:gd name="connsiteY36579" fmla="*/ 500752 h 4687251"/>
              <a:gd name="connsiteX36580" fmla="*/ 6105580 w 8079933"/>
              <a:gd name="connsiteY36580" fmla="*/ 497396 h 4687251"/>
              <a:gd name="connsiteX36581" fmla="*/ 6110029 w 8079933"/>
              <a:gd name="connsiteY36581" fmla="*/ 496313 h 4687251"/>
              <a:gd name="connsiteX36582" fmla="*/ 6114262 w 8079933"/>
              <a:gd name="connsiteY36582" fmla="*/ 497504 h 4687251"/>
              <a:gd name="connsiteX36583" fmla="*/ 6120772 w 8079933"/>
              <a:gd name="connsiteY36583" fmla="*/ 495663 h 4687251"/>
              <a:gd name="connsiteX36584" fmla="*/ 6122292 w 8079933"/>
              <a:gd name="connsiteY36584" fmla="*/ 499344 h 4687251"/>
              <a:gd name="connsiteX36585" fmla="*/ 6124679 w 8079933"/>
              <a:gd name="connsiteY36585" fmla="*/ 500103 h 4687251"/>
              <a:gd name="connsiteX36586" fmla="*/ 6127718 w 8079933"/>
              <a:gd name="connsiteY36586" fmla="*/ 495446 h 4687251"/>
              <a:gd name="connsiteX36587" fmla="*/ 6126198 w 8079933"/>
              <a:gd name="connsiteY36587" fmla="*/ 491874 h 4687251"/>
              <a:gd name="connsiteX36588" fmla="*/ 6122183 w 8079933"/>
              <a:gd name="connsiteY36588" fmla="*/ 488084 h 4687251"/>
              <a:gd name="connsiteX36589" fmla="*/ 6122183 w 8079933"/>
              <a:gd name="connsiteY36589" fmla="*/ 483429 h 4687251"/>
              <a:gd name="connsiteX36590" fmla="*/ 6119796 w 8079933"/>
              <a:gd name="connsiteY36590" fmla="*/ 479856 h 4687251"/>
              <a:gd name="connsiteX36591" fmla="*/ 6114479 w 8079933"/>
              <a:gd name="connsiteY36591" fmla="*/ 478773 h 4687251"/>
              <a:gd name="connsiteX36592" fmla="*/ 6113719 w 8079933"/>
              <a:gd name="connsiteY36592" fmla="*/ 472601 h 4687251"/>
              <a:gd name="connsiteX36593" fmla="*/ 6111222 w 8079933"/>
              <a:gd name="connsiteY36593" fmla="*/ 471519 h 4687251"/>
              <a:gd name="connsiteX36594" fmla="*/ 6110029 w 8079933"/>
              <a:gd name="connsiteY36594" fmla="*/ 466755 h 4687251"/>
              <a:gd name="connsiteX36595" fmla="*/ 6106774 w 8079933"/>
              <a:gd name="connsiteY36595" fmla="*/ 463074 h 4687251"/>
              <a:gd name="connsiteX36596" fmla="*/ 6106014 w 8079933"/>
              <a:gd name="connsiteY36596" fmla="*/ 457010 h 4687251"/>
              <a:gd name="connsiteX36597" fmla="*/ 6108510 w 8079933"/>
              <a:gd name="connsiteY36597" fmla="*/ 452571 h 4687251"/>
              <a:gd name="connsiteX36598" fmla="*/ 6109269 w 8079933"/>
              <a:gd name="connsiteY36598" fmla="*/ 455387 h 4687251"/>
              <a:gd name="connsiteX36599" fmla="*/ 6111549 w 8079933"/>
              <a:gd name="connsiteY36599" fmla="*/ 456794 h 4687251"/>
              <a:gd name="connsiteX36600" fmla="*/ 6116866 w 8079933"/>
              <a:gd name="connsiteY36600" fmla="*/ 452463 h 4687251"/>
              <a:gd name="connsiteX36601" fmla="*/ 6115781 w 8079933"/>
              <a:gd name="connsiteY36601" fmla="*/ 450623 h 4687251"/>
              <a:gd name="connsiteX36602" fmla="*/ 6114695 w 8079933"/>
              <a:gd name="connsiteY36602" fmla="*/ 446509 h 4687251"/>
              <a:gd name="connsiteX36603" fmla="*/ 6118494 w 8079933"/>
              <a:gd name="connsiteY36603" fmla="*/ 446509 h 4687251"/>
              <a:gd name="connsiteX36604" fmla="*/ 6124136 w 8079933"/>
              <a:gd name="connsiteY36604" fmla="*/ 450948 h 4687251"/>
              <a:gd name="connsiteX36605" fmla="*/ 6126958 w 8079933"/>
              <a:gd name="connsiteY36605" fmla="*/ 448891 h 4687251"/>
              <a:gd name="connsiteX36606" fmla="*/ 6127935 w 8079933"/>
              <a:gd name="connsiteY36606" fmla="*/ 444885 h 4687251"/>
              <a:gd name="connsiteX36607" fmla="*/ 6129779 w 8079933"/>
              <a:gd name="connsiteY36607" fmla="*/ 447699 h 4687251"/>
              <a:gd name="connsiteX36608" fmla="*/ 6135965 w 8079933"/>
              <a:gd name="connsiteY36608" fmla="*/ 447699 h 4687251"/>
              <a:gd name="connsiteX36609" fmla="*/ 6139546 w 8079933"/>
              <a:gd name="connsiteY36609" fmla="*/ 446942 h 4687251"/>
              <a:gd name="connsiteX36610" fmla="*/ 6141065 w 8079933"/>
              <a:gd name="connsiteY36610" fmla="*/ 444018 h 4687251"/>
              <a:gd name="connsiteX36611" fmla="*/ 6145406 w 8079933"/>
              <a:gd name="connsiteY36611" fmla="*/ 448565 h 4687251"/>
              <a:gd name="connsiteX36612" fmla="*/ 6149421 w 8079933"/>
              <a:gd name="connsiteY36612" fmla="*/ 449865 h 4687251"/>
              <a:gd name="connsiteX36613" fmla="*/ 6152351 w 8079933"/>
              <a:gd name="connsiteY36613" fmla="*/ 453762 h 4687251"/>
              <a:gd name="connsiteX36614" fmla="*/ 6155280 w 8079933"/>
              <a:gd name="connsiteY36614" fmla="*/ 451489 h 4687251"/>
              <a:gd name="connsiteX36615" fmla="*/ 6155280 w 8079933"/>
              <a:gd name="connsiteY36615" fmla="*/ 447050 h 4687251"/>
              <a:gd name="connsiteX36616" fmla="*/ 6159513 w 8079933"/>
              <a:gd name="connsiteY36616" fmla="*/ 447916 h 4687251"/>
              <a:gd name="connsiteX36617" fmla="*/ 6162226 w 8079933"/>
              <a:gd name="connsiteY36617" fmla="*/ 452463 h 4687251"/>
              <a:gd name="connsiteX36618" fmla="*/ 6159296 w 8079933"/>
              <a:gd name="connsiteY36618" fmla="*/ 454954 h 4687251"/>
              <a:gd name="connsiteX36619" fmla="*/ 6157234 w 8079933"/>
              <a:gd name="connsiteY36619" fmla="*/ 458960 h 4687251"/>
              <a:gd name="connsiteX36620" fmla="*/ 6158862 w 8079933"/>
              <a:gd name="connsiteY36620" fmla="*/ 460367 h 4687251"/>
              <a:gd name="connsiteX36621" fmla="*/ 6164179 w 8079933"/>
              <a:gd name="connsiteY36621" fmla="*/ 459176 h 4687251"/>
              <a:gd name="connsiteX36622" fmla="*/ 6165589 w 8079933"/>
              <a:gd name="connsiteY36622" fmla="*/ 459934 h 4687251"/>
              <a:gd name="connsiteX36623" fmla="*/ 6165589 w 8079933"/>
              <a:gd name="connsiteY36623" fmla="*/ 456361 h 4687251"/>
              <a:gd name="connsiteX36624" fmla="*/ 6167760 w 8079933"/>
              <a:gd name="connsiteY36624" fmla="*/ 455170 h 4687251"/>
              <a:gd name="connsiteX36625" fmla="*/ 6170907 w 8079933"/>
              <a:gd name="connsiteY36625" fmla="*/ 455928 h 4687251"/>
              <a:gd name="connsiteX36626" fmla="*/ 6169280 w 8079933"/>
              <a:gd name="connsiteY36626" fmla="*/ 450948 h 4687251"/>
              <a:gd name="connsiteX36627" fmla="*/ 6166675 w 8079933"/>
              <a:gd name="connsiteY36627" fmla="*/ 448782 h 4687251"/>
              <a:gd name="connsiteX36628" fmla="*/ 6167760 w 8079933"/>
              <a:gd name="connsiteY36628" fmla="*/ 446617 h 4687251"/>
              <a:gd name="connsiteX36629" fmla="*/ 6172101 w 8079933"/>
              <a:gd name="connsiteY36629" fmla="*/ 446617 h 4687251"/>
              <a:gd name="connsiteX36630" fmla="*/ 6179154 w 8079933"/>
              <a:gd name="connsiteY36630" fmla="*/ 444559 h 4687251"/>
              <a:gd name="connsiteX36631" fmla="*/ 6181433 w 8079933"/>
              <a:gd name="connsiteY36631" fmla="*/ 446725 h 4687251"/>
              <a:gd name="connsiteX36632" fmla="*/ 6184255 w 8079933"/>
              <a:gd name="connsiteY36632" fmla="*/ 445209 h 4687251"/>
              <a:gd name="connsiteX36633" fmla="*/ 6190766 w 8079933"/>
              <a:gd name="connsiteY36633" fmla="*/ 445209 h 4687251"/>
              <a:gd name="connsiteX36634" fmla="*/ 6190766 w 8079933"/>
              <a:gd name="connsiteY36634" fmla="*/ 448565 h 4687251"/>
              <a:gd name="connsiteX36635" fmla="*/ 6192176 w 8079933"/>
              <a:gd name="connsiteY36635" fmla="*/ 454845 h 4687251"/>
              <a:gd name="connsiteX36636" fmla="*/ 6193370 w 8079933"/>
              <a:gd name="connsiteY36636" fmla="*/ 451922 h 4687251"/>
              <a:gd name="connsiteX36637" fmla="*/ 6195649 w 8079933"/>
              <a:gd name="connsiteY36637" fmla="*/ 451922 h 4687251"/>
              <a:gd name="connsiteX36638" fmla="*/ 6199773 w 8079933"/>
              <a:gd name="connsiteY36638" fmla="*/ 448024 h 4687251"/>
              <a:gd name="connsiteX36639" fmla="*/ 6201618 w 8079933"/>
              <a:gd name="connsiteY36639" fmla="*/ 454629 h 4687251"/>
              <a:gd name="connsiteX36640" fmla="*/ 6204439 w 8079933"/>
              <a:gd name="connsiteY36640" fmla="*/ 454629 h 4687251"/>
              <a:gd name="connsiteX36641" fmla="*/ 6208888 w 8079933"/>
              <a:gd name="connsiteY36641" fmla="*/ 451273 h 4687251"/>
              <a:gd name="connsiteX36642" fmla="*/ 6213446 w 8079933"/>
              <a:gd name="connsiteY36642" fmla="*/ 455062 h 4687251"/>
              <a:gd name="connsiteX36643" fmla="*/ 6214965 w 8079933"/>
              <a:gd name="connsiteY36643" fmla="*/ 464264 h 4687251"/>
              <a:gd name="connsiteX36644" fmla="*/ 6218112 w 8079933"/>
              <a:gd name="connsiteY36644" fmla="*/ 458526 h 4687251"/>
              <a:gd name="connsiteX36645" fmla="*/ 6220934 w 8079933"/>
              <a:gd name="connsiteY36645" fmla="*/ 456144 h 4687251"/>
              <a:gd name="connsiteX36646" fmla="*/ 6223104 w 8079933"/>
              <a:gd name="connsiteY36646" fmla="*/ 458202 h 4687251"/>
              <a:gd name="connsiteX36647" fmla="*/ 6220499 w 8079933"/>
              <a:gd name="connsiteY36647" fmla="*/ 464373 h 4687251"/>
              <a:gd name="connsiteX36648" fmla="*/ 6224080 w 8079933"/>
              <a:gd name="connsiteY36648" fmla="*/ 467297 h 4687251"/>
              <a:gd name="connsiteX36649" fmla="*/ 6225708 w 8079933"/>
              <a:gd name="connsiteY36649" fmla="*/ 469354 h 4687251"/>
              <a:gd name="connsiteX36650" fmla="*/ 6230157 w 8079933"/>
              <a:gd name="connsiteY36650" fmla="*/ 469354 h 4687251"/>
              <a:gd name="connsiteX36651" fmla="*/ 6231459 w 8079933"/>
              <a:gd name="connsiteY36651" fmla="*/ 473901 h 4687251"/>
              <a:gd name="connsiteX36652" fmla="*/ 6233412 w 8079933"/>
              <a:gd name="connsiteY36652" fmla="*/ 472060 h 4687251"/>
              <a:gd name="connsiteX36653" fmla="*/ 6235257 w 8079933"/>
              <a:gd name="connsiteY36653" fmla="*/ 471519 h 4687251"/>
              <a:gd name="connsiteX36654" fmla="*/ 6236885 w 8079933"/>
              <a:gd name="connsiteY36654" fmla="*/ 476715 h 4687251"/>
              <a:gd name="connsiteX36655" fmla="*/ 6233304 w 8079933"/>
              <a:gd name="connsiteY36655" fmla="*/ 480722 h 4687251"/>
              <a:gd name="connsiteX36656" fmla="*/ 6233847 w 8079933"/>
              <a:gd name="connsiteY36656" fmla="*/ 486244 h 4687251"/>
              <a:gd name="connsiteX36657" fmla="*/ 6240358 w 8079933"/>
              <a:gd name="connsiteY36657" fmla="*/ 479748 h 4687251"/>
              <a:gd name="connsiteX36658" fmla="*/ 6244264 w 8079933"/>
              <a:gd name="connsiteY36658" fmla="*/ 479748 h 4687251"/>
              <a:gd name="connsiteX36659" fmla="*/ 6245024 w 8079933"/>
              <a:gd name="connsiteY36659" fmla="*/ 483321 h 4687251"/>
              <a:gd name="connsiteX36660" fmla="*/ 6236017 w 8079933"/>
              <a:gd name="connsiteY36660" fmla="*/ 491441 h 4687251"/>
              <a:gd name="connsiteX36661" fmla="*/ 6236668 w 8079933"/>
              <a:gd name="connsiteY36661" fmla="*/ 497937 h 4687251"/>
              <a:gd name="connsiteX36662" fmla="*/ 6244373 w 8079933"/>
              <a:gd name="connsiteY36662" fmla="*/ 499019 h 4687251"/>
              <a:gd name="connsiteX36663" fmla="*/ 6246434 w 8079933"/>
              <a:gd name="connsiteY36663" fmla="*/ 496421 h 4687251"/>
              <a:gd name="connsiteX36664" fmla="*/ 6249690 w 8079933"/>
              <a:gd name="connsiteY36664" fmla="*/ 494364 h 4687251"/>
              <a:gd name="connsiteX36665" fmla="*/ 6252512 w 8079933"/>
              <a:gd name="connsiteY36665" fmla="*/ 495880 h 4687251"/>
              <a:gd name="connsiteX36666" fmla="*/ 6253489 w 8079933"/>
              <a:gd name="connsiteY36666" fmla="*/ 499886 h 4687251"/>
              <a:gd name="connsiteX36667" fmla="*/ 6256961 w 8079933"/>
              <a:gd name="connsiteY36667" fmla="*/ 497829 h 4687251"/>
              <a:gd name="connsiteX36668" fmla="*/ 6262278 w 8079933"/>
              <a:gd name="connsiteY36668" fmla="*/ 503567 h 4687251"/>
              <a:gd name="connsiteX36669" fmla="*/ 6260650 w 8079933"/>
              <a:gd name="connsiteY36669" fmla="*/ 510713 h 4687251"/>
              <a:gd name="connsiteX36670" fmla="*/ 6265208 w 8079933"/>
              <a:gd name="connsiteY36670" fmla="*/ 509955 h 4687251"/>
              <a:gd name="connsiteX36671" fmla="*/ 6266293 w 8079933"/>
              <a:gd name="connsiteY36671" fmla="*/ 513528 h 4687251"/>
              <a:gd name="connsiteX36672" fmla="*/ 6270091 w 8079933"/>
              <a:gd name="connsiteY36672" fmla="*/ 511904 h 4687251"/>
              <a:gd name="connsiteX36673" fmla="*/ 6270091 w 8079933"/>
              <a:gd name="connsiteY36673" fmla="*/ 515476 h 4687251"/>
              <a:gd name="connsiteX36674" fmla="*/ 6265967 w 8079933"/>
              <a:gd name="connsiteY36674" fmla="*/ 522839 h 4687251"/>
              <a:gd name="connsiteX36675" fmla="*/ 6260759 w 8079933"/>
              <a:gd name="connsiteY36675" fmla="*/ 525004 h 4687251"/>
              <a:gd name="connsiteX36676" fmla="*/ 6256418 w 8079933"/>
              <a:gd name="connsiteY36676" fmla="*/ 521757 h 4687251"/>
              <a:gd name="connsiteX36677" fmla="*/ 6247194 w 8079933"/>
              <a:gd name="connsiteY36677" fmla="*/ 519374 h 4687251"/>
              <a:gd name="connsiteX36678" fmla="*/ 6236343 w 8079933"/>
              <a:gd name="connsiteY36678" fmla="*/ 519374 h 4687251"/>
              <a:gd name="connsiteX36679" fmla="*/ 6240467 w 8079933"/>
              <a:gd name="connsiteY36679" fmla="*/ 522082 h 4687251"/>
              <a:gd name="connsiteX36680" fmla="*/ 6242311 w 8079933"/>
              <a:gd name="connsiteY36680" fmla="*/ 527170 h 4687251"/>
              <a:gd name="connsiteX36681" fmla="*/ 6251535 w 8079933"/>
              <a:gd name="connsiteY36681" fmla="*/ 528253 h 4687251"/>
              <a:gd name="connsiteX36682" fmla="*/ 6253380 w 8079933"/>
              <a:gd name="connsiteY36682" fmla="*/ 531825 h 4687251"/>
              <a:gd name="connsiteX36683" fmla="*/ 6262278 w 8079933"/>
              <a:gd name="connsiteY36683" fmla="*/ 538539 h 4687251"/>
              <a:gd name="connsiteX36684" fmla="*/ 6271176 w 8079933"/>
              <a:gd name="connsiteY36684" fmla="*/ 540920 h 4687251"/>
              <a:gd name="connsiteX36685" fmla="*/ 6276820 w 8079933"/>
              <a:gd name="connsiteY36685" fmla="*/ 537131 h 4687251"/>
              <a:gd name="connsiteX36686" fmla="*/ 6276820 w 8079933"/>
              <a:gd name="connsiteY36686" fmla="*/ 532259 h 4687251"/>
              <a:gd name="connsiteX36687" fmla="*/ 6272262 w 8079933"/>
              <a:gd name="connsiteY36687" fmla="*/ 527928 h 4687251"/>
              <a:gd name="connsiteX36688" fmla="*/ 6270851 w 8079933"/>
              <a:gd name="connsiteY36688" fmla="*/ 524896 h 4687251"/>
              <a:gd name="connsiteX36689" fmla="*/ 6272262 w 8079933"/>
              <a:gd name="connsiteY36689" fmla="*/ 524896 h 4687251"/>
              <a:gd name="connsiteX36690" fmla="*/ 6277688 w 8079933"/>
              <a:gd name="connsiteY36690" fmla="*/ 530310 h 4687251"/>
              <a:gd name="connsiteX36691" fmla="*/ 6283330 w 8079933"/>
              <a:gd name="connsiteY36691" fmla="*/ 533017 h 4687251"/>
              <a:gd name="connsiteX36692" fmla="*/ 6286586 w 8079933"/>
              <a:gd name="connsiteY36692" fmla="*/ 535182 h 4687251"/>
              <a:gd name="connsiteX36693" fmla="*/ 6282462 w 8079933"/>
              <a:gd name="connsiteY36693" fmla="*/ 535182 h 4687251"/>
              <a:gd name="connsiteX36694" fmla="*/ 6273022 w 8079933"/>
              <a:gd name="connsiteY36694" fmla="*/ 544060 h 4687251"/>
              <a:gd name="connsiteX36695" fmla="*/ 6275192 w 8079933"/>
              <a:gd name="connsiteY36695" fmla="*/ 546984 h 4687251"/>
              <a:gd name="connsiteX36696" fmla="*/ 6279315 w 8079933"/>
              <a:gd name="connsiteY36696" fmla="*/ 546984 h 4687251"/>
              <a:gd name="connsiteX36697" fmla="*/ 6282354 w 8079933"/>
              <a:gd name="connsiteY36697" fmla="*/ 544602 h 4687251"/>
              <a:gd name="connsiteX36698" fmla="*/ 6289191 w 8079933"/>
              <a:gd name="connsiteY36698" fmla="*/ 544602 h 4687251"/>
              <a:gd name="connsiteX36699" fmla="*/ 6304708 w 8079933"/>
              <a:gd name="connsiteY36699" fmla="*/ 558893 h 4687251"/>
              <a:gd name="connsiteX36700" fmla="*/ 6308724 w 8079933"/>
              <a:gd name="connsiteY36700" fmla="*/ 560517 h 4687251"/>
              <a:gd name="connsiteX36701" fmla="*/ 6313607 w 8079933"/>
              <a:gd name="connsiteY36701" fmla="*/ 566797 h 4687251"/>
              <a:gd name="connsiteX36702" fmla="*/ 6324458 w 8079933"/>
              <a:gd name="connsiteY36702" fmla="*/ 567880 h 4687251"/>
              <a:gd name="connsiteX36703" fmla="*/ 6331295 w 8079933"/>
              <a:gd name="connsiteY36703" fmla="*/ 575784 h 4687251"/>
              <a:gd name="connsiteX36704" fmla="*/ 6338348 w 8079933"/>
              <a:gd name="connsiteY36704" fmla="*/ 577408 h 4687251"/>
              <a:gd name="connsiteX36705" fmla="*/ 6339976 w 8079933"/>
              <a:gd name="connsiteY36705" fmla="*/ 574376 h 4687251"/>
              <a:gd name="connsiteX36706" fmla="*/ 6338132 w 8079933"/>
              <a:gd name="connsiteY36706" fmla="*/ 571128 h 4687251"/>
              <a:gd name="connsiteX36707" fmla="*/ 6340628 w 8079933"/>
              <a:gd name="connsiteY36707" fmla="*/ 569287 h 4687251"/>
              <a:gd name="connsiteX36708" fmla="*/ 6344751 w 8079933"/>
              <a:gd name="connsiteY36708" fmla="*/ 573618 h 4687251"/>
              <a:gd name="connsiteX36709" fmla="*/ 6345835 w 8079933"/>
              <a:gd name="connsiteY36709" fmla="*/ 577408 h 4687251"/>
              <a:gd name="connsiteX36710" fmla="*/ 6348766 w 8079933"/>
              <a:gd name="connsiteY36710" fmla="*/ 581738 h 4687251"/>
              <a:gd name="connsiteX36711" fmla="*/ 6351696 w 8079933"/>
              <a:gd name="connsiteY36711" fmla="*/ 581738 h 4687251"/>
              <a:gd name="connsiteX36712" fmla="*/ 6352998 w 8079933"/>
              <a:gd name="connsiteY36712" fmla="*/ 576324 h 4687251"/>
              <a:gd name="connsiteX36713" fmla="*/ 6348115 w 8079933"/>
              <a:gd name="connsiteY36713" fmla="*/ 551098 h 4687251"/>
              <a:gd name="connsiteX36714" fmla="*/ 6343015 w 8079933"/>
              <a:gd name="connsiteY36714" fmla="*/ 540271 h 4687251"/>
              <a:gd name="connsiteX36715" fmla="*/ 6336286 w 8079933"/>
              <a:gd name="connsiteY36715" fmla="*/ 525979 h 4687251"/>
              <a:gd name="connsiteX36716" fmla="*/ 6334876 w 8079933"/>
              <a:gd name="connsiteY36716" fmla="*/ 513311 h 4687251"/>
              <a:gd name="connsiteX36717" fmla="*/ 6331295 w 8079933"/>
              <a:gd name="connsiteY36717" fmla="*/ 505516 h 4687251"/>
              <a:gd name="connsiteX36718" fmla="*/ 6331295 w 8079933"/>
              <a:gd name="connsiteY36718" fmla="*/ 501943 h 4687251"/>
              <a:gd name="connsiteX36719" fmla="*/ 6335635 w 8079933"/>
              <a:gd name="connsiteY36719" fmla="*/ 503784 h 4687251"/>
              <a:gd name="connsiteX36720" fmla="*/ 6338565 w 8079933"/>
              <a:gd name="connsiteY36720" fmla="*/ 509955 h 4687251"/>
              <a:gd name="connsiteX36721" fmla="*/ 6343774 w 8079933"/>
              <a:gd name="connsiteY36721" fmla="*/ 515585 h 4687251"/>
              <a:gd name="connsiteX36722" fmla="*/ 6349526 w 8079933"/>
              <a:gd name="connsiteY36722" fmla="*/ 516992 h 4687251"/>
              <a:gd name="connsiteX36723" fmla="*/ 6354626 w 8079933"/>
              <a:gd name="connsiteY36723" fmla="*/ 522731 h 4687251"/>
              <a:gd name="connsiteX36724" fmla="*/ 6363524 w 8079933"/>
              <a:gd name="connsiteY36724" fmla="*/ 523597 h 4687251"/>
              <a:gd name="connsiteX36725" fmla="*/ 6382298 w 8079933"/>
              <a:gd name="connsiteY36725" fmla="*/ 521432 h 4687251"/>
              <a:gd name="connsiteX36726" fmla="*/ 6386421 w 8079933"/>
              <a:gd name="connsiteY36726" fmla="*/ 523056 h 4687251"/>
              <a:gd name="connsiteX36727" fmla="*/ 6390002 w 8079933"/>
              <a:gd name="connsiteY36727" fmla="*/ 521215 h 4687251"/>
              <a:gd name="connsiteX36728" fmla="*/ 6394668 w 8079933"/>
              <a:gd name="connsiteY36728" fmla="*/ 525221 h 4687251"/>
              <a:gd name="connsiteX36729" fmla="*/ 6395536 w 8079933"/>
              <a:gd name="connsiteY36729" fmla="*/ 523922 h 4687251"/>
              <a:gd name="connsiteX36730" fmla="*/ 6391955 w 8079933"/>
              <a:gd name="connsiteY36730" fmla="*/ 518508 h 4687251"/>
              <a:gd name="connsiteX36731" fmla="*/ 6393040 w 8079933"/>
              <a:gd name="connsiteY36731" fmla="*/ 515476 h 4687251"/>
              <a:gd name="connsiteX36732" fmla="*/ 6389460 w 8079933"/>
              <a:gd name="connsiteY36732" fmla="*/ 512012 h 4687251"/>
              <a:gd name="connsiteX36733" fmla="*/ 6391413 w 8079933"/>
              <a:gd name="connsiteY36733" fmla="*/ 509630 h 4687251"/>
              <a:gd name="connsiteX36734" fmla="*/ 6392172 w 8079933"/>
              <a:gd name="connsiteY36734" fmla="*/ 505083 h 4687251"/>
              <a:gd name="connsiteX36735" fmla="*/ 6408233 w 8079933"/>
              <a:gd name="connsiteY36735" fmla="*/ 498370 h 4687251"/>
              <a:gd name="connsiteX36736" fmla="*/ 6410729 w 8079933"/>
              <a:gd name="connsiteY36736" fmla="*/ 499669 h 4687251"/>
              <a:gd name="connsiteX36737" fmla="*/ 6414744 w 8079933"/>
              <a:gd name="connsiteY36737" fmla="*/ 498911 h 4687251"/>
              <a:gd name="connsiteX36738" fmla="*/ 6419844 w 8079933"/>
              <a:gd name="connsiteY36738" fmla="*/ 501835 h 4687251"/>
              <a:gd name="connsiteX36739" fmla="*/ 6427223 w 8079933"/>
              <a:gd name="connsiteY36739" fmla="*/ 501835 h 4687251"/>
              <a:gd name="connsiteX36740" fmla="*/ 6432866 w 8079933"/>
              <a:gd name="connsiteY36740" fmla="*/ 507465 h 4687251"/>
              <a:gd name="connsiteX36741" fmla="*/ 6438510 w 8079933"/>
              <a:gd name="connsiteY36741" fmla="*/ 509089 h 4687251"/>
              <a:gd name="connsiteX36742" fmla="*/ 6441547 w 8079933"/>
              <a:gd name="connsiteY36742" fmla="*/ 514178 h 4687251"/>
              <a:gd name="connsiteX36743" fmla="*/ 6449469 w 8079933"/>
              <a:gd name="connsiteY36743" fmla="*/ 514178 h 4687251"/>
              <a:gd name="connsiteX36744" fmla="*/ 6451965 w 8079933"/>
              <a:gd name="connsiteY36744" fmla="*/ 518833 h 4687251"/>
              <a:gd name="connsiteX36745" fmla="*/ 6462817 w 8079933"/>
              <a:gd name="connsiteY36745" fmla="*/ 518833 h 4687251"/>
              <a:gd name="connsiteX36746" fmla="*/ 6456089 w 8079933"/>
              <a:gd name="connsiteY36746" fmla="*/ 515044 h 4687251"/>
              <a:gd name="connsiteX36747" fmla="*/ 6456089 w 8079933"/>
              <a:gd name="connsiteY36747" fmla="*/ 512662 h 4687251"/>
              <a:gd name="connsiteX36748" fmla="*/ 6462600 w 8079933"/>
              <a:gd name="connsiteY36748" fmla="*/ 514502 h 4687251"/>
              <a:gd name="connsiteX36749" fmla="*/ 6466941 w 8079933"/>
              <a:gd name="connsiteY36749" fmla="*/ 511037 h 4687251"/>
              <a:gd name="connsiteX36750" fmla="*/ 6461732 w 8079933"/>
              <a:gd name="connsiteY36750" fmla="*/ 508331 h 4687251"/>
              <a:gd name="connsiteX36751" fmla="*/ 6465530 w 8079933"/>
              <a:gd name="connsiteY36751" fmla="*/ 505083 h 4687251"/>
              <a:gd name="connsiteX36752" fmla="*/ 6461406 w 8079933"/>
              <a:gd name="connsiteY36752" fmla="*/ 500752 h 4687251"/>
              <a:gd name="connsiteX36753" fmla="*/ 6455221 w 8079933"/>
              <a:gd name="connsiteY36753" fmla="*/ 504000 h 4687251"/>
              <a:gd name="connsiteX36754" fmla="*/ 6449795 w 8079933"/>
              <a:gd name="connsiteY36754" fmla="*/ 502593 h 4687251"/>
              <a:gd name="connsiteX36755" fmla="*/ 6449035 w 8079933"/>
              <a:gd name="connsiteY36755" fmla="*/ 495013 h 4687251"/>
              <a:gd name="connsiteX36756" fmla="*/ 6446865 w 8079933"/>
              <a:gd name="connsiteY36756" fmla="*/ 489600 h 4687251"/>
              <a:gd name="connsiteX36757" fmla="*/ 6449795 w 8079933"/>
              <a:gd name="connsiteY36757" fmla="*/ 487218 h 4687251"/>
              <a:gd name="connsiteX36758" fmla="*/ 6452725 w 8079933"/>
              <a:gd name="connsiteY36758" fmla="*/ 489708 h 4687251"/>
              <a:gd name="connsiteX36759" fmla="*/ 6456848 w 8079933"/>
              <a:gd name="connsiteY36759" fmla="*/ 487001 h 4687251"/>
              <a:gd name="connsiteX36760" fmla="*/ 6454353 w 8079933"/>
              <a:gd name="connsiteY36760" fmla="*/ 483212 h 4687251"/>
              <a:gd name="connsiteX36761" fmla="*/ 6457934 w 8079933"/>
              <a:gd name="connsiteY36761" fmla="*/ 481913 h 4687251"/>
              <a:gd name="connsiteX36762" fmla="*/ 6465312 w 8079933"/>
              <a:gd name="connsiteY36762" fmla="*/ 487543 h 4687251"/>
              <a:gd name="connsiteX36763" fmla="*/ 6467266 w 8079933"/>
              <a:gd name="connsiteY36763" fmla="*/ 492740 h 4687251"/>
              <a:gd name="connsiteX36764" fmla="*/ 6470305 w 8079933"/>
              <a:gd name="connsiteY36764" fmla="*/ 491658 h 4687251"/>
              <a:gd name="connsiteX36765" fmla="*/ 6473018 w 8079933"/>
              <a:gd name="connsiteY36765" fmla="*/ 494040 h 4687251"/>
              <a:gd name="connsiteX36766" fmla="*/ 6475948 w 8079933"/>
              <a:gd name="connsiteY36766" fmla="*/ 492415 h 4687251"/>
              <a:gd name="connsiteX36767" fmla="*/ 6474320 w 8079933"/>
              <a:gd name="connsiteY36767" fmla="*/ 486785 h 4687251"/>
              <a:gd name="connsiteX36768" fmla="*/ 6479420 w 8079933"/>
              <a:gd name="connsiteY36768" fmla="*/ 484836 h 4687251"/>
              <a:gd name="connsiteX36769" fmla="*/ 6483001 w 8079933"/>
              <a:gd name="connsiteY36769" fmla="*/ 487326 h 4687251"/>
              <a:gd name="connsiteX36770" fmla="*/ 6484303 w 8079933"/>
              <a:gd name="connsiteY36770" fmla="*/ 482995 h 4687251"/>
              <a:gd name="connsiteX36771" fmla="*/ 6476924 w 8079933"/>
              <a:gd name="connsiteY36771" fmla="*/ 474334 h 4687251"/>
              <a:gd name="connsiteX36772" fmla="*/ 6471064 w 8079933"/>
              <a:gd name="connsiteY36772" fmla="*/ 473793 h 4687251"/>
              <a:gd name="connsiteX36773" fmla="*/ 6465312 w 8079933"/>
              <a:gd name="connsiteY36773" fmla="*/ 467838 h 4687251"/>
              <a:gd name="connsiteX36774" fmla="*/ 6466398 w 8079933"/>
              <a:gd name="connsiteY36774" fmla="*/ 462424 h 4687251"/>
              <a:gd name="connsiteX36775" fmla="*/ 6463902 w 8079933"/>
              <a:gd name="connsiteY36775" fmla="*/ 458634 h 4687251"/>
              <a:gd name="connsiteX36776" fmla="*/ 6458910 w 8079933"/>
              <a:gd name="connsiteY36776" fmla="*/ 460800 h 4687251"/>
              <a:gd name="connsiteX36777" fmla="*/ 6454027 w 8079933"/>
              <a:gd name="connsiteY36777" fmla="*/ 459501 h 4687251"/>
              <a:gd name="connsiteX36778" fmla="*/ 6459996 w 8079933"/>
              <a:gd name="connsiteY36778" fmla="*/ 456036 h 4687251"/>
              <a:gd name="connsiteX36779" fmla="*/ 6457825 w 8079933"/>
              <a:gd name="connsiteY36779" fmla="*/ 451922 h 4687251"/>
              <a:gd name="connsiteX36780" fmla="*/ 6458910 w 8079933"/>
              <a:gd name="connsiteY36780" fmla="*/ 450623 h 4687251"/>
              <a:gd name="connsiteX36781" fmla="*/ 6455112 w 8079933"/>
              <a:gd name="connsiteY36781" fmla="*/ 444885 h 4687251"/>
              <a:gd name="connsiteX36782" fmla="*/ 6463251 w 8079933"/>
              <a:gd name="connsiteY36782" fmla="*/ 444885 h 4687251"/>
              <a:gd name="connsiteX36783" fmla="*/ 6464879 w 8079933"/>
              <a:gd name="connsiteY36783" fmla="*/ 436222 h 4687251"/>
              <a:gd name="connsiteX36784" fmla="*/ 6455980 w 8079933"/>
              <a:gd name="connsiteY36784" fmla="*/ 438929 h 4687251"/>
              <a:gd name="connsiteX36785" fmla="*/ 6450881 w 8079933"/>
              <a:gd name="connsiteY36785" fmla="*/ 444018 h 4687251"/>
              <a:gd name="connsiteX36786" fmla="*/ 6450012 w 8079933"/>
              <a:gd name="connsiteY36786" fmla="*/ 449215 h 4687251"/>
              <a:gd name="connsiteX36787" fmla="*/ 6441547 w 8079933"/>
              <a:gd name="connsiteY36787" fmla="*/ 446833 h 4687251"/>
              <a:gd name="connsiteX36788" fmla="*/ 6436448 w 8079933"/>
              <a:gd name="connsiteY36788" fmla="*/ 437630 h 4687251"/>
              <a:gd name="connsiteX36789" fmla="*/ 6439160 w 8079933"/>
              <a:gd name="connsiteY36789" fmla="*/ 433083 h 4687251"/>
              <a:gd name="connsiteX36790" fmla="*/ 6440028 w 8079933"/>
              <a:gd name="connsiteY36790" fmla="*/ 426370 h 4687251"/>
              <a:gd name="connsiteX36791" fmla="*/ 6448167 w 8079933"/>
              <a:gd name="connsiteY36791" fmla="*/ 423338 h 4687251"/>
              <a:gd name="connsiteX36792" fmla="*/ 6453268 w 8079933"/>
              <a:gd name="connsiteY36792" fmla="*/ 424096 h 4687251"/>
              <a:gd name="connsiteX36793" fmla="*/ 6461623 w 8079933"/>
              <a:gd name="connsiteY36793" fmla="*/ 416301 h 4687251"/>
              <a:gd name="connsiteX36794" fmla="*/ 6461623 w 8079933"/>
              <a:gd name="connsiteY36794" fmla="*/ 412836 h 4687251"/>
              <a:gd name="connsiteX36795" fmla="*/ 6456740 w 8079933"/>
              <a:gd name="connsiteY36795" fmla="*/ 407098 h 4687251"/>
              <a:gd name="connsiteX36796" fmla="*/ 6452182 w 8079933"/>
              <a:gd name="connsiteY36796" fmla="*/ 407856 h 4687251"/>
              <a:gd name="connsiteX36797" fmla="*/ 6447624 w 8079933"/>
              <a:gd name="connsiteY36797" fmla="*/ 406015 h 4687251"/>
              <a:gd name="connsiteX36798" fmla="*/ 6439486 w 8079933"/>
              <a:gd name="connsiteY36798" fmla="*/ 406015 h 4687251"/>
              <a:gd name="connsiteX36799" fmla="*/ 6434277 w 8079933"/>
              <a:gd name="connsiteY36799" fmla="*/ 399735 h 4687251"/>
              <a:gd name="connsiteX36800" fmla="*/ 6441114 w 8079933"/>
              <a:gd name="connsiteY36800" fmla="*/ 397028 h 4687251"/>
              <a:gd name="connsiteX36801" fmla="*/ 6450555 w 8079933"/>
              <a:gd name="connsiteY36801" fmla="*/ 395621 h 4687251"/>
              <a:gd name="connsiteX36802" fmla="*/ 6461406 w 8079933"/>
              <a:gd name="connsiteY36802" fmla="*/ 400277 h 4687251"/>
              <a:gd name="connsiteX36803" fmla="*/ 6471390 w 8079933"/>
              <a:gd name="connsiteY36803" fmla="*/ 398328 h 4687251"/>
              <a:gd name="connsiteX36804" fmla="*/ 6487451 w 8079933"/>
              <a:gd name="connsiteY36804" fmla="*/ 398328 h 4687251"/>
              <a:gd name="connsiteX36805" fmla="*/ 6515122 w 8079933"/>
              <a:gd name="connsiteY36805" fmla="*/ 396379 h 4687251"/>
              <a:gd name="connsiteX36806" fmla="*/ 6519679 w 8079933"/>
              <a:gd name="connsiteY36806" fmla="*/ 393673 h 4687251"/>
              <a:gd name="connsiteX36807" fmla="*/ 6540081 w 8079933"/>
              <a:gd name="connsiteY36807" fmla="*/ 393673 h 4687251"/>
              <a:gd name="connsiteX36808" fmla="*/ 6549304 w 8079933"/>
              <a:gd name="connsiteY36808" fmla="*/ 394755 h 4687251"/>
              <a:gd name="connsiteX36809" fmla="*/ 6556141 w 8079933"/>
              <a:gd name="connsiteY36809" fmla="*/ 393673 h 4687251"/>
              <a:gd name="connsiteX36810" fmla="*/ 6567752 w 8079933"/>
              <a:gd name="connsiteY36810" fmla="*/ 393673 h 4687251"/>
              <a:gd name="connsiteX36811" fmla="*/ 6561567 w 8079933"/>
              <a:gd name="connsiteY36811" fmla="*/ 395621 h 4687251"/>
              <a:gd name="connsiteX36812" fmla="*/ 6545615 w 8079933"/>
              <a:gd name="connsiteY36812" fmla="*/ 402659 h 4687251"/>
              <a:gd name="connsiteX36813" fmla="*/ 6540298 w 8079933"/>
              <a:gd name="connsiteY36813" fmla="*/ 399952 h 4687251"/>
              <a:gd name="connsiteX36814" fmla="*/ 6537802 w 8079933"/>
              <a:gd name="connsiteY36814" fmla="*/ 400818 h 4687251"/>
              <a:gd name="connsiteX36815" fmla="*/ 6532702 w 8079933"/>
              <a:gd name="connsiteY36815" fmla="*/ 398869 h 4687251"/>
              <a:gd name="connsiteX36816" fmla="*/ 6529663 w 8079933"/>
              <a:gd name="connsiteY36816" fmla="*/ 408938 h 4687251"/>
              <a:gd name="connsiteX36817" fmla="*/ 6534546 w 8079933"/>
              <a:gd name="connsiteY36817" fmla="*/ 414352 h 4687251"/>
              <a:gd name="connsiteX36818" fmla="*/ 6530531 w 8079933"/>
              <a:gd name="connsiteY36818" fmla="*/ 415976 h 4687251"/>
              <a:gd name="connsiteX36819" fmla="*/ 6529446 w 8079933"/>
              <a:gd name="connsiteY36819" fmla="*/ 419549 h 4687251"/>
              <a:gd name="connsiteX36820" fmla="*/ 6534112 w 8079933"/>
              <a:gd name="connsiteY36820" fmla="*/ 422473 h 4687251"/>
              <a:gd name="connsiteX36821" fmla="*/ 6541165 w 8079933"/>
              <a:gd name="connsiteY36821" fmla="*/ 417383 h 4687251"/>
              <a:gd name="connsiteX36822" fmla="*/ 6541165 w 8079933"/>
              <a:gd name="connsiteY36822" fmla="*/ 412295 h 4687251"/>
              <a:gd name="connsiteX36823" fmla="*/ 6553645 w 8079933"/>
              <a:gd name="connsiteY36823" fmla="*/ 403850 h 4687251"/>
              <a:gd name="connsiteX36824" fmla="*/ 6569706 w 8079933"/>
              <a:gd name="connsiteY36824" fmla="*/ 397570 h 4687251"/>
              <a:gd name="connsiteX36825" fmla="*/ 6572093 w 8079933"/>
              <a:gd name="connsiteY36825" fmla="*/ 406232 h 4687251"/>
              <a:gd name="connsiteX36826" fmla="*/ 6572853 w 8079933"/>
              <a:gd name="connsiteY36826" fmla="*/ 418467 h 4687251"/>
              <a:gd name="connsiteX36827" fmla="*/ 6571442 w 8079933"/>
              <a:gd name="connsiteY36827" fmla="*/ 421173 h 4687251"/>
              <a:gd name="connsiteX36828" fmla="*/ 6568512 w 8079933"/>
              <a:gd name="connsiteY36828" fmla="*/ 413377 h 4687251"/>
              <a:gd name="connsiteX36829" fmla="*/ 6563846 w 8079933"/>
              <a:gd name="connsiteY36829" fmla="*/ 408830 h 4687251"/>
              <a:gd name="connsiteX36830" fmla="*/ 6563846 w 8079933"/>
              <a:gd name="connsiteY36830" fmla="*/ 403741 h 4687251"/>
              <a:gd name="connsiteX36831" fmla="*/ 6558962 w 8079933"/>
              <a:gd name="connsiteY36831" fmla="*/ 408073 h 4687251"/>
              <a:gd name="connsiteX36832" fmla="*/ 6555708 w 8079933"/>
              <a:gd name="connsiteY36832" fmla="*/ 406773 h 4687251"/>
              <a:gd name="connsiteX36833" fmla="*/ 6558854 w 8079933"/>
              <a:gd name="connsiteY36833" fmla="*/ 415218 h 4687251"/>
              <a:gd name="connsiteX36834" fmla="*/ 6563737 w 8079933"/>
              <a:gd name="connsiteY36834" fmla="*/ 417167 h 4687251"/>
              <a:gd name="connsiteX36835" fmla="*/ 6565582 w 8079933"/>
              <a:gd name="connsiteY36835" fmla="*/ 426695 h 4687251"/>
              <a:gd name="connsiteX36836" fmla="*/ 6562110 w 8079933"/>
              <a:gd name="connsiteY36836" fmla="*/ 434274 h 4687251"/>
              <a:gd name="connsiteX36837" fmla="*/ 6558854 w 8079933"/>
              <a:gd name="connsiteY36837" fmla="*/ 432866 h 4687251"/>
              <a:gd name="connsiteX36838" fmla="*/ 6555381 w 8079933"/>
              <a:gd name="connsiteY36838" fmla="*/ 435790 h 4687251"/>
              <a:gd name="connsiteX36839" fmla="*/ 6561024 w 8079933"/>
              <a:gd name="connsiteY36839" fmla="*/ 439579 h 4687251"/>
              <a:gd name="connsiteX36840" fmla="*/ 6561024 w 8079933"/>
              <a:gd name="connsiteY36840" fmla="*/ 442827 h 4687251"/>
              <a:gd name="connsiteX36841" fmla="*/ 6563195 w 8079933"/>
              <a:gd name="connsiteY36841" fmla="*/ 445209 h 4687251"/>
              <a:gd name="connsiteX36842" fmla="*/ 6567210 w 8079933"/>
              <a:gd name="connsiteY36842" fmla="*/ 445209 h 4687251"/>
              <a:gd name="connsiteX36843" fmla="*/ 6573396 w 8079933"/>
              <a:gd name="connsiteY36843" fmla="*/ 440337 h 4687251"/>
              <a:gd name="connsiteX36844" fmla="*/ 6573396 w 8079933"/>
              <a:gd name="connsiteY36844" fmla="*/ 433191 h 4687251"/>
              <a:gd name="connsiteX36845" fmla="*/ 6578062 w 8079933"/>
              <a:gd name="connsiteY36845" fmla="*/ 426153 h 4687251"/>
              <a:gd name="connsiteX36846" fmla="*/ 6576217 w 8079933"/>
              <a:gd name="connsiteY36846" fmla="*/ 421606 h 4687251"/>
              <a:gd name="connsiteX36847" fmla="*/ 6576759 w 8079933"/>
              <a:gd name="connsiteY36847" fmla="*/ 415110 h 4687251"/>
              <a:gd name="connsiteX36848" fmla="*/ 6574915 w 8079933"/>
              <a:gd name="connsiteY36848" fmla="*/ 390749 h 4687251"/>
              <a:gd name="connsiteX36849" fmla="*/ 6583270 w 8079933"/>
              <a:gd name="connsiteY36849" fmla="*/ 384037 h 4687251"/>
              <a:gd name="connsiteX36850" fmla="*/ 6595967 w 8079933"/>
              <a:gd name="connsiteY36850" fmla="*/ 381329 h 4687251"/>
              <a:gd name="connsiteX36851" fmla="*/ 6609857 w 8079933"/>
              <a:gd name="connsiteY36851" fmla="*/ 377757 h 4687251"/>
              <a:gd name="connsiteX36852" fmla="*/ 6622662 w 8079933"/>
              <a:gd name="connsiteY36852" fmla="*/ 379380 h 4687251"/>
              <a:gd name="connsiteX36853" fmla="*/ 6638614 w 8079933"/>
              <a:gd name="connsiteY36853" fmla="*/ 385119 h 4687251"/>
              <a:gd name="connsiteX36854" fmla="*/ 6646536 w 8079933"/>
              <a:gd name="connsiteY36854" fmla="*/ 395946 h 4687251"/>
              <a:gd name="connsiteX36855" fmla="*/ 6645776 w 8079933"/>
              <a:gd name="connsiteY36855" fmla="*/ 401359 h 4687251"/>
              <a:gd name="connsiteX36856" fmla="*/ 6641760 w 8079933"/>
              <a:gd name="connsiteY36856" fmla="*/ 404283 h 4687251"/>
              <a:gd name="connsiteX36857" fmla="*/ 6633080 w 8079933"/>
              <a:gd name="connsiteY36857" fmla="*/ 397570 h 4687251"/>
              <a:gd name="connsiteX36858" fmla="*/ 6632211 w 8079933"/>
              <a:gd name="connsiteY36858" fmla="*/ 398978 h 4687251"/>
              <a:gd name="connsiteX36859" fmla="*/ 6633840 w 8079933"/>
              <a:gd name="connsiteY36859" fmla="*/ 404066 h 4687251"/>
              <a:gd name="connsiteX36860" fmla="*/ 6633840 w 8079933"/>
              <a:gd name="connsiteY36860" fmla="*/ 408722 h 4687251"/>
              <a:gd name="connsiteX36861" fmla="*/ 6634924 w 8079933"/>
              <a:gd name="connsiteY36861" fmla="*/ 413269 h 4687251"/>
              <a:gd name="connsiteX36862" fmla="*/ 6630800 w 8079933"/>
              <a:gd name="connsiteY36862" fmla="*/ 416734 h 4687251"/>
              <a:gd name="connsiteX36863" fmla="*/ 6634273 w 8079933"/>
              <a:gd name="connsiteY36863" fmla="*/ 418141 h 4687251"/>
              <a:gd name="connsiteX36864" fmla="*/ 6639482 w 8079933"/>
              <a:gd name="connsiteY36864" fmla="*/ 414893 h 4687251"/>
              <a:gd name="connsiteX36865" fmla="*/ 6647620 w 8079933"/>
              <a:gd name="connsiteY36865" fmla="*/ 414352 h 4687251"/>
              <a:gd name="connsiteX36866" fmla="*/ 6652504 w 8079933"/>
              <a:gd name="connsiteY36866" fmla="*/ 409479 h 4687251"/>
              <a:gd name="connsiteX36867" fmla="*/ 6654674 w 8079933"/>
              <a:gd name="connsiteY36867" fmla="*/ 416517 h 4687251"/>
              <a:gd name="connsiteX36868" fmla="*/ 6657387 w 8079933"/>
              <a:gd name="connsiteY36868" fmla="*/ 421606 h 4687251"/>
              <a:gd name="connsiteX36869" fmla="*/ 6658147 w 8079933"/>
              <a:gd name="connsiteY36869" fmla="*/ 427561 h 4687251"/>
              <a:gd name="connsiteX36870" fmla="*/ 6661077 w 8079933"/>
              <a:gd name="connsiteY36870" fmla="*/ 430593 h 4687251"/>
              <a:gd name="connsiteX36871" fmla="*/ 6664115 w 8079933"/>
              <a:gd name="connsiteY36871" fmla="*/ 425179 h 4687251"/>
              <a:gd name="connsiteX36872" fmla="*/ 6663247 w 8079933"/>
              <a:gd name="connsiteY36872" fmla="*/ 421931 h 4687251"/>
              <a:gd name="connsiteX36873" fmla="*/ 6668998 w 8079933"/>
              <a:gd name="connsiteY36873" fmla="*/ 416734 h 4687251"/>
              <a:gd name="connsiteX36874" fmla="*/ 6674750 w 8079933"/>
              <a:gd name="connsiteY36874" fmla="*/ 419657 h 4687251"/>
              <a:gd name="connsiteX36875" fmla="*/ 6676920 w 8079933"/>
              <a:gd name="connsiteY36875" fmla="*/ 425612 h 4687251"/>
              <a:gd name="connsiteX36876" fmla="*/ 6674750 w 8079933"/>
              <a:gd name="connsiteY36876" fmla="*/ 428860 h 4687251"/>
              <a:gd name="connsiteX36877" fmla="*/ 6672905 w 8079933"/>
              <a:gd name="connsiteY36877" fmla="*/ 435573 h 4687251"/>
              <a:gd name="connsiteX36878" fmla="*/ 6674316 w 8079933"/>
              <a:gd name="connsiteY36878" fmla="*/ 437955 h 4687251"/>
              <a:gd name="connsiteX36879" fmla="*/ 6677788 w 8079933"/>
              <a:gd name="connsiteY36879" fmla="*/ 436114 h 4687251"/>
              <a:gd name="connsiteX36880" fmla="*/ 6680284 w 8079933"/>
              <a:gd name="connsiteY36880" fmla="*/ 430159 h 4687251"/>
              <a:gd name="connsiteX36881" fmla="*/ 6682781 w 8079933"/>
              <a:gd name="connsiteY36881" fmla="*/ 429077 h 4687251"/>
              <a:gd name="connsiteX36882" fmla="*/ 6684734 w 8079933"/>
              <a:gd name="connsiteY36882" fmla="*/ 432650 h 4687251"/>
              <a:gd name="connsiteX36883" fmla="*/ 6684734 w 8079933"/>
              <a:gd name="connsiteY36883" fmla="*/ 427236 h 4687251"/>
              <a:gd name="connsiteX36884" fmla="*/ 6689400 w 8079933"/>
              <a:gd name="connsiteY36884" fmla="*/ 417708 h 4687251"/>
              <a:gd name="connsiteX36885" fmla="*/ 6691353 w 8079933"/>
              <a:gd name="connsiteY36885" fmla="*/ 415759 h 4687251"/>
              <a:gd name="connsiteX36886" fmla="*/ 6694934 w 8079933"/>
              <a:gd name="connsiteY36886" fmla="*/ 417600 h 4687251"/>
              <a:gd name="connsiteX36887" fmla="*/ 6705786 w 8079933"/>
              <a:gd name="connsiteY36887" fmla="*/ 425179 h 4687251"/>
              <a:gd name="connsiteX36888" fmla="*/ 6717940 w 8079933"/>
              <a:gd name="connsiteY36888" fmla="*/ 428102 h 4687251"/>
              <a:gd name="connsiteX36889" fmla="*/ 6724668 w 8079933"/>
              <a:gd name="connsiteY36889" fmla="*/ 436006 h 4687251"/>
              <a:gd name="connsiteX36890" fmla="*/ 6723582 w 8079933"/>
              <a:gd name="connsiteY36890" fmla="*/ 440120 h 4687251"/>
              <a:gd name="connsiteX36891" fmla="*/ 6715769 w 8079933"/>
              <a:gd name="connsiteY36891" fmla="*/ 444777 h 4687251"/>
              <a:gd name="connsiteX36892" fmla="*/ 6710560 w 8079933"/>
              <a:gd name="connsiteY36892" fmla="*/ 450189 h 4687251"/>
              <a:gd name="connsiteX36893" fmla="*/ 6717398 w 8079933"/>
              <a:gd name="connsiteY36893" fmla="*/ 446725 h 4687251"/>
              <a:gd name="connsiteX36894" fmla="*/ 6727489 w 8079933"/>
              <a:gd name="connsiteY36894" fmla="*/ 444559 h 4687251"/>
              <a:gd name="connsiteX36895" fmla="*/ 6734218 w 8079933"/>
              <a:gd name="connsiteY36895" fmla="*/ 446942 h 4687251"/>
              <a:gd name="connsiteX36896" fmla="*/ 6742138 w 8079933"/>
              <a:gd name="connsiteY36896" fmla="*/ 444993 h 4687251"/>
              <a:gd name="connsiteX36897" fmla="*/ 6747890 w 8079933"/>
              <a:gd name="connsiteY36897" fmla="*/ 439795 h 4687251"/>
              <a:gd name="connsiteX36898" fmla="*/ 6753316 w 8079933"/>
              <a:gd name="connsiteY36898" fmla="*/ 437306 h 4687251"/>
              <a:gd name="connsiteX36899" fmla="*/ 6762866 w 8079933"/>
              <a:gd name="connsiteY36899" fmla="*/ 429402 h 4687251"/>
              <a:gd name="connsiteX36900" fmla="*/ 6767532 w 8079933"/>
              <a:gd name="connsiteY36900" fmla="*/ 427561 h 4687251"/>
              <a:gd name="connsiteX36901" fmla="*/ 6775344 w 8079933"/>
              <a:gd name="connsiteY36901" fmla="*/ 419765 h 4687251"/>
              <a:gd name="connsiteX36902" fmla="*/ 6782073 w 8079933"/>
              <a:gd name="connsiteY36902" fmla="*/ 418141 h 4687251"/>
              <a:gd name="connsiteX36903" fmla="*/ 6799978 w 8079933"/>
              <a:gd name="connsiteY36903" fmla="*/ 409155 h 4687251"/>
              <a:gd name="connsiteX36904" fmla="*/ 6808877 w 8079933"/>
              <a:gd name="connsiteY36904" fmla="*/ 406124 h 4687251"/>
              <a:gd name="connsiteX36905" fmla="*/ 6814085 w 8079933"/>
              <a:gd name="connsiteY36905" fmla="*/ 407206 h 4687251"/>
              <a:gd name="connsiteX36906" fmla="*/ 6814085 w 8079933"/>
              <a:gd name="connsiteY36906" fmla="*/ 405257 h 4687251"/>
              <a:gd name="connsiteX36907" fmla="*/ 6824178 w 8079933"/>
              <a:gd name="connsiteY36907" fmla="*/ 398544 h 4687251"/>
              <a:gd name="connsiteX36908" fmla="*/ 6829820 w 8079933"/>
              <a:gd name="connsiteY36908" fmla="*/ 397462 h 4687251"/>
              <a:gd name="connsiteX36909" fmla="*/ 6842082 w 8079933"/>
              <a:gd name="connsiteY36909" fmla="*/ 397462 h 4687251"/>
              <a:gd name="connsiteX36910" fmla="*/ 6865414 w 8079933"/>
              <a:gd name="connsiteY36910" fmla="*/ 405257 h 4687251"/>
              <a:gd name="connsiteX36911" fmla="*/ 6875397 w 8079933"/>
              <a:gd name="connsiteY36911" fmla="*/ 416084 h 4687251"/>
              <a:gd name="connsiteX36912" fmla="*/ 6885490 w 8079933"/>
              <a:gd name="connsiteY36912" fmla="*/ 421281 h 4687251"/>
              <a:gd name="connsiteX36913" fmla="*/ 6893953 w 8079933"/>
              <a:gd name="connsiteY36913" fmla="*/ 431026 h 4687251"/>
              <a:gd name="connsiteX36914" fmla="*/ 6898512 w 8079933"/>
              <a:gd name="connsiteY36914" fmla="*/ 439471 h 4687251"/>
              <a:gd name="connsiteX36915" fmla="*/ 6898512 w 8079933"/>
              <a:gd name="connsiteY36915" fmla="*/ 444018 h 4687251"/>
              <a:gd name="connsiteX36916" fmla="*/ 6900681 w 8079933"/>
              <a:gd name="connsiteY36916" fmla="*/ 446509 h 4687251"/>
              <a:gd name="connsiteX36917" fmla="*/ 6900681 w 8079933"/>
              <a:gd name="connsiteY36917" fmla="*/ 453330 h 4687251"/>
              <a:gd name="connsiteX36918" fmla="*/ 6905564 w 8079933"/>
              <a:gd name="connsiteY36918" fmla="*/ 462749 h 4687251"/>
              <a:gd name="connsiteX36919" fmla="*/ 6905564 w 8079933"/>
              <a:gd name="connsiteY36919" fmla="*/ 467297 h 4687251"/>
              <a:gd name="connsiteX36920" fmla="*/ 6902092 w 8079933"/>
              <a:gd name="connsiteY36920" fmla="*/ 472385 h 4687251"/>
              <a:gd name="connsiteX36921" fmla="*/ 6907518 w 8079933"/>
              <a:gd name="connsiteY36921" fmla="*/ 471085 h 4687251"/>
              <a:gd name="connsiteX36922" fmla="*/ 6913161 w 8079933"/>
              <a:gd name="connsiteY36922" fmla="*/ 464373 h 4687251"/>
              <a:gd name="connsiteX36923" fmla="*/ 6919672 w 8079933"/>
              <a:gd name="connsiteY36923" fmla="*/ 464373 h 4687251"/>
              <a:gd name="connsiteX36924" fmla="*/ 6922710 w 8079933"/>
              <a:gd name="connsiteY36924" fmla="*/ 467405 h 4687251"/>
              <a:gd name="connsiteX36925" fmla="*/ 6922710 w 8079933"/>
              <a:gd name="connsiteY36925" fmla="*/ 463940 h 4687251"/>
              <a:gd name="connsiteX36926" fmla="*/ 6929221 w 8079933"/>
              <a:gd name="connsiteY36926" fmla="*/ 463074 h 4687251"/>
              <a:gd name="connsiteX36927" fmla="*/ 6934431 w 8079933"/>
              <a:gd name="connsiteY36927" fmla="*/ 466106 h 4687251"/>
              <a:gd name="connsiteX36928" fmla="*/ 6936600 w 8079933"/>
              <a:gd name="connsiteY36928" fmla="*/ 471844 h 4687251"/>
              <a:gd name="connsiteX36929" fmla="*/ 6937686 w 8079933"/>
              <a:gd name="connsiteY36929" fmla="*/ 467297 h 4687251"/>
              <a:gd name="connsiteX36930" fmla="*/ 6935732 w 8079933"/>
              <a:gd name="connsiteY36930" fmla="*/ 459934 h 4687251"/>
              <a:gd name="connsiteX36931" fmla="*/ 6939856 w 8079933"/>
              <a:gd name="connsiteY36931" fmla="*/ 459934 h 4687251"/>
              <a:gd name="connsiteX36932" fmla="*/ 6943437 w 8079933"/>
              <a:gd name="connsiteY36932" fmla="*/ 466213 h 4687251"/>
              <a:gd name="connsiteX36933" fmla="*/ 6951359 w 8079933"/>
              <a:gd name="connsiteY36933" fmla="*/ 473793 h 4687251"/>
              <a:gd name="connsiteX36934" fmla="*/ 6952770 w 8079933"/>
              <a:gd name="connsiteY36934" fmla="*/ 482454 h 4687251"/>
              <a:gd name="connsiteX36935" fmla="*/ 6957110 w 8079933"/>
              <a:gd name="connsiteY36935" fmla="*/ 482454 h 4687251"/>
              <a:gd name="connsiteX36936" fmla="*/ 6964164 w 8079933"/>
              <a:gd name="connsiteY36936" fmla="*/ 491333 h 4687251"/>
              <a:gd name="connsiteX36937" fmla="*/ 6964164 w 8079933"/>
              <a:gd name="connsiteY36937" fmla="*/ 488626 h 4687251"/>
              <a:gd name="connsiteX36938" fmla="*/ 6961776 w 8079933"/>
              <a:gd name="connsiteY36938" fmla="*/ 481046 h 4687251"/>
              <a:gd name="connsiteX36939" fmla="*/ 6957110 w 8079933"/>
              <a:gd name="connsiteY36939" fmla="*/ 478881 h 4687251"/>
              <a:gd name="connsiteX36940" fmla="*/ 6956242 w 8079933"/>
              <a:gd name="connsiteY36940" fmla="*/ 474550 h 4687251"/>
              <a:gd name="connsiteX36941" fmla="*/ 6961342 w 8079933"/>
              <a:gd name="connsiteY36941" fmla="*/ 477474 h 4687251"/>
              <a:gd name="connsiteX36942" fmla="*/ 6965358 w 8079933"/>
              <a:gd name="connsiteY36942" fmla="*/ 476932 h 4687251"/>
              <a:gd name="connsiteX36943" fmla="*/ 6970241 w 8079933"/>
              <a:gd name="connsiteY36943" fmla="*/ 481805 h 4687251"/>
              <a:gd name="connsiteX36944" fmla="*/ 6976752 w 8079933"/>
              <a:gd name="connsiteY36944" fmla="*/ 490791 h 4687251"/>
              <a:gd name="connsiteX36945" fmla="*/ 6975450 w 8079933"/>
              <a:gd name="connsiteY36945" fmla="*/ 483537 h 4687251"/>
              <a:gd name="connsiteX36946" fmla="*/ 6966551 w 8079933"/>
              <a:gd name="connsiteY36946" fmla="*/ 471085 h 4687251"/>
              <a:gd name="connsiteX36947" fmla="*/ 6966551 w 8079933"/>
              <a:gd name="connsiteY36947" fmla="*/ 460258 h 4687251"/>
              <a:gd name="connsiteX36948" fmla="*/ 6966551 w 8079933"/>
              <a:gd name="connsiteY36948" fmla="*/ 451164 h 4687251"/>
              <a:gd name="connsiteX36949" fmla="*/ 6972303 w 8079933"/>
              <a:gd name="connsiteY36949" fmla="*/ 444559 h 4687251"/>
              <a:gd name="connsiteX36950" fmla="*/ 6981852 w 8079933"/>
              <a:gd name="connsiteY36950" fmla="*/ 443585 h 4687251"/>
              <a:gd name="connsiteX36951" fmla="*/ 6986301 w 8079933"/>
              <a:gd name="connsiteY36951" fmla="*/ 440120 h 4687251"/>
              <a:gd name="connsiteX36952" fmla="*/ 6994549 w 8079933"/>
              <a:gd name="connsiteY36952" fmla="*/ 436764 h 4687251"/>
              <a:gd name="connsiteX36953" fmla="*/ 6994006 w 8079933"/>
              <a:gd name="connsiteY36953" fmla="*/ 433191 h 4687251"/>
              <a:gd name="connsiteX36954" fmla="*/ 6995633 w 8079933"/>
              <a:gd name="connsiteY36954" fmla="*/ 431350 h 4687251"/>
              <a:gd name="connsiteX36955" fmla="*/ 6998890 w 8079933"/>
              <a:gd name="connsiteY36955" fmla="*/ 431350 h 4687251"/>
              <a:gd name="connsiteX36956" fmla="*/ 7003664 w 8079933"/>
              <a:gd name="connsiteY36956" fmla="*/ 435898 h 4687251"/>
              <a:gd name="connsiteX36957" fmla="*/ 7007679 w 8079933"/>
              <a:gd name="connsiteY36957" fmla="*/ 437197 h 4687251"/>
              <a:gd name="connsiteX36958" fmla="*/ 7014624 w 8079933"/>
              <a:gd name="connsiteY36958" fmla="*/ 435790 h 4687251"/>
              <a:gd name="connsiteX36959" fmla="*/ 7021026 w 8079933"/>
              <a:gd name="connsiteY36959" fmla="*/ 430810 h 4687251"/>
              <a:gd name="connsiteX36960" fmla="*/ 7024499 w 8079933"/>
              <a:gd name="connsiteY36960" fmla="*/ 432000 h 4687251"/>
              <a:gd name="connsiteX36961" fmla="*/ 7033072 w 8079933"/>
              <a:gd name="connsiteY36961" fmla="*/ 428860 h 4687251"/>
              <a:gd name="connsiteX36962" fmla="*/ 7043055 w 8079933"/>
              <a:gd name="connsiteY36962" fmla="*/ 429618 h 4687251"/>
              <a:gd name="connsiteX36963" fmla="*/ 7047504 w 8079933"/>
              <a:gd name="connsiteY36963" fmla="*/ 426695 h 4687251"/>
              <a:gd name="connsiteX36964" fmla="*/ 7049783 w 8079933"/>
              <a:gd name="connsiteY36964" fmla="*/ 426695 h 4687251"/>
              <a:gd name="connsiteX36965" fmla="*/ 7050434 w 8079933"/>
              <a:gd name="connsiteY36965" fmla="*/ 429618 h 4687251"/>
              <a:gd name="connsiteX36966" fmla="*/ 7053473 w 8079933"/>
              <a:gd name="connsiteY36966" fmla="*/ 432758 h 4687251"/>
              <a:gd name="connsiteX36967" fmla="*/ 7055535 w 8079933"/>
              <a:gd name="connsiteY36967" fmla="*/ 427669 h 4687251"/>
              <a:gd name="connsiteX36968" fmla="*/ 7061069 w 8079933"/>
              <a:gd name="connsiteY36968" fmla="*/ 419982 h 4687251"/>
              <a:gd name="connsiteX36969" fmla="*/ 7060201 w 8079933"/>
              <a:gd name="connsiteY36969" fmla="*/ 416517 h 4687251"/>
              <a:gd name="connsiteX36970" fmla="*/ 7060201 w 8079933"/>
              <a:gd name="connsiteY36970" fmla="*/ 410130 h 4687251"/>
              <a:gd name="connsiteX36971" fmla="*/ 7060201 w 8079933"/>
              <a:gd name="connsiteY36971" fmla="*/ 404824 h 4687251"/>
              <a:gd name="connsiteX36972" fmla="*/ 7062696 w 8079933"/>
              <a:gd name="connsiteY36972" fmla="*/ 402550 h 4687251"/>
              <a:gd name="connsiteX36973" fmla="*/ 7070293 w 8079933"/>
              <a:gd name="connsiteY36973" fmla="*/ 404392 h 4687251"/>
              <a:gd name="connsiteX36974" fmla="*/ 7072789 w 8079933"/>
              <a:gd name="connsiteY36974" fmla="*/ 409804 h 4687251"/>
              <a:gd name="connsiteX36975" fmla="*/ 7073874 w 8079933"/>
              <a:gd name="connsiteY36975" fmla="*/ 412728 h 4687251"/>
              <a:gd name="connsiteX36976" fmla="*/ 7080060 w 8079933"/>
              <a:gd name="connsiteY36976" fmla="*/ 413486 h 4687251"/>
              <a:gd name="connsiteX36977" fmla="*/ 7084400 w 8079933"/>
              <a:gd name="connsiteY36977" fmla="*/ 416951 h 4687251"/>
              <a:gd name="connsiteX36978" fmla="*/ 7084400 w 8079933"/>
              <a:gd name="connsiteY36978" fmla="*/ 422689 h 4687251"/>
              <a:gd name="connsiteX36979" fmla="*/ 7091237 w 8079933"/>
              <a:gd name="connsiteY36979" fmla="*/ 430268 h 4687251"/>
              <a:gd name="connsiteX36980" fmla="*/ 7094709 w 8079933"/>
              <a:gd name="connsiteY36980" fmla="*/ 432650 h 4687251"/>
              <a:gd name="connsiteX36981" fmla="*/ 7101980 w 8079933"/>
              <a:gd name="connsiteY36981" fmla="*/ 431567 h 4687251"/>
              <a:gd name="connsiteX36982" fmla="*/ 7112832 w 8079933"/>
              <a:gd name="connsiteY36982" fmla="*/ 434057 h 4687251"/>
              <a:gd name="connsiteX36983" fmla="*/ 7114460 w 8079933"/>
              <a:gd name="connsiteY36983" fmla="*/ 432650 h 4687251"/>
              <a:gd name="connsiteX36984" fmla="*/ 7117932 w 8079933"/>
              <a:gd name="connsiteY36984" fmla="*/ 432650 h 4687251"/>
              <a:gd name="connsiteX36985" fmla="*/ 7125853 w 8079933"/>
              <a:gd name="connsiteY36985" fmla="*/ 443477 h 4687251"/>
              <a:gd name="connsiteX36986" fmla="*/ 7125853 w 8079933"/>
              <a:gd name="connsiteY36986" fmla="*/ 448674 h 4687251"/>
              <a:gd name="connsiteX36987" fmla="*/ 7128892 w 8079933"/>
              <a:gd name="connsiteY36987" fmla="*/ 451597 h 4687251"/>
              <a:gd name="connsiteX36988" fmla="*/ 7136814 w 8079933"/>
              <a:gd name="connsiteY36988" fmla="*/ 452679 h 4687251"/>
              <a:gd name="connsiteX36989" fmla="*/ 7140612 w 8079933"/>
              <a:gd name="connsiteY36989" fmla="*/ 449973 h 4687251"/>
              <a:gd name="connsiteX36990" fmla="*/ 7146581 w 8079933"/>
              <a:gd name="connsiteY36990" fmla="*/ 449215 h 4687251"/>
              <a:gd name="connsiteX36991" fmla="*/ 7145821 w 8079933"/>
              <a:gd name="connsiteY36991" fmla="*/ 445426 h 4687251"/>
              <a:gd name="connsiteX36992" fmla="*/ 7151464 w 8079933"/>
              <a:gd name="connsiteY36992" fmla="*/ 441853 h 4687251"/>
              <a:gd name="connsiteX36993" fmla="*/ 7154719 w 8079933"/>
              <a:gd name="connsiteY36993" fmla="*/ 442935 h 4687251"/>
              <a:gd name="connsiteX36994" fmla="*/ 7156672 w 8079933"/>
              <a:gd name="connsiteY36994" fmla="*/ 440987 h 4687251"/>
              <a:gd name="connsiteX36995" fmla="*/ 7153417 w 8079933"/>
              <a:gd name="connsiteY36995" fmla="*/ 436439 h 4687251"/>
              <a:gd name="connsiteX36996" fmla="*/ 7155586 w 8079933"/>
              <a:gd name="connsiteY36996" fmla="*/ 434491 h 4687251"/>
              <a:gd name="connsiteX36997" fmla="*/ 7154177 w 8079933"/>
              <a:gd name="connsiteY36997" fmla="*/ 431567 h 4687251"/>
              <a:gd name="connsiteX36998" fmla="*/ 7154177 w 8079933"/>
              <a:gd name="connsiteY36998" fmla="*/ 428319 h 4687251"/>
              <a:gd name="connsiteX36999" fmla="*/ 7149510 w 8079933"/>
              <a:gd name="connsiteY36999" fmla="*/ 422364 h 4687251"/>
              <a:gd name="connsiteX37000" fmla="*/ 7142674 w 8079933"/>
              <a:gd name="connsiteY37000" fmla="*/ 419982 h 4687251"/>
              <a:gd name="connsiteX37001" fmla="*/ 7141046 w 8079933"/>
              <a:gd name="connsiteY37001" fmla="*/ 412403 h 4687251"/>
              <a:gd name="connsiteX37002" fmla="*/ 7132365 w 8079933"/>
              <a:gd name="connsiteY37002" fmla="*/ 403958 h 4687251"/>
              <a:gd name="connsiteX37003" fmla="*/ 7128892 w 8079933"/>
              <a:gd name="connsiteY37003" fmla="*/ 403092 h 4687251"/>
              <a:gd name="connsiteX37004" fmla="*/ 7126722 w 8079933"/>
              <a:gd name="connsiteY37004" fmla="*/ 399519 h 4687251"/>
              <a:gd name="connsiteX37005" fmla="*/ 7118258 w 8079933"/>
              <a:gd name="connsiteY37005" fmla="*/ 395512 h 4687251"/>
              <a:gd name="connsiteX37006" fmla="*/ 7113917 w 8079933"/>
              <a:gd name="connsiteY37006" fmla="*/ 399302 h 4687251"/>
              <a:gd name="connsiteX37007" fmla="*/ 7111204 w 8079933"/>
              <a:gd name="connsiteY37007" fmla="*/ 399302 h 4687251"/>
              <a:gd name="connsiteX37008" fmla="*/ 7111204 w 8079933"/>
              <a:gd name="connsiteY37008" fmla="*/ 393131 h 4687251"/>
              <a:gd name="connsiteX37009" fmla="*/ 7113157 w 8079933"/>
              <a:gd name="connsiteY37009" fmla="*/ 390208 h 4687251"/>
              <a:gd name="connsiteX37010" fmla="*/ 7109576 w 8079933"/>
              <a:gd name="connsiteY37010" fmla="*/ 382953 h 4687251"/>
              <a:gd name="connsiteX37011" fmla="*/ 7108165 w 8079933"/>
              <a:gd name="connsiteY37011" fmla="*/ 378081 h 4687251"/>
              <a:gd name="connsiteX37012" fmla="*/ 7105236 w 8079933"/>
              <a:gd name="connsiteY37012" fmla="*/ 375916 h 4687251"/>
              <a:gd name="connsiteX37013" fmla="*/ 7102197 w 8079933"/>
              <a:gd name="connsiteY37013" fmla="*/ 368120 h 4687251"/>
              <a:gd name="connsiteX37014" fmla="*/ 7095578 w 8079933"/>
              <a:gd name="connsiteY37014" fmla="*/ 363248 h 4687251"/>
              <a:gd name="connsiteX37015" fmla="*/ 7096662 w 8079933"/>
              <a:gd name="connsiteY37015" fmla="*/ 361949 h 4687251"/>
              <a:gd name="connsiteX37016" fmla="*/ 7107514 w 8079933"/>
              <a:gd name="connsiteY37016" fmla="*/ 360217 h 4687251"/>
              <a:gd name="connsiteX37017" fmla="*/ 7110662 w 8079933"/>
              <a:gd name="connsiteY37017" fmla="*/ 362165 h 4687251"/>
              <a:gd name="connsiteX37018" fmla="*/ 7123683 w 8079933"/>
              <a:gd name="connsiteY37018" fmla="*/ 360866 h 4687251"/>
              <a:gd name="connsiteX37019" fmla="*/ 7134535 w 8079933"/>
              <a:gd name="connsiteY37019" fmla="*/ 360866 h 4687251"/>
              <a:gd name="connsiteX37020" fmla="*/ 7134535 w 8079933"/>
              <a:gd name="connsiteY37020" fmla="*/ 357402 h 4687251"/>
              <a:gd name="connsiteX37021" fmla="*/ 7140178 w 8079933"/>
              <a:gd name="connsiteY37021" fmla="*/ 355453 h 4687251"/>
              <a:gd name="connsiteX37022" fmla="*/ 7146472 w 8079933"/>
              <a:gd name="connsiteY37022" fmla="*/ 359567 h 4687251"/>
              <a:gd name="connsiteX37023" fmla="*/ 7150487 w 8079933"/>
              <a:gd name="connsiteY37023" fmla="*/ 357727 h 4687251"/>
              <a:gd name="connsiteX37024" fmla="*/ 7153742 w 8079933"/>
              <a:gd name="connsiteY37024" fmla="*/ 357727 h 4687251"/>
              <a:gd name="connsiteX37025" fmla="*/ 7153742 w 8079933"/>
              <a:gd name="connsiteY37025" fmla="*/ 353179 h 4687251"/>
              <a:gd name="connsiteX37026" fmla="*/ 7160470 w 8079933"/>
              <a:gd name="connsiteY37026" fmla="*/ 352421 h 4687251"/>
              <a:gd name="connsiteX37027" fmla="*/ 7162316 w 8079933"/>
              <a:gd name="connsiteY37027" fmla="*/ 355669 h 4687251"/>
              <a:gd name="connsiteX37028" fmla="*/ 7164160 w 8079933"/>
              <a:gd name="connsiteY37028" fmla="*/ 355669 h 4687251"/>
              <a:gd name="connsiteX37029" fmla="*/ 7166655 w 8079933"/>
              <a:gd name="connsiteY37029" fmla="*/ 350256 h 4687251"/>
              <a:gd name="connsiteX37030" fmla="*/ 7171213 w 8079933"/>
              <a:gd name="connsiteY37030" fmla="*/ 351880 h 4687251"/>
              <a:gd name="connsiteX37031" fmla="*/ 7171213 w 8079933"/>
              <a:gd name="connsiteY37031" fmla="*/ 347224 h 4687251"/>
              <a:gd name="connsiteX37032" fmla="*/ 7190420 w 8079933"/>
              <a:gd name="connsiteY37032" fmla="*/ 342136 h 4687251"/>
              <a:gd name="connsiteX37033" fmla="*/ 7192809 w 8079933"/>
              <a:gd name="connsiteY37033" fmla="*/ 346682 h 4687251"/>
              <a:gd name="connsiteX37034" fmla="*/ 7193893 w 8079933"/>
              <a:gd name="connsiteY37034" fmla="*/ 342894 h 4687251"/>
              <a:gd name="connsiteX37035" fmla="*/ 7195955 w 8079933"/>
              <a:gd name="connsiteY37035" fmla="*/ 340511 h 4687251"/>
              <a:gd name="connsiteX37036" fmla="*/ 7197800 w 8079933"/>
              <a:gd name="connsiteY37036" fmla="*/ 341811 h 4687251"/>
              <a:gd name="connsiteX37037" fmla="*/ 7204528 w 8079933"/>
              <a:gd name="connsiteY37037" fmla="*/ 340945 h 4687251"/>
              <a:gd name="connsiteX37038" fmla="*/ 7207784 w 8079933"/>
              <a:gd name="connsiteY37038" fmla="*/ 340403 h 4687251"/>
              <a:gd name="connsiteX37039" fmla="*/ 7211906 w 8079933"/>
              <a:gd name="connsiteY37039" fmla="*/ 343976 h 4687251"/>
              <a:gd name="connsiteX37040" fmla="*/ 7220805 w 8079933"/>
              <a:gd name="connsiteY37040" fmla="*/ 343976 h 4687251"/>
              <a:gd name="connsiteX37041" fmla="*/ 7225364 w 8079933"/>
              <a:gd name="connsiteY37041" fmla="*/ 341919 h 4687251"/>
              <a:gd name="connsiteX37042" fmla="*/ 7227750 w 8079933"/>
              <a:gd name="connsiteY37042" fmla="*/ 344951 h 4687251"/>
              <a:gd name="connsiteX37043" fmla="*/ 7231223 w 8079933"/>
              <a:gd name="connsiteY37043" fmla="*/ 346250 h 4687251"/>
              <a:gd name="connsiteX37044" fmla="*/ 7233936 w 8079933"/>
              <a:gd name="connsiteY37044" fmla="*/ 343001 h 4687251"/>
              <a:gd name="connsiteX37045" fmla="*/ 7241749 w 8079933"/>
              <a:gd name="connsiteY37045" fmla="*/ 342136 h 4687251"/>
              <a:gd name="connsiteX37046" fmla="*/ 7256617 w 8079933"/>
              <a:gd name="connsiteY37046" fmla="*/ 346791 h 4687251"/>
              <a:gd name="connsiteX37047" fmla="*/ 7262042 w 8079933"/>
              <a:gd name="connsiteY37047" fmla="*/ 349282 h 4687251"/>
              <a:gd name="connsiteX37048" fmla="*/ 7265514 w 8079933"/>
              <a:gd name="connsiteY37048" fmla="*/ 348198 h 4687251"/>
              <a:gd name="connsiteX37049" fmla="*/ 7263887 w 8079933"/>
              <a:gd name="connsiteY37049" fmla="*/ 346791 h 4687251"/>
              <a:gd name="connsiteX37050" fmla="*/ 7268987 w 8079933"/>
              <a:gd name="connsiteY37050" fmla="*/ 345492 h 4687251"/>
              <a:gd name="connsiteX37051" fmla="*/ 7272785 w 8079933"/>
              <a:gd name="connsiteY37051" fmla="*/ 348198 h 4687251"/>
              <a:gd name="connsiteX37052" fmla="*/ 7270072 w 8079933"/>
              <a:gd name="connsiteY37052" fmla="*/ 350689 h 4687251"/>
              <a:gd name="connsiteX37053" fmla="*/ 7272459 w 8079933"/>
              <a:gd name="connsiteY37053" fmla="*/ 352313 h 4687251"/>
              <a:gd name="connsiteX37054" fmla="*/ 7279513 w 8079933"/>
              <a:gd name="connsiteY37054" fmla="*/ 350472 h 4687251"/>
              <a:gd name="connsiteX37055" fmla="*/ 7296007 w 8079933"/>
              <a:gd name="connsiteY37055" fmla="*/ 352313 h 4687251"/>
              <a:gd name="connsiteX37056" fmla="*/ 7309898 w 8079933"/>
              <a:gd name="connsiteY37056" fmla="*/ 361733 h 4687251"/>
              <a:gd name="connsiteX37057" fmla="*/ 7309138 w 8079933"/>
              <a:gd name="connsiteY37057" fmla="*/ 363898 h 4687251"/>
              <a:gd name="connsiteX37058" fmla="*/ 7304797 w 8079933"/>
              <a:gd name="connsiteY37058" fmla="*/ 361733 h 4687251"/>
              <a:gd name="connsiteX37059" fmla="*/ 7296442 w 8079933"/>
              <a:gd name="connsiteY37059" fmla="*/ 358701 h 4687251"/>
              <a:gd name="connsiteX37060" fmla="*/ 7295900 w 8079933"/>
              <a:gd name="connsiteY37060" fmla="*/ 360541 h 4687251"/>
              <a:gd name="connsiteX37061" fmla="*/ 7310223 w 8079933"/>
              <a:gd name="connsiteY37061" fmla="*/ 365630 h 4687251"/>
              <a:gd name="connsiteX37062" fmla="*/ 7317494 w 8079933"/>
              <a:gd name="connsiteY37062" fmla="*/ 365630 h 4687251"/>
              <a:gd name="connsiteX37063" fmla="*/ 7319122 w 8079933"/>
              <a:gd name="connsiteY37063" fmla="*/ 361841 h 4687251"/>
              <a:gd name="connsiteX37064" fmla="*/ 7325307 w 8079933"/>
              <a:gd name="connsiteY37064" fmla="*/ 361300 h 4687251"/>
              <a:gd name="connsiteX37065" fmla="*/ 7332144 w 8079933"/>
              <a:gd name="connsiteY37065" fmla="*/ 361300 h 4687251"/>
              <a:gd name="connsiteX37066" fmla="*/ 7330841 w 8079933"/>
              <a:gd name="connsiteY37066" fmla="*/ 357294 h 4687251"/>
              <a:gd name="connsiteX37067" fmla="*/ 7333771 w 8079933"/>
              <a:gd name="connsiteY37067" fmla="*/ 355886 h 4687251"/>
              <a:gd name="connsiteX37068" fmla="*/ 7338112 w 8079933"/>
              <a:gd name="connsiteY37068" fmla="*/ 359351 h 4687251"/>
              <a:gd name="connsiteX37069" fmla="*/ 7342670 w 8079933"/>
              <a:gd name="connsiteY37069" fmla="*/ 360758 h 4687251"/>
              <a:gd name="connsiteX37070" fmla="*/ 7345166 w 8079933"/>
              <a:gd name="connsiteY37070" fmla="*/ 362382 h 4687251"/>
              <a:gd name="connsiteX37071" fmla="*/ 7345166 w 8079933"/>
              <a:gd name="connsiteY37071" fmla="*/ 359892 h 4687251"/>
              <a:gd name="connsiteX37072" fmla="*/ 7345925 w 8079933"/>
              <a:gd name="connsiteY37072" fmla="*/ 358593 h 4687251"/>
              <a:gd name="connsiteX37073" fmla="*/ 7352979 w 8079933"/>
              <a:gd name="connsiteY37073" fmla="*/ 360433 h 4687251"/>
              <a:gd name="connsiteX37074" fmla="*/ 7352979 w 8079933"/>
              <a:gd name="connsiteY37074" fmla="*/ 363465 h 4687251"/>
              <a:gd name="connsiteX37075" fmla="*/ 7360792 w 8079933"/>
              <a:gd name="connsiteY37075" fmla="*/ 366172 h 4687251"/>
              <a:gd name="connsiteX37076" fmla="*/ 7366435 w 8079933"/>
              <a:gd name="connsiteY37076" fmla="*/ 364006 h 4687251"/>
              <a:gd name="connsiteX37077" fmla="*/ 7386836 w 8079933"/>
              <a:gd name="connsiteY37077" fmla="*/ 368012 h 4687251"/>
              <a:gd name="connsiteX37078" fmla="*/ 7384666 w 8079933"/>
              <a:gd name="connsiteY37078" fmla="*/ 364223 h 4687251"/>
              <a:gd name="connsiteX37079" fmla="*/ 7391502 w 8079933"/>
              <a:gd name="connsiteY37079" fmla="*/ 364223 h 4687251"/>
              <a:gd name="connsiteX37080" fmla="*/ 7393456 w 8079933"/>
              <a:gd name="connsiteY37080" fmla="*/ 368337 h 4687251"/>
              <a:gd name="connsiteX37081" fmla="*/ 7397471 w 8079933"/>
              <a:gd name="connsiteY37081" fmla="*/ 369636 h 4687251"/>
              <a:gd name="connsiteX37082" fmla="*/ 7396602 w 8079933"/>
              <a:gd name="connsiteY37082" fmla="*/ 365089 h 4687251"/>
              <a:gd name="connsiteX37083" fmla="*/ 7398447 w 8079933"/>
              <a:gd name="connsiteY37083" fmla="*/ 364331 h 4687251"/>
              <a:gd name="connsiteX37084" fmla="*/ 7406260 w 8079933"/>
              <a:gd name="connsiteY37084" fmla="*/ 365739 h 4687251"/>
              <a:gd name="connsiteX37085" fmla="*/ 7404850 w 8079933"/>
              <a:gd name="connsiteY37085" fmla="*/ 368120 h 4687251"/>
              <a:gd name="connsiteX37086" fmla="*/ 7408648 w 8079933"/>
              <a:gd name="connsiteY37086" fmla="*/ 372776 h 4687251"/>
              <a:gd name="connsiteX37087" fmla="*/ 7415375 w 8079933"/>
              <a:gd name="connsiteY37087" fmla="*/ 370935 h 4687251"/>
              <a:gd name="connsiteX37088" fmla="*/ 7415375 w 8079933"/>
              <a:gd name="connsiteY37088" fmla="*/ 368445 h 4687251"/>
              <a:gd name="connsiteX37089" fmla="*/ 7412880 w 8079933"/>
              <a:gd name="connsiteY37089" fmla="*/ 366821 h 4687251"/>
              <a:gd name="connsiteX37090" fmla="*/ 7420476 w 8079933"/>
              <a:gd name="connsiteY37090" fmla="*/ 366821 h 4687251"/>
              <a:gd name="connsiteX37091" fmla="*/ 7422863 w 8079933"/>
              <a:gd name="connsiteY37091" fmla="*/ 368445 h 4687251"/>
              <a:gd name="connsiteX37092" fmla="*/ 7421779 w 8079933"/>
              <a:gd name="connsiteY37092" fmla="*/ 371910 h 4687251"/>
              <a:gd name="connsiteX37093" fmla="*/ 7426119 w 8079933"/>
              <a:gd name="connsiteY37093" fmla="*/ 376241 h 4687251"/>
              <a:gd name="connsiteX37094" fmla="*/ 7434474 w 8079933"/>
              <a:gd name="connsiteY37094" fmla="*/ 379706 h 4687251"/>
              <a:gd name="connsiteX37095" fmla="*/ 7440986 w 8079933"/>
              <a:gd name="connsiteY37095" fmla="*/ 377215 h 4687251"/>
              <a:gd name="connsiteX37096" fmla="*/ 7431979 w 8079933"/>
              <a:gd name="connsiteY37096" fmla="*/ 373967 h 4687251"/>
              <a:gd name="connsiteX37097" fmla="*/ 7427855 w 8079933"/>
              <a:gd name="connsiteY37097" fmla="*/ 371586 h 4687251"/>
              <a:gd name="connsiteX37098" fmla="*/ 7426878 w 8079933"/>
              <a:gd name="connsiteY37098" fmla="*/ 368445 h 4687251"/>
              <a:gd name="connsiteX37099" fmla="*/ 7431762 w 8079933"/>
              <a:gd name="connsiteY37099" fmla="*/ 367362 h 4687251"/>
              <a:gd name="connsiteX37100" fmla="*/ 7437404 w 8079933"/>
              <a:gd name="connsiteY37100" fmla="*/ 368012 h 4687251"/>
              <a:gd name="connsiteX37101" fmla="*/ 7446846 w 8079933"/>
              <a:gd name="connsiteY37101" fmla="*/ 373209 h 4687251"/>
              <a:gd name="connsiteX37102" fmla="*/ 7449016 w 8079933"/>
              <a:gd name="connsiteY37102" fmla="*/ 378406 h 4687251"/>
              <a:gd name="connsiteX37103" fmla="*/ 7451078 w 8079933"/>
              <a:gd name="connsiteY37103" fmla="*/ 379814 h 4687251"/>
              <a:gd name="connsiteX37104" fmla="*/ 7452488 w 8079933"/>
              <a:gd name="connsiteY37104" fmla="*/ 375808 h 4687251"/>
              <a:gd name="connsiteX37105" fmla="*/ 7451187 w 8079933"/>
              <a:gd name="connsiteY37105" fmla="*/ 373967 h 4687251"/>
              <a:gd name="connsiteX37106" fmla="*/ 7455093 w 8079933"/>
              <a:gd name="connsiteY37106" fmla="*/ 374833 h 4687251"/>
              <a:gd name="connsiteX37107" fmla="*/ 7458132 w 8079933"/>
              <a:gd name="connsiteY37107" fmla="*/ 377649 h 4687251"/>
              <a:gd name="connsiteX37108" fmla="*/ 7457372 w 8079933"/>
              <a:gd name="connsiteY37108" fmla="*/ 379706 h 4687251"/>
              <a:gd name="connsiteX37109" fmla="*/ 7462255 w 8079933"/>
              <a:gd name="connsiteY37109" fmla="*/ 385227 h 4687251"/>
              <a:gd name="connsiteX37110" fmla="*/ 7469851 w 8079933"/>
              <a:gd name="connsiteY37110" fmla="*/ 398869 h 4687251"/>
              <a:gd name="connsiteX37111" fmla="*/ 7478099 w 8079933"/>
              <a:gd name="connsiteY37111" fmla="*/ 401576 h 4687251"/>
              <a:gd name="connsiteX37112" fmla="*/ 7479509 w 8079933"/>
              <a:gd name="connsiteY37112" fmla="*/ 406773 h 4687251"/>
              <a:gd name="connsiteX37113" fmla="*/ 7483850 w 8079933"/>
              <a:gd name="connsiteY37113" fmla="*/ 410563 h 4687251"/>
              <a:gd name="connsiteX37114" fmla="*/ 7486780 w 8079933"/>
              <a:gd name="connsiteY37114" fmla="*/ 415543 h 4687251"/>
              <a:gd name="connsiteX37115" fmla="*/ 7484610 w 8079933"/>
              <a:gd name="connsiteY37115" fmla="*/ 417925 h 4687251"/>
              <a:gd name="connsiteX37116" fmla="*/ 7486128 w 8079933"/>
              <a:gd name="connsiteY37116" fmla="*/ 423014 h 4687251"/>
              <a:gd name="connsiteX37117" fmla="*/ 7489818 w 8079933"/>
              <a:gd name="connsiteY37117" fmla="*/ 424530 h 4687251"/>
              <a:gd name="connsiteX37118" fmla="*/ 7494593 w 8079933"/>
              <a:gd name="connsiteY37118" fmla="*/ 420198 h 4687251"/>
              <a:gd name="connsiteX37119" fmla="*/ 7500779 w 8079933"/>
              <a:gd name="connsiteY37119" fmla="*/ 421065 h 4687251"/>
              <a:gd name="connsiteX37120" fmla="*/ 7504685 w 8079933"/>
              <a:gd name="connsiteY37120" fmla="*/ 427777 h 4687251"/>
              <a:gd name="connsiteX37121" fmla="*/ 7508809 w 8079933"/>
              <a:gd name="connsiteY37121" fmla="*/ 428860 h 4687251"/>
              <a:gd name="connsiteX37122" fmla="*/ 7509676 w 8079933"/>
              <a:gd name="connsiteY37122" fmla="*/ 427344 h 4687251"/>
              <a:gd name="connsiteX37123" fmla="*/ 7507507 w 8079933"/>
              <a:gd name="connsiteY37123" fmla="*/ 425828 h 4687251"/>
              <a:gd name="connsiteX37124" fmla="*/ 7506096 w 8079933"/>
              <a:gd name="connsiteY37124" fmla="*/ 421389 h 4687251"/>
              <a:gd name="connsiteX37125" fmla="*/ 7508809 w 8079933"/>
              <a:gd name="connsiteY37125" fmla="*/ 417383 h 4687251"/>
              <a:gd name="connsiteX37126" fmla="*/ 7511739 w 8079933"/>
              <a:gd name="connsiteY37126" fmla="*/ 418683 h 4687251"/>
              <a:gd name="connsiteX37127" fmla="*/ 7514452 w 8079933"/>
              <a:gd name="connsiteY37127" fmla="*/ 424746 h 4687251"/>
              <a:gd name="connsiteX37128" fmla="*/ 7518792 w 8079933"/>
              <a:gd name="connsiteY37128" fmla="*/ 429293 h 4687251"/>
              <a:gd name="connsiteX37129" fmla="*/ 7518792 w 8079933"/>
              <a:gd name="connsiteY37129" fmla="*/ 427236 h 4687251"/>
              <a:gd name="connsiteX37130" fmla="*/ 7515646 w 8079933"/>
              <a:gd name="connsiteY37130" fmla="*/ 419549 h 4687251"/>
              <a:gd name="connsiteX37131" fmla="*/ 7515646 w 8079933"/>
              <a:gd name="connsiteY37131" fmla="*/ 415326 h 4687251"/>
              <a:gd name="connsiteX37132" fmla="*/ 7512173 w 8079933"/>
              <a:gd name="connsiteY37132" fmla="*/ 411320 h 4687251"/>
              <a:gd name="connsiteX37133" fmla="*/ 7506096 w 8079933"/>
              <a:gd name="connsiteY37133" fmla="*/ 414569 h 4687251"/>
              <a:gd name="connsiteX37134" fmla="*/ 7499802 w 8079933"/>
              <a:gd name="connsiteY37134" fmla="*/ 415759 h 4687251"/>
              <a:gd name="connsiteX37135" fmla="*/ 7498825 w 8079933"/>
              <a:gd name="connsiteY37135" fmla="*/ 411861 h 4687251"/>
              <a:gd name="connsiteX37136" fmla="*/ 7502081 w 8079933"/>
              <a:gd name="connsiteY37136" fmla="*/ 408181 h 4687251"/>
              <a:gd name="connsiteX37137" fmla="*/ 7500670 w 8079933"/>
              <a:gd name="connsiteY37137" fmla="*/ 402659 h 4687251"/>
              <a:gd name="connsiteX37138" fmla="*/ 7492097 w 8079933"/>
              <a:gd name="connsiteY37138" fmla="*/ 396596 h 4687251"/>
              <a:gd name="connsiteX37139" fmla="*/ 7487540 w 8079933"/>
              <a:gd name="connsiteY37139" fmla="*/ 392590 h 4687251"/>
              <a:gd name="connsiteX37140" fmla="*/ 7485369 w 8079933"/>
              <a:gd name="connsiteY37140" fmla="*/ 387718 h 4687251"/>
              <a:gd name="connsiteX37141" fmla="*/ 7482331 w 8079933"/>
              <a:gd name="connsiteY37141" fmla="*/ 387718 h 4687251"/>
              <a:gd name="connsiteX37142" fmla="*/ 7476146 w 8079933"/>
              <a:gd name="connsiteY37142" fmla="*/ 392698 h 4687251"/>
              <a:gd name="connsiteX37143" fmla="*/ 7475277 w 8079933"/>
              <a:gd name="connsiteY37143" fmla="*/ 390208 h 4687251"/>
              <a:gd name="connsiteX37144" fmla="*/ 7480161 w 8079933"/>
              <a:gd name="connsiteY37144" fmla="*/ 386202 h 4687251"/>
              <a:gd name="connsiteX37145" fmla="*/ 7483633 w 8079933"/>
              <a:gd name="connsiteY37145" fmla="*/ 379164 h 4687251"/>
              <a:gd name="connsiteX37146" fmla="*/ 7489818 w 8079933"/>
              <a:gd name="connsiteY37146" fmla="*/ 370394 h 4687251"/>
              <a:gd name="connsiteX37147" fmla="*/ 7492966 w 8079933"/>
              <a:gd name="connsiteY37147" fmla="*/ 369636 h 4687251"/>
              <a:gd name="connsiteX37148" fmla="*/ 7492314 w 8079933"/>
              <a:gd name="connsiteY37148" fmla="*/ 372343 h 4687251"/>
              <a:gd name="connsiteX37149" fmla="*/ 7496004 w 8079933"/>
              <a:gd name="connsiteY37149" fmla="*/ 381221 h 4687251"/>
              <a:gd name="connsiteX37150" fmla="*/ 7500887 w 8079933"/>
              <a:gd name="connsiteY37150" fmla="*/ 382520 h 4687251"/>
              <a:gd name="connsiteX37151" fmla="*/ 7502189 w 8079933"/>
              <a:gd name="connsiteY37151" fmla="*/ 380572 h 4687251"/>
              <a:gd name="connsiteX37152" fmla="*/ 7497849 w 8079933"/>
              <a:gd name="connsiteY37152" fmla="*/ 376998 h 4687251"/>
              <a:gd name="connsiteX37153" fmla="*/ 7496221 w 8079933"/>
              <a:gd name="connsiteY37153" fmla="*/ 372776 h 4687251"/>
              <a:gd name="connsiteX37154" fmla="*/ 7498608 w 8079933"/>
              <a:gd name="connsiteY37154" fmla="*/ 372776 h 4687251"/>
              <a:gd name="connsiteX37155" fmla="*/ 7504142 w 8079933"/>
              <a:gd name="connsiteY37155" fmla="*/ 369312 h 4687251"/>
              <a:gd name="connsiteX37156" fmla="*/ 7505878 w 8079933"/>
              <a:gd name="connsiteY37156" fmla="*/ 365847 h 4687251"/>
              <a:gd name="connsiteX37157" fmla="*/ 7499911 w 8079933"/>
              <a:gd name="connsiteY37157" fmla="*/ 365847 h 4687251"/>
              <a:gd name="connsiteX37158" fmla="*/ 7502406 w 8079933"/>
              <a:gd name="connsiteY37158" fmla="*/ 363790 h 4687251"/>
              <a:gd name="connsiteX37159" fmla="*/ 7504685 w 8079933"/>
              <a:gd name="connsiteY37159" fmla="*/ 362490 h 4687251"/>
              <a:gd name="connsiteX37160" fmla="*/ 7509351 w 8079933"/>
              <a:gd name="connsiteY37160" fmla="*/ 361408 h 4687251"/>
              <a:gd name="connsiteX37161" fmla="*/ 7513475 w 8079933"/>
              <a:gd name="connsiteY37161" fmla="*/ 354586 h 4687251"/>
              <a:gd name="connsiteX37162" fmla="*/ 7517599 w 8079933"/>
              <a:gd name="connsiteY37162" fmla="*/ 354586 h 4687251"/>
              <a:gd name="connsiteX37163" fmla="*/ 7519444 w 8079933"/>
              <a:gd name="connsiteY37163" fmla="*/ 357402 h 4687251"/>
              <a:gd name="connsiteX37164" fmla="*/ 7521830 w 8079933"/>
              <a:gd name="connsiteY37164" fmla="*/ 356535 h 4687251"/>
              <a:gd name="connsiteX37165" fmla="*/ 7526063 w 8079933"/>
              <a:gd name="connsiteY37165" fmla="*/ 357619 h 4687251"/>
              <a:gd name="connsiteX37166" fmla="*/ 7526714 w 8079933"/>
              <a:gd name="connsiteY37166" fmla="*/ 359892 h 4687251"/>
              <a:gd name="connsiteX37167" fmla="*/ 7530838 w 8079933"/>
              <a:gd name="connsiteY37167" fmla="*/ 363898 h 4687251"/>
              <a:gd name="connsiteX37168" fmla="*/ 7537782 w 8079933"/>
              <a:gd name="connsiteY37168" fmla="*/ 365197 h 4687251"/>
              <a:gd name="connsiteX37169" fmla="*/ 7541038 w 8079933"/>
              <a:gd name="connsiteY37169" fmla="*/ 363465 h 4687251"/>
              <a:gd name="connsiteX37170" fmla="*/ 7555796 w 8079933"/>
              <a:gd name="connsiteY37170" fmla="*/ 366063 h 4687251"/>
              <a:gd name="connsiteX37171" fmla="*/ 7554711 w 8079933"/>
              <a:gd name="connsiteY37171" fmla="*/ 371152 h 4687251"/>
              <a:gd name="connsiteX37172" fmla="*/ 7556014 w 8079933"/>
              <a:gd name="connsiteY37172" fmla="*/ 373426 h 4687251"/>
              <a:gd name="connsiteX37173" fmla="*/ 7558944 w 8079933"/>
              <a:gd name="connsiteY37173" fmla="*/ 372235 h 4687251"/>
              <a:gd name="connsiteX37174" fmla="*/ 7558944 w 8079933"/>
              <a:gd name="connsiteY37174" fmla="*/ 368770 h 4687251"/>
              <a:gd name="connsiteX37175" fmla="*/ 7563176 w 8079933"/>
              <a:gd name="connsiteY37175" fmla="*/ 368770 h 4687251"/>
              <a:gd name="connsiteX37176" fmla="*/ 7563176 w 8079933"/>
              <a:gd name="connsiteY37176" fmla="*/ 374833 h 4687251"/>
              <a:gd name="connsiteX37177" fmla="*/ 7567191 w 8079933"/>
              <a:gd name="connsiteY37177" fmla="*/ 371910 h 4687251"/>
              <a:gd name="connsiteX37178" fmla="*/ 7571748 w 8079933"/>
              <a:gd name="connsiteY37178" fmla="*/ 366713 h 4687251"/>
              <a:gd name="connsiteX37179" fmla="*/ 7576306 w 8079933"/>
              <a:gd name="connsiteY37179" fmla="*/ 368337 h 4687251"/>
              <a:gd name="connsiteX37180" fmla="*/ 7576306 w 8079933"/>
              <a:gd name="connsiteY37180" fmla="*/ 371802 h 4687251"/>
              <a:gd name="connsiteX37181" fmla="*/ 7573702 w 8079933"/>
              <a:gd name="connsiteY37181" fmla="*/ 375374 h 4687251"/>
              <a:gd name="connsiteX37182" fmla="*/ 7573268 w 8079933"/>
              <a:gd name="connsiteY37182" fmla="*/ 377540 h 4687251"/>
              <a:gd name="connsiteX37183" fmla="*/ 7577283 w 8079933"/>
              <a:gd name="connsiteY37183" fmla="*/ 390316 h 4687251"/>
              <a:gd name="connsiteX37184" fmla="*/ 7575546 w 8079933"/>
              <a:gd name="connsiteY37184" fmla="*/ 396487 h 4687251"/>
              <a:gd name="connsiteX37185" fmla="*/ 7576089 w 8079933"/>
              <a:gd name="connsiteY37185" fmla="*/ 399302 h 4687251"/>
              <a:gd name="connsiteX37186" fmla="*/ 7580539 w 8079933"/>
              <a:gd name="connsiteY37186" fmla="*/ 398220 h 4687251"/>
              <a:gd name="connsiteX37187" fmla="*/ 7583469 w 8079933"/>
              <a:gd name="connsiteY37187" fmla="*/ 403200 h 4687251"/>
              <a:gd name="connsiteX37188" fmla="*/ 7588678 w 8079933"/>
              <a:gd name="connsiteY37188" fmla="*/ 405582 h 4687251"/>
              <a:gd name="connsiteX37189" fmla="*/ 7590522 w 8079933"/>
              <a:gd name="connsiteY37189" fmla="*/ 410563 h 4687251"/>
              <a:gd name="connsiteX37190" fmla="*/ 7587918 w 8079933"/>
              <a:gd name="connsiteY37190" fmla="*/ 413486 h 4687251"/>
              <a:gd name="connsiteX37191" fmla="*/ 7580321 w 8079933"/>
              <a:gd name="connsiteY37191" fmla="*/ 413486 h 4687251"/>
              <a:gd name="connsiteX37192" fmla="*/ 7572291 w 8079933"/>
              <a:gd name="connsiteY37192" fmla="*/ 414893 h 4687251"/>
              <a:gd name="connsiteX37193" fmla="*/ 7583143 w 8079933"/>
              <a:gd name="connsiteY37193" fmla="*/ 417275 h 4687251"/>
              <a:gd name="connsiteX37194" fmla="*/ 7586073 w 8079933"/>
              <a:gd name="connsiteY37194" fmla="*/ 421498 h 4687251"/>
              <a:gd name="connsiteX37195" fmla="*/ 7584879 w 8079933"/>
              <a:gd name="connsiteY37195" fmla="*/ 425504 h 4687251"/>
              <a:gd name="connsiteX37196" fmla="*/ 7579454 w 8079933"/>
              <a:gd name="connsiteY37196" fmla="*/ 426803 h 4687251"/>
              <a:gd name="connsiteX37197" fmla="*/ 7574895 w 8079933"/>
              <a:gd name="connsiteY37197" fmla="*/ 434815 h 4687251"/>
              <a:gd name="connsiteX37198" fmla="*/ 7573268 w 8079933"/>
              <a:gd name="connsiteY37198" fmla="*/ 432216 h 4687251"/>
              <a:gd name="connsiteX37199" fmla="*/ 7567516 w 8079933"/>
              <a:gd name="connsiteY37199" fmla="*/ 436872 h 4687251"/>
              <a:gd name="connsiteX37200" fmla="*/ 7561114 w 8079933"/>
              <a:gd name="connsiteY37200" fmla="*/ 436872 h 4687251"/>
              <a:gd name="connsiteX37201" fmla="*/ 7556122 w 8079933"/>
              <a:gd name="connsiteY37201" fmla="*/ 441420 h 4687251"/>
              <a:gd name="connsiteX37202" fmla="*/ 7562850 w 8079933"/>
              <a:gd name="connsiteY37202" fmla="*/ 440337 h 4687251"/>
              <a:gd name="connsiteX37203" fmla="*/ 7566540 w 8079933"/>
              <a:gd name="connsiteY37203" fmla="*/ 441528 h 4687251"/>
              <a:gd name="connsiteX37204" fmla="*/ 7569036 w 8079933"/>
              <a:gd name="connsiteY37204" fmla="*/ 445209 h 4687251"/>
              <a:gd name="connsiteX37205" fmla="*/ 7572725 w 8079933"/>
              <a:gd name="connsiteY37205" fmla="*/ 441420 h 4687251"/>
              <a:gd name="connsiteX37206" fmla="*/ 7575004 w 8079933"/>
              <a:gd name="connsiteY37206" fmla="*/ 441420 h 4687251"/>
              <a:gd name="connsiteX37207" fmla="*/ 7575004 w 8079933"/>
              <a:gd name="connsiteY37207" fmla="*/ 445534 h 4687251"/>
              <a:gd name="connsiteX37208" fmla="*/ 7579561 w 8079933"/>
              <a:gd name="connsiteY37208" fmla="*/ 451597 h 4687251"/>
              <a:gd name="connsiteX37209" fmla="*/ 7575546 w 8079933"/>
              <a:gd name="connsiteY37209" fmla="*/ 454087 h 4687251"/>
              <a:gd name="connsiteX37210" fmla="*/ 7574462 w 8079933"/>
              <a:gd name="connsiteY37210" fmla="*/ 461558 h 4687251"/>
              <a:gd name="connsiteX37211" fmla="*/ 7580104 w 8079933"/>
              <a:gd name="connsiteY37211" fmla="*/ 455711 h 4687251"/>
              <a:gd name="connsiteX37212" fmla="*/ 7586073 w 8079933"/>
              <a:gd name="connsiteY37212" fmla="*/ 455062 h 4687251"/>
              <a:gd name="connsiteX37213" fmla="*/ 7592475 w 8079933"/>
              <a:gd name="connsiteY37213" fmla="*/ 460475 h 4687251"/>
              <a:gd name="connsiteX37214" fmla="*/ 7591715 w 8079933"/>
              <a:gd name="connsiteY37214" fmla="*/ 463940 h 4687251"/>
              <a:gd name="connsiteX37215" fmla="*/ 7595296 w 8079933"/>
              <a:gd name="connsiteY37215" fmla="*/ 470111 h 4687251"/>
              <a:gd name="connsiteX37216" fmla="*/ 7589654 w 8079933"/>
              <a:gd name="connsiteY37216" fmla="*/ 474117 h 4687251"/>
              <a:gd name="connsiteX37217" fmla="*/ 7592584 w 8079933"/>
              <a:gd name="connsiteY37217" fmla="*/ 475525 h 4687251"/>
              <a:gd name="connsiteX37218" fmla="*/ 7593886 w 8079933"/>
              <a:gd name="connsiteY37218" fmla="*/ 482779 h 4687251"/>
              <a:gd name="connsiteX37219" fmla="*/ 7588678 w 8079933"/>
              <a:gd name="connsiteY37219" fmla="*/ 485160 h 4687251"/>
              <a:gd name="connsiteX37220" fmla="*/ 7588678 w 8079933"/>
              <a:gd name="connsiteY37220" fmla="*/ 488626 h 4687251"/>
              <a:gd name="connsiteX37221" fmla="*/ 7590630 w 8079933"/>
              <a:gd name="connsiteY37221" fmla="*/ 491658 h 4687251"/>
              <a:gd name="connsiteX37222" fmla="*/ 7590630 w 8079933"/>
              <a:gd name="connsiteY37222" fmla="*/ 487868 h 4687251"/>
              <a:gd name="connsiteX37223" fmla="*/ 7594754 w 8079933"/>
              <a:gd name="connsiteY37223" fmla="*/ 486785 h 4687251"/>
              <a:gd name="connsiteX37224" fmla="*/ 7597684 w 8079933"/>
              <a:gd name="connsiteY37224" fmla="*/ 490033 h 4687251"/>
              <a:gd name="connsiteX37225" fmla="*/ 7596816 w 8079933"/>
              <a:gd name="connsiteY37225" fmla="*/ 496205 h 4687251"/>
              <a:gd name="connsiteX37226" fmla="*/ 7602242 w 8079933"/>
              <a:gd name="connsiteY37226" fmla="*/ 494905 h 4687251"/>
              <a:gd name="connsiteX37227" fmla="*/ 7603978 w 8079933"/>
              <a:gd name="connsiteY37227" fmla="*/ 498370 h 4687251"/>
              <a:gd name="connsiteX37228" fmla="*/ 7603978 w 8079933"/>
              <a:gd name="connsiteY37228" fmla="*/ 494364 h 4687251"/>
              <a:gd name="connsiteX37229" fmla="*/ 7606908 w 8079933"/>
              <a:gd name="connsiteY37229" fmla="*/ 491874 h 4687251"/>
              <a:gd name="connsiteX37230" fmla="*/ 7610380 w 8079933"/>
              <a:gd name="connsiteY37230" fmla="*/ 493715 h 4687251"/>
              <a:gd name="connsiteX37231" fmla="*/ 7615264 w 8079933"/>
              <a:gd name="connsiteY37231" fmla="*/ 494472 h 4687251"/>
              <a:gd name="connsiteX37232" fmla="*/ 7615264 w 8079933"/>
              <a:gd name="connsiteY37232" fmla="*/ 500968 h 4687251"/>
              <a:gd name="connsiteX37233" fmla="*/ 7611683 w 8079933"/>
              <a:gd name="connsiteY37233" fmla="*/ 502593 h 4687251"/>
              <a:gd name="connsiteX37234" fmla="*/ 7607342 w 8079933"/>
              <a:gd name="connsiteY37234" fmla="*/ 499886 h 4687251"/>
              <a:gd name="connsiteX37235" fmla="*/ 7604303 w 8079933"/>
              <a:gd name="connsiteY37235" fmla="*/ 504000 h 4687251"/>
              <a:gd name="connsiteX37236" fmla="*/ 7609729 w 8079933"/>
              <a:gd name="connsiteY37236" fmla="*/ 507248 h 4687251"/>
              <a:gd name="connsiteX37237" fmla="*/ 7613744 w 8079933"/>
              <a:gd name="connsiteY37237" fmla="*/ 506491 h 4687251"/>
              <a:gd name="connsiteX37238" fmla="*/ 7617109 w 8079933"/>
              <a:gd name="connsiteY37238" fmla="*/ 512878 h 4687251"/>
              <a:gd name="connsiteX37239" fmla="*/ 7617109 w 8079933"/>
              <a:gd name="connsiteY37239" fmla="*/ 516126 h 4687251"/>
              <a:gd name="connsiteX37240" fmla="*/ 7607885 w 8079933"/>
              <a:gd name="connsiteY37240" fmla="*/ 521215 h 4687251"/>
              <a:gd name="connsiteX37241" fmla="*/ 7602676 w 8079933"/>
              <a:gd name="connsiteY37241" fmla="*/ 513419 h 4687251"/>
              <a:gd name="connsiteX37242" fmla="*/ 7601048 w 8079933"/>
              <a:gd name="connsiteY37242" fmla="*/ 512337 h 4687251"/>
              <a:gd name="connsiteX37243" fmla="*/ 7603544 w 8079933"/>
              <a:gd name="connsiteY37243" fmla="*/ 521215 h 4687251"/>
              <a:gd name="connsiteX37244" fmla="*/ 7599963 w 8079933"/>
              <a:gd name="connsiteY37244" fmla="*/ 524680 h 4687251"/>
              <a:gd name="connsiteX37245" fmla="*/ 7597576 w 8079933"/>
              <a:gd name="connsiteY37245" fmla="*/ 524680 h 4687251"/>
              <a:gd name="connsiteX37246" fmla="*/ 7596274 w 8079933"/>
              <a:gd name="connsiteY37246" fmla="*/ 522731 h 4687251"/>
              <a:gd name="connsiteX37247" fmla="*/ 7592475 w 8079933"/>
              <a:gd name="connsiteY37247" fmla="*/ 522731 h 4687251"/>
              <a:gd name="connsiteX37248" fmla="*/ 7589437 w 8079933"/>
              <a:gd name="connsiteY37248" fmla="*/ 520782 h 4687251"/>
              <a:gd name="connsiteX37249" fmla="*/ 7578585 w 8079933"/>
              <a:gd name="connsiteY37249" fmla="*/ 519916 h 4687251"/>
              <a:gd name="connsiteX37250" fmla="*/ 7574462 w 8079933"/>
              <a:gd name="connsiteY37250" fmla="*/ 522298 h 4687251"/>
              <a:gd name="connsiteX37251" fmla="*/ 7569795 w 8079933"/>
              <a:gd name="connsiteY37251" fmla="*/ 522298 h 4687251"/>
              <a:gd name="connsiteX37252" fmla="*/ 7571098 w 8079933"/>
              <a:gd name="connsiteY37252" fmla="*/ 518833 h 4687251"/>
              <a:gd name="connsiteX37253" fmla="*/ 7569253 w 8079933"/>
              <a:gd name="connsiteY37253" fmla="*/ 515585 h 4687251"/>
              <a:gd name="connsiteX37254" fmla="*/ 7565672 w 8079933"/>
              <a:gd name="connsiteY37254" fmla="*/ 514935 h 4687251"/>
              <a:gd name="connsiteX37255" fmla="*/ 7566756 w 8079933"/>
              <a:gd name="connsiteY37255" fmla="*/ 521107 h 4687251"/>
              <a:gd name="connsiteX37256" fmla="*/ 7563827 w 8079933"/>
              <a:gd name="connsiteY37256" fmla="*/ 521107 h 4687251"/>
              <a:gd name="connsiteX37257" fmla="*/ 7562959 w 8079933"/>
              <a:gd name="connsiteY37257" fmla="*/ 522514 h 4687251"/>
              <a:gd name="connsiteX37258" fmla="*/ 7565237 w 8079933"/>
              <a:gd name="connsiteY37258" fmla="*/ 526412 h 4687251"/>
              <a:gd name="connsiteX37259" fmla="*/ 7561440 w 8079933"/>
              <a:gd name="connsiteY37259" fmla="*/ 530959 h 4687251"/>
              <a:gd name="connsiteX37260" fmla="*/ 7560028 w 8079933"/>
              <a:gd name="connsiteY37260" fmla="*/ 530959 h 4687251"/>
              <a:gd name="connsiteX37261" fmla="*/ 7560028 w 8079933"/>
              <a:gd name="connsiteY37261" fmla="*/ 528577 h 4687251"/>
              <a:gd name="connsiteX37262" fmla="*/ 7558184 w 8079933"/>
              <a:gd name="connsiteY37262" fmla="*/ 527278 h 4687251"/>
              <a:gd name="connsiteX37263" fmla="*/ 7548200 w 8079933"/>
              <a:gd name="connsiteY37263" fmla="*/ 529768 h 4687251"/>
              <a:gd name="connsiteX37264" fmla="*/ 7545596 w 8079933"/>
              <a:gd name="connsiteY37264" fmla="*/ 528361 h 4687251"/>
              <a:gd name="connsiteX37265" fmla="*/ 7545596 w 8079933"/>
              <a:gd name="connsiteY37265" fmla="*/ 525654 h 4687251"/>
              <a:gd name="connsiteX37266" fmla="*/ 7543642 w 8079933"/>
              <a:gd name="connsiteY37266" fmla="*/ 519591 h 4687251"/>
              <a:gd name="connsiteX37267" fmla="*/ 7541907 w 8079933"/>
              <a:gd name="connsiteY37267" fmla="*/ 518400 h 4687251"/>
              <a:gd name="connsiteX37268" fmla="*/ 7530404 w 8079933"/>
              <a:gd name="connsiteY37268" fmla="*/ 509955 h 4687251"/>
              <a:gd name="connsiteX37269" fmla="*/ 7528993 w 8079933"/>
              <a:gd name="connsiteY37269" fmla="*/ 508115 h 4687251"/>
              <a:gd name="connsiteX37270" fmla="*/ 7530186 w 8079933"/>
              <a:gd name="connsiteY37270" fmla="*/ 506382 h 4687251"/>
              <a:gd name="connsiteX37271" fmla="*/ 7522048 w 8079933"/>
              <a:gd name="connsiteY37271" fmla="*/ 503675 h 4687251"/>
              <a:gd name="connsiteX37272" fmla="*/ 7520962 w 8079933"/>
              <a:gd name="connsiteY37272" fmla="*/ 508656 h 4687251"/>
              <a:gd name="connsiteX37273" fmla="*/ 7512824 w 8079933"/>
              <a:gd name="connsiteY37273" fmla="*/ 510821 h 4687251"/>
              <a:gd name="connsiteX37274" fmla="*/ 7508700 w 8079933"/>
              <a:gd name="connsiteY37274" fmla="*/ 514935 h 4687251"/>
              <a:gd name="connsiteX37275" fmla="*/ 7505878 w 8079933"/>
              <a:gd name="connsiteY37275" fmla="*/ 514935 h 4687251"/>
              <a:gd name="connsiteX37276" fmla="*/ 7505878 w 8079933"/>
              <a:gd name="connsiteY37276" fmla="*/ 508872 h 4687251"/>
              <a:gd name="connsiteX37277" fmla="*/ 7503384 w 8079933"/>
              <a:gd name="connsiteY37277" fmla="*/ 504217 h 4687251"/>
              <a:gd name="connsiteX37278" fmla="*/ 7504685 w 8079933"/>
              <a:gd name="connsiteY37278" fmla="*/ 508764 h 4687251"/>
              <a:gd name="connsiteX37279" fmla="*/ 7503708 w 8079933"/>
              <a:gd name="connsiteY37279" fmla="*/ 518292 h 4687251"/>
              <a:gd name="connsiteX37280" fmla="*/ 7505770 w 8079933"/>
              <a:gd name="connsiteY37280" fmla="*/ 523597 h 4687251"/>
              <a:gd name="connsiteX37281" fmla="*/ 7504034 w 8079933"/>
              <a:gd name="connsiteY37281" fmla="*/ 529227 h 4687251"/>
              <a:gd name="connsiteX37282" fmla="*/ 7495244 w 8079933"/>
              <a:gd name="connsiteY37282" fmla="*/ 541570 h 4687251"/>
              <a:gd name="connsiteX37283" fmla="*/ 7490795 w 8079933"/>
              <a:gd name="connsiteY37283" fmla="*/ 541570 h 4687251"/>
              <a:gd name="connsiteX37284" fmla="*/ 7490795 w 8079933"/>
              <a:gd name="connsiteY37284" fmla="*/ 533017 h 4687251"/>
              <a:gd name="connsiteX37285" fmla="*/ 7485695 w 8079933"/>
              <a:gd name="connsiteY37285" fmla="*/ 531068 h 4687251"/>
              <a:gd name="connsiteX37286" fmla="*/ 7481354 w 8079933"/>
              <a:gd name="connsiteY37286" fmla="*/ 533666 h 4687251"/>
              <a:gd name="connsiteX37287" fmla="*/ 7469634 w 8079933"/>
              <a:gd name="connsiteY37287" fmla="*/ 524788 h 4687251"/>
              <a:gd name="connsiteX37288" fmla="*/ 7470394 w 8079933"/>
              <a:gd name="connsiteY37288" fmla="*/ 520998 h 4687251"/>
              <a:gd name="connsiteX37289" fmla="*/ 7468658 w 8079933"/>
              <a:gd name="connsiteY37289" fmla="*/ 509521 h 4687251"/>
              <a:gd name="connsiteX37290" fmla="*/ 7464208 w 8079933"/>
              <a:gd name="connsiteY37290" fmla="*/ 507898 h 4687251"/>
              <a:gd name="connsiteX37291" fmla="*/ 7462581 w 8079933"/>
              <a:gd name="connsiteY37291" fmla="*/ 504649 h 4687251"/>
              <a:gd name="connsiteX37292" fmla="*/ 7459976 w 8079933"/>
              <a:gd name="connsiteY37292" fmla="*/ 501727 h 4687251"/>
              <a:gd name="connsiteX37293" fmla="*/ 7457589 w 8079933"/>
              <a:gd name="connsiteY37293" fmla="*/ 504109 h 4687251"/>
              <a:gd name="connsiteX37294" fmla="*/ 7459217 w 8079933"/>
              <a:gd name="connsiteY37294" fmla="*/ 507790 h 4687251"/>
              <a:gd name="connsiteX37295" fmla="*/ 7459217 w 8079933"/>
              <a:gd name="connsiteY37295" fmla="*/ 511796 h 4687251"/>
              <a:gd name="connsiteX37296" fmla="*/ 7462146 w 8079933"/>
              <a:gd name="connsiteY37296" fmla="*/ 515152 h 4687251"/>
              <a:gd name="connsiteX37297" fmla="*/ 7460844 w 8079933"/>
              <a:gd name="connsiteY37297" fmla="*/ 518508 h 4687251"/>
              <a:gd name="connsiteX37298" fmla="*/ 7453356 w 8079933"/>
              <a:gd name="connsiteY37298" fmla="*/ 514286 h 4687251"/>
              <a:gd name="connsiteX37299" fmla="*/ 7448039 w 8079933"/>
              <a:gd name="connsiteY37299" fmla="*/ 507790 h 4687251"/>
              <a:gd name="connsiteX37300" fmla="*/ 7447063 w 8079933"/>
              <a:gd name="connsiteY37300" fmla="*/ 508331 h 4687251"/>
              <a:gd name="connsiteX37301" fmla="*/ 7449776 w 8079933"/>
              <a:gd name="connsiteY37301" fmla="*/ 514502 h 4687251"/>
              <a:gd name="connsiteX37302" fmla="*/ 7446737 w 8079933"/>
              <a:gd name="connsiteY37302" fmla="*/ 516884 h 4687251"/>
              <a:gd name="connsiteX37303" fmla="*/ 7448908 w 8079933"/>
              <a:gd name="connsiteY37303" fmla="*/ 518725 h 4687251"/>
              <a:gd name="connsiteX37304" fmla="*/ 7454551 w 8079933"/>
              <a:gd name="connsiteY37304" fmla="*/ 518725 h 4687251"/>
              <a:gd name="connsiteX37305" fmla="*/ 7457697 w 8079933"/>
              <a:gd name="connsiteY37305" fmla="*/ 522514 h 4687251"/>
              <a:gd name="connsiteX37306" fmla="*/ 7455853 w 8079933"/>
              <a:gd name="connsiteY37306" fmla="*/ 527603 h 4687251"/>
              <a:gd name="connsiteX37307" fmla="*/ 7448799 w 8079933"/>
              <a:gd name="connsiteY37307" fmla="*/ 527603 h 4687251"/>
              <a:gd name="connsiteX37308" fmla="*/ 7448039 w 8079933"/>
              <a:gd name="connsiteY37308" fmla="*/ 530635 h 4687251"/>
              <a:gd name="connsiteX37309" fmla="*/ 7451187 w 8079933"/>
              <a:gd name="connsiteY37309" fmla="*/ 532259 h 4687251"/>
              <a:gd name="connsiteX37310" fmla="*/ 7464425 w 8079933"/>
              <a:gd name="connsiteY37310" fmla="*/ 547958 h 4687251"/>
              <a:gd name="connsiteX37311" fmla="*/ 7474084 w 8079933"/>
              <a:gd name="connsiteY37311" fmla="*/ 550556 h 4687251"/>
              <a:gd name="connsiteX37312" fmla="*/ 7479618 w 8079933"/>
              <a:gd name="connsiteY37312" fmla="*/ 548282 h 4687251"/>
              <a:gd name="connsiteX37313" fmla="*/ 7485695 w 8079933"/>
              <a:gd name="connsiteY37313" fmla="*/ 551314 h 4687251"/>
              <a:gd name="connsiteX37314" fmla="*/ 7487431 w 8079933"/>
              <a:gd name="connsiteY37314" fmla="*/ 558027 h 4687251"/>
              <a:gd name="connsiteX37315" fmla="*/ 7486454 w 8079933"/>
              <a:gd name="connsiteY37315" fmla="*/ 558027 h 4687251"/>
              <a:gd name="connsiteX37316" fmla="*/ 7482114 w 8079933"/>
              <a:gd name="connsiteY37316" fmla="*/ 552288 h 4687251"/>
              <a:gd name="connsiteX37317" fmla="*/ 7479835 w 8079933"/>
              <a:gd name="connsiteY37317" fmla="*/ 552288 h 4687251"/>
              <a:gd name="connsiteX37318" fmla="*/ 7482874 w 8079933"/>
              <a:gd name="connsiteY37318" fmla="*/ 559435 h 4687251"/>
              <a:gd name="connsiteX37319" fmla="*/ 7489710 w 8079933"/>
              <a:gd name="connsiteY37319" fmla="*/ 564631 h 4687251"/>
              <a:gd name="connsiteX37320" fmla="*/ 7491554 w 8079933"/>
              <a:gd name="connsiteY37320" fmla="*/ 570586 h 4687251"/>
              <a:gd name="connsiteX37321" fmla="*/ 7496004 w 8079933"/>
              <a:gd name="connsiteY37321" fmla="*/ 575892 h 4687251"/>
              <a:gd name="connsiteX37322" fmla="*/ 7496004 w 8079933"/>
              <a:gd name="connsiteY37322" fmla="*/ 586069 h 4687251"/>
              <a:gd name="connsiteX37323" fmla="*/ 7492097 w 8079933"/>
              <a:gd name="connsiteY37323" fmla="*/ 601768 h 4687251"/>
              <a:gd name="connsiteX37324" fmla="*/ 7494485 w 8079933"/>
              <a:gd name="connsiteY37324" fmla="*/ 610971 h 4687251"/>
              <a:gd name="connsiteX37325" fmla="*/ 7494485 w 8079933"/>
              <a:gd name="connsiteY37325" fmla="*/ 617467 h 4687251"/>
              <a:gd name="connsiteX37326" fmla="*/ 7495896 w 8079933"/>
              <a:gd name="connsiteY37326" fmla="*/ 620716 h 4687251"/>
              <a:gd name="connsiteX37327" fmla="*/ 7490144 w 8079933"/>
              <a:gd name="connsiteY37327" fmla="*/ 629594 h 4687251"/>
              <a:gd name="connsiteX37328" fmla="*/ 7490144 w 8079933"/>
              <a:gd name="connsiteY37328" fmla="*/ 635332 h 4687251"/>
              <a:gd name="connsiteX37329" fmla="*/ 7486020 w 8079933"/>
              <a:gd name="connsiteY37329" fmla="*/ 638364 h 4687251"/>
              <a:gd name="connsiteX37330" fmla="*/ 7487322 w 8079933"/>
              <a:gd name="connsiteY37330" fmla="*/ 633925 h 4687251"/>
              <a:gd name="connsiteX37331" fmla="*/ 7486020 w 8079933"/>
              <a:gd name="connsiteY37331" fmla="*/ 632084 h 4687251"/>
              <a:gd name="connsiteX37332" fmla="*/ 7475169 w 8079933"/>
              <a:gd name="connsiteY37332" fmla="*/ 640421 h 4687251"/>
              <a:gd name="connsiteX37333" fmla="*/ 7472456 w 8079933"/>
              <a:gd name="connsiteY37333" fmla="*/ 637173 h 4687251"/>
              <a:gd name="connsiteX37334" fmla="*/ 7467356 w 8079933"/>
              <a:gd name="connsiteY37334" fmla="*/ 640746 h 4687251"/>
              <a:gd name="connsiteX37335" fmla="*/ 7463774 w 8079933"/>
              <a:gd name="connsiteY37335" fmla="*/ 639880 h 4687251"/>
              <a:gd name="connsiteX37336" fmla="*/ 7461170 w 8079933"/>
              <a:gd name="connsiteY37336" fmla="*/ 635332 h 4687251"/>
              <a:gd name="connsiteX37337" fmla="*/ 7456070 w 8079933"/>
              <a:gd name="connsiteY37337" fmla="*/ 635332 h 4687251"/>
              <a:gd name="connsiteX37338" fmla="*/ 7449234 w 8079933"/>
              <a:gd name="connsiteY37338" fmla="*/ 628078 h 4687251"/>
              <a:gd name="connsiteX37339" fmla="*/ 7443699 w 8079933"/>
              <a:gd name="connsiteY37339" fmla="*/ 624181 h 4687251"/>
              <a:gd name="connsiteX37340" fmla="*/ 7437514 w 8079933"/>
              <a:gd name="connsiteY37340" fmla="*/ 623422 h 4687251"/>
              <a:gd name="connsiteX37341" fmla="*/ 7433607 w 8079933"/>
              <a:gd name="connsiteY37341" fmla="*/ 620824 h 4687251"/>
              <a:gd name="connsiteX37342" fmla="*/ 7429483 w 8079933"/>
              <a:gd name="connsiteY37342" fmla="*/ 621907 h 4687251"/>
              <a:gd name="connsiteX37343" fmla="*/ 7425142 w 8079933"/>
              <a:gd name="connsiteY37343" fmla="*/ 627645 h 4687251"/>
              <a:gd name="connsiteX37344" fmla="*/ 7419934 w 8079933"/>
              <a:gd name="connsiteY37344" fmla="*/ 627645 h 4687251"/>
              <a:gd name="connsiteX37345" fmla="*/ 7425251 w 8079933"/>
              <a:gd name="connsiteY37345" fmla="*/ 630027 h 4687251"/>
              <a:gd name="connsiteX37346" fmla="*/ 7431979 w 8079933"/>
              <a:gd name="connsiteY37346" fmla="*/ 630027 h 4687251"/>
              <a:gd name="connsiteX37347" fmla="*/ 7435126 w 8079933"/>
              <a:gd name="connsiteY37347" fmla="*/ 625155 h 4687251"/>
              <a:gd name="connsiteX37348" fmla="*/ 7447822 w 8079933"/>
              <a:gd name="connsiteY37348" fmla="*/ 630460 h 4687251"/>
              <a:gd name="connsiteX37349" fmla="*/ 7450210 w 8079933"/>
              <a:gd name="connsiteY37349" fmla="*/ 634791 h 4687251"/>
              <a:gd name="connsiteX37350" fmla="*/ 7443916 w 8079933"/>
              <a:gd name="connsiteY37350" fmla="*/ 639122 h 4687251"/>
              <a:gd name="connsiteX37351" fmla="*/ 7439792 w 8079933"/>
              <a:gd name="connsiteY37351" fmla="*/ 636415 h 4687251"/>
              <a:gd name="connsiteX37352" fmla="*/ 7434366 w 8079933"/>
              <a:gd name="connsiteY37352" fmla="*/ 636415 h 4687251"/>
              <a:gd name="connsiteX37353" fmla="*/ 7434366 w 8079933"/>
              <a:gd name="connsiteY37353" fmla="*/ 641287 h 4687251"/>
              <a:gd name="connsiteX37354" fmla="*/ 7429808 w 8079933"/>
              <a:gd name="connsiteY37354" fmla="*/ 636090 h 4687251"/>
              <a:gd name="connsiteX37355" fmla="*/ 7425468 w 8079933"/>
              <a:gd name="connsiteY37355" fmla="*/ 636632 h 4687251"/>
              <a:gd name="connsiteX37356" fmla="*/ 7427638 w 8079933"/>
              <a:gd name="connsiteY37356" fmla="*/ 636632 h 4687251"/>
              <a:gd name="connsiteX37357" fmla="*/ 7430026 w 8079933"/>
              <a:gd name="connsiteY37357" fmla="*/ 642911 h 4687251"/>
              <a:gd name="connsiteX37358" fmla="*/ 7437296 w 8079933"/>
              <a:gd name="connsiteY37358" fmla="*/ 646701 h 4687251"/>
              <a:gd name="connsiteX37359" fmla="*/ 7435452 w 8079933"/>
              <a:gd name="connsiteY37359" fmla="*/ 653521 h 4687251"/>
              <a:gd name="connsiteX37360" fmla="*/ 7438382 w 8079933"/>
              <a:gd name="connsiteY37360" fmla="*/ 661858 h 4687251"/>
              <a:gd name="connsiteX37361" fmla="*/ 7442939 w 8079933"/>
              <a:gd name="connsiteY37361" fmla="*/ 664240 h 4687251"/>
              <a:gd name="connsiteX37362" fmla="*/ 7440226 w 8079933"/>
              <a:gd name="connsiteY37362" fmla="*/ 661533 h 4687251"/>
              <a:gd name="connsiteX37363" fmla="*/ 7440226 w 8079933"/>
              <a:gd name="connsiteY37363" fmla="*/ 651572 h 4687251"/>
              <a:gd name="connsiteX37364" fmla="*/ 7443482 w 8079933"/>
              <a:gd name="connsiteY37364" fmla="*/ 649624 h 4687251"/>
              <a:gd name="connsiteX37365" fmla="*/ 7447605 w 8079933"/>
              <a:gd name="connsiteY37365" fmla="*/ 650707 h 4687251"/>
              <a:gd name="connsiteX37366" fmla="*/ 7447605 w 8079933"/>
              <a:gd name="connsiteY37366" fmla="*/ 647999 h 4687251"/>
              <a:gd name="connsiteX37367" fmla="*/ 7454984 w 8079933"/>
              <a:gd name="connsiteY37367" fmla="*/ 641287 h 4687251"/>
              <a:gd name="connsiteX37368" fmla="*/ 7459000 w 8079933"/>
              <a:gd name="connsiteY37368" fmla="*/ 640205 h 4687251"/>
              <a:gd name="connsiteX37369" fmla="*/ 7462038 w 8079933"/>
              <a:gd name="connsiteY37369" fmla="*/ 642695 h 4687251"/>
              <a:gd name="connsiteX37370" fmla="*/ 7462038 w 8079933"/>
              <a:gd name="connsiteY37370" fmla="*/ 645726 h 4687251"/>
              <a:gd name="connsiteX37371" fmla="*/ 7468007 w 8079933"/>
              <a:gd name="connsiteY37371" fmla="*/ 654929 h 4687251"/>
              <a:gd name="connsiteX37372" fmla="*/ 7473975 w 8079933"/>
              <a:gd name="connsiteY37372" fmla="*/ 656553 h 4687251"/>
              <a:gd name="connsiteX37373" fmla="*/ 7479726 w 8079933"/>
              <a:gd name="connsiteY37373" fmla="*/ 662184 h 4687251"/>
              <a:gd name="connsiteX37374" fmla="*/ 7486454 w 8079933"/>
              <a:gd name="connsiteY37374" fmla="*/ 661209 h 4687251"/>
              <a:gd name="connsiteX37375" fmla="*/ 7488408 w 8079933"/>
              <a:gd name="connsiteY37375" fmla="*/ 657203 h 4687251"/>
              <a:gd name="connsiteX37376" fmla="*/ 7487106 w 8079933"/>
              <a:gd name="connsiteY37376" fmla="*/ 653738 h 4687251"/>
              <a:gd name="connsiteX37377" fmla="*/ 7489276 w 8079933"/>
              <a:gd name="connsiteY37377" fmla="*/ 653738 h 4687251"/>
              <a:gd name="connsiteX37378" fmla="*/ 7501755 w 8079933"/>
              <a:gd name="connsiteY37378" fmla="*/ 663807 h 4687251"/>
              <a:gd name="connsiteX37379" fmla="*/ 7503926 w 8079933"/>
              <a:gd name="connsiteY37379" fmla="*/ 667813 h 4687251"/>
              <a:gd name="connsiteX37380" fmla="*/ 7499259 w 8079933"/>
              <a:gd name="connsiteY37380" fmla="*/ 667055 h 4687251"/>
              <a:gd name="connsiteX37381" fmla="*/ 7499259 w 8079933"/>
              <a:gd name="connsiteY37381" fmla="*/ 671603 h 4687251"/>
              <a:gd name="connsiteX37382" fmla="*/ 7507940 w 8079933"/>
              <a:gd name="connsiteY37382" fmla="*/ 680048 h 4687251"/>
              <a:gd name="connsiteX37383" fmla="*/ 7511196 w 8079933"/>
              <a:gd name="connsiteY37383" fmla="*/ 680048 h 4687251"/>
              <a:gd name="connsiteX37384" fmla="*/ 7511196 w 8079933"/>
              <a:gd name="connsiteY37384" fmla="*/ 678099 h 4687251"/>
              <a:gd name="connsiteX37385" fmla="*/ 7511196 w 8079933"/>
              <a:gd name="connsiteY37385" fmla="*/ 671061 h 4687251"/>
              <a:gd name="connsiteX37386" fmla="*/ 7518032 w 8079933"/>
              <a:gd name="connsiteY37386" fmla="*/ 676258 h 4687251"/>
              <a:gd name="connsiteX37387" fmla="*/ 7527582 w 8079933"/>
              <a:gd name="connsiteY37387" fmla="*/ 691200 h 4687251"/>
              <a:gd name="connsiteX37388" fmla="*/ 7524001 w 8079933"/>
              <a:gd name="connsiteY37388" fmla="*/ 687951 h 4687251"/>
              <a:gd name="connsiteX37389" fmla="*/ 7520962 w 8079933"/>
              <a:gd name="connsiteY37389" fmla="*/ 687951 h 4687251"/>
              <a:gd name="connsiteX37390" fmla="*/ 7519877 w 8079933"/>
              <a:gd name="connsiteY37390" fmla="*/ 689576 h 4687251"/>
              <a:gd name="connsiteX37391" fmla="*/ 7523567 w 8079933"/>
              <a:gd name="connsiteY37391" fmla="*/ 694448 h 4687251"/>
              <a:gd name="connsiteX37392" fmla="*/ 7518684 w 8079933"/>
              <a:gd name="connsiteY37392" fmla="*/ 697912 h 4687251"/>
              <a:gd name="connsiteX37393" fmla="*/ 7518684 w 8079933"/>
              <a:gd name="connsiteY37393" fmla="*/ 703110 h 4687251"/>
              <a:gd name="connsiteX37394" fmla="*/ 7520421 w 8079933"/>
              <a:gd name="connsiteY37394" fmla="*/ 706141 h 4687251"/>
              <a:gd name="connsiteX37395" fmla="*/ 7525303 w 8079933"/>
              <a:gd name="connsiteY37395" fmla="*/ 704517 h 4687251"/>
              <a:gd name="connsiteX37396" fmla="*/ 7526171 w 8079933"/>
              <a:gd name="connsiteY37396" fmla="*/ 699104 h 4687251"/>
              <a:gd name="connsiteX37397" fmla="*/ 7528016 w 8079933"/>
              <a:gd name="connsiteY37397" fmla="*/ 697696 h 4687251"/>
              <a:gd name="connsiteX37398" fmla="*/ 7531489 w 8079933"/>
              <a:gd name="connsiteY37398" fmla="*/ 699104 h 4687251"/>
              <a:gd name="connsiteX37399" fmla="*/ 7532791 w 8079933"/>
              <a:gd name="connsiteY37399" fmla="*/ 694556 h 4687251"/>
              <a:gd name="connsiteX37400" fmla="*/ 7536806 w 8079933"/>
              <a:gd name="connsiteY37400" fmla="*/ 701594 h 4687251"/>
              <a:gd name="connsiteX37401" fmla="*/ 7547658 w 8079933"/>
              <a:gd name="connsiteY37401" fmla="*/ 708631 h 4687251"/>
              <a:gd name="connsiteX37402" fmla="*/ 7558510 w 8079933"/>
              <a:gd name="connsiteY37402" fmla="*/ 711121 h 4687251"/>
              <a:gd name="connsiteX37403" fmla="*/ 7564803 w 8079933"/>
              <a:gd name="connsiteY37403" fmla="*/ 716751 h 4687251"/>
              <a:gd name="connsiteX37404" fmla="*/ 7561440 w 8079933"/>
              <a:gd name="connsiteY37404" fmla="*/ 720324 h 4687251"/>
              <a:gd name="connsiteX37405" fmla="*/ 7567625 w 8079933"/>
              <a:gd name="connsiteY37405" fmla="*/ 728986 h 4687251"/>
              <a:gd name="connsiteX37406" fmla="*/ 7572834 w 8079933"/>
              <a:gd name="connsiteY37406" fmla="*/ 730285 h 4687251"/>
              <a:gd name="connsiteX37407" fmla="*/ 7579128 w 8079933"/>
              <a:gd name="connsiteY37407" fmla="*/ 740030 h 4687251"/>
              <a:gd name="connsiteX37408" fmla="*/ 7579128 w 8079933"/>
              <a:gd name="connsiteY37408" fmla="*/ 754322 h 4687251"/>
              <a:gd name="connsiteX37409" fmla="*/ 7575872 w 8079933"/>
              <a:gd name="connsiteY37409" fmla="*/ 755404 h 4687251"/>
              <a:gd name="connsiteX37410" fmla="*/ 7575872 w 8079933"/>
              <a:gd name="connsiteY37410" fmla="*/ 757786 h 4687251"/>
              <a:gd name="connsiteX37411" fmla="*/ 7580647 w 8079933"/>
              <a:gd name="connsiteY37411" fmla="*/ 760709 h 4687251"/>
              <a:gd name="connsiteX37412" fmla="*/ 7583143 w 8079933"/>
              <a:gd name="connsiteY37412" fmla="*/ 766881 h 4687251"/>
              <a:gd name="connsiteX37413" fmla="*/ 7580756 w 8079933"/>
              <a:gd name="connsiteY37413" fmla="*/ 767747 h 4687251"/>
              <a:gd name="connsiteX37414" fmla="*/ 7577717 w 8079933"/>
              <a:gd name="connsiteY37414" fmla="*/ 765040 h 4687251"/>
              <a:gd name="connsiteX37415" fmla="*/ 7560137 w 8079933"/>
              <a:gd name="connsiteY37415" fmla="*/ 765040 h 4687251"/>
              <a:gd name="connsiteX37416" fmla="*/ 7554928 w 8079933"/>
              <a:gd name="connsiteY37416" fmla="*/ 761792 h 4687251"/>
              <a:gd name="connsiteX37417" fmla="*/ 7551456 w 8079933"/>
              <a:gd name="connsiteY37417" fmla="*/ 763957 h 4687251"/>
              <a:gd name="connsiteX37418" fmla="*/ 7547115 w 8079933"/>
              <a:gd name="connsiteY37418" fmla="*/ 762550 h 4687251"/>
              <a:gd name="connsiteX37419" fmla="*/ 7546246 w 8079933"/>
              <a:gd name="connsiteY37419" fmla="*/ 758436 h 4687251"/>
              <a:gd name="connsiteX37420" fmla="*/ 7543534 w 8079933"/>
              <a:gd name="connsiteY37420" fmla="*/ 756812 h 4687251"/>
              <a:gd name="connsiteX37421" fmla="*/ 7542231 w 8079933"/>
              <a:gd name="connsiteY37421" fmla="*/ 758761 h 4687251"/>
              <a:gd name="connsiteX37422" fmla="*/ 7544402 w 8079933"/>
              <a:gd name="connsiteY37422" fmla="*/ 762334 h 4687251"/>
              <a:gd name="connsiteX37423" fmla="*/ 7536806 w 8079933"/>
              <a:gd name="connsiteY37423" fmla="*/ 766989 h 4687251"/>
              <a:gd name="connsiteX37424" fmla="*/ 7530838 w 8079933"/>
              <a:gd name="connsiteY37424" fmla="*/ 766989 h 4687251"/>
              <a:gd name="connsiteX37425" fmla="*/ 7528993 w 8079933"/>
              <a:gd name="connsiteY37425" fmla="*/ 768938 h 4687251"/>
              <a:gd name="connsiteX37426" fmla="*/ 7532466 w 8079933"/>
              <a:gd name="connsiteY37426" fmla="*/ 771103 h 4687251"/>
              <a:gd name="connsiteX37427" fmla="*/ 7524327 w 8079933"/>
              <a:gd name="connsiteY37427" fmla="*/ 778466 h 4687251"/>
              <a:gd name="connsiteX37428" fmla="*/ 7519986 w 8079933"/>
              <a:gd name="connsiteY37428" fmla="*/ 778466 h 4687251"/>
              <a:gd name="connsiteX37429" fmla="*/ 7519986 w 8079933"/>
              <a:gd name="connsiteY37429" fmla="*/ 782797 h 4687251"/>
              <a:gd name="connsiteX37430" fmla="*/ 7523024 w 8079933"/>
              <a:gd name="connsiteY37430" fmla="*/ 783879 h 4687251"/>
              <a:gd name="connsiteX37431" fmla="*/ 7515754 w 8079933"/>
              <a:gd name="connsiteY37431" fmla="*/ 793082 h 4687251"/>
              <a:gd name="connsiteX37432" fmla="*/ 7513041 w 8079933"/>
              <a:gd name="connsiteY37432" fmla="*/ 795789 h 4687251"/>
              <a:gd name="connsiteX37433" fmla="*/ 7512282 w 8079933"/>
              <a:gd name="connsiteY37433" fmla="*/ 794490 h 4687251"/>
              <a:gd name="connsiteX37434" fmla="*/ 7508266 w 8079933"/>
              <a:gd name="connsiteY37434" fmla="*/ 794490 h 4687251"/>
              <a:gd name="connsiteX37435" fmla="*/ 7508266 w 8079933"/>
              <a:gd name="connsiteY37435" fmla="*/ 801311 h 4687251"/>
              <a:gd name="connsiteX37436" fmla="*/ 7511305 w 8079933"/>
              <a:gd name="connsiteY37436" fmla="*/ 808132 h 4687251"/>
              <a:gd name="connsiteX37437" fmla="*/ 7506421 w 8079933"/>
              <a:gd name="connsiteY37437" fmla="*/ 812787 h 4687251"/>
              <a:gd name="connsiteX37438" fmla="*/ 7503708 w 8079933"/>
              <a:gd name="connsiteY37438" fmla="*/ 809864 h 4687251"/>
              <a:gd name="connsiteX37439" fmla="*/ 7502840 w 8079933"/>
              <a:gd name="connsiteY37439" fmla="*/ 814736 h 4687251"/>
              <a:gd name="connsiteX37440" fmla="*/ 7505010 w 8079933"/>
              <a:gd name="connsiteY37440" fmla="*/ 818201 h 4687251"/>
              <a:gd name="connsiteX37441" fmla="*/ 7499585 w 8079933"/>
              <a:gd name="connsiteY37441" fmla="*/ 823831 h 4687251"/>
              <a:gd name="connsiteX37442" fmla="*/ 7495570 w 8079933"/>
              <a:gd name="connsiteY37442" fmla="*/ 824914 h 4687251"/>
              <a:gd name="connsiteX37443" fmla="*/ 7498066 w 8079933"/>
              <a:gd name="connsiteY37443" fmla="*/ 827296 h 4687251"/>
              <a:gd name="connsiteX37444" fmla="*/ 7496763 w 8079933"/>
              <a:gd name="connsiteY37444" fmla="*/ 829786 h 4687251"/>
              <a:gd name="connsiteX37445" fmla="*/ 7494919 w 8079933"/>
              <a:gd name="connsiteY37445" fmla="*/ 833900 h 4687251"/>
              <a:gd name="connsiteX37446" fmla="*/ 7491989 w 8079933"/>
              <a:gd name="connsiteY37446" fmla="*/ 832493 h 4687251"/>
              <a:gd name="connsiteX37447" fmla="*/ 7488408 w 8079933"/>
              <a:gd name="connsiteY37447" fmla="*/ 834333 h 4687251"/>
              <a:gd name="connsiteX37448" fmla="*/ 7491337 w 8079933"/>
              <a:gd name="connsiteY37448" fmla="*/ 837798 h 4687251"/>
              <a:gd name="connsiteX37449" fmla="*/ 7491337 w 8079933"/>
              <a:gd name="connsiteY37449" fmla="*/ 841588 h 4687251"/>
              <a:gd name="connsiteX37450" fmla="*/ 7486454 w 8079933"/>
              <a:gd name="connsiteY37450" fmla="*/ 845377 h 4687251"/>
              <a:gd name="connsiteX37451" fmla="*/ 7488842 w 8079933"/>
              <a:gd name="connsiteY37451" fmla="*/ 848842 h 4687251"/>
              <a:gd name="connsiteX37452" fmla="*/ 7487757 w 8079933"/>
              <a:gd name="connsiteY37452" fmla="*/ 852631 h 4687251"/>
              <a:gd name="connsiteX37453" fmla="*/ 7484502 w 8079933"/>
              <a:gd name="connsiteY37453" fmla="*/ 853389 h 4687251"/>
              <a:gd name="connsiteX37454" fmla="*/ 7482005 w 8079933"/>
              <a:gd name="connsiteY37454" fmla="*/ 850899 h 4687251"/>
              <a:gd name="connsiteX37455" fmla="*/ 7478967 w 8079933"/>
              <a:gd name="connsiteY37455" fmla="*/ 851982 h 4687251"/>
              <a:gd name="connsiteX37456" fmla="*/ 7481462 w 8079933"/>
              <a:gd name="connsiteY37456" fmla="*/ 855771 h 4687251"/>
              <a:gd name="connsiteX37457" fmla="*/ 7488517 w 8079933"/>
              <a:gd name="connsiteY37457" fmla="*/ 859019 h 4687251"/>
              <a:gd name="connsiteX37458" fmla="*/ 7486128 w 8079933"/>
              <a:gd name="connsiteY37458" fmla="*/ 864216 h 4687251"/>
              <a:gd name="connsiteX37459" fmla="*/ 7479401 w 8079933"/>
              <a:gd name="connsiteY37459" fmla="*/ 864216 h 4687251"/>
              <a:gd name="connsiteX37460" fmla="*/ 7479401 w 8079933"/>
              <a:gd name="connsiteY37460" fmla="*/ 866706 h 4687251"/>
              <a:gd name="connsiteX37461" fmla="*/ 7482656 w 8079933"/>
              <a:gd name="connsiteY37461" fmla="*/ 868547 h 4687251"/>
              <a:gd name="connsiteX37462" fmla="*/ 7486128 w 8079933"/>
              <a:gd name="connsiteY37462" fmla="*/ 876343 h 4687251"/>
              <a:gd name="connsiteX37463" fmla="*/ 7483198 w 8079933"/>
              <a:gd name="connsiteY37463" fmla="*/ 878724 h 4687251"/>
              <a:gd name="connsiteX37464" fmla="*/ 7485044 w 8079933"/>
              <a:gd name="connsiteY37464" fmla="*/ 881973 h 4687251"/>
              <a:gd name="connsiteX37465" fmla="*/ 7479943 w 8079933"/>
              <a:gd name="connsiteY37465" fmla="*/ 889227 h 4687251"/>
              <a:gd name="connsiteX37466" fmla="*/ 7481245 w 8079933"/>
              <a:gd name="connsiteY37466" fmla="*/ 893016 h 4687251"/>
              <a:gd name="connsiteX37467" fmla="*/ 7477990 w 8079933"/>
              <a:gd name="connsiteY37467" fmla="*/ 901353 h 4687251"/>
              <a:gd name="connsiteX37468" fmla="*/ 7476146 w 8079933"/>
              <a:gd name="connsiteY37468" fmla="*/ 912180 h 4687251"/>
              <a:gd name="connsiteX37469" fmla="*/ 7473433 w 8079933"/>
              <a:gd name="connsiteY37469" fmla="*/ 916294 h 4687251"/>
              <a:gd name="connsiteX37470" fmla="*/ 7473433 w 8079933"/>
              <a:gd name="connsiteY37470" fmla="*/ 920625 h 4687251"/>
              <a:gd name="connsiteX37471" fmla="*/ 7476470 w 8079933"/>
              <a:gd name="connsiteY37471" fmla="*/ 921708 h 4687251"/>
              <a:gd name="connsiteX37472" fmla="*/ 7477882 w 8079933"/>
              <a:gd name="connsiteY37472" fmla="*/ 924631 h 4687251"/>
              <a:gd name="connsiteX37473" fmla="*/ 7476037 w 8079933"/>
              <a:gd name="connsiteY37473" fmla="*/ 927554 h 4687251"/>
              <a:gd name="connsiteX37474" fmla="*/ 7481245 w 8079933"/>
              <a:gd name="connsiteY37474" fmla="*/ 937840 h 4687251"/>
              <a:gd name="connsiteX37475" fmla="*/ 7481245 w 8079933"/>
              <a:gd name="connsiteY37475" fmla="*/ 941846 h 4687251"/>
              <a:gd name="connsiteX37476" fmla="*/ 7477447 w 8079933"/>
              <a:gd name="connsiteY37476" fmla="*/ 940547 h 4687251"/>
              <a:gd name="connsiteX37477" fmla="*/ 7471804 w 8079933"/>
              <a:gd name="connsiteY37477" fmla="*/ 941413 h 4687251"/>
              <a:gd name="connsiteX37478" fmla="*/ 7467681 w 8079933"/>
              <a:gd name="connsiteY37478" fmla="*/ 937299 h 4687251"/>
              <a:gd name="connsiteX37479" fmla="*/ 7465185 w 8079933"/>
              <a:gd name="connsiteY37479" fmla="*/ 939681 h 4687251"/>
              <a:gd name="connsiteX37480" fmla="*/ 7458349 w 8079933"/>
              <a:gd name="connsiteY37480" fmla="*/ 931885 h 4687251"/>
              <a:gd name="connsiteX37481" fmla="*/ 7460519 w 8079933"/>
              <a:gd name="connsiteY37481" fmla="*/ 930261 h 4687251"/>
              <a:gd name="connsiteX37482" fmla="*/ 7458132 w 8079933"/>
              <a:gd name="connsiteY37482" fmla="*/ 928962 h 4687251"/>
              <a:gd name="connsiteX37483" fmla="*/ 7454007 w 8079933"/>
              <a:gd name="connsiteY37483" fmla="*/ 929828 h 4687251"/>
              <a:gd name="connsiteX37484" fmla="*/ 7450318 w 8079933"/>
              <a:gd name="connsiteY37484" fmla="*/ 929287 h 4687251"/>
              <a:gd name="connsiteX37485" fmla="*/ 7449450 w 8079933"/>
              <a:gd name="connsiteY37485" fmla="*/ 925173 h 4687251"/>
              <a:gd name="connsiteX37486" fmla="*/ 7436754 w 8079933"/>
              <a:gd name="connsiteY37486" fmla="*/ 917810 h 4687251"/>
              <a:gd name="connsiteX37487" fmla="*/ 7430026 w 8079933"/>
              <a:gd name="connsiteY37487" fmla="*/ 916511 h 4687251"/>
              <a:gd name="connsiteX37488" fmla="*/ 7422104 w 8079933"/>
              <a:gd name="connsiteY37488" fmla="*/ 921600 h 4687251"/>
              <a:gd name="connsiteX37489" fmla="*/ 7419608 w 8079933"/>
              <a:gd name="connsiteY37489" fmla="*/ 919651 h 4687251"/>
              <a:gd name="connsiteX37490" fmla="*/ 7414508 w 8079933"/>
              <a:gd name="connsiteY37490" fmla="*/ 921058 h 4687251"/>
              <a:gd name="connsiteX37491" fmla="*/ 7409408 w 8079933"/>
              <a:gd name="connsiteY37491" fmla="*/ 927554 h 4687251"/>
              <a:gd name="connsiteX37492" fmla="*/ 7404741 w 8079933"/>
              <a:gd name="connsiteY37492" fmla="*/ 927554 h 4687251"/>
              <a:gd name="connsiteX37493" fmla="*/ 7402354 w 8079933"/>
              <a:gd name="connsiteY37493" fmla="*/ 936432 h 4687251"/>
              <a:gd name="connsiteX37494" fmla="*/ 7399098 w 8079933"/>
              <a:gd name="connsiteY37494" fmla="*/ 939464 h 4687251"/>
              <a:gd name="connsiteX37495" fmla="*/ 7394432 w 8079933"/>
              <a:gd name="connsiteY37495" fmla="*/ 936974 h 4687251"/>
              <a:gd name="connsiteX37496" fmla="*/ 7398122 w 8079933"/>
              <a:gd name="connsiteY37496" fmla="*/ 943470 h 4687251"/>
              <a:gd name="connsiteX37497" fmla="*/ 7395409 w 8079933"/>
              <a:gd name="connsiteY37497" fmla="*/ 947476 h 4687251"/>
              <a:gd name="connsiteX37498" fmla="*/ 7396494 w 8079933"/>
              <a:gd name="connsiteY37498" fmla="*/ 952889 h 4687251"/>
              <a:gd name="connsiteX37499" fmla="*/ 7394866 w 8079933"/>
              <a:gd name="connsiteY37499" fmla="*/ 957004 h 4687251"/>
              <a:gd name="connsiteX37500" fmla="*/ 7393238 w 8079933"/>
              <a:gd name="connsiteY37500" fmla="*/ 969672 h 4687251"/>
              <a:gd name="connsiteX37501" fmla="*/ 7390852 w 8079933"/>
              <a:gd name="connsiteY37501" fmla="*/ 971621 h 4687251"/>
              <a:gd name="connsiteX37502" fmla="*/ 7387813 w 8079933"/>
              <a:gd name="connsiteY37502" fmla="*/ 967831 h 4687251"/>
              <a:gd name="connsiteX37503" fmla="*/ 7382062 w 8079933"/>
              <a:gd name="connsiteY37503" fmla="*/ 952457 h 4687251"/>
              <a:gd name="connsiteX37504" fmla="*/ 7382062 w 8079933"/>
              <a:gd name="connsiteY37504" fmla="*/ 947260 h 4687251"/>
              <a:gd name="connsiteX37505" fmla="*/ 7377721 w 8079933"/>
              <a:gd name="connsiteY37505" fmla="*/ 944878 h 4687251"/>
              <a:gd name="connsiteX37506" fmla="*/ 7374139 w 8079933"/>
              <a:gd name="connsiteY37506" fmla="*/ 940222 h 4687251"/>
              <a:gd name="connsiteX37507" fmla="*/ 7374139 w 8079933"/>
              <a:gd name="connsiteY37507" fmla="*/ 945636 h 4687251"/>
              <a:gd name="connsiteX37508" fmla="*/ 7368280 w 8079933"/>
              <a:gd name="connsiteY37508" fmla="*/ 955705 h 4687251"/>
              <a:gd name="connsiteX37509" fmla="*/ 7364481 w 8079933"/>
              <a:gd name="connsiteY37509" fmla="*/ 958087 h 4687251"/>
              <a:gd name="connsiteX37510" fmla="*/ 7363614 w 8079933"/>
              <a:gd name="connsiteY37510" fmla="*/ 962742 h 4687251"/>
              <a:gd name="connsiteX37511" fmla="*/ 7368822 w 8079933"/>
              <a:gd name="connsiteY37511" fmla="*/ 964691 h 4687251"/>
              <a:gd name="connsiteX37512" fmla="*/ 7363830 w 8079933"/>
              <a:gd name="connsiteY37512" fmla="*/ 975518 h 4687251"/>
              <a:gd name="connsiteX37513" fmla="*/ 7360249 w 8079933"/>
              <a:gd name="connsiteY37513" fmla="*/ 970321 h 4687251"/>
              <a:gd name="connsiteX37514" fmla="*/ 7357754 w 8079933"/>
              <a:gd name="connsiteY37514" fmla="*/ 970321 h 4687251"/>
              <a:gd name="connsiteX37515" fmla="*/ 7355366 w 8079933"/>
              <a:gd name="connsiteY37515" fmla="*/ 966856 h 4687251"/>
              <a:gd name="connsiteX37516" fmla="*/ 7351785 w 8079933"/>
              <a:gd name="connsiteY37516" fmla="*/ 966856 h 4687251"/>
              <a:gd name="connsiteX37517" fmla="*/ 7349832 w 8079933"/>
              <a:gd name="connsiteY37517" fmla="*/ 973678 h 4687251"/>
              <a:gd name="connsiteX37518" fmla="*/ 7347119 w 8079933"/>
              <a:gd name="connsiteY37518" fmla="*/ 974544 h 4687251"/>
              <a:gd name="connsiteX37519" fmla="*/ 7342344 w 8079933"/>
              <a:gd name="connsiteY37519" fmla="*/ 971837 h 4687251"/>
              <a:gd name="connsiteX37520" fmla="*/ 7338872 w 8079933"/>
              <a:gd name="connsiteY37520" fmla="*/ 971837 h 4687251"/>
              <a:gd name="connsiteX37521" fmla="*/ 7338221 w 8079933"/>
              <a:gd name="connsiteY37521" fmla="*/ 974869 h 4687251"/>
              <a:gd name="connsiteX37522" fmla="*/ 7341368 w 8079933"/>
              <a:gd name="connsiteY37522" fmla="*/ 979416 h 4687251"/>
              <a:gd name="connsiteX37523" fmla="*/ 7338980 w 8079933"/>
              <a:gd name="connsiteY37523" fmla="*/ 981256 h 4687251"/>
              <a:gd name="connsiteX37524" fmla="*/ 7337461 w 8079933"/>
              <a:gd name="connsiteY37524" fmla="*/ 985371 h 4687251"/>
              <a:gd name="connsiteX37525" fmla="*/ 7336810 w 8079933"/>
              <a:gd name="connsiteY37525" fmla="*/ 989377 h 4687251"/>
              <a:gd name="connsiteX37526" fmla="*/ 7341151 w 8079933"/>
              <a:gd name="connsiteY37526" fmla="*/ 994249 h 4687251"/>
              <a:gd name="connsiteX37527" fmla="*/ 7342344 w 8079933"/>
              <a:gd name="connsiteY37527" fmla="*/ 999879 h 4687251"/>
              <a:gd name="connsiteX37528" fmla="*/ 7339957 w 8079933"/>
              <a:gd name="connsiteY37528" fmla="*/ 1000745 h 4687251"/>
              <a:gd name="connsiteX37529" fmla="*/ 7341151 w 8079933"/>
              <a:gd name="connsiteY37529" fmla="*/ 1003993 h 4687251"/>
              <a:gd name="connsiteX37530" fmla="*/ 7346142 w 8079933"/>
              <a:gd name="connsiteY37530" fmla="*/ 1005509 h 4687251"/>
              <a:gd name="connsiteX37531" fmla="*/ 7349723 w 8079933"/>
              <a:gd name="connsiteY37531" fmla="*/ 1009299 h 4687251"/>
              <a:gd name="connsiteX37532" fmla="*/ 7350591 w 8079933"/>
              <a:gd name="connsiteY37532" fmla="*/ 1012330 h 4687251"/>
              <a:gd name="connsiteX37533" fmla="*/ 7348747 w 8079933"/>
              <a:gd name="connsiteY37533" fmla="*/ 1012330 h 4687251"/>
              <a:gd name="connsiteX37534" fmla="*/ 7347228 w 8079933"/>
              <a:gd name="connsiteY37534" fmla="*/ 1015578 h 4687251"/>
              <a:gd name="connsiteX37535" fmla="*/ 7351026 w 8079933"/>
              <a:gd name="connsiteY37535" fmla="*/ 1019043 h 4687251"/>
              <a:gd name="connsiteX37536" fmla="*/ 7354606 w 8079933"/>
              <a:gd name="connsiteY37536" fmla="*/ 1021966 h 4687251"/>
              <a:gd name="connsiteX37537" fmla="*/ 7354606 w 8079933"/>
              <a:gd name="connsiteY37537" fmla="*/ 1023915 h 4687251"/>
              <a:gd name="connsiteX37538" fmla="*/ 7350266 w 8079933"/>
              <a:gd name="connsiteY37538" fmla="*/ 1020992 h 4687251"/>
              <a:gd name="connsiteX37539" fmla="*/ 7346901 w 8079933"/>
              <a:gd name="connsiteY37539" fmla="*/ 1022183 h 4687251"/>
              <a:gd name="connsiteX37540" fmla="*/ 7346250 w 8079933"/>
              <a:gd name="connsiteY37540" fmla="*/ 1024023 h 4687251"/>
              <a:gd name="connsiteX37541" fmla="*/ 7350916 w 8079933"/>
              <a:gd name="connsiteY37541" fmla="*/ 1029112 h 4687251"/>
              <a:gd name="connsiteX37542" fmla="*/ 7353413 w 8079933"/>
              <a:gd name="connsiteY37542" fmla="*/ 1027596 h 4687251"/>
              <a:gd name="connsiteX37543" fmla="*/ 7353413 w 8079933"/>
              <a:gd name="connsiteY37543" fmla="*/ 1032577 h 4687251"/>
              <a:gd name="connsiteX37544" fmla="*/ 7352002 w 8079933"/>
              <a:gd name="connsiteY37544" fmla="*/ 1037990 h 4687251"/>
              <a:gd name="connsiteX37545" fmla="*/ 7352002 w 8079933"/>
              <a:gd name="connsiteY37545" fmla="*/ 1042213 h 4687251"/>
              <a:gd name="connsiteX37546" fmla="*/ 7349072 w 8079933"/>
              <a:gd name="connsiteY37546" fmla="*/ 1046111 h 4687251"/>
              <a:gd name="connsiteX37547" fmla="*/ 7351460 w 8079933"/>
              <a:gd name="connsiteY37547" fmla="*/ 1053257 h 4687251"/>
              <a:gd name="connsiteX37548" fmla="*/ 7349723 w 8079933"/>
              <a:gd name="connsiteY37548" fmla="*/ 1056613 h 4687251"/>
              <a:gd name="connsiteX37549" fmla="*/ 7352111 w 8079933"/>
              <a:gd name="connsiteY37549" fmla="*/ 1061485 h 4687251"/>
              <a:gd name="connsiteX37550" fmla="*/ 7352111 w 8079933"/>
              <a:gd name="connsiteY37550" fmla="*/ 1064300 h 4687251"/>
              <a:gd name="connsiteX37551" fmla="*/ 7352111 w 8079933"/>
              <a:gd name="connsiteY37551" fmla="*/ 1069389 h 4687251"/>
              <a:gd name="connsiteX37552" fmla="*/ 7356018 w 8079933"/>
              <a:gd name="connsiteY37552" fmla="*/ 1077942 h 4687251"/>
              <a:gd name="connsiteX37553" fmla="*/ 7354173 w 8079933"/>
              <a:gd name="connsiteY37553" fmla="*/ 1080324 h 4687251"/>
              <a:gd name="connsiteX37554" fmla="*/ 7357862 w 8079933"/>
              <a:gd name="connsiteY37554" fmla="*/ 1082814 h 4687251"/>
              <a:gd name="connsiteX37555" fmla="*/ 7362202 w 8079933"/>
              <a:gd name="connsiteY37555" fmla="*/ 1087253 h 4687251"/>
              <a:gd name="connsiteX37556" fmla="*/ 7368605 w 8079933"/>
              <a:gd name="connsiteY37556" fmla="*/ 1095699 h 4687251"/>
              <a:gd name="connsiteX37557" fmla="*/ 7374466 w 8079933"/>
              <a:gd name="connsiteY37557" fmla="*/ 1098405 h 4687251"/>
              <a:gd name="connsiteX37558" fmla="*/ 7376418 w 8079933"/>
              <a:gd name="connsiteY37558" fmla="*/ 1096781 h 4687251"/>
              <a:gd name="connsiteX37559" fmla="*/ 7377178 w 8079933"/>
              <a:gd name="connsiteY37559" fmla="*/ 1092559 h 4687251"/>
              <a:gd name="connsiteX37560" fmla="*/ 7371210 w 8079933"/>
              <a:gd name="connsiteY37560" fmla="*/ 1085846 h 4687251"/>
              <a:gd name="connsiteX37561" fmla="*/ 7371210 w 8079933"/>
              <a:gd name="connsiteY37561" fmla="*/ 1082490 h 4687251"/>
              <a:gd name="connsiteX37562" fmla="*/ 7374682 w 8079933"/>
              <a:gd name="connsiteY37562" fmla="*/ 1079675 h 4687251"/>
              <a:gd name="connsiteX37563" fmla="*/ 7379674 w 8079933"/>
              <a:gd name="connsiteY37563" fmla="*/ 1079675 h 4687251"/>
              <a:gd name="connsiteX37564" fmla="*/ 7387813 w 8079933"/>
              <a:gd name="connsiteY37564" fmla="*/ 1085846 h 4687251"/>
              <a:gd name="connsiteX37565" fmla="*/ 7391828 w 8079933"/>
              <a:gd name="connsiteY37565" fmla="*/ 1085088 h 4687251"/>
              <a:gd name="connsiteX37566" fmla="*/ 7395192 w 8079933"/>
              <a:gd name="connsiteY37566" fmla="*/ 1086820 h 4687251"/>
              <a:gd name="connsiteX37567" fmla="*/ 7395192 w 8079933"/>
              <a:gd name="connsiteY37567" fmla="*/ 1091043 h 4687251"/>
              <a:gd name="connsiteX37568" fmla="*/ 7393998 w 8079933"/>
              <a:gd name="connsiteY37568" fmla="*/ 1093858 h 4687251"/>
              <a:gd name="connsiteX37569" fmla="*/ 7397036 w 8079933"/>
              <a:gd name="connsiteY37569" fmla="*/ 1097431 h 4687251"/>
              <a:gd name="connsiteX37570" fmla="*/ 7394106 w 8079933"/>
              <a:gd name="connsiteY37570" fmla="*/ 1101870 h 4687251"/>
              <a:gd name="connsiteX37571" fmla="*/ 7395409 w 8079933"/>
              <a:gd name="connsiteY37571" fmla="*/ 1105767 h 4687251"/>
              <a:gd name="connsiteX37572" fmla="*/ 7393672 w 8079933"/>
              <a:gd name="connsiteY37572" fmla="*/ 1107175 h 4687251"/>
              <a:gd name="connsiteX37573" fmla="*/ 7390200 w 8079933"/>
              <a:gd name="connsiteY37573" fmla="*/ 1111289 h 4687251"/>
              <a:gd name="connsiteX37574" fmla="*/ 7394649 w 8079933"/>
              <a:gd name="connsiteY37574" fmla="*/ 1120168 h 4687251"/>
              <a:gd name="connsiteX37575" fmla="*/ 7398122 w 8079933"/>
              <a:gd name="connsiteY37575" fmla="*/ 1125365 h 4687251"/>
              <a:gd name="connsiteX37576" fmla="*/ 7398122 w 8079933"/>
              <a:gd name="connsiteY37576" fmla="*/ 1133810 h 4687251"/>
              <a:gd name="connsiteX37577" fmla="*/ 7403222 w 8079933"/>
              <a:gd name="connsiteY37577" fmla="*/ 1137383 h 4687251"/>
              <a:gd name="connsiteX37578" fmla="*/ 7405718 w 8079933"/>
              <a:gd name="connsiteY37578" fmla="*/ 1135542 h 4687251"/>
              <a:gd name="connsiteX37579" fmla="*/ 7405718 w 8079933"/>
              <a:gd name="connsiteY37579" fmla="*/ 1133052 h 4687251"/>
              <a:gd name="connsiteX37580" fmla="*/ 7409516 w 8079933"/>
              <a:gd name="connsiteY37580" fmla="*/ 1130128 h 4687251"/>
              <a:gd name="connsiteX37581" fmla="*/ 7410926 w 8079933"/>
              <a:gd name="connsiteY37581" fmla="*/ 1128180 h 4687251"/>
              <a:gd name="connsiteX37582" fmla="*/ 7412229 w 8079933"/>
              <a:gd name="connsiteY37582" fmla="*/ 1129479 h 4687251"/>
              <a:gd name="connsiteX37583" fmla="*/ 7417329 w 8079933"/>
              <a:gd name="connsiteY37583" fmla="*/ 1131970 h 4687251"/>
              <a:gd name="connsiteX37584" fmla="*/ 7417329 w 8079933"/>
              <a:gd name="connsiteY37584" fmla="*/ 1142797 h 4687251"/>
              <a:gd name="connsiteX37585" fmla="*/ 7428182 w 8079933"/>
              <a:gd name="connsiteY37585" fmla="*/ 1152216 h 4687251"/>
              <a:gd name="connsiteX37586" fmla="*/ 7431979 w 8079933"/>
              <a:gd name="connsiteY37586" fmla="*/ 1159795 h 4687251"/>
              <a:gd name="connsiteX37587" fmla="*/ 7429808 w 8079933"/>
              <a:gd name="connsiteY37587" fmla="*/ 1162827 h 4687251"/>
              <a:gd name="connsiteX37588" fmla="*/ 7429808 w 8079933"/>
              <a:gd name="connsiteY37588" fmla="*/ 1169323 h 4687251"/>
              <a:gd name="connsiteX37589" fmla="*/ 7426553 w 8079933"/>
              <a:gd name="connsiteY37589" fmla="*/ 1170622 h 4687251"/>
              <a:gd name="connsiteX37590" fmla="*/ 7420368 w 8079933"/>
              <a:gd name="connsiteY37590" fmla="*/ 1166074 h 4687251"/>
              <a:gd name="connsiteX37591" fmla="*/ 7413098 w 8079933"/>
              <a:gd name="connsiteY37591" fmla="*/ 1163368 h 4687251"/>
              <a:gd name="connsiteX37592" fmla="*/ 7413098 w 8079933"/>
              <a:gd name="connsiteY37592" fmla="*/ 1156546 h 4687251"/>
              <a:gd name="connsiteX37593" fmla="*/ 7415268 w 8079933"/>
              <a:gd name="connsiteY37593" fmla="*/ 1151674 h 4687251"/>
              <a:gd name="connsiteX37594" fmla="*/ 7415268 w 8079933"/>
              <a:gd name="connsiteY37594" fmla="*/ 1145720 h 4687251"/>
              <a:gd name="connsiteX37595" fmla="*/ 7413966 w 8079933"/>
              <a:gd name="connsiteY37595" fmla="*/ 1141172 h 4687251"/>
              <a:gd name="connsiteX37596" fmla="*/ 7410926 w 8079933"/>
              <a:gd name="connsiteY37596" fmla="*/ 1144095 h 4687251"/>
              <a:gd name="connsiteX37597" fmla="*/ 7411795 w 8079933"/>
              <a:gd name="connsiteY37597" fmla="*/ 1146152 h 4687251"/>
              <a:gd name="connsiteX37598" fmla="*/ 7411795 w 8079933"/>
              <a:gd name="connsiteY37598" fmla="*/ 1149726 h 4687251"/>
              <a:gd name="connsiteX37599" fmla="*/ 7407129 w 8079933"/>
              <a:gd name="connsiteY37599" fmla="*/ 1150592 h 4687251"/>
              <a:gd name="connsiteX37600" fmla="*/ 7402570 w 8079933"/>
              <a:gd name="connsiteY37600" fmla="*/ 1157305 h 4687251"/>
              <a:gd name="connsiteX37601" fmla="*/ 7403873 w 8079933"/>
              <a:gd name="connsiteY37601" fmla="*/ 1160228 h 4687251"/>
              <a:gd name="connsiteX37602" fmla="*/ 7409516 w 8079933"/>
              <a:gd name="connsiteY37602" fmla="*/ 1158929 h 4687251"/>
              <a:gd name="connsiteX37603" fmla="*/ 7409516 w 8079933"/>
              <a:gd name="connsiteY37603" fmla="*/ 1163801 h 4687251"/>
              <a:gd name="connsiteX37604" fmla="*/ 7406043 w 8079933"/>
              <a:gd name="connsiteY37604" fmla="*/ 1169215 h 4687251"/>
              <a:gd name="connsiteX37605" fmla="*/ 7407996 w 8079933"/>
              <a:gd name="connsiteY37605" fmla="*/ 1176793 h 4687251"/>
              <a:gd name="connsiteX37606" fmla="*/ 7406912 w 8079933"/>
              <a:gd name="connsiteY37606" fmla="*/ 1178959 h 4687251"/>
              <a:gd name="connsiteX37607" fmla="*/ 7407454 w 8079933"/>
              <a:gd name="connsiteY37607" fmla="*/ 1195741 h 4687251"/>
              <a:gd name="connsiteX37608" fmla="*/ 7410926 w 8079933"/>
              <a:gd name="connsiteY37608" fmla="*/ 1199205 h 4687251"/>
              <a:gd name="connsiteX37609" fmla="*/ 7410926 w 8079933"/>
              <a:gd name="connsiteY37609" fmla="*/ 1203211 h 4687251"/>
              <a:gd name="connsiteX37610" fmla="*/ 7423623 w 8079933"/>
              <a:gd name="connsiteY37610" fmla="*/ 1221076 h 4687251"/>
              <a:gd name="connsiteX37611" fmla="*/ 7427204 w 8079933"/>
              <a:gd name="connsiteY37611" fmla="*/ 1221076 h 4687251"/>
              <a:gd name="connsiteX37612" fmla="*/ 7435343 w 8079933"/>
              <a:gd name="connsiteY37612" fmla="*/ 1232445 h 4687251"/>
              <a:gd name="connsiteX37613" fmla="*/ 7440769 w 8079933"/>
              <a:gd name="connsiteY37613" fmla="*/ 1235476 h 4687251"/>
              <a:gd name="connsiteX37614" fmla="*/ 7437514 w 8079933"/>
              <a:gd name="connsiteY37614" fmla="*/ 1239265 h 4687251"/>
              <a:gd name="connsiteX37615" fmla="*/ 7437514 w 8079933"/>
              <a:gd name="connsiteY37615" fmla="*/ 1245437 h 4687251"/>
              <a:gd name="connsiteX37616" fmla="*/ 7423406 w 8079933"/>
              <a:gd name="connsiteY37616" fmla="*/ 1250851 h 4687251"/>
              <a:gd name="connsiteX37617" fmla="*/ 7422320 w 8079933"/>
              <a:gd name="connsiteY37617" fmla="*/ 1248360 h 4687251"/>
              <a:gd name="connsiteX37618" fmla="*/ 7414508 w 8079933"/>
              <a:gd name="connsiteY37618" fmla="*/ 1253232 h 4687251"/>
              <a:gd name="connsiteX37619" fmla="*/ 7410926 w 8079933"/>
              <a:gd name="connsiteY37619" fmla="*/ 1252367 h 4687251"/>
              <a:gd name="connsiteX37620" fmla="*/ 7411252 w 8079933"/>
              <a:gd name="connsiteY37620" fmla="*/ 1251500 h 4687251"/>
              <a:gd name="connsiteX37621" fmla="*/ 7406912 w 8079933"/>
              <a:gd name="connsiteY37621" fmla="*/ 1260703 h 4687251"/>
              <a:gd name="connsiteX37622" fmla="*/ 7406043 w 8079933"/>
              <a:gd name="connsiteY37622" fmla="*/ 1266983 h 4687251"/>
              <a:gd name="connsiteX37623" fmla="*/ 7403005 w 8079933"/>
              <a:gd name="connsiteY37623" fmla="*/ 1269906 h 4687251"/>
              <a:gd name="connsiteX37624" fmla="*/ 7406912 w 8079933"/>
              <a:gd name="connsiteY37624" fmla="*/ 1274020 h 4687251"/>
              <a:gd name="connsiteX37625" fmla="*/ 7403982 w 8079933"/>
              <a:gd name="connsiteY37625" fmla="*/ 1286147 h 4687251"/>
              <a:gd name="connsiteX37626" fmla="*/ 7408540 w 8079933"/>
              <a:gd name="connsiteY37626" fmla="*/ 1299897 h 4687251"/>
              <a:gd name="connsiteX37627" fmla="*/ 7415050 w 8079933"/>
              <a:gd name="connsiteY37627" fmla="*/ 1303470 h 4687251"/>
              <a:gd name="connsiteX37628" fmla="*/ 7415050 w 8079933"/>
              <a:gd name="connsiteY37628" fmla="*/ 1309424 h 4687251"/>
              <a:gd name="connsiteX37629" fmla="*/ 7421887 w 8079933"/>
              <a:gd name="connsiteY37629" fmla="*/ 1312889 h 4687251"/>
              <a:gd name="connsiteX37630" fmla="*/ 7425360 w 8079933"/>
              <a:gd name="connsiteY37630" fmla="*/ 1317545 h 4687251"/>
              <a:gd name="connsiteX37631" fmla="*/ 7419934 w 8079933"/>
              <a:gd name="connsiteY37631" fmla="*/ 1317004 h 4687251"/>
              <a:gd name="connsiteX37632" fmla="*/ 7418306 w 8079933"/>
              <a:gd name="connsiteY37632" fmla="*/ 1315380 h 4687251"/>
              <a:gd name="connsiteX37633" fmla="*/ 7413748 w 8079933"/>
              <a:gd name="connsiteY37633" fmla="*/ 1318303 h 4687251"/>
              <a:gd name="connsiteX37634" fmla="*/ 7409733 w 8079933"/>
              <a:gd name="connsiteY37634" fmla="*/ 1322093 h 4687251"/>
              <a:gd name="connsiteX37635" fmla="*/ 7406152 w 8079933"/>
              <a:gd name="connsiteY37635" fmla="*/ 1321334 h 4687251"/>
              <a:gd name="connsiteX37636" fmla="*/ 7399098 w 8079933"/>
              <a:gd name="connsiteY37636" fmla="*/ 1327831 h 4687251"/>
              <a:gd name="connsiteX37637" fmla="*/ 7394432 w 8079933"/>
              <a:gd name="connsiteY37637" fmla="*/ 1324041 h 4687251"/>
              <a:gd name="connsiteX37638" fmla="*/ 7391936 w 8079933"/>
              <a:gd name="connsiteY37638" fmla="*/ 1328697 h 4687251"/>
              <a:gd name="connsiteX37639" fmla="*/ 7394866 w 8079933"/>
              <a:gd name="connsiteY37639" fmla="*/ 1331187 h 4687251"/>
              <a:gd name="connsiteX37640" fmla="*/ 7399966 w 8079933"/>
              <a:gd name="connsiteY37640" fmla="*/ 1331187 h 4687251"/>
              <a:gd name="connsiteX37641" fmla="*/ 7398773 w 8079933"/>
              <a:gd name="connsiteY37641" fmla="*/ 1336384 h 4687251"/>
              <a:gd name="connsiteX37642" fmla="*/ 7397688 w 8079933"/>
              <a:gd name="connsiteY37642" fmla="*/ 1339524 h 4687251"/>
              <a:gd name="connsiteX37643" fmla="*/ 7402354 w 8079933"/>
              <a:gd name="connsiteY37643" fmla="*/ 1344180 h 4687251"/>
              <a:gd name="connsiteX37644" fmla="*/ 7400509 w 8079933"/>
              <a:gd name="connsiteY37644" fmla="*/ 1346562 h 4687251"/>
              <a:gd name="connsiteX37645" fmla="*/ 7397796 w 8079933"/>
              <a:gd name="connsiteY37645" fmla="*/ 1345695 h 4687251"/>
              <a:gd name="connsiteX37646" fmla="*/ 7401052 w 8079933"/>
              <a:gd name="connsiteY37646" fmla="*/ 1352517 h 4687251"/>
              <a:gd name="connsiteX37647" fmla="*/ 7399424 w 8079933"/>
              <a:gd name="connsiteY37647" fmla="*/ 1356089 h 4687251"/>
              <a:gd name="connsiteX37648" fmla="*/ 7402462 w 8079933"/>
              <a:gd name="connsiteY37648" fmla="*/ 1356847 h 4687251"/>
              <a:gd name="connsiteX37649" fmla="*/ 7405175 w 8079933"/>
              <a:gd name="connsiteY37649" fmla="*/ 1355440 h 4687251"/>
              <a:gd name="connsiteX37650" fmla="*/ 7409516 w 8079933"/>
              <a:gd name="connsiteY37650" fmla="*/ 1359988 h 4687251"/>
              <a:gd name="connsiteX37651" fmla="*/ 7405610 w 8079933"/>
              <a:gd name="connsiteY37651" fmla="*/ 1363560 h 4687251"/>
              <a:gd name="connsiteX37652" fmla="*/ 7405067 w 8079933"/>
              <a:gd name="connsiteY37652" fmla="*/ 1370598 h 4687251"/>
              <a:gd name="connsiteX37653" fmla="*/ 7407780 w 8079933"/>
              <a:gd name="connsiteY37653" fmla="*/ 1374929 h 4687251"/>
              <a:gd name="connsiteX37654" fmla="*/ 7406152 w 8079933"/>
              <a:gd name="connsiteY37654" fmla="*/ 1385755 h 4687251"/>
              <a:gd name="connsiteX37655" fmla="*/ 7404199 w 8079933"/>
              <a:gd name="connsiteY37655" fmla="*/ 1389761 h 4687251"/>
              <a:gd name="connsiteX37656" fmla="*/ 7405284 w 8079933"/>
              <a:gd name="connsiteY37656" fmla="*/ 1391927 h 4687251"/>
              <a:gd name="connsiteX37657" fmla="*/ 7404199 w 8079933"/>
              <a:gd name="connsiteY37657" fmla="*/ 1396258 h 4687251"/>
              <a:gd name="connsiteX37658" fmla="*/ 7398447 w 8079933"/>
              <a:gd name="connsiteY37658" fmla="*/ 1401347 h 4687251"/>
              <a:gd name="connsiteX37659" fmla="*/ 7398447 w 8079933"/>
              <a:gd name="connsiteY37659" fmla="*/ 1406219 h 4687251"/>
              <a:gd name="connsiteX37660" fmla="*/ 7397036 w 8079933"/>
              <a:gd name="connsiteY37660" fmla="*/ 1407085 h 4687251"/>
              <a:gd name="connsiteX37661" fmla="*/ 7394541 w 8079933"/>
              <a:gd name="connsiteY37661" fmla="*/ 1417912 h 4687251"/>
              <a:gd name="connsiteX37662" fmla="*/ 7389440 w 8079933"/>
              <a:gd name="connsiteY37662" fmla="*/ 1428739 h 4687251"/>
              <a:gd name="connsiteX37663" fmla="*/ 7390308 w 8079933"/>
              <a:gd name="connsiteY37663" fmla="*/ 1423650 h 4687251"/>
              <a:gd name="connsiteX37664" fmla="*/ 7389006 w 8079933"/>
              <a:gd name="connsiteY37664" fmla="*/ 1420077 h 4687251"/>
              <a:gd name="connsiteX37665" fmla="*/ 7389006 w 8079933"/>
              <a:gd name="connsiteY37665" fmla="*/ 1415205 h 4687251"/>
              <a:gd name="connsiteX37666" fmla="*/ 7387596 w 8079933"/>
              <a:gd name="connsiteY37666" fmla="*/ 1411957 h 4687251"/>
              <a:gd name="connsiteX37667" fmla="*/ 7378154 w 8079933"/>
              <a:gd name="connsiteY37667" fmla="*/ 1410875 h 4687251"/>
              <a:gd name="connsiteX37668" fmla="*/ 7373055 w 8079933"/>
              <a:gd name="connsiteY37668" fmla="*/ 1403512 h 4687251"/>
              <a:gd name="connsiteX37669" fmla="*/ 7371969 w 8079933"/>
              <a:gd name="connsiteY37669" fmla="*/ 1395067 h 4687251"/>
              <a:gd name="connsiteX37670" fmla="*/ 7362745 w 8079933"/>
              <a:gd name="connsiteY37670" fmla="*/ 1374712 h 4687251"/>
              <a:gd name="connsiteX37671" fmla="*/ 7356560 w 8079933"/>
              <a:gd name="connsiteY37671" fmla="*/ 1364968 h 4687251"/>
              <a:gd name="connsiteX37672" fmla="*/ 7360032 w 8079933"/>
              <a:gd name="connsiteY37672" fmla="*/ 1364968 h 4687251"/>
              <a:gd name="connsiteX37673" fmla="*/ 7364048 w 8079933"/>
              <a:gd name="connsiteY37673" fmla="*/ 1362802 h 4687251"/>
              <a:gd name="connsiteX37674" fmla="*/ 7365892 w 8079933"/>
              <a:gd name="connsiteY37674" fmla="*/ 1358796 h 4687251"/>
              <a:gd name="connsiteX37675" fmla="*/ 7362094 w 8079933"/>
              <a:gd name="connsiteY37675" fmla="*/ 1360637 h 4687251"/>
              <a:gd name="connsiteX37676" fmla="*/ 7355800 w 8079933"/>
              <a:gd name="connsiteY37676" fmla="*/ 1360637 h 4687251"/>
              <a:gd name="connsiteX37677" fmla="*/ 7347336 w 8079933"/>
              <a:gd name="connsiteY37677" fmla="*/ 1356306 h 4687251"/>
              <a:gd name="connsiteX37678" fmla="*/ 7328888 w 8079933"/>
              <a:gd name="connsiteY37678" fmla="*/ 1322958 h 4687251"/>
              <a:gd name="connsiteX37679" fmla="*/ 7312068 w 8079933"/>
              <a:gd name="connsiteY37679" fmla="*/ 1303254 h 4687251"/>
              <a:gd name="connsiteX37680" fmla="*/ 7312068 w 8079933"/>
              <a:gd name="connsiteY37680" fmla="*/ 1295999 h 4687251"/>
              <a:gd name="connsiteX37681" fmla="*/ 7305882 w 8079933"/>
              <a:gd name="connsiteY37681" fmla="*/ 1289178 h 4687251"/>
              <a:gd name="connsiteX37682" fmla="*/ 7292644 w 8079933"/>
              <a:gd name="connsiteY37682" fmla="*/ 1268391 h 4687251"/>
              <a:gd name="connsiteX37683" fmla="*/ 7279947 w 8079933"/>
              <a:gd name="connsiteY37683" fmla="*/ 1243055 h 4687251"/>
              <a:gd name="connsiteX37684" fmla="*/ 7269095 w 8079933"/>
              <a:gd name="connsiteY37684" fmla="*/ 1219235 h 4687251"/>
              <a:gd name="connsiteX37685" fmla="*/ 7269095 w 8079933"/>
              <a:gd name="connsiteY37685" fmla="*/ 1210898 h 4687251"/>
              <a:gd name="connsiteX37686" fmla="*/ 7262584 w 8079933"/>
              <a:gd name="connsiteY37686" fmla="*/ 1200072 h 4687251"/>
              <a:gd name="connsiteX37687" fmla="*/ 7260414 w 8079933"/>
              <a:gd name="connsiteY37687" fmla="*/ 1183398 h 4687251"/>
              <a:gd name="connsiteX37688" fmla="*/ 7256399 w 8079933"/>
              <a:gd name="connsiteY37688" fmla="*/ 1175061 h 4687251"/>
              <a:gd name="connsiteX37689" fmla="*/ 7257484 w 8079933"/>
              <a:gd name="connsiteY37689" fmla="*/ 1165209 h 4687251"/>
              <a:gd name="connsiteX37690" fmla="*/ 7262802 w 8079933"/>
              <a:gd name="connsiteY37690" fmla="*/ 1158820 h 4687251"/>
              <a:gd name="connsiteX37691" fmla="*/ 7264103 w 8079933"/>
              <a:gd name="connsiteY37691" fmla="*/ 1150700 h 4687251"/>
              <a:gd name="connsiteX37692" fmla="*/ 7267902 w 8079933"/>
              <a:gd name="connsiteY37692" fmla="*/ 1149293 h 4687251"/>
              <a:gd name="connsiteX37693" fmla="*/ 7265189 w 8079933"/>
              <a:gd name="connsiteY37693" fmla="*/ 1146044 h 4687251"/>
              <a:gd name="connsiteX37694" fmla="*/ 7267142 w 8079933"/>
              <a:gd name="connsiteY37694" fmla="*/ 1143121 h 4687251"/>
              <a:gd name="connsiteX37695" fmla="*/ 7267142 w 8079933"/>
              <a:gd name="connsiteY37695" fmla="*/ 1131428 h 4687251"/>
              <a:gd name="connsiteX37696" fmla="*/ 7258135 w 8079933"/>
              <a:gd name="connsiteY37696" fmla="*/ 1118977 h 4687251"/>
              <a:gd name="connsiteX37697" fmla="*/ 7251949 w 8079933"/>
              <a:gd name="connsiteY37697" fmla="*/ 1118977 h 4687251"/>
              <a:gd name="connsiteX37698" fmla="*/ 7251949 w 8079933"/>
              <a:gd name="connsiteY37698" fmla="*/ 1115512 h 4687251"/>
              <a:gd name="connsiteX37699" fmla="*/ 7256617 w 8079933"/>
              <a:gd name="connsiteY37699" fmla="*/ 1111181 h 4687251"/>
              <a:gd name="connsiteX37700" fmla="*/ 7266057 w 8079933"/>
              <a:gd name="connsiteY37700" fmla="*/ 1115729 h 4687251"/>
              <a:gd name="connsiteX37701" fmla="*/ 7271266 w 8079933"/>
              <a:gd name="connsiteY37701" fmla="*/ 1109991 h 4687251"/>
              <a:gd name="connsiteX37702" fmla="*/ 7269964 w 8079933"/>
              <a:gd name="connsiteY37702" fmla="*/ 1106201 h 4687251"/>
              <a:gd name="connsiteX37703" fmla="*/ 7269964 w 8079933"/>
              <a:gd name="connsiteY37703" fmla="*/ 1096998 h 4687251"/>
              <a:gd name="connsiteX37704" fmla="*/ 7278103 w 8079933"/>
              <a:gd name="connsiteY37704" fmla="*/ 1095915 h 4687251"/>
              <a:gd name="connsiteX37705" fmla="*/ 7282660 w 8079933"/>
              <a:gd name="connsiteY37705" fmla="*/ 1097215 h 4687251"/>
              <a:gd name="connsiteX37706" fmla="*/ 7278644 w 8079933"/>
              <a:gd name="connsiteY37706" fmla="*/ 1091584 h 4687251"/>
              <a:gd name="connsiteX37707" fmla="*/ 7286024 w 8079933"/>
              <a:gd name="connsiteY37707" fmla="*/ 1077292 h 4687251"/>
              <a:gd name="connsiteX37708" fmla="*/ 7282986 w 8079933"/>
              <a:gd name="connsiteY37708" fmla="*/ 1068414 h 4687251"/>
              <a:gd name="connsiteX37709" fmla="*/ 7282986 w 8079933"/>
              <a:gd name="connsiteY37709" fmla="*/ 1058995 h 4687251"/>
              <a:gd name="connsiteX37710" fmla="*/ 7280056 w 8079933"/>
              <a:gd name="connsiteY37710" fmla="*/ 1053906 h 4687251"/>
              <a:gd name="connsiteX37711" fmla="*/ 7284071 w 8079933"/>
              <a:gd name="connsiteY37711" fmla="*/ 1049575 h 4687251"/>
              <a:gd name="connsiteX37712" fmla="*/ 7284071 w 8079933"/>
              <a:gd name="connsiteY37712" fmla="*/ 1043621 h 4687251"/>
              <a:gd name="connsiteX37713" fmla="*/ 7282443 w 8079933"/>
              <a:gd name="connsiteY37713" fmla="*/ 1040914 h 4687251"/>
              <a:gd name="connsiteX37714" fmla="*/ 7283962 w 8079933"/>
              <a:gd name="connsiteY37714" fmla="*/ 1032902 h 4687251"/>
              <a:gd name="connsiteX37715" fmla="*/ 7287652 w 8079933"/>
              <a:gd name="connsiteY37715" fmla="*/ 1032902 h 4687251"/>
              <a:gd name="connsiteX37716" fmla="*/ 7283202 w 8079933"/>
              <a:gd name="connsiteY37716" fmla="*/ 1028463 h 4687251"/>
              <a:gd name="connsiteX37717" fmla="*/ 7282226 w 8079933"/>
              <a:gd name="connsiteY37717" fmla="*/ 1024673 h 4687251"/>
              <a:gd name="connsiteX37718" fmla="*/ 7283746 w 8079933"/>
              <a:gd name="connsiteY37718" fmla="*/ 1022507 h 4687251"/>
              <a:gd name="connsiteX37719" fmla="*/ 7284939 w 8079933"/>
              <a:gd name="connsiteY37719" fmla="*/ 1013305 h 4687251"/>
              <a:gd name="connsiteX37720" fmla="*/ 7282877 w 8079933"/>
              <a:gd name="connsiteY37720" fmla="*/ 1011464 h 4687251"/>
              <a:gd name="connsiteX37721" fmla="*/ 7283637 w 8079933"/>
              <a:gd name="connsiteY37721" fmla="*/ 1006700 h 4687251"/>
              <a:gd name="connsiteX37722" fmla="*/ 7289062 w 8079933"/>
              <a:gd name="connsiteY37722" fmla="*/ 1004643 h 4687251"/>
              <a:gd name="connsiteX37723" fmla="*/ 7291341 w 8079933"/>
              <a:gd name="connsiteY37723" fmla="*/ 1001287 h 4687251"/>
              <a:gd name="connsiteX37724" fmla="*/ 7289822 w 8079933"/>
              <a:gd name="connsiteY37724" fmla="*/ 993599 h 4687251"/>
              <a:gd name="connsiteX37725" fmla="*/ 7291450 w 8079933"/>
              <a:gd name="connsiteY37725" fmla="*/ 983422 h 4687251"/>
              <a:gd name="connsiteX37726" fmla="*/ 7288954 w 8079933"/>
              <a:gd name="connsiteY37726" fmla="*/ 981906 h 4687251"/>
              <a:gd name="connsiteX37727" fmla="*/ 7288086 w 8079933"/>
              <a:gd name="connsiteY37727" fmla="*/ 978875 h 4687251"/>
              <a:gd name="connsiteX37728" fmla="*/ 7292210 w 8079933"/>
              <a:gd name="connsiteY37728" fmla="*/ 971404 h 4687251"/>
              <a:gd name="connsiteX37729" fmla="*/ 7292210 w 8079933"/>
              <a:gd name="connsiteY37729" fmla="*/ 964799 h 4687251"/>
              <a:gd name="connsiteX37730" fmla="*/ 7288737 w 8079933"/>
              <a:gd name="connsiteY37730" fmla="*/ 965991 h 4687251"/>
              <a:gd name="connsiteX37731" fmla="*/ 7286892 w 8079933"/>
              <a:gd name="connsiteY37731" fmla="*/ 960036 h 4687251"/>
              <a:gd name="connsiteX37732" fmla="*/ 7289388 w 8079933"/>
              <a:gd name="connsiteY37732" fmla="*/ 956354 h 4687251"/>
              <a:gd name="connsiteX37733" fmla="*/ 7289388 w 8079933"/>
              <a:gd name="connsiteY37733" fmla="*/ 951699 h 4687251"/>
              <a:gd name="connsiteX37734" fmla="*/ 7293078 w 8079933"/>
              <a:gd name="connsiteY37734" fmla="*/ 950399 h 4687251"/>
              <a:gd name="connsiteX37735" fmla="*/ 7294054 w 8079933"/>
              <a:gd name="connsiteY37735" fmla="*/ 948018 h 4687251"/>
              <a:gd name="connsiteX37736" fmla="*/ 7299480 w 8079933"/>
              <a:gd name="connsiteY37736" fmla="*/ 944661 h 4687251"/>
              <a:gd name="connsiteX37737" fmla="*/ 7300023 w 8079933"/>
              <a:gd name="connsiteY37737" fmla="*/ 940114 h 4687251"/>
              <a:gd name="connsiteX37738" fmla="*/ 7305992 w 8079933"/>
              <a:gd name="connsiteY37738" fmla="*/ 934484 h 4687251"/>
              <a:gd name="connsiteX37739" fmla="*/ 7307510 w 8079933"/>
              <a:gd name="connsiteY37739" fmla="*/ 934484 h 4687251"/>
              <a:gd name="connsiteX37740" fmla="*/ 7311960 w 8079933"/>
              <a:gd name="connsiteY37740" fmla="*/ 931127 h 4687251"/>
              <a:gd name="connsiteX37741" fmla="*/ 7314781 w 8079933"/>
              <a:gd name="connsiteY37741" fmla="*/ 931127 h 4687251"/>
              <a:gd name="connsiteX37742" fmla="*/ 7315757 w 8079933"/>
              <a:gd name="connsiteY37742" fmla="*/ 928096 h 4687251"/>
              <a:gd name="connsiteX37743" fmla="*/ 7314564 w 8079933"/>
              <a:gd name="connsiteY37743" fmla="*/ 926255 h 4687251"/>
              <a:gd name="connsiteX37744" fmla="*/ 7310007 w 8079933"/>
              <a:gd name="connsiteY37744" fmla="*/ 925606 h 4687251"/>
              <a:gd name="connsiteX37745" fmla="*/ 7306968 w 8079933"/>
              <a:gd name="connsiteY37745" fmla="*/ 927554 h 4687251"/>
              <a:gd name="connsiteX37746" fmla="*/ 7303278 w 8079933"/>
              <a:gd name="connsiteY37746" fmla="*/ 924739 h 4687251"/>
              <a:gd name="connsiteX37747" fmla="*/ 7303278 w 8079933"/>
              <a:gd name="connsiteY37747" fmla="*/ 915536 h 4687251"/>
              <a:gd name="connsiteX37748" fmla="*/ 7306100 w 8079933"/>
              <a:gd name="connsiteY37748" fmla="*/ 908282 h 4687251"/>
              <a:gd name="connsiteX37749" fmla="*/ 7304363 w 8079933"/>
              <a:gd name="connsiteY37749" fmla="*/ 905359 h 4687251"/>
              <a:gd name="connsiteX37750" fmla="*/ 7301650 w 8079933"/>
              <a:gd name="connsiteY37750" fmla="*/ 900487 h 4687251"/>
              <a:gd name="connsiteX37751" fmla="*/ 7299914 w 8079933"/>
              <a:gd name="connsiteY37751" fmla="*/ 900487 h 4687251"/>
              <a:gd name="connsiteX37752" fmla="*/ 7298178 w 8079933"/>
              <a:gd name="connsiteY37752" fmla="*/ 903735 h 4687251"/>
              <a:gd name="connsiteX37753" fmla="*/ 7296442 w 8079933"/>
              <a:gd name="connsiteY37753" fmla="*/ 903085 h 4687251"/>
              <a:gd name="connsiteX37754" fmla="*/ 7295356 w 8079933"/>
              <a:gd name="connsiteY37754" fmla="*/ 892258 h 4687251"/>
              <a:gd name="connsiteX37755" fmla="*/ 7297310 w 8079933"/>
              <a:gd name="connsiteY37755" fmla="*/ 889768 h 4687251"/>
              <a:gd name="connsiteX37756" fmla="*/ 7297310 w 8079933"/>
              <a:gd name="connsiteY37756" fmla="*/ 887061 h 4687251"/>
              <a:gd name="connsiteX37757" fmla="*/ 7296007 w 8079933"/>
              <a:gd name="connsiteY37757" fmla="*/ 881431 h 4687251"/>
              <a:gd name="connsiteX37758" fmla="*/ 7291016 w 8079933"/>
              <a:gd name="connsiteY37758" fmla="*/ 879374 h 4687251"/>
              <a:gd name="connsiteX37759" fmla="*/ 7292210 w 8079933"/>
              <a:gd name="connsiteY37759" fmla="*/ 877425 h 4687251"/>
              <a:gd name="connsiteX37760" fmla="*/ 7291558 w 8079933"/>
              <a:gd name="connsiteY37760" fmla="*/ 877425 h 4687251"/>
              <a:gd name="connsiteX37761" fmla="*/ 7291558 w 8079933"/>
              <a:gd name="connsiteY37761" fmla="*/ 874935 h 4687251"/>
              <a:gd name="connsiteX37762" fmla="*/ 7286242 w 8079933"/>
              <a:gd name="connsiteY37762" fmla="*/ 868763 h 4687251"/>
              <a:gd name="connsiteX37763" fmla="*/ 7285482 w 8079933"/>
              <a:gd name="connsiteY37763" fmla="*/ 865190 h 4687251"/>
              <a:gd name="connsiteX37764" fmla="*/ 7282552 w 8079933"/>
              <a:gd name="connsiteY37764" fmla="*/ 862484 h 4687251"/>
              <a:gd name="connsiteX37765" fmla="*/ 7282552 w 8079933"/>
              <a:gd name="connsiteY37765" fmla="*/ 857503 h 4687251"/>
              <a:gd name="connsiteX37766" fmla="*/ 7279947 w 8079933"/>
              <a:gd name="connsiteY37766" fmla="*/ 851549 h 4687251"/>
              <a:gd name="connsiteX37767" fmla="*/ 7279947 w 8079933"/>
              <a:gd name="connsiteY37767" fmla="*/ 847976 h 4687251"/>
              <a:gd name="connsiteX37768" fmla="*/ 7286350 w 8079933"/>
              <a:gd name="connsiteY37768" fmla="*/ 841371 h 4687251"/>
              <a:gd name="connsiteX37769" fmla="*/ 7291884 w 8079933"/>
              <a:gd name="connsiteY37769" fmla="*/ 842670 h 4687251"/>
              <a:gd name="connsiteX37770" fmla="*/ 7296767 w 8079933"/>
              <a:gd name="connsiteY37770" fmla="*/ 840938 h 4687251"/>
              <a:gd name="connsiteX37771" fmla="*/ 7293838 w 8079933"/>
              <a:gd name="connsiteY37771" fmla="*/ 838556 h 4687251"/>
              <a:gd name="connsiteX37772" fmla="*/ 7299914 w 8079933"/>
              <a:gd name="connsiteY37772" fmla="*/ 835091 h 4687251"/>
              <a:gd name="connsiteX37773" fmla="*/ 7297093 w 8079933"/>
              <a:gd name="connsiteY37773" fmla="*/ 835849 h 4687251"/>
              <a:gd name="connsiteX37774" fmla="*/ 7292210 w 8079933"/>
              <a:gd name="connsiteY37774" fmla="*/ 835308 h 4687251"/>
              <a:gd name="connsiteX37775" fmla="*/ 7289605 w 8079933"/>
              <a:gd name="connsiteY37775" fmla="*/ 834009 h 4687251"/>
              <a:gd name="connsiteX37776" fmla="*/ 7282986 w 8079933"/>
              <a:gd name="connsiteY37776" fmla="*/ 834009 h 4687251"/>
              <a:gd name="connsiteX37777" fmla="*/ 7276041 w 8079933"/>
              <a:gd name="connsiteY37777" fmla="*/ 828378 h 4687251"/>
              <a:gd name="connsiteX37778" fmla="*/ 7274196 w 8079933"/>
              <a:gd name="connsiteY37778" fmla="*/ 830111 h 4687251"/>
              <a:gd name="connsiteX37779" fmla="*/ 7268010 w 8079933"/>
              <a:gd name="connsiteY37779" fmla="*/ 830111 h 4687251"/>
              <a:gd name="connsiteX37780" fmla="*/ 7263670 w 8079933"/>
              <a:gd name="connsiteY37780" fmla="*/ 835200 h 4687251"/>
              <a:gd name="connsiteX37781" fmla="*/ 7258678 w 8079933"/>
              <a:gd name="connsiteY37781" fmla="*/ 835200 h 4687251"/>
              <a:gd name="connsiteX37782" fmla="*/ 7252384 w 8079933"/>
              <a:gd name="connsiteY37782" fmla="*/ 841154 h 4687251"/>
              <a:gd name="connsiteX37783" fmla="*/ 7254555 w 8079933"/>
              <a:gd name="connsiteY37783" fmla="*/ 843536 h 4687251"/>
              <a:gd name="connsiteX37784" fmla="*/ 7253904 w 8079933"/>
              <a:gd name="connsiteY37784" fmla="*/ 847542 h 4687251"/>
              <a:gd name="connsiteX37785" fmla="*/ 7259221 w 8079933"/>
              <a:gd name="connsiteY37785" fmla="*/ 851765 h 4687251"/>
              <a:gd name="connsiteX37786" fmla="*/ 7260306 w 8079933"/>
              <a:gd name="connsiteY37786" fmla="*/ 856745 h 4687251"/>
              <a:gd name="connsiteX37787" fmla="*/ 7258461 w 8079933"/>
              <a:gd name="connsiteY37787" fmla="*/ 858694 h 4687251"/>
              <a:gd name="connsiteX37788" fmla="*/ 7259980 w 8079933"/>
              <a:gd name="connsiteY37788" fmla="*/ 865623 h 4687251"/>
              <a:gd name="connsiteX37789" fmla="*/ 7264429 w 8079933"/>
              <a:gd name="connsiteY37789" fmla="*/ 869088 h 4687251"/>
              <a:gd name="connsiteX37790" fmla="*/ 7264429 w 8079933"/>
              <a:gd name="connsiteY37790" fmla="*/ 871686 h 4687251"/>
              <a:gd name="connsiteX37791" fmla="*/ 7267576 w 8079933"/>
              <a:gd name="connsiteY37791" fmla="*/ 873528 h 4687251"/>
              <a:gd name="connsiteX37792" fmla="*/ 7269964 w 8079933"/>
              <a:gd name="connsiteY37792" fmla="*/ 883380 h 4687251"/>
              <a:gd name="connsiteX37793" fmla="*/ 7277017 w 8079933"/>
              <a:gd name="connsiteY37793" fmla="*/ 886845 h 4687251"/>
              <a:gd name="connsiteX37794" fmla="*/ 7276150 w 8079933"/>
              <a:gd name="connsiteY37794" fmla="*/ 891826 h 4687251"/>
              <a:gd name="connsiteX37795" fmla="*/ 7279187 w 8079933"/>
              <a:gd name="connsiteY37795" fmla="*/ 895290 h 4687251"/>
              <a:gd name="connsiteX37796" fmla="*/ 7277343 w 8079933"/>
              <a:gd name="connsiteY37796" fmla="*/ 898213 h 4687251"/>
              <a:gd name="connsiteX37797" fmla="*/ 7273762 w 8079933"/>
              <a:gd name="connsiteY37797" fmla="*/ 895290 h 4687251"/>
              <a:gd name="connsiteX37798" fmla="*/ 7272026 w 8079933"/>
              <a:gd name="connsiteY37798" fmla="*/ 891500 h 4687251"/>
              <a:gd name="connsiteX37799" fmla="*/ 7265514 w 8079933"/>
              <a:gd name="connsiteY37799" fmla="*/ 893016 h 4687251"/>
              <a:gd name="connsiteX37800" fmla="*/ 7261825 w 8079933"/>
              <a:gd name="connsiteY37800" fmla="*/ 895831 h 4687251"/>
              <a:gd name="connsiteX37801" fmla="*/ 7259221 w 8079933"/>
              <a:gd name="connsiteY37801" fmla="*/ 903085 h 4687251"/>
              <a:gd name="connsiteX37802" fmla="*/ 7262042 w 8079933"/>
              <a:gd name="connsiteY37802" fmla="*/ 906008 h 4687251"/>
              <a:gd name="connsiteX37803" fmla="*/ 7260740 w 8079933"/>
              <a:gd name="connsiteY37803" fmla="*/ 913155 h 4687251"/>
              <a:gd name="connsiteX37804" fmla="*/ 7259004 w 8079933"/>
              <a:gd name="connsiteY37804" fmla="*/ 914454 h 4687251"/>
              <a:gd name="connsiteX37805" fmla="*/ 7259004 w 8079933"/>
              <a:gd name="connsiteY37805" fmla="*/ 916078 h 4687251"/>
              <a:gd name="connsiteX37806" fmla="*/ 7260740 w 8079933"/>
              <a:gd name="connsiteY37806" fmla="*/ 917269 h 4687251"/>
              <a:gd name="connsiteX37807" fmla="*/ 7260740 w 8079933"/>
              <a:gd name="connsiteY37807" fmla="*/ 921058 h 4687251"/>
              <a:gd name="connsiteX37808" fmla="*/ 7256724 w 8079933"/>
              <a:gd name="connsiteY37808" fmla="*/ 924848 h 4687251"/>
              <a:gd name="connsiteX37809" fmla="*/ 7260089 w 8079933"/>
              <a:gd name="connsiteY37809" fmla="*/ 927879 h 4687251"/>
              <a:gd name="connsiteX37810" fmla="*/ 7256942 w 8079933"/>
              <a:gd name="connsiteY37810" fmla="*/ 931236 h 4687251"/>
              <a:gd name="connsiteX37811" fmla="*/ 7256942 w 8079933"/>
              <a:gd name="connsiteY37811" fmla="*/ 943254 h 4687251"/>
              <a:gd name="connsiteX37812" fmla="*/ 7255097 w 8079933"/>
              <a:gd name="connsiteY37812" fmla="*/ 946177 h 4687251"/>
              <a:gd name="connsiteX37813" fmla="*/ 7255097 w 8079933"/>
              <a:gd name="connsiteY37813" fmla="*/ 949100 h 4687251"/>
              <a:gd name="connsiteX37814" fmla="*/ 7251624 w 8079933"/>
              <a:gd name="connsiteY37814" fmla="*/ 951266 h 4687251"/>
              <a:gd name="connsiteX37815" fmla="*/ 7248803 w 8079933"/>
              <a:gd name="connsiteY37815" fmla="*/ 958411 h 4687251"/>
              <a:gd name="connsiteX37816" fmla="*/ 7247283 w 8079933"/>
              <a:gd name="connsiteY37816" fmla="*/ 953106 h 4687251"/>
              <a:gd name="connsiteX37817" fmla="*/ 7243052 w 8079933"/>
              <a:gd name="connsiteY37817" fmla="*/ 949317 h 4687251"/>
              <a:gd name="connsiteX37818" fmla="*/ 7246958 w 8079933"/>
              <a:gd name="connsiteY37818" fmla="*/ 942279 h 4687251"/>
              <a:gd name="connsiteX37819" fmla="*/ 7244896 w 8079933"/>
              <a:gd name="connsiteY37819" fmla="*/ 939681 h 4687251"/>
              <a:gd name="connsiteX37820" fmla="*/ 7241641 w 8079933"/>
              <a:gd name="connsiteY37820" fmla="*/ 939681 h 4687251"/>
              <a:gd name="connsiteX37821" fmla="*/ 7237408 w 8079933"/>
              <a:gd name="connsiteY37821" fmla="*/ 943579 h 4687251"/>
              <a:gd name="connsiteX37822" fmla="*/ 7237408 w 8079933"/>
              <a:gd name="connsiteY37822" fmla="*/ 947260 h 4687251"/>
              <a:gd name="connsiteX37823" fmla="*/ 7235021 w 8079933"/>
              <a:gd name="connsiteY37823" fmla="*/ 949100 h 4687251"/>
              <a:gd name="connsiteX37824" fmla="*/ 7234261 w 8079933"/>
              <a:gd name="connsiteY37824" fmla="*/ 940655 h 4687251"/>
              <a:gd name="connsiteX37825" fmla="*/ 7229487 w 8079933"/>
              <a:gd name="connsiteY37825" fmla="*/ 939464 h 4687251"/>
              <a:gd name="connsiteX37826" fmla="*/ 7227859 w 8079933"/>
              <a:gd name="connsiteY37826" fmla="*/ 936108 h 4687251"/>
              <a:gd name="connsiteX37827" fmla="*/ 7223736 w 8079933"/>
              <a:gd name="connsiteY37827" fmla="*/ 940006 h 4687251"/>
              <a:gd name="connsiteX37828" fmla="*/ 7222216 w 8079933"/>
              <a:gd name="connsiteY37828" fmla="*/ 937624 h 4687251"/>
              <a:gd name="connsiteX37829" fmla="*/ 7223627 w 8079933"/>
              <a:gd name="connsiteY37829" fmla="*/ 935783 h 4687251"/>
              <a:gd name="connsiteX37830" fmla="*/ 7225689 w 8079933"/>
              <a:gd name="connsiteY37830" fmla="*/ 932752 h 4687251"/>
              <a:gd name="connsiteX37831" fmla="*/ 7224278 w 8079933"/>
              <a:gd name="connsiteY37831" fmla="*/ 930802 h 4687251"/>
              <a:gd name="connsiteX37832" fmla="*/ 7224278 w 8079933"/>
              <a:gd name="connsiteY37832" fmla="*/ 927122 h 4687251"/>
              <a:gd name="connsiteX37833" fmla="*/ 7225689 w 8079933"/>
              <a:gd name="connsiteY37833" fmla="*/ 927122 h 4687251"/>
              <a:gd name="connsiteX37834" fmla="*/ 7224278 w 8079933"/>
              <a:gd name="connsiteY37834" fmla="*/ 922032 h 4687251"/>
              <a:gd name="connsiteX37835" fmla="*/ 7222108 w 8079933"/>
              <a:gd name="connsiteY37835" fmla="*/ 920625 h 4687251"/>
              <a:gd name="connsiteX37836" fmla="*/ 7225255 w 8079933"/>
              <a:gd name="connsiteY37836" fmla="*/ 917161 h 4687251"/>
              <a:gd name="connsiteX37837" fmla="*/ 7223736 w 8079933"/>
              <a:gd name="connsiteY37837" fmla="*/ 912830 h 4687251"/>
              <a:gd name="connsiteX37838" fmla="*/ 7221674 w 8079933"/>
              <a:gd name="connsiteY37838" fmla="*/ 910340 h 4687251"/>
              <a:gd name="connsiteX37839" fmla="*/ 7223084 w 8079933"/>
              <a:gd name="connsiteY37839" fmla="*/ 908282 h 4687251"/>
              <a:gd name="connsiteX37840" fmla="*/ 7223084 w 8079933"/>
              <a:gd name="connsiteY37840" fmla="*/ 902544 h 4687251"/>
              <a:gd name="connsiteX37841" fmla="*/ 7218092 w 8079933"/>
              <a:gd name="connsiteY37841" fmla="*/ 898971 h 4687251"/>
              <a:gd name="connsiteX37842" fmla="*/ 7216682 w 8079933"/>
              <a:gd name="connsiteY37842" fmla="*/ 894965 h 4687251"/>
              <a:gd name="connsiteX37843" fmla="*/ 7214620 w 8079933"/>
              <a:gd name="connsiteY37843" fmla="*/ 894965 h 4687251"/>
              <a:gd name="connsiteX37844" fmla="*/ 7213643 w 8079933"/>
              <a:gd name="connsiteY37844" fmla="*/ 900703 h 4687251"/>
              <a:gd name="connsiteX37845" fmla="*/ 7210497 w 8079933"/>
              <a:gd name="connsiteY37845" fmla="*/ 901569 h 4687251"/>
              <a:gd name="connsiteX37846" fmla="*/ 7210497 w 8079933"/>
              <a:gd name="connsiteY37846" fmla="*/ 907524 h 4687251"/>
              <a:gd name="connsiteX37847" fmla="*/ 7206481 w 8079933"/>
              <a:gd name="connsiteY37847" fmla="*/ 912504 h 4687251"/>
              <a:gd name="connsiteX37848" fmla="*/ 7204636 w 8079933"/>
              <a:gd name="connsiteY37848" fmla="*/ 912504 h 4687251"/>
              <a:gd name="connsiteX37849" fmla="*/ 7201815 w 8079933"/>
              <a:gd name="connsiteY37849" fmla="*/ 906658 h 4687251"/>
              <a:gd name="connsiteX37850" fmla="*/ 7199970 w 8079933"/>
              <a:gd name="connsiteY37850" fmla="*/ 906658 h 4687251"/>
              <a:gd name="connsiteX37851" fmla="*/ 7197800 w 8079933"/>
              <a:gd name="connsiteY37851" fmla="*/ 908174 h 4687251"/>
              <a:gd name="connsiteX37852" fmla="*/ 7196823 w 8079933"/>
              <a:gd name="connsiteY37852" fmla="*/ 903626 h 4687251"/>
              <a:gd name="connsiteX37853" fmla="*/ 7191289 w 8079933"/>
              <a:gd name="connsiteY37853" fmla="*/ 903626 h 4687251"/>
              <a:gd name="connsiteX37854" fmla="*/ 7189661 w 8079933"/>
              <a:gd name="connsiteY37854" fmla="*/ 905251 h 4687251"/>
              <a:gd name="connsiteX37855" fmla="*/ 7187600 w 8079933"/>
              <a:gd name="connsiteY37855" fmla="*/ 905251 h 4687251"/>
              <a:gd name="connsiteX37856" fmla="*/ 7186623 w 8079933"/>
              <a:gd name="connsiteY37856" fmla="*/ 909798 h 4687251"/>
              <a:gd name="connsiteX37857" fmla="*/ 7183042 w 8079933"/>
              <a:gd name="connsiteY37857" fmla="*/ 910773 h 4687251"/>
              <a:gd name="connsiteX37858" fmla="*/ 7182391 w 8079933"/>
              <a:gd name="connsiteY37858" fmla="*/ 913046 h 4687251"/>
              <a:gd name="connsiteX37859" fmla="*/ 7173710 w 8079933"/>
              <a:gd name="connsiteY37859" fmla="*/ 913046 h 4687251"/>
              <a:gd name="connsiteX37860" fmla="*/ 7171213 w 8079933"/>
              <a:gd name="connsiteY37860" fmla="*/ 916619 h 4687251"/>
              <a:gd name="connsiteX37861" fmla="*/ 7167850 w 8079933"/>
              <a:gd name="connsiteY37861" fmla="*/ 915428 h 4687251"/>
              <a:gd name="connsiteX37862" fmla="*/ 7165028 w 8079933"/>
              <a:gd name="connsiteY37862" fmla="*/ 917485 h 4687251"/>
              <a:gd name="connsiteX37863" fmla="*/ 7159385 w 8079933"/>
              <a:gd name="connsiteY37863" fmla="*/ 916728 h 4687251"/>
              <a:gd name="connsiteX37864" fmla="*/ 7154177 w 8079933"/>
              <a:gd name="connsiteY37864" fmla="*/ 925173 h 4687251"/>
              <a:gd name="connsiteX37865" fmla="*/ 7151247 w 8079933"/>
              <a:gd name="connsiteY37865" fmla="*/ 926905 h 4687251"/>
              <a:gd name="connsiteX37866" fmla="*/ 7151898 w 8079933"/>
              <a:gd name="connsiteY37866" fmla="*/ 933401 h 4687251"/>
              <a:gd name="connsiteX37867" fmla="*/ 7147665 w 8079933"/>
              <a:gd name="connsiteY37867" fmla="*/ 936649 h 4687251"/>
              <a:gd name="connsiteX37868" fmla="*/ 7147665 w 8079933"/>
              <a:gd name="connsiteY37868" fmla="*/ 939031 h 4687251"/>
              <a:gd name="connsiteX37869" fmla="*/ 7150920 w 8079933"/>
              <a:gd name="connsiteY37869" fmla="*/ 941413 h 4687251"/>
              <a:gd name="connsiteX37870" fmla="*/ 7151789 w 8079933"/>
              <a:gd name="connsiteY37870" fmla="*/ 947585 h 4687251"/>
              <a:gd name="connsiteX37871" fmla="*/ 7156672 w 8079933"/>
              <a:gd name="connsiteY37871" fmla="*/ 954297 h 4687251"/>
              <a:gd name="connsiteX37872" fmla="*/ 7152766 w 8079933"/>
              <a:gd name="connsiteY37872" fmla="*/ 957654 h 4687251"/>
              <a:gd name="connsiteX37873" fmla="*/ 7150270 w 8079933"/>
              <a:gd name="connsiteY37873" fmla="*/ 974436 h 4687251"/>
              <a:gd name="connsiteX37874" fmla="*/ 7156239 w 8079933"/>
              <a:gd name="connsiteY37874" fmla="*/ 981148 h 4687251"/>
              <a:gd name="connsiteX37875" fmla="*/ 7151355 w 8079933"/>
              <a:gd name="connsiteY37875" fmla="*/ 982989 h 4687251"/>
              <a:gd name="connsiteX37876" fmla="*/ 7152766 w 8079933"/>
              <a:gd name="connsiteY37876" fmla="*/ 983855 h 4687251"/>
              <a:gd name="connsiteX37877" fmla="*/ 7152766 w 8079933"/>
              <a:gd name="connsiteY37877" fmla="*/ 989160 h 4687251"/>
              <a:gd name="connsiteX37878" fmla="*/ 7148208 w 8079933"/>
              <a:gd name="connsiteY37878" fmla="*/ 994033 h 4687251"/>
              <a:gd name="connsiteX37879" fmla="*/ 7148208 w 8079933"/>
              <a:gd name="connsiteY37879" fmla="*/ 1001287 h 4687251"/>
              <a:gd name="connsiteX37880" fmla="*/ 7144735 w 8079933"/>
              <a:gd name="connsiteY37880" fmla="*/ 1005617 h 4687251"/>
              <a:gd name="connsiteX37881" fmla="*/ 7144735 w 8079933"/>
              <a:gd name="connsiteY37881" fmla="*/ 1010923 h 4687251"/>
              <a:gd name="connsiteX37882" fmla="*/ 7142456 w 8079933"/>
              <a:gd name="connsiteY37882" fmla="*/ 1019260 h 4687251"/>
              <a:gd name="connsiteX37883" fmla="*/ 7146905 w 8079933"/>
              <a:gd name="connsiteY37883" fmla="*/ 1025323 h 4687251"/>
              <a:gd name="connsiteX37884" fmla="*/ 7143108 w 8079933"/>
              <a:gd name="connsiteY37884" fmla="*/ 1028246 h 4687251"/>
              <a:gd name="connsiteX37885" fmla="*/ 7149510 w 8079933"/>
              <a:gd name="connsiteY37885" fmla="*/ 1037016 h 4687251"/>
              <a:gd name="connsiteX37886" fmla="*/ 7147232 w 8079933"/>
              <a:gd name="connsiteY37886" fmla="*/ 1038316 h 4687251"/>
              <a:gd name="connsiteX37887" fmla="*/ 7145929 w 8079933"/>
              <a:gd name="connsiteY37887" fmla="*/ 1042429 h 4687251"/>
              <a:gd name="connsiteX37888" fmla="*/ 7149727 w 8079933"/>
              <a:gd name="connsiteY37888" fmla="*/ 1044486 h 4687251"/>
              <a:gd name="connsiteX37889" fmla="*/ 7151571 w 8079933"/>
              <a:gd name="connsiteY37889" fmla="*/ 1042755 h 4687251"/>
              <a:gd name="connsiteX37890" fmla="*/ 7156130 w 8079933"/>
              <a:gd name="connsiteY37890" fmla="*/ 1042755 h 4687251"/>
              <a:gd name="connsiteX37891" fmla="*/ 7156130 w 8079933"/>
              <a:gd name="connsiteY37891" fmla="*/ 1040373 h 4687251"/>
              <a:gd name="connsiteX37892" fmla="*/ 7157432 w 8079933"/>
              <a:gd name="connsiteY37892" fmla="*/ 1039614 h 4687251"/>
              <a:gd name="connsiteX37893" fmla="*/ 7161664 w 8079933"/>
              <a:gd name="connsiteY37893" fmla="*/ 1041888 h 4687251"/>
              <a:gd name="connsiteX37894" fmla="*/ 7164378 w 8079933"/>
              <a:gd name="connsiteY37894" fmla="*/ 1041888 h 4687251"/>
              <a:gd name="connsiteX37895" fmla="*/ 7164378 w 8079933"/>
              <a:gd name="connsiteY37895" fmla="*/ 1039939 h 4687251"/>
              <a:gd name="connsiteX37896" fmla="*/ 7164378 w 8079933"/>
              <a:gd name="connsiteY37896" fmla="*/ 1038965 h 4687251"/>
              <a:gd name="connsiteX37897" fmla="*/ 7167090 w 8079933"/>
              <a:gd name="connsiteY37897" fmla="*/ 1040805 h 4687251"/>
              <a:gd name="connsiteX37898" fmla="*/ 7171973 w 8079933"/>
              <a:gd name="connsiteY37898" fmla="*/ 1042755 h 4687251"/>
              <a:gd name="connsiteX37899" fmla="*/ 7171973 w 8079933"/>
              <a:gd name="connsiteY37899" fmla="*/ 1045245 h 4687251"/>
              <a:gd name="connsiteX37900" fmla="*/ 7171105 w 8079933"/>
              <a:gd name="connsiteY37900" fmla="*/ 1046977 h 4687251"/>
              <a:gd name="connsiteX37901" fmla="*/ 7175229 w 8079933"/>
              <a:gd name="connsiteY37901" fmla="*/ 1051416 h 4687251"/>
              <a:gd name="connsiteX37902" fmla="*/ 7174360 w 8079933"/>
              <a:gd name="connsiteY37902" fmla="*/ 1053798 h 4687251"/>
              <a:gd name="connsiteX37903" fmla="*/ 7171213 w 8079933"/>
              <a:gd name="connsiteY37903" fmla="*/ 1053798 h 4687251"/>
              <a:gd name="connsiteX37904" fmla="*/ 7168284 w 8079933"/>
              <a:gd name="connsiteY37904" fmla="*/ 1055747 h 4687251"/>
              <a:gd name="connsiteX37905" fmla="*/ 7164920 w 8079933"/>
              <a:gd name="connsiteY37905" fmla="*/ 1054339 h 4687251"/>
              <a:gd name="connsiteX37906" fmla="*/ 7161230 w 8079933"/>
              <a:gd name="connsiteY37906" fmla="*/ 1056721 h 4687251"/>
              <a:gd name="connsiteX37907" fmla="*/ 7161230 w 8079933"/>
              <a:gd name="connsiteY37907" fmla="*/ 1058237 h 4687251"/>
              <a:gd name="connsiteX37908" fmla="*/ 7164160 w 8079933"/>
              <a:gd name="connsiteY37908" fmla="*/ 1060835 h 4687251"/>
              <a:gd name="connsiteX37909" fmla="*/ 7157866 w 8079933"/>
              <a:gd name="connsiteY37909" fmla="*/ 1066898 h 4687251"/>
              <a:gd name="connsiteX37910" fmla="*/ 7154610 w 8079933"/>
              <a:gd name="connsiteY37910" fmla="*/ 1065166 h 4687251"/>
              <a:gd name="connsiteX37911" fmla="*/ 7153960 w 8079933"/>
              <a:gd name="connsiteY37911" fmla="*/ 1061485 h 4687251"/>
              <a:gd name="connsiteX37912" fmla="*/ 7151464 w 8079933"/>
              <a:gd name="connsiteY37912" fmla="*/ 1059212 h 4687251"/>
              <a:gd name="connsiteX37913" fmla="*/ 7148100 w 8079933"/>
              <a:gd name="connsiteY37913" fmla="*/ 1061161 h 4687251"/>
              <a:gd name="connsiteX37914" fmla="*/ 7145278 w 8079933"/>
              <a:gd name="connsiteY37914" fmla="*/ 1059103 h 4687251"/>
              <a:gd name="connsiteX37915" fmla="*/ 7142022 w 8079933"/>
              <a:gd name="connsiteY37915" fmla="*/ 1060402 h 4687251"/>
              <a:gd name="connsiteX37916" fmla="*/ 7142782 w 8079933"/>
              <a:gd name="connsiteY37916" fmla="*/ 1063542 h 4687251"/>
              <a:gd name="connsiteX37917" fmla="*/ 7142782 w 8079933"/>
              <a:gd name="connsiteY37917" fmla="*/ 1067657 h 4687251"/>
              <a:gd name="connsiteX37918" fmla="*/ 7141371 w 8079933"/>
              <a:gd name="connsiteY37918" fmla="*/ 1067657 h 4687251"/>
              <a:gd name="connsiteX37919" fmla="*/ 7139093 w 8079933"/>
              <a:gd name="connsiteY37919" fmla="*/ 1070797 h 4687251"/>
              <a:gd name="connsiteX37920" fmla="*/ 7135946 w 8079933"/>
              <a:gd name="connsiteY37920" fmla="*/ 1073070 h 4687251"/>
              <a:gd name="connsiteX37921" fmla="*/ 7138116 w 8079933"/>
              <a:gd name="connsiteY37921" fmla="*/ 1075236 h 4687251"/>
              <a:gd name="connsiteX37922" fmla="*/ 7135946 w 8079933"/>
              <a:gd name="connsiteY37922" fmla="*/ 1078267 h 4687251"/>
              <a:gd name="connsiteX37923" fmla="*/ 7132474 w 8079933"/>
              <a:gd name="connsiteY37923" fmla="*/ 1077726 h 4687251"/>
              <a:gd name="connsiteX37924" fmla="*/ 7126504 w 8079933"/>
              <a:gd name="connsiteY37924" fmla="*/ 1071555 h 4687251"/>
              <a:gd name="connsiteX37925" fmla="*/ 7123575 w 8079933"/>
              <a:gd name="connsiteY37925" fmla="*/ 1071555 h 4687251"/>
              <a:gd name="connsiteX37926" fmla="*/ 7127155 w 8079933"/>
              <a:gd name="connsiteY37926" fmla="*/ 1076643 h 4687251"/>
              <a:gd name="connsiteX37927" fmla="*/ 7122273 w 8079933"/>
              <a:gd name="connsiteY37927" fmla="*/ 1079025 h 4687251"/>
              <a:gd name="connsiteX37928" fmla="*/ 7123358 w 8079933"/>
              <a:gd name="connsiteY37928" fmla="*/ 1080865 h 4687251"/>
              <a:gd name="connsiteX37929" fmla="*/ 7120319 w 8079933"/>
              <a:gd name="connsiteY37929" fmla="*/ 1084871 h 4687251"/>
              <a:gd name="connsiteX37930" fmla="*/ 7113048 w 8079933"/>
              <a:gd name="connsiteY37930" fmla="*/ 1087037 h 4687251"/>
              <a:gd name="connsiteX37931" fmla="*/ 7111095 w 8079933"/>
              <a:gd name="connsiteY37931" fmla="*/ 1089419 h 4687251"/>
              <a:gd name="connsiteX37932" fmla="*/ 7104801 w 8079933"/>
              <a:gd name="connsiteY37932" fmla="*/ 1080757 h 4687251"/>
              <a:gd name="connsiteX37933" fmla="*/ 7101003 w 8079933"/>
              <a:gd name="connsiteY37933" fmla="*/ 1080757 h 4687251"/>
              <a:gd name="connsiteX37934" fmla="*/ 7099050 w 8079933"/>
              <a:gd name="connsiteY37934" fmla="*/ 1079458 h 4687251"/>
              <a:gd name="connsiteX37935" fmla="*/ 7100352 w 8079933"/>
              <a:gd name="connsiteY37935" fmla="*/ 1077076 h 4687251"/>
              <a:gd name="connsiteX37936" fmla="*/ 7104367 w 8079933"/>
              <a:gd name="connsiteY37936" fmla="*/ 1077076 h 4687251"/>
              <a:gd name="connsiteX37937" fmla="*/ 7104367 w 8079933"/>
              <a:gd name="connsiteY37937" fmla="*/ 1072204 h 4687251"/>
              <a:gd name="connsiteX37938" fmla="*/ 7106212 w 8079933"/>
              <a:gd name="connsiteY37938" fmla="*/ 1069714 h 4687251"/>
              <a:gd name="connsiteX37939" fmla="*/ 7113591 w 8079933"/>
              <a:gd name="connsiteY37939" fmla="*/ 1069714 h 4687251"/>
              <a:gd name="connsiteX37940" fmla="*/ 7121947 w 8079933"/>
              <a:gd name="connsiteY37940" fmla="*/ 1063542 h 4687251"/>
              <a:gd name="connsiteX37941" fmla="*/ 7120862 w 8079933"/>
              <a:gd name="connsiteY37941" fmla="*/ 1060619 h 4687251"/>
              <a:gd name="connsiteX37942" fmla="*/ 7117064 w 8079933"/>
              <a:gd name="connsiteY37942" fmla="*/ 1059861 h 4687251"/>
              <a:gd name="connsiteX37943" fmla="*/ 7112940 w 8079933"/>
              <a:gd name="connsiteY37943" fmla="*/ 1063867 h 4687251"/>
              <a:gd name="connsiteX37944" fmla="*/ 7106972 w 8079933"/>
              <a:gd name="connsiteY37944" fmla="*/ 1062784 h 4687251"/>
              <a:gd name="connsiteX37945" fmla="*/ 7106972 w 8079933"/>
              <a:gd name="connsiteY37945" fmla="*/ 1060619 h 4687251"/>
              <a:gd name="connsiteX37946" fmla="*/ 7102414 w 8079933"/>
              <a:gd name="connsiteY37946" fmla="*/ 1057155 h 4687251"/>
              <a:gd name="connsiteX37947" fmla="*/ 7098073 w 8079933"/>
              <a:gd name="connsiteY37947" fmla="*/ 1057155 h 4687251"/>
              <a:gd name="connsiteX37948" fmla="*/ 7091237 w 8079933"/>
              <a:gd name="connsiteY37948" fmla="*/ 1055855 h 4687251"/>
              <a:gd name="connsiteX37949" fmla="*/ 7084183 w 8079933"/>
              <a:gd name="connsiteY37949" fmla="*/ 1055855 h 4687251"/>
              <a:gd name="connsiteX37950" fmla="*/ 7086136 w 8079933"/>
              <a:gd name="connsiteY37950" fmla="*/ 1059320 h 4687251"/>
              <a:gd name="connsiteX37951" fmla="*/ 7083098 w 8079933"/>
              <a:gd name="connsiteY37951" fmla="*/ 1060186 h 4687251"/>
              <a:gd name="connsiteX37952" fmla="*/ 7080060 w 8079933"/>
              <a:gd name="connsiteY37952" fmla="*/ 1058020 h 4687251"/>
              <a:gd name="connsiteX37953" fmla="*/ 7080060 w 8079933"/>
              <a:gd name="connsiteY37953" fmla="*/ 1055639 h 4687251"/>
              <a:gd name="connsiteX37954" fmla="*/ 7073548 w 8079933"/>
              <a:gd name="connsiteY37954" fmla="*/ 1055639 h 4687251"/>
              <a:gd name="connsiteX37955" fmla="*/ 7065084 w 8079933"/>
              <a:gd name="connsiteY37955" fmla="*/ 1053473 h 4687251"/>
              <a:gd name="connsiteX37956" fmla="*/ 7061287 w 8079933"/>
              <a:gd name="connsiteY37956" fmla="*/ 1055422 h 4687251"/>
              <a:gd name="connsiteX37957" fmla="*/ 7057705 w 8079933"/>
              <a:gd name="connsiteY37957" fmla="*/ 1052715 h 4687251"/>
              <a:gd name="connsiteX37958" fmla="*/ 7050869 w 8079933"/>
              <a:gd name="connsiteY37958" fmla="*/ 1052715 h 4687251"/>
              <a:gd name="connsiteX37959" fmla="*/ 7044574 w 8079933"/>
              <a:gd name="connsiteY37959" fmla="*/ 1060294 h 4687251"/>
              <a:gd name="connsiteX37960" fmla="*/ 7041536 w 8079933"/>
              <a:gd name="connsiteY37960" fmla="*/ 1060294 h 4687251"/>
              <a:gd name="connsiteX37961" fmla="*/ 7041536 w 8079933"/>
              <a:gd name="connsiteY37961" fmla="*/ 1063326 h 4687251"/>
              <a:gd name="connsiteX37962" fmla="*/ 7047830 w 8079933"/>
              <a:gd name="connsiteY37962" fmla="*/ 1067332 h 4687251"/>
              <a:gd name="connsiteX37963" fmla="*/ 7040994 w 8079933"/>
              <a:gd name="connsiteY37963" fmla="*/ 1070039 h 4687251"/>
              <a:gd name="connsiteX37964" fmla="*/ 7039908 w 8079933"/>
              <a:gd name="connsiteY37964" fmla="*/ 1066574 h 4687251"/>
              <a:gd name="connsiteX37965" fmla="*/ 7036327 w 8079933"/>
              <a:gd name="connsiteY37965" fmla="*/ 1072204 h 4687251"/>
              <a:gd name="connsiteX37966" fmla="*/ 7042078 w 8079933"/>
              <a:gd name="connsiteY37966" fmla="*/ 1075236 h 4687251"/>
              <a:gd name="connsiteX37967" fmla="*/ 7044032 w 8079933"/>
              <a:gd name="connsiteY37967" fmla="*/ 1073612 h 4687251"/>
              <a:gd name="connsiteX37968" fmla="*/ 7046962 w 8079933"/>
              <a:gd name="connsiteY37968" fmla="*/ 1075236 h 4687251"/>
              <a:gd name="connsiteX37969" fmla="*/ 7046962 w 8079933"/>
              <a:gd name="connsiteY37969" fmla="*/ 1078808 h 4687251"/>
              <a:gd name="connsiteX37970" fmla="*/ 7037738 w 8079933"/>
              <a:gd name="connsiteY37970" fmla="*/ 1082381 h 4687251"/>
              <a:gd name="connsiteX37971" fmla="*/ 7034482 w 8079933"/>
              <a:gd name="connsiteY37971" fmla="*/ 1078375 h 4687251"/>
              <a:gd name="connsiteX37972" fmla="*/ 7026670 w 8079933"/>
              <a:gd name="connsiteY37972" fmla="*/ 1078375 h 4687251"/>
              <a:gd name="connsiteX37973" fmla="*/ 7023739 w 8079933"/>
              <a:gd name="connsiteY37973" fmla="*/ 1080541 h 4687251"/>
              <a:gd name="connsiteX37974" fmla="*/ 7025042 w 8079933"/>
              <a:gd name="connsiteY37974" fmla="*/ 1084547 h 4687251"/>
              <a:gd name="connsiteX37975" fmla="*/ 7021460 w 8079933"/>
              <a:gd name="connsiteY37975" fmla="*/ 1084547 h 4687251"/>
              <a:gd name="connsiteX37976" fmla="*/ 7018748 w 8079933"/>
              <a:gd name="connsiteY37976" fmla="*/ 1087470 h 4687251"/>
              <a:gd name="connsiteX37977" fmla="*/ 7016360 w 8079933"/>
              <a:gd name="connsiteY37977" fmla="*/ 1087470 h 4687251"/>
              <a:gd name="connsiteX37978" fmla="*/ 7014732 w 8079933"/>
              <a:gd name="connsiteY37978" fmla="*/ 1084006 h 4687251"/>
              <a:gd name="connsiteX37979" fmla="*/ 7004966 w 8079933"/>
              <a:gd name="connsiteY37979" fmla="*/ 1084006 h 4687251"/>
              <a:gd name="connsiteX37980" fmla="*/ 7000951 w 8079933"/>
              <a:gd name="connsiteY37980" fmla="*/ 1086387 h 4687251"/>
              <a:gd name="connsiteX37981" fmla="*/ 6991727 w 8079933"/>
              <a:gd name="connsiteY37981" fmla="*/ 1085088 h 4687251"/>
              <a:gd name="connsiteX37982" fmla="*/ 6986301 w 8079933"/>
              <a:gd name="connsiteY37982" fmla="*/ 1088012 h 4687251"/>
              <a:gd name="connsiteX37983" fmla="*/ 6986301 w 8079933"/>
              <a:gd name="connsiteY37983" fmla="*/ 1090393 h 4687251"/>
              <a:gd name="connsiteX37984" fmla="*/ 6993138 w 8079933"/>
              <a:gd name="connsiteY37984" fmla="*/ 1095590 h 4687251"/>
              <a:gd name="connsiteX37985" fmla="*/ 6989340 w 8079933"/>
              <a:gd name="connsiteY37985" fmla="*/ 1098838 h 4687251"/>
              <a:gd name="connsiteX37986" fmla="*/ 6986952 w 8079933"/>
              <a:gd name="connsiteY37986" fmla="*/ 1103494 h 4687251"/>
              <a:gd name="connsiteX37987" fmla="*/ 6982612 w 8079933"/>
              <a:gd name="connsiteY37987" fmla="*/ 1099380 h 4687251"/>
              <a:gd name="connsiteX37988" fmla="*/ 6979139 w 8079933"/>
              <a:gd name="connsiteY37988" fmla="*/ 1098081 h 4687251"/>
              <a:gd name="connsiteX37989" fmla="*/ 6981092 w 8079933"/>
              <a:gd name="connsiteY37989" fmla="*/ 1092883 h 4687251"/>
              <a:gd name="connsiteX37990" fmla="*/ 6976969 w 8079933"/>
              <a:gd name="connsiteY37990" fmla="*/ 1090177 h 4687251"/>
              <a:gd name="connsiteX37991" fmla="*/ 6974798 w 8079933"/>
              <a:gd name="connsiteY37991" fmla="*/ 1093750 h 4687251"/>
              <a:gd name="connsiteX37992" fmla="*/ 6970674 w 8079933"/>
              <a:gd name="connsiteY37992" fmla="*/ 1094291 h 4687251"/>
              <a:gd name="connsiteX37993" fmla="*/ 6966551 w 8079933"/>
              <a:gd name="connsiteY37993" fmla="*/ 1094291 h 4687251"/>
              <a:gd name="connsiteX37994" fmla="*/ 6961668 w 8079933"/>
              <a:gd name="connsiteY37994" fmla="*/ 1097756 h 4687251"/>
              <a:gd name="connsiteX37995" fmla="*/ 6956785 w 8079933"/>
              <a:gd name="connsiteY37995" fmla="*/ 1097756 h 4687251"/>
              <a:gd name="connsiteX37996" fmla="*/ 6949731 w 8079933"/>
              <a:gd name="connsiteY37996" fmla="*/ 1102087 h 4687251"/>
              <a:gd name="connsiteX37997" fmla="*/ 6942677 w 8079933"/>
              <a:gd name="connsiteY37997" fmla="*/ 1102087 h 4687251"/>
              <a:gd name="connsiteX37998" fmla="*/ 6934322 w 8079933"/>
              <a:gd name="connsiteY37998" fmla="*/ 1108799 h 4687251"/>
              <a:gd name="connsiteX37999" fmla="*/ 6929330 w 8079933"/>
              <a:gd name="connsiteY37999" fmla="*/ 1109666 h 4687251"/>
              <a:gd name="connsiteX38000" fmla="*/ 6926075 w 8079933"/>
              <a:gd name="connsiteY38000" fmla="*/ 1106201 h 4687251"/>
              <a:gd name="connsiteX38001" fmla="*/ 6923036 w 8079933"/>
              <a:gd name="connsiteY38001" fmla="*/ 1106201 h 4687251"/>
              <a:gd name="connsiteX38002" fmla="*/ 6921734 w 8079933"/>
              <a:gd name="connsiteY38002" fmla="*/ 1110857 h 4687251"/>
              <a:gd name="connsiteX38003" fmla="*/ 6913052 w 8079933"/>
              <a:gd name="connsiteY38003" fmla="*/ 1117353 h 4687251"/>
              <a:gd name="connsiteX38004" fmla="*/ 6911750 w 8079933"/>
              <a:gd name="connsiteY38004" fmla="*/ 1122442 h 4687251"/>
              <a:gd name="connsiteX38005" fmla="*/ 6902743 w 8079933"/>
              <a:gd name="connsiteY38005" fmla="*/ 1126772 h 4687251"/>
              <a:gd name="connsiteX38006" fmla="*/ 6901875 w 8079933"/>
              <a:gd name="connsiteY38006" fmla="*/ 1132185 h 4687251"/>
              <a:gd name="connsiteX38007" fmla="*/ 6908060 w 8079933"/>
              <a:gd name="connsiteY38007" fmla="*/ 1141714 h 4687251"/>
              <a:gd name="connsiteX38008" fmla="*/ 6906433 w 8079933"/>
              <a:gd name="connsiteY38008" fmla="*/ 1150917 h 4687251"/>
              <a:gd name="connsiteX38009" fmla="*/ 6899380 w 8079933"/>
              <a:gd name="connsiteY38009" fmla="*/ 1158820 h 4687251"/>
              <a:gd name="connsiteX38010" fmla="*/ 6895907 w 8079933"/>
              <a:gd name="connsiteY38010" fmla="*/ 1166399 h 4687251"/>
              <a:gd name="connsiteX38011" fmla="*/ 6897318 w 8079933"/>
              <a:gd name="connsiteY38011" fmla="*/ 1172354 h 4687251"/>
              <a:gd name="connsiteX38012" fmla="*/ 6897318 w 8079933"/>
              <a:gd name="connsiteY38012" fmla="*/ 1181774 h 4687251"/>
              <a:gd name="connsiteX38013" fmla="*/ 6899488 w 8079933"/>
              <a:gd name="connsiteY38013" fmla="*/ 1185347 h 4687251"/>
              <a:gd name="connsiteX38014" fmla="*/ 6899488 w 8079933"/>
              <a:gd name="connsiteY38014" fmla="*/ 1190544 h 4687251"/>
              <a:gd name="connsiteX38015" fmla="*/ 6897318 w 8079933"/>
              <a:gd name="connsiteY38015" fmla="*/ 1190544 h 4687251"/>
              <a:gd name="connsiteX38016" fmla="*/ 6894279 w 8079933"/>
              <a:gd name="connsiteY38016" fmla="*/ 1192384 h 4687251"/>
              <a:gd name="connsiteX38017" fmla="*/ 6894279 w 8079933"/>
              <a:gd name="connsiteY38017" fmla="*/ 1198014 h 4687251"/>
              <a:gd name="connsiteX38018" fmla="*/ 6891892 w 8079933"/>
              <a:gd name="connsiteY38018" fmla="*/ 1199855 h 4687251"/>
              <a:gd name="connsiteX38019" fmla="*/ 6894604 w 8079933"/>
              <a:gd name="connsiteY38019" fmla="*/ 1207975 h 4687251"/>
              <a:gd name="connsiteX38020" fmla="*/ 6889938 w 8079933"/>
              <a:gd name="connsiteY38020" fmla="*/ 1211440 h 4687251"/>
              <a:gd name="connsiteX38021" fmla="*/ 6889179 w 8079933"/>
              <a:gd name="connsiteY38021" fmla="*/ 1217612 h 4687251"/>
              <a:gd name="connsiteX38022" fmla="*/ 6882668 w 8079933"/>
              <a:gd name="connsiteY38022" fmla="*/ 1225515 h 4687251"/>
              <a:gd name="connsiteX38023" fmla="*/ 6883753 w 8079933"/>
              <a:gd name="connsiteY38023" fmla="*/ 1230712 h 4687251"/>
              <a:gd name="connsiteX38024" fmla="*/ 6879955 w 8079933"/>
              <a:gd name="connsiteY38024" fmla="*/ 1232661 h 4687251"/>
              <a:gd name="connsiteX38025" fmla="*/ 6878652 w 8079933"/>
              <a:gd name="connsiteY38025" fmla="*/ 1241539 h 4687251"/>
              <a:gd name="connsiteX38026" fmla="*/ 6876808 w 8079933"/>
              <a:gd name="connsiteY38026" fmla="*/ 1241539 h 4687251"/>
              <a:gd name="connsiteX38027" fmla="*/ 6874096 w 8079933"/>
              <a:gd name="connsiteY38027" fmla="*/ 1253124 h 4687251"/>
              <a:gd name="connsiteX38028" fmla="*/ 6874096 w 8079933"/>
              <a:gd name="connsiteY38028" fmla="*/ 1261786 h 4687251"/>
              <a:gd name="connsiteX38029" fmla="*/ 6872467 w 8079933"/>
              <a:gd name="connsiteY38029" fmla="*/ 1264709 h 4687251"/>
              <a:gd name="connsiteX38030" fmla="*/ 6874420 w 8079933"/>
              <a:gd name="connsiteY38030" fmla="*/ 1270123 h 4687251"/>
              <a:gd name="connsiteX38031" fmla="*/ 6870948 w 8079933"/>
              <a:gd name="connsiteY38031" fmla="*/ 1275320 h 4687251"/>
              <a:gd name="connsiteX38032" fmla="*/ 6870080 w 8079933"/>
              <a:gd name="connsiteY38032" fmla="*/ 1280733 h 4687251"/>
              <a:gd name="connsiteX38033" fmla="*/ 6865522 w 8079933"/>
              <a:gd name="connsiteY38033" fmla="*/ 1287771 h 4687251"/>
              <a:gd name="connsiteX38034" fmla="*/ 6865522 w 8079933"/>
              <a:gd name="connsiteY38034" fmla="*/ 1290261 h 4687251"/>
              <a:gd name="connsiteX38035" fmla="*/ 6863135 w 8079933"/>
              <a:gd name="connsiteY38035" fmla="*/ 1291127 h 4687251"/>
              <a:gd name="connsiteX38036" fmla="*/ 6863135 w 8079933"/>
              <a:gd name="connsiteY38036" fmla="*/ 1297299 h 4687251"/>
              <a:gd name="connsiteX38037" fmla="*/ 6855864 w 8079933"/>
              <a:gd name="connsiteY38037" fmla="*/ 1303254 h 4687251"/>
              <a:gd name="connsiteX38038" fmla="*/ 6855864 w 8079933"/>
              <a:gd name="connsiteY38038" fmla="*/ 1311157 h 4687251"/>
              <a:gd name="connsiteX38039" fmla="*/ 6849136 w 8079933"/>
              <a:gd name="connsiteY38039" fmla="*/ 1317329 h 4687251"/>
              <a:gd name="connsiteX38040" fmla="*/ 6849136 w 8079933"/>
              <a:gd name="connsiteY38040" fmla="*/ 1321551 h 4687251"/>
              <a:gd name="connsiteX38041" fmla="*/ 6844470 w 8079933"/>
              <a:gd name="connsiteY38041" fmla="*/ 1328805 h 4687251"/>
              <a:gd name="connsiteX38042" fmla="*/ 6843168 w 8079933"/>
              <a:gd name="connsiteY38042" fmla="*/ 1333785 h 4687251"/>
              <a:gd name="connsiteX38043" fmla="*/ 6840780 w 8079933"/>
              <a:gd name="connsiteY38043" fmla="*/ 1338008 h 4687251"/>
              <a:gd name="connsiteX38044" fmla="*/ 6843385 w 8079933"/>
              <a:gd name="connsiteY38044" fmla="*/ 1342447 h 4687251"/>
              <a:gd name="connsiteX38045" fmla="*/ 6847834 w 8079933"/>
              <a:gd name="connsiteY38045" fmla="*/ 1345479 h 4687251"/>
              <a:gd name="connsiteX38046" fmla="*/ 6852392 w 8079933"/>
              <a:gd name="connsiteY38046" fmla="*/ 1343747 h 4687251"/>
              <a:gd name="connsiteX38047" fmla="*/ 6856407 w 8079933"/>
              <a:gd name="connsiteY38047" fmla="*/ 1347319 h 4687251"/>
              <a:gd name="connsiteX38048" fmla="*/ 6861073 w 8079933"/>
              <a:gd name="connsiteY38048" fmla="*/ 1347319 h 4687251"/>
              <a:gd name="connsiteX38049" fmla="*/ 6867041 w 8079933"/>
              <a:gd name="connsiteY38049" fmla="*/ 1342989 h 4687251"/>
              <a:gd name="connsiteX38050" fmla="*/ 6870730 w 8079933"/>
              <a:gd name="connsiteY38050" fmla="*/ 1341690 h 4687251"/>
              <a:gd name="connsiteX38051" fmla="*/ 6874746 w 8079933"/>
              <a:gd name="connsiteY38051" fmla="*/ 1338983 h 4687251"/>
              <a:gd name="connsiteX38052" fmla="*/ 6876916 w 8079933"/>
              <a:gd name="connsiteY38052" fmla="*/ 1338983 h 4687251"/>
              <a:gd name="connsiteX38053" fmla="*/ 6882125 w 8079933"/>
              <a:gd name="connsiteY38053" fmla="*/ 1337575 h 4687251"/>
              <a:gd name="connsiteX38054" fmla="*/ 6882125 w 8079933"/>
              <a:gd name="connsiteY38054" fmla="*/ 1349810 h 4687251"/>
              <a:gd name="connsiteX38055" fmla="*/ 6887551 w 8079933"/>
              <a:gd name="connsiteY38055" fmla="*/ 1357064 h 4687251"/>
              <a:gd name="connsiteX38056" fmla="*/ 6889504 w 8079933"/>
              <a:gd name="connsiteY38056" fmla="*/ 1364426 h 4687251"/>
              <a:gd name="connsiteX38057" fmla="*/ 6888636 w 8079933"/>
              <a:gd name="connsiteY38057" fmla="*/ 1370598 h 4687251"/>
              <a:gd name="connsiteX38058" fmla="*/ 6894822 w 8079933"/>
              <a:gd name="connsiteY38058" fmla="*/ 1375794 h 4687251"/>
              <a:gd name="connsiteX38059" fmla="*/ 6898077 w 8079933"/>
              <a:gd name="connsiteY38059" fmla="*/ 1371788 h 4687251"/>
              <a:gd name="connsiteX38060" fmla="*/ 6899380 w 8079933"/>
              <a:gd name="connsiteY38060" fmla="*/ 1371788 h 4687251"/>
              <a:gd name="connsiteX38061" fmla="*/ 6902310 w 8079933"/>
              <a:gd name="connsiteY38061" fmla="*/ 1369840 h 4687251"/>
              <a:gd name="connsiteX38062" fmla="*/ 6904480 w 8079933"/>
              <a:gd name="connsiteY38062" fmla="*/ 1365184 h 4687251"/>
              <a:gd name="connsiteX38063" fmla="*/ 6905401 w 8079933"/>
              <a:gd name="connsiteY38063" fmla="*/ 1364817 h 4687251"/>
              <a:gd name="connsiteX38064" fmla="*/ 6901985 w 8079933"/>
              <a:gd name="connsiteY38064" fmla="*/ 1362260 h 4687251"/>
              <a:gd name="connsiteX38065" fmla="*/ 6901442 w 8079933"/>
              <a:gd name="connsiteY38065" fmla="*/ 1358795 h 4687251"/>
              <a:gd name="connsiteX38066" fmla="*/ 6905457 w 8079933"/>
              <a:gd name="connsiteY38066" fmla="*/ 1353381 h 4687251"/>
              <a:gd name="connsiteX38067" fmla="*/ 6912510 w 8079933"/>
              <a:gd name="connsiteY38067" fmla="*/ 1351649 h 4687251"/>
              <a:gd name="connsiteX38068" fmla="*/ 6911208 w 8079933"/>
              <a:gd name="connsiteY38068" fmla="*/ 1354573 h 4687251"/>
              <a:gd name="connsiteX38069" fmla="*/ 6912293 w 8079933"/>
              <a:gd name="connsiteY38069" fmla="*/ 1355871 h 4687251"/>
              <a:gd name="connsiteX38070" fmla="*/ 6910774 w 8079933"/>
              <a:gd name="connsiteY38070" fmla="*/ 1359661 h 4687251"/>
              <a:gd name="connsiteX38071" fmla="*/ 6908170 w 8079933"/>
              <a:gd name="connsiteY38071" fmla="*/ 1360419 h 4687251"/>
              <a:gd name="connsiteX38072" fmla="*/ 6905509 w 8079933"/>
              <a:gd name="connsiteY38072" fmla="*/ 1364774 h 4687251"/>
              <a:gd name="connsiteX38073" fmla="*/ 6907735 w 8079933"/>
              <a:gd name="connsiteY38073" fmla="*/ 1363885 h 4687251"/>
              <a:gd name="connsiteX38074" fmla="*/ 6909580 w 8079933"/>
              <a:gd name="connsiteY38074" fmla="*/ 1366592 h 4687251"/>
              <a:gd name="connsiteX38075" fmla="*/ 6912292 w 8079933"/>
              <a:gd name="connsiteY38075" fmla="*/ 1364102 h 4687251"/>
              <a:gd name="connsiteX38076" fmla="*/ 6917502 w 8079933"/>
              <a:gd name="connsiteY38076" fmla="*/ 1364102 h 4687251"/>
              <a:gd name="connsiteX38077" fmla="*/ 6915548 w 8079933"/>
              <a:gd name="connsiteY38077" fmla="*/ 1366050 h 4687251"/>
              <a:gd name="connsiteX38078" fmla="*/ 6913378 w 8079933"/>
              <a:gd name="connsiteY38078" fmla="*/ 1369623 h 4687251"/>
              <a:gd name="connsiteX38079" fmla="*/ 6913378 w 8079933"/>
              <a:gd name="connsiteY38079" fmla="*/ 1376444 h 4687251"/>
              <a:gd name="connsiteX38080" fmla="*/ 6910666 w 8079933"/>
              <a:gd name="connsiteY38080" fmla="*/ 1376444 h 4687251"/>
              <a:gd name="connsiteX38081" fmla="*/ 6906867 w 8079933"/>
              <a:gd name="connsiteY38081" fmla="*/ 1380017 h 4687251"/>
              <a:gd name="connsiteX38082" fmla="*/ 6908278 w 8079933"/>
              <a:gd name="connsiteY38082" fmla="*/ 1382182 h 4687251"/>
              <a:gd name="connsiteX38083" fmla="*/ 6919130 w 8079933"/>
              <a:gd name="connsiteY38083" fmla="*/ 1380559 h 4687251"/>
              <a:gd name="connsiteX38084" fmla="*/ 6924772 w 8079933"/>
              <a:gd name="connsiteY38084" fmla="*/ 1377094 h 4687251"/>
              <a:gd name="connsiteX38085" fmla="*/ 6926726 w 8079933"/>
              <a:gd name="connsiteY38085" fmla="*/ 1369840 h 4687251"/>
              <a:gd name="connsiteX38086" fmla="*/ 6925857 w 8079933"/>
              <a:gd name="connsiteY38086" fmla="*/ 1365184 h 4687251"/>
              <a:gd name="connsiteX38087" fmla="*/ 6927702 w 8079933"/>
              <a:gd name="connsiteY38087" fmla="*/ 1361719 h 4687251"/>
              <a:gd name="connsiteX38088" fmla="*/ 6930632 w 8079933"/>
              <a:gd name="connsiteY38088" fmla="*/ 1368216 h 4687251"/>
              <a:gd name="connsiteX38089" fmla="*/ 6929764 w 8079933"/>
              <a:gd name="connsiteY38089" fmla="*/ 1374170 h 4687251"/>
              <a:gd name="connsiteX38090" fmla="*/ 6929764 w 8079933"/>
              <a:gd name="connsiteY38090" fmla="*/ 1380125 h 4687251"/>
              <a:gd name="connsiteX38091" fmla="*/ 6932802 w 8079933"/>
              <a:gd name="connsiteY38091" fmla="*/ 1378176 h 4687251"/>
              <a:gd name="connsiteX38092" fmla="*/ 6934647 w 8079933"/>
              <a:gd name="connsiteY38092" fmla="*/ 1371680 h 4687251"/>
              <a:gd name="connsiteX38093" fmla="*/ 6932042 w 8079933"/>
              <a:gd name="connsiteY38093" fmla="*/ 1363668 h 4687251"/>
              <a:gd name="connsiteX38094" fmla="*/ 6933996 w 8079933"/>
              <a:gd name="connsiteY38094" fmla="*/ 1359554 h 4687251"/>
              <a:gd name="connsiteX38095" fmla="*/ 6929872 w 8079933"/>
              <a:gd name="connsiteY38095" fmla="*/ 1355115 h 4687251"/>
              <a:gd name="connsiteX38096" fmla="*/ 6927594 w 8079933"/>
              <a:gd name="connsiteY38096" fmla="*/ 1346995 h 4687251"/>
              <a:gd name="connsiteX38097" fmla="*/ 6932260 w 8079933"/>
              <a:gd name="connsiteY38097" fmla="*/ 1346995 h 4687251"/>
              <a:gd name="connsiteX38098" fmla="*/ 6936818 w 8079933"/>
              <a:gd name="connsiteY38098" fmla="*/ 1349594 h 4687251"/>
              <a:gd name="connsiteX38099" fmla="*/ 6936818 w 8079933"/>
              <a:gd name="connsiteY38099" fmla="*/ 1351758 h 4687251"/>
              <a:gd name="connsiteX38100" fmla="*/ 6938554 w 8079933"/>
              <a:gd name="connsiteY38100" fmla="*/ 1353924 h 4687251"/>
              <a:gd name="connsiteX38101" fmla="*/ 6941266 w 8079933"/>
              <a:gd name="connsiteY38101" fmla="*/ 1353924 h 4687251"/>
              <a:gd name="connsiteX38102" fmla="*/ 6943220 w 8079933"/>
              <a:gd name="connsiteY38102" fmla="*/ 1350892 h 4687251"/>
              <a:gd name="connsiteX38103" fmla="*/ 6947778 w 8079933"/>
              <a:gd name="connsiteY38103" fmla="*/ 1350892 h 4687251"/>
              <a:gd name="connsiteX38104" fmla="*/ 6953312 w 8079933"/>
              <a:gd name="connsiteY38104" fmla="*/ 1346670 h 4687251"/>
              <a:gd name="connsiteX38105" fmla="*/ 6958738 w 8079933"/>
              <a:gd name="connsiteY38105" fmla="*/ 1351109 h 4687251"/>
              <a:gd name="connsiteX38106" fmla="*/ 6964272 w 8079933"/>
              <a:gd name="connsiteY38106" fmla="*/ 1351109 h 4687251"/>
              <a:gd name="connsiteX38107" fmla="*/ 6967744 w 8079933"/>
              <a:gd name="connsiteY38107" fmla="*/ 1354249 h 4687251"/>
              <a:gd name="connsiteX38108" fmla="*/ 6970458 w 8079933"/>
              <a:gd name="connsiteY38108" fmla="*/ 1359988 h 4687251"/>
              <a:gd name="connsiteX38109" fmla="*/ 6973388 w 8079933"/>
              <a:gd name="connsiteY38109" fmla="*/ 1361936 h 4687251"/>
              <a:gd name="connsiteX38110" fmla="*/ 6980007 w 8079933"/>
              <a:gd name="connsiteY38110" fmla="*/ 1362802 h 4687251"/>
              <a:gd name="connsiteX38111" fmla="*/ 6982503 w 8079933"/>
              <a:gd name="connsiteY38111" fmla="*/ 1366050 h 4687251"/>
              <a:gd name="connsiteX38112" fmla="*/ 6993355 w 8079933"/>
              <a:gd name="connsiteY38112" fmla="*/ 1369840 h 4687251"/>
              <a:gd name="connsiteX38113" fmla="*/ 6994657 w 8079933"/>
              <a:gd name="connsiteY38113" fmla="*/ 1372980 h 4687251"/>
              <a:gd name="connsiteX38114" fmla="*/ 6998563 w 8079933"/>
              <a:gd name="connsiteY38114" fmla="*/ 1373629 h 4687251"/>
              <a:gd name="connsiteX38115" fmla="*/ 7001602 w 8079933"/>
              <a:gd name="connsiteY38115" fmla="*/ 1377419 h 4687251"/>
              <a:gd name="connsiteX38116" fmla="*/ 7004424 w 8079933"/>
              <a:gd name="connsiteY38116" fmla="*/ 1377419 h 4687251"/>
              <a:gd name="connsiteX38117" fmla="*/ 7008438 w 8079933"/>
              <a:gd name="connsiteY38117" fmla="*/ 1384998 h 4687251"/>
              <a:gd name="connsiteX38118" fmla="*/ 7005942 w 8079933"/>
              <a:gd name="connsiteY38118" fmla="*/ 1389004 h 4687251"/>
              <a:gd name="connsiteX38119" fmla="*/ 7005942 w 8079933"/>
              <a:gd name="connsiteY38119" fmla="*/ 1393010 h 4687251"/>
              <a:gd name="connsiteX38120" fmla="*/ 7002688 w 8079933"/>
              <a:gd name="connsiteY38120" fmla="*/ 1394959 h 4687251"/>
              <a:gd name="connsiteX38121" fmla="*/ 7007354 w 8079933"/>
              <a:gd name="connsiteY38121" fmla="*/ 1400155 h 4687251"/>
              <a:gd name="connsiteX38122" fmla="*/ 7010826 w 8079933"/>
              <a:gd name="connsiteY38122" fmla="*/ 1400155 h 4687251"/>
              <a:gd name="connsiteX38123" fmla="*/ 7017120 w 8079933"/>
              <a:gd name="connsiteY38123" fmla="*/ 1408276 h 4687251"/>
              <a:gd name="connsiteX38124" fmla="*/ 7017120 w 8079933"/>
              <a:gd name="connsiteY38124" fmla="*/ 1412606 h 4687251"/>
              <a:gd name="connsiteX38125" fmla="*/ 7014407 w 8079933"/>
              <a:gd name="connsiteY38125" fmla="*/ 1415855 h 4687251"/>
              <a:gd name="connsiteX38126" fmla="*/ 7014407 w 8079933"/>
              <a:gd name="connsiteY38126" fmla="*/ 1421051 h 4687251"/>
              <a:gd name="connsiteX38127" fmla="*/ 7019290 w 8079933"/>
              <a:gd name="connsiteY38127" fmla="*/ 1425166 h 4687251"/>
              <a:gd name="connsiteX38128" fmla="*/ 7023306 w 8079933"/>
              <a:gd name="connsiteY38128" fmla="*/ 1426249 h 4687251"/>
              <a:gd name="connsiteX38129" fmla="*/ 7026344 w 8079933"/>
              <a:gd name="connsiteY38129" fmla="*/ 1423542 h 4687251"/>
              <a:gd name="connsiteX38130" fmla="*/ 7027212 w 8079933"/>
              <a:gd name="connsiteY38130" fmla="*/ 1427656 h 4687251"/>
              <a:gd name="connsiteX38131" fmla="*/ 7025042 w 8079933"/>
              <a:gd name="connsiteY38131" fmla="*/ 1430363 h 4687251"/>
              <a:gd name="connsiteX38132" fmla="*/ 7025801 w 8079933"/>
              <a:gd name="connsiteY38132" fmla="*/ 1436101 h 4687251"/>
              <a:gd name="connsiteX38133" fmla="*/ 7029816 w 8079933"/>
              <a:gd name="connsiteY38133" fmla="*/ 1439674 h 4687251"/>
              <a:gd name="connsiteX38134" fmla="*/ 7026886 w 8079933"/>
              <a:gd name="connsiteY38134" fmla="*/ 1442056 h 4687251"/>
              <a:gd name="connsiteX38135" fmla="*/ 7026886 w 8079933"/>
              <a:gd name="connsiteY38135" fmla="*/ 1445521 h 4687251"/>
              <a:gd name="connsiteX38136" fmla="*/ 7028840 w 8079933"/>
              <a:gd name="connsiteY38136" fmla="*/ 1449636 h 4687251"/>
              <a:gd name="connsiteX38137" fmla="*/ 7026344 w 8079933"/>
              <a:gd name="connsiteY38137" fmla="*/ 1454507 h 4687251"/>
              <a:gd name="connsiteX38138" fmla="*/ 7028297 w 8079933"/>
              <a:gd name="connsiteY38138" fmla="*/ 1456132 h 4687251"/>
              <a:gd name="connsiteX38139" fmla="*/ 7028297 w 8079933"/>
              <a:gd name="connsiteY38139" fmla="*/ 1459379 h 4687251"/>
              <a:gd name="connsiteX38140" fmla="*/ 7027212 w 8079933"/>
              <a:gd name="connsiteY38140" fmla="*/ 1461761 h 4687251"/>
              <a:gd name="connsiteX38141" fmla="*/ 7029708 w 8079933"/>
              <a:gd name="connsiteY38141" fmla="*/ 1463385 h 4687251"/>
              <a:gd name="connsiteX38142" fmla="*/ 7026778 w 8079933"/>
              <a:gd name="connsiteY38142" fmla="*/ 1466850 h 4687251"/>
              <a:gd name="connsiteX38143" fmla="*/ 7030576 w 8079933"/>
              <a:gd name="connsiteY38143" fmla="*/ 1478218 h 4687251"/>
              <a:gd name="connsiteX38144" fmla="*/ 7028948 w 8079933"/>
              <a:gd name="connsiteY38144" fmla="*/ 1481467 h 4687251"/>
              <a:gd name="connsiteX38145" fmla="*/ 7029816 w 8079933"/>
              <a:gd name="connsiteY38145" fmla="*/ 1490345 h 4687251"/>
              <a:gd name="connsiteX38146" fmla="*/ 7030576 w 8079933"/>
              <a:gd name="connsiteY38146" fmla="*/ 1493809 h 4687251"/>
              <a:gd name="connsiteX38147" fmla="*/ 7030576 w 8079933"/>
              <a:gd name="connsiteY38147" fmla="*/ 1497815 h 4687251"/>
              <a:gd name="connsiteX38148" fmla="*/ 7035460 w 8079933"/>
              <a:gd name="connsiteY38148" fmla="*/ 1513515 h 4687251"/>
              <a:gd name="connsiteX38149" fmla="*/ 7039258 w 8079933"/>
              <a:gd name="connsiteY38149" fmla="*/ 1514273 h 4687251"/>
              <a:gd name="connsiteX38150" fmla="*/ 7043598 w 8079933"/>
              <a:gd name="connsiteY38150" fmla="*/ 1511241 h 4687251"/>
              <a:gd name="connsiteX38151" fmla="*/ 7043598 w 8079933"/>
              <a:gd name="connsiteY38151" fmla="*/ 1513407 h 4687251"/>
              <a:gd name="connsiteX38152" fmla="*/ 7040017 w 8079933"/>
              <a:gd name="connsiteY38152" fmla="*/ 1519578 h 4687251"/>
              <a:gd name="connsiteX38153" fmla="*/ 7038064 w 8079933"/>
              <a:gd name="connsiteY38153" fmla="*/ 1521743 h 4687251"/>
              <a:gd name="connsiteX38154" fmla="*/ 7040451 w 8079933"/>
              <a:gd name="connsiteY38154" fmla="*/ 1525858 h 4687251"/>
              <a:gd name="connsiteX38155" fmla="*/ 7042621 w 8079933"/>
              <a:gd name="connsiteY38155" fmla="*/ 1525858 h 4687251"/>
              <a:gd name="connsiteX38156" fmla="*/ 7049349 w 8079933"/>
              <a:gd name="connsiteY38156" fmla="*/ 1533220 h 4687251"/>
              <a:gd name="connsiteX38157" fmla="*/ 7049349 w 8079933"/>
              <a:gd name="connsiteY38157" fmla="*/ 1542207 h 4687251"/>
              <a:gd name="connsiteX38158" fmla="*/ 7050977 w 8079933"/>
              <a:gd name="connsiteY38158" fmla="*/ 1545455 h 4687251"/>
              <a:gd name="connsiteX38159" fmla="*/ 7050977 w 8079933"/>
              <a:gd name="connsiteY38159" fmla="*/ 1548486 h 4687251"/>
              <a:gd name="connsiteX38160" fmla="*/ 7052605 w 8079933"/>
              <a:gd name="connsiteY38160" fmla="*/ 1560071 h 4687251"/>
              <a:gd name="connsiteX38161" fmla="*/ 7056186 w 8079933"/>
              <a:gd name="connsiteY38161" fmla="*/ 1560071 h 4687251"/>
              <a:gd name="connsiteX38162" fmla="*/ 7056186 w 8079933"/>
              <a:gd name="connsiteY38162" fmla="*/ 1565702 h 4687251"/>
              <a:gd name="connsiteX38163" fmla="*/ 7054558 w 8079933"/>
              <a:gd name="connsiteY38163" fmla="*/ 1567542 h 4687251"/>
              <a:gd name="connsiteX38164" fmla="*/ 7054558 w 8079933"/>
              <a:gd name="connsiteY38164" fmla="*/ 1574796 h 4687251"/>
              <a:gd name="connsiteX38165" fmla="*/ 7056946 w 8079933"/>
              <a:gd name="connsiteY38165" fmla="*/ 1579344 h 4687251"/>
              <a:gd name="connsiteX38166" fmla="*/ 7056946 w 8079933"/>
              <a:gd name="connsiteY38166" fmla="*/ 1585623 h 4687251"/>
              <a:gd name="connsiteX38167" fmla="*/ 7050109 w 8079933"/>
              <a:gd name="connsiteY38167" fmla="*/ 1592877 h 4687251"/>
              <a:gd name="connsiteX38168" fmla="*/ 7050109 w 8079933"/>
              <a:gd name="connsiteY38168" fmla="*/ 1599698 h 4687251"/>
              <a:gd name="connsiteX38169" fmla="*/ 7047070 w 8079933"/>
              <a:gd name="connsiteY38169" fmla="*/ 1607277 h 4687251"/>
              <a:gd name="connsiteX38170" fmla="*/ 7047939 w 8079933"/>
              <a:gd name="connsiteY38170" fmla="*/ 1615181 h 4687251"/>
              <a:gd name="connsiteX38171" fmla="*/ 7049240 w 8079933"/>
              <a:gd name="connsiteY38171" fmla="*/ 1615939 h 4687251"/>
              <a:gd name="connsiteX38172" fmla="*/ 7049240 w 8079933"/>
              <a:gd name="connsiteY38172" fmla="*/ 1622977 h 4687251"/>
              <a:gd name="connsiteX38173" fmla="*/ 7044683 w 8079933"/>
              <a:gd name="connsiteY38173" fmla="*/ 1627307 h 4687251"/>
              <a:gd name="connsiteX38174" fmla="*/ 7044683 w 8079933"/>
              <a:gd name="connsiteY38174" fmla="*/ 1633479 h 4687251"/>
              <a:gd name="connsiteX38175" fmla="*/ 7041210 w 8079933"/>
              <a:gd name="connsiteY38175" fmla="*/ 1641274 h 4687251"/>
              <a:gd name="connsiteX38176" fmla="*/ 7043164 w 8079933"/>
              <a:gd name="connsiteY38176" fmla="*/ 1641274 h 4687251"/>
              <a:gd name="connsiteX38177" fmla="*/ 7043164 w 8079933"/>
              <a:gd name="connsiteY38177" fmla="*/ 1644847 h 4687251"/>
              <a:gd name="connsiteX38178" fmla="*/ 7039040 w 8079933"/>
              <a:gd name="connsiteY38178" fmla="*/ 1649936 h 4687251"/>
              <a:gd name="connsiteX38179" fmla="*/ 7041536 w 8079933"/>
              <a:gd name="connsiteY38179" fmla="*/ 1660763 h 4687251"/>
              <a:gd name="connsiteX38180" fmla="*/ 7036436 w 8079933"/>
              <a:gd name="connsiteY38180" fmla="*/ 1665852 h 4687251"/>
              <a:gd name="connsiteX38181" fmla="*/ 7038064 w 8079933"/>
              <a:gd name="connsiteY38181" fmla="*/ 1672131 h 4687251"/>
              <a:gd name="connsiteX38182" fmla="*/ 7040451 w 8079933"/>
              <a:gd name="connsiteY38182" fmla="*/ 1672889 h 4687251"/>
              <a:gd name="connsiteX38183" fmla="*/ 7040451 w 8079933"/>
              <a:gd name="connsiteY38183" fmla="*/ 1677762 h 4687251"/>
              <a:gd name="connsiteX38184" fmla="*/ 7034700 w 8079933"/>
              <a:gd name="connsiteY38184" fmla="*/ 1684799 h 4687251"/>
              <a:gd name="connsiteX38185" fmla="*/ 7033614 w 8079933"/>
              <a:gd name="connsiteY38185" fmla="*/ 1690429 h 4687251"/>
              <a:gd name="connsiteX38186" fmla="*/ 7028731 w 8079933"/>
              <a:gd name="connsiteY38186" fmla="*/ 1694760 h 4687251"/>
              <a:gd name="connsiteX38187" fmla="*/ 7028731 w 8079933"/>
              <a:gd name="connsiteY38187" fmla="*/ 1699091 h 4687251"/>
              <a:gd name="connsiteX38188" fmla="*/ 7023848 w 8079933"/>
              <a:gd name="connsiteY38188" fmla="*/ 1705370 h 4687251"/>
              <a:gd name="connsiteX38189" fmla="*/ 7019290 w 8079933"/>
              <a:gd name="connsiteY38189" fmla="*/ 1725725 h 4687251"/>
              <a:gd name="connsiteX38190" fmla="*/ 7016577 w 8079933"/>
              <a:gd name="connsiteY38190" fmla="*/ 1727349 h 4687251"/>
              <a:gd name="connsiteX38191" fmla="*/ 7015709 w 8079933"/>
              <a:gd name="connsiteY38191" fmla="*/ 1732980 h 4687251"/>
              <a:gd name="connsiteX38192" fmla="*/ 7017662 w 8079933"/>
              <a:gd name="connsiteY38192" fmla="*/ 1734820 h 4687251"/>
              <a:gd name="connsiteX38193" fmla="*/ 7016794 w 8079933"/>
              <a:gd name="connsiteY38193" fmla="*/ 1737202 h 4687251"/>
              <a:gd name="connsiteX38194" fmla="*/ 7010284 w 8079933"/>
              <a:gd name="connsiteY38194" fmla="*/ 1741533 h 4687251"/>
              <a:gd name="connsiteX38195" fmla="*/ 7010284 w 8079933"/>
              <a:gd name="connsiteY38195" fmla="*/ 1746405 h 4687251"/>
              <a:gd name="connsiteX38196" fmla="*/ 7005942 w 8079933"/>
              <a:gd name="connsiteY38196" fmla="*/ 1748787 h 4687251"/>
              <a:gd name="connsiteX38197" fmla="*/ 7005942 w 8079933"/>
              <a:gd name="connsiteY38197" fmla="*/ 1756149 h 4687251"/>
              <a:gd name="connsiteX38198" fmla="*/ 7003447 w 8079933"/>
              <a:gd name="connsiteY38198" fmla="*/ 1756907 h 4687251"/>
              <a:gd name="connsiteX38199" fmla="*/ 7005834 w 8079933"/>
              <a:gd name="connsiteY38199" fmla="*/ 1761455 h 4687251"/>
              <a:gd name="connsiteX38200" fmla="*/ 7000192 w 8079933"/>
              <a:gd name="connsiteY38200" fmla="*/ 1769359 h 4687251"/>
              <a:gd name="connsiteX38201" fmla="*/ 7000192 w 8079933"/>
              <a:gd name="connsiteY38201" fmla="*/ 1768059 h 4687251"/>
              <a:gd name="connsiteX38202" fmla="*/ 6996610 w 8079933"/>
              <a:gd name="connsiteY38202" fmla="*/ 1766977 h 4687251"/>
              <a:gd name="connsiteX38203" fmla="*/ 6998455 w 8079933"/>
              <a:gd name="connsiteY38203" fmla="*/ 1772065 h 4687251"/>
              <a:gd name="connsiteX38204" fmla="*/ 6998455 w 8079933"/>
              <a:gd name="connsiteY38204" fmla="*/ 1778995 h 4687251"/>
              <a:gd name="connsiteX38205" fmla="*/ 6992812 w 8079933"/>
              <a:gd name="connsiteY38205" fmla="*/ 1781485 h 4687251"/>
              <a:gd name="connsiteX38206" fmla="*/ 6994223 w 8079933"/>
              <a:gd name="connsiteY38206" fmla="*/ 1783975 h 4687251"/>
              <a:gd name="connsiteX38207" fmla="*/ 6986301 w 8079933"/>
              <a:gd name="connsiteY38207" fmla="*/ 1793719 h 4687251"/>
              <a:gd name="connsiteX38208" fmla="*/ 6982720 w 8079933"/>
              <a:gd name="connsiteY38208" fmla="*/ 1799891 h 4687251"/>
              <a:gd name="connsiteX38209" fmla="*/ 6979247 w 8079933"/>
              <a:gd name="connsiteY38209" fmla="*/ 1799891 h 4687251"/>
              <a:gd name="connsiteX38210" fmla="*/ 6978380 w 8079933"/>
              <a:gd name="connsiteY38210" fmla="*/ 1803139 h 4687251"/>
              <a:gd name="connsiteX38211" fmla="*/ 6971652 w 8079933"/>
              <a:gd name="connsiteY38211" fmla="*/ 1804222 h 4687251"/>
              <a:gd name="connsiteX38212" fmla="*/ 6966226 w 8079933"/>
              <a:gd name="connsiteY38212" fmla="*/ 1809852 h 4687251"/>
              <a:gd name="connsiteX38213" fmla="*/ 6963296 w 8079933"/>
              <a:gd name="connsiteY38213" fmla="*/ 1806820 h 4687251"/>
              <a:gd name="connsiteX38214" fmla="*/ 6960583 w 8079933"/>
              <a:gd name="connsiteY38214" fmla="*/ 1809526 h 4687251"/>
              <a:gd name="connsiteX38215" fmla="*/ 6953204 w 8079933"/>
              <a:gd name="connsiteY38215" fmla="*/ 1804871 h 4687251"/>
              <a:gd name="connsiteX38216" fmla="*/ 6945825 w 8079933"/>
              <a:gd name="connsiteY38216" fmla="*/ 1802922 h 4687251"/>
              <a:gd name="connsiteX38217" fmla="*/ 6945825 w 8079933"/>
              <a:gd name="connsiteY38217" fmla="*/ 1794477 h 4687251"/>
              <a:gd name="connsiteX38218" fmla="*/ 6943112 w 8079933"/>
              <a:gd name="connsiteY38218" fmla="*/ 1792095 h 4687251"/>
              <a:gd name="connsiteX38219" fmla="*/ 6937360 w 8079933"/>
              <a:gd name="connsiteY38219" fmla="*/ 1794585 h 4687251"/>
              <a:gd name="connsiteX38220" fmla="*/ 6932260 w 8079933"/>
              <a:gd name="connsiteY38220" fmla="*/ 1791338 h 4687251"/>
              <a:gd name="connsiteX38221" fmla="*/ 6930849 w 8079933"/>
              <a:gd name="connsiteY38221" fmla="*/ 1793828 h 4687251"/>
              <a:gd name="connsiteX38222" fmla="*/ 6930849 w 8079933"/>
              <a:gd name="connsiteY38222" fmla="*/ 1798158 h 4687251"/>
              <a:gd name="connsiteX38223" fmla="*/ 6926508 w 8079933"/>
              <a:gd name="connsiteY38223" fmla="*/ 1801623 h 4687251"/>
              <a:gd name="connsiteX38224" fmla="*/ 6926508 w 8079933"/>
              <a:gd name="connsiteY38224" fmla="*/ 1810285 h 4687251"/>
              <a:gd name="connsiteX38225" fmla="*/ 6923470 w 8079933"/>
              <a:gd name="connsiteY38225" fmla="*/ 1812450 h 4687251"/>
              <a:gd name="connsiteX38226" fmla="*/ 6921517 w 8079933"/>
              <a:gd name="connsiteY38226" fmla="*/ 1820354 h 4687251"/>
              <a:gd name="connsiteX38227" fmla="*/ 6919563 w 8079933"/>
              <a:gd name="connsiteY38227" fmla="*/ 1818189 h 4687251"/>
              <a:gd name="connsiteX38228" fmla="*/ 6913378 w 8079933"/>
              <a:gd name="connsiteY38228" fmla="*/ 1819271 h 4687251"/>
              <a:gd name="connsiteX38229" fmla="*/ 6911750 w 8079933"/>
              <a:gd name="connsiteY38229" fmla="*/ 1826309 h 4687251"/>
              <a:gd name="connsiteX38230" fmla="*/ 6910122 w 8079933"/>
              <a:gd name="connsiteY38230" fmla="*/ 1826309 h 4687251"/>
              <a:gd name="connsiteX38231" fmla="*/ 6909492 w 8079933"/>
              <a:gd name="connsiteY38231" fmla="*/ 1825432 h 4687251"/>
              <a:gd name="connsiteX38232" fmla="*/ 6901768 w 8079933"/>
              <a:gd name="connsiteY38232" fmla="*/ 1833995 h 4687251"/>
              <a:gd name="connsiteX38233" fmla="*/ 6898838 w 8079933"/>
              <a:gd name="connsiteY38233" fmla="*/ 1833454 h 4687251"/>
              <a:gd name="connsiteX38234" fmla="*/ 6898729 w 8079933"/>
              <a:gd name="connsiteY38234" fmla="*/ 1839193 h 4687251"/>
              <a:gd name="connsiteX38235" fmla="*/ 6895474 w 8079933"/>
              <a:gd name="connsiteY38235" fmla="*/ 1851102 h 4687251"/>
              <a:gd name="connsiteX38236" fmla="*/ 6895799 w 8079933"/>
              <a:gd name="connsiteY38236" fmla="*/ 1857923 h 4687251"/>
              <a:gd name="connsiteX38237" fmla="*/ 6900683 w 8079933"/>
              <a:gd name="connsiteY38237" fmla="*/ 1861821 h 4687251"/>
              <a:gd name="connsiteX38238" fmla="*/ 6900791 w 8079933"/>
              <a:gd name="connsiteY38238" fmla="*/ 1874164 h 4687251"/>
              <a:gd name="connsiteX38239" fmla="*/ 6904698 w 8079933"/>
              <a:gd name="connsiteY38239" fmla="*/ 1877087 h 4687251"/>
              <a:gd name="connsiteX38240" fmla="*/ 6902636 w 8079933"/>
              <a:gd name="connsiteY38240" fmla="*/ 1882717 h 4687251"/>
              <a:gd name="connsiteX38241" fmla="*/ 6896559 w 8079933"/>
              <a:gd name="connsiteY38241" fmla="*/ 1887914 h 4687251"/>
              <a:gd name="connsiteX38242" fmla="*/ 6897753 w 8079933"/>
              <a:gd name="connsiteY38242" fmla="*/ 1889754 h 4687251"/>
              <a:gd name="connsiteX38243" fmla="*/ 6885816 w 8079933"/>
              <a:gd name="connsiteY38243" fmla="*/ 1902206 h 4687251"/>
              <a:gd name="connsiteX38244" fmla="*/ 6887335 w 8079933"/>
              <a:gd name="connsiteY38244" fmla="*/ 1905778 h 4687251"/>
              <a:gd name="connsiteX38245" fmla="*/ 6883863 w 8079933"/>
              <a:gd name="connsiteY38245" fmla="*/ 1908810 h 4687251"/>
              <a:gd name="connsiteX38246" fmla="*/ 6882778 w 8079933"/>
              <a:gd name="connsiteY38246" fmla="*/ 1911409 h 4687251"/>
              <a:gd name="connsiteX38247" fmla="*/ 6877894 w 8079933"/>
              <a:gd name="connsiteY38247" fmla="*/ 1911192 h 4687251"/>
              <a:gd name="connsiteX38248" fmla="*/ 6873228 w 8079933"/>
              <a:gd name="connsiteY38248" fmla="*/ 1914224 h 4687251"/>
              <a:gd name="connsiteX38249" fmla="*/ 6871166 w 8079933"/>
              <a:gd name="connsiteY38249" fmla="*/ 1919529 h 4687251"/>
              <a:gd name="connsiteX38250" fmla="*/ 6864872 w 8079933"/>
              <a:gd name="connsiteY38250" fmla="*/ 1923427 h 4687251"/>
              <a:gd name="connsiteX38251" fmla="*/ 6864872 w 8079933"/>
              <a:gd name="connsiteY38251" fmla="*/ 1929382 h 4687251"/>
              <a:gd name="connsiteX38252" fmla="*/ 6866717 w 8079933"/>
              <a:gd name="connsiteY38252" fmla="*/ 1934904 h 4687251"/>
              <a:gd name="connsiteX38253" fmla="*/ 6864330 w 8079933"/>
              <a:gd name="connsiteY38253" fmla="*/ 1937394 h 4687251"/>
              <a:gd name="connsiteX38254" fmla="*/ 6865740 w 8079933"/>
              <a:gd name="connsiteY38254" fmla="*/ 1943673 h 4687251"/>
              <a:gd name="connsiteX38255" fmla="*/ 6874530 w 8079933"/>
              <a:gd name="connsiteY38255" fmla="*/ 1945298 h 4687251"/>
              <a:gd name="connsiteX38256" fmla="*/ 6877026 w 8079933"/>
              <a:gd name="connsiteY38256" fmla="*/ 1949304 h 4687251"/>
              <a:gd name="connsiteX38257" fmla="*/ 6894498 w 8079933"/>
              <a:gd name="connsiteY38257" fmla="*/ 1959373 h 4687251"/>
              <a:gd name="connsiteX38258" fmla="*/ 6897318 w 8079933"/>
              <a:gd name="connsiteY38258" fmla="*/ 1964569 h 4687251"/>
              <a:gd name="connsiteX38259" fmla="*/ 6897317 w 8079933"/>
              <a:gd name="connsiteY38259" fmla="*/ 1964570 h 4687251"/>
              <a:gd name="connsiteX38260" fmla="*/ 6906107 w 8079933"/>
              <a:gd name="connsiteY38260" fmla="*/ 1980701 h 4687251"/>
              <a:gd name="connsiteX38261" fmla="*/ 6918912 w 8079933"/>
              <a:gd name="connsiteY38261" fmla="*/ 1994018 h 4687251"/>
              <a:gd name="connsiteX38262" fmla="*/ 6933019 w 8079933"/>
              <a:gd name="connsiteY38262" fmla="*/ 2011666 h 4687251"/>
              <a:gd name="connsiteX38263" fmla="*/ 6933453 w 8079933"/>
              <a:gd name="connsiteY38263" fmla="*/ 2022385 h 4687251"/>
              <a:gd name="connsiteX38264" fmla="*/ 6937034 w 8079933"/>
              <a:gd name="connsiteY38264" fmla="*/ 2026174 h 4687251"/>
              <a:gd name="connsiteX38265" fmla="*/ 6940289 w 8079933"/>
              <a:gd name="connsiteY38265" fmla="*/ 2042957 h 4687251"/>
              <a:gd name="connsiteX38266" fmla="*/ 6940507 w 8079933"/>
              <a:gd name="connsiteY38266" fmla="*/ 2048478 h 4687251"/>
              <a:gd name="connsiteX38267" fmla="*/ 6942134 w 8079933"/>
              <a:gd name="connsiteY38267" fmla="*/ 2046746 h 4687251"/>
              <a:gd name="connsiteX38268" fmla="*/ 6943762 w 8079933"/>
              <a:gd name="connsiteY38268" fmla="*/ 2046746 h 4687251"/>
              <a:gd name="connsiteX38269" fmla="*/ 6944956 w 8079933"/>
              <a:gd name="connsiteY38269" fmla="*/ 2064935 h 4687251"/>
              <a:gd name="connsiteX38270" fmla="*/ 6941700 w 8079933"/>
              <a:gd name="connsiteY38270" fmla="*/ 2067426 h 4687251"/>
              <a:gd name="connsiteX38271" fmla="*/ 6943220 w 8079933"/>
              <a:gd name="connsiteY38271" fmla="*/ 2070024 h 4687251"/>
              <a:gd name="connsiteX38272" fmla="*/ 6936708 w 8079933"/>
              <a:gd name="connsiteY38272" fmla="*/ 2078253 h 4687251"/>
              <a:gd name="connsiteX38273" fmla="*/ 6931282 w 8079933"/>
              <a:gd name="connsiteY38273" fmla="*/ 2078253 h 4687251"/>
              <a:gd name="connsiteX38274" fmla="*/ 6925423 w 8079933"/>
              <a:gd name="connsiteY38274" fmla="*/ 2081934 h 4687251"/>
              <a:gd name="connsiteX38275" fmla="*/ 6927267 w 8079933"/>
              <a:gd name="connsiteY38275" fmla="*/ 2085290 h 4687251"/>
              <a:gd name="connsiteX38276" fmla="*/ 6924880 w 8079933"/>
              <a:gd name="connsiteY38276" fmla="*/ 2086914 h 4687251"/>
              <a:gd name="connsiteX38277" fmla="*/ 6923144 w 8079933"/>
              <a:gd name="connsiteY38277" fmla="*/ 2084749 h 4687251"/>
              <a:gd name="connsiteX38278" fmla="*/ 6918586 w 8079933"/>
              <a:gd name="connsiteY38278" fmla="*/ 2086589 h 4687251"/>
              <a:gd name="connsiteX38279" fmla="*/ 6916199 w 8079933"/>
              <a:gd name="connsiteY38279" fmla="*/ 2081934 h 4687251"/>
              <a:gd name="connsiteX38280" fmla="*/ 6913703 w 8079933"/>
              <a:gd name="connsiteY38280" fmla="*/ 2081501 h 4687251"/>
              <a:gd name="connsiteX38281" fmla="*/ 6910447 w 8079933"/>
              <a:gd name="connsiteY38281" fmla="*/ 2085506 h 4687251"/>
              <a:gd name="connsiteX38282" fmla="*/ 6909687 w 8079933"/>
              <a:gd name="connsiteY38282" fmla="*/ 2083016 h 4687251"/>
              <a:gd name="connsiteX38283" fmla="*/ 6905347 w 8079933"/>
              <a:gd name="connsiteY38283" fmla="*/ 2083883 h 4687251"/>
              <a:gd name="connsiteX38284" fmla="*/ 6894712 w 8079933"/>
              <a:gd name="connsiteY38284" fmla="*/ 2093086 h 4687251"/>
              <a:gd name="connsiteX38285" fmla="*/ 6891240 w 8079933"/>
              <a:gd name="connsiteY38285" fmla="*/ 2097958 h 4687251"/>
              <a:gd name="connsiteX38286" fmla="*/ 6889070 w 8079933"/>
              <a:gd name="connsiteY38286" fmla="*/ 2095034 h 4687251"/>
              <a:gd name="connsiteX38287" fmla="*/ 6888744 w 8079933"/>
              <a:gd name="connsiteY38287" fmla="*/ 2101206 h 4687251"/>
              <a:gd name="connsiteX38288" fmla="*/ 6885271 w 8079933"/>
              <a:gd name="connsiteY38288" fmla="*/ 2103696 h 4687251"/>
              <a:gd name="connsiteX38289" fmla="*/ 6885489 w 8079933"/>
              <a:gd name="connsiteY38289" fmla="*/ 2099582 h 4687251"/>
              <a:gd name="connsiteX38290" fmla="*/ 6883644 w 8079933"/>
              <a:gd name="connsiteY38290" fmla="*/ 2098175 h 4687251"/>
              <a:gd name="connsiteX38291" fmla="*/ 6882558 w 8079933"/>
              <a:gd name="connsiteY38291" fmla="*/ 2092653 h 4687251"/>
              <a:gd name="connsiteX38292" fmla="*/ 6879195 w 8079933"/>
              <a:gd name="connsiteY38292" fmla="*/ 2092328 h 4687251"/>
              <a:gd name="connsiteX38293" fmla="*/ 6873335 w 8079933"/>
              <a:gd name="connsiteY38293" fmla="*/ 2081176 h 4687251"/>
              <a:gd name="connsiteX38294" fmla="*/ 6876481 w 8079933"/>
              <a:gd name="connsiteY38294" fmla="*/ 2080959 h 4687251"/>
              <a:gd name="connsiteX38295" fmla="*/ 6873986 w 8079933"/>
              <a:gd name="connsiteY38295" fmla="*/ 2076520 h 4687251"/>
              <a:gd name="connsiteX38296" fmla="*/ 6873986 w 8079933"/>
              <a:gd name="connsiteY38296" fmla="*/ 2071973 h 4687251"/>
              <a:gd name="connsiteX38297" fmla="*/ 6876807 w 8079933"/>
              <a:gd name="connsiteY38297" fmla="*/ 2070349 h 4687251"/>
              <a:gd name="connsiteX38298" fmla="*/ 6876590 w 8079933"/>
              <a:gd name="connsiteY38298" fmla="*/ 2066235 h 4687251"/>
              <a:gd name="connsiteX38299" fmla="*/ 6873335 w 8079933"/>
              <a:gd name="connsiteY38299" fmla="*/ 2063636 h 4687251"/>
              <a:gd name="connsiteX38300" fmla="*/ 6873551 w 8079933"/>
              <a:gd name="connsiteY38300" fmla="*/ 2060930 h 4687251"/>
              <a:gd name="connsiteX38301" fmla="*/ 6881365 w 8079933"/>
              <a:gd name="connsiteY38301" fmla="*/ 2055733 h 4687251"/>
              <a:gd name="connsiteX38302" fmla="*/ 6877133 w 8079933"/>
              <a:gd name="connsiteY38302" fmla="*/ 2047612 h 4687251"/>
              <a:gd name="connsiteX38303" fmla="*/ 6875397 w 8079933"/>
              <a:gd name="connsiteY38303" fmla="*/ 2049236 h 4687251"/>
              <a:gd name="connsiteX38304" fmla="*/ 6872684 w 8079933"/>
              <a:gd name="connsiteY38304" fmla="*/ 2047396 h 4687251"/>
              <a:gd name="connsiteX38305" fmla="*/ 6872467 w 8079933"/>
              <a:gd name="connsiteY38305" fmla="*/ 2037543 h 4687251"/>
              <a:gd name="connsiteX38306" fmla="*/ 6870079 w 8079933"/>
              <a:gd name="connsiteY38306" fmla="*/ 2032238 h 4687251"/>
              <a:gd name="connsiteX38307" fmla="*/ 6867366 w 8079933"/>
              <a:gd name="connsiteY38307" fmla="*/ 2033212 h 4687251"/>
              <a:gd name="connsiteX38308" fmla="*/ 6856948 w 8079933"/>
              <a:gd name="connsiteY38308" fmla="*/ 2028340 h 4687251"/>
              <a:gd name="connsiteX38309" fmla="*/ 6861832 w 8079933"/>
              <a:gd name="connsiteY38309" fmla="*/ 2021411 h 4687251"/>
              <a:gd name="connsiteX38310" fmla="*/ 6865196 w 8079933"/>
              <a:gd name="connsiteY38310" fmla="*/ 2022385 h 4687251"/>
              <a:gd name="connsiteX38311" fmla="*/ 6866824 w 8079933"/>
              <a:gd name="connsiteY38311" fmla="*/ 2018162 h 4687251"/>
              <a:gd name="connsiteX38312" fmla="*/ 6868451 w 8079933"/>
              <a:gd name="connsiteY38312" fmla="*/ 2020544 h 4687251"/>
              <a:gd name="connsiteX38313" fmla="*/ 6876481 w 8079933"/>
              <a:gd name="connsiteY38313" fmla="*/ 2023251 h 4687251"/>
              <a:gd name="connsiteX38314" fmla="*/ 6874528 w 8079933"/>
              <a:gd name="connsiteY38314" fmla="*/ 2019137 h 4687251"/>
              <a:gd name="connsiteX38315" fmla="*/ 6871055 w 8079933"/>
              <a:gd name="connsiteY38315" fmla="*/ 2014265 h 4687251"/>
              <a:gd name="connsiteX38316" fmla="*/ 6872684 w 8079933"/>
              <a:gd name="connsiteY38316" fmla="*/ 2011666 h 4687251"/>
              <a:gd name="connsiteX38317" fmla="*/ 6869428 w 8079933"/>
              <a:gd name="connsiteY38317" fmla="*/ 2011017 h 4687251"/>
              <a:gd name="connsiteX38318" fmla="*/ 6863243 w 8079933"/>
              <a:gd name="connsiteY38318" fmla="*/ 2002138 h 4687251"/>
              <a:gd name="connsiteX38319" fmla="*/ 6853802 w 8079933"/>
              <a:gd name="connsiteY38319" fmla="*/ 1994235 h 4687251"/>
              <a:gd name="connsiteX38320" fmla="*/ 6857274 w 8079933"/>
              <a:gd name="connsiteY38320" fmla="*/ 1992395 h 4687251"/>
              <a:gd name="connsiteX38321" fmla="*/ 6850112 w 8079933"/>
              <a:gd name="connsiteY38321" fmla="*/ 1992178 h 4687251"/>
              <a:gd name="connsiteX38322" fmla="*/ 6846097 w 8079933"/>
              <a:gd name="connsiteY38322" fmla="*/ 1995101 h 4687251"/>
              <a:gd name="connsiteX38323" fmla="*/ 6845446 w 8079933"/>
              <a:gd name="connsiteY38323" fmla="*/ 1994452 h 4687251"/>
              <a:gd name="connsiteX38324" fmla="*/ 6845446 w 8079933"/>
              <a:gd name="connsiteY38324" fmla="*/ 1994451 h 4687251"/>
              <a:gd name="connsiteX38325" fmla="*/ 6840130 w 8079933"/>
              <a:gd name="connsiteY38325" fmla="*/ 1988606 h 4687251"/>
              <a:gd name="connsiteX38326" fmla="*/ 6837417 w 8079933"/>
              <a:gd name="connsiteY38326" fmla="*/ 1990446 h 4687251"/>
              <a:gd name="connsiteX38327" fmla="*/ 6838611 w 8079933"/>
              <a:gd name="connsiteY38327" fmla="*/ 1992936 h 4687251"/>
              <a:gd name="connsiteX38328" fmla="*/ 6834270 w 8079933"/>
              <a:gd name="connsiteY38328" fmla="*/ 1998567 h 4687251"/>
              <a:gd name="connsiteX38329" fmla="*/ 6831450 w 8079933"/>
              <a:gd name="connsiteY38329" fmla="*/ 1996510 h 4687251"/>
              <a:gd name="connsiteX38330" fmla="*/ 6826566 w 8079933"/>
              <a:gd name="connsiteY38330" fmla="*/ 2000516 h 4687251"/>
              <a:gd name="connsiteX38331" fmla="*/ 6824504 w 8079933"/>
              <a:gd name="connsiteY38331" fmla="*/ 1997267 h 4687251"/>
              <a:gd name="connsiteX38332" fmla="*/ 6828844 w 8079933"/>
              <a:gd name="connsiteY38332" fmla="*/ 1990446 h 4687251"/>
              <a:gd name="connsiteX38333" fmla="*/ 6823853 w 8079933"/>
              <a:gd name="connsiteY38333" fmla="*/ 1988606 h 4687251"/>
              <a:gd name="connsiteX38334" fmla="*/ 6819621 w 8079933"/>
              <a:gd name="connsiteY38334" fmla="*/ 1990988 h 4687251"/>
              <a:gd name="connsiteX38335" fmla="*/ 6817559 w 8079933"/>
              <a:gd name="connsiteY38335" fmla="*/ 1990446 h 4687251"/>
              <a:gd name="connsiteX38336" fmla="*/ 6818753 w 8079933"/>
              <a:gd name="connsiteY38336" fmla="*/ 1986116 h 4687251"/>
              <a:gd name="connsiteX38337" fmla="*/ 6819079 w 8079933"/>
              <a:gd name="connsiteY38337" fmla="*/ 1976155 h 4687251"/>
              <a:gd name="connsiteX38338" fmla="*/ 6822333 w 8079933"/>
              <a:gd name="connsiteY38338" fmla="*/ 1969442 h 4687251"/>
              <a:gd name="connsiteX38339" fmla="*/ 6828519 w 8079933"/>
              <a:gd name="connsiteY38339" fmla="*/ 1968900 h 4687251"/>
              <a:gd name="connsiteX38340" fmla="*/ 6833619 w 8079933"/>
              <a:gd name="connsiteY38340" fmla="*/ 1964245 h 4687251"/>
              <a:gd name="connsiteX38341" fmla="*/ 6828844 w 8079933"/>
              <a:gd name="connsiteY38341" fmla="*/ 1966627 h 4687251"/>
              <a:gd name="connsiteX38342" fmla="*/ 6820055 w 8079933"/>
              <a:gd name="connsiteY38342" fmla="*/ 1966410 h 4687251"/>
              <a:gd name="connsiteX38343" fmla="*/ 6818427 w 8079933"/>
              <a:gd name="connsiteY38343" fmla="*/ 1964461 h 4687251"/>
              <a:gd name="connsiteX38344" fmla="*/ 6817993 w 8079933"/>
              <a:gd name="connsiteY38344" fmla="*/ 1953093 h 4687251"/>
              <a:gd name="connsiteX38345" fmla="*/ 6823853 w 8079933"/>
              <a:gd name="connsiteY38345" fmla="*/ 1943673 h 4687251"/>
              <a:gd name="connsiteX38346" fmla="*/ 6820706 w 8079933"/>
              <a:gd name="connsiteY38346" fmla="*/ 1939126 h 4687251"/>
              <a:gd name="connsiteX38347" fmla="*/ 6823962 w 8079933"/>
              <a:gd name="connsiteY38347" fmla="*/ 1936961 h 4687251"/>
              <a:gd name="connsiteX38348" fmla="*/ 6825264 w 8079933"/>
              <a:gd name="connsiteY38348" fmla="*/ 1932847 h 4687251"/>
              <a:gd name="connsiteX38349" fmla="*/ 6822225 w 8079933"/>
              <a:gd name="connsiteY38349" fmla="*/ 1933171 h 4687251"/>
              <a:gd name="connsiteX38350" fmla="*/ 6819621 w 8079933"/>
              <a:gd name="connsiteY38350" fmla="*/ 1936419 h 4687251"/>
              <a:gd name="connsiteX38351" fmla="*/ 6811916 w 8079933"/>
              <a:gd name="connsiteY38351" fmla="*/ 1937502 h 4687251"/>
              <a:gd name="connsiteX38352" fmla="*/ 6809746 w 8079933"/>
              <a:gd name="connsiteY38352" fmla="*/ 1934470 h 4687251"/>
              <a:gd name="connsiteX38353" fmla="*/ 6804428 w 8079933"/>
              <a:gd name="connsiteY38353" fmla="*/ 1931547 h 4687251"/>
              <a:gd name="connsiteX38354" fmla="*/ 6804103 w 8079933"/>
              <a:gd name="connsiteY38354" fmla="*/ 1935228 h 4687251"/>
              <a:gd name="connsiteX38355" fmla="*/ 6800739 w 8079933"/>
              <a:gd name="connsiteY38355" fmla="*/ 1937502 h 4687251"/>
              <a:gd name="connsiteX38356" fmla="*/ 6798460 w 8079933"/>
              <a:gd name="connsiteY38356" fmla="*/ 1929057 h 4687251"/>
              <a:gd name="connsiteX38357" fmla="*/ 6797375 w 8079933"/>
              <a:gd name="connsiteY38357" fmla="*/ 1929598 h 4687251"/>
              <a:gd name="connsiteX38358" fmla="*/ 6796724 w 8079933"/>
              <a:gd name="connsiteY38358" fmla="*/ 1927974 h 4687251"/>
              <a:gd name="connsiteX38359" fmla="*/ 6796724 w 8079933"/>
              <a:gd name="connsiteY38359" fmla="*/ 1927649 h 4687251"/>
              <a:gd name="connsiteX38360" fmla="*/ 6796724 w 8079933"/>
              <a:gd name="connsiteY38360" fmla="*/ 1914224 h 4687251"/>
              <a:gd name="connsiteX38361" fmla="*/ 6803018 w 8079933"/>
              <a:gd name="connsiteY38361" fmla="*/ 1909027 h 4687251"/>
              <a:gd name="connsiteX38362" fmla="*/ 6805731 w 8079933"/>
              <a:gd name="connsiteY38362" fmla="*/ 1902855 h 4687251"/>
              <a:gd name="connsiteX38363" fmla="*/ 6805731 w 8079933"/>
              <a:gd name="connsiteY38363" fmla="*/ 1898741 h 4687251"/>
              <a:gd name="connsiteX38364" fmla="*/ 6811916 w 8079933"/>
              <a:gd name="connsiteY38364" fmla="*/ 1894627 h 4687251"/>
              <a:gd name="connsiteX38365" fmla="*/ 6816148 w 8079933"/>
              <a:gd name="connsiteY38365" fmla="*/ 1886723 h 4687251"/>
              <a:gd name="connsiteX38366" fmla="*/ 6820597 w 8079933"/>
              <a:gd name="connsiteY38366" fmla="*/ 1884666 h 4687251"/>
              <a:gd name="connsiteX38367" fmla="*/ 6824395 w 8079933"/>
              <a:gd name="connsiteY38367" fmla="*/ 1872973 h 4687251"/>
              <a:gd name="connsiteX38368" fmla="*/ 6826458 w 8079933"/>
              <a:gd name="connsiteY38368" fmla="*/ 1868750 h 4687251"/>
              <a:gd name="connsiteX38369" fmla="*/ 6826131 w 8079933"/>
              <a:gd name="connsiteY38369" fmla="*/ 1866368 h 4687251"/>
              <a:gd name="connsiteX38370" fmla="*/ 6826458 w 8079933"/>
              <a:gd name="connsiteY38370" fmla="*/ 1858464 h 4687251"/>
              <a:gd name="connsiteX38371" fmla="*/ 6830906 w 8079933"/>
              <a:gd name="connsiteY38371" fmla="*/ 1852943 h 4687251"/>
              <a:gd name="connsiteX38372" fmla="*/ 6830905 w 8079933"/>
              <a:gd name="connsiteY38372" fmla="*/ 1852941 h 4687251"/>
              <a:gd name="connsiteX38373" fmla="*/ 6826456 w 8079933"/>
              <a:gd name="connsiteY38373" fmla="*/ 1858463 h 4687251"/>
              <a:gd name="connsiteX38374" fmla="*/ 6826130 w 8079933"/>
              <a:gd name="connsiteY38374" fmla="*/ 1866367 h 4687251"/>
              <a:gd name="connsiteX38375" fmla="*/ 6826456 w 8079933"/>
              <a:gd name="connsiteY38375" fmla="*/ 1868749 h 4687251"/>
              <a:gd name="connsiteX38376" fmla="*/ 6824394 w 8079933"/>
              <a:gd name="connsiteY38376" fmla="*/ 1872972 h 4687251"/>
              <a:gd name="connsiteX38377" fmla="*/ 6820597 w 8079933"/>
              <a:gd name="connsiteY38377" fmla="*/ 1884665 h 4687251"/>
              <a:gd name="connsiteX38378" fmla="*/ 6816147 w 8079933"/>
              <a:gd name="connsiteY38378" fmla="*/ 1886722 h 4687251"/>
              <a:gd name="connsiteX38379" fmla="*/ 6811915 w 8079933"/>
              <a:gd name="connsiteY38379" fmla="*/ 1894626 h 4687251"/>
              <a:gd name="connsiteX38380" fmla="*/ 6805729 w 8079933"/>
              <a:gd name="connsiteY38380" fmla="*/ 1898740 h 4687251"/>
              <a:gd name="connsiteX38381" fmla="*/ 6805729 w 8079933"/>
              <a:gd name="connsiteY38381" fmla="*/ 1902855 h 4687251"/>
              <a:gd name="connsiteX38382" fmla="*/ 6803016 w 8079933"/>
              <a:gd name="connsiteY38382" fmla="*/ 1909026 h 4687251"/>
              <a:gd name="connsiteX38383" fmla="*/ 6796722 w 8079933"/>
              <a:gd name="connsiteY38383" fmla="*/ 1914223 h 4687251"/>
              <a:gd name="connsiteX38384" fmla="*/ 6796722 w 8079933"/>
              <a:gd name="connsiteY38384" fmla="*/ 1927648 h 4687251"/>
              <a:gd name="connsiteX38385" fmla="*/ 6795204 w 8079933"/>
              <a:gd name="connsiteY38385" fmla="*/ 1923534 h 4687251"/>
              <a:gd name="connsiteX38386" fmla="*/ 6788258 w 8079933"/>
              <a:gd name="connsiteY38386" fmla="*/ 1931546 h 4687251"/>
              <a:gd name="connsiteX38387" fmla="*/ 6783050 w 8079933"/>
              <a:gd name="connsiteY38387" fmla="*/ 1931871 h 4687251"/>
              <a:gd name="connsiteX38388" fmla="*/ 6780337 w 8079933"/>
              <a:gd name="connsiteY38388" fmla="*/ 1932737 h 4687251"/>
              <a:gd name="connsiteX38389" fmla="*/ 6777841 w 8079933"/>
              <a:gd name="connsiteY38389" fmla="*/ 1930571 h 4687251"/>
              <a:gd name="connsiteX38390" fmla="*/ 6771438 w 8079933"/>
              <a:gd name="connsiteY38390" fmla="*/ 1935119 h 4687251"/>
              <a:gd name="connsiteX38391" fmla="*/ 6766013 w 8079933"/>
              <a:gd name="connsiteY38391" fmla="*/ 1935119 h 4687251"/>
              <a:gd name="connsiteX38392" fmla="*/ 6765144 w 8079933"/>
              <a:gd name="connsiteY38392" fmla="*/ 1939991 h 4687251"/>
              <a:gd name="connsiteX38393" fmla="*/ 6762106 w 8079933"/>
              <a:gd name="connsiteY38393" fmla="*/ 1939667 h 4687251"/>
              <a:gd name="connsiteX38394" fmla="*/ 6751580 w 8079933"/>
              <a:gd name="connsiteY38394" fmla="*/ 1947570 h 4687251"/>
              <a:gd name="connsiteX38395" fmla="*/ 6745611 w 8079933"/>
              <a:gd name="connsiteY38395" fmla="*/ 1952009 h 4687251"/>
              <a:gd name="connsiteX38396" fmla="*/ 6747564 w 8079933"/>
              <a:gd name="connsiteY38396" fmla="*/ 1956773 h 4687251"/>
              <a:gd name="connsiteX38397" fmla="*/ 6746913 w 8079933"/>
              <a:gd name="connsiteY38397" fmla="*/ 1958614 h 4687251"/>
              <a:gd name="connsiteX38398" fmla="*/ 6740077 w 8079933"/>
              <a:gd name="connsiteY38398" fmla="*/ 1961537 h 4687251"/>
              <a:gd name="connsiteX38399" fmla="*/ 6736279 w 8079933"/>
              <a:gd name="connsiteY38399" fmla="*/ 1967384 h 4687251"/>
              <a:gd name="connsiteX38400" fmla="*/ 6733457 w 8079933"/>
              <a:gd name="connsiteY38400" fmla="*/ 1967275 h 4687251"/>
              <a:gd name="connsiteX38401" fmla="*/ 6730636 w 8079933"/>
              <a:gd name="connsiteY38401" fmla="*/ 1970956 h 4687251"/>
              <a:gd name="connsiteX38402" fmla="*/ 6727598 w 8079933"/>
              <a:gd name="connsiteY38402" fmla="*/ 1971498 h 4687251"/>
              <a:gd name="connsiteX38403" fmla="*/ 6726947 w 8079933"/>
              <a:gd name="connsiteY38403" fmla="*/ 1967709 h 4687251"/>
              <a:gd name="connsiteX38404" fmla="*/ 6723257 w 8079933"/>
              <a:gd name="connsiteY38404" fmla="*/ 1965110 h 4687251"/>
              <a:gd name="connsiteX38405" fmla="*/ 6725210 w 8079933"/>
              <a:gd name="connsiteY38405" fmla="*/ 1961537 h 4687251"/>
              <a:gd name="connsiteX38406" fmla="*/ 6729116 w 8079933"/>
              <a:gd name="connsiteY38406" fmla="*/ 1961320 h 4687251"/>
              <a:gd name="connsiteX38407" fmla="*/ 6731504 w 8079933"/>
              <a:gd name="connsiteY38407" fmla="*/ 1957964 h 4687251"/>
              <a:gd name="connsiteX38408" fmla="*/ 6736930 w 8079933"/>
              <a:gd name="connsiteY38408" fmla="*/ 1958722 h 4687251"/>
              <a:gd name="connsiteX38409" fmla="*/ 6738883 w 8079933"/>
              <a:gd name="connsiteY38409" fmla="*/ 1957315 h 4687251"/>
              <a:gd name="connsiteX38410" fmla="*/ 6739426 w 8079933"/>
              <a:gd name="connsiteY38410" fmla="*/ 1954608 h 4687251"/>
              <a:gd name="connsiteX38411" fmla="*/ 6736713 w 8079933"/>
              <a:gd name="connsiteY38411" fmla="*/ 1954066 h 4687251"/>
              <a:gd name="connsiteX38412" fmla="*/ 6736170 w 8079933"/>
              <a:gd name="connsiteY38412" fmla="*/ 1951685 h 4687251"/>
              <a:gd name="connsiteX38413" fmla="*/ 6740728 w 8079933"/>
              <a:gd name="connsiteY38413" fmla="*/ 1948653 h 4687251"/>
              <a:gd name="connsiteX38414" fmla="*/ 6742898 w 8079933"/>
              <a:gd name="connsiteY38414" fmla="*/ 1944322 h 4687251"/>
              <a:gd name="connsiteX38415" fmla="*/ 6737255 w 8079933"/>
              <a:gd name="connsiteY38415" fmla="*/ 1948653 h 4687251"/>
              <a:gd name="connsiteX38416" fmla="*/ 6732047 w 8079933"/>
              <a:gd name="connsiteY38416" fmla="*/ 1950385 h 4687251"/>
              <a:gd name="connsiteX38417" fmla="*/ 6729876 w 8079933"/>
              <a:gd name="connsiteY38417" fmla="*/ 1947895 h 4687251"/>
              <a:gd name="connsiteX38418" fmla="*/ 6729876 w 8079933"/>
              <a:gd name="connsiteY38418" fmla="*/ 1945080 h 4687251"/>
              <a:gd name="connsiteX38419" fmla="*/ 6731829 w 8079933"/>
              <a:gd name="connsiteY38419" fmla="*/ 1944105 h 4687251"/>
              <a:gd name="connsiteX38420" fmla="*/ 6732264 w 8079933"/>
              <a:gd name="connsiteY38420" fmla="*/ 1940857 h 4687251"/>
              <a:gd name="connsiteX38421" fmla="*/ 6726947 w 8079933"/>
              <a:gd name="connsiteY38421" fmla="*/ 1935660 h 4687251"/>
              <a:gd name="connsiteX38422" fmla="*/ 6728031 w 8079933"/>
              <a:gd name="connsiteY38422" fmla="*/ 1929489 h 4687251"/>
              <a:gd name="connsiteX38423" fmla="*/ 6727489 w 8079933"/>
              <a:gd name="connsiteY38423" fmla="*/ 1927648 h 4687251"/>
              <a:gd name="connsiteX38424" fmla="*/ 6732047 w 8079933"/>
              <a:gd name="connsiteY38424" fmla="*/ 1927540 h 4687251"/>
              <a:gd name="connsiteX38425" fmla="*/ 6732589 w 8079933"/>
              <a:gd name="connsiteY38425" fmla="*/ 1921585 h 4687251"/>
              <a:gd name="connsiteX38426" fmla="*/ 6737690 w 8079933"/>
              <a:gd name="connsiteY38426" fmla="*/ 1915089 h 4687251"/>
              <a:gd name="connsiteX38427" fmla="*/ 6738775 w 8079933"/>
              <a:gd name="connsiteY38427" fmla="*/ 1911841 h 4687251"/>
              <a:gd name="connsiteX38428" fmla="*/ 6741596 w 8079933"/>
              <a:gd name="connsiteY38428" fmla="*/ 1910217 h 4687251"/>
              <a:gd name="connsiteX38429" fmla="*/ 6741054 w 8079933"/>
              <a:gd name="connsiteY38429" fmla="*/ 1906211 h 4687251"/>
              <a:gd name="connsiteX38430" fmla="*/ 6730419 w 8079933"/>
              <a:gd name="connsiteY38430" fmla="*/ 1899931 h 4687251"/>
              <a:gd name="connsiteX38431" fmla="*/ 6723039 w 8079933"/>
              <a:gd name="connsiteY38431" fmla="*/ 1891053 h 4687251"/>
              <a:gd name="connsiteX38432" fmla="*/ 6721412 w 8079933"/>
              <a:gd name="connsiteY38432" fmla="*/ 1895708 h 4687251"/>
              <a:gd name="connsiteX38433" fmla="*/ 6717180 w 8079933"/>
              <a:gd name="connsiteY38433" fmla="*/ 1895708 h 4687251"/>
              <a:gd name="connsiteX38434" fmla="*/ 6715010 w 8079933"/>
              <a:gd name="connsiteY38434" fmla="*/ 1894301 h 4687251"/>
              <a:gd name="connsiteX38435" fmla="*/ 6709584 w 8079933"/>
              <a:gd name="connsiteY38435" fmla="*/ 1894518 h 4687251"/>
              <a:gd name="connsiteX38436" fmla="*/ 6706545 w 8079933"/>
              <a:gd name="connsiteY38436" fmla="*/ 1899714 h 4687251"/>
              <a:gd name="connsiteX38437" fmla="*/ 6704592 w 8079933"/>
              <a:gd name="connsiteY38437" fmla="*/ 1900797 h 4687251"/>
              <a:gd name="connsiteX38438" fmla="*/ 6703615 w 8079933"/>
              <a:gd name="connsiteY38438" fmla="*/ 1906211 h 4687251"/>
              <a:gd name="connsiteX38439" fmla="*/ 6698732 w 8079933"/>
              <a:gd name="connsiteY38439" fmla="*/ 1911624 h 4687251"/>
              <a:gd name="connsiteX38440" fmla="*/ 6698190 w 8079933"/>
              <a:gd name="connsiteY38440" fmla="*/ 1921044 h 4687251"/>
              <a:gd name="connsiteX38441" fmla="*/ 6695694 w 8079933"/>
              <a:gd name="connsiteY38441" fmla="*/ 1921585 h 4687251"/>
              <a:gd name="connsiteX38442" fmla="*/ 6691895 w 8079933"/>
              <a:gd name="connsiteY38442" fmla="*/ 1928081 h 4687251"/>
              <a:gd name="connsiteX38443" fmla="*/ 6686795 w 8079933"/>
              <a:gd name="connsiteY38443" fmla="*/ 1928190 h 4687251"/>
              <a:gd name="connsiteX38444" fmla="*/ 6678330 w 8079933"/>
              <a:gd name="connsiteY38444" fmla="*/ 1932954 h 4687251"/>
              <a:gd name="connsiteX38445" fmla="*/ 6675835 w 8079933"/>
              <a:gd name="connsiteY38445" fmla="*/ 1945080 h 4687251"/>
              <a:gd name="connsiteX38446" fmla="*/ 6673991 w 8079933"/>
              <a:gd name="connsiteY38446" fmla="*/ 1947787 h 4687251"/>
              <a:gd name="connsiteX38447" fmla="*/ 6675401 w 8079933"/>
              <a:gd name="connsiteY38447" fmla="*/ 1948977 h 4687251"/>
              <a:gd name="connsiteX38448" fmla="*/ 6676377 w 8079933"/>
              <a:gd name="connsiteY38448" fmla="*/ 1954716 h 4687251"/>
              <a:gd name="connsiteX38449" fmla="*/ 6672905 w 8079933"/>
              <a:gd name="connsiteY38449" fmla="*/ 1954716 h 4687251"/>
              <a:gd name="connsiteX38450" fmla="*/ 6674315 w 8079933"/>
              <a:gd name="connsiteY38450" fmla="*/ 1957098 h 4687251"/>
              <a:gd name="connsiteX38451" fmla="*/ 6672038 w 8079933"/>
              <a:gd name="connsiteY38451" fmla="*/ 1962187 h 4687251"/>
              <a:gd name="connsiteX38452" fmla="*/ 6665852 w 8079933"/>
              <a:gd name="connsiteY38452" fmla="*/ 1962403 h 4687251"/>
              <a:gd name="connsiteX38453" fmla="*/ 6658038 w 8079933"/>
              <a:gd name="connsiteY38453" fmla="*/ 1962511 h 4687251"/>
              <a:gd name="connsiteX38454" fmla="*/ 6649031 w 8079933"/>
              <a:gd name="connsiteY38454" fmla="*/ 1959264 h 4687251"/>
              <a:gd name="connsiteX38455" fmla="*/ 6648489 w 8079933"/>
              <a:gd name="connsiteY38455" fmla="*/ 1961970 h 4687251"/>
              <a:gd name="connsiteX38456" fmla="*/ 6645559 w 8079933"/>
              <a:gd name="connsiteY38456" fmla="*/ 1964136 h 4687251"/>
              <a:gd name="connsiteX38457" fmla="*/ 6645016 w 8079933"/>
              <a:gd name="connsiteY38457" fmla="*/ 1969008 h 4687251"/>
              <a:gd name="connsiteX38458" fmla="*/ 6644365 w 8079933"/>
              <a:gd name="connsiteY38458" fmla="*/ 1971607 h 4687251"/>
              <a:gd name="connsiteX38459" fmla="*/ 6644473 w 8079933"/>
              <a:gd name="connsiteY38459" fmla="*/ 1973880 h 4687251"/>
              <a:gd name="connsiteX38460" fmla="*/ 6642303 w 8079933"/>
              <a:gd name="connsiteY38460" fmla="*/ 1975937 h 4687251"/>
              <a:gd name="connsiteX38461" fmla="*/ 6644908 w 8079933"/>
              <a:gd name="connsiteY38461" fmla="*/ 1981459 h 4687251"/>
              <a:gd name="connsiteX38462" fmla="*/ 6645450 w 8079933"/>
              <a:gd name="connsiteY38462" fmla="*/ 1986764 h 4687251"/>
              <a:gd name="connsiteX38463" fmla="*/ 6650442 w 8079933"/>
              <a:gd name="connsiteY38463" fmla="*/ 1989579 h 4687251"/>
              <a:gd name="connsiteX38464" fmla="*/ 6658473 w 8079933"/>
              <a:gd name="connsiteY38464" fmla="*/ 1994993 h 4687251"/>
              <a:gd name="connsiteX38465" fmla="*/ 6659340 w 8079933"/>
              <a:gd name="connsiteY38465" fmla="*/ 1997916 h 4687251"/>
              <a:gd name="connsiteX38466" fmla="*/ 6662922 w 8079933"/>
              <a:gd name="connsiteY38466" fmla="*/ 2004088 h 4687251"/>
              <a:gd name="connsiteX38467" fmla="*/ 6663139 w 8079933"/>
              <a:gd name="connsiteY38467" fmla="*/ 2001813 h 4687251"/>
              <a:gd name="connsiteX38468" fmla="*/ 6664766 w 8079933"/>
              <a:gd name="connsiteY38468" fmla="*/ 2004412 h 4687251"/>
              <a:gd name="connsiteX38469" fmla="*/ 6666719 w 8079933"/>
              <a:gd name="connsiteY38469" fmla="*/ 2001489 h 4687251"/>
              <a:gd name="connsiteX38470" fmla="*/ 6669432 w 8079933"/>
              <a:gd name="connsiteY38470" fmla="*/ 2001489 h 4687251"/>
              <a:gd name="connsiteX38471" fmla="*/ 6669866 w 8079933"/>
              <a:gd name="connsiteY38471" fmla="*/ 2003871 h 4687251"/>
              <a:gd name="connsiteX38472" fmla="*/ 6672362 w 8079933"/>
              <a:gd name="connsiteY38472" fmla="*/ 2002355 h 4687251"/>
              <a:gd name="connsiteX38473" fmla="*/ 6678657 w 8079933"/>
              <a:gd name="connsiteY38473" fmla="*/ 2002247 h 4687251"/>
              <a:gd name="connsiteX38474" fmla="*/ 6679742 w 8079933"/>
              <a:gd name="connsiteY38474" fmla="*/ 2006686 h 4687251"/>
              <a:gd name="connsiteX38475" fmla="*/ 6679742 w 8079933"/>
              <a:gd name="connsiteY38475" fmla="*/ 2013182 h 4687251"/>
              <a:gd name="connsiteX38476" fmla="*/ 6686253 w 8079933"/>
              <a:gd name="connsiteY38476" fmla="*/ 2025850 h 4687251"/>
              <a:gd name="connsiteX38477" fmla="*/ 6692655 w 8079933"/>
              <a:gd name="connsiteY38477" fmla="*/ 2026066 h 4687251"/>
              <a:gd name="connsiteX38478" fmla="*/ 6697104 w 8079933"/>
              <a:gd name="connsiteY38478" fmla="*/ 2023360 h 4687251"/>
              <a:gd name="connsiteX38479" fmla="*/ 6701879 w 8079933"/>
              <a:gd name="connsiteY38479" fmla="*/ 2025092 h 4687251"/>
              <a:gd name="connsiteX38480" fmla="*/ 6704049 w 8079933"/>
              <a:gd name="connsiteY38480" fmla="*/ 2023143 h 4687251"/>
              <a:gd name="connsiteX38481" fmla="*/ 6706545 w 8079933"/>
              <a:gd name="connsiteY38481" fmla="*/ 2018704 h 4687251"/>
              <a:gd name="connsiteX38482" fmla="*/ 6704375 w 8079933"/>
              <a:gd name="connsiteY38482" fmla="*/ 2015780 h 4687251"/>
              <a:gd name="connsiteX38483" fmla="*/ 6703289 w 8079933"/>
              <a:gd name="connsiteY38483" fmla="*/ 2015023 h 4687251"/>
              <a:gd name="connsiteX38484" fmla="*/ 6709801 w 8079933"/>
              <a:gd name="connsiteY38484" fmla="*/ 2012533 h 4687251"/>
              <a:gd name="connsiteX38485" fmla="*/ 6713056 w 8079933"/>
              <a:gd name="connsiteY38485" fmla="*/ 2009826 h 4687251"/>
              <a:gd name="connsiteX38486" fmla="*/ 6713056 w 8079933"/>
              <a:gd name="connsiteY38486" fmla="*/ 2005495 h 4687251"/>
              <a:gd name="connsiteX38487" fmla="*/ 6711103 w 8079933"/>
              <a:gd name="connsiteY38487" fmla="*/ 2003871 h 4687251"/>
              <a:gd name="connsiteX38488" fmla="*/ 6716854 w 8079933"/>
              <a:gd name="connsiteY38488" fmla="*/ 2003654 h 4687251"/>
              <a:gd name="connsiteX38489" fmla="*/ 6727706 w 8079933"/>
              <a:gd name="connsiteY38489" fmla="*/ 1998566 h 4687251"/>
              <a:gd name="connsiteX38490" fmla="*/ 6729116 w 8079933"/>
              <a:gd name="connsiteY38490" fmla="*/ 2000623 h 4687251"/>
              <a:gd name="connsiteX38491" fmla="*/ 6731829 w 8079933"/>
              <a:gd name="connsiteY38491" fmla="*/ 2001706 h 4687251"/>
              <a:gd name="connsiteX38492" fmla="*/ 6734542 w 8079933"/>
              <a:gd name="connsiteY38492" fmla="*/ 2005819 h 4687251"/>
              <a:gd name="connsiteX38493" fmla="*/ 6737472 w 8079933"/>
              <a:gd name="connsiteY38493" fmla="*/ 2007119 h 4687251"/>
              <a:gd name="connsiteX38494" fmla="*/ 6740511 w 8079933"/>
              <a:gd name="connsiteY38494" fmla="*/ 2009826 h 4687251"/>
              <a:gd name="connsiteX38495" fmla="*/ 6755703 w 8079933"/>
              <a:gd name="connsiteY38495" fmla="*/ 2009284 h 4687251"/>
              <a:gd name="connsiteX38496" fmla="*/ 6757765 w 8079933"/>
              <a:gd name="connsiteY38496" fmla="*/ 2007119 h 4687251"/>
              <a:gd name="connsiteX38497" fmla="*/ 6762974 w 8079933"/>
              <a:gd name="connsiteY38497" fmla="*/ 2006903 h 4687251"/>
              <a:gd name="connsiteX38498" fmla="*/ 6762648 w 8079933"/>
              <a:gd name="connsiteY38498" fmla="*/ 2008851 h 4687251"/>
              <a:gd name="connsiteX38499" fmla="*/ 6769267 w 8079933"/>
              <a:gd name="connsiteY38499" fmla="*/ 2008743 h 4687251"/>
              <a:gd name="connsiteX38500" fmla="*/ 6774911 w 8079933"/>
              <a:gd name="connsiteY38500" fmla="*/ 2007660 h 4687251"/>
              <a:gd name="connsiteX38501" fmla="*/ 6777949 w 8079933"/>
              <a:gd name="connsiteY38501" fmla="*/ 2009068 h 4687251"/>
              <a:gd name="connsiteX38502" fmla="*/ 6772740 w 8079933"/>
              <a:gd name="connsiteY38502" fmla="*/ 2010692 h 4687251"/>
              <a:gd name="connsiteX38503" fmla="*/ 6772415 w 8079933"/>
              <a:gd name="connsiteY38503" fmla="*/ 2013399 h 4687251"/>
              <a:gd name="connsiteX38504" fmla="*/ 6776322 w 8079933"/>
              <a:gd name="connsiteY38504" fmla="*/ 2019029 h 4687251"/>
              <a:gd name="connsiteX38505" fmla="*/ 6773825 w 8079933"/>
              <a:gd name="connsiteY38505" fmla="*/ 2019029 h 4687251"/>
              <a:gd name="connsiteX38506" fmla="*/ 6770787 w 8079933"/>
              <a:gd name="connsiteY38506" fmla="*/ 2020653 h 4687251"/>
              <a:gd name="connsiteX38507" fmla="*/ 6771330 w 8079933"/>
              <a:gd name="connsiteY38507" fmla="*/ 2025633 h 4687251"/>
              <a:gd name="connsiteX38508" fmla="*/ 6775128 w 8079933"/>
              <a:gd name="connsiteY38508" fmla="*/ 2026392 h 4687251"/>
              <a:gd name="connsiteX38509" fmla="*/ 6775128 w 8079933"/>
              <a:gd name="connsiteY38509" fmla="*/ 2028557 h 4687251"/>
              <a:gd name="connsiteX38510" fmla="*/ 6769159 w 8079933"/>
              <a:gd name="connsiteY38510" fmla="*/ 2033645 h 4687251"/>
              <a:gd name="connsiteX38511" fmla="*/ 6763300 w 8079933"/>
              <a:gd name="connsiteY38511" fmla="*/ 2029639 h 4687251"/>
              <a:gd name="connsiteX38512" fmla="*/ 6762757 w 8079933"/>
              <a:gd name="connsiteY38512" fmla="*/ 2027149 h 4687251"/>
              <a:gd name="connsiteX38513" fmla="*/ 6760587 w 8079933"/>
              <a:gd name="connsiteY38513" fmla="*/ 2029856 h 4687251"/>
              <a:gd name="connsiteX38514" fmla="*/ 6758851 w 8079933"/>
              <a:gd name="connsiteY38514" fmla="*/ 2026933 h 4687251"/>
              <a:gd name="connsiteX38515" fmla="*/ 6753750 w 8079933"/>
              <a:gd name="connsiteY38515" fmla="*/ 2033645 h 4687251"/>
              <a:gd name="connsiteX38516" fmla="*/ 6750712 w 8079933"/>
              <a:gd name="connsiteY38516" fmla="*/ 2033645 h 4687251"/>
              <a:gd name="connsiteX38517" fmla="*/ 6746371 w 8079933"/>
              <a:gd name="connsiteY38517" fmla="*/ 2037218 h 4687251"/>
              <a:gd name="connsiteX38518" fmla="*/ 6742030 w 8079933"/>
              <a:gd name="connsiteY38518" fmla="*/ 2037110 h 4687251"/>
              <a:gd name="connsiteX38519" fmla="*/ 6740945 w 8079933"/>
              <a:gd name="connsiteY38519" fmla="*/ 2039925 h 4687251"/>
              <a:gd name="connsiteX38520" fmla="*/ 6736930 w 8079933"/>
              <a:gd name="connsiteY38520" fmla="*/ 2036894 h 4687251"/>
              <a:gd name="connsiteX38521" fmla="*/ 6731504 w 8079933"/>
              <a:gd name="connsiteY38521" fmla="*/ 2037543 h 4687251"/>
              <a:gd name="connsiteX38522" fmla="*/ 6736930 w 8079933"/>
              <a:gd name="connsiteY38522" fmla="*/ 2041008 h 4687251"/>
              <a:gd name="connsiteX38523" fmla="*/ 6737472 w 8079933"/>
              <a:gd name="connsiteY38523" fmla="*/ 2044798 h 4687251"/>
              <a:gd name="connsiteX38524" fmla="*/ 6731504 w 8079933"/>
              <a:gd name="connsiteY38524" fmla="*/ 2045880 h 4687251"/>
              <a:gd name="connsiteX38525" fmla="*/ 6731287 w 8079933"/>
              <a:gd name="connsiteY38525" fmla="*/ 2050969 h 4687251"/>
              <a:gd name="connsiteX38526" fmla="*/ 6724125 w 8079933"/>
              <a:gd name="connsiteY38526" fmla="*/ 2050535 h 4687251"/>
              <a:gd name="connsiteX38527" fmla="*/ 6720326 w 8079933"/>
              <a:gd name="connsiteY38527" fmla="*/ 2054758 h 4687251"/>
              <a:gd name="connsiteX38528" fmla="*/ 6722497 w 8079933"/>
              <a:gd name="connsiteY38528" fmla="*/ 2057573 h 4687251"/>
              <a:gd name="connsiteX38529" fmla="*/ 6726947 w 8079933"/>
              <a:gd name="connsiteY38529" fmla="*/ 2060388 h 4687251"/>
              <a:gd name="connsiteX38530" fmla="*/ 6722606 w 8079933"/>
              <a:gd name="connsiteY38530" fmla="*/ 2065369 h 4687251"/>
              <a:gd name="connsiteX38531" fmla="*/ 6720326 w 8079933"/>
              <a:gd name="connsiteY38531" fmla="*/ 2063961 h 4687251"/>
              <a:gd name="connsiteX38532" fmla="*/ 6715986 w 8079933"/>
              <a:gd name="connsiteY38532" fmla="*/ 2070998 h 4687251"/>
              <a:gd name="connsiteX38533" fmla="*/ 6712514 w 8079933"/>
              <a:gd name="connsiteY38533" fmla="*/ 2072081 h 4687251"/>
              <a:gd name="connsiteX38534" fmla="*/ 6710886 w 8079933"/>
              <a:gd name="connsiteY38534" fmla="*/ 2070998 h 4687251"/>
              <a:gd name="connsiteX38535" fmla="*/ 6709584 w 8079933"/>
              <a:gd name="connsiteY38535" fmla="*/ 2077820 h 4687251"/>
              <a:gd name="connsiteX38536" fmla="*/ 6711645 w 8079933"/>
              <a:gd name="connsiteY38536" fmla="*/ 2083234 h 4687251"/>
              <a:gd name="connsiteX38537" fmla="*/ 6709584 w 8079933"/>
              <a:gd name="connsiteY38537" fmla="*/ 2091354 h 4687251"/>
              <a:gd name="connsiteX38538" fmla="*/ 6709801 w 8079933"/>
              <a:gd name="connsiteY38538" fmla="*/ 2103263 h 4687251"/>
              <a:gd name="connsiteX38539" fmla="*/ 6711645 w 8079933"/>
              <a:gd name="connsiteY38539" fmla="*/ 2103155 h 4687251"/>
              <a:gd name="connsiteX38540" fmla="*/ 6723908 w 8079933"/>
              <a:gd name="connsiteY38540" fmla="*/ 2108893 h 4687251"/>
              <a:gd name="connsiteX38541" fmla="*/ 6723908 w 8079933"/>
              <a:gd name="connsiteY38541" fmla="*/ 2112358 h 4687251"/>
              <a:gd name="connsiteX38542" fmla="*/ 6727380 w 8079933"/>
              <a:gd name="connsiteY38542" fmla="*/ 2110301 h 4687251"/>
              <a:gd name="connsiteX38543" fmla="*/ 6740511 w 8079933"/>
              <a:gd name="connsiteY38543" fmla="*/ 2117014 h 4687251"/>
              <a:gd name="connsiteX38544" fmla="*/ 6747781 w 8079933"/>
              <a:gd name="connsiteY38544" fmla="*/ 2131955 h 4687251"/>
              <a:gd name="connsiteX38545" fmla="*/ 6749409 w 8079933"/>
              <a:gd name="connsiteY38545" fmla="*/ 2132388 h 4687251"/>
              <a:gd name="connsiteX38546" fmla="*/ 6747022 w 8079933"/>
              <a:gd name="connsiteY38546" fmla="*/ 2137910 h 4687251"/>
              <a:gd name="connsiteX38547" fmla="*/ 6751797 w 8079933"/>
              <a:gd name="connsiteY38547" fmla="*/ 2139534 h 4687251"/>
              <a:gd name="connsiteX38548" fmla="*/ 6752339 w 8079933"/>
              <a:gd name="connsiteY38548" fmla="*/ 2146572 h 4687251"/>
              <a:gd name="connsiteX38549" fmla="*/ 6761129 w 8079933"/>
              <a:gd name="connsiteY38549" fmla="*/ 2153068 h 4687251"/>
              <a:gd name="connsiteX38550" fmla="*/ 6761346 w 8079933"/>
              <a:gd name="connsiteY38550" fmla="*/ 2160105 h 4687251"/>
              <a:gd name="connsiteX38551" fmla="*/ 6767640 w 8079933"/>
              <a:gd name="connsiteY38551" fmla="*/ 2169092 h 4687251"/>
              <a:gd name="connsiteX38552" fmla="*/ 6772415 w 8079933"/>
              <a:gd name="connsiteY38552" fmla="*/ 2171149 h 4687251"/>
              <a:gd name="connsiteX38553" fmla="*/ 6777298 w 8079933"/>
              <a:gd name="connsiteY38553" fmla="*/ 2170825 h 4687251"/>
              <a:gd name="connsiteX38554" fmla="*/ 6779794 w 8079933"/>
              <a:gd name="connsiteY38554" fmla="*/ 2172773 h 4687251"/>
              <a:gd name="connsiteX38555" fmla="*/ 6779794 w 8079933"/>
              <a:gd name="connsiteY38555" fmla="*/ 2174505 h 4687251"/>
              <a:gd name="connsiteX38556" fmla="*/ 6785436 w 8079933"/>
              <a:gd name="connsiteY38556" fmla="*/ 2181435 h 4687251"/>
              <a:gd name="connsiteX38557" fmla="*/ 6788476 w 8079933"/>
              <a:gd name="connsiteY38557" fmla="*/ 2182625 h 4687251"/>
              <a:gd name="connsiteX38558" fmla="*/ 6791948 w 8079933"/>
              <a:gd name="connsiteY38558" fmla="*/ 2189555 h 4687251"/>
              <a:gd name="connsiteX38559" fmla="*/ 6789235 w 8079933"/>
              <a:gd name="connsiteY38559" fmla="*/ 2191179 h 4687251"/>
              <a:gd name="connsiteX38560" fmla="*/ 6779468 w 8079933"/>
              <a:gd name="connsiteY38560" fmla="*/ 2187498 h 4687251"/>
              <a:gd name="connsiteX38561" fmla="*/ 6772523 w 8079933"/>
              <a:gd name="connsiteY38561" fmla="*/ 2191504 h 4687251"/>
              <a:gd name="connsiteX38562" fmla="*/ 6767857 w 8079933"/>
              <a:gd name="connsiteY38562" fmla="*/ 2186632 h 4687251"/>
              <a:gd name="connsiteX38563" fmla="*/ 6764277 w 8079933"/>
              <a:gd name="connsiteY38563" fmla="*/ 2186415 h 4687251"/>
              <a:gd name="connsiteX38564" fmla="*/ 6758958 w 8079933"/>
              <a:gd name="connsiteY38564" fmla="*/ 2182843 h 4687251"/>
              <a:gd name="connsiteX38565" fmla="*/ 6751363 w 8079933"/>
              <a:gd name="connsiteY38565" fmla="*/ 2181760 h 4687251"/>
              <a:gd name="connsiteX38566" fmla="*/ 6748324 w 8079933"/>
              <a:gd name="connsiteY38566" fmla="*/ 2185874 h 4687251"/>
              <a:gd name="connsiteX38567" fmla="*/ 6743658 w 8079933"/>
              <a:gd name="connsiteY38567" fmla="*/ 2185874 h 4687251"/>
              <a:gd name="connsiteX38568" fmla="*/ 6740511 w 8079933"/>
              <a:gd name="connsiteY38568" fmla="*/ 2183384 h 4687251"/>
              <a:gd name="connsiteX38569" fmla="*/ 6737690 w 8079933"/>
              <a:gd name="connsiteY38569" fmla="*/ 2176129 h 4687251"/>
              <a:gd name="connsiteX38570" fmla="*/ 6731287 w 8079933"/>
              <a:gd name="connsiteY38570" fmla="*/ 2178728 h 4687251"/>
              <a:gd name="connsiteX38571" fmla="*/ 6727706 w 8079933"/>
              <a:gd name="connsiteY38571" fmla="*/ 2177212 h 4687251"/>
              <a:gd name="connsiteX38572" fmla="*/ 6726404 w 8079933"/>
              <a:gd name="connsiteY38572" fmla="*/ 2178728 h 4687251"/>
              <a:gd name="connsiteX38573" fmla="*/ 6723365 w 8079933"/>
              <a:gd name="connsiteY38573" fmla="*/ 2178728 h 4687251"/>
              <a:gd name="connsiteX38574" fmla="*/ 6720435 w 8079933"/>
              <a:gd name="connsiteY38574" fmla="*/ 2177862 h 4687251"/>
              <a:gd name="connsiteX38575" fmla="*/ 6716095 w 8079933"/>
              <a:gd name="connsiteY38575" fmla="*/ 2179919 h 4687251"/>
              <a:gd name="connsiteX38576" fmla="*/ 6710561 w 8079933"/>
              <a:gd name="connsiteY38576" fmla="*/ 2190855 h 4687251"/>
              <a:gd name="connsiteX38577" fmla="*/ 6717180 w 8079933"/>
              <a:gd name="connsiteY38577" fmla="*/ 2182625 h 4687251"/>
              <a:gd name="connsiteX38578" fmla="*/ 6722497 w 8079933"/>
              <a:gd name="connsiteY38578" fmla="*/ 2180893 h 4687251"/>
              <a:gd name="connsiteX38579" fmla="*/ 6728574 w 8079933"/>
              <a:gd name="connsiteY38579" fmla="*/ 2181651 h 4687251"/>
              <a:gd name="connsiteX38580" fmla="*/ 6734000 w 8079933"/>
              <a:gd name="connsiteY38580" fmla="*/ 2179378 h 4687251"/>
              <a:gd name="connsiteX38581" fmla="*/ 6736604 w 8079933"/>
              <a:gd name="connsiteY38581" fmla="*/ 2180568 h 4687251"/>
              <a:gd name="connsiteX38582" fmla="*/ 6736713 w 8079933"/>
              <a:gd name="connsiteY38582" fmla="*/ 2183059 h 4687251"/>
              <a:gd name="connsiteX38583" fmla="*/ 6742898 w 8079933"/>
              <a:gd name="connsiteY38583" fmla="*/ 2188580 h 4687251"/>
              <a:gd name="connsiteX38584" fmla="*/ 6746696 w 8079933"/>
              <a:gd name="connsiteY38584" fmla="*/ 2189555 h 4687251"/>
              <a:gd name="connsiteX38585" fmla="*/ 6754510 w 8079933"/>
              <a:gd name="connsiteY38585" fmla="*/ 2184141 h 4687251"/>
              <a:gd name="connsiteX38586" fmla="*/ 6759176 w 8079933"/>
              <a:gd name="connsiteY38586" fmla="*/ 2184358 h 4687251"/>
              <a:gd name="connsiteX38587" fmla="*/ 6768726 w 8079933"/>
              <a:gd name="connsiteY38587" fmla="*/ 2193669 h 4687251"/>
              <a:gd name="connsiteX38588" fmla="*/ 6776755 w 8079933"/>
              <a:gd name="connsiteY38588" fmla="*/ 2198217 h 4687251"/>
              <a:gd name="connsiteX38589" fmla="*/ 6789018 w 8079933"/>
              <a:gd name="connsiteY38589" fmla="*/ 2205796 h 4687251"/>
              <a:gd name="connsiteX38590" fmla="*/ 6794769 w 8079933"/>
              <a:gd name="connsiteY38590" fmla="*/ 2215216 h 4687251"/>
              <a:gd name="connsiteX38591" fmla="*/ 6794661 w 8079933"/>
              <a:gd name="connsiteY38591" fmla="*/ 2218572 h 4687251"/>
              <a:gd name="connsiteX38592" fmla="*/ 6788150 w 8079933"/>
              <a:gd name="connsiteY38592" fmla="*/ 2219329 h 4687251"/>
              <a:gd name="connsiteX38593" fmla="*/ 6782507 w 8079933"/>
              <a:gd name="connsiteY38593" fmla="*/ 2225826 h 4687251"/>
              <a:gd name="connsiteX38594" fmla="*/ 6779577 w 8079933"/>
              <a:gd name="connsiteY38594" fmla="*/ 2225392 h 4687251"/>
              <a:gd name="connsiteX38595" fmla="*/ 6777298 w 8079933"/>
              <a:gd name="connsiteY38595" fmla="*/ 2227667 h 4687251"/>
              <a:gd name="connsiteX38596" fmla="*/ 6776864 w 8079933"/>
              <a:gd name="connsiteY38596" fmla="*/ 2231781 h 4687251"/>
              <a:gd name="connsiteX38597" fmla="*/ 6772740 w 8079933"/>
              <a:gd name="connsiteY38597" fmla="*/ 2233729 h 4687251"/>
              <a:gd name="connsiteX38598" fmla="*/ 6766990 w 8079933"/>
              <a:gd name="connsiteY38598" fmla="*/ 2230806 h 4687251"/>
              <a:gd name="connsiteX38599" fmla="*/ 6763733 w 8079933"/>
              <a:gd name="connsiteY38599" fmla="*/ 2233188 h 4687251"/>
              <a:gd name="connsiteX38600" fmla="*/ 6760587 w 8079933"/>
              <a:gd name="connsiteY38600" fmla="*/ 2233080 h 4687251"/>
              <a:gd name="connsiteX38601" fmla="*/ 6755160 w 8079933"/>
              <a:gd name="connsiteY38601" fmla="*/ 2237519 h 4687251"/>
              <a:gd name="connsiteX38602" fmla="*/ 6754618 w 8079933"/>
              <a:gd name="connsiteY38602" fmla="*/ 2243149 h 4687251"/>
              <a:gd name="connsiteX38603" fmla="*/ 6756137 w 8079933"/>
              <a:gd name="connsiteY38603" fmla="*/ 2239035 h 4687251"/>
              <a:gd name="connsiteX38604" fmla="*/ 6761020 w 8079933"/>
              <a:gd name="connsiteY38604" fmla="*/ 2235029 h 4687251"/>
              <a:gd name="connsiteX38605" fmla="*/ 6765904 w 8079933"/>
              <a:gd name="connsiteY38605" fmla="*/ 2233946 h 4687251"/>
              <a:gd name="connsiteX38606" fmla="*/ 6770787 w 8079933"/>
              <a:gd name="connsiteY38606" fmla="*/ 2240984 h 4687251"/>
              <a:gd name="connsiteX38607" fmla="*/ 6774585 w 8079933"/>
              <a:gd name="connsiteY38607" fmla="*/ 2242283 h 4687251"/>
              <a:gd name="connsiteX38608" fmla="*/ 6781964 w 8079933"/>
              <a:gd name="connsiteY38608" fmla="*/ 2235895 h 4687251"/>
              <a:gd name="connsiteX38609" fmla="*/ 6787607 w 8079933"/>
              <a:gd name="connsiteY38609" fmla="*/ 2236761 h 4687251"/>
              <a:gd name="connsiteX38610" fmla="*/ 6795312 w 8079933"/>
              <a:gd name="connsiteY38610" fmla="*/ 2246722 h 4687251"/>
              <a:gd name="connsiteX38611" fmla="*/ 6796614 w 8079933"/>
              <a:gd name="connsiteY38611" fmla="*/ 2244557 h 4687251"/>
              <a:gd name="connsiteX38612" fmla="*/ 6798567 w 8079933"/>
              <a:gd name="connsiteY38612" fmla="*/ 2247047 h 4687251"/>
              <a:gd name="connsiteX38613" fmla="*/ 6803342 w 8079933"/>
              <a:gd name="connsiteY38613" fmla="*/ 2247047 h 4687251"/>
              <a:gd name="connsiteX38614" fmla="*/ 6803993 w 8079933"/>
              <a:gd name="connsiteY38614" fmla="*/ 2248563 h 4687251"/>
              <a:gd name="connsiteX38615" fmla="*/ 6793359 w 8079933"/>
              <a:gd name="connsiteY38615" fmla="*/ 2258524 h 4687251"/>
              <a:gd name="connsiteX38616" fmla="*/ 6786847 w 8079933"/>
              <a:gd name="connsiteY38616" fmla="*/ 2259714 h 4687251"/>
              <a:gd name="connsiteX38617" fmla="*/ 6786847 w 8079933"/>
              <a:gd name="connsiteY38617" fmla="*/ 2264045 h 4687251"/>
              <a:gd name="connsiteX38618" fmla="*/ 6790103 w 8079933"/>
              <a:gd name="connsiteY38618" fmla="*/ 2264587 h 4687251"/>
              <a:gd name="connsiteX38619" fmla="*/ 6796288 w 8079933"/>
              <a:gd name="connsiteY38619" fmla="*/ 2259390 h 4687251"/>
              <a:gd name="connsiteX38620" fmla="*/ 6801280 w 8079933"/>
              <a:gd name="connsiteY38620" fmla="*/ 2260473 h 4687251"/>
              <a:gd name="connsiteX38621" fmla="*/ 6801280 w 8079933"/>
              <a:gd name="connsiteY38621" fmla="*/ 2258307 h 4687251"/>
              <a:gd name="connsiteX38622" fmla="*/ 6800412 w 8079933"/>
              <a:gd name="connsiteY38622" fmla="*/ 2257008 h 4687251"/>
              <a:gd name="connsiteX38623" fmla="*/ 6803342 w 8079933"/>
              <a:gd name="connsiteY38623" fmla="*/ 2254193 h 4687251"/>
              <a:gd name="connsiteX38624" fmla="*/ 6805838 w 8079933"/>
              <a:gd name="connsiteY38624" fmla="*/ 2255816 h 4687251"/>
              <a:gd name="connsiteX38625" fmla="*/ 6806489 w 8079933"/>
              <a:gd name="connsiteY38625" fmla="*/ 2262854 h 4687251"/>
              <a:gd name="connsiteX38626" fmla="*/ 6807900 w 8079933"/>
              <a:gd name="connsiteY38626" fmla="*/ 2265777 h 4687251"/>
              <a:gd name="connsiteX38627" fmla="*/ 6804970 w 8079933"/>
              <a:gd name="connsiteY38627" fmla="*/ 2268160 h 4687251"/>
              <a:gd name="connsiteX38628" fmla="*/ 6804644 w 8079933"/>
              <a:gd name="connsiteY38628" fmla="*/ 2266428 h 4687251"/>
              <a:gd name="connsiteX38629" fmla="*/ 6801823 w 8079933"/>
              <a:gd name="connsiteY38629" fmla="*/ 2264912 h 4687251"/>
              <a:gd name="connsiteX38630" fmla="*/ 6801171 w 8079933"/>
              <a:gd name="connsiteY38630" fmla="*/ 2267293 h 4687251"/>
              <a:gd name="connsiteX38631" fmla="*/ 6799761 w 8079933"/>
              <a:gd name="connsiteY38631" fmla="*/ 2268376 h 4687251"/>
              <a:gd name="connsiteX38632" fmla="*/ 6795095 w 8079933"/>
              <a:gd name="connsiteY38632" fmla="*/ 2267293 h 4687251"/>
              <a:gd name="connsiteX38633" fmla="*/ 6790103 w 8079933"/>
              <a:gd name="connsiteY38633" fmla="*/ 2271516 h 4687251"/>
              <a:gd name="connsiteX38634" fmla="*/ 6789669 w 8079933"/>
              <a:gd name="connsiteY38634" fmla="*/ 2273681 h 4687251"/>
              <a:gd name="connsiteX38635" fmla="*/ 6797482 w 8079933"/>
              <a:gd name="connsiteY38635" fmla="*/ 2273357 h 4687251"/>
              <a:gd name="connsiteX38636" fmla="*/ 6800087 w 8079933"/>
              <a:gd name="connsiteY38636" fmla="*/ 2275847 h 4687251"/>
              <a:gd name="connsiteX38637" fmla="*/ 6799435 w 8079933"/>
              <a:gd name="connsiteY38637" fmla="*/ 2277796 h 4687251"/>
              <a:gd name="connsiteX38638" fmla="*/ 6797808 w 8079933"/>
              <a:gd name="connsiteY38638" fmla="*/ 2277363 h 4687251"/>
              <a:gd name="connsiteX38639" fmla="*/ 6794552 w 8079933"/>
              <a:gd name="connsiteY38639" fmla="*/ 2280394 h 4687251"/>
              <a:gd name="connsiteX38640" fmla="*/ 6797590 w 8079933"/>
              <a:gd name="connsiteY38640" fmla="*/ 2281910 h 4687251"/>
              <a:gd name="connsiteX38641" fmla="*/ 6799761 w 8079933"/>
              <a:gd name="connsiteY38641" fmla="*/ 2284292 h 4687251"/>
              <a:gd name="connsiteX38642" fmla="*/ 6797048 w 8079933"/>
              <a:gd name="connsiteY38642" fmla="*/ 2286782 h 4687251"/>
              <a:gd name="connsiteX38643" fmla="*/ 6793792 w 8079933"/>
              <a:gd name="connsiteY38643" fmla="*/ 2286132 h 4687251"/>
              <a:gd name="connsiteX38644" fmla="*/ 6791839 w 8079933"/>
              <a:gd name="connsiteY38644" fmla="*/ 2287756 h 4687251"/>
              <a:gd name="connsiteX38645" fmla="*/ 6793901 w 8079933"/>
              <a:gd name="connsiteY38645" fmla="*/ 2289705 h 4687251"/>
              <a:gd name="connsiteX38646" fmla="*/ 6798350 w 8079933"/>
              <a:gd name="connsiteY38646" fmla="*/ 2290138 h 4687251"/>
              <a:gd name="connsiteX38647" fmla="*/ 6800954 w 8079933"/>
              <a:gd name="connsiteY38647" fmla="*/ 2294577 h 4687251"/>
              <a:gd name="connsiteX38648" fmla="*/ 6797699 w 8079933"/>
              <a:gd name="connsiteY38648" fmla="*/ 2296634 h 4687251"/>
              <a:gd name="connsiteX38649" fmla="*/ 6796722 w 8079933"/>
              <a:gd name="connsiteY38649" fmla="*/ 2301399 h 4687251"/>
              <a:gd name="connsiteX38650" fmla="*/ 6795528 w 8079933"/>
              <a:gd name="connsiteY38650" fmla="*/ 2299775 h 4687251"/>
              <a:gd name="connsiteX38651" fmla="*/ 6794661 w 8079933"/>
              <a:gd name="connsiteY38651" fmla="*/ 2295877 h 4687251"/>
              <a:gd name="connsiteX38652" fmla="*/ 6790754 w 8079933"/>
              <a:gd name="connsiteY38652" fmla="*/ 2296418 h 4687251"/>
              <a:gd name="connsiteX38653" fmla="*/ 6787173 w 8079933"/>
              <a:gd name="connsiteY38653" fmla="*/ 2304864 h 4687251"/>
              <a:gd name="connsiteX38654" fmla="*/ 6784460 w 8079933"/>
              <a:gd name="connsiteY38654" fmla="*/ 2307029 h 4687251"/>
              <a:gd name="connsiteX38655" fmla="*/ 6777949 w 8079933"/>
              <a:gd name="connsiteY38655" fmla="*/ 2304972 h 4687251"/>
              <a:gd name="connsiteX38656" fmla="*/ 6782507 w 8079933"/>
              <a:gd name="connsiteY38656" fmla="*/ 2307570 h 4687251"/>
              <a:gd name="connsiteX38657" fmla="*/ 6782507 w 8079933"/>
              <a:gd name="connsiteY38657" fmla="*/ 2310060 h 4687251"/>
              <a:gd name="connsiteX38658" fmla="*/ 6784351 w 8079933"/>
              <a:gd name="connsiteY38658" fmla="*/ 2312984 h 4687251"/>
              <a:gd name="connsiteX38659" fmla="*/ 6781638 w 8079933"/>
              <a:gd name="connsiteY38659" fmla="*/ 2314824 h 4687251"/>
              <a:gd name="connsiteX38660" fmla="*/ 6781205 w 8079933"/>
              <a:gd name="connsiteY38660" fmla="*/ 2318072 h 4687251"/>
              <a:gd name="connsiteX38661" fmla="*/ 6783267 w 8079933"/>
              <a:gd name="connsiteY38661" fmla="*/ 2320779 h 4687251"/>
              <a:gd name="connsiteX38662" fmla="*/ 6781638 w 8079933"/>
              <a:gd name="connsiteY38662" fmla="*/ 2322511 h 4687251"/>
              <a:gd name="connsiteX38663" fmla="*/ 6781747 w 8079933"/>
              <a:gd name="connsiteY38663" fmla="*/ 2326734 h 4687251"/>
              <a:gd name="connsiteX38664" fmla="*/ 6777841 w 8079933"/>
              <a:gd name="connsiteY38664" fmla="*/ 2328683 h 4687251"/>
              <a:gd name="connsiteX38665" fmla="*/ 6774585 w 8079933"/>
              <a:gd name="connsiteY38665" fmla="*/ 2325218 h 4687251"/>
              <a:gd name="connsiteX38666" fmla="*/ 6773500 w 8079933"/>
              <a:gd name="connsiteY38666" fmla="*/ 2329440 h 4687251"/>
              <a:gd name="connsiteX38667" fmla="*/ 6777081 w 8079933"/>
              <a:gd name="connsiteY38667" fmla="*/ 2329766 h 4687251"/>
              <a:gd name="connsiteX38668" fmla="*/ 6780337 w 8079933"/>
              <a:gd name="connsiteY38668" fmla="*/ 2333772 h 4687251"/>
              <a:gd name="connsiteX38669" fmla="*/ 6774911 w 8079933"/>
              <a:gd name="connsiteY38669" fmla="*/ 2333338 h 4687251"/>
              <a:gd name="connsiteX38670" fmla="*/ 6774585 w 8079933"/>
              <a:gd name="connsiteY38670" fmla="*/ 2336262 h 4687251"/>
              <a:gd name="connsiteX38671" fmla="*/ 6768617 w 8079933"/>
              <a:gd name="connsiteY38671" fmla="*/ 2342541 h 4687251"/>
              <a:gd name="connsiteX38672" fmla="*/ 6765470 w 8079933"/>
              <a:gd name="connsiteY38672" fmla="*/ 2342541 h 4687251"/>
              <a:gd name="connsiteX38673" fmla="*/ 6765904 w 8079933"/>
              <a:gd name="connsiteY38673" fmla="*/ 2337886 h 4687251"/>
              <a:gd name="connsiteX38674" fmla="*/ 6763300 w 8079933"/>
              <a:gd name="connsiteY38674" fmla="*/ 2338211 h 4687251"/>
              <a:gd name="connsiteX38675" fmla="*/ 6761888 w 8079933"/>
              <a:gd name="connsiteY38675" fmla="*/ 2337886 h 4687251"/>
              <a:gd name="connsiteX38676" fmla="*/ 6761020 w 8079933"/>
              <a:gd name="connsiteY38676" fmla="*/ 2341892 h 4687251"/>
              <a:gd name="connsiteX38677" fmla="*/ 6757874 w 8079933"/>
              <a:gd name="connsiteY38677" fmla="*/ 2341134 h 4687251"/>
              <a:gd name="connsiteX38678" fmla="*/ 6759935 w 8079933"/>
              <a:gd name="connsiteY38678" fmla="*/ 2343624 h 4687251"/>
              <a:gd name="connsiteX38679" fmla="*/ 6757331 w 8079933"/>
              <a:gd name="connsiteY38679" fmla="*/ 2345790 h 4687251"/>
              <a:gd name="connsiteX38680" fmla="*/ 6761129 w 8079933"/>
              <a:gd name="connsiteY38680" fmla="*/ 2346223 h 4687251"/>
              <a:gd name="connsiteX38681" fmla="*/ 6764384 w 8079933"/>
              <a:gd name="connsiteY38681" fmla="*/ 2350554 h 4687251"/>
              <a:gd name="connsiteX38682" fmla="*/ 6759393 w 8079933"/>
              <a:gd name="connsiteY38682" fmla="*/ 2350554 h 4687251"/>
              <a:gd name="connsiteX38683" fmla="*/ 6765144 w 8079933"/>
              <a:gd name="connsiteY38683" fmla="*/ 2355534 h 4687251"/>
              <a:gd name="connsiteX38684" fmla="*/ 6768074 w 8079933"/>
              <a:gd name="connsiteY38684" fmla="*/ 2352827 h 4687251"/>
              <a:gd name="connsiteX38685" fmla="*/ 6770570 w 8079933"/>
              <a:gd name="connsiteY38685" fmla="*/ 2355534 h 4687251"/>
              <a:gd name="connsiteX38686" fmla="*/ 6762648 w 8079933"/>
              <a:gd name="connsiteY38686" fmla="*/ 2358999 h 4687251"/>
              <a:gd name="connsiteX38687" fmla="*/ 6757765 w 8079933"/>
              <a:gd name="connsiteY38687" fmla="*/ 2362463 h 4687251"/>
              <a:gd name="connsiteX38688" fmla="*/ 6756896 w 8079933"/>
              <a:gd name="connsiteY38688" fmla="*/ 2366145 h 4687251"/>
              <a:gd name="connsiteX38689" fmla="*/ 6758742 w 8079933"/>
              <a:gd name="connsiteY38689" fmla="*/ 2364304 h 4687251"/>
              <a:gd name="connsiteX38690" fmla="*/ 6762431 w 8079933"/>
              <a:gd name="connsiteY38690" fmla="*/ 2364088 h 4687251"/>
              <a:gd name="connsiteX38691" fmla="*/ 6765144 w 8079933"/>
              <a:gd name="connsiteY38691" fmla="*/ 2366794 h 4687251"/>
              <a:gd name="connsiteX38692" fmla="*/ 6759610 w 8079933"/>
              <a:gd name="connsiteY38692" fmla="*/ 2371341 h 4687251"/>
              <a:gd name="connsiteX38693" fmla="*/ 6763517 w 8079933"/>
              <a:gd name="connsiteY38693" fmla="*/ 2372641 h 4687251"/>
              <a:gd name="connsiteX38694" fmla="*/ 6762974 w 8079933"/>
              <a:gd name="connsiteY38694" fmla="*/ 2375780 h 4687251"/>
              <a:gd name="connsiteX38695" fmla="*/ 6759718 w 8079933"/>
              <a:gd name="connsiteY38695" fmla="*/ 2376647 h 4687251"/>
              <a:gd name="connsiteX38696" fmla="*/ 6760587 w 8079933"/>
              <a:gd name="connsiteY38696" fmla="*/ 2379353 h 4687251"/>
              <a:gd name="connsiteX38697" fmla="*/ 6762974 w 8079933"/>
              <a:gd name="connsiteY38697" fmla="*/ 2379353 h 4687251"/>
              <a:gd name="connsiteX38698" fmla="*/ 6764818 w 8079933"/>
              <a:gd name="connsiteY38698" fmla="*/ 2382818 h 4687251"/>
              <a:gd name="connsiteX38699" fmla="*/ 6764384 w 8079933"/>
              <a:gd name="connsiteY38699" fmla="*/ 2388557 h 4687251"/>
              <a:gd name="connsiteX38700" fmla="*/ 6761888 w 8079933"/>
              <a:gd name="connsiteY38700" fmla="*/ 2384659 h 4687251"/>
              <a:gd name="connsiteX38701" fmla="*/ 6759393 w 8079933"/>
              <a:gd name="connsiteY38701" fmla="*/ 2384659 h 4687251"/>
              <a:gd name="connsiteX38702" fmla="*/ 6759393 w 8079933"/>
              <a:gd name="connsiteY38702" fmla="*/ 2381411 h 4687251"/>
              <a:gd name="connsiteX38703" fmla="*/ 6755703 w 8079933"/>
              <a:gd name="connsiteY38703" fmla="*/ 2378162 h 4687251"/>
              <a:gd name="connsiteX38704" fmla="*/ 6754076 w 8079933"/>
              <a:gd name="connsiteY38704" fmla="*/ 2380978 h 4687251"/>
              <a:gd name="connsiteX38705" fmla="*/ 6751580 w 8079933"/>
              <a:gd name="connsiteY38705" fmla="*/ 2380978 h 4687251"/>
              <a:gd name="connsiteX38706" fmla="*/ 6751146 w 8079933"/>
              <a:gd name="connsiteY38706" fmla="*/ 2384767 h 4687251"/>
              <a:gd name="connsiteX38707" fmla="*/ 6755378 w 8079933"/>
              <a:gd name="connsiteY38707" fmla="*/ 2387907 h 4687251"/>
              <a:gd name="connsiteX38708" fmla="*/ 6755160 w 8079933"/>
              <a:gd name="connsiteY38708" fmla="*/ 2391804 h 4687251"/>
              <a:gd name="connsiteX38709" fmla="*/ 6753533 w 8079933"/>
              <a:gd name="connsiteY38709" fmla="*/ 2389531 h 4687251"/>
              <a:gd name="connsiteX38710" fmla="*/ 6751146 w 8079933"/>
              <a:gd name="connsiteY38710" fmla="*/ 2389531 h 4687251"/>
              <a:gd name="connsiteX38711" fmla="*/ 6749409 w 8079933"/>
              <a:gd name="connsiteY38711" fmla="*/ 2387149 h 4687251"/>
              <a:gd name="connsiteX38712" fmla="*/ 6745937 w 8079933"/>
              <a:gd name="connsiteY38712" fmla="*/ 2388015 h 4687251"/>
              <a:gd name="connsiteX38713" fmla="*/ 6748541 w 8079933"/>
              <a:gd name="connsiteY38713" fmla="*/ 2390072 h 4687251"/>
              <a:gd name="connsiteX38714" fmla="*/ 6749193 w 8079933"/>
              <a:gd name="connsiteY38714" fmla="*/ 2394403 h 4687251"/>
              <a:gd name="connsiteX38715" fmla="*/ 6752447 w 8079933"/>
              <a:gd name="connsiteY38715" fmla="*/ 2394403 h 4687251"/>
              <a:gd name="connsiteX38716" fmla="*/ 6752990 w 8079933"/>
              <a:gd name="connsiteY38716" fmla="*/ 2395594 h 4687251"/>
              <a:gd name="connsiteX38717" fmla="*/ 6750277 w 8079933"/>
              <a:gd name="connsiteY38717" fmla="*/ 2398842 h 4687251"/>
              <a:gd name="connsiteX38718" fmla="*/ 6745394 w 8079933"/>
              <a:gd name="connsiteY38718" fmla="*/ 2395486 h 4687251"/>
              <a:gd name="connsiteX38719" fmla="*/ 6744743 w 8079933"/>
              <a:gd name="connsiteY38719" fmla="*/ 2398518 h 4687251"/>
              <a:gd name="connsiteX38720" fmla="*/ 6746371 w 8079933"/>
              <a:gd name="connsiteY38720" fmla="*/ 2400900 h 4687251"/>
              <a:gd name="connsiteX38721" fmla="*/ 6750277 w 8079933"/>
              <a:gd name="connsiteY38721" fmla="*/ 2402090 h 4687251"/>
              <a:gd name="connsiteX38722" fmla="*/ 6748541 w 8079933"/>
              <a:gd name="connsiteY38722" fmla="*/ 2407179 h 4687251"/>
              <a:gd name="connsiteX38723" fmla="*/ 6742030 w 8079933"/>
              <a:gd name="connsiteY38723" fmla="*/ 2403173 h 4687251"/>
              <a:gd name="connsiteX38724" fmla="*/ 6739426 w 8079933"/>
              <a:gd name="connsiteY38724" fmla="*/ 2405555 h 4687251"/>
              <a:gd name="connsiteX38725" fmla="*/ 6737690 w 8079933"/>
              <a:gd name="connsiteY38725" fmla="*/ 2403714 h 4687251"/>
              <a:gd name="connsiteX38726" fmla="*/ 6734000 w 8079933"/>
              <a:gd name="connsiteY38726" fmla="*/ 2408803 h 4687251"/>
              <a:gd name="connsiteX38727" fmla="*/ 6726078 w 8079933"/>
              <a:gd name="connsiteY38727" fmla="*/ 2409128 h 4687251"/>
              <a:gd name="connsiteX38728" fmla="*/ 6732047 w 8079933"/>
              <a:gd name="connsiteY38728" fmla="*/ 2413675 h 4687251"/>
              <a:gd name="connsiteX38729" fmla="*/ 6735519 w 8079933"/>
              <a:gd name="connsiteY38729" fmla="*/ 2412376 h 4687251"/>
              <a:gd name="connsiteX38730" fmla="*/ 6739643 w 8079933"/>
              <a:gd name="connsiteY38730" fmla="*/ 2413351 h 4687251"/>
              <a:gd name="connsiteX38731" fmla="*/ 6737798 w 8079933"/>
              <a:gd name="connsiteY38731" fmla="*/ 2417140 h 4687251"/>
              <a:gd name="connsiteX38732" fmla="*/ 6735086 w 8079933"/>
              <a:gd name="connsiteY38732" fmla="*/ 2417465 h 4687251"/>
              <a:gd name="connsiteX38733" fmla="*/ 6734434 w 8079933"/>
              <a:gd name="connsiteY38733" fmla="*/ 2422337 h 4687251"/>
              <a:gd name="connsiteX38734" fmla="*/ 6731721 w 8079933"/>
              <a:gd name="connsiteY38734" fmla="*/ 2419089 h 4687251"/>
              <a:gd name="connsiteX38735" fmla="*/ 6728791 w 8079933"/>
              <a:gd name="connsiteY38735" fmla="*/ 2423420 h 4687251"/>
              <a:gd name="connsiteX38736" fmla="*/ 6727380 w 8079933"/>
              <a:gd name="connsiteY38736" fmla="*/ 2424286 h 4687251"/>
              <a:gd name="connsiteX38737" fmla="*/ 6726947 w 8079933"/>
              <a:gd name="connsiteY38737" fmla="*/ 2422337 h 4687251"/>
              <a:gd name="connsiteX38738" fmla="*/ 6724776 w 8079933"/>
              <a:gd name="connsiteY38738" fmla="*/ 2422553 h 4687251"/>
              <a:gd name="connsiteX38739" fmla="*/ 6724125 w 8079933"/>
              <a:gd name="connsiteY38739" fmla="*/ 2426343 h 4687251"/>
              <a:gd name="connsiteX38740" fmla="*/ 6721738 w 8079933"/>
              <a:gd name="connsiteY38740" fmla="*/ 2426343 h 4687251"/>
              <a:gd name="connsiteX38741" fmla="*/ 6720652 w 8079933"/>
              <a:gd name="connsiteY38741" fmla="*/ 2431865 h 4687251"/>
              <a:gd name="connsiteX38742" fmla="*/ 6716095 w 8079933"/>
              <a:gd name="connsiteY38742" fmla="*/ 2431865 h 4687251"/>
              <a:gd name="connsiteX38743" fmla="*/ 6715552 w 8079933"/>
              <a:gd name="connsiteY38743" fmla="*/ 2429699 h 4687251"/>
              <a:gd name="connsiteX38744" fmla="*/ 6709584 w 8079933"/>
              <a:gd name="connsiteY38744" fmla="*/ 2430674 h 4687251"/>
              <a:gd name="connsiteX38745" fmla="*/ 6707956 w 8079933"/>
              <a:gd name="connsiteY38745" fmla="*/ 2433164 h 4687251"/>
              <a:gd name="connsiteX38746" fmla="*/ 6705677 w 8079933"/>
              <a:gd name="connsiteY38746" fmla="*/ 2432406 h 4687251"/>
              <a:gd name="connsiteX38747" fmla="*/ 6707848 w 8079933"/>
              <a:gd name="connsiteY38747" fmla="*/ 2437279 h 4687251"/>
              <a:gd name="connsiteX38748" fmla="*/ 6706219 w 8079933"/>
              <a:gd name="connsiteY38748" fmla="*/ 2442367 h 4687251"/>
              <a:gd name="connsiteX38749" fmla="*/ 6704158 w 8079933"/>
              <a:gd name="connsiteY38749" fmla="*/ 2445182 h 4687251"/>
              <a:gd name="connsiteX38750" fmla="*/ 6706002 w 8079933"/>
              <a:gd name="connsiteY38750" fmla="*/ 2448322 h 4687251"/>
              <a:gd name="connsiteX38751" fmla="*/ 6701988 w 8079933"/>
              <a:gd name="connsiteY38751" fmla="*/ 2450163 h 4687251"/>
              <a:gd name="connsiteX38752" fmla="*/ 6699492 w 8079933"/>
              <a:gd name="connsiteY38752" fmla="*/ 2449404 h 4687251"/>
              <a:gd name="connsiteX38753" fmla="*/ 6697863 w 8079933"/>
              <a:gd name="connsiteY38753" fmla="*/ 2451570 h 4687251"/>
              <a:gd name="connsiteX38754" fmla="*/ 6697321 w 8079933"/>
              <a:gd name="connsiteY38754" fmla="*/ 2448863 h 4687251"/>
              <a:gd name="connsiteX38755" fmla="*/ 6695150 w 8079933"/>
              <a:gd name="connsiteY38755" fmla="*/ 2450812 h 4687251"/>
              <a:gd name="connsiteX38756" fmla="*/ 6692221 w 8079933"/>
              <a:gd name="connsiteY38756" fmla="*/ 2453736 h 4687251"/>
              <a:gd name="connsiteX38757" fmla="*/ 6686795 w 8079933"/>
              <a:gd name="connsiteY38757" fmla="*/ 2454385 h 4687251"/>
              <a:gd name="connsiteX38758" fmla="*/ 6686253 w 8079933"/>
              <a:gd name="connsiteY38758" fmla="*/ 2456767 h 4687251"/>
              <a:gd name="connsiteX38759" fmla="*/ 6682346 w 8079933"/>
              <a:gd name="connsiteY38759" fmla="*/ 2456767 h 4687251"/>
              <a:gd name="connsiteX38760" fmla="*/ 6681912 w 8079933"/>
              <a:gd name="connsiteY38760" fmla="*/ 2455359 h 4687251"/>
              <a:gd name="connsiteX38761" fmla="*/ 6679416 w 8079933"/>
              <a:gd name="connsiteY38761" fmla="*/ 2455359 h 4687251"/>
              <a:gd name="connsiteX38762" fmla="*/ 6678657 w 8079933"/>
              <a:gd name="connsiteY38762" fmla="*/ 2459474 h 4687251"/>
              <a:gd name="connsiteX38763" fmla="*/ 6676377 w 8079933"/>
              <a:gd name="connsiteY38763" fmla="*/ 2461531 h 4687251"/>
              <a:gd name="connsiteX38764" fmla="*/ 6672688 w 8079933"/>
              <a:gd name="connsiteY38764" fmla="*/ 2457524 h 4687251"/>
              <a:gd name="connsiteX38765" fmla="*/ 6670952 w 8079933"/>
              <a:gd name="connsiteY38765" fmla="*/ 2454601 h 4687251"/>
              <a:gd name="connsiteX38766" fmla="*/ 6669866 w 8079933"/>
              <a:gd name="connsiteY38766" fmla="*/ 2456983 h 4687251"/>
              <a:gd name="connsiteX38767" fmla="*/ 6665960 w 8079933"/>
              <a:gd name="connsiteY38767" fmla="*/ 2457850 h 4687251"/>
              <a:gd name="connsiteX38768" fmla="*/ 6665635 w 8079933"/>
              <a:gd name="connsiteY38768" fmla="*/ 2461098 h 4687251"/>
              <a:gd name="connsiteX38769" fmla="*/ 6661837 w 8079933"/>
              <a:gd name="connsiteY38769" fmla="*/ 2462072 h 4687251"/>
              <a:gd name="connsiteX38770" fmla="*/ 6658038 w 8079933"/>
              <a:gd name="connsiteY38770" fmla="*/ 2459799 h 4687251"/>
              <a:gd name="connsiteX38771" fmla="*/ 6655868 w 8079933"/>
              <a:gd name="connsiteY38771" fmla="*/ 2461856 h 4687251"/>
              <a:gd name="connsiteX38772" fmla="*/ 6651528 w 8079933"/>
              <a:gd name="connsiteY38772" fmla="*/ 2463263 h 4687251"/>
              <a:gd name="connsiteX38773" fmla="*/ 6650985 w 8079933"/>
              <a:gd name="connsiteY38773" fmla="*/ 2468027 h 4687251"/>
              <a:gd name="connsiteX38774" fmla="*/ 6642520 w 8079933"/>
              <a:gd name="connsiteY38774" fmla="*/ 2472142 h 4687251"/>
              <a:gd name="connsiteX38775" fmla="*/ 6641978 w 8079933"/>
              <a:gd name="connsiteY38775" fmla="*/ 2470193 h 4687251"/>
              <a:gd name="connsiteX38776" fmla="*/ 6645016 w 8079933"/>
              <a:gd name="connsiteY38776" fmla="*/ 2468677 h 4687251"/>
              <a:gd name="connsiteX38777" fmla="*/ 6647404 w 8079933"/>
              <a:gd name="connsiteY38777" fmla="*/ 2465320 h 4687251"/>
              <a:gd name="connsiteX38778" fmla="*/ 6644257 w 8079933"/>
              <a:gd name="connsiteY38778" fmla="*/ 2466078 h 4687251"/>
              <a:gd name="connsiteX38779" fmla="*/ 6639374 w 8079933"/>
              <a:gd name="connsiteY38779" fmla="*/ 2461314 h 4687251"/>
              <a:gd name="connsiteX38780" fmla="*/ 6638614 w 8079933"/>
              <a:gd name="connsiteY38780" fmla="*/ 2458283 h 4687251"/>
              <a:gd name="connsiteX38781" fmla="*/ 6632754 w 8079933"/>
              <a:gd name="connsiteY38781" fmla="*/ 2455251 h 4687251"/>
              <a:gd name="connsiteX38782" fmla="*/ 6630366 w 8079933"/>
              <a:gd name="connsiteY38782" fmla="*/ 2453302 h 4687251"/>
              <a:gd name="connsiteX38783" fmla="*/ 6631452 w 8079933"/>
              <a:gd name="connsiteY38783" fmla="*/ 2455793 h 4687251"/>
              <a:gd name="connsiteX38784" fmla="*/ 6631126 w 8079933"/>
              <a:gd name="connsiteY38784" fmla="*/ 2459257 h 4687251"/>
              <a:gd name="connsiteX38785" fmla="*/ 6632211 w 8079933"/>
              <a:gd name="connsiteY38785" fmla="*/ 2463479 h 4687251"/>
              <a:gd name="connsiteX38786" fmla="*/ 6632971 w 8079933"/>
              <a:gd name="connsiteY38786" fmla="*/ 2469218 h 4687251"/>
              <a:gd name="connsiteX38787" fmla="*/ 6629173 w 8079933"/>
              <a:gd name="connsiteY38787" fmla="*/ 2471275 h 4687251"/>
              <a:gd name="connsiteX38788" fmla="*/ 6627003 w 8079933"/>
              <a:gd name="connsiteY38788" fmla="*/ 2474848 h 4687251"/>
              <a:gd name="connsiteX38789" fmla="*/ 6624832 w 8079933"/>
              <a:gd name="connsiteY38789" fmla="*/ 2476581 h 4687251"/>
              <a:gd name="connsiteX38790" fmla="*/ 6622770 w 8079933"/>
              <a:gd name="connsiteY38790" fmla="*/ 2474956 h 4687251"/>
              <a:gd name="connsiteX38791" fmla="*/ 6621468 w 8079933"/>
              <a:gd name="connsiteY38791" fmla="*/ 2473765 h 4687251"/>
              <a:gd name="connsiteX38792" fmla="*/ 6621034 w 8079933"/>
              <a:gd name="connsiteY38792" fmla="*/ 2475606 h 4687251"/>
              <a:gd name="connsiteX38793" fmla="*/ 6617995 w 8079933"/>
              <a:gd name="connsiteY38793" fmla="*/ 2479720 h 4687251"/>
              <a:gd name="connsiteX38794" fmla="*/ 6613438 w 8079933"/>
              <a:gd name="connsiteY38794" fmla="*/ 2484268 h 4687251"/>
              <a:gd name="connsiteX38795" fmla="*/ 6608230 w 8079933"/>
              <a:gd name="connsiteY38795" fmla="*/ 2486866 h 4687251"/>
              <a:gd name="connsiteX38796" fmla="*/ 6605408 w 8079933"/>
              <a:gd name="connsiteY38796" fmla="*/ 2487732 h 4687251"/>
              <a:gd name="connsiteX38797" fmla="*/ 6600742 w 8079933"/>
              <a:gd name="connsiteY38797" fmla="*/ 2486109 h 4687251"/>
              <a:gd name="connsiteX38798" fmla="*/ 6596076 w 8079933"/>
              <a:gd name="connsiteY38798" fmla="*/ 2487407 h 4687251"/>
              <a:gd name="connsiteX38799" fmla="*/ 6592060 w 8079933"/>
              <a:gd name="connsiteY38799" fmla="*/ 2487299 h 4687251"/>
              <a:gd name="connsiteX38800" fmla="*/ 6593796 w 8079933"/>
              <a:gd name="connsiteY38800" fmla="*/ 2490439 h 4687251"/>
              <a:gd name="connsiteX38801" fmla="*/ 6588696 w 8079933"/>
              <a:gd name="connsiteY38801" fmla="*/ 2493254 h 4687251"/>
              <a:gd name="connsiteX38802" fmla="*/ 6584355 w 8079933"/>
              <a:gd name="connsiteY38802" fmla="*/ 2494770 h 4687251"/>
              <a:gd name="connsiteX38803" fmla="*/ 6580449 w 8079933"/>
              <a:gd name="connsiteY38803" fmla="*/ 2493362 h 4687251"/>
              <a:gd name="connsiteX38804" fmla="*/ 6578712 w 8079933"/>
              <a:gd name="connsiteY38804" fmla="*/ 2496827 h 4687251"/>
              <a:gd name="connsiteX38805" fmla="*/ 6574046 w 8079933"/>
              <a:gd name="connsiteY38805" fmla="*/ 2497585 h 4687251"/>
              <a:gd name="connsiteX38806" fmla="*/ 6571551 w 8079933"/>
              <a:gd name="connsiteY38806" fmla="*/ 2500183 h 4687251"/>
              <a:gd name="connsiteX38807" fmla="*/ 6570356 w 8079933"/>
              <a:gd name="connsiteY38807" fmla="*/ 2499967 h 4687251"/>
              <a:gd name="connsiteX38808" fmla="*/ 6571334 w 8079933"/>
              <a:gd name="connsiteY38808" fmla="*/ 2498776 h 4687251"/>
              <a:gd name="connsiteX38809" fmla="*/ 6569163 w 8079933"/>
              <a:gd name="connsiteY38809" fmla="*/ 2498343 h 4687251"/>
              <a:gd name="connsiteX38810" fmla="*/ 6568838 w 8079933"/>
              <a:gd name="connsiteY38810" fmla="*/ 2497368 h 4687251"/>
              <a:gd name="connsiteX38811" fmla="*/ 6569706 w 8079933"/>
              <a:gd name="connsiteY38811" fmla="*/ 2496611 h 4687251"/>
              <a:gd name="connsiteX38812" fmla="*/ 6568403 w 8079933"/>
              <a:gd name="connsiteY38812" fmla="*/ 2496611 h 4687251"/>
              <a:gd name="connsiteX38813" fmla="*/ 6567318 w 8079933"/>
              <a:gd name="connsiteY38813" fmla="*/ 2494770 h 4687251"/>
              <a:gd name="connsiteX38814" fmla="*/ 6566885 w 8079933"/>
              <a:gd name="connsiteY38814" fmla="*/ 2493579 h 4687251"/>
              <a:gd name="connsiteX38815" fmla="*/ 6565257 w 8079933"/>
              <a:gd name="connsiteY38815" fmla="*/ 2495311 h 4687251"/>
              <a:gd name="connsiteX38816" fmla="*/ 6564063 w 8079933"/>
              <a:gd name="connsiteY38816" fmla="*/ 2495419 h 4687251"/>
              <a:gd name="connsiteX38817" fmla="*/ 6564822 w 8079933"/>
              <a:gd name="connsiteY38817" fmla="*/ 2497910 h 4687251"/>
              <a:gd name="connsiteX38818" fmla="*/ 6563954 w 8079933"/>
              <a:gd name="connsiteY38818" fmla="*/ 2501050 h 4687251"/>
              <a:gd name="connsiteX38819" fmla="*/ 6560699 w 8079933"/>
              <a:gd name="connsiteY38819" fmla="*/ 2503756 h 4687251"/>
              <a:gd name="connsiteX38820" fmla="*/ 6559613 w 8079933"/>
              <a:gd name="connsiteY38820" fmla="*/ 2505705 h 4687251"/>
              <a:gd name="connsiteX38821" fmla="*/ 6561350 w 8079933"/>
              <a:gd name="connsiteY38821" fmla="*/ 2510144 h 4687251"/>
              <a:gd name="connsiteX38822" fmla="*/ 6564172 w 8079933"/>
              <a:gd name="connsiteY38822" fmla="*/ 2510144 h 4687251"/>
              <a:gd name="connsiteX38823" fmla="*/ 6566667 w 8079933"/>
              <a:gd name="connsiteY38823" fmla="*/ 2514908 h 4687251"/>
              <a:gd name="connsiteX38824" fmla="*/ 6566667 w 8079933"/>
              <a:gd name="connsiteY38824" fmla="*/ 2516207 h 4687251"/>
              <a:gd name="connsiteX38825" fmla="*/ 6568620 w 8079933"/>
              <a:gd name="connsiteY38825" fmla="*/ 2516641 h 4687251"/>
              <a:gd name="connsiteX38826" fmla="*/ 6569814 w 8079933"/>
              <a:gd name="connsiteY38826" fmla="*/ 2518698 h 4687251"/>
              <a:gd name="connsiteX38827" fmla="*/ 6565582 w 8079933"/>
              <a:gd name="connsiteY38827" fmla="*/ 2523895 h 4687251"/>
              <a:gd name="connsiteX38828" fmla="*/ 6562869 w 8079933"/>
              <a:gd name="connsiteY38828" fmla="*/ 2523895 h 4687251"/>
              <a:gd name="connsiteX38829" fmla="*/ 6562869 w 8079933"/>
              <a:gd name="connsiteY38829" fmla="*/ 2522596 h 4687251"/>
              <a:gd name="connsiteX38830" fmla="*/ 6557552 w 8079933"/>
              <a:gd name="connsiteY38830" fmla="*/ 2521621 h 4687251"/>
              <a:gd name="connsiteX38831" fmla="*/ 6555707 w 8079933"/>
              <a:gd name="connsiteY38831" fmla="*/ 2524869 h 4687251"/>
              <a:gd name="connsiteX38832" fmla="*/ 6554731 w 8079933"/>
              <a:gd name="connsiteY38832" fmla="*/ 2525844 h 4687251"/>
              <a:gd name="connsiteX38833" fmla="*/ 6553971 w 8079933"/>
              <a:gd name="connsiteY38833" fmla="*/ 2520755 h 4687251"/>
              <a:gd name="connsiteX38834" fmla="*/ 6554187 w 8079933"/>
              <a:gd name="connsiteY38834" fmla="*/ 2518482 h 4687251"/>
              <a:gd name="connsiteX38835" fmla="*/ 6550715 w 8079933"/>
              <a:gd name="connsiteY38835" fmla="*/ 2516424 h 4687251"/>
              <a:gd name="connsiteX38836" fmla="*/ 6544964 w 8079933"/>
              <a:gd name="connsiteY38836" fmla="*/ 2508521 h 4687251"/>
              <a:gd name="connsiteX38837" fmla="*/ 6545072 w 8079933"/>
              <a:gd name="connsiteY38837" fmla="*/ 2505705 h 4687251"/>
              <a:gd name="connsiteX38838" fmla="*/ 6548437 w 8079933"/>
              <a:gd name="connsiteY38838" fmla="*/ 2501483 h 4687251"/>
              <a:gd name="connsiteX38839" fmla="*/ 6549197 w 8079933"/>
              <a:gd name="connsiteY38839" fmla="*/ 2497368 h 4687251"/>
              <a:gd name="connsiteX38840" fmla="*/ 6552669 w 8079933"/>
              <a:gd name="connsiteY38840" fmla="*/ 2496827 h 4687251"/>
              <a:gd name="connsiteX38841" fmla="*/ 6552451 w 8079933"/>
              <a:gd name="connsiteY38841" fmla="*/ 2495311 h 4687251"/>
              <a:gd name="connsiteX38842" fmla="*/ 6549956 w 8079933"/>
              <a:gd name="connsiteY38842" fmla="*/ 2494121 h 4687251"/>
              <a:gd name="connsiteX38843" fmla="*/ 6546484 w 8079933"/>
              <a:gd name="connsiteY38843" fmla="*/ 2495311 h 4687251"/>
              <a:gd name="connsiteX38844" fmla="*/ 6543119 w 8079933"/>
              <a:gd name="connsiteY38844" fmla="*/ 2492171 h 4687251"/>
              <a:gd name="connsiteX38845" fmla="*/ 6540623 w 8079933"/>
              <a:gd name="connsiteY38845" fmla="*/ 2496286 h 4687251"/>
              <a:gd name="connsiteX38846" fmla="*/ 6537367 w 8079933"/>
              <a:gd name="connsiteY38846" fmla="*/ 2495961 h 4687251"/>
              <a:gd name="connsiteX38847" fmla="*/ 6534872 w 8079933"/>
              <a:gd name="connsiteY38847" fmla="*/ 2496827 h 4687251"/>
              <a:gd name="connsiteX38848" fmla="*/ 6529012 w 8079933"/>
              <a:gd name="connsiteY38848" fmla="*/ 2491955 h 4687251"/>
              <a:gd name="connsiteX38849" fmla="*/ 6526625 w 8079933"/>
              <a:gd name="connsiteY38849" fmla="*/ 2492713 h 4687251"/>
              <a:gd name="connsiteX38850" fmla="*/ 6522283 w 8079933"/>
              <a:gd name="connsiteY38850" fmla="*/ 2488274 h 4687251"/>
              <a:gd name="connsiteX38851" fmla="*/ 6519897 w 8079933"/>
              <a:gd name="connsiteY38851" fmla="*/ 2483943 h 4687251"/>
              <a:gd name="connsiteX38852" fmla="*/ 6518811 w 8079933"/>
              <a:gd name="connsiteY38852" fmla="*/ 2488599 h 4687251"/>
              <a:gd name="connsiteX38853" fmla="*/ 6519029 w 8079933"/>
              <a:gd name="connsiteY38853" fmla="*/ 2491089 h 4687251"/>
              <a:gd name="connsiteX38854" fmla="*/ 6515122 w 8079933"/>
              <a:gd name="connsiteY38854" fmla="*/ 2492713 h 4687251"/>
              <a:gd name="connsiteX38855" fmla="*/ 6512192 w 8079933"/>
              <a:gd name="connsiteY38855" fmla="*/ 2491413 h 4687251"/>
              <a:gd name="connsiteX38856" fmla="*/ 6510456 w 8079933"/>
              <a:gd name="connsiteY38856" fmla="*/ 2492496 h 4687251"/>
              <a:gd name="connsiteX38857" fmla="*/ 6509045 w 8079933"/>
              <a:gd name="connsiteY38857" fmla="*/ 2492171 h 4687251"/>
              <a:gd name="connsiteX38858" fmla="*/ 6504922 w 8079933"/>
              <a:gd name="connsiteY38858" fmla="*/ 2490006 h 4687251"/>
              <a:gd name="connsiteX38859" fmla="*/ 6503286 w 8079933"/>
              <a:gd name="connsiteY38859" fmla="*/ 2490489 h 4687251"/>
              <a:gd name="connsiteX38860" fmla="*/ 6504922 w 8079933"/>
              <a:gd name="connsiteY38860" fmla="*/ 2490006 h 4687251"/>
              <a:gd name="connsiteX38861" fmla="*/ 6509045 w 8079933"/>
              <a:gd name="connsiteY38861" fmla="*/ 2492171 h 4687251"/>
              <a:gd name="connsiteX38862" fmla="*/ 6509154 w 8079933"/>
              <a:gd name="connsiteY38862" fmla="*/ 2492280 h 4687251"/>
              <a:gd name="connsiteX38863" fmla="*/ 6508938 w 8079933"/>
              <a:gd name="connsiteY38863" fmla="*/ 2492172 h 4687251"/>
              <a:gd name="connsiteX38864" fmla="*/ 6508938 w 8079933"/>
              <a:gd name="connsiteY38864" fmla="*/ 2492281 h 4687251"/>
              <a:gd name="connsiteX38865" fmla="*/ 6508828 w 8079933"/>
              <a:gd name="connsiteY38865" fmla="*/ 2492172 h 4687251"/>
              <a:gd name="connsiteX38866" fmla="*/ 6509696 w 8079933"/>
              <a:gd name="connsiteY38866" fmla="*/ 2494012 h 4687251"/>
              <a:gd name="connsiteX38867" fmla="*/ 6508068 w 8079933"/>
              <a:gd name="connsiteY38867" fmla="*/ 2496719 h 4687251"/>
              <a:gd name="connsiteX38868" fmla="*/ 6505573 w 8079933"/>
              <a:gd name="connsiteY38868" fmla="*/ 2497802 h 4687251"/>
              <a:gd name="connsiteX38869" fmla="*/ 6503619 w 8079933"/>
              <a:gd name="connsiteY38869" fmla="*/ 2497693 h 4687251"/>
              <a:gd name="connsiteX38870" fmla="*/ 6499387 w 8079933"/>
              <a:gd name="connsiteY38870" fmla="*/ 2500400 h 4687251"/>
              <a:gd name="connsiteX38871" fmla="*/ 6495264 w 8079933"/>
              <a:gd name="connsiteY38871" fmla="*/ 2500075 h 4687251"/>
              <a:gd name="connsiteX38872" fmla="*/ 6490923 w 8079933"/>
              <a:gd name="connsiteY38872" fmla="*/ 2500833 h 4687251"/>
              <a:gd name="connsiteX38873" fmla="*/ 6489729 w 8079933"/>
              <a:gd name="connsiteY38873" fmla="*/ 2503107 h 4687251"/>
              <a:gd name="connsiteX38874" fmla="*/ 6490706 w 8079933"/>
              <a:gd name="connsiteY38874" fmla="*/ 2506463 h 4687251"/>
              <a:gd name="connsiteX38875" fmla="*/ 6488318 w 8079933"/>
              <a:gd name="connsiteY38875" fmla="*/ 2508087 h 4687251"/>
              <a:gd name="connsiteX38876" fmla="*/ 6487450 w 8079933"/>
              <a:gd name="connsiteY38876" fmla="*/ 2509712 h 4687251"/>
              <a:gd name="connsiteX38877" fmla="*/ 6485172 w 8079933"/>
              <a:gd name="connsiteY38877" fmla="*/ 2508412 h 4687251"/>
              <a:gd name="connsiteX38878" fmla="*/ 6481590 w 8079933"/>
              <a:gd name="connsiteY38878" fmla="*/ 2509170 h 4687251"/>
              <a:gd name="connsiteX38879" fmla="*/ 6479312 w 8079933"/>
              <a:gd name="connsiteY38879" fmla="*/ 2511335 h 4687251"/>
              <a:gd name="connsiteX38880" fmla="*/ 6477684 w 8079933"/>
              <a:gd name="connsiteY38880" fmla="*/ 2511985 h 4687251"/>
              <a:gd name="connsiteX38881" fmla="*/ 6476164 w 8079933"/>
              <a:gd name="connsiteY38881" fmla="*/ 2509712 h 4687251"/>
              <a:gd name="connsiteX38882" fmla="*/ 6474537 w 8079933"/>
              <a:gd name="connsiteY38882" fmla="*/ 2509170 h 4687251"/>
              <a:gd name="connsiteX38883" fmla="*/ 6474211 w 8079933"/>
              <a:gd name="connsiteY38883" fmla="*/ 2512526 h 4687251"/>
              <a:gd name="connsiteX38884" fmla="*/ 6472366 w 8079933"/>
              <a:gd name="connsiteY38884" fmla="*/ 2515016 h 4687251"/>
              <a:gd name="connsiteX38885" fmla="*/ 6473669 w 8079933"/>
              <a:gd name="connsiteY38885" fmla="*/ 2516424 h 4687251"/>
              <a:gd name="connsiteX38886" fmla="*/ 6473018 w 8079933"/>
              <a:gd name="connsiteY38886" fmla="*/ 2519997 h 4687251"/>
              <a:gd name="connsiteX38887" fmla="*/ 6473235 w 8079933"/>
              <a:gd name="connsiteY38887" fmla="*/ 2523787 h 4687251"/>
              <a:gd name="connsiteX38888" fmla="*/ 6472583 w 8079933"/>
              <a:gd name="connsiteY38888" fmla="*/ 2524761 h 4687251"/>
              <a:gd name="connsiteX38889" fmla="*/ 6473886 w 8079933"/>
              <a:gd name="connsiteY38889" fmla="*/ 2527468 h 4687251"/>
              <a:gd name="connsiteX38890" fmla="*/ 6472692 w 8079933"/>
              <a:gd name="connsiteY38890" fmla="*/ 2529634 h 4687251"/>
              <a:gd name="connsiteX38891" fmla="*/ 6470847 w 8079933"/>
              <a:gd name="connsiteY38891" fmla="*/ 2530175 h 4687251"/>
              <a:gd name="connsiteX38892" fmla="*/ 6467375 w 8079933"/>
              <a:gd name="connsiteY38892" fmla="*/ 2535805 h 4687251"/>
              <a:gd name="connsiteX38893" fmla="*/ 6464228 w 8079933"/>
              <a:gd name="connsiteY38893" fmla="*/ 2535913 h 4687251"/>
              <a:gd name="connsiteX38894" fmla="*/ 6463034 w 8079933"/>
              <a:gd name="connsiteY38894" fmla="*/ 2534289 h 4687251"/>
              <a:gd name="connsiteX38895" fmla="*/ 6462926 w 8079933"/>
              <a:gd name="connsiteY38895" fmla="*/ 2536238 h 4687251"/>
              <a:gd name="connsiteX38896" fmla="*/ 6460755 w 8079933"/>
              <a:gd name="connsiteY38896" fmla="*/ 2537861 h 4687251"/>
              <a:gd name="connsiteX38897" fmla="*/ 6459453 w 8079933"/>
              <a:gd name="connsiteY38897" fmla="*/ 2541976 h 4687251"/>
              <a:gd name="connsiteX38898" fmla="*/ 6457391 w 8079933"/>
              <a:gd name="connsiteY38898" fmla="*/ 2543709 h 4687251"/>
              <a:gd name="connsiteX38899" fmla="*/ 6457174 w 8079933"/>
              <a:gd name="connsiteY38899" fmla="*/ 2547931 h 4687251"/>
              <a:gd name="connsiteX38900" fmla="*/ 6459019 w 8079933"/>
              <a:gd name="connsiteY38900" fmla="*/ 2548364 h 4687251"/>
              <a:gd name="connsiteX38901" fmla="*/ 6460864 w 8079933"/>
              <a:gd name="connsiteY38901" fmla="*/ 2550746 h 4687251"/>
              <a:gd name="connsiteX38902" fmla="*/ 6458476 w 8079933"/>
              <a:gd name="connsiteY38902" fmla="*/ 2558650 h 4687251"/>
              <a:gd name="connsiteX38903" fmla="*/ 6455763 w 8079933"/>
              <a:gd name="connsiteY38903" fmla="*/ 2562656 h 4687251"/>
              <a:gd name="connsiteX38904" fmla="*/ 6460864 w 8079933"/>
              <a:gd name="connsiteY38904" fmla="*/ 2566987 h 4687251"/>
              <a:gd name="connsiteX38905" fmla="*/ 6460321 w 8079933"/>
              <a:gd name="connsiteY38905" fmla="*/ 2569477 h 4687251"/>
              <a:gd name="connsiteX38906" fmla="*/ 6456306 w 8079933"/>
              <a:gd name="connsiteY38906" fmla="*/ 2570560 h 4687251"/>
              <a:gd name="connsiteX38907" fmla="*/ 6460430 w 8079933"/>
              <a:gd name="connsiteY38907" fmla="*/ 2571750 h 4687251"/>
              <a:gd name="connsiteX38908" fmla="*/ 6467592 w 8079933"/>
              <a:gd name="connsiteY38908" fmla="*/ 2575973 h 4687251"/>
              <a:gd name="connsiteX38909" fmla="*/ 6473886 w 8079933"/>
              <a:gd name="connsiteY38909" fmla="*/ 2582144 h 4687251"/>
              <a:gd name="connsiteX38910" fmla="*/ 6476164 w 8079933"/>
              <a:gd name="connsiteY38910" fmla="*/ 2581928 h 4687251"/>
              <a:gd name="connsiteX38911" fmla="*/ 6479312 w 8079933"/>
              <a:gd name="connsiteY38911" fmla="*/ 2587342 h 4687251"/>
              <a:gd name="connsiteX38912" fmla="*/ 6479312 w 8079933"/>
              <a:gd name="connsiteY38912" fmla="*/ 2590048 h 4687251"/>
              <a:gd name="connsiteX38913" fmla="*/ 6478335 w 8079933"/>
              <a:gd name="connsiteY38913" fmla="*/ 2591672 h 4687251"/>
              <a:gd name="connsiteX38914" fmla="*/ 6480397 w 8079933"/>
              <a:gd name="connsiteY38914" fmla="*/ 2597086 h 4687251"/>
              <a:gd name="connsiteX38915" fmla="*/ 6481265 w 8079933"/>
              <a:gd name="connsiteY38915" fmla="*/ 2600009 h 4687251"/>
              <a:gd name="connsiteX38916" fmla="*/ 6490706 w 8079933"/>
              <a:gd name="connsiteY38916" fmla="*/ 2607588 h 4687251"/>
              <a:gd name="connsiteX38917" fmla="*/ 6495914 w 8079933"/>
              <a:gd name="connsiteY38917" fmla="*/ 2610619 h 4687251"/>
              <a:gd name="connsiteX38918" fmla="*/ 6496457 w 8079933"/>
              <a:gd name="connsiteY38918" fmla="*/ 2612244 h 4687251"/>
              <a:gd name="connsiteX38919" fmla="*/ 6509262 w 8079933"/>
              <a:gd name="connsiteY38919" fmla="*/ 2619282 h 4687251"/>
              <a:gd name="connsiteX38920" fmla="*/ 6520873 w 8079933"/>
              <a:gd name="connsiteY38920" fmla="*/ 2627727 h 4687251"/>
              <a:gd name="connsiteX38921" fmla="*/ 6523369 w 8079933"/>
              <a:gd name="connsiteY38921" fmla="*/ 2632274 h 4687251"/>
              <a:gd name="connsiteX38922" fmla="*/ 6534113 w 8079933"/>
              <a:gd name="connsiteY38922" fmla="*/ 2640178 h 4687251"/>
              <a:gd name="connsiteX38923" fmla="*/ 6537476 w 8079933"/>
              <a:gd name="connsiteY38923" fmla="*/ 2646349 h 4687251"/>
              <a:gd name="connsiteX38924" fmla="*/ 6538236 w 8079933"/>
              <a:gd name="connsiteY38924" fmla="*/ 2650139 h 4687251"/>
              <a:gd name="connsiteX38925" fmla="*/ 6539647 w 8079933"/>
              <a:gd name="connsiteY38925" fmla="*/ 2650139 h 4687251"/>
              <a:gd name="connsiteX38926" fmla="*/ 6539539 w 8079933"/>
              <a:gd name="connsiteY38926" fmla="*/ 2653386 h 4687251"/>
              <a:gd name="connsiteX38927" fmla="*/ 6544964 w 8079933"/>
              <a:gd name="connsiteY38927" fmla="*/ 2658908 h 4687251"/>
              <a:gd name="connsiteX38928" fmla="*/ 6544964 w 8079933"/>
              <a:gd name="connsiteY38928" fmla="*/ 2661507 h 4687251"/>
              <a:gd name="connsiteX38929" fmla="*/ 6546158 w 8079933"/>
              <a:gd name="connsiteY38929" fmla="*/ 2663455 h 4687251"/>
              <a:gd name="connsiteX38930" fmla="*/ 6545073 w 8079933"/>
              <a:gd name="connsiteY38930" fmla="*/ 2665404 h 4687251"/>
              <a:gd name="connsiteX38931" fmla="*/ 6549305 w 8079933"/>
              <a:gd name="connsiteY38931" fmla="*/ 2670493 h 4687251"/>
              <a:gd name="connsiteX38932" fmla="*/ 6550390 w 8079933"/>
              <a:gd name="connsiteY38932" fmla="*/ 2679263 h 4687251"/>
              <a:gd name="connsiteX38933" fmla="*/ 6552126 w 8079933"/>
              <a:gd name="connsiteY38933" fmla="*/ 2680671 h 4687251"/>
              <a:gd name="connsiteX38934" fmla="*/ 6554079 w 8079933"/>
              <a:gd name="connsiteY38934" fmla="*/ 2688249 h 4687251"/>
              <a:gd name="connsiteX38935" fmla="*/ 6555599 w 8079933"/>
              <a:gd name="connsiteY38935" fmla="*/ 2689873 h 4687251"/>
              <a:gd name="connsiteX38936" fmla="*/ 6555816 w 8079933"/>
              <a:gd name="connsiteY38936" fmla="*/ 2694096 h 4687251"/>
              <a:gd name="connsiteX38937" fmla="*/ 6554947 w 8079933"/>
              <a:gd name="connsiteY38937" fmla="*/ 2696803 h 4687251"/>
              <a:gd name="connsiteX38938" fmla="*/ 6556576 w 8079933"/>
              <a:gd name="connsiteY38938" fmla="*/ 2700809 h 4687251"/>
              <a:gd name="connsiteX38939" fmla="*/ 6555382 w 8079933"/>
              <a:gd name="connsiteY38939" fmla="*/ 2702433 h 4687251"/>
              <a:gd name="connsiteX38940" fmla="*/ 6557118 w 8079933"/>
              <a:gd name="connsiteY38940" fmla="*/ 2708497 h 4687251"/>
              <a:gd name="connsiteX38941" fmla="*/ 6557335 w 8079933"/>
              <a:gd name="connsiteY38941" fmla="*/ 2710770 h 4687251"/>
              <a:gd name="connsiteX38942" fmla="*/ 6559505 w 8079933"/>
              <a:gd name="connsiteY38942" fmla="*/ 2711744 h 4687251"/>
              <a:gd name="connsiteX38943" fmla="*/ 6560590 w 8079933"/>
              <a:gd name="connsiteY38943" fmla="*/ 2715101 h 4687251"/>
              <a:gd name="connsiteX38944" fmla="*/ 6563412 w 8079933"/>
              <a:gd name="connsiteY38944" fmla="*/ 2720622 h 4687251"/>
              <a:gd name="connsiteX38945" fmla="*/ 6562869 w 8079933"/>
              <a:gd name="connsiteY38945" fmla="*/ 2724195 h 4687251"/>
              <a:gd name="connsiteX38946" fmla="*/ 6561675 w 8079933"/>
              <a:gd name="connsiteY38946" fmla="*/ 2724087 h 4687251"/>
              <a:gd name="connsiteX38947" fmla="*/ 6561675 w 8079933"/>
              <a:gd name="connsiteY38947" fmla="*/ 2722355 h 4687251"/>
              <a:gd name="connsiteX38948" fmla="*/ 6560157 w 8079933"/>
              <a:gd name="connsiteY38948" fmla="*/ 2720514 h 4687251"/>
              <a:gd name="connsiteX38949" fmla="*/ 6558095 w 8079933"/>
              <a:gd name="connsiteY38949" fmla="*/ 2721705 h 4687251"/>
              <a:gd name="connsiteX38950" fmla="*/ 6558420 w 8079933"/>
              <a:gd name="connsiteY38950" fmla="*/ 2725387 h 4687251"/>
              <a:gd name="connsiteX38951" fmla="*/ 6560699 w 8079933"/>
              <a:gd name="connsiteY38951" fmla="*/ 2727768 h 4687251"/>
              <a:gd name="connsiteX38952" fmla="*/ 6560157 w 8079933"/>
              <a:gd name="connsiteY38952" fmla="*/ 2729826 h 4687251"/>
              <a:gd name="connsiteX38953" fmla="*/ 6557769 w 8079933"/>
              <a:gd name="connsiteY38953" fmla="*/ 2731775 h 4687251"/>
              <a:gd name="connsiteX38954" fmla="*/ 6557552 w 8079933"/>
              <a:gd name="connsiteY38954" fmla="*/ 2734481 h 4687251"/>
              <a:gd name="connsiteX38955" fmla="*/ 6553863 w 8079933"/>
              <a:gd name="connsiteY38955" fmla="*/ 2737297 h 4687251"/>
              <a:gd name="connsiteX38956" fmla="*/ 6557118 w 8079933"/>
              <a:gd name="connsiteY38956" fmla="*/ 2742385 h 4687251"/>
              <a:gd name="connsiteX38957" fmla="*/ 6555382 w 8079933"/>
              <a:gd name="connsiteY38957" fmla="*/ 2746607 h 4687251"/>
              <a:gd name="connsiteX38958" fmla="*/ 6556900 w 8079933"/>
              <a:gd name="connsiteY38958" fmla="*/ 2748556 h 4687251"/>
              <a:gd name="connsiteX38959" fmla="*/ 6553754 w 8079933"/>
              <a:gd name="connsiteY38959" fmla="*/ 2751588 h 4687251"/>
              <a:gd name="connsiteX38960" fmla="*/ 6551150 w 8079933"/>
              <a:gd name="connsiteY38960" fmla="*/ 2752562 h 4687251"/>
              <a:gd name="connsiteX38961" fmla="*/ 6550390 w 8079933"/>
              <a:gd name="connsiteY38961" fmla="*/ 2758409 h 4687251"/>
              <a:gd name="connsiteX38962" fmla="*/ 6547894 w 8079933"/>
              <a:gd name="connsiteY38962" fmla="*/ 2759383 h 4687251"/>
              <a:gd name="connsiteX38963" fmla="*/ 6542469 w 8079933"/>
              <a:gd name="connsiteY38963" fmla="*/ 2764905 h 4687251"/>
              <a:gd name="connsiteX38964" fmla="*/ 6538887 w 8079933"/>
              <a:gd name="connsiteY38964" fmla="*/ 2766746 h 4687251"/>
              <a:gd name="connsiteX38965" fmla="*/ 6534113 w 8079933"/>
              <a:gd name="connsiteY38965" fmla="*/ 2770102 h 4687251"/>
              <a:gd name="connsiteX38966" fmla="*/ 6533570 w 8079933"/>
              <a:gd name="connsiteY38966" fmla="*/ 2774108 h 4687251"/>
              <a:gd name="connsiteX38967" fmla="*/ 6529229 w 8079933"/>
              <a:gd name="connsiteY38967" fmla="*/ 2774108 h 4687251"/>
              <a:gd name="connsiteX38968" fmla="*/ 6526516 w 8079933"/>
              <a:gd name="connsiteY38968" fmla="*/ 2777248 h 4687251"/>
              <a:gd name="connsiteX38969" fmla="*/ 6516098 w 8079933"/>
              <a:gd name="connsiteY38969" fmla="*/ 2783311 h 4687251"/>
              <a:gd name="connsiteX38970" fmla="*/ 6509913 w 8079933"/>
              <a:gd name="connsiteY38970" fmla="*/ 2783961 h 4687251"/>
              <a:gd name="connsiteX38971" fmla="*/ 6507200 w 8079933"/>
              <a:gd name="connsiteY38971" fmla="*/ 2782553 h 4687251"/>
              <a:gd name="connsiteX38972" fmla="*/ 6502642 w 8079933"/>
              <a:gd name="connsiteY38972" fmla="*/ 2783744 h 4687251"/>
              <a:gd name="connsiteX38973" fmla="*/ 6501774 w 8079933"/>
              <a:gd name="connsiteY38973" fmla="*/ 2782878 h 4687251"/>
              <a:gd name="connsiteX38974" fmla="*/ 6502426 w 8079933"/>
              <a:gd name="connsiteY38974" fmla="*/ 2779847 h 4687251"/>
              <a:gd name="connsiteX38975" fmla="*/ 6502209 w 8079933"/>
              <a:gd name="connsiteY38975" fmla="*/ 2777031 h 4687251"/>
              <a:gd name="connsiteX38976" fmla="*/ 6501124 w 8079933"/>
              <a:gd name="connsiteY38976" fmla="*/ 2779847 h 4687251"/>
              <a:gd name="connsiteX38977" fmla="*/ 6500364 w 8079933"/>
              <a:gd name="connsiteY38977" fmla="*/ 2780929 h 4687251"/>
              <a:gd name="connsiteX38978" fmla="*/ 6496349 w 8079933"/>
              <a:gd name="connsiteY38978" fmla="*/ 2779847 h 4687251"/>
              <a:gd name="connsiteX38979" fmla="*/ 6499062 w 8079933"/>
              <a:gd name="connsiteY38979" fmla="*/ 2782012 h 4687251"/>
              <a:gd name="connsiteX38980" fmla="*/ 6498953 w 8079933"/>
              <a:gd name="connsiteY38980" fmla="*/ 2783744 h 4687251"/>
              <a:gd name="connsiteX38981" fmla="*/ 6497760 w 8079933"/>
              <a:gd name="connsiteY38981" fmla="*/ 2784610 h 4687251"/>
              <a:gd name="connsiteX38982" fmla="*/ 6493852 w 8079933"/>
              <a:gd name="connsiteY38982" fmla="*/ 2783961 h 4687251"/>
              <a:gd name="connsiteX38983" fmla="*/ 6500364 w 8079933"/>
              <a:gd name="connsiteY38983" fmla="*/ 2786992 h 4687251"/>
              <a:gd name="connsiteX38984" fmla="*/ 6498844 w 8079933"/>
              <a:gd name="connsiteY38984" fmla="*/ 2789158 h 4687251"/>
              <a:gd name="connsiteX38985" fmla="*/ 6500689 w 8079933"/>
              <a:gd name="connsiteY38985" fmla="*/ 2792947 h 4687251"/>
              <a:gd name="connsiteX38986" fmla="*/ 6497217 w 8079933"/>
              <a:gd name="connsiteY38986" fmla="*/ 2794788 h 4687251"/>
              <a:gd name="connsiteX38987" fmla="*/ 6492008 w 8079933"/>
              <a:gd name="connsiteY38987" fmla="*/ 2790890 h 4687251"/>
              <a:gd name="connsiteX38988" fmla="*/ 6496349 w 8079933"/>
              <a:gd name="connsiteY38988" fmla="*/ 2795654 h 4687251"/>
              <a:gd name="connsiteX38989" fmla="*/ 6495914 w 8079933"/>
              <a:gd name="connsiteY38989" fmla="*/ 2797928 h 4687251"/>
              <a:gd name="connsiteX38990" fmla="*/ 6493961 w 8079933"/>
              <a:gd name="connsiteY38990" fmla="*/ 2800635 h 4687251"/>
              <a:gd name="connsiteX38991" fmla="*/ 6491899 w 8079933"/>
              <a:gd name="connsiteY38991" fmla="*/ 2799876 h 4687251"/>
              <a:gd name="connsiteX38992" fmla="*/ 6489946 w 8079933"/>
              <a:gd name="connsiteY38992" fmla="*/ 2797062 h 4687251"/>
              <a:gd name="connsiteX38993" fmla="*/ 6487233 w 8079933"/>
              <a:gd name="connsiteY38993" fmla="*/ 2797494 h 4687251"/>
              <a:gd name="connsiteX38994" fmla="*/ 6488535 w 8079933"/>
              <a:gd name="connsiteY38994" fmla="*/ 2801068 h 4687251"/>
              <a:gd name="connsiteX38995" fmla="*/ 6488318 w 8079933"/>
              <a:gd name="connsiteY38995" fmla="*/ 2802259 h 4687251"/>
              <a:gd name="connsiteX38996" fmla="*/ 6489295 w 8079933"/>
              <a:gd name="connsiteY38996" fmla="*/ 2803558 h 4687251"/>
              <a:gd name="connsiteX38997" fmla="*/ 6487450 w 8079933"/>
              <a:gd name="connsiteY38997" fmla="*/ 2804857 h 4687251"/>
              <a:gd name="connsiteX38998" fmla="*/ 6486149 w 8079933"/>
              <a:gd name="connsiteY38998" fmla="*/ 2806698 h 4687251"/>
              <a:gd name="connsiteX38999" fmla="*/ 6483760 w 8079933"/>
              <a:gd name="connsiteY38999" fmla="*/ 2806914 h 4687251"/>
              <a:gd name="connsiteX39000" fmla="*/ 6479203 w 8079933"/>
              <a:gd name="connsiteY39000" fmla="*/ 2810920 h 4687251"/>
              <a:gd name="connsiteX39001" fmla="*/ 6477141 w 8079933"/>
              <a:gd name="connsiteY39001" fmla="*/ 2812328 h 4687251"/>
              <a:gd name="connsiteX39002" fmla="*/ 6473995 w 8079933"/>
              <a:gd name="connsiteY39002" fmla="*/ 2811894 h 4687251"/>
              <a:gd name="connsiteX39003" fmla="*/ 6472909 w 8079933"/>
              <a:gd name="connsiteY39003" fmla="*/ 2814493 h 4687251"/>
              <a:gd name="connsiteX39004" fmla="*/ 6472258 w 8079933"/>
              <a:gd name="connsiteY39004" fmla="*/ 2819582 h 4687251"/>
              <a:gd name="connsiteX39005" fmla="*/ 6469328 w 8079933"/>
              <a:gd name="connsiteY39005" fmla="*/ 2822289 h 4687251"/>
              <a:gd name="connsiteX39006" fmla="*/ 6468134 w 8079933"/>
              <a:gd name="connsiteY39006" fmla="*/ 2822180 h 4687251"/>
              <a:gd name="connsiteX39007" fmla="*/ 6468460 w 8079933"/>
              <a:gd name="connsiteY39007" fmla="*/ 2823263 h 4687251"/>
              <a:gd name="connsiteX39008" fmla="*/ 6457825 w 8079933"/>
              <a:gd name="connsiteY39008" fmla="*/ 2828027 h 4687251"/>
              <a:gd name="connsiteX39009" fmla="*/ 6452183 w 8079933"/>
              <a:gd name="connsiteY39009" fmla="*/ 2827161 h 4687251"/>
              <a:gd name="connsiteX39010" fmla="*/ 6455763 w 8079933"/>
              <a:gd name="connsiteY39010" fmla="*/ 2824996 h 4687251"/>
              <a:gd name="connsiteX39011" fmla="*/ 6460104 w 8079933"/>
              <a:gd name="connsiteY39011" fmla="*/ 2823047 h 4687251"/>
              <a:gd name="connsiteX39012" fmla="*/ 6462492 w 8079933"/>
              <a:gd name="connsiteY39012" fmla="*/ 2820339 h 4687251"/>
              <a:gd name="connsiteX39013" fmla="*/ 6459995 w 8079933"/>
              <a:gd name="connsiteY39013" fmla="*/ 2821314 h 4687251"/>
              <a:gd name="connsiteX39014" fmla="*/ 6456740 w 8079933"/>
              <a:gd name="connsiteY39014" fmla="*/ 2819582 h 4687251"/>
              <a:gd name="connsiteX39015" fmla="*/ 6457174 w 8079933"/>
              <a:gd name="connsiteY39015" fmla="*/ 2812328 h 4687251"/>
              <a:gd name="connsiteX39016" fmla="*/ 6457825 w 8079933"/>
              <a:gd name="connsiteY39016" fmla="*/ 2811570 h 4687251"/>
              <a:gd name="connsiteX39017" fmla="*/ 6456414 w 8079933"/>
              <a:gd name="connsiteY39017" fmla="*/ 2811137 h 4687251"/>
              <a:gd name="connsiteX39018" fmla="*/ 6457282 w 8079933"/>
              <a:gd name="connsiteY39018" fmla="*/ 2808105 h 4687251"/>
              <a:gd name="connsiteX39019" fmla="*/ 6456849 w 8079933"/>
              <a:gd name="connsiteY39019" fmla="*/ 2800526 h 4687251"/>
              <a:gd name="connsiteX39020" fmla="*/ 6460430 w 8079933"/>
              <a:gd name="connsiteY39020" fmla="*/ 2794788 h 4687251"/>
              <a:gd name="connsiteX39021" fmla="*/ 6467049 w 8079933"/>
              <a:gd name="connsiteY39021" fmla="*/ 2789483 h 4687251"/>
              <a:gd name="connsiteX39022" fmla="*/ 6469111 w 8079933"/>
              <a:gd name="connsiteY39022" fmla="*/ 2787101 h 4687251"/>
              <a:gd name="connsiteX39023" fmla="*/ 6465747 w 8079933"/>
              <a:gd name="connsiteY39023" fmla="*/ 2788617 h 4687251"/>
              <a:gd name="connsiteX39024" fmla="*/ 6460647 w 8079933"/>
              <a:gd name="connsiteY39024" fmla="*/ 2787858 h 4687251"/>
              <a:gd name="connsiteX39025" fmla="*/ 6457066 w 8079933"/>
              <a:gd name="connsiteY39025" fmla="*/ 2789049 h 4687251"/>
              <a:gd name="connsiteX39026" fmla="*/ 6454787 w 8079933"/>
              <a:gd name="connsiteY39026" fmla="*/ 2787642 h 4687251"/>
              <a:gd name="connsiteX39027" fmla="*/ 6452508 w 8079933"/>
              <a:gd name="connsiteY39027" fmla="*/ 2788508 h 4687251"/>
              <a:gd name="connsiteX39028" fmla="*/ 6447950 w 8079933"/>
              <a:gd name="connsiteY39028" fmla="*/ 2787317 h 4687251"/>
              <a:gd name="connsiteX39029" fmla="*/ 6448601 w 8079933"/>
              <a:gd name="connsiteY39029" fmla="*/ 2786126 h 4687251"/>
              <a:gd name="connsiteX39030" fmla="*/ 6448493 w 8079933"/>
              <a:gd name="connsiteY39030" fmla="*/ 2782120 h 4687251"/>
              <a:gd name="connsiteX39031" fmla="*/ 6447299 w 8079933"/>
              <a:gd name="connsiteY39031" fmla="*/ 2781254 h 4687251"/>
              <a:gd name="connsiteX39032" fmla="*/ 6451748 w 8079933"/>
              <a:gd name="connsiteY39032" fmla="*/ 2775841 h 4687251"/>
              <a:gd name="connsiteX39033" fmla="*/ 6456958 w 8079933"/>
              <a:gd name="connsiteY39033" fmla="*/ 2774974 h 4687251"/>
              <a:gd name="connsiteX39034" fmla="*/ 6459670 w 8079933"/>
              <a:gd name="connsiteY39034" fmla="*/ 2768153 h 4687251"/>
              <a:gd name="connsiteX39035" fmla="*/ 6456957 w 8079933"/>
              <a:gd name="connsiteY39035" fmla="*/ 2774974 h 4687251"/>
              <a:gd name="connsiteX39036" fmla="*/ 6451747 w 8079933"/>
              <a:gd name="connsiteY39036" fmla="*/ 2775841 h 4687251"/>
              <a:gd name="connsiteX39037" fmla="*/ 6447298 w 8079933"/>
              <a:gd name="connsiteY39037" fmla="*/ 2781254 h 4687251"/>
              <a:gd name="connsiteX39038" fmla="*/ 6442958 w 8079933"/>
              <a:gd name="connsiteY39038" fmla="*/ 2778114 h 4687251"/>
              <a:gd name="connsiteX39039" fmla="*/ 6441547 w 8079933"/>
              <a:gd name="connsiteY39039" fmla="*/ 2778980 h 4687251"/>
              <a:gd name="connsiteX39040" fmla="*/ 6436772 w 8079933"/>
              <a:gd name="connsiteY39040" fmla="*/ 2777464 h 4687251"/>
              <a:gd name="connsiteX39041" fmla="*/ 6434168 w 8079933"/>
              <a:gd name="connsiteY39041" fmla="*/ 2775515 h 4687251"/>
              <a:gd name="connsiteX39042" fmla="*/ 6433734 w 8079933"/>
              <a:gd name="connsiteY39042" fmla="*/ 2776815 h 4687251"/>
              <a:gd name="connsiteX39043" fmla="*/ 6429936 w 8079933"/>
              <a:gd name="connsiteY39043" fmla="*/ 2780388 h 4687251"/>
              <a:gd name="connsiteX39044" fmla="*/ 6427331 w 8079933"/>
              <a:gd name="connsiteY39044" fmla="*/ 2780280 h 4687251"/>
              <a:gd name="connsiteX39045" fmla="*/ 6426680 w 8079933"/>
              <a:gd name="connsiteY39045" fmla="*/ 2778439 h 4687251"/>
              <a:gd name="connsiteX39046" fmla="*/ 6425162 w 8079933"/>
              <a:gd name="connsiteY39046" fmla="*/ 2776165 h 4687251"/>
              <a:gd name="connsiteX39047" fmla="*/ 6428091 w 8079933"/>
              <a:gd name="connsiteY39047" fmla="*/ 2772809 h 4687251"/>
              <a:gd name="connsiteX39048" fmla="*/ 6428416 w 8079933"/>
              <a:gd name="connsiteY39048" fmla="*/ 2769669 h 4687251"/>
              <a:gd name="connsiteX39049" fmla="*/ 6426789 w 8079933"/>
              <a:gd name="connsiteY39049" fmla="*/ 2765988 h 4687251"/>
              <a:gd name="connsiteX39050" fmla="*/ 6426789 w 8079933"/>
              <a:gd name="connsiteY39050" fmla="*/ 2763173 h 4687251"/>
              <a:gd name="connsiteX39051" fmla="*/ 6424836 w 8079933"/>
              <a:gd name="connsiteY39051" fmla="*/ 2764472 h 4687251"/>
              <a:gd name="connsiteX39052" fmla="*/ 6421906 w 8079933"/>
              <a:gd name="connsiteY39052" fmla="*/ 2766962 h 4687251"/>
              <a:gd name="connsiteX39053" fmla="*/ 6421906 w 8079933"/>
              <a:gd name="connsiteY39053" fmla="*/ 2771076 h 4687251"/>
              <a:gd name="connsiteX39054" fmla="*/ 6418867 w 8079933"/>
              <a:gd name="connsiteY39054" fmla="*/ 2771509 h 4687251"/>
              <a:gd name="connsiteX39055" fmla="*/ 6415177 w 8079933"/>
              <a:gd name="connsiteY39055" fmla="*/ 2771076 h 4687251"/>
              <a:gd name="connsiteX39056" fmla="*/ 6414527 w 8079933"/>
              <a:gd name="connsiteY39056" fmla="*/ 2767503 h 4687251"/>
              <a:gd name="connsiteX39057" fmla="*/ 6413007 w 8079933"/>
              <a:gd name="connsiteY39057" fmla="*/ 2764797 h 4687251"/>
              <a:gd name="connsiteX39058" fmla="*/ 6413333 w 8079933"/>
              <a:gd name="connsiteY39058" fmla="*/ 2761007 h 4687251"/>
              <a:gd name="connsiteX39059" fmla="*/ 6411488 w 8079933"/>
              <a:gd name="connsiteY39059" fmla="*/ 2757543 h 4687251"/>
              <a:gd name="connsiteX39060" fmla="*/ 6409643 w 8079933"/>
              <a:gd name="connsiteY39060" fmla="*/ 2758192 h 4687251"/>
              <a:gd name="connsiteX39061" fmla="*/ 6406279 w 8079933"/>
              <a:gd name="connsiteY39061" fmla="*/ 2753428 h 4687251"/>
              <a:gd name="connsiteX39062" fmla="*/ 6406063 w 8079933"/>
              <a:gd name="connsiteY39062" fmla="*/ 2748881 h 4687251"/>
              <a:gd name="connsiteX39063" fmla="*/ 6402915 w 8079933"/>
              <a:gd name="connsiteY39063" fmla="*/ 2746066 h 4687251"/>
              <a:gd name="connsiteX39064" fmla="*/ 6402807 w 8079933"/>
              <a:gd name="connsiteY39064" fmla="*/ 2741519 h 4687251"/>
              <a:gd name="connsiteX39065" fmla="*/ 6399551 w 8079933"/>
              <a:gd name="connsiteY39065" fmla="*/ 2737729 h 4687251"/>
              <a:gd name="connsiteX39066" fmla="*/ 6399443 w 8079933"/>
              <a:gd name="connsiteY39066" fmla="*/ 2737729 h 4687251"/>
              <a:gd name="connsiteX39067" fmla="*/ 6399768 w 8079933"/>
              <a:gd name="connsiteY39067" fmla="*/ 2735889 h 4687251"/>
              <a:gd name="connsiteX39068" fmla="*/ 6399443 w 8079933"/>
              <a:gd name="connsiteY39068" fmla="*/ 2737729 h 4687251"/>
              <a:gd name="connsiteX39069" fmla="*/ 6397382 w 8079933"/>
              <a:gd name="connsiteY39069" fmla="*/ 2737513 h 4687251"/>
              <a:gd name="connsiteX39070" fmla="*/ 6397055 w 8079933"/>
              <a:gd name="connsiteY39070" fmla="*/ 2740869 h 4687251"/>
              <a:gd name="connsiteX39071" fmla="*/ 6396187 w 8079933"/>
              <a:gd name="connsiteY39071" fmla="*/ 2741194 h 4687251"/>
              <a:gd name="connsiteX39072" fmla="*/ 6395428 w 8079933"/>
              <a:gd name="connsiteY39072" fmla="*/ 2740003 h 4687251"/>
              <a:gd name="connsiteX39073" fmla="*/ 6390436 w 8079933"/>
              <a:gd name="connsiteY39073" fmla="*/ 2735889 h 4687251"/>
              <a:gd name="connsiteX39074" fmla="*/ 6388591 w 8079933"/>
              <a:gd name="connsiteY39074" fmla="*/ 2735780 h 4687251"/>
              <a:gd name="connsiteX39075" fmla="*/ 6388700 w 8079933"/>
              <a:gd name="connsiteY39075" fmla="*/ 2733615 h 4687251"/>
              <a:gd name="connsiteX39076" fmla="*/ 6385770 w 8079933"/>
              <a:gd name="connsiteY39076" fmla="*/ 2732099 h 4687251"/>
              <a:gd name="connsiteX39077" fmla="*/ 6379476 w 8079933"/>
              <a:gd name="connsiteY39077" fmla="*/ 2726036 h 4687251"/>
              <a:gd name="connsiteX39078" fmla="*/ 6376003 w 8079933"/>
              <a:gd name="connsiteY39078" fmla="*/ 2724737 h 4687251"/>
              <a:gd name="connsiteX39079" fmla="*/ 6373290 w 8079933"/>
              <a:gd name="connsiteY39079" fmla="*/ 2727010 h 4687251"/>
              <a:gd name="connsiteX39080" fmla="*/ 6373833 w 8079933"/>
              <a:gd name="connsiteY39080" fmla="*/ 2728093 h 4687251"/>
              <a:gd name="connsiteX39081" fmla="*/ 6373399 w 8079933"/>
              <a:gd name="connsiteY39081" fmla="*/ 2728959 h 4687251"/>
              <a:gd name="connsiteX39082" fmla="*/ 6371337 w 8079933"/>
              <a:gd name="connsiteY39082" fmla="*/ 2727552 h 4687251"/>
              <a:gd name="connsiteX39083" fmla="*/ 6366128 w 8079933"/>
              <a:gd name="connsiteY39083" fmla="*/ 2726253 h 4687251"/>
              <a:gd name="connsiteX39084" fmla="*/ 6361354 w 8079933"/>
              <a:gd name="connsiteY39084" fmla="*/ 2727443 h 4687251"/>
              <a:gd name="connsiteX39085" fmla="*/ 6357990 w 8079933"/>
              <a:gd name="connsiteY39085" fmla="*/ 2726253 h 4687251"/>
              <a:gd name="connsiteX39086" fmla="*/ 6354409 w 8079933"/>
              <a:gd name="connsiteY39086" fmla="*/ 2726577 h 4687251"/>
              <a:gd name="connsiteX39087" fmla="*/ 6355711 w 8079933"/>
              <a:gd name="connsiteY39087" fmla="*/ 2722896 h 4687251"/>
              <a:gd name="connsiteX39088" fmla="*/ 6357230 w 8079933"/>
              <a:gd name="connsiteY39088" fmla="*/ 2721272 h 4687251"/>
              <a:gd name="connsiteX39089" fmla="*/ 6355060 w 8079933"/>
              <a:gd name="connsiteY39089" fmla="*/ 2717483 h 4687251"/>
              <a:gd name="connsiteX39090" fmla="*/ 6355385 w 8079933"/>
              <a:gd name="connsiteY39090" fmla="*/ 2711203 h 4687251"/>
              <a:gd name="connsiteX39091" fmla="*/ 6356796 w 8079933"/>
              <a:gd name="connsiteY39091" fmla="*/ 2709688 h 4687251"/>
              <a:gd name="connsiteX39092" fmla="*/ 6355493 w 8079933"/>
              <a:gd name="connsiteY39092" fmla="*/ 2706547 h 4687251"/>
              <a:gd name="connsiteX39093" fmla="*/ 6351370 w 8079933"/>
              <a:gd name="connsiteY39093" fmla="*/ 2705790 h 4687251"/>
              <a:gd name="connsiteX39094" fmla="*/ 6350610 w 8079933"/>
              <a:gd name="connsiteY39094" fmla="*/ 2705140 h 4687251"/>
              <a:gd name="connsiteX39095" fmla="*/ 6348983 w 8079933"/>
              <a:gd name="connsiteY39095" fmla="*/ 2705573 h 4687251"/>
              <a:gd name="connsiteX39096" fmla="*/ 6347246 w 8079933"/>
              <a:gd name="connsiteY39096" fmla="*/ 2704274 h 4687251"/>
              <a:gd name="connsiteX39097" fmla="*/ 6343557 w 8079933"/>
              <a:gd name="connsiteY39097" fmla="*/ 2706006 h 4687251"/>
              <a:gd name="connsiteX39098" fmla="*/ 6340735 w 8079933"/>
              <a:gd name="connsiteY39098" fmla="*/ 2706331 h 4687251"/>
              <a:gd name="connsiteX39099" fmla="*/ 6339000 w 8079933"/>
              <a:gd name="connsiteY39099" fmla="*/ 2704815 h 4687251"/>
              <a:gd name="connsiteX39100" fmla="*/ 6337480 w 8079933"/>
              <a:gd name="connsiteY39100" fmla="*/ 2706764 h 4687251"/>
              <a:gd name="connsiteX39101" fmla="*/ 6334767 w 8079933"/>
              <a:gd name="connsiteY39101" fmla="*/ 2706764 h 4687251"/>
              <a:gd name="connsiteX39102" fmla="*/ 6333357 w 8079933"/>
              <a:gd name="connsiteY39102" fmla="*/ 2706114 h 4687251"/>
              <a:gd name="connsiteX39103" fmla="*/ 6333357 w 8079933"/>
              <a:gd name="connsiteY39103" fmla="*/ 2707089 h 4687251"/>
              <a:gd name="connsiteX39104" fmla="*/ 6332271 w 8079933"/>
              <a:gd name="connsiteY39104" fmla="*/ 2710445 h 4687251"/>
              <a:gd name="connsiteX39105" fmla="*/ 6336287 w 8079933"/>
              <a:gd name="connsiteY39105" fmla="*/ 2712394 h 4687251"/>
              <a:gd name="connsiteX39106" fmla="*/ 6336937 w 8079933"/>
              <a:gd name="connsiteY39106" fmla="*/ 2716725 h 4687251"/>
              <a:gd name="connsiteX39107" fmla="*/ 6334442 w 8079933"/>
              <a:gd name="connsiteY39107" fmla="*/ 2720839 h 4687251"/>
              <a:gd name="connsiteX39108" fmla="*/ 6334659 w 8079933"/>
              <a:gd name="connsiteY39108" fmla="*/ 2726036 h 4687251"/>
              <a:gd name="connsiteX39109" fmla="*/ 6333682 w 8079933"/>
              <a:gd name="connsiteY39109" fmla="*/ 2728959 h 4687251"/>
              <a:gd name="connsiteX39110" fmla="*/ 6335527 w 8079933"/>
              <a:gd name="connsiteY39110" fmla="*/ 2730475 h 4687251"/>
              <a:gd name="connsiteX39111" fmla="*/ 6334767 w 8079933"/>
              <a:gd name="connsiteY39111" fmla="*/ 2737080 h 4687251"/>
              <a:gd name="connsiteX39112" fmla="*/ 6331403 w 8079933"/>
              <a:gd name="connsiteY39112" fmla="*/ 2741410 h 4687251"/>
              <a:gd name="connsiteX39113" fmla="*/ 6330644 w 8079933"/>
              <a:gd name="connsiteY39113" fmla="*/ 2746283 h 4687251"/>
              <a:gd name="connsiteX39114" fmla="*/ 6327171 w 8079933"/>
              <a:gd name="connsiteY39114" fmla="*/ 2751371 h 4687251"/>
              <a:gd name="connsiteX39115" fmla="*/ 6325978 w 8079933"/>
              <a:gd name="connsiteY39115" fmla="*/ 2769452 h 4687251"/>
              <a:gd name="connsiteX39116" fmla="*/ 6320226 w 8079933"/>
              <a:gd name="connsiteY39116" fmla="*/ 2776706 h 4687251"/>
              <a:gd name="connsiteX39117" fmla="*/ 6320226 w 8079933"/>
              <a:gd name="connsiteY39117" fmla="*/ 2781795 h 4687251"/>
              <a:gd name="connsiteX39118" fmla="*/ 6317947 w 8079933"/>
              <a:gd name="connsiteY39118" fmla="*/ 2786559 h 4687251"/>
              <a:gd name="connsiteX39119" fmla="*/ 6320443 w 8079933"/>
              <a:gd name="connsiteY39119" fmla="*/ 2786992 h 4687251"/>
              <a:gd name="connsiteX39120" fmla="*/ 6321094 w 8079933"/>
              <a:gd name="connsiteY39120" fmla="*/ 2788183 h 4687251"/>
              <a:gd name="connsiteX39121" fmla="*/ 6318923 w 8079933"/>
              <a:gd name="connsiteY39121" fmla="*/ 2790999 h 4687251"/>
              <a:gd name="connsiteX39122" fmla="*/ 6319250 w 8079933"/>
              <a:gd name="connsiteY39122" fmla="*/ 2793164 h 4687251"/>
              <a:gd name="connsiteX39123" fmla="*/ 6320443 w 8079933"/>
              <a:gd name="connsiteY39123" fmla="*/ 2798144 h 4687251"/>
              <a:gd name="connsiteX39124" fmla="*/ 6320443 w 8079933"/>
              <a:gd name="connsiteY39124" fmla="*/ 2801284 h 4687251"/>
              <a:gd name="connsiteX39125" fmla="*/ 6325109 w 8079933"/>
              <a:gd name="connsiteY39125" fmla="*/ 2808105 h 4687251"/>
              <a:gd name="connsiteX39126" fmla="*/ 6322722 w 8079933"/>
              <a:gd name="connsiteY39126" fmla="*/ 2812760 h 4687251"/>
              <a:gd name="connsiteX39127" fmla="*/ 6324241 w 8079933"/>
              <a:gd name="connsiteY39127" fmla="*/ 2814493 h 4687251"/>
              <a:gd name="connsiteX39128" fmla="*/ 6326846 w 8079933"/>
              <a:gd name="connsiteY39128" fmla="*/ 2813735 h 4687251"/>
              <a:gd name="connsiteX39129" fmla="*/ 6327497 w 8079933"/>
              <a:gd name="connsiteY39129" fmla="*/ 2811786 h 4687251"/>
              <a:gd name="connsiteX39130" fmla="*/ 6329775 w 8079933"/>
              <a:gd name="connsiteY39130" fmla="*/ 2809187 h 4687251"/>
              <a:gd name="connsiteX39131" fmla="*/ 6330969 w 8079933"/>
              <a:gd name="connsiteY39131" fmla="*/ 2810054 h 4687251"/>
              <a:gd name="connsiteX39132" fmla="*/ 6334550 w 8079933"/>
              <a:gd name="connsiteY39132" fmla="*/ 2810703 h 4687251"/>
              <a:gd name="connsiteX39133" fmla="*/ 6336612 w 8079933"/>
              <a:gd name="connsiteY39133" fmla="*/ 2812760 h 4687251"/>
              <a:gd name="connsiteX39134" fmla="*/ 6337155 w 8079933"/>
              <a:gd name="connsiteY39134" fmla="*/ 2817633 h 4687251"/>
              <a:gd name="connsiteX39135" fmla="*/ 6339325 w 8079933"/>
              <a:gd name="connsiteY39135" fmla="*/ 2820556 h 4687251"/>
              <a:gd name="connsiteX39136" fmla="*/ 6338891 w 8079933"/>
              <a:gd name="connsiteY39136" fmla="*/ 2825645 h 4687251"/>
              <a:gd name="connsiteX39137" fmla="*/ 6341495 w 8079933"/>
              <a:gd name="connsiteY39137" fmla="*/ 2826619 h 4687251"/>
              <a:gd name="connsiteX39138" fmla="*/ 6343882 w 8079933"/>
              <a:gd name="connsiteY39138" fmla="*/ 2831925 h 4687251"/>
              <a:gd name="connsiteX39139" fmla="*/ 6346487 w 8079933"/>
              <a:gd name="connsiteY39139" fmla="*/ 2831816 h 4687251"/>
              <a:gd name="connsiteX39140" fmla="*/ 6346378 w 8079933"/>
              <a:gd name="connsiteY39140" fmla="*/ 2829217 h 4687251"/>
              <a:gd name="connsiteX39141" fmla="*/ 6346813 w 8079933"/>
              <a:gd name="connsiteY39141" fmla="*/ 2827160 h 4687251"/>
              <a:gd name="connsiteX39142" fmla="*/ 6347897 w 8079933"/>
              <a:gd name="connsiteY39142" fmla="*/ 2830950 h 4687251"/>
              <a:gd name="connsiteX39143" fmla="*/ 6350610 w 8079933"/>
              <a:gd name="connsiteY39143" fmla="*/ 2834848 h 4687251"/>
              <a:gd name="connsiteX39144" fmla="*/ 6350719 w 8079933"/>
              <a:gd name="connsiteY39144" fmla="*/ 2838854 h 4687251"/>
              <a:gd name="connsiteX39145" fmla="*/ 6352998 w 8079933"/>
              <a:gd name="connsiteY39145" fmla="*/ 2840045 h 4687251"/>
              <a:gd name="connsiteX39146" fmla="*/ 6354843 w 8079933"/>
              <a:gd name="connsiteY39146" fmla="*/ 2849898 h 4687251"/>
              <a:gd name="connsiteX39147" fmla="*/ 6353975 w 8079933"/>
              <a:gd name="connsiteY39147" fmla="*/ 2851196 h 4687251"/>
              <a:gd name="connsiteX39148" fmla="*/ 6353215 w 8079933"/>
              <a:gd name="connsiteY39148" fmla="*/ 2852929 h 4687251"/>
              <a:gd name="connsiteX39149" fmla="*/ 6352021 w 8079933"/>
              <a:gd name="connsiteY39149" fmla="*/ 2851305 h 4687251"/>
              <a:gd name="connsiteX39150" fmla="*/ 6348223 w 8079933"/>
              <a:gd name="connsiteY39150" fmla="*/ 2853795 h 4687251"/>
              <a:gd name="connsiteX39151" fmla="*/ 6347572 w 8079933"/>
              <a:gd name="connsiteY39151" fmla="*/ 2857260 h 4687251"/>
              <a:gd name="connsiteX39152" fmla="*/ 6354517 w 8079933"/>
              <a:gd name="connsiteY39152" fmla="*/ 2859859 h 4687251"/>
              <a:gd name="connsiteX39153" fmla="*/ 6355385 w 8079933"/>
              <a:gd name="connsiteY39153" fmla="*/ 2856286 h 4687251"/>
              <a:gd name="connsiteX39154" fmla="*/ 6356796 w 8079933"/>
              <a:gd name="connsiteY39154" fmla="*/ 2857368 h 4687251"/>
              <a:gd name="connsiteX39155" fmla="*/ 6357230 w 8079933"/>
              <a:gd name="connsiteY39155" fmla="*/ 2861590 h 4687251"/>
              <a:gd name="connsiteX39156" fmla="*/ 6360377 w 8079933"/>
              <a:gd name="connsiteY39156" fmla="*/ 2864189 h 4687251"/>
              <a:gd name="connsiteX39157" fmla="*/ 6367214 w 8079933"/>
              <a:gd name="connsiteY39157" fmla="*/ 2870902 h 4687251"/>
              <a:gd name="connsiteX39158" fmla="*/ 6370035 w 8079933"/>
              <a:gd name="connsiteY39158" fmla="*/ 2873175 h 4687251"/>
              <a:gd name="connsiteX39159" fmla="*/ 6372097 w 8079933"/>
              <a:gd name="connsiteY39159" fmla="*/ 2871768 h 4687251"/>
              <a:gd name="connsiteX39160" fmla="*/ 6376872 w 8079933"/>
              <a:gd name="connsiteY39160" fmla="*/ 2872310 h 4687251"/>
              <a:gd name="connsiteX39161" fmla="*/ 6381321 w 8079933"/>
              <a:gd name="connsiteY39161" fmla="*/ 2873933 h 4687251"/>
              <a:gd name="connsiteX39162" fmla="*/ 6384468 w 8079933"/>
              <a:gd name="connsiteY39162" fmla="*/ 2880863 h 4687251"/>
              <a:gd name="connsiteX39163" fmla="*/ 6387073 w 8079933"/>
              <a:gd name="connsiteY39163" fmla="*/ 2884219 h 4687251"/>
              <a:gd name="connsiteX39164" fmla="*/ 6391412 w 8079933"/>
              <a:gd name="connsiteY39164" fmla="*/ 2887034 h 4687251"/>
              <a:gd name="connsiteX39165" fmla="*/ 6391956 w 8079933"/>
              <a:gd name="connsiteY39165" fmla="*/ 2889308 h 4687251"/>
              <a:gd name="connsiteX39166" fmla="*/ 6390762 w 8079933"/>
              <a:gd name="connsiteY39166" fmla="*/ 2890499 h 4687251"/>
              <a:gd name="connsiteX39167" fmla="*/ 6390762 w 8079933"/>
              <a:gd name="connsiteY39167" fmla="*/ 2890500 h 4687251"/>
              <a:gd name="connsiteX39168" fmla="*/ 6391956 w 8079933"/>
              <a:gd name="connsiteY39168" fmla="*/ 2889308 h 4687251"/>
              <a:gd name="connsiteX39169" fmla="*/ 6391956 w 8079933"/>
              <a:gd name="connsiteY39169" fmla="*/ 2889417 h 4687251"/>
              <a:gd name="connsiteX39170" fmla="*/ 6395428 w 8079933"/>
              <a:gd name="connsiteY39170" fmla="*/ 2889200 h 4687251"/>
              <a:gd name="connsiteX39171" fmla="*/ 6397490 w 8079933"/>
              <a:gd name="connsiteY39171" fmla="*/ 2886818 h 4687251"/>
              <a:gd name="connsiteX39172" fmla="*/ 6399552 w 8079933"/>
              <a:gd name="connsiteY39172" fmla="*/ 2886276 h 4687251"/>
              <a:gd name="connsiteX39173" fmla="*/ 6403133 w 8079933"/>
              <a:gd name="connsiteY39173" fmla="*/ 2892881 h 4687251"/>
              <a:gd name="connsiteX39174" fmla="*/ 6420495 w 8079933"/>
              <a:gd name="connsiteY39174" fmla="*/ 2910530 h 4687251"/>
              <a:gd name="connsiteX39175" fmla="*/ 6425705 w 8079933"/>
              <a:gd name="connsiteY39175" fmla="*/ 2918867 h 4687251"/>
              <a:gd name="connsiteX39176" fmla="*/ 6428092 w 8079933"/>
              <a:gd name="connsiteY39176" fmla="*/ 2928503 h 4687251"/>
              <a:gd name="connsiteX39177" fmla="*/ 6426138 w 8079933"/>
              <a:gd name="connsiteY39177" fmla="*/ 2931101 h 4687251"/>
              <a:gd name="connsiteX39178" fmla="*/ 6426790 w 8079933"/>
              <a:gd name="connsiteY39178" fmla="*/ 2942794 h 4687251"/>
              <a:gd name="connsiteX39179" fmla="*/ 6425596 w 8079933"/>
              <a:gd name="connsiteY39179" fmla="*/ 2944851 h 4687251"/>
              <a:gd name="connsiteX39180" fmla="*/ 6425596 w 8079933"/>
              <a:gd name="connsiteY39180" fmla="*/ 2949074 h 4687251"/>
              <a:gd name="connsiteX39181" fmla="*/ 6427332 w 8079933"/>
              <a:gd name="connsiteY39181" fmla="*/ 2952214 h 4687251"/>
              <a:gd name="connsiteX39182" fmla="*/ 6427332 w 8079933"/>
              <a:gd name="connsiteY39182" fmla="*/ 2964016 h 4687251"/>
              <a:gd name="connsiteX39183" fmla="*/ 6430480 w 8079933"/>
              <a:gd name="connsiteY39183" fmla="*/ 2970295 h 4687251"/>
              <a:gd name="connsiteX39184" fmla="*/ 6435906 w 8079933"/>
              <a:gd name="connsiteY39184" fmla="*/ 2975275 h 4687251"/>
              <a:gd name="connsiteX39185" fmla="*/ 6439703 w 8079933"/>
              <a:gd name="connsiteY39185" fmla="*/ 2975275 h 4687251"/>
              <a:gd name="connsiteX39186" fmla="*/ 6440789 w 8079933"/>
              <a:gd name="connsiteY39186" fmla="*/ 2977332 h 4687251"/>
              <a:gd name="connsiteX39187" fmla="*/ 6440137 w 8079933"/>
              <a:gd name="connsiteY39187" fmla="*/ 2979173 h 4687251"/>
              <a:gd name="connsiteX39188" fmla="*/ 6441114 w 8079933"/>
              <a:gd name="connsiteY39188" fmla="*/ 2986319 h 4687251"/>
              <a:gd name="connsiteX39189" fmla="*/ 6442742 w 8079933"/>
              <a:gd name="connsiteY39189" fmla="*/ 2987727 h 4687251"/>
              <a:gd name="connsiteX39190" fmla="*/ 6443718 w 8079933"/>
              <a:gd name="connsiteY39190" fmla="*/ 2989567 h 4687251"/>
              <a:gd name="connsiteX39191" fmla="*/ 6443610 w 8079933"/>
              <a:gd name="connsiteY39191" fmla="*/ 2990975 h 4687251"/>
              <a:gd name="connsiteX39192" fmla="*/ 6445020 w 8079933"/>
              <a:gd name="connsiteY39192" fmla="*/ 2991624 h 4687251"/>
              <a:gd name="connsiteX39193" fmla="*/ 6450121 w 8079933"/>
              <a:gd name="connsiteY39193" fmla="*/ 3001585 h 4687251"/>
              <a:gd name="connsiteX39194" fmla="*/ 6450230 w 8079933"/>
              <a:gd name="connsiteY39194" fmla="*/ 3007540 h 4687251"/>
              <a:gd name="connsiteX39195" fmla="*/ 6446540 w 8079933"/>
              <a:gd name="connsiteY39195" fmla="*/ 3006891 h 4687251"/>
              <a:gd name="connsiteX39196" fmla="*/ 6445671 w 8079933"/>
              <a:gd name="connsiteY39196" fmla="*/ 3005050 h 4687251"/>
              <a:gd name="connsiteX39197" fmla="*/ 6445888 w 8079933"/>
              <a:gd name="connsiteY39197" fmla="*/ 3002452 h 4687251"/>
              <a:gd name="connsiteX39198" fmla="*/ 6443284 w 8079933"/>
              <a:gd name="connsiteY39198" fmla="*/ 3000503 h 4687251"/>
              <a:gd name="connsiteX39199" fmla="*/ 6444695 w 8079933"/>
              <a:gd name="connsiteY39199" fmla="*/ 3002343 h 4687251"/>
              <a:gd name="connsiteX39200" fmla="*/ 6444369 w 8079933"/>
              <a:gd name="connsiteY39200" fmla="*/ 3004942 h 4687251"/>
              <a:gd name="connsiteX39201" fmla="*/ 6442850 w 8079933"/>
              <a:gd name="connsiteY39201" fmla="*/ 3005483 h 4687251"/>
              <a:gd name="connsiteX39202" fmla="*/ 6445020 w 8079933"/>
              <a:gd name="connsiteY39202" fmla="*/ 3005808 h 4687251"/>
              <a:gd name="connsiteX39203" fmla="*/ 6445020 w 8079933"/>
              <a:gd name="connsiteY39203" fmla="*/ 3006891 h 4687251"/>
              <a:gd name="connsiteX39204" fmla="*/ 6440245 w 8079933"/>
              <a:gd name="connsiteY39204" fmla="*/ 3009814 h 4687251"/>
              <a:gd name="connsiteX39205" fmla="*/ 6438618 w 8079933"/>
              <a:gd name="connsiteY39205" fmla="*/ 3007324 h 4687251"/>
              <a:gd name="connsiteX39206" fmla="*/ 6436990 w 8079933"/>
              <a:gd name="connsiteY39206" fmla="*/ 3008948 h 4687251"/>
              <a:gd name="connsiteX39207" fmla="*/ 6432324 w 8079933"/>
              <a:gd name="connsiteY39207" fmla="*/ 3006674 h 4687251"/>
              <a:gd name="connsiteX39208" fmla="*/ 6429285 w 8079933"/>
              <a:gd name="connsiteY39208" fmla="*/ 3003101 h 4687251"/>
              <a:gd name="connsiteX39209" fmla="*/ 6421472 w 8079933"/>
              <a:gd name="connsiteY39209" fmla="*/ 3001585 h 4687251"/>
              <a:gd name="connsiteX39210" fmla="*/ 6414202 w 8079933"/>
              <a:gd name="connsiteY39210" fmla="*/ 2997796 h 4687251"/>
              <a:gd name="connsiteX39211" fmla="*/ 6410621 w 8079933"/>
              <a:gd name="connsiteY39211" fmla="*/ 2993898 h 4687251"/>
              <a:gd name="connsiteX39212" fmla="*/ 6408016 w 8079933"/>
              <a:gd name="connsiteY39212" fmla="*/ 2991733 h 4687251"/>
              <a:gd name="connsiteX39213" fmla="*/ 6404652 w 8079933"/>
              <a:gd name="connsiteY39213" fmla="*/ 2992599 h 4687251"/>
              <a:gd name="connsiteX39214" fmla="*/ 6401180 w 8079933"/>
              <a:gd name="connsiteY39214" fmla="*/ 2992383 h 4687251"/>
              <a:gd name="connsiteX39215" fmla="*/ 6395428 w 8079933"/>
              <a:gd name="connsiteY39215" fmla="*/ 2986319 h 4687251"/>
              <a:gd name="connsiteX39216" fmla="*/ 6395863 w 8079933"/>
              <a:gd name="connsiteY39216" fmla="*/ 2981880 h 4687251"/>
              <a:gd name="connsiteX39217" fmla="*/ 6388592 w 8079933"/>
              <a:gd name="connsiteY39217" fmla="*/ 2976142 h 4687251"/>
              <a:gd name="connsiteX39218" fmla="*/ 6380019 w 8079933"/>
              <a:gd name="connsiteY39218" fmla="*/ 2972785 h 4687251"/>
              <a:gd name="connsiteX39219" fmla="*/ 6377089 w 8079933"/>
              <a:gd name="connsiteY39219" fmla="*/ 2970079 h 4687251"/>
              <a:gd name="connsiteX39220" fmla="*/ 6377632 w 8079933"/>
              <a:gd name="connsiteY39220" fmla="*/ 2966830 h 4687251"/>
              <a:gd name="connsiteX39221" fmla="*/ 6381213 w 8079933"/>
              <a:gd name="connsiteY39221" fmla="*/ 2963366 h 4687251"/>
              <a:gd name="connsiteX39222" fmla="*/ 6378391 w 8079933"/>
              <a:gd name="connsiteY39222" fmla="*/ 2959035 h 4687251"/>
              <a:gd name="connsiteX39223" fmla="*/ 6374051 w 8079933"/>
              <a:gd name="connsiteY39223" fmla="*/ 2956545 h 4687251"/>
              <a:gd name="connsiteX39224" fmla="*/ 6369927 w 8079933"/>
              <a:gd name="connsiteY39224" fmla="*/ 2950048 h 4687251"/>
              <a:gd name="connsiteX39225" fmla="*/ 6363416 w 8079933"/>
              <a:gd name="connsiteY39225" fmla="*/ 2946259 h 4687251"/>
              <a:gd name="connsiteX39226" fmla="*/ 6360486 w 8079933"/>
              <a:gd name="connsiteY39226" fmla="*/ 2942036 h 4687251"/>
              <a:gd name="connsiteX39227" fmla="*/ 6361788 w 8079933"/>
              <a:gd name="connsiteY39227" fmla="*/ 2939871 h 4687251"/>
              <a:gd name="connsiteX39228" fmla="*/ 6358098 w 8079933"/>
              <a:gd name="connsiteY39228" fmla="*/ 2936514 h 4687251"/>
              <a:gd name="connsiteX39229" fmla="*/ 6357556 w 8079933"/>
              <a:gd name="connsiteY39229" fmla="*/ 2931209 h 4687251"/>
              <a:gd name="connsiteX39230" fmla="*/ 6359075 w 8079933"/>
              <a:gd name="connsiteY39230" fmla="*/ 2930018 h 4687251"/>
              <a:gd name="connsiteX39231" fmla="*/ 6359944 w 8079933"/>
              <a:gd name="connsiteY39231" fmla="*/ 2922223 h 4687251"/>
              <a:gd name="connsiteX39232" fmla="*/ 6357014 w 8079933"/>
              <a:gd name="connsiteY39232" fmla="*/ 2916268 h 4687251"/>
              <a:gd name="connsiteX39233" fmla="*/ 6354301 w 8079933"/>
              <a:gd name="connsiteY39233" fmla="*/ 2909772 h 4687251"/>
              <a:gd name="connsiteX39234" fmla="*/ 6351805 w 8079933"/>
              <a:gd name="connsiteY39234" fmla="*/ 2890066 h 4687251"/>
              <a:gd name="connsiteX39235" fmla="*/ 6346813 w 8079933"/>
              <a:gd name="connsiteY39235" fmla="*/ 2882055 h 4687251"/>
              <a:gd name="connsiteX39236" fmla="*/ 6348441 w 8079933"/>
              <a:gd name="connsiteY39236" fmla="*/ 2876641 h 4687251"/>
              <a:gd name="connsiteX39237" fmla="*/ 6351479 w 8079933"/>
              <a:gd name="connsiteY39237" fmla="*/ 2872635 h 4687251"/>
              <a:gd name="connsiteX39238" fmla="*/ 6354188 w 8079933"/>
              <a:gd name="connsiteY39238" fmla="*/ 2875016 h 4687251"/>
              <a:gd name="connsiteX39239" fmla="*/ 6351479 w 8079933"/>
              <a:gd name="connsiteY39239" fmla="*/ 2872634 h 4687251"/>
              <a:gd name="connsiteX39240" fmla="*/ 6348441 w 8079933"/>
              <a:gd name="connsiteY39240" fmla="*/ 2876640 h 4687251"/>
              <a:gd name="connsiteX39241" fmla="*/ 6346813 w 8079933"/>
              <a:gd name="connsiteY39241" fmla="*/ 2882053 h 4687251"/>
              <a:gd name="connsiteX39242" fmla="*/ 6344859 w 8079933"/>
              <a:gd name="connsiteY39242" fmla="*/ 2878806 h 4687251"/>
              <a:gd name="connsiteX39243" fmla="*/ 6334550 w 8079933"/>
              <a:gd name="connsiteY39243" fmla="*/ 2871443 h 4687251"/>
              <a:gd name="connsiteX39244" fmla="*/ 6334225 w 8079933"/>
              <a:gd name="connsiteY39244" fmla="*/ 2869494 h 4687251"/>
              <a:gd name="connsiteX39245" fmla="*/ 6336287 w 8079933"/>
              <a:gd name="connsiteY39245" fmla="*/ 2867221 h 4687251"/>
              <a:gd name="connsiteX39246" fmla="*/ 6336395 w 8079933"/>
              <a:gd name="connsiteY39246" fmla="*/ 2864622 h 4687251"/>
              <a:gd name="connsiteX39247" fmla="*/ 6333899 w 8079933"/>
              <a:gd name="connsiteY39247" fmla="*/ 2864297 h 4687251"/>
              <a:gd name="connsiteX39248" fmla="*/ 6332271 w 8079933"/>
              <a:gd name="connsiteY39248" fmla="*/ 2860400 h 4687251"/>
              <a:gd name="connsiteX39249" fmla="*/ 6327605 w 8079933"/>
              <a:gd name="connsiteY39249" fmla="*/ 2859641 h 4687251"/>
              <a:gd name="connsiteX39250" fmla="*/ 6327605 w 8079933"/>
              <a:gd name="connsiteY39250" fmla="*/ 2856394 h 4687251"/>
              <a:gd name="connsiteX39251" fmla="*/ 6322179 w 8079933"/>
              <a:gd name="connsiteY39251" fmla="*/ 2849139 h 4687251"/>
              <a:gd name="connsiteX39252" fmla="*/ 6318707 w 8079933"/>
              <a:gd name="connsiteY39252" fmla="*/ 2849139 h 4687251"/>
              <a:gd name="connsiteX39253" fmla="*/ 6315994 w 8079933"/>
              <a:gd name="connsiteY39253" fmla="*/ 2840478 h 4687251"/>
              <a:gd name="connsiteX39254" fmla="*/ 6311653 w 8079933"/>
              <a:gd name="connsiteY39254" fmla="*/ 2839720 h 4687251"/>
              <a:gd name="connsiteX39255" fmla="*/ 6311653 w 8079933"/>
              <a:gd name="connsiteY39255" fmla="*/ 2836147 h 4687251"/>
              <a:gd name="connsiteX39256" fmla="*/ 6308941 w 8079933"/>
              <a:gd name="connsiteY39256" fmla="*/ 2834198 h 4687251"/>
              <a:gd name="connsiteX39257" fmla="*/ 6309049 w 8079933"/>
              <a:gd name="connsiteY39257" fmla="*/ 2831816 h 4687251"/>
              <a:gd name="connsiteX39258" fmla="*/ 6304599 w 8079933"/>
              <a:gd name="connsiteY39258" fmla="*/ 2833982 h 4687251"/>
              <a:gd name="connsiteX39259" fmla="*/ 6304708 w 8079933"/>
              <a:gd name="connsiteY39259" fmla="*/ 2838529 h 4687251"/>
              <a:gd name="connsiteX39260" fmla="*/ 6301670 w 8079933"/>
              <a:gd name="connsiteY39260" fmla="*/ 2838096 h 4687251"/>
              <a:gd name="connsiteX39261" fmla="*/ 6299500 w 8079933"/>
              <a:gd name="connsiteY39261" fmla="*/ 2834848 h 4687251"/>
              <a:gd name="connsiteX39262" fmla="*/ 6298197 w 8079933"/>
              <a:gd name="connsiteY39262" fmla="*/ 2826727 h 4687251"/>
              <a:gd name="connsiteX39263" fmla="*/ 6299391 w 8079933"/>
              <a:gd name="connsiteY39263" fmla="*/ 2824562 h 4687251"/>
              <a:gd name="connsiteX39264" fmla="*/ 6298631 w 8079933"/>
              <a:gd name="connsiteY39264" fmla="*/ 2817741 h 4687251"/>
              <a:gd name="connsiteX39265" fmla="*/ 6301670 w 8079933"/>
              <a:gd name="connsiteY39265" fmla="*/ 2816333 h 4687251"/>
              <a:gd name="connsiteX39266" fmla="*/ 6301562 w 8079933"/>
              <a:gd name="connsiteY39266" fmla="*/ 2807130 h 4687251"/>
              <a:gd name="connsiteX39267" fmla="*/ 6304057 w 8079933"/>
              <a:gd name="connsiteY39267" fmla="*/ 2807672 h 4687251"/>
              <a:gd name="connsiteX39268" fmla="*/ 6305902 w 8079933"/>
              <a:gd name="connsiteY39268" fmla="*/ 2803991 h 4687251"/>
              <a:gd name="connsiteX39269" fmla="*/ 6303189 w 8079933"/>
              <a:gd name="connsiteY39269" fmla="*/ 2803450 h 4687251"/>
              <a:gd name="connsiteX39270" fmla="*/ 6306552 w 8079933"/>
              <a:gd name="connsiteY39270" fmla="*/ 2798578 h 4687251"/>
              <a:gd name="connsiteX39271" fmla="*/ 6305468 w 8079933"/>
              <a:gd name="connsiteY39271" fmla="*/ 2796628 h 4687251"/>
              <a:gd name="connsiteX39272" fmla="*/ 6308614 w 8079933"/>
              <a:gd name="connsiteY39272" fmla="*/ 2792081 h 4687251"/>
              <a:gd name="connsiteX39273" fmla="*/ 6305902 w 8079933"/>
              <a:gd name="connsiteY39273" fmla="*/ 2791756 h 4687251"/>
              <a:gd name="connsiteX39274" fmla="*/ 6306878 w 8079933"/>
              <a:gd name="connsiteY39274" fmla="*/ 2783961 h 4687251"/>
              <a:gd name="connsiteX39275" fmla="*/ 6306880 w 8079933"/>
              <a:gd name="connsiteY39275" fmla="*/ 2783956 h 4687251"/>
              <a:gd name="connsiteX39276" fmla="*/ 6306988 w 8079933"/>
              <a:gd name="connsiteY39276" fmla="*/ 2783095 h 4687251"/>
              <a:gd name="connsiteX39277" fmla="*/ 6304708 w 8079933"/>
              <a:gd name="connsiteY39277" fmla="*/ 2787967 h 4687251"/>
              <a:gd name="connsiteX39278" fmla="*/ 6304166 w 8079933"/>
              <a:gd name="connsiteY39278" fmla="*/ 2795005 h 4687251"/>
              <a:gd name="connsiteX39279" fmla="*/ 6301886 w 8079933"/>
              <a:gd name="connsiteY39279" fmla="*/ 2787643 h 4687251"/>
              <a:gd name="connsiteX39280" fmla="*/ 6301670 w 8079933"/>
              <a:gd name="connsiteY39280" fmla="*/ 2780713 h 4687251"/>
              <a:gd name="connsiteX39281" fmla="*/ 6300042 w 8079933"/>
              <a:gd name="connsiteY39281" fmla="*/ 2777898 h 4687251"/>
              <a:gd name="connsiteX39282" fmla="*/ 6299825 w 8079933"/>
              <a:gd name="connsiteY39282" fmla="*/ 2775516 h 4687251"/>
              <a:gd name="connsiteX39283" fmla="*/ 6301670 w 8079933"/>
              <a:gd name="connsiteY39283" fmla="*/ 2776275 h 4687251"/>
              <a:gd name="connsiteX39284" fmla="*/ 6303515 w 8079933"/>
              <a:gd name="connsiteY39284" fmla="*/ 2774650 h 4687251"/>
              <a:gd name="connsiteX39285" fmla="*/ 6306336 w 8079933"/>
              <a:gd name="connsiteY39285" fmla="*/ 2769886 h 4687251"/>
              <a:gd name="connsiteX39286" fmla="*/ 6306336 w 8079933"/>
              <a:gd name="connsiteY39286" fmla="*/ 2765988 h 4687251"/>
              <a:gd name="connsiteX39287" fmla="*/ 6304925 w 8079933"/>
              <a:gd name="connsiteY39287" fmla="*/ 2764690 h 4687251"/>
              <a:gd name="connsiteX39288" fmla="*/ 6305685 w 8079933"/>
              <a:gd name="connsiteY39288" fmla="*/ 2758410 h 4687251"/>
              <a:gd name="connsiteX39289" fmla="*/ 6307312 w 8079933"/>
              <a:gd name="connsiteY39289" fmla="*/ 2757652 h 4687251"/>
              <a:gd name="connsiteX39290" fmla="*/ 6308507 w 8079933"/>
              <a:gd name="connsiteY39290" fmla="*/ 2754837 h 4687251"/>
              <a:gd name="connsiteX39291" fmla="*/ 6306228 w 8079933"/>
              <a:gd name="connsiteY39291" fmla="*/ 2748341 h 4687251"/>
              <a:gd name="connsiteX39292" fmla="*/ 6309592 w 8079933"/>
              <a:gd name="connsiteY39292" fmla="*/ 2745742 h 4687251"/>
              <a:gd name="connsiteX39293" fmla="*/ 6306011 w 8079933"/>
              <a:gd name="connsiteY39293" fmla="*/ 2741952 h 4687251"/>
              <a:gd name="connsiteX39294" fmla="*/ 6303732 w 8079933"/>
              <a:gd name="connsiteY39294" fmla="*/ 2738596 h 4687251"/>
              <a:gd name="connsiteX39295" fmla="*/ 6303515 w 8079933"/>
              <a:gd name="connsiteY39295" fmla="*/ 2732425 h 4687251"/>
              <a:gd name="connsiteX39296" fmla="*/ 6305143 w 8079933"/>
              <a:gd name="connsiteY39296" fmla="*/ 2730042 h 4687251"/>
              <a:gd name="connsiteX39297" fmla="*/ 6303732 w 8079933"/>
              <a:gd name="connsiteY39297" fmla="*/ 2725712 h 4687251"/>
              <a:gd name="connsiteX39298" fmla="*/ 6301345 w 8079933"/>
              <a:gd name="connsiteY39298" fmla="*/ 2723980 h 4687251"/>
              <a:gd name="connsiteX39299" fmla="*/ 6299717 w 8079933"/>
              <a:gd name="connsiteY39299" fmla="*/ 2709363 h 4687251"/>
              <a:gd name="connsiteX39300" fmla="*/ 6296461 w 8079933"/>
              <a:gd name="connsiteY39300" fmla="*/ 2706440 h 4687251"/>
              <a:gd name="connsiteX39301" fmla="*/ 6295376 w 8079933"/>
              <a:gd name="connsiteY39301" fmla="*/ 2701351 h 4687251"/>
              <a:gd name="connsiteX39302" fmla="*/ 6291904 w 8079933"/>
              <a:gd name="connsiteY39302" fmla="*/ 2695613 h 4687251"/>
              <a:gd name="connsiteX39303" fmla="*/ 6291035 w 8079933"/>
              <a:gd name="connsiteY39303" fmla="*/ 2703191 h 4687251"/>
              <a:gd name="connsiteX39304" fmla="*/ 6289624 w 8079933"/>
              <a:gd name="connsiteY39304" fmla="*/ 2704274 h 4687251"/>
              <a:gd name="connsiteX39305" fmla="*/ 6289733 w 8079933"/>
              <a:gd name="connsiteY39305" fmla="*/ 2700052 h 4687251"/>
              <a:gd name="connsiteX39306" fmla="*/ 6287562 w 8079933"/>
              <a:gd name="connsiteY39306" fmla="*/ 2695721 h 4687251"/>
              <a:gd name="connsiteX39307" fmla="*/ 6287997 w 8079933"/>
              <a:gd name="connsiteY39307" fmla="*/ 2685327 h 4687251"/>
              <a:gd name="connsiteX39308" fmla="*/ 6284525 w 8079933"/>
              <a:gd name="connsiteY39308" fmla="*/ 2681105 h 4687251"/>
              <a:gd name="connsiteX39309" fmla="*/ 6284198 w 8079933"/>
              <a:gd name="connsiteY39309" fmla="*/ 2676340 h 4687251"/>
              <a:gd name="connsiteX39310" fmla="*/ 6285935 w 8079933"/>
              <a:gd name="connsiteY39310" fmla="*/ 2674500 h 4687251"/>
              <a:gd name="connsiteX39311" fmla="*/ 6279967 w 8079933"/>
              <a:gd name="connsiteY39311" fmla="*/ 2671036 h 4687251"/>
              <a:gd name="connsiteX39312" fmla="*/ 6279858 w 8079933"/>
              <a:gd name="connsiteY39312" fmla="*/ 2662807 h 4687251"/>
              <a:gd name="connsiteX39313" fmla="*/ 6278121 w 8079933"/>
              <a:gd name="connsiteY39313" fmla="*/ 2662590 h 4687251"/>
              <a:gd name="connsiteX39314" fmla="*/ 6276168 w 8079933"/>
              <a:gd name="connsiteY39314" fmla="*/ 2644834 h 4687251"/>
              <a:gd name="connsiteX39315" fmla="*/ 6273347 w 8079933"/>
              <a:gd name="connsiteY39315" fmla="*/ 2642885 h 4687251"/>
              <a:gd name="connsiteX39316" fmla="*/ 6272371 w 8079933"/>
              <a:gd name="connsiteY39316" fmla="*/ 2638446 h 4687251"/>
              <a:gd name="connsiteX39317" fmla="*/ 6274215 w 8079933"/>
              <a:gd name="connsiteY39317" fmla="*/ 2637688 h 4687251"/>
              <a:gd name="connsiteX39318" fmla="*/ 6274215 w 8079933"/>
              <a:gd name="connsiteY39318" fmla="*/ 2634765 h 4687251"/>
              <a:gd name="connsiteX39319" fmla="*/ 6271285 w 8079933"/>
              <a:gd name="connsiteY39319" fmla="*/ 2629243 h 4687251"/>
              <a:gd name="connsiteX39320" fmla="*/ 6272588 w 8079933"/>
              <a:gd name="connsiteY39320" fmla="*/ 2627077 h 4687251"/>
              <a:gd name="connsiteX39321" fmla="*/ 6272695 w 8079933"/>
              <a:gd name="connsiteY39321" fmla="*/ 2624371 h 4687251"/>
              <a:gd name="connsiteX39322" fmla="*/ 6271177 w 8079933"/>
              <a:gd name="connsiteY39322" fmla="*/ 2627186 h 4687251"/>
              <a:gd name="connsiteX39323" fmla="*/ 6267921 w 8079933"/>
              <a:gd name="connsiteY39323" fmla="*/ 2628485 h 4687251"/>
              <a:gd name="connsiteX39324" fmla="*/ 6263689 w 8079933"/>
              <a:gd name="connsiteY39324" fmla="*/ 2628485 h 4687251"/>
              <a:gd name="connsiteX39325" fmla="*/ 6262495 w 8079933"/>
              <a:gd name="connsiteY39325" fmla="*/ 2622747 h 4687251"/>
              <a:gd name="connsiteX39326" fmla="*/ 6260433 w 8079933"/>
              <a:gd name="connsiteY39326" fmla="*/ 2620148 h 4687251"/>
              <a:gd name="connsiteX39327" fmla="*/ 6255767 w 8079933"/>
              <a:gd name="connsiteY39327" fmla="*/ 2610945 h 4687251"/>
              <a:gd name="connsiteX39328" fmla="*/ 6254791 w 8079933"/>
              <a:gd name="connsiteY39328" fmla="*/ 2608455 h 4687251"/>
              <a:gd name="connsiteX39329" fmla="*/ 6252512 w 8079933"/>
              <a:gd name="connsiteY39329" fmla="*/ 2608238 h 4687251"/>
              <a:gd name="connsiteX39330" fmla="*/ 6252512 w 8079933"/>
              <a:gd name="connsiteY39330" fmla="*/ 2605531 h 4687251"/>
              <a:gd name="connsiteX39331" fmla="*/ 6248172 w 8079933"/>
              <a:gd name="connsiteY39331" fmla="*/ 2603041 h 4687251"/>
              <a:gd name="connsiteX39332" fmla="*/ 6250885 w 8079933"/>
              <a:gd name="connsiteY39332" fmla="*/ 2606073 h 4687251"/>
              <a:gd name="connsiteX39333" fmla="*/ 6250016 w 8079933"/>
              <a:gd name="connsiteY39333" fmla="*/ 2607697 h 4687251"/>
              <a:gd name="connsiteX39334" fmla="*/ 6249582 w 8079933"/>
              <a:gd name="connsiteY39334" fmla="*/ 2610404 h 4687251"/>
              <a:gd name="connsiteX39335" fmla="*/ 6252295 w 8079933"/>
              <a:gd name="connsiteY39335" fmla="*/ 2612461 h 4687251"/>
              <a:gd name="connsiteX39336" fmla="*/ 6251752 w 8079933"/>
              <a:gd name="connsiteY39336" fmla="*/ 2617333 h 4687251"/>
              <a:gd name="connsiteX39337" fmla="*/ 6249582 w 8079933"/>
              <a:gd name="connsiteY39337" fmla="*/ 2619606 h 4687251"/>
              <a:gd name="connsiteX39338" fmla="*/ 6250559 w 8079933"/>
              <a:gd name="connsiteY39338" fmla="*/ 2622530 h 4687251"/>
              <a:gd name="connsiteX39339" fmla="*/ 6244373 w 8079933"/>
              <a:gd name="connsiteY39339" fmla="*/ 2627618 h 4687251"/>
              <a:gd name="connsiteX39340" fmla="*/ 6240358 w 8079933"/>
              <a:gd name="connsiteY39340" fmla="*/ 2626861 h 4687251"/>
              <a:gd name="connsiteX39341" fmla="*/ 6237645 w 8079933"/>
              <a:gd name="connsiteY39341" fmla="*/ 2623396 h 4687251"/>
              <a:gd name="connsiteX39342" fmla="*/ 6236017 w 8079933"/>
              <a:gd name="connsiteY39342" fmla="*/ 2623396 h 4687251"/>
              <a:gd name="connsiteX39343" fmla="*/ 6237862 w 8079933"/>
              <a:gd name="connsiteY39343" fmla="*/ 2627186 h 4687251"/>
              <a:gd name="connsiteX39344" fmla="*/ 6237428 w 8079933"/>
              <a:gd name="connsiteY39344" fmla="*/ 2628810 h 4687251"/>
              <a:gd name="connsiteX39345" fmla="*/ 6241226 w 8079933"/>
              <a:gd name="connsiteY39345" fmla="*/ 2629892 h 4687251"/>
              <a:gd name="connsiteX39346" fmla="*/ 6236017 w 8079933"/>
              <a:gd name="connsiteY39346" fmla="*/ 2633032 h 4687251"/>
              <a:gd name="connsiteX39347" fmla="*/ 6232653 w 8079933"/>
              <a:gd name="connsiteY39347" fmla="*/ 2633032 h 4687251"/>
              <a:gd name="connsiteX39348" fmla="*/ 6230266 w 8079933"/>
              <a:gd name="connsiteY39348" fmla="*/ 2631408 h 4687251"/>
              <a:gd name="connsiteX39349" fmla="*/ 6228964 w 8079933"/>
              <a:gd name="connsiteY39349" fmla="*/ 2635522 h 4687251"/>
              <a:gd name="connsiteX39350" fmla="*/ 6219414 w 8079933"/>
              <a:gd name="connsiteY39350" fmla="*/ 2642018 h 4687251"/>
              <a:gd name="connsiteX39351" fmla="*/ 6214748 w 8079933"/>
              <a:gd name="connsiteY39351" fmla="*/ 2641477 h 4687251"/>
              <a:gd name="connsiteX39352" fmla="*/ 6213989 w 8079933"/>
              <a:gd name="connsiteY39352" fmla="*/ 2642560 h 4687251"/>
              <a:gd name="connsiteX39353" fmla="*/ 6211493 w 8079933"/>
              <a:gd name="connsiteY39353" fmla="*/ 2642560 h 4687251"/>
              <a:gd name="connsiteX39354" fmla="*/ 6211276 w 8079933"/>
              <a:gd name="connsiteY39354" fmla="*/ 2641261 h 4687251"/>
              <a:gd name="connsiteX39355" fmla="*/ 6210733 w 8079933"/>
              <a:gd name="connsiteY39355" fmla="*/ 2643643 h 4687251"/>
              <a:gd name="connsiteX39356" fmla="*/ 6208346 w 8079933"/>
              <a:gd name="connsiteY39356" fmla="*/ 2644184 h 4687251"/>
              <a:gd name="connsiteX39357" fmla="*/ 6205633 w 8079933"/>
              <a:gd name="connsiteY39357" fmla="*/ 2640720 h 4687251"/>
              <a:gd name="connsiteX39358" fmla="*/ 6199122 w 8079933"/>
              <a:gd name="connsiteY39358" fmla="*/ 2644184 h 4687251"/>
              <a:gd name="connsiteX39359" fmla="*/ 6198471 w 8079933"/>
              <a:gd name="connsiteY39359" fmla="*/ 2647432 h 4687251"/>
              <a:gd name="connsiteX39360" fmla="*/ 6195758 w 8079933"/>
              <a:gd name="connsiteY39360" fmla="*/ 2647540 h 4687251"/>
              <a:gd name="connsiteX39361" fmla="*/ 6195758 w 8079933"/>
              <a:gd name="connsiteY39361" fmla="*/ 2641153 h 4687251"/>
              <a:gd name="connsiteX39362" fmla="*/ 6202052 w 8079933"/>
              <a:gd name="connsiteY39362" fmla="*/ 2635089 h 4687251"/>
              <a:gd name="connsiteX39363" fmla="*/ 6202377 w 8079933"/>
              <a:gd name="connsiteY39363" fmla="*/ 2627402 h 4687251"/>
              <a:gd name="connsiteX39364" fmla="*/ 6199447 w 8079933"/>
              <a:gd name="connsiteY39364" fmla="*/ 2634440 h 4687251"/>
              <a:gd name="connsiteX39365" fmla="*/ 6194456 w 8079933"/>
              <a:gd name="connsiteY39365" fmla="*/ 2638771 h 4687251"/>
              <a:gd name="connsiteX39366" fmla="*/ 6190874 w 8079933"/>
              <a:gd name="connsiteY39366" fmla="*/ 2644509 h 4687251"/>
              <a:gd name="connsiteX39367" fmla="*/ 6190332 w 8079933"/>
              <a:gd name="connsiteY39367" fmla="*/ 2642344 h 4687251"/>
              <a:gd name="connsiteX39368" fmla="*/ 6190983 w 8079933"/>
              <a:gd name="connsiteY39368" fmla="*/ 2640611 h 4687251"/>
              <a:gd name="connsiteX39369" fmla="*/ 6189572 w 8079933"/>
              <a:gd name="connsiteY39369" fmla="*/ 2635522 h 4687251"/>
              <a:gd name="connsiteX39370" fmla="*/ 6193479 w 8079933"/>
              <a:gd name="connsiteY39370" fmla="*/ 2611811 h 4687251"/>
              <a:gd name="connsiteX39371" fmla="*/ 6198905 w 8079933"/>
              <a:gd name="connsiteY39371" fmla="*/ 2608455 h 4687251"/>
              <a:gd name="connsiteX39372" fmla="*/ 6196734 w 8079933"/>
              <a:gd name="connsiteY39372" fmla="*/ 2606289 h 4687251"/>
              <a:gd name="connsiteX39373" fmla="*/ 6192394 w 8079933"/>
              <a:gd name="connsiteY39373" fmla="*/ 2595787 h 4687251"/>
              <a:gd name="connsiteX39374" fmla="*/ 6191959 w 8079933"/>
              <a:gd name="connsiteY39374" fmla="*/ 2586476 h 4687251"/>
              <a:gd name="connsiteX39375" fmla="*/ 6189572 w 8079933"/>
              <a:gd name="connsiteY39375" fmla="*/ 2585284 h 4687251"/>
              <a:gd name="connsiteX39376" fmla="*/ 6188161 w 8079933"/>
              <a:gd name="connsiteY39376" fmla="*/ 2582794 h 4687251"/>
              <a:gd name="connsiteX39377" fmla="*/ 6189572 w 8079933"/>
              <a:gd name="connsiteY39377" fmla="*/ 2581929 h 4687251"/>
              <a:gd name="connsiteX39378" fmla="*/ 6186100 w 8079933"/>
              <a:gd name="connsiteY39378" fmla="*/ 2579221 h 4687251"/>
              <a:gd name="connsiteX39379" fmla="*/ 6184364 w 8079933"/>
              <a:gd name="connsiteY39379" fmla="*/ 2572401 h 4687251"/>
              <a:gd name="connsiteX39380" fmla="*/ 6181542 w 8079933"/>
              <a:gd name="connsiteY39380" fmla="*/ 2568719 h 4687251"/>
              <a:gd name="connsiteX39381" fmla="*/ 6179805 w 8079933"/>
              <a:gd name="connsiteY39381" fmla="*/ 2564930 h 4687251"/>
              <a:gd name="connsiteX39382" fmla="*/ 6179805 w 8079933"/>
              <a:gd name="connsiteY39382" fmla="*/ 2560815 h 4687251"/>
              <a:gd name="connsiteX39383" fmla="*/ 6174054 w 8079933"/>
              <a:gd name="connsiteY39383" fmla="*/ 2557243 h 4687251"/>
              <a:gd name="connsiteX39384" fmla="*/ 6176007 w 8079933"/>
              <a:gd name="connsiteY39384" fmla="*/ 2561141 h 4687251"/>
              <a:gd name="connsiteX39385" fmla="*/ 6177092 w 8079933"/>
              <a:gd name="connsiteY39385" fmla="*/ 2569478 h 4687251"/>
              <a:gd name="connsiteX39386" fmla="*/ 6168194 w 8079933"/>
              <a:gd name="connsiteY39386" fmla="*/ 2566987 h 4687251"/>
              <a:gd name="connsiteX39387" fmla="*/ 6164071 w 8079933"/>
              <a:gd name="connsiteY39387" fmla="*/ 2561898 h 4687251"/>
              <a:gd name="connsiteX39388" fmla="*/ 6163745 w 8079933"/>
              <a:gd name="connsiteY39388" fmla="*/ 2559192 h 4687251"/>
              <a:gd name="connsiteX39389" fmla="*/ 6159187 w 8079933"/>
              <a:gd name="connsiteY39389" fmla="*/ 2555186 h 4687251"/>
              <a:gd name="connsiteX39390" fmla="*/ 6158645 w 8079933"/>
              <a:gd name="connsiteY39390" fmla="*/ 2552695 h 4687251"/>
              <a:gd name="connsiteX39391" fmla="*/ 6162985 w 8079933"/>
              <a:gd name="connsiteY39391" fmla="*/ 2553020 h 4687251"/>
              <a:gd name="connsiteX39392" fmla="*/ 6164614 w 8079933"/>
              <a:gd name="connsiteY39392" fmla="*/ 2556593 h 4687251"/>
              <a:gd name="connsiteX39393" fmla="*/ 6168194 w 8079933"/>
              <a:gd name="connsiteY39393" fmla="*/ 2558434 h 4687251"/>
              <a:gd name="connsiteX39394" fmla="*/ 6169605 w 8079933"/>
              <a:gd name="connsiteY39394" fmla="*/ 2556809 h 4687251"/>
              <a:gd name="connsiteX39395" fmla="*/ 6168194 w 8079933"/>
              <a:gd name="connsiteY39395" fmla="*/ 2556160 h 4687251"/>
              <a:gd name="connsiteX39396" fmla="*/ 6164830 w 8079933"/>
              <a:gd name="connsiteY39396" fmla="*/ 2552803 h 4687251"/>
              <a:gd name="connsiteX39397" fmla="*/ 6168411 w 8079933"/>
              <a:gd name="connsiteY39397" fmla="*/ 2550746 h 4687251"/>
              <a:gd name="connsiteX39398" fmla="*/ 6171124 w 8079933"/>
              <a:gd name="connsiteY39398" fmla="*/ 2553453 h 4687251"/>
              <a:gd name="connsiteX39399" fmla="*/ 6174054 w 8079933"/>
              <a:gd name="connsiteY39399" fmla="*/ 2552370 h 4687251"/>
              <a:gd name="connsiteX39400" fmla="*/ 6173837 w 8079933"/>
              <a:gd name="connsiteY39400" fmla="*/ 2548364 h 4687251"/>
              <a:gd name="connsiteX39401" fmla="*/ 6169171 w 8079933"/>
              <a:gd name="connsiteY39401" fmla="*/ 2541435 h 4687251"/>
              <a:gd name="connsiteX39402" fmla="*/ 6161683 w 8079933"/>
              <a:gd name="connsiteY39402" fmla="*/ 2540028 h 4687251"/>
              <a:gd name="connsiteX39403" fmla="*/ 6159730 w 8079933"/>
              <a:gd name="connsiteY39403" fmla="*/ 2536996 h 4687251"/>
              <a:gd name="connsiteX39404" fmla="*/ 6155606 w 8079933"/>
              <a:gd name="connsiteY39404" fmla="*/ 2536238 h 4687251"/>
              <a:gd name="connsiteX39405" fmla="*/ 6154413 w 8079933"/>
              <a:gd name="connsiteY39405" fmla="*/ 2533207 h 4687251"/>
              <a:gd name="connsiteX39406" fmla="*/ 6153979 w 8079933"/>
              <a:gd name="connsiteY39406" fmla="*/ 2536238 h 4687251"/>
              <a:gd name="connsiteX39407" fmla="*/ 6149638 w 8079933"/>
              <a:gd name="connsiteY39407" fmla="*/ 2536780 h 4687251"/>
              <a:gd name="connsiteX39408" fmla="*/ 6149204 w 8079933"/>
              <a:gd name="connsiteY39408" fmla="*/ 2534831 h 4687251"/>
              <a:gd name="connsiteX39409" fmla="*/ 6152894 w 8079933"/>
              <a:gd name="connsiteY39409" fmla="*/ 2530608 h 4687251"/>
              <a:gd name="connsiteX39410" fmla="*/ 6148336 w 8079933"/>
              <a:gd name="connsiteY39410" fmla="*/ 2531041 h 4687251"/>
              <a:gd name="connsiteX39411" fmla="*/ 6144538 w 8079933"/>
              <a:gd name="connsiteY39411" fmla="*/ 2527901 h 4687251"/>
              <a:gd name="connsiteX39412" fmla="*/ 6144538 w 8079933"/>
              <a:gd name="connsiteY39412" fmla="*/ 2530175 h 4687251"/>
              <a:gd name="connsiteX39413" fmla="*/ 6146925 w 8079933"/>
              <a:gd name="connsiteY39413" fmla="*/ 2534289 h 4687251"/>
              <a:gd name="connsiteX39414" fmla="*/ 6136290 w 8079933"/>
              <a:gd name="connsiteY39414" fmla="*/ 2524762 h 4687251"/>
              <a:gd name="connsiteX39415" fmla="*/ 6134446 w 8079933"/>
              <a:gd name="connsiteY39415" fmla="*/ 2518482 h 4687251"/>
              <a:gd name="connsiteX39416" fmla="*/ 6132058 w 8079933"/>
              <a:gd name="connsiteY39416" fmla="*/ 2513501 h 4687251"/>
              <a:gd name="connsiteX39417" fmla="*/ 6131951 w 8079933"/>
              <a:gd name="connsiteY39417" fmla="*/ 2513609 h 4687251"/>
              <a:gd name="connsiteX39418" fmla="*/ 6131951 w 8079933"/>
              <a:gd name="connsiteY39418" fmla="*/ 2513609 h 4687251"/>
              <a:gd name="connsiteX39419" fmla="*/ 6131517 w 8079933"/>
              <a:gd name="connsiteY39419" fmla="*/ 2514150 h 4687251"/>
              <a:gd name="connsiteX39420" fmla="*/ 6132602 w 8079933"/>
              <a:gd name="connsiteY39420" fmla="*/ 2519997 h 4687251"/>
              <a:gd name="connsiteX39421" fmla="*/ 6131842 w 8079933"/>
              <a:gd name="connsiteY39421" fmla="*/ 2520430 h 4687251"/>
              <a:gd name="connsiteX39422" fmla="*/ 6128479 w 8079933"/>
              <a:gd name="connsiteY39422" fmla="*/ 2511985 h 4687251"/>
              <a:gd name="connsiteX39423" fmla="*/ 6124137 w 8079933"/>
              <a:gd name="connsiteY39423" fmla="*/ 2505813 h 4687251"/>
              <a:gd name="connsiteX39424" fmla="*/ 6122075 w 8079933"/>
              <a:gd name="connsiteY39424" fmla="*/ 2503215 h 4687251"/>
              <a:gd name="connsiteX39425" fmla="*/ 6123378 w 8079933"/>
              <a:gd name="connsiteY39425" fmla="*/ 2500400 h 4687251"/>
              <a:gd name="connsiteX39426" fmla="*/ 6123595 w 8079933"/>
              <a:gd name="connsiteY39426" fmla="*/ 2496503 h 4687251"/>
              <a:gd name="connsiteX39427" fmla="*/ 6122835 w 8079933"/>
              <a:gd name="connsiteY39427" fmla="*/ 2498560 h 4687251"/>
              <a:gd name="connsiteX39428" fmla="*/ 6119906 w 8079933"/>
              <a:gd name="connsiteY39428" fmla="*/ 2501266 h 4687251"/>
              <a:gd name="connsiteX39429" fmla="*/ 6119038 w 8079933"/>
              <a:gd name="connsiteY39429" fmla="*/ 2499750 h 4687251"/>
              <a:gd name="connsiteX39430" fmla="*/ 6120339 w 8079933"/>
              <a:gd name="connsiteY39430" fmla="*/ 2492713 h 4687251"/>
              <a:gd name="connsiteX39431" fmla="*/ 6118712 w 8079933"/>
              <a:gd name="connsiteY39431" fmla="*/ 2491630 h 4687251"/>
              <a:gd name="connsiteX39432" fmla="*/ 6119797 w 8079933"/>
              <a:gd name="connsiteY39432" fmla="*/ 2486217 h 4687251"/>
              <a:gd name="connsiteX39433" fmla="*/ 6119906 w 8079933"/>
              <a:gd name="connsiteY39433" fmla="*/ 2482968 h 4687251"/>
              <a:gd name="connsiteX39434" fmla="*/ 6116867 w 8079933"/>
              <a:gd name="connsiteY39434" fmla="*/ 2480911 h 4687251"/>
              <a:gd name="connsiteX39435" fmla="*/ 6109488 w 8079933"/>
              <a:gd name="connsiteY39435" fmla="*/ 2464454 h 4687251"/>
              <a:gd name="connsiteX39436" fmla="*/ 6107426 w 8079933"/>
              <a:gd name="connsiteY39436" fmla="*/ 2464454 h 4687251"/>
              <a:gd name="connsiteX39437" fmla="*/ 6107643 w 8079933"/>
              <a:gd name="connsiteY39437" fmla="*/ 2465862 h 4687251"/>
              <a:gd name="connsiteX39438" fmla="*/ 6106015 w 8079933"/>
              <a:gd name="connsiteY39438" fmla="*/ 2465212 h 4687251"/>
              <a:gd name="connsiteX39439" fmla="*/ 6101458 w 8079933"/>
              <a:gd name="connsiteY39439" fmla="*/ 2467919 h 4687251"/>
              <a:gd name="connsiteX39440" fmla="*/ 6092993 w 8079933"/>
              <a:gd name="connsiteY39440" fmla="*/ 2463913 h 4687251"/>
              <a:gd name="connsiteX39441" fmla="*/ 6092126 w 8079933"/>
              <a:gd name="connsiteY39441" fmla="*/ 2462289 h 4687251"/>
              <a:gd name="connsiteX39442" fmla="*/ 6089304 w 8079933"/>
              <a:gd name="connsiteY39442" fmla="*/ 2462505 h 4687251"/>
              <a:gd name="connsiteX39443" fmla="*/ 6085072 w 8079933"/>
              <a:gd name="connsiteY39443" fmla="*/ 2458499 h 4687251"/>
              <a:gd name="connsiteX39444" fmla="*/ 6083009 w 8079933"/>
              <a:gd name="connsiteY39444" fmla="*/ 2451461 h 4687251"/>
              <a:gd name="connsiteX39445" fmla="*/ 6083878 w 8079933"/>
              <a:gd name="connsiteY39445" fmla="*/ 2459799 h 4687251"/>
              <a:gd name="connsiteX39446" fmla="*/ 6087242 w 8079933"/>
              <a:gd name="connsiteY39446" fmla="*/ 2464671 h 4687251"/>
              <a:gd name="connsiteX39447" fmla="*/ 6086482 w 8079933"/>
              <a:gd name="connsiteY39447" fmla="*/ 2467161 h 4687251"/>
              <a:gd name="connsiteX39448" fmla="*/ 6081599 w 8079933"/>
              <a:gd name="connsiteY39448" fmla="*/ 2469001 h 4687251"/>
              <a:gd name="connsiteX39449" fmla="*/ 6084638 w 8079933"/>
              <a:gd name="connsiteY39449" fmla="*/ 2470193 h 4687251"/>
              <a:gd name="connsiteX39450" fmla="*/ 6087893 w 8079933"/>
              <a:gd name="connsiteY39450" fmla="*/ 2475498 h 4687251"/>
              <a:gd name="connsiteX39451" fmla="*/ 6087458 w 8079933"/>
              <a:gd name="connsiteY39451" fmla="*/ 2481885 h 4687251"/>
              <a:gd name="connsiteX39452" fmla="*/ 6082792 w 8079933"/>
              <a:gd name="connsiteY39452" fmla="*/ 2483726 h 4687251"/>
              <a:gd name="connsiteX39453" fmla="*/ 6078995 w 8079933"/>
              <a:gd name="connsiteY39453" fmla="*/ 2490872 h 4687251"/>
              <a:gd name="connsiteX39454" fmla="*/ 6075197 w 8079933"/>
              <a:gd name="connsiteY39454" fmla="*/ 2488274 h 4687251"/>
              <a:gd name="connsiteX39455" fmla="*/ 6077475 w 8079933"/>
              <a:gd name="connsiteY39455" fmla="*/ 2484160 h 4687251"/>
              <a:gd name="connsiteX39456" fmla="*/ 6079537 w 8079933"/>
              <a:gd name="connsiteY39456" fmla="*/ 2483293 h 4687251"/>
              <a:gd name="connsiteX39457" fmla="*/ 6080514 w 8079933"/>
              <a:gd name="connsiteY39457" fmla="*/ 2481128 h 4687251"/>
              <a:gd name="connsiteX39458" fmla="*/ 6077150 w 8079933"/>
              <a:gd name="connsiteY39458" fmla="*/ 2482752 h 4687251"/>
              <a:gd name="connsiteX39459" fmla="*/ 6074220 w 8079933"/>
              <a:gd name="connsiteY39459" fmla="*/ 2487624 h 4687251"/>
              <a:gd name="connsiteX39460" fmla="*/ 6071073 w 8079933"/>
              <a:gd name="connsiteY39460" fmla="*/ 2483185 h 4687251"/>
              <a:gd name="connsiteX39461" fmla="*/ 6073460 w 8079933"/>
              <a:gd name="connsiteY39461" fmla="*/ 2475173 h 4687251"/>
              <a:gd name="connsiteX39462" fmla="*/ 6073460 w 8079933"/>
              <a:gd name="connsiteY39462" fmla="*/ 2473657 h 4687251"/>
              <a:gd name="connsiteX39463" fmla="*/ 6071724 w 8079933"/>
              <a:gd name="connsiteY39463" fmla="*/ 2471600 h 4687251"/>
              <a:gd name="connsiteX39464" fmla="*/ 6072809 w 8079933"/>
              <a:gd name="connsiteY39464" fmla="*/ 2473765 h 4687251"/>
              <a:gd name="connsiteX39465" fmla="*/ 6070964 w 8079933"/>
              <a:gd name="connsiteY39465" fmla="*/ 2476797 h 4687251"/>
              <a:gd name="connsiteX39466" fmla="*/ 6070422 w 8079933"/>
              <a:gd name="connsiteY39466" fmla="*/ 2481669 h 4687251"/>
              <a:gd name="connsiteX39467" fmla="*/ 6069120 w 8079933"/>
              <a:gd name="connsiteY39467" fmla="*/ 2481777 h 4687251"/>
              <a:gd name="connsiteX39468" fmla="*/ 6071616 w 8079933"/>
              <a:gd name="connsiteY39468" fmla="*/ 2487407 h 4687251"/>
              <a:gd name="connsiteX39469" fmla="*/ 6071290 w 8079933"/>
              <a:gd name="connsiteY39469" fmla="*/ 2491630 h 4687251"/>
              <a:gd name="connsiteX39470" fmla="*/ 6068903 w 8079933"/>
              <a:gd name="connsiteY39470" fmla="*/ 2492929 h 4687251"/>
              <a:gd name="connsiteX39471" fmla="*/ 6068577 w 8079933"/>
              <a:gd name="connsiteY39471" fmla="*/ 2492280 h 4687251"/>
              <a:gd name="connsiteX39472" fmla="*/ 6065430 w 8079933"/>
              <a:gd name="connsiteY39472" fmla="*/ 2490223 h 4687251"/>
              <a:gd name="connsiteX39473" fmla="*/ 6063368 w 8079933"/>
              <a:gd name="connsiteY39473" fmla="*/ 2491089 h 4687251"/>
              <a:gd name="connsiteX39474" fmla="*/ 6062283 w 8079933"/>
              <a:gd name="connsiteY39474" fmla="*/ 2494554 h 4687251"/>
              <a:gd name="connsiteX39475" fmla="*/ 6059462 w 8079933"/>
              <a:gd name="connsiteY39475" fmla="*/ 2494554 h 4687251"/>
              <a:gd name="connsiteX39476" fmla="*/ 6058485 w 8079933"/>
              <a:gd name="connsiteY39476" fmla="*/ 2492388 h 4687251"/>
              <a:gd name="connsiteX39477" fmla="*/ 6056640 w 8079933"/>
              <a:gd name="connsiteY39477" fmla="*/ 2487732 h 4687251"/>
              <a:gd name="connsiteX39478" fmla="*/ 6054253 w 8079933"/>
              <a:gd name="connsiteY39478" fmla="*/ 2488490 h 4687251"/>
              <a:gd name="connsiteX39479" fmla="*/ 6053631 w 8079933"/>
              <a:gd name="connsiteY39479" fmla="*/ 2481466 h 4687251"/>
              <a:gd name="connsiteX39480" fmla="*/ 6054252 w 8079933"/>
              <a:gd name="connsiteY39480" fmla="*/ 2488489 h 4687251"/>
              <a:gd name="connsiteX39481" fmla="*/ 6053167 w 8079933"/>
              <a:gd name="connsiteY39481" fmla="*/ 2488923 h 4687251"/>
              <a:gd name="connsiteX39482" fmla="*/ 6055880 w 8079933"/>
              <a:gd name="connsiteY39482" fmla="*/ 2494336 h 4687251"/>
              <a:gd name="connsiteX39483" fmla="*/ 6053385 w 8079933"/>
              <a:gd name="connsiteY39483" fmla="*/ 2498667 h 4687251"/>
              <a:gd name="connsiteX39484" fmla="*/ 6049586 w 8079933"/>
              <a:gd name="connsiteY39484" fmla="*/ 2494661 h 4687251"/>
              <a:gd name="connsiteX39485" fmla="*/ 6049586 w 8079933"/>
              <a:gd name="connsiteY39485" fmla="*/ 2497260 h 4687251"/>
              <a:gd name="connsiteX39486" fmla="*/ 6046981 w 8079933"/>
              <a:gd name="connsiteY39486" fmla="*/ 2495852 h 4687251"/>
              <a:gd name="connsiteX39487" fmla="*/ 6045354 w 8079933"/>
              <a:gd name="connsiteY39487" fmla="*/ 2490439 h 4687251"/>
              <a:gd name="connsiteX39488" fmla="*/ 6044377 w 8079933"/>
              <a:gd name="connsiteY39488" fmla="*/ 2487732 h 4687251"/>
              <a:gd name="connsiteX39489" fmla="*/ 6043726 w 8079933"/>
              <a:gd name="connsiteY39489" fmla="*/ 2489680 h 4687251"/>
              <a:gd name="connsiteX39490" fmla="*/ 6043075 w 8079933"/>
              <a:gd name="connsiteY39490" fmla="*/ 2492496 h 4687251"/>
              <a:gd name="connsiteX39491" fmla="*/ 6042532 w 8079933"/>
              <a:gd name="connsiteY39491" fmla="*/ 2491305 h 4687251"/>
              <a:gd name="connsiteX39492" fmla="*/ 6041664 w 8079933"/>
              <a:gd name="connsiteY39492" fmla="*/ 2492929 h 4687251"/>
              <a:gd name="connsiteX39493" fmla="*/ 6037866 w 8079933"/>
              <a:gd name="connsiteY39493" fmla="*/ 2492929 h 4687251"/>
              <a:gd name="connsiteX39494" fmla="*/ 6037432 w 8079933"/>
              <a:gd name="connsiteY39494" fmla="*/ 2493686 h 4687251"/>
              <a:gd name="connsiteX39495" fmla="*/ 6033526 w 8079933"/>
              <a:gd name="connsiteY39495" fmla="*/ 2492387 h 4687251"/>
              <a:gd name="connsiteX39496" fmla="*/ 6032223 w 8079933"/>
              <a:gd name="connsiteY39496" fmla="*/ 2486432 h 4687251"/>
              <a:gd name="connsiteX39497" fmla="*/ 6033200 w 8079933"/>
              <a:gd name="connsiteY39497" fmla="*/ 2482751 h 4687251"/>
              <a:gd name="connsiteX39498" fmla="*/ 6029619 w 8079933"/>
              <a:gd name="connsiteY39498" fmla="*/ 2479611 h 4687251"/>
              <a:gd name="connsiteX39499" fmla="*/ 6025495 w 8079933"/>
              <a:gd name="connsiteY39499" fmla="*/ 2479611 h 4687251"/>
              <a:gd name="connsiteX39500" fmla="*/ 6025821 w 8079933"/>
              <a:gd name="connsiteY39500" fmla="*/ 2480911 h 4687251"/>
              <a:gd name="connsiteX39501" fmla="*/ 6028643 w 8079933"/>
              <a:gd name="connsiteY39501" fmla="*/ 2481668 h 4687251"/>
              <a:gd name="connsiteX39502" fmla="*/ 6030487 w 8079933"/>
              <a:gd name="connsiteY39502" fmla="*/ 2483834 h 4687251"/>
              <a:gd name="connsiteX39503" fmla="*/ 6029077 w 8079933"/>
              <a:gd name="connsiteY39503" fmla="*/ 2485241 h 4687251"/>
              <a:gd name="connsiteX39504" fmla="*/ 6027666 w 8079933"/>
              <a:gd name="connsiteY39504" fmla="*/ 2488598 h 4687251"/>
              <a:gd name="connsiteX39505" fmla="*/ 6027231 w 8079933"/>
              <a:gd name="connsiteY39505" fmla="*/ 2491954 h 4687251"/>
              <a:gd name="connsiteX39506" fmla="*/ 6023759 w 8079933"/>
              <a:gd name="connsiteY39506" fmla="*/ 2495960 h 4687251"/>
              <a:gd name="connsiteX39507" fmla="*/ 6008892 w 8079933"/>
              <a:gd name="connsiteY39507" fmla="*/ 2501374 h 4687251"/>
              <a:gd name="connsiteX39508" fmla="*/ 6006397 w 8079933"/>
              <a:gd name="connsiteY39508" fmla="*/ 2503539 h 4687251"/>
              <a:gd name="connsiteX39509" fmla="*/ 6005312 w 8079933"/>
              <a:gd name="connsiteY39509" fmla="*/ 2507112 h 4687251"/>
              <a:gd name="connsiteX39510" fmla="*/ 6003032 w 8079933"/>
              <a:gd name="connsiteY39510" fmla="*/ 2511768 h 4687251"/>
              <a:gd name="connsiteX39511" fmla="*/ 6003792 w 8079933"/>
              <a:gd name="connsiteY39511" fmla="*/ 2514691 h 4687251"/>
              <a:gd name="connsiteX39512" fmla="*/ 6006397 w 8079933"/>
              <a:gd name="connsiteY39512" fmla="*/ 2519672 h 4687251"/>
              <a:gd name="connsiteX39513" fmla="*/ 6006071 w 8079933"/>
              <a:gd name="connsiteY39513" fmla="*/ 2521188 h 4687251"/>
              <a:gd name="connsiteX39514" fmla="*/ 6007590 w 8079933"/>
              <a:gd name="connsiteY39514" fmla="*/ 2521945 h 4687251"/>
              <a:gd name="connsiteX39515" fmla="*/ 6002164 w 8079933"/>
              <a:gd name="connsiteY39515" fmla="*/ 2526601 h 4687251"/>
              <a:gd name="connsiteX39516" fmla="*/ 6000971 w 8079933"/>
              <a:gd name="connsiteY39516" fmla="*/ 2530931 h 4687251"/>
              <a:gd name="connsiteX39517" fmla="*/ 5998366 w 8079933"/>
              <a:gd name="connsiteY39517" fmla="*/ 2531148 h 4687251"/>
              <a:gd name="connsiteX39518" fmla="*/ 5999451 w 8079933"/>
              <a:gd name="connsiteY39518" fmla="*/ 2534180 h 4687251"/>
              <a:gd name="connsiteX39519" fmla="*/ 5990661 w 8079933"/>
              <a:gd name="connsiteY39519" fmla="*/ 2540351 h 4687251"/>
              <a:gd name="connsiteX39520" fmla="*/ 5990228 w 8079933"/>
              <a:gd name="connsiteY39520" fmla="*/ 2543383 h 4687251"/>
              <a:gd name="connsiteX39521" fmla="*/ 5977206 w 8079933"/>
              <a:gd name="connsiteY39521" fmla="*/ 2550096 h 4687251"/>
              <a:gd name="connsiteX39522" fmla="*/ 5975794 w 8079933"/>
              <a:gd name="connsiteY39522" fmla="*/ 2548255 h 4687251"/>
              <a:gd name="connsiteX39523" fmla="*/ 5975686 w 8079933"/>
              <a:gd name="connsiteY39523" fmla="*/ 2545873 h 4687251"/>
              <a:gd name="connsiteX39524" fmla="*/ 5974710 w 8079933"/>
              <a:gd name="connsiteY39524" fmla="*/ 2544682 h 4687251"/>
              <a:gd name="connsiteX39525" fmla="*/ 5972864 w 8079933"/>
              <a:gd name="connsiteY39525" fmla="*/ 2544682 h 4687251"/>
              <a:gd name="connsiteX39526" fmla="*/ 5968849 w 8079933"/>
              <a:gd name="connsiteY39526" fmla="*/ 2547930 h 4687251"/>
              <a:gd name="connsiteX39527" fmla="*/ 5966245 w 8079933"/>
              <a:gd name="connsiteY39527" fmla="*/ 2548255 h 4687251"/>
              <a:gd name="connsiteX39528" fmla="*/ 5965269 w 8079933"/>
              <a:gd name="connsiteY39528" fmla="*/ 2554643 h 4687251"/>
              <a:gd name="connsiteX39529" fmla="*/ 5969067 w 8079933"/>
              <a:gd name="connsiteY39529" fmla="*/ 2553127 h 4687251"/>
              <a:gd name="connsiteX39530" fmla="*/ 5970369 w 8079933"/>
              <a:gd name="connsiteY39530" fmla="*/ 2551503 h 4687251"/>
              <a:gd name="connsiteX39531" fmla="*/ 5972540 w 8079933"/>
              <a:gd name="connsiteY39531" fmla="*/ 2552477 h 4687251"/>
              <a:gd name="connsiteX39532" fmla="*/ 5956262 w 8079933"/>
              <a:gd name="connsiteY39532" fmla="*/ 2566986 h 4687251"/>
              <a:gd name="connsiteX39533" fmla="*/ 5952138 w 8079933"/>
              <a:gd name="connsiteY39533" fmla="*/ 2578246 h 4687251"/>
              <a:gd name="connsiteX39534" fmla="*/ 5930760 w 8079933"/>
              <a:gd name="connsiteY39534" fmla="*/ 2595461 h 4687251"/>
              <a:gd name="connsiteX39535" fmla="*/ 5927505 w 8079933"/>
              <a:gd name="connsiteY39535" fmla="*/ 2601524 h 4687251"/>
              <a:gd name="connsiteX39536" fmla="*/ 5922622 w 8079933"/>
              <a:gd name="connsiteY39536" fmla="*/ 2606505 h 4687251"/>
              <a:gd name="connsiteX39537" fmla="*/ 5913615 w 8079933"/>
              <a:gd name="connsiteY39537" fmla="*/ 2609536 h 4687251"/>
              <a:gd name="connsiteX39538" fmla="*/ 5906887 w 8079933"/>
              <a:gd name="connsiteY39538" fmla="*/ 2615166 h 4687251"/>
              <a:gd name="connsiteX39539" fmla="*/ 5906127 w 8079933"/>
              <a:gd name="connsiteY39539" fmla="*/ 2620146 h 4687251"/>
              <a:gd name="connsiteX39540" fmla="*/ 5907103 w 8079933"/>
              <a:gd name="connsiteY39540" fmla="*/ 2625777 h 4687251"/>
              <a:gd name="connsiteX39541" fmla="*/ 5903088 w 8079933"/>
              <a:gd name="connsiteY39541" fmla="*/ 2631515 h 4687251"/>
              <a:gd name="connsiteX39542" fmla="*/ 5897446 w 8079933"/>
              <a:gd name="connsiteY39542" fmla="*/ 2635088 h 4687251"/>
              <a:gd name="connsiteX39543" fmla="*/ 5886811 w 8079933"/>
              <a:gd name="connsiteY39543" fmla="*/ 2633464 h 4687251"/>
              <a:gd name="connsiteX39544" fmla="*/ 5882145 w 8079933"/>
              <a:gd name="connsiteY39544" fmla="*/ 2637470 h 4687251"/>
              <a:gd name="connsiteX39545" fmla="*/ 5882145 w 8079933"/>
              <a:gd name="connsiteY39545" fmla="*/ 2642558 h 4687251"/>
              <a:gd name="connsiteX39546" fmla="*/ 5875634 w 8079933"/>
              <a:gd name="connsiteY39546" fmla="*/ 2650895 h 4687251"/>
              <a:gd name="connsiteX39547" fmla="*/ 5871944 w 8079933"/>
              <a:gd name="connsiteY39547" fmla="*/ 2650462 h 4687251"/>
              <a:gd name="connsiteX39548" fmla="*/ 5869448 w 8079933"/>
              <a:gd name="connsiteY39548" fmla="*/ 2646889 h 4687251"/>
              <a:gd name="connsiteX39549" fmla="*/ 5867495 w 8079933"/>
              <a:gd name="connsiteY39549" fmla="*/ 2646889 h 4687251"/>
              <a:gd name="connsiteX39550" fmla="*/ 5859465 w 8079933"/>
              <a:gd name="connsiteY39550" fmla="*/ 2654793 h 4687251"/>
              <a:gd name="connsiteX39551" fmla="*/ 5857186 w 8079933"/>
              <a:gd name="connsiteY39551" fmla="*/ 2659124 h 4687251"/>
              <a:gd name="connsiteX39552" fmla="*/ 5857295 w 8079933"/>
              <a:gd name="connsiteY39552" fmla="*/ 2667569 h 4687251"/>
              <a:gd name="connsiteX39553" fmla="*/ 5861309 w 8079933"/>
              <a:gd name="connsiteY39553" fmla="*/ 2679370 h 4687251"/>
              <a:gd name="connsiteX39554" fmla="*/ 5857512 w 8079933"/>
              <a:gd name="connsiteY39554" fmla="*/ 2683701 h 4687251"/>
              <a:gd name="connsiteX39555" fmla="*/ 5858271 w 8079933"/>
              <a:gd name="connsiteY39555" fmla="*/ 2690198 h 4687251"/>
              <a:gd name="connsiteX39556" fmla="*/ 5858271 w 8079933"/>
              <a:gd name="connsiteY39556" fmla="*/ 2708604 h 4687251"/>
              <a:gd name="connsiteX39557" fmla="*/ 5864240 w 8079933"/>
              <a:gd name="connsiteY39557" fmla="*/ 2710553 h 4687251"/>
              <a:gd name="connsiteX39558" fmla="*/ 5865108 w 8079933"/>
              <a:gd name="connsiteY39558" fmla="*/ 2722354 h 4687251"/>
              <a:gd name="connsiteX39559" fmla="*/ 5859682 w 8079933"/>
              <a:gd name="connsiteY39559" fmla="*/ 2738053 h 4687251"/>
              <a:gd name="connsiteX39560" fmla="*/ 5853496 w 8079933"/>
              <a:gd name="connsiteY39560" fmla="*/ 2748988 h 4687251"/>
              <a:gd name="connsiteX39561" fmla="*/ 5853496 w 8079933"/>
              <a:gd name="connsiteY39561" fmla="*/ 2758191 h 4687251"/>
              <a:gd name="connsiteX39562" fmla="*/ 5855884 w 8079933"/>
              <a:gd name="connsiteY39562" fmla="*/ 2761873 h 4687251"/>
              <a:gd name="connsiteX39563" fmla="*/ 5857729 w 8079933"/>
              <a:gd name="connsiteY39563" fmla="*/ 2781686 h 4687251"/>
              <a:gd name="connsiteX39564" fmla="*/ 5857729 w 8079933"/>
              <a:gd name="connsiteY39564" fmla="*/ 2787100 h 4687251"/>
              <a:gd name="connsiteX39565" fmla="*/ 5853171 w 8079933"/>
              <a:gd name="connsiteY39565" fmla="*/ 2788832 h 4687251"/>
              <a:gd name="connsiteX39566" fmla="*/ 5850675 w 8079933"/>
              <a:gd name="connsiteY39566" fmla="*/ 2787641 h 4687251"/>
              <a:gd name="connsiteX39567" fmla="*/ 5844381 w 8079933"/>
              <a:gd name="connsiteY39567" fmla="*/ 2788615 h 4687251"/>
              <a:gd name="connsiteX39568" fmla="*/ 5841668 w 8079933"/>
              <a:gd name="connsiteY39568" fmla="*/ 2793379 h 4687251"/>
              <a:gd name="connsiteX39569" fmla="*/ 5842862 w 8079933"/>
              <a:gd name="connsiteY39569" fmla="*/ 2795328 h 4687251"/>
              <a:gd name="connsiteX39570" fmla="*/ 5836676 w 8079933"/>
              <a:gd name="connsiteY39570" fmla="*/ 2803448 h 4687251"/>
              <a:gd name="connsiteX39571" fmla="*/ 5834506 w 8079933"/>
              <a:gd name="connsiteY39571" fmla="*/ 2806156 h 4687251"/>
              <a:gd name="connsiteX39572" fmla="*/ 5835266 w 8079933"/>
              <a:gd name="connsiteY39572" fmla="*/ 2809295 h 4687251"/>
              <a:gd name="connsiteX39573" fmla="*/ 5843079 w 8079933"/>
              <a:gd name="connsiteY39573" fmla="*/ 2813193 h 4687251"/>
              <a:gd name="connsiteX39574" fmla="*/ 5843948 w 8079933"/>
              <a:gd name="connsiteY39574" fmla="*/ 2814601 h 4687251"/>
              <a:gd name="connsiteX39575" fmla="*/ 5844055 w 8079933"/>
              <a:gd name="connsiteY39575" fmla="*/ 2816333 h 4687251"/>
              <a:gd name="connsiteX39576" fmla="*/ 5843079 w 8079933"/>
              <a:gd name="connsiteY39576" fmla="*/ 2814168 h 4687251"/>
              <a:gd name="connsiteX39577" fmla="*/ 5839389 w 8079933"/>
              <a:gd name="connsiteY39577" fmla="*/ 2812760 h 4687251"/>
              <a:gd name="connsiteX39578" fmla="*/ 5829080 w 8079933"/>
              <a:gd name="connsiteY39578" fmla="*/ 2816333 h 4687251"/>
              <a:gd name="connsiteX39579" fmla="*/ 5827452 w 8079933"/>
              <a:gd name="connsiteY39579" fmla="*/ 2816117 h 4687251"/>
              <a:gd name="connsiteX39580" fmla="*/ 5819205 w 8079933"/>
              <a:gd name="connsiteY39580" fmla="*/ 2819797 h 4687251"/>
              <a:gd name="connsiteX39581" fmla="*/ 5816493 w 8079933"/>
              <a:gd name="connsiteY39581" fmla="*/ 2824020 h 4687251"/>
              <a:gd name="connsiteX39582" fmla="*/ 5816058 w 8079933"/>
              <a:gd name="connsiteY39582" fmla="*/ 2826619 h 4687251"/>
              <a:gd name="connsiteX39583" fmla="*/ 5814973 w 8079933"/>
              <a:gd name="connsiteY39583" fmla="*/ 2827701 h 4687251"/>
              <a:gd name="connsiteX39584" fmla="*/ 5816058 w 8079933"/>
              <a:gd name="connsiteY39584" fmla="*/ 2829433 h 4687251"/>
              <a:gd name="connsiteX39585" fmla="*/ 5813888 w 8079933"/>
              <a:gd name="connsiteY39585" fmla="*/ 2835821 h 4687251"/>
              <a:gd name="connsiteX39586" fmla="*/ 5804556 w 8079933"/>
              <a:gd name="connsiteY39586" fmla="*/ 2841560 h 4687251"/>
              <a:gd name="connsiteX39587" fmla="*/ 5796742 w 8079933"/>
              <a:gd name="connsiteY39587" fmla="*/ 2840802 h 4687251"/>
              <a:gd name="connsiteX39588" fmla="*/ 5789472 w 8079933"/>
              <a:gd name="connsiteY39588" fmla="*/ 2835821 h 4687251"/>
              <a:gd name="connsiteX39589" fmla="*/ 5782418 w 8079933"/>
              <a:gd name="connsiteY39589" fmla="*/ 2827485 h 4687251"/>
              <a:gd name="connsiteX39590" fmla="*/ 5773954 w 8079933"/>
              <a:gd name="connsiteY39590" fmla="*/ 2809836 h 4687251"/>
              <a:gd name="connsiteX39591" fmla="*/ 5773412 w 8079933"/>
              <a:gd name="connsiteY39591" fmla="*/ 2799876 h 4687251"/>
              <a:gd name="connsiteX39592" fmla="*/ 5770915 w 8079933"/>
              <a:gd name="connsiteY39592" fmla="*/ 2790889 h 4687251"/>
              <a:gd name="connsiteX39593" fmla="*/ 5765489 w 8079933"/>
              <a:gd name="connsiteY39593" fmla="*/ 2780928 h 4687251"/>
              <a:gd name="connsiteX39594" fmla="*/ 5765489 w 8079933"/>
              <a:gd name="connsiteY39594" fmla="*/ 2776489 h 4687251"/>
              <a:gd name="connsiteX39595" fmla="*/ 5763427 w 8079933"/>
              <a:gd name="connsiteY39595" fmla="*/ 2776273 h 4687251"/>
              <a:gd name="connsiteX39596" fmla="*/ 5761149 w 8079933"/>
              <a:gd name="connsiteY39596" fmla="*/ 2769560 h 4687251"/>
              <a:gd name="connsiteX39597" fmla="*/ 5758978 w 8079933"/>
              <a:gd name="connsiteY39597" fmla="*/ 2761440 h 4687251"/>
              <a:gd name="connsiteX39598" fmla="*/ 5751925 w 8079933"/>
              <a:gd name="connsiteY39598" fmla="*/ 2753320 h 4687251"/>
              <a:gd name="connsiteX39599" fmla="*/ 5747692 w 8079933"/>
              <a:gd name="connsiteY39599" fmla="*/ 2746714 h 4687251"/>
              <a:gd name="connsiteX39600" fmla="*/ 5745956 w 8079933"/>
              <a:gd name="connsiteY39600" fmla="*/ 2746498 h 4687251"/>
              <a:gd name="connsiteX39601" fmla="*/ 5739446 w 8079933"/>
              <a:gd name="connsiteY39601" fmla="*/ 2739569 h 4687251"/>
              <a:gd name="connsiteX39602" fmla="*/ 5736515 w 8079933"/>
              <a:gd name="connsiteY39602" fmla="*/ 2733506 h 4687251"/>
              <a:gd name="connsiteX39603" fmla="*/ 5734345 w 8079933"/>
              <a:gd name="connsiteY39603" fmla="*/ 2731449 h 4687251"/>
              <a:gd name="connsiteX39604" fmla="*/ 5733585 w 8079933"/>
              <a:gd name="connsiteY39604" fmla="*/ 2721596 h 4687251"/>
              <a:gd name="connsiteX39605" fmla="*/ 5730872 w 8079933"/>
              <a:gd name="connsiteY39605" fmla="*/ 2717482 h 4687251"/>
              <a:gd name="connsiteX39606" fmla="*/ 5726749 w 8079933"/>
              <a:gd name="connsiteY39606" fmla="*/ 2706547 h 4687251"/>
              <a:gd name="connsiteX39607" fmla="*/ 5725555 w 8079933"/>
              <a:gd name="connsiteY39607" fmla="*/ 2699184 h 4687251"/>
              <a:gd name="connsiteX39608" fmla="*/ 5722951 w 8079933"/>
              <a:gd name="connsiteY39608" fmla="*/ 2693987 h 4687251"/>
              <a:gd name="connsiteX39609" fmla="*/ 5720455 w 8079933"/>
              <a:gd name="connsiteY39609" fmla="*/ 2690198 h 4687251"/>
              <a:gd name="connsiteX39610" fmla="*/ 5719912 w 8079933"/>
              <a:gd name="connsiteY39610" fmla="*/ 2681536 h 4687251"/>
              <a:gd name="connsiteX39611" fmla="*/ 5718393 w 8079933"/>
              <a:gd name="connsiteY39611" fmla="*/ 2681103 h 4687251"/>
              <a:gd name="connsiteX39612" fmla="*/ 5712317 w 8079933"/>
              <a:gd name="connsiteY39612" fmla="*/ 2674066 h 4687251"/>
              <a:gd name="connsiteX39613" fmla="*/ 5712317 w 8079933"/>
              <a:gd name="connsiteY39613" fmla="*/ 2671358 h 4687251"/>
              <a:gd name="connsiteX39614" fmla="*/ 5710689 w 8079933"/>
              <a:gd name="connsiteY39614" fmla="*/ 2671034 h 4687251"/>
              <a:gd name="connsiteX39615" fmla="*/ 5705045 w 8079933"/>
              <a:gd name="connsiteY39615" fmla="*/ 2660964 h 4687251"/>
              <a:gd name="connsiteX39616" fmla="*/ 5704829 w 8079933"/>
              <a:gd name="connsiteY39616" fmla="*/ 2657825 h 4687251"/>
              <a:gd name="connsiteX39617" fmla="*/ 5701790 w 8079933"/>
              <a:gd name="connsiteY39617" fmla="*/ 2656092 h 4687251"/>
              <a:gd name="connsiteX39618" fmla="*/ 5699945 w 8079933"/>
              <a:gd name="connsiteY39618" fmla="*/ 2649055 h 4687251"/>
              <a:gd name="connsiteX39619" fmla="*/ 5696039 w 8079933"/>
              <a:gd name="connsiteY39619" fmla="*/ 2646456 h 4687251"/>
              <a:gd name="connsiteX39620" fmla="*/ 5692240 w 8079933"/>
              <a:gd name="connsiteY39620" fmla="*/ 2636279 h 4687251"/>
              <a:gd name="connsiteX39621" fmla="*/ 5692024 w 8079933"/>
              <a:gd name="connsiteY39621" fmla="*/ 2622854 h 4687251"/>
              <a:gd name="connsiteX39622" fmla="*/ 5681931 w 8079933"/>
              <a:gd name="connsiteY39622" fmla="*/ 2603256 h 4687251"/>
              <a:gd name="connsiteX39623" fmla="*/ 5681931 w 8079933"/>
              <a:gd name="connsiteY39623" fmla="*/ 2596760 h 4687251"/>
              <a:gd name="connsiteX39624" fmla="*/ 5677374 w 8079933"/>
              <a:gd name="connsiteY39624" fmla="*/ 2589831 h 4687251"/>
              <a:gd name="connsiteX39625" fmla="*/ 5682582 w 8079933"/>
              <a:gd name="connsiteY39625" fmla="*/ 2589506 h 4687251"/>
              <a:gd name="connsiteX39626" fmla="*/ 5675529 w 8079933"/>
              <a:gd name="connsiteY39626" fmla="*/ 2580520 h 4687251"/>
              <a:gd name="connsiteX39627" fmla="*/ 5675747 w 8079933"/>
              <a:gd name="connsiteY39627" fmla="*/ 2575431 h 4687251"/>
              <a:gd name="connsiteX39628" fmla="*/ 5679002 w 8079933"/>
              <a:gd name="connsiteY39628" fmla="*/ 2574673 h 4687251"/>
              <a:gd name="connsiteX39629" fmla="*/ 5676506 w 8079933"/>
              <a:gd name="connsiteY39629" fmla="*/ 2571208 h 4687251"/>
              <a:gd name="connsiteX39630" fmla="*/ 5676072 w 8079933"/>
              <a:gd name="connsiteY39630" fmla="*/ 2566986 h 4687251"/>
              <a:gd name="connsiteX39631" fmla="*/ 5668910 w 8079933"/>
              <a:gd name="connsiteY39631" fmla="*/ 2553993 h 4687251"/>
              <a:gd name="connsiteX39632" fmla="*/ 5667824 w 8079933"/>
              <a:gd name="connsiteY39632" fmla="*/ 2545765 h 4687251"/>
              <a:gd name="connsiteX39633" fmla="*/ 5672165 w 8079933"/>
              <a:gd name="connsiteY39633" fmla="*/ 2543708 h 4687251"/>
              <a:gd name="connsiteX39634" fmla="*/ 5668367 w 8079933"/>
              <a:gd name="connsiteY39634" fmla="*/ 2541433 h 4687251"/>
              <a:gd name="connsiteX39635" fmla="*/ 5668150 w 8079933"/>
              <a:gd name="connsiteY39635" fmla="*/ 2537320 h 4687251"/>
              <a:gd name="connsiteX39636" fmla="*/ 5670754 w 8079933"/>
              <a:gd name="connsiteY39636" fmla="*/ 2531906 h 4687251"/>
              <a:gd name="connsiteX39637" fmla="*/ 5670212 w 8079933"/>
              <a:gd name="connsiteY39637" fmla="*/ 2525085 h 4687251"/>
              <a:gd name="connsiteX39638" fmla="*/ 5667933 w 8079933"/>
              <a:gd name="connsiteY39638" fmla="*/ 2518156 h 4687251"/>
              <a:gd name="connsiteX39639" fmla="*/ 5665220 w 8079933"/>
              <a:gd name="connsiteY39639" fmla="*/ 2516423 h 4687251"/>
              <a:gd name="connsiteX39640" fmla="*/ 5663158 w 8079933"/>
              <a:gd name="connsiteY39640" fmla="*/ 2505163 h 4687251"/>
              <a:gd name="connsiteX39641" fmla="*/ 5668259 w 8079933"/>
              <a:gd name="connsiteY39641" fmla="*/ 2501915 h 4687251"/>
              <a:gd name="connsiteX39642" fmla="*/ 5670104 w 8079933"/>
              <a:gd name="connsiteY39642" fmla="*/ 2499317 h 4687251"/>
              <a:gd name="connsiteX39643" fmla="*/ 5674010 w 8079933"/>
              <a:gd name="connsiteY39643" fmla="*/ 2499317 h 4687251"/>
              <a:gd name="connsiteX39644" fmla="*/ 5669886 w 8079933"/>
              <a:gd name="connsiteY39644" fmla="*/ 2498342 h 4687251"/>
              <a:gd name="connsiteX39645" fmla="*/ 5664243 w 8079933"/>
              <a:gd name="connsiteY39645" fmla="*/ 2499208 h 4687251"/>
              <a:gd name="connsiteX39646" fmla="*/ 5661205 w 8079933"/>
              <a:gd name="connsiteY39646" fmla="*/ 2498992 h 4687251"/>
              <a:gd name="connsiteX39647" fmla="*/ 5661856 w 8079933"/>
              <a:gd name="connsiteY39647" fmla="*/ 2494444 h 4687251"/>
              <a:gd name="connsiteX39648" fmla="*/ 5659577 w 8079933"/>
              <a:gd name="connsiteY39648" fmla="*/ 2490546 h 4687251"/>
              <a:gd name="connsiteX39649" fmla="*/ 5660336 w 8079933"/>
              <a:gd name="connsiteY39649" fmla="*/ 2485891 h 4687251"/>
              <a:gd name="connsiteX39650" fmla="*/ 5661639 w 8079933"/>
              <a:gd name="connsiteY39650" fmla="*/ 2484917 h 4687251"/>
              <a:gd name="connsiteX39651" fmla="*/ 5664786 w 8079933"/>
              <a:gd name="connsiteY39651" fmla="*/ 2485566 h 4687251"/>
              <a:gd name="connsiteX39652" fmla="*/ 5668692 w 8079933"/>
              <a:gd name="connsiteY39652" fmla="*/ 2481668 h 4687251"/>
              <a:gd name="connsiteX39653" fmla="*/ 5670646 w 8079933"/>
              <a:gd name="connsiteY39653" fmla="*/ 2478637 h 4687251"/>
              <a:gd name="connsiteX39654" fmla="*/ 5666414 w 8079933"/>
              <a:gd name="connsiteY39654" fmla="*/ 2481127 h 4687251"/>
              <a:gd name="connsiteX39655" fmla="*/ 5663484 w 8079933"/>
              <a:gd name="connsiteY39655" fmla="*/ 2479828 h 4687251"/>
              <a:gd name="connsiteX39656" fmla="*/ 5657732 w 8079933"/>
              <a:gd name="connsiteY39656" fmla="*/ 2480586 h 4687251"/>
              <a:gd name="connsiteX39657" fmla="*/ 5655997 w 8079933"/>
              <a:gd name="connsiteY39657" fmla="*/ 2476688 h 4687251"/>
              <a:gd name="connsiteX39658" fmla="*/ 5655345 w 8079933"/>
              <a:gd name="connsiteY39658" fmla="*/ 2479611 h 4687251"/>
              <a:gd name="connsiteX39659" fmla="*/ 5655020 w 8079933"/>
              <a:gd name="connsiteY39659" fmla="*/ 2484484 h 4687251"/>
              <a:gd name="connsiteX39660" fmla="*/ 5651547 w 8079933"/>
              <a:gd name="connsiteY39660" fmla="*/ 2493578 h 4687251"/>
              <a:gd name="connsiteX39661" fmla="*/ 5655128 w 8079933"/>
              <a:gd name="connsiteY39661" fmla="*/ 2498017 h 4687251"/>
              <a:gd name="connsiteX39662" fmla="*/ 5654260 w 8079933"/>
              <a:gd name="connsiteY39662" fmla="*/ 2506462 h 4687251"/>
              <a:gd name="connsiteX39663" fmla="*/ 5650571 w 8079933"/>
              <a:gd name="connsiteY39663" fmla="*/ 2510252 h 4687251"/>
              <a:gd name="connsiteX39664" fmla="*/ 5650462 w 8079933"/>
              <a:gd name="connsiteY39664" fmla="*/ 2512850 h 4687251"/>
              <a:gd name="connsiteX39665" fmla="*/ 5642323 w 8079933"/>
              <a:gd name="connsiteY39665" fmla="*/ 2516965 h 4687251"/>
              <a:gd name="connsiteX39666" fmla="*/ 5629952 w 8079933"/>
              <a:gd name="connsiteY39666" fmla="*/ 2524652 h 4687251"/>
              <a:gd name="connsiteX39667" fmla="*/ 5624201 w 8079933"/>
              <a:gd name="connsiteY39667" fmla="*/ 2526601 h 4687251"/>
              <a:gd name="connsiteX39668" fmla="*/ 5615520 w 8079933"/>
              <a:gd name="connsiteY39668" fmla="*/ 2524760 h 4687251"/>
              <a:gd name="connsiteX39669" fmla="*/ 5597180 w 8079933"/>
              <a:gd name="connsiteY39669" fmla="*/ 2509927 h 4687251"/>
              <a:gd name="connsiteX39670" fmla="*/ 5589584 w 8079933"/>
              <a:gd name="connsiteY39670" fmla="*/ 2500074 h 4687251"/>
              <a:gd name="connsiteX39671" fmla="*/ 5589476 w 8079933"/>
              <a:gd name="connsiteY39671" fmla="*/ 2498342 h 4687251"/>
              <a:gd name="connsiteX39672" fmla="*/ 5587196 w 8079933"/>
              <a:gd name="connsiteY39672" fmla="*/ 2498559 h 4687251"/>
              <a:gd name="connsiteX39673" fmla="*/ 5584050 w 8079933"/>
              <a:gd name="connsiteY39673" fmla="*/ 2496827 h 4687251"/>
              <a:gd name="connsiteX39674" fmla="*/ 5573523 w 8079933"/>
              <a:gd name="connsiteY39674" fmla="*/ 2486324 h 4687251"/>
              <a:gd name="connsiteX39675" fmla="*/ 5572656 w 8079933"/>
              <a:gd name="connsiteY39675" fmla="*/ 2483076 h 4687251"/>
              <a:gd name="connsiteX39676" fmla="*/ 5573523 w 8079933"/>
              <a:gd name="connsiteY39676" fmla="*/ 2480478 h 4687251"/>
              <a:gd name="connsiteX39677" fmla="*/ 5576454 w 8079933"/>
              <a:gd name="connsiteY39677" fmla="*/ 2480153 h 4687251"/>
              <a:gd name="connsiteX39678" fmla="*/ 5577322 w 8079933"/>
              <a:gd name="connsiteY39678" fmla="*/ 2481668 h 4687251"/>
              <a:gd name="connsiteX39679" fmla="*/ 5580143 w 8079933"/>
              <a:gd name="connsiteY39679" fmla="*/ 2480803 h 4687251"/>
              <a:gd name="connsiteX39680" fmla="*/ 5580143 w 8079933"/>
              <a:gd name="connsiteY39680" fmla="*/ 2486107 h 4687251"/>
              <a:gd name="connsiteX39681" fmla="*/ 5584050 w 8079933"/>
              <a:gd name="connsiteY39681" fmla="*/ 2486541 h 4687251"/>
              <a:gd name="connsiteX39682" fmla="*/ 5586654 w 8079933"/>
              <a:gd name="connsiteY39682" fmla="*/ 2484267 h 4687251"/>
              <a:gd name="connsiteX39683" fmla="*/ 5588173 w 8079933"/>
              <a:gd name="connsiteY39683" fmla="*/ 2484050 h 4687251"/>
              <a:gd name="connsiteX39684" fmla="*/ 5590886 w 8079933"/>
              <a:gd name="connsiteY39684" fmla="*/ 2485674 h 4687251"/>
              <a:gd name="connsiteX39685" fmla="*/ 5591320 w 8079933"/>
              <a:gd name="connsiteY39685" fmla="*/ 2483834 h 4687251"/>
              <a:gd name="connsiteX39686" fmla="*/ 5601195 w 8079933"/>
              <a:gd name="connsiteY39686" fmla="*/ 2476146 h 4687251"/>
              <a:gd name="connsiteX39687" fmla="*/ 5604125 w 8079933"/>
              <a:gd name="connsiteY39687" fmla="*/ 2476038 h 4687251"/>
              <a:gd name="connsiteX39688" fmla="*/ 5608791 w 8079933"/>
              <a:gd name="connsiteY39688" fmla="*/ 2469001 h 4687251"/>
              <a:gd name="connsiteX39689" fmla="*/ 5610202 w 8079933"/>
              <a:gd name="connsiteY39689" fmla="*/ 2469326 h 4687251"/>
              <a:gd name="connsiteX39690" fmla="*/ 5612047 w 8079933"/>
              <a:gd name="connsiteY39690" fmla="*/ 2464670 h 4687251"/>
              <a:gd name="connsiteX39691" fmla="*/ 5607272 w 8079933"/>
              <a:gd name="connsiteY39691" fmla="*/ 2464345 h 4687251"/>
              <a:gd name="connsiteX39692" fmla="*/ 5605753 w 8079933"/>
              <a:gd name="connsiteY39692" fmla="*/ 2463587 h 4687251"/>
              <a:gd name="connsiteX39693" fmla="*/ 5606513 w 8079933"/>
              <a:gd name="connsiteY39693" fmla="*/ 2465103 h 4687251"/>
              <a:gd name="connsiteX39694" fmla="*/ 5606078 w 8079933"/>
              <a:gd name="connsiteY39694" fmla="*/ 2467160 h 4687251"/>
              <a:gd name="connsiteX39695" fmla="*/ 5596204 w 8079933"/>
              <a:gd name="connsiteY39695" fmla="*/ 2471383 h 4687251"/>
              <a:gd name="connsiteX39696" fmla="*/ 5590343 w 8079933"/>
              <a:gd name="connsiteY39696" fmla="*/ 2471383 h 4687251"/>
              <a:gd name="connsiteX39697" fmla="*/ 5585894 w 8079933"/>
              <a:gd name="connsiteY39697" fmla="*/ 2472899 h 4687251"/>
              <a:gd name="connsiteX39698" fmla="*/ 5570268 w 8079933"/>
              <a:gd name="connsiteY39698" fmla="*/ 2467485 h 4687251"/>
              <a:gd name="connsiteX39699" fmla="*/ 5562889 w 8079933"/>
              <a:gd name="connsiteY39699" fmla="*/ 2459798 h 4687251"/>
              <a:gd name="connsiteX39700" fmla="*/ 5559850 w 8079933"/>
              <a:gd name="connsiteY39700" fmla="*/ 2458282 h 4687251"/>
              <a:gd name="connsiteX39701" fmla="*/ 5560176 w 8079933"/>
              <a:gd name="connsiteY39701" fmla="*/ 2453410 h 4687251"/>
              <a:gd name="connsiteX39702" fmla="*/ 5564842 w 8079933"/>
              <a:gd name="connsiteY39702" fmla="*/ 2447347 h 4687251"/>
              <a:gd name="connsiteX39703" fmla="*/ 5570159 w 8079933"/>
              <a:gd name="connsiteY39703" fmla="*/ 2444424 h 4687251"/>
              <a:gd name="connsiteX39704" fmla="*/ 5563431 w 8079933"/>
              <a:gd name="connsiteY39704" fmla="*/ 2445506 h 4687251"/>
              <a:gd name="connsiteX39705" fmla="*/ 5556812 w 8079933"/>
              <a:gd name="connsiteY39705" fmla="*/ 2449728 h 4687251"/>
              <a:gd name="connsiteX39706" fmla="*/ 5556812 w 8079933"/>
              <a:gd name="connsiteY39706" fmla="*/ 2449729 h 4687251"/>
              <a:gd name="connsiteX39707" fmla="*/ 5552905 w 8079933"/>
              <a:gd name="connsiteY39707" fmla="*/ 2452219 h 4687251"/>
              <a:gd name="connsiteX39708" fmla="*/ 5553449 w 8079933"/>
              <a:gd name="connsiteY39708" fmla="*/ 2449296 h 4687251"/>
              <a:gd name="connsiteX39709" fmla="*/ 5544984 w 8079933"/>
              <a:gd name="connsiteY39709" fmla="*/ 2445182 h 4687251"/>
              <a:gd name="connsiteX39710" fmla="*/ 5538147 w 8079933"/>
              <a:gd name="connsiteY39710" fmla="*/ 2445290 h 4687251"/>
              <a:gd name="connsiteX39711" fmla="*/ 5533807 w 8079933"/>
              <a:gd name="connsiteY39711" fmla="*/ 2445723 h 4687251"/>
              <a:gd name="connsiteX39712" fmla="*/ 5532179 w 8079933"/>
              <a:gd name="connsiteY39712" fmla="*/ 2440634 h 4687251"/>
              <a:gd name="connsiteX39713" fmla="*/ 5530225 w 8079933"/>
              <a:gd name="connsiteY39713" fmla="*/ 2440634 h 4687251"/>
              <a:gd name="connsiteX39714" fmla="*/ 5528706 w 8079933"/>
              <a:gd name="connsiteY39714" fmla="*/ 2440093 h 4687251"/>
              <a:gd name="connsiteX39715" fmla="*/ 5530551 w 8079933"/>
              <a:gd name="connsiteY39715" fmla="*/ 2438794 h 4687251"/>
              <a:gd name="connsiteX39716" fmla="*/ 5530768 w 8079933"/>
              <a:gd name="connsiteY39716" fmla="*/ 2435545 h 4687251"/>
              <a:gd name="connsiteX39717" fmla="*/ 5529792 w 8079933"/>
              <a:gd name="connsiteY39717" fmla="*/ 2434679 h 4687251"/>
              <a:gd name="connsiteX39718" fmla="*/ 5528489 w 8079933"/>
              <a:gd name="connsiteY39718" fmla="*/ 2426234 h 4687251"/>
              <a:gd name="connsiteX39719" fmla="*/ 5523172 w 8079933"/>
              <a:gd name="connsiteY39719" fmla="*/ 2420171 h 4687251"/>
              <a:gd name="connsiteX39720" fmla="*/ 5523281 w 8079933"/>
              <a:gd name="connsiteY39720" fmla="*/ 2415299 h 4687251"/>
              <a:gd name="connsiteX39721" fmla="*/ 5516227 w 8079933"/>
              <a:gd name="connsiteY39721" fmla="*/ 2418439 h 4687251"/>
              <a:gd name="connsiteX39722" fmla="*/ 5512212 w 8079933"/>
              <a:gd name="connsiteY39722" fmla="*/ 2418439 h 4687251"/>
              <a:gd name="connsiteX39723" fmla="*/ 5512212 w 8079933"/>
              <a:gd name="connsiteY39723" fmla="*/ 2416706 h 4687251"/>
              <a:gd name="connsiteX39724" fmla="*/ 5513405 w 8079933"/>
              <a:gd name="connsiteY39724" fmla="*/ 2416165 h 4687251"/>
              <a:gd name="connsiteX39725" fmla="*/ 5512646 w 8079933"/>
              <a:gd name="connsiteY39725" fmla="*/ 2415407 h 4687251"/>
              <a:gd name="connsiteX39726" fmla="*/ 5513405 w 8079933"/>
              <a:gd name="connsiteY39726" fmla="*/ 2411509 h 4687251"/>
              <a:gd name="connsiteX39727" fmla="*/ 5511344 w 8079933"/>
              <a:gd name="connsiteY39727" fmla="*/ 2406204 h 4687251"/>
              <a:gd name="connsiteX39728" fmla="*/ 5506352 w 8079933"/>
              <a:gd name="connsiteY39728" fmla="*/ 2402198 h 4687251"/>
              <a:gd name="connsiteX39729" fmla="*/ 5499190 w 8079933"/>
              <a:gd name="connsiteY39729" fmla="*/ 2402415 h 4687251"/>
              <a:gd name="connsiteX39730" fmla="*/ 5493439 w 8079933"/>
              <a:gd name="connsiteY39730" fmla="*/ 2404580 h 4687251"/>
              <a:gd name="connsiteX39731" fmla="*/ 5486602 w 8079933"/>
              <a:gd name="connsiteY39731" fmla="*/ 2403606 h 4687251"/>
              <a:gd name="connsiteX39732" fmla="*/ 5484757 w 8079933"/>
              <a:gd name="connsiteY39732" fmla="*/ 2402198 h 4687251"/>
              <a:gd name="connsiteX39733" fmla="*/ 5483997 w 8079933"/>
              <a:gd name="connsiteY39733" fmla="*/ 2403931 h 4687251"/>
              <a:gd name="connsiteX39734" fmla="*/ 5480200 w 8079933"/>
              <a:gd name="connsiteY39734" fmla="*/ 2403931 h 4687251"/>
              <a:gd name="connsiteX39735" fmla="*/ 5476618 w 8079933"/>
              <a:gd name="connsiteY39735" fmla="*/ 2406313 h 4687251"/>
              <a:gd name="connsiteX39736" fmla="*/ 5472820 w 8079933"/>
              <a:gd name="connsiteY39736" fmla="*/ 2405230 h 4687251"/>
              <a:gd name="connsiteX39737" fmla="*/ 5466526 w 8079933"/>
              <a:gd name="connsiteY39737" fmla="*/ 2405230 h 4687251"/>
              <a:gd name="connsiteX39738" fmla="*/ 5461100 w 8079933"/>
              <a:gd name="connsiteY39738" fmla="*/ 2410427 h 4687251"/>
              <a:gd name="connsiteX39739" fmla="*/ 5457302 w 8079933"/>
              <a:gd name="connsiteY39739" fmla="*/ 2410427 h 4687251"/>
              <a:gd name="connsiteX39740" fmla="*/ 5454047 w 8079933"/>
              <a:gd name="connsiteY39740" fmla="*/ 2408153 h 4687251"/>
              <a:gd name="connsiteX39741" fmla="*/ 5450249 w 8079933"/>
              <a:gd name="connsiteY39741" fmla="*/ 2408153 h 4687251"/>
              <a:gd name="connsiteX39742" fmla="*/ 5448838 w 8079933"/>
              <a:gd name="connsiteY39742" fmla="*/ 2405446 h 4687251"/>
              <a:gd name="connsiteX39743" fmla="*/ 5446234 w 8079933"/>
              <a:gd name="connsiteY39743" fmla="*/ 2404905 h 4687251"/>
              <a:gd name="connsiteX39744" fmla="*/ 5445691 w 8079933"/>
              <a:gd name="connsiteY39744" fmla="*/ 2406854 h 4687251"/>
              <a:gd name="connsiteX39745" fmla="*/ 5442435 w 8079933"/>
              <a:gd name="connsiteY39745" fmla="*/ 2406854 h 4687251"/>
              <a:gd name="connsiteX39746" fmla="*/ 5437769 w 8079933"/>
              <a:gd name="connsiteY39746" fmla="*/ 2403822 h 4687251"/>
              <a:gd name="connsiteX39747" fmla="*/ 5435816 w 8079933"/>
              <a:gd name="connsiteY39747" fmla="*/ 2406313 h 4687251"/>
              <a:gd name="connsiteX39748" fmla="*/ 5435274 w 8079933"/>
              <a:gd name="connsiteY39748" fmla="*/ 2408911 h 4687251"/>
              <a:gd name="connsiteX39749" fmla="*/ 5432560 w 8079933"/>
              <a:gd name="connsiteY39749" fmla="*/ 2408911 h 4687251"/>
              <a:gd name="connsiteX39750" fmla="*/ 5429631 w 8079933"/>
              <a:gd name="connsiteY39750" fmla="*/ 2408478 h 4687251"/>
              <a:gd name="connsiteX39751" fmla="*/ 5425615 w 8079933"/>
              <a:gd name="connsiteY39751" fmla="*/ 2409560 h 4687251"/>
              <a:gd name="connsiteX39752" fmla="*/ 5423228 w 8079933"/>
              <a:gd name="connsiteY39752" fmla="*/ 2408911 h 4687251"/>
              <a:gd name="connsiteX39753" fmla="*/ 5418019 w 8079933"/>
              <a:gd name="connsiteY39753" fmla="*/ 2408478 h 4687251"/>
              <a:gd name="connsiteX39754" fmla="*/ 5414547 w 8079933"/>
              <a:gd name="connsiteY39754" fmla="*/ 2411401 h 4687251"/>
              <a:gd name="connsiteX39755" fmla="*/ 5412594 w 8079933"/>
              <a:gd name="connsiteY39755" fmla="*/ 2412051 h 4687251"/>
              <a:gd name="connsiteX39756" fmla="*/ 5412268 w 8079933"/>
              <a:gd name="connsiteY39756" fmla="*/ 2409994 h 4687251"/>
              <a:gd name="connsiteX39757" fmla="*/ 5406842 w 8079933"/>
              <a:gd name="connsiteY39757" fmla="*/ 2410319 h 4687251"/>
              <a:gd name="connsiteX39758" fmla="*/ 5399897 w 8079933"/>
              <a:gd name="connsiteY39758" fmla="*/ 2414433 h 4687251"/>
              <a:gd name="connsiteX39759" fmla="*/ 5397727 w 8079933"/>
              <a:gd name="connsiteY39759" fmla="*/ 2413566 h 4687251"/>
              <a:gd name="connsiteX39760" fmla="*/ 5397944 w 8079933"/>
              <a:gd name="connsiteY39760" fmla="*/ 2410102 h 4687251"/>
              <a:gd name="connsiteX39761" fmla="*/ 5395122 w 8079933"/>
              <a:gd name="connsiteY39761" fmla="*/ 2410102 h 4687251"/>
              <a:gd name="connsiteX39762" fmla="*/ 5395122 w 8079933"/>
              <a:gd name="connsiteY39762" fmla="*/ 2406313 h 4687251"/>
              <a:gd name="connsiteX39763" fmla="*/ 5396099 w 8079933"/>
              <a:gd name="connsiteY39763" fmla="*/ 2397868 h 4687251"/>
              <a:gd name="connsiteX39764" fmla="*/ 5393820 w 8079933"/>
              <a:gd name="connsiteY39764" fmla="*/ 2392021 h 4687251"/>
              <a:gd name="connsiteX39765" fmla="*/ 5397494 w 8079933"/>
              <a:gd name="connsiteY39765" fmla="*/ 2387062 h 4687251"/>
              <a:gd name="connsiteX39766" fmla="*/ 5393819 w 8079933"/>
              <a:gd name="connsiteY39766" fmla="*/ 2392022 h 4687251"/>
              <a:gd name="connsiteX39767" fmla="*/ 5396098 w 8079933"/>
              <a:gd name="connsiteY39767" fmla="*/ 2397868 h 4687251"/>
              <a:gd name="connsiteX39768" fmla="*/ 5395121 w 8079933"/>
              <a:gd name="connsiteY39768" fmla="*/ 2406314 h 4687251"/>
              <a:gd name="connsiteX39769" fmla="*/ 5395121 w 8079933"/>
              <a:gd name="connsiteY39769" fmla="*/ 2410103 h 4687251"/>
              <a:gd name="connsiteX39770" fmla="*/ 5393819 w 8079933"/>
              <a:gd name="connsiteY39770" fmla="*/ 2410103 h 4687251"/>
              <a:gd name="connsiteX39771" fmla="*/ 5392735 w 8079933"/>
              <a:gd name="connsiteY39771" fmla="*/ 2412052 h 4687251"/>
              <a:gd name="connsiteX39772" fmla="*/ 5389153 w 8079933"/>
              <a:gd name="connsiteY39772" fmla="*/ 2414109 h 4687251"/>
              <a:gd name="connsiteX39773" fmla="*/ 5381123 w 8079933"/>
              <a:gd name="connsiteY39773" fmla="*/ 2411186 h 4687251"/>
              <a:gd name="connsiteX39774" fmla="*/ 5375154 w 8079933"/>
              <a:gd name="connsiteY39774" fmla="*/ 2409020 h 4687251"/>
              <a:gd name="connsiteX39775" fmla="*/ 5372876 w 8079933"/>
              <a:gd name="connsiteY39775" fmla="*/ 2404906 h 4687251"/>
              <a:gd name="connsiteX39776" fmla="*/ 5369728 w 8079933"/>
              <a:gd name="connsiteY39776" fmla="*/ 2405447 h 4687251"/>
              <a:gd name="connsiteX39777" fmla="*/ 5368643 w 8079933"/>
              <a:gd name="connsiteY39777" fmla="*/ 2409562 h 4687251"/>
              <a:gd name="connsiteX39778" fmla="*/ 5367233 w 8079933"/>
              <a:gd name="connsiteY39778" fmla="*/ 2409778 h 4687251"/>
              <a:gd name="connsiteX39779" fmla="*/ 5363760 w 8079933"/>
              <a:gd name="connsiteY39779" fmla="*/ 2406855 h 4687251"/>
              <a:gd name="connsiteX39780" fmla="*/ 5361590 w 8079933"/>
              <a:gd name="connsiteY39780" fmla="*/ 2407613 h 4687251"/>
              <a:gd name="connsiteX39781" fmla="*/ 5357466 w 8079933"/>
              <a:gd name="connsiteY39781" fmla="*/ 2406206 h 4687251"/>
              <a:gd name="connsiteX39782" fmla="*/ 5346940 w 8079933"/>
              <a:gd name="connsiteY39782" fmla="*/ 2405772 h 4687251"/>
              <a:gd name="connsiteX39783" fmla="*/ 5339561 w 8079933"/>
              <a:gd name="connsiteY39783" fmla="*/ 2402524 h 4687251"/>
              <a:gd name="connsiteX39784" fmla="*/ 5326322 w 8079933"/>
              <a:gd name="connsiteY39784" fmla="*/ 2403498 h 4687251"/>
              <a:gd name="connsiteX39785" fmla="*/ 5320028 w 8079933"/>
              <a:gd name="connsiteY39785" fmla="*/ 2397544 h 4687251"/>
              <a:gd name="connsiteX39786" fmla="*/ 5318075 w 8079933"/>
              <a:gd name="connsiteY39786" fmla="*/ 2397327 h 4687251"/>
              <a:gd name="connsiteX39787" fmla="*/ 5312431 w 8079933"/>
              <a:gd name="connsiteY39787" fmla="*/ 2401983 h 4687251"/>
              <a:gd name="connsiteX39788" fmla="*/ 5307874 w 8079933"/>
              <a:gd name="connsiteY39788" fmla="*/ 2398518 h 4687251"/>
              <a:gd name="connsiteX39789" fmla="*/ 5302665 w 8079933"/>
              <a:gd name="connsiteY39789" fmla="*/ 2398735 h 4687251"/>
              <a:gd name="connsiteX39790" fmla="*/ 5289969 w 8079933"/>
              <a:gd name="connsiteY39790" fmla="*/ 2398951 h 4687251"/>
              <a:gd name="connsiteX39791" fmla="*/ 5289100 w 8079933"/>
              <a:gd name="connsiteY39791" fmla="*/ 2396461 h 4687251"/>
              <a:gd name="connsiteX39792" fmla="*/ 5286388 w 8079933"/>
              <a:gd name="connsiteY39792" fmla="*/ 2394621 h 4687251"/>
              <a:gd name="connsiteX39793" fmla="*/ 5286062 w 8079933"/>
              <a:gd name="connsiteY39793" fmla="*/ 2388233 h 4687251"/>
              <a:gd name="connsiteX39794" fmla="*/ 5281287 w 8079933"/>
              <a:gd name="connsiteY39794" fmla="*/ 2379246 h 4687251"/>
              <a:gd name="connsiteX39795" fmla="*/ 5278791 w 8079933"/>
              <a:gd name="connsiteY39795" fmla="*/ 2370584 h 4687251"/>
              <a:gd name="connsiteX39796" fmla="*/ 5274451 w 8079933"/>
              <a:gd name="connsiteY39796" fmla="*/ 2364521 h 4687251"/>
              <a:gd name="connsiteX39797" fmla="*/ 5273908 w 8079933"/>
              <a:gd name="connsiteY39797" fmla="*/ 2361923 h 4687251"/>
              <a:gd name="connsiteX39798" fmla="*/ 5271738 w 8079933"/>
              <a:gd name="connsiteY39798" fmla="*/ 2362139 h 4687251"/>
              <a:gd name="connsiteX39799" fmla="*/ 5271738 w 8079933"/>
              <a:gd name="connsiteY39799" fmla="*/ 2360515 h 4687251"/>
              <a:gd name="connsiteX39800" fmla="*/ 5263599 w 8079933"/>
              <a:gd name="connsiteY39800" fmla="*/ 2359432 h 4687251"/>
              <a:gd name="connsiteX39801" fmla="*/ 5258716 w 8079933"/>
              <a:gd name="connsiteY39801" fmla="*/ 2360840 h 4687251"/>
              <a:gd name="connsiteX39802" fmla="*/ 5252313 w 8079933"/>
              <a:gd name="connsiteY39802" fmla="*/ 2365604 h 4687251"/>
              <a:gd name="connsiteX39803" fmla="*/ 5247430 w 8079933"/>
              <a:gd name="connsiteY39803" fmla="*/ 2365712 h 4687251"/>
              <a:gd name="connsiteX39804" fmla="*/ 5246887 w 8079933"/>
              <a:gd name="connsiteY39804" fmla="*/ 2363547 h 4687251"/>
              <a:gd name="connsiteX39805" fmla="*/ 5246779 w 8079933"/>
              <a:gd name="connsiteY39805" fmla="*/ 2366254 h 4687251"/>
              <a:gd name="connsiteX39806" fmla="*/ 5236796 w 8079933"/>
              <a:gd name="connsiteY39806" fmla="*/ 2372425 h 4687251"/>
              <a:gd name="connsiteX39807" fmla="*/ 5228440 w 8079933"/>
              <a:gd name="connsiteY39807" fmla="*/ 2379246 h 4687251"/>
              <a:gd name="connsiteX39808" fmla="*/ 5219108 w 8079933"/>
              <a:gd name="connsiteY39808" fmla="*/ 2372966 h 4687251"/>
              <a:gd name="connsiteX39809" fmla="*/ 5211077 w 8079933"/>
              <a:gd name="connsiteY39809" fmla="*/ 2371017 h 4687251"/>
              <a:gd name="connsiteX39810" fmla="*/ 5205326 w 8079933"/>
              <a:gd name="connsiteY39810" fmla="*/ 2371884 h 4687251"/>
              <a:gd name="connsiteX39811" fmla="*/ 5202938 w 8079933"/>
              <a:gd name="connsiteY39811" fmla="*/ 2373183 h 4687251"/>
              <a:gd name="connsiteX39812" fmla="*/ 5194692 w 8079933"/>
              <a:gd name="connsiteY39812" fmla="*/ 2365712 h 4687251"/>
              <a:gd name="connsiteX39813" fmla="*/ 5190676 w 8079933"/>
              <a:gd name="connsiteY39813" fmla="*/ 2365171 h 4687251"/>
              <a:gd name="connsiteX39814" fmla="*/ 5186878 w 8079933"/>
              <a:gd name="connsiteY39814" fmla="*/ 2362681 h 4687251"/>
              <a:gd name="connsiteX39815" fmla="*/ 5181234 w 8079933"/>
              <a:gd name="connsiteY39815" fmla="*/ 2361382 h 4687251"/>
              <a:gd name="connsiteX39816" fmla="*/ 5174182 w 8079933"/>
              <a:gd name="connsiteY39816" fmla="*/ 2354019 h 4687251"/>
              <a:gd name="connsiteX39817" fmla="*/ 5177111 w 8079933"/>
              <a:gd name="connsiteY39817" fmla="*/ 2351529 h 4687251"/>
              <a:gd name="connsiteX39818" fmla="*/ 5176352 w 8079933"/>
              <a:gd name="connsiteY39818" fmla="*/ 2349364 h 4687251"/>
              <a:gd name="connsiteX39819" fmla="*/ 5171902 w 8079933"/>
              <a:gd name="connsiteY39819" fmla="*/ 2348930 h 4687251"/>
              <a:gd name="connsiteX39820" fmla="*/ 5170817 w 8079933"/>
              <a:gd name="connsiteY39820" fmla="*/ 2347307 h 4687251"/>
              <a:gd name="connsiteX39821" fmla="*/ 5163221 w 8079933"/>
              <a:gd name="connsiteY39821" fmla="*/ 2346981 h 4687251"/>
              <a:gd name="connsiteX39822" fmla="*/ 5160725 w 8079933"/>
              <a:gd name="connsiteY39822" fmla="*/ 2344275 h 4687251"/>
              <a:gd name="connsiteX39823" fmla="*/ 5154540 w 8079933"/>
              <a:gd name="connsiteY39823" fmla="*/ 2342326 h 4687251"/>
              <a:gd name="connsiteX39824" fmla="*/ 5145858 w 8079933"/>
              <a:gd name="connsiteY39824" fmla="*/ 2343192 h 4687251"/>
              <a:gd name="connsiteX39825" fmla="*/ 5140975 w 8079933"/>
              <a:gd name="connsiteY39825" fmla="*/ 2340269 h 4687251"/>
              <a:gd name="connsiteX39826" fmla="*/ 5133705 w 8079933"/>
              <a:gd name="connsiteY39826" fmla="*/ 2324244 h 4687251"/>
              <a:gd name="connsiteX39827" fmla="*/ 5132837 w 8079933"/>
              <a:gd name="connsiteY39827" fmla="*/ 2320455 h 4687251"/>
              <a:gd name="connsiteX39828" fmla="*/ 5130666 w 8079933"/>
              <a:gd name="connsiteY39828" fmla="*/ 2321213 h 4687251"/>
              <a:gd name="connsiteX39829" fmla="*/ 5126326 w 8079933"/>
              <a:gd name="connsiteY39829" fmla="*/ 2317532 h 4687251"/>
              <a:gd name="connsiteX39830" fmla="*/ 5127411 w 8079933"/>
              <a:gd name="connsiteY39830" fmla="*/ 2316341 h 4687251"/>
              <a:gd name="connsiteX39831" fmla="*/ 5129038 w 8079933"/>
              <a:gd name="connsiteY39831" fmla="*/ 2317424 h 4687251"/>
              <a:gd name="connsiteX39832" fmla="*/ 5130883 w 8079933"/>
              <a:gd name="connsiteY39832" fmla="*/ 2317424 h 4687251"/>
              <a:gd name="connsiteX39833" fmla="*/ 5128279 w 8079933"/>
              <a:gd name="connsiteY39833" fmla="*/ 2313093 h 4687251"/>
              <a:gd name="connsiteX39834" fmla="*/ 5124698 w 8079933"/>
              <a:gd name="connsiteY39834" fmla="*/ 2313634 h 4687251"/>
              <a:gd name="connsiteX39835" fmla="*/ 5122201 w 8079933"/>
              <a:gd name="connsiteY39835" fmla="*/ 2312010 h 4687251"/>
              <a:gd name="connsiteX39836" fmla="*/ 5121442 w 8079933"/>
              <a:gd name="connsiteY39836" fmla="*/ 2304540 h 4687251"/>
              <a:gd name="connsiteX39837" fmla="*/ 5112760 w 8079933"/>
              <a:gd name="connsiteY39837" fmla="*/ 2294145 h 4687251"/>
              <a:gd name="connsiteX39838" fmla="*/ 5112218 w 8079933"/>
              <a:gd name="connsiteY39838" fmla="*/ 2289598 h 4687251"/>
              <a:gd name="connsiteX39839" fmla="*/ 5107118 w 8079933"/>
              <a:gd name="connsiteY39839" fmla="*/ 2282885 h 4687251"/>
              <a:gd name="connsiteX39840" fmla="*/ 5104622 w 8079933"/>
              <a:gd name="connsiteY39840" fmla="*/ 2281694 h 4687251"/>
              <a:gd name="connsiteX39841" fmla="*/ 5097134 w 8079933"/>
              <a:gd name="connsiteY39841" fmla="*/ 2287757 h 4687251"/>
              <a:gd name="connsiteX39842" fmla="*/ 5094855 w 8079933"/>
              <a:gd name="connsiteY39842" fmla="*/ 2287649 h 4687251"/>
              <a:gd name="connsiteX39843" fmla="*/ 5092468 w 8079933"/>
              <a:gd name="connsiteY39843" fmla="*/ 2283318 h 4687251"/>
              <a:gd name="connsiteX39844" fmla="*/ 5090297 w 8079933"/>
              <a:gd name="connsiteY39844" fmla="*/ 2284184 h 4687251"/>
              <a:gd name="connsiteX39845" fmla="*/ 5084872 w 8079933"/>
              <a:gd name="connsiteY39845" fmla="*/ 2281694 h 4687251"/>
              <a:gd name="connsiteX39846" fmla="*/ 5085631 w 8079933"/>
              <a:gd name="connsiteY39846" fmla="*/ 2278987 h 4687251"/>
              <a:gd name="connsiteX39847" fmla="*/ 5086500 w 8079933"/>
              <a:gd name="connsiteY39847" fmla="*/ 2276281 h 4687251"/>
              <a:gd name="connsiteX39848" fmla="*/ 5085306 w 8079933"/>
              <a:gd name="connsiteY39848" fmla="*/ 2277688 h 4687251"/>
              <a:gd name="connsiteX39849" fmla="*/ 5082051 w 8079933"/>
              <a:gd name="connsiteY39849" fmla="*/ 2277904 h 4687251"/>
              <a:gd name="connsiteX39850" fmla="*/ 5079120 w 8079933"/>
              <a:gd name="connsiteY39850" fmla="*/ 2277472 h 4687251"/>
              <a:gd name="connsiteX39851" fmla="*/ 5082702 w 8079933"/>
              <a:gd name="connsiteY39851" fmla="*/ 2280395 h 4687251"/>
              <a:gd name="connsiteX39852" fmla="*/ 5082593 w 8079933"/>
              <a:gd name="connsiteY39852" fmla="*/ 2284942 h 4687251"/>
              <a:gd name="connsiteX39853" fmla="*/ 5079880 w 8079933"/>
              <a:gd name="connsiteY39853" fmla="*/ 2287216 h 4687251"/>
              <a:gd name="connsiteX39854" fmla="*/ 5076950 w 8079933"/>
              <a:gd name="connsiteY39854" fmla="*/ 2287432 h 4687251"/>
              <a:gd name="connsiteX39855" fmla="*/ 5073369 w 8079933"/>
              <a:gd name="connsiteY39855" fmla="*/ 2282777 h 4687251"/>
              <a:gd name="connsiteX39856" fmla="*/ 5073477 w 8079933"/>
              <a:gd name="connsiteY39856" fmla="*/ 2281261 h 4687251"/>
              <a:gd name="connsiteX39857" fmla="*/ 5071307 w 8079933"/>
              <a:gd name="connsiteY39857" fmla="*/ 2282235 h 4687251"/>
              <a:gd name="connsiteX39858" fmla="*/ 5069571 w 8079933"/>
              <a:gd name="connsiteY39858" fmla="*/ 2280720 h 4687251"/>
              <a:gd name="connsiteX39859" fmla="*/ 5066280 w 8079933"/>
              <a:gd name="connsiteY39859" fmla="*/ 2279393 h 4687251"/>
              <a:gd name="connsiteX39860" fmla="*/ 5069571 w 8079933"/>
              <a:gd name="connsiteY39860" fmla="*/ 2280720 h 4687251"/>
              <a:gd name="connsiteX39861" fmla="*/ 5071307 w 8079933"/>
              <a:gd name="connsiteY39861" fmla="*/ 2282236 h 4687251"/>
              <a:gd name="connsiteX39862" fmla="*/ 5068812 w 8079933"/>
              <a:gd name="connsiteY39862" fmla="*/ 2283318 h 4687251"/>
              <a:gd name="connsiteX39863" fmla="*/ 5066316 w 8079933"/>
              <a:gd name="connsiteY39863" fmla="*/ 2288839 h 4687251"/>
              <a:gd name="connsiteX39864" fmla="*/ 5066317 w 8079933"/>
              <a:gd name="connsiteY39864" fmla="*/ 2288840 h 4687251"/>
              <a:gd name="connsiteX39865" fmla="*/ 5065774 w 8079933"/>
              <a:gd name="connsiteY39865" fmla="*/ 2290139 h 4687251"/>
              <a:gd name="connsiteX39866" fmla="*/ 5068053 w 8079933"/>
              <a:gd name="connsiteY39866" fmla="*/ 2300750 h 4687251"/>
              <a:gd name="connsiteX39867" fmla="*/ 5054272 w 8079933"/>
              <a:gd name="connsiteY39867" fmla="*/ 2303456 h 4687251"/>
              <a:gd name="connsiteX39868" fmla="*/ 5063713 w 8079933"/>
              <a:gd name="connsiteY39868" fmla="*/ 2309628 h 4687251"/>
              <a:gd name="connsiteX39869" fmla="*/ 5064798 w 8079933"/>
              <a:gd name="connsiteY39869" fmla="*/ 2307462 h 4687251"/>
              <a:gd name="connsiteX39870" fmla="*/ 5066426 w 8079933"/>
              <a:gd name="connsiteY39870" fmla="*/ 2311035 h 4687251"/>
              <a:gd name="connsiteX39871" fmla="*/ 5066642 w 8079933"/>
              <a:gd name="connsiteY39871" fmla="*/ 2315041 h 4687251"/>
              <a:gd name="connsiteX39872" fmla="*/ 5069355 w 8079933"/>
              <a:gd name="connsiteY39872" fmla="*/ 2318073 h 4687251"/>
              <a:gd name="connsiteX39873" fmla="*/ 5068487 w 8079933"/>
              <a:gd name="connsiteY39873" fmla="*/ 2318073 h 4687251"/>
              <a:gd name="connsiteX39874" fmla="*/ 5067511 w 8079933"/>
              <a:gd name="connsiteY39874" fmla="*/ 2318615 h 4687251"/>
              <a:gd name="connsiteX39875" fmla="*/ 5070006 w 8079933"/>
              <a:gd name="connsiteY39875" fmla="*/ 2321755 h 4687251"/>
              <a:gd name="connsiteX39876" fmla="*/ 5070006 w 8079933"/>
              <a:gd name="connsiteY39876" fmla="*/ 2321755 h 4687251"/>
              <a:gd name="connsiteX39877" fmla="*/ 5071850 w 8079933"/>
              <a:gd name="connsiteY39877" fmla="*/ 2324027 h 4687251"/>
              <a:gd name="connsiteX39878" fmla="*/ 5073478 w 8079933"/>
              <a:gd name="connsiteY39878" fmla="*/ 2323162 h 4687251"/>
              <a:gd name="connsiteX39879" fmla="*/ 5073478 w 8079933"/>
              <a:gd name="connsiteY39879" fmla="*/ 2327168 h 4687251"/>
              <a:gd name="connsiteX39880" fmla="*/ 5076625 w 8079933"/>
              <a:gd name="connsiteY39880" fmla="*/ 2328791 h 4687251"/>
              <a:gd name="connsiteX39881" fmla="*/ 5079121 w 8079933"/>
              <a:gd name="connsiteY39881" fmla="*/ 2334530 h 4687251"/>
              <a:gd name="connsiteX39882" fmla="*/ 5083679 w 8079933"/>
              <a:gd name="connsiteY39882" fmla="*/ 2346656 h 4687251"/>
              <a:gd name="connsiteX39883" fmla="*/ 5091708 w 8079933"/>
              <a:gd name="connsiteY39883" fmla="*/ 2348605 h 4687251"/>
              <a:gd name="connsiteX39884" fmla="*/ 5095724 w 8079933"/>
              <a:gd name="connsiteY39884" fmla="*/ 2349363 h 4687251"/>
              <a:gd name="connsiteX39885" fmla="*/ 5097786 w 8079933"/>
              <a:gd name="connsiteY39885" fmla="*/ 2352178 h 4687251"/>
              <a:gd name="connsiteX39886" fmla="*/ 5095724 w 8079933"/>
              <a:gd name="connsiteY39886" fmla="*/ 2350987 h 4687251"/>
              <a:gd name="connsiteX39887" fmla="*/ 5094313 w 8079933"/>
              <a:gd name="connsiteY39887" fmla="*/ 2351312 h 4687251"/>
              <a:gd name="connsiteX39888" fmla="*/ 5093988 w 8079933"/>
              <a:gd name="connsiteY39888" fmla="*/ 2352935 h 4687251"/>
              <a:gd name="connsiteX39889" fmla="*/ 5097352 w 8079933"/>
              <a:gd name="connsiteY39889" fmla="*/ 2356725 h 4687251"/>
              <a:gd name="connsiteX39890" fmla="*/ 5100281 w 8079933"/>
              <a:gd name="connsiteY39890" fmla="*/ 2356942 h 4687251"/>
              <a:gd name="connsiteX39891" fmla="*/ 5107986 w 8079933"/>
              <a:gd name="connsiteY39891" fmla="*/ 2368094 h 4687251"/>
              <a:gd name="connsiteX39892" fmla="*/ 5110265 w 8079933"/>
              <a:gd name="connsiteY39892" fmla="*/ 2368094 h 4687251"/>
              <a:gd name="connsiteX39893" fmla="*/ 5113304 w 8079933"/>
              <a:gd name="connsiteY39893" fmla="*/ 2372749 h 4687251"/>
              <a:gd name="connsiteX39894" fmla="*/ 5113304 w 8079933"/>
              <a:gd name="connsiteY39894" fmla="*/ 2375456 h 4687251"/>
              <a:gd name="connsiteX39895" fmla="*/ 5117644 w 8079933"/>
              <a:gd name="connsiteY39895" fmla="*/ 2387041 h 4687251"/>
              <a:gd name="connsiteX39896" fmla="*/ 5117644 w 8079933"/>
              <a:gd name="connsiteY39896" fmla="*/ 2389747 h 4687251"/>
              <a:gd name="connsiteX39897" fmla="*/ 5114931 w 8079933"/>
              <a:gd name="connsiteY39897" fmla="*/ 2388990 h 4687251"/>
              <a:gd name="connsiteX39898" fmla="*/ 5117970 w 8079933"/>
              <a:gd name="connsiteY39898" fmla="*/ 2394836 h 4687251"/>
              <a:gd name="connsiteX39899" fmla="*/ 5130124 w 8079933"/>
              <a:gd name="connsiteY39899" fmla="*/ 2409994 h 4687251"/>
              <a:gd name="connsiteX39900" fmla="*/ 5131209 w 8079933"/>
              <a:gd name="connsiteY39900" fmla="*/ 2416057 h 4687251"/>
              <a:gd name="connsiteX39901" fmla="*/ 5135224 w 8079933"/>
              <a:gd name="connsiteY39901" fmla="*/ 2421687 h 4687251"/>
              <a:gd name="connsiteX39902" fmla="*/ 5136526 w 8079933"/>
              <a:gd name="connsiteY39902" fmla="*/ 2420822 h 4687251"/>
              <a:gd name="connsiteX39903" fmla="*/ 5136526 w 8079933"/>
              <a:gd name="connsiteY39903" fmla="*/ 2420822 h 4687251"/>
              <a:gd name="connsiteX39904" fmla="*/ 5137720 w 8079933"/>
              <a:gd name="connsiteY39904" fmla="*/ 2420063 h 4687251"/>
              <a:gd name="connsiteX39905" fmla="*/ 5137720 w 8079933"/>
              <a:gd name="connsiteY39905" fmla="*/ 2415192 h 4687251"/>
              <a:gd name="connsiteX39906" fmla="*/ 5136092 w 8079933"/>
              <a:gd name="connsiteY39906" fmla="*/ 2413243 h 4687251"/>
              <a:gd name="connsiteX39907" fmla="*/ 5135007 w 8079933"/>
              <a:gd name="connsiteY39907" fmla="*/ 2409778 h 4687251"/>
              <a:gd name="connsiteX39908" fmla="*/ 5135766 w 8079933"/>
              <a:gd name="connsiteY39908" fmla="*/ 2402524 h 4687251"/>
              <a:gd name="connsiteX39909" fmla="*/ 5137720 w 8079933"/>
              <a:gd name="connsiteY39909" fmla="*/ 2402524 h 4687251"/>
              <a:gd name="connsiteX39910" fmla="*/ 5138913 w 8079933"/>
              <a:gd name="connsiteY39910" fmla="*/ 2403498 h 4687251"/>
              <a:gd name="connsiteX39911" fmla="*/ 5137720 w 8079933"/>
              <a:gd name="connsiteY39911" fmla="*/ 2396245 h 4687251"/>
              <a:gd name="connsiteX39912" fmla="*/ 5138805 w 8079933"/>
              <a:gd name="connsiteY39912" fmla="*/ 2396245 h 4687251"/>
              <a:gd name="connsiteX39913" fmla="*/ 5137937 w 8079933"/>
              <a:gd name="connsiteY39913" fmla="*/ 2392455 h 4687251"/>
              <a:gd name="connsiteX39914" fmla="*/ 5139565 w 8079933"/>
              <a:gd name="connsiteY39914" fmla="*/ 2391156 h 4687251"/>
              <a:gd name="connsiteX39915" fmla="*/ 5139565 w 8079933"/>
              <a:gd name="connsiteY39915" fmla="*/ 2389207 h 4687251"/>
              <a:gd name="connsiteX39916" fmla="*/ 5141301 w 8079933"/>
              <a:gd name="connsiteY39916" fmla="*/ 2388990 h 4687251"/>
              <a:gd name="connsiteX39917" fmla="*/ 5142060 w 8079933"/>
              <a:gd name="connsiteY39917" fmla="*/ 2386825 h 4687251"/>
              <a:gd name="connsiteX39918" fmla="*/ 5143905 w 8079933"/>
              <a:gd name="connsiteY39918" fmla="*/ 2386825 h 4687251"/>
              <a:gd name="connsiteX39919" fmla="*/ 5148029 w 8079933"/>
              <a:gd name="connsiteY39919" fmla="*/ 2390073 h 4687251"/>
              <a:gd name="connsiteX39920" fmla="*/ 5148354 w 8079933"/>
              <a:gd name="connsiteY39920" fmla="*/ 2392672 h 4687251"/>
              <a:gd name="connsiteX39921" fmla="*/ 5150416 w 8079933"/>
              <a:gd name="connsiteY39921" fmla="*/ 2392672 h 4687251"/>
              <a:gd name="connsiteX39922" fmla="*/ 5151284 w 8079933"/>
              <a:gd name="connsiteY39922" fmla="*/ 2394187 h 4687251"/>
              <a:gd name="connsiteX39923" fmla="*/ 5149656 w 8079933"/>
              <a:gd name="connsiteY39923" fmla="*/ 2401983 h 4687251"/>
              <a:gd name="connsiteX39924" fmla="*/ 5148571 w 8079933"/>
              <a:gd name="connsiteY39924" fmla="*/ 2401983 h 4687251"/>
              <a:gd name="connsiteX39925" fmla="*/ 5149439 w 8079933"/>
              <a:gd name="connsiteY39925" fmla="*/ 2410103 h 4687251"/>
              <a:gd name="connsiteX39926" fmla="*/ 5151067 w 8079933"/>
              <a:gd name="connsiteY39926" fmla="*/ 2410103 h 4687251"/>
              <a:gd name="connsiteX39927" fmla="*/ 5153672 w 8079933"/>
              <a:gd name="connsiteY39927" fmla="*/ 2414867 h 4687251"/>
              <a:gd name="connsiteX39928" fmla="*/ 5151827 w 8079933"/>
              <a:gd name="connsiteY39928" fmla="*/ 2426560 h 4687251"/>
              <a:gd name="connsiteX39929" fmla="*/ 5149114 w 8079933"/>
              <a:gd name="connsiteY39929" fmla="*/ 2427101 h 4687251"/>
              <a:gd name="connsiteX39930" fmla="*/ 5149223 w 8079933"/>
              <a:gd name="connsiteY39930" fmla="*/ 2427210 h 4687251"/>
              <a:gd name="connsiteX39931" fmla="*/ 5149222 w 8079933"/>
              <a:gd name="connsiteY39931" fmla="*/ 2427210 h 4687251"/>
              <a:gd name="connsiteX39932" fmla="*/ 5149874 w 8079933"/>
              <a:gd name="connsiteY39932" fmla="*/ 2428400 h 4687251"/>
              <a:gd name="connsiteX39933" fmla="*/ 5153780 w 8079933"/>
              <a:gd name="connsiteY39933" fmla="*/ 2427967 h 4687251"/>
              <a:gd name="connsiteX39934" fmla="*/ 5151610 w 8079933"/>
              <a:gd name="connsiteY39934" fmla="*/ 2430674 h 4687251"/>
              <a:gd name="connsiteX39935" fmla="*/ 5151502 w 8079933"/>
              <a:gd name="connsiteY39935" fmla="*/ 2433056 h 4687251"/>
              <a:gd name="connsiteX39936" fmla="*/ 5153672 w 8079933"/>
              <a:gd name="connsiteY39936" fmla="*/ 2436846 h 4687251"/>
              <a:gd name="connsiteX39937" fmla="*/ 5154865 w 8079933"/>
              <a:gd name="connsiteY39937" fmla="*/ 2436304 h 4687251"/>
              <a:gd name="connsiteX39938" fmla="*/ 5155083 w 8079933"/>
              <a:gd name="connsiteY39938" fmla="*/ 2436412 h 4687251"/>
              <a:gd name="connsiteX39939" fmla="*/ 5155083 w 8079933"/>
              <a:gd name="connsiteY39939" fmla="*/ 2436412 h 4687251"/>
              <a:gd name="connsiteX39940" fmla="*/ 5156928 w 8079933"/>
              <a:gd name="connsiteY39940" fmla="*/ 2437602 h 4687251"/>
              <a:gd name="connsiteX39941" fmla="*/ 5158881 w 8079933"/>
              <a:gd name="connsiteY39941" fmla="*/ 2435437 h 4687251"/>
              <a:gd name="connsiteX39942" fmla="*/ 5160292 w 8079933"/>
              <a:gd name="connsiteY39942" fmla="*/ 2446265 h 4687251"/>
              <a:gd name="connsiteX39943" fmla="*/ 5164090 w 8079933"/>
              <a:gd name="connsiteY39943" fmla="*/ 2444532 h 4687251"/>
              <a:gd name="connsiteX39944" fmla="*/ 5167670 w 8079933"/>
              <a:gd name="connsiteY39944" fmla="*/ 2444965 h 4687251"/>
              <a:gd name="connsiteX39945" fmla="*/ 5171468 w 8079933"/>
              <a:gd name="connsiteY39945" fmla="*/ 2446047 h 4687251"/>
              <a:gd name="connsiteX39946" fmla="*/ 5181235 w 8079933"/>
              <a:gd name="connsiteY39946" fmla="*/ 2438469 h 4687251"/>
              <a:gd name="connsiteX39947" fmla="*/ 5189374 w 8079933"/>
              <a:gd name="connsiteY39947" fmla="*/ 2440310 h 4687251"/>
              <a:gd name="connsiteX39948" fmla="*/ 5192846 w 8079933"/>
              <a:gd name="connsiteY39948" fmla="*/ 2439551 h 4687251"/>
              <a:gd name="connsiteX39949" fmla="*/ 5194909 w 8079933"/>
              <a:gd name="connsiteY39949" fmla="*/ 2440634 h 4687251"/>
              <a:gd name="connsiteX39950" fmla="*/ 5199575 w 8079933"/>
              <a:gd name="connsiteY39950" fmla="*/ 2440310 h 4687251"/>
              <a:gd name="connsiteX39951" fmla="*/ 5201745 w 8079933"/>
              <a:gd name="connsiteY39951" fmla="*/ 2443016 h 4687251"/>
              <a:gd name="connsiteX39952" fmla="*/ 5206845 w 8079933"/>
              <a:gd name="connsiteY39952" fmla="*/ 2442475 h 4687251"/>
              <a:gd name="connsiteX39953" fmla="*/ 5213790 w 8079933"/>
              <a:gd name="connsiteY39953" fmla="*/ 2441176 h 4687251"/>
              <a:gd name="connsiteX39954" fmla="*/ 5214984 w 8079933"/>
              <a:gd name="connsiteY39954" fmla="*/ 2439010 h 4687251"/>
              <a:gd name="connsiteX39955" fmla="*/ 5216395 w 8079933"/>
              <a:gd name="connsiteY39955" fmla="*/ 2438685 h 4687251"/>
              <a:gd name="connsiteX39956" fmla="*/ 5216069 w 8079933"/>
              <a:gd name="connsiteY39956" fmla="*/ 2434896 h 4687251"/>
              <a:gd name="connsiteX39957" fmla="*/ 5219108 w 8079933"/>
              <a:gd name="connsiteY39957" fmla="*/ 2434896 h 4687251"/>
              <a:gd name="connsiteX39958" fmla="*/ 5221061 w 8079933"/>
              <a:gd name="connsiteY39958" fmla="*/ 2433380 h 4687251"/>
              <a:gd name="connsiteX39959" fmla="*/ 5223231 w 8079933"/>
              <a:gd name="connsiteY39959" fmla="*/ 2436412 h 4687251"/>
              <a:gd name="connsiteX39960" fmla="*/ 5229416 w 8079933"/>
              <a:gd name="connsiteY39960" fmla="*/ 2430024 h 4687251"/>
              <a:gd name="connsiteX39961" fmla="*/ 5228115 w 8079933"/>
              <a:gd name="connsiteY39961" fmla="*/ 2427100 h 4687251"/>
              <a:gd name="connsiteX39962" fmla="*/ 5226162 w 8079933"/>
              <a:gd name="connsiteY39962" fmla="*/ 2426343 h 4687251"/>
              <a:gd name="connsiteX39963" fmla="*/ 5228331 w 8079933"/>
              <a:gd name="connsiteY39963" fmla="*/ 2422878 h 4687251"/>
              <a:gd name="connsiteX39964" fmla="*/ 5242113 w 8079933"/>
              <a:gd name="connsiteY39964" fmla="*/ 2411185 h 4687251"/>
              <a:gd name="connsiteX39965" fmla="*/ 5242113 w 8079933"/>
              <a:gd name="connsiteY39965" fmla="*/ 2404688 h 4687251"/>
              <a:gd name="connsiteX39966" fmla="*/ 5256871 w 8079933"/>
              <a:gd name="connsiteY39966" fmla="*/ 2395811 h 4687251"/>
              <a:gd name="connsiteX39967" fmla="*/ 5258282 w 8079933"/>
              <a:gd name="connsiteY39967" fmla="*/ 2393429 h 4687251"/>
              <a:gd name="connsiteX39968" fmla="*/ 5258282 w 8079933"/>
              <a:gd name="connsiteY39968" fmla="*/ 2389964 h 4687251"/>
              <a:gd name="connsiteX39969" fmla="*/ 5258391 w 8079933"/>
              <a:gd name="connsiteY39969" fmla="*/ 2387907 h 4687251"/>
              <a:gd name="connsiteX39970" fmla="*/ 5259150 w 8079933"/>
              <a:gd name="connsiteY39970" fmla="*/ 2385633 h 4687251"/>
              <a:gd name="connsiteX39971" fmla="*/ 5260452 w 8079933"/>
              <a:gd name="connsiteY39971" fmla="*/ 2387149 h 4687251"/>
              <a:gd name="connsiteX39972" fmla="*/ 5261646 w 8079933"/>
              <a:gd name="connsiteY39972" fmla="*/ 2385633 h 4687251"/>
              <a:gd name="connsiteX39973" fmla="*/ 5262732 w 8079933"/>
              <a:gd name="connsiteY39973" fmla="*/ 2379137 h 4687251"/>
              <a:gd name="connsiteX39974" fmla="*/ 5264793 w 8079933"/>
              <a:gd name="connsiteY39974" fmla="*/ 2379354 h 4687251"/>
              <a:gd name="connsiteX39975" fmla="*/ 5266421 w 8079933"/>
              <a:gd name="connsiteY39975" fmla="*/ 2378921 h 4687251"/>
              <a:gd name="connsiteX39976" fmla="*/ 5267506 w 8079933"/>
              <a:gd name="connsiteY39976" fmla="*/ 2380653 h 4687251"/>
              <a:gd name="connsiteX39977" fmla="*/ 5266530 w 8079933"/>
              <a:gd name="connsiteY39977" fmla="*/ 2380545 h 4687251"/>
              <a:gd name="connsiteX39978" fmla="*/ 5265553 w 8079933"/>
              <a:gd name="connsiteY39978" fmla="*/ 2381303 h 4687251"/>
              <a:gd name="connsiteX39979" fmla="*/ 5266746 w 8079933"/>
              <a:gd name="connsiteY39979" fmla="*/ 2382710 h 4687251"/>
              <a:gd name="connsiteX39980" fmla="*/ 5265770 w 8079933"/>
              <a:gd name="connsiteY39980" fmla="*/ 2385417 h 4687251"/>
              <a:gd name="connsiteX39981" fmla="*/ 5266963 w 8079933"/>
              <a:gd name="connsiteY39981" fmla="*/ 2386067 h 4687251"/>
              <a:gd name="connsiteX39982" fmla="*/ 5266313 w 8079933"/>
              <a:gd name="connsiteY39982" fmla="*/ 2392779 h 4687251"/>
              <a:gd name="connsiteX39983" fmla="*/ 5264359 w 8079933"/>
              <a:gd name="connsiteY39983" fmla="*/ 2396569 h 4687251"/>
              <a:gd name="connsiteX39984" fmla="*/ 5264142 w 8079933"/>
              <a:gd name="connsiteY39984" fmla="*/ 2399492 h 4687251"/>
              <a:gd name="connsiteX39985" fmla="*/ 5264142 w 8079933"/>
              <a:gd name="connsiteY39985" fmla="*/ 2400250 h 4687251"/>
              <a:gd name="connsiteX39986" fmla="*/ 5265335 w 8079933"/>
              <a:gd name="connsiteY39986" fmla="*/ 2401332 h 4687251"/>
              <a:gd name="connsiteX39987" fmla="*/ 5267615 w 8079933"/>
              <a:gd name="connsiteY39987" fmla="*/ 2400574 h 4687251"/>
              <a:gd name="connsiteX39988" fmla="*/ 5268265 w 8079933"/>
              <a:gd name="connsiteY39988" fmla="*/ 2403823 h 4687251"/>
              <a:gd name="connsiteX39989" fmla="*/ 5268808 w 8079933"/>
              <a:gd name="connsiteY39989" fmla="*/ 2409778 h 4687251"/>
              <a:gd name="connsiteX39990" fmla="*/ 5264142 w 8079933"/>
              <a:gd name="connsiteY39990" fmla="*/ 2410427 h 4687251"/>
              <a:gd name="connsiteX39991" fmla="*/ 5263491 w 8079933"/>
              <a:gd name="connsiteY39991" fmla="*/ 2412441 h 4687251"/>
              <a:gd name="connsiteX39992" fmla="*/ 5264143 w 8079933"/>
              <a:gd name="connsiteY39992" fmla="*/ 2410427 h 4687251"/>
              <a:gd name="connsiteX39993" fmla="*/ 5268809 w 8079933"/>
              <a:gd name="connsiteY39993" fmla="*/ 2409778 h 4687251"/>
              <a:gd name="connsiteX39994" fmla="*/ 5270111 w 8079933"/>
              <a:gd name="connsiteY39994" fmla="*/ 2424070 h 4687251"/>
              <a:gd name="connsiteX39995" fmla="*/ 5278033 w 8079933"/>
              <a:gd name="connsiteY39995" fmla="*/ 2433706 h 4687251"/>
              <a:gd name="connsiteX39996" fmla="*/ 5278793 w 8079933"/>
              <a:gd name="connsiteY39996" fmla="*/ 2437062 h 4687251"/>
              <a:gd name="connsiteX39997" fmla="*/ 5292140 w 8079933"/>
              <a:gd name="connsiteY39997" fmla="*/ 2448214 h 4687251"/>
              <a:gd name="connsiteX39998" fmla="*/ 5298109 w 8079933"/>
              <a:gd name="connsiteY39998" fmla="*/ 2449838 h 4687251"/>
              <a:gd name="connsiteX39999" fmla="*/ 5301255 w 8079933"/>
              <a:gd name="connsiteY39999" fmla="*/ 2448430 h 4687251"/>
              <a:gd name="connsiteX40000" fmla="*/ 5305705 w 8079933"/>
              <a:gd name="connsiteY40000" fmla="*/ 2448214 h 4687251"/>
              <a:gd name="connsiteX40001" fmla="*/ 5316448 w 8079933"/>
              <a:gd name="connsiteY40001" fmla="*/ 2450163 h 4687251"/>
              <a:gd name="connsiteX40002" fmla="*/ 5322308 w 8079933"/>
              <a:gd name="connsiteY40002" fmla="*/ 2448972 h 4687251"/>
              <a:gd name="connsiteX40003" fmla="*/ 5325563 w 8079933"/>
              <a:gd name="connsiteY40003" fmla="*/ 2449080 h 4687251"/>
              <a:gd name="connsiteX40004" fmla="*/ 5332291 w 8079933"/>
              <a:gd name="connsiteY40004" fmla="*/ 2457958 h 4687251"/>
              <a:gd name="connsiteX40005" fmla="*/ 5334136 w 8079933"/>
              <a:gd name="connsiteY40005" fmla="*/ 2464130 h 4687251"/>
              <a:gd name="connsiteX40006" fmla="*/ 5338260 w 8079933"/>
              <a:gd name="connsiteY40006" fmla="*/ 2467919 h 4687251"/>
              <a:gd name="connsiteX40007" fmla="*/ 5340430 w 8079933"/>
              <a:gd name="connsiteY40007" fmla="*/ 2472250 h 4687251"/>
              <a:gd name="connsiteX40008" fmla="*/ 5349329 w 8079933"/>
              <a:gd name="connsiteY40008" fmla="*/ 2479396 h 4687251"/>
              <a:gd name="connsiteX40009" fmla="*/ 5353669 w 8079933"/>
              <a:gd name="connsiteY40009" fmla="*/ 2480154 h 4687251"/>
              <a:gd name="connsiteX40010" fmla="*/ 5355189 w 8079933"/>
              <a:gd name="connsiteY40010" fmla="*/ 2481886 h 4687251"/>
              <a:gd name="connsiteX40011" fmla="*/ 5354972 w 8079933"/>
              <a:gd name="connsiteY40011" fmla="*/ 2486542 h 4687251"/>
              <a:gd name="connsiteX40012" fmla="*/ 5352041 w 8079933"/>
              <a:gd name="connsiteY40012" fmla="*/ 2491738 h 4687251"/>
              <a:gd name="connsiteX40013" fmla="*/ 5352476 w 8079933"/>
              <a:gd name="connsiteY40013" fmla="*/ 2494770 h 4687251"/>
              <a:gd name="connsiteX40014" fmla="*/ 5351608 w 8079933"/>
              <a:gd name="connsiteY40014" fmla="*/ 2498343 h 4687251"/>
              <a:gd name="connsiteX40015" fmla="*/ 5342818 w 8079933"/>
              <a:gd name="connsiteY40015" fmla="*/ 2512418 h 4687251"/>
              <a:gd name="connsiteX40016" fmla="*/ 5336957 w 8079933"/>
              <a:gd name="connsiteY40016" fmla="*/ 2517615 h 4687251"/>
              <a:gd name="connsiteX40017" fmla="*/ 5334353 w 8079933"/>
              <a:gd name="connsiteY40017" fmla="*/ 2523245 h 4687251"/>
              <a:gd name="connsiteX40018" fmla="*/ 5331532 w 8079933"/>
              <a:gd name="connsiteY40018" fmla="*/ 2525627 h 4687251"/>
              <a:gd name="connsiteX40019" fmla="*/ 5328819 w 8079933"/>
              <a:gd name="connsiteY40019" fmla="*/ 2534722 h 4687251"/>
              <a:gd name="connsiteX40020" fmla="*/ 5326106 w 8079933"/>
              <a:gd name="connsiteY40020" fmla="*/ 2534505 h 4687251"/>
              <a:gd name="connsiteX40021" fmla="*/ 5323502 w 8079933"/>
              <a:gd name="connsiteY40021" fmla="*/ 2533098 h 4687251"/>
              <a:gd name="connsiteX40022" fmla="*/ 5324044 w 8079933"/>
              <a:gd name="connsiteY40022" fmla="*/ 2530499 h 4687251"/>
              <a:gd name="connsiteX40023" fmla="*/ 5325130 w 8079933"/>
              <a:gd name="connsiteY40023" fmla="*/ 2528117 h 4687251"/>
              <a:gd name="connsiteX40024" fmla="*/ 5322959 w 8079933"/>
              <a:gd name="connsiteY40024" fmla="*/ 2527360 h 4687251"/>
              <a:gd name="connsiteX40025" fmla="*/ 5320680 w 8079933"/>
              <a:gd name="connsiteY40025" fmla="*/ 2529200 h 4687251"/>
              <a:gd name="connsiteX40026" fmla="*/ 5317751 w 8079933"/>
              <a:gd name="connsiteY40026" fmla="*/ 2534505 h 4687251"/>
              <a:gd name="connsiteX40027" fmla="*/ 5316665 w 8079933"/>
              <a:gd name="connsiteY40027" fmla="*/ 2534722 h 4687251"/>
              <a:gd name="connsiteX40028" fmla="*/ 5318401 w 8079933"/>
              <a:gd name="connsiteY40028" fmla="*/ 2537754 h 4687251"/>
              <a:gd name="connsiteX40029" fmla="*/ 5315580 w 8079933"/>
              <a:gd name="connsiteY40029" fmla="*/ 2538511 h 4687251"/>
              <a:gd name="connsiteX40030" fmla="*/ 5311565 w 8079933"/>
              <a:gd name="connsiteY40030" fmla="*/ 2546199 h 4687251"/>
              <a:gd name="connsiteX40031" fmla="*/ 5311565 w 8079933"/>
              <a:gd name="connsiteY40031" fmla="*/ 2550313 h 4687251"/>
              <a:gd name="connsiteX40032" fmla="*/ 5310046 w 8079933"/>
              <a:gd name="connsiteY40032" fmla="*/ 2554102 h 4687251"/>
              <a:gd name="connsiteX40033" fmla="*/ 5311022 w 8079933"/>
              <a:gd name="connsiteY40033" fmla="*/ 2554427 h 4687251"/>
              <a:gd name="connsiteX40034" fmla="*/ 5313301 w 8079933"/>
              <a:gd name="connsiteY40034" fmla="*/ 2558758 h 4687251"/>
              <a:gd name="connsiteX40035" fmla="*/ 5311890 w 8079933"/>
              <a:gd name="connsiteY40035" fmla="*/ 2558974 h 4687251"/>
              <a:gd name="connsiteX40036" fmla="*/ 5314929 w 8079933"/>
              <a:gd name="connsiteY40036" fmla="*/ 2567528 h 4687251"/>
              <a:gd name="connsiteX40037" fmla="*/ 5316882 w 8079933"/>
              <a:gd name="connsiteY40037" fmla="*/ 2569368 h 4687251"/>
              <a:gd name="connsiteX40038" fmla="*/ 5316014 w 8079933"/>
              <a:gd name="connsiteY40038" fmla="*/ 2571750 h 4687251"/>
              <a:gd name="connsiteX40039" fmla="*/ 5304077 w 8079933"/>
              <a:gd name="connsiteY40039" fmla="*/ 2572725 h 4687251"/>
              <a:gd name="connsiteX40040" fmla="*/ 5301581 w 8079933"/>
              <a:gd name="connsiteY40040" fmla="*/ 2574349 h 4687251"/>
              <a:gd name="connsiteX40041" fmla="*/ 5298326 w 8079933"/>
              <a:gd name="connsiteY40041" fmla="*/ 2572833 h 4687251"/>
              <a:gd name="connsiteX40042" fmla="*/ 5292900 w 8079933"/>
              <a:gd name="connsiteY40042" fmla="*/ 2574241 h 4687251"/>
              <a:gd name="connsiteX40043" fmla="*/ 5284110 w 8079933"/>
              <a:gd name="connsiteY40043" fmla="*/ 2584851 h 4687251"/>
              <a:gd name="connsiteX40044" fmla="*/ 5284110 w 8079933"/>
              <a:gd name="connsiteY40044" fmla="*/ 2592214 h 4687251"/>
              <a:gd name="connsiteX40045" fmla="*/ 5281940 w 8079933"/>
              <a:gd name="connsiteY40045" fmla="*/ 2594163 h 4687251"/>
              <a:gd name="connsiteX40046" fmla="*/ 5277490 w 8079933"/>
              <a:gd name="connsiteY40046" fmla="*/ 2598818 h 4687251"/>
              <a:gd name="connsiteX40047" fmla="*/ 5274561 w 8079933"/>
              <a:gd name="connsiteY40047" fmla="*/ 2597627 h 4687251"/>
              <a:gd name="connsiteX40048" fmla="*/ 5268592 w 8079933"/>
              <a:gd name="connsiteY40048" fmla="*/ 2598602 h 4687251"/>
              <a:gd name="connsiteX40049" fmla="*/ 5260345 w 8079933"/>
              <a:gd name="connsiteY40049" fmla="*/ 2598385 h 4687251"/>
              <a:gd name="connsiteX40050" fmla="*/ 5258174 w 8079933"/>
              <a:gd name="connsiteY40050" fmla="*/ 2600659 h 4687251"/>
              <a:gd name="connsiteX40051" fmla="*/ 5254811 w 8079933"/>
              <a:gd name="connsiteY40051" fmla="*/ 2604015 h 4687251"/>
              <a:gd name="connsiteX40052" fmla="*/ 5255461 w 8079933"/>
              <a:gd name="connsiteY40052" fmla="*/ 2606289 h 4687251"/>
              <a:gd name="connsiteX40053" fmla="*/ 5255028 w 8079933"/>
              <a:gd name="connsiteY40053" fmla="*/ 2609320 h 4687251"/>
              <a:gd name="connsiteX40054" fmla="*/ 5257306 w 8079933"/>
              <a:gd name="connsiteY40054" fmla="*/ 2610512 h 4687251"/>
              <a:gd name="connsiteX40055" fmla="*/ 5256981 w 8079933"/>
              <a:gd name="connsiteY40055" fmla="*/ 2613326 h 4687251"/>
              <a:gd name="connsiteX40056" fmla="*/ 5255787 w 8079933"/>
              <a:gd name="connsiteY40056" fmla="*/ 2613651 h 4687251"/>
              <a:gd name="connsiteX40057" fmla="*/ 5256112 w 8079933"/>
              <a:gd name="connsiteY40057" fmla="*/ 2614626 h 4687251"/>
              <a:gd name="connsiteX40058" fmla="*/ 5250361 w 8079933"/>
              <a:gd name="connsiteY40058" fmla="*/ 2623179 h 4687251"/>
              <a:gd name="connsiteX40059" fmla="*/ 5247431 w 8079933"/>
              <a:gd name="connsiteY40059" fmla="*/ 2623395 h 4687251"/>
              <a:gd name="connsiteX40060" fmla="*/ 5243633 w 8079933"/>
              <a:gd name="connsiteY40060" fmla="*/ 2621122 h 4687251"/>
              <a:gd name="connsiteX40061" fmla="*/ 5239618 w 8079933"/>
              <a:gd name="connsiteY40061" fmla="*/ 2621879 h 4687251"/>
              <a:gd name="connsiteX40062" fmla="*/ 5234843 w 8079933"/>
              <a:gd name="connsiteY40062" fmla="*/ 2621555 h 4687251"/>
              <a:gd name="connsiteX40063" fmla="*/ 5226379 w 8079933"/>
              <a:gd name="connsiteY40063" fmla="*/ 2626102 h 4687251"/>
              <a:gd name="connsiteX40064" fmla="*/ 5221062 w 8079933"/>
              <a:gd name="connsiteY40064" fmla="*/ 2625994 h 4687251"/>
              <a:gd name="connsiteX40065" fmla="*/ 5218023 w 8079933"/>
              <a:gd name="connsiteY40065" fmla="*/ 2630975 h 4687251"/>
              <a:gd name="connsiteX40066" fmla="*/ 5213357 w 8079933"/>
              <a:gd name="connsiteY40066" fmla="*/ 2630975 h 4687251"/>
              <a:gd name="connsiteX40067" fmla="*/ 5212055 w 8079933"/>
              <a:gd name="connsiteY40067" fmla="*/ 2630108 h 4687251"/>
              <a:gd name="connsiteX40068" fmla="*/ 5208799 w 8079933"/>
              <a:gd name="connsiteY40068" fmla="*/ 2630866 h 4687251"/>
              <a:gd name="connsiteX40069" fmla="*/ 5203482 w 8079933"/>
              <a:gd name="connsiteY40069" fmla="*/ 2632273 h 4687251"/>
              <a:gd name="connsiteX40070" fmla="*/ 5194367 w 8079933"/>
              <a:gd name="connsiteY40070" fmla="*/ 2634222 h 4687251"/>
              <a:gd name="connsiteX40071" fmla="*/ 5186228 w 8079933"/>
              <a:gd name="connsiteY40071" fmla="*/ 2644183 h 4687251"/>
              <a:gd name="connsiteX40072" fmla="*/ 5185468 w 8079933"/>
              <a:gd name="connsiteY40072" fmla="*/ 2650138 h 4687251"/>
              <a:gd name="connsiteX40073" fmla="*/ 5187422 w 8079933"/>
              <a:gd name="connsiteY40073" fmla="*/ 2652087 h 4687251"/>
              <a:gd name="connsiteX40074" fmla="*/ 5186662 w 8079933"/>
              <a:gd name="connsiteY40074" fmla="*/ 2653495 h 4687251"/>
              <a:gd name="connsiteX40075" fmla="*/ 5187638 w 8079933"/>
              <a:gd name="connsiteY40075" fmla="*/ 2656201 h 4687251"/>
              <a:gd name="connsiteX40076" fmla="*/ 5177329 w 8079933"/>
              <a:gd name="connsiteY40076" fmla="*/ 2658367 h 4687251"/>
              <a:gd name="connsiteX40077" fmla="*/ 5172663 w 8079933"/>
              <a:gd name="connsiteY40077" fmla="*/ 2662806 h 4687251"/>
              <a:gd name="connsiteX40078" fmla="*/ 5163222 w 8079933"/>
              <a:gd name="connsiteY40078" fmla="*/ 2667461 h 4687251"/>
              <a:gd name="connsiteX40079" fmla="*/ 5148355 w 8079933"/>
              <a:gd name="connsiteY40079" fmla="*/ 2670168 h 4687251"/>
              <a:gd name="connsiteX40080" fmla="*/ 5146077 w 8079933"/>
              <a:gd name="connsiteY40080" fmla="*/ 2672658 h 4687251"/>
              <a:gd name="connsiteX40081" fmla="*/ 5119707 w 8079933"/>
              <a:gd name="connsiteY40081" fmla="*/ 2680454 h 4687251"/>
              <a:gd name="connsiteX40082" fmla="*/ 5117102 w 8079933"/>
              <a:gd name="connsiteY40082" fmla="*/ 2680129 h 4687251"/>
              <a:gd name="connsiteX40083" fmla="*/ 5112653 w 8079933"/>
              <a:gd name="connsiteY40083" fmla="*/ 2682403 h 4687251"/>
              <a:gd name="connsiteX40084" fmla="*/ 5107770 w 8079933"/>
              <a:gd name="connsiteY40084" fmla="*/ 2690415 h 4687251"/>
              <a:gd name="connsiteX40085" fmla="*/ 5100825 w 8079933"/>
              <a:gd name="connsiteY40085" fmla="*/ 2696262 h 4687251"/>
              <a:gd name="connsiteX40086" fmla="*/ 5097461 w 8079933"/>
              <a:gd name="connsiteY40086" fmla="*/ 2696262 h 4687251"/>
              <a:gd name="connsiteX40087" fmla="*/ 5096050 w 8079933"/>
              <a:gd name="connsiteY40087" fmla="*/ 2694854 h 4687251"/>
              <a:gd name="connsiteX40088" fmla="*/ 5093771 w 8079933"/>
              <a:gd name="connsiteY40088" fmla="*/ 2697019 h 4687251"/>
              <a:gd name="connsiteX40089" fmla="*/ 5090298 w 8079933"/>
              <a:gd name="connsiteY40089" fmla="*/ 2697669 h 4687251"/>
              <a:gd name="connsiteX40090" fmla="*/ 5087369 w 8079933"/>
              <a:gd name="connsiteY40090" fmla="*/ 2695395 h 4687251"/>
              <a:gd name="connsiteX40091" fmla="*/ 5083679 w 8079933"/>
              <a:gd name="connsiteY40091" fmla="*/ 2695287 h 4687251"/>
              <a:gd name="connsiteX40092" fmla="*/ 5075106 w 8079933"/>
              <a:gd name="connsiteY40092" fmla="*/ 2701891 h 4687251"/>
              <a:gd name="connsiteX40093" fmla="*/ 5074564 w 8079933"/>
              <a:gd name="connsiteY40093" fmla="*/ 2704815 h 4687251"/>
              <a:gd name="connsiteX40094" fmla="*/ 5071525 w 8079933"/>
              <a:gd name="connsiteY40094" fmla="*/ 2707305 h 4687251"/>
              <a:gd name="connsiteX40095" fmla="*/ 5062519 w 8079933"/>
              <a:gd name="connsiteY40095" fmla="*/ 2708172 h 4687251"/>
              <a:gd name="connsiteX40096" fmla="*/ 5051233 w 8079933"/>
              <a:gd name="connsiteY40096" fmla="*/ 2712502 h 4687251"/>
              <a:gd name="connsiteX40097" fmla="*/ 5046567 w 8079933"/>
              <a:gd name="connsiteY40097" fmla="*/ 2711527 h 4687251"/>
              <a:gd name="connsiteX40098" fmla="*/ 5045156 w 8079933"/>
              <a:gd name="connsiteY40098" fmla="*/ 2709687 h 4687251"/>
              <a:gd name="connsiteX40099" fmla="*/ 5038211 w 8079933"/>
              <a:gd name="connsiteY40099" fmla="*/ 2710011 h 4687251"/>
              <a:gd name="connsiteX40100" fmla="*/ 5037343 w 8079933"/>
              <a:gd name="connsiteY40100" fmla="*/ 2708604 h 4687251"/>
              <a:gd name="connsiteX40101" fmla="*/ 5033545 w 8079933"/>
              <a:gd name="connsiteY40101" fmla="*/ 2708388 h 4687251"/>
              <a:gd name="connsiteX40102" fmla="*/ 5030506 w 8079933"/>
              <a:gd name="connsiteY40102" fmla="*/ 2709362 h 4687251"/>
              <a:gd name="connsiteX40103" fmla="*/ 5024429 w 8079933"/>
              <a:gd name="connsiteY40103" fmla="*/ 2713152 h 4687251"/>
              <a:gd name="connsiteX40104" fmla="*/ 5021824 w 8079933"/>
              <a:gd name="connsiteY40104" fmla="*/ 2719431 h 4687251"/>
              <a:gd name="connsiteX40105" fmla="*/ 5019437 w 8079933"/>
              <a:gd name="connsiteY40105" fmla="*/ 2719756 h 4687251"/>
              <a:gd name="connsiteX40106" fmla="*/ 5014880 w 8079933"/>
              <a:gd name="connsiteY40106" fmla="*/ 2726036 h 4687251"/>
              <a:gd name="connsiteX40107" fmla="*/ 5010430 w 8079933"/>
              <a:gd name="connsiteY40107" fmla="*/ 2727876 h 4687251"/>
              <a:gd name="connsiteX40108" fmla="*/ 5007826 w 8079933"/>
              <a:gd name="connsiteY40108" fmla="*/ 2725386 h 4687251"/>
              <a:gd name="connsiteX40109" fmla="*/ 5003160 w 8079933"/>
              <a:gd name="connsiteY40109" fmla="*/ 2725386 h 4687251"/>
              <a:gd name="connsiteX40110" fmla="*/ 4998277 w 8079933"/>
              <a:gd name="connsiteY40110" fmla="*/ 2729501 h 4687251"/>
              <a:gd name="connsiteX40111" fmla="*/ 4994262 w 8079933"/>
              <a:gd name="connsiteY40111" fmla="*/ 2730475 h 4687251"/>
              <a:gd name="connsiteX40112" fmla="*/ 4987642 w 8079933"/>
              <a:gd name="connsiteY40112" fmla="*/ 2728309 h 4687251"/>
              <a:gd name="connsiteX40113" fmla="*/ 4986340 w 8079933"/>
              <a:gd name="connsiteY40113" fmla="*/ 2729825 h 4687251"/>
              <a:gd name="connsiteX40114" fmla="*/ 4981456 w 8079933"/>
              <a:gd name="connsiteY40114" fmla="*/ 2730583 h 4687251"/>
              <a:gd name="connsiteX40115" fmla="*/ 4979503 w 8079933"/>
              <a:gd name="connsiteY40115" fmla="*/ 2726578 h 4687251"/>
              <a:gd name="connsiteX40116" fmla="*/ 4978526 w 8079933"/>
              <a:gd name="connsiteY40116" fmla="*/ 2720623 h 4687251"/>
              <a:gd name="connsiteX40117" fmla="*/ 4973535 w 8079933"/>
              <a:gd name="connsiteY40117" fmla="*/ 2715209 h 4687251"/>
              <a:gd name="connsiteX40118" fmla="*/ 4970930 w 8079933"/>
              <a:gd name="connsiteY40118" fmla="*/ 2708821 h 4687251"/>
              <a:gd name="connsiteX40119" fmla="*/ 4973535 w 8079933"/>
              <a:gd name="connsiteY40119" fmla="*/ 2707088 h 4687251"/>
              <a:gd name="connsiteX40120" fmla="*/ 4973100 w 8079933"/>
              <a:gd name="connsiteY40120" fmla="*/ 2700484 h 4687251"/>
              <a:gd name="connsiteX40121" fmla="*/ 4966915 w 8079933"/>
              <a:gd name="connsiteY40121" fmla="*/ 2694854 h 4687251"/>
              <a:gd name="connsiteX40122" fmla="*/ 4963877 w 8079933"/>
              <a:gd name="connsiteY40122" fmla="*/ 2672658 h 4687251"/>
              <a:gd name="connsiteX40123" fmla="*/ 4958125 w 8079933"/>
              <a:gd name="connsiteY40123" fmla="*/ 2665296 h 4687251"/>
              <a:gd name="connsiteX40124" fmla="*/ 4957908 w 8079933"/>
              <a:gd name="connsiteY40124" fmla="*/ 2661723 h 4687251"/>
              <a:gd name="connsiteX40125" fmla="*/ 4955412 w 8079933"/>
              <a:gd name="connsiteY40125" fmla="*/ 2661723 h 4687251"/>
              <a:gd name="connsiteX40126" fmla="*/ 4953785 w 8079933"/>
              <a:gd name="connsiteY40126" fmla="*/ 2658258 h 4687251"/>
              <a:gd name="connsiteX40127" fmla="*/ 4957583 w 8079933"/>
              <a:gd name="connsiteY40127" fmla="*/ 2659341 h 4687251"/>
              <a:gd name="connsiteX40128" fmla="*/ 4957583 w 8079933"/>
              <a:gd name="connsiteY40128" fmla="*/ 2656742 h 4687251"/>
              <a:gd name="connsiteX40129" fmla="*/ 4960296 w 8079933"/>
              <a:gd name="connsiteY40129" fmla="*/ 2656742 h 4687251"/>
              <a:gd name="connsiteX40130" fmla="*/ 4960621 w 8079933"/>
              <a:gd name="connsiteY40130" fmla="*/ 2649597 h 4687251"/>
              <a:gd name="connsiteX40131" fmla="*/ 4958451 w 8079933"/>
              <a:gd name="connsiteY40131" fmla="*/ 2637471 h 4687251"/>
              <a:gd name="connsiteX40132" fmla="*/ 4956932 w 8079933"/>
              <a:gd name="connsiteY40132" fmla="*/ 2633140 h 4687251"/>
              <a:gd name="connsiteX40133" fmla="*/ 4960646 w 8079933"/>
              <a:gd name="connsiteY40133" fmla="*/ 2633425 h 4687251"/>
              <a:gd name="connsiteX40134" fmla="*/ 4956932 w 8079933"/>
              <a:gd name="connsiteY40134" fmla="*/ 2633140 h 4687251"/>
              <a:gd name="connsiteX40135" fmla="*/ 4952699 w 8079933"/>
              <a:gd name="connsiteY40135" fmla="*/ 2620905 h 4687251"/>
              <a:gd name="connsiteX40136" fmla="*/ 4945103 w 8079933"/>
              <a:gd name="connsiteY40136" fmla="*/ 2618740 h 4687251"/>
              <a:gd name="connsiteX40137" fmla="*/ 4943475 w 8079933"/>
              <a:gd name="connsiteY40137" fmla="*/ 2608454 h 4687251"/>
              <a:gd name="connsiteX40138" fmla="*/ 4940762 w 8079933"/>
              <a:gd name="connsiteY40138" fmla="*/ 2608454 h 4687251"/>
              <a:gd name="connsiteX40139" fmla="*/ 4922640 w 8079933"/>
              <a:gd name="connsiteY40139" fmla="*/ 2590265 h 4687251"/>
              <a:gd name="connsiteX40140" fmla="*/ 4922315 w 8079933"/>
              <a:gd name="connsiteY40140" fmla="*/ 2584093 h 4687251"/>
              <a:gd name="connsiteX40141" fmla="*/ 4917215 w 8079933"/>
              <a:gd name="connsiteY40141" fmla="*/ 2581061 h 4687251"/>
              <a:gd name="connsiteX40142" fmla="*/ 4911680 w 8079933"/>
              <a:gd name="connsiteY40142" fmla="*/ 2560490 h 4687251"/>
              <a:gd name="connsiteX40143" fmla="*/ 4908533 w 8079933"/>
              <a:gd name="connsiteY40143" fmla="*/ 2559191 h 4687251"/>
              <a:gd name="connsiteX40144" fmla="*/ 4909292 w 8079933"/>
              <a:gd name="connsiteY40144" fmla="*/ 2555726 h 4687251"/>
              <a:gd name="connsiteX40145" fmla="*/ 4903324 w 8079933"/>
              <a:gd name="connsiteY40145" fmla="*/ 2554643 h 4687251"/>
              <a:gd name="connsiteX40146" fmla="*/ 4903107 w 8079933"/>
              <a:gd name="connsiteY40146" fmla="*/ 2551071 h 4687251"/>
              <a:gd name="connsiteX40147" fmla="*/ 4896053 w 8079933"/>
              <a:gd name="connsiteY40147" fmla="*/ 2545116 h 4687251"/>
              <a:gd name="connsiteX40148" fmla="*/ 4893775 w 8079933"/>
              <a:gd name="connsiteY40148" fmla="*/ 2545116 h 4687251"/>
              <a:gd name="connsiteX40149" fmla="*/ 4890519 w 8079933"/>
              <a:gd name="connsiteY40149" fmla="*/ 2540461 h 4687251"/>
              <a:gd name="connsiteX40150" fmla="*/ 4885636 w 8079933"/>
              <a:gd name="connsiteY40150" fmla="*/ 2540027 h 4687251"/>
              <a:gd name="connsiteX40151" fmla="*/ 4881621 w 8079933"/>
              <a:gd name="connsiteY40151" fmla="*/ 2538295 h 4687251"/>
              <a:gd name="connsiteX40152" fmla="*/ 4869467 w 8079933"/>
              <a:gd name="connsiteY40152" fmla="*/ 2525411 h 4687251"/>
              <a:gd name="connsiteX40153" fmla="*/ 4868707 w 8079933"/>
              <a:gd name="connsiteY40153" fmla="*/ 2522055 h 4687251"/>
              <a:gd name="connsiteX40154" fmla="*/ 4864367 w 8079933"/>
              <a:gd name="connsiteY40154" fmla="*/ 2518265 h 4687251"/>
              <a:gd name="connsiteX40155" fmla="*/ 4863390 w 8079933"/>
              <a:gd name="connsiteY40155" fmla="*/ 2509170 h 4687251"/>
              <a:gd name="connsiteX40156" fmla="*/ 4861003 w 8079933"/>
              <a:gd name="connsiteY40156" fmla="*/ 2500508 h 4687251"/>
              <a:gd name="connsiteX40157" fmla="*/ 4859267 w 8079933"/>
              <a:gd name="connsiteY40157" fmla="*/ 2496719 h 4687251"/>
              <a:gd name="connsiteX40158" fmla="*/ 4861003 w 8079933"/>
              <a:gd name="connsiteY40158" fmla="*/ 2495095 h 4687251"/>
              <a:gd name="connsiteX40159" fmla="*/ 4862848 w 8079933"/>
              <a:gd name="connsiteY40159" fmla="*/ 2487299 h 4687251"/>
              <a:gd name="connsiteX40160" fmla="*/ 4861437 w 8079933"/>
              <a:gd name="connsiteY40160" fmla="*/ 2484701 h 4687251"/>
              <a:gd name="connsiteX40161" fmla="*/ 4859918 w 8079933"/>
              <a:gd name="connsiteY40161" fmla="*/ 2476364 h 4687251"/>
              <a:gd name="connsiteX40162" fmla="*/ 4855252 w 8079933"/>
              <a:gd name="connsiteY40162" fmla="*/ 2472250 h 4687251"/>
              <a:gd name="connsiteX40163" fmla="*/ 4853190 w 8079933"/>
              <a:gd name="connsiteY40163" fmla="*/ 2464130 h 4687251"/>
              <a:gd name="connsiteX40164" fmla="*/ 4850910 w 8079933"/>
              <a:gd name="connsiteY40164" fmla="*/ 2462072 h 4687251"/>
              <a:gd name="connsiteX40165" fmla="*/ 4850151 w 8079933"/>
              <a:gd name="connsiteY40165" fmla="*/ 2456117 h 4687251"/>
              <a:gd name="connsiteX40166" fmla="*/ 4848306 w 8079933"/>
              <a:gd name="connsiteY40166" fmla="*/ 2455793 h 4687251"/>
              <a:gd name="connsiteX40167" fmla="*/ 4846570 w 8079933"/>
              <a:gd name="connsiteY40167" fmla="*/ 2450595 h 4687251"/>
              <a:gd name="connsiteX40168" fmla="*/ 4840602 w 8079933"/>
              <a:gd name="connsiteY40168" fmla="*/ 2444424 h 4687251"/>
              <a:gd name="connsiteX40169" fmla="*/ 4833005 w 8079933"/>
              <a:gd name="connsiteY40169" fmla="*/ 2440960 h 4687251"/>
              <a:gd name="connsiteX40170" fmla="*/ 4827905 w 8079933"/>
              <a:gd name="connsiteY40170" fmla="*/ 2436846 h 4687251"/>
              <a:gd name="connsiteX40171" fmla="*/ 4824324 w 8079933"/>
              <a:gd name="connsiteY40171" fmla="*/ 2440418 h 4687251"/>
              <a:gd name="connsiteX40172" fmla="*/ 4821069 w 8079933"/>
              <a:gd name="connsiteY40172" fmla="*/ 2438469 h 4687251"/>
              <a:gd name="connsiteX40173" fmla="*/ 4820851 w 8079933"/>
              <a:gd name="connsiteY40173" fmla="*/ 2434464 h 4687251"/>
              <a:gd name="connsiteX40174" fmla="*/ 4815752 w 8079933"/>
              <a:gd name="connsiteY40174" fmla="*/ 2430891 h 4687251"/>
              <a:gd name="connsiteX40175" fmla="*/ 4815752 w 8079933"/>
              <a:gd name="connsiteY40175" fmla="*/ 2427426 h 4687251"/>
              <a:gd name="connsiteX40176" fmla="*/ 4817271 w 8079933"/>
              <a:gd name="connsiteY40176" fmla="*/ 2424394 h 4687251"/>
              <a:gd name="connsiteX40177" fmla="*/ 4815752 w 8079933"/>
              <a:gd name="connsiteY40177" fmla="*/ 2417140 h 4687251"/>
              <a:gd name="connsiteX40178" fmla="*/ 4812387 w 8079933"/>
              <a:gd name="connsiteY40178" fmla="*/ 2414867 h 4687251"/>
              <a:gd name="connsiteX40179" fmla="*/ 4808047 w 8079933"/>
              <a:gd name="connsiteY40179" fmla="*/ 2403498 h 4687251"/>
              <a:gd name="connsiteX40180" fmla="*/ 4802621 w 8079933"/>
              <a:gd name="connsiteY40180" fmla="*/ 2401116 h 4687251"/>
              <a:gd name="connsiteX40181" fmla="*/ 4800233 w 8079933"/>
              <a:gd name="connsiteY40181" fmla="*/ 2397868 h 4687251"/>
              <a:gd name="connsiteX40182" fmla="*/ 4799148 w 8079933"/>
              <a:gd name="connsiteY40182" fmla="*/ 2391913 h 4687251"/>
              <a:gd name="connsiteX40183" fmla="*/ 4795350 w 8079933"/>
              <a:gd name="connsiteY40183" fmla="*/ 2391155 h 4687251"/>
              <a:gd name="connsiteX40184" fmla="*/ 4793506 w 8079933"/>
              <a:gd name="connsiteY40184" fmla="*/ 2387041 h 4687251"/>
              <a:gd name="connsiteX40185" fmla="*/ 4793397 w 8079933"/>
              <a:gd name="connsiteY40185" fmla="*/ 2383251 h 4687251"/>
              <a:gd name="connsiteX40186" fmla="*/ 4786452 w 8079933"/>
              <a:gd name="connsiteY40186" fmla="*/ 2371450 h 4687251"/>
              <a:gd name="connsiteX40187" fmla="*/ 4783956 w 8079933"/>
              <a:gd name="connsiteY40187" fmla="*/ 2371341 h 4687251"/>
              <a:gd name="connsiteX40188" fmla="*/ 4778747 w 8079933"/>
              <a:gd name="connsiteY40188" fmla="*/ 2366686 h 4687251"/>
              <a:gd name="connsiteX40189" fmla="*/ 4777771 w 8079933"/>
              <a:gd name="connsiteY40189" fmla="*/ 2361706 h 4687251"/>
              <a:gd name="connsiteX40190" fmla="*/ 4775492 w 8079933"/>
              <a:gd name="connsiteY40190" fmla="*/ 2360731 h 4687251"/>
              <a:gd name="connsiteX40191" fmla="*/ 4774407 w 8079933"/>
              <a:gd name="connsiteY40191" fmla="*/ 2355643 h 4687251"/>
              <a:gd name="connsiteX40192" fmla="*/ 4763881 w 8079933"/>
              <a:gd name="connsiteY40192" fmla="*/ 2343949 h 4687251"/>
              <a:gd name="connsiteX40193" fmla="*/ 4765291 w 8079933"/>
              <a:gd name="connsiteY40193" fmla="*/ 2342975 h 4687251"/>
              <a:gd name="connsiteX40194" fmla="*/ 4759865 w 8079933"/>
              <a:gd name="connsiteY40194" fmla="*/ 2339943 h 4687251"/>
              <a:gd name="connsiteX40195" fmla="*/ 4756827 w 8079933"/>
              <a:gd name="connsiteY40195" fmla="*/ 2342109 h 4687251"/>
              <a:gd name="connsiteX40196" fmla="*/ 4755742 w 8079933"/>
              <a:gd name="connsiteY40196" fmla="*/ 2340268 h 4687251"/>
              <a:gd name="connsiteX40197" fmla="*/ 4752269 w 8079933"/>
              <a:gd name="connsiteY40197" fmla="*/ 2341567 h 4687251"/>
              <a:gd name="connsiteX40198" fmla="*/ 4751727 w 8079933"/>
              <a:gd name="connsiteY40198" fmla="*/ 2338968 h 4687251"/>
              <a:gd name="connsiteX40199" fmla="*/ 4754331 w 8079933"/>
              <a:gd name="connsiteY40199" fmla="*/ 2332148 h 4687251"/>
              <a:gd name="connsiteX40200" fmla="*/ 4753897 w 8079933"/>
              <a:gd name="connsiteY40200" fmla="*/ 2322078 h 4687251"/>
              <a:gd name="connsiteX40201" fmla="*/ 4754549 w 8079933"/>
              <a:gd name="connsiteY40201" fmla="*/ 2313309 h 4687251"/>
              <a:gd name="connsiteX40202" fmla="*/ 4762035 w 8079933"/>
              <a:gd name="connsiteY40202" fmla="*/ 2312984 h 4687251"/>
              <a:gd name="connsiteX40203" fmla="*/ 4754548 w 8079933"/>
              <a:gd name="connsiteY40203" fmla="*/ 2313309 h 4687251"/>
              <a:gd name="connsiteX40204" fmla="*/ 4754656 w 8079933"/>
              <a:gd name="connsiteY40204" fmla="*/ 2312335 h 4687251"/>
              <a:gd name="connsiteX40205" fmla="*/ 4756718 w 8079933"/>
              <a:gd name="connsiteY40205" fmla="*/ 2306380 h 4687251"/>
              <a:gd name="connsiteX40206" fmla="*/ 4756501 w 8079933"/>
              <a:gd name="connsiteY40206" fmla="*/ 2304106 h 4687251"/>
              <a:gd name="connsiteX40207" fmla="*/ 4756393 w 8079933"/>
              <a:gd name="connsiteY40207" fmla="*/ 2304323 h 4687251"/>
              <a:gd name="connsiteX40208" fmla="*/ 4756501 w 8079933"/>
              <a:gd name="connsiteY40208" fmla="*/ 2303673 h 4687251"/>
              <a:gd name="connsiteX40209" fmla="*/ 4756501 w 8079933"/>
              <a:gd name="connsiteY40209" fmla="*/ 2303673 h 4687251"/>
              <a:gd name="connsiteX40210" fmla="*/ 4756392 w 8079933"/>
              <a:gd name="connsiteY40210" fmla="*/ 2304323 h 4687251"/>
              <a:gd name="connsiteX40211" fmla="*/ 4753570 w 8079933"/>
              <a:gd name="connsiteY40211" fmla="*/ 2308762 h 4687251"/>
              <a:gd name="connsiteX40212" fmla="*/ 4753570 w 8079933"/>
              <a:gd name="connsiteY40212" fmla="*/ 2308761 h 4687251"/>
              <a:gd name="connsiteX40213" fmla="*/ 4752702 w 8079933"/>
              <a:gd name="connsiteY40213" fmla="*/ 2310169 h 4687251"/>
              <a:gd name="connsiteX40214" fmla="*/ 4749013 w 8079933"/>
              <a:gd name="connsiteY40214" fmla="*/ 2323378 h 4687251"/>
              <a:gd name="connsiteX40215" fmla="*/ 4748470 w 8079933"/>
              <a:gd name="connsiteY40215" fmla="*/ 2328359 h 4687251"/>
              <a:gd name="connsiteX40216" fmla="*/ 4745649 w 8079933"/>
              <a:gd name="connsiteY40216" fmla="*/ 2335612 h 4687251"/>
              <a:gd name="connsiteX40217" fmla="*/ 4747819 w 8079933"/>
              <a:gd name="connsiteY40217" fmla="*/ 2337778 h 4687251"/>
              <a:gd name="connsiteX40218" fmla="*/ 4745974 w 8079933"/>
              <a:gd name="connsiteY40218" fmla="*/ 2346223 h 4687251"/>
              <a:gd name="connsiteX40219" fmla="*/ 4742719 w 8079933"/>
              <a:gd name="connsiteY40219" fmla="*/ 2349363 h 4687251"/>
              <a:gd name="connsiteX40220" fmla="*/ 4741851 w 8079933"/>
              <a:gd name="connsiteY40220" fmla="*/ 2352178 h 4687251"/>
              <a:gd name="connsiteX40221" fmla="*/ 4741091 w 8079933"/>
              <a:gd name="connsiteY40221" fmla="*/ 2350771 h 4687251"/>
              <a:gd name="connsiteX40222" fmla="*/ 4734797 w 8079933"/>
              <a:gd name="connsiteY40222" fmla="*/ 2347306 h 4687251"/>
              <a:gd name="connsiteX40223" fmla="*/ 4723403 w 8079933"/>
              <a:gd name="connsiteY40223" fmla="*/ 2335288 h 4687251"/>
              <a:gd name="connsiteX40224" fmla="*/ 4721884 w 8079933"/>
              <a:gd name="connsiteY40224" fmla="*/ 2330740 h 4687251"/>
              <a:gd name="connsiteX40225" fmla="*/ 4715590 w 8079933"/>
              <a:gd name="connsiteY40225" fmla="*/ 2327817 h 4687251"/>
              <a:gd name="connsiteX40226" fmla="*/ 4713202 w 8079933"/>
              <a:gd name="connsiteY40226" fmla="*/ 2323161 h 4687251"/>
              <a:gd name="connsiteX40227" fmla="*/ 4713202 w 8079933"/>
              <a:gd name="connsiteY40227" fmla="*/ 2318506 h 4687251"/>
              <a:gd name="connsiteX40228" fmla="*/ 4703979 w 8079933"/>
              <a:gd name="connsiteY40228" fmla="*/ 2310710 h 4687251"/>
              <a:gd name="connsiteX40229" fmla="*/ 4703436 w 8079933"/>
              <a:gd name="connsiteY40229" fmla="*/ 2307679 h 4687251"/>
              <a:gd name="connsiteX40230" fmla="*/ 4701266 w 8079933"/>
              <a:gd name="connsiteY40230" fmla="*/ 2305080 h 4687251"/>
              <a:gd name="connsiteX40231" fmla="*/ 4699638 w 8079933"/>
              <a:gd name="connsiteY40231" fmla="*/ 2299017 h 4687251"/>
              <a:gd name="connsiteX40232" fmla="*/ 4697359 w 8079933"/>
              <a:gd name="connsiteY40232" fmla="*/ 2299017 h 4687251"/>
              <a:gd name="connsiteX40233" fmla="*/ 4696382 w 8079933"/>
              <a:gd name="connsiteY40233" fmla="*/ 2297502 h 4687251"/>
              <a:gd name="connsiteX40234" fmla="*/ 4695406 w 8079933"/>
              <a:gd name="connsiteY40234" fmla="*/ 2299125 h 4687251"/>
              <a:gd name="connsiteX40235" fmla="*/ 4695732 w 8079933"/>
              <a:gd name="connsiteY40235" fmla="*/ 2302373 h 4687251"/>
              <a:gd name="connsiteX40236" fmla="*/ 4695189 w 8079933"/>
              <a:gd name="connsiteY40236" fmla="*/ 2305622 h 4687251"/>
              <a:gd name="connsiteX40237" fmla="*/ 4700180 w 8079933"/>
              <a:gd name="connsiteY40237" fmla="*/ 2312118 h 4687251"/>
              <a:gd name="connsiteX40238" fmla="*/ 4700180 w 8079933"/>
              <a:gd name="connsiteY40238" fmla="*/ 2317531 h 4687251"/>
              <a:gd name="connsiteX40239" fmla="*/ 4709079 w 8079933"/>
              <a:gd name="connsiteY40239" fmla="*/ 2328034 h 4687251"/>
              <a:gd name="connsiteX40240" fmla="*/ 4710164 w 8079933"/>
              <a:gd name="connsiteY40240" fmla="*/ 2331823 h 4687251"/>
              <a:gd name="connsiteX40241" fmla="*/ 4724054 w 8079933"/>
              <a:gd name="connsiteY40241" fmla="*/ 2343516 h 4687251"/>
              <a:gd name="connsiteX40242" fmla="*/ 4726116 w 8079933"/>
              <a:gd name="connsiteY40242" fmla="*/ 2347306 h 4687251"/>
              <a:gd name="connsiteX40243" fmla="*/ 4725139 w 8079933"/>
              <a:gd name="connsiteY40243" fmla="*/ 2351095 h 4687251"/>
              <a:gd name="connsiteX40244" fmla="*/ 4725573 w 8079933"/>
              <a:gd name="connsiteY40244" fmla="*/ 2354560 h 4687251"/>
              <a:gd name="connsiteX40245" fmla="*/ 4733712 w 8079933"/>
              <a:gd name="connsiteY40245" fmla="*/ 2363330 h 4687251"/>
              <a:gd name="connsiteX40246" fmla="*/ 4733712 w 8079933"/>
              <a:gd name="connsiteY40246" fmla="*/ 2366145 h 4687251"/>
              <a:gd name="connsiteX40247" fmla="*/ 4736208 w 8079933"/>
              <a:gd name="connsiteY40247" fmla="*/ 2369177 h 4687251"/>
              <a:gd name="connsiteX40248" fmla="*/ 4737076 w 8079933"/>
              <a:gd name="connsiteY40248" fmla="*/ 2378379 h 4687251"/>
              <a:gd name="connsiteX40249" fmla="*/ 4739680 w 8079933"/>
              <a:gd name="connsiteY40249" fmla="*/ 2382277 h 4687251"/>
              <a:gd name="connsiteX40250" fmla="*/ 4739463 w 8079933"/>
              <a:gd name="connsiteY40250" fmla="*/ 2387366 h 4687251"/>
              <a:gd name="connsiteX40251" fmla="*/ 4754439 w 8079933"/>
              <a:gd name="connsiteY40251" fmla="*/ 2409345 h 4687251"/>
              <a:gd name="connsiteX40252" fmla="*/ 4755524 w 8079933"/>
              <a:gd name="connsiteY40252" fmla="*/ 2416058 h 4687251"/>
              <a:gd name="connsiteX40253" fmla="*/ 4759539 w 8079933"/>
              <a:gd name="connsiteY40253" fmla="*/ 2418656 h 4687251"/>
              <a:gd name="connsiteX40254" fmla="*/ 4769089 w 8079933"/>
              <a:gd name="connsiteY40254" fmla="*/ 2432515 h 4687251"/>
              <a:gd name="connsiteX40255" fmla="*/ 4771151 w 8079933"/>
              <a:gd name="connsiteY40255" fmla="*/ 2438903 h 4687251"/>
              <a:gd name="connsiteX40256" fmla="*/ 4773864 w 8079933"/>
              <a:gd name="connsiteY40256" fmla="*/ 2442151 h 4687251"/>
              <a:gd name="connsiteX40257" fmla="*/ 4774080 w 8079933"/>
              <a:gd name="connsiteY40257" fmla="*/ 2440527 h 4687251"/>
              <a:gd name="connsiteX40258" fmla="*/ 4775708 w 8079933"/>
              <a:gd name="connsiteY40258" fmla="*/ 2441718 h 4687251"/>
              <a:gd name="connsiteX40259" fmla="*/ 4779615 w 8079933"/>
              <a:gd name="connsiteY40259" fmla="*/ 2447673 h 4687251"/>
              <a:gd name="connsiteX40260" fmla="*/ 4781893 w 8079933"/>
              <a:gd name="connsiteY40260" fmla="*/ 2448106 h 4687251"/>
              <a:gd name="connsiteX40261" fmla="*/ 4784606 w 8079933"/>
              <a:gd name="connsiteY40261" fmla="*/ 2451029 h 4687251"/>
              <a:gd name="connsiteX40262" fmla="*/ 4777553 w 8079933"/>
              <a:gd name="connsiteY40262" fmla="*/ 2450596 h 4687251"/>
              <a:gd name="connsiteX40263" fmla="*/ 4775708 w 8079933"/>
              <a:gd name="connsiteY40263" fmla="*/ 2449080 h 4687251"/>
              <a:gd name="connsiteX40264" fmla="*/ 4775274 w 8079933"/>
              <a:gd name="connsiteY40264" fmla="*/ 2451245 h 4687251"/>
              <a:gd name="connsiteX40265" fmla="*/ 4776793 w 8079933"/>
              <a:gd name="connsiteY40265" fmla="*/ 2454386 h 4687251"/>
              <a:gd name="connsiteX40266" fmla="*/ 4777118 w 8079933"/>
              <a:gd name="connsiteY40266" fmla="*/ 2460340 h 4687251"/>
              <a:gd name="connsiteX40267" fmla="*/ 4776250 w 8079933"/>
              <a:gd name="connsiteY40267" fmla="*/ 2463588 h 4687251"/>
              <a:gd name="connsiteX40268" fmla="*/ 4779940 w 8079933"/>
              <a:gd name="connsiteY40268" fmla="*/ 2476039 h 4687251"/>
              <a:gd name="connsiteX40269" fmla="*/ 4787319 w 8079933"/>
              <a:gd name="connsiteY40269" fmla="*/ 2480804 h 4687251"/>
              <a:gd name="connsiteX40270" fmla="*/ 4791877 w 8079933"/>
              <a:gd name="connsiteY40270" fmla="*/ 2481020 h 4687251"/>
              <a:gd name="connsiteX40271" fmla="*/ 4794807 w 8079933"/>
              <a:gd name="connsiteY40271" fmla="*/ 2479612 h 4687251"/>
              <a:gd name="connsiteX40272" fmla="*/ 4797845 w 8079933"/>
              <a:gd name="connsiteY40272" fmla="*/ 2486000 h 4687251"/>
              <a:gd name="connsiteX40273" fmla="*/ 4802729 w 8079933"/>
              <a:gd name="connsiteY40273" fmla="*/ 2487408 h 4687251"/>
              <a:gd name="connsiteX40274" fmla="*/ 4804248 w 8079933"/>
              <a:gd name="connsiteY40274" fmla="*/ 2490331 h 4687251"/>
              <a:gd name="connsiteX40275" fmla="*/ 4809782 w 8079933"/>
              <a:gd name="connsiteY40275" fmla="*/ 2496069 h 4687251"/>
              <a:gd name="connsiteX40276" fmla="*/ 4814014 w 8079933"/>
              <a:gd name="connsiteY40276" fmla="*/ 2497694 h 4687251"/>
              <a:gd name="connsiteX40277" fmla="*/ 4813906 w 8079933"/>
              <a:gd name="connsiteY40277" fmla="*/ 2498127 h 4687251"/>
              <a:gd name="connsiteX40278" fmla="*/ 4813580 w 8079933"/>
              <a:gd name="connsiteY40278" fmla="*/ 2500183 h 4687251"/>
              <a:gd name="connsiteX40279" fmla="*/ 4813038 w 8079933"/>
              <a:gd name="connsiteY40279" fmla="*/ 2502348 h 4687251"/>
              <a:gd name="connsiteX40280" fmla="*/ 4814340 w 8079933"/>
              <a:gd name="connsiteY40280" fmla="*/ 2504081 h 4687251"/>
              <a:gd name="connsiteX40281" fmla="*/ 4813689 w 8079933"/>
              <a:gd name="connsiteY40281" fmla="*/ 2505380 h 4687251"/>
              <a:gd name="connsiteX40282" fmla="*/ 4814557 w 8079933"/>
              <a:gd name="connsiteY40282" fmla="*/ 2506463 h 4687251"/>
              <a:gd name="connsiteX40283" fmla="*/ 4814557 w 8079933"/>
              <a:gd name="connsiteY40283" fmla="*/ 2507437 h 4687251"/>
              <a:gd name="connsiteX40284" fmla="*/ 4815534 w 8079933"/>
              <a:gd name="connsiteY40284" fmla="*/ 2508844 h 4687251"/>
              <a:gd name="connsiteX40285" fmla="*/ 4817053 w 8079933"/>
              <a:gd name="connsiteY40285" fmla="*/ 2515450 h 4687251"/>
              <a:gd name="connsiteX40286" fmla="*/ 4821719 w 8079933"/>
              <a:gd name="connsiteY40286" fmla="*/ 2520863 h 4687251"/>
              <a:gd name="connsiteX40287" fmla="*/ 4821611 w 8079933"/>
              <a:gd name="connsiteY40287" fmla="*/ 2523244 h 4687251"/>
              <a:gd name="connsiteX40288" fmla="*/ 4820417 w 8079933"/>
              <a:gd name="connsiteY40288" fmla="*/ 2523244 h 4687251"/>
              <a:gd name="connsiteX40289" fmla="*/ 4819874 w 8079933"/>
              <a:gd name="connsiteY40289" fmla="*/ 2521729 h 4687251"/>
              <a:gd name="connsiteX40290" fmla="*/ 4817921 w 8079933"/>
              <a:gd name="connsiteY40290" fmla="*/ 2519347 h 4687251"/>
              <a:gd name="connsiteX40291" fmla="*/ 4817161 w 8079933"/>
              <a:gd name="connsiteY40291" fmla="*/ 2520213 h 4687251"/>
              <a:gd name="connsiteX40292" fmla="*/ 4817813 w 8079933"/>
              <a:gd name="connsiteY40292" fmla="*/ 2524544 h 4687251"/>
              <a:gd name="connsiteX40293" fmla="*/ 4823564 w 8079933"/>
              <a:gd name="connsiteY40293" fmla="*/ 2541650 h 4687251"/>
              <a:gd name="connsiteX40294" fmla="*/ 4824866 w 8079933"/>
              <a:gd name="connsiteY40294" fmla="*/ 2551070 h 4687251"/>
              <a:gd name="connsiteX40295" fmla="*/ 4823456 w 8079933"/>
              <a:gd name="connsiteY40295" fmla="*/ 2559948 h 4687251"/>
              <a:gd name="connsiteX40296" fmla="*/ 4826711 w 8079933"/>
              <a:gd name="connsiteY40296" fmla="*/ 2570126 h 4687251"/>
              <a:gd name="connsiteX40297" fmla="*/ 4830943 w 8079933"/>
              <a:gd name="connsiteY40297" fmla="*/ 2578247 h 4687251"/>
              <a:gd name="connsiteX40298" fmla="*/ 4834958 w 8079933"/>
              <a:gd name="connsiteY40298" fmla="*/ 2579221 h 4687251"/>
              <a:gd name="connsiteX40299" fmla="*/ 4845376 w 8079933"/>
              <a:gd name="connsiteY40299" fmla="*/ 2586258 h 4687251"/>
              <a:gd name="connsiteX40300" fmla="*/ 4845376 w 8079933"/>
              <a:gd name="connsiteY40300" fmla="*/ 2590806 h 4687251"/>
              <a:gd name="connsiteX40301" fmla="*/ 4850367 w 8079933"/>
              <a:gd name="connsiteY40301" fmla="*/ 2590914 h 4687251"/>
              <a:gd name="connsiteX40302" fmla="*/ 4855577 w 8079933"/>
              <a:gd name="connsiteY40302" fmla="*/ 2593621 h 4687251"/>
              <a:gd name="connsiteX40303" fmla="*/ 4855577 w 8079933"/>
              <a:gd name="connsiteY40303" fmla="*/ 2596869 h 4687251"/>
              <a:gd name="connsiteX40304" fmla="*/ 4857204 w 8079933"/>
              <a:gd name="connsiteY40304" fmla="*/ 2596869 h 4687251"/>
              <a:gd name="connsiteX40305" fmla="*/ 4854057 w 8079933"/>
              <a:gd name="connsiteY40305" fmla="*/ 2601741 h 4687251"/>
              <a:gd name="connsiteX40306" fmla="*/ 4850042 w 8079933"/>
              <a:gd name="connsiteY40306" fmla="*/ 2603798 h 4687251"/>
              <a:gd name="connsiteX40307" fmla="*/ 4850043 w 8079933"/>
              <a:gd name="connsiteY40307" fmla="*/ 2603798 h 4687251"/>
              <a:gd name="connsiteX40308" fmla="*/ 4854058 w 8079933"/>
              <a:gd name="connsiteY40308" fmla="*/ 2601741 h 4687251"/>
              <a:gd name="connsiteX40309" fmla="*/ 4857205 w 8079933"/>
              <a:gd name="connsiteY40309" fmla="*/ 2596869 h 4687251"/>
              <a:gd name="connsiteX40310" fmla="*/ 4857421 w 8079933"/>
              <a:gd name="connsiteY40310" fmla="*/ 2596869 h 4687251"/>
              <a:gd name="connsiteX40311" fmla="*/ 4862956 w 8079933"/>
              <a:gd name="connsiteY40311" fmla="*/ 2602824 h 4687251"/>
              <a:gd name="connsiteX40312" fmla="*/ 4872939 w 8079933"/>
              <a:gd name="connsiteY40312" fmla="*/ 2629025 h 4687251"/>
              <a:gd name="connsiteX40313" fmla="*/ 4876195 w 8079933"/>
              <a:gd name="connsiteY40313" fmla="*/ 2646132 h 4687251"/>
              <a:gd name="connsiteX40314" fmla="*/ 4878040 w 8079933"/>
              <a:gd name="connsiteY40314" fmla="*/ 2646673 h 4687251"/>
              <a:gd name="connsiteX40315" fmla="*/ 4879234 w 8079933"/>
              <a:gd name="connsiteY40315" fmla="*/ 2652953 h 4687251"/>
              <a:gd name="connsiteX40316" fmla="*/ 4879234 w 8079933"/>
              <a:gd name="connsiteY40316" fmla="*/ 2655118 h 4687251"/>
              <a:gd name="connsiteX40317" fmla="*/ 4882489 w 8079933"/>
              <a:gd name="connsiteY40317" fmla="*/ 2656201 h 4687251"/>
              <a:gd name="connsiteX40318" fmla="*/ 4884551 w 8079933"/>
              <a:gd name="connsiteY40318" fmla="*/ 2661290 h 4687251"/>
              <a:gd name="connsiteX40319" fmla="*/ 4885745 w 8079933"/>
              <a:gd name="connsiteY40319" fmla="*/ 2668652 h 4687251"/>
              <a:gd name="connsiteX40320" fmla="*/ 4889977 w 8079933"/>
              <a:gd name="connsiteY40320" fmla="*/ 2669735 h 4687251"/>
              <a:gd name="connsiteX40321" fmla="*/ 4889543 w 8079933"/>
              <a:gd name="connsiteY40321" fmla="*/ 2663130 h 4687251"/>
              <a:gd name="connsiteX40322" fmla="*/ 4888458 w 8079933"/>
              <a:gd name="connsiteY40322" fmla="*/ 2663238 h 4687251"/>
              <a:gd name="connsiteX40323" fmla="*/ 4888891 w 8079933"/>
              <a:gd name="connsiteY40323" fmla="*/ 2658366 h 4687251"/>
              <a:gd name="connsiteX40324" fmla="*/ 4890628 w 8079933"/>
              <a:gd name="connsiteY40324" fmla="*/ 2657717 h 4687251"/>
              <a:gd name="connsiteX40325" fmla="*/ 4894969 w 8079933"/>
              <a:gd name="connsiteY40325" fmla="*/ 2663780 h 4687251"/>
              <a:gd name="connsiteX40326" fmla="*/ 4893341 w 8079933"/>
              <a:gd name="connsiteY40326" fmla="*/ 2665621 h 4687251"/>
              <a:gd name="connsiteX40327" fmla="*/ 4897356 w 8079933"/>
              <a:gd name="connsiteY40327" fmla="*/ 2671684 h 4687251"/>
              <a:gd name="connsiteX40328" fmla="*/ 4900177 w 8079933"/>
              <a:gd name="connsiteY40328" fmla="*/ 2674391 h 4687251"/>
              <a:gd name="connsiteX40329" fmla="*/ 4902456 w 8079933"/>
              <a:gd name="connsiteY40329" fmla="*/ 2672875 h 4687251"/>
              <a:gd name="connsiteX40330" fmla="*/ 4906037 w 8079933"/>
              <a:gd name="connsiteY40330" fmla="*/ 2672333 h 4687251"/>
              <a:gd name="connsiteX40331" fmla="*/ 4907556 w 8079933"/>
              <a:gd name="connsiteY40331" fmla="*/ 2673308 h 4687251"/>
              <a:gd name="connsiteX40332" fmla="*/ 4910595 w 8079933"/>
              <a:gd name="connsiteY40332" fmla="*/ 2672225 h 4687251"/>
              <a:gd name="connsiteX40333" fmla="*/ 4915044 w 8079933"/>
              <a:gd name="connsiteY40333" fmla="*/ 2677097 h 4687251"/>
              <a:gd name="connsiteX40334" fmla="*/ 4917323 w 8079933"/>
              <a:gd name="connsiteY40334" fmla="*/ 2679913 h 4687251"/>
              <a:gd name="connsiteX40335" fmla="*/ 4923943 w 8079933"/>
              <a:gd name="connsiteY40335" fmla="*/ 2681429 h 4687251"/>
              <a:gd name="connsiteX40336" fmla="*/ 4925462 w 8079933"/>
              <a:gd name="connsiteY40336" fmla="*/ 2684027 h 4687251"/>
              <a:gd name="connsiteX40337" fmla="*/ 4933493 w 8079933"/>
              <a:gd name="connsiteY40337" fmla="*/ 2693013 h 4687251"/>
              <a:gd name="connsiteX40338" fmla="*/ 4936964 w 8079933"/>
              <a:gd name="connsiteY40338" fmla="*/ 2698968 h 4687251"/>
              <a:gd name="connsiteX40339" fmla="*/ 4941957 w 8079933"/>
              <a:gd name="connsiteY40339" fmla="*/ 2701025 h 4687251"/>
              <a:gd name="connsiteX40340" fmla="*/ 4945320 w 8079933"/>
              <a:gd name="connsiteY40340" fmla="*/ 2705356 h 4687251"/>
              <a:gd name="connsiteX40341" fmla="*/ 4947274 w 8079933"/>
              <a:gd name="connsiteY40341" fmla="*/ 2705356 h 4687251"/>
              <a:gd name="connsiteX40342" fmla="*/ 4947491 w 8079933"/>
              <a:gd name="connsiteY40342" fmla="*/ 2703840 h 4687251"/>
              <a:gd name="connsiteX40343" fmla="*/ 4949118 w 8079933"/>
              <a:gd name="connsiteY40343" fmla="*/ 2706114 h 4687251"/>
              <a:gd name="connsiteX40344" fmla="*/ 4953134 w 8079933"/>
              <a:gd name="connsiteY40344" fmla="*/ 2715967 h 4687251"/>
              <a:gd name="connsiteX40345" fmla="*/ 4956064 w 8079933"/>
              <a:gd name="connsiteY40345" fmla="*/ 2716833 h 4687251"/>
              <a:gd name="connsiteX40346" fmla="*/ 4959536 w 8079933"/>
              <a:gd name="connsiteY40346" fmla="*/ 2721272 h 4687251"/>
              <a:gd name="connsiteX40347" fmla="*/ 4958559 w 8079933"/>
              <a:gd name="connsiteY40347" fmla="*/ 2722679 h 4687251"/>
              <a:gd name="connsiteX40348" fmla="*/ 4960730 w 8079933"/>
              <a:gd name="connsiteY40348" fmla="*/ 2727335 h 4687251"/>
              <a:gd name="connsiteX40349" fmla="*/ 4963334 w 8079933"/>
              <a:gd name="connsiteY40349" fmla="*/ 2727335 h 4687251"/>
              <a:gd name="connsiteX40350" fmla="*/ 4965938 w 8079933"/>
              <a:gd name="connsiteY40350" fmla="*/ 2728743 h 4687251"/>
              <a:gd name="connsiteX40351" fmla="*/ 4967783 w 8079933"/>
              <a:gd name="connsiteY40351" fmla="*/ 2727010 h 4687251"/>
              <a:gd name="connsiteX40352" fmla="*/ 4968651 w 8079933"/>
              <a:gd name="connsiteY40352" fmla="*/ 2728310 h 4687251"/>
              <a:gd name="connsiteX40353" fmla="*/ 4969845 w 8079933"/>
              <a:gd name="connsiteY40353" fmla="*/ 2728959 h 4687251"/>
              <a:gd name="connsiteX40354" fmla="*/ 4969845 w 8079933"/>
              <a:gd name="connsiteY40354" fmla="*/ 2728960 h 4687251"/>
              <a:gd name="connsiteX40355" fmla="*/ 4969952 w 8079933"/>
              <a:gd name="connsiteY40355" fmla="*/ 2728960 h 4687251"/>
              <a:gd name="connsiteX40356" fmla="*/ 4969844 w 8079933"/>
              <a:gd name="connsiteY40356" fmla="*/ 2730801 h 4687251"/>
              <a:gd name="connsiteX40357" fmla="*/ 4975378 w 8079933"/>
              <a:gd name="connsiteY40357" fmla="*/ 2736106 h 4687251"/>
              <a:gd name="connsiteX40358" fmla="*/ 4976898 w 8079933"/>
              <a:gd name="connsiteY40358" fmla="*/ 2736106 h 4687251"/>
              <a:gd name="connsiteX40359" fmla="*/ 4976138 w 8079933"/>
              <a:gd name="connsiteY40359" fmla="*/ 2738380 h 4687251"/>
              <a:gd name="connsiteX40360" fmla="*/ 4977006 w 8079933"/>
              <a:gd name="connsiteY40360" fmla="*/ 2745742 h 4687251"/>
              <a:gd name="connsiteX40361" fmla="*/ 4974619 w 8079933"/>
              <a:gd name="connsiteY40361" fmla="*/ 2746716 h 4687251"/>
              <a:gd name="connsiteX40362" fmla="*/ 4970169 w 8079933"/>
              <a:gd name="connsiteY40362" fmla="*/ 2751697 h 4687251"/>
              <a:gd name="connsiteX40363" fmla="*/ 4966806 w 8079933"/>
              <a:gd name="connsiteY40363" fmla="*/ 2751805 h 4687251"/>
              <a:gd name="connsiteX40364" fmla="*/ 4964418 w 8079933"/>
              <a:gd name="connsiteY40364" fmla="*/ 2755378 h 4687251"/>
              <a:gd name="connsiteX40365" fmla="*/ 4959210 w 8079933"/>
              <a:gd name="connsiteY40365" fmla="*/ 2755378 h 4687251"/>
              <a:gd name="connsiteX40366" fmla="*/ 4961814 w 8079933"/>
              <a:gd name="connsiteY40366" fmla="*/ 2758626 h 4687251"/>
              <a:gd name="connsiteX40367" fmla="*/ 4963441 w 8079933"/>
              <a:gd name="connsiteY40367" fmla="*/ 2758951 h 4687251"/>
              <a:gd name="connsiteX40368" fmla="*/ 4967131 w 8079933"/>
              <a:gd name="connsiteY40368" fmla="*/ 2757543 h 4687251"/>
              <a:gd name="connsiteX40369" fmla="*/ 4973425 w 8079933"/>
              <a:gd name="connsiteY40369" fmla="*/ 2757435 h 4687251"/>
              <a:gd name="connsiteX40370" fmla="*/ 4974185 w 8079933"/>
              <a:gd name="connsiteY40370" fmla="*/ 2759059 h 4687251"/>
              <a:gd name="connsiteX40371" fmla="*/ 4968650 w 8079933"/>
              <a:gd name="connsiteY40371" fmla="*/ 2769345 h 4687251"/>
              <a:gd name="connsiteX40372" fmla="*/ 4968000 w 8079933"/>
              <a:gd name="connsiteY40372" fmla="*/ 2770318 h 4687251"/>
              <a:gd name="connsiteX40373" fmla="*/ 4968001 w 8079933"/>
              <a:gd name="connsiteY40373" fmla="*/ 2770318 h 4687251"/>
              <a:gd name="connsiteX40374" fmla="*/ 4968651 w 8079933"/>
              <a:gd name="connsiteY40374" fmla="*/ 2769345 h 4687251"/>
              <a:gd name="connsiteX40375" fmla="*/ 4974185 w 8079933"/>
              <a:gd name="connsiteY40375" fmla="*/ 2759059 h 4687251"/>
              <a:gd name="connsiteX40376" fmla="*/ 4975596 w 8079933"/>
              <a:gd name="connsiteY40376" fmla="*/ 2762090 h 4687251"/>
              <a:gd name="connsiteX40377" fmla="*/ 4977223 w 8079933"/>
              <a:gd name="connsiteY40377" fmla="*/ 2762307 h 4687251"/>
              <a:gd name="connsiteX40378" fmla="*/ 4991657 w 8079933"/>
              <a:gd name="connsiteY40378" fmla="*/ 2778331 h 4687251"/>
              <a:gd name="connsiteX40379" fmla="*/ 4993393 w 8079933"/>
              <a:gd name="connsiteY40379" fmla="*/ 2781904 h 4687251"/>
              <a:gd name="connsiteX40380" fmla="*/ 4995780 w 8079933"/>
              <a:gd name="connsiteY40380" fmla="*/ 2782553 h 4687251"/>
              <a:gd name="connsiteX40381" fmla="*/ 5001748 w 8079933"/>
              <a:gd name="connsiteY40381" fmla="*/ 2787859 h 4687251"/>
              <a:gd name="connsiteX40382" fmla="*/ 5007609 w 8079933"/>
              <a:gd name="connsiteY40382" fmla="*/ 2789375 h 4687251"/>
              <a:gd name="connsiteX40383" fmla="*/ 5014553 w 8079933"/>
              <a:gd name="connsiteY40383" fmla="*/ 2788400 h 4687251"/>
              <a:gd name="connsiteX40384" fmla="*/ 5016723 w 8079933"/>
              <a:gd name="connsiteY40384" fmla="*/ 2785802 h 4687251"/>
              <a:gd name="connsiteX40385" fmla="*/ 5022909 w 8079933"/>
              <a:gd name="connsiteY40385" fmla="*/ 2782012 h 4687251"/>
              <a:gd name="connsiteX40386" fmla="*/ 5026816 w 8079933"/>
              <a:gd name="connsiteY40386" fmla="*/ 2781904 h 4687251"/>
              <a:gd name="connsiteX40387" fmla="*/ 5034846 w 8079933"/>
              <a:gd name="connsiteY40387" fmla="*/ 2775624 h 4687251"/>
              <a:gd name="connsiteX40388" fmla="*/ 5037125 w 8079933"/>
              <a:gd name="connsiteY40388" fmla="*/ 2775516 h 4687251"/>
              <a:gd name="connsiteX40389" fmla="*/ 5038536 w 8079933"/>
              <a:gd name="connsiteY40389" fmla="*/ 2776816 h 4687251"/>
              <a:gd name="connsiteX40390" fmla="*/ 5045047 w 8079933"/>
              <a:gd name="connsiteY40390" fmla="*/ 2776490 h 4687251"/>
              <a:gd name="connsiteX40391" fmla="*/ 5047325 w 8079933"/>
              <a:gd name="connsiteY40391" fmla="*/ 2775733 h 4687251"/>
              <a:gd name="connsiteX40392" fmla="*/ 5052100 w 8079933"/>
              <a:gd name="connsiteY40392" fmla="*/ 2778006 h 4687251"/>
              <a:gd name="connsiteX40393" fmla="*/ 5059045 w 8079933"/>
              <a:gd name="connsiteY40393" fmla="*/ 2777249 h 4687251"/>
              <a:gd name="connsiteX40394" fmla="*/ 5073587 w 8079933"/>
              <a:gd name="connsiteY40394" fmla="*/ 2768153 h 4687251"/>
              <a:gd name="connsiteX40395" fmla="*/ 5078253 w 8079933"/>
              <a:gd name="connsiteY40395" fmla="*/ 2767288 h 4687251"/>
              <a:gd name="connsiteX40396" fmla="*/ 5082919 w 8079933"/>
              <a:gd name="connsiteY40396" fmla="*/ 2769345 h 4687251"/>
              <a:gd name="connsiteX40397" fmla="*/ 5086609 w 8079933"/>
              <a:gd name="connsiteY40397" fmla="*/ 2768153 h 4687251"/>
              <a:gd name="connsiteX40398" fmla="*/ 5093011 w 8079933"/>
              <a:gd name="connsiteY40398" fmla="*/ 2768478 h 4687251"/>
              <a:gd name="connsiteX40399" fmla="*/ 5099739 w 8079933"/>
              <a:gd name="connsiteY40399" fmla="*/ 2765122 h 4687251"/>
              <a:gd name="connsiteX40400" fmla="*/ 5107227 w 8079933"/>
              <a:gd name="connsiteY40400" fmla="*/ 2764581 h 4687251"/>
              <a:gd name="connsiteX40401" fmla="*/ 5109505 w 8079933"/>
              <a:gd name="connsiteY40401" fmla="*/ 2765988 h 4687251"/>
              <a:gd name="connsiteX40402" fmla="*/ 5112001 w 8079933"/>
              <a:gd name="connsiteY40402" fmla="*/ 2765988 h 4687251"/>
              <a:gd name="connsiteX40403" fmla="*/ 5123612 w 8079933"/>
              <a:gd name="connsiteY40403" fmla="*/ 2763823 h 4687251"/>
              <a:gd name="connsiteX40404" fmla="*/ 5128062 w 8079933"/>
              <a:gd name="connsiteY40404" fmla="*/ 2760250 h 4687251"/>
              <a:gd name="connsiteX40405" fmla="*/ 5135115 w 8079933"/>
              <a:gd name="connsiteY40405" fmla="*/ 2759276 h 4687251"/>
              <a:gd name="connsiteX40406" fmla="*/ 5137068 w 8079933"/>
              <a:gd name="connsiteY40406" fmla="*/ 2761116 h 4687251"/>
              <a:gd name="connsiteX40407" fmla="*/ 5137720 w 8079933"/>
              <a:gd name="connsiteY40407" fmla="*/ 2759167 h 4687251"/>
              <a:gd name="connsiteX40408" fmla="*/ 5145099 w 8079933"/>
              <a:gd name="connsiteY40408" fmla="*/ 2758192 h 4687251"/>
              <a:gd name="connsiteX40409" fmla="*/ 5149331 w 8079933"/>
              <a:gd name="connsiteY40409" fmla="*/ 2753970 h 4687251"/>
              <a:gd name="connsiteX40410" fmla="*/ 5150199 w 8079933"/>
              <a:gd name="connsiteY40410" fmla="*/ 2754620 h 4687251"/>
              <a:gd name="connsiteX40411" fmla="*/ 5152043 w 8079933"/>
              <a:gd name="connsiteY40411" fmla="*/ 2751155 h 4687251"/>
              <a:gd name="connsiteX40412" fmla="*/ 5151393 w 8079933"/>
              <a:gd name="connsiteY40412" fmla="*/ 2750614 h 4687251"/>
              <a:gd name="connsiteX40413" fmla="*/ 5154323 w 8079933"/>
              <a:gd name="connsiteY40413" fmla="*/ 2747799 h 4687251"/>
              <a:gd name="connsiteX40414" fmla="*/ 5156385 w 8079933"/>
              <a:gd name="connsiteY40414" fmla="*/ 2748015 h 4687251"/>
              <a:gd name="connsiteX40415" fmla="*/ 5156059 w 8079933"/>
              <a:gd name="connsiteY40415" fmla="*/ 2746933 h 4687251"/>
              <a:gd name="connsiteX40416" fmla="*/ 5158989 w 8079933"/>
              <a:gd name="connsiteY40416" fmla="*/ 2748990 h 4687251"/>
              <a:gd name="connsiteX40417" fmla="*/ 5165066 w 8079933"/>
              <a:gd name="connsiteY40417" fmla="*/ 2751047 h 4687251"/>
              <a:gd name="connsiteX40418" fmla="*/ 5167887 w 8079933"/>
              <a:gd name="connsiteY40418" fmla="*/ 2750831 h 4687251"/>
              <a:gd name="connsiteX40419" fmla="*/ 5168972 w 8079933"/>
              <a:gd name="connsiteY40419" fmla="*/ 2751480 h 4687251"/>
              <a:gd name="connsiteX40420" fmla="*/ 5166477 w 8079933"/>
              <a:gd name="connsiteY40420" fmla="*/ 2755161 h 4687251"/>
              <a:gd name="connsiteX40421" fmla="*/ 5164957 w 8079933"/>
              <a:gd name="connsiteY40421" fmla="*/ 2758951 h 4687251"/>
              <a:gd name="connsiteX40422" fmla="*/ 5164632 w 8079933"/>
              <a:gd name="connsiteY40422" fmla="*/ 2762849 h 4687251"/>
              <a:gd name="connsiteX40423" fmla="*/ 5163221 w 8079933"/>
              <a:gd name="connsiteY40423" fmla="*/ 2765230 h 4687251"/>
              <a:gd name="connsiteX40424" fmla="*/ 5164415 w 8079933"/>
              <a:gd name="connsiteY40424" fmla="*/ 2767288 h 4687251"/>
              <a:gd name="connsiteX40425" fmla="*/ 5167562 w 8079933"/>
              <a:gd name="connsiteY40425" fmla="*/ 2767396 h 4687251"/>
              <a:gd name="connsiteX40426" fmla="*/ 5167779 w 8079933"/>
              <a:gd name="connsiteY40426" fmla="*/ 2768804 h 4687251"/>
              <a:gd name="connsiteX40427" fmla="*/ 5165282 w 8079933"/>
              <a:gd name="connsiteY40427" fmla="*/ 2770969 h 4687251"/>
              <a:gd name="connsiteX40428" fmla="*/ 5163113 w 8079933"/>
              <a:gd name="connsiteY40428" fmla="*/ 2775949 h 4687251"/>
              <a:gd name="connsiteX40429" fmla="*/ 5165282 w 8079933"/>
              <a:gd name="connsiteY40429" fmla="*/ 2778873 h 4687251"/>
              <a:gd name="connsiteX40430" fmla="*/ 5166042 w 8079933"/>
              <a:gd name="connsiteY40430" fmla="*/ 2782770 h 4687251"/>
              <a:gd name="connsiteX40431" fmla="*/ 5164306 w 8079933"/>
              <a:gd name="connsiteY40431" fmla="*/ 2786559 h 4687251"/>
              <a:gd name="connsiteX40432" fmla="*/ 5167454 w 8079933"/>
              <a:gd name="connsiteY40432" fmla="*/ 2786126 h 4687251"/>
              <a:gd name="connsiteX40433" fmla="*/ 5167127 w 8079933"/>
              <a:gd name="connsiteY40433" fmla="*/ 2785044 h 4687251"/>
              <a:gd name="connsiteX40434" fmla="*/ 5168647 w 8079933"/>
              <a:gd name="connsiteY40434" fmla="*/ 2785369 h 4687251"/>
              <a:gd name="connsiteX40435" fmla="*/ 5170057 w 8079933"/>
              <a:gd name="connsiteY40435" fmla="*/ 2788184 h 4687251"/>
              <a:gd name="connsiteX40436" fmla="*/ 5168430 w 8079933"/>
              <a:gd name="connsiteY40436" fmla="*/ 2789050 h 4687251"/>
              <a:gd name="connsiteX40437" fmla="*/ 5167995 w 8079933"/>
              <a:gd name="connsiteY40437" fmla="*/ 2788075 h 4687251"/>
              <a:gd name="connsiteX40438" fmla="*/ 5164957 w 8079933"/>
              <a:gd name="connsiteY40438" fmla="*/ 2788184 h 4687251"/>
              <a:gd name="connsiteX40439" fmla="*/ 5162787 w 8079933"/>
              <a:gd name="connsiteY40439" fmla="*/ 2788725 h 4687251"/>
              <a:gd name="connsiteX40440" fmla="*/ 5159314 w 8079933"/>
              <a:gd name="connsiteY40440" fmla="*/ 2794680 h 4687251"/>
              <a:gd name="connsiteX40441" fmla="*/ 5161268 w 8079933"/>
              <a:gd name="connsiteY40441" fmla="*/ 2797820 h 4687251"/>
              <a:gd name="connsiteX40442" fmla="*/ 5160291 w 8079933"/>
              <a:gd name="connsiteY40442" fmla="*/ 2803450 h 4687251"/>
              <a:gd name="connsiteX40443" fmla="*/ 5158772 w 8079933"/>
              <a:gd name="connsiteY40443" fmla="*/ 2806048 h 4687251"/>
              <a:gd name="connsiteX40444" fmla="*/ 5159206 w 8079933"/>
              <a:gd name="connsiteY40444" fmla="*/ 2812220 h 4687251"/>
              <a:gd name="connsiteX40445" fmla="*/ 5150959 w 8079933"/>
              <a:gd name="connsiteY40445" fmla="*/ 2823696 h 4687251"/>
              <a:gd name="connsiteX40446" fmla="*/ 5145207 w 8079933"/>
              <a:gd name="connsiteY40446" fmla="*/ 2835606 h 4687251"/>
              <a:gd name="connsiteX40447" fmla="*/ 5141843 w 8079933"/>
              <a:gd name="connsiteY40447" fmla="*/ 2839829 h 4687251"/>
              <a:gd name="connsiteX40448" fmla="*/ 5139890 w 8079933"/>
              <a:gd name="connsiteY40448" fmla="*/ 2839504 h 4687251"/>
              <a:gd name="connsiteX40449" fmla="*/ 5134682 w 8079933"/>
              <a:gd name="connsiteY40449" fmla="*/ 2845242 h 4687251"/>
              <a:gd name="connsiteX40450" fmla="*/ 5134247 w 8079933"/>
              <a:gd name="connsiteY40450" fmla="*/ 2847840 h 4687251"/>
              <a:gd name="connsiteX40451" fmla="*/ 5136635 w 8079933"/>
              <a:gd name="connsiteY40451" fmla="*/ 2851305 h 4687251"/>
              <a:gd name="connsiteX40452" fmla="*/ 5133596 w 8079933"/>
              <a:gd name="connsiteY40452" fmla="*/ 2854012 h 4687251"/>
              <a:gd name="connsiteX40453" fmla="*/ 5120031 w 8079933"/>
              <a:gd name="connsiteY40453" fmla="*/ 2879780 h 4687251"/>
              <a:gd name="connsiteX40454" fmla="*/ 5119489 w 8079933"/>
              <a:gd name="connsiteY40454" fmla="*/ 2887360 h 4687251"/>
              <a:gd name="connsiteX40455" fmla="*/ 5110699 w 8079933"/>
              <a:gd name="connsiteY40455" fmla="*/ 2899486 h 4687251"/>
              <a:gd name="connsiteX40456" fmla="*/ 5110373 w 8079933"/>
              <a:gd name="connsiteY40456" fmla="*/ 2903492 h 4687251"/>
              <a:gd name="connsiteX40457" fmla="*/ 5094096 w 8079933"/>
              <a:gd name="connsiteY40457" fmla="*/ 2925471 h 4687251"/>
              <a:gd name="connsiteX40458" fmla="*/ 5092468 w 8079933"/>
              <a:gd name="connsiteY40458" fmla="*/ 2930559 h 4687251"/>
              <a:gd name="connsiteX40459" fmla="*/ 5085306 w 8079933"/>
              <a:gd name="connsiteY40459" fmla="*/ 2937922 h 4687251"/>
              <a:gd name="connsiteX40460" fmla="*/ 5072610 w 8079933"/>
              <a:gd name="connsiteY40460" fmla="*/ 2953296 h 4687251"/>
              <a:gd name="connsiteX40461" fmla="*/ 5046023 w 8079933"/>
              <a:gd name="connsiteY40461" fmla="*/ 2976683 h 4687251"/>
              <a:gd name="connsiteX40462" fmla="*/ 5034629 w 8079933"/>
              <a:gd name="connsiteY40462" fmla="*/ 2986426 h 4687251"/>
              <a:gd name="connsiteX40463" fmla="*/ 5026707 w 8079933"/>
              <a:gd name="connsiteY40463" fmla="*/ 2987942 h 4687251"/>
              <a:gd name="connsiteX40464" fmla="*/ 5019980 w 8079933"/>
              <a:gd name="connsiteY40464" fmla="*/ 2992599 h 4687251"/>
              <a:gd name="connsiteX40465" fmla="*/ 5011515 w 8079933"/>
              <a:gd name="connsiteY40465" fmla="*/ 2999095 h 4687251"/>
              <a:gd name="connsiteX40466" fmla="*/ 4995238 w 8079933"/>
              <a:gd name="connsiteY40466" fmla="*/ 3016201 h 4687251"/>
              <a:gd name="connsiteX40467" fmla="*/ 4991548 w 8079933"/>
              <a:gd name="connsiteY40467" fmla="*/ 3017284 h 4687251"/>
              <a:gd name="connsiteX40468" fmla="*/ 4978200 w 8079933"/>
              <a:gd name="connsiteY40468" fmla="*/ 3032117 h 4687251"/>
              <a:gd name="connsiteX40469" fmla="*/ 4975813 w 8079933"/>
              <a:gd name="connsiteY40469" fmla="*/ 3032984 h 4687251"/>
              <a:gd name="connsiteX40470" fmla="*/ 4973860 w 8079933"/>
              <a:gd name="connsiteY40470" fmla="*/ 3036664 h 4687251"/>
              <a:gd name="connsiteX40471" fmla="*/ 4968977 w 8079933"/>
              <a:gd name="connsiteY40471" fmla="*/ 3038072 h 4687251"/>
              <a:gd name="connsiteX40472" fmla="*/ 4963876 w 8079933"/>
              <a:gd name="connsiteY40472" fmla="*/ 3042944 h 4687251"/>
              <a:gd name="connsiteX40473" fmla="*/ 4961706 w 8079933"/>
              <a:gd name="connsiteY40473" fmla="*/ 3048033 h 4687251"/>
              <a:gd name="connsiteX40474" fmla="*/ 4941956 w 8079933"/>
              <a:gd name="connsiteY40474" fmla="*/ 3069795 h 4687251"/>
              <a:gd name="connsiteX40475" fmla="*/ 4941739 w 8079933"/>
              <a:gd name="connsiteY40475" fmla="*/ 3070877 h 4687251"/>
              <a:gd name="connsiteX40476" fmla="*/ 4941739 w 8079933"/>
              <a:gd name="connsiteY40476" fmla="*/ 3070878 h 4687251"/>
              <a:gd name="connsiteX40477" fmla="*/ 4941413 w 8079933"/>
              <a:gd name="connsiteY40477" fmla="*/ 3072394 h 4687251"/>
              <a:gd name="connsiteX40478" fmla="*/ 4933491 w 8079933"/>
              <a:gd name="connsiteY40478" fmla="*/ 3081921 h 4687251"/>
              <a:gd name="connsiteX40479" fmla="*/ 4931647 w 8079933"/>
              <a:gd name="connsiteY40479" fmla="*/ 3082571 h 4687251"/>
              <a:gd name="connsiteX40480" fmla="*/ 4928825 w 8079933"/>
              <a:gd name="connsiteY40480" fmla="*/ 3085602 h 4687251"/>
              <a:gd name="connsiteX40481" fmla="*/ 4930236 w 8079933"/>
              <a:gd name="connsiteY40481" fmla="*/ 3087984 h 4687251"/>
              <a:gd name="connsiteX40482" fmla="*/ 4922097 w 8079933"/>
              <a:gd name="connsiteY40482" fmla="*/ 3090800 h 4687251"/>
              <a:gd name="connsiteX40483" fmla="*/ 4917757 w 8079933"/>
              <a:gd name="connsiteY40483" fmla="*/ 3096863 h 4687251"/>
              <a:gd name="connsiteX40484" fmla="*/ 4910703 w 8079933"/>
              <a:gd name="connsiteY40484" fmla="*/ 3096863 h 4687251"/>
              <a:gd name="connsiteX40485" fmla="*/ 4907773 w 8079933"/>
              <a:gd name="connsiteY40485" fmla="*/ 3097837 h 4687251"/>
              <a:gd name="connsiteX40486" fmla="*/ 4907231 w 8079933"/>
              <a:gd name="connsiteY40486" fmla="*/ 3099570 h 4687251"/>
              <a:gd name="connsiteX40487" fmla="*/ 4903866 w 8079933"/>
              <a:gd name="connsiteY40487" fmla="*/ 3103467 h 4687251"/>
              <a:gd name="connsiteX40488" fmla="*/ 4903650 w 8079933"/>
              <a:gd name="connsiteY40488" fmla="*/ 3106390 h 4687251"/>
              <a:gd name="connsiteX40489" fmla="*/ 4905168 w 8079933"/>
              <a:gd name="connsiteY40489" fmla="*/ 3107582 h 4687251"/>
              <a:gd name="connsiteX40490" fmla="*/ 4901262 w 8079933"/>
              <a:gd name="connsiteY40490" fmla="*/ 3113645 h 4687251"/>
              <a:gd name="connsiteX40491" fmla="*/ 4897355 w 8079933"/>
              <a:gd name="connsiteY40491" fmla="*/ 3118408 h 4687251"/>
              <a:gd name="connsiteX40492" fmla="*/ 4897355 w 8079933"/>
              <a:gd name="connsiteY40492" fmla="*/ 3123822 h 4687251"/>
              <a:gd name="connsiteX40493" fmla="*/ 4893883 w 8079933"/>
              <a:gd name="connsiteY40493" fmla="*/ 3131401 h 4687251"/>
              <a:gd name="connsiteX40494" fmla="*/ 4885201 w 8079933"/>
              <a:gd name="connsiteY40494" fmla="*/ 3143961 h 4687251"/>
              <a:gd name="connsiteX40495" fmla="*/ 4880101 w 8079933"/>
              <a:gd name="connsiteY40495" fmla="*/ 3146018 h 4687251"/>
              <a:gd name="connsiteX40496" fmla="*/ 4878040 w 8079933"/>
              <a:gd name="connsiteY40496" fmla="*/ 3146018 h 4687251"/>
              <a:gd name="connsiteX40497" fmla="*/ 4848306 w 8079933"/>
              <a:gd name="connsiteY40497" fmla="*/ 3125122 h 4687251"/>
              <a:gd name="connsiteX40498" fmla="*/ 4848307 w 8079933"/>
              <a:gd name="connsiteY40498" fmla="*/ 3125122 h 4687251"/>
              <a:gd name="connsiteX40499" fmla="*/ 4878040 w 8079933"/>
              <a:gd name="connsiteY40499" fmla="*/ 3146018 h 4687251"/>
              <a:gd name="connsiteX40500" fmla="*/ 4877172 w 8079933"/>
              <a:gd name="connsiteY40500" fmla="*/ 3146018 h 4687251"/>
              <a:gd name="connsiteX40501" fmla="*/ 4878365 w 8079933"/>
              <a:gd name="connsiteY40501" fmla="*/ 3147318 h 4687251"/>
              <a:gd name="connsiteX40502" fmla="*/ 4878799 w 8079933"/>
              <a:gd name="connsiteY40502" fmla="*/ 3150999 h 4687251"/>
              <a:gd name="connsiteX40503" fmla="*/ 4877172 w 8079933"/>
              <a:gd name="connsiteY40503" fmla="*/ 3153381 h 4687251"/>
              <a:gd name="connsiteX40504" fmla="*/ 4872071 w 8079933"/>
              <a:gd name="connsiteY40504" fmla="*/ 3169188 h 4687251"/>
              <a:gd name="connsiteX40505" fmla="*/ 4868057 w 8079933"/>
              <a:gd name="connsiteY40505" fmla="*/ 3179149 h 4687251"/>
              <a:gd name="connsiteX40506" fmla="*/ 4868382 w 8079933"/>
              <a:gd name="connsiteY40506" fmla="*/ 3184671 h 4687251"/>
              <a:gd name="connsiteX40507" fmla="*/ 4875110 w 8079933"/>
              <a:gd name="connsiteY40507" fmla="*/ 3190518 h 4687251"/>
              <a:gd name="connsiteX40508" fmla="*/ 4880102 w 8079933"/>
              <a:gd name="connsiteY40508" fmla="*/ 3196148 h 4687251"/>
              <a:gd name="connsiteX40509" fmla="*/ 4883249 w 8079933"/>
              <a:gd name="connsiteY40509" fmla="*/ 3195715 h 4687251"/>
              <a:gd name="connsiteX40510" fmla="*/ 4886504 w 8079933"/>
              <a:gd name="connsiteY40510" fmla="*/ 3204593 h 4687251"/>
              <a:gd name="connsiteX40511" fmla="*/ 4885094 w 8079933"/>
              <a:gd name="connsiteY40511" fmla="*/ 3207300 h 4687251"/>
              <a:gd name="connsiteX40512" fmla="*/ 4883140 w 8079933"/>
              <a:gd name="connsiteY40512" fmla="*/ 3206758 h 4687251"/>
              <a:gd name="connsiteX40513" fmla="*/ 4880210 w 8079933"/>
              <a:gd name="connsiteY40513" fmla="*/ 3208599 h 4687251"/>
              <a:gd name="connsiteX40514" fmla="*/ 4878799 w 8079933"/>
              <a:gd name="connsiteY40514" fmla="*/ 3214338 h 4687251"/>
              <a:gd name="connsiteX40515" fmla="*/ 4879234 w 8079933"/>
              <a:gd name="connsiteY40515" fmla="*/ 3223215 h 4687251"/>
              <a:gd name="connsiteX40516" fmla="*/ 4882815 w 8079933"/>
              <a:gd name="connsiteY40516" fmla="*/ 3226680 h 4687251"/>
              <a:gd name="connsiteX40517" fmla="*/ 4882164 w 8079933"/>
              <a:gd name="connsiteY40517" fmla="*/ 3232311 h 4687251"/>
              <a:gd name="connsiteX40518" fmla="*/ 4879017 w 8079933"/>
              <a:gd name="connsiteY40518" fmla="*/ 3234909 h 4687251"/>
              <a:gd name="connsiteX40519" fmla="*/ 4879776 w 8079933"/>
              <a:gd name="connsiteY40519" fmla="*/ 3240214 h 4687251"/>
              <a:gd name="connsiteX40520" fmla="*/ 4882381 w 8079933"/>
              <a:gd name="connsiteY40520" fmla="*/ 3246602 h 4687251"/>
              <a:gd name="connsiteX40521" fmla="*/ 4881078 w 8079933"/>
              <a:gd name="connsiteY40521" fmla="*/ 3246927 h 4687251"/>
              <a:gd name="connsiteX40522" fmla="*/ 4882489 w 8079933"/>
              <a:gd name="connsiteY40522" fmla="*/ 3249850 h 4687251"/>
              <a:gd name="connsiteX40523" fmla="*/ 4883465 w 8079933"/>
              <a:gd name="connsiteY40523" fmla="*/ 3254505 h 4687251"/>
              <a:gd name="connsiteX40524" fmla="*/ 4886287 w 8079933"/>
              <a:gd name="connsiteY40524" fmla="*/ 3256888 h 4687251"/>
              <a:gd name="connsiteX40525" fmla="*/ 4883900 w 8079933"/>
              <a:gd name="connsiteY40525" fmla="*/ 3260786 h 4687251"/>
              <a:gd name="connsiteX40526" fmla="*/ 4886178 w 8079933"/>
              <a:gd name="connsiteY40526" fmla="*/ 3263492 h 4687251"/>
              <a:gd name="connsiteX40527" fmla="*/ 4888566 w 8079933"/>
              <a:gd name="connsiteY40527" fmla="*/ 3270638 h 4687251"/>
              <a:gd name="connsiteX40528" fmla="*/ 4887807 w 8079933"/>
              <a:gd name="connsiteY40528" fmla="*/ 3274211 h 4687251"/>
              <a:gd name="connsiteX40529" fmla="*/ 4896271 w 8079933"/>
              <a:gd name="connsiteY40529" fmla="*/ 3282439 h 4687251"/>
              <a:gd name="connsiteX40530" fmla="*/ 4902456 w 8079933"/>
              <a:gd name="connsiteY40530" fmla="*/ 3283306 h 4687251"/>
              <a:gd name="connsiteX40531" fmla="*/ 4907665 w 8079933"/>
              <a:gd name="connsiteY40531" fmla="*/ 3287637 h 4687251"/>
              <a:gd name="connsiteX40532" fmla="*/ 4907665 w 8079933"/>
              <a:gd name="connsiteY40532" fmla="*/ 3290019 h 4687251"/>
              <a:gd name="connsiteX40533" fmla="*/ 4908315 w 8079933"/>
              <a:gd name="connsiteY40533" fmla="*/ 3290343 h 4687251"/>
              <a:gd name="connsiteX40534" fmla="*/ 4908316 w 8079933"/>
              <a:gd name="connsiteY40534" fmla="*/ 3290343 h 4687251"/>
              <a:gd name="connsiteX40535" fmla="*/ 4910052 w 8079933"/>
              <a:gd name="connsiteY40535" fmla="*/ 3291426 h 4687251"/>
              <a:gd name="connsiteX40536" fmla="*/ 4909075 w 8079933"/>
              <a:gd name="connsiteY40536" fmla="*/ 3297055 h 4687251"/>
              <a:gd name="connsiteX40537" fmla="*/ 4907881 w 8079933"/>
              <a:gd name="connsiteY40537" fmla="*/ 3299871 h 4687251"/>
              <a:gd name="connsiteX40538" fmla="*/ 4909075 w 8079933"/>
              <a:gd name="connsiteY40538" fmla="*/ 3300953 h 4687251"/>
              <a:gd name="connsiteX40539" fmla="*/ 4904192 w 8079933"/>
              <a:gd name="connsiteY40539" fmla="*/ 3307991 h 4687251"/>
              <a:gd name="connsiteX40540" fmla="*/ 4903649 w 8079933"/>
              <a:gd name="connsiteY40540" fmla="*/ 3310589 h 4687251"/>
              <a:gd name="connsiteX40541" fmla="*/ 4904626 w 8079933"/>
              <a:gd name="connsiteY40541" fmla="*/ 3312322 h 4687251"/>
              <a:gd name="connsiteX40542" fmla="*/ 4904951 w 8079933"/>
              <a:gd name="connsiteY40542" fmla="*/ 3313838 h 4687251"/>
              <a:gd name="connsiteX40543" fmla="*/ 4903106 w 8079933"/>
              <a:gd name="connsiteY40543" fmla="*/ 3315570 h 4687251"/>
              <a:gd name="connsiteX40544" fmla="*/ 4904192 w 8079933"/>
              <a:gd name="connsiteY40544" fmla="*/ 3324123 h 4687251"/>
              <a:gd name="connsiteX40545" fmla="*/ 4906905 w 8079933"/>
              <a:gd name="connsiteY40545" fmla="*/ 3329104 h 4687251"/>
              <a:gd name="connsiteX40546" fmla="*/ 4905494 w 8079933"/>
              <a:gd name="connsiteY40546" fmla="*/ 3330620 h 4687251"/>
              <a:gd name="connsiteX40547" fmla="*/ 4905494 w 8079933"/>
              <a:gd name="connsiteY40547" fmla="*/ 3336683 h 4687251"/>
              <a:gd name="connsiteX40548" fmla="*/ 4906905 w 8079933"/>
              <a:gd name="connsiteY40548" fmla="*/ 3338199 h 4687251"/>
              <a:gd name="connsiteX40549" fmla="*/ 4907013 w 8079933"/>
              <a:gd name="connsiteY40549" fmla="*/ 3344153 h 4687251"/>
              <a:gd name="connsiteX40550" fmla="*/ 4904517 w 8079933"/>
              <a:gd name="connsiteY40550" fmla="*/ 3346644 h 4687251"/>
              <a:gd name="connsiteX40551" fmla="*/ 4905386 w 8079933"/>
              <a:gd name="connsiteY40551" fmla="*/ 3352923 h 4687251"/>
              <a:gd name="connsiteX40552" fmla="*/ 4903649 w 8079933"/>
              <a:gd name="connsiteY40552" fmla="*/ 3364724 h 4687251"/>
              <a:gd name="connsiteX40553" fmla="*/ 4902673 w 8079933"/>
              <a:gd name="connsiteY40553" fmla="*/ 3364724 h 4687251"/>
              <a:gd name="connsiteX40554" fmla="*/ 4904083 w 8079933"/>
              <a:gd name="connsiteY40554" fmla="*/ 3366782 h 4687251"/>
              <a:gd name="connsiteX40555" fmla="*/ 4904083 w 8079933"/>
              <a:gd name="connsiteY40555" fmla="*/ 3377501 h 4687251"/>
              <a:gd name="connsiteX40556" fmla="*/ 4900502 w 8079933"/>
              <a:gd name="connsiteY40556" fmla="*/ 3378042 h 4687251"/>
              <a:gd name="connsiteX40557" fmla="*/ 4900394 w 8079933"/>
              <a:gd name="connsiteY40557" fmla="*/ 3379341 h 4687251"/>
              <a:gd name="connsiteX40558" fmla="*/ 4901588 w 8079933"/>
              <a:gd name="connsiteY40558" fmla="*/ 3381074 h 4687251"/>
              <a:gd name="connsiteX40559" fmla="*/ 4906362 w 8079933"/>
              <a:gd name="connsiteY40559" fmla="*/ 3381290 h 4687251"/>
              <a:gd name="connsiteX40560" fmla="*/ 4907664 w 8079933"/>
              <a:gd name="connsiteY40560" fmla="*/ 3382265 h 4687251"/>
              <a:gd name="connsiteX40561" fmla="*/ 4908749 w 8079933"/>
              <a:gd name="connsiteY40561" fmla="*/ 3391468 h 4687251"/>
              <a:gd name="connsiteX40562" fmla="*/ 4906362 w 8079933"/>
              <a:gd name="connsiteY40562" fmla="*/ 3395041 h 4687251"/>
              <a:gd name="connsiteX40563" fmla="*/ 4903758 w 8079933"/>
              <a:gd name="connsiteY40563" fmla="*/ 3396231 h 4687251"/>
              <a:gd name="connsiteX40564" fmla="*/ 4905386 w 8079933"/>
              <a:gd name="connsiteY40564" fmla="*/ 3398397 h 4687251"/>
              <a:gd name="connsiteX40565" fmla="*/ 4904626 w 8079933"/>
              <a:gd name="connsiteY40565" fmla="*/ 3400779 h 4687251"/>
              <a:gd name="connsiteX40566" fmla="*/ 4901479 w 8079933"/>
              <a:gd name="connsiteY40566" fmla="*/ 3400779 h 4687251"/>
              <a:gd name="connsiteX40567" fmla="*/ 4898115 w 8079933"/>
              <a:gd name="connsiteY40567" fmla="*/ 3404243 h 4687251"/>
              <a:gd name="connsiteX40568" fmla="*/ 4898983 w 8079933"/>
              <a:gd name="connsiteY40568" fmla="*/ 3405435 h 4687251"/>
              <a:gd name="connsiteX40569" fmla="*/ 4900068 w 8079933"/>
              <a:gd name="connsiteY40569" fmla="*/ 3404568 h 4687251"/>
              <a:gd name="connsiteX40570" fmla="*/ 4903106 w 8079933"/>
              <a:gd name="connsiteY40570" fmla="*/ 3404894 h 4687251"/>
              <a:gd name="connsiteX40571" fmla="*/ 4900936 w 8079933"/>
              <a:gd name="connsiteY40571" fmla="*/ 3408033 h 4687251"/>
              <a:gd name="connsiteX40572" fmla="*/ 4900394 w 8079933"/>
              <a:gd name="connsiteY40572" fmla="*/ 3412905 h 4687251"/>
              <a:gd name="connsiteX40573" fmla="*/ 4897355 w 8079933"/>
              <a:gd name="connsiteY40573" fmla="*/ 3413446 h 4687251"/>
              <a:gd name="connsiteX40574" fmla="*/ 4892147 w 8079933"/>
              <a:gd name="connsiteY40574" fmla="*/ 3420051 h 4687251"/>
              <a:gd name="connsiteX40575" fmla="*/ 4892147 w 8079933"/>
              <a:gd name="connsiteY40575" fmla="*/ 3422974 h 4687251"/>
              <a:gd name="connsiteX40576" fmla="*/ 4887372 w 8079933"/>
              <a:gd name="connsiteY40576" fmla="*/ 3429470 h 4687251"/>
              <a:gd name="connsiteX40577" fmla="*/ 4883465 w 8079933"/>
              <a:gd name="connsiteY40577" fmla="*/ 3430012 h 4687251"/>
              <a:gd name="connsiteX40578" fmla="*/ 4883791 w 8079933"/>
              <a:gd name="connsiteY40578" fmla="*/ 3434559 h 4687251"/>
              <a:gd name="connsiteX40579" fmla="*/ 4867839 w 8079933"/>
              <a:gd name="connsiteY40579" fmla="*/ 3443221 h 4687251"/>
              <a:gd name="connsiteX40580" fmla="*/ 4865560 w 8079933"/>
              <a:gd name="connsiteY40580" fmla="*/ 3443329 h 4687251"/>
              <a:gd name="connsiteX40581" fmla="*/ 4864258 w 8079933"/>
              <a:gd name="connsiteY40581" fmla="*/ 3446794 h 4687251"/>
              <a:gd name="connsiteX40582" fmla="*/ 4849066 w 8079933"/>
              <a:gd name="connsiteY40582" fmla="*/ 3454806 h 4687251"/>
              <a:gd name="connsiteX40583" fmla="*/ 4843206 w 8079933"/>
              <a:gd name="connsiteY40583" fmla="*/ 3454157 h 4687251"/>
              <a:gd name="connsiteX40584" fmla="*/ 4842880 w 8079933"/>
              <a:gd name="connsiteY40584" fmla="*/ 3455347 h 4687251"/>
              <a:gd name="connsiteX40585" fmla="*/ 4835935 w 8079933"/>
              <a:gd name="connsiteY40585" fmla="*/ 3458595 h 4687251"/>
              <a:gd name="connsiteX40586" fmla="*/ 4826277 w 8079933"/>
              <a:gd name="connsiteY40586" fmla="*/ 3464875 h 4687251"/>
              <a:gd name="connsiteX40587" fmla="*/ 4823998 w 8079933"/>
              <a:gd name="connsiteY40587" fmla="*/ 3463359 h 4687251"/>
              <a:gd name="connsiteX40588" fmla="*/ 4823890 w 8079933"/>
              <a:gd name="connsiteY40588" fmla="*/ 3466391 h 4687251"/>
              <a:gd name="connsiteX40589" fmla="*/ 4818030 w 8079933"/>
              <a:gd name="connsiteY40589" fmla="*/ 3473428 h 4687251"/>
              <a:gd name="connsiteX40590" fmla="*/ 4815100 w 8079933"/>
              <a:gd name="connsiteY40590" fmla="*/ 3474728 h 4687251"/>
              <a:gd name="connsiteX40591" fmla="*/ 4813364 w 8079933"/>
              <a:gd name="connsiteY40591" fmla="*/ 3470938 h 4687251"/>
              <a:gd name="connsiteX40592" fmla="*/ 4812387 w 8079933"/>
              <a:gd name="connsiteY40592" fmla="*/ 3477110 h 4687251"/>
              <a:gd name="connsiteX40593" fmla="*/ 4809565 w 8079933"/>
              <a:gd name="connsiteY40593" fmla="*/ 3477867 h 4687251"/>
              <a:gd name="connsiteX40594" fmla="*/ 4808697 w 8079933"/>
              <a:gd name="connsiteY40594" fmla="*/ 3481549 h 4687251"/>
              <a:gd name="connsiteX40595" fmla="*/ 4799039 w 8079933"/>
              <a:gd name="connsiteY40595" fmla="*/ 3487179 h 4687251"/>
              <a:gd name="connsiteX40596" fmla="*/ 4798930 w 8079933"/>
              <a:gd name="connsiteY40596" fmla="*/ 3489561 h 4687251"/>
              <a:gd name="connsiteX40597" fmla="*/ 4796326 w 8079933"/>
              <a:gd name="connsiteY40597" fmla="*/ 3491726 h 4687251"/>
              <a:gd name="connsiteX40598" fmla="*/ 4794156 w 8079933"/>
              <a:gd name="connsiteY40598" fmla="*/ 3492484 h 4687251"/>
              <a:gd name="connsiteX40599" fmla="*/ 4794373 w 8079933"/>
              <a:gd name="connsiteY40599" fmla="*/ 3495732 h 4687251"/>
              <a:gd name="connsiteX40600" fmla="*/ 4788839 w 8079933"/>
              <a:gd name="connsiteY40600" fmla="*/ 3495949 h 4687251"/>
              <a:gd name="connsiteX40601" fmla="*/ 4776034 w 8079933"/>
              <a:gd name="connsiteY40601" fmla="*/ 3504502 h 4687251"/>
              <a:gd name="connsiteX40602" fmla="*/ 4776685 w 8079933"/>
              <a:gd name="connsiteY40602" fmla="*/ 3509916 h 4687251"/>
              <a:gd name="connsiteX40603" fmla="*/ 4772561 w 8079933"/>
              <a:gd name="connsiteY40603" fmla="*/ 3512947 h 4687251"/>
              <a:gd name="connsiteX40604" fmla="*/ 4766809 w 8079933"/>
              <a:gd name="connsiteY40604" fmla="*/ 3512947 h 4687251"/>
              <a:gd name="connsiteX40605" fmla="*/ 4764423 w 8079933"/>
              <a:gd name="connsiteY40605" fmla="*/ 3516087 h 4687251"/>
              <a:gd name="connsiteX40606" fmla="*/ 4759865 w 8079933"/>
              <a:gd name="connsiteY40606" fmla="*/ 3513164 h 4687251"/>
              <a:gd name="connsiteX40607" fmla="*/ 4757369 w 8079933"/>
              <a:gd name="connsiteY40607" fmla="*/ 3513489 h 4687251"/>
              <a:gd name="connsiteX40608" fmla="*/ 4757369 w 8079933"/>
              <a:gd name="connsiteY40608" fmla="*/ 3515546 h 4687251"/>
              <a:gd name="connsiteX40609" fmla="*/ 4759756 w 8079933"/>
              <a:gd name="connsiteY40609" fmla="*/ 3518252 h 4687251"/>
              <a:gd name="connsiteX40610" fmla="*/ 4759539 w 8079933"/>
              <a:gd name="connsiteY40610" fmla="*/ 3522042 h 4687251"/>
              <a:gd name="connsiteX40611" fmla="*/ 4757803 w 8079933"/>
              <a:gd name="connsiteY40611" fmla="*/ 3524424 h 4687251"/>
              <a:gd name="connsiteX40612" fmla="*/ 4758454 w 8079933"/>
              <a:gd name="connsiteY40612" fmla="*/ 3527997 h 4687251"/>
              <a:gd name="connsiteX40613" fmla="*/ 4755958 w 8079933"/>
              <a:gd name="connsiteY40613" fmla="*/ 3531786 h 4687251"/>
              <a:gd name="connsiteX40614" fmla="*/ 4762795 w 8079933"/>
              <a:gd name="connsiteY40614" fmla="*/ 3540989 h 4687251"/>
              <a:gd name="connsiteX40615" fmla="*/ 4763012 w 8079933"/>
              <a:gd name="connsiteY40615" fmla="*/ 3544237 h 4687251"/>
              <a:gd name="connsiteX40616" fmla="*/ 4759865 w 8079933"/>
              <a:gd name="connsiteY40616" fmla="*/ 3546728 h 4687251"/>
              <a:gd name="connsiteX40617" fmla="*/ 4762252 w 8079933"/>
              <a:gd name="connsiteY40617" fmla="*/ 3547811 h 4687251"/>
              <a:gd name="connsiteX40618" fmla="*/ 4764748 w 8079933"/>
              <a:gd name="connsiteY40618" fmla="*/ 3552033 h 4687251"/>
              <a:gd name="connsiteX40619" fmla="*/ 4764965 w 8079933"/>
              <a:gd name="connsiteY40619" fmla="*/ 3557554 h 4687251"/>
              <a:gd name="connsiteX40620" fmla="*/ 4767786 w 8079933"/>
              <a:gd name="connsiteY40620" fmla="*/ 3562860 h 4687251"/>
              <a:gd name="connsiteX40621" fmla="*/ 4766593 w 8079933"/>
              <a:gd name="connsiteY40621" fmla="*/ 3577693 h 4687251"/>
              <a:gd name="connsiteX40622" fmla="*/ 4768003 w 8079933"/>
              <a:gd name="connsiteY40622" fmla="*/ 3582998 h 4687251"/>
              <a:gd name="connsiteX40623" fmla="*/ 4769740 w 8079933"/>
              <a:gd name="connsiteY40623" fmla="*/ 3582674 h 4687251"/>
              <a:gd name="connsiteX40624" fmla="*/ 4769740 w 8079933"/>
              <a:gd name="connsiteY40624" fmla="*/ 3578559 h 4687251"/>
              <a:gd name="connsiteX40625" fmla="*/ 4772453 w 8079933"/>
              <a:gd name="connsiteY40625" fmla="*/ 3572821 h 4687251"/>
              <a:gd name="connsiteX40626" fmla="*/ 4772778 w 8079933"/>
              <a:gd name="connsiteY40626" fmla="*/ 3577802 h 4687251"/>
              <a:gd name="connsiteX40627" fmla="*/ 4773972 w 8079933"/>
              <a:gd name="connsiteY40627" fmla="*/ 3577693 h 4687251"/>
              <a:gd name="connsiteX40628" fmla="*/ 4773646 w 8079933"/>
              <a:gd name="connsiteY40628" fmla="*/ 3584190 h 4687251"/>
              <a:gd name="connsiteX40629" fmla="*/ 4771693 w 8079933"/>
              <a:gd name="connsiteY40629" fmla="*/ 3586680 h 4687251"/>
              <a:gd name="connsiteX40630" fmla="*/ 4771259 w 8079933"/>
              <a:gd name="connsiteY40630" fmla="*/ 3593176 h 4687251"/>
              <a:gd name="connsiteX40631" fmla="*/ 4772344 w 8079933"/>
              <a:gd name="connsiteY40631" fmla="*/ 3594042 h 4687251"/>
              <a:gd name="connsiteX40632" fmla="*/ 4769522 w 8079933"/>
              <a:gd name="connsiteY40632" fmla="*/ 3601621 h 4687251"/>
              <a:gd name="connsiteX40633" fmla="*/ 4769522 w 8079933"/>
              <a:gd name="connsiteY40633" fmla="*/ 3605519 h 4687251"/>
              <a:gd name="connsiteX40634" fmla="*/ 4767353 w 8079933"/>
              <a:gd name="connsiteY40634" fmla="*/ 3608333 h 4687251"/>
              <a:gd name="connsiteX40635" fmla="*/ 4767027 w 8079933"/>
              <a:gd name="connsiteY40635" fmla="*/ 3613206 h 4687251"/>
              <a:gd name="connsiteX40636" fmla="*/ 4765725 w 8079933"/>
              <a:gd name="connsiteY40636" fmla="*/ 3613206 h 4687251"/>
              <a:gd name="connsiteX40637" fmla="*/ 4766593 w 8079933"/>
              <a:gd name="connsiteY40637" fmla="*/ 3617320 h 4687251"/>
              <a:gd name="connsiteX40638" fmla="*/ 4770174 w 8079933"/>
              <a:gd name="connsiteY40638" fmla="*/ 3615155 h 4687251"/>
              <a:gd name="connsiteX40639" fmla="*/ 4771042 w 8079933"/>
              <a:gd name="connsiteY40639" fmla="*/ 3617861 h 4687251"/>
              <a:gd name="connsiteX40640" fmla="*/ 4768003 w 8079933"/>
              <a:gd name="connsiteY40640" fmla="*/ 3622409 h 4687251"/>
              <a:gd name="connsiteX40641" fmla="*/ 4766593 w 8079933"/>
              <a:gd name="connsiteY40641" fmla="*/ 3628472 h 4687251"/>
              <a:gd name="connsiteX40642" fmla="*/ 4757912 w 8079933"/>
              <a:gd name="connsiteY40642" fmla="*/ 3637783 h 4687251"/>
              <a:gd name="connsiteX40643" fmla="*/ 4742393 w 8079933"/>
              <a:gd name="connsiteY40643" fmla="*/ 3644821 h 4687251"/>
              <a:gd name="connsiteX40644" fmla="*/ 4721341 w 8079933"/>
              <a:gd name="connsiteY40644" fmla="*/ 3648935 h 4687251"/>
              <a:gd name="connsiteX40645" fmla="*/ 4713311 w 8079933"/>
              <a:gd name="connsiteY40645" fmla="*/ 3656514 h 4687251"/>
              <a:gd name="connsiteX40646" fmla="*/ 4707234 w 8079933"/>
              <a:gd name="connsiteY40646" fmla="*/ 3658138 h 4687251"/>
              <a:gd name="connsiteX40647" fmla="*/ 4705389 w 8079933"/>
              <a:gd name="connsiteY40647" fmla="*/ 3660953 h 4687251"/>
              <a:gd name="connsiteX40648" fmla="*/ 4702351 w 8079933"/>
              <a:gd name="connsiteY40648" fmla="*/ 3663443 h 4687251"/>
              <a:gd name="connsiteX40649" fmla="*/ 4700615 w 8079933"/>
              <a:gd name="connsiteY40649" fmla="*/ 3669182 h 4687251"/>
              <a:gd name="connsiteX40650" fmla="*/ 4698119 w 8079933"/>
              <a:gd name="connsiteY40650" fmla="*/ 3669182 h 4687251"/>
              <a:gd name="connsiteX40651" fmla="*/ 4695949 w 8079933"/>
              <a:gd name="connsiteY40651" fmla="*/ 3670697 h 4687251"/>
              <a:gd name="connsiteX40652" fmla="*/ 4696925 w 8079933"/>
              <a:gd name="connsiteY40652" fmla="*/ 3671997 h 4687251"/>
              <a:gd name="connsiteX40653" fmla="*/ 4699204 w 8079933"/>
              <a:gd name="connsiteY40653" fmla="*/ 3676328 h 4687251"/>
              <a:gd name="connsiteX40654" fmla="*/ 4698987 w 8079933"/>
              <a:gd name="connsiteY40654" fmla="*/ 3680550 h 4687251"/>
              <a:gd name="connsiteX40655" fmla="*/ 4701157 w 8079933"/>
              <a:gd name="connsiteY40655" fmla="*/ 3677844 h 4687251"/>
              <a:gd name="connsiteX40656" fmla="*/ 4704630 w 8079933"/>
              <a:gd name="connsiteY40656" fmla="*/ 3678818 h 4687251"/>
              <a:gd name="connsiteX40657" fmla="*/ 4705606 w 8079933"/>
              <a:gd name="connsiteY40657" fmla="*/ 3674812 h 4687251"/>
              <a:gd name="connsiteX40658" fmla="*/ 4707234 w 8079933"/>
              <a:gd name="connsiteY40658" fmla="*/ 3674595 h 4687251"/>
              <a:gd name="connsiteX40659" fmla="*/ 4707343 w 8079933"/>
              <a:gd name="connsiteY40659" fmla="*/ 3676869 h 4687251"/>
              <a:gd name="connsiteX40660" fmla="*/ 4706366 w 8079933"/>
              <a:gd name="connsiteY40660" fmla="*/ 3683473 h 4687251"/>
              <a:gd name="connsiteX40661" fmla="*/ 4703979 w 8079933"/>
              <a:gd name="connsiteY40661" fmla="*/ 3687479 h 4687251"/>
              <a:gd name="connsiteX40662" fmla="*/ 4703870 w 8079933"/>
              <a:gd name="connsiteY40662" fmla="*/ 3691161 h 4687251"/>
              <a:gd name="connsiteX40663" fmla="*/ 4699095 w 8079933"/>
              <a:gd name="connsiteY40663" fmla="*/ 3691269 h 4687251"/>
              <a:gd name="connsiteX40664" fmla="*/ 4690851 w 8079933"/>
              <a:gd name="connsiteY40664" fmla="*/ 3689320 h 4687251"/>
              <a:gd name="connsiteX40665" fmla="*/ 4696491 w 8079933"/>
              <a:gd name="connsiteY40665" fmla="*/ 3692568 h 4687251"/>
              <a:gd name="connsiteX40666" fmla="*/ 4701266 w 8079933"/>
              <a:gd name="connsiteY40666" fmla="*/ 3692568 h 4687251"/>
              <a:gd name="connsiteX40667" fmla="*/ 4701266 w 8079933"/>
              <a:gd name="connsiteY40667" fmla="*/ 3693758 h 4687251"/>
              <a:gd name="connsiteX40668" fmla="*/ 4698336 w 8079933"/>
              <a:gd name="connsiteY40668" fmla="*/ 3697549 h 4687251"/>
              <a:gd name="connsiteX40669" fmla="*/ 4699747 w 8079933"/>
              <a:gd name="connsiteY40669" fmla="*/ 3697549 h 4687251"/>
              <a:gd name="connsiteX40670" fmla="*/ 4696818 w 8079933"/>
              <a:gd name="connsiteY40670" fmla="*/ 3706210 h 4687251"/>
              <a:gd name="connsiteX40671" fmla="*/ 4696058 w 8079933"/>
              <a:gd name="connsiteY40671" fmla="*/ 3713680 h 4687251"/>
              <a:gd name="connsiteX40672" fmla="*/ 4692476 w 8079933"/>
              <a:gd name="connsiteY40672" fmla="*/ 3720826 h 4687251"/>
              <a:gd name="connsiteX40673" fmla="*/ 4690089 w 8079933"/>
              <a:gd name="connsiteY40673" fmla="*/ 3730030 h 4687251"/>
              <a:gd name="connsiteX40674" fmla="*/ 4686617 w 8079933"/>
              <a:gd name="connsiteY40674" fmla="*/ 3734143 h 4687251"/>
              <a:gd name="connsiteX40675" fmla="*/ 4685532 w 8079933"/>
              <a:gd name="connsiteY40675" fmla="*/ 3738366 h 4687251"/>
              <a:gd name="connsiteX40676" fmla="*/ 4678912 w 8079933"/>
              <a:gd name="connsiteY40676" fmla="*/ 3746053 h 4687251"/>
              <a:gd name="connsiteX40677" fmla="*/ 4676850 w 8079933"/>
              <a:gd name="connsiteY40677" fmla="*/ 3746053 h 4687251"/>
              <a:gd name="connsiteX40678" fmla="*/ 4675440 w 8079933"/>
              <a:gd name="connsiteY40678" fmla="*/ 3748110 h 4687251"/>
              <a:gd name="connsiteX40679" fmla="*/ 4670556 w 8079933"/>
              <a:gd name="connsiteY40679" fmla="*/ 3750384 h 4687251"/>
              <a:gd name="connsiteX40680" fmla="*/ 4668277 w 8079933"/>
              <a:gd name="connsiteY40680" fmla="*/ 3753199 h 4687251"/>
              <a:gd name="connsiteX40681" fmla="*/ 4662526 w 8079933"/>
              <a:gd name="connsiteY40681" fmla="*/ 3756880 h 4687251"/>
              <a:gd name="connsiteX40682" fmla="*/ 4659596 w 8079933"/>
              <a:gd name="connsiteY40682" fmla="*/ 3762510 h 4687251"/>
              <a:gd name="connsiteX40683" fmla="*/ 4654930 w 8079933"/>
              <a:gd name="connsiteY40683" fmla="*/ 3767924 h 4687251"/>
              <a:gd name="connsiteX40684" fmla="*/ 4654930 w 8079933"/>
              <a:gd name="connsiteY40684" fmla="*/ 3770306 h 4687251"/>
              <a:gd name="connsiteX40685" fmla="*/ 4652217 w 8079933"/>
              <a:gd name="connsiteY40685" fmla="*/ 3775395 h 4687251"/>
              <a:gd name="connsiteX40686" fmla="*/ 4647659 w 8079933"/>
              <a:gd name="connsiteY40686" fmla="*/ 3775395 h 4687251"/>
              <a:gd name="connsiteX40687" fmla="*/ 4644078 w 8079933"/>
              <a:gd name="connsiteY40687" fmla="*/ 3782432 h 4687251"/>
              <a:gd name="connsiteX40688" fmla="*/ 4634094 w 8079933"/>
              <a:gd name="connsiteY40688" fmla="*/ 3798997 h 4687251"/>
              <a:gd name="connsiteX40689" fmla="*/ 4626499 w 8079933"/>
              <a:gd name="connsiteY40689" fmla="*/ 3806252 h 4687251"/>
              <a:gd name="connsiteX40690" fmla="*/ 4625196 w 8079933"/>
              <a:gd name="connsiteY40690" fmla="*/ 3812856 h 4687251"/>
              <a:gd name="connsiteX40691" fmla="*/ 4620747 w 8079933"/>
              <a:gd name="connsiteY40691" fmla="*/ 3814805 h 4687251"/>
              <a:gd name="connsiteX40692" fmla="*/ 4616514 w 8079933"/>
              <a:gd name="connsiteY40692" fmla="*/ 3819785 h 4687251"/>
              <a:gd name="connsiteX40693" fmla="*/ 4614128 w 8079933"/>
              <a:gd name="connsiteY40693" fmla="*/ 3819785 h 4687251"/>
              <a:gd name="connsiteX40694" fmla="*/ 4613042 w 8079933"/>
              <a:gd name="connsiteY40694" fmla="*/ 3821734 h 4687251"/>
              <a:gd name="connsiteX40695" fmla="*/ 4588083 w 8079933"/>
              <a:gd name="connsiteY40695" fmla="*/ 3846312 h 4687251"/>
              <a:gd name="connsiteX40696" fmla="*/ 4585045 w 8079933"/>
              <a:gd name="connsiteY40696" fmla="*/ 3846312 h 4687251"/>
              <a:gd name="connsiteX40697" fmla="*/ 4585045 w 8079933"/>
              <a:gd name="connsiteY40697" fmla="*/ 3847611 h 4687251"/>
              <a:gd name="connsiteX40698" fmla="*/ 4581030 w 8079933"/>
              <a:gd name="connsiteY40698" fmla="*/ 3852158 h 4687251"/>
              <a:gd name="connsiteX40699" fmla="*/ 4564644 w 8079933"/>
              <a:gd name="connsiteY40699" fmla="*/ 3862985 h 4687251"/>
              <a:gd name="connsiteX40700" fmla="*/ 4561171 w 8079933"/>
              <a:gd name="connsiteY40700" fmla="*/ 3866883 h 4687251"/>
              <a:gd name="connsiteX40701" fmla="*/ 4555420 w 8079933"/>
              <a:gd name="connsiteY40701" fmla="*/ 3868615 h 4687251"/>
              <a:gd name="connsiteX40702" fmla="*/ 4555420 w 8079933"/>
              <a:gd name="connsiteY40702" fmla="*/ 3870131 h 4687251"/>
              <a:gd name="connsiteX40703" fmla="*/ 4546305 w 8079933"/>
              <a:gd name="connsiteY40703" fmla="*/ 3872513 h 4687251"/>
              <a:gd name="connsiteX40704" fmla="*/ 4541096 w 8079933"/>
              <a:gd name="connsiteY40704" fmla="*/ 3875761 h 4687251"/>
              <a:gd name="connsiteX40705" fmla="*/ 4535670 w 8079933"/>
              <a:gd name="connsiteY40705" fmla="*/ 3875761 h 4687251"/>
              <a:gd name="connsiteX40706" fmla="*/ 4533065 w 8079933"/>
              <a:gd name="connsiteY40706" fmla="*/ 3873812 h 4687251"/>
              <a:gd name="connsiteX40707" fmla="*/ 4525795 w 8079933"/>
              <a:gd name="connsiteY40707" fmla="*/ 3873812 h 4687251"/>
              <a:gd name="connsiteX40708" fmla="*/ 4519718 w 8079933"/>
              <a:gd name="connsiteY40708" fmla="*/ 3875652 h 4687251"/>
              <a:gd name="connsiteX40709" fmla="*/ 4517222 w 8079933"/>
              <a:gd name="connsiteY40709" fmla="*/ 3879984 h 4687251"/>
              <a:gd name="connsiteX40710" fmla="*/ 4520803 w 8079933"/>
              <a:gd name="connsiteY40710" fmla="*/ 3883015 h 4687251"/>
              <a:gd name="connsiteX40711" fmla="*/ 4520803 w 8079933"/>
              <a:gd name="connsiteY40711" fmla="*/ 3884314 h 4687251"/>
              <a:gd name="connsiteX40712" fmla="*/ 4512447 w 8079933"/>
              <a:gd name="connsiteY40712" fmla="*/ 3884314 h 4687251"/>
              <a:gd name="connsiteX40713" fmla="*/ 4507564 w 8079933"/>
              <a:gd name="connsiteY40713" fmla="*/ 3881824 h 4687251"/>
              <a:gd name="connsiteX40714" fmla="*/ 4503657 w 8079933"/>
              <a:gd name="connsiteY40714" fmla="*/ 3881824 h 4687251"/>
              <a:gd name="connsiteX40715" fmla="*/ 4500293 w 8079933"/>
              <a:gd name="connsiteY40715" fmla="*/ 3885180 h 4687251"/>
              <a:gd name="connsiteX40716" fmla="*/ 4501704 w 8079933"/>
              <a:gd name="connsiteY40716" fmla="*/ 3888212 h 4687251"/>
              <a:gd name="connsiteX40717" fmla="*/ 4500185 w 8079933"/>
              <a:gd name="connsiteY40717" fmla="*/ 3889728 h 4687251"/>
              <a:gd name="connsiteX40718" fmla="*/ 4488682 w 8079933"/>
              <a:gd name="connsiteY40718" fmla="*/ 3887237 h 4687251"/>
              <a:gd name="connsiteX40719" fmla="*/ 4485427 w 8079933"/>
              <a:gd name="connsiteY40719" fmla="*/ 3884747 h 4687251"/>
              <a:gd name="connsiteX40720" fmla="*/ 4474575 w 8079933"/>
              <a:gd name="connsiteY40720" fmla="*/ 3881933 h 4687251"/>
              <a:gd name="connsiteX40721" fmla="*/ 4467304 w 8079933"/>
              <a:gd name="connsiteY40721" fmla="*/ 3883340 h 4687251"/>
              <a:gd name="connsiteX40722" fmla="*/ 4467304 w 8079933"/>
              <a:gd name="connsiteY40722" fmla="*/ 3883123 h 4687251"/>
              <a:gd name="connsiteX40723" fmla="*/ 4463506 w 8079933"/>
              <a:gd name="connsiteY40723" fmla="*/ 3884531 h 4687251"/>
              <a:gd name="connsiteX40724" fmla="*/ 4457863 w 8079933"/>
              <a:gd name="connsiteY40724" fmla="*/ 3881500 h 4687251"/>
              <a:gd name="connsiteX40725" fmla="*/ 4445059 w 8079933"/>
              <a:gd name="connsiteY40725" fmla="*/ 3881500 h 4687251"/>
              <a:gd name="connsiteX40726" fmla="*/ 4441261 w 8079933"/>
              <a:gd name="connsiteY40726" fmla="*/ 3883231 h 4687251"/>
              <a:gd name="connsiteX40727" fmla="*/ 4440067 w 8079933"/>
              <a:gd name="connsiteY40727" fmla="*/ 3887129 h 4687251"/>
              <a:gd name="connsiteX40728" fmla="*/ 4437571 w 8079933"/>
              <a:gd name="connsiteY40728" fmla="*/ 3885939 h 4687251"/>
              <a:gd name="connsiteX40729" fmla="*/ 4434641 w 8079933"/>
              <a:gd name="connsiteY40729" fmla="*/ 3886804 h 4687251"/>
              <a:gd name="connsiteX40730" fmla="*/ 4432037 w 8079933"/>
              <a:gd name="connsiteY40730" fmla="*/ 3888971 h 4687251"/>
              <a:gd name="connsiteX40731" fmla="*/ 4430625 w 8079933"/>
              <a:gd name="connsiteY40731" fmla="*/ 3890919 h 4687251"/>
              <a:gd name="connsiteX40732" fmla="*/ 4424983 w 8079933"/>
              <a:gd name="connsiteY40732" fmla="*/ 3890919 h 4687251"/>
              <a:gd name="connsiteX40733" fmla="*/ 4421293 w 8079933"/>
              <a:gd name="connsiteY40733" fmla="*/ 3892543 h 4687251"/>
              <a:gd name="connsiteX40734" fmla="*/ 4414240 w 8079933"/>
              <a:gd name="connsiteY40734" fmla="*/ 3890053 h 4687251"/>
              <a:gd name="connsiteX40735" fmla="*/ 4408271 w 8079933"/>
              <a:gd name="connsiteY40735" fmla="*/ 3890053 h 4687251"/>
              <a:gd name="connsiteX40736" fmla="*/ 4407078 w 8079933"/>
              <a:gd name="connsiteY40736" fmla="*/ 3891785 h 4687251"/>
              <a:gd name="connsiteX40737" fmla="*/ 4401326 w 8079933"/>
              <a:gd name="connsiteY40737" fmla="*/ 3890486 h 4687251"/>
              <a:gd name="connsiteX40738" fmla="*/ 4396226 w 8079933"/>
              <a:gd name="connsiteY40738" fmla="*/ 3896333 h 4687251"/>
              <a:gd name="connsiteX40739" fmla="*/ 4391886 w 8079933"/>
              <a:gd name="connsiteY40739" fmla="*/ 3897091 h 4687251"/>
              <a:gd name="connsiteX40740" fmla="*/ 4390366 w 8079933"/>
              <a:gd name="connsiteY40740" fmla="*/ 3900555 h 4687251"/>
              <a:gd name="connsiteX40741" fmla="*/ 4387871 w 8079933"/>
              <a:gd name="connsiteY40741" fmla="*/ 3899689 h 4687251"/>
              <a:gd name="connsiteX40742" fmla="*/ 4385591 w 8079933"/>
              <a:gd name="connsiteY40742" fmla="*/ 3900771 h 4687251"/>
              <a:gd name="connsiteX40743" fmla="*/ 4373655 w 8079933"/>
              <a:gd name="connsiteY40743" fmla="*/ 3895142 h 4687251"/>
              <a:gd name="connsiteX40744" fmla="*/ 4371267 w 8079933"/>
              <a:gd name="connsiteY40744" fmla="*/ 3896549 h 4687251"/>
              <a:gd name="connsiteX40745" fmla="*/ 4371267 w 8079933"/>
              <a:gd name="connsiteY40745" fmla="*/ 3890811 h 4687251"/>
              <a:gd name="connsiteX40746" fmla="*/ 4366709 w 8079933"/>
              <a:gd name="connsiteY40746" fmla="*/ 3888537 h 4687251"/>
              <a:gd name="connsiteX40747" fmla="*/ 4363237 w 8079933"/>
              <a:gd name="connsiteY40747" fmla="*/ 3890269 h 4687251"/>
              <a:gd name="connsiteX40748" fmla="*/ 4360958 w 8079933"/>
              <a:gd name="connsiteY40748" fmla="*/ 3889295 h 4687251"/>
              <a:gd name="connsiteX40749" fmla="*/ 4362911 w 8079933"/>
              <a:gd name="connsiteY40749" fmla="*/ 3887671 h 4687251"/>
              <a:gd name="connsiteX40750" fmla="*/ 4361609 w 8079933"/>
              <a:gd name="connsiteY40750" fmla="*/ 3882690 h 4687251"/>
              <a:gd name="connsiteX40751" fmla="*/ 4356075 w 8079933"/>
              <a:gd name="connsiteY40751" fmla="*/ 3881715 h 4687251"/>
              <a:gd name="connsiteX40752" fmla="*/ 4352060 w 8079933"/>
              <a:gd name="connsiteY40752" fmla="*/ 3885289 h 4687251"/>
              <a:gd name="connsiteX40753" fmla="*/ 4352060 w 8079933"/>
              <a:gd name="connsiteY40753" fmla="*/ 3889728 h 4687251"/>
              <a:gd name="connsiteX40754" fmla="*/ 4349021 w 8079933"/>
              <a:gd name="connsiteY40754" fmla="*/ 3887455 h 4687251"/>
              <a:gd name="connsiteX40755" fmla="*/ 4349021 w 8079933"/>
              <a:gd name="connsiteY40755" fmla="*/ 3882582 h 4687251"/>
              <a:gd name="connsiteX40756" fmla="*/ 4350757 w 8079933"/>
              <a:gd name="connsiteY40756" fmla="*/ 3878468 h 4687251"/>
              <a:gd name="connsiteX40757" fmla="*/ 4349672 w 8079933"/>
              <a:gd name="connsiteY40757" fmla="*/ 3872513 h 4687251"/>
              <a:gd name="connsiteX40758" fmla="*/ 4352928 w 8079933"/>
              <a:gd name="connsiteY40758" fmla="*/ 3867208 h 4687251"/>
              <a:gd name="connsiteX40759" fmla="*/ 4348696 w 8079933"/>
              <a:gd name="connsiteY40759" fmla="*/ 3859521 h 4687251"/>
              <a:gd name="connsiteX40760" fmla="*/ 4344464 w 8079933"/>
              <a:gd name="connsiteY40760" fmla="*/ 3855731 h 4687251"/>
              <a:gd name="connsiteX40761" fmla="*/ 4340883 w 8079933"/>
              <a:gd name="connsiteY40761" fmla="*/ 3849560 h 4687251"/>
              <a:gd name="connsiteX40762" fmla="*/ 4340883 w 8079933"/>
              <a:gd name="connsiteY40762" fmla="*/ 3843388 h 4687251"/>
              <a:gd name="connsiteX40763" fmla="*/ 4343378 w 8079933"/>
              <a:gd name="connsiteY40763" fmla="*/ 3841006 h 4687251"/>
              <a:gd name="connsiteX40764" fmla="*/ 4345766 w 8079933"/>
              <a:gd name="connsiteY40764" fmla="*/ 3843388 h 4687251"/>
              <a:gd name="connsiteX40765" fmla="*/ 4347936 w 8079933"/>
              <a:gd name="connsiteY40765" fmla="*/ 3843388 h 4687251"/>
              <a:gd name="connsiteX40766" fmla="*/ 4350757 w 8079933"/>
              <a:gd name="connsiteY40766" fmla="*/ 3840357 h 4687251"/>
              <a:gd name="connsiteX40767" fmla="*/ 4352169 w 8079933"/>
              <a:gd name="connsiteY40767" fmla="*/ 3832994 h 4687251"/>
              <a:gd name="connsiteX40768" fmla="*/ 4349564 w 8079933"/>
              <a:gd name="connsiteY40768" fmla="*/ 3824982 h 4687251"/>
              <a:gd name="connsiteX40769" fmla="*/ 4349564 w 8079933"/>
              <a:gd name="connsiteY40769" fmla="*/ 3821409 h 4687251"/>
              <a:gd name="connsiteX40770" fmla="*/ 4342728 w 8079933"/>
              <a:gd name="connsiteY40770" fmla="*/ 3810582 h 4687251"/>
              <a:gd name="connsiteX40771" fmla="*/ 4342728 w 8079933"/>
              <a:gd name="connsiteY40771" fmla="*/ 3805385 h 4687251"/>
              <a:gd name="connsiteX40772" fmla="*/ 4335999 w 8079933"/>
              <a:gd name="connsiteY40772" fmla="*/ 3796724 h 4687251"/>
              <a:gd name="connsiteX40773" fmla="*/ 4332960 w 8079933"/>
              <a:gd name="connsiteY40773" fmla="*/ 3782865 h 4687251"/>
              <a:gd name="connsiteX40774" fmla="*/ 4327861 w 8079933"/>
              <a:gd name="connsiteY40774" fmla="*/ 3769656 h 4687251"/>
              <a:gd name="connsiteX40775" fmla="*/ 4327861 w 8079933"/>
              <a:gd name="connsiteY40775" fmla="*/ 3762943 h 4687251"/>
              <a:gd name="connsiteX40776" fmla="*/ 4322760 w 8079933"/>
              <a:gd name="connsiteY40776" fmla="*/ 3748327 h 4687251"/>
              <a:gd name="connsiteX40777" fmla="*/ 4314947 w 8079933"/>
              <a:gd name="connsiteY40777" fmla="*/ 3742696 h 4687251"/>
              <a:gd name="connsiteX40778" fmla="*/ 4313704 w 8079933"/>
              <a:gd name="connsiteY40778" fmla="*/ 3735256 h 4687251"/>
              <a:gd name="connsiteX40779" fmla="*/ 4307784 w 8079933"/>
              <a:gd name="connsiteY40779" fmla="*/ 3731003 h 4687251"/>
              <a:gd name="connsiteX40780" fmla="*/ 4306483 w 8079933"/>
              <a:gd name="connsiteY40780" fmla="*/ 3727755 h 4687251"/>
              <a:gd name="connsiteX40781" fmla="*/ 4300731 w 8079933"/>
              <a:gd name="connsiteY40781" fmla="*/ 3722016 h 4687251"/>
              <a:gd name="connsiteX40782" fmla="*/ 4294980 w 8079933"/>
              <a:gd name="connsiteY40782" fmla="*/ 3710648 h 4687251"/>
              <a:gd name="connsiteX40783" fmla="*/ 4290531 w 8079933"/>
              <a:gd name="connsiteY40783" fmla="*/ 3704693 h 4687251"/>
              <a:gd name="connsiteX40784" fmla="*/ 4290096 w 8079933"/>
              <a:gd name="connsiteY40784" fmla="*/ 3695382 h 4687251"/>
              <a:gd name="connsiteX40785" fmla="*/ 4286407 w 8079933"/>
              <a:gd name="connsiteY40785" fmla="*/ 3691268 h 4687251"/>
              <a:gd name="connsiteX40786" fmla="*/ 4286407 w 8079933"/>
              <a:gd name="connsiteY40786" fmla="*/ 3686396 h 4687251"/>
              <a:gd name="connsiteX40787" fmla="*/ 4288903 w 8079933"/>
              <a:gd name="connsiteY40787" fmla="*/ 3684447 h 4687251"/>
              <a:gd name="connsiteX40788" fmla="*/ 4286732 w 8079933"/>
              <a:gd name="connsiteY40788" fmla="*/ 3680224 h 4687251"/>
              <a:gd name="connsiteX40789" fmla="*/ 4283477 w 8079933"/>
              <a:gd name="connsiteY40789" fmla="*/ 3678492 h 4687251"/>
              <a:gd name="connsiteX40790" fmla="*/ 4281741 w 8079933"/>
              <a:gd name="connsiteY40790" fmla="*/ 3666041 h 4687251"/>
              <a:gd name="connsiteX40791" fmla="*/ 4278811 w 8079933"/>
              <a:gd name="connsiteY40791" fmla="*/ 3662359 h 4687251"/>
              <a:gd name="connsiteX40792" fmla="*/ 4282283 w 8079933"/>
              <a:gd name="connsiteY40792" fmla="*/ 3660194 h 4687251"/>
              <a:gd name="connsiteX40793" fmla="*/ 4280113 w 8079933"/>
              <a:gd name="connsiteY40793" fmla="*/ 3653373 h 4687251"/>
              <a:gd name="connsiteX40794" fmla="*/ 4280873 w 8079933"/>
              <a:gd name="connsiteY40794" fmla="*/ 3643304 h 4687251"/>
              <a:gd name="connsiteX40795" fmla="*/ 4273710 w 8079933"/>
              <a:gd name="connsiteY40795" fmla="*/ 3624573 h 4687251"/>
              <a:gd name="connsiteX40796" fmla="*/ 4273059 w 8079933"/>
              <a:gd name="connsiteY40796" fmla="*/ 3606059 h 4687251"/>
              <a:gd name="connsiteX40797" fmla="*/ 4269587 w 8079933"/>
              <a:gd name="connsiteY40797" fmla="*/ 3593824 h 4687251"/>
              <a:gd name="connsiteX40798" fmla="*/ 4272734 w 8079933"/>
              <a:gd name="connsiteY40798" fmla="*/ 3592525 h 4687251"/>
              <a:gd name="connsiteX40799" fmla="*/ 4272734 w 8079933"/>
              <a:gd name="connsiteY40799" fmla="*/ 3582672 h 4687251"/>
              <a:gd name="connsiteX40800" fmla="*/ 4260037 w 8079933"/>
              <a:gd name="connsiteY40800" fmla="*/ 3564375 h 4687251"/>
              <a:gd name="connsiteX40801" fmla="*/ 4260037 w 8079933"/>
              <a:gd name="connsiteY40801" fmla="*/ 3557770 h 4687251"/>
              <a:gd name="connsiteX40802" fmla="*/ 4248101 w 8079933"/>
              <a:gd name="connsiteY40802" fmla="*/ 3540772 h 4687251"/>
              <a:gd name="connsiteX40803" fmla="*/ 4246256 w 8079933"/>
              <a:gd name="connsiteY40803" fmla="*/ 3530161 h 4687251"/>
              <a:gd name="connsiteX40804" fmla="*/ 4234427 w 8079933"/>
              <a:gd name="connsiteY40804" fmla="*/ 3503635 h 4687251"/>
              <a:gd name="connsiteX40805" fmla="*/ 4226831 w 8079933"/>
              <a:gd name="connsiteY40805" fmla="*/ 3490643 h 4687251"/>
              <a:gd name="connsiteX40806" fmla="*/ 4212724 w 8079933"/>
              <a:gd name="connsiteY40806" fmla="*/ 3476135 h 4687251"/>
              <a:gd name="connsiteX40807" fmla="*/ 4211422 w 8079933"/>
              <a:gd name="connsiteY40807" fmla="*/ 3455888 h 4687251"/>
              <a:gd name="connsiteX40808" fmla="*/ 4211423 w 8079933"/>
              <a:gd name="connsiteY40808" fmla="*/ 3455888 h 4687251"/>
              <a:gd name="connsiteX40809" fmla="*/ 4211314 w 8079933"/>
              <a:gd name="connsiteY40809" fmla="*/ 3453398 h 4687251"/>
              <a:gd name="connsiteX40810" fmla="*/ 4212291 w 8079933"/>
              <a:gd name="connsiteY40810" fmla="*/ 3445820 h 4687251"/>
              <a:gd name="connsiteX40811" fmla="*/ 4211965 w 8079933"/>
              <a:gd name="connsiteY40811" fmla="*/ 3434235 h 4687251"/>
              <a:gd name="connsiteX40812" fmla="*/ 4213050 w 8079933"/>
              <a:gd name="connsiteY40812" fmla="*/ 3426656 h 4687251"/>
              <a:gd name="connsiteX40813" fmla="*/ 4213050 w 8079933"/>
              <a:gd name="connsiteY40813" fmla="*/ 3417994 h 4687251"/>
              <a:gd name="connsiteX40814" fmla="*/ 4219561 w 8079933"/>
              <a:gd name="connsiteY40814" fmla="*/ 3410090 h 4687251"/>
              <a:gd name="connsiteX40815" fmla="*/ 4221080 w 8079933"/>
              <a:gd name="connsiteY40815" fmla="*/ 3400996 h 4687251"/>
              <a:gd name="connsiteX40816" fmla="*/ 4226832 w 8079933"/>
              <a:gd name="connsiteY40816" fmla="*/ 3393417 h 4687251"/>
              <a:gd name="connsiteX40817" fmla="*/ 4226832 w 8079933"/>
              <a:gd name="connsiteY40817" fmla="*/ 3374252 h 4687251"/>
              <a:gd name="connsiteX40818" fmla="*/ 4229002 w 8079933"/>
              <a:gd name="connsiteY40818" fmla="*/ 3372413 h 4687251"/>
              <a:gd name="connsiteX40819" fmla="*/ 4229328 w 8079933"/>
              <a:gd name="connsiteY40819" fmla="*/ 3364509 h 4687251"/>
              <a:gd name="connsiteX40820" fmla="*/ 4242350 w 8079933"/>
              <a:gd name="connsiteY40820" fmla="*/ 3352923 h 4687251"/>
              <a:gd name="connsiteX40821" fmla="*/ 4242784 w 8079933"/>
              <a:gd name="connsiteY40821" fmla="*/ 3347185 h 4687251"/>
              <a:gd name="connsiteX40822" fmla="*/ 4253310 w 8079933"/>
              <a:gd name="connsiteY40822" fmla="*/ 3339173 h 4687251"/>
              <a:gd name="connsiteX40823" fmla="*/ 4256131 w 8079933"/>
              <a:gd name="connsiteY40823" fmla="*/ 3339173 h 4687251"/>
              <a:gd name="connsiteX40824" fmla="*/ 4265572 w 8079933"/>
              <a:gd name="connsiteY40824" fmla="*/ 3321525 h 4687251"/>
              <a:gd name="connsiteX40825" fmla="*/ 4265572 w 8079933"/>
              <a:gd name="connsiteY40825" fmla="*/ 3300520 h 4687251"/>
              <a:gd name="connsiteX40826" fmla="*/ 4262642 w 8079933"/>
              <a:gd name="connsiteY40826" fmla="*/ 3296948 h 4687251"/>
              <a:gd name="connsiteX40827" fmla="*/ 4263077 w 8079933"/>
              <a:gd name="connsiteY40827" fmla="*/ 3292942 h 4687251"/>
              <a:gd name="connsiteX40828" fmla="*/ 4253961 w 8079933"/>
              <a:gd name="connsiteY40828" fmla="*/ 3278108 h 4687251"/>
              <a:gd name="connsiteX40829" fmla="*/ 4253961 w 8079933"/>
              <a:gd name="connsiteY40829" fmla="*/ 3271937 h 4687251"/>
              <a:gd name="connsiteX40830" fmla="*/ 4250379 w 8079933"/>
              <a:gd name="connsiteY40830" fmla="*/ 3266199 h 4687251"/>
              <a:gd name="connsiteX40831" fmla="*/ 4250379 w 8079933"/>
              <a:gd name="connsiteY40831" fmla="*/ 3257537 h 4687251"/>
              <a:gd name="connsiteX40832" fmla="*/ 4246040 w 8079933"/>
              <a:gd name="connsiteY40832" fmla="*/ 3255372 h 4687251"/>
              <a:gd name="connsiteX40833" fmla="*/ 4253636 w 8079933"/>
              <a:gd name="connsiteY40833" fmla="*/ 3245627 h 4687251"/>
              <a:gd name="connsiteX40834" fmla="*/ 4254720 w 8079933"/>
              <a:gd name="connsiteY40834" fmla="*/ 3236208 h 4687251"/>
              <a:gd name="connsiteX40835" fmla="*/ 4247450 w 8079933"/>
              <a:gd name="connsiteY40835" fmla="*/ 3226139 h 4687251"/>
              <a:gd name="connsiteX40836" fmla="*/ 4247016 w 8079933"/>
              <a:gd name="connsiteY40836" fmla="*/ 3207516 h 4687251"/>
              <a:gd name="connsiteX40837" fmla="*/ 4233777 w 8079933"/>
              <a:gd name="connsiteY40837" fmla="*/ 3192683 h 4687251"/>
              <a:gd name="connsiteX40838" fmla="*/ 4233777 w 8079933"/>
              <a:gd name="connsiteY40838" fmla="*/ 3189219 h 4687251"/>
              <a:gd name="connsiteX40839" fmla="*/ 4231281 w 8079933"/>
              <a:gd name="connsiteY40839" fmla="*/ 3186187 h 4687251"/>
              <a:gd name="connsiteX40840" fmla="*/ 4238117 w 8079933"/>
              <a:gd name="connsiteY40840" fmla="*/ 3182397 h 4687251"/>
              <a:gd name="connsiteX40841" fmla="*/ 4238552 w 8079933"/>
              <a:gd name="connsiteY40841" fmla="*/ 3182397 h 4687251"/>
              <a:gd name="connsiteX40842" fmla="*/ 4238986 w 8079933"/>
              <a:gd name="connsiteY40842" fmla="*/ 3182181 h 4687251"/>
              <a:gd name="connsiteX40843" fmla="*/ 4239854 w 8079933"/>
              <a:gd name="connsiteY40843" fmla="*/ 3181098 h 4687251"/>
              <a:gd name="connsiteX40844" fmla="*/ 4241699 w 8079933"/>
              <a:gd name="connsiteY40844" fmla="*/ 3181098 h 4687251"/>
              <a:gd name="connsiteX40845" fmla="*/ 4243218 w 8079933"/>
              <a:gd name="connsiteY40845" fmla="*/ 3180340 h 4687251"/>
              <a:gd name="connsiteX40846" fmla="*/ 4247341 w 8079933"/>
              <a:gd name="connsiteY40846" fmla="*/ 3179149 h 4687251"/>
              <a:gd name="connsiteX40847" fmla="*/ 4251139 w 8079933"/>
              <a:gd name="connsiteY40847" fmla="*/ 3178283 h 4687251"/>
              <a:gd name="connsiteX40848" fmla="*/ 4254720 w 8079933"/>
              <a:gd name="connsiteY40848" fmla="*/ 3178716 h 4687251"/>
              <a:gd name="connsiteX40849" fmla="*/ 4258084 w 8079933"/>
              <a:gd name="connsiteY40849" fmla="*/ 3179040 h 4687251"/>
              <a:gd name="connsiteX40850" fmla="*/ 4262859 w 8079933"/>
              <a:gd name="connsiteY40850" fmla="*/ 3179040 h 4687251"/>
              <a:gd name="connsiteX40851" fmla="*/ 4268393 w 8079933"/>
              <a:gd name="connsiteY40851" fmla="*/ 3178825 h 4687251"/>
              <a:gd name="connsiteX40852" fmla="*/ 4275447 w 8079933"/>
              <a:gd name="connsiteY40852" fmla="*/ 3178499 h 4687251"/>
              <a:gd name="connsiteX40853" fmla="*/ 4279245 w 8079933"/>
              <a:gd name="connsiteY40853" fmla="*/ 3178825 h 4687251"/>
              <a:gd name="connsiteX40854" fmla="*/ 4286841 w 8079933"/>
              <a:gd name="connsiteY40854" fmla="*/ 3179149 h 4687251"/>
              <a:gd name="connsiteX40855" fmla="*/ 4295089 w 8079933"/>
              <a:gd name="connsiteY40855" fmla="*/ 3178499 h 4687251"/>
              <a:gd name="connsiteX40856" fmla="*/ 4312017 w 8079933"/>
              <a:gd name="connsiteY40856" fmla="*/ 3178499 h 4687251"/>
              <a:gd name="connsiteX40857" fmla="*/ 4336976 w 8079933"/>
              <a:gd name="connsiteY40857" fmla="*/ 3178607 h 4687251"/>
              <a:gd name="connsiteX40858" fmla="*/ 4336976 w 8079933"/>
              <a:gd name="connsiteY40858" fmla="*/ 3178607 h 4687251"/>
              <a:gd name="connsiteX40859" fmla="*/ 4312016 w 8079933"/>
              <a:gd name="connsiteY40859" fmla="*/ 3178498 h 4687251"/>
              <a:gd name="connsiteX40860" fmla="*/ 4295088 w 8079933"/>
              <a:gd name="connsiteY40860" fmla="*/ 3178498 h 4687251"/>
              <a:gd name="connsiteX40861" fmla="*/ 4286841 w 8079933"/>
              <a:gd name="connsiteY40861" fmla="*/ 3179148 h 4687251"/>
              <a:gd name="connsiteX40862" fmla="*/ 4279244 w 8079933"/>
              <a:gd name="connsiteY40862" fmla="*/ 3178824 h 4687251"/>
              <a:gd name="connsiteX40863" fmla="*/ 4275446 w 8079933"/>
              <a:gd name="connsiteY40863" fmla="*/ 3178498 h 4687251"/>
              <a:gd name="connsiteX40864" fmla="*/ 4268393 w 8079933"/>
              <a:gd name="connsiteY40864" fmla="*/ 3178824 h 4687251"/>
              <a:gd name="connsiteX40865" fmla="*/ 4262859 w 8079933"/>
              <a:gd name="connsiteY40865" fmla="*/ 3179039 h 4687251"/>
              <a:gd name="connsiteX40866" fmla="*/ 4258084 w 8079933"/>
              <a:gd name="connsiteY40866" fmla="*/ 3179039 h 4687251"/>
              <a:gd name="connsiteX40867" fmla="*/ 4254720 w 8079933"/>
              <a:gd name="connsiteY40867" fmla="*/ 3178715 h 4687251"/>
              <a:gd name="connsiteX40868" fmla="*/ 4251139 w 8079933"/>
              <a:gd name="connsiteY40868" fmla="*/ 3178282 h 4687251"/>
              <a:gd name="connsiteX40869" fmla="*/ 4247340 w 8079933"/>
              <a:gd name="connsiteY40869" fmla="*/ 3179148 h 4687251"/>
              <a:gd name="connsiteX40870" fmla="*/ 4243217 w 8079933"/>
              <a:gd name="connsiteY40870" fmla="*/ 3180339 h 4687251"/>
              <a:gd name="connsiteX40871" fmla="*/ 4241698 w 8079933"/>
              <a:gd name="connsiteY40871" fmla="*/ 3181097 h 4687251"/>
              <a:gd name="connsiteX40872" fmla="*/ 4239853 w 8079933"/>
              <a:gd name="connsiteY40872" fmla="*/ 3181097 h 4687251"/>
              <a:gd name="connsiteX40873" fmla="*/ 4238985 w 8079933"/>
              <a:gd name="connsiteY40873" fmla="*/ 3182180 h 4687251"/>
              <a:gd name="connsiteX40874" fmla="*/ 4238551 w 8079933"/>
              <a:gd name="connsiteY40874" fmla="*/ 3182396 h 4687251"/>
              <a:gd name="connsiteX40875" fmla="*/ 4238117 w 8079933"/>
              <a:gd name="connsiteY40875" fmla="*/ 3182396 h 4687251"/>
              <a:gd name="connsiteX40876" fmla="*/ 4235295 w 8079933"/>
              <a:gd name="connsiteY40876" fmla="*/ 3180231 h 4687251"/>
              <a:gd name="connsiteX40877" fmla="*/ 4228350 w 8079933"/>
              <a:gd name="connsiteY40877" fmla="*/ 3180122 h 4687251"/>
              <a:gd name="connsiteX40878" fmla="*/ 4227157 w 8079933"/>
              <a:gd name="connsiteY40878" fmla="*/ 3177309 h 4687251"/>
              <a:gd name="connsiteX40879" fmla="*/ 4227157 w 8079933"/>
              <a:gd name="connsiteY40879" fmla="*/ 3177309 h 4687251"/>
              <a:gd name="connsiteX40880" fmla="*/ 4225855 w 8079933"/>
              <a:gd name="connsiteY40880" fmla="*/ 3174494 h 4687251"/>
              <a:gd name="connsiteX40881" fmla="*/ 4228567 w 8079933"/>
              <a:gd name="connsiteY40881" fmla="*/ 3169406 h 4687251"/>
              <a:gd name="connsiteX40882" fmla="*/ 4226940 w 8079933"/>
              <a:gd name="connsiteY40882" fmla="*/ 3162584 h 4687251"/>
              <a:gd name="connsiteX40883" fmla="*/ 4224010 w 8079933"/>
              <a:gd name="connsiteY40883" fmla="*/ 3159445 h 4687251"/>
              <a:gd name="connsiteX40884" fmla="*/ 4226397 w 8079933"/>
              <a:gd name="connsiteY40884" fmla="*/ 3158037 h 4687251"/>
              <a:gd name="connsiteX40885" fmla="*/ 4228676 w 8079933"/>
              <a:gd name="connsiteY40885" fmla="*/ 3152406 h 4687251"/>
              <a:gd name="connsiteX40886" fmla="*/ 4230303 w 8079933"/>
              <a:gd name="connsiteY40886" fmla="*/ 3152406 h 4687251"/>
              <a:gd name="connsiteX40887" fmla="*/ 4234101 w 8079933"/>
              <a:gd name="connsiteY40887" fmla="*/ 3150349 h 4687251"/>
              <a:gd name="connsiteX40888" fmla="*/ 4235121 w 8079933"/>
              <a:gd name="connsiteY40888" fmla="*/ 3147297 h 4687251"/>
              <a:gd name="connsiteX40889" fmla="*/ 4234101 w 8079933"/>
              <a:gd name="connsiteY40889" fmla="*/ 3150348 h 4687251"/>
              <a:gd name="connsiteX40890" fmla="*/ 4230303 w 8079933"/>
              <a:gd name="connsiteY40890" fmla="*/ 3152405 h 4687251"/>
              <a:gd name="connsiteX40891" fmla="*/ 4228675 w 8079933"/>
              <a:gd name="connsiteY40891" fmla="*/ 3152405 h 4687251"/>
              <a:gd name="connsiteX40892" fmla="*/ 4226397 w 8079933"/>
              <a:gd name="connsiteY40892" fmla="*/ 3158036 h 4687251"/>
              <a:gd name="connsiteX40893" fmla="*/ 4224009 w 8079933"/>
              <a:gd name="connsiteY40893" fmla="*/ 3159443 h 4687251"/>
              <a:gd name="connsiteX40894" fmla="*/ 4221296 w 8079933"/>
              <a:gd name="connsiteY40894" fmla="*/ 3156412 h 4687251"/>
              <a:gd name="connsiteX40895" fmla="*/ 4221513 w 8079933"/>
              <a:gd name="connsiteY40895" fmla="*/ 3151756 h 4687251"/>
              <a:gd name="connsiteX40896" fmla="*/ 4217715 w 8079933"/>
              <a:gd name="connsiteY40896" fmla="*/ 3147642 h 4687251"/>
              <a:gd name="connsiteX40897" fmla="*/ 4217498 w 8079933"/>
              <a:gd name="connsiteY40897" fmla="*/ 3143311 h 4687251"/>
              <a:gd name="connsiteX40898" fmla="*/ 4210336 w 8079933"/>
              <a:gd name="connsiteY40898" fmla="*/ 3138763 h 4687251"/>
              <a:gd name="connsiteX40899" fmla="*/ 4208600 w 8079933"/>
              <a:gd name="connsiteY40899" fmla="*/ 3135732 h 4687251"/>
              <a:gd name="connsiteX40900" fmla="*/ 4203934 w 8079933"/>
              <a:gd name="connsiteY40900" fmla="*/ 3131076 h 4687251"/>
              <a:gd name="connsiteX40901" fmla="*/ 4207406 w 8079933"/>
              <a:gd name="connsiteY40901" fmla="*/ 3126204 h 4687251"/>
              <a:gd name="connsiteX40902" fmla="*/ 4207841 w 8079933"/>
              <a:gd name="connsiteY40902" fmla="*/ 3122956 h 4687251"/>
              <a:gd name="connsiteX40903" fmla="*/ 4210119 w 8079933"/>
              <a:gd name="connsiteY40903" fmla="*/ 3121873 h 4687251"/>
              <a:gd name="connsiteX40904" fmla="*/ 4214460 w 8079933"/>
              <a:gd name="connsiteY40904" fmla="*/ 3121657 h 4687251"/>
              <a:gd name="connsiteX40905" fmla="*/ 4210119 w 8079933"/>
              <a:gd name="connsiteY40905" fmla="*/ 3121873 h 4687251"/>
              <a:gd name="connsiteX40906" fmla="*/ 4207840 w 8079933"/>
              <a:gd name="connsiteY40906" fmla="*/ 3122956 h 4687251"/>
              <a:gd name="connsiteX40907" fmla="*/ 4207406 w 8079933"/>
              <a:gd name="connsiteY40907" fmla="*/ 3126204 h 4687251"/>
              <a:gd name="connsiteX40908" fmla="*/ 4203933 w 8079933"/>
              <a:gd name="connsiteY40908" fmla="*/ 3131076 h 4687251"/>
              <a:gd name="connsiteX40909" fmla="*/ 4202848 w 8079933"/>
              <a:gd name="connsiteY40909" fmla="*/ 3130102 h 4687251"/>
              <a:gd name="connsiteX40910" fmla="*/ 4198725 w 8079933"/>
              <a:gd name="connsiteY40910" fmla="*/ 3128478 h 4687251"/>
              <a:gd name="connsiteX40911" fmla="*/ 4197966 w 8079933"/>
              <a:gd name="connsiteY40911" fmla="*/ 3124471 h 4687251"/>
              <a:gd name="connsiteX40912" fmla="*/ 4189284 w 8079933"/>
              <a:gd name="connsiteY40912" fmla="*/ 3120358 h 4687251"/>
              <a:gd name="connsiteX40913" fmla="*/ 4187113 w 8079933"/>
              <a:gd name="connsiteY40913" fmla="*/ 3115161 h 4687251"/>
              <a:gd name="connsiteX40914" fmla="*/ 4176262 w 8079933"/>
              <a:gd name="connsiteY40914" fmla="*/ 3106499 h 4687251"/>
              <a:gd name="connsiteX40915" fmla="*/ 4169751 w 8079933"/>
              <a:gd name="connsiteY40915" fmla="*/ 3099569 h 4687251"/>
              <a:gd name="connsiteX40916" fmla="*/ 4171596 w 8079933"/>
              <a:gd name="connsiteY40916" fmla="*/ 3098379 h 4687251"/>
              <a:gd name="connsiteX40917" fmla="*/ 4165410 w 8079933"/>
              <a:gd name="connsiteY40917" fmla="*/ 3093290 h 4687251"/>
              <a:gd name="connsiteX40918" fmla="*/ 4162915 w 8079933"/>
              <a:gd name="connsiteY40918" fmla="*/ 3087660 h 4687251"/>
              <a:gd name="connsiteX40919" fmla="*/ 4159334 w 8079933"/>
              <a:gd name="connsiteY40919" fmla="*/ 3084087 h 4687251"/>
              <a:gd name="connsiteX40920" fmla="*/ 4159334 w 8079933"/>
              <a:gd name="connsiteY40920" fmla="*/ 3076941 h 4687251"/>
              <a:gd name="connsiteX40921" fmla="*/ 4154993 w 8079933"/>
              <a:gd name="connsiteY40921" fmla="*/ 3071311 h 4687251"/>
              <a:gd name="connsiteX40922" fmla="*/ 4154993 w 8079933"/>
              <a:gd name="connsiteY40922" fmla="*/ 3067522 h 4687251"/>
              <a:gd name="connsiteX40923" fmla="*/ 4152171 w 8079933"/>
              <a:gd name="connsiteY40923" fmla="*/ 3065356 h 4687251"/>
              <a:gd name="connsiteX40924" fmla="*/ 4147180 w 8079933"/>
              <a:gd name="connsiteY40924" fmla="*/ 3054854 h 4687251"/>
              <a:gd name="connsiteX40925" fmla="*/ 4147505 w 8079933"/>
              <a:gd name="connsiteY40925" fmla="*/ 3052364 h 4687251"/>
              <a:gd name="connsiteX40926" fmla="*/ 4153365 w 8079933"/>
              <a:gd name="connsiteY40926" fmla="*/ 3054313 h 4687251"/>
              <a:gd name="connsiteX40927" fmla="*/ 4157814 w 8079933"/>
              <a:gd name="connsiteY40927" fmla="*/ 3050523 h 4687251"/>
              <a:gd name="connsiteX40928" fmla="*/ 4158899 w 8079933"/>
              <a:gd name="connsiteY40928" fmla="*/ 3037314 h 4687251"/>
              <a:gd name="connsiteX40929" fmla="*/ 4159659 w 8079933"/>
              <a:gd name="connsiteY40929" fmla="*/ 3030710 h 4687251"/>
              <a:gd name="connsiteX40930" fmla="*/ 4162372 w 8079933"/>
              <a:gd name="connsiteY40930" fmla="*/ 3033417 h 4687251"/>
              <a:gd name="connsiteX40931" fmla="*/ 4172898 w 8079933"/>
              <a:gd name="connsiteY40931" fmla="*/ 3030818 h 4687251"/>
              <a:gd name="connsiteX40932" fmla="*/ 4165410 w 8079933"/>
              <a:gd name="connsiteY40932" fmla="*/ 3029085 h 4687251"/>
              <a:gd name="connsiteX40933" fmla="*/ 4160744 w 8079933"/>
              <a:gd name="connsiteY40933" fmla="*/ 3021507 h 4687251"/>
              <a:gd name="connsiteX40934" fmla="*/ 4165845 w 8079933"/>
              <a:gd name="connsiteY40934" fmla="*/ 3020749 h 4687251"/>
              <a:gd name="connsiteX40935" fmla="*/ 4166062 w 8079933"/>
              <a:gd name="connsiteY40935" fmla="*/ 3015119 h 4687251"/>
              <a:gd name="connsiteX40936" fmla="*/ 4168991 w 8079933"/>
              <a:gd name="connsiteY40936" fmla="*/ 3015660 h 4687251"/>
              <a:gd name="connsiteX40937" fmla="*/ 4170686 w 8079933"/>
              <a:gd name="connsiteY40937" fmla="*/ 3014470 h 4687251"/>
              <a:gd name="connsiteX40938" fmla="*/ 4168991 w 8079933"/>
              <a:gd name="connsiteY40938" fmla="*/ 3015660 h 4687251"/>
              <a:gd name="connsiteX40939" fmla="*/ 4166062 w 8079933"/>
              <a:gd name="connsiteY40939" fmla="*/ 3015119 h 4687251"/>
              <a:gd name="connsiteX40940" fmla="*/ 4166170 w 8079933"/>
              <a:gd name="connsiteY40940" fmla="*/ 3013711 h 4687251"/>
              <a:gd name="connsiteX40941" fmla="*/ 4160202 w 8079933"/>
              <a:gd name="connsiteY40941" fmla="*/ 3010680 h 4687251"/>
              <a:gd name="connsiteX40942" fmla="*/ 4166170 w 8079933"/>
              <a:gd name="connsiteY40942" fmla="*/ 2999311 h 4687251"/>
              <a:gd name="connsiteX40943" fmla="*/ 4173766 w 8079933"/>
              <a:gd name="connsiteY40943" fmla="*/ 2990758 h 4687251"/>
              <a:gd name="connsiteX40944" fmla="*/ 4171922 w 8079933"/>
              <a:gd name="connsiteY40944" fmla="*/ 2986644 h 4687251"/>
              <a:gd name="connsiteX40945" fmla="*/ 4172898 w 8079933"/>
              <a:gd name="connsiteY40945" fmla="*/ 2985670 h 4687251"/>
              <a:gd name="connsiteX40946" fmla="*/ 4174172 w 8079933"/>
              <a:gd name="connsiteY40946" fmla="*/ 2985443 h 4687251"/>
              <a:gd name="connsiteX40947" fmla="*/ 4172899 w 8079933"/>
              <a:gd name="connsiteY40947" fmla="*/ 2985669 h 4687251"/>
              <a:gd name="connsiteX40948" fmla="*/ 4176697 w 8079933"/>
              <a:gd name="connsiteY40948" fmla="*/ 2981989 h 4687251"/>
              <a:gd name="connsiteX40949" fmla="*/ 4173224 w 8079933"/>
              <a:gd name="connsiteY40949" fmla="*/ 2978307 h 4687251"/>
              <a:gd name="connsiteX40950" fmla="*/ 4176479 w 8079933"/>
              <a:gd name="connsiteY40950" fmla="*/ 2970079 h 4687251"/>
              <a:gd name="connsiteX40951" fmla="*/ 4175611 w 8079933"/>
              <a:gd name="connsiteY40951" fmla="*/ 2960875 h 4687251"/>
              <a:gd name="connsiteX40952" fmla="*/ 4171163 w 8079933"/>
              <a:gd name="connsiteY40952" fmla="*/ 2954704 h 4687251"/>
              <a:gd name="connsiteX40953" fmla="*/ 4171163 w 8079933"/>
              <a:gd name="connsiteY40953" fmla="*/ 2947991 h 4687251"/>
              <a:gd name="connsiteX40954" fmla="*/ 4172899 w 8079933"/>
              <a:gd name="connsiteY40954" fmla="*/ 2944959 h 4687251"/>
              <a:gd name="connsiteX40955" fmla="*/ 4169209 w 8079933"/>
              <a:gd name="connsiteY40955" fmla="*/ 2939221 h 4687251"/>
              <a:gd name="connsiteX40956" fmla="*/ 4162155 w 8079933"/>
              <a:gd name="connsiteY40956" fmla="*/ 2942253 h 4687251"/>
              <a:gd name="connsiteX40957" fmla="*/ 4159985 w 8079933"/>
              <a:gd name="connsiteY40957" fmla="*/ 2939763 h 4687251"/>
              <a:gd name="connsiteX40958" fmla="*/ 4155861 w 8079933"/>
              <a:gd name="connsiteY40958" fmla="*/ 2939221 h 4687251"/>
              <a:gd name="connsiteX40959" fmla="*/ 4152931 w 8079933"/>
              <a:gd name="connsiteY40959" fmla="*/ 2924605 h 4687251"/>
              <a:gd name="connsiteX40960" fmla="*/ 4149133 w 8079933"/>
              <a:gd name="connsiteY40960" fmla="*/ 2926554 h 4687251"/>
              <a:gd name="connsiteX40961" fmla="*/ 4145878 w 8079933"/>
              <a:gd name="connsiteY40961" fmla="*/ 2925038 h 4687251"/>
              <a:gd name="connsiteX40962" fmla="*/ 4145910 w 8079933"/>
              <a:gd name="connsiteY40962" fmla="*/ 2924589 h 4687251"/>
              <a:gd name="connsiteX40963" fmla="*/ 4145878 w 8079933"/>
              <a:gd name="connsiteY40963" fmla="*/ 2925037 h 4687251"/>
              <a:gd name="connsiteX40964" fmla="*/ 4145770 w 8079933"/>
              <a:gd name="connsiteY40964" fmla="*/ 2924929 h 4687251"/>
              <a:gd name="connsiteX40965" fmla="*/ 4143925 w 8079933"/>
              <a:gd name="connsiteY40965" fmla="*/ 2926012 h 4687251"/>
              <a:gd name="connsiteX40966" fmla="*/ 4139584 w 8079933"/>
              <a:gd name="connsiteY40966" fmla="*/ 2921464 h 4687251"/>
              <a:gd name="connsiteX40967" fmla="*/ 4137197 w 8079933"/>
              <a:gd name="connsiteY40967" fmla="*/ 2928177 h 4687251"/>
              <a:gd name="connsiteX40968" fmla="*/ 4131119 w 8079933"/>
              <a:gd name="connsiteY40968" fmla="*/ 2929476 h 4687251"/>
              <a:gd name="connsiteX40969" fmla="*/ 4127430 w 8079933"/>
              <a:gd name="connsiteY40969" fmla="*/ 2927852 h 4687251"/>
              <a:gd name="connsiteX40970" fmla="*/ 4116470 w 8079933"/>
              <a:gd name="connsiteY40970" fmla="*/ 2931750 h 4687251"/>
              <a:gd name="connsiteX40971" fmla="*/ 4112997 w 8079933"/>
              <a:gd name="connsiteY40971" fmla="*/ 2930342 h 4687251"/>
              <a:gd name="connsiteX40972" fmla="*/ 4108331 w 8079933"/>
              <a:gd name="connsiteY40972" fmla="*/ 2933266 h 4687251"/>
              <a:gd name="connsiteX40973" fmla="*/ 4085109 w 8079933"/>
              <a:gd name="connsiteY40973" fmla="*/ 2934565 h 4687251"/>
              <a:gd name="connsiteX40974" fmla="*/ 4076427 w 8079933"/>
              <a:gd name="connsiteY40974" fmla="*/ 2932075 h 4687251"/>
              <a:gd name="connsiteX40975" fmla="*/ 4070351 w 8079933"/>
              <a:gd name="connsiteY40975" fmla="*/ 2926553 h 4687251"/>
              <a:gd name="connsiteX40976" fmla="*/ 4067529 w 8079933"/>
              <a:gd name="connsiteY40976" fmla="*/ 2918325 h 4687251"/>
              <a:gd name="connsiteX40977" fmla="*/ 4064382 w 8079933"/>
              <a:gd name="connsiteY40977" fmla="*/ 2916592 h 4687251"/>
              <a:gd name="connsiteX40978" fmla="*/ 4064490 w 8079933"/>
              <a:gd name="connsiteY40978" fmla="*/ 2909122 h 4687251"/>
              <a:gd name="connsiteX40979" fmla="*/ 4058522 w 8079933"/>
              <a:gd name="connsiteY40979" fmla="*/ 2897536 h 4687251"/>
              <a:gd name="connsiteX40980" fmla="*/ 4048756 w 8079933"/>
              <a:gd name="connsiteY40980" fmla="*/ 2888008 h 4687251"/>
              <a:gd name="connsiteX40981" fmla="*/ 4031284 w 8079933"/>
              <a:gd name="connsiteY40981" fmla="*/ 2878697 h 4687251"/>
              <a:gd name="connsiteX40982" fmla="*/ 4023688 w 8079933"/>
              <a:gd name="connsiteY40982" fmla="*/ 2881838 h 4687251"/>
              <a:gd name="connsiteX40983" fmla="*/ 4014356 w 8079933"/>
              <a:gd name="connsiteY40983" fmla="*/ 2879888 h 4687251"/>
              <a:gd name="connsiteX40984" fmla="*/ 4013379 w 8079933"/>
              <a:gd name="connsiteY40984" fmla="*/ 2875124 h 4687251"/>
              <a:gd name="connsiteX40985" fmla="*/ 4014356 w 8079933"/>
              <a:gd name="connsiteY40985" fmla="*/ 2863106 h 4687251"/>
              <a:gd name="connsiteX40986" fmla="*/ 4013705 w 8079933"/>
              <a:gd name="connsiteY40986" fmla="*/ 2859209 h 4687251"/>
              <a:gd name="connsiteX40987" fmla="*/ 4013922 w 8079933"/>
              <a:gd name="connsiteY40987" fmla="*/ 2855744 h 4687251"/>
              <a:gd name="connsiteX40988" fmla="*/ 4012837 w 8079933"/>
              <a:gd name="connsiteY40988" fmla="*/ 2845567 h 4687251"/>
              <a:gd name="connsiteX40989" fmla="*/ 4013705 w 8079933"/>
              <a:gd name="connsiteY40989" fmla="*/ 2841994 h 4687251"/>
              <a:gd name="connsiteX40990" fmla="*/ 4013488 w 8079933"/>
              <a:gd name="connsiteY40990" fmla="*/ 2839287 h 4687251"/>
              <a:gd name="connsiteX40991" fmla="*/ 4012511 w 8079933"/>
              <a:gd name="connsiteY40991" fmla="*/ 2837663 h 4687251"/>
              <a:gd name="connsiteX40992" fmla="*/ 4013163 w 8079933"/>
              <a:gd name="connsiteY40992" fmla="*/ 2835822 h 4687251"/>
              <a:gd name="connsiteX40993" fmla="*/ 4012511 w 8079933"/>
              <a:gd name="connsiteY40993" fmla="*/ 2831816 h 4687251"/>
              <a:gd name="connsiteX40994" fmla="*/ 4012186 w 8079933"/>
              <a:gd name="connsiteY40994" fmla="*/ 2830084 h 4687251"/>
              <a:gd name="connsiteX40995" fmla="*/ 4012619 w 8079933"/>
              <a:gd name="connsiteY40995" fmla="*/ 2824887 h 4687251"/>
              <a:gd name="connsiteX40996" fmla="*/ 4013163 w 8079933"/>
              <a:gd name="connsiteY40996" fmla="*/ 2821422 h 4687251"/>
              <a:gd name="connsiteX40997" fmla="*/ 4012837 w 8079933"/>
              <a:gd name="connsiteY40997" fmla="*/ 2817092 h 4687251"/>
              <a:gd name="connsiteX40998" fmla="*/ 4014200 w 8079933"/>
              <a:gd name="connsiteY40998" fmla="*/ 2815010 h 4687251"/>
              <a:gd name="connsiteX40999" fmla="*/ 4012836 w 8079933"/>
              <a:gd name="connsiteY40999" fmla="*/ 2817092 h 4687251"/>
              <a:gd name="connsiteX41000" fmla="*/ 4013162 w 8079933"/>
              <a:gd name="connsiteY41000" fmla="*/ 2821423 h 4687251"/>
              <a:gd name="connsiteX41001" fmla="*/ 4012619 w 8079933"/>
              <a:gd name="connsiteY41001" fmla="*/ 2824887 h 4687251"/>
              <a:gd name="connsiteX41002" fmla="*/ 4012185 w 8079933"/>
              <a:gd name="connsiteY41002" fmla="*/ 2830085 h 4687251"/>
              <a:gd name="connsiteX41003" fmla="*/ 4012511 w 8079933"/>
              <a:gd name="connsiteY41003" fmla="*/ 2831816 h 4687251"/>
              <a:gd name="connsiteX41004" fmla="*/ 4013162 w 8079933"/>
              <a:gd name="connsiteY41004" fmla="*/ 2835823 h 4687251"/>
              <a:gd name="connsiteX41005" fmla="*/ 4012511 w 8079933"/>
              <a:gd name="connsiteY41005" fmla="*/ 2837663 h 4687251"/>
              <a:gd name="connsiteX41006" fmla="*/ 4013487 w 8079933"/>
              <a:gd name="connsiteY41006" fmla="*/ 2839287 h 4687251"/>
              <a:gd name="connsiteX41007" fmla="*/ 4013704 w 8079933"/>
              <a:gd name="connsiteY41007" fmla="*/ 2841994 h 4687251"/>
              <a:gd name="connsiteX41008" fmla="*/ 4012836 w 8079933"/>
              <a:gd name="connsiteY41008" fmla="*/ 2845567 h 4687251"/>
              <a:gd name="connsiteX41009" fmla="*/ 4013922 w 8079933"/>
              <a:gd name="connsiteY41009" fmla="*/ 2855744 h 4687251"/>
              <a:gd name="connsiteX41010" fmla="*/ 4013704 w 8079933"/>
              <a:gd name="connsiteY41010" fmla="*/ 2859209 h 4687251"/>
              <a:gd name="connsiteX41011" fmla="*/ 4014355 w 8079933"/>
              <a:gd name="connsiteY41011" fmla="*/ 2863107 h 4687251"/>
              <a:gd name="connsiteX41012" fmla="*/ 4013379 w 8079933"/>
              <a:gd name="connsiteY41012" fmla="*/ 2875125 h 4687251"/>
              <a:gd name="connsiteX41013" fmla="*/ 4014355 w 8079933"/>
              <a:gd name="connsiteY41013" fmla="*/ 2879889 h 4687251"/>
              <a:gd name="connsiteX41014" fmla="*/ 4013379 w 8079933"/>
              <a:gd name="connsiteY41014" fmla="*/ 2879672 h 4687251"/>
              <a:gd name="connsiteX41015" fmla="*/ 3996884 w 8079933"/>
              <a:gd name="connsiteY41015" fmla="*/ 2885194 h 4687251"/>
              <a:gd name="connsiteX41016" fmla="*/ 3988311 w 8079933"/>
              <a:gd name="connsiteY41016" fmla="*/ 2884111 h 4687251"/>
              <a:gd name="connsiteX41017" fmla="*/ 3989179 w 8079933"/>
              <a:gd name="connsiteY41017" fmla="*/ 2879564 h 4687251"/>
              <a:gd name="connsiteX41018" fmla="*/ 3985924 w 8079933"/>
              <a:gd name="connsiteY41018" fmla="*/ 2874042 h 4687251"/>
              <a:gd name="connsiteX41019" fmla="*/ 3985707 w 8079933"/>
              <a:gd name="connsiteY41019" fmla="*/ 2867438 h 4687251"/>
              <a:gd name="connsiteX41020" fmla="*/ 3984080 w 8079933"/>
              <a:gd name="connsiteY41020" fmla="*/ 2861483 h 4687251"/>
              <a:gd name="connsiteX41021" fmla="*/ 3984730 w 8079933"/>
              <a:gd name="connsiteY41021" fmla="*/ 2832791 h 4687251"/>
              <a:gd name="connsiteX41022" fmla="*/ 3985056 w 8079933"/>
              <a:gd name="connsiteY41022" fmla="*/ 2828677 h 4687251"/>
              <a:gd name="connsiteX41023" fmla="*/ 3987552 w 8079933"/>
              <a:gd name="connsiteY41023" fmla="*/ 2825537 h 4687251"/>
              <a:gd name="connsiteX41024" fmla="*/ 3987552 w 8079933"/>
              <a:gd name="connsiteY41024" fmla="*/ 2819799 h 4687251"/>
              <a:gd name="connsiteX41025" fmla="*/ 3987551 w 8079933"/>
              <a:gd name="connsiteY41025" fmla="*/ 2819798 h 4687251"/>
              <a:gd name="connsiteX41026" fmla="*/ 3987551 w 8079933"/>
              <a:gd name="connsiteY41026" fmla="*/ 2825537 h 4687251"/>
              <a:gd name="connsiteX41027" fmla="*/ 3985055 w 8079933"/>
              <a:gd name="connsiteY41027" fmla="*/ 2828677 h 4687251"/>
              <a:gd name="connsiteX41028" fmla="*/ 3984730 w 8079933"/>
              <a:gd name="connsiteY41028" fmla="*/ 2832791 h 4687251"/>
              <a:gd name="connsiteX41029" fmla="*/ 3984079 w 8079933"/>
              <a:gd name="connsiteY41029" fmla="*/ 2861483 h 4687251"/>
              <a:gd name="connsiteX41030" fmla="*/ 3985707 w 8079933"/>
              <a:gd name="connsiteY41030" fmla="*/ 2867438 h 4687251"/>
              <a:gd name="connsiteX41031" fmla="*/ 3985923 w 8079933"/>
              <a:gd name="connsiteY41031" fmla="*/ 2874042 h 4687251"/>
              <a:gd name="connsiteX41032" fmla="*/ 3989179 w 8079933"/>
              <a:gd name="connsiteY41032" fmla="*/ 2879564 h 4687251"/>
              <a:gd name="connsiteX41033" fmla="*/ 3988311 w 8079933"/>
              <a:gd name="connsiteY41033" fmla="*/ 2884112 h 4687251"/>
              <a:gd name="connsiteX41034" fmla="*/ 3985815 w 8079933"/>
              <a:gd name="connsiteY41034" fmla="*/ 2883787 h 4687251"/>
              <a:gd name="connsiteX41035" fmla="*/ 3973010 w 8079933"/>
              <a:gd name="connsiteY41035" fmla="*/ 2891690 h 4687251"/>
              <a:gd name="connsiteX41036" fmla="*/ 3970948 w 8079933"/>
              <a:gd name="connsiteY41036" fmla="*/ 2892015 h 4687251"/>
              <a:gd name="connsiteX41037" fmla="*/ 3970948 w 8079933"/>
              <a:gd name="connsiteY41037" fmla="*/ 2892015 h 4687251"/>
              <a:gd name="connsiteX41038" fmla="*/ 3958036 w 8079933"/>
              <a:gd name="connsiteY41038" fmla="*/ 2893747 h 4687251"/>
              <a:gd name="connsiteX41039" fmla="*/ 3946641 w 8079933"/>
              <a:gd name="connsiteY41039" fmla="*/ 2899161 h 4687251"/>
              <a:gd name="connsiteX41040" fmla="*/ 3934162 w 8079933"/>
              <a:gd name="connsiteY41040" fmla="*/ 2909663 h 4687251"/>
              <a:gd name="connsiteX41041" fmla="*/ 3919621 w 8079933"/>
              <a:gd name="connsiteY41041" fmla="*/ 2910855 h 4687251"/>
              <a:gd name="connsiteX41042" fmla="*/ 3899002 w 8079933"/>
              <a:gd name="connsiteY41042" fmla="*/ 2920815 h 4687251"/>
              <a:gd name="connsiteX41043" fmla="*/ 3889670 w 8079933"/>
              <a:gd name="connsiteY41043" fmla="*/ 2916593 h 4687251"/>
              <a:gd name="connsiteX41044" fmla="*/ 3876756 w 8079933"/>
              <a:gd name="connsiteY41044" fmla="*/ 2914861 h 4687251"/>
              <a:gd name="connsiteX41045" fmla="*/ 3875563 w 8079933"/>
              <a:gd name="connsiteY41045" fmla="*/ 2912587 h 4687251"/>
              <a:gd name="connsiteX41046" fmla="*/ 3875563 w 8079933"/>
              <a:gd name="connsiteY41046" fmla="*/ 2912586 h 4687251"/>
              <a:gd name="connsiteX41047" fmla="*/ 3872090 w 8079933"/>
              <a:gd name="connsiteY41047" fmla="*/ 2906415 h 4687251"/>
              <a:gd name="connsiteX41048" fmla="*/ 3867533 w 8079933"/>
              <a:gd name="connsiteY41048" fmla="*/ 2907498 h 4687251"/>
              <a:gd name="connsiteX41049" fmla="*/ 3866447 w 8079933"/>
              <a:gd name="connsiteY41049" fmla="*/ 2913344 h 4687251"/>
              <a:gd name="connsiteX41050" fmla="*/ 3855488 w 8079933"/>
              <a:gd name="connsiteY41050" fmla="*/ 2908148 h 4687251"/>
              <a:gd name="connsiteX41051" fmla="*/ 3843550 w 8079933"/>
              <a:gd name="connsiteY41051" fmla="*/ 2911937 h 4687251"/>
              <a:gd name="connsiteX41052" fmla="*/ 3811863 w 8079933"/>
              <a:gd name="connsiteY41052" fmla="*/ 2912154 h 4687251"/>
              <a:gd name="connsiteX41053" fmla="*/ 3802857 w 8079933"/>
              <a:gd name="connsiteY41053" fmla="*/ 2913344 h 4687251"/>
              <a:gd name="connsiteX41054" fmla="*/ 3802640 w 8079933"/>
              <a:gd name="connsiteY41054" fmla="*/ 2915727 h 4687251"/>
              <a:gd name="connsiteX41055" fmla="*/ 3786145 w 8079933"/>
              <a:gd name="connsiteY41055" fmla="*/ 2921898 h 4687251"/>
              <a:gd name="connsiteX41056" fmla="*/ 3784409 w 8079933"/>
              <a:gd name="connsiteY41056" fmla="*/ 2924172 h 4687251"/>
              <a:gd name="connsiteX41057" fmla="*/ 3779091 w 8079933"/>
              <a:gd name="connsiteY41057" fmla="*/ 2924172 h 4687251"/>
              <a:gd name="connsiteX41058" fmla="*/ 3770844 w 8079933"/>
              <a:gd name="connsiteY41058" fmla="*/ 2931426 h 4687251"/>
              <a:gd name="connsiteX41059" fmla="*/ 3768565 w 8079933"/>
              <a:gd name="connsiteY41059" fmla="*/ 2930560 h 4687251"/>
              <a:gd name="connsiteX41060" fmla="*/ 3768348 w 8079933"/>
              <a:gd name="connsiteY41060" fmla="*/ 2924930 h 4687251"/>
              <a:gd name="connsiteX41061" fmla="*/ 3766070 w 8079933"/>
              <a:gd name="connsiteY41061" fmla="*/ 2921140 h 4687251"/>
              <a:gd name="connsiteX41062" fmla="*/ 3768131 w 8079933"/>
              <a:gd name="connsiteY41062" fmla="*/ 2915619 h 4687251"/>
              <a:gd name="connsiteX41063" fmla="*/ 3766503 w 8079933"/>
              <a:gd name="connsiteY41063" fmla="*/ 2911937 h 4687251"/>
              <a:gd name="connsiteX41064" fmla="*/ 3767697 w 8079933"/>
              <a:gd name="connsiteY41064" fmla="*/ 2907823 h 4687251"/>
              <a:gd name="connsiteX41065" fmla="*/ 3769759 w 8079933"/>
              <a:gd name="connsiteY41065" fmla="*/ 2904792 h 4687251"/>
              <a:gd name="connsiteX41066" fmla="*/ 3768131 w 8079933"/>
              <a:gd name="connsiteY41066" fmla="*/ 2901868 h 4687251"/>
              <a:gd name="connsiteX41067" fmla="*/ 3771387 w 8079933"/>
              <a:gd name="connsiteY41067" fmla="*/ 2899270 h 4687251"/>
              <a:gd name="connsiteX41068" fmla="*/ 3769976 w 8079933"/>
              <a:gd name="connsiteY41068" fmla="*/ 2894505 h 4687251"/>
              <a:gd name="connsiteX41069" fmla="*/ 3766720 w 8079933"/>
              <a:gd name="connsiteY41069" fmla="*/ 2894289 h 4687251"/>
              <a:gd name="connsiteX41070" fmla="*/ 3763357 w 8079933"/>
              <a:gd name="connsiteY41070" fmla="*/ 2892015 h 4687251"/>
              <a:gd name="connsiteX41071" fmla="*/ 3761729 w 8079933"/>
              <a:gd name="connsiteY41071" fmla="*/ 2887143 h 4687251"/>
              <a:gd name="connsiteX41072" fmla="*/ 3758691 w 8079933"/>
              <a:gd name="connsiteY41072" fmla="*/ 2885844 h 4687251"/>
              <a:gd name="connsiteX41073" fmla="*/ 3757563 w 8079933"/>
              <a:gd name="connsiteY41073" fmla="*/ 2886094 h 4687251"/>
              <a:gd name="connsiteX41074" fmla="*/ 3758690 w 8079933"/>
              <a:gd name="connsiteY41074" fmla="*/ 2885844 h 4687251"/>
              <a:gd name="connsiteX41075" fmla="*/ 3761728 w 8079933"/>
              <a:gd name="connsiteY41075" fmla="*/ 2887144 h 4687251"/>
              <a:gd name="connsiteX41076" fmla="*/ 3763356 w 8079933"/>
              <a:gd name="connsiteY41076" fmla="*/ 2892015 h 4687251"/>
              <a:gd name="connsiteX41077" fmla="*/ 3766720 w 8079933"/>
              <a:gd name="connsiteY41077" fmla="*/ 2894289 h 4687251"/>
              <a:gd name="connsiteX41078" fmla="*/ 3769975 w 8079933"/>
              <a:gd name="connsiteY41078" fmla="*/ 2894506 h 4687251"/>
              <a:gd name="connsiteX41079" fmla="*/ 3771386 w 8079933"/>
              <a:gd name="connsiteY41079" fmla="*/ 2899270 h 4687251"/>
              <a:gd name="connsiteX41080" fmla="*/ 3768130 w 8079933"/>
              <a:gd name="connsiteY41080" fmla="*/ 2901868 h 4687251"/>
              <a:gd name="connsiteX41081" fmla="*/ 3769759 w 8079933"/>
              <a:gd name="connsiteY41081" fmla="*/ 2904792 h 4687251"/>
              <a:gd name="connsiteX41082" fmla="*/ 3767697 w 8079933"/>
              <a:gd name="connsiteY41082" fmla="*/ 2907823 h 4687251"/>
              <a:gd name="connsiteX41083" fmla="*/ 3766503 w 8079933"/>
              <a:gd name="connsiteY41083" fmla="*/ 2911937 h 4687251"/>
              <a:gd name="connsiteX41084" fmla="*/ 3768130 w 8079933"/>
              <a:gd name="connsiteY41084" fmla="*/ 2915619 h 4687251"/>
              <a:gd name="connsiteX41085" fmla="*/ 3766069 w 8079933"/>
              <a:gd name="connsiteY41085" fmla="*/ 2921140 h 4687251"/>
              <a:gd name="connsiteX41086" fmla="*/ 3768347 w 8079933"/>
              <a:gd name="connsiteY41086" fmla="*/ 2924930 h 4687251"/>
              <a:gd name="connsiteX41087" fmla="*/ 3768565 w 8079933"/>
              <a:gd name="connsiteY41087" fmla="*/ 2930560 h 4687251"/>
              <a:gd name="connsiteX41088" fmla="*/ 3744909 w 8079933"/>
              <a:gd name="connsiteY41088" fmla="*/ 2922007 h 4687251"/>
              <a:gd name="connsiteX41089" fmla="*/ 3726678 w 8079933"/>
              <a:gd name="connsiteY41089" fmla="*/ 2908473 h 4687251"/>
              <a:gd name="connsiteX41090" fmla="*/ 3721578 w 8079933"/>
              <a:gd name="connsiteY41090" fmla="*/ 2907931 h 4687251"/>
              <a:gd name="connsiteX41091" fmla="*/ 3706819 w 8079933"/>
              <a:gd name="connsiteY41091" fmla="*/ 2893207 h 4687251"/>
              <a:gd name="connsiteX41092" fmla="*/ 3705734 w 8079933"/>
              <a:gd name="connsiteY41092" fmla="*/ 2892448 h 4687251"/>
              <a:gd name="connsiteX41093" fmla="*/ 3696836 w 8079933"/>
              <a:gd name="connsiteY41093" fmla="*/ 2886493 h 4687251"/>
              <a:gd name="connsiteX41094" fmla="*/ 3693255 w 8079933"/>
              <a:gd name="connsiteY41094" fmla="*/ 2886277 h 4687251"/>
              <a:gd name="connsiteX41095" fmla="*/ 3687069 w 8079933"/>
              <a:gd name="connsiteY41095" fmla="*/ 2877616 h 4687251"/>
              <a:gd name="connsiteX41096" fmla="*/ 3683054 w 8079933"/>
              <a:gd name="connsiteY41096" fmla="*/ 2875883 h 4687251"/>
              <a:gd name="connsiteX41097" fmla="*/ 3684899 w 8079933"/>
              <a:gd name="connsiteY41097" fmla="*/ 2872418 h 4687251"/>
              <a:gd name="connsiteX41098" fmla="*/ 3684139 w 8079933"/>
              <a:gd name="connsiteY41098" fmla="*/ 2871985 h 4687251"/>
              <a:gd name="connsiteX41099" fmla="*/ 3681318 w 8079933"/>
              <a:gd name="connsiteY41099" fmla="*/ 2870469 h 4687251"/>
              <a:gd name="connsiteX41100" fmla="*/ 3675133 w 8079933"/>
              <a:gd name="connsiteY41100" fmla="*/ 2870469 h 4687251"/>
              <a:gd name="connsiteX41101" fmla="*/ 3675133 w 8079933"/>
              <a:gd name="connsiteY41101" fmla="*/ 2870470 h 4687251"/>
              <a:gd name="connsiteX41102" fmla="*/ 3672203 w 8079933"/>
              <a:gd name="connsiteY41102" fmla="*/ 2870470 h 4687251"/>
              <a:gd name="connsiteX41103" fmla="*/ 3659507 w 8079933"/>
              <a:gd name="connsiteY41103" fmla="*/ 2863865 h 4687251"/>
              <a:gd name="connsiteX41104" fmla="*/ 3654082 w 8079933"/>
              <a:gd name="connsiteY41104" fmla="*/ 2862458 h 4687251"/>
              <a:gd name="connsiteX41105" fmla="*/ 3655383 w 8079933"/>
              <a:gd name="connsiteY41105" fmla="*/ 2859643 h 4687251"/>
              <a:gd name="connsiteX41106" fmla="*/ 3652020 w 8079933"/>
              <a:gd name="connsiteY41106" fmla="*/ 2855745 h 4687251"/>
              <a:gd name="connsiteX41107" fmla="*/ 3648981 w 8079933"/>
              <a:gd name="connsiteY41107" fmla="*/ 2852821 h 4687251"/>
              <a:gd name="connsiteX41108" fmla="*/ 3650934 w 8079933"/>
              <a:gd name="connsiteY41108" fmla="*/ 2848707 h 4687251"/>
              <a:gd name="connsiteX41109" fmla="*/ 3650825 w 8079933"/>
              <a:gd name="connsiteY41109" fmla="*/ 2847625 h 4687251"/>
              <a:gd name="connsiteX41110" fmla="*/ 3646051 w 8079933"/>
              <a:gd name="connsiteY41110" fmla="*/ 2849465 h 4687251"/>
              <a:gd name="connsiteX41111" fmla="*/ 3640734 w 8079933"/>
              <a:gd name="connsiteY41111" fmla="*/ 2843727 h 4687251"/>
              <a:gd name="connsiteX41112" fmla="*/ 3640734 w 8079933"/>
              <a:gd name="connsiteY41112" fmla="*/ 2838313 h 4687251"/>
              <a:gd name="connsiteX41113" fmla="*/ 3638238 w 8079933"/>
              <a:gd name="connsiteY41113" fmla="*/ 2830735 h 4687251"/>
              <a:gd name="connsiteX41114" fmla="*/ 3633680 w 8079933"/>
              <a:gd name="connsiteY41114" fmla="*/ 2829976 h 4687251"/>
              <a:gd name="connsiteX41115" fmla="*/ 3631944 w 8079933"/>
              <a:gd name="connsiteY41115" fmla="*/ 2826187 h 4687251"/>
              <a:gd name="connsiteX41116" fmla="*/ 3635199 w 8079933"/>
              <a:gd name="connsiteY41116" fmla="*/ 2820124 h 4687251"/>
              <a:gd name="connsiteX41117" fmla="*/ 3631727 w 8079933"/>
              <a:gd name="connsiteY41117" fmla="*/ 2818283 h 4687251"/>
              <a:gd name="connsiteX41118" fmla="*/ 3632052 w 8079933"/>
              <a:gd name="connsiteY41118" fmla="*/ 2814710 h 4687251"/>
              <a:gd name="connsiteX41119" fmla="*/ 3634657 w 8079933"/>
              <a:gd name="connsiteY41119" fmla="*/ 2810162 h 4687251"/>
              <a:gd name="connsiteX41120" fmla="*/ 3634331 w 8079933"/>
              <a:gd name="connsiteY41120" fmla="*/ 2809947 h 4687251"/>
              <a:gd name="connsiteX41121" fmla="*/ 3638130 w 8079933"/>
              <a:gd name="connsiteY41121" fmla="*/ 2809621 h 4687251"/>
              <a:gd name="connsiteX41122" fmla="*/ 3645509 w 8079933"/>
              <a:gd name="connsiteY41122" fmla="*/ 2805832 h 4687251"/>
              <a:gd name="connsiteX41123" fmla="*/ 3645509 w 8079933"/>
              <a:gd name="connsiteY41123" fmla="*/ 2802584 h 4687251"/>
              <a:gd name="connsiteX41124" fmla="*/ 3652128 w 8079933"/>
              <a:gd name="connsiteY41124" fmla="*/ 2796845 h 4687251"/>
              <a:gd name="connsiteX41125" fmla="*/ 3655818 w 8079933"/>
              <a:gd name="connsiteY41125" fmla="*/ 2792731 h 4687251"/>
              <a:gd name="connsiteX41126" fmla="*/ 3662003 w 8079933"/>
              <a:gd name="connsiteY41126" fmla="*/ 2790133 h 4687251"/>
              <a:gd name="connsiteX41127" fmla="*/ 3682187 w 8079933"/>
              <a:gd name="connsiteY41127" fmla="*/ 2790133 h 4687251"/>
              <a:gd name="connsiteX41128" fmla="*/ 3682187 w 8079933"/>
              <a:gd name="connsiteY41128" fmla="*/ 2790132 h 4687251"/>
              <a:gd name="connsiteX41129" fmla="*/ 3662002 w 8079933"/>
              <a:gd name="connsiteY41129" fmla="*/ 2790132 h 4687251"/>
              <a:gd name="connsiteX41130" fmla="*/ 3655817 w 8079933"/>
              <a:gd name="connsiteY41130" fmla="*/ 2792731 h 4687251"/>
              <a:gd name="connsiteX41131" fmla="*/ 3652127 w 8079933"/>
              <a:gd name="connsiteY41131" fmla="*/ 2796845 h 4687251"/>
              <a:gd name="connsiteX41132" fmla="*/ 3645508 w 8079933"/>
              <a:gd name="connsiteY41132" fmla="*/ 2802583 h 4687251"/>
              <a:gd name="connsiteX41133" fmla="*/ 3645508 w 8079933"/>
              <a:gd name="connsiteY41133" fmla="*/ 2805831 h 4687251"/>
              <a:gd name="connsiteX41134" fmla="*/ 3638129 w 8079933"/>
              <a:gd name="connsiteY41134" fmla="*/ 2809621 h 4687251"/>
              <a:gd name="connsiteX41135" fmla="*/ 3634331 w 8079933"/>
              <a:gd name="connsiteY41135" fmla="*/ 2809946 h 4687251"/>
              <a:gd name="connsiteX41136" fmla="*/ 3630858 w 8079933"/>
              <a:gd name="connsiteY41136" fmla="*/ 2807131 h 4687251"/>
              <a:gd name="connsiteX41137" fmla="*/ 3624347 w 8079933"/>
              <a:gd name="connsiteY41137" fmla="*/ 2803666 h 4687251"/>
              <a:gd name="connsiteX41138" fmla="*/ 3622502 w 8079933"/>
              <a:gd name="connsiteY41138" fmla="*/ 2796412 h 4687251"/>
              <a:gd name="connsiteX41139" fmla="*/ 3617402 w 8079933"/>
              <a:gd name="connsiteY41139" fmla="*/ 2796304 h 4687251"/>
              <a:gd name="connsiteX41140" fmla="*/ 3615232 w 8079933"/>
              <a:gd name="connsiteY41140" fmla="*/ 2794138 h 4687251"/>
              <a:gd name="connsiteX41141" fmla="*/ 3615449 w 8079933"/>
              <a:gd name="connsiteY41141" fmla="*/ 2790349 h 4687251"/>
              <a:gd name="connsiteX41142" fmla="*/ 3617294 w 8079933"/>
              <a:gd name="connsiteY41142" fmla="*/ 2788508 h 4687251"/>
              <a:gd name="connsiteX41143" fmla="*/ 3613279 w 8079933"/>
              <a:gd name="connsiteY41143" fmla="*/ 2786668 h 4687251"/>
              <a:gd name="connsiteX41144" fmla="*/ 3611108 w 8079933"/>
              <a:gd name="connsiteY41144" fmla="*/ 2789808 h 4687251"/>
              <a:gd name="connsiteX41145" fmla="*/ 3607527 w 8079933"/>
              <a:gd name="connsiteY41145" fmla="*/ 2788400 h 4687251"/>
              <a:gd name="connsiteX41146" fmla="*/ 3602102 w 8079933"/>
              <a:gd name="connsiteY41146" fmla="*/ 2787967 h 4687251"/>
              <a:gd name="connsiteX41147" fmla="*/ 3596676 w 8079933"/>
              <a:gd name="connsiteY41147" fmla="*/ 2780604 h 4687251"/>
              <a:gd name="connsiteX41148" fmla="*/ 3598846 w 8079933"/>
              <a:gd name="connsiteY41148" fmla="*/ 2771727 h 4687251"/>
              <a:gd name="connsiteX41149" fmla="*/ 3595048 w 8079933"/>
              <a:gd name="connsiteY41149" fmla="*/ 2767612 h 4687251"/>
              <a:gd name="connsiteX41150" fmla="*/ 3594614 w 8079933"/>
              <a:gd name="connsiteY41150" fmla="*/ 2767721 h 4687251"/>
              <a:gd name="connsiteX41151" fmla="*/ 3594614 w 8079933"/>
              <a:gd name="connsiteY41151" fmla="*/ 2767720 h 4687251"/>
              <a:gd name="connsiteX41152" fmla="*/ 3588862 w 8079933"/>
              <a:gd name="connsiteY41152" fmla="*/ 2769344 h 4687251"/>
              <a:gd name="connsiteX41153" fmla="*/ 3587777 w 8079933"/>
              <a:gd name="connsiteY41153" fmla="*/ 2767937 h 4687251"/>
              <a:gd name="connsiteX41154" fmla="*/ 3588103 w 8079933"/>
              <a:gd name="connsiteY41154" fmla="*/ 2763931 h 4687251"/>
              <a:gd name="connsiteX41155" fmla="*/ 3578011 w 8079933"/>
              <a:gd name="connsiteY41155" fmla="*/ 2765014 h 4687251"/>
              <a:gd name="connsiteX41156" fmla="*/ 3583654 w 8079933"/>
              <a:gd name="connsiteY41156" fmla="*/ 2758950 h 4687251"/>
              <a:gd name="connsiteX41157" fmla="*/ 3580941 w 8079933"/>
              <a:gd name="connsiteY41157" fmla="*/ 2758734 h 4687251"/>
              <a:gd name="connsiteX41158" fmla="*/ 3582351 w 8079933"/>
              <a:gd name="connsiteY41158" fmla="*/ 2756569 h 4687251"/>
              <a:gd name="connsiteX41159" fmla="*/ 3580182 w 8079933"/>
              <a:gd name="connsiteY41159" fmla="*/ 2754187 h 4687251"/>
              <a:gd name="connsiteX41160" fmla="*/ 3576166 w 8079933"/>
              <a:gd name="connsiteY41160" fmla="*/ 2753753 h 4687251"/>
              <a:gd name="connsiteX41161" fmla="*/ 3574755 w 8079933"/>
              <a:gd name="connsiteY41161" fmla="*/ 2751696 h 4687251"/>
              <a:gd name="connsiteX41162" fmla="*/ 3586692 w 8079933"/>
              <a:gd name="connsiteY41162" fmla="*/ 2751479 h 4687251"/>
              <a:gd name="connsiteX41163" fmla="*/ 3588646 w 8079933"/>
              <a:gd name="connsiteY41163" fmla="*/ 2750072 h 4687251"/>
              <a:gd name="connsiteX41164" fmla="*/ 3582135 w 8079933"/>
              <a:gd name="connsiteY41164" fmla="*/ 2746499 h 4687251"/>
              <a:gd name="connsiteX41165" fmla="*/ 3576383 w 8079933"/>
              <a:gd name="connsiteY41165" fmla="*/ 2747690 h 4687251"/>
              <a:gd name="connsiteX41166" fmla="*/ 3570197 w 8079933"/>
              <a:gd name="connsiteY41166" fmla="*/ 2749964 h 4687251"/>
              <a:gd name="connsiteX41167" fmla="*/ 3567484 w 8079933"/>
              <a:gd name="connsiteY41167" fmla="*/ 2749422 h 4687251"/>
              <a:gd name="connsiteX41168" fmla="*/ 3566291 w 8079933"/>
              <a:gd name="connsiteY41168" fmla="*/ 2746824 h 4687251"/>
              <a:gd name="connsiteX41169" fmla="*/ 3561408 w 8079933"/>
              <a:gd name="connsiteY41169" fmla="*/ 2746499 h 4687251"/>
              <a:gd name="connsiteX41170" fmla="*/ 3557067 w 8079933"/>
              <a:gd name="connsiteY41170" fmla="*/ 2742169 h 4687251"/>
              <a:gd name="connsiteX41171" fmla="*/ 3561408 w 8079933"/>
              <a:gd name="connsiteY41171" fmla="*/ 2738920 h 4687251"/>
              <a:gd name="connsiteX41172" fmla="*/ 3558152 w 8079933"/>
              <a:gd name="connsiteY41172" fmla="*/ 2738595 h 4687251"/>
              <a:gd name="connsiteX41173" fmla="*/ 3550122 w 8079933"/>
              <a:gd name="connsiteY41173" fmla="*/ 2738163 h 4687251"/>
              <a:gd name="connsiteX41174" fmla="*/ 3548169 w 8079933"/>
              <a:gd name="connsiteY41174" fmla="*/ 2734589 h 4687251"/>
              <a:gd name="connsiteX41175" fmla="*/ 3548169 w 8079933"/>
              <a:gd name="connsiteY41175" fmla="*/ 2734481 h 4687251"/>
              <a:gd name="connsiteX41176" fmla="*/ 3554029 w 8079933"/>
              <a:gd name="connsiteY41176" fmla="*/ 2736322 h 4687251"/>
              <a:gd name="connsiteX41177" fmla="*/ 3554029 w 8079933"/>
              <a:gd name="connsiteY41177" fmla="*/ 2736322 h 4687251"/>
              <a:gd name="connsiteX41178" fmla="*/ 3548169 w 8079933"/>
              <a:gd name="connsiteY41178" fmla="*/ 2734481 h 4687251"/>
              <a:gd name="connsiteX41179" fmla="*/ 3548386 w 8079933"/>
              <a:gd name="connsiteY41179" fmla="*/ 2729826 h 4687251"/>
              <a:gd name="connsiteX41180" fmla="*/ 3546541 w 8079933"/>
              <a:gd name="connsiteY41180" fmla="*/ 2728310 h 4687251"/>
              <a:gd name="connsiteX41181" fmla="*/ 3550556 w 8079933"/>
              <a:gd name="connsiteY41181" fmla="*/ 2729393 h 4687251"/>
              <a:gd name="connsiteX41182" fmla="*/ 3553052 w 8079933"/>
              <a:gd name="connsiteY41182" fmla="*/ 2730259 h 4687251"/>
              <a:gd name="connsiteX41183" fmla="*/ 3558261 w 8079933"/>
              <a:gd name="connsiteY41183" fmla="*/ 2727010 h 4687251"/>
              <a:gd name="connsiteX41184" fmla="*/ 3550122 w 8079933"/>
              <a:gd name="connsiteY41184" fmla="*/ 2724087 h 4687251"/>
              <a:gd name="connsiteX41185" fmla="*/ 3544696 w 8079933"/>
              <a:gd name="connsiteY41185" fmla="*/ 2727010 h 4687251"/>
              <a:gd name="connsiteX41186" fmla="*/ 3543503 w 8079933"/>
              <a:gd name="connsiteY41186" fmla="*/ 2725170 h 4687251"/>
              <a:gd name="connsiteX41187" fmla="*/ 3545781 w 8079933"/>
              <a:gd name="connsiteY41187" fmla="*/ 2722679 h 4687251"/>
              <a:gd name="connsiteX41188" fmla="*/ 3545781 w 8079933"/>
              <a:gd name="connsiteY41188" fmla="*/ 2717266 h 4687251"/>
              <a:gd name="connsiteX41189" fmla="*/ 3548278 w 8079933"/>
              <a:gd name="connsiteY41189" fmla="*/ 2714776 h 4687251"/>
              <a:gd name="connsiteX41190" fmla="*/ 3562927 w 8079933"/>
              <a:gd name="connsiteY41190" fmla="*/ 2714776 h 4687251"/>
              <a:gd name="connsiteX41191" fmla="*/ 3567051 w 8079933"/>
              <a:gd name="connsiteY41191" fmla="*/ 2710120 h 4687251"/>
              <a:gd name="connsiteX41192" fmla="*/ 3571500 w 8079933"/>
              <a:gd name="connsiteY41192" fmla="*/ 2708930 h 4687251"/>
              <a:gd name="connsiteX41193" fmla="*/ 3576709 w 8079933"/>
              <a:gd name="connsiteY41193" fmla="*/ 2705465 h 4687251"/>
              <a:gd name="connsiteX41194" fmla="*/ 3577143 w 8079933"/>
              <a:gd name="connsiteY41194" fmla="*/ 2705577 h 4687251"/>
              <a:gd name="connsiteX41195" fmla="*/ 3576708 w 8079933"/>
              <a:gd name="connsiteY41195" fmla="*/ 2705464 h 4687251"/>
              <a:gd name="connsiteX41196" fmla="*/ 3571499 w 8079933"/>
              <a:gd name="connsiteY41196" fmla="*/ 2708929 h 4687251"/>
              <a:gd name="connsiteX41197" fmla="*/ 3567050 w 8079933"/>
              <a:gd name="connsiteY41197" fmla="*/ 2710120 h 4687251"/>
              <a:gd name="connsiteX41198" fmla="*/ 3562926 w 8079933"/>
              <a:gd name="connsiteY41198" fmla="*/ 2714776 h 4687251"/>
              <a:gd name="connsiteX41199" fmla="*/ 3548276 w 8079933"/>
              <a:gd name="connsiteY41199" fmla="*/ 2714776 h 4687251"/>
              <a:gd name="connsiteX41200" fmla="*/ 3545781 w 8079933"/>
              <a:gd name="connsiteY41200" fmla="*/ 2717266 h 4687251"/>
              <a:gd name="connsiteX41201" fmla="*/ 3545781 w 8079933"/>
              <a:gd name="connsiteY41201" fmla="*/ 2715425 h 4687251"/>
              <a:gd name="connsiteX41202" fmla="*/ 3543068 w 8079933"/>
              <a:gd name="connsiteY41202" fmla="*/ 2712069 h 4687251"/>
              <a:gd name="connsiteX41203" fmla="*/ 3547300 w 8079933"/>
              <a:gd name="connsiteY41203" fmla="*/ 2707847 h 4687251"/>
              <a:gd name="connsiteX41204" fmla="*/ 3552183 w 8079933"/>
              <a:gd name="connsiteY41204" fmla="*/ 2714018 h 4687251"/>
              <a:gd name="connsiteX41205" fmla="*/ 3558694 w 8079933"/>
              <a:gd name="connsiteY41205" fmla="*/ 2713801 h 4687251"/>
              <a:gd name="connsiteX41206" fmla="*/ 3562275 w 8079933"/>
              <a:gd name="connsiteY41206" fmla="*/ 2710445 h 4687251"/>
              <a:gd name="connsiteX41207" fmla="*/ 3556849 w 8079933"/>
              <a:gd name="connsiteY41207" fmla="*/ 2711852 h 4687251"/>
              <a:gd name="connsiteX41208" fmla="*/ 3550664 w 8079933"/>
              <a:gd name="connsiteY41208" fmla="*/ 2708821 h 4687251"/>
              <a:gd name="connsiteX41209" fmla="*/ 3549579 w 8079933"/>
              <a:gd name="connsiteY41209" fmla="*/ 2705140 h 4687251"/>
              <a:gd name="connsiteX41210" fmla="*/ 3549579 w 8079933"/>
              <a:gd name="connsiteY41210" fmla="*/ 2705140 h 4687251"/>
              <a:gd name="connsiteX41211" fmla="*/ 3548929 w 8079933"/>
              <a:gd name="connsiteY41211" fmla="*/ 2703191 h 4687251"/>
              <a:gd name="connsiteX41212" fmla="*/ 3552184 w 8079933"/>
              <a:gd name="connsiteY41212" fmla="*/ 2700809 h 4687251"/>
              <a:gd name="connsiteX41213" fmla="*/ 3546216 w 8079933"/>
              <a:gd name="connsiteY41213" fmla="*/ 2697020 h 4687251"/>
              <a:gd name="connsiteX41214" fmla="*/ 3548169 w 8079933"/>
              <a:gd name="connsiteY41214" fmla="*/ 2696695 h 4687251"/>
              <a:gd name="connsiteX41215" fmla="*/ 3548169 w 8079933"/>
              <a:gd name="connsiteY41215" fmla="*/ 2691823 h 4687251"/>
              <a:gd name="connsiteX41216" fmla="*/ 3543720 w 8079933"/>
              <a:gd name="connsiteY41216" fmla="*/ 2691065 h 4687251"/>
              <a:gd name="connsiteX41217" fmla="*/ 3538402 w 8079933"/>
              <a:gd name="connsiteY41217" fmla="*/ 2681862 h 4687251"/>
              <a:gd name="connsiteX41218" fmla="*/ 3530264 w 8079933"/>
              <a:gd name="connsiteY41218" fmla="*/ 2675366 h 4687251"/>
              <a:gd name="connsiteX41219" fmla="*/ 3545239 w 8079933"/>
              <a:gd name="connsiteY41219" fmla="*/ 2661723 h 4687251"/>
              <a:gd name="connsiteX41220" fmla="*/ 3551424 w 8079933"/>
              <a:gd name="connsiteY41220" fmla="*/ 2650464 h 4687251"/>
              <a:gd name="connsiteX41221" fmla="*/ 3552510 w 8079933"/>
              <a:gd name="connsiteY41221" fmla="*/ 2642668 h 4687251"/>
              <a:gd name="connsiteX41222" fmla="*/ 3556525 w 8079933"/>
              <a:gd name="connsiteY41222" fmla="*/ 2639637 h 4687251"/>
              <a:gd name="connsiteX41223" fmla="*/ 3559997 w 8079933"/>
              <a:gd name="connsiteY41223" fmla="*/ 2639637 h 4687251"/>
              <a:gd name="connsiteX41224" fmla="*/ 3564772 w 8079933"/>
              <a:gd name="connsiteY41224" fmla="*/ 2634981 h 4687251"/>
              <a:gd name="connsiteX41225" fmla="*/ 3577685 w 8079933"/>
              <a:gd name="connsiteY41225" fmla="*/ 2632924 h 4687251"/>
              <a:gd name="connsiteX41226" fmla="*/ 3590056 w 8079933"/>
              <a:gd name="connsiteY41226" fmla="*/ 2628160 h 4687251"/>
              <a:gd name="connsiteX41227" fmla="*/ 3590056 w 8079933"/>
              <a:gd name="connsiteY41227" fmla="*/ 2628160 h 4687251"/>
              <a:gd name="connsiteX41228" fmla="*/ 3577685 w 8079933"/>
              <a:gd name="connsiteY41228" fmla="*/ 2632923 h 4687251"/>
              <a:gd name="connsiteX41229" fmla="*/ 3564772 w 8079933"/>
              <a:gd name="connsiteY41229" fmla="*/ 2634981 h 4687251"/>
              <a:gd name="connsiteX41230" fmla="*/ 3559997 w 8079933"/>
              <a:gd name="connsiteY41230" fmla="*/ 2639636 h 4687251"/>
              <a:gd name="connsiteX41231" fmla="*/ 3556524 w 8079933"/>
              <a:gd name="connsiteY41231" fmla="*/ 2639636 h 4687251"/>
              <a:gd name="connsiteX41232" fmla="*/ 3552509 w 8079933"/>
              <a:gd name="connsiteY41232" fmla="*/ 2642668 h 4687251"/>
              <a:gd name="connsiteX41233" fmla="*/ 3553811 w 8079933"/>
              <a:gd name="connsiteY41233" fmla="*/ 2633032 h 4687251"/>
              <a:gd name="connsiteX41234" fmla="*/ 3557609 w 8079933"/>
              <a:gd name="connsiteY41234" fmla="*/ 2618199 h 4687251"/>
              <a:gd name="connsiteX41235" fmla="*/ 3563361 w 8079933"/>
              <a:gd name="connsiteY41235" fmla="*/ 2610079 h 4687251"/>
              <a:gd name="connsiteX41236" fmla="*/ 3564988 w 8079933"/>
              <a:gd name="connsiteY41236" fmla="*/ 2592971 h 4687251"/>
              <a:gd name="connsiteX41237" fmla="*/ 3560322 w 8079933"/>
              <a:gd name="connsiteY41237" fmla="*/ 2568178 h 4687251"/>
              <a:gd name="connsiteX41238" fmla="*/ 3553378 w 8079933"/>
              <a:gd name="connsiteY41238" fmla="*/ 2557675 h 4687251"/>
              <a:gd name="connsiteX41239" fmla="*/ 3556091 w 8079933"/>
              <a:gd name="connsiteY41239" fmla="*/ 2555727 h 4687251"/>
              <a:gd name="connsiteX41240" fmla="*/ 3559346 w 8079933"/>
              <a:gd name="connsiteY41240" fmla="*/ 2555727 h 4687251"/>
              <a:gd name="connsiteX41241" fmla="*/ 3560974 w 8079933"/>
              <a:gd name="connsiteY41241" fmla="*/ 2547606 h 4687251"/>
              <a:gd name="connsiteX41242" fmla="*/ 3559237 w 8079933"/>
              <a:gd name="connsiteY41242" fmla="*/ 2542518 h 4687251"/>
              <a:gd name="connsiteX41243" fmla="*/ 3562275 w 8079933"/>
              <a:gd name="connsiteY41243" fmla="*/ 2539486 h 4687251"/>
              <a:gd name="connsiteX41244" fmla="*/ 3555439 w 8079933"/>
              <a:gd name="connsiteY41244" fmla="*/ 2529200 h 4687251"/>
              <a:gd name="connsiteX41245" fmla="*/ 3552509 w 8079933"/>
              <a:gd name="connsiteY41245" fmla="*/ 2531582 h 4687251"/>
              <a:gd name="connsiteX41246" fmla="*/ 3550556 w 8079933"/>
              <a:gd name="connsiteY41246" fmla="*/ 2530500 h 4687251"/>
              <a:gd name="connsiteX41247" fmla="*/ 3548494 w 8079933"/>
              <a:gd name="connsiteY41247" fmla="*/ 2524761 h 4687251"/>
              <a:gd name="connsiteX41248" fmla="*/ 3543285 w 8079933"/>
              <a:gd name="connsiteY41248" fmla="*/ 2530608 h 4687251"/>
              <a:gd name="connsiteX41249" fmla="*/ 3542960 w 8079933"/>
              <a:gd name="connsiteY41249" fmla="*/ 2521405 h 4687251"/>
              <a:gd name="connsiteX41250" fmla="*/ 3545239 w 8079933"/>
              <a:gd name="connsiteY41250" fmla="*/ 2516207 h 4687251"/>
              <a:gd name="connsiteX41251" fmla="*/ 3545239 w 8079933"/>
              <a:gd name="connsiteY41251" fmla="*/ 2515233 h 4687251"/>
              <a:gd name="connsiteX41252" fmla="*/ 3640950 w 8079933"/>
              <a:gd name="connsiteY41252" fmla="*/ 2514367 h 4687251"/>
              <a:gd name="connsiteX41253" fmla="*/ 3640950 w 8079933"/>
              <a:gd name="connsiteY41253" fmla="*/ 2514366 h 4687251"/>
              <a:gd name="connsiteX41254" fmla="*/ 3545238 w 8079933"/>
              <a:gd name="connsiteY41254" fmla="*/ 2515233 h 4687251"/>
              <a:gd name="connsiteX41255" fmla="*/ 3544696 w 8079933"/>
              <a:gd name="connsiteY41255" fmla="*/ 2507329 h 4687251"/>
              <a:gd name="connsiteX41256" fmla="*/ 3547300 w 8079933"/>
              <a:gd name="connsiteY41256" fmla="*/ 2502349 h 4687251"/>
              <a:gd name="connsiteX41257" fmla="*/ 3546866 w 8079933"/>
              <a:gd name="connsiteY41257" fmla="*/ 2496394 h 4687251"/>
              <a:gd name="connsiteX41258" fmla="*/ 3550339 w 8079933"/>
              <a:gd name="connsiteY41258" fmla="*/ 2492712 h 4687251"/>
              <a:gd name="connsiteX41259" fmla="*/ 3553269 w 8079933"/>
              <a:gd name="connsiteY41259" fmla="*/ 2492063 h 4687251"/>
              <a:gd name="connsiteX41260" fmla="*/ 3560865 w 8079933"/>
              <a:gd name="connsiteY41260" fmla="*/ 2478204 h 4687251"/>
              <a:gd name="connsiteX41261" fmla="*/ 3564988 w 8079933"/>
              <a:gd name="connsiteY41261" fmla="*/ 2476580 h 4687251"/>
              <a:gd name="connsiteX41262" fmla="*/ 3562058 w 8079933"/>
              <a:gd name="connsiteY41262" fmla="*/ 2474415 h 4687251"/>
              <a:gd name="connsiteX41263" fmla="*/ 3562493 w 8079933"/>
              <a:gd name="connsiteY41263" fmla="*/ 2472033 h 4687251"/>
              <a:gd name="connsiteX41264" fmla="*/ 3572042 w 8079933"/>
              <a:gd name="connsiteY41264" fmla="*/ 2459365 h 4687251"/>
              <a:gd name="connsiteX41265" fmla="*/ 3571499 w 8079933"/>
              <a:gd name="connsiteY41265" fmla="*/ 2455792 h 4687251"/>
              <a:gd name="connsiteX41266" fmla="*/ 3577468 w 8079933"/>
              <a:gd name="connsiteY41266" fmla="*/ 2442800 h 4687251"/>
              <a:gd name="connsiteX41267" fmla="*/ 3580940 w 8079933"/>
              <a:gd name="connsiteY41267" fmla="*/ 2440959 h 4687251"/>
              <a:gd name="connsiteX41268" fmla="*/ 3592117 w 8079933"/>
              <a:gd name="connsiteY41268" fmla="*/ 2430565 h 4687251"/>
              <a:gd name="connsiteX41269" fmla="*/ 3592986 w 8079933"/>
              <a:gd name="connsiteY41269" fmla="*/ 2423636 h 4687251"/>
              <a:gd name="connsiteX41270" fmla="*/ 3607636 w 8079933"/>
              <a:gd name="connsiteY41270" fmla="*/ 2402415 h 4687251"/>
              <a:gd name="connsiteX41271" fmla="*/ 3605682 w 8079933"/>
              <a:gd name="connsiteY41271" fmla="*/ 2396244 h 4687251"/>
              <a:gd name="connsiteX41272" fmla="*/ 3612193 w 8079933"/>
              <a:gd name="connsiteY41272" fmla="*/ 2392455 h 4687251"/>
              <a:gd name="connsiteX41273" fmla="*/ 3613821 w 8079933"/>
              <a:gd name="connsiteY41273" fmla="*/ 2387690 h 4687251"/>
              <a:gd name="connsiteX41274" fmla="*/ 3630424 w 8079933"/>
              <a:gd name="connsiteY41274" fmla="*/ 2379137 h 4687251"/>
              <a:gd name="connsiteX41275" fmla="*/ 3634765 w 8079933"/>
              <a:gd name="connsiteY41275" fmla="*/ 2378921 h 4687251"/>
              <a:gd name="connsiteX41276" fmla="*/ 3634765 w 8079933"/>
              <a:gd name="connsiteY41276" fmla="*/ 2369501 h 4687251"/>
              <a:gd name="connsiteX41277" fmla="*/ 3644097 w 8079933"/>
              <a:gd name="connsiteY41277" fmla="*/ 2356617 h 4687251"/>
              <a:gd name="connsiteX41278" fmla="*/ 3644097 w 8079933"/>
              <a:gd name="connsiteY41278" fmla="*/ 2356617 h 4687251"/>
              <a:gd name="connsiteX41279" fmla="*/ 3649848 w 8079933"/>
              <a:gd name="connsiteY41279" fmla="*/ 2348605 h 4687251"/>
              <a:gd name="connsiteX41280" fmla="*/ 3673179 w 8079933"/>
              <a:gd name="connsiteY41280" fmla="*/ 2344274 h 4687251"/>
              <a:gd name="connsiteX41281" fmla="*/ 3689782 w 8079933"/>
              <a:gd name="connsiteY41281" fmla="*/ 2329333 h 4687251"/>
              <a:gd name="connsiteX41282" fmla="*/ 3697378 w 8079933"/>
              <a:gd name="connsiteY41282" fmla="*/ 2328575 h 4687251"/>
              <a:gd name="connsiteX41283" fmla="*/ 3704215 w 8079933"/>
              <a:gd name="connsiteY41283" fmla="*/ 2321213 h 4687251"/>
              <a:gd name="connsiteX41284" fmla="*/ 3705843 w 8079933"/>
              <a:gd name="connsiteY41284" fmla="*/ 2314500 h 4687251"/>
              <a:gd name="connsiteX41285" fmla="*/ 3720927 w 8079933"/>
              <a:gd name="connsiteY41285" fmla="*/ 2297501 h 4687251"/>
              <a:gd name="connsiteX41286" fmla="*/ 3722554 w 8079933"/>
              <a:gd name="connsiteY41286" fmla="*/ 2290681 h 4687251"/>
              <a:gd name="connsiteX41287" fmla="*/ 3719841 w 8079933"/>
              <a:gd name="connsiteY41287" fmla="*/ 2287216 h 4687251"/>
              <a:gd name="connsiteX41288" fmla="*/ 3717779 w 8079933"/>
              <a:gd name="connsiteY41288" fmla="*/ 2285267 h 4687251"/>
              <a:gd name="connsiteX41289" fmla="*/ 3720927 w 8079933"/>
              <a:gd name="connsiteY41289" fmla="*/ 2276389 h 4687251"/>
              <a:gd name="connsiteX41290" fmla="*/ 3716911 w 8079933"/>
              <a:gd name="connsiteY41290" fmla="*/ 2268485 h 4687251"/>
              <a:gd name="connsiteX41291" fmla="*/ 3717237 w 8079933"/>
              <a:gd name="connsiteY41291" fmla="*/ 2263179 h 4687251"/>
              <a:gd name="connsiteX41292" fmla="*/ 3723422 w 8079933"/>
              <a:gd name="connsiteY41292" fmla="*/ 2250620 h 4687251"/>
              <a:gd name="connsiteX41293" fmla="*/ 3732972 w 8079933"/>
              <a:gd name="connsiteY41293" fmla="*/ 2241959 h 4687251"/>
              <a:gd name="connsiteX41294" fmla="*/ 3733623 w 8079933"/>
              <a:gd name="connsiteY41294" fmla="*/ 2236220 h 4687251"/>
              <a:gd name="connsiteX41295" fmla="*/ 3729825 w 8079933"/>
              <a:gd name="connsiteY41295" fmla="*/ 2227884 h 4687251"/>
              <a:gd name="connsiteX41296" fmla="*/ 3740785 w 8079933"/>
              <a:gd name="connsiteY41296" fmla="*/ 2220088 h 4687251"/>
              <a:gd name="connsiteX41297" fmla="*/ 3744149 w 8079933"/>
              <a:gd name="connsiteY41297" fmla="*/ 2214999 h 4687251"/>
              <a:gd name="connsiteX41298" fmla="*/ 3750009 w 8079933"/>
              <a:gd name="connsiteY41298" fmla="*/ 2213050 h 4687251"/>
              <a:gd name="connsiteX41299" fmla="*/ 3759450 w 8079933"/>
              <a:gd name="connsiteY41299" fmla="*/ 2206770 h 4687251"/>
              <a:gd name="connsiteX41300" fmla="*/ 3761946 w 8079933"/>
              <a:gd name="connsiteY41300" fmla="*/ 2206662 h 4687251"/>
              <a:gd name="connsiteX41301" fmla="*/ 3768565 w 8079933"/>
              <a:gd name="connsiteY41301" fmla="*/ 2199625 h 4687251"/>
              <a:gd name="connsiteX41302" fmla="*/ 3777355 w 8079933"/>
              <a:gd name="connsiteY41302" fmla="*/ 2196701 h 4687251"/>
              <a:gd name="connsiteX41303" fmla="*/ 3782672 w 8079933"/>
              <a:gd name="connsiteY41303" fmla="*/ 2193020 h 4687251"/>
              <a:gd name="connsiteX41304" fmla="*/ 3785168 w 8079933"/>
              <a:gd name="connsiteY41304" fmla="*/ 2192803 h 4687251"/>
              <a:gd name="connsiteX41305" fmla="*/ 3796020 w 8079933"/>
              <a:gd name="connsiteY41305" fmla="*/ 2182735 h 4687251"/>
              <a:gd name="connsiteX41306" fmla="*/ 3799167 w 8079933"/>
              <a:gd name="connsiteY41306" fmla="*/ 2176563 h 4687251"/>
              <a:gd name="connsiteX41307" fmla="*/ 3800252 w 8079933"/>
              <a:gd name="connsiteY41307" fmla="*/ 2166711 h 4687251"/>
              <a:gd name="connsiteX41308" fmla="*/ 3805461 w 8079933"/>
              <a:gd name="connsiteY41308" fmla="*/ 2159997 h 4687251"/>
              <a:gd name="connsiteX41309" fmla="*/ 3806438 w 8079933"/>
              <a:gd name="connsiteY41309" fmla="*/ 2147005 h 4687251"/>
              <a:gd name="connsiteX41310" fmla="*/ 3810995 w 8079933"/>
              <a:gd name="connsiteY41310" fmla="*/ 2142024 h 4687251"/>
              <a:gd name="connsiteX41311" fmla="*/ 3814793 w 8079933"/>
              <a:gd name="connsiteY41311" fmla="*/ 2142350 h 4687251"/>
              <a:gd name="connsiteX41312" fmla="*/ 3816747 w 8079933"/>
              <a:gd name="connsiteY41312" fmla="*/ 2140509 h 4687251"/>
              <a:gd name="connsiteX41313" fmla="*/ 3821413 w 8079933"/>
              <a:gd name="connsiteY41313" fmla="*/ 2138885 h 4687251"/>
              <a:gd name="connsiteX41314" fmla="*/ 3822824 w 8079933"/>
              <a:gd name="connsiteY41314" fmla="*/ 2140726 h 4687251"/>
              <a:gd name="connsiteX41315" fmla="*/ 3821956 w 8079933"/>
              <a:gd name="connsiteY41315" fmla="*/ 2142024 h 4687251"/>
              <a:gd name="connsiteX41316" fmla="*/ 3821956 w 8079933"/>
              <a:gd name="connsiteY41316" fmla="*/ 2144732 h 4687251"/>
              <a:gd name="connsiteX41317" fmla="*/ 3823040 w 8079933"/>
              <a:gd name="connsiteY41317" fmla="*/ 2148521 h 4687251"/>
              <a:gd name="connsiteX41318" fmla="*/ 3825645 w 8079933"/>
              <a:gd name="connsiteY41318" fmla="*/ 2150470 h 4687251"/>
              <a:gd name="connsiteX41319" fmla="*/ 3832156 w 8079933"/>
              <a:gd name="connsiteY41319" fmla="*/ 2157507 h 4687251"/>
              <a:gd name="connsiteX41320" fmla="*/ 3837474 w 8079933"/>
              <a:gd name="connsiteY41320" fmla="*/ 2158590 h 4687251"/>
              <a:gd name="connsiteX41321" fmla="*/ 3844635 w 8079933"/>
              <a:gd name="connsiteY41321" fmla="*/ 2157507 h 4687251"/>
              <a:gd name="connsiteX41322" fmla="*/ 3849627 w 8079933"/>
              <a:gd name="connsiteY41322" fmla="*/ 2154909 h 4687251"/>
              <a:gd name="connsiteX41323" fmla="*/ 3853642 w 8079933"/>
              <a:gd name="connsiteY41323" fmla="*/ 2155234 h 4687251"/>
              <a:gd name="connsiteX41324" fmla="*/ 3861347 w 8079933"/>
              <a:gd name="connsiteY41324" fmla="*/ 2157291 h 4687251"/>
              <a:gd name="connsiteX41325" fmla="*/ 3868943 w 8079933"/>
              <a:gd name="connsiteY41325" fmla="*/ 2155775 h 4687251"/>
              <a:gd name="connsiteX41326" fmla="*/ 3873176 w 8079933"/>
              <a:gd name="connsiteY41326" fmla="*/ 2151119 h 4687251"/>
              <a:gd name="connsiteX41327" fmla="*/ 3873393 w 8079933"/>
              <a:gd name="connsiteY41327" fmla="*/ 2151119 h 4687251"/>
              <a:gd name="connsiteX41328" fmla="*/ 3875020 w 8079933"/>
              <a:gd name="connsiteY41328" fmla="*/ 2151661 h 4687251"/>
              <a:gd name="connsiteX41329" fmla="*/ 3876322 w 8079933"/>
              <a:gd name="connsiteY41329" fmla="*/ 2156208 h 4687251"/>
              <a:gd name="connsiteX41330" fmla="*/ 3879360 w 8079933"/>
              <a:gd name="connsiteY41330" fmla="*/ 2159240 h 4687251"/>
              <a:gd name="connsiteX41331" fmla="*/ 3892926 w 8079933"/>
              <a:gd name="connsiteY41331" fmla="*/ 2160322 h 4687251"/>
              <a:gd name="connsiteX41332" fmla="*/ 3896289 w 8079933"/>
              <a:gd name="connsiteY41332" fmla="*/ 2160215 h 4687251"/>
              <a:gd name="connsiteX41333" fmla="*/ 3897917 w 8079933"/>
              <a:gd name="connsiteY41333" fmla="*/ 2162596 h 4687251"/>
              <a:gd name="connsiteX41334" fmla="*/ 3899111 w 8079933"/>
              <a:gd name="connsiteY41334" fmla="*/ 2165519 h 4687251"/>
              <a:gd name="connsiteX41335" fmla="*/ 3901932 w 8079933"/>
              <a:gd name="connsiteY41335" fmla="*/ 2168984 h 4687251"/>
              <a:gd name="connsiteX41336" fmla="*/ 3902475 w 8079933"/>
              <a:gd name="connsiteY41336" fmla="*/ 2173315 h 4687251"/>
              <a:gd name="connsiteX41337" fmla="*/ 3901933 w 8079933"/>
              <a:gd name="connsiteY41337" fmla="*/ 2168984 h 4687251"/>
              <a:gd name="connsiteX41338" fmla="*/ 3899111 w 8079933"/>
              <a:gd name="connsiteY41338" fmla="*/ 2165519 h 4687251"/>
              <a:gd name="connsiteX41339" fmla="*/ 3897918 w 8079933"/>
              <a:gd name="connsiteY41339" fmla="*/ 2162596 h 4687251"/>
              <a:gd name="connsiteX41340" fmla="*/ 3896289 w 8079933"/>
              <a:gd name="connsiteY41340" fmla="*/ 2160214 h 4687251"/>
              <a:gd name="connsiteX41341" fmla="*/ 3902692 w 8079933"/>
              <a:gd name="connsiteY41341" fmla="*/ 2159890 h 4687251"/>
              <a:gd name="connsiteX41342" fmla="*/ 3909963 w 8079933"/>
              <a:gd name="connsiteY41342" fmla="*/ 2157508 h 4687251"/>
              <a:gd name="connsiteX41343" fmla="*/ 3914629 w 8079933"/>
              <a:gd name="connsiteY41343" fmla="*/ 2152527 h 4687251"/>
              <a:gd name="connsiteX41344" fmla="*/ 3915389 w 8079933"/>
              <a:gd name="connsiteY41344" fmla="*/ 2149712 h 4687251"/>
              <a:gd name="connsiteX41345" fmla="*/ 3918427 w 8079933"/>
              <a:gd name="connsiteY41345" fmla="*/ 2147005 h 4687251"/>
              <a:gd name="connsiteX41346" fmla="*/ 3924070 w 8079933"/>
              <a:gd name="connsiteY41346" fmla="*/ 2144082 h 4687251"/>
              <a:gd name="connsiteX41347" fmla="*/ 3930798 w 8079933"/>
              <a:gd name="connsiteY41347" fmla="*/ 2143649 h 4687251"/>
              <a:gd name="connsiteX41348" fmla="*/ 3932209 w 8079933"/>
              <a:gd name="connsiteY41348" fmla="*/ 2141808 h 4687251"/>
              <a:gd name="connsiteX41349" fmla="*/ 3934704 w 8079933"/>
              <a:gd name="connsiteY41349" fmla="*/ 2139968 h 4687251"/>
              <a:gd name="connsiteX41350" fmla="*/ 3938177 w 8079933"/>
              <a:gd name="connsiteY41350" fmla="*/ 2139860 h 4687251"/>
              <a:gd name="connsiteX41351" fmla="*/ 3939697 w 8079933"/>
              <a:gd name="connsiteY41351" fmla="*/ 2141376 h 4687251"/>
              <a:gd name="connsiteX41352" fmla="*/ 3942301 w 8079933"/>
              <a:gd name="connsiteY41352" fmla="*/ 2141376 h 4687251"/>
              <a:gd name="connsiteX41353" fmla="*/ 3945231 w 8079933"/>
              <a:gd name="connsiteY41353" fmla="*/ 2137478 h 4687251"/>
              <a:gd name="connsiteX41354" fmla="*/ 3945557 w 8079933"/>
              <a:gd name="connsiteY41354" fmla="*/ 2133796 h 4687251"/>
              <a:gd name="connsiteX41355" fmla="*/ 3951199 w 8079933"/>
              <a:gd name="connsiteY41355" fmla="*/ 2130223 h 4687251"/>
              <a:gd name="connsiteX41356" fmla="*/ 3954563 w 8079933"/>
              <a:gd name="connsiteY41356" fmla="*/ 2130223 h 4687251"/>
              <a:gd name="connsiteX41357" fmla="*/ 3961292 w 8079933"/>
              <a:gd name="connsiteY41357" fmla="*/ 2129249 h 4687251"/>
              <a:gd name="connsiteX41358" fmla="*/ 3972902 w 8079933"/>
              <a:gd name="connsiteY41358" fmla="*/ 2120371 h 4687251"/>
              <a:gd name="connsiteX41359" fmla="*/ 3978112 w 8079933"/>
              <a:gd name="connsiteY41359" fmla="*/ 2121129 h 4687251"/>
              <a:gd name="connsiteX41360" fmla="*/ 3987335 w 8079933"/>
              <a:gd name="connsiteY41360" fmla="*/ 2120695 h 4687251"/>
              <a:gd name="connsiteX41361" fmla="*/ 3992327 w 8079933"/>
              <a:gd name="connsiteY41361" fmla="*/ 2118964 h 4687251"/>
              <a:gd name="connsiteX41362" fmla="*/ 3997971 w 8079933"/>
              <a:gd name="connsiteY41362" fmla="*/ 2121995 h 4687251"/>
              <a:gd name="connsiteX41363" fmla="*/ 4001551 w 8079933"/>
              <a:gd name="connsiteY41363" fmla="*/ 2122211 h 4687251"/>
              <a:gd name="connsiteX41364" fmla="*/ 4007737 w 8079933"/>
              <a:gd name="connsiteY41364" fmla="*/ 2116256 h 4687251"/>
              <a:gd name="connsiteX41365" fmla="*/ 4012294 w 8079933"/>
              <a:gd name="connsiteY41365" fmla="*/ 2118097 h 4687251"/>
              <a:gd name="connsiteX41366" fmla="*/ 4017286 w 8079933"/>
              <a:gd name="connsiteY41366" fmla="*/ 2118097 h 4687251"/>
              <a:gd name="connsiteX41367" fmla="*/ 4019674 w 8079933"/>
              <a:gd name="connsiteY41367" fmla="*/ 2113225 h 4687251"/>
              <a:gd name="connsiteX41368" fmla="*/ 4022712 w 8079933"/>
              <a:gd name="connsiteY41368" fmla="*/ 2112467 h 4687251"/>
              <a:gd name="connsiteX41369" fmla="*/ 4027161 w 8079933"/>
              <a:gd name="connsiteY41369" fmla="*/ 2113875 h 4687251"/>
              <a:gd name="connsiteX41370" fmla="*/ 4029440 w 8079933"/>
              <a:gd name="connsiteY41370" fmla="*/ 2113333 h 4687251"/>
              <a:gd name="connsiteX41371" fmla="*/ 4034541 w 8079933"/>
              <a:gd name="connsiteY41371" fmla="*/ 2114091 h 4687251"/>
              <a:gd name="connsiteX41372" fmla="*/ 4040834 w 8079933"/>
              <a:gd name="connsiteY41372" fmla="*/ 2113009 h 4687251"/>
              <a:gd name="connsiteX41373" fmla="*/ 4043764 w 8079933"/>
              <a:gd name="connsiteY41373" fmla="*/ 2113875 h 4687251"/>
              <a:gd name="connsiteX41374" fmla="*/ 4050275 w 8079933"/>
              <a:gd name="connsiteY41374" fmla="*/ 2114307 h 4687251"/>
              <a:gd name="connsiteX41375" fmla="*/ 4053314 w 8079933"/>
              <a:gd name="connsiteY41375" fmla="*/ 2119180 h 4687251"/>
              <a:gd name="connsiteX41376" fmla="*/ 4058740 w 8079933"/>
              <a:gd name="connsiteY41376" fmla="*/ 2119180 h 4687251"/>
              <a:gd name="connsiteX41377" fmla="*/ 4063623 w 8079933"/>
              <a:gd name="connsiteY41377" fmla="*/ 2115390 h 4687251"/>
              <a:gd name="connsiteX41378" fmla="*/ 4067421 w 8079933"/>
              <a:gd name="connsiteY41378" fmla="*/ 2115390 h 4687251"/>
              <a:gd name="connsiteX41379" fmla="*/ 4070567 w 8079933"/>
              <a:gd name="connsiteY41379" fmla="*/ 2116581 h 4687251"/>
              <a:gd name="connsiteX41380" fmla="*/ 4072629 w 8079933"/>
              <a:gd name="connsiteY41380" fmla="*/ 2113009 h 4687251"/>
              <a:gd name="connsiteX41381" fmla="*/ 4077513 w 8079933"/>
              <a:gd name="connsiteY41381" fmla="*/ 2112142 h 4687251"/>
              <a:gd name="connsiteX41382" fmla="*/ 4077947 w 8079933"/>
              <a:gd name="connsiteY41382" fmla="*/ 2108786 h 4687251"/>
              <a:gd name="connsiteX41383" fmla="*/ 4083590 w 8079933"/>
              <a:gd name="connsiteY41383" fmla="*/ 2107595 h 4687251"/>
              <a:gd name="connsiteX41384" fmla="*/ 4086954 w 8079933"/>
              <a:gd name="connsiteY41384" fmla="*/ 2110085 h 4687251"/>
              <a:gd name="connsiteX41385" fmla="*/ 4087496 w 8079933"/>
              <a:gd name="connsiteY41385" fmla="*/ 2113875 h 4687251"/>
              <a:gd name="connsiteX41386" fmla="*/ 4095636 w 8079933"/>
              <a:gd name="connsiteY41386" fmla="*/ 2114849 h 4687251"/>
              <a:gd name="connsiteX41387" fmla="*/ 4099867 w 8079933"/>
              <a:gd name="connsiteY41387" fmla="*/ 2110843 h 4687251"/>
              <a:gd name="connsiteX41388" fmla="*/ 4099976 w 8079933"/>
              <a:gd name="connsiteY41388" fmla="*/ 2108353 h 4687251"/>
              <a:gd name="connsiteX41389" fmla="*/ 4106487 w 8079933"/>
              <a:gd name="connsiteY41389" fmla="*/ 2110626 h 4687251"/>
              <a:gd name="connsiteX41390" fmla="*/ 4111696 w 8079933"/>
              <a:gd name="connsiteY41390" fmla="*/ 2115174 h 4687251"/>
              <a:gd name="connsiteX41391" fmla="*/ 4121896 w 8079933"/>
              <a:gd name="connsiteY41391" fmla="*/ 2112250 h 4687251"/>
              <a:gd name="connsiteX41392" fmla="*/ 4125478 w 8079933"/>
              <a:gd name="connsiteY41392" fmla="*/ 2113009 h 4687251"/>
              <a:gd name="connsiteX41393" fmla="*/ 4132206 w 8079933"/>
              <a:gd name="connsiteY41393" fmla="*/ 2111709 h 4687251"/>
              <a:gd name="connsiteX41394" fmla="*/ 4133398 w 8079933"/>
              <a:gd name="connsiteY41394" fmla="*/ 2113224 h 4687251"/>
              <a:gd name="connsiteX41395" fmla="*/ 4139584 w 8079933"/>
              <a:gd name="connsiteY41395" fmla="*/ 2107811 h 4687251"/>
              <a:gd name="connsiteX41396" fmla="*/ 4148265 w 8079933"/>
              <a:gd name="connsiteY41396" fmla="*/ 2103480 h 4687251"/>
              <a:gd name="connsiteX41397" fmla="*/ 4154559 w 8079933"/>
              <a:gd name="connsiteY41397" fmla="*/ 2102181 h 4687251"/>
              <a:gd name="connsiteX41398" fmla="*/ 4157164 w 8079933"/>
              <a:gd name="connsiteY41398" fmla="*/ 2105537 h 4687251"/>
              <a:gd name="connsiteX41399" fmla="*/ 4157380 w 8079933"/>
              <a:gd name="connsiteY41399" fmla="*/ 2102506 h 4687251"/>
              <a:gd name="connsiteX41400" fmla="*/ 4162589 w 8079933"/>
              <a:gd name="connsiteY41400" fmla="*/ 2101423 h 4687251"/>
              <a:gd name="connsiteX41401" fmla="*/ 4165628 w 8079933"/>
              <a:gd name="connsiteY41401" fmla="*/ 2104129 h 4687251"/>
              <a:gd name="connsiteX41402" fmla="*/ 4165085 w 8079933"/>
              <a:gd name="connsiteY41402" fmla="*/ 2108352 h 4687251"/>
              <a:gd name="connsiteX41403" fmla="*/ 4167473 w 8079933"/>
              <a:gd name="connsiteY41403" fmla="*/ 2109218 h 4687251"/>
              <a:gd name="connsiteX41404" fmla="*/ 4171053 w 8079933"/>
              <a:gd name="connsiteY41404" fmla="*/ 2117339 h 4687251"/>
              <a:gd name="connsiteX41405" fmla="*/ 4173441 w 8079933"/>
              <a:gd name="connsiteY41405" fmla="*/ 2118746 h 4687251"/>
              <a:gd name="connsiteX41406" fmla="*/ 4176263 w 8079933"/>
              <a:gd name="connsiteY41406" fmla="*/ 2115715 h 4687251"/>
              <a:gd name="connsiteX41407" fmla="*/ 4184835 w 8079933"/>
              <a:gd name="connsiteY41407" fmla="*/ 2107919 h 4687251"/>
              <a:gd name="connsiteX41408" fmla="*/ 4187005 w 8079933"/>
              <a:gd name="connsiteY41408" fmla="*/ 2109543 h 4687251"/>
              <a:gd name="connsiteX41409" fmla="*/ 4187005 w 8079933"/>
              <a:gd name="connsiteY41409" fmla="*/ 2114307 h 4687251"/>
              <a:gd name="connsiteX41410" fmla="*/ 4182230 w 8079933"/>
              <a:gd name="connsiteY41410" fmla="*/ 2121345 h 4687251"/>
              <a:gd name="connsiteX41411" fmla="*/ 4181905 w 8079933"/>
              <a:gd name="connsiteY41411" fmla="*/ 2125567 h 4687251"/>
              <a:gd name="connsiteX41412" fmla="*/ 4176154 w 8079933"/>
              <a:gd name="connsiteY41412" fmla="*/ 2129573 h 4687251"/>
              <a:gd name="connsiteX41413" fmla="*/ 4175069 w 8079933"/>
              <a:gd name="connsiteY41413" fmla="*/ 2135961 h 4687251"/>
              <a:gd name="connsiteX41414" fmla="*/ 4180820 w 8079933"/>
              <a:gd name="connsiteY41414" fmla="*/ 2143649 h 4687251"/>
              <a:gd name="connsiteX41415" fmla="*/ 4187874 w 8079933"/>
              <a:gd name="connsiteY41415" fmla="*/ 2146355 h 4687251"/>
              <a:gd name="connsiteX41416" fmla="*/ 4187656 w 8079933"/>
              <a:gd name="connsiteY41416" fmla="*/ 2154151 h 4687251"/>
              <a:gd name="connsiteX41417" fmla="*/ 4189501 w 8079933"/>
              <a:gd name="connsiteY41417" fmla="*/ 2155342 h 4687251"/>
              <a:gd name="connsiteX41418" fmla="*/ 4190369 w 8079933"/>
              <a:gd name="connsiteY41418" fmla="*/ 2158806 h 4687251"/>
              <a:gd name="connsiteX41419" fmla="*/ 4187874 w 8079933"/>
              <a:gd name="connsiteY41419" fmla="*/ 2161513 h 4687251"/>
              <a:gd name="connsiteX41420" fmla="*/ 4189827 w 8079933"/>
              <a:gd name="connsiteY41420" fmla="*/ 2164220 h 4687251"/>
              <a:gd name="connsiteX41421" fmla="*/ 4188091 w 8079933"/>
              <a:gd name="connsiteY41421" fmla="*/ 2166385 h 4687251"/>
              <a:gd name="connsiteX41422" fmla="*/ 4181145 w 8079933"/>
              <a:gd name="connsiteY41422" fmla="*/ 2173314 h 4687251"/>
              <a:gd name="connsiteX41423" fmla="*/ 4169209 w 8079933"/>
              <a:gd name="connsiteY41423" fmla="*/ 2181543 h 4687251"/>
              <a:gd name="connsiteX41424" fmla="*/ 4166930 w 8079933"/>
              <a:gd name="connsiteY41424" fmla="*/ 2188581 h 4687251"/>
              <a:gd name="connsiteX41425" fmla="*/ 4170728 w 8079933"/>
              <a:gd name="connsiteY41425" fmla="*/ 2195510 h 4687251"/>
              <a:gd name="connsiteX41426" fmla="*/ 4178324 w 8079933"/>
              <a:gd name="connsiteY41426" fmla="*/ 2200707 h 4687251"/>
              <a:gd name="connsiteX41427" fmla="*/ 4181797 w 8079933"/>
              <a:gd name="connsiteY41427" fmla="*/ 2199949 h 4687251"/>
              <a:gd name="connsiteX41428" fmla="*/ 4182774 w 8079933"/>
              <a:gd name="connsiteY41428" fmla="*/ 2203630 h 4687251"/>
              <a:gd name="connsiteX41429" fmla="*/ 4186029 w 8079933"/>
              <a:gd name="connsiteY41429" fmla="*/ 2205038 h 4687251"/>
              <a:gd name="connsiteX41430" fmla="*/ 4187874 w 8079933"/>
              <a:gd name="connsiteY41430" fmla="*/ 2203630 h 4687251"/>
              <a:gd name="connsiteX41431" fmla="*/ 4187548 w 8079933"/>
              <a:gd name="connsiteY41431" fmla="*/ 2201789 h 4687251"/>
              <a:gd name="connsiteX41432" fmla="*/ 4188959 w 8079933"/>
              <a:gd name="connsiteY41432" fmla="*/ 2200707 h 4687251"/>
              <a:gd name="connsiteX41433" fmla="*/ 4192540 w 8079933"/>
              <a:gd name="connsiteY41433" fmla="*/ 2202656 h 4687251"/>
              <a:gd name="connsiteX41434" fmla="*/ 4192757 w 8079933"/>
              <a:gd name="connsiteY41434" fmla="*/ 2206120 h 4687251"/>
              <a:gd name="connsiteX41435" fmla="*/ 4193516 w 8079933"/>
              <a:gd name="connsiteY41435" fmla="*/ 2208611 h 4687251"/>
              <a:gd name="connsiteX41436" fmla="*/ 4200570 w 8079933"/>
              <a:gd name="connsiteY41436" fmla="*/ 2212942 h 4687251"/>
              <a:gd name="connsiteX41437" fmla="*/ 4203392 w 8079933"/>
              <a:gd name="connsiteY41437" fmla="*/ 2213483 h 4687251"/>
              <a:gd name="connsiteX41438" fmla="*/ 4202523 w 8079933"/>
              <a:gd name="connsiteY41438" fmla="*/ 2215540 h 4687251"/>
              <a:gd name="connsiteX41439" fmla="*/ 4203373 w 8079933"/>
              <a:gd name="connsiteY41439" fmla="*/ 2220344 h 4687251"/>
              <a:gd name="connsiteX41440" fmla="*/ 4202524 w 8079933"/>
              <a:gd name="connsiteY41440" fmla="*/ 2215540 h 4687251"/>
              <a:gd name="connsiteX41441" fmla="*/ 4203392 w 8079933"/>
              <a:gd name="connsiteY41441" fmla="*/ 2213483 h 4687251"/>
              <a:gd name="connsiteX41442" fmla="*/ 4208817 w 8079933"/>
              <a:gd name="connsiteY41442" fmla="*/ 2214565 h 4687251"/>
              <a:gd name="connsiteX41443" fmla="*/ 4213375 w 8079933"/>
              <a:gd name="connsiteY41443" fmla="*/ 2218897 h 4687251"/>
              <a:gd name="connsiteX41444" fmla="*/ 4225095 w 8079933"/>
              <a:gd name="connsiteY41444" fmla="*/ 2221495 h 4687251"/>
              <a:gd name="connsiteX41445" fmla="*/ 4241915 w 8079933"/>
              <a:gd name="connsiteY41445" fmla="*/ 2218355 h 4687251"/>
              <a:gd name="connsiteX41446" fmla="*/ 4249403 w 8079933"/>
              <a:gd name="connsiteY41446" fmla="*/ 2221278 h 4687251"/>
              <a:gd name="connsiteX41447" fmla="*/ 4262533 w 8079933"/>
              <a:gd name="connsiteY41447" fmla="*/ 2221603 h 4687251"/>
              <a:gd name="connsiteX41448" fmla="*/ 4270672 w 8079933"/>
              <a:gd name="connsiteY41448" fmla="*/ 2226908 h 4687251"/>
              <a:gd name="connsiteX41449" fmla="*/ 4286082 w 8079933"/>
              <a:gd name="connsiteY41449" fmla="*/ 2229074 h 4687251"/>
              <a:gd name="connsiteX41450" fmla="*/ 4292050 w 8079933"/>
              <a:gd name="connsiteY41450" fmla="*/ 2236978 h 4687251"/>
              <a:gd name="connsiteX41451" fmla="*/ 4291833 w 8079933"/>
              <a:gd name="connsiteY41451" fmla="*/ 2244340 h 4687251"/>
              <a:gd name="connsiteX41452" fmla="*/ 4299321 w 8079933"/>
              <a:gd name="connsiteY41452" fmla="*/ 2258632 h 4687251"/>
              <a:gd name="connsiteX41453" fmla="*/ 4307242 w 8079933"/>
              <a:gd name="connsiteY41453" fmla="*/ 2262529 h 4687251"/>
              <a:gd name="connsiteX41454" fmla="*/ 4316466 w 8079933"/>
              <a:gd name="connsiteY41454" fmla="*/ 2262529 h 4687251"/>
              <a:gd name="connsiteX41455" fmla="*/ 4318962 w 8079933"/>
              <a:gd name="connsiteY41455" fmla="*/ 2261122 h 4687251"/>
              <a:gd name="connsiteX41456" fmla="*/ 4326775 w 8079933"/>
              <a:gd name="connsiteY41456" fmla="*/ 2262096 h 4687251"/>
              <a:gd name="connsiteX41457" fmla="*/ 4344464 w 8079933"/>
              <a:gd name="connsiteY41457" fmla="*/ 2269458 h 4687251"/>
              <a:gd name="connsiteX41458" fmla="*/ 4355641 w 8079933"/>
              <a:gd name="connsiteY41458" fmla="*/ 2275089 h 4687251"/>
              <a:gd name="connsiteX41459" fmla="*/ 4362803 w 8079933"/>
              <a:gd name="connsiteY41459" fmla="*/ 2280935 h 4687251"/>
              <a:gd name="connsiteX41460" fmla="*/ 4371918 w 8079933"/>
              <a:gd name="connsiteY41460" fmla="*/ 2288514 h 4687251"/>
              <a:gd name="connsiteX41461" fmla="*/ 4382444 w 8079933"/>
              <a:gd name="connsiteY41461" fmla="*/ 2292629 h 4687251"/>
              <a:gd name="connsiteX41462" fmla="*/ 4387436 w 8079933"/>
              <a:gd name="connsiteY41462" fmla="*/ 2290788 h 4687251"/>
              <a:gd name="connsiteX41463" fmla="*/ 4395574 w 8079933"/>
              <a:gd name="connsiteY41463" fmla="*/ 2283967 h 4687251"/>
              <a:gd name="connsiteX41464" fmla="*/ 4396334 w 8079933"/>
              <a:gd name="connsiteY41464" fmla="*/ 2281694 h 4687251"/>
              <a:gd name="connsiteX41465" fmla="*/ 4402520 w 8079933"/>
              <a:gd name="connsiteY41465" fmla="*/ 2275413 h 4687251"/>
              <a:gd name="connsiteX41466" fmla="*/ 4404582 w 8079933"/>
              <a:gd name="connsiteY41466" fmla="*/ 2270000 h 4687251"/>
              <a:gd name="connsiteX41467" fmla="*/ 4401652 w 8079933"/>
              <a:gd name="connsiteY41467" fmla="*/ 2260472 h 4687251"/>
              <a:gd name="connsiteX41468" fmla="*/ 4397311 w 8079933"/>
              <a:gd name="connsiteY41468" fmla="*/ 2253760 h 4687251"/>
              <a:gd name="connsiteX41469" fmla="*/ 4398071 w 8079933"/>
              <a:gd name="connsiteY41469" fmla="*/ 2241525 h 4687251"/>
              <a:gd name="connsiteX41470" fmla="*/ 4401109 w 8079933"/>
              <a:gd name="connsiteY41470" fmla="*/ 2239143 h 4687251"/>
              <a:gd name="connsiteX41471" fmla="*/ 4402520 w 8079933"/>
              <a:gd name="connsiteY41471" fmla="*/ 2232646 h 4687251"/>
              <a:gd name="connsiteX41472" fmla="*/ 4408380 w 8079933"/>
              <a:gd name="connsiteY41472" fmla="*/ 2227017 h 4687251"/>
              <a:gd name="connsiteX41473" fmla="*/ 4418472 w 8079933"/>
              <a:gd name="connsiteY41473" fmla="*/ 2222144 h 4687251"/>
              <a:gd name="connsiteX41474" fmla="*/ 4430191 w 8079933"/>
              <a:gd name="connsiteY41474" fmla="*/ 2221062 h 4687251"/>
              <a:gd name="connsiteX41475" fmla="*/ 4437679 w 8079933"/>
              <a:gd name="connsiteY41475" fmla="*/ 2217272 h 4687251"/>
              <a:gd name="connsiteX41476" fmla="*/ 4439416 w 8079933"/>
              <a:gd name="connsiteY41476" fmla="*/ 2217272 h 4687251"/>
              <a:gd name="connsiteX41477" fmla="*/ 4444516 w 8079933"/>
              <a:gd name="connsiteY41477" fmla="*/ 2219871 h 4687251"/>
              <a:gd name="connsiteX41478" fmla="*/ 4447011 w 8079933"/>
              <a:gd name="connsiteY41478" fmla="*/ 2217597 h 4687251"/>
              <a:gd name="connsiteX41479" fmla="*/ 4449073 w 8079933"/>
              <a:gd name="connsiteY41479" fmla="*/ 2218788 h 4687251"/>
              <a:gd name="connsiteX41480" fmla="*/ 4457321 w 8079933"/>
              <a:gd name="connsiteY41480" fmla="*/ 2220954 h 4687251"/>
              <a:gd name="connsiteX41481" fmla="*/ 4462638 w 8079933"/>
              <a:gd name="connsiteY41481" fmla="*/ 2220954 h 4687251"/>
              <a:gd name="connsiteX41482" fmla="*/ 4472730 w 8079933"/>
              <a:gd name="connsiteY41482" fmla="*/ 2226475 h 4687251"/>
              <a:gd name="connsiteX41483" fmla="*/ 4472947 w 8079933"/>
              <a:gd name="connsiteY41483" fmla="*/ 2229399 h 4687251"/>
              <a:gd name="connsiteX41484" fmla="*/ 4471102 w 8079933"/>
              <a:gd name="connsiteY41484" fmla="*/ 2230048 h 4687251"/>
              <a:gd name="connsiteX41485" fmla="*/ 4472947 w 8079933"/>
              <a:gd name="connsiteY41485" fmla="*/ 2232863 h 4687251"/>
              <a:gd name="connsiteX41486" fmla="*/ 4481412 w 8079933"/>
              <a:gd name="connsiteY41486" fmla="*/ 2235137 h 4687251"/>
              <a:gd name="connsiteX41487" fmla="*/ 4487705 w 8079933"/>
              <a:gd name="connsiteY41487" fmla="*/ 2235678 h 4687251"/>
              <a:gd name="connsiteX41488" fmla="*/ 4490961 w 8079933"/>
              <a:gd name="connsiteY41488" fmla="*/ 2238601 h 4687251"/>
              <a:gd name="connsiteX41489" fmla="*/ 4507130 w 8079933"/>
              <a:gd name="connsiteY41489" fmla="*/ 2240550 h 4687251"/>
              <a:gd name="connsiteX41490" fmla="*/ 4511471 w 8079933"/>
              <a:gd name="connsiteY41490" fmla="*/ 2239901 h 4687251"/>
              <a:gd name="connsiteX41491" fmla="*/ 4515811 w 8079933"/>
              <a:gd name="connsiteY41491" fmla="*/ 2240550 h 4687251"/>
              <a:gd name="connsiteX41492" fmla="*/ 4519176 w 8079933"/>
              <a:gd name="connsiteY41492" fmla="*/ 2244340 h 4687251"/>
              <a:gd name="connsiteX41493" fmla="*/ 4521345 w 8079933"/>
              <a:gd name="connsiteY41493" fmla="*/ 2251052 h 4687251"/>
              <a:gd name="connsiteX41494" fmla="*/ 4519826 w 8079933"/>
              <a:gd name="connsiteY41494" fmla="*/ 2254950 h 4687251"/>
              <a:gd name="connsiteX41495" fmla="*/ 4517764 w 8079933"/>
              <a:gd name="connsiteY41495" fmla="*/ 2265019 h 4687251"/>
              <a:gd name="connsiteX41496" fmla="*/ 4517764 w 8079933"/>
              <a:gd name="connsiteY41496" fmla="*/ 2265020 h 4687251"/>
              <a:gd name="connsiteX41497" fmla="*/ 4519826 w 8079933"/>
              <a:gd name="connsiteY41497" fmla="*/ 2254951 h 4687251"/>
              <a:gd name="connsiteX41498" fmla="*/ 4521345 w 8079933"/>
              <a:gd name="connsiteY41498" fmla="*/ 2251053 h 4687251"/>
              <a:gd name="connsiteX41499" fmla="*/ 4523733 w 8079933"/>
              <a:gd name="connsiteY41499" fmla="*/ 2250295 h 4687251"/>
              <a:gd name="connsiteX41500" fmla="*/ 4535669 w 8079933"/>
              <a:gd name="connsiteY41500" fmla="*/ 2249754 h 4687251"/>
              <a:gd name="connsiteX41501" fmla="*/ 4544893 w 8079933"/>
              <a:gd name="connsiteY41501" fmla="*/ 2252786 h 4687251"/>
              <a:gd name="connsiteX41502" fmla="*/ 4563558 w 8079933"/>
              <a:gd name="connsiteY41502" fmla="*/ 2254301 h 4687251"/>
              <a:gd name="connsiteX41503" fmla="*/ 4571263 w 8079933"/>
              <a:gd name="connsiteY41503" fmla="*/ 2255925 h 4687251"/>
              <a:gd name="connsiteX41504" fmla="*/ 4577991 w 8079933"/>
              <a:gd name="connsiteY41504" fmla="*/ 2260581 h 4687251"/>
              <a:gd name="connsiteX41505" fmla="*/ 4580812 w 8079933"/>
              <a:gd name="connsiteY41505" fmla="*/ 2258849 h 4687251"/>
              <a:gd name="connsiteX41506" fmla="*/ 4583634 w 8079933"/>
              <a:gd name="connsiteY41506" fmla="*/ 2258849 h 4687251"/>
              <a:gd name="connsiteX41507" fmla="*/ 4590470 w 8079933"/>
              <a:gd name="connsiteY41507" fmla="*/ 2263180 h 4687251"/>
              <a:gd name="connsiteX41508" fmla="*/ 4598609 w 8079933"/>
              <a:gd name="connsiteY41508" fmla="*/ 2262530 h 4687251"/>
              <a:gd name="connsiteX41509" fmla="*/ 4604252 w 8079933"/>
              <a:gd name="connsiteY41509" fmla="*/ 2263180 h 4687251"/>
              <a:gd name="connsiteX41510" fmla="*/ 4612934 w 8079933"/>
              <a:gd name="connsiteY41510" fmla="*/ 2268593 h 4687251"/>
              <a:gd name="connsiteX41511" fmla="*/ 4620855 w 8079933"/>
              <a:gd name="connsiteY41511" fmla="*/ 2268593 h 4687251"/>
              <a:gd name="connsiteX41512" fmla="*/ 4621723 w 8079933"/>
              <a:gd name="connsiteY41512" fmla="*/ 2266319 h 4687251"/>
              <a:gd name="connsiteX41513" fmla="*/ 4626823 w 8079933"/>
              <a:gd name="connsiteY41513" fmla="*/ 2261556 h 4687251"/>
              <a:gd name="connsiteX41514" fmla="*/ 4633009 w 8079933"/>
              <a:gd name="connsiteY41514" fmla="*/ 2259498 h 4687251"/>
              <a:gd name="connsiteX41515" fmla="*/ 4636047 w 8079933"/>
              <a:gd name="connsiteY41515" fmla="*/ 2257874 h 4687251"/>
              <a:gd name="connsiteX41516" fmla="*/ 4642450 w 8079933"/>
              <a:gd name="connsiteY41516" fmla="*/ 2254409 h 4687251"/>
              <a:gd name="connsiteX41517" fmla="*/ 4645271 w 8079933"/>
              <a:gd name="connsiteY41517" fmla="*/ 2252352 h 4687251"/>
              <a:gd name="connsiteX41518" fmla="*/ 4651999 w 8079933"/>
              <a:gd name="connsiteY41518" fmla="*/ 2252136 h 4687251"/>
              <a:gd name="connsiteX41519" fmla="*/ 4656882 w 8079933"/>
              <a:gd name="connsiteY41519" fmla="*/ 2251595 h 4687251"/>
              <a:gd name="connsiteX41520" fmla="*/ 4653084 w 8079933"/>
              <a:gd name="connsiteY41520" fmla="*/ 2253111 h 4687251"/>
              <a:gd name="connsiteX41521" fmla="*/ 4648418 w 8079933"/>
              <a:gd name="connsiteY41521" fmla="*/ 2253760 h 4687251"/>
              <a:gd name="connsiteX41522" fmla="*/ 4648309 w 8079933"/>
              <a:gd name="connsiteY41522" fmla="*/ 2254843 h 4687251"/>
              <a:gd name="connsiteX41523" fmla="*/ 4649937 w 8079933"/>
              <a:gd name="connsiteY41523" fmla="*/ 2256466 h 4687251"/>
              <a:gd name="connsiteX41524" fmla="*/ 4655255 w 8079933"/>
              <a:gd name="connsiteY41524" fmla="*/ 2254301 h 4687251"/>
              <a:gd name="connsiteX41525" fmla="*/ 4659704 w 8079933"/>
              <a:gd name="connsiteY41525" fmla="*/ 2254843 h 4687251"/>
              <a:gd name="connsiteX41526" fmla="*/ 4664261 w 8079933"/>
              <a:gd name="connsiteY41526" fmla="*/ 2254301 h 4687251"/>
              <a:gd name="connsiteX41527" fmla="*/ 4663502 w 8079933"/>
              <a:gd name="connsiteY41527" fmla="*/ 2252678 h 4687251"/>
              <a:gd name="connsiteX41528" fmla="*/ 4660138 w 8079933"/>
              <a:gd name="connsiteY41528" fmla="*/ 2251919 h 4687251"/>
              <a:gd name="connsiteX41529" fmla="*/ 4661331 w 8079933"/>
              <a:gd name="connsiteY41529" fmla="*/ 2250512 h 4687251"/>
              <a:gd name="connsiteX41530" fmla="*/ 4669470 w 8079933"/>
              <a:gd name="connsiteY41530" fmla="*/ 2252678 h 4687251"/>
              <a:gd name="connsiteX41531" fmla="*/ 4674354 w 8079933"/>
              <a:gd name="connsiteY41531" fmla="*/ 2254301 h 4687251"/>
              <a:gd name="connsiteX41532" fmla="*/ 4678368 w 8079933"/>
              <a:gd name="connsiteY41532" fmla="*/ 2253760 h 4687251"/>
              <a:gd name="connsiteX41533" fmla="*/ 4680322 w 8079933"/>
              <a:gd name="connsiteY41533" fmla="*/ 2255709 h 4687251"/>
              <a:gd name="connsiteX41534" fmla="*/ 4677935 w 8079933"/>
              <a:gd name="connsiteY41534" fmla="*/ 2256792 h 4687251"/>
              <a:gd name="connsiteX41535" fmla="*/ 4679128 w 8079933"/>
              <a:gd name="connsiteY41535" fmla="*/ 2260906 h 4687251"/>
              <a:gd name="connsiteX41536" fmla="*/ 4684012 w 8079933"/>
              <a:gd name="connsiteY41536" fmla="*/ 2263613 h 4687251"/>
              <a:gd name="connsiteX41537" fmla="*/ 4687267 w 8079933"/>
              <a:gd name="connsiteY41537" fmla="*/ 2268593 h 4687251"/>
              <a:gd name="connsiteX41538" fmla="*/ 4687376 w 8079933"/>
              <a:gd name="connsiteY41538" fmla="*/ 2265453 h 4687251"/>
              <a:gd name="connsiteX41539" fmla="*/ 4684120 w 8079933"/>
              <a:gd name="connsiteY41539" fmla="*/ 2260581 h 4687251"/>
              <a:gd name="connsiteX41540" fmla="*/ 4685205 w 8079933"/>
              <a:gd name="connsiteY41540" fmla="*/ 2256466 h 4687251"/>
              <a:gd name="connsiteX41541" fmla="*/ 4693887 w 8079933"/>
              <a:gd name="connsiteY41541" fmla="*/ 2262638 h 4687251"/>
              <a:gd name="connsiteX41542" fmla="*/ 4705932 w 8079933"/>
              <a:gd name="connsiteY41542" fmla="*/ 2259390 h 4687251"/>
              <a:gd name="connsiteX41543" fmla="*/ 4721124 w 8079933"/>
              <a:gd name="connsiteY41543" fmla="*/ 2261880 h 4687251"/>
              <a:gd name="connsiteX41544" fmla="*/ 4727636 w 8079933"/>
              <a:gd name="connsiteY41544" fmla="*/ 2259390 h 4687251"/>
              <a:gd name="connsiteX41545" fmla="*/ 4730674 w 8079933"/>
              <a:gd name="connsiteY41545" fmla="*/ 2255276 h 4687251"/>
              <a:gd name="connsiteX41546" fmla="*/ 4732482 w 8079933"/>
              <a:gd name="connsiteY41546" fmla="*/ 2256070 h 4687251"/>
              <a:gd name="connsiteX41547" fmla="*/ 4730674 w 8079933"/>
              <a:gd name="connsiteY41547" fmla="*/ 2255275 h 4687251"/>
              <a:gd name="connsiteX41548" fmla="*/ 4738162 w 8079933"/>
              <a:gd name="connsiteY41548" fmla="*/ 2245315 h 4687251"/>
              <a:gd name="connsiteX41549" fmla="*/ 4744998 w 8079933"/>
              <a:gd name="connsiteY41549" fmla="*/ 2231565 h 4687251"/>
              <a:gd name="connsiteX41550" fmla="*/ 4746843 w 8079933"/>
              <a:gd name="connsiteY41550" fmla="*/ 2214241 h 4687251"/>
              <a:gd name="connsiteX41551" fmla="*/ 4751942 w 8079933"/>
              <a:gd name="connsiteY41551" fmla="*/ 2208503 h 4687251"/>
              <a:gd name="connsiteX41552" fmla="*/ 4754764 w 8079933"/>
              <a:gd name="connsiteY41552" fmla="*/ 2209044 h 4687251"/>
              <a:gd name="connsiteX41553" fmla="*/ 4762360 w 8079933"/>
              <a:gd name="connsiteY41553" fmla="*/ 2208936 h 4687251"/>
              <a:gd name="connsiteX41554" fmla="*/ 4762360 w 8079933"/>
              <a:gd name="connsiteY41554" fmla="*/ 2208936 h 4687251"/>
              <a:gd name="connsiteX41555" fmla="*/ 4754766 w 8079933"/>
              <a:gd name="connsiteY41555" fmla="*/ 2209044 h 4687251"/>
              <a:gd name="connsiteX41556" fmla="*/ 4751944 w 8079933"/>
              <a:gd name="connsiteY41556" fmla="*/ 2208503 h 4687251"/>
              <a:gd name="connsiteX41557" fmla="*/ 4752595 w 8079933"/>
              <a:gd name="connsiteY41557" fmla="*/ 2207745 h 4687251"/>
              <a:gd name="connsiteX41558" fmla="*/ 4752595 w 8079933"/>
              <a:gd name="connsiteY41558" fmla="*/ 2201248 h 4687251"/>
              <a:gd name="connsiteX41559" fmla="*/ 4756935 w 8079933"/>
              <a:gd name="connsiteY41559" fmla="*/ 2195077 h 4687251"/>
              <a:gd name="connsiteX41560" fmla="*/ 4760951 w 8079933"/>
              <a:gd name="connsiteY41560" fmla="*/ 2188905 h 4687251"/>
              <a:gd name="connsiteX41561" fmla="*/ 4762036 w 8079933"/>
              <a:gd name="connsiteY41561" fmla="*/ 2171907 h 4687251"/>
              <a:gd name="connsiteX41562" fmla="*/ 4765292 w 8079933"/>
              <a:gd name="connsiteY41562" fmla="*/ 2171257 h 4687251"/>
              <a:gd name="connsiteX41563" fmla="*/ 4765400 w 8079933"/>
              <a:gd name="connsiteY41563" fmla="*/ 2169958 h 4687251"/>
              <a:gd name="connsiteX41564" fmla="*/ 4765399 w 8079933"/>
              <a:gd name="connsiteY41564" fmla="*/ 2169958 h 4687251"/>
              <a:gd name="connsiteX41565" fmla="*/ 4766051 w 8079933"/>
              <a:gd name="connsiteY41565" fmla="*/ 2160755 h 4687251"/>
              <a:gd name="connsiteX41566" fmla="*/ 4767135 w 8079933"/>
              <a:gd name="connsiteY41566" fmla="*/ 2155666 h 4687251"/>
              <a:gd name="connsiteX41567" fmla="*/ 4765507 w 8079933"/>
              <a:gd name="connsiteY41567" fmla="*/ 2149495 h 4687251"/>
              <a:gd name="connsiteX41568" fmla="*/ 4761601 w 8079933"/>
              <a:gd name="connsiteY41568" fmla="*/ 2141483 h 4687251"/>
              <a:gd name="connsiteX41569" fmla="*/ 4760516 w 8079933"/>
              <a:gd name="connsiteY41569" fmla="*/ 2134336 h 4687251"/>
              <a:gd name="connsiteX41570" fmla="*/ 4763771 w 8079933"/>
              <a:gd name="connsiteY41570" fmla="*/ 2133038 h 4687251"/>
              <a:gd name="connsiteX41571" fmla="*/ 4763879 w 8079933"/>
              <a:gd name="connsiteY41571" fmla="*/ 2132497 h 4687251"/>
              <a:gd name="connsiteX41572" fmla="*/ 4763881 w 8079933"/>
              <a:gd name="connsiteY41572" fmla="*/ 2132497 h 4687251"/>
              <a:gd name="connsiteX41573" fmla="*/ 4764749 w 8079933"/>
              <a:gd name="connsiteY41573" fmla="*/ 2129249 h 4687251"/>
              <a:gd name="connsiteX41574" fmla="*/ 4760516 w 8079933"/>
              <a:gd name="connsiteY41574" fmla="*/ 2124161 h 4687251"/>
              <a:gd name="connsiteX41575" fmla="*/ 4760299 w 8079933"/>
              <a:gd name="connsiteY41575" fmla="*/ 2121887 h 4687251"/>
              <a:gd name="connsiteX41576" fmla="*/ 4764966 w 8079933"/>
              <a:gd name="connsiteY41576" fmla="*/ 2118098 h 4687251"/>
              <a:gd name="connsiteX41577" fmla="*/ 4768655 w 8079933"/>
              <a:gd name="connsiteY41577" fmla="*/ 2112251 h 4687251"/>
              <a:gd name="connsiteX41578" fmla="*/ 4768112 w 8079933"/>
              <a:gd name="connsiteY41578" fmla="*/ 2108786 h 4687251"/>
              <a:gd name="connsiteX41579" fmla="*/ 4764097 w 8079933"/>
              <a:gd name="connsiteY41579" fmla="*/ 2107596 h 4687251"/>
              <a:gd name="connsiteX41580" fmla="*/ 4758888 w 8079933"/>
              <a:gd name="connsiteY41580" fmla="*/ 2111385 h 4687251"/>
              <a:gd name="connsiteX41581" fmla="*/ 4758346 w 8079933"/>
              <a:gd name="connsiteY41581" fmla="*/ 2113551 h 4687251"/>
              <a:gd name="connsiteX41582" fmla="*/ 4750858 w 8079933"/>
              <a:gd name="connsiteY41582" fmla="*/ 2114958 h 4687251"/>
              <a:gd name="connsiteX41583" fmla="*/ 4744890 w 8079933"/>
              <a:gd name="connsiteY41583" fmla="*/ 2112251 h 4687251"/>
              <a:gd name="connsiteX41584" fmla="*/ 4735123 w 8079933"/>
              <a:gd name="connsiteY41584" fmla="*/ 2108786 h 4687251"/>
              <a:gd name="connsiteX41585" fmla="*/ 4732627 w 8079933"/>
              <a:gd name="connsiteY41585" fmla="*/ 2109436 h 4687251"/>
              <a:gd name="connsiteX41586" fmla="*/ 4722318 w 8079933"/>
              <a:gd name="connsiteY41586" fmla="*/ 2121129 h 4687251"/>
              <a:gd name="connsiteX41587" fmla="*/ 4721233 w 8079933"/>
              <a:gd name="connsiteY41587" fmla="*/ 2125135 h 4687251"/>
              <a:gd name="connsiteX41588" fmla="*/ 4718195 w 8079933"/>
              <a:gd name="connsiteY41588" fmla="*/ 2127192 h 4687251"/>
              <a:gd name="connsiteX41589" fmla="*/ 4717110 w 8079933"/>
              <a:gd name="connsiteY41589" fmla="*/ 2126218 h 4687251"/>
              <a:gd name="connsiteX41590" fmla="*/ 4714939 w 8079933"/>
              <a:gd name="connsiteY41590" fmla="*/ 2126218 h 4687251"/>
              <a:gd name="connsiteX41591" fmla="*/ 4708429 w 8079933"/>
              <a:gd name="connsiteY41591" fmla="*/ 2128925 h 4687251"/>
              <a:gd name="connsiteX41592" fmla="*/ 4686725 w 8079933"/>
              <a:gd name="connsiteY41592" fmla="*/ 2131631 h 4687251"/>
              <a:gd name="connsiteX41593" fmla="*/ 4680214 w 8079933"/>
              <a:gd name="connsiteY41593" fmla="*/ 2127409 h 4687251"/>
              <a:gd name="connsiteX41594" fmla="*/ 4672618 w 8079933"/>
              <a:gd name="connsiteY41594" fmla="*/ 2117340 h 4687251"/>
              <a:gd name="connsiteX41595" fmla="*/ 4668386 w 8079933"/>
              <a:gd name="connsiteY41595" fmla="*/ 2117340 h 4687251"/>
              <a:gd name="connsiteX41596" fmla="*/ 4656883 w 8079933"/>
              <a:gd name="connsiteY41596" fmla="*/ 2111385 h 4687251"/>
              <a:gd name="connsiteX41597" fmla="*/ 4648093 w 8079933"/>
              <a:gd name="connsiteY41597" fmla="*/ 2110627 h 4687251"/>
              <a:gd name="connsiteX41598" fmla="*/ 4638001 w 8079933"/>
              <a:gd name="connsiteY41598" fmla="*/ 2111602 h 4687251"/>
              <a:gd name="connsiteX41599" fmla="*/ 4638978 w 8079933"/>
              <a:gd name="connsiteY41599" fmla="*/ 2116798 h 4687251"/>
              <a:gd name="connsiteX41600" fmla="*/ 4638001 w 8079933"/>
              <a:gd name="connsiteY41600" fmla="*/ 2119722 h 4687251"/>
              <a:gd name="connsiteX41601" fmla="*/ 4638543 w 8079933"/>
              <a:gd name="connsiteY41601" fmla="*/ 2125243 h 4687251"/>
              <a:gd name="connsiteX41602" fmla="*/ 4635722 w 8079933"/>
              <a:gd name="connsiteY41602" fmla="*/ 2126868 h 4687251"/>
              <a:gd name="connsiteX41603" fmla="*/ 4631490 w 8079933"/>
              <a:gd name="connsiteY41603" fmla="*/ 2124702 h 4687251"/>
              <a:gd name="connsiteX41604" fmla="*/ 4628777 w 8079933"/>
              <a:gd name="connsiteY41604" fmla="*/ 2127084 h 4687251"/>
              <a:gd name="connsiteX41605" fmla="*/ 4624111 w 8079933"/>
              <a:gd name="connsiteY41605" fmla="*/ 2127084 h 4687251"/>
              <a:gd name="connsiteX41606" fmla="*/ 4621398 w 8079933"/>
              <a:gd name="connsiteY41606" fmla="*/ 2129249 h 4687251"/>
              <a:gd name="connsiteX41607" fmla="*/ 4615647 w 8079933"/>
              <a:gd name="connsiteY41607" fmla="*/ 2130116 h 4687251"/>
              <a:gd name="connsiteX41608" fmla="*/ 4610221 w 8079933"/>
              <a:gd name="connsiteY41608" fmla="*/ 2127951 h 4687251"/>
              <a:gd name="connsiteX41609" fmla="*/ 4608376 w 8079933"/>
              <a:gd name="connsiteY41609" fmla="*/ 2128925 h 4687251"/>
              <a:gd name="connsiteX41610" fmla="*/ 4603276 w 8079933"/>
              <a:gd name="connsiteY41610" fmla="*/ 2124702 h 4687251"/>
              <a:gd name="connsiteX41611" fmla="*/ 4602733 w 8079933"/>
              <a:gd name="connsiteY41611" fmla="*/ 2121454 h 4687251"/>
              <a:gd name="connsiteX41612" fmla="*/ 4600563 w 8079933"/>
              <a:gd name="connsiteY41612" fmla="*/ 2118206 h 4687251"/>
              <a:gd name="connsiteX41613" fmla="*/ 4602408 w 8079933"/>
              <a:gd name="connsiteY41613" fmla="*/ 2117340 h 4687251"/>
              <a:gd name="connsiteX41614" fmla="*/ 4602950 w 8079933"/>
              <a:gd name="connsiteY41614" fmla="*/ 2114849 h 4687251"/>
              <a:gd name="connsiteX41615" fmla="*/ 4599369 w 8079933"/>
              <a:gd name="connsiteY41615" fmla="*/ 2114308 h 4687251"/>
              <a:gd name="connsiteX41616" fmla="*/ 4597199 w 8079933"/>
              <a:gd name="connsiteY41616" fmla="*/ 2117340 h 4687251"/>
              <a:gd name="connsiteX41617" fmla="*/ 4592641 w 8079933"/>
              <a:gd name="connsiteY41617" fmla="*/ 2114633 h 4687251"/>
              <a:gd name="connsiteX41618" fmla="*/ 4589602 w 8079933"/>
              <a:gd name="connsiteY41618" fmla="*/ 2114633 h 4687251"/>
              <a:gd name="connsiteX41619" fmla="*/ 4587215 w 8079933"/>
              <a:gd name="connsiteY41619" fmla="*/ 2111710 h 4687251"/>
              <a:gd name="connsiteX41620" fmla="*/ 4583743 w 8079933"/>
              <a:gd name="connsiteY41620" fmla="*/ 2111926 h 4687251"/>
              <a:gd name="connsiteX41621" fmla="*/ 4580487 w 8079933"/>
              <a:gd name="connsiteY41621" fmla="*/ 2115932 h 4687251"/>
              <a:gd name="connsiteX41622" fmla="*/ 4577774 w 8079933"/>
              <a:gd name="connsiteY41622" fmla="*/ 2119288 h 4687251"/>
              <a:gd name="connsiteX41623" fmla="*/ 4576363 w 8079933"/>
              <a:gd name="connsiteY41623" fmla="*/ 2118098 h 4687251"/>
              <a:gd name="connsiteX41624" fmla="*/ 4576363 w 8079933"/>
              <a:gd name="connsiteY41624" fmla="*/ 2114633 h 4687251"/>
              <a:gd name="connsiteX41625" fmla="*/ 4573759 w 8079933"/>
              <a:gd name="connsiteY41625" fmla="*/ 2115932 h 4687251"/>
              <a:gd name="connsiteX41626" fmla="*/ 4568442 w 8079933"/>
              <a:gd name="connsiteY41626" fmla="*/ 2115932 h 4687251"/>
              <a:gd name="connsiteX41627" fmla="*/ 4564535 w 8079933"/>
              <a:gd name="connsiteY41627" fmla="*/ 2117231 h 4687251"/>
              <a:gd name="connsiteX41628" fmla="*/ 4561605 w 8079933"/>
              <a:gd name="connsiteY41628" fmla="*/ 2116474 h 4687251"/>
              <a:gd name="connsiteX41629" fmla="*/ 4563450 w 8079933"/>
              <a:gd name="connsiteY41629" fmla="*/ 2113767 h 4687251"/>
              <a:gd name="connsiteX41630" fmla="*/ 4571154 w 8079933"/>
              <a:gd name="connsiteY41630" fmla="*/ 2114092 h 4687251"/>
              <a:gd name="connsiteX41631" fmla="*/ 4576363 w 8079933"/>
              <a:gd name="connsiteY41631" fmla="*/ 2111818 h 4687251"/>
              <a:gd name="connsiteX41632" fmla="*/ 4578751 w 8079933"/>
              <a:gd name="connsiteY41632" fmla="*/ 2109436 h 4687251"/>
              <a:gd name="connsiteX41633" fmla="*/ 4579402 w 8079933"/>
              <a:gd name="connsiteY41633" fmla="*/ 2107379 h 4687251"/>
              <a:gd name="connsiteX41634" fmla="*/ 4569309 w 8079933"/>
              <a:gd name="connsiteY41634" fmla="*/ 2107379 h 4687251"/>
              <a:gd name="connsiteX41635" fmla="*/ 4562039 w 8079933"/>
              <a:gd name="connsiteY41635" fmla="*/ 2109219 h 4687251"/>
              <a:gd name="connsiteX41636" fmla="*/ 4559000 w 8079933"/>
              <a:gd name="connsiteY41636" fmla="*/ 2107920 h 4687251"/>
              <a:gd name="connsiteX41637" fmla="*/ 4559869 w 8079933"/>
              <a:gd name="connsiteY41637" fmla="*/ 2105213 h 4687251"/>
              <a:gd name="connsiteX41638" fmla="*/ 4563667 w 8079933"/>
              <a:gd name="connsiteY41638" fmla="*/ 2106296 h 4687251"/>
              <a:gd name="connsiteX41639" fmla="*/ 4565838 w 8079933"/>
              <a:gd name="connsiteY41639" fmla="*/ 2102507 h 4687251"/>
              <a:gd name="connsiteX41640" fmla="*/ 4559869 w 8079933"/>
              <a:gd name="connsiteY41640" fmla="*/ 2096768 h 4687251"/>
              <a:gd name="connsiteX41641" fmla="*/ 4556830 w 8079933"/>
              <a:gd name="connsiteY41641" fmla="*/ 2096552 h 4687251"/>
              <a:gd name="connsiteX41642" fmla="*/ 4556613 w 8079933"/>
              <a:gd name="connsiteY41642" fmla="*/ 2093737 h 4687251"/>
              <a:gd name="connsiteX41643" fmla="*/ 4553575 w 8079933"/>
              <a:gd name="connsiteY41643" fmla="*/ 2090813 h 4687251"/>
              <a:gd name="connsiteX41644" fmla="*/ 4557373 w 8079933"/>
              <a:gd name="connsiteY41644" fmla="*/ 2087024 h 4687251"/>
              <a:gd name="connsiteX41645" fmla="*/ 4555853 w 8079933"/>
              <a:gd name="connsiteY41645" fmla="*/ 2081394 h 4687251"/>
              <a:gd name="connsiteX41646" fmla="*/ 4550536 w 8079933"/>
              <a:gd name="connsiteY41646" fmla="*/ 2078146 h 4687251"/>
              <a:gd name="connsiteX41647" fmla="*/ 4546847 w 8079933"/>
              <a:gd name="connsiteY41647" fmla="*/ 2078903 h 4687251"/>
              <a:gd name="connsiteX41648" fmla="*/ 4542181 w 8079933"/>
              <a:gd name="connsiteY41648" fmla="*/ 2074898 h 4687251"/>
              <a:gd name="connsiteX41649" fmla="*/ 4541313 w 8079933"/>
              <a:gd name="connsiteY41649" fmla="*/ 2076955 h 4687251"/>
              <a:gd name="connsiteX41650" fmla="*/ 4537297 w 8079933"/>
              <a:gd name="connsiteY41650" fmla="*/ 2074356 h 4687251"/>
              <a:gd name="connsiteX41651" fmla="*/ 4536538 w 8079933"/>
              <a:gd name="connsiteY41651" fmla="*/ 2071000 h 4687251"/>
              <a:gd name="connsiteX41652" fmla="*/ 4538600 w 8079933"/>
              <a:gd name="connsiteY41652" fmla="*/ 2068618 h 4687251"/>
              <a:gd name="connsiteX41653" fmla="*/ 4536972 w 8079933"/>
              <a:gd name="connsiteY41653" fmla="*/ 2064179 h 4687251"/>
              <a:gd name="connsiteX41654" fmla="*/ 4537840 w 8079933"/>
              <a:gd name="connsiteY41654" fmla="*/ 2060281 h 4687251"/>
              <a:gd name="connsiteX41655" fmla="*/ 4539576 w 8079933"/>
              <a:gd name="connsiteY41655" fmla="*/ 2061148 h 4687251"/>
              <a:gd name="connsiteX41656" fmla="*/ 4542181 w 8079933"/>
              <a:gd name="connsiteY41656" fmla="*/ 2067427 h 4687251"/>
              <a:gd name="connsiteX41657" fmla="*/ 4544785 w 8079933"/>
              <a:gd name="connsiteY41657" fmla="*/ 2067427 h 4687251"/>
              <a:gd name="connsiteX41658" fmla="*/ 4546847 w 8079933"/>
              <a:gd name="connsiteY41658" fmla="*/ 2063313 h 4687251"/>
              <a:gd name="connsiteX41659" fmla="*/ 4550211 w 8079933"/>
              <a:gd name="connsiteY41659" fmla="*/ 2061039 h 4687251"/>
              <a:gd name="connsiteX41660" fmla="*/ 4546847 w 8079933"/>
              <a:gd name="connsiteY41660" fmla="*/ 2060715 h 4687251"/>
              <a:gd name="connsiteX41661" fmla="*/ 4544785 w 8079933"/>
              <a:gd name="connsiteY41661" fmla="*/ 2059307 h 4687251"/>
              <a:gd name="connsiteX41662" fmla="*/ 4550754 w 8079933"/>
              <a:gd name="connsiteY41662" fmla="*/ 2055626 h 4687251"/>
              <a:gd name="connsiteX41663" fmla="*/ 4553575 w 8079933"/>
              <a:gd name="connsiteY41663" fmla="*/ 2052594 h 4687251"/>
              <a:gd name="connsiteX41664" fmla="*/ 4553249 w 8079933"/>
              <a:gd name="connsiteY41664" fmla="*/ 2050212 h 4687251"/>
              <a:gd name="connsiteX41665" fmla="*/ 4548909 w 8079933"/>
              <a:gd name="connsiteY41665" fmla="*/ 2053027 h 4687251"/>
              <a:gd name="connsiteX41666" fmla="*/ 4547389 w 8079933"/>
              <a:gd name="connsiteY41666" fmla="*/ 2051944 h 4687251"/>
              <a:gd name="connsiteX41667" fmla="*/ 4547823 w 8079933"/>
              <a:gd name="connsiteY41667" fmla="*/ 2049779 h 4687251"/>
              <a:gd name="connsiteX41668" fmla="*/ 4547932 w 8079933"/>
              <a:gd name="connsiteY41668" fmla="*/ 2046964 h 4687251"/>
              <a:gd name="connsiteX41669" fmla="*/ 4545653 w 8079933"/>
              <a:gd name="connsiteY41669" fmla="*/ 2043174 h 4687251"/>
              <a:gd name="connsiteX41670" fmla="*/ 4544893 w 8079933"/>
              <a:gd name="connsiteY41670" fmla="*/ 2039601 h 4687251"/>
              <a:gd name="connsiteX41671" fmla="*/ 4550536 w 8079933"/>
              <a:gd name="connsiteY41671" fmla="*/ 2034297 h 4687251"/>
              <a:gd name="connsiteX41672" fmla="*/ 4544676 w 8079933"/>
              <a:gd name="connsiteY41672" fmla="*/ 2034188 h 4687251"/>
              <a:gd name="connsiteX41673" fmla="*/ 4540010 w 8079933"/>
              <a:gd name="connsiteY41673" fmla="*/ 2035271 h 4687251"/>
              <a:gd name="connsiteX41674" fmla="*/ 4538165 w 8079933"/>
              <a:gd name="connsiteY41674" fmla="*/ 2034513 h 4687251"/>
              <a:gd name="connsiteX41675" fmla="*/ 4531871 w 8079933"/>
              <a:gd name="connsiteY41675" fmla="*/ 2036678 h 4687251"/>
              <a:gd name="connsiteX41676" fmla="*/ 4530244 w 8079933"/>
              <a:gd name="connsiteY41676" fmla="*/ 2033755 h 4687251"/>
              <a:gd name="connsiteX41677" fmla="*/ 4531871 w 8079933"/>
              <a:gd name="connsiteY41677" fmla="*/ 2031806 h 4687251"/>
              <a:gd name="connsiteX41678" fmla="*/ 4532089 w 8079933"/>
              <a:gd name="connsiteY41678" fmla="*/ 2026934 h 4687251"/>
              <a:gd name="connsiteX41679" fmla="*/ 4530244 w 8079933"/>
              <a:gd name="connsiteY41679" fmla="*/ 2023902 h 4687251"/>
              <a:gd name="connsiteX41680" fmla="*/ 4532089 w 8079933"/>
              <a:gd name="connsiteY41680" fmla="*/ 2019679 h 4687251"/>
              <a:gd name="connsiteX41681" fmla="*/ 4533716 w 8079933"/>
              <a:gd name="connsiteY41681" fmla="*/ 2015349 h 4687251"/>
              <a:gd name="connsiteX41682" fmla="*/ 4544568 w 8079933"/>
              <a:gd name="connsiteY41682" fmla="*/ 2007120 h 4687251"/>
              <a:gd name="connsiteX41683" fmla="*/ 4550102 w 8079933"/>
              <a:gd name="connsiteY41683" fmla="*/ 2007120 h 4687251"/>
              <a:gd name="connsiteX41684" fmla="*/ 4555853 w 8079933"/>
              <a:gd name="connsiteY41684" fmla="*/ 2011559 h 4687251"/>
              <a:gd name="connsiteX41685" fmla="*/ 4559869 w 8079933"/>
              <a:gd name="connsiteY41685" fmla="*/ 2011776 h 4687251"/>
              <a:gd name="connsiteX41686" fmla="*/ 4564101 w 8079933"/>
              <a:gd name="connsiteY41686" fmla="*/ 2007120 h 4687251"/>
              <a:gd name="connsiteX41687" fmla="*/ 4567139 w 8079933"/>
              <a:gd name="connsiteY41687" fmla="*/ 2006904 h 4687251"/>
              <a:gd name="connsiteX41688" fmla="*/ 4569852 w 8079933"/>
              <a:gd name="connsiteY41688" fmla="*/ 2010910 h 4687251"/>
              <a:gd name="connsiteX41689" fmla="*/ 4575495 w 8079933"/>
              <a:gd name="connsiteY41689" fmla="*/ 2008311 h 4687251"/>
              <a:gd name="connsiteX41690" fmla="*/ 4580162 w 8079933"/>
              <a:gd name="connsiteY41690" fmla="*/ 2010910 h 4687251"/>
              <a:gd name="connsiteX41691" fmla="*/ 4591230 w 8079933"/>
              <a:gd name="connsiteY41691" fmla="*/ 2010693 h 4687251"/>
              <a:gd name="connsiteX41692" fmla="*/ 4594811 w 8079933"/>
              <a:gd name="connsiteY41692" fmla="*/ 2009394 h 4687251"/>
              <a:gd name="connsiteX41693" fmla="*/ 4592967 w 8079933"/>
              <a:gd name="connsiteY41693" fmla="*/ 2006687 h 4687251"/>
              <a:gd name="connsiteX41694" fmla="*/ 4588517 w 8079933"/>
              <a:gd name="connsiteY41694" fmla="*/ 2008203 h 4687251"/>
              <a:gd name="connsiteX41695" fmla="*/ 4586889 w 8079933"/>
              <a:gd name="connsiteY41695" fmla="*/ 2005821 h 4687251"/>
              <a:gd name="connsiteX41696" fmla="*/ 4589928 w 8079933"/>
              <a:gd name="connsiteY41696" fmla="*/ 2001815 h 4687251"/>
              <a:gd name="connsiteX41697" fmla="*/ 4598392 w 8079933"/>
              <a:gd name="connsiteY41697" fmla="*/ 1999325 h 4687251"/>
              <a:gd name="connsiteX41698" fmla="*/ 4608159 w 8079933"/>
              <a:gd name="connsiteY41698" fmla="*/ 1999108 h 4687251"/>
              <a:gd name="connsiteX41699" fmla="*/ 4609135 w 8079933"/>
              <a:gd name="connsiteY41699" fmla="*/ 1996618 h 4687251"/>
              <a:gd name="connsiteX41700" fmla="*/ 4603493 w 8079933"/>
              <a:gd name="connsiteY41700" fmla="*/ 1995752 h 4687251"/>
              <a:gd name="connsiteX41701" fmla="*/ 4596765 w 8079933"/>
              <a:gd name="connsiteY41701" fmla="*/ 1995535 h 4687251"/>
              <a:gd name="connsiteX41702" fmla="*/ 4592424 w 8079933"/>
              <a:gd name="connsiteY41702" fmla="*/ 1988281 h 4687251"/>
              <a:gd name="connsiteX41703" fmla="*/ 4593509 w 8079933"/>
              <a:gd name="connsiteY41703" fmla="*/ 1985033 h 4687251"/>
              <a:gd name="connsiteX41704" fmla="*/ 4599478 w 8079933"/>
              <a:gd name="connsiteY41704" fmla="*/ 1983409 h 4687251"/>
              <a:gd name="connsiteX41705" fmla="*/ 4603167 w 8079933"/>
              <a:gd name="connsiteY41705" fmla="*/ 1984708 h 4687251"/>
              <a:gd name="connsiteX41706" fmla="*/ 4610329 w 8079933"/>
              <a:gd name="connsiteY41706" fmla="*/ 1982868 h 4687251"/>
              <a:gd name="connsiteX41707" fmla="*/ 4615647 w 8079933"/>
              <a:gd name="connsiteY41707" fmla="*/ 1983951 h 4687251"/>
              <a:gd name="connsiteX41708" fmla="*/ 4618468 w 8079933"/>
              <a:gd name="connsiteY41708" fmla="*/ 1981785 h 4687251"/>
              <a:gd name="connsiteX41709" fmla="*/ 4622483 w 8079933"/>
              <a:gd name="connsiteY41709" fmla="*/ 1981785 h 4687251"/>
              <a:gd name="connsiteX41710" fmla="*/ 4635180 w 8079933"/>
              <a:gd name="connsiteY41710" fmla="*/ 1986441 h 4687251"/>
              <a:gd name="connsiteX41711" fmla="*/ 4643644 w 8079933"/>
              <a:gd name="connsiteY41711" fmla="*/ 1986008 h 4687251"/>
              <a:gd name="connsiteX41712" fmla="*/ 4643210 w 8079933"/>
              <a:gd name="connsiteY41712" fmla="*/ 1983409 h 4687251"/>
              <a:gd name="connsiteX41713" fmla="*/ 4645489 w 8079933"/>
              <a:gd name="connsiteY41713" fmla="*/ 1982002 h 4687251"/>
              <a:gd name="connsiteX41714" fmla="*/ 4647767 w 8079933"/>
              <a:gd name="connsiteY41714" fmla="*/ 1976263 h 4687251"/>
              <a:gd name="connsiteX41715" fmla="*/ 4649937 w 8079933"/>
              <a:gd name="connsiteY41715" fmla="*/ 1974964 h 4687251"/>
              <a:gd name="connsiteX41716" fmla="*/ 4653953 w 8079933"/>
              <a:gd name="connsiteY41716" fmla="*/ 1970849 h 4687251"/>
              <a:gd name="connsiteX41717" fmla="*/ 4658076 w 8079933"/>
              <a:gd name="connsiteY41717" fmla="*/ 1969767 h 4687251"/>
              <a:gd name="connsiteX41718" fmla="*/ 4660681 w 8079933"/>
              <a:gd name="connsiteY41718" fmla="*/ 1966302 h 4687251"/>
              <a:gd name="connsiteX41719" fmla="*/ 4669470 w 8079933"/>
              <a:gd name="connsiteY41719" fmla="*/ 1964678 h 4687251"/>
              <a:gd name="connsiteX41720" fmla="*/ 4674571 w 8079933"/>
              <a:gd name="connsiteY41720" fmla="*/ 1964137 h 4687251"/>
              <a:gd name="connsiteX41721" fmla="*/ 4685639 w 8079933"/>
              <a:gd name="connsiteY41721" fmla="*/ 1959265 h 4687251"/>
              <a:gd name="connsiteX41722" fmla="*/ 4691391 w 8079933"/>
              <a:gd name="connsiteY41722" fmla="*/ 1957965 h 4687251"/>
              <a:gd name="connsiteX41723" fmla="*/ 4703111 w 8079933"/>
              <a:gd name="connsiteY41723" fmla="*/ 1958507 h 4687251"/>
              <a:gd name="connsiteX41724" fmla="*/ 4707885 w 8079933"/>
              <a:gd name="connsiteY41724" fmla="*/ 1957316 h 4687251"/>
              <a:gd name="connsiteX41725" fmla="*/ 4711467 w 8079933"/>
              <a:gd name="connsiteY41725" fmla="*/ 1958507 h 4687251"/>
              <a:gd name="connsiteX41726" fmla="*/ 4719063 w 8079933"/>
              <a:gd name="connsiteY41726" fmla="*/ 1958507 h 4687251"/>
              <a:gd name="connsiteX41727" fmla="*/ 4724814 w 8079933"/>
              <a:gd name="connsiteY41727" fmla="*/ 1955692 h 4687251"/>
              <a:gd name="connsiteX41728" fmla="*/ 4726334 w 8079933"/>
              <a:gd name="connsiteY41728" fmla="*/ 1956233 h 4687251"/>
              <a:gd name="connsiteX41729" fmla="*/ 4726984 w 8079933"/>
              <a:gd name="connsiteY41729" fmla="*/ 1960888 h 4687251"/>
              <a:gd name="connsiteX41730" fmla="*/ 4735666 w 8079933"/>
              <a:gd name="connsiteY41730" fmla="*/ 1968792 h 4687251"/>
              <a:gd name="connsiteX41731" fmla="*/ 4737836 w 8079933"/>
              <a:gd name="connsiteY41731" fmla="*/ 1967385 h 4687251"/>
              <a:gd name="connsiteX41732" fmla="*/ 4739898 w 8079933"/>
              <a:gd name="connsiteY41732" fmla="*/ 1968251 h 4687251"/>
              <a:gd name="connsiteX41733" fmla="*/ 4745649 w 8079933"/>
              <a:gd name="connsiteY41733" fmla="*/ 1962513 h 4687251"/>
              <a:gd name="connsiteX41734" fmla="*/ 4748362 w 8079933"/>
              <a:gd name="connsiteY41734" fmla="*/ 1961972 h 4687251"/>
              <a:gd name="connsiteX41735" fmla="*/ 4752160 w 8079933"/>
              <a:gd name="connsiteY41735" fmla="*/ 1965220 h 4687251"/>
              <a:gd name="connsiteX41736" fmla="*/ 4753245 w 8079933"/>
              <a:gd name="connsiteY41736" fmla="*/ 1970958 h 4687251"/>
              <a:gd name="connsiteX41737" fmla="*/ 4757369 w 8079933"/>
              <a:gd name="connsiteY41737" fmla="*/ 1976588 h 4687251"/>
              <a:gd name="connsiteX41738" fmla="*/ 4761384 w 8079933"/>
              <a:gd name="connsiteY41738" fmla="*/ 1977454 h 4687251"/>
              <a:gd name="connsiteX41739" fmla="*/ 4763554 w 8079933"/>
              <a:gd name="connsiteY41739" fmla="*/ 1974423 h 4687251"/>
              <a:gd name="connsiteX41740" fmla="*/ 4766051 w 8079933"/>
              <a:gd name="connsiteY41740" fmla="*/ 1974423 h 4687251"/>
              <a:gd name="connsiteX41741" fmla="*/ 4774406 w 8079933"/>
              <a:gd name="connsiteY41741" fmla="*/ 1980053 h 4687251"/>
              <a:gd name="connsiteX41742" fmla="*/ 4779073 w 8079933"/>
              <a:gd name="connsiteY41742" fmla="*/ 1980702 h 4687251"/>
              <a:gd name="connsiteX41743" fmla="*/ 4788297 w 8079933"/>
              <a:gd name="connsiteY41743" fmla="*/ 1985249 h 4687251"/>
              <a:gd name="connsiteX41744" fmla="*/ 4791226 w 8079933"/>
              <a:gd name="connsiteY41744" fmla="*/ 1983300 h 4687251"/>
              <a:gd name="connsiteX41745" fmla="*/ 4796652 w 8079933"/>
              <a:gd name="connsiteY41745" fmla="*/ 1987090 h 4687251"/>
              <a:gd name="connsiteX41746" fmla="*/ 4804791 w 8079933"/>
              <a:gd name="connsiteY41746" fmla="*/ 1988714 h 4687251"/>
              <a:gd name="connsiteX41747" fmla="*/ 4814883 w 8079933"/>
              <a:gd name="connsiteY41747" fmla="*/ 1984492 h 4687251"/>
              <a:gd name="connsiteX41748" fmla="*/ 4823564 w 8079933"/>
              <a:gd name="connsiteY41748" fmla="*/ 1983951 h 4687251"/>
              <a:gd name="connsiteX41749" fmla="*/ 4828339 w 8079933"/>
              <a:gd name="connsiteY41749" fmla="*/ 1982543 h 4687251"/>
              <a:gd name="connsiteX41750" fmla="*/ 4829750 w 8079933"/>
              <a:gd name="connsiteY41750" fmla="*/ 1983409 h 4687251"/>
              <a:gd name="connsiteX41751" fmla="*/ 4833114 w 8079933"/>
              <a:gd name="connsiteY41751" fmla="*/ 1983409 h 4687251"/>
              <a:gd name="connsiteX41752" fmla="*/ 4836044 w 8079933"/>
              <a:gd name="connsiteY41752" fmla="*/ 1985249 h 4687251"/>
              <a:gd name="connsiteX41753" fmla="*/ 4845810 w 8079933"/>
              <a:gd name="connsiteY41753" fmla="*/ 1987415 h 4687251"/>
              <a:gd name="connsiteX41754" fmla="*/ 4848740 w 8079933"/>
              <a:gd name="connsiteY41754" fmla="*/ 1985033 h 4687251"/>
              <a:gd name="connsiteX41755" fmla="*/ 4856119 w 8079933"/>
              <a:gd name="connsiteY41755" fmla="*/ 1984492 h 4687251"/>
              <a:gd name="connsiteX41756" fmla="*/ 4857530 w 8079933"/>
              <a:gd name="connsiteY41756" fmla="*/ 1980919 h 4687251"/>
              <a:gd name="connsiteX41757" fmla="*/ 4865560 w 8079933"/>
              <a:gd name="connsiteY41757" fmla="*/ 1976913 h 4687251"/>
              <a:gd name="connsiteX41758" fmla="*/ 4871529 w 8079933"/>
              <a:gd name="connsiteY41758" fmla="*/ 1973340 h 4687251"/>
              <a:gd name="connsiteX41759" fmla="*/ 4874459 w 8079933"/>
              <a:gd name="connsiteY41759" fmla="*/ 1967169 h 4687251"/>
              <a:gd name="connsiteX41760" fmla="*/ 4875544 w 8079933"/>
              <a:gd name="connsiteY41760" fmla="*/ 1965653 h 4687251"/>
              <a:gd name="connsiteX41761" fmla="*/ 4878447 w 8079933"/>
              <a:gd name="connsiteY41761" fmla="*/ 1965975 h 4687251"/>
              <a:gd name="connsiteX41762" fmla="*/ 4878366 w 8079933"/>
              <a:gd name="connsiteY41762" fmla="*/ 1965652 h 4687251"/>
              <a:gd name="connsiteX41763" fmla="*/ 4875436 w 8079933"/>
              <a:gd name="connsiteY41763" fmla="*/ 1965652 h 4687251"/>
              <a:gd name="connsiteX41764" fmla="*/ 4876087 w 8079933"/>
              <a:gd name="connsiteY41764" fmla="*/ 1964677 h 4687251"/>
              <a:gd name="connsiteX41765" fmla="*/ 4876087 w 8079933"/>
              <a:gd name="connsiteY41765" fmla="*/ 1963920 h 4687251"/>
              <a:gd name="connsiteX41766" fmla="*/ 4906580 w 8079933"/>
              <a:gd name="connsiteY41766" fmla="*/ 1958506 h 4687251"/>
              <a:gd name="connsiteX41767" fmla="*/ 4905820 w 8079933"/>
              <a:gd name="connsiteY41767" fmla="*/ 1952118 h 4687251"/>
              <a:gd name="connsiteX41768" fmla="*/ 4931101 w 8079933"/>
              <a:gd name="connsiteY41768" fmla="*/ 1951202 h 4687251"/>
              <a:gd name="connsiteX41769" fmla="*/ 4929694 w 8079933"/>
              <a:gd name="connsiteY41769" fmla="*/ 1950387 h 4687251"/>
              <a:gd name="connsiteX41770" fmla="*/ 4902781 w 8079933"/>
              <a:gd name="connsiteY41770" fmla="*/ 1951361 h 4687251"/>
              <a:gd name="connsiteX41771" fmla="*/ 4903541 w 8079933"/>
              <a:gd name="connsiteY41771" fmla="*/ 1957749 h 4687251"/>
              <a:gd name="connsiteX41772" fmla="*/ 4873048 w 8079933"/>
              <a:gd name="connsiteY41772" fmla="*/ 1963163 h 4687251"/>
              <a:gd name="connsiteX41773" fmla="*/ 4872180 w 8079933"/>
              <a:gd name="connsiteY41773" fmla="*/ 1959698 h 4687251"/>
              <a:gd name="connsiteX41774" fmla="*/ 4873807 w 8079933"/>
              <a:gd name="connsiteY41774" fmla="*/ 1956991 h 4687251"/>
              <a:gd name="connsiteX41775" fmla="*/ 4869684 w 8079933"/>
              <a:gd name="connsiteY41775" fmla="*/ 1949412 h 4687251"/>
              <a:gd name="connsiteX41776" fmla="*/ 4868382 w 8079933"/>
              <a:gd name="connsiteY41776" fmla="*/ 1939451 h 4687251"/>
              <a:gd name="connsiteX41777" fmla="*/ 4865452 w 8079933"/>
              <a:gd name="connsiteY41777" fmla="*/ 1935879 h 4687251"/>
              <a:gd name="connsiteX41778" fmla="*/ 4860351 w 8079933"/>
              <a:gd name="connsiteY41778" fmla="*/ 1927975 h 4687251"/>
              <a:gd name="connsiteX41779" fmla="*/ 4854600 w 8079933"/>
              <a:gd name="connsiteY41779" fmla="*/ 1927217 h 4687251"/>
              <a:gd name="connsiteX41780" fmla="*/ 4854600 w 8079933"/>
              <a:gd name="connsiteY41780" fmla="*/ 1924185 h 4687251"/>
              <a:gd name="connsiteX41781" fmla="*/ 4848414 w 8079933"/>
              <a:gd name="connsiteY41781" fmla="*/ 1918988 h 4687251"/>
              <a:gd name="connsiteX41782" fmla="*/ 4845919 w 8079933"/>
              <a:gd name="connsiteY41782" fmla="*/ 1920612 h 4687251"/>
              <a:gd name="connsiteX41783" fmla="*/ 4843531 w 8079933"/>
              <a:gd name="connsiteY41783" fmla="*/ 1919314 h 4687251"/>
              <a:gd name="connsiteX41784" fmla="*/ 4838865 w 8079933"/>
              <a:gd name="connsiteY41784" fmla="*/ 1918555 h 4687251"/>
              <a:gd name="connsiteX41785" fmla="*/ 4835067 w 8079933"/>
              <a:gd name="connsiteY41785" fmla="*/ 1912926 h 4687251"/>
              <a:gd name="connsiteX41786" fmla="*/ 4832571 w 8079933"/>
              <a:gd name="connsiteY41786" fmla="*/ 1912926 h 4687251"/>
              <a:gd name="connsiteX41787" fmla="*/ 4828014 w 8079933"/>
              <a:gd name="connsiteY41787" fmla="*/ 1911084 h 4687251"/>
              <a:gd name="connsiteX41788" fmla="*/ 4826603 w 8079933"/>
              <a:gd name="connsiteY41788" fmla="*/ 1907837 h 4687251"/>
              <a:gd name="connsiteX41789" fmla="*/ 4822805 w 8079933"/>
              <a:gd name="connsiteY41789" fmla="*/ 1907837 h 4687251"/>
              <a:gd name="connsiteX41790" fmla="*/ 4819006 w 8079933"/>
              <a:gd name="connsiteY41790" fmla="*/ 1904588 h 4687251"/>
              <a:gd name="connsiteX41791" fmla="*/ 4817596 w 8079933"/>
              <a:gd name="connsiteY41791" fmla="*/ 1901665 h 4687251"/>
              <a:gd name="connsiteX41792" fmla="*/ 4813255 w 8079933"/>
              <a:gd name="connsiteY41792" fmla="*/ 1900257 h 4687251"/>
              <a:gd name="connsiteX41793" fmla="*/ 4810108 w 8079933"/>
              <a:gd name="connsiteY41793" fmla="*/ 1894519 h 4687251"/>
              <a:gd name="connsiteX41794" fmla="*/ 4794699 w 8079933"/>
              <a:gd name="connsiteY41794" fmla="*/ 1883692 h 4687251"/>
              <a:gd name="connsiteX41795" fmla="*/ 4788405 w 8079933"/>
              <a:gd name="connsiteY41795" fmla="*/ 1882068 h 4687251"/>
              <a:gd name="connsiteX41796" fmla="*/ 4779181 w 8079933"/>
              <a:gd name="connsiteY41796" fmla="*/ 1876438 h 4687251"/>
              <a:gd name="connsiteX41797" fmla="*/ 4770283 w 8079933"/>
              <a:gd name="connsiteY41797" fmla="*/ 1877196 h 4687251"/>
              <a:gd name="connsiteX41798" fmla="*/ 4765074 w 8079933"/>
              <a:gd name="connsiteY41798" fmla="*/ 1871782 h 4687251"/>
              <a:gd name="connsiteX41799" fmla="*/ 4765074 w 8079933"/>
              <a:gd name="connsiteY41799" fmla="*/ 1868209 h 4687251"/>
              <a:gd name="connsiteX41800" fmla="*/ 4758563 w 8079933"/>
              <a:gd name="connsiteY41800" fmla="*/ 1862796 h 4687251"/>
              <a:gd name="connsiteX41801" fmla="*/ 4755850 w 8079933"/>
              <a:gd name="connsiteY41801" fmla="*/ 1862796 h 4687251"/>
              <a:gd name="connsiteX41802" fmla="*/ 4750207 w 8079933"/>
              <a:gd name="connsiteY41802" fmla="*/ 1862038 h 4687251"/>
              <a:gd name="connsiteX41803" fmla="*/ 4753462 w 8079933"/>
              <a:gd name="connsiteY41803" fmla="*/ 1859331 h 4687251"/>
              <a:gd name="connsiteX41804" fmla="*/ 4757044 w 8079933"/>
              <a:gd name="connsiteY41804" fmla="*/ 1857707 h 4687251"/>
              <a:gd name="connsiteX41805" fmla="*/ 4755199 w 8079933"/>
              <a:gd name="connsiteY41805" fmla="*/ 1854242 h 4687251"/>
              <a:gd name="connsiteX41806" fmla="*/ 4755199 w 8079933"/>
              <a:gd name="connsiteY41806" fmla="*/ 1852078 h 4687251"/>
              <a:gd name="connsiteX41807" fmla="*/ 4760408 w 8079933"/>
              <a:gd name="connsiteY41807" fmla="*/ 1853376 h 4687251"/>
              <a:gd name="connsiteX41808" fmla="*/ 4764206 w 8079933"/>
              <a:gd name="connsiteY41808" fmla="*/ 1856300 h 4687251"/>
              <a:gd name="connsiteX41809" fmla="*/ 4765291 w 8079933"/>
              <a:gd name="connsiteY41809" fmla="*/ 1855542 h 4687251"/>
              <a:gd name="connsiteX41810" fmla="*/ 4769957 w 8079933"/>
              <a:gd name="connsiteY41810" fmla="*/ 1856300 h 4687251"/>
              <a:gd name="connsiteX41811" fmla="*/ 4771042 w 8079933"/>
              <a:gd name="connsiteY41811" fmla="*/ 1849478 h 4687251"/>
              <a:gd name="connsiteX41812" fmla="*/ 4768655 w 8079933"/>
              <a:gd name="connsiteY41812" fmla="*/ 1847854 h 4687251"/>
              <a:gd name="connsiteX41813" fmla="*/ 4768655 w 8079933"/>
              <a:gd name="connsiteY41813" fmla="*/ 1843524 h 4687251"/>
              <a:gd name="connsiteX41814" fmla="*/ 4773755 w 8079933"/>
              <a:gd name="connsiteY41814" fmla="*/ 1838435 h 4687251"/>
              <a:gd name="connsiteX41815" fmla="*/ 4773755 w 8079933"/>
              <a:gd name="connsiteY41815" fmla="*/ 1836595 h 4687251"/>
              <a:gd name="connsiteX41816" fmla="*/ 4775709 w 8079933"/>
              <a:gd name="connsiteY41816" fmla="*/ 1834754 h 4687251"/>
              <a:gd name="connsiteX41817" fmla="*/ 4778964 w 8079933"/>
              <a:gd name="connsiteY41817" fmla="*/ 1834754 h 4687251"/>
              <a:gd name="connsiteX41818" fmla="*/ 4780917 w 8079933"/>
              <a:gd name="connsiteY41818" fmla="*/ 1831830 h 4687251"/>
              <a:gd name="connsiteX41819" fmla="*/ 4783956 w 8079933"/>
              <a:gd name="connsiteY41819" fmla="*/ 1831073 h 4687251"/>
              <a:gd name="connsiteX41820" fmla="*/ 4783956 w 8079933"/>
              <a:gd name="connsiteY41820" fmla="*/ 1829124 h 4687251"/>
              <a:gd name="connsiteX41821" fmla="*/ 4779072 w 8079933"/>
              <a:gd name="connsiteY41821" fmla="*/ 1827717 h 4687251"/>
              <a:gd name="connsiteX41822" fmla="*/ 4777770 w 8079933"/>
              <a:gd name="connsiteY41822" fmla="*/ 1825226 h 4687251"/>
              <a:gd name="connsiteX41823" fmla="*/ 4775274 w 8079933"/>
              <a:gd name="connsiteY41823" fmla="*/ 1827391 h 4687251"/>
              <a:gd name="connsiteX41824" fmla="*/ 4771802 w 8079933"/>
              <a:gd name="connsiteY41824" fmla="*/ 1823927 h 4687251"/>
              <a:gd name="connsiteX41825" fmla="*/ 4768546 w 8079933"/>
              <a:gd name="connsiteY41825" fmla="*/ 1816889 h 4687251"/>
              <a:gd name="connsiteX41826" fmla="*/ 4776685 w 8079933"/>
              <a:gd name="connsiteY41826" fmla="*/ 1815807 h 4687251"/>
              <a:gd name="connsiteX41827" fmla="*/ 4782545 w 8079933"/>
              <a:gd name="connsiteY41827" fmla="*/ 1816889 h 4687251"/>
              <a:gd name="connsiteX41828" fmla="*/ 4785583 w 8079933"/>
              <a:gd name="connsiteY41828" fmla="*/ 1813425 h 4687251"/>
              <a:gd name="connsiteX41829" fmla="*/ 4782545 w 8079933"/>
              <a:gd name="connsiteY41829" fmla="*/ 1813425 h 4687251"/>
              <a:gd name="connsiteX41830" fmla="*/ 4780158 w 8079933"/>
              <a:gd name="connsiteY41830" fmla="*/ 1811151 h 4687251"/>
              <a:gd name="connsiteX41831" fmla="*/ 4785366 w 8079933"/>
              <a:gd name="connsiteY41831" fmla="*/ 1807578 h 4687251"/>
              <a:gd name="connsiteX41832" fmla="*/ 4797846 w 8079933"/>
              <a:gd name="connsiteY41832" fmla="*/ 1800865 h 4687251"/>
              <a:gd name="connsiteX41833" fmla="*/ 4799148 w 8079933"/>
              <a:gd name="connsiteY41833" fmla="*/ 1797292 h 4687251"/>
              <a:gd name="connsiteX41834" fmla="*/ 4797737 w 8079933"/>
              <a:gd name="connsiteY41834" fmla="*/ 1794802 h 4687251"/>
              <a:gd name="connsiteX41835" fmla="*/ 4791443 w 8079933"/>
              <a:gd name="connsiteY41835" fmla="*/ 1795668 h 4687251"/>
              <a:gd name="connsiteX41836" fmla="*/ 4786234 w 8079933"/>
              <a:gd name="connsiteY41836" fmla="*/ 1799241 h 4687251"/>
              <a:gd name="connsiteX41837" fmla="*/ 4782892 w 8079933"/>
              <a:gd name="connsiteY41837" fmla="*/ 1798648 h 4687251"/>
              <a:gd name="connsiteX41838" fmla="*/ 4782871 w 8079933"/>
              <a:gd name="connsiteY41838" fmla="*/ 1798808 h 4687251"/>
              <a:gd name="connsiteX41839" fmla="*/ 4782871 w 8079933"/>
              <a:gd name="connsiteY41839" fmla="*/ 1799241 h 4687251"/>
              <a:gd name="connsiteX41840" fmla="*/ 4778313 w 8079933"/>
              <a:gd name="connsiteY41840" fmla="*/ 1800865 h 4687251"/>
              <a:gd name="connsiteX41841" fmla="*/ 4777879 w 8079933"/>
              <a:gd name="connsiteY41841" fmla="*/ 1798266 h 4687251"/>
              <a:gd name="connsiteX41842" fmla="*/ 4775274 w 8079933"/>
              <a:gd name="connsiteY41842" fmla="*/ 1797942 h 4687251"/>
              <a:gd name="connsiteX41843" fmla="*/ 4769306 w 8079933"/>
              <a:gd name="connsiteY41843" fmla="*/ 1800432 h 4687251"/>
              <a:gd name="connsiteX41844" fmla="*/ 4763338 w 8079933"/>
              <a:gd name="connsiteY41844" fmla="*/ 1799891 h 4687251"/>
              <a:gd name="connsiteX41845" fmla="*/ 4760299 w 8079933"/>
              <a:gd name="connsiteY41845" fmla="*/ 1802272 h 4687251"/>
              <a:gd name="connsiteX41846" fmla="*/ 4758346 w 8079933"/>
              <a:gd name="connsiteY41846" fmla="*/ 1806387 h 4687251"/>
              <a:gd name="connsiteX41847" fmla="*/ 4753029 w 8079933"/>
              <a:gd name="connsiteY41847" fmla="*/ 1806820 h 4687251"/>
              <a:gd name="connsiteX41848" fmla="*/ 4750533 w 8079933"/>
              <a:gd name="connsiteY41848" fmla="*/ 1810393 h 4687251"/>
              <a:gd name="connsiteX41849" fmla="*/ 4745433 w 8079933"/>
              <a:gd name="connsiteY41849" fmla="*/ 1815807 h 4687251"/>
              <a:gd name="connsiteX41850" fmla="*/ 4743697 w 8079933"/>
              <a:gd name="connsiteY41850" fmla="*/ 1815265 h 4687251"/>
              <a:gd name="connsiteX41851" fmla="*/ 4738813 w 8079933"/>
              <a:gd name="connsiteY41851" fmla="*/ 1815807 h 4687251"/>
              <a:gd name="connsiteX41852" fmla="*/ 4734798 w 8079933"/>
              <a:gd name="connsiteY41852" fmla="*/ 1818838 h 4687251"/>
              <a:gd name="connsiteX41853" fmla="*/ 4728504 w 8079933"/>
              <a:gd name="connsiteY41853" fmla="*/ 1817430 h 4687251"/>
              <a:gd name="connsiteX41854" fmla="*/ 4723621 w 8079933"/>
              <a:gd name="connsiteY41854" fmla="*/ 1820462 h 4687251"/>
              <a:gd name="connsiteX41855" fmla="*/ 4720474 w 8079933"/>
              <a:gd name="connsiteY41855" fmla="*/ 1819920 h 4687251"/>
              <a:gd name="connsiteX41856" fmla="*/ 4717435 w 8079933"/>
              <a:gd name="connsiteY41856" fmla="*/ 1814724 h 4687251"/>
              <a:gd name="connsiteX41857" fmla="*/ 4715265 w 8079933"/>
              <a:gd name="connsiteY41857" fmla="*/ 1814940 h 4687251"/>
              <a:gd name="connsiteX41858" fmla="*/ 4716676 w 8079933"/>
              <a:gd name="connsiteY41858" fmla="*/ 1817755 h 4687251"/>
              <a:gd name="connsiteX41859" fmla="*/ 4719389 w 8079933"/>
              <a:gd name="connsiteY41859" fmla="*/ 1821220 h 4687251"/>
              <a:gd name="connsiteX41860" fmla="*/ 4718303 w 8079933"/>
              <a:gd name="connsiteY41860" fmla="*/ 1824252 h 4687251"/>
              <a:gd name="connsiteX41861" fmla="*/ 4713203 w 8079933"/>
              <a:gd name="connsiteY41861" fmla="*/ 1831505 h 4687251"/>
              <a:gd name="connsiteX41862" fmla="*/ 4710382 w 8079933"/>
              <a:gd name="connsiteY41862" fmla="*/ 1833130 h 4687251"/>
              <a:gd name="connsiteX41863" fmla="*/ 4709296 w 8079933"/>
              <a:gd name="connsiteY41863" fmla="*/ 1830964 h 4687251"/>
              <a:gd name="connsiteX41864" fmla="*/ 4711141 w 8079933"/>
              <a:gd name="connsiteY41864" fmla="*/ 1829881 h 4687251"/>
              <a:gd name="connsiteX41865" fmla="*/ 4715808 w 8079933"/>
              <a:gd name="connsiteY41865" fmla="*/ 1824252 h 4687251"/>
              <a:gd name="connsiteX41866" fmla="*/ 4715048 w 8079933"/>
              <a:gd name="connsiteY41866" fmla="*/ 1822303 h 4687251"/>
              <a:gd name="connsiteX41867" fmla="*/ 4712552 w 8079933"/>
              <a:gd name="connsiteY41867" fmla="*/ 1820678 h 4687251"/>
              <a:gd name="connsiteX41868" fmla="*/ 4711684 w 8079933"/>
              <a:gd name="connsiteY41868" fmla="*/ 1823385 h 4687251"/>
              <a:gd name="connsiteX41869" fmla="*/ 4704413 w 8079933"/>
              <a:gd name="connsiteY41869" fmla="*/ 1830964 h 4687251"/>
              <a:gd name="connsiteX41870" fmla="*/ 4700073 w 8079933"/>
              <a:gd name="connsiteY41870" fmla="*/ 1831722 h 4687251"/>
              <a:gd name="connsiteX41871" fmla="*/ 4699313 w 8079933"/>
              <a:gd name="connsiteY41871" fmla="*/ 1834537 h 4687251"/>
              <a:gd name="connsiteX41872" fmla="*/ 4694321 w 8079933"/>
              <a:gd name="connsiteY41872" fmla="*/ 1834537 h 4687251"/>
              <a:gd name="connsiteX41873" fmla="*/ 4690849 w 8079933"/>
              <a:gd name="connsiteY41873" fmla="*/ 1832047 h 4687251"/>
              <a:gd name="connsiteX41874" fmla="*/ 4687919 w 8079933"/>
              <a:gd name="connsiteY41874" fmla="*/ 1834754 h 4687251"/>
              <a:gd name="connsiteX41875" fmla="*/ 4682710 w 8079933"/>
              <a:gd name="connsiteY41875" fmla="*/ 1833887 h 4687251"/>
              <a:gd name="connsiteX41876" fmla="*/ 4681950 w 8079933"/>
              <a:gd name="connsiteY41876" fmla="*/ 1835836 h 4687251"/>
              <a:gd name="connsiteX41877" fmla="*/ 4685098 w 8079933"/>
              <a:gd name="connsiteY41877" fmla="*/ 1837785 h 4687251"/>
              <a:gd name="connsiteX41878" fmla="*/ 4692694 w 8079933"/>
              <a:gd name="connsiteY41878" fmla="*/ 1837244 h 4687251"/>
              <a:gd name="connsiteX41879" fmla="*/ 4695515 w 8079933"/>
              <a:gd name="connsiteY41879" fmla="*/ 1840709 h 4687251"/>
              <a:gd name="connsiteX41880" fmla="*/ 4698445 w 8079933"/>
              <a:gd name="connsiteY41880" fmla="*/ 1842874 h 4687251"/>
              <a:gd name="connsiteX41881" fmla="*/ 4701158 w 8079933"/>
              <a:gd name="connsiteY41881" fmla="*/ 1841466 h 4687251"/>
              <a:gd name="connsiteX41882" fmla="*/ 4702785 w 8079933"/>
              <a:gd name="connsiteY41882" fmla="*/ 1843740 h 4687251"/>
              <a:gd name="connsiteX41883" fmla="*/ 4700398 w 8079933"/>
              <a:gd name="connsiteY41883" fmla="*/ 1846664 h 4687251"/>
              <a:gd name="connsiteX41884" fmla="*/ 4700615 w 8079933"/>
              <a:gd name="connsiteY41884" fmla="*/ 1848829 h 4687251"/>
              <a:gd name="connsiteX41885" fmla="*/ 4702785 w 8079933"/>
              <a:gd name="connsiteY41885" fmla="*/ 1847421 h 4687251"/>
              <a:gd name="connsiteX41886" fmla="*/ 4704956 w 8079933"/>
              <a:gd name="connsiteY41886" fmla="*/ 1847421 h 4687251"/>
              <a:gd name="connsiteX41887" fmla="*/ 4704196 w 8079933"/>
              <a:gd name="connsiteY41887" fmla="*/ 1851211 h 4687251"/>
              <a:gd name="connsiteX41888" fmla="*/ 4707126 w 8079933"/>
              <a:gd name="connsiteY41888" fmla="*/ 1848504 h 4687251"/>
              <a:gd name="connsiteX41889" fmla="*/ 4709622 w 8079933"/>
              <a:gd name="connsiteY41889" fmla="*/ 1850128 h 4687251"/>
              <a:gd name="connsiteX41890" fmla="*/ 4710708 w 8079933"/>
              <a:gd name="connsiteY41890" fmla="*/ 1855542 h 4687251"/>
              <a:gd name="connsiteX41891" fmla="*/ 4713421 w 8079933"/>
              <a:gd name="connsiteY41891" fmla="*/ 1858356 h 4687251"/>
              <a:gd name="connsiteX41892" fmla="*/ 4718846 w 8079933"/>
              <a:gd name="connsiteY41892" fmla="*/ 1859980 h 4687251"/>
              <a:gd name="connsiteX41893" fmla="*/ 4721234 w 8079933"/>
              <a:gd name="connsiteY41893" fmla="*/ 1858789 h 4687251"/>
              <a:gd name="connsiteX41894" fmla="*/ 4713203 w 8079933"/>
              <a:gd name="connsiteY41894" fmla="*/ 1851211 h 4687251"/>
              <a:gd name="connsiteX41895" fmla="*/ 4704956 w 8079933"/>
              <a:gd name="connsiteY41895" fmla="*/ 1841033 h 4687251"/>
              <a:gd name="connsiteX41896" fmla="*/ 4702569 w 8079933"/>
              <a:gd name="connsiteY41896" fmla="*/ 1834970 h 4687251"/>
              <a:gd name="connsiteX41897" fmla="*/ 4704630 w 8079933"/>
              <a:gd name="connsiteY41897" fmla="*/ 1833671 h 4687251"/>
              <a:gd name="connsiteX41898" fmla="*/ 4708211 w 8079933"/>
              <a:gd name="connsiteY41898" fmla="*/ 1838760 h 4687251"/>
              <a:gd name="connsiteX41899" fmla="*/ 4710056 w 8079933"/>
              <a:gd name="connsiteY41899" fmla="*/ 1845039 h 4687251"/>
              <a:gd name="connsiteX41900" fmla="*/ 4721559 w 8079933"/>
              <a:gd name="connsiteY41900" fmla="*/ 1857707 h 4687251"/>
              <a:gd name="connsiteX41901" fmla="*/ 4724272 w 8079933"/>
              <a:gd name="connsiteY41901" fmla="*/ 1858789 h 4687251"/>
              <a:gd name="connsiteX41902" fmla="*/ 4728287 w 8079933"/>
              <a:gd name="connsiteY41902" fmla="*/ 1854567 h 4687251"/>
              <a:gd name="connsiteX41903" fmla="*/ 4731000 w 8079933"/>
              <a:gd name="connsiteY41903" fmla="*/ 1854458 h 4687251"/>
              <a:gd name="connsiteX41904" fmla="*/ 4735449 w 8079933"/>
              <a:gd name="connsiteY41904" fmla="*/ 1857274 h 4687251"/>
              <a:gd name="connsiteX41905" fmla="*/ 4737294 w 8079933"/>
              <a:gd name="connsiteY41905" fmla="*/ 1852401 h 4687251"/>
              <a:gd name="connsiteX41906" fmla="*/ 4744890 w 8079933"/>
              <a:gd name="connsiteY41906" fmla="*/ 1851535 h 4687251"/>
              <a:gd name="connsiteX41907" fmla="*/ 4751184 w 8079933"/>
              <a:gd name="connsiteY41907" fmla="*/ 1851860 h 4687251"/>
              <a:gd name="connsiteX41908" fmla="*/ 4749448 w 8079933"/>
              <a:gd name="connsiteY41908" fmla="*/ 1855000 h 4687251"/>
              <a:gd name="connsiteX41909" fmla="*/ 4747060 w 8079933"/>
              <a:gd name="connsiteY41909" fmla="*/ 1856949 h 4687251"/>
              <a:gd name="connsiteX41910" fmla="*/ 4749231 w 8079933"/>
              <a:gd name="connsiteY41910" fmla="*/ 1861280 h 4687251"/>
              <a:gd name="connsiteX41911" fmla="*/ 4746410 w 8079933"/>
              <a:gd name="connsiteY41911" fmla="*/ 1864744 h 4687251"/>
              <a:gd name="connsiteX41912" fmla="*/ 4738162 w 8079933"/>
              <a:gd name="connsiteY41912" fmla="*/ 1865394 h 4687251"/>
              <a:gd name="connsiteX41913" fmla="*/ 4728829 w 8079933"/>
              <a:gd name="connsiteY41913" fmla="*/ 1863770 h 4687251"/>
              <a:gd name="connsiteX41914" fmla="*/ 4723187 w 8079933"/>
              <a:gd name="connsiteY41914" fmla="*/ 1866910 h 4687251"/>
              <a:gd name="connsiteX41915" fmla="*/ 4719063 w 8079933"/>
              <a:gd name="connsiteY41915" fmla="*/ 1872649 h 4687251"/>
              <a:gd name="connsiteX41916" fmla="*/ 4711467 w 8079933"/>
              <a:gd name="connsiteY41916" fmla="*/ 1872432 h 4687251"/>
              <a:gd name="connsiteX41917" fmla="*/ 4700398 w 8079933"/>
              <a:gd name="connsiteY41917" fmla="*/ 1880768 h 4687251"/>
              <a:gd name="connsiteX41918" fmla="*/ 4692151 w 8079933"/>
              <a:gd name="connsiteY41918" fmla="*/ 1884558 h 4687251"/>
              <a:gd name="connsiteX41919" fmla="*/ 4683470 w 8079933"/>
              <a:gd name="connsiteY41919" fmla="*/ 1884233 h 4687251"/>
              <a:gd name="connsiteX41920" fmla="*/ 4679237 w 8079933"/>
              <a:gd name="connsiteY41920" fmla="*/ 1880985 h 4687251"/>
              <a:gd name="connsiteX41921" fmla="*/ 4680540 w 8079933"/>
              <a:gd name="connsiteY41921" fmla="*/ 1879145 h 4687251"/>
              <a:gd name="connsiteX41922" fmla="*/ 4683470 w 8079933"/>
              <a:gd name="connsiteY41922" fmla="*/ 1870483 h 4687251"/>
              <a:gd name="connsiteX41923" fmla="*/ 4683035 w 8079933"/>
              <a:gd name="connsiteY41923" fmla="*/ 1867018 h 4687251"/>
              <a:gd name="connsiteX41924" fmla="*/ 4675439 w 8079933"/>
              <a:gd name="connsiteY41924" fmla="*/ 1861064 h 4687251"/>
              <a:gd name="connsiteX41925" fmla="*/ 4672726 w 8079933"/>
              <a:gd name="connsiteY41925" fmla="*/ 1861496 h 4687251"/>
              <a:gd name="connsiteX41926" fmla="*/ 4667518 w 8079933"/>
              <a:gd name="connsiteY41926" fmla="*/ 1858898 h 4687251"/>
              <a:gd name="connsiteX41927" fmla="*/ 4664262 w 8079933"/>
              <a:gd name="connsiteY41927" fmla="*/ 1861605 h 4687251"/>
              <a:gd name="connsiteX41928" fmla="*/ 4660139 w 8079933"/>
              <a:gd name="connsiteY41928" fmla="*/ 1859872 h 4687251"/>
              <a:gd name="connsiteX41929" fmla="*/ 4664913 w 8079933"/>
              <a:gd name="connsiteY41929" fmla="*/ 1852401 h 4687251"/>
              <a:gd name="connsiteX41930" fmla="*/ 4673486 w 8079933"/>
              <a:gd name="connsiteY41930" fmla="*/ 1847421 h 4687251"/>
              <a:gd name="connsiteX41931" fmla="*/ 4680540 w 8079933"/>
              <a:gd name="connsiteY41931" fmla="*/ 1846122 h 4687251"/>
              <a:gd name="connsiteX41932" fmla="*/ 4682493 w 8079933"/>
              <a:gd name="connsiteY41932" fmla="*/ 1844823 h 4687251"/>
              <a:gd name="connsiteX41933" fmla="*/ 4679780 w 8079933"/>
              <a:gd name="connsiteY41933" fmla="*/ 1841575 h 4687251"/>
              <a:gd name="connsiteX41934" fmla="*/ 4678695 w 8079933"/>
              <a:gd name="connsiteY41934" fmla="*/ 1835620 h 4687251"/>
              <a:gd name="connsiteX41935" fmla="*/ 4676524 w 8079933"/>
              <a:gd name="connsiteY41935" fmla="*/ 1834645 h 4687251"/>
              <a:gd name="connsiteX41936" fmla="*/ 4674680 w 8079933"/>
              <a:gd name="connsiteY41936" fmla="*/ 1838001 h 4687251"/>
              <a:gd name="connsiteX41937" fmla="*/ 4670882 w 8079933"/>
              <a:gd name="connsiteY41937" fmla="*/ 1835836 h 4687251"/>
              <a:gd name="connsiteX41938" fmla="*/ 4665456 w 8079933"/>
              <a:gd name="connsiteY41938" fmla="*/ 1833562 h 4687251"/>
              <a:gd name="connsiteX41939" fmla="*/ 4659705 w 8079933"/>
              <a:gd name="connsiteY41939" fmla="*/ 1834537 h 4687251"/>
              <a:gd name="connsiteX41940" fmla="*/ 4654713 w 8079933"/>
              <a:gd name="connsiteY41940" fmla="*/ 1837136 h 4687251"/>
              <a:gd name="connsiteX41941" fmla="*/ 4650372 w 8079933"/>
              <a:gd name="connsiteY41941" fmla="*/ 1834645 h 4687251"/>
              <a:gd name="connsiteX41942" fmla="*/ 4647008 w 8079933"/>
              <a:gd name="connsiteY41942" fmla="*/ 1834321 h 4687251"/>
              <a:gd name="connsiteX41943" fmla="*/ 4643535 w 8079933"/>
              <a:gd name="connsiteY41943" fmla="*/ 1831289 h 4687251"/>
              <a:gd name="connsiteX41944" fmla="*/ 4646140 w 8079933"/>
              <a:gd name="connsiteY41944" fmla="*/ 1829665 h 4687251"/>
              <a:gd name="connsiteX41945" fmla="*/ 4647116 w 8079933"/>
              <a:gd name="connsiteY41945" fmla="*/ 1827824 h 4687251"/>
              <a:gd name="connsiteX41946" fmla="*/ 4640063 w 8079933"/>
              <a:gd name="connsiteY41946" fmla="*/ 1825550 h 4687251"/>
              <a:gd name="connsiteX41947" fmla="*/ 4631382 w 8079933"/>
              <a:gd name="connsiteY41947" fmla="*/ 1825550 h 4687251"/>
              <a:gd name="connsiteX41948" fmla="*/ 4629320 w 8079933"/>
              <a:gd name="connsiteY41948" fmla="*/ 1822519 h 4687251"/>
              <a:gd name="connsiteX41949" fmla="*/ 4634637 w 8079933"/>
              <a:gd name="connsiteY41949" fmla="*/ 1822519 h 4687251"/>
              <a:gd name="connsiteX41950" fmla="*/ 4642993 w 8079933"/>
              <a:gd name="connsiteY41950" fmla="*/ 1821436 h 4687251"/>
              <a:gd name="connsiteX41951" fmla="*/ 4647333 w 8079933"/>
              <a:gd name="connsiteY41951" fmla="*/ 1822844 h 4687251"/>
              <a:gd name="connsiteX41952" fmla="*/ 4650372 w 8079933"/>
              <a:gd name="connsiteY41952" fmla="*/ 1821220 h 4687251"/>
              <a:gd name="connsiteX41953" fmla="*/ 4655364 w 8079933"/>
              <a:gd name="connsiteY41953" fmla="*/ 1818188 h 4687251"/>
              <a:gd name="connsiteX41954" fmla="*/ 4648201 w 8079933"/>
              <a:gd name="connsiteY41954" fmla="*/ 1819920 h 4687251"/>
              <a:gd name="connsiteX41955" fmla="*/ 4644512 w 8079933"/>
              <a:gd name="connsiteY41955" fmla="*/ 1818730 h 4687251"/>
              <a:gd name="connsiteX41956" fmla="*/ 4641691 w 8079933"/>
              <a:gd name="connsiteY41956" fmla="*/ 1816564 h 4687251"/>
              <a:gd name="connsiteX41957" fmla="*/ 4640063 w 8079933"/>
              <a:gd name="connsiteY41957" fmla="*/ 1813857 h 4687251"/>
              <a:gd name="connsiteX41958" fmla="*/ 4638001 w 8079933"/>
              <a:gd name="connsiteY41958" fmla="*/ 1817105 h 4687251"/>
              <a:gd name="connsiteX41959" fmla="*/ 4636048 w 8079933"/>
              <a:gd name="connsiteY41959" fmla="*/ 1819812 h 4687251"/>
              <a:gd name="connsiteX41960" fmla="*/ 4631708 w 8079933"/>
              <a:gd name="connsiteY41960" fmla="*/ 1819812 h 4687251"/>
              <a:gd name="connsiteX41961" fmla="*/ 4631816 w 8079933"/>
              <a:gd name="connsiteY41961" fmla="*/ 1818513 h 4687251"/>
              <a:gd name="connsiteX41962" fmla="*/ 4629211 w 8079933"/>
              <a:gd name="connsiteY41962" fmla="*/ 1816022 h 4687251"/>
              <a:gd name="connsiteX41963" fmla="*/ 4624437 w 8079933"/>
              <a:gd name="connsiteY41963" fmla="*/ 1821977 h 4687251"/>
              <a:gd name="connsiteX41964" fmla="*/ 4618902 w 8079933"/>
              <a:gd name="connsiteY41964" fmla="*/ 1822303 h 4687251"/>
              <a:gd name="connsiteX41965" fmla="*/ 4615430 w 8079933"/>
              <a:gd name="connsiteY41965" fmla="*/ 1825009 h 4687251"/>
              <a:gd name="connsiteX41966" fmla="*/ 4615430 w 8079933"/>
              <a:gd name="connsiteY41966" fmla="*/ 1830964 h 4687251"/>
              <a:gd name="connsiteX41967" fmla="*/ 4610546 w 8079933"/>
              <a:gd name="connsiteY41967" fmla="*/ 1837244 h 4687251"/>
              <a:gd name="connsiteX41968" fmla="*/ 4608051 w 8079933"/>
              <a:gd name="connsiteY41968" fmla="*/ 1837244 h 4687251"/>
              <a:gd name="connsiteX41969" fmla="*/ 4609461 w 8079933"/>
              <a:gd name="connsiteY41969" fmla="*/ 1840383 h 4687251"/>
              <a:gd name="connsiteX41970" fmla="*/ 4600455 w 8079933"/>
              <a:gd name="connsiteY41970" fmla="*/ 1851211 h 4687251"/>
              <a:gd name="connsiteX41971" fmla="*/ 4597307 w 8079933"/>
              <a:gd name="connsiteY41971" fmla="*/ 1851211 h 4687251"/>
              <a:gd name="connsiteX41972" fmla="*/ 4595354 w 8079933"/>
              <a:gd name="connsiteY41972" fmla="*/ 1848071 h 4687251"/>
              <a:gd name="connsiteX41973" fmla="*/ 4595138 w 8079933"/>
              <a:gd name="connsiteY41973" fmla="*/ 1851535 h 4687251"/>
              <a:gd name="connsiteX41974" fmla="*/ 4594594 w 8079933"/>
              <a:gd name="connsiteY41974" fmla="*/ 1854458 h 4687251"/>
              <a:gd name="connsiteX41975" fmla="*/ 4596982 w 8079933"/>
              <a:gd name="connsiteY41975" fmla="*/ 1857274 h 4687251"/>
              <a:gd name="connsiteX41976" fmla="*/ 4596114 w 8079933"/>
              <a:gd name="connsiteY41976" fmla="*/ 1861496 h 4687251"/>
              <a:gd name="connsiteX41977" fmla="*/ 4596006 w 8079933"/>
              <a:gd name="connsiteY41977" fmla="*/ 1861496 h 4687251"/>
              <a:gd name="connsiteX41978" fmla="*/ 4596005 w 8079933"/>
              <a:gd name="connsiteY41978" fmla="*/ 1861495 h 4687251"/>
              <a:gd name="connsiteX41979" fmla="*/ 4593509 w 8079933"/>
              <a:gd name="connsiteY41979" fmla="*/ 1863985 h 4687251"/>
              <a:gd name="connsiteX41980" fmla="*/ 4596113 w 8079933"/>
              <a:gd name="connsiteY41980" fmla="*/ 1865934 h 4687251"/>
              <a:gd name="connsiteX41981" fmla="*/ 4596113 w 8079933"/>
              <a:gd name="connsiteY41981" fmla="*/ 1869616 h 4687251"/>
              <a:gd name="connsiteX41982" fmla="*/ 4592641 w 8079933"/>
              <a:gd name="connsiteY41982" fmla="*/ 1875679 h 4687251"/>
              <a:gd name="connsiteX41983" fmla="*/ 4587540 w 8079933"/>
              <a:gd name="connsiteY41983" fmla="*/ 1876761 h 4687251"/>
              <a:gd name="connsiteX41984" fmla="*/ 4579293 w 8079933"/>
              <a:gd name="connsiteY41984" fmla="*/ 1877303 h 4687251"/>
              <a:gd name="connsiteX41985" fmla="*/ 4577991 w 8079933"/>
              <a:gd name="connsiteY41985" fmla="*/ 1882391 h 4687251"/>
              <a:gd name="connsiteX41986" fmla="*/ 4574952 w 8079933"/>
              <a:gd name="connsiteY41986" fmla="*/ 1885640 h 4687251"/>
              <a:gd name="connsiteX41987" fmla="*/ 4576906 w 8079933"/>
              <a:gd name="connsiteY41987" fmla="*/ 1889104 h 4687251"/>
              <a:gd name="connsiteX41988" fmla="*/ 4576580 w 8079933"/>
              <a:gd name="connsiteY41988" fmla="*/ 1896142 h 4687251"/>
              <a:gd name="connsiteX41989" fmla="*/ 4573976 w 8079933"/>
              <a:gd name="connsiteY41989" fmla="*/ 1900473 h 4687251"/>
              <a:gd name="connsiteX41990" fmla="*/ 4575712 w 8079933"/>
              <a:gd name="connsiteY41990" fmla="*/ 1906211 h 4687251"/>
              <a:gd name="connsiteX41991" fmla="*/ 4575713 w 8079933"/>
              <a:gd name="connsiteY41991" fmla="*/ 1906211 h 4687251"/>
              <a:gd name="connsiteX41992" fmla="*/ 4576038 w 8079933"/>
              <a:gd name="connsiteY41992" fmla="*/ 1907294 h 4687251"/>
              <a:gd name="connsiteX41993" fmla="*/ 4575062 w 8079933"/>
              <a:gd name="connsiteY41993" fmla="*/ 1916280 h 4687251"/>
              <a:gd name="connsiteX41994" fmla="*/ 4572023 w 8079933"/>
              <a:gd name="connsiteY41994" fmla="*/ 1919204 h 4687251"/>
              <a:gd name="connsiteX41995" fmla="*/ 4567683 w 8079933"/>
              <a:gd name="connsiteY41995" fmla="*/ 1918662 h 4687251"/>
              <a:gd name="connsiteX41996" fmla="*/ 4561172 w 8079933"/>
              <a:gd name="connsiteY41996" fmla="*/ 1924400 h 4687251"/>
              <a:gd name="connsiteX41997" fmla="*/ 4562257 w 8079933"/>
              <a:gd name="connsiteY41997" fmla="*/ 1934903 h 4687251"/>
              <a:gd name="connsiteX41998" fmla="*/ 4560629 w 8079933"/>
              <a:gd name="connsiteY41998" fmla="*/ 1939559 h 4687251"/>
              <a:gd name="connsiteX41999" fmla="*/ 4553901 w 8079933"/>
              <a:gd name="connsiteY41999" fmla="*/ 1944647 h 4687251"/>
              <a:gd name="connsiteX42000" fmla="*/ 4554878 w 8079933"/>
              <a:gd name="connsiteY42000" fmla="*/ 1947137 h 4687251"/>
              <a:gd name="connsiteX42001" fmla="*/ 4558784 w 8079933"/>
              <a:gd name="connsiteY42001" fmla="*/ 1947679 h 4687251"/>
              <a:gd name="connsiteX42002" fmla="*/ 4563559 w 8079933"/>
              <a:gd name="connsiteY42002" fmla="*/ 1954608 h 4687251"/>
              <a:gd name="connsiteX42003" fmla="*/ 4567140 w 8079933"/>
              <a:gd name="connsiteY42003" fmla="*/ 1960347 h 4687251"/>
              <a:gd name="connsiteX42004" fmla="*/ 4567140 w 8079933"/>
              <a:gd name="connsiteY42004" fmla="*/ 1960671 h 4687251"/>
              <a:gd name="connsiteX42005" fmla="*/ 4567899 w 8079933"/>
              <a:gd name="connsiteY42005" fmla="*/ 1969224 h 4687251"/>
              <a:gd name="connsiteX42006" fmla="*/ 4575061 w 8079933"/>
              <a:gd name="connsiteY42006" fmla="*/ 1975504 h 4687251"/>
              <a:gd name="connsiteX42007" fmla="*/ 4580270 w 8079933"/>
              <a:gd name="connsiteY42007" fmla="*/ 1976262 h 4687251"/>
              <a:gd name="connsiteX42008" fmla="*/ 4585805 w 8079933"/>
              <a:gd name="connsiteY42008" fmla="*/ 1981783 h 4687251"/>
              <a:gd name="connsiteX42009" fmla="*/ 4590688 w 8079933"/>
              <a:gd name="connsiteY42009" fmla="*/ 1984490 h 4687251"/>
              <a:gd name="connsiteX42010" fmla="*/ 4590688 w 8079933"/>
              <a:gd name="connsiteY42010" fmla="*/ 1987522 h 4687251"/>
              <a:gd name="connsiteX42011" fmla="*/ 4586455 w 8079933"/>
              <a:gd name="connsiteY42011" fmla="*/ 1991744 h 4687251"/>
              <a:gd name="connsiteX42012" fmla="*/ 4580487 w 8079933"/>
              <a:gd name="connsiteY42012" fmla="*/ 1991203 h 4687251"/>
              <a:gd name="connsiteX42013" fmla="*/ 4577232 w 8079933"/>
              <a:gd name="connsiteY42013" fmla="*/ 1989363 h 4687251"/>
              <a:gd name="connsiteX42014" fmla="*/ 4571806 w 8079933"/>
              <a:gd name="connsiteY42014" fmla="*/ 1989363 h 4687251"/>
              <a:gd name="connsiteX42015" fmla="*/ 4569635 w 8079933"/>
              <a:gd name="connsiteY42015" fmla="*/ 1991420 h 4687251"/>
              <a:gd name="connsiteX42016" fmla="*/ 4561497 w 8079933"/>
              <a:gd name="connsiteY42016" fmla="*/ 1991203 h 4687251"/>
              <a:gd name="connsiteX42017" fmla="*/ 4556614 w 8079933"/>
              <a:gd name="connsiteY42017" fmla="*/ 1993152 h 4687251"/>
              <a:gd name="connsiteX42018" fmla="*/ 4554118 w 8079933"/>
              <a:gd name="connsiteY42018" fmla="*/ 1999648 h 4687251"/>
              <a:gd name="connsiteX42019" fmla="*/ 4541638 w 8079933"/>
              <a:gd name="connsiteY42019" fmla="*/ 2006036 h 4687251"/>
              <a:gd name="connsiteX42020" fmla="*/ 4531655 w 8079933"/>
              <a:gd name="connsiteY42020" fmla="*/ 2014481 h 4687251"/>
              <a:gd name="connsiteX42021" fmla="*/ 4531329 w 8079933"/>
              <a:gd name="connsiteY42021" fmla="*/ 2011233 h 4687251"/>
              <a:gd name="connsiteX42022" fmla="*/ 4533716 w 8079933"/>
              <a:gd name="connsiteY42022" fmla="*/ 2004195 h 4687251"/>
              <a:gd name="connsiteX42023" fmla="*/ 4536429 w 8079933"/>
              <a:gd name="connsiteY42023" fmla="*/ 2003979 h 4687251"/>
              <a:gd name="connsiteX42024" fmla="*/ 4541096 w 8079933"/>
              <a:gd name="connsiteY42024" fmla="*/ 2000948 h 4687251"/>
              <a:gd name="connsiteX42025" fmla="*/ 4536538 w 8079933"/>
              <a:gd name="connsiteY42025" fmla="*/ 2001489 h 4687251"/>
              <a:gd name="connsiteX42026" fmla="*/ 4533716 w 8079933"/>
              <a:gd name="connsiteY42026" fmla="*/ 2000622 h 4687251"/>
              <a:gd name="connsiteX42027" fmla="*/ 4531003 w 8079933"/>
              <a:gd name="connsiteY42027" fmla="*/ 2001272 h 4687251"/>
              <a:gd name="connsiteX42028" fmla="*/ 4527205 w 8079933"/>
              <a:gd name="connsiteY42028" fmla="*/ 1998999 h 4687251"/>
              <a:gd name="connsiteX42029" fmla="*/ 4525144 w 8079933"/>
              <a:gd name="connsiteY42029" fmla="*/ 1994776 h 4687251"/>
              <a:gd name="connsiteX42030" fmla="*/ 4524927 w 8079933"/>
              <a:gd name="connsiteY42030" fmla="*/ 1994776 h 4687251"/>
              <a:gd name="connsiteX42031" fmla="*/ 4530135 w 8079933"/>
              <a:gd name="connsiteY42031" fmla="*/ 1993477 h 4687251"/>
              <a:gd name="connsiteX42032" fmla="*/ 4532848 w 8079933"/>
              <a:gd name="connsiteY42032" fmla="*/ 1987955 h 4687251"/>
              <a:gd name="connsiteX42033" fmla="*/ 4531871 w 8079933"/>
              <a:gd name="connsiteY42033" fmla="*/ 1982758 h 4687251"/>
              <a:gd name="connsiteX42034" fmla="*/ 4538057 w 8079933"/>
              <a:gd name="connsiteY42034" fmla="*/ 1978969 h 4687251"/>
              <a:gd name="connsiteX42035" fmla="*/ 4538383 w 8079933"/>
              <a:gd name="connsiteY42035" fmla="*/ 1973122 h 4687251"/>
              <a:gd name="connsiteX42036" fmla="*/ 4538382 w 8079933"/>
              <a:gd name="connsiteY42036" fmla="*/ 1973122 h 4687251"/>
              <a:gd name="connsiteX42037" fmla="*/ 4538056 w 8079933"/>
              <a:gd name="connsiteY42037" fmla="*/ 1978968 h 4687251"/>
              <a:gd name="connsiteX42038" fmla="*/ 4531871 w 8079933"/>
              <a:gd name="connsiteY42038" fmla="*/ 1982758 h 4687251"/>
              <a:gd name="connsiteX42039" fmla="*/ 4532848 w 8079933"/>
              <a:gd name="connsiteY42039" fmla="*/ 1987954 h 4687251"/>
              <a:gd name="connsiteX42040" fmla="*/ 4530135 w 8079933"/>
              <a:gd name="connsiteY42040" fmla="*/ 1993476 h 4687251"/>
              <a:gd name="connsiteX42041" fmla="*/ 4524926 w 8079933"/>
              <a:gd name="connsiteY42041" fmla="*/ 1994776 h 4687251"/>
              <a:gd name="connsiteX42042" fmla="*/ 4517547 w 8079933"/>
              <a:gd name="connsiteY42042" fmla="*/ 1992827 h 4687251"/>
              <a:gd name="connsiteX42043" fmla="*/ 4507780 w 8079933"/>
              <a:gd name="connsiteY42043" fmla="*/ 1992827 h 4687251"/>
              <a:gd name="connsiteX42044" fmla="*/ 4504525 w 8079933"/>
              <a:gd name="connsiteY42044" fmla="*/ 1989038 h 4687251"/>
              <a:gd name="connsiteX42045" fmla="*/ 4502572 w 8079933"/>
              <a:gd name="connsiteY42045" fmla="*/ 1989038 h 4687251"/>
              <a:gd name="connsiteX42046" fmla="*/ 4502354 w 8079933"/>
              <a:gd name="connsiteY42046" fmla="*/ 1991419 h 4687251"/>
              <a:gd name="connsiteX42047" fmla="*/ 4498014 w 8079933"/>
              <a:gd name="connsiteY42047" fmla="*/ 1995858 h 4687251"/>
              <a:gd name="connsiteX42048" fmla="*/ 4494108 w 8079933"/>
              <a:gd name="connsiteY42048" fmla="*/ 1995534 h 4687251"/>
              <a:gd name="connsiteX42049" fmla="*/ 4488790 w 8079933"/>
              <a:gd name="connsiteY42049" fmla="*/ 1991528 h 4687251"/>
              <a:gd name="connsiteX42050" fmla="*/ 4485426 w 8079933"/>
              <a:gd name="connsiteY42050" fmla="*/ 1992827 h 4687251"/>
              <a:gd name="connsiteX42051" fmla="*/ 4483581 w 8079933"/>
              <a:gd name="connsiteY42051" fmla="*/ 1999107 h 4687251"/>
              <a:gd name="connsiteX42052" fmla="*/ 4479783 w 8079933"/>
              <a:gd name="connsiteY42052" fmla="*/ 2001272 h 4687251"/>
              <a:gd name="connsiteX42053" fmla="*/ 4475117 w 8079933"/>
              <a:gd name="connsiteY42053" fmla="*/ 1999864 h 4687251"/>
              <a:gd name="connsiteX42054" fmla="*/ 4472513 w 8079933"/>
              <a:gd name="connsiteY42054" fmla="*/ 2002788 h 4687251"/>
              <a:gd name="connsiteX42055" fmla="*/ 4476853 w 8079933"/>
              <a:gd name="connsiteY42055" fmla="*/ 2007768 h 4687251"/>
              <a:gd name="connsiteX42056" fmla="*/ 4482171 w 8079933"/>
              <a:gd name="connsiteY42056" fmla="*/ 2008526 h 4687251"/>
              <a:gd name="connsiteX42057" fmla="*/ 4487162 w 8079933"/>
              <a:gd name="connsiteY42057" fmla="*/ 2013182 h 4687251"/>
              <a:gd name="connsiteX42058" fmla="*/ 4485752 w 8079933"/>
              <a:gd name="connsiteY42058" fmla="*/ 2014806 h 4687251"/>
              <a:gd name="connsiteX42059" fmla="*/ 4482496 w 8079933"/>
              <a:gd name="connsiteY42059" fmla="*/ 2011558 h 4687251"/>
              <a:gd name="connsiteX42060" fmla="*/ 4473598 w 8079933"/>
              <a:gd name="connsiteY42060" fmla="*/ 2011233 h 4687251"/>
              <a:gd name="connsiteX42061" fmla="*/ 4473490 w 8079933"/>
              <a:gd name="connsiteY42061" fmla="*/ 2013940 h 4687251"/>
              <a:gd name="connsiteX42062" fmla="*/ 4476745 w 8079933"/>
              <a:gd name="connsiteY42062" fmla="*/ 2015239 h 4687251"/>
              <a:gd name="connsiteX42063" fmla="*/ 4480326 w 8079933"/>
              <a:gd name="connsiteY42063" fmla="*/ 2017946 h 4687251"/>
              <a:gd name="connsiteX42064" fmla="*/ 4478481 w 8079933"/>
              <a:gd name="connsiteY42064" fmla="*/ 2020978 h 4687251"/>
              <a:gd name="connsiteX42065" fmla="*/ 4475226 w 8079933"/>
              <a:gd name="connsiteY42065" fmla="*/ 2019678 h 4687251"/>
              <a:gd name="connsiteX42066" fmla="*/ 4471428 w 8079933"/>
              <a:gd name="connsiteY42066" fmla="*/ 2014481 h 4687251"/>
              <a:gd name="connsiteX42067" fmla="*/ 4466544 w 8079933"/>
              <a:gd name="connsiteY42067" fmla="*/ 2012857 h 4687251"/>
              <a:gd name="connsiteX42068" fmla="*/ 4465894 w 8079933"/>
              <a:gd name="connsiteY42068" fmla="*/ 2016105 h 4687251"/>
              <a:gd name="connsiteX42069" fmla="*/ 4467847 w 8079933"/>
              <a:gd name="connsiteY42069" fmla="*/ 2019678 h 4687251"/>
              <a:gd name="connsiteX42070" fmla="*/ 4471645 w 8079933"/>
              <a:gd name="connsiteY42070" fmla="*/ 2022276 h 4687251"/>
              <a:gd name="connsiteX42071" fmla="*/ 4466436 w 8079933"/>
              <a:gd name="connsiteY42071" fmla="*/ 2022385 h 4687251"/>
              <a:gd name="connsiteX42072" fmla="*/ 4461661 w 8079933"/>
              <a:gd name="connsiteY42072" fmla="*/ 2018595 h 4687251"/>
              <a:gd name="connsiteX42073" fmla="*/ 4461010 w 8079933"/>
              <a:gd name="connsiteY42073" fmla="*/ 2012857 h 4687251"/>
              <a:gd name="connsiteX42074" fmla="*/ 4453523 w 8079933"/>
              <a:gd name="connsiteY42074" fmla="*/ 2009392 h 4687251"/>
              <a:gd name="connsiteX42075" fmla="*/ 4452980 w 8079933"/>
              <a:gd name="connsiteY42075" fmla="*/ 2006902 h 4687251"/>
              <a:gd name="connsiteX42076" fmla="*/ 4455693 w 8079933"/>
              <a:gd name="connsiteY42076" fmla="*/ 2006902 h 4687251"/>
              <a:gd name="connsiteX42077" fmla="*/ 4455042 w 8079933"/>
              <a:gd name="connsiteY42077" fmla="*/ 2002246 h 4687251"/>
              <a:gd name="connsiteX42078" fmla="*/ 4449182 w 8079933"/>
              <a:gd name="connsiteY42078" fmla="*/ 2003437 h 4687251"/>
              <a:gd name="connsiteX42079" fmla="*/ 4446144 w 8079933"/>
              <a:gd name="connsiteY42079" fmla="*/ 2008309 h 4687251"/>
              <a:gd name="connsiteX42080" fmla="*/ 4447012 w 8079933"/>
              <a:gd name="connsiteY42080" fmla="*/ 2017729 h 4687251"/>
              <a:gd name="connsiteX42081" fmla="*/ 4445058 w 8079933"/>
              <a:gd name="connsiteY42081" fmla="*/ 2020219 h 4687251"/>
              <a:gd name="connsiteX42082" fmla="*/ 4450701 w 8079933"/>
              <a:gd name="connsiteY42082" fmla="*/ 2024984 h 4687251"/>
              <a:gd name="connsiteX42083" fmla="*/ 4451352 w 8079933"/>
              <a:gd name="connsiteY42083" fmla="*/ 2028231 h 4687251"/>
              <a:gd name="connsiteX42084" fmla="*/ 4454499 w 8079933"/>
              <a:gd name="connsiteY42084" fmla="*/ 2030505 h 4687251"/>
              <a:gd name="connsiteX42085" fmla="*/ 4461661 w 8079933"/>
              <a:gd name="connsiteY42085" fmla="*/ 2039383 h 4687251"/>
              <a:gd name="connsiteX42086" fmla="*/ 4464808 w 8079933"/>
              <a:gd name="connsiteY42086" fmla="*/ 2043173 h 4687251"/>
              <a:gd name="connsiteX42087" fmla="*/ 4463289 w 8079933"/>
              <a:gd name="connsiteY42087" fmla="*/ 2048694 h 4687251"/>
              <a:gd name="connsiteX42088" fmla="*/ 4460684 w 8079933"/>
              <a:gd name="connsiteY42088" fmla="*/ 2049344 h 4687251"/>
              <a:gd name="connsiteX42089" fmla="*/ 4460251 w 8079933"/>
              <a:gd name="connsiteY42089" fmla="*/ 2046854 h 4687251"/>
              <a:gd name="connsiteX42090" fmla="*/ 4461444 w 8079933"/>
              <a:gd name="connsiteY42090" fmla="*/ 2044255 h 4687251"/>
              <a:gd name="connsiteX42091" fmla="*/ 4458514 w 8079933"/>
              <a:gd name="connsiteY42091" fmla="*/ 2041874 h 4687251"/>
              <a:gd name="connsiteX42092" fmla="*/ 4454825 w 8079933"/>
              <a:gd name="connsiteY42092" fmla="*/ 2040466 h 4687251"/>
              <a:gd name="connsiteX42093" fmla="*/ 4455042 w 8079933"/>
              <a:gd name="connsiteY42093" fmla="*/ 2043173 h 4687251"/>
              <a:gd name="connsiteX42094" fmla="*/ 4452437 w 8079933"/>
              <a:gd name="connsiteY42094" fmla="*/ 2046421 h 4687251"/>
              <a:gd name="connsiteX42095" fmla="*/ 4457212 w 8079933"/>
              <a:gd name="connsiteY42095" fmla="*/ 2047720 h 4687251"/>
              <a:gd name="connsiteX42096" fmla="*/ 4457321 w 8079933"/>
              <a:gd name="connsiteY42096" fmla="*/ 2050210 h 4687251"/>
              <a:gd name="connsiteX42097" fmla="*/ 4454499 w 8079933"/>
              <a:gd name="connsiteY42097" fmla="*/ 2053675 h 4687251"/>
              <a:gd name="connsiteX42098" fmla="*/ 4449399 w 8079933"/>
              <a:gd name="connsiteY42098" fmla="*/ 2054325 h 4687251"/>
              <a:gd name="connsiteX42099" fmla="*/ 4454065 w 8079933"/>
              <a:gd name="connsiteY42099" fmla="*/ 2058547 h 4687251"/>
              <a:gd name="connsiteX42100" fmla="*/ 4458840 w 8079933"/>
              <a:gd name="connsiteY42100" fmla="*/ 2059088 h 4687251"/>
              <a:gd name="connsiteX42101" fmla="*/ 4460793 w 8079933"/>
              <a:gd name="connsiteY42101" fmla="*/ 2061579 h 4687251"/>
              <a:gd name="connsiteX42102" fmla="*/ 4463831 w 8079933"/>
              <a:gd name="connsiteY42102" fmla="*/ 2061362 h 4687251"/>
              <a:gd name="connsiteX42103" fmla="*/ 4465459 w 8079933"/>
              <a:gd name="connsiteY42103" fmla="*/ 2064069 h 4687251"/>
              <a:gd name="connsiteX42104" fmla="*/ 4468932 w 8079933"/>
              <a:gd name="connsiteY42104" fmla="*/ 2064935 h 4687251"/>
              <a:gd name="connsiteX42105" fmla="*/ 4480001 w 8079933"/>
              <a:gd name="connsiteY42105" fmla="*/ 2071865 h 4687251"/>
              <a:gd name="connsiteX42106" fmla="*/ 4481628 w 8079933"/>
              <a:gd name="connsiteY42106" fmla="*/ 2074896 h 4687251"/>
              <a:gd name="connsiteX42107" fmla="*/ 4480543 w 8079933"/>
              <a:gd name="connsiteY42107" fmla="*/ 2080310 h 4687251"/>
              <a:gd name="connsiteX42108" fmla="*/ 4484449 w 8079933"/>
              <a:gd name="connsiteY42108" fmla="*/ 2086156 h 4687251"/>
              <a:gd name="connsiteX42109" fmla="*/ 4483256 w 8079933"/>
              <a:gd name="connsiteY42109" fmla="*/ 2088863 h 4687251"/>
              <a:gd name="connsiteX42110" fmla="*/ 4478698 w 8079933"/>
              <a:gd name="connsiteY42110" fmla="*/ 2088322 h 4687251"/>
              <a:gd name="connsiteX42111" fmla="*/ 4477939 w 8079933"/>
              <a:gd name="connsiteY42111" fmla="*/ 2086265 h 4687251"/>
              <a:gd name="connsiteX42112" fmla="*/ 4471428 w 8079933"/>
              <a:gd name="connsiteY42112" fmla="*/ 2081826 h 4687251"/>
              <a:gd name="connsiteX42113" fmla="*/ 4468932 w 8079933"/>
              <a:gd name="connsiteY42113" fmla="*/ 2083991 h 4687251"/>
              <a:gd name="connsiteX42114" fmla="*/ 4464808 w 8079933"/>
              <a:gd name="connsiteY42114" fmla="*/ 2083774 h 4687251"/>
              <a:gd name="connsiteX42115" fmla="*/ 4460251 w 8079933"/>
              <a:gd name="connsiteY42115" fmla="*/ 2085723 h 4687251"/>
              <a:gd name="connsiteX42116" fmla="*/ 4464917 w 8079933"/>
              <a:gd name="connsiteY42116" fmla="*/ 2089404 h 4687251"/>
              <a:gd name="connsiteX42117" fmla="*/ 4464591 w 8079933"/>
              <a:gd name="connsiteY42117" fmla="*/ 2091678 h 4687251"/>
              <a:gd name="connsiteX42118" fmla="*/ 4468606 w 8079933"/>
              <a:gd name="connsiteY42118" fmla="*/ 2094277 h 4687251"/>
              <a:gd name="connsiteX42119" fmla="*/ 4470451 w 8079933"/>
              <a:gd name="connsiteY42119" fmla="*/ 2094710 h 4687251"/>
              <a:gd name="connsiteX42120" fmla="*/ 4470885 w 8079933"/>
              <a:gd name="connsiteY42120" fmla="*/ 2096767 h 4687251"/>
              <a:gd name="connsiteX42121" fmla="*/ 4473055 w 8079933"/>
              <a:gd name="connsiteY42121" fmla="*/ 2098391 h 4687251"/>
              <a:gd name="connsiteX42122" fmla="*/ 4472947 w 8079933"/>
              <a:gd name="connsiteY42122" fmla="*/ 2100232 h 4687251"/>
              <a:gd name="connsiteX42123" fmla="*/ 4467521 w 8079933"/>
              <a:gd name="connsiteY42123" fmla="*/ 2098391 h 4687251"/>
              <a:gd name="connsiteX42124" fmla="*/ 4464808 w 8079933"/>
              <a:gd name="connsiteY42124" fmla="*/ 2101314 h 4687251"/>
              <a:gd name="connsiteX42125" fmla="*/ 4463181 w 8079933"/>
              <a:gd name="connsiteY42125" fmla="*/ 2099473 h 4687251"/>
              <a:gd name="connsiteX42126" fmla="*/ 4464808 w 8079933"/>
              <a:gd name="connsiteY42126" fmla="*/ 2097524 h 4687251"/>
              <a:gd name="connsiteX42127" fmla="*/ 4459491 w 8079933"/>
              <a:gd name="connsiteY42127" fmla="*/ 2094818 h 4687251"/>
              <a:gd name="connsiteX42128" fmla="*/ 4456670 w 8079933"/>
              <a:gd name="connsiteY42128" fmla="*/ 2095142 h 4687251"/>
              <a:gd name="connsiteX42129" fmla="*/ 4456453 w 8079933"/>
              <a:gd name="connsiteY42129" fmla="*/ 2096983 h 4687251"/>
              <a:gd name="connsiteX42130" fmla="*/ 4459383 w 8079933"/>
              <a:gd name="connsiteY42130" fmla="*/ 2101422 h 4687251"/>
              <a:gd name="connsiteX42131" fmla="*/ 4462638 w 8079933"/>
              <a:gd name="connsiteY42131" fmla="*/ 2109218 h 4687251"/>
              <a:gd name="connsiteX42132" fmla="*/ 4465134 w 8079933"/>
              <a:gd name="connsiteY42132" fmla="*/ 2113873 h 4687251"/>
              <a:gd name="connsiteX42133" fmla="*/ 4464374 w 8079933"/>
              <a:gd name="connsiteY42133" fmla="*/ 2117122 h 4687251"/>
              <a:gd name="connsiteX42134" fmla="*/ 4467304 w 8079933"/>
              <a:gd name="connsiteY42134" fmla="*/ 2121993 h 4687251"/>
              <a:gd name="connsiteX42135" fmla="*/ 4460251 w 8079933"/>
              <a:gd name="connsiteY42135" fmla="*/ 2117338 h 4687251"/>
              <a:gd name="connsiteX42136" fmla="*/ 4458406 w 8079933"/>
              <a:gd name="connsiteY42136" fmla="*/ 2113007 h 4687251"/>
              <a:gd name="connsiteX42137" fmla="*/ 4454499 w 8079933"/>
              <a:gd name="connsiteY42137" fmla="*/ 2113007 h 4687251"/>
              <a:gd name="connsiteX42138" fmla="*/ 4452112 w 8079933"/>
              <a:gd name="connsiteY42138" fmla="*/ 2118421 h 4687251"/>
              <a:gd name="connsiteX42139" fmla="*/ 4452112 w 8079933"/>
              <a:gd name="connsiteY42139" fmla="*/ 2125134 h 4687251"/>
              <a:gd name="connsiteX42140" fmla="*/ 4449399 w 8079933"/>
              <a:gd name="connsiteY42140" fmla="*/ 2121885 h 4687251"/>
              <a:gd name="connsiteX42141" fmla="*/ 4450267 w 8079933"/>
              <a:gd name="connsiteY42141" fmla="*/ 2117879 h 4687251"/>
              <a:gd name="connsiteX42142" fmla="*/ 4448856 w 8079933"/>
              <a:gd name="connsiteY42142" fmla="*/ 2114414 h 4687251"/>
              <a:gd name="connsiteX42143" fmla="*/ 4442563 w 8079933"/>
              <a:gd name="connsiteY42143" fmla="*/ 2111708 h 4687251"/>
              <a:gd name="connsiteX42144" fmla="*/ 4440934 w 8079933"/>
              <a:gd name="connsiteY42144" fmla="*/ 2106511 h 4687251"/>
              <a:gd name="connsiteX42145" fmla="*/ 4439090 w 8079933"/>
              <a:gd name="connsiteY42145" fmla="*/ 2110625 h 4687251"/>
              <a:gd name="connsiteX42146" fmla="*/ 4440175 w 8079933"/>
              <a:gd name="connsiteY42146" fmla="*/ 2113007 h 4687251"/>
              <a:gd name="connsiteX42147" fmla="*/ 4438873 w 8079933"/>
              <a:gd name="connsiteY42147" fmla="*/ 2116038 h 4687251"/>
              <a:gd name="connsiteX42148" fmla="*/ 4436052 w 8079933"/>
              <a:gd name="connsiteY42148" fmla="*/ 2112791 h 4687251"/>
              <a:gd name="connsiteX42149" fmla="*/ 4431711 w 8079933"/>
              <a:gd name="connsiteY42149" fmla="*/ 2107269 h 4687251"/>
              <a:gd name="connsiteX42150" fmla="*/ 4431277 w 8079933"/>
              <a:gd name="connsiteY42150" fmla="*/ 2102722 h 4687251"/>
              <a:gd name="connsiteX42151" fmla="*/ 4433339 w 8079933"/>
              <a:gd name="connsiteY42151" fmla="*/ 2100340 h 4687251"/>
              <a:gd name="connsiteX42152" fmla="*/ 4432796 w 8079933"/>
              <a:gd name="connsiteY42152" fmla="*/ 2096983 h 4687251"/>
              <a:gd name="connsiteX42153" fmla="*/ 4427695 w 8079933"/>
              <a:gd name="connsiteY42153" fmla="*/ 2092219 h 4687251"/>
              <a:gd name="connsiteX42154" fmla="*/ 4422487 w 8079933"/>
              <a:gd name="connsiteY42154" fmla="*/ 2089729 h 4687251"/>
              <a:gd name="connsiteX42155" fmla="*/ 4417387 w 8079933"/>
              <a:gd name="connsiteY42155" fmla="*/ 2083991 h 4687251"/>
              <a:gd name="connsiteX42156" fmla="*/ 4419014 w 8079933"/>
              <a:gd name="connsiteY42156" fmla="*/ 2079768 h 4687251"/>
              <a:gd name="connsiteX42157" fmla="*/ 4421510 w 8079933"/>
              <a:gd name="connsiteY42157" fmla="*/ 2079118 h 4687251"/>
              <a:gd name="connsiteX42158" fmla="*/ 4424982 w 8079933"/>
              <a:gd name="connsiteY42158" fmla="*/ 2074788 h 4687251"/>
              <a:gd name="connsiteX42159" fmla="*/ 4429107 w 8079933"/>
              <a:gd name="connsiteY42159" fmla="*/ 2076737 h 4687251"/>
              <a:gd name="connsiteX42160" fmla="*/ 4433121 w 8079933"/>
              <a:gd name="connsiteY42160" fmla="*/ 2074355 h 4687251"/>
              <a:gd name="connsiteX42161" fmla="*/ 4437245 w 8079933"/>
              <a:gd name="connsiteY42161" fmla="*/ 2072947 h 4687251"/>
              <a:gd name="connsiteX42162" fmla="*/ 4446686 w 8079933"/>
              <a:gd name="connsiteY42162" fmla="*/ 2079118 h 4687251"/>
              <a:gd name="connsiteX42163" fmla="*/ 4451027 w 8079933"/>
              <a:gd name="connsiteY42163" fmla="*/ 2080201 h 4687251"/>
              <a:gd name="connsiteX42164" fmla="*/ 4454282 w 8079933"/>
              <a:gd name="connsiteY42164" fmla="*/ 2082800 h 4687251"/>
              <a:gd name="connsiteX42165" fmla="*/ 4457538 w 8079933"/>
              <a:gd name="connsiteY42165" fmla="*/ 2079660 h 4687251"/>
              <a:gd name="connsiteX42166" fmla="*/ 4461119 w 8079933"/>
              <a:gd name="connsiteY42166" fmla="*/ 2077494 h 4687251"/>
              <a:gd name="connsiteX42167" fmla="*/ 4456127 w 8079933"/>
              <a:gd name="connsiteY42167" fmla="*/ 2076520 h 4687251"/>
              <a:gd name="connsiteX42168" fmla="*/ 4453523 w 8079933"/>
              <a:gd name="connsiteY42168" fmla="*/ 2074571 h 4687251"/>
              <a:gd name="connsiteX42169" fmla="*/ 4450484 w 8079933"/>
              <a:gd name="connsiteY42169" fmla="*/ 2074788 h 4687251"/>
              <a:gd name="connsiteX42170" fmla="*/ 4449724 w 8079933"/>
              <a:gd name="connsiteY42170" fmla="*/ 2071539 h 4687251"/>
              <a:gd name="connsiteX42171" fmla="*/ 4445926 w 8079933"/>
              <a:gd name="connsiteY42171" fmla="*/ 2073272 h 4687251"/>
              <a:gd name="connsiteX42172" fmla="*/ 4439633 w 8079933"/>
              <a:gd name="connsiteY42172" fmla="*/ 2069482 h 4687251"/>
              <a:gd name="connsiteX42173" fmla="*/ 4435617 w 8079933"/>
              <a:gd name="connsiteY42173" fmla="*/ 2069157 h 4687251"/>
              <a:gd name="connsiteX42174" fmla="*/ 4433339 w 8079933"/>
              <a:gd name="connsiteY42174" fmla="*/ 2072730 h 4687251"/>
              <a:gd name="connsiteX42175" fmla="*/ 4427695 w 8079933"/>
              <a:gd name="connsiteY42175" fmla="*/ 2072081 h 4687251"/>
              <a:gd name="connsiteX42176" fmla="*/ 4424114 w 8079933"/>
              <a:gd name="connsiteY42176" fmla="*/ 2067534 h 4687251"/>
              <a:gd name="connsiteX42177" fmla="*/ 4420100 w 8079933"/>
              <a:gd name="connsiteY42177" fmla="*/ 2072406 h 4687251"/>
              <a:gd name="connsiteX42178" fmla="*/ 4417061 w 8079933"/>
              <a:gd name="connsiteY42178" fmla="*/ 2071106 h 4687251"/>
              <a:gd name="connsiteX42179" fmla="*/ 4415433 w 8079933"/>
              <a:gd name="connsiteY42179" fmla="*/ 2064610 h 4687251"/>
              <a:gd name="connsiteX42180" fmla="*/ 4408705 w 8079933"/>
              <a:gd name="connsiteY42180" fmla="*/ 2055299 h 4687251"/>
              <a:gd name="connsiteX42181" fmla="*/ 4409248 w 8079933"/>
              <a:gd name="connsiteY42181" fmla="*/ 2053133 h 4687251"/>
              <a:gd name="connsiteX42182" fmla="*/ 4406861 w 8079933"/>
              <a:gd name="connsiteY42182" fmla="*/ 2052592 h 4687251"/>
              <a:gd name="connsiteX42183" fmla="*/ 4401977 w 8079933"/>
              <a:gd name="connsiteY42183" fmla="*/ 2045447 h 4687251"/>
              <a:gd name="connsiteX42184" fmla="*/ 4393296 w 8079933"/>
              <a:gd name="connsiteY42184" fmla="*/ 2038951 h 4687251"/>
              <a:gd name="connsiteX42185" fmla="*/ 4392970 w 8079933"/>
              <a:gd name="connsiteY42185" fmla="*/ 2032129 h 4687251"/>
              <a:gd name="connsiteX42186" fmla="*/ 4392429 w 8079933"/>
              <a:gd name="connsiteY42186" fmla="*/ 2031697 h 4687251"/>
              <a:gd name="connsiteX42187" fmla="*/ 4392428 w 8079933"/>
              <a:gd name="connsiteY42187" fmla="*/ 2031698 h 4687251"/>
              <a:gd name="connsiteX42188" fmla="*/ 4388196 w 8079933"/>
              <a:gd name="connsiteY42188" fmla="*/ 2028882 h 4687251"/>
              <a:gd name="connsiteX42189" fmla="*/ 4383855 w 8079933"/>
              <a:gd name="connsiteY42189" fmla="*/ 2017622 h 4687251"/>
              <a:gd name="connsiteX42190" fmla="*/ 4375174 w 8079933"/>
              <a:gd name="connsiteY42190" fmla="*/ 2017298 h 4687251"/>
              <a:gd name="connsiteX42191" fmla="*/ 4372678 w 8079933"/>
              <a:gd name="connsiteY42191" fmla="*/ 2014374 h 4687251"/>
              <a:gd name="connsiteX42192" fmla="*/ 4374414 w 8079933"/>
              <a:gd name="connsiteY42192" fmla="*/ 2008961 h 4687251"/>
              <a:gd name="connsiteX42193" fmla="*/ 4371919 w 8079933"/>
              <a:gd name="connsiteY42193" fmla="*/ 2004629 h 4687251"/>
              <a:gd name="connsiteX42194" fmla="*/ 4371919 w 8079933"/>
              <a:gd name="connsiteY42194" fmla="*/ 1998891 h 4687251"/>
              <a:gd name="connsiteX42195" fmla="*/ 4374089 w 8079933"/>
              <a:gd name="connsiteY42195" fmla="*/ 1993803 h 4687251"/>
              <a:gd name="connsiteX42196" fmla="*/ 4371159 w 8079933"/>
              <a:gd name="connsiteY42196" fmla="*/ 1986224 h 4687251"/>
              <a:gd name="connsiteX42197" fmla="*/ 4373329 w 8079933"/>
              <a:gd name="connsiteY42197" fmla="*/ 1975721 h 4687251"/>
              <a:gd name="connsiteX42198" fmla="*/ 4375500 w 8079933"/>
              <a:gd name="connsiteY42198" fmla="*/ 1974639 h 4687251"/>
              <a:gd name="connsiteX42199" fmla="*/ 4376259 w 8079933"/>
              <a:gd name="connsiteY42199" fmla="*/ 1970958 h 4687251"/>
              <a:gd name="connsiteX42200" fmla="*/ 4369206 w 8079933"/>
              <a:gd name="connsiteY42200" fmla="*/ 1967493 h 4687251"/>
              <a:gd name="connsiteX42201" fmla="*/ 4363997 w 8079933"/>
              <a:gd name="connsiteY42201" fmla="*/ 1964895 h 4687251"/>
              <a:gd name="connsiteX42202" fmla="*/ 4363237 w 8079933"/>
              <a:gd name="connsiteY42202" fmla="*/ 1961213 h 4687251"/>
              <a:gd name="connsiteX42203" fmla="*/ 4354231 w 8079933"/>
              <a:gd name="connsiteY42203" fmla="*/ 1950062 h 4687251"/>
              <a:gd name="connsiteX42204" fmla="*/ 4349564 w 8079933"/>
              <a:gd name="connsiteY42204" fmla="*/ 1948113 h 4687251"/>
              <a:gd name="connsiteX42205" fmla="*/ 4347937 w 8079933"/>
              <a:gd name="connsiteY42205" fmla="*/ 1945947 h 4687251"/>
              <a:gd name="connsiteX42206" fmla="*/ 4350215 w 8079933"/>
              <a:gd name="connsiteY42206" fmla="*/ 1944648 h 4687251"/>
              <a:gd name="connsiteX42207" fmla="*/ 4353037 w 8079933"/>
              <a:gd name="connsiteY42207" fmla="*/ 1939559 h 4687251"/>
              <a:gd name="connsiteX42208" fmla="*/ 4353145 w 8079933"/>
              <a:gd name="connsiteY42208" fmla="*/ 1933171 h 4687251"/>
              <a:gd name="connsiteX42209" fmla="*/ 4355099 w 8079933"/>
              <a:gd name="connsiteY42209" fmla="*/ 1928299 h 4687251"/>
              <a:gd name="connsiteX42210" fmla="*/ 4358463 w 8079933"/>
              <a:gd name="connsiteY42210" fmla="*/ 1927974 h 4687251"/>
              <a:gd name="connsiteX42211" fmla="*/ 4362153 w 8079933"/>
              <a:gd name="connsiteY42211" fmla="*/ 1926134 h 4687251"/>
              <a:gd name="connsiteX42212" fmla="*/ 4360524 w 8079933"/>
              <a:gd name="connsiteY42212" fmla="*/ 1922669 h 4687251"/>
              <a:gd name="connsiteX42213" fmla="*/ 4362152 w 8079933"/>
              <a:gd name="connsiteY42213" fmla="*/ 1926133 h 4687251"/>
              <a:gd name="connsiteX42214" fmla="*/ 4358462 w 8079933"/>
              <a:gd name="connsiteY42214" fmla="*/ 1927973 h 4687251"/>
              <a:gd name="connsiteX42215" fmla="*/ 4355098 w 8079933"/>
              <a:gd name="connsiteY42215" fmla="*/ 1928298 h 4687251"/>
              <a:gd name="connsiteX42216" fmla="*/ 4353145 w 8079933"/>
              <a:gd name="connsiteY42216" fmla="*/ 1933171 h 4687251"/>
              <a:gd name="connsiteX42217" fmla="*/ 4353037 w 8079933"/>
              <a:gd name="connsiteY42217" fmla="*/ 1939559 h 4687251"/>
              <a:gd name="connsiteX42218" fmla="*/ 4350215 w 8079933"/>
              <a:gd name="connsiteY42218" fmla="*/ 1944647 h 4687251"/>
              <a:gd name="connsiteX42219" fmla="*/ 4347936 w 8079933"/>
              <a:gd name="connsiteY42219" fmla="*/ 1945947 h 4687251"/>
              <a:gd name="connsiteX42220" fmla="*/ 4342836 w 8079933"/>
              <a:gd name="connsiteY42220" fmla="*/ 1939017 h 4687251"/>
              <a:gd name="connsiteX42221" fmla="*/ 4340339 w 8079933"/>
              <a:gd name="connsiteY42221" fmla="*/ 1940316 h 4687251"/>
              <a:gd name="connsiteX42222" fmla="*/ 4331333 w 8079933"/>
              <a:gd name="connsiteY42222" fmla="*/ 1938800 h 4687251"/>
              <a:gd name="connsiteX42223" fmla="*/ 4328403 w 8079933"/>
              <a:gd name="connsiteY42223" fmla="*/ 1938151 h 4687251"/>
              <a:gd name="connsiteX42224" fmla="*/ 4328294 w 8079933"/>
              <a:gd name="connsiteY42224" fmla="*/ 1938151 h 4687251"/>
              <a:gd name="connsiteX42225" fmla="*/ 4328294 w 8079933"/>
              <a:gd name="connsiteY42225" fmla="*/ 1938151 h 4687251"/>
              <a:gd name="connsiteX42226" fmla="*/ 4328294 w 8079933"/>
              <a:gd name="connsiteY42226" fmla="*/ 1938151 h 4687251"/>
              <a:gd name="connsiteX42227" fmla="*/ 4328303 w 8079933"/>
              <a:gd name="connsiteY42227" fmla="*/ 1938129 h 4687251"/>
              <a:gd name="connsiteX42228" fmla="*/ 4328303 w 8079933"/>
              <a:gd name="connsiteY42228" fmla="*/ 1938129 h 4687251"/>
              <a:gd name="connsiteX42229" fmla="*/ 4329437 w 8079933"/>
              <a:gd name="connsiteY42229" fmla="*/ 1935442 h 4687251"/>
              <a:gd name="connsiteX42230" fmla="*/ 4328303 w 8079933"/>
              <a:gd name="connsiteY42230" fmla="*/ 1938129 h 4687251"/>
              <a:gd name="connsiteX42231" fmla="*/ 4323411 w 8079933"/>
              <a:gd name="connsiteY42231" fmla="*/ 1937068 h 4687251"/>
              <a:gd name="connsiteX42232" fmla="*/ 4320481 w 8079933"/>
              <a:gd name="connsiteY42232" fmla="*/ 1933387 h 4687251"/>
              <a:gd name="connsiteX42233" fmla="*/ 4325907 w 8079933"/>
              <a:gd name="connsiteY42233" fmla="*/ 1936310 h 4687251"/>
              <a:gd name="connsiteX42234" fmla="*/ 4329163 w 8079933"/>
              <a:gd name="connsiteY42234" fmla="*/ 1935985 h 4687251"/>
              <a:gd name="connsiteX42235" fmla="*/ 4317551 w 8079933"/>
              <a:gd name="connsiteY42235" fmla="*/ 1924075 h 4687251"/>
              <a:gd name="connsiteX42236" fmla="*/ 4311799 w 8079933"/>
              <a:gd name="connsiteY42236" fmla="*/ 1921152 h 4687251"/>
              <a:gd name="connsiteX42237" fmla="*/ 4301274 w 8079933"/>
              <a:gd name="connsiteY42237" fmla="*/ 1920286 h 4687251"/>
              <a:gd name="connsiteX42238" fmla="*/ 4295848 w 8079933"/>
              <a:gd name="connsiteY42238" fmla="*/ 1921369 h 4687251"/>
              <a:gd name="connsiteX42239" fmla="*/ 4293352 w 8079933"/>
              <a:gd name="connsiteY42239" fmla="*/ 1918445 h 4687251"/>
              <a:gd name="connsiteX42240" fmla="*/ 4291507 w 8079933"/>
              <a:gd name="connsiteY42240" fmla="*/ 1914331 h 4687251"/>
              <a:gd name="connsiteX42241" fmla="*/ 4286298 w 8079933"/>
              <a:gd name="connsiteY42241" fmla="*/ 1912490 h 4687251"/>
              <a:gd name="connsiteX42242" fmla="*/ 4280981 w 8079933"/>
              <a:gd name="connsiteY42242" fmla="*/ 1907510 h 4687251"/>
              <a:gd name="connsiteX42243" fmla="*/ 4275772 w 8079933"/>
              <a:gd name="connsiteY42243" fmla="*/ 1907510 h 4687251"/>
              <a:gd name="connsiteX42244" fmla="*/ 4273602 w 8079933"/>
              <a:gd name="connsiteY42244" fmla="*/ 1903287 h 4687251"/>
              <a:gd name="connsiteX42245" fmla="*/ 4275446 w 8079933"/>
              <a:gd name="connsiteY42245" fmla="*/ 1899390 h 4687251"/>
              <a:gd name="connsiteX42246" fmla="*/ 4279570 w 8079933"/>
              <a:gd name="connsiteY42246" fmla="*/ 1898848 h 4687251"/>
              <a:gd name="connsiteX42247" fmla="*/ 4283151 w 8079933"/>
              <a:gd name="connsiteY42247" fmla="*/ 1900039 h 4687251"/>
              <a:gd name="connsiteX42248" fmla="*/ 4279028 w 8079933"/>
              <a:gd name="connsiteY42248" fmla="*/ 1895600 h 4687251"/>
              <a:gd name="connsiteX42249" fmla="*/ 4277183 w 8079933"/>
              <a:gd name="connsiteY42249" fmla="*/ 1895167 h 4687251"/>
              <a:gd name="connsiteX42250" fmla="*/ 4270021 w 8079933"/>
              <a:gd name="connsiteY42250" fmla="*/ 1888562 h 4687251"/>
              <a:gd name="connsiteX42251" fmla="*/ 4266549 w 8079933"/>
              <a:gd name="connsiteY42251" fmla="*/ 1881850 h 4687251"/>
              <a:gd name="connsiteX42252" fmla="*/ 4265137 w 8079933"/>
              <a:gd name="connsiteY42252" fmla="*/ 1874813 h 4687251"/>
              <a:gd name="connsiteX42253" fmla="*/ 4260471 w 8079933"/>
              <a:gd name="connsiteY42253" fmla="*/ 1871023 h 4687251"/>
              <a:gd name="connsiteX42254" fmla="*/ 4259169 w 8079933"/>
              <a:gd name="connsiteY42254" fmla="*/ 1866368 h 4687251"/>
              <a:gd name="connsiteX42255" fmla="*/ 4253310 w 8079933"/>
              <a:gd name="connsiteY42255" fmla="*/ 1866475 h 4687251"/>
              <a:gd name="connsiteX42256" fmla="*/ 4249728 w 8079933"/>
              <a:gd name="connsiteY42256" fmla="*/ 1870698 h 4687251"/>
              <a:gd name="connsiteX42257" fmla="*/ 4248860 w 8079933"/>
              <a:gd name="connsiteY42257" fmla="*/ 1875678 h 4687251"/>
              <a:gd name="connsiteX42258" fmla="*/ 4243000 w 8079933"/>
              <a:gd name="connsiteY42258" fmla="*/ 1885098 h 4687251"/>
              <a:gd name="connsiteX42259" fmla="*/ 4240830 w 8079933"/>
              <a:gd name="connsiteY42259" fmla="*/ 1883258 h 4687251"/>
              <a:gd name="connsiteX42260" fmla="*/ 4241372 w 8079933"/>
              <a:gd name="connsiteY42260" fmla="*/ 1881525 h 4687251"/>
              <a:gd name="connsiteX42261" fmla="*/ 4236055 w 8079933"/>
              <a:gd name="connsiteY42261" fmla="*/ 1876436 h 4687251"/>
              <a:gd name="connsiteX42262" fmla="*/ 4234536 w 8079933"/>
              <a:gd name="connsiteY42262" fmla="*/ 1867017 h 4687251"/>
              <a:gd name="connsiteX42263" fmla="*/ 4234536 w 8079933"/>
              <a:gd name="connsiteY42263" fmla="*/ 1866477 h 4687251"/>
              <a:gd name="connsiteX42264" fmla="*/ 4234536 w 8079933"/>
              <a:gd name="connsiteY42264" fmla="*/ 1866475 h 4687251"/>
              <a:gd name="connsiteX42265" fmla="*/ 4234753 w 8079933"/>
              <a:gd name="connsiteY42265" fmla="*/ 1862146 h 4687251"/>
              <a:gd name="connsiteX42266" fmla="*/ 4238768 w 8079933"/>
              <a:gd name="connsiteY42266" fmla="*/ 1861063 h 4687251"/>
              <a:gd name="connsiteX42267" fmla="*/ 4238877 w 8079933"/>
              <a:gd name="connsiteY42267" fmla="*/ 1857814 h 4687251"/>
              <a:gd name="connsiteX42268" fmla="*/ 4234210 w 8079933"/>
              <a:gd name="connsiteY42268" fmla="*/ 1855649 h 4687251"/>
              <a:gd name="connsiteX42269" fmla="*/ 4233776 w 8079933"/>
              <a:gd name="connsiteY42269" fmla="*/ 1855541 h 4687251"/>
              <a:gd name="connsiteX42270" fmla="*/ 4232583 w 8079933"/>
              <a:gd name="connsiteY42270" fmla="*/ 1847421 h 4687251"/>
              <a:gd name="connsiteX42271" fmla="*/ 4232582 w 8079933"/>
              <a:gd name="connsiteY42271" fmla="*/ 1847421 h 4687251"/>
              <a:gd name="connsiteX42272" fmla="*/ 4233776 w 8079933"/>
              <a:gd name="connsiteY42272" fmla="*/ 1855542 h 4687251"/>
              <a:gd name="connsiteX42273" fmla="*/ 4228351 w 8079933"/>
              <a:gd name="connsiteY42273" fmla="*/ 1854242 h 4687251"/>
              <a:gd name="connsiteX42274" fmla="*/ 4225095 w 8079933"/>
              <a:gd name="connsiteY42274" fmla="*/ 1855866 h 4687251"/>
              <a:gd name="connsiteX42275" fmla="*/ 4221731 w 8079933"/>
              <a:gd name="connsiteY42275" fmla="*/ 1859331 h 4687251"/>
              <a:gd name="connsiteX42276" fmla="*/ 4216413 w 8079933"/>
              <a:gd name="connsiteY42276" fmla="*/ 1859331 h 4687251"/>
              <a:gd name="connsiteX42277" fmla="*/ 4211531 w 8079933"/>
              <a:gd name="connsiteY42277" fmla="*/ 1863662 h 4687251"/>
              <a:gd name="connsiteX42278" fmla="*/ 4206321 w 8079933"/>
              <a:gd name="connsiteY42278" fmla="*/ 1864311 h 4687251"/>
              <a:gd name="connsiteX42279" fmla="*/ 4204477 w 8079933"/>
              <a:gd name="connsiteY42279" fmla="*/ 1867993 h 4687251"/>
              <a:gd name="connsiteX42280" fmla="*/ 4207081 w 8079933"/>
              <a:gd name="connsiteY42280" fmla="*/ 1872973 h 4687251"/>
              <a:gd name="connsiteX42281" fmla="*/ 4210337 w 8079933"/>
              <a:gd name="connsiteY42281" fmla="*/ 1877196 h 4687251"/>
              <a:gd name="connsiteX42282" fmla="*/ 4206647 w 8079933"/>
              <a:gd name="connsiteY42282" fmla="*/ 1882609 h 4687251"/>
              <a:gd name="connsiteX42283" fmla="*/ 4204477 w 8079933"/>
              <a:gd name="connsiteY42283" fmla="*/ 1884342 h 4687251"/>
              <a:gd name="connsiteX42284" fmla="*/ 4207190 w 8079933"/>
              <a:gd name="connsiteY42284" fmla="*/ 1890297 h 4687251"/>
              <a:gd name="connsiteX42285" fmla="*/ 4207949 w 8079933"/>
              <a:gd name="connsiteY42285" fmla="*/ 1897226 h 4687251"/>
              <a:gd name="connsiteX42286" fmla="*/ 4210445 w 8079933"/>
              <a:gd name="connsiteY42286" fmla="*/ 1900799 h 4687251"/>
              <a:gd name="connsiteX42287" fmla="*/ 4220971 w 8079933"/>
              <a:gd name="connsiteY42287" fmla="*/ 1906429 h 4687251"/>
              <a:gd name="connsiteX42288" fmla="*/ 4226723 w 8079933"/>
              <a:gd name="connsiteY42288" fmla="*/ 1909460 h 4687251"/>
              <a:gd name="connsiteX42289" fmla="*/ 4229652 w 8079933"/>
              <a:gd name="connsiteY42289" fmla="*/ 1913466 h 4687251"/>
              <a:gd name="connsiteX42290" fmla="*/ 4245171 w 8079933"/>
              <a:gd name="connsiteY42290" fmla="*/ 1929166 h 4687251"/>
              <a:gd name="connsiteX42291" fmla="*/ 4245604 w 8079933"/>
              <a:gd name="connsiteY42291" fmla="*/ 1933280 h 4687251"/>
              <a:gd name="connsiteX42292" fmla="*/ 4247558 w 8079933"/>
              <a:gd name="connsiteY42292" fmla="*/ 1934363 h 4687251"/>
              <a:gd name="connsiteX42293" fmla="*/ 4247775 w 8079933"/>
              <a:gd name="connsiteY42293" fmla="*/ 1939235 h 4687251"/>
              <a:gd name="connsiteX42294" fmla="*/ 4251030 w 8079933"/>
              <a:gd name="connsiteY42294" fmla="*/ 1943890 h 4687251"/>
              <a:gd name="connsiteX42295" fmla="*/ 4255371 w 8079933"/>
              <a:gd name="connsiteY42295" fmla="*/ 1948329 h 4687251"/>
              <a:gd name="connsiteX42296" fmla="*/ 4258735 w 8079933"/>
              <a:gd name="connsiteY42296" fmla="*/ 1953635 h 4687251"/>
              <a:gd name="connsiteX42297" fmla="*/ 4265789 w 8079933"/>
              <a:gd name="connsiteY42297" fmla="*/ 1959049 h 4687251"/>
              <a:gd name="connsiteX42298" fmla="*/ 4269153 w 8079933"/>
              <a:gd name="connsiteY42298" fmla="*/ 1962513 h 4687251"/>
              <a:gd name="connsiteX42299" fmla="*/ 4273602 w 8079933"/>
              <a:gd name="connsiteY42299" fmla="*/ 1963379 h 4687251"/>
              <a:gd name="connsiteX42300" fmla="*/ 4276640 w 8079933"/>
              <a:gd name="connsiteY42300" fmla="*/ 1965220 h 4687251"/>
              <a:gd name="connsiteX42301" fmla="*/ 4285756 w 8079933"/>
              <a:gd name="connsiteY42301" fmla="*/ 1965220 h 4687251"/>
              <a:gd name="connsiteX42302" fmla="*/ 4289554 w 8079933"/>
              <a:gd name="connsiteY42302" fmla="*/ 1966302 h 4687251"/>
              <a:gd name="connsiteX42303" fmla="*/ 4295305 w 8079933"/>
              <a:gd name="connsiteY42303" fmla="*/ 1965437 h 4687251"/>
              <a:gd name="connsiteX42304" fmla="*/ 4299429 w 8079933"/>
              <a:gd name="connsiteY42304" fmla="*/ 1967602 h 4687251"/>
              <a:gd name="connsiteX42305" fmla="*/ 4298560 w 8079933"/>
              <a:gd name="connsiteY42305" fmla="*/ 1970850 h 4687251"/>
              <a:gd name="connsiteX42306" fmla="*/ 4292592 w 8079933"/>
              <a:gd name="connsiteY42306" fmla="*/ 1974965 h 4687251"/>
              <a:gd name="connsiteX42307" fmla="*/ 4292375 w 8079933"/>
              <a:gd name="connsiteY42307" fmla="*/ 1977130 h 4687251"/>
              <a:gd name="connsiteX42308" fmla="*/ 4294762 w 8079933"/>
              <a:gd name="connsiteY42308" fmla="*/ 1980920 h 4687251"/>
              <a:gd name="connsiteX42309" fmla="*/ 4299646 w 8079933"/>
              <a:gd name="connsiteY42309" fmla="*/ 1980920 h 4687251"/>
              <a:gd name="connsiteX42310" fmla="*/ 4308652 w 8079933"/>
              <a:gd name="connsiteY42310" fmla="*/ 1983085 h 4687251"/>
              <a:gd name="connsiteX42311" fmla="*/ 4327534 w 8079933"/>
              <a:gd name="connsiteY42311" fmla="*/ 1993153 h 4687251"/>
              <a:gd name="connsiteX42312" fmla="*/ 4334805 w 8079933"/>
              <a:gd name="connsiteY42312" fmla="*/ 1998675 h 4687251"/>
              <a:gd name="connsiteX42313" fmla="*/ 4339580 w 8079933"/>
              <a:gd name="connsiteY42313" fmla="*/ 2003656 h 4687251"/>
              <a:gd name="connsiteX42314" fmla="*/ 4347393 w 8079933"/>
              <a:gd name="connsiteY42314" fmla="*/ 2005605 h 4687251"/>
              <a:gd name="connsiteX42315" fmla="*/ 4351408 w 8079933"/>
              <a:gd name="connsiteY42315" fmla="*/ 2008420 h 4687251"/>
              <a:gd name="connsiteX42316" fmla="*/ 4353144 w 8079933"/>
              <a:gd name="connsiteY42316" fmla="*/ 2011559 h 4687251"/>
              <a:gd name="connsiteX42317" fmla="*/ 4352493 w 8079933"/>
              <a:gd name="connsiteY42317" fmla="*/ 2017732 h 4687251"/>
              <a:gd name="connsiteX42318" fmla="*/ 4350432 w 8079933"/>
              <a:gd name="connsiteY42318" fmla="*/ 2020655 h 4687251"/>
              <a:gd name="connsiteX42319" fmla="*/ 4350974 w 8079933"/>
              <a:gd name="connsiteY42319" fmla="*/ 2024552 h 4687251"/>
              <a:gd name="connsiteX42320" fmla="*/ 4349672 w 8079933"/>
              <a:gd name="connsiteY42320" fmla="*/ 2025526 h 4687251"/>
              <a:gd name="connsiteX42321" fmla="*/ 4349564 w 8079933"/>
              <a:gd name="connsiteY42321" fmla="*/ 2026934 h 4687251"/>
              <a:gd name="connsiteX42322" fmla="*/ 4345331 w 8079933"/>
              <a:gd name="connsiteY42322" fmla="*/ 2025202 h 4687251"/>
              <a:gd name="connsiteX42323" fmla="*/ 4341967 w 8079933"/>
              <a:gd name="connsiteY42323" fmla="*/ 2020979 h 4687251"/>
              <a:gd name="connsiteX42324" fmla="*/ 4340014 w 8079933"/>
              <a:gd name="connsiteY42324" fmla="*/ 2016648 h 4687251"/>
              <a:gd name="connsiteX42325" fmla="*/ 4340556 w 8079933"/>
              <a:gd name="connsiteY42325" fmla="*/ 2013075 h 4687251"/>
              <a:gd name="connsiteX42326" fmla="*/ 4337952 w 8079933"/>
              <a:gd name="connsiteY42326" fmla="*/ 2011559 h 4687251"/>
              <a:gd name="connsiteX42327" fmla="*/ 4330573 w 8079933"/>
              <a:gd name="connsiteY42327" fmla="*/ 2011451 h 4687251"/>
              <a:gd name="connsiteX42328" fmla="*/ 4329162 w 8079933"/>
              <a:gd name="connsiteY42328" fmla="*/ 2009286 h 4687251"/>
              <a:gd name="connsiteX42329" fmla="*/ 4324279 w 8079933"/>
              <a:gd name="connsiteY42329" fmla="*/ 2006904 h 4687251"/>
              <a:gd name="connsiteX42330" fmla="*/ 4321023 w 8079933"/>
              <a:gd name="connsiteY42330" fmla="*/ 2007337 h 4687251"/>
              <a:gd name="connsiteX42331" fmla="*/ 4318853 w 8079933"/>
              <a:gd name="connsiteY42331" fmla="*/ 2008745 h 4687251"/>
              <a:gd name="connsiteX42332" fmla="*/ 4317225 w 8079933"/>
              <a:gd name="connsiteY42332" fmla="*/ 2014483 h 4687251"/>
              <a:gd name="connsiteX42333" fmla="*/ 4314512 w 8079933"/>
              <a:gd name="connsiteY42333" fmla="*/ 2017406 h 4687251"/>
              <a:gd name="connsiteX42334" fmla="*/ 4314730 w 8079933"/>
              <a:gd name="connsiteY42334" fmla="*/ 2020438 h 4687251"/>
              <a:gd name="connsiteX42335" fmla="*/ 4313970 w 8079933"/>
              <a:gd name="connsiteY42335" fmla="*/ 2024011 h 4687251"/>
              <a:gd name="connsiteX42336" fmla="*/ 4310497 w 8079933"/>
              <a:gd name="connsiteY42336" fmla="*/ 2026393 h 4687251"/>
              <a:gd name="connsiteX42337" fmla="*/ 4310497 w 8079933"/>
              <a:gd name="connsiteY42337" fmla="*/ 2029966 h 4687251"/>
              <a:gd name="connsiteX42338" fmla="*/ 4312125 w 8079933"/>
              <a:gd name="connsiteY42338" fmla="*/ 2032348 h 4687251"/>
              <a:gd name="connsiteX42339" fmla="*/ 4315923 w 8079933"/>
              <a:gd name="connsiteY42339" fmla="*/ 2032889 h 4687251"/>
              <a:gd name="connsiteX42340" fmla="*/ 4322651 w 8079933"/>
              <a:gd name="connsiteY42340" fmla="*/ 2039169 h 4687251"/>
              <a:gd name="connsiteX42341" fmla="*/ 4323953 w 8079933"/>
              <a:gd name="connsiteY42341" fmla="*/ 2041875 h 4687251"/>
              <a:gd name="connsiteX42342" fmla="*/ 4323194 w 8079933"/>
              <a:gd name="connsiteY42342" fmla="*/ 2048047 h 4687251"/>
              <a:gd name="connsiteX42343" fmla="*/ 4324388 w 8079933"/>
              <a:gd name="connsiteY42343" fmla="*/ 2050213 h 4687251"/>
              <a:gd name="connsiteX42344" fmla="*/ 4322760 w 8079933"/>
              <a:gd name="connsiteY42344" fmla="*/ 2053677 h 4687251"/>
              <a:gd name="connsiteX42345" fmla="*/ 4318636 w 8079933"/>
              <a:gd name="connsiteY42345" fmla="*/ 2054760 h 4687251"/>
              <a:gd name="connsiteX42346" fmla="*/ 4314730 w 8079933"/>
              <a:gd name="connsiteY42346" fmla="*/ 2058874 h 4687251"/>
              <a:gd name="connsiteX42347" fmla="*/ 4314078 w 8079933"/>
              <a:gd name="connsiteY42347" fmla="*/ 2069918 h 4687251"/>
              <a:gd name="connsiteX42348" fmla="*/ 4307568 w 8079933"/>
              <a:gd name="connsiteY42348" fmla="*/ 2075115 h 4687251"/>
              <a:gd name="connsiteX42349" fmla="*/ 4306699 w 8079933"/>
              <a:gd name="connsiteY42349" fmla="*/ 2080203 h 4687251"/>
              <a:gd name="connsiteX42350" fmla="*/ 4303227 w 8079933"/>
              <a:gd name="connsiteY42350" fmla="*/ 2084859 h 4687251"/>
              <a:gd name="connsiteX42351" fmla="*/ 4296390 w 8079933"/>
              <a:gd name="connsiteY42351" fmla="*/ 2085401 h 4687251"/>
              <a:gd name="connsiteX42352" fmla="*/ 4291182 w 8079933"/>
              <a:gd name="connsiteY42352" fmla="*/ 2080203 h 4687251"/>
              <a:gd name="connsiteX42353" fmla="*/ 4290964 w 8079933"/>
              <a:gd name="connsiteY42353" fmla="*/ 2076522 h 4687251"/>
              <a:gd name="connsiteX42354" fmla="*/ 4292158 w 8079933"/>
              <a:gd name="connsiteY42354" fmla="*/ 2074681 h 4687251"/>
              <a:gd name="connsiteX42355" fmla="*/ 4294980 w 8079933"/>
              <a:gd name="connsiteY42355" fmla="*/ 2073166 h 4687251"/>
              <a:gd name="connsiteX42356" fmla="*/ 4297801 w 8079933"/>
              <a:gd name="connsiteY42356" fmla="*/ 2069918 h 4687251"/>
              <a:gd name="connsiteX42357" fmla="*/ 4298452 w 8079933"/>
              <a:gd name="connsiteY42357" fmla="*/ 2065370 h 4687251"/>
              <a:gd name="connsiteX42358" fmla="*/ 4297801 w 8079933"/>
              <a:gd name="connsiteY42358" fmla="*/ 2060607 h 4687251"/>
              <a:gd name="connsiteX42359" fmla="*/ 4299211 w 8079933"/>
              <a:gd name="connsiteY42359" fmla="*/ 2059848 h 4687251"/>
              <a:gd name="connsiteX42360" fmla="*/ 4301165 w 8079933"/>
              <a:gd name="connsiteY42360" fmla="*/ 2059740 h 4687251"/>
              <a:gd name="connsiteX42361" fmla="*/ 4303661 w 8079933"/>
              <a:gd name="connsiteY42361" fmla="*/ 2056709 h 4687251"/>
              <a:gd name="connsiteX42362" fmla="*/ 4303770 w 8079933"/>
              <a:gd name="connsiteY42362" fmla="*/ 2052378 h 4687251"/>
              <a:gd name="connsiteX42363" fmla="*/ 4301165 w 8079933"/>
              <a:gd name="connsiteY42363" fmla="*/ 2048372 h 4687251"/>
              <a:gd name="connsiteX42364" fmla="*/ 4299103 w 8079933"/>
              <a:gd name="connsiteY42364" fmla="*/ 2039927 h 4687251"/>
              <a:gd name="connsiteX42365" fmla="*/ 4296607 w 8079933"/>
              <a:gd name="connsiteY42365" fmla="*/ 2036679 h 4687251"/>
              <a:gd name="connsiteX42366" fmla="*/ 4295522 w 8079933"/>
              <a:gd name="connsiteY42366" fmla="*/ 2029424 h 4687251"/>
              <a:gd name="connsiteX42367" fmla="*/ 4293352 w 8079933"/>
              <a:gd name="connsiteY42367" fmla="*/ 2021846 h 4687251"/>
              <a:gd name="connsiteX42368" fmla="*/ 4289879 w 8079933"/>
              <a:gd name="connsiteY42368" fmla="*/ 2019680 h 4687251"/>
              <a:gd name="connsiteX42369" fmla="*/ 4287166 w 8079933"/>
              <a:gd name="connsiteY42369" fmla="*/ 2021304 h 4687251"/>
              <a:gd name="connsiteX42370" fmla="*/ 4280981 w 8079933"/>
              <a:gd name="connsiteY42370" fmla="*/ 2019897 h 4687251"/>
              <a:gd name="connsiteX42371" fmla="*/ 4279028 w 8079933"/>
              <a:gd name="connsiteY42371" fmla="*/ 2015891 h 4687251"/>
              <a:gd name="connsiteX42372" fmla="*/ 4274144 w 8079933"/>
              <a:gd name="connsiteY42372" fmla="*/ 2015566 h 4687251"/>
              <a:gd name="connsiteX42373" fmla="*/ 4271757 w 8079933"/>
              <a:gd name="connsiteY42373" fmla="*/ 2013184 h 4687251"/>
              <a:gd name="connsiteX42374" fmla="*/ 4272842 w 8079933"/>
              <a:gd name="connsiteY42374" fmla="*/ 2011235 h 4687251"/>
              <a:gd name="connsiteX42375" fmla="*/ 4273385 w 8079933"/>
              <a:gd name="connsiteY42375" fmla="*/ 2006579 h 4687251"/>
              <a:gd name="connsiteX42376" fmla="*/ 4270346 w 8079933"/>
              <a:gd name="connsiteY42376" fmla="*/ 2002573 h 4687251"/>
              <a:gd name="connsiteX42377" fmla="*/ 4266006 w 8079933"/>
              <a:gd name="connsiteY42377" fmla="*/ 2002249 h 4687251"/>
              <a:gd name="connsiteX42378" fmla="*/ 4261882 w 8079933"/>
              <a:gd name="connsiteY42378" fmla="*/ 2002357 h 4687251"/>
              <a:gd name="connsiteX42379" fmla="*/ 4262208 w 8079933"/>
              <a:gd name="connsiteY42379" fmla="*/ 1999108 h 4687251"/>
              <a:gd name="connsiteX42380" fmla="*/ 4258192 w 8079933"/>
              <a:gd name="connsiteY42380" fmla="*/ 1997701 h 4687251"/>
              <a:gd name="connsiteX42381" fmla="*/ 4255480 w 8079933"/>
              <a:gd name="connsiteY42381" fmla="*/ 1998784 h 4687251"/>
              <a:gd name="connsiteX42382" fmla="*/ 4252441 w 8079933"/>
              <a:gd name="connsiteY42382" fmla="*/ 1996835 h 4687251"/>
              <a:gd name="connsiteX42383" fmla="*/ 4247341 w 8079933"/>
              <a:gd name="connsiteY42383" fmla="*/ 1987416 h 4687251"/>
              <a:gd name="connsiteX42384" fmla="*/ 4242675 w 8079933"/>
              <a:gd name="connsiteY42384" fmla="*/ 1987090 h 4687251"/>
              <a:gd name="connsiteX42385" fmla="*/ 4237791 w 8079933"/>
              <a:gd name="connsiteY42385" fmla="*/ 1985033 h 4687251"/>
              <a:gd name="connsiteX42386" fmla="*/ 4234753 w 8079933"/>
              <a:gd name="connsiteY42386" fmla="*/ 1987957 h 4687251"/>
              <a:gd name="connsiteX42387" fmla="*/ 4230412 w 8079933"/>
              <a:gd name="connsiteY42387" fmla="*/ 1987957 h 4687251"/>
              <a:gd name="connsiteX42388" fmla="*/ 4229436 w 8079933"/>
              <a:gd name="connsiteY42388" fmla="*/ 1983951 h 4687251"/>
              <a:gd name="connsiteX42389" fmla="*/ 4225529 w 8079933"/>
              <a:gd name="connsiteY42389" fmla="*/ 1981244 h 4687251"/>
              <a:gd name="connsiteX42390" fmla="*/ 4220971 w 8079933"/>
              <a:gd name="connsiteY42390" fmla="*/ 1980594 h 4687251"/>
              <a:gd name="connsiteX42391" fmla="*/ 4211531 w 8079933"/>
              <a:gd name="connsiteY42391" fmla="*/ 1973557 h 4687251"/>
              <a:gd name="connsiteX42392" fmla="*/ 4201764 w 8079933"/>
              <a:gd name="connsiteY42392" fmla="*/ 1961106 h 4687251"/>
              <a:gd name="connsiteX42393" fmla="*/ 4198725 w 8079933"/>
              <a:gd name="connsiteY42393" fmla="*/ 1960023 h 4687251"/>
              <a:gd name="connsiteX42394" fmla="*/ 4197857 w 8079933"/>
              <a:gd name="connsiteY42394" fmla="*/ 1956233 h 4687251"/>
              <a:gd name="connsiteX42395" fmla="*/ 4193517 w 8079933"/>
              <a:gd name="connsiteY42395" fmla="*/ 1950386 h 4687251"/>
              <a:gd name="connsiteX42396" fmla="*/ 4186571 w 8079933"/>
              <a:gd name="connsiteY42396" fmla="*/ 1950278 h 4687251"/>
              <a:gd name="connsiteX42397" fmla="*/ 4185921 w 8079933"/>
              <a:gd name="connsiteY42397" fmla="*/ 1945947 h 4687251"/>
              <a:gd name="connsiteX42398" fmla="*/ 4179410 w 8079933"/>
              <a:gd name="connsiteY42398" fmla="*/ 1939776 h 4687251"/>
              <a:gd name="connsiteX42399" fmla="*/ 4175720 w 8079933"/>
              <a:gd name="connsiteY42399" fmla="*/ 1935229 h 4687251"/>
              <a:gd name="connsiteX42400" fmla="*/ 4170186 w 8079933"/>
              <a:gd name="connsiteY42400" fmla="*/ 1932522 h 4687251"/>
              <a:gd name="connsiteX42401" fmla="*/ 4170294 w 8079933"/>
              <a:gd name="connsiteY42401" fmla="*/ 1925917 h 4687251"/>
              <a:gd name="connsiteX42402" fmla="*/ 4166604 w 8079933"/>
              <a:gd name="connsiteY42402" fmla="*/ 1923535 h 4687251"/>
              <a:gd name="connsiteX42403" fmla="*/ 4166388 w 8079933"/>
              <a:gd name="connsiteY42403" fmla="*/ 1919421 h 4687251"/>
              <a:gd name="connsiteX42404" fmla="*/ 4162047 w 8079933"/>
              <a:gd name="connsiteY42404" fmla="*/ 1912384 h 4687251"/>
              <a:gd name="connsiteX42405" fmla="*/ 4160093 w 8079933"/>
              <a:gd name="connsiteY42405" fmla="*/ 1908703 h 4687251"/>
              <a:gd name="connsiteX42406" fmla="*/ 4158791 w 8079933"/>
              <a:gd name="connsiteY42406" fmla="*/ 1906104 h 4687251"/>
              <a:gd name="connsiteX42407" fmla="*/ 4156730 w 8079933"/>
              <a:gd name="connsiteY42407" fmla="*/ 1902315 h 4687251"/>
              <a:gd name="connsiteX42408" fmla="*/ 4149676 w 8079933"/>
              <a:gd name="connsiteY42408" fmla="*/ 1900258 h 4687251"/>
              <a:gd name="connsiteX42409" fmla="*/ 4145010 w 8079933"/>
              <a:gd name="connsiteY42409" fmla="*/ 1897226 h 4687251"/>
              <a:gd name="connsiteX42410" fmla="*/ 4129058 w 8079933"/>
              <a:gd name="connsiteY42410" fmla="*/ 1893003 h 4687251"/>
              <a:gd name="connsiteX42411" fmla="*/ 4116795 w 8079933"/>
              <a:gd name="connsiteY42411" fmla="*/ 1899933 h 4687251"/>
              <a:gd name="connsiteX42412" fmla="*/ 4116687 w 8079933"/>
              <a:gd name="connsiteY42412" fmla="*/ 1903831 h 4687251"/>
              <a:gd name="connsiteX42413" fmla="*/ 4112454 w 8079933"/>
              <a:gd name="connsiteY42413" fmla="*/ 1909135 h 4687251"/>
              <a:gd name="connsiteX42414" fmla="*/ 4101060 w 8079933"/>
              <a:gd name="connsiteY42414" fmla="*/ 1911084 h 4687251"/>
              <a:gd name="connsiteX42415" fmla="*/ 4101060 w 8079933"/>
              <a:gd name="connsiteY42415" fmla="*/ 1911084 h 4687251"/>
              <a:gd name="connsiteX42416" fmla="*/ 4100193 w 8079933"/>
              <a:gd name="connsiteY42416" fmla="*/ 1911301 h 4687251"/>
              <a:gd name="connsiteX42417" fmla="*/ 4085109 w 8079933"/>
              <a:gd name="connsiteY42417" fmla="*/ 1922452 h 4687251"/>
              <a:gd name="connsiteX42418" fmla="*/ 4080985 w 8079933"/>
              <a:gd name="connsiteY42418" fmla="*/ 1927649 h 4687251"/>
              <a:gd name="connsiteX42419" fmla="*/ 4081853 w 8079933"/>
              <a:gd name="connsiteY42419" fmla="*/ 1930031 h 4687251"/>
              <a:gd name="connsiteX42420" fmla="*/ 4077404 w 8079933"/>
              <a:gd name="connsiteY42420" fmla="*/ 1933821 h 4687251"/>
              <a:gd name="connsiteX42421" fmla="*/ 4066661 w 8079933"/>
              <a:gd name="connsiteY42421" fmla="*/ 1933279 h 4687251"/>
              <a:gd name="connsiteX42422" fmla="*/ 4062755 w 8079933"/>
              <a:gd name="connsiteY42422" fmla="*/ 1929815 h 4687251"/>
              <a:gd name="connsiteX42423" fmla="*/ 4048321 w 8079933"/>
              <a:gd name="connsiteY42423" fmla="*/ 1920828 h 4687251"/>
              <a:gd name="connsiteX42424" fmla="*/ 4044849 w 8079933"/>
              <a:gd name="connsiteY42424" fmla="*/ 1921153 h 4687251"/>
              <a:gd name="connsiteX42425" fmla="*/ 4041160 w 8079933"/>
              <a:gd name="connsiteY42425" fmla="*/ 1924077 h 4687251"/>
              <a:gd name="connsiteX42426" fmla="*/ 4037253 w 8079933"/>
              <a:gd name="connsiteY42426" fmla="*/ 1924077 h 4687251"/>
              <a:gd name="connsiteX42427" fmla="*/ 4031393 w 8079933"/>
              <a:gd name="connsiteY42427" fmla="*/ 1920612 h 4687251"/>
              <a:gd name="connsiteX42428" fmla="*/ 4025967 w 8079933"/>
              <a:gd name="connsiteY42428" fmla="*/ 1919854 h 4687251"/>
              <a:gd name="connsiteX42429" fmla="*/ 4023255 w 8079933"/>
              <a:gd name="connsiteY42429" fmla="*/ 1917905 h 4687251"/>
              <a:gd name="connsiteX42430" fmla="*/ 4020541 w 8079933"/>
              <a:gd name="connsiteY42430" fmla="*/ 1918122 h 4687251"/>
              <a:gd name="connsiteX42431" fmla="*/ 4012294 w 8079933"/>
              <a:gd name="connsiteY42431" fmla="*/ 1927000 h 4687251"/>
              <a:gd name="connsiteX42432" fmla="*/ 4006868 w 8079933"/>
              <a:gd name="connsiteY42432" fmla="*/ 1931872 h 4687251"/>
              <a:gd name="connsiteX42433" fmla="*/ 4006326 w 8079933"/>
              <a:gd name="connsiteY42433" fmla="*/ 1935769 h 4687251"/>
              <a:gd name="connsiteX42434" fmla="*/ 4004481 w 8079933"/>
              <a:gd name="connsiteY42434" fmla="*/ 1943890 h 4687251"/>
              <a:gd name="connsiteX42435" fmla="*/ 4006326 w 8079933"/>
              <a:gd name="connsiteY42435" fmla="*/ 1950819 h 4687251"/>
              <a:gd name="connsiteX42436" fmla="*/ 4006543 w 8079933"/>
              <a:gd name="connsiteY42436" fmla="*/ 1953093 h 4687251"/>
              <a:gd name="connsiteX42437" fmla="*/ 4006108 w 8079933"/>
              <a:gd name="connsiteY42437" fmla="*/ 1952932 h 4687251"/>
              <a:gd name="connsiteX42438" fmla="*/ 4006108 w 8079933"/>
              <a:gd name="connsiteY42438" fmla="*/ 1955149 h 4687251"/>
              <a:gd name="connsiteX42439" fmla="*/ 4002310 w 8079933"/>
              <a:gd name="connsiteY42439" fmla="*/ 1957640 h 4687251"/>
              <a:gd name="connsiteX42440" fmla="*/ 4003613 w 8079933"/>
              <a:gd name="connsiteY42440" fmla="*/ 1965218 h 4687251"/>
              <a:gd name="connsiteX42441" fmla="*/ 4002962 w 8079933"/>
              <a:gd name="connsiteY42441" fmla="*/ 1971065 h 4687251"/>
              <a:gd name="connsiteX42442" fmla="*/ 4000574 w 8079933"/>
              <a:gd name="connsiteY42442" fmla="*/ 1975612 h 4687251"/>
              <a:gd name="connsiteX42443" fmla="*/ 3991567 w 8079933"/>
              <a:gd name="connsiteY42443" fmla="*/ 1981026 h 4687251"/>
              <a:gd name="connsiteX42444" fmla="*/ 3987553 w 8079933"/>
              <a:gd name="connsiteY42444" fmla="*/ 1986114 h 4687251"/>
              <a:gd name="connsiteX42445" fmla="*/ 3979956 w 8079933"/>
              <a:gd name="connsiteY42445" fmla="*/ 1989146 h 4687251"/>
              <a:gd name="connsiteX42446" fmla="*/ 3970733 w 8079933"/>
              <a:gd name="connsiteY42446" fmla="*/ 1989146 h 4687251"/>
              <a:gd name="connsiteX42447" fmla="*/ 3964763 w 8079933"/>
              <a:gd name="connsiteY42447" fmla="*/ 1993369 h 4687251"/>
              <a:gd name="connsiteX42448" fmla="*/ 3959338 w 8079933"/>
              <a:gd name="connsiteY42448" fmla="*/ 1996292 h 4687251"/>
              <a:gd name="connsiteX42449" fmla="*/ 3961834 w 8079933"/>
              <a:gd name="connsiteY42449" fmla="*/ 1998457 h 4687251"/>
              <a:gd name="connsiteX42450" fmla="*/ 3960640 w 8079933"/>
              <a:gd name="connsiteY42450" fmla="*/ 2004087 h 4687251"/>
              <a:gd name="connsiteX42451" fmla="*/ 3957276 w 8079933"/>
              <a:gd name="connsiteY42451" fmla="*/ 2006144 h 4687251"/>
              <a:gd name="connsiteX42452" fmla="*/ 3957276 w 8079933"/>
              <a:gd name="connsiteY42452" fmla="*/ 2005603 h 4687251"/>
              <a:gd name="connsiteX42453" fmla="*/ 3958144 w 8079933"/>
              <a:gd name="connsiteY42453" fmla="*/ 2004845 h 4687251"/>
              <a:gd name="connsiteX42454" fmla="*/ 3955649 w 8079933"/>
              <a:gd name="connsiteY42454" fmla="*/ 2003979 h 4687251"/>
              <a:gd name="connsiteX42455" fmla="*/ 3948811 w 8079933"/>
              <a:gd name="connsiteY42455" fmla="*/ 2015672 h 4687251"/>
              <a:gd name="connsiteX42456" fmla="*/ 3943928 w 8079933"/>
              <a:gd name="connsiteY42456" fmla="*/ 2018054 h 4687251"/>
              <a:gd name="connsiteX42457" fmla="*/ 3934704 w 8079933"/>
              <a:gd name="connsiteY42457" fmla="*/ 2033429 h 4687251"/>
              <a:gd name="connsiteX42458" fmla="*/ 3931991 w 8079933"/>
              <a:gd name="connsiteY42458" fmla="*/ 2036893 h 4687251"/>
              <a:gd name="connsiteX42459" fmla="*/ 3936007 w 8079933"/>
              <a:gd name="connsiteY42459" fmla="*/ 2043715 h 4687251"/>
              <a:gd name="connsiteX42460" fmla="*/ 3937092 w 8079933"/>
              <a:gd name="connsiteY42460" fmla="*/ 2048370 h 4687251"/>
              <a:gd name="connsiteX42461" fmla="*/ 3940673 w 8079933"/>
              <a:gd name="connsiteY42461" fmla="*/ 2050319 h 4687251"/>
              <a:gd name="connsiteX42462" fmla="*/ 3946641 w 8079933"/>
              <a:gd name="connsiteY42462" fmla="*/ 2058439 h 4687251"/>
              <a:gd name="connsiteX42463" fmla="*/ 3941433 w 8079933"/>
              <a:gd name="connsiteY42463" fmla="*/ 2063528 h 4687251"/>
              <a:gd name="connsiteX42464" fmla="*/ 3933511 w 8079933"/>
              <a:gd name="connsiteY42464" fmla="*/ 2065476 h 4687251"/>
              <a:gd name="connsiteX42465" fmla="*/ 3933511 w 8079933"/>
              <a:gd name="connsiteY42465" fmla="*/ 2071107 h 4687251"/>
              <a:gd name="connsiteX42466" fmla="*/ 3925915 w 8079933"/>
              <a:gd name="connsiteY42466" fmla="*/ 2081933 h 4687251"/>
              <a:gd name="connsiteX42467" fmla="*/ 3925046 w 8079933"/>
              <a:gd name="connsiteY42467" fmla="*/ 2088971 h 4687251"/>
              <a:gd name="connsiteX42468" fmla="*/ 3927000 w 8079933"/>
              <a:gd name="connsiteY42468" fmla="*/ 2090920 h 4687251"/>
              <a:gd name="connsiteX42469" fmla="*/ 3925046 w 8079933"/>
              <a:gd name="connsiteY42469" fmla="*/ 2093951 h 4687251"/>
              <a:gd name="connsiteX42470" fmla="*/ 3916907 w 8079933"/>
              <a:gd name="connsiteY42470" fmla="*/ 2093951 h 4687251"/>
              <a:gd name="connsiteX42471" fmla="*/ 3902475 w 8079933"/>
              <a:gd name="connsiteY42471" fmla="*/ 2100772 h 4687251"/>
              <a:gd name="connsiteX42472" fmla="*/ 3902475 w 8079933"/>
              <a:gd name="connsiteY42472" fmla="*/ 2105645 h 4687251"/>
              <a:gd name="connsiteX42473" fmla="*/ 3896832 w 8079933"/>
              <a:gd name="connsiteY42473" fmla="*/ 2114632 h 4687251"/>
              <a:gd name="connsiteX42474" fmla="*/ 3891732 w 8079933"/>
              <a:gd name="connsiteY42474" fmla="*/ 2112250 h 4687251"/>
              <a:gd name="connsiteX42475" fmla="*/ 3887175 w 8079933"/>
              <a:gd name="connsiteY42475" fmla="*/ 2108243 h 4687251"/>
              <a:gd name="connsiteX42476" fmla="*/ 3884787 w 8079933"/>
              <a:gd name="connsiteY42476" fmla="*/ 2112357 h 4687251"/>
              <a:gd name="connsiteX42477" fmla="*/ 3880989 w 8079933"/>
              <a:gd name="connsiteY42477" fmla="*/ 2115606 h 4687251"/>
              <a:gd name="connsiteX42478" fmla="*/ 3876974 w 8079933"/>
              <a:gd name="connsiteY42478" fmla="*/ 2112575 h 4687251"/>
              <a:gd name="connsiteX42479" fmla="*/ 3872850 w 8079933"/>
              <a:gd name="connsiteY42479" fmla="*/ 2112575 h 4687251"/>
              <a:gd name="connsiteX42480" fmla="*/ 3871223 w 8079933"/>
              <a:gd name="connsiteY42480" fmla="*/ 2114523 h 4687251"/>
              <a:gd name="connsiteX42481" fmla="*/ 3864711 w 8079933"/>
              <a:gd name="connsiteY42481" fmla="*/ 2113765 h 4687251"/>
              <a:gd name="connsiteX42482" fmla="*/ 3854944 w 8079933"/>
              <a:gd name="connsiteY42482" fmla="*/ 2111059 h 4687251"/>
              <a:gd name="connsiteX42483" fmla="*/ 3851038 w 8079933"/>
              <a:gd name="connsiteY42483" fmla="*/ 2113224 h 4687251"/>
              <a:gd name="connsiteX42484" fmla="*/ 3842465 w 8079933"/>
              <a:gd name="connsiteY42484" fmla="*/ 2114306 h 4687251"/>
              <a:gd name="connsiteX42485" fmla="*/ 3834978 w 8079933"/>
              <a:gd name="connsiteY42485" fmla="*/ 2121777 h 4687251"/>
              <a:gd name="connsiteX42486" fmla="*/ 3826079 w 8079933"/>
              <a:gd name="connsiteY42486" fmla="*/ 2122860 h 4687251"/>
              <a:gd name="connsiteX42487" fmla="*/ 3822715 w 8079933"/>
              <a:gd name="connsiteY42487" fmla="*/ 2125783 h 4687251"/>
              <a:gd name="connsiteX42488" fmla="*/ 3822715 w 8079933"/>
              <a:gd name="connsiteY42488" fmla="*/ 2129681 h 4687251"/>
              <a:gd name="connsiteX42489" fmla="*/ 3815662 w 8079933"/>
              <a:gd name="connsiteY42489" fmla="*/ 2133471 h 4687251"/>
              <a:gd name="connsiteX42490" fmla="*/ 3807957 w 8079933"/>
              <a:gd name="connsiteY42490" fmla="*/ 2132171 h 4687251"/>
              <a:gd name="connsiteX42491" fmla="*/ 3800035 w 8079933"/>
              <a:gd name="connsiteY42491" fmla="*/ 2124375 h 4687251"/>
              <a:gd name="connsiteX42492" fmla="*/ 3795477 w 8079933"/>
              <a:gd name="connsiteY42492" fmla="*/ 2113549 h 4687251"/>
              <a:gd name="connsiteX42493" fmla="*/ 3796454 w 8079933"/>
              <a:gd name="connsiteY42493" fmla="*/ 2112033 h 4687251"/>
              <a:gd name="connsiteX42494" fmla="*/ 3786688 w 8079933"/>
              <a:gd name="connsiteY42494" fmla="*/ 2102722 h 4687251"/>
              <a:gd name="connsiteX42495" fmla="*/ 3779634 w 8079933"/>
              <a:gd name="connsiteY42495" fmla="*/ 2101855 h 4687251"/>
              <a:gd name="connsiteX42496" fmla="*/ 3775834 w 8079933"/>
              <a:gd name="connsiteY42496" fmla="*/ 2100802 h 4687251"/>
              <a:gd name="connsiteX42497" fmla="*/ 3775837 w 8079933"/>
              <a:gd name="connsiteY42497" fmla="*/ 2100990 h 4687251"/>
              <a:gd name="connsiteX42498" fmla="*/ 3775728 w 8079933"/>
              <a:gd name="connsiteY42498" fmla="*/ 2100881 h 4687251"/>
              <a:gd name="connsiteX42499" fmla="*/ 3774643 w 8079933"/>
              <a:gd name="connsiteY42499" fmla="*/ 2102938 h 4687251"/>
              <a:gd name="connsiteX42500" fmla="*/ 3768349 w 8079933"/>
              <a:gd name="connsiteY42500" fmla="*/ 2103480 h 4687251"/>
              <a:gd name="connsiteX42501" fmla="*/ 3761296 w 8079933"/>
              <a:gd name="connsiteY42501" fmla="*/ 2107378 h 4687251"/>
              <a:gd name="connsiteX42502" fmla="*/ 3756738 w 8079933"/>
              <a:gd name="connsiteY42502" fmla="*/ 2104670 h 4687251"/>
              <a:gd name="connsiteX42503" fmla="*/ 3746754 w 8079933"/>
              <a:gd name="connsiteY42503" fmla="*/ 2100773 h 4687251"/>
              <a:gd name="connsiteX42504" fmla="*/ 3739701 w 8079933"/>
              <a:gd name="connsiteY42504" fmla="*/ 2105537 h 4687251"/>
              <a:gd name="connsiteX42505" fmla="*/ 3737964 w 8079933"/>
              <a:gd name="connsiteY42505" fmla="*/ 2104129 h 4687251"/>
              <a:gd name="connsiteX42506" fmla="*/ 3739701 w 8079933"/>
              <a:gd name="connsiteY42506" fmla="*/ 2101423 h 4687251"/>
              <a:gd name="connsiteX42507" fmla="*/ 3742088 w 8079933"/>
              <a:gd name="connsiteY42507" fmla="*/ 2092436 h 4687251"/>
              <a:gd name="connsiteX42508" fmla="*/ 3741763 w 8079933"/>
              <a:gd name="connsiteY42508" fmla="*/ 2079768 h 4687251"/>
              <a:gd name="connsiteX42509" fmla="*/ 3744041 w 8079933"/>
              <a:gd name="connsiteY42509" fmla="*/ 2074246 h 4687251"/>
              <a:gd name="connsiteX42510" fmla="*/ 3742414 w 8079933"/>
              <a:gd name="connsiteY42510" fmla="*/ 2067859 h 4687251"/>
              <a:gd name="connsiteX42511" fmla="*/ 3745018 w 8079933"/>
              <a:gd name="connsiteY42511" fmla="*/ 2064611 h 4687251"/>
              <a:gd name="connsiteX42512" fmla="*/ 3738833 w 8079933"/>
              <a:gd name="connsiteY42512" fmla="*/ 2064503 h 4687251"/>
              <a:gd name="connsiteX42513" fmla="*/ 3735251 w 8079933"/>
              <a:gd name="connsiteY42513" fmla="*/ 2067859 h 4687251"/>
              <a:gd name="connsiteX42514" fmla="*/ 3733082 w 8079933"/>
              <a:gd name="connsiteY42514" fmla="*/ 2065585 h 4687251"/>
              <a:gd name="connsiteX42515" fmla="*/ 3733407 w 8079933"/>
              <a:gd name="connsiteY42515" fmla="*/ 2060497 h 4687251"/>
              <a:gd name="connsiteX42516" fmla="*/ 3740461 w 8079933"/>
              <a:gd name="connsiteY42516" fmla="*/ 2057032 h 4687251"/>
              <a:gd name="connsiteX42517" fmla="*/ 3739158 w 8079933"/>
              <a:gd name="connsiteY42517" fmla="*/ 2054542 h 4687251"/>
              <a:gd name="connsiteX42518" fmla="*/ 3739918 w 8079933"/>
              <a:gd name="connsiteY42518" fmla="*/ 2051510 h 4687251"/>
              <a:gd name="connsiteX42519" fmla="*/ 3735035 w 8079933"/>
              <a:gd name="connsiteY42519" fmla="*/ 2054542 h 4687251"/>
              <a:gd name="connsiteX42520" fmla="*/ 3732647 w 8079933"/>
              <a:gd name="connsiteY42520" fmla="*/ 2057898 h 4687251"/>
              <a:gd name="connsiteX42521" fmla="*/ 3727764 w 8079933"/>
              <a:gd name="connsiteY42521" fmla="*/ 2057898 h 4687251"/>
              <a:gd name="connsiteX42522" fmla="*/ 3727547 w 8079933"/>
              <a:gd name="connsiteY42522" fmla="*/ 2054542 h 4687251"/>
              <a:gd name="connsiteX42523" fmla="*/ 3730910 w 8079933"/>
              <a:gd name="connsiteY42523" fmla="*/ 2040683 h 4687251"/>
              <a:gd name="connsiteX42524" fmla="*/ 3737205 w 8079933"/>
              <a:gd name="connsiteY42524" fmla="*/ 2031588 h 4687251"/>
              <a:gd name="connsiteX42525" fmla="*/ 3737205 w 8079933"/>
              <a:gd name="connsiteY42525" fmla="*/ 2027041 h 4687251"/>
              <a:gd name="connsiteX42526" fmla="*/ 3742631 w 8079933"/>
              <a:gd name="connsiteY42526" fmla="*/ 2019353 h 4687251"/>
              <a:gd name="connsiteX42527" fmla="*/ 3742956 w 8079933"/>
              <a:gd name="connsiteY42527" fmla="*/ 2011559 h 4687251"/>
              <a:gd name="connsiteX42528" fmla="*/ 3745886 w 8079933"/>
              <a:gd name="connsiteY42528" fmla="*/ 2005387 h 4687251"/>
              <a:gd name="connsiteX42529" fmla="*/ 3748382 w 8079933"/>
              <a:gd name="connsiteY42529" fmla="*/ 2002031 h 4687251"/>
              <a:gd name="connsiteX42530" fmla="*/ 3745018 w 8079933"/>
              <a:gd name="connsiteY42530" fmla="*/ 1998025 h 4687251"/>
              <a:gd name="connsiteX42531" fmla="*/ 3746754 w 8079933"/>
              <a:gd name="connsiteY42531" fmla="*/ 1991420 h 4687251"/>
              <a:gd name="connsiteX42532" fmla="*/ 3745886 w 8079933"/>
              <a:gd name="connsiteY42532" fmla="*/ 1989038 h 4687251"/>
              <a:gd name="connsiteX42533" fmla="*/ 3747514 w 8079933"/>
              <a:gd name="connsiteY42533" fmla="*/ 1973988 h 4687251"/>
              <a:gd name="connsiteX42534" fmla="*/ 3743933 w 8079933"/>
              <a:gd name="connsiteY42534" fmla="*/ 1965976 h 4687251"/>
              <a:gd name="connsiteX42535" fmla="*/ 3743499 w 8079933"/>
              <a:gd name="connsiteY42535" fmla="*/ 1960996 h 4687251"/>
              <a:gd name="connsiteX42536" fmla="*/ 3754025 w 8079933"/>
              <a:gd name="connsiteY42536" fmla="*/ 1959264 h 4687251"/>
              <a:gd name="connsiteX42537" fmla="*/ 3757987 w 8079933"/>
              <a:gd name="connsiteY42537" fmla="*/ 1960332 h 4687251"/>
              <a:gd name="connsiteX42538" fmla="*/ 3758039 w 8079933"/>
              <a:gd name="connsiteY42538" fmla="*/ 1959913 h 4687251"/>
              <a:gd name="connsiteX42539" fmla="*/ 3754025 w 8079933"/>
              <a:gd name="connsiteY42539" fmla="*/ 1958830 h 4687251"/>
              <a:gd name="connsiteX42540" fmla="*/ 3743172 w 8079933"/>
              <a:gd name="connsiteY42540" fmla="*/ 1960455 h 4687251"/>
              <a:gd name="connsiteX42541" fmla="*/ 3743172 w 8079933"/>
              <a:gd name="connsiteY42541" fmla="*/ 1959155 h 4687251"/>
              <a:gd name="connsiteX42542" fmla="*/ 3748815 w 8079933"/>
              <a:gd name="connsiteY42542" fmla="*/ 1954283 h 4687251"/>
              <a:gd name="connsiteX42543" fmla="*/ 3744800 w 8079933"/>
              <a:gd name="connsiteY42543" fmla="*/ 1953525 h 4687251"/>
              <a:gd name="connsiteX42544" fmla="*/ 3747513 w 8079933"/>
              <a:gd name="connsiteY42544" fmla="*/ 1950602 h 4687251"/>
              <a:gd name="connsiteX42545" fmla="*/ 3745668 w 8079933"/>
              <a:gd name="connsiteY42545" fmla="*/ 1948761 h 4687251"/>
              <a:gd name="connsiteX42546" fmla="*/ 3746753 w 8079933"/>
              <a:gd name="connsiteY42546" fmla="*/ 1943673 h 4687251"/>
              <a:gd name="connsiteX42547" fmla="*/ 3742955 w 8079933"/>
              <a:gd name="connsiteY42547" fmla="*/ 1947245 h 4687251"/>
              <a:gd name="connsiteX42548" fmla="*/ 3741111 w 8079933"/>
              <a:gd name="connsiteY42548" fmla="*/ 1946488 h 4687251"/>
              <a:gd name="connsiteX42549" fmla="*/ 3742413 w 8079933"/>
              <a:gd name="connsiteY42549" fmla="*/ 1939774 h 4687251"/>
              <a:gd name="connsiteX42550" fmla="*/ 3740459 w 8079933"/>
              <a:gd name="connsiteY42550" fmla="*/ 1938909 h 4687251"/>
              <a:gd name="connsiteX42551" fmla="*/ 3740459 w 8079933"/>
              <a:gd name="connsiteY42551" fmla="*/ 1936202 h 4687251"/>
              <a:gd name="connsiteX42552" fmla="*/ 3737421 w 8079933"/>
              <a:gd name="connsiteY42552" fmla="*/ 1937284 h 4687251"/>
              <a:gd name="connsiteX42553" fmla="*/ 3735251 w 8079933"/>
              <a:gd name="connsiteY42553" fmla="*/ 1932196 h 4687251"/>
              <a:gd name="connsiteX42554" fmla="*/ 3737746 w 8079933"/>
              <a:gd name="connsiteY42554" fmla="*/ 1926999 h 4687251"/>
              <a:gd name="connsiteX42555" fmla="*/ 3746753 w 8079933"/>
              <a:gd name="connsiteY42555" fmla="*/ 1923751 h 4687251"/>
              <a:gd name="connsiteX42556" fmla="*/ 3749792 w 8079933"/>
              <a:gd name="connsiteY42556" fmla="*/ 1925159 h 4687251"/>
              <a:gd name="connsiteX42557" fmla="*/ 3757388 w 8079933"/>
              <a:gd name="connsiteY42557" fmla="*/ 1924292 h 4687251"/>
              <a:gd name="connsiteX42558" fmla="*/ 3760969 w 8079933"/>
              <a:gd name="connsiteY42558" fmla="*/ 1921586 h 4687251"/>
              <a:gd name="connsiteX42559" fmla="*/ 3758039 w 8079933"/>
              <a:gd name="connsiteY42559" fmla="*/ 1919637 h 4687251"/>
              <a:gd name="connsiteX42560" fmla="*/ 3757497 w 8079933"/>
              <a:gd name="connsiteY42560" fmla="*/ 1916388 h 4687251"/>
              <a:gd name="connsiteX42561" fmla="*/ 3766178 w 8079933"/>
              <a:gd name="connsiteY42561" fmla="*/ 1911516 h 4687251"/>
              <a:gd name="connsiteX42562" fmla="*/ 3767480 w 8079933"/>
              <a:gd name="connsiteY42562" fmla="*/ 1913140 h 4687251"/>
              <a:gd name="connsiteX42563" fmla="*/ 3771061 w 8079933"/>
              <a:gd name="connsiteY42563" fmla="*/ 1910650 h 4687251"/>
              <a:gd name="connsiteX42564" fmla="*/ 3777030 w 8079933"/>
              <a:gd name="connsiteY42564" fmla="*/ 1911949 h 4687251"/>
              <a:gd name="connsiteX42565" fmla="*/ 3782130 w 8079933"/>
              <a:gd name="connsiteY42565" fmla="*/ 1918229 h 4687251"/>
              <a:gd name="connsiteX42566" fmla="*/ 3786470 w 8079933"/>
              <a:gd name="connsiteY42566" fmla="*/ 1914656 h 4687251"/>
              <a:gd name="connsiteX42567" fmla="*/ 3792548 w 8079933"/>
              <a:gd name="connsiteY42567" fmla="*/ 1914656 h 4687251"/>
              <a:gd name="connsiteX42568" fmla="*/ 3798190 w 8079933"/>
              <a:gd name="connsiteY42568" fmla="*/ 1917038 h 4687251"/>
              <a:gd name="connsiteX42569" fmla="*/ 3804376 w 8079933"/>
              <a:gd name="connsiteY42569" fmla="*/ 1914548 h 4687251"/>
              <a:gd name="connsiteX42570" fmla="*/ 3811972 w 8079933"/>
              <a:gd name="connsiteY42570" fmla="*/ 1912382 h 4687251"/>
              <a:gd name="connsiteX42571" fmla="*/ 3813600 w 8079933"/>
              <a:gd name="connsiteY42571" fmla="*/ 1914548 h 4687251"/>
              <a:gd name="connsiteX42572" fmla="*/ 3819786 w 8079933"/>
              <a:gd name="connsiteY42572" fmla="*/ 1918013 h 4687251"/>
              <a:gd name="connsiteX42573" fmla="*/ 3836823 w 8079933"/>
              <a:gd name="connsiteY42573" fmla="*/ 1920719 h 4687251"/>
              <a:gd name="connsiteX42574" fmla="*/ 3844635 w 8079933"/>
              <a:gd name="connsiteY42574" fmla="*/ 1922560 h 4687251"/>
              <a:gd name="connsiteX42575" fmla="*/ 3856247 w 8079933"/>
              <a:gd name="connsiteY42575" fmla="*/ 1917688 h 4687251"/>
              <a:gd name="connsiteX42576" fmla="*/ 3864928 w 8079933"/>
              <a:gd name="connsiteY42576" fmla="*/ 1918445 h 4687251"/>
              <a:gd name="connsiteX42577" fmla="*/ 3866556 w 8079933"/>
              <a:gd name="connsiteY42577" fmla="*/ 1922235 h 4687251"/>
              <a:gd name="connsiteX42578" fmla="*/ 3875021 w 8079933"/>
              <a:gd name="connsiteY42578" fmla="*/ 1923859 h 4687251"/>
              <a:gd name="connsiteX42579" fmla="*/ 3879361 w 8079933"/>
              <a:gd name="connsiteY42579" fmla="*/ 1919528 h 4687251"/>
              <a:gd name="connsiteX42580" fmla="*/ 3883485 w 8079933"/>
              <a:gd name="connsiteY42580" fmla="*/ 1919528 h 4687251"/>
              <a:gd name="connsiteX42581" fmla="*/ 3896181 w 8079933"/>
              <a:gd name="connsiteY42581" fmla="*/ 1926890 h 4687251"/>
              <a:gd name="connsiteX42582" fmla="*/ 3898568 w 8079933"/>
              <a:gd name="connsiteY42582" fmla="*/ 1923426 h 4687251"/>
              <a:gd name="connsiteX42583" fmla="*/ 3902041 w 8079933"/>
              <a:gd name="connsiteY42583" fmla="*/ 1923426 h 4687251"/>
              <a:gd name="connsiteX42584" fmla="*/ 3903625 w 8079933"/>
              <a:gd name="connsiteY42584" fmla="*/ 1922511 h 4687251"/>
              <a:gd name="connsiteX42585" fmla="*/ 3903126 w 8079933"/>
              <a:gd name="connsiteY42585" fmla="*/ 1922236 h 4687251"/>
              <a:gd name="connsiteX42586" fmla="*/ 3908660 w 8079933"/>
              <a:gd name="connsiteY42586" fmla="*/ 1918987 h 4687251"/>
              <a:gd name="connsiteX42587" fmla="*/ 3913001 w 8079933"/>
              <a:gd name="connsiteY42587" fmla="*/ 1904912 h 4687251"/>
              <a:gd name="connsiteX42588" fmla="*/ 3914195 w 8079933"/>
              <a:gd name="connsiteY42588" fmla="*/ 1888672 h 4687251"/>
              <a:gd name="connsiteX42589" fmla="*/ 3917342 w 8079933"/>
              <a:gd name="connsiteY42589" fmla="*/ 1886398 h 4687251"/>
              <a:gd name="connsiteX42590" fmla="*/ 3913544 w 8079933"/>
              <a:gd name="connsiteY42590" fmla="*/ 1883800 h 4687251"/>
              <a:gd name="connsiteX42591" fmla="*/ 3913326 w 8079933"/>
              <a:gd name="connsiteY42591" fmla="*/ 1875138 h 4687251"/>
              <a:gd name="connsiteX42592" fmla="*/ 3915714 w 8079933"/>
              <a:gd name="connsiteY42592" fmla="*/ 1863228 h 4687251"/>
              <a:gd name="connsiteX42593" fmla="*/ 3918101 w 8079933"/>
              <a:gd name="connsiteY42593" fmla="*/ 1861604 h 4687251"/>
              <a:gd name="connsiteX42594" fmla="*/ 3922876 w 8079933"/>
              <a:gd name="connsiteY42594" fmla="*/ 1864202 h 4687251"/>
              <a:gd name="connsiteX42595" fmla="*/ 3924504 w 8079933"/>
              <a:gd name="connsiteY42595" fmla="*/ 1869941 h 4687251"/>
              <a:gd name="connsiteX42596" fmla="*/ 3930689 w 8079933"/>
              <a:gd name="connsiteY42596" fmla="*/ 1875896 h 4687251"/>
              <a:gd name="connsiteX42597" fmla="*/ 3925047 w 8079933"/>
              <a:gd name="connsiteY42597" fmla="*/ 1862362 h 4687251"/>
              <a:gd name="connsiteX42598" fmla="*/ 3917884 w 8079933"/>
              <a:gd name="connsiteY42598" fmla="*/ 1856732 h 4687251"/>
              <a:gd name="connsiteX42599" fmla="*/ 3913869 w 8079933"/>
              <a:gd name="connsiteY42599" fmla="*/ 1855866 h 4687251"/>
              <a:gd name="connsiteX42600" fmla="*/ 3914954 w 8079933"/>
              <a:gd name="connsiteY42600" fmla="*/ 1851751 h 4687251"/>
              <a:gd name="connsiteX42601" fmla="*/ 3916039 w 8079933"/>
              <a:gd name="connsiteY42601" fmla="*/ 1851210 h 4687251"/>
              <a:gd name="connsiteX42602" fmla="*/ 3917884 w 8079933"/>
              <a:gd name="connsiteY42602" fmla="*/ 1846447 h 4687251"/>
              <a:gd name="connsiteX42603" fmla="*/ 3915714 w 8079933"/>
              <a:gd name="connsiteY42603" fmla="*/ 1843090 h 4687251"/>
              <a:gd name="connsiteX42604" fmla="*/ 3915931 w 8079933"/>
              <a:gd name="connsiteY42604" fmla="*/ 1838867 h 4687251"/>
              <a:gd name="connsiteX42605" fmla="*/ 3910288 w 8079933"/>
              <a:gd name="connsiteY42605" fmla="*/ 1835619 h 4687251"/>
              <a:gd name="connsiteX42606" fmla="*/ 3904537 w 8079933"/>
              <a:gd name="connsiteY42606" fmla="*/ 1834753 h 4687251"/>
              <a:gd name="connsiteX42607" fmla="*/ 3898460 w 8079933"/>
              <a:gd name="connsiteY42607" fmla="*/ 1827390 h 4687251"/>
              <a:gd name="connsiteX42608" fmla="*/ 3894553 w 8079933"/>
              <a:gd name="connsiteY42608" fmla="*/ 1826849 h 4687251"/>
              <a:gd name="connsiteX42609" fmla="*/ 3893685 w 8079933"/>
              <a:gd name="connsiteY42609" fmla="*/ 1823709 h 4687251"/>
              <a:gd name="connsiteX42610" fmla="*/ 3895747 w 8079933"/>
              <a:gd name="connsiteY42610" fmla="*/ 1819812 h 4687251"/>
              <a:gd name="connsiteX42611" fmla="*/ 3894879 w 8079933"/>
              <a:gd name="connsiteY42611" fmla="*/ 1815048 h 4687251"/>
              <a:gd name="connsiteX42612" fmla="*/ 3892383 w 8079933"/>
              <a:gd name="connsiteY42612" fmla="*/ 1813965 h 4687251"/>
              <a:gd name="connsiteX42613" fmla="*/ 3895096 w 8079933"/>
              <a:gd name="connsiteY42613" fmla="*/ 1810176 h 4687251"/>
              <a:gd name="connsiteX42614" fmla="*/ 3899437 w 8079933"/>
              <a:gd name="connsiteY42614" fmla="*/ 1810068 h 4687251"/>
              <a:gd name="connsiteX42615" fmla="*/ 3903235 w 8079933"/>
              <a:gd name="connsiteY42615" fmla="*/ 1812233 h 4687251"/>
              <a:gd name="connsiteX42616" fmla="*/ 3900087 w 8079933"/>
              <a:gd name="connsiteY42616" fmla="*/ 1808010 h 4687251"/>
              <a:gd name="connsiteX42617" fmla="*/ 3895312 w 8079933"/>
              <a:gd name="connsiteY42617" fmla="*/ 1807469 h 4687251"/>
              <a:gd name="connsiteX42618" fmla="*/ 3890755 w 8079933"/>
              <a:gd name="connsiteY42618" fmla="*/ 1810392 h 4687251"/>
              <a:gd name="connsiteX42619" fmla="*/ 3887825 w 8079933"/>
              <a:gd name="connsiteY42619" fmla="*/ 1810176 h 4687251"/>
              <a:gd name="connsiteX42620" fmla="*/ 3885655 w 8079933"/>
              <a:gd name="connsiteY42620" fmla="*/ 1806819 h 4687251"/>
              <a:gd name="connsiteX42621" fmla="*/ 3887500 w 8079933"/>
              <a:gd name="connsiteY42621" fmla="*/ 1802055 h 4687251"/>
              <a:gd name="connsiteX42622" fmla="*/ 3885112 w 8079933"/>
              <a:gd name="connsiteY42622" fmla="*/ 1799782 h 4687251"/>
              <a:gd name="connsiteX42623" fmla="*/ 3881206 w 8079933"/>
              <a:gd name="connsiteY42623" fmla="*/ 1802055 h 4687251"/>
              <a:gd name="connsiteX42624" fmla="*/ 3879904 w 8079933"/>
              <a:gd name="connsiteY42624" fmla="*/ 1800431 h 4687251"/>
              <a:gd name="connsiteX42625" fmla="*/ 3880772 w 8079933"/>
              <a:gd name="connsiteY42625" fmla="*/ 1797725 h 4687251"/>
              <a:gd name="connsiteX42626" fmla="*/ 3878384 w 8079933"/>
              <a:gd name="connsiteY42626" fmla="*/ 1797184 h 4687251"/>
              <a:gd name="connsiteX42627" fmla="*/ 3874694 w 8079933"/>
              <a:gd name="connsiteY42627" fmla="*/ 1800648 h 4687251"/>
              <a:gd name="connsiteX42628" fmla="*/ 3869378 w 8079933"/>
              <a:gd name="connsiteY42628" fmla="*/ 1797184 h 4687251"/>
              <a:gd name="connsiteX42629" fmla="*/ 3866339 w 8079933"/>
              <a:gd name="connsiteY42629" fmla="*/ 1797184 h 4687251"/>
              <a:gd name="connsiteX42630" fmla="*/ 3864711 w 8079933"/>
              <a:gd name="connsiteY42630" fmla="*/ 1794476 h 4687251"/>
              <a:gd name="connsiteX42631" fmla="*/ 3857115 w 8079933"/>
              <a:gd name="connsiteY42631" fmla="*/ 1791445 h 4687251"/>
              <a:gd name="connsiteX42632" fmla="*/ 3854185 w 8079933"/>
              <a:gd name="connsiteY42632" fmla="*/ 1791986 h 4687251"/>
              <a:gd name="connsiteX42633" fmla="*/ 3850821 w 8079933"/>
              <a:gd name="connsiteY42633" fmla="*/ 1791120 h 4687251"/>
              <a:gd name="connsiteX42634" fmla="*/ 3845938 w 8079933"/>
              <a:gd name="connsiteY42634" fmla="*/ 1794368 h 4687251"/>
              <a:gd name="connsiteX42635" fmla="*/ 3846372 w 8079933"/>
              <a:gd name="connsiteY42635" fmla="*/ 1791445 h 4687251"/>
              <a:gd name="connsiteX42636" fmla="*/ 3844635 w 8079933"/>
              <a:gd name="connsiteY42636" fmla="*/ 1786356 h 4687251"/>
              <a:gd name="connsiteX42637" fmla="*/ 3840404 w 8079933"/>
              <a:gd name="connsiteY42637" fmla="*/ 1786356 h 4687251"/>
              <a:gd name="connsiteX42638" fmla="*/ 3840295 w 8079933"/>
              <a:gd name="connsiteY42638" fmla="*/ 1785165 h 4687251"/>
              <a:gd name="connsiteX42639" fmla="*/ 3844635 w 8079933"/>
              <a:gd name="connsiteY42639" fmla="*/ 1783541 h 4687251"/>
              <a:gd name="connsiteX42640" fmla="*/ 3847348 w 8079933"/>
              <a:gd name="connsiteY42640" fmla="*/ 1782458 h 4687251"/>
              <a:gd name="connsiteX42641" fmla="*/ 3846589 w 8079933"/>
              <a:gd name="connsiteY42641" fmla="*/ 1779319 h 4687251"/>
              <a:gd name="connsiteX42642" fmla="*/ 3843659 w 8079933"/>
              <a:gd name="connsiteY42642" fmla="*/ 1778236 h 4687251"/>
              <a:gd name="connsiteX42643" fmla="*/ 3842248 w 8079933"/>
              <a:gd name="connsiteY42643" fmla="*/ 1781701 h 4687251"/>
              <a:gd name="connsiteX42644" fmla="*/ 3840621 w 8079933"/>
              <a:gd name="connsiteY42644" fmla="*/ 1777153 h 4687251"/>
              <a:gd name="connsiteX42645" fmla="*/ 3843334 w 8079933"/>
              <a:gd name="connsiteY42645" fmla="*/ 1776828 h 4687251"/>
              <a:gd name="connsiteX42646" fmla="*/ 3847891 w 8079933"/>
              <a:gd name="connsiteY42646" fmla="*/ 1777695 h 4687251"/>
              <a:gd name="connsiteX42647" fmla="*/ 3846806 w 8079933"/>
              <a:gd name="connsiteY42647" fmla="*/ 1776070 h 4687251"/>
              <a:gd name="connsiteX42648" fmla="*/ 3842682 w 8079933"/>
              <a:gd name="connsiteY42648" fmla="*/ 1774879 h 4687251"/>
              <a:gd name="connsiteX42649" fmla="*/ 3838450 w 8079933"/>
              <a:gd name="connsiteY42649" fmla="*/ 1776287 h 4687251"/>
              <a:gd name="connsiteX42650" fmla="*/ 3836714 w 8079933"/>
              <a:gd name="connsiteY42650" fmla="*/ 1773256 h 4687251"/>
              <a:gd name="connsiteX42651" fmla="*/ 3839969 w 8079933"/>
              <a:gd name="connsiteY42651" fmla="*/ 1769466 h 4687251"/>
              <a:gd name="connsiteX42652" fmla="*/ 3847131 w 8079933"/>
              <a:gd name="connsiteY42652" fmla="*/ 1768925 h 4687251"/>
              <a:gd name="connsiteX42653" fmla="*/ 3850278 w 8079933"/>
              <a:gd name="connsiteY42653" fmla="*/ 1765785 h 4687251"/>
              <a:gd name="connsiteX42654" fmla="*/ 3855053 w 8079933"/>
              <a:gd name="connsiteY42654" fmla="*/ 1765243 h 4687251"/>
              <a:gd name="connsiteX42655" fmla="*/ 3857441 w 8079933"/>
              <a:gd name="connsiteY42655" fmla="*/ 1766868 h 4687251"/>
              <a:gd name="connsiteX42656" fmla="*/ 3860154 w 8079933"/>
              <a:gd name="connsiteY42656" fmla="*/ 1764377 h 4687251"/>
              <a:gd name="connsiteX42657" fmla="*/ 3862541 w 8079933"/>
              <a:gd name="connsiteY42657" fmla="*/ 1765676 h 4687251"/>
              <a:gd name="connsiteX42658" fmla="*/ 3866990 w 8079933"/>
              <a:gd name="connsiteY42658" fmla="*/ 1761454 h 4687251"/>
              <a:gd name="connsiteX42659" fmla="*/ 3872633 w 8079933"/>
              <a:gd name="connsiteY42659" fmla="*/ 1760263 h 4687251"/>
              <a:gd name="connsiteX42660" fmla="*/ 3876431 w 8079933"/>
              <a:gd name="connsiteY42660" fmla="*/ 1761454 h 4687251"/>
              <a:gd name="connsiteX42661" fmla="*/ 3883159 w 8079933"/>
              <a:gd name="connsiteY42661" fmla="*/ 1770332 h 4687251"/>
              <a:gd name="connsiteX42662" fmla="*/ 3888368 w 8079933"/>
              <a:gd name="connsiteY42662" fmla="*/ 1766001 h 4687251"/>
              <a:gd name="connsiteX42663" fmla="*/ 3889996 w 8079933"/>
              <a:gd name="connsiteY42663" fmla="*/ 1767625 h 4687251"/>
              <a:gd name="connsiteX42664" fmla="*/ 3894227 w 8079933"/>
              <a:gd name="connsiteY42664" fmla="*/ 1766542 h 4687251"/>
              <a:gd name="connsiteX42665" fmla="*/ 3897592 w 8079933"/>
              <a:gd name="connsiteY42665" fmla="*/ 1767409 h 4687251"/>
              <a:gd name="connsiteX42666" fmla="*/ 3901173 w 8079933"/>
              <a:gd name="connsiteY42666" fmla="*/ 1766218 h 4687251"/>
              <a:gd name="connsiteX42667" fmla="*/ 3909528 w 8079933"/>
              <a:gd name="connsiteY42667" fmla="*/ 1767301 h 4687251"/>
              <a:gd name="connsiteX42668" fmla="*/ 3908986 w 8079933"/>
              <a:gd name="connsiteY42668" fmla="*/ 1763078 h 4687251"/>
              <a:gd name="connsiteX42669" fmla="*/ 3906490 w 8079933"/>
              <a:gd name="connsiteY42669" fmla="*/ 1759830 h 4687251"/>
              <a:gd name="connsiteX42670" fmla="*/ 3907358 w 8079933"/>
              <a:gd name="connsiteY42670" fmla="*/ 1756257 h 4687251"/>
              <a:gd name="connsiteX42671" fmla="*/ 3906273 w 8079933"/>
              <a:gd name="connsiteY42671" fmla="*/ 1752684 h 4687251"/>
              <a:gd name="connsiteX42672" fmla="*/ 3907792 w 8079933"/>
              <a:gd name="connsiteY42672" fmla="*/ 1750302 h 4687251"/>
              <a:gd name="connsiteX42673" fmla="*/ 3899762 w 8079933"/>
              <a:gd name="connsiteY42673" fmla="*/ 1742940 h 4687251"/>
              <a:gd name="connsiteX42674" fmla="*/ 3900630 w 8079933"/>
              <a:gd name="connsiteY42674" fmla="*/ 1740557 h 4687251"/>
              <a:gd name="connsiteX42675" fmla="*/ 3899111 w 8079933"/>
              <a:gd name="connsiteY42675" fmla="*/ 1735144 h 4687251"/>
              <a:gd name="connsiteX42676" fmla="*/ 3901607 w 8079933"/>
              <a:gd name="connsiteY42676" fmla="*/ 1736226 h 4687251"/>
              <a:gd name="connsiteX42677" fmla="*/ 3907250 w 8079933"/>
              <a:gd name="connsiteY42677" fmla="*/ 1736444 h 4687251"/>
              <a:gd name="connsiteX42678" fmla="*/ 3911156 w 8079933"/>
              <a:gd name="connsiteY42678" fmla="*/ 1734928 h 4687251"/>
              <a:gd name="connsiteX42679" fmla="*/ 3914954 w 8079933"/>
              <a:gd name="connsiteY42679" fmla="*/ 1736768 h 4687251"/>
              <a:gd name="connsiteX42680" fmla="*/ 3913544 w 8079933"/>
              <a:gd name="connsiteY42680" fmla="*/ 1740557 h 4687251"/>
              <a:gd name="connsiteX42681" fmla="*/ 3916582 w 8079933"/>
              <a:gd name="connsiteY42681" fmla="*/ 1742940 h 4687251"/>
              <a:gd name="connsiteX42682" fmla="*/ 3918101 w 8079933"/>
              <a:gd name="connsiteY42682" fmla="*/ 1746187 h 4687251"/>
              <a:gd name="connsiteX42683" fmla="*/ 3921465 w 8079933"/>
              <a:gd name="connsiteY42683" fmla="*/ 1744130 h 4687251"/>
              <a:gd name="connsiteX42684" fmla="*/ 3925589 w 8079933"/>
              <a:gd name="connsiteY42684" fmla="*/ 1746296 h 4687251"/>
              <a:gd name="connsiteX42685" fmla="*/ 3935030 w 8079933"/>
              <a:gd name="connsiteY42685" fmla="*/ 1747595 h 4687251"/>
              <a:gd name="connsiteX42686" fmla="*/ 3941867 w 8079933"/>
              <a:gd name="connsiteY42686" fmla="*/ 1746187 h 4687251"/>
              <a:gd name="connsiteX42687" fmla="*/ 3947509 w 8079933"/>
              <a:gd name="connsiteY42687" fmla="*/ 1742181 h 4687251"/>
              <a:gd name="connsiteX42688" fmla="*/ 3943386 w 8079933"/>
              <a:gd name="connsiteY42688" fmla="*/ 1740774 h 4687251"/>
              <a:gd name="connsiteX42689" fmla="*/ 3941758 w 8079933"/>
              <a:gd name="connsiteY42689" fmla="*/ 1737851 h 4687251"/>
              <a:gd name="connsiteX42690" fmla="*/ 3943928 w 8079933"/>
              <a:gd name="connsiteY42690" fmla="*/ 1733736 h 4687251"/>
              <a:gd name="connsiteX42691" fmla="*/ 3952935 w 8079933"/>
              <a:gd name="connsiteY42691" fmla="*/ 1728864 h 4687251"/>
              <a:gd name="connsiteX42692" fmla="*/ 3957276 w 8079933"/>
              <a:gd name="connsiteY42692" fmla="*/ 1730271 h 4687251"/>
              <a:gd name="connsiteX42693" fmla="*/ 3961291 w 8079933"/>
              <a:gd name="connsiteY42693" fmla="*/ 1730055 h 4687251"/>
              <a:gd name="connsiteX42694" fmla="*/ 3968887 w 8079933"/>
              <a:gd name="connsiteY42694" fmla="*/ 1727890 h 4687251"/>
              <a:gd name="connsiteX42695" fmla="*/ 3968887 w 8079933"/>
              <a:gd name="connsiteY42695" fmla="*/ 1725075 h 4687251"/>
              <a:gd name="connsiteX42696" fmla="*/ 3975724 w 8079933"/>
              <a:gd name="connsiteY42696" fmla="*/ 1718362 h 4687251"/>
              <a:gd name="connsiteX42697" fmla="*/ 3977134 w 8079933"/>
              <a:gd name="connsiteY42697" fmla="*/ 1709484 h 4687251"/>
              <a:gd name="connsiteX42698" fmla="*/ 3976049 w 8079933"/>
              <a:gd name="connsiteY42698" fmla="*/ 1703962 h 4687251"/>
              <a:gd name="connsiteX42699" fmla="*/ 3977785 w 8079933"/>
              <a:gd name="connsiteY42699" fmla="*/ 1699198 h 4687251"/>
              <a:gd name="connsiteX42700" fmla="*/ 3984622 w 8079933"/>
              <a:gd name="connsiteY42700" fmla="*/ 1695300 h 4687251"/>
              <a:gd name="connsiteX42701" fmla="*/ 3986576 w 8079933"/>
              <a:gd name="connsiteY42701" fmla="*/ 1696924 h 4687251"/>
              <a:gd name="connsiteX42702" fmla="*/ 3995040 w 8079933"/>
              <a:gd name="connsiteY42702" fmla="*/ 1694001 h 4687251"/>
              <a:gd name="connsiteX42703" fmla="*/ 3995799 w 8079933"/>
              <a:gd name="connsiteY42703" fmla="*/ 1692702 h 4687251"/>
              <a:gd name="connsiteX42704" fmla="*/ 3995799 w 8079933"/>
              <a:gd name="connsiteY42704" fmla="*/ 1692702 h 4687251"/>
              <a:gd name="connsiteX42705" fmla="*/ 3999054 w 8079933"/>
              <a:gd name="connsiteY42705" fmla="*/ 1686747 h 4687251"/>
              <a:gd name="connsiteX42706" fmla="*/ 4003937 w 8079933"/>
              <a:gd name="connsiteY42706" fmla="*/ 1682958 h 4687251"/>
              <a:gd name="connsiteX42707" fmla="*/ 4005750 w 8079933"/>
              <a:gd name="connsiteY42707" fmla="*/ 1683826 h 4687251"/>
              <a:gd name="connsiteX42708" fmla="*/ 4003938 w 8079933"/>
              <a:gd name="connsiteY42708" fmla="*/ 1682958 h 4687251"/>
              <a:gd name="connsiteX42709" fmla="*/ 4004155 w 8079933"/>
              <a:gd name="connsiteY42709" fmla="*/ 1682850 h 4687251"/>
              <a:gd name="connsiteX42710" fmla="*/ 4008278 w 8079933"/>
              <a:gd name="connsiteY42710" fmla="*/ 1682850 h 4687251"/>
              <a:gd name="connsiteX42711" fmla="*/ 4014789 w 8079933"/>
              <a:gd name="connsiteY42711" fmla="*/ 1685015 h 4687251"/>
              <a:gd name="connsiteX42712" fmla="*/ 4017502 w 8079933"/>
              <a:gd name="connsiteY42712" fmla="*/ 1684798 h 4687251"/>
              <a:gd name="connsiteX42713" fmla="*/ 4021843 w 8079933"/>
              <a:gd name="connsiteY42713" fmla="*/ 1686423 h 4687251"/>
              <a:gd name="connsiteX42714" fmla="*/ 4017286 w 8079933"/>
              <a:gd name="connsiteY42714" fmla="*/ 1683391 h 4687251"/>
              <a:gd name="connsiteX42715" fmla="*/ 4016092 w 8079933"/>
              <a:gd name="connsiteY42715" fmla="*/ 1683933 h 4687251"/>
              <a:gd name="connsiteX42716" fmla="*/ 4012619 w 8079933"/>
              <a:gd name="connsiteY42716" fmla="*/ 1680684 h 4687251"/>
              <a:gd name="connsiteX42717" fmla="*/ 4008821 w 8079933"/>
              <a:gd name="connsiteY42717" fmla="*/ 1680251 h 4687251"/>
              <a:gd name="connsiteX42718" fmla="*/ 4007410 w 8079933"/>
              <a:gd name="connsiteY42718" fmla="*/ 1678086 h 4687251"/>
              <a:gd name="connsiteX42719" fmla="*/ 4011317 w 8079933"/>
              <a:gd name="connsiteY42719" fmla="*/ 1676462 h 4687251"/>
              <a:gd name="connsiteX42720" fmla="*/ 4015549 w 8079933"/>
              <a:gd name="connsiteY42720" fmla="*/ 1678519 h 4687251"/>
              <a:gd name="connsiteX42721" fmla="*/ 4019455 w 8079933"/>
              <a:gd name="connsiteY42721" fmla="*/ 1682633 h 4687251"/>
              <a:gd name="connsiteX42722" fmla="*/ 4023796 w 8079933"/>
              <a:gd name="connsiteY42722" fmla="*/ 1682417 h 4687251"/>
              <a:gd name="connsiteX42723" fmla="*/ 4023688 w 8079933"/>
              <a:gd name="connsiteY42723" fmla="*/ 1680143 h 4687251"/>
              <a:gd name="connsiteX42724" fmla="*/ 4020975 w 8079933"/>
              <a:gd name="connsiteY42724" fmla="*/ 1679710 h 4687251"/>
              <a:gd name="connsiteX42725" fmla="*/ 4018804 w 8079933"/>
              <a:gd name="connsiteY42725" fmla="*/ 1677003 h 4687251"/>
              <a:gd name="connsiteX42726" fmla="*/ 4020432 w 8079933"/>
              <a:gd name="connsiteY42726" fmla="*/ 1675596 h 4687251"/>
              <a:gd name="connsiteX42727" fmla="*/ 4022928 w 8079933"/>
              <a:gd name="connsiteY42727" fmla="*/ 1673430 h 4687251"/>
              <a:gd name="connsiteX42728" fmla="*/ 4028354 w 8079933"/>
              <a:gd name="connsiteY42728" fmla="*/ 1673430 h 4687251"/>
              <a:gd name="connsiteX42729" fmla="*/ 4023470 w 8079933"/>
              <a:gd name="connsiteY42729" fmla="*/ 1672023 h 4687251"/>
              <a:gd name="connsiteX42730" fmla="*/ 4018045 w 8079933"/>
              <a:gd name="connsiteY42730" fmla="*/ 1667150 h 4687251"/>
              <a:gd name="connsiteX42731" fmla="*/ 4017828 w 8079933"/>
              <a:gd name="connsiteY42731" fmla="*/ 1663470 h 4687251"/>
              <a:gd name="connsiteX42732" fmla="*/ 4021517 w 8079933"/>
              <a:gd name="connsiteY42732" fmla="*/ 1660762 h 4687251"/>
              <a:gd name="connsiteX42733" fmla="*/ 4023145 w 8079933"/>
              <a:gd name="connsiteY42733" fmla="*/ 1657948 h 4687251"/>
              <a:gd name="connsiteX42734" fmla="*/ 4025098 w 8079933"/>
              <a:gd name="connsiteY42734" fmla="*/ 1653725 h 4687251"/>
              <a:gd name="connsiteX42735" fmla="*/ 4026183 w 8079933"/>
              <a:gd name="connsiteY42735" fmla="*/ 1648744 h 4687251"/>
              <a:gd name="connsiteX42736" fmla="*/ 4024773 w 8079933"/>
              <a:gd name="connsiteY42736" fmla="*/ 1643115 h 4687251"/>
              <a:gd name="connsiteX42737" fmla="*/ 4029439 w 8079933"/>
              <a:gd name="connsiteY42737" fmla="*/ 1639542 h 4687251"/>
              <a:gd name="connsiteX42738" fmla="*/ 4029656 w 8079933"/>
              <a:gd name="connsiteY42738" fmla="*/ 1633695 h 4687251"/>
              <a:gd name="connsiteX42739" fmla="*/ 4034756 w 8079933"/>
              <a:gd name="connsiteY42739" fmla="*/ 1631746 h 4687251"/>
              <a:gd name="connsiteX42740" fmla="*/ 4036492 w 8079933"/>
              <a:gd name="connsiteY42740" fmla="*/ 1633046 h 4687251"/>
              <a:gd name="connsiteX42741" fmla="*/ 4045173 w 8079933"/>
              <a:gd name="connsiteY42741" fmla="*/ 1628282 h 4687251"/>
              <a:gd name="connsiteX42742" fmla="*/ 4050599 w 8079933"/>
              <a:gd name="connsiteY42742" fmla="*/ 1622327 h 4687251"/>
              <a:gd name="connsiteX42743" fmla="*/ 4056459 w 8079933"/>
              <a:gd name="connsiteY42743" fmla="*/ 1622218 h 4687251"/>
              <a:gd name="connsiteX42744" fmla="*/ 4058955 w 8079933"/>
              <a:gd name="connsiteY42744" fmla="*/ 1620594 h 4687251"/>
              <a:gd name="connsiteX42745" fmla="*/ 4062862 w 8079933"/>
              <a:gd name="connsiteY42745" fmla="*/ 1622218 h 4687251"/>
              <a:gd name="connsiteX42746" fmla="*/ 4067094 w 8079933"/>
              <a:gd name="connsiteY42746" fmla="*/ 1618538 h 4687251"/>
              <a:gd name="connsiteX42747" fmla="*/ 4074148 w 8079933"/>
              <a:gd name="connsiteY42747" fmla="*/ 1617455 h 4687251"/>
              <a:gd name="connsiteX42748" fmla="*/ 4080875 w 8079933"/>
              <a:gd name="connsiteY42748" fmla="*/ 1620920 h 4687251"/>
              <a:gd name="connsiteX42749" fmla="*/ 4084457 w 8079933"/>
              <a:gd name="connsiteY42749" fmla="*/ 1624167 h 4687251"/>
              <a:gd name="connsiteX42750" fmla="*/ 4089014 w 8079933"/>
              <a:gd name="connsiteY42750" fmla="*/ 1625683 h 4687251"/>
              <a:gd name="connsiteX42751" fmla="*/ 4088906 w 8079933"/>
              <a:gd name="connsiteY42751" fmla="*/ 1626658 h 4687251"/>
              <a:gd name="connsiteX42752" fmla="*/ 4088907 w 8079933"/>
              <a:gd name="connsiteY42752" fmla="*/ 1626656 h 4687251"/>
              <a:gd name="connsiteX42753" fmla="*/ 4089015 w 8079933"/>
              <a:gd name="connsiteY42753" fmla="*/ 1625682 h 4687251"/>
              <a:gd name="connsiteX42754" fmla="*/ 4089450 w 8079933"/>
              <a:gd name="connsiteY42754" fmla="*/ 1625790 h 4687251"/>
              <a:gd name="connsiteX42755" fmla="*/ 4088365 w 8079933"/>
              <a:gd name="connsiteY42755" fmla="*/ 1621243 h 4687251"/>
              <a:gd name="connsiteX42756" fmla="*/ 4083156 w 8079933"/>
              <a:gd name="connsiteY42756" fmla="*/ 1620377 h 4687251"/>
              <a:gd name="connsiteX42757" fmla="*/ 4080986 w 8079933"/>
              <a:gd name="connsiteY42757" fmla="*/ 1616262 h 4687251"/>
              <a:gd name="connsiteX42758" fmla="*/ 4081854 w 8079933"/>
              <a:gd name="connsiteY42758" fmla="*/ 1611499 h 4687251"/>
              <a:gd name="connsiteX42759" fmla="*/ 4092597 w 8079933"/>
              <a:gd name="connsiteY42759" fmla="*/ 1608683 h 4687251"/>
              <a:gd name="connsiteX42760" fmla="*/ 4095635 w 8079933"/>
              <a:gd name="connsiteY42760" fmla="*/ 1607168 h 4687251"/>
              <a:gd name="connsiteX42761" fmla="*/ 4100844 w 8079933"/>
              <a:gd name="connsiteY42761" fmla="*/ 1610957 h 4687251"/>
              <a:gd name="connsiteX42762" fmla="*/ 4100844 w 8079933"/>
              <a:gd name="connsiteY42762" fmla="*/ 1616371 h 4687251"/>
              <a:gd name="connsiteX42763" fmla="*/ 4104859 w 8079933"/>
              <a:gd name="connsiteY42763" fmla="*/ 1621134 h 4687251"/>
              <a:gd name="connsiteX42764" fmla="*/ 4107247 w 8079933"/>
              <a:gd name="connsiteY42764" fmla="*/ 1618536 h 4687251"/>
              <a:gd name="connsiteX42765" fmla="*/ 4105076 w 8079933"/>
              <a:gd name="connsiteY42765" fmla="*/ 1614422 h 4687251"/>
              <a:gd name="connsiteX42766" fmla="*/ 4105076 w 8079933"/>
              <a:gd name="connsiteY42766" fmla="*/ 1610957 h 4687251"/>
              <a:gd name="connsiteX42767" fmla="*/ 4107247 w 8079933"/>
              <a:gd name="connsiteY42767" fmla="*/ 1610091 h 4687251"/>
              <a:gd name="connsiteX42768" fmla="*/ 4110719 w 8079933"/>
              <a:gd name="connsiteY42768" fmla="*/ 1613122 h 4687251"/>
              <a:gd name="connsiteX42769" fmla="*/ 4110285 w 8079933"/>
              <a:gd name="connsiteY42769" fmla="*/ 1618536 h 4687251"/>
              <a:gd name="connsiteX42770" fmla="*/ 4115494 w 8079933"/>
              <a:gd name="connsiteY42770" fmla="*/ 1624491 h 4687251"/>
              <a:gd name="connsiteX42771" fmla="*/ 4113432 w 8079933"/>
              <a:gd name="connsiteY42771" fmla="*/ 1620052 h 4687251"/>
              <a:gd name="connsiteX42772" fmla="*/ 4113215 w 8079933"/>
              <a:gd name="connsiteY42772" fmla="*/ 1613122 h 4687251"/>
              <a:gd name="connsiteX42773" fmla="*/ 4112238 w 8079933"/>
              <a:gd name="connsiteY42773" fmla="*/ 1609225 h 4687251"/>
              <a:gd name="connsiteX42774" fmla="*/ 4115168 w 8079933"/>
              <a:gd name="connsiteY42774" fmla="*/ 1604461 h 4687251"/>
              <a:gd name="connsiteX42775" fmla="*/ 4118966 w 8079933"/>
              <a:gd name="connsiteY42775" fmla="*/ 1603811 h 4687251"/>
              <a:gd name="connsiteX42776" fmla="*/ 4122764 w 8079933"/>
              <a:gd name="connsiteY42776" fmla="*/ 1605760 h 4687251"/>
              <a:gd name="connsiteX42777" fmla="*/ 4127865 w 8079933"/>
              <a:gd name="connsiteY42777" fmla="*/ 1603811 h 4687251"/>
              <a:gd name="connsiteX42778" fmla="*/ 4135352 w 8079933"/>
              <a:gd name="connsiteY42778" fmla="*/ 1612040 h 4687251"/>
              <a:gd name="connsiteX42779" fmla="*/ 4145770 w 8079933"/>
              <a:gd name="connsiteY42779" fmla="*/ 1614097 h 4687251"/>
              <a:gd name="connsiteX42780" fmla="*/ 4135895 w 8079933"/>
              <a:gd name="connsiteY42780" fmla="*/ 1609983 h 4687251"/>
              <a:gd name="connsiteX42781" fmla="*/ 4128407 w 8079933"/>
              <a:gd name="connsiteY42781" fmla="*/ 1602187 h 4687251"/>
              <a:gd name="connsiteX42782" fmla="*/ 4122547 w 8079933"/>
              <a:gd name="connsiteY42782" fmla="*/ 1601754 h 4687251"/>
              <a:gd name="connsiteX42783" fmla="*/ 4119400 w 8079933"/>
              <a:gd name="connsiteY42783" fmla="*/ 1599805 h 4687251"/>
              <a:gd name="connsiteX42784" fmla="*/ 4119400 w 8079933"/>
              <a:gd name="connsiteY42784" fmla="*/ 1596340 h 4687251"/>
              <a:gd name="connsiteX42785" fmla="*/ 4123090 w 8079933"/>
              <a:gd name="connsiteY42785" fmla="*/ 1593526 h 4687251"/>
              <a:gd name="connsiteX42786" fmla="*/ 4118749 w 8079933"/>
              <a:gd name="connsiteY42786" fmla="*/ 1590818 h 4687251"/>
              <a:gd name="connsiteX42787" fmla="*/ 4118749 w 8079933"/>
              <a:gd name="connsiteY42787" fmla="*/ 1585189 h 4687251"/>
              <a:gd name="connsiteX42788" fmla="*/ 4114626 w 8079933"/>
              <a:gd name="connsiteY42788" fmla="*/ 1587030 h 4687251"/>
              <a:gd name="connsiteX42789" fmla="*/ 4114408 w 8079933"/>
              <a:gd name="connsiteY42789" fmla="*/ 1582807 h 4687251"/>
              <a:gd name="connsiteX42790" fmla="*/ 4118424 w 8079933"/>
              <a:gd name="connsiteY42790" fmla="*/ 1582807 h 4687251"/>
              <a:gd name="connsiteX42791" fmla="*/ 4122764 w 8079933"/>
              <a:gd name="connsiteY42791" fmla="*/ 1581183 h 4687251"/>
              <a:gd name="connsiteX42792" fmla="*/ 4117556 w 8079933"/>
              <a:gd name="connsiteY42792" fmla="*/ 1576310 h 4687251"/>
              <a:gd name="connsiteX42793" fmla="*/ 4117881 w 8079933"/>
              <a:gd name="connsiteY42793" fmla="*/ 1572954 h 4687251"/>
              <a:gd name="connsiteX42794" fmla="*/ 4115385 w 8079933"/>
              <a:gd name="connsiteY42794" fmla="*/ 1572737 h 4687251"/>
              <a:gd name="connsiteX42795" fmla="*/ 4112130 w 8079933"/>
              <a:gd name="connsiteY42795" fmla="*/ 1570572 h 4687251"/>
              <a:gd name="connsiteX42796" fmla="*/ 4112455 w 8079933"/>
              <a:gd name="connsiteY42796" fmla="*/ 1566566 h 4687251"/>
              <a:gd name="connsiteX42797" fmla="*/ 4112238 w 8079933"/>
              <a:gd name="connsiteY42797" fmla="*/ 1565592 h 4687251"/>
              <a:gd name="connsiteX42798" fmla="*/ 4112237 w 8079933"/>
              <a:gd name="connsiteY42798" fmla="*/ 1565592 h 4687251"/>
              <a:gd name="connsiteX42799" fmla="*/ 4111152 w 8079933"/>
              <a:gd name="connsiteY42799" fmla="*/ 1561911 h 4687251"/>
              <a:gd name="connsiteX42800" fmla="*/ 4113214 w 8079933"/>
              <a:gd name="connsiteY42800" fmla="*/ 1560611 h 4687251"/>
              <a:gd name="connsiteX42801" fmla="*/ 4112129 w 8079933"/>
              <a:gd name="connsiteY42801" fmla="*/ 1553466 h 4687251"/>
              <a:gd name="connsiteX42802" fmla="*/ 4106703 w 8079933"/>
              <a:gd name="connsiteY42802" fmla="*/ 1548593 h 4687251"/>
              <a:gd name="connsiteX42803" fmla="*/ 4102688 w 8079933"/>
              <a:gd name="connsiteY42803" fmla="*/ 1550759 h 4687251"/>
              <a:gd name="connsiteX42804" fmla="*/ 4099975 w 8079933"/>
              <a:gd name="connsiteY42804" fmla="*/ 1548593 h 4687251"/>
              <a:gd name="connsiteX42805" fmla="*/ 4102688 w 8079933"/>
              <a:gd name="connsiteY42805" fmla="*/ 1541664 h 4687251"/>
              <a:gd name="connsiteX42806" fmla="*/ 4109199 w 8079933"/>
              <a:gd name="connsiteY42806" fmla="*/ 1538632 h 4687251"/>
              <a:gd name="connsiteX42807" fmla="*/ 4106486 w 8079933"/>
              <a:gd name="connsiteY42807" fmla="*/ 1535926 h 4687251"/>
              <a:gd name="connsiteX42808" fmla="*/ 4106486 w 8079933"/>
              <a:gd name="connsiteY42808" fmla="*/ 1530512 h 4687251"/>
              <a:gd name="connsiteX42809" fmla="*/ 4103230 w 8079933"/>
              <a:gd name="connsiteY42809" fmla="*/ 1528671 h 4687251"/>
              <a:gd name="connsiteX42810" fmla="*/ 4102362 w 8079933"/>
              <a:gd name="connsiteY42810" fmla="*/ 1522716 h 4687251"/>
              <a:gd name="connsiteX42811" fmla="*/ 4104315 w 8079933"/>
              <a:gd name="connsiteY42811" fmla="*/ 1522175 h 4687251"/>
              <a:gd name="connsiteX42812" fmla="*/ 4107354 w 8079933"/>
              <a:gd name="connsiteY42812" fmla="*/ 1524557 h 4687251"/>
              <a:gd name="connsiteX42813" fmla="*/ 4107354 w 8079933"/>
              <a:gd name="connsiteY42813" fmla="*/ 1520010 h 4687251"/>
              <a:gd name="connsiteX42814" fmla="*/ 4102362 w 8079933"/>
              <a:gd name="connsiteY42814" fmla="*/ 1516220 h 4687251"/>
              <a:gd name="connsiteX42815" fmla="*/ 4105618 w 8079933"/>
              <a:gd name="connsiteY42815" fmla="*/ 1512864 h 4687251"/>
              <a:gd name="connsiteX42816" fmla="*/ 4108331 w 8079933"/>
              <a:gd name="connsiteY42816" fmla="*/ 1514271 h 4687251"/>
              <a:gd name="connsiteX42817" fmla="*/ 4112237 w 8079933"/>
              <a:gd name="connsiteY42817" fmla="*/ 1514271 h 4687251"/>
              <a:gd name="connsiteX42818" fmla="*/ 4114950 w 8079933"/>
              <a:gd name="connsiteY42818" fmla="*/ 1517303 h 4687251"/>
              <a:gd name="connsiteX42819" fmla="*/ 4119508 w 8079933"/>
              <a:gd name="connsiteY42819" fmla="*/ 1514055 h 4687251"/>
              <a:gd name="connsiteX42820" fmla="*/ 4117337 w 8079933"/>
              <a:gd name="connsiteY42820" fmla="*/ 1511024 h 4687251"/>
              <a:gd name="connsiteX42821" fmla="*/ 4121135 w 8079933"/>
              <a:gd name="connsiteY42821" fmla="*/ 1505826 h 4687251"/>
              <a:gd name="connsiteX42822" fmla="*/ 4122438 w 8079933"/>
              <a:gd name="connsiteY42822" fmla="*/ 1505826 h 4687251"/>
              <a:gd name="connsiteX42823" fmla="*/ 4124933 w 8079933"/>
              <a:gd name="connsiteY42823" fmla="*/ 1510265 h 4687251"/>
              <a:gd name="connsiteX42824" fmla="*/ 4122438 w 8079933"/>
              <a:gd name="connsiteY42824" fmla="*/ 1512973 h 4687251"/>
              <a:gd name="connsiteX42825" fmla="*/ 4123089 w 8079933"/>
              <a:gd name="connsiteY42825" fmla="*/ 1515138 h 4687251"/>
              <a:gd name="connsiteX42826" fmla="*/ 4127104 w 8079933"/>
              <a:gd name="connsiteY42826" fmla="*/ 1514271 h 4687251"/>
              <a:gd name="connsiteX42827" fmla="*/ 4130684 w 8079933"/>
              <a:gd name="connsiteY42827" fmla="*/ 1515787 h 4687251"/>
              <a:gd name="connsiteX42828" fmla="*/ 4131119 w 8079933"/>
              <a:gd name="connsiteY42828" fmla="*/ 1514271 h 4687251"/>
              <a:gd name="connsiteX42829" fmla="*/ 4127321 w 8079933"/>
              <a:gd name="connsiteY42829" fmla="*/ 1509616 h 4687251"/>
              <a:gd name="connsiteX42830" fmla="*/ 4128406 w 8079933"/>
              <a:gd name="connsiteY42830" fmla="*/ 1507775 h 4687251"/>
              <a:gd name="connsiteX42831" fmla="*/ 4124391 w 8079933"/>
              <a:gd name="connsiteY42831" fmla="*/ 1502362 h 4687251"/>
              <a:gd name="connsiteX42832" fmla="*/ 4126236 w 8079933"/>
              <a:gd name="connsiteY42832" fmla="*/ 1500738 h 4687251"/>
              <a:gd name="connsiteX42833" fmla="*/ 4130034 w 8079933"/>
              <a:gd name="connsiteY42833" fmla="*/ 1501279 h 4687251"/>
              <a:gd name="connsiteX42834" fmla="*/ 4133397 w 8079933"/>
              <a:gd name="connsiteY42834" fmla="*/ 1499655 h 4687251"/>
              <a:gd name="connsiteX42835" fmla="*/ 4140560 w 8079933"/>
              <a:gd name="connsiteY42835" fmla="*/ 1499114 h 4687251"/>
              <a:gd name="connsiteX42836" fmla="*/ 4145009 w 8079933"/>
              <a:gd name="connsiteY42836" fmla="*/ 1502145 h 4687251"/>
              <a:gd name="connsiteX42837" fmla="*/ 4145009 w 8079933"/>
              <a:gd name="connsiteY42837" fmla="*/ 1507018 h 4687251"/>
              <a:gd name="connsiteX42838" fmla="*/ 4143056 w 8079933"/>
              <a:gd name="connsiteY42838" fmla="*/ 1509616 h 4687251"/>
              <a:gd name="connsiteX42839" fmla="*/ 4145335 w 8079933"/>
              <a:gd name="connsiteY42839" fmla="*/ 1510157 h 4687251"/>
              <a:gd name="connsiteX42840" fmla="*/ 4147939 w 8079933"/>
              <a:gd name="connsiteY42840" fmla="*/ 1513947 h 4687251"/>
              <a:gd name="connsiteX42841" fmla="*/ 4150652 w 8079933"/>
              <a:gd name="connsiteY42841" fmla="*/ 1516762 h 4687251"/>
              <a:gd name="connsiteX42842" fmla="*/ 4156186 w 8079933"/>
              <a:gd name="connsiteY42842" fmla="*/ 1516979 h 4687251"/>
              <a:gd name="connsiteX42843" fmla="*/ 4158573 w 8079933"/>
              <a:gd name="connsiteY42843" fmla="*/ 1515138 h 4687251"/>
              <a:gd name="connsiteX42844" fmla="*/ 4162805 w 8079933"/>
              <a:gd name="connsiteY42844" fmla="*/ 1519685 h 4687251"/>
              <a:gd name="connsiteX42845" fmla="*/ 4161287 w 8079933"/>
              <a:gd name="connsiteY42845" fmla="*/ 1523691 h 4687251"/>
              <a:gd name="connsiteX42846" fmla="*/ 4159659 w 8079933"/>
              <a:gd name="connsiteY42846" fmla="*/ 1525965 h 4687251"/>
              <a:gd name="connsiteX42847" fmla="*/ 4157814 w 8079933"/>
              <a:gd name="connsiteY42847" fmla="*/ 1525315 h 4687251"/>
              <a:gd name="connsiteX42848" fmla="*/ 4156186 w 8079933"/>
              <a:gd name="connsiteY42848" fmla="*/ 1526506 h 4687251"/>
              <a:gd name="connsiteX42849" fmla="*/ 4153364 w 8079933"/>
              <a:gd name="connsiteY42849" fmla="*/ 1523258 h 4687251"/>
              <a:gd name="connsiteX42850" fmla="*/ 4149133 w 8079933"/>
              <a:gd name="connsiteY42850" fmla="*/ 1523908 h 4687251"/>
              <a:gd name="connsiteX42851" fmla="*/ 4146311 w 8079933"/>
              <a:gd name="connsiteY42851" fmla="*/ 1526722 h 4687251"/>
              <a:gd name="connsiteX42852" fmla="*/ 4148481 w 8079933"/>
              <a:gd name="connsiteY42852" fmla="*/ 1531054 h 4687251"/>
              <a:gd name="connsiteX42853" fmla="*/ 4148698 w 8079933"/>
              <a:gd name="connsiteY42853" fmla="*/ 1537550 h 4687251"/>
              <a:gd name="connsiteX42854" fmla="*/ 4143707 w 8079933"/>
              <a:gd name="connsiteY42854" fmla="*/ 1539391 h 4687251"/>
              <a:gd name="connsiteX42855" fmla="*/ 4141754 w 8079933"/>
              <a:gd name="connsiteY42855" fmla="*/ 1538091 h 4687251"/>
              <a:gd name="connsiteX42856" fmla="*/ 4138281 w 8079933"/>
              <a:gd name="connsiteY42856" fmla="*/ 1541881 h 4687251"/>
              <a:gd name="connsiteX42857" fmla="*/ 4140343 w 8079933"/>
              <a:gd name="connsiteY42857" fmla="*/ 1543505 h 4687251"/>
              <a:gd name="connsiteX42858" fmla="*/ 4131119 w 8079933"/>
              <a:gd name="connsiteY42858" fmla="*/ 1548160 h 4687251"/>
              <a:gd name="connsiteX42859" fmla="*/ 4130902 w 8079933"/>
              <a:gd name="connsiteY42859" fmla="*/ 1551409 h 4687251"/>
              <a:gd name="connsiteX42860" fmla="*/ 4133289 w 8079933"/>
              <a:gd name="connsiteY42860" fmla="*/ 1552491 h 4687251"/>
              <a:gd name="connsiteX42861" fmla="*/ 4132855 w 8079933"/>
              <a:gd name="connsiteY42861" fmla="*/ 1556172 h 4687251"/>
              <a:gd name="connsiteX42862" fmla="*/ 4130142 w 8079933"/>
              <a:gd name="connsiteY42862" fmla="*/ 1558446 h 4687251"/>
              <a:gd name="connsiteX42863" fmla="*/ 4130034 w 8079933"/>
              <a:gd name="connsiteY42863" fmla="*/ 1561694 h 4687251"/>
              <a:gd name="connsiteX42864" fmla="*/ 4131770 w 8079933"/>
              <a:gd name="connsiteY42864" fmla="*/ 1561694 h 4687251"/>
              <a:gd name="connsiteX42865" fmla="*/ 4135134 w 8079933"/>
              <a:gd name="connsiteY42865" fmla="*/ 1564942 h 4687251"/>
              <a:gd name="connsiteX42866" fmla="*/ 4133832 w 8079933"/>
              <a:gd name="connsiteY42866" fmla="*/ 1567866 h 4687251"/>
              <a:gd name="connsiteX42867" fmla="*/ 4134049 w 8079933"/>
              <a:gd name="connsiteY42867" fmla="*/ 1568190 h 4687251"/>
              <a:gd name="connsiteX42868" fmla="*/ 4134050 w 8079933"/>
              <a:gd name="connsiteY42868" fmla="*/ 1568190 h 4687251"/>
              <a:gd name="connsiteX42869" fmla="*/ 4138716 w 8079933"/>
              <a:gd name="connsiteY42869" fmla="*/ 1573062 h 4687251"/>
              <a:gd name="connsiteX42870" fmla="*/ 4143382 w 8079933"/>
              <a:gd name="connsiteY42870" fmla="*/ 1573604 h 4687251"/>
              <a:gd name="connsiteX42871" fmla="*/ 4140887 w 8079933"/>
              <a:gd name="connsiteY42871" fmla="*/ 1579017 h 4687251"/>
              <a:gd name="connsiteX42872" fmla="*/ 4138499 w 8079933"/>
              <a:gd name="connsiteY42872" fmla="*/ 1581399 h 4687251"/>
              <a:gd name="connsiteX42873" fmla="*/ 4139801 w 8079933"/>
              <a:gd name="connsiteY42873" fmla="*/ 1584106 h 4687251"/>
              <a:gd name="connsiteX42874" fmla="*/ 4143599 w 8079933"/>
              <a:gd name="connsiteY42874" fmla="*/ 1585189 h 4687251"/>
              <a:gd name="connsiteX42875" fmla="*/ 4145010 w 8079933"/>
              <a:gd name="connsiteY42875" fmla="*/ 1589195 h 4687251"/>
              <a:gd name="connsiteX42876" fmla="*/ 4148700 w 8079933"/>
              <a:gd name="connsiteY42876" fmla="*/ 1586488 h 4687251"/>
              <a:gd name="connsiteX42877" fmla="*/ 4150002 w 8079933"/>
              <a:gd name="connsiteY42877" fmla="*/ 1583998 h 4687251"/>
              <a:gd name="connsiteX42878" fmla="*/ 4152173 w 8079933"/>
              <a:gd name="connsiteY42878" fmla="*/ 1582590 h 4687251"/>
              <a:gd name="connsiteX42879" fmla="*/ 4154017 w 8079933"/>
              <a:gd name="connsiteY42879" fmla="*/ 1585081 h 4687251"/>
              <a:gd name="connsiteX42880" fmla="*/ 4160094 w 8079933"/>
              <a:gd name="connsiteY42880" fmla="*/ 1589411 h 4687251"/>
              <a:gd name="connsiteX42881" fmla="*/ 4161288 w 8079933"/>
              <a:gd name="connsiteY42881" fmla="*/ 1587787 h 4687251"/>
              <a:gd name="connsiteX42882" fmla="*/ 4165086 w 8079933"/>
              <a:gd name="connsiteY42882" fmla="*/ 1584755 h 4687251"/>
              <a:gd name="connsiteX42883" fmla="*/ 4167039 w 8079933"/>
              <a:gd name="connsiteY42883" fmla="*/ 1585838 h 4687251"/>
              <a:gd name="connsiteX42884" fmla="*/ 4167148 w 8079933"/>
              <a:gd name="connsiteY42884" fmla="*/ 1589844 h 4687251"/>
              <a:gd name="connsiteX42885" fmla="*/ 4163892 w 8079933"/>
              <a:gd name="connsiteY42885" fmla="*/ 1593634 h 4687251"/>
              <a:gd name="connsiteX42886" fmla="*/ 4161071 w 8079933"/>
              <a:gd name="connsiteY42886" fmla="*/ 1593201 h 4687251"/>
              <a:gd name="connsiteX42887" fmla="*/ 4156839 w 8079933"/>
              <a:gd name="connsiteY42887" fmla="*/ 1596124 h 4687251"/>
              <a:gd name="connsiteX42888" fmla="*/ 4162915 w 8079933"/>
              <a:gd name="connsiteY42888" fmla="*/ 1597965 h 4687251"/>
              <a:gd name="connsiteX42889" fmla="*/ 4164977 w 8079933"/>
              <a:gd name="connsiteY42889" fmla="*/ 1596882 h 4687251"/>
              <a:gd name="connsiteX42890" fmla="*/ 4169318 w 8079933"/>
              <a:gd name="connsiteY42890" fmla="*/ 1597315 h 4687251"/>
              <a:gd name="connsiteX42891" fmla="*/ 4170837 w 8079933"/>
              <a:gd name="connsiteY42891" fmla="*/ 1600022 h 4687251"/>
              <a:gd name="connsiteX42892" fmla="*/ 4175829 w 8079933"/>
              <a:gd name="connsiteY42892" fmla="*/ 1599481 h 4687251"/>
              <a:gd name="connsiteX42893" fmla="*/ 4176697 w 8079933"/>
              <a:gd name="connsiteY42893" fmla="*/ 1596124 h 4687251"/>
              <a:gd name="connsiteX42894" fmla="*/ 4179953 w 8079933"/>
              <a:gd name="connsiteY42894" fmla="*/ 1591577 h 4687251"/>
              <a:gd name="connsiteX42895" fmla="*/ 4188742 w 8079933"/>
              <a:gd name="connsiteY42895" fmla="*/ 1590169 h 4687251"/>
              <a:gd name="connsiteX42896" fmla="*/ 4188960 w 8079933"/>
              <a:gd name="connsiteY42896" fmla="*/ 1588004 h 4687251"/>
              <a:gd name="connsiteX42897" fmla="*/ 4193734 w 8079933"/>
              <a:gd name="connsiteY42897" fmla="*/ 1585622 h 4687251"/>
              <a:gd name="connsiteX42898" fmla="*/ 4194277 w 8079933"/>
              <a:gd name="connsiteY42898" fmla="*/ 1583132 h 4687251"/>
              <a:gd name="connsiteX42899" fmla="*/ 4196447 w 8079933"/>
              <a:gd name="connsiteY42899" fmla="*/ 1582049 h 4687251"/>
              <a:gd name="connsiteX42900" fmla="*/ 4202632 w 8079933"/>
              <a:gd name="connsiteY42900" fmla="*/ 1582698 h 4687251"/>
              <a:gd name="connsiteX42901" fmla="*/ 4197641 w 8079933"/>
              <a:gd name="connsiteY42901" fmla="*/ 1584647 h 4687251"/>
              <a:gd name="connsiteX42902" fmla="*/ 4195904 w 8079933"/>
              <a:gd name="connsiteY42902" fmla="*/ 1586596 h 4687251"/>
              <a:gd name="connsiteX42903" fmla="*/ 4195036 w 8079933"/>
              <a:gd name="connsiteY42903" fmla="*/ 1585946 h 4687251"/>
              <a:gd name="connsiteX42904" fmla="*/ 4192541 w 8079933"/>
              <a:gd name="connsiteY42904" fmla="*/ 1588437 h 4687251"/>
              <a:gd name="connsiteX42905" fmla="*/ 4194385 w 8079933"/>
              <a:gd name="connsiteY42905" fmla="*/ 1590277 h 4687251"/>
              <a:gd name="connsiteX42906" fmla="*/ 4199269 w 8079933"/>
              <a:gd name="connsiteY42906" fmla="*/ 1586812 h 4687251"/>
              <a:gd name="connsiteX42907" fmla="*/ 4204477 w 8079933"/>
              <a:gd name="connsiteY42907" fmla="*/ 1586271 h 4687251"/>
              <a:gd name="connsiteX42908" fmla="*/ 4206648 w 8079933"/>
              <a:gd name="connsiteY42908" fmla="*/ 1585189 h 4687251"/>
              <a:gd name="connsiteX42909" fmla="*/ 4208275 w 8079933"/>
              <a:gd name="connsiteY42909" fmla="*/ 1587679 h 4687251"/>
              <a:gd name="connsiteX42910" fmla="*/ 4212508 w 8079933"/>
              <a:gd name="connsiteY42910" fmla="*/ 1588437 h 4687251"/>
              <a:gd name="connsiteX42911" fmla="*/ 4218476 w 8079933"/>
              <a:gd name="connsiteY42911" fmla="*/ 1594392 h 4687251"/>
              <a:gd name="connsiteX42912" fmla="*/ 4223359 w 8079933"/>
              <a:gd name="connsiteY42912" fmla="*/ 1593526 h 4687251"/>
              <a:gd name="connsiteX42913" fmla="*/ 4226072 w 8079933"/>
              <a:gd name="connsiteY42913" fmla="*/ 1597640 h 4687251"/>
              <a:gd name="connsiteX42914" fmla="*/ 4225095 w 8079933"/>
              <a:gd name="connsiteY42914" fmla="*/ 1602187 h 4687251"/>
              <a:gd name="connsiteX42915" fmla="*/ 4229436 w 8079933"/>
              <a:gd name="connsiteY42915" fmla="*/ 1605544 h 4687251"/>
              <a:gd name="connsiteX42916" fmla="*/ 4233451 w 8079933"/>
              <a:gd name="connsiteY42916" fmla="*/ 1605003 h 4687251"/>
              <a:gd name="connsiteX42917" fmla="*/ 4236381 w 8079933"/>
              <a:gd name="connsiteY42917" fmla="*/ 1607601 h 4687251"/>
              <a:gd name="connsiteX42918" fmla="*/ 4240722 w 8079933"/>
              <a:gd name="connsiteY42918" fmla="*/ 1607384 h 4687251"/>
              <a:gd name="connsiteX42919" fmla="*/ 4240722 w 8079933"/>
              <a:gd name="connsiteY42919" fmla="*/ 1607385 h 4687251"/>
              <a:gd name="connsiteX42920" fmla="*/ 4243000 w 8079933"/>
              <a:gd name="connsiteY42920" fmla="*/ 1607168 h 4687251"/>
              <a:gd name="connsiteX42921" fmla="*/ 4242674 w 8079933"/>
              <a:gd name="connsiteY42921" fmla="*/ 1604894 h 4687251"/>
              <a:gd name="connsiteX42922" fmla="*/ 4244302 w 8079933"/>
              <a:gd name="connsiteY42922" fmla="*/ 1603920 h 4687251"/>
              <a:gd name="connsiteX42923" fmla="*/ 4246147 w 8079933"/>
              <a:gd name="connsiteY42923" fmla="*/ 1598182 h 4687251"/>
              <a:gd name="connsiteX42924" fmla="*/ 4248860 w 8079933"/>
              <a:gd name="connsiteY42924" fmla="*/ 1592443 h 4687251"/>
              <a:gd name="connsiteX42925" fmla="*/ 4256456 w 8079933"/>
              <a:gd name="connsiteY42925" fmla="*/ 1591902 h 4687251"/>
              <a:gd name="connsiteX42926" fmla="*/ 4267633 w 8079933"/>
              <a:gd name="connsiteY42926" fmla="*/ 1585731 h 4687251"/>
              <a:gd name="connsiteX42927" fmla="*/ 4275012 w 8079933"/>
              <a:gd name="connsiteY42927" fmla="*/ 1585514 h 4687251"/>
              <a:gd name="connsiteX42928" fmla="*/ 4275012 w 8079933"/>
              <a:gd name="connsiteY42928" fmla="*/ 1581725 h 4687251"/>
              <a:gd name="connsiteX42929" fmla="*/ 4279353 w 8079933"/>
              <a:gd name="connsiteY42929" fmla="*/ 1576853 h 4687251"/>
              <a:gd name="connsiteX42930" fmla="*/ 4286298 w 8079933"/>
              <a:gd name="connsiteY42930" fmla="*/ 1576745 h 4687251"/>
              <a:gd name="connsiteX42931" fmla="*/ 4290639 w 8079933"/>
              <a:gd name="connsiteY42931" fmla="*/ 1570790 h 4687251"/>
              <a:gd name="connsiteX42932" fmla="*/ 4297692 w 8079933"/>
              <a:gd name="connsiteY42932" fmla="*/ 1568083 h 4687251"/>
              <a:gd name="connsiteX42933" fmla="*/ 4304529 w 8079933"/>
              <a:gd name="connsiteY42933" fmla="*/ 1568624 h 4687251"/>
              <a:gd name="connsiteX42934" fmla="*/ 4313970 w 8079933"/>
              <a:gd name="connsiteY42934" fmla="*/ 1563752 h 4687251"/>
              <a:gd name="connsiteX42935" fmla="*/ 4326015 w 8079933"/>
              <a:gd name="connsiteY42935" fmla="*/ 1566784 h 4687251"/>
              <a:gd name="connsiteX42936" fmla="*/ 4332743 w 8079933"/>
              <a:gd name="connsiteY42936" fmla="*/ 1570031 h 4687251"/>
              <a:gd name="connsiteX42937" fmla="*/ 4332526 w 8079933"/>
              <a:gd name="connsiteY42937" fmla="*/ 1571656 h 4687251"/>
              <a:gd name="connsiteX42938" fmla="*/ 4330030 w 8079933"/>
              <a:gd name="connsiteY42938" fmla="*/ 1570031 h 4687251"/>
              <a:gd name="connsiteX42939" fmla="*/ 4324604 w 8079933"/>
              <a:gd name="connsiteY42939" fmla="*/ 1569274 h 4687251"/>
              <a:gd name="connsiteX42940" fmla="*/ 4322977 w 8079933"/>
              <a:gd name="connsiteY42940" fmla="*/ 1573280 h 4687251"/>
              <a:gd name="connsiteX42941" fmla="*/ 4325147 w 8079933"/>
              <a:gd name="connsiteY42941" fmla="*/ 1578910 h 4687251"/>
              <a:gd name="connsiteX42942" fmla="*/ 4335456 w 8079933"/>
              <a:gd name="connsiteY42942" fmla="*/ 1581725 h 4687251"/>
              <a:gd name="connsiteX42943" fmla="*/ 4344354 w 8079933"/>
              <a:gd name="connsiteY42943" fmla="*/ 1577611 h 4687251"/>
              <a:gd name="connsiteX42944" fmla="*/ 4349346 w 8079933"/>
              <a:gd name="connsiteY42944" fmla="*/ 1572522 h 4687251"/>
              <a:gd name="connsiteX42945" fmla="*/ 4351517 w 8079933"/>
              <a:gd name="connsiteY42945" fmla="*/ 1572413 h 4687251"/>
              <a:gd name="connsiteX42946" fmla="*/ 4345223 w 8079933"/>
              <a:gd name="connsiteY42946" fmla="*/ 1578910 h 4687251"/>
              <a:gd name="connsiteX42947" fmla="*/ 4338386 w 8079933"/>
              <a:gd name="connsiteY42947" fmla="*/ 1582699 h 4687251"/>
              <a:gd name="connsiteX42948" fmla="*/ 4340123 w 8079933"/>
              <a:gd name="connsiteY42948" fmla="*/ 1584323 h 4687251"/>
              <a:gd name="connsiteX42949" fmla="*/ 4347067 w 8079933"/>
              <a:gd name="connsiteY42949" fmla="*/ 1582699 h 4687251"/>
              <a:gd name="connsiteX42950" fmla="*/ 4355206 w 8079933"/>
              <a:gd name="connsiteY42950" fmla="*/ 1575445 h 4687251"/>
              <a:gd name="connsiteX42951" fmla="*/ 4357919 w 8079933"/>
              <a:gd name="connsiteY42951" fmla="*/ 1574362 h 4687251"/>
              <a:gd name="connsiteX42952" fmla="*/ 4388304 w 8079933"/>
              <a:gd name="connsiteY42952" fmla="*/ 1576095 h 4687251"/>
              <a:gd name="connsiteX42953" fmla="*/ 4415107 w 8079933"/>
              <a:gd name="connsiteY42953" fmla="*/ 1573496 h 4687251"/>
              <a:gd name="connsiteX42954" fmla="*/ 4414348 w 8079933"/>
              <a:gd name="connsiteY42954" fmla="*/ 1565051 h 4687251"/>
              <a:gd name="connsiteX42955" fmla="*/ 4417061 w 8079933"/>
              <a:gd name="connsiteY42955" fmla="*/ 1561370 h 4687251"/>
              <a:gd name="connsiteX42956" fmla="*/ 4414673 w 8079933"/>
              <a:gd name="connsiteY42956" fmla="*/ 1558772 h 4687251"/>
              <a:gd name="connsiteX42957" fmla="*/ 4411743 w 8079933"/>
              <a:gd name="connsiteY42957" fmla="*/ 1558013 h 4687251"/>
              <a:gd name="connsiteX42958" fmla="*/ 4410875 w 8079933"/>
              <a:gd name="connsiteY42958" fmla="*/ 1553358 h 4687251"/>
              <a:gd name="connsiteX42959" fmla="*/ 4407620 w 8079933"/>
              <a:gd name="connsiteY42959" fmla="*/ 1551625 h 4687251"/>
              <a:gd name="connsiteX42960" fmla="*/ 4398829 w 8079933"/>
              <a:gd name="connsiteY42960" fmla="*/ 1553791 h 4687251"/>
              <a:gd name="connsiteX42961" fmla="*/ 4392645 w 8079933"/>
              <a:gd name="connsiteY42961" fmla="*/ 1550651 h 4687251"/>
              <a:gd name="connsiteX42962" fmla="*/ 4386025 w 8079933"/>
              <a:gd name="connsiteY42962" fmla="*/ 1541664 h 4687251"/>
              <a:gd name="connsiteX42963" fmla="*/ 4377886 w 8079933"/>
              <a:gd name="connsiteY42963" fmla="*/ 1543505 h 4687251"/>
              <a:gd name="connsiteX42964" fmla="*/ 4376693 w 8079933"/>
              <a:gd name="connsiteY42964" fmla="*/ 1542856 h 4687251"/>
              <a:gd name="connsiteX42965" fmla="*/ 4378646 w 8079933"/>
              <a:gd name="connsiteY42965" fmla="*/ 1539391 h 4687251"/>
              <a:gd name="connsiteX42966" fmla="*/ 4377018 w 8079933"/>
              <a:gd name="connsiteY42966" fmla="*/ 1533436 h 4687251"/>
              <a:gd name="connsiteX42967" fmla="*/ 4376584 w 8079933"/>
              <a:gd name="connsiteY42967" fmla="*/ 1526290 h 4687251"/>
              <a:gd name="connsiteX42968" fmla="*/ 4376585 w 8079933"/>
              <a:gd name="connsiteY42968" fmla="*/ 1526290 h 4687251"/>
              <a:gd name="connsiteX42969" fmla="*/ 4376477 w 8079933"/>
              <a:gd name="connsiteY42969" fmla="*/ 1525424 h 4687251"/>
              <a:gd name="connsiteX42970" fmla="*/ 4373764 w 8079933"/>
              <a:gd name="connsiteY42970" fmla="*/ 1522718 h 4687251"/>
              <a:gd name="connsiteX42971" fmla="*/ 4371051 w 8079933"/>
              <a:gd name="connsiteY42971" fmla="*/ 1511349 h 4687251"/>
              <a:gd name="connsiteX42972" fmla="*/ 4374523 w 8079933"/>
              <a:gd name="connsiteY42972" fmla="*/ 1508101 h 4687251"/>
              <a:gd name="connsiteX42973" fmla="*/ 4374198 w 8079933"/>
              <a:gd name="connsiteY42973" fmla="*/ 1503662 h 4687251"/>
              <a:gd name="connsiteX42974" fmla="*/ 4374741 w 8079933"/>
              <a:gd name="connsiteY42974" fmla="*/ 1498898 h 4687251"/>
              <a:gd name="connsiteX42975" fmla="*/ 4381034 w 8079933"/>
              <a:gd name="connsiteY42975" fmla="*/ 1491535 h 4687251"/>
              <a:gd name="connsiteX42976" fmla="*/ 4380817 w 8079933"/>
              <a:gd name="connsiteY42976" fmla="*/ 1483307 h 4687251"/>
              <a:gd name="connsiteX42977" fmla="*/ 4382879 w 8079933"/>
              <a:gd name="connsiteY42977" fmla="*/ 1483957 h 4687251"/>
              <a:gd name="connsiteX42978" fmla="*/ 4382337 w 8079933"/>
              <a:gd name="connsiteY42978" fmla="*/ 1479084 h 4687251"/>
              <a:gd name="connsiteX42979" fmla="*/ 4385918 w 8079933"/>
              <a:gd name="connsiteY42979" fmla="*/ 1473671 h 4687251"/>
              <a:gd name="connsiteX42980" fmla="*/ 4390801 w 8079933"/>
              <a:gd name="connsiteY42980" fmla="*/ 1473346 h 4687251"/>
              <a:gd name="connsiteX42981" fmla="*/ 4393188 w 8079933"/>
              <a:gd name="connsiteY42981" fmla="*/ 1471180 h 4687251"/>
              <a:gd name="connsiteX42982" fmla="*/ 4399808 w 8079933"/>
              <a:gd name="connsiteY42982" fmla="*/ 1469557 h 4687251"/>
              <a:gd name="connsiteX42983" fmla="*/ 4404040 w 8079933"/>
              <a:gd name="connsiteY42983" fmla="*/ 1465333 h 4687251"/>
              <a:gd name="connsiteX42984" fmla="*/ 4405993 w 8079933"/>
              <a:gd name="connsiteY42984" fmla="*/ 1465225 h 4687251"/>
              <a:gd name="connsiteX42985" fmla="*/ 4406318 w 8079933"/>
              <a:gd name="connsiteY42985" fmla="*/ 1472263 h 4687251"/>
              <a:gd name="connsiteX42986" fmla="*/ 4417496 w 8079933"/>
              <a:gd name="connsiteY42986" fmla="*/ 1484173 h 4687251"/>
              <a:gd name="connsiteX42987" fmla="*/ 4418256 w 8079933"/>
              <a:gd name="connsiteY42987" fmla="*/ 1488287 h 4687251"/>
              <a:gd name="connsiteX42988" fmla="*/ 4423899 w 8079933"/>
              <a:gd name="connsiteY42988" fmla="*/ 1493701 h 4687251"/>
              <a:gd name="connsiteX42989" fmla="*/ 4429541 w 8079933"/>
              <a:gd name="connsiteY42989" fmla="*/ 1493701 h 4687251"/>
              <a:gd name="connsiteX42990" fmla="*/ 4437138 w 8079933"/>
              <a:gd name="connsiteY42990" fmla="*/ 1485581 h 4687251"/>
              <a:gd name="connsiteX42991" fmla="*/ 4439851 w 8079933"/>
              <a:gd name="connsiteY42991" fmla="*/ 1477243 h 4687251"/>
              <a:gd name="connsiteX42992" fmla="*/ 4437680 w 8079933"/>
              <a:gd name="connsiteY42992" fmla="*/ 1466849 h 4687251"/>
              <a:gd name="connsiteX42993" fmla="*/ 4437680 w 8079933"/>
              <a:gd name="connsiteY42993" fmla="*/ 1460894 h 4687251"/>
              <a:gd name="connsiteX42994" fmla="*/ 4440176 w 8079933"/>
              <a:gd name="connsiteY42994" fmla="*/ 1459920 h 4687251"/>
              <a:gd name="connsiteX42995" fmla="*/ 4447555 w 8079933"/>
              <a:gd name="connsiteY42995" fmla="*/ 1455590 h 4687251"/>
              <a:gd name="connsiteX42996" fmla="*/ 4453306 w 8079933"/>
              <a:gd name="connsiteY42996" fmla="*/ 1454182 h 4687251"/>
              <a:gd name="connsiteX42997" fmla="*/ 4453305 w 8079933"/>
              <a:gd name="connsiteY42997" fmla="*/ 1454181 h 4687251"/>
              <a:gd name="connsiteX42998" fmla="*/ 4447554 w 8079933"/>
              <a:gd name="connsiteY42998" fmla="*/ 1455589 h 4687251"/>
              <a:gd name="connsiteX42999" fmla="*/ 4440174 w 8079933"/>
              <a:gd name="connsiteY42999" fmla="*/ 1459920 h 4687251"/>
              <a:gd name="connsiteX43000" fmla="*/ 4437679 w 8079933"/>
              <a:gd name="connsiteY43000" fmla="*/ 1460894 h 4687251"/>
              <a:gd name="connsiteX43001" fmla="*/ 4437679 w 8079933"/>
              <a:gd name="connsiteY43001" fmla="*/ 1458187 h 4687251"/>
              <a:gd name="connsiteX43002" fmla="*/ 4440174 w 8079933"/>
              <a:gd name="connsiteY43002" fmla="*/ 1445736 h 4687251"/>
              <a:gd name="connsiteX43003" fmla="*/ 4438329 w 8079933"/>
              <a:gd name="connsiteY43003" fmla="*/ 1442271 h 4687251"/>
              <a:gd name="connsiteX43004" fmla="*/ 4433663 w 8079933"/>
              <a:gd name="connsiteY43004" fmla="*/ 1446061 h 4687251"/>
              <a:gd name="connsiteX43005" fmla="*/ 4433338 w 8079933"/>
              <a:gd name="connsiteY43005" fmla="*/ 1450067 h 4687251"/>
              <a:gd name="connsiteX43006" fmla="*/ 4430950 w 8079933"/>
              <a:gd name="connsiteY43006" fmla="*/ 1450608 h 4687251"/>
              <a:gd name="connsiteX43007" fmla="*/ 4424222 w 8079933"/>
              <a:gd name="connsiteY43007" fmla="*/ 1444437 h 4687251"/>
              <a:gd name="connsiteX43008" fmla="*/ 4420316 w 8079933"/>
              <a:gd name="connsiteY43008" fmla="*/ 1438265 h 4687251"/>
              <a:gd name="connsiteX43009" fmla="*/ 4419882 w 8079933"/>
              <a:gd name="connsiteY43009" fmla="*/ 1432202 h 4687251"/>
              <a:gd name="connsiteX43010" fmla="*/ 4423354 w 8079933"/>
              <a:gd name="connsiteY43010" fmla="*/ 1431769 h 4687251"/>
              <a:gd name="connsiteX43011" fmla="*/ 4425525 w 8079933"/>
              <a:gd name="connsiteY43011" fmla="*/ 1428413 h 4687251"/>
              <a:gd name="connsiteX43012" fmla="*/ 4421184 w 8079933"/>
              <a:gd name="connsiteY43012" fmla="*/ 1427980 h 4687251"/>
              <a:gd name="connsiteX43013" fmla="*/ 4419556 w 8079933"/>
              <a:gd name="connsiteY43013" fmla="*/ 1429279 h 4687251"/>
              <a:gd name="connsiteX43014" fmla="*/ 4416518 w 8079933"/>
              <a:gd name="connsiteY43014" fmla="*/ 1428738 h 4687251"/>
              <a:gd name="connsiteX43015" fmla="*/ 4416301 w 8079933"/>
              <a:gd name="connsiteY43015" fmla="*/ 1413580 h 4687251"/>
              <a:gd name="connsiteX43016" fmla="*/ 4419014 w 8079933"/>
              <a:gd name="connsiteY43016" fmla="*/ 1409033 h 4687251"/>
              <a:gd name="connsiteX43017" fmla="*/ 4426610 w 8079933"/>
              <a:gd name="connsiteY43017" fmla="*/ 1405784 h 4687251"/>
              <a:gd name="connsiteX43018" fmla="*/ 4429649 w 8079933"/>
              <a:gd name="connsiteY43018" fmla="*/ 1406543 h 4687251"/>
              <a:gd name="connsiteX43019" fmla="*/ 4430408 w 8079933"/>
              <a:gd name="connsiteY43019" fmla="*/ 1402537 h 4687251"/>
              <a:gd name="connsiteX43020" fmla="*/ 4435075 w 8079933"/>
              <a:gd name="connsiteY43020" fmla="*/ 1401129 h 4687251"/>
              <a:gd name="connsiteX43021" fmla="*/ 4439415 w 8079933"/>
              <a:gd name="connsiteY43021" fmla="*/ 1401670 h 4687251"/>
              <a:gd name="connsiteX43022" fmla="*/ 4440717 w 8079933"/>
              <a:gd name="connsiteY43022" fmla="*/ 1397015 h 4687251"/>
              <a:gd name="connsiteX43023" fmla="*/ 4442345 w 8079933"/>
              <a:gd name="connsiteY43023" fmla="*/ 1399180 h 4687251"/>
              <a:gd name="connsiteX43024" fmla="*/ 4450809 w 8079933"/>
              <a:gd name="connsiteY43024" fmla="*/ 1399505 h 4687251"/>
              <a:gd name="connsiteX43025" fmla="*/ 4452980 w 8079933"/>
              <a:gd name="connsiteY43025" fmla="*/ 1400913 h 4687251"/>
              <a:gd name="connsiteX43026" fmla="*/ 4457320 w 8079933"/>
              <a:gd name="connsiteY43026" fmla="*/ 1398098 h 4687251"/>
              <a:gd name="connsiteX43027" fmla="*/ 4454607 w 8079933"/>
              <a:gd name="connsiteY43027" fmla="*/ 1395715 h 4687251"/>
              <a:gd name="connsiteX43028" fmla="*/ 4454607 w 8079933"/>
              <a:gd name="connsiteY43028" fmla="*/ 1393766 h 4687251"/>
              <a:gd name="connsiteX43029" fmla="*/ 4457754 w 8079933"/>
              <a:gd name="connsiteY43029" fmla="*/ 1394308 h 4687251"/>
              <a:gd name="connsiteX43030" fmla="*/ 4458080 w 8079933"/>
              <a:gd name="connsiteY43030" fmla="*/ 1391060 h 4687251"/>
              <a:gd name="connsiteX43031" fmla="*/ 4462963 w 8079933"/>
              <a:gd name="connsiteY43031" fmla="*/ 1395391 h 4687251"/>
              <a:gd name="connsiteX43032" fmla="*/ 4466979 w 8079933"/>
              <a:gd name="connsiteY43032" fmla="*/ 1394308 h 4687251"/>
              <a:gd name="connsiteX43033" fmla="*/ 4471645 w 8079933"/>
              <a:gd name="connsiteY43033" fmla="*/ 1396690 h 4687251"/>
              <a:gd name="connsiteX43034" fmla="*/ 4480543 w 8079933"/>
              <a:gd name="connsiteY43034" fmla="*/ 1396474 h 4687251"/>
              <a:gd name="connsiteX43035" fmla="*/ 4489007 w 8079933"/>
              <a:gd name="connsiteY43035" fmla="*/ 1401887 h 4687251"/>
              <a:gd name="connsiteX43036" fmla="*/ 4508156 w 8079933"/>
              <a:gd name="connsiteY43036" fmla="*/ 1402427 h 4687251"/>
              <a:gd name="connsiteX43037" fmla="*/ 4506370 w 8079933"/>
              <a:gd name="connsiteY43037" fmla="*/ 1399398 h 4687251"/>
              <a:gd name="connsiteX43038" fmla="*/ 4507890 w 8079933"/>
              <a:gd name="connsiteY43038" fmla="*/ 1394200 h 4687251"/>
              <a:gd name="connsiteX43039" fmla="*/ 4505719 w 8079933"/>
              <a:gd name="connsiteY43039" fmla="*/ 1390627 h 4687251"/>
              <a:gd name="connsiteX43040" fmla="*/ 4505719 w 8079933"/>
              <a:gd name="connsiteY43040" fmla="*/ 1387921 h 4687251"/>
              <a:gd name="connsiteX43041" fmla="*/ 4507890 w 8079933"/>
              <a:gd name="connsiteY43041" fmla="*/ 1387163 h 4687251"/>
              <a:gd name="connsiteX43042" fmla="*/ 4509843 w 8079933"/>
              <a:gd name="connsiteY43042" fmla="*/ 1391169 h 4687251"/>
              <a:gd name="connsiteX43043" fmla="*/ 4514183 w 8079933"/>
              <a:gd name="connsiteY43043" fmla="*/ 1389761 h 4687251"/>
              <a:gd name="connsiteX43044" fmla="*/ 4514183 w 8079933"/>
              <a:gd name="connsiteY43044" fmla="*/ 1385106 h 4687251"/>
              <a:gd name="connsiteX43045" fmla="*/ 4516896 w 8079933"/>
              <a:gd name="connsiteY43045" fmla="*/ 1382941 h 4687251"/>
              <a:gd name="connsiteX43046" fmla="*/ 4521562 w 8079933"/>
              <a:gd name="connsiteY43046" fmla="*/ 1385864 h 4687251"/>
              <a:gd name="connsiteX43047" fmla="*/ 4527314 w 8079933"/>
              <a:gd name="connsiteY43047" fmla="*/ 1381533 h 4687251"/>
              <a:gd name="connsiteX43048" fmla="*/ 4528616 w 8079933"/>
              <a:gd name="connsiteY43048" fmla="*/ 1377419 h 4687251"/>
              <a:gd name="connsiteX43049" fmla="*/ 4531546 w 8079933"/>
              <a:gd name="connsiteY43049" fmla="*/ 1376336 h 4687251"/>
              <a:gd name="connsiteX43050" fmla="*/ 4538599 w 8079933"/>
              <a:gd name="connsiteY43050" fmla="*/ 1378718 h 4687251"/>
              <a:gd name="connsiteX43051" fmla="*/ 4541530 w 8079933"/>
              <a:gd name="connsiteY43051" fmla="*/ 1375145 h 4687251"/>
              <a:gd name="connsiteX43052" fmla="*/ 4537406 w 8079933"/>
              <a:gd name="connsiteY43052" fmla="*/ 1369190 h 4687251"/>
              <a:gd name="connsiteX43053" fmla="*/ 4533608 w 8079933"/>
              <a:gd name="connsiteY43053" fmla="*/ 1369190 h 4687251"/>
              <a:gd name="connsiteX43054" fmla="*/ 4531438 w 8079933"/>
              <a:gd name="connsiteY43054" fmla="*/ 1370056 h 4687251"/>
              <a:gd name="connsiteX43055" fmla="*/ 4526012 w 8079933"/>
              <a:gd name="connsiteY43055" fmla="*/ 1370056 h 4687251"/>
              <a:gd name="connsiteX43056" fmla="*/ 4522973 w 8079933"/>
              <a:gd name="connsiteY43056" fmla="*/ 1365509 h 4687251"/>
              <a:gd name="connsiteX43057" fmla="*/ 4517331 w 8079933"/>
              <a:gd name="connsiteY43057" fmla="*/ 1365509 h 4687251"/>
              <a:gd name="connsiteX43058" fmla="*/ 4511687 w 8079933"/>
              <a:gd name="connsiteY43058" fmla="*/ 1359337 h 4687251"/>
              <a:gd name="connsiteX43059" fmla="*/ 4512556 w 8079933"/>
              <a:gd name="connsiteY43059" fmla="*/ 1356306 h 4687251"/>
              <a:gd name="connsiteX43060" fmla="*/ 4517764 w 8079933"/>
              <a:gd name="connsiteY43060" fmla="*/ 1360637 h 4687251"/>
              <a:gd name="connsiteX43061" fmla="*/ 4517764 w 8079933"/>
              <a:gd name="connsiteY43061" fmla="*/ 1353924 h 4687251"/>
              <a:gd name="connsiteX43062" fmla="*/ 4516137 w 8079933"/>
              <a:gd name="connsiteY43062" fmla="*/ 1350892 h 4687251"/>
              <a:gd name="connsiteX43063" fmla="*/ 4519609 w 8079933"/>
              <a:gd name="connsiteY43063" fmla="*/ 1347969 h 4687251"/>
              <a:gd name="connsiteX43064" fmla="*/ 4514400 w 8079933"/>
              <a:gd name="connsiteY43064" fmla="*/ 1348835 h 4687251"/>
              <a:gd name="connsiteX43065" fmla="*/ 4507672 w 8079933"/>
              <a:gd name="connsiteY43065" fmla="*/ 1352408 h 4687251"/>
              <a:gd name="connsiteX43066" fmla="*/ 4506587 w 8079933"/>
              <a:gd name="connsiteY43066" fmla="*/ 1353707 h 4687251"/>
              <a:gd name="connsiteX43067" fmla="*/ 4506408 w 8079933"/>
              <a:gd name="connsiteY43067" fmla="*/ 1352346 h 4687251"/>
              <a:gd name="connsiteX43068" fmla="*/ 4507022 w 8079933"/>
              <a:gd name="connsiteY43068" fmla="*/ 1357170 h 4687251"/>
              <a:gd name="connsiteX43069" fmla="*/ 4505177 w 8079933"/>
              <a:gd name="connsiteY43069" fmla="*/ 1361177 h 4687251"/>
              <a:gd name="connsiteX43070" fmla="*/ 4500510 w 8079933"/>
              <a:gd name="connsiteY43070" fmla="*/ 1359877 h 4687251"/>
              <a:gd name="connsiteX43071" fmla="*/ 4499751 w 8079933"/>
              <a:gd name="connsiteY43071" fmla="*/ 1356954 h 4687251"/>
              <a:gd name="connsiteX43072" fmla="*/ 4496496 w 8079933"/>
              <a:gd name="connsiteY43072" fmla="*/ 1355872 h 4687251"/>
              <a:gd name="connsiteX43073" fmla="*/ 4494326 w 8079933"/>
              <a:gd name="connsiteY43073" fmla="*/ 1357170 h 4687251"/>
              <a:gd name="connsiteX43074" fmla="*/ 4496279 w 8079933"/>
              <a:gd name="connsiteY43074" fmla="*/ 1359119 h 4687251"/>
              <a:gd name="connsiteX43075" fmla="*/ 4496279 w 8079933"/>
              <a:gd name="connsiteY43075" fmla="*/ 1361609 h 4687251"/>
              <a:gd name="connsiteX43076" fmla="*/ 4488900 w 8079933"/>
              <a:gd name="connsiteY43076" fmla="*/ 1362692 h 4687251"/>
              <a:gd name="connsiteX43077" fmla="*/ 4485427 w 8079933"/>
              <a:gd name="connsiteY43077" fmla="*/ 1359661 h 4687251"/>
              <a:gd name="connsiteX43078" fmla="*/ 4479242 w 8079933"/>
              <a:gd name="connsiteY43078" fmla="*/ 1360960 h 4687251"/>
              <a:gd name="connsiteX43079" fmla="*/ 4476203 w 8079933"/>
              <a:gd name="connsiteY43079" fmla="*/ 1363883 h 4687251"/>
              <a:gd name="connsiteX43080" fmla="*/ 4475118 w 8079933"/>
              <a:gd name="connsiteY43080" fmla="*/ 1361393 h 4687251"/>
              <a:gd name="connsiteX43081" fmla="*/ 4472405 w 8079933"/>
              <a:gd name="connsiteY43081" fmla="*/ 1360635 h 4687251"/>
              <a:gd name="connsiteX43082" fmla="*/ 4472405 w 8079933"/>
              <a:gd name="connsiteY43082" fmla="*/ 1363883 h 4687251"/>
              <a:gd name="connsiteX43083" fmla="*/ 4469366 w 8079933"/>
              <a:gd name="connsiteY43083" fmla="*/ 1364966 h 4687251"/>
              <a:gd name="connsiteX43084" fmla="*/ 4466979 w 8079933"/>
              <a:gd name="connsiteY43084" fmla="*/ 1359769 h 4687251"/>
              <a:gd name="connsiteX43085" fmla="*/ 4465894 w 8079933"/>
              <a:gd name="connsiteY43085" fmla="*/ 1363234 h 4687251"/>
              <a:gd name="connsiteX43086" fmla="*/ 4463181 w 8079933"/>
              <a:gd name="connsiteY43086" fmla="*/ 1363234 h 4687251"/>
              <a:gd name="connsiteX43087" fmla="*/ 4460794 w 8079933"/>
              <a:gd name="connsiteY43087" fmla="*/ 1358578 h 4687251"/>
              <a:gd name="connsiteX43088" fmla="*/ 4458840 w 8079933"/>
              <a:gd name="connsiteY43088" fmla="*/ 1360527 h 4687251"/>
              <a:gd name="connsiteX43089" fmla="*/ 4460794 w 8079933"/>
              <a:gd name="connsiteY43089" fmla="*/ 1365399 h 4687251"/>
              <a:gd name="connsiteX43090" fmla="*/ 4458624 w 8079933"/>
              <a:gd name="connsiteY43090" fmla="*/ 1364858 h 4687251"/>
              <a:gd name="connsiteX43091" fmla="*/ 4456127 w 8079933"/>
              <a:gd name="connsiteY43091" fmla="*/ 1370596 h 4687251"/>
              <a:gd name="connsiteX43092" fmla="*/ 4453631 w 8079933"/>
              <a:gd name="connsiteY43092" fmla="*/ 1369513 h 4687251"/>
              <a:gd name="connsiteX43093" fmla="*/ 4455585 w 8079933"/>
              <a:gd name="connsiteY43093" fmla="*/ 1365508 h 4687251"/>
              <a:gd name="connsiteX43094" fmla="*/ 4454717 w 8079933"/>
              <a:gd name="connsiteY43094" fmla="*/ 1363558 h 4687251"/>
              <a:gd name="connsiteX43095" fmla="*/ 4450919 w 8079933"/>
              <a:gd name="connsiteY43095" fmla="*/ 1369297 h 4687251"/>
              <a:gd name="connsiteX43096" fmla="*/ 4446795 w 8079933"/>
              <a:gd name="connsiteY43096" fmla="*/ 1370055 h 4687251"/>
              <a:gd name="connsiteX43097" fmla="*/ 4440610 w 8079933"/>
              <a:gd name="connsiteY43097" fmla="*/ 1368214 h 4687251"/>
              <a:gd name="connsiteX43098" fmla="*/ 4440067 w 8079933"/>
              <a:gd name="connsiteY43098" fmla="*/ 1370705 h 4687251"/>
              <a:gd name="connsiteX43099" fmla="*/ 4430626 w 8079933"/>
              <a:gd name="connsiteY43099" fmla="*/ 1376876 h 4687251"/>
              <a:gd name="connsiteX43100" fmla="*/ 4426285 w 8079933"/>
              <a:gd name="connsiteY43100" fmla="*/ 1376876 h 4687251"/>
              <a:gd name="connsiteX43101" fmla="*/ 4418472 w 8079933"/>
              <a:gd name="connsiteY43101" fmla="*/ 1382506 h 4687251"/>
              <a:gd name="connsiteX43102" fmla="*/ 4415000 w 8079933"/>
              <a:gd name="connsiteY43102" fmla="*/ 1382506 h 4687251"/>
              <a:gd name="connsiteX43103" fmla="*/ 4410876 w 8079933"/>
              <a:gd name="connsiteY43103" fmla="*/ 1384347 h 4687251"/>
              <a:gd name="connsiteX43104" fmla="*/ 4410333 w 8079933"/>
              <a:gd name="connsiteY43104" fmla="*/ 1381315 h 4687251"/>
              <a:gd name="connsiteX43105" fmla="*/ 4407403 w 8079933"/>
              <a:gd name="connsiteY43105" fmla="*/ 1382723 h 4687251"/>
              <a:gd name="connsiteX43106" fmla="*/ 4404908 w 8079933"/>
              <a:gd name="connsiteY43106" fmla="*/ 1389760 h 4687251"/>
              <a:gd name="connsiteX43107" fmla="*/ 4403280 w 8079933"/>
              <a:gd name="connsiteY43107" fmla="*/ 1388894 h 4687251"/>
              <a:gd name="connsiteX43108" fmla="*/ 4404908 w 8079933"/>
              <a:gd name="connsiteY43108" fmla="*/ 1384022 h 4687251"/>
              <a:gd name="connsiteX43109" fmla="*/ 4403605 w 8079933"/>
              <a:gd name="connsiteY43109" fmla="*/ 1381098 h 4687251"/>
              <a:gd name="connsiteX43110" fmla="*/ 4397637 w 8079933"/>
              <a:gd name="connsiteY43110" fmla="*/ 1372653 h 4687251"/>
              <a:gd name="connsiteX43111" fmla="*/ 4400567 w 8079933"/>
              <a:gd name="connsiteY43111" fmla="*/ 1368647 h 4687251"/>
              <a:gd name="connsiteX43112" fmla="*/ 4400567 w 8079933"/>
              <a:gd name="connsiteY43112" fmla="*/ 1365399 h 4687251"/>
              <a:gd name="connsiteX43113" fmla="*/ 4394816 w 8079933"/>
              <a:gd name="connsiteY43113" fmla="*/ 1369405 h 4687251"/>
              <a:gd name="connsiteX43114" fmla="*/ 4392319 w 8079933"/>
              <a:gd name="connsiteY43114" fmla="*/ 1369405 h 4687251"/>
              <a:gd name="connsiteX43115" fmla="*/ 4394164 w 8079933"/>
              <a:gd name="connsiteY43115" fmla="*/ 1365940 h 4687251"/>
              <a:gd name="connsiteX43116" fmla="*/ 4392211 w 8079933"/>
              <a:gd name="connsiteY43116" fmla="*/ 1365074 h 4687251"/>
              <a:gd name="connsiteX43117" fmla="*/ 4385375 w 8079933"/>
              <a:gd name="connsiteY43117" fmla="*/ 1365833 h 4687251"/>
              <a:gd name="connsiteX43118" fmla="*/ 4382119 w 8079933"/>
              <a:gd name="connsiteY43118" fmla="*/ 1362909 h 4687251"/>
              <a:gd name="connsiteX43119" fmla="*/ 4378864 w 8079933"/>
              <a:gd name="connsiteY43119" fmla="*/ 1363451 h 4687251"/>
              <a:gd name="connsiteX43120" fmla="*/ 4373438 w 8079933"/>
              <a:gd name="connsiteY43120" fmla="*/ 1357712 h 4687251"/>
              <a:gd name="connsiteX43121" fmla="*/ 4372353 w 8079933"/>
              <a:gd name="connsiteY43121" fmla="*/ 1360635 h 4687251"/>
              <a:gd name="connsiteX43122" fmla="*/ 4369965 w 8079933"/>
              <a:gd name="connsiteY43122" fmla="*/ 1358795 h 4687251"/>
              <a:gd name="connsiteX43123" fmla="*/ 4363672 w 8079933"/>
              <a:gd name="connsiteY43123" fmla="*/ 1361718 h 4687251"/>
              <a:gd name="connsiteX43124" fmla="*/ 4361827 w 8079933"/>
              <a:gd name="connsiteY43124" fmla="*/ 1359228 h 4687251"/>
              <a:gd name="connsiteX43125" fmla="*/ 4361827 w 8079933"/>
              <a:gd name="connsiteY43125" fmla="*/ 1355655 h 4687251"/>
              <a:gd name="connsiteX43126" fmla="*/ 4364322 w 8079933"/>
              <a:gd name="connsiteY43126" fmla="*/ 1350458 h 4687251"/>
              <a:gd name="connsiteX43127" fmla="*/ 4361610 w 8079933"/>
              <a:gd name="connsiteY43127" fmla="*/ 1346993 h 4687251"/>
              <a:gd name="connsiteX43128" fmla="*/ 4361610 w 8079933"/>
              <a:gd name="connsiteY43128" fmla="*/ 1337249 h 4687251"/>
              <a:gd name="connsiteX43129" fmla="*/ 4363237 w 8079933"/>
              <a:gd name="connsiteY43129" fmla="*/ 1334326 h 4687251"/>
              <a:gd name="connsiteX43130" fmla="*/ 4362477 w 8079933"/>
              <a:gd name="connsiteY43130" fmla="*/ 1326964 h 4687251"/>
              <a:gd name="connsiteX43131" fmla="*/ 4365950 w 8079933"/>
              <a:gd name="connsiteY43131" fmla="*/ 1325556 h 4687251"/>
              <a:gd name="connsiteX43132" fmla="*/ 4362369 w 8079933"/>
              <a:gd name="connsiteY43132" fmla="*/ 1319926 h 4687251"/>
              <a:gd name="connsiteX43133" fmla="*/ 4363997 w 8079933"/>
              <a:gd name="connsiteY43133" fmla="*/ 1317003 h 4687251"/>
              <a:gd name="connsiteX43134" fmla="*/ 4361610 w 8079933"/>
              <a:gd name="connsiteY43134" fmla="*/ 1315054 h 4687251"/>
              <a:gd name="connsiteX43135" fmla="*/ 4356943 w 8079933"/>
              <a:gd name="connsiteY43135" fmla="*/ 1307366 h 4687251"/>
              <a:gd name="connsiteX43136" fmla="*/ 4357920 w 8079933"/>
              <a:gd name="connsiteY43136" fmla="*/ 1305309 h 4687251"/>
              <a:gd name="connsiteX43137" fmla="*/ 4356293 w 8079933"/>
              <a:gd name="connsiteY43137" fmla="*/ 1300762 h 4687251"/>
              <a:gd name="connsiteX43138" fmla="*/ 4357594 w 8079933"/>
              <a:gd name="connsiteY43138" fmla="*/ 1298271 h 4687251"/>
              <a:gd name="connsiteX43139" fmla="*/ 4358462 w 8079933"/>
              <a:gd name="connsiteY43139" fmla="*/ 1293183 h 4687251"/>
              <a:gd name="connsiteX43140" fmla="*/ 4355967 w 8079933"/>
              <a:gd name="connsiteY43140" fmla="*/ 1290476 h 4687251"/>
              <a:gd name="connsiteX43141" fmla="*/ 4352928 w 8079933"/>
              <a:gd name="connsiteY43141" fmla="*/ 1291884 h 4687251"/>
              <a:gd name="connsiteX43142" fmla="*/ 4352060 w 8079933"/>
              <a:gd name="connsiteY43142" fmla="*/ 1288743 h 4687251"/>
              <a:gd name="connsiteX43143" fmla="*/ 4353471 w 8079933"/>
              <a:gd name="connsiteY43143" fmla="*/ 1284088 h 4687251"/>
              <a:gd name="connsiteX43144" fmla="*/ 4352168 w 8079933"/>
              <a:gd name="connsiteY43144" fmla="*/ 1283114 h 4687251"/>
              <a:gd name="connsiteX43145" fmla="*/ 4350324 w 8079933"/>
              <a:gd name="connsiteY43145" fmla="*/ 1278349 h 4687251"/>
              <a:gd name="connsiteX43146" fmla="*/ 4352711 w 8079933"/>
              <a:gd name="connsiteY43146" fmla="*/ 1274344 h 4687251"/>
              <a:gd name="connsiteX43147" fmla="*/ 4354990 w 8079933"/>
              <a:gd name="connsiteY43147" fmla="*/ 1273802 h 4687251"/>
              <a:gd name="connsiteX43148" fmla="*/ 4356835 w 8079933"/>
              <a:gd name="connsiteY43148" fmla="*/ 1269363 h 4687251"/>
              <a:gd name="connsiteX43149" fmla="*/ 4354990 w 8079933"/>
              <a:gd name="connsiteY43149" fmla="*/ 1264816 h 4687251"/>
              <a:gd name="connsiteX43150" fmla="*/ 4357703 w 8079933"/>
              <a:gd name="connsiteY43150" fmla="*/ 1262543 h 4687251"/>
              <a:gd name="connsiteX43151" fmla="*/ 4356509 w 8079933"/>
              <a:gd name="connsiteY43151" fmla="*/ 1258212 h 4687251"/>
              <a:gd name="connsiteX43152" fmla="*/ 4359765 w 8079933"/>
              <a:gd name="connsiteY43152" fmla="*/ 1257021 h 4687251"/>
              <a:gd name="connsiteX43153" fmla="*/ 4362912 w 8079933"/>
              <a:gd name="connsiteY43153" fmla="*/ 1257995 h 4687251"/>
              <a:gd name="connsiteX43154" fmla="*/ 4363454 w 8079933"/>
              <a:gd name="connsiteY43154" fmla="*/ 1259727 h 4687251"/>
              <a:gd name="connsiteX43155" fmla="*/ 4365733 w 8079933"/>
              <a:gd name="connsiteY43155" fmla="*/ 1261351 h 4687251"/>
              <a:gd name="connsiteX43156" fmla="*/ 4369965 w 8079933"/>
              <a:gd name="connsiteY43156" fmla="*/ 1258645 h 4687251"/>
              <a:gd name="connsiteX43157" fmla="*/ 4371268 w 8079933"/>
              <a:gd name="connsiteY43157" fmla="*/ 1255938 h 4687251"/>
              <a:gd name="connsiteX43158" fmla="*/ 4374198 w 8079933"/>
              <a:gd name="connsiteY43158" fmla="*/ 1252906 h 4687251"/>
              <a:gd name="connsiteX43159" fmla="*/ 4374198 w 8079933"/>
              <a:gd name="connsiteY43159" fmla="*/ 1250633 h 4687251"/>
              <a:gd name="connsiteX43160" fmla="*/ 4370942 w 8079933"/>
              <a:gd name="connsiteY43160" fmla="*/ 1247384 h 4687251"/>
              <a:gd name="connsiteX43161" fmla="*/ 4372245 w 8079933"/>
              <a:gd name="connsiteY43161" fmla="*/ 1245544 h 4687251"/>
              <a:gd name="connsiteX43162" fmla="*/ 4375499 w 8079933"/>
              <a:gd name="connsiteY43162" fmla="*/ 1246951 h 4687251"/>
              <a:gd name="connsiteX43163" fmla="*/ 4374740 w 8079933"/>
              <a:gd name="connsiteY43163" fmla="*/ 1244678 h 4687251"/>
              <a:gd name="connsiteX43164" fmla="*/ 4376585 w 8079933"/>
              <a:gd name="connsiteY43164" fmla="*/ 1239589 h 4687251"/>
              <a:gd name="connsiteX43165" fmla="*/ 4379840 w 8079933"/>
              <a:gd name="connsiteY43165" fmla="*/ 1238398 h 4687251"/>
              <a:gd name="connsiteX43166" fmla="*/ 4381468 w 8079933"/>
              <a:gd name="connsiteY43166" fmla="*/ 1240564 h 4687251"/>
              <a:gd name="connsiteX43167" fmla="*/ 4387220 w 8079933"/>
              <a:gd name="connsiteY43167" fmla="*/ 1242404 h 4687251"/>
              <a:gd name="connsiteX43168" fmla="*/ 4383964 w 8079933"/>
              <a:gd name="connsiteY43168" fmla="*/ 1240022 h 4687251"/>
              <a:gd name="connsiteX43169" fmla="*/ 4382662 w 8079933"/>
              <a:gd name="connsiteY43169" fmla="*/ 1234067 h 4687251"/>
              <a:gd name="connsiteX43170" fmla="*/ 4385592 w 8079933"/>
              <a:gd name="connsiteY43170" fmla="*/ 1230061 h 4687251"/>
              <a:gd name="connsiteX43171" fmla="*/ 4390475 w 8079933"/>
              <a:gd name="connsiteY43171" fmla="*/ 1230061 h 4687251"/>
              <a:gd name="connsiteX43172" fmla="*/ 4391560 w 8079933"/>
              <a:gd name="connsiteY43172" fmla="*/ 1226272 h 4687251"/>
              <a:gd name="connsiteX43173" fmla="*/ 4389933 w 8079933"/>
              <a:gd name="connsiteY43173" fmla="*/ 1221616 h 4687251"/>
              <a:gd name="connsiteX43174" fmla="*/ 4392103 w 8079933"/>
              <a:gd name="connsiteY43174" fmla="*/ 1221616 h 4687251"/>
              <a:gd name="connsiteX43175" fmla="*/ 4393405 w 8079933"/>
              <a:gd name="connsiteY43175" fmla="*/ 1223998 h 4687251"/>
              <a:gd name="connsiteX43176" fmla="*/ 4395250 w 8079933"/>
              <a:gd name="connsiteY43176" fmla="*/ 1223456 h 4687251"/>
              <a:gd name="connsiteX43177" fmla="*/ 4396335 w 8079933"/>
              <a:gd name="connsiteY43177" fmla="*/ 1215661 h 4687251"/>
              <a:gd name="connsiteX43178" fmla="*/ 4403714 w 8079933"/>
              <a:gd name="connsiteY43178" fmla="*/ 1207866 h 4687251"/>
              <a:gd name="connsiteX43179" fmla="*/ 4405667 w 8079933"/>
              <a:gd name="connsiteY43179" fmla="*/ 1206458 h 4687251"/>
              <a:gd name="connsiteX43180" fmla="*/ 4405667 w 8079933"/>
              <a:gd name="connsiteY43180" fmla="*/ 1203210 h 4687251"/>
              <a:gd name="connsiteX43181" fmla="*/ 4410008 w 8079933"/>
              <a:gd name="connsiteY43181" fmla="*/ 1198663 h 4687251"/>
              <a:gd name="connsiteX43182" fmla="*/ 4410008 w 8079933"/>
              <a:gd name="connsiteY43182" fmla="*/ 1194874 h 4687251"/>
              <a:gd name="connsiteX43183" fmla="*/ 4416302 w 8079933"/>
              <a:gd name="connsiteY43183" fmla="*/ 1190759 h 4687251"/>
              <a:gd name="connsiteX43184" fmla="*/ 4422270 w 8079933"/>
              <a:gd name="connsiteY43184" fmla="*/ 1190759 h 4687251"/>
              <a:gd name="connsiteX43185" fmla="*/ 4429541 w 8079933"/>
              <a:gd name="connsiteY43185" fmla="*/ 1194765 h 4687251"/>
              <a:gd name="connsiteX43186" fmla="*/ 4429541 w 8079933"/>
              <a:gd name="connsiteY43186" fmla="*/ 1191842 h 4687251"/>
              <a:gd name="connsiteX43187" fmla="*/ 4423355 w 8079933"/>
              <a:gd name="connsiteY43187" fmla="*/ 1186753 h 4687251"/>
              <a:gd name="connsiteX43188" fmla="*/ 4425309 w 8079933"/>
              <a:gd name="connsiteY43188" fmla="*/ 1185995 h 4687251"/>
              <a:gd name="connsiteX43189" fmla="*/ 4430518 w 8079933"/>
              <a:gd name="connsiteY43189" fmla="*/ 1187078 h 4687251"/>
              <a:gd name="connsiteX43190" fmla="*/ 4423247 w 8079933"/>
              <a:gd name="connsiteY43190" fmla="*/ 1180365 h 4687251"/>
              <a:gd name="connsiteX43191" fmla="*/ 4424875 w 8079933"/>
              <a:gd name="connsiteY43191" fmla="*/ 1178958 h 4687251"/>
              <a:gd name="connsiteX43192" fmla="*/ 4424875 w 8079933"/>
              <a:gd name="connsiteY43192" fmla="*/ 1171703 h 4687251"/>
              <a:gd name="connsiteX43193" fmla="*/ 4422487 w 8079933"/>
              <a:gd name="connsiteY43193" fmla="*/ 1168455 h 4687251"/>
              <a:gd name="connsiteX43194" fmla="*/ 4425960 w 8079933"/>
              <a:gd name="connsiteY43194" fmla="*/ 1166832 h 4687251"/>
              <a:gd name="connsiteX43195" fmla="*/ 4419774 w 8079933"/>
              <a:gd name="connsiteY43195" fmla="*/ 1160877 h 4687251"/>
              <a:gd name="connsiteX43196" fmla="*/ 4410768 w 8079933"/>
              <a:gd name="connsiteY43196" fmla="*/ 1160877 h 4687251"/>
              <a:gd name="connsiteX43197" fmla="*/ 4406427 w 8079933"/>
              <a:gd name="connsiteY43197" fmla="*/ 1156329 h 4687251"/>
              <a:gd name="connsiteX43198" fmla="*/ 4401869 w 8079933"/>
              <a:gd name="connsiteY43198" fmla="*/ 1156329 h 4687251"/>
              <a:gd name="connsiteX43199" fmla="*/ 4400242 w 8079933"/>
              <a:gd name="connsiteY43199" fmla="*/ 1154597 h 4687251"/>
              <a:gd name="connsiteX43200" fmla="*/ 4400242 w 8079933"/>
              <a:gd name="connsiteY43200" fmla="*/ 1152287 h 4687251"/>
              <a:gd name="connsiteX43201" fmla="*/ 4400240 w 8079933"/>
              <a:gd name="connsiteY43201" fmla="*/ 1152324 h 4687251"/>
              <a:gd name="connsiteX43202" fmla="*/ 4400023 w 8079933"/>
              <a:gd name="connsiteY43202" fmla="*/ 1152107 h 4687251"/>
              <a:gd name="connsiteX43203" fmla="*/ 4396985 w 8079933"/>
              <a:gd name="connsiteY43203" fmla="*/ 1154273 h 4687251"/>
              <a:gd name="connsiteX43204" fmla="*/ 4392427 w 8079933"/>
              <a:gd name="connsiteY43204" fmla="*/ 1153948 h 4687251"/>
              <a:gd name="connsiteX43205" fmla="*/ 4389714 w 8079933"/>
              <a:gd name="connsiteY43205" fmla="*/ 1150699 h 4687251"/>
              <a:gd name="connsiteX43206" fmla="*/ 4384071 w 8079933"/>
              <a:gd name="connsiteY43206" fmla="*/ 1154273 h 4687251"/>
              <a:gd name="connsiteX43207" fmla="*/ 4380273 w 8079933"/>
              <a:gd name="connsiteY43207" fmla="*/ 1152107 h 4687251"/>
              <a:gd name="connsiteX43208" fmla="*/ 4378320 w 8079933"/>
              <a:gd name="connsiteY43208" fmla="*/ 1156113 h 4687251"/>
              <a:gd name="connsiteX43209" fmla="*/ 4374305 w 8079933"/>
              <a:gd name="connsiteY43209" fmla="*/ 1154489 h 4687251"/>
              <a:gd name="connsiteX43210" fmla="*/ 4372569 w 8079933"/>
              <a:gd name="connsiteY43210" fmla="*/ 1150483 h 4687251"/>
              <a:gd name="connsiteX43211" fmla="*/ 4368771 w 8079933"/>
              <a:gd name="connsiteY43211" fmla="*/ 1155247 h 4687251"/>
              <a:gd name="connsiteX43212" fmla="*/ 4365841 w 8079933"/>
              <a:gd name="connsiteY43212" fmla="*/ 1149942 h 4687251"/>
              <a:gd name="connsiteX43213" fmla="*/ 4363345 w 8079933"/>
              <a:gd name="connsiteY43213" fmla="*/ 1151891 h 4687251"/>
              <a:gd name="connsiteX43214" fmla="*/ 4362802 w 8079933"/>
              <a:gd name="connsiteY43214" fmla="*/ 1156546 h 4687251"/>
              <a:gd name="connsiteX43215" fmla="*/ 4361175 w 8079933"/>
              <a:gd name="connsiteY43215" fmla="*/ 1160336 h 4687251"/>
              <a:gd name="connsiteX43216" fmla="*/ 4357593 w 8079933"/>
              <a:gd name="connsiteY43216" fmla="*/ 1161093 h 4687251"/>
              <a:gd name="connsiteX43217" fmla="*/ 4355532 w 8079933"/>
              <a:gd name="connsiteY43217" fmla="*/ 1158495 h 4687251"/>
              <a:gd name="connsiteX43218" fmla="*/ 4352276 w 8079933"/>
              <a:gd name="connsiteY43218" fmla="*/ 1157413 h 4687251"/>
              <a:gd name="connsiteX43219" fmla="*/ 4355315 w 8079933"/>
              <a:gd name="connsiteY43219" fmla="*/ 1163151 h 4687251"/>
              <a:gd name="connsiteX43220" fmla="*/ 4358462 w 8079933"/>
              <a:gd name="connsiteY43220" fmla="*/ 1165316 h 4687251"/>
              <a:gd name="connsiteX43221" fmla="*/ 4354447 w 8079933"/>
              <a:gd name="connsiteY43221" fmla="*/ 1168889 h 4687251"/>
              <a:gd name="connsiteX43222" fmla="*/ 4350431 w 8079933"/>
              <a:gd name="connsiteY43222" fmla="*/ 1168672 h 4687251"/>
              <a:gd name="connsiteX43223" fmla="*/ 4346850 w 8079933"/>
              <a:gd name="connsiteY43223" fmla="*/ 1170621 h 4687251"/>
              <a:gd name="connsiteX43224" fmla="*/ 4351191 w 8079933"/>
              <a:gd name="connsiteY43224" fmla="*/ 1172679 h 4687251"/>
              <a:gd name="connsiteX43225" fmla="*/ 4350974 w 8079933"/>
              <a:gd name="connsiteY43225" fmla="*/ 1175385 h 4687251"/>
              <a:gd name="connsiteX43226" fmla="*/ 4349129 w 8079933"/>
              <a:gd name="connsiteY43226" fmla="*/ 1175927 h 4687251"/>
              <a:gd name="connsiteX43227" fmla="*/ 4348153 w 8079933"/>
              <a:gd name="connsiteY43227" fmla="*/ 1174303 h 4687251"/>
              <a:gd name="connsiteX43228" fmla="*/ 4345331 w 8079933"/>
              <a:gd name="connsiteY43228" fmla="*/ 1172895 h 4687251"/>
              <a:gd name="connsiteX43229" fmla="*/ 4343812 w 8079933"/>
              <a:gd name="connsiteY43229" fmla="*/ 1174627 h 4687251"/>
              <a:gd name="connsiteX43230" fmla="*/ 4345874 w 8079933"/>
              <a:gd name="connsiteY43230" fmla="*/ 1177984 h 4687251"/>
              <a:gd name="connsiteX43231" fmla="*/ 4348695 w 8079933"/>
              <a:gd name="connsiteY43231" fmla="*/ 1178092 h 4687251"/>
              <a:gd name="connsiteX43232" fmla="*/ 4350974 w 8079933"/>
              <a:gd name="connsiteY43232" fmla="*/ 1181015 h 4687251"/>
              <a:gd name="connsiteX43233" fmla="*/ 4349563 w 8079933"/>
              <a:gd name="connsiteY43233" fmla="*/ 1183723 h 4687251"/>
              <a:gd name="connsiteX43234" fmla="*/ 4346633 w 8079933"/>
              <a:gd name="connsiteY43234" fmla="*/ 1192059 h 4687251"/>
              <a:gd name="connsiteX43235" fmla="*/ 4347718 w 8079933"/>
              <a:gd name="connsiteY43235" fmla="*/ 1195415 h 4687251"/>
              <a:gd name="connsiteX43236" fmla="*/ 4341967 w 8079933"/>
              <a:gd name="connsiteY43236" fmla="*/ 1196498 h 4687251"/>
              <a:gd name="connsiteX43237" fmla="*/ 4346633 w 8079933"/>
              <a:gd name="connsiteY43237" fmla="*/ 1200180 h 4687251"/>
              <a:gd name="connsiteX43238" fmla="*/ 4350431 w 8079933"/>
              <a:gd name="connsiteY43238" fmla="*/ 1200829 h 4687251"/>
              <a:gd name="connsiteX43239" fmla="*/ 4351951 w 8079933"/>
              <a:gd name="connsiteY43239" fmla="*/ 1203860 h 4687251"/>
              <a:gd name="connsiteX43240" fmla="*/ 4349021 w 8079933"/>
              <a:gd name="connsiteY43240" fmla="*/ 1204943 h 4687251"/>
              <a:gd name="connsiteX43241" fmla="*/ 4351734 w 8079933"/>
              <a:gd name="connsiteY43241" fmla="*/ 1208733 h 4687251"/>
              <a:gd name="connsiteX43242" fmla="*/ 4355206 w 8079933"/>
              <a:gd name="connsiteY43242" fmla="*/ 1208733 h 4687251"/>
              <a:gd name="connsiteX43243" fmla="*/ 4350431 w 8079933"/>
              <a:gd name="connsiteY43243" fmla="*/ 1214688 h 4687251"/>
              <a:gd name="connsiteX43244" fmla="*/ 4347393 w 8079933"/>
              <a:gd name="connsiteY43244" fmla="*/ 1214904 h 4687251"/>
              <a:gd name="connsiteX43245" fmla="*/ 4343920 w 8079933"/>
              <a:gd name="connsiteY43245" fmla="*/ 1219127 h 4687251"/>
              <a:gd name="connsiteX43246" fmla="*/ 4344680 w 8079933"/>
              <a:gd name="connsiteY43246" fmla="*/ 1226814 h 4687251"/>
              <a:gd name="connsiteX43247" fmla="*/ 4340013 w 8079933"/>
              <a:gd name="connsiteY43247" fmla="*/ 1234826 h 4687251"/>
              <a:gd name="connsiteX43248" fmla="*/ 4336867 w 8079933"/>
              <a:gd name="connsiteY43248" fmla="*/ 1234609 h 4687251"/>
              <a:gd name="connsiteX43249" fmla="*/ 4331984 w 8079933"/>
              <a:gd name="connsiteY43249" fmla="*/ 1239265 h 4687251"/>
              <a:gd name="connsiteX43250" fmla="*/ 4329487 w 8079933"/>
              <a:gd name="connsiteY43250" fmla="*/ 1236017 h 4687251"/>
              <a:gd name="connsiteX43251" fmla="*/ 4328728 w 8079933"/>
              <a:gd name="connsiteY43251" fmla="*/ 1240239 h 4687251"/>
              <a:gd name="connsiteX43252" fmla="*/ 4330573 w 8079933"/>
              <a:gd name="connsiteY43252" fmla="*/ 1244462 h 4687251"/>
              <a:gd name="connsiteX43253" fmla="*/ 4324821 w 8079933"/>
              <a:gd name="connsiteY43253" fmla="*/ 1247818 h 4687251"/>
              <a:gd name="connsiteX43254" fmla="*/ 4322434 w 8079933"/>
              <a:gd name="connsiteY43254" fmla="*/ 1252582 h 4687251"/>
              <a:gd name="connsiteX43255" fmla="*/ 4319504 w 8079933"/>
              <a:gd name="connsiteY43255" fmla="*/ 1252474 h 4687251"/>
              <a:gd name="connsiteX43256" fmla="*/ 4318962 w 8079933"/>
              <a:gd name="connsiteY43256" fmla="*/ 1249010 h 4687251"/>
              <a:gd name="connsiteX43257" fmla="*/ 4315381 w 8079933"/>
              <a:gd name="connsiteY43257" fmla="*/ 1249010 h 4687251"/>
              <a:gd name="connsiteX43258" fmla="*/ 4313210 w 8079933"/>
              <a:gd name="connsiteY43258" fmla="*/ 1253881 h 4687251"/>
              <a:gd name="connsiteX43259" fmla="*/ 4313210 w 8079933"/>
              <a:gd name="connsiteY43259" fmla="*/ 1259295 h 4687251"/>
              <a:gd name="connsiteX43260" fmla="*/ 4309954 w 8079933"/>
              <a:gd name="connsiteY43260" fmla="*/ 1262218 h 4687251"/>
              <a:gd name="connsiteX43261" fmla="*/ 4308001 w 8079933"/>
              <a:gd name="connsiteY43261" fmla="*/ 1259079 h 4687251"/>
              <a:gd name="connsiteX43262" fmla="*/ 4305939 w 8079933"/>
              <a:gd name="connsiteY43262" fmla="*/ 1259079 h 4687251"/>
              <a:gd name="connsiteX43263" fmla="*/ 4304746 w 8079933"/>
              <a:gd name="connsiteY43263" fmla="*/ 1264167 h 4687251"/>
              <a:gd name="connsiteX43264" fmla="*/ 4302576 w 8079933"/>
              <a:gd name="connsiteY43264" fmla="*/ 1264708 h 4687251"/>
              <a:gd name="connsiteX43265" fmla="*/ 4300513 w 8079933"/>
              <a:gd name="connsiteY43265" fmla="*/ 1262218 h 4687251"/>
              <a:gd name="connsiteX43266" fmla="*/ 4297258 w 8079933"/>
              <a:gd name="connsiteY43266" fmla="*/ 1265467 h 4687251"/>
              <a:gd name="connsiteX43267" fmla="*/ 4295847 w 8079933"/>
              <a:gd name="connsiteY43267" fmla="*/ 1269473 h 4687251"/>
              <a:gd name="connsiteX43268" fmla="*/ 4299103 w 8079933"/>
              <a:gd name="connsiteY43268" fmla="*/ 1270122 h 4687251"/>
              <a:gd name="connsiteX43269" fmla="*/ 4298777 w 8079933"/>
              <a:gd name="connsiteY43269" fmla="*/ 1272829 h 4687251"/>
              <a:gd name="connsiteX43270" fmla="*/ 4292267 w 8079933"/>
              <a:gd name="connsiteY43270" fmla="*/ 1278459 h 4687251"/>
              <a:gd name="connsiteX43271" fmla="*/ 4288034 w 8079933"/>
              <a:gd name="connsiteY43271" fmla="*/ 1277376 h 4687251"/>
              <a:gd name="connsiteX43272" fmla="*/ 4286841 w 8079933"/>
              <a:gd name="connsiteY43272" fmla="*/ 1279867 h 4687251"/>
              <a:gd name="connsiteX43273" fmla="*/ 4288794 w 8079933"/>
              <a:gd name="connsiteY43273" fmla="*/ 1283981 h 4687251"/>
              <a:gd name="connsiteX43274" fmla="*/ 4284887 w 8079933"/>
              <a:gd name="connsiteY43274" fmla="*/ 1289719 h 4687251"/>
              <a:gd name="connsiteX43275" fmla="*/ 4277942 w 8079933"/>
              <a:gd name="connsiteY43275" fmla="*/ 1290910 h 4687251"/>
              <a:gd name="connsiteX43276" fmla="*/ 4274144 w 8079933"/>
              <a:gd name="connsiteY43276" fmla="*/ 1289611 h 4687251"/>
              <a:gd name="connsiteX43277" fmla="*/ 4279678 w 8079933"/>
              <a:gd name="connsiteY43277" fmla="*/ 1296540 h 4687251"/>
              <a:gd name="connsiteX43278" fmla="*/ 4280330 w 8079933"/>
              <a:gd name="connsiteY43278" fmla="*/ 1302495 h 4687251"/>
              <a:gd name="connsiteX43279" fmla="*/ 4279027 w 8079933"/>
              <a:gd name="connsiteY43279" fmla="*/ 1304227 h 4687251"/>
              <a:gd name="connsiteX43280" fmla="*/ 4279895 w 8079933"/>
              <a:gd name="connsiteY43280" fmla="*/ 1309640 h 4687251"/>
              <a:gd name="connsiteX43281" fmla="*/ 4278702 w 8079933"/>
              <a:gd name="connsiteY43281" fmla="*/ 1316678 h 4687251"/>
              <a:gd name="connsiteX43282" fmla="*/ 4282283 w 8079933"/>
              <a:gd name="connsiteY43282" fmla="*/ 1320468 h 4687251"/>
              <a:gd name="connsiteX43283" fmla="*/ 4281740 w 8079933"/>
              <a:gd name="connsiteY43283" fmla="*/ 1325123 h 4687251"/>
              <a:gd name="connsiteX43284" fmla="*/ 4278702 w 8079933"/>
              <a:gd name="connsiteY43284" fmla="*/ 1322417 h 4687251"/>
              <a:gd name="connsiteX43285" fmla="*/ 4277617 w 8079933"/>
              <a:gd name="connsiteY43285" fmla="*/ 1323932 h 4687251"/>
              <a:gd name="connsiteX43286" fmla="*/ 4279027 w 8079933"/>
              <a:gd name="connsiteY43286" fmla="*/ 1330970 h 4687251"/>
              <a:gd name="connsiteX43287" fmla="*/ 4275447 w 8079933"/>
              <a:gd name="connsiteY43287" fmla="*/ 1335409 h 4687251"/>
              <a:gd name="connsiteX43288" fmla="*/ 4279027 w 8079933"/>
              <a:gd name="connsiteY43288" fmla="*/ 1336925 h 4687251"/>
              <a:gd name="connsiteX43289" fmla="*/ 4279027 w 8079933"/>
              <a:gd name="connsiteY43289" fmla="*/ 1339740 h 4687251"/>
              <a:gd name="connsiteX43290" fmla="*/ 4276857 w 8079933"/>
              <a:gd name="connsiteY43290" fmla="*/ 1341039 h 4687251"/>
              <a:gd name="connsiteX43291" fmla="*/ 4279353 w 8079933"/>
              <a:gd name="connsiteY43291" fmla="*/ 1346236 h 4687251"/>
              <a:gd name="connsiteX43292" fmla="*/ 4276097 w 8079933"/>
              <a:gd name="connsiteY43292" fmla="*/ 1350458 h 4687251"/>
              <a:gd name="connsiteX43293" fmla="*/ 4278810 w 8079933"/>
              <a:gd name="connsiteY43293" fmla="*/ 1353274 h 4687251"/>
              <a:gd name="connsiteX43294" fmla="*/ 4281198 w 8079933"/>
              <a:gd name="connsiteY43294" fmla="*/ 1356955 h 4687251"/>
              <a:gd name="connsiteX43295" fmla="*/ 4284453 w 8079933"/>
              <a:gd name="connsiteY43295" fmla="*/ 1357605 h 4687251"/>
              <a:gd name="connsiteX43296" fmla="*/ 4284453 w 8079933"/>
              <a:gd name="connsiteY43296" fmla="*/ 1362152 h 4687251"/>
              <a:gd name="connsiteX43297" fmla="*/ 4286841 w 8079933"/>
              <a:gd name="connsiteY43297" fmla="*/ 1360745 h 4687251"/>
              <a:gd name="connsiteX43298" fmla="*/ 4289336 w 8079933"/>
              <a:gd name="connsiteY43298" fmla="*/ 1365075 h 4687251"/>
              <a:gd name="connsiteX43299" fmla="*/ 4293460 w 8079933"/>
              <a:gd name="connsiteY43299" fmla="*/ 1359986 h 4687251"/>
              <a:gd name="connsiteX43300" fmla="*/ 4296716 w 8079933"/>
              <a:gd name="connsiteY43300" fmla="*/ 1362693 h 4687251"/>
              <a:gd name="connsiteX43301" fmla="*/ 4297801 w 8079933"/>
              <a:gd name="connsiteY43301" fmla="*/ 1366807 h 4687251"/>
              <a:gd name="connsiteX43302" fmla="*/ 4306374 w 8079933"/>
              <a:gd name="connsiteY43302" fmla="*/ 1373304 h 4687251"/>
              <a:gd name="connsiteX43303" fmla="*/ 4305071 w 8079933"/>
              <a:gd name="connsiteY43303" fmla="*/ 1376011 h 4687251"/>
              <a:gd name="connsiteX43304" fmla="*/ 4312125 w 8079933"/>
              <a:gd name="connsiteY43304" fmla="*/ 1380233 h 4687251"/>
              <a:gd name="connsiteX43305" fmla="*/ 4312125 w 8079933"/>
              <a:gd name="connsiteY43305" fmla="*/ 1383806 h 4687251"/>
              <a:gd name="connsiteX43306" fmla="*/ 4316791 w 8079933"/>
              <a:gd name="connsiteY43306" fmla="*/ 1388353 h 4687251"/>
              <a:gd name="connsiteX43307" fmla="*/ 4313752 w 8079933"/>
              <a:gd name="connsiteY43307" fmla="*/ 1395608 h 4687251"/>
              <a:gd name="connsiteX43308" fmla="*/ 4307784 w 8079933"/>
              <a:gd name="connsiteY43308" fmla="*/ 1401996 h 4687251"/>
              <a:gd name="connsiteX43309" fmla="*/ 4306156 w 8079933"/>
              <a:gd name="connsiteY43309" fmla="*/ 1406868 h 4687251"/>
              <a:gd name="connsiteX43310" fmla="*/ 4299645 w 8079933"/>
              <a:gd name="connsiteY43310" fmla="*/ 1408492 h 4687251"/>
              <a:gd name="connsiteX43311" fmla="*/ 4295739 w 8079933"/>
              <a:gd name="connsiteY43311" fmla="*/ 1406326 h 4687251"/>
              <a:gd name="connsiteX43312" fmla="*/ 4296173 w 8079933"/>
              <a:gd name="connsiteY43312" fmla="*/ 1403294 h 4687251"/>
              <a:gd name="connsiteX43313" fmla="*/ 4290747 w 8079933"/>
              <a:gd name="connsiteY43313" fmla="*/ 1401346 h 4687251"/>
              <a:gd name="connsiteX43314" fmla="*/ 4288468 w 8079933"/>
              <a:gd name="connsiteY43314" fmla="*/ 1398964 h 4687251"/>
              <a:gd name="connsiteX43315" fmla="*/ 4288251 w 8079933"/>
              <a:gd name="connsiteY43315" fmla="*/ 1401887 h 4687251"/>
              <a:gd name="connsiteX43316" fmla="*/ 4285321 w 8079933"/>
              <a:gd name="connsiteY43316" fmla="*/ 1401996 h 4687251"/>
              <a:gd name="connsiteX43317" fmla="*/ 4283368 w 8079933"/>
              <a:gd name="connsiteY43317" fmla="*/ 1399830 h 4687251"/>
              <a:gd name="connsiteX43318" fmla="*/ 4279245 w 8079933"/>
              <a:gd name="connsiteY43318" fmla="*/ 1398964 h 4687251"/>
              <a:gd name="connsiteX43319" fmla="*/ 4277617 w 8079933"/>
              <a:gd name="connsiteY43319" fmla="*/ 1401996 h 4687251"/>
              <a:gd name="connsiteX43320" fmla="*/ 4273927 w 8079933"/>
              <a:gd name="connsiteY43320" fmla="*/ 1403078 h 4687251"/>
              <a:gd name="connsiteX43321" fmla="*/ 4271974 w 8079933"/>
              <a:gd name="connsiteY43321" fmla="*/ 1401129 h 4687251"/>
              <a:gd name="connsiteX43322" fmla="*/ 4268501 w 8079933"/>
              <a:gd name="connsiteY43322" fmla="*/ 1405677 h 4687251"/>
              <a:gd name="connsiteX43323" fmla="*/ 4264594 w 8079933"/>
              <a:gd name="connsiteY43323" fmla="*/ 1403620 h 4687251"/>
              <a:gd name="connsiteX43324" fmla="*/ 4261122 w 8079933"/>
              <a:gd name="connsiteY43324" fmla="*/ 1405135 h 4687251"/>
              <a:gd name="connsiteX43325" fmla="*/ 4261340 w 8079933"/>
              <a:gd name="connsiteY43325" fmla="*/ 1406868 h 4687251"/>
              <a:gd name="connsiteX43326" fmla="*/ 4268501 w 8079933"/>
              <a:gd name="connsiteY43326" fmla="*/ 1407625 h 4687251"/>
              <a:gd name="connsiteX43327" fmla="*/ 4270346 w 8079933"/>
              <a:gd name="connsiteY43327" fmla="*/ 1409033 h 4687251"/>
              <a:gd name="connsiteX43328" fmla="*/ 4270889 w 8079933"/>
              <a:gd name="connsiteY43328" fmla="*/ 1406759 h 4687251"/>
              <a:gd name="connsiteX43329" fmla="*/ 4277183 w 8079933"/>
              <a:gd name="connsiteY43329" fmla="*/ 1406543 h 4687251"/>
              <a:gd name="connsiteX43330" fmla="*/ 4280330 w 8079933"/>
              <a:gd name="connsiteY43330" fmla="*/ 1408492 h 4687251"/>
              <a:gd name="connsiteX43331" fmla="*/ 4285321 w 8079933"/>
              <a:gd name="connsiteY43331" fmla="*/ 1409466 h 4687251"/>
              <a:gd name="connsiteX43332" fmla="*/ 4288468 w 8079933"/>
              <a:gd name="connsiteY43332" fmla="*/ 1413580 h 4687251"/>
              <a:gd name="connsiteX43333" fmla="*/ 4292267 w 8079933"/>
              <a:gd name="connsiteY43333" fmla="*/ 1411415 h 4687251"/>
              <a:gd name="connsiteX43334" fmla="*/ 4294545 w 8079933"/>
              <a:gd name="connsiteY43334" fmla="*/ 1412498 h 4687251"/>
              <a:gd name="connsiteX43335" fmla="*/ 4298777 w 8079933"/>
              <a:gd name="connsiteY43335" fmla="*/ 1410224 h 4687251"/>
              <a:gd name="connsiteX43336" fmla="*/ 4304529 w 8079933"/>
              <a:gd name="connsiteY43336" fmla="*/ 1411740 h 4687251"/>
              <a:gd name="connsiteX43337" fmla="*/ 4307459 w 8079933"/>
              <a:gd name="connsiteY43337" fmla="*/ 1414338 h 4687251"/>
              <a:gd name="connsiteX43338" fmla="*/ 4308001 w 8079933"/>
              <a:gd name="connsiteY43338" fmla="*/ 1418777 h 4687251"/>
              <a:gd name="connsiteX43339" fmla="*/ 4304746 w 8079933"/>
              <a:gd name="connsiteY43339" fmla="*/ 1421484 h 4687251"/>
              <a:gd name="connsiteX43340" fmla="*/ 4301490 w 8079933"/>
              <a:gd name="connsiteY43340" fmla="*/ 1421484 h 4687251"/>
              <a:gd name="connsiteX43341" fmla="*/ 4297258 w 8079933"/>
              <a:gd name="connsiteY43341" fmla="*/ 1427872 h 4687251"/>
              <a:gd name="connsiteX43342" fmla="*/ 4294545 w 8079933"/>
              <a:gd name="connsiteY43342" fmla="*/ 1427655 h 4687251"/>
              <a:gd name="connsiteX43343" fmla="*/ 4295522 w 8079933"/>
              <a:gd name="connsiteY43343" fmla="*/ 1423325 h 4687251"/>
              <a:gd name="connsiteX43344" fmla="*/ 4293894 w 8079933"/>
              <a:gd name="connsiteY43344" fmla="*/ 1421159 h 4687251"/>
              <a:gd name="connsiteX43345" fmla="*/ 4292049 w 8079933"/>
              <a:gd name="connsiteY43345" fmla="*/ 1423650 h 4687251"/>
              <a:gd name="connsiteX43346" fmla="*/ 4292809 w 8079933"/>
              <a:gd name="connsiteY43346" fmla="*/ 1426789 h 4687251"/>
              <a:gd name="connsiteX43347" fmla="*/ 4289554 w 8079933"/>
              <a:gd name="connsiteY43347" fmla="*/ 1427114 h 4687251"/>
              <a:gd name="connsiteX43348" fmla="*/ 4286298 w 8079933"/>
              <a:gd name="connsiteY43348" fmla="*/ 1430687 h 4687251"/>
              <a:gd name="connsiteX43349" fmla="*/ 4285756 w 8079933"/>
              <a:gd name="connsiteY43349" fmla="*/ 1435559 h 4687251"/>
              <a:gd name="connsiteX43350" fmla="*/ 4281740 w 8079933"/>
              <a:gd name="connsiteY43350" fmla="*/ 1432528 h 4687251"/>
              <a:gd name="connsiteX43351" fmla="*/ 4281958 w 8079933"/>
              <a:gd name="connsiteY43351" fmla="*/ 1435559 h 4687251"/>
              <a:gd name="connsiteX43352" fmla="*/ 4279245 w 8079933"/>
              <a:gd name="connsiteY43352" fmla="*/ 1438158 h 4687251"/>
              <a:gd name="connsiteX43353" fmla="*/ 4278485 w 8079933"/>
              <a:gd name="connsiteY43353" fmla="*/ 1437075 h 4687251"/>
              <a:gd name="connsiteX43354" fmla="*/ 4275989 w 8079933"/>
              <a:gd name="connsiteY43354" fmla="*/ 1437075 h 4687251"/>
              <a:gd name="connsiteX43355" fmla="*/ 4273276 w 8079933"/>
              <a:gd name="connsiteY43355" fmla="*/ 1440323 h 4687251"/>
              <a:gd name="connsiteX43356" fmla="*/ 4277183 w 8079933"/>
              <a:gd name="connsiteY43356" fmla="*/ 1440865 h 4687251"/>
              <a:gd name="connsiteX43357" fmla="*/ 4281958 w 8079933"/>
              <a:gd name="connsiteY43357" fmla="*/ 1445737 h 4687251"/>
              <a:gd name="connsiteX43358" fmla="*/ 4273059 w 8079933"/>
              <a:gd name="connsiteY43358" fmla="*/ 1446061 h 4687251"/>
              <a:gd name="connsiteX43359" fmla="*/ 4280113 w 8079933"/>
              <a:gd name="connsiteY43359" fmla="*/ 1448552 h 4687251"/>
              <a:gd name="connsiteX43360" fmla="*/ 4280438 w 8079933"/>
              <a:gd name="connsiteY43360" fmla="*/ 1451475 h 4687251"/>
              <a:gd name="connsiteX43361" fmla="*/ 4277942 w 8079933"/>
              <a:gd name="connsiteY43361" fmla="*/ 1456889 h 4687251"/>
              <a:gd name="connsiteX43362" fmla="*/ 4283043 w 8079933"/>
              <a:gd name="connsiteY43362" fmla="*/ 1461544 h 4687251"/>
              <a:gd name="connsiteX43363" fmla="*/ 4277400 w 8079933"/>
              <a:gd name="connsiteY43363" fmla="*/ 1462627 h 4687251"/>
              <a:gd name="connsiteX43364" fmla="*/ 4272191 w 8079933"/>
              <a:gd name="connsiteY43364" fmla="*/ 1460678 h 4687251"/>
              <a:gd name="connsiteX43365" fmla="*/ 4275012 w 8079933"/>
              <a:gd name="connsiteY43365" fmla="*/ 1465226 h 4687251"/>
              <a:gd name="connsiteX43366" fmla="*/ 4272734 w 8079933"/>
              <a:gd name="connsiteY43366" fmla="*/ 1469340 h 4687251"/>
              <a:gd name="connsiteX43367" fmla="*/ 4277942 w 8079933"/>
              <a:gd name="connsiteY43367" fmla="*/ 1472587 h 4687251"/>
              <a:gd name="connsiteX43368" fmla="*/ 4273819 w 8079933"/>
              <a:gd name="connsiteY43368" fmla="*/ 1476377 h 4687251"/>
              <a:gd name="connsiteX43369" fmla="*/ 4277617 w 8079933"/>
              <a:gd name="connsiteY43369" fmla="*/ 1481250 h 4687251"/>
              <a:gd name="connsiteX43370" fmla="*/ 4273602 w 8079933"/>
              <a:gd name="connsiteY43370" fmla="*/ 1485797 h 4687251"/>
              <a:gd name="connsiteX43371" fmla="*/ 4273059 w 8079933"/>
              <a:gd name="connsiteY43371" fmla="*/ 1490669 h 4687251"/>
              <a:gd name="connsiteX43372" fmla="*/ 4277183 w 8079933"/>
              <a:gd name="connsiteY43372" fmla="*/ 1494242 h 4687251"/>
              <a:gd name="connsiteX43373" fmla="*/ 4275012 w 8079933"/>
              <a:gd name="connsiteY43373" fmla="*/ 1498031 h 4687251"/>
              <a:gd name="connsiteX43374" fmla="*/ 4274144 w 8079933"/>
              <a:gd name="connsiteY43374" fmla="*/ 1509725 h 4687251"/>
              <a:gd name="connsiteX43375" fmla="*/ 4270346 w 8079933"/>
              <a:gd name="connsiteY43375" fmla="*/ 1513731 h 4687251"/>
              <a:gd name="connsiteX43376" fmla="*/ 4268719 w 8079933"/>
              <a:gd name="connsiteY43376" fmla="*/ 1523150 h 4687251"/>
              <a:gd name="connsiteX43377" fmla="*/ 4263510 w 8079933"/>
              <a:gd name="connsiteY43377" fmla="*/ 1529430 h 4687251"/>
              <a:gd name="connsiteX43378" fmla="*/ 4260905 w 8079933"/>
              <a:gd name="connsiteY43378" fmla="*/ 1526182 h 4687251"/>
              <a:gd name="connsiteX43379" fmla="*/ 4256565 w 8079933"/>
              <a:gd name="connsiteY43379" fmla="*/ 1524233 h 4687251"/>
              <a:gd name="connsiteX43380" fmla="*/ 4251356 w 8079933"/>
              <a:gd name="connsiteY43380" fmla="*/ 1527048 h 4687251"/>
              <a:gd name="connsiteX43381" fmla="*/ 4242675 w 8079933"/>
              <a:gd name="connsiteY43381" fmla="*/ 1525641 h 4687251"/>
              <a:gd name="connsiteX43382" fmla="*/ 4241372 w 8079933"/>
              <a:gd name="connsiteY43382" fmla="*/ 1522176 h 4687251"/>
              <a:gd name="connsiteX43383" fmla="*/ 4239745 w 8079933"/>
              <a:gd name="connsiteY43383" fmla="*/ 1529754 h 4687251"/>
              <a:gd name="connsiteX43384" fmla="*/ 4232365 w 8079933"/>
              <a:gd name="connsiteY43384" fmla="*/ 1530729 h 4687251"/>
              <a:gd name="connsiteX43385" fmla="*/ 4229110 w 8079933"/>
              <a:gd name="connsiteY43385" fmla="*/ 1538416 h 4687251"/>
              <a:gd name="connsiteX43386" fmla="*/ 4231823 w 8079933"/>
              <a:gd name="connsiteY43386" fmla="*/ 1540798 h 4687251"/>
              <a:gd name="connsiteX43387" fmla="*/ 4232149 w 8079933"/>
              <a:gd name="connsiteY43387" fmla="*/ 1544588 h 4687251"/>
              <a:gd name="connsiteX43388" fmla="*/ 4227483 w 8079933"/>
              <a:gd name="connsiteY43388" fmla="*/ 1548919 h 4687251"/>
              <a:gd name="connsiteX43389" fmla="*/ 4221514 w 8079933"/>
              <a:gd name="connsiteY43389" fmla="*/ 1546753 h 4687251"/>
              <a:gd name="connsiteX43390" fmla="*/ 4209360 w 8079933"/>
              <a:gd name="connsiteY43390" fmla="*/ 1550002 h 4687251"/>
              <a:gd name="connsiteX43391" fmla="*/ 4204694 w 8079933"/>
              <a:gd name="connsiteY43391" fmla="*/ 1550002 h 4687251"/>
              <a:gd name="connsiteX43392" fmla="*/ 4202198 w 8079933"/>
              <a:gd name="connsiteY43392" fmla="*/ 1547619 h 4687251"/>
              <a:gd name="connsiteX43393" fmla="*/ 4204911 w 8079933"/>
              <a:gd name="connsiteY43393" fmla="*/ 1543288 h 4687251"/>
              <a:gd name="connsiteX43394" fmla="*/ 4202740 w 8079933"/>
              <a:gd name="connsiteY43394" fmla="*/ 1532137 h 4687251"/>
              <a:gd name="connsiteX43395" fmla="*/ 4197857 w 8079933"/>
              <a:gd name="connsiteY43395" fmla="*/ 1530729 h 4687251"/>
              <a:gd name="connsiteX43396" fmla="*/ 4197097 w 8079933"/>
              <a:gd name="connsiteY43396" fmla="*/ 1526398 h 4687251"/>
              <a:gd name="connsiteX43397" fmla="*/ 4193842 w 8079933"/>
              <a:gd name="connsiteY43397" fmla="*/ 1524341 h 4687251"/>
              <a:gd name="connsiteX43398" fmla="*/ 4194710 w 8079933"/>
              <a:gd name="connsiteY43398" fmla="*/ 1521851 h 4687251"/>
              <a:gd name="connsiteX43399" fmla="*/ 4200678 w 8079933"/>
              <a:gd name="connsiteY43399" fmla="*/ 1521093 h 4687251"/>
              <a:gd name="connsiteX43400" fmla="*/ 4204151 w 8079933"/>
              <a:gd name="connsiteY43400" fmla="*/ 1514597 h 4687251"/>
              <a:gd name="connsiteX43401" fmla="*/ 4202740 w 8079933"/>
              <a:gd name="connsiteY43401" fmla="*/ 1508858 h 4687251"/>
              <a:gd name="connsiteX43402" fmla="*/ 4197640 w 8079933"/>
              <a:gd name="connsiteY43402" fmla="*/ 1511782 h 4687251"/>
              <a:gd name="connsiteX43403" fmla="*/ 4193082 w 8079933"/>
              <a:gd name="connsiteY43403" fmla="*/ 1507235 h 4687251"/>
              <a:gd name="connsiteX43404" fmla="*/ 4191889 w 8079933"/>
              <a:gd name="connsiteY43404" fmla="*/ 1502687 h 4687251"/>
              <a:gd name="connsiteX43405" fmla="*/ 4187006 w 8079933"/>
              <a:gd name="connsiteY43405" fmla="*/ 1500738 h 4687251"/>
              <a:gd name="connsiteX43406" fmla="*/ 4186463 w 8079933"/>
              <a:gd name="connsiteY43406" fmla="*/ 1494025 h 4687251"/>
              <a:gd name="connsiteX43407" fmla="*/ 4182122 w 8079933"/>
              <a:gd name="connsiteY43407" fmla="*/ 1485256 h 4687251"/>
              <a:gd name="connsiteX43408" fmla="*/ 4179952 w 8079933"/>
              <a:gd name="connsiteY43408" fmla="*/ 1483415 h 4687251"/>
              <a:gd name="connsiteX43409" fmla="*/ 4177565 w 8079933"/>
              <a:gd name="connsiteY43409" fmla="*/ 1477244 h 4687251"/>
              <a:gd name="connsiteX43410" fmla="*/ 4173549 w 8079933"/>
              <a:gd name="connsiteY43410" fmla="*/ 1476269 h 4687251"/>
              <a:gd name="connsiteX43411" fmla="*/ 4170837 w 8079933"/>
              <a:gd name="connsiteY43411" fmla="*/ 1472371 h 4687251"/>
              <a:gd name="connsiteX43412" fmla="*/ 4173115 w 8079933"/>
              <a:gd name="connsiteY43412" fmla="*/ 1470097 h 4687251"/>
              <a:gd name="connsiteX43413" fmla="*/ 4173658 w 8079933"/>
              <a:gd name="connsiteY43413" fmla="*/ 1464901 h 4687251"/>
              <a:gd name="connsiteX43414" fmla="*/ 4172247 w 8079933"/>
              <a:gd name="connsiteY43414" fmla="*/ 1461220 h 4687251"/>
              <a:gd name="connsiteX43415" fmla="*/ 4173115 w 8079933"/>
              <a:gd name="connsiteY43415" fmla="*/ 1457430 h 4687251"/>
              <a:gd name="connsiteX43416" fmla="*/ 4177890 w 8079933"/>
              <a:gd name="connsiteY43416" fmla="*/ 1453532 h 4687251"/>
              <a:gd name="connsiteX43417" fmla="*/ 4176588 w 8079933"/>
              <a:gd name="connsiteY43417" fmla="*/ 1450934 h 4687251"/>
              <a:gd name="connsiteX43418" fmla="*/ 4172573 w 8079933"/>
              <a:gd name="connsiteY43418" fmla="*/ 1448660 h 4687251"/>
              <a:gd name="connsiteX43419" fmla="*/ 4173658 w 8079933"/>
              <a:gd name="connsiteY43419" fmla="*/ 1446278 h 4687251"/>
              <a:gd name="connsiteX43420" fmla="*/ 4171379 w 8079933"/>
              <a:gd name="connsiteY43420" fmla="*/ 1446170 h 4687251"/>
              <a:gd name="connsiteX43421" fmla="*/ 4170837 w 8079933"/>
              <a:gd name="connsiteY43421" fmla="*/ 1449851 h 4687251"/>
              <a:gd name="connsiteX43422" fmla="*/ 4174092 w 8079933"/>
              <a:gd name="connsiteY43422" fmla="*/ 1453316 h 4687251"/>
              <a:gd name="connsiteX43423" fmla="*/ 4168775 w 8079933"/>
              <a:gd name="connsiteY43423" fmla="*/ 1455589 h 4687251"/>
              <a:gd name="connsiteX43424" fmla="*/ 4169534 w 8079933"/>
              <a:gd name="connsiteY43424" fmla="*/ 1450501 h 4687251"/>
              <a:gd name="connsiteX43425" fmla="*/ 4168232 w 8079933"/>
              <a:gd name="connsiteY43425" fmla="*/ 1448768 h 4687251"/>
              <a:gd name="connsiteX43426" fmla="*/ 4164868 w 8079933"/>
              <a:gd name="connsiteY43426" fmla="*/ 1446928 h 4687251"/>
              <a:gd name="connsiteX43427" fmla="*/ 4164435 w 8079933"/>
              <a:gd name="connsiteY43427" fmla="*/ 1439240 h 4687251"/>
              <a:gd name="connsiteX43428" fmla="*/ 4162481 w 8079933"/>
              <a:gd name="connsiteY43428" fmla="*/ 1436426 h 4687251"/>
              <a:gd name="connsiteX43429" fmla="*/ 4161613 w 8079933"/>
              <a:gd name="connsiteY43429" fmla="*/ 1426140 h 4687251"/>
              <a:gd name="connsiteX43430" fmla="*/ 4165303 w 8079933"/>
              <a:gd name="connsiteY43430" fmla="*/ 1423975 h 4687251"/>
              <a:gd name="connsiteX43431" fmla="*/ 4165736 w 8079933"/>
              <a:gd name="connsiteY43431" fmla="*/ 1423541 h 4687251"/>
              <a:gd name="connsiteX43432" fmla="*/ 4168666 w 8079933"/>
              <a:gd name="connsiteY43432" fmla="*/ 1425490 h 4687251"/>
              <a:gd name="connsiteX43433" fmla="*/ 4171379 w 8079933"/>
              <a:gd name="connsiteY43433" fmla="*/ 1430363 h 4687251"/>
              <a:gd name="connsiteX43434" fmla="*/ 4173984 w 8079933"/>
              <a:gd name="connsiteY43434" fmla="*/ 1425490 h 4687251"/>
              <a:gd name="connsiteX43435" fmla="*/ 4173984 w 8079933"/>
              <a:gd name="connsiteY43435" fmla="*/ 1425489 h 4687251"/>
              <a:gd name="connsiteX43436" fmla="*/ 4171379 w 8079933"/>
              <a:gd name="connsiteY43436" fmla="*/ 1430362 h 4687251"/>
              <a:gd name="connsiteX43437" fmla="*/ 4168666 w 8079933"/>
              <a:gd name="connsiteY43437" fmla="*/ 1425489 h 4687251"/>
              <a:gd name="connsiteX43438" fmla="*/ 4165736 w 8079933"/>
              <a:gd name="connsiteY43438" fmla="*/ 1423540 h 4687251"/>
              <a:gd name="connsiteX43439" fmla="*/ 4167147 w 8079933"/>
              <a:gd name="connsiteY43439" fmla="*/ 1421700 h 4687251"/>
              <a:gd name="connsiteX43440" fmla="*/ 4164760 w 8079933"/>
              <a:gd name="connsiteY43440" fmla="*/ 1419642 h 4687251"/>
              <a:gd name="connsiteX43441" fmla="*/ 4159117 w 8079933"/>
              <a:gd name="connsiteY43441" fmla="*/ 1420184 h 4687251"/>
              <a:gd name="connsiteX43442" fmla="*/ 4154125 w 8079933"/>
              <a:gd name="connsiteY43442" fmla="*/ 1415095 h 4687251"/>
              <a:gd name="connsiteX43443" fmla="*/ 4153365 w 8079933"/>
              <a:gd name="connsiteY43443" fmla="*/ 1411956 h 4687251"/>
              <a:gd name="connsiteX43444" fmla="*/ 4150652 w 8079933"/>
              <a:gd name="connsiteY43444" fmla="*/ 1407624 h 4687251"/>
              <a:gd name="connsiteX43445" fmla="*/ 4151629 w 8079933"/>
              <a:gd name="connsiteY43445" fmla="*/ 1403727 h 4687251"/>
              <a:gd name="connsiteX43446" fmla="*/ 4150761 w 8079933"/>
              <a:gd name="connsiteY43446" fmla="*/ 1398097 h 4687251"/>
              <a:gd name="connsiteX43447" fmla="*/ 4153474 w 8079933"/>
              <a:gd name="connsiteY43447" fmla="*/ 1393766 h 4687251"/>
              <a:gd name="connsiteX43448" fmla="*/ 4150110 w 8079933"/>
              <a:gd name="connsiteY43448" fmla="*/ 1390410 h 4687251"/>
              <a:gd name="connsiteX43449" fmla="*/ 4146529 w 8079933"/>
              <a:gd name="connsiteY43449" fmla="*/ 1393116 h 4687251"/>
              <a:gd name="connsiteX43450" fmla="*/ 4146311 w 8079933"/>
              <a:gd name="connsiteY43450" fmla="*/ 1397556 h 4687251"/>
              <a:gd name="connsiteX43451" fmla="*/ 4148808 w 8079933"/>
              <a:gd name="connsiteY43451" fmla="*/ 1400371 h 4687251"/>
              <a:gd name="connsiteX43452" fmla="*/ 4146963 w 8079933"/>
              <a:gd name="connsiteY43452" fmla="*/ 1402536 h 4687251"/>
              <a:gd name="connsiteX43453" fmla="*/ 4144684 w 8079933"/>
              <a:gd name="connsiteY43453" fmla="*/ 1402752 h 4687251"/>
              <a:gd name="connsiteX43454" fmla="*/ 4144250 w 8079933"/>
              <a:gd name="connsiteY43454" fmla="*/ 1404810 h 4687251"/>
              <a:gd name="connsiteX43455" fmla="*/ 4142080 w 8079933"/>
              <a:gd name="connsiteY43455" fmla="*/ 1406217 h 4687251"/>
              <a:gd name="connsiteX43456" fmla="*/ 4143707 w 8079933"/>
              <a:gd name="connsiteY43456" fmla="*/ 1408924 h 4687251"/>
              <a:gd name="connsiteX43457" fmla="*/ 4146855 w 8079933"/>
              <a:gd name="connsiteY43457" fmla="*/ 1410223 h 4687251"/>
              <a:gd name="connsiteX43458" fmla="*/ 4148374 w 8079933"/>
              <a:gd name="connsiteY43458" fmla="*/ 1414771 h 4687251"/>
              <a:gd name="connsiteX43459" fmla="*/ 4146746 w 8079933"/>
              <a:gd name="connsiteY43459" fmla="*/ 1419968 h 4687251"/>
              <a:gd name="connsiteX43460" fmla="*/ 4140886 w 8079933"/>
              <a:gd name="connsiteY43460" fmla="*/ 1425489 h 4687251"/>
              <a:gd name="connsiteX43461" fmla="*/ 4140669 w 8079933"/>
              <a:gd name="connsiteY43461" fmla="*/ 1423757 h 4687251"/>
              <a:gd name="connsiteX43462" fmla="*/ 4136762 w 8079933"/>
              <a:gd name="connsiteY43462" fmla="*/ 1420401 h 4687251"/>
              <a:gd name="connsiteX43463" fmla="*/ 4135134 w 8079933"/>
              <a:gd name="connsiteY43463" fmla="*/ 1423324 h 4687251"/>
              <a:gd name="connsiteX43464" fmla="*/ 4137197 w 8079933"/>
              <a:gd name="connsiteY43464" fmla="*/ 1424948 h 4687251"/>
              <a:gd name="connsiteX43465" fmla="*/ 4138390 w 8079933"/>
              <a:gd name="connsiteY43465" fmla="*/ 1427546 h 4687251"/>
              <a:gd name="connsiteX43466" fmla="*/ 4133832 w 8079933"/>
              <a:gd name="connsiteY43466" fmla="*/ 1429603 h 4687251"/>
              <a:gd name="connsiteX43467" fmla="*/ 4131662 w 8079933"/>
              <a:gd name="connsiteY43467" fmla="*/ 1426789 h 4687251"/>
              <a:gd name="connsiteX43468" fmla="*/ 4132313 w 8079933"/>
              <a:gd name="connsiteY43468" fmla="*/ 1424190 h 4687251"/>
              <a:gd name="connsiteX43469" fmla="*/ 4129383 w 8079933"/>
              <a:gd name="connsiteY43469" fmla="*/ 1423757 h 4687251"/>
              <a:gd name="connsiteX43470" fmla="*/ 4127756 w 8079933"/>
              <a:gd name="connsiteY43470" fmla="*/ 1421917 h 4687251"/>
              <a:gd name="connsiteX43471" fmla="*/ 4126019 w 8079933"/>
              <a:gd name="connsiteY43471" fmla="*/ 1415312 h 4687251"/>
              <a:gd name="connsiteX43472" fmla="*/ 4121461 w 8079933"/>
              <a:gd name="connsiteY43472" fmla="*/ 1410332 h 4687251"/>
              <a:gd name="connsiteX43473" fmla="*/ 4119074 w 8079933"/>
              <a:gd name="connsiteY43473" fmla="*/ 1408924 h 4687251"/>
              <a:gd name="connsiteX43474" fmla="*/ 4118965 w 8079933"/>
              <a:gd name="connsiteY43474" fmla="*/ 1412822 h 4687251"/>
              <a:gd name="connsiteX43475" fmla="*/ 4122981 w 8079933"/>
              <a:gd name="connsiteY43475" fmla="*/ 1415854 h 4687251"/>
              <a:gd name="connsiteX43476" fmla="*/ 4126345 w 8079933"/>
              <a:gd name="connsiteY43476" fmla="*/ 1420293 h 4687251"/>
              <a:gd name="connsiteX43477" fmla="*/ 4125043 w 8079933"/>
              <a:gd name="connsiteY43477" fmla="*/ 1423432 h 4687251"/>
              <a:gd name="connsiteX43478" fmla="*/ 4128732 w 8079933"/>
              <a:gd name="connsiteY43478" fmla="*/ 1428196 h 4687251"/>
              <a:gd name="connsiteX43479" fmla="*/ 4127756 w 8079933"/>
              <a:gd name="connsiteY43479" fmla="*/ 1431119 h 4687251"/>
              <a:gd name="connsiteX43480" fmla="*/ 4123849 w 8079933"/>
              <a:gd name="connsiteY43480" fmla="*/ 1431877 h 4687251"/>
              <a:gd name="connsiteX43481" fmla="*/ 4120159 w 8079933"/>
              <a:gd name="connsiteY43481" fmla="*/ 1434260 h 4687251"/>
              <a:gd name="connsiteX43482" fmla="*/ 4120702 w 8079933"/>
              <a:gd name="connsiteY43482" fmla="*/ 1437507 h 4687251"/>
              <a:gd name="connsiteX43483" fmla="*/ 4117664 w 8079933"/>
              <a:gd name="connsiteY43483" fmla="*/ 1439564 h 4687251"/>
              <a:gd name="connsiteX43484" fmla="*/ 4119074 w 8079933"/>
              <a:gd name="connsiteY43484" fmla="*/ 1441297 h 4687251"/>
              <a:gd name="connsiteX43485" fmla="*/ 4113974 w 8079933"/>
              <a:gd name="connsiteY43485" fmla="*/ 1446278 h 4687251"/>
              <a:gd name="connsiteX43486" fmla="*/ 4107680 w 8079933"/>
              <a:gd name="connsiteY43486" fmla="*/ 1442380 h 4687251"/>
              <a:gd name="connsiteX43487" fmla="*/ 4111261 w 8079933"/>
              <a:gd name="connsiteY43487" fmla="*/ 1446819 h 4687251"/>
              <a:gd name="connsiteX43488" fmla="*/ 4111695 w 8079933"/>
              <a:gd name="connsiteY43488" fmla="*/ 1449742 h 4687251"/>
              <a:gd name="connsiteX43489" fmla="*/ 4103448 w 8079933"/>
              <a:gd name="connsiteY43489" fmla="*/ 1457970 h 4687251"/>
              <a:gd name="connsiteX43490" fmla="*/ 4100518 w 8079933"/>
              <a:gd name="connsiteY43490" fmla="*/ 1457754 h 4687251"/>
              <a:gd name="connsiteX43491" fmla="*/ 4099324 w 8079933"/>
              <a:gd name="connsiteY43491" fmla="*/ 1454290 h 4687251"/>
              <a:gd name="connsiteX43492" fmla="*/ 4098347 w 8079933"/>
              <a:gd name="connsiteY43492" fmla="*/ 1454073 h 4687251"/>
              <a:gd name="connsiteX43493" fmla="*/ 4096286 w 8079933"/>
              <a:gd name="connsiteY43493" fmla="*/ 1456238 h 4687251"/>
              <a:gd name="connsiteX43494" fmla="*/ 4094115 w 8079933"/>
              <a:gd name="connsiteY43494" fmla="*/ 1456780 h 4687251"/>
              <a:gd name="connsiteX43495" fmla="*/ 4089232 w 8079933"/>
              <a:gd name="connsiteY43495" fmla="*/ 1461543 h 4687251"/>
              <a:gd name="connsiteX43496" fmla="*/ 4085108 w 8079933"/>
              <a:gd name="connsiteY43496" fmla="*/ 1463384 h 4687251"/>
              <a:gd name="connsiteX43497" fmla="*/ 4083263 w 8079933"/>
              <a:gd name="connsiteY43497" fmla="*/ 1462410 h 4687251"/>
              <a:gd name="connsiteX43498" fmla="*/ 4081093 w 8079933"/>
              <a:gd name="connsiteY43498" fmla="*/ 1465117 h 4687251"/>
              <a:gd name="connsiteX43499" fmla="*/ 4076319 w 8079933"/>
              <a:gd name="connsiteY43499" fmla="*/ 1459162 h 4687251"/>
              <a:gd name="connsiteX43500" fmla="*/ 4076861 w 8079933"/>
              <a:gd name="connsiteY43500" fmla="*/ 1457862 h 4687251"/>
              <a:gd name="connsiteX43501" fmla="*/ 4073823 w 8079933"/>
              <a:gd name="connsiteY43501" fmla="*/ 1455372 h 4687251"/>
              <a:gd name="connsiteX43502" fmla="*/ 4071001 w 8079933"/>
              <a:gd name="connsiteY43502" fmla="*/ 1455480 h 4687251"/>
              <a:gd name="connsiteX43503" fmla="*/ 4072412 w 8079933"/>
              <a:gd name="connsiteY43503" fmla="*/ 1460027 h 4687251"/>
              <a:gd name="connsiteX43504" fmla="*/ 4069264 w 8079933"/>
              <a:gd name="connsiteY43504" fmla="*/ 1461652 h 4687251"/>
              <a:gd name="connsiteX43505" fmla="*/ 4065793 w 8079933"/>
              <a:gd name="connsiteY43505" fmla="*/ 1458295 h 4687251"/>
              <a:gd name="connsiteX43506" fmla="*/ 4067963 w 8079933"/>
              <a:gd name="connsiteY43506" fmla="*/ 1457213 h 4687251"/>
              <a:gd name="connsiteX43507" fmla="*/ 4066878 w 8079933"/>
              <a:gd name="connsiteY43507" fmla="*/ 1454398 h 4687251"/>
              <a:gd name="connsiteX43508" fmla="*/ 4057871 w 8079933"/>
              <a:gd name="connsiteY43508" fmla="*/ 1450933 h 4687251"/>
              <a:gd name="connsiteX43509" fmla="*/ 4051359 w 8079933"/>
              <a:gd name="connsiteY43509" fmla="*/ 1445411 h 4687251"/>
              <a:gd name="connsiteX43510" fmla="*/ 4046477 w 8079933"/>
              <a:gd name="connsiteY43510" fmla="*/ 1444437 h 4687251"/>
              <a:gd name="connsiteX43511" fmla="*/ 4040508 w 8079933"/>
              <a:gd name="connsiteY43511" fmla="*/ 1434368 h 4687251"/>
              <a:gd name="connsiteX43512" fmla="*/ 4043004 w 8079933"/>
              <a:gd name="connsiteY43512" fmla="*/ 1431661 h 4687251"/>
              <a:gd name="connsiteX43513" fmla="*/ 4043004 w 8079933"/>
              <a:gd name="connsiteY43513" fmla="*/ 1427980 h 4687251"/>
              <a:gd name="connsiteX43514" fmla="*/ 4046585 w 8079933"/>
              <a:gd name="connsiteY43514" fmla="*/ 1427872 h 4687251"/>
              <a:gd name="connsiteX43515" fmla="*/ 4049298 w 8079933"/>
              <a:gd name="connsiteY43515" fmla="*/ 1430037 h 4687251"/>
              <a:gd name="connsiteX43516" fmla="*/ 4052228 w 8079933"/>
              <a:gd name="connsiteY43516" fmla="*/ 1428954 h 4687251"/>
              <a:gd name="connsiteX43517" fmla="*/ 4060692 w 8079933"/>
              <a:gd name="connsiteY43517" fmla="*/ 1435017 h 4687251"/>
              <a:gd name="connsiteX43518" fmla="*/ 4061235 w 8079933"/>
              <a:gd name="connsiteY43518" fmla="*/ 1433393 h 4687251"/>
              <a:gd name="connsiteX43519" fmla="*/ 4058739 w 8079933"/>
              <a:gd name="connsiteY43519" fmla="*/ 1429495 h 4687251"/>
              <a:gd name="connsiteX43520" fmla="*/ 4061126 w 8079933"/>
              <a:gd name="connsiteY43520" fmla="*/ 1427655 h 4687251"/>
              <a:gd name="connsiteX43521" fmla="*/ 4066010 w 8079933"/>
              <a:gd name="connsiteY43521" fmla="*/ 1427330 h 4687251"/>
              <a:gd name="connsiteX43522" fmla="*/ 4063622 w 8079933"/>
              <a:gd name="connsiteY43522" fmla="*/ 1424082 h 4687251"/>
              <a:gd name="connsiteX43523" fmla="*/ 4057871 w 8079933"/>
              <a:gd name="connsiteY43523" fmla="*/ 1425706 h 4687251"/>
              <a:gd name="connsiteX43524" fmla="*/ 4055700 w 8079933"/>
              <a:gd name="connsiteY43524" fmla="*/ 1428196 h 4687251"/>
              <a:gd name="connsiteX43525" fmla="*/ 4052987 w 8079933"/>
              <a:gd name="connsiteY43525" fmla="*/ 1421483 h 4687251"/>
              <a:gd name="connsiteX43526" fmla="*/ 4056026 w 8079933"/>
              <a:gd name="connsiteY43526" fmla="*/ 1419318 h 4687251"/>
              <a:gd name="connsiteX43527" fmla="*/ 4057111 w 8079933"/>
              <a:gd name="connsiteY43527" fmla="*/ 1415420 h 4687251"/>
              <a:gd name="connsiteX43528" fmla="*/ 4054181 w 8079933"/>
              <a:gd name="connsiteY43528" fmla="*/ 1412281 h 4687251"/>
              <a:gd name="connsiteX43529" fmla="*/ 4056569 w 8079933"/>
              <a:gd name="connsiteY43529" fmla="*/ 1410873 h 4687251"/>
              <a:gd name="connsiteX43530" fmla="*/ 4051468 w 8079933"/>
              <a:gd name="connsiteY43530" fmla="*/ 1407083 h 4687251"/>
              <a:gd name="connsiteX43531" fmla="*/ 4049515 w 8079933"/>
              <a:gd name="connsiteY43531" fmla="*/ 1411631 h 4687251"/>
              <a:gd name="connsiteX43532" fmla="*/ 4050383 w 8079933"/>
              <a:gd name="connsiteY43532" fmla="*/ 1413579 h 4687251"/>
              <a:gd name="connsiteX43533" fmla="*/ 4047019 w 8079933"/>
              <a:gd name="connsiteY43533" fmla="*/ 1415204 h 4687251"/>
              <a:gd name="connsiteX43534" fmla="*/ 4045392 w 8079933"/>
              <a:gd name="connsiteY43534" fmla="*/ 1413796 h 4687251"/>
              <a:gd name="connsiteX43535" fmla="*/ 4044089 w 8079933"/>
              <a:gd name="connsiteY43535" fmla="*/ 1417585 h 4687251"/>
              <a:gd name="connsiteX43536" fmla="*/ 4037795 w 8079933"/>
              <a:gd name="connsiteY43536" fmla="*/ 1410873 h 4687251"/>
              <a:gd name="connsiteX43537" fmla="*/ 4036167 w 8079933"/>
              <a:gd name="connsiteY43537" fmla="*/ 1406542 h 4687251"/>
              <a:gd name="connsiteX43538" fmla="*/ 4040291 w 8079933"/>
              <a:gd name="connsiteY43538" fmla="*/ 1400912 h 4687251"/>
              <a:gd name="connsiteX43539" fmla="*/ 4043438 w 8079933"/>
              <a:gd name="connsiteY43539" fmla="*/ 1398963 h 4687251"/>
              <a:gd name="connsiteX43540" fmla="*/ 4044415 w 8079933"/>
              <a:gd name="connsiteY43540" fmla="*/ 1403619 h 4687251"/>
              <a:gd name="connsiteX43541" fmla="*/ 4045392 w 8079933"/>
              <a:gd name="connsiteY43541" fmla="*/ 1399721 h 4687251"/>
              <a:gd name="connsiteX43542" fmla="*/ 4047670 w 8079933"/>
              <a:gd name="connsiteY43542" fmla="*/ 1398638 h 4687251"/>
              <a:gd name="connsiteX43543" fmla="*/ 4052771 w 8079933"/>
              <a:gd name="connsiteY43543" fmla="*/ 1401995 h 4687251"/>
              <a:gd name="connsiteX43544" fmla="*/ 4053096 w 8079933"/>
              <a:gd name="connsiteY43544" fmla="*/ 1398746 h 4687251"/>
              <a:gd name="connsiteX43545" fmla="*/ 4054724 w 8079933"/>
              <a:gd name="connsiteY43545" fmla="*/ 1396040 h 4687251"/>
              <a:gd name="connsiteX43546" fmla="*/ 4059498 w 8079933"/>
              <a:gd name="connsiteY43546" fmla="*/ 1395715 h 4687251"/>
              <a:gd name="connsiteX43547" fmla="*/ 4057871 w 8079933"/>
              <a:gd name="connsiteY43547" fmla="*/ 1393008 h 4687251"/>
              <a:gd name="connsiteX43548" fmla="*/ 4051359 w 8079933"/>
              <a:gd name="connsiteY43548" fmla="*/ 1393008 h 4687251"/>
              <a:gd name="connsiteX43549" fmla="*/ 4048973 w 8079933"/>
              <a:gd name="connsiteY43549" fmla="*/ 1391926 h 4687251"/>
              <a:gd name="connsiteX43550" fmla="*/ 4050383 w 8079933"/>
              <a:gd name="connsiteY43550" fmla="*/ 1388677 h 4687251"/>
              <a:gd name="connsiteX43551" fmla="*/ 4053530 w 8079933"/>
              <a:gd name="connsiteY43551" fmla="*/ 1388677 h 4687251"/>
              <a:gd name="connsiteX43552" fmla="*/ 4057328 w 8079933"/>
              <a:gd name="connsiteY43552" fmla="*/ 1383589 h 4687251"/>
              <a:gd name="connsiteX43553" fmla="*/ 4052987 w 8079933"/>
              <a:gd name="connsiteY43553" fmla="*/ 1381965 h 4687251"/>
              <a:gd name="connsiteX43554" fmla="*/ 4055484 w 8079933"/>
              <a:gd name="connsiteY43554" fmla="*/ 1381098 h 4687251"/>
              <a:gd name="connsiteX43555" fmla="*/ 4058522 w 8079933"/>
              <a:gd name="connsiteY43555" fmla="*/ 1375577 h 4687251"/>
              <a:gd name="connsiteX43556" fmla="*/ 4061126 w 8079933"/>
              <a:gd name="connsiteY43556" fmla="*/ 1375685 h 4687251"/>
              <a:gd name="connsiteX43557" fmla="*/ 4061777 w 8079933"/>
              <a:gd name="connsiteY43557" fmla="*/ 1380773 h 4687251"/>
              <a:gd name="connsiteX43558" fmla="*/ 4065250 w 8079933"/>
              <a:gd name="connsiteY43558" fmla="*/ 1383589 h 4687251"/>
              <a:gd name="connsiteX43559" fmla="*/ 4063839 w 8079933"/>
              <a:gd name="connsiteY43559" fmla="*/ 1380232 h 4687251"/>
              <a:gd name="connsiteX43560" fmla="*/ 4063839 w 8079933"/>
              <a:gd name="connsiteY43560" fmla="*/ 1374602 h 4687251"/>
              <a:gd name="connsiteX43561" fmla="*/ 4068288 w 8079933"/>
              <a:gd name="connsiteY43561" fmla="*/ 1371138 h 4687251"/>
              <a:gd name="connsiteX43562" fmla="*/ 4070893 w 8079933"/>
              <a:gd name="connsiteY43562" fmla="*/ 1369622 h 4687251"/>
              <a:gd name="connsiteX43563" fmla="*/ 4067311 w 8079933"/>
              <a:gd name="connsiteY43563" fmla="*/ 1370596 h 4687251"/>
              <a:gd name="connsiteX43564" fmla="*/ 4062862 w 8079933"/>
              <a:gd name="connsiteY43564" fmla="*/ 1370271 h 4687251"/>
              <a:gd name="connsiteX43565" fmla="*/ 4054181 w 8079933"/>
              <a:gd name="connsiteY43565" fmla="*/ 1373844 h 4687251"/>
              <a:gd name="connsiteX43566" fmla="*/ 4053530 w 8079933"/>
              <a:gd name="connsiteY43566" fmla="*/ 1378608 h 4687251"/>
              <a:gd name="connsiteX43567" fmla="*/ 4050274 w 8079933"/>
              <a:gd name="connsiteY43567" fmla="*/ 1380449 h 4687251"/>
              <a:gd name="connsiteX43568" fmla="*/ 4046585 w 8079933"/>
              <a:gd name="connsiteY43568" fmla="*/ 1385971 h 4687251"/>
              <a:gd name="connsiteX43569" fmla="*/ 4045174 w 8079933"/>
              <a:gd name="connsiteY43569" fmla="*/ 1385863 h 4687251"/>
              <a:gd name="connsiteX43570" fmla="*/ 4046802 w 8079933"/>
              <a:gd name="connsiteY43570" fmla="*/ 1381315 h 4687251"/>
              <a:gd name="connsiteX43571" fmla="*/ 4044306 w 8079933"/>
              <a:gd name="connsiteY43571" fmla="*/ 1377526 h 4687251"/>
              <a:gd name="connsiteX43572" fmla="*/ 4046151 w 8079933"/>
              <a:gd name="connsiteY43572" fmla="*/ 1374602 h 4687251"/>
              <a:gd name="connsiteX43573" fmla="*/ 4042679 w 8079933"/>
              <a:gd name="connsiteY43573" fmla="*/ 1374061 h 4687251"/>
              <a:gd name="connsiteX43574" fmla="*/ 4041702 w 8079933"/>
              <a:gd name="connsiteY43574" fmla="*/ 1372437 h 4687251"/>
              <a:gd name="connsiteX43575" fmla="*/ 4047345 w 8079933"/>
              <a:gd name="connsiteY43575" fmla="*/ 1369405 h 4687251"/>
              <a:gd name="connsiteX43576" fmla="*/ 4046802 w 8079933"/>
              <a:gd name="connsiteY43576" fmla="*/ 1365616 h 4687251"/>
              <a:gd name="connsiteX43577" fmla="*/ 4048755 w 8079933"/>
              <a:gd name="connsiteY43577" fmla="*/ 1363559 h 4687251"/>
              <a:gd name="connsiteX43578" fmla="*/ 4044089 w 8079933"/>
              <a:gd name="connsiteY43578" fmla="*/ 1361610 h 4687251"/>
              <a:gd name="connsiteX43579" fmla="*/ 4037469 w 8079933"/>
              <a:gd name="connsiteY43579" fmla="*/ 1368973 h 4687251"/>
              <a:gd name="connsiteX43580" fmla="*/ 4034757 w 8079933"/>
              <a:gd name="connsiteY43580" fmla="*/ 1366698 h 4687251"/>
              <a:gd name="connsiteX43581" fmla="*/ 4033238 w 8079933"/>
              <a:gd name="connsiteY43581" fmla="*/ 1361502 h 4687251"/>
              <a:gd name="connsiteX43582" fmla="*/ 4036493 w 8079933"/>
              <a:gd name="connsiteY43582" fmla="*/ 1363342 h 4687251"/>
              <a:gd name="connsiteX43583" fmla="*/ 4038446 w 8079933"/>
              <a:gd name="connsiteY43583" fmla="*/ 1361718 h 4687251"/>
              <a:gd name="connsiteX43584" fmla="*/ 4038012 w 8079933"/>
              <a:gd name="connsiteY43584" fmla="*/ 1357820 h 4687251"/>
              <a:gd name="connsiteX43585" fmla="*/ 4041159 w 8079933"/>
              <a:gd name="connsiteY43585" fmla="*/ 1354572 h 4687251"/>
              <a:gd name="connsiteX43586" fmla="*/ 4038446 w 8079933"/>
              <a:gd name="connsiteY43586" fmla="*/ 1354464 h 4687251"/>
              <a:gd name="connsiteX43587" fmla="*/ 4036493 w 8079933"/>
              <a:gd name="connsiteY43587" fmla="*/ 1356737 h 4687251"/>
              <a:gd name="connsiteX43588" fmla="*/ 4033129 w 8079933"/>
              <a:gd name="connsiteY43588" fmla="*/ 1357496 h 4687251"/>
              <a:gd name="connsiteX43589" fmla="*/ 4030958 w 8079933"/>
              <a:gd name="connsiteY43589" fmla="*/ 1355655 h 4687251"/>
              <a:gd name="connsiteX43590" fmla="*/ 4032153 w 8079933"/>
              <a:gd name="connsiteY43590" fmla="*/ 1353273 h 4687251"/>
              <a:gd name="connsiteX43591" fmla="*/ 4030199 w 8079933"/>
              <a:gd name="connsiteY43591" fmla="*/ 1348834 h 4687251"/>
              <a:gd name="connsiteX43592" fmla="*/ 4031501 w 8079933"/>
              <a:gd name="connsiteY43592" fmla="*/ 1348400 h 4687251"/>
              <a:gd name="connsiteX43593" fmla="*/ 4034865 w 8079933"/>
              <a:gd name="connsiteY43593" fmla="*/ 1350675 h 4687251"/>
              <a:gd name="connsiteX43594" fmla="*/ 4037795 w 8079933"/>
              <a:gd name="connsiteY43594" fmla="*/ 1350675 h 4687251"/>
              <a:gd name="connsiteX43595" fmla="*/ 4043655 w 8079933"/>
              <a:gd name="connsiteY43595" fmla="*/ 1347751 h 4687251"/>
              <a:gd name="connsiteX43596" fmla="*/ 4046585 w 8079933"/>
              <a:gd name="connsiteY43596" fmla="*/ 1348726 h 4687251"/>
              <a:gd name="connsiteX43597" fmla="*/ 4051794 w 8079933"/>
              <a:gd name="connsiteY43597" fmla="*/ 1347751 h 4687251"/>
              <a:gd name="connsiteX43598" fmla="*/ 4055809 w 8079933"/>
              <a:gd name="connsiteY43598" fmla="*/ 1348726 h 4687251"/>
              <a:gd name="connsiteX43599" fmla="*/ 4059173 w 8079933"/>
              <a:gd name="connsiteY43599" fmla="*/ 1353057 h 4687251"/>
              <a:gd name="connsiteX43600" fmla="*/ 4059932 w 8079933"/>
              <a:gd name="connsiteY43600" fmla="*/ 1350458 h 4687251"/>
              <a:gd name="connsiteX43601" fmla="*/ 4064707 w 8079933"/>
              <a:gd name="connsiteY43601" fmla="*/ 1345694 h 4687251"/>
              <a:gd name="connsiteX43602" fmla="*/ 4069156 w 8079933"/>
              <a:gd name="connsiteY43602" fmla="*/ 1346343 h 4687251"/>
              <a:gd name="connsiteX43603" fmla="*/ 4069808 w 8079933"/>
              <a:gd name="connsiteY43603" fmla="*/ 1350675 h 4687251"/>
              <a:gd name="connsiteX43604" fmla="*/ 4067095 w 8079933"/>
              <a:gd name="connsiteY43604" fmla="*/ 1352840 h 4687251"/>
              <a:gd name="connsiteX43605" fmla="*/ 4067311 w 8079933"/>
              <a:gd name="connsiteY43605" fmla="*/ 1355006 h 4687251"/>
              <a:gd name="connsiteX43606" fmla="*/ 4072737 w 8079933"/>
              <a:gd name="connsiteY43606" fmla="*/ 1354789 h 4687251"/>
              <a:gd name="connsiteX43607" fmla="*/ 4074799 w 8079933"/>
              <a:gd name="connsiteY43607" fmla="*/ 1351216 h 4687251"/>
              <a:gd name="connsiteX43608" fmla="*/ 4073171 w 8079933"/>
              <a:gd name="connsiteY43608" fmla="*/ 1349808 h 4687251"/>
              <a:gd name="connsiteX43609" fmla="*/ 4076210 w 8079933"/>
              <a:gd name="connsiteY43609" fmla="*/ 1347426 h 4687251"/>
              <a:gd name="connsiteX43610" fmla="*/ 4082504 w 8079933"/>
              <a:gd name="connsiteY43610" fmla="*/ 1345910 h 4687251"/>
              <a:gd name="connsiteX43611" fmla="*/ 4085325 w 8079933"/>
              <a:gd name="connsiteY43611" fmla="*/ 1342337 h 4687251"/>
              <a:gd name="connsiteX43612" fmla="*/ 4081636 w 8079933"/>
              <a:gd name="connsiteY43612" fmla="*/ 1338007 h 4687251"/>
              <a:gd name="connsiteX43613" fmla="*/ 4082504 w 8079933"/>
              <a:gd name="connsiteY43613" fmla="*/ 1334109 h 4687251"/>
              <a:gd name="connsiteX43614" fmla="*/ 4079032 w 8079933"/>
              <a:gd name="connsiteY43614" fmla="*/ 1339198 h 4687251"/>
              <a:gd name="connsiteX43615" fmla="*/ 4080009 w 8079933"/>
              <a:gd name="connsiteY43615" fmla="*/ 1341796 h 4687251"/>
              <a:gd name="connsiteX43616" fmla="*/ 4077837 w 8079933"/>
              <a:gd name="connsiteY43616" fmla="*/ 1343962 h 4687251"/>
              <a:gd name="connsiteX43617" fmla="*/ 4073280 w 8079933"/>
              <a:gd name="connsiteY43617" fmla="*/ 1342771 h 4687251"/>
              <a:gd name="connsiteX43618" fmla="*/ 4075776 w 8079933"/>
              <a:gd name="connsiteY43618" fmla="*/ 1340822 h 4687251"/>
              <a:gd name="connsiteX43619" fmla="*/ 4076752 w 8079933"/>
              <a:gd name="connsiteY43619" fmla="*/ 1338873 h 4687251"/>
              <a:gd name="connsiteX43620" fmla="*/ 4074365 w 8079933"/>
              <a:gd name="connsiteY43620" fmla="*/ 1338223 h 4687251"/>
              <a:gd name="connsiteX43621" fmla="*/ 4069264 w 8079933"/>
              <a:gd name="connsiteY43621" fmla="*/ 1342013 h 4687251"/>
              <a:gd name="connsiteX43622" fmla="*/ 4065793 w 8079933"/>
              <a:gd name="connsiteY43622" fmla="*/ 1342013 h 4687251"/>
              <a:gd name="connsiteX43623" fmla="*/ 4064598 w 8079933"/>
              <a:gd name="connsiteY43623" fmla="*/ 1339414 h 4687251"/>
              <a:gd name="connsiteX43624" fmla="*/ 4061344 w 8079933"/>
              <a:gd name="connsiteY43624" fmla="*/ 1340280 h 4687251"/>
              <a:gd name="connsiteX43625" fmla="*/ 4061235 w 8079933"/>
              <a:gd name="connsiteY43625" fmla="*/ 1343420 h 4687251"/>
              <a:gd name="connsiteX43626" fmla="*/ 4057979 w 8079933"/>
              <a:gd name="connsiteY43626" fmla="*/ 1345586 h 4687251"/>
              <a:gd name="connsiteX43627" fmla="*/ 4056243 w 8079933"/>
              <a:gd name="connsiteY43627" fmla="*/ 1344286 h 4687251"/>
              <a:gd name="connsiteX43628" fmla="*/ 4051251 w 8079933"/>
              <a:gd name="connsiteY43628" fmla="*/ 1342987 h 4687251"/>
              <a:gd name="connsiteX43629" fmla="*/ 4044089 w 8079933"/>
              <a:gd name="connsiteY43629" fmla="*/ 1343962 h 4687251"/>
              <a:gd name="connsiteX43630" fmla="*/ 4041267 w 8079933"/>
              <a:gd name="connsiteY43630" fmla="*/ 1346127 h 4687251"/>
              <a:gd name="connsiteX43631" fmla="*/ 4035842 w 8079933"/>
              <a:gd name="connsiteY43631" fmla="*/ 1346343 h 4687251"/>
              <a:gd name="connsiteX43632" fmla="*/ 4034214 w 8079933"/>
              <a:gd name="connsiteY43632" fmla="*/ 1343637 h 4687251"/>
              <a:gd name="connsiteX43633" fmla="*/ 4032044 w 8079933"/>
              <a:gd name="connsiteY43633" fmla="*/ 1342121 h 4687251"/>
              <a:gd name="connsiteX43634" fmla="*/ 4031501 w 8079933"/>
              <a:gd name="connsiteY43634" fmla="*/ 1339955 h 4687251"/>
              <a:gd name="connsiteX43635" fmla="*/ 4033454 w 8079933"/>
              <a:gd name="connsiteY43635" fmla="*/ 1339414 h 4687251"/>
              <a:gd name="connsiteX43636" fmla="*/ 4037469 w 8079933"/>
              <a:gd name="connsiteY43636" fmla="*/ 1337141 h 4687251"/>
              <a:gd name="connsiteX43637" fmla="*/ 4034865 w 8079933"/>
              <a:gd name="connsiteY43637" fmla="*/ 1337141 h 4687251"/>
              <a:gd name="connsiteX43638" fmla="*/ 4031393 w 8079933"/>
              <a:gd name="connsiteY43638" fmla="*/ 1335625 h 4687251"/>
              <a:gd name="connsiteX43639" fmla="*/ 4031609 w 8079933"/>
              <a:gd name="connsiteY43639" fmla="*/ 1334218 h 4687251"/>
              <a:gd name="connsiteX43640" fmla="*/ 4033563 w 8079933"/>
              <a:gd name="connsiteY43640" fmla="*/ 1334759 h 4687251"/>
              <a:gd name="connsiteX43641" fmla="*/ 4035407 w 8079933"/>
              <a:gd name="connsiteY43641" fmla="*/ 1333784 h 4687251"/>
              <a:gd name="connsiteX43642" fmla="*/ 4042135 w 8079933"/>
              <a:gd name="connsiteY43642" fmla="*/ 1333784 h 4687251"/>
              <a:gd name="connsiteX43643" fmla="*/ 4046802 w 8079933"/>
              <a:gd name="connsiteY43643" fmla="*/ 1330536 h 4687251"/>
              <a:gd name="connsiteX43644" fmla="*/ 4040508 w 8079933"/>
              <a:gd name="connsiteY43644" fmla="*/ 1330536 h 4687251"/>
              <a:gd name="connsiteX43645" fmla="*/ 4037904 w 8079933"/>
              <a:gd name="connsiteY43645" fmla="*/ 1332269 h 4687251"/>
              <a:gd name="connsiteX43646" fmla="*/ 4034106 w 8079933"/>
              <a:gd name="connsiteY43646" fmla="*/ 1331510 h 4687251"/>
              <a:gd name="connsiteX43647" fmla="*/ 4037035 w 8079933"/>
              <a:gd name="connsiteY43647" fmla="*/ 1328263 h 4687251"/>
              <a:gd name="connsiteX43648" fmla="*/ 4029331 w 8079933"/>
              <a:gd name="connsiteY43648" fmla="*/ 1324798 h 4687251"/>
              <a:gd name="connsiteX43649" fmla="*/ 4029656 w 8079933"/>
              <a:gd name="connsiteY43649" fmla="*/ 1322849 h 4687251"/>
              <a:gd name="connsiteX43650" fmla="*/ 4034757 w 8079933"/>
              <a:gd name="connsiteY43650" fmla="*/ 1322091 h 4687251"/>
              <a:gd name="connsiteX43651" fmla="*/ 4038338 w 8079933"/>
              <a:gd name="connsiteY43651" fmla="*/ 1319059 h 4687251"/>
              <a:gd name="connsiteX43652" fmla="*/ 4040508 w 8079933"/>
              <a:gd name="connsiteY43652" fmla="*/ 1319925 h 4687251"/>
              <a:gd name="connsiteX43653" fmla="*/ 4045174 w 8079933"/>
              <a:gd name="connsiteY43653" fmla="*/ 1318627 h 4687251"/>
              <a:gd name="connsiteX43654" fmla="*/ 4052553 w 8079933"/>
              <a:gd name="connsiteY43654" fmla="*/ 1322416 h 4687251"/>
              <a:gd name="connsiteX43655" fmla="*/ 4054941 w 8079933"/>
              <a:gd name="connsiteY43655" fmla="*/ 1321225 h 4687251"/>
              <a:gd name="connsiteX43656" fmla="*/ 4061126 w 8079933"/>
              <a:gd name="connsiteY43656" fmla="*/ 1322091 h 4687251"/>
              <a:gd name="connsiteX43657" fmla="*/ 4065575 w 8079933"/>
              <a:gd name="connsiteY43657" fmla="*/ 1317543 h 4687251"/>
              <a:gd name="connsiteX43658" fmla="*/ 4062212 w 8079933"/>
              <a:gd name="connsiteY43658" fmla="*/ 1317543 h 4687251"/>
              <a:gd name="connsiteX43659" fmla="*/ 4060041 w 8079933"/>
              <a:gd name="connsiteY43659" fmla="*/ 1319168 h 4687251"/>
              <a:gd name="connsiteX43660" fmla="*/ 4053096 w 8079933"/>
              <a:gd name="connsiteY43660" fmla="*/ 1319168 h 4687251"/>
              <a:gd name="connsiteX43661" fmla="*/ 4048646 w 8079933"/>
              <a:gd name="connsiteY43661" fmla="*/ 1316353 h 4687251"/>
              <a:gd name="connsiteX43662" fmla="*/ 4041593 w 8079933"/>
              <a:gd name="connsiteY43662" fmla="*/ 1314837 h 4687251"/>
              <a:gd name="connsiteX43663" fmla="*/ 4036276 w 8079933"/>
              <a:gd name="connsiteY43663" fmla="*/ 1316461 h 4687251"/>
              <a:gd name="connsiteX43664" fmla="*/ 4034322 w 8079933"/>
              <a:gd name="connsiteY43664" fmla="*/ 1314512 h 4687251"/>
              <a:gd name="connsiteX43665" fmla="*/ 4036276 w 8079933"/>
              <a:gd name="connsiteY43665" fmla="*/ 1311805 h 4687251"/>
              <a:gd name="connsiteX43666" fmla="*/ 4031826 w 8079933"/>
              <a:gd name="connsiteY43666" fmla="*/ 1307691 h 4687251"/>
              <a:gd name="connsiteX43667" fmla="*/ 4031284 w 8079933"/>
              <a:gd name="connsiteY43667" fmla="*/ 1305092 h 4687251"/>
              <a:gd name="connsiteX43668" fmla="*/ 4033454 w 8079933"/>
              <a:gd name="connsiteY43668" fmla="*/ 1304443 h 4687251"/>
              <a:gd name="connsiteX43669" fmla="*/ 4037469 w 8079933"/>
              <a:gd name="connsiteY43669" fmla="*/ 1308016 h 4687251"/>
              <a:gd name="connsiteX43670" fmla="*/ 4038664 w 8079933"/>
              <a:gd name="connsiteY43670" fmla="*/ 1312347 h 4687251"/>
              <a:gd name="connsiteX43671" fmla="*/ 4041593 w 8079933"/>
              <a:gd name="connsiteY43671" fmla="*/ 1310398 h 4687251"/>
              <a:gd name="connsiteX43672" fmla="*/ 4039423 w 8079933"/>
              <a:gd name="connsiteY43672" fmla="*/ 1305851 h 4687251"/>
              <a:gd name="connsiteX43673" fmla="*/ 4046260 w 8079933"/>
              <a:gd name="connsiteY43673" fmla="*/ 1306067 h 4687251"/>
              <a:gd name="connsiteX43674" fmla="*/ 4047561 w 8079933"/>
              <a:gd name="connsiteY43674" fmla="*/ 1310506 h 4687251"/>
              <a:gd name="connsiteX43675" fmla="*/ 4050058 w 8079933"/>
              <a:gd name="connsiteY43675" fmla="*/ 1309423 h 4687251"/>
              <a:gd name="connsiteX43676" fmla="*/ 4053747 w 8079933"/>
              <a:gd name="connsiteY43676" fmla="*/ 1309099 h 4687251"/>
              <a:gd name="connsiteX43677" fmla="*/ 4049190 w 8079933"/>
              <a:gd name="connsiteY43677" fmla="*/ 1306067 h 4687251"/>
              <a:gd name="connsiteX43678" fmla="*/ 4053747 w 8079933"/>
              <a:gd name="connsiteY43678" fmla="*/ 1301303 h 4687251"/>
              <a:gd name="connsiteX43679" fmla="*/ 4058956 w 8079933"/>
              <a:gd name="connsiteY43679" fmla="*/ 1304660 h 4687251"/>
              <a:gd name="connsiteX43680" fmla="*/ 4059607 w 8079933"/>
              <a:gd name="connsiteY43680" fmla="*/ 1302278 h 4687251"/>
              <a:gd name="connsiteX43681" fmla="*/ 4057979 w 8079933"/>
              <a:gd name="connsiteY43681" fmla="*/ 1299246 h 4687251"/>
              <a:gd name="connsiteX43682" fmla="*/ 4062320 w 8079933"/>
              <a:gd name="connsiteY43682" fmla="*/ 1298488 h 4687251"/>
              <a:gd name="connsiteX43683" fmla="*/ 4066335 w 8079933"/>
              <a:gd name="connsiteY43683" fmla="*/ 1299896 h 4687251"/>
              <a:gd name="connsiteX43684" fmla="*/ 4066552 w 8079933"/>
              <a:gd name="connsiteY43684" fmla="*/ 1306067 h 4687251"/>
              <a:gd name="connsiteX43685" fmla="*/ 4067963 w 8079933"/>
              <a:gd name="connsiteY43685" fmla="*/ 1307908 h 4687251"/>
              <a:gd name="connsiteX43686" fmla="*/ 4071435 w 8079933"/>
              <a:gd name="connsiteY43686" fmla="*/ 1306067 h 4687251"/>
              <a:gd name="connsiteX43687" fmla="*/ 4069373 w 8079933"/>
              <a:gd name="connsiteY43687" fmla="*/ 1302927 h 4687251"/>
              <a:gd name="connsiteX43688" fmla="*/ 4071001 w 8079933"/>
              <a:gd name="connsiteY43688" fmla="*/ 1299246 h 4687251"/>
              <a:gd name="connsiteX43689" fmla="*/ 4065250 w 8079933"/>
              <a:gd name="connsiteY43689" fmla="*/ 1296106 h 4687251"/>
              <a:gd name="connsiteX43690" fmla="*/ 4060584 w 8079933"/>
              <a:gd name="connsiteY43690" fmla="*/ 1293074 h 4687251"/>
              <a:gd name="connsiteX43691" fmla="*/ 4053096 w 8079933"/>
              <a:gd name="connsiteY43691" fmla="*/ 1291992 h 4687251"/>
              <a:gd name="connsiteX43692" fmla="*/ 4052011 w 8079933"/>
              <a:gd name="connsiteY43692" fmla="*/ 1290151 h 4687251"/>
              <a:gd name="connsiteX43693" fmla="*/ 4055700 w 8079933"/>
              <a:gd name="connsiteY43693" fmla="*/ 1287986 h 4687251"/>
              <a:gd name="connsiteX43694" fmla="*/ 4057654 w 8079933"/>
              <a:gd name="connsiteY43694" fmla="*/ 1289285 h 4687251"/>
              <a:gd name="connsiteX43695" fmla="*/ 4060584 w 8079933"/>
              <a:gd name="connsiteY43695" fmla="*/ 1287445 h 4687251"/>
              <a:gd name="connsiteX43696" fmla="*/ 4063948 w 8079933"/>
              <a:gd name="connsiteY43696" fmla="*/ 1290476 h 4687251"/>
              <a:gd name="connsiteX43697" fmla="*/ 4066335 w 8079933"/>
              <a:gd name="connsiteY43697" fmla="*/ 1288527 h 4687251"/>
              <a:gd name="connsiteX43698" fmla="*/ 4068288 w 8079933"/>
              <a:gd name="connsiteY43698" fmla="*/ 1288527 h 4687251"/>
              <a:gd name="connsiteX43699" fmla="*/ 4072303 w 8079933"/>
              <a:gd name="connsiteY43699" fmla="*/ 1293724 h 4687251"/>
              <a:gd name="connsiteX43700" fmla="*/ 4076970 w 8079933"/>
              <a:gd name="connsiteY43700" fmla="*/ 1295023 h 4687251"/>
              <a:gd name="connsiteX43701" fmla="*/ 4079682 w 8079933"/>
              <a:gd name="connsiteY43701" fmla="*/ 1291125 h 4687251"/>
              <a:gd name="connsiteX43702" fmla="*/ 4086628 w 8079933"/>
              <a:gd name="connsiteY43702" fmla="*/ 1288202 h 4687251"/>
              <a:gd name="connsiteX43703" fmla="*/ 4088038 w 8079933"/>
              <a:gd name="connsiteY43703" fmla="*/ 1285712 h 4687251"/>
              <a:gd name="connsiteX43704" fmla="*/ 4085325 w 8079933"/>
              <a:gd name="connsiteY43704" fmla="*/ 1285712 h 4687251"/>
              <a:gd name="connsiteX43705" fmla="*/ 4079357 w 8079933"/>
              <a:gd name="connsiteY43705" fmla="*/ 1288527 h 4687251"/>
              <a:gd name="connsiteX43706" fmla="*/ 4077512 w 8079933"/>
              <a:gd name="connsiteY43706" fmla="*/ 1287445 h 4687251"/>
              <a:gd name="connsiteX43707" fmla="*/ 4080985 w 8079933"/>
              <a:gd name="connsiteY43707" fmla="*/ 1285062 h 4687251"/>
              <a:gd name="connsiteX43708" fmla="*/ 4079682 w 8079933"/>
              <a:gd name="connsiteY43708" fmla="*/ 1283547 h 4687251"/>
              <a:gd name="connsiteX43709" fmla="*/ 4071978 w 8079933"/>
              <a:gd name="connsiteY43709" fmla="*/ 1285821 h 4687251"/>
              <a:gd name="connsiteX43710" fmla="*/ 4068288 w 8079933"/>
              <a:gd name="connsiteY43710" fmla="*/ 1282031 h 4687251"/>
              <a:gd name="connsiteX43711" fmla="*/ 4070893 w 8079933"/>
              <a:gd name="connsiteY43711" fmla="*/ 1279649 h 4687251"/>
              <a:gd name="connsiteX43712" fmla="*/ 4070133 w 8079933"/>
              <a:gd name="connsiteY43712" fmla="*/ 1276076 h 4687251"/>
              <a:gd name="connsiteX43713" fmla="*/ 4071978 w 8079933"/>
              <a:gd name="connsiteY43713" fmla="*/ 1273911 h 4687251"/>
              <a:gd name="connsiteX43714" fmla="*/ 4074257 w 8079933"/>
              <a:gd name="connsiteY43714" fmla="*/ 1275860 h 4687251"/>
              <a:gd name="connsiteX43715" fmla="*/ 4079032 w 8079933"/>
              <a:gd name="connsiteY43715" fmla="*/ 1275860 h 4687251"/>
              <a:gd name="connsiteX43716" fmla="*/ 4082830 w 8079933"/>
              <a:gd name="connsiteY43716" fmla="*/ 1278783 h 4687251"/>
              <a:gd name="connsiteX43717" fmla="*/ 4085651 w 8079933"/>
              <a:gd name="connsiteY43717" fmla="*/ 1276942 h 4687251"/>
              <a:gd name="connsiteX43718" fmla="*/ 4091836 w 8079933"/>
              <a:gd name="connsiteY43718" fmla="*/ 1283872 h 4687251"/>
              <a:gd name="connsiteX43719" fmla="*/ 4098347 w 8079933"/>
              <a:gd name="connsiteY43719" fmla="*/ 1286362 h 4687251"/>
              <a:gd name="connsiteX43720" fmla="*/ 4102363 w 8079933"/>
              <a:gd name="connsiteY43720" fmla="*/ 1286254 h 4687251"/>
              <a:gd name="connsiteX43721" fmla="*/ 4100300 w 8079933"/>
              <a:gd name="connsiteY43721" fmla="*/ 1283980 h 4687251"/>
              <a:gd name="connsiteX43722" fmla="*/ 4096502 w 8079933"/>
              <a:gd name="connsiteY43722" fmla="*/ 1283547 h 4687251"/>
              <a:gd name="connsiteX43723" fmla="*/ 4092162 w 8079933"/>
              <a:gd name="connsiteY43723" fmla="*/ 1280190 h 4687251"/>
              <a:gd name="connsiteX43724" fmla="*/ 4088038 w 8079933"/>
              <a:gd name="connsiteY43724" fmla="*/ 1274668 h 4687251"/>
              <a:gd name="connsiteX43725" fmla="*/ 4088798 w 8079933"/>
              <a:gd name="connsiteY43725" fmla="*/ 1271095 h 4687251"/>
              <a:gd name="connsiteX43726" fmla="*/ 4090426 w 8079933"/>
              <a:gd name="connsiteY43726" fmla="*/ 1270879 h 4687251"/>
              <a:gd name="connsiteX43727" fmla="*/ 4091294 w 8079933"/>
              <a:gd name="connsiteY43727" fmla="*/ 1273694 h 4687251"/>
              <a:gd name="connsiteX43728" fmla="*/ 4095417 w 8079933"/>
              <a:gd name="connsiteY43728" fmla="*/ 1277376 h 4687251"/>
              <a:gd name="connsiteX43729" fmla="*/ 4099650 w 8079933"/>
              <a:gd name="connsiteY43729" fmla="*/ 1277376 h 4687251"/>
              <a:gd name="connsiteX43730" fmla="*/ 4100518 w 8079933"/>
              <a:gd name="connsiteY43730" fmla="*/ 1280623 h 4687251"/>
              <a:gd name="connsiteX43731" fmla="*/ 4105943 w 8079933"/>
              <a:gd name="connsiteY43731" fmla="*/ 1282248 h 4687251"/>
              <a:gd name="connsiteX43732" fmla="*/ 4106161 w 8079933"/>
              <a:gd name="connsiteY43732" fmla="*/ 1279325 h 4687251"/>
              <a:gd name="connsiteX43733" fmla="*/ 4103448 w 8079933"/>
              <a:gd name="connsiteY43733" fmla="*/ 1278242 h 4687251"/>
              <a:gd name="connsiteX43734" fmla="*/ 4104641 w 8079933"/>
              <a:gd name="connsiteY43734" fmla="*/ 1274993 h 4687251"/>
              <a:gd name="connsiteX43735" fmla="*/ 4098564 w 8079933"/>
              <a:gd name="connsiteY43735" fmla="*/ 1274993 h 4687251"/>
              <a:gd name="connsiteX43736" fmla="*/ 4093247 w 8079933"/>
              <a:gd name="connsiteY43736" fmla="*/ 1271962 h 4687251"/>
              <a:gd name="connsiteX43737" fmla="*/ 4093789 w 8079933"/>
              <a:gd name="connsiteY43737" fmla="*/ 1269797 h 4687251"/>
              <a:gd name="connsiteX43738" fmla="*/ 4097045 w 8079933"/>
              <a:gd name="connsiteY43738" fmla="*/ 1269797 h 4687251"/>
              <a:gd name="connsiteX43739" fmla="*/ 4099215 w 8079933"/>
              <a:gd name="connsiteY43739" fmla="*/ 1271962 h 4687251"/>
              <a:gd name="connsiteX43740" fmla="*/ 4101386 w 8079933"/>
              <a:gd name="connsiteY43740" fmla="*/ 1269255 h 4687251"/>
              <a:gd name="connsiteX43741" fmla="*/ 4106269 w 8079933"/>
              <a:gd name="connsiteY43741" fmla="*/ 1266115 h 4687251"/>
              <a:gd name="connsiteX43742" fmla="*/ 4105075 w 8079933"/>
              <a:gd name="connsiteY43742" fmla="*/ 1264924 h 4687251"/>
              <a:gd name="connsiteX43743" fmla="*/ 4102688 w 8079933"/>
              <a:gd name="connsiteY43743" fmla="*/ 1266007 h 4687251"/>
              <a:gd name="connsiteX43744" fmla="*/ 4100192 w 8079933"/>
              <a:gd name="connsiteY43744" fmla="*/ 1265466 h 4687251"/>
              <a:gd name="connsiteX43745" fmla="*/ 4104641 w 8079933"/>
              <a:gd name="connsiteY43745" fmla="*/ 1261243 h 4687251"/>
              <a:gd name="connsiteX43746" fmla="*/ 4108114 w 8079933"/>
              <a:gd name="connsiteY43746" fmla="*/ 1260810 h 4687251"/>
              <a:gd name="connsiteX43747" fmla="*/ 4112129 w 8079933"/>
              <a:gd name="connsiteY43747" fmla="*/ 1262542 h 4687251"/>
              <a:gd name="connsiteX43748" fmla="*/ 4118097 w 8079933"/>
              <a:gd name="connsiteY43748" fmla="*/ 1257129 h 4687251"/>
              <a:gd name="connsiteX43749" fmla="*/ 4112238 w 8079933"/>
              <a:gd name="connsiteY43749" fmla="*/ 1257129 h 4687251"/>
              <a:gd name="connsiteX43750" fmla="*/ 4112238 w 8079933"/>
              <a:gd name="connsiteY43750" fmla="*/ 1254964 h 4687251"/>
              <a:gd name="connsiteX43751" fmla="*/ 4116795 w 8079933"/>
              <a:gd name="connsiteY43751" fmla="*/ 1254422 h 4687251"/>
              <a:gd name="connsiteX43752" fmla="*/ 4118640 w 8079933"/>
              <a:gd name="connsiteY43752" fmla="*/ 1251174 h 4687251"/>
              <a:gd name="connsiteX43753" fmla="*/ 4121895 w 8079933"/>
              <a:gd name="connsiteY43753" fmla="*/ 1251174 h 4687251"/>
              <a:gd name="connsiteX43754" fmla="*/ 4125151 w 8079933"/>
              <a:gd name="connsiteY43754" fmla="*/ 1255938 h 4687251"/>
              <a:gd name="connsiteX43755" fmla="*/ 4125151 w 8079933"/>
              <a:gd name="connsiteY43755" fmla="*/ 1260160 h 4687251"/>
              <a:gd name="connsiteX43756" fmla="*/ 4127973 w 8079933"/>
              <a:gd name="connsiteY43756" fmla="*/ 1263950 h 4687251"/>
              <a:gd name="connsiteX43757" fmla="*/ 4126019 w 8079933"/>
              <a:gd name="connsiteY43757" fmla="*/ 1265466 h 4687251"/>
              <a:gd name="connsiteX43758" fmla="*/ 4123306 w 8079933"/>
              <a:gd name="connsiteY43758" fmla="*/ 1268497 h 4687251"/>
              <a:gd name="connsiteX43759" fmla="*/ 4126996 w 8079933"/>
              <a:gd name="connsiteY43759" fmla="*/ 1266548 h 4687251"/>
              <a:gd name="connsiteX43760" fmla="*/ 4130686 w 8079933"/>
              <a:gd name="connsiteY43760" fmla="*/ 1264383 h 4687251"/>
              <a:gd name="connsiteX43761" fmla="*/ 4130903 w 8079933"/>
              <a:gd name="connsiteY43761" fmla="*/ 1260377 h 4687251"/>
              <a:gd name="connsiteX43762" fmla="*/ 4133832 w 8079933"/>
              <a:gd name="connsiteY43762" fmla="*/ 1257995 h 4687251"/>
              <a:gd name="connsiteX43763" fmla="*/ 4138716 w 8079933"/>
              <a:gd name="connsiteY43763" fmla="*/ 1257887 h 4687251"/>
              <a:gd name="connsiteX43764" fmla="*/ 4142080 w 8079933"/>
              <a:gd name="connsiteY43764" fmla="*/ 1261243 h 4687251"/>
              <a:gd name="connsiteX43765" fmla="*/ 4146311 w 8079933"/>
              <a:gd name="connsiteY43765" fmla="*/ 1261676 h 4687251"/>
              <a:gd name="connsiteX43766" fmla="*/ 4146095 w 8079933"/>
              <a:gd name="connsiteY43766" fmla="*/ 1257345 h 4687251"/>
              <a:gd name="connsiteX43767" fmla="*/ 4148482 w 8079933"/>
              <a:gd name="connsiteY43767" fmla="*/ 1254205 h 4687251"/>
              <a:gd name="connsiteX43768" fmla="*/ 4144250 w 8079933"/>
              <a:gd name="connsiteY43768" fmla="*/ 1252040 h 4687251"/>
              <a:gd name="connsiteX43769" fmla="*/ 4150977 w 8079933"/>
              <a:gd name="connsiteY43769" fmla="*/ 1245111 h 4687251"/>
              <a:gd name="connsiteX43770" fmla="*/ 4154450 w 8079933"/>
              <a:gd name="connsiteY43770" fmla="*/ 1244677 h 4687251"/>
              <a:gd name="connsiteX43771" fmla="*/ 4156621 w 8079933"/>
              <a:gd name="connsiteY43771" fmla="*/ 1241754 h 4687251"/>
              <a:gd name="connsiteX43772" fmla="*/ 4150110 w 8079933"/>
              <a:gd name="connsiteY43772" fmla="*/ 1239805 h 4687251"/>
              <a:gd name="connsiteX43773" fmla="*/ 4150218 w 8079933"/>
              <a:gd name="connsiteY43773" fmla="*/ 1236774 h 4687251"/>
              <a:gd name="connsiteX43774" fmla="*/ 4156947 w 8079933"/>
              <a:gd name="connsiteY43774" fmla="*/ 1232443 h 4687251"/>
              <a:gd name="connsiteX43775" fmla="*/ 4154450 w 8079933"/>
              <a:gd name="connsiteY43775" fmla="*/ 1232659 h 4687251"/>
              <a:gd name="connsiteX43776" fmla="*/ 4150218 w 8079933"/>
              <a:gd name="connsiteY43776" fmla="*/ 1231902 h 4687251"/>
              <a:gd name="connsiteX43777" fmla="*/ 4148048 w 8079933"/>
              <a:gd name="connsiteY43777" fmla="*/ 1233850 h 4687251"/>
              <a:gd name="connsiteX43778" fmla="*/ 4146420 w 8079933"/>
              <a:gd name="connsiteY43778" fmla="*/ 1234283 h 4687251"/>
              <a:gd name="connsiteX43779" fmla="*/ 4145552 w 8079933"/>
              <a:gd name="connsiteY43779" fmla="*/ 1239264 h 4687251"/>
              <a:gd name="connsiteX43780" fmla="*/ 4142297 w 8079933"/>
              <a:gd name="connsiteY43780" fmla="*/ 1243595 h 4687251"/>
              <a:gd name="connsiteX43781" fmla="*/ 4146095 w 8079933"/>
              <a:gd name="connsiteY43781" fmla="*/ 1242512 h 4687251"/>
              <a:gd name="connsiteX43782" fmla="*/ 4146095 w 8079933"/>
              <a:gd name="connsiteY43782" fmla="*/ 1245760 h 4687251"/>
              <a:gd name="connsiteX43783" fmla="*/ 4138824 w 8079933"/>
              <a:gd name="connsiteY43783" fmla="*/ 1252798 h 4687251"/>
              <a:gd name="connsiteX43784" fmla="*/ 4133398 w 8079933"/>
              <a:gd name="connsiteY43784" fmla="*/ 1253556 h 4687251"/>
              <a:gd name="connsiteX43785" fmla="*/ 4128406 w 8079933"/>
              <a:gd name="connsiteY43785" fmla="*/ 1256479 h 4687251"/>
              <a:gd name="connsiteX43786" fmla="*/ 4125693 w 8079933"/>
              <a:gd name="connsiteY43786" fmla="*/ 1252798 h 4687251"/>
              <a:gd name="connsiteX43787" fmla="*/ 4126019 w 8079933"/>
              <a:gd name="connsiteY43787" fmla="*/ 1248142 h 4687251"/>
              <a:gd name="connsiteX43788" fmla="*/ 4129058 w 8079933"/>
              <a:gd name="connsiteY43788" fmla="*/ 1246843 h 4687251"/>
              <a:gd name="connsiteX43789" fmla="*/ 4129491 w 8079933"/>
              <a:gd name="connsiteY43789" fmla="*/ 1244136 h 4687251"/>
              <a:gd name="connsiteX43790" fmla="*/ 4126996 w 8079933"/>
              <a:gd name="connsiteY43790" fmla="*/ 1243920 h 4687251"/>
              <a:gd name="connsiteX43791" fmla="*/ 4122221 w 8079933"/>
              <a:gd name="connsiteY43791" fmla="*/ 1247060 h 4687251"/>
              <a:gd name="connsiteX43792" fmla="*/ 4120919 w 8079933"/>
              <a:gd name="connsiteY43792" fmla="*/ 1245219 h 4687251"/>
              <a:gd name="connsiteX43793" fmla="*/ 4125151 w 8079933"/>
              <a:gd name="connsiteY43793" fmla="*/ 1241213 h 4687251"/>
              <a:gd name="connsiteX43794" fmla="*/ 4128190 w 8079933"/>
              <a:gd name="connsiteY43794" fmla="*/ 1238723 h 4687251"/>
              <a:gd name="connsiteX43795" fmla="*/ 4128949 w 8079933"/>
              <a:gd name="connsiteY43795" fmla="*/ 1233850 h 4687251"/>
              <a:gd name="connsiteX43796" fmla="*/ 4128406 w 8079933"/>
              <a:gd name="connsiteY43796" fmla="*/ 1232226 h 4687251"/>
              <a:gd name="connsiteX43797" fmla="*/ 4132531 w 8079933"/>
              <a:gd name="connsiteY43797" fmla="*/ 1229520 h 4687251"/>
              <a:gd name="connsiteX43798" fmla="*/ 4132204 w 8079933"/>
              <a:gd name="connsiteY43798" fmla="*/ 1224648 h 4687251"/>
              <a:gd name="connsiteX43799" fmla="*/ 4134484 w 8079933"/>
              <a:gd name="connsiteY43799" fmla="*/ 1223457 h 4687251"/>
              <a:gd name="connsiteX43800" fmla="*/ 4139909 w 8079933"/>
              <a:gd name="connsiteY43800" fmla="*/ 1223457 h 4687251"/>
              <a:gd name="connsiteX43801" fmla="*/ 4138716 w 8079933"/>
              <a:gd name="connsiteY43801" fmla="*/ 1221075 h 4687251"/>
              <a:gd name="connsiteX43802" fmla="*/ 4139258 w 8079933"/>
              <a:gd name="connsiteY43802" fmla="*/ 1218368 h 4687251"/>
              <a:gd name="connsiteX43803" fmla="*/ 4141429 w 8079933"/>
              <a:gd name="connsiteY43803" fmla="*/ 1216310 h 4687251"/>
              <a:gd name="connsiteX43804" fmla="*/ 4140343 w 8079933"/>
              <a:gd name="connsiteY43804" fmla="*/ 1213604 h 4687251"/>
              <a:gd name="connsiteX43805" fmla="*/ 4143382 w 8079933"/>
              <a:gd name="connsiteY43805" fmla="*/ 1213604 h 4687251"/>
              <a:gd name="connsiteX43806" fmla="*/ 4144793 w 8079933"/>
              <a:gd name="connsiteY43806" fmla="*/ 1211438 h 4687251"/>
              <a:gd name="connsiteX43807" fmla="*/ 4147180 w 8079933"/>
              <a:gd name="connsiteY43807" fmla="*/ 1212954 h 4687251"/>
              <a:gd name="connsiteX43808" fmla="*/ 4147939 w 8079933"/>
              <a:gd name="connsiteY43808" fmla="*/ 1216528 h 4687251"/>
              <a:gd name="connsiteX43809" fmla="*/ 4151521 w 8079933"/>
              <a:gd name="connsiteY43809" fmla="*/ 1216310 h 4687251"/>
              <a:gd name="connsiteX43810" fmla="*/ 4153365 w 8079933"/>
              <a:gd name="connsiteY43810" fmla="*/ 1212413 h 4687251"/>
              <a:gd name="connsiteX43811" fmla="*/ 4156947 w 8079933"/>
              <a:gd name="connsiteY43811" fmla="*/ 1210573 h 4687251"/>
              <a:gd name="connsiteX43812" fmla="*/ 4152281 w 8079933"/>
              <a:gd name="connsiteY43812" fmla="*/ 1209165 h 4687251"/>
              <a:gd name="connsiteX43813" fmla="*/ 4151954 w 8079933"/>
              <a:gd name="connsiteY43813" fmla="*/ 1207324 h 4687251"/>
              <a:gd name="connsiteX43814" fmla="*/ 4154559 w 8079933"/>
              <a:gd name="connsiteY43814" fmla="*/ 1203535 h 4687251"/>
              <a:gd name="connsiteX43815" fmla="*/ 4160527 w 8079933"/>
              <a:gd name="connsiteY43815" fmla="*/ 1202993 h 4687251"/>
              <a:gd name="connsiteX43816" fmla="*/ 4161613 w 8079933"/>
              <a:gd name="connsiteY43816" fmla="*/ 1201045 h 4687251"/>
              <a:gd name="connsiteX43817" fmla="*/ 4158357 w 8079933"/>
              <a:gd name="connsiteY43817" fmla="*/ 1199420 h 4687251"/>
              <a:gd name="connsiteX43818" fmla="*/ 4161504 w 8079933"/>
              <a:gd name="connsiteY43818" fmla="*/ 1196714 h 4687251"/>
              <a:gd name="connsiteX43819" fmla="*/ 4165302 w 8079933"/>
              <a:gd name="connsiteY43819" fmla="*/ 1195090 h 4687251"/>
              <a:gd name="connsiteX43820" fmla="*/ 4165411 w 8079933"/>
              <a:gd name="connsiteY43820" fmla="*/ 1192924 h 4687251"/>
              <a:gd name="connsiteX43821" fmla="*/ 4168341 w 8079933"/>
              <a:gd name="connsiteY43821" fmla="*/ 1191625 h 4687251"/>
              <a:gd name="connsiteX43822" fmla="*/ 4171813 w 8079933"/>
              <a:gd name="connsiteY43822" fmla="*/ 1191625 h 4687251"/>
              <a:gd name="connsiteX43823" fmla="*/ 4175720 w 8079933"/>
              <a:gd name="connsiteY43823" fmla="*/ 1187294 h 4687251"/>
              <a:gd name="connsiteX43824" fmla="*/ 4178650 w 8079933"/>
              <a:gd name="connsiteY43824" fmla="*/ 1186753 h 4687251"/>
              <a:gd name="connsiteX43825" fmla="*/ 4180603 w 8079933"/>
              <a:gd name="connsiteY43825" fmla="*/ 1181339 h 4687251"/>
              <a:gd name="connsiteX43826" fmla="*/ 4178541 w 8079933"/>
              <a:gd name="connsiteY43826" fmla="*/ 1181339 h 4687251"/>
              <a:gd name="connsiteX43827" fmla="*/ 4176479 w 8079933"/>
              <a:gd name="connsiteY43827" fmla="*/ 1184912 h 4687251"/>
              <a:gd name="connsiteX43828" fmla="*/ 4173767 w 8079933"/>
              <a:gd name="connsiteY43828" fmla="*/ 1185129 h 4687251"/>
              <a:gd name="connsiteX43829" fmla="*/ 4172030 w 8079933"/>
              <a:gd name="connsiteY43829" fmla="*/ 1181123 h 4687251"/>
              <a:gd name="connsiteX43830" fmla="*/ 4172139 w 8079933"/>
              <a:gd name="connsiteY43830" fmla="*/ 1177008 h 4687251"/>
              <a:gd name="connsiteX43831" fmla="*/ 4170728 w 8079933"/>
              <a:gd name="connsiteY43831" fmla="*/ 1176684 h 4687251"/>
              <a:gd name="connsiteX43832" fmla="*/ 4170836 w 8079933"/>
              <a:gd name="connsiteY43832" fmla="*/ 1172894 h 4687251"/>
              <a:gd name="connsiteX43833" fmla="*/ 4173115 w 8079933"/>
              <a:gd name="connsiteY43833" fmla="*/ 1171595 h 4687251"/>
              <a:gd name="connsiteX43834" fmla="*/ 4178324 w 8079933"/>
              <a:gd name="connsiteY43834" fmla="*/ 1175059 h 4687251"/>
              <a:gd name="connsiteX43835" fmla="*/ 4178650 w 8079933"/>
              <a:gd name="connsiteY43835" fmla="*/ 1172461 h 4687251"/>
              <a:gd name="connsiteX43836" fmla="*/ 4177890 w 8079933"/>
              <a:gd name="connsiteY43836" fmla="*/ 1170512 h 4687251"/>
              <a:gd name="connsiteX43837" fmla="*/ 4173984 w 8079933"/>
              <a:gd name="connsiteY43837" fmla="*/ 1169429 h 4687251"/>
              <a:gd name="connsiteX43838" fmla="*/ 4173767 w 8079933"/>
              <a:gd name="connsiteY43838" fmla="*/ 1165640 h 4687251"/>
              <a:gd name="connsiteX43839" fmla="*/ 4175394 w 8079933"/>
              <a:gd name="connsiteY43839" fmla="*/ 1164341 h 4687251"/>
              <a:gd name="connsiteX43840" fmla="*/ 4177890 w 8079933"/>
              <a:gd name="connsiteY43840" fmla="*/ 1166723 h 4687251"/>
              <a:gd name="connsiteX43841" fmla="*/ 4179952 w 8079933"/>
              <a:gd name="connsiteY43841" fmla="*/ 1166723 h 4687251"/>
              <a:gd name="connsiteX43842" fmla="*/ 4179410 w 8079933"/>
              <a:gd name="connsiteY43842" fmla="*/ 1163692 h 4687251"/>
              <a:gd name="connsiteX43843" fmla="*/ 4177239 w 8079933"/>
              <a:gd name="connsiteY43843" fmla="*/ 1161201 h 4687251"/>
              <a:gd name="connsiteX43844" fmla="*/ 4178541 w 8079933"/>
              <a:gd name="connsiteY43844" fmla="*/ 1160443 h 4687251"/>
              <a:gd name="connsiteX43845" fmla="*/ 4178324 w 8079933"/>
              <a:gd name="connsiteY43845" fmla="*/ 1157303 h 4687251"/>
              <a:gd name="connsiteX43846" fmla="*/ 4180495 w 8079933"/>
              <a:gd name="connsiteY43846" fmla="*/ 1154596 h 4687251"/>
              <a:gd name="connsiteX43847" fmla="*/ 4182665 w 8079933"/>
              <a:gd name="connsiteY43847" fmla="*/ 1154596 h 4687251"/>
              <a:gd name="connsiteX43848" fmla="*/ 4185378 w 8079933"/>
              <a:gd name="connsiteY43848" fmla="*/ 1157520 h 4687251"/>
              <a:gd name="connsiteX43849" fmla="*/ 4185486 w 8079933"/>
              <a:gd name="connsiteY43849" fmla="*/ 1153947 h 4687251"/>
              <a:gd name="connsiteX43850" fmla="*/ 4183208 w 8079933"/>
              <a:gd name="connsiteY43850" fmla="*/ 1151782 h 4687251"/>
              <a:gd name="connsiteX43851" fmla="*/ 4182773 w 8079933"/>
              <a:gd name="connsiteY43851" fmla="*/ 1148641 h 4687251"/>
              <a:gd name="connsiteX43852" fmla="*/ 4178107 w 8079933"/>
              <a:gd name="connsiteY43852" fmla="*/ 1148533 h 4687251"/>
              <a:gd name="connsiteX43853" fmla="*/ 4176697 w 8079933"/>
              <a:gd name="connsiteY43853" fmla="*/ 1147017 h 4687251"/>
              <a:gd name="connsiteX43854" fmla="*/ 4181145 w 8079933"/>
              <a:gd name="connsiteY43854" fmla="*/ 1142903 h 4687251"/>
              <a:gd name="connsiteX43855" fmla="*/ 4187656 w 8079933"/>
              <a:gd name="connsiteY43855" fmla="*/ 1142795 h 4687251"/>
              <a:gd name="connsiteX43856" fmla="*/ 4189501 w 8079933"/>
              <a:gd name="connsiteY43856" fmla="*/ 1144527 h 4687251"/>
              <a:gd name="connsiteX43857" fmla="*/ 4193517 w 8079933"/>
              <a:gd name="connsiteY43857" fmla="*/ 1144527 h 4687251"/>
              <a:gd name="connsiteX43858" fmla="*/ 4193517 w 8079933"/>
              <a:gd name="connsiteY43858" fmla="*/ 1142362 h 4687251"/>
              <a:gd name="connsiteX43859" fmla="*/ 4196338 w 8079933"/>
              <a:gd name="connsiteY43859" fmla="*/ 1139655 h 4687251"/>
              <a:gd name="connsiteX43860" fmla="*/ 4192757 w 8079933"/>
              <a:gd name="connsiteY43860" fmla="*/ 1141280 h 4687251"/>
              <a:gd name="connsiteX43861" fmla="*/ 4190261 w 8079933"/>
              <a:gd name="connsiteY43861" fmla="*/ 1140521 h 4687251"/>
              <a:gd name="connsiteX43862" fmla="*/ 4189284 w 8079933"/>
              <a:gd name="connsiteY43862" fmla="*/ 1137706 h 4687251"/>
              <a:gd name="connsiteX43863" fmla="*/ 4182990 w 8079933"/>
              <a:gd name="connsiteY43863" fmla="*/ 1135541 h 4687251"/>
              <a:gd name="connsiteX43864" fmla="*/ 4180495 w 8079933"/>
              <a:gd name="connsiteY43864" fmla="*/ 1134458 h 4687251"/>
              <a:gd name="connsiteX43865" fmla="*/ 4181905 w 8079933"/>
              <a:gd name="connsiteY43865" fmla="*/ 1131860 h 4687251"/>
              <a:gd name="connsiteX43866" fmla="*/ 4181905 w 8079933"/>
              <a:gd name="connsiteY43866" fmla="*/ 1129261 h 4687251"/>
              <a:gd name="connsiteX43867" fmla="*/ 4183533 w 8079933"/>
              <a:gd name="connsiteY43867" fmla="*/ 1130777 h 4687251"/>
              <a:gd name="connsiteX43868" fmla="*/ 4186463 w 8079933"/>
              <a:gd name="connsiteY43868" fmla="*/ 1130344 h 4687251"/>
              <a:gd name="connsiteX43869" fmla="*/ 4188959 w 8079933"/>
              <a:gd name="connsiteY43869" fmla="*/ 1128720 h 4687251"/>
              <a:gd name="connsiteX43870" fmla="*/ 4186463 w 8079933"/>
              <a:gd name="connsiteY43870" fmla="*/ 1128720 h 4687251"/>
              <a:gd name="connsiteX43871" fmla="*/ 4185920 w 8079933"/>
              <a:gd name="connsiteY43871" fmla="*/ 1126013 h 4687251"/>
              <a:gd name="connsiteX43872" fmla="*/ 4187874 w 8079933"/>
              <a:gd name="connsiteY43872" fmla="*/ 1124281 h 4687251"/>
              <a:gd name="connsiteX43873" fmla="*/ 4184835 w 8079933"/>
              <a:gd name="connsiteY43873" fmla="*/ 1121791 h 4687251"/>
              <a:gd name="connsiteX43874" fmla="*/ 4186246 w 8079933"/>
              <a:gd name="connsiteY43874" fmla="*/ 1120383 h 4687251"/>
              <a:gd name="connsiteX43875" fmla="*/ 4186788 w 8079933"/>
              <a:gd name="connsiteY43875" fmla="*/ 1121574 h 4687251"/>
              <a:gd name="connsiteX43876" fmla="*/ 4191129 w 8079933"/>
              <a:gd name="connsiteY43876" fmla="*/ 1122332 h 4687251"/>
              <a:gd name="connsiteX43877" fmla="*/ 4192214 w 8079933"/>
              <a:gd name="connsiteY43877" fmla="*/ 1120599 h 4687251"/>
              <a:gd name="connsiteX43878" fmla="*/ 4189284 w 8079933"/>
              <a:gd name="connsiteY43878" fmla="*/ 1117893 h 4687251"/>
              <a:gd name="connsiteX43879" fmla="*/ 4190587 w 8079933"/>
              <a:gd name="connsiteY43879" fmla="*/ 1116702 h 4687251"/>
              <a:gd name="connsiteX43880" fmla="*/ 4192431 w 8079933"/>
              <a:gd name="connsiteY43880" fmla="*/ 1117676 h 4687251"/>
              <a:gd name="connsiteX43881" fmla="*/ 4195579 w 8079933"/>
              <a:gd name="connsiteY43881" fmla="*/ 1116485 h 4687251"/>
              <a:gd name="connsiteX43882" fmla="*/ 4192866 w 8079933"/>
              <a:gd name="connsiteY43882" fmla="*/ 1113129 h 4687251"/>
              <a:gd name="connsiteX43883" fmla="*/ 4189284 w 8079933"/>
              <a:gd name="connsiteY43883" fmla="*/ 1111613 h 4687251"/>
              <a:gd name="connsiteX43884" fmla="*/ 4189827 w 8079933"/>
              <a:gd name="connsiteY43884" fmla="*/ 1109340 h 4687251"/>
              <a:gd name="connsiteX43885" fmla="*/ 4193082 w 8079933"/>
              <a:gd name="connsiteY43885" fmla="*/ 1109123 h 4687251"/>
              <a:gd name="connsiteX43886" fmla="*/ 4198942 w 8079933"/>
              <a:gd name="connsiteY43886" fmla="*/ 1106091 h 4687251"/>
              <a:gd name="connsiteX43887" fmla="*/ 4200570 w 8079933"/>
              <a:gd name="connsiteY43887" fmla="*/ 1107607 h 4687251"/>
              <a:gd name="connsiteX43888" fmla="*/ 4204368 w 8079933"/>
              <a:gd name="connsiteY43888" fmla="*/ 1105550 h 4687251"/>
              <a:gd name="connsiteX43889" fmla="*/ 4204368 w 8079933"/>
              <a:gd name="connsiteY43889" fmla="*/ 1101977 h 4687251"/>
              <a:gd name="connsiteX43890" fmla="*/ 4210987 w 8079933"/>
              <a:gd name="connsiteY43890" fmla="*/ 1100895 h 4687251"/>
              <a:gd name="connsiteX43891" fmla="*/ 4213375 w 8079933"/>
              <a:gd name="connsiteY43891" fmla="*/ 1099487 h 4687251"/>
              <a:gd name="connsiteX43892" fmla="*/ 4218258 w 8079933"/>
              <a:gd name="connsiteY43892" fmla="*/ 1099487 h 4687251"/>
              <a:gd name="connsiteX43893" fmla="*/ 4224444 w 8079933"/>
              <a:gd name="connsiteY43893" fmla="*/ 1103385 h 4687251"/>
              <a:gd name="connsiteX43894" fmla="*/ 4224444 w 8079933"/>
              <a:gd name="connsiteY43894" fmla="*/ 1100678 h 4687251"/>
              <a:gd name="connsiteX43895" fmla="*/ 4221514 w 8079933"/>
              <a:gd name="connsiteY43895" fmla="*/ 1099054 h 4687251"/>
              <a:gd name="connsiteX43896" fmla="*/ 4220211 w 8079933"/>
              <a:gd name="connsiteY43896" fmla="*/ 1095264 h 4687251"/>
              <a:gd name="connsiteX43897" fmla="*/ 4216305 w 8079933"/>
              <a:gd name="connsiteY43897" fmla="*/ 1096564 h 4687251"/>
              <a:gd name="connsiteX43898" fmla="*/ 4213700 w 8079933"/>
              <a:gd name="connsiteY43898" fmla="*/ 1094073 h 4687251"/>
              <a:gd name="connsiteX43899" fmla="*/ 4209903 w 8079933"/>
              <a:gd name="connsiteY43899" fmla="*/ 1096564 h 4687251"/>
              <a:gd name="connsiteX43900" fmla="*/ 4205453 w 8079933"/>
              <a:gd name="connsiteY43900" fmla="*/ 1094507 h 4687251"/>
              <a:gd name="connsiteX43901" fmla="*/ 4205453 w 8079933"/>
              <a:gd name="connsiteY43901" fmla="*/ 1091691 h 4687251"/>
              <a:gd name="connsiteX43902" fmla="*/ 4209577 w 8079933"/>
              <a:gd name="connsiteY43902" fmla="*/ 1088660 h 4687251"/>
              <a:gd name="connsiteX43903" fmla="*/ 4213917 w 8079933"/>
              <a:gd name="connsiteY43903" fmla="*/ 1088227 h 4687251"/>
              <a:gd name="connsiteX43904" fmla="*/ 4210662 w 8079933"/>
              <a:gd name="connsiteY43904" fmla="*/ 1085736 h 4687251"/>
              <a:gd name="connsiteX43905" fmla="*/ 4213592 w 8079933"/>
              <a:gd name="connsiteY43905" fmla="*/ 1082705 h 4687251"/>
              <a:gd name="connsiteX43906" fmla="*/ 4215762 w 8079933"/>
              <a:gd name="connsiteY43906" fmla="*/ 1082272 h 4687251"/>
              <a:gd name="connsiteX43907" fmla="*/ 4219343 w 8079933"/>
              <a:gd name="connsiteY43907" fmla="*/ 1086928 h 4687251"/>
              <a:gd name="connsiteX43908" fmla="*/ 4222273 w 8079933"/>
              <a:gd name="connsiteY43908" fmla="*/ 1086603 h 4687251"/>
              <a:gd name="connsiteX43909" fmla="*/ 4225638 w 8079933"/>
              <a:gd name="connsiteY43909" fmla="*/ 1089309 h 4687251"/>
              <a:gd name="connsiteX43910" fmla="*/ 4225855 w 8079933"/>
              <a:gd name="connsiteY43910" fmla="*/ 1085736 h 4687251"/>
              <a:gd name="connsiteX43911" fmla="*/ 4220754 w 8079933"/>
              <a:gd name="connsiteY43911" fmla="*/ 1082705 h 4687251"/>
              <a:gd name="connsiteX43912" fmla="*/ 4218475 w 8079933"/>
              <a:gd name="connsiteY43912" fmla="*/ 1079240 h 4687251"/>
              <a:gd name="connsiteX43913" fmla="*/ 4219343 w 8079933"/>
              <a:gd name="connsiteY43913" fmla="*/ 1074585 h 4687251"/>
              <a:gd name="connsiteX43914" fmla="*/ 4225638 w 8079933"/>
              <a:gd name="connsiteY43914" fmla="*/ 1073826 h 4687251"/>
              <a:gd name="connsiteX43915" fmla="*/ 4223576 w 8079933"/>
              <a:gd name="connsiteY43915" fmla="*/ 1070795 h 4687251"/>
              <a:gd name="connsiteX43916" fmla="*/ 4219669 w 8079933"/>
              <a:gd name="connsiteY43916" fmla="*/ 1070579 h 4687251"/>
              <a:gd name="connsiteX43917" fmla="*/ 4215329 w 8079933"/>
              <a:gd name="connsiteY43917" fmla="*/ 1075559 h 4687251"/>
              <a:gd name="connsiteX43918" fmla="*/ 4211964 w 8079933"/>
              <a:gd name="connsiteY43918" fmla="*/ 1076317 h 4687251"/>
              <a:gd name="connsiteX43919" fmla="*/ 4214785 w 8079933"/>
              <a:gd name="connsiteY43919" fmla="*/ 1072419 h 4687251"/>
              <a:gd name="connsiteX43920" fmla="*/ 4211964 w 8079933"/>
              <a:gd name="connsiteY43920" fmla="*/ 1069712 h 4687251"/>
              <a:gd name="connsiteX43921" fmla="*/ 4213700 w 8079933"/>
              <a:gd name="connsiteY43921" fmla="*/ 1065273 h 4687251"/>
              <a:gd name="connsiteX43922" fmla="*/ 4217173 w 8079933"/>
              <a:gd name="connsiteY43922" fmla="*/ 1065165 h 4687251"/>
              <a:gd name="connsiteX43923" fmla="*/ 4219018 w 8079933"/>
              <a:gd name="connsiteY43923" fmla="*/ 1066789 h 4687251"/>
              <a:gd name="connsiteX43924" fmla="*/ 4227699 w 8079933"/>
              <a:gd name="connsiteY43924" fmla="*/ 1065490 h 4687251"/>
              <a:gd name="connsiteX43925" fmla="*/ 4229978 w 8079933"/>
              <a:gd name="connsiteY43925" fmla="*/ 1061917 h 4687251"/>
              <a:gd name="connsiteX43926" fmla="*/ 4225855 w 8079933"/>
              <a:gd name="connsiteY43926" fmla="*/ 1059426 h 4687251"/>
              <a:gd name="connsiteX43927" fmla="*/ 4220754 w 8079933"/>
              <a:gd name="connsiteY43927" fmla="*/ 1059535 h 4687251"/>
              <a:gd name="connsiteX43928" fmla="*/ 4217498 w 8079933"/>
              <a:gd name="connsiteY43928" fmla="*/ 1056179 h 4687251"/>
              <a:gd name="connsiteX43929" fmla="*/ 4221297 w 8079933"/>
              <a:gd name="connsiteY43929" fmla="*/ 1051956 h 4687251"/>
              <a:gd name="connsiteX43930" fmla="*/ 4224010 w 8079933"/>
              <a:gd name="connsiteY43930" fmla="*/ 1052281 h 4687251"/>
              <a:gd name="connsiteX43931" fmla="*/ 4222816 w 8079933"/>
              <a:gd name="connsiteY43931" fmla="*/ 1054338 h 4687251"/>
              <a:gd name="connsiteX43932" fmla="*/ 4224444 w 8079933"/>
              <a:gd name="connsiteY43932" fmla="*/ 1057045 h 4687251"/>
              <a:gd name="connsiteX43933" fmla="*/ 4227808 w 8079933"/>
              <a:gd name="connsiteY43933" fmla="*/ 1056179 h 4687251"/>
              <a:gd name="connsiteX43934" fmla="*/ 4231064 w 8079933"/>
              <a:gd name="connsiteY43934" fmla="*/ 1052714 h 4687251"/>
              <a:gd name="connsiteX43935" fmla="*/ 4234319 w 8079933"/>
              <a:gd name="connsiteY43935" fmla="*/ 1056936 h 4687251"/>
              <a:gd name="connsiteX43936" fmla="*/ 4234210 w 8079933"/>
              <a:gd name="connsiteY43936" fmla="*/ 1061159 h 4687251"/>
              <a:gd name="connsiteX43937" fmla="*/ 4236163 w 8079933"/>
              <a:gd name="connsiteY43937" fmla="*/ 1064516 h 4687251"/>
              <a:gd name="connsiteX43938" fmla="*/ 4237032 w 8079933"/>
              <a:gd name="connsiteY43938" fmla="*/ 1062025 h 4687251"/>
              <a:gd name="connsiteX43939" fmla="*/ 4236381 w 8079933"/>
              <a:gd name="connsiteY43939" fmla="*/ 1058669 h 4687251"/>
              <a:gd name="connsiteX43940" fmla="*/ 4237791 w 8079933"/>
              <a:gd name="connsiteY43940" fmla="*/ 1055962 h 4687251"/>
              <a:gd name="connsiteX43941" fmla="*/ 4239962 w 8079933"/>
              <a:gd name="connsiteY43941" fmla="*/ 1055854 h 4687251"/>
              <a:gd name="connsiteX43942" fmla="*/ 4238551 w 8079933"/>
              <a:gd name="connsiteY43942" fmla="*/ 1052173 h 4687251"/>
              <a:gd name="connsiteX43943" fmla="*/ 4234970 w 8079933"/>
              <a:gd name="connsiteY43943" fmla="*/ 1049574 h 4687251"/>
              <a:gd name="connsiteX43944" fmla="*/ 4237574 w 8079933"/>
              <a:gd name="connsiteY43944" fmla="*/ 1049249 h 4687251"/>
              <a:gd name="connsiteX43945" fmla="*/ 4241155 w 8079933"/>
              <a:gd name="connsiteY43945" fmla="*/ 1051306 h 4687251"/>
              <a:gd name="connsiteX43946" fmla="*/ 4242566 w 8079933"/>
              <a:gd name="connsiteY43946" fmla="*/ 1048600 h 4687251"/>
              <a:gd name="connsiteX43947" fmla="*/ 4241047 w 8079933"/>
              <a:gd name="connsiteY43947" fmla="*/ 1046975 h 4687251"/>
              <a:gd name="connsiteX43948" fmla="*/ 4245821 w 8079933"/>
              <a:gd name="connsiteY43948" fmla="*/ 1046975 h 4687251"/>
              <a:gd name="connsiteX43949" fmla="*/ 4247558 w 8079933"/>
              <a:gd name="connsiteY43949" fmla="*/ 1049033 h 4687251"/>
              <a:gd name="connsiteX43950" fmla="*/ 4251464 w 8079933"/>
              <a:gd name="connsiteY43950" fmla="*/ 1048058 h 4687251"/>
              <a:gd name="connsiteX43951" fmla="*/ 4252007 w 8079933"/>
              <a:gd name="connsiteY43951" fmla="*/ 1051198 h 4687251"/>
              <a:gd name="connsiteX43952" fmla="*/ 4253852 w 8079933"/>
              <a:gd name="connsiteY43952" fmla="*/ 1053472 h 4687251"/>
              <a:gd name="connsiteX43953" fmla="*/ 4254937 w 8079933"/>
              <a:gd name="connsiteY43953" fmla="*/ 1052173 h 4687251"/>
              <a:gd name="connsiteX43954" fmla="*/ 4255805 w 8079933"/>
              <a:gd name="connsiteY43954" fmla="*/ 1045785 h 4687251"/>
              <a:gd name="connsiteX43955" fmla="*/ 4258843 w 8079933"/>
              <a:gd name="connsiteY43955" fmla="*/ 1042320 h 4687251"/>
              <a:gd name="connsiteX43956" fmla="*/ 4258735 w 8079933"/>
              <a:gd name="connsiteY43956" fmla="*/ 1039288 h 4687251"/>
              <a:gd name="connsiteX43957" fmla="*/ 4256130 w 8079933"/>
              <a:gd name="connsiteY43957" fmla="*/ 1039397 h 4687251"/>
              <a:gd name="connsiteX43958" fmla="*/ 4251790 w 8079933"/>
              <a:gd name="connsiteY43958" fmla="*/ 1041562 h 4687251"/>
              <a:gd name="connsiteX43959" fmla="*/ 4249294 w 8079933"/>
              <a:gd name="connsiteY43959" fmla="*/ 1040046 h 4687251"/>
              <a:gd name="connsiteX43960" fmla="*/ 4238985 w 8079933"/>
              <a:gd name="connsiteY43960" fmla="*/ 1042969 h 4687251"/>
              <a:gd name="connsiteX43961" fmla="*/ 4235078 w 8079933"/>
              <a:gd name="connsiteY43961" fmla="*/ 1041671 h 4687251"/>
              <a:gd name="connsiteX43962" fmla="*/ 4237466 w 8079933"/>
              <a:gd name="connsiteY43962" fmla="*/ 1037339 h 4687251"/>
              <a:gd name="connsiteX43963" fmla="*/ 4242132 w 8079933"/>
              <a:gd name="connsiteY43963" fmla="*/ 1036906 h 4687251"/>
              <a:gd name="connsiteX43964" fmla="*/ 4243543 w 8079933"/>
              <a:gd name="connsiteY43964" fmla="*/ 1035499 h 4687251"/>
              <a:gd name="connsiteX43965" fmla="*/ 4242349 w 8079933"/>
              <a:gd name="connsiteY43965" fmla="*/ 1033225 h 4687251"/>
              <a:gd name="connsiteX43966" fmla="*/ 4245388 w 8079933"/>
              <a:gd name="connsiteY43966" fmla="*/ 1029328 h 4687251"/>
              <a:gd name="connsiteX43967" fmla="*/ 4248860 w 8079933"/>
              <a:gd name="connsiteY43967" fmla="*/ 1028353 h 4687251"/>
              <a:gd name="connsiteX43968" fmla="*/ 4250814 w 8079933"/>
              <a:gd name="connsiteY43968" fmla="*/ 1030843 h 4687251"/>
              <a:gd name="connsiteX43969" fmla="*/ 4253635 w 8079933"/>
              <a:gd name="connsiteY43969" fmla="*/ 1030194 h 4687251"/>
              <a:gd name="connsiteX43970" fmla="*/ 4252332 w 8079933"/>
              <a:gd name="connsiteY43970" fmla="*/ 1029111 h 4687251"/>
              <a:gd name="connsiteX43971" fmla="*/ 4252441 w 8079933"/>
              <a:gd name="connsiteY43971" fmla="*/ 1026729 h 4687251"/>
              <a:gd name="connsiteX43972" fmla="*/ 4255805 w 8079933"/>
              <a:gd name="connsiteY43972" fmla="*/ 1026512 h 4687251"/>
              <a:gd name="connsiteX43973" fmla="*/ 4257650 w 8079933"/>
              <a:gd name="connsiteY43973" fmla="*/ 1024347 h 4687251"/>
              <a:gd name="connsiteX43974" fmla="*/ 4255045 w 8079933"/>
              <a:gd name="connsiteY43974" fmla="*/ 1022506 h 4687251"/>
              <a:gd name="connsiteX43975" fmla="*/ 4257867 w 8079933"/>
              <a:gd name="connsiteY43975" fmla="*/ 1020666 h 4687251"/>
              <a:gd name="connsiteX43976" fmla="*/ 4261665 w 8079933"/>
              <a:gd name="connsiteY43976" fmla="*/ 1020233 h 4687251"/>
              <a:gd name="connsiteX43977" fmla="*/ 4258735 w 8079933"/>
              <a:gd name="connsiteY43977" fmla="*/ 1016660 h 4687251"/>
              <a:gd name="connsiteX43978" fmla="*/ 4255697 w 8079933"/>
              <a:gd name="connsiteY43978" fmla="*/ 1017093 h 4687251"/>
              <a:gd name="connsiteX43979" fmla="*/ 4254612 w 8079933"/>
              <a:gd name="connsiteY43979" fmla="*/ 1016551 h 4687251"/>
              <a:gd name="connsiteX43980" fmla="*/ 4259060 w 8079933"/>
              <a:gd name="connsiteY43980" fmla="*/ 1011247 h 4687251"/>
              <a:gd name="connsiteX43981" fmla="*/ 4262425 w 8079933"/>
              <a:gd name="connsiteY43981" fmla="*/ 1010164 h 4687251"/>
              <a:gd name="connsiteX43982" fmla="*/ 4266223 w 8079933"/>
              <a:gd name="connsiteY43982" fmla="*/ 1012112 h 4687251"/>
              <a:gd name="connsiteX43983" fmla="*/ 4266982 w 8079933"/>
              <a:gd name="connsiteY43983" fmla="*/ 1006807 h 4687251"/>
              <a:gd name="connsiteX43984" fmla="*/ 4264812 w 8079933"/>
              <a:gd name="connsiteY43984" fmla="*/ 1004100 h 4687251"/>
              <a:gd name="connsiteX43985" fmla="*/ 4265897 w 8079933"/>
              <a:gd name="connsiteY43985" fmla="*/ 998145 h 4687251"/>
              <a:gd name="connsiteX43986" fmla="*/ 4268610 w 8079933"/>
              <a:gd name="connsiteY43986" fmla="*/ 996088 h 4687251"/>
              <a:gd name="connsiteX43987" fmla="*/ 4269587 w 8079933"/>
              <a:gd name="connsiteY43987" fmla="*/ 999770 h 4687251"/>
              <a:gd name="connsiteX43988" fmla="*/ 4271432 w 8079933"/>
              <a:gd name="connsiteY43988" fmla="*/ 1000853 h 4687251"/>
              <a:gd name="connsiteX43989" fmla="*/ 4271974 w 8079933"/>
              <a:gd name="connsiteY43989" fmla="*/ 1006374 h 4687251"/>
              <a:gd name="connsiteX43990" fmla="*/ 4276532 w 8079933"/>
              <a:gd name="connsiteY43990" fmla="*/ 1009622 h 4687251"/>
              <a:gd name="connsiteX43991" fmla="*/ 4273819 w 8079933"/>
              <a:gd name="connsiteY43991" fmla="*/ 1005075 h 4687251"/>
              <a:gd name="connsiteX43992" fmla="*/ 4277943 w 8079933"/>
              <a:gd name="connsiteY43992" fmla="*/ 1003776 h 4687251"/>
              <a:gd name="connsiteX43993" fmla="*/ 4281958 w 8079933"/>
              <a:gd name="connsiteY43993" fmla="*/ 1004317 h 4687251"/>
              <a:gd name="connsiteX43994" fmla="*/ 4280438 w 8079933"/>
              <a:gd name="connsiteY43994" fmla="*/ 1002584 h 4687251"/>
              <a:gd name="connsiteX43995" fmla="*/ 4277617 w 8079933"/>
              <a:gd name="connsiteY43995" fmla="*/ 1002151 h 4687251"/>
              <a:gd name="connsiteX43996" fmla="*/ 4271432 w 8079933"/>
              <a:gd name="connsiteY43996" fmla="*/ 997496 h 4687251"/>
              <a:gd name="connsiteX43997" fmla="*/ 4272191 w 8079933"/>
              <a:gd name="connsiteY43997" fmla="*/ 994464 h 4687251"/>
              <a:gd name="connsiteX43998" fmla="*/ 4278377 w 8079933"/>
              <a:gd name="connsiteY43998" fmla="*/ 992407 h 4687251"/>
              <a:gd name="connsiteX43999" fmla="*/ 4279787 w 8079933"/>
              <a:gd name="connsiteY43999" fmla="*/ 993274 h 4687251"/>
              <a:gd name="connsiteX44000" fmla="*/ 4282934 w 8079933"/>
              <a:gd name="connsiteY44000" fmla="*/ 1001719 h 4687251"/>
              <a:gd name="connsiteX44001" fmla="*/ 4287817 w 8079933"/>
              <a:gd name="connsiteY44001" fmla="*/ 1003776 h 4687251"/>
              <a:gd name="connsiteX44002" fmla="*/ 4289879 w 8079933"/>
              <a:gd name="connsiteY44002" fmla="*/ 1010272 h 4687251"/>
              <a:gd name="connsiteX44003" fmla="*/ 4292484 w 8079933"/>
              <a:gd name="connsiteY44003" fmla="*/ 1005183 h 4687251"/>
              <a:gd name="connsiteX44004" fmla="*/ 4290639 w 8079933"/>
              <a:gd name="connsiteY44004" fmla="*/ 1001935 h 4687251"/>
              <a:gd name="connsiteX44005" fmla="*/ 4284128 w 8079933"/>
              <a:gd name="connsiteY44005" fmla="*/ 997280 h 4687251"/>
              <a:gd name="connsiteX44006" fmla="*/ 4284453 w 8079933"/>
              <a:gd name="connsiteY44006" fmla="*/ 993165 h 4687251"/>
              <a:gd name="connsiteX44007" fmla="*/ 4282391 w 8079933"/>
              <a:gd name="connsiteY44007" fmla="*/ 988510 h 4687251"/>
              <a:gd name="connsiteX44008" fmla="*/ 4285539 w 8079933"/>
              <a:gd name="connsiteY44008" fmla="*/ 982555 h 4687251"/>
              <a:gd name="connsiteX44009" fmla="*/ 4290096 w 8079933"/>
              <a:gd name="connsiteY44009" fmla="*/ 979631 h 4687251"/>
              <a:gd name="connsiteX44010" fmla="*/ 4292484 w 8079933"/>
              <a:gd name="connsiteY44010" fmla="*/ 980172 h 4687251"/>
              <a:gd name="connsiteX44011" fmla="*/ 4294220 w 8079933"/>
              <a:gd name="connsiteY44011" fmla="*/ 986669 h 4687251"/>
              <a:gd name="connsiteX44012" fmla="*/ 4291941 w 8079933"/>
              <a:gd name="connsiteY44012" fmla="*/ 991541 h 4687251"/>
              <a:gd name="connsiteX44013" fmla="*/ 4292484 w 8079933"/>
              <a:gd name="connsiteY44013" fmla="*/ 996088 h 4687251"/>
              <a:gd name="connsiteX44014" fmla="*/ 4296173 w 8079933"/>
              <a:gd name="connsiteY44014" fmla="*/ 991433 h 4687251"/>
              <a:gd name="connsiteX44015" fmla="*/ 4295305 w 8079933"/>
              <a:gd name="connsiteY44015" fmla="*/ 989051 h 4687251"/>
              <a:gd name="connsiteX44016" fmla="*/ 4295413 w 8079933"/>
              <a:gd name="connsiteY44016" fmla="*/ 983313 h 4687251"/>
              <a:gd name="connsiteX44017" fmla="*/ 4300839 w 8079933"/>
              <a:gd name="connsiteY44017" fmla="*/ 974651 h 4687251"/>
              <a:gd name="connsiteX44018" fmla="*/ 4304204 w 8079933"/>
              <a:gd name="connsiteY44018" fmla="*/ 972486 h 4687251"/>
              <a:gd name="connsiteX44019" fmla="*/ 4306916 w 8079933"/>
              <a:gd name="connsiteY44019" fmla="*/ 985911 h 4687251"/>
              <a:gd name="connsiteX44020" fmla="*/ 4303552 w 8079933"/>
              <a:gd name="connsiteY44020" fmla="*/ 992624 h 4687251"/>
              <a:gd name="connsiteX44021" fmla="*/ 4304746 w 8079933"/>
              <a:gd name="connsiteY44021" fmla="*/ 995872 h 4687251"/>
              <a:gd name="connsiteX44022" fmla="*/ 4301165 w 8079933"/>
              <a:gd name="connsiteY44022" fmla="*/ 998470 h 4687251"/>
              <a:gd name="connsiteX44023" fmla="*/ 4301273 w 8079933"/>
              <a:gd name="connsiteY44023" fmla="*/ 1000961 h 4687251"/>
              <a:gd name="connsiteX44024" fmla="*/ 4306483 w 8079933"/>
              <a:gd name="connsiteY44024" fmla="*/ 996847 h 4687251"/>
              <a:gd name="connsiteX44025" fmla="*/ 4307568 w 8079933"/>
              <a:gd name="connsiteY44025" fmla="*/ 993165 h 4687251"/>
              <a:gd name="connsiteX44026" fmla="*/ 4310823 w 8079933"/>
              <a:gd name="connsiteY44026" fmla="*/ 988401 h 4687251"/>
              <a:gd name="connsiteX44027" fmla="*/ 4312885 w 8079933"/>
              <a:gd name="connsiteY44027" fmla="*/ 990459 h 4687251"/>
              <a:gd name="connsiteX44028" fmla="*/ 4316683 w 8079933"/>
              <a:gd name="connsiteY44028" fmla="*/ 991000 h 4687251"/>
              <a:gd name="connsiteX44029" fmla="*/ 4314621 w 8079933"/>
              <a:gd name="connsiteY44029" fmla="*/ 986669 h 4687251"/>
              <a:gd name="connsiteX44030" fmla="*/ 4309629 w 8079933"/>
              <a:gd name="connsiteY44030" fmla="*/ 984395 h 4687251"/>
              <a:gd name="connsiteX44031" fmla="*/ 4309412 w 8079933"/>
              <a:gd name="connsiteY44031" fmla="*/ 980606 h 4687251"/>
              <a:gd name="connsiteX44032" fmla="*/ 4313536 w 8079933"/>
              <a:gd name="connsiteY44032" fmla="*/ 977033 h 4687251"/>
              <a:gd name="connsiteX44033" fmla="*/ 4313645 w 8079933"/>
              <a:gd name="connsiteY44033" fmla="*/ 974543 h 4687251"/>
              <a:gd name="connsiteX44034" fmla="*/ 4317117 w 8079933"/>
              <a:gd name="connsiteY44034" fmla="*/ 971619 h 4687251"/>
              <a:gd name="connsiteX44035" fmla="*/ 4317985 w 8079933"/>
              <a:gd name="connsiteY44035" fmla="*/ 977249 h 4687251"/>
              <a:gd name="connsiteX44036" fmla="*/ 4321458 w 8079933"/>
              <a:gd name="connsiteY44036" fmla="*/ 974326 h 4687251"/>
              <a:gd name="connsiteX44037" fmla="*/ 4322760 w 8079933"/>
              <a:gd name="connsiteY44037" fmla="*/ 970320 h 4687251"/>
              <a:gd name="connsiteX44038" fmla="*/ 4325148 w 8079933"/>
              <a:gd name="connsiteY44038" fmla="*/ 973243 h 4687251"/>
              <a:gd name="connsiteX44039" fmla="*/ 4329271 w 8079933"/>
              <a:gd name="connsiteY44039" fmla="*/ 974976 h 4687251"/>
              <a:gd name="connsiteX44040" fmla="*/ 4332527 w 8079933"/>
              <a:gd name="connsiteY44040" fmla="*/ 980281 h 4687251"/>
              <a:gd name="connsiteX44041" fmla="*/ 4335673 w 8079933"/>
              <a:gd name="connsiteY44041" fmla="*/ 982555 h 4687251"/>
              <a:gd name="connsiteX44042" fmla="*/ 4336107 w 8079933"/>
              <a:gd name="connsiteY44042" fmla="*/ 979307 h 4687251"/>
              <a:gd name="connsiteX44043" fmla="*/ 4332527 w 8079933"/>
              <a:gd name="connsiteY44043" fmla="*/ 974435 h 4687251"/>
              <a:gd name="connsiteX44044" fmla="*/ 4332309 w 8079933"/>
              <a:gd name="connsiteY44044" fmla="*/ 970320 h 4687251"/>
              <a:gd name="connsiteX44045" fmla="*/ 4334697 w 8079933"/>
              <a:gd name="connsiteY44045" fmla="*/ 965881 h 4687251"/>
              <a:gd name="connsiteX44046" fmla="*/ 4329271 w 8079933"/>
              <a:gd name="connsiteY44046" fmla="*/ 965448 h 4687251"/>
              <a:gd name="connsiteX44047" fmla="*/ 4327209 w 8079933"/>
              <a:gd name="connsiteY44047" fmla="*/ 963066 h 4687251"/>
              <a:gd name="connsiteX44048" fmla="*/ 4323520 w 8079933"/>
              <a:gd name="connsiteY44048" fmla="*/ 963174 h 4687251"/>
              <a:gd name="connsiteX44049" fmla="*/ 4318311 w 8079933"/>
              <a:gd name="connsiteY44049" fmla="*/ 957003 h 4687251"/>
              <a:gd name="connsiteX44050" fmla="*/ 4318528 w 8079933"/>
              <a:gd name="connsiteY44050" fmla="*/ 955054 h 4687251"/>
              <a:gd name="connsiteX44051" fmla="*/ 4322868 w 8079933"/>
              <a:gd name="connsiteY44051" fmla="*/ 954080 h 4687251"/>
              <a:gd name="connsiteX44052" fmla="*/ 4326558 w 8079933"/>
              <a:gd name="connsiteY44052" fmla="*/ 950723 h 4687251"/>
              <a:gd name="connsiteX44053" fmla="*/ 4328186 w 8079933"/>
              <a:gd name="connsiteY44053" fmla="*/ 953863 h 4687251"/>
              <a:gd name="connsiteX44054" fmla="*/ 4330573 w 8079933"/>
              <a:gd name="connsiteY44054" fmla="*/ 950940 h 4687251"/>
              <a:gd name="connsiteX44055" fmla="*/ 4332743 w 8079933"/>
              <a:gd name="connsiteY44055" fmla="*/ 951048 h 4687251"/>
              <a:gd name="connsiteX44056" fmla="*/ 4340014 w 8079933"/>
              <a:gd name="connsiteY44056" fmla="*/ 956786 h 4687251"/>
              <a:gd name="connsiteX44057" fmla="*/ 4345331 w 8079933"/>
              <a:gd name="connsiteY44057" fmla="*/ 957111 h 4687251"/>
              <a:gd name="connsiteX44058" fmla="*/ 4349347 w 8079933"/>
              <a:gd name="connsiteY44058" fmla="*/ 956678 h 4687251"/>
              <a:gd name="connsiteX44059" fmla="*/ 4353036 w 8079933"/>
              <a:gd name="connsiteY44059" fmla="*/ 958627 h 4687251"/>
              <a:gd name="connsiteX44060" fmla="*/ 4350432 w 8079933"/>
              <a:gd name="connsiteY44060" fmla="*/ 961550 h 4687251"/>
              <a:gd name="connsiteX44061" fmla="*/ 4353253 w 8079933"/>
              <a:gd name="connsiteY44061" fmla="*/ 962308 h 4687251"/>
              <a:gd name="connsiteX44062" fmla="*/ 4354772 w 8079933"/>
              <a:gd name="connsiteY44062" fmla="*/ 968588 h 4687251"/>
              <a:gd name="connsiteX44063" fmla="*/ 4360632 w 8079933"/>
              <a:gd name="connsiteY44063" fmla="*/ 969129 h 4687251"/>
              <a:gd name="connsiteX44064" fmla="*/ 4362586 w 8079933"/>
              <a:gd name="connsiteY44064" fmla="*/ 967072 h 4687251"/>
              <a:gd name="connsiteX44065" fmla="*/ 4360958 w 8079933"/>
              <a:gd name="connsiteY44065" fmla="*/ 965340 h 4687251"/>
              <a:gd name="connsiteX44066" fmla="*/ 4357377 w 8079933"/>
              <a:gd name="connsiteY44066" fmla="*/ 963607 h 4687251"/>
              <a:gd name="connsiteX44067" fmla="*/ 4360090 w 8079933"/>
              <a:gd name="connsiteY44067" fmla="*/ 960901 h 4687251"/>
              <a:gd name="connsiteX44068" fmla="*/ 4356508 w 8079933"/>
              <a:gd name="connsiteY44068" fmla="*/ 957111 h 4687251"/>
              <a:gd name="connsiteX44069" fmla="*/ 4357485 w 8079933"/>
              <a:gd name="connsiteY44069" fmla="*/ 953646 h 4687251"/>
              <a:gd name="connsiteX44070" fmla="*/ 4361934 w 8079933"/>
              <a:gd name="connsiteY44070" fmla="*/ 950723 h 4687251"/>
              <a:gd name="connsiteX44071" fmla="*/ 4359981 w 8079933"/>
              <a:gd name="connsiteY44071" fmla="*/ 949424 h 4687251"/>
              <a:gd name="connsiteX44072" fmla="*/ 4359981 w 8079933"/>
              <a:gd name="connsiteY44072" fmla="*/ 947583 h 4687251"/>
              <a:gd name="connsiteX44073" fmla="*/ 4363128 w 8079933"/>
              <a:gd name="connsiteY44073" fmla="*/ 946284 h 4687251"/>
              <a:gd name="connsiteX44074" fmla="*/ 4365624 w 8079933"/>
              <a:gd name="connsiteY44074" fmla="*/ 941303 h 4687251"/>
              <a:gd name="connsiteX44075" fmla="*/ 4367794 w 8079933"/>
              <a:gd name="connsiteY44075" fmla="*/ 941087 h 4687251"/>
              <a:gd name="connsiteX44076" fmla="*/ 4372027 w 8079933"/>
              <a:gd name="connsiteY44076" fmla="*/ 943902 h 4687251"/>
              <a:gd name="connsiteX44077" fmla="*/ 4373545 w 8079933"/>
              <a:gd name="connsiteY44077" fmla="*/ 942386 h 4687251"/>
              <a:gd name="connsiteX44078" fmla="*/ 4372135 w 8079933"/>
              <a:gd name="connsiteY44078" fmla="*/ 940546 h 4687251"/>
              <a:gd name="connsiteX44079" fmla="*/ 4372460 w 8079933"/>
              <a:gd name="connsiteY44079" fmla="*/ 938056 h 4687251"/>
              <a:gd name="connsiteX44080" fmla="*/ 4375282 w 8079933"/>
              <a:gd name="connsiteY44080" fmla="*/ 935457 h 4687251"/>
              <a:gd name="connsiteX44081" fmla="*/ 4377670 w 8079933"/>
              <a:gd name="connsiteY44081" fmla="*/ 937839 h 4687251"/>
              <a:gd name="connsiteX44082" fmla="*/ 4378971 w 8079933"/>
              <a:gd name="connsiteY44082" fmla="*/ 936431 h 4687251"/>
              <a:gd name="connsiteX44083" fmla="*/ 4377670 w 8079933"/>
              <a:gd name="connsiteY44083" fmla="*/ 932425 h 4687251"/>
              <a:gd name="connsiteX44084" fmla="*/ 4372244 w 8079933"/>
              <a:gd name="connsiteY44084" fmla="*/ 928744 h 4687251"/>
              <a:gd name="connsiteX44085" fmla="*/ 4371592 w 8079933"/>
              <a:gd name="connsiteY44085" fmla="*/ 927012 h 4687251"/>
              <a:gd name="connsiteX44086" fmla="*/ 4373654 w 8079933"/>
              <a:gd name="connsiteY44086" fmla="*/ 925063 h 4687251"/>
              <a:gd name="connsiteX44087" fmla="*/ 4376258 w 8079933"/>
              <a:gd name="connsiteY44087" fmla="*/ 926579 h 4687251"/>
              <a:gd name="connsiteX44088" fmla="*/ 4378211 w 8079933"/>
              <a:gd name="connsiteY44088" fmla="*/ 928961 h 4687251"/>
              <a:gd name="connsiteX44089" fmla="*/ 4379623 w 8079933"/>
              <a:gd name="connsiteY44089" fmla="*/ 926146 h 4687251"/>
              <a:gd name="connsiteX44090" fmla="*/ 4379080 w 8079933"/>
              <a:gd name="connsiteY44090" fmla="*/ 920407 h 4687251"/>
              <a:gd name="connsiteX44091" fmla="*/ 4381901 w 8079933"/>
              <a:gd name="connsiteY44091" fmla="*/ 918891 h 4687251"/>
              <a:gd name="connsiteX44092" fmla="*/ 4385808 w 8079933"/>
              <a:gd name="connsiteY44092" fmla="*/ 919650 h 4687251"/>
              <a:gd name="connsiteX44093" fmla="*/ 4388955 w 8079933"/>
              <a:gd name="connsiteY44093" fmla="*/ 922789 h 4687251"/>
              <a:gd name="connsiteX44094" fmla="*/ 4389063 w 8079933"/>
              <a:gd name="connsiteY44094" fmla="*/ 926903 h 4687251"/>
              <a:gd name="connsiteX44095" fmla="*/ 4391777 w 8079933"/>
              <a:gd name="connsiteY44095" fmla="*/ 923872 h 4687251"/>
              <a:gd name="connsiteX44096" fmla="*/ 4391125 w 8079933"/>
              <a:gd name="connsiteY44096" fmla="*/ 919650 h 4687251"/>
              <a:gd name="connsiteX44097" fmla="*/ 4393078 w 8079933"/>
              <a:gd name="connsiteY44097" fmla="*/ 919000 h 4687251"/>
              <a:gd name="connsiteX44098" fmla="*/ 4396876 w 8079933"/>
              <a:gd name="connsiteY44098" fmla="*/ 922897 h 4687251"/>
              <a:gd name="connsiteX44099" fmla="*/ 4400566 w 8079933"/>
              <a:gd name="connsiteY44099" fmla="*/ 923222 h 4687251"/>
              <a:gd name="connsiteX44100" fmla="*/ 4401001 w 8079933"/>
              <a:gd name="connsiteY44100" fmla="*/ 925821 h 4687251"/>
              <a:gd name="connsiteX44101" fmla="*/ 4399915 w 8079933"/>
              <a:gd name="connsiteY44101" fmla="*/ 926579 h 4687251"/>
              <a:gd name="connsiteX44102" fmla="*/ 4398721 w 8079933"/>
              <a:gd name="connsiteY44102" fmla="*/ 931234 h 4687251"/>
              <a:gd name="connsiteX44103" fmla="*/ 4391777 w 8079933"/>
              <a:gd name="connsiteY44103" fmla="*/ 938922 h 4687251"/>
              <a:gd name="connsiteX44104" fmla="*/ 4393730 w 8079933"/>
              <a:gd name="connsiteY44104" fmla="*/ 943036 h 4687251"/>
              <a:gd name="connsiteX44105" fmla="*/ 4392102 w 8079933"/>
              <a:gd name="connsiteY44105" fmla="*/ 946176 h 4687251"/>
              <a:gd name="connsiteX44106" fmla="*/ 4392862 w 8079933"/>
              <a:gd name="connsiteY44106" fmla="*/ 950290 h 4687251"/>
              <a:gd name="connsiteX44107" fmla="*/ 4388955 w 8079933"/>
              <a:gd name="connsiteY44107" fmla="*/ 956570 h 4687251"/>
              <a:gd name="connsiteX44108" fmla="*/ 4390365 w 8079933"/>
              <a:gd name="connsiteY44108" fmla="*/ 959601 h 4687251"/>
              <a:gd name="connsiteX44109" fmla="*/ 4390365 w 8079933"/>
              <a:gd name="connsiteY44109" fmla="*/ 963715 h 4687251"/>
              <a:gd name="connsiteX44110" fmla="*/ 4393513 w 8079933"/>
              <a:gd name="connsiteY44110" fmla="*/ 962308 h 4687251"/>
              <a:gd name="connsiteX44111" fmla="*/ 4399698 w 8079933"/>
              <a:gd name="connsiteY44111" fmla="*/ 955487 h 4687251"/>
              <a:gd name="connsiteX44112" fmla="*/ 4400349 w 8079933"/>
              <a:gd name="connsiteY44112" fmla="*/ 950723 h 4687251"/>
              <a:gd name="connsiteX44113" fmla="*/ 4399047 w 8079933"/>
              <a:gd name="connsiteY44113" fmla="*/ 948233 h 4687251"/>
              <a:gd name="connsiteX44114" fmla="*/ 4400458 w 8079933"/>
              <a:gd name="connsiteY44114" fmla="*/ 942386 h 4687251"/>
              <a:gd name="connsiteX44115" fmla="*/ 4406535 w 8079933"/>
              <a:gd name="connsiteY44115" fmla="*/ 934158 h 4687251"/>
              <a:gd name="connsiteX44116" fmla="*/ 4406643 w 8079933"/>
              <a:gd name="connsiteY44116" fmla="*/ 928636 h 4687251"/>
              <a:gd name="connsiteX44117" fmla="*/ 4412612 w 8079933"/>
              <a:gd name="connsiteY44117" fmla="*/ 918783 h 4687251"/>
              <a:gd name="connsiteX44118" fmla="*/ 4414890 w 8079933"/>
              <a:gd name="connsiteY44118" fmla="*/ 918675 h 4687251"/>
              <a:gd name="connsiteX44119" fmla="*/ 4416301 w 8079933"/>
              <a:gd name="connsiteY44119" fmla="*/ 921057 h 4687251"/>
              <a:gd name="connsiteX44120" fmla="*/ 4416301 w 8079933"/>
              <a:gd name="connsiteY44120" fmla="*/ 928203 h 4687251"/>
              <a:gd name="connsiteX44121" fmla="*/ 4413588 w 8079933"/>
              <a:gd name="connsiteY44121" fmla="*/ 930909 h 4687251"/>
              <a:gd name="connsiteX44122" fmla="*/ 4413154 w 8079933"/>
              <a:gd name="connsiteY44122" fmla="*/ 933075 h 4687251"/>
              <a:gd name="connsiteX44123" fmla="*/ 4416953 w 8079933"/>
              <a:gd name="connsiteY44123" fmla="*/ 934483 h 4687251"/>
              <a:gd name="connsiteX44124" fmla="*/ 4413046 w 8079933"/>
              <a:gd name="connsiteY44124" fmla="*/ 942819 h 4687251"/>
              <a:gd name="connsiteX44125" fmla="*/ 4413372 w 8079933"/>
              <a:gd name="connsiteY44125" fmla="*/ 947367 h 4687251"/>
              <a:gd name="connsiteX44126" fmla="*/ 4416410 w 8079933"/>
              <a:gd name="connsiteY44126" fmla="*/ 945201 h 4687251"/>
              <a:gd name="connsiteX44127" fmla="*/ 4417061 w 8079933"/>
              <a:gd name="connsiteY44127" fmla="*/ 943360 h 4687251"/>
              <a:gd name="connsiteX44128" fmla="*/ 4419882 w 8079933"/>
              <a:gd name="connsiteY44128" fmla="*/ 941195 h 4687251"/>
              <a:gd name="connsiteX44129" fmla="*/ 4422921 w 8079933"/>
              <a:gd name="connsiteY44129" fmla="*/ 943360 h 4687251"/>
              <a:gd name="connsiteX44130" fmla="*/ 4424223 w 8079933"/>
              <a:gd name="connsiteY44130" fmla="*/ 941845 h 4687251"/>
              <a:gd name="connsiteX44131" fmla="*/ 4422704 w 8079933"/>
              <a:gd name="connsiteY44131" fmla="*/ 937189 h 4687251"/>
              <a:gd name="connsiteX44132" fmla="*/ 4425417 w 8079933"/>
              <a:gd name="connsiteY44132" fmla="*/ 935457 h 4687251"/>
              <a:gd name="connsiteX44133" fmla="*/ 4424549 w 8079933"/>
              <a:gd name="connsiteY44133" fmla="*/ 934050 h 4687251"/>
              <a:gd name="connsiteX44134" fmla="*/ 4424549 w 8079933"/>
              <a:gd name="connsiteY44134" fmla="*/ 930909 h 4687251"/>
              <a:gd name="connsiteX44135" fmla="*/ 4427370 w 8079933"/>
              <a:gd name="connsiteY44135" fmla="*/ 929393 h 4687251"/>
              <a:gd name="connsiteX44136" fmla="*/ 4427370 w 8079933"/>
              <a:gd name="connsiteY44136" fmla="*/ 926146 h 4687251"/>
              <a:gd name="connsiteX44137" fmla="*/ 4430192 w 8079933"/>
              <a:gd name="connsiteY44137" fmla="*/ 924846 h 4687251"/>
              <a:gd name="connsiteX44138" fmla="*/ 4430625 w 8079933"/>
              <a:gd name="connsiteY44138" fmla="*/ 922897 h 4687251"/>
              <a:gd name="connsiteX44139" fmla="*/ 4428889 w 8079933"/>
              <a:gd name="connsiteY44139" fmla="*/ 921273 h 4687251"/>
              <a:gd name="connsiteX44140" fmla="*/ 4425308 w 8079933"/>
              <a:gd name="connsiteY44140" fmla="*/ 921165 h 4687251"/>
              <a:gd name="connsiteX44141" fmla="*/ 4424223 w 8079933"/>
              <a:gd name="connsiteY44141" fmla="*/ 919433 h 4687251"/>
              <a:gd name="connsiteX44142" fmla="*/ 4425417 w 8079933"/>
              <a:gd name="connsiteY44142" fmla="*/ 915427 h 4687251"/>
              <a:gd name="connsiteX44143" fmla="*/ 4427912 w 8079933"/>
              <a:gd name="connsiteY44143" fmla="*/ 913153 h 4687251"/>
              <a:gd name="connsiteX44144" fmla="*/ 4431277 w 8079933"/>
              <a:gd name="connsiteY44144" fmla="*/ 917917 h 4687251"/>
              <a:gd name="connsiteX44145" fmla="*/ 4433338 w 8079933"/>
              <a:gd name="connsiteY44145" fmla="*/ 917917 h 4687251"/>
              <a:gd name="connsiteX44146" fmla="*/ 4435183 w 8079933"/>
              <a:gd name="connsiteY44146" fmla="*/ 915319 h 4687251"/>
              <a:gd name="connsiteX44147" fmla="*/ 4432362 w 8079933"/>
              <a:gd name="connsiteY44147" fmla="*/ 911746 h 4687251"/>
              <a:gd name="connsiteX44148" fmla="*/ 4432253 w 8079933"/>
              <a:gd name="connsiteY44148" fmla="*/ 909581 h 4687251"/>
              <a:gd name="connsiteX44149" fmla="*/ 4435617 w 8079933"/>
              <a:gd name="connsiteY44149" fmla="*/ 906332 h 4687251"/>
              <a:gd name="connsiteX44150" fmla="*/ 4438330 w 8079933"/>
              <a:gd name="connsiteY44150" fmla="*/ 908606 h 4687251"/>
              <a:gd name="connsiteX44151" fmla="*/ 4440934 w 8079933"/>
              <a:gd name="connsiteY44151" fmla="*/ 908930 h 4687251"/>
              <a:gd name="connsiteX44152" fmla="*/ 4443973 w 8079933"/>
              <a:gd name="connsiteY44152" fmla="*/ 906224 h 4687251"/>
              <a:gd name="connsiteX44153" fmla="*/ 4445167 w 8079933"/>
              <a:gd name="connsiteY44153" fmla="*/ 909364 h 4687251"/>
              <a:gd name="connsiteX44154" fmla="*/ 4444299 w 8079933"/>
              <a:gd name="connsiteY44154" fmla="*/ 912828 h 4687251"/>
              <a:gd name="connsiteX44155" fmla="*/ 4446469 w 8079933"/>
              <a:gd name="connsiteY44155" fmla="*/ 914236 h 4687251"/>
              <a:gd name="connsiteX44156" fmla="*/ 4451135 w 8079933"/>
              <a:gd name="connsiteY44156" fmla="*/ 913045 h 4687251"/>
              <a:gd name="connsiteX44157" fmla="*/ 4451895 w 8079933"/>
              <a:gd name="connsiteY44157" fmla="*/ 916077 h 4687251"/>
              <a:gd name="connsiteX44158" fmla="*/ 4449073 w 8079933"/>
              <a:gd name="connsiteY44158" fmla="*/ 923548 h 4687251"/>
              <a:gd name="connsiteX44159" fmla="*/ 4443973 w 8079933"/>
              <a:gd name="connsiteY44159" fmla="*/ 923548 h 4687251"/>
              <a:gd name="connsiteX44160" fmla="*/ 4442563 w 8079933"/>
              <a:gd name="connsiteY44160" fmla="*/ 922140 h 4687251"/>
              <a:gd name="connsiteX44161" fmla="*/ 4439198 w 8079933"/>
              <a:gd name="connsiteY44161" fmla="*/ 923222 h 4687251"/>
              <a:gd name="connsiteX44162" fmla="*/ 4439958 w 8079933"/>
              <a:gd name="connsiteY44162" fmla="*/ 925063 h 4687251"/>
              <a:gd name="connsiteX44163" fmla="*/ 4444081 w 8079933"/>
              <a:gd name="connsiteY44163" fmla="*/ 926038 h 4687251"/>
              <a:gd name="connsiteX44164" fmla="*/ 4443864 w 8079933"/>
              <a:gd name="connsiteY44164" fmla="*/ 927986 h 4687251"/>
              <a:gd name="connsiteX44165" fmla="*/ 4440826 w 8079933"/>
              <a:gd name="connsiteY44165" fmla="*/ 930477 h 4687251"/>
              <a:gd name="connsiteX44166" fmla="*/ 4440175 w 8079933"/>
              <a:gd name="connsiteY44166" fmla="*/ 932534 h 4687251"/>
              <a:gd name="connsiteX44167" fmla="*/ 4442888 w 8079933"/>
              <a:gd name="connsiteY44167" fmla="*/ 933400 h 4687251"/>
              <a:gd name="connsiteX44168" fmla="*/ 4447554 w 8079933"/>
              <a:gd name="connsiteY44168" fmla="*/ 929827 h 4687251"/>
              <a:gd name="connsiteX44169" fmla="*/ 4449290 w 8079933"/>
              <a:gd name="connsiteY44169" fmla="*/ 929611 h 4687251"/>
              <a:gd name="connsiteX44170" fmla="*/ 4449833 w 8079933"/>
              <a:gd name="connsiteY44170" fmla="*/ 931884 h 4687251"/>
              <a:gd name="connsiteX44171" fmla="*/ 4447662 w 8079933"/>
              <a:gd name="connsiteY44171" fmla="*/ 936323 h 4687251"/>
              <a:gd name="connsiteX44172" fmla="*/ 4444081 w 8079933"/>
              <a:gd name="connsiteY44172" fmla="*/ 937297 h 4687251"/>
              <a:gd name="connsiteX44173" fmla="*/ 4439632 w 8079933"/>
              <a:gd name="connsiteY44173" fmla="*/ 943577 h 4687251"/>
              <a:gd name="connsiteX44174" fmla="*/ 4445384 w 8079933"/>
              <a:gd name="connsiteY44174" fmla="*/ 940979 h 4687251"/>
              <a:gd name="connsiteX44175" fmla="*/ 4449290 w 8079933"/>
              <a:gd name="connsiteY44175" fmla="*/ 941628 h 4687251"/>
              <a:gd name="connsiteX44176" fmla="*/ 4449942 w 8079933"/>
              <a:gd name="connsiteY44176" fmla="*/ 940113 h 4687251"/>
              <a:gd name="connsiteX44177" fmla="*/ 4452871 w 8079933"/>
              <a:gd name="connsiteY44177" fmla="*/ 940437 h 4687251"/>
              <a:gd name="connsiteX44178" fmla="*/ 4454825 w 8079933"/>
              <a:gd name="connsiteY44178" fmla="*/ 944552 h 4687251"/>
              <a:gd name="connsiteX44179" fmla="*/ 4457321 w 8079933"/>
              <a:gd name="connsiteY44179" fmla="*/ 942278 h 4687251"/>
              <a:gd name="connsiteX44180" fmla="*/ 4457646 w 8079933"/>
              <a:gd name="connsiteY44180" fmla="*/ 939354 h 4687251"/>
              <a:gd name="connsiteX44181" fmla="*/ 4454933 w 8079933"/>
              <a:gd name="connsiteY44181" fmla="*/ 932534 h 4687251"/>
              <a:gd name="connsiteX44182" fmla="*/ 4455258 w 8079933"/>
              <a:gd name="connsiteY44182" fmla="*/ 930260 h 4687251"/>
              <a:gd name="connsiteX44183" fmla="*/ 4458514 w 8079933"/>
              <a:gd name="connsiteY44183" fmla="*/ 928961 h 4687251"/>
              <a:gd name="connsiteX44184" fmla="*/ 4459165 w 8079933"/>
              <a:gd name="connsiteY44184" fmla="*/ 922356 h 4687251"/>
              <a:gd name="connsiteX44185" fmla="*/ 4461987 w 8079933"/>
              <a:gd name="connsiteY44185" fmla="*/ 920732 h 4687251"/>
              <a:gd name="connsiteX44186" fmla="*/ 4466436 w 8079933"/>
              <a:gd name="connsiteY44186" fmla="*/ 920840 h 4687251"/>
              <a:gd name="connsiteX44187" fmla="*/ 4470994 w 8079933"/>
              <a:gd name="connsiteY44187" fmla="*/ 923548 h 4687251"/>
              <a:gd name="connsiteX44188" fmla="*/ 4470994 w 8079933"/>
              <a:gd name="connsiteY44188" fmla="*/ 926362 h 4687251"/>
              <a:gd name="connsiteX44189" fmla="*/ 4467955 w 8079933"/>
              <a:gd name="connsiteY44189" fmla="*/ 928528 h 4687251"/>
              <a:gd name="connsiteX44190" fmla="*/ 4468715 w 8079933"/>
              <a:gd name="connsiteY44190" fmla="*/ 930909 h 4687251"/>
              <a:gd name="connsiteX44191" fmla="*/ 4470885 w 8079933"/>
              <a:gd name="connsiteY44191" fmla="*/ 931126 h 4687251"/>
              <a:gd name="connsiteX44192" fmla="*/ 4472730 w 8079933"/>
              <a:gd name="connsiteY44192" fmla="*/ 928311 h 4687251"/>
              <a:gd name="connsiteX44193" fmla="*/ 4474791 w 8079933"/>
              <a:gd name="connsiteY44193" fmla="*/ 927986 h 4687251"/>
              <a:gd name="connsiteX44194" fmla="*/ 4474358 w 8079933"/>
              <a:gd name="connsiteY44194" fmla="*/ 931776 h 4687251"/>
              <a:gd name="connsiteX44195" fmla="*/ 4476094 w 8079933"/>
              <a:gd name="connsiteY44195" fmla="*/ 931776 h 4687251"/>
              <a:gd name="connsiteX44196" fmla="*/ 4479241 w 8079933"/>
              <a:gd name="connsiteY44196" fmla="*/ 926470 h 4687251"/>
              <a:gd name="connsiteX44197" fmla="*/ 4482496 w 8079933"/>
              <a:gd name="connsiteY44197" fmla="*/ 926254 h 4687251"/>
              <a:gd name="connsiteX44198" fmla="*/ 4483473 w 8079933"/>
              <a:gd name="connsiteY44198" fmla="*/ 927554 h 4687251"/>
              <a:gd name="connsiteX44199" fmla="*/ 4488030 w 8079933"/>
              <a:gd name="connsiteY44199" fmla="*/ 929285 h 4687251"/>
              <a:gd name="connsiteX44200" fmla="*/ 4487380 w 8079933"/>
              <a:gd name="connsiteY44200" fmla="*/ 932534 h 4687251"/>
              <a:gd name="connsiteX44201" fmla="*/ 4483582 w 8079933"/>
              <a:gd name="connsiteY44201" fmla="*/ 935024 h 4687251"/>
              <a:gd name="connsiteX44202" fmla="*/ 4484341 w 8079933"/>
              <a:gd name="connsiteY44202" fmla="*/ 936648 h 4687251"/>
              <a:gd name="connsiteX44203" fmla="*/ 4486728 w 8079933"/>
              <a:gd name="connsiteY44203" fmla="*/ 936648 h 4687251"/>
              <a:gd name="connsiteX44204" fmla="*/ 4490527 w 8079933"/>
              <a:gd name="connsiteY44204" fmla="*/ 932425 h 4687251"/>
              <a:gd name="connsiteX44205" fmla="*/ 4493782 w 8079933"/>
              <a:gd name="connsiteY44205" fmla="*/ 932425 h 4687251"/>
              <a:gd name="connsiteX44206" fmla="*/ 4499534 w 8079933"/>
              <a:gd name="connsiteY44206" fmla="*/ 937297 h 4687251"/>
              <a:gd name="connsiteX44207" fmla="*/ 4503766 w 8079933"/>
              <a:gd name="connsiteY44207" fmla="*/ 936540 h 4687251"/>
              <a:gd name="connsiteX44208" fmla="*/ 4507021 w 8079933"/>
              <a:gd name="connsiteY44208" fmla="*/ 937622 h 4687251"/>
              <a:gd name="connsiteX44209" fmla="*/ 4507998 w 8079933"/>
              <a:gd name="connsiteY44209" fmla="*/ 939463 h 4687251"/>
              <a:gd name="connsiteX44210" fmla="*/ 4510819 w 8079933"/>
              <a:gd name="connsiteY44210" fmla="*/ 940437 h 4687251"/>
              <a:gd name="connsiteX44211" fmla="*/ 4510819 w 8079933"/>
              <a:gd name="connsiteY44211" fmla="*/ 941845 h 4687251"/>
              <a:gd name="connsiteX44212" fmla="*/ 4507021 w 8079933"/>
              <a:gd name="connsiteY44212" fmla="*/ 945093 h 4687251"/>
              <a:gd name="connsiteX44213" fmla="*/ 4498014 w 8079933"/>
              <a:gd name="connsiteY44213" fmla="*/ 947367 h 4687251"/>
              <a:gd name="connsiteX44214" fmla="*/ 4493782 w 8079933"/>
              <a:gd name="connsiteY44214" fmla="*/ 955920 h 4687251"/>
              <a:gd name="connsiteX44215" fmla="*/ 4487162 w 8079933"/>
              <a:gd name="connsiteY44215" fmla="*/ 958086 h 4687251"/>
              <a:gd name="connsiteX44216" fmla="*/ 4477830 w 8079933"/>
              <a:gd name="connsiteY44216" fmla="*/ 956895 h 4687251"/>
              <a:gd name="connsiteX44217" fmla="*/ 4472947 w 8079933"/>
              <a:gd name="connsiteY44217" fmla="*/ 955920 h 4687251"/>
              <a:gd name="connsiteX44218" fmla="*/ 4467087 w 8079933"/>
              <a:gd name="connsiteY44218" fmla="*/ 956678 h 4687251"/>
              <a:gd name="connsiteX44219" fmla="*/ 4460033 w 8079933"/>
              <a:gd name="connsiteY44219" fmla="*/ 954837 h 4687251"/>
              <a:gd name="connsiteX44220" fmla="*/ 4459057 w 8079933"/>
              <a:gd name="connsiteY44220" fmla="*/ 955703 h 4687251"/>
              <a:gd name="connsiteX44221" fmla="*/ 4461878 w 8079933"/>
              <a:gd name="connsiteY44221" fmla="*/ 959385 h 4687251"/>
              <a:gd name="connsiteX44222" fmla="*/ 4467521 w 8079933"/>
              <a:gd name="connsiteY44222" fmla="*/ 960034 h 4687251"/>
              <a:gd name="connsiteX44223" fmla="*/ 4470885 w 8079933"/>
              <a:gd name="connsiteY44223" fmla="*/ 961442 h 4687251"/>
              <a:gd name="connsiteX44224" fmla="*/ 4474900 w 8079933"/>
              <a:gd name="connsiteY44224" fmla="*/ 960901 h 4687251"/>
              <a:gd name="connsiteX44225" fmla="*/ 4476745 w 8079933"/>
              <a:gd name="connsiteY44225" fmla="*/ 961983 h 4687251"/>
              <a:gd name="connsiteX44226" fmla="*/ 4478698 w 8079933"/>
              <a:gd name="connsiteY44226" fmla="*/ 967180 h 4687251"/>
              <a:gd name="connsiteX44227" fmla="*/ 4480434 w 8079933"/>
              <a:gd name="connsiteY44227" fmla="*/ 967505 h 4687251"/>
              <a:gd name="connsiteX44228" fmla="*/ 4481628 w 8079933"/>
              <a:gd name="connsiteY44228" fmla="*/ 972594 h 4687251"/>
              <a:gd name="connsiteX44229" fmla="*/ 4482822 w 8079933"/>
              <a:gd name="connsiteY44229" fmla="*/ 976384 h 4687251"/>
              <a:gd name="connsiteX44230" fmla="*/ 4484015 w 8079933"/>
              <a:gd name="connsiteY44230" fmla="*/ 973785 h 4687251"/>
              <a:gd name="connsiteX44231" fmla="*/ 4487488 w 8079933"/>
              <a:gd name="connsiteY44231" fmla="*/ 971511 h 4687251"/>
              <a:gd name="connsiteX44232" fmla="*/ 4489550 w 8079933"/>
              <a:gd name="connsiteY44232" fmla="*/ 974868 h 4687251"/>
              <a:gd name="connsiteX44233" fmla="*/ 4491287 w 8079933"/>
              <a:gd name="connsiteY44233" fmla="*/ 975950 h 4687251"/>
              <a:gd name="connsiteX44234" fmla="*/ 4491937 w 8079933"/>
              <a:gd name="connsiteY44234" fmla="*/ 970862 h 4687251"/>
              <a:gd name="connsiteX44235" fmla="*/ 4491395 w 8079933"/>
              <a:gd name="connsiteY44235" fmla="*/ 968263 h 4687251"/>
              <a:gd name="connsiteX44236" fmla="*/ 4494000 w 8079933"/>
              <a:gd name="connsiteY44236" fmla="*/ 968371 h 4687251"/>
              <a:gd name="connsiteX44237" fmla="*/ 4495193 w 8079933"/>
              <a:gd name="connsiteY44237" fmla="*/ 971078 h 4687251"/>
              <a:gd name="connsiteX44238" fmla="*/ 4497038 w 8079933"/>
              <a:gd name="connsiteY44238" fmla="*/ 972919 h 4687251"/>
              <a:gd name="connsiteX44239" fmla="*/ 4497254 w 8079933"/>
              <a:gd name="connsiteY44239" fmla="*/ 970212 h 4687251"/>
              <a:gd name="connsiteX44240" fmla="*/ 4498882 w 8079933"/>
              <a:gd name="connsiteY44240" fmla="*/ 969237 h 4687251"/>
              <a:gd name="connsiteX44241" fmla="*/ 4500727 w 8079933"/>
              <a:gd name="connsiteY44241" fmla="*/ 969237 h 4687251"/>
              <a:gd name="connsiteX44242" fmla="*/ 4504200 w 8079933"/>
              <a:gd name="connsiteY44242" fmla="*/ 971944 h 4687251"/>
              <a:gd name="connsiteX44243" fmla="*/ 4504417 w 8079933"/>
              <a:gd name="connsiteY44243" fmla="*/ 971962 h 4687251"/>
              <a:gd name="connsiteX44244" fmla="*/ 4504417 w 8079933"/>
              <a:gd name="connsiteY44244" fmla="*/ 971837 h 4687251"/>
              <a:gd name="connsiteX44245" fmla="*/ 4509517 w 8079933"/>
              <a:gd name="connsiteY44245" fmla="*/ 972487 h 4687251"/>
              <a:gd name="connsiteX44246" fmla="*/ 4511471 w 8079933"/>
              <a:gd name="connsiteY44246" fmla="*/ 974327 h 4687251"/>
              <a:gd name="connsiteX44247" fmla="*/ 4511471 w 8079933"/>
              <a:gd name="connsiteY44247" fmla="*/ 978983 h 4687251"/>
              <a:gd name="connsiteX44248" fmla="*/ 4513532 w 8079933"/>
              <a:gd name="connsiteY44248" fmla="*/ 982015 h 4687251"/>
              <a:gd name="connsiteX44249" fmla="*/ 4514183 w 8079933"/>
              <a:gd name="connsiteY44249" fmla="*/ 976060 h 4687251"/>
              <a:gd name="connsiteX44250" fmla="*/ 4516137 w 8079933"/>
              <a:gd name="connsiteY44250" fmla="*/ 972920 h 4687251"/>
              <a:gd name="connsiteX44251" fmla="*/ 4519284 w 8079933"/>
              <a:gd name="connsiteY44251" fmla="*/ 972920 h 4687251"/>
              <a:gd name="connsiteX44252" fmla="*/ 4521345 w 8079933"/>
              <a:gd name="connsiteY44252" fmla="*/ 971837 h 4687251"/>
              <a:gd name="connsiteX44253" fmla="*/ 4517331 w 8079933"/>
              <a:gd name="connsiteY44253" fmla="*/ 969022 h 4687251"/>
              <a:gd name="connsiteX44254" fmla="*/ 4517331 w 8079933"/>
              <a:gd name="connsiteY44254" fmla="*/ 967181 h 4687251"/>
              <a:gd name="connsiteX44255" fmla="*/ 4520044 w 8079933"/>
              <a:gd name="connsiteY44255" fmla="*/ 967181 h 4687251"/>
              <a:gd name="connsiteX44256" fmla="*/ 4522973 w 8079933"/>
              <a:gd name="connsiteY44256" fmla="*/ 966532 h 4687251"/>
              <a:gd name="connsiteX44257" fmla="*/ 4522973 w 8079933"/>
              <a:gd name="connsiteY44257" fmla="*/ 964691 h 4687251"/>
              <a:gd name="connsiteX44258" fmla="*/ 4521562 w 8079933"/>
              <a:gd name="connsiteY44258" fmla="*/ 964691 h 4687251"/>
              <a:gd name="connsiteX44259" fmla="*/ 4519935 w 8079933"/>
              <a:gd name="connsiteY44259" fmla="*/ 961985 h 4687251"/>
              <a:gd name="connsiteX44260" fmla="*/ 4520912 w 8079933"/>
              <a:gd name="connsiteY44260" fmla="*/ 960469 h 4687251"/>
              <a:gd name="connsiteX44261" fmla="*/ 4525469 w 8079933"/>
              <a:gd name="connsiteY44261" fmla="*/ 960469 h 4687251"/>
              <a:gd name="connsiteX44262" fmla="*/ 4530244 w 8079933"/>
              <a:gd name="connsiteY44262" fmla="*/ 962742 h 4687251"/>
              <a:gd name="connsiteX44263" fmla="*/ 4532739 w 8079933"/>
              <a:gd name="connsiteY44263" fmla="*/ 966207 h 4687251"/>
              <a:gd name="connsiteX44264" fmla="*/ 4535236 w 8079933"/>
              <a:gd name="connsiteY44264" fmla="*/ 968372 h 4687251"/>
              <a:gd name="connsiteX44265" fmla="*/ 4537081 w 8079933"/>
              <a:gd name="connsiteY44265" fmla="*/ 966532 h 4687251"/>
              <a:gd name="connsiteX44266" fmla="*/ 4540662 w 8079933"/>
              <a:gd name="connsiteY44266" fmla="*/ 968048 h 4687251"/>
              <a:gd name="connsiteX44267" fmla="*/ 4541855 w 8079933"/>
              <a:gd name="connsiteY44267" fmla="*/ 969672 h 4687251"/>
              <a:gd name="connsiteX44268" fmla="*/ 4544785 w 8079933"/>
              <a:gd name="connsiteY44268" fmla="*/ 971512 h 4687251"/>
              <a:gd name="connsiteX44269" fmla="*/ 4544785 w 8079933"/>
              <a:gd name="connsiteY44269" fmla="*/ 974003 h 4687251"/>
              <a:gd name="connsiteX44270" fmla="*/ 4540662 w 8079933"/>
              <a:gd name="connsiteY44270" fmla="*/ 977250 h 4687251"/>
              <a:gd name="connsiteX44271" fmla="*/ 4537081 w 8079933"/>
              <a:gd name="connsiteY44271" fmla="*/ 975627 h 4687251"/>
              <a:gd name="connsiteX44272" fmla="*/ 4531438 w 8079933"/>
              <a:gd name="connsiteY44272" fmla="*/ 976385 h 4687251"/>
              <a:gd name="connsiteX44273" fmla="*/ 4527857 w 8079933"/>
              <a:gd name="connsiteY44273" fmla="*/ 972703 h 4687251"/>
              <a:gd name="connsiteX44274" fmla="*/ 4527857 w 8079933"/>
              <a:gd name="connsiteY44274" fmla="*/ 969780 h 4687251"/>
              <a:gd name="connsiteX44275" fmla="*/ 4525360 w 8079933"/>
              <a:gd name="connsiteY44275" fmla="*/ 973136 h 4687251"/>
              <a:gd name="connsiteX44276" fmla="*/ 4525360 w 8079933"/>
              <a:gd name="connsiteY44276" fmla="*/ 978333 h 4687251"/>
              <a:gd name="connsiteX44277" fmla="*/ 4526663 w 8079933"/>
              <a:gd name="connsiteY44277" fmla="*/ 982556 h 4687251"/>
              <a:gd name="connsiteX44278" fmla="*/ 4529918 w 8079933"/>
              <a:gd name="connsiteY44278" fmla="*/ 979416 h 4687251"/>
              <a:gd name="connsiteX44279" fmla="*/ 4531763 w 8079933"/>
              <a:gd name="connsiteY44279" fmla="*/ 980823 h 4687251"/>
              <a:gd name="connsiteX44280" fmla="*/ 4532957 w 8079933"/>
              <a:gd name="connsiteY44280" fmla="*/ 985046 h 4687251"/>
              <a:gd name="connsiteX44281" fmla="*/ 4536755 w 8079933"/>
              <a:gd name="connsiteY44281" fmla="*/ 981798 h 4687251"/>
              <a:gd name="connsiteX44282" fmla="*/ 4540662 w 8079933"/>
              <a:gd name="connsiteY44282" fmla="*/ 983097 h 4687251"/>
              <a:gd name="connsiteX44283" fmla="*/ 4540662 w 8079933"/>
              <a:gd name="connsiteY44283" fmla="*/ 986562 h 4687251"/>
              <a:gd name="connsiteX44284" fmla="*/ 4541963 w 8079933"/>
              <a:gd name="connsiteY44284" fmla="*/ 986562 h 4687251"/>
              <a:gd name="connsiteX44285" fmla="*/ 4544134 w 8079933"/>
              <a:gd name="connsiteY44285" fmla="*/ 983638 h 4687251"/>
              <a:gd name="connsiteX44286" fmla="*/ 4545436 w 8079933"/>
              <a:gd name="connsiteY44286" fmla="*/ 985046 h 4687251"/>
              <a:gd name="connsiteX44287" fmla="*/ 4545436 w 8079933"/>
              <a:gd name="connsiteY44287" fmla="*/ 986887 h 4687251"/>
              <a:gd name="connsiteX44288" fmla="*/ 4545436 w 8079933"/>
              <a:gd name="connsiteY44288" fmla="*/ 989919 h 4687251"/>
              <a:gd name="connsiteX44289" fmla="*/ 4549451 w 8079933"/>
              <a:gd name="connsiteY44289" fmla="*/ 984830 h 4687251"/>
              <a:gd name="connsiteX44290" fmla="*/ 4551621 w 8079933"/>
              <a:gd name="connsiteY44290" fmla="*/ 982664 h 4687251"/>
              <a:gd name="connsiteX44291" fmla="*/ 4553575 w 8079933"/>
              <a:gd name="connsiteY44291" fmla="*/ 983747 h 4687251"/>
              <a:gd name="connsiteX44292" fmla="*/ 4552273 w 8079933"/>
              <a:gd name="connsiteY44292" fmla="*/ 985587 h 4687251"/>
              <a:gd name="connsiteX44293" fmla="*/ 4551404 w 8079933"/>
              <a:gd name="connsiteY44293" fmla="*/ 988294 h 4687251"/>
              <a:gd name="connsiteX44294" fmla="*/ 4554986 w 8079933"/>
              <a:gd name="connsiteY44294" fmla="*/ 988294 h 4687251"/>
              <a:gd name="connsiteX44295" fmla="*/ 4556614 w 8079933"/>
              <a:gd name="connsiteY44295" fmla="*/ 990243 h 4687251"/>
              <a:gd name="connsiteX44296" fmla="*/ 4553683 w 8079933"/>
              <a:gd name="connsiteY44296" fmla="*/ 992084 h 4687251"/>
              <a:gd name="connsiteX44297" fmla="*/ 4550753 w 8079933"/>
              <a:gd name="connsiteY44297" fmla="*/ 996631 h 4687251"/>
              <a:gd name="connsiteX44298" fmla="*/ 4555854 w 8079933"/>
              <a:gd name="connsiteY44298" fmla="*/ 996631 h 4687251"/>
              <a:gd name="connsiteX44299" fmla="*/ 4558892 w 8079933"/>
              <a:gd name="connsiteY44299" fmla="*/ 990893 h 4687251"/>
              <a:gd name="connsiteX44300" fmla="*/ 4558024 w 8079933"/>
              <a:gd name="connsiteY44300" fmla="*/ 987861 h 4687251"/>
              <a:gd name="connsiteX44301" fmla="*/ 4559869 w 8079933"/>
              <a:gd name="connsiteY44301" fmla="*/ 986021 h 4687251"/>
              <a:gd name="connsiteX44302" fmla="*/ 4564752 w 8079933"/>
              <a:gd name="connsiteY44302" fmla="*/ 985479 h 4687251"/>
              <a:gd name="connsiteX44303" fmla="*/ 4568008 w 8079933"/>
              <a:gd name="connsiteY44303" fmla="*/ 987861 h 4687251"/>
              <a:gd name="connsiteX44304" fmla="*/ 4568767 w 8079933"/>
              <a:gd name="connsiteY44304" fmla="*/ 985695 h 4687251"/>
              <a:gd name="connsiteX44305" fmla="*/ 4566271 w 8079933"/>
              <a:gd name="connsiteY44305" fmla="*/ 982231 h 4687251"/>
              <a:gd name="connsiteX44306" fmla="*/ 4566271 w 8079933"/>
              <a:gd name="connsiteY44306" fmla="*/ 980932 h 4687251"/>
              <a:gd name="connsiteX44307" fmla="*/ 4570829 w 8079933"/>
              <a:gd name="connsiteY44307" fmla="*/ 982881 h 4687251"/>
              <a:gd name="connsiteX44308" fmla="*/ 4573867 w 8079933"/>
              <a:gd name="connsiteY44308" fmla="*/ 986995 h 4687251"/>
              <a:gd name="connsiteX44309" fmla="*/ 4580704 w 8079933"/>
              <a:gd name="connsiteY44309" fmla="*/ 986995 h 4687251"/>
              <a:gd name="connsiteX44310" fmla="*/ 4585370 w 8079933"/>
              <a:gd name="connsiteY44310" fmla="*/ 988836 h 4687251"/>
              <a:gd name="connsiteX44311" fmla="*/ 4588951 w 8079933"/>
              <a:gd name="connsiteY44311" fmla="*/ 986887 h 4687251"/>
              <a:gd name="connsiteX44312" fmla="*/ 4588951 w 8079933"/>
              <a:gd name="connsiteY44312" fmla="*/ 984505 h 4687251"/>
              <a:gd name="connsiteX44313" fmla="*/ 4594703 w 8079933"/>
              <a:gd name="connsiteY44313" fmla="*/ 985804 h 4687251"/>
              <a:gd name="connsiteX44314" fmla="*/ 4599803 w 8079933"/>
              <a:gd name="connsiteY44314" fmla="*/ 988836 h 4687251"/>
              <a:gd name="connsiteX44315" fmla="*/ 4600562 w 8079933"/>
              <a:gd name="connsiteY44315" fmla="*/ 986887 h 4687251"/>
              <a:gd name="connsiteX44316" fmla="*/ 4606205 w 8079933"/>
              <a:gd name="connsiteY44316" fmla="*/ 989268 h 4687251"/>
              <a:gd name="connsiteX44317" fmla="*/ 4630622 w 8079933"/>
              <a:gd name="connsiteY44317" fmla="*/ 1002261 h 4687251"/>
              <a:gd name="connsiteX44318" fmla="*/ 4647116 w 8079933"/>
              <a:gd name="connsiteY44318" fmla="*/ 1013088 h 4687251"/>
              <a:gd name="connsiteX44319" fmla="*/ 4650589 w 8079933"/>
              <a:gd name="connsiteY44319" fmla="*/ 1017094 h 4687251"/>
              <a:gd name="connsiteX44320" fmla="*/ 4655147 w 8079933"/>
              <a:gd name="connsiteY44320" fmla="*/ 1018502 h 4687251"/>
              <a:gd name="connsiteX44321" fmla="*/ 4660789 w 8079933"/>
              <a:gd name="connsiteY44321" fmla="*/ 1026839 h 4687251"/>
              <a:gd name="connsiteX44322" fmla="*/ 4664370 w 8079933"/>
              <a:gd name="connsiteY44322" fmla="*/ 1027705 h 4687251"/>
              <a:gd name="connsiteX44323" fmla="*/ 4663502 w 8079933"/>
              <a:gd name="connsiteY44323" fmla="*/ 1024998 h 4687251"/>
              <a:gd name="connsiteX44324" fmla="*/ 4663502 w 8079933"/>
              <a:gd name="connsiteY44324" fmla="*/ 1023807 h 4687251"/>
              <a:gd name="connsiteX44325" fmla="*/ 4665890 w 8079933"/>
              <a:gd name="connsiteY44325" fmla="*/ 1023807 h 4687251"/>
              <a:gd name="connsiteX44326" fmla="*/ 4672726 w 8079933"/>
              <a:gd name="connsiteY44326" fmla="*/ 1030086 h 4687251"/>
              <a:gd name="connsiteX44327" fmla="*/ 4676524 w 8079933"/>
              <a:gd name="connsiteY44327" fmla="*/ 1030086 h 4687251"/>
              <a:gd name="connsiteX44328" fmla="*/ 4682493 w 8079933"/>
              <a:gd name="connsiteY44328" fmla="*/ 1035500 h 4687251"/>
              <a:gd name="connsiteX44329" fmla="*/ 4685965 w 8079933"/>
              <a:gd name="connsiteY44329" fmla="*/ 1034092 h 4687251"/>
              <a:gd name="connsiteX44330" fmla="*/ 4682167 w 8079933"/>
              <a:gd name="connsiteY44330" fmla="*/ 1028463 h 4687251"/>
              <a:gd name="connsiteX44331" fmla="*/ 4681082 w 8079933"/>
              <a:gd name="connsiteY44331" fmla="*/ 1026080 h 4687251"/>
              <a:gd name="connsiteX44332" fmla="*/ 4683578 w 8079933"/>
              <a:gd name="connsiteY44332" fmla="*/ 1026080 h 4687251"/>
              <a:gd name="connsiteX44333" fmla="*/ 4688678 w 8079933"/>
              <a:gd name="connsiteY44333" fmla="*/ 1031169 h 4687251"/>
              <a:gd name="connsiteX44334" fmla="*/ 4688678 w 8079933"/>
              <a:gd name="connsiteY44334" fmla="*/ 1035717 h 4687251"/>
              <a:gd name="connsiteX44335" fmla="*/ 4698227 w 8079933"/>
              <a:gd name="connsiteY44335" fmla="*/ 1042429 h 4687251"/>
              <a:gd name="connsiteX44336" fmla="*/ 4698227 w 8079933"/>
              <a:gd name="connsiteY44336" fmla="*/ 1045461 h 4687251"/>
              <a:gd name="connsiteX44337" fmla="*/ 4703653 w 8079933"/>
              <a:gd name="connsiteY44337" fmla="*/ 1047951 h 4687251"/>
              <a:gd name="connsiteX44338" fmla="*/ 4704738 w 8079933"/>
              <a:gd name="connsiteY44338" fmla="*/ 1045786 h 4687251"/>
              <a:gd name="connsiteX44339" fmla="*/ 4708862 w 8079933"/>
              <a:gd name="connsiteY44339" fmla="*/ 1046652 h 4687251"/>
              <a:gd name="connsiteX44340" fmla="*/ 4714071 w 8079933"/>
              <a:gd name="connsiteY44340" fmla="*/ 1050658 h 4687251"/>
              <a:gd name="connsiteX44341" fmla="*/ 4715699 w 8079933"/>
              <a:gd name="connsiteY44341" fmla="*/ 1056613 h 4687251"/>
              <a:gd name="connsiteX44342" fmla="*/ 4718628 w 8079933"/>
              <a:gd name="connsiteY44342" fmla="*/ 1058453 h 4687251"/>
              <a:gd name="connsiteX44343" fmla="*/ 4722427 w 8079933"/>
              <a:gd name="connsiteY44343" fmla="*/ 1064408 h 4687251"/>
              <a:gd name="connsiteX44344" fmla="*/ 4724272 w 8079933"/>
              <a:gd name="connsiteY44344" fmla="*/ 1064408 h 4687251"/>
              <a:gd name="connsiteX44345" fmla="*/ 4726116 w 8079933"/>
              <a:gd name="connsiteY44345" fmla="*/ 1066249 h 4687251"/>
              <a:gd name="connsiteX44346" fmla="*/ 4726116 w 8079933"/>
              <a:gd name="connsiteY44346" fmla="*/ 1072204 h 4687251"/>
              <a:gd name="connsiteX44347" fmla="*/ 4726116 w 8079933"/>
              <a:gd name="connsiteY44347" fmla="*/ 1077834 h 4687251"/>
              <a:gd name="connsiteX44348" fmla="*/ 4725031 w 8079933"/>
              <a:gd name="connsiteY44348" fmla="*/ 1084871 h 4687251"/>
              <a:gd name="connsiteX44349" fmla="*/ 4723403 w 8079933"/>
              <a:gd name="connsiteY44349" fmla="*/ 1088445 h 4687251"/>
              <a:gd name="connsiteX44350" fmla="*/ 4723403 w 8079933"/>
              <a:gd name="connsiteY44350" fmla="*/ 1091693 h 4687251"/>
              <a:gd name="connsiteX44351" fmla="*/ 4718195 w 8079933"/>
              <a:gd name="connsiteY44351" fmla="*/ 1098405 h 4687251"/>
              <a:gd name="connsiteX44352" fmla="*/ 4717327 w 8079933"/>
              <a:gd name="connsiteY44352" fmla="*/ 1101653 h 4687251"/>
              <a:gd name="connsiteX44353" fmla="*/ 4708320 w 8079933"/>
              <a:gd name="connsiteY44353" fmla="*/ 1113888 h 4687251"/>
              <a:gd name="connsiteX44354" fmla="*/ 4701808 w 8079933"/>
              <a:gd name="connsiteY44354" fmla="*/ 1117353 h 4687251"/>
              <a:gd name="connsiteX44355" fmla="*/ 4693996 w 8079933"/>
              <a:gd name="connsiteY44355" fmla="*/ 1118760 h 4687251"/>
              <a:gd name="connsiteX44356" fmla="*/ 4690523 w 8079933"/>
              <a:gd name="connsiteY44356" fmla="*/ 1121467 h 4687251"/>
              <a:gd name="connsiteX44357" fmla="*/ 4683470 w 8079933"/>
              <a:gd name="connsiteY44357" fmla="*/ 1121467 h 4687251"/>
              <a:gd name="connsiteX44358" fmla="*/ 4682058 w 8079933"/>
              <a:gd name="connsiteY44358" fmla="*/ 1123416 h 4687251"/>
              <a:gd name="connsiteX44359" fmla="*/ 4671207 w 8079933"/>
              <a:gd name="connsiteY44359" fmla="*/ 1124715 h 4687251"/>
              <a:gd name="connsiteX44360" fmla="*/ 4657317 w 8079933"/>
              <a:gd name="connsiteY44360" fmla="*/ 1123958 h 4687251"/>
              <a:gd name="connsiteX44361" fmla="*/ 4649504 w 8079933"/>
              <a:gd name="connsiteY44361" fmla="*/ 1121683 h 4687251"/>
              <a:gd name="connsiteX44362" fmla="*/ 4643861 w 8079933"/>
              <a:gd name="connsiteY44362" fmla="*/ 1117677 h 4687251"/>
              <a:gd name="connsiteX44363" fmla="*/ 4640388 w 8079933"/>
              <a:gd name="connsiteY44363" fmla="*/ 1120168 h 4687251"/>
              <a:gd name="connsiteX44364" fmla="*/ 4636373 w 8079933"/>
              <a:gd name="connsiteY44364" fmla="*/ 1118977 h 4687251"/>
              <a:gd name="connsiteX44365" fmla="*/ 4629754 w 8079933"/>
              <a:gd name="connsiteY44365" fmla="*/ 1118977 h 4687251"/>
              <a:gd name="connsiteX44366" fmla="*/ 4628886 w 8079933"/>
              <a:gd name="connsiteY44366" fmla="*/ 1116595 h 4687251"/>
              <a:gd name="connsiteX44367" fmla="*/ 4624870 w 8079933"/>
              <a:gd name="connsiteY44367" fmla="*/ 1115295 h 4687251"/>
              <a:gd name="connsiteX44368" fmla="*/ 4621289 w 8079933"/>
              <a:gd name="connsiteY44368" fmla="*/ 1117786 h 4687251"/>
              <a:gd name="connsiteX44369" fmla="*/ 4615321 w 8079933"/>
              <a:gd name="connsiteY44369" fmla="*/ 1112048 h 4687251"/>
              <a:gd name="connsiteX44370" fmla="*/ 4615321 w 8079933"/>
              <a:gd name="connsiteY44370" fmla="*/ 1109124 h 4687251"/>
              <a:gd name="connsiteX44371" fmla="*/ 4610655 w 8079933"/>
              <a:gd name="connsiteY44371" fmla="*/ 1109882 h 4687251"/>
              <a:gd name="connsiteX44372" fmla="*/ 4606531 w 8079933"/>
              <a:gd name="connsiteY44372" fmla="*/ 1109882 h 4687251"/>
              <a:gd name="connsiteX44373" fmla="*/ 4608484 w 8079933"/>
              <a:gd name="connsiteY44373" fmla="*/ 1108799 h 4687251"/>
              <a:gd name="connsiteX44374" fmla="*/ 4600888 w 8079933"/>
              <a:gd name="connsiteY44374" fmla="*/ 1108799 h 4687251"/>
              <a:gd name="connsiteX44375" fmla="*/ 4598718 w 8079933"/>
              <a:gd name="connsiteY44375" fmla="*/ 1111181 h 4687251"/>
              <a:gd name="connsiteX44376" fmla="*/ 4594052 w 8079933"/>
              <a:gd name="connsiteY44376" fmla="*/ 1111181 h 4687251"/>
              <a:gd name="connsiteX44377" fmla="*/ 4594052 w 8079933"/>
              <a:gd name="connsiteY44377" fmla="*/ 1108475 h 4687251"/>
              <a:gd name="connsiteX44378" fmla="*/ 4592207 w 8079933"/>
              <a:gd name="connsiteY44378" fmla="*/ 1107067 h 4687251"/>
              <a:gd name="connsiteX44379" fmla="*/ 4595137 w 8079933"/>
              <a:gd name="connsiteY44379" fmla="*/ 1105118 h 4687251"/>
              <a:gd name="connsiteX44380" fmla="*/ 4592098 w 8079933"/>
              <a:gd name="connsiteY44380" fmla="*/ 1101653 h 4687251"/>
              <a:gd name="connsiteX44381" fmla="*/ 4591230 w 8079933"/>
              <a:gd name="connsiteY44381" fmla="*/ 1103603 h 4687251"/>
              <a:gd name="connsiteX44382" fmla="*/ 4583417 w 8079933"/>
              <a:gd name="connsiteY44382" fmla="*/ 1103603 h 4687251"/>
              <a:gd name="connsiteX44383" fmla="*/ 4578534 w 8079933"/>
              <a:gd name="connsiteY44383" fmla="*/ 1100138 h 4687251"/>
              <a:gd name="connsiteX44384" fmla="*/ 4577666 w 8079933"/>
              <a:gd name="connsiteY44384" fmla="*/ 1101762 h 4687251"/>
              <a:gd name="connsiteX44385" fmla="*/ 4574410 w 8079933"/>
              <a:gd name="connsiteY44385" fmla="*/ 1101762 h 4687251"/>
              <a:gd name="connsiteX44386" fmla="*/ 4564101 w 8079933"/>
              <a:gd name="connsiteY44386" fmla="*/ 1093316 h 4687251"/>
              <a:gd name="connsiteX44387" fmla="*/ 4563233 w 8079933"/>
              <a:gd name="connsiteY44387" fmla="*/ 1088769 h 4687251"/>
              <a:gd name="connsiteX44388" fmla="*/ 4557047 w 8079933"/>
              <a:gd name="connsiteY44388" fmla="*/ 1088228 h 4687251"/>
              <a:gd name="connsiteX44389" fmla="*/ 4555746 w 8079933"/>
              <a:gd name="connsiteY44389" fmla="*/ 1086820 h 4687251"/>
              <a:gd name="connsiteX44390" fmla="*/ 4551404 w 8079933"/>
              <a:gd name="connsiteY44390" fmla="*/ 1086820 h 4687251"/>
              <a:gd name="connsiteX44391" fmla="*/ 4550320 w 8079933"/>
              <a:gd name="connsiteY44391" fmla="*/ 1088228 h 4687251"/>
              <a:gd name="connsiteX44392" fmla="*/ 4555419 w 8079933"/>
              <a:gd name="connsiteY44392" fmla="*/ 1091693 h 4687251"/>
              <a:gd name="connsiteX44393" fmla="*/ 4556505 w 8079933"/>
              <a:gd name="connsiteY44393" fmla="*/ 1098514 h 4687251"/>
              <a:gd name="connsiteX44394" fmla="*/ 4562148 w 8079933"/>
              <a:gd name="connsiteY44394" fmla="*/ 1102087 h 4687251"/>
              <a:gd name="connsiteX44395" fmla="*/ 4563450 w 8079933"/>
              <a:gd name="connsiteY44395" fmla="*/ 1105660 h 4687251"/>
              <a:gd name="connsiteX44396" fmla="*/ 4570503 w 8079933"/>
              <a:gd name="connsiteY44396" fmla="*/ 1107283 h 4687251"/>
              <a:gd name="connsiteX44397" fmla="*/ 4571914 w 8079933"/>
              <a:gd name="connsiteY44397" fmla="*/ 1108908 h 4687251"/>
              <a:gd name="connsiteX44398" fmla="*/ 4567248 w 8079933"/>
              <a:gd name="connsiteY44398" fmla="*/ 1111289 h 4687251"/>
              <a:gd name="connsiteX44399" fmla="*/ 4565078 w 8079933"/>
              <a:gd name="connsiteY44399" fmla="*/ 1114213 h 4687251"/>
              <a:gd name="connsiteX44400" fmla="*/ 4566163 w 8079933"/>
              <a:gd name="connsiteY44400" fmla="*/ 1115512 h 4687251"/>
              <a:gd name="connsiteX44401" fmla="*/ 4573976 w 8079933"/>
              <a:gd name="connsiteY44401" fmla="*/ 1113563 h 4687251"/>
              <a:gd name="connsiteX44402" fmla="*/ 4577232 w 8079933"/>
              <a:gd name="connsiteY44402" fmla="*/ 1111398 h 4687251"/>
              <a:gd name="connsiteX44403" fmla="*/ 4580487 w 8079933"/>
              <a:gd name="connsiteY44403" fmla="*/ 1113780 h 4687251"/>
              <a:gd name="connsiteX44404" fmla="*/ 4577014 w 8079933"/>
              <a:gd name="connsiteY44404" fmla="*/ 1115187 h 4687251"/>
              <a:gd name="connsiteX44405" fmla="*/ 4577014 w 8079933"/>
              <a:gd name="connsiteY44405" fmla="*/ 1116595 h 4687251"/>
              <a:gd name="connsiteX44406" fmla="*/ 4582223 w 8079933"/>
              <a:gd name="connsiteY44406" fmla="*/ 1117136 h 4687251"/>
              <a:gd name="connsiteX44407" fmla="*/ 4580921 w 8079933"/>
              <a:gd name="connsiteY44407" fmla="*/ 1120709 h 4687251"/>
              <a:gd name="connsiteX44408" fmla="*/ 4576255 w 8079933"/>
              <a:gd name="connsiteY44408" fmla="*/ 1121467 h 4687251"/>
              <a:gd name="connsiteX44409" fmla="*/ 4574301 w 8079933"/>
              <a:gd name="connsiteY44409" fmla="*/ 1124174 h 4687251"/>
              <a:gd name="connsiteX44410" fmla="*/ 4579944 w 8079933"/>
              <a:gd name="connsiteY44410" fmla="*/ 1125040 h 4687251"/>
              <a:gd name="connsiteX44411" fmla="*/ 4581898 w 8079933"/>
              <a:gd name="connsiteY44411" fmla="*/ 1123632 h 4687251"/>
              <a:gd name="connsiteX44412" fmla="*/ 4585696 w 8079933"/>
              <a:gd name="connsiteY44412" fmla="*/ 1123632 h 4687251"/>
              <a:gd name="connsiteX44413" fmla="*/ 4588083 w 8079933"/>
              <a:gd name="connsiteY44413" fmla="*/ 1126122 h 4687251"/>
              <a:gd name="connsiteX44414" fmla="*/ 4591013 w 8079933"/>
              <a:gd name="connsiteY44414" fmla="*/ 1123958 h 4687251"/>
              <a:gd name="connsiteX44415" fmla="*/ 4601865 w 8079933"/>
              <a:gd name="connsiteY44415" fmla="*/ 1128505 h 4687251"/>
              <a:gd name="connsiteX44416" fmla="*/ 4607073 w 8079933"/>
              <a:gd name="connsiteY44416" fmla="*/ 1135759 h 4687251"/>
              <a:gd name="connsiteX44417" fmla="*/ 4609570 w 8079933"/>
              <a:gd name="connsiteY44417" fmla="*/ 1136300 h 4687251"/>
              <a:gd name="connsiteX44418" fmla="*/ 4607942 w 8079933"/>
              <a:gd name="connsiteY44418" fmla="*/ 1139223 h 4687251"/>
              <a:gd name="connsiteX44419" fmla="*/ 4607942 w 8079933"/>
              <a:gd name="connsiteY44419" fmla="*/ 1142472 h 4687251"/>
              <a:gd name="connsiteX44420" fmla="*/ 4609570 w 8079933"/>
              <a:gd name="connsiteY44420" fmla="*/ 1143013 h 4687251"/>
              <a:gd name="connsiteX44421" fmla="*/ 4609570 w 8079933"/>
              <a:gd name="connsiteY44421" fmla="*/ 1147668 h 4687251"/>
              <a:gd name="connsiteX44422" fmla="*/ 4608810 w 8079933"/>
              <a:gd name="connsiteY44422" fmla="*/ 1155248 h 4687251"/>
              <a:gd name="connsiteX44423" fmla="*/ 4605229 w 8079933"/>
              <a:gd name="connsiteY44423" fmla="*/ 1156546 h 4687251"/>
              <a:gd name="connsiteX44424" fmla="*/ 4604361 w 8079933"/>
              <a:gd name="connsiteY44424" fmla="*/ 1160661 h 4687251"/>
              <a:gd name="connsiteX44425" fmla="*/ 4608159 w 8079933"/>
              <a:gd name="connsiteY44425" fmla="*/ 1161744 h 4687251"/>
              <a:gd name="connsiteX44426" fmla="*/ 4608159 w 8079933"/>
              <a:gd name="connsiteY44426" fmla="*/ 1167157 h 4687251"/>
              <a:gd name="connsiteX44427" fmla="*/ 4614670 w 8079933"/>
              <a:gd name="connsiteY44427" fmla="*/ 1173437 h 4687251"/>
              <a:gd name="connsiteX44428" fmla="*/ 4614670 w 8079933"/>
              <a:gd name="connsiteY44428" fmla="*/ 1177443 h 4687251"/>
              <a:gd name="connsiteX44429" fmla="*/ 4619336 w 8079933"/>
              <a:gd name="connsiteY44429" fmla="*/ 1180907 h 4687251"/>
              <a:gd name="connsiteX44430" fmla="*/ 4619336 w 8079933"/>
              <a:gd name="connsiteY44430" fmla="*/ 1185455 h 4687251"/>
              <a:gd name="connsiteX44431" fmla="*/ 4620204 w 8079933"/>
              <a:gd name="connsiteY44431" fmla="*/ 1190977 h 4687251"/>
              <a:gd name="connsiteX44432" fmla="*/ 4618250 w 8079933"/>
              <a:gd name="connsiteY44432" fmla="*/ 1194766 h 4687251"/>
              <a:gd name="connsiteX44433" fmla="*/ 4620530 w 8079933"/>
              <a:gd name="connsiteY44433" fmla="*/ 1197148 h 4687251"/>
              <a:gd name="connsiteX44434" fmla="*/ 4622700 w 8079933"/>
              <a:gd name="connsiteY44434" fmla="*/ 1201046 h 4687251"/>
              <a:gd name="connsiteX44435" fmla="*/ 4632249 w 8079933"/>
              <a:gd name="connsiteY44435" fmla="*/ 1204511 h 4687251"/>
              <a:gd name="connsiteX44436" fmla="*/ 4636699 w 8079933"/>
              <a:gd name="connsiteY44436" fmla="*/ 1200937 h 4687251"/>
              <a:gd name="connsiteX44437" fmla="*/ 4638543 w 8079933"/>
              <a:gd name="connsiteY44437" fmla="*/ 1200937 h 4687251"/>
              <a:gd name="connsiteX44438" fmla="*/ 4641799 w 8079933"/>
              <a:gd name="connsiteY44438" fmla="*/ 1205377 h 4687251"/>
              <a:gd name="connsiteX44439" fmla="*/ 4645923 w 8079933"/>
              <a:gd name="connsiteY44439" fmla="*/ 1207975 h 4687251"/>
              <a:gd name="connsiteX44440" fmla="*/ 4645923 w 8079933"/>
              <a:gd name="connsiteY44440" fmla="*/ 1213822 h 4687251"/>
              <a:gd name="connsiteX44441" fmla="*/ 4648093 w 8079933"/>
              <a:gd name="connsiteY44441" fmla="*/ 1215555 h 4687251"/>
              <a:gd name="connsiteX44442" fmla="*/ 4655580 w 8079933"/>
              <a:gd name="connsiteY44442" fmla="*/ 1215555 h 4687251"/>
              <a:gd name="connsiteX44443" fmla="*/ 4658619 w 8079933"/>
              <a:gd name="connsiteY44443" fmla="*/ 1218153 h 4687251"/>
              <a:gd name="connsiteX44444" fmla="*/ 4665456 w 8079933"/>
              <a:gd name="connsiteY44444" fmla="*/ 1218153 h 4687251"/>
              <a:gd name="connsiteX44445" fmla="*/ 4669688 w 8079933"/>
              <a:gd name="connsiteY44445" fmla="*/ 1222159 h 4687251"/>
              <a:gd name="connsiteX44446" fmla="*/ 4672292 w 8079933"/>
              <a:gd name="connsiteY44446" fmla="*/ 1222159 h 4687251"/>
              <a:gd name="connsiteX44447" fmla="*/ 4677392 w 8079933"/>
              <a:gd name="connsiteY44447" fmla="*/ 1216529 h 4687251"/>
              <a:gd name="connsiteX44448" fmla="*/ 4681407 w 8079933"/>
              <a:gd name="connsiteY44448" fmla="*/ 1216529 h 4687251"/>
              <a:gd name="connsiteX44449" fmla="*/ 4684338 w 8079933"/>
              <a:gd name="connsiteY44449" fmla="*/ 1215229 h 4687251"/>
              <a:gd name="connsiteX44450" fmla="*/ 4684338 w 8079933"/>
              <a:gd name="connsiteY44450" fmla="*/ 1207759 h 4687251"/>
              <a:gd name="connsiteX44451" fmla="*/ 4680757 w 8079933"/>
              <a:gd name="connsiteY44451" fmla="*/ 1204619 h 4687251"/>
              <a:gd name="connsiteX44452" fmla="*/ 4682384 w 8079933"/>
              <a:gd name="connsiteY44452" fmla="*/ 1202237 h 4687251"/>
              <a:gd name="connsiteX44453" fmla="*/ 4682384 w 8079933"/>
              <a:gd name="connsiteY44453" fmla="*/ 1200396 h 4687251"/>
              <a:gd name="connsiteX44454" fmla="*/ 4677067 w 8079933"/>
              <a:gd name="connsiteY44454" fmla="*/ 1198339 h 4687251"/>
              <a:gd name="connsiteX44455" fmla="*/ 4676524 w 8079933"/>
              <a:gd name="connsiteY44455" fmla="*/ 1194550 h 4687251"/>
              <a:gd name="connsiteX44456" fmla="*/ 4672726 w 8079933"/>
              <a:gd name="connsiteY44456" fmla="*/ 1197257 h 4687251"/>
              <a:gd name="connsiteX44457" fmla="*/ 4670013 w 8079933"/>
              <a:gd name="connsiteY44457" fmla="*/ 1197257 h 4687251"/>
              <a:gd name="connsiteX44458" fmla="*/ 4665456 w 8079933"/>
              <a:gd name="connsiteY44458" fmla="*/ 1199205 h 4687251"/>
              <a:gd name="connsiteX44459" fmla="*/ 4659704 w 8079933"/>
              <a:gd name="connsiteY44459" fmla="*/ 1196282 h 4687251"/>
              <a:gd name="connsiteX44460" fmla="*/ 4655580 w 8079933"/>
              <a:gd name="connsiteY44460" fmla="*/ 1190652 h 4687251"/>
              <a:gd name="connsiteX44461" fmla="*/ 4649069 w 8079933"/>
              <a:gd name="connsiteY44461" fmla="*/ 1187621 h 4687251"/>
              <a:gd name="connsiteX44462" fmla="*/ 4647768 w 8079933"/>
              <a:gd name="connsiteY44462" fmla="*/ 1182423 h 4687251"/>
              <a:gd name="connsiteX44463" fmla="*/ 4644295 w 8079933"/>
              <a:gd name="connsiteY44463" fmla="*/ 1175927 h 4687251"/>
              <a:gd name="connsiteX44464" fmla="*/ 4648961 w 8079933"/>
              <a:gd name="connsiteY44464" fmla="*/ 1175927 h 4687251"/>
              <a:gd name="connsiteX44465" fmla="*/ 4651999 w 8079933"/>
              <a:gd name="connsiteY44465" fmla="*/ 1172896 h 4687251"/>
              <a:gd name="connsiteX44466" fmla="*/ 4650372 w 8079933"/>
              <a:gd name="connsiteY44466" fmla="*/ 1170405 h 4687251"/>
              <a:gd name="connsiteX44467" fmla="*/ 4651457 w 8079933"/>
              <a:gd name="connsiteY44467" fmla="*/ 1167699 h 4687251"/>
              <a:gd name="connsiteX44468" fmla="*/ 4650046 w 8079933"/>
              <a:gd name="connsiteY44468" fmla="*/ 1164667 h 4687251"/>
              <a:gd name="connsiteX44469" fmla="*/ 4651131 w 8079933"/>
              <a:gd name="connsiteY44469" fmla="*/ 1161635 h 4687251"/>
              <a:gd name="connsiteX44470" fmla="*/ 4656557 w 8079933"/>
              <a:gd name="connsiteY44470" fmla="*/ 1161635 h 4687251"/>
              <a:gd name="connsiteX44471" fmla="*/ 4661983 w 8079933"/>
              <a:gd name="connsiteY44471" fmla="*/ 1165209 h 4687251"/>
              <a:gd name="connsiteX44472" fmla="*/ 4668711 w 8079933"/>
              <a:gd name="connsiteY44472" fmla="*/ 1166508 h 4687251"/>
              <a:gd name="connsiteX44473" fmla="*/ 4671966 w 8079933"/>
              <a:gd name="connsiteY44473" fmla="*/ 1171596 h 4687251"/>
              <a:gd name="connsiteX44474" fmla="*/ 4676307 w 8079933"/>
              <a:gd name="connsiteY44474" fmla="*/ 1175170 h 4687251"/>
              <a:gd name="connsiteX44475" fmla="*/ 4684663 w 8079933"/>
              <a:gd name="connsiteY44475" fmla="*/ 1175170 h 4687251"/>
              <a:gd name="connsiteX44476" fmla="*/ 4686291 w 8079933"/>
              <a:gd name="connsiteY44476" fmla="*/ 1178201 h 4687251"/>
              <a:gd name="connsiteX44477" fmla="*/ 4691499 w 8079933"/>
              <a:gd name="connsiteY44477" fmla="*/ 1178201 h 4687251"/>
              <a:gd name="connsiteX44478" fmla="*/ 4706692 w 8079933"/>
              <a:gd name="connsiteY44478" fmla="*/ 1185455 h 4687251"/>
              <a:gd name="connsiteX44479" fmla="*/ 4712986 w 8079933"/>
              <a:gd name="connsiteY44479" fmla="*/ 1191627 h 4687251"/>
              <a:gd name="connsiteX44480" fmla="*/ 4715482 w 8079933"/>
              <a:gd name="connsiteY44480" fmla="*/ 1187621 h 4687251"/>
              <a:gd name="connsiteX44481" fmla="*/ 4719605 w 8079933"/>
              <a:gd name="connsiteY44481" fmla="*/ 1184156 h 4687251"/>
              <a:gd name="connsiteX44482" fmla="*/ 4719605 w 8079933"/>
              <a:gd name="connsiteY44482" fmla="*/ 1179067 h 4687251"/>
              <a:gd name="connsiteX44483" fmla="*/ 4723187 w 8079933"/>
              <a:gd name="connsiteY44483" fmla="*/ 1179067 h 4687251"/>
              <a:gd name="connsiteX44484" fmla="*/ 4726768 w 8079933"/>
              <a:gd name="connsiteY44484" fmla="*/ 1174953 h 4687251"/>
              <a:gd name="connsiteX44485" fmla="*/ 4720473 w 8079933"/>
              <a:gd name="connsiteY44485" fmla="*/ 1165533 h 4687251"/>
              <a:gd name="connsiteX44486" fmla="*/ 4709622 w 8079933"/>
              <a:gd name="connsiteY44486" fmla="*/ 1154706 h 4687251"/>
              <a:gd name="connsiteX44487" fmla="*/ 4707126 w 8079933"/>
              <a:gd name="connsiteY44487" fmla="*/ 1147668 h 4687251"/>
              <a:gd name="connsiteX44488" fmla="*/ 4707126 w 8079933"/>
              <a:gd name="connsiteY44488" fmla="*/ 1143554 h 4687251"/>
              <a:gd name="connsiteX44489" fmla="*/ 4713637 w 8079933"/>
              <a:gd name="connsiteY44489" fmla="*/ 1138358 h 4687251"/>
              <a:gd name="connsiteX44490" fmla="*/ 4718846 w 8079933"/>
              <a:gd name="connsiteY44490" fmla="*/ 1131320 h 4687251"/>
              <a:gd name="connsiteX44491" fmla="*/ 4720256 w 8079933"/>
              <a:gd name="connsiteY44491" fmla="*/ 1125148 h 4687251"/>
              <a:gd name="connsiteX44492" fmla="*/ 4724272 w 8079933"/>
              <a:gd name="connsiteY44492" fmla="*/ 1121359 h 4687251"/>
              <a:gd name="connsiteX44493" fmla="*/ 4729914 w 8079933"/>
              <a:gd name="connsiteY44493" fmla="*/ 1120276 h 4687251"/>
              <a:gd name="connsiteX44494" fmla="*/ 4737728 w 8079933"/>
              <a:gd name="connsiteY44494" fmla="*/ 1113997 h 4687251"/>
              <a:gd name="connsiteX44495" fmla="*/ 4743153 w 8079933"/>
              <a:gd name="connsiteY44495" fmla="*/ 1102412 h 4687251"/>
              <a:gd name="connsiteX44496" fmla="*/ 4746409 w 8079933"/>
              <a:gd name="connsiteY44496" fmla="*/ 1099921 h 4687251"/>
              <a:gd name="connsiteX44497" fmla="*/ 4752377 w 8079933"/>
              <a:gd name="connsiteY44497" fmla="*/ 1100787 h 4687251"/>
              <a:gd name="connsiteX44498" fmla="*/ 4757044 w 8079933"/>
              <a:gd name="connsiteY44498" fmla="*/ 1104577 h 4687251"/>
              <a:gd name="connsiteX44499" fmla="*/ 4763880 w 8079933"/>
              <a:gd name="connsiteY44499" fmla="*/ 1103710 h 4687251"/>
              <a:gd name="connsiteX44500" fmla="*/ 4771259 w 8079933"/>
              <a:gd name="connsiteY44500" fmla="*/ 1104577 h 4687251"/>
              <a:gd name="connsiteX44501" fmla="*/ 4773755 w 8079933"/>
              <a:gd name="connsiteY44501" fmla="*/ 1107825 h 4687251"/>
              <a:gd name="connsiteX44502" fmla="*/ 4772996 w 8079933"/>
              <a:gd name="connsiteY44502" fmla="*/ 1112914 h 4687251"/>
              <a:gd name="connsiteX44503" fmla="*/ 4778747 w 8079933"/>
              <a:gd name="connsiteY44503" fmla="*/ 1107500 h 4687251"/>
              <a:gd name="connsiteX44504" fmla="*/ 4784715 w 8079933"/>
              <a:gd name="connsiteY44504" fmla="*/ 1112048 h 4687251"/>
              <a:gd name="connsiteX44505" fmla="*/ 4786560 w 8079933"/>
              <a:gd name="connsiteY44505" fmla="*/ 1118003 h 4687251"/>
              <a:gd name="connsiteX44506" fmla="*/ 4789599 w 8079933"/>
              <a:gd name="connsiteY44506" fmla="*/ 1120709 h 4687251"/>
              <a:gd name="connsiteX44507" fmla="*/ 4788839 w 8079933"/>
              <a:gd name="connsiteY44507" fmla="*/ 1112048 h 4687251"/>
              <a:gd name="connsiteX44508" fmla="*/ 4785583 w 8079933"/>
              <a:gd name="connsiteY44508" fmla="*/ 1105767 h 4687251"/>
              <a:gd name="connsiteX44509" fmla="*/ 4787537 w 8079933"/>
              <a:gd name="connsiteY44509" fmla="*/ 1103061 h 4687251"/>
              <a:gd name="connsiteX44510" fmla="*/ 4787537 w 8079933"/>
              <a:gd name="connsiteY44510" fmla="*/ 1092234 h 4687251"/>
              <a:gd name="connsiteX44511" fmla="*/ 4789164 w 8079933"/>
              <a:gd name="connsiteY44511" fmla="*/ 1088769 h 4687251"/>
              <a:gd name="connsiteX44512" fmla="*/ 4786994 w 8079933"/>
              <a:gd name="connsiteY44512" fmla="*/ 1087145 h 4687251"/>
              <a:gd name="connsiteX44513" fmla="*/ 4786994 w 8079933"/>
              <a:gd name="connsiteY44513" fmla="*/ 1084438 h 4687251"/>
              <a:gd name="connsiteX44514" fmla="*/ 4787862 w 8079933"/>
              <a:gd name="connsiteY44514" fmla="*/ 1082057 h 4687251"/>
              <a:gd name="connsiteX44515" fmla="*/ 4786994 w 8079933"/>
              <a:gd name="connsiteY44515" fmla="*/ 1078808 h 4687251"/>
              <a:gd name="connsiteX44516" fmla="*/ 4787862 w 8079933"/>
              <a:gd name="connsiteY44516" fmla="*/ 1076426 h 4687251"/>
              <a:gd name="connsiteX44517" fmla="*/ 4784389 w 8079933"/>
              <a:gd name="connsiteY44517" fmla="*/ 1072637 h 4687251"/>
              <a:gd name="connsiteX44518" fmla="*/ 4779181 w 8079933"/>
              <a:gd name="connsiteY44518" fmla="*/ 1069606 h 4687251"/>
              <a:gd name="connsiteX44519" fmla="*/ 4772127 w 8079933"/>
              <a:gd name="connsiteY44519" fmla="*/ 1069606 h 4687251"/>
              <a:gd name="connsiteX44520" fmla="*/ 4770174 w 8079933"/>
              <a:gd name="connsiteY44520" fmla="*/ 1063651 h 4687251"/>
              <a:gd name="connsiteX44521" fmla="*/ 4772019 w 8079933"/>
              <a:gd name="connsiteY44521" fmla="*/ 1057479 h 4687251"/>
              <a:gd name="connsiteX44522" fmla="*/ 4772019 w 8079933"/>
              <a:gd name="connsiteY44522" fmla="*/ 1046652 h 4687251"/>
              <a:gd name="connsiteX44523" fmla="*/ 4773864 w 8079933"/>
              <a:gd name="connsiteY44523" fmla="*/ 1045245 h 4687251"/>
              <a:gd name="connsiteX44524" fmla="*/ 4772779 w 8079933"/>
              <a:gd name="connsiteY44524" fmla="*/ 1041780 h 4687251"/>
              <a:gd name="connsiteX44525" fmla="*/ 4772779 w 8079933"/>
              <a:gd name="connsiteY44525" fmla="*/ 1037233 h 4687251"/>
              <a:gd name="connsiteX44526" fmla="*/ 4774732 w 8079933"/>
              <a:gd name="connsiteY44526" fmla="*/ 1035608 h 4687251"/>
              <a:gd name="connsiteX44527" fmla="*/ 4772236 w 8079933"/>
              <a:gd name="connsiteY44527" fmla="*/ 1032360 h 4687251"/>
              <a:gd name="connsiteX44528" fmla="*/ 4772236 w 8079933"/>
              <a:gd name="connsiteY44528" fmla="*/ 1026947 h 4687251"/>
              <a:gd name="connsiteX44529" fmla="*/ 4768655 w 8079933"/>
              <a:gd name="connsiteY44529" fmla="*/ 1016878 h 4687251"/>
              <a:gd name="connsiteX44530" fmla="*/ 4761818 w 8079933"/>
              <a:gd name="connsiteY44530" fmla="*/ 1012005 h 4687251"/>
              <a:gd name="connsiteX44531" fmla="*/ 4750099 w 8079933"/>
              <a:gd name="connsiteY44531" fmla="*/ 1002478 h 4687251"/>
              <a:gd name="connsiteX44532" fmla="*/ 4750099 w 8079933"/>
              <a:gd name="connsiteY44532" fmla="*/ 999988 h 4687251"/>
              <a:gd name="connsiteX44533" fmla="*/ 4755524 w 8079933"/>
              <a:gd name="connsiteY44533" fmla="*/ 999988 h 4687251"/>
              <a:gd name="connsiteX44534" fmla="*/ 4765291 w 8079933"/>
              <a:gd name="connsiteY44534" fmla="*/ 1006484 h 4687251"/>
              <a:gd name="connsiteX44535" fmla="*/ 4771042 w 8079933"/>
              <a:gd name="connsiteY44535" fmla="*/ 1006484 h 4687251"/>
              <a:gd name="connsiteX44536" fmla="*/ 4774840 w 8079933"/>
              <a:gd name="connsiteY44536" fmla="*/ 1004535 h 4687251"/>
              <a:gd name="connsiteX44537" fmla="*/ 4783739 w 8079933"/>
              <a:gd name="connsiteY44537" fmla="*/ 1003777 h 4687251"/>
              <a:gd name="connsiteX44538" fmla="*/ 4796543 w 8079933"/>
              <a:gd name="connsiteY44538" fmla="*/ 1005076 h 4687251"/>
              <a:gd name="connsiteX44539" fmla="*/ 4802512 w 8079933"/>
              <a:gd name="connsiteY44539" fmla="*/ 1008866 h 4687251"/>
              <a:gd name="connsiteX44540" fmla="*/ 4802512 w 8079933"/>
              <a:gd name="connsiteY44540" fmla="*/ 1013196 h 4687251"/>
              <a:gd name="connsiteX44541" fmla="*/ 4807613 w 8079933"/>
              <a:gd name="connsiteY44541" fmla="*/ 1019151 h 4687251"/>
              <a:gd name="connsiteX44542" fmla="*/ 4813039 w 8079933"/>
              <a:gd name="connsiteY44542" fmla="*/ 1019909 h 4687251"/>
              <a:gd name="connsiteX44543" fmla="*/ 4813907 w 8079933"/>
              <a:gd name="connsiteY44543" fmla="*/ 1023699 h 4687251"/>
              <a:gd name="connsiteX44544" fmla="*/ 4820634 w 8079933"/>
              <a:gd name="connsiteY44544" fmla="*/ 1032144 h 4687251"/>
              <a:gd name="connsiteX44545" fmla="*/ 4819766 w 8079933"/>
              <a:gd name="connsiteY44545" fmla="*/ 1035717 h 4687251"/>
              <a:gd name="connsiteX44546" fmla="*/ 4811302 w 8079933"/>
              <a:gd name="connsiteY44546" fmla="*/ 1035717 h 4687251"/>
              <a:gd name="connsiteX44547" fmla="*/ 4809132 w 8079933"/>
              <a:gd name="connsiteY44547" fmla="*/ 1038965 h 4687251"/>
              <a:gd name="connsiteX44548" fmla="*/ 4801753 w 8079933"/>
              <a:gd name="connsiteY44548" fmla="*/ 1038965 h 4687251"/>
              <a:gd name="connsiteX44549" fmla="*/ 4799365 w 8079933"/>
              <a:gd name="connsiteY44549" fmla="*/ 1041455 h 4687251"/>
              <a:gd name="connsiteX44550" fmla="*/ 4800125 w 8079933"/>
              <a:gd name="connsiteY44550" fmla="*/ 1044162 h 4687251"/>
              <a:gd name="connsiteX44551" fmla="*/ 4798172 w 8079933"/>
              <a:gd name="connsiteY44551" fmla="*/ 1047627 h 4687251"/>
              <a:gd name="connsiteX44552" fmla="*/ 4795675 w 8079933"/>
              <a:gd name="connsiteY44552" fmla="*/ 1046219 h 4687251"/>
              <a:gd name="connsiteX44553" fmla="*/ 4794374 w 8079933"/>
              <a:gd name="connsiteY44553" fmla="*/ 1048925 h 4687251"/>
              <a:gd name="connsiteX44554" fmla="*/ 4794374 w 8079933"/>
              <a:gd name="connsiteY44554" fmla="*/ 1055963 h 4687251"/>
              <a:gd name="connsiteX44555" fmla="*/ 4797846 w 8079933"/>
              <a:gd name="connsiteY44555" fmla="*/ 1057804 h 4687251"/>
              <a:gd name="connsiteX44556" fmla="*/ 4807829 w 8079933"/>
              <a:gd name="connsiteY44556" fmla="*/ 1066141 h 4687251"/>
              <a:gd name="connsiteX44557" fmla="*/ 4817379 w 8079933"/>
              <a:gd name="connsiteY44557" fmla="*/ 1078592 h 4687251"/>
              <a:gd name="connsiteX44558" fmla="*/ 4822479 w 8079933"/>
              <a:gd name="connsiteY44558" fmla="*/ 1078592 h 4687251"/>
              <a:gd name="connsiteX44559" fmla="*/ 4828773 w 8079933"/>
              <a:gd name="connsiteY44559" fmla="*/ 1074045 h 4687251"/>
              <a:gd name="connsiteX44560" fmla="*/ 4831703 w 8079933"/>
              <a:gd name="connsiteY44560" fmla="*/ 1079242 h 4687251"/>
              <a:gd name="connsiteX44561" fmla="*/ 4833873 w 8079933"/>
              <a:gd name="connsiteY44561" fmla="*/ 1076318 h 4687251"/>
              <a:gd name="connsiteX44562" fmla="*/ 4838973 w 8079933"/>
              <a:gd name="connsiteY44562" fmla="*/ 1076318 h 4687251"/>
              <a:gd name="connsiteX44563" fmla="*/ 4840276 w 8079933"/>
              <a:gd name="connsiteY44563" fmla="*/ 1073828 h 4687251"/>
              <a:gd name="connsiteX44564" fmla="*/ 4848741 w 8079933"/>
              <a:gd name="connsiteY44564" fmla="*/ 1070039 h 4687251"/>
              <a:gd name="connsiteX44565" fmla="*/ 4850368 w 8079933"/>
              <a:gd name="connsiteY44565" fmla="*/ 1064950 h 4687251"/>
              <a:gd name="connsiteX44566" fmla="*/ 4848197 w 8079933"/>
              <a:gd name="connsiteY44566" fmla="*/ 1057696 h 4687251"/>
              <a:gd name="connsiteX44567" fmla="*/ 4851236 w 8079933"/>
              <a:gd name="connsiteY44567" fmla="*/ 1052282 h 4687251"/>
              <a:gd name="connsiteX44568" fmla="*/ 4851236 w 8079933"/>
              <a:gd name="connsiteY44568" fmla="*/ 1047951 h 4687251"/>
              <a:gd name="connsiteX44569" fmla="*/ 4847655 w 8079933"/>
              <a:gd name="connsiteY44569" fmla="*/ 1043404 h 4687251"/>
              <a:gd name="connsiteX44570" fmla="*/ 4850150 w 8079933"/>
              <a:gd name="connsiteY44570" fmla="*/ 1041563 h 4687251"/>
              <a:gd name="connsiteX44571" fmla="*/ 4862956 w 8079933"/>
              <a:gd name="connsiteY44571" fmla="*/ 1039939 h 4687251"/>
              <a:gd name="connsiteX44572" fmla="*/ 4864909 w 8079933"/>
              <a:gd name="connsiteY44572" fmla="*/ 1037233 h 4687251"/>
              <a:gd name="connsiteX44573" fmla="*/ 4872722 w 8079933"/>
              <a:gd name="connsiteY44573" fmla="*/ 1040156 h 4687251"/>
              <a:gd name="connsiteX44574" fmla="*/ 4871637 w 8079933"/>
              <a:gd name="connsiteY44574" fmla="*/ 1036583 h 4687251"/>
              <a:gd name="connsiteX44575" fmla="*/ 4865343 w 8079933"/>
              <a:gd name="connsiteY44575" fmla="*/ 1031927 h 4687251"/>
              <a:gd name="connsiteX44576" fmla="*/ 4863389 w 8079933"/>
              <a:gd name="connsiteY44576" fmla="*/ 1027272 h 4687251"/>
              <a:gd name="connsiteX44577" fmla="*/ 4865669 w 8079933"/>
              <a:gd name="connsiteY44577" fmla="*/ 1027272 h 4687251"/>
              <a:gd name="connsiteX44578" fmla="*/ 4869250 w 8079933"/>
              <a:gd name="connsiteY44578" fmla="*/ 1030737 h 4687251"/>
              <a:gd name="connsiteX44579" fmla="*/ 4873265 w 8079933"/>
              <a:gd name="connsiteY44579" fmla="*/ 1028570 h 4687251"/>
              <a:gd name="connsiteX44580" fmla="*/ 4882163 w 8079933"/>
              <a:gd name="connsiteY44580" fmla="*/ 1017744 h 4687251"/>
              <a:gd name="connsiteX44581" fmla="*/ 4884876 w 8079933"/>
              <a:gd name="connsiteY44581" fmla="*/ 1016986 h 4687251"/>
              <a:gd name="connsiteX44582" fmla="*/ 4894643 w 8079933"/>
              <a:gd name="connsiteY44582" fmla="*/ 1005076 h 4687251"/>
              <a:gd name="connsiteX44583" fmla="*/ 4894643 w 8079933"/>
              <a:gd name="connsiteY44583" fmla="*/ 1002370 h 4687251"/>
              <a:gd name="connsiteX44584" fmla="*/ 4897464 w 8079933"/>
              <a:gd name="connsiteY44584" fmla="*/ 1000854 h 4687251"/>
              <a:gd name="connsiteX44585" fmla="*/ 4902673 w 8079933"/>
              <a:gd name="connsiteY44585" fmla="*/ 1001828 h 4687251"/>
              <a:gd name="connsiteX44586" fmla="*/ 4909184 w 8079933"/>
              <a:gd name="connsiteY44586" fmla="*/ 998797 h 4687251"/>
              <a:gd name="connsiteX44587" fmla="*/ 4910377 w 8079933"/>
              <a:gd name="connsiteY44587" fmla="*/ 995765 h 4687251"/>
              <a:gd name="connsiteX44588" fmla="*/ 4919710 w 8079933"/>
              <a:gd name="connsiteY44588" fmla="*/ 992842 h 4687251"/>
              <a:gd name="connsiteX44589" fmla="*/ 4919710 w 8079933"/>
              <a:gd name="connsiteY44589" fmla="*/ 996415 h 4687251"/>
              <a:gd name="connsiteX44590" fmla="*/ 4921446 w 8079933"/>
              <a:gd name="connsiteY44590" fmla="*/ 996415 h 4687251"/>
              <a:gd name="connsiteX44591" fmla="*/ 4922315 w 8079933"/>
              <a:gd name="connsiteY44591" fmla="*/ 1000096 h 4687251"/>
              <a:gd name="connsiteX44592" fmla="*/ 4920578 w 8079933"/>
              <a:gd name="connsiteY44592" fmla="*/ 1002911 h 4687251"/>
              <a:gd name="connsiteX44593" fmla="*/ 4923183 w 8079933"/>
              <a:gd name="connsiteY44593" fmla="*/ 1004751 h 4687251"/>
              <a:gd name="connsiteX44594" fmla="*/ 4928717 w 8079933"/>
              <a:gd name="connsiteY44594" fmla="*/ 999338 h 4687251"/>
              <a:gd name="connsiteX44595" fmla="*/ 4928717 w 8079933"/>
              <a:gd name="connsiteY44595" fmla="*/ 995873 h 4687251"/>
              <a:gd name="connsiteX44596" fmla="*/ 4925896 w 8079933"/>
              <a:gd name="connsiteY44596" fmla="*/ 994574 h 4687251"/>
              <a:gd name="connsiteX44597" fmla="*/ 4922315 w 8079933"/>
              <a:gd name="connsiteY44597" fmla="*/ 990893 h 4687251"/>
              <a:gd name="connsiteX44598" fmla="*/ 4922315 w 8079933"/>
              <a:gd name="connsiteY44598" fmla="*/ 988727 h 4687251"/>
              <a:gd name="connsiteX44599" fmla="*/ 4931104 w 8079933"/>
              <a:gd name="connsiteY44599" fmla="*/ 980066 h 4687251"/>
              <a:gd name="connsiteX44600" fmla="*/ 4932623 w 8079933"/>
              <a:gd name="connsiteY44600" fmla="*/ 980066 h 4687251"/>
              <a:gd name="connsiteX44601" fmla="*/ 4933383 w 8079933"/>
              <a:gd name="connsiteY44601" fmla="*/ 983097 h 4687251"/>
              <a:gd name="connsiteX44602" fmla="*/ 4931755 w 8079933"/>
              <a:gd name="connsiteY44602" fmla="*/ 984072 h 4687251"/>
              <a:gd name="connsiteX44603" fmla="*/ 4930127 w 8079933"/>
              <a:gd name="connsiteY44603" fmla="*/ 986345 h 4687251"/>
              <a:gd name="connsiteX44604" fmla="*/ 4934577 w 8079933"/>
              <a:gd name="connsiteY44604" fmla="*/ 991217 h 4687251"/>
              <a:gd name="connsiteX44605" fmla="*/ 4937507 w 8079933"/>
              <a:gd name="connsiteY44605" fmla="*/ 990352 h 4687251"/>
              <a:gd name="connsiteX44606" fmla="*/ 4940111 w 8079933"/>
              <a:gd name="connsiteY44606" fmla="*/ 986887 h 4687251"/>
              <a:gd name="connsiteX44607" fmla="*/ 4938375 w 8079933"/>
              <a:gd name="connsiteY44607" fmla="*/ 984072 h 4687251"/>
              <a:gd name="connsiteX44608" fmla="*/ 4936964 w 8079933"/>
              <a:gd name="connsiteY44608" fmla="*/ 979632 h 4687251"/>
              <a:gd name="connsiteX44609" fmla="*/ 4935228 w 8079933"/>
              <a:gd name="connsiteY44609" fmla="*/ 977467 h 4687251"/>
              <a:gd name="connsiteX44610" fmla="*/ 4939026 w 8079933"/>
              <a:gd name="connsiteY44610" fmla="*/ 974436 h 4687251"/>
              <a:gd name="connsiteX44611" fmla="*/ 4951614 w 8079933"/>
              <a:gd name="connsiteY44611" fmla="*/ 969022 h 4687251"/>
              <a:gd name="connsiteX44612" fmla="*/ 4960186 w 8079933"/>
              <a:gd name="connsiteY44612" fmla="*/ 967723 h 4687251"/>
              <a:gd name="connsiteX44613" fmla="*/ 4961054 w 8079933"/>
              <a:gd name="connsiteY44613" fmla="*/ 969672 h 4687251"/>
              <a:gd name="connsiteX44614" fmla="*/ 4956280 w 8079933"/>
              <a:gd name="connsiteY44614" fmla="*/ 972054 h 4687251"/>
              <a:gd name="connsiteX44615" fmla="*/ 4952699 w 8079933"/>
              <a:gd name="connsiteY44615" fmla="*/ 972054 h 4687251"/>
              <a:gd name="connsiteX44616" fmla="*/ 4943801 w 8079933"/>
              <a:gd name="connsiteY44616" fmla="*/ 976168 h 4687251"/>
              <a:gd name="connsiteX44617" fmla="*/ 4945429 w 8079933"/>
              <a:gd name="connsiteY44617" fmla="*/ 978442 h 4687251"/>
              <a:gd name="connsiteX44618" fmla="*/ 4948684 w 8079933"/>
              <a:gd name="connsiteY44618" fmla="*/ 979199 h 4687251"/>
              <a:gd name="connsiteX44619" fmla="*/ 4951397 w 8079933"/>
              <a:gd name="connsiteY44619" fmla="*/ 977792 h 4687251"/>
              <a:gd name="connsiteX44620" fmla="*/ 4956931 w 8079933"/>
              <a:gd name="connsiteY44620" fmla="*/ 982881 h 4687251"/>
              <a:gd name="connsiteX44621" fmla="*/ 4953893 w 8079933"/>
              <a:gd name="connsiteY44621" fmla="*/ 984613 h 4687251"/>
              <a:gd name="connsiteX44622" fmla="*/ 4952808 w 8079933"/>
              <a:gd name="connsiteY44622" fmla="*/ 986454 h 4687251"/>
              <a:gd name="connsiteX44623" fmla="*/ 4956063 w 8079933"/>
              <a:gd name="connsiteY44623" fmla="*/ 991542 h 4687251"/>
              <a:gd name="connsiteX44624" fmla="*/ 4954110 w 8079933"/>
              <a:gd name="connsiteY44624" fmla="*/ 995007 h 4687251"/>
              <a:gd name="connsiteX44625" fmla="*/ 4949335 w 8079933"/>
              <a:gd name="connsiteY44625" fmla="*/ 995007 h 4687251"/>
              <a:gd name="connsiteX44626" fmla="*/ 4944452 w 8079933"/>
              <a:gd name="connsiteY44626" fmla="*/ 999662 h 4687251"/>
              <a:gd name="connsiteX44627" fmla="*/ 4945429 w 8079933"/>
              <a:gd name="connsiteY44627" fmla="*/ 1003560 h 4687251"/>
              <a:gd name="connsiteX44628" fmla="*/ 4949444 w 8079933"/>
              <a:gd name="connsiteY44628" fmla="*/ 1004427 h 4687251"/>
              <a:gd name="connsiteX44629" fmla="*/ 4952590 w 8079933"/>
              <a:gd name="connsiteY44629" fmla="*/ 1003560 h 4687251"/>
              <a:gd name="connsiteX44630" fmla="*/ 4955738 w 8079933"/>
              <a:gd name="connsiteY44630" fmla="*/ 1003560 h 4687251"/>
              <a:gd name="connsiteX44631" fmla="*/ 4959101 w 8079933"/>
              <a:gd name="connsiteY44631" fmla="*/ 1001395 h 4687251"/>
              <a:gd name="connsiteX44632" fmla="*/ 4964093 w 8079933"/>
              <a:gd name="connsiteY44632" fmla="*/ 1003344 h 4687251"/>
              <a:gd name="connsiteX44633" fmla="*/ 4964093 w 8079933"/>
              <a:gd name="connsiteY44633" fmla="*/ 1008974 h 4687251"/>
              <a:gd name="connsiteX44634" fmla="*/ 4966480 w 8079933"/>
              <a:gd name="connsiteY44634" fmla="*/ 1003127 h 4687251"/>
              <a:gd name="connsiteX44635" fmla="*/ 4971472 w 8079933"/>
              <a:gd name="connsiteY44635" fmla="*/ 997389 h 4687251"/>
              <a:gd name="connsiteX44636" fmla="*/ 4973860 w 8079933"/>
              <a:gd name="connsiteY44636" fmla="*/ 997389 h 4687251"/>
              <a:gd name="connsiteX44637" fmla="*/ 4975921 w 8079933"/>
              <a:gd name="connsiteY44637" fmla="*/ 1000637 h 4687251"/>
              <a:gd name="connsiteX44638" fmla="*/ 4979828 w 8079933"/>
              <a:gd name="connsiteY44638" fmla="*/ 1003560 h 4687251"/>
              <a:gd name="connsiteX44639" fmla="*/ 4981347 w 8079933"/>
              <a:gd name="connsiteY44639" fmla="*/ 1001611 h 4687251"/>
              <a:gd name="connsiteX44640" fmla="*/ 4980371 w 8079933"/>
              <a:gd name="connsiteY44640" fmla="*/ 998797 h 4687251"/>
              <a:gd name="connsiteX44641" fmla="*/ 4981564 w 8079933"/>
              <a:gd name="connsiteY44641" fmla="*/ 995873 h 4687251"/>
              <a:gd name="connsiteX44642" fmla="*/ 4978092 w 8079933"/>
              <a:gd name="connsiteY44642" fmla="*/ 993383 h 4687251"/>
              <a:gd name="connsiteX44643" fmla="*/ 4978092 w 8079933"/>
              <a:gd name="connsiteY44643" fmla="*/ 991217 h 4687251"/>
              <a:gd name="connsiteX44644" fmla="*/ 4982107 w 8079933"/>
              <a:gd name="connsiteY44644" fmla="*/ 986778 h 4687251"/>
              <a:gd name="connsiteX44645" fmla="*/ 4986991 w 8079933"/>
              <a:gd name="connsiteY44645" fmla="*/ 986021 h 4687251"/>
              <a:gd name="connsiteX44646" fmla="*/ 4988401 w 8079933"/>
              <a:gd name="connsiteY44646" fmla="*/ 983531 h 4687251"/>
              <a:gd name="connsiteX44647" fmla="*/ 4994695 w 8079933"/>
              <a:gd name="connsiteY44647" fmla="*/ 979524 h 4687251"/>
              <a:gd name="connsiteX44648" fmla="*/ 4997516 w 8079933"/>
              <a:gd name="connsiteY44648" fmla="*/ 981690 h 4687251"/>
              <a:gd name="connsiteX44649" fmla="*/ 5000663 w 8079933"/>
              <a:gd name="connsiteY44649" fmla="*/ 981690 h 4687251"/>
              <a:gd name="connsiteX44650" fmla="*/ 5002834 w 8079933"/>
              <a:gd name="connsiteY44650" fmla="*/ 980499 h 4687251"/>
              <a:gd name="connsiteX44651" fmla="*/ 5006306 w 8079933"/>
              <a:gd name="connsiteY44651" fmla="*/ 981798 h 4687251"/>
              <a:gd name="connsiteX44652" fmla="*/ 5017158 w 8079933"/>
              <a:gd name="connsiteY44652" fmla="*/ 981798 h 4687251"/>
              <a:gd name="connsiteX44653" fmla="*/ 5020848 w 8079933"/>
              <a:gd name="connsiteY44653" fmla="*/ 979091 h 4687251"/>
              <a:gd name="connsiteX44654" fmla="*/ 5020848 w 8079933"/>
              <a:gd name="connsiteY44654" fmla="*/ 976060 h 4687251"/>
              <a:gd name="connsiteX44655" fmla="*/ 5023344 w 8079933"/>
              <a:gd name="connsiteY44655" fmla="*/ 973244 h 4687251"/>
              <a:gd name="connsiteX44656" fmla="*/ 5029312 w 8079933"/>
              <a:gd name="connsiteY44656" fmla="*/ 973244 h 4687251"/>
              <a:gd name="connsiteX44657" fmla="*/ 5029312 w 8079933"/>
              <a:gd name="connsiteY44657" fmla="*/ 970646 h 4687251"/>
              <a:gd name="connsiteX44658" fmla="*/ 5033761 w 8079933"/>
              <a:gd name="connsiteY44658" fmla="*/ 966748 h 4687251"/>
              <a:gd name="connsiteX44659" fmla="*/ 5037451 w 8079933"/>
              <a:gd name="connsiteY44659" fmla="*/ 965991 h 4687251"/>
              <a:gd name="connsiteX44660" fmla="*/ 5043744 w 8079933"/>
              <a:gd name="connsiteY44660" fmla="*/ 959819 h 4687251"/>
              <a:gd name="connsiteX44661" fmla="*/ 5046240 w 8079933"/>
              <a:gd name="connsiteY44661" fmla="*/ 959819 h 4687251"/>
              <a:gd name="connsiteX44662" fmla="*/ 5049822 w 8079933"/>
              <a:gd name="connsiteY44662" fmla="*/ 957979 h 4687251"/>
              <a:gd name="connsiteX44663" fmla="*/ 5050690 w 8079933"/>
              <a:gd name="connsiteY44663" fmla="*/ 959603 h 4687251"/>
              <a:gd name="connsiteX44664" fmla="*/ 5047109 w 8079933"/>
              <a:gd name="connsiteY44664" fmla="*/ 963717 h 4687251"/>
              <a:gd name="connsiteX44665" fmla="*/ 5050798 w 8079933"/>
              <a:gd name="connsiteY44665" fmla="*/ 965124 h 4687251"/>
              <a:gd name="connsiteX44666" fmla="*/ 5055573 w 8079933"/>
              <a:gd name="connsiteY44666" fmla="*/ 969780 h 4687251"/>
              <a:gd name="connsiteX44667" fmla="*/ 5055573 w 8079933"/>
              <a:gd name="connsiteY44667" fmla="*/ 972378 h 4687251"/>
              <a:gd name="connsiteX44668" fmla="*/ 5051666 w 8079933"/>
              <a:gd name="connsiteY44668" fmla="*/ 975952 h 4687251"/>
              <a:gd name="connsiteX44669" fmla="*/ 5053945 w 8079933"/>
              <a:gd name="connsiteY44669" fmla="*/ 980715 h 4687251"/>
              <a:gd name="connsiteX44670" fmla="*/ 5052968 w 8079933"/>
              <a:gd name="connsiteY44670" fmla="*/ 984397 h 4687251"/>
              <a:gd name="connsiteX44671" fmla="*/ 5055790 w 8079933"/>
              <a:gd name="connsiteY44671" fmla="*/ 987861 h 4687251"/>
              <a:gd name="connsiteX44672" fmla="*/ 5067835 w 8079933"/>
              <a:gd name="connsiteY44672" fmla="*/ 987861 h 4687251"/>
              <a:gd name="connsiteX44673" fmla="*/ 5070331 w 8079933"/>
              <a:gd name="connsiteY44673" fmla="*/ 985046 h 4687251"/>
              <a:gd name="connsiteX44674" fmla="*/ 5070331 w 8079933"/>
              <a:gd name="connsiteY44674" fmla="*/ 982123 h 4687251"/>
              <a:gd name="connsiteX44675" fmla="*/ 5068487 w 8079933"/>
              <a:gd name="connsiteY44675" fmla="*/ 980391 h 4687251"/>
              <a:gd name="connsiteX44676" fmla="*/ 5063386 w 8079933"/>
              <a:gd name="connsiteY44676" fmla="*/ 974327 h 4687251"/>
              <a:gd name="connsiteX44677" fmla="*/ 5063386 w 8079933"/>
              <a:gd name="connsiteY44677" fmla="*/ 971621 h 4687251"/>
              <a:gd name="connsiteX44678" fmla="*/ 5066750 w 8079933"/>
              <a:gd name="connsiteY44678" fmla="*/ 968914 h 4687251"/>
              <a:gd name="connsiteX44679" fmla="*/ 5073261 w 8079933"/>
              <a:gd name="connsiteY44679" fmla="*/ 971837 h 4687251"/>
              <a:gd name="connsiteX44680" fmla="*/ 5077819 w 8079933"/>
              <a:gd name="connsiteY44680" fmla="*/ 968805 h 4687251"/>
              <a:gd name="connsiteX44681" fmla="*/ 5079772 w 8079933"/>
              <a:gd name="connsiteY44681" fmla="*/ 960902 h 4687251"/>
              <a:gd name="connsiteX44682" fmla="*/ 5083353 w 8079933"/>
              <a:gd name="connsiteY44682" fmla="*/ 960902 h 4687251"/>
              <a:gd name="connsiteX44683" fmla="*/ 5085523 w 8079933"/>
              <a:gd name="connsiteY44683" fmla="*/ 962850 h 4687251"/>
              <a:gd name="connsiteX44684" fmla="*/ 5091818 w 8079933"/>
              <a:gd name="connsiteY44684" fmla="*/ 963933 h 4687251"/>
              <a:gd name="connsiteX44685" fmla="*/ 5085307 w 8079933"/>
              <a:gd name="connsiteY44685" fmla="*/ 956896 h 4687251"/>
              <a:gd name="connsiteX44686" fmla="*/ 5079881 w 8079933"/>
              <a:gd name="connsiteY44686" fmla="*/ 955488 h 4687251"/>
              <a:gd name="connsiteX44687" fmla="*/ 5079881 w 8079933"/>
              <a:gd name="connsiteY44687" fmla="*/ 951157 h 4687251"/>
              <a:gd name="connsiteX44688" fmla="*/ 5075866 w 8079933"/>
              <a:gd name="connsiteY44688" fmla="*/ 943362 h 4687251"/>
              <a:gd name="connsiteX44689" fmla="*/ 5072935 w 8079933"/>
              <a:gd name="connsiteY44689" fmla="*/ 943362 h 4687251"/>
              <a:gd name="connsiteX44690" fmla="*/ 5072067 w 8079933"/>
              <a:gd name="connsiteY44690" fmla="*/ 947476 h 4687251"/>
              <a:gd name="connsiteX44691" fmla="*/ 5069680 w 8079933"/>
              <a:gd name="connsiteY44691" fmla="*/ 943470 h 4687251"/>
              <a:gd name="connsiteX44692" fmla="*/ 5067184 w 8079933"/>
              <a:gd name="connsiteY44692" fmla="*/ 934809 h 4687251"/>
              <a:gd name="connsiteX44693" fmla="*/ 5063929 w 8079933"/>
              <a:gd name="connsiteY44693" fmla="*/ 932968 h 4687251"/>
              <a:gd name="connsiteX44694" fmla="*/ 5060456 w 8079933"/>
              <a:gd name="connsiteY44694" fmla="*/ 927554 h 4687251"/>
              <a:gd name="connsiteX44695" fmla="*/ 5060456 w 8079933"/>
              <a:gd name="connsiteY44695" fmla="*/ 926147 h 4687251"/>
              <a:gd name="connsiteX44696" fmla="*/ 5065557 w 8079933"/>
              <a:gd name="connsiteY44696" fmla="*/ 924307 h 4687251"/>
              <a:gd name="connsiteX44697" fmla="*/ 5065557 w 8079933"/>
              <a:gd name="connsiteY44697" fmla="*/ 920300 h 4687251"/>
              <a:gd name="connsiteX44698" fmla="*/ 5063277 w 8079933"/>
              <a:gd name="connsiteY44698" fmla="*/ 915212 h 4687251"/>
              <a:gd name="connsiteX44699" fmla="*/ 5066099 w 8079933"/>
              <a:gd name="connsiteY44699" fmla="*/ 912504 h 4687251"/>
              <a:gd name="connsiteX44700" fmla="*/ 5070114 w 8079933"/>
              <a:gd name="connsiteY44700" fmla="*/ 913371 h 4687251"/>
              <a:gd name="connsiteX44701" fmla="*/ 5072067 w 8079933"/>
              <a:gd name="connsiteY44701" fmla="*/ 912288 h 4687251"/>
              <a:gd name="connsiteX44702" fmla="*/ 5076083 w 8079933"/>
              <a:gd name="connsiteY44702" fmla="*/ 914995 h 4687251"/>
              <a:gd name="connsiteX44703" fmla="*/ 5080749 w 8079933"/>
              <a:gd name="connsiteY44703" fmla="*/ 914237 h 4687251"/>
              <a:gd name="connsiteX44704" fmla="*/ 5085307 w 8079933"/>
              <a:gd name="connsiteY44704" fmla="*/ 915645 h 4687251"/>
              <a:gd name="connsiteX44705" fmla="*/ 5103429 w 8079933"/>
              <a:gd name="connsiteY44705" fmla="*/ 913155 h 4687251"/>
              <a:gd name="connsiteX44706" fmla="*/ 5126434 w 8079933"/>
              <a:gd name="connsiteY44706" fmla="*/ 914454 h 4687251"/>
              <a:gd name="connsiteX44707" fmla="*/ 5133271 w 8079933"/>
              <a:gd name="connsiteY44707" fmla="*/ 919109 h 4687251"/>
              <a:gd name="connsiteX44708" fmla="*/ 5148463 w 8079933"/>
              <a:gd name="connsiteY44708" fmla="*/ 924739 h 4687251"/>
              <a:gd name="connsiteX44709" fmla="*/ 5149765 w 8079933"/>
              <a:gd name="connsiteY44709" fmla="*/ 927987 h 4687251"/>
              <a:gd name="connsiteX44710" fmla="*/ 5148138 w 8079933"/>
              <a:gd name="connsiteY44710" fmla="*/ 930477 h 4687251"/>
              <a:gd name="connsiteX44711" fmla="*/ 5150525 w 8079933"/>
              <a:gd name="connsiteY44711" fmla="*/ 935675 h 4687251"/>
              <a:gd name="connsiteX44712" fmla="*/ 5155083 w 8079933"/>
              <a:gd name="connsiteY44712" fmla="*/ 931669 h 4687251"/>
              <a:gd name="connsiteX44713" fmla="*/ 5161919 w 8079933"/>
              <a:gd name="connsiteY44713" fmla="*/ 929179 h 4687251"/>
              <a:gd name="connsiteX44714" fmla="*/ 5165934 w 8079933"/>
              <a:gd name="connsiteY44714" fmla="*/ 932752 h 4687251"/>
              <a:gd name="connsiteX44715" fmla="*/ 5169515 w 8079933"/>
              <a:gd name="connsiteY44715" fmla="*/ 932752 h 4687251"/>
              <a:gd name="connsiteX44716" fmla="*/ 5170383 w 8079933"/>
              <a:gd name="connsiteY44716" fmla="*/ 937299 h 4687251"/>
              <a:gd name="connsiteX44717" fmla="*/ 5178306 w 8079933"/>
              <a:gd name="connsiteY44717" fmla="*/ 938381 h 4687251"/>
              <a:gd name="connsiteX44718" fmla="*/ 5191545 w 8079933"/>
              <a:gd name="connsiteY44718" fmla="*/ 945960 h 4687251"/>
              <a:gd name="connsiteX44719" fmla="*/ 5204241 w 8079933"/>
              <a:gd name="connsiteY44719" fmla="*/ 947043 h 4687251"/>
              <a:gd name="connsiteX44720" fmla="*/ 5209341 w 8079933"/>
              <a:gd name="connsiteY44720" fmla="*/ 951157 h 4687251"/>
              <a:gd name="connsiteX44721" fmla="*/ 5212379 w 8079933"/>
              <a:gd name="connsiteY44721" fmla="*/ 957870 h 4687251"/>
              <a:gd name="connsiteX44722" fmla="*/ 5219759 w 8079933"/>
              <a:gd name="connsiteY44722" fmla="*/ 959277 h 4687251"/>
              <a:gd name="connsiteX44723" fmla="*/ 5226270 w 8079933"/>
              <a:gd name="connsiteY44723" fmla="*/ 964150 h 4687251"/>
              <a:gd name="connsiteX44724" fmla="*/ 5231913 w 8079933"/>
              <a:gd name="connsiteY44724" fmla="*/ 974977 h 4687251"/>
              <a:gd name="connsiteX44725" fmla="*/ 5237013 w 8079933"/>
              <a:gd name="connsiteY44725" fmla="*/ 976060 h 4687251"/>
              <a:gd name="connsiteX44726" fmla="*/ 5237013 w 8079933"/>
              <a:gd name="connsiteY44726" fmla="*/ 973028 h 4687251"/>
              <a:gd name="connsiteX44727" fmla="*/ 5235711 w 8079933"/>
              <a:gd name="connsiteY44727" fmla="*/ 966315 h 4687251"/>
              <a:gd name="connsiteX44728" fmla="*/ 5238641 w 8079933"/>
              <a:gd name="connsiteY44728" fmla="*/ 966315 h 4687251"/>
              <a:gd name="connsiteX44729" fmla="*/ 5239726 w 8079933"/>
              <a:gd name="connsiteY44729" fmla="*/ 963825 h 4687251"/>
              <a:gd name="connsiteX44730" fmla="*/ 5236470 w 8079933"/>
              <a:gd name="connsiteY44730" fmla="*/ 958736 h 4687251"/>
              <a:gd name="connsiteX44731" fmla="*/ 5237881 w 8079933"/>
              <a:gd name="connsiteY44731" fmla="*/ 955488 h 4687251"/>
              <a:gd name="connsiteX44732" fmla="*/ 5237881 w 8079933"/>
              <a:gd name="connsiteY44732" fmla="*/ 942712 h 4687251"/>
              <a:gd name="connsiteX44733" fmla="*/ 5242222 w 8079933"/>
              <a:gd name="connsiteY44733" fmla="*/ 939247 h 4687251"/>
              <a:gd name="connsiteX44734" fmla="*/ 5237881 w 8079933"/>
              <a:gd name="connsiteY44734" fmla="*/ 939247 h 4687251"/>
              <a:gd name="connsiteX44735" fmla="*/ 5237122 w 8079933"/>
              <a:gd name="connsiteY44735" fmla="*/ 937299 h 4687251"/>
              <a:gd name="connsiteX44736" fmla="*/ 5232564 w 8079933"/>
              <a:gd name="connsiteY44736" fmla="*/ 937299 h 4687251"/>
              <a:gd name="connsiteX44737" fmla="*/ 5228983 w 8079933"/>
              <a:gd name="connsiteY44737" fmla="*/ 939681 h 4687251"/>
              <a:gd name="connsiteX44738" fmla="*/ 5224100 w 8079933"/>
              <a:gd name="connsiteY44738" fmla="*/ 938273 h 4687251"/>
              <a:gd name="connsiteX44739" fmla="*/ 5214333 w 8079933"/>
              <a:gd name="connsiteY44739" fmla="*/ 926689 h 4687251"/>
              <a:gd name="connsiteX44740" fmla="*/ 5211620 w 8079933"/>
              <a:gd name="connsiteY44740" fmla="*/ 926147 h 4687251"/>
              <a:gd name="connsiteX44741" fmla="*/ 5208039 w 8079933"/>
              <a:gd name="connsiteY44741" fmla="*/ 921600 h 4687251"/>
              <a:gd name="connsiteX44742" fmla="*/ 5208039 w 8079933"/>
              <a:gd name="connsiteY44742" fmla="*/ 913155 h 4687251"/>
              <a:gd name="connsiteX44743" fmla="*/ 5205543 w 8079933"/>
              <a:gd name="connsiteY44743" fmla="*/ 910773 h 4687251"/>
              <a:gd name="connsiteX44744" fmla="*/ 5200985 w 8079933"/>
              <a:gd name="connsiteY44744" fmla="*/ 917052 h 4687251"/>
              <a:gd name="connsiteX44745" fmla="*/ 5195885 w 8079933"/>
              <a:gd name="connsiteY44745" fmla="*/ 913587 h 4687251"/>
              <a:gd name="connsiteX44746" fmla="*/ 5190242 w 8079933"/>
              <a:gd name="connsiteY44746" fmla="*/ 913587 h 4687251"/>
              <a:gd name="connsiteX44747" fmla="*/ 5185901 w 8079933"/>
              <a:gd name="connsiteY44747" fmla="*/ 910664 h 4687251"/>
              <a:gd name="connsiteX44748" fmla="*/ 5183623 w 8079933"/>
              <a:gd name="connsiteY44748" fmla="*/ 914454 h 4687251"/>
              <a:gd name="connsiteX44749" fmla="*/ 5181995 w 8079933"/>
              <a:gd name="connsiteY44749" fmla="*/ 906334 h 4687251"/>
              <a:gd name="connsiteX44750" fmla="*/ 5178414 w 8079933"/>
              <a:gd name="connsiteY44750" fmla="*/ 903085 h 4687251"/>
              <a:gd name="connsiteX44751" fmla="*/ 5174399 w 8079933"/>
              <a:gd name="connsiteY44751" fmla="*/ 892258 h 4687251"/>
              <a:gd name="connsiteX44752" fmla="*/ 5174399 w 8079933"/>
              <a:gd name="connsiteY44752" fmla="*/ 888685 h 4687251"/>
              <a:gd name="connsiteX44753" fmla="*/ 5177654 w 8079933"/>
              <a:gd name="connsiteY44753" fmla="*/ 891175 h 4687251"/>
              <a:gd name="connsiteX44754" fmla="*/ 5181452 w 8079933"/>
              <a:gd name="connsiteY44754" fmla="*/ 887711 h 4687251"/>
              <a:gd name="connsiteX44755" fmla="*/ 5181452 w 8079933"/>
              <a:gd name="connsiteY44755" fmla="*/ 882298 h 4687251"/>
              <a:gd name="connsiteX44756" fmla="*/ 5174181 w 8079933"/>
              <a:gd name="connsiteY44756" fmla="*/ 877100 h 4687251"/>
              <a:gd name="connsiteX44757" fmla="*/ 5174181 w 8079933"/>
              <a:gd name="connsiteY44757" fmla="*/ 871145 h 4687251"/>
              <a:gd name="connsiteX44758" fmla="*/ 5177654 w 8079933"/>
              <a:gd name="connsiteY44758" fmla="*/ 866598 h 4687251"/>
              <a:gd name="connsiteX44759" fmla="*/ 5181127 w 8079933"/>
              <a:gd name="connsiteY44759" fmla="*/ 867465 h 4687251"/>
              <a:gd name="connsiteX44760" fmla="*/ 5176786 w 8079933"/>
              <a:gd name="connsiteY44760" fmla="*/ 863458 h 4687251"/>
              <a:gd name="connsiteX44761" fmla="*/ 5171360 w 8079933"/>
              <a:gd name="connsiteY44761" fmla="*/ 863458 h 4687251"/>
              <a:gd name="connsiteX44762" fmla="*/ 5167888 w 8079933"/>
              <a:gd name="connsiteY44762" fmla="*/ 854796 h 4687251"/>
              <a:gd name="connsiteX44763" fmla="*/ 5164632 w 8079933"/>
              <a:gd name="connsiteY44763" fmla="*/ 851765 h 4687251"/>
              <a:gd name="connsiteX44764" fmla="*/ 5160834 w 8079933"/>
              <a:gd name="connsiteY44764" fmla="*/ 854688 h 4687251"/>
              <a:gd name="connsiteX44765" fmla="*/ 5155083 w 8079933"/>
              <a:gd name="connsiteY44765" fmla="*/ 849274 h 4687251"/>
              <a:gd name="connsiteX44766" fmla="*/ 5155843 w 8079933"/>
              <a:gd name="connsiteY44766" fmla="*/ 841371 h 4687251"/>
              <a:gd name="connsiteX44767" fmla="*/ 5158555 w 8079933"/>
              <a:gd name="connsiteY44767" fmla="*/ 837257 h 4687251"/>
              <a:gd name="connsiteX44768" fmla="*/ 5155516 w 8079933"/>
              <a:gd name="connsiteY44768" fmla="*/ 832601 h 4687251"/>
              <a:gd name="connsiteX44769" fmla="*/ 5154648 w 8079933"/>
              <a:gd name="connsiteY44769" fmla="*/ 828595 h 4687251"/>
              <a:gd name="connsiteX44770" fmla="*/ 5157904 w 8079933"/>
              <a:gd name="connsiteY44770" fmla="*/ 826430 h 4687251"/>
              <a:gd name="connsiteX44771" fmla="*/ 5166260 w 8079933"/>
              <a:gd name="connsiteY44771" fmla="*/ 813437 h 4687251"/>
              <a:gd name="connsiteX44772" fmla="*/ 5171468 w 8079933"/>
              <a:gd name="connsiteY44772" fmla="*/ 809864 h 4687251"/>
              <a:gd name="connsiteX44773" fmla="*/ 5172880 w 8079933"/>
              <a:gd name="connsiteY44773" fmla="*/ 806941 h 4687251"/>
              <a:gd name="connsiteX44774" fmla="*/ 5170709 w 8079933"/>
              <a:gd name="connsiteY44774" fmla="*/ 800986 h 4687251"/>
              <a:gd name="connsiteX44775" fmla="*/ 5170709 w 8079933"/>
              <a:gd name="connsiteY44775" fmla="*/ 796438 h 4687251"/>
              <a:gd name="connsiteX44776" fmla="*/ 5173964 w 8079933"/>
              <a:gd name="connsiteY44776" fmla="*/ 790483 h 4687251"/>
              <a:gd name="connsiteX44777" fmla="*/ 5170383 w 8079933"/>
              <a:gd name="connsiteY44777" fmla="*/ 784854 h 4687251"/>
              <a:gd name="connsiteX44778" fmla="*/ 5170383 w 8079933"/>
              <a:gd name="connsiteY44778" fmla="*/ 777599 h 4687251"/>
              <a:gd name="connsiteX44779" fmla="*/ 5172228 w 8079933"/>
              <a:gd name="connsiteY44779" fmla="*/ 773810 h 4687251"/>
              <a:gd name="connsiteX44780" fmla="*/ 5170600 w 8079933"/>
              <a:gd name="connsiteY44780" fmla="*/ 770238 h 4687251"/>
              <a:gd name="connsiteX44781" fmla="*/ 5170600 w 8079933"/>
              <a:gd name="connsiteY44781" fmla="*/ 764607 h 4687251"/>
              <a:gd name="connsiteX44782" fmla="*/ 5167670 w 8079933"/>
              <a:gd name="connsiteY44782" fmla="*/ 761684 h 4687251"/>
              <a:gd name="connsiteX44783" fmla="*/ 5170058 w 8079933"/>
              <a:gd name="connsiteY44783" fmla="*/ 752806 h 4687251"/>
              <a:gd name="connsiteX44784" fmla="*/ 5171686 w 8079933"/>
              <a:gd name="connsiteY44784" fmla="*/ 750965 h 4687251"/>
              <a:gd name="connsiteX44785" fmla="*/ 5167562 w 8079933"/>
              <a:gd name="connsiteY44785" fmla="*/ 745551 h 4687251"/>
              <a:gd name="connsiteX44786" fmla="*/ 5168973 w 8079933"/>
              <a:gd name="connsiteY44786" fmla="*/ 737432 h 4687251"/>
              <a:gd name="connsiteX44787" fmla="*/ 5168213 w 8079933"/>
              <a:gd name="connsiteY44787" fmla="*/ 727471 h 4687251"/>
              <a:gd name="connsiteX44788" fmla="*/ 5172011 w 8079933"/>
              <a:gd name="connsiteY44788" fmla="*/ 726388 h 4687251"/>
              <a:gd name="connsiteX44789" fmla="*/ 5175918 w 8079933"/>
              <a:gd name="connsiteY44789" fmla="*/ 728337 h 4687251"/>
              <a:gd name="connsiteX44790" fmla="*/ 5174290 w 8079933"/>
              <a:gd name="connsiteY44790" fmla="*/ 730502 h 4687251"/>
              <a:gd name="connsiteX44791" fmla="*/ 5175918 w 8079933"/>
              <a:gd name="connsiteY44791" fmla="*/ 732451 h 4687251"/>
              <a:gd name="connsiteX44792" fmla="*/ 5181344 w 8079933"/>
              <a:gd name="connsiteY44792" fmla="*/ 730069 h 4687251"/>
              <a:gd name="connsiteX44793" fmla="*/ 5188072 w 8079933"/>
              <a:gd name="connsiteY44793" fmla="*/ 730069 h 4687251"/>
              <a:gd name="connsiteX44794" fmla="*/ 5194041 w 8079933"/>
              <a:gd name="connsiteY44794" fmla="*/ 727037 h 4687251"/>
              <a:gd name="connsiteX44795" fmla="*/ 5198164 w 8079933"/>
              <a:gd name="connsiteY44795" fmla="*/ 727037 h 4687251"/>
              <a:gd name="connsiteX44796" fmla="*/ 5202287 w 8079933"/>
              <a:gd name="connsiteY44796" fmla="*/ 728986 h 4687251"/>
              <a:gd name="connsiteX44797" fmla="*/ 5205000 w 8079933"/>
              <a:gd name="connsiteY44797" fmla="*/ 726604 h 4687251"/>
              <a:gd name="connsiteX44798" fmla="*/ 5210643 w 8079933"/>
              <a:gd name="connsiteY44798" fmla="*/ 726604 h 4687251"/>
              <a:gd name="connsiteX44799" fmla="*/ 5224968 w 8079933"/>
              <a:gd name="connsiteY44799" fmla="*/ 732343 h 4687251"/>
              <a:gd name="connsiteX44800" fmla="*/ 5231696 w 8079933"/>
              <a:gd name="connsiteY44800" fmla="*/ 732343 h 4687251"/>
              <a:gd name="connsiteX44801" fmla="*/ 5236579 w 8079933"/>
              <a:gd name="connsiteY44801" fmla="*/ 733426 h 4687251"/>
              <a:gd name="connsiteX44802" fmla="*/ 5238424 w 8079933"/>
              <a:gd name="connsiteY44802" fmla="*/ 737756 h 4687251"/>
              <a:gd name="connsiteX44803" fmla="*/ 5234626 w 8079933"/>
              <a:gd name="connsiteY44803" fmla="*/ 739380 h 4687251"/>
              <a:gd name="connsiteX44804" fmla="*/ 5237664 w 8079933"/>
              <a:gd name="connsiteY44804" fmla="*/ 744794 h 4687251"/>
              <a:gd name="connsiteX44805" fmla="*/ 5237664 w 8079933"/>
              <a:gd name="connsiteY44805" fmla="*/ 750532 h 4687251"/>
              <a:gd name="connsiteX44806" fmla="*/ 5240160 w 8079933"/>
              <a:gd name="connsiteY44806" fmla="*/ 753239 h 4687251"/>
              <a:gd name="connsiteX44807" fmla="*/ 5240160 w 8079933"/>
              <a:gd name="connsiteY44807" fmla="*/ 761684 h 4687251"/>
              <a:gd name="connsiteX44808" fmla="*/ 5243198 w 8079933"/>
              <a:gd name="connsiteY44808" fmla="*/ 769046 h 4687251"/>
              <a:gd name="connsiteX44809" fmla="*/ 5241028 w 8079933"/>
              <a:gd name="connsiteY44809" fmla="*/ 782038 h 4687251"/>
              <a:gd name="connsiteX44810" fmla="*/ 5243524 w 8079933"/>
              <a:gd name="connsiteY44810" fmla="*/ 785828 h 4687251"/>
              <a:gd name="connsiteX44811" fmla="*/ 5242439 w 8079933"/>
              <a:gd name="connsiteY44811" fmla="*/ 789076 h 4687251"/>
              <a:gd name="connsiteX44812" fmla="*/ 5244609 w 8079933"/>
              <a:gd name="connsiteY44812" fmla="*/ 793082 h 4687251"/>
              <a:gd name="connsiteX44813" fmla="*/ 5243307 w 8079933"/>
              <a:gd name="connsiteY44813" fmla="*/ 797630 h 4687251"/>
              <a:gd name="connsiteX44814" fmla="*/ 5240377 w 8079933"/>
              <a:gd name="connsiteY44814" fmla="*/ 799254 h 4687251"/>
              <a:gd name="connsiteX44815" fmla="*/ 5242222 w 8079933"/>
              <a:gd name="connsiteY44815" fmla="*/ 804884 h 4687251"/>
              <a:gd name="connsiteX44816" fmla="*/ 5247322 w 8079933"/>
              <a:gd name="connsiteY44816" fmla="*/ 809540 h 4687251"/>
              <a:gd name="connsiteX44817" fmla="*/ 5250578 w 8079933"/>
              <a:gd name="connsiteY44817" fmla="*/ 815711 h 4687251"/>
              <a:gd name="connsiteX44818" fmla="*/ 5256221 w 8079933"/>
              <a:gd name="connsiteY44818" fmla="*/ 817335 h 4687251"/>
              <a:gd name="connsiteX44819" fmla="*/ 5256221 w 8079933"/>
              <a:gd name="connsiteY44819" fmla="*/ 818634 h 4687251"/>
              <a:gd name="connsiteX44820" fmla="*/ 5259802 w 8079933"/>
              <a:gd name="connsiteY44820" fmla="*/ 817227 h 4687251"/>
              <a:gd name="connsiteX44821" fmla="*/ 5262297 w 8079933"/>
              <a:gd name="connsiteY44821" fmla="*/ 819284 h 4687251"/>
              <a:gd name="connsiteX44822" fmla="*/ 5264142 w 8079933"/>
              <a:gd name="connsiteY44822" fmla="*/ 827513 h 4687251"/>
              <a:gd name="connsiteX44823" fmla="*/ 5269893 w 8079933"/>
              <a:gd name="connsiteY44823" fmla="*/ 831519 h 4687251"/>
              <a:gd name="connsiteX44824" fmla="*/ 5272932 w 8079933"/>
              <a:gd name="connsiteY44824" fmla="*/ 836390 h 4687251"/>
              <a:gd name="connsiteX44825" fmla="*/ 5274777 w 8079933"/>
              <a:gd name="connsiteY44825" fmla="*/ 851007 h 4687251"/>
              <a:gd name="connsiteX44826" fmla="*/ 5278792 w 8079933"/>
              <a:gd name="connsiteY44826" fmla="*/ 855121 h 4687251"/>
              <a:gd name="connsiteX44827" fmla="*/ 5278792 w 8079933"/>
              <a:gd name="connsiteY44827" fmla="*/ 858370 h 4687251"/>
              <a:gd name="connsiteX44828" fmla="*/ 5277381 w 8079933"/>
              <a:gd name="connsiteY44828" fmla="*/ 861834 h 4687251"/>
              <a:gd name="connsiteX44829" fmla="*/ 5282481 w 8079933"/>
              <a:gd name="connsiteY44829" fmla="*/ 867465 h 4687251"/>
              <a:gd name="connsiteX44830" fmla="*/ 5282481 w 8079933"/>
              <a:gd name="connsiteY44830" fmla="*/ 874718 h 4687251"/>
              <a:gd name="connsiteX44831" fmla="*/ 5289861 w 8079933"/>
              <a:gd name="connsiteY44831" fmla="*/ 885545 h 4687251"/>
              <a:gd name="connsiteX44832" fmla="*/ 5288016 w 8079933"/>
              <a:gd name="connsiteY44832" fmla="*/ 891826 h 4687251"/>
              <a:gd name="connsiteX44833" fmla="*/ 5290946 w 8079933"/>
              <a:gd name="connsiteY44833" fmla="*/ 897022 h 4687251"/>
              <a:gd name="connsiteX44834" fmla="*/ 5296046 w 8079933"/>
              <a:gd name="connsiteY44834" fmla="*/ 900053 h 4687251"/>
              <a:gd name="connsiteX44835" fmla="*/ 5293550 w 8079933"/>
              <a:gd name="connsiteY44835" fmla="*/ 904168 h 4687251"/>
              <a:gd name="connsiteX44836" fmla="*/ 5296263 w 8079933"/>
              <a:gd name="connsiteY44836" fmla="*/ 906658 h 4687251"/>
              <a:gd name="connsiteX44837" fmla="*/ 5298216 w 8079933"/>
              <a:gd name="connsiteY44837" fmla="*/ 916728 h 4687251"/>
              <a:gd name="connsiteX44838" fmla="*/ 5307766 w 8079933"/>
              <a:gd name="connsiteY44838" fmla="*/ 928962 h 4687251"/>
              <a:gd name="connsiteX44839" fmla="*/ 5315362 w 8079933"/>
              <a:gd name="connsiteY44839" fmla="*/ 931452 h 4687251"/>
              <a:gd name="connsiteX44840" fmla="*/ 5318617 w 8079933"/>
              <a:gd name="connsiteY44840" fmla="*/ 935458 h 4687251"/>
              <a:gd name="connsiteX44841" fmla="*/ 5322090 w 8079933"/>
              <a:gd name="connsiteY44841" fmla="*/ 936216 h 4687251"/>
              <a:gd name="connsiteX44842" fmla="*/ 5329361 w 8079933"/>
              <a:gd name="connsiteY44842" fmla="*/ 943254 h 4687251"/>
              <a:gd name="connsiteX44843" fmla="*/ 5329361 w 8079933"/>
              <a:gd name="connsiteY44843" fmla="*/ 947043 h 4687251"/>
              <a:gd name="connsiteX44844" fmla="*/ 5326973 w 8079933"/>
              <a:gd name="connsiteY44844" fmla="*/ 946177 h 4687251"/>
              <a:gd name="connsiteX44845" fmla="*/ 5326973 w 8079933"/>
              <a:gd name="connsiteY44845" fmla="*/ 951374 h 4687251"/>
              <a:gd name="connsiteX44846" fmla="*/ 5325671 w 8079933"/>
              <a:gd name="connsiteY44846" fmla="*/ 957870 h 4687251"/>
              <a:gd name="connsiteX44847" fmla="*/ 5328709 w 8079933"/>
              <a:gd name="connsiteY44847" fmla="*/ 966856 h 4687251"/>
              <a:gd name="connsiteX44848" fmla="*/ 5334135 w 8079933"/>
              <a:gd name="connsiteY44848" fmla="*/ 972270 h 4687251"/>
              <a:gd name="connsiteX44849" fmla="*/ 5334895 w 8079933"/>
              <a:gd name="connsiteY44849" fmla="*/ 979632 h 4687251"/>
              <a:gd name="connsiteX44850" fmla="*/ 5330554 w 8079933"/>
              <a:gd name="connsiteY44850" fmla="*/ 983422 h 4687251"/>
              <a:gd name="connsiteX44851" fmla="*/ 5330554 w 8079933"/>
              <a:gd name="connsiteY44851" fmla="*/ 985804 h 4687251"/>
              <a:gd name="connsiteX44852" fmla="*/ 5327299 w 8079933"/>
              <a:gd name="connsiteY44852" fmla="*/ 989810 h 4687251"/>
              <a:gd name="connsiteX44853" fmla="*/ 5329252 w 8079933"/>
              <a:gd name="connsiteY44853" fmla="*/ 992517 h 4687251"/>
              <a:gd name="connsiteX44854" fmla="*/ 5329252 w 8079933"/>
              <a:gd name="connsiteY44854" fmla="*/ 1002803 h 4687251"/>
              <a:gd name="connsiteX44855" fmla="*/ 5324043 w 8079933"/>
              <a:gd name="connsiteY44855" fmla="*/ 1005509 h 4687251"/>
              <a:gd name="connsiteX44856" fmla="*/ 5325128 w 8079933"/>
              <a:gd name="connsiteY44856" fmla="*/ 1007458 h 4687251"/>
              <a:gd name="connsiteX44857" fmla="*/ 5328709 w 8079933"/>
              <a:gd name="connsiteY44857" fmla="*/ 1006592 h 4687251"/>
              <a:gd name="connsiteX44858" fmla="*/ 5329469 w 8079933"/>
              <a:gd name="connsiteY44858" fmla="*/ 1009299 h 4687251"/>
              <a:gd name="connsiteX44859" fmla="*/ 5323827 w 8079933"/>
              <a:gd name="connsiteY44859" fmla="*/ 1012547 h 4687251"/>
              <a:gd name="connsiteX44860" fmla="*/ 5323827 w 8079933"/>
              <a:gd name="connsiteY44860" fmla="*/ 1022507 h 4687251"/>
              <a:gd name="connsiteX44861" fmla="*/ 5321656 w 8079933"/>
              <a:gd name="connsiteY44861" fmla="*/ 1025539 h 4687251"/>
              <a:gd name="connsiteX44862" fmla="*/ 5315688 w 8079933"/>
              <a:gd name="connsiteY44862" fmla="*/ 1022616 h 4687251"/>
              <a:gd name="connsiteX44863" fmla="*/ 5315688 w 8079933"/>
              <a:gd name="connsiteY44863" fmla="*/ 1025864 h 4687251"/>
              <a:gd name="connsiteX44864" fmla="*/ 5320570 w 8079933"/>
              <a:gd name="connsiteY44864" fmla="*/ 1031278 h 4687251"/>
              <a:gd name="connsiteX44865" fmla="*/ 5320570 w 8079933"/>
              <a:gd name="connsiteY44865" fmla="*/ 1034851 h 4687251"/>
              <a:gd name="connsiteX44866" fmla="*/ 5315470 w 8079933"/>
              <a:gd name="connsiteY44866" fmla="*/ 1037233 h 4687251"/>
              <a:gd name="connsiteX44867" fmla="*/ 5311889 w 8079933"/>
              <a:gd name="connsiteY44867" fmla="*/ 1041888 h 4687251"/>
              <a:gd name="connsiteX44868" fmla="*/ 5302991 w 8079933"/>
              <a:gd name="connsiteY44868" fmla="*/ 1042429 h 4687251"/>
              <a:gd name="connsiteX44869" fmla="*/ 5298433 w 8079933"/>
              <a:gd name="connsiteY44869" fmla="*/ 1038640 h 4687251"/>
              <a:gd name="connsiteX44870" fmla="*/ 5305704 w 8079933"/>
              <a:gd name="connsiteY44870" fmla="*/ 1034634 h 4687251"/>
              <a:gd name="connsiteX44871" fmla="*/ 5305704 w 8079933"/>
              <a:gd name="connsiteY44871" fmla="*/ 1031061 h 4687251"/>
              <a:gd name="connsiteX44872" fmla="*/ 5301363 w 8079933"/>
              <a:gd name="connsiteY44872" fmla="*/ 1031061 h 4687251"/>
              <a:gd name="connsiteX44873" fmla="*/ 5300170 w 8079933"/>
              <a:gd name="connsiteY44873" fmla="*/ 1034092 h 4687251"/>
              <a:gd name="connsiteX44874" fmla="*/ 5296697 w 8079933"/>
              <a:gd name="connsiteY44874" fmla="*/ 1034092 h 4687251"/>
              <a:gd name="connsiteX44875" fmla="*/ 5285845 w 8079933"/>
              <a:gd name="connsiteY44875" fmla="*/ 1027921 h 4687251"/>
              <a:gd name="connsiteX44876" fmla="*/ 5283458 w 8079933"/>
              <a:gd name="connsiteY44876" fmla="*/ 1030953 h 4687251"/>
              <a:gd name="connsiteX44877" fmla="*/ 5269893 w 8079933"/>
              <a:gd name="connsiteY44877" fmla="*/ 1032794 h 4687251"/>
              <a:gd name="connsiteX44878" fmla="*/ 5262840 w 8079933"/>
              <a:gd name="connsiteY44878" fmla="*/ 1033335 h 4687251"/>
              <a:gd name="connsiteX44879" fmla="*/ 5259367 w 8079933"/>
              <a:gd name="connsiteY44879" fmla="*/ 1039614 h 4687251"/>
              <a:gd name="connsiteX44880" fmla="*/ 5262623 w 8079933"/>
              <a:gd name="connsiteY44880" fmla="*/ 1040156 h 4687251"/>
              <a:gd name="connsiteX44881" fmla="*/ 5264250 w 8079933"/>
              <a:gd name="connsiteY44881" fmla="*/ 1041996 h 4687251"/>
              <a:gd name="connsiteX44882" fmla="*/ 5266963 w 8079933"/>
              <a:gd name="connsiteY44882" fmla="*/ 1037449 h 4687251"/>
              <a:gd name="connsiteX44883" fmla="*/ 5274342 w 8079933"/>
              <a:gd name="connsiteY44883" fmla="*/ 1036041 h 4687251"/>
              <a:gd name="connsiteX44884" fmla="*/ 5276513 w 8079933"/>
              <a:gd name="connsiteY44884" fmla="*/ 1040698 h 4687251"/>
              <a:gd name="connsiteX44885" fmla="*/ 5282807 w 8079933"/>
              <a:gd name="connsiteY44885" fmla="*/ 1046652 h 4687251"/>
              <a:gd name="connsiteX44886" fmla="*/ 5300495 w 8079933"/>
              <a:gd name="connsiteY44886" fmla="*/ 1049575 h 4687251"/>
              <a:gd name="connsiteX44887" fmla="*/ 5308091 w 8079933"/>
              <a:gd name="connsiteY44887" fmla="*/ 1051741 h 4687251"/>
              <a:gd name="connsiteX44888" fmla="*/ 5316990 w 8079933"/>
              <a:gd name="connsiteY44888" fmla="*/ 1050333 h 4687251"/>
              <a:gd name="connsiteX44889" fmla="*/ 5325345 w 8079933"/>
              <a:gd name="connsiteY44889" fmla="*/ 1050333 h 4687251"/>
              <a:gd name="connsiteX44890" fmla="*/ 5326973 w 8079933"/>
              <a:gd name="connsiteY44890" fmla="*/ 1052824 h 4687251"/>
              <a:gd name="connsiteX44891" fmla="*/ 5336197 w 8079933"/>
              <a:gd name="connsiteY44891" fmla="*/ 1054772 h 4687251"/>
              <a:gd name="connsiteX44892" fmla="*/ 5343468 w 8079933"/>
              <a:gd name="connsiteY44892" fmla="*/ 1050658 h 4687251"/>
              <a:gd name="connsiteX44893" fmla="*/ 5343468 w 8079933"/>
              <a:gd name="connsiteY44893" fmla="*/ 1046002 h 4687251"/>
              <a:gd name="connsiteX44894" fmla="*/ 5340538 w 8079933"/>
              <a:gd name="connsiteY44894" fmla="*/ 1042537 h 4687251"/>
              <a:gd name="connsiteX44895" fmla="*/ 5340538 w 8079933"/>
              <a:gd name="connsiteY44895" fmla="*/ 1036583 h 4687251"/>
              <a:gd name="connsiteX44896" fmla="*/ 5343576 w 8079933"/>
              <a:gd name="connsiteY44896" fmla="*/ 1032469 h 4687251"/>
              <a:gd name="connsiteX44897" fmla="*/ 5348134 w 8079933"/>
              <a:gd name="connsiteY44897" fmla="*/ 1030303 h 4687251"/>
              <a:gd name="connsiteX44898" fmla="*/ 5348134 w 8079933"/>
              <a:gd name="connsiteY44898" fmla="*/ 1026839 h 4687251"/>
              <a:gd name="connsiteX44899" fmla="*/ 5354863 w 8079933"/>
              <a:gd name="connsiteY44899" fmla="*/ 1020125 h 4687251"/>
              <a:gd name="connsiteX44900" fmla="*/ 5354863 w 8079933"/>
              <a:gd name="connsiteY44900" fmla="*/ 1015795 h 4687251"/>
              <a:gd name="connsiteX44901" fmla="*/ 5358985 w 8079933"/>
              <a:gd name="connsiteY44901" fmla="*/ 1004968 h 4687251"/>
              <a:gd name="connsiteX44902" fmla="*/ 5354863 w 8079933"/>
              <a:gd name="connsiteY44902" fmla="*/ 997931 h 4687251"/>
              <a:gd name="connsiteX44903" fmla="*/ 5356164 w 8079933"/>
              <a:gd name="connsiteY44903" fmla="*/ 990026 h 4687251"/>
              <a:gd name="connsiteX44904" fmla="*/ 5363543 w 8079933"/>
              <a:gd name="connsiteY44904" fmla="*/ 977034 h 4687251"/>
              <a:gd name="connsiteX44905" fmla="*/ 5364303 w 8079933"/>
              <a:gd name="connsiteY44905" fmla="*/ 972703 h 4687251"/>
              <a:gd name="connsiteX44906" fmla="*/ 5357032 w 8079933"/>
              <a:gd name="connsiteY44906" fmla="*/ 955163 h 4687251"/>
              <a:gd name="connsiteX44907" fmla="*/ 5347049 w 8079933"/>
              <a:gd name="connsiteY44907" fmla="*/ 949425 h 4687251"/>
              <a:gd name="connsiteX44908" fmla="*/ 5344119 w 8079933"/>
              <a:gd name="connsiteY44908" fmla="*/ 945311 h 4687251"/>
              <a:gd name="connsiteX44909" fmla="*/ 5343360 w 8079933"/>
              <a:gd name="connsiteY44909" fmla="*/ 931561 h 4687251"/>
              <a:gd name="connsiteX44910" fmla="*/ 5350738 w 8079933"/>
              <a:gd name="connsiteY44910" fmla="*/ 925822 h 4687251"/>
              <a:gd name="connsiteX44911" fmla="*/ 5354536 w 8079933"/>
              <a:gd name="connsiteY44911" fmla="*/ 920192 h 4687251"/>
              <a:gd name="connsiteX44912" fmla="*/ 5360830 w 8079933"/>
              <a:gd name="connsiteY44912" fmla="*/ 919326 h 4687251"/>
              <a:gd name="connsiteX44913" fmla="*/ 5370597 w 8079933"/>
              <a:gd name="connsiteY44913" fmla="*/ 909906 h 4687251"/>
              <a:gd name="connsiteX44914" fmla="*/ 5377108 w 8079933"/>
              <a:gd name="connsiteY44914" fmla="*/ 909906 h 4687251"/>
              <a:gd name="connsiteX44915" fmla="*/ 5384704 w 8079933"/>
              <a:gd name="connsiteY44915" fmla="*/ 917269 h 4687251"/>
              <a:gd name="connsiteX44916" fmla="*/ 5384704 w 8079933"/>
              <a:gd name="connsiteY44916" fmla="*/ 923765 h 4687251"/>
              <a:gd name="connsiteX44917" fmla="*/ 5392517 w 8079933"/>
              <a:gd name="connsiteY44917" fmla="*/ 927554 h 4687251"/>
              <a:gd name="connsiteX44918" fmla="*/ 5394362 w 8079933"/>
              <a:gd name="connsiteY44918" fmla="*/ 930911 h 4687251"/>
              <a:gd name="connsiteX44919" fmla="*/ 5396532 w 8079933"/>
              <a:gd name="connsiteY44919" fmla="*/ 930911 h 4687251"/>
              <a:gd name="connsiteX44920" fmla="*/ 5402501 w 8079933"/>
              <a:gd name="connsiteY44920" fmla="*/ 938273 h 4687251"/>
              <a:gd name="connsiteX44921" fmla="*/ 5401633 w 8079933"/>
              <a:gd name="connsiteY44921" fmla="*/ 944012 h 4687251"/>
              <a:gd name="connsiteX44922" fmla="*/ 5405756 w 8079933"/>
              <a:gd name="connsiteY44922" fmla="*/ 946718 h 4687251"/>
              <a:gd name="connsiteX44923" fmla="*/ 5407058 w 8079933"/>
              <a:gd name="connsiteY44923" fmla="*/ 952132 h 4687251"/>
              <a:gd name="connsiteX44924" fmla="*/ 5411507 w 8079933"/>
              <a:gd name="connsiteY44924" fmla="*/ 957762 h 4687251"/>
              <a:gd name="connsiteX44925" fmla="*/ 5412376 w 8079933"/>
              <a:gd name="connsiteY44925" fmla="*/ 963717 h 4687251"/>
              <a:gd name="connsiteX44926" fmla="*/ 5409989 w 8079933"/>
              <a:gd name="connsiteY44926" fmla="*/ 965882 h 4687251"/>
              <a:gd name="connsiteX44927" fmla="*/ 5413569 w 8079933"/>
              <a:gd name="connsiteY44927" fmla="*/ 971296 h 4687251"/>
              <a:gd name="connsiteX44928" fmla="*/ 5419321 w 8079933"/>
              <a:gd name="connsiteY44928" fmla="*/ 971296 h 4687251"/>
              <a:gd name="connsiteX44929" fmla="*/ 5425614 w 8079933"/>
              <a:gd name="connsiteY44929" fmla="*/ 975843 h 4687251"/>
              <a:gd name="connsiteX44930" fmla="*/ 5432126 w 8079933"/>
              <a:gd name="connsiteY44930" fmla="*/ 974436 h 4687251"/>
              <a:gd name="connsiteX44931" fmla="*/ 5436141 w 8079933"/>
              <a:gd name="connsiteY44931" fmla="*/ 973136 h 4687251"/>
              <a:gd name="connsiteX44932" fmla="*/ 5443411 w 8079933"/>
              <a:gd name="connsiteY44932" fmla="*/ 972378 h 4687251"/>
              <a:gd name="connsiteX44933" fmla="*/ 5445040 w 8079933"/>
              <a:gd name="connsiteY44933" fmla="*/ 969672 h 4687251"/>
              <a:gd name="connsiteX44934" fmla="*/ 5447753 w 8079933"/>
              <a:gd name="connsiteY44934" fmla="*/ 968048 h 4687251"/>
              <a:gd name="connsiteX44935" fmla="*/ 5444496 w 8079933"/>
              <a:gd name="connsiteY44935" fmla="*/ 966748 h 4687251"/>
              <a:gd name="connsiteX44936" fmla="*/ 5439830 w 8079933"/>
              <a:gd name="connsiteY44936" fmla="*/ 968048 h 4687251"/>
              <a:gd name="connsiteX44937" fmla="*/ 5438203 w 8079933"/>
              <a:gd name="connsiteY44937" fmla="*/ 964475 h 4687251"/>
              <a:gd name="connsiteX44938" fmla="*/ 5434622 w 8079933"/>
              <a:gd name="connsiteY44938" fmla="*/ 970646 h 4687251"/>
              <a:gd name="connsiteX44939" fmla="*/ 5427785 w 8079933"/>
              <a:gd name="connsiteY44939" fmla="*/ 970646 h 4687251"/>
              <a:gd name="connsiteX44940" fmla="*/ 5424746 w 8079933"/>
              <a:gd name="connsiteY44940" fmla="*/ 966315 h 4687251"/>
              <a:gd name="connsiteX44941" fmla="*/ 5419321 w 8079933"/>
              <a:gd name="connsiteY44941" fmla="*/ 966315 h 4687251"/>
              <a:gd name="connsiteX44942" fmla="*/ 5416391 w 8079933"/>
              <a:gd name="connsiteY44942" fmla="*/ 961985 h 4687251"/>
              <a:gd name="connsiteX44943" fmla="*/ 5418018 w 8079933"/>
              <a:gd name="connsiteY44943" fmla="*/ 957979 h 4687251"/>
              <a:gd name="connsiteX44944" fmla="*/ 5415089 w 8079933"/>
              <a:gd name="connsiteY44944" fmla="*/ 956138 h 4687251"/>
              <a:gd name="connsiteX44945" fmla="*/ 5411616 w 8079933"/>
              <a:gd name="connsiteY44945" fmla="*/ 949317 h 4687251"/>
              <a:gd name="connsiteX44946" fmla="*/ 5411616 w 8079933"/>
              <a:gd name="connsiteY44946" fmla="*/ 941413 h 4687251"/>
              <a:gd name="connsiteX44947" fmla="*/ 5416282 w 8079933"/>
              <a:gd name="connsiteY44947" fmla="*/ 940114 h 4687251"/>
              <a:gd name="connsiteX44948" fmla="*/ 5420080 w 8079933"/>
              <a:gd name="connsiteY44948" fmla="*/ 936865 h 4687251"/>
              <a:gd name="connsiteX44949" fmla="*/ 5416608 w 8079933"/>
              <a:gd name="connsiteY44949" fmla="*/ 934159 h 4687251"/>
              <a:gd name="connsiteX44950" fmla="*/ 5415523 w 8079933"/>
              <a:gd name="connsiteY44950" fmla="*/ 930369 h 4687251"/>
              <a:gd name="connsiteX44951" fmla="*/ 5414112 w 8079933"/>
              <a:gd name="connsiteY44951" fmla="*/ 929503 h 4687251"/>
              <a:gd name="connsiteX44952" fmla="*/ 5412485 w 8079933"/>
              <a:gd name="connsiteY44952" fmla="*/ 925714 h 4687251"/>
              <a:gd name="connsiteX44953" fmla="*/ 5405214 w 8079933"/>
              <a:gd name="connsiteY44953" fmla="*/ 921600 h 4687251"/>
              <a:gd name="connsiteX44954" fmla="*/ 5405214 w 8079933"/>
              <a:gd name="connsiteY44954" fmla="*/ 917810 h 4687251"/>
              <a:gd name="connsiteX44955" fmla="*/ 5399788 w 8079933"/>
              <a:gd name="connsiteY44955" fmla="*/ 910556 h 4687251"/>
              <a:gd name="connsiteX44956" fmla="*/ 5391649 w 8079933"/>
              <a:gd name="connsiteY44956" fmla="*/ 910556 h 4687251"/>
              <a:gd name="connsiteX44957" fmla="*/ 5380798 w 8079933"/>
              <a:gd name="connsiteY44957" fmla="*/ 905900 h 4687251"/>
              <a:gd name="connsiteX44958" fmla="*/ 5377868 w 8079933"/>
              <a:gd name="connsiteY44958" fmla="*/ 900487 h 4687251"/>
              <a:gd name="connsiteX44959" fmla="*/ 5372767 w 8079933"/>
              <a:gd name="connsiteY44959" fmla="*/ 902328 h 4687251"/>
              <a:gd name="connsiteX44960" fmla="*/ 5364086 w 8079933"/>
              <a:gd name="connsiteY44960" fmla="*/ 897239 h 4687251"/>
              <a:gd name="connsiteX44961" fmla="*/ 5359962 w 8079933"/>
              <a:gd name="connsiteY44961" fmla="*/ 898646 h 4687251"/>
              <a:gd name="connsiteX44962" fmla="*/ 5353994 w 8079933"/>
              <a:gd name="connsiteY44962" fmla="*/ 896806 h 4687251"/>
              <a:gd name="connsiteX44963" fmla="*/ 5348243 w 8079933"/>
              <a:gd name="connsiteY44963" fmla="*/ 902761 h 4687251"/>
              <a:gd name="connsiteX44964" fmla="*/ 5346614 w 8079933"/>
              <a:gd name="connsiteY44964" fmla="*/ 909257 h 4687251"/>
              <a:gd name="connsiteX44965" fmla="*/ 5343360 w 8079933"/>
              <a:gd name="connsiteY44965" fmla="*/ 911963 h 4687251"/>
              <a:gd name="connsiteX44966" fmla="*/ 5334895 w 8079933"/>
              <a:gd name="connsiteY44966" fmla="*/ 909257 h 4687251"/>
              <a:gd name="connsiteX44967" fmla="*/ 5327841 w 8079933"/>
              <a:gd name="connsiteY44967" fmla="*/ 913587 h 4687251"/>
              <a:gd name="connsiteX44968" fmla="*/ 5321114 w 8079933"/>
              <a:gd name="connsiteY44968" fmla="*/ 911639 h 4687251"/>
              <a:gd name="connsiteX44969" fmla="*/ 5318617 w 8079933"/>
              <a:gd name="connsiteY44969" fmla="*/ 908391 h 4687251"/>
              <a:gd name="connsiteX44970" fmla="*/ 5319377 w 8079933"/>
              <a:gd name="connsiteY44970" fmla="*/ 902219 h 4687251"/>
              <a:gd name="connsiteX44971" fmla="*/ 5318617 w 8079933"/>
              <a:gd name="connsiteY44971" fmla="*/ 897130 h 4687251"/>
              <a:gd name="connsiteX44972" fmla="*/ 5309611 w 8079933"/>
              <a:gd name="connsiteY44972" fmla="*/ 887711 h 4687251"/>
              <a:gd name="connsiteX44973" fmla="*/ 5306681 w 8079933"/>
              <a:gd name="connsiteY44973" fmla="*/ 882080 h 4687251"/>
              <a:gd name="connsiteX44974" fmla="*/ 5307549 w 8079933"/>
              <a:gd name="connsiteY44974" fmla="*/ 871254 h 4687251"/>
              <a:gd name="connsiteX44975" fmla="*/ 5302123 w 8079933"/>
              <a:gd name="connsiteY44975" fmla="*/ 862809 h 4687251"/>
              <a:gd name="connsiteX44976" fmla="*/ 5303425 w 8079933"/>
              <a:gd name="connsiteY44976" fmla="*/ 856854 h 4687251"/>
              <a:gd name="connsiteX44977" fmla="*/ 5304836 w 8079933"/>
              <a:gd name="connsiteY44977" fmla="*/ 841371 h 4687251"/>
              <a:gd name="connsiteX44978" fmla="*/ 5300495 w 8079933"/>
              <a:gd name="connsiteY44978" fmla="*/ 831627 h 4687251"/>
              <a:gd name="connsiteX44979" fmla="*/ 5295286 w 8079933"/>
              <a:gd name="connsiteY44979" fmla="*/ 825997 h 4687251"/>
              <a:gd name="connsiteX44980" fmla="*/ 5289101 w 8079933"/>
              <a:gd name="connsiteY44980" fmla="*/ 825997 h 4687251"/>
              <a:gd name="connsiteX44981" fmla="*/ 5286713 w 8079933"/>
              <a:gd name="connsiteY44981" fmla="*/ 819284 h 4687251"/>
              <a:gd name="connsiteX44982" fmla="*/ 5275862 w 8079933"/>
              <a:gd name="connsiteY44982" fmla="*/ 809864 h 4687251"/>
              <a:gd name="connsiteX44983" fmla="*/ 5266855 w 8079933"/>
              <a:gd name="connsiteY44983" fmla="*/ 804776 h 4687251"/>
              <a:gd name="connsiteX44984" fmla="*/ 5266855 w 8079933"/>
              <a:gd name="connsiteY44984" fmla="*/ 798821 h 4687251"/>
              <a:gd name="connsiteX44985" fmla="*/ 5270111 w 8079933"/>
              <a:gd name="connsiteY44985" fmla="*/ 789618 h 4687251"/>
              <a:gd name="connsiteX44986" fmla="*/ 5268700 w 8079933"/>
              <a:gd name="connsiteY44986" fmla="*/ 782256 h 4687251"/>
              <a:gd name="connsiteX44987" fmla="*/ 5265119 w 8079933"/>
              <a:gd name="connsiteY44987" fmla="*/ 778791 h 4687251"/>
              <a:gd name="connsiteX44988" fmla="*/ 5265119 w 8079933"/>
              <a:gd name="connsiteY44988" fmla="*/ 776084 h 4687251"/>
              <a:gd name="connsiteX44989" fmla="*/ 5270219 w 8079933"/>
              <a:gd name="connsiteY44989" fmla="*/ 770995 h 4687251"/>
              <a:gd name="connsiteX44990" fmla="*/ 5278140 w 8079933"/>
              <a:gd name="connsiteY44990" fmla="*/ 761792 h 4687251"/>
              <a:gd name="connsiteX44991" fmla="*/ 5280637 w 8079933"/>
              <a:gd name="connsiteY44991" fmla="*/ 750965 h 4687251"/>
              <a:gd name="connsiteX44992" fmla="*/ 5277598 w 8079933"/>
              <a:gd name="connsiteY44992" fmla="*/ 738189 h 4687251"/>
              <a:gd name="connsiteX44993" fmla="*/ 5267506 w 8079933"/>
              <a:gd name="connsiteY44993" fmla="*/ 718917 h 4687251"/>
              <a:gd name="connsiteX44994" fmla="*/ 5270545 w 8079933"/>
              <a:gd name="connsiteY44994" fmla="*/ 717076 h 4687251"/>
              <a:gd name="connsiteX44995" fmla="*/ 5277381 w 8079933"/>
              <a:gd name="connsiteY44995" fmla="*/ 721949 h 4687251"/>
              <a:gd name="connsiteX44996" fmla="*/ 5278466 w 8079933"/>
              <a:gd name="connsiteY44996" fmla="*/ 728228 h 4687251"/>
              <a:gd name="connsiteX44997" fmla="*/ 5281722 w 8079933"/>
              <a:gd name="connsiteY44997" fmla="*/ 729094 h 4687251"/>
              <a:gd name="connsiteX44998" fmla="*/ 5283892 w 8079933"/>
              <a:gd name="connsiteY44998" fmla="*/ 731584 h 4687251"/>
              <a:gd name="connsiteX44999" fmla="*/ 5283892 w 8079933"/>
              <a:gd name="connsiteY44999" fmla="*/ 739163 h 4687251"/>
              <a:gd name="connsiteX45000" fmla="*/ 5289101 w 8079933"/>
              <a:gd name="connsiteY45000" fmla="*/ 744252 h 4687251"/>
              <a:gd name="connsiteX45001" fmla="*/ 5289101 w 8079933"/>
              <a:gd name="connsiteY45001" fmla="*/ 755079 h 4687251"/>
              <a:gd name="connsiteX45002" fmla="*/ 5292899 w 8079933"/>
              <a:gd name="connsiteY45002" fmla="*/ 761575 h 4687251"/>
              <a:gd name="connsiteX45003" fmla="*/ 5290729 w 8079933"/>
              <a:gd name="connsiteY45003" fmla="*/ 767530 h 4687251"/>
              <a:gd name="connsiteX45004" fmla="*/ 5293550 w 8079933"/>
              <a:gd name="connsiteY45004" fmla="*/ 772728 h 4687251"/>
              <a:gd name="connsiteX45005" fmla="*/ 5300820 w 8079933"/>
              <a:gd name="connsiteY45005" fmla="*/ 779007 h 4687251"/>
              <a:gd name="connsiteX45006" fmla="*/ 5300820 w 8079933"/>
              <a:gd name="connsiteY45006" fmla="*/ 783013 h 4687251"/>
              <a:gd name="connsiteX45007" fmla="*/ 5304945 w 8079933"/>
              <a:gd name="connsiteY45007" fmla="*/ 786478 h 4687251"/>
              <a:gd name="connsiteX45008" fmla="*/ 5304945 w 8079933"/>
              <a:gd name="connsiteY45008" fmla="*/ 789942 h 4687251"/>
              <a:gd name="connsiteX45009" fmla="*/ 5300820 w 8079933"/>
              <a:gd name="connsiteY45009" fmla="*/ 792866 h 4687251"/>
              <a:gd name="connsiteX45010" fmla="*/ 5303208 w 8079933"/>
              <a:gd name="connsiteY45010" fmla="*/ 796656 h 4687251"/>
              <a:gd name="connsiteX45011" fmla="*/ 5308959 w 8079933"/>
              <a:gd name="connsiteY45011" fmla="*/ 795573 h 4687251"/>
              <a:gd name="connsiteX45012" fmla="*/ 5315470 w 8079933"/>
              <a:gd name="connsiteY45012" fmla="*/ 799687 h 4687251"/>
              <a:gd name="connsiteX45013" fmla="*/ 5323935 w 8079933"/>
              <a:gd name="connsiteY45013" fmla="*/ 799687 h 4687251"/>
              <a:gd name="connsiteX45014" fmla="*/ 5328493 w 8079933"/>
              <a:gd name="connsiteY45014" fmla="*/ 797738 h 4687251"/>
              <a:gd name="connsiteX45015" fmla="*/ 5332833 w 8079933"/>
              <a:gd name="connsiteY45015" fmla="*/ 800769 h 4687251"/>
              <a:gd name="connsiteX45016" fmla="*/ 5334461 w 8079933"/>
              <a:gd name="connsiteY45016" fmla="*/ 804559 h 4687251"/>
              <a:gd name="connsiteX45017" fmla="*/ 5338802 w 8079933"/>
              <a:gd name="connsiteY45017" fmla="*/ 799362 h 4687251"/>
              <a:gd name="connsiteX45018" fmla="*/ 5344228 w 8079933"/>
              <a:gd name="connsiteY45018" fmla="*/ 799362 h 4687251"/>
              <a:gd name="connsiteX45019" fmla="*/ 5348785 w 8079933"/>
              <a:gd name="connsiteY45019" fmla="*/ 796980 h 4687251"/>
              <a:gd name="connsiteX45020" fmla="*/ 5352909 w 8079933"/>
              <a:gd name="connsiteY45020" fmla="*/ 798063 h 4687251"/>
              <a:gd name="connsiteX45021" fmla="*/ 5359420 w 8079933"/>
              <a:gd name="connsiteY45021" fmla="*/ 805317 h 4687251"/>
              <a:gd name="connsiteX45022" fmla="*/ 5363978 w 8079933"/>
              <a:gd name="connsiteY45022" fmla="*/ 805858 h 4687251"/>
              <a:gd name="connsiteX45023" fmla="*/ 5370271 w 8079933"/>
              <a:gd name="connsiteY45023" fmla="*/ 809431 h 4687251"/>
              <a:gd name="connsiteX45024" fmla="*/ 5380255 w 8079933"/>
              <a:gd name="connsiteY45024" fmla="*/ 807807 h 4687251"/>
              <a:gd name="connsiteX45025" fmla="*/ 5383728 w 8079933"/>
              <a:gd name="connsiteY45025" fmla="*/ 803260 h 4687251"/>
              <a:gd name="connsiteX45026" fmla="*/ 5379604 w 8079933"/>
              <a:gd name="connsiteY45026" fmla="*/ 806183 h 4687251"/>
              <a:gd name="connsiteX45027" fmla="*/ 5369837 w 8079933"/>
              <a:gd name="connsiteY45027" fmla="*/ 805317 h 4687251"/>
              <a:gd name="connsiteX45028" fmla="*/ 5368535 w 8079933"/>
              <a:gd name="connsiteY45028" fmla="*/ 800662 h 4687251"/>
              <a:gd name="connsiteX45029" fmla="*/ 5365497 w 8079933"/>
              <a:gd name="connsiteY45029" fmla="*/ 799579 h 4687251"/>
              <a:gd name="connsiteX45030" fmla="*/ 5362784 w 8079933"/>
              <a:gd name="connsiteY45030" fmla="*/ 792541 h 4687251"/>
              <a:gd name="connsiteX45031" fmla="*/ 5354645 w 8079933"/>
              <a:gd name="connsiteY45031" fmla="*/ 792541 h 4687251"/>
              <a:gd name="connsiteX45032" fmla="*/ 5353777 w 8079933"/>
              <a:gd name="connsiteY45032" fmla="*/ 788752 h 4687251"/>
              <a:gd name="connsiteX45033" fmla="*/ 5351606 w 8079933"/>
              <a:gd name="connsiteY45033" fmla="*/ 788752 h 4687251"/>
              <a:gd name="connsiteX45034" fmla="*/ 5348676 w 8079933"/>
              <a:gd name="connsiteY45034" fmla="*/ 791999 h 4687251"/>
              <a:gd name="connsiteX45035" fmla="*/ 5336957 w 8079933"/>
              <a:gd name="connsiteY45035" fmla="*/ 791134 h 4687251"/>
              <a:gd name="connsiteX45036" fmla="*/ 5332508 w 8079933"/>
              <a:gd name="connsiteY45036" fmla="*/ 787560 h 4687251"/>
              <a:gd name="connsiteX45037" fmla="*/ 5324586 w 8079933"/>
              <a:gd name="connsiteY45037" fmla="*/ 787560 h 4687251"/>
              <a:gd name="connsiteX45038" fmla="*/ 5316230 w 8079933"/>
              <a:gd name="connsiteY45038" fmla="*/ 780306 h 4687251"/>
              <a:gd name="connsiteX45039" fmla="*/ 5314385 w 8079933"/>
              <a:gd name="connsiteY45039" fmla="*/ 774352 h 4687251"/>
              <a:gd name="connsiteX45040" fmla="*/ 5311456 w 8079933"/>
              <a:gd name="connsiteY45040" fmla="*/ 774352 h 4687251"/>
              <a:gd name="connsiteX45041" fmla="*/ 5304185 w 8079933"/>
              <a:gd name="connsiteY45041" fmla="*/ 763524 h 4687251"/>
              <a:gd name="connsiteX45042" fmla="*/ 5307658 w 8079933"/>
              <a:gd name="connsiteY45042" fmla="*/ 762225 h 4687251"/>
              <a:gd name="connsiteX45043" fmla="*/ 5309828 w 8079933"/>
              <a:gd name="connsiteY45043" fmla="*/ 759518 h 4687251"/>
              <a:gd name="connsiteX45044" fmla="*/ 5316556 w 8079933"/>
              <a:gd name="connsiteY45044" fmla="*/ 754646 h 4687251"/>
              <a:gd name="connsiteX45045" fmla="*/ 5319485 w 8079933"/>
              <a:gd name="connsiteY45045" fmla="*/ 754646 h 4687251"/>
              <a:gd name="connsiteX45046" fmla="*/ 5325996 w 8079933"/>
              <a:gd name="connsiteY45046" fmla="*/ 762225 h 4687251"/>
              <a:gd name="connsiteX45047" fmla="*/ 5336848 w 8079933"/>
              <a:gd name="connsiteY45047" fmla="*/ 766773 h 4687251"/>
              <a:gd name="connsiteX45048" fmla="*/ 5343576 w 8079933"/>
              <a:gd name="connsiteY45048" fmla="*/ 765365 h 4687251"/>
              <a:gd name="connsiteX45049" fmla="*/ 5348785 w 8079933"/>
              <a:gd name="connsiteY45049" fmla="*/ 755838 h 4687251"/>
              <a:gd name="connsiteX45050" fmla="*/ 5344445 w 8079933"/>
              <a:gd name="connsiteY45050" fmla="*/ 747175 h 4687251"/>
              <a:gd name="connsiteX45051" fmla="*/ 5335546 w 8079933"/>
              <a:gd name="connsiteY45051" fmla="*/ 745010 h 4687251"/>
              <a:gd name="connsiteX45052" fmla="*/ 5327624 w 8079933"/>
              <a:gd name="connsiteY45052" fmla="*/ 750099 h 4687251"/>
              <a:gd name="connsiteX45053" fmla="*/ 5324586 w 8079933"/>
              <a:gd name="connsiteY45053" fmla="*/ 746634 h 4687251"/>
              <a:gd name="connsiteX45054" fmla="*/ 5325780 w 8079933"/>
              <a:gd name="connsiteY45054" fmla="*/ 743711 h 4687251"/>
              <a:gd name="connsiteX45055" fmla="*/ 5328167 w 8079933"/>
              <a:gd name="connsiteY45055" fmla="*/ 745335 h 4687251"/>
              <a:gd name="connsiteX45056" fmla="*/ 5330880 w 8079933"/>
              <a:gd name="connsiteY45056" fmla="*/ 743494 h 4687251"/>
              <a:gd name="connsiteX45057" fmla="*/ 5331422 w 8079933"/>
              <a:gd name="connsiteY45057" fmla="*/ 738081 h 4687251"/>
              <a:gd name="connsiteX45058" fmla="*/ 5337174 w 8079933"/>
              <a:gd name="connsiteY45058" fmla="*/ 729094 h 4687251"/>
              <a:gd name="connsiteX45059" fmla="*/ 5342600 w 8079933"/>
              <a:gd name="connsiteY45059" fmla="*/ 725846 h 4687251"/>
              <a:gd name="connsiteX45060" fmla="*/ 5347266 w 8079933"/>
              <a:gd name="connsiteY45060" fmla="*/ 728012 h 4687251"/>
              <a:gd name="connsiteX45061" fmla="*/ 5363869 w 8079933"/>
              <a:gd name="connsiteY45061" fmla="*/ 728012 h 4687251"/>
              <a:gd name="connsiteX45062" fmla="*/ 5369620 w 8079933"/>
              <a:gd name="connsiteY45062" fmla="*/ 734183 h 4687251"/>
              <a:gd name="connsiteX45063" fmla="*/ 5375589 w 8079933"/>
              <a:gd name="connsiteY45063" fmla="*/ 738189 h 4687251"/>
              <a:gd name="connsiteX45064" fmla="*/ 5389479 w 8079933"/>
              <a:gd name="connsiteY45064" fmla="*/ 739813 h 4687251"/>
              <a:gd name="connsiteX45065" fmla="*/ 5390564 w 8079933"/>
              <a:gd name="connsiteY45065" fmla="*/ 744469 h 4687251"/>
              <a:gd name="connsiteX45066" fmla="*/ 5395990 w 8079933"/>
              <a:gd name="connsiteY45066" fmla="*/ 747392 h 4687251"/>
              <a:gd name="connsiteX45067" fmla="*/ 5405973 w 8079933"/>
              <a:gd name="connsiteY45067" fmla="*/ 757461 h 4687251"/>
              <a:gd name="connsiteX45068" fmla="*/ 5412810 w 8079933"/>
              <a:gd name="connsiteY45068" fmla="*/ 757461 h 4687251"/>
              <a:gd name="connsiteX45069" fmla="*/ 5425506 w 8079933"/>
              <a:gd name="connsiteY45069" fmla="*/ 755620 h 4687251"/>
              <a:gd name="connsiteX45070" fmla="*/ 5435598 w 8079933"/>
              <a:gd name="connsiteY45070" fmla="*/ 749449 h 4687251"/>
              <a:gd name="connsiteX45071" fmla="*/ 5439180 w 8079933"/>
              <a:gd name="connsiteY45071" fmla="*/ 753022 h 4687251"/>
              <a:gd name="connsiteX45072" fmla="*/ 5441133 w 8079933"/>
              <a:gd name="connsiteY45072" fmla="*/ 752481 h 4687251"/>
              <a:gd name="connsiteX45073" fmla="*/ 5446776 w 8079933"/>
              <a:gd name="connsiteY45073" fmla="*/ 753022 h 4687251"/>
              <a:gd name="connsiteX45074" fmla="*/ 5445473 w 8079933"/>
              <a:gd name="connsiteY45074" fmla="*/ 761467 h 4687251"/>
              <a:gd name="connsiteX45075" fmla="*/ 5446342 w 8079933"/>
              <a:gd name="connsiteY45075" fmla="*/ 766123 h 4687251"/>
              <a:gd name="connsiteX45076" fmla="*/ 5446342 w 8079933"/>
              <a:gd name="connsiteY45076" fmla="*/ 769696 h 4687251"/>
              <a:gd name="connsiteX45077" fmla="*/ 5439288 w 8079933"/>
              <a:gd name="connsiteY45077" fmla="*/ 773810 h 4687251"/>
              <a:gd name="connsiteX45078" fmla="*/ 5439288 w 8079933"/>
              <a:gd name="connsiteY45078" fmla="*/ 780090 h 4687251"/>
              <a:gd name="connsiteX45079" fmla="*/ 5442327 w 8079933"/>
              <a:gd name="connsiteY45079" fmla="*/ 785503 h 4687251"/>
              <a:gd name="connsiteX45080" fmla="*/ 5442327 w 8079933"/>
              <a:gd name="connsiteY45080" fmla="*/ 793407 h 4687251"/>
              <a:gd name="connsiteX45081" fmla="*/ 5450031 w 8079933"/>
              <a:gd name="connsiteY45081" fmla="*/ 799579 h 4687251"/>
              <a:gd name="connsiteX45082" fmla="*/ 5450573 w 8079933"/>
              <a:gd name="connsiteY45082" fmla="*/ 804992 h 4687251"/>
              <a:gd name="connsiteX45083" fmla="*/ 5447318 w 8079933"/>
              <a:gd name="connsiteY45083" fmla="*/ 809107 h 4687251"/>
              <a:gd name="connsiteX45084" fmla="*/ 5449489 w 8079933"/>
              <a:gd name="connsiteY45084" fmla="*/ 824048 h 4687251"/>
              <a:gd name="connsiteX45085" fmla="*/ 5452528 w 8079933"/>
              <a:gd name="connsiteY45085" fmla="*/ 824048 h 4687251"/>
              <a:gd name="connsiteX45086" fmla="*/ 5453937 w 8079933"/>
              <a:gd name="connsiteY45086" fmla="*/ 819176 h 4687251"/>
              <a:gd name="connsiteX45087" fmla="*/ 5452528 w 8079933"/>
              <a:gd name="connsiteY45087" fmla="*/ 815927 h 4687251"/>
              <a:gd name="connsiteX45088" fmla="*/ 5455457 w 8079933"/>
              <a:gd name="connsiteY45088" fmla="*/ 812354 h 4687251"/>
              <a:gd name="connsiteX45089" fmla="*/ 5454697 w 8079933"/>
              <a:gd name="connsiteY45089" fmla="*/ 806399 h 4687251"/>
              <a:gd name="connsiteX45090" fmla="*/ 5458278 w 8079933"/>
              <a:gd name="connsiteY45090" fmla="*/ 804992 h 4687251"/>
              <a:gd name="connsiteX45091" fmla="*/ 5460991 w 8079933"/>
              <a:gd name="connsiteY45091" fmla="*/ 797413 h 4687251"/>
              <a:gd name="connsiteX45092" fmla="*/ 5464789 w 8079933"/>
              <a:gd name="connsiteY45092" fmla="*/ 800120 h 4687251"/>
              <a:gd name="connsiteX45093" fmla="*/ 5467719 w 8079933"/>
              <a:gd name="connsiteY45093" fmla="*/ 808456 h 4687251"/>
              <a:gd name="connsiteX45094" fmla="*/ 5468479 w 8079933"/>
              <a:gd name="connsiteY45094" fmla="*/ 819284 h 4687251"/>
              <a:gd name="connsiteX45095" fmla="*/ 5469889 w 8079933"/>
              <a:gd name="connsiteY45095" fmla="*/ 822749 h 4687251"/>
              <a:gd name="connsiteX45096" fmla="*/ 5466634 w 8079933"/>
              <a:gd name="connsiteY45096" fmla="*/ 824914 h 4687251"/>
              <a:gd name="connsiteX45097" fmla="*/ 5466634 w 8079933"/>
              <a:gd name="connsiteY45097" fmla="*/ 830544 h 4687251"/>
              <a:gd name="connsiteX45098" fmla="*/ 5464464 w 8079933"/>
              <a:gd name="connsiteY45098" fmla="*/ 832384 h 4687251"/>
              <a:gd name="connsiteX45099" fmla="*/ 5473145 w 8079933"/>
              <a:gd name="connsiteY45099" fmla="*/ 838123 h 4687251"/>
              <a:gd name="connsiteX45100" fmla="*/ 5480741 w 8079933"/>
              <a:gd name="connsiteY45100" fmla="*/ 838123 h 4687251"/>
              <a:gd name="connsiteX45101" fmla="*/ 5488229 w 8079933"/>
              <a:gd name="connsiteY45101" fmla="*/ 839964 h 4687251"/>
              <a:gd name="connsiteX45102" fmla="*/ 5492787 w 8079933"/>
              <a:gd name="connsiteY45102" fmla="*/ 846135 h 4687251"/>
              <a:gd name="connsiteX45103" fmla="*/ 5492787 w 8079933"/>
              <a:gd name="connsiteY45103" fmla="*/ 851224 h 4687251"/>
              <a:gd name="connsiteX45104" fmla="*/ 5497995 w 8079933"/>
              <a:gd name="connsiteY45104" fmla="*/ 855229 h 4687251"/>
              <a:gd name="connsiteX45105" fmla="*/ 5507762 w 8079933"/>
              <a:gd name="connsiteY45105" fmla="*/ 855229 h 4687251"/>
              <a:gd name="connsiteX45106" fmla="*/ 5517420 w 8079933"/>
              <a:gd name="connsiteY45106" fmla="*/ 865190 h 4687251"/>
              <a:gd name="connsiteX45107" fmla="*/ 5516443 w 8079933"/>
              <a:gd name="connsiteY45107" fmla="*/ 861726 h 4687251"/>
              <a:gd name="connsiteX45108" fmla="*/ 5516443 w 8079933"/>
              <a:gd name="connsiteY45108" fmla="*/ 855013 h 4687251"/>
              <a:gd name="connsiteX45109" fmla="*/ 5523714 w 8079933"/>
              <a:gd name="connsiteY45109" fmla="*/ 847434 h 4687251"/>
              <a:gd name="connsiteX45110" fmla="*/ 5528923 w 8079933"/>
              <a:gd name="connsiteY45110" fmla="*/ 847434 h 4687251"/>
              <a:gd name="connsiteX45111" fmla="*/ 5539232 w 8079933"/>
              <a:gd name="connsiteY45111" fmla="*/ 855555 h 4687251"/>
              <a:gd name="connsiteX45112" fmla="*/ 5546502 w 8079933"/>
              <a:gd name="connsiteY45112" fmla="*/ 855555 h 4687251"/>
              <a:gd name="connsiteX45113" fmla="*/ 5550300 w 8079933"/>
              <a:gd name="connsiteY45113" fmla="*/ 860210 h 4687251"/>
              <a:gd name="connsiteX45114" fmla="*/ 5552688 w 8079933"/>
              <a:gd name="connsiteY45114" fmla="*/ 869088 h 4687251"/>
              <a:gd name="connsiteX45115" fmla="*/ 5551602 w 8079933"/>
              <a:gd name="connsiteY45115" fmla="*/ 859561 h 4687251"/>
              <a:gd name="connsiteX45116" fmla="*/ 5548673 w 8079933"/>
              <a:gd name="connsiteY45116" fmla="*/ 853389 h 4687251"/>
              <a:gd name="connsiteX45117" fmla="*/ 5544332 w 8079933"/>
              <a:gd name="connsiteY45117" fmla="*/ 853389 h 4687251"/>
              <a:gd name="connsiteX45118" fmla="*/ 5537822 w 8079933"/>
              <a:gd name="connsiteY45118" fmla="*/ 851007 h 4687251"/>
              <a:gd name="connsiteX45119" fmla="*/ 5528705 w 8079933"/>
              <a:gd name="connsiteY45119" fmla="*/ 845052 h 4687251"/>
              <a:gd name="connsiteX45120" fmla="*/ 5521002 w 8079933"/>
              <a:gd name="connsiteY45120" fmla="*/ 846460 h 4687251"/>
              <a:gd name="connsiteX45121" fmla="*/ 5513188 w 8079933"/>
              <a:gd name="connsiteY45121" fmla="*/ 852631 h 4687251"/>
              <a:gd name="connsiteX45122" fmla="*/ 5509607 w 8079933"/>
              <a:gd name="connsiteY45122" fmla="*/ 851332 h 4687251"/>
              <a:gd name="connsiteX45123" fmla="*/ 5508739 w 8079933"/>
              <a:gd name="connsiteY45123" fmla="*/ 852198 h 4687251"/>
              <a:gd name="connsiteX45124" fmla="*/ 5500492 w 8079933"/>
              <a:gd name="connsiteY45124" fmla="*/ 848733 h 4687251"/>
              <a:gd name="connsiteX45125" fmla="*/ 5491593 w 8079933"/>
              <a:gd name="connsiteY45125" fmla="*/ 839205 h 4687251"/>
              <a:gd name="connsiteX45126" fmla="*/ 5486927 w 8079933"/>
              <a:gd name="connsiteY45126" fmla="*/ 835741 h 4687251"/>
              <a:gd name="connsiteX45127" fmla="*/ 5478788 w 8079933"/>
              <a:gd name="connsiteY45127" fmla="*/ 834983 h 4687251"/>
              <a:gd name="connsiteX45128" fmla="*/ 5474231 w 8079933"/>
              <a:gd name="connsiteY45128" fmla="*/ 827945 h 4687251"/>
              <a:gd name="connsiteX45129" fmla="*/ 5478028 w 8079933"/>
              <a:gd name="connsiteY45129" fmla="*/ 829353 h 4687251"/>
              <a:gd name="connsiteX45130" fmla="*/ 5480959 w 8079933"/>
              <a:gd name="connsiteY45130" fmla="*/ 828811 h 4687251"/>
              <a:gd name="connsiteX45131" fmla="*/ 5486385 w 8079933"/>
              <a:gd name="connsiteY45131" fmla="*/ 817985 h 4687251"/>
              <a:gd name="connsiteX45132" fmla="*/ 5484539 w 8079933"/>
              <a:gd name="connsiteY45132" fmla="*/ 813113 h 4687251"/>
              <a:gd name="connsiteX45133" fmla="*/ 5478028 w 8079933"/>
              <a:gd name="connsiteY45133" fmla="*/ 807374 h 4687251"/>
              <a:gd name="connsiteX45134" fmla="*/ 5475098 w 8079933"/>
              <a:gd name="connsiteY45134" fmla="*/ 796547 h 4687251"/>
              <a:gd name="connsiteX45135" fmla="*/ 5467502 w 8079933"/>
              <a:gd name="connsiteY45135" fmla="*/ 785720 h 4687251"/>
              <a:gd name="connsiteX45136" fmla="*/ 5462836 w 8079933"/>
              <a:gd name="connsiteY45136" fmla="*/ 782472 h 4687251"/>
              <a:gd name="connsiteX45137" fmla="*/ 5457627 w 8079933"/>
              <a:gd name="connsiteY45137" fmla="*/ 775975 h 4687251"/>
              <a:gd name="connsiteX45138" fmla="*/ 5459255 w 8079933"/>
              <a:gd name="connsiteY45138" fmla="*/ 770238 h 4687251"/>
              <a:gd name="connsiteX45139" fmla="*/ 5457627 w 8079933"/>
              <a:gd name="connsiteY45139" fmla="*/ 765148 h 4687251"/>
              <a:gd name="connsiteX45140" fmla="*/ 5458930 w 8079933"/>
              <a:gd name="connsiteY45140" fmla="*/ 752697 h 4687251"/>
              <a:gd name="connsiteX45141" fmla="*/ 5454046 w 8079933"/>
              <a:gd name="connsiteY45141" fmla="*/ 746959 h 4687251"/>
              <a:gd name="connsiteX45142" fmla="*/ 5450791 w 8079933"/>
              <a:gd name="connsiteY45142" fmla="*/ 746959 h 4687251"/>
              <a:gd name="connsiteX45143" fmla="*/ 5442434 w 8079933"/>
              <a:gd name="connsiteY45143" fmla="*/ 741546 h 4687251"/>
              <a:gd name="connsiteX45144" fmla="*/ 5429956 w 8079933"/>
              <a:gd name="connsiteY45144" fmla="*/ 741546 h 4687251"/>
              <a:gd name="connsiteX45145" fmla="*/ 5426157 w 8079933"/>
              <a:gd name="connsiteY45145" fmla="*/ 734833 h 4687251"/>
              <a:gd name="connsiteX45146" fmla="*/ 5418887 w 8079933"/>
              <a:gd name="connsiteY45146" fmla="*/ 731043 h 4687251"/>
              <a:gd name="connsiteX45147" fmla="*/ 5418887 w 8079933"/>
              <a:gd name="connsiteY45147" fmla="*/ 724872 h 4687251"/>
              <a:gd name="connsiteX45148" fmla="*/ 5416716 w 8079933"/>
              <a:gd name="connsiteY45148" fmla="*/ 720866 h 4687251"/>
              <a:gd name="connsiteX45149" fmla="*/ 5416716 w 8079933"/>
              <a:gd name="connsiteY45149" fmla="*/ 717293 h 4687251"/>
              <a:gd name="connsiteX45150" fmla="*/ 5410965 w 8079933"/>
              <a:gd name="connsiteY45150" fmla="*/ 720866 h 4687251"/>
              <a:gd name="connsiteX45151" fmla="*/ 5394470 w 8079933"/>
              <a:gd name="connsiteY45151" fmla="*/ 720108 h 4687251"/>
              <a:gd name="connsiteX45152" fmla="*/ 5388827 w 8079933"/>
              <a:gd name="connsiteY45152" fmla="*/ 720649 h 4687251"/>
              <a:gd name="connsiteX45153" fmla="*/ 5381992 w 8079933"/>
              <a:gd name="connsiteY45153" fmla="*/ 716102 h 4687251"/>
              <a:gd name="connsiteX45154" fmla="*/ 5381123 w 8079933"/>
              <a:gd name="connsiteY45154" fmla="*/ 709606 h 4687251"/>
              <a:gd name="connsiteX45155" fmla="*/ 5378953 w 8079933"/>
              <a:gd name="connsiteY45155" fmla="*/ 709606 h 4687251"/>
              <a:gd name="connsiteX45156" fmla="*/ 5376999 w 8079933"/>
              <a:gd name="connsiteY45156" fmla="*/ 705600 h 4687251"/>
              <a:gd name="connsiteX45157" fmla="*/ 5376999 w 8079933"/>
              <a:gd name="connsiteY45157" fmla="*/ 697155 h 4687251"/>
              <a:gd name="connsiteX45158" fmla="*/ 5370814 w 8079933"/>
              <a:gd name="connsiteY45158" fmla="*/ 686327 h 4687251"/>
              <a:gd name="connsiteX45159" fmla="*/ 5362349 w 8079933"/>
              <a:gd name="connsiteY45159" fmla="*/ 681239 h 4687251"/>
              <a:gd name="connsiteX45160" fmla="*/ 5364195 w 8079933"/>
              <a:gd name="connsiteY45160" fmla="*/ 677666 h 4687251"/>
              <a:gd name="connsiteX45161" fmla="*/ 5363109 w 8079933"/>
              <a:gd name="connsiteY45161" fmla="*/ 674743 h 4687251"/>
              <a:gd name="connsiteX45162" fmla="*/ 5359312 w 8079933"/>
              <a:gd name="connsiteY45162" fmla="*/ 674743 h 4687251"/>
              <a:gd name="connsiteX45163" fmla="*/ 5356381 w 8079933"/>
              <a:gd name="connsiteY45163" fmla="*/ 671711 h 4687251"/>
              <a:gd name="connsiteX45164" fmla="*/ 5357792 w 8079933"/>
              <a:gd name="connsiteY45164" fmla="*/ 666839 h 4687251"/>
              <a:gd name="connsiteX45165" fmla="*/ 5357792 w 8079933"/>
              <a:gd name="connsiteY45165" fmla="*/ 661642 h 4687251"/>
              <a:gd name="connsiteX45166" fmla="*/ 5352150 w 8079933"/>
              <a:gd name="connsiteY45166" fmla="*/ 657311 h 4687251"/>
              <a:gd name="connsiteX45167" fmla="*/ 5355730 w 8079933"/>
              <a:gd name="connsiteY45167" fmla="*/ 654388 h 4687251"/>
              <a:gd name="connsiteX45168" fmla="*/ 5362458 w 8079933"/>
              <a:gd name="connsiteY45168" fmla="*/ 654388 h 4687251"/>
              <a:gd name="connsiteX45169" fmla="*/ 5368427 w 8079933"/>
              <a:gd name="connsiteY45169" fmla="*/ 648433 h 4687251"/>
              <a:gd name="connsiteX45170" fmla="*/ 5374178 w 8079933"/>
              <a:gd name="connsiteY45170" fmla="*/ 648433 h 4687251"/>
              <a:gd name="connsiteX45171" fmla="*/ 5387200 w 8079933"/>
              <a:gd name="connsiteY45171" fmla="*/ 645509 h 4687251"/>
              <a:gd name="connsiteX45172" fmla="*/ 5405431 w 8079933"/>
              <a:gd name="connsiteY45172" fmla="*/ 638797 h 4687251"/>
              <a:gd name="connsiteX45173" fmla="*/ 5412267 w 8079933"/>
              <a:gd name="connsiteY45173" fmla="*/ 632842 h 4687251"/>
              <a:gd name="connsiteX45174" fmla="*/ 5418018 w 8079933"/>
              <a:gd name="connsiteY45174" fmla="*/ 631543 h 4687251"/>
              <a:gd name="connsiteX45175" fmla="*/ 5422685 w 8079933"/>
              <a:gd name="connsiteY45175" fmla="*/ 633383 h 4687251"/>
              <a:gd name="connsiteX45176" fmla="*/ 5428436 w 8079933"/>
              <a:gd name="connsiteY45176" fmla="*/ 631001 h 4687251"/>
              <a:gd name="connsiteX45177" fmla="*/ 5430932 w 8079933"/>
              <a:gd name="connsiteY45177" fmla="*/ 625263 h 4687251"/>
              <a:gd name="connsiteX45178" fmla="*/ 5439614 w 8079933"/>
              <a:gd name="connsiteY45178" fmla="*/ 622015 h 4687251"/>
              <a:gd name="connsiteX45179" fmla="*/ 5456217 w 8079933"/>
              <a:gd name="connsiteY45179" fmla="*/ 614977 h 4687251"/>
              <a:gd name="connsiteX45180" fmla="*/ 5457844 w 8079933"/>
              <a:gd name="connsiteY45180" fmla="*/ 616926 h 4687251"/>
              <a:gd name="connsiteX45181" fmla="*/ 5455132 w 8079933"/>
              <a:gd name="connsiteY45181" fmla="*/ 622015 h 4687251"/>
              <a:gd name="connsiteX45182" fmla="*/ 5455132 w 8079933"/>
              <a:gd name="connsiteY45182" fmla="*/ 625587 h 4687251"/>
              <a:gd name="connsiteX45183" fmla="*/ 5451551 w 8079933"/>
              <a:gd name="connsiteY45183" fmla="*/ 628078 h 4687251"/>
              <a:gd name="connsiteX45184" fmla="*/ 5446993 w 8079933"/>
              <a:gd name="connsiteY45184" fmla="*/ 637823 h 4687251"/>
              <a:gd name="connsiteX45185" fmla="*/ 5446993 w 8079933"/>
              <a:gd name="connsiteY45185" fmla="*/ 643019 h 4687251"/>
              <a:gd name="connsiteX45186" fmla="*/ 5456976 w 8079933"/>
              <a:gd name="connsiteY45186" fmla="*/ 650923 h 4687251"/>
              <a:gd name="connsiteX45187" fmla="*/ 5465875 w 8079933"/>
              <a:gd name="connsiteY45187" fmla="*/ 650923 h 4687251"/>
              <a:gd name="connsiteX45188" fmla="*/ 5460666 w 8079933"/>
              <a:gd name="connsiteY45188" fmla="*/ 648541 h 4687251"/>
              <a:gd name="connsiteX45189" fmla="*/ 5452310 w 8079933"/>
              <a:gd name="connsiteY45189" fmla="*/ 640205 h 4687251"/>
              <a:gd name="connsiteX45190" fmla="*/ 5452310 w 8079933"/>
              <a:gd name="connsiteY45190" fmla="*/ 636956 h 4687251"/>
              <a:gd name="connsiteX45191" fmla="*/ 5456108 w 8079933"/>
              <a:gd name="connsiteY45191" fmla="*/ 631759 h 4687251"/>
              <a:gd name="connsiteX45192" fmla="*/ 5465657 w 8079933"/>
              <a:gd name="connsiteY45192" fmla="*/ 626021 h 4687251"/>
              <a:gd name="connsiteX45193" fmla="*/ 5469130 w 8079933"/>
              <a:gd name="connsiteY45193" fmla="*/ 617360 h 4687251"/>
              <a:gd name="connsiteX45194" fmla="*/ 5465657 w 8079933"/>
              <a:gd name="connsiteY45194" fmla="*/ 610538 h 4687251"/>
              <a:gd name="connsiteX45195" fmla="*/ 5459907 w 8079933"/>
              <a:gd name="connsiteY45195" fmla="*/ 610538 h 4687251"/>
              <a:gd name="connsiteX45196" fmla="*/ 5453070 w 8079933"/>
              <a:gd name="connsiteY45196" fmla="*/ 605883 h 4687251"/>
              <a:gd name="connsiteX45197" fmla="*/ 5454481 w 8079933"/>
              <a:gd name="connsiteY45197" fmla="*/ 601768 h 4687251"/>
              <a:gd name="connsiteX45198" fmla="*/ 5447101 w 8079933"/>
              <a:gd name="connsiteY45198" fmla="*/ 601768 h 4687251"/>
              <a:gd name="connsiteX45199" fmla="*/ 5444714 w 8079933"/>
              <a:gd name="connsiteY45199" fmla="*/ 604692 h 4687251"/>
              <a:gd name="connsiteX45200" fmla="*/ 5441784 w 8079933"/>
              <a:gd name="connsiteY45200" fmla="*/ 602310 h 4687251"/>
              <a:gd name="connsiteX45201" fmla="*/ 5439397 w 8079933"/>
              <a:gd name="connsiteY45201" fmla="*/ 595814 h 4687251"/>
              <a:gd name="connsiteX45202" fmla="*/ 5431475 w 8079933"/>
              <a:gd name="connsiteY45202" fmla="*/ 595814 h 4687251"/>
              <a:gd name="connsiteX45203" fmla="*/ 5427676 w 8079933"/>
              <a:gd name="connsiteY45203" fmla="*/ 597438 h 4687251"/>
              <a:gd name="connsiteX45204" fmla="*/ 5422034 w 8079933"/>
              <a:gd name="connsiteY45204" fmla="*/ 590725 h 4687251"/>
              <a:gd name="connsiteX45205" fmla="*/ 5424421 w 8079933"/>
              <a:gd name="connsiteY45205" fmla="*/ 589101 h 4687251"/>
              <a:gd name="connsiteX45206" fmla="*/ 5425181 w 8079933"/>
              <a:gd name="connsiteY45206" fmla="*/ 585311 h 4687251"/>
              <a:gd name="connsiteX45207" fmla="*/ 5427894 w 8079933"/>
              <a:gd name="connsiteY45207" fmla="*/ 583904 h 4687251"/>
              <a:gd name="connsiteX45208" fmla="*/ 5432451 w 8079933"/>
              <a:gd name="connsiteY45208" fmla="*/ 588018 h 4687251"/>
              <a:gd name="connsiteX45209" fmla="*/ 5438203 w 8079933"/>
              <a:gd name="connsiteY45209" fmla="*/ 588018 h 4687251"/>
              <a:gd name="connsiteX45210" fmla="*/ 5443086 w 8079933"/>
              <a:gd name="connsiteY45210" fmla="*/ 585528 h 4687251"/>
              <a:gd name="connsiteX45211" fmla="*/ 5441241 w 8079933"/>
              <a:gd name="connsiteY45211" fmla="*/ 582604 h 4687251"/>
              <a:gd name="connsiteX45212" fmla="*/ 5438745 w 8079933"/>
              <a:gd name="connsiteY45212" fmla="*/ 583904 h 4687251"/>
              <a:gd name="connsiteX45213" fmla="*/ 5434188 w 8079933"/>
              <a:gd name="connsiteY45213" fmla="*/ 585203 h 4687251"/>
              <a:gd name="connsiteX45214" fmla="*/ 5429521 w 8079933"/>
              <a:gd name="connsiteY45214" fmla="*/ 581630 h 4687251"/>
              <a:gd name="connsiteX45215" fmla="*/ 5428653 w 8079933"/>
              <a:gd name="connsiteY45215" fmla="*/ 577083 h 4687251"/>
              <a:gd name="connsiteX45216" fmla="*/ 5423228 w 8079933"/>
              <a:gd name="connsiteY45216" fmla="*/ 576324 h 4687251"/>
              <a:gd name="connsiteX45217" fmla="*/ 5415632 w 8079933"/>
              <a:gd name="connsiteY45217" fmla="*/ 573943 h 4687251"/>
              <a:gd name="connsiteX45218" fmla="*/ 5410965 w 8079933"/>
              <a:gd name="connsiteY45218" fmla="*/ 576108 h 4687251"/>
              <a:gd name="connsiteX45219" fmla="*/ 5407926 w 8079933"/>
              <a:gd name="connsiteY45219" fmla="*/ 571236 h 4687251"/>
              <a:gd name="connsiteX45220" fmla="*/ 5410639 w 8079933"/>
              <a:gd name="connsiteY45220" fmla="*/ 568204 h 4687251"/>
              <a:gd name="connsiteX45221" fmla="*/ 5410639 w 8079933"/>
              <a:gd name="connsiteY45221" fmla="*/ 563873 h 4687251"/>
              <a:gd name="connsiteX45222" fmla="*/ 5407601 w 8079933"/>
              <a:gd name="connsiteY45222" fmla="*/ 560951 h 4687251"/>
              <a:gd name="connsiteX45223" fmla="*/ 5408686 w 8079933"/>
              <a:gd name="connsiteY45223" fmla="*/ 559110 h 4687251"/>
              <a:gd name="connsiteX45224" fmla="*/ 5412159 w 8079933"/>
              <a:gd name="connsiteY45224" fmla="*/ 559867 h 4687251"/>
              <a:gd name="connsiteX45225" fmla="*/ 5417259 w 8079933"/>
              <a:gd name="connsiteY45225" fmla="*/ 566905 h 4687251"/>
              <a:gd name="connsiteX45226" fmla="*/ 5421600 w 8079933"/>
              <a:gd name="connsiteY45226" fmla="*/ 565606 h 4687251"/>
              <a:gd name="connsiteX45227" fmla="*/ 5426808 w 8079933"/>
              <a:gd name="connsiteY45227" fmla="*/ 572969 h 4687251"/>
              <a:gd name="connsiteX45228" fmla="*/ 5427568 w 8079933"/>
              <a:gd name="connsiteY45228" fmla="*/ 568421 h 4687251"/>
              <a:gd name="connsiteX45229" fmla="*/ 5426700 w 8079933"/>
              <a:gd name="connsiteY45229" fmla="*/ 564957 h 4687251"/>
              <a:gd name="connsiteX45230" fmla="*/ 5431040 w 8079933"/>
              <a:gd name="connsiteY45230" fmla="*/ 561925 h 4687251"/>
              <a:gd name="connsiteX45231" fmla="*/ 5431909 w 8079933"/>
              <a:gd name="connsiteY45231" fmla="*/ 552397 h 4687251"/>
              <a:gd name="connsiteX45232" fmla="*/ 5428327 w 8079933"/>
              <a:gd name="connsiteY45232" fmla="*/ 549474 h 4687251"/>
              <a:gd name="connsiteX45233" fmla="*/ 5429413 w 8079933"/>
              <a:gd name="connsiteY45233" fmla="*/ 547633 h 4687251"/>
              <a:gd name="connsiteX45234" fmla="*/ 5434296 w 8079933"/>
              <a:gd name="connsiteY45234" fmla="*/ 548500 h 4687251"/>
              <a:gd name="connsiteX45235" fmla="*/ 5436792 w 8079933"/>
              <a:gd name="connsiteY45235" fmla="*/ 544926 h 4687251"/>
              <a:gd name="connsiteX45236" fmla="*/ 5425940 w 8079933"/>
              <a:gd name="connsiteY45236" fmla="*/ 542220 h 4687251"/>
              <a:gd name="connsiteX45237" fmla="*/ 5423553 w 8079933"/>
              <a:gd name="connsiteY45237" fmla="*/ 545468 h 4687251"/>
              <a:gd name="connsiteX45238" fmla="*/ 5419972 w 8079933"/>
              <a:gd name="connsiteY45238" fmla="*/ 545468 h 4687251"/>
              <a:gd name="connsiteX45239" fmla="*/ 5419972 w 8079933"/>
              <a:gd name="connsiteY45239" fmla="*/ 540812 h 4687251"/>
              <a:gd name="connsiteX45240" fmla="*/ 5424530 w 8079933"/>
              <a:gd name="connsiteY45240" fmla="*/ 537023 h 4687251"/>
              <a:gd name="connsiteX45241" fmla="*/ 5432669 w 8079933"/>
              <a:gd name="connsiteY45241" fmla="*/ 537023 h 4687251"/>
              <a:gd name="connsiteX45242" fmla="*/ 5438637 w 8079933"/>
              <a:gd name="connsiteY45242" fmla="*/ 535074 h 4687251"/>
              <a:gd name="connsiteX45243" fmla="*/ 5437877 w 8079933"/>
              <a:gd name="connsiteY45243" fmla="*/ 530743 h 4687251"/>
              <a:gd name="connsiteX45244" fmla="*/ 5442543 w 8079933"/>
              <a:gd name="connsiteY45244" fmla="*/ 525546 h 4687251"/>
              <a:gd name="connsiteX45245" fmla="*/ 5442543 w 8079933"/>
              <a:gd name="connsiteY45245" fmla="*/ 520998 h 4687251"/>
              <a:gd name="connsiteX45246" fmla="*/ 5444171 w 8079933"/>
              <a:gd name="connsiteY45246" fmla="*/ 519158 h 4687251"/>
              <a:gd name="connsiteX45247" fmla="*/ 5443411 w 8079933"/>
              <a:gd name="connsiteY45247" fmla="*/ 516776 h 4687251"/>
              <a:gd name="connsiteX45248" fmla="*/ 5447969 w 8079933"/>
              <a:gd name="connsiteY45248" fmla="*/ 510280 h 4687251"/>
              <a:gd name="connsiteX45249" fmla="*/ 5449815 w 8079933"/>
              <a:gd name="connsiteY45249" fmla="*/ 510280 h 4687251"/>
              <a:gd name="connsiteX45250" fmla="*/ 5451984 w 8079933"/>
              <a:gd name="connsiteY45250" fmla="*/ 513528 h 4687251"/>
              <a:gd name="connsiteX45251" fmla="*/ 5454481 w 8079933"/>
              <a:gd name="connsiteY45251" fmla="*/ 512229 h 4687251"/>
              <a:gd name="connsiteX45252" fmla="*/ 5455891 w 8079933"/>
              <a:gd name="connsiteY45252" fmla="*/ 507898 h 4687251"/>
              <a:gd name="connsiteX45253" fmla="*/ 5457844 w 8079933"/>
              <a:gd name="connsiteY45253" fmla="*/ 507898 h 4687251"/>
              <a:gd name="connsiteX45254" fmla="*/ 5454914 w 8079933"/>
              <a:gd name="connsiteY45254" fmla="*/ 503784 h 4687251"/>
              <a:gd name="connsiteX45255" fmla="*/ 5456759 w 8079933"/>
              <a:gd name="connsiteY45255" fmla="*/ 501077 h 4687251"/>
              <a:gd name="connsiteX45256" fmla="*/ 5462944 w 8079933"/>
              <a:gd name="connsiteY45256" fmla="*/ 499127 h 4687251"/>
              <a:gd name="connsiteX45257" fmla="*/ 5465657 w 8079933"/>
              <a:gd name="connsiteY45257" fmla="*/ 497829 h 4687251"/>
              <a:gd name="connsiteX45258" fmla="*/ 5466959 w 8079933"/>
              <a:gd name="connsiteY45258" fmla="*/ 493498 h 4687251"/>
              <a:gd name="connsiteX45259" fmla="*/ 5469456 w 8079933"/>
              <a:gd name="connsiteY45259" fmla="*/ 492956 h 4687251"/>
              <a:gd name="connsiteX45260" fmla="*/ 5473796 w 8079933"/>
              <a:gd name="connsiteY45260" fmla="*/ 494797 h 4687251"/>
              <a:gd name="connsiteX45261" fmla="*/ 5481935 w 8079933"/>
              <a:gd name="connsiteY45261" fmla="*/ 492956 h 4687251"/>
              <a:gd name="connsiteX45262" fmla="*/ 5480090 w 8079933"/>
              <a:gd name="connsiteY45262" fmla="*/ 490033 h 4687251"/>
              <a:gd name="connsiteX45263" fmla="*/ 5480850 w 8079933"/>
              <a:gd name="connsiteY45263" fmla="*/ 486244 h 4687251"/>
              <a:gd name="connsiteX45264" fmla="*/ 5491702 w 8079933"/>
              <a:gd name="connsiteY45264" fmla="*/ 484620 h 4687251"/>
              <a:gd name="connsiteX45265" fmla="*/ 5497561 w 8079933"/>
              <a:gd name="connsiteY45265" fmla="*/ 481155 h 4687251"/>
              <a:gd name="connsiteX45266" fmla="*/ 5499949 w 8079933"/>
              <a:gd name="connsiteY45266" fmla="*/ 476066 h 4687251"/>
              <a:gd name="connsiteX45267" fmla="*/ 5513296 w 8079933"/>
              <a:gd name="connsiteY45267" fmla="*/ 470436 h 4687251"/>
              <a:gd name="connsiteX45268" fmla="*/ 5514381 w 8079933"/>
              <a:gd name="connsiteY45268" fmla="*/ 465781 h 4687251"/>
              <a:gd name="connsiteX45269" fmla="*/ 5511452 w 8079933"/>
              <a:gd name="connsiteY45269" fmla="*/ 465023 h 4687251"/>
              <a:gd name="connsiteX45270" fmla="*/ 5503313 w 8079933"/>
              <a:gd name="connsiteY45270" fmla="*/ 470111 h 4687251"/>
              <a:gd name="connsiteX45271" fmla="*/ 5500600 w 8079933"/>
              <a:gd name="connsiteY45271" fmla="*/ 467405 h 4687251"/>
              <a:gd name="connsiteX45272" fmla="*/ 5495174 w 8079933"/>
              <a:gd name="connsiteY45272" fmla="*/ 472818 h 4687251"/>
              <a:gd name="connsiteX45273" fmla="*/ 5492244 w 8079933"/>
              <a:gd name="connsiteY45273" fmla="*/ 469895 h 4687251"/>
              <a:gd name="connsiteX45274" fmla="*/ 5492244 w 8079933"/>
              <a:gd name="connsiteY45274" fmla="*/ 459068 h 4687251"/>
              <a:gd name="connsiteX45275" fmla="*/ 5494957 w 8079933"/>
              <a:gd name="connsiteY45275" fmla="*/ 457227 h 4687251"/>
              <a:gd name="connsiteX45276" fmla="*/ 5496910 w 8079933"/>
              <a:gd name="connsiteY45276" fmla="*/ 452896 h 4687251"/>
              <a:gd name="connsiteX45277" fmla="*/ 5498755 w 8079933"/>
              <a:gd name="connsiteY45277" fmla="*/ 453654 h 4687251"/>
              <a:gd name="connsiteX45278" fmla="*/ 5499515 w 8079933"/>
              <a:gd name="connsiteY45278" fmla="*/ 456036 h 4687251"/>
              <a:gd name="connsiteX45279" fmla="*/ 5501143 w 8079933"/>
              <a:gd name="connsiteY45279" fmla="*/ 456902 h 4687251"/>
              <a:gd name="connsiteX45280" fmla="*/ 5504723 w 8079933"/>
              <a:gd name="connsiteY45280" fmla="*/ 453330 h 4687251"/>
              <a:gd name="connsiteX45281" fmla="*/ 5499298 w 8079933"/>
              <a:gd name="connsiteY45281" fmla="*/ 448241 h 4687251"/>
              <a:gd name="connsiteX45282" fmla="*/ 5505482 w 8079933"/>
              <a:gd name="connsiteY45282" fmla="*/ 447375 h 4687251"/>
              <a:gd name="connsiteX45283" fmla="*/ 5509607 w 8079933"/>
              <a:gd name="connsiteY45283" fmla="*/ 450081 h 4687251"/>
              <a:gd name="connsiteX45284" fmla="*/ 5513730 w 8079933"/>
              <a:gd name="connsiteY45284" fmla="*/ 450948 h 4687251"/>
              <a:gd name="connsiteX45285" fmla="*/ 5520566 w 8079933"/>
              <a:gd name="connsiteY45285" fmla="*/ 445859 h 4687251"/>
              <a:gd name="connsiteX45286" fmla="*/ 5525233 w 8079933"/>
              <a:gd name="connsiteY45286" fmla="*/ 447483 h 4687251"/>
              <a:gd name="connsiteX45287" fmla="*/ 5537930 w 8079933"/>
              <a:gd name="connsiteY45287" fmla="*/ 442935 h 4687251"/>
              <a:gd name="connsiteX45288" fmla="*/ 5543138 w 8079933"/>
              <a:gd name="connsiteY45288" fmla="*/ 443801 h 4687251"/>
              <a:gd name="connsiteX45289" fmla="*/ 5545092 w 8079933"/>
              <a:gd name="connsiteY45289" fmla="*/ 447591 h 4687251"/>
              <a:gd name="connsiteX45290" fmla="*/ 5540208 w 8079933"/>
              <a:gd name="connsiteY45290" fmla="*/ 458418 h 4687251"/>
              <a:gd name="connsiteX45291" fmla="*/ 5540208 w 8079933"/>
              <a:gd name="connsiteY45291" fmla="*/ 461342 h 4687251"/>
              <a:gd name="connsiteX45292" fmla="*/ 5545309 w 8079933"/>
              <a:gd name="connsiteY45292" fmla="*/ 464915 h 4687251"/>
              <a:gd name="connsiteX45293" fmla="*/ 5547154 w 8079933"/>
              <a:gd name="connsiteY45293" fmla="*/ 458093 h 4687251"/>
              <a:gd name="connsiteX45294" fmla="*/ 5551494 w 8079933"/>
              <a:gd name="connsiteY45294" fmla="*/ 450839 h 4687251"/>
              <a:gd name="connsiteX45295" fmla="*/ 5550409 w 8079933"/>
              <a:gd name="connsiteY45295" fmla="*/ 446291 h 4687251"/>
              <a:gd name="connsiteX45296" fmla="*/ 5551494 w 8079933"/>
              <a:gd name="connsiteY45296" fmla="*/ 444343 h 4687251"/>
              <a:gd name="connsiteX45297" fmla="*/ 5555292 w 8079933"/>
              <a:gd name="connsiteY45297" fmla="*/ 448891 h 4687251"/>
              <a:gd name="connsiteX45298" fmla="*/ 5556160 w 8079933"/>
              <a:gd name="connsiteY45298" fmla="*/ 456252 h 4687251"/>
              <a:gd name="connsiteX45299" fmla="*/ 5560176 w 8079933"/>
              <a:gd name="connsiteY45299" fmla="*/ 456252 h 4687251"/>
              <a:gd name="connsiteX45300" fmla="*/ 5562020 w 8079933"/>
              <a:gd name="connsiteY45300" fmla="*/ 451056 h 4687251"/>
              <a:gd name="connsiteX45301" fmla="*/ 5560176 w 8079933"/>
              <a:gd name="connsiteY45301" fmla="*/ 445967 h 4687251"/>
              <a:gd name="connsiteX45302" fmla="*/ 5563648 w 8079933"/>
              <a:gd name="connsiteY45302" fmla="*/ 443260 h 4687251"/>
              <a:gd name="connsiteX45303" fmla="*/ 5565601 w 8079933"/>
              <a:gd name="connsiteY45303" fmla="*/ 443260 h 4687251"/>
              <a:gd name="connsiteX45304" fmla="*/ 5566470 w 8079933"/>
              <a:gd name="connsiteY45304" fmla="*/ 448349 h 4687251"/>
              <a:gd name="connsiteX45305" fmla="*/ 5573523 w 8079933"/>
              <a:gd name="connsiteY45305" fmla="*/ 443152 h 4687251"/>
              <a:gd name="connsiteX45306" fmla="*/ 5574392 w 8079933"/>
              <a:gd name="connsiteY45306" fmla="*/ 440228 h 4687251"/>
              <a:gd name="connsiteX45307" fmla="*/ 5571136 w 8079933"/>
              <a:gd name="connsiteY45307" fmla="*/ 436222 h 4687251"/>
              <a:gd name="connsiteX45308" fmla="*/ 5576345 w 8079933"/>
              <a:gd name="connsiteY45308" fmla="*/ 436222 h 4687251"/>
              <a:gd name="connsiteX45309" fmla="*/ 5579058 w 8079933"/>
              <a:gd name="connsiteY45309" fmla="*/ 433300 h 4687251"/>
              <a:gd name="connsiteX45310" fmla="*/ 5573956 w 8079933"/>
              <a:gd name="connsiteY45310" fmla="*/ 431459 h 4687251"/>
              <a:gd name="connsiteX45311" fmla="*/ 5579382 w 8079933"/>
              <a:gd name="connsiteY45311" fmla="*/ 426261 h 4687251"/>
              <a:gd name="connsiteX45312" fmla="*/ 5585568 w 8079933"/>
              <a:gd name="connsiteY45312" fmla="*/ 426261 h 4687251"/>
              <a:gd name="connsiteX45313" fmla="*/ 5590017 w 8079933"/>
              <a:gd name="connsiteY45313" fmla="*/ 423555 h 4687251"/>
              <a:gd name="connsiteX45314" fmla="*/ 5592730 w 8079933"/>
              <a:gd name="connsiteY45314" fmla="*/ 424638 h 4687251"/>
              <a:gd name="connsiteX45315" fmla="*/ 5592730 w 8079933"/>
              <a:gd name="connsiteY45315" fmla="*/ 427669 h 4687251"/>
              <a:gd name="connsiteX45316" fmla="*/ 5594575 w 8079933"/>
              <a:gd name="connsiteY45316" fmla="*/ 428968 h 4687251"/>
              <a:gd name="connsiteX45317" fmla="*/ 5601954 w 8079933"/>
              <a:gd name="connsiteY45317" fmla="*/ 429510 h 4687251"/>
              <a:gd name="connsiteX45318" fmla="*/ 5601954 w 8079933"/>
              <a:gd name="connsiteY45318" fmla="*/ 436222 h 4687251"/>
              <a:gd name="connsiteX45319" fmla="*/ 5604667 w 8079933"/>
              <a:gd name="connsiteY45319" fmla="*/ 439146 h 4687251"/>
              <a:gd name="connsiteX45320" fmla="*/ 5600652 w 8079933"/>
              <a:gd name="connsiteY45320" fmla="*/ 449973 h 4687251"/>
              <a:gd name="connsiteX45321" fmla="*/ 5607380 w 8079933"/>
              <a:gd name="connsiteY45321" fmla="*/ 446725 h 4687251"/>
              <a:gd name="connsiteX45322" fmla="*/ 5612046 w 8079933"/>
              <a:gd name="connsiteY45322" fmla="*/ 436764 h 4687251"/>
              <a:gd name="connsiteX45323" fmla="*/ 5606620 w 8079933"/>
              <a:gd name="connsiteY45323" fmla="*/ 427020 h 4687251"/>
              <a:gd name="connsiteX45324" fmla="*/ 5600435 w 8079933"/>
              <a:gd name="connsiteY45324" fmla="*/ 423230 h 4687251"/>
              <a:gd name="connsiteX45325" fmla="*/ 5595878 w 8079933"/>
              <a:gd name="connsiteY45325" fmla="*/ 416951 h 4687251"/>
              <a:gd name="connsiteX45326" fmla="*/ 5590777 w 8079933"/>
              <a:gd name="connsiteY45326" fmla="*/ 420198 h 4687251"/>
              <a:gd name="connsiteX45327" fmla="*/ 5587847 w 8079933"/>
              <a:gd name="connsiteY45327" fmla="*/ 418033 h 4687251"/>
              <a:gd name="connsiteX45328" fmla="*/ 5582204 w 8079933"/>
              <a:gd name="connsiteY45328" fmla="*/ 419116 h 4687251"/>
              <a:gd name="connsiteX45329" fmla="*/ 5581119 w 8079933"/>
              <a:gd name="connsiteY45329" fmla="*/ 415110 h 4687251"/>
              <a:gd name="connsiteX45330" fmla="*/ 5576236 w 8079933"/>
              <a:gd name="connsiteY45330" fmla="*/ 413486 h 4687251"/>
              <a:gd name="connsiteX45331" fmla="*/ 5575368 w 8079933"/>
              <a:gd name="connsiteY45331" fmla="*/ 411645 h 4687251"/>
              <a:gd name="connsiteX45332" fmla="*/ 5578840 w 8079933"/>
              <a:gd name="connsiteY45332" fmla="*/ 407856 h 4687251"/>
              <a:gd name="connsiteX45333" fmla="*/ 5588607 w 8079933"/>
              <a:gd name="connsiteY45333" fmla="*/ 407856 h 4687251"/>
              <a:gd name="connsiteX45334" fmla="*/ 5591862 w 8079933"/>
              <a:gd name="connsiteY45334" fmla="*/ 404283 h 4687251"/>
              <a:gd name="connsiteX45335" fmla="*/ 5596203 w 8079933"/>
              <a:gd name="connsiteY45335" fmla="*/ 404283 h 4687251"/>
              <a:gd name="connsiteX45336" fmla="*/ 5600870 w 8079933"/>
              <a:gd name="connsiteY45336" fmla="*/ 405366 h 4687251"/>
              <a:gd name="connsiteX45337" fmla="*/ 5605536 w 8079933"/>
              <a:gd name="connsiteY45337" fmla="*/ 403416 h 4687251"/>
              <a:gd name="connsiteX45338" fmla="*/ 5608791 w 8079933"/>
              <a:gd name="connsiteY45338" fmla="*/ 405582 h 4687251"/>
              <a:gd name="connsiteX45339" fmla="*/ 5619643 w 8079933"/>
              <a:gd name="connsiteY45339" fmla="*/ 401034 h 4687251"/>
              <a:gd name="connsiteX45340" fmla="*/ 5625394 w 8079933"/>
              <a:gd name="connsiteY45340" fmla="*/ 403958 h 4687251"/>
              <a:gd name="connsiteX45341" fmla="*/ 5629083 w 8079933"/>
              <a:gd name="connsiteY45341" fmla="*/ 403416 h 4687251"/>
              <a:gd name="connsiteX45342" fmla="*/ 5633207 w 8079933"/>
              <a:gd name="connsiteY45342" fmla="*/ 404283 h 4687251"/>
              <a:gd name="connsiteX45343" fmla="*/ 5637222 w 8079933"/>
              <a:gd name="connsiteY45343" fmla="*/ 401359 h 4687251"/>
              <a:gd name="connsiteX45344" fmla="*/ 5635378 w 8079933"/>
              <a:gd name="connsiteY45344" fmla="*/ 398436 h 4687251"/>
              <a:gd name="connsiteX45345" fmla="*/ 5627782 w 8079933"/>
              <a:gd name="connsiteY45345" fmla="*/ 398436 h 4687251"/>
              <a:gd name="connsiteX45346" fmla="*/ 5620402 w 8079933"/>
              <a:gd name="connsiteY45346" fmla="*/ 395404 h 4687251"/>
              <a:gd name="connsiteX45347" fmla="*/ 5614434 w 8079933"/>
              <a:gd name="connsiteY45347" fmla="*/ 397787 h 4687251"/>
              <a:gd name="connsiteX45348" fmla="*/ 5605753 w 8079933"/>
              <a:gd name="connsiteY45348" fmla="*/ 397028 h 4687251"/>
              <a:gd name="connsiteX45349" fmla="*/ 5605753 w 8079933"/>
              <a:gd name="connsiteY45349" fmla="*/ 391940 h 4687251"/>
              <a:gd name="connsiteX45350" fmla="*/ 5603582 w 8079933"/>
              <a:gd name="connsiteY45350" fmla="*/ 386202 h 4687251"/>
              <a:gd name="connsiteX45351" fmla="*/ 5610419 w 8079933"/>
              <a:gd name="connsiteY45351" fmla="*/ 381655 h 4687251"/>
              <a:gd name="connsiteX45352" fmla="*/ 5603907 w 8079933"/>
              <a:gd name="connsiteY45352" fmla="*/ 380247 h 4687251"/>
              <a:gd name="connsiteX45353" fmla="*/ 5598482 w 8079933"/>
              <a:gd name="connsiteY45353" fmla="*/ 373209 h 4687251"/>
              <a:gd name="connsiteX45354" fmla="*/ 5593815 w 8079933"/>
              <a:gd name="connsiteY45354" fmla="*/ 373209 h 4687251"/>
              <a:gd name="connsiteX45355" fmla="*/ 5589258 w 8079933"/>
              <a:gd name="connsiteY45355" fmla="*/ 367471 h 4687251"/>
              <a:gd name="connsiteX45356" fmla="*/ 5588499 w 8079933"/>
              <a:gd name="connsiteY45356" fmla="*/ 361733 h 4687251"/>
              <a:gd name="connsiteX45357" fmla="*/ 5592839 w 8079933"/>
              <a:gd name="connsiteY45357" fmla="*/ 361733 h 4687251"/>
              <a:gd name="connsiteX45358" fmla="*/ 5592839 w 8079933"/>
              <a:gd name="connsiteY45358" fmla="*/ 356103 h 4687251"/>
              <a:gd name="connsiteX45359" fmla="*/ 5587087 w 8079933"/>
              <a:gd name="connsiteY45359" fmla="*/ 350906 h 4687251"/>
              <a:gd name="connsiteX45360" fmla="*/ 5587847 w 8079933"/>
              <a:gd name="connsiteY45360" fmla="*/ 329251 h 4687251"/>
              <a:gd name="connsiteX45361" fmla="*/ 5592947 w 8079933"/>
              <a:gd name="connsiteY45361" fmla="*/ 323297 h 4687251"/>
              <a:gd name="connsiteX45362" fmla="*/ 5591102 w 8079933"/>
              <a:gd name="connsiteY45362" fmla="*/ 317558 h 4687251"/>
              <a:gd name="connsiteX45363" fmla="*/ 5592188 w 8079933"/>
              <a:gd name="connsiteY45363" fmla="*/ 309654 h 4687251"/>
              <a:gd name="connsiteX45364" fmla="*/ 5596746 w 8079933"/>
              <a:gd name="connsiteY45364" fmla="*/ 305107 h 4687251"/>
              <a:gd name="connsiteX45365" fmla="*/ 5593707 w 8079933"/>
              <a:gd name="connsiteY45365" fmla="*/ 300235 h 4687251"/>
              <a:gd name="connsiteX45366" fmla="*/ 5598048 w 8079933"/>
              <a:gd name="connsiteY45366" fmla="*/ 298935 h 4687251"/>
              <a:gd name="connsiteX45367" fmla="*/ 5599133 w 8079933"/>
              <a:gd name="connsiteY45367" fmla="*/ 294929 h 4687251"/>
              <a:gd name="connsiteX45368" fmla="*/ 4790359 w 8079933"/>
              <a:gd name="connsiteY45368" fmla="*/ 289083 h 4687251"/>
              <a:gd name="connsiteX45369" fmla="*/ 4795785 w 8079933"/>
              <a:gd name="connsiteY45369" fmla="*/ 293738 h 4687251"/>
              <a:gd name="connsiteX45370" fmla="*/ 4804683 w 8079933"/>
              <a:gd name="connsiteY45370" fmla="*/ 299045 h 4687251"/>
              <a:gd name="connsiteX45371" fmla="*/ 4808481 w 8079933"/>
              <a:gd name="connsiteY45371" fmla="*/ 297853 h 4687251"/>
              <a:gd name="connsiteX45372" fmla="*/ 4812062 w 8079933"/>
              <a:gd name="connsiteY45372" fmla="*/ 299152 h 4687251"/>
              <a:gd name="connsiteX45373" fmla="*/ 4811086 w 8079933"/>
              <a:gd name="connsiteY45373" fmla="*/ 301101 h 4687251"/>
              <a:gd name="connsiteX45374" fmla="*/ 4808156 w 8079933"/>
              <a:gd name="connsiteY45374" fmla="*/ 301425 h 4687251"/>
              <a:gd name="connsiteX45375" fmla="*/ 4801970 w 8079933"/>
              <a:gd name="connsiteY45375" fmla="*/ 304892 h 4687251"/>
              <a:gd name="connsiteX45376" fmla="*/ 4801102 w 8079933"/>
              <a:gd name="connsiteY45376" fmla="*/ 307922 h 4687251"/>
              <a:gd name="connsiteX45377" fmla="*/ 4799148 w 8079933"/>
              <a:gd name="connsiteY45377" fmla="*/ 312795 h 4687251"/>
              <a:gd name="connsiteX45378" fmla="*/ 4795785 w 8079933"/>
              <a:gd name="connsiteY45378" fmla="*/ 314852 h 4687251"/>
              <a:gd name="connsiteX45379" fmla="*/ 4795785 w 8079933"/>
              <a:gd name="connsiteY45379" fmla="*/ 317125 h 4687251"/>
              <a:gd name="connsiteX45380" fmla="*/ 4799040 w 8079933"/>
              <a:gd name="connsiteY45380" fmla="*/ 319941 h 4687251"/>
              <a:gd name="connsiteX45381" fmla="*/ 4798823 w 8079933"/>
              <a:gd name="connsiteY45381" fmla="*/ 322539 h 4687251"/>
              <a:gd name="connsiteX45382" fmla="*/ 4795025 w 8079933"/>
              <a:gd name="connsiteY45382" fmla="*/ 322864 h 4687251"/>
              <a:gd name="connsiteX45383" fmla="*/ 4789708 w 8079933"/>
              <a:gd name="connsiteY45383" fmla="*/ 319941 h 4687251"/>
              <a:gd name="connsiteX45384" fmla="*/ 4786452 w 8079933"/>
              <a:gd name="connsiteY45384" fmla="*/ 312253 h 4687251"/>
              <a:gd name="connsiteX45385" fmla="*/ 4786669 w 8079933"/>
              <a:gd name="connsiteY45385" fmla="*/ 305540 h 4687251"/>
              <a:gd name="connsiteX45386" fmla="*/ 4781461 w 8079933"/>
              <a:gd name="connsiteY45386" fmla="*/ 295796 h 4687251"/>
              <a:gd name="connsiteX45387" fmla="*/ 4781786 w 8079933"/>
              <a:gd name="connsiteY45387" fmla="*/ 291574 h 4687251"/>
              <a:gd name="connsiteX45388" fmla="*/ 4783197 w 8079933"/>
              <a:gd name="connsiteY45388" fmla="*/ 292007 h 4687251"/>
              <a:gd name="connsiteX45389" fmla="*/ 4787429 w 8079933"/>
              <a:gd name="connsiteY45389" fmla="*/ 290816 h 4687251"/>
              <a:gd name="connsiteX45390" fmla="*/ 2047926 w 8079933"/>
              <a:gd name="connsiteY45390" fmla="*/ 286700 h 4687251"/>
              <a:gd name="connsiteX45391" fmla="*/ 2054654 w 8079933"/>
              <a:gd name="connsiteY45391" fmla="*/ 289732 h 4687251"/>
              <a:gd name="connsiteX45392" fmla="*/ 2058127 w 8079933"/>
              <a:gd name="connsiteY45392" fmla="*/ 289082 h 4687251"/>
              <a:gd name="connsiteX45393" fmla="*/ 2061274 w 8079933"/>
              <a:gd name="connsiteY45393" fmla="*/ 290490 h 4687251"/>
              <a:gd name="connsiteX45394" fmla="*/ 2061925 w 8079933"/>
              <a:gd name="connsiteY45394" fmla="*/ 293630 h 4687251"/>
              <a:gd name="connsiteX45395" fmla="*/ 2063770 w 8079933"/>
              <a:gd name="connsiteY45395" fmla="*/ 296012 h 4687251"/>
              <a:gd name="connsiteX45396" fmla="*/ 2061057 w 8079933"/>
              <a:gd name="connsiteY45396" fmla="*/ 299585 h 4687251"/>
              <a:gd name="connsiteX45397" fmla="*/ 2056716 w 8079933"/>
              <a:gd name="connsiteY45397" fmla="*/ 301859 h 4687251"/>
              <a:gd name="connsiteX45398" fmla="*/ 2052918 w 8079933"/>
              <a:gd name="connsiteY45398" fmla="*/ 300018 h 4687251"/>
              <a:gd name="connsiteX45399" fmla="*/ 2049554 w 8079933"/>
              <a:gd name="connsiteY45399" fmla="*/ 300018 h 4687251"/>
              <a:gd name="connsiteX45400" fmla="*/ 2047817 w 8079933"/>
              <a:gd name="connsiteY45400" fmla="*/ 295470 h 4687251"/>
              <a:gd name="connsiteX45401" fmla="*/ 2044671 w 8079933"/>
              <a:gd name="connsiteY45401" fmla="*/ 291897 h 4687251"/>
              <a:gd name="connsiteX45402" fmla="*/ 2041849 w 8079933"/>
              <a:gd name="connsiteY45402" fmla="*/ 290923 h 4687251"/>
              <a:gd name="connsiteX45403" fmla="*/ 2041849 w 8079933"/>
              <a:gd name="connsiteY45403" fmla="*/ 289624 h 4687251"/>
              <a:gd name="connsiteX45404" fmla="*/ 2045539 w 8079933"/>
              <a:gd name="connsiteY45404" fmla="*/ 288758 h 4687251"/>
              <a:gd name="connsiteX45405" fmla="*/ 4618793 w 8079933"/>
              <a:gd name="connsiteY45405" fmla="*/ 285402 h 4687251"/>
              <a:gd name="connsiteX45406" fmla="*/ 4629320 w 8079933"/>
              <a:gd name="connsiteY45406" fmla="*/ 287135 h 4687251"/>
              <a:gd name="connsiteX45407" fmla="*/ 4641583 w 8079933"/>
              <a:gd name="connsiteY45407" fmla="*/ 294497 h 4687251"/>
              <a:gd name="connsiteX45408" fmla="*/ 4647008 w 8079933"/>
              <a:gd name="connsiteY45408" fmla="*/ 295797 h 4687251"/>
              <a:gd name="connsiteX45409" fmla="*/ 4649938 w 8079933"/>
              <a:gd name="connsiteY45409" fmla="*/ 299045 h 4687251"/>
              <a:gd name="connsiteX45410" fmla="*/ 4647442 w 8079933"/>
              <a:gd name="connsiteY45410" fmla="*/ 300451 h 4687251"/>
              <a:gd name="connsiteX45411" fmla="*/ 4646574 w 8079933"/>
              <a:gd name="connsiteY45411" fmla="*/ 302076 h 4687251"/>
              <a:gd name="connsiteX45412" fmla="*/ 4641148 w 8079933"/>
              <a:gd name="connsiteY45412" fmla="*/ 302833 h 4687251"/>
              <a:gd name="connsiteX45413" fmla="*/ 4635831 w 8079933"/>
              <a:gd name="connsiteY45413" fmla="*/ 300451 h 4687251"/>
              <a:gd name="connsiteX45414" fmla="*/ 4633227 w 8079933"/>
              <a:gd name="connsiteY45414" fmla="*/ 295363 h 4687251"/>
              <a:gd name="connsiteX45415" fmla="*/ 4630188 w 8079933"/>
              <a:gd name="connsiteY45415" fmla="*/ 294063 h 4687251"/>
              <a:gd name="connsiteX45416" fmla="*/ 4627366 w 8079933"/>
              <a:gd name="connsiteY45416" fmla="*/ 296772 h 4687251"/>
              <a:gd name="connsiteX45417" fmla="*/ 4620530 w 8079933"/>
              <a:gd name="connsiteY45417" fmla="*/ 297528 h 4687251"/>
              <a:gd name="connsiteX45418" fmla="*/ 4616732 w 8079933"/>
              <a:gd name="connsiteY45418" fmla="*/ 302293 h 4687251"/>
              <a:gd name="connsiteX45419" fmla="*/ 4611740 w 8079933"/>
              <a:gd name="connsiteY45419" fmla="*/ 306732 h 4687251"/>
              <a:gd name="connsiteX45420" fmla="*/ 4613802 w 8079933"/>
              <a:gd name="connsiteY45420" fmla="*/ 311387 h 4687251"/>
              <a:gd name="connsiteX45421" fmla="*/ 4616515 w 8079933"/>
              <a:gd name="connsiteY45421" fmla="*/ 312469 h 4687251"/>
              <a:gd name="connsiteX45422" fmla="*/ 4619119 w 8079933"/>
              <a:gd name="connsiteY45422" fmla="*/ 315502 h 4687251"/>
              <a:gd name="connsiteX45423" fmla="*/ 4619879 w 8079933"/>
              <a:gd name="connsiteY45423" fmla="*/ 322431 h 4687251"/>
              <a:gd name="connsiteX45424" fmla="*/ 4622917 w 8079933"/>
              <a:gd name="connsiteY45424" fmla="*/ 327520 h 4687251"/>
              <a:gd name="connsiteX45425" fmla="*/ 4622049 w 8079933"/>
              <a:gd name="connsiteY45425" fmla="*/ 330768 h 4687251"/>
              <a:gd name="connsiteX45426" fmla="*/ 4618142 w 8079933"/>
              <a:gd name="connsiteY45426" fmla="*/ 328278 h 4687251"/>
              <a:gd name="connsiteX45427" fmla="*/ 4615647 w 8079933"/>
              <a:gd name="connsiteY45427" fmla="*/ 321132 h 4687251"/>
              <a:gd name="connsiteX45428" fmla="*/ 4612608 w 8079933"/>
              <a:gd name="connsiteY45428" fmla="*/ 317883 h 4687251"/>
              <a:gd name="connsiteX45429" fmla="*/ 4609787 w 8079933"/>
              <a:gd name="connsiteY45429" fmla="*/ 320483 h 4687251"/>
              <a:gd name="connsiteX45430" fmla="*/ 4609787 w 8079933"/>
              <a:gd name="connsiteY45430" fmla="*/ 323081 h 4687251"/>
              <a:gd name="connsiteX45431" fmla="*/ 4607724 w 8079933"/>
              <a:gd name="connsiteY45431" fmla="*/ 326654 h 4687251"/>
              <a:gd name="connsiteX45432" fmla="*/ 4605012 w 8079933"/>
              <a:gd name="connsiteY45432" fmla="*/ 325138 h 4687251"/>
              <a:gd name="connsiteX45433" fmla="*/ 4602733 w 8079933"/>
              <a:gd name="connsiteY45433" fmla="*/ 321998 h 4687251"/>
              <a:gd name="connsiteX45434" fmla="*/ 4598392 w 8079933"/>
              <a:gd name="connsiteY45434" fmla="*/ 318750 h 4687251"/>
              <a:gd name="connsiteX45435" fmla="*/ 4592641 w 8079933"/>
              <a:gd name="connsiteY45435" fmla="*/ 322214 h 4687251"/>
              <a:gd name="connsiteX45436" fmla="*/ 4588951 w 8079933"/>
              <a:gd name="connsiteY45436" fmla="*/ 319618 h 4687251"/>
              <a:gd name="connsiteX45437" fmla="*/ 4588626 w 8079933"/>
              <a:gd name="connsiteY45437" fmla="*/ 307273 h 4687251"/>
              <a:gd name="connsiteX45438" fmla="*/ 4594486 w 8079933"/>
              <a:gd name="connsiteY45438" fmla="*/ 302076 h 4687251"/>
              <a:gd name="connsiteX45439" fmla="*/ 4599803 w 8079933"/>
              <a:gd name="connsiteY45439" fmla="*/ 300560 h 4687251"/>
              <a:gd name="connsiteX45440" fmla="*/ 4603167 w 8079933"/>
              <a:gd name="connsiteY45440" fmla="*/ 293846 h 4687251"/>
              <a:gd name="connsiteX45441" fmla="*/ 4612066 w 8079933"/>
              <a:gd name="connsiteY45441" fmla="*/ 285944 h 4687251"/>
              <a:gd name="connsiteX45442" fmla="*/ 2294257 w 8079933"/>
              <a:gd name="connsiteY45442" fmla="*/ 284643 h 4687251"/>
              <a:gd name="connsiteX45443" fmla="*/ 2300660 w 8079933"/>
              <a:gd name="connsiteY45443" fmla="*/ 286484 h 4687251"/>
              <a:gd name="connsiteX45444" fmla="*/ 2307713 w 8079933"/>
              <a:gd name="connsiteY45444" fmla="*/ 294929 h 4687251"/>
              <a:gd name="connsiteX45445" fmla="*/ 2307171 w 8079933"/>
              <a:gd name="connsiteY45445" fmla="*/ 299368 h 4687251"/>
              <a:gd name="connsiteX45446" fmla="*/ 2307930 w 8079933"/>
              <a:gd name="connsiteY45446" fmla="*/ 307163 h 4687251"/>
              <a:gd name="connsiteX45447" fmla="*/ 2304675 w 8079933"/>
              <a:gd name="connsiteY45447" fmla="*/ 307812 h 4687251"/>
              <a:gd name="connsiteX45448" fmla="*/ 2299792 w 8079933"/>
              <a:gd name="connsiteY45448" fmla="*/ 304890 h 4687251"/>
              <a:gd name="connsiteX45449" fmla="*/ 2295451 w 8079933"/>
              <a:gd name="connsiteY45449" fmla="*/ 306621 h 4687251"/>
              <a:gd name="connsiteX45450" fmla="*/ 2292196 w 8079933"/>
              <a:gd name="connsiteY45450" fmla="*/ 306621 h 4687251"/>
              <a:gd name="connsiteX45451" fmla="*/ 2288723 w 8079933"/>
              <a:gd name="connsiteY45451" fmla="*/ 300775 h 4687251"/>
              <a:gd name="connsiteX45452" fmla="*/ 2283298 w 8079933"/>
              <a:gd name="connsiteY45452" fmla="*/ 296445 h 4687251"/>
              <a:gd name="connsiteX45453" fmla="*/ 2283949 w 8079933"/>
              <a:gd name="connsiteY45453" fmla="*/ 290165 h 4687251"/>
              <a:gd name="connsiteX45454" fmla="*/ 2286011 w 8079933"/>
              <a:gd name="connsiteY45454" fmla="*/ 285509 h 4687251"/>
              <a:gd name="connsiteX45455" fmla="*/ 2590075 w 8079933"/>
              <a:gd name="connsiteY45455" fmla="*/ 279989 h 4687251"/>
              <a:gd name="connsiteX45456" fmla="*/ 2594307 w 8079933"/>
              <a:gd name="connsiteY45456" fmla="*/ 281829 h 4687251"/>
              <a:gd name="connsiteX45457" fmla="*/ 2599190 w 8079933"/>
              <a:gd name="connsiteY45457" fmla="*/ 286268 h 4687251"/>
              <a:gd name="connsiteX45458" fmla="*/ 2597562 w 8079933"/>
              <a:gd name="connsiteY45458" fmla="*/ 289409 h 4687251"/>
              <a:gd name="connsiteX45459" fmla="*/ 2591160 w 8079933"/>
              <a:gd name="connsiteY45459" fmla="*/ 289193 h 4687251"/>
              <a:gd name="connsiteX45460" fmla="*/ 2587470 w 8079933"/>
              <a:gd name="connsiteY45460" fmla="*/ 293090 h 4687251"/>
              <a:gd name="connsiteX45461" fmla="*/ 2581068 w 8079933"/>
              <a:gd name="connsiteY45461" fmla="*/ 293848 h 4687251"/>
              <a:gd name="connsiteX45462" fmla="*/ 2577487 w 8079933"/>
              <a:gd name="connsiteY45462" fmla="*/ 292765 h 4687251"/>
              <a:gd name="connsiteX45463" fmla="*/ 2576619 w 8079933"/>
              <a:gd name="connsiteY45463" fmla="*/ 290383 h 4687251"/>
              <a:gd name="connsiteX45464" fmla="*/ 2582370 w 8079933"/>
              <a:gd name="connsiteY45464" fmla="*/ 282803 h 4687251"/>
              <a:gd name="connsiteX45465" fmla="*/ 2585408 w 8079933"/>
              <a:gd name="connsiteY45465" fmla="*/ 282803 h 4687251"/>
              <a:gd name="connsiteX45466" fmla="*/ 4784715 w 8079933"/>
              <a:gd name="connsiteY45466" fmla="*/ 277498 h 4687251"/>
              <a:gd name="connsiteX45467" fmla="*/ 4786994 w 8079933"/>
              <a:gd name="connsiteY45467" fmla="*/ 279989 h 4687251"/>
              <a:gd name="connsiteX45468" fmla="*/ 4786451 w 8079933"/>
              <a:gd name="connsiteY45468" fmla="*/ 282912 h 4687251"/>
              <a:gd name="connsiteX45469" fmla="*/ 4782762 w 8079933"/>
              <a:gd name="connsiteY45469" fmla="*/ 285402 h 4687251"/>
              <a:gd name="connsiteX45470" fmla="*/ 4779398 w 8079933"/>
              <a:gd name="connsiteY45470" fmla="*/ 284753 h 4687251"/>
              <a:gd name="connsiteX45471" fmla="*/ 4775926 w 8079933"/>
              <a:gd name="connsiteY45471" fmla="*/ 281288 h 4687251"/>
              <a:gd name="connsiteX45472" fmla="*/ 4779724 w 8079933"/>
              <a:gd name="connsiteY45472" fmla="*/ 281288 h 4687251"/>
              <a:gd name="connsiteX45473" fmla="*/ 4782003 w 8079933"/>
              <a:gd name="connsiteY45473" fmla="*/ 278364 h 4687251"/>
              <a:gd name="connsiteX45474" fmla="*/ 2233598 w 8079933"/>
              <a:gd name="connsiteY45474" fmla="*/ 277065 h 4687251"/>
              <a:gd name="connsiteX45475" fmla="*/ 2237071 w 8079933"/>
              <a:gd name="connsiteY45475" fmla="*/ 279771 h 4687251"/>
              <a:gd name="connsiteX45476" fmla="*/ 2237939 w 8079933"/>
              <a:gd name="connsiteY45476" fmla="*/ 286160 h 4687251"/>
              <a:gd name="connsiteX45477" fmla="*/ 2239350 w 8079933"/>
              <a:gd name="connsiteY45477" fmla="*/ 289083 h 4687251"/>
              <a:gd name="connsiteX45478" fmla="*/ 2235552 w 8079933"/>
              <a:gd name="connsiteY45478" fmla="*/ 298178 h 4687251"/>
              <a:gd name="connsiteX45479" fmla="*/ 2236203 w 8079933"/>
              <a:gd name="connsiteY45479" fmla="*/ 302183 h 4687251"/>
              <a:gd name="connsiteX45480" fmla="*/ 2233164 w 8079933"/>
              <a:gd name="connsiteY45480" fmla="*/ 307273 h 4687251"/>
              <a:gd name="connsiteX45481" fmla="*/ 2235552 w 8079933"/>
              <a:gd name="connsiteY45481" fmla="*/ 310412 h 4687251"/>
              <a:gd name="connsiteX45482" fmla="*/ 2231971 w 8079933"/>
              <a:gd name="connsiteY45482" fmla="*/ 321889 h 4687251"/>
              <a:gd name="connsiteX45483" fmla="*/ 2226219 w 8079933"/>
              <a:gd name="connsiteY45483" fmla="*/ 325029 h 4687251"/>
              <a:gd name="connsiteX45484" fmla="*/ 2220576 w 8079933"/>
              <a:gd name="connsiteY45484" fmla="*/ 324162 h 4687251"/>
              <a:gd name="connsiteX45485" fmla="*/ 2217429 w 8079933"/>
              <a:gd name="connsiteY45485" fmla="*/ 317775 h 4687251"/>
              <a:gd name="connsiteX45486" fmla="*/ 2219491 w 8079933"/>
              <a:gd name="connsiteY45486" fmla="*/ 313444 h 4687251"/>
              <a:gd name="connsiteX45487" fmla="*/ 2220902 w 8079933"/>
              <a:gd name="connsiteY45487" fmla="*/ 307164 h 4687251"/>
              <a:gd name="connsiteX45488" fmla="*/ 2221119 w 8079933"/>
              <a:gd name="connsiteY45488" fmla="*/ 302292 h 4687251"/>
              <a:gd name="connsiteX45489" fmla="*/ 2226219 w 8079933"/>
              <a:gd name="connsiteY45489" fmla="*/ 298394 h 4687251"/>
              <a:gd name="connsiteX45490" fmla="*/ 2226436 w 8079933"/>
              <a:gd name="connsiteY45490" fmla="*/ 295254 h 4687251"/>
              <a:gd name="connsiteX45491" fmla="*/ 2227738 w 8079933"/>
              <a:gd name="connsiteY45491" fmla="*/ 293738 h 4687251"/>
              <a:gd name="connsiteX45492" fmla="*/ 2227738 w 8079933"/>
              <a:gd name="connsiteY45492" fmla="*/ 290600 h 4687251"/>
              <a:gd name="connsiteX45493" fmla="*/ 2231211 w 8079933"/>
              <a:gd name="connsiteY45493" fmla="*/ 283886 h 4687251"/>
              <a:gd name="connsiteX45494" fmla="*/ 2231211 w 8079933"/>
              <a:gd name="connsiteY45494" fmla="*/ 279231 h 4687251"/>
              <a:gd name="connsiteX45495" fmla="*/ 4758130 w 8079933"/>
              <a:gd name="connsiteY45495" fmla="*/ 273493 h 4687251"/>
              <a:gd name="connsiteX45496" fmla="*/ 4761711 w 8079933"/>
              <a:gd name="connsiteY45496" fmla="*/ 274467 h 4687251"/>
              <a:gd name="connsiteX45497" fmla="*/ 4763881 w 8079933"/>
              <a:gd name="connsiteY45497" fmla="*/ 277066 h 4687251"/>
              <a:gd name="connsiteX45498" fmla="*/ 4768222 w 8079933"/>
              <a:gd name="connsiteY45498" fmla="*/ 278797 h 4687251"/>
              <a:gd name="connsiteX45499" fmla="*/ 4768222 w 8079933"/>
              <a:gd name="connsiteY45499" fmla="*/ 282478 h 4687251"/>
              <a:gd name="connsiteX45500" fmla="*/ 4765943 w 8079933"/>
              <a:gd name="connsiteY45500" fmla="*/ 284645 h 4687251"/>
              <a:gd name="connsiteX45501" fmla="*/ 4760843 w 8079933"/>
              <a:gd name="connsiteY45501" fmla="*/ 284645 h 4687251"/>
              <a:gd name="connsiteX45502" fmla="*/ 4757804 w 8079933"/>
              <a:gd name="connsiteY45502" fmla="*/ 283345 h 4687251"/>
              <a:gd name="connsiteX45503" fmla="*/ 4755200 w 8079933"/>
              <a:gd name="connsiteY45503" fmla="*/ 286592 h 4687251"/>
              <a:gd name="connsiteX45504" fmla="*/ 4751727 w 8079933"/>
              <a:gd name="connsiteY45504" fmla="*/ 286810 h 4687251"/>
              <a:gd name="connsiteX45505" fmla="*/ 4749123 w 8079933"/>
              <a:gd name="connsiteY45505" fmla="*/ 284969 h 4687251"/>
              <a:gd name="connsiteX45506" fmla="*/ 4748689 w 8079933"/>
              <a:gd name="connsiteY45506" fmla="*/ 279880 h 4687251"/>
              <a:gd name="connsiteX45507" fmla="*/ 4752704 w 8079933"/>
              <a:gd name="connsiteY45507" fmla="*/ 275009 h 4687251"/>
              <a:gd name="connsiteX45508" fmla="*/ 2078962 w 8079933"/>
              <a:gd name="connsiteY45508" fmla="*/ 271109 h 4687251"/>
              <a:gd name="connsiteX45509" fmla="*/ 2076683 w 8079933"/>
              <a:gd name="connsiteY45509" fmla="*/ 274574 h 4687251"/>
              <a:gd name="connsiteX45510" fmla="*/ 2073861 w 8079933"/>
              <a:gd name="connsiteY45510" fmla="*/ 275873 h 4687251"/>
              <a:gd name="connsiteX45511" fmla="*/ 2071908 w 8079933"/>
              <a:gd name="connsiteY45511" fmla="*/ 274574 h 4687251"/>
              <a:gd name="connsiteX45512" fmla="*/ 2073427 w 8079933"/>
              <a:gd name="connsiteY45512" fmla="*/ 271651 h 4687251"/>
              <a:gd name="connsiteX45513" fmla="*/ 4739138 w 8079933"/>
              <a:gd name="connsiteY45513" fmla="*/ 268514 h 4687251"/>
              <a:gd name="connsiteX45514" fmla="*/ 4741416 w 8079933"/>
              <a:gd name="connsiteY45514" fmla="*/ 273060 h 4687251"/>
              <a:gd name="connsiteX45515" fmla="*/ 4743912 w 8079933"/>
              <a:gd name="connsiteY45515" fmla="*/ 273060 h 4687251"/>
              <a:gd name="connsiteX45516" fmla="*/ 4745106 w 8079933"/>
              <a:gd name="connsiteY45516" fmla="*/ 271760 h 4687251"/>
              <a:gd name="connsiteX45517" fmla="*/ 4747710 w 8079933"/>
              <a:gd name="connsiteY45517" fmla="*/ 272519 h 4687251"/>
              <a:gd name="connsiteX45518" fmla="*/ 4748795 w 8079933"/>
              <a:gd name="connsiteY45518" fmla="*/ 275009 h 4687251"/>
              <a:gd name="connsiteX45519" fmla="*/ 4747601 w 8079933"/>
              <a:gd name="connsiteY45519" fmla="*/ 277714 h 4687251"/>
              <a:gd name="connsiteX45520" fmla="*/ 4737727 w 8079933"/>
              <a:gd name="connsiteY45520" fmla="*/ 281938 h 4687251"/>
              <a:gd name="connsiteX45521" fmla="*/ 4734905 w 8079933"/>
              <a:gd name="connsiteY45521" fmla="*/ 280422 h 4687251"/>
              <a:gd name="connsiteX45522" fmla="*/ 4732084 w 8079933"/>
              <a:gd name="connsiteY45522" fmla="*/ 278473 h 4687251"/>
              <a:gd name="connsiteX45523" fmla="*/ 4727092 w 8079933"/>
              <a:gd name="connsiteY45523" fmla="*/ 278473 h 4687251"/>
              <a:gd name="connsiteX45524" fmla="*/ 4723946 w 8079933"/>
              <a:gd name="connsiteY45524" fmla="*/ 274792 h 4687251"/>
              <a:gd name="connsiteX45525" fmla="*/ 4723946 w 8079933"/>
              <a:gd name="connsiteY45525" fmla="*/ 272519 h 4687251"/>
              <a:gd name="connsiteX45526" fmla="*/ 4726659 w 8079933"/>
              <a:gd name="connsiteY45526" fmla="*/ 270895 h 4687251"/>
              <a:gd name="connsiteX45527" fmla="*/ 4731650 w 8079933"/>
              <a:gd name="connsiteY45527" fmla="*/ 269378 h 4687251"/>
              <a:gd name="connsiteX45528" fmla="*/ 4737184 w 8079933"/>
              <a:gd name="connsiteY45528" fmla="*/ 270029 h 4687251"/>
              <a:gd name="connsiteX45529" fmla="*/ 2318784 w 8079933"/>
              <a:gd name="connsiteY45529" fmla="*/ 267753 h 4687251"/>
              <a:gd name="connsiteX45530" fmla="*/ 2320086 w 8079933"/>
              <a:gd name="connsiteY45530" fmla="*/ 269161 h 4687251"/>
              <a:gd name="connsiteX45531" fmla="*/ 2318784 w 8079933"/>
              <a:gd name="connsiteY45531" fmla="*/ 272517 h 4687251"/>
              <a:gd name="connsiteX45532" fmla="*/ 2316504 w 8079933"/>
              <a:gd name="connsiteY45532" fmla="*/ 272625 h 4687251"/>
              <a:gd name="connsiteX45533" fmla="*/ 2315311 w 8079933"/>
              <a:gd name="connsiteY45533" fmla="*/ 271327 h 4687251"/>
              <a:gd name="connsiteX45534" fmla="*/ 2316179 w 8079933"/>
              <a:gd name="connsiteY45534" fmla="*/ 269378 h 4687251"/>
              <a:gd name="connsiteX45535" fmla="*/ 4674138 w 8079933"/>
              <a:gd name="connsiteY45535" fmla="*/ 267538 h 4687251"/>
              <a:gd name="connsiteX45536" fmla="*/ 4674789 w 8079933"/>
              <a:gd name="connsiteY45536" fmla="*/ 269270 h 4687251"/>
              <a:gd name="connsiteX45537" fmla="*/ 4674246 w 8079933"/>
              <a:gd name="connsiteY45537" fmla="*/ 275117 h 4687251"/>
              <a:gd name="connsiteX45538" fmla="*/ 4672184 w 8079933"/>
              <a:gd name="connsiteY45538" fmla="*/ 280747 h 4687251"/>
              <a:gd name="connsiteX45539" fmla="*/ 4668820 w 8079933"/>
              <a:gd name="connsiteY45539" fmla="*/ 283777 h 4687251"/>
              <a:gd name="connsiteX45540" fmla="*/ 4667627 w 8079933"/>
              <a:gd name="connsiteY45540" fmla="*/ 288217 h 4687251"/>
              <a:gd name="connsiteX45541" fmla="*/ 4667952 w 8079933"/>
              <a:gd name="connsiteY45541" fmla="*/ 290599 h 4687251"/>
              <a:gd name="connsiteX45542" fmla="*/ 4670448 w 8079933"/>
              <a:gd name="connsiteY45542" fmla="*/ 289192 h 4687251"/>
              <a:gd name="connsiteX45543" fmla="*/ 4673595 w 8079933"/>
              <a:gd name="connsiteY45543" fmla="*/ 284319 h 4687251"/>
              <a:gd name="connsiteX45544" fmla="*/ 4678804 w 8079933"/>
              <a:gd name="connsiteY45544" fmla="*/ 281722 h 4687251"/>
              <a:gd name="connsiteX45545" fmla="*/ 4680865 w 8079933"/>
              <a:gd name="connsiteY45545" fmla="*/ 282046 h 4687251"/>
              <a:gd name="connsiteX45546" fmla="*/ 4681951 w 8079933"/>
              <a:gd name="connsiteY45546" fmla="*/ 286269 h 4687251"/>
              <a:gd name="connsiteX45547" fmla="*/ 4686617 w 8079933"/>
              <a:gd name="connsiteY45547" fmla="*/ 289409 h 4687251"/>
              <a:gd name="connsiteX45548" fmla="*/ 4686943 w 8079933"/>
              <a:gd name="connsiteY45548" fmla="*/ 291683 h 4687251"/>
              <a:gd name="connsiteX45549" fmla="*/ 4689547 w 8079933"/>
              <a:gd name="connsiteY45549" fmla="*/ 296446 h 4687251"/>
              <a:gd name="connsiteX45550" fmla="*/ 4689113 w 8079933"/>
              <a:gd name="connsiteY45550" fmla="*/ 298286 h 4687251"/>
              <a:gd name="connsiteX45551" fmla="*/ 4685858 w 8079933"/>
              <a:gd name="connsiteY45551" fmla="*/ 300451 h 4687251"/>
              <a:gd name="connsiteX45552" fmla="*/ 4681517 w 8079933"/>
              <a:gd name="connsiteY45552" fmla="*/ 305107 h 4687251"/>
              <a:gd name="connsiteX45553" fmla="*/ 4678479 w 8079933"/>
              <a:gd name="connsiteY45553" fmla="*/ 306190 h 4687251"/>
              <a:gd name="connsiteX45554" fmla="*/ 4675874 w 8079933"/>
              <a:gd name="connsiteY45554" fmla="*/ 305433 h 4687251"/>
              <a:gd name="connsiteX45555" fmla="*/ 4675114 w 8079933"/>
              <a:gd name="connsiteY45555" fmla="*/ 303700 h 4687251"/>
              <a:gd name="connsiteX45556" fmla="*/ 4672619 w 8079933"/>
              <a:gd name="connsiteY45556" fmla="*/ 303267 h 4687251"/>
              <a:gd name="connsiteX45557" fmla="*/ 4670665 w 8079933"/>
              <a:gd name="connsiteY45557" fmla="*/ 304998 h 4687251"/>
              <a:gd name="connsiteX45558" fmla="*/ 4670556 w 8079933"/>
              <a:gd name="connsiteY45558" fmla="*/ 309980 h 4687251"/>
              <a:gd name="connsiteX45559" fmla="*/ 4671533 w 8079933"/>
              <a:gd name="connsiteY45559" fmla="*/ 311387 h 4687251"/>
              <a:gd name="connsiteX45560" fmla="*/ 4674355 w 8079933"/>
              <a:gd name="connsiteY45560" fmla="*/ 311605 h 4687251"/>
              <a:gd name="connsiteX45561" fmla="*/ 4675874 w 8079933"/>
              <a:gd name="connsiteY45561" fmla="*/ 314636 h 4687251"/>
              <a:gd name="connsiteX45562" fmla="*/ 4677285 w 8079933"/>
              <a:gd name="connsiteY45562" fmla="*/ 315935 h 4687251"/>
              <a:gd name="connsiteX45563" fmla="*/ 4677285 w 8079933"/>
              <a:gd name="connsiteY45563" fmla="*/ 317883 h 4687251"/>
              <a:gd name="connsiteX45564" fmla="*/ 4675440 w 8079933"/>
              <a:gd name="connsiteY45564" fmla="*/ 319074 h 4687251"/>
              <a:gd name="connsiteX45565" fmla="*/ 4668278 w 8079933"/>
              <a:gd name="connsiteY45565" fmla="*/ 320698 h 4687251"/>
              <a:gd name="connsiteX45566" fmla="*/ 4664263 w 8079933"/>
              <a:gd name="connsiteY45566" fmla="*/ 320373 h 4687251"/>
              <a:gd name="connsiteX45567" fmla="*/ 4659379 w 8079933"/>
              <a:gd name="connsiteY45567" fmla="*/ 322646 h 4687251"/>
              <a:gd name="connsiteX45568" fmla="*/ 4660030 w 8079933"/>
              <a:gd name="connsiteY45568" fmla="*/ 324596 h 4687251"/>
              <a:gd name="connsiteX45569" fmla="*/ 4663828 w 8079933"/>
              <a:gd name="connsiteY45569" fmla="*/ 328386 h 4687251"/>
              <a:gd name="connsiteX45570" fmla="*/ 4664696 w 8079933"/>
              <a:gd name="connsiteY45570" fmla="*/ 334773 h 4687251"/>
              <a:gd name="connsiteX45571" fmla="*/ 4663612 w 8079933"/>
              <a:gd name="connsiteY45571" fmla="*/ 341161 h 4687251"/>
              <a:gd name="connsiteX45572" fmla="*/ 4660247 w 8079933"/>
              <a:gd name="connsiteY45572" fmla="*/ 343111 h 4687251"/>
              <a:gd name="connsiteX45573" fmla="*/ 4658186 w 8079933"/>
              <a:gd name="connsiteY45573" fmla="*/ 341594 h 4687251"/>
              <a:gd name="connsiteX45574" fmla="*/ 4657317 w 8079933"/>
              <a:gd name="connsiteY45574" fmla="*/ 343760 h 4687251"/>
              <a:gd name="connsiteX45575" fmla="*/ 4657643 w 8079933"/>
              <a:gd name="connsiteY45575" fmla="*/ 347224 h 4687251"/>
              <a:gd name="connsiteX45576" fmla="*/ 4655364 w 8079933"/>
              <a:gd name="connsiteY45576" fmla="*/ 351121 h 4687251"/>
              <a:gd name="connsiteX45577" fmla="*/ 4652651 w 8079933"/>
              <a:gd name="connsiteY45577" fmla="*/ 352963 h 4687251"/>
              <a:gd name="connsiteX45578" fmla="*/ 4650481 w 8079933"/>
              <a:gd name="connsiteY45578" fmla="*/ 352855 h 4687251"/>
              <a:gd name="connsiteX45579" fmla="*/ 4650156 w 8079933"/>
              <a:gd name="connsiteY45579" fmla="*/ 343868 h 4687251"/>
              <a:gd name="connsiteX45580" fmla="*/ 4646575 w 8079933"/>
              <a:gd name="connsiteY45580" fmla="*/ 339755 h 4687251"/>
              <a:gd name="connsiteX45581" fmla="*/ 4643970 w 8079933"/>
              <a:gd name="connsiteY45581" fmla="*/ 339755 h 4687251"/>
              <a:gd name="connsiteX45582" fmla="*/ 4643645 w 8079933"/>
              <a:gd name="connsiteY45582" fmla="*/ 344734 h 4687251"/>
              <a:gd name="connsiteX45583" fmla="*/ 4641583 w 8079933"/>
              <a:gd name="connsiteY45583" fmla="*/ 348199 h 4687251"/>
              <a:gd name="connsiteX45584" fmla="*/ 4637567 w 8079933"/>
              <a:gd name="connsiteY45584" fmla="*/ 347984 h 4687251"/>
              <a:gd name="connsiteX45585" fmla="*/ 4634312 w 8079933"/>
              <a:gd name="connsiteY45585" fmla="*/ 349498 h 4687251"/>
              <a:gd name="connsiteX45586" fmla="*/ 4633118 w 8079933"/>
              <a:gd name="connsiteY45586" fmla="*/ 346791 h 4687251"/>
              <a:gd name="connsiteX45587" fmla="*/ 4634095 w 8079933"/>
              <a:gd name="connsiteY45587" fmla="*/ 344086 h 4687251"/>
              <a:gd name="connsiteX45588" fmla="*/ 4631816 w 8079933"/>
              <a:gd name="connsiteY45588" fmla="*/ 340296 h 4687251"/>
              <a:gd name="connsiteX45589" fmla="*/ 4630188 w 8079933"/>
              <a:gd name="connsiteY45589" fmla="*/ 328711 h 4687251"/>
              <a:gd name="connsiteX45590" fmla="*/ 4634312 w 8079933"/>
              <a:gd name="connsiteY45590" fmla="*/ 325353 h 4687251"/>
              <a:gd name="connsiteX45591" fmla="*/ 4639847 w 8079933"/>
              <a:gd name="connsiteY45591" fmla="*/ 325353 h 4687251"/>
              <a:gd name="connsiteX45592" fmla="*/ 4642885 w 8079933"/>
              <a:gd name="connsiteY45592" fmla="*/ 323731 h 4687251"/>
              <a:gd name="connsiteX45593" fmla="*/ 4641040 w 8079933"/>
              <a:gd name="connsiteY45593" fmla="*/ 321998 h 4687251"/>
              <a:gd name="connsiteX45594" fmla="*/ 4637025 w 8079933"/>
              <a:gd name="connsiteY45594" fmla="*/ 321347 h 4687251"/>
              <a:gd name="connsiteX45595" fmla="*/ 4636049 w 8079933"/>
              <a:gd name="connsiteY45595" fmla="*/ 315827 h 4687251"/>
              <a:gd name="connsiteX45596" fmla="*/ 4632250 w 8079933"/>
              <a:gd name="connsiteY45596" fmla="*/ 313227 h 4687251"/>
              <a:gd name="connsiteX45597" fmla="*/ 4628995 w 8079933"/>
              <a:gd name="connsiteY45597" fmla="*/ 316368 h 4687251"/>
              <a:gd name="connsiteX45598" fmla="*/ 4624980 w 8079933"/>
              <a:gd name="connsiteY45598" fmla="*/ 315502 h 4687251"/>
              <a:gd name="connsiteX45599" fmla="*/ 4625197 w 8079933"/>
              <a:gd name="connsiteY45599" fmla="*/ 311605 h 4687251"/>
              <a:gd name="connsiteX45600" fmla="*/ 4626173 w 8079933"/>
              <a:gd name="connsiteY45600" fmla="*/ 309113 h 4687251"/>
              <a:gd name="connsiteX45601" fmla="*/ 4626390 w 8079933"/>
              <a:gd name="connsiteY45601" fmla="*/ 305864 h 4687251"/>
              <a:gd name="connsiteX45602" fmla="*/ 4628778 w 8079933"/>
              <a:gd name="connsiteY45602" fmla="*/ 303809 h 4687251"/>
              <a:gd name="connsiteX45603" fmla="*/ 4631165 w 8079933"/>
              <a:gd name="connsiteY45603" fmla="*/ 306623 h 4687251"/>
              <a:gd name="connsiteX45604" fmla="*/ 4636157 w 8079933"/>
              <a:gd name="connsiteY45604" fmla="*/ 308789 h 4687251"/>
              <a:gd name="connsiteX45605" fmla="*/ 4639955 w 8079933"/>
              <a:gd name="connsiteY45605" fmla="*/ 308139 h 4687251"/>
              <a:gd name="connsiteX45606" fmla="*/ 4644513 w 8079933"/>
              <a:gd name="connsiteY45606" fmla="*/ 310305 h 4687251"/>
              <a:gd name="connsiteX45607" fmla="*/ 4648419 w 8079933"/>
              <a:gd name="connsiteY45607" fmla="*/ 307922 h 4687251"/>
              <a:gd name="connsiteX45608" fmla="*/ 4651892 w 8079933"/>
              <a:gd name="connsiteY45608" fmla="*/ 302941 h 4687251"/>
              <a:gd name="connsiteX45609" fmla="*/ 4655364 w 8079933"/>
              <a:gd name="connsiteY45609" fmla="*/ 302076 h 4687251"/>
              <a:gd name="connsiteX45610" fmla="*/ 4656992 w 8079933"/>
              <a:gd name="connsiteY45610" fmla="*/ 298827 h 4687251"/>
              <a:gd name="connsiteX45611" fmla="*/ 4656341 w 8079933"/>
              <a:gd name="connsiteY45611" fmla="*/ 293739 h 4687251"/>
              <a:gd name="connsiteX45612" fmla="*/ 4659814 w 8079933"/>
              <a:gd name="connsiteY45612" fmla="*/ 290383 h 4687251"/>
              <a:gd name="connsiteX45613" fmla="*/ 4663395 w 8079933"/>
              <a:gd name="connsiteY45613" fmla="*/ 289083 h 4687251"/>
              <a:gd name="connsiteX45614" fmla="*/ 4663612 w 8079933"/>
              <a:gd name="connsiteY45614" fmla="*/ 286161 h 4687251"/>
              <a:gd name="connsiteX45615" fmla="*/ 4661333 w 8079933"/>
              <a:gd name="connsiteY45615" fmla="*/ 285185 h 4687251"/>
              <a:gd name="connsiteX45616" fmla="*/ 4657643 w 8079933"/>
              <a:gd name="connsiteY45616" fmla="*/ 285944 h 4687251"/>
              <a:gd name="connsiteX45617" fmla="*/ 4656015 w 8079933"/>
              <a:gd name="connsiteY45617" fmla="*/ 284645 h 4687251"/>
              <a:gd name="connsiteX45618" fmla="*/ 4656015 w 8079933"/>
              <a:gd name="connsiteY45618" fmla="*/ 280313 h 4687251"/>
              <a:gd name="connsiteX45619" fmla="*/ 4659814 w 8079933"/>
              <a:gd name="connsiteY45619" fmla="*/ 278797 h 4687251"/>
              <a:gd name="connsiteX45620" fmla="*/ 4662092 w 8079933"/>
              <a:gd name="connsiteY45620" fmla="*/ 273060 h 4687251"/>
              <a:gd name="connsiteX45621" fmla="*/ 4663720 w 8079933"/>
              <a:gd name="connsiteY45621" fmla="*/ 271110 h 4687251"/>
              <a:gd name="connsiteX45622" fmla="*/ 4664913 w 8079933"/>
              <a:gd name="connsiteY45622" fmla="*/ 273601 h 4687251"/>
              <a:gd name="connsiteX45623" fmla="*/ 4663937 w 8079933"/>
              <a:gd name="connsiteY45623" fmla="*/ 278256 h 4687251"/>
              <a:gd name="connsiteX45624" fmla="*/ 4664371 w 8079933"/>
              <a:gd name="connsiteY45624" fmla="*/ 280421 h 4687251"/>
              <a:gd name="connsiteX45625" fmla="*/ 4665999 w 8079933"/>
              <a:gd name="connsiteY45625" fmla="*/ 279880 h 4687251"/>
              <a:gd name="connsiteX45626" fmla="*/ 4668820 w 8079933"/>
              <a:gd name="connsiteY45626" fmla="*/ 273384 h 4687251"/>
              <a:gd name="connsiteX45627" fmla="*/ 3671009 w 8079933"/>
              <a:gd name="connsiteY45627" fmla="*/ 261257 h 4687251"/>
              <a:gd name="connsiteX45628" fmla="*/ 3672637 w 8079933"/>
              <a:gd name="connsiteY45628" fmla="*/ 263207 h 4687251"/>
              <a:gd name="connsiteX45629" fmla="*/ 3672637 w 8079933"/>
              <a:gd name="connsiteY45629" fmla="*/ 271218 h 4687251"/>
              <a:gd name="connsiteX45630" fmla="*/ 3671552 w 8079933"/>
              <a:gd name="connsiteY45630" fmla="*/ 274575 h 4687251"/>
              <a:gd name="connsiteX45631" fmla="*/ 3669598 w 8079933"/>
              <a:gd name="connsiteY45631" fmla="*/ 273925 h 4687251"/>
              <a:gd name="connsiteX45632" fmla="*/ 3667103 w 8079933"/>
              <a:gd name="connsiteY45632" fmla="*/ 268078 h 4687251"/>
              <a:gd name="connsiteX45633" fmla="*/ 3668188 w 8079933"/>
              <a:gd name="connsiteY45633" fmla="*/ 263531 h 4687251"/>
              <a:gd name="connsiteX45634" fmla="*/ 2300878 w 8079933"/>
              <a:gd name="connsiteY45634" fmla="*/ 256275 h 4687251"/>
              <a:gd name="connsiteX45635" fmla="*/ 2305001 w 8079933"/>
              <a:gd name="connsiteY45635" fmla="*/ 256384 h 4687251"/>
              <a:gd name="connsiteX45636" fmla="*/ 2302180 w 8079933"/>
              <a:gd name="connsiteY45636" fmla="*/ 258332 h 4687251"/>
              <a:gd name="connsiteX45637" fmla="*/ 2301312 w 8079933"/>
              <a:gd name="connsiteY45637" fmla="*/ 261364 h 4687251"/>
              <a:gd name="connsiteX45638" fmla="*/ 2296320 w 8079933"/>
              <a:gd name="connsiteY45638" fmla="*/ 264505 h 4687251"/>
              <a:gd name="connsiteX45639" fmla="*/ 2293933 w 8079933"/>
              <a:gd name="connsiteY45639" fmla="*/ 263855 h 4687251"/>
              <a:gd name="connsiteX45640" fmla="*/ 2294801 w 8079933"/>
              <a:gd name="connsiteY45640" fmla="*/ 259308 h 4687251"/>
              <a:gd name="connsiteX45641" fmla="*/ 4781894 w 8079933"/>
              <a:gd name="connsiteY45641" fmla="*/ 250756 h 4687251"/>
              <a:gd name="connsiteX45642" fmla="*/ 4783955 w 8079933"/>
              <a:gd name="connsiteY45642" fmla="*/ 251188 h 4687251"/>
              <a:gd name="connsiteX45643" fmla="*/ 4786451 w 8079933"/>
              <a:gd name="connsiteY45643" fmla="*/ 255194 h 4687251"/>
              <a:gd name="connsiteX45644" fmla="*/ 4786994 w 8079933"/>
              <a:gd name="connsiteY45644" fmla="*/ 258443 h 4687251"/>
              <a:gd name="connsiteX45645" fmla="*/ 4785150 w 8079933"/>
              <a:gd name="connsiteY45645" fmla="*/ 259633 h 4687251"/>
              <a:gd name="connsiteX45646" fmla="*/ 4784498 w 8079933"/>
              <a:gd name="connsiteY45646" fmla="*/ 262882 h 4687251"/>
              <a:gd name="connsiteX45647" fmla="*/ 4782110 w 8079933"/>
              <a:gd name="connsiteY45647" fmla="*/ 264722 h 4687251"/>
              <a:gd name="connsiteX45648" fmla="*/ 4777879 w 8079933"/>
              <a:gd name="connsiteY45648" fmla="*/ 264722 h 4687251"/>
              <a:gd name="connsiteX45649" fmla="*/ 4776034 w 8079933"/>
              <a:gd name="connsiteY45649" fmla="*/ 263314 h 4687251"/>
              <a:gd name="connsiteX45650" fmla="*/ 4776143 w 8079933"/>
              <a:gd name="connsiteY45650" fmla="*/ 260067 h 4687251"/>
              <a:gd name="connsiteX45651" fmla="*/ 4777879 w 8079933"/>
              <a:gd name="connsiteY45651" fmla="*/ 258118 h 4687251"/>
              <a:gd name="connsiteX45652" fmla="*/ 4779506 w 8079933"/>
              <a:gd name="connsiteY45652" fmla="*/ 252813 h 4687251"/>
              <a:gd name="connsiteX45653" fmla="*/ 4725139 w 8079933"/>
              <a:gd name="connsiteY45653" fmla="*/ 249456 h 4687251"/>
              <a:gd name="connsiteX45654" fmla="*/ 4736316 w 8079933"/>
              <a:gd name="connsiteY45654" fmla="*/ 249674 h 4687251"/>
              <a:gd name="connsiteX45655" fmla="*/ 4740223 w 8079933"/>
              <a:gd name="connsiteY45655" fmla="*/ 251730 h 4687251"/>
              <a:gd name="connsiteX45656" fmla="*/ 4746300 w 8079933"/>
              <a:gd name="connsiteY45656" fmla="*/ 251514 h 4687251"/>
              <a:gd name="connsiteX45657" fmla="*/ 4749230 w 8079933"/>
              <a:gd name="connsiteY45657" fmla="*/ 253788 h 4687251"/>
              <a:gd name="connsiteX45658" fmla="*/ 4751617 w 8079933"/>
              <a:gd name="connsiteY45658" fmla="*/ 254004 h 4687251"/>
              <a:gd name="connsiteX45659" fmla="*/ 4758996 w 8079933"/>
              <a:gd name="connsiteY45659" fmla="*/ 259525 h 4687251"/>
              <a:gd name="connsiteX45660" fmla="*/ 4766484 w 8079933"/>
              <a:gd name="connsiteY45660" fmla="*/ 261908 h 4687251"/>
              <a:gd name="connsiteX45661" fmla="*/ 4770607 w 8079933"/>
              <a:gd name="connsiteY45661" fmla="*/ 261908 h 4687251"/>
              <a:gd name="connsiteX45662" fmla="*/ 4773863 w 8079933"/>
              <a:gd name="connsiteY45662" fmla="*/ 266563 h 4687251"/>
              <a:gd name="connsiteX45663" fmla="*/ 4772778 w 8079933"/>
              <a:gd name="connsiteY45663" fmla="*/ 273168 h 4687251"/>
              <a:gd name="connsiteX45664" fmla="*/ 4770607 w 8079933"/>
              <a:gd name="connsiteY45664" fmla="*/ 274467 h 4687251"/>
              <a:gd name="connsiteX45665" fmla="*/ 4765941 w 8079933"/>
              <a:gd name="connsiteY45665" fmla="*/ 272843 h 4687251"/>
              <a:gd name="connsiteX45666" fmla="*/ 4759756 w 8079933"/>
              <a:gd name="connsiteY45666" fmla="*/ 270136 h 4687251"/>
              <a:gd name="connsiteX45667" fmla="*/ 4754221 w 8079933"/>
              <a:gd name="connsiteY45667" fmla="*/ 271219 h 4687251"/>
              <a:gd name="connsiteX45668" fmla="*/ 4748470 w 8079933"/>
              <a:gd name="connsiteY45668" fmla="*/ 269810 h 4687251"/>
              <a:gd name="connsiteX45669" fmla="*/ 4745974 w 8079933"/>
              <a:gd name="connsiteY45669" fmla="*/ 264614 h 4687251"/>
              <a:gd name="connsiteX45670" fmla="*/ 4743370 w 8079933"/>
              <a:gd name="connsiteY45670" fmla="*/ 265697 h 4687251"/>
              <a:gd name="connsiteX45671" fmla="*/ 4740766 w 8079933"/>
              <a:gd name="connsiteY45671" fmla="*/ 265480 h 4687251"/>
              <a:gd name="connsiteX45672" fmla="*/ 4738921 w 8079933"/>
              <a:gd name="connsiteY45672" fmla="*/ 261366 h 4687251"/>
              <a:gd name="connsiteX45673" fmla="*/ 4735123 w 8079933"/>
              <a:gd name="connsiteY45673" fmla="*/ 257901 h 4687251"/>
              <a:gd name="connsiteX45674" fmla="*/ 4732844 w 8079933"/>
              <a:gd name="connsiteY45674" fmla="*/ 258226 h 4687251"/>
              <a:gd name="connsiteX45675" fmla="*/ 4730240 w 8079933"/>
              <a:gd name="connsiteY45675" fmla="*/ 261582 h 4687251"/>
              <a:gd name="connsiteX45676" fmla="*/ 4723512 w 8079933"/>
              <a:gd name="connsiteY45676" fmla="*/ 259092 h 4687251"/>
              <a:gd name="connsiteX45677" fmla="*/ 4720473 w 8079933"/>
              <a:gd name="connsiteY45677" fmla="*/ 257252 h 4687251"/>
              <a:gd name="connsiteX45678" fmla="*/ 4721016 w 8079933"/>
              <a:gd name="connsiteY45678" fmla="*/ 255194 h 4687251"/>
              <a:gd name="connsiteX45679" fmla="*/ 4719931 w 8079933"/>
              <a:gd name="connsiteY45679" fmla="*/ 251081 h 4687251"/>
              <a:gd name="connsiteX45680" fmla="*/ 4665238 w 8079933"/>
              <a:gd name="connsiteY45680" fmla="*/ 248266 h 4687251"/>
              <a:gd name="connsiteX45681" fmla="*/ 4667191 w 8079933"/>
              <a:gd name="connsiteY45681" fmla="*/ 248266 h 4687251"/>
              <a:gd name="connsiteX45682" fmla="*/ 4667191 w 8079933"/>
              <a:gd name="connsiteY45682" fmla="*/ 252705 h 4687251"/>
              <a:gd name="connsiteX45683" fmla="*/ 4669362 w 8079933"/>
              <a:gd name="connsiteY45683" fmla="*/ 255412 h 4687251"/>
              <a:gd name="connsiteX45684" fmla="*/ 4668386 w 8079933"/>
              <a:gd name="connsiteY45684" fmla="*/ 258876 h 4687251"/>
              <a:gd name="connsiteX45685" fmla="*/ 4662200 w 8079933"/>
              <a:gd name="connsiteY45685" fmla="*/ 258876 h 4687251"/>
              <a:gd name="connsiteX45686" fmla="*/ 4661115 w 8079933"/>
              <a:gd name="connsiteY45686" fmla="*/ 257578 h 4687251"/>
              <a:gd name="connsiteX45687" fmla="*/ 4662092 w 8079933"/>
              <a:gd name="connsiteY45687" fmla="*/ 252271 h 4687251"/>
              <a:gd name="connsiteX45688" fmla="*/ 5635919 w 8079933"/>
              <a:gd name="connsiteY45688" fmla="*/ 245018 h 4687251"/>
              <a:gd name="connsiteX45689" fmla="*/ 5639174 w 8079933"/>
              <a:gd name="connsiteY45689" fmla="*/ 245884 h 4687251"/>
              <a:gd name="connsiteX45690" fmla="*/ 5641020 w 8079933"/>
              <a:gd name="connsiteY45690" fmla="*/ 251405 h 4687251"/>
              <a:gd name="connsiteX45691" fmla="*/ 5638415 w 8079933"/>
              <a:gd name="connsiteY45691" fmla="*/ 256060 h 4687251"/>
              <a:gd name="connsiteX45692" fmla="*/ 5635160 w 8079933"/>
              <a:gd name="connsiteY45692" fmla="*/ 253138 h 4687251"/>
              <a:gd name="connsiteX45693" fmla="*/ 5632664 w 8079933"/>
              <a:gd name="connsiteY45693" fmla="*/ 256060 h 4687251"/>
              <a:gd name="connsiteX45694" fmla="*/ 5626262 w 8079933"/>
              <a:gd name="connsiteY45694" fmla="*/ 256927 h 4687251"/>
              <a:gd name="connsiteX45695" fmla="*/ 5619208 w 8079933"/>
              <a:gd name="connsiteY45695" fmla="*/ 256385 h 4687251"/>
              <a:gd name="connsiteX45696" fmla="*/ 5618991 w 8079933"/>
              <a:gd name="connsiteY45696" fmla="*/ 253678 h 4687251"/>
              <a:gd name="connsiteX45697" fmla="*/ 5621270 w 8079933"/>
              <a:gd name="connsiteY45697" fmla="*/ 250214 h 4687251"/>
              <a:gd name="connsiteX45698" fmla="*/ 5627456 w 8079933"/>
              <a:gd name="connsiteY45698" fmla="*/ 250864 h 4687251"/>
              <a:gd name="connsiteX45699" fmla="*/ 5630168 w 8079933"/>
              <a:gd name="connsiteY45699" fmla="*/ 246209 h 4687251"/>
              <a:gd name="connsiteX45700" fmla="*/ 5634292 w 8079933"/>
              <a:gd name="connsiteY45700" fmla="*/ 246425 h 4687251"/>
              <a:gd name="connsiteX45701" fmla="*/ 3666778 w 8079933"/>
              <a:gd name="connsiteY45701" fmla="*/ 245017 h 4687251"/>
              <a:gd name="connsiteX45702" fmla="*/ 3668731 w 8079933"/>
              <a:gd name="connsiteY45702" fmla="*/ 247074 h 4687251"/>
              <a:gd name="connsiteX45703" fmla="*/ 3668405 w 8079933"/>
              <a:gd name="connsiteY45703" fmla="*/ 251512 h 4687251"/>
              <a:gd name="connsiteX45704" fmla="*/ 3667103 w 8079933"/>
              <a:gd name="connsiteY45704" fmla="*/ 253137 h 4687251"/>
              <a:gd name="connsiteX45705" fmla="*/ 3666560 w 8079933"/>
              <a:gd name="connsiteY45705" fmla="*/ 258550 h 4687251"/>
              <a:gd name="connsiteX45706" fmla="*/ 3662979 w 8079933"/>
              <a:gd name="connsiteY45706" fmla="*/ 261798 h 4687251"/>
              <a:gd name="connsiteX45707" fmla="*/ 3661460 w 8079933"/>
              <a:gd name="connsiteY45707" fmla="*/ 260174 h 4687251"/>
              <a:gd name="connsiteX45708" fmla="*/ 3661677 w 8079933"/>
              <a:gd name="connsiteY45708" fmla="*/ 254652 h 4687251"/>
              <a:gd name="connsiteX45709" fmla="*/ 3660592 w 8079933"/>
              <a:gd name="connsiteY45709" fmla="*/ 251080 h 4687251"/>
              <a:gd name="connsiteX45710" fmla="*/ 3663522 w 8079933"/>
              <a:gd name="connsiteY45710" fmla="*/ 246099 h 4687251"/>
              <a:gd name="connsiteX45711" fmla="*/ 2402124 w 8079933"/>
              <a:gd name="connsiteY45711" fmla="*/ 242851 h 4687251"/>
              <a:gd name="connsiteX45712" fmla="*/ 2406790 w 8079933"/>
              <a:gd name="connsiteY45712" fmla="*/ 242959 h 4687251"/>
              <a:gd name="connsiteX45713" fmla="*/ 2412650 w 8079933"/>
              <a:gd name="connsiteY45713" fmla="*/ 250429 h 4687251"/>
              <a:gd name="connsiteX45714" fmla="*/ 2414712 w 8079933"/>
              <a:gd name="connsiteY45714" fmla="*/ 255734 h 4687251"/>
              <a:gd name="connsiteX45715" fmla="*/ 2414170 w 8079933"/>
              <a:gd name="connsiteY45715" fmla="*/ 259308 h 4687251"/>
              <a:gd name="connsiteX45716" fmla="*/ 2415580 w 8079933"/>
              <a:gd name="connsiteY45716" fmla="*/ 262448 h 4687251"/>
              <a:gd name="connsiteX45717" fmla="*/ 2418293 w 8079933"/>
              <a:gd name="connsiteY45717" fmla="*/ 263422 h 4687251"/>
              <a:gd name="connsiteX45718" fmla="*/ 2418618 w 8079933"/>
              <a:gd name="connsiteY45718" fmla="*/ 268619 h 4687251"/>
              <a:gd name="connsiteX45719" fmla="*/ 2421440 w 8079933"/>
              <a:gd name="connsiteY45719" fmla="*/ 270026 h 4687251"/>
              <a:gd name="connsiteX45720" fmla="*/ 2421766 w 8079933"/>
              <a:gd name="connsiteY45720" fmla="*/ 272625 h 4687251"/>
              <a:gd name="connsiteX45721" fmla="*/ 2424044 w 8079933"/>
              <a:gd name="connsiteY45721" fmla="*/ 277930 h 4687251"/>
              <a:gd name="connsiteX45722" fmla="*/ 2428710 w 8079933"/>
              <a:gd name="connsiteY45722" fmla="*/ 278363 h 4687251"/>
              <a:gd name="connsiteX45723" fmla="*/ 2428710 w 8079933"/>
              <a:gd name="connsiteY45723" fmla="*/ 280638 h 4687251"/>
              <a:gd name="connsiteX45724" fmla="*/ 2430772 w 8079933"/>
              <a:gd name="connsiteY45724" fmla="*/ 284752 h 4687251"/>
              <a:gd name="connsiteX45725" fmla="*/ 2432834 w 8079933"/>
              <a:gd name="connsiteY45725" fmla="*/ 293846 h 4687251"/>
              <a:gd name="connsiteX45726" fmla="*/ 2427951 w 8079933"/>
              <a:gd name="connsiteY45726" fmla="*/ 297528 h 4687251"/>
              <a:gd name="connsiteX45727" fmla="*/ 2425238 w 8079933"/>
              <a:gd name="connsiteY45727" fmla="*/ 300235 h 4687251"/>
              <a:gd name="connsiteX45728" fmla="*/ 2420898 w 8079933"/>
              <a:gd name="connsiteY45728" fmla="*/ 300018 h 4687251"/>
              <a:gd name="connsiteX45729" fmla="*/ 2418185 w 8079933"/>
              <a:gd name="connsiteY45729" fmla="*/ 301425 h 4687251"/>
              <a:gd name="connsiteX45730" fmla="*/ 2420246 w 8079933"/>
              <a:gd name="connsiteY45730" fmla="*/ 303483 h 4687251"/>
              <a:gd name="connsiteX45731" fmla="*/ 2422851 w 8079933"/>
              <a:gd name="connsiteY45731" fmla="*/ 303699 h 4687251"/>
              <a:gd name="connsiteX45732" fmla="*/ 2424044 w 8079933"/>
              <a:gd name="connsiteY45732" fmla="*/ 311061 h 4687251"/>
              <a:gd name="connsiteX45733" fmla="*/ 2423176 w 8079933"/>
              <a:gd name="connsiteY45733" fmla="*/ 315501 h 4687251"/>
              <a:gd name="connsiteX45734" fmla="*/ 2414929 w 8079933"/>
              <a:gd name="connsiteY45734" fmla="*/ 321022 h 4687251"/>
              <a:gd name="connsiteX45735" fmla="*/ 2412433 w 8079933"/>
              <a:gd name="connsiteY45735" fmla="*/ 323513 h 4687251"/>
              <a:gd name="connsiteX45736" fmla="*/ 2409503 w 8079933"/>
              <a:gd name="connsiteY45736" fmla="*/ 322971 h 4687251"/>
              <a:gd name="connsiteX45737" fmla="*/ 2409177 w 8079933"/>
              <a:gd name="connsiteY45737" fmla="*/ 319183 h 4687251"/>
              <a:gd name="connsiteX45738" fmla="*/ 2407007 w 8079933"/>
              <a:gd name="connsiteY45738" fmla="*/ 317450 h 4687251"/>
              <a:gd name="connsiteX45739" fmla="*/ 2401473 w 8079933"/>
              <a:gd name="connsiteY45739" fmla="*/ 321348 h 4687251"/>
              <a:gd name="connsiteX45740" fmla="*/ 2397675 w 8079933"/>
              <a:gd name="connsiteY45740" fmla="*/ 319615 h 4687251"/>
              <a:gd name="connsiteX45741" fmla="*/ 2390947 w 8079933"/>
              <a:gd name="connsiteY45741" fmla="*/ 321781 h 4687251"/>
              <a:gd name="connsiteX45742" fmla="*/ 2387474 w 8079933"/>
              <a:gd name="connsiteY45742" fmla="*/ 321348 h 4687251"/>
              <a:gd name="connsiteX45743" fmla="*/ 2386824 w 8079933"/>
              <a:gd name="connsiteY45743" fmla="*/ 316043 h 4687251"/>
              <a:gd name="connsiteX45744" fmla="*/ 2383026 w 8079933"/>
              <a:gd name="connsiteY45744" fmla="*/ 315718 h 4687251"/>
              <a:gd name="connsiteX45745" fmla="*/ 2382158 w 8079933"/>
              <a:gd name="connsiteY45745" fmla="*/ 318965 h 4687251"/>
              <a:gd name="connsiteX45746" fmla="*/ 2377274 w 8079933"/>
              <a:gd name="connsiteY45746" fmla="*/ 320698 h 4687251"/>
              <a:gd name="connsiteX45747" fmla="*/ 2377165 w 8079933"/>
              <a:gd name="connsiteY45747" fmla="*/ 315501 h 4687251"/>
              <a:gd name="connsiteX45748" fmla="*/ 2379878 w 8079933"/>
              <a:gd name="connsiteY45748" fmla="*/ 311928 h 4687251"/>
              <a:gd name="connsiteX45749" fmla="*/ 2377491 w 8079933"/>
              <a:gd name="connsiteY45749" fmla="*/ 309330 h 4687251"/>
              <a:gd name="connsiteX45750" fmla="*/ 2377165 w 8079933"/>
              <a:gd name="connsiteY45750" fmla="*/ 303916 h 4687251"/>
              <a:gd name="connsiteX45751" fmla="*/ 2372825 w 8079933"/>
              <a:gd name="connsiteY45751" fmla="*/ 301317 h 4687251"/>
              <a:gd name="connsiteX45752" fmla="*/ 2374452 w 8079933"/>
              <a:gd name="connsiteY45752" fmla="*/ 298178 h 4687251"/>
              <a:gd name="connsiteX45753" fmla="*/ 2375972 w 8079933"/>
              <a:gd name="connsiteY45753" fmla="*/ 294712 h 4687251"/>
              <a:gd name="connsiteX45754" fmla="*/ 2381506 w 8079933"/>
              <a:gd name="connsiteY45754" fmla="*/ 295471 h 4687251"/>
              <a:gd name="connsiteX45755" fmla="*/ 2386281 w 8079933"/>
              <a:gd name="connsiteY45755" fmla="*/ 299368 h 4687251"/>
              <a:gd name="connsiteX45756" fmla="*/ 2388126 w 8079933"/>
              <a:gd name="connsiteY45756" fmla="*/ 299585 h 4687251"/>
              <a:gd name="connsiteX45757" fmla="*/ 2388668 w 8079933"/>
              <a:gd name="connsiteY45757" fmla="*/ 295579 h 4687251"/>
              <a:gd name="connsiteX45758" fmla="*/ 2383893 w 8079933"/>
              <a:gd name="connsiteY45758" fmla="*/ 288432 h 4687251"/>
              <a:gd name="connsiteX45759" fmla="*/ 2379227 w 8079933"/>
              <a:gd name="connsiteY45759" fmla="*/ 285618 h 4687251"/>
              <a:gd name="connsiteX45760" fmla="*/ 2378359 w 8079933"/>
              <a:gd name="connsiteY45760" fmla="*/ 283020 h 4687251"/>
              <a:gd name="connsiteX45761" fmla="*/ 2383026 w 8079933"/>
              <a:gd name="connsiteY45761" fmla="*/ 282911 h 4687251"/>
              <a:gd name="connsiteX45762" fmla="*/ 2380204 w 8079933"/>
              <a:gd name="connsiteY45762" fmla="*/ 278255 h 4687251"/>
              <a:gd name="connsiteX45763" fmla="*/ 2383242 w 8079933"/>
              <a:gd name="connsiteY45763" fmla="*/ 273817 h 4687251"/>
              <a:gd name="connsiteX45764" fmla="*/ 2383568 w 8079933"/>
              <a:gd name="connsiteY45764" fmla="*/ 266237 h 4687251"/>
              <a:gd name="connsiteX45765" fmla="*/ 2386064 w 8079933"/>
              <a:gd name="connsiteY45765" fmla="*/ 259849 h 4687251"/>
              <a:gd name="connsiteX45766" fmla="*/ 2389428 w 8079933"/>
              <a:gd name="connsiteY45766" fmla="*/ 260174 h 4687251"/>
              <a:gd name="connsiteX45767" fmla="*/ 2392683 w 8079933"/>
              <a:gd name="connsiteY45767" fmla="*/ 257900 h 4687251"/>
              <a:gd name="connsiteX45768" fmla="*/ 2393226 w 8079933"/>
              <a:gd name="connsiteY45768" fmla="*/ 251079 h 4687251"/>
              <a:gd name="connsiteX45769" fmla="*/ 2396265 w 8079933"/>
              <a:gd name="connsiteY45769" fmla="*/ 247830 h 4687251"/>
              <a:gd name="connsiteX45770" fmla="*/ 4747168 w 8079933"/>
              <a:gd name="connsiteY45770" fmla="*/ 240688 h 4687251"/>
              <a:gd name="connsiteX45771" fmla="*/ 4753571 w 8079933"/>
              <a:gd name="connsiteY45771" fmla="*/ 241120 h 4687251"/>
              <a:gd name="connsiteX45772" fmla="*/ 4761276 w 8079933"/>
              <a:gd name="connsiteY45772" fmla="*/ 244694 h 4687251"/>
              <a:gd name="connsiteX45773" fmla="*/ 4768329 w 8079933"/>
              <a:gd name="connsiteY45773" fmla="*/ 251081 h 4687251"/>
              <a:gd name="connsiteX45774" fmla="*/ 4771150 w 8079933"/>
              <a:gd name="connsiteY45774" fmla="*/ 251081 h 4687251"/>
              <a:gd name="connsiteX45775" fmla="*/ 4774080 w 8079933"/>
              <a:gd name="connsiteY45775" fmla="*/ 248483 h 4687251"/>
              <a:gd name="connsiteX45776" fmla="*/ 4775274 w 8079933"/>
              <a:gd name="connsiteY45776" fmla="*/ 249999 h 4687251"/>
              <a:gd name="connsiteX45777" fmla="*/ 4774189 w 8079933"/>
              <a:gd name="connsiteY45777" fmla="*/ 253463 h 4687251"/>
              <a:gd name="connsiteX45778" fmla="*/ 4772778 w 8079933"/>
              <a:gd name="connsiteY45778" fmla="*/ 258984 h 4687251"/>
              <a:gd name="connsiteX45779" fmla="*/ 4769414 w 8079933"/>
              <a:gd name="connsiteY45779" fmla="*/ 260718 h 4687251"/>
              <a:gd name="connsiteX45780" fmla="*/ 4765725 w 8079933"/>
              <a:gd name="connsiteY45780" fmla="*/ 255736 h 4687251"/>
              <a:gd name="connsiteX45781" fmla="*/ 4756501 w 8079933"/>
              <a:gd name="connsiteY45781" fmla="*/ 249024 h 4687251"/>
              <a:gd name="connsiteX45782" fmla="*/ 4748688 w 8079933"/>
              <a:gd name="connsiteY45782" fmla="*/ 245885 h 4687251"/>
              <a:gd name="connsiteX45783" fmla="*/ 4744022 w 8079933"/>
              <a:gd name="connsiteY45783" fmla="*/ 245885 h 4687251"/>
              <a:gd name="connsiteX45784" fmla="*/ 4741309 w 8079933"/>
              <a:gd name="connsiteY45784" fmla="*/ 244044 h 4687251"/>
              <a:gd name="connsiteX45785" fmla="*/ 4742502 w 8079933"/>
              <a:gd name="connsiteY45785" fmla="*/ 242312 h 4687251"/>
              <a:gd name="connsiteX45786" fmla="*/ 5618123 w 8079933"/>
              <a:gd name="connsiteY45786" fmla="*/ 240036 h 4687251"/>
              <a:gd name="connsiteX45787" fmla="*/ 5619317 w 8079933"/>
              <a:gd name="connsiteY45787" fmla="*/ 242851 h 4687251"/>
              <a:gd name="connsiteX45788" fmla="*/ 5616929 w 8079933"/>
              <a:gd name="connsiteY45788" fmla="*/ 243611 h 4687251"/>
              <a:gd name="connsiteX45789" fmla="*/ 5615194 w 8079933"/>
              <a:gd name="connsiteY45789" fmla="*/ 246100 h 4687251"/>
              <a:gd name="connsiteX45790" fmla="*/ 5617147 w 8079933"/>
              <a:gd name="connsiteY45790" fmla="*/ 247399 h 4687251"/>
              <a:gd name="connsiteX45791" fmla="*/ 5616929 w 8079933"/>
              <a:gd name="connsiteY45791" fmla="*/ 249674 h 4687251"/>
              <a:gd name="connsiteX45792" fmla="*/ 5613023 w 8079933"/>
              <a:gd name="connsiteY45792" fmla="*/ 253246 h 4687251"/>
              <a:gd name="connsiteX45793" fmla="*/ 5610419 w 8079933"/>
              <a:gd name="connsiteY45793" fmla="*/ 254112 h 4687251"/>
              <a:gd name="connsiteX45794" fmla="*/ 5608031 w 8079933"/>
              <a:gd name="connsiteY45794" fmla="*/ 252271 h 4687251"/>
              <a:gd name="connsiteX45795" fmla="*/ 5608899 w 8079933"/>
              <a:gd name="connsiteY45795" fmla="*/ 248481 h 4687251"/>
              <a:gd name="connsiteX45796" fmla="*/ 5611612 w 8079933"/>
              <a:gd name="connsiteY45796" fmla="*/ 247616 h 4687251"/>
              <a:gd name="connsiteX45797" fmla="*/ 5611070 w 8079933"/>
              <a:gd name="connsiteY45797" fmla="*/ 245018 h 4687251"/>
              <a:gd name="connsiteX45798" fmla="*/ 5614543 w 8079933"/>
              <a:gd name="connsiteY45798" fmla="*/ 240577 h 4687251"/>
              <a:gd name="connsiteX45799" fmla="*/ 4834308 w 8079933"/>
              <a:gd name="connsiteY45799" fmla="*/ 238629 h 4687251"/>
              <a:gd name="connsiteX45800" fmla="*/ 4836912 w 8079933"/>
              <a:gd name="connsiteY45800" fmla="*/ 244692 h 4687251"/>
              <a:gd name="connsiteX45801" fmla="*/ 4841361 w 8079933"/>
              <a:gd name="connsiteY45801" fmla="*/ 247399 h 4687251"/>
              <a:gd name="connsiteX45802" fmla="*/ 4845593 w 8079933"/>
              <a:gd name="connsiteY45802" fmla="*/ 252596 h 4687251"/>
              <a:gd name="connsiteX45803" fmla="*/ 4845593 w 8079933"/>
              <a:gd name="connsiteY45803" fmla="*/ 255735 h 4687251"/>
              <a:gd name="connsiteX45804" fmla="*/ 4841252 w 8079933"/>
              <a:gd name="connsiteY45804" fmla="*/ 258226 h 4687251"/>
              <a:gd name="connsiteX45805" fmla="*/ 4835718 w 8079933"/>
              <a:gd name="connsiteY45805" fmla="*/ 258443 h 4687251"/>
              <a:gd name="connsiteX45806" fmla="*/ 4831703 w 8079933"/>
              <a:gd name="connsiteY45806" fmla="*/ 261150 h 4687251"/>
              <a:gd name="connsiteX45807" fmla="*/ 4831268 w 8079933"/>
              <a:gd name="connsiteY45807" fmla="*/ 264506 h 4687251"/>
              <a:gd name="connsiteX45808" fmla="*/ 4834199 w 8079933"/>
              <a:gd name="connsiteY45808" fmla="*/ 270354 h 4687251"/>
              <a:gd name="connsiteX45809" fmla="*/ 4839299 w 8079933"/>
              <a:gd name="connsiteY45809" fmla="*/ 272410 h 4687251"/>
              <a:gd name="connsiteX45810" fmla="*/ 4842229 w 8079933"/>
              <a:gd name="connsiteY45810" fmla="*/ 276957 h 4687251"/>
              <a:gd name="connsiteX45811" fmla="*/ 4846027 w 8079933"/>
              <a:gd name="connsiteY45811" fmla="*/ 280638 h 4687251"/>
              <a:gd name="connsiteX45812" fmla="*/ 4846353 w 8079933"/>
              <a:gd name="connsiteY45812" fmla="*/ 283886 h 4687251"/>
              <a:gd name="connsiteX45813" fmla="*/ 4839299 w 8079933"/>
              <a:gd name="connsiteY45813" fmla="*/ 285293 h 4687251"/>
              <a:gd name="connsiteX45814" fmla="*/ 4834850 w 8079933"/>
              <a:gd name="connsiteY45814" fmla="*/ 288325 h 4687251"/>
              <a:gd name="connsiteX45815" fmla="*/ 4828990 w 8079933"/>
              <a:gd name="connsiteY45815" fmla="*/ 288866 h 4687251"/>
              <a:gd name="connsiteX45816" fmla="*/ 4821394 w 8079933"/>
              <a:gd name="connsiteY45816" fmla="*/ 291790 h 4687251"/>
              <a:gd name="connsiteX45817" fmla="*/ 4816945 w 8079933"/>
              <a:gd name="connsiteY45817" fmla="*/ 292007 h 4687251"/>
              <a:gd name="connsiteX45818" fmla="*/ 4811084 w 8079933"/>
              <a:gd name="connsiteY45818" fmla="*/ 283886 h 4687251"/>
              <a:gd name="connsiteX45819" fmla="*/ 4808154 w 8079933"/>
              <a:gd name="connsiteY45819" fmla="*/ 276632 h 4687251"/>
              <a:gd name="connsiteX45820" fmla="*/ 4808480 w 8079933"/>
              <a:gd name="connsiteY45820" fmla="*/ 263424 h 4687251"/>
              <a:gd name="connsiteX45821" fmla="*/ 4806744 w 8079933"/>
              <a:gd name="connsiteY45821" fmla="*/ 258226 h 4687251"/>
              <a:gd name="connsiteX45822" fmla="*/ 4806744 w 8079933"/>
              <a:gd name="connsiteY45822" fmla="*/ 254112 h 4687251"/>
              <a:gd name="connsiteX45823" fmla="*/ 4809890 w 8079933"/>
              <a:gd name="connsiteY45823" fmla="*/ 252596 h 4687251"/>
              <a:gd name="connsiteX45824" fmla="*/ 4812820 w 8079933"/>
              <a:gd name="connsiteY45824" fmla="*/ 255194 h 4687251"/>
              <a:gd name="connsiteX45825" fmla="*/ 4817270 w 8079933"/>
              <a:gd name="connsiteY45825" fmla="*/ 254978 h 4687251"/>
              <a:gd name="connsiteX45826" fmla="*/ 4823781 w 8079933"/>
              <a:gd name="connsiteY45826" fmla="*/ 249456 h 4687251"/>
              <a:gd name="connsiteX45827" fmla="*/ 4827145 w 8079933"/>
              <a:gd name="connsiteY45827" fmla="*/ 249132 h 4687251"/>
              <a:gd name="connsiteX45828" fmla="*/ 4828447 w 8079933"/>
              <a:gd name="connsiteY45828" fmla="*/ 250539 h 4687251"/>
              <a:gd name="connsiteX45829" fmla="*/ 4832788 w 8079933"/>
              <a:gd name="connsiteY45829" fmla="*/ 247075 h 4687251"/>
              <a:gd name="connsiteX45830" fmla="*/ 4832788 w 8079933"/>
              <a:gd name="connsiteY45830" fmla="*/ 241770 h 4687251"/>
              <a:gd name="connsiteX45831" fmla="*/ 2941017 w 8079933"/>
              <a:gd name="connsiteY45831" fmla="*/ 237980 h 4687251"/>
              <a:gd name="connsiteX45832" fmla="*/ 2944381 w 8079933"/>
              <a:gd name="connsiteY45832" fmla="*/ 241335 h 4687251"/>
              <a:gd name="connsiteX45833" fmla="*/ 2943839 w 8079933"/>
              <a:gd name="connsiteY45833" fmla="*/ 246315 h 4687251"/>
              <a:gd name="connsiteX45834" fmla="*/ 2940040 w 8079933"/>
              <a:gd name="connsiteY45834" fmla="*/ 244583 h 4687251"/>
              <a:gd name="connsiteX45835" fmla="*/ 2939389 w 8079933"/>
              <a:gd name="connsiteY45835" fmla="*/ 241119 h 4687251"/>
              <a:gd name="connsiteX45836" fmla="*/ 2936785 w 8079933"/>
              <a:gd name="connsiteY45836" fmla="*/ 238736 h 4687251"/>
              <a:gd name="connsiteX45837" fmla="*/ 3686311 w 8079933"/>
              <a:gd name="connsiteY45837" fmla="*/ 236897 h 4687251"/>
              <a:gd name="connsiteX45838" fmla="*/ 3687070 w 8079933"/>
              <a:gd name="connsiteY45838" fmla="*/ 241444 h 4687251"/>
              <a:gd name="connsiteX45839" fmla="*/ 3686311 w 8079933"/>
              <a:gd name="connsiteY45839" fmla="*/ 244151 h 4687251"/>
              <a:gd name="connsiteX45840" fmla="*/ 3687070 w 8079933"/>
              <a:gd name="connsiteY45840" fmla="*/ 251730 h 4687251"/>
              <a:gd name="connsiteX45841" fmla="*/ 3686202 w 8079933"/>
              <a:gd name="connsiteY45841" fmla="*/ 256710 h 4687251"/>
              <a:gd name="connsiteX45842" fmla="*/ 3683923 w 8079933"/>
              <a:gd name="connsiteY45842" fmla="*/ 258552 h 4687251"/>
              <a:gd name="connsiteX45843" fmla="*/ 3681536 w 8079933"/>
              <a:gd name="connsiteY45843" fmla="*/ 251730 h 4687251"/>
              <a:gd name="connsiteX45844" fmla="*/ 3683272 w 8079933"/>
              <a:gd name="connsiteY45844" fmla="*/ 247399 h 4687251"/>
              <a:gd name="connsiteX45845" fmla="*/ 3683163 w 8079933"/>
              <a:gd name="connsiteY45845" fmla="*/ 243176 h 4687251"/>
              <a:gd name="connsiteX45846" fmla="*/ 3682078 w 8079933"/>
              <a:gd name="connsiteY45846" fmla="*/ 241553 h 4687251"/>
              <a:gd name="connsiteX45847" fmla="*/ 3682513 w 8079933"/>
              <a:gd name="connsiteY45847" fmla="*/ 238629 h 4687251"/>
              <a:gd name="connsiteX45848" fmla="*/ 4768872 w 8079933"/>
              <a:gd name="connsiteY45848" fmla="*/ 234516 h 4687251"/>
              <a:gd name="connsiteX45849" fmla="*/ 4770717 w 8079933"/>
              <a:gd name="connsiteY45849" fmla="*/ 234516 h 4687251"/>
              <a:gd name="connsiteX45850" fmla="*/ 4772453 w 8079933"/>
              <a:gd name="connsiteY45850" fmla="*/ 237981 h 4687251"/>
              <a:gd name="connsiteX45851" fmla="*/ 4777879 w 8079933"/>
              <a:gd name="connsiteY45851" fmla="*/ 237765 h 4687251"/>
              <a:gd name="connsiteX45852" fmla="*/ 4781243 w 8079933"/>
              <a:gd name="connsiteY45852" fmla="*/ 240688 h 4687251"/>
              <a:gd name="connsiteX45853" fmla="*/ 4780809 w 8079933"/>
              <a:gd name="connsiteY45853" fmla="*/ 245235 h 4687251"/>
              <a:gd name="connsiteX45854" fmla="*/ 4776143 w 8079933"/>
              <a:gd name="connsiteY45854" fmla="*/ 246534 h 4687251"/>
              <a:gd name="connsiteX45855" fmla="*/ 4768872 w 8079933"/>
              <a:gd name="connsiteY45855" fmla="*/ 242095 h 4687251"/>
              <a:gd name="connsiteX45856" fmla="*/ 4767136 w 8079933"/>
              <a:gd name="connsiteY45856" fmla="*/ 237656 h 4687251"/>
              <a:gd name="connsiteX45857" fmla="*/ 6190549 w 8079933"/>
              <a:gd name="connsiteY45857" fmla="*/ 233218 h 4687251"/>
              <a:gd name="connsiteX45858" fmla="*/ 6193262 w 8079933"/>
              <a:gd name="connsiteY45858" fmla="*/ 234191 h 4687251"/>
              <a:gd name="connsiteX45859" fmla="*/ 6197385 w 8079933"/>
              <a:gd name="connsiteY45859" fmla="*/ 237439 h 4687251"/>
              <a:gd name="connsiteX45860" fmla="*/ 6201401 w 8079933"/>
              <a:gd name="connsiteY45860" fmla="*/ 243611 h 4687251"/>
              <a:gd name="connsiteX45861" fmla="*/ 6209865 w 8079933"/>
              <a:gd name="connsiteY45861" fmla="*/ 244368 h 4687251"/>
              <a:gd name="connsiteX45862" fmla="*/ 6213989 w 8079933"/>
              <a:gd name="connsiteY45862" fmla="*/ 247399 h 4687251"/>
              <a:gd name="connsiteX45863" fmla="*/ 6215182 w 8079933"/>
              <a:gd name="connsiteY45863" fmla="*/ 253246 h 4687251"/>
              <a:gd name="connsiteX45864" fmla="*/ 6220174 w 8079933"/>
              <a:gd name="connsiteY45864" fmla="*/ 264831 h 4687251"/>
              <a:gd name="connsiteX45865" fmla="*/ 6220500 w 8079933"/>
              <a:gd name="connsiteY45865" fmla="*/ 270354 h 4687251"/>
              <a:gd name="connsiteX45866" fmla="*/ 6217787 w 8079933"/>
              <a:gd name="connsiteY45866" fmla="*/ 272193 h 4687251"/>
              <a:gd name="connsiteX45867" fmla="*/ 6213229 w 8079933"/>
              <a:gd name="connsiteY45867" fmla="*/ 269920 h 4687251"/>
              <a:gd name="connsiteX45868" fmla="*/ 6209539 w 8079933"/>
              <a:gd name="connsiteY45868" fmla="*/ 260175 h 4687251"/>
              <a:gd name="connsiteX45869" fmla="*/ 6202811 w 8079933"/>
              <a:gd name="connsiteY45869" fmla="*/ 250324 h 4687251"/>
              <a:gd name="connsiteX45870" fmla="*/ 6196084 w 8079933"/>
              <a:gd name="connsiteY45870" fmla="*/ 244043 h 4687251"/>
              <a:gd name="connsiteX45871" fmla="*/ 6191526 w 8079933"/>
              <a:gd name="connsiteY45871" fmla="*/ 237006 h 4687251"/>
              <a:gd name="connsiteX45872" fmla="*/ 4817813 w 8079933"/>
              <a:gd name="connsiteY45872" fmla="*/ 229969 h 4687251"/>
              <a:gd name="connsiteX45873" fmla="*/ 4822154 w 8079933"/>
              <a:gd name="connsiteY45873" fmla="*/ 230401 h 4687251"/>
              <a:gd name="connsiteX45874" fmla="*/ 4824216 w 8079933"/>
              <a:gd name="connsiteY45874" fmla="*/ 233975 h 4687251"/>
              <a:gd name="connsiteX45875" fmla="*/ 4827688 w 8079933"/>
              <a:gd name="connsiteY45875" fmla="*/ 236573 h 4687251"/>
              <a:gd name="connsiteX45876" fmla="*/ 4827580 w 8079933"/>
              <a:gd name="connsiteY45876" fmla="*/ 238847 h 4687251"/>
              <a:gd name="connsiteX45877" fmla="*/ 4825084 w 8079933"/>
              <a:gd name="connsiteY45877" fmla="*/ 241012 h 4687251"/>
              <a:gd name="connsiteX45878" fmla="*/ 4822588 w 8079933"/>
              <a:gd name="connsiteY45878" fmla="*/ 246751 h 4687251"/>
              <a:gd name="connsiteX45879" fmla="*/ 4817379 w 8079933"/>
              <a:gd name="connsiteY45879" fmla="*/ 248699 h 4687251"/>
              <a:gd name="connsiteX45880" fmla="*/ 4812387 w 8079933"/>
              <a:gd name="connsiteY45880" fmla="*/ 247508 h 4687251"/>
              <a:gd name="connsiteX45881" fmla="*/ 4804357 w 8079933"/>
              <a:gd name="connsiteY45881" fmla="*/ 241878 h 4687251"/>
              <a:gd name="connsiteX45882" fmla="*/ 4803489 w 8079933"/>
              <a:gd name="connsiteY45882" fmla="*/ 239171 h 4687251"/>
              <a:gd name="connsiteX45883" fmla="*/ 4805225 w 8079933"/>
              <a:gd name="connsiteY45883" fmla="*/ 235923 h 4687251"/>
              <a:gd name="connsiteX45884" fmla="*/ 4811410 w 8079933"/>
              <a:gd name="connsiteY45884" fmla="*/ 232134 h 4687251"/>
              <a:gd name="connsiteX45885" fmla="*/ 4759864 w 8079933"/>
              <a:gd name="connsiteY45885" fmla="*/ 226829 h 4687251"/>
              <a:gd name="connsiteX45886" fmla="*/ 4763879 w 8079933"/>
              <a:gd name="connsiteY45886" fmla="*/ 230943 h 4687251"/>
              <a:gd name="connsiteX45887" fmla="*/ 4762685 w 8079933"/>
              <a:gd name="connsiteY45887" fmla="*/ 233325 h 4687251"/>
              <a:gd name="connsiteX45888" fmla="*/ 4761926 w 8079933"/>
              <a:gd name="connsiteY45888" fmla="*/ 237439 h 4687251"/>
              <a:gd name="connsiteX45889" fmla="*/ 4757368 w 8079933"/>
              <a:gd name="connsiteY45889" fmla="*/ 237114 h 4687251"/>
              <a:gd name="connsiteX45890" fmla="*/ 4754872 w 8079933"/>
              <a:gd name="connsiteY45890" fmla="*/ 239064 h 4687251"/>
              <a:gd name="connsiteX45891" fmla="*/ 4751617 w 8079933"/>
              <a:gd name="connsiteY45891" fmla="*/ 237331 h 4687251"/>
              <a:gd name="connsiteX45892" fmla="*/ 4754221 w 8079933"/>
              <a:gd name="connsiteY45892" fmla="*/ 233218 h 4687251"/>
              <a:gd name="connsiteX45893" fmla="*/ 4758670 w 8079933"/>
              <a:gd name="connsiteY45893" fmla="*/ 230077 h 4687251"/>
              <a:gd name="connsiteX45894" fmla="*/ 2049444 w 8079933"/>
              <a:gd name="connsiteY45894" fmla="*/ 225960 h 4687251"/>
              <a:gd name="connsiteX45895" fmla="*/ 2051831 w 8079933"/>
              <a:gd name="connsiteY45895" fmla="*/ 227152 h 4687251"/>
              <a:gd name="connsiteX45896" fmla="*/ 2052916 w 8079933"/>
              <a:gd name="connsiteY45896" fmla="*/ 232997 h 4687251"/>
              <a:gd name="connsiteX45897" fmla="*/ 2053893 w 8079933"/>
              <a:gd name="connsiteY45897" fmla="*/ 235272 h 4687251"/>
              <a:gd name="connsiteX45898" fmla="*/ 2052374 w 8079933"/>
              <a:gd name="connsiteY45898" fmla="*/ 237653 h 4687251"/>
              <a:gd name="connsiteX45899" fmla="*/ 2053242 w 8079933"/>
              <a:gd name="connsiteY45899" fmla="*/ 247181 h 4687251"/>
              <a:gd name="connsiteX45900" fmla="*/ 2054110 w 8079933"/>
              <a:gd name="connsiteY45900" fmla="*/ 250863 h 4687251"/>
              <a:gd name="connsiteX45901" fmla="*/ 2050095 w 8079933"/>
              <a:gd name="connsiteY45901" fmla="*/ 256060 h 4687251"/>
              <a:gd name="connsiteX45902" fmla="*/ 2047056 w 8079933"/>
              <a:gd name="connsiteY45902" fmla="*/ 256601 h 4687251"/>
              <a:gd name="connsiteX45903" fmla="*/ 2044127 w 8079933"/>
              <a:gd name="connsiteY45903" fmla="*/ 255085 h 4687251"/>
              <a:gd name="connsiteX45904" fmla="*/ 2039352 w 8079933"/>
              <a:gd name="connsiteY45904" fmla="*/ 257576 h 4687251"/>
              <a:gd name="connsiteX45905" fmla="*/ 2034686 w 8079933"/>
              <a:gd name="connsiteY45905" fmla="*/ 257900 h 4687251"/>
              <a:gd name="connsiteX45906" fmla="*/ 2029694 w 8079933"/>
              <a:gd name="connsiteY45906" fmla="*/ 262448 h 4687251"/>
              <a:gd name="connsiteX45907" fmla="*/ 2029477 w 8079933"/>
              <a:gd name="connsiteY45907" fmla="*/ 265479 h 4687251"/>
              <a:gd name="connsiteX45908" fmla="*/ 2033926 w 8079933"/>
              <a:gd name="connsiteY45908" fmla="*/ 272625 h 4687251"/>
              <a:gd name="connsiteX45909" fmla="*/ 2034252 w 8079933"/>
              <a:gd name="connsiteY45909" fmla="*/ 275656 h 4687251"/>
              <a:gd name="connsiteX45910" fmla="*/ 2032624 w 8079933"/>
              <a:gd name="connsiteY45910" fmla="*/ 277713 h 4687251"/>
              <a:gd name="connsiteX45911" fmla="*/ 2028934 w 8079933"/>
              <a:gd name="connsiteY45911" fmla="*/ 276847 h 4687251"/>
              <a:gd name="connsiteX45912" fmla="*/ 2024811 w 8079933"/>
              <a:gd name="connsiteY45912" fmla="*/ 271325 h 4687251"/>
              <a:gd name="connsiteX45913" fmla="*/ 2024160 w 8079933"/>
              <a:gd name="connsiteY45913" fmla="*/ 273275 h 4687251"/>
              <a:gd name="connsiteX45914" fmla="*/ 2023943 w 8079933"/>
              <a:gd name="connsiteY45914" fmla="*/ 277931 h 4687251"/>
              <a:gd name="connsiteX45915" fmla="*/ 2019710 w 8079933"/>
              <a:gd name="connsiteY45915" fmla="*/ 284968 h 4687251"/>
              <a:gd name="connsiteX45916" fmla="*/ 2017432 w 8079933"/>
              <a:gd name="connsiteY45916" fmla="*/ 292980 h 4687251"/>
              <a:gd name="connsiteX45917" fmla="*/ 2014610 w 8079933"/>
              <a:gd name="connsiteY45917" fmla="*/ 297094 h 4687251"/>
              <a:gd name="connsiteX45918" fmla="*/ 2007231 w 8079933"/>
              <a:gd name="connsiteY45918" fmla="*/ 297202 h 4687251"/>
              <a:gd name="connsiteX45919" fmla="*/ 2004410 w 8079933"/>
              <a:gd name="connsiteY45919" fmla="*/ 300017 h 4687251"/>
              <a:gd name="connsiteX45920" fmla="*/ 1999852 w 8079933"/>
              <a:gd name="connsiteY45920" fmla="*/ 300017 h 4687251"/>
              <a:gd name="connsiteX45921" fmla="*/ 1997573 w 8079933"/>
              <a:gd name="connsiteY45921" fmla="*/ 297528 h 4687251"/>
              <a:gd name="connsiteX45922" fmla="*/ 1995403 w 8079933"/>
              <a:gd name="connsiteY45922" fmla="*/ 298935 h 4687251"/>
              <a:gd name="connsiteX45923" fmla="*/ 1991713 w 8079933"/>
              <a:gd name="connsiteY45923" fmla="*/ 298935 h 4687251"/>
              <a:gd name="connsiteX45924" fmla="*/ 1989326 w 8079933"/>
              <a:gd name="connsiteY45924" fmla="*/ 303049 h 4687251"/>
              <a:gd name="connsiteX45925" fmla="*/ 1985745 w 8079933"/>
              <a:gd name="connsiteY45925" fmla="*/ 305972 h 4687251"/>
              <a:gd name="connsiteX45926" fmla="*/ 1986287 w 8079933"/>
              <a:gd name="connsiteY45926" fmla="*/ 310628 h 4687251"/>
              <a:gd name="connsiteX45927" fmla="*/ 1985093 w 8079933"/>
              <a:gd name="connsiteY45927" fmla="*/ 314526 h 4687251"/>
              <a:gd name="connsiteX45928" fmla="*/ 1980427 w 8079933"/>
              <a:gd name="connsiteY45928" fmla="*/ 316800 h 4687251"/>
              <a:gd name="connsiteX45929" fmla="*/ 1977932 w 8079933"/>
              <a:gd name="connsiteY45929" fmla="*/ 319614 h 4687251"/>
              <a:gd name="connsiteX45930" fmla="*/ 1973591 w 8079933"/>
              <a:gd name="connsiteY45930" fmla="*/ 317774 h 4687251"/>
              <a:gd name="connsiteX45931" fmla="*/ 1969793 w 8079933"/>
              <a:gd name="connsiteY45931" fmla="*/ 316692 h 4687251"/>
              <a:gd name="connsiteX45932" fmla="*/ 1970661 w 8079933"/>
              <a:gd name="connsiteY45932" fmla="*/ 312577 h 4687251"/>
              <a:gd name="connsiteX45933" fmla="*/ 1968600 w 8079933"/>
              <a:gd name="connsiteY45933" fmla="*/ 308679 h 4687251"/>
              <a:gd name="connsiteX45934" fmla="*/ 1968491 w 8079933"/>
              <a:gd name="connsiteY45934" fmla="*/ 305755 h 4687251"/>
              <a:gd name="connsiteX45935" fmla="*/ 1974784 w 8079933"/>
              <a:gd name="connsiteY45935" fmla="*/ 296770 h 4687251"/>
              <a:gd name="connsiteX45936" fmla="*/ 1978366 w 8079933"/>
              <a:gd name="connsiteY45936" fmla="*/ 294604 h 4687251"/>
              <a:gd name="connsiteX45937" fmla="*/ 1979017 w 8079933"/>
              <a:gd name="connsiteY45937" fmla="*/ 292330 h 4687251"/>
              <a:gd name="connsiteX45938" fmla="*/ 1982055 w 8079933"/>
              <a:gd name="connsiteY45938" fmla="*/ 289298 h 4687251"/>
              <a:gd name="connsiteX45939" fmla="*/ 1983140 w 8079933"/>
              <a:gd name="connsiteY45939" fmla="*/ 283993 h 4687251"/>
              <a:gd name="connsiteX45940" fmla="*/ 1989109 w 8079933"/>
              <a:gd name="connsiteY45940" fmla="*/ 277605 h 4687251"/>
              <a:gd name="connsiteX45941" fmla="*/ 1991279 w 8079933"/>
              <a:gd name="connsiteY45941" fmla="*/ 269268 h 4687251"/>
              <a:gd name="connsiteX45942" fmla="*/ 1989109 w 8079933"/>
              <a:gd name="connsiteY45942" fmla="*/ 267645 h 4687251"/>
              <a:gd name="connsiteX45943" fmla="*/ 1985093 w 8079933"/>
              <a:gd name="connsiteY45943" fmla="*/ 271542 h 4687251"/>
              <a:gd name="connsiteX45944" fmla="*/ 1982055 w 8079933"/>
              <a:gd name="connsiteY45944" fmla="*/ 269052 h 4687251"/>
              <a:gd name="connsiteX45945" fmla="*/ 1979559 w 8079933"/>
              <a:gd name="connsiteY45945" fmla="*/ 270893 h 4687251"/>
              <a:gd name="connsiteX45946" fmla="*/ 1975002 w 8079933"/>
              <a:gd name="connsiteY45946" fmla="*/ 271542 h 4687251"/>
              <a:gd name="connsiteX45947" fmla="*/ 1974568 w 8079933"/>
              <a:gd name="connsiteY45947" fmla="*/ 275982 h 4687251"/>
              <a:gd name="connsiteX45948" fmla="*/ 1971963 w 8079933"/>
              <a:gd name="connsiteY45948" fmla="*/ 282261 h 4687251"/>
              <a:gd name="connsiteX45949" fmla="*/ 1963825 w 8079933"/>
              <a:gd name="connsiteY45949" fmla="*/ 287458 h 4687251"/>
              <a:gd name="connsiteX45950" fmla="*/ 1961003 w 8079933"/>
              <a:gd name="connsiteY45950" fmla="*/ 282695 h 4687251"/>
              <a:gd name="connsiteX45951" fmla="*/ 1958941 w 8079933"/>
              <a:gd name="connsiteY45951" fmla="*/ 286809 h 4687251"/>
              <a:gd name="connsiteX45952" fmla="*/ 1959809 w 8079933"/>
              <a:gd name="connsiteY45952" fmla="*/ 291464 h 4687251"/>
              <a:gd name="connsiteX45953" fmla="*/ 1958724 w 8079933"/>
              <a:gd name="connsiteY45953" fmla="*/ 296553 h 4687251"/>
              <a:gd name="connsiteX45954" fmla="*/ 1953624 w 8079933"/>
              <a:gd name="connsiteY45954" fmla="*/ 303157 h 4687251"/>
              <a:gd name="connsiteX45955" fmla="*/ 1950151 w 8079933"/>
              <a:gd name="connsiteY45955" fmla="*/ 304239 h 4687251"/>
              <a:gd name="connsiteX45956" fmla="*/ 1948958 w 8079933"/>
              <a:gd name="connsiteY45956" fmla="*/ 306514 h 4687251"/>
              <a:gd name="connsiteX45957" fmla="*/ 1948741 w 8079933"/>
              <a:gd name="connsiteY45957" fmla="*/ 311494 h 4687251"/>
              <a:gd name="connsiteX45958" fmla="*/ 1944292 w 8079933"/>
              <a:gd name="connsiteY45958" fmla="*/ 316474 h 4687251"/>
              <a:gd name="connsiteX45959" fmla="*/ 1942230 w 8079933"/>
              <a:gd name="connsiteY45959" fmla="*/ 316474 h 4687251"/>
              <a:gd name="connsiteX45960" fmla="*/ 1940385 w 8079933"/>
              <a:gd name="connsiteY45960" fmla="*/ 311927 h 4687251"/>
              <a:gd name="connsiteX45961" fmla="*/ 1941687 w 8079933"/>
              <a:gd name="connsiteY45961" fmla="*/ 306296 h 4687251"/>
              <a:gd name="connsiteX45962" fmla="*/ 1940819 w 8079933"/>
              <a:gd name="connsiteY45962" fmla="*/ 303266 h 4687251"/>
              <a:gd name="connsiteX45963" fmla="*/ 1942121 w 8079933"/>
              <a:gd name="connsiteY45963" fmla="*/ 299151 h 4687251"/>
              <a:gd name="connsiteX45964" fmla="*/ 1940385 w 8079933"/>
              <a:gd name="connsiteY45964" fmla="*/ 297743 h 4687251"/>
              <a:gd name="connsiteX45965" fmla="*/ 1938323 w 8079933"/>
              <a:gd name="connsiteY45965" fmla="*/ 299368 h 4687251"/>
              <a:gd name="connsiteX45966" fmla="*/ 1937889 w 8079933"/>
              <a:gd name="connsiteY45966" fmla="*/ 305107 h 4687251"/>
              <a:gd name="connsiteX45967" fmla="*/ 1934851 w 8079933"/>
              <a:gd name="connsiteY45967" fmla="*/ 309004 h 4687251"/>
              <a:gd name="connsiteX45968" fmla="*/ 1932029 w 8079933"/>
              <a:gd name="connsiteY45968" fmla="*/ 309112 h 4687251"/>
              <a:gd name="connsiteX45969" fmla="*/ 1932355 w 8079933"/>
              <a:gd name="connsiteY45969" fmla="*/ 314417 h 4687251"/>
              <a:gd name="connsiteX45970" fmla="*/ 1929425 w 8079933"/>
              <a:gd name="connsiteY45970" fmla="*/ 318749 h 4687251"/>
              <a:gd name="connsiteX45971" fmla="*/ 1926495 w 8079933"/>
              <a:gd name="connsiteY45971" fmla="*/ 318315 h 4687251"/>
              <a:gd name="connsiteX45972" fmla="*/ 1923457 w 8079933"/>
              <a:gd name="connsiteY45972" fmla="*/ 322321 h 4687251"/>
              <a:gd name="connsiteX45973" fmla="*/ 1915643 w 8079933"/>
              <a:gd name="connsiteY45973" fmla="*/ 326977 h 4687251"/>
              <a:gd name="connsiteX45974" fmla="*/ 1914016 w 8079933"/>
              <a:gd name="connsiteY45974" fmla="*/ 326761 h 4687251"/>
              <a:gd name="connsiteX45975" fmla="*/ 1913690 w 8079933"/>
              <a:gd name="connsiteY45975" fmla="*/ 323296 h 4687251"/>
              <a:gd name="connsiteX45976" fmla="*/ 1910651 w 8079933"/>
              <a:gd name="connsiteY45976" fmla="*/ 322863 h 4687251"/>
              <a:gd name="connsiteX45977" fmla="*/ 1908264 w 8079933"/>
              <a:gd name="connsiteY45977" fmla="*/ 325461 h 4687251"/>
              <a:gd name="connsiteX45978" fmla="*/ 1906202 w 8079933"/>
              <a:gd name="connsiteY45978" fmla="*/ 322538 h 4687251"/>
              <a:gd name="connsiteX45979" fmla="*/ 1907830 w 8079933"/>
              <a:gd name="connsiteY45979" fmla="*/ 318532 h 4687251"/>
              <a:gd name="connsiteX45980" fmla="*/ 1910868 w 8079933"/>
              <a:gd name="connsiteY45980" fmla="*/ 315825 h 4687251"/>
              <a:gd name="connsiteX45981" fmla="*/ 1909023 w 8079933"/>
              <a:gd name="connsiteY45981" fmla="*/ 312252 h 4687251"/>
              <a:gd name="connsiteX45982" fmla="*/ 1911845 w 8079933"/>
              <a:gd name="connsiteY45982" fmla="*/ 306514 h 4687251"/>
              <a:gd name="connsiteX45983" fmla="*/ 1916186 w 8079933"/>
              <a:gd name="connsiteY45983" fmla="*/ 303915 h 4687251"/>
              <a:gd name="connsiteX45984" fmla="*/ 1916403 w 8079933"/>
              <a:gd name="connsiteY45984" fmla="*/ 300233 h 4687251"/>
              <a:gd name="connsiteX45985" fmla="*/ 1913907 w 8079933"/>
              <a:gd name="connsiteY45985" fmla="*/ 299151 h 4687251"/>
              <a:gd name="connsiteX45986" fmla="*/ 1908481 w 8079933"/>
              <a:gd name="connsiteY45986" fmla="*/ 301641 h 4687251"/>
              <a:gd name="connsiteX45987" fmla="*/ 1905877 w 8079933"/>
              <a:gd name="connsiteY45987" fmla="*/ 302074 h 4687251"/>
              <a:gd name="connsiteX45988" fmla="*/ 1903815 w 8079933"/>
              <a:gd name="connsiteY45988" fmla="*/ 308354 h 4687251"/>
              <a:gd name="connsiteX45989" fmla="*/ 1902621 w 8079933"/>
              <a:gd name="connsiteY45989" fmla="*/ 309004 h 4687251"/>
              <a:gd name="connsiteX45990" fmla="*/ 1902295 w 8079933"/>
              <a:gd name="connsiteY45990" fmla="*/ 313660 h 4687251"/>
              <a:gd name="connsiteX45991" fmla="*/ 1900234 w 8079933"/>
              <a:gd name="connsiteY45991" fmla="*/ 315500 h 4687251"/>
              <a:gd name="connsiteX45992" fmla="*/ 1896002 w 8079933"/>
              <a:gd name="connsiteY45992" fmla="*/ 313443 h 4687251"/>
              <a:gd name="connsiteX45993" fmla="*/ 1895567 w 8079933"/>
              <a:gd name="connsiteY45993" fmla="*/ 308463 h 4687251"/>
              <a:gd name="connsiteX45994" fmla="*/ 1892204 w 8079933"/>
              <a:gd name="connsiteY45994" fmla="*/ 302616 h 4687251"/>
              <a:gd name="connsiteX45995" fmla="*/ 1887863 w 8079933"/>
              <a:gd name="connsiteY45995" fmla="*/ 300233 h 4687251"/>
              <a:gd name="connsiteX45996" fmla="*/ 1884390 w 8079933"/>
              <a:gd name="connsiteY45996" fmla="*/ 301425 h 4687251"/>
              <a:gd name="connsiteX45997" fmla="*/ 1882545 w 8079933"/>
              <a:gd name="connsiteY45997" fmla="*/ 305432 h 4687251"/>
              <a:gd name="connsiteX45998" fmla="*/ 1877662 w 8079933"/>
              <a:gd name="connsiteY45998" fmla="*/ 306296 h 4687251"/>
              <a:gd name="connsiteX45999" fmla="*/ 1872671 w 8079933"/>
              <a:gd name="connsiteY45999" fmla="*/ 304673 h 4687251"/>
              <a:gd name="connsiteX46000" fmla="*/ 1872671 w 8079933"/>
              <a:gd name="connsiteY46000" fmla="*/ 302508 h 4687251"/>
              <a:gd name="connsiteX46001" fmla="*/ 1879399 w 8079933"/>
              <a:gd name="connsiteY46001" fmla="*/ 300017 h 4687251"/>
              <a:gd name="connsiteX46002" fmla="*/ 1880592 w 8079933"/>
              <a:gd name="connsiteY46002" fmla="*/ 296986 h 4687251"/>
              <a:gd name="connsiteX46003" fmla="*/ 1877662 w 8079933"/>
              <a:gd name="connsiteY46003" fmla="*/ 294280 h 4687251"/>
              <a:gd name="connsiteX46004" fmla="*/ 1878856 w 8079933"/>
              <a:gd name="connsiteY46004" fmla="*/ 292005 h 4687251"/>
              <a:gd name="connsiteX46005" fmla="*/ 1882654 w 8079933"/>
              <a:gd name="connsiteY46005" fmla="*/ 291464 h 4687251"/>
              <a:gd name="connsiteX46006" fmla="*/ 1880809 w 8079933"/>
              <a:gd name="connsiteY46006" fmla="*/ 289407 h 4687251"/>
              <a:gd name="connsiteX46007" fmla="*/ 1876361 w 8079933"/>
              <a:gd name="connsiteY46007" fmla="*/ 289623 h 4687251"/>
              <a:gd name="connsiteX46008" fmla="*/ 1878856 w 8079933"/>
              <a:gd name="connsiteY46008" fmla="*/ 284643 h 4687251"/>
              <a:gd name="connsiteX46009" fmla="*/ 1885258 w 8079933"/>
              <a:gd name="connsiteY46009" fmla="*/ 283019 h 4687251"/>
              <a:gd name="connsiteX46010" fmla="*/ 1889056 w 8079933"/>
              <a:gd name="connsiteY46010" fmla="*/ 282910 h 4687251"/>
              <a:gd name="connsiteX46011" fmla="*/ 1893723 w 8079933"/>
              <a:gd name="connsiteY46011" fmla="*/ 275656 h 4687251"/>
              <a:gd name="connsiteX46012" fmla="*/ 1904792 w 8079933"/>
              <a:gd name="connsiteY46012" fmla="*/ 273817 h 4687251"/>
              <a:gd name="connsiteX46013" fmla="*/ 1909241 w 8079933"/>
              <a:gd name="connsiteY46013" fmla="*/ 271542 h 4687251"/>
              <a:gd name="connsiteX46014" fmla="*/ 1914666 w 8079933"/>
              <a:gd name="connsiteY46014" fmla="*/ 273382 h 4687251"/>
              <a:gd name="connsiteX46015" fmla="*/ 1919875 w 8079933"/>
              <a:gd name="connsiteY46015" fmla="*/ 270352 h 4687251"/>
              <a:gd name="connsiteX46016" fmla="*/ 1927797 w 8079933"/>
              <a:gd name="connsiteY46016" fmla="*/ 264180 h 4687251"/>
              <a:gd name="connsiteX46017" fmla="*/ 1931053 w 8079933"/>
              <a:gd name="connsiteY46017" fmla="*/ 264180 h 4687251"/>
              <a:gd name="connsiteX46018" fmla="*/ 1933548 w 8079933"/>
              <a:gd name="connsiteY46018" fmla="*/ 262123 h 4687251"/>
              <a:gd name="connsiteX46019" fmla="*/ 1938106 w 8079933"/>
              <a:gd name="connsiteY46019" fmla="*/ 262989 h 4687251"/>
              <a:gd name="connsiteX46020" fmla="*/ 1940385 w 8079933"/>
              <a:gd name="connsiteY46020" fmla="*/ 261257 h 4687251"/>
              <a:gd name="connsiteX46021" fmla="*/ 1948306 w 8079933"/>
              <a:gd name="connsiteY46021" fmla="*/ 261257 h 4687251"/>
              <a:gd name="connsiteX46022" fmla="*/ 1948958 w 8079933"/>
              <a:gd name="connsiteY46022" fmla="*/ 258117 h 4687251"/>
              <a:gd name="connsiteX46023" fmla="*/ 1952864 w 8079933"/>
              <a:gd name="connsiteY46023" fmla="*/ 255085 h 4687251"/>
              <a:gd name="connsiteX46024" fmla="*/ 1956988 w 8079933"/>
              <a:gd name="connsiteY46024" fmla="*/ 254219 h 4687251"/>
              <a:gd name="connsiteX46025" fmla="*/ 1962957 w 8079933"/>
              <a:gd name="connsiteY46025" fmla="*/ 249888 h 4687251"/>
              <a:gd name="connsiteX46026" fmla="*/ 1966971 w 8079933"/>
              <a:gd name="connsiteY46026" fmla="*/ 249564 h 4687251"/>
              <a:gd name="connsiteX46027" fmla="*/ 1970336 w 8079933"/>
              <a:gd name="connsiteY46027" fmla="*/ 246640 h 4687251"/>
              <a:gd name="connsiteX46028" fmla="*/ 1981730 w 8079933"/>
              <a:gd name="connsiteY46028" fmla="*/ 237870 h 4687251"/>
              <a:gd name="connsiteX46029" fmla="*/ 1984551 w 8079933"/>
              <a:gd name="connsiteY46029" fmla="*/ 237870 h 4687251"/>
              <a:gd name="connsiteX46030" fmla="*/ 1986396 w 8079933"/>
              <a:gd name="connsiteY46030" fmla="*/ 238736 h 4687251"/>
              <a:gd name="connsiteX46031" fmla="*/ 1988783 w 8079933"/>
              <a:gd name="connsiteY46031" fmla="*/ 235813 h 4687251"/>
              <a:gd name="connsiteX46032" fmla="*/ 1990194 w 8079933"/>
              <a:gd name="connsiteY46032" fmla="*/ 231158 h 4687251"/>
              <a:gd name="connsiteX46033" fmla="*/ 1995511 w 8079933"/>
              <a:gd name="connsiteY46033" fmla="*/ 228559 h 4687251"/>
              <a:gd name="connsiteX46034" fmla="*/ 2005820 w 8079933"/>
              <a:gd name="connsiteY46034" fmla="*/ 229642 h 4687251"/>
              <a:gd name="connsiteX46035" fmla="*/ 2008968 w 8079933"/>
              <a:gd name="connsiteY46035" fmla="*/ 228884 h 4687251"/>
              <a:gd name="connsiteX46036" fmla="*/ 2013959 w 8079933"/>
              <a:gd name="connsiteY46036" fmla="*/ 230940 h 4687251"/>
              <a:gd name="connsiteX46037" fmla="*/ 2019277 w 8079933"/>
              <a:gd name="connsiteY46037" fmla="*/ 231158 h 4687251"/>
              <a:gd name="connsiteX46038" fmla="*/ 2021012 w 8079933"/>
              <a:gd name="connsiteY46038" fmla="*/ 229101 h 4687251"/>
              <a:gd name="connsiteX46039" fmla="*/ 2023400 w 8079933"/>
              <a:gd name="connsiteY46039" fmla="*/ 229101 h 4687251"/>
              <a:gd name="connsiteX46040" fmla="*/ 2027958 w 8079933"/>
              <a:gd name="connsiteY46040" fmla="*/ 233864 h 4687251"/>
              <a:gd name="connsiteX46041" fmla="*/ 2028826 w 8079933"/>
              <a:gd name="connsiteY46041" fmla="*/ 240794 h 4687251"/>
              <a:gd name="connsiteX46042" fmla="*/ 2031213 w 8079933"/>
              <a:gd name="connsiteY46042" fmla="*/ 244041 h 4687251"/>
              <a:gd name="connsiteX46043" fmla="*/ 2032733 w 8079933"/>
              <a:gd name="connsiteY46043" fmla="*/ 242093 h 4687251"/>
              <a:gd name="connsiteX46044" fmla="*/ 2033384 w 8079933"/>
              <a:gd name="connsiteY46044" fmla="*/ 239169 h 4687251"/>
              <a:gd name="connsiteX46045" fmla="*/ 2034794 w 8079933"/>
              <a:gd name="connsiteY46045" fmla="*/ 239061 h 4687251"/>
              <a:gd name="connsiteX46046" fmla="*/ 2036205 w 8079933"/>
              <a:gd name="connsiteY46046" fmla="*/ 243500 h 4687251"/>
              <a:gd name="connsiteX46047" fmla="*/ 2040329 w 8079933"/>
              <a:gd name="connsiteY46047" fmla="*/ 242634 h 4687251"/>
              <a:gd name="connsiteX46048" fmla="*/ 2039460 w 8079933"/>
              <a:gd name="connsiteY46048" fmla="*/ 239711 h 4687251"/>
              <a:gd name="connsiteX46049" fmla="*/ 2040003 w 8079933"/>
              <a:gd name="connsiteY46049" fmla="*/ 236462 h 4687251"/>
              <a:gd name="connsiteX46050" fmla="*/ 2040329 w 8079933"/>
              <a:gd name="connsiteY46050" fmla="*/ 230291 h 4687251"/>
              <a:gd name="connsiteX46051" fmla="*/ 2045863 w 8079933"/>
              <a:gd name="connsiteY46051" fmla="*/ 227693 h 4687251"/>
              <a:gd name="connsiteX46052" fmla="*/ 2133762 w 8079933"/>
              <a:gd name="connsiteY46052" fmla="*/ 225853 h 4687251"/>
              <a:gd name="connsiteX46053" fmla="*/ 2136259 w 8079933"/>
              <a:gd name="connsiteY46053" fmla="*/ 227694 h 4687251"/>
              <a:gd name="connsiteX46054" fmla="*/ 2140599 w 8079933"/>
              <a:gd name="connsiteY46054" fmla="*/ 227694 h 4687251"/>
              <a:gd name="connsiteX46055" fmla="*/ 2144072 w 8079933"/>
              <a:gd name="connsiteY46055" fmla="*/ 229427 h 4687251"/>
              <a:gd name="connsiteX46056" fmla="*/ 2149171 w 8079933"/>
              <a:gd name="connsiteY46056" fmla="*/ 229427 h 4687251"/>
              <a:gd name="connsiteX46057" fmla="*/ 2151993 w 8079933"/>
              <a:gd name="connsiteY46057" fmla="*/ 228344 h 4687251"/>
              <a:gd name="connsiteX46058" fmla="*/ 2159264 w 8079933"/>
              <a:gd name="connsiteY46058" fmla="*/ 229968 h 4687251"/>
              <a:gd name="connsiteX46059" fmla="*/ 2159698 w 8079933"/>
              <a:gd name="connsiteY46059" fmla="*/ 231700 h 4687251"/>
              <a:gd name="connsiteX46060" fmla="*/ 2166643 w 8079933"/>
              <a:gd name="connsiteY46060" fmla="*/ 231267 h 4687251"/>
              <a:gd name="connsiteX46061" fmla="*/ 2171960 w 8079933"/>
              <a:gd name="connsiteY46061" fmla="*/ 232674 h 4687251"/>
              <a:gd name="connsiteX46062" fmla="*/ 2173479 w 8079933"/>
              <a:gd name="connsiteY46062" fmla="*/ 234623 h 4687251"/>
              <a:gd name="connsiteX46063" fmla="*/ 2179339 w 8079933"/>
              <a:gd name="connsiteY46063" fmla="*/ 235490 h 4687251"/>
              <a:gd name="connsiteX46064" fmla="*/ 2180533 w 8079933"/>
              <a:gd name="connsiteY46064" fmla="*/ 237655 h 4687251"/>
              <a:gd name="connsiteX46065" fmla="*/ 2176084 w 8079933"/>
              <a:gd name="connsiteY46065" fmla="*/ 245559 h 4687251"/>
              <a:gd name="connsiteX46066" fmla="*/ 2172286 w 8079933"/>
              <a:gd name="connsiteY46066" fmla="*/ 244584 h 4687251"/>
              <a:gd name="connsiteX46067" fmla="*/ 2160783 w 8079933"/>
              <a:gd name="connsiteY46067" fmla="*/ 248374 h 4687251"/>
              <a:gd name="connsiteX46068" fmla="*/ 2156442 w 8079933"/>
              <a:gd name="connsiteY46068" fmla="*/ 248698 h 4687251"/>
              <a:gd name="connsiteX46069" fmla="*/ 2150799 w 8079933"/>
              <a:gd name="connsiteY46069" fmla="*/ 254005 h 4687251"/>
              <a:gd name="connsiteX46070" fmla="*/ 2150799 w 8079933"/>
              <a:gd name="connsiteY46070" fmla="*/ 256710 h 4687251"/>
              <a:gd name="connsiteX46071" fmla="*/ 2155900 w 8079933"/>
              <a:gd name="connsiteY46071" fmla="*/ 257144 h 4687251"/>
              <a:gd name="connsiteX46072" fmla="*/ 2157636 w 8079933"/>
              <a:gd name="connsiteY46072" fmla="*/ 256278 h 4687251"/>
              <a:gd name="connsiteX46073" fmla="*/ 2158504 w 8079933"/>
              <a:gd name="connsiteY46073" fmla="*/ 259852 h 4687251"/>
              <a:gd name="connsiteX46074" fmla="*/ 2152644 w 8079933"/>
              <a:gd name="connsiteY46074" fmla="*/ 266888 h 4687251"/>
              <a:gd name="connsiteX46075" fmla="*/ 2151125 w 8079933"/>
              <a:gd name="connsiteY46075" fmla="*/ 270137 h 4687251"/>
              <a:gd name="connsiteX46076" fmla="*/ 2147001 w 8079933"/>
              <a:gd name="connsiteY46076" fmla="*/ 271219 h 4687251"/>
              <a:gd name="connsiteX46077" fmla="*/ 2147110 w 8079933"/>
              <a:gd name="connsiteY46077" fmla="*/ 273818 h 4687251"/>
              <a:gd name="connsiteX46078" fmla="*/ 2144180 w 8079933"/>
              <a:gd name="connsiteY46078" fmla="*/ 277716 h 4687251"/>
              <a:gd name="connsiteX46079" fmla="*/ 2139405 w 8079933"/>
              <a:gd name="connsiteY46079" fmla="*/ 277716 h 4687251"/>
              <a:gd name="connsiteX46080" fmla="*/ 2134414 w 8079933"/>
              <a:gd name="connsiteY46080" fmla="*/ 280098 h 4687251"/>
              <a:gd name="connsiteX46081" fmla="*/ 2128879 w 8079933"/>
              <a:gd name="connsiteY46081" fmla="*/ 280098 h 4687251"/>
              <a:gd name="connsiteX46082" fmla="*/ 2124213 w 8079933"/>
              <a:gd name="connsiteY46082" fmla="*/ 276525 h 4687251"/>
              <a:gd name="connsiteX46083" fmla="*/ 2121500 w 8079933"/>
              <a:gd name="connsiteY46083" fmla="*/ 277933 h 4687251"/>
              <a:gd name="connsiteX46084" fmla="*/ 2116617 w 8079933"/>
              <a:gd name="connsiteY46084" fmla="*/ 277066 h 4687251"/>
              <a:gd name="connsiteX46085" fmla="*/ 2111516 w 8079933"/>
              <a:gd name="connsiteY46085" fmla="*/ 277391 h 4687251"/>
              <a:gd name="connsiteX46086" fmla="*/ 2110106 w 8079933"/>
              <a:gd name="connsiteY46086" fmla="*/ 275550 h 4687251"/>
              <a:gd name="connsiteX46087" fmla="*/ 2112819 w 8079933"/>
              <a:gd name="connsiteY46087" fmla="*/ 272410 h 4687251"/>
              <a:gd name="connsiteX46088" fmla="*/ 2109455 w 8079933"/>
              <a:gd name="connsiteY46088" fmla="*/ 266564 h 4687251"/>
              <a:gd name="connsiteX46089" fmla="*/ 2104788 w 8079933"/>
              <a:gd name="connsiteY46089" fmla="*/ 263315 h 4687251"/>
              <a:gd name="connsiteX46090" fmla="*/ 2101642 w 8079933"/>
              <a:gd name="connsiteY46090" fmla="*/ 262774 h 4687251"/>
              <a:gd name="connsiteX46091" fmla="*/ 2100773 w 8079933"/>
              <a:gd name="connsiteY46091" fmla="*/ 256927 h 4687251"/>
              <a:gd name="connsiteX46092" fmla="*/ 2099580 w 8079933"/>
              <a:gd name="connsiteY46092" fmla="*/ 251731 h 4687251"/>
              <a:gd name="connsiteX46093" fmla="*/ 2103595 w 8079933"/>
              <a:gd name="connsiteY46093" fmla="*/ 247183 h 4687251"/>
              <a:gd name="connsiteX46094" fmla="*/ 2103920 w 8079933"/>
              <a:gd name="connsiteY46094" fmla="*/ 243719 h 4687251"/>
              <a:gd name="connsiteX46095" fmla="*/ 2109021 w 8079933"/>
              <a:gd name="connsiteY46095" fmla="*/ 238521 h 4687251"/>
              <a:gd name="connsiteX46096" fmla="*/ 2109455 w 8079933"/>
              <a:gd name="connsiteY46096" fmla="*/ 233432 h 4687251"/>
              <a:gd name="connsiteX46097" fmla="*/ 2114772 w 8079933"/>
              <a:gd name="connsiteY46097" fmla="*/ 231267 h 4687251"/>
              <a:gd name="connsiteX46098" fmla="*/ 2118679 w 8079933"/>
              <a:gd name="connsiteY46098" fmla="*/ 228235 h 4687251"/>
              <a:gd name="connsiteX46099" fmla="*/ 2122368 w 8079933"/>
              <a:gd name="connsiteY46099" fmla="*/ 228235 h 4687251"/>
              <a:gd name="connsiteX46100" fmla="*/ 4756718 w 8079933"/>
              <a:gd name="connsiteY46100" fmla="*/ 216217 h 4687251"/>
              <a:gd name="connsiteX46101" fmla="*/ 4760299 w 8079933"/>
              <a:gd name="connsiteY46101" fmla="*/ 218167 h 4687251"/>
              <a:gd name="connsiteX46102" fmla="*/ 4760299 w 8079933"/>
              <a:gd name="connsiteY46102" fmla="*/ 220007 h 4687251"/>
              <a:gd name="connsiteX46103" fmla="*/ 4756175 w 8079933"/>
              <a:gd name="connsiteY46103" fmla="*/ 223579 h 4687251"/>
              <a:gd name="connsiteX46104" fmla="*/ 4753245 w 8079933"/>
              <a:gd name="connsiteY46104" fmla="*/ 229751 h 4687251"/>
              <a:gd name="connsiteX46105" fmla="*/ 4748471 w 8079933"/>
              <a:gd name="connsiteY46105" fmla="*/ 237006 h 4687251"/>
              <a:gd name="connsiteX46106" fmla="*/ 4742068 w 8079933"/>
              <a:gd name="connsiteY46106" fmla="*/ 238522 h 4687251"/>
              <a:gd name="connsiteX46107" fmla="*/ 4737185 w 8079933"/>
              <a:gd name="connsiteY46107" fmla="*/ 242636 h 4687251"/>
              <a:gd name="connsiteX46108" fmla="*/ 4732193 w 8079933"/>
              <a:gd name="connsiteY46108" fmla="*/ 242852 h 4687251"/>
              <a:gd name="connsiteX46109" fmla="*/ 4730457 w 8079933"/>
              <a:gd name="connsiteY46109" fmla="*/ 240146 h 4687251"/>
              <a:gd name="connsiteX46110" fmla="*/ 4731867 w 8079933"/>
              <a:gd name="connsiteY46110" fmla="*/ 237547 h 4687251"/>
              <a:gd name="connsiteX46111" fmla="*/ 4739790 w 8079933"/>
              <a:gd name="connsiteY46111" fmla="*/ 234407 h 4687251"/>
              <a:gd name="connsiteX46112" fmla="*/ 4745432 w 8079933"/>
              <a:gd name="connsiteY46112" fmla="*/ 233541 h 4687251"/>
              <a:gd name="connsiteX46113" fmla="*/ 4744238 w 8079933"/>
              <a:gd name="connsiteY46113" fmla="*/ 231810 h 4687251"/>
              <a:gd name="connsiteX46114" fmla="*/ 4742502 w 8079933"/>
              <a:gd name="connsiteY46114" fmla="*/ 225963 h 4687251"/>
              <a:gd name="connsiteX46115" fmla="*/ 4738921 w 8079933"/>
              <a:gd name="connsiteY46115" fmla="*/ 225963 h 4687251"/>
              <a:gd name="connsiteX46116" fmla="*/ 4737402 w 8079933"/>
              <a:gd name="connsiteY46116" fmla="*/ 224987 h 4687251"/>
              <a:gd name="connsiteX46117" fmla="*/ 4739681 w 8079933"/>
              <a:gd name="connsiteY46117" fmla="*/ 221414 h 4687251"/>
              <a:gd name="connsiteX46118" fmla="*/ 4740875 w 8079933"/>
              <a:gd name="connsiteY46118" fmla="*/ 217408 h 4687251"/>
              <a:gd name="connsiteX46119" fmla="*/ 4746518 w 8079933"/>
              <a:gd name="connsiteY46119" fmla="*/ 217408 h 4687251"/>
              <a:gd name="connsiteX46120" fmla="*/ 4751184 w 8079933"/>
              <a:gd name="connsiteY46120" fmla="*/ 219683 h 4687251"/>
              <a:gd name="connsiteX46121" fmla="*/ 3274272 w 8079933"/>
              <a:gd name="connsiteY46121" fmla="*/ 214593 h 4687251"/>
              <a:gd name="connsiteX46122" fmla="*/ 3277311 w 8079933"/>
              <a:gd name="connsiteY46122" fmla="*/ 215567 h 4687251"/>
              <a:gd name="connsiteX46123" fmla="*/ 3280566 w 8079933"/>
              <a:gd name="connsiteY46123" fmla="*/ 219682 h 4687251"/>
              <a:gd name="connsiteX46124" fmla="*/ 3281109 w 8079933"/>
              <a:gd name="connsiteY46124" fmla="*/ 230401 h 4687251"/>
              <a:gd name="connsiteX46125" fmla="*/ 3278396 w 8079933"/>
              <a:gd name="connsiteY46125" fmla="*/ 232891 h 4687251"/>
              <a:gd name="connsiteX46126" fmla="*/ 3271234 w 8079933"/>
              <a:gd name="connsiteY46126" fmla="*/ 227802 h 4687251"/>
              <a:gd name="connsiteX46127" fmla="*/ 3271885 w 8079933"/>
              <a:gd name="connsiteY46127" fmla="*/ 223038 h 4687251"/>
              <a:gd name="connsiteX46128" fmla="*/ 3271017 w 8079933"/>
              <a:gd name="connsiteY46128" fmla="*/ 219899 h 4687251"/>
              <a:gd name="connsiteX46129" fmla="*/ 3271451 w 8079933"/>
              <a:gd name="connsiteY46129" fmla="*/ 215676 h 4687251"/>
              <a:gd name="connsiteX46130" fmla="*/ 2098712 w 8079933"/>
              <a:gd name="connsiteY46130" fmla="*/ 210153 h 4687251"/>
              <a:gd name="connsiteX46131" fmla="*/ 2102510 w 8079933"/>
              <a:gd name="connsiteY46131" fmla="*/ 212211 h 4687251"/>
              <a:gd name="connsiteX46132" fmla="*/ 2105331 w 8079933"/>
              <a:gd name="connsiteY46132" fmla="*/ 212102 h 4687251"/>
              <a:gd name="connsiteX46133" fmla="*/ 2109237 w 8079933"/>
              <a:gd name="connsiteY46133" fmla="*/ 210694 h 4687251"/>
              <a:gd name="connsiteX46134" fmla="*/ 2107718 w 8079933"/>
              <a:gd name="connsiteY46134" fmla="*/ 216866 h 4687251"/>
              <a:gd name="connsiteX46135" fmla="*/ 2108043 w 8079933"/>
              <a:gd name="connsiteY46135" fmla="*/ 220439 h 4687251"/>
              <a:gd name="connsiteX46136" fmla="*/ 2107175 w 8079933"/>
              <a:gd name="connsiteY46136" fmla="*/ 223795 h 4687251"/>
              <a:gd name="connsiteX46137" fmla="*/ 2106958 w 8079933"/>
              <a:gd name="connsiteY46137" fmla="*/ 229425 h 4687251"/>
              <a:gd name="connsiteX46138" fmla="*/ 2103160 w 8079933"/>
              <a:gd name="connsiteY46138" fmla="*/ 234623 h 4687251"/>
              <a:gd name="connsiteX46139" fmla="*/ 2096975 w 8079933"/>
              <a:gd name="connsiteY46139" fmla="*/ 236463 h 4687251"/>
              <a:gd name="connsiteX46140" fmla="*/ 2093720 w 8079933"/>
              <a:gd name="connsiteY46140" fmla="*/ 234730 h 4687251"/>
              <a:gd name="connsiteX46141" fmla="*/ 2090139 w 8079933"/>
              <a:gd name="connsiteY46141" fmla="*/ 227910 h 4687251"/>
              <a:gd name="connsiteX46142" fmla="*/ 2091116 w 8079933"/>
              <a:gd name="connsiteY46142" fmla="*/ 223037 h 4687251"/>
              <a:gd name="connsiteX46143" fmla="*/ 2091007 w 8079933"/>
              <a:gd name="connsiteY46143" fmla="*/ 217516 h 4687251"/>
              <a:gd name="connsiteX46144" fmla="*/ 2092743 w 8079933"/>
              <a:gd name="connsiteY46144" fmla="*/ 213293 h 4687251"/>
              <a:gd name="connsiteX46145" fmla="*/ 2095673 w 8079933"/>
              <a:gd name="connsiteY46145" fmla="*/ 212968 h 4687251"/>
              <a:gd name="connsiteX46146" fmla="*/ 4771477 w 8079933"/>
              <a:gd name="connsiteY46146" fmla="*/ 203116 h 4687251"/>
              <a:gd name="connsiteX46147" fmla="*/ 4774406 w 8079933"/>
              <a:gd name="connsiteY46147" fmla="*/ 205173 h 4687251"/>
              <a:gd name="connsiteX46148" fmla="*/ 4775600 w 8079933"/>
              <a:gd name="connsiteY46148" fmla="*/ 208205 h 4687251"/>
              <a:gd name="connsiteX46149" fmla="*/ 4774624 w 8079933"/>
              <a:gd name="connsiteY46149" fmla="*/ 211453 h 4687251"/>
              <a:gd name="connsiteX46150" fmla="*/ 4771260 w 8079933"/>
              <a:gd name="connsiteY46150" fmla="*/ 213078 h 4687251"/>
              <a:gd name="connsiteX46151" fmla="*/ 4767679 w 8079933"/>
              <a:gd name="connsiteY46151" fmla="*/ 212102 h 4687251"/>
              <a:gd name="connsiteX46152" fmla="*/ 4766811 w 8079933"/>
              <a:gd name="connsiteY46152" fmla="*/ 206582 h 4687251"/>
              <a:gd name="connsiteX46153" fmla="*/ 4768873 w 8079933"/>
              <a:gd name="connsiteY46153" fmla="*/ 203549 h 4687251"/>
              <a:gd name="connsiteX46154" fmla="*/ 4747495 w 8079933"/>
              <a:gd name="connsiteY46154" fmla="*/ 199326 h 4687251"/>
              <a:gd name="connsiteX46155" fmla="*/ 4750967 w 8079933"/>
              <a:gd name="connsiteY46155" fmla="*/ 199759 h 4687251"/>
              <a:gd name="connsiteX46156" fmla="*/ 4753897 w 8079933"/>
              <a:gd name="connsiteY46156" fmla="*/ 201925 h 4687251"/>
              <a:gd name="connsiteX46157" fmla="*/ 4758454 w 8079933"/>
              <a:gd name="connsiteY46157" fmla="*/ 201925 h 4687251"/>
              <a:gd name="connsiteX46158" fmla="*/ 4760516 w 8079933"/>
              <a:gd name="connsiteY46158" fmla="*/ 201384 h 4687251"/>
              <a:gd name="connsiteX46159" fmla="*/ 4762687 w 8079933"/>
              <a:gd name="connsiteY46159" fmla="*/ 203008 h 4687251"/>
              <a:gd name="connsiteX46160" fmla="*/ 4761276 w 8079933"/>
              <a:gd name="connsiteY46160" fmla="*/ 205714 h 4687251"/>
              <a:gd name="connsiteX46161" fmla="*/ 4758780 w 8079933"/>
              <a:gd name="connsiteY46161" fmla="*/ 207338 h 4687251"/>
              <a:gd name="connsiteX46162" fmla="*/ 4756610 w 8079933"/>
              <a:gd name="connsiteY46162" fmla="*/ 211127 h 4687251"/>
              <a:gd name="connsiteX46163" fmla="*/ 4753789 w 8079933"/>
              <a:gd name="connsiteY46163" fmla="*/ 213509 h 4687251"/>
              <a:gd name="connsiteX46164" fmla="*/ 4750967 w 8079933"/>
              <a:gd name="connsiteY46164" fmla="*/ 213184 h 4687251"/>
              <a:gd name="connsiteX46165" fmla="*/ 4748688 w 8079933"/>
              <a:gd name="connsiteY46165" fmla="*/ 210370 h 4687251"/>
              <a:gd name="connsiteX46166" fmla="*/ 4744131 w 8079933"/>
              <a:gd name="connsiteY46166" fmla="*/ 212968 h 4687251"/>
              <a:gd name="connsiteX46167" fmla="*/ 4740007 w 8079933"/>
              <a:gd name="connsiteY46167" fmla="*/ 211127 h 4687251"/>
              <a:gd name="connsiteX46168" fmla="*/ 4738597 w 8079933"/>
              <a:gd name="connsiteY46168" fmla="*/ 208420 h 4687251"/>
              <a:gd name="connsiteX46169" fmla="*/ 4738922 w 8079933"/>
              <a:gd name="connsiteY46169" fmla="*/ 205714 h 4687251"/>
              <a:gd name="connsiteX46170" fmla="*/ 4743480 w 8079933"/>
              <a:gd name="connsiteY46170" fmla="*/ 201817 h 4687251"/>
              <a:gd name="connsiteX46171" fmla="*/ 3273513 w 8079933"/>
              <a:gd name="connsiteY46171" fmla="*/ 195972 h 4687251"/>
              <a:gd name="connsiteX46172" fmla="*/ 3275683 w 8079933"/>
              <a:gd name="connsiteY46172" fmla="*/ 197595 h 4687251"/>
              <a:gd name="connsiteX46173" fmla="*/ 3275792 w 8079933"/>
              <a:gd name="connsiteY46173" fmla="*/ 201168 h 4687251"/>
              <a:gd name="connsiteX46174" fmla="*/ 3279047 w 8079933"/>
              <a:gd name="connsiteY46174" fmla="*/ 203117 h 4687251"/>
              <a:gd name="connsiteX46175" fmla="*/ 3279590 w 8079933"/>
              <a:gd name="connsiteY46175" fmla="*/ 207339 h 4687251"/>
              <a:gd name="connsiteX46176" fmla="*/ 3278070 w 8079933"/>
              <a:gd name="connsiteY46176" fmla="*/ 209722 h 4687251"/>
              <a:gd name="connsiteX46177" fmla="*/ 3271668 w 8079933"/>
              <a:gd name="connsiteY46177" fmla="*/ 210263 h 4687251"/>
              <a:gd name="connsiteX46178" fmla="*/ 3269931 w 8079933"/>
              <a:gd name="connsiteY46178" fmla="*/ 209505 h 4687251"/>
              <a:gd name="connsiteX46179" fmla="*/ 3267110 w 8079933"/>
              <a:gd name="connsiteY46179" fmla="*/ 204741 h 4687251"/>
              <a:gd name="connsiteX46180" fmla="*/ 3266785 w 8079933"/>
              <a:gd name="connsiteY46180" fmla="*/ 201493 h 4687251"/>
              <a:gd name="connsiteX46181" fmla="*/ 3269172 w 8079933"/>
              <a:gd name="connsiteY46181" fmla="*/ 196945 h 4687251"/>
              <a:gd name="connsiteX46182" fmla="*/ 4852972 w 8079933"/>
              <a:gd name="connsiteY46182" fmla="*/ 194672 h 4687251"/>
              <a:gd name="connsiteX46183" fmla="*/ 4856229 w 8079933"/>
              <a:gd name="connsiteY46183" fmla="*/ 196404 h 4687251"/>
              <a:gd name="connsiteX46184" fmla="*/ 4860569 w 8079933"/>
              <a:gd name="connsiteY46184" fmla="*/ 197594 h 4687251"/>
              <a:gd name="connsiteX46185" fmla="*/ 4862196 w 8079933"/>
              <a:gd name="connsiteY46185" fmla="*/ 202250 h 4687251"/>
              <a:gd name="connsiteX46186" fmla="*/ 4861871 w 8079933"/>
              <a:gd name="connsiteY46186" fmla="*/ 209938 h 4687251"/>
              <a:gd name="connsiteX46187" fmla="*/ 4863282 w 8079933"/>
              <a:gd name="connsiteY46187" fmla="*/ 212320 h 4687251"/>
              <a:gd name="connsiteX46188" fmla="*/ 4867405 w 8079933"/>
              <a:gd name="connsiteY46188" fmla="*/ 214052 h 4687251"/>
              <a:gd name="connsiteX46189" fmla="*/ 4872939 w 8079933"/>
              <a:gd name="connsiteY46189" fmla="*/ 219790 h 4687251"/>
              <a:gd name="connsiteX46190" fmla="*/ 4875978 w 8079933"/>
              <a:gd name="connsiteY46190" fmla="*/ 219790 h 4687251"/>
              <a:gd name="connsiteX46191" fmla="*/ 4875978 w 8079933"/>
              <a:gd name="connsiteY46191" fmla="*/ 222389 h 4687251"/>
              <a:gd name="connsiteX46192" fmla="*/ 4868491 w 8079933"/>
              <a:gd name="connsiteY46192" fmla="*/ 226828 h 4687251"/>
              <a:gd name="connsiteX46193" fmla="*/ 4861003 w 8079933"/>
              <a:gd name="connsiteY46193" fmla="*/ 229859 h 4687251"/>
              <a:gd name="connsiteX46194" fmla="*/ 4859483 w 8079933"/>
              <a:gd name="connsiteY46194" fmla="*/ 233216 h 4687251"/>
              <a:gd name="connsiteX46195" fmla="*/ 4860895 w 8079933"/>
              <a:gd name="connsiteY46195" fmla="*/ 237438 h 4687251"/>
              <a:gd name="connsiteX46196" fmla="*/ 4860243 w 8079933"/>
              <a:gd name="connsiteY46196" fmla="*/ 243177 h 4687251"/>
              <a:gd name="connsiteX46197" fmla="*/ 4856770 w 8079933"/>
              <a:gd name="connsiteY46197" fmla="*/ 248266 h 4687251"/>
              <a:gd name="connsiteX46198" fmla="*/ 4852756 w 8079933"/>
              <a:gd name="connsiteY46198" fmla="*/ 245559 h 4687251"/>
              <a:gd name="connsiteX46199" fmla="*/ 4852213 w 8079933"/>
              <a:gd name="connsiteY46199" fmla="*/ 241985 h 4687251"/>
              <a:gd name="connsiteX46200" fmla="*/ 4849174 w 8079933"/>
              <a:gd name="connsiteY46200" fmla="*/ 238630 h 4687251"/>
              <a:gd name="connsiteX46201" fmla="*/ 4844291 w 8079933"/>
              <a:gd name="connsiteY46201" fmla="*/ 239170 h 4687251"/>
              <a:gd name="connsiteX46202" fmla="*/ 4840385 w 8079933"/>
              <a:gd name="connsiteY46202" fmla="*/ 235381 h 4687251"/>
              <a:gd name="connsiteX46203" fmla="*/ 4840168 w 8079933"/>
              <a:gd name="connsiteY46203" fmla="*/ 232024 h 4687251"/>
              <a:gd name="connsiteX46204" fmla="*/ 4842121 w 8079933"/>
              <a:gd name="connsiteY46204" fmla="*/ 228344 h 4687251"/>
              <a:gd name="connsiteX46205" fmla="*/ 4839517 w 8079933"/>
              <a:gd name="connsiteY46205" fmla="*/ 221955 h 4687251"/>
              <a:gd name="connsiteX46206" fmla="*/ 4838323 w 8079933"/>
              <a:gd name="connsiteY46206" fmla="*/ 216326 h 4687251"/>
              <a:gd name="connsiteX46207" fmla="*/ 4839842 w 8079933"/>
              <a:gd name="connsiteY46207" fmla="*/ 209938 h 4687251"/>
              <a:gd name="connsiteX46208" fmla="*/ 4843966 w 8079933"/>
              <a:gd name="connsiteY46208" fmla="*/ 207231 h 4687251"/>
              <a:gd name="connsiteX46209" fmla="*/ 4848306 w 8079933"/>
              <a:gd name="connsiteY46209" fmla="*/ 201492 h 4687251"/>
              <a:gd name="connsiteX46210" fmla="*/ 4848306 w 8079933"/>
              <a:gd name="connsiteY46210" fmla="*/ 198569 h 4687251"/>
              <a:gd name="connsiteX46211" fmla="*/ 4849717 w 8079933"/>
              <a:gd name="connsiteY46211" fmla="*/ 195213 h 4687251"/>
              <a:gd name="connsiteX46212" fmla="*/ 5325020 w 8079933"/>
              <a:gd name="connsiteY46212" fmla="*/ 191316 h 4687251"/>
              <a:gd name="connsiteX46213" fmla="*/ 5333484 w 8079933"/>
              <a:gd name="connsiteY46213" fmla="*/ 192616 h 4687251"/>
              <a:gd name="connsiteX46214" fmla="*/ 5343576 w 8079933"/>
              <a:gd name="connsiteY46214" fmla="*/ 198029 h 4687251"/>
              <a:gd name="connsiteX46215" fmla="*/ 5344553 w 8079933"/>
              <a:gd name="connsiteY46215" fmla="*/ 201276 h 4687251"/>
              <a:gd name="connsiteX46216" fmla="*/ 5341840 w 8079933"/>
              <a:gd name="connsiteY46216" fmla="*/ 208316 h 4687251"/>
              <a:gd name="connsiteX46217" fmla="*/ 5339778 w 8079933"/>
              <a:gd name="connsiteY46217" fmla="*/ 214919 h 4687251"/>
              <a:gd name="connsiteX46218" fmla="*/ 5336414 w 8079933"/>
              <a:gd name="connsiteY46218" fmla="*/ 216760 h 4687251"/>
              <a:gd name="connsiteX46219" fmla="*/ 5330989 w 8079933"/>
              <a:gd name="connsiteY46219" fmla="*/ 221416 h 4687251"/>
              <a:gd name="connsiteX46220" fmla="*/ 5326322 w 8079933"/>
              <a:gd name="connsiteY46220" fmla="*/ 224988 h 4687251"/>
              <a:gd name="connsiteX46221" fmla="*/ 5321330 w 8079933"/>
              <a:gd name="connsiteY46221" fmla="*/ 224555 h 4687251"/>
              <a:gd name="connsiteX46222" fmla="*/ 5316881 w 8079933"/>
              <a:gd name="connsiteY46222" fmla="*/ 221957 h 4687251"/>
              <a:gd name="connsiteX46223" fmla="*/ 5316555 w 8079933"/>
              <a:gd name="connsiteY46223" fmla="*/ 219899 h 4687251"/>
              <a:gd name="connsiteX46224" fmla="*/ 5322198 w 8079933"/>
              <a:gd name="connsiteY46224" fmla="*/ 219791 h 4687251"/>
              <a:gd name="connsiteX46225" fmla="*/ 5328926 w 8079933"/>
              <a:gd name="connsiteY46225" fmla="*/ 217950 h 4687251"/>
              <a:gd name="connsiteX46226" fmla="*/ 5330989 w 8079933"/>
              <a:gd name="connsiteY46226" fmla="*/ 216434 h 4687251"/>
              <a:gd name="connsiteX46227" fmla="*/ 5327733 w 8079933"/>
              <a:gd name="connsiteY46227" fmla="*/ 215352 h 4687251"/>
              <a:gd name="connsiteX46228" fmla="*/ 5318943 w 8079933"/>
              <a:gd name="connsiteY46228" fmla="*/ 215570 h 4687251"/>
              <a:gd name="connsiteX46229" fmla="*/ 5312866 w 8079933"/>
              <a:gd name="connsiteY46229" fmla="*/ 213405 h 4687251"/>
              <a:gd name="connsiteX46230" fmla="*/ 5309936 w 8079933"/>
              <a:gd name="connsiteY46230" fmla="*/ 208748 h 4687251"/>
              <a:gd name="connsiteX46231" fmla="*/ 5304836 w 8079933"/>
              <a:gd name="connsiteY46231" fmla="*/ 206366 h 4687251"/>
              <a:gd name="connsiteX46232" fmla="*/ 5302448 w 8079933"/>
              <a:gd name="connsiteY46232" fmla="*/ 202359 h 4687251"/>
              <a:gd name="connsiteX46233" fmla="*/ 5296480 w 8079933"/>
              <a:gd name="connsiteY46233" fmla="*/ 201061 h 4687251"/>
              <a:gd name="connsiteX46234" fmla="*/ 5294744 w 8079933"/>
              <a:gd name="connsiteY46234" fmla="*/ 197920 h 4687251"/>
              <a:gd name="connsiteX46235" fmla="*/ 5296046 w 8079933"/>
              <a:gd name="connsiteY46235" fmla="*/ 196621 h 4687251"/>
              <a:gd name="connsiteX46236" fmla="*/ 5301906 w 8079933"/>
              <a:gd name="connsiteY46236" fmla="*/ 196514 h 4687251"/>
              <a:gd name="connsiteX46237" fmla="*/ 5306138 w 8079933"/>
              <a:gd name="connsiteY46237" fmla="*/ 193049 h 4687251"/>
              <a:gd name="connsiteX46238" fmla="*/ 5309176 w 8079933"/>
              <a:gd name="connsiteY46238" fmla="*/ 193049 h 4687251"/>
              <a:gd name="connsiteX46239" fmla="*/ 5313517 w 8079933"/>
              <a:gd name="connsiteY46239" fmla="*/ 194781 h 4687251"/>
              <a:gd name="connsiteX46240" fmla="*/ 5317749 w 8079933"/>
              <a:gd name="connsiteY46240" fmla="*/ 192724 h 4687251"/>
              <a:gd name="connsiteX46241" fmla="*/ 4756827 w 8079933"/>
              <a:gd name="connsiteY46241" fmla="*/ 190882 h 4687251"/>
              <a:gd name="connsiteX46242" fmla="*/ 4757912 w 8079933"/>
              <a:gd name="connsiteY46242" fmla="*/ 193806 h 4687251"/>
              <a:gd name="connsiteX46243" fmla="*/ 4755307 w 8079933"/>
              <a:gd name="connsiteY46243" fmla="*/ 195972 h 4687251"/>
              <a:gd name="connsiteX46244" fmla="*/ 4754874 w 8079933"/>
              <a:gd name="connsiteY46244" fmla="*/ 192614 h 4687251"/>
              <a:gd name="connsiteX46245" fmla="*/ 5496586 w 8079933"/>
              <a:gd name="connsiteY46245" fmla="*/ 188392 h 4687251"/>
              <a:gd name="connsiteX46246" fmla="*/ 5499841 w 8079933"/>
              <a:gd name="connsiteY46246" fmla="*/ 188392 h 4687251"/>
              <a:gd name="connsiteX46247" fmla="*/ 5506027 w 8079933"/>
              <a:gd name="connsiteY46247" fmla="*/ 191316 h 4687251"/>
              <a:gd name="connsiteX46248" fmla="*/ 5510693 w 8079933"/>
              <a:gd name="connsiteY46248" fmla="*/ 192398 h 4687251"/>
              <a:gd name="connsiteX46249" fmla="*/ 5515468 w 8079933"/>
              <a:gd name="connsiteY46249" fmla="*/ 194455 h 4687251"/>
              <a:gd name="connsiteX46250" fmla="*/ 5516336 w 8079933"/>
              <a:gd name="connsiteY46250" fmla="*/ 210047 h 4687251"/>
              <a:gd name="connsiteX46251" fmla="*/ 5518181 w 8079933"/>
              <a:gd name="connsiteY46251" fmla="*/ 213295 h 4687251"/>
              <a:gd name="connsiteX46252" fmla="*/ 5520785 w 8079933"/>
              <a:gd name="connsiteY46252" fmla="*/ 213295 h 4687251"/>
              <a:gd name="connsiteX46253" fmla="*/ 5520785 w 8079933"/>
              <a:gd name="connsiteY46253" fmla="*/ 208855 h 4687251"/>
              <a:gd name="connsiteX46254" fmla="*/ 5524040 w 8079933"/>
              <a:gd name="connsiteY46254" fmla="*/ 206257 h 4687251"/>
              <a:gd name="connsiteX46255" fmla="*/ 5524040 w 8079933"/>
              <a:gd name="connsiteY46255" fmla="*/ 203117 h 4687251"/>
              <a:gd name="connsiteX46256" fmla="*/ 5520567 w 8079933"/>
              <a:gd name="connsiteY46256" fmla="*/ 199004 h 4687251"/>
              <a:gd name="connsiteX46257" fmla="*/ 5520567 w 8079933"/>
              <a:gd name="connsiteY46257" fmla="*/ 196621 h 4687251"/>
              <a:gd name="connsiteX46258" fmla="*/ 5523280 w 8079933"/>
              <a:gd name="connsiteY46258" fmla="*/ 198570 h 4687251"/>
              <a:gd name="connsiteX46259" fmla="*/ 5528055 w 8079933"/>
              <a:gd name="connsiteY46259" fmla="*/ 204525 h 4687251"/>
              <a:gd name="connsiteX46260" fmla="*/ 5530334 w 8079933"/>
              <a:gd name="connsiteY46260" fmla="*/ 204525 h 4687251"/>
              <a:gd name="connsiteX46261" fmla="*/ 5531202 w 8079933"/>
              <a:gd name="connsiteY46261" fmla="*/ 200194 h 4687251"/>
              <a:gd name="connsiteX46262" fmla="*/ 5534241 w 8079933"/>
              <a:gd name="connsiteY46262" fmla="*/ 200194 h 4687251"/>
              <a:gd name="connsiteX46263" fmla="*/ 5537822 w 8079933"/>
              <a:gd name="connsiteY46263" fmla="*/ 204308 h 4687251"/>
              <a:gd name="connsiteX46264" fmla="*/ 5539016 w 8079933"/>
              <a:gd name="connsiteY46264" fmla="*/ 207774 h 4687251"/>
              <a:gd name="connsiteX46265" fmla="*/ 5542488 w 8079933"/>
              <a:gd name="connsiteY46265" fmla="*/ 208964 h 4687251"/>
              <a:gd name="connsiteX46266" fmla="*/ 5543682 w 8079933"/>
              <a:gd name="connsiteY46266" fmla="*/ 206907 h 4687251"/>
              <a:gd name="connsiteX46267" fmla="*/ 5546286 w 8079933"/>
              <a:gd name="connsiteY46267" fmla="*/ 207557 h 4687251"/>
              <a:gd name="connsiteX46268" fmla="*/ 5552147 w 8079933"/>
              <a:gd name="connsiteY46268" fmla="*/ 213186 h 4687251"/>
              <a:gd name="connsiteX46269" fmla="*/ 5557789 w 8079933"/>
              <a:gd name="connsiteY46269" fmla="*/ 215460 h 4687251"/>
              <a:gd name="connsiteX46270" fmla="*/ 5561370 w 8079933"/>
              <a:gd name="connsiteY46270" fmla="*/ 217735 h 4687251"/>
              <a:gd name="connsiteX46271" fmla="*/ 5563432 w 8079933"/>
              <a:gd name="connsiteY46271" fmla="*/ 216327 h 4687251"/>
              <a:gd name="connsiteX46272" fmla="*/ 5568098 w 8079933"/>
              <a:gd name="connsiteY46272" fmla="*/ 216327 h 4687251"/>
              <a:gd name="connsiteX46273" fmla="*/ 5575694 w 8079933"/>
              <a:gd name="connsiteY46273" fmla="*/ 221306 h 4687251"/>
              <a:gd name="connsiteX46274" fmla="*/ 5575694 w 8079933"/>
              <a:gd name="connsiteY46274" fmla="*/ 225638 h 4687251"/>
              <a:gd name="connsiteX46275" fmla="*/ 5578408 w 8079933"/>
              <a:gd name="connsiteY46275" fmla="*/ 231376 h 4687251"/>
              <a:gd name="connsiteX46276" fmla="*/ 5584592 w 8079933"/>
              <a:gd name="connsiteY46276" fmla="*/ 238739 h 4687251"/>
              <a:gd name="connsiteX46277" fmla="*/ 5586004 w 8079933"/>
              <a:gd name="connsiteY46277" fmla="*/ 243935 h 4687251"/>
              <a:gd name="connsiteX46278" fmla="*/ 5581880 w 8079933"/>
              <a:gd name="connsiteY46278" fmla="*/ 253247 h 4687251"/>
              <a:gd name="connsiteX46279" fmla="*/ 5578625 w 8079933"/>
              <a:gd name="connsiteY46279" fmla="*/ 255521 h 4687251"/>
              <a:gd name="connsiteX46280" fmla="*/ 5577430 w 8079933"/>
              <a:gd name="connsiteY46280" fmla="*/ 259527 h 4687251"/>
              <a:gd name="connsiteX46281" fmla="*/ 5569726 w 8079933"/>
              <a:gd name="connsiteY46281" fmla="*/ 265698 h 4687251"/>
              <a:gd name="connsiteX46282" fmla="*/ 5564409 w 8079933"/>
              <a:gd name="connsiteY46282" fmla="*/ 267538 h 4687251"/>
              <a:gd name="connsiteX46283" fmla="*/ 5562347 w 8079933"/>
              <a:gd name="connsiteY46283" fmla="*/ 271112 h 4687251"/>
              <a:gd name="connsiteX46284" fmla="*/ 5560068 w 8079933"/>
              <a:gd name="connsiteY46284" fmla="*/ 275551 h 4687251"/>
              <a:gd name="connsiteX46285" fmla="*/ 5556595 w 8079933"/>
              <a:gd name="connsiteY46285" fmla="*/ 275551 h 4687251"/>
              <a:gd name="connsiteX46286" fmla="*/ 5553883 w 8079933"/>
              <a:gd name="connsiteY46286" fmla="*/ 273169 h 4687251"/>
              <a:gd name="connsiteX46287" fmla="*/ 5549867 w 8079933"/>
              <a:gd name="connsiteY46287" fmla="*/ 273818 h 4687251"/>
              <a:gd name="connsiteX46288" fmla="*/ 5539016 w 8079933"/>
              <a:gd name="connsiteY46288" fmla="*/ 280856 h 4687251"/>
              <a:gd name="connsiteX46289" fmla="*/ 5538364 w 8079933"/>
              <a:gd name="connsiteY46289" fmla="*/ 284753 h 4687251"/>
              <a:gd name="connsiteX46290" fmla="*/ 5539233 w 8079933"/>
              <a:gd name="connsiteY46290" fmla="*/ 287677 h 4687251"/>
              <a:gd name="connsiteX46291" fmla="*/ 5535651 w 8079933"/>
              <a:gd name="connsiteY46291" fmla="*/ 289735 h 4687251"/>
              <a:gd name="connsiteX46292" fmla="*/ 5530551 w 8079933"/>
              <a:gd name="connsiteY46292" fmla="*/ 296987 h 4687251"/>
              <a:gd name="connsiteX46293" fmla="*/ 5527404 w 8079933"/>
              <a:gd name="connsiteY46293" fmla="*/ 303376 h 4687251"/>
              <a:gd name="connsiteX46294" fmla="*/ 5521219 w 8079933"/>
              <a:gd name="connsiteY46294" fmla="*/ 305435 h 4687251"/>
              <a:gd name="connsiteX46295" fmla="*/ 5518289 w 8079933"/>
              <a:gd name="connsiteY46295" fmla="*/ 302725 h 4687251"/>
              <a:gd name="connsiteX46296" fmla="*/ 5518289 w 8079933"/>
              <a:gd name="connsiteY46296" fmla="*/ 298070 h 4687251"/>
              <a:gd name="connsiteX46297" fmla="*/ 5514165 w 8079933"/>
              <a:gd name="connsiteY46297" fmla="*/ 294281 h 4687251"/>
              <a:gd name="connsiteX46298" fmla="*/ 5511561 w 8079933"/>
              <a:gd name="connsiteY46298" fmla="*/ 286919 h 4687251"/>
              <a:gd name="connsiteX46299" fmla="*/ 5508414 w 8079933"/>
              <a:gd name="connsiteY46299" fmla="*/ 279881 h 4687251"/>
              <a:gd name="connsiteX46300" fmla="*/ 5510151 w 8079933"/>
              <a:gd name="connsiteY46300" fmla="*/ 277282 h 4687251"/>
              <a:gd name="connsiteX46301" fmla="*/ 5509499 w 8079933"/>
              <a:gd name="connsiteY46301" fmla="*/ 272844 h 4687251"/>
              <a:gd name="connsiteX46302" fmla="*/ 5506895 w 8079933"/>
              <a:gd name="connsiteY46302" fmla="*/ 270786 h 4687251"/>
              <a:gd name="connsiteX46303" fmla="*/ 5506895 w 8079933"/>
              <a:gd name="connsiteY46303" fmla="*/ 264940 h 4687251"/>
              <a:gd name="connsiteX46304" fmla="*/ 5505159 w 8079933"/>
              <a:gd name="connsiteY46304" fmla="*/ 258769 h 4687251"/>
              <a:gd name="connsiteX46305" fmla="*/ 5501034 w 8079933"/>
              <a:gd name="connsiteY46305" fmla="*/ 250324 h 4687251"/>
              <a:gd name="connsiteX46306" fmla="*/ 5503422 w 8079933"/>
              <a:gd name="connsiteY46306" fmla="*/ 242203 h 4687251"/>
              <a:gd name="connsiteX46307" fmla="*/ 5507872 w 8079933"/>
              <a:gd name="connsiteY46307" fmla="*/ 241336 h 4687251"/>
              <a:gd name="connsiteX46308" fmla="*/ 5510802 w 8079933"/>
              <a:gd name="connsiteY46308" fmla="*/ 238630 h 4687251"/>
              <a:gd name="connsiteX46309" fmla="*/ 5506461 w 8079933"/>
              <a:gd name="connsiteY46309" fmla="*/ 238630 h 4687251"/>
              <a:gd name="connsiteX46310" fmla="*/ 5502879 w 8079933"/>
              <a:gd name="connsiteY46310" fmla="*/ 235058 h 4687251"/>
              <a:gd name="connsiteX46311" fmla="*/ 5497671 w 8079933"/>
              <a:gd name="connsiteY46311" fmla="*/ 223039 h 4687251"/>
              <a:gd name="connsiteX46312" fmla="*/ 5498539 w 8079933"/>
              <a:gd name="connsiteY46312" fmla="*/ 219141 h 4687251"/>
              <a:gd name="connsiteX46313" fmla="*/ 5496586 w 8079933"/>
              <a:gd name="connsiteY46313" fmla="*/ 216435 h 4687251"/>
              <a:gd name="connsiteX46314" fmla="*/ 5493005 w 8079933"/>
              <a:gd name="connsiteY46314" fmla="*/ 215570 h 4687251"/>
              <a:gd name="connsiteX46315" fmla="*/ 5490617 w 8079933"/>
              <a:gd name="connsiteY46315" fmla="*/ 212970 h 4687251"/>
              <a:gd name="connsiteX46316" fmla="*/ 5490617 w 8079933"/>
              <a:gd name="connsiteY46316" fmla="*/ 208098 h 4687251"/>
              <a:gd name="connsiteX46317" fmla="*/ 5492028 w 8079933"/>
              <a:gd name="connsiteY46317" fmla="*/ 206691 h 4687251"/>
              <a:gd name="connsiteX46318" fmla="*/ 5491377 w 8079933"/>
              <a:gd name="connsiteY46318" fmla="*/ 203876 h 4687251"/>
              <a:gd name="connsiteX46319" fmla="*/ 5490509 w 8079933"/>
              <a:gd name="connsiteY46319" fmla="*/ 200627 h 4687251"/>
              <a:gd name="connsiteX46320" fmla="*/ 5492462 w 8079933"/>
              <a:gd name="connsiteY46320" fmla="*/ 200627 h 4687251"/>
              <a:gd name="connsiteX46321" fmla="*/ 5495718 w 8079933"/>
              <a:gd name="connsiteY46321" fmla="*/ 203226 h 4687251"/>
              <a:gd name="connsiteX46322" fmla="*/ 5497454 w 8079933"/>
              <a:gd name="connsiteY46322" fmla="*/ 206149 h 4687251"/>
              <a:gd name="connsiteX46323" fmla="*/ 5501252 w 8079933"/>
              <a:gd name="connsiteY46323" fmla="*/ 206149 h 4687251"/>
              <a:gd name="connsiteX46324" fmla="*/ 5503314 w 8079933"/>
              <a:gd name="connsiteY46324" fmla="*/ 204092 h 4687251"/>
              <a:gd name="connsiteX46325" fmla="*/ 5499841 w 8079933"/>
              <a:gd name="connsiteY46325" fmla="*/ 199761 h 4687251"/>
              <a:gd name="connsiteX46326" fmla="*/ 5494958 w 8079933"/>
              <a:gd name="connsiteY46326" fmla="*/ 196621 h 4687251"/>
              <a:gd name="connsiteX46327" fmla="*/ 5493873 w 8079933"/>
              <a:gd name="connsiteY46327" fmla="*/ 192182 h 4687251"/>
              <a:gd name="connsiteX46328" fmla="*/ 5087586 w 8079933"/>
              <a:gd name="connsiteY46328" fmla="*/ 184818 h 4687251"/>
              <a:gd name="connsiteX46329" fmla="*/ 5095508 w 8079933"/>
              <a:gd name="connsiteY46329" fmla="*/ 184818 h 4687251"/>
              <a:gd name="connsiteX46330" fmla="*/ 5102127 w 8079933"/>
              <a:gd name="connsiteY46330" fmla="*/ 186552 h 4687251"/>
              <a:gd name="connsiteX46331" fmla="*/ 5104189 w 8079933"/>
              <a:gd name="connsiteY46331" fmla="*/ 191315 h 4687251"/>
              <a:gd name="connsiteX46332" fmla="*/ 5101476 w 8079933"/>
              <a:gd name="connsiteY46332" fmla="*/ 194996 h 4687251"/>
              <a:gd name="connsiteX46333" fmla="*/ 5095508 w 8079933"/>
              <a:gd name="connsiteY46333" fmla="*/ 196838 h 4687251"/>
              <a:gd name="connsiteX46334" fmla="*/ 5086609 w 8079933"/>
              <a:gd name="connsiteY46334" fmla="*/ 196838 h 4687251"/>
              <a:gd name="connsiteX46335" fmla="*/ 5083245 w 8079933"/>
              <a:gd name="connsiteY46335" fmla="*/ 195429 h 4687251"/>
              <a:gd name="connsiteX46336" fmla="*/ 5081509 w 8079933"/>
              <a:gd name="connsiteY46336" fmla="*/ 193372 h 4687251"/>
              <a:gd name="connsiteX46337" fmla="*/ 5081509 w 8079933"/>
              <a:gd name="connsiteY46337" fmla="*/ 189908 h 4687251"/>
              <a:gd name="connsiteX46338" fmla="*/ 6482241 w 8079933"/>
              <a:gd name="connsiteY46338" fmla="*/ 182330 h 4687251"/>
              <a:gd name="connsiteX46339" fmla="*/ 6484629 w 8079933"/>
              <a:gd name="connsiteY46339" fmla="*/ 185036 h 4687251"/>
              <a:gd name="connsiteX46340" fmla="*/ 6484303 w 8079933"/>
              <a:gd name="connsiteY46340" fmla="*/ 187743 h 4687251"/>
              <a:gd name="connsiteX46341" fmla="*/ 6485713 w 8079933"/>
              <a:gd name="connsiteY46341" fmla="*/ 191424 h 4687251"/>
              <a:gd name="connsiteX46342" fmla="*/ 6488969 w 8079933"/>
              <a:gd name="connsiteY46342" fmla="*/ 190882 h 4687251"/>
              <a:gd name="connsiteX46343" fmla="*/ 6493092 w 8079933"/>
              <a:gd name="connsiteY46343" fmla="*/ 192616 h 4687251"/>
              <a:gd name="connsiteX46344" fmla="*/ 6494938 w 8079933"/>
              <a:gd name="connsiteY46344" fmla="*/ 199327 h 4687251"/>
              <a:gd name="connsiteX46345" fmla="*/ 6491356 w 8079933"/>
              <a:gd name="connsiteY46345" fmla="*/ 204525 h 4687251"/>
              <a:gd name="connsiteX46346" fmla="*/ 6489512 w 8079933"/>
              <a:gd name="connsiteY46346" fmla="*/ 210696 h 4687251"/>
              <a:gd name="connsiteX46347" fmla="*/ 6480179 w 8079933"/>
              <a:gd name="connsiteY46347" fmla="*/ 216542 h 4687251"/>
              <a:gd name="connsiteX46348" fmla="*/ 6475839 w 8079933"/>
              <a:gd name="connsiteY46348" fmla="*/ 218274 h 4687251"/>
              <a:gd name="connsiteX46349" fmla="*/ 6468785 w 8079933"/>
              <a:gd name="connsiteY46349" fmla="*/ 216002 h 4687251"/>
              <a:gd name="connsiteX46350" fmla="*/ 6462600 w 8079933"/>
              <a:gd name="connsiteY46350" fmla="*/ 218058 h 4687251"/>
              <a:gd name="connsiteX46351" fmla="*/ 6454461 w 8079933"/>
              <a:gd name="connsiteY46351" fmla="*/ 217733 h 4687251"/>
              <a:gd name="connsiteX46352" fmla="*/ 6445997 w 8079933"/>
              <a:gd name="connsiteY46352" fmla="*/ 213727 h 4687251"/>
              <a:gd name="connsiteX46353" fmla="*/ 6433843 w 8079933"/>
              <a:gd name="connsiteY46353" fmla="*/ 212537 h 4687251"/>
              <a:gd name="connsiteX46354" fmla="*/ 6417457 w 8079933"/>
              <a:gd name="connsiteY46354" fmla="*/ 206907 h 4687251"/>
              <a:gd name="connsiteX46355" fmla="*/ 6415069 w 8079933"/>
              <a:gd name="connsiteY46355" fmla="*/ 202252 h 4687251"/>
              <a:gd name="connsiteX46356" fmla="*/ 6406714 w 8079933"/>
              <a:gd name="connsiteY46356" fmla="*/ 191534 h 4687251"/>
              <a:gd name="connsiteX46357" fmla="*/ 6404652 w 8079933"/>
              <a:gd name="connsiteY46357" fmla="*/ 182761 h 4687251"/>
              <a:gd name="connsiteX46358" fmla="*/ 6408667 w 8079933"/>
              <a:gd name="connsiteY46358" fmla="*/ 183521 h 4687251"/>
              <a:gd name="connsiteX46359" fmla="*/ 6409210 w 8079933"/>
              <a:gd name="connsiteY46359" fmla="*/ 186769 h 4687251"/>
              <a:gd name="connsiteX46360" fmla="*/ 6412465 w 8079933"/>
              <a:gd name="connsiteY46360" fmla="*/ 190016 h 4687251"/>
              <a:gd name="connsiteX46361" fmla="*/ 6421255 w 8079933"/>
              <a:gd name="connsiteY46361" fmla="*/ 192074 h 4687251"/>
              <a:gd name="connsiteX46362" fmla="*/ 6424511 w 8079933"/>
              <a:gd name="connsiteY46362" fmla="*/ 188608 h 4687251"/>
              <a:gd name="connsiteX46363" fmla="*/ 6424511 w 8079933"/>
              <a:gd name="connsiteY46363" fmla="*/ 184711 h 4687251"/>
              <a:gd name="connsiteX46364" fmla="*/ 6428200 w 8079933"/>
              <a:gd name="connsiteY46364" fmla="*/ 186119 h 4687251"/>
              <a:gd name="connsiteX46365" fmla="*/ 6435905 w 8079933"/>
              <a:gd name="connsiteY46365" fmla="*/ 186119 h 4687251"/>
              <a:gd name="connsiteX46366" fmla="*/ 6441222 w 8079933"/>
              <a:gd name="connsiteY46366" fmla="*/ 184819 h 4687251"/>
              <a:gd name="connsiteX46367" fmla="*/ 6444477 w 8079933"/>
              <a:gd name="connsiteY46367" fmla="*/ 184711 h 4687251"/>
              <a:gd name="connsiteX46368" fmla="*/ 6445671 w 8079933"/>
              <a:gd name="connsiteY46368" fmla="*/ 188608 h 4687251"/>
              <a:gd name="connsiteX46369" fmla="*/ 6447407 w 8079933"/>
              <a:gd name="connsiteY46369" fmla="*/ 191424 h 4687251"/>
              <a:gd name="connsiteX46370" fmla="*/ 6452291 w 8079933"/>
              <a:gd name="connsiteY46370" fmla="*/ 190234 h 4687251"/>
              <a:gd name="connsiteX46371" fmla="*/ 6459452 w 8079933"/>
              <a:gd name="connsiteY46371" fmla="*/ 185036 h 4687251"/>
              <a:gd name="connsiteX46372" fmla="*/ 6471064 w 8079933"/>
              <a:gd name="connsiteY46372" fmla="*/ 182761 h 4687251"/>
              <a:gd name="connsiteX46373" fmla="*/ 6478334 w 8079933"/>
              <a:gd name="connsiteY46373" fmla="*/ 184711 h 4687251"/>
              <a:gd name="connsiteX46374" fmla="*/ 6330645 w 8079933"/>
              <a:gd name="connsiteY46374" fmla="*/ 182113 h 4687251"/>
              <a:gd name="connsiteX46375" fmla="*/ 6335637 w 8079933"/>
              <a:gd name="connsiteY46375" fmla="*/ 182761 h 4687251"/>
              <a:gd name="connsiteX46376" fmla="*/ 6347140 w 8079933"/>
              <a:gd name="connsiteY46376" fmla="*/ 188607 h 4687251"/>
              <a:gd name="connsiteX46377" fmla="*/ 6352674 w 8079933"/>
              <a:gd name="connsiteY46377" fmla="*/ 189148 h 4687251"/>
              <a:gd name="connsiteX46378" fmla="*/ 6356797 w 8079933"/>
              <a:gd name="connsiteY46378" fmla="*/ 188174 h 4687251"/>
              <a:gd name="connsiteX46379" fmla="*/ 6368192 w 8079933"/>
              <a:gd name="connsiteY46379" fmla="*/ 189473 h 4687251"/>
              <a:gd name="connsiteX46380" fmla="*/ 6380237 w 8079933"/>
              <a:gd name="connsiteY46380" fmla="*/ 193154 h 4687251"/>
              <a:gd name="connsiteX46381" fmla="*/ 6380454 w 8079933"/>
              <a:gd name="connsiteY46381" fmla="*/ 195537 h 4687251"/>
              <a:gd name="connsiteX46382" fmla="*/ 6375028 w 8079933"/>
              <a:gd name="connsiteY46382" fmla="*/ 196945 h 4687251"/>
              <a:gd name="connsiteX46383" fmla="*/ 6371990 w 8079933"/>
              <a:gd name="connsiteY46383" fmla="*/ 200301 h 4687251"/>
              <a:gd name="connsiteX46384" fmla="*/ 6371990 w 8079933"/>
              <a:gd name="connsiteY46384" fmla="*/ 205172 h 4687251"/>
              <a:gd name="connsiteX46385" fmla="*/ 6376765 w 8079933"/>
              <a:gd name="connsiteY46385" fmla="*/ 210695 h 4687251"/>
              <a:gd name="connsiteX46386" fmla="*/ 6382516 w 8079933"/>
              <a:gd name="connsiteY46386" fmla="*/ 212211 h 4687251"/>
              <a:gd name="connsiteX46387" fmla="*/ 6382625 w 8079933"/>
              <a:gd name="connsiteY46387" fmla="*/ 218166 h 4687251"/>
              <a:gd name="connsiteX46388" fmla="*/ 6383602 w 8079933"/>
              <a:gd name="connsiteY46388" fmla="*/ 221846 h 4687251"/>
              <a:gd name="connsiteX46389" fmla="*/ 6381213 w 8079933"/>
              <a:gd name="connsiteY46389" fmla="*/ 225962 h 4687251"/>
              <a:gd name="connsiteX46390" fmla="*/ 6380129 w 8079933"/>
              <a:gd name="connsiteY46390" fmla="*/ 232349 h 4687251"/>
              <a:gd name="connsiteX46391" fmla="*/ 6376005 w 8079933"/>
              <a:gd name="connsiteY46391" fmla="*/ 236247 h 4687251"/>
              <a:gd name="connsiteX46392" fmla="*/ 6374377 w 8079933"/>
              <a:gd name="connsiteY46392" fmla="*/ 239495 h 4687251"/>
              <a:gd name="connsiteX46393" fmla="*/ 6369819 w 8079933"/>
              <a:gd name="connsiteY46393" fmla="*/ 235920 h 4687251"/>
              <a:gd name="connsiteX46394" fmla="*/ 6367215 w 8079933"/>
              <a:gd name="connsiteY46394" fmla="*/ 236247 h 4687251"/>
              <a:gd name="connsiteX46395" fmla="*/ 6362007 w 8079933"/>
              <a:gd name="connsiteY46395" fmla="*/ 239927 h 4687251"/>
              <a:gd name="connsiteX46396" fmla="*/ 6357014 w 8079933"/>
              <a:gd name="connsiteY46396" fmla="*/ 240144 h 4687251"/>
              <a:gd name="connsiteX46397" fmla="*/ 6346380 w 8079933"/>
              <a:gd name="connsiteY46397" fmla="*/ 234948 h 4687251"/>
              <a:gd name="connsiteX46398" fmla="*/ 6340628 w 8079933"/>
              <a:gd name="connsiteY46398" fmla="*/ 229858 h 4687251"/>
              <a:gd name="connsiteX46399" fmla="*/ 6329993 w 8079933"/>
              <a:gd name="connsiteY46399" fmla="*/ 220980 h 4687251"/>
              <a:gd name="connsiteX46400" fmla="*/ 6328366 w 8079933"/>
              <a:gd name="connsiteY46400" fmla="*/ 214484 h 4687251"/>
              <a:gd name="connsiteX46401" fmla="*/ 6329776 w 8079933"/>
              <a:gd name="connsiteY46401" fmla="*/ 210261 h 4687251"/>
              <a:gd name="connsiteX46402" fmla="*/ 6330211 w 8079933"/>
              <a:gd name="connsiteY46402" fmla="*/ 205823 h 4687251"/>
              <a:gd name="connsiteX46403" fmla="*/ 6331405 w 8079933"/>
              <a:gd name="connsiteY46403" fmla="*/ 203331 h 4687251"/>
              <a:gd name="connsiteX46404" fmla="*/ 6328908 w 8079933"/>
              <a:gd name="connsiteY46404" fmla="*/ 199110 h 4687251"/>
              <a:gd name="connsiteX46405" fmla="*/ 6326195 w 8079933"/>
              <a:gd name="connsiteY46405" fmla="*/ 197487 h 4687251"/>
              <a:gd name="connsiteX46406" fmla="*/ 6325327 w 8079933"/>
              <a:gd name="connsiteY46406" fmla="*/ 192722 h 4687251"/>
              <a:gd name="connsiteX46407" fmla="*/ 6322397 w 8079933"/>
              <a:gd name="connsiteY46407" fmla="*/ 191315 h 4687251"/>
              <a:gd name="connsiteX46408" fmla="*/ 6319251 w 8079933"/>
              <a:gd name="connsiteY46408" fmla="*/ 187309 h 4687251"/>
              <a:gd name="connsiteX46409" fmla="*/ 6315995 w 8079933"/>
              <a:gd name="connsiteY46409" fmla="*/ 182544 h 4687251"/>
              <a:gd name="connsiteX46410" fmla="*/ 6323049 w 8079933"/>
              <a:gd name="connsiteY46410" fmla="*/ 182436 h 4687251"/>
              <a:gd name="connsiteX46411" fmla="*/ 2204841 w 8079933"/>
              <a:gd name="connsiteY46411" fmla="*/ 182003 h 4687251"/>
              <a:gd name="connsiteX46412" fmla="*/ 2208314 w 8079933"/>
              <a:gd name="connsiteY46412" fmla="*/ 183303 h 4687251"/>
              <a:gd name="connsiteX46413" fmla="*/ 2207988 w 8079933"/>
              <a:gd name="connsiteY46413" fmla="*/ 186659 h 4687251"/>
              <a:gd name="connsiteX46414" fmla="*/ 2210701 w 8079933"/>
              <a:gd name="connsiteY46414" fmla="*/ 191964 h 4687251"/>
              <a:gd name="connsiteX46415" fmla="*/ 2210701 w 8079933"/>
              <a:gd name="connsiteY46415" fmla="*/ 195754 h 4687251"/>
              <a:gd name="connsiteX46416" fmla="*/ 2206794 w 8079933"/>
              <a:gd name="connsiteY46416" fmla="*/ 201926 h 4687251"/>
              <a:gd name="connsiteX46417" fmla="*/ 2209725 w 8079933"/>
              <a:gd name="connsiteY46417" fmla="*/ 208421 h 4687251"/>
              <a:gd name="connsiteX46418" fmla="*/ 2206035 w 8079933"/>
              <a:gd name="connsiteY46418" fmla="*/ 218058 h 4687251"/>
              <a:gd name="connsiteX46419" fmla="*/ 2200718 w 8079933"/>
              <a:gd name="connsiteY46419" fmla="*/ 220872 h 4687251"/>
              <a:gd name="connsiteX46420" fmla="*/ 2196376 w 8079933"/>
              <a:gd name="connsiteY46420" fmla="*/ 225312 h 4687251"/>
              <a:gd name="connsiteX46421" fmla="*/ 2192470 w 8079933"/>
              <a:gd name="connsiteY46421" fmla="*/ 224445 h 4687251"/>
              <a:gd name="connsiteX46422" fmla="*/ 2188130 w 8079933"/>
              <a:gd name="connsiteY46422" fmla="*/ 224662 h 4687251"/>
              <a:gd name="connsiteX46423" fmla="*/ 2186067 w 8079933"/>
              <a:gd name="connsiteY46423" fmla="*/ 221522 h 4687251"/>
              <a:gd name="connsiteX46424" fmla="*/ 2181293 w 8079933"/>
              <a:gd name="connsiteY46424" fmla="*/ 222930 h 4687251"/>
              <a:gd name="connsiteX46425" fmla="*/ 2175216 w 8079933"/>
              <a:gd name="connsiteY46425" fmla="*/ 216217 h 4687251"/>
              <a:gd name="connsiteX46426" fmla="*/ 2175541 w 8079933"/>
              <a:gd name="connsiteY46426" fmla="*/ 210479 h 4687251"/>
              <a:gd name="connsiteX46427" fmla="*/ 2171960 w 8079933"/>
              <a:gd name="connsiteY46427" fmla="*/ 205173 h 4687251"/>
              <a:gd name="connsiteX46428" fmla="*/ 2169899 w 8079933"/>
              <a:gd name="connsiteY46428" fmla="*/ 207447 h 4687251"/>
              <a:gd name="connsiteX46429" fmla="*/ 2170115 w 8079933"/>
              <a:gd name="connsiteY46429" fmla="*/ 211236 h 4687251"/>
              <a:gd name="connsiteX46430" fmla="*/ 2166101 w 8079933"/>
              <a:gd name="connsiteY46430" fmla="*/ 214593 h 4687251"/>
              <a:gd name="connsiteX46431" fmla="*/ 2162628 w 8079933"/>
              <a:gd name="connsiteY46431" fmla="*/ 210370 h 4687251"/>
              <a:gd name="connsiteX46432" fmla="*/ 2161434 w 8079933"/>
              <a:gd name="connsiteY46432" fmla="*/ 205173 h 4687251"/>
              <a:gd name="connsiteX46433" fmla="*/ 2163822 w 8079933"/>
              <a:gd name="connsiteY46433" fmla="*/ 202250 h 4687251"/>
              <a:gd name="connsiteX46434" fmla="*/ 2160566 w 8079933"/>
              <a:gd name="connsiteY46434" fmla="*/ 199543 h 4687251"/>
              <a:gd name="connsiteX46435" fmla="*/ 2156335 w 8079933"/>
              <a:gd name="connsiteY46435" fmla="*/ 200193 h 4687251"/>
              <a:gd name="connsiteX46436" fmla="*/ 2153404 w 8079933"/>
              <a:gd name="connsiteY46436" fmla="*/ 199001 h 4687251"/>
              <a:gd name="connsiteX46437" fmla="*/ 2150257 w 8079933"/>
              <a:gd name="connsiteY46437" fmla="*/ 200409 h 4687251"/>
              <a:gd name="connsiteX46438" fmla="*/ 2145049 w 8079933"/>
              <a:gd name="connsiteY46438" fmla="*/ 199868 h 4687251"/>
              <a:gd name="connsiteX46439" fmla="*/ 2140599 w 8079933"/>
              <a:gd name="connsiteY46439" fmla="*/ 201275 h 4687251"/>
              <a:gd name="connsiteX46440" fmla="*/ 2140491 w 8079933"/>
              <a:gd name="connsiteY46440" fmla="*/ 197161 h 4687251"/>
              <a:gd name="connsiteX46441" fmla="*/ 2144614 w 8079933"/>
              <a:gd name="connsiteY46441" fmla="*/ 192613 h 4687251"/>
              <a:gd name="connsiteX46442" fmla="*/ 2145591 w 8079933"/>
              <a:gd name="connsiteY46442" fmla="*/ 189366 h 4687251"/>
              <a:gd name="connsiteX46443" fmla="*/ 2150800 w 8079933"/>
              <a:gd name="connsiteY46443" fmla="*/ 189040 h 4687251"/>
              <a:gd name="connsiteX46444" fmla="*/ 2155792 w 8079933"/>
              <a:gd name="connsiteY46444" fmla="*/ 189040 h 4687251"/>
              <a:gd name="connsiteX46445" fmla="*/ 2169573 w 8079933"/>
              <a:gd name="connsiteY46445" fmla="*/ 185035 h 4687251"/>
              <a:gd name="connsiteX46446" fmla="*/ 2173805 w 8079933"/>
              <a:gd name="connsiteY46446" fmla="*/ 185901 h 4687251"/>
              <a:gd name="connsiteX46447" fmla="*/ 2178146 w 8079933"/>
              <a:gd name="connsiteY46447" fmla="*/ 188824 h 4687251"/>
              <a:gd name="connsiteX46448" fmla="*/ 2180968 w 8079933"/>
              <a:gd name="connsiteY46448" fmla="*/ 188391 h 4687251"/>
              <a:gd name="connsiteX46449" fmla="*/ 2186394 w 8079933"/>
              <a:gd name="connsiteY46449" fmla="*/ 188175 h 4687251"/>
              <a:gd name="connsiteX46450" fmla="*/ 2192253 w 8079933"/>
              <a:gd name="connsiteY46450" fmla="*/ 183844 h 4687251"/>
              <a:gd name="connsiteX46451" fmla="*/ 2200066 w 8079933"/>
              <a:gd name="connsiteY46451" fmla="*/ 183519 h 4687251"/>
              <a:gd name="connsiteX46452" fmla="*/ 2202454 w 8079933"/>
              <a:gd name="connsiteY46452" fmla="*/ 184277 h 4687251"/>
              <a:gd name="connsiteX46453" fmla="*/ 6278772 w 8079933"/>
              <a:gd name="connsiteY46453" fmla="*/ 176483 h 4687251"/>
              <a:gd name="connsiteX46454" fmla="*/ 6283764 w 8079933"/>
              <a:gd name="connsiteY46454" fmla="*/ 178322 h 4687251"/>
              <a:gd name="connsiteX46455" fmla="*/ 6288865 w 8079933"/>
              <a:gd name="connsiteY46455" fmla="*/ 178322 h 4687251"/>
              <a:gd name="connsiteX46456" fmla="*/ 6293205 w 8079933"/>
              <a:gd name="connsiteY46456" fmla="*/ 182330 h 4687251"/>
              <a:gd name="connsiteX46457" fmla="*/ 6298957 w 8079933"/>
              <a:gd name="connsiteY46457" fmla="*/ 183629 h 4687251"/>
              <a:gd name="connsiteX46458" fmla="*/ 6307638 w 8079933"/>
              <a:gd name="connsiteY46458" fmla="*/ 183521 h 4687251"/>
              <a:gd name="connsiteX46459" fmla="*/ 6311653 w 8079933"/>
              <a:gd name="connsiteY46459" fmla="*/ 186227 h 4687251"/>
              <a:gd name="connsiteX46460" fmla="*/ 6313932 w 8079933"/>
              <a:gd name="connsiteY46460" fmla="*/ 187743 h 4687251"/>
              <a:gd name="connsiteX46461" fmla="*/ 6314149 w 8079933"/>
              <a:gd name="connsiteY46461" fmla="*/ 191207 h 4687251"/>
              <a:gd name="connsiteX46462" fmla="*/ 6312629 w 8079933"/>
              <a:gd name="connsiteY46462" fmla="*/ 192291 h 4687251"/>
              <a:gd name="connsiteX46463" fmla="*/ 6310025 w 8079933"/>
              <a:gd name="connsiteY46463" fmla="*/ 194348 h 4687251"/>
              <a:gd name="connsiteX46464" fmla="*/ 6312413 w 8079933"/>
              <a:gd name="connsiteY46464" fmla="*/ 197595 h 4687251"/>
              <a:gd name="connsiteX46465" fmla="*/ 6309699 w 8079933"/>
              <a:gd name="connsiteY46465" fmla="*/ 198786 h 4687251"/>
              <a:gd name="connsiteX46466" fmla="*/ 6309699 w 8079933"/>
              <a:gd name="connsiteY46466" fmla="*/ 201059 h 4687251"/>
              <a:gd name="connsiteX46467" fmla="*/ 6314800 w 8079933"/>
              <a:gd name="connsiteY46467" fmla="*/ 203658 h 4687251"/>
              <a:gd name="connsiteX46468" fmla="*/ 6315885 w 8079933"/>
              <a:gd name="connsiteY46468" fmla="*/ 208640 h 4687251"/>
              <a:gd name="connsiteX46469" fmla="*/ 6319466 w 8079933"/>
              <a:gd name="connsiteY46469" fmla="*/ 212861 h 4687251"/>
              <a:gd name="connsiteX46470" fmla="*/ 6320334 w 8079933"/>
              <a:gd name="connsiteY46470" fmla="*/ 216542 h 4687251"/>
              <a:gd name="connsiteX46471" fmla="*/ 6322396 w 8079933"/>
              <a:gd name="connsiteY46471" fmla="*/ 224445 h 4687251"/>
              <a:gd name="connsiteX46472" fmla="*/ 6326086 w 8079933"/>
              <a:gd name="connsiteY46472" fmla="*/ 226612 h 4687251"/>
              <a:gd name="connsiteX46473" fmla="*/ 6333573 w 8079933"/>
              <a:gd name="connsiteY46473" fmla="*/ 233865 h 4687251"/>
              <a:gd name="connsiteX46474" fmla="*/ 6334441 w 8079933"/>
              <a:gd name="connsiteY46474" fmla="*/ 236247 h 4687251"/>
              <a:gd name="connsiteX46475" fmla="*/ 6340302 w 8079933"/>
              <a:gd name="connsiteY46475" fmla="*/ 236789 h 4687251"/>
              <a:gd name="connsiteX46476" fmla="*/ 6342797 w 8079933"/>
              <a:gd name="connsiteY46476" fmla="*/ 240037 h 4687251"/>
              <a:gd name="connsiteX46477" fmla="*/ 6350936 w 8079933"/>
              <a:gd name="connsiteY46477" fmla="*/ 242095 h 4687251"/>
              <a:gd name="connsiteX46478" fmla="*/ 6357339 w 8079933"/>
              <a:gd name="connsiteY46478" fmla="*/ 246208 h 4687251"/>
              <a:gd name="connsiteX46479" fmla="*/ 6364718 w 8079933"/>
              <a:gd name="connsiteY46479" fmla="*/ 242961 h 4687251"/>
              <a:gd name="connsiteX46480" fmla="*/ 6370903 w 8079933"/>
              <a:gd name="connsiteY46480" fmla="*/ 242419 h 4687251"/>
              <a:gd name="connsiteX46481" fmla="*/ 6373182 w 8079933"/>
              <a:gd name="connsiteY46481" fmla="*/ 244368 h 4687251"/>
              <a:gd name="connsiteX46482" fmla="*/ 6369384 w 8079933"/>
              <a:gd name="connsiteY46482" fmla="*/ 248481 h 4687251"/>
              <a:gd name="connsiteX46483" fmla="*/ 6362113 w 8079933"/>
              <a:gd name="connsiteY46483" fmla="*/ 252271 h 4687251"/>
              <a:gd name="connsiteX46484" fmla="*/ 6362005 w 8079933"/>
              <a:gd name="connsiteY46484" fmla="*/ 256385 h 4687251"/>
              <a:gd name="connsiteX46485" fmla="*/ 6358206 w 8079933"/>
              <a:gd name="connsiteY46485" fmla="*/ 258443 h 4687251"/>
              <a:gd name="connsiteX46486" fmla="*/ 6354517 w 8079933"/>
              <a:gd name="connsiteY46486" fmla="*/ 256385 h 4687251"/>
              <a:gd name="connsiteX46487" fmla="*/ 6349743 w 8079933"/>
              <a:gd name="connsiteY46487" fmla="*/ 255736 h 4687251"/>
              <a:gd name="connsiteX46488" fmla="*/ 6351696 w 8079933"/>
              <a:gd name="connsiteY46488" fmla="*/ 252271 h 4687251"/>
              <a:gd name="connsiteX46489" fmla="*/ 6349634 w 8079933"/>
              <a:gd name="connsiteY46489" fmla="*/ 251081 h 4687251"/>
              <a:gd name="connsiteX46490" fmla="*/ 6345293 w 8079933"/>
              <a:gd name="connsiteY46490" fmla="*/ 254330 h 4687251"/>
              <a:gd name="connsiteX46491" fmla="*/ 6339542 w 8079933"/>
              <a:gd name="connsiteY46491" fmla="*/ 255303 h 4687251"/>
              <a:gd name="connsiteX46492" fmla="*/ 6331620 w 8079933"/>
              <a:gd name="connsiteY46492" fmla="*/ 263424 h 4687251"/>
              <a:gd name="connsiteX46493" fmla="*/ 6327171 w 8079933"/>
              <a:gd name="connsiteY46493" fmla="*/ 272410 h 4687251"/>
              <a:gd name="connsiteX46494" fmla="*/ 6323047 w 8079933"/>
              <a:gd name="connsiteY46494" fmla="*/ 278797 h 4687251"/>
              <a:gd name="connsiteX46495" fmla="*/ 6319249 w 8079933"/>
              <a:gd name="connsiteY46495" fmla="*/ 279339 h 4687251"/>
              <a:gd name="connsiteX46496" fmla="*/ 6319466 w 8079933"/>
              <a:gd name="connsiteY46496" fmla="*/ 277174 h 4687251"/>
              <a:gd name="connsiteX46497" fmla="*/ 6317621 w 8079933"/>
              <a:gd name="connsiteY46497" fmla="*/ 273818 h 4687251"/>
              <a:gd name="connsiteX46498" fmla="*/ 6312955 w 8079933"/>
              <a:gd name="connsiteY46498" fmla="*/ 272193 h 4687251"/>
              <a:gd name="connsiteX46499" fmla="*/ 6311002 w 8079933"/>
              <a:gd name="connsiteY46499" fmla="*/ 269270 h 4687251"/>
              <a:gd name="connsiteX46500" fmla="*/ 6308398 w 8079933"/>
              <a:gd name="connsiteY46500" fmla="*/ 267538 h 4687251"/>
              <a:gd name="connsiteX46501" fmla="*/ 6307312 w 8079933"/>
              <a:gd name="connsiteY46501" fmla="*/ 270027 h 4687251"/>
              <a:gd name="connsiteX46502" fmla="*/ 6307746 w 8079933"/>
              <a:gd name="connsiteY46502" fmla="*/ 273493 h 4687251"/>
              <a:gd name="connsiteX46503" fmla="*/ 6310568 w 8079933"/>
              <a:gd name="connsiteY46503" fmla="*/ 275766 h 4687251"/>
              <a:gd name="connsiteX46504" fmla="*/ 6313715 w 8079933"/>
              <a:gd name="connsiteY46504" fmla="*/ 275334 h 4687251"/>
              <a:gd name="connsiteX46505" fmla="*/ 6313389 w 8079933"/>
              <a:gd name="connsiteY46505" fmla="*/ 279232 h 4687251"/>
              <a:gd name="connsiteX46506" fmla="*/ 6316102 w 8079933"/>
              <a:gd name="connsiteY46506" fmla="*/ 284753 h 4687251"/>
              <a:gd name="connsiteX46507" fmla="*/ 6316102 w 8079933"/>
              <a:gd name="connsiteY46507" fmla="*/ 289083 h 4687251"/>
              <a:gd name="connsiteX46508" fmla="*/ 6314040 w 8079933"/>
              <a:gd name="connsiteY46508" fmla="*/ 293305 h 4687251"/>
              <a:gd name="connsiteX46509" fmla="*/ 6309808 w 8079933"/>
              <a:gd name="connsiteY46509" fmla="*/ 294172 h 4687251"/>
              <a:gd name="connsiteX46510" fmla="*/ 6305142 w 8079933"/>
              <a:gd name="connsiteY46510" fmla="*/ 291249 h 4687251"/>
              <a:gd name="connsiteX46511" fmla="*/ 6298957 w 8079933"/>
              <a:gd name="connsiteY46511" fmla="*/ 290816 h 4687251"/>
              <a:gd name="connsiteX46512" fmla="*/ 6291685 w 8079933"/>
              <a:gd name="connsiteY46512" fmla="*/ 293305 h 4687251"/>
              <a:gd name="connsiteX46513" fmla="*/ 6285175 w 8079933"/>
              <a:gd name="connsiteY46513" fmla="*/ 293524 h 4687251"/>
              <a:gd name="connsiteX46514" fmla="*/ 6280617 w 8079933"/>
              <a:gd name="connsiteY46514" fmla="*/ 289409 h 4687251"/>
              <a:gd name="connsiteX46515" fmla="*/ 6279098 w 8079933"/>
              <a:gd name="connsiteY46515" fmla="*/ 284753 h 4687251"/>
              <a:gd name="connsiteX46516" fmla="*/ 6274757 w 8079933"/>
              <a:gd name="connsiteY46516" fmla="*/ 281829 h 4687251"/>
              <a:gd name="connsiteX46517" fmla="*/ 6270634 w 8079933"/>
              <a:gd name="connsiteY46517" fmla="*/ 278582 h 4687251"/>
              <a:gd name="connsiteX46518" fmla="*/ 6263797 w 8079933"/>
              <a:gd name="connsiteY46518" fmla="*/ 279232 h 4687251"/>
              <a:gd name="connsiteX46519" fmla="*/ 6255984 w 8079933"/>
              <a:gd name="connsiteY46519" fmla="*/ 276198 h 4687251"/>
              <a:gd name="connsiteX46520" fmla="*/ 6241660 w 8079933"/>
              <a:gd name="connsiteY46520" fmla="*/ 266563 h 4687251"/>
              <a:gd name="connsiteX46521" fmla="*/ 6239924 w 8079933"/>
              <a:gd name="connsiteY46521" fmla="*/ 262232 h 4687251"/>
              <a:gd name="connsiteX46522" fmla="*/ 6241334 w 8079933"/>
              <a:gd name="connsiteY46522" fmla="*/ 259633 h 4687251"/>
              <a:gd name="connsiteX46523" fmla="*/ 6244806 w 8079933"/>
              <a:gd name="connsiteY46523" fmla="*/ 259633 h 4687251"/>
              <a:gd name="connsiteX46524" fmla="*/ 6246326 w 8079933"/>
              <a:gd name="connsiteY46524" fmla="*/ 260717 h 4687251"/>
              <a:gd name="connsiteX46525" fmla="*/ 6249581 w 8079933"/>
              <a:gd name="connsiteY46525" fmla="*/ 258226 h 4687251"/>
              <a:gd name="connsiteX46526" fmla="*/ 6247736 w 8079933"/>
              <a:gd name="connsiteY46526" fmla="*/ 255736 h 4687251"/>
              <a:gd name="connsiteX46527" fmla="*/ 6244481 w 8079933"/>
              <a:gd name="connsiteY46527" fmla="*/ 255196 h 4687251"/>
              <a:gd name="connsiteX46528" fmla="*/ 6242202 w 8079933"/>
              <a:gd name="connsiteY46528" fmla="*/ 256385 h 4687251"/>
              <a:gd name="connsiteX46529" fmla="*/ 6239924 w 8079933"/>
              <a:gd name="connsiteY46529" fmla="*/ 254112 h 4687251"/>
              <a:gd name="connsiteX46530" fmla="*/ 6241008 w 8079933"/>
              <a:gd name="connsiteY46530" fmla="*/ 252271 h 4687251"/>
              <a:gd name="connsiteX46531" fmla="*/ 6239272 w 8079933"/>
              <a:gd name="connsiteY46531" fmla="*/ 249456 h 4687251"/>
              <a:gd name="connsiteX46532" fmla="*/ 6233847 w 8079933"/>
              <a:gd name="connsiteY46532" fmla="*/ 247832 h 4687251"/>
              <a:gd name="connsiteX46533" fmla="*/ 6231025 w 8079933"/>
              <a:gd name="connsiteY46533" fmla="*/ 245234 h 4687251"/>
              <a:gd name="connsiteX46534" fmla="*/ 6231242 w 8079933"/>
              <a:gd name="connsiteY46534" fmla="*/ 242095 h 4687251"/>
              <a:gd name="connsiteX46535" fmla="*/ 6229072 w 8079933"/>
              <a:gd name="connsiteY46535" fmla="*/ 237765 h 4687251"/>
              <a:gd name="connsiteX46536" fmla="*/ 6225491 w 8079933"/>
              <a:gd name="connsiteY46536" fmla="*/ 236789 h 4687251"/>
              <a:gd name="connsiteX46537" fmla="*/ 6224623 w 8079933"/>
              <a:gd name="connsiteY46537" fmla="*/ 232024 h 4687251"/>
              <a:gd name="connsiteX46538" fmla="*/ 6227770 w 8079933"/>
              <a:gd name="connsiteY46538" fmla="*/ 231483 h 4687251"/>
              <a:gd name="connsiteX46539" fmla="*/ 6229614 w 8079933"/>
              <a:gd name="connsiteY46539" fmla="*/ 229751 h 4687251"/>
              <a:gd name="connsiteX46540" fmla="*/ 6226359 w 8079933"/>
              <a:gd name="connsiteY46540" fmla="*/ 227152 h 4687251"/>
              <a:gd name="connsiteX46541" fmla="*/ 6223320 w 8079933"/>
              <a:gd name="connsiteY46541" fmla="*/ 226829 h 4687251"/>
              <a:gd name="connsiteX46542" fmla="*/ 6217352 w 8079933"/>
              <a:gd name="connsiteY46542" fmla="*/ 218600 h 4687251"/>
              <a:gd name="connsiteX46543" fmla="*/ 6217895 w 8079933"/>
              <a:gd name="connsiteY46543" fmla="*/ 215677 h 4687251"/>
              <a:gd name="connsiteX46544" fmla="*/ 6223320 w 8079933"/>
              <a:gd name="connsiteY46544" fmla="*/ 211345 h 4687251"/>
              <a:gd name="connsiteX46545" fmla="*/ 6224948 w 8079933"/>
              <a:gd name="connsiteY46545" fmla="*/ 205715 h 4687251"/>
              <a:gd name="connsiteX46546" fmla="*/ 6224514 w 8079933"/>
              <a:gd name="connsiteY46546" fmla="*/ 199111 h 4687251"/>
              <a:gd name="connsiteX46547" fmla="*/ 6226033 w 8079933"/>
              <a:gd name="connsiteY46547" fmla="*/ 197812 h 4687251"/>
              <a:gd name="connsiteX46548" fmla="*/ 6225708 w 8079933"/>
              <a:gd name="connsiteY46548" fmla="*/ 190666 h 4687251"/>
              <a:gd name="connsiteX46549" fmla="*/ 6229506 w 8079933"/>
              <a:gd name="connsiteY46549" fmla="*/ 187634 h 4687251"/>
              <a:gd name="connsiteX46550" fmla="*/ 6234823 w 8079933"/>
              <a:gd name="connsiteY46550" fmla="*/ 185578 h 4687251"/>
              <a:gd name="connsiteX46551" fmla="*/ 6236885 w 8079933"/>
              <a:gd name="connsiteY46551" fmla="*/ 189908 h 4687251"/>
              <a:gd name="connsiteX46552" fmla="*/ 6239598 w 8079933"/>
              <a:gd name="connsiteY46552" fmla="*/ 191531 h 4687251"/>
              <a:gd name="connsiteX46553" fmla="*/ 6246543 w 8079933"/>
              <a:gd name="connsiteY46553" fmla="*/ 192291 h 4687251"/>
              <a:gd name="connsiteX46554" fmla="*/ 6251535 w 8079933"/>
              <a:gd name="connsiteY46554" fmla="*/ 196729 h 4687251"/>
              <a:gd name="connsiteX46555" fmla="*/ 6256309 w 8079933"/>
              <a:gd name="connsiteY46555" fmla="*/ 197380 h 4687251"/>
              <a:gd name="connsiteX46556" fmla="*/ 6257937 w 8079933"/>
              <a:gd name="connsiteY46556" fmla="*/ 201168 h 4687251"/>
              <a:gd name="connsiteX46557" fmla="*/ 6258263 w 8079933"/>
              <a:gd name="connsiteY46557" fmla="*/ 206149 h 4687251"/>
              <a:gd name="connsiteX46558" fmla="*/ 6262712 w 8079933"/>
              <a:gd name="connsiteY46558" fmla="*/ 207232 h 4687251"/>
              <a:gd name="connsiteX46559" fmla="*/ 6264556 w 8079933"/>
              <a:gd name="connsiteY46559" fmla="*/ 208747 h 4687251"/>
              <a:gd name="connsiteX46560" fmla="*/ 6267053 w 8079933"/>
              <a:gd name="connsiteY46560" fmla="*/ 207232 h 4687251"/>
              <a:gd name="connsiteX46561" fmla="*/ 6271828 w 8079933"/>
              <a:gd name="connsiteY46561" fmla="*/ 206040 h 4687251"/>
              <a:gd name="connsiteX46562" fmla="*/ 6275517 w 8079933"/>
              <a:gd name="connsiteY46562" fmla="*/ 208098 h 4687251"/>
              <a:gd name="connsiteX46563" fmla="*/ 6277904 w 8079933"/>
              <a:gd name="connsiteY46563" fmla="*/ 214918 h 4687251"/>
              <a:gd name="connsiteX46564" fmla="*/ 6283222 w 8079933"/>
              <a:gd name="connsiteY46564" fmla="*/ 220657 h 4687251"/>
              <a:gd name="connsiteX46565" fmla="*/ 6288756 w 8079933"/>
              <a:gd name="connsiteY46565" fmla="*/ 219791 h 4687251"/>
              <a:gd name="connsiteX46566" fmla="*/ 6290926 w 8079933"/>
              <a:gd name="connsiteY46566" fmla="*/ 218058 h 4687251"/>
              <a:gd name="connsiteX46567" fmla="*/ 6289407 w 8079933"/>
              <a:gd name="connsiteY46567" fmla="*/ 214918 h 4687251"/>
              <a:gd name="connsiteX46568" fmla="*/ 6281811 w 8079933"/>
              <a:gd name="connsiteY46568" fmla="*/ 207339 h 4687251"/>
              <a:gd name="connsiteX46569" fmla="*/ 6280291 w 8079933"/>
              <a:gd name="connsiteY46569" fmla="*/ 200735 h 4687251"/>
              <a:gd name="connsiteX46570" fmla="*/ 6277578 w 8079933"/>
              <a:gd name="connsiteY46570" fmla="*/ 195647 h 4687251"/>
              <a:gd name="connsiteX46571" fmla="*/ 6276385 w 8079933"/>
              <a:gd name="connsiteY46571" fmla="*/ 190341 h 4687251"/>
              <a:gd name="connsiteX46572" fmla="*/ 6278989 w 8079933"/>
              <a:gd name="connsiteY46572" fmla="*/ 186769 h 4687251"/>
              <a:gd name="connsiteX46573" fmla="*/ 6282896 w 8079933"/>
              <a:gd name="connsiteY46573" fmla="*/ 186769 h 4687251"/>
              <a:gd name="connsiteX46574" fmla="*/ 6284415 w 8079933"/>
              <a:gd name="connsiteY46574" fmla="*/ 187743 h 4687251"/>
              <a:gd name="connsiteX46575" fmla="*/ 6290275 w 8079933"/>
              <a:gd name="connsiteY46575" fmla="*/ 187743 h 4687251"/>
              <a:gd name="connsiteX46576" fmla="*/ 6288213 w 8079933"/>
              <a:gd name="connsiteY46576" fmla="*/ 185252 h 4687251"/>
              <a:gd name="connsiteX46577" fmla="*/ 6284415 w 8079933"/>
              <a:gd name="connsiteY46577" fmla="*/ 184170 h 4687251"/>
              <a:gd name="connsiteX46578" fmla="*/ 6277254 w 8079933"/>
              <a:gd name="connsiteY46578" fmla="*/ 177783 h 4687251"/>
              <a:gd name="connsiteX46579" fmla="*/ 4822698 w 8079933"/>
              <a:gd name="connsiteY46579" fmla="*/ 174534 h 4687251"/>
              <a:gd name="connsiteX46580" fmla="*/ 4826061 w 8079933"/>
              <a:gd name="connsiteY46580" fmla="*/ 174750 h 4687251"/>
              <a:gd name="connsiteX46581" fmla="*/ 4827689 w 8079933"/>
              <a:gd name="connsiteY46581" fmla="*/ 176483 h 4687251"/>
              <a:gd name="connsiteX46582" fmla="*/ 4831595 w 8079933"/>
              <a:gd name="connsiteY46582" fmla="*/ 176807 h 4687251"/>
              <a:gd name="connsiteX46583" fmla="*/ 4832030 w 8079933"/>
              <a:gd name="connsiteY46583" fmla="*/ 179948 h 4687251"/>
              <a:gd name="connsiteX46584" fmla="*/ 4827906 w 8079933"/>
              <a:gd name="connsiteY46584" fmla="*/ 183845 h 4687251"/>
              <a:gd name="connsiteX46585" fmla="*/ 4824867 w 8079933"/>
              <a:gd name="connsiteY46585" fmla="*/ 184170 h 4687251"/>
              <a:gd name="connsiteX46586" fmla="*/ 4821721 w 8079933"/>
              <a:gd name="connsiteY46586" fmla="*/ 182329 h 4687251"/>
              <a:gd name="connsiteX46587" fmla="*/ 4814775 w 8079933"/>
              <a:gd name="connsiteY46587" fmla="*/ 181789 h 4687251"/>
              <a:gd name="connsiteX46588" fmla="*/ 4813365 w 8079933"/>
              <a:gd name="connsiteY46588" fmla="*/ 179839 h 4687251"/>
              <a:gd name="connsiteX46589" fmla="*/ 4815752 w 8079933"/>
              <a:gd name="connsiteY46589" fmla="*/ 178322 h 4687251"/>
              <a:gd name="connsiteX46590" fmla="*/ 4818900 w 8079933"/>
              <a:gd name="connsiteY46590" fmla="*/ 178214 h 4687251"/>
              <a:gd name="connsiteX46591" fmla="*/ 4757586 w 8079933"/>
              <a:gd name="connsiteY46591" fmla="*/ 170852 h 4687251"/>
              <a:gd name="connsiteX46592" fmla="*/ 4760624 w 8079933"/>
              <a:gd name="connsiteY46592" fmla="*/ 172693 h 4687251"/>
              <a:gd name="connsiteX46593" fmla="*/ 4761709 w 8079933"/>
              <a:gd name="connsiteY46593" fmla="*/ 177997 h 4687251"/>
              <a:gd name="connsiteX46594" fmla="*/ 4763120 w 8079933"/>
              <a:gd name="connsiteY46594" fmla="*/ 180488 h 4687251"/>
              <a:gd name="connsiteX46595" fmla="*/ 4760949 w 8079933"/>
              <a:gd name="connsiteY46595" fmla="*/ 182003 h 4687251"/>
              <a:gd name="connsiteX46596" fmla="*/ 4759540 w 8079933"/>
              <a:gd name="connsiteY46596" fmla="*/ 183952 h 4687251"/>
              <a:gd name="connsiteX46597" fmla="*/ 4755198 w 8079933"/>
              <a:gd name="connsiteY46597" fmla="*/ 183952 h 4687251"/>
              <a:gd name="connsiteX46598" fmla="*/ 4750641 w 8079933"/>
              <a:gd name="connsiteY46598" fmla="*/ 187633 h 4687251"/>
              <a:gd name="connsiteX46599" fmla="*/ 4747929 w 8079933"/>
              <a:gd name="connsiteY46599" fmla="*/ 184494 h 4687251"/>
              <a:gd name="connsiteX46600" fmla="*/ 4746734 w 8079933"/>
              <a:gd name="connsiteY46600" fmla="*/ 180704 h 4687251"/>
              <a:gd name="connsiteX46601" fmla="*/ 4744239 w 8079933"/>
              <a:gd name="connsiteY46601" fmla="*/ 178646 h 4687251"/>
              <a:gd name="connsiteX46602" fmla="*/ 4744239 w 8079933"/>
              <a:gd name="connsiteY46602" fmla="*/ 176914 h 4687251"/>
              <a:gd name="connsiteX46603" fmla="*/ 4748362 w 8079933"/>
              <a:gd name="connsiteY46603" fmla="*/ 174533 h 4687251"/>
              <a:gd name="connsiteX46604" fmla="*/ 4754439 w 8079933"/>
              <a:gd name="connsiteY46604" fmla="*/ 173016 h 4687251"/>
              <a:gd name="connsiteX46605" fmla="*/ 2316830 w 8079933"/>
              <a:gd name="connsiteY46605" fmla="*/ 164897 h 4687251"/>
              <a:gd name="connsiteX46606" fmla="*/ 2317915 w 8079933"/>
              <a:gd name="connsiteY46606" fmla="*/ 166846 h 4687251"/>
              <a:gd name="connsiteX46607" fmla="*/ 2318567 w 8079933"/>
              <a:gd name="connsiteY46607" fmla="*/ 173884 h 4687251"/>
              <a:gd name="connsiteX46608" fmla="*/ 2321822 w 8079933"/>
              <a:gd name="connsiteY46608" fmla="*/ 174967 h 4687251"/>
              <a:gd name="connsiteX46609" fmla="*/ 2327899 w 8079933"/>
              <a:gd name="connsiteY46609" fmla="*/ 169769 h 4687251"/>
              <a:gd name="connsiteX46610" fmla="*/ 2333542 w 8079933"/>
              <a:gd name="connsiteY46610" fmla="*/ 171501 h 4687251"/>
              <a:gd name="connsiteX46611" fmla="*/ 2337665 w 8079933"/>
              <a:gd name="connsiteY46611" fmla="*/ 169769 h 4687251"/>
              <a:gd name="connsiteX46612" fmla="*/ 2343742 w 8079933"/>
              <a:gd name="connsiteY46612" fmla="*/ 173234 h 4687251"/>
              <a:gd name="connsiteX46613" fmla="*/ 2345153 w 8079933"/>
              <a:gd name="connsiteY46613" fmla="*/ 177132 h 4687251"/>
              <a:gd name="connsiteX46614" fmla="*/ 2348083 w 8079933"/>
              <a:gd name="connsiteY46614" fmla="*/ 180055 h 4687251"/>
              <a:gd name="connsiteX46615" fmla="*/ 2349603 w 8079933"/>
              <a:gd name="connsiteY46615" fmla="*/ 184927 h 4687251"/>
              <a:gd name="connsiteX46616" fmla="*/ 2347649 w 8079933"/>
              <a:gd name="connsiteY46616" fmla="*/ 193156 h 4687251"/>
              <a:gd name="connsiteX46617" fmla="*/ 2347649 w 8079933"/>
              <a:gd name="connsiteY46617" fmla="*/ 199544 h 4687251"/>
              <a:gd name="connsiteX46618" fmla="*/ 2344936 w 8079933"/>
              <a:gd name="connsiteY46618" fmla="*/ 202901 h 4687251"/>
              <a:gd name="connsiteX46619" fmla="*/ 2340161 w 8079933"/>
              <a:gd name="connsiteY46619" fmla="*/ 205715 h 4687251"/>
              <a:gd name="connsiteX46620" fmla="*/ 2341030 w 8079933"/>
              <a:gd name="connsiteY46620" fmla="*/ 210046 h 4687251"/>
              <a:gd name="connsiteX46621" fmla="*/ 2344393 w 8079933"/>
              <a:gd name="connsiteY46621" fmla="*/ 210370 h 4687251"/>
              <a:gd name="connsiteX46622" fmla="*/ 2348083 w 8079933"/>
              <a:gd name="connsiteY46622" fmla="*/ 206581 h 4687251"/>
              <a:gd name="connsiteX46623" fmla="*/ 2348951 w 8079933"/>
              <a:gd name="connsiteY46623" fmla="*/ 202792 h 4687251"/>
              <a:gd name="connsiteX46624" fmla="*/ 2355787 w 8079933"/>
              <a:gd name="connsiteY46624" fmla="*/ 201601 h 4687251"/>
              <a:gd name="connsiteX46625" fmla="*/ 2361539 w 8079933"/>
              <a:gd name="connsiteY46625" fmla="*/ 197811 h 4687251"/>
              <a:gd name="connsiteX46626" fmla="*/ 2364795 w 8079933"/>
              <a:gd name="connsiteY46626" fmla="*/ 197595 h 4687251"/>
              <a:gd name="connsiteX46627" fmla="*/ 2369026 w 8079933"/>
              <a:gd name="connsiteY46627" fmla="*/ 202251 h 4687251"/>
              <a:gd name="connsiteX46628" fmla="*/ 2367833 w 8079933"/>
              <a:gd name="connsiteY46628" fmla="*/ 206256 h 4687251"/>
              <a:gd name="connsiteX46629" fmla="*/ 2367833 w 8079933"/>
              <a:gd name="connsiteY46629" fmla="*/ 212103 h 4687251"/>
              <a:gd name="connsiteX46630" fmla="*/ 2370438 w 8079933"/>
              <a:gd name="connsiteY46630" fmla="*/ 215351 h 4687251"/>
              <a:gd name="connsiteX46631" fmla="*/ 2370221 w 8079933"/>
              <a:gd name="connsiteY46631" fmla="*/ 217950 h 4687251"/>
              <a:gd name="connsiteX46632" fmla="*/ 2363384 w 8079933"/>
              <a:gd name="connsiteY46632" fmla="*/ 221847 h 4687251"/>
              <a:gd name="connsiteX46633" fmla="*/ 2361322 w 8079933"/>
              <a:gd name="connsiteY46633" fmla="*/ 225421 h 4687251"/>
              <a:gd name="connsiteX46634" fmla="*/ 2362841 w 8079933"/>
              <a:gd name="connsiteY46634" fmla="*/ 228019 h 4687251"/>
              <a:gd name="connsiteX46635" fmla="*/ 2367833 w 8079933"/>
              <a:gd name="connsiteY46635" fmla="*/ 228019 h 4687251"/>
              <a:gd name="connsiteX46636" fmla="*/ 2372174 w 8079933"/>
              <a:gd name="connsiteY46636" fmla="*/ 229968 h 4687251"/>
              <a:gd name="connsiteX46637" fmla="*/ 2374887 w 8079933"/>
              <a:gd name="connsiteY46637" fmla="*/ 229751 h 4687251"/>
              <a:gd name="connsiteX46638" fmla="*/ 2376080 w 8079933"/>
              <a:gd name="connsiteY46638" fmla="*/ 235490 h 4687251"/>
              <a:gd name="connsiteX46639" fmla="*/ 2377708 w 8079933"/>
              <a:gd name="connsiteY46639" fmla="*/ 239604 h 4687251"/>
              <a:gd name="connsiteX46640" fmla="*/ 2377491 w 8079933"/>
              <a:gd name="connsiteY46640" fmla="*/ 242635 h 4687251"/>
              <a:gd name="connsiteX46641" fmla="*/ 2373367 w 8079933"/>
              <a:gd name="connsiteY46641" fmla="*/ 245884 h 4687251"/>
              <a:gd name="connsiteX46642" fmla="*/ 2373693 w 8079933"/>
              <a:gd name="connsiteY46642" fmla="*/ 249565 h 4687251"/>
              <a:gd name="connsiteX46643" fmla="*/ 2372716 w 8079933"/>
              <a:gd name="connsiteY46643" fmla="*/ 256061 h 4687251"/>
              <a:gd name="connsiteX46644" fmla="*/ 2367182 w 8079933"/>
              <a:gd name="connsiteY46644" fmla="*/ 259851 h 4687251"/>
              <a:gd name="connsiteX46645" fmla="*/ 2363601 w 8079933"/>
              <a:gd name="connsiteY46645" fmla="*/ 263640 h 4687251"/>
              <a:gd name="connsiteX46646" fmla="*/ 2360237 w 8079933"/>
              <a:gd name="connsiteY46646" fmla="*/ 264181 h 4687251"/>
              <a:gd name="connsiteX46647" fmla="*/ 2357199 w 8079933"/>
              <a:gd name="connsiteY46647" fmla="*/ 270352 h 4687251"/>
              <a:gd name="connsiteX46648" fmla="*/ 2354377 w 8079933"/>
              <a:gd name="connsiteY46648" fmla="*/ 272951 h 4687251"/>
              <a:gd name="connsiteX46649" fmla="*/ 2354377 w 8079933"/>
              <a:gd name="connsiteY46649" fmla="*/ 275549 h 4687251"/>
              <a:gd name="connsiteX46650" fmla="*/ 2356873 w 8079933"/>
              <a:gd name="connsiteY46650" fmla="*/ 277390 h 4687251"/>
              <a:gd name="connsiteX46651" fmla="*/ 2353400 w 8079933"/>
              <a:gd name="connsiteY46651" fmla="*/ 283453 h 4687251"/>
              <a:gd name="connsiteX46652" fmla="*/ 2351447 w 8079933"/>
              <a:gd name="connsiteY46652" fmla="*/ 290816 h 4687251"/>
              <a:gd name="connsiteX46653" fmla="*/ 2351121 w 8079933"/>
              <a:gd name="connsiteY46653" fmla="*/ 296662 h 4687251"/>
              <a:gd name="connsiteX46654" fmla="*/ 2347215 w 8079933"/>
              <a:gd name="connsiteY46654" fmla="*/ 301751 h 4687251"/>
              <a:gd name="connsiteX46655" fmla="*/ 2343525 w 8079933"/>
              <a:gd name="connsiteY46655" fmla="*/ 304241 h 4687251"/>
              <a:gd name="connsiteX46656" fmla="*/ 2343525 w 8079933"/>
              <a:gd name="connsiteY46656" fmla="*/ 306732 h 4687251"/>
              <a:gd name="connsiteX46657" fmla="*/ 2336364 w 8079933"/>
              <a:gd name="connsiteY46657" fmla="*/ 311604 h 4687251"/>
              <a:gd name="connsiteX46658" fmla="*/ 2333216 w 8079933"/>
              <a:gd name="connsiteY46658" fmla="*/ 311604 h 4687251"/>
              <a:gd name="connsiteX46659" fmla="*/ 2330829 w 8079933"/>
              <a:gd name="connsiteY46659" fmla="*/ 309546 h 4687251"/>
              <a:gd name="connsiteX46660" fmla="*/ 2326488 w 8079933"/>
              <a:gd name="connsiteY46660" fmla="*/ 310087 h 4687251"/>
              <a:gd name="connsiteX46661" fmla="*/ 2323883 w 8079933"/>
              <a:gd name="connsiteY46661" fmla="*/ 310196 h 4687251"/>
              <a:gd name="connsiteX46662" fmla="*/ 2321388 w 8079933"/>
              <a:gd name="connsiteY46662" fmla="*/ 305865 h 4687251"/>
              <a:gd name="connsiteX46663" fmla="*/ 2318892 w 8079933"/>
              <a:gd name="connsiteY46663" fmla="*/ 298828 h 4687251"/>
              <a:gd name="connsiteX46664" fmla="*/ 2327031 w 8079933"/>
              <a:gd name="connsiteY46664" fmla="*/ 284103 h 4687251"/>
              <a:gd name="connsiteX46665" fmla="*/ 2327031 w 8079933"/>
              <a:gd name="connsiteY46665" fmla="*/ 278797 h 4687251"/>
              <a:gd name="connsiteX46666" fmla="*/ 2328767 w 8079933"/>
              <a:gd name="connsiteY46666" fmla="*/ 275657 h 4687251"/>
              <a:gd name="connsiteX46667" fmla="*/ 2326705 w 8079933"/>
              <a:gd name="connsiteY46667" fmla="*/ 273601 h 4687251"/>
              <a:gd name="connsiteX46668" fmla="*/ 2323558 w 8079933"/>
              <a:gd name="connsiteY46668" fmla="*/ 273601 h 4687251"/>
              <a:gd name="connsiteX46669" fmla="*/ 2320520 w 8079933"/>
              <a:gd name="connsiteY46669" fmla="*/ 266022 h 4687251"/>
              <a:gd name="connsiteX46670" fmla="*/ 2315528 w 8079933"/>
              <a:gd name="connsiteY46670" fmla="*/ 261908 h 4687251"/>
              <a:gd name="connsiteX46671" fmla="*/ 2308583 w 8079933"/>
              <a:gd name="connsiteY46671" fmla="*/ 262773 h 4687251"/>
              <a:gd name="connsiteX46672" fmla="*/ 2307932 w 8079933"/>
              <a:gd name="connsiteY46672" fmla="*/ 257902 h 4687251"/>
              <a:gd name="connsiteX46673" fmla="*/ 2309451 w 8079933"/>
              <a:gd name="connsiteY46673" fmla="*/ 255412 h 4687251"/>
              <a:gd name="connsiteX46674" fmla="*/ 2313574 w 8079933"/>
              <a:gd name="connsiteY46674" fmla="*/ 254329 h 4687251"/>
              <a:gd name="connsiteX46675" fmla="*/ 2313900 w 8079933"/>
              <a:gd name="connsiteY46675" fmla="*/ 250756 h 4687251"/>
              <a:gd name="connsiteX46676" fmla="*/ 2306521 w 8079933"/>
              <a:gd name="connsiteY46676" fmla="*/ 252596 h 4687251"/>
              <a:gd name="connsiteX46677" fmla="*/ 2305110 w 8079933"/>
              <a:gd name="connsiteY46677" fmla="*/ 250864 h 4687251"/>
              <a:gd name="connsiteX46678" fmla="*/ 2297731 w 8079933"/>
              <a:gd name="connsiteY46678" fmla="*/ 251080 h 4687251"/>
              <a:gd name="connsiteX46679" fmla="*/ 2290352 w 8079933"/>
              <a:gd name="connsiteY46679" fmla="*/ 248481 h 4687251"/>
              <a:gd name="connsiteX46680" fmla="*/ 2286337 w 8079933"/>
              <a:gd name="connsiteY46680" fmla="*/ 248698 h 4687251"/>
              <a:gd name="connsiteX46681" fmla="*/ 2282865 w 8079933"/>
              <a:gd name="connsiteY46681" fmla="*/ 252163 h 4687251"/>
              <a:gd name="connsiteX46682" fmla="*/ 2279283 w 8079933"/>
              <a:gd name="connsiteY46682" fmla="*/ 250431 h 4687251"/>
              <a:gd name="connsiteX46683" fmla="*/ 2279283 w 8079933"/>
              <a:gd name="connsiteY46683" fmla="*/ 245884 h 4687251"/>
              <a:gd name="connsiteX46684" fmla="*/ 2275377 w 8079933"/>
              <a:gd name="connsiteY46684" fmla="*/ 239928 h 4687251"/>
              <a:gd name="connsiteX46685" fmla="*/ 2280152 w 8079933"/>
              <a:gd name="connsiteY46685" fmla="*/ 231809 h 4687251"/>
              <a:gd name="connsiteX46686" fmla="*/ 2280152 w 8079933"/>
              <a:gd name="connsiteY46686" fmla="*/ 229102 h 4687251"/>
              <a:gd name="connsiteX46687" fmla="*/ 2289484 w 8079933"/>
              <a:gd name="connsiteY46687" fmla="*/ 224662 h 4687251"/>
              <a:gd name="connsiteX46688" fmla="*/ 2293282 w 8079933"/>
              <a:gd name="connsiteY46688" fmla="*/ 230076 h 4687251"/>
              <a:gd name="connsiteX46689" fmla="*/ 2297406 w 8079933"/>
              <a:gd name="connsiteY46689" fmla="*/ 232134 h 4687251"/>
              <a:gd name="connsiteX46690" fmla="*/ 2299793 w 8079933"/>
              <a:gd name="connsiteY46690" fmla="*/ 238521 h 4687251"/>
              <a:gd name="connsiteX46691" fmla="*/ 2301855 w 8079933"/>
              <a:gd name="connsiteY46691" fmla="*/ 238521 h 4687251"/>
              <a:gd name="connsiteX46692" fmla="*/ 2309126 w 8079933"/>
              <a:gd name="connsiteY46692" fmla="*/ 231809 h 4687251"/>
              <a:gd name="connsiteX46693" fmla="*/ 2309126 w 8079933"/>
              <a:gd name="connsiteY46693" fmla="*/ 228776 h 4687251"/>
              <a:gd name="connsiteX46694" fmla="*/ 2304133 w 8079933"/>
              <a:gd name="connsiteY46694" fmla="*/ 227153 h 4687251"/>
              <a:gd name="connsiteX46695" fmla="*/ 2304460 w 8079933"/>
              <a:gd name="connsiteY46695" fmla="*/ 224230 h 4687251"/>
              <a:gd name="connsiteX46696" fmla="*/ 2308258 w 8079933"/>
              <a:gd name="connsiteY46696" fmla="*/ 225421 h 4687251"/>
              <a:gd name="connsiteX46697" fmla="*/ 2314986 w 8079933"/>
              <a:gd name="connsiteY46697" fmla="*/ 223039 h 4687251"/>
              <a:gd name="connsiteX46698" fmla="*/ 2319977 w 8079933"/>
              <a:gd name="connsiteY46698" fmla="*/ 219466 h 4687251"/>
              <a:gd name="connsiteX46699" fmla="*/ 2316179 w 8079933"/>
              <a:gd name="connsiteY46699" fmla="*/ 217192 h 4687251"/>
              <a:gd name="connsiteX46700" fmla="*/ 2309776 w 8079933"/>
              <a:gd name="connsiteY46700" fmla="*/ 218599 h 4687251"/>
              <a:gd name="connsiteX46701" fmla="*/ 2307932 w 8079933"/>
              <a:gd name="connsiteY46701" fmla="*/ 215677 h 4687251"/>
              <a:gd name="connsiteX46702" fmla="*/ 2309451 w 8079933"/>
              <a:gd name="connsiteY46702" fmla="*/ 211562 h 4687251"/>
              <a:gd name="connsiteX46703" fmla="*/ 2315094 w 8079933"/>
              <a:gd name="connsiteY46703" fmla="*/ 206907 h 4687251"/>
              <a:gd name="connsiteX46704" fmla="*/ 2317915 w 8079933"/>
              <a:gd name="connsiteY46704" fmla="*/ 206690 h 4687251"/>
              <a:gd name="connsiteX46705" fmla="*/ 2319652 w 8079933"/>
              <a:gd name="connsiteY46705" fmla="*/ 201601 h 4687251"/>
              <a:gd name="connsiteX46706" fmla="*/ 2316830 w 8079933"/>
              <a:gd name="connsiteY46706" fmla="*/ 197811 h 4687251"/>
              <a:gd name="connsiteX46707" fmla="*/ 2313466 w 8079933"/>
              <a:gd name="connsiteY46707" fmla="*/ 199652 h 4687251"/>
              <a:gd name="connsiteX46708" fmla="*/ 2311187 w 8079933"/>
              <a:gd name="connsiteY46708" fmla="*/ 199652 h 4687251"/>
              <a:gd name="connsiteX46709" fmla="*/ 2304676 w 8079933"/>
              <a:gd name="connsiteY46709" fmla="*/ 205391 h 4687251"/>
              <a:gd name="connsiteX46710" fmla="*/ 2298057 w 8079933"/>
              <a:gd name="connsiteY46710" fmla="*/ 208422 h 4687251"/>
              <a:gd name="connsiteX46711" fmla="*/ 2297189 w 8079933"/>
              <a:gd name="connsiteY46711" fmla="*/ 206581 h 4687251"/>
              <a:gd name="connsiteX46712" fmla="*/ 2301529 w 8079933"/>
              <a:gd name="connsiteY46712" fmla="*/ 199544 h 4687251"/>
              <a:gd name="connsiteX46713" fmla="*/ 2307932 w 8079933"/>
              <a:gd name="connsiteY46713" fmla="*/ 196729 h 4687251"/>
              <a:gd name="connsiteX46714" fmla="*/ 2313249 w 8079933"/>
              <a:gd name="connsiteY46714" fmla="*/ 191640 h 4687251"/>
              <a:gd name="connsiteX46715" fmla="*/ 2311838 w 8079933"/>
              <a:gd name="connsiteY46715" fmla="*/ 189583 h 4687251"/>
              <a:gd name="connsiteX46716" fmla="*/ 2306304 w 8079933"/>
              <a:gd name="connsiteY46716" fmla="*/ 190774 h 4687251"/>
              <a:gd name="connsiteX46717" fmla="*/ 2304133 w 8079933"/>
              <a:gd name="connsiteY46717" fmla="*/ 192615 h 4687251"/>
              <a:gd name="connsiteX46718" fmla="*/ 2300335 w 8079933"/>
              <a:gd name="connsiteY46718" fmla="*/ 190016 h 4687251"/>
              <a:gd name="connsiteX46719" fmla="*/ 2300119 w 8079933"/>
              <a:gd name="connsiteY46719" fmla="*/ 186118 h 4687251"/>
              <a:gd name="connsiteX46720" fmla="*/ 2305002 w 8079933"/>
              <a:gd name="connsiteY46720" fmla="*/ 179947 h 4687251"/>
              <a:gd name="connsiteX46721" fmla="*/ 2306630 w 8079933"/>
              <a:gd name="connsiteY46721" fmla="*/ 174967 h 4687251"/>
              <a:gd name="connsiteX46722" fmla="*/ 2311730 w 8079933"/>
              <a:gd name="connsiteY46722" fmla="*/ 172151 h 4687251"/>
              <a:gd name="connsiteX46723" fmla="*/ 2312924 w 8079933"/>
              <a:gd name="connsiteY46723" fmla="*/ 168362 h 4687251"/>
              <a:gd name="connsiteX46724" fmla="*/ 3203953 w 8079933"/>
              <a:gd name="connsiteY46724" fmla="*/ 161108 h 4687251"/>
              <a:gd name="connsiteX46725" fmla="*/ 3204930 w 8079933"/>
              <a:gd name="connsiteY46725" fmla="*/ 163381 h 4687251"/>
              <a:gd name="connsiteX46726" fmla="*/ 3204930 w 8079933"/>
              <a:gd name="connsiteY46726" fmla="*/ 166846 h 4687251"/>
              <a:gd name="connsiteX46727" fmla="*/ 3206232 w 8079933"/>
              <a:gd name="connsiteY46727" fmla="*/ 168253 h 4687251"/>
              <a:gd name="connsiteX46728" fmla="*/ 3205038 w 8079933"/>
              <a:gd name="connsiteY46728" fmla="*/ 170311 h 4687251"/>
              <a:gd name="connsiteX46729" fmla="*/ 3201675 w 8079933"/>
              <a:gd name="connsiteY46729" fmla="*/ 166087 h 4687251"/>
              <a:gd name="connsiteX46730" fmla="*/ 3201892 w 8079933"/>
              <a:gd name="connsiteY46730" fmla="*/ 162516 h 4687251"/>
              <a:gd name="connsiteX46731" fmla="*/ 5383076 w 8079933"/>
              <a:gd name="connsiteY46731" fmla="*/ 155693 h 4687251"/>
              <a:gd name="connsiteX46732" fmla="*/ 5392300 w 8079933"/>
              <a:gd name="connsiteY46732" fmla="*/ 156559 h 4687251"/>
              <a:gd name="connsiteX46733" fmla="*/ 5398594 w 8079933"/>
              <a:gd name="connsiteY46733" fmla="*/ 161108 h 4687251"/>
              <a:gd name="connsiteX46734" fmla="*/ 5406732 w 8079933"/>
              <a:gd name="connsiteY46734" fmla="*/ 171934 h 4687251"/>
              <a:gd name="connsiteX46735" fmla="*/ 5408795 w 8079933"/>
              <a:gd name="connsiteY46735" fmla="*/ 176590 h 4687251"/>
              <a:gd name="connsiteX46736" fmla="*/ 5406191 w 8079933"/>
              <a:gd name="connsiteY46736" fmla="*/ 184168 h 4687251"/>
              <a:gd name="connsiteX46737" fmla="*/ 5408686 w 8079933"/>
              <a:gd name="connsiteY46737" fmla="*/ 186227 h 4687251"/>
              <a:gd name="connsiteX46738" fmla="*/ 5407276 w 8079933"/>
              <a:gd name="connsiteY46738" fmla="*/ 190558 h 4687251"/>
              <a:gd name="connsiteX46739" fmla="*/ 5404779 w 8079933"/>
              <a:gd name="connsiteY46739" fmla="*/ 194455 h 4687251"/>
              <a:gd name="connsiteX46740" fmla="*/ 5405539 w 8079933"/>
              <a:gd name="connsiteY46740" fmla="*/ 198136 h 4687251"/>
              <a:gd name="connsiteX46741" fmla="*/ 5407927 w 8079933"/>
              <a:gd name="connsiteY46741" fmla="*/ 196187 h 4687251"/>
              <a:gd name="connsiteX46742" fmla="*/ 5410857 w 8079933"/>
              <a:gd name="connsiteY46742" fmla="*/ 189907 h 4687251"/>
              <a:gd name="connsiteX46743" fmla="*/ 5411833 w 8079933"/>
              <a:gd name="connsiteY46743" fmla="*/ 184060 h 4687251"/>
              <a:gd name="connsiteX46744" fmla="*/ 5412050 w 8079933"/>
              <a:gd name="connsiteY46744" fmla="*/ 179838 h 4687251"/>
              <a:gd name="connsiteX46745" fmla="*/ 5414004 w 8079933"/>
              <a:gd name="connsiteY46745" fmla="*/ 176049 h 4687251"/>
              <a:gd name="connsiteX46746" fmla="*/ 5413461 w 8079933"/>
              <a:gd name="connsiteY46746" fmla="*/ 173018 h 4687251"/>
              <a:gd name="connsiteX46747" fmla="*/ 5407276 w 8079933"/>
              <a:gd name="connsiteY46747" fmla="*/ 165764 h 4687251"/>
              <a:gd name="connsiteX46748" fmla="*/ 5406407 w 8079933"/>
              <a:gd name="connsiteY46748" fmla="*/ 162515 h 4687251"/>
              <a:gd name="connsiteX46749" fmla="*/ 5407276 w 8079933"/>
              <a:gd name="connsiteY46749" fmla="*/ 159375 h 4687251"/>
              <a:gd name="connsiteX46750" fmla="*/ 5415305 w 8079933"/>
              <a:gd name="connsiteY46750" fmla="*/ 158184 h 4687251"/>
              <a:gd name="connsiteX46751" fmla="*/ 5424529 w 8079933"/>
              <a:gd name="connsiteY46751" fmla="*/ 159267 h 4687251"/>
              <a:gd name="connsiteX46752" fmla="*/ 5439180 w 8079933"/>
              <a:gd name="connsiteY46752" fmla="*/ 171609 h 4687251"/>
              <a:gd name="connsiteX46753" fmla="*/ 5441567 w 8079933"/>
              <a:gd name="connsiteY46753" fmla="*/ 172151 h 4687251"/>
              <a:gd name="connsiteX46754" fmla="*/ 5444171 w 8079933"/>
              <a:gd name="connsiteY46754" fmla="*/ 173992 h 4687251"/>
              <a:gd name="connsiteX46755" fmla="*/ 5444496 w 8079933"/>
              <a:gd name="connsiteY46755" fmla="*/ 179513 h 4687251"/>
              <a:gd name="connsiteX46756" fmla="*/ 5448403 w 8079933"/>
              <a:gd name="connsiteY46756" fmla="*/ 182113 h 4687251"/>
              <a:gd name="connsiteX46757" fmla="*/ 5449597 w 8079933"/>
              <a:gd name="connsiteY46757" fmla="*/ 188608 h 4687251"/>
              <a:gd name="connsiteX46758" fmla="*/ 5449597 w 8079933"/>
              <a:gd name="connsiteY46758" fmla="*/ 194995 h 4687251"/>
              <a:gd name="connsiteX46759" fmla="*/ 5456759 w 8079933"/>
              <a:gd name="connsiteY46759" fmla="*/ 202250 h 4687251"/>
              <a:gd name="connsiteX46760" fmla="*/ 5461860 w 8079933"/>
              <a:gd name="connsiteY46760" fmla="*/ 209286 h 4687251"/>
              <a:gd name="connsiteX46761" fmla="*/ 5461534 w 8079933"/>
              <a:gd name="connsiteY46761" fmla="*/ 211994 h 4687251"/>
              <a:gd name="connsiteX46762" fmla="*/ 5457085 w 8079933"/>
              <a:gd name="connsiteY46762" fmla="*/ 212211 h 4687251"/>
              <a:gd name="connsiteX46763" fmla="*/ 5453938 w 8079933"/>
              <a:gd name="connsiteY46763" fmla="*/ 210154 h 4687251"/>
              <a:gd name="connsiteX46764" fmla="*/ 5451116 w 8079933"/>
              <a:gd name="connsiteY46764" fmla="*/ 210263 h 4687251"/>
              <a:gd name="connsiteX46765" fmla="*/ 5451875 w 8079933"/>
              <a:gd name="connsiteY46765" fmla="*/ 216001 h 4687251"/>
              <a:gd name="connsiteX46766" fmla="*/ 5457193 w 8079933"/>
              <a:gd name="connsiteY46766" fmla="*/ 219573 h 4687251"/>
              <a:gd name="connsiteX46767" fmla="*/ 5463596 w 8079933"/>
              <a:gd name="connsiteY46767" fmla="*/ 220656 h 4687251"/>
              <a:gd name="connsiteX46768" fmla="*/ 5469239 w 8079933"/>
              <a:gd name="connsiteY46768" fmla="*/ 226828 h 4687251"/>
              <a:gd name="connsiteX46769" fmla="*/ 5472711 w 8079933"/>
              <a:gd name="connsiteY46769" fmla="*/ 227909 h 4687251"/>
              <a:gd name="connsiteX46770" fmla="*/ 5478571 w 8079933"/>
              <a:gd name="connsiteY46770" fmla="*/ 234407 h 4687251"/>
              <a:gd name="connsiteX46771" fmla="*/ 5478571 w 8079933"/>
              <a:gd name="connsiteY46771" fmla="*/ 238306 h 4687251"/>
              <a:gd name="connsiteX46772" fmla="*/ 5472928 w 8079933"/>
              <a:gd name="connsiteY46772" fmla="*/ 245883 h 4687251"/>
              <a:gd name="connsiteX46773" fmla="*/ 5465983 w 8079933"/>
              <a:gd name="connsiteY46773" fmla="*/ 247832 h 4687251"/>
              <a:gd name="connsiteX46774" fmla="*/ 5460340 w 8079933"/>
              <a:gd name="connsiteY46774" fmla="*/ 253246 h 4687251"/>
              <a:gd name="connsiteX46775" fmla="*/ 5455891 w 8079933"/>
              <a:gd name="connsiteY46775" fmla="*/ 256712 h 4687251"/>
              <a:gd name="connsiteX46776" fmla="*/ 5451550 w 8079933"/>
              <a:gd name="connsiteY46776" fmla="*/ 257252 h 4687251"/>
              <a:gd name="connsiteX46777" fmla="*/ 5446667 w 8079933"/>
              <a:gd name="connsiteY46777" fmla="*/ 253246 h 4687251"/>
              <a:gd name="connsiteX46778" fmla="*/ 5443737 w 8079933"/>
              <a:gd name="connsiteY46778" fmla="*/ 250539 h 4687251"/>
              <a:gd name="connsiteX46779" fmla="*/ 5439288 w 8079933"/>
              <a:gd name="connsiteY46779" fmla="*/ 251081 h 4687251"/>
              <a:gd name="connsiteX46780" fmla="*/ 5435490 w 8079933"/>
              <a:gd name="connsiteY46780" fmla="*/ 249674 h 4687251"/>
              <a:gd name="connsiteX46781" fmla="*/ 5430715 w 8079933"/>
              <a:gd name="connsiteY46781" fmla="*/ 251081 h 4687251"/>
              <a:gd name="connsiteX46782" fmla="*/ 5419104 w 8079933"/>
              <a:gd name="connsiteY46782" fmla="*/ 250213 h 4687251"/>
              <a:gd name="connsiteX46783" fmla="*/ 5413135 w 8079933"/>
              <a:gd name="connsiteY46783" fmla="*/ 246751 h 4687251"/>
              <a:gd name="connsiteX46784" fmla="*/ 5410205 w 8079933"/>
              <a:gd name="connsiteY46784" fmla="*/ 244476 h 4687251"/>
              <a:gd name="connsiteX46785" fmla="*/ 5403586 w 8079933"/>
              <a:gd name="connsiteY46785" fmla="*/ 246751 h 4687251"/>
              <a:gd name="connsiteX46786" fmla="*/ 5397943 w 8079933"/>
              <a:gd name="connsiteY46786" fmla="*/ 249674 h 4687251"/>
              <a:gd name="connsiteX46787" fmla="*/ 5393602 w 8079933"/>
              <a:gd name="connsiteY46787" fmla="*/ 248483 h 4687251"/>
              <a:gd name="connsiteX46788" fmla="*/ 5388502 w 8079933"/>
              <a:gd name="connsiteY46788" fmla="*/ 245234 h 4687251"/>
              <a:gd name="connsiteX46789" fmla="*/ 5382642 w 8079933"/>
              <a:gd name="connsiteY46789" fmla="*/ 244476 h 4687251"/>
              <a:gd name="connsiteX46790" fmla="*/ 5379278 w 8079933"/>
              <a:gd name="connsiteY46790" fmla="*/ 241119 h 4687251"/>
              <a:gd name="connsiteX46791" fmla="*/ 5376240 w 8079933"/>
              <a:gd name="connsiteY46791" fmla="*/ 232024 h 4687251"/>
              <a:gd name="connsiteX46792" fmla="*/ 5372767 w 8079933"/>
              <a:gd name="connsiteY46792" fmla="*/ 227369 h 4687251"/>
              <a:gd name="connsiteX46793" fmla="*/ 5369621 w 8079933"/>
              <a:gd name="connsiteY46793" fmla="*/ 226828 h 4687251"/>
              <a:gd name="connsiteX46794" fmla="*/ 5365605 w 8079933"/>
              <a:gd name="connsiteY46794" fmla="*/ 229101 h 4687251"/>
              <a:gd name="connsiteX46795" fmla="*/ 5361373 w 8079933"/>
              <a:gd name="connsiteY46795" fmla="*/ 225744 h 4687251"/>
              <a:gd name="connsiteX46796" fmla="*/ 5357467 w 8079933"/>
              <a:gd name="connsiteY46796" fmla="*/ 223905 h 4687251"/>
              <a:gd name="connsiteX46797" fmla="*/ 5356273 w 8079933"/>
              <a:gd name="connsiteY46797" fmla="*/ 226288 h 4687251"/>
              <a:gd name="connsiteX46798" fmla="*/ 5357467 w 8079933"/>
              <a:gd name="connsiteY46798" fmla="*/ 229751 h 4687251"/>
              <a:gd name="connsiteX46799" fmla="*/ 5354862 w 8079933"/>
              <a:gd name="connsiteY46799" fmla="*/ 230726 h 4687251"/>
              <a:gd name="connsiteX46800" fmla="*/ 5353125 w 8079933"/>
              <a:gd name="connsiteY46800" fmla="*/ 228885 h 4687251"/>
              <a:gd name="connsiteX46801" fmla="*/ 5348134 w 8079933"/>
              <a:gd name="connsiteY46801" fmla="*/ 225744 h 4687251"/>
              <a:gd name="connsiteX46802" fmla="*/ 5349002 w 8079933"/>
              <a:gd name="connsiteY46802" fmla="*/ 223362 h 4687251"/>
              <a:gd name="connsiteX46803" fmla="*/ 5354320 w 8079933"/>
              <a:gd name="connsiteY46803" fmla="*/ 219898 h 4687251"/>
              <a:gd name="connsiteX46804" fmla="*/ 5355188 w 8079933"/>
              <a:gd name="connsiteY46804" fmla="*/ 216866 h 4687251"/>
              <a:gd name="connsiteX46805" fmla="*/ 5353343 w 8079933"/>
              <a:gd name="connsiteY46805" fmla="*/ 209396 h 4687251"/>
              <a:gd name="connsiteX46806" fmla="*/ 5354537 w 8079933"/>
              <a:gd name="connsiteY46806" fmla="*/ 204956 h 4687251"/>
              <a:gd name="connsiteX46807" fmla="*/ 5360180 w 8079933"/>
              <a:gd name="connsiteY46807" fmla="*/ 199977 h 4687251"/>
              <a:gd name="connsiteX46808" fmla="*/ 5358335 w 8079933"/>
              <a:gd name="connsiteY46808" fmla="*/ 196945 h 4687251"/>
              <a:gd name="connsiteX46809" fmla="*/ 5355188 w 8079933"/>
              <a:gd name="connsiteY46809" fmla="*/ 196945 h 4687251"/>
              <a:gd name="connsiteX46810" fmla="*/ 5350521 w 8079933"/>
              <a:gd name="connsiteY46810" fmla="*/ 194132 h 4687251"/>
              <a:gd name="connsiteX46811" fmla="*/ 5350087 w 8079933"/>
              <a:gd name="connsiteY46811" fmla="*/ 190232 h 4687251"/>
              <a:gd name="connsiteX46812" fmla="*/ 5352475 w 8079933"/>
              <a:gd name="connsiteY46812" fmla="*/ 182761 h 4687251"/>
              <a:gd name="connsiteX46813" fmla="*/ 5356598 w 8079933"/>
              <a:gd name="connsiteY46813" fmla="*/ 179082 h 4687251"/>
              <a:gd name="connsiteX46814" fmla="*/ 5363001 w 8079933"/>
              <a:gd name="connsiteY46814" fmla="*/ 177455 h 4687251"/>
              <a:gd name="connsiteX46815" fmla="*/ 5363435 w 8079933"/>
              <a:gd name="connsiteY46815" fmla="*/ 173669 h 4687251"/>
              <a:gd name="connsiteX46816" fmla="*/ 5365605 w 8079933"/>
              <a:gd name="connsiteY46816" fmla="*/ 170311 h 4687251"/>
              <a:gd name="connsiteX46817" fmla="*/ 5371574 w 8079933"/>
              <a:gd name="connsiteY46817" fmla="*/ 167820 h 4687251"/>
              <a:gd name="connsiteX46818" fmla="*/ 5379278 w 8079933"/>
              <a:gd name="connsiteY46818" fmla="*/ 162732 h 4687251"/>
              <a:gd name="connsiteX46819" fmla="*/ 5381232 w 8079933"/>
              <a:gd name="connsiteY46819" fmla="*/ 156994 h 4687251"/>
              <a:gd name="connsiteX46820" fmla="*/ 3263420 w 8079933"/>
              <a:gd name="connsiteY46820" fmla="*/ 148007 h 4687251"/>
              <a:gd name="connsiteX46821" fmla="*/ 3266784 w 8079933"/>
              <a:gd name="connsiteY46821" fmla="*/ 151363 h 4687251"/>
              <a:gd name="connsiteX46822" fmla="*/ 3268628 w 8079933"/>
              <a:gd name="connsiteY46822" fmla="*/ 156885 h 4687251"/>
              <a:gd name="connsiteX46823" fmla="*/ 3271124 w 8079933"/>
              <a:gd name="connsiteY46823" fmla="*/ 161215 h 4687251"/>
              <a:gd name="connsiteX46824" fmla="*/ 3270148 w 8079933"/>
              <a:gd name="connsiteY46824" fmla="*/ 164464 h 4687251"/>
              <a:gd name="connsiteX46825" fmla="*/ 3267218 w 8079933"/>
              <a:gd name="connsiteY46825" fmla="*/ 165438 h 4687251"/>
              <a:gd name="connsiteX46826" fmla="*/ 3265047 w 8079933"/>
              <a:gd name="connsiteY46826" fmla="*/ 164680 h 4687251"/>
              <a:gd name="connsiteX46827" fmla="*/ 3262877 w 8079933"/>
              <a:gd name="connsiteY46827" fmla="*/ 161974 h 4687251"/>
              <a:gd name="connsiteX46828" fmla="*/ 3262769 w 8079933"/>
              <a:gd name="connsiteY46828" fmla="*/ 156127 h 4687251"/>
              <a:gd name="connsiteX46829" fmla="*/ 3260490 w 8079933"/>
              <a:gd name="connsiteY46829" fmla="*/ 152446 h 4687251"/>
              <a:gd name="connsiteX46830" fmla="*/ 3260924 w 8079933"/>
              <a:gd name="connsiteY46830" fmla="*/ 148439 h 4687251"/>
              <a:gd name="connsiteX46831" fmla="*/ 3191908 w 8079933"/>
              <a:gd name="connsiteY46831" fmla="*/ 147789 h 4687251"/>
              <a:gd name="connsiteX46832" fmla="*/ 3193319 w 8079933"/>
              <a:gd name="connsiteY46832" fmla="*/ 151038 h 4687251"/>
              <a:gd name="connsiteX46833" fmla="*/ 3193319 w 8079933"/>
              <a:gd name="connsiteY46833" fmla="*/ 158292 h 4687251"/>
              <a:gd name="connsiteX46834" fmla="*/ 3195706 w 8079933"/>
              <a:gd name="connsiteY46834" fmla="*/ 163273 h 4687251"/>
              <a:gd name="connsiteX46835" fmla="*/ 3195055 w 8079933"/>
              <a:gd name="connsiteY46835" fmla="*/ 170418 h 4687251"/>
              <a:gd name="connsiteX46836" fmla="*/ 3192776 w 8079933"/>
              <a:gd name="connsiteY46836" fmla="*/ 177131 h 4687251"/>
              <a:gd name="connsiteX46837" fmla="*/ 3193102 w 8079933"/>
              <a:gd name="connsiteY46837" fmla="*/ 184926 h 4687251"/>
              <a:gd name="connsiteX46838" fmla="*/ 3198636 w 8079933"/>
              <a:gd name="connsiteY46838" fmla="*/ 190773 h 4687251"/>
              <a:gd name="connsiteX46839" fmla="*/ 3199179 w 8079933"/>
              <a:gd name="connsiteY46839" fmla="*/ 196404 h 4687251"/>
              <a:gd name="connsiteX46840" fmla="*/ 3197226 w 8079933"/>
              <a:gd name="connsiteY46840" fmla="*/ 201600 h 4687251"/>
              <a:gd name="connsiteX46841" fmla="*/ 3195055 w 8079933"/>
              <a:gd name="connsiteY46841" fmla="*/ 199651 h 4687251"/>
              <a:gd name="connsiteX46842" fmla="*/ 3190931 w 8079933"/>
              <a:gd name="connsiteY46842" fmla="*/ 192181 h 4687251"/>
              <a:gd name="connsiteX46843" fmla="*/ 3189847 w 8079933"/>
              <a:gd name="connsiteY46843" fmla="*/ 184926 h 4687251"/>
              <a:gd name="connsiteX46844" fmla="*/ 3184855 w 8079933"/>
              <a:gd name="connsiteY46844" fmla="*/ 174749 h 4687251"/>
              <a:gd name="connsiteX46845" fmla="*/ 3184855 w 8079933"/>
              <a:gd name="connsiteY46845" fmla="*/ 168902 h 4687251"/>
              <a:gd name="connsiteX46846" fmla="*/ 3187134 w 8079933"/>
              <a:gd name="connsiteY46846" fmla="*/ 164463 h 4687251"/>
              <a:gd name="connsiteX46847" fmla="*/ 3186917 w 8079933"/>
              <a:gd name="connsiteY46847" fmla="*/ 152446 h 4687251"/>
              <a:gd name="connsiteX46848" fmla="*/ 2448028 w 8079933"/>
              <a:gd name="connsiteY46848" fmla="*/ 142267 h 4687251"/>
              <a:gd name="connsiteX46849" fmla="*/ 2445965 w 8079933"/>
              <a:gd name="connsiteY46849" fmla="*/ 147031 h 4687251"/>
              <a:gd name="connsiteX46850" fmla="*/ 2449546 w 8079933"/>
              <a:gd name="connsiteY46850" fmla="*/ 148330 h 4687251"/>
              <a:gd name="connsiteX46851" fmla="*/ 2455189 w 8079933"/>
              <a:gd name="connsiteY46851" fmla="*/ 148655 h 4687251"/>
              <a:gd name="connsiteX46852" fmla="*/ 2456492 w 8079933"/>
              <a:gd name="connsiteY46852" fmla="*/ 151903 h 4687251"/>
              <a:gd name="connsiteX46853" fmla="*/ 2453562 w 8079933"/>
              <a:gd name="connsiteY46853" fmla="*/ 158183 h 4687251"/>
              <a:gd name="connsiteX46854" fmla="*/ 2447593 w 8079933"/>
              <a:gd name="connsiteY46854" fmla="*/ 162731 h 4687251"/>
              <a:gd name="connsiteX46855" fmla="*/ 2447160 w 8079933"/>
              <a:gd name="connsiteY46855" fmla="*/ 166196 h 4687251"/>
              <a:gd name="connsiteX46856" fmla="*/ 2444120 w 8079933"/>
              <a:gd name="connsiteY46856" fmla="*/ 172800 h 4687251"/>
              <a:gd name="connsiteX46857" fmla="*/ 2439021 w 8079933"/>
              <a:gd name="connsiteY46857" fmla="*/ 177889 h 4687251"/>
              <a:gd name="connsiteX46858" fmla="*/ 2437609 w 8079933"/>
              <a:gd name="connsiteY46858" fmla="*/ 174099 h 4687251"/>
              <a:gd name="connsiteX46859" fmla="*/ 2435439 w 8079933"/>
              <a:gd name="connsiteY46859" fmla="*/ 171934 h 4687251"/>
              <a:gd name="connsiteX46860" fmla="*/ 2435548 w 8079933"/>
              <a:gd name="connsiteY46860" fmla="*/ 168253 h 4687251"/>
              <a:gd name="connsiteX46861" fmla="*/ 2439780 w 8079933"/>
              <a:gd name="connsiteY46861" fmla="*/ 164247 h 4687251"/>
              <a:gd name="connsiteX46862" fmla="*/ 2439780 w 8079933"/>
              <a:gd name="connsiteY46862" fmla="*/ 159916 h 4687251"/>
              <a:gd name="connsiteX46863" fmla="*/ 2435548 w 8079933"/>
              <a:gd name="connsiteY46863" fmla="*/ 161431 h 4687251"/>
              <a:gd name="connsiteX46864" fmla="*/ 2429797 w 8079933"/>
              <a:gd name="connsiteY46864" fmla="*/ 159700 h 4687251"/>
              <a:gd name="connsiteX46865" fmla="*/ 2429688 w 8079933"/>
              <a:gd name="connsiteY46865" fmla="*/ 156018 h 4687251"/>
              <a:gd name="connsiteX46866" fmla="*/ 2432510 w 8079933"/>
              <a:gd name="connsiteY46866" fmla="*/ 153311 h 4687251"/>
              <a:gd name="connsiteX46867" fmla="*/ 2433378 w 8079933"/>
              <a:gd name="connsiteY46867" fmla="*/ 149630 h 4687251"/>
              <a:gd name="connsiteX46868" fmla="*/ 2440431 w 8079933"/>
              <a:gd name="connsiteY46868" fmla="*/ 147465 h 4687251"/>
              <a:gd name="connsiteX46869" fmla="*/ 2446183 w 8079933"/>
              <a:gd name="connsiteY46869" fmla="*/ 142484 h 4687251"/>
              <a:gd name="connsiteX46870" fmla="*/ 2525182 w 8079933"/>
              <a:gd name="connsiteY46870" fmla="*/ 126352 h 4687251"/>
              <a:gd name="connsiteX46871" fmla="*/ 2528112 w 8079933"/>
              <a:gd name="connsiteY46871" fmla="*/ 126352 h 4687251"/>
              <a:gd name="connsiteX46872" fmla="*/ 2530065 w 8079933"/>
              <a:gd name="connsiteY46872" fmla="*/ 127652 h 4687251"/>
              <a:gd name="connsiteX46873" fmla="*/ 2533863 w 8079933"/>
              <a:gd name="connsiteY46873" fmla="*/ 127652 h 4687251"/>
              <a:gd name="connsiteX46874" fmla="*/ 2534297 w 8079933"/>
              <a:gd name="connsiteY46874" fmla="*/ 131767 h 4687251"/>
              <a:gd name="connsiteX46875" fmla="*/ 2531801 w 8079933"/>
              <a:gd name="connsiteY46875" fmla="*/ 131983 h 4687251"/>
              <a:gd name="connsiteX46876" fmla="*/ 2529739 w 8079933"/>
              <a:gd name="connsiteY46876" fmla="*/ 130467 h 4687251"/>
              <a:gd name="connsiteX46877" fmla="*/ 2525073 w 8079933"/>
              <a:gd name="connsiteY46877" fmla="*/ 129601 h 4687251"/>
              <a:gd name="connsiteX46878" fmla="*/ 2523663 w 8079933"/>
              <a:gd name="connsiteY46878" fmla="*/ 127544 h 4687251"/>
              <a:gd name="connsiteX46879" fmla="*/ 3304006 w 8079933"/>
              <a:gd name="connsiteY46879" fmla="*/ 119964 h 4687251"/>
              <a:gd name="connsiteX46880" fmla="*/ 3307804 w 8079933"/>
              <a:gd name="connsiteY46880" fmla="*/ 122886 h 4687251"/>
              <a:gd name="connsiteX46881" fmla="*/ 3307479 w 8079933"/>
              <a:gd name="connsiteY46881" fmla="*/ 128625 h 4687251"/>
              <a:gd name="connsiteX46882" fmla="*/ 3305417 w 8079933"/>
              <a:gd name="connsiteY46882" fmla="*/ 127975 h 4687251"/>
              <a:gd name="connsiteX46883" fmla="*/ 3302487 w 8079933"/>
              <a:gd name="connsiteY46883" fmla="*/ 121047 h 4687251"/>
              <a:gd name="connsiteX46884" fmla="*/ 3282846 w 8079933"/>
              <a:gd name="connsiteY46884" fmla="*/ 114984 h 4687251"/>
              <a:gd name="connsiteX46885" fmla="*/ 3285776 w 8079933"/>
              <a:gd name="connsiteY46885" fmla="*/ 116716 h 4687251"/>
              <a:gd name="connsiteX46886" fmla="*/ 3286209 w 8079933"/>
              <a:gd name="connsiteY46886" fmla="*/ 120614 h 4687251"/>
              <a:gd name="connsiteX46887" fmla="*/ 3288706 w 8079933"/>
              <a:gd name="connsiteY46887" fmla="*/ 121480 h 4687251"/>
              <a:gd name="connsiteX46888" fmla="*/ 3291310 w 8079933"/>
              <a:gd name="connsiteY46888" fmla="*/ 123970 h 4687251"/>
              <a:gd name="connsiteX46889" fmla="*/ 3291310 w 8079933"/>
              <a:gd name="connsiteY46889" fmla="*/ 126352 h 4687251"/>
              <a:gd name="connsiteX46890" fmla="*/ 3287729 w 8079933"/>
              <a:gd name="connsiteY46890" fmla="*/ 126135 h 4687251"/>
              <a:gd name="connsiteX46891" fmla="*/ 3285776 w 8079933"/>
              <a:gd name="connsiteY46891" fmla="*/ 124187 h 4687251"/>
              <a:gd name="connsiteX46892" fmla="*/ 3280133 w 8079933"/>
              <a:gd name="connsiteY46892" fmla="*/ 123538 h 4687251"/>
              <a:gd name="connsiteX46893" fmla="*/ 3279265 w 8079933"/>
              <a:gd name="connsiteY46893" fmla="*/ 120181 h 4687251"/>
              <a:gd name="connsiteX46894" fmla="*/ 3279482 w 8079933"/>
              <a:gd name="connsiteY46894" fmla="*/ 117907 h 4687251"/>
              <a:gd name="connsiteX46895" fmla="*/ 5245912 w 8079933"/>
              <a:gd name="connsiteY46895" fmla="*/ 110113 h 4687251"/>
              <a:gd name="connsiteX46896" fmla="*/ 5251664 w 8079933"/>
              <a:gd name="connsiteY46896" fmla="*/ 111628 h 4687251"/>
              <a:gd name="connsiteX46897" fmla="*/ 5249602 w 8079933"/>
              <a:gd name="connsiteY46897" fmla="*/ 114660 h 4687251"/>
              <a:gd name="connsiteX46898" fmla="*/ 5249059 w 8079933"/>
              <a:gd name="connsiteY46898" fmla="*/ 117908 h 4687251"/>
              <a:gd name="connsiteX46899" fmla="*/ 5244935 w 8079933"/>
              <a:gd name="connsiteY46899" fmla="*/ 121807 h 4687251"/>
              <a:gd name="connsiteX46900" fmla="*/ 5239183 w 8079933"/>
              <a:gd name="connsiteY46900" fmla="*/ 122996 h 4687251"/>
              <a:gd name="connsiteX46901" fmla="*/ 5234408 w 8079933"/>
              <a:gd name="connsiteY46901" fmla="*/ 121807 h 4687251"/>
              <a:gd name="connsiteX46902" fmla="*/ 5231804 w 8079933"/>
              <a:gd name="connsiteY46902" fmla="*/ 119532 h 4687251"/>
              <a:gd name="connsiteX46903" fmla="*/ 5236254 w 8079933"/>
              <a:gd name="connsiteY46903" fmla="*/ 114769 h 4687251"/>
              <a:gd name="connsiteX46904" fmla="*/ 5238967 w 8079933"/>
              <a:gd name="connsiteY46904" fmla="*/ 110653 h 4687251"/>
              <a:gd name="connsiteX46905" fmla="*/ 3314640 w 8079933"/>
              <a:gd name="connsiteY46905" fmla="*/ 108595 h 4687251"/>
              <a:gd name="connsiteX46906" fmla="*/ 3317679 w 8079933"/>
              <a:gd name="connsiteY46906" fmla="*/ 109137 h 4687251"/>
              <a:gd name="connsiteX46907" fmla="*/ 3321694 w 8079933"/>
              <a:gd name="connsiteY46907" fmla="*/ 114984 h 4687251"/>
              <a:gd name="connsiteX46908" fmla="*/ 3324841 w 8079933"/>
              <a:gd name="connsiteY46908" fmla="*/ 115525 h 4687251"/>
              <a:gd name="connsiteX46909" fmla="*/ 3325058 w 8079933"/>
              <a:gd name="connsiteY46909" fmla="*/ 118665 h 4687251"/>
              <a:gd name="connsiteX46910" fmla="*/ 3323756 w 8079933"/>
              <a:gd name="connsiteY46910" fmla="*/ 119964 h 4687251"/>
              <a:gd name="connsiteX46911" fmla="*/ 3323647 w 8079933"/>
              <a:gd name="connsiteY46911" fmla="*/ 125053 h 4687251"/>
              <a:gd name="connsiteX46912" fmla="*/ 3322019 w 8079933"/>
              <a:gd name="connsiteY46912" fmla="*/ 130360 h 4687251"/>
              <a:gd name="connsiteX46913" fmla="*/ 3318221 w 8079933"/>
              <a:gd name="connsiteY46913" fmla="*/ 129384 h 4687251"/>
              <a:gd name="connsiteX46914" fmla="*/ 3312687 w 8079933"/>
              <a:gd name="connsiteY46914" fmla="*/ 123537 h 4687251"/>
              <a:gd name="connsiteX46915" fmla="*/ 3308563 w 8079933"/>
              <a:gd name="connsiteY46915" fmla="*/ 121588 h 4687251"/>
              <a:gd name="connsiteX46916" fmla="*/ 3307044 w 8079933"/>
              <a:gd name="connsiteY46916" fmla="*/ 117257 h 4687251"/>
              <a:gd name="connsiteX46917" fmla="*/ 3309757 w 8079933"/>
              <a:gd name="connsiteY46917" fmla="*/ 116824 h 4687251"/>
              <a:gd name="connsiteX46918" fmla="*/ 3312253 w 8079933"/>
              <a:gd name="connsiteY46918" fmla="*/ 119747 h 4687251"/>
              <a:gd name="connsiteX46919" fmla="*/ 3314206 w 8079933"/>
              <a:gd name="connsiteY46919" fmla="*/ 117365 h 4687251"/>
              <a:gd name="connsiteX46920" fmla="*/ 3313121 w 8079933"/>
              <a:gd name="connsiteY46920" fmla="*/ 115092 h 4687251"/>
              <a:gd name="connsiteX46921" fmla="*/ 3312470 w 8079933"/>
              <a:gd name="connsiteY46921" fmla="*/ 110870 h 4687251"/>
              <a:gd name="connsiteX46922" fmla="*/ 3379750 w 8079933"/>
              <a:gd name="connsiteY46922" fmla="*/ 97228 h 4687251"/>
              <a:gd name="connsiteX46923" fmla="*/ 3383114 w 8079933"/>
              <a:gd name="connsiteY46923" fmla="*/ 99392 h 4687251"/>
              <a:gd name="connsiteX46924" fmla="*/ 3383222 w 8079933"/>
              <a:gd name="connsiteY46924" fmla="*/ 101558 h 4687251"/>
              <a:gd name="connsiteX46925" fmla="*/ 3380943 w 8079933"/>
              <a:gd name="connsiteY46925" fmla="*/ 102533 h 4687251"/>
              <a:gd name="connsiteX46926" fmla="*/ 3378773 w 8079933"/>
              <a:gd name="connsiteY46926" fmla="*/ 101450 h 4687251"/>
              <a:gd name="connsiteX46927" fmla="*/ 3378665 w 8079933"/>
              <a:gd name="connsiteY46927" fmla="*/ 98527 h 4687251"/>
              <a:gd name="connsiteX46928" fmla="*/ 3414801 w 8079933"/>
              <a:gd name="connsiteY46928" fmla="*/ 87591 h 4687251"/>
              <a:gd name="connsiteX46929" fmla="*/ 3417731 w 8079933"/>
              <a:gd name="connsiteY46929" fmla="*/ 87591 h 4687251"/>
              <a:gd name="connsiteX46930" fmla="*/ 3417731 w 8079933"/>
              <a:gd name="connsiteY46930" fmla="*/ 91381 h 4687251"/>
              <a:gd name="connsiteX46931" fmla="*/ 3415343 w 8079933"/>
              <a:gd name="connsiteY46931" fmla="*/ 94739 h 4687251"/>
              <a:gd name="connsiteX46932" fmla="*/ 3412088 w 8079933"/>
              <a:gd name="connsiteY46932" fmla="*/ 94846 h 4687251"/>
              <a:gd name="connsiteX46933" fmla="*/ 3411003 w 8079933"/>
              <a:gd name="connsiteY46933" fmla="*/ 93114 h 4687251"/>
              <a:gd name="connsiteX46934" fmla="*/ 3411112 w 8079933"/>
              <a:gd name="connsiteY46934" fmla="*/ 89974 h 4687251"/>
              <a:gd name="connsiteX46935" fmla="*/ 6362004 w 8079933"/>
              <a:gd name="connsiteY46935" fmla="*/ 85535 h 4687251"/>
              <a:gd name="connsiteX46936" fmla="*/ 6363523 w 8079933"/>
              <a:gd name="connsiteY46936" fmla="*/ 86836 h 4687251"/>
              <a:gd name="connsiteX46937" fmla="*/ 6363849 w 8079933"/>
              <a:gd name="connsiteY46937" fmla="*/ 90950 h 4687251"/>
              <a:gd name="connsiteX46938" fmla="*/ 6365369 w 8079933"/>
              <a:gd name="connsiteY46938" fmla="*/ 92898 h 4687251"/>
              <a:gd name="connsiteX46939" fmla="*/ 6361679 w 8079933"/>
              <a:gd name="connsiteY46939" fmla="*/ 95497 h 4687251"/>
              <a:gd name="connsiteX46940" fmla="*/ 6358641 w 8079933"/>
              <a:gd name="connsiteY46940" fmla="*/ 99070 h 4687251"/>
              <a:gd name="connsiteX46941" fmla="*/ 6353215 w 8079933"/>
              <a:gd name="connsiteY46941" fmla="*/ 101127 h 4687251"/>
              <a:gd name="connsiteX46942" fmla="*/ 6355385 w 8079933"/>
              <a:gd name="connsiteY46942" fmla="*/ 92032 h 4687251"/>
              <a:gd name="connsiteX46943" fmla="*/ 3393750 w 8079933"/>
              <a:gd name="connsiteY46943" fmla="*/ 84992 h 4687251"/>
              <a:gd name="connsiteX46944" fmla="*/ 3396138 w 8079933"/>
              <a:gd name="connsiteY46944" fmla="*/ 87591 h 4687251"/>
              <a:gd name="connsiteX46945" fmla="*/ 3396897 w 8079933"/>
              <a:gd name="connsiteY46945" fmla="*/ 91272 h 4687251"/>
              <a:gd name="connsiteX46946" fmla="*/ 3403300 w 8079933"/>
              <a:gd name="connsiteY46946" fmla="*/ 97119 h 4687251"/>
              <a:gd name="connsiteX46947" fmla="*/ 3400912 w 8079933"/>
              <a:gd name="connsiteY46947" fmla="*/ 98634 h 4687251"/>
              <a:gd name="connsiteX46948" fmla="*/ 3398416 w 8079933"/>
              <a:gd name="connsiteY46948" fmla="*/ 101991 h 4687251"/>
              <a:gd name="connsiteX46949" fmla="*/ 3395270 w 8079933"/>
              <a:gd name="connsiteY46949" fmla="*/ 102099 h 4687251"/>
              <a:gd name="connsiteX46950" fmla="*/ 3394075 w 8079933"/>
              <a:gd name="connsiteY46950" fmla="*/ 98851 h 4687251"/>
              <a:gd name="connsiteX46951" fmla="*/ 3391145 w 8079933"/>
              <a:gd name="connsiteY46951" fmla="*/ 93762 h 4687251"/>
              <a:gd name="connsiteX46952" fmla="*/ 3389952 w 8079933"/>
              <a:gd name="connsiteY46952" fmla="*/ 91164 h 4687251"/>
              <a:gd name="connsiteX46953" fmla="*/ 3391362 w 8079933"/>
              <a:gd name="connsiteY46953" fmla="*/ 90081 h 4687251"/>
              <a:gd name="connsiteX46954" fmla="*/ 3392230 w 8079933"/>
              <a:gd name="connsiteY46954" fmla="*/ 86725 h 4687251"/>
              <a:gd name="connsiteX46955" fmla="*/ 5299953 w 8079933"/>
              <a:gd name="connsiteY46955" fmla="*/ 84453 h 4687251"/>
              <a:gd name="connsiteX46956" fmla="*/ 5303316 w 8079933"/>
              <a:gd name="connsiteY46956" fmla="*/ 84777 h 4687251"/>
              <a:gd name="connsiteX46957" fmla="*/ 5311239 w 8079933"/>
              <a:gd name="connsiteY46957" fmla="*/ 88783 h 4687251"/>
              <a:gd name="connsiteX46958" fmla="*/ 5318292 w 8079933"/>
              <a:gd name="connsiteY46958" fmla="*/ 94305 h 4687251"/>
              <a:gd name="connsiteX46959" fmla="*/ 5327950 w 8079933"/>
              <a:gd name="connsiteY46959" fmla="*/ 105999 h 4687251"/>
              <a:gd name="connsiteX46960" fmla="*/ 5334244 w 8079933"/>
              <a:gd name="connsiteY46960" fmla="*/ 110438 h 4687251"/>
              <a:gd name="connsiteX46961" fmla="*/ 5343143 w 8079933"/>
              <a:gd name="connsiteY46961" fmla="*/ 113144 h 4687251"/>
              <a:gd name="connsiteX46962" fmla="*/ 5355079 w 8079933"/>
              <a:gd name="connsiteY46962" fmla="*/ 113036 h 4687251"/>
              <a:gd name="connsiteX46963" fmla="*/ 5357250 w 8079933"/>
              <a:gd name="connsiteY46963" fmla="*/ 114335 h 4687251"/>
              <a:gd name="connsiteX46964" fmla="*/ 5357141 w 8079933"/>
              <a:gd name="connsiteY46964" fmla="*/ 118341 h 4687251"/>
              <a:gd name="connsiteX46965" fmla="*/ 5354537 w 8079933"/>
              <a:gd name="connsiteY46965" fmla="*/ 123321 h 4687251"/>
              <a:gd name="connsiteX46966" fmla="*/ 5354211 w 8079933"/>
              <a:gd name="connsiteY46966" fmla="*/ 128519 h 4687251"/>
              <a:gd name="connsiteX46967" fmla="*/ 5358443 w 8079933"/>
              <a:gd name="connsiteY46967" fmla="*/ 136205 h 4687251"/>
              <a:gd name="connsiteX46968" fmla="*/ 5365714 w 8079933"/>
              <a:gd name="connsiteY46968" fmla="*/ 143135 h 4687251"/>
              <a:gd name="connsiteX46969" fmla="*/ 5373852 w 8079933"/>
              <a:gd name="connsiteY46969" fmla="*/ 147573 h 4687251"/>
              <a:gd name="connsiteX46970" fmla="*/ 5374287 w 8079933"/>
              <a:gd name="connsiteY46970" fmla="*/ 152553 h 4687251"/>
              <a:gd name="connsiteX46971" fmla="*/ 5372116 w 8079933"/>
              <a:gd name="connsiteY46971" fmla="*/ 156669 h 4687251"/>
              <a:gd name="connsiteX46972" fmla="*/ 5365714 w 8079933"/>
              <a:gd name="connsiteY46972" fmla="*/ 160241 h 4687251"/>
              <a:gd name="connsiteX46973" fmla="*/ 5356382 w 8079933"/>
              <a:gd name="connsiteY46973" fmla="*/ 166955 h 4687251"/>
              <a:gd name="connsiteX46974" fmla="*/ 5350521 w 8079933"/>
              <a:gd name="connsiteY46974" fmla="*/ 172693 h 4687251"/>
              <a:gd name="connsiteX46975" fmla="*/ 5350087 w 8079933"/>
              <a:gd name="connsiteY46975" fmla="*/ 177348 h 4687251"/>
              <a:gd name="connsiteX46976" fmla="*/ 5346723 w 8079933"/>
              <a:gd name="connsiteY46976" fmla="*/ 182113 h 4687251"/>
              <a:gd name="connsiteX46977" fmla="*/ 5338693 w 8079933"/>
              <a:gd name="connsiteY46977" fmla="*/ 186768 h 4687251"/>
              <a:gd name="connsiteX46978" fmla="*/ 5333267 w 8079933"/>
              <a:gd name="connsiteY46978" fmla="*/ 187526 h 4687251"/>
              <a:gd name="connsiteX46979" fmla="*/ 5327299 w 8079933"/>
              <a:gd name="connsiteY46979" fmla="*/ 186552 h 4687251"/>
              <a:gd name="connsiteX46980" fmla="*/ 5321005 w 8079933"/>
              <a:gd name="connsiteY46980" fmla="*/ 182870 h 4687251"/>
              <a:gd name="connsiteX46981" fmla="*/ 5317099 w 8079933"/>
              <a:gd name="connsiteY46981" fmla="*/ 182113 h 4687251"/>
              <a:gd name="connsiteX46982" fmla="*/ 5314820 w 8079933"/>
              <a:gd name="connsiteY46982" fmla="*/ 184494 h 4687251"/>
              <a:gd name="connsiteX46983" fmla="*/ 5311022 w 8079933"/>
              <a:gd name="connsiteY46983" fmla="*/ 184494 h 4687251"/>
              <a:gd name="connsiteX46984" fmla="*/ 5303968 w 8079933"/>
              <a:gd name="connsiteY46984" fmla="*/ 179406 h 4687251"/>
              <a:gd name="connsiteX46985" fmla="*/ 5302666 w 8079933"/>
              <a:gd name="connsiteY46985" fmla="*/ 174750 h 4687251"/>
              <a:gd name="connsiteX46986" fmla="*/ 5300604 w 8079933"/>
              <a:gd name="connsiteY46986" fmla="*/ 173127 h 4687251"/>
              <a:gd name="connsiteX46987" fmla="*/ 5294310 w 8079933"/>
              <a:gd name="connsiteY46987" fmla="*/ 175507 h 4687251"/>
              <a:gd name="connsiteX46988" fmla="*/ 5291489 w 8079933"/>
              <a:gd name="connsiteY46988" fmla="*/ 180272 h 4687251"/>
              <a:gd name="connsiteX46989" fmla="*/ 5289101 w 8079933"/>
              <a:gd name="connsiteY46989" fmla="*/ 181138 h 4687251"/>
              <a:gd name="connsiteX46990" fmla="*/ 5287690 w 8079933"/>
              <a:gd name="connsiteY46990" fmla="*/ 177781 h 4687251"/>
              <a:gd name="connsiteX46991" fmla="*/ 5289209 w 8079933"/>
              <a:gd name="connsiteY46991" fmla="*/ 173668 h 4687251"/>
              <a:gd name="connsiteX46992" fmla="*/ 5291597 w 8079933"/>
              <a:gd name="connsiteY46992" fmla="*/ 168578 h 4687251"/>
              <a:gd name="connsiteX46993" fmla="*/ 5293225 w 8079933"/>
              <a:gd name="connsiteY46993" fmla="*/ 155478 h 4687251"/>
              <a:gd name="connsiteX46994" fmla="*/ 5292574 w 8079933"/>
              <a:gd name="connsiteY46994" fmla="*/ 150822 h 4687251"/>
              <a:gd name="connsiteX46995" fmla="*/ 5288341 w 8079933"/>
              <a:gd name="connsiteY46995" fmla="*/ 148223 h 4687251"/>
              <a:gd name="connsiteX46996" fmla="*/ 5285086 w 8079933"/>
              <a:gd name="connsiteY46996" fmla="*/ 143460 h 4687251"/>
              <a:gd name="connsiteX46997" fmla="*/ 5284218 w 8079933"/>
              <a:gd name="connsiteY46997" fmla="*/ 124513 h 4687251"/>
              <a:gd name="connsiteX46998" fmla="*/ 5285086 w 8079933"/>
              <a:gd name="connsiteY46998" fmla="*/ 119640 h 4687251"/>
              <a:gd name="connsiteX46999" fmla="*/ 5290077 w 8079933"/>
              <a:gd name="connsiteY46999" fmla="*/ 113469 h 4687251"/>
              <a:gd name="connsiteX47000" fmla="*/ 5294310 w 8079933"/>
              <a:gd name="connsiteY47000" fmla="*/ 106323 h 4687251"/>
              <a:gd name="connsiteX47001" fmla="*/ 5298325 w 8079933"/>
              <a:gd name="connsiteY47001" fmla="*/ 100585 h 4687251"/>
              <a:gd name="connsiteX47002" fmla="*/ 5298434 w 8079933"/>
              <a:gd name="connsiteY47002" fmla="*/ 94197 h 4687251"/>
              <a:gd name="connsiteX47003" fmla="*/ 5297457 w 8079933"/>
              <a:gd name="connsiteY47003" fmla="*/ 90515 h 4687251"/>
              <a:gd name="connsiteX47004" fmla="*/ 5298542 w 8079933"/>
              <a:gd name="connsiteY47004" fmla="*/ 86618 h 4687251"/>
              <a:gd name="connsiteX47005" fmla="*/ 3409917 w 8079933"/>
              <a:gd name="connsiteY47005" fmla="*/ 76439 h 4687251"/>
              <a:gd name="connsiteX47006" fmla="*/ 3412522 w 8079933"/>
              <a:gd name="connsiteY47006" fmla="*/ 76439 h 4687251"/>
              <a:gd name="connsiteX47007" fmla="*/ 3414366 w 8079933"/>
              <a:gd name="connsiteY47007" fmla="*/ 79254 h 4687251"/>
              <a:gd name="connsiteX47008" fmla="*/ 3413390 w 8079933"/>
              <a:gd name="connsiteY47008" fmla="*/ 83477 h 4687251"/>
              <a:gd name="connsiteX47009" fmla="*/ 3411979 w 8079933"/>
              <a:gd name="connsiteY47009" fmla="*/ 85100 h 4687251"/>
              <a:gd name="connsiteX47010" fmla="*/ 3410352 w 8079933"/>
              <a:gd name="connsiteY47010" fmla="*/ 84560 h 4687251"/>
              <a:gd name="connsiteX47011" fmla="*/ 3408507 w 8079933"/>
              <a:gd name="connsiteY47011" fmla="*/ 80337 h 4687251"/>
              <a:gd name="connsiteX47012" fmla="*/ 2566637 w 8079933"/>
              <a:gd name="connsiteY47012" fmla="*/ 73841 h 4687251"/>
              <a:gd name="connsiteX47013" fmla="*/ 2573040 w 8079933"/>
              <a:gd name="connsiteY47013" fmla="*/ 79579 h 4687251"/>
              <a:gd name="connsiteX47014" fmla="*/ 2574775 w 8079933"/>
              <a:gd name="connsiteY47014" fmla="*/ 78712 h 4687251"/>
              <a:gd name="connsiteX47015" fmla="*/ 2574775 w 8079933"/>
              <a:gd name="connsiteY47015" fmla="*/ 75898 h 4687251"/>
              <a:gd name="connsiteX47016" fmla="*/ 2576838 w 8079933"/>
              <a:gd name="connsiteY47016" fmla="*/ 74165 h 4687251"/>
              <a:gd name="connsiteX47017" fmla="*/ 2583566 w 8079933"/>
              <a:gd name="connsiteY47017" fmla="*/ 77305 h 4687251"/>
              <a:gd name="connsiteX47018" fmla="*/ 2584976 w 8079933"/>
              <a:gd name="connsiteY47018" fmla="*/ 81420 h 4687251"/>
              <a:gd name="connsiteX47019" fmla="*/ 2592030 w 8079933"/>
              <a:gd name="connsiteY47019" fmla="*/ 86399 h 4687251"/>
              <a:gd name="connsiteX47020" fmla="*/ 2593223 w 8079933"/>
              <a:gd name="connsiteY47020" fmla="*/ 91381 h 4687251"/>
              <a:gd name="connsiteX47021" fmla="*/ 2597347 w 8079933"/>
              <a:gd name="connsiteY47021" fmla="*/ 96577 h 4687251"/>
              <a:gd name="connsiteX47022" fmla="*/ 2597021 w 8079933"/>
              <a:gd name="connsiteY47022" fmla="*/ 102857 h 4687251"/>
              <a:gd name="connsiteX47023" fmla="*/ 2593223 w 8079933"/>
              <a:gd name="connsiteY47023" fmla="*/ 110436 h 4687251"/>
              <a:gd name="connsiteX47024" fmla="*/ 2593766 w 8079933"/>
              <a:gd name="connsiteY47024" fmla="*/ 116174 h 4687251"/>
              <a:gd name="connsiteX47025" fmla="*/ 2593006 w 8079933"/>
              <a:gd name="connsiteY47025" fmla="*/ 123862 h 4687251"/>
              <a:gd name="connsiteX47026" fmla="*/ 2590510 w 8079933"/>
              <a:gd name="connsiteY47026" fmla="*/ 129491 h 4687251"/>
              <a:gd name="connsiteX47027" fmla="*/ 2590836 w 8079933"/>
              <a:gd name="connsiteY47027" fmla="*/ 136854 h 4687251"/>
              <a:gd name="connsiteX47028" fmla="*/ 2589751 w 8079933"/>
              <a:gd name="connsiteY47028" fmla="*/ 146923 h 4687251"/>
              <a:gd name="connsiteX47029" fmla="*/ 2592355 w 8079933"/>
              <a:gd name="connsiteY47029" fmla="*/ 153311 h 4687251"/>
              <a:gd name="connsiteX47030" fmla="*/ 2591704 w 8079933"/>
              <a:gd name="connsiteY47030" fmla="*/ 160349 h 4687251"/>
              <a:gd name="connsiteX47031" fmla="*/ 2593223 w 8079933"/>
              <a:gd name="connsiteY47031" fmla="*/ 161648 h 4687251"/>
              <a:gd name="connsiteX47032" fmla="*/ 2594200 w 8079933"/>
              <a:gd name="connsiteY47032" fmla="*/ 164354 h 4687251"/>
              <a:gd name="connsiteX47033" fmla="*/ 2596479 w 8079933"/>
              <a:gd name="connsiteY47033" fmla="*/ 160132 h 4687251"/>
              <a:gd name="connsiteX47034" fmla="*/ 2601688 w 8079933"/>
              <a:gd name="connsiteY47034" fmla="*/ 158508 h 4687251"/>
              <a:gd name="connsiteX47035" fmla="*/ 2605920 w 8079933"/>
              <a:gd name="connsiteY47035" fmla="*/ 158508 h 4687251"/>
              <a:gd name="connsiteX47036" fmla="*/ 2608742 w 8079933"/>
              <a:gd name="connsiteY47036" fmla="*/ 163488 h 4687251"/>
              <a:gd name="connsiteX47037" fmla="*/ 2610369 w 8079933"/>
              <a:gd name="connsiteY47037" fmla="*/ 169335 h 4687251"/>
              <a:gd name="connsiteX47038" fmla="*/ 2607330 w 8079933"/>
              <a:gd name="connsiteY47038" fmla="*/ 171176 h 4687251"/>
              <a:gd name="connsiteX47039" fmla="*/ 2605269 w 8079933"/>
              <a:gd name="connsiteY47039" fmla="*/ 169551 h 4687251"/>
              <a:gd name="connsiteX47040" fmla="*/ 2604509 w 8079933"/>
              <a:gd name="connsiteY47040" fmla="*/ 172150 h 4687251"/>
              <a:gd name="connsiteX47041" fmla="*/ 2606029 w 8079933"/>
              <a:gd name="connsiteY47041" fmla="*/ 176480 h 4687251"/>
              <a:gd name="connsiteX47042" fmla="*/ 2601471 w 8079933"/>
              <a:gd name="connsiteY47042" fmla="*/ 184709 h 4687251"/>
              <a:gd name="connsiteX47043" fmla="*/ 2601579 w 8079933"/>
              <a:gd name="connsiteY47043" fmla="*/ 188932 h 4687251"/>
              <a:gd name="connsiteX47044" fmla="*/ 2603207 w 8079933"/>
              <a:gd name="connsiteY47044" fmla="*/ 190990 h 4687251"/>
              <a:gd name="connsiteX47045" fmla="*/ 2603099 w 8079933"/>
              <a:gd name="connsiteY47045" fmla="*/ 193588 h 4687251"/>
              <a:gd name="connsiteX47046" fmla="*/ 2604401 w 8079933"/>
              <a:gd name="connsiteY47046" fmla="*/ 194561 h 4687251"/>
              <a:gd name="connsiteX47047" fmla="*/ 2606788 w 8079933"/>
              <a:gd name="connsiteY47047" fmla="*/ 192722 h 4687251"/>
              <a:gd name="connsiteX47048" fmla="*/ 2610044 w 8079933"/>
              <a:gd name="connsiteY47048" fmla="*/ 188607 h 4687251"/>
              <a:gd name="connsiteX47049" fmla="*/ 2607439 w 8079933"/>
              <a:gd name="connsiteY47049" fmla="*/ 185575 h 4687251"/>
              <a:gd name="connsiteX47050" fmla="*/ 2608525 w 8079933"/>
              <a:gd name="connsiteY47050" fmla="*/ 180379 h 4687251"/>
              <a:gd name="connsiteX47051" fmla="*/ 2613733 w 8079933"/>
              <a:gd name="connsiteY47051" fmla="*/ 170092 h 4687251"/>
              <a:gd name="connsiteX47052" fmla="*/ 2617857 w 8079933"/>
              <a:gd name="connsiteY47052" fmla="*/ 168144 h 4687251"/>
              <a:gd name="connsiteX47053" fmla="*/ 2622089 w 8079933"/>
              <a:gd name="connsiteY47053" fmla="*/ 169443 h 4687251"/>
              <a:gd name="connsiteX47054" fmla="*/ 2621980 w 8079933"/>
              <a:gd name="connsiteY47054" fmla="*/ 173232 h 4687251"/>
              <a:gd name="connsiteX47055" fmla="*/ 2623283 w 8079933"/>
              <a:gd name="connsiteY47055" fmla="*/ 174965 h 4687251"/>
              <a:gd name="connsiteX47056" fmla="*/ 2623391 w 8079933"/>
              <a:gd name="connsiteY47056" fmla="*/ 180486 h 4687251"/>
              <a:gd name="connsiteX47057" fmla="*/ 2618834 w 8079933"/>
              <a:gd name="connsiteY47057" fmla="*/ 185143 h 4687251"/>
              <a:gd name="connsiteX47058" fmla="*/ 2619051 w 8079933"/>
              <a:gd name="connsiteY47058" fmla="*/ 190123 h 4687251"/>
              <a:gd name="connsiteX47059" fmla="*/ 2616989 w 8079933"/>
              <a:gd name="connsiteY47059" fmla="*/ 193263 h 4687251"/>
              <a:gd name="connsiteX47060" fmla="*/ 2613625 w 8079933"/>
              <a:gd name="connsiteY47060" fmla="*/ 192938 h 4687251"/>
              <a:gd name="connsiteX47061" fmla="*/ 2610803 w 8079933"/>
              <a:gd name="connsiteY47061" fmla="*/ 194453 h 4687251"/>
              <a:gd name="connsiteX47062" fmla="*/ 2609067 w 8079933"/>
              <a:gd name="connsiteY47062" fmla="*/ 197161 h 4687251"/>
              <a:gd name="connsiteX47063" fmla="*/ 2610803 w 8079933"/>
              <a:gd name="connsiteY47063" fmla="*/ 199543 h 4687251"/>
              <a:gd name="connsiteX47064" fmla="*/ 2613300 w 8079933"/>
              <a:gd name="connsiteY47064" fmla="*/ 197810 h 4687251"/>
              <a:gd name="connsiteX47065" fmla="*/ 2617097 w 8079933"/>
              <a:gd name="connsiteY47065" fmla="*/ 196836 h 4687251"/>
              <a:gd name="connsiteX47066" fmla="*/ 2618725 w 8079933"/>
              <a:gd name="connsiteY47066" fmla="*/ 198134 h 4687251"/>
              <a:gd name="connsiteX47067" fmla="*/ 2616446 w 8079933"/>
              <a:gd name="connsiteY47067" fmla="*/ 205930 h 4687251"/>
              <a:gd name="connsiteX47068" fmla="*/ 2611237 w 8079933"/>
              <a:gd name="connsiteY47068" fmla="*/ 215241 h 4687251"/>
              <a:gd name="connsiteX47069" fmla="*/ 2608742 w 8079933"/>
              <a:gd name="connsiteY47069" fmla="*/ 217190 h 4687251"/>
              <a:gd name="connsiteX47070" fmla="*/ 2600928 w 8079933"/>
              <a:gd name="connsiteY47070" fmla="*/ 225744 h 4687251"/>
              <a:gd name="connsiteX47071" fmla="*/ 2595936 w 8079933"/>
              <a:gd name="connsiteY47071" fmla="*/ 226610 h 4687251"/>
              <a:gd name="connsiteX47072" fmla="*/ 2584759 w 8079933"/>
              <a:gd name="connsiteY47072" fmla="*/ 231699 h 4687251"/>
              <a:gd name="connsiteX47073" fmla="*/ 2583349 w 8079933"/>
              <a:gd name="connsiteY47073" fmla="*/ 233972 h 4687251"/>
              <a:gd name="connsiteX47074" fmla="*/ 2586821 w 8079933"/>
              <a:gd name="connsiteY47074" fmla="*/ 234622 h 4687251"/>
              <a:gd name="connsiteX47075" fmla="*/ 2590836 w 8079933"/>
              <a:gd name="connsiteY47075" fmla="*/ 231915 h 4687251"/>
              <a:gd name="connsiteX47076" fmla="*/ 2595068 w 8079933"/>
              <a:gd name="connsiteY47076" fmla="*/ 231699 h 4687251"/>
              <a:gd name="connsiteX47077" fmla="*/ 2597998 w 8079933"/>
              <a:gd name="connsiteY47077" fmla="*/ 233864 h 4687251"/>
              <a:gd name="connsiteX47078" fmla="*/ 2598975 w 8079933"/>
              <a:gd name="connsiteY47078" fmla="*/ 230832 h 4687251"/>
              <a:gd name="connsiteX47079" fmla="*/ 2601471 w 8079933"/>
              <a:gd name="connsiteY47079" fmla="*/ 229208 h 4687251"/>
              <a:gd name="connsiteX47080" fmla="*/ 2603750 w 8079933"/>
              <a:gd name="connsiteY47080" fmla="*/ 229534 h 4687251"/>
              <a:gd name="connsiteX47081" fmla="*/ 2604726 w 8079933"/>
              <a:gd name="connsiteY47081" fmla="*/ 232998 h 4687251"/>
              <a:gd name="connsiteX47082" fmla="*/ 2610044 w 8079933"/>
              <a:gd name="connsiteY47082" fmla="*/ 237870 h 4687251"/>
              <a:gd name="connsiteX47083" fmla="*/ 2609501 w 8079933"/>
              <a:gd name="connsiteY47083" fmla="*/ 241551 h 4687251"/>
              <a:gd name="connsiteX47084" fmla="*/ 2604726 w 8079933"/>
              <a:gd name="connsiteY47084" fmla="*/ 244475 h 4687251"/>
              <a:gd name="connsiteX47085" fmla="*/ 2601037 w 8079933"/>
              <a:gd name="connsiteY47085" fmla="*/ 249022 h 4687251"/>
              <a:gd name="connsiteX47086" fmla="*/ 2601037 w 8079933"/>
              <a:gd name="connsiteY47086" fmla="*/ 252162 h 4687251"/>
              <a:gd name="connsiteX47087" fmla="*/ 2603641 w 8079933"/>
              <a:gd name="connsiteY47087" fmla="*/ 252162 h 4687251"/>
              <a:gd name="connsiteX47088" fmla="*/ 2609501 w 8079933"/>
              <a:gd name="connsiteY47088" fmla="*/ 245774 h 4687251"/>
              <a:gd name="connsiteX47089" fmla="*/ 2612431 w 8079933"/>
              <a:gd name="connsiteY47089" fmla="*/ 238953 h 4687251"/>
              <a:gd name="connsiteX47090" fmla="*/ 2614168 w 8079933"/>
              <a:gd name="connsiteY47090" fmla="*/ 238736 h 4687251"/>
              <a:gd name="connsiteX47091" fmla="*/ 2614493 w 8079933"/>
              <a:gd name="connsiteY47091" fmla="*/ 249997 h 4687251"/>
              <a:gd name="connsiteX47092" fmla="*/ 2612540 w 8079933"/>
              <a:gd name="connsiteY47092" fmla="*/ 255952 h 4687251"/>
              <a:gd name="connsiteX47093" fmla="*/ 2615578 w 8079933"/>
              <a:gd name="connsiteY47093" fmla="*/ 259199 h 4687251"/>
              <a:gd name="connsiteX47094" fmla="*/ 2614818 w 8079933"/>
              <a:gd name="connsiteY47094" fmla="*/ 262664 h 4687251"/>
              <a:gd name="connsiteX47095" fmla="*/ 2614818 w 8079933"/>
              <a:gd name="connsiteY47095" fmla="*/ 265696 h 4687251"/>
              <a:gd name="connsiteX47096" fmla="*/ 2612865 w 8079933"/>
              <a:gd name="connsiteY47096" fmla="*/ 269918 h 4687251"/>
              <a:gd name="connsiteX47097" fmla="*/ 2608307 w 8079933"/>
              <a:gd name="connsiteY47097" fmla="*/ 271650 h 4687251"/>
              <a:gd name="connsiteX47098" fmla="*/ 2604944 w 8079933"/>
              <a:gd name="connsiteY47098" fmla="*/ 275006 h 4687251"/>
              <a:gd name="connsiteX47099" fmla="*/ 2600819 w 8079933"/>
              <a:gd name="connsiteY47099" fmla="*/ 275331 h 4687251"/>
              <a:gd name="connsiteX47100" fmla="*/ 2593006 w 8079933"/>
              <a:gd name="connsiteY47100" fmla="*/ 277930 h 4687251"/>
              <a:gd name="connsiteX47101" fmla="*/ 2586279 w 8079933"/>
              <a:gd name="connsiteY47101" fmla="*/ 277064 h 4687251"/>
              <a:gd name="connsiteX47102" fmla="*/ 2581829 w 8079933"/>
              <a:gd name="connsiteY47102" fmla="*/ 277172 h 4687251"/>
              <a:gd name="connsiteX47103" fmla="*/ 2576838 w 8079933"/>
              <a:gd name="connsiteY47103" fmla="*/ 283885 h 4687251"/>
              <a:gd name="connsiteX47104" fmla="*/ 2573040 w 8079933"/>
              <a:gd name="connsiteY47104" fmla="*/ 285509 h 4687251"/>
              <a:gd name="connsiteX47105" fmla="*/ 2573040 w 8079933"/>
              <a:gd name="connsiteY47105" fmla="*/ 279770 h 4687251"/>
              <a:gd name="connsiteX47106" fmla="*/ 2574450 w 8079933"/>
              <a:gd name="connsiteY47106" fmla="*/ 278256 h 4687251"/>
              <a:gd name="connsiteX47107" fmla="*/ 2573907 w 8079933"/>
              <a:gd name="connsiteY47107" fmla="*/ 275331 h 4687251"/>
              <a:gd name="connsiteX47108" fmla="*/ 2570869 w 8079933"/>
              <a:gd name="connsiteY47108" fmla="*/ 276523 h 4687251"/>
              <a:gd name="connsiteX47109" fmla="*/ 2567831 w 8079933"/>
              <a:gd name="connsiteY47109" fmla="*/ 281286 h 4687251"/>
              <a:gd name="connsiteX47110" fmla="*/ 2567722 w 8079933"/>
              <a:gd name="connsiteY47110" fmla="*/ 287349 h 4687251"/>
              <a:gd name="connsiteX47111" fmla="*/ 2564792 w 8079933"/>
              <a:gd name="connsiteY47111" fmla="*/ 292656 h 4687251"/>
              <a:gd name="connsiteX47112" fmla="*/ 2555676 w 8079933"/>
              <a:gd name="connsiteY47112" fmla="*/ 300233 h 4687251"/>
              <a:gd name="connsiteX47113" fmla="*/ 2552095 w 8079933"/>
              <a:gd name="connsiteY47113" fmla="*/ 308029 h 4687251"/>
              <a:gd name="connsiteX47114" fmla="*/ 2549491 w 8079933"/>
              <a:gd name="connsiteY47114" fmla="*/ 310736 h 4687251"/>
              <a:gd name="connsiteX47115" fmla="*/ 2547864 w 8079933"/>
              <a:gd name="connsiteY47115" fmla="*/ 305214 h 4687251"/>
              <a:gd name="connsiteX47116" fmla="*/ 2545801 w 8079933"/>
              <a:gd name="connsiteY47116" fmla="*/ 301100 h 4687251"/>
              <a:gd name="connsiteX47117" fmla="*/ 2546669 w 8079933"/>
              <a:gd name="connsiteY47117" fmla="*/ 294279 h 4687251"/>
              <a:gd name="connsiteX47118" fmla="*/ 2550793 w 8079933"/>
              <a:gd name="connsiteY47118" fmla="*/ 288866 h 4687251"/>
              <a:gd name="connsiteX47119" fmla="*/ 2554157 w 8079933"/>
              <a:gd name="connsiteY47119" fmla="*/ 281178 h 4687251"/>
              <a:gd name="connsiteX47120" fmla="*/ 2557413 w 8079933"/>
              <a:gd name="connsiteY47120" fmla="*/ 279988 h 4687251"/>
              <a:gd name="connsiteX47121" fmla="*/ 2556545 w 8079933"/>
              <a:gd name="connsiteY47121" fmla="*/ 277605 h 4687251"/>
              <a:gd name="connsiteX47122" fmla="*/ 2556870 w 8079933"/>
              <a:gd name="connsiteY47122" fmla="*/ 273275 h 4687251"/>
              <a:gd name="connsiteX47123" fmla="*/ 2554592 w 8079933"/>
              <a:gd name="connsiteY47123" fmla="*/ 277064 h 4687251"/>
              <a:gd name="connsiteX47124" fmla="*/ 2549925 w 8079933"/>
              <a:gd name="connsiteY47124" fmla="*/ 278580 h 4687251"/>
              <a:gd name="connsiteX47125" fmla="*/ 2547864 w 8079933"/>
              <a:gd name="connsiteY47125" fmla="*/ 286484 h 4687251"/>
              <a:gd name="connsiteX47126" fmla="*/ 2541895 w 8079933"/>
              <a:gd name="connsiteY47126" fmla="*/ 291356 h 4687251"/>
              <a:gd name="connsiteX47127" fmla="*/ 2541895 w 8079933"/>
              <a:gd name="connsiteY47127" fmla="*/ 295795 h 4687251"/>
              <a:gd name="connsiteX47128" fmla="*/ 2543414 w 8079933"/>
              <a:gd name="connsiteY47128" fmla="*/ 298393 h 4687251"/>
              <a:gd name="connsiteX47129" fmla="*/ 2543414 w 8079933"/>
              <a:gd name="connsiteY47129" fmla="*/ 304890 h 4687251"/>
              <a:gd name="connsiteX47130" fmla="*/ 2538314 w 8079933"/>
              <a:gd name="connsiteY47130" fmla="*/ 306946 h 4687251"/>
              <a:gd name="connsiteX47131" fmla="*/ 2538314 w 8079933"/>
              <a:gd name="connsiteY47131" fmla="*/ 308354 h 4687251"/>
              <a:gd name="connsiteX47132" fmla="*/ 2542871 w 8079933"/>
              <a:gd name="connsiteY47132" fmla="*/ 309329 h 4687251"/>
              <a:gd name="connsiteX47133" fmla="*/ 2543414 w 8079933"/>
              <a:gd name="connsiteY47133" fmla="*/ 314200 h 4687251"/>
              <a:gd name="connsiteX47134" fmla="*/ 2539290 w 8079933"/>
              <a:gd name="connsiteY47134" fmla="*/ 317125 h 4687251"/>
              <a:gd name="connsiteX47135" fmla="*/ 2534298 w 8079933"/>
              <a:gd name="connsiteY47135" fmla="*/ 321888 h 4687251"/>
              <a:gd name="connsiteX47136" fmla="*/ 2530284 w 8079933"/>
              <a:gd name="connsiteY47136" fmla="*/ 321022 h 4687251"/>
              <a:gd name="connsiteX47137" fmla="*/ 2530284 w 8079933"/>
              <a:gd name="connsiteY47137" fmla="*/ 318098 h 4687251"/>
              <a:gd name="connsiteX47138" fmla="*/ 2532562 w 8079933"/>
              <a:gd name="connsiteY47138" fmla="*/ 312468 h 4687251"/>
              <a:gd name="connsiteX47139" fmla="*/ 2531694 w 8079933"/>
              <a:gd name="connsiteY47139" fmla="*/ 308462 h 4687251"/>
              <a:gd name="connsiteX47140" fmla="*/ 2528981 w 8079933"/>
              <a:gd name="connsiteY47140" fmla="*/ 310195 h 4687251"/>
              <a:gd name="connsiteX47141" fmla="*/ 2525509 w 8079933"/>
              <a:gd name="connsiteY47141" fmla="*/ 322104 h 4687251"/>
              <a:gd name="connsiteX47142" fmla="*/ 2517913 w 8079933"/>
              <a:gd name="connsiteY47142" fmla="*/ 330008 h 4687251"/>
              <a:gd name="connsiteX47143" fmla="*/ 2515200 w 8079933"/>
              <a:gd name="connsiteY47143" fmla="*/ 335096 h 4687251"/>
              <a:gd name="connsiteX47144" fmla="*/ 2512052 w 8079933"/>
              <a:gd name="connsiteY47144" fmla="*/ 337912 h 4687251"/>
              <a:gd name="connsiteX47145" fmla="*/ 2510859 w 8079933"/>
              <a:gd name="connsiteY47145" fmla="*/ 336180 h 4687251"/>
              <a:gd name="connsiteX47146" fmla="*/ 2511510 w 8079933"/>
              <a:gd name="connsiteY47146" fmla="*/ 333257 h 4687251"/>
              <a:gd name="connsiteX47147" fmla="*/ 2509339 w 8079933"/>
              <a:gd name="connsiteY47147" fmla="*/ 328601 h 4687251"/>
              <a:gd name="connsiteX47148" fmla="*/ 2511184 w 8079933"/>
              <a:gd name="connsiteY47148" fmla="*/ 319831 h 4687251"/>
              <a:gd name="connsiteX47149" fmla="*/ 2509774 w 8079933"/>
              <a:gd name="connsiteY47149" fmla="*/ 315933 h 4687251"/>
              <a:gd name="connsiteX47150" fmla="*/ 2511076 w 8079933"/>
              <a:gd name="connsiteY47150" fmla="*/ 309329 h 4687251"/>
              <a:gd name="connsiteX47151" fmla="*/ 2516502 w 8079933"/>
              <a:gd name="connsiteY47151" fmla="*/ 300233 h 4687251"/>
              <a:gd name="connsiteX47152" fmla="*/ 2516502 w 8079933"/>
              <a:gd name="connsiteY47152" fmla="*/ 294062 h 4687251"/>
              <a:gd name="connsiteX47153" fmla="*/ 2514332 w 8079933"/>
              <a:gd name="connsiteY47153" fmla="*/ 299260 h 4687251"/>
              <a:gd name="connsiteX47154" fmla="*/ 2509014 w 8079933"/>
              <a:gd name="connsiteY47154" fmla="*/ 304565 h 4687251"/>
              <a:gd name="connsiteX47155" fmla="*/ 2507061 w 8079933"/>
              <a:gd name="connsiteY47155" fmla="*/ 311061 h 4687251"/>
              <a:gd name="connsiteX47156" fmla="*/ 2507603 w 8079933"/>
              <a:gd name="connsiteY47156" fmla="*/ 320913 h 4687251"/>
              <a:gd name="connsiteX47157" fmla="*/ 2503480 w 8079933"/>
              <a:gd name="connsiteY47157" fmla="*/ 332173 h 4687251"/>
              <a:gd name="connsiteX47158" fmla="*/ 2501526 w 8079933"/>
              <a:gd name="connsiteY47158" fmla="*/ 333473 h 4687251"/>
              <a:gd name="connsiteX47159" fmla="*/ 2500550 w 8079933"/>
              <a:gd name="connsiteY47159" fmla="*/ 328492 h 4687251"/>
              <a:gd name="connsiteX47160" fmla="*/ 2501743 w 8079933"/>
              <a:gd name="connsiteY47160" fmla="*/ 324270 h 4687251"/>
              <a:gd name="connsiteX47161" fmla="*/ 2500550 w 8079933"/>
              <a:gd name="connsiteY47161" fmla="*/ 320155 h 4687251"/>
              <a:gd name="connsiteX47162" fmla="*/ 2493930 w 8079933"/>
              <a:gd name="connsiteY47162" fmla="*/ 319614 h 4687251"/>
              <a:gd name="connsiteX47163" fmla="*/ 2495015 w 8079933"/>
              <a:gd name="connsiteY47163" fmla="*/ 323837 h 4687251"/>
              <a:gd name="connsiteX47164" fmla="*/ 2493062 w 8079933"/>
              <a:gd name="connsiteY47164" fmla="*/ 328275 h 4687251"/>
              <a:gd name="connsiteX47165" fmla="*/ 2488830 w 8079933"/>
              <a:gd name="connsiteY47165" fmla="*/ 330008 h 4687251"/>
              <a:gd name="connsiteX47166" fmla="*/ 2479172 w 8079933"/>
              <a:gd name="connsiteY47166" fmla="*/ 323296 h 4687251"/>
              <a:gd name="connsiteX47167" fmla="*/ 2472769 w 8079933"/>
              <a:gd name="connsiteY47167" fmla="*/ 321239 h 4687251"/>
              <a:gd name="connsiteX47168" fmla="*/ 2472769 w 8079933"/>
              <a:gd name="connsiteY47168" fmla="*/ 314200 h 4687251"/>
              <a:gd name="connsiteX47169" fmla="*/ 2469188 w 8079933"/>
              <a:gd name="connsiteY47169" fmla="*/ 313011 h 4687251"/>
              <a:gd name="connsiteX47170" fmla="*/ 2466258 w 8079933"/>
              <a:gd name="connsiteY47170" fmla="*/ 315500 h 4687251"/>
              <a:gd name="connsiteX47171" fmla="*/ 2465933 w 8079933"/>
              <a:gd name="connsiteY47171" fmla="*/ 304890 h 4687251"/>
              <a:gd name="connsiteX47172" fmla="*/ 2467994 w 8079933"/>
              <a:gd name="connsiteY47172" fmla="*/ 301641 h 4687251"/>
              <a:gd name="connsiteX47173" fmla="*/ 2464848 w 8079933"/>
              <a:gd name="connsiteY47173" fmla="*/ 303374 h 4687251"/>
              <a:gd name="connsiteX47174" fmla="*/ 2463003 w 8079933"/>
              <a:gd name="connsiteY47174" fmla="*/ 300450 h 4687251"/>
              <a:gd name="connsiteX47175" fmla="*/ 2463654 w 8079933"/>
              <a:gd name="connsiteY47175" fmla="*/ 292005 h 4687251"/>
              <a:gd name="connsiteX47176" fmla="*/ 2469839 w 8079933"/>
              <a:gd name="connsiteY47176" fmla="*/ 291140 h 4687251"/>
              <a:gd name="connsiteX47177" fmla="*/ 2473854 w 8079933"/>
              <a:gd name="connsiteY47177" fmla="*/ 295578 h 4687251"/>
              <a:gd name="connsiteX47178" fmla="*/ 2476350 w 8079933"/>
              <a:gd name="connsiteY47178" fmla="*/ 293737 h 4687251"/>
              <a:gd name="connsiteX47179" fmla="*/ 2480148 w 8079933"/>
              <a:gd name="connsiteY47179" fmla="*/ 292872 h 4687251"/>
              <a:gd name="connsiteX47180" fmla="*/ 2476784 w 8079933"/>
              <a:gd name="connsiteY47180" fmla="*/ 291789 h 4687251"/>
              <a:gd name="connsiteX47181" fmla="*/ 2473529 w 8079933"/>
              <a:gd name="connsiteY47181" fmla="*/ 286484 h 4687251"/>
              <a:gd name="connsiteX47182" fmla="*/ 2470707 w 8079933"/>
              <a:gd name="connsiteY47182" fmla="*/ 286158 h 4687251"/>
              <a:gd name="connsiteX47183" fmla="*/ 2469188 w 8079933"/>
              <a:gd name="connsiteY47183" fmla="*/ 287999 h 4687251"/>
              <a:gd name="connsiteX47184" fmla="*/ 2465716 w 8079933"/>
              <a:gd name="connsiteY47184" fmla="*/ 287025 h 4687251"/>
              <a:gd name="connsiteX47185" fmla="*/ 2465065 w 8079933"/>
              <a:gd name="connsiteY47185" fmla="*/ 280962 h 4687251"/>
              <a:gd name="connsiteX47186" fmla="*/ 2467778 w 8079933"/>
              <a:gd name="connsiteY47186" fmla="*/ 270460 h 4687251"/>
              <a:gd name="connsiteX47187" fmla="*/ 2470707 w 8079933"/>
              <a:gd name="connsiteY47187" fmla="*/ 270893 h 4687251"/>
              <a:gd name="connsiteX47188" fmla="*/ 2473529 w 8079933"/>
              <a:gd name="connsiteY47188" fmla="*/ 278364 h 4687251"/>
              <a:gd name="connsiteX47189" fmla="*/ 2475157 w 8079933"/>
              <a:gd name="connsiteY47189" fmla="*/ 276198 h 4687251"/>
              <a:gd name="connsiteX47190" fmla="*/ 2475374 w 8079933"/>
              <a:gd name="connsiteY47190" fmla="*/ 270893 h 4687251"/>
              <a:gd name="connsiteX47191" fmla="*/ 2470056 w 8079933"/>
              <a:gd name="connsiteY47191" fmla="*/ 266020 h 4687251"/>
              <a:gd name="connsiteX47192" fmla="*/ 2471359 w 8079933"/>
              <a:gd name="connsiteY47192" fmla="*/ 257575 h 4687251"/>
              <a:gd name="connsiteX47193" fmla="*/ 2474614 w 8079933"/>
              <a:gd name="connsiteY47193" fmla="*/ 254869 h 4687251"/>
              <a:gd name="connsiteX47194" fmla="*/ 2481885 w 8079933"/>
              <a:gd name="connsiteY47194" fmla="*/ 254544 h 4687251"/>
              <a:gd name="connsiteX47195" fmla="*/ 2485140 w 8079933"/>
              <a:gd name="connsiteY47195" fmla="*/ 251079 h 4687251"/>
              <a:gd name="connsiteX47196" fmla="*/ 2487962 w 8079933"/>
              <a:gd name="connsiteY47196" fmla="*/ 249022 h 4687251"/>
              <a:gd name="connsiteX47197" fmla="*/ 2494473 w 8079933"/>
              <a:gd name="connsiteY47197" fmla="*/ 254869 h 4687251"/>
              <a:gd name="connsiteX47198" fmla="*/ 2499139 w 8079933"/>
              <a:gd name="connsiteY47198" fmla="*/ 256384 h 4687251"/>
              <a:gd name="connsiteX47199" fmla="*/ 2501852 w 8079933"/>
              <a:gd name="connsiteY47199" fmla="*/ 259849 h 4687251"/>
              <a:gd name="connsiteX47200" fmla="*/ 2508254 w 8079933"/>
              <a:gd name="connsiteY47200" fmla="*/ 260174 h 4687251"/>
              <a:gd name="connsiteX47201" fmla="*/ 2517587 w 8079933"/>
              <a:gd name="connsiteY47201" fmla="*/ 261364 h 4687251"/>
              <a:gd name="connsiteX47202" fmla="*/ 2520734 w 8079933"/>
              <a:gd name="connsiteY47202" fmla="*/ 262989 h 4687251"/>
              <a:gd name="connsiteX47203" fmla="*/ 2531043 w 8079933"/>
              <a:gd name="connsiteY47203" fmla="*/ 261040 h 4687251"/>
              <a:gd name="connsiteX47204" fmla="*/ 2527787 w 8079933"/>
              <a:gd name="connsiteY47204" fmla="*/ 258874 h 4687251"/>
              <a:gd name="connsiteX47205" fmla="*/ 2518238 w 8079933"/>
              <a:gd name="connsiteY47205" fmla="*/ 258874 h 4687251"/>
              <a:gd name="connsiteX47206" fmla="*/ 2508797 w 8079933"/>
              <a:gd name="connsiteY47206" fmla="*/ 257575 h 4687251"/>
              <a:gd name="connsiteX47207" fmla="*/ 2502611 w 8079933"/>
              <a:gd name="connsiteY47207" fmla="*/ 254652 h 4687251"/>
              <a:gd name="connsiteX47208" fmla="*/ 2502937 w 8079933"/>
              <a:gd name="connsiteY47208" fmla="*/ 251945 h 4687251"/>
              <a:gd name="connsiteX47209" fmla="*/ 2508797 w 8079933"/>
              <a:gd name="connsiteY47209" fmla="*/ 249671 h 4687251"/>
              <a:gd name="connsiteX47210" fmla="*/ 2515308 w 8079933"/>
              <a:gd name="connsiteY47210" fmla="*/ 254002 h 4687251"/>
              <a:gd name="connsiteX47211" fmla="*/ 2520191 w 8079933"/>
              <a:gd name="connsiteY47211" fmla="*/ 253461 h 4687251"/>
              <a:gd name="connsiteX47212" fmla="*/ 2529958 w 8079933"/>
              <a:gd name="connsiteY47212" fmla="*/ 253895 h 4687251"/>
              <a:gd name="connsiteX47213" fmla="*/ 2528547 w 8079933"/>
              <a:gd name="connsiteY47213" fmla="*/ 251729 h 4687251"/>
              <a:gd name="connsiteX47214" fmla="*/ 2517262 w 8079933"/>
              <a:gd name="connsiteY47214" fmla="*/ 249022 h 4687251"/>
              <a:gd name="connsiteX47215" fmla="*/ 2511727 w 8079933"/>
              <a:gd name="connsiteY47215" fmla="*/ 245124 h 4687251"/>
              <a:gd name="connsiteX47216" fmla="*/ 2506518 w 8079933"/>
              <a:gd name="connsiteY47216" fmla="*/ 246316 h 4687251"/>
              <a:gd name="connsiteX47217" fmla="*/ 2502937 w 8079933"/>
              <a:gd name="connsiteY47217" fmla="*/ 245774 h 4687251"/>
              <a:gd name="connsiteX47218" fmla="*/ 2502937 w 8079933"/>
              <a:gd name="connsiteY47218" fmla="*/ 241768 h 4687251"/>
              <a:gd name="connsiteX47219" fmla="*/ 2507278 w 8079933"/>
              <a:gd name="connsiteY47219" fmla="*/ 241443 h 4687251"/>
              <a:gd name="connsiteX47220" fmla="*/ 2505541 w 8079933"/>
              <a:gd name="connsiteY47220" fmla="*/ 238736 h 4687251"/>
              <a:gd name="connsiteX47221" fmla="*/ 2498813 w 8079933"/>
              <a:gd name="connsiteY47221" fmla="*/ 238844 h 4687251"/>
              <a:gd name="connsiteX47222" fmla="*/ 2495884 w 8079933"/>
              <a:gd name="connsiteY47222" fmla="*/ 237545 h 4687251"/>
              <a:gd name="connsiteX47223" fmla="*/ 2498271 w 8079933"/>
              <a:gd name="connsiteY47223" fmla="*/ 234946 h 4687251"/>
              <a:gd name="connsiteX47224" fmla="*/ 2498162 w 8079933"/>
              <a:gd name="connsiteY47224" fmla="*/ 232132 h 4687251"/>
              <a:gd name="connsiteX47225" fmla="*/ 2493605 w 8079933"/>
              <a:gd name="connsiteY47225" fmla="*/ 235488 h 4687251"/>
              <a:gd name="connsiteX47226" fmla="*/ 2490892 w 8079933"/>
              <a:gd name="connsiteY47226" fmla="*/ 235271 h 4687251"/>
              <a:gd name="connsiteX47227" fmla="*/ 2486876 w 8079933"/>
              <a:gd name="connsiteY47227" fmla="*/ 239061 h 4687251"/>
              <a:gd name="connsiteX47228" fmla="*/ 2483404 w 8079933"/>
              <a:gd name="connsiteY47228" fmla="*/ 239061 h 4687251"/>
              <a:gd name="connsiteX47229" fmla="*/ 2481559 w 8079933"/>
              <a:gd name="connsiteY47229" fmla="*/ 236788 h 4687251"/>
              <a:gd name="connsiteX47230" fmla="*/ 2484163 w 8079933"/>
              <a:gd name="connsiteY47230" fmla="*/ 232024 h 4687251"/>
              <a:gd name="connsiteX47231" fmla="*/ 2488396 w 8079933"/>
              <a:gd name="connsiteY47231" fmla="*/ 231807 h 4687251"/>
              <a:gd name="connsiteX47232" fmla="*/ 2489156 w 8079933"/>
              <a:gd name="connsiteY47232" fmla="*/ 227909 h 4687251"/>
              <a:gd name="connsiteX47233" fmla="*/ 2486876 w 8079933"/>
              <a:gd name="connsiteY47233" fmla="*/ 225419 h 4687251"/>
              <a:gd name="connsiteX47234" fmla="*/ 2482970 w 8079933"/>
              <a:gd name="connsiteY47234" fmla="*/ 229642 h 4687251"/>
              <a:gd name="connsiteX47235" fmla="*/ 2477110 w 8079933"/>
              <a:gd name="connsiteY47235" fmla="*/ 229208 h 4687251"/>
              <a:gd name="connsiteX47236" fmla="*/ 2473963 w 8079933"/>
              <a:gd name="connsiteY47236" fmla="*/ 231157 h 4687251"/>
              <a:gd name="connsiteX47237" fmla="*/ 2471359 w 8079933"/>
              <a:gd name="connsiteY47237" fmla="*/ 228776 h 4687251"/>
              <a:gd name="connsiteX47238" fmla="*/ 2471792 w 8079933"/>
              <a:gd name="connsiteY47238" fmla="*/ 224986 h 4687251"/>
              <a:gd name="connsiteX47239" fmla="*/ 2474505 w 8079933"/>
              <a:gd name="connsiteY47239" fmla="*/ 223795 h 4687251"/>
              <a:gd name="connsiteX47240" fmla="*/ 2475157 w 8079933"/>
              <a:gd name="connsiteY47240" fmla="*/ 221196 h 4687251"/>
              <a:gd name="connsiteX47241" fmla="*/ 2472552 w 8079933"/>
              <a:gd name="connsiteY47241" fmla="*/ 217948 h 4687251"/>
              <a:gd name="connsiteX47242" fmla="*/ 2473312 w 8079933"/>
              <a:gd name="connsiteY47242" fmla="*/ 214267 h 4687251"/>
              <a:gd name="connsiteX47243" fmla="*/ 2479497 w 8079933"/>
              <a:gd name="connsiteY47243" fmla="*/ 206038 h 4687251"/>
              <a:gd name="connsiteX47244" fmla="*/ 2483946 w 8079933"/>
              <a:gd name="connsiteY47244" fmla="*/ 205714 h 4687251"/>
              <a:gd name="connsiteX47245" fmla="*/ 2486443 w 8079933"/>
              <a:gd name="connsiteY47245" fmla="*/ 206904 h 4687251"/>
              <a:gd name="connsiteX47246" fmla="*/ 2493605 w 8079933"/>
              <a:gd name="connsiteY47246" fmla="*/ 206688 h 4687251"/>
              <a:gd name="connsiteX47247" fmla="*/ 2498597 w 8079933"/>
              <a:gd name="connsiteY47247" fmla="*/ 208420 h 4687251"/>
              <a:gd name="connsiteX47248" fmla="*/ 2501852 w 8079933"/>
              <a:gd name="connsiteY47248" fmla="*/ 206580 h 4687251"/>
              <a:gd name="connsiteX47249" fmla="*/ 2501852 w 8079933"/>
              <a:gd name="connsiteY47249" fmla="*/ 204522 h 4687251"/>
              <a:gd name="connsiteX47250" fmla="*/ 2497620 w 8079933"/>
              <a:gd name="connsiteY47250" fmla="*/ 205930 h 4687251"/>
              <a:gd name="connsiteX47251" fmla="*/ 2493496 w 8079933"/>
              <a:gd name="connsiteY47251" fmla="*/ 203657 h 4687251"/>
              <a:gd name="connsiteX47252" fmla="*/ 2486226 w 8079933"/>
              <a:gd name="connsiteY47252" fmla="*/ 203115 h 4687251"/>
              <a:gd name="connsiteX47253" fmla="*/ 2483078 w 8079933"/>
              <a:gd name="connsiteY47253" fmla="*/ 200408 h 4687251"/>
              <a:gd name="connsiteX47254" fmla="*/ 2482970 w 8079933"/>
              <a:gd name="connsiteY47254" fmla="*/ 190231 h 4687251"/>
              <a:gd name="connsiteX47255" fmla="*/ 2485683 w 8079933"/>
              <a:gd name="connsiteY47255" fmla="*/ 188715 h 4687251"/>
              <a:gd name="connsiteX47256" fmla="*/ 2485683 w 8079933"/>
              <a:gd name="connsiteY47256" fmla="*/ 182327 h 4687251"/>
              <a:gd name="connsiteX47257" fmla="*/ 2488613 w 8079933"/>
              <a:gd name="connsiteY47257" fmla="*/ 183843 h 4687251"/>
              <a:gd name="connsiteX47258" fmla="*/ 2492302 w 8079933"/>
              <a:gd name="connsiteY47258" fmla="*/ 181677 h 4687251"/>
              <a:gd name="connsiteX47259" fmla="*/ 2490024 w 8079933"/>
              <a:gd name="connsiteY47259" fmla="*/ 174423 h 4687251"/>
              <a:gd name="connsiteX47260" fmla="*/ 2492302 w 8079933"/>
              <a:gd name="connsiteY47260" fmla="*/ 171825 h 4687251"/>
              <a:gd name="connsiteX47261" fmla="*/ 2491543 w 8079933"/>
              <a:gd name="connsiteY47261" fmla="*/ 169551 h 4687251"/>
              <a:gd name="connsiteX47262" fmla="*/ 2493605 w 8079933"/>
              <a:gd name="connsiteY47262" fmla="*/ 164463 h 4687251"/>
              <a:gd name="connsiteX47263" fmla="*/ 2495341 w 8079933"/>
              <a:gd name="connsiteY47263" fmla="*/ 164463 h 4687251"/>
              <a:gd name="connsiteX47264" fmla="*/ 2496860 w 8079933"/>
              <a:gd name="connsiteY47264" fmla="*/ 167061 h 4687251"/>
              <a:gd name="connsiteX47265" fmla="*/ 2500333 w 8079933"/>
              <a:gd name="connsiteY47265" fmla="*/ 168360 h 4687251"/>
              <a:gd name="connsiteX47266" fmla="*/ 2504782 w 8079933"/>
              <a:gd name="connsiteY47266" fmla="*/ 174965 h 4687251"/>
              <a:gd name="connsiteX47267" fmla="*/ 2517913 w 8079933"/>
              <a:gd name="connsiteY47267" fmla="*/ 177672 h 4687251"/>
              <a:gd name="connsiteX47268" fmla="*/ 2524098 w 8079933"/>
              <a:gd name="connsiteY47268" fmla="*/ 182869 h 4687251"/>
              <a:gd name="connsiteX47269" fmla="*/ 2526919 w 8079933"/>
              <a:gd name="connsiteY47269" fmla="*/ 182111 h 4687251"/>
              <a:gd name="connsiteX47270" fmla="*/ 2528547 w 8079933"/>
              <a:gd name="connsiteY47270" fmla="*/ 174965 h 4687251"/>
              <a:gd name="connsiteX47271" fmla="*/ 2532562 w 8079933"/>
              <a:gd name="connsiteY47271" fmla="*/ 172041 h 4687251"/>
              <a:gd name="connsiteX47272" fmla="*/ 2532020 w 8079933"/>
              <a:gd name="connsiteY47272" fmla="*/ 168794 h 4687251"/>
              <a:gd name="connsiteX47273" fmla="*/ 2529632 w 8079933"/>
              <a:gd name="connsiteY47273" fmla="*/ 168577 h 4687251"/>
              <a:gd name="connsiteX47274" fmla="*/ 2527028 w 8079933"/>
              <a:gd name="connsiteY47274" fmla="*/ 171608 h 4687251"/>
              <a:gd name="connsiteX47275" fmla="*/ 2520734 w 8079933"/>
              <a:gd name="connsiteY47275" fmla="*/ 171825 h 4687251"/>
              <a:gd name="connsiteX47276" fmla="*/ 2516610 w 8079933"/>
              <a:gd name="connsiteY47276" fmla="*/ 169010 h 4687251"/>
              <a:gd name="connsiteX47277" fmla="*/ 2514657 w 8079933"/>
              <a:gd name="connsiteY47277" fmla="*/ 165221 h 4687251"/>
              <a:gd name="connsiteX47278" fmla="*/ 2508797 w 8079933"/>
              <a:gd name="connsiteY47278" fmla="*/ 161756 h 4687251"/>
              <a:gd name="connsiteX47279" fmla="*/ 2514332 w 8079933"/>
              <a:gd name="connsiteY47279" fmla="*/ 161864 h 4687251"/>
              <a:gd name="connsiteX47280" fmla="*/ 2515850 w 8079933"/>
              <a:gd name="connsiteY47280" fmla="*/ 161215 h 4687251"/>
              <a:gd name="connsiteX47281" fmla="*/ 2513789 w 8079933"/>
              <a:gd name="connsiteY47281" fmla="*/ 158725 h 4687251"/>
              <a:gd name="connsiteX47282" fmla="*/ 2508037 w 8079933"/>
              <a:gd name="connsiteY47282" fmla="*/ 157858 h 4687251"/>
              <a:gd name="connsiteX47283" fmla="*/ 2504348 w 8079933"/>
              <a:gd name="connsiteY47283" fmla="*/ 155043 h 4687251"/>
              <a:gd name="connsiteX47284" fmla="*/ 2502286 w 8079933"/>
              <a:gd name="connsiteY47284" fmla="*/ 148980 h 4687251"/>
              <a:gd name="connsiteX47285" fmla="*/ 2503263 w 8079933"/>
              <a:gd name="connsiteY47285" fmla="*/ 143891 h 4687251"/>
              <a:gd name="connsiteX47286" fmla="*/ 2500658 w 8079933"/>
              <a:gd name="connsiteY47286" fmla="*/ 137828 h 4687251"/>
              <a:gd name="connsiteX47287" fmla="*/ 2501960 w 8079933"/>
              <a:gd name="connsiteY47287" fmla="*/ 135338 h 4687251"/>
              <a:gd name="connsiteX47288" fmla="*/ 2504999 w 8079933"/>
              <a:gd name="connsiteY47288" fmla="*/ 135988 h 4687251"/>
              <a:gd name="connsiteX47289" fmla="*/ 2508254 w 8079933"/>
              <a:gd name="connsiteY47289" fmla="*/ 139777 h 4687251"/>
              <a:gd name="connsiteX47290" fmla="*/ 2509991 w 8079933"/>
              <a:gd name="connsiteY47290" fmla="*/ 139235 h 4687251"/>
              <a:gd name="connsiteX47291" fmla="*/ 2515308 w 8079933"/>
              <a:gd name="connsiteY47291" fmla="*/ 141076 h 4687251"/>
              <a:gd name="connsiteX47292" fmla="*/ 2518781 w 8079933"/>
              <a:gd name="connsiteY47292" fmla="*/ 143458 h 4687251"/>
              <a:gd name="connsiteX47293" fmla="*/ 2518781 w 8079933"/>
              <a:gd name="connsiteY47293" fmla="*/ 146598 h 4687251"/>
              <a:gd name="connsiteX47294" fmla="*/ 2520843 w 8079933"/>
              <a:gd name="connsiteY47294" fmla="*/ 148114 h 4687251"/>
              <a:gd name="connsiteX47295" fmla="*/ 2522904 w 8079933"/>
              <a:gd name="connsiteY47295" fmla="*/ 144109 h 4687251"/>
              <a:gd name="connsiteX47296" fmla="*/ 2520300 w 8079933"/>
              <a:gd name="connsiteY47296" fmla="*/ 139886 h 4687251"/>
              <a:gd name="connsiteX47297" fmla="*/ 2520843 w 8079933"/>
              <a:gd name="connsiteY47297" fmla="*/ 135554 h 4687251"/>
              <a:gd name="connsiteX47298" fmla="*/ 2525292 w 8079933"/>
              <a:gd name="connsiteY47298" fmla="*/ 133172 h 4687251"/>
              <a:gd name="connsiteX47299" fmla="*/ 2528547 w 8079933"/>
              <a:gd name="connsiteY47299" fmla="*/ 133821 h 4687251"/>
              <a:gd name="connsiteX47300" fmla="*/ 2533647 w 8079933"/>
              <a:gd name="connsiteY47300" fmla="*/ 137503 h 4687251"/>
              <a:gd name="connsiteX47301" fmla="*/ 2538314 w 8079933"/>
              <a:gd name="connsiteY47301" fmla="*/ 138153 h 4687251"/>
              <a:gd name="connsiteX47302" fmla="*/ 2541678 w 8079933"/>
              <a:gd name="connsiteY47302" fmla="*/ 140860 h 4687251"/>
              <a:gd name="connsiteX47303" fmla="*/ 2544825 w 8079933"/>
              <a:gd name="connsiteY47303" fmla="*/ 141076 h 4687251"/>
              <a:gd name="connsiteX47304" fmla="*/ 2544933 w 8079933"/>
              <a:gd name="connsiteY47304" fmla="*/ 137828 h 4687251"/>
              <a:gd name="connsiteX47305" fmla="*/ 2542329 w 8079933"/>
              <a:gd name="connsiteY47305" fmla="*/ 135229 h 4687251"/>
              <a:gd name="connsiteX47306" fmla="*/ 2543306 w 8079933"/>
              <a:gd name="connsiteY47306" fmla="*/ 131440 h 4687251"/>
              <a:gd name="connsiteX47307" fmla="*/ 2546887 w 8079933"/>
              <a:gd name="connsiteY47307" fmla="*/ 131765 h 4687251"/>
              <a:gd name="connsiteX47308" fmla="*/ 2546887 w 8079933"/>
              <a:gd name="connsiteY47308" fmla="*/ 129383 h 4687251"/>
              <a:gd name="connsiteX47309" fmla="*/ 2541569 w 8079933"/>
              <a:gd name="connsiteY47309" fmla="*/ 126243 h 4687251"/>
              <a:gd name="connsiteX47310" fmla="*/ 2540267 w 8079933"/>
              <a:gd name="connsiteY47310" fmla="*/ 120830 h 4687251"/>
              <a:gd name="connsiteX47311" fmla="*/ 2536360 w 8079933"/>
              <a:gd name="connsiteY47311" fmla="*/ 119422 h 4687251"/>
              <a:gd name="connsiteX47312" fmla="*/ 2535818 w 8079933"/>
              <a:gd name="connsiteY47312" fmla="*/ 116499 h 4687251"/>
              <a:gd name="connsiteX47313" fmla="*/ 2539073 w 8079933"/>
              <a:gd name="connsiteY47313" fmla="*/ 113576 h 4687251"/>
              <a:gd name="connsiteX47314" fmla="*/ 2541353 w 8079933"/>
              <a:gd name="connsiteY47314" fmla="*/ 107187 h 4687251"/>
              <a:gd name="connsiteX47315" fmla="*/ 2548406 w 8079933"/>
              <a:gd name="connsiteY47315" fmla="*/ 103615 h 4687251"/>
              <a:gd name="connsiteX47316" fmla="*/ 2554917 w 8079933"/>
              <a:gd name="connsiteY47316" fmla="*/ 110436 h 4687251"/>
              <a:gd name="connsiteX47317" fmla="*/ 2558715 w 8079933"/>
              <a:gd name="connsiteY47317" fmla="*/ 109136 h 4687251"/>
              <a:gd name="connsiteX47318" fmla="*/ 2562513 w 8079933"/>
              <a:gd name="connsiteY47318" fmla="*/ 105456 h 4687251"/>
              <a:gd name="connsiteX47319" fmla="*/ 2559258 w 8079933"/>
              <a:gd name="connsiteY47319" fmla="*/ 105022 h 4687251"/>
              <a:gd name="connsiteX47320" fmla="*/ 2556870 w 8079933"/>
              <a:gd name="connsiteY47320" fmla="*/ 100799 h 4687251"/>
              <a:gd name="connsiteX47321" fmla="*/ 2561645 w 8079933"/>
              <a:gd name="connsiteY47321" fmla="*/ 101883 h 4687251"/>
              <a:gd name="connsiteX47322" fmla="*/ 2565986 w 8079933"/>
              <a:gd name="connsiteY47322" fmla="*/ 101341 h 4687251"/>
              <a:gd name="connsiteX47323" fmla="*/ 2570652 w 8079933"/>
              <a:gd name="connsiteY47323" fmla="*/ 105130 h 4687251"/>
              <a:gd name="connsiteX47324" fmla="*/ 2574233 w 8079933"/>
              <a:gd name="connsiteY47324" fmla="*/ 105130 h 4687251"/>
              <a:gd name="connsiteX47325" fmla="*/ 2581504 w 8079933"/>
              <a:gd name="connsiteY47325" fmla="*/ 98093 h 4687251"/>
              <a:gd name="connsiteX47326" fmla="*/ 2581721 w 8079933"/>
              <a:gd name="connsiteY47326" fmla="*/ 94952 h 4687251"/>
              <a:gd name="connsiteX47327" fmla="*/ 2577706 w 8079933"/>
              <a:gd name="connsiteY47327" fmla="*/ 94303 h 4687251"/>
              <a:gd name="connsiteX47328" fmla="*/ 2575970 w 8079933"/>
              <a:gd name="connsiteY47328" fmla="*/ 90514 h 4687251"/>
              <a:gd name="connsiteX47329" fmla="*/ 2570327 w 8079933"/>
              <a:gd name="connsiteY47329" fmla="*/ 87807 h 4687251"/>
              <a:gd name="connsiteX47330" fmla="*/ 2566202 w 8079933"/>
              <a:gd name="connsiteY47330" fmla="*/ 89106 h 4687251"/>
              <a:gd name="connsiteX47331" fmla="*/ 2560994 w 8079933"/>
              <a:gd name="connsiteY47331" fmla="*/ 89323 h 4687251"/>
              <a:gd name="connsiteX47332" fmla="*/ 2558064 w 8079933"/>
              <a:gd name="connsiteY47332" fmla="*/ 86183 h 4687251"/>
              <a:gd name="connsiteX47333" fmla="*/ 2561319 w 8079933"/>
              <a:gd name="connsiteY47333" fmla="*/ 79903 h 4687251"/>
              <a:gd name="connsiteX47334" fmla="*/ 2561536 w 8079933"/>
              <a:gd name="connsiteY47334" fmla="*/ 74924 h 4687251"/>
              <a:gd name="connsiteX47335" fmla="*/ 3453868 w 8079933"/>
              <a:gd name="connsiteY47335" fmla="*/ 68318 h 4687251"/>
              <a:gd name="connsiteX47336" fmla="*/ 3459185 w 8079933"/>
              <a:gd name="connsiteY47336" fmla="*/ 69619 h 4687251"/>
              <a:gd name="connsiteX47337" fmla="*/ 3466781 w 8079933"/>
              <a:gd name="connsiteY47337" fmla="*/ 68968 h 4687251"/>
              <a:gd name="connsiteX47338" fmla="*/ 3470362 w 8079933"/>
              <a:gd name="connsiteY47338" fmla="*/ 70808 h 4687251"/>
              <a:gd name="connsiteX47339" fmla="*/ 3471339 w 8079933"/>
              <a:gd name="connsiteY47339" fmla="*/ 72324 h 4687251"/>
              <a:gd name="connsiteX47340" fmla="*/ 3473292 w 8079933"/>
              <a:gd name="connsiteY47340" fmla="*/ 72324 h 4687251"/>
              <a:gd name="connsiteX47341" fmla="*/ 3476222 w 8079933"/>
              <a:gd name="connsiteY47341" fmla="*/ 70159 h 4687251"/>
              <a:gd name="connsiteX47342" fmla="*/ 3480671 w 8079933"/>
              <a:gd name="connsiteY47342" fmla="*/ 72000 h 4687251"/>
              <a:gd name="connsiteX47343" fmla="*/ 3489136 w 8079933"/>
              <a:gd name="connsiteY47343" fmla="*/ 72000 h 4687251"/>
              <a:gd name="connsiteX47344" fmla="*/ 3491414 w 8079933"/>
              <a:gd name="connsiteY47344" fmla="*/ 74057 h 4687251"/>
              <a:gd name="connsiteX47345" fmla="*/ 3494345 w 8079933"/>
              <a:gd name="connsiteY47345" fmla="*/ 74057 h 4687251"/>
              <a:gd name="connsiteX47346" fmla="*/ 3497491 w 8079933"/>
              <a:gd name="connsiteY47346" fmla="*/ 72758 h 4687251"/>
              <a:gd name="connsiteX47347" fmla="*/ 3500096 w 8079933"/>
              <a:gd name="connsiteY47347" fmla="*/ 74706 h 4687251"/>
              <a:gd name="connsiteX47348" fmla="*/ 3501398 w 8079933"/>
              <a:gd name="connsiteY47348" fmla="*/ 77522 h 4687251"/>
              <a:gd name="connsiteX47349" fmla="*/ 3507801 w 8079933"/>
              <a:gd name="connsiteY47349" fmla="*/ 81961 h 4687251"/>
              <a:gd name="connsiteX47350" fmla="*/ 3510514 w 8079933"/>
              <a:gd name="connsiteY47350" fmla="*/ 80770 h 4687251"/>
              <a:gd name="connsiteX47351" fmla="*/ 3510514 w 8079933"/>
              <a:gd name="connsiteY47351" fmla="*/ 79254 h 4687251"/>
              <a:gd name="connsiteX47352" fmla="*/ 3512901 w 8079933"/>
              <a:gd name="connsiteY47352" fmla="*/ 79254 h 4687251"/>
              <a:gd name="connsiteX47353" fmla="*/ 3520388 w 8079933"/>
              <a:gd name="connsiteY47353" fmla="*/ 84018 h 4687251"/>
              <a:gd name="connsiteX47354" fmla="*/ 3523318 w 8079933"/>
              <a:gd name="connsiteY47354" fmla="*/ 84018 h 4687251"/>
              <a:gd name="connsiteX47355" fmla="*/ 3528419 w 8079933"/>
              <a:gd name="connsiteY47355" fmla="*/ 88890 h 4687251"/>
              <a:gd name="connsiteX47356" fmla="*/ 3537751 w 8079933"/>
              <a:gd name="connsiteY47356" fmla="*/ 89540 h 4687251"/>
              <a:gd name="connsiteX47357" fmla="*/ 3540356 w 8079933"/>
              <a:gd name="connsiteY47357" fmla="*/ 91163 h 4687251"/>
              <a:gd name="connsiteX47358" fmla="*/ 3545564 w 8079933"/>
              <a:gd name="connsiteY47358" fmla="*/ 90081 h 4687251"/>
              <a:gd name="connsiteX47359" fmla="*/ 3547192 w 8079933"/>
              <a:gd name="connsiteY47359" fmla="*/ 91705 h 4687251"/>
              <a:gd name="connsiteX47360" fmla="*/ 3549037 w 8079933"/>
              <a:gd name="connsiteY47360" fmla="*/ 94195 h 4687251"/>
              <a:gd name="connsiteX47361" fmla="*/ 3553595 w 8079933"/>
              <a:gd name="connsiteY47361" fmla="*/ 92679 h 4687251"/>
              <a:gd name="connsiteX47362" fmla="*/ 3557501 w 8079933"/>
              <a:gd name="connsiteY47362" fmla="*/ 93545 h 4687251"/>
              <a:gd name="connsiteX47363" fmla="*/ 3561083 w 8079933"/>
              <a:gd name="connsiteY47363" fmla="*/ 97010 h 4687251"/>
              <a:gd name="connsiteX47364" fmla="*/ 3568570 w 8079933"/>
              <a:gd name="connsiteY47364" fmla="*/ 99176 h 4687251"/>
              <a:gd name="connsiteX47365" fmla="*/ 3573453 w 8079933"/>
              <a:gd name="connsiteY47365" fmla="*/ 102748 h 4687251"/>
              <a:gd name="connsiteX47366" fmla="*/ 3575515 w 8079933"/>
              <a:gd name="connsiteY47366" fmla="*/ 107187 h 4687251"/>
              <a:gd name="connsiteX47367" fmla="*/ 3579096 w 8079933"/>
              <a:gd name="connsiteY47367" fmla="*/ 109136 h 4687251"/>
              <a:gd name="connsiteX47368" fmla="*/ 3585716 w 8079933"/>
              <a:gd name="connsiteY47368" fmla="*/ 113359 h 4687251"/>
              <a:gd name="connsiteX47369" fmla="*/ 3585716 w 8079933"/>
              <a:gd name="connsiteY47369" fmla="*/ 115957 h 4687251"/>
              <a:gd name="connsiteX47370" fmla="*/ 3583111 w 8079933"/>
              <a:gd name="connsiteY47370" fmla="*/ 119639 h 4687251"/>
              <a:gd name="connsiteX47371" fmla="*/ 3579096 w 8079933"/>
              <a:gd name="connsiteY47371" fmla="*/ 119639 h 4687251"/>
              <a:gd name="connsiteX47372" fmla="*/ 3575190 w 8079933"/>
              <a:gd name="connsiteY47372" fmla="*/ 118882 h 4687251"/>
              <a:gd name="connsiteX47373" fmla="*/ 3572042 w 8079933"/>
              <a:gd name="connsiteY47373" fmla="*/ 120830 h 4687251"/>
              <a:gd name="connsiteX47374" fmla="*/ 3569438 w 8079933"/>
              <a:gd name="connsiteY47374" fmla="*/ 123645 h 4687251"/>
              <a:gd name="connsiteX47375" fmla="*/ 3565206 w 8079933"/>
              <a:gd name="connsiteY47375" fmla="*/ 123645 h 4687251"/>
              <a:gd name="connsiteX47376" fmla="*/ 3563578 w 8079933"/>
              <a:gd name="connsiteY47376" fmla="*/ 123645 h 4687251"/>
              <a:gd name="connsiteX47377" fmla="*/ 3559129 w 8079933"/>
              <a:gd name="connsiteY47377" fmla="*/ 124945 h 4687251"/>
              <a:gd name="connsiteX47378" fmla="*/ 3554028 w 8079933"/>
              <a:gd name="connsiteY47378" fmla="*/ 124945 h 4687251"/>
              <a:gd name="connsiteX47379" fmla="*/ 3544913 w 8079933"/>
              <a:gd name="connsiteY47379" fmla="*/ 120613 h 4687251"/>
              <a:gd name="connsiteX47380" fmla="*/ 3540464 w 8079933"/>
              <a:gd name="connsiteY47380" fmla="*/ 119206 h 4687251"/>
              <a:gd name="connsiteX47381" fmla="*/ 3537643 w 8079933"/>
              <a:gd name="connsiteY47381" fmla="*/ 119206 h 4687251"/>
              <a:gd name="connsiteX47382" fmla="*/ 3533627 w 8079933"/>
              <a:gd name="connsiteY47382" fmla="*/ 117474 h 4687251"/>
              <a:gd name="connsiteX47383" fmla="*/ 3528419 w 8079933"/>
              <a:gd name="connsiteY47383" fmla="*/ 117474 h 4687251"/>
              <a:gd name="connsiteX47384" fmla="*/ 3526031 w 8079933"/>
              <a:gd name="connsiteY47384" fmla="*/ 119422 h 4687251"/>
              <a:gd name="connsiteX47385" fmla="*/ 3521908 w 8079933"/>
              <a:gd name="connsiteY47385" fmla="*/ 119422 h 4687251"/>
              <a:gd name="connsiteX47386" fmla="*/ 3520280 w 8079933"/>
              <a:gd name="connsiteY47386" fmla="*/ 117689 h 4687251"/>
              <a:gd name="connsiteX47387" fmla="*/ 3515397 w 8079933"/>
              <a:gd name="connsiteY47387" fmla="*/ 117689 h 4687251"/>
              <a:gd name="connsiteX47388" fmla="*/ 3508343 w 8079933"/>
              <a:gd name="connsiteY47388" fmla="*/ 121154 h 4687251"/>
              <a:gd name="connsiteX47389" fmla="*/ 3505088 w 8079933"/>
              <a:gd name="connsiteY47389" fmla="*/ 122454 h 4687251"/>
              <a:gd name="connsiteX47390" fmla="*/ 3501073 w 8079933"/>
              <a:gd name="connsiteY47390" fmla="*/ 120938 h 4687251"/>
              <a:gd name="connsiteX47391" fmla="*/ 3497383 w 8079933"/>
              <a:gd name="connsiteY47391" fmla="*/ 120938 h 4687251"/>
              <a:gd name="connsiteX47392" fmla="*/ 3491740 w 8079933"/>
              <a:gd name="connsiteY47392" fmla="*/ 123536 h 4687251"/>
              <a:gd name="connsiteX47393" fmla="*/ 3485229 w 8079933"/>
              <a:gd name="connsiteY47393" fmla="*/ 123536 h 4687251"/>
              <a:gd name="connsiteX47394" fmla="*/ 3482625 w 8079933"/>
              <a:gd name="connsiteY47394" fmla="*/ 120180 h 4687251"/>
              <a:gd name="connsiteX47395" fmla="*/ 3482625 w 8079933"/>
              <a:gd name="connsiteY47395" fmla="*/ 115524 h 4687251"/>
              <a:gd name="connsiteX47396" fmla="*/ 3487942 w 8079933"/>
              <a:gd name="connsiteY47396" fmla="*/ 113901 h 4687251"/>
              <a:gd name="connsiteX47397" fmla="*/ 3490221 w 8079933"/>
              <a:gd name="connsiteY47397" fmla="*/ 113901 h 4687251"/>
              <a:gd name="connsiteX47398" fmla="*/ 3491089 w 8079933"/>
              <a:gd name="connsiteY47398" fmla="*/ 111302 h 4687251"/>
              <a:gd name="connsiteX47399" fmla="*/ 3489679 w 8079933"/>
              <a:gd name="connsiteY47399" fmla="*/ 109677 h 4687251"/>
              <a:gd name="connsiteX47400" fmla="*/ 3486206 w 8079933"/>
              <a:gd name="connsiteY47400" fmla="*/ 109677 h 4687251"/>
              <a:gd name="connsiteX47401" fmla="*/ 3482625 w 8079933"/>
              <a:gd name="connsiteY47401" fmla="*/ 110544 h 4687251"/>
              <a:gd name="connsiteX47402" fmla="*/ 3478393 w 8079933"/>
              <a:gd name="connsiteY47402" fmla="*/ 114225 h 4687251"/>
              <a:gd name="connsiteX47403" fmla="*/ 3478393 w 8079933"/>
              <a:gd name="connsiteY47403" fmla="*/ 118231 h 4687251"/>
              <a:gd name="connsiteX47404" fmla="*/ 3481105 w 8079933"/>
              <a:gd name="connsiteY47404" fmla="*/ 121804 h 4687251"/>
              <a:gd name="connsiteX47405" fmla="*/ 3483818 w 8079933"/>
              <a:gd name="connsiteY47405" fmla="*/ 121804 h 4687251"/>
              <a:gd name="connsiteX47406" fmla="*/ 3482733 w 8079933"/>
              <a:gd name="connsiteY47406" fmla="*/ 124619 h 4687251"/>
              <a:gd name="connsiteX47407" fmla="*/ 3479478 w 8079933"/>
              <a:gd name="connsiteY47407" fmla="*/ 127001 h 4687251"/>
              <a:gd name="connsiteX47408" fmla="*/ 3476982 w 8079933"/>
              <a:gd name="connsiteY47408" fmla="*/ 127001 h 4687251"/>
              <a:gd name="connsiteX47409" fmla="*/ 3473400 w 8079933"/>
              <a:gd name="connsiteY47409" fmla="*/ 127001 h 4687251"/>
              <a:gd name="connsiteX47410" fmla="*/ 3468192 w 8079933"/>
              <a:gd name="connsiteY47410" fmla="*/ 127001 h 4687251"/>
              <a:gd name="connsiteX47411" fmla="*/ 3466781 w 8079933"/>
              <a:gd name="connsiteY47411" fmla="*/ 128409 h 4687251"/>
              <a:gd name="connsiteX47412" fmla="*/ 3462006 w 8079933"/>
              <a:gd name="connsiteY47412" fmla="*/ 128409 h 4687251"/>
              <a:gd name="connsiteX47413" fmla="*/ 3457015 w 8079933"/>
              <a:gd name="connsiteY47413" fmla="*/ 127001 h 4687251"/>
              <a:gd name="connsiteX47414" fmla="*/ 3450937 w 8079933"/>
              <a:gd name="connsiteY47414" fmla="*/ 127001 h 4687251"/>
              <a:gd name="connsiteX47415" fmla="*/ 3444969 w 8079933"/>
              <a:gd name="connsiteY47415" fmla="*/ 130032 h 4687251"/>
              <a:gd name="connsiteX47416" fmla="*/ 3436180 w 8079933"/>
              <a:gd name="connsiteY47416" fmla="*/ 135554 h 4687251"/>
              <a:gd name="connsiteX47417" fmla="*/ 3435420 w 8079933"/>
              <a:gd name="connsiteY47417" fmla="*/ 139128 h 4687251"/>
              <a:gd name="connsiteX47418" fmla="*/ 3435420 w 8079933"/>
              <a:gd name="connsiteY47418" fmla="*/ 145299 h 4687251"/>
              <a:gd name="connsiteX47419" fmla="*/ 3433467 w 8079933"/>
              <a:gd name="connsiteY47419" fmla="*/ 148872 h 4687251"/>
              <a:gd name="connsiteX47420" fmla="*/ 3433467 w 8079933"/>
              <a:gd name="connsiteY47420" fmla="*/ 151579 h 4687251"/>
              <a:gd name="connsiteX47421" fmla="*/ 3434769 w 8079933"/>
              <a:gd name="connsiteY47421" fmla="*/ 153203 h 4687251"/>
              <a:gd name="connsiteX47422" fmla="*/ 3438350 w 8079933"/>
              <a:gd name="connsiteY47422" fmla="*/ 151903 h 4687251"/>
              <a:gd name="connsiteX47423" fmla="*/ 3438350 w 8079933"/>
              <a:gd name="connsiteY47423" fmla="*/ 147464 h 4687251"/>
              <a:gd name="connsiteX47424" fmla="*/ 3439435 w 8079933"/>
              <a:gd name="connsiteY47424" fmla="*/ 144758 h 4687251"/>
              <a:gd name="connsiteX47425" fmla="*/ 3439435 w 8079933"/>
              <a:gd name="connsiteY47425" fmla="*/ 142918 h 4687251"/>
              <a:gd name="connsiteX47426" fmla="*/ 3441823 w 8079933"/>
              <a:gd name="connsiteY47426" fmla="*/ 140860 h 4687251"/>
              <a:gd name="connsiteX47427" fmla="*/ 3446706 w 8079933"/>
              <a:gd name="connsiteY47427" fmla="*/ 140860 h 4687251"/>
              <a:gd name="connsiteX47428" fmla="*/ 3449635 w 8079933"/>
              <a:gd name="connsiteY47428" fmla="*/ 140318 h 4687251"/>
              <a:gd name="connsiteX47429" fmla="*/ 3450504 w 8079933"/>
              <a:gd name="connsiteY47429" fmla="*/ 141835 h 4687251"/>
              <a:gd name="connsiteX47430" fmla="*/ 3449419 w 8079933"/>
              <a:gd name="connsiteY47430" fmla="*/ 144866 h 4687251"/>
              <a:gd name="connsiteX47431" fmla="*/ 3447682 w 8079933"/>
              <a:gd name="connsiteY47431" fmla="*/ 148872 h 4687251"/>
              <a:gd name="connsiteX47432" fmla="*/ 3447682 w 8079933"/>
              <a:gd name="connsiteY47432" fmla="*/ 150496 h 4687251"/>
              <a:gd name="connsiteX47433" fmla="*/ 3449093 w 8079933"/>
              <a:gd name="connsiteY47433" fmla="*/ 150496 h 4687251"/>
              <a:gd name="connsiteX47434" fmla="*/ 3451372 w 8079933"/>
              <a:gd name="connsiteY47434" fmla="*/ 147573 h 4687251"/>
              <a:gd name="connsiteX47435" fmla="*/ 3453000 w 8079933"/>
              <a:gd name="connsiteY47435" fmla="*/ 140752 h 4687251"/>
              <a:gd name="connsiteX47436" fmla="*/ 3456147 w 8079933"/>
              <a:gd name="connsiteY47436" fmla="*/ 136312 h 4687251"/>
              <a:gd name="connsiteX47437" fmla="*/ 3461138 w 8079933"/>
              <a:gd name="connsiteY47437" fmla="*/ 133713 h 4687251"/>
              <a:gd name="connsiteX47438" fmla="*/ 3464068 w 8079933"/>
              <a:gd name="connsiteY47438" fmla="*/ 133713 h 4687251"/>
              <a:gd name="connsiteX47439" fmla="*/ 3469928 w 8079933"/>
              <a:gd name="connsiteY47439" fmla="*/ 133713 h 4687251"/>
              <a:gd name="connsiteX47440" fmla="*/ 3474160 w 8079933"/>
              <a:gd name="connsiteY47440" fmla="*/ 133713 h 4687251"/>
              <a:gd name="connsiteX47441" fmla="*/ 3477525 w 8079933"/>
              <a:gd name="connsiteY47441" fmla="*/ 132523 h 4687251"/>
              <a:gd name="connsiteX47442" fmla="*/ 3479261 w 8079933"/>
              <a:gd name="connsiteY47442" fmla="*/ 133172 h 4687251"/>
              <a:gd name="connsiteX47443" fmla="*/ 3480671 w 8079933"/>
              <a:gd name="connsiteY47443" fmla="*/ 136096 h 4687251"/>
              <a:gd name="connsiteX47444" fmla="*/ 3483384 w 8079933"/>
              <a:gd name="connsiteY47444" fmla="*/ 141942 h 4687251"/>
              <a:gd name="connsiteX47445" fmla="*/ 3485446 w 8079933"/>
              <a:gd name="connsiteY47445" fmla="*/ 143458 h 4687251"/>
              <a:gd name="connsiteX47446" fmla="*/ 3487291 w 8079933"/>
              <a:gd name="connsiteY47446" fmla="*/ 143458 h 4687251"/>
              <a:gd name="connsiteX47447" fmla="*/ 3487291 w 8079933"/>
              <a:gd name="connsiteY47447" fmla="*/ 140643 h 4687251"/>
              <a:gd name="connsiteX47448" fmla="*/ 3485772 w 8079933"/>
              <a:gd name="connsiteY47448" fmla="*/ 134905 h 4687251"/>
              <a:gd name="connsiteX47449" fmla="*/ 3487291 w 8079933"/>
              <a:gd name="connsiteY47449" fmla="*/ 133713 h 4687251"/>
              <a:gd name="connsiteX47450" fmla="*/ 3492500 w 8079933"/>
              <a:gd name="connsiteY47450" fmla="*/ 132848 h 4687251"/>
              <a:gd name="connsiteX47451" fmla="*/ 3496406 w 8079933"/>
              <a:gd name="connsiteY47451" fmla="*/ 133606 h 4687251"/>
              <a:gd name="connsiteX47452" fmla="*/ 3502049 w 8079933"/>
              <a:gd name="connsiteY47452" fmla="*/ 132523 h 4687251"/>
              <a:gd name="connsiteX47453" fmla="*/ 3507909 w 8079933"/>
              <a:gd name="connsiteY47453" fmla="*/ 131982 h 4687251"/>
              <a:gd name="connsiteX47454" fmla="*/ 3514637 w 8079933"/>
              <a:gd name="connsiteY47454" fmla="*/ 129491 h 4687251"/>
              <a:gd name="connsiteX47455" fmla="*/ 3519195 w 8079933"/>
              <a:gd name="connsiteY47455" fmla="*/ 127975 h 4687251"/>
              <a:gd name="connsiteX47456" fmla="*/ 3527659 w 8079933"/>
              <a:gd name="connsiteY47456" fmla="*/ 127218 h 4687251"/>
              <a:gd name="connsiteX47457" fmla="*/ 3534062 w 8079933"/>
              <a:gd name="connsiteY47457" fmla="*/ 128517 h 4687251"/>
              <a:gd name="connsiteX47458" fmla="*/ 3538836 w 8079933"/>
              <a:gd name="connsiteY47458" fmla="*/ 131223 h 4687251"/>
              <a:gd name="connsiteX47459" fmla="*/ 3543068 w 8079933"/>
              <a:gd name="connsiteY47459" fmla="*/ 132307 h 4687251"/>
              <a:gd name="connsiteX47460" fmla="*/ 3546324 w 8079933"/>
              <a:gd name="connsiteY47460" fmla="*/ 134038 h 4687251"/>
              <a:gd name="connsiteX47461" fmla="*/ 3550773 w 8079933"/>
              <a:gd name="connsiteY47461" fmla="*/ 135121 h 4687251"/>
              <a:gd name="connsiteX47462" fmla="*/ 3554245 w 8079933"/>
              <a:gd name="connsiteY47462" fmla="*/ 137720 h 4687251"/>
              <a:gd name="connsiteX47463" fmla="*/ 3557067 w 8079933"/>
              <a:gd name="connsiteY47463" fmla="*/ 138803 h 4687251"/>
              <a:gd name="connsiteX47464" fmla="*/ 3559780 w 8079933"/>
              <a:gd name="connsiteY47464" fmla="*/ 137503 h 4687251"/>
              <a:gd name="connsiteX47465" fmla="*/ 3563361 w 8079933"/>
              <a:gd name="connsiteY47465" fmla="*/ 136638 h 4687251"/>
              <a:gd name="connsiteX47466" fmla="*/ 3565423 w 8079933"/>
              <a:gd name="connsiteY47466" fmla="*/ 137828 h 4687251"/>
              <a:gd name="connsiteX47467" fmla="*/ 3567051 w 8079933"/>
              <a:gd name="connsiteY47467" fmla="*/ 140318 h 4687251"/>
              <a:gd name="connsiteX47468" fmla="*/ 3569329 w 8079933"/>
              <a:gd name="connsiteY47468" fmla="*/ 140318 h 4687251"/>
              <a:gd name="connsiteX47469" fmla="*/ 3573345 w 8079933"/>
              <a:gd name="connsiteY47469" fmla="*/ 136854 h 4687251"/>
              <a:gd name="connsiteX47470" fmla="*/ 3576383 w 8079933"/>
              <a:gd name="connsiteY47470" fmla="*/ 136854 h 4687251"/>
              <a:gd name="connsiteX47471" fmla="*/ 3580615 w 8079933"/>
              <a:gd name="connsiteY47471" fmla="*/ 136854 h 4687251"/>
              <a:gd name="connsiteX47472" fmla="*/ 3586909 w 8079933"/>
              <a:gd name="connsiteY47472" fmla="*/ 133389 h 4687251"/>
              <a:gd name="connsiteX47473" fmla="*/ 3590382 w 8079933"/>
              <a:gd name="connsiteY47473" fmla="*/ 129816 h 4687251"/>
              <a:gd name="connsiteX47474" fmla="*/ 3592878 w 8079933"/>
              <a:gd name="connsiteY47474" fmla="*/ 129167 h 4687251"/>
              <a:gd name="connsiteX47475" fmla="*/ 3594831 w 8079933"/>
              <a:gd name="connsiteY47475" fmla="*/ 130249 h 4687251"/>
              <a:gd name="connsiteX47476" fmla="*/ 3597978 w 8079933"/>
              <a:gd name="connsiteY47476" fmla="*/ 134147 h 4687251"/>
              <a:gd name="connsiteX47477" fmla="*/ 3601993 w 8079933"/>
              <a:gd name="connsiteY47477" fmla="*/ 136854 h 4687251"/>
              <a:gd name="connsiteX47478" fmla="*/ 3601993 w 8079933"/>
              <a:gd name="connsiteY47478" fmla="*/ 138261 h 4687251"/>
              <a:gd name="connsiteX47479" fmla="*/ 3599823 w 8079933"/>
              <a:gd name="connsiteY47479" fmla="*/ 140752 h 4687251"/>
              <a:gd name="connsiteX47480" fmla="*/ 3599823 w 8079933"/>
              <a:gd name="connsiteY47480" fmla="*/ 142918 h 4687251"/>
              <a:gd name="connsiteX47481" fmla="*/ 3602101 w 8079933"/>
              <a:gd name="connsiteY47481" fmla="*/ 144432 h 4687251"/>
              <a:gd name="connsiteX47482" fmla="*/ 3603187 w 8079933"/>
              <a:gd name="connsiteY47482" fmla="*/ 146273 h 4687251"/>
              <a:gd name="connsiteX47483" fmla="*/ 3603187 w 8079933"/>
              <a:gd name="connsiteY47483" fmla="*/ 149305 h 4687251"/>
              <a:gd name="connsiteX47484" fmla="*/ 3596784 w 8079933"/>
              <a:gd name="connsiteY47484" fmla="*/ 154827 h 4687251"/>
              <a:gd name="connsiteX47485" fmla="*/ 3589839 w 8079933"/>
              <a:gd name="connsiteY47485" fmla="*/ 156885 h 4687251"/>
              <a:gd name="connsiteX47486" fmla="*/ 3586258 w 8079933"/>
              <a:gd name="connsiteY47486" fmla="*/ 155801 h 4687251"/>
              <a:gd name="connsiteX47487" fmla="*/ 3582351 w 8079933"/>
              <a:gd name="connsiteY47487" fmla="*/ 153528 h 4687251"/>
              <a:gd name="connsiteX47488" fmla="*/ 3579747 w 8079933"/>
              <a:gd name="connsiteY47488" fmla="*/ 150713 h 4687251"/>
              <a:gd name="connsiteX47489" fmla="*/ 3578228 w 8079933"/>
              <a:gd name="connsiteY47489" fmla="*/ 152011 h 4687251"/>
              <a:gd name="connsiteX47490" fmla="*/ 3578228 w 8079933"/>
              <a:gd name="connsiteY47490" fmla="*/ 155043 h 4687251"/>
              <a:gd name="connsiteX47491" fmla="*/ 3582243 w 8079933"/>
              <a:gd name="connsiteY47491" fmla="*/ 158616 h 4687251"/>
              <a:gd name="connsiteX47492" fmla="*/ 3582243 w 8079933"/>
              <a:gd name="connsiteY47492" fmla="*/ 160457 h 4687251"/>
              <a:gd name="connsiteX47493" fmla="*/ 3581592 w 8079933"/>
              <a:gd name="connsiteY47493" fmla="*/ 161540 h 4687251"/>
              <a:gd name="connsiteX47494" fmla="*/ 3577143 w 8079933"/>
              <a:gd name="connsiteY47494" fmla="*/ 160024 h 4687251"/>
              <a:gd name="connsiteX47495" fmla="*/ 3574647 w 8079933"/>
              <a:gd name="connsiteY47495" fmla="*/ 157425 h 4687251"/>
              <a:gd name="connsiteX47496" fmla="*/ 3572151 w 8079933"/>
              <a:gd name="connsiteY47496" fmla="*/ 157425 h 4687251"/>
              <a:gd name="connsiteX47497" fmla="*/ 3572151 w 8079933"/>
              <a:gd name="connsiteY47497" fmla="*/ 160132 h 4687251"/>
              <a:gd name="connsiteX47498" fmla="*/ 3573995 w 8079933"/>
              <a:gd name="connsiteY47498" fmla="*/ 162947 h 4687251"/>
              <a:gd name="connsiteX47499" fmla="*/ 3577468 w 8079933"/>
              <a:gd name="connsiteY47499" fmla="*/ 164354 h 4687251"/>
              <a:gd name="connsiteX47500" fmla="*/ 3582135 w 8079933"/>
              <a:gd name="connsiteY47500" fmla="*/ 164354 h 4687251"/>
              <a:gd name="connsiteX47501" fmla="*/ 3587017 w 8079933"/>
              <a:gd name="connsiteY47501" fmla="*/ 166519 h 4687251"/>
              <a:gd name="connsiteX47502" fmla="*/ 3590599 w 8079933"/>
              <a:gd name="connsiteY47502" fmla="*/ 165871 h 4687251"/>
              <a:gd name="connsiteX47503" fmla="*/ 3597544 w 8079933"/>
              <a:gd name="connsiteY47503" fmla="*/ 162514 h 4687251"/>
              <a:gd name="connsiteX47504" fmla="*/ 3600148 w 8079933"/>
              <a:gd name="connsiteY47504" fmla="*/ 162514 h 4687251"/>
              <a:gd name="connsiteX47505" fmla="*/ 3601993 w 8079933"/>
              <a:gd name="connsiteY47505" fmla="*/ 164354 h 4687251"/>
              <a:gd name="connsiteX47506" fmla="*/ 3601993 w 8079933"/>
              <a:gd name="connsiteY47506" fmla="*/ 162514 h 4687251"/>
              <a:gd name="connsiteX47507" fmla="*/ 3601993 w 8079933"/>
              <a:gd name="connsiteY47507" fmla="*/ 159374 h 4687251"/>
              <a:gd name="connsiteX47508" fmla="*/ 3605682 w 8079933"/>
              <a:gd name="connsiteY47508" fmla="*/ 158725 h 4687251"/>
              <a:gd name="connsiteX47509" fmla="*/ 3615558 w 8079933"/>
              <a:gd name="connsiteY47509" fmla="*/ 158725 h 4687251"/>
              <a:gd name="connsiteX47510" fmla="*/ 3617945 w 8079933"/>
              <a:gd name="connsiteY47510" fmla="*/ 160348 h 4687251"/>
              <a:gd name="connsiteX47511" fmla="*/ 3618596 w 8079933"/>
              <a:gd name="connsiteY47511" fmla="*/ 163056 h 4687251"/>
              <a:gd name="connsiteX47512" fmla="*/ 3620874 w 8079933"/>
              <a:gd name="connsiteY47512" fmla="*/ 164462 h 4687251"/>
              <a:gd name="connsiteX47513" fmla="*/ 3623587 w 8079933"/>
              <a:gd name="connsiteY47513" fmla="*/ 163705 h 4687251"/>
              <a:gd name="connsiteX47514" fmla="*/ 3624781 w 8079933"/>
              <a:gd name="connsiteY47514" fmla="*/ 162297 h 4687251"/>
              <a:gd name="connsiteX47515" fmla="*/ 3627060 w 8079933"/>
              <a:gd name="connsiteY47515" fmla="*/ 163272 h 4687251"/>
              <a:gd name="connsiteX47516" fmla="*/ 3628145 w 8079933"/>
              <a:gd name="connsiteY47516" fmla="*/ 166412 h 4687251"/>
              <a:gd name="connsiteX47517" fmla="*/ 3630967 w 8079933"/>
              <a:gd name="connsiteY47517" fmla="*/ 169227 h 4687251"/>
              <a:gd name="connsiteX47518" fmla="*/ 3637478 w 8079933"/>
              <a:gd name="connsiteY47518" fmla="*/ 170309 h 4687251"/>
              <a:gd name="connsiteX47519" fmla="*/ 3639974 w 8079933"/>
              <a:gd name="connsiteY47519" fmla="*/ 172583 h 4687251"/>
              <a:gd name="connsiteX47520" fmla="*/ 3640625 w 8079933"/>
              <a:gd name="connsiteY47520" fmla="*/ 175290 h 4687251"/>
              <a:gd name="connsiteX47521" fmla="*/ 3645183 w 8079933"/>
              <a:gd name="connsiteY47521" fmla="*/ 179188 h 4687251"/>
              <a:gd name="connsiteX47522" fmla="*/ 3650825 w 8079933"/>
              <a:gd name="connsiteY47522" fmla="*/ 181462 h 4687251"/>
              <a:gd name="connsiteX47523" fmla="*/ 3655383 w 8079933"/>
              <a:gd name="connsiteY47523" fmla="*/ 185143 h 4687251"/>
              <a:gd name="connsiteX47524" fmla="*/ 3656035 w 8079933"/>
              <a:gd name="connsiteY47524" fmla="*/ 187308 h 4687251"/>
              <a:gd name="connsiteX47525" fmla="*/ 3656035 w 8079933"/>
              <a:gd name="connsiteY47525" fmla="*/ 191747 h 4687251"/>
              <a:gd name="connsiteX47526" fmla="*/ 3654081 w 8079933"/>
              <a:gd name="connsiteY47526" fmla="*/ 193046 h 4687251"/>
              <a:gd name="connsiteX47527" fmla="*/ 3653430 w 8079933"/>
              <a:gd name="connsiteY47527" fmla="*/ 195537 h 4687251"/>
              <a:gd name="connsiteX47528" fmla="*/ 3653430 w 8079933"/>
              <a:gd name="connsiteY47528" fmla="*/ 198676 h 4687251"/>
              <a:gd name="connsiteX47529" fmla="*/ 3650717 w 8079933"/>
              <a:gd name="connsiteY47529" fmla="*/ 200192 h 4687251"/>
              <a:gd name="connsiteX47530" fmla="*/ 3646267 w 8079933"/>
              <a:gd name="connsiteY47530" fmla="*/ 203549 h 4687251"/>
              <a:gd name="connsiteX47531" fmla="*/ 3642796 w 8079933"/>
              <a:gd name="connsiteY47531" fmla="*/ 204522 h 4687251"/>
              <a:gd name="connsiteX47532" fmla="*/ 3640842 w 8079933"/>
              <a:gd name="connsiteY47532" fmla="*/ 203657 h 4687251"/>
              <a:gd name="connsiteX47533" fmla="*/ 3639214 w 8079933"/>
              <a:gd name="connsiteY47533" fmla="*/ 204522 h 4687251"/>
              <a:gd name="connsiteX47534" fmla="*/ 3639214 w 8079933"/>
              <a:gd name="connsiteY47534" fmla="*/ 206905 h 4687251"/>
              <a:gd name="connsiteX47535" fmla="*/ 3637803 w 8079933"/>
              <a:gd name="connsiteY47535" fmla="*/ 208637 h 4687251"/>
              <a:gd name="connsiteX47536" fmla="*/ 3633788 w 8079933"/>
              <a:gd name="connsiteY47536" fmla="*/ 211235 h 4687251"/>
              <a:gd name="connsiteX47537" fmla="*/ 3625541 w 8079933"/>
              <a:gd name="connsiteY47537" fmla="*/ 214700 h 4687251"/>
              <a:gd name="connsiteX47538" fmla="*/ 3619464 w 8079933"/>
              <a:gd name="connsiteY47538" fmla="*/ 214700 h 4687251"/>
              <a:gd name="connsiteX47539" fmla="*/ 3617620 w 8079933"/>
              <a:gd name="connsiteY47539" fmla="*/ 215566 h 4687251"/>
              <a:gd name="connsiteX47540" fmla="*/ 3614038 w 8079933"/>
              <a:gd name="connsiteY47540" fmla="*/ 215566 h 4687251"/>
              <a:gd name="connsiteX47541" fmla="*/ 3611651 w 8079933"/>
              <a:gd name="connsiteY47541" fmla="*/ 212860 h 4687251"/>
              <a:gd name="connsiteX47542" fmla="*/ 3609806 w 8079933"/>
              <a:gd name="connsiteY47542" fmla="*/ 211127 h 4687251"/>
              <a:gd name="connsiteX47543" fmla="*/ 3608287 w 8079933"/>
              <a:gd name="connsiteY47543" fmla="*/ 211777 h 4687251"/>
              <a:gd name="connsiteX47544" fmla="*/ 3608287 w 8079933"/>
              <a:gd name="connsiteY47544" fmla="*/ 214267 h 4687251"/>
              <a:gd name="connsiteX47545" fmla="*/ 3610674 w 8079933"/>
              <a:gd name="connsiteY47545" fmla="*/ 215674 h 4687251"/>
              <a:gd name="connsiteX47546" fmla="*/ 3610674 w 8079933"/>
              <a:gd name="connsiteY47546" fmla="*/ 217407 h 4687251"/>
              <a:gd name="connsiteX47547" fmla="*/ 3606334 w 8079933"/>
              <a:gd name="connsiteY47547" fmla="*/ 217407 h 4687251"/>
              <a:gd name="connsiteX47548" fmla="*/ 3602101 w 8079933"/>
              <a:gd name="connsiteY47548" fmla="*/ 216216 h 4687251"/>
              <a:gd name="connsiteX47549" fmla="*/ 3598412 w 8079933"/>
              <a:gd name="connsiteY47549" fmla="*/ 218382 h 4687251"/>
              <a:gd name="connsiteX47550" fmla="*/ 3596458 w 8079933"/>
              <a:gd name="connsiteY47550" fmla="*/ 218382 h 4687251"/>
              <a:gd name="connsiteX47551" fmla="*/ 3593528 w 8079933"/>
              <a:gd name="connsiteY47551" fmla="*/ 216433 h 4687251"/>
              <a:gd name="connsiteX47552" fmla="*/ 3588862 w 8079933"/>
              <a:gd name="connsiteY47552" fmla="*/ 216433 h 4687251"/>
              <a:gd name="connsiteX47553" fmla="*/ 3585716 w 8079933"/>
              <a:gd name="connsiteY47553" fmla="*/ 218814 h 4687251"/>
              <a:gd name="connsiteX47554" fmla="*/ 3579638 w 8079933"/>
              <a:gd name="connsiteY47554" fmla="*/ 221413 h 4687251"/>
              <a:gd name="connsiteX47555" fmla="*/ 3576058 w 8079933"/>
              <a:gd name="connsiteY47555" fmla="*/ 221413 h 4687251"/>
              <a:gd name="connsiteX47556" fmla="*/ 3573778 w 8079933"/>
              <a:gd name="connsiteY47556" fmla="*/ 219897 h 4687251"/>
              <a:gd name="connsiteX47557" fmla="*/ 3570197 w 8079933"/>
              <a:gd name="connsiteY47557" fmla="*/ 219897 h 4687251"/>
              <a:gd name="connsiteX47558" fmla="*/ 3566399 w 8079933"/>
              <a:gd name="connsiteY47558" fmla="*/ 218489 h 4687251"/>
              <a:gd name="connsiteX47559" fmla="*/ 3563252 w 8079933"/>
              <a:gd name="connsiteY47559" fmla="*/ 218489 h 4687251"/>
              <a:gd name="connsiteX47560" fmla="*/ 3561299 w 8079933"/>
              <a:gd name="connsiteY47560" fmla="*/ 220114 h 4687251"/>
              <a:gd name="connsiteX47561" fmla="*/ 3556416 w 8079933"/>
              <a:gd name="connsiteY47561" fmla="*/ 221088 h 4687251"/>
              <a:gd name="connsiteX47562" fmla="*/ 3553269 w 8079933"/>
              <a:gd name="connsiteY47562" fmla="*/ 220005 h 4687251"/>
              <a:gd name="connsiteX47563" fmla="*/ 3547626 w 8079933"/>
              <a:gd name="connsiteY47563" fmla="*/ 215892 h 4687251"/>
              <a:gd name="connsiteX47564" fmla="*/ 3545347 w 8079933"/>
              <a:gd name="connsiteY47564" fmla="*/ 215892 h 4687251"/>
              <a:gd name="connsiteX47565" fmla="*/ 3544045 w 8079933"/>
              <a:gd name="connsiteY47565" fmla="*/ 215025 h 4687251"/>
              <a:gd name="connsiteX47566" fmla="*/ 3537534 w 8079933"/>
              <a:gd name="connsiteY47566" fmla="*/ 215025 h 4687251"/>
              <a:gd name="connsiteX47567" fmla="*/ 3533953 w 8079933"/>
              <a:gd name="connsiteY47567" fmla="*/ 213292 h 4687251"/>
              <a:gd name="connsiteX47568" fmla="*/ 3531132 w 8079933"/>
              <a:gd name="connsiteY47568" fmla="*/ 212643 h 4687251"/>
              <a:gd name="connsiteX47569" fmla="*/ 3526574 w 8079933"/>
              <a:gd name="connsiteY47569" fmla="*/ 213727 h 4687251"/>
              <a:gd name="connsiteX47570" fmla="*/ 3522559 w 8079933"/>
              <a:gd name="connsiteY47570" fmla="*/ 213727 h 4687251"/>
              <a:gd name="connsiteX47571" fmla="*/ 3518327 w 8079933"/>
              <a:gd name="connsiteY47571" fmla="*/ 212211 h 4687251"/>
              <a:gd name="connsiteX47572" fmla="*/ 3515180 w 8079933"/>
              <a:gd name="connsiteY47572" fmla="*/ 212968 h 4687251"/>
              <a:gd name="connsiteX47573" fmla="*/ 3511816 w 8079933"/>
              <a:gd name="connsiteY47573" fmla="*/ 217731 h 4687251"/>
              <a:gd name="connsiteX47574" fmla="*/ 3508126 w 8079933"/>
              <a:gd name="connsiteY47574" fmla="*/ 218814 h 4687251"/>
              <a:gd name="connsiteX47575" fmla="*/ 3502917 w 8079933"/>
              <a:gd name="connsiteY47575" fmla="*/ 218165 h 4687251"/>
              <a:gd name="connsiteX47576" fmla="*/ 3498902 w 8079933"/>
              <a:gd name="connsiteY47576" fmla="*/ 220439 h 4687251"/>
              <a:gd name="connsiteX47577" fmla="*/ 3498251 w 8079933"/>
              <a:gd name="connsiteY47577" fmla="*/ 221846 h 4687251"/>
              <a:gd name="connsiteX47578" fmla="*/ 3496731 w 8079933"/>
              <a:gd name="connsiteY47578" fmla="*/ 221846 h 4687251"/>
              <a:gd name="connsiteX47579" fmla="*/ 3496707 w 8079933"/>
              <a:gd name="connsiteY47579" fmla="*/ 221728 h 4687251"/>
              <a:gd name="connsiteX47580" fmla="*/ 3496840 w 8079933"/>
              <a:gd name="connsiteY47580" fmla="*/ 221413 h 4687251"/>
              <a:gd name="connsiteX47581" fmla="*/ 3496479 w 8079933"/>
              <a:gd name="connsiteY47581" fmla="*/ 220620 h 4687251"/>
              <a:gd name="connsiteX47582" fmla="*/ 3495863 w 8079933"/>
              <a:gd name="connsiteY47582" fmla="*/ 217623 h 4687251"/>
              <a:gd name="connsiteX47583" fmla="*/ 3493477 w 8079933"/>
              <a:gd name="connsiteY47583" fmla="*/ 216433 h 4687251"/>
              <a:gd name="connsiteX47584" fmla="*/ 3492065 w 8079933"/>
              <a:gd name="connsiteY47584" fmla="*/ 216433 h 4687251"/>
              <a:gd name="connsiteX47585" fmla="*/ 3490546 w 8079933"/>
              <a:gd name="connsiteY47585" fmla="*/ 215566 h 4687251"/>
              <a:gd name="connsiteX47586" fmla="*/ 3487183 w 8079933"/>
              <a:gd name="connsiteY47586" fmla="*/ 215566 h 4687251"/>
              <a:gd name="connsiteX47587" fmla="*/ 3487183 w 8079933"/>
              <a:gd name="connsiteY47587" fmla="*/ 217298 h 4687251"/>
              <a:gd name="connsiteX47588" fmla="*/ 3488702 w 8079933"/>
              <a:gd name="connsiteY47588" fmla="*/ 217298 h 4687251"/>
              <a:gd name="connsiteX47589" fmla="*/ 3493585 w 8079933"/>
              <a:gd name="connsiteY47589" fmla="*/ 217298 h 4687251"/>
              <a:gd name="connsiteX47590" fmla="*/ 3495755 w 8079933"/>
              <a:gd name="connsiteY47590" fmla="*/ 219031 h 4687251"/>
              <a:gd name="connsiteX47591" fmla="*/ 3496479 w 8079933"/>
              <a:gd name="connsiteY47591" fmla="*/ 220620 h 4687251"/>
              <a:gd name="connsiteX47592" fmla="*/ 3496707 w 8079933"/>
              <a:gd name="connsiteY47592" fmla="*/ 221728 h 4687251"/>
              <a:gd name="connsiteX47593" fmla="*/ 3495647 w 8079933"/>
              <a:gd name="connsiteY47593" fmla="*/ 224229 h 4687251"/>
              <a:gd name="connsiteX47594" fmla="*/ 3492500 w 8079933"/>
              <a:gd name="connsiteY47594" fmla="*/ 226069 h 4687251"/>
              <a:gd name="connsiteX47595" fmla="*/ 3490221 w 8079933"/>
              <a:gd name="connsiteY47595" fmla="*/ 226069 h 4687251"/>
              <a:gd name="connsiteX47596" fmla="*/ 3486639 w 8079933"/>
              <a:gd name="connsiteY47596" fmla="*/ 226069 h 4687251"/>
              <a:gd name="connsiteX47597" fmla="*/ 3483059 w 8079933"/>
              <a:gd name="connsiteY47597" fmla="*/ 228235 h 4687251"/>
              <a:gd name="connsiteX47598" fmla="*/ 3478393 w 8079933"/>
              <a:gd name="connsiteY47598" fmla="*/ 230183 h 4687251"/>
              <a:gd name="connsiteX47599" fmla="*/ 3471773 w 8079933"/>
              <a:gd name="connsiteY47599" fmla="*/ 230833 h 4687251"/>
              <a:gd name="connsiteX47600" fmla="*/ 3468409 w 8079933"/>
              <a:gd name="connsiteY47600" fmla="*/ 232349 h 4687251"/>
              <a:gd name="connsiteX47601" fmla="*/ 3466673 w 8079933"/>
              <a:gd name="connsiteY47601" fmla="*/ 234730 h 4687251"/>
              <a:gd name="connsiteX47602" fmla="*/ 3463309 w 8079933"/>
              <a:gd name="connsiteY47602" fmla="*/ 235488 h 4687251"/>
              <a:gd name="connsiteX47603" fmla="*/ 3458968 w 8079933"/>
              <a:gd name="connsiteY47603" fmla="*/ 235488 h 4687251"/>
              <a:gd name="connsiteX47604" fmla="*/ 3454085 w 8079933"/>
              <a:gd name="connsiteY47604" fmla="*/ 238087 h 4687251"/>
              <a:gd name="connsiteX47605" fmla="*/ 3450721 w 8079933"/>
              <a:gd name="connsiteY47605" fmla="*/ 238087 h 4687251"/>
              <a:gd name="connsiteX47606" fmla="*/ 3448442 w 8079933"/>
              <a:gd name="connsiteY47606" fmla="*/ 240902 h 4687251"/>
              <a:gd name="connsiteX47607" fmla="*/ 3448442 w 8079933"/>
              <a:gd name="connsiteY47607" fmla="*/ 244583 h 4687251"/>
              <a:gd name="connsiteX47608" fmla="*/ 3450829 w 8079933"/>
              <a:gd name="connsiteY47608" fmla="*/ 246965 h 4687251"/>
              <a:gd name="connsiteX47609" fmla="*/ 3451481 w 8079933"/>
              <a:gd name="connsiteY47609" fmla="*/ 249887 h 4687251"/>
              <a:gd name="connsiteX47610" fmla="*/ 3451481 w 8079933"/>
              <a:gd name="connsiteY47610" fmla="*/ 253569 h 4687251"/>
              <a:gd name="connsiteX47611" fmla="*/ 3453325 w 8079933"/>
              <a:gd name="connsiteY47611" fmla="*/ 256709 h 4687251"/>
              <a:gd name="connsiteX47612" fmla="*/ 3455821 w 8079933"/>
              <a:gd name="connsiteY47612" fmla="*/ 256709 h 4687251"/>
              <a:gd name="connsiteX47613" fmla="*/ 3457775 w 8079933"/>
              <a:gd name="connsiteY47613" fmla="*/ 254002 h 4687251"/>
              <a:gd name="connsiteX47614" fmla="*/ 3457775 w 8079933"/>
              <a:gd name="connsiteY47614" fmla="*/ 250538 h 4687251"/>
              <a:gd name="connsiteX47615" fmla="*/ 3460813 w 8079933"/>
              <a:gd name="connsiteY47615" fmla="*/ 247723 h 4687251"/>
              <a:gd name="connsiteX47616" fmla="*/ 3464828 w 8079933"/>
              <a:gd name="connsiteY47616" fmla="*/ 246965 h 4687251"/>
              <a:gd name="connsiteX47617" fmla="*/ 3468084 w 8079933"/>
              <a:gd name="connsiteY47617" fmla="*/ 245017 h 4687251"/>
              <a:gd name="connsiteX47618" fmla="*/ 3472207 w 8079933"/>
              <a:gd name="connsiteY47618" fmla="*/ 244366 h 4687251"/>
              <a:gd name="connsiteX47619" fmla="*/ 3476222 w 8079933"/>
              <a:gd name="connsiteY47619" fmla="*/ 244366 h 4687251"/>
              <a:gd name="connsiteX47620" fmla="*/ 3478066 w 8079933"/>
              <a:gd name="connsiteY47620" fmla="*/ 242092 h 4687251"/>
              <a:gd name="connsiteX47621" fmla="*/ 3480888 w 8079933"/>
              <a:gd name="connsiteY47621" fmla="*/ 239277 h 4687251"/>
              <a:gd name="connsiteX47622" fmla="*/ 3486965 w 8079933"/>
              <a:gd name="connsiteY47622" fmla="*/ 237653 h 4687251"/>
              <a:gd name="connsiteX47623" fmla="*/ 3496623 w 8079933"/>
              <a:gd name="connsiteY47623" fmla="*/ 234081 h 4687251"/>
              <a:gd name="connsiteX47624" fmla="*/ 3499770 w 8079933"/>
              <a:gd name="connsiteY47624" fmla="*/ 234081 h 4687251"/>
              <a:gd name="connsiteX47625" fmla="*/ 3499770 w 8079933"/>
              <a:gd name="connsiteY47625" fmla="*/ 235163 h 4687251"/>
              <a:gd name="connsiteX47626" fmla="*/ 3499119 w 8079933"/>
              <a:gd name="connsiteY47626" fmla="*/ 238412 h 4687251"/>
              <a:gd name="connsiteX47627" fmla="*/ 3500313 w 8079933"/>
              <a:gd name="connsiteY47627" fmla="*/ 238412 h 4687251"/>
              <a:gd name="connsiteX47628" fmla="*/ 3503677 w 8079933"/>
              <a:gd name="connsiteY47628" fmla="*/ 235705 h 4687251"/>
              <a:gd name="connsiteX47629" fmla="*/ 3503677 w 8079933"/>
              <a:gd name="connsiteY47629" fmla="*/ 231915 h 4687251"/>
              <a:gd name="connsiteX47630" fmla="*/ 3506390 w 8079933"/>
              <a:gd name="connsiteY47630" fmla="*/ 227368 h 4687251"/>
              <a:gd name="connsiteX47631" fmla="*/ 3509102 w 8079933"/>
              <a:gd name="connsiteY47631" fmla="*/ 227368 h 4687251"/>
              <a:gd name="connsiteX47632" fmla="*/ 3513552 w 8079933"/>
              <a:gd name="connsiteY47632" fmla="*/ 228126 h 4687251"/>
              <a:gd name="connsiteX47633" fmla="*/ 3516265 w 8079933"/>
              <a:gd name="connsiteY47633" fmla="*/ 228992 h 4687251"/>
              <a:gd name="connsiteX47634" fmla="*/ 3521365 w 8079933"/>
              <a:gd name="connsiteY47634" fmla="*/ 227909 h 4687251"/>
              <a:gd name="connsiteX47635" fmla="*/ 3527442 w 8079933"/>
              <a:gd name="connsiteY47635" fmla="*/ 227909 h 4687251"/>
              <a:gd name="connsiteX47636" fmla="*/ 3531674 w 8079933"/>
              <a:gd name="connsiteY47636" fmla="*/ 230183 h 4687251"/>
              <a:gd name="connsiteX47637" fmla="*/ 3536992 w 8079933"/>
              <a:gd name="connsiteY47637" fmla="*/ 230941 h 4687251"/>
              <a:gd name="connsiteX47638" fmla="*/ 3547843 w 8079933"/>
              <a:gd name="connsiteY47638" fmla="*/ 229749 h 4687251"/>
              <a:gd name="connsiteX47639" fmla="*/ 3551424 w 8079933"/>
              <a:gd name="connsiteY47639" fmla="*/ 230616 h 4687251"/>
              <a:gd name="connsiteX47640" fmla="*/ 3556199 w 8079933"/>
              <a:gd name="connsiteY47640" fmla="*/ 232890 h 4687251"/>
              <a:gd name="connsiteX47641" fmla="*/ 3563578 w 8079933"/>
              <a:gd name="connsiteY47641" fmla="*/ 234623 h 4687251"/>
              <a:gd name="connsiteX47642" fmla="*/ 3572477 w 8079933"/>
              <a:gd name="connsiteY47642" fmla="*/ 234623 h 4687251"/>
              <a:gd name="connsiteX47643" fmla="*/ 3576383 w 8079933"/>
              <a:gd name="connsiteY47643" fmla="*/ 234623 h 4687251"/>
              <a:gd name="connsiteX47644" fmla="*/ 3576383 w 8079933"/>
              <a:gd name="connsiteY47644" fmla="*/ 237004 h 4687251"/>
              <a:gd name="connsiteX47645" fmla="*/ 3578011 w 8079933"/>
              <a:gd name="connsiteY47645" fmla="*/ 238737 h 4687251"/>
              <a:gd name="connsiteX47646" fmla="*/ 3577360 w 8079933"/>
              <a:gd name="connsiteY47646" fmla="*/ 241226 h 4687251"/>
              <a:gd name="connsiteX47647" fmla="*/ 3574213 w 8079933"/>
              <a:gd name="connsiteY47647" fmla="*/ 243500 h 4687251"/>
              <a:gd name="connsiteX47648" fmla="*/ 3573562 w 8079933"/>
              <a:gd name="connsiteY47648" fmla="*/ 247073 h 4687251"/>
              <a:gd name="connsiteX47649" fmla="*/ 3570957 w 8079933"/>
              <a:gd name="connsiteY47649" fmla="*/ 251837 h 4687251"/>
              <a:gd name="connsiteX47650" fmla="*/ 3568244 w 8079933"/>
              <a:gd name="connsiteY47650" fmla="*/ 252920 h 4687251"/>
              <a:gd name="connsiteX47651" fmla="*/ 3556850 w 8079933"/>
              <a:gd name="connsiteY47651" fmla="*/ 254436 h 4687251"/>
              <a:gd name="connsiteX47652" fmla="*/ 3551533 w 8079933"/>
              <a:gd name="connsiteY47652" fmla="*/ 256601 h 4687251"/>
              <a:gd name="connsiteX47653" fmla="*/ 3549362 w 8079933"/>
              <a:gd name="connsiteY47653" fmla="*/ 256601 h 4687251"/>
              <a:gd name="connsiteX47654" fmla="*/ 3547518 w 8079933"/>
              <a:gd name="connsiteY47654" fmla="*/ 255627 h 4687251"/>
              <a:gd name="connsiteX47655" fmla="*/ 3546432 w 8079933"/>
              <a:gd name="connsiteY47655" fmla="*/ 255627 h 4687251"/>
              <a:gd name="connsiteX47656" fmla="*/ 3545131 w 8079933"/>
              <a:gd name="connsiteY47656" fmla="*/ 259091 h 4687251"/>
              <a:gd name="connsiteX47657" fmla="*/ 3545131 w 8079933"/>
              <a:gd name="connsiteY47657" fmla="*/ 262123 h 4687251"/>
              <a:gd name="connsiteX47658" fmla="*/ 3544045 w 8079933"/>
              <a:gd name="connsiteY47658" fmla="*/ 265696 h 4687251"/>
              <a:gd name="connsiteX47659" fmla="*/ 3544045 w 8079933"/>
              <a:gd name="connsiteY47659" fmla="*/ 268403 h 4687251"/>
              <a:gd name="connsiteX47660" fmla="*/ 3545890 w 8079933"/>
              <a:gd name="connsiteY47660" fmla="*/ 269053 h 4687251"/>
              <a:gd name="connsiteX47661" fmla="*/ 3551099 w 8079933"/>
              <a:gd name="connsiteY47661" fmla="*/ 267103 h 4687251"/>
              <a:gd name="connsiteX47662" fmla="*/ 3557718 w 8079933"/>
              <a:gd name="connsiteY47662" fmla="*/ 265587 h 4687251"/>
              <a:gd name="connsiteX47663" fmla="*/ 3562167 w 8079933"/>
              <a:gd name="connsiteY47663" fmla="*/ 263530 h 4687251"/>
              <a:gd name="connsiteX47664" fmla="*/ 3570415 w 8079933"/>
              <a:gd name="connsiteY47664" fmla="*/ 263530 h 4687251"/>
              <a:gd name="connsiteX47665" fmla="*/ 3578445 w 8079933"/>
              <a:gd name="connsiteY47665" fmla="*/ 266237 h 4687251"/>
              <a:gd name="connsiteX47666" fmla="*/ 3581158 w 8079933"/>
              <a:gd name="connsiteY47666" fmla="*/ 266237 h 4687251"/>
              <a:gd name="connsiteX47667" fmla="*/ 3584739 w 8079933"/>
              <a:gd name="connsiteY47667" fmla="*/ 268511 h 4687251"/>
              <a:gd name="connsiteX47668" fmla="*/ 3586584 w 8079933"/>
              <a:gd name="connsiteY47668" fmla="*/ 266995 h 4687251"/>
              <a:gd name="connsiteX47669" fmla="*/ 3588429 w 8079933"/>
              <a:gd name="connsiteY47669" fmla="*/ 264613 h 4687251"/>
              <a:gd name="connsiteX47670" fmla="*/ 3589730 w 8079933"/>
              <a:gd name="connsiteY47670" fmla="*/ 264613 h 4687251"/>
              <a:gd name="connsiteX47671" fmla="*/ 3592443 w 8079933"/>
              <a:gd name="connsiteY47671" fmla="*/ 265371 h 4687251"/>
              <a:gd name="connsiteX47672" fmla="*/ 3594831 w 8079933"/>
              <a:gd name="connsiteY47672" fmla="*/ 267428 h 4687251"/>
              <a:gd name="connsiteX47673" fmla="*/ 3598955 w 8079933"/>
              <a:gd name="connsiteY47673" fmla="*/ 262231 h 4687251"/>
              <a:gd name="connsiteX47674" fmla="*/ 3600800 w 8079933"/>
              <a:gd name="connsiteY47674" fmla="*/ 255627 h 4687251"/>
              <a:gd name="connsiteX47675" fmla="*/ 3600800 w 8079933"/>
              <a:gd name="connsiteY47675" fmla="*/ 249022 h 4687251"/>
              <a:gd name="connsiteX47676" fmla="*/ 3602101 w 8079933"/>
              <a:gd name="connsiteY47676" fmla="*/ 246424 h 4687251"/>
              <a:gd name="connsiteX47677" fmla="*/ 3601233 w 8079933"/>
              <a:gd name="connsiteY47677" fmla="*/ 244475 h 4687251"/>
              <a:gd name="connsiteX47678" fmla="*/ 3601884 w 8079933"/>
              <a:gd name="connsiteY47678" fmla="*/ 240902 h 4687251"/>
              <a:gd name="connsiteX47679" fmla="*/ 3605357 w 8079933"/>
              <a:gd name="connsiteY47679" fmla="*/ 238737 h 4687251"/>
              <a:gd name="connsiteX47680" fmla="*/ 3610566 w 8079933"/>
              <a:gd name="connsiteY47680" fmla="*/ 238737 h 4687251"/>
              <a:gd name="connsiteX47681" fmla="*/ 3615992 w 8079933"/>
              <a:gd name="connsiteY47681" fmla="*/ 240361 h 4687251"/>
              <a:gd name="connsiteX47682" fmla="*/ 3622069 w 8079933"/>
              <a:gd name="connsiteY47682" fmla="*/ 240361 h 4687251"/>
              <a:gd name="connsiteX47683" fmla="*/ 3627169 w 8079933"/>
              <a:gd name="connsiteY47683" fmla="*/ 239277 h 4687251"/>
              <a:gd name="connsiteX47684" fmla="*/ 3630316 w 8079933"/>
              <a:gd name="connsiteY47684" fmla="*/ 240143 h 4687251"/>
              <a:gd name="connsiteX47685" fmla="*/ 3631292 w 8079933"/>
              <a:gd name="connsiteY47685" fmla="*/ 244583 h 4687251"/>
              <a:gd name="connsiteX47686" fmla="*/ 3631292 w 8079933"/>
              <a:gd name="connsiteY47686" fmla="*/ 252486 h 4687251"/>
              <a:gd name="connsiteX47687" fmla="*/ 3631292 w 8079933"/>
              <a:gd name="connsiteY47687" fmla="*/ 258117 h 4687251"/>
              <a:gd name="connsiteX47688" fmla="*/ 3627060 w 8079933"/>
              <a:gd name="connsiteY47688" fmla="*/ 263422 h 4687251"/>
              <a:gd name="connsiteX47689" fmla="*/ 3623479 w 8079933"/>
              <a:gd name="connsiteY47689" fmla="*/ 270893 h 4687251"/>
              <a:gd name="connsiteX47690" fmla="*/ 3622503 w 8079933"/>
              <a:gd name="connsiteY47690" fmla="*/ 276523 h 4687251"/>
              <a:gd name="connsiteX47691" fmla="*/ 3620441 w 8079933"/>
              <a:gd name="connsiteY47691" fmla="*/ 280637 h 4687251"/>
              <a:gd name="connsiteX47692" fmla="*/ 3606985 w 8079933"/>
              <a:gd name="connsiteY47692" fmla="*/ 292655 h 4687251"/>
              <a:gd name="connsiteX47693" fmla="*/ 3604272 w 8079933"/>
              <a:gd name="connsiteY47693" fmla="*/ 292655 h 4687251"/>
              <a:gd name="connsiteX47694" fmla="*/ 3603078 w 8079933"/>
              <a:gd name="connsiteY47694" fmla="*/ 291789 h 4687251"/>
              <a:gd name="connsiteX47695" fmla="*/ 3599280 w 8079933"/>
              <a:gd name="connsiteY47695" fmla="*/ 293305 h 4687251"/>
              <a:gd name="connsiteX47696" fmla="*/ 3596350 w 8079933"/>
              <a:gd name="connsiteY47696" fmla="*/ 296552 h 4687251"/>
              <a:gd name="connsiteX47697" fmla="*/ 3593420 w 8079933"/>
              <a:gd name="connsiteY47697" fmla="*/ 295146 h 4687251"/>
              <a:gd name="connsiteX47698" fmla="*/ 3591683 w 8079933"/>
              <a:gd name="connsiteY47698" fmla="*/ 295795 h 4687251"/>
              <a:gd name="connsiteX47699" fmla="*/ 3588429 w 8079933"/>
              <a:gd name="connsiteY47699" fmla="*/ 300992 h 4687251"/>
              <a:gd name="connsiteX47700" fmla="*/ 3588429 w 8079933"/>
              <a:gd name="connsiteY47700" fmla="*/ 304240 h 4687251"/>
              <a:gd name="connsiteX47701" fmla="*/ 3584522 w 8079933"/>
              <a:gd name="connsiteY47701" fmla="*/ 306081 h 4687251"/>
              <a:gd name="connsiteX47702" fmla="*/ 3581592 w 8079933"/>
              <a:gd name="connsiteY47702" fmla="*/ 309546 h 4687251"/>
              <a:gd name="connsiteX47703" fmla="*/ 3578988 w 8079933"/>
              <a:gd name="connsiteY47703" fmla="*/ 308895 h 4687251"/>
              <a:gd name="connsiteX47704" fmla="*/ 3578119 w 8079933"/>
              <a:gd name="connsiteY47704" fmla="*/ 307380 h 4687251"/>
              <a:gd name="connsiteX47705" fmla="*/ 3576709 w 8079933"/>
              <a:gd name="connsiteY47705" fmla="*/ 309654 h 4687251"/>
              <a:gd name="connsiteX47706" fmla="*/ 3577360 w 8079933"/>
              <a:gd name="connsiteY47706" fmla="*/ 312577 h 4687251"/>
              <a:gd name="connsiteX47707" fmla="*/ 3575623 w 8079933"/>
              <a:gd name="connsiteY47707" fmla="*/ 316042 h 4687251"/>
              <a:gd name="connsiteX47708" fmla="*/ 3571500 w 8079933"/>
              <a:gd name="connsiteY47708" fmla="*/ 322104 h 4687251"/>
              <a:gd name="connsiteX47709" fmla="*/ 3567376 w 8079933"/>
              <a:gd name="connsiteY47709" fmla="*/ 324486 h 4687251"/>
              <a:gd name="connsiteX47710" fmla="*/ 3565640 w 8079933"/>
              <a:gd name="connsiteY47710" fmla="*/ 327626 h 4687251"/>
              <a:gd name="connsiteX47711" fmla="*/ 3559238 w 8079933"/>
              <a:gd name="connsiteY47711" fmla="*/ 333148 h 4687251"/>
              <a:gd name="connsiteX47712" fmla="*/ 3554572 w 8079933"/>
              <a:gd name="connsiteY47712" fmla="*/ 337479 h 4687251"/>
              <a:gd name="connsiteX47713" fmla="*/ 3551099 w 8079933"/>
              <a:gd name="connsiteY47713" fmla="*/ 338346 h 4687251"/>
              <a:gd name="connsiteX47714" fmla="*/ 3545239 w 8079933"/>
              <a:gd name="connsiteY47714" fmla="*/ 342784 h 4687251"/>
              <a:gd name="connsiteX47715" fmla="*/ 3544262 w 8079933"/>
              <a:gd name="connsiteY47715" fmla="*/ 345058 h 4687251"/>
              <a:gd name="connsiteX47716" fmla="*/ 3540464 w 8079933"/>
              <a:gd name="connsiteY47716" fmla="*/ 345058 h 4687251"/>
              <a:gd name="connsiteX47717" fmla="*/ 3540464 w 8079933"/>
              <a:gd name="connsiteY47717" fmla="*/ 349172 h 4687251"/>
              <a:gd name="connsiteX47718" fmla="*/ 3540464 w 8079933"/>
              <a:gd name="connsiteY47718" fmla="*/ 353070 h 4687251"/>
              <a:gd name="connsiteX47719" fmla="*/ 3538402 w 8079933"/>
              <a:gd name="connsiteY47719" fmla="*/ 358268 h 4687251"/>
              <a:gd name="connsiteX47720" fmla="*/ 3539488 w 8079933"/>
              <a:gd name="connsiteY47720" fmla="*/ 360541 h 4687251"/>
              <a:gd name="connsiteX47721" fmla="*/ 3540898 w 8079933"/>
              <a:gd name="connsiteY47721" fmla="*/ 358159 h 4687251"/>
              <a:gd name="connsiteX47722" fmla="*/ 3541766 w 8079933"/>
              <a:gd name="connsiteY47722" fmla="*/ 354694 h 4687251"/>
              <a:gd name="connsiteX47723" fmla="*/ 3546215 w 8079933"/>
              <a:gd name="connsiteY47723" fmla="*/ 349497 h 4687251"/>
              <a:gd name="connsiteX47724" fmla="*/ 3549471 w 8079933"/>
              <a:gd name="connsiteY47724" fmla="*/ 344517 h 4687251"/>
              <a:gd name="connsiteX47725" fmla="*/ 3554137 w 8079933"/>
              <a:gd name="connsiteY47725" fmla="*/ 341377 h 4687251"/>
              <a:gd name="connsiteX47726" fmla="*/ 3555657 w 8079933"/>
              <a:gd name="connsiteY47726" fmla="*/ 341377 h 4687251"/>
              <a:gd name="connsiteX47727" fmla="*/ 3556850 w 8079933"/>
              <a:gd name="connsiteY47727" fmla="*/ 343218 h 4687251"/>
              <a:gd name="connsiteX47728" fmla="*/ 3560648 w 8079933"/>
              <a:gd name="connsiteY47728" fmla="*/ 338778 h 4687251"/>
              <a:gd name="connsiteX47729" fmla="*/ 3568896 w 8079933"/>
              <a:gd name="connsiteY47729" fmla="*/ 332390 h 4687251"/>
              <a:gd name="connsiteX47730" fmla="*/ 3571500 w 8079933"/>
              <a:gd name="connsiteY47730" fmla="*/ 331741 h 4687251"/>
              <a:gd name="connsiteX47731" fmla="*/ 3572151 w 8079933"/>
              <a:gd name="connsiteY47731" fmla="*/ 327735 h 4687251"/>
              <a:gd name="connsiteX47732" fmla="*/ 3580290 w 8079933"/>
              <a:gd name="connsiteY47732" fmla="*/ 321239 h 4687251"/>
              <a:gd name="connsiteX47733" fmla="*/ 3587017 w 8079933"/>
              <a:gd name="connsiteY47733" fmla="*/ 315608 h 4687251"/>
              <a:gd name="connsiteX47734" fmla="*/ 3590490 w 8079933"/>
              <a:gd name="connsiteY47734" fmla="*/ 313876 h 4687251"/>
              <a:gd name="connsiteX47735" fmla="*/ 3593203 w 8079933"/>
              <a:gd name="connsiteY47735" fmla="*/ 314525 h 4687251"/>
              <a:gd name="connsiteX47736" fmla="*/ 3597544 w 8079933"/>
              <a:gd name="connsiteY47736" fmla="*/ 314525 h 4687251"/>
              <a:gd name="connsiteX47737" fmla="*/ 3600474 w 8079933"/>
              <a:gd name="connsiteY47737" fmla="*/ 311927 h 4687251"/>
              <a:gd name="connsiteX47738" fmla="*/ 3600474 w 8079933"/>
              <a:gd name="connsiteY47738" fmla="*/ 309654 h 4687251"/>
              <a:gd name="connsiteX47739" fmla="*/ 3605249 w 8079933"/>
              <a:gd name="connsiteY47739" fmla="*/ 309654 h 4687251"/>
              <a:gd name="connsiteX47740" fmla="*/ 3611760 w 8079933"/>
              <a:gd name="connsiteY47740" fmla="*/ 309654 h 4687251"/>
              <a:gd name="connsiteX47741" fmla="*/ 3618162 w 8079933"/>
              <a:gd name="connsiteY47741" fmla="*/ 306189 h 4687251"/>
              <a:gd name="connsiteX47742" fmla="*/ 3622286 w 8079933"/>
              <a:gd name="connsiteY47742" fmla="*/ 301858 h 4687251"/>
              <a:gd name="connsiteX47743" fmla="*/ 3626300 w 8079933"/>
              <a:gd name="connsiteY47743" fmla="*/ 301858 h 4687251"/>
              <a:gd name="connsiteX47744" fmla="*/ 3630207 w 8079933"/>
              <a:gd name="connsiteY47744" fmla="*/ 298935 h 4687251"/>
              <a:gd name="connsiteX47745" fmla="*/ 3632812 w 8079933"/>
              <a:gd name="connsiteY47745" fmla="*/ 296552 h 4687251"/>
              <a:gd name="connsiteX47746" fmla="*/ 3636067 w 8079933"/>
              <a:gd name="connsiteY47746" fmla="*/ 296552 h 4687251"/>
              <a:gd name="connsiteX47747" fmla="*/ 3639323 w 8079933"/>
              <a:gd name="connsiteY47747" fmla="*/ 293088 h 4687251"/>
              <a:gd name="connsiteX47748" fmla="*/ 3645725 w 8079933"/>
              <a:gd name="connsiteY47748" fmla="*/ 287024 h 4687251"/>
              <a:gd name="connsiteX47749" fmla="*/ 3647244 w 8079933"/>
              <a:gd name="connsiteY47749" fmla="*/ 282261 h 4687251"/>
              <a:gd name="connsiteX47750" fmla="*/ 3647244 w 8079933"/>
              <a:gd name="connsiteY47750" fmla="*/ 279121 h 4687251"/>
              <a:gd name="connsiteX47751" fmla="*/ 3649957 w 8079933"/>
              <a:gd name="connsiteY47751" fmla="*/ 275982 h 4687251"/>
              <a:gd name="connsiteX47752" fmla="*/ 3651477 w 8079933"/>
              <a:gd name="connsiteY47752" fmla="*/ 273599 h 4687251"/>
              <a:gd name="connsiteX47753" fmla="*/ 3653864 w 8079933"/>
              <a:gd name="connsiteY47753" fmla="*/ 272084 h 4687251"/>
              <a:gd name="connsiteX47754" fmla="*/ 3653864 w 8079933"/>
              <a:gd name="connsiteY47754" fmla="*/ 274899 h 4687251"/>
              <a:gd name="connsiteX47755" fmla="*/ 3655709 w 8079933"/>
              <a:gd name="connsiteY47755" fmla="*/ 278147 h 4687251"/>
              <a:gd name="connsiteX47756" fmla="*/ 3655709 w 8079933"/>
              <a:gd name="connsiteY47756" fmla="*/ 281396 h 4687251"/>
              <a:gd name="connsiteX47757" fmla="*/ 3654732 w 8079933"/>
              <a:gd name="connsiteY47757" fmla="*/ 284643 h 4687251"/>
              <a:gd name="connsiteX47758" fmla="*/ 3656576 w 8079933"/>
              <a:gd name="connsiteY47758" fmla="*/ 287675 h 4687251"/>
              <a:gd name="connsiteX47759" fmla="*/ 3657444 w 8079933"/>
              <a:gd name="connsiteY47759" fmla="*/ 292871 h 4687251"/>
              <a:gd name="connsiteX47760" fmla="*/ 3656360 w 8079933"/>
              <a:gd name="connsiteY47760" fmla="*/ 294929 h 4687251"/>
              <a:gd name="connsiteX47761" fmla="*/ 3656360 w 8079933"/>
              <a:gd name="connsiteY47761" fmla="*/ 297853 h 4687251"/>
              <a:gd name="connsiteX47762" fmla="*/ 3657771 w 8079933"/>
              <a:gd name="connsiteY47762" fmla="*/ 295470 h 4687251"/>
              <a:gd name="connsiteX47763" fmla="*/ 3659181 w 8079933"/>
              <a:gd name="connsiteY47763" fmla="*/ 291572 h 4687251"/>
              <a:gd name="connsiteX47764" fmla="*/ 3661026 w 8079933"/>
              <a:gd name="connsiteY47764" fmla="*/ 288324 h 4687251"/>
              <a:gd name="connsiteX47765" fmla="*/ 3659941 w 8079933"/>
              <a:gd name="connsiteY47765" fmla="*/ 286809 h 4687251"/>
              <a:gd name="connsiteX47766" fmla="*/ 3659941 w 8079933"/>
              <a:gd name="connsiteY47766" fmla="*/ 282911 h 4687251"/>
              <a:gd name="connsiteX47767" fmla="*/ 3661786 w 8079933"/>
              <a:gd name="connsiteY47767" fmla="*/ 280854 h 4687251"/>
              <a:gd name="connsiteX47768" fmla="*/ 3663739 w 8079933"/>
              <a:gd name="connsiteY47768" fmla="*/ 281936 h 4687251"/>
              <a:gd name="connsiteX47769" fmla="*/ 3663739 w 8079933"/>
              <a:gd name="connsiteY47769" fmla="*/ 285185 h 4687251"/>
              <a:gd name="connsiteX47770" fmla="*/ 3666343 w 8079933"/>
              <a:gd name="connsiteY47770" fmla="*/ 287891 h 4687251"/>
              <a:gd name="connsiteX47771" fmla="*/ 3670467 w 8079933"/>
              <a:gd name="connsiteY47771" fmla="*/ 287891 h 4687251"/>
              <a:gd name="connsiteX47772" fmla="*/ 3675133 w 8079933"/>
              <a:gd name="connsiteY47772" fmla="*/ 285834 h 4687251"/>
              <a:gd name="connsiteX47773" fmla="*/ 3676218 w 8079933"/>
              <a:gd name="connsiteY47773" fmla="*/ 283127 h 4687251"/>
              <a:gd name="connsiteX47774" fmla="*/ 3674808 w 8079933"/>
              <a:gd name="connsiteY47774" fmla="*/ 281179 h 4687251"/>
              <a:gd name="connsiteX47775" fmla="*/ 3674808 w 8079933"/>
              <a:gd name="connsiteY47775" fmla="*/ 278797 h 4687251"/>
              <a:gd name="connsiteX47776" fmla="*/ 3677195 w 8079933"/>
              <a:gd name="connsiteY47776" fmla="*/ 278797 h 4687251"/>
              <a:gd name="connsiteX47777" fmla="*/ 3678931 w 8079933"/>
              <a:gd name="connsiteY47777" fmla="*/ 275656 h 4687251"/>
              <a:gd name="connsiteX47778" fmla="*/ 3678931 w 8079933"/>
              <a:gd name="connsiteY47778" fmla="*/ 271001 h 4687251"/>
              <a:gd name="connsiteX47779" fmla="*/ 3678280 w 8079933"/>
              <a:gd name="connsiteY47779" fmla="*/ 267428 h 4687251"/>
              <a:gd name="connsiteX47780" fmla="*/ 3679691 w 8079933"/>
              <a:gd name="connsiteY47780" fmla="*/ 264613 h 4687251"/>
              <a:gd name="connsiteX47781" fmla="*/ 3682404 w 8079933"/>
              <a:gd name="connsiteY47781" fmla="*/ 263855 h 4687251"/>
              <a:gd name="connsiteX47782" fmla="*/ 3683489 w 8079933"/>
              <a:gd name="connsiteY47782" fmla="*/ 265804 h 4687251"/>
              <a:gd name="connsiteX47783" fmla="*/ 3687830 w 8079933"/>
              <a:gd name="connsiteY47783" fmla="*/ 267861 h 4687251"/>
              <a:gd name="connsiteX47784" fmla="*/ 3692496 w 8079933"/>
              <a:gd name="connsiteY47784" fmla="*/ 265912 h 4687251"/>
              <a:gd name="connsiteX47785" fmla="*/ 3694774 w 8079933"/>
              <a:gd name="connsiteY47785" fmla="*/ 263206 h 4687251"/>
              <a:gd name="connsiteX47786" fmla="*/ 3701178 w 8079933"/>
              <a:gd name="connsiteY47786" fmla="*/ 261040 h 4687251"/>
              <a:gd name="connsiteX47787" fmla="*/ 3706820 w 8079933"/>
              <a:gd name="connsiteY47787" fmla="*/ 261040 h 4687251"/>
              <a:gd name="connsiteX47788" fmla="*/ 3709533 w 8079933"/>
              <a:gd name="connsiteY47788" fmla="*/ 260066 h 4687251"/>
              <a:gd name="connsiteX47789" fmla="*/ 3715176 w 8079933"/>
              <a:gd name="connsiteY47789" fmla="*/ 261474 h 4687251"/>
              <a:gd name="connsiteX47790" fmla="*/ 3721361 w 8079933"/>
              <a:gd name="connsiteY47790" fmla="*/ 264505 h 4687251"/>
              <a:gd name="connsiteX47791" fmla="*/ 3727981 w 8079933"/>
              <a:gd name="connsiteY47791" fmla="*/ 266670 h 4687251"/>
              <a:gd name="connsiteX47792" fmla="*/ 3732864 w 8079933"/>
              <a:gd name="connsiteY47792" fmla="*/ 266670 h 4687251"/>
              <a:gd name="connsiteX47793" fmla="*/ 3736879 w 8079933"/>
              <a:gd name="connsiteY47793" fmla="*/ 268618 h 4687251"/>
              <a:gd name="connsiteX47794" fmla="*/ 3739592 w 8079933"/>
              <a:gd name="connsiteY47794" fmla="*/ 271651 h 4687251"/>
              <a:gd name="connsiteX47795" fmla="*/ 3742197 w 8079933"/>
              <a:gd name="connsiteY47795" fmla="*/ 271651 h 4687251"/>
              <a:gd name="connsiteX47796" fmla="*/ 3746863 w 8079933"/>
              <a:gd name="connsiteY47796" fmla="*/ 273708 h 4687251"/>
              <a:gd name="connsiteX47797" fmla="*/ 3748599 w 8079933"/>
              <a:gd name="connsiteY47797" fmla="*/ 277389 h 4687251"/>
              <a:gd name="connsiteX47798" fmla="*/ 3748599 w 8079933"/>
              <a:gd name="connsiteY47798" fmla="*/ 279879 h 4687251"/>
              <a:gd name="connsiteX47799" fmla="*/ 3755544 w 8079933"/>
              <a:gd name="connsiteY47799" fmla="*/ 285726 h 4687251"/>
              <a:gd name="connsiteX47800" fmla="*/ 3756738 w 8079933"/>
              <a:gd name="connsiteY47800" fmla="*/ 288541 h 4687251"/>
              <a:gd name="connsiteX47801" fmla="*/ 3759993 w 8079933"/>
              <a:gd name="connsiteY47801" fmla="*/ 291789 h 4687251"/>
              <a:gd name="connsiteX47802" fmla="*/ 3762055 w 8079933"/>
              <a:gd name="connsiteY47802" fmla="*/ 298502 h 4687251"/>
              <a:gd name="connsiteX47803" fmla="*/ 3762055 w 8079933"/>
              <a:gd name="connsiteY47803" fmla="*/ 303590 h 4687251"/>
              <a:gd name="connsiteX47804" fmla="*/ 3760210 w 8079933"/>
              <a:gd name="connsiteY47804" fmla="*/ 306621 h 4687251"/>
              <a:gd name="connsiteX47805" fmla="*/ 3755653 w 8079933"/>
              <a:gd name="connsiteY47805" fmla="*/ 308354 h 4687251"/>
              <a:gd name="connsiteX47806" fmla="*/ 3751746 w 8079933"/>
              <a:gd name="connsiteY47806" fmla="*/ 311385 h 4687251"/>
              <a:gd name="connsiteX47807" fmla="*/ 3750443 w 8079933"/>
              <a:gd name="connsiteY47807" fmla="*/ 313660 h 4687251"/>
              <a:gd name="connsiteX47808" fmla="*/ 3747731 w 8079933"/>
              <a:gd name="connsiteY47808" fmla="*/ 314742 h 4687251"/>
              <a:gd name="connsiteX47809" fmla="*/ 3743716 w 8079933"/>
              <a:gd name="connsiteY47809" fmla="*/ 317558 h 4687251"/>
              <a:gd name="connsiteX47810" fmla="*/ 3738832 w 8079933"/>
              <a:gd name="connsiteY47810" fmla="*/ 324379 h 4687251"/>
              <a:gd name="connsiteX47811" fmla="*/ 3736554 w 8079933"/>
              <a:gd name="connsiteY47811" fmla="*/ 327626 h 4687251"/>
              <a:gd name="connsiteX47812" fmla="*/ 3734709 w 8079933"/>
              <a:gd name="connsiteY47812" fmla="*/ 328385 h 4687251"/>
              <a:gd name="connsiteX47813" fmla="*/ 3731345 w 8079933"/>
              <a:gd name="connsiteY47813" fmla="*/ 327301 h 4687251"/>
              <a:gd name="connsiteX47814" fmla="*/ 3724834 w 8079933"/>
              <a:gd name="connsiteY47814" fmla="*/ 323295 h 4687251"/>
              <a:gd name="connsiteX47815" fmla="*/ 3722229 w 8079933"/>
              <a:gd name="connsiteY47815" fmla="*/ 323295 h 4687251"/>
              <a:gd name="connsiteX47816" fmla="*/ 3718866 w 8079933"/>
              <a:gd name="connsiteY47816" fmla="*/ 325894 h 4687251"/>
              <a:gd name="connsiteX47817" fmla="*/ 3716478 w 8079933"/>
              <a:gd name="connsiteY47817" fmla="*/ 330008 h 4687251"/>
              <a:gd name="connsiteX47818" fmla="*/ 3716478 w 8079933"/>
              <a:gd name="connsiteY47818" fmla="*/ 331849 h 4687251"/>
              <a:gd name="connsiteX47819" fmla="*/ 3717998 w 8079933"/>
              <a:gd name="connsiteY47819" fmla="*/ 333148 h 4687251"/>
              <a:gd name="connsiteX47820" fmla="*/ 3717998 w 8079933"/>
              <a:gd name="connsiteY47820" fmla="*/ 335639 h 4687251"/>
              <a:gd name="connsiteX47821" fmla="*/ 3720602 w 8079933"/>
              <a:gd name="connsiteY47821" fmla="*/ 339320 h 4687251"/>
              <a:gd name="connsiteX47822" fmla="*/ 3722229 w 8079933"/>
              <a:gd name="connsiteY47822" fmla="*/ 340619 h 4687251"/>
              <a:gd name="connsiteX47823" fmla="*/ 3722229 w 8079933"/>
              <a:gd name="connsiteY47823" fmla="*/ 343325 h 4687251"/>
              <a:gd name="connsiteX47824" fmla="*/ 3720711 w 8079933"/>
              <a:gd name="connsiteY47824" fmla="*/ 346141 h 4687251"/>
              <a:gd name="connsiteX47825" fmla="*/ 3717238 w 8079933"/>
              <a:gd name="connsiteY47825" fmla="*/ 346141 h 4687251"/>
              <a:gd name="connsiteX47826" fmla="*/ 3714416 w 8079933"/>
              <a:gd name="connsiteY47826" fmla="*/ 346141 h 4687251"/>
              <a:gd name="connsiteX47827" fmla="*/ 3707254 w 8079933"/>
              <a:gd name="connsiteY47827" fmla="*/ 349821 h 4687251"/>
              <a:gd name="connsiteX47828" fmla="*/ 3702914 w 8079933"/>
              <a:gd name="connsiteY47828" fmla="*/ 353070 h 4687251"/>
              <a:gd name="connsiteX47829" fmla="*/ 3699007 w 8079933"/>
              <a:gd name="connsiteY47829" fmla="*/ 353070 h 4687251"/>
              <a:gd name="connsiteX47830" fmla="*/ 3695860 w 8079933"/>
              <a:gd name="connsiteY47830" fmla="*/ 353070 h 4687251"/>
              <a:gd name="connsiteX47831" fmla="*/ 3693147 w 8079933"/>
              <a:gd name="connsiteY47831" fmla="*/ 351121 h 4687251"/>
              <a:gd name="connsiteX47832" fmla="*/ 3689348 w 8079933"/>
              <a:gd name="connsiteY47832" fmla="*/ 349605 h 4687251"/>
              <a:gd name="connsiteX47833" fmla="*/ 3685334 w 8079933"/>
              <a:gd name="connsiteY47833" fmla="*/ 349605 h 4687251"/>
              <a:gd name="connsiteX47834" fmla="*/ 3683381 w 8079933"/>
              <a:gd name="connsiteY47834" fmla="*/ 348306 h 4687251"/>
              <a:gd name="connsiteX47835" fmla="*/ 3680668 w 8079933"/>
              <a:gd name="connsiteY47835" fmla="*/ 347656 h 4687251"/>
              <a:gd name="connsiteX47836" fmla="*/ 3680016 w 8079933"/>
              <a:gd name="connsiteY47836" fmla="*/ 346682 h 4687251"/>
              <a:gd name="connsiteX47837" fmla="*/ 3677846 w 8079933"/>
              <a:gd name="connsiteY47837" fmla="*/ 346682 h 4687251"/>
              <a:gd name="connsiteX47838" fmla="*/ 3676327 w 8079933"/>
              <a:gd name="connsiteY47838" fmla="*/ 347332 h 4687251"/>
              <a:gd name="connsiteX47839" fmla="*/ 3675459 w 8079933"/>
              <a:gd name="connsiteY47839" fmla="*/ 349281 h 4687251"/>
              <a:gd name="connsiteX47840" fmla="*/ 3673614 w 8079933"/>
              <a:gd name="connsiteY47840" fmla="*/ 349281 h 4687251"/>
              <a:gd name="connsiteX47841" fmla="*/ 3670793 w 8079933"/>
              <a:gd name="connsiteY47841" fmla="*/ 348739 h 4687251"/>
              <a:gd name="connsiteX47842" fmla="*/ 3669165 w 8079933"/>
              <a:gd name="connsiteY47842" fmla="*/ 349713 h 4687251"/>
              <a:gd name="connsiteX47843" fmla="*/ 3667103 w 8079933"/>
              <a:gd name="connsiteY47843" fmla="*/ 352312 h 4687251"/>
              <a:gd name="connsiteX47844" fmla="*/ 3665584 w 8079933"/>
              <a:gd name="connsiteY47844" fmla="*/ 352312 h 4687251"/>
              <a:gd name="connsiteX47845" fmla="*/ 3663196 w 8079933"/>
              <a:gd name="connsiteY47845" fmla="*/ 352312 h 4687251"/>
              <a:gd name="connsiteX47846" fmla="*/ 3660809 w 8079933"/>
              <a:gd name="connsiteY47846" fmla="*/ 353936 h 4687251"/>
              <a:gd name="connsiteX47847" fmla="*/ 3658460 w 8079933"/>
              <a:gd name="connsiteY47847" fmla="*/ 354752 h 4687251"/>
              <a:gd name="connsiteX47848" fmla="*/ 3656794 w 8079933"/>
              <a:gd name="connsiteY47848" fmla="*/ 353828 h 4687251"/>
              <a:gd name="connsiteX47849" fmla="*/ 3653484 w 8079933"/>
              <a:gd name="connsiteY47849" fmla="*/ 353828 h 4687251"/>
              <a:gd name="connsiteX47850" fmla="*/ 3650500 w 8079933"/>
              <a:gd name="connsiteY47850" fmla="*/ 352637 h 4687251"/>
              <a:gd name="connsiteX47851" fmla="*/ 3645400 w 8079933"/>
              <a:gd name="connsiteY47851" fmla="*/ 353719 h 4687251"/>
              <a:gd name="connsiteX47852" fmla="*/ 3641384 w 8079933"/>
              <a:gd name="connsiteY47852" fmla="*/ 354586 h 4687251"/>
              <a:gd name="connsiteX47853" fmla="*/ 3637370 w 8079933"/>
              <a:gd name="connsiteY47853" fmla="*/ 353719 h 4687251"/>
              <a:gd name="connsiteX47854" fmla="*/ 3633463 w 8079933"/>
              <a:gd name="connsiteY47854" fmla="*/ 353719 h 4687251"/>
              <a:gd name="connsiteX47855" fmla="*/ 3637478 w 8079933"/>
              <a:gd name="connsiteY47855" fmla="*/ 355344 h 4687251"/>
              <a:gd name="connsiteX47856" fmla="*/ 3640951 w 8079933"/>
              <a:gd name="connsiteY47856" fmla="*/ 355344 h 4687251"/>
              <a:gd name="connsiteX47857" fmla="*/ 3650283 w 8079933"/>
              <a:gd name="connsiteY47857" fmla="*/ 355344 h 4687251"/>
              <a:gd name="connsiteX47858" fmla="*/ 3653213 w 8079933"/>
              <a:gd name="connsiteY47858" fmla="*/ 353828 h 4687251"/>
              <a:gd name="connsiteX47859" fmla="*/ 3653484 w 8079933"/>
              <a:gd name="connsiteY47859" fmla="*/ 353828 h 4687251"/>
              <a:gd name="connsiteX47860" fmla="*/ 3654298 w 8079933"/>
              <a:gd name="connsiteY47860" fmla="*/ 354152 h 4687251"/>
              <a:gd name="connsiteX47861" fmla="*/ 3658313 w 8079933"/>
              <a:gd name="connsiteY47861" fmla="*/ 354802 h 4687251"/>
              <a:gd name="connsiteX47862" fmla="*/ 3658460 w 8079933"/>
              <a:gd name="connsiteY47862" fmla="*/ 354752 h 4687251"/>
              <a:gd name="connsiteX47863" fmla="*/ 3660701 w 8079933"/>
              <a:gd name="connsiteY47863" fmla="*/ 355994 h 4687251"/>
              <a:gd name="connsiteX47864" fmla="*/ 3666018 w 8079933"/>
              <a:gd name="connsiteY47864" fmla="*/ 357184 h 4687251"/>
              <a:gd name="connsiteX47865" fmla="*/ 3675676 w 8079933"/>
              <a:gd name="connsiteY47865" fmla="*/ 357184 h 4687251"/>
              <a:gd name="connsiteX47866" fmla="*/ 3678931 w 8079933"/>
              <a:gd name="connsiteY47866" fmla="*/ 359891 h 4687251"/>
              <a:gd name="connsiteX47867" fmla="*/ 3680776 w 8079933"/>
              <a:gd name="connsiteY47867" fmla="*/ 359891 h 4687251"/>
              <a:gd name="connsiteX47868" fmla="*/ 3683489 w 8079933"/>
              <a:gd name="connsiteY47868" fmla="*/ 357076 h 4687251"/>
              <a:gd name="connsiteX47869" fmla="*/ 3687179 w 8079933"/>
              <a:gd name="connsiteY47869" fmla="*/ 357076 h 4687251"/>
              <a:gd name="connsiteX47870" fmla="*/ 3689783 w 8079933"/>
              <a:gd name="connsiteY47870" fmla="*/ 358159 h 4687251"/>
              <a:gd name="connsiteX47871" fmla="*/ 3691411 w 8079933"/>
              <a:gd name="connsiteY47871" fmla="*/ 360649 h 4687251"/>
              <a:gd name="connsiteX47872" fmla="*/ 3695752 w 8079933"/>
              <a:gd name="connsiteY47872" fmla="*/ 362057 h 4687251"/>
              <a:gd name="connsiteX47873" fmla="*/ 3698030 w 8079933"/>
              <a:gd name="connsiteY47873" fmla="*/ 365196 h 4687251"/>
              <a:gd name="connsiteX47874" fmla="*/ 3698030 w 8079933"/>
              <a:gd name="connsiteY47874" fmla="*/ 368337 h 4687251"/>
              <a:gd name="connsiteX47875" fmla="*/ 3694449 w 8079933"/>
              <a:gd name="connsiteY47875" fmla="*/ 371909 h 4687251"/>
              <a:gd name="connsiteX47876" fmla="*/ 3690760 w 8079933"/>
              <a:gd name="connsiteY47876" fmla="*/ 372559 h 4687251"/>
              <a:gd name="connsiteX47877" fmla="*/ 3688915 w 8079933"/>
              <a:gd name="connsiteY47877" fmla="*/ 372559 h 4687251"/>
              <a:gd name="connsiteX47878" fmla="*/ 3689892 w 8079933"/>
              <a:gd name="connsiteY47878" fmla="*/ 374832 h 4687251"/>
              <a:gd name="connsiteX47879" fmla="*/ 3689892 w 8079933"/>
              <a:gd name="connsiteY47879" fmla="*/ 378405 h 4687251"/>
              <a:gd name="connsiteX47880" fmla="*/ 3685876 w 8079933"/>
              <a:gd name="connsiteY47880" fmla="*/ 380896 h 4687251"/>
              <a:gd name="connsiteX47881" fmla="*/ 3677195 w 8079933"/>
              <a:gd name="connsiteY47881" fmla="*/ 383169 h 4687251"/>
              <a:gd name="connsiteX47882" fmla="*/ 3673180 w 8079933"/>
              <a:gd name="connsiteY47882" fmla="*/ 382194 h 4687251"/>
              <a:gd name="connsiteX47883" fmla="*/ 3668730 w 8079933"/>
              <a:gd name="connsiteY47883" fmla="*/ 383495 h 4687251"/>
              <a:gd name="connsiteX47884" fmla="*/ 3660158 w 8079933"/>
              <a:gd name="connsiteY47884" fmla="*/ 383495 h 4687251"/>
              <a:gd name="connsiteX47885" fmla="*/ 3657336 w 8079933"/>
              <a:gd name="connsiteY47885" fmla="*/ 380788 h 4687251"/>
              <a:gd name="connsiteX47886" fmla="*/ 3648112 w 8079933"/>
              <a:gd name="connsiteY47886" fmla="*/ 373749 h 4687251"/>
              <a:gd name="connsiteX47887" fmla="*/ 3642144 w 8079933"/>
              <a:gd name="connsiteY47887" fmla="*/ 373100 h 4687251"/>
              <a:gd name="connsiteX47888" fmla="*/ 3638671 w 8079933"/>
              <a:gd name="connsiteY47888" fmla="*/ 373100 h 4687251"/>
              <a:gd name="connsiteX47889" fmla="*/ 3634657 w 8079933"/>
              <a:gd name="connsiteY47889" fmla="*/ 376240 h 4687251"/>
              <a:gd name="connsiteX47890" fmla="*/ 3631727 w 8079933"/>
              <a:gd name="connsiteY47890" fmla="*/ 381979 h 4687251"/>
              <a:gd name="connsiteX47891" fmla="*/ 3626952 w 8079933"/>
              <a:gd name="connsiteY47891" fmla="*/ 384794 h 4687251"/>
              <a:gd name="connsiteX47892" fmla="*/ 3624999 w 8079933"/>
              <a:gd name="connsiteY47892" fmla="*/ 387284 h 4687251"/>
              <a:gd name="connsiteX47893" fmla="*/ 3621743 w 8079933"/>
              <a:gd name="connsiteY47893" fmla="*/ 387933 h 4687251"/>
              <a:gd name="connsiteX47894" fmla="*/ 3624131 w 8079933"/>
              <a:gd name="connsiteY47894" fmla="*/ 389232 h 4687251"/>
              <a:gd name="connsiteX47895" fmla="*/ 3627386 w 8079933"/>
              <a:gd name="connsiteY47895" fmla="*/ 389232 h 4687251"/>
              <a:gd name="connsiteX47896" fmla="*/ 3628362 w 8079933"/>
              <a:gd name="connsiteY47896" fmla="*/ 391722 h 4687251"/>
              <a:gd name="connsiteX47897" fmla="*/ 3628362 w 8079933"/>
              <a:gd name="connsiteY47897" fmla="*/ 395620 h 4687251"/>
              <a:gd name="connsiteX47898" fmla="*/ 3626626 w 8079933"/>
              <a:gd name="connsiteY47898" fmla="*/ 397028 h 4687251"/>
              <a:gd name="connsiteX47899" fmla="*/ 3623587 w 8079933"/>
              <a:gd name="connsiteY47899" fmla="*/ 397028 h 4687251"/>
              <a:gd name="connsiteX47900" fmla="*/ 3623587 w 8079933"/>
              <a:gd name="connsiteY47900" fmla="*/ 400384 h 4687251"/>
              <a:gd name="connsiteX47901" fmla="*/ 3625432 w 8079933"/>
              <a:gd name="connsiteY47901" fmla="*/ 402766 h 4687251"/>
              <a:gd name="connsiteX47902" fmla="*/ 3629665 w 8079933"/>
              <a:gd name="connsiteY47902" fmla="*/ 404498 h 4687251"/>
              <a:gd name="connsiteX47903" fmla="*/ 3632052 w 8079933"/>
              <a:gd name="connsiteY47903" fmla="*/ 403741 h 4687251"/>
              <a:gd name="connsiteX47904" fmla="*/ 3633246 w 8079933"/>
              <a:gd name="connsiteY47904" fmla="*/ 401467 h 4687251"/>
              <a:gd name="connsiteX47905" fmla="*/ 3638129 w 8079933"/>
              <a:gd name="connsiteY47905" fmla="*/ 398761 h 4687251"/>
              <a:gd name="connsiteX47906" fmla="*/ 3641276 w 8079933"/>
              <a:gd name="connsiteY47906" fmla="*/ 394754 h 4687251"/>
              <a:gd name="connsiteX47907" fmla="*/ 3646593 w 8079933"/>
              <a:gd name="connsiteY47907" fmla="*/ 392372 h 4687251"/>
              <a:gd name="connsiteX47908" fmla="*/ 3653430 w 8079933"/>
              <a:gd name="connsiteY47908" fmla="*/ 390531 h 4687251"/>
              <a:gd name="connsiteX47909" fmla="*/ 3659616 w 8079933"/>
              <a:gd name="connsiteY47909" fmla="*/ 388474 h 4687251"/>
              <a:gd name="connsiteX47910" fmla="*/ 3663196 w 8079933"/>
              <a:gd name="connsiteY47910" fmla="*/ 387825 h 4687251"/>
              <a:gd name="connsiteX47911" fmla="*/ 3665258 w 8079933"/>
              <a:gd name="connsiteY47911" fmla="*/ 389557 h 4687251"/>
              <a:gd name="connsiteX47912" fmla="*/ 3667212 w 8079933"/>
              <a:gd name="connsiteY47912" fmla="*/ 391181 h 4687251"/>
              <a:gd name="connsiteX47913" fmla="*/ 3671660 w 8079933"/>
              <a:gd name="connsiteY47913" fmla="*/ 392372 h 4687251"/>
              <a:gd name="connsiteX47914" fmla="*/ 3674591 w 8079933"/>
              <a:gd name="connsiteY47914" fmla="*/ 394863 h 4687251"/>
              <a:gd name="connsiteX47915" fmla="*/ 3675133 w 8079933"/>
              <a:gd name="connsiteY47915" fmla="*/ 396702 h 4687251"/>
              <a:gd name="connsiteX47916" fmla="*/ 3673723 w 8079933"/>
              <a:gd name="connsiteY47916" fmla="*/ 398219 h 4687251"/>
              <a:gd name="connsiteX47917" fmla="*/ 3668405 w 8079933"/>
              <a:gd name="connsiteY47917" fmla="*/ 402874 h 4687251"/>
              <a:gd name="connsiteX47918" fmla="*/ 3665801 w 8079933"/>
              <a:gd name="connsiteY47918" fmla="*/ 408396 h 4687251"/>
              <a:gd name="connsiteX47919" fmla="*/ 3662437 w 8079933"/>
              <a:gd name="connsiteY47919" fmla="*/ 412077 h 4687251"/>
              <a:gd name="connsiteX47920" fmla="*/ 3660809 w 8079933"/>
              <a:gd name="connsiteY47920" fmla="*/ 416084 h 4687251"/>
              <a:gd name="connsiteX47921" fmla="*/ 3654081 w 8079933"/>
              <a:gd name="connsiteY47921" fmla="*/ 421172 h 4687251"/>
              <a:gd name="connsiteX47922" fmla="*/ 3650283 w 8079933"/>
              <a:gd name="connsiteY47922" fmla="*/ 427344 h 4687251"/>
              <a:gd name="connsiteX47923" fmla="*/ 3642687 w 8079933"/>
              <a:gd name="connsiteY47923" fmla="*/ 438170 h 4687251"/>
              <a:gd name="connsiteX47924" fmla="*/ 3639539 w 8079933"/>
              <a:gd name="connsiteY47924" fmla="*/ 443151 h 4687251"/>
              <a:gd name="connsiteX47925" fmla="*/ 3636285 w 8079933"/>
              <a:gd name="connsiteY47925" fmla="*/ 446291 h 4687251"/>
              <a:gd name="connsiteX47926" fmla="*/ 3636285 w 8079933"/>
              <a:gd name="connsiteY47926" fmla="*/ 452462 h 4687251"/>
              <a:gd name="connsiteX47927" fmla="*/ 3634765 w 8079933"/>
              <a:gd name="connsiteY47927" fmla="*/ 457443 h 4687251"/>
              <a:gd name="connsiteX47928" fmla="*/ 3634765 w 8079933"/>
              <a:gd name="connsiteY47928" fmla="*/ 460475 h 4687251"/>
              <a:gd name="connsiteX47929" fmla="*/ 3631618 w 8079933"/>
              <a:gd name="connsiteY47929" fmla="*/ 463939 h 4687251"/>
              <a:gd name="connsiteX47930" fmla="*/ 3631618 w 8079933"/>
              <a:gd name="connsiteY47930" fmla="*/ 470111 h 4687251"/>
              <a:gd name="connsiteX47931" fmla="*/ 3629556 w 8079933"/>
              <a:gd name="connsiteY47931" fmla="*/ 476823 h 4687251"/>
              <a:gd name="connsiteX47932" fmla="*/ 3627277 w 8079933"/>
              <a:gd name="connsiteY47932" fmla="*/ 485052 h 4687251"/>
              <a:gd name="connsiteX47933" fmla="*/ 3629339 w 8079933"/>
              <a:gd name="connsiteY47933" fmla="*/ 488083 h 4687251"/>
              <a:gd name="connsiteX47934" fmla="*/ 3629990 w 8079933"/>
              <a:gd name="connsiteY47934" fmla="*/ 492847 h 4687251"/>
              <a:gd name="connsiteX47935" fmla="*/ 3628797 w 8079933"/>
              <a:gd name="connsiteY47935" fmla="*/ 499561 h 4687251"/>
              <a:gd name="connsiteX47936" fmla="*/ 3625324 w 8079933"/>
              <a:gd name="connsiteY47936" fmla="*/ 501942 h 4687251"/>
              <a:gd name="connsiteX47937" fmla="*/ 3622611 w 8079933"/>
              <a:gd name="connsiteY47937" fmla="*/ 504866 h 4687251"/>
              <a:gd name="connsiteX47938" fmla="*/ 3623696 w 8079933"/>
              <a:gd name="connsiteY47938" fmla="*/ 510279 h 4687251"/>
              <a:gd name="connsiteX47939" fmla="*/ 3622937 w 8079933"/>
              <a:gd name="connsiteY47939" fmla="*/ 512769 h 4687251"/>
              <a:gd name="connsiteX47940" fmla="*/ 3620549 w 8079933"/>
              <a:gd name="connsiteY47940" fmla="*/ 516125 h 4687251"/>
              <a:gd name="connsiteX47941" fmla="*/ 3619898 w 8079933"/>
              <a:gd name="connsiteY47941" fmla="*/ 521647 h 4687251"/>
              <a:gd name="connsiteX47942" fmla="*/ 3618053 w 8079933"/>
              <a:gd name="connsiteY47942" fmla="*/ 526952 h 4687251"/>
              <a:gd name="connsiteX47943" fmla="*/ 3614038 w 8079933"/>
              <a:gd name="connsiteY47943" fmla="*/ 530417 h 4687251"/>
              <a:gd name="connsiteX47944" fmla="*/ 3610892 w 8079933"/>
              <a:gd name="connsiteY47944" fmla="*/ 529768 h 4687251"/>
              <a:gd name="connsiteX47945" fmla="*/ 3609915 w 8079933"/>
              <a:gd name="connsiteY47945" fmla="*/ 526952 h 4687251"/>
              <a:gd name="connsiteX47946" fmla="*/ 3609915 w 8079933"/>
              <a:gd name="connsiteY47946" fmla="*/ 523812 h 4687251"/>
              <a:gd name="connsiteX47947" fmla="*/ 3607094 w 8079933"/>
              <a:gd name="connsiteY47947" fmla="*/ 521864 h 4687251"/>
              <a:gd name="connsiteX47948" fmla="*/ 3605249 w 8079933"/>
              <a:gd name="connsiteY47948" fmla="*/ 521864 h 4687251"/>
              <a:gd name="connsiteX47949" fmla="*/ 3608721 w 8079933"/>
              <a:gd name="connsiteY47949" fmla="*/ 519482 h 4687251"/>
              <a:gd name="connsiteX47950" fmla="*/ 3606985 w 8079933"/>
              <a:gd name="connsiteY47950" fmla="*/ 517425 h 4687251"/>
              <a:gd name="connsiteX47951" fmla="*/ 3604055 w 8079933"/>
              <a:gd name="connsiteY47951" fmla="*/ 516342 h 4687251"/>
              <a:gd name="connsiteX47952" fmla="*/ 3601776 w 8079933"/>
              <a:gd name="connsiteY47952" fmla="*/ 517750 h 4687251"/>
              <a:gd name="connsiteX47953" fmla="*/ 3599171 w 8079933"/>
              <a:gd name="connsiteY47953" fmla="*/ 517750 h 4687251"/>
              <a:gd name="connsiteX47954" fmla="*/ 3597327 w 8079933"/>
              <a:gd name="connsiteY47954" fmla="*/ 519699 h 4687251"/>
              <a:gd name="connsiteX47955" fmla="*/ 3597327 w 8079933"/>
              <a:gd name="connsiteY47955" fmla="*/ 521647 h 4687251"/>
              <a:gd name="connsiteX47956" fmla="*/ 3598846 w 8079933"/>
              <a:gd name="connsiteY47956" fmla="*/ 522730 h 4687251"/>
              <a:gd name="connsiteX47957" fmla="*/ 3598846 w 8079933"/>
              <a:gd name="connsiteY47957" fmla="*/ 525329 h 4687251"/>
              <a:gd name="connsiteX47958" fmla="*/ 3596893 w 8079933"/>
              <a:gd name="connsiteY47958" fmla="*/ 526952 h 4687251"/>
              <a:gd name="connsiteX47959" fmla="*/ 3596893 w 8079933"/>
              <a:gd name="connsiteY47959" fmla="*/ 528684 h 4687251"/>
              <a:gd name="connsiteX47960" fmla="*/ 3599606 w 8079933"/>
              <a:gd name="connsiteY47960" fmla="*/ 531392 h 4687251"/>
              <a:gd name="connsiteX47961" fmla="*/ 3602753 w 8079933"/>
              <a:gd name="connsiteY47961" fmla="*/ 532799 h 4687251"/>
              <a:gd name="connsiteX47962" fmla="*/ 3605249 w 8079933"/>
              <a:gd name="connsiteY47962" fmla="*/ 536047 h 4687251"/>
              <a:gd name="connsiteX47963" fmla="*/ 3607635 w 8079933"/>
              <a:gd name="connsiteY47963" fmla="*/ 538970 h 4687251"/>
              <a:gd name="connsiteX47964" fmla="*/ 3609047 w 8079933"/>
              <a:gd name="connsiteY47964" fmla="*/ 544384 h 4687251"/>
              <a:gd name="connsiteX47965" fmla="*/ 3613387 w 8079933"/>
              <a:gd name="connsiteY47965" fmla="*/ 545900 h 4687251"/>
              <a:gd name="connsiteX47966" fmla="*/ 3617185 w 8079933"/>
              <a:gd name="connsiteY47966" fmla="*/ 547740 h 4687251"/>
              <a:gd name="connsiteX47967" fmla="*/ 3621960 w 8079933"/>
              <a:gd name="connsiteY47967" fmla="*/ 552180 h 4687251"/>
              <a:gd name="connsiteX47968" fmla="*/ 3624131 w 8079933"/>
              <a:gd name="connsiteY47968" fmla="*/ 558027 h 4687251"/>
              <a:gd name="connsiteX47969" fmla="*/ 3622503 w 8079933"/>
              <a:gd name="connsiteY47969" fmla="*/ 560516 h 4687251"/>
              <a:gd name="connsiteX47970" fmla="*/ 3619790 w 8079933"/>
              <a:gd name="connsiteY47970" fmla="*/ 561166 h 4687251"/>
              <a:gd name="connsiteX47971" fmla="*/ 3616208 w 8079933"/>
              <a:gd name="connsiteY47971" fmla="*/ 558784 h 4687251"/>
              <a:gd name="connsiteX47972" fmla="*/ 3611217 w 8079933"/>
              <a:gd name="connsiteY47972" fmla="*/ 553587 h 4687251"/>
              <a:gd name="connsiteX47973" fmla="*/ 3610566 w 8079933"/>
              <a:gd name="connsiteY47973" fmla="*/ 551097 h 4687251"/>
              <a:gd name="connsiteX47974" fmla="*/ 3607962 w 8079933"/>
              <a:gd name="connsiteY47974" fmla="*/ 550230 h 4687251"/>
              <a:gd name="connsiteX47975" fmla="*/ 3606442 w 8079933"/>
              <a:gd name="connsiteY47975" fmla="*/ 548715 h 4687251"/>
              <a:gd name="connsiteX47976" fmla="*/ 3604597 w 8079933"/>
              <a:gd name="connsiteY47976" fmla="*/ 550230 h 4687251"/>
              <a:gd name="connsiteX47977" fmla="*/ 3603838 w 8079933"/>
              <a:gd name="connsiteY47977" fmla="*/ 552071 h 4687251"/>
              <a:gd name="connsiteX47978" fmla="*/ 3604814 w 8079933"/>
              <a:gd name="connsiteY47978" fmla="*/ 555211 h 4687251"/>
              <a:gd name="connsiteX47979" fmla="*/ 3606876 w 8079933"/>
              <a:gd name="connsiteY47979" fmla="*/ 558351 h 4687251"/>
              <a:gd name="connsiteX47980" fmla="*/ 3606876 w 8079933"/>
              <a:gd name="connsiteY47980" fmla="*/ 560516 h 4687251"/>
              <a:gd name="connsiteX47981" fmla="*/ 3603621 w 8079933"/>
              <a:gd name="connsiteY47981" fmla="*/ 559867 h 4687251"/>
              <a:gd name="connsiteX47982" fmla="*/ 3602536 w 8079933"/>
              <a:gd name="connsiteY47982" fmla="*/ 559217 h 4687251"/>
              <a:gd name="connsiteX47983" fmla="*/ 3601451 w 8079933"/>
              <a:gd name="connsiteY47983" fmla="*/ 560733 h 4687251"/>
              <a:gd name="connsiteX47984" fmla="*/ 3602753 w 8079933"/>
              <a:gd name="connsiteY47984" fmla="*/ 562573 h 4687251"/>
              <a:gd name="connsiteX47985" fmla="*/ 3605899 w 8079933"/>
              <a:gd name="connsiteY47985" fmla="*/ 564631 h 4687251"/>
              <a:gd name="connsiteX47986" fmla="*/ 3605899 w 8079933"/>
              <a:gd name="connsiteY47986" fmla="*/ 566147 h 4687251"/>
              <a:gd name="connsiteX47987" fmla="*/ 3604163 w 8079933"/>
              <a:gd name="connsiteY47987" fmla="*/ 567121 h 4687251"/>
              <a:gd name="connsiteX47988" fmla="*/ 3605682 w 8079933"/>
              <a:gd name="connsiteY47988" fmla="*/ 568745 h 4687251"/>
              <a:gd name="connsiteX47989" fmla="*/ 3608504 w 8079933"/>
              <a:gd name="connsiteY47989" fmla="*/ 568745 h 4687251"/>
              <a:gd name="connsiteX47990" fmla="*/ 3612845 w 8079933"/>
              <a:gd name="connsiteY47990" fmla="*/ 570261 h 4687251"/>
              <a:gd name="connsiteX47991" fmla="*/ 3613713 w 8079933"/>
              <a:gd name="connsiteY47991" fmla="*/ 572210 h 4687251"/>
              <a:gd name="connsiteX47992" fmla="*/ 3613713 w 8079933"/>
              <a:gd name="connsiteY47992" fmla="*/ 575674 h 4687251"/>
              <a:gd name="connsiteX47993" fmla="*/ 3613062 w 8079933"/>
              <a:gd name="connsiteY47993" fmla="*/ 577406 h 4687251"/>
              <a:gd name="connsiteX47994" fmla="*/ 3614798 w 8079933"/>
              <a:gd name="connsiteY47994" fmla="*/ 579030 h 4687251"/>
              <a:gd name="connsiteX47995" fmla="*/ 3617511 w 8079933"/>
              <a:gd name="connsiteY47995" fmla="*/ 577948 h 4687251"/>
              <a:gd name="connsiteX47996" fmla="*/ 3621743 w 8079933"/>
              <a:gd name="connsiteY47996" fmla="*/ 573400 h 4687251"/>
              <a:gd name="connsiteX47997" fmla="*/ 3623696 w 8079933"/>
              <a:gd name="connsiteY47997" fmla="*/ 570261 h 4687251"/>
              <a:gd name="connsiteX47998" fmla="*/ 3626735 w 8079933"/>
              <a:gd name="connsiteY47998" fmla="*/ 569719 h 4687251"/>
              <a:gd name="connsiteX47999" fmla="*/ 3626735 w 8079933"/>
              <a:gd name="connsiteY47999" fmla="*/ 571559 h 4687251"/>
              <a:gd name="connsiteX48000" fmla="*/ 3628037 w 8079933"/>
              <a:gd name="connsiteY48000" fmla="*/ 573509 h 4687251"/>
              <a:gd name="connsiteX48001" fmla="*/ 3629882 w 8079933"/>
              <a:gd name="connsiteY48001" fmla="*/ 573509 h 4687251"/>
              <a:gd name="connsiteX48002" fmla="*/ 3632595 w 8079933"/>
              <a:gd name="connsiteY48002" fmla="*/ 575782 h 4687251"/>
              <a:gd name="connsiteX48003" fmla="*/ 3636285 w 8079933"/>
              <a:gd name="connsiteY48003" fmla="*/ 577406 h 4687251"/>
              <a:gd name="connsiteX48004" fmla="*/ 3637478 w 8079933"/>
              <a:gd name="connsiteY48004" fmla="*/ 581196 h 4687251"/>
              <a:gd name="connsiteX48005" fmla="*/ 3637478 w 8079933"/>
              <a:gd name="connsiteY48005" fmla="*/ 584444 h 4687251"/>
              <a:gd name="connsiteX48006" fmla="*/ 3635958 w 8079933"/>
              <a:gd name="connsiteY48006" fmla="*/ 586285 h 4687251"/>
              <a:gd name="connsiteX48007" fmla="*/ 3635416 w 8079933"/>
              <a:gd name="connsiteY48007" fmla="*/ 592565 h 4687251"/>
              <a:gd name="connsiteX48008" fmla="*/ 3634223 w 8079933"/>
              <a:gd name="connsiteY48008" fmla="*/ 598087 h 4687251"/>
              <a:gd name="connsiteX48009" fmla="*/ 3634223 w 8079933"/>
              <a:gd name="connsiteY48009" fmla="*/ 600360 h 4687251"/>
              <a:gd name="connsiteX48010" fmla="*/ 3632378 w 8079933"/>
              <a:gd name="connsiteY48010" fmla="*/ 606532 h 4687251"/>
              <a:gd name="connsiteX48011" fmla="*/ 3630099 w 8079933"/>
              <a:gd name="connsiteY48011" fmla="*/ 609455 h 4687251"/>
              <a:gd name="connsiteX48012" fmla="*/ 3629448 w 8079933"/>
              <a:gd name="connsiteY48012" fmla="*/ 613569 h 4687251"/>
              <a:gd name="connsiteX48013" fmla="*/ 3628471 w 8079933"/>
              <a:gd name="connsiteY48013" fmla="*/ 615626 h 4687251"/>
              <a:gd name="connsiteX48014" fmla="*/ 3626952 w 8079933"/>
              <a:gd name="connsiteY48014" fmla="*/ 614543 h 4687251"/>
              <a:gd name="connsiteX48015" fmla="*/ 3624673 w 8079933"/>
              <a:gd name="connsiteY48015" fmla="*/ 610970 h 4687251"/>
              <a:gd name="connsiteX48016" fmla="*/ 3619790 w 8079933"/>
              <a:gd name="connsiteY48016" fmla="*/ 609238 h 4687251"/>
              <a:gd name="connsiteX48017" fmla="*/ 3617511 w 8079933"/>
              <a:gd name="connsiteY48017" fmla="*/ 606207 h 4687251"/>
              <a:gd name="connsiteX48018" fmla="*/ 3615340 w 8079933"/>
              <a:gd name="connsiteY48018" fmla="*/ 605449 h 4687251"/>
              <a:gd name="connsiteX48019" fmla="*/ 3613821 w 8079933"/>
              <a:gd name="connsiteY48019" fmla="*/ 606098 h 4687251"/>
              <a:gd name="connsiteX48020" fmla="*/ 3610132 w 8079933"/>
              <a:gd name="connsiteY48020" fmla="*/ 605232 h 4687251"/>
              <a:gd name="connsiteX48021" fmla="*/ 3609264 w 8079933"/>
              <a:gd name="connsiteY48021" fmla="*/ 603283 h 4687251"/>
              <a:gd name="connsiteX48022" fmla="*/ 3610023 w 8079933"/>
              <a:gd name="connsiteY48022" fmla="*/ 600143 h 4687251"/>
              <a:gd name="connsiteX48023" fmla="*/ 3607527 w 8079933"/>
              <a:gd name="connsiteY48023" fmla="*/ 597112 h 4687251"/>
              <a:gd name="connsiteX48024" fmla="*/ 3605357 w 8079933"/>
              <a:gd name="connsiteY48024" fmla="*/ 596463 h 4687251"/>
              <a:gd name="connsiteX48025" fmla="*/ 3603621 w 8079933"/>
              <a:gd name="connsiteY48025" fmla="*/ 597545 h 4687251"/>
              <a:gd name="connsiteX48026" fmla="*/ 3601342 w 8079933"/>
              <a:gd name="connsiteY48026" fmla="*/ 596679 h 4687251"/>
              <a:gd name="connsiteX48027" fmla="*/ 3598303 w 8079933"/>
              <a:gd name="connsiteY48027" fmla="*/ 593322 h 4687251"/>
              <a:gd name="connsiteX48028" fmla="*/ 3593963 w 8079933"/>
              <a:gd name="connsiteY48028" fmla="*/ 593322 h 4687251"/>
              <a:gd name="connsiteX48029" fmla="*/ 3590599 w 8079933"/>
              <a:gd name="connsiteY48029" fmla="*/ 594730 h 4687251"/>
              <a:gd name="connsiteX48030" fmla="*/ 3591792 w 8079933"/>
              <a:gd name="connsiteY48030" fmla="*/ 596245 h 4687251"/>
              <a:gd name="connsiteX48031" fmla="*/ 3591792 w 8079933"/>
              <a:gd name="connsiteY48031" fmla="*/ 598628 h 4687251"/>
              <a:gd name="connsiteX48032" fmla="*/ 3589514 w 8079933"/>
              <a:gd name="connsiteY48032" fmla="*/ 598628 h 4687251"/>
              <a:gd name="connsiteX48033" fmla="*/ 3587669 w 8079933"/>
              <a:gd name="connsiteY48033" fmla="*/ 597545 h 4687251"/>
              <a:gd name="connsiteX48034" fmla="*/ 3583219 w 8079933"/>
              <a:gd name="connsiteY48034" fmla="*/ 597545 h 4687251"/>
              <a:gd name="connsiteX48035" fmla="*/ 3580181 w 8079933"/>
              <a:gd name="connsiteY48035" fmla="*/ 598736 h 4687251"/>
              <a:gd name="connsiteX48036" fmla="*/ 3581266 w 8079933"/>
              <a:gd name="connsiteY48036" fmla="*/ 599818 h 4687251"/>
              <a:gd name="connsiteX48037" fmla="*/ 3584413 w 8079933"/>
              <a:gd name="connsiteY48037" fmla="*/ 599818 h 4687251"/>
              <a:gd name="connsiteX48038" fmla="*/ 3588429 w 8079933"/>
              <a:gd name="connsiteY48038" fmla="*/ 600901 h 4687251"/>
              <a:gd name="connsiteX48039" fmla="*/ 3589622 w 8079933"/>
              <a:gd name="connsiteY48039" fmla="*/ 602309 h 4687251"/>
              <a:gd name="connsiteX48040" fmla="*/ 3589622 w 8079933"/>
              <a:gd name="connsiteY48040" fmla="*/ 603716 h 4687251"/>
              <a:gd name="connsiteX48041" fmla="*/ 3586476 w 8079933"/>
              <a:gd name="connsiteY48041" fmla="*/ 604691 h 4687251"/>
              <a:gd name="connsiteX48042" fmla="*/ 3580832 w 8079933"/>
              <a:gd name="connsiteY48042" fmla="*/ 609779 h 4687251"/>
              <a:gd name="connsiteX48043" fmla="*/ 3577251 w 8079933"/>
              <a:gd name="connsiteY48043" fmla="*/ 612595 h 4687251"/>
              <a:gd name="connsiteX48044" fmla="*/ 3574647 w 8079933"/>
              <a:gd name="connsiteY48044" fmla="*/ 612053 h 4687251"/>
              <a:gd name="connsiteX48045" fmla="*/ 3573019 w 8079933"/>
              <a:gd name="connsiteY48045" fmla="*/ 609671 h 4687251"/>
              <a:gd name="connsiteX48046" fmla="*/ 3573019 w 8079933"/>
              <a:gd name="connsiteY48046" fmla="*/ 606640 h 4687251"/>
              <a:gd name="connsiteX48047" fmla="*/ 3571934 w 8079933"/>
              <a:gd name="connsiteY48047" fmla="*/ 605449 h 4687251"/>
              <a:gd name="connsiteX48048" fmla="*/ 3569438 w 8079933"/>
              <a:gd name="connsiteY48048" fmla="*/ 606532 h 4687251"/>
              <a:gd name="connsiteX48049" fmla="*/ 3569438 w 8079933"/>
              <a:gd name="connsiteY48049" fmla="*/ 609779 h 4687251"/>
              <a:gd name="connsiteX48050" fmla="*/ 3570415 w 8079933"/>
              <a:gd name="connsiteY48050" fmla="*/ 612595 h 4687251"/>
              <a:gd name="connsiteX48051" fmla="*/ 3568787 w 8079933"/>
              <a:gd name="connsiteY48051" fmla="*/ 614652 h 4687251"/>
              <a:gd name="connsiteX48052" fmla="*/ 3569980 w 8079933"/>
              <a:gd name="connsiteY48052" fmla="*/ 616708 h 4687251"/>
              <a:gd name="connsiteX48053" fmla="*/ 3570524 w 8079933"/>
              <a:gd name="connsiteY48053" fmla="*/ 619415 h 4687251"/>
              <a:gd name="connsiteX48054" fmla="*/ 3568896 w 8079933"/>
              <a:gd name="connsiteY48054" fmla="*/ 621581 h 4687251"/>
              <a:gd name="connsiteX48055" fmla="*/ 3570306 w 8079933"/>
              <a:gd name="connsiteY48055" fmla="*/ 623097 h 4687251"/>
              <a:gd name="connsiteX48056" fmla="*/ 3570306 w 8079933"/>
              <a:gd name="connsiteY48056" fmla="*/ 625696 h 4687251"/>
              <a:gd name="connsiteX48057" fmla="*/ 3568570 w 8079933"/>
              <a:gd name="connsiteY48057" fmla="*/ 626670 h 4687251"/>
              <a:gd name="connsiteX48058" fmla="*/ 3564012 w 8079933"/>
              <a:gd name="connsiteY48058" fmla="*/ 625154 h 4687251"/>
              <a:gd name="connsiteX48059" fmla="*/ 3561516 w 8079933"/>
              <a:gd name="connsiteY48059" fmla="*/ 625154 h 4687251"/>
              <a:gd name="connsiteX48060" fmla="*/ 3560323 w 8079933"/>
              <a:gd name="connsiteY48060" fmla="*/ 627428 h 4687251"/>
              <a:gd name="connsiteX48061" fmla="*/ 3563144 w 8079933"/>
              <a:gd name="connsiteY48061" fmla="*/ 629377 h 4687251"/>
              <a:gd name="connsiteX48062" fmla="*/ 3565965 w 8079933"/>
              <a:gd name="connsiteY48062" fmla="*/ 629377 h 4687251"/>
              <a:gd name="connsiteX48063" fmla="*/ 3571934 w 8079933"/>
              <a:gd name="connsiteY48063" fmla="*/ 629377 h 4687251"/>
              <a:gd name="connsiteX48064" fmla="*/ 3572693 w 8079933"/>
              <a:gd name="connsiteY48064" fmla="*/ 631001 h 4687251"/>
              <a:gd name="connsiteX48065" fmla="*/ 3572693 w 8079933"/>
              <a:gd name="connsiteY48065" fmla="*/ 634032 h 4687251"/>
              <a:gd name="connsiteX48066" fmla="*/ 3572693 w 8079933"/>
              <a:gd name="connsiteY48066" fmla="*/ 638254 h 4687251"/>
              <a:gd name="connsiteX48067" fmla="*/ 3573995 w 8079933"/>
              <a:gd name="connsiteY48067" fmla="*/ 638254 h 4687251"/>
              <a:gd name="connsiteX48068" fmla="*/ 3575515 w 8079933"/>
              <a:gd name="connsiteY48068" fmla="*/ 636089 h 4687251"/>
              <a:gd name="connsiteX48069" fmla="*/ 3580290 w 8079933"/>
              <a:gd name="connsiteY48069" fmla="*/ 635223 h 4687251"/>
              <a:gd name="connsiteX48070" fmla="*/ 3584739 w 8079933"/>
              <a:gd name="connsiteY48070" fmla="*/ 637064 h 4687251"/>
              <a:gd name="connsiteX48071" fmla="*/ 3586801 w 8079933"/>
              <a:gd name="connsiteY48071" fmla="*/ 638904 h 4687251"/>
              <a:gd name="connsiteX48072" fmla="*/ 3591901 w 8079933"/>
              <a:gd name="connsiteY48072" fmla="*/ 638904 h 4687251"/>
              <a:gd name="connsiteX48073" fmla="*/ 3595482 w 8079933"/>
              <a:gd name="connsiteY48073" fmla="*/ 639878 h 4687251"/>
              <a:gd name="connsiteX48074" fmla="*/ 3598195 w 8079933"/>
              <a:gd name="connsiteY48074" fmla="*/ 638904 h 4687251"/>
              <a:gd name="connsiteX48075" fmla="*/ 3600148 w 8079933"/>
              <a:gd name="connsiteY48075" fmla="*/ 637389 h 4687251"/>
              <a:gd name="connsiteX48076" fmla="*/ 3601884 w 8079933"/>
              <a:gd name="connsiteY48076" fmla="*/ 638254 h 4687251"/>
              <a:gd name="connsiteX48077" fmla="*/ 3601884 w 8079933"/>
              <a:gd name="connsiteY48077" fmla="*/ 640854 h 4687251"/>
              <a:gd name="connsiteX48078" fmla="*/ 3601884 w 8079933"/>
              <a:gd name="connsiteY48078" fmla="*/ 645292 h 4687251"/>
              <a:gd name="connsiteX48079" fmla="*/ 3601884 w 8079933"/>
              <a:gd name="connsiteY48079" fmla="*/ 647890 h 4687251"/>
              <a:gd name="connsiteX48080" fmla="*/ 3600908 w 8079933"/>
              <a:gd name="connsiteY48080" fmla="*/ 649406 h 4687251"/>
              <a:gd name="connsiteX48081" fmla="*/ 3598303 w 8079933"/>
              <a:gd name="connsiteY48081" fmla="*/ 650813 h 4687251"/>
              <a:gd name="connsiteX48082" fmla="*/ 3596350 w 8079933"/>
              <a:gd name="connsiteY48082" fmla="*/ 649406 h 4687251"/>
              <a:gd name="connsiteX48083" fmla="*/ 3593203 w 8079933"/>
              <a:gd name="connsiteY48083" fmla="*/ 648323 h 4687251"/>
              <a:gd name="connsiteX48084" fmla="*/ 3590165 w 8079933"/>
              <a:gd name="connsiteY48084" fmla="*/ 649839 h 4687251"/>
              <a:gd name="connsiteX48085" fmla="*/ 3587561 w 8079933"/>
              <a:gd name="connsiteY48085" fmla="*/ 650813 h 4687251"/>
              <a:gd name="connsiteX48086" fmla="*/ 3585281 w 8079933"/>
              <a:gd name="connsiteY48086" fmla="*/ 648864 h 4687251"/>
              <a:gd name="connsiteX48087" fmla="*/ 3579096 w 8079933"/>
              <a:gd name="connsiteY48087" fmla="*/ 649731 h 4687251"/>
              <a:gd name="connsiteX48088" fmla="*/ 3573995 w 8079933"/>
              <a:gd name="connsiteY48088" fmla="*/ 650813 h 4687251"/>
              <a:gd name="connsiteX48089" fmla="*/ 3571500 w 8079933"/>
              <a:gd name="connsiteY48089" fmla="*/ 650164 h 4687251"/>
              <a:gd name="connsiteX48090" fmla="*/ 3570524 w 8079933"/>
              <a:gd name="connsiteY48090" fmla="*/ 648431 h 4687251"/>
              <a:gd name="connsiteX48091" fmla="*/ 3569764 w 8079933"/>
              <a:gd name="connsiteY48091" fmla="*/ 650597 h 4687251"/>
              <a:gd name="connsiteX48092" fmla="*/ 3570740 w 8079933"/>
              <a:gd name="connsiteY48092" fmla="*/ 651680 h 4687251"/>
              <a:gd name="connsiteX48093" fmla="*/ 3571717 w 8079933"/>
              <a:gd name="connsiteY48093" fmla="*/ 653520 h 4687251"/>
              <a:gd name="connsiteX48094" fmla="*/ 3574430 w 8079933"/>
              <a:gd name="connsiteY48094" fmla="*/ 653520 h 4687251"/>
              <a:gd name="connsiteX48095" fmla="*/ 3577902 w 8079933"/>
              <a:gd name="connsiteY48095" fmla="*/ 652546 h 4687251"/>
              <a:gd name="connsiteX48096" fmla="*/ 3585499 w 8079933"/>
              <a:gd name="connsiteY48096" fmla="*/ 652546 h 4687251"/>
              <a:gd name="connsiteX48097" fmla="*/ 3588645 w 8079933"/>
              <a:gd name="connsiteY48097" fmla="*/ 654386 h 4687251"/>
              <a:gd name="connsiteX48098" fmla="*/ 3591142 w 8079933"/>
              <a:gd name="connsiteY48098" fmla="*/ 657093 h 4687251"/>
              <a:gd name="connsiteX48099" fmla="*/ 3593746 w 8079933"/>
              <a:gd name="connsiteY48099" fmla="*/ 657093 h 4687251"/>
              <a:gd name="connsiteX48100" fmla="*/ 3597001 w 8079933"/>
              <a:gd name="connsiteY48100" fmla="*/ 658176 h 4687251"/>
              <a:gd name="connsiteX48101" fmla="*/ 3599497 w 8079933"/>
              <a:gd name="connsiteY48101" fmla="*/ 660882 h 4687251"/>
              <a:gd name="connsiteX48102" fmla="*/ 3601993 w 8079933"/>
              <a:gd name="connsiteY48102" fmla="*/ 664888 h 4687251"/>
              <a:gd name="connsiteX48103" fmla="*/ 3605574 w 8079933"/>
              <a:gd name="connsiteY48103" fmla="*/ 668461 h 4687251"/>
              <a:gd name="connsiteX48104" fmla="*/ 3606334 w 8079933"/>
              <a:gd name="connsiteY48104" fmla="*/ 670519 h 4687251"/>
              <a:gd name="connsiteX48105" fmla="*/ 3605249 w 8079933"/>
              <a:gd name="connsiteY48105" fmla="*/ 670519 h 4687251"/>
              <a:gd name="connsiteX48106" fmla="*/ 3602427 w 8079933"/>
              <a:gd name="connsiteY48106" fmla="*/ 669761 h 4687251"/>
              <a:gd name="connsiteX48107" fmla="*/ 3600800 w 8079933"/>
              <a:gd name="connsiteY48107" fmla="*/ 668678 h 4687251"/>
              <a:gd name="connsiteX48108" fmla="*/ 3600800 w 8079933"/>
              <a:gd name="connsiteY48108" fmla="*/ 670194 h 4687251"/>
              <a:gd name="connsiteX48109" fmla="*/ 3600800 w 8079933"/>
              <a:gd name="connsiteY48109" fmla="*/ 672576 h 4687251"/>
              <a:gd name="connsiteX48110" fmla="*/ 3602644 w 8079933"/>
              <a:gd name="connsiteY48110" fmla="*/ 676149 h 4687251"/>
              <a:gd name="connsiteX48111" fmla="*/ 3602644 w 8079933"/>
              <a:gd name="connsiteY48111" fmla="*/ 681670 h 4687251"/>
              <a:gd name="connsiteX48112" fmla="*/ 3602644 w 8079933"/>
              <a:gd name="connsiteY48112" fmla="*/ 683727 h 4687251"/>
              <a:gd name="connsiteX48113" fmla="*/ 3603621 w 8079933"/>
              <a:gd name="connsiteY48113" fmla="*/ 687842 h 4687251"/>
              <a:gd name="connsiteX48114" fmla="*/ 3602969 w 8079933"/>
              <a:gd name="connsiteY48114" fmla="*/ 690441 h 4687251"/>
              <a:gd name="connsiteX48115" fmla="*/ 3601559 w 8079933"/>
              <a:gd name="connsiteY48115" fmla="*/ 693039 h 4687251"/>
              <a:gd name="connsiteX48116" fmla="*/ 3599063 w 8079933"/>
              <a:gd name="connsiteY48116" fmla="*/ 700726 h 4687251"/>
              <a:gd name="connsiteX48117" fmla="*/ 3596350 w 8079933"/>
              <a:gd name="connsiteY48117" fmla="*/ 703541 h 4687251"/>
              <a:gd name="connsiteX48118" fmla="*/ 3593854 w 8079933"/>
              <a:gd name="connsiteY48118" fmla="*/ 703541 h 4687251"/>
              <a:gd name="connsiteX48119" fmla="*/ 3591575 w 8079933"/>
              <a:gd name="connsiteY48119" fmla="*/ 701592 h 4687251"/>
              <a:gd name="connsiteX48120" fmla="*/ 3589622 w 8079933"/>
              <a:gd name="connsiteY48120" fmla="*/ 697802 h 4687251"/>
              <a:gd name="connsiteX48121" fmla="*/ 3592443 w 8079933"/>
              <a:gd name="connsiteY48121" fmla="*/ 695312 h 4687251"/>
              <a:gd name="connsiteX48122" fmla="*/ 3591467 w 8079933"/>
              <a:gd name="connsiteY48122" fmla="*/ 693147 h 4687251"/>
              <a:gd name="connsiteX48123" fmla="*/ 3588971 w 8079933"/>
              <a:gd name="connsiteY48123" fmla="*/ 692498 h 4687251"/>
              <a:gd name="connsiteX48124" fmla="*/ 3587126 w 8079933"/>
              <a:gd name="connsiteY48124" fmla="*/ 693580 h 4687251"/>
              <a:gd name="connsiteX48125" fmla="*/ 3584413 w 8079933"/>
              <a:gd name="connsiteY48125" fmla="*/ 692931 h 4687251"/>
              <a:gd name="connsiteX48126" fmla="*/ 3579096 w 8079933"/>
              <a:gd name="connsiteY48126" fmla="*/ 686651 h 4687251"/>
              <a:gd name="connsiteX48127" fmla="*/ 3574647 w 8079933"/>
              <a:gd name="connsiteY48127" fmla="*/ 683403 h 4687251"/>
              <a:gd name="connsiteX48128" fmla="*/ 3570632 w 8079933"/>
              <a:gd name="connsiteY48128" fmla="*/ 679722 h 4687251"/>
              <a:gd name="connsiteX48129" fmla="*/ 3570632 w 8079933"/>
              <a:gd name="connsiteY48129" fmla="*/ 677123 h 4687251"/>
              <a:gd name="connsiteX48130" fmla="*/ 3569004 w 8079933"/>
              <a:gd name="connsiteY48130" fmla="*/ 673333 h 4687251"/>
              <a:gd name="connsiteX48131" fmla="*/ 3563578 w 8079933"/>
              <a:gd name="connsiteY48131" fmla="*/ 667271 h 4687251"/>
              <a:gd name="connsiteX48132" fmla="*/ 3561299 w 8079933"/>
              <a:gd name="connsiteY48132" fmla="*/ 665863 h 4687251"/>
              <a:gd name="connsiteX48133" fmla="*/ 3560431 w 8079933"/>
              <a:gd name="connsiteY48133" fmla="*/ 665863 h 4687251"/>
              <a:gd name="connsiteX48134" fmla="*/ 3560431 w 8079933"/>
              <a:gd name="connsiteY48134" fmla="*/ 667379 h 4687251"/>
              <a:gd name="connsiteX48135" fmla="*/ 3561516 w 8079933"/>
              <a:gd name="connsiteY48135" fmla="*/ 669219 h 4687251"/>
              <a:gd name="connsiteX48136" fmla="*/ 3565531 w 8079933"/>
              <a:gd name="connsiteY48136" fmla="*/ 673659 h 4687251"/>
              <a:gd name="connsiteX48137" fmla="*/ 3565531 w 8079933"/>
              <a:gd name="connsiteY48137" fmla="*/ 676149 h 4687251"/>
              <a:gd name="connsiteX48138" fmla="*/ 3564338 w 8079933"/>
              <a:gd name="connsiteY48138" fmla="*/ 677990 h 4687251"/>
              <a:gd name="connsiteX48139" fmla="*/ 3558803 w 8079933"/>
              <a:gd name="connsiteY48139" fmla="*/ 677990 h 4687251"/>
              <a:gd name="connsiteX48140" fmla="*/ 3555982 w 8079933"/>
              <a:gd name="connsiteY48140" fmla="*/ 675607 h 4687251"/>
              <a:gd name="connsiteX48141" fmla="*/ 3553703 w 8079933"/>
              <a:gd name="connsiteY48141" fmla="*/ 671384 h 4687251"/>
              <a:gd name="connsiteX48142" fmla="*/ 3551750 w 8079933"/>
              <a:gd name="connsiteY48142" fmla="*/ 668894 h 4687251"/>
              <a:gd name="connsiteX48143" fmla="*/ 3551750 w 8079933"/>
              <a:gd name="connsiteY48143" fmla="*/ 671602 h 4687251"/>
              <a:gd name="connsiteX48144" fmla="*/ 3551750 w 8079933"/>
              <a:gd name="connsiteY48144" fmla="*/ 674416 h 4687251"/>
              <a:gd name="connsiteX48145" fmla="*/ 3555440 w 8079933"/>
              <a:gd name="connsiteY48145" fmla="*/ 678855 h 4687251"/>
              <a:gd name="connsiteX48146" fmla="*/ 3562384 w 8079933"/>
              <a:gd name="connsiteY48146" fmla="*/ 681670 h 4687251"/>
              <a:gd name="connsiteX48147" fmla="*/ 3568461 w 8079933"/>
              <a:gd name="connsiteY48147" fmla="*/ 681670 h 4687251"/>
              <a:gd name="connsiteX48148" fmla="*/ 3574972 w 8079933"/>
              <a:gd name="connsiteY48148" fmla="*/ 686651 h 4687251"/>
              <a:gd name="connsiteX48149" fmla="*/ 3583545 w 8079933"/>
              <a:gd name="connsiteY48149" fmla="*/ 695529 h 4687251"/>
              <a:gd name="connsiteX48150" fmla="*/ 3584522 w 8079933"/>
              <a:gd name="connsiteY48150" fmla="*/ 698128 h 4687251"/>
              <a:gd name="connsiteX48151" fmla="*/ 3583219 w 8079933"/>
              <a:gd name="connsiteY48151" fmla="*/ 700293 h 4687251"/>
              <a:gd name="connsiteX48152" fmla="*/ 3581158 w 8079933"/>
              <a:gd name="connsiteY48152" fmla="*/ 700293 h 4687251"/>
              <a:gd name="connsiteX48153" fmla="*/ 3578445 w 8079933"/>
              <a:gd name="connsiteY48153" fmla="*/ 698453 h 4687251"/>
              <a:gd name="connsiteX48154" fmla="*/ 3574322 w 8079933"/>
              <a:gd name="connsiteY48154" fmla="*/ 698453 h 4687251"/>
              <a:gd name="connsiteX48155" fmla="*/ 3571392 w 8079933"/>
              <a:gd name="connsiteY48155" fmla="*/ 699968 h 4687251"/>
              <a:gd name="connsiteX48156" fmla="*/ 3567159 w 8079933"/>
              <a:gd name="connsiteY48156" fmla="*/ 704083 h 4687251"/>
              <a:gd name="connsiteX48157" fmla="*/ 3564229 w 8079933"/>
              <a:gd name="connsiteY48157" fmla="*/ 704083 h 4687251"/>
              <a:gd name="connsiteX48158" fmla="*/ 3560648 w 8079933"/>
              <a:gd name="connsiteY48158" fmla="*/ 702459 h 4687251"/>
              <a:gd name="connsiteX48159" fmla="*/ 3559454 w 8079933"/>
              <a:gd name="connsiteY48159" fmla="*/ 699427 h 4687251"/>
              <a:gd name="connsiteX48160" fmla="*/ 3560323 w 8079933"/>
              <a:gd name="connsiteY48160" fmla="*/ 697694 h 4687251"/>
              <a:gd name="connsiteX48161" fmla="*/ 3559454 w 8079933"/>
              <a:gd name="connsiteY48161" fmla="*/ 695963 h 4687251"/>
              <a:gd name="connsiteX48162" fmla="*/ 3556308 w 8079933"/>
              <a:gd name="connsiteY48162" fmla="*/ 693688 h 4687251"/>
              <a:gd name="connsiteX48163" fmla="*/ 3556308 w 8079933"/>
              <a:gd name="connsiteY48163" fmla="*/ 696504 h 4687251"/>
              <a:gd name="connsiteX48164" fmla="*/ 3557718 w 8079933"/>
              <a:gd name="connsiteY48164" fmla="*/ 698886 h 4687251"/>
              <a:gd name="connsiteX48165" fmla="*/ 3558586 w 8079933"/>
              <a:gd name="connsiteY48165" fmla="*/ 703541 h 4687251"/>
              <a:gd name="connsiteX48166" fmla="*/ 3559888 w 8079933"/>
              <a:gd name="connsiteY48166" fmla="*/ 706248 h 4687251"/>
              <a:gd name="connsiteX48167" fmla="*/ 3564121 w 8079933"/>
              <a:gd name="connsiteY48167" fmla="*/ 707114 h 4687251"/>
              <a:gd name="connsiteX48168" fmla="*/ 3568787 w 8079933"/>
              <a:gd name="connsiteY48168" fmla="*/ 706140 h 4687251"/>
              <a:gd name="connsiteX48169" fmla="*/ 3572693 w 8079933"/>
              <a:gd name="connsiteY48169" fmla="*/ 701376 h 4687251"/>
              <a:gd name="connsiteX48170" fmla="*/ 3575190 w 8079933"/>
              <a:gd name="connsiteY48170" fmla="*/ 701376 h 4687251"/>
              <a:gd name="connsiteX48171" fmla="*/ 3580724 w 8079933"/>
              <a:gd name="connsiteY48171" fmla="*/ 704083 h 4687251"/>
              <a:gd name="connsiteX48172" fmla="*/ 3580724 w 8079933"/>
              <a:gd name="connsiteY48172" fmla="*/ 707222 h 4687251"/>
              <a:gd name="connsiteX48173" fmla="*/ 3579747 w 8079933"/>
              <a:gd name="connsiteY48173" fmla="*/ 708630 h 4687251"/>
              <a:gd name="connsiteX48174" fmla="*/ 3578662 w 8079933"/>
              <a:gd name="connsiteY48174" fmla="*/ 716534 h 4687251"/>
              <a:gd name="connsiteX48175" fmla="*/ 3576926 w 8079933"/>
              <a:gd name="connsiteY48175" fmla="*/ 719240 h 4687251"/>
              <a:gd name="connsiteX48176" fmla="*/ 3574647 w 8079933"/>
              <a:gd name="connsiteY48176" fmla="*/ 719240 h 4687251"/>
              <a:gd name="connsiteX48177" fmla="*/ 3574647 w 8079933"/>
              <a:gd name="connsiteY48177" fmla="*/ 721189 h 4687251"/>
              <a:gd name="connsiteX48178" fmla="*/ 3576600 w 8079933"/>
              <a:gd name="connsiteY48178" fmla="*/ 723030 h 4687251"/>
              <a:gd name="connsiteX48179" fmla="*/ 3578988 w 8079933"/>
              <a:gd name="connsiteY48179" fmla="*/ 721514 h 4687251"/>
              <a:gd name="connsiteX48180" fmla="*/ 3583979 w 8079933"/>
              <a:gd name="connsiteY48180" fmla="*/ 722597 h 4687251"/>
              <a:gd name="connsiteX48181" fmla="*/ 3587561 w 8079933"/>
              <a:gd name="connsiteY48181" fmla="*/ 726820 h 4687251"/>
              <a:gd name="connsiteX48182" fmla="*/ 3592878 w 8079933"/>
              <a:gd name="connsiteY48182" fmla="*/ 729526 h 4687251"/>
              <a:gd name="connsiteX48183" fmla="*/ 3594397 w 8079933"/>
              <a:gd name="connsiteY48183" fmla="*/ 727794 h 4687251"/>
              <a:gd name="connsiteX48184" fmla="*/ 3597544 w 8079933"/>
              <a:gd name="connsiteY48184" fmla="*/ 725953 h 4687251"/>
              <a:gd name="connsiteX48185" fmla="*/ 3601884 w 8079933"/>
              <a:gd name="connsiteY48185" fmla="*/ 726494 h 4687251"/>
              <a:gd name="connsiteX48186" fmla="*/ 3601884 w 8079933"/>
              <a:gd name="connsiteY48186" fmla="*/ 728335 h 4687251"/>
              <a:gd name="connsiteX48187" fmla="*/ 3600256 w 8079933"/>
              <a:gd name="connsiteY48187" fmla="*/ 731042 h 4687251"/>
              <a:gd name="connsiteX48188" fmla="*/ 3600908 w 8079933"/>
              <a:gd name="connsiteY48188" fmla="*/ 734832 h 4687251"/>
              <a:gd name="connsiteX48189" fmla="*/ 3602861 w 8079933"/>
              <a:gd name="connsiteY48189" fmla="*/ 737538 h 4687251"/>
              <a:gd name="connsiteX48190" fmla="*/ 3601233 w 8079933"/>
              <a:gd name="connsiteY48190" fmla="*/ 741436 h 4687251"/>
              <a:gd name="connsiteX48191" fmla="*/ 3597001 w 8079933"/>
              <a:gd name="connsiteY48191" fmla="*/ 748148 h 4687251"/>
              <a:gd name="connsiteX48192" fmla="*/ 3591683 w 8079933"/>
              <a:gd name="connsiteY48192" fmla="*/ 750964 h 4687251"/>
              <a:gd name="connsiteX48193" fmla="*/ 3589405 w 8079933"/>
              <a:gd name="connsiteY48193" fmla="*/ 750097 h 4687251"/>
              <a:gd name="connsiteX48194" fmla="*/ 3588754 w 8079933"/>
              <a:gd name="connsiteY48194" fmla="*/ 747174 h 4687251"/>
              <a:gd name="connsiteX48195" fmla="*/ 3586149 w 8079933"/>
              <a:gd name="connsiteY48195" fmla="*/ 745442 h 4687251"/>
              <a:gd name="connsiteX48196" fmla="*/ 3584630 w 8079933"/>
              <a:gd name="connsiteY48196" fmla="*/ 741977 h 4687251"/>
              <a:gd name="connsiteX48197" fmla="*/ 3584630 w 8079933"/>
              <a:gd name="connsiteY48197" fmla="*/ 738512 h 4687251"/>
              <a:gd name="connsiteX48198" fmla="*/ 3579422 w 8079933"/>
              <a:gd name="connsiteY48198" fmla="*/ 734723 h 4687251"/>
              <a:gd name="connsiteX48199" fmla="*/ 3575515 w 8079933"/>
              <a:gd name="connsiteY48199" fmla="*/ 733532 h 4687251"/>
              <a:gd name="connsiteX48200" fmla="*/ 3571825 w 8079933"/>
              <a:gd name="connsiteY48200" fmla="*/ 731042 h 4687251"/>
              <a:gd name="connsiteX48201" fmla="*/ 3568570 w 8079933"/>
              <a:gd name="connsiteY48201" fmla="*/ 730501 h 4687251"/>
              <a:gd name="connsiteX48202" fmla="*/ 3565423 w 8079933"/>
              <a:gd name="connsiteY48202" fmla="*/ 732558 h 4687251"/>
              <a:gd name="connsiteX48203" fmla="*/ 3562276 w 8079933"/>
              <a:gd name="connsiteY48203" fmla="*/ 732558 h 4687251"/>
              <a:gd name="connsiteX48204" fmla="*/ 3560539 w 8079933"/>
              <a:gd name="connsiteY48204" fmla="*/ 731150 h 4687251"/>
              <a:gd name="connsiteX48205" fmla="*/ 3558912 w 8079933"/>
              <a:gd name="connsiteY48205" fmla="*/ 727902 h 4687251"/>
              <a:gd name="connsiteX48206" fmla="*/ 3556525 w 8079933"/>
              <a:gd name="connsiteY48206" fmla="*/ 725195 h 4687251"/>
              <a:gd name="connsiteX48207" fmla="*/ 3554897 w 8079933"/>
              <a:gd name="connsiteY48207" fmla="*/ 725195 h 4687251"/>
              <a:gd name="connsiteX48208" fmla="*/ 3554897 w 8079933"/>
              <a:gd name="connsiteY48208" fmla="*/ 727036 h 4687251"/>
              <a:gd name="connsiteX48209" fmla="*/ 3556308 w 8079933"/>
              <a:gd name="connsiteY48209" fmla="*/ 729743 h 4687251"/>
              <a:gd name="connsiteX48210" fmla="*/ 3556308 w 8079933"/>
              <a:gd name="connsiteY48210" fmla="*/ 734723 h 4687251"/>
              <a:gd name="connsiteX48211" fmla="*/ 3554788 w 8079933"/>
              <a:gd name="connsiteY48211" fmla="*/ 737863 h 4687251"/>
              <a:gd name="connsiteX48212" fmla="*/ 3552075 w 8079933"/>
              <a:gd name="connsiteY48212" fmla="*/ 739487 h 4687251"/>
              <a:gd name="connsiteX48213" fmla="*/ 3548602 w 8079933"/>
              <a:gd name="connsiteY48213" fmla="*/ 739487 h 4687251"/>
              <a:gd name="connsiteX48214" fmla="*/ 3546541 w 8079933"/>
              <a:gd name="connsiteY48214" fmla="*/ 740678 h 4687251"/>
              <a:gd name="connsiteX48215" fmla="*/ 3549037 w 8079933"/>
              <a:gd name="connsiteY48215" fmla="*/ 741544 h 4687251"/>
              <a:gd name="connsiteX48216" fmla="*/ 3550556 w 8079933"/>
              <a:gd name="connsiteY48216" fmla="*/ 743493 h 4687251"/>
              <a:gd name="connsiteX48217" fmla="*/ 3550556 w 8079933"/>
              <a:gd name="connsiteY48217" fmla="*/ 746200 h 4687251"/>
              <a:gd name="connsiteX48218" fmla="*/ 3546975 w 8079933"/>
              <a:gd name="connsiteY48218" fmla="*/ 751180 h 4687251"/>
              <a:gd name="connsiteX48219" fmla="*/ 3544587 w 8079933"/>
              <a:gd name="connsiteY48219" fmla="*/ 752587 h 4687251"/>
              <a:gd name="connsiteX48220" fmla="*/ 3544587 w 8079933"/>
              <a:gd name="connsiteY48220" fmla="*/ 753887 h 4687251"/>
              <a:gd name="connsiteX48221" fmla="*/ 3545673 w 8079933"/>
              <a:gd name="connsiteY48221" fmla="*/ 755728 h 4687251"/>
              <a:gd name="connsiteX48222" fmla="*/ 3547952 w 8079933"/>
              <a:gd name="connsiteY48222" fmla="*/ 757244 h 4687251"/>
              <a:gd name="connsiteX48223" fmla="*/ 3549471 w 8079933"/>
              <a:gd name="connsiteY48223" fmla="*/ 762224 h 4687251"/>
              <a:gd name="connsiteX48224" fmla="*/ 3552075 w 8079933"/>
              <a:gd name="connsiteY48224" fmla="*/ 763523 h 4687251"/>
              <a:gd name="connsiteX48225" fmla="*/ 3553052 w 8079933"/>
              <a:gd name="connsiteY48225" fmla="*/ 768070 h 4687251"/>
              <a:gd name="connsiteX48226" fmla="*/ 3551967 w 8079933"/>
              <a:gd name="connsiteY48226" fmla="*/ 773484 h 4687251"/>
              <a:gd name="connsiteX48227" fmla="*/ 3552618 w 8079933"/>
              <a:gd name="connsiteY48227" fmla="*/ 775216 h 4687251"/>
              <a:gd name="connsiteX48228" fmla="*/ 3554028 w 8079933"/>
              <a:gd name="connsiteY48228" fmla="*/ 771427 h 4687251"/>
              <a:gd name="connsiteX48229" fmla="*/ 3555657 w 8079933"/>
              <a:gd name="connsiteY48229" fmla="*/ 768612 h 4687251"/>
              <a:gd name="connsiteX48230" fmla="*/ 3555657 w 8079933"/>
              <a:gd name="connsiteY48230" fmla="*/ 765364 h 4687251"/>
              <a:gd name="connsiteX48231" fmla="*/ 3554028 w 8079933"/>
              <a:gd name="connsiteY48231" fmla="*/ 763848 h 4687251"/>
              <a:gd name="connsiteX48232" fmla="*/ 3554028 w 8079933"/>
              <a:gd name="connsiteY48232" fmla="*/ 759625 h 4687251"/>
              <a:gd name="connsiteX48233" fmla="*/ 3555548 w 8079933"/>
              <a:gd name="connsiteY48233" fmla="*/ 756377 h 4687251"/>
              <a:gd name="connsiteX48234" fmla="*/ 3557067 w 8079933"/>
              <a:gd name="connsiteY48234" fmla="*/ 756377 h 4687251"/>
              <a:gd name="connsiteX48235" fmla="*/ 3558478 w 8079933"/>
              <a:gd name="connsiteY48235" fmla="*/ 759301 h 4687251"/>
              <a:gd name="connsiteX48236" fmla="*/ 3560648 w 8079933"/>
              <a:gd name="connsiteY48236" fmla="*/ 761141 h 4687251"/>
              <a:gd name="connsiteX48237" fmla="*/ 3562493 w 8079933"/>
              <a:gd name="connsiteY48237" fmla="*/ 764281 h 4687251"/>
              <a:gd name="connsiteX48238" fmla="*/ 3565640 w 8079933"/>
              <a:gd name="connsiteY48238" fmla="*/ 766663 h 4687251"/>
              <a:gd name="connsiteX48239" fmla="*/ 3567159 w 8079933"/>
              <a:gd name="connsiteY48239" fmla="*/ 765580 h 4687251"/>
              <a:gd name="connsiteX48240" fmla="*/ 3569112 w 8079933"/>
              <a:gd name="connsiteY48240" fmla="*/ 765580 h 4687251"/>
              <a:gd name="connsiteX48241" fmla="*/ 3570632 w 8079933"/>
              <a:gd name="connsiteY48241" fmla="*/ 766771 h 4687251"/>
              <a:gd name="connsiteX48242" fmla="*/ 3571934 w 8079933"/>
              <a:gd name="connsiteY48242" fmla="*/ 765364 h 4687251"/>
              <a:gd name="connsiteX48243" fmla="*/ 3575840 w 8079933"/>
              <a:gd name="connsiteY48243" fmla="*/ 763956 h 4687251"/>
              <a:gd name="connsiteX48244" fmla="*/ 3579096 w 8079933"/>
              <a:gd name="connsiteY48244" fmla="*/ 764606 h 4687251"/>
              <a:gd name="connsiteX48245" fmla="*/ 3580181 w 8079933"/>
              <a:gd name="connsiteY48245" fmla="*/ 766554 h 4687251"/>
              <a:gd name="connsiteX48246" fmla="*/ 3580181 w 8079933"/>
              <a:gd name="connsiteY48246" fmla="*/ 769695 h 4687251"/>
              <a:gd name="connsiteX48247" fmla="*/ 3577034 w 8079933"/>
              <a:gd name="connsiteY48247" fmla="*/ 775216 h 4687251"/>
              <a:gd name="connsiteX48248" fmla="*/ 3575298 w 8079933"/>
              <a:gd name="connsiteY48248" fmla="*/ 778464 h 4687251"/>
              <a:gd name="connsiteX48249" fmla="*/ 3575298 w 8079933"/>
              <a:gd name="connsiteY48249" fmla="*/ 782795 h 4687251"/>
              <a:gd name="connsiteX48250" fmla="*/ 3574647 w 8079933"/>
              <a:gd name="connsiteY48250" fmla="*/ 788317 h 4687251"/>
              <a:gd name="connsiteX48251" fmla="*/ 3573453 w 8079933"/>
              <a:gd name="connsiteY48251" fmla="*/ 789941 h 4687251"/>
              <a:gd name="connsiteX48252" fmla="*/ 3569221 w 8079933"/>
              <a:gd name="connsiteY48252" fmla="*/ 789941 h 4687251"/>
              <a:gd name="connsiteX48253" fmla="*/ 3564772 w 8079933"/>
              <a:gd name="connsiteY48253" fmla="*/ 791240 h 4687251"/>
              <a:gd name="connsiteX48254" fmla="*/ 3561408 w 8079933"/>
              <a:gd name="connsiteY48254" fmla="*/ 790374 h 4687251"/>
              <a:gd name="connsiteX48255" fmla="*/ 3558586 w 8079933"/>
              <a:gd name="connsiteY48255" fmla="*/ 789075 h 4687251"/>
              <a:gd name="connsiteX48256" fmla="*/ 3556090 w 8079933"/>
              <a:gd name="connsiteY48256" fmla="*/ 789075 h 4687251"/>
              <a:gd name="connsiteX48257" fmla="*/ 3553269 w 8079933"/>
              <a:gd name="connsiteY48257" fmla="*/ 791132 h 4687251"/>
              <a:gd name="connsiteX48258" fmla="*/ 3553269 w 8079933"/>
              <a:gd name="connsiteY48258" fmla="*/ 793947 h 4687251"/>
              <a:gd name="connsiteX48259" fmla="*/ 3550990 w 8079933"/>
              <a:gd name="connsiteY48259" fmla="*/ 795896 h 4687251"/>
              <a:gd name="connsiteX48260" fmla="*/ 3547952 w 8079933"/>
              <a:gd name="connsiteY48260" fmla="*/ 795896 h 4687251"/>
              <a:gd name="connsiteX48261" fmla="*/ 3545999 w 8079933"/>
              <a:gd name="connsiteY48261" fmla="*/ 795896 h 4687251"/>
              <a:gd name="connsiteX48262" fmla="*/ 3544045 w 8079933"/>
              <a:gd name="connsiteY48262" fmla="*/ 799036 h 4687251"/>
              <a:gd name="connsiteX48263" fmla="*/ 3543394 w 8079933"/>
              <a:gd name="connsiteY48263" fmla="*/ 800985 h 4687251"/>
              <a:gd name="connsiteX48264" fmla="*/ 3540247 w 8079933"/>
              <a:gd name="connsiteY48264" fmla="*/ 801743 h 4687251"/>
              <a:gd name="connsiteX48265" fmla="*/ 3537751 w 8079933"/>
              <a:gd name="connsiteY48265" fmla="*/ 801093 h 4687251"/>
              <a:gd name="connsiteX48266" fmla="*/ 3533845 w 8079933"/>
              <a:gd name="connsiteY48266" fmla="*/ 798278 h 4687251"/>
              <a:gd name="connsiteX48267" fmla="*/ 3527334 w 8079933"/>
              <a:gd name="connsiteY48267" fmla="*/ 794597 h 4687251"/>
              <a:gd name="connsiteX48268" fmla="*/ 3523318 w 8079933"/>
              <a:gd name="connsiteY48268" fmla="*/ 790374 h 4687251"/>
              <a:gd name="connsiteX48269" fmla="*/ 3513769 w 8079933"/>
              <a:gd name="connsiteY48269" fmla="*/ 781388 h 4687251"/>
              <a:gd name="connsiteX48270" fmla="*/ 3512141 w 8079933"/>
              <a:gd name="connsiteY48270" fmla="*/ 777707 h 4687251"/>
              <a:gd name="connsiteX48271" fmla="*/ 3512141 w 8079933"/>
              <a:gd name="connsiteY48271" fmla="*/ 775108 h 4687251"/>
              <a:gd name="connsiteX48272" fmla="*/ 3513660 w 8079933"/>
              <a:gd name="connsiteY48272" fmla="*/ 773701 h 4687251"/>
              <a:gd name="connsiteX48273" fmla="*/ 3516156 w 8079933"/>
              <a:gd name="connsiteY48273" fmla="*/ 773701 h 4687251"/>
              <a:gd name="connsiteX48274" fmla="*/ 3517242 w 8079933"/>
              <a:gd name="connsiteY48274" fmla="*/ 774675 h 4687251"/>
              <a:gd name="connsiteX48275" fmla="*/ 3519629 w 8079933"/>
              <a:gd name="connsiteY48275" fmla="*/ 776082 h 4687251"/>
              <a:gd name="connsiteX48276" fmla="*/ 3527767 w 8079933"/>
              <a:gd name="connsiteY48276" fmla="*/ 779980 h 4687251"/>
              <a:gd name="connsiteX48277" fmla="*/ 3532217 w 8079933"/>
              <a:gd name="connsiteY48277" fmla="*/ 783986 h 4687251"/>
              <a:gd name="connsiteX48278" fmla="*/ 3533736 w 8079933"/>
              <a:gd name="connsiteY48278" fmla="*/ 783336 h 4687251"/>
              <a:gd name="connsiteX48279" fmla="*/ 3539921 w 8079933"/>
              <a:gd name="connsiteY48279" fmla="*/ 782254 h 4687251"/>
              <a:gd name="connsiteX48280" fmla="*/ 3539921 w 8079933"/>
              <a:gd name="connsiteY48280" fmla="*/ 780197 h 4687251"/>
              <a:gd name="connsiteX48281" fmla="*/ 3538076 w 8079933"/>
              <a:gd name="connsiteY48281" fmla="*/ 778681 h 4687251"/>
              <a:gd name="connsiteX48282" fmla="*/ 3536123 w 8079933"/>
              <a:gd name="connsiteY48282" fmla="*/ 778681 h 4687251"/>
              <a:gd name="connsiteX48283" fmla="*/ 3533845 w 8079933"/>
              <a:gd name="connsiteY48283" fmla="*/ 780089 h 4687251"/>
              <a:gd name="connsiteX48284" fmla="*/ 3530047 w 8079933"/>
              <a:gd name="connsiteY48284" fmla="*/ 778573 h 4687251"/>
              <a:gd name="connsiteX48285" fmla="*/ 3523101 w 8079933"/>
              <a:gd name="connsiteY48285" fmla="*/ 773701 h 4687251"/>
              <a:gd name="connsiteX48286" fmla="*/ 3515505 w 8079933"/>
              <a:gd name="connsiteY48286" fmla="*/ 770560 h 4687251"/>
              <a:gd name="connsiteX48287" fmla="*/ 3512792 w 8079933"/>
              <a:gd name="connsiteY48287" fmla="*/ 770560 h 4687251"/>
              <a:gd name="connsiteX48288" fmla="*/ 3511707 w 8079933"/>
              <a:gd name="connsiteY48288" fmla="*/ 768720 h 4687251"/>
              <a:gd name="connsiteX48289" fmla="*/ 3511707 w 8079933"/>
              <a:gd name="connsiteY48289" fmla="*/ 766013 h 4687251"/>
              <a:gd name="connsiteX48290" fmla="*/ 3509754 w 8079933"/>
              <a:gd name="connsiteY48290" fmla="*/ 765147 h 4687251"/>
              <a:gd name="connsiteX48291" fmla="*/ 3507801 w 8079933"/>
              <a:gd name="connsiteY48291" fmla="*/ 765147 h 4687251"/>
              <a:gd name="connsiteX48292" fmla="*/ 3505848 w 8079933"/>
              <a:gd name="connsiteY48292" fmla="*/ 767421 h 4687251"/>
              <a:gd name="connsiteX48293" fmla="*/ 3505848 w 8079933"/>
              <a:gd name="connsiteY48293" fmla="*/ 771427 h 4687251"/>
              <a:gd name="connsiteX48294" fmla="*/ 3504979 w 8079933"/>
              <a:gd name="connsiteY48294" fmla="*/ 778573 h 4687251"/>
              <a:gd name="connsiteX48295" fmla="*/ 3504979 w 8079933"/>
              <a:gd name="connsiteY48295" fmla="*/ 781713 h 4687251"/>
              <a:gd name="connsiteX48296" fmla="*/ 3504219 w 8079933"/>
              <a:gd name="connsiteY48296" fmla="*/ 783553 h 4687251"/>
              <a:gd name="connsiteX48297" fmla="*/ 3503135 w 8079933"/>
              <a:gd name="connsiteY48297" fmla="*/ 782687 h 4687251"/>
              <a:gd name="connsiteX48298" fmla="*/ 3495538 w 8079933"/>
              <a:gd name="connsiteY48298" fmla="*/ 774025 h 4687251"/>
              <a:gd name="connsiteX48299" fmla="*/ 3490764 w 8079933"/>
              <a:gd name="connsiteY48299" fmla="*/ 765689 h 4687251"/>
              <a:gd name="connsiteX48300" fmla="*/ 3488811 w 8079933"/>
              <a:gd name="connsiteY48300" fmla="*/ 763090 h 4687251"/>
              <a:gd name="connsiteX48301" fmla="*/ 3488811 w 8079933"/>
              <a:gd name="connsiteY48301" fmla="*/ 760924 h 4687251"/>
              <a:gd name="connsiteX48302" fmla="*/ 3487183 w 8079933"/>
              <a:gd name="connsiteY48302" fmla="*/ 759084 h 4687251"/>
              <a:gd name="connsiteX48303" fmla="*/ 3485446 w 8079933"/>
              <a:gd name="connsiteY48303" fmla="*/ 759084 h 4687251"/>
              <a:gd name="connsiteX48304" fmla="*/ 3484795 w 8079933"/>
              <a:gd name="connsiteY48304" fmla="*/ 760275 h 4687251"/>
              <a:gd name="connsiteX48305" fmla="*/ 3484795 w 8079933"/>
              <a:gd name="connsiteY48305" fmla="*/ 762548 h 4687251"/>
              <a:gd name="connsiteX48306" fmla="*/ 3488376 w 8079933"/>
              <a:gd name="connsiteY48306" fmla="*/ 764822 h 4687251"/>
              <a:gd name="connsiteX48307" fmla="*/ 3493477 w 8079933"/>
              <a:gd name="connsiteY48307" fmla="*/ 773592 h 4687251"/>
              <a:gd name="connsiteX48308" fmla="*/ 3493477 w 8079933"/>
              <a:gd name="connsiteY48308" fmla="*/ 775974 h 4687251"/>
              <a:gd name="connsiteX48309" fmla="*/ 3496515 w 8079933"/>
              <a:gd name="connsiteY48309" fmla="*/ 780305 h 4687251"/>
              <a:gd name="connsiteX48310" fmla="*/ 3497600 w 8079933"/>
              <a:gd name="connsiteY48310" fmla="*/ 782579 h 4687251"/>
              <a:gd name="connsiteX48311" fmla="*/ 3497600 w 8079933"/>
              <a:gd name="connsiteY48311" fmla="*/ 785069 h 4687251"/>
              <a:gd name="connsiteX48312" fmla="*/ 3495213 w 8079933"/>
              <a:gd name="connsiteY48312" fmla="*/ 785069 h 4687251"/>
              <a:gd name="connsiteX48313" fmla="*/ 3491632 w 8079933"/>
              <a:gd name="connsiteY48313" fmla="*/ 786585 h 4687251"/>
              <a:gd name="connsiteX48314" fmla="*/ 3488811 w 8079933"/>
              <a:gd name="connsiteY48314" fmla="*/ 789075 h 4687251"/>
              <a:gd name="connsiteX48315" fmla="*/ 3486965 w 8079933"/>
              <a:gd name="connsiteY48315" fmla="*/ 791565 h 4687251"/>
              <a:gd name="connsiteX48316" fmla="*/ 3483384 w 8079933"/>
              <a:gd name="connsiteY48316" fmla="*/ 792540 h 4687251"/>
              <a:gd name="connsiteX48317" fmla="*/ 3480563 w 8079933"/>
              <a:gd name="connsiteY48317" fmla="*/ 794488 h 4687251"/>
              <a:gd name="connsiteX48318" fmla="*/ 3476657 w 8079933"/>
              <a:gd name="connsiteY48318" fmla="*/ 795680 h 4687251"/>
              <a:gd name="connsiteX48319" fmla="*/ 3473184 w 8079933"/>
              <a:gd name="connsiteY48319" fmla="*/ 795680 h 4687251"/>
              <a:gd name="connsiteX48320" fmla="*/ 3470146 w 8079933"/>
              <a:gd name="connsiteY48320" fmla="*/ 792540 h 4687251"/>
              <a:gd name="connsiteX48321" fmla="*/ 3467975 w 8079933"/>
              <a:gd name="connsiteY48321" fmla="*/ 792540 h 4687251"/>
              <a:gd name="connsiteX48322" fmla="*/ 3465479 w 8079933"/>
              <a:gd name="connsiteY48322" fmla="*/ 791240 h 4687251"/>
              <a:gd name="connsiteX48323" fmla="*/ 3464611 w 8079933"/>
              <a:gd name="connsiteY48323" fmla="*/ 789291 h 4687251"/>
              <a:gd name="connsiteX48324" fmla="*/ 3459511 w 8079933"/>
              <a:gd name="connsiteY48324" fmla="*/ 785285 h 4687251"/>
              <a:gd name="connsiteX48325" fmla="*/ 3456689 w 8079933"/>
              <a:gd name="connsiteY48325" fmla="*/ 783553 h 4687251"/>
              <a:gd name="connsiteX48326" fmla="*/ 3456689 w 8079933"/>
              <a:gd name="connsiteY48326" fmla="*/ 781063 h 4687251"/>
              <a:gd name="connsiteX48327" fmla="*/ 3455821 w 8079933"/>
              <a:gd name="connsiteY48327" fmla="*/ 778681 h 4687251"/>
              <a:gd name="connsiteX48328" fmla="*/ 3454194 w 8079933"/>
              <a:gd name="connsiteY48328" fmla="*/ 777923 h 4687251"/>
              <a:gd name="connsiteX48329" fmla="*/ 3453325 w 8079933"/>
              <a:gd name="connsiteY48329" fmla="*/ 779114 h 4687251"/>
              <a:gd name="connsiteX48330" fmla="*/ 3453325 w 8079933"/>
              <a:gd name="connsiteY48330" fmla="*/ 782903 h 4687251"/>
              <a:gd name="connsiteX48331" fmla="*/ 3454953 w 8079933"/>
              <a:gd name="connsiteY48331" fmla="*/ 785827 h 4687251"/>
              <a:gd name="connsiteX48332" fmla="*/ 3458860 w 8079933"/>
              <a:gd name="connsiteY48332" fmla="*/ 787884 h 4687251"/>
              <a:gd name="connsiteX48333" fmla="*/ 3462983 w 8079933"/>
              <a:gd name="connsiteY48333" fmla="*/ 791240 h 4687251"/>
              <a:gd name="connsiteX48334" fmla="*/ 3465479 w 8079933"/>
              <a:gd name="connsiteY48334" fmla="*/ 795246 h 4687251"/>
              <a:gd name="connsiteX48335" fmla="*/ 3465479 w 8079933"/>
              <a:gd name="connsiteY48335" fmla="*/ 797411 h 4687251"/>
              <a:gd name="connsiteX48336" fmla="*/ 3462983 w 8079933"/>
              <a:gd name="connsiteY48336" fmla="*/ 799144 h 4687251"/>
              <a:gd name="connsiteX48337" fmla="*/ 3455930 w 8079933"/>
              <a:gd name="connsiteY48337" fmla="*/ 799144 h 4687251"/>
              <a:gd name="connsiteX48338" fmla="*/ 3450937 w 8079933"/>
              <a:gd name="connsiteY48338" fmla="*/ 798278 h 4687251"/>
              <a:gd name="connsiteX48339" fmla="*/ 3447140 w 8079933"/>
              <a:gd name="connsiteY48339" fmla="*/ 799469 h 4687251"/>
              <a:gd name="connsiteX48340" fmla="*/ 3444427 w 8079933"/>
              <a:gd name="connsiteY48340" fmla="*/ 801851 h 4687251"/>
              <a:gd name="connsiteX48341" fmla="*/ 3445403 w 8079933"/>
              <a:gd name="connsiteY48341" fmla="*/ 803475 h 4687251"/>
              <a:gd name="connsiteX48342" fmla="*/ 3446922 w 8079933"/>
              <a:gd name="connsiteY48342" fmla="*/ 803475 h 4687251"/>
              <a:gd name="connsiteX48343" fmla="*/ 3448550 w 8079933"/>
              <a:gd name="connsiteY48343" fmla="*/ 805965 h 4687251"/>
              <a:gd name="connsiteX48344" fmla="*/ 3450395 w 8079933"/>
              <a:gd name="connsiteY48344" fmla="*/ 806831 h 4687251"/>
              <a:gd name="connsiteX48345" fmla="*/ 3451589 w 8079933"/>
              <a:gd name="connsiteY48345" fmla="*/ 804666 h 4687251"/>
              <a:gd name="connsiteX48346" fmla="*/ 3452349 w 8079933"/>
              <a:gd name="connsiteY48346" fmla="*/ 801959 h 4687251"/>
              <a:gd name="connsiteX48347" fmla="*/ 3456580 w 8079933"/>
              <a:gd name="connsiteY48347" fmla="*/ 801959 h 4687251"/>
              <a:gd name="connsiteX48348" fmla="*/ 3459945 w 8079933"/>
              <a:gd name="connsiteY48348" fmla="*/ 803042 h 4687251"/>
              <a:gd name="connsiteX48349" fmla="*/ 3463309 w 8079933"/>
              <a:gd name="connsiteY48349" fmla="*/ 804341 h 4687251"/>
              <a:gd name="connsiteX48350" fmla="*/ 3466347 w 8079933"/>
              <a:gd name="connsiteY48350" fmla="*/ 802609 h 4687251"/>
              <a:gd name="connsiteX48351" fmla="*/ 3466889 w 8079933"/>
              <a:gd name="connsiteY48351" fmla="*/ 799902 h 4687251"/>
              <a:gd name="connsiteX48352" fmla="*/ 3469711 w 8079933"/>
              <a:gd name="connsiteY48352" fmla="*/ 799036 h 4687251"/>
              <a:gd name="connsiteX48353" fmla="*/ 3474052 w 8079933"/>
              <a:gd name="connsiteY48353" fmla="*/ 799577 h 4687251"/>
              <a:gd name="connsiteX48354" fmla="*/ 3478284 w 8079933"/>
              <a:gd name="connsiteY48354" fmla="*/ 799577 h 4687251"/>
              <a:gd name="connsiteX48355" fmla="*/ 3480020 w 8079933"/>
              <a:gd name="connsiteY48355" fmla="*/ 801201 h 4687251"/>
              <a:gd name="connsiteX48356" fmla="*/ 3483059 w 8079933"/>
              <a:gd name="connsiteY48356" fmla="*/ 803150 h 4687251"/>
              <a:gd name="connsiteX48357" fmla="*/ 3488267 w 8079933"/>
              <a:gd name="connsiteY48357" fmla="*/ 804341 h 4687251"/>
              <a:gd name="connsiteX48358" fmla="*/ 3491414 w 8079933"/>
              <a:gd name="connsiteY48358" fmla="*/ 806290 h 4687251"/>
              <a:gd name="connsiteX48359" fmla="*/ 3492500 w 8079933"/>
              <a:gd name="connsiteY48359" fmla="*/ 809321 h 4687251"/>
              <a:gd name="connsiteX48360" fmla="*/ 3491523 w 8079933"/>
              <a:gd name="connsiteY48360" fmla="*/ 811920 h 4687251"/>
              <a:gd name="connsiteX48361" fmla="*/ 3489461 w 8079933"/>
              <a:gd name="connsiteY48361" fmla="*/ 812461 h 4687251"/>
              <a:gd name="connsiteX48362" fmla="*/ 3487183 w 8079933"/>
              <a:gd name="connsiteY48362" fmla="*/ 815601 h 4687251"/>
              <a:gd name="connsiteX48363" fmla="*/ 3483167 w 8079933"/>
              <a:gd name="connsiteY48363" fmla="*/ 815601 h 4687251"/>
              <a:gd name="connsiteX48364" fmla="*/ 3479912 w 8079933"/>
              <a:gd name="connsiteY48364" fmla="*/ 815601 h 4687251"/>
              <a:gd name="connsiteX48365" fmla="*/ 3475897 w 8079933"/>
              <a:gd name="connsiteY48365" fmla="*/ 818741 h 4687251"/>
              <a:gd name="connsiteX48366" fmla="*/ 3472641 w 8079933"/>
              <a:gd name="connsiteY48366" fmla="*/ 820257 h 4687251"/>
              <a:gd name="connsiteX48367" fmla="*/ 3469060 w 8079933"/>
              <a:gd name="connsiteY48367" fmla="*/ 819607 h 4687251"/>
              <a:gd name="connsiteX48368" fmla="*/ 3464828 w 8079933"/>
              <a:gd name="connsiteY48368" fmla="*/ 815168 h 4687251"/>
              <a:gd name="connsiteX48369" fmla="*/ 3462332 w 8079933"/>
              <a:gd name="connsiteY48369" fmla="*/ 813977 h 4687251"/>
              <a:gd name="connsiteX48370" fmla="*/ 3460161 w 8079933"/>
              <a:gd name="connsiteY48370" fmla="*/ 813977 h 4687251"/>
              <a:gd name="connsiteX48371" fmla="*/ 3458208 w 8079933"/>
              <a:gd name="connsiteY48371" fmla="*/ 816143 h 4687251"/>
              <a:gd name="connsiteX48372" fmla="*/ 3455495 w 8079933"/>
              <a:gd name="connsiteY48372" fmla="*/ 816143 h 4687251"/>
              <a:gd name="connsiteX48373" fmla="*/ 3454194 w 8079933"/>
              <a:gd name="connsiteY48373" fmla="*/ 815384 h 4687251"/>
              <a:gd name="connsiteX48374" fmla="*/ 3451806 w 8079933"/>
              <a:gd name="connsiteY48374" fmla="*/ 815384 h 4687251"/>
              <a:gd name="connsiteX48375" fmla="*/ 3451806 w 8079933"/>
              <a:gd name="connsiteY48375" fmla="*/ 816900 h 4687251"/>
              <a:gd name="connsiteX48376" fmla="*/ 3454410 w 8079933"/>
              <a:gd name="connsiteY48376" fmla="*/ 816900 h 4687251"/>
              <a:gd name="connsiteX48377" fmla="*/ 3458751 w 8079933"/>
              <a:gd name="connsiteY48377" fmla="*/ 816900 h 4687251"/>
              <a:gd name="connsiteX48378" fmla="*/ 3460813 w 8079933"/>
              <a:gd name="connsiteY48378" fmla="*/ 815709 h 4687251"/>
              <a:gd name="connsiteX48379" fmla="*/ 3463309 w 8079933"/>
              <a:gd name="connsiteY48379" fmla="*/ 816467 h 4687251"/>
              <a:gd name="connsiteX48380" fmla="*/ 3464394 w 8079933"/>
              <a:gd name="connsiteY48380" fmla="*/ 818308 h 4687251"/>
              <a:gd name="connsiteX48381" fmla="*/ 3463200 w 8079933"/>
              <a:gd name="connsiteY48381" fmla="*/ 820149 h 4687251"/>
              <a:gd name="connsiteX48382" fmla="*/ 3459076 w 8079933"/>
              <a:gd name="connsiteY48382" fmla="*/ 820906 h 4687251"/>
              <a:gd name="connsiteX48383" fmla="*/ 3454844 w 8079933"/>
              <a:gd name="connsiteY48383" fmla="*/ 822964 h 4687251"/>
              <a:gd name="connsiteX48384" fmla="*/ 3454085 w 8079933"/>
              <a:gd name="connsiteY48384" fmla="*/ 824371 h 4687251"/>
              <a:gd name="connsiteX48385" fmla="*/ 3456038 w 8079933"/>
              <a:gd name="connsiteY48385" fmla="*/ 824371 h 4687251"/>
              <a:gd name="connsiteX48386" fmla="*/ 3458317 w 8079933"/>
              <a:gd name="connsiteY48386" fmla="*/ 822964 h 4687251"/>
              <a:gd name="connsiteX48387" fmla="*/ 3463526 w 8079933"/>
              <a:gd name="connsiteY48387" fmla="*/ 821664 h 4687251"/>
              <a:gd name="connsiteX48388" fmla="*/ 3465371 w 8079933"/>
              <a:gd name="connsiteY48388" fmla="*/ 821664 h 4687251"/>
              <a:gd name="connsiteX48389" fmla="*/ 3466673 w 8079933"/>
              <a:gd name="connsiteY48389" fmla="*/ 823721 h 4687251"/>
              <a:gd name="connsiteX48390" fmla="*/ 3466673 w 8079933"/>
              <a:gd name="connsiteY48390" fmla="*/ 826645 h 4687251"/>
              <a:gd name="connsiteX48391" fmla="*/ 3467758 w 8079933"/>
              <a:gd name="connsiteY48391" fmla="*/ 826645 h 4687251"/>
              <a:gd name="connsiteX48392" fmla="*/ 3470254 w 8079933"/>
              <a:gd name="connsiteY48392" fmla="*/ 822964 h 4687251"/>
              <a:gd name="connsiteX48393" fmla="*/ 3473400 w 8079933"/>
              <a:gd name="connsiteY48393" fmla="*/ 822314 h 4687251"/>
              <a:gd name="connsiteX48394" fmla="*/ 3475463 w 8079933"/>
              <a:gd name="connsiteY48394" fmla="*/ 822314 h 4687251"/>
              <a:gd name="connsiteX48395" fmla="*/ 3479478 w 8079933"/>
              <a:gd name="connsiteY48395" fmla="*/ 818849 h 4687251"/>
              <a:gd name="connsiteX48396" fmla="*/ 3481105 w 8079933"/>
              <a:gd name="connsiteY48396" fmla="*/ 818849 h 4687251"/>
              <a:gd name="connsiteX48397" fmla="*/ 3483167 w 8079933"/>
              <a:gd name="connsiteY48397" fmla="*/ 819932 h 4687251"/>
              <a:gd name="connsiteX48398" fmla="*/ 3488919 w 8079933"/>
              <a:gd name="connsiteY48398" fmla="*/ 824047 h 4687251"/>
              <a:gd name="connsiteX48399" fmla="*/ 3490980 w 8079933"/>
              <a:gd name="connsiteY48399" fmla="*/ 824047 h 4687251"/>
              <a:gd name="connsiteX48400" fmla="*/ 3492391 w 8079933"/>
              <a:gd name="connsiteY48400" fmla="*/ 824804 h 4687251"/>
              <a:gd name="connsiteX48401" fmla="*/ 3493042 w 8079933"/>
              <a:gd name="connsiteY48401" fmla="*/ 827944 h 4687251"/>
              <a:gd name="connsiteX48402" fmla="*/ 3492065 w 8079933"/>
              <a:gd name="connsiteY48402" fmla="*/ 835198 h 4687251"/>
              <a:gd name="connsiteX48403" fmla="*/ 3489570 w 8079933"/>
              <a:gd name="connsiteY48403" fmla="*/ 838014 h 4687251"/>
              <a:gd name="connsiteX48404" fmla="*/ 3484686 w 8079933"/>
              <a:gd name="connsiteY48404" fmla="*/ 838771 h 4687251"/>
              <a:gd name="connsiteX48405" fmla="*/ 3480780 w 8079933"/>
              <a:gd name="connsiteY48405" fmla="*/ 838771 h 4687251"/>
              <a:gd name="connsiteX48406" fmla="*/ 3477416 w 8079933"/>
              <a:gd name="connsiteY48406" fmla="*/ 837255 h 4687251"/>
              <a:gd name="connsiteX48407" fmla="*/ 3469602 w 8079933"/>
              <a:gd name="connsiteY48407" fmla="*/ 837255 h 4687251"/>
              <a:gd name="connsiteX48408" fmla="*/ 3467866 w 8079933"/>
              <a:gd name="connsiteY48408" fmla="*/ 836606 h 4687251"/>
              <a:gd name="connsiteX48409" fmla="*/ 3464611 w 8079933"/>
              <a:gd name="connsiteY48409" fmla="*/ 839529 h 4687251"/>
              <a:gd name="connsiteX48410" fmla="*/ 3466021 w 8079933"/>
              <a:gd name="connsiteY48410" fmla="*/ 840287 h 4687251"/>
              <a:gd name="connsiteX48411" fmla="*/ 3470579 w 8079933"/>
              <a:gd name="connsiteY48411" fmla="*/ 839204 h 4687251"/>
              <a:gd name="connsiteX48412" fmla="*/ 3475245 w 8079933"/>
              <a:gd name="connsiteY48412" fmla="*/ 839204 h 4687251"/>
              <a:gd name="connsiteX48413" fmla="*/ 3481865 w 8079933"/>
              <a:gd name="connsiteY48413" fmla="*/ 841478 h 4687251"/>
              <a:gd name="connsiteX48414" fmla="*/ 3482950 w 8079933"/>
              <a:gd name="connsiteY48414" fmla="*/ 844293 h 4687251"/>
              <a:gd name="connsiteX48415" fmla="*/ 3482950 w 8079933"/>
              <a:gd name="connsiteY48415" fmla="*/ 846459 h 4687251"/>
              <a:gd name="connsiteX48416" fmla="*/ 3486531 w 8079933"/>
              <a:gd name="connsiteY48416" fmla="*/ 842453 h 4687251"/>
              <a:gd name="connsiteX48417" fmla="*/ 3490546 w 8079933"/>
              <a:gd name="connsiteY48417" fmla="*/ 841586 h 4687251"/>
              <a:gd name="connsiteX48418" fmla="*/ 3494995 w 8079933"/>
              <a:gd name="connsiteY48418" fmla="*/ 841586 h 4687251"/>
              <a:gd name="connsiteX48419" fmla="*/ 3499119 w 8079933"/>
              <a:gd name="connsiteY48419" fmla="*/ 843860 h 4687251"/>
              <a:gd name="connsiteX48420" fmla="*/ 3500422 w 8079933"/>
              <a:gd name="connsiteY48420" fmla="*/ 845809 h 4687251"/>
              <a:gd name="connsiteX48421" fmla="*/ 3507584 w 8079933"/>
              <a:gd name="connsiteY48421" fmla="*/ 851331 h 4687251"/>
              <a:gd name="connsiteX48422" fmla="*/ 3508561 w 8079933"/>
              <a:gd name="connsiteY48422" fmla="*/ 853063 h 4687251"/>
              <a:gd name="connsiteX48423" fmla="*/ 3508561 w 8079933"/>
              <a:gd name="connsiteY48423" fmla="*/ 855228 h 4687251"/>
              <a:gd name="connsiteX48424" fmla="*/ 3511165 w 8079933"/>
              <a:gd name="connsiteY48424" fmla="*/ 855228 h 4687251"/>
              <a:gd name="connsiteX48425" fmla="*/ 3512684 w 8079933"/>
              <a:gd name="connsiteY48425" fmla="*/ 856636 h 4687251"/>
              <a:gd name="connsiteX48426" fmla="*/ 3514420 w 8079933"/>
              <a:gd name="connsiteY48426" fmla="*/ 856636 h 4687251"/>
              <a:gd name="connsiteX48427" fmla="*/ 3517784 w 8079933"/>
              <a:gd name="connsiteY48427" fmla="*/ 859884 h 4687251"/>
              <a:gd name="connsiteX48428" fmla="*/ 3520280 w 8079933"/>
              <a:gd name="connsiteY48428" fmla="*/ 860967 h 4687251"/>
              <a:gd name="connsiteX48429" fmla="*/ 3521365 w 8079933"/>
              <a:gd name="connsiteY48429" fmla="*/ 863890 h 4687251"/>
              <a:gd name="connsiteX48430" fmla="*/ 3523318 w 8079933"/>
              <a:gd name="connsiteY48430" fmla="*/ 866055 h 4687251"/>
              <a:gd name="connsiteX48431" fmla="*/ 3525054 w 8079933"/>
              <a:gd name="connsiteY48431" fmla="*/ 866055 h 4687251"/>
              <a:gd name="connsiteX48432" fmla="*/ 3526574 w 8079933"/>
              <a:gd name="connsiteY48432" fmla="*/ 868545 h 4687251"/>
              <a:gd name="connsiteX48433" fmla="*/ 3528527 w 8079933"/>
              <a:gd name="connsiteY48433" fmla="*/ 870278 h 4687251"/>
              <a:gd name="connsiteX48434" fmla="*/ 3528527 w 8079933"/>
              <a:gd name="connsiteY48434" fmla="*/ 871577 h 4687251"/>
              <a:gd name="connsiteX48435" fmla="*/ 3526466 w 8079933"/>
              <a:gd name="connsiteY48435" fmla="*/ 876233 h 4687251"/>
              <a:gd name="connsiteX48436" fmla="*/ 3523861 w 8079933"/>
              <a:gd name="connsiteY48436" fmla="*/ 877857 h 4687251"/>
              <a:gd name="connsiteX48437" fmla="*/ 3522016 w 8079933"/>
              <a:gd name="connsiteY48437" fmla="*/ 880780 h 4687251"/>
              <a:gd name="connsiteX48438" fmla="*/ 3521148 w 8079933"/>
              <a:gd name="connsiteY48438" fmla="*/ 883920 h 4687251"/>
              <a:gd name="connsiteX48439" fmla="*/ 3521148 w 8079933"/>
              <a:gd name="connsiteY48439" fmla="*/ 885003 h 4687251"/>
              <a:gd name="connsiteX48440" fmla="*/ 3524295 w 8079933"/>
              <a:gd name="connsiteY48440" fmla="*/ 881538 h 4687251"/>
              <a:gd name="connsiteX48441" fmla="*/ 3528093 w 8079933"/>
              <a:gd name="connsiteY48441" fmla="*/ 878398 h 4687251"/>
              <a:gd name="connsiteX48442" fmla="*/ 3530589 w 8079933"/>
              <a:gd name="connsiteY48442" fmla="*/ 877316 h 4687251"/>
              <a:gd name="connsiteX48443" fmla="*/ 3531891 w 8079933"/>
              <a:gd name="connsiteY48443" fmla="*/ 877965 h 4687251"/>
              <a:gd name="connsiteX48444" fmla="*/ 3530481 w 8079933"/>
              <a:gd name="connsiteY48444" fmla="*/ 880563 h 4687251"/>
              <a:gd name="connsiteX48445" fmla="*/ 3529070 w 8079933"/>
              <a:gd name="connsiteY48445" fmla="*/ 884461 h 4687251"/>
              <a:gd name="connsiteX48446" fmla="*/ 3530481 w 8079933"/>
              <a:gd name="connsiteY48446" fmla="*/ 883271 h 4687251"/>
              <a:gd name="connsiteX48447" fmla="*/ 3531674 w 8079933"/>
              <a:gd name="connsiteY48447" fmla="*/ 880889 h 4687251"/>
              <a:gd name="connsiteX48448" fmla="*/ 3533302 w 8079933"/>
              <a:gd name="connsiteY48448" fmla="*/ 878940 h 4687251"/>
              <a:gd name="connsiteX48449" fmla="*/ 3536123 w 8079933"/>
              <a:gd name="connsiteY48449" fmla="*/ 878940 h 4687251"/>
              <a:gd name="connsiteX48450" fmla="*/ 3538402 w 8079933"/>
              <a:gd name="connsiteY48450" fmla="*/ 881213 h 4687251"/>
              <a:gd name="connsiteX48451" fmla="*/ 3536883 w 8079933"/>
              <a:gd name="connsiteY48451" fmla="*/ 884245 h 4687251"/>
              <a:gd name="connsiteX48452" fmla="*/ 3532651 w 8079933"/>
              <a:gd name="connsiteY48452" fmla="*/ 886410 h 4687251"/>
              <a:gd name="connsiteX48453" fmla="*/ 3529179 w 8079933"/>
              <a:gd name="connsiteY48453" fmla="*/ 889334 h 4687251"/>
              <a:gd name="connsiteX48454" fmla="*/ 3528093 w 8079933"/>
              <a:gd name="connsiteY48454" fmla="*/ 892365 h 4687251"/>
              <a:gd name="connsiteX48455" fmla="*/ 3528093 w 8079933"/>
              <a:gd name="connsiteY48455" fmla="*/ 895071 h 4687251"/>
              <a:gd name="connsiteX48456" fmla="*/ 3529179 w 8079933"/>
              <a:gd name="connsiteY48456" fmla="*/ 896696 h 4687251"/>
              <a:gd name="connsiteX48457" fmla="*/ 3529179 w 8079933"/>
              <a:gd name="connsiteY48457" fmla="*/ 899077 h 4687251"/>
              <a:gd name="connsiteX48458" fmla="*/ 3527984 w 8079933"/>
              <a:gd name="connsiteY48458" fmla="*/ 904167 h 4687251"/>
              <a:gd name="connsiteX48459" fmla="*/ 3527984 w 8079933"/>
              <a:gd name="connsiteY48459" fmla="*/ 905791 h 4687251"/>
              <a:gd name="connsiteX48460" fmla="*/ 3530047 w 8079933"/>
              <a:gd name="connsiteY48460" fmla="*/ 905141 h 4687251"/>
              <a:gd name="connsiteX48461" fmla="*/ 3531023 w 8079933"/>
              <a:gd name="connsiteY48461" fmla="*/ 899295 h 4687251"/>
              <a:gd name="connsiteX48462" fmla="*/ 3534170 w 8079933"/>
              <a:gd name="connsiteY48462" fmla="*/ 894422 h 4687251"/>
              <a:gd name="connsiteX48463" fmla="*/ 3537751 w 8079933"/>
              <a:gd name="connsiteY48463" fmla="*/ 892473 h 4687251"/>
              <a:gd name="connsiteX48464" fmla="*/ 3539488 w 8079933"/>
              <a:gd name="connsiteY48464" fmla="*/ 892473 h 4687251"/>
              <a:gd name="connsiteX48465" fmla="*/ 3539488 w 8079933"/>
              <a:gd name="connsiteY48465" fmla="*/ 894314 h 4687251"/>
              <a:gd name="connsiteX48466" fmla="*/ 3537208 w 8079933"/>
              <a:gd name="connsiteY48466" fmla="*/ 898536 h 4687251"/>
              <a:gd name="connsiteX48467" fmla="*/ 3535581 w 8079933"/>
              <a:gd name="connsiteY48467" fmla="*/ 902109 h 4687251"/>
              <a:gd name="connsiteX48468" fmla="*/ 3536232 w 8079933"/>
              <a:gd name="connsiteY48468" fmla="*/ 903950 h 4687251"/>
              <a:gd name="connsiteX48469" fmla="*/ 3538620 w 8079933"/>
              <a:gd name="connsiteY48469" fmla="*/ 902867 h 4687251"/>
              <a:gd name="connsiteX48470" fmla="*/ 3540030 w 8079933"/>
              <a:gd name="connsiteY48470" fmla="*/ 904599 h 4687251"/>
              <a:gd name="connsiteX48471" fmla="*/ 3540030 w 8079933"/>
              <a:gd name="connsiteY48471" fmla="*/ 908930 h 4687251"/>
              <a:gd name="connsiteX48472" fmla="*/ 3537968 w 8079933"/>
              <a:gd name="connsiteY48472" fmla="*/ 910987 h 4687251"/>
              <a:gd name="connsiteX48473" fmla="*/ 3533845 w 8079933"/>
              <a:gd name="connsiteY48473" fmla="*/ 911637 h 4687251"/>
              <a:gd name="connsiteX48474" fmla="*/ 3532759 w 8079933"/>
              <a:gd name="connsiteY48474" fmla="*/ 913586 h 4687251"/>
              <a:gd name="connsiteX48475" fmla="*/ 3532759 w 8079933"/>
              <a:gd name="connsiteY48475" fmla="*/ 915535 h 4687251"/>
              <a:gd name="connsiteX48476" fmla="*/ 3537425 w 8079933"/>
              <a:gd name="connsiteY48476" fmla="*/ 913803 h 4687251"/>
              <a:gd name="connsiteX48477" fmla="*/ 3538511 w 8079933"/>
              <a:gd name="connsiteY48477" fmla="*/ 915210 h 4687251"/>
              <a:gd name="connsiteX48478" fmla="*/ 3537860 w 8079933"/>
              <a:gd name="connsiteY48478" fmla="*/ 917592 h 4687251"/>
              <a:gd name="connsiteX48479" fmla="*/ 3536558 w 8079933"/>
              <a:gd name="connsiteY48479" fmla="*/ 920299 h 4687251"/>
              <a:gd name="connsiteX48480" fmla="*/ 3538511 w 8079933"/>
              <a:gd name="connsiteY48480" fmla="*/ 920299 h 4687251"/>
              <a:gd name="connsiteX48481" fmla="*/ 3540030 w 8079933"/>
              <a:gd name="connsiteY48481" fmla="*/ 922789 h 4687251"/>
              <a:gd name="connsiteX48482" fmla="*/ 3539161 w 8079933"/>
              <a:gd name="connsiteY48482" fmla="*/ 924521 h 4687251"/>
              <a:gd name="connsiteX48483" fmla="*/ 3539161 w 8079933"/>
              <a:gd name="connsiteY48483" fmla="*/ 929069 h 4687251"/>
              <a:gd name="connsiteX48484" fmla="*/ 3538076 w 8079933"/>
              <a:gd name="connsiteY48484" fmla="*/ 931776 h 4687251"/>
              <a:gd name="connsiteX48485" fmla="*/ 3538076 w 8079933"/>
              <a:gd name="connsiteY48485" fmla="*/ 939138 h 4687251"/>
              <a:gd name="connsiteX48486" fmla="*/ 3538728 w 8079933"/>
              <a:gd name="connsiteY48486" fmla="*/ 942277 h 4687251"/>
              <a:gd name="connsiteX48487" fmla="*/ 3538728 w 8079933"/>
              <a:gd name="connsiteY48487" fmla="*/ 945526 h 4687251"/>
              <a:gd name="connsiteX48488" fmla="*/ 3536449 w 8079933"/>
              <a:gd name="connsiteY48488" fmla="*/ 947150 h 4687251"/>
              <a:gd name="connsiteX48489" fmla="*/ 3533845 w 8079933"/>
              <a:gd name="connsiteY48489" fmla="*/ 947150 h 4687251"/>
              <a:gd name="connsiteX48490" fmla="*/ 3532217 w 8079933"/>
              <a:gd name="connsiteY48490" fmla="*/ 947150 h 4687251"/>
              <a:gd name="connsiteX48491" fmla="*/ 3531240 w 8079933"/>
              <a:gd name="connsiteY48491" fmla="*/ 945850 h 4687251"/>
              <a:gd name="connsiteX48492" fmla="*/ 3532325 w 8079933"/>
              <a:gd name="connsiteY48492" fmla="*/ 943577 h 4687251"/>
              <a:gd name="connsiteX48493" fmla="*/ 3531132 w 8079933"/>
              <a:gd name="connsiteY48493" fmla="*/ 941411 h 4687251"/>
              <a:gd name="connsiteX48494" fmla="*/ 3529070 w 8079933"/>
              <a:gd name="connsiteY48494" fmla="*/ 939896 h 4687251"/>
              <a:gd name="connsiteX48495" fmla="*/ 3526357 w 8079933"/>
              <a:gd name="connsiteY48495" fmla="*/ 940978 h 4687251"/>
              <a:gd name="connsiteX48496" fmla="*/ 3524729 w 8079933"/>
              <a:gd name="connsiteY48496" fmla="*/ 942494 h 4687251"/>
              <a:gd name="connsiteX48497" fmla="*/ 3522450 w 8079933"/>
              <a:gd name="connsiteY48497" fmla="*/ 941520 h 4687251"/>
              <a:gd name="connsiteX48498" fmla="*/ 3522450 w 8079933"/>
              <a:gd name="connsiteY48498" fmla="*/ 938488 h 4687251"/>
              <a:gd name="connsiteX48499" fmla="*/ 3524512 w 8079933"/>
              <a:gd name="connsiteY48499" fmla="*/ 934807 h 4687251"/>
              <a:gd name="connsiteX48500" fmla="*/ 3522884 w 8079933"/>
              <a:gd name="connsiteY48500" fmla="*/ 930476 h 4687251"/>
              <a:gd name="connsiteX48501" fmla="*/ 3522884 w 8079933"/>
              <a:gd name="connsiteY48501" fmla="*/ 927120 h 4687251"/>
              <a:gd name="connsiteX48502" fmla="*/ 3523969 w 8079933"/>
              <a:gd name="connsiteY48502" fmla="*/ 923547 h 4687251"/>
              <a:gd name="connsiteX48503" fmla="*/ 3522559 w 8079933"/>
              <a:gd name="connsiteY48503" fmla="*/ 921598 h 4687251"/>
              <a:gd name="connsiteX48504" fmla="*/ 3521148 w 8079933"/>
              <a:gd name="connsiteY48504" fmla="*/ 921598 h 4687251"/>
              <a:gd name="connsiteX48505" fmla="*/ 3519955 w 8079933"/>
              <a:gd name="connsiteY48505" fmla="*/ 924305 h 4687251"/>
              <a:gd name="connsiteX48506" fmla="*/ 3518978 w 8079933"/>
              <a:gd name="connsiteY48506" fmla="*/ 928852 h 4687251"/>
              <a:gd name="connsiteX48507" fmla="*/ 3518978 w 8079933"/>
              <a:gd name="connsiteY48507" fmla="*/ 934807 h 4687251"/>
              <a:gd name="connsiteX48508" fmla="*/ 3518978 w 8079933"/>
              <a:gd name="connsiteY48508" fmla="*/ 940221 h 4687251"/>
              <a:gd name="connsiteX48509" fmla="*/ 3518978 w 8079933"/>
              <a:gd name="connsiteY48509" fmla="*/ 943036 h 4687251"/>
              <a:gd name="connsiteX48510" fmla="*/ 3517458 w 8079933"/>
              <a:gd name="connsiteY48510" fmla="*/ 944119 h 4687251"/>
              <a:gd name="connsiteX48511" fmla="*/ 3514637 w 8079933"/>
              <a:gd name="connsiteY48511" fmla="*/ 944119 h 4687251"/>
              <a:gd name="connsiteX48512" fmla="*/ 3511599 w 8079933"/>
              <a:gd name="connsiteY48512" fmla="*/ 944768 h 4687251"/>
              <a:gd name="connsiteX48513" fmla="*/ 3508561 w 8079933"/>
              <a:gd name="connsiteY48513" fmla="*/ 945850 h 4687251"/>
              <a:gd name="connsiteX48514" fmla="*/ 3506064 w 8079933"/>
              <a:gd name="connsiteY48514" fmla="*/ 943469 h 4687251"/>
              <a:gd name="connsiteX48515" fmla="*/ 3500422 w 8079933"/>
              <a:gd name="connsiteY48515" fmla="*/ 939030 h 4687251"/>
              <a:gd name="connsiteX48516" fmla="*/ 3496731 w 8079933"/>
              <a:gd name="connsiteY48516" fmla="*/ 931992 h 4687251"/>
              <a:gd name="connsiteX48517" fmla="*/ 3493585 w 8079933"/>
              <a:gd name="connsiteY48517" fmla="*/ 928419 h 4687251"/>
              <a:gd name="connsiteX48518" fmla="*/ 3491414 w 8079933"/>
              <a:gd name="connsiteY48518" fmla="*/ 925821 h 4687251"/>
              <a:gd name="connsiteX48519" fmla="*/ 3490221 w 8079933"/>
              <a:gd name="connsiteY48519" fmla="*/ 918025 h 4687251"/>
              <a:gd name="connsiteX48520" fmla="*/ 3488051 w 8079933"/>
              <a:gd name="connsiteY48520" fmla="*/ 914236 h 4687251"/>
              <a:gd name="connsiteX48521" fmla="*/ 3485446 w 8079933"/>
              <a:gd name="connsiteY48521" fmla="*/ 911096 h 4687251"/>
              <a:gd name="connsiteX48522" fmla="*/ 3484578 w 8079933"/>
              <a:gd name="connsiteY48522" fmla="*/ 905683 h 4687251"/>
              <a:gd name="connsiteX48523" fmla="*/ 3485338 w 8079933"/>
              <a:gd name="connsiteY48523" fmla="*/ 901026 h 4687251"/>
              <a:gd name="connsiteX48524" fmla="*/ 3486965 w 8079933"/>
              <a:gd name="connsiteY48524" fmla="*/ 897887 h 4687251"/>
              <a:gd name="connsiteX48525" fmla="*/ 3485772 w 8079933"/>
              <a:gd name="connsiteY48525" fmla="*/ 895613 h 4687251"/>
              <a:gd name="connsiteX48526" fmla="*/ 3484361 w 8079933"/>
              <a:gd name="connsiteY48526" fmla="*/ 895613 h 4687251"/>
              <a:gd name="connsiteX48527" fmla="*/ 3479695 w 8079933"/>
              <a:gd name="connsiteY48527" fmla="*/ 896804 h 4687251"/>
              <a:gd name="connsiteX48528" fmla="*/ 3478175 w 8079933"/>
              <a:gd name="connsiteY48528" fmla="*/ 898645 h 4687251"/>
              <a:gd name="connsiteX48529" fmla="*/ 3475028 w 8079933"/>
              <a:gd name="connsiteY48529" fmla="*/ 896263 h 4687251"/>
              <a:gd name="connsiteX48530" fmla="*/ 3467215 w 8079933"/>
              <a:gd name="connsiteY48530" fmla="*/ 886085 h 4687251"/>
              <a:gd name="connsiteX48531" fmla="*/ 3467215 w 8079933"/>
              <a:gd name="connsiteY48531" fmla="*/ 882512 h 4687251"/>
              <a:gd name="connsiteX48532" fmla="*/ 3465479 w 8079933"/>
              <a:gd name="connsiteY48532" fmla="*/ 880672 h 4687251"/>
              <a:gd name="connsiteX48533" fmla="*/ 3462549 w 8079933"/>
              <a:gd name="connsiteY48533" fmla="*/ 882187 h 4687251"/>
              <a:gd name="connsiteX48534" fmla="*/ 3458100 w 8079933"/>
              <a:gd name="connsiteY48534" fmla="*/ 882837 h 4687251"/>
              <a:gd name="connsiteX48535" fmla="*/ 3454302 w 8079933"/>
              <a:gd name="connsiteY48535" fmla="*/ 881104 h 4687251"/>
              <a:gd name="connsiteX48536" fmla="*/ 3452566 w 8079933"/>
              <a:gd name="connsiteY48536" fmla="*/ 882187 h 4687251"/>
              <a:gd name="connsiteX48537" fmla="*/ 3449853 w 8079933"/>
              <a:gd name="connsiteY48537" fmla="*/ 883595 h 4687251"/>
              <a:gd name="connsiteX48538" fmla="*/ 3447791 w 8079933"/>
              <a:gd name="connsiteY48538" fmla="*/ 882404 h 4687251"/>
              <a:gd name="connsiteX48539" fmla="*/ 3444644 w 8079933"/>
              <a:gd name="connsiteY48539" fmla="*/ 878831 h 4687251"/>
              <a:gd name="connsiteX48540" fmla="*/ 3444644 w 8079933"/>
              <a:gd name="connsiteY48540" fmla="*/ 876557 h 4687251"/>
              <a:gd name="connsiteX48541" fmla="*/ 3439110 w 8079933"/>
              <a:gd name="connsiteY48541" fmla="*/ 871577 h 4687251"/>
              <a:gd name="connsiteX48542" fmla="*/ 3439110 w 8079933"/>
              <a:gd name="connsiteY48542" fmla="*/ 869195 h 4687251"/>
              <a:gd name="connsiteX48543" fmla="*/ 3437048 w 8079933"/>
              <a:gd name="connsiteY48543" fmla="*/ 866596 h 4687251"/>
              <a:gd name="connsiteX48544" fmla="*/ 3435529 w 8079933"/>
              <a:gd name="connsiteY48544" fmla="*/ 861400 h 4687251"/>
              <a:gd name="connsiteX48545" fmla="*/ 3433250 w 8079933"/>
              <a:gd name="connsiteY48545" fmla="*/ 858693 h 4687251"/>
              <a:gd name="connsiteX48546" fmla="*/ 3431839 w 8079933"/>
              <a:gd name="connsiteY48546" fmla="*/ 860967 h 4687251"/>
              <a:gd name="connsiteX48547" fmla="*/ 3431839 w 8079933"/>
              <a:gd name="connsiteY48547" fmla="*/ 864973 h 4687251"/>
              <a:gd name="connsiteX48548" fmla="*/ 3431839 w 8079933"/>
              <a:gd name="connsiteY48548" fmla="*/ 866813 h 4687251"/>
              <a:gd name="connsiteX48549" fmla="*/ 3427389 w 8079933"/>
              <a:gd name="connsiteY48549" fmla="*/ 869087 h 4687251"/>
              <a:gd name="connsiteX48550" fmla="*/ 3425871 w 8079933"/>
              <a:gd name="connsiteY48550" fmla="*/ 870602 h 4687251"/>
              <a:gd name="connsiteX48551" fmla="*/ 3429994 w 8079933"/>
              <a:gd name="connsiteY48551" fmla="*/ 870602 h 4687251"/>
              <a:gd name="connsiteX48552" fmla="*/ 3432382 w 8079933"/>
              <a:gd name="connsiteY48552" fmla="*/ 872118 h 4687251"/>
              <a:gd name="connsiteX48553" fmla="*/ 3435312 w 8079933"/>
              <a:gd name="connsiteY48553" fmla="*/ 876449 h 4687251"/>
              <a:gd name="connsiteX48554" fmla="*/ 3437698 w 8079933"/>
              <a:gd name="connsiteY48554" fmla="*/ 880022 h 4687251"/>
              <a:gd name="connsiteX48555" fmla="*/ 3436614 w 8079933"/>
              <a:gd name="connsiteY48555" fmla="*/ 882079 h 4687251"/>
              <a:gd name="connsiteX48556" fmla="*/ 3431622 w 8079933"/>
              <a:gd name="connsiteY48556" fmla="*/ 882079 h 4687251"/>
              <a:gd name="connsiteX48557" fmla="*/ 3429343 w 8079933"/>
              <a:gd name="connsiteY48557" fmla="*/ 884136 h 4687251"/>
              <a:gd name="connsiteX48558" fmla="*/ 3426088 w 8079933"/>
              <a:gd name="connsiteY48558" fmla="*/ 885977 h 4687251"/>
              <a:gd name="connsiteX48559" fmla="*/ 3423375 w 8079933"/>
              <a:gd name="connsiteY48559" fmla="*/ 883595 h 4687251"/>
              <a:gd name="connsiteX48560" fmla="*/ 3423375 w 8079933"/>
              <a:gd name="connsiteY48560" fmla="*/ 886302 h 4687251"/>
              <a:gd name="connsiteX48561" fmla="*/ 3426304 w 8079933"/>
              <a:gd name="connsiteY48561" fmla="*/ 888359 h 4687251"/>
              <a:gd name="connsiteX48562" fmla="*/ 3429451 w 8079933"/>
              <a:gd name="connsiteY48562" fmla="*/ 888359 h 4687251"/>
              <a:gd name="connsiteX48563" fmla="*/ 3433901 w 8079933"/>
              <a:gd name="connsiteY48563" fmla="*/ 884569 h 4687251"/>
              <a:gd name="connsiteX48564" fmla="*/ 3436614 w 8079933"/>
              <a:gd name="connsiteY48564" fmla="*/ 884569 h 4687251"/>
              <a:gd name="connsiteX48565" fmla="*/ 3441496 w 8079933"/>
              <a:gd name="connsiteY48565" fmla="*/ 882729 h 4687251"/>
              <a:gd name="connsiteX48566" fmla="*/ 3442691 w 8079933"/>
              <a:gd name="connsiteY48566" fmla="*/ 884245 h 4687251"/>
              <a:gd name="connsiteX48567" fmla="*/ 3442691 w 8079933"/>
              <a:gd name="connsiteY48567" fmla="*/ 886843 h 4687251"/>
              <a:gd name="connsiteX48568" fmla="*/ 3444427 w 8079933"/>
              <a:gd name="connsiteY48568" fmla="*/ 888900 h 4687251"/>
              <a:gd name="connsiteX48569" fmla="*/ 3449202 w 8079933"/>
              <a:gd name="connsiteY48569" fmla="*/ 886626 h 4687251"/>
              <a:gd name="connsiteX48570" fmla="*/ 3451046 w 8079933"/>
              <a:gd name="connsiteY48570" fmla="*/ 886626 h 4687251"/>
              <a:gd name="connsiteX48571" fmla="*/ 3461898 w 8079933"/>
              <a:gd name="connsiteY48571" fmla="*/ 889875 h 4687251"/>
              <a:gd name="connsiteX48572" fmla="*/ 3466021 w 8079933"/>
              <a:gd name="connsiteY48572" fmla="*/ 891932 h 4687251"/>
              <a:gd name="connsiteX48573" fmla="*/ 3468300 w 8079933"/>
              <a:gd name="connsiteY48573" fmla="*/ 891932 h 4687251"/>
              <a:gd name="connsiteX48574" fmla="*/ 3469494 w 8079933"/>
              <a:gd name="connsiteY48574" fmla="*/ 895180 h 4687251"/>
              <a:gd name="connsiteX48575" fmla="*/ 3471773 w 8079933"/>
              <a:gd name="connsiteY48575" fmla="*/ 900052 h 4687251"/>
              <a:gd name="connsiteX48576" fmla="*/ 3469928 w 8079933"/>
              <a:gd name="connsiteY48576" fmla="*/ 904058 h 4687251"/>
              <a:gd name="connsiteX48577" fmla="*/ 3466781 w 8079933"/>
              <a:gd name="connsiteY48577" fmla="*/ 905358 h 4687251"/>
              <a:gd name="connsiteX48578" fmla="*/ 3464286 w 8079933"/>
              <a:gd name="connsiteY48578" fmla="*/ 908173 h 4687251"/>
              <a:gd name="connsiteX48579" fmla="*/ 3461464 w 8079933"/>
              <a:gd name="connsiteY48579" fmla="*/ 909580 h 4687251"/>
              <a:gd name="connsiteX48580" fmla="*/ 3458100 w 8079933"/>
              <a:gd name="connsiteY48580" fmla="*/ 909580 h 4687251"/>
              <a:gd name="connsiteX48581" fmla="*/ 3446489 w 8079933"/>
              <a:gd name="connsiteY48581" fmla="*/ 915318 h 4687251"/>
              <a:gd name="connsiteX48582" fmla="*/ 3440520 w 8079933"/>
              <a:gd name="connsiteY48582" fmla="*/ 915318 h 4687251"/>
              <a:gd name="connsiteX48583" fmla="*/ 3436397 w 8079933"/>
              <a:gd name="connsiteY48583" fmla="*/ 916834 h 4687251"/>
              <a:gd name="connsiteX48584" fmla="*/ 3433467 w 8079933"/>
              <a:gd name="connsiteY48584" fmla="*/ 914777 h 4687251"/>
              <a:gd name="connsiteX48585" fmla="*/ 3430970 w 8079933"/>
              <a:gd name="connsiteY48585" fmla="*/ 910446 h 4687251"/>
              <a:gd name="connsiteX48586" fmla="*/ 3430970 w 8079933"/>
              <a:gd name="connsiteY48586" fmla="*/ 907522 h 4687251"/>
              <a:gd name="connsiteX48587" fmla="*/ 3429451 w 8079933"/>
              <a:gd name="connsiteY48587" fmla="*/ 905683 h 4687251"/>
              <a:gd name="connsiteX48588" fmla="*/ 3426847 w 8079933"/>
              <a:gd name="connsiteY48588" fmla="*/ 904708 h 4687251"/>
              <a:gd name="connsiteX48589" fmla="*/ 3426847 w 8079933"/>
              <a:gd name="connsiteY48589" fmla="*/ 909147 h 4687251"/>
              <a:gd name="connsiteX48590" fmla="*/ 3428149 w 8079933"/>
              <a:gd name="connsiteY48590" fmla="*/ 910663 h 4687251"/>
              <a:gd name="connsiteX48591" fmla="*/ 3428801 w 8079933"/>
              <a:gd name="connsiteY48591" fmla="*/ 913044 h 4687251"/>
              <a:gd name="connsiteX48592" fmla="*/ 3427389 w 8079933"/>
              <a:gd name="connsiteY48592" fmla="*/ 914344 h 4687251"/>
              <a:gd name="connsiteX48593" fmla="*/ 3423809 w 8079933"/>
              <a:gd name="connsiteY48593" fmla="*/ 913586 h 4687251"/>
              <a:gd name="connsiteX48594" fmla="*/ 3423809 w 8079933"/>
              <a:gd name="connsiteY48594" fmla="*/ 912503 h 4687251"/>
              <a:gd name="connsiteX48595" fmla="*/ 3422181 w 8079933"/>
              <a:gd name="connsiteY48595" fmla="*/ 912503 h 4687251"/>
              <a:gd name="connsiteX48596" fmla="*/ 3418817 w 8079933"/>
              <a:gd name="connsiteY48596" fmla="*/ 914669 h 4687251"/>
              <a:gd name="connsiteX48597" fmla="*/ 3419793 w 8079933"/>
              <a:gd name="connsiteY48597" fmla="*/ 916185 h 4687251"/>
              <a:gd name="connsiteX48598" fmla="*/ 3423591 w 8079933"/>
              <a:gd name="connsiteY48598" fmla="*/ 917159 h 4687251"/>
              <a:gd name="connsiteX48599" fmla="*/ 3425544 w 8079933"/>
              <a:gd name="connsiteY48599" fmla="*/ 919216 h 4687251"/>
              <a:gd name="connsiteX48600" fmla="*/ 3426196 w 8079933"/>
              <a:gd name="connsiteY48600" fmla="*/ 921815 h 4687251"/>
              <a:gd name="connsiteX48601" fmla="*/ 3424134 w 8079933"/>
              <a:gd name="connsiteY48601" fmla="*/ 924521 h 4687251"/>
              <a:gd name="connsiteX48602" fmla="*/ 3422181 w 8079933"/>
              <a:gd name="connsiteY48602" fmla="*/ 925712 h 4687251"/>
              <a:gd name="connsiteX48603" fmla="*/ 3419360 w 8079933"/>
              <a:gd name="connsiteY48603" fmla="*/ 925712 h 4687251"/>
              <a:gd name="connsiteX48604" fmla="*/ 3418057 w 8079933"/>
              <a:gd name="connsiteY48604" fmla="*/ 927553 h 4687251"/>
              <a:gd name="connsiteX48605" fmla="*/ 3418057 w 8079933"/>
              <a:gd name="connsiteY48605" fmla="*/ 932425 h 4687251"/>
              <a:gd name="connsiteX48606" fmla="*/ 3415127 w 8079933"/>
              <a:gd name="connsiteY48606" fmla="*/ 934482 h 4687251"/>
              <a:gd name="connsiteX48607" fmla="*/ 3406880 w 8079933"/>
              <a:gd name="connsiteY48607" fmla="*/ 938272 h 4687251"/>
              <a:gd name="connsiteX48608" fmla="*/ 3402865 w 8079933"/>
              <a:gd name="connsiteY48608" fmla="*/ 938272 h 4687251"/>
              <a:gd name="connsiteX48609" fmla="*/ 3400152 w 8079933"/>
              <a:gd name="connsiteY48609" fmla="*/ 938272 h 4687251"/>
              <a:gd name="connsiteX48610" fmla="*/ 3396354 w 8079933"/>
              <a:gd name="connsiteY48610" fmla="*/ 941953 h 4687251"/>
              <a:gd name="connsiteX48611" fmla="*/ 3394835 w 8079933"/>
              <a:gd name="connsiteY48611" fmla="*/ 944876 h 4687251"/>
              <a:gd name="connsiteX48612" fmla="*/ 3395920 w 8079933"/>
              <a:gd name="connsiteY48612" fmla="*/ 946067 h 4687251"/>
              <a:gd name="connsiteX48613" fmla="*/ 3403733 w 8079933"/>
              <a:gd name="connsiteY48613" fmla="*/ 942277 h 4687251"/>
              <a:gd name="connsiteX48614" fmla="*/ 3409159 w 8079933"/>
              <a:gd name="connsiteY48614" fmla="*/ 942277 h 4687251"/>
              <a:gd name="connsiteX48615" fmla="*/ 3412957 w 8079933"/>
              <a:gd name="connsiteY48615" fmla="*/ 940978 h 4687251"/>
              <a:gd name="connsiteX48616" fmla="*/ 3415344 w 8079933"/>
              <a:gd name="connsiteY48616" fmla="*/ 942062 h 4687251"/>
              <a:gd name="connsiteX48617" fmla="*/ 3416864 w 8079933"/>
              <a:gd name="connsiteY48617" fmla="*/ 944010 h 4687251"/>
              <a:gd name="connsiteX48618" fmla="*/ 3421964 w 8079933"/>
              <a:gd name="connsiteY48618" fmla="*/ 945093 h 4687251"/>
              <a:gd name="connsiteX48619" fmla="*/ 3425871 w 8079933"/>
              <a:gd name="connsiteY48619" fmla="*/ 945093 h 4687251"/>
              <a:gd name="connsiteX48620" fmla="*/ 3430537 w 8079933"/>
              <a:gd name="connsiteY48620" fmla="*/ 943577 h 4687251"/>
              <a:gd name="connsiteX48621" fmla="*/ 3437590 w 8079933"/>
              <a:gd name="connsiteY48621" fmla="*/ 943577 h 4687251"/>
              <a:gd name="connsiteX48622" fmla="*/ 3440955 w 8079933"/>
              <a:gd name="connsiteY48622" fmla="*/ 945093 h 4687251"/>
              <a:gd name="connsiteX48623" fmla="*/ 3444969 w 8079933"/>
              <a:gd name="connsiteY48623" fmla="*/ 944227 h 4687251"/>
              <a:gd name="connsiteX48624" fmla="*/ 3446922 w 8079933"/>
              <a:gd name="connsiteY48624" fmla="*/ 944227 h 4687251"/>
              <a:gd name="connsiteX48625" fmla="*/ 3448225 w 8079933"/>
              <a:gd name="connsiteY48625" fmla="*/ 945850 h 4687251"/>
              <a:gd name="connsiteX48626" fmla="*/ 3450395 w 8079933"/>
              <a:gd name="connsiteY48626" fmla="*/ 945850 h 4687251"/>
              <a:gd name="connsiteX48627" fmla="*/ 3451589 w 8079933"/>
              <a:gd name="connsiteY48627" fmla="*/ 948124 h 4687251"/>
              <a:gd name="connsiteX48628" fmla="*/ 3450178 w 8079933"/>
              <a:gd name="connsiteY48628" fmla="*/ 950290 h 4687251"/>
              <a:gd name="connsiteX48629" fmla="*/ 3446271 w 8079933"/>
              <a:gd name="connsiteY48629" fmla="*/ 951372 h 4687251"/>
              <a:gd name="connsiteX48630" fmla="*/ 3441496 w 8079933"/>
              <a:gd name="connsiteY48630" fmla="*/ 950073 h 4687251"/>
              <a:gd name="connsiteX48631" fmla="*/ 3437698 w 8079933"/>
              <a:gd name="connsiteY48631" fmla="*/ 950073 h 4687251"/>
              <a:gd name="connsiteX48632" fmla="*/ 3434226 w 8079933"/>
              <a:gd name="connsiteY48632" fmla="*/ 953321 h 4687251"/>
              <a:gd name="connsiteX48633" fmla="*/ 3428692 w 8079933"/>
              <a:gd name="connsiteY48633" fmla="*/ 953862 h 4687251"/>
              <a:gd name="connsiteX48634" fmla="*/ 3425003 w 8079933"/>
              <a:gd name="connsiteY48634" fmla="*/ 955811 h 4687251"/>
              <a:gd name="connsiteX48635" fmla="*/ 3421855 w 8079933"/>
              <a:gd name="connsiteY48635" fmla="*/ 954621 h 4687251"/>
              <a:gd name="connsiteX48636" fmla="*/ 3419251 w 8079933"/>
              <a:gd name="connsiteY48636" fmla="*/ 952239 h 4687251"/>
              <a:gd name="connsiteX48637" fmla="*/ 3414910 w 8079933"/>
              <a:gd name="connsiteY48637" fmla="*/ 952239 h 4687251"/>
              <a:gd name="connsiteX48638" fmla="*/ 3412305 w 8079933"/>
              <a:gd name="connsiteY48638" fmla="*/ 955054 h 4687251"/>
              <a:gd name="connsiteX48639" fmla="*/ 3414151 w 8079933"/>
              <a:gd name="connsiteY48639" fmla="*/ 956894 h 4687251"/>
              <a:gd name="connsiteX48640" fmla="*/ 3416647 w 8079933"/>
              <a:gd name="connsiteY48640" fmla="*/ 955811 h 4687251"/>
              <a:gd name="connsiteX48641" fmla="*/ 3419577 w 8079933"/>
              <a:gd name="connsiteY48641" fmla="*/ 957327 h 4687251"/>
              <a:gd name="connsiteX48642" fmla="*/ 3427389 w 8079933"/>
              <a:gd name="connsiteY48642" fmla="*/ 957327 h 4687251"/>
              <a:gd name="connsiteX48643" fmla="*/ 3429451 w 8079933"/>
              <a:gd name="connsiteY48643" fmla="*/ 958843 h 4687251"/>
              <a:gd name="connsiteX48644" fmla="*/ 3431622 w 8079933"/>
              <a:gd name="connsiteY48644" fmla="*/ 961550 h 4687251"/>
              <a:gd name="connsiteX48645" fmla="*/ 3433250 w 8079933"/>
              <a:gd name="connsiteY48645" fmla="*/ 958410 h 4687251"/>
              <a:gd name="connsiteX48646" fmla="*/ 3439218 w 8079933"/>
              <a:gd name="connsiteY48646" fmla="*/ 953105 h 4687251"/>
              <a:gd name="connsiteX48647" fmla="*/ 3442582 w 8079933"/>
              <a:gd name="connsiteY48647" fmla="*/ 953105 h 4687251"/>
              <a:gd name="connsiteX48648" fmla="*/ 3445512 w 8079933"/>
              <a:gd name="connsiteY48648" fmla="*/ 951697 h 4687251"/>
              <a:gd name="connsiteX48649" fmla="*/ 3448225 w 8079933"/>
              <a:gd name="connsiteY48649" fmla="*/ 952780 h 4687251"/>
              <a:gd name="connsiteX48650" fmla="*/ 3450178 w 8079933"/>
              <a:gd name="connsiteY48650" fmla="*/ 954296 h 4687251"/>
              <a:gd name="connsiteX48651" fmla="*/ 3452891 w 8079933"/>
              <a:gd name="connsiteY48651" fmla="*/ 953213 h 4687251"/>
              <a:gd name="connsiteX48652" fmla="*/ 3459402 w 8079933"/>
              <a:gd name="connsiteY48652" fmla="*/ 953213 h 4687251"/>
              <a:gd name="connsiteX48653" fmla="*/ 3462549 w 8079933"/>
              <a:gd name="connsiteY48653" fmla="*/ 951481 h 4687251"/>
              <a:gd name="connsiteX48654" fmla="*/ 3469060 w 8079933"/>
              <a:gd name="connsiteY48654" fmla="*/ 946717 h 4687251"/>
              <a:gd name="connsiteX48655" fmla="*/ 3471339 w 8079933"/>
              <a:gd name="connsiteY48655" fmla="*/ 944552 h 4687251"/>
              <a:gd name="connsiteX48656" fmla="*/ 3471339 w 8079933"/>
              <a:gd name="connsiteY48656" fmla="*/ 945959 h 4687251"/>
              <a:gd name="connsiteX48657" fmla="*/ 3470688 w 8079933"/>
              <a:gd name="connsiteY48657" fmla="*/ 948341 h 4687251"/>
              <a:gd name="connsiteX48658" fmla="*/ 3471773 w 8079933"/>
              <a:gd name="connsiteY48658" fmla="*/ 949207 h 4687251"/>
              <a:gd name="connsiteX48659" fmla="*/ 3475137 w 8079933"/>
              <a:gd name="connsiteY48659" fmla="*/ 947366 h 4687251"/>
              <a:gd name="connsiteX48660" fmla="*/ 3476765 w 8079933"/>
              <a:gd name="connsiteY48660" fmla="*/ 947366 h 4687251"/>
              <a:gd name="connsiteX48661" fmla="*/ 3478393 w 8079933"/>
              <a:gd name="connsiteY48661" fmla="*/ 949423 h 4687251"/>
              <a:gd name="connsiteX48662" fmla="*/ 3484578 w 8079933"/>
              <a:gd name="connsiteY48662" fmla="*/ 954404 h 4687251"/>
              <a:gd name="connsiteX48663" fmla="*/ 3491306 w 8079933"/>
              <a:gd name="connsiteY48663" fmla="*/ 955378 h 4687251"/>
              <a:gd name="connsiteX48664" fmla="*/ 3496623 w 8079933"/>
              <a:gd name="connsiteY48664" fmla="*/ 957868 h 4687251"/>
              <a:gd name="connsiteX48665" fmla="*/ 3502591 w 8079933"/>
              <a:gd name="connsiteY48665" fmla="*/ 959276 h 4687251"/>
              <a:gd name="connsiteX48666" fmla="*/ 3505956 w 8079933"/>
              <a:gd name="connsiteY48666" fmla="*/ 959276 h 4687251"/>
              <a:gd name="connsiteX48667" fmla="*/ 3512467 w 8079933"/>
              <a:gd name="connsiteY48667" fmla="*/ 959276 h 4687251"/>
              <a:gd name="connsiteX48668" fmla="*/ 3514095 w 8079933"/>
              <a:gd name="connsiteY48668" fmla="*/ 960250 h 4687251"/>
              <a:gd name="connsiteX48669" fmla="*/ 3519629 w 8079933"/>
              <a:gd name="connsiteY48669" fmla="*/ 960250 h 4687251"/>
              <a:gd name="connsiteX48670" fmla="*/ 3525597 w 8079933"/>
              <a:gd name="connsiteY48670" fmla="*/ 958193 h 4687251"/>
              <a:gd name="connsiteX48671" fmla="*/ 3525597 w 8079933"/>
              <a:gd name="connsiteY48671" fmla="*/ 959384 h 4687251"/>
              <a:gd name="connsiteX48672" fmla="*/ 3523318 w 8079933"/>
              <a:gd name="connsiteY48672" fmla="*/ 963499 h 4687251"/>
              <a:gd name="connsiteX48673" fmla="*/ 3518869 w 8079933"/>
              <a:gd name="connsiteY48673" fmla="*/ 966313 h 4687251"/>
              <a:gd name="connsiteX48674" fmla="*/ 3513877 w 8079933"/>
              <a:gd name="connsiteY48674" fmla="*/ 967180 h 4687251"/>
              <a:gd name="connsiteX48675" fmla="*/ 3511816 w 8079933"/>
              <a:gd name="connsiteY48675" fmla="*/ 966422 h 4687251"/>
              <a:gd name="connsiteX48676" fmla="*/ 3508234 w 8079933"/>
              <a:gd name="connsiteY48676" fmla="*/ 969021 h 4687251"/>
              <a:gd name="connsiteX48677" fmla="*/ 3508234 w 8079933"/>
              <a:gd name="connsiteY48677" fmla="*/ 970970 h 4687251"/>
              <a:gd name="connsiteX48678" fmla="*/ 3510622 w 8079933"/>
              <a:gd name="connsiteY48678" fmla="*/ 972702 h 4687251"/>
              <a:gd name="connsiteX48679" fmla="*/ 3510622 w 8079933"/>
              <a:gd name="connsiteY48679" fmla="*/ 974867 h 4687251"/>
              <a:gd name="connsiteX48680" fmla="*/ 3509102 w 8079933"/>
              <a:gd name="connsiteY48680" fmla="*/ 975950 h 4687251"/>
              <a:gd name="connsiteX48681" fmla="*/ 3506824 w 8079933"/>
              <a:gd name="connsiteY48681" fmla="*/ 975300 h 4687251"/>
              <a:gd name="connsiteX48682" fmla="*/ 3505088 w 8079933"/>
              <a:gd name="connsiteY48682" fmla="*/ 973460 h 4687251"/>
              <a:gd name="connsiteX48683" fmla="*/ 3503135 w 8079933"/>
              <a:gd name="connsiteY48683" fmla="*/ 972702 h 4687251"/>
              <a:gd name="connsiteX48684" fmla="*/ 3502049 w 8079933"/>
              <a:gd name="connsiteY48684" fmla="*/ 975300 h 4687251"/>
              <a:gd name="connsiteX48685" fmla="*/ 3501398 w 8079933"/>
              <a:gd name="connsiteY48685" fmla="*/ 977249 h 4687251"/>
              <a:gd name="connsiteX48686" fmla="*/ 3499336 w 8079933"/>
              <a:gd name="connsiteY48686" fmla="*/ 975841 h 4687251"/>
              <a:gd name="connsiteX48687" fmla="*/ 3494995 w 8079933"/>
              <a:gd name="connsiteY48687" fmla="*/ 975841 h 4687251"/>
              <a:gd name="connsiteX48688" fmla="*/ 3494127 w 8079933"/>
              <a:gd name="connsiteY48688" fmla="*/ 977033 h 4687251"/>
              <a:gd name="connsiteX48689" fmla="*/ 3494127 w 8079933"/>
              <a:gd name="connsiteY48689" fmla="*/ 979306 h 4687251"/>
              <a:gd name="connsiteX48690" fmla="*/ 3495430 w 8079933"/>
              <a:gd name="connsiteY48690" fmla="*/ 980280 h 4687251"/>
              <a:gd name="connsiteX48691" fmla="*/ 3495430 w 8079933"/>
              <a:gd name="connsiteY48691" fmla="*/ 983096 h 4687251"/>
              <a:gd name="connsiteX48692" fmla="*/ 3492934 w 8079933"/>
              <a:gd name="connsiteY48692" fmla="*/ 984936 h 4687251"/>
              <a:gd name="connsiteX48693" fmla="*/ 3489787 w 8079933"/>
              <a:gd name="connsiteY48693" fmla="*/ 985911 h 4687251"/>
              <a:gd name="connsiteX48694" fmla="*/ 3488051 w 8079933"/>
              <a:gd name="connsiteY48694" fmla="*/ 984286 h 4687251"/>
              <a:gd name="connsiteX48695" fmla="*/ 3486423 w 8079933"/>
              <a:gd name="connsiteY48695" fmla="*/ 982988 h 4687251"/>
              <a:gd name="connsiteX48696" fmla="*/ 3485338 w 8079933"/>
              <a:gd name="connsiteY48696" fmla="*/ 984178 h 4687251"/>
              <a:gd name="connsiteX48697" fmla="*/ 3485989 w 8079933"/>
              <a:gd name="connsiteY48697" fmla="*/ 986344 h 4687251"/>
              <a:gd name="connsiteX48698" fmla="*/ 3485989 w 8079933"/>
              <a:gd name="connsiteY48698" fmla="*/ 989700 h 4687251"/>
              <a:gd name="connsiteX48699" fmla="*/ 3483384 w 8079933"/>
              <a:gd name="connsiteY48699" fmla="*/ 989700 h 4687251"/>
              <a:gd name="connsiteX48700" fmla="*/ 3481431 w 8079933"/>
              <a:gd name="connsiteY48700" fmla="*/ 990674 h 4687251"/>
              <a:gd name="connsiteX48701" fmla="*/ 3479152 w 8079933"/>
              <a:gd name="connsiteY48701" fmla="*/ 992949 h 4687251"/>
              <a:gd name="connsiteX48702" fmla="*/ 3476005 w 8079933"/>
              <a:gd name="connsiteY48702" fmla="*/ 991433 h 4687251"/>
              <a:gd name="connsiteX48703" fmla="*/ 3475354 w 8079933"/>
              <a:gd name="connsiteY48703" fmla="*/ 989592 h 4687251"/>
              <a:gd name="connsiteX48704" fmla="*/ 3473509 w 8079933"/>
              <a:gd name="connsiteY48704" fmla="*/ 989592 h 4687251"/>
              <a:gd name="connsiteX48705" fmla="*/ 3473509 w 8079933"/>
              <a:gd name="connsiteY48705" fmla="*/ 992949 h 4687251"/>
              <a:gd name="connsiteX48706" fmla="*/ 3474486 w 8079933"/>
              <a:gd name="connsiteY48706" fmla="*/ 996088 h 4687251"/>
              <a:gd name="connsiteX48707" fmla="*/ 3472207 w 8079933"/>
              <a:gd name="connsiteY48707" fmla="*/ 999878 h 4687251"/>
              <a:gd name="connsiteX48708" fmla="*/ 3469386 w 8079933"/>
              <a:gd name="connsiteY48708" fmla="*/ 998362 h 4687251"/>
              <a:gd name="connsiteX48709" fmla="*/ 3468518 w 8079933"/>
              <a:gd name="connsiteY48709" fmla="*/ 995980 h 4687251"/>
              <a:gd name="connsiteX48710" fmla="*/ 3465696 w 8079933"/>
              <a:gd name="connsiteY48710" fmla="*/ 997279 h 4687251"/>
              <a:gd name="connsiteX48711" fmla="*/ 3465696 w 8079933"/>
              <a:gd name="connsiteY48711" fmla="*/ 999228 h 4687251"/>
              <a:gd name="connsiteX48712" fmla="*/ 3467541 w 8079933"/>
              <a:gd name="connsiteY48712" fmla="*/ 1000744 h 4687251"/>
              <a:gd name="connsiteX48713" fmla="*/ 3467541 w 8079933"/>
              <a:gd name="connsiteY48713" fmla="*/ 1003775 h 4687251"/>
              <a:gd name="connsiteX48714" fmla="*/ 3462766 w 8079933"/>
              <a:gd name="connsiteY48714" fmla="*/ 1006915 h 4687251"/>
              <a:gd name="connsiteX48715" fmla="*/ 3460921 w 8079933"/>
              <a:gd name="connsiteY48715" fmla="*/ 1006266 h 4687251"/>
              <a:gd name="connsiteX48716" fmla="*/ 3459836 w 8079933"/>
              <a:gd name="connsiteY48716" fmla="*/ 1004100 h 4687251"/>
              <a:gd name="connsiteX48717" fmla="*/ 3457015 w 8079933"/>
              <a:gd name="connsiteY48717" fmla="*/ 1002476 h 4687251"/>
              <a:gd name="connsiteX48718" fmla="*/ 3451263 w 8079933"/>
              <a:gd name="connsiteY48718" fmla="*/ 1003559 h 4687251"/>
              <a:gd name="connsiteX48719" fmla="*/ 3451263 w 8079933"/>
              <a:gd name="connsiteY48719" fmla="*/ 1005833 h 4687251"/>
              <a:gd name="connsiteX48720" fmla="*/ 3452891 w 8079933"/>
              <a:gd name="connsiteY48720" fmla="*/ 1009080 h 4687251"/>
              <a:gd name="connsiteX48721" fmla="*/ 3452891 w 8079933"/>
              <a:gd name="connsiteY48721" fmla="*/ 1011246 h 4687251"/>
              <a:gd name="connsiteX48722" fmla="*/ 3450612 w 8079933"/>
              <a:gd name="connsiteY48722" fmla="*/ 1012653 h 4687251"/>
              <a:gd name="connsiteX48723" fmla="*/ 3446489 w 8079933"/>
              <a:gd name="connsiteY48723" fmla="*/ 1013736 h 4687251"/>
              <a:gd name="connsiteX48724" fmla="*/ 3445186 w 8079933"/>
              <a:gd name="connsiteY48724" fmla="*/ 1015685 h 4687251"/>
              <a:gd name="connsiteX48725" fmla="*/ 3440520 w 8079933"/>
              <a:gd name="connsiteY48725" fmla="*/ 1015685 h 4687251"/>
              <a:gd name="connsiteX48726" fmla="*/ 3437807 w 8079933"/>
              <a:gd name="connsiteY48726" fmla="*/ 1018392 h 4687251"/>
              <a:gd name="connsiteX48727" fmla="*/ 3436397 w 8079933"/>
              <a:gd name="connsiteY48727" fmla="*/ 1021532 h 4687251"/>
              <a:gd name="connsiteX48728" fmla="*/ 3434552 w 8079933"/>
              <a:gd name="connsiteY48728" fmla="*/ 1021532 h 4687251"/>
              <a:gd name="connsiteX48729" fmla="*/ 3433032 w 8079933"/>
              <a:gd name="connsiteY48729" fmla="*/ 1018825 h 4687251"/>
              <a:gd name="connsiteX48730" fmla="*/ 3430319 w 8079933"/>
              <a:gd name="connsiteY48730" fmla="*/ 1018825 h 4687251"/>
              <a:gd name="connsiteX48731" fmla="*/ 3426196 w 8079933"/>
              <a:gd name="connsiteY48731" fmla="*/ 1021316 h 4687251"/>
              <a:gd name="connsiteX48732" fmla="*/ 3422832 w 8079933"/>
              <a:gd name="connsiteY48732" fmla="*/ 1021316 h 4687251"/>
              <a:gd name="connsiteX48733" fmla="*/ 3421096 w 8079933"/>
              <a:gd name="connsiteY48733" fmla="*/ 1022398 h 4687251"/>
              <a:gd name="connsiteX48734" fmla="*/ 3419577 w 8079933"/>
              <a:gd name="connsiteY48734" fmla="*/ 1025213 h 4687251"/>
              <a:gd name="connsiteX48735" fmla="*/ 3416864 w 8079933"/>
              <a:gd name="connsiteY48735" fmla="*/ 1025213 h 4687251"/>
              <a:gd name="connsiteX48736" fmla="*/ 3414367 w 8079933"/>
              <a:gd name="connsiteY48736" fmla="*/ 1024130 h 4687251"/>
              <a:gd name="connsiteX48737" fmla="*/ 3413174 w 8079933"/>
              <a:gd name="connsiteY48737" fmla="*/ 1022398 h 4687251"/>
              <a:gd name="connsiteX48738" fmla="*/ 3411764 w 8079933"/>
              <a:gd name="connsiteY48738" fmla="*/ 1022398 h 4687251"/>
              <a:gd name="connsiteX48739" fmla="*/ 3409376 w 8079933"/>
              <a:gd name="connsiteY48739" fmla="*/ 1026945 h 4687251"/>
              <a:gd name="connsiteX48740" fmla="*/ 3407748 w 8079933"/>
              <a:gd name="connsiteY48740" fmla="*/ 1025863 h 4687251"/>
              <a:gd name="connsiteX48741" fmla="*/ 3405578 w 8079933"/>
              <a:gd name="connsiteY48741" fmla="*/ 1022723 h 4687251"/>
              <a:gd name="connsiteX48742" fmla="*/ 3404167 w 8079933"/>
              <a:gd name="connsiteY48742" fmla="*/ 1022723 h 4687251"/>
              <a:gd name="connsiteX48743" fmla="*/ 3403191 w 8079933"/>
              <a:gd name="connsiteY48743" fmla="*/ 1026079 h 4687251"/>
              <a:gd name="connsiteX48744" fmla="*/ 3401128 w 8079933"/>
              <a:gd name="connsiteY48744" fmla="*/ 1028136 h 4687251"/>
              <a:gd name="connsiteX48745" fmla="*/ 3398850 w 8079933"/>
              <a:gd name="connsiteY48745" fmla="*/ 1026837 h 4687251"/>
              <a:gd name="connsiteX48746" fmla="*/ 3398850 w 8079933"/>
              <a:gd name="connsiteY48746" fmla="*/ 1024996 h 4687251"/>
              <a:gd name="connsiteX48747" fmla="*/ 3397439 w 8079933"/>
              <a:gd name="connsiteY48747" fmla="*/ 1024996 h 4687251"/>
              <a:gd name="connsiteX48748" fmla="*/ 3397439 w 8079933"/>
              <a:gd name="connsiteY48748" fmla="*/ 1028894 h 4687251"/>
              <a:gd name="connsiteX48749" fmla="*/ 3395920 w 8079933"/>
              <a:gd name="connsiteY48749" fmla="*/ 1029761 h 4687251"/>
              <a:gd name="connsiteX48750" fmla="*/ 3392339 w 8079933"/>
              <a:gd name="connsiteY48750" fmla="*/ 1029761 h 4687251"/>
              <a:gd name="connsiteX48751" fmla="*/ 3389734 w 8079933"/>
              <a:gd name="connsiteY48751" fmla="*/ 1030518 h 4687251"/>
              <a:gd name="connsiteX48752" fmla="*/ 3389734 w 8079933"/>
              <a:gd name="connsiteY48752" fmla="*/ 1032684 h 4687251"/>
              <a:gd name="connsiteX48753" fmla="*/ 3389083 w 8079933"/>
              <a:gd name="connsiteY48753" fmla="*/ 1034849 h 4687251"/>
              <a:gd name="connsiteX48754" fmla="*/ 3386153 w 8079933"/>
              <a:gd name="connsiteY48754" fmla="*/ 1034849 h 4687251"/>
              <a:gd name="connsiteX48755" fmla="*/ 3384960 w 8079933"/>
              <a:gd name="connsiteY48755" fmla="*/ 1033767 h 4687251"/>
              <a:gd name="connsiteX48756" fmla="*/ 3383006 w 8079933"/>
              <a:gd name="connsiteY48756" fmla="*/ 1033767 h 4687251"/>
              <a:gd name="connsiteX48757" fmla="*/ 3383006 w 8079933"/>
              <a:gd name="connsiteY48757" fmla="*/ 1036148 h 4687251"/>
              <a:gd name="connsiteX48758" fmla="*/ 3381270 w 8079933"/>
              <a:gd name="connsiteY48758" fmla="*/ 1036148 h 4687251"/>
              <a:gd name="connsiteX48759" fmla="*/ 3380076 w 8079933"/>
              <a:gd name="connsiteY48759" fmla="*/ 1034632 h 4687251"/>
              <a:gd name="connsiteX48760" fmla="*/ 3378774 w 8079933"/>
              <a:gd name="connsiteY48760" fmla="*/ 1034632 h 4687251"/>
              <a:gd name="connsiteX48761" fmla="*/ 3378774 w 8079933"/>
              <a:gd name="connsiteY48761" fmla="*/ 1038639 h 4687251"/>
              <a:gd name="connsiteX48762" fmla="*/ 3376279 w 8079933"/>
              <a:gd name="connsiteY48762" fmla="*/ 1039504 h 4687251"/>
              <a:gd name="connsiteX48763" fmla="*/ 3374542 w 8079933"/>
              <a:gd name="connsiteY48763" fmla="*/ 1041453 h 4687251"/>
              <a:gd name="connsiteX48764" fmla="*/ 3372263 w 8079933"/>
              <a:gd name="connsiteY48764" fmla="*/ 1041453 h 4687251"/>
              <a:gd name="connsiteX48765" fmla="*/ 3371069 w 8079933"/>
              <a:gd name="connsiteY48765" fmla="*/ 1039071 h 4687251"/>
              <a:gd name="connsiteX48766" fmla="*/ 3366403 w 8079933"/>
              <a:gd name="connsiteY48766" fmla="*/ 1033658 h 4687251"/>
              <a:gd name="connsiteX48767" fmla="*/ 3364558 w 8079933"/>
              <a:gd name="connsiteY48767" fmla="*/ 1032792 h 4687251"/>
              <a:gd name="connsiteX48768" fmla="*/ 3362063 w 8079933"/>
              <a:gd name="connsiteY48768" fmla="*/ 1033983 h 4687251"/>
              <a:gd name="connsiteX48769" fmla="*/ 3362063 w 8079933"/>
              <a:gd name="connsiteY48769" fmla="*/ 1035715 h 4687251"/>
              <a:gd name="connsiteX48770" fmla="*/ 3360001 w 8079933"/>
              <a:gd name="connsiteY48770" fmla="*/ 1035715 h 4687251"/>
              <a:gd name="connsiteX48771" fmla="*/ 3359133 w 8079933"/>
              <a:gd name="connsiteY48771" fmla="*/ 1038747 h 4687251"/>
              <a:gd name="connsiteX48772" fmla="*/ 3356094 w 8079933"/>
              <a:gd name="connsiteY48772" fmla="*/ 1040912 h 4687251"/>
              <a:gd name="connsiteX48773" fmla="*/ 3353490 w 8079933"/>
              <a:gd name="connsiteY48773" fmla="*/ 1040912 h 4687251"/>
              <a:gd name="connsiteX48774" fmla="*/ 3352079 w 8079933"/>
              <a:gd name="connsiteY48774" fmla="*/ 1039830 h 4687251"/>
              <a:gd name="connsiteX48775" fmla="*/ 3350451 w 8079933"/>
              <a:gd name="connsiteY48775" fmla="*/ 1042320 h 4687251"/>
              <a:gd name="connsiteX48776" fmla="*/ 3346653 w 8079933"/>
              <a:gd name="connsiteY48776" fmla="*/ 1042320 h 4687251"/>
              <a:gd name="connsiteX48777" fmla="*/ 3343072 w 8079933"/>
              <a:gd name="connsiteY48777" fmla="*/ 1042320 h 4687251"/>
              <a:gd name="connsiteX48778" fmla="*/ 3340902 w 8079933"/>
              <a:gd name="connsiteY48778" fmla="*/ 1039288 h 4687251"/>
              <a:gd name="connsiteX48779" fmla="*/ 3338840 w 8079933"/>
              <a:gd name="connsiteY48779" fmla="*/ 1039288 h 4687251"/>
              <a:gd name="connsiteX48780" fmla="*/ 3337429 w 8079933"/>
              <a:gd name="connsiteY48780" fmla="*/ 1041778 h 4687251"/>
              <a:gd name="connsiteX48781" fmla="*/ 3337429 w 8079933"/>
              <a:gd name="connsiteY48781" fmla="*/ 1043619 h 4687251"/>
              <a:gd name="connsiteX48782" fmla="*/ 3334934 w 8079933"/>
              <a:gd name="connsiteY48782" fmla="*/ 1043619 h 4687251"/>
              <a:gd name="connsiteX48783" fmla="*/ 3331569 w 8079933"/>
              <a:gd name="connsiteY48783" fmla="*/ 1041453 h 4687251"/>
              <a:gd name="connsiteX48784" fmla="*/ 3330051 w 8079933"/>
              <a:gd name="connsiteY48784" fmla="*/ 1037772 h 4687251"/>
              <a:gd name="connsiteX48785" fmla="*/ 3331136 w 8079933"/>
              <a:gd name="connsiteY48785" fmla="*/ 1034416 h 4687251"/>
              <a:gd name="connsiteX48786" fmla="*/ 3329182 w 8079933"/>
              <a:gd name="connsiteY48786" fmla="*/ 1032684 h 4687251"/>
              <a:gd name="connsiteX48787" fmla="*/ 3326686 w 8079933"/>
              <a:gd name="connsiteY48787" fmla="*/ 1031926 h 4687251"/>
              <a:gd name="connsiteX48788" fmla="*/ 3324408 w 8079933"/>
              <a:gd name="connsiteY48788" fmla="*/ 1027379 h 4687251"/>
              <a:gd name="connsiteX48789" fmla="*/ 3324408 w 8079933"/>
              <a:gd name="connsiteY48789" fmla="*/ 1024022 h 4687251"/>
              <a:gd name="connsiteX48790" fmla="*/ 3322454 w 8079933"/>
              <a:gd name="connsiteY48790" fmla="*/ 1020882 h 4687251"/>
              <a:gd name="connsiteX48791" fmla="*/ 3321043 w 8079933"/>
              <a:gd name="connsiteY48791" fmla="*/ 1016443 h 4687251"/>
              <a:gd name="connsiteX48792" fmla="*/ 3319415 w 8079933"/>
              <a:gd name="connsiteY48792" fmla="*/ 1014927 h 4687251"/>
              <a:gd name="connsiteX48793" fmla="*/ 3317354 w 8079933"/>
              <a:gd name="connsiteY48793" fmla="*/ 1014927 h 4687251"/>
              <a:gd name="connsiteX48794" fmla="*/ 3317354 w 8079933"/>
              <a:gd name="connsiteY48794" fmla="*/ 1018500 h 4687251"/>
              <a:gd name="connsiteX48795" fmla="*/ 3318439 w 8079933"/>
              <a:gd name="connsiteY48795" fmla="*/ 1020449 h 4687251"/>
              <a:gd name="connsiteX48796" fmla="*/ 3319958 w 8079933"/>
              <a:gd name="connsiteY48796" fmla="*/ 1024347 h 4687251"/>
              <a:gd name="connsiteX48797" fmla="*/ 3322128 w 8079933"/>
              <a:gd name="connsiteY48797" fmla="*/ 1026296 h 4687251"/>
              <a:gd name="connsiteX48798" fmla="*/ 3323322 w 8079933"/>
              <a:gd name="connsiteY48798" fmla="*/ 1029327 h 4687251"/>
              <a:gd name="connsiteX48799" fmla="*/ 3323322 w 8079933"/>
              <a:gd name="connsiteY48799" fmla="*/ 1033767 h 4687251"/>
              <a:gd name="connsiteX48800" fmla="*/ 3322020 w 8079933"/>
              <a:gd name="connsiteY48800" fmla="*/ 1036906 h 4687251"/>
              <a:gd name="connsiteX48801" fmla="*/ 3323105 w 8079933"/>
              <a:gd name="connsiteY48801" fmla="*/ 1037772 h 4687251"/>
              <a:gd name="connsiteX48802" fmla="*/ 3325601 w 8079933"/>
              <a:gd name="connsiteY48802" fmla="*/ 1037772 h 4687251"/>
              <a:gd name="connsiteX48803" fmla="*/ 3326578 w 8079933"/>
              <a:gd name="connsiteY48803" fmla="*/ 1042753 h 4687251"/>
              <a:gd name="connsiteX48804" fmla="*/ 3325601 w 8079933"/>
              <a:gd name="connsiteY48804" fmla="*/ 1048491 h 4687251"/>
              <a:gd name="connsiteX48805" fmla="*/ 3323213 w 8079933"/>
              <a:gd name="connsiteY48805" fmla="*/ 1051523 h 4687251"/>
              <a:gd name="connsiteX48806" fmla="*/ 3320392 w 8079933"/>
              <a:gd name="connsiteY48806" fmla="*/ 1052714 h 4687251"/>
              <a:gd name="connsiteX48807" fmla="*/ 3319090 w 8079933"/>
              <a:gd name="connsiteY48807" fmla="*/ 1051198 h 4687251"/>
              <a:gd name="connsiteX48808" fmla="*/ 3317245 w 8079933"/>
              <a:gd name="connsiteY48808" fmla="*/ 1051198 h 4687251"/>
              <a:gd name="connsiteX48809" fmla="*/ 3313773 w 8079933"/>
              <a:gd name="connsiteY48809" fmla="*/ 1052930 h 4687251"/>
              <a:gd name="connsiteX48810" fmla="*/ 3310409 w 8079933"/>
              <a:gd name="connsiteY48810" fmla="*/ 1057369 h 4687251"/>
              <a:gd name="connsiteX48811" fmla="*/ 3308564 w 8079933"/>
              <a:gd name="connsiteY48811" fmla="*/ 1058236 h 4687251"/>
              <a:gd name="connsiteX48812" fmla="*/ 3305417 w 8079933"/>
              <a:gd name="connsiteY48812" fmla="*/ 1058236 h 4687251"/>
              <a:gd name="connsiteX48813" fmla="*/ 3304332 w 8079933"/>
              <a:gd name="connsiteY48813" fmla="*/ 1059859 h 4687251"/>
              <a:gd name="connsiteX48814" fmla="*/ 3304332 w 8079933"/>
              <a:gd name="connsiteY48814" fmla="*/ 1060942 h 4687251"/>
              <a:gd name="connsiteX48815" fmla="*/ 3304332 w 8079933"/>
              <a:gd name="connsiteY48815" fmla="*/ 1063649 h 4687251"/>
              <a:gd name="connsiteX48816" fmla="*/ 3301402 w 8079933"/>
              <a:gd name="connsiteY48816" fmla="*/ 1065489 h 4687251"/>
              <a:gd name="connsiteX48817" fmla="*/ 3298363 w 8079933"/>
              <a:gd name="connsiteY48817" fmla="*/ 1065489 h 4687251"/>
              <a:gd name="connsiteX48818" fmla="*/ 3297712 w 8079933"/>
              <a:gd name="connsiteY48818" fmla="*/ 1068305 h 4687251"/>
              <a:gd name="connsiteX48819" fmla="*/ 3297712 w 8079933"/>
              <a:gd name="connsiteY48819" fmla="*/ 1069821 h 4687251"/>
              <a:gd name="connsiteX48820" fmla="*/ 3297712 w 8079933"/>
              <a:gd name="connsiteY48820" fmla="*/ 1072311 h 4687251"/>
              <a:gd name="connsiteX48821" fmla="*/ 3295325 w 8079933"/>
              <a:gd name="connsiteY48821" fmla="*/ 1069821 h 4687251"/>
              <a:gd name="connsiteX48822" fmla="*/ 3293154 w 8079933"/>
              <a:gd name="connsiteY48822" fmla="*/ 1069171 h 4687251"/>
              <a:gd name="connsiteX48823" fmla="*/ 3294999 w 8079933"/>
              <a:gd name="connsiteY48823" fmla="*/ 1071336 h 4687251"/>
              <a:gd name="connsiteX48824" fmla="*/ 3295650 w 8079933"/>
              <a:gd name="connsiteY48824" fmla="*/ 1073177 h 4687251"/>
              <a:gd name="connsiteX48825" fmla="*/ 3294782 w 8079933"/>
              <a:gd name="connsiteY48825" fmla="*/ 1076100 h 4687251"/>
              <a:gd name="connsiteX48826" fmla="*/ 3293046 w 8079933"/>
              <a:gd name="connsiteY48826" fmla="*/ 1076100 h 4687251"/>
              <a:gd name="connsiteX48827" fmla="*/ 3291093 w 8079933"/>
              <a:gd name="connsiteY48827" fmla="*/ 1075017 h 4687251"/>
              <a:gd name="connsiteX48828" fmla="*/ 3288814 w 8079933"/>
              <a:gd name="connsiteY48828" fmla="*/ 1074152 h 4687251"/>
              <a:gd name="connsiteX48829" fmla="*/ 3288814 w 8079933"/>
              <a:gd name="connsiteY48829" fmla="*/ 1075234 h 4687251"/>
              <a:gd name="connsiteX48830" fmla="*/ 3289574 w 8079933"/>
              <a:gd name="connsiteY48830" fmla="*/ 1077075 h 4687251"/>
              <a:gd name="connsiteX48831" fmla="*/ 3290333 w 8079933"/>
              <a:gd name="connsiteY48831" fmla="*/ 1079348 h 4687251"/>
              <a:gd name="connsiteX48832" fmla="*/ 3288271 w 8079933"/>
              <a:gd name="connsiteY48832" fmla="*/ 1082055 h 4687251"/>
              <a:gd name="connsiteX48833" fmla="*/ 3284473 w 8079933"/>
              <a:gd name="connsiteY48833" fmla="*/ 1083246 h 4687251"/>
              <a:gd name="connsiteX48834" fmla="*/ 3279156 w 8079933"/>
              <a:gd name="connsiteY48834" fmla="*/ 1088984 h 4687251"/>
              <a:gd name="connsiteX48835" fmla="*/ 3279156 w 8079933"/>
              <a:gd name="connsiteY48835" fmla="*/ 1092016 h 4687251"/>
              <a:gd name="connsiteX48836" fmla="*/ 3279807 w 8079933"/>
              <a:gd name="connsiteY48836" fmla="*/ 1095156 h 4687251"/>
              <a:gd name="connsiteX48837" fmla="*/ 3278614 w 8079933"/>
              <a:gd name="connsiteY48837" fmla="*/ 1098513 h 4687251"/>
              <a:gd name="connsiteX48838" fmla="*/ 3275358 w 8079933"/>
              <a:gd name="connsiteY48838" fmla="*/ 1102518 h 4687251"/>
              <a:gd name="connsiteX48839" fmla="*/ 3272971 w 8079933"/>
              <a:gd name="connsiteY48839" fmla="*/ 1104034 h 4687251"/>
              <a:gd name="connsiteX48840" fmla="*/ 3271777 w 8079933"/>
              <a:gd name="connsiteY48840" fmla="*/ 1103060 h 4687251"/>
              <a:gd name="connsiteX48841" fmla="*/ 3270691 w 8079933"/>
              <a:gd name="connsiteY48841" fmla="*/ 1101219 h 4687251"/>
              <a:gd name="connsiteX48842" fmla="*/ 3271559 w 8079933"/>
              <a:gd name="connsiteY48842" fmla="*/ 1099270 h 4687251"/>
              <a:gd name="connsiteX48843" fmla="*/ 3269498 w 8079933"/>
              <a:gd name="connsiteY48843" fmla="*/ 1100352 h 4687251"/>
              <a:gd name="connsiteX48844" fmla="*/ 3267979 w 8079933"/>
              <a:gd name="connsiteY48844" fmla="*/ 1102193 h 4687251"/>
              <a:gd name="connsiteX48845" fmla="*/ 3267436 w 8079933"/>
              <a:gd name="connsiteY48845" fmla="*/ 1105442 h 4687251"/>
              <a:gd name="connsiteX48846" fmla="*/ 3267436 w 8079933"/>
              <a:gd name="connsiteY48846" fmla="*/ 1106740 h 4687251"/>
              <a:gd name="connsiteX48847" fmla="*/ 3266676 w 8079933"/>
              <a:gd name="connsiteY48847" fmla="*/ 1108256 h 4687251"/>
              <a:gd name="connsiteX48848" fmla="*/ 3260708 w 8079933"/>
              <a:gd name="connsiteY48848" fmla="*/ 1113778 h 4687251"/>
              <a:gd name="connsiteX48849" fmla="*/ 3258320 w 8079933"/>
              <a:gd name="connsiteY48849" fmla="*/ 1114970 h 4687251"/>
              <a:gd name="connsiteX48850" fmla="*/ 3257019 w 8079933"/>
              <a:gd name="connsiteY48850" fmla="*/ 1114103 h 4687251"/>
              <a:gd name="connsiteX48851" fmla="*/ 3257019 w 8079933"/>
              <a:gd name="connsiteY48851" fmla="*/ 1111396 h 4687251"/>
              <a:gd name="connsiteX48852" fmla="*/ 3255607 w 8079933"/>
              <a:gd name="connsiteY48852" fmla="*/ 1109664 h 4687251"/>
              <a:gd name="connsiteX48853" fmla="*/ 3253546 w 8079933"/>
              <a:gd name="connsiteY48853" fmla="*/ 1109664 h 4687251"/>
              <a:gd name="connsiteX48854" fmla="*/ 3253546 w 8079933"/>
              <a:gd name="connsiteY48854" fmla="*/ 1112479 h 4687251"/>
              <a:gd name="connsiteX48855" fmla="*/ 3251701 w 8079933"/>
              <a:gd name="connsiteY48855" fmla="*/ 1112479 h 4687251"/>
              <a:gd name="connsiteX48856" fmla="*/ 3247252 w 8079933"/>
              <a:gd name="connsiteY48856" fmla="*/ 1110205 h 4687251"/>
              <a:gd name="connsiteX48857" fmla="*/ 3245841 w 8079933"/>
              <a:gd name="connsiteY48857" fmla="*/ 1108040 h 4687251"/>
              <a:gd name="connsiteX48858" fmla="*/ 3243997 w 8079933"/>
              <a:gd name="connsiteY48858" fmla="*/ 1108040 h 4687251"/>
              <a:gd name="connsiteX48859" fmla="*/ 3243020 w 8079933"/>
              <a:gd name="connsiteY48859" fmla="*/ 1108797 h 4687251"/>
              <a:gd name="connsiteX48860" fmla="*/ 3244648 w 8079933"/>
              <a:gd name="connsiteY48860" fmla="*/ 1111288 h 4687251"/>
              <a:gd name="connsiteX48861" fmla="*/ 3246601 w 8079933"/>
              <a:gd name="connsiteY48861" fmla="*/ 1112262 h 4687251"/>
              <a:gd name="connsiteX48862" fmla="*/ 3248663 w 8079933"/>
              <a:gd name="connsiteY48862" fmla="*/ 1115835 h 4687251"/>
              <a:gd name="connsiteX48863" fmla="*/ 3248663 w 8079933"/>
              <a:gd name="connsiteY48863" fmla="*/ 1118867 h 4687251"/>
              <a:gd name="connsiteX48864" fmla="*/ 3246384 w 8079933"/>
              <a:gd name="connsiteY48864" fmla="*/ 1120383 h 4687251"/>
              <a:gd name="connsiteX48865" fmla="*/ 3244539 w 8079933"/>
              <a:gd name="connsiteY48865" fmla="*/ 1120383 h 4687251"/>
              <a:gd name="connsiteX48866" fmla="*/ 3238462 w 8079933"/>
              <a:gd name="connsiteY48866" fmla="*/ 1124280 h 4687251"/>
              <a:gd name="connsiteX48867" fmla="*/ 3234881 w 8079933"/>
              <a:gd name="connsiteY48867" fmla="*/ 1128178 h 4687251"/>
              <a:gd name="connsiteX48868" fmla="*/ 3231626 w 8079933"/>
              <a:gd name="connsiteY48868" fmla="*/ 1128178 h 4687251"/>
              <a:gd name="connsiteX48869" fmla="*/ 3229238 w 8079933"/>
              <a:gd name="connsiteY48869" fmla="*/ 1126554 h 4687251"/>
              <a:gd name="connsiteX48870" fmla="*/ 3229238 w 8079933"/>
              <a:gd name="connsiteY48870" fmla="*/ 1124280 h 4687251"/>
              <a:gd name="connsiteX48871" fmla="*/ 3230106 w 8079933"/>
              <a:gd name="connsiteY48871" fmla="*/ 1122115 h 4687251"/>
              <a:gd name="connsiteX48872" fmla="*/ 3228804 w 8079933"/>
              <a:gd name="connsiteY48872" fmla="*/ 1121141 h 4687251"/>
              <a:gd name="connsiteX48873" fmla="*/ 3227285 w 8079933"/>
              <a:gd name="connsiteY48873" fmla="*/ 1121141 h 4687251"/>
              <a:gd name="connsiteX48874" fmla="*/ 3225875 w 8079933"/>
              <a:gd name="connsiteY48874" fmla="*/ 1123847 h 4687251"/>
              <a:gd name="connsiteX48875" fmla="*/ 3225875 w 8079933"/>
              <a:gd name="connsiteY48875" fmla="*/ 1126013 h 4687251"/>
              <a:gd name="connsiteX48876" fmla="*/ 3225223 w 8079933"/>
              <a:gd name="connsiteY48876" fmla="*/ 1128286 h 4687251"/>
              <a:gd name="connsiteX48877" fmla="*/ 3222510 w 8079933"/>
              <a:gd name="connsiteY48877" fmla="*/ 1128286 h 4687251"/>
              <a:gd name="connsiteX48878" fmla="*/ 3218929 w 8079933"/>
              <a:gd name="connsiteY48878" fmla="*/ 1130019 h 4687251"/>
              <a:gd name="connsiteX48879" fmla="*/ 3215674 w 8079933"/>
              <a:gd name="connsiteY48879" fmla="*/ 1128828 h 4687251"/>
              <a:gd name="connsiteX48880" fmla="*/ 3213503 w 8079933"/>
              <a:gd name="connsiteY48880" fmla="*/ 1124713 h 4687251"/>
              <a:gd name="connsiteX48881" fmla="*/ 3213503 w 8079933"/>
              <a:gd name="connsiteY48881" fmla="*/ 1122007 h 4687251"/>
              <a:gd name="connsiteX48882" fmla="*/ 3214806 w 8079933"/>
              <a:gd name="connsiteY48882" fmla="*/ 1118867 h 4687251"/>
              <a:gd name="connsiteX48883" fmla="*/ 3213721 w 8079933"/>
              <a:gd name="connsiteY48883" fmla="*/ 1116593 h 4687251"/>
              <a:gd name="connsiteX48884" fmla="*/ 3212527 w 8079933"/>
              <a:gd name="connsiteY48884" fmla="*/ 1116593 h 4687251"/>
              <a:gd name="connsiteX48885" fmla="*/ 3211659 w 8079933"/>
              <a:gd name="connsiteY48885" fmla="*/ 1121357 h 4687251"/>
              <a:gd name="connsiteX48886" fmla="*/ 3210573 w 8079933"/>
              <a:gd name="connsiteY48886" fmla="*/ 1125038 h 4687251"/>
              <a:gd name="connsiteX48887" fmla="*/ 3210573 w 8079933"/>
              <a:gd name="connsiteY48887" fmla="*/ 1127529 h 4687251"/>
              <a:gd name="connsiteX48888" fmla="*/ 3209488 w 8079933"/>
              <a:gd name="connsiteY48888" fmla="*/ 1130235 h 4687251"/>
              <a:gd name="connsiteX48889" fmla="*/ 3207643 w 8079933"/>
              <a:gd name="connsiteY48889" fmla="*/ 1129261 h 4687251"/>
              <a:gd name="connsiteX48890" fmla="*/ 3202326 w 8079933"/>
              <a:gd name="connsiteY48890" fmla="*/ 1122873 h 4687251"/>
              <a:gd name="connsiteX48891" fmla="*/ 3202326 w 8079933"/>
              <a:gd name="connsiteY48891" fmla="*/ 1119409 h 4687251"/>
              <a:gd name="connsiteX48892" fmla="*/ 3204171 w 8079933"/>
              <a:gd name="connsiteY48892" fmla="*/ 1114861 h 4687251"/>
              <a:gd name="connsiteX48893" fmla="*/ 3207318 w 8079933"/>
              <a:gd name="connsiteY48893" fmla="*/ 1112154 h 4687251"/>
              <a:gd name="connsiteX48894" fmla="*/ 3210031 w 8079933"/>
              <a:gd name="connsiteY48894" fmla="*/ 1110097 h 4687251"/>
              <a:gd name="connsiteX48895" fmla="*/ 3208186 w 8079933"/>
              <a:gd name="connsiteY48895" fmla="*/ 1108581 h 4687251"/>
              <a:gd name="connsiteX48896" fmla="*/ 3204388 w 8079933"/>
              <a:gd name="connsiteY48896" fmla="*/ 1107715 h 4687251"/>
              <a:gd name="connsiteX48897" fmla="*/ 3201783 w 8079933"/>
              <a:gd name="connsiteY48897" fmla="*/ 1104576 h 4687251"/>
              <a:gd name="connsiteX48898" fmla="*/ 3201783 w 8079933"/>
              <a:gd name="connsiteY48898" fmla="*/ 1103384 h 4687251"/>
              <a:gd name="connsiteX48899" fmla="*/ 3200698 w 8079933"/>
              <a:gd name="connsiteY48899" fmla="*/ 1102843 h 4687251"/>
              <a:gd name="connsiteX48900" fmla="*/ 3198528 w 8079933"/>
              <a:gd name="connsiteY48900" fmla="*/ 1103709 h 4687251"/>
              <a:gd name="connsiteX48901" fmla="*/ 3196901 w 8079933"/>
              <a:gd name="connsiteY48901" fmla="*/ 1106307 h 4687251"/>
              <a:gd name="connsiteX48902" fmla="*/ 3196901 w 8079933"/>
              <a:gd name="connsiteY48902" fmla="*/ 1108256 h 4687251"/>
              <a:gd name="connsiteX48903" fmla="*/ 3199830 w 8079933"/>
              <a:gd name="connsiteY48903" fmla="*/ 1111396 h 4687251"/>
              <a:gd name="connsiteX48904" fmla="*/ 3199070 w 8079933"/>
              <a:gd name="connsiteY48904" fmla="*/ 1113887 h 4687251"/>
              <a:gd name="connsiteX48905" fmla="*/ 3197226 w 8079933"/>
              <a:gd name="connsiteY48905" fmla="*/ 1116810 h 4687251"/>
              <a:gd name="connsiteX48906" fmla="*/ 3196466 w 8079933"/>
              <a:gd name="connsiteY48906" fmla="*/ 1120058 h 4687251"/>
              <a:gd name="connsiteX48907" fmla="*/ 3193103 w 8079933"/>
              <a:gd name="connsiteY48907" fmla="*/ 1123523 h 4687251"/>
              <a:gd name="connsiteX48908" fmla="*/ 3190932 w 8079933"/>
              <a:gd name="connsiteY48908" fmla="*/ 1123523 h 4687251"/>
              <a:gd name="connsiteX48909" fmla="*/ 3190281 w 8079933"/>
              <a:gd name="connsiteY48909" fmla="*/ 1119625 h 4687251"/>
              <a:gd name="connsiteX48910" fmla="*/ 3188762 w 8079933"/>
              <a:gd name="connsiteY48910" fmla="*/ 1118650 h 4687251"/>
              <a:gd name="connsiteX48911" fmla="*/ 3186591 w 8079933"/>
              <a:gd name="connsiteY48911" fmla="*/ 1121032 h 4687251"/>
              <a:gd name="connsiteX48912" fmla="*/ 3187242 w 8079933"/>
              <a:gd name="connsiteY48912" fmla="*/ 1123847 h 4687251"/>
              <a:gd name="connsiteX48913" fmla="*/ 3189630 w 8079933"/>
              <a:gd name="connsiteY48913" fmla="*/ 1128828 h 4687251"/>
              <a:gd name="connsiteX48914" fmla="*/ 3191909 w 8079933"/>
              <a:gd name="connsiteY48914" fmla="*/ 1131751 h 4687251"/>
              <a:gd name="connsiteX48915" fmla="*/ 3191909 w 8079933"/>
              <a:gd name="connsiteY48915" fmla="*/ 1133592 h 4687251"/>
              <a:gd name="connsiteX48916" fmla="*/ 3190498 w 8079933"/>
              <a:gd name="connsiteY48916" fmla="*/ 1134241 h 4687251"/>
              <a:gd name="connsiteX48917" fmla="*/ 3189521 w 8079933"/>
              <a:gd name="connsiteY48917" fmla="*/ 1137056 h 4687251"/>
              <a:gd name="connsiteX48918" fmla="*/ 3186374 w 8079933"/>
              <a:gd name="connsiteY48918" fmla="*/ 1139114 h 4687251"/>
              <a:gd name="connsiteX48919" fmla="*/ 3183118 w 8079933"/>
              <a:gd name="connsiteY48919" fmla="*/ 1139114 h 4687251"/>
              <a:gd name="connsiteX48920" fmla="*/ 3181382 w 8079933"/>
              <a:gd name="connsiteY48920" fmla="*/ 1137273 h 4687251"/>
              <a:gd name="connsiteX48921" fmla="*/ 3179537 w 8079933"/>
              <a:gd name="connsiteY48921" fmla="*/ 1138031 h 4687251"/>
              <a:gd name="connsiteX48922" fmla="*/ 3177584 w 8079933"/>
              <a:gd name="connsiteY48922" fmla="*/ 1140521 h 4687251"/>
              <a:gd name="connsiteX48923" fmla="*/ 3173894 w 8079933"/>
              <a:gd name="connsiteY48923" fmla="*/ 1142145 h 4687251"/>
              <a:gd name="connsiteX48924" fmla="*/ 3172376 w 8079933"/>
              <a:gd name="connsiteY48924" fmla="*/ 1140629 h 4687251"/>
              <a:gd name="connsiteX48925" fmla="*/ 3170856 w 8079933"/>
              <a:gd name="connsiteY48925" fmla="*/ 1136623 h 4687251"/>
              <a:gd name="connsiteX48926" fmla="*/ 3169554 w 8079933"/>
              <a:gd name="connsiteY48926" fmla="*/ 1134133 h 4687251"/>
              <a:gd name="connsiteX48927" fmla="*/ 3168143 w 8079933"/>
              <a:gd name="connsiteY48927" fmla="*/ 1134133 h 4687251"/>
              <a:gd name="connsiteX48928" fmla="*/ 3168143 w 8079933"/>
              <a:gd name="connsiteY48928" fmla="*/ 1136190 h 4687251"/>
              <a:gd name="connsiteX48929" fmla="*/ 3168143 w 8079933"/>
              <a:gd name="connsiteY48929" fmla="*/ 1138356 h 4687251"/>
              <a:gd name="connsiteX48930" fmla="*/ 3165865 w 8079933"/>
              <a:gd name="connsiteY48930" fmla="*/ 1140954 h 4687251"/>
              <a:gd name="connsiteX48931" fmla="*/ 3162935 w 8079933"/>
              <a:gd name="connsiteY48931" fmla="*/ 1140954 h 4687251"/>
              <a:gd name="connsiteX48932" fmla="*/ 3161307 w 8079933"/>
              <a:gd name="connsiteY48932" fmla="*/ 1137382 h 4687251"/>
              <a:gd name="connsiteX48933" fmla="*/ 3159787 w 8079933"/>
              <a:gd name="connsiteY48933" fmla="*/ 1134891 h 4687251"/>
              <a:gd name="connsiteX48934" fmla="*/ 3158268 w 8079933"/>
              <a:gd name="connsiteY48934" fmla="*/ 1135541 h 4687251"/>
              <a:gd name="connsiteX48935" fmla="*/ 3157074 w 8079933"/>
              <a:gd name="connsiteY48935" fmla="*/ 1137490 h 4687251"/>
              <a:gd name="connsiteX48936" fmla="*/ 3154796 w 8079933"/>
              <a:gd name="connsiteY48936" fmla="*/ 1137490 h 4687251"/>
              <a:gd name="connsiteX48937" fmla="*/ 3152951 w 8079933"/>
              <a:gd name="connsiteY48937" fmla="*/ 1139005 h 4687251"/>
              <a:gd name="connsiteX48938" fmla="*/ 3152951 w 8079933"/>
              <a:gd name="connsiteY48938" fmla="*/ 1140737 h 4687251"/>
              <a:gd name="connsiteX48939" fmla="*/ 3154036 w 8079933"/>
              <a:gd name="connsiteY48939" fmla="*/ 1144094 h 4687251"/>
              <a:gd name="connsiteX48940" fmla="*/ 3154036 w 8079933"/>
              <a:gd name="connsiteY48940" fmla="*/ 1152431 h 4687251"/>
              <a:gd name="connsiteX48941" fmla="*/ 3151758 w 8079933"/>
              <a:gd name="connsiteY48941" fmla="*/ 1157736 h 4687251"/>
              <a:gd name="connsiteX48942" fmla="*/ 3147416 w 8079933"/>
              <a:gd name="connsiteY48942" fmla="*/ 1162825 h 4687251"/>
              <a:gd name="connsiteX48943" fmla="*/ 3144595 w 8079933"/>
              <a:gd name="connsiteY48943" fmla="*/ 1162825 h 4687251"/>
              <a:gd name="connsiteX48944" fmla="*/ 3142750 w 8079933"/>
              <a:gd name="connsiteY48944" fmla="*/ 1161309 h 4687251"/>
              <a:gd name="connsiteX48945" fmla="*/ 3141231 w 8079933"/>
              <a:gd name="connsiteY48945" fmla="*/ 1156329 h 4687251"/>
              <a:gd name="connsiteX48946" fmla="*/ 3138844 w 8079933"/>
              <a:gd name="connsiteY48946" fmla="*/ 1155029 h 4687251"/>
              <a:gd name="connsiteX48947" fmla="*/ 3136782 w 8079933"/>
              <a:gd name="connsiteY48947" fmla="*/ 1156112 h 4687251"/>
              <a:gd name="connsiteX48948" fmla="*/ 3136782 w 8079933"/>
              <a:gd name="connsiteY48948" fmla="*/ 1158169 h 4687251"/>
              <a:gd name="connsiteX48949" fmla="*/ 3132984 w 8079933"/>
              <a:gd name="connsiteY48949" fmla="*/ 1156653 h 4687251"/>
              <a:gd name="connsiteX48950" fmla="*/ 3131899 w 8079933"/>
              <a:gd name="connsiteY48950" fmla="*/ 1153947 h 4687251"/>
              <a:gd name="connsiteX48951" fmla="*/ 3130380 w 8079933"/>
              <a:gd name="connsiteY48951" fmla="*/ 1153188 h 4687251"/>
              <a:gd name="connsiteX48952" fmla="*/ 3129728 w 8079933"/>
              <a:gd name="connsiteY48952" fmla="*/ 1155137 h 4687251"/>
              <a:gd name="connsiteX48953" fmla="*/ 3129728 w 8079933"/>
              <a:gd name="connsiteY48953" fmla="*/ 1156978 h 4687251"/>
              <a:gd name="connsiteX48954" fmla="*/ 3130922 w 8079933"/>
              <a:gd name="connsiteY48954" fmla="*/ 1160984 h 4687251"/>
              <a:gd name="connsiteX48955" fmla="*/ 3129078 w 8079933"/>
              <a:gd name="connsiteY48955" fmla="*/ 1163258 h 4687251"/>
              <a:gd name="connsiteX48956" fmla="*/ 3129078 w 8079933"/>
              <a:gd name="connsiteY48956" fmla="*/ 1165207 h 4687251"/>
              <a:gd name="connsiteX48957" fmla="*/ 3130271 w 8079933"/>
              <a:gd name="connsiteY48957" fmla="*/ 1168455 h 4687251"/>
              <a:gd name="connsiteX48958" fmla="*/ 3132767 w 8079933"/>
              <a:gd name="connsiteY48958" fmla="*/ 1170729 h 4687251"/>
              <a:gd name="connsiteX48959" fmla="*/ 3134178 w 8079933"/>
              <a:gd name="connsiteY48959" fmla="*/ 1175600 h 4687251"/>
              <a:gd name="connsiteX48960" fmla="*/ 3135154 w 8079933"/>
              <a:gd name="connsiteY48960" fmla="*/ 1182205 h 4687251"/>
              <a:gd name="connsiteX48961" fmla="*/ 3134178 w 8079933"/>
              <a:gd name="connsiteY48961" fmla="*/ 1186103 h 4687251"/>
              <a:gd name="connsiteX48962" fmla="*/ 3131031 w 8079933"/>
              <a:gd name="connsiteY48962" fmla="*/ 1184046 h 4687251"/>
              <a:gd name="connsiteX48963" fmla="*/ 3129186 w 8079933"/>
              <a:gd name="connsiteY48963" fmla="*/ 1184046 h 4687251"/>
              <a:gd name="connsiteX48964" fmla="*/ 3127992 w 8079933"/>
              <a:gd name="connsiteY48964" fmla="*/ 1186428 h 4687251"/>
              <a:gd name="connsiteX48965" fmla="*/ 3124303 w 8079933"/>
              <a:gd name="connsiteY48965" fmla="*/ 1186428 h 4687251"/>
              <a:gd name="connsiteX48966" fmla="*/ 3119745 w 8079933"/>
              <a:gd name="connsiteY48966" fmla="*/ 1185237 h 4687251"/>
              <a:gd name="connsiteX48967" fmla="*/ 3115513 w 8079933"/>
              <a:gd name="connsiteY48967" fmla="*/ 1185237 h 4687251"/>
              <a:gd name="connsiteX48968" fmla="*/ 3113668 w 8079933"/>
              <a:gd name="connsiteY48968" fmla="*/ 1187510 h 4687251"/>
              <a:gd name="connsiteX48969" fmla="*/ 3114644 w 8079933"/>
              <a:gd name="connsiteY48969" fmla="*/ 1189026 h 4687251"/>
              <a:gd name="connsiteX48970" fmla="*/ 3119854 w 8079933"/>
              <a:gd name="connsiteY48970" fmla="*/ 1192166 h 4687251"/>
              <a:gd name="connsiteX48971" fmla="*/ 3123435 w 8079933"/>
              <a:gd name="connsiteY48971" fmla="*/ 1192166 h 4687251"/>
              <a:gd name="connsiteX48972" fmla="*/ 3125930 w 8079933"/>
              <a:gd name="connsiteY48972" fmla="*/ 1194115 h 4687251"/>
              <a:gd name="connsiteX48973" fmla="*/ 3127558 w 8079933"/>
              <a:gd name="connsiteY48973" fmla="*/ 1195739 h 4687251"/>
              <a:gd name="connsiteX48974" fmla="*/ 3129403 w 8079933"/>
              <a:gd name="connsiteY48974" fmla="*/ 1194873 h 4687251"/>
              <a:gd name="connsiteX48975" fmla="*/ 3132008 w 8079933"/>
              <a:gd name="connsiteY48975" fmla="*/ 1194873 h 4687251"/>
              <a:gd name="connsiteX48976" fmla="*/ 3132008 w 8079933"/>
              <a:gd name="connsiteY48976" fmla="*/ 1196930 h 4687251"/>
              <a:gd name="connsiteX48977" fmla="*/ 3130922 w 8079933"/>
              <a:gd name="connsiteY48977" fmla="*/ 1200287 h 4687251"/>
              <a:gd name="connsiteX48978" fmla="*/ 3128535 w 8079933"/>
              <a:gd name="connsiteY48978" fmla="*/ 1200287 h 4687251"/>
              <a:gd name="connsiteX48979" fmla="*/ 3126147 w 8079933"/>
              <a:gd name="connsiteY48979" fmla="*/ 1200287 h 4687251"/>
              <a:gd name="connsiteX48980" fmla="*/ 3126147 w 8079933"/>
              <a:gd name="connsiteY48980" fmla="*/ 1201694 h 4687251"/>
              <a:gd name="connsiteX48981" fmla="*/ 3128210 w 8079933"/>
              <a:gd name="connsiteY48981" fmla="*/ 1202777 h 4687251"/>
              <a:gd name="connsiteX48982" fmla="*/ 3129295 w 8079933"/>
              <a:gd name="connsiteY48982" fmla="*/ 1205159 h 4687251"/>
              <a:gd name="connsiteX48983" fmla="*/ 3129295 w 8079933"/>
              <a:gd name="connsiteY48983" fmla="*/ 1207432 h 4687251"/>
              <a:gd name="connsiteX48984" fmla="*/ 3128426 w 8079933"/>
              <a:gd name="connsiteY48984" fmla="*/ 1209056 h 4687251"/>
              <a:gd name="connsiteX48985" fmla="*/ 3126690 w 8079933"/>
              <a:gd name="connsiteY48985" fmla="*/ 1209814 h 4687251"/>
              <a:gd name="connsiteX48986" fmla="*/ 3123869 w 8079933"/>
              <a:gd name="connsiteY48986" fmla="*/ 1208732 h 4687251"/>
              <a:gd name="connsiteX48987" fmla="*/ 3120722 w 8079933"/>
              <a:gd name="connsiteY48987" fmla="*/ 1204401 h 4687251"/>
              <a:gd name="connsiteX48988" fmla="*/ 3118443 w 8079933"/>
              <a:gd name="connsiteY48988" fmla="*/ 1204401 h 4687251"/>
              <a:gd name="connsiteX48989" fmla="*/ 3116489 w 8079933"/>
              <a:gd name="connsiteY48989" fmla="*/ 1203426 h 4687251"/>
              <a:gd name="connsiteX48990" fmla="*/ 3113668 w 8079933"/>
              <a:gd name="connsiteY48990" fmla="*/ 1200503 h 4687251"/>
              <a:gd name="connsiteX48991" fmla="*/ 3109870 w 8079933"/>
              <a:gd name="connsiteY48991" fmla="*/ 1200503 h 4687251"/>
              <a:gd name="connsiteX48992" fmla="*/ 3108893 w 8079933"/>
              <a:gd name="connsiteY48992" fmla="*/ 1202019 h 4687251"/>
              <a:gd name="connsiteX48993" fmla="*/ 3108242 w 8079933"/>
              <a:gd name="connsiteY48993" fmla="*/ 1204401 h 4687251"/>
              <a:gd name="connsiteX48994" fmla="*/ 3112040 w 8079933"/>
              <a:gd name="connsiteY48994" fmla="*/ 1204942 h 4687251"/>
              <a:gd name="connsiteX48995" fmla="*/ 3114102 w 8079933"/>
              <a:gd name="connsiteY48995" fmla="*/ 1204942 h 4687251"/>
              <a:gd name="connsiteX48996" fmla="*/ 3118443 w 8079933"/>
              <a:gd name="connsiteY48996" fmla="*/ 1207541 h 4687251"/>
              <a:gd name="connsiteX48997" fmla="*/ 3121807 w 8079933"/>
              <a:gd name="connsiteY48997" fmla="*/ 1209598 h 4687251"/>
              <a:gd name="connsiteX48998" fmla="*/ 3124737 w 8079933"/>
              <a:gd name="connsiteY48998" fmla="*/ 1210789 h 4687251"/>
              <a:gd name="connsiteX48999" fmla="*/ 3125605 w 8079933"/>
              <a:gd name="connsiteY48999" fmla="*/ 1212088 h 4687251"/>
              <a:gd name="connsiteX49000" fmla="*/ 3124303 w 8079933"/>
              <a:gd name="connsiteY49000" fmla="*/ 1215661 h 4687251"/>
              <a:gd name="connsiteX49001" fmla="*/ 3120722 w 8079933"/>
              <a:gd name="connsiteY49001" fmla="*/ 1217177 h 4687251"/>
              <a:gd name="connsiteX49002" fmla="*/ 3117792 w 8079933"/>
              <a:gd name="connsiteY49002" fmla="*/ 1217177 h 4687251"/>
              <a:gd name="connsiteX49003" fmla="*/ 3115947 w 8079933"/>
              <a:gd name="connsiteY49003" fmla="*/ 1218585 h 4687251"/>
              <a:gd name="connsiteX49004" fmla="*/ 3113126 w 8079933"/>
              <a:gd name="connsiteY49004" fmla="*/ 1218585 h 4687251"/>
              <a:gd name="connsiteX49005" fmla="*/ 3108242 w 8079933"/>
              <a:gd name="connsiteY49005" fmla="*/ 1214361 h 4687251"/>
              <a:gd name="connsiteX49006" fmla="*/ 3106723 w 8079933"/>
              <a:gd name="connsiteY49006" fmla="*/ 1212088 h 4687251"/>
              <a:gd name="connsiteX49007" fmla="*/ 3104336 w 8079933"/>
              <a:gd name="connsiteY49007" fmla="*/ 1212088 h 4687251"/>
              <a:gd name="connsiteX49008" fmla="*/ 3102925 w 8079933"/>
              <a:gd name="connsiteY49008" fmla="*/ 1213712 h 4687251"/>
              <a:gd name="connsiteX49009" fmla="*/ 3101189 w 8079933"/>
              <a:gd name="connsiteY49009" fmla="*/ 1215661 h 4687251"/>
              <a:gd name="connsiteX49010" fmla="*/ 3101189 w 8079933"/>
              <a:gd name="connsiteY49010" fmla="*/ 1219342 h 4687251"/>
              <a:gd name="connsiteX49011" fmla="*/ 3104118 w 8079933"/>
              <a:gd name="connsiteY49011" fmla="*/ 1221940 h 4687251"/>
              <a:gd name="connsiteX49012" fmla="*/ 3107745 w 8079933"/>
              <a:gd name="connsiteY49012" fmla="*/ 1223876 h 4687251"/>
              <a:gd name="connsiteX49013" fmla="*/ 3104987 w 8079933"/>
              <a:gd name="connsiteY49013" fmla="*/ 1220967 h 4687251"/>
              <a:gd name="connsiteX49014" fmla="*/ 3105096 w 8079933"/>
              <a:gd name="connsiteY49014" fmla="*/ 1219451 h 4687251"/>
              <a:gd name="connsiteX49015" fmla="*/ 3106832 w 8079933"/>
              <a:gd name="connsiteY49015" fmla="*/ 1219451 h 4687251"/>
              <a:gd name="connsiteX49016" fmla="*/ 3108893 w 8079933"/>
              <a:gd name="connsiteY49016" fmla="*/ 1222266 h 4687251"/>
              <a:gd name="connsiteX49017" fmla="*/ 3113994 w 8079933"/>
              <a:gd name="connsiteY49017" fmla="*/ 1224215 h 4687251"/>
              <a:gd name="connsiteX49018" fmla="*/ 3115730 w 8079933"/>
              <a:gd name="connsiteY49018" fmla="*/ 1227463 h 4687251"/>
              <a:gd name="connsiteX49019" fmla="*/ 3114211 w 8079933"/>
              <a:gd name="connsiteY49019" fmla="*/ 1228547 h 4687251"/>
              <a:gd name="connsiteX49020" fmla="*/ 3113451 w 8079933"/>
              <a:gd name="connsiteY49020" fmla="*/ 1227463 h 4687251"/>
              <a:gd name="connsiteX49021" fmla="*/ 3109107 w 8079933"/>
              <a:gd name="connsiteY49021" fmla="*/ 1225145 h 4687251"/>
              <a:gd name="connsiteX49022" fmla="*/ 3109762 w 8079933"/>
              <a:gd name="connsiteY49022" fmla="*/ 1226596 h 4687251"/>
              <a:gd name="connsiteX49023" fmla="*/ 3109762 w 8079933"/>
              <a:gd name="connsiteY49023" fmla="*/ 1228762 h 4687251"/>
              <a:gd name="connsiteX49024" fmla="*/ 3108459 w 8079933"/>
              <a:gd name="connsiteY49024" fmla="*/ 1230277 h 4687251"/>
              <a:gd name="connsiteX49025" fmla="*/ 3105529 w 8079933"/>
              <a:gd name="connsiteY49025" fmla="*/ 1227354 h 4687251"/>
              <a:gd name="connsiteX49026" fmla="*/ 3102817 w 8079933"/>
              <a:gd name="connsiteY49026" fmla="*/ 1226705 h 4687251"/>
              <a:gd name="connsiteX49027" fmla="*/ 3098801 w 8079933"/>
              <a:gd name="connsiteY49027" fmla="*/ 1224214 h 4687251"/>
              <a:gd name="connsiteX49028" fmla="*/ 3096631 w 8079933"/>
              <a:gd name="connsiteY49028" fmla="*/ 1221616 h 4687251"/>
              <a:gd name="connsiteX49029" fmla="*/ 3095438 w 8079933"/>
              <a:gd name="connsiteY49029" fmla="*/ 1221616 h 4687251"/>
              <a:gd name="connsiteX49030" fmla="*/ 3096197 w 8079933"/>
              <a:gd name="connsiteY49030" fmla="*/ 1225622 h 4687251"/>
              <a:gd name="connsiteX49031" fmla="*/ 3099344 w 8079933"/>
              <a:gd name="connsiteY49031" fmla="*/ 1228112 h 4687251"/>
              <a:gd name="connsiteX49032" fmla="*/ 3104227 w 8079933"/>
              <a:gd name="connsiteY49032" fmla="*/ 1230494 h 4687251"/>
              <a:gd name="connsiteX49033" fmla="*/ 3105095 w 8079933"/>
              <a:gd name="connsiteY49033" fmla="*/ 1232334 h 4687251"/>
              <a:gd name="connsiteX49034" fmla="*/ 3105095 w 8079933"/>
              <a:gd name="connsiteY49034" fmla="*/ 1234175 h 4687251"/>
              <a:gd name="connsiteX49035" fmla="*/ 3103359 w 8079933"/>
              <a:gd name="connsiteY49035" fmla="*/ 1235366 h 4687251"/>
              <a:gd name="connsiteX49036" fmla="*/ 3098476 w 8079933"/>
              <a:gd name="connsiteY49036" fmla="*/ 1235366 h 4687251"/>
              <a:gd name="connsiteX49037" fmla="*/ 3096088 w 8079933"/>
              <a:gd name="connsiteY49037" fmla="*/ 1232659 h 4687251"/>
              <a:gd name="connsiteX49038" fmla="*/ 3096088 w 8079933"/>
              <a:gd name="connsiteY49038" fmla="*/ 1229628 h 4687251"/>
              <a:gd name="connsiteX49039" fmla="*/ 3093810 w 8079933"/>
              <a:gd name="connsiteY49039" fmla="*/ 1227571 h 4687251"/>
              <a:gd name="connsiteX49040" fmla="*/ 3092399 w 8079933"/>
              <a:gd name="connsiteY49040" fmla="*/ 1227571 h 4687251"/>
              <a:gd name="connsiteX49041" fmla="*/ 3090445 w 8079933"/>
              <a:gd name="connsiteY49041" fmla="*/ 1229736 h 4687251"/>
              <a:gd name="connsiteX49042" fmla="*/ 3090445 w 8079933"/>
              <a:gd name="connsiteY49042" fmla="*/ 1231793 h 4687251"/>
              <a:gd name="connsiteX49043" fmla="*/ 3092507 w 8079933"/>
              <a:gd name="connsiteY49043" fmla="*/ 1234391 h 4687251"/>
              <a:gd name="connsiteX49044" fmla="*/ 3092507 w 8079933"/>
              <a:gd name="connsiteY49044" fmla="*/ 1237099 h 4687251"/>
              <a:gd name="connsiteX49045" fmla="*/ 3092507 w 8079933"/>
              <a:gd name="connsiteY49045" fmla="*/ 1238073 h 4687251"/>
              <a:gd name="connsiteX49046" fmla="*/ 3093810 w 8079933"/>
              <a:gd name="connsiteY49046" fmla="*/ 1239156 h 4687251"/>
              <a:gd name="connsiteX49047" fmla="*/ 3100429 w 8079933"/>
              <a:gd name="connsiteY49047" fmla="*/ 1239156 h 4687251"/>
              <a:gd name="connsiteX49048" fmla="*/ 3103359 w 8079933"/>
              <a:gd name="connsiteY49048" fmla="*/ 1240238 h 4687251"/>
              <a:gd name="connsiteX49049" fmla="*/ 3104227 w 8079933"/>
              <a:gd name="connsiteY49049" fmla="*/ 1242836 h 4687251"/>
              <a:gd name="connsiteX49050" fmla="*/ 3103142 w 8079933"/>
              <a:gd name="connsiteY49050" fmla="*/ 1243703 h 4687251"/>
              <a:gd name="connsiteX49051" fmla="*/ 3101189 w 8079933"/>
              <a:gd name="connsiteY49051" fmla="*/ 1245760 h 4687251"/>
              <a:gd name="connsiteX49052" fmla="*/ 3099669 w 8079933"/>
              <a:gd name="connsiteY49052" fmla="*/ 1247817 h 4687251"/>
              <a:gd name="connsiteX49053" fmla="*/ 3097065 w 8079933"/>
              <a:gd name="connsiteY49053" fmla="*/ 1247817 h 4687251"/>
              <a:gd name="connsiteX49054" fmla="*/ 3094678 w 8079933"/>
              <a:gd name="connsiteY49054" fmla="*/ 1246193 h 4687251"/>
              <a:gd name="connsiteX49055" fmla="*/ 3092181 w 8079933"/>
              <a:gd name="connsiteY49055" fmla="*/ 1246193 h 4687251"/>
              <a:gd name="connsiteX49056" fmla="*/ 3087841 w 8079933"/>
              <a:gd name="connsiteY49056" fmla="*/ 1244461 h 4687251"/>
              <a:gd name="connsiteX49057" fmla="*/ 3087841 w 8079933"/>
              <a:gd name="connsiteY49057" fmla="*/ 1242187 h 4687251"/>
              <a:gd name="connsiteX49058" fmla="*/ 3087841 w 8079933"/>
              <a:gd name="connsiteY49058" fmla="*/ 1240888 h 4687251"/>
              <a:gd name="connsiteX49059" fmla="*/ 3085345 w 8079933"/>
              <a:gd name="connsiteY49059" fmla="*/ 1239372 h 4687251"/>
              <a:gd name="connsiteX49060" fmla="*/ 3084043 w 8079933"/>
              <a:gd name="connsiteY49060" fmla="*/ 1239372 h 4687251"/>
              <a:gd name="connsiteX49061" fmla="*/ 3084043 w 8079933"/>
              <a:gd name="connsiteY49061" fmla="*/ 1242945 h 4687251"/>
              <a:gd name="connsiteX49062" fmla="*/ 3083175 w 8079933"/>
              <a:gd name="connsiteY49062" fmla="*/ 1245327 h 4687251"/>
              <a:gd name="connsiteX49063" fmla="*/ 3081222 w 8079933"/>
              <a:gd name="connsiteY49063" fmla="*/ 1248250 h 4687251"/>
              <a:gd name="connsiteX49064" fmla="*/ 3077424 w 8079933"/>
              <a:gd name="connsiteY49064" fmla="*/ 1248250 h 4687251"/>
              <a:gd name="connsiteX49065" fmla="*/ 3075253 w 8079933"/>
              <a:gd name="connsiteY49065" fmla="*/ 1246518 h 4687251"/>
              <a:gd name="connsiteX49066" fmla="*/ 3072866 w 8079933"/>
              <a:gd name="connsiteY49066" fmla="*/ 1245003 h 4687251"/>
              <a:gd name="connsiteX49067" fmla="*/ 3070587 w 8079933"/>
              <a:gd name="connsiteY49067" fmla="*/ 1245003 h 4687251"/>
              <a:gd name="connsiteX49068" fmla="*/ 3070587 w 8079933"/>
              <a:gd name="connsiteY49068" fmla="*/ 1247493 h 4687251"/>
              <a:gd name="connsiteX49069" fmla="*/ 3072432 w 8079933"/>
              <a:gd name="connsiteY49069" fmla="*/ 1249008 h 4687251"/>
              <a:gd name="connsiteX49070" fmla="*/ 3079268 w 8079933"/>
              <a:gd name="connsiteY49070" fmla="*/ 1252040 h 4687251"/>
              <a:gd name="connsiteX49071" fmla="*/ 3084694 w 8079933"/>
              <a:gd name="connsiteY49071" fmla="*/ 1253339 h 4687251"/>
              <a:gd name="connsiteX49072" fmla="*/ 3086865 w 8079933"/>
              <a:gd name="connsiteY49072" fmla="*/ 1257345 h 4687251"/>
              <a:gd name="connsiteX49073" fmla="*/ 3088384 w 8079933"/>
              <a:gd name="connsiteY49073" fmla="*/ 1262758 h 4687251"/>
              <a:gd name="connsiteX49074" fmla="*/ 3086973 w 8079933"/>
              <a:gd name="connsiteY49074" fmla="*/ 1263408 h 4687251"/>
              <a:gd name="connsiteX49075" fmla="*/ 3083935 w 8079933"/>
              <a:gd name="connsiteY49075" fmla="*/ 1263408 h 4687251"/>
              <a:gd name="connsiteX49076" fmla="*/ 3080896 w 8079933"/>
              <a:gd name="connsiteY49076" fmla="*/ 1260485 h 4687251"/>
              <a:gd name="connsiteX49077" fmla="*/ 3075579 w 8079933"/>
              <a:gd name="connsiteY49077" fmla="*/ 1256262 h 4687251"/>
              <a:gd name="connsiteX49078" fmla="*/ 3073191 w 8079933"/>
              <a:gd name="connsiteY49078" fmla="*/ 1254855 h 4687251"/>
              <a:gd name="connsiteX49079" fmla="*/ 3070478 w 8079933"/>
              <a:gd name="connsiteY49079" fmla="*/ 1254855 h 4687251"/>
              <a:gd name="connsiteX49080" fmla="*/ 3070478 w 8079933"/>
              <a:gd name="connsiteY49080" fmla="*/ 1256262 h 4687251"/>
              <a:gd name="connsiteX49081" fmla="*/ 3072758 w 8079933"/>
              <a:gd name="connsiteY49081" fmla="*/ 1258211 h 4687251"/>
              <a:gd name="connsiteX49082" fmla="*/ 3076664 w 8079933"/>
              <a:gd name="connsiteY49082" fmla="*/ 1259294 h 4687251"/>
              <a:gd name="connsiteX49083" fmla="*/ 3081764 w 8079933"/>
              <a:gd name="connsiteY49083" fmla="*/ 1263732 h 4687251"/>
              <a:gd name="connsiteX49084" fmla="*/ 3084694 w 8079933"/>
              <a:gd name="connsiteY49084" fmla="*/ 1267522 h 4687251"/>
              <a:gd name="connsiteX49085" fmla="*/ 3084694 w 8079933"/>
              <a:gd name="connsiteY49085" fmla="*/ 1269905 h 4687251"/>
              <a:gd name="connsiteX49086" fmla="*/ 3083609 w 8079933"/>
              <a:gd name="connsiteY49086" fmla="*/ 1274019 h 4687251"/>
              <a:gd name="connsiteX49087" fmla="*/ 3084694 w 8079933"/>
              <a:gd name="connsiteY49087" fmla="*/ 1275968 h 4687251"/>
              <a:gd name="connsiteX49088" fmla="*/ 3084694 w 8079933"/>
              <a:gd name="connsiteY49088" fmla="*/ 1277808 h 4687251"/>
              <a:gd name="connsiteX49089" fmla="*/ 3082415 w 8079933"/>
              <a:gd name="connsiteY49089" fmla="*/ 1279866 h 4687251"/>
              <a:gd name="connsiteX49090" fmla="*/ 3082415 w 8079933"/>
              <a:gd name="connsiteY49090" fmla="*/ 1281923 h 4687251"/>
              <a:gd name="connsiteX49091" fmla="*/ 3081113 w 8079933"/>
              <a:gd name="connsiteY49091" fmla="*/ 1285604 h 4687251"/>
              <a:gd name="connsiteX49092" fmla="*/ 3077315 w 8079933"/>
              <a:gd name="connsiteY49092" fmla="*/ 1285604 h 4687251"/>
              <a:gd name="connsiteX49093" fmla="*/ 3074711 w 8079933"/>
              <a:gd name="connsiteY49093" fmla="*/ 1283980 h 4687251"/>
              <a:gd name="connsiteX49094" fmla="*/ 3071129 w 8079933"/>
              <a:gd name="connsiteY49094" fmla="*/ 1283980 h 4687251"/>
              <a:gd name="connsiteX49095" fmla="*/ 3068416 w 8079933"/>
              <a:gd name="connsiteY49095" fmla="*/ 1282031 h 4687251"/>
              <a:gd name="connsiteX49096" fmla="*/ 3066355 w 8079933"/>
              <a:gd name="connsiteY49096" fmla="*/ 1282031 h 4687251"/>
              <a:gd name="connsiteX49097" fmla="*/ 3067440 w 8079933"/>
              <a:gd name="connsiteY49097" fmla="*/ 1283980 h 4687251"/>
              <a:gd name="connsiteX49098" fmla="*/ 3071021 w 8079933"/>
              <a:gd name="connsiteY49098" fmla="*/ 1286036 h 4687251"/>
              <a:gd name="connsiteX49099" fmla="*/ 3075687 w 8079933"/>
              <a:gd name="connsiteY49099" fmla="*/ 1286795 h 4687251"/>
              <a:gd name="connsiteX49100" fmla="*/ 3075687 w 8079933"/>
              <a:gd name="connsiteY49100" fmla="*/ 1287878 h 4687251"/>
              <a:gd name="connsiteX49101" fmla="*/ 3072974 w 8079933"/>
              <a:gd name="connsiteY49101" fmla="*/ 1291558 h 4687251"/>
              <a:gd name="connsiteX49102" fmla="*/ 3070261 w 8079933"/>
              <a:gd name="connsiteY49102" fmla="*/ 1290909 h 4687251"/>
              <a:gd name="connsiteX49103" fmla="*/ 3068742 w 8079933"/>
              <a:gd name="connsiteY49103" fmla="*/ 1289176 h 4687251"/>
              <a:gd name="connsiteX49104" fmla="*/ 3067115 w 8079933"/>
              <a:gd name="connsiteY49104" fmla="*/ 1289826 h 4687251"/>
              <a:gd name="connsiteX49105" fmla="*/ 3067115 w 8079933"/>
              <a:gd name="connsiteY49105" fmla="*/ 1291125 h 4687251"/>
              <a:gd name="connsiteX49106" fmla="*/ 3070370 w 8079933"/>
              <a:gd name="connsiteY49106" fmla="*/ 1292858 h 4687251"/>
              <a:gd name="connsiteX49107" fmla="*/ 3071998 w 8079933"/>
              <a:gd name="connsiteY49107" fmla="*/ 1293940 h 4687251"/>
              <a:gd name="connsiteX49108" fmla="*/ 3071998 w 8079933"/>
              <a:gd name="connsiteY49108" fmla="*/ 1296106 h 4687251"/>
              <a:gd name="connsiteX49109" fmla="*/ 3069827 w 8079933"/>
              <a:gd name="connsiteY49109" fmla="*/ 1298488 h 4687251"/>
              <a:gd name="connsiteX49110" fmla="*/ 3066680 w 8079933"/>
              <a:gd name="connsiteY49110" fmla="*/ 1299896 h 4687251"/>
              <a:gd name="connsiteX49111" fmla="*/ 3065270 w 8079933"/>
              <a:gd name="connsiteY49111" fmla="*/ 1297946 h 4687251"/>
              <a:gd name="connsiteX49112" fmla="*/ 3063099 w 8079933"/>
              <a:gd name="connsiteY49112" fmla="*/ 1296647 h 4687251"/>
              <a:gd name="connsiteX49113" fmla="*/ 3060495 w 8079933"/>
              <a:gd name="connsiteY49113" fmla="*/ 1296647 h 4687251"/>
              <a:gd name="connsiteX49114" fmla="*/ 3061363 w 8079933"/>
              <a:gd name="connsiteY49114" fmla="*/ 1298813 h 4687251"/>
              <a:gd name="connsiteX49115" fmla="*/ 3064293 w 8079933"/>
              <a:gd name="connsiteY49115" fmla="*/ 1300112 h 4687251"/>
              <a:gd name="connsiteX49116" fmla="*/ 3067332 w 8079933"/>
              <a:gd name="connsiteY49116" fmla="*/ 1302169 h 4687251"/>
              <a:gd name="connsiteX49117" fmla="*/ 3067332 w 8079933"/>
              <a:gd name="connsiteY49117" fmla="*/ 1305633 h 4687251"/>
              <a:gd name="connsiteX49118" fmla="*/ 3064510 w 8079933"/>
              <a:gd name="connsiteY49118" fmla="*/ 1307474 h 4687251"/>
              <a:gd name="connsiteX49119" fmla="*/ 3058433 w 8079933"/>
              <a:gd name="connsiteY49119" fmla="*/ 1307474 h 4687251"/>
              <a:gd name="connsiteX49120" fmla="*/ 3055611 w 8079933"/>
              <a:gd name="connsiteY49120" fmla="*/ 1305959 h 4687251"/>
              <a:gd name="connsiteX49121" fmla="*/ 3053875 w 8079933"/>
              <a:gd name="connsiteY49121" fmla="*/ 1305959 h 4687251"/>
              <a:gd name="connsiteX49122" fmla="*/ 3053875 w 8079933"/>
              <a:gd name="connsiteY49122" fmla="*/ 1307149 h 4687251"/>
              <a:gd name="connsiteX49123" fmla="*/ 3057456 w 8079933"/>
              <a:gd name="connsiteY49123" fmla="*/ 1308774 h 4687251"/>
              <a:gd name="connsiteX49124" fmla="*/ 3065487 w 8079933"/>
              <a:gd name="connsiteY49124" fmla="*/ 1309531 h 4687251"/>
              <a:gd name="connsiteX49125" fmla="*/ 3069285 w 8079933"/>
              <a:gd name="connsiteY49125" fmla="*/ 1311047 h 4687251"/>
              <a:gd name="connsiteX49126" fmla="*/ 3070261 w 8079933"/>
              <a:gd name="connsiteY49126" fmla="*/ 1313213 h 4687251"/>
              <a:gd name="connsiteX49127" fmla="*/ 3069719 w 8079933"/>
              <a:gd name="connsiteY49127" fmla="*/ 1314837 h 4687251"/>
              <a:gd name="connsiteX49128" fmla="*/ 3066029 w 8079933"/>
              <a:gd name="connsiteY49128" fmla="*/ 1316461 h 4687251"/>
              <a:gd name="connsiteX49129" fmla="*/ 3059952 w 8079933"/>
              <a:gd name="connsiteY49129" fmla="*/ 1317652 h 4687251"/>
              <a:gd name="connsiteX49130" fmla="*/ 3055503 w 8079933"/>
              <a:gd name="connsiteY49130" fmla="*/ 1316461 h 4687251"/>
              <a:gd name="connsiteX49131" fmla="*/ 3051813 w 8079933"/>
              <a:gd name="connsiteY49131" fmla="*/ 1314945 h 4687251"/>
              <a:gd name="connsiteX49132" fmla="*/ 3050837 w 8079933"/>
              <a:gd name="connsiteY49132" fmla="*/ 1315703 h 4687251"/>
              <a:gd name="connsiteX49133" fmla="*/ 3052573 w 8079933"/>
              <a:gd name="connsiteY49133" fmla="*/ 1318301 h 4687251"/>
              <a:gd name="connsiteX49134" fmla="*/ 3057348 w 8079933"/>
              <a:gd name="connsiteY49134" fmla="*/ 1319276 h 4687251"/>
              <a:gd name="connsiteX49135" fmla="*/ 3058216 w 8079933"/>
              <a:gd name="connsiteY49135" fmla="*/ 1320683 h 4687251"/>
              <a:gd name="connsiteX49136" fmla="*/ 3057674 w 8079933"/>
              <a:gd name="connsiteY49136" fmla="*/ 1321658 h 4687251"/>
              <a:gd name="connsiteX49137" fmla="*/ 3055829 w 8079933"/>
              <a:gd name="connsiteY49137" fmla="*/ 1321658 h 4687251"/>
              <a:gd name="connsiteX49138" fmla="*/ 3055829 w 8079933"/>
              <a:gd name="connsiteY49138" fmla="*/ 1322524 h 4687251"/>
              <a:gd name="connsiteX49139" fmla="*/ 3059518 w 8079933"/>
              <a:gd name="connsiteY49139" fmla="*/ 1323606 h 4687251"/>
              <a:gd name="connsiteX49140" fmla="*/ 3063208 w 8079933"/>
              <a:gd name="connsiteY49140" fmla="*/ 1325231 h 4687251"/>
              <a:gd name="connsiteX49141" fmla="*/ 3063208 w 8079933"/>
              <a:gd name="connsiteY49141" fmla="*/ 1326747 h 4687251"/>
              <a:gd name="connsiteX49142" fmla="*/ 3060386 w 8079933"/>
              <a:gd name="connsiteY49142" fmla="*/ 1328478 h 4687251"/>
              <a:gd name="connsiteX49143" fmla="*/ 3057022 w 8079933"/>
              <a:gd name="connsiteY49143" fmla="*/ 1328478 h 4687251"/>
              <a:gd name="connsiteX49144" fmla="*/ 3054961 w 8079933"/>
              <a:gd name="connsiteY49144" fmla="*/ 1328478 h 4687251"/>
              <a:gd name="connsiteX49145" fmla="*/ 3054961 w 8079933"/>
              <a:gd name="connsiteY49145" fmla="*/ 1330211 h 4687251"/>
              <a:gd name="connsiteX49146" fmla="*/ 3057456 w 8079933"/>
              <a:gd name="connsiteY49146" fmla="*/ 1331186 h 4687251"/>
              <a:gd name="connsiteX49147" fmla="*/ 3061689 w 8079933"/>
              <a:gd name="connsiteY49147" fmla="*/ 1331186 h 4687251"/>
              <a:gd name="connsiteX49148" fmla="*/ 3064727 w 8079933"/>
              <a:gd name="connsiteY49148" fmla="*/ 1331727 h 4687251"/>
              <a:gd name="connsiteX49149" fmla="*/ 3063967 w 8079933"/>
              <a:gd name="connsiteY49149" fmla="*/ 1333459 h 4687251"/>
              <a:gd name="connsiteX49150" fmla="*/ 3060929 w 8079933"/>
              <a:gd name="connsiteY49150" fmla="*/ 1335625 h 4687251"/>
              <a:gd name="connsiteX49151" fmla="*/ 3056697 w 8079933"/>
              <a:gd name="connsiteY49151" fmla="*/ 1337357 h 4687251"/>
              <a:gd name="connsiteX49152" fmla="*/ 3053984 w 8079933"/>
              <a:gd name="connsiteY49152" fmla="*/ 1337357 h 4687251"/>
              <a:gd name="connsiteX49153" fmla="*/ 3050945 w 8079933"/>
              <a:gd name="connsiteY49153" fmla="*/ 1335083 h 4687251"/>
              <a:gd name="connsiteX49154" fmla="*/ 3047365 w 8079933"/>
              <a:gd name="connsiteY49154" fmla="*/ 1331727 h 4687251"/>
              <a:gd name="connsiteX49155" fmla="*/ 3046279 w 8079933"/>
              <a:gd name="connsiteY49155" fmla="*/ 1329453 h 4687251"/>
              <a:gd name="connsiteX49156" fmla="*/ 3044869 w 8079933"/>
              <a:gd name="connsiteY49156" fmla="*/ 1329453 h 4687251"/>
              <a:gd name="connsiteX49157" fmla="*/ 3043132 w 8079933"/>
              <a:gd name="connsiteY49157" fmla="*/ 1330427 h 4687251"/>
              <a:gd name="connsiteX49158" fmla="*/ 3039443 w 8079933"/>
              <a:gd name="connsiteY49158" fmla="*/ 1329561 h 4687251"/>
              <a:gd name="connsiteX49159" fmla="*/ 3038249 w 8079933"/>
              <a:gd name="connsiteY49159" fmla="*/ 1330644 h 4687251"/>
              <a:gd name="connsiteX49160" fmla="*/ 3039443 w 8079933"/>
              <a:gd name="connsiteY49160" fmla="*/ 1332484 h 4687251"/>
              <a:gd name="connsiteX49161" fmla="*/ 3046822 w 8079933"/>
              <a:gd name="connsiteY49161" fmla="*/ 1335733 h 4687251"/>
              <a:gd name="connsiteX49162" fmla="*/ 3050837 w 8079933"/>
              <a:gd name="connsiteY49162" fmla="*/ 1338331 h 4687251"/>
              <a:gd name="connsiteX49163" fmla="*/ 3050837 w 8079933"/>
              <a:gd name="connsiteY49163" fmla="*/ 1340388 h 4687251"/>
              <a:gd name="connsiteX49164" fmla="*/ 3049318 w 8079933"/>
              <a:gd name="connsiteY49164" fmla="*/ 1341904 h 4687251"/>
              <a:gd name="connsiteX49165" fmla="*/ 3049318 w 8079933"/>
              <a:gd name="connsiteY49165" fmla="*/ 1343853 h 4687251"/>
              <a:gd name="connsiteX49166" fmla="*/ 3050837 w 8079933"/>
              <a:gd name="connsiteY49166" fmla="*/ 1343095 h 4687251"/>
              <a:gd name="connsiteX49167" fmla="*/ 3053984 w 8079933"/>
              <a:gd name="connsiteY49167" fmla="*/ 1343095 h 4687251"/>
              <a:gd name="connsiteX49168" fmla="*/ 3055286 w 8079933"/>
              <a:gd name="connsiteY49168" fmla="*/ 1344178 h 4687251"/>
              <a:gd name="connsiteX49169" fmla="*/ 3057239 w 8079933"/>
              <a:gd name="connsiteY49169" fmla="*/ 1345044 h 4687251"/>
              <a:gd name="connsiteX49170" fmla="*/ 3057239 w 8079933"/>
              <a:gd name="connsiteY49170" fmla="*/ 1346668 h 4687251"/>
              <a:gd name="connsiteX49171" fmla="*/ 3054961 w 8079933"/>
              <a:gd name="connsiteY49171" fmla="*/ 1347318 h 4687251"/>
              <a:gd name="connsiteX49172" fmla="*/ 3052248 w 8079933"/>
              <a:gd name="connsiteY49172" fmla="*/ 1349483 h 4687251"/>
              <a:gd name="connsiteX49173" fmla="*/ 3052248 w 8079933"/>
              <a:gd name="connsiteY49173" fmla="*/ 1351108 h 4687251"/>
              <a:gd name="connsiteX49174" fmla="*/ 3050837 w 8079933"/>
              <a:gd name="connsiteY49174" fmla="*/ 1351108 h 4687251"/>
              <a:gd name="connsiteX49175" fmla="*/ 3039985 w 8079933"/>
              <a:gd name="connsiteY49175" fmla="*/ 1345477 h 4687251"/>
              <a:gd name="connsiteX49176" fmla="*/ 3033908 w 8079933"/>
              <a:gd name="connsiteY49176" fmla="*/ 1345477 h 4687251"/>
              <a:gd name="connsiteX49177" fmla="*/ 3033908 w 8079933"/>
              <a:gd name="connsiteY49177" fmla="*/ 1343637 h 4687251"/>
              <a:gd name="connsiteX49178" fmla="*/ 3034559 w 8079933"/>
              <a:gd name="connsiteY49178" fmla="*/ 1339847 h 4687251"/>
              <a:gd name="connsiteX49179" fmla="*/ 3035970 w 8079933"/>
              <a:gd name="connsiteY49179" fmla="*/ 1339847 h 4687251"/>
              <a:gd name="connsiteX49180" fmla="*/ 3035970 w 8079933"/>
              <a:gd name="connsiteY49180" fmla="*/ 1337790 h 4687251"/>
              <a:gd name="connsiteX49181" fmla="*/ 3033908 w 8079933"/>
              <a:gd name="connsiteY49181" fmla="*/ 1337790 h 4687251"/>
              <a:gd name="connsiteX49182" fmla="*/ 3031738 w 8079933"/>
              <a:gd name="connsiteY49182" fmla="*/ 1340497 h 4687251"/>
              <a:gd name="connsiteX49183" fmla="*/ 3030002 w 8079933"/>
              <a:gd name="connsiteY49183" fmla="*/ 1340497 h 4687251"/>
              <a:gd name="connsiteX49184" fmla="*/ 3030002 w 8079933"/>
              <a:gd name="connsiteY49184" fmla="*/ 1346668 h 4687251"/>
              <a:gd name="connsiteX49185" fmla="*/ 3026855 w 8079933"/>
              <a:gd name="connsiteY49185" fmla="*/ 1345153 h 4687251"/>
              <a:gd name="connsiteX49186" fmla="*/ 3024033 w 8079933"/>
              <a:gd name="connsiteY49186" fmla="*/ 1345153 h 4687251"/>
              <a:gd name="connsiteX49187" fmla="*/ 3023165 w 8079933"/>
              <a:gd name="connsiteY49187" fmla="*/ 1347426 h 4687251"/>
              <a:gd name="connsiteX49188" fmla="*/ 3023165 w 8079933"/>
              <a:gd name="connsiteY49188" fmla="*/ 1350782 h 4687251"/>
              <a:gd name="connsiteX49189" fmla="*/ 3021429 w 8079933"/>
              <a:gd name="connsiteY49189" fmla="*/ 1352624 h 4687251"/>
              <a:gd name="connsiteX49190" fmla="*/ 3018933 w 8079933"/>
              <a:gd name="connsiteY49190" fmla="*/ 1351432 h 4687251"/>
              <a:gd name="connsiteX49191" fmla="*/ 3020236 w 8079933"/>
              <a:gd name="connsiteY49191" fmla="*/ 1347210 h 4687251"/>
              <a:gd name="connsiteX49192" fmla="*/ 3021863 w 8079933"/>
              <a:gd name="connsiteY49192" fmla="*/ 1344286 h 4687251"/>
              <a:gd name="connsiteX49193" fmla="*/ 3021863 w 8079933"/>
              <a:gd name="connsiteY49193" fmla="*/ 1340714 h 4687251"/>
              <a:gd name="connsiteX49194" fmla="*/ 3026312 w 8079933"/>
              <a:gd name="connsiteY49194" fmla="*/ 1334542 h 4687251"/>
              <a:gd name="connsiteX49195" fmla="*/ 3025552 w 8079933"/>
              <a:gd name="connsiteY49195" fmla="*/ 1333567 h 4687251"/>
              <a:gd name="connsiteX49196" fmla="*/ 3022405 w 8079933"/>
              <a:gd name="connsiteY49196" fmla="*/ 1335733 h 4687251"/>
              <a:gd name="connsiteX49197" fmla="*/ 3019259 w 8079933"/>
              <a:gd name="connsiteY49197" fmla="*/ 1343961 h 4687251"/>
              <a:gd name="connsiteX49198" fmla="*/ 3015352 w 8079933"/>
              <a:gd name="connsiteY49198" fmla="*/ 1347210 h 4687251"/>
              <a:gd name="connsiteX49199" fmla="*/ 3013833 w 8079933"/>
              <a:gd name="connsiteY49199" fmla="*/ 1346235 h 4687251"/>
              <a:gd name="connsiteX49200" fmla="*/ 3013833 w 8079933"/>
              <a:gd name="connsiteY49200" fmla="*/ 1343095 h 4687251"/>
              <a:gd name="connsiteX49201" fmla="*/ 3018173 w 8079933"/>
              <a:gd name="connsiteY49201" fmla="*/ 1339522 h 4687251"/>
              <a:gd name="connsiteX49202" fmla="*/ 3018933 w 8079933"/>
              <a:gd name="connsiteY49202" fmla="*/ 1334867 h 4687251"/>
              <a:gd name="connsiteX49203" fmla="*/ 3021646 w 8079933"/>
              <a:gd name="connsiteY49203" fmla="*/ 1330427 h 4687251"/>
              <a:gd name="connsiteX49204" fmla="*/ 3018716 w 8079933"/>
              <a:gd name="connsiteY49204" fmla="*/ 1331294 h 4687251"/>
              <a:gd name="connsiteX49205" fmla="*/ 3016763 w 8079933"/>
              <a:gd name="connsiteY49205" fmla="*/ 1331294 h 4687251"/>
              <a:gd name="connsiteX49206" fmla="*/ 3014918 w 8079933"/>
              <a:gd name="connsiteY49206" fmla="*/ 1334975 h 4687251"/>
              <a:gd name="connsiteX49207" fmla="*/ 3011554 w 8079933"/>
              <a:gd name="connsiteY49207" fmla="*/ 1335841 h 4687251"/>
              <a:gd name="connsiteX49208" fmla="*/ 3010686 w 8079933"/>
              <a:gd name="connsiteY49208" fmla="*/ 1334325 h 4687251"/>
              <a:gd name="connsiteX49209" fmla="*/ 3011988 w 8079933"/>
              <a:gd name="connsiteY49209" fmla="*/ 1330752 h 4687251"/>
              <a:gd name="connsiteX49210" fmla="*/ 3015135 w 8079933"/>
              <a:gd name="connsiteY49210" fmla="*/ 1327829 h 4687251"/>
              <a:gd name="connsiteX49211" fmla="*/ 3014158 w 8079933"/>
              <a:gd name="connsiteY49211" fmla="*/ 1326747 h 4687251"/>
              <a:gd name="connsiteX49212" fmla="*/ 3011988 w 8079933"/>
              <a:gd name="connsiteY49212" fmla="*/ 1326747 h 4687251"/>
              <a:gd name="connsiteX49213" fmla="*/ 3010468 w 8079933"/>
              <a:gd name="connsiteY49213" fmla="*/ 1329237 h 4687251"/>
              <a:gd name="connsiteX49214" fmla="*/ 3007755 w 8079933"/>
              <a:gd name="connsiteY49214" fmla="*/ 1330969 h 4687251"/>
              <a:gd name="connsiteX49215" fmla="*/ 3006671 w 8079933"/>
              <a:gd name="connsiteY49215" fmla="*/ 1334000 h 4687251"/>
              <a:gd name="connsiteX49216" fmla="*/ 3005152 w 8079933"/>
              <a:gd name="connsiteY49216" fmla="*/ 1329886 h 4687251"/>
              <a:gd name="connsiteX49217" fmla="*/ 3005152 w 8079933"/>
              <a:gd name="connsiteY49217" fmla="*/ 1328370 h 4687251"/>
              <a:gd name="connsiteX49218" fmla="*/ 3004066 w 8079933"/>
              <a:gd name="connsiteY49218" fmla="*/ 1328370 h 4687251"/>
              <a:gd name="connsiteX49219" fmla="*/ 3001571 w 8079933"/>
              <a:gd name="connsiteY49219" fmla="*/ 1330752 h 4687251"/>
              <a:gd name="connsiteX49220" fmla="*/ 2999726 w 8079933"/>
              <a:gd name="connsiteY49220" fmla="*/ 1330752 h 4687251"/>
              <a:gd name="connsiteX49221" fmla="*/ 3000377 w 8079933"/>
              <a:gd name="connsiteY49221" fmla="*/ 1328695 h 4687251"/>
              <a:gd name="connsiteX49222" fmla="*/ 3006996 w 8079933"/>
              <a:gd name="connsiteY49222" fmla="*/ 1323931 h 4687251"/>
              <a:gd name="connsiteX49223" fmla="*/ 3006996 w 8079933"/>
              <a:gd name="connsiteY49223" fmla="*/ 1319925 h 4687251"/>
              <a:gd name="connsiteX49224" fmla="*/ 3009926 w 8079933"/>
              <a:gd name="connsiteY49224" fmla="*/ 1318951 h 4687251"/>
              <a:gd name="connsiteX49225" fmla="*/ 3014701 w 8079933"/>
              <a:gd name="connsiteY49225" fmla="*/ 1315161 h 4687251"/>
              <a:gd name="connsiteX49226" fmla="*/ 3014050 w 8079933"/>
              <a:gd name="connsiteY49226" fmla="*/ 1314079 h 4687251"/>
              <a:gd name="connsiteX49227" fmla="*/ 3009058 w 8079933"/>
              <a:gd name="connsiteY49227" fmla="*/ 1317543 h 4687251"/>
              <a:gd name="connsiteX49228" fmla="*/ 3005043 w 8079933"/>
              <a:gd name="connsiteY49228" fmla="*/ 1318951 h 4687251"/>
              <a:gd name="connsiteX49229" fmla="*/ 3004066 w 8079933"/>
              <a:gd name="connsiteY49229" fmla="*/ 1317868 h 4687251"/>
              <a:gd name="connsiteX49230" fmla="*/ 3005368 w 8079933"/>
              <a:gd name="connsiteY49230" fmla="*/ 1316677 h 4687251"/>
              <a:gd name="connsiteX49231" fmla="*/ 3009275 w 8079933"/>
              <a:gd name="connsiteY49231" fmla="*/ 1315594 h 4687251"/>
              <a:gd name="connsiteX49232" fmla="*/ 3012965 w 8079933"/>
              <a:gd name="connsiteY49232" fmla="*/ 1312671 h 4687251"/>
              <a:gd name="connsiteX49233" fmla="*/ 3016654 w 8079933"/>
              <a:gd name="connsiteY49233" fmla="*/ 1310506 h 4687251"/>
              <a:gd name="connsiteX49234" fmla="*/ 3019909 w 8079933"/>
              <a:gd name="connsiteY49234" fmla="*/ 1309423 h 4687251"/>
              <a:gd name="connsiteX49235" fmla="*/ 3019909 w 8079933"/>
              <a:gd name="connsiteY49235" fmla="*/ 1305525 h 4687251"/>
              <a:gd name="connsiteX49236" fmla="*/ 3018391 w 8079933"/>
              <a:gd name="connsiteY49236" fmla="*/ 1302494 h 4687251"/>
              <a:gd name="connsiteX49237" fmla="*/ 3016437 w 8079933"/>
              <a:gd name="connsiteY49237" fmla="*/ 1302494 h 4687251"/>
              <a:gd name="connsiteX49238" fmla="*/ 3011988 w 8079933"/>
              <a:gd name="connsiteY49238" fmla="*/ 1308557 h 4687251"/>
              <a:gd name="connsiteX49239" fmla="*/ 3004826 w 8079933"/>
              <a:gd name="connsiteY49239" fmla="*/ 1313104 h 4687251"/>
              <a:gd name="connsiteX49240" fmla="*/ 2999726 w 8079933"/>
              <a:gd name="connsiteY49240" fmla="*/ 1314729 h 4687251"/>
              <a:gd name="connsiteX49241" fmla="*/ 2999074 w 8079933"/>
              <a:gd name="connsiteY49241" fmla="*/ 1313104 h 4687251"/>
              <a:gd name="connsiteX49242" fmla="*/ 3001353 w 8079933"/>
              <a:gd name="connsiteY49242" fmla="*/ 1311372 h 4687251"/>
              <a:gd name="connsiteX49243" fmla="*/ 3004066 w 8079933"/>
              <a:gd name="connsiteY49243" fmla="*/ 1310506 h 4687251"/>
              <a:gd name="connsiteX49244" fmla="*/ 3007647 w 8079933"/>
              <a:gd name="connsiteY49244" fmla="*/ 1307041 h 4687251"/>
              <a:gd name="connsiteX49245" fmla="*/ 3007647 w 8079933"/>
              <a:gd name="connsiteY49245" fmla="*/ 1302494 h 4687251"/>
              <a:gd name="connsiteX49246" fmla="*/ 3005694 w 8079933"/>
              <a:gd name="connsiteY49246" fmla="*/ 1298813 h 4687251"/>
              <a:gd name="connsiteX49247" fmla="*/ 3003524 w 8079933"/>
              <a:gd name="connsiteY49247" fmla="*/ 1297730 h 4687251"/>
              <a:gd name="connsiteX49248" fmla="*/ 3001353 w 8079933"/>
              <a:gd name="connsiteY49248" fmla="*/ 1299029 h 4687251"/>
              <a:gd name="connsiteX49249" fmla="*/ 3001353 w 8079933"/>
              <a:gd name="connsiteY49249" fmla="*/ 1301627 h 4687251"/>
              <a:gd name="connsiteX49250" fmla="*/ 3003089 w 8079933"/>
              <a:gd name="connsiteY49250" fmla="*/ 1303576 h 4687251"/>
              <a:gd name="connsiteX49251" fmla="*/ 3003089 w 8079933"/>
              <a:gd name="connsiteY49251" fmla="*/ 1305742 h 4687251"/>
              <a:gd name="connsiteX49252" fmla="*/ 3000485 w 8079933"/>
              <a:gd name="connsiteY49252" fmla="*/ 1308016 h 4687251"/>
              <a:gd name="connsiteX49253" fmla="*/ 2997446 w 8079933"/>
              <a:gd name="connsiteY49253" fmla="*/ 1306608 h 4687251"/>
              <a:gd name="connsiteX49254" fmla="*/ 2994300 w 8079933"/>
              <a:gd name="connsiteY49254" fmla="*/ 1307366 h 4687251"/>
              <a:gd name="connsiteX49255" fmla="*/ 2991044 w 8079933"/>
              <a:gd name="connsiteY49255" fmla="*/ 1307366 h 4687251"/>
              <a:gd name="connsiteX49256" fmla="*/ 2988440 w 8079933"/>
              <a:gd name="connsiteY49256" fmla="*/ 1308990 h 4687251"/>
              <a:gd name="connsiteX49257" fmla="*/ 2986595 w 8079933"/>
              <a:gd name="connsiteY49257" fmla="*/ 1312347 h 4687251"/>
              <a:gd name="connsiteX49258" fmla="*/ 2984316 w 8079933"/>
              <a:gd name="connsiteY49258" fmla="*/ 1313213 h 4687251"/>
              <a:gd name="connsiteX49259" fmla="*/ 2981603 w 8079933"/>
              <a:gd name="connsiteY49259" fmla="*/ 1312454 h 4687251"/>
              <a:gd name="connsiteX49260" fmla="*/ 2979541 w 8079933"/>
              <a:gd name="connsiteY49260" fmla="*/ 1310506 h 4687251"/>
              <a:gd name="connsiteX49261" fmla="*/ 2975960 w 8079933"/>
              <a:gd name="connsiteY49261" fmla="*/ 1311047 h 4687251"/>
              <a:gd name="connsiteX49262" fmla="*/ 2973248 w 8079933"/>
              <a:gd name="connsiteY49262" fmla="*/ 1313646 h 4687251"/>
              <a:gd name="connsiteX49263" fmla="*/ 2970535 w 8079933"/>
              <a:gd name="connsiteY49263" fmla="*/ 1312130 h 4687251"/>
              <a:gd name="connsiteX49264" fmla="*/ 2968364 w 8079933"/>
              <a:gd name="connsiteY49264" fmla="*/ 1313321 h 4687251"/>
              <a:gd name="connsiteX49265" fmla="*/ 2968364 w 8079933"/>
              <a:gd name="connsiteY49265" fmla="*/ 1315270 h 4687251"/>
              <a:gd name="connsiteX49266" fmla="*/ 2969450 w 8079933"/>
              <a:gd name="connsiteY49266" fmla="*/ 1317327 h 4687251"/>
              <a:gd name="connsiteX49267" fmla="*/ 2967605 w 8079933"/>
              <a:gd name="connsiteY49267" fmla="*/ 1318410 h 4687251"/>
              <a:gd name="connsiteX49268" fmla="*/ 2960768 w 8079933"/>
              <a:gd name="connsiteY49268" fmla="*/ 1316894 h 4687251"/>
              <a:gd name="connsiteX49269" fmla="*/ 2960117 w 8079933"/>
              <a:gd name="connsiteY49269" fmla="*/ 1314511 h 4687251"/>
              <a:gd name="connsiteX49270" fmla="*/ 2962179 w 8079933"/>
              <a:gd name="connsiteY49270" fmla="*/ 1311480 h 4687251"/>
              <a:gd name="connsiteX49271" fmla="*/ 2965760 w 8079933"/>
              <a:gd name="connsiteY49271" fmla="*/ 1311480 h 4687251"/>
              <a:gd name="connsiteX49272" fmla="*/ 2968364 w 8079933"/>
              <a:gd name="connsiteY49272" fmla="*/ 1309098 h 4687251"/>
              <a:gd name="connsiteX49273" fmla="*/ 2968364 w 8079933"/>
              <a:gd name="connsiteY49273" fmla="*/ 1307691 h 4687251"/>
              <a:gd name="connsiteX49274" fmla="*/ 2964675 w 8079933"/>
              <a:gd name="connsiteY49274" fmla="*/ 1305959 h 4687251"/>
              <a:gd name="connsiteX49275" fmla="*/ 2964675 w 8079933"/>
              <a:gd name="connsiteY49275" fmla="*/ 1301303 h 4687251"/>
              <a:gd name="connsiteX49276" fmla="*/ 2961203 w 8079933"/>
              <a:gd name="connsiteY49276" fmla="*/ 1298488 h 4687251"/>
              <a:gd name="connsiteX49277" fmla="*/ 2960117 w 8079933"/>
              <a:gd name="connsiteY49277" fmla="*/ 1297080 h 4687251"/>
              <a:gd name="connsiteX49278" fmla="*/ 2957621 w 8079933"/>
              <a:gd name="connsiteY49278" fmla="*/ 1298055 h 4687251"/>
              <a:gd name="connsiteX49279" fmla="*/ 2951870 w 8079933"/>
              <a:gd name="connsiteY49279" fmla="*/ 1302386 h 4687251"/>
              <a:gd name="connsiteX49280" fmla="*/ 2948505 w 8079933"/>
              <a:gd name="connsiteY49280" fmla="*/ 1300978 h 4687251"/>
              <a:gd name="connsiteX49281" fmla="*/ 2947529 w 8079933"/>
              <a:gd name="connsiteY49281" fmla="*/ 1297730 h 4687251"/>
              <a:gd name="connsiteX49282" fmla="*/ 2951110 w 8079933"/>
              <a:gd name="connsiteY49282" fmla="*/ 1294590 h 4687251"/>
              <a:gd name="connsiteX49283" fmla="*/ 2949591 w 8079933"/>
              <a:gd name="connsiteY49283" fmla="*/ 1292641 h 4687251"/>
              <a:gd name="connsiteX49284" fmla="*/ 2946444 w 8079933"/>
              <a:gd name="connsiteY49284" fmla="*/ 1292641 h 4687251"/>
              <a:gd name="connsiteX49285" fmla="*/ 2946444 w 8079933"/>
              <a:gd name="connsiteY49285" fmla="*/ 1291125 h 4687251"/>
              <a:gd name="connsiteX49286" fmla="*/ 2951435 w 8079933"/>
              <a:gd name="connsiteY49286" fmla="*/ 1288743 h 4687251"/>
              <a:gd name="connsiteX49287" fmla="*/ 2954583 w 8079933"/>
              <a:gd name="connsiteY49287" fmla="*/ 1288743 h 4687251"/>
              <a:gd name="connsiteX49288" fmla="*/ 2956102 w 8079933"/>
              <a:gd name="connsiteY49288" fmla="*/ 1286903 h 4687251"/>
              <a:gd name="connsiteX49289" fmla="*/ 2955125 w 8079933"/>
              <a:gd name="connsiteY49289" fmla="*/ 1284629 h 4687251"/>
              <a:gd name="connsiteX49290" fmla="*/ 2952304 w 8079933"/>
              <a:gd name="connsiteY49290" fmla="*/ 1284629 h 4687251"/>
              <a:gd name="connsiteX49291" fmla="*/ 2947855 w 8079933"/>
              <a:gd name="connsiteY49291" fmla="*/ 1286036 h 4687251"/>
              <a:gd name="connsiteX49292" fmla="*/ 2944599 w 8079933"/>
              <a:gd name="connsiteY49292" fmla="*/ 1288419 h 4687251"/>
              <a:gd name="connsiteX49293" fmla="*/ 2939065 w 8079933"/>
              <a:gd name="connsiteY49293" fmla="*/ 1289935 h 4687251"/>
              <a:gd name="connsiteX49294" fmla="*/ 2935809 w 8079933"/>
              <a:gd name="connsiteY49294" fmla="*/ 1287769 h 4687251"/>
              <a:gd name="connsiteX49295" fmla="*/ 2936460 w 8079933"/>
              <a:gd name="connsiteY49295" fmla="*/ 1285495 h 4687251"/>
              <a:gd name="connsiteX49296" fmla="*/ 2940041 w 8079933"/>
              <a:gd name="connsiteY49296" fmla="*/ 1284413 h 4687251"/>
              <a:gd name="connsiteX49297" fmla="*/ 2942429 w 8079933"/>
              <a:gd name="connsiteY49297" fmla="*/ 1282464 h 4687251"/>
              <a:gd name="connsiteX49298" fmla="*/ 2942429 w 8079933"/>
              <a:gd name="connsiteY49298" fmla="*/ 1278566 h 4687251"/>
              <a:gd name="connsiteX49299" fmla="*/ 2947529 w 8079933"/>
              <a:gd name="connsiteY49299" fmla="*/ 1276401 h 4687251"/>
              <a:gd name="connsiteX49300" fmla="*/ 2949373 w 8079933"/>
              <a:gd name="connsiteY49300" fmla="*/ 1274452 h 4687251"/>
              <a:gd name="connsiteX49301" fmla="*/ 2948505 w 8079933"/>
              <a:gd name="connsiteY49301" fmla="*/ 1273153 h 4687251"/>
              <a:gd name="connsiteX49302" fmla="*/ 2944057 w 8079933"/>
              <a:gd name="connsiteY49302" fmla="*/ 1272178 h 4687251"/>
              <a:gd name="connsiteX49303" fmla="*/ 2941561 w 8079933"/>
              <a:gd name="connsiteY49303" fmla="*/ 1274235 h 4687251"/>
              <a:gd name="connsiteX49304" fmla="*/ 2938088 w 8079933"/>
              <a:gd name="connsiteY49304" fmla="*/ 1275860 h 4687251"/>
              <a:gd name="connsiteX49305" fmla="*/ 2935375 w 8079933"/>
              <a:gd name="connsiteY49305" fmla="*/ 1273478 h 4687251"/>
              <a:gd name="connsiteX49306" fmla="*/ 2937437 w 8079933"/>
              <a:gd name="connsiteY49306" fmla="*/ 1271095 h 4687251"/>
              <a:gd name="connsiteX49307" fmla="*/ 2940476 w 8079933"/>
              <a:gd name="connsiteY49307" fmla="*/ 1270446 h 4687251"/>
              <a:gd name="connsiteX49308" fmla="*/ 2943297 w 8079933"/>
              <a:gd name="connsiteY49308" fmla="*/ 1270446 h 4687251"/>
              <a:gd name="connsiteX49309" fmla="*/ 2945142 w 8079933"/>
              <a:gd name="connsiteY49309" fmla="*/ 1268064 h 4687251"/>
              <a:gd name="connsiteX49310" fmla="*/ 2948180 w 8079933"/>
              <a:gd name="connsiteY49310" fmla="*/ 1265790 h 4687251"/>
              <a:gd name="connsiteX49311" fmla="*/ 2947529 w 8079933"/>
              <a:gd name="connsiteY49311" fmla="*/ 1263517 h 4687251"/>
              <a:gd name="connsiteX49312" fmla="*/ 2949265 w 8079933"/>
              <a:gd name="connsiteY49312" fmla="*/ 1261351 h 4687251"/>
              <a:gd name="connsiteX49313" fmla="*/ 2947746 w 8079933"/>
              <a:gd name="connsiteY49313" fmla="*/ 1259944 h 4687251"/>
              <a:gd name="connsiteX49314" fmla="*/ 2941994 w 8079933"/>
              <a:gd name="connsiteY49314" fmla="*/ 1262001 h 4687251"/>
              <a:gd name="connsiteX49315" fmla="*/ 2940692 w 8079933"/>
              <a:gd name="connsiteY49315" fmla="*/ 1263950 h 4687251"/>
              <a:gd name="connsiteX49316" fmla="*/ 2938848 w 8079933"/>
              <a:gd name="connsiteY49316" fmla="*/ 1266007 h 4687251"/>
              <a:gd name="connsiteX49317" fmla="*/ 2934616 w 8079933"/>
              <a:gd name="connsiteY49317" fmla="*/ 1266007 h 4687251"/>
              <a:gd name="connsiteX49318" fmla="*/ 2936026 w 8079933"/>
              <a:gd name="connsiteY49318" fmla="*/ 1264058 h 4687251"/>
              <a:gd name="connsiteX49319" fmla="*/ 2939173 w 8079933"/>
              <a:gd name="connsiteY49319" fmla="*/ 1262217 h 4687251"/>
              <a:gd name="connsiteX49320" fmla="*/ 2939824 w 8079933"/>
              <a:gd name="connsiteY49320" fmla="*/ 1259186 h 4687251"/>
              <a:gd name="connsiteX49321" fmla="*/ 2937979 w 8079933"/>
              <a:gd name="connsiteY49321" fmla="*/ 1257454 h 4687251"/>
              <a:gd name="connsiteX49322" fmla="*/ 2940367 w 8079933"/>
              <a:gd name="connsiteY49322" fmla="*/ 1255612 h 4687251"/>
              <a:gd name="connsiteX49323" fmla="*/ 2940367 w 8079933"/>
              <a:gd name="connsiteY49323" fmla="*/ 1253664 h 4687251"/>
              <a:gd name="connsiteX49324" fmla="*/ 2938414 w 8079933"/>
              <a:gd name="connsiteY49324" fmla="*/ 1252473 h 4687251"/>
              <a:gd name="connsiteX49325" fmla="*/ 2934941 w 8079933"/>
              <a:gd name="connsiteY49325" fmla="*/ 1252473 h 4687251"/>
              <a:gd name="connsiteX49326" fmla="*/ 2934941 w 8079933"/>
              <a:gd name="connsiteY49326" fmla="*/ 1251390 h 4687251"/>
              <a:gd name="connsiteX49327" fmla="*/ 2936678 w 8079933"/>
              <a:gd name="connsiteY49327" fmla="*/ 1249441 h 4687251"/>
              <a:gd name="connsiteX49328" fmla="*/ 2936026 w 8079933"/>
              <a:gd name="connsiteY49328" fmla="*/ 1246301 h 4687251"/>
              <a:gd name="connsiteX49329" fmla="*/ 2933205 w 8079933"/>
              <a:gd name="connsiteY49329" fmla="*/ 1245544 h 4687251"/>
              <a:gd name="connsiteX49330" fmla="*/ 2931577 w 8079933"/>
              <a:gd name="connsiteY49330" fmla="*/ 1247060 h 4687251"/>
              <a:gd name="connsiteX49331" fmla="*/ 2927996 w 8079933"/>
              <a:gd name="connsiteY49331" fmla="*/ 1247060 h 4687251"/>
              <a:gd name="connsiteX49332" fmla="*/ 2927996 w 8079933"/>
              <a:gd name="connsiteY49332" fmla="*/ 1245652 h 4687251"/>
              <a:gd name="connsiteX49333" fmla="*/ 2930167 w 8079933"/>
              <a:gd name="connsiteY49333" fmla="*/ 1242079 h 4687251"/>
              <a:gd name="connsiteX49334" fmla="*/ 2932662 w 8079933"/>
              <a:gd name="connsiteY49334" fmla="*/ 1239264 h 4687251"/>
              <a:gd name="connsiteX49335" fmla="*/ 2934181 w 8079933"/>
              <a:gd name="connsiteY49335" fmla="*/ 1239264 h 4687251"/>
              <a:gd name="connsiteX49336" fmla="*/ 2938414 w 8079933"/>
              <a:gd name="connsiteY49336" fmla="*/ 1233959 h 4687251"/>
              <a:gd name="connsiteX49337" fmla="*/ 2936243 w 8079933"/>
              <a:gd name="connsiteY49337" fmla="*/ 1231685 h 4687251"/>
              <a:gd name="connsiteX49338" fmla="*/ 2936894 w 8079933"/>
              <a:gd name="connsiteY49338" fmla="*/ 1229303 h 4687251"/>
              <a:gd name="connsiteX49339" fmla="*/ 2938414 w 8079933"/>
              <a:gd name="connsiteY49339" fmla="*/ 1227138 h 4687251"/>
              <a:gd name="connsiteX49340" fmla="*/ 2936786 w 8079933"/>
              <a:gd name="connsiteY49340" fmla="*/ 1225730 h 4687251"/>
              <a:gd name="connsiteX49341" fmla="*/ 2935266 w 8079933"/>
              <a:gd name="connsiteY49341" fmla="*/ 1226488 h 4687251"/>
              <a:gd name="connsiteX49342" fmla="*/ 2934507 w 8079933"/>
              <a:gd name="connsiteY49342" fmla="*/ 1228437 h 4687251"/>
              <a:gd name="connsiteX49343" fmla="*/ 2932445 w 8079933"/>
              <a:gd name="connsiteY49343" fmla="*/ 1225189 h 4687251"/>
              <a:gd name="connsiteX49344" fmla="*/ 2929299 w 8079933"/>
              <a:gd name="connsiteY49344" fmla="*/ 1225189 h 4687251"/>
              <a:gd name="connsiteX49345" fmla="*/ 2928213 w 8079933"/>
              <a:gd name="connsiteY49345" fmla="*/ 1226705 h 4687251"/>
              <a:gd name="connsiteX49346" fmla="*/ 2926368 w 8079933"/>
              <a:gd name="connsiteY49346" fmla="*/ 1226705 h 4687251"/>
              <a:gd name="connsiteX49347" fmla="*/ 2924415 w 8079933"/>
              <a:gd name="connsiteY49347" fmla="*/ 1222049 h 4687251"/>
              <a:gd name="connsiteX49348" fmla="*/ 2925283 w 8079933"/>
              <a:gd name="connsiteY49348" fmla="*/ 1219559 h 4687251"/>
              <a:gd name="connsiteX49349" fmla="*/ 2931468 w 8079933"/>
              <a:gd name="connsiteY49349" fmla="*/ 1217393 h 4687251"/>
              <a:gd name="connsiteX49350" fmla="*/ 2931468 w 8079933"/>
              <a:gd name="connsiteY49350" fmla="*/ 1215769 h 4687251"/>
              <a:gd name="connsiteX49351" fmla="*/ 2927996 w 8079933"/>
              <a:gd name="connsiteY49351" fmla="*/ 1213928 h 4687251"/>
              <a:gd name="connsiteX49352" fmla="*/ 2924524 w 8079933"/>
              <a:gd name="connsiteY49352" fmla="*/ 1213928 h 4687251"/>
              <a:gd name="connsiteX49353" fmla="*/ 2920942 w 8079933"/>
              <a:gd name="connsiteY49353" fmla="*/ 1215986 h 4687251"/>
              <a:gd name="connsiteX49354" fmla="*/ 2918555 w 8079933"/>
              <a:gd name="connsiteY49354" fmla="*/ 1215986 h 4687251"/>
              <a:gd name="connsiteX49355" fmla="*/ 2917145 w 8079933"/>
              <a:gd name="connsiteY49355" fmla="*/ 1213712 h 4687251"/>
              <a:gd name="connsiteX49356" fmla="*/ 2918121 w 8079933"/>
              <a:gd name="connsiteY49356" fmla="*/ 1211114 h 4687251"/>
              <a:gd name="connsiteX49357" fmla="*/ 2921376 w 8079933"/>
              <a:gd name="connsiteY49357" fmla="*/ 1210139 h 4687251"/>
              <a:gd name="connsiteX49358" fmla="*/ 2925066 w 8079933"/>
              <a:gd name="connsiteY49358" fmla="*/ 1211222 h 4687251"/>
              <a:gd name="connsiteX49359" fmla="*/ 2931035 w 8079933"/>
              <a:gd name="connsiteY49359" fmla="*/ 1210139 h 4687251"/>
              <a:gd name="connsiteX49360" fmla="*/ 2932880 w 8079933"/>
              <a:gd name="connsiteY49360" fmla="*/ 1208298 h 4687251"/>
              <a:gd name="connsiteX49361" fmla="*/ 2930817 w 8079933"/>
              <a:gd name="connsiteY49361" fmla="*/ 1208298 h 4687251"/>
              <a:gd name="connsiteX49362" fmla="*/ 2928647 w 8079933"/>
              <a:gd name="connsiteY49362" fmla="*/ 1207216 h 4687251"/>
              <a:gd name="connsiteX49363" fmla="*/ 2923330 w 8079933"/>
              <a:gd name="connsiteY49363" fmla="*/ 1207216 h 4687251"/>
              <a:gd name="connsiteX49364" fmla="*/ 2921376 w 8079933"/>
              <a:gd name="connsiteY49364" fmla="*/ 1208515 h 4687251"/>
              <a:gd name="connsiteX49365" fmla="*/ 2918881 w 8079933"/>
              <a:gd name="connsiteY49365" fmla="*/ 1208515 h 4687251"/>
              <a:gd name="connsiteX49366" fmla="*/ 2916276 w 8079933"/>
              <a:gd name="connsiteY49366" fmla="*/ 1206241 h 4687251"/>
              <a:gd name="connsiteX49367" fmla="*/ 2920834 w 8079933"/>
              <a:gd name="connsiteY49367" fmla="*/ 1203318 h 4687251"/>
              <a:gd name="connsiteX49368" fmla="*/ 2926477 w 8079933"/>
              <a:gd name="connsiteY49368" fmla="*/ 1203318 h 4687251"/>
              <a:gd name="connsiteX49369" fmla="*/ 2928539 w 8079933"/>
              <a:gd name="connsiteY49369" fmla="*/ 1202127 h 4687251"/>
              <a:gd name="connsiteX49370" fmla="*/ 2926694 w 8079933"/>
              <a:gd name="connsiteY49370" fmla="*/ 1201369 h 4687251"/>
              <a:gd name="connsiteX49371" fmla="*/ 2923764 w 8079933"/>
              <a:gd name="connsiteY49371" fmla="*/ 1201369 h 4687251"/>
              <a:gd name="connsiteX49372" fmla="*/ 2921051 w 8079933"/>
              <a:gd name="connsiteY49372" fmla="*/ 1199204 h 4687251"/>
              <a:gd name="connsiteX49373" fmla="*/ 2922679 w 8079933"/>
              <a:gd name="connsiteY49373" fmla="*/ 1199204 h 4687251"/>
              <a:gd name="connsiteX49374" fmla="*/ 2925934 w 8079933"/>
              <a:gd name="connsiteY49374" fmla="*/ 1199853 h 4687251"/>
              <a:gd name="connsiteX49375" fmla="*/ 2928105 w 8079933"/>
              <a:gd name="connsiteY49375" fmla="*/ 1200936 h 4687251"/>
              <a:gd name="connsiteX49376" fmla="*/ 2933205 w 8079933"/>
              <a:gd name="connsiteY49376" fmla="*/ 1198771 h 4687251"/>
              <a:gd name="connsiteX49377" fmla="*/ 2935375 w 8079933"/>
              <a:gd name="connsiteY49377" fmla="*/ 1196822 h 4687251"/>
              <a:gd name="connsiteX49378" fmla="*/ 2934290 w 8079933"/>
              <a:gd name="connsiteY49378" fmla="*/ 1195631 h 4687251"/>
              <a:gd name="connsiteX49379" fmla="*/ 2932012 w 8079933"/>
              <a:gd name="connsiteY49379" fmla="*/ 1196281 h 4687251"/>
              <a:gd name="connsiteX49380" fmla="*/ 2929299 w 8079933"/>
              <a:gd name="connsiteY49380" fmla="*/ 1197363 h 4687251"/>
              <a:gd name="connsiteX49381" fmla="*/ 2926586 w 8079933"/>
              <a:gd name="connsiteY49381" fmla="*/ 1197363 h 4687251"/>
              <a:gd name="connsiteX49382" fmla="*/ 2924741 w 8079933"/>
              <a:gd name="connsiteY49382" fmla="*/ 1196388 h 4687251"/>
              <a:gd name="connsiteX49383" fmla="*/ 2921051 w 8079933"/>
              <a:gd name="connsiteY49383" fmla="*/ 1196388 h 4687251"/>
              <a:gd name="connsiteX49384" fmla="*/ 2919532 w 8079933"/>
              <a:gd name="connsiteY49384" fmla="*/ 1199096 h 4687251"/>
              <a:gd name="connsiteX49385" fmla="*/ 2916928 w 8079933"/>
              <a:gd name="connsiteY49385" fmla="*/ 1200720 h 4687251"/>
              <a:gd name="connsiteX49386" fmla="*/ 2913672 w 8079933"/>
              <a:gd name="connsiteY49386" fmla="*/ 1198338 h 4687251"/>
              <a:gd name="connsiteX49387" fmla="*/ 2913021 w 8079933"/>
              <a:gd name="connsiteY49387" fmla="*/ 1195522 h 4687251"/>
              <a:gd name="connsiteX49388" fmla="*/ 2915408 w 8079933"/>
              <a:gd name="connsiteY49388" fmla="*/ 1192058 h 4687251"/>
              <a:gd name="connsiteX49389" fmla="*/ 2920183 w 8079933"/>
              <a:gd name="connsiteY49389" fmla="*/ 1192058 h 4687251"/>
              <a:gd name="connsiteX49390" fmla="*/ 2923981 w 8079933"/>
              <a:gd name="connsiteY49390" fmla="*/ 1189676 h 4687251"/>
              <a:gd name="connsiteX49391" fmla="*/ 2922896 w 8079933"/>
              <a:gd name="connsiteY49391" fmla="*/ 1188810 h 4687251"/>
              <a:gd name="connsiteX49392" fmla="*/ 2918446 w 8079933"/>
              <a:gd name="connsiteY49392" fmla="*/ 1189567 h 4687251"/>
              <a:gd name="connsiteX49393" fmla="*/ 2914323 w 8079933"/>
              <a:gd name="connsiteY49393" fmla="*/ 1188918 h 4687251"/>
              <a:gd name="connsiteX49394" fmla="*/ 2913347 w 8079933"/>
              <a:gd name="connsiteY49394" fmla="*/ 1185561 h 4687251"/>
              <a:gd name="connsiteX49395" fmla="*/ 2914432 w 8079933"/>
              <a:gd name="connsiteY49395" fmla="*/ 1182314 h 4687251"/>
              <a:gd name="connsiteX49396" fmla="*/ 2918446 w 8079933"/>
              <a:gd name="connsiteY49396" fmla="*/ 1181339 h 4687251"/>
              <a:gd name="connsiteX49397" fmla="*/ 2927562 w 8079933"/>
              <a:gd name="connsiteY49397" fmla="*/ 1181339 h 4687251"/>
              <a:gd name="connsiteX49398" fmla="*/ 2932771 w 8079933"/>
              <a:gd name="connsiteY49398" fmla="*/ 1179823 h 4687251"/>
              <a:gd name="connsiteX49399" fmla="*/ 2938522 w 8079933"/>
              <a:gd name="connsiteY49399" fmla="*/ 1179823 h 4687251"/>
              <a:gd name="connsiteX49400" fmla="*/ 2942103 w 8079933"/>
              <a:gd name="connsiteY49400" fmla="*/ 1176900 h 4687251"/>
              <a:gd name="connsiteX49401" fmla="*/ 2942754 w 8079933"/>
              <a:gd name="connsiteY49401" fmla="*/ 1175817 h 4687251"/>
              <a:gd name="connsiteX49402" fmla="*/ 2938956 w 8079933"/>
              <a:gd name="connsiteY49402" fmla="*/ 1175817 h 4687251"/>
              <a:gd name="connsiteX49403" fmla="*/ 2935375 w 8079933"/>
              <a:gd name="connsiteY49403" fmla="*/ 1174735 h 4687251"/>
              <a:gd name="connsiteX49404" fmla="*/ 2931252 w 8079933"/>
              <a:gd name="connsiteY49404" fmla="*/ 1177333 h 4687251"/>
              <a:gd name="connsiteX49405" fmla="*/ 2924632 w 8079933"/>
              <a:gd name="connsiteY49405" fmla="*/ 1178416 h 4687251"/>
              <a:gd name="connsiteX49406" fmla="*/ 2921268 w 8079933"/>
              <a:gd name="connsiteY49406" fmla="*/ 1179823 h 4687251"/>
              <a:gd name="connsiteX49407" fmla="*/ 2917145 w 8079933"/>
              <a:gd name="connsiteY49407" fmla="*/ 1179823 h 4687251"/>
              <a:gd name="connsiteX49408" fmla="*/ 2915083 w 8079933"/>
              <a:gd name="connsiteY49408" fmla="*/ 1178308 h 4687251"/>
              <a:gd name="connsiteX49409" fmla="*/ 2915951 w 8079933"/>
              <a:gd name="connsiteY49409" fmla="*/ 1177225 h 4687251"/>
              <a:gd name="connsiteX49410" fmla="*/ 2923547 w 8079933"/>
              <a:gd name="connsiteY49410" fmla="*/ 1177225 h 4687251"/>
              <a:gd name="connsiteX49411" fmla="*/ 2926911 w 8079933"/>
              <a:gd name="connsiteY49411" fmla="*/ 1175276 h 4687251"/>
              <a:gd name="connsiteX49412" fmla="*/ 2931035 w 8079933"/>
              <a:gd name="connsiteY49412" fmla="*/ 1169537 h 4687251"/>
              <a:gd name="connsiteX49413" fmla="*/ 2934833 w 8079933"/>
              <a:gd name="connsiteY49413" fmla="*/ 1169537 h 4687251"/>
              <a:gd name="connsiteX49414" fmla="*/ 2936569 w 8079933"/>
              <a:gd name="connsiteY49414" fmla="*/ 1170404 h 4687251"/>
              <a:gd name="connsiteX49415" fmla="*/ 2940041 w 8079933"/>
              <a:gd name="connsiteY49415" fmla="*/ 1173110 h 4687251"/>
              <a:gd name="connsiteX49416" fmla="*/ 2943406 w 8079933"/>
              <a:gd name="connsiteY49416" fmla="*/ 1173110 h 4687251"/>
              <a:gd name="connsiteX49417" fmla="*/ 2944382 w 8079933"/>
              <a:gd name="connsiteY49417" fmla="*/ 1171378 h 4687251"/>
              <a:gd name="connsiteX49418" fmla="*/ 2942320 w 8079933"/>
              <a:gd name="connsiteY49418" fmla="*/ 1170729 h 4687251"/>
              <a:gd name="connsiteX49419" fmla="*/ 2938631 w 8079933"/>
              <a:gd name="connsiteY49419" fmla="*/ 1166614 h 4687251"/>
              <a:gd name="connsiteX49420" fmla="*/ 2936678 w 8079933"/>
              <a:gd name="connsiteY49420" fmla="*/ 1166614 h 4687251"/>
              <a:gd name="connsiteX49421" fmla="*/ 2934833 w 8079933"/>
              <a:gd name="connsiteY49421" fmla="*/ 1164774 h 4687251"/>
              <a:gd name="connsiteX49422" fmla="*/ 2935483 w 8079933"/>
              <a:gd name="connsiteY49422" fmla="*/ 1162933 h 4687251"/>
              <a:gd name="connsiteX49423" fmla="*/ 2938305 w 8079933"/>
              <a:gd name="connsiteY49423" fmla="*/ 1162933 h 4687251"/>
              <a:gd name="connsiteX49424" fmla="*/ 2939933 w 8079933"/>
              <a:gd name="connsiteY49424" fmla="*/ 1161417 h 4687251"/>
              <a:gd name="connsiteX49425" fmla="*/ 2941669 w 8079933"/>
              <a:gd name="connsiteY49425" fmla="*/ 1161417 h 4687251"/>
              <a:gd name="connsiteX49426" fmla="*/ 2943622 w 8079933"/>
              <a:gd name="connsiteY49426" fmla="*/ 1164665 h 4687251"/>
              <a:gd name="connsiteX49427" fmla="*/ 2947529 w 8079933"/>
              <a:gd name="connsiteY49427" fmla="*/ 1169213 h 4687251"/>
              <a:gd name="connsiteX49428" fmla="*/ 2950242 w 8079933"/>
              <a:gd name="connsiteY49428" fmla="*/ 1170729 h 4687251"/>
              <a:gd name="connsiteX49429" fmla="*/ 2951544 w 8079933"/>
              <a:gd name="connsiteY49429" fmla="*/ 1170187 h 4687251"/>
              <a:gd name="connsiteX49430" fmla="*/ 2949700 w 8079933"/>
              <a:gd name="connsiteY49430" fmla="*/ 1166506 h 4687251"/>
              <a:gd name="connsiteX49431" fmla="*/ 2947420 w 8079933"/>
              <a:gd name="connsiteY49431" fmla="*/ 1164990 h 4687251"/>
              <a:gd name="connsiteX49432" fmla="*/ 2947420 w 8079933"/>
              <a:gd name="connsiteY49432" fmla="*/ 1157412 h 4687251"/>
              <a:gd name="connsiteX49433" fmla="*/ 2950350 w 8079933"/>
              <a:gd name="connsiteY49433" fmla="*/ 1154596 h 4687251"/>
              <a:gd name="connsiteX49434" fmla="*/ 2950350 w 8079933"/>
              <a:gd name="connsiteY49434" fmla="*/ 1153080 h 4687251"/>
              <a:gd name="connsiteX49435" fmla="*/ 2947529 w 8079933"/>
              <a:gd name="connsiteY49435" fmla="*/ 1153080 h 4687251"/>
              <a:gd name="connsiteX49436" fmla="*/ 2945033 w 8079933"/>
              <a:gd name="connsiteY49436" fmla="*/ 1155570 h 4687251"/>
              <a:gd name="connsiteX49437" fmla="*/ 2942863 w 8079933"/>
              <a:gd name="connsiteY49437" fmla="*/ 1155570 h 4687251"/>
              <a:gd name="connsiteX49438" fmla="*/ 2940476 w 8079933"/>
              <a:gd name="connsiteY49438" fmla="*/ 1152431 h 4687251"/>
              <a:gd name="connsiteX49439" fmla="*/ 2939390 w 8079933"/>
              <a:gd name="connsiteY49439" fmla="*/ 1154380 h 4687251"/>
              <a:gd name="connsiteX49440" fmla="*/ 2933965 w 8079933"/>
              <a:gd name="connsiteY49440" fmla="*/ 1159902 h 4687251"/>
              <a:gd name="connsiteX49441" fmla="*/ 2930600 w 8079933"/>
              <a:gd name="connsiteY49441" fmla="*/ 1161309 h 4687251"/>
              <a:gd name="connsiteX49442" fmla="*/ 2929190 w 8079933"/>
              <a:gd name="connsiteY49442" fmla="*/ 1160226 h 4687251"/>
              <a:gd name="connsiteX49443" fmla="*/ 2929190 w 8079933"/>
              <a:gd name="connsiteY49443" fmla="*/ 1157953 h 4687251"/>
              <a:gd name="connsiteX49444" fmla="*/ 2931360 w 8079933"/>
              <a:gd name="connsiteY49444" fmla="*/ 1156220 h 4687251"/>
              <a:gd name="connsiteX49445" fmla="*/ 2931360 w 8079933"/>
              <a:gd name="connsiteY49445" fmla="*/ 1155570 h 4687251"/>
              <a:gd name="connsiteX49446" fmla="*/ 2928539 w 8079933"/>
              <a:gd name="connsiteY49446" fmla="*/ 1156978 h 4687251"/>
              <a:gd name="connsiteX49447" fmla="*/ 2926260 w 8079933"/>
              <a:gd name="connsiteY49447" fmla="*/ 1160118 h 4687251"/>
              <a:gd name="connsiteX49448" fmla="*/ 2924524 w 8079933"/>
              <a:gd name="connsiteY49448" fmla="*/ 1160118 h 4687251"/>
              <a:gd name="connsiteX49449" fmla="*/ 2919206 w 8079933"/>
              <a:gd name="connsiteY49449" fmla="*/ 1165098 h 4687251"/>
              <a:gd name="connsiteX49450" fmla="*/ 2916819 w 8079933"/>
              <a:gd name="connsiteY49450" fmla="*/ 1165964 h 4687251"/>
              <a:gd name="connsiteX49451" fmla="*/ 2913238 w 8079933"/>
              <a:gd name="connsiteY49451" fmla="*/ 1172353 h 4687251"/>
              <a:gd name="connsiteX49452" fmla="*/ 2911502 w 8079933"/>
              <a:gd name="connsiteY49452" fmla="*/ 1172353 h 4687251"/>
              <a:gd name="connsiteX49453" fmla="*/ 2910090 w 8079933"/>
              <a:gd name="connsiteY49453" fmla="*/ 1166939 h 4687251"/>
              <a:gd name="connsiteX49454" fmla="*/ 2910742 w 8079933"/>
              <a:gd name="connsiteY49454" fmla="*/ 1162717 h 4687251"/>
              <a:gd name="connsiteX49455" fmla="*/ 2912587 w 8079933"/>
              <a:gd name="connsiteY49455" fmla="*/ 1160335 h 4687251"/>
              <a:gd name="connsiteX49456" fmla="*/ 2909765 w 8079933"/>
              <a:gd name="connsiteY49456" fmla="*/ 1157736 h 4687251"/>
              <a:gd name="connsiteX49457" fmla="*/ 2910416 w 8079933"/>
              <a:gd name="connsiteY49457" fmla="*/ 1154488 h 4687251"/>
              <a:gd name="connsiteX49458" fmla="*/ 2910416 w 8079933"/>
              <a:gd name="connsiteY49458" fmla="*/ 1151781 h 4687251"/>
              <a:gd name="connsiteX49459" fmla="*/ 2913780 w 8079933"/>
              <a:gd name="connsiteY49459" fmla="*/ 1150157 h 4687251"/>
              <a:gd name="connsiteX49460" fmla="*/ 2920400 w 8079933"/>
              <a:gd name="connsiteY49460" fmla="*/ 1147884 h 4687251"/>
              <a:gd name="connsiteX49461" fmla="*/ 2923547 w 8079933"/>
              <a:gd name="connsiteY49461" fmla="*/ 1147884 h 4687251"/>
              <a:gd name="connsiteX49462" fmla="*/ 2927345 w 8079933"/>
              <a:gd name="connsiteY49462" fmla="*/ 1144311 h 4687251"/>
              <a:gd name="connsiteX49463" fmla="*/ 2928755 w 8079933"/>
              <a:gd name="connsiteY49463" fmla="*/ 1143445 h 4687251"/>
              <a:gd name="connsiteX49464" fmla="*/ 2927128 w 8079933"/>
              <a:gd name="connsiteY49464" fmla="*/ 1141496 h 4687251"/>
              <a:gd name="connsiteX49465" fmla="*/ 2924632 w 8079933"/>
              <a:gd name="connsiteY49465" fmla="*/ 1141496 h 4687251"/>
              <a:gd name="connsiteX49466" fmla="*/ 2922244 w 8079933"/>
              <a:gd name="connsiteY49466" fmla="*/ 1143661 h 4687251"/>
              <a:gd name="connsiteX49467" fmla="*/ 2919532 w 8079933"/>
              <a:gd name="connsiteY49467" fmla="*/ 1142904 h 4687251"/>
              <a:gd name="connsiteX49468" fmla="*/ 2918338 w 8079933"/>
              <a:gd name="connsiteY49468" fmla="*/ 1145827 h 4687251"/>
              <a:gd name="connsiteX49469" fmla="*/ 2915625 w 8079933"/>
              <a:gd name="connsiteY49469" fmla="*/ 1147775 h 4687251"/>
              <a:gd name="connsiteX49470" fmla="*/ 2912261 w 8079933"/>
              <a:gd name="connsiteY49470" fmla="*/ 1147775 h 4687251"/>
              <a:gd name="connsiteX49471" fmla="*/ 2910308 w 8079933"/>
              <a:gd name="connsiteY49471" fmla="*/ 1144635 h 4687251"/>
              <a:gd name="connsiteX49472" fmla="*/ 2910308 w 8079933"/>
              <a:gd name="connsiteY49472" fmla="*/ 1138464 h 4687251"/>
              <a:gd name="connsiteX49473" fmla="*/ 2913238 w 8079933"/>
              <a:gd name="connsiteY49473" fmla="*/ 1136298 h 4687251"/>
              <a:gd name="connsiteX49474" fmla="*/ 2913238 w 8079933"/>
              <a:gd name="connsiteY49474" fmla="*/ 1133158 h 4687251"/>
              <a:gd name="connsiteX49475" fmla="*/ 2911719 w 8079933"/>
              <a:gd name="connsiteY49475" fmla="*/ 1129152 h 4687251"/>
              <a:gd name="connsiteX49476" fmla="*/ 2910308 w 8079933"/>
              <a:gd name="connsiteY49476" fmla="*/ 1129152 h 4687251"/>
              <a:gd name="connsiteX49477" fmla="*/ 2908029 w 8079933"/>
              <a:gd name="connsiteY49477" fmla="*/ 1131643 h 4687251"/>
              <a:gd name="connsiteX49478" fmla="*/ 2905424 w 8079933"/>
              <a:gd name="connsiteY49478" fmla="*/ 1131643 h 4687251"/>
              <a:gd name="connsiteX49479" fmla="*/ 2904774 w 8079933"/>
              <a:gd name="connsiteY49479" fmla="*/ 1128828 h 4687251"/>
              <a:gd name="connsiteX49480" fmla="*/ 2907703 w 8079933"/>
              <a:gd name="connsiteY49480" fmla="*/ 1125905 h 4687251"/>
              <a:gd name="connsiteX49481" fmla="*/ 2912370 w 8079933"/>
              <a:gd name="connsiteY49481" fmla="*/ 1125905 h 4687251"/>
              <a:gd name="connsiteX49482" fmla="*/ 2915191 w 8079933"/>
              <a:gd name="connsiteY49482" fmla="*/ 1123415 h 4687251"/>
              <a:gd name="connsiteX49483" fmla="*/ 2920834 w 8079933"/>
              <a:gd name="connsiteY49483" fmla="*/ 1122223 h 4687251"/>
              <a:gd name="connsiteX49484" fmla="*/ 2923113 w 8079933"/>
              <a:gd name="connsiteY49484" fmla="*/ 1119950 h 4687251"/>
              <a:gd name="connsiteX49485" fmla="*/ 2925717 w 8079933"/>
              <a:gd name="connsiteY49485" fmla="*/ 1118867 h 4687251"/>
              <a:gd name="connsiteX49486" fmla="*/ 2926802 w 8079933"/>
              <a:gd name="connsiteY49486" fmla="*/ 1114753 h 4687251"/>
              <a:gd name="connsiteX49487" fmla="*/ 2928539 w 8079933"/>
              <a:gd name="connsiteY49487" fmla="*/ 1114103 h 4687251"/>
              <a:gd name="connsiteX49488" fmla="*/ 2930058 w 8079933"/>
              <a:gd name="connsiteY49488" fmla="*/ 1115835 h 4687251"/>
              <a:gd name="connsiteX49489" fmla="*/ 2931903 w 8079933"/>
              <a:gd name="connsiteY49489" fmla="*/ 1113887 h 4687251"/>
              <a:gd name="connsiteX49490" fmla="*/ 2939499 w 8079933"/>
              <a:gd name="connsiteY49490" fmla="*/ 1113887 h 4687251"/>
              <a:gd name="connsiteX49491" fmla="*/ 2941561 w 8079933"/>
              <a:gd name="connsiteY49491" fmla="*/ 1115403 h 4687251"/>
              <a:gd name="connsiteX49492" fmla="*/ 2944816 w 8079933"/>
              <a:gd name="connsiteY49492" fmla="*/ 1115403 h 4687251"/>
              <a:gd name="connsiteX49493" fmla="*/ 2943731 w 8079933"/>
              <a:gd name="connsiteY49493" fmla="*/ 1112804 h 4687251"/>
              <a:gd name="connsiteX49494" fmla="*/ 2939716 w 8079933"/>
              <a:gd name="connsiteY49494" fmla="*/ 1111721 h 4687251"/>
              <a:gd name="connsiteX49495" fmla="*/ 2938631 w 8079933"/>
              <a:gd name="connsiteY49495" fmla="*/ 1108797 h 4687251"/>
              <a:gd name="connsiteX49496" fmla="*/ 2936135 w 8079933"/>
              <a:gd name="connsiteY49496" fmla="*/ 1108797 h 4687251"/>
              <a:gd name="connsiteX49497" fmla="*/ 2927019 w 8079933"/>
              <a:gd name="connsiteY49497" fmla="*/ 1113778 h 4687251"/>
              <a:gd name="connsiteX49498" fmla="*/ 2924307 w 8079933"/>
              <a:gd name="connsiteY49498" fmla="*/ 1113778 h 4687251"/>
              <a:gd name="connsiteX49499" fmla="*/ 2922027 w 8079933"/>
              <a:gd name="connsiteY49499" fmla="*/ 1115403 h 4687251"/>
              <a:gd name="connsiteX49500" fmla="*/ 2921051 w 8079933"/>
              <a:gd name="connsiteY49500" fmla="*/ 1118867 h 4687251"/>
              <a:gd name="connsiteX49501" fmla="*/ 2918555 w 8079933"/>
              <a:gd name="connsiteY49501" fmla="*/ 1120599 h 4687251"/>
              <a:gd name="connsiteX49502" fmla="*/ 2914540 w 8079933"/>
              <a:gd name="connsiteY49502" fmla="*/ 1121574 h 4687251"/>
              <a:gd name="connsiteX49503" fmla="*/ 2911502 w 8079933"/>
              <a:gd name="connsiteY49503" fmla="*/ 1125147 h 4687251"/>
              <a:gd name="connsiteX49504" fmla="*/ 2909657 w 8079933"/>
              <a:gd name="connsiteY49504" fmla="*/ 1125147 h 4687251"/>
              <a:gd name="connsiteX49505" fmla="*/ 2908572 w 8079933"/>
              <a:gd name="connsiteY49505" fmla="*/ 1123198 h 4687251"/>
              <a:gd name="connsiteX49506" fmla="*/ 2909331 w 8079933"/>
              <a:gd name="connsiteY49506" fmla="*/ 1120707 h 4687251"/>
              <a:gd name="connsiteX49507" fmla="*/ 2906401 w 8079933"/>
              <a:gd name="connsiteY49507" fmla="*/ 1120058 h 4687251"/>
              <a:gd name="connsiteX49508" fmla="*/ 2906401 w 8079933"/>
              <a:gd name="connsiteY49508" fmla="*/ 1118217 h 4687251"/>
              <a:gd name="connsiteX49509" fmla="*/ 2909331 w 8079933"/>
              <a:gd name="connsiteY49509" fmla="*/ 1114861 h 4687251"/>
              <a:gd name="connsiteX49510" fmla="*/ 2905424 w 8079933"/>
              <a:gd name="connsiteY49510" fmla="*/ 1112479 h 4687251"/>
              <a:gd name="connsiteX49511" fmla="*/ 2903471 w 8079933"/>
              <a:gd name="connsiteY49511" fmla="*/ 1112479 h 4687251"/>
              <a:gd name="connsiteX49512" fmla="*/ 2900108 w 8079933"/>
              <a:gd name="connsiteY49512" fmla="*/ 1109989 h 4687251"/>
              <a:gd name="connsiteX49513" fmla="*/ 2900758 w 8079933"/>
              <a:gd name="connsiteY49513" fmla="*/ 1108581 h 4687251"/>
              <a:gd name="connsiteX49514" fmla="*/ 2906293 w 8079933"/>
              <a:gd name="connsiteY49514" fmla="*/ 1106307 h 4687251"/>
              <a:gd name="connsiteX49515" fmla="*/ 2908789 w 8079933"/>
              <a:gd name="connsiteY49515" fmla="*/ 1103601 h 4687251"/>
              <a:gd name="connsiteX49516" fmla="*/ 2911067 w 8079933"/>
              <a:gd name="connsiteY49516" fmla="*/ 1102951 h 4687251"/>
              <a:gd name="connsiteX49517" fmla="*/ 2912695 w 8079933"/>
              <a:gd name="connsiteY49517" fmla="*/ 1104791 h 4687251"/>
              <a:gd name="connsiteX49518" fmla="*/ 2916601 w 8079933"/>
              <a:gd name="connsiteY49518" fmla="*/ 1104791 h 4687251"/>
              <a:gd name="connsiteX49519" fmla="*/ 2920291 w 8079933"/>
              <a:gd name="connsiteY49519" fmla="*/ 1103384 h 4687251"/>
              <a:gd name="connsiteX49520" fmla="*/ 2923873 w 8079933"/>
              <a:gd name="connsiteY49520" fmla="*/ 1100570 h 4687251"/>
              <a:gd name="connsiteX49521" fmla="*/ 2927019 w 8079933"/>
              <a:gd name="connsiteY49521" fmla="*/ 1100570 h 4687251"/>
              <a:gd name="connsiteX49522" fmla="*/ 2928105 w 8079933"/>
              <a:gd name="connsiteY49522" fmla="*/ 1097862 h 4687251"/>
              <a:gd name="connsiteX49523" fmla="*/ 2927128 w 8079933"/>
              <a:gd name="connsiteY49523" fmla="*/ 1096671 h 4687251"/>
              <a:gd name="connsiteX49524" fmla="*/ 2923873 w 8079933"/>
              <a:gd name="connsiteY49524" fmla="*/ 1096671 h 4687251"/>
              <a:gd name="connsiteX49525" fmla="*/ 2919423 w 8079933"/>
              <a:gd name="connsiteY49525" fmla="*/ 1099487 h 4687251"/>
              <a:gd name="connsiteX49526" fmla="*/ 2916276 w 8079933"/>
              <a:gd name="connsiteY49526" fmla="*/ 1101760 h 4687251"/>
              <a:gd name="connsiteX49527" fmla="*/ 2914323 w 8079933"/>
              <a:gd name="connsiteY49527" fmla="*/ 1101760 h 4687251"/>
              <a:gd name="connsiteX49528" fmla="*/ 2911285 w 8079933"/>
              <a:gd name="connsiteY49528" fmla="*/ 1098513 h 4687251"/>
              <a:gd name="connsiteX49529" fmla="*/ 2909440 w 8079933"/>
              <a:gd name="connsiteY49529" fmla="*/ 1098513 h 4687251"/>
              <a:gd name="connsiteX49530" fmla="*/ 2907487 w 8079933"/>
              <a:gd name="connsiteY49530" fmla="*/ 1100786 h 4687251"/>
              <a:gd name="connsiteX49531" fmla="*/ 2904556 w 8079933"/>
              <a:gd name="connsiteY49531" fmla="*/ 1102951 h 4687251"/>
              <a:gd name="connsiteX49532" fmla="*/ 2904556 w 8079933"/>
              <a:gd name="connsiteY49532" fmla="*/ 1101003 h 4687251"/>
              <a:gd name="connsiteX49533" fmla="*/ 2902061 w 8079933"/>
              <a:gd name="connsiteY49533" fmla="*/ 1100352 h 4687251"/>
              <a:gd name="connsiteX49534" fmla="*/ 2899999 w 8079933"/>
              <a:gd name="connsiteY49534" fmla="*/ 1101219 h 4687251"/>
              <a:gd name="connsiteX49535" fmla="*/ 2896743 w 8079933"/>
              <a:gd name="connsiteY49535" fmla="*/ 1101219 h 4687251"/>
              <a:gd name="connsiteX49536" fmla="*/ 2897828 w 8079933"/>
              <a:gd name="connsiteY49536" fmla="*/ 1099595 h 4687251"/>
              <a:gd name="connsiteX49537" fmla="*/ 2900649 w 8079933"/>
              <a:gd name="connsiteY49537" fmla="*/ 1098729 h 4687251"/>
              <a:gd name="connsiteX49538" fmla="*/ 2907161 w 8079933"/>
              <a:gd name="connsiteY49538" fmla="*/ 1096455 h 4687251"/>
              <a:gd name="connsiteX49539" fmla="*/ 2913672 w 8079933"/>
              <a:gd name="connsiteY49539" fmla="*/ 1092449 h 4687251"/>
              <a:gd name="connsiteX49540" fmla="*/ 2917036 w 8079933"/>
              <a:gd name="connsiteY49540" fmla="*/ 1091150 h 4687251"/>
              <a:gd name="connsiteX49541" fmla="*/ 2923873 w 8079933"/>
              <a:gd name="connsiteY49541" fmla="*/ 1089850 h 4687251"/>
              <a:gd name="connsiteX49542" fmla="*/ 2927454 w 8079933"/>
              <a:gd name="connsiteY49542" fmla="*/ 1085520 h 4687251"/>
              <a:gd name="connsiteX49543" fmla="*/ 2935158 w 8079933"/>
              <a:gd name="connsiteY49543" fmla="*/ 1077183 h 4687251"/>
              <a:gd name="connsiteX49544" fmla="*/ 2942646 w 8079933"/>
              <a:gd name="connsiteY49544" fmla="*/ 1073502 h 4687251"/>
              <a:gd name="connsiteX49545" fmla="*/ 2948723 w 8079933"/>
              <a:gd name="connsiteY49545" fmla="*/ 1071336 h 4687251"/>
              <a:gd name="connsiteX49546" fmla="*/ 2952086 w 8079933"/>
              <a:gd name="connsiteY49546" fmla="*/ 1071336 h 4687251"/>
              <a:gd name="connsiteX49547" fmla="*/ 2954040 w 8079933"/>
              <a:gd name="connsiteY49547" fmla="*/ 1069821 h 4687251"/>
              <a:gd name="connsiteX49548" fmla="*/ 2954040 w 8079933"/>
              <a:gd name="connsiteY49548" fmla="*/ 1068088 h 4687251"/>
              <a:gd name="connsiteX49549" fmla="*/ 2950785 w 8079933"/>
              <a:gd name="connsiteY49549" fmla="*/ 1067005 h 4687251"/>
              <a:gd name="connsiteX49550" fmla="*/ 2945142 w 8079933"/>
              <a:gd name="connsiteY49550" fmla="*/ 1068630 h 4687251"/>
              <a:gd name="connsiteX49551" fmla="*/ 2933096 w 8079933"/>
              <a:gd name="connsiteY49551" fmla="*/ 1074368 h 4687251"/>
              <a:gd name="connsiteX49552" fmla="*/ 2927779 w 8079933"/>
              <a:gd name="connsiteY49552" fmla="*/ 1079781 h 4687251"/>
              <a:gd name="connsiteX49553" fmla="*/ 2924089 w 8079933"/>
              <a:gd name="connsiteY49553" fmla="*/ 1085303 h 4687251"/>
              <a:gd name="connsiteX49554" fmla="*/ 2919640 w 8079933"/>
              <a:gd name="connsiteY49554" fmla="*/ 1087469 h 4687251"/>
              <a:gd name="connsiteX49555" fmla="*/ 2911719 w 8079933"/>
              <a:gd name="connsiteY49555" fmla="*/ 1089309 h 4687251"/>
              <a:gd name="connsiteX49556" fmla="*/ 2909223 w 8079933"/>
              <a:gd name="connsiteY49556" fmla="*/ 1090933 h 4687251"/>
              <a:gd name="connsiteX49557" fmla="*/ 2899890 w 8079933"/>
              <a:gd name="connsiteY49557" fmla="*/ 1094939 h 4687251"/>
              <a:gd name="connsiteX49558" fmla="*/ 2896526 w 8079933"/>
              <a:gd name="connsiteY49558" fmla="*/ 1094939 h 4687251"/>
              <a:gd name="connsiteX49559" fmla="*/ 2895767 w 8079933"/>
              <a:gd name="connsiteY49559" fmla="*/ 1092774 h 4687251"/>
              <a:gd name="connsiteX49560" fmla="*/ 2897178 w 8079933"/>
              <a:gd name="connsiteY49560" fmla="*/ 1090824 h 4687251"/>
              <a:gd name="connsiteX49561" fmla="*/ 2897178 w 8079933"/>
              <a:gd name="connsiteY49561" fmla="*/ 1082597 h 4687251"/>
              <a:gd name="connsiteX49562" fmla="*/ 2899781 w 8079933"/>
              <a:gd name="connsiteY49562" fmla="*/ 1079456 h 4687251"/>
              <a:gd name="connsiteX49563" fmla="*/ 2902169 w 8079933"/>
              <a:gd name="connsiteY49563" fmla="*/ 1079456 h 4687251"/>
              <a:gd name="connsiteX49564" fmla="*/ 2905859 w 8079933"/>
              <a:gd name="connsiteY49564" fmla="*/ 1081838 h 4687251"/>
              <a:gd name="connsiteX49565" fmla="*/ 2908572 w 8079933"/>
              <a:gd name="connsiteY49565" fmla="*/ 1080972 h 4687251"/>
              <a:gd name="connsiteX49566" fmla="*/ 2913889 w 8079933"/>
              <a:gd name="connsiteY49566" fmla="*/ 1080972 h 4687251"/>
              <a:gd name="connsiteX49567" fmla="*/ 2918121 w 8079933"/>
              <a:gd name="connsiteY49567" fmla="*/ 1080972 h 4687251"/>
              <a:gd name="connsiteX49568" fmla="*/ 2916928 w 8079933"/>
              <a:gd name="connsiteY49568" fmla="*/ 1079240 h 4687251"/>
              <a:gd name="connsiteX49569" fmla="*/ 2913780 w 8079933"/>
              <a:gd name="connsiteY49569" fmla="*/ 1077291 h 4687251"/>
              <a:gd name="connsiteX49570" fmla="*/ 2909657 w 8079933"/>
              <a:gd name="connsiteY49570" fmla="*/ 1077291 h 4687251"/>
              <a:gd name="connsiteX49571" fmla="*/ 2906944 w 8079933"/>
              <a:gd name="connsiteY49571" fmla="*/ 1078807 h 4687251"/>
              <a:gd name="connsiteX49572" fmla="*/ 2904231 w 8079933"/>
              <a:gd name="connsiteY49572" fmla="*/ 1078266 h 4687251"/>
              <a:gd name="connsiteX49573" fmla="*/ 2902929 w 8079933"/>
              <a:gd name="connsiteY49573" fmla="*/ 1075017 h 4687251"/>
              <a:gd name="connsiteX49574" fmla="*/ 2902929 w 8079933"/>
              <a:gd name="connsiteY49574" fmla="*/ 1072852 h 4687251"/>
              <a:gd name="connsiteX49575" fmla="*/ 2907161 w 8079933"/>
              <a:gd name="connsiteY49575" fmla="*/ 1072202 h 4687251"/>
              <a:gd name="connsiteX49576" fmla="*/ 2911285 w 8079933"/>
              <a:gd name="connsiteY49576" fmla="*/ 1074693 h 4687251"/>
              <a:gd name="connsiteX49577" fmla="*/ 2914865 w 8079933"/>
              <a:gd name="connsiteY49577" fmla="*/ 1074693 h 4687251"/>
              <a:gd name="connsiteX49578" fmla="*/ 2919423 w 8079933"/>
              <a:gd name="connsiteY49578" fmla="*/ 1072852 h 4687251"/>
              <a:gd name="connsiteX49579" fmla="*/ 2918772 w 8079933"/>
              <a:gd name="connsiteY49579" fmla="*/ 1071444 h 4687251"/>
              <a:gd name="connsiteX49580" fmla="*/ 2915625 w 8079933"/>
              <a:gd name="connsiteY49580" fmla="*/ 1070362 h 4687251"/>
              <a:gd name="connsiteX49581" fmla="*/ 2913997 w 8079933"/>
              <a:gd name="connsiteY49581" fmla="*/ 1070362 h 4687251"/>
              <a:gd name="connsiteX49582" fmla="*/ 2912695 w 8079933"/>
              <a:gd name="connsiteY49582" fmla="*/ 1069387 h 4687251"/>
              <a:gd name="connsiteX49583" fmla="*/ 2912695 w 8079933"/>
              <a:gd name="connsiteY49583" fmla="*/ 1067114 h 4687251"/>
              <a:gd name="connsiteX49584" fmla="*/ 2916710 w 8079933"/>
              <a:gd name="connsiteY49584" fmla="*/ 1065922 h 4687251"/>
              <a:gd name="connsiteX49585" fmla="*/ 2918121 w 8079933"/>
              <a:gd name="connsiteY49585" fmla="*/ 1066789 h 4687251"/>
              <a:gd name="connsiteX49586" fmla="*/ 2919640 w 8079933"/>
              <a:gd name="connsiteY49586" fmla="*/ 1065814 h 4687251"/>
              <a:gd name="connsiteX49587" fmla="*/ 2923221 w 8079933"/>
              <a:gd name="connsiteY49587" fmla="*/ 1067222 h 4687251"/>
              <a:gd name="connsiteX49588" fmla="*/ 2925066 w 8079933"/>
              <a:gd name="connsiteY49588" fmla="*/ 1066139 h 4687251"/>
              <a:gd name="connsiteX49589" fmla="*/ 2924307 w 8079933"/>
              <a:gd name="connsiteY49589" fmla="*/ 1062999 h 4687251"/>
              <a:gd name="connsiteX49590" fmla="*/ 2924307 w 8079933"/>
              <a:gd name="connsiteY49590" fmla="*/ 1060185 h 4687251"/>
              <a:gd name="connsiteX49591" fmla="*/ 2923547 w 8079933"/>
              <a:gd name="connsiteY49591" fmla="*/ 1059318 h 4687251"/>
              <a:gd name="connsiteX49592" fmla="*/ 2920834 w 8079933"/>
              <a:gd name="connsiteY49592" fmla="*/ 1059318 h 4687251"/>
              <a:gd name="connsiteX49593" fmla="*/ 2919206 w 8079933"/>
              <a:gd name="connsiteY49593" fmla="*/ 1060834 h 4687251"/>
              <a:gd name="connsiteX49594" fmla="*/ 2915625 w 8079933"/>
              <a:gd name="connsiteY49594" fmla="*/ 1060834 h 4687251"/>
              <a:gd name="connsiteX49595" fmla="*/ 2904774 w 8079933"/>
              <a:gd name="connsiteY49595" fmla="*/ 1057586 h 4687251"/>
              <a:gd name="connsiteX49596" fmla="*/ 2900324 w 8079933"/>
              <a:gd name="connsiteY49596" fmla="*/ 1057586 h 4687251"/>
              <a:gd name="connsiteX49597" fmla="*/ 2898046 w 8079933"/>
              <a:gd name="connsiteY49597" fmla="*/ 1055637 h 4687251"/>
              <a:gd name="connsiteX49598" fmla="*/ 2898046 w 8079933"/>
              <a:gd name="connsiteY49598" fmla="*/ 1054121 h 4687251"/>
              <a:gd name="connsiteX49599" fmla="*/ 2902603 w 8079933"/>
              <a:gd name="connsiteY49599" fmla="*/ 1054121 h 4687251"/>
              <a:gd name="connsiteX49600" fmla="*/ 2905642 w 8079933"/>
              <a:gd name="connsiteY49600" fmla="*/ 1055096 h 4687251"/>
              <a:gd name="connsiteX49601" fmla="*/ 2907487 w 8079933"/>
              <a:gd name="connsiteY49601" fmla="*/ 1054013 h 4687251"/>
              <a:gd name="connsiteX49602" fmla="*/ 2906184 w 8079933"/>
              <a:gd name="connsiteY49602" fmla="*/ 1052930 h 4687251"/>
              <a:gd name="connsiteX49603" fmla="*/ 2902386 w 8079933"/>
              <a:gd name="connsiteY49603" fmla="*/ 1052930 h 4687251"/>
              <a:gd name="connsiteX49604" fmla="*/ 2900867 w 8079933"/>
              <a:gd name="connsiteY49604" fmla="*/ 1051414 h 4687251"/>
              <a:gd name="connsiteX49605" fmla="*/ 2900867 w 8079933"/>
              <a:gd name="connsiteY49605" fmla="*/ 1049141 h 4687251"/>
              <a:gd name="connsiteX49606" fmla="*/ 2907378 w 8079933"/>
              <a:gd name="connsiteY49606" fmla="*/ 1049141 h 4687251"/>
              <a:gd name="connsiteX49607" fmla="*/ 2908789 w 8079933"/>
              <a:gd name="connsiteY49607" fmla="*/ 1047734 h 4687251"/>
              <a:gd name="connsiteX49608" fmla="*/ 2913455 w 8079933"/>
              <a:gd name="connsiteY49608" fmla="*/ 1047734 h 4687251"/>
              <a:gd name="connsiteX49609" fmla="*/ 2928864 w 8079933"/>
              <a:gd name="connsiteY49609" fmla="*/ 1048599 h 4687251"/>
              <a:gd name="connsiteX49610" fmla="*/ 2932012 w 8079933"/>
              <a:gd name="connsiteY49610" fmla="*/ 1047625 h 4687251"/>
              <a:gd name="connsiteX49611" fmla="*/ 2937654 w 8079933"/>
              <a:gd name="connsiteY49611" fmla="*/ 1048383 h 4687251"/>
              <a:gd name="connsiteX49612" fmla="*/ 2939933 w 8079933"/>
              <a:gd name="connsiteY49612" fmla="*/ 1047516 h 4687251"/>
              <a:gd name="connsiteX49613" fmla="*/ 2939933 w 8079933"/>
              <a:gd name="connsiteY49613" fmla="*/ 1045568 h 4687251"/>
              <a:gd name="connsiteX49614" fmla="*/ 2934181 w 8079933"/>
              <a:gd name="connsiteY49614" fmla="*/ 1043186 h 4687251"/>
              <a:gd name="connsiteX49615" fmla="*/ 2927237 w 8079933"/>
              <a:gd name="connsiteY49615" fmla="*/ 1043186 h 4687251"/>
              <a:gd name="connsiteX49616" fmla="*/ 2919098 w 8079933"/>
              <a:gd name="connsiteY49616" fmla="*/ 1045135 h 4687251"/>
              <a:gd name="connsiteX49617" fmla="*/ 2914540 w 8079933"/>
              <a:gd name="connsiteY49617" fmla="*/ 1045135 h 4687251"/>
              <a:gd name="connsiteX49618" fmla="*/ 2913563 w 8079933"/>
              <a:gd name="connsiteY49618" fmla="*/ 1044052 h 4687251"/>
              <a:gd name="connsiteX49619" fmla="*/ 2911067 w 8079933"/>
              <a:gd name="connsiteY49619" fmla="*/ 1043403 h 4687251"/>
              <a:gd name="connsiteX49620" fmla="*/ 2906293 w 8079933"/>
              <a:gd name="connsiteY49620" fmla="*/ 1044593 h 4687251"/>
              <a:gd name="connsiteX49621" fmla="*/ 2903146 w 8079933"/>
              <a:gd name="connsiteY49621" fmla="*/ 1046867 h 4687251"/>
              <a:gd name="connsiteX49622" fmla="*/ 2902061 w 8079933"/>
              <a:gd name="connsiteY49622" fmla="*/ 1046001 h 4687251"/>
              <a:gd name="connsiteX49623" fmla="*/ 2902061 w 8079933"/>
              <a:gd name="connsiteY49623" fmla="*/ 1042645 h 4687251"/>
              <a:gd name="connsiteX49624" fmla="*/ 2904556 w 8079933"/>
              <a:gd name="connsiteY49624" fmla="*/ 1038747 h 4687251"/>
              <a:gd name="connsiteX49625" fmla="*/ 2908572 w 8079933"/>
              <a:gd name="connsiteY49625" fmla="*/ 1036798 h 4687251"/>
              <a:gd name="connsiteX49626" fmla="*/ 2911719 w 8079933"/>
              <a:gd name="connsiteY49626" fmla="*/ 1034632 h 4687251"/>
              <a:gd name="connsiteX49627" fmla="*/ 2916168 w 8079933"/>
              <a:gd name="connsiteY49627" fmla="*/ 1032575 h 4687251"/>
              <a:gd name="connsiteX49628" fmla="*/ 2917904 w 8079933"/>
              <a:gd name="connsiteY49628" fmla="*/ 1028678 h 4687251"/>
              <a:gd name="connsiteX49629" fmla="*/ 2921919 w 8079933"/>
              <a:gd name="connsiteY49629" fmla="*/ 1025863 h 4687251"/>
              <a:gd name="connsiteX49630" fmla="*/ 2924307 w 8079933"/>
              <a:gd name="connsiteY49630" fmla="*/ 1025863 h 4687251"/>
              <a:gd name="connsiteX49631" fmla="*/ 2925500 w 8079933"/>
              <a:gd name="connsiteY49631" fmla="*/ 1027379 h 4687251"/>
              <a:gd name="connsiteX49632" fmla="*/ 2929515 w 8079933"/>
              <a:gd name="connsiteY49632" fmla="*/ 1027379 h 4687251"/>
              <a:gd name="connsiteX49633" fmla="*/ 2932337 w 8079933"/>
              <a:gd name="connsiteY49633" fmla="*/ 1026296 h 4687251"/>
              <a:gd name="connsiteX49634" fmla="*/ 2935050 w 8079933"/>
              <a:gd name="connsiteY49634" fmla="*/ 1026296 h 4687251"/>
              <a:gd name="connsiteX49635" fmla="*/ 2936243 w 8079933"/>
              <a:gd name="connsiteY49635" fmla="*/ 1027595 h 4687251"/>
              <a:gd name="connsiteX49636" fmla="*/ 2941235 w 8079933"/>
              <a:gd name="connsiteY49636" fmla="*/ 1029436 h 4687251"/>
              <a:gd name="connsiteX49637" fmla="*/ 2945576 w 8079933"/>
              <a:gd name="connsiteY49637" fmla="*/ 1033550 h 4687251"/>
              <a:gd name="connsiteX49638" fmla="*/ 2949917 w 8079933"/>
              <a:gd name="connsiteY49638" fmla="*/ 1033550 h 4687251"/>
              <a:gd name="connsiteX49639" fmla="*/ 2954691 w 8079933"/>
              <a:gd name="connsiteY49639" fmla="*/ 1035390 h 4687251"/>
              <a:gd name="connsiteX49640" fmla="*/ 2959574 w 8079933"/>
              <a:gd name="connsiteY49640" fmla="*/ 1040479 h 4687251"/>
              <a:gd name="connsiteX49641" fmla="*/ 2964457 w 8079933"/>
              <a:gd name="connsiteY49641" fmla="*/ 1043186 h 4687251"/>
              <a:gd name="connsiteX49642" fmla="*/ 2970969 w 8079933"/>
              <a:gd name="connsiteY49642" fmla="*/ 1045351 h 4687251"/>
              <a:gd name="connsiteX49643" fmla="*/ 2973682 w 8079933"/>
              <a:gd name="connsiteY49643" fmla="*/ 1043835 h 4687251"/>
              <a:gd name="connsiteX49644" fmla="*/ 2975852 w 8079933"/>
              <a:gd name="connsiteY49644" fmla="*/ 1043835 h 4687251"/>
              <a:gd name="connsiteX49645" fmla="*/ 2976720 w 8079933"/>
              <a:gd name="connsiteY49645" fmla="*/ 1042645 h 4687251"/>
              <a:gd name="connsiteX49646" fmla="*/ 2975960 w 8079933"/>
              <a:gd name="connsiteY49646" fmla="*/ 1040371 h 4687251"/>
              <a:gd name="connsiteX49647" fmla="*/ 2971945 w 8079933"/>
              <a:gd name="connsiteY49647" fmla="*/ 1041237 h 4687251"/>
              <a:gd name="connsiteX49648" fmla="*/ 2970426 w 8079933"/>
              <a:gd name="connsiteY49648" fmla="*/ 1042753 h 4687251"/>
              <a:gd name="connsiteX49649" fmla="*/ 2967062 w 8079933"/>
              <a:gd name="connsiteY49649" fmla="*/ 1042103 h 4687251"/>
              <a:gd name="connsiteX49650" fmla="*/ 2961853 w 8079933"/>
              <a:gd name="connsiteY49650" fmla="*/ 1038639 h 4687251"/>
              <a:gd name="connsiteX49651" fmla="*/ 2957404 w 8079933"/>
              <a:gd name="connsiteY49651" fmla="*/ 1032251 h 4687251"/>
              <a:gd name="connsiteX49652" fmla="*/ 2957404 w 8079933"/>
              <a:gd name="connsiteY49652" fmla="*/ 1030410 h 4687251"/>
              <a:gd name="connsiteX49653" fmla="*/ 2959791 w 8079933"/>
              <a:gd name="connsiteY49653" fmla="*/ 1030410 h 4687251"/>
              <a:gd name="connsiteX49654" fmla="*/ 2966737 w 8079933"/>
              <a:gd name="connsiteY49654" fmla="*/ 1030410 h 4687251"/>
              <a:gd name="connsiteX49655" fmla="*/ 2972813 w 8079933"/>
              <a:gd name="connsiteY49655" fmla="*/ 1028028 h 4687251"/>
              <a:gd name="connsiteX49656" fmla="*/ 2974984 w 8079933"/>
              <a:gd name="connsiteY49656" fmla="*/ 1025646 h 4687251"/>
              <a:gd name="connsiteX49657" fmla="*/ 2973898 w 8079933"/>
              <a:gd name="connsiteY49657" fmla="*/ 1023373 h 4687251"/>
              <a:gd name="connsiteX49658" fmla="*/ 2968256 w 8079933"/>
              <a:gd name="connsiteY49658" fmla="*/ 1022073 h 4687251"/>
              <a:gd name="connsiteX49659" fmla="*/ 2965977 w 8079933"/>
              <a:gd name="connsiteY49659" fmla="*/ 1022723 h 4687251"/>
              <a:gd name="connsiteX49660" fmla="*/ 2965977 w 8079933"/>
              <a:gd name="connsiteY49660" fmla="*/ 1024563 h 4687251"/>
              <a:gd name="connsiteX49661" fmla="*/ 2967387 w 8079933"/>
              <a:gd name="connsiteY49661" fmla="*/ 1026296 h 4687251"/>
              <a:gd name="connsiteX49662" fmla="*/ 2966085 w 8079933"/>
              <a:gd name="connsiteY49662" fmla="*/ 1026945 h 4687251"/>
              <a:gd name="connsiteX49663" fmla="*/ 2960009 w 8079933"/>
              <a:gd name="connsiteY49663" fmla="*/ 1026945 h 4687251"/>
              <a:gd name="connsiteX49664" fmla="*/ 2957296 w 8079933"/>
              <a:gd name="connsiteY49664" fmla="*/ 1025213 h 4687251"/>
              <a:gd name="connsiteX49665" fmla="*/ 2956536 w 8079933"/>
              <a:gd name="connsiteY49665" fmla="*/ 1022073 h 4687251"/>
              <a:gd name="connsiteX49666" fmla="*/ 2959032 w 8079933"/>
              <a:gd name="connsiteY49666" fmla="*/ 1021099 h 4687251"/>
              <a:gd name="connsiteX49667" fmla="*/ 2961311 w 8079933"/>
              <a:gd name="connsiteY49667" fmla="*/ 1021099 h 4687251"/>
              <a:gd name="connsiteX49668" fmla="*/ 2962396 w 8079933"/>
              <a:gd name="connsiteY49668" fmla="*/ 1019258 h 4687251"/>
              <a:gd name="connsiteX49669" fmla="*/ 2960443 w 8079933"/>
              <a:gd name="connsiteY49669" fmla="*/ 1016659 h 4687251"/>
              <a:gd name="connsiteX49670" fmla="*/ 2957838 w 8079933"/>
              <a:gd name="connsiteY49670" fmla="*/ 1016659 h 4687251"/>
              <a:gd name="connsiteX49671" fmla="*/ 2956861 w 8079933"/>
              <a:gd name="connsiteY49671" fmla="*/ 1017634 h 4687251"/>
              <a:gd name="connsiteX49672" fmla="*/ 2954257 w 8079933"/>
              <a:gd name="connsiteY49672" fmla="*/ 1017634 h 4687251"/>
              <a:gd name="connsiteX49673" fmla="*/ 2952086 w 8079933"/>
              <a:gd name="connsiteY49673" fmla="*/ 1017634 h 4687251"/>
              <a:gd name="connsiteX49674" fmla="*/ 2952086 w 8079933"/>
              <a:gd name="connsiteY49674" fmla="*/ 1019474 h 4687251"/>
              <a:gd name="connsiteX49675" fmla="*/ 2953172 w 8079933"/>
              <a:gd name="connsiteY49675" fmla="*/ 1021965 h 4687251"/>
              <a:gd name="connsiteX49676" fmla="*/ 2953172 w 8079933"/>
              <a:gd name="connsiteY49676" fmla="*/ 1025105 h 4687251"/>
              <a:gd name="connsiteX49677" fmla="*/ 2950459 w 8079933"/>
              <a:gd name="connsiteY49677" fmla="*/ 1027920 h 4687251"/>
              <a:gd name="connsiteX49678" fmla="*/ 2946987 w 8079933"/>
              <a:gd name="connsiteY49678" fmla="*/ 1029869 h 4687251"/>
              <a:gd name="connsiteX49679" fmla="*/ 2944599 w 8079933"/>
              <a:gd name="connsiteY49679" fmla="*/ 1028786 h 4687251"/>
              <a:gd name="connsiteX49680" fmla="*/ 2940041 w 8079933"/>
              <a:gd name="connsiteY49680" fmla="*/ 1023373 h 4687251"/>
              <a:gd name="connsiteX49681" fmla="*/ 2936569 w 8079933"/>
              <a:gd name="connsiteY49681" fmla="*/ 1023373 h 4687251"/>
              <a:gd name="connsiteX49682" fmla="*/ 2934181 w 8079933"/>
              <a:gd name="connsiteY49682" fmla="*/ 1021857 h 4687251"/>
              <a:gd name="connsiteX49683" fmla="*/ 2934181 w 8079933"/>
              <a:gd name="connsiteY49683" fmla="*/ 1019583 h 4687251"/>
              <a:gd name="connsiteX49684" fmla="*/ 2932662 w 8079933"/>
              <a:gd name="connsiteY49684" fmla="*/ 1019583 h 4687251"/>
              <a:gd name="connsiteX49685" fmla="*/ 2930817 w 8079933"/>
              <a:gd name="connsiteY49685" fmla="*/ 1021640 h 4687251"/>
              <a:gd name="connsiteX49686" fmla="*/ 2925066 w 8079933"/>
              <a:gd name="connsiteY49686" fmla="*/ 1022506 h 4687251"/>
              <a:gd name="connsiteX49687" fmla="*/ 2921485 w 8079933"/>
              <a:gd name="connsiteY49687" fmla="*/ 1022506 h 4687251"/>
              <a:gd name="connsiteX49688" fmla="*/ 2918338 w 8079933"/>
              <a:gd name="connsiteY49688" fmla="*/ 1024996 h 4687251"/>
              <a:gd name="connsiteX49689" fmla="*/ 2913889 w 8079933"/>
              <a:gd name="connsiteY49689" fmla="*/ 1029110 h 4687251"/>
              <a:gd name="connsiteX49690" fmla="*/ 2910634 w 8079933"/>
              <a:gd name="connsiteY49690" fmla="*/ 1030194 h 4687251"/>
              <a:gd name="connsiteX49691" fmla="*/ 2909006 w 8079933"/>
              <a:gd name="connsiteY49691" fmla="*/ 1029219 h 4687251"/>
              <a:gd name="connsiteX49692" fmla="*/ 2909006 w 8079933"/>
              <a:gd name="connsiteY49692" fmla="*/ 1027270 h 4687251"/>
              <a:gd name="connsiteX49693" fmla="*/ 2914215 w 8079933"/>
              <a:gd name="connsiteY49693" fmla="*/ 1020882 h 4687251"/>
              <a:gd name="connsiteX49694" fmla="*/ 2916385 w 8079933"/>
              <a:gd name="connsiteY49694" fmla="*/ 1020124 h 4687251"/>
              <a:gd name="connsiteX49695" fmla="*/ 2918013 w 8079933"/>
              <a:gd name="connsiteY49695" fmla="*/ 1018284 h 4687251"/>
              <a:gd name="connsiteX49696" fmla="*/ 2918013 w 8079933"/>
              <a:gd name="connsiteY49696" fmla="*/ 1016443 h 4687251"/>
              <a:gd name="connsiteX49697" fmla="*/ 2919423 w 8079933"/>
              <a:gd name="connsiteY49697" fmla="*/ 1016443 h 4687251"/>
              <a:gd name="connsiteX49698" fmla="*/ 2922027 w 8079933"/>
              <a:gd name="connsiteY49698" fmla="*/ 1014169 h 4687251"/>
              <a:gd name="connsiteX49699" fmla="*/ 2922027 w 8079933"/>
              <a:gd name="connsiteY49699" fmla="*/ 1013195 h 4687251"/>
              <a:gd name="connsiteX49700" fmla="*/ 2923547 w 8079933"/>
              <a:gd name="connsiteY49700" fmla="*/ 1010380 h 4687251"/>
              <a:gd name="connsiteX49701" fmla="*/ 2925392 w 8079933"/>
              <a:gd name="connsiteY49701" fmla="*/ 1010380 h 4687251"/>
              <a:gd name="connsiteX49702" fmla="*/ 2928973 w 8079933"/>
              <a:gd name="connsiteY49702" fmla="*/ 1013086 h 4687251"/>
              <a:gd name="connsiteX49703" fmla="*/ 2933530 w 8079933"/>
              <a:gd name="connsiteY49703" fmla="*/ 1015035 h 4687251"/>
              <a:gd name="connsiteX49704" fmla="*/ 2940258 w 8079933"/>
              <a:gd name="connsiteY49704" fmla="*/ 1015035 h 4687251"/>
              <a:gd name="connsiteX49705" fmla="*/ 2939607 w 8079933"/>
              <a:gd name="connsiteY49705" fmla="*/ 1013412 h 4687251"/>
              <a:gd name="connsiteX49706" fmla="*/ 2936569 w 8079933"/>
              <a:gd name="connsiteY49706" fmla="*/ 1012653 h 4687251"/>
              <a:gd name="connsiteX49707" fmla="*/ 2934290 w 8079933"/>
              <a:gd name="connsiteY49707" fmla="*/ 1012653 h 4687251"/>
              <a:gd name="connsiteX49708" fmla="*/ 2931685 w 8079933"/>
              <a:gd name="connsiteY49708" fmla="*/ 1010705 h 4687251"/>
              <a:gd name="connsiteX49709" fmla="*/ 2925717 w 8079933"/>
              <a:gd name="connsiteY49709" fmla="*/ 1005400 h 4687251"/>
              <a:gd name="connsiteX49710" fmla="*/ 2924741 w 8079933"/>
              <a:gd name="connsiteY49710" fmla="*/ 1001935 h 4687251"/>
              <a:gd name="connsiteX49711" fmla="*/ 2922027 w 8079933"/>
              <a:gd name="connsiteY49711" fmla="*/ 1000744 h 4687251"/>
              <a:gd name="connsiteX49712" fmla="*/ 2921376 w 8079933"/>
              <a:gd name="connsiteY49712" fmla="*/ 998795 h 4687251"/>
              <a:gd name="connsiteX49713" fmla="*/ 2923330 w 8079933"/>
              <a:gd name="connsiteY49713" fmla="*/ 997821 h 4687251"/>
              <a:gd name="connsiteX49714" fmla="*/ 2928647 w 8079933"/>
              <a:gd name="connsiteY49714" fmla="*/ 999445 h 4687251"/>
              <a:gd name="connsiteX49715" fmla="*/ 2932988 w 8079933"/>
              <a:gd name="connsiteY49715" fmla="*/ 1005291 h 4687251"/>
              <a:gd name="connsiteX49716" fmla="*/ 2937437 w 8079933"/>
              <a:gd name="connsiteY49716" fmla="*/ 1009189 h 4687251"/>
              <a:gd name="connsiteX49717" fmla="*/ 2938088 w 8079933"/>
              <a:gd name="connsiteY49717" fmla="*/ 1007998 h 4687251"/>
              <a:gd name="connsiteX49718" fmla="*/ 2936569 w 8079933"/>
              <a:gd name="connsiteY49718" fmla="*/ 1004966 h 4687251"/>
              <a:gd name="connsiteX49719" fmla="*/ 2935483 w 8079933"/>
              <a:gd name="connsiteY49719" fmla="*/ 1000960 h 4687251"/>
              <a:gd name="connsiteX49720" fmla="*/ 2936894 w 8079933"/>
              <a:gd name="connsiteY49720" fmla="*/ 1000960 h 4687251"/>
              <a:gd name="connsiteX49721" fmla="*/ 2939390 w 8079933"/>
              <a:gd name="connsiteY49721" fmla="*/ 1003884 h 4687251"/>
              <a:gd name="connsiteX49722" fmla="*/ 2940584 w 8079933"/>
              <a:gd name="connsiteY49722" fmla="*/ 1006807 h 4687251"/>
              <a:gd name="connsiteX49723" fmla="*/ 2948832 w 8079933"/>
              <a:gd name="connsiteY49723" fmla="*/ 1011679 h 4687251"/>
              <a:gd name="connsiteX49724" fmla="*/ 2951978 w 8079933"/>
              <a:gd name="connsiteY49724" fmla="*/ 1011029 h 4687251"/>
              <a:gd name="connsiteX49725" fmla="*/ 2953823 w 8079933"/>
              <a:gd name="connsiteY49725" fmla="*/ 1009947 h 4687251"/>
              <a:gd name="connsiteX49726" fmla="*/ 2958272 w 8079933"/>
              <a:gd name="connsiteY49726" fmla="*/ 1009947 h 4687251"/>
              <a:gd name="connsiteX49727" fmla="*/ 2960443 w 8079933"/>
              <a:gd name="connsiteY49727" fmla="*/ 1012112 h 4687251"/>
              <a:gd name="connsiteX49728" fmla="*/ 2965325 w 8079933"/>
              <a:gd name="connsiteY49728" fmla="*/ 1015143 h 4687251"/>
              <a:gd name="connsiteX49729" fmla="*/ 2969341 w 8079933"/>
              <a:gd name="connsiteY49729" fmla="*/ 1016985 h 4687251"/>
              <a:gd name="connsiteX49730" fmla="*/ 2970100 w 8079933"/>
              <a:gd name="connsiteY49730" fmla="*/ 1018067 h 4687251"/>
              <a:gd name="connsiteX49731" fmla="*/ 2973464 w 8079933"/>
              <a:gd name="connsiteY49731" fmla="*/ 1018067 h 4687251"/>
              <a:gd name="connsiteX49732" fmla="*/ 2973464 w 8079933"/>
              <a:gd name="connsiteY49732" fmla="*/ 1016551 h 4687251"/>
              <a:gd name="connsiteX49733" fmla="*/ 2969558 w 8079933"/>
              <a:gd name="connsiteY49733" fmla="*/ 1012870 h 4687251"/>
              <a:gd name="connsiteX49734" fmla="*/ 2960009 w 8079933"/>
              <a:gd name="connsiteY49734" fmla="*/ 1005183 h 4687251"/>
              <a:gd name="connsiteX49735" fmla="*/ 2959032 w 8079933"/>
              <a:gd name="connsiteY49735" fmla="*/ 1003018 h 4687251"/>
              <a:gd name="connsiteX49736" fmla="*/ 2959032 w 8079933"/>
              <a:gd name="connsiteY49736" fmla="*/ 1001285 h 4687251"/>
              <a:gd name="connsiteX49737" fmla="*/ 2964566 w 8079933"/>
              <a:gd name="connsiteY49737" fmla="*/ 999337 h 4687251"/>
              <a:gd name="connsiteX49738" fmla="*/ 2964566 w 8079933"/>
              <a:gd name="connsiteY49738" fmla="*/ 996629 h 4687251"/>
              <a:gd name="connsiteX49739" fmla="*/ 2966085 w 8079933"/>
              <a:gd name="connsiteY49739" fmla="*/ 993490 h 4687251"/>
              <a:gd name="connsiteX49740" fmla="*/ 2967930 w 8079933"/>
              <a:gd name="connsiteY49740" fmla="*/ 992515 h 4687251"/>
              <a:gd name="connsiteX49741" fmla="*/ 2967930 w 8079933"/>
              <a:gd name="connsiteY49741" fmla="*/ 990241 h 4687251"/>
              <a:gd name="connsiteX49742" fmla="*/ 2964783 w 8079933"/>
              <a:gd name="connsiteY49742" fmla="*/ 990241 h 4687251"/>
              <a:gd name="connsiteX49743" fmla="*/ 2961744 w 8079933"/>
              <a:gd name="connsiteY49743" fmla="*/ 991433 h 4687251"/>
              <a:gd name="connsiteX49744" fmla="*/ 2956102 w 8079933"/>
              <a:gd name="connsiteY49744" fmla="*/ 991433 h 4687251"/>
              <a:gd name="connsiteX49745" fmla="*/ 2954474 w 8079933"/>
              <a:gd name="connsiteY49745" fmla="*/ 993273 h 4687251"/>
              <a:gd name="connsiteX49746" fmla="*/ 2955559 w 8079933"/>
              <a:gd name="connsiteY49746" fmla="*/ 994681 h 4687251"/>
              <a:gd name="connsiteX49747" fmla="*/ 2959032 w 8079933"/>
              <a:gd name="connsiteY49747" fmla="*/ 997388 h 4687251"/>
              <a:gd name="connsiteX49748" fmla="*/ 2957512 w 8079933"/>
              <a:gd name="connsiteY49748" fmla="*/ 998903 h 4687251"/>
              <a:gd name="connsiteX49749" fmla="*/ 2952086 w 8079933"/>
              <a:gd name="connsiteY49749" fmla="*/ 998903 h 4687251"/>
              <a:gd name="connsiteX49750" fmla="*/ 2950242 w 8079933"/>
              <a:gd name="connsiteY49750" fmla="*/ 999661 h 4687251"/>
              <a:gd name="connsiteX49751" fmla="*/ 2946660 w 8079933"/>
              <a:gd name="connsiteY49751" fmla="*/ 998795 h 4687251"/>
              <a:gd name="connsiteX49752" fmla="*/ 2942429 w 8079933"/>
              <a:gd name="connsiteY49752" fmla="*/ 999986 h 4687251"/>
              <a:gd name="connsiteX49753" fmla="*/ 2940258 w 8079933"/>
              <a:gd name="connsiteY49753" fmla="*/ 996955 h 4687251"/>
              <a:gd name="connsiteX49754" fmla="*/ 2936678 w 8079933"/>
              <a:gd name="connsiteY49754" fmla="*/ 995439 h 4687251"/>
              <a:gd name="connsiteX49755" fmla="*/ 2935809 w 8079933"/>
              <a:gd name="connsiteY49755" fmla="*/ 993490 h 4687251"/>
              <a:gd name="connsiteX49756" fmla="*/ 2938196 w 8079933"/>
              <a:gd name="connsiteY49756" fmla="*/ 991974 h 4687251"/>
              <a:gd name="connsiteX49757" fmla="*/ 2940041 w 8079933"/>
              <a:gd name="connsiteY49757" fmla="*/ 990133 h 4687251"/>
              <a:gd name="connsiteX49758" fmla="*/ 2937871 w 8079933"/>
              <a:gd name="connsiteY49758" fmla="*/ 990133 h 4687251"/>
              <a:gd name="connsiteX49759" fmla="*/ 2933313 w 8079933"/>
              <a:gd name="connsiteY49759" fmla="*/ 991108 h 4687251"/>
              <a:gd name="connsiteX49760" fmla="*/ 2932337 w 8079933"/>
              <a:gd name="connsiteY49760" fmla="*/ 990133 h 4687251"/>
              <a:gd name="connsiteX49761" fmla="*/ 2938088 w 8079933"/>
              <a:gd name="connsiteY49761" fmla="*/ 988618 h 4687251"/>
              <a:gd name="connsiteX49762" fmla="*/ 2944382 w 8079933"/>
              <a:gd name="connsiteY49762" fmla="*/ 985802 h 4687251"/>
              <a:gd name="connsiteX49763" fmla="*/ 2947095 w 8079933"/>
              <a:gd name="connsiteY49763" fmla="*/ 984286 h 4687251"/>
              <a:gd name="connsiteX49764" fmla="*/ 2952412 w 8079933"/>
              <a:gd name="connsiteY49764" fmla="*/ 984286 h 4687251"/>
              <a:gd name="connsiteX49765" fmla="*/ 2953931 w 8079933"/>
              <a:gd name="connsiteY49765" fmla="*/ 985478 h 4687251"/>
              <a:gd name="connsiteX49766" fmla="*/ 2957946 w 8079933"/>
              <a:gd name="connsiteY49766" fmla="*/ 984828 h 4687251"/>
              <a:gd name="connsiteX49767" fmla="*/ 2962071 w 8079933"/>
              <a:gd name="connsiteY49767" fmla="*/ 984828 h 4687251"/>
              <a:gd name="connsiteX49768" fmla="*/ 2967279 w 8079933"/>
              <a:gd name="connsiteY49768" fmla="*/ 985478 h 4687251"/>
              <a:gd name="connsiteX49769" fmla="*/ 2967279 w 8079933"/>
              <a:gd name="connsiteY49769" fmla="*/ 982988 h 4687251"/>
              <a:gd name="connsiteX49770" fmla="*/ 2969667 w 8079933"/>
              <a:gd name="connsiteY49770" fmla="*/ 981796 h 4687251"/>
              <a:gd name="connsiteX49771" fmla="*/ 2971403 w 8079933"/>
              <a:gd name="connsiteY49771" fmla="*/ 979848 h 4687251"/>
              <a:gd name="connsiteX49772" fmla="*/ 2974441 w 8079933"/>
              <a:gd name="connsiteY49772" fmla="*/ 977899 h 4687251"/>
              <a:gd name="connsiteX49773" fmla="*/ 2975743 w 8079933"/>
              <a:gd name="connsiteY49773" fmla="*/ 975517 h 4687251"/>
              <a:gd name="connsiteX49774" fmla="*/ 2974658 w 8079933"/>
              <a:gd name="connsiteY49774" fmla="*/ 975517 h 4687251"/>
              <a:gd name="connsiteX49775" fmla="*/ 2971077 w 8079933"/>
              <a:gd name="connsiteY49775" fmla="*/ 978115 h 4687251"/>
              <a:gd name="connsiteX49776" fmla="*/ 2969015 w 8079933"/>
              <a:gd name="connsiteY49776" fmla="*/ 978115 h 4687251"/>
              <a:gd name="connsiteX49777" fmla="*/ 2967930 w 8079933"/>
              <a:gd name="connsiteY49777" fmla="*/ 976166 h 4687251"/>
              <a:gd name="connsiteX49778" fmla="*/ 2970209 w 8079933"/>
              <a:gd name="connsiteY49778" fmla="*/ 972485 h 4687251"/>
              <a:gd name="connsiteX49779" fmla="*/ 2972922 w 8079933"/>
              <a:gd name="connsiteY49779" fmla="*/ 963607 h 4687251"/>
              <a:gd name="connsiteX49780" fmla="*/ 2972922 w 8079933"/>
              <a:gd name="connsiteY49780" fmla="*/ 959384 h 4687251"/>
              <a:gd name="connsiteX49781" fmla="*/ 2974767 w 8079933"/>
              <a:gd name="connsiteY49781" fmla="*/ 958518 h 4687251"/>
              <a:gd name="connsiteX49782" fmla="*/ 2976286 w 8079933"/>
              <a:gd name="connsiteY49782" fmla="*/ 959601 h 4687251"/>
              <a:gd name="connsiteX49783" fmla="*/ 2978564 w 8079933"/>
              <a:gd name="connsiteY49783" fmla="*/ 963932 h 4687251"/>
              <a:gd name="connsiteX49784" fmla="*/ 2977588 w 8079933"/>
              <a:gd name="connsiteY49784" fmla="*/ 965339 h 4687251"/>
              <a:gd name="connsiteX49785" fmla="*/ 2977588 w 8079933"/>
              <a:gd name="connsiteY49785" fmla="*/ 967505 h 4687251"/>
              <a:gd name="connsiteX49786" fmla="*/ 2981495 w 8079933"/>
              <a:gd name="connsiteY49786" fmla="*/ 968263 h 4687251"/>
              <a:gd name="connsiteX49787" fmla="*/ 2984534 w 8079933"/>
              <a:gd name="connsiteY49787" fmla="*/ 968263 h 4687251"/>
              <a:gd name="connsiteX49788" fmla="*/ 2986269 w 8079933"/>
              <a:gd name="connsiteY49788" fmla="*/ 970103 h 4687251"/>
              <a:gd name="connsiteX49789" fmla="*/ 2988982 w 8079933"/>
              <a:gd name="connsiteY49789" fmla="*/ 970103 h 4687251"/>
              <a:gd name="connsiteX49790" fmla="*/ 2989634 w 8079933"/>
              <a:gd name="connsiteY49790" fmla="*/ 969021 h 4687251"/>
              <a:gd name="connsiteX49791" fmla="*/ 2991587 w 8079933"/>
              <a:gd name="connsiteY49791" fmla="*/ 969778 h 4687251"/>
              <a:gd name="connsiteX49792" fmla="*/ 2993757 w 8079933"/>
              <a:gd name="connsiteY49792" fmla="*/ 969778 h 4687251"/>
              <a:gd name="connsiteX49793" fmla="*/ 2993757 w 8079933"/>
              <a:gd name="connsiteY49793" fmla="*/ 967180 h 4687251"/>
              <a:gd name="connsiteX49794" fmla="*/ 2991044 w 8079933"/>
              <a:gd name="connsiteY49794" fmla="*/ 965556 h 4687251"/>
              <a:gd name="connsiteX49795" fmla="*/ 2985184 w 8079933"/>
              <a:gd name="connsiteY49795" fmla="*/ 965556 h 4687251"/>
              <a:gd name="connsiteX49796" fmla="*/ 2985184 w 8079933"/>
              <a:gd name="connsiteY49796" fmla="*/ 964148 h 4687251"/>
              <a:gd name="connsiteX49797" fmla="*/ 2988874 w 8079933"/>
              <a:gd name="connsiteY49797" fmla="*/ 963499 h 4687251"/>
              <a:gd name="connsiteX49798" fmla="*/ 2993540 w 8079933"/>
              <a:gd name="connsiteY49798" fmla="*/ 962633 h 4687251"/>
              <a:gd name="connsiteX49799" fmla="*/ 2993540 w 8079933"/>
              <a:gd name="connsiteY49799" fmla="*/ 960792 h 4687251"/>
              <a:gd name="connsiteX49800" fmla="*/ 2991370 w 8079933"/>
              <a:gd name="connsiteY49800" fmla="*/ 959601 h 4687251"/>
              <a:gd name="connsiteX49801" fmla="*/ 2988982 w 8079933"/>
              <a:gd name="connsiteY49801" fmla="*/ 959601 h 4687251"/>
              <a:gd name="connsiteX49802" fmla="*/ 2987789 w 8079933"/>
              <a:gd name="connsiteY49802" fmla="*/ 957436 h 4687251"/>
              <a:gd name="connsiteX49803" fmla="*/ 2986269 w 8079933"/>
              <a:gd name="connsiteY49803" fmla="*/ 956678 h 4687251"/>
              <a:gd name="connsiteX49804" fmla="*/ 2984425 w 8079933"/>
              <a:gd name="connsiteY49804" fmla="*/ 957868 h 4687251"/>
              <a:gd name="connsiteX49805" fmla="*/ 2982254 w 8079933"/>
              <a:gd name="connsiteY49805" fmla="*/ 957868 h 4687251"/>
              <a:gd name="connsiteX49806" fmla="*/ 2978456 w 8079933"/>
              <a:gd name="connsiteY49806" fmla="*/ 957219 h 4687251"/>
              <a:gd name="connsiteX49807" fmla="*/ 2978456 w 8079933"/>
              <a:gd name="connsiteY49807" fmla="*/ 955162 h 4687251"/>
              <a:gd name="connsiteX49808" fmla="*/ 2980518 w 8079933"/>
              <a:gd name="connsiteY49808" fmla="*/ 952672 h 4687251"/>
              <a:gd name="connsiteX49809" fmla="*/ 2982689 w 8079933"/>
              <a:gd name="connsiteY49809" fmla="*/ 952672 h 4687251"/>
              <a:gd name="connsiteX49810" fmla="*/ 2986161 w 8079933"/>
              <a:gd name="connsiteY49810" fmla="*/ 947475 h 4687251"/>
              <a:gd name="connsiteX49811" fmla="*/ 2988657 w 8079933"/>
              <a:gd name="connsiteY49811" fmla="*/ 945526 h 4687251"/>
              <a:gd name="connsiteX49812" fmla="*/ 2989742 w 8079933"/>
              <a:gd name="connsiteY49812" fmla="*/ 946176 h 4687251"/>
              <a:gd name="connsiteX49813" fmla="*/ 2992455 w 8079933"/>
              <a:gd name="connsiteY49813" fmla="*/ 945526 h 4687251"/>
              <a:gd name="connsiteX49814" fmla="*/ 2995276 w 8079933"/>
              <a:gd name="connsiteY49814" fmla="*/ 945526 h 4687251"/>
              <a:gd name="connsiteX49815" fmla="*/ 2994625 w 8079933"/>
              <a:gd name="connsiteY49815" fmla="*/ 943360 h 4687251"/>
              <a:gd name="connsiteX49816" fmla="*/ 2991912 w 8079933"/>
              <a:gd name="connsiteY49816" fmla="*/ 942386 h 4687251"/>
              <a:gd name="connsiteX49817" fmla="*/ 2988006 w 8079933"/>
              <a:gd name="connsiteY49817" fmla="*/ 942386 h 4687251"/>
              <a:gd name="connsiteX49818" fmla="*/ 2986812 w 8079933"/>
              <a:gd name="connsiteY49818" fmla="*/ 940978 h 4687251"/>
              <a:gd name="connsiteX49819" fmla="*/ 2988332 w 8079933"/>
              <a:gd name="connsiteY49819" fmla="*/ 939246 h 4687251"/>
              <a:gd name="connsiteX49820" fmla="*/ 2992780 w 8079933"/>
              <a:gd name="connsiteY49820" fmla="*/ 937297 h 4687251"/>
              <a:gd name="connsiteX49821" fmla="*/ 2994842 w 8079933"/>
              <a:gd name="connsiteY49821" fmla="*/ 934807 h 4687251"/>
              <a:gd name="connsiteX49822" fmla="*/ 2998098 w 8079933"/>
              <a:gd name="connsiteY49822" fmla="*/ 933616 h 4687251"/>
              <a:gd name="connsiteX49823" fmla="*/ 2998098 w 8079933"/>
              <a:gd name="connsiteY49823" fmla="*/ 932101 h 4687251"/>
              <a:gd name="connsiteX49824" fmla="*/ 3001136 w 8079933"/>
              <a:gd name="connsiteY49824" fmla="*/ 930260 h 4687251"/>
              <a:gd name="connsiteX49825" fmla="*/ 2998858 w 8079933"/>
              <a:gd name="connsiteY49825" fmla="*/ 927553 h 4687251"/>
              <a:gd name="connsiteX49826" fmla="*/ 2996145 w 8079933"/>
              <a:gd name="connsiteY49826" fmla="*/ 927553 h 4687251"/>
              <a:gd name="connsiteX49827" fmla="*/ 2996145 w 8079933"/>
              <a:gd name="connsiteY49827" fmla="*/ 924413 h 4687251"/>
              <a:gd name="connsiteX49828" fmla="*/ 2999291 w 8079933"/>
              <a:gd name="connsiteY49828" fmla="*/ 923330 h 4687251"/>
              <a:gd name="connsiteX49829" fmla="*/ 3002439 w 8079933"/>
              <a:gd name="connsiteY49829" fmla="*/ 923330 h 4687251"/>
              <a:gd name="connsiteX49830" fmla="*/ 3002439 w 8079933"/>
              <a:gd name="connsiteY49830" fmla="*/ 920082 h 4687251"/>
              <a:gd name="connsiteX49831" fmla="*/ 3000051 w 8079933"/>
              <a:gd name="connsiteY49831" fmla="*/ 918999 h 4687251"/>
              <a:gd name="connsiteX49832" fmla="*/ 2995928 w 8079933"/>
              <a:gd name="connsiteY49832" fmla="*/ 918999 h 4687251"/>
              <a:gd name="connsiteX49833" fmla="*/ 2992129 w 8079933"/>
              <a:gd name="connsiteY49833" fmla="*/ 921923 h 4687251"/>
              <a:gd name="connsiteX49834" fmla="*/ 2988006 w 8079933"/>
              <a:gd name="connsiteY49834" fmla="*/ 921923 h 4687251"/>
              <a:gd name="connsiteX49835" fmla="*/ 2985402 w 8079933"/>
              <a:gd name="connsiteY49835" fmla="*/ 919216 h 4687251"/>
              <a:gd name="connsiteX49836" fmla="*/ 2982797 w 8079933"/>
              <a:gd name="connsiteY49836" fmla="*/ 920732 h 4687251"/>
              <a:gd name="connsiteX49837" fmla="*/ 2978999 w 8079933"/>
              <a:gd name="connsiteY49837" fmla="*/ 920732 h 4687251"/>
              <a:gd name="connsiteX49838" fmla="*/ 2976720 w 8079933"/>
              <a:gd name="connsiteY49838" fmla="*/ 918134 h 4687251"/>
              <a:gd name="connsiteX49839" fmla="*/ 2974441 w 8079933"/>
              <a:gd name="connsiteY49839" fmla="*/ 919216 h 4687251"/>
              <a:gd name="connsiteX49840" fmla="*/ 2970643 w 8079933"/>
              <a:gd name="connsiteY49840" fmla="*/ 918566 h 4687251"/>
              <a:gd name="connsiteX49841" fmla="*/ 2967713 w 8079933"/>
              <a:gd name="connsiteY49841" fmla="*/ 915102 h 4687251"/>
              <a:gd name="connsiteX49842" fmla="*/ 2963916 w 8079933"/>
              <a:gd name="connsiteY49842" fmla="*/ 915102 h 4687251"/>
              <a:gd name="connsiteX49843" fmla="*/ 2961203 w 8079933"/>
              <a:gd name="connsiteY49843" fmla="*/ 913586 h 4687251"/>
              <a:gd name="connsiteX49844" fmla="*/ 2961203 w 8079933"/>
              <a:gd name="connsiteY49844" fmla="*/ 911312 h 4687251"/>
              <a:gd name="connsiteX49845" fmla="*/ 2959466 w 8079933"/>
              <a:gd name="connsiteY49845" fmla="*/ 906873 h 4687251"/>
              <a:gd name="connsiteX49846" fmla="*/ 2954257 w 8079933"/>
              <a:gd name="connsiteY49846" fmla="*/ 903625 h 4687251"/>
              <a:gd name="connsiteX49847" fmla="*/ 2945793 w 8079933"/>
              <a:gd name="connsiteY49847" fmla="*/ 899836 h 4687251"/>
              <a:gd name="connsiteX49848" fmla="*/ 2939282 w 8079933"/>
              <a:gd name="connsiteY49848" fmla="*/ 897562 h 4687251"/>
              <a:gd name="connsiteX49849" fmla="*/ 2934833 w 8079933"/>
              <a:gd name="connsiteY49849" fmla="*/ 893123 h 4687251"/>
              <a:gd name="connsiteX49850" fmla="*/ 2934833 w 8079933"/>
              <a:gd name="connsiteY49850" fmla="*/ 890416 h 4687251"/>
              <a:gd name="connsiteX49851" fmla="*/ 2932880 w 8079933"/>
              <a:gd name="connsiteY49851" fmla="*/ 884894 h 4687251"/>
              <a:gd name="connsiteX49852" fmla="*/ 2930167 w 8079933"/>
              <a:gd name="connsiteY49852" fmla="*/ 881322 h 4687251"/>
              <a:gd name="connsiteX49853" fmla="*/ 2927887 w 8079933"/>
              <a:gd name="connsiteY49853" fmla="*/ 879373 h 4687251"/>
              <a:gd name="connsiteX49854" fmla="*/ 2927887 w 8079933"/>
              <a:gd name="connsiteY49854" fmla="*/ 876990 h 4687251"/>
              <a:gd name="connsiteX49855" fmla="*/ 2932988 w 8079933"/>
              <a:gd name="connsiteY49855" fmla="*/ 872659 h 4687251"/>
              <a:gd name="connsiteX49856" fmla="*/ 2937437 w 8079933"/>
              <a:gd name="connsiteY49856" fmla="*/ 872659 h 4687251"/>
              <a:gd name="connsiteX49857" fmla="*/ 2939607 w 8079933"/>
              <a:gd name="connsiteY49857" fmla="*/ 871577 h 4687251"/>
              <a:gd name="connsiteX49858" fmla="*/ 2942538 w 8079933"/>
              <a:gd name="connsiteY49858" fmla="*/ 872768 h 4687251"/>
              <a:gd name="connsiteX49859" fmla="*/ 2946878 w 8079933"/>
              <a:gd name="connsiteY49859" fmla="*/ 872768 h 4687251"/>
              <a:gd name="connsiteX49860" fmla="*/ 2951110 w 8079933"/>
              <a:gd name="connsiteY49860" fmla="*/ 876557 h 4687251"/>
              <a:gd name="connsiteX49861" fmla="*/ 2955885 w 8079933"/>
              <a:gd name="connsiteY49861" fmla="*/ 877316 h 4687251"/>
              <a:gd name="connsiteX49862" fmla="*/ 2959032 w 8079933"/>
              <a:gd name="connsiteY49862" fmla="*/ 877316 h 4687251"/>
              <a:gd name="connsiteX49863" fmla="*/ 2960876 w 8079933"/>
              <a:gd name="connsiteY49863" fmla="*/ 878831 h 4687251"/>
              <a:gd name="connsiteX49864" fmla="*/ 2965217 w 8079933"/>
              <a:gd name="connsiteY49864" fmla="*/ 878831 h 4687251"/>
              <a:gd name="connsiteX49865" fmla="*/ 2969015 w 8079933"/>
              <a:gd name="connsiteY49865" fmla="*/ 880347 h 4687251"/>
              <a:gd name="connsiteX49866" fmla="*/ 2971728 w 8079933"/>
              <a:gd name="connsiteY49866" fmla="*/ 881971 h 4687251"/>
              <a:gd name="connsiteX49867" fmla="*/ 2974767 w 8079933"/>
              <a:gd name="connsiteY49867" fmla="*/ 882620 h 4687251"/>
              <a:gd name="connsiteX49868" fmla="*/ 2977046 w 8079933"/>
              <a:gd name="connsiteY49868" fmla="*/ 885544 h 4687251"/>
              <a:gd name="connsiteX49869" fmla="*/ 2979867 w 8079933"/>
              <a:gd name="connsiteY49869" fmla="*/ 894639 h 4687251"/>
              <a:gd name="connsiteX49870" fmla="*/ 2983122 w 8079933"/>
              <a:gd name="connsiteY49870" fmla="*/ 898536 h 4687251"/>
              <a:gd name="connsiteX49871" fmla="*/ 2987355 w 8079933"/>
              <a:gd name="connsiteY49871" fmla="*/ 901351 h 4687251"/>
              <a:gd name="connsiteX49872" fmla="*/ 2990936 w 8079933"/>
              <a:gd name="connsiteY49872" fmla="*/ 904491 h 4687251"/>
              <a:gd name="connsiteX49873" fmla="*/ 2995385 w 8079933"/>
              <a:gd name="connsiteY49873" fmla="*/ 906224 h 4687251"/>
              <a:gd name="connsiteX49874" fmla="*/ 2997664 w 8079933"/>
              <a:gd name="connsiteY49874" fmla="*/ 905249 h 4687251"/>
              <a:gd name="connsiteX49875" fmla="*/ 3000051 w 8079933"/>
              <a:gd name="connsiteY49875" fmla="*/ 901676 h 4687251"/>
              <a:gd name="connsiteX49876" fmla="*/ 2998858 w 8079933"/>
              <a:gd name="connsiteY49876" fmla="*/ 900702 h 4687251"/>
              <a:gd name="connsiteX49877" fmla="*/ 2996361 w 8079933"/>
              <a:gd name="connsiteY49877" fmla="*/ 902001 h 4687251"/>
              <a:gd name="connsiteX49878" fmla="*/ 2994300 w 8079933"/>
              <a:gd name="connsiteY49878" fmla="*/ 902001 h 4687251"/>
              <a:gd name="connsiteX49879" fmla="*/ 2991587 w 8079933"/>
              <a:gd name="connsiteY49879" fmla="*/ 899728 h 4687251"/>
              <a:gd name="connsiteX49880" fmla="*/ 2986812 w 8079933"/>
              <a:gd name="connsiteY49880" fmla="*/ 894097 h 4687251"/>
              <a:gd name="connsiteX49881" fmla="*/ 2986812 w 8079933"/>
              <a:gd name="connsiteY49881" fmla="*/ 892148 h 4687251"/>
              <a:gd name="connsiteX49882" fmla="*/ 2987789 w 8079933"/>
              <a:gd name="connsiteY49882" fmla="*/ 892148 h 4687251"/>
              <a:gd name="connsiteX49883" fmla="*/ 2992129 w 8079933"/>
              <a:gd name="connsiteY49883" fmla="*/ 896479 h 4687251"/>
              <a:gd name="connsiteX49884" fmla="*/ 2994408 w 8079933"/>
              <a:gd name="connsiteY49884" fmla="*/ 896479 h 4687251"/>
              <a:gd name="connsiteX49885" fmla="*/ 2994408 w 8079933"/>
              <a:gd name="connsiteY49885" fmla="*/ 894530 h 4687251"/>
              <a:gd name="connsiteX49886" fmla="*/ 2997121 w 8079933"/>
              <a:gd name="connsiteY49886" fmla="*/ 894530 h 4687251"/>
              <a:gd name="connsiteX49887" fmla="*/ 2997121 w 8079933"/>
              <a:gd name="connsiteY49887" fmla="*/ 892581 h 4687251"/>
              <a:gd name="connsiteX49888" fmla="*/ 2991261 w 8079933"/>
              <a:gd name="connsiteY49888" fmla="*/ 888684 h 4687251"/>
              <a:gd name="connsiteX49889" fmla="*/ 2985944 w 8079933"/>
              <a:gd name="connsiteY49889" fmla="*/ 884245 h 4687251"/>
              <a:gd name="connsiteX49890" fmla="*/ 2984642 w 8079933"/>
              <a:gd name="connsiteY49890" fmla="*/ 881322 h 4687251"/>
              <a:gd name="connsiteX49891" fmla="*/ 2985402 w 8079933"/>
              <a:gd name="connsiteY49891" fmla="*/ 879589 h 4687251"/>
              <a:gd name="connsiteX49892" fmla="*/ 2986921 w 8079933"/>
              <a:gd name="connsiteY49892" fmla="*/ 879589 h 4687251"/>
              <a:gd name="connsiteX49893" fmla="*/ 2989959 w 8079933"/>
              <a:gd name="connsiteY49893" fmla="*/ 883703 h 4687251"/>
              <a:gd name="connsiteX49894" fmla="*/ 2992672 w 8079933"/>
              <a:gd name="connsiteY49894" fmla="*/ 883703 h 4687251"/>
              <a:gd name="connsiteX49895" fmla="*/ 2990719 w 8079933"/>
              <a:gd name="connsiteY49895" fmla="*/ 879373 h 4687251"/>
              <a:gd name="connsiteX49896" fmla="*/ 2985944 w 8079933"/>
              <a:gd name="connsiteY49896" fmla="*/ 874500 h 4687251"/>
              <a:gd name="connsiteX49897" fmla="*/ 2981929 w 8079933"/>
              <a:gd name="connsiteY49897" fmla="*/ 871577 h 4687251"/>
              <a:gd name="connsiteX49898" fmla="*/ 2980735 w 8079933"/>
              <a:gd name="connsiteY49898" fmla="*/ 868762 h 4687251"/>
              <a:gd name="connsiteX49899" fmla="*/ 2981712 w 8079933"/>
              <a:gd name="connsiteY49899" fmla="*/ 867138 h 4687251"/>
              <a:gd name="connsiteX49900" fmla="*/ 2986269 w 8079933"/>
              <a:gd name="connsiteY49900" fmla="*/ 868870 h 4687251"/>
              <a:gd name="connsiteX49901" fmla="*/ 2995168 w 8079933"/>
              <a:gd name="connsiteY49901" fmla="*/ 871794 h 4687251"/>
              <a:gd name="connsiteX49902" fmla="*/ 2997773 w 8079933"/>
              <a:gd name="connsiteY49902" fmla="*/ 870711 h 4687251"/>
              <a:gd name="connsiteX49903" fmla="*/ 2997773 w 8079933"/>
              <a:gd name="connsiteY49903" fmla="*/ 868004 h 4687251"/>
              <a:gd name="connsiteX49904" fmla="*/ 2994191 w 8079933"/>
              <a:gd name="connsiteY49904" fmla="*/ 863457 h 4687251"/>
              <a:gd name="connsiteX49905" fmla="*/ 2992129 w 8079933"/>
              <a:gd name="connsiteY49905" fmla="*/ 863457 h 4687251"/>
              <a:gd name="connsiteX49906" fmla="*/ 2989200 w 8079933"/>
              <a:gd name="connsiteY49906" fmla="*/ 865081 h 4687251"/>
              <a:gd name="connsiteX49907" fmla="*/ 2985944 w 8079933"/>
              <a:gd name="connsiteY49907" fmla="*/ 865081 h 4687251"/>
              <a:gd name="connsiteX49908" fmla="*/ 2981386 w 8079933"/>
              <a:gd name="connsiteY49908" fmla="*/ 865081 h 4687251"/>
              <a:gd name="connsiteX49909" fmla="*/ 2980409 w 8079933"/>
              <a:gd name="connsiteY49909" fmla="*/ 862916 h 4687251"/>
              <a:gd name="connsiteX49910" fmla="*/ 2981929 w 8079933"/>
              <a:gd name="connsiteY49910" fmla="*/ 860642 h 4687251"/>
              <a:gd name="connsiteX49911" fmla="*/ 2987246 w 8079933"/>
              <a:gd name="connsiteY49911" fmla="*/ 857935 h 4687251"/>
              <a:gd name="connsiteX49912" fmla="*/ 2989200 w 8079933"/>
              <a:gd name="connsiteY49912" fmla="*/ 858585 h 4687251"/>
              <a:gd name="connsiteX49913" fmla="*/ 2992672 w 8079933"/>
              <a:gd name="connsiteY49913" fmla="*/ 860750 h 4687251"/>
              <a:gd name="connsiteX49914" fmla="*/ 2993323 w 8079933"/>
              <a:gd name="connsiteY49914" fmla="*/ 858801 h 4687251"/>
              <a:gd name="connsiteX49915" fmla="*/ 2993323 w 8079933"/>
              <a:gd name="connsiteY49915" fmla="*/ 856311 h 4687251"/>
              <a:gd name="connsiteX49916" fmla="*/ 2990610 w 8079933"/>
              <a:gd name="connsiteY49916" fmla="*/ 853063 h 4687251"/>
              <a:gd name="connsiteX49917" fmla="*/ 2988765 w 8079933"/>
              <a:gd name="connsiteY49917" fmla="*/ 853063 h 4687251"/>
              <a:gd name="connsiteX49918" fmla="*/ 2987355 w 8079933"/>
              <a:gd name="connsiteY49918" fmla="*/ 854471 h 4687251"/>
              <a:gd name="connsiteX49919" fmla="*/ 2984316 w 8079933"/>
              <a:gd name="connsiteY49919" fmla="*/ 854471 h 4687251"/>
              <a:gd name="connsiteX49920" fmla="*/ 2982471 w 8079933"/>
              <a:gd name="connsiteY49920" fmla="*/ 855986 h 4687251"/>
              <a:gd name="connsiteX49921" fmla="*/ 2976069 w 8079933"/>
              <a:gd name="connsiteY49921" fmla="*/ 861291 h 4687251"/>
              <a:gd name="connsiteX49922" fmla="*/ 2974007 w 8079933"/>
              <a:gd name="connsiteY49922" fmla="*/ 861291 h 4687251"/>
              <a:gd name="connsiteX49923" fmla="*/ 2974007 w 8079933"/>
              <a:gd name="connsiteY49923" fmla="*/ 859343 h 4687251"/>
              <a:gd name="connsiteX49924" fmla="*/ 2976611 w 8079933"/>
              <a:gd name="connsiteY49924" fmla="*/ 857177 h 4687251"/>
              <a:gd name="connsiteX49925" fmla="*/ 2977914 w 8079933"/>
              <a:gd name="connsiteY49925" fmla="*/ 853821 h 4687251"/>
              <a:gd name="connsiteX49926" fmla="*/ 2980627 w 8079933"/>
              <a:gd name="connsiteY49926" fmla="*/ 850031 h 4687251"/>
              <a:gd name="connsiteX49927" fmla="*/ 2982689 w 8079933"/>
              <a:gd name="connsiteY49927" fmla="*/ 850031 h 4687251"/>
              <a:gd name="connsiteX49928" fmla="*/ 2985402 w 8079933"/>
              <a:gd name="connsiteY49928" fmla="*/ 850031 h 4687251"/>
              <a:gd name="connsiteX49929" fmla="*/ 2988548 w 8079933"/>
              <a:gd name="connsiteY49929" fmla="*/ 847541 h 4687251"/>
              <a:gd name="connsiteX49930" fmla="*/ 2991695 w 8079933"/>
              <a:gd name="connsiteY49930" fmla="*/ 846892 h 4687251"/>
              <a:gd name="connsiteX49931" fmla="*/ 2993215 w 8079933"/>
              <a:gd name="connsiteY49931" fmla="*/ 845267 h 4687251"/>
              <a:gd name="connsiteX49932" fmla="*/ 2992238 w 8079933"/>
              <a:gd name="connsiteY49932" fmla="*/ 844401 h 4687251"/>
              <a:gd name="connsiteX49933" fmla="*/ 2986703 w 8079933"/>
              <a:gd name="connsiteY49933" fmla="*/ 844401 h 4687251"/>
              <a:gd name="connsiteX49934" fmla="*/ 2983448 w 8079933"/>
              <a:gd name="connsiteY49934" fmla="*/ 847000 h 4687251"/>
              <a:gd name="connsiteX49935" fmla="*/ 2980844 w 8079933"/>
              <a:gd name="connsiteY49935" fmla="*/ 847649 h 4687251"/>
              <a:gd name="connsiteX49936" fmla="*/ 2978239 w 8079933"/>
              <a:gd name="connsiteY49936" fmla="*/ 846783 h 4687251"/>
              <a:gd name="connsiteX49937" fmla="*/ 2973030 w 8079933"/>
              <a:gd name="connsiteY49937" fmla="*/ 847433 h 4687251"/>
              <a:gd name="connsiteX49938" fmla="*/ 2971511 w 8079933"/>
              <a:gd name="connsiteY49938" fmla="*/ 846350 h 4687251"/>
              <a:gd name="connsiteX49939" fmla="*/ 2971511 w 8079933"/>
              <a:gd name="connsiteY49939" fmla="*/ 843643 h 4687251"/>
              <a:gd name="connsiteX49940" fmla="*/ 2974116 w 8079933"/>
              <a:gd name="connsiteY49940" fmla="*/ 841911 h 4687251"/>
              <a:gd name="connsiteX49941" fmla="*/ 2976937 w 8079933"/>
              <a:gd name="connsiteY49941" fmla="*/ 839529 h 4687251"/>
              <a:gd name="connsiteX49942" fmla="*/ 2982797 w 8079933"/>
              <a:gd name="connsiteY49942" fmla="*/ 839529 h 4687251"/>
              <a:gd name="connsiteX49943" fmla="*/ 2990502 w 8079933"/>
              <a:gd name="connsiteY49943" fmla="*/ 837688 h 4687251"/>
              <a:gd name="connsiteX49944" fmla="*/ 2995819 w 8079933"/>
              <a:gd name="connsiteY49944" fmla="*/ 834765 h 4687251"/>
              <a:gd name="connsiteX49945" fmla="*/ 2995819 w 8079933"/>
              <a:gd name="connsiteY49945" fmla="*/ 832816 h 4687251"/>
              <a:gd name="connsiteX49946" fmla="*/ 2994300 w 8079933"/>
              <a:gd name="connsiteY49946" fmla="*/ 831842 h 4687251"/>
              <a:gd name="connsiteX49947" fmla="*/ 2992455 w 8079933"/>
              <a:gd name="connsiteY49947" fmla="*/ 831842 h 4687251"/>
              <a:gd name="connsiteX49948" fmla="*/ 2988982 w 8079933"/>
              <a:gd name="connsiteY49948" fmla="*/ 834007 h 4687251"/>
              <a:gd name="connsiteX49949" fmla="*/ 2984967 w 8079933"/>
              <a:gd name="connsiteY49949" fmla="*/ 835415 h 4687251"/>
              <a:gd name="connsiteX49950" fmla="*/ 2982037 w 8079933"/>
              <a:gd name="connsiteY49950" fmla="*/ 834441 h 4687251"/>
              <a:gd name="connsiteX49951" fmla="*/ 2980084 w 8079933"/>
              <a:gd name="connsiteY49951" fmla="*/ 831409 h 4687251"/>
              <a:gd name="connsiteX49952" fmla="*/ 2978131 w 8079933"/>
              <a:gd name="connsiteY49952" fmla="*/ 830326 h 4687251"/>
              <a:gd name="connsiteX49953" fmla="*/ 2974550 w 8079933"/>
              <a:gd name="connsiteY49953" fmla="*/ 830326 h 4687251"/>
              <a:gd name="connsiteX49954" fmla="*/ 2972813 w 8079933"/>
              <a:gd name="connsiteY49954" fmla="*/ 829243 h 4687251"/>
              <a:gd name="connsiteX49955" fmla="*/ 2972813 w 8079933"/>
              <a:gd name="connsiteY49955" fmla="*/ 827511 h 4687251"/>
              <a:gd name="connsiteX49956" fmla="*/ 2975960 w 8079933"/>
              <a:gd name="connsiteY49956" fmla="*/ 824588 h 4687251"/>
              <a:gd name="connsiteX49957" fmla="*/ 2977914 w 8079933"/>
              <a:gd name="connsiteY49957" fmla="*/ 819499 h 4687251"/>
              <a:gd name="connsiteX49958" fmla="*/ 2980084 w 8079933"/>
              <a:gd name="connsiteY49958" fmla="*/ 817550 h 4687251"/>
              <a:gd name="connsiteX49959" fmla="*/ 2983448 w 8079933"/>
              <a:gd name="connsiteY49959" fmla="*/ 815709 h 4687251"/>
              <a:gd name="connsiteX49960" fmla="*/ 2983448 w 8079933"/>
              <a:gd name="connsiteY49960" fmla="*/ 814410 h 4687251"/>
              <a:gd name="connsiteX49961" fmla="*/ 2981712 w 8079933"/>
              <a:gd name="connsiteY49961" fmla="*/ 814410 h 4687251"/>
              <a:gd name="connsiteX49962" fmla="*/ 2977805 w 8079933"/>
              <a:gd name="connsiteY49962" fmla="*/ 816035 h 4687251"/>
              <a:gd name="connsiteX49963" fmla="*/ 2973573 w 8079933"/>
              <a:gd name="connsiteY49963" fmla="*/ 821772 h 4687251"/>
              <a:gd name="connsiteX49964" fmla="*/ 2973573 w 8079933"/>
              <a:gd name="connsiteY49964" fmla="*/ 823829 h 4687251"/>
              <a:gd name="connsiteX49965" fmla="*/ 2969992 w 8079933"/>
              <a:gd name="connsiteY49965" fmla="*/ 826212 h 4687251"/>
              <a:gd name="connsiteX49966" fmla="*/ 2968907 w 8079933"/>
              <a:gd name="connsiteY49966" fmla="*/ 827511 h 4687251"/>
              <a:gd name="connsiteX49967" fmla="*/ 2967062 w 8079933"/>
              <a:gd name="connsiteY49967" fmla="*/ 827511 h 4687251"/>
              <a:gd name="connsiteX49968" fmla="*/ 2967062 w 8079933"/>
              <a:gd name="connsiteY49968" fmla="*/ 823721 h 4687251"/>
              <a:gd name="connsiteX49969" fmla="*/ 2968256 w 8079933"/>
              <a:gd name="connsiteY49969" fmla="*/ 818092 h 4687251"/>
              <a:gd name="connsiteX49970" fmla="*/ 2968256 w 8079933"/>
              <a:gd name="connsiteY49970" fmla="*/ 812461 h 4687251"/>
              <a:gd name="connsiteX49971" fmla="*/ 2965977 w 8079933"/>
              <a:gd name="connsiteY49971" fmla="*/ 807589 h 4687251"/>
              <a:gd name="connsiteX49972" fmla="*/ 2965325 w 8079933"/>
              <a:gd name="connsiteY49972" fmla="*/ 802825 h 4687251"/>
              <a:gd name="connsiteX49973" fmla="*/ 2966845 w 8079933"/>
              <a:gd name="connsiteY49973" fmla="*/ 799252 h 4687251"/>
              <a:gd name="connsiteX49974" fmla="*/ 2966845 w 8079933"/>
              <a:gd name="connsiteY49974" fmla="*/ 795788 h 4687251"/>
              <a:gd name="connsiteX49975" fmla="*/ 2965651 w 8079933"/>
              <a:gd name="connsiteY49975" fmla="*/ 795788 h 4687251"/>
              <a:gd name="connsiteX49976" fmla="*/ 2964783 w 8079933"/>
              <a:gd name="connsiteY49976" fmla="*/ 797629 h 4687251"/>
              <a:gd name="connsiteX49977" fmla="*/ 2963264 w 8079933"/>
              <a:gd name="connsiteY49977" fmla="*/ 805856 h 4687251"/>
              <a:gd name="connsiteX49978" fmla="*/ 2964675 w 8079933"/>
              <a:gd name="connsiteY49978" fmla="*/ 809430 h 4687251"/>
              <a:gd name="connsiteX49979" fmla="*/ 2966302 w 8079933"/>
              <a:gd name="connsiteY49979" fmla="*/ 813652 h 4687251"/>
              <a:gd name="connsiteX49980" fmla="*/ 2966302 w 8079933"/>
              <a:gd name="connsiteY49980" fmla="*/ 818092 h 4687251"/>
              <a:gd name="connsiteX49981" fmla="*/ 2966302 w 8079933"/>
              <a:gd name="connsiteY49981" fmla="*/ 824696 h 4687251"/>
              <a:gd name="connsiteX49982" fmla="*/ 2964566 w 8079933"/>
              <a:gd name="connsiteY49982" fmla="*/ 827727 h 4687251"/>
              <a:gd name="connsiteX49983" fmla="*/ 2962396 w 8079933"/>
              <a:gd name="connsiteY49983" fmla="*/ 827727 h 4687251"/>
              <a:gd name="connsiteX49984" fmla="*/ 2959683 w 8079933"/>
              <a:gd name="connsiteY49984" fmla="*/ 825021 h 4687251"/>
              <a:gd name="connsiteX49985" fmla="*/ 2957730 w 8079933"/>
              <a:gd name="connsiteY49985" fmla="*/ 822098 h 4687251"/>
              <a:gd name="connsiteX49986" fmla="*/ 2957078 w 8079933"/>
              <a:gd name="connsiteY49986" fmla="*/ 828486 h 4687251"/>
              <a:gd name="connsiteX49987" fmla="*/ 2957078 w 8079933"/>
              <a:gd name="connsiteY49987" fmla="*/ 830218 h 4687251"/>
              <a:gd name="connsiteX49988" fmla="*/ 2955017 w 8079933"/>
              <a:gd name="connsiteY49988" fmla="*/ 830218 h 4687251"/>
              <a:gd name="connsiteX49989" fmla="*/ 2952738 w 8079933"/>
              <a:gd name="connsiteY49989" fmla="*/ 830218 h 4687251"/>
              <a:gd name="connsiteX49990" fmla="*/ 2954799 w 8079933"/>
              <a:gd name="connsiteY49990" fmla="*/ 831842 h 4687251"/>
              <a:gd name="connsiteX49991" fmla="*/ 2955668 w 8079933"/>
              <a:gd name="connsiteY49991" fmla="*/ 834873 h 4687251"/>
              <a:gd name="connsiteX49992" fmla="*/ 2954583 w 8079933"/>
              <a:gd name="connsiteY49992" fmla="*/ 838879 h 4687251"/>
              <a:gd name="connsiteX49993" fmla="*/ 2952630 w 8079933"/>
              <a:gd name="connsiteY49993" fmla="*/ 841586 h 4687251"/>
              <a:gd name="connsiteX49994" fmla="*/ 2948832 w 8079933"/>
              <a:gd name="connsiteY49994" fmla="*/ 842235 h 4687251"/>
              <a:gd name="connsiteX49995" fmla="*/ 2946769 w 8079933"/>
              <a:gd name="connsiteY49995" fmla="*/ 842235 h 4687251"/>
              <a:gd name="connsiteX49996" fmla="*/ 2945467 w 8079933"/>
              <a:gd name="connsiteY49996" fmla="*/ 843643 h 4687251"/>
              <a:gd name="connsiteX49997" fmla="*/ 2942212 w 8079933"/>
              <a:gd name="connsiteY49997" fmla="*/ 846025 h 4687251"/>
              <a:gd name="connsiteX49998" fmla="*/ 2936243 w 8079933"/>
              <a:gd name="connsiteY49998" fmla="*/ 846025 h 4687251"/>
              <a:gd name="connsiteX49999" fmla="*/ 2933965 w 8079933"/>
              <a:gd name="connsiteY49999" fmla="*/ 843751 h 4687251"/>
              <a:gd name="connsiteX50000" fmla="*/ 2933965 w 8079933"/>
              <a:gd name="connsiteY50000" fmla="*/ 840504 h 4687251"/>
              <a:gd name="connsiteX50001" fmla="*/ 2932880 w 8079933"/>
              <a:gd name="connsiteY50001" fmla="*/ 838014 h 4687251"/>
              <a:gd name="connsiteX50002" fmla="*/ 2931035 w 8079933"/>
              <a:gd name="connsiteY50002" fmla="*/ 836281 h 4687251"/>
              <a:gd name="connsiteX50003" fmla="*/ 2928973 w 8079933"/>
              <a:gd name="connsiteY50003" fmla="*/ 836281 h 4687251"/>
              <a:gd name="connsiteX50004" fmla="*/ 2928213 w 8079933"/>
              <a:gd name="connsiteY50004" fmla="*/ 839204 h 4687251"/>
              <a:gd name="connsiteX50005" fmla="*/ 2926802 w 8079933"/>
              <a:gd name="connsiteY50005" fmla="*/ 839204 h 4687251"/>
              <a:gd name="connsiteX50006" fmla="*/ 2925174 w 8079933"/>
              <a:gd name="connsiteY50006" fmla="*/ 833574 h 4687251"/>
              <a:gd name="connsiteX50007" fmla="*/ 2926260 w 8079933"/>
              <a:gd name="connsiteY50007" fmla="*/ 830110 h 4687251"/>
              <a:gd name="connsiteX50008" fmla="*/ 2925283 w 8079933"/>
              <a:gd name="connsiteY50008" fmla="*/ 827619 h 4687251"/>
              <a:gd name="connsiteX50009" fmla="*/ 2923764 w 8079933"/>
              <a:gd name="connsiteY50009" fmla="*/ 826104 h 4687251"/>
              <a:gd name="connsiteX50010" fmla="*/ 2923764 w 8079933"/>
              <a:gd name="connsiteY50010" fmla="*/ 823505 h 4687251"/>
              <a:gd name="connsiteX50011" fmla="*/ 2928213 w 8079933"/>
              <a:gd name="connsiteY50011" fmla="*/ 820906 h 4687251"/>
              <a:gd name="connsiteX50012" fmla="*/ 2932120 w 8079933"/>
              <a:gd name="connsiteY50012" fmla="*/ 820906 h 4687251"/>
              <a:gd name="connsiteX50013" fmla="*/ 2933530 w 8079933"/>
              <a:gd name="connsiteY50013" fmla="*/ 821989 h 4687251"/>
              <a:gd name="connsiteX50014" fmla="*/ 2935701 w 8079933"/>
              <a:gd name="connsiteY50014" fmla="*/ 818416 h 4687251"/>
              <a:gd name="connsiteX50015" fmla="*/ 2938088 w 8079933"/>
              <a:gd name="connsiteY50015" fmla="*/ 817442 h 4687251"/>
              <a:gd name="connsiteX50016" fmla="*/ 2944925 w 8079933"/>
              <a:gd name="connsiteY50016" fmla="*/ 816684 h 4687251"/>
              <a:gd name="connsiteX50017" fmla="*/ 2947204 w 8079933"/>
              <a:gd name="connsiteY50017" fmla="*/ 817333 h 4687251"/>
              <a:gd name="connsiteX50018" fmla="*/ 2952521 w 8079933"/>
              <a:gd name="connsiteY50018" fmla="*/ 811595 h 4687251"/>
              <a:gd name="connsiteX50019" fmla="*/ 2956319 w 8079933"/>
              <a:gd name="connsiteY50019" fmla="*/ 804882 h 4687251"/>
              <a:gd name="connsiteX50020" fmla="*/ 2956319 w 8079933"/>
              <a:gd name="connsiteY50020" fmla="*/ 802933 h 4687251"/>
              <a:gd name="connsiteX50021" fmla="*/ 2955125 w 8079933"/>
              <a:gd name="connsiteY50021" fmla="*/ 802933 h 4687251"/>
              <a:gd name="connsiteX50022" fmla="*/ 2952630 w 8079933"/>
              <a:gd name="connsiteY50022" fmla="*/ 804666 h 4687251"/>
              <a:gd name="connsiteX50023" fmla="*/ 2950350 w 8079933"/>
              <a:gd name="connsiteY50023" fmla="*/ 808672 h 4687251"/>
              <a:gd name="connsiteX50024" fmla="*/ 2946552 w 8079933"/>
              <a:gd name="connsiteY50024" fmla="*/ 813111 h 4687251"/>
              <a:gd name="connsiteX50025" fmla="*/ 2941669 w 8079933"/>
              <a:gd name="connsiteY50025" fmla="*/ 814627 h 4687251"/>
              <a:gd name="connsiteX50026" fmla="*/ 2936135 w 8079933"/>
              <a:gd name="connsiteY50026" fmla="*/ 813436 h 4687251"/>
              <a:gd name="connsiteX50027" fmla="*/ 2932880 w 8079933"/>
              <a:gd name="connsiteY50027" fmla="*/ 810513 h 4687251"/>
              <a:gd name="connsiteX50028" fmla="*/ 2932880 w 8079933"/>
              <a:gd name="connsiteY50028" fmla="*/ 807914 h 4687251"/>
              <a:gd name="connsiteX50029" fmla="*/ 2937003 w 8079933"/>
              <a:gd name="connsiteY50029" fmla="*/ 805532 h 4687251"/>
              <a:gd name="connsiteX50030" fmla="*/ 2941886 w 8079933"/>
              <a:gd name="connsiteY50030" fmla="*/ 801093 h 4687251"/>
              <a:gd name="connsiteX50031" fmla="*/ 2945033 w 8079933"/>
              <a:gd name="connsiteY50031" fmla="*/ 801093 h 4687251"/>
              <a:gd name="connsiteX50032" fmla="*/ 2945901 w 8079933"/>
              <a:gd name="connsiteY50032" fmla="*/ 799577 h 4687251"/>
              <a:gd name="connsiteX50033" fmla="*/ 2945901 w 8079933"/>
              <a:gd name="connsiteY50033" fmla="*/ 796654 h 4687251"/>
              <a:gd name="connsiteX50034" fmla="*/ 2946987 w 8079933"/>
              <a:gd name="connsiteY50034" fmla="*/ 795138 h 4687251"/>
              <a:gd name="connsiteX50035" fmla="*/ 2949373 w 8079933"/>
              <a:gd name="connsiteY50035" fmla="*/ 795138 h 4687251"/>
              <a:gd name="connsiteX50036" fmla="*/ 2951218 w 8079933"/>
              <a:gd name="connsiteY50036" fmla="*/ 793514 h 4687251"/>
              <a:gd name="connsiteX50037" fmla="*/ 2949917 w 8079933"/>
              <a:gd name="connsiteY50037" fmla="*/ 792107 h 4687251"/>
              <a:gd name="connsiteX50038" fmla="*/ 2949917 w 8079933"/>
              <a:gd name="connsiteY50038" fmla="*/ 790158 h 4687251"/>
              <a:gd name="connsiteX50039" fmla="*/ 2948940 w 8079933"/>
              <a:gd name="connsiteY50039" fmla="*/ 789183 h 4687251"/>
              <a:gd name="connsiteX50040" fmla="*/ 2947529 w 8079933"/>
              <a:gd name="connsiteY50040" fmla="*/ 789833 h 4687251"/>
              <a:gd name="connsiteX50041" fmla="*/ 2945359 w 8079933"/>
              <a:gd name="connsiteY50041" fmla="*/ 791782 h 4687251"/>
              <a:gd name="connsiteX50042" fmla="*/ 2939065 w 8079933"/>
              <a:gd name="connsiteY50042" fmla="*/ 791024 h 4687251"/>
              <a:gd name="connsiteX50043" fmla="*/ 2937328 w 8079933"/>
              <a:gd name="connsiteY50043" fmla="*/ 791024 h 4687251"/>
              <a:gd name="connsiteX50044" fmla="*/ 2936243 w 8079933"/>
              <a:gd name="connsiteY50044" fmla="*/ 789508 h 4687251"/>
              <a:gd name="connsiteX50045" fmla="*/ 2937328 w 8079933"/>
              <a:gd name="connsiteY50045" fmla="*/ 786693 h 4687251"/>
              <a:gd name="connsiteX50046" fmla="*/ 2942212 w 8079933"/>
              <a:gd name="connsiteY50046" fmla="*/ 783662 h 4687251"/>
              <a:gd name="connsiteX50047" fmla="*/ 2944599 w 8079933"/>
              <a:gd name="connsiteY50047" fmla="*/ 783662 h 4687251"/>
              <a:gd name="connsiteX50048" fmla="*/ 2947312 w 8079933"/>
              <a:gd name="connsiteY50048" fmla="*/ 785935 h 4687251"/>
              <a:gd name="connsiteX50049" fmla="*/ 2950350 w 8079933"/>
              <a:gd name="connsiteY50049" fmla="*/ 785935 h 4687251"/>
              <a:gd name="connsiteX50050" fmla="*/ 2954908 w 8079933"/>
              <a:gd name="connsiteY50050" fmla="*/ 783986 h 4687251"/>
              <a:gd name="connsiteX50051" fmla="*/ 2957730 w 8079933"/>
              <a:gd name="connsiteY50051" fmla="*/ 777598 h 4687251"/>
              <a:gd name="connsiteX50052" fmla="*/ 2955993 w 8079933"/>
              <a:gd name="connsiteY50052" fmla="*/ 775541 h 4687251"/>
              <a:gd name="connsiteX50053" fmla="*/ 2956536 w 8079933"/>
              <a:gd name="connsiteY50053" fmla="*/ 772185 h 4687251"/>
              <a:gd name="connsiteX50054" fmla="*/ 2961203 w 8079933"/>
              <a:gd name="connsiteY50054" fmla="*/ 767746 h 4687251"/>
              <a:gd name="connsiteX50055" fmla="*/ 2959791 w 8079933"/>
              <a:gd name="connsiteY50055" fmla="*/ 762873 h 4687251"/>
              <a:gd name="connsiteX50056" fmla="*/ 2959791 w 8079933"/>
              <a:gd name="connsiteY50056" fmla="*/ 758001 h 4687251"/>
              <a:gd name="connsiteX50057" fmla="*/ 2958923 w 8079933"/>
              <a:gd name="connsiteY50057" fmla="*/ 755836 h 4687251"/>
              <a:gd name="connsiteX50058" fmla="*/ 2956102 w 8079933"/>
              <a:gd name="connsiteY50058" fmla="*/ 754753 h 4687251"/>
              <a:gd name="connsiteX50059" fmla="*/ 2953715 w 8079933"/>
              <a:gd name="connsiteY50059" fmla="*/ 754753 h 4687251"/>
              <a:gd name="connsiteX50060" fmla="*/ 2951327 w 8079933"/>
              <a:gd name="connsiteY50060" fmla="*/ 752155 h 4687251"/>
              <a:gd name="connsiteX50061" fmla="*/ 2947964 w 8079933"/>
              <a:gd name="connsiteY50061" fmla="*/ 752155 h 4687251"/>
              <a:gd name="connsiteX50062" fmla="*/ 2945142 w 8079933"/>
              <a:gd name="connsiteY50062" fmla="*/ 751072 h 4687251"/>
              <a:gd name="connsiteX50063" fmla="*/ 2945142 w 8079933"/>
              <a:gd name="connsiteY50063" fmla="*/ 749015 h 4687251"/>
              <a:gd name="connsiteX50064" fmla="*/ 2947095 w 8079933"/>
              <a:gd name="connsiteY50064" fmla="*/ 748257 h 4687251"/>
              <a:gd name="connsiteX50065" fmla="*/ 2950676 w 8079933"/>
              <a:gd name="connsiteY50065" fmla="*/ 748907 h 4687251"/>
              <a:gd name="connsiteX50066" fmla="*/ 2952630 w 8079933"/>
              <a:gd name="connsiteY50066" fmla="*/ 747607 h 4687251"/>
              <a:gd name="connsiteX50067" fmla="*/ 2955668 w 8079933"/>
              <a:gd name="connsiteY50067" fmla="*/ 744467 h 4687251"/>
              <a:gd name="connsiteX50068" fmla="*/ 2955668 w 8079933"/>
              <a:gd name="connsiteY50068" fmla="*/ 741111 h 4687251"/>
              <a:gd name="connsiteX50069" fmla="*/ 2958164 w 8079933"/>
              <a:gd name="connsiteY50069" fmla="*/ 738404 h 4687251"/>
              <a:gd name="connsiteX50070" fmla="*/ 2958164 w 8079933"/>
              <a:gd name="connsiteY50070" fmla="*/ 735697 h 4687251"/>
              <a:gd name="connsiteX50071" fmla="*/ 2956428 w 8079933"/>
              <a:gd name="connsiteY50071" fmla="*/ 733749 h 4687251"/>
              <a:gd name="connsiteX50072" fmla="*/ 2953389 w 8079933"/>
              <a:gd name="connsiteY50072" fmla="*/ 733749 h 4687251"/>
              <a:gd name="connsiteX50073" fmla="*/ 2952086 w 8079933"/>
              <a:gd name="connsiteY50073" fmla="*/ 731800 h 4687251"/>
              <a:gd name="connsiteX50074" fmla="*/ 2951435 w 8079933"/>
              <a:gd name="connsiteY50074" fmla="*/ 728877 h 4687251"/>
              <a:gd name="connsiteX50075" fmla="*/ 2953823 w 8079933"/>
              <a:gd name="connsiteY50075" fmla="*/ 726928 h 4687251"/>
              <a:gd name="connsiteX50076" fmla="*/ 2954691 w 8079933"/>
              <a:gd name="connsiteY50076" fmla="*/ 726928 h 4687251"/>
              <a:gd name="connsiteX50077" fmla="*/ 2954691 w 8079933"/>
              <a:gd name="connsiteY50077" fmla="*/ 724979 h 4687251"/>
              <a:gd name="connsiteX50078" fmla="*/ 2952086 w 8079933"/>
              <a:gd name="connsiteY50078" fmla="*/ 720973 h 4687251"/>
              <a:gd name="connsiteX50079" fmla="*/ 2951110 w 8079933"/>
              <a:gd name="connsiteY50079" fmla="*/ 715993 h 4687251"/>
              <a:gd name="connsiteX50080" fmla="*/ 2952955 w 8079933"/>
              <a:gd name="connsiteY50080" fmla="*/ 715126 h 4687251"/>
              <a:gd name="connsiteX50081" fmla="*/ 2955125 w 8079933"/>
              <a:gd name="connsiteY50081" fmla="*/ 717833 h 4687251"/>
              <a:gd name="connsiteX50082" fmla="*/ 2955125 w 8079933"/>
              <a:gd name="connsiteY50082" fmla="*/ 716426 h 4687251"/>
              <a:gd name="connsiteX50083" fmla="*/ 2953823 w 8079933"/>
              <a:gd name="connsiteY50083" fmla="*/ 713610 h 4687251"/>
              <a:gd name="connsiteX50084" fmla="*/ 2953823 w 8079933"/>
              <a:gd name="connsiteY50084" fmla="*/ 711337 h 4687251"/>
              <a:gd name="connsiteX50085" fmla="*/ 2955885 w 8079933"/>
              <a:gd name="connsiteY50085" fmla="*/ 707222 h 4687251"/>
              <a:gd name="connsiteX50086" fmla="*/ 2955017 w 8079933"/>
              <a:gd name="connsiteY50086" fmla="*/ 702892 h 4687251"/>
              <a:gd name="connsiteX50087" fmla="*/ 2952846 w 8079933"/>
              <a:gd name="connsiteY50087" fmla="*/ 699102 h 4687251"/>
              <a:gd name="connsiteX50088" fmla="*/ 2952846 w 8079933"/>
              <a:gd name="connsiteY50088" fmla="*/ 696395 h 4687251"/>
              <a:gd name="connsiteX50089" fmla="*/ 2951761 w 8079933"/>
              <a:gd name="connsiteY50089" fmla="*/ 693580 h 4687251"/>
              <a:gd name="connsiteX50090" fmla="*/ 2953280 w 8079933"/>
              <a:gd name="connsiteY50090" fmla="*/ 690982 h 4687251"/>
              <a:gd name="connsiteX50091" fmla="*/ 2954799 w 8079933"/>
              <a:gd name="connsiteY50091" fmla="*/ 685785 h 4687251"/>
              <a:gd name="connsiteX50092" fmla="*/ 2953063 w 8079933"/>
              <a:gd name="connsiteY50092" fmla="*/ 685785 h 4687251"/>
              <a:gd name="connsiteX50093" fmla="*/ 2950785 w 8079933"/>
              <a:gd name="connsiteY50093" fmla="*/ 685785 h 4687251"/>
              <a:gd name="connsiteX50094" fmla="*/ 2946660 w 8079933"/>
              <a:gd name="connsiteY50094" fmla="*/ 689790 h 4687251"/>
              <a:gd name="connsiteX50095" fmla="*/ 2944165 w 8079933"/>
              <a:gd name="connsiteY50095" fmla="*/ 689790 h 4687251"/>
              <a:gd name="connsiteX50096" fmla="*/ 2942212 w 8079933"/>
              <a:gd name="connsiteY50096" fmla="*/ 691632 h 4687251"/>
              <a:gd name="connsiteX50097" fmla="*/ 2939933 w 8079933"/>
              <a:gd name="connsiteY50097" fmla="*/ 692606 h 4687251"/>
              <a:gd name="connsiteX50098" fmla="*/ 2937871 w 8079933"/>
              <a:gd name="connsiteY50098" fmla="*/ 691523 h 4687251"/>
              <a:gd name="connsiteX50099" fmla="*/ 2939282 w 8079933"/>
              <a:gd name="connsiteY50099" fmla="*/ 689466 h 4687251"/>
              <a:gd name="connsiteX50100" fmla="*/ 2943514 w 8079933"/>
              <a:gd name="connsiteY50100" fmla="*/ 686326 h 4687251"/>
              <a:gd name="connsiteX50101" fmla="*/ 2945901 w 8079933"/>
              <a:gd name="connsiteY50101" fmla="*/ 686326 h 4687251"/>
              <a:gd name="connsiteX50102" fmla="*/ 2948289 w 8079933"/>
              <a:gd name="connsiteY50102" fmla="*/ 683294 h 4687251"/>
              <a:gd name="connsiteX50103" fmla="*/ 2949373 w 8079933"/>
              <a:gd name="connsiteY50103" fmla="*/ 679614 h 4687251"/>
              <a:gd name="connsiteX50104" fmla="*/ 2952955 w 8079933"/>
              <a:gd name="connsiteY50104" fmla="*/ 676690 h 4687251"/>
              <a:gd name="connsiteX50105" fmla="*/ 2956753 w 8079933"/>
              <a:gd name="connsiteY50105" fmla="*/ 675174 h 4687251"/>
              <a:gd name="connsiteX50106" fmla="*/ 2958055 w 8079933"/>
              <a:gd name="connsiteY50106" fmla="*/ 671926 h 4687251"/>
              <a:gd name="connsiteX50107" fmla="*/ 2958055 w 8079933"/>
              <a:gd name="connsiteY50107" fmla="*/ 668786 h 4687251"/>
              <a:gd name="connsiteX50108" fmla="*/ 2955885 w 8079933"/>
              <a:gd name="connsiteY50108" fmla="*/ 666080 h 4687251"/>
              <a:gd name="connsiteX50109" fmla="*/ 2953063 w 8079933"/>
              <a:gd name="connsiteY50109" fmla="*/ 662290 h 4687251"/>
              <a:gd name="connsiteX50110" fmla="*/ 2951978 w 8079933"/>
              <a:gd name="connsiteY50110" fmla="*/ 658501 h 4687251"/>
              <a:gd name="connsiteX50111" fmla="*/ 2950893 w 8079933"/>
              <a:gd name="connsiteY50111" fmla="*/ 657526 h 4687251"/>
              <a:gd name="connsiteX50112" fmla="*/ 2945467 w 8079933"/>
              <a:gd name="connsiteY50112" fmla="*/ 657526 h 4687251"/>
              <a:gd name="connsiteX50113" fmla="*/ 2942971 w 8079933"/>
              <a:gd name="connsiteY50113" fmla="*/ 654278 h 4687251"/>
              <a:gd name="connsiteX50114" fmla="*/ 2942971 w 8079933"/>
              <a:gd name="connsiteY50114" fmla="*/ 650921 h 4687251"/>
              <a:gd name="connsiteX50115" fmla="*/ 2944382 w 8079933"/>
              <a:gd name="connsiteY50115" fmla="*/ 649298 h 4687251"/>
              <a:gd name="connsiteX50116" fmla="*/ 2943406 w 8079933"/>
              <a:gd name="connsiteY50116" fmla="*/ 647241 h 4687251"/>
              <a:gd name="connsiteX50117" fmla="*/ 2943406 w 8079933"/>
              <a:gd name="connsiteY50117" fmla="*/ 642910 h 4687251"/>
              <a:gd name="connsiteX50118" fmla="*/ 2941561 w 8079933"/>
              <a:gd name="connsiteY50118" fmla="*/ 639229 h 4687251"/>
              <a:gd name="connsiteX50119" fmla="*/ 2933422 w 8079933"/>
              <a:gd name="connsiteY50119" fmla="*/ 632408 h 4687251"/>
              <a:gd name="connsiteX50120" fmla="*/ 2933422 w 8079933"/>
              <a:gd name="connsiteY50120" fmla="*/ 630783 h 4687251"/>
              <a:gd name="connsiteX50121" fmla="*/ 2931577 w 8079933"/>
              <a:gd name="connsiteY50121" fmla="*/ 627644 h 4687251"/>
              <a:gd name="connsiteX50122" fmla="*/ 2929732 w 8079933"/>
              <a:gd name="connsiteY50122" fmla="*/ 625803 h 4687251"/>
              <a:gd name="connsiteX50123" fmla="*/ 2929732 w 8079933"/>
              <a:gd name="connsiteY50123" fmla="*/ 623854 h 4687251"/>
              <a:gd name="connsiteX50124" fmla="*/ 2931252 w 8079933"/>
              <a:gd name="connsiteY50124" fmla="*/ 622989 h 4687251"/>
              <a:gd name="connsiteX50125" fmla="*/ 2936026 w 8079933"/>
              <a:gd name="connsiteY50125" fmla="*/ 618874 h 4687251"/>
              <a:gd name="connsiteX50126" fmla="*/ 2938739 w 8079933"/>
              <a:gd name="connsiteY50126" fmla="*/ 617358 h 4687251"/>
              <a:gd name="connsiteX50127" fmla="*/ 2940150 w 8079933"/>
              <a:gd name="connsiteY50127" fmla="*/ 614760 h 4687251"/>
              <a:gd name="connsiteX50128" fmla="*/ 2939065 w 8079933"/>
              <a:gd name="connsiteY50128" fmla="*/ 613569 h 4687251"/>
              <a:gd name="connsiteX50129" fmla="*/ 2935266 w 8079933"/>
              <a:gd name="connsiteY50129" fmla="*/ 613569 h 4687251"/>
              <a:gd name="connsiteX50130" fmla="*/ 2935266 w 8079933"/>
              <a:gd name="connsiteY50130" fmla="*/ 611945 h 4687251"/>
              <a:gd name="connsiteX50131" fmla="*/ 2937979 w 8079933"/>
              <a:gd name="connsiteY50131" fmla="*/ 609779 h 4687251"/>
              <a:gd name="connsiteX50132" fmla="*/ 2940150 w 8079933"/>
              <a:gd name="connsiteY50132" fmla="*/ 605341 h 4687251"/>
              <a:gd name="connsiteX50133" fmla="*/ 2941658 w 8079933"/>
              <a:gd name="connsiteY50133" fmla="*/ 603621 h 4687251"/>
              <a:gd name="connsiteX50134" fmla="*/ 2942429 w 8079933"/>
              <a:gd name="connsiteY50134" fmla="*/ 604582 h 4687251"/>
              <a:gd name="connsiteX50135" fmla="*/ 2942429 w 8079933"/>
              <a:gd name="connsiteY50135" fmla="*/ 602742 h 4687251"/>
              <a:gd name="connsiteX50136" fmla="*/ 2941658 w 8079933"/>
              <a:gd name="connsiteY50136" fmla="*/ 603621 h 4687251"/>
              <a:gd name="connsiteX50137" fmla="*/ 2941561 w 8079933"/>
              <a:gd name="connsiteY50137" fmla="*/ 603499 h 4687251"/>
              <a:gd name="connsiteX50138" fmla="*/ 2943080 w 8079933"/>
              <a:gd name="connsiteY50138" fmla="*/ 600468 h 4687251"/>
              <a:gd name="connsiteX50139" fmla="*/ 2941126 w 8079933"/>
              <a:gd name="connsiteY50139" fmla="*/ 598195 h 4687251"/>
              <a:gd name="connsiteX50140" fmla="*/ 2938848 w 8079933"/>
              <a:gd name="connsiteY50140" fmla="*/ 597437 h 4687251"/>
              <a:gd name="connsiteX50141" fmla="*/ 2935158 w 8079933"/>
              <a:gd name="connsiteY50141" fmla="*/ 592889 h 4687251"/>
              <a:gd name="connsiteX50142" fmla="*/ 2929949 w 8079933"/>
              <a:gd name="connsiteY50142" fmla="*/ 588884 h 4687251"/>
              <a:gd name="connsiteX50143" fmla="*/ 2928539 w 8079933"/>
              <a:gd name="connsiteY50143" fmla="*/ 585310 h 4687251"/>
              <a:gd name="connsiteX50144" fmla="*/ 2926368 w 8079933"/>
              <a:gd name="connsiteY50144" fmla="*/ 583902 h 4687251"/>
              <a:gd name="connsiteX50145" fmla="*/ 2924632 w 8079933"/>
              <a:gd name="connsiteY50145" fmla="*/ 583902 h 4687251"/>
              <a:gd name="connsiteX50146" fmla="*/ 2924632 w 8079933"/>
              <a:gd name="connsiteY50146" fmla="*/ 586068 h 4687251"/>
              <a:gd name="connsiteX50147" fmla="*/ 2922679 w 8079933"/>
              <a:gd name="connsiteY50147" fmla="*/ 586068 h 4687251"/>
              <a:gd name="connsiteX50148" fmla="*/ 2921485 w 8079933"/>
              <a:gd name="connsiteY50148" fmla="*/ 584985 h 4687251"/>
              <a:gd name="connsiteX50149" fmla="*/ 2920617 w 8079933"/>
              <a:gd name="connsiteY50149" fmla="*/ 581413 h 4687251"/>
              <a:gd name="connsiteX50150" fmla="*/ 2918121 w 8079933"/>
              <a:gd name="connsiteY50150" fmla="*/ 579138 h 4687251"/>
              <a:gd name="connsiteX50151" fmla="*/ 2914865 w 8079933"/>
              <a:gd name="connsiteY50151" fmla="*/ 576865 h 4687251"/>
              <a:gd name="connsiteX50152" fmla="*/ 2912587 w 8079933"/>
              <a:gd name="connsiteY50152" fmla="*/ 574050 h 4687251"/>
              <a:gd name="connsiteX50153" fmla="*/ 2910634 w 8079933"/>
              <a:gd name="connsiteY50153" fmla="*/ 573292 h 4687251"/>
              <a:gd name="connsiteX50154" fmla="*/ 2909548 w 8079933"/>
              <a:gd name="connsiteY50154" fmla="*/ 574375 h 4687251"/>
              <a:gd name="connsiteX50155" fmla="*/ 2907595 w 8079933"/>
              <a:gd name="connsiteY50155" fmla="*/ 574375 h 4687251"/>
              <a:gd name="connsiteX50156" fmla="*/ 2907595 w 8079933"/>
              <a:gd name="connsiteY50156" fmla="*/ 572859 h 4687251"/>
              <a:gd name="connsiteX50157" fmla="*/ 2908463 w 8079933"/>
              <a:gd name="connsiteY50157" fmla="*/ 568745 h 4687251"/>
              <a:gd name="connsiteX50158" fmla="*/ 2902929 w 8079933"/>
              <a:gd name="connsiteY50158" fmla="*/ 564414 h 4687251"/>
              <a:gd name="connsiteX50159" fmla="*/ 2898588 w 8079933"/>
              <a:gd name="connsiteY50159" fmla="*/ 559975 h 4687251"/>
              <a:gd name="connsiteX50160" fmla="*/ 2896851 w 8079933"/>
              <a:gd name="connsiteY50160" fmla="*/ 559975 h 4687251"/>
              <a:gd name="connsiteX50161" fmla="*/ 2894464 w 8079933"/>
              <a:gd name="connsiteY50161" fmla="*/ 562573 h 4687251"/>
              <a:gd name="connsiteX50162" fmla="*/ 2890667 w 8079933"/>
              <a:gd name="connsiteY50162" fmla="*/ 561058 h 4687251"/>
              <a:gd name="connsiteX50163" fmla="*/ 2884156 w 8079933"/>
              <a:gd name="connsiteY50163" fmla="*/ 555428 h 4687251"/>
              <a:gd name="connsiteX50164" fmla="*/ 2878838 w 8079933"/>
              <a:gd name="connsiteY50164" fmla="*/ 553695 h 4687251"/>
              <a:gd name="connsiteX50165" fmla="*/ 2875583 w 8079933"/>
              <a:gd name="connsiteY50165" fmla="*/ 550230 h 4687251"/>
              <a:gd name="connsiteX50166" fmla="*/ 2871459 w 8079933"/>
              <a:gd name="connsiteY50166" fmla="*/ 548715 h 4687251"/>
              <a:gd name="connsiteX50167" fmla="*/ 2866467 w 8079933"/>
              <a:gd name="connsiteY50167" fmla="*/ 549365 h 4687251"/>
              <a:gd name="connsiteX50168" fmla="*/ 2863320 w 8079933"/>
              <a:gd name="connsiteY50168" fmla="*/ 552288 h 4687251"/>
              <a:gd name="connsiteX50169" fmla="*/ 2860716 w 8079933"/>
              <a:gd name="connsiteY50169" fmla="*/ 557052 h 4687251"/>
              <a:gd name="connsiteX50170" fmla="*/ 2856375 w 8079933"/>
              <a:gd name="connsiteY50170" fmla="*/ 560192 h 4687251"/>
              <a:gd name="connsiteX50171" fmla="*/ 2854530 w 8079933"/>
              <a:gd name="connsiteY50171" fmla="*/ 562573 h 4687251"/>
              <a:gd name="connsiteX50172" fmla="*/ 2854530 w 8079933"/>
              <a:gd name="connsiteY50172" fmla="*/ 558243 h 4687251"/>
              <a:gd name="connsiteX50173" fmla="*/ 2856809 w 8079933"/>
              <a:gd name="connsiteY50173" fmla="*/ 554236 h 4687251"/>
              <a:gd name="connsiteX50174" fmla="*/ 2856809 w 8079933"/>
              <a:gd name="connsiteY50174" fmla="*/ 549906 h 4687251"/>
              <a:gd name="connsiteX50175" fmla="*/ 2855398 w 8079933"/>
              <a:gd name="connsiteY50175" fmla="*/ 548390 h 4687251"/>
              <a:gd name="connsiteX50176" fmla="*/ 2850949 w 8079933"/>
              <a:gd name="connsiteY50176" fmla="*/ 548390 h 4687251"/>
              <a:gd name="connsiteX50177" fmla="*/ 2848562 w 8079933"/>
              <a:gd name="connsiteY50177" fmla="*/ 551530 h 4687251"/>
              <a:gd name="connsiteX50178" fmla="*/ 2848562 w 8079933"/>
              <a:gd name="connsiteY50178" fmla="*/ 554453 h 4687251"/>
              <a:gd name="connsiteX50179" fmla="*/ 2845306 w 8079933"/>
              <a:gd name="connsiteY50179" fmla="*/ 556510 h 4687251"/>
              <a:gd name="connsiteX50180" fmla="*/ 2842919 w 8079933"/>
              <a:gd name="connsiteY50180" fmla="*/ 554995 h 4687251"/>
              <a:gd name="connsiteX50181" fmla="*/ 2840206 w 8079933"/>
              <a:gd name="connsiteY50181" fmla="*/ 549148 h 4687251"/>
              <a:gd name="connsiteX50182" fmla="*/ 2837493 w 8079933"/>
              <a:gd name="connsiteY50182" fmla="*/ 548065 h 4687251"/>
              <a:gd name="connsiteX50183" fmla="*/ 2836842 w 8079933"/>
              <a:gd name="connsiteY50183" fmla="*/ 550988 h 4687251"/>
              <a:gd name="connsiteX50184" fmla="*/ 2834563 w 8079933"/>
              <a:gd name="connsiteY50184" fmla="*/ 559109 h 4687251"/>
              <a:gd name="connsiteX50185" fmla="*/ 2832827 w 8079933"/>
              <a:gd name="connsiteY50185" fmla="*/ 560300 h 4687251"/>
              <a:gd name="connsiteX50186" fmla="*/ 2829572 w 8079933"/>
              <a:gd name="connsiteY50186" fmla="*/ 559109 h 4687251"/>
              <a:gd name="connsiteX50187" fmla="*/ 2829572 w 8079933"/>
              <a:gd name="connsiteY50187" fmla="*/ 554453 h 4687251"/>
              <a:gd name="connsiteX50188" fmla="*/ 2831634 w 8079933"/>
              <a:gd name="connsiteY50188" fmla="*/ 550123 h 4687251"/>
              <a:gd name="connsiteX50189" fmla="*/ 2835215 w 8079933"/>
              <a:gd name="connsiteY50189" fmla="*/ 547416 h 4687251"/>
              <a:gd name="connsiteX50190" fmla="*/ 2834347 w 8079933"/>
              <a:gd name="connsiteY50190" fmla="*/ 545467 h 4687251"/>
              <a:gd name="connsiteX50191" fmla="*/ 2831199 w 8079933"/>
              <a:gd name="connsiteY50191" fmla="*/ 545467 h 4687251"/>
              <a:gd name="connsiteX50192" fmla="*/ 2829789 w 8079933"/>
              <a:gd name="connsiteY50192" fmla="*/ 544059 h 4687251"/>
              <a:gd name="connsiteX50193" fmla="*/ 2825339 w 8079933"/>
              <a:gd name="connsiteY50193" fmla="*/ 546983 h 4687251"/>
              <a:gd name="connsiteX50194" fmla="*/ 2822084 w 8079933"/>
              <a:gd name="connsiteY50194" fmla="*/ 546983 h 4687251"/>
              <a:gd name="connsiteX50195" fmla="*/ 2820890 w 8079933"/>
              <a:gd name="connsiteY50195" fmla="*/ 549581 h 4687251"/>
              <a:gd name="connsiteX50196" fmla="*/ 2819480 w 8079933"/>
              <a:gd name="connsiteY50196" fmla="*/ 550664 h 4687251"/>
              <a:gd name="connsiteX50197" fmla="*/ 2818611 w 8079933"/>
              <a:gd name="connsiteY50197" fmla="*/ 548282 h 4687251"/>
              <a:gd name="connsiteX50198" fmla="*/ 2818611 w 8079933"/>
              <a:gd name="connsiteY50198" fmla="*/ 545575 h 4687251"/>
              <a:gd name="connsiteX50199" fmla="*/ 2816875 w 8079933"/>
              <a:gd name="connsiteY50199" fmla="*/ 541135 h 4687251"/>
              <a:gd name="connsiteX50200" fmla="*/ 2815790 w 8079933"/>
              <a:gd name="connsiteY50200" fmla="*/ 537238 h 4687251"/>
              <a:gd name="connsiteX50201" fmla="*/ 2814270 w 8079933"/>
              <a:gd name="connsiteY50201" fmla="*/ 537238 h 4687251"/>
              <a:gd name="connsiteX50202" fmla="*/ 2811992 w 8079933"/>
              <a:gd name="connsiteY50202" fmla="*/ 538104 h 4687251"/>
              <a:gd name="connsiteX50203" fmla="*/ 2811992 w 8079933"/>
              <a:gd name="connsiteY50203" fmla="*/ 541028 h 4687251"/>
              <a:gd name="connsiteX50204" fmla="*/ 2810798 w 8079933"/>
              <a:gd name="connsiteY50204" fmla="*/ 545792 h 4687251"/>
              <a:gd name="connsiteX50205" fmla="*/ 2808736 w 8079933"/>
              <a:gd name="connsiteY50205" fmla="*/ 547633 h 4687251"/>
              <a:gd name="connsiteX50206" fmla="*/ 2808736 w 8079933"/>
              <a:gd name="connsiteY50206" fmla="*/ 551097 h 4687251"/>
              <a:gd name="connsiteX50207" fmla="*/ 2809604 w 8079933"/>
              <a:gd name="connsiteY50207" fmla="*/ 557485 h 4687251"/>
              <a:gd name="connsiteX50208" fmla="*/ 2809604 w 8079933"/>
              <a:gd name="connsiteY50208" fmla="*/ 560408 h 4687251"/>
              <a:gd name="connsiteX50209" fmla="*/ 2808519 w 8079933"/>
              <a:gd name="connsiteY50209" fmla="*/ 561924 h 4687251"/>
              <a:gd name="connsiteX50210" fmla="*/ 2805047 w 8079933"/>
              <a:gd name="connsiteY50210" fmla="*/ 559867 h 4687251"/>
              <a:gd name="connsiteX50211" fmla="*/ 2801031 w 8079933"/>
              <a:gd name="connsiteY50211" fmla="*/ 555752 h 4687251"/>
              <a:gd name="connsiteX50212" fmla="*/ 2796257 w 8079933"/>
              <a:gd name="connsiteY50212" fmla="*/ 553695 h 4687251"/>
              <a:gd name="connsiteX50213" fmla="*/ 2791807 w 8079933"/>
              <a:gd name="connsiteY50213" fmla="*/ 550447 h 4687251"/>
              <a:gd name="connsiteX50214" fmla="*/ 2788009 w 8079933"/>
              <a:gd name="connsiteY50214" fmla="*/ 546333 h 4687251"/>
              <a:gd name="connsiteX50215" fmla="*/ 2785079 w 8079933"/>
              <a:gd name="connsiteY50215" fmla="*/ 544601 h 4687251"/>
              <a:gd name="connsiteX50216" fmla="*/ 2785079 w 8079933"/>
              <a:gd name="connsiteY50216" fmla="*/ 543410 h 4687251"/>
              <a:gd name="connsiteX50217" fmla="*/ 2786924 w 8079933"/>
              <a:gd name="connsiteY50217" fmla="*/ 542002 h 4687251"/>
              <a:gd name="connsiteX50218" fmla="*/ 2781933 w 8079933"/>
              <a:gd name="connsiteY50218" fmla="*/ 540269 h 4687251"/>
              <a:gd name="connsiteX50219" fmla="*/ 2778677 w 8079933"/>
              <a:gd name="connsiteY50219" fmla="*/ 533016 h 4687251"/>
              <a:gd name="connsiteX50220" fmla="*/ 2776290 w 8079933"/>
              <a:gd name="connsiteY50220" fmla="*/ 529768 h 4687251"/>
              <a:gd name="connsiteX50221" fmla="*/ 2772492 w 8079933"/>
              <a:gd name="connsiteY50221" fmla="*/ 525437 h 4687251"/>
              <a:gd name="connsiteX50222" fmla="*/ 2772492 w 8079933"/>
              <a:gd name="connsiteY50222" fmla="*/ 520240 h 4687251"/>
              <a:gd name="connsiteX50223" fmla="*/ 2774553 w 8079933"/>
              <a:gd name="connsiteY50223" fmla="*/ 517641 h 4687251"/>
              <a:gd name="connsiteX50224" fmla="*/ 2780956 w 8079933"/>
              <a:gd name="connsiteY50224" fmla="*/ 517641 h 4687251"/>
              <a:gd name="connsiteX50225" fmla="*/ 2783561 w 8079933"/>
              <a:gd name="connsiteY50225" fmla="*/ 514935 h 4687251"/>
              <a:gd name="connsiteX50226" fmla="*/ 2787359 w 8079933"/>
              <a:gd name="connsiteY50226" fmla="*/ 513852 h 4687251"/>
              <a:gd name="connsiteX50227" fmla="*/ 2793544 w 8079933"/>
              <a:gd name="connsiteY50227" fmla="*/ 513852 h 4687251"/>
              <a:gd name="connsiteX50228" fmla="*/ 2795064 w 8079933"/>
              <a:gd name="connsiteY50228" fmla="*/ 515367 h 4687251"/>
              <a:gd name="connsiteX50229" fmla="*/ 2798210 w 8079933"/>
              <a:gd name="connsiteY50229" fmla="*/ 513094 h 4687251"/>
              <a:gd name="connsiteX50230" fmla="*/ 2800163 w 8079933"/>
              <a:gd name="connsiteY50230" fmla="*/ 510171 h 4687251"/>
              <a:gd name="connsiteX50231" fmla="*/ 2800163 w 8079933"/>
              <a:gd name="connsiteY50231" fmla="*/ 507897 h 4687251"/>
              <a:gd name="connsiteX50232" fmla="*/ 2795389 w 8079933"/>
              <a:gd name="connsiteY50232" fmla="*/ 507897 h 4687251"/>
              <a:gd name="connsiteX50233" fmla="*/ 2789204 w 8079933"/>
              <a:gd name="connsiteY50233" fmla="*/ 504649 h 4687251"/>
              <a:gd name="connsiteX50234" fmla="*/ 2786924 w 8079933"/>
              <a:gd name="connsiteY50234" fmla="*/ 504649 h 4687251"/>
              <a:gd name="connsiteX50235" fmla="*/ 2785188 w 8079933"/>
              <a:gd name="connsiteY50235" fmla="*/ 506923 h 4687251"/>
              <a:gd name="connsiteX50236" fmla="*/ 2778135 w 8079933"/>
              <a:gd name="connsiteY50236" fmla="*/ 500101 h 4687251"/>
              <a:gd name="connsiteX50237" fmla="*/ 2777483 w 8079933"/>
              <a:gd name="connsiteY50237" fmla="*/ 493930 h 4687251"/>
              <a:gd name="connsiteX50238" fmla="*/ 2780196 w 8079933"/>
              <a:gd name="connsiteY50238" fmla="*/ 491548 h 4687251"/>
              <a:gd name="connsiteX50239" fmla="*/ 2783669 w 8079933"/>
              <a:gd name="connsiteY50239" fmla="*/ 489707 h 4687251"/>
              <a:gd name="connsiteX50240" fmla="*/ 2785622 w 8079933"/>
              <a:gd name="connsiteY50240" fmla="*/ 484186 h 4687251"/>
              <a:gd name="connsiteX50241" fmla="*/ 2787467 w 8079933"/>
              <a:gd name="connsiteY50241" fmla="*/ 481803 h 4687251"/>
              <a:gd name="connsiteX50242" fmla="*/ 2784320 w 8079933"/>
              <a:gd name="connsiteY50242" fmla="*/ 481803 h 4687251"/>
              <a:gd name="connsiteX50243" fmla="*/ 2782041 w 8079933"/>
              <a:gd name="connsiteY50243" fmla="*/ 483320 h 4687251"/>
              <a:gd name="connsiteX50244" fmla="*/ 2779112 w 8079933"/>
              <a:gd name="connsiteY50244" fmla="*/ 488841 h 4687251"/>
              <a:gd name="connsiteX50245" fmla="*/ 2776507 w 8079933"/>
              <a:gd name="connsiteY50245" fmla="*/ 488841 h 4687251"/>
              <a:gd name="connsiteX50246" fmla="*/ 2774662 w 8079933"/>
              <a:gd name="connsiteY50246" fmla="*/ 490249 h 4687251"/>
              <a:gd name="connsiteX50247" fmla="*/ 2771949 w 8079933"/>
              <a:gd name="connsiteY50247" fmla="*/ 493496 h 4687251"/>
              <a:gd name="connsiteX50248" fmla="*/ 2766957 w 8079933"/>
              <a:gd name="connsiteY50248" fmla="*/ 491440 h 4687251"/>
              <a:gd name="connsiteX50249" fmla="*/ 2765546 w 8079933"/>
              <a:gd name="connsiteY50249" fmla="*/ 487109 h 4687251"/>
              <a:gd name="connsiteX50250" fmla="*/ 2766741 w 8079933"/>
              <a:gd name="connsiteY50250" fmla="*/ 483536 h 4687251"/>
              <a:gd name="connsiteX50251" fmla="*/ 2769670 w 8079933"/>
              <a:gd name="connsiteY50251" fmla="*/ 481587 h 4687251"/>
              <a:gd name="connsiteX50252" fmla="*/ 2768259 w 8079933"/>
              <a:gd name="connsiteY50252" fmla="*/ 480071 h 4687251"/>
              <a:gd name="connsiteX50253" fmla="*/ 2765655 w 8079933"/>
              <a:gd name="connsiteY50253" fmla="*/ 480071 h 4687251"/>
              <a:gd name="connsiteX50254" fmla="*/ 2763919 w 8079933"/>
              <a:gd name="connsiteY50254" fmla="*/ 481046 h 4687251"/>
              <a:gd name="connsiteX50255" fmla="*/ 2763919 w 8079933"/>
              <a:gd name="connsiteY50255" fmla="*/ 474225 h 4687251"/>
              <a:gd name="connsiteX50256" fmla="*/ 2765764 w 8079933"/>
              <a:gd name="connsiteY50256" fmla="*/ 471301 h 4687251"/>
              <a:gd name="connsiteX50257" fmla="*/ 2767609 w 8079933"/>
              <a:gd name="connsiteY50257" fmla="*/ 471301 h 4687251"/>
              <a:gd name="connsiteX50258" fmla="*/ 2769345 w 8079933"/>
              <a:gd name="connsiteY50258" fmla="*/ 469244 h 4687251"/>
              <a:gd name="connsiteX50259" fmla="*/ 2772492 w 8079933"/>
              <a:gd name="connsiteY50259" fmla="*/ 469244 h 4687251"/>
              <a:gd name="connsiteX50260" fmla="*/ 2774879 w 8079933"/>
              <a:gd name="connsiteY50260" fmla="*/ 471301 h 4687251"/>
              <a:gd name="connsiteX50261" fmla="*/ 2774879 w 8079933"/>
              <a:gd name="connsiteY50261" fmla="*/ 465996 h 4687251"/>
              <a:gd name="connsiteX50262" fmla="*/ 2782801 w 8079933"/>
              <a:gd name="connsiteY50262" fmla="*/ 463073 h 4687251"/>
              <a:gd name="connsiteX50263" fmla="*/ 2790722 w 8079933"/>
              <a:gd name="connsiteY50263" fmla="*/ 464914 h 4687251"/>
              <a:gd name="connsiteX50264" fmla="*/ 2796040 w 8079933"/>
              <a:gd name="connsiteY50264" fmla="*/ 468703 h 4687251"/>
              <a:gd name="connsiteX50265" fmla="*/ 2804504 w 8079933"/>
              <a:gd name="connsiteY50265" fmla="*/ 468703 h 4687251"/>
              <a:gd name="connsiteX50266" fmla="*/ 2812751 w 8079933"/>
              <a:gd name="connsiteY50266" fmla="*/ 472817 h 4687251"/>
              <a:gd name="connsiteX50267" fmla="*/ 2819480 w 8079933"/>
              <a:gd name="connsiteY50267" fmla="*/ 472817 h 4687251"/>
              <a:gd name="connsiteX50268" fmla="*/ 2822952 w 8079933"/>
              <a:gd name="connsiteY50268" fmla="*/ 474550 h 4687251"/>
              <a:gd name="connsiteX50269" fmla="*/ 2831525 w 8079933"/>
              <a:gd name="connsiteY50269" fmla="*/ 479530 h 4687251"/>
              <a:gd name="connsiteX50270" fmla="*/ 2835215 w 8079933"/>
              <a:gd name="connsiteY50270" fmla="*/ 479530 h 4687251"/>
              <a:gd name="connsiteX50271" fmla="*/ 2837818 w 8079933"/>
              <a:gd name="connsiteY50271" fmla="*/ 479530 h 4687251"/>
              <a:gd name="connsiteX50272" fmla="*/ 2843353 w 8079933"/>
              <a:gd name="connsiteY50272" fmla="*/ 477473 h 4687251"/>
              <a:gd name="connsiteX50273" fmla="*/ 2839555 w 8079933"/>
              <a:gd name="connsiteY50273" fmla="*/ 476607 h 4687251"/>
              <a:gd name="connsiteX50274" fmla="*/ 2835431 w 8079933"/>
              <a:gd name="connsiteY50274" fmla="*/ 476607 h 4687251"/>
              <a:gd name="connsiteX50275" fmla="*/ 2828052 w 8079933"/>
              <a:gd name="connsiteY50275" fmla="*/ 473142 h 4687251"/>
              <a:gd name="connsiteX50276" fmla="*/ 2821975 w 8079933"/>
              <a:gd name="connsiteY50276" fmla="*/ 468378 h 4687251"/>
              <a:gd name="connsiteX50277" fmla="*/ 2816983 w 8079933"/>
              <a:gd name="connsiteY50277" fmla="*/ 467728 h 4687251"/>
              <a:gd name="connsiteX50278" fmla="*/ 2810256 w 8079933"/>
              <a:gd name="connsiteY50278" fmla="*/ 466754 h 4687251"/>
              <a:gd name="connsiteX50279" fmla="*/ 2805806 w 8079933"/>
              <a:gd name="connsiteY50279" fmla="*/ 463181 h 4687251"/>
              <a:gd name="connsiteX50280" fmla="*/ 2805806 w 8079933"/>
              <a:gd name="connsiteY50280" fmla="*/ 460907 h 4687251"/>
              <a:gd name="connsiteX50281" fmla="*/ 2814270 w 8079933"/>
              <a:gd name="connsiteY50281" fmla="*/ 459067 h 4687251"/>
              <a:gd name="connsiteX50282" fmla="*/ 2820456 w 8079933"/>
              <a:gd name="connsiteY50282" fmla="*/ 459716 h 4687251"/>
              <a:gd name="connsiteX50283" fmla="*/ 2830222 w 8079933"/>
              <a:gd name="connsiteY50283" fmla="*/ 459716 h 4687251"/>
              <a:gd name="connsiteX50284" fmla="*/ 2837601 w 8079933"/>
              <a:gd name="connsiteY50284" fmla="*/ 462640 h 4687251"/>
              <a:gd name="connsiteX50285" fmla="*/ 2840857 w 8079933"/>
              <a:gd name="connsiteY50285" fmla="*/ 466213 h 4687251"/>
              <a:gd name="connsiteX50286" fmla="*/ 2843679 w 8079933"/>
              <a:gd name="connsiteY50286" fmla="*/ 467187 h 4687251"/>
              <a:gd name="connsiteX50287" fmla="*/ 2845198 w 8079933"/>
              <a:gd name="connsiteY50287" fmla="*/ 468703 h 4687251"/>
              <a:gd name="connsiteX50288" fmla="*/ 2848887 w 8079933"/>
              <a:gd name="connsiteY50288" fmla="*/ 470761 h 4687251"/>
              <a:gd name="connsiteX50289" fmla="*/ 2848887 w 8079933"/>
              <a:gd name="connsiteY50289" fmla="*/ 468378 h 4687251"/>
              <a:gd name="connsiteX50290" fmla="*/ 2847477 w 8079933"/>
              <a:gd name="connsiteY50290" fmla="*/ 466321 h 4687251"/>
              <a:gd name="connsiteX50291" fmla="*/ 2847477 w 8079933"/>
              <a:gd name="connsiteY50291" fmla="*/ 463073 h 4687251"/>
              <a:gd name="connsiteX50292" fmla="*/ 2852794 w 8079933"/>
              <a:gd name="connsiteY50292" fmla="*/ 459608 h 4687251"/>
              <a:gd name="connsiteX50293" fmla="*/ 2854421 w 8079933"/>
              <a:gd name="connsiteY50293" fmla="*/ 459608 h 4687251"/>
              <a:gd name="connsiteX50294" fmla="*/ 2853770 w 8079933"/>
              <a:gd name="connsiteY50294" fmla="*/ 453004 h 4687251"/>
              <a:gd name="connsiteX50295" fmla="*/ 2851058 w 8079933"/>
              <a:gd name="connsiteY50295" fmla="*/ 451921 h 4687251"/>
              <a:gd name="connsiteX50296" fmla="*/ 2848779 w 8079933"/>
              <a:gd name="connsiteY50296" fmla="*/ 451921 h 4687251"/>
              <a:gd name="connsiteX50297" fmla="*/ 2846826 w 8079933"/>
              <a:gd name="connsiteY50297" fmla="*/ 450081 h 4687251"/>
              <a:gd name="connsiteX50298" fmla="*/ 2846826 w 8079933"/>
              <a:gd name="connsiteY50298" fmla="*/ 447049 h 4687251"/>
              <a:gd name="connsiteX50299" fmla="*/ 2843679 w 8079933"/>
              <a:gd name="connsiteY50299" fmla="*/ 445966 h 4687251"/>
              <a:gd name="connsiteX50300" fmla="*/ 2841074 w 8079933"/>
              <a:gd name="connsiteY50300" fmla="*/ 446616 h 4687251"/>
              <a:gd name="connsiteX50301" fmla="*/ 2836842 w 8079933"/>
              <a:gd name="connsiteY50301" fmla="*/ 449972 h 4687251"/>
              <a:gd name="connsiteX50302" fmla="*/ 2831959 w 8079933"/>
              <a:gd name="connsiteY50302" fmla="*/ 449972 h 4687251"/>
              <a:gd name="connsiteX50303" fmla="*/ 2824906 w 8079933"/>
              <a:gd name="connsiteY50303" fmla="*/ 448565 h 4687251"/>
              <a:gd name="connsiteX50304" fmla="*/ 2820890 w 8079933"/>
              <a:gd name="connsiteY50304" fmla="*/ 446291 h 4687251"/>
              <a:gd name="connsiteX50305" fmla="*/ 2820890 w 8079933"/>
              <a:gd name="connsiteY50305" fmla="*/ 444342 h 4687251"/>
              <a:gd name="connsiteX50306" fmla="*/ 2819805 w 8079933"/>
              <a:gd name="connsiteY50306" fmla="*/ 443043 h 4687251"/>
              <a:gd name="connsiteX50307" fmla="*/ 2816332 w 8079933"/>
              <a:gd name="connsiteY50307" fmla="*/ 438279 h 4687251"/>
              <a:gd name="connsiteX50308" fmla="*/ 2814054 w 8079933"/>
              <a:gd name="connsiteY50308" fmla="*/ 438279 h 4687251"/>
              <a:gd name="connsiteX50309" fmla="*/ 2812751 w 8079933"/>
              <a:gd name="connsiteY50309" fmla="*/ 439795 h 4687251"/>
              <a:gd name="connsiteX50310" fmla="*/ 2813511 w 8079933"/>
              <a:gd name="connsiteY50310" fmla="*/ 441744 h 4687251"/>
              <a:gd name="connsiteX50311" fmla="*/ 2815682 w 8079933"/>
              <a:gd name="connsiteY50311" fmla="*/ 443909 h 4687251"/>
              <a:gd name="connsiteX50312" fmla="*/ 2814705 w 8079933"/>
              <a:gd name="connsiteY50312" fmla="*/ 449106 h 4687251"/>
              <a:gd name="connsiteX50313" fmla="*/ 2812969 w 8079933"/>
              <a:gd name="connsiteY50313" fmla="*/ 451271 h 4687251"/>
              <a:gd name="connsiteX50314" fmla="*/ 2806349 w 8079933"/>
              <a:gd name="connsiteY50314" fmla="*/ 451271 h 4687251"/>
              <a:gd name="connsiteX50315" fmla="*/ 2800706 w 8079933"/>
              <a:gd name="connsiteY50315" fmla="*/ 449431 h 4687251"/>
              <a:gd name="connsiteX50316" fmla="*/ 2793110 w 8079933"/>
              <a:gd name="connsiteY50316" fmla="*/ 441852 h 4687251"/>
              <a:gd name="connsiteX50317" fmla="*/ 2793978 w 8079933"/>
              <a:gd name="connsiteY50317" fmla="*/ 440120 h 4687251"/>
              <a:gd name="connsiteX50318" fmla="*/ 2798861 w 8079933"/>
              <a:gd name="connsiteY50318" fmla="*/ 438170 h 4687251"/>
              <a:gd name="connsiteX50319" fmla="*/ 2806457 w 8079933"/>
              <a:gd name="connsiteY50319" fmla="*/ 434923 h 4687251"/>
              <a:gd name="connsiteX50320" fmla="*/ 2806457 w 8079933"/>
              <a:gd name="connsiteY50320" fmla="*/ 433406 h 4687251"/>
              <a:gd name="connsiteX50321" fmla="*/ 2804612 w 8079933"/>
              <a:gd name="connsiteY50321" fmla="*/ 432649 h 4687251"/>
              <a:gd name="connsiteX50322" fmla="*/ 2798970 w 8079933"/>
              <a:gd name="connsiteY50322" fmla="*/ 434489 h 4687251"/>
              <a:gd name="connsiteX50323" fmla="*/ 2795389 w 8079933"/>
              <a:gd name="connsiteY50323" fmla="*/ 436547 h 4687251"/>
              <a:gd name="connsiteX50324" fmla="*/ 2791265 w 8079933"/>
              <a:gd name="connsiteY50324" fmla="*/ 435247 h 4687251"/>
              <a:gd name="connsiteX50325" fmla="*/ 2790397 w 8079933"/>
              <a:gd name="connsiteY50325" fmla="*/ 432216 h 4687251"/>
              <a:gd name="connsiteX50326" fmla="*/ 2791916 w 8079933"/>
              <a:gd name="connsiteY50326" fmla="*/ 430375 h 4687251"/>
              <a:gd name="connsiteX50327" fmla="*/ 2796474 w 8079933"/>
              <a:gd name="connsiteY50327" fmla="*/ 428859 h 4687251"/>
              <a:gd name="connsiteX50328" fmla="*/ 2800489 w 8079933"/>
              <a:gd name="connsiteY50328" fmla="*/ 426369 h 4687251"/>
              <a:gd name="connsiteX50329" fmla="*/ 2803528 w 8079933"/>
              <a:gd name="connsiteY50329" fmla="*/ 421172 h 4687251"/>
              <a:gd name="connsiteX50330" fmla="*/ 2802768 w 8079933"/>
              <a:gd name="connsiteY50330" fmla="*/ 418574 h 4687251"/>
              <a:gd name="connsiteX50331" fmla="*/ 2800272 w 8079933"/>
              <a:gd name="connsiteY50331" fmla="*/ 417600 h 4687251"/>
              <a:gd name="connsiteX50332" fmla="*/ 2798970 w 8079933"/>
              <a:gd name="connsiteY50332" fmla="*/ 418682 h 4687251"/>
              <a:gd name="connsiteX50333" fmla="*/ 2796908 w 8079933"/>
              <a:gd name="connsiteY50333" fmla="*/ 422147 h 4687251"/>
              <a:gd name="connsiteX50334" fmla="*/ 2792350 w 8079933"/>
              <a:gd name="connsiteY50334" fmla="*/ 425287 h 4687251"/>
              <a:gd name="connsiteX50335" fmla="*/ 2786816 w 8079933"/>
              <a:gd name="connsiteY50335" fmla="*/ 426261 h 4687251"/>
              <a:gd name="connsiteX50336" fmla="*/ 2782909 w 8079933"/>
              <a:gd name="connsiteY50336" fmla="*/ 425612 h 4687251"/>
              <a:gd name="connsiteX50337" fmla="*/ 2781065 w 8079933"/>
              <a:gd name="connsiteY50337" fmla="*/ 422471 h 4687251"/>
              <a:gd name="connsiteX50338" fmla="*/ 2782041 w 8079933"/>
              <a:gd name="connsiteY50338" fmla="*/ 419873 h 4687251"/>
              <a:gd name="connsiteX50339" fmla="*/ 2784537 w 8079933"/>
              <a:gd name="connsiteY50339" fmla="*/ 417600 h 4687251"/>
              <a:gd name="connsiteX50340" fmla="*/ 2786707 w 8079933"/>
              <a:gd name="connsiteY50340" fmla="*/ 415759 h 4687251"/>
              <a:gd name="connsiteX50341" fmla="*/ 2785514 w 8079933"/>
              <a:gd name="connsiteY50341" fmla="*/ 413918 h 4687251"/>
              <a:gd name="connsiteX50342" fmla="*/ 2783669 w 8079933"/>
              <a:gd name="connsiteY50342" fmla="*/ 412835 h 4687251"/>
              <a:gd name="connsiteX50343" fmla="*/ 2779762 w 8079933"/>
              <a:gd name="connsiteY50343" fmla="*/ 412835 h 4687251"/>
              <a:gd name="connsiteX50344" fmla="*/ 2777700 w 8079933"/>
              <a:gd name="connsiteY50344" fmla="*/ 410887 h 4687251"/>
              <a:gd name="connsiteX50345" fmla="*/ 2773143 w 8079933"/>
              <a:gd name="connsiteY50345" fmla="*/ 401467 h 4687251"/>
              <a:gd name="connsiteX50346" fmla="*/ 2770430 w 8079933"/>
              <a:gd name="connsiteY50346" fmla="*/ 398868 h 4687251"/>
              <a:gd name="connsiteX50347" fmla="*/ 2766198 w 8079933"/>
              <a:gd name="connsiteY50347" fmla="*/ 396702 h 4687251"/>
              <a:gd name="connsiteX50348" fmla="*/ 2764461 w 8079933"/>
              <a:gd name="connsiteY50348" fmla="*/ 394105 h 4687251"/>
              <a:gd name="connsiteX50349" fmla="*/ 2767282 w 8079933"/>
              <a:gd name="connsiteY50349" fmla="*/ 393130 h 4687251"/>
              <a:gd name="connsiteX50350" fmla="*/ 2771407 w 8079933"/>
              <a:gd name="connsiteY50350" fmla="*/ 390856 h 4687251"/>
              <a:gd name="connsiteX50351" fmla="*/ 2773794 w 8079933"/>
              <a:gd name="connsiteY50351" fmla="*/ 387717 h 4687251"/>
              <a:gd name="connsiteX50352" fmla="*/ 2775205 w 8079933"/>
              <a:gd name="connsiteY50352" fmla="*/ 386201 h 4687251"/>
              <a:gd name="connsiteX50353" fmla="*/ 2776507 w 8079933"/>
              <a:gd name="connsiteY50353" fmla="*/ 387176 h 4687251"/>
              <a:gd name="connsiteX50354" fmla="*/ 2779328 w 8079933"/>
              <a:gd name="connsiteY50354" fmla="*/ 387176 h 4687251"/>
              <a:gd name="connsiteX50355" fmla="*/ 2779328 w 8079933"/>
              <a:gd name="connsiteY50355" fmla="*/ 385010 h 4687251"/>
              <a:gd name="connsiteX50356" fmla="*/ 2776724 w 8079933"/>
              <a:gd name="connsiteY50356" fmla="*/ 383711 h 4687251"/>
              <a:gd name="connsiteX50357" fmla="*/ 2772926 w 8079933"/>
              <a:gd name="connsiteY50357" fmla="*/ 383711 h 4687251"/>
              <a:gd name="connsiteX50358" fmla="*/ 2771298 w 8079933"/>
              <a:gd name="connsiteY50358" fmla="*/ 380896 h 4687251"/>
              <a:gd name="connsiteX50359" fmla="*/ 2772817 w 8079933"/>
              <a:gd name="connsiteY50359" fmla="*/ 379055 h 4687251"/>
              <a:gd name="connsiteX50360" fmla="*/ 2776724 w 8079933"/>
              <a:gd name="connsiteY50360" fmla="*/ 379055 h 4687251"/>
              <a:gd name="connsiteX50361" fmla="*/ 2784103 w 8079933"/>
              <a:gd name="connsiteY50361" fmla="*/ 376131 h 4687251"/>
              <a:gd name="connsiteX50362" fmla="*/ 2784103 w 8079933"/>
              <a:gd name="connsiteY50362" fmla="*/ 373749 h 4687251"/>
              <a:gd name="connsiteX50363" fmla="*/ 2784103 w 8079933"/>
              <a:gd name="connsiteY50363" fmla="*/ 371151 h 4687251"/>
              <a:gd name="connsiteX50364" fmla="*/ 2787792 w 8079933"/>
              <a:gd name="connsiteY50364" fmla="*/ 370068 h 4687251"/>
              <a:gd name="connsiteX50365" fmla="*/ 2790505 w 8079933"/>
              <a:gd name="connsiteY50365" fmla="*/ 368227 h 4687251"/>
              <a:gd name="connsiteX50366" fmla="*/ 2793652 w 8079933"/>
              <a:gd name="connsiteY50366" fmla="*/ 368227 h 4687251"/>
              <a:gd name="connsiteX50367" fmla="*/ 2795714 w 8079933"/>
              <a:gd name="connsiteY50367" fmla="*/ 369094 h 4687251"/>
              <a:gd name="connsiteX50368" fmla="*/ 2799186 w 8079933"/>
              <a:gd name="connsiteY50368" fmla="*/ 369094 h 4687251"/>
              <a:gd name="connsiteX50369" fmla="*/ 2802334 w 8079933"/>
              <a:gd name="connsiteY50369" fmla="*/ 367145 h 4687251"/>
              <a:gd name="connsiteX50370" fmla="*/ 2805047 w 8079933"/>
              <a:gd name="connsiteY50370" fmla="*/ 367145 h 4687251"/>
              <a:gd name="connsiteX50371" fmla="*/ 2808302 w 8079933"/>
              <a:gd name="connsiteY50371" fmla="*/ 368011 h 4687251"/>
              <a:gd name="connsiteX50372" fmla="*/ 2808302 w 8079933"/>
              <a:gd name="connsiteY50372" fmla="*/ 369528 h 4687251"/>
              <a:gd name="connsiteX50373" fmla="*/ 2809822 w 8079933"/>
              <a:gd name="connsiteY50373" fmla="*/ 370176 h 4687251"/>
              <a:gd name="connsiteX50374" fmla="*/ 2812969 w 8079933"/>
              <a:gd name="connsiteY50374" fmla="*/ 369528 h 4687251"/>
              <a:gd name="connsiteX50375" fmla="*/ 2814379 w 8079933"/>
              <a:gd name="connsiteY50375" fmla="*/ 366929 h 4687251"/>
              <a:gd name="connsiteX50376" fmla="*/ 2817526 w 8079933"/>
              <a:gd name="connsiteY50376" fmla="*/ 364872 h 4687251"/>
              <a:gd name="connsiteX50377" fmla="*/ 2820039 w 8079933"/>
              <a:gd name="connsiteY50377" fmla="*/ 365391 h 4687251"/>
              <a:gd name="connsiteX50378" fmla="*/ 2819805 w 8079933"/>
              <a:gd name="connsiteY50378" fmla="*/ 365521 h 4687251"/>
              <a:gd name="connsiteX50379" fmla="*/ 2820673 w 8079933"/>
              <a:gd name="connsiteY50379" fmla="*/ 365521 h 4687251"/>
              <a:gd name="connsiteX50380" fmla="*/ 2820039 w 8079933"/>
              <a:gd name="connsiteY50380" fmla="*/ 365391 h 4687251"/>
              <a:gd name="connsiteX50381" fmla="*/ 2822518 w 8079933"/>
              <a:gd name="connsiteY50381" fmla="*/ 364005 h 4687251"/>
              <a:gd name="connsiteX50382" fmla="*/ 2827835 w 8079933"/>
              <a:gd name="connsiteY50382" fmla="*/ 364005 h 4687251"/>
              <a:gd name="connsiteX50383" fmla="*/ 2845524 w 8079933"/>
              <a:gd name="connsiteY50383" fmla="*/ 359350 h 4687251"/>
              <a:gd name="connsiteX50384" fmla="*/ 2849213 w 8079933"/>
              <a:gd name="connsiteY50384" fmla="*/ 359350 h 4687251"/>
              <a:gd name="connsiteX50385" fmla="*/ 2850624 w 8079933"/>
              <a:gd name="connsiteY50385" fmla="*/ 361407 h 4687251"/>
              <a:gd name="connsiteX50386" fmla="*/ 2851926 w 8079933"/>
              <a:gd name="connsiteY50386" fmla="*/ 358917 h 4687251"/>
              <a:gd name="connsiteX50387" fmla="*/ 2849972 w 8079933"/>
              <a:gd name="connsiteY50387" fmla="*/ 356751 h 4687251"/>
              <a:gd name="connsiteX50388" fmla="*/ 2851383 w 8079933"/>
              <a:gd name="connsiteY50388" fmla="*/ 354044 h 4687251"/>
              <a:gd name="connsiteX50389" fmla="*/ 2857460 w 8079933"/>
              <a:gd name="connsiteY50389" fmla="*/ 351121 h 4687251"/>
              <a:gd name="connsiteX50390" fmla="*/ 2864839 w 8079933"/>
              <a:gd name="connsiteY50390" fmla="*/ 351121 h 4687251"/>
              <a:gd name="connsiteX50391" fmla="*/ 2869722 w 8079933"/>
              <a:gd name="connsiteY50391" fmla="*/ 350254 h 4687251"/>
              <a:gd name="connsiteX50392" fmla="*/ 2872435 w 8079933"/>
              <a:gd name="connsiteY50392" fmla="*/ 351771 h 4687251"/>
              <a:gd name="connsiteX50393" fmla="*/ 2876777 w 8079933"/>
              <a:gd name="connsiteY50393" fmla="*/ 352637 h 4687251"/>
              <a:gd name="connsiteX50394" fmla="*/ 2881008 w 8079933"/>
              <a:gd name="connsiteY50394" fmla="*/ 350039 h 4687251"/>
              <a:gd name="connsiteX50395" fmla="*/ 2886217 w 8079933"/>
              <a:gd name="connsiteY50395" fmla="*/ 349281 h 4687251"/>
              <a:gd name="connsiteX50396" fmla="*/ 2891969 w 8079933"/>
              <a:gd name="connsiteY50396" fmla="*/ 350363 h 4687251"/>
              <a:gd name="connsiteX50397" fmla="*/ 2893596 w 8079933"/>
              <a:gd name="connsiteY50397" fmla="*/ 352637 h 4687251"/>
              <a:gd name="connsiteX50398" fmla="*/ 2897720 w 8079933"/>
              <a:gd name="connsiteY50398" fmla="*/ 353287 h 4687251"/>
              <a:gd name="connsiteX50399" fmla="*/ 2899999 w 8079933"/>
              <a:gd name="connsiteY50399" fmla="*/ 355127 h 4687251"/>
              <a:gd name="connsiteX50400" fmla="*/ 2904882 w 8079933"/>
              <a:gd name="connsiteY50400" fmla="*/ 358483 h 4687251"/>
              <a:gd name="connsiteX50401" fmla="*/ 2908463 w 8079933"/>
              <a:gd name="connsiteY50401" fmla="*/ 358483 h 4687251"/>
              <a:gd name="connsiteX50402" fmla="*/ 2911285 w 8079933"/>
              <a:gd name="connsiteY50402" fmla="*/ 357292 h 4687251"/>
              <a:gd name="connsiteX50403" fmla="*/ 2911285 w 8079933"/>
              <a:gd name="connsiteY50403" fmla="*/ 355560 h 4687251"/>
              <a:gd name="connsiteX50404" fmla="*/ 2915300 w 8079933"/>
              <a:gd name="connsiteY50404" fmla="*/ 351446 h 4687251"/>
              <a:gd name="connsiteX50405" fmla="*/ 2918338 w 8079933"/>
              <a:gd name="connsiteY50405" fmla="*/ 346574 h 4687251"/>
              <a:gd name="connsiteX50406" fmla="*/ 2922136 w 8079933"/>
              <a:gd name="connsiteY50406" fmla="*/ 341052 h 4687251"/>
              <a:gd name="connsiteX50407" fmla="*/ 2927670 w 8079933"/>
              <a:gd name="connsiteY50407" fmla="*/ 339211 h 4687251"/>
              <a:gd name="connsiteX50408" fmla="*/ 2929407 w 8079933"/>
              <a:gd name="connsiteY50408" fmla="*/ 336072 h 4687251"/>
              <a:gd name="connsiteX50409" fmla="*/ 2933530 w 8079933"/>
              <a:gd name="connsiteY50409" fmla="*/ 329575 h 4687251"/>
              <a:gd name="connsiteX50410" fmla="*/ 2937328 w 8079933"/>
              <a:gd name="connsiteY50410" fmla="*/ 328492 h 4687251"/>
              <a:gd name="connsiteX50411" fmla="*/ 2938848 w 8079933"/>
              <a:gd name="connsiteY50411" fmla="*/ 323837 h 4687251"/>
              <a:gd name="connsiteX50412" fmla="*/ 2935592 w 8079933"/>
              <a:gd name="connsiteY50412" fmla="*/ 322104 h 4687251"/>
              <a:gd name="connsiteX50413" fmla="*/ 2935592 w 8079933"/>
              <a:gd name="connsiteY50413" fmla="*/ 318099 h 4687251"/>
              <a:gd name="connsiteX50414" fmla="*/ 2939173 w 8079933"/>
              <a:gd name="connsiteY50414" fmla="*/ 313660 h 4687251"/>
              <a:gd name="connsiteX50415" fmla="*/ 2943514 w 8079933"/>
              <a:gd name="connsiteY50415" fmla="*/ 313660 h 4687251"/>
              <a:gd name="connsiteX50416" fmla="*/ 2949157 w 8079933"/>
              <a:gd name="connsiteY50416" fmla="*/ 313660 h 4687251"/>
              <a:gd name="connsiteX50417" fmla="*/ 2954148 w 8079933"/>
              <a:gd name="connsiteY50417" fmla="*/ 310412 h 4687251"/>
              <a:gd name="connsiteX50418" fmla="*/ 2955342 w 8079933"/>
              <a:gd name="connsiteY50418" fmla="*/ 306946 h 4687251"/>
              <a:gd name="connsiteX50419" fmla="*/ 2954148 w 8079933"/>
              <a:gd name="connsiteY50419" fmla="*/ 305756 h 4687251"/>
              <a:gd name="connsiteX50420" fmla="*/ 2948940 w 8079933"/>
              <a:gd name="connsiteY50420" fmla="*/ 305756 h 4687251"/>
              <a:gd name="connsiteX50421" fmla="*/ 2945033 w 8079933"/>
              <a:gd name="connsiteY50421" fmla="*/ 303049 h 4687251"/>
              <a:gd name="connsiteX50422" fmla="*/ 2945033 w 8079933"/>
              <a:gd name="connsiteY50422" fmla="*/ 300451 h 4687251"/>
              <a:gd name="connsiteX50423" fmla="*/ 2945901 w 8079933"/>
              <a:gd name="connsiteY50423" fmla="*/ 297853 h 4687251"/>
              <a:gd name="connsiteX50424" fmla="*/ 2949808 w 8079933"/>
              <a:gd name="connsiteY50424" fmla="*/ 296769 h 4687251"/>
              <a:gd name="connsiteX50425" fmla="*/ 2955885 w 8079933"/>
              <a:gd name="connsiteY50425" fmla="*/ 297960 h 4687251"/>
              <a:gd name="connsiteX50426" fmla="*/ 2960659 w 8079933"/>
              <a:gd name="connsiteY50426" fmla="*/ 295037 h 4687251"/>
              <a:gd name="connsiteX50427" fmla="*/ 2966519 w 8079933"/>
              <a:gd name="connsiteY50427" fmla="*/ 292655 h 4687251"/>
              <a:gd name="connsiteX50428" fmla="*/ 2967170 w 8079933"/>
              <a:gd name="connsiteY50428" fmla="*/ 290057 h 4687251"/>
              <a:gd name="connsiteX50429" fmla="*/ 2966302 w 8079933"/>
              <a:gd name="connsiteY50429" fmla="*/ 289082 h 4687251"/>
              <a:gd name="connsiteX50430" fmla="*/ 2966302 w 8079933"/>
              <a:gd name="connsiteY50430" fmla="*/ 284751 h 4687251"/>
              <a:gd name="connsiteX50431" fmla="*/ 2964783 w 8079933"/>
              <a:gd name="connsiteY50431" fmla="*/ 284751 h 4687251"/>
              <a:gd name="connsiteX50432" fmla="*/ 2961636 w 8079933"/>
              <a:gd name="connsiteY50432" fmla="*/ 287458 h 4687251"/>
              <a:gd name="connsiteX50433" fmla="*/ 2961636 w 8079933"/>
              <a:gd name="connsiteY50433" fmla="*/ 291572 h 4687251"/>
              <a:gd name="connsiteX50434" fmla="*/ 2959032 w 8079933"/>
              <a:gd name="connsiteY50434" fmla="*/ 292980 h 4687251"/>
              <a:gd name="connsiteX50435" fmla="*/ 2951761 w 8079933"/>
              <a:gd name="connsiteY50435" fmla="*/ 292980 h 4687251"/>
              <a:gd name="connsiteX50436" fmla="*/ 2947855 w 8079933"/>
              <a:gd name="connsiteY50436" fmla="*/ 291465 h 4687251"/>
              <a:gd name="connsiteX50437" fmla="*/ 2945576 w 8079933"/>
              <a:gd name="connsiteY50437" fmla="*/ 291465 h 4687251"/>
              <a:gd name="connsiteX50438" fmla="*/ 2941126 w 8079933"/>
              <a:gd name="connsiteY50438" fmla="*/ 295037 h 4687251"/>
              <a:gd name="connsiteX50439" fmla="*/ 2937546 w 8079933"/>
              <a:gd name="connsiteY50439" fmla="*/ 295037 h 4687251"/>
              <a:gd name="connsiteX50440" fmla="*/ 2936026 w 8079933"/>
              <a:gd name="connsiteY50440" fmla="*/ 292330 h 4687251"/>
              <a:gd name="connsiteX50441" fmla="*/ 2931685 w 8079933"/>
              <a:gd name="connsiteY50441" fmla="*/ 289082 h 4687251"/>
              <a:gd name="connsiteX50442" fmla="*/ 2929081 w 8079933"/>
              <a:gd name="connsiteY50442" fmla="*/ 289082 h 4687251"/>
              <a:gd name="connsiteX50443" fmla="*/ 2926694 w 8079933"/>
              <a:gd name="connsiteY50443" fmla="*/ 291356 h 4687251"/>
              <a:gd name="connsiteX50444" fmla="*/ 2924415 w 8079933"/>
              <a:gd name="connsiteY50444" fmla="*/ 291356 h 4687251"/>
              <a:gd name="connsiteX50445" fmla="*/ 2921702 w 8079933"/>
              <a:gd name="connsiteY50445" fmla="*/ 289407 h 4687251"/>
              <a:gd name="connsiteX50446" fmla="*/ 2918989 w 8079933"/>
              <a:gd name="connsiteY50446" fmla="*/ 289407 h 4687251"/>
              <a:gd name="connsiteX50447" fmla="*/ 2916928 w 8079933"/>
              <a:gd name="connsiteY50447" fmla="*/ 288757 h 4687251"/>
              <a:gd name="connsiteX50448" fmla="*/ 2916928 w 8079933"/>
              <a:gd name="connsiteY50448" fmla="*/ 283127 h 4687251"/>
              <a:gd name="connsiteX50449" fmla="*/ 2916928 w 8079933"/>
              <a:gd name="connsiteY50449" fmla="*/ 280420 h 4687251"/>
              <a:gd name="connsiteX50450" fmla="*/ 2915733 w 8079933"/>
              <a:gd name="connsiteY50450" fmla="*/ 279555 h 4687251"/>
              <a:gd name="connsiteX50451" fmla="*/ 2915733 w 8079933"/>
              <a:gd name="connsiteY50451" fmla="*/ 276956 h 4687251"/>
              <a:gd name="connsiteX50452" fmla="*/ 2916710 w 8079933"/>
              <a:gd name="connsiteY50452" fmla="*/ 274032 h 4687251"/>
              <a:gd name="connsiteX50453" fmla="*/ 2919966 w 8079933"/>
              <a:gd name="connsiteY50453" fmla="*/ 272516 h 4687251"/>
              <a:gd name="connsiteX50454" fmla="*/ 2922571 w 8079933"/>
              <a:gd name="connsiteY50454" fmla="*/ 269268 h 4687251"/>
              <a:gd name="connsiteX50455" fmla="*/ 2924307 w 8079933"/>
              <a:gd name="connsiteY50455" fmla="*/ 266888 h 4687251"/>
              <a:gd name="connsiteX50456" fmla="*/ 2926694 w 8079933"/>
              <a:gd name="connsiteY50456" fmla="*/ 265804 h 4687251"/>
              <a:gd name="connsiteX50457" fmla="*/ 2927345 w 8079933"/>
              <a:gd name="connsiteY50457" fmla="*/ 263314 h 4687251"/>
              <a:gd name="connsiteX50458" fmla="*/ 2925717 w 8079933"/>
              <a:gd name="connsiteY50458" fmla="*/ 261474 h 4687251"/>
              <a:gd name="connsiteX50459" fmla="*/ 2925717 w 8079933"/>
              <a:gd name="connsiteY50459" fmla="*/ 258658 h 4687251"/>
              <a:gd name="connsiteX50460" fmla="*/ 2927237 w 8079933"/>
              <a:gd name="connsiteY50460" fmla="*/ 256709 h 4687251"/>
              <a:gd name="connsiteX50461" fmla="*/ 2930709 w 8079933"/>
              <a:gd name="connsiteY50461" fmla="*/ 256709 h 4687251"/>
              <a:gd name="connsiteX50462" fmla="*/ 2935050 w 8079933"/>
              <a:gd name="connsiteY50462" fmla="*/ 254544 h 4687251"/>
              <a:gd name="connsiteX50463" fmla="*/ 2937546 w 8079933"/>
              <a:gd name="connsiteY50463" fmla="*/ 252271 h 4687251"/>
              <a:gd name="connsiteX50464" fmla="*/ 2937546 w 8079933"/>
              <a:gd name="connsiteY50464" fmla="*/ 249563 h 4687251"/>
              <a:gd name="connsiteX50465" fmla="*/ 2944816 w 8079933"/>
              <a:gd name="connsiteY50465" fmla="*/ 247182 h 4687251"/>
              <a:gd name="connsiteX50466" fmla="*/ 2947312 w 8079933"/>
              <a:gd name="connsiteY50466" fmla="*/ 243825 h 4687251"/>
              <a:gd name="connsiteX50467" fmla="*/ 2950459 w 8079933"/>
              <a:gd name="connsiteY50467" fmla="*/ 242309 h 4687251"/>
              <a:gd name="connsiteX50468" fmla="*/ 2957296 w 8079933"/>
              <a:gd name="connsiteY50468" fmla="*/ 242309 h 4687251"/>
              <a:gd name="connsiteX50469" fmla="*/ 2960226 w 8079933"/>
              <a:gd name="connsiteY50469" fmla="*/ 241335 h 4687251"/>
              <a:gd name="connsiteX50470" fmla="*/ 2959358 w 8079933"/>
              <a:gd name="connsiteY50470" fmla="*/ 240252 h 4687251"/>
              <a:gd name="connsiteX50471" fmla="*/ 2956644 w 8079933"/>
              <a:gd name="connsiteY50471" fmla="*/ 239277 h 4687251"/>
              <a:gd name="connsiteX50472" fmla="*/ 2956644 w 8079933"/>
              <a:gd name="connsiteY50472" fmla="*/ 236896 h 4687251"/>
              <a:gd name="connsiteX50473" fmla="*/ 2959141 w 8079933"/>
              <a:gd name="connsiteY50473" fmla="*/ 235921 h 4687251"/>
              <a:gd name="connsiteX50474" fmla="*/ 2963589 w 8079933"/>
              <a:gd name="connsiteY50474" fmla="*/ 235921 h 4687251"/>
              <a:gd name="connsiteX50475" fmla="*/ 2964241 w 8079933"/>
              <a:gd name="connsiteY50475" fmla="*/ 237762 h 4687251"/>
              <a:gd name="connsiteX50476" fmla="*/ 2966194 w 8079933"/>
              <a:gd name="connsiteY50476" fmla="*/ 237004 h 4687251"/>
              <a:gd name="connsiteX50477" fmla="*/ 2971620 w 8079933"/>
              <a:gd name="connsiteY50477" fmla="*/ 230941 h 4687251"/>
              <a:gd name="connsiteX50478" fmla="*/ 2971620 w 8079933"/>
              <a:gd name="connsiteY50478" fmla="*/ 227909 h 4687251"/>
              <a:gd name="connsiteX50479" fmla="*/ 2973139 w 8079933"/>
              <a:gd name="connsiteY50479" fmla="*/ 224229 h 4687251"/>
              <a:gd name="connsiteX50480" fmla="*/ 2977805 w 8079933"/>
              <a:gd name="connsiteY50480" fmla="*/ 221305 h 4687251"/>
              <a:gd name="connsiteX50481" fmla="*/ 2981386 w 8079933"/>
              <a:gd name="connsiteY50481" fmla="*/ 220330 h 4687251"/>
              <a:gd name="connsiteX50482" fmla="*/ 2984642 w 8079933"/>
              <a:gd name="connsiteY50482" fmla="*/ 216433 h 4687251"/>
              <a:gd name="connsiteX50483" fmla="*/ 2987897 w 8079933"/>
              <a:gd name="connsiteY50483" fmla="*/ 216433 h 4687251"/>
              <a:gd name="connsiteX50484" fmla="*/ 2990176 w 8079933"/>
              <a:gd name="connsiteY50484" fmla="*/ 215350 h 4687251"/>
              <a:gd name="connsiteX50485" fmla="*/ 2991587 w 8079933"/>
              <a:gd name="connsiteY50485" fmla="*/ 216866 h 4687251"/>
              <a:gd name="connsiteX50486" fmla="*/ 2992780 w 8079933"/>
              <a:gd name="connsiteY50486" fmla="*/ 221630 h 4687251"/>
              <a:gd name="connsiteX50487" fmla="*/ 2992780 w 8079933"/>
              <a:gd name="connsiteY50487" fmla="*/ 229858 h 4687251"/>
              <a:gd name="connsiteX50488" fmla="*/ 2994083 w 8079933"/>
              <a:gd name="connsiteY50488" fmla="*/ 233323 h 4687251"/>
              <a:gd name="connsiteX50489" fmla="*/ 2994083 w 8079933"/>
              <a:gd name="connsiteY50489" fmla="*/ 239819 h 4687251"/>
              <a:gd name="connsiteX50490" fmla="*/ 2992998 w 8079933"/>
              <a:gd name="connsiteY50490" fmla="*/ 248914 h 4687251"/>
              <a:gd name="connsiteX50491" fmla="*/ 2994842 w 8079933"/>
              <a:gd name="connsiteY50491" fmla="*/ 248914 h 4687251"/>
              <a:gd name="connsiteX50492" fmla="*/ 2996687 w 8079933"/>
              <a:gd name="connsiteY50492" fmla="*/ 245990 h 4687251"/>
              <a:gd name="connsiteX50493" fmla="*/ 2997664 w 8079933"/>
              <a:gd name="connsiteY50493" fmla="*/ 238412 h 4687251"/>
              <a:gd name="connsiteX50494" fmla="*/ 2995819 w 8079933"/>
              <a:gd name="connsiteY50494" fmla="*/ 231698 h 4687251"/>
              <a:gd name="connsiteX50495" fmla="*/ 2995819 w 8079933"/>
              <a:gd name="connsiteY50495" fmla="*/ 227368 h 4687251"/>
              <a:gd name="connsiteX50496" fmla="*/ 2996579 w 8079933"/>
              <a:gd name="connsiteY50496" fmla="*/ 224012 h 4687251"/>
              <a:gd name="connsiteX50497" fmla="*/ 2996579 w 8079933"/>
              <a:gd name="connsiteY50497" fmla="*/ 217949 h 4687251"/>
              <a:gd name="connsiteX50498" fmla="*/ 2999074 w 8079933"/>
              <a:gd name="connsiteY50498" fmla="*/ 216433 h 4687251"/>
              <a:gd name="connsiteX50499" fmla="*/ 3001787 w 8079933"/>
              <a:gd name="connsiteY50499" fmla="*/ 216433 h 4687251"/>
              <a:gd name="connsiteX50500" fmla="*/ 3002872 w 8079933"/>
              <a:gd name="connsiteY50500" fmla="*/ 214267 h 4687251"/>
              <a:gd name="connsiteX50501" fmla="*/ 3005152 w 8079933"/>
              <a:gd name="connsiteY50501" fmla="*/ 212426 h 4687251"/>
              <a:gd name="connsiteX50502" fmla="*/ 3006996 w 8079933"/>
              <a:gd name="connsiteY50502" fmla="*/ 212426 h 4687251"/>
              <a:gd name="connsiteX50503" fmla="*/ 3007647 w 8079933"/>
              <a:gd name="connsiteY50503" fmla="*/ 215350 h 4687251"/>
              <a:gd name="connsiteX50504" fmla="*/ 3009058 w 8079933"/>
              <a:gd name="connsiteY50504" fmla="*/ 217407 h 4687251"/>
              <a:gd name="connsiteX50505" fmla="*/ 3011120 w 8079933"/>
              <a:gd name="connsiteY50505" fmla="*/ 217407 h 4687251"/>
              <a:gd name="connsiteX50506" fmla="*/ 3012856 w 8079933"/>
              <a:gd name="connsiteY50506" fmla="*/ 218706 h 4687251"/>
              <a:gd name="connsiteX50507" fmla="*/ 3012856 w 8079933"/>
              <a:gd name="connsiteY50507" fmla="*/ 221955 h 4687251"/>
              <a:gd name="connsiteX50508" fmla="*/ 3013833 w 8079933"/>
              <a:gd name="connsiteY50508" fmla="*/ 224445 h 4687251"/>
              <a:gd name="connsiteX50509" fmla="*/ 3017631 w 8079933"/>
              <a:gd name="connsiteY50509" fmla="*/ 226610 h 4687251"/>
              <a:gd name="connsiteX50510" fmla="*/ 3024576 w 8079933"/>
              <a:gd name="connsiteY50510" fmla="*/ 225852 h 4687251"/>
              <a:gd name="connsiteX50511" fmla="*/ 3026095 w 8079933"/>
              <a:gd name="connsiteY50511" fmla="*/ 224769 h 4687251"/>
              <a:gd name="connsiteX50512" fmla="*/ 3029677 w 8079933"/>
              <a:gd name="connsiteY50512" fmla="*/ 224769 h 4687251"/>
              <a:gd name="connsiteX50513" fmla="*/ 3030327 w 8079933"/>
              <a:gd name="connsiteY50513" fmla="*/ 222280 h 4687251"/>
              <a:gd name="connsiteX50514" fmla="*/ 3029025 w 8079933"/>
              <a:gd name="connsiteY50514" fmla="*/ 219465 h 4687251"/>
              <a:gd name="connsiteX50515" fmla="*/ 3030327 w 8079933"/>
              <a:gd name="connsiteY50515" fmla="*/ 216758 h 4687251"/>
              <a:gd name="connsiteX50516" fmla="*/ 3032606 w 8079933"/>
              <a:gd name="connsiteY50516" fmla="*/ 214916 h 4687251"/>
              <a:gd name="connsiteX50517" fmla="*/ 3033583 w 8079933"/>
              <a:gd name="connsiteY50517" fmla="*/ 210478 h 4687251"/>
              <a:gd name="connsiteX50518" fmla="*/ 3034668 w 8079933"/>
              <a:gd name="connsiteY50518" fmla="*/ 208854 h 4687251"/>
              <a:gd name="connsiteX50519" fmla="*/ 3039009 w 8079933"/>
              <a:gd name="connsiteY50519" fmla="*/ 208854 h 4687251"/>
              <a:gd name="connsiteX50520" fmla="*/ 3045520 w 8079933"/>
              <a:gd name="connsiteY50520" fmla="*/ 205064 h 4687251"/>
              <a:gd name="connsiteX50521" fmla="*/ 3047690 w 8079933"/>
              <a:gd name="connsiteY50521" fmla="*/ 201166 h 4687251"/>
              <a:gd name="connsiteX50522" fmla="*/ 3047690 w 8079933"/>
              <a:gd name="connsiteY50522" fmla="*/ 195429 h 4687251"/>
              <a:gd name="connsiteX50523" fmla="*/ 3045302 w 8079933"/>
              <a:gd name="connsiteY50523" fmla="*/ 194561 h 4687251"/>
              <a:gd name="connsiteX50524" fmla="*/ 3043458 w 8079933"/>
              <a:gd name="connsiteY50524" fmla="*/ 194561 h 4687251"/>
              <a:gd name="connsiteX50525" fmla="*/ 3042807 w 8079933"/>
              <a:gd name="connsiteY50525" fmla="*/ 192722 h 4687251"/>
              <a:gd name="connsiteX50526" fmla="*/ 3043566 w 8079933"/>
              <a:gd name="connsiteY50526" fmla="*/ 190340 h 4687251"/>
              <a:gd name="connsiteX50527" fmla="*/ 3046930 w 8079933"/>
              <a:gd name="connsiteY50527" fmla="*/ 186117 h 4687251"/>
              <a:gd name="connsiteX50528" fmla="*/ 3047582 w 8079933"/>
              <a:gd name="connsiteY50528" fmla="*/ 181136 h 4687251"/>
              <a:gd name="connsiteX50529" fmla="*/ 3046822 w 8079933"/>
              <a:gd name="connsiteY50529" fmla="*/ 177239 h 4687251"/>
              <a:gd name="connsiteX50530" fmla="*/ 3048341 w 8079933"/>
              <a:gd name="connsiteY50530" fmla="*/ 171500 h 4687251"/>
              <a:gd name="connsiteX50531" fmla="*/ 3051380 w 8079933"/>
              <a:gd name="connsiteY50531" fmla="*/ 168901 h 4687251"/>
              <a:gd name="connsiteX50532" fmla="*/ 3057782 w 8079933"/>
              <a:gd name="connsiteY50532" fmla="*/ 167603 h 4687251"/>
              <a:gd name="connsiteX50533" fmla="*/ 3063425 w 8079933"/>
              <a:gd name="connsiteY50533" fmla="*/ 164788 h 4687251"/>
              <a:gd name="connsiteX50534" fmla="*/ 3069068 w 8079933"/>
              <a:gd name="connsiteY50534" fmla="*/ 162838 h 4687251"/>
              <a:gd name="connsiteX50535" fmla="*/ 3070804 w 8079933"/>
              <a:gd name="connsiteY50535" fmla="*/ 163921 h 4687251"/>
              <a:gd name="connsiteX50536" fmla="*/ 3071455 w 8079933"/>
              <a:gd name="connsiteY50536" fmla="*/ 166519 h 4687251"/>
              <a:gd name="connsiteX50537" fmla="*/ 3071455 w 8079933"/>
              <a:gd name="connsiteY50537" fmla="*/ 170526 h 4687251"/>
              <a:gd name="connsiteX50538" fmla="*/ 3076229 w 8079933"/>
              <a:gd name="connsiteY50538" fmla="*/ 177022 h 4687251"/>
              <a:gd name="connsiteX50539" fmla="*/ 3076229 w 8079933"/>
              <a:gd name="connsiteY50539" fmla="*/ 181028 h 4687251"/>
              <a:gd name="connsiteX50540" fmla="*/ 3075470 w 8079933"/>
              <a:gd name="connsiteY50540" fmla="*/ 189473 h 4687251"/>
              <a:gd name="connsiteX50541" fmla="*/ 3075470 w 8079933"/>
              <a:gd name="connsiteY50541" fmla="*/ 198351 h 4687251"/>
              <a:gd name="connsiteX50542" fmla="*/ 3077966 w 8079933"/>
              <a:gd name="connsiteY50542" fmla="*/ 200192 h 4687251"/>
              <a:gd name="connsiteX50543" fmla="*/ 3083609 w 8079933"/>
              <a:gd name="connsiteY50543" fmla="*/ 205930 h 4687251"/>
              <a:gd name="connsiteX50544" fmla="*/ 3085888 w 8079933"/>
              <a:gd name="connsiteY50544" fmla="*/ 210045 h 4687251"/>
              <a:gd name="connsiteX50545" fmla="*/ 3088058 w 8079933"/>
              <a:gd name="connsiteY50545" fmla="*/ 211884 h 4687251"/>
              <a:gd name="connsiteX50546" fmla="*/ 3088926 w 8079933"/>
              <a:gd name="connsiteY50546" fmla="*/ 210370 h 4687251"/>
              <a:gd name="connsiteX50547" fmla="*/ 3087841 w 8079933"/>
              <a:gd name="connsiteY50547" fmla="*/ 202141 h 4687251"/>
              <a:gd name="connsiteX50548" fmla="*/ 3087841 w 8079933"/>
              <a:gd name="connsiteY50548" fmla="*/ 197811 h 4687251"/>
              <a:gd name="connsiteX50549" fmla="*/ 3082415 w 8079933"/>
              <a:gd name="connsiteY50549" fmla="*/ 190015 h 4687251"/>
              <a:gd name="connsiteX50550" fmla="*/ 3081764 w 8079933"/>
              <a:gd name="connsiteY50550" fmla="*/ 183519 h 4687251"/>
              <a:gd name="connsiteX50551" fmla="*/ 3084477 w 8079933"/>
              <a:gd name="connsiteY50551" fmla="*/ 177022 h 4687251"/>
              <a:gd name="connsiteX50552" fmla="*/ 3085128 w 8079933"/>
              <a:gd name="connsiteY50552" fmla="*/ 173233 h 4687251"/>
              <a:gd name="connsiteX50553" fmla="*/ 3083826 w 8079933"/>
              <a:gd name="connsiteY50553" fmla="*/ 171068 h 4687251"/>
              <a:gd name="connsiteX50554" fmla="*/ 3081872 w 8079933"/>
              <a:gd name="connsiteY50554" fmla="*/ 166845 h 4687251"/>
              <a:gd name="connsiteX50555" fmla="*/ 3081872 w 8079933"/>
              <a:gd name="connsiteY50555" fmla="*/ 163164 h 4687251"/>
              <a:gd name="connsiteX50556" fmla="*/ 3079919 w 8079933"/>
              <a:gd name="connsiteY50556" fmla="*/ 159916 h 4687251"/>
              <a:gd name="connsiteX50557" fmla="*/ 3081004 w 8079933"/>
              <a:gd name="connsiteY50557" fmla="*/ 157642 h 4687251"/>
              <a:gd name="connsiteX50558" fmla="*/ 3085345 w 8079933"/>
              <a:gd name="connsiteY50558" fmla="*/ 154285 h 4687251"/>
              <a:gd name="connsiteX50559" fmla="*/ 3089903 w 8079933"/>
              <a:gd name="connsiteY50559" fmla="*/ 154285 h 4687251"/>
              <a:gd name="connsiteX50560" fmla="*/ 3093050 w 8079933"/>
              <a:gd name="connsiteY50560" fmla="*/ 155368 h 4687251"/>
              <a:gd name="connsiteX50561" fmla="*/ 3096523 w 8079933"/>
              <a:gd name="connsiteY50561" fmla="*/ 153853 h 4687251"/>
              <a:gd name="connsiteX50562" fmla="*/ 3100104 w 8079933"/>
              <a:gd name="connsiteY50562" fmla="*/ 153853 h 4687251"/>
              <a:gd name="connsiteX50563" fmla="*/ 3106289 w 8079933"/>
              <a:gd name="connsiteY50563" fmla="*/ 155801 h 4687251"/>
              <a:gd name="connsiteX50564" fmla="*/ 3116164 w 8079933"/>
              <a:gd name="connsiteY50564" fmla="*/ 155801 h 4687251"/>
              <a:gd name="connsiteX50565" fmla="*/ 3124845 w 8079933"/>
              <a:gd name="connsiteY50565" fmla="*/ 152228 h 4687251"/>
              <a:gd name="connsiteX50566" fmla="*/ 3133744 w 8079933"/>
              <a:gd name="connsiteY50566" fmla="*/ 152228 h 4687251"/>
              <a:gd name="connsiteX50567" fmla="*/ 3136456 w 8079933"/>
              <a:gd name="connsiteY50567" fmla="*/ 154827 h 4687251"/>
              <a:gd name="connsiteX50568" fmla="*/ 3137324 w 8079933"/>
              <a:gd name="connsiteY50568" fmla="*/ 159158 h 4687251"/>
              <a:gd name="connsiteX50569" fmla="*/ 3137324 w 8079933"/>
              <a:gd name="connsiteY50569" fmla="*/ 163056 h 4687251"/>
              <a:gd name="connsiteX50570" fmla="*/ 3137324 w 8079933"/>
              <a:gd name="connsiteY50570" fmla="*/ 164788 h 4687251"/>
              <a:gd name="connsiteX50571" fmla="*/ 3141231 w 8079933"/>
              <a:gd name="connsiteY50571" fmla="*/ 164788 h 4687251"/>
              <a:gd name="connsiteX50572" fmla="*/ 3143294 w 8079933"/>
              <a:gd name="connsiteY50572" fmla="*/ 160998 h 4687251"/>
              <a:gd name="connsiteX50573" fmla="*/ 3140906 w 8079933"/>
              <a:gd name="connsiteY50573" fmla="*/ 158291 h 4687251"/>
              <a:gd name="connsiteX50574" fmla="*/ 3140906 w 8079933"/>
              <a:gd name="connsiteY50574" fmla="*/ 154177 h 4687251"/>
              <a:gd name="connsiteX50575" fmla="*/ 3147416 w 8079933"/>
              <a:gd name="connsiteY50575" fmla="*/ 148654 h 4687251"/>
              <a:gd name="connsiteX50576" fmla="*/ 3150998 w 8079933"/>
              <a:gd name="connsiteY50576" fmla="*/ 150171 h 4687251"/>
              <a:gd name="connsiteX50577" fmla="*/ 3154145 w 8079933"/>
              <a:gd name="connsiteY50577" fmla="*/ 153095 h 4687251"/>
              <a:gd name="connsiteX50578" fmla="*/ 3155230 w 8079933"/>
              <a:gd name="connsiteY50578" fmla="*/ 158725 h 4687251"/>
              <a:gd name="connsiteX50579" fmla="*/ 3157509 w 8079933"/>
              <a:gd name="connsiteY50579" fmla="*/ 160998 h 4687251"/>
              <a:gd name="connsiteX50580" fmla="*/ 3158377 w 8079933"/>
              <a:gd name="connsiteY50580" fmla="*/ 157425 h 4687251"/>
              <a:gd name="connsiteX50581" fmla="*/ 3158377 w 8079933"/>
              <a:gd name="connsiteY50581" fmla="*/ 151037 h 4687251"/>
              <a:gd name="connsiteX50582" fmla="*/ 3154904 w 8079933"/>
              <a:gd name="connsiteY50582" fmla="*/ 147897 h 4687251"/>
              <a:gd name="connsiteX50583" fmla="*/ 3153819 w 8079933"/>
              <a:gd name="connsiteY50583" fmla="*/ 144758 h 4687251"/>
              <a:gd name="connsiteX50584" fmla="*/ 3155555 w 8079933"/>
              <a:gd name="connsiteY50584" fmla="*/ 143242 h 4687251"/>
              <a:gd name="connsiteX50585" fmla="*/ 3159354 w 8079933"/>
              <a:gd name="connsiteY50585" fmla="*/ 143891 h 4687251"/>
              <a:gd name="connsiteX50586" fmla="*/ 3163477 w 8079933"/>
              <a:gd name="connsiteY50586" fmla="*/ 145623 h 4687251"/>
              <a:gd name="connsiteX50587" fmla="*/ 3167384 w 8079933"/>
              <a:gd name="connsiteY50587" fmla="*/ 142918 h 4687251"/>
              <a:gd name="connsiteX50588" fmla="*/ 3171725 w 8079933"/>
              <a:gd name="connsiteY50588" fmla="*/ 141942 h 4687251"/>
              <a:gd name="connsiteX50589" fmla="*/ 3178561 w 8079933"/>
              <a:gd name="connsiteY50589" fmla="*/ 142809 h 4687251"/>
              <a:gd name="connsiteX50590" fmla="*/ 3179755 w 8079933"/>
              <a:gd name="connsiteY50590" fmla="*/ 145732 h 4687251"/>
              <a:gd name="connsiteX50591" fmla="*/ 3179104 w 8079933"/>
              <a:gd name="connsiteY50591" fmla="*/ 156558 h 4687251"/>
              <a:gd name="connsiteX50592" fmla="*/ 3177042 w 8079933"/>
              <a:gd name="connsiteY50592" fmla="*/ 162947 h 4687251"/>
              <a:gd name="connsiteX50593" fmla="*/ 3177042 w 8079933"/>
              <a:gd name="connsiteY50593" fmla="*/ 167278 h 4687251"/>
              <a:gd name="connsiteX50594" fmla="*/ 3173786 w 8079933"/>
              <a:gd name="connsiteY50594" fmla="*/ 174857 h 4687251"/>
              <a:gd name="connsiteX50595" fmla="*/ 3171725 w 8079933"/>
              <a:gd name="connsiteY50595" fmla="*/ 179297 h 4687251"/>
              <a:gd name="connsiteX50596" fmla="*/ 3171725 w 8079933"/>
              <a:gd name="connsiteY50596" fmla="*/ 182544 h 4687251"/>
              <a:gd name="connsiteX50597" fmla="*/ 3170314 w 8079933"/>
              <a:gd name="connsiteY50597" fmla="*/ 185684 h 4687251"/>
              <a:gd name="connsiteX50598" fmla="*/ 3167166 w 8079933"/>
              <a:gd name="connsiteY50598" fmla="*/ 186766 h 4687251"/>
              <a:gd name="connsiteX50599" fmla="*/ 3165756 w 8079933"/>
              <a:gd name="connsiteY50599" fmla="*/ 189040 h 4687251"/>
              <a:gd name="connsiteX50600" fmla="*/ 3168360 w 8079933"/>
              <a:gd name="connsiteY50600" fmla="*/ 191314 h 4687251"/>
              <a:gd name="connsiteX50601" fmla="*/ 3168360 w 8079933"/>
              <a:gd name="connsiteY50601" fmla="*/ 193912 h 4687251"/>
              <a:gd name="connsiteX50602" fmla="*/ 3166841 w 8079933"/>
              <a:gd name="connsiteY50602" fmla="*/ 197702 h 4687251"/>
              <a:gd name="connsiteX50603" fmla="*/ 3163260 w 8079933"/>
              <a:gd name="connsiteY50603" fmla="*/ 201275 h 4687251"/>
              <a:gd name="connsiteX50604" fmla="*/ 3160981 w 8079933"/>
              <a:gd name="connsiteY50604" fmla="*/ 206797 h 4687251"/>
              <a:gd name="connsiteX50605" fmla="*/ 3156641 w 8079933"/>
              <a:gd name="connsiteY50605" fmla="*/ 209286 h 4687251"/>
              <a:gd name="connsiteX50606" fmla="*/ 3155013 w 8079933"/>
              <a:gd name="connsiteY50606" fmla="*/ 211777 h 4687251"/>
              <a:gd name="connsiteX50607" fmla="*/ 3154253 w 8079933"/>
              <a:gd name="connsiteY50607" fmla="*/ 216433 h 4687251"/>
              <a:gd name="connsiteX50608" fmla="*/ 3151540 w 8079933"/>
              <a:gd name="connsiteY50608" fmla="*/ 220980 h 4687251"/>
              <a:gd name="connsiteX50609" fmla="*/ 3150455 w 8079933"/>
              <a:gd name="connsiteY50609" fmla="*/ 225419 h 4687251"/>
              <a:gd name="connsiteX50610" fmla="*/ 3151323 w 8079933"/>
              <a:gd name="connsiteY50610" fmla="*/ 227044 h 4687251"/>
              <a:gd name="connsiteX50611" fmla="*/ 3154036 w 8079933"/>
              <a:gd name="connsiteY50611" fmla="*/ 227044 h 4687251"/>
              <a:gd name="connsiteX50612" fmla="*/ 3157400 w 8079933"/>
              <a:gd name="connsiteY50612" fmla="*/ 221846 h 4687251"/>
              <a:gd name="connsiteX50613" fmla="*/ 3159896 w 8079933"/>
              <a:gd name="connsiteY50613" fmla="*/ 219680 h 4687251"/>
              <a:gd name="connsiteX50614" fmla="*/ 3159896 w 8079933"/>
              <a:gd name="connsiteY50614" fmla="*/ 217082 h 4687251"/>
              <a:gd name="connsiteX50615" fmla="*/ 3163477 w 8079933"/>
              <a:gd name="connsiteY50615" fmla="*/ 213401 h 4687251"/>
              <a:gd name="connsiteX50616" fmla="*/ 3167818 w 8079933"/>
              <a:gd name="connsiteY50616" fmla="*/ 206905 h 4687251"/>
              <a:gd name="connsiteX50617" fmla="*/ 3169771 w 8079933"/>
              <a:gd name="connsiteY50617" fmla="*/ 202899 h 4687251"/>
              <a:gd name="connsiteX50618" fmla="*/ 3172593 w 8079933"/>
              <a:gd name="connsiteY50618" fmla="*/ 201708 h 4687251"/>
              <a:gd name="connsiteX50619" fmla="*/ 3174654 w 8079933"/>
              <a:gd name="connsiteY50619" fmla="*/ 199867 h 4687251"/>
              <a:gd name="connsiteX50620" fmla="*/ 3176174 w 8079933"/>
              <a:gd name="connsiteY50620" fmla="*/ 196619 h 4687251"/>
              <a:gd name="connsiteX50621" fmla="*/ 3176174 w 8079933"/>
              <a:gd name="connsiteY50621" fmla="*/ 193372 h 4687251"/>
              <a:gd name="connsiteX50622" fmla="*/ 3178778 w 8079933"/>
              <a:gd name="connsiteY50622" fmla="*/ 191314 h 4687251"/>
              <a:gd name="connsiteX50623" fmla="*/ 3181057 w 8079933"/>
              <a:gd name="connsiteY50623" fmla="*/ 187849 h 4687251"/>
              <a:gd name="connsiteX50624" fmla="*/ 3183987 w 8079933"/>
              <a:gd name="connsiteY50624" fmla="*/ 184817 h 4687251"/>
              <a:gd name="connsiteX50625" fmla="*/ 3185615 w 8079933"/>
              <a:gd name="connsiteY50625" fmla="*/ 188066 h 4687251"/>
              <a:gd name="connsiteX50626" fmla="*/ 3185615 w 8079933"/>
              <a:gd name="connsiteY50626" fmla="*/ 191747 h 4687251"/>
              <a:gd name="connsiteX50627" fmla="*/ 3188328 w 8079933"/>
              <a:gd name="connsiteY50627" fmla="*/ 194670 h 4687251"/>
              <a:gd name="connsiteX50628" fmla="*/ 3189630 w 8079933"/>
              <a:gd name="connsiteY50628" fmla="*/ 198459 h 4687251"/>
              <a:gd name="connsiteX50629" fmla="*/ 3190606 w 8079933"/>
              <a:gd name="connsiteY50629" fmla="*/ 204090 h 4687251"/>
              <a:gd name="connsiteX50630" fmla="*/ 3194296 w 8079933"/>
              <a:gd name="connsiteY50630" fmla="*/ 208962 h 4687251"/>
              <a:gd name="connsiteX50631" fmla="*/ 3194296 w 8079933"/>
              <a:gd name="connsiteY50631" fmla="*/ 215133 h 4687251"/>
              <a:gd name="connsiteX50632" fmla="*/ 3196792 w 8079933"/>
              <a:gd name="connsiteY50632" fmla="*/ 217082 h 4687251"/>
              <a:gd name="connsiteX50633" fmla="*/ 3199939 w 8079933"/>
              <a:gd name="connsiteY50633" fmla="*/ 217082 h 4687251"/>
              <a:gd name="connsiteX50634" fmla="*/ 3201458 w 8079933"/>
              <a:gd name="connsiteY50634" fmla="*/ 218489 h 4687251"/>
              <a:gd name="connsiteX50635" fmla="*/ 3203411 w 8079933"/>
              <a:gd name="connsiteY50635" fmla="*/ 218489 h 4687251"/>
              <a:gd name="connsiteX50636" fmla="*/ 3204171 w 8079933"/>
              <a:gd name="connsiteY50636" fmla="*/ 216866 h 4687251"/>
              <a:gd name="connsiteX50637" fmla="*/ 3205256 w 8079933"/>
              <a:gd name="connsiteY50637" fmla="*/ 214809 h 4687251"/>
              <a:gd name="connsiteX50638" fmla="*/ 3205256 w 8079933"/>
              <a:gd name="connsiteY50638" fmla="*/ 212535 h 4687251"/>
              <a:gd name="connsiteX50639" fmla="*/ 3202109 w 8079933"/>
              <a:gd name="connsiteY50639" fmla="*/ 209719 h 4687251"/>
              <a:gd name="connsiteX50640" fmla="*/ 3201241 w 8079933"/>
              <a:gd name="connsiteY50640" fmla="*/ 206580 h 4687251"/>
              <a:gd name="connsiteX50641" fmla="*/ 3202001 w 8079933"/>
              <a:gd name="connsiteY50641" fmla="*/ 205497 h 4687251"/>
              <a:gd name="connsiteX50642" fmla="*/ 3204171 w 8079933"/>
              <a:gd name="connsiteY50642" fmla="*/ 205497 h 4687251"/>
              <a:gd name="connsiteX50643" fmla="*/ 3207427 w 8079933"/>
              <a:gd name="connsiteY50643" fmla="*/ 208312 h 4687251"/>
              <a:gd name="connsiteX50644" fmla="*/ 3212418 w 8079933"/>
              <a:gd name="connsiteY50644" fmla="*/ 208962 h 4687251"/>
              <a:gd name="connsiteX50645" fmla="*/ 3215239 w 8079933"/>
              <a:gd name="connsiteY50645" fmla="*/ 210370 h 4687251"/>
              <a:gd name="connsiteX50646" fmla="*/ 3215891 w 8079933"/>
              <a:gd name="connsiteY50646" fmla="*/ 211777 h 4687251"/>
              <a:gd name="connsiteX50647" fmla="*/ 3219363 w 8079933"/>
              <a:gd name="connsiteY50647" fmla="*/ 212535 h 4687251"/>
              <a:gd name="connsiteX50648" fmla="*/ 3221208 w 8079933"/>
              <a:gd name="connsiteY50648" fmla="*/ 210586 h 4687251"/>
              <a:gd name="connsiteX50649" fmla="*/ 3222836 w 8079933"/>
              <a:gd name="connsiteY50649" fmla="*/ 211235 h 4687251"/>
              <a:gd name="connsiteX50650" fmla="*/ 3224463 w 8079933"/>
              <a:gd name="connsiteY50650" fmla="*/ 212968 h 4687251"/>
              <a:gd name="connsiteX50651" fmla="*/ 3226417 w 8079933"/>
              <a:gd name="connsiteY50651" fmla="*/ 211777 h 4687251"/>
              <a:gd name="connsiteX50652" fmla="*/ 3226417 w 8079933"/>
              <a:gd name="connsiteY50652" fmla="*/ 203549 h 4687251"/>
              <a:gd name="connsiteX50653" fmla="*/ 3225548 w 8079933"/>
              <a:gd name="connsiteY50653" fmla="*/ 199542 h 4687251"/>
              <a:gd name="connsiteX50654" fmla="*/ 3227285 w 8079933"/>
              <a:gd name="connsiteY50654" fmla="*/ 193046 h 4687251"/>
              <a:gd name="connsiteX50655" fmla="*/ 3228153 w 8079933"/>
              <a:gd name="connsiteY50655" fmla="*/ 186442 h 4687251"/>
              <a:gd name="connsiteX50656" fmla="*/ 3225983 w 8079933"/>
              <a:gd name="connsiteY50656" fmla="*/ 183735 h 4687251"/>
              <a:gd name="connsiteX50657" fmla="*/ 3224572 w 8079933"/>
              <a:gd name="connsiteY50657" fmla="*/ 177455 h 4687251"/>
              <a:gd name="connsiteX50658" fmla="*/ 3224572 w 8079933"/>
              <a:gd name="connsiteY50658" fmla="*/ 172150 h 4687251"/>
              <a:gd name="connsiteX50659" fmla="*/ 3228153 w 8079933"/>
              <a:gd name="connsiteY50659" fmla="*/ 163705 h 4687251"/>
              <a:gd name="connsiteX50660" fmla="*/ 3228804 w 8079933"/>
              <a:gd name="connsiteY50660" fmla="*/ 160673 h 4687251"/>
              <a:gd name="connsiteX50661" fmla="*/ 3227828 w 8079933"/>
              <a:gd name="connsiteY50661" fmla="*/ 157966 h 4687251"/>
              <a:gd name="connsiteX50662" fmla="*/ 3229021 w 8079933"/>
              <a:gd name="connsiteY50662" fmla="*/ 155692 h 4687251"/>
              <a:gd name="connsiteX50663" fmla="*/ 3229021 w 8079933"/>
              <a:gd name="connsiteY50663" fmla="*/ 149738 h 4687251"/>
              <a:gd name="connsiteX50664" fmla="*/ 3231626 w 8079933"/>
              <a:gd name="connsiteY50664" fmla="*/ 147356 h 4687251"/>
              <a:gd name="connsiteX50665" fmla="*/ 3235532 w 8079933"/>
              <a:gd name="connsiteY50665" fmla="*/ 146707 h 4687251"/>
              <a:gd name="connsiteX50666" fmla="*/ 3238245 w 8079933"/>
              <a:gd name="connsiteY50666" fmla="*/ 148872 h 4687251"/>
              <a:gd name="connsiteX50667" fmla="*/ 3242152 w 8079933"/>
              <a:gd name="connsiteY50667" fmla="*/ 149521 h 4687251"/>
              <a:gd name="connsiteX50668" fmla="*/ 3245298 w 8079933"/>
              <a:gd name="connsiteY50668" fmla="*/ 150496 h 4687251"/>
              <a:gd name="connsiteX50669" fmla="*/ 3246601 w 8079933"/>
              <a:gd name="connsiteY50669" fmla="*/ 153528 h 4687251"/>
              <a:gd name="connsiteX50670" fmla="*/ 3250073 w 8079933"/>
              <a:gd name="connsiteY50670" fmla="*/ 155476 h 4687251"/>
              <a:gd name="connsiteX50671" fmla="*/ 3252244 w 8079933"/>
              <a:gd name="connsiteY50671" fmla="*/ 159699 h 4687251"/>
              <a:gd name="connsiteX50672" fmla="*/ 3256151 w 8079933"/>
              <a:gd name="connsiteY50672" fmla="*/ 169119 h 4687251"/>
              <a:gd name="connsiteX50673" fmla="*/ 3256151 w 8079933"/>
              <a:gd name="connsiteY50673" fmla="*/ 173449 h 4687251"/>
              <a:gd name="connsiteX50674" fmla="*/ 3260600 w 8079933"/>
              <a:gd name="connsiteY50674" fmla="*/ 180379 h 4687251"/>
              <a:gd name="connsiteX50675" fmla="*/ 3263313 w 8079933"/>
              <a:gd name="connsiteY50675" fmla="*/ 185684 h 4687251"/>
              <a:gd name="connsiteX50676" fmla="*/ 3264181 w 8079933"/>
              <a:gd name="connsiteY50676" fmla="*/ 196511 h 4687251"/>
              <a:gd name="connsiteX50677" fmla="*/ 3263530 w 8079933"/>
              <a:gd name="connsiteY50677" fmla="*/ 198784 h 4687251"/>
              <a:gd name="connsiteX50678" fmla="*/ 3261142 w 8079933"/>
              <a:gd name="connsiteY50678" fmla="*/ 201383 h 4687251"/>
              <a:gd name="connsiteX50679" fmla="*/ 3261142 w 8079933"/>
              <a:gd name="connsiteY50679" fmla="*/ 205064 h 4687251"/>
              <a:gd name="connsiteX50680" fmla="*/ 3262010 w 8079933"/>
              <a:gd name="connsiteY50680" fmla="*/ 209937 h 4687251"/>
              <a:gd name="connsiteX50681" fmla="*/ 3264289 w 8079933"/>
              <a:gd name="connsiteY50681" fmla="*/ 212101 h 4687251"/>
              <a:gd name="connsiteX50682" fmla="*/ 3267328 w 8079933"/>
              <a:gd name="connsiteY50682" fmla="*/ 219897 h 4687251"/>
              <a:gd name="connsiteX50683" fmla="*/ 3266459 w 8079933"/>
              <a:gd name="connsiteY50683" fmla="*/ 225094 h 4687251"/>
              <a:gd name="connsiteX50684" fmla="*/ 3266459 w 8079933"/>
              <a:gd name="connsiteY50684" fmla="*/ 229317 h 4687251"/>
              <a:gd name="connsiteX50685" fmla="*/ 3268413 w 8079933"/>
              <a:gd name="connsiteY50685" fmla="*/ 232781 h 4687251"/>
              <a:gd name="connsiteX50686" fmla="*/ 3272428 w 8079933"/>
              <a:gd name="connsiteY50686" fmla="*/ 232781 h 4687251"/>
              <a:gd name="connsiteX50687" fmla="*/ 3277529 w 8079933"/>
              <a:gd name="connsiteY50687" fmla="*/ 236571 h 4687251"/>
              <a:gd name="connsiteX50688" fmla="*/ 3281327 w 8079933"/>
              <a:gd name="connsiteY50688" fmla="*/ 236571 h 4687251"/>
              <a:gd name="connsiteX50689" fmla="*/ 3286427 w 8079933"/>
              <a:gd name="connsiteY50689" fmla="*/ 234623 h 4687251"/>
              <a:gd name="connsiteX50690" fmla="*/ 3289899 w 8079933"/>
              <a:gd name="connsiteY50690" fmla="*/ 228451 h 4687251"/>
              <a:gd name="connsiteX50691" fmla="*/ 3291961 w 8079933"/>
              <a:gd name="connsiteY50691" fmla="*/ 226069 h 4687251"/>
              <a:gd name="connsiteX50692" fmla="*/ 3292721 w 8079933"/>
              <a:gd name="connsiteY50692" fmla="*/ 226935 h 4687251"/>
              <a:gd name="connsiteX50693" fmla="*/ 3292721 w 8079933"/>
              <a:gd name="connsiteY50693" fmla="*/ 230941 h 4687251"/>
              <a:gd name="connsiteX50694" fmla="*/ 3293697 w 8079933"/>
              <a:gd name="connsiteY50694" fmla="*/ 233323 h 4687251"/>
              <a:gd name="connsiteX50695" fmla="*/ 3295650 w 8079933"/>
              <a:gd name="connsiteY50695" fmla="*/ 233323 h 4687251"/>
              <a:gd name="connsiteX50696" fmla="*/ 3298363 w 8079933"/>
              <a:gd name="connsiteY50696" fmla="*/ 232132 h 4687251"/>
              <a:gd name="connsiteX50697" fmla="*/ 3301510 w 8079933"/>
              <a:gd name="connsiteY50697" fmla="*/ 233647 h 4687251"/>
              <a:gd name="connsiteX50698" fmla="*/ 3302813 w 8079933"/>
              <a:gd name="connsiteY50698" fmla="*/ 236030 h 4687251"/>
              <a:gd name="connsiteX50699" fmla="*/ 3302813 w 8079933"/>
              <a:gd name="connsiteY50699" fmla="*/ 239169 h 4687251"/>
              <a:gd name="connsiteX50700" fmla="*/ 3304766 w 8079933"/>
              <a:gd name="connsiteY50700" fmla="*/ 241768 h 4687251"/>
              <a:gd name="connsiteX50701" fmla="*/ 3308130 w 8079933"/>
              <a:gd name="connsiteY50701" fmla="*/ 241768 h 4687251"/>
              <a:gd name="connsiteX50702" fmla="*/ 3310734 w 8079933"/>
              <a:gd name="connsiteY50702" fmla="*/ 242851 h 4687251"/>
              <a:gd name="connsiteX50703" fmla="*/ 3315509 w 8079933"/>
              <a:gd name="connsiteY50703" fmla="*/ 242851 h 4687251"/>
              <a:gd name="connsiteX50704" fmla="*/ 3316702 w 8079933"/>
              <a:gd name="connsiteY50704" fmla="*/ 241443 h 4687251"/>
              <a:gd name="connsiteX50705" fmla="*/ 3315184 w 8079933"/>
              <a:gd name="connsiteY50705" fmla="*/ 240361 h 4687251"/>
              <a:gd name="connsiteX50706" fmla="*/ 3310734 w 8079933"/>
              <a:gd name="connsiteY50706" fmla="*/ 237762 h 4687251"/>
              <a:gd name="connsiteX50707" fmla="*/ 3309215 w 8079933"/>
              <a:gd name="connsiteY50707" fmla="*/ 234623 h 4687251"/>
              <a:gd name="connsiteX50708" fmla="*/ 3309215 w 8079933"/>
              <a:gd name="connsiteY50708" fmla="*/ 230616 h 4687251"/>
              <a:gd name="connsiteX50709" fmla="*/ 3306068 w 8079933"/>
              <a:gd name="connsiteY50709" fmla="*/ 230616 h 4687251"/>
              <a:gd name="connsiteX50710" fmla="*/ 3304332 w 8079933"/>
              <a:gd name="connsiteY50710" fmla="*/ 228667 h 4687251"/>
              <a:gd name="connsiteX50711" fmla="*/ 3304332 w 8079933"/>
              <a:gd name="connsiteY50711" fmla="*/ 224012 h 4687251"/>
              <a:gd name="connsiteX50712" fmla="*/ 3302270 w 8079933"/>
              <a:gd name="connsiteY50712" fmla="*/ 220439 h 4687251"/>
              <a:gd name="connsiteX50713" fmla="*/ 3297387 w 8079933"/>
              <a:gd name="connsiteY50713" fmla="*/ 216541 h 4687251"/>
              <a:gd name="connsiteX50714" fmla="*/ 3297387 w 8079933"/>
              <a:gd name="connsiteY50714" fmla="*/ 213727 h 4687251"/>
              <a:gd name="connsiteX50715" fmla="*/ 3295867 w 8079933"/>
              <a:gd name="connsiteY50715" fmla="*/ 207771 h 4687251"/>
              <a:gd name="connsiteX50716" fmla="*/ 3293154 w 8079933"/>
              <a:gd name="connsiteY50716" fmla="*/ 203765 h 4687251"/>
              <a:gd name="connsiteX50717" fmla="*/ 3293154 w 8079933"/>
              <a:gd name="connsiteY50717" fmla="*/ 200949 h 4687251"/>
              <a:gd name="connsiteX50718" fmla="*/ 3294240 w 8079933"/>
              <a:gd name="connsiteY50718" fmla="*/ 194778 h 4687251"/>
              <a:gd name="connsiteX50719" fmla="*/ 3293154 w 8079933"/>
              <a:gd name="connsiteY50719" fmla="*/ 190555 h 4687251"/>
              <a:gd name="connsiteX50720" fmla="*/ 3289682 w 8079933"/>
              <a:gd name="connsiteY50720" fmla="*/ 184493 h 4687251"/>
              <a:gd name="connsiteX50721" fmla="*/ 3289682 w 8079933"/>
              <a:gd name="connsiteY50721" fmla="*/ 180271 h 4687251"/>
              <a:gd name="connsiteX50722" fmla="*/ 3290550 w 8079933"/>
              <a:gd name="connsiteY50722" fmla="*/ 178213 h 4687251"/>
              <a:gd name="connsiteX50723" fmla="*/ 3289248 w 8079933"/>
              <a:gd name="connsiteY50723" fmla="*/ 172042 h 4687251"/>
              <a:gd name="connsiteX50724" fmla="*/ 3287729 w 8079933"/>
              <a:gd name="connsiteY50724" fmla="*/ 169768 h 4687251"/>
              <a:gd name="connsiteX50725" fmla="*/ 3288380 w 8079933"/>
              <a:gd name="connsiteY50725" fmla="*/ 164788 h 4687251"/>
              <a:gd name="connsiteX50726" fmla="*/ 3285775 w 8079933"/>
              <a:gd name="connsiteY50726" fmla="*/ 158725 h 4687251"/>
              <a:gd name="connsiteX50727" fmla="*/ 3283496 w 8079933"/>
              <a:gd name="connsiteY50727" fmla="*/ 154069 h 4687251"/>
              <a:gd name="connsiteX50728" fmla="*/ 3285341 w 8079933"/>
              <a:gd name="connsiteY50728" fmla="*/ 150496 h 4687251"/>
              <a:gd name="connsiteX50729" fmla="*/ 3283063 w 8079933"/>
              <a:gd name="connsiteY50729" fmla="*/ 145515 h 4687251"/>
              <a:gd name="connsiteX50730" fmla="*/ 3283063 w 8079933"/>
              <a:gd name="connsiteY50730" fmla="*/ 140860 h 4687251"/>
              <a:gd name="connsiteX50731" fmla="*/ 3284799 w 8079933"/>
              <a:gd name="connsiteY50731" fmla="*/ 138586 h 4687251"/>
              <a:gd name="connsiteX50732" fmla="*/ 3292721 w 8079933"/>
              <a:gd name="connsiteY50732" fmla="*/ 139993 h 4687251"/>
              <a:gd name="connsiteX50733" fmla="*/ 3294457 w 8079933"/>
              <a:gd name="connsiteY50733" fmla="*/ 143133 h 4687251"/>
              <a:gd name="connsiteX50734" fmla="*/ 3296735 w 8079933"/>
              <a:gd name="connsiteY50734" fmla="*/ 143133 h 4687251"/>
              <a:gd name="connsiteX50735" fmla="*/ 3298472 w 8079933"/>
              <a:gd name="connsiteY50735" fmla="*/ 140752 h 4687251"/>
              <a:gd name="connsiteX50736" fmla="*/ 3300751 w 8079933"/>
              <a:gd name="connsiteY50736" fmla="*/ 140752 h 4687251"/>
              <a:gd name="connsiteX50737" fmla="*/ 3308130 w 8079933"/>
              <a:gd name="connsiteY50737" fmla="*/ 149196 h 4687251"/>
              <a:gd name="connsiteX50738" fmla="*/ 3314641 w 8079933"/>
              <a:gd name="connsiteY50738" fmla="*/ 152661 h 4687251"/>
              <a:gd name="connsiteX50739" fmla="*/ 3317245 w 8079933"/>
              <a:gd name="connsiteY50739" fmla="*/ 150820 h 4687251"/>
              <a:gd name="connsiteX50740" fmla="*/ 3317245 w 8079933"/>
              <a:gd name="connsiteY50740" fmla="*/ 146057 h 4687251"/>
              <a:gd name="connsiteX50741" fmla="*/ 3315184 w 8079933"/>
              <a:gd name="connsiteY50741" fmla="*/ 144000 h 4687251"/>
              <a:gd name="connsiteX50742" fmla="*/ 3317462 w 8079933"/>
              <a:gd name="connsiteY50742" fmla="*/ 136963 h 4687251"/>
              <a:gd name="connsiteX50743" fmla="*/ 3320067 w 8079933"/>
              <a:gd name="connsiteY50743" fmla="*/ 136963 h 4687251"/>
              <a:gd name="connsiteX50744" fmla="*/ 3323865 w 8079933"/>
              <a:gd name="connsiteY50744" fmla="*/ 138369 h 4687251"/>
              <a:gd name="connsiteX50745" fmla="*/ 3329074 w 8079933"/>
              <a:gd name="connsiteY50745" fmla="*/ 137287 h 4687251"/>
              <a:gd name="connsiteX50746" fmla="*/ 3333197 w 8079933"/>
              <a:gd name="connsiteY50746" fmla="*/ 134689 h 4687251"/>
              <a:gd name="connsiteX50747" fmla="*/ 3337647 w 8079933"/>
              <a:gd name="connsiteY50747" fmla="*/ 135663 h 4687251"/>
              <a:gd name="connsiteX50748" fmla="*/ 3340902 w 8079933"/>
              <a:gd name="connsiteY50748" fmla="*/ 138044 h 4687251"/>
              <a:gd name="connsiteX50749" fmla="*/ 3344483 w 8079933"/>
              <a:gd name="connsiteY50749" fmla="*/ 139020 h 4687251"/>
              <a:gd name="connsiteX50750" fmla="*/ 3346762 w 8079933"/>
              <a:gd name="connsiteY50750" fmla="*/ 141076 h 4687251"/>
              <a:gd name="connsiteX50751" fmla="*/ 3349149 w 8079933"/>
              <a:gd name="connsiteY50751" fmla="*/ 147897 h 4687251"/>
              <a:gd name="connsiteX50752" fmla="*/ 3349149 w 8079933"/>
              <a:gd name="connsiteY50752" fmla="*/ 150820 h 4687251"/>
              <a:gd name="connsiteX50753" fmla="*/ 3353490 w 8079933"/>
              <a:gd name="connsiteY50753" fmla="*/ 155584 h 4687251"/>
              <a:gd name="connsiteX50754" fmla="*/ 3353490 w 8079933"/>
              <a:gd name="connsiteY50754" fmla="*/ 160024 h 4687251"/>
              <a:gd name="connsiteX50755" fmla="*/ 3351754 w 8079933"/>
              <a:gd name="connsiteY50755" fmla="*/ 163813 h 4687251"/>
              <a:gd name="connsiteX50756" fmla="*/ 3354358 w 8079933"/>
              <a:gd name="connsiteY50756" fmla="*/ 172583 h 4687251"/>
              <a:gd name="connsiteX50757" fmla="*/ 3354358 w 8079933"/>
              <a:gd name="connsiteY50757" fmla="*/ 177780 h 4687251"/>
              <a:gd name="connsiteX50758" fmla="*/ 3355769 w 8079933"/>
              <a:gd name="connsiteY50758" fmla="*/ 180920 h 4687251"/>
              <a:gd name="connsiteX50759" fmla="*/ 3359350 w 8079933"/>
              <a:gd name="connsiteY50759" fmla="*/ 183301 h 4687251"/>
              <a:gd name="connsiteX50760" fmla="*/ 3365535 w 8079933"/>
              <a:gd name="connsiteY50760" fmla="*/ 183301 h 4687251"/>
              <a:gd name="connsiteX50761" fmla="*/ 3371504 w 8079933"/>
              <a:gd name="connsiteY50761" fmla="*/ 186874 h 4687251"/>
              <a:gd name="connsiteX50762" fmla="*/ 3377038 w 8079933"/>
              <a:gd name="connsiteY50762" fmla="*/ 190989 h 4687251"/>
              <a:gd name="connsiteX50763" fmla="*/ 3375844 w 8079933"/>
              <a:gd name="connsiteY50763" fmla="*/ 187524 h 4687251"/>
              <a:gd name="connsiteX50764" fmla="*/ 3375844 w 8079933"/>
              <a:gd name="connsiteY50764" fmla="*/ 185792 h 4687251"/>
              <a:gd name="connsiteX50765" fmla="*/ 3370636 w 8079933"/>
              <a:gd name="connsiteY50765" fmla="*/ 182869 h 4687251"/>
              <a:gd name="connsiteX50766" fmla="*/ 3367922 w 8079933"/>
              <a:gd name="connsiteY50766" fmla="*/ 179404 h 4687251"/>
              <a:gd name="connsiteX50767" fmla="*/ 3364341 w 8079933"/>
              <a:gd name="connsiteY50767" fmla="*/ 179404 h 4687251"/>
              <a:gd name="connsiteX50768" fmla="*/ 3359675 w 8079933"/>
              <a:gd name="connsiteY50768" fmla="*/ 176481 h 4687251"/>
              <a:gd name="connsiteX50769" fmla="*/ 3359024 w 8079933"/>
              <a:gd name="connsiteY50769" fmla="*/ 173557 h 4687251"/>
              <a:gd name="connsiteX50770" fmla="*/ 3359024 w 8079933"/>
              <a:gd name="connsiteY50770" fmla="*/ 168252 h 4687251"/>
              <a:gd name="connsiteX50771" fmla="*/ 3356094 w 8079933"/>
              <a:gd name="connsiteY50771" fmla="*/ 163488 h 4687251"/>
              <a:gd name="connsiteX50772" fmla="*/ 3356094 w 8079933"/>
              <a:gd name="connsiteY50772" fmla="*/ 160240 h 4687251"/>
              <a:gd name="connsiteX50773" fmla="*/ 3358373 w 8079933"/>
              <a:gd name="connsiteY50773" fmla="*/ 153744 h 4687251"/>
              <a:gd name="connsiteX50774" fmla="*/ 3357722 w 8079933"/>
              <a:gd name="connsiteY50774" fmla="*/ 148764 h 4687251"/>
              <a:gd name="connsiteX50775" fmla="*/ 3357722 w 8079933"/>
              <a:gd name="connsiteY50775" fmla="*/ 145515 h 4687251"/>
              <a:gd name="connsiteX50776" fmla="*/ 3358698 w 8079933"/>
              <a:gd name="connsiteY50776" fmla="*/ 143458 h 4687251"/>
              <a:gd name="connsiteX50777" fmla="*/ 3356420 w 8079933"/>
              <a:gd name="connsiteY50777" fmla="*/ 140210 h 4687251"/>
              <a:gd name="connsiteX50778" fmla="*/ 3352405 w 8079933"/>
              <a:gd name="connsiteY50778" fmla="*/ 138369 h 4687251"/>
              <a:gd name="connsiteX50779" fmla="*/ 3347196 w 8079933"/>
              <a:gd name="connsiteY50779" fmla="*/ 131440 h 4687251"/>
              <a:gd name="connsiteX50780" fmla="*/ 3344266 w 8079933"/>
              <a:gd name="connsiteY50780" fmla="*/ 131440 h 4687251"/>
              <a:gd name="connsiteX50781" fmla="*/ 3339817 w 8079933"/>
              <a:gd name="connsiteY50781" fmla="*/ 131440 h 4687251"/>
              <a:gd name="connsiteX50782" fmla="*/ 3336236 w 8079933"/>
              <a:gd name="connsiteY50782" fmla="*/ 133389 h 4687251"/>
              <a:gd name="connsiteX50783" fmla="*/ 3333306 w 8079933"/>
              <a:gd name="connsiteY50783" fmla="*/ 134255 h 4687251"/>
              <a:gd name="connsiteX50784" fmla="*/ 3328314 w 8079933"/>
              <a:gd name="connsiteY50784" fmla="*/ 131007 h 4687251"/>
              <a:gd name="connsiteX50785" fmla="*/ 3328314 w 8079933"/>
              <a:gd name="connsiteY50785" fmla="*/ 125485 h 4687251"/>
              <a:gd name="connsiteX50786" fmla="*/ 3330592 w 8079933"/>
              <a:gd name="connsiteY50786" fmla="*/ 120505 h 4687251"/>
              <a:gd name="connsiteX50787" fmla="*/ 3334391 w 8079933"/>
              <a:gd name="connsiteY50787" fmla="*/ 120505 h 4687251"/>
              <a:gd name="connsiteX50788" fmla="*/ 3334391 w 8079933"/>
              <a:gd name="connsiteY50788" fmla="*/ 118231 h 4687251"/>
              <a:gd name="connsiteX50789" fmla="*/ 3327988 w 8079933"/>
              <a:gd name="connsiteY50789" fmla="*/ 113467 h 4687251"/>
              <a:gd name="connsiteX50790" fmla="*/ 3327012 w 8079933"/>
              <a:gd name="connsiteY50790" fmla="*/ 108487 h 4687251"/>
              <a:gd name="connsiteX50791" fmla="*/ 3327988 w 8079933"/>
              <a:gd name="connsiteY50791" fmla="*/ 104698 h 4687251"/>
              <a:gd name="connsiteX50792" fmla="*/ 3329074 w 8079933"/>
              <a:gd name="connsiteY50792" fmla="*/ 100908 h 4687251"/>
              <a:gd name="connsiteX50793" fmla="*/ 3331136 w 8079933"/>
              <a:gd name="connsiteY50793" fmla="*/ 100908 h 4687251"/>
              <a:gd name="connsiteX50794" fmla="*/ 3334717 w 8079933"/>
              <a:gd name="connsiteY50794" fmla="*/ 104373 h 4687251"/>
              <a:gd name="connsiteX50795" fmla="*/ 3337321 w 8079933"/>
              <a:gd name="connsiteY50795" fmla="*/ 109136 h 4687251"/>
              <a:gd name="connsiteX50796" fmla="*/ 3338840 w 8079933"/>
              <a:gd name="connsiteY50796" fmla="*/ 109136 h 4687251"/>
              <a:gd name="connsiteX50797" fmla="*/ 3343290 w 8079933"/>
              <a:gd name="connsiteY50797" fmla="*/ 102207 h 4687251"/>
              <a:gd name="connsiteX50798" fmla="*/ 3346870 w 8079933"/>
              <a:gd name="connsiteY50798" fmla="*/ 100800 h 4687251"/>
              <a:gd name="connsiteX50799" fmla="*/ 3351319 w 8079933"/>
              <a:gd name="connsiteY50799" fmla="*/ 98526 h 4687251"/>
              <a:gd name="connsiteX50800" fmla="*/ 3352405 w 8079933"/>
              <a:gd name="connsiteY50800" fmla="*/ 95494 h 4687251"/>
              <a:gd name="connsiteX50801" fmla="*/ 3356420 w 8079933"/>
              <a:gd name="connsiteY50801" fmla="*/ 91055 h 4687251"/>
              <a:gd name="connsiteX50802" fmla="*/ 3361086 w 8079933"/>
              <a:gd name="connsiteY50802" fmla="*/ 90406 h 4687251"/>
              <a:gd name="connsiteX50803" fmla="*/ 3357614 w 8079933"/>
              <a:gd name="connsiteY50803" fmla="*/ 93113 h 4687251"/>
              <a:gd name="connsiteX50804" fmla="*/ 3356420 w 8079933"/>
              <a:gd name="connsiteY50804" fmla="*/ 96360 h 4687251"/>
              <a:gd name="connsiteX50805" fmla="*/ 3357288 w 8079933"/>
              <a:gd name="connsiteY50805" fmla="*/ 97876 h 4687251"/>
              <a:gd name="connsiteX50806" fmla="*/ 3360869 w 8079933"/>
              <a:gd name="connsiteY50806" fmla="*/ 96036 h 4687251"/>
              <a:gd name="connsiteX50807" fmla="*/ 3365209 w 8079933"/>
              <a:gd name="connsiteY50807" fmla="*/ 96036 h 4687251"/>
              <a:gd name="connsiteX50808" fmla="*/ 3366729 w 8079933"/>
              <a:gd name="connsiteY50808" fmla="*/ 97876 h 4687251"/>
              <a:gd name="connsiteX50809" fmla="*/ 3367380 w 8079933"/>
              <a:gd name="connsiteY50809" fmla="*/ 101449 h 4687251"/>
              <a:gd name="connsiteX50810" fmla="*/ 3370527 w 8079933"/>
              <a:gd name="connsiteY50810" fmla="*/ 103831 h 4687251"/>
              <a:gd name="connsiteX50811" fmla="*/ 3370527 w 8079933"/>
              <a:gd name="connsiteY50811" fmla="*/ 106214 h 4687251"/>
              <a:gd name="connsiteX50812" fmla="*/ 3368248 w 8079933"/>
              <a:gd name="connsiteY50812" fmla="*/ 109677 h 4687251"/>
              <a:gd name="connsiteX50813" fmla="*/ 3369984 w 8079933"/>
              <a:gd name="connsiteY50813" fmla="*/ 112601 h 4687251"/>
              <a:gd name="connsiteX50814" fmla="*/ 3371937 w 8079933"/>
              <a:gd name="connsiteY50814" fmla="*/ 109461 h 4687251"/>
              <a:gd name="connsiteX50815" fmla="*/ 3375194 w 8079933"/>
              <a:gd name="connsiteY50815" fmla="*/ 104156 h 4687251"/>
              <a:gd name="connsiteX50816" fmla="*/ 3379968 w 8079933"/>
              <a:gd name="connsiteY50816" fmla="*/ 106214 h 4687251"/>
              <a:gd name="connsiteX50817" fmla="*/ 3383549 w 8079933"/>
              <a:gd name="connsiteY50817" fmla="*/ 110111 h 4687251"/>
              <a:gd name="connsiteX50818" fmla="*/ 3383549 w 8079933"/>
              <a:gd name="connsiteY50818" fmla="*/ 113575 h 4687251"/>
              <a:gd name="connsiteX50819" fmla="*/ 3386696 w 8079933"/>
              <a:gd name="connsiteY50819" fmla="*/ 119639 h 4687251"/>
              <a:gd name="connsiteX50820" fmla="*/ 3388433 w 8079933"/>
              <a:gd name="connsiteY50820" fmla="*/ 125485 h 4687251"/>
              <a:gd name="connsiteX50821" fmla="*/ 3388433 w 8079933"/>
              <a:gd name="connsiteY50821" fmla="*/ 132198 h 4687251"/>
              <a:gd name="connsiteX50822" fmla="*/ 3391362 w 8079933"/>
              <a:gd name="connsiteY50822" fmla="*/ 128734 h 4687251"/>
              <a:gd name="connsiteX50823" fmla="*/ 3391362 w 8079933"/>
              <a:gd name="connsiteY50823" fmla="*/ 122887 h 4687251"/>
              <a:gd name="connsiteX50824" fmla="*/ 3389518 w 8079933"/>
              <a:gd name="connsiteY50824" fmla="*/ 119422 h 4687251"/>
              <a:gd name="connsiteX50825" fmla="*/ 3388107 w 8079933"/>
              <a:gd name="connsiteY50825" fmla="*/ 116715 h 4687251"/>
              <a:gd name="connsiteX50826" fmla="*/ 3388107 w 8079933"/>
              <a:gd name="connsiteY50826" fmla="*/ 112277 h 4687251"/>
              <a:gd name="connsiteX50827" fmla="*/ 3387021 w 8079933"/>
              <a:gd name="connsiteY50827" fmla="*/ 110220 h 4687251"/>
              <a:gd name="connsiteX50828" fmla="*/ 3388107 w 8079933"/>
              <a:gd name="connsiteY50828" fmla="*/ 108487 h 4687251"/>
              <a:gd name="connsiteX50829" fmla="*/ 3390819 w 8079933"/>
              <a:gd name="connsiteY50829" fmla="*/ 110760 h 4687251"/>
              <a:gd name="connsiteX50830" fmla="*/ 3397873 w 8079933"/>
              <a:gd name="connsiteY50830" fmla="*/ 116283 h 4687251"/>
              <a:gd name="connsiteX50831" fmla="*/ 3402539 w 8079933"/>
              <a:gd name="connsiteY50831" fmla="*/ 123536 h 4687251"/>
              <a:gd name="connsiteX50832" fmla="*/ 3408183 w 8079933"/>
              <a:gd name="connsiteY50832" fmla="*/ 126461 h 4687251"/>
              <a:gd name="connsiteX50833" fmla="*/ 3413608 w 8079933"/>
              <a:gd name="connsiteY50833" fmla="*/ 127434 h 4687251"/>
              <a:gd name="connsiteX50834" fmla="*/ 3413608 w 8079933"/>
              <a:gd name="connsiteY50834" fmla="*/ 125702 h 4687251"/>
              <a:gd name="connsiteX50835" fmla="*/ 3410896 w 8079933"/>
              <a:gd name="connsiteY50835" fmla="*/ 123320 h 4687251"/>
              <a:gd name="connsiteX50836" fmla="*/ 3405578 w 8079933"/>
              <a:gd name="connsiteY50836" fmla="*/ 121154 h 4687251"/>
              <a:gd name="connsiteX50837" fmla="*/ 3401888 w 8079933"/>
              <a:gd name="connsiteY50837" fmla="*/ 114550 h 4687251"/>
              <a:gd name="connsiteX50838" fmla="*/ 3401020 w 8079933"/>
              <a:gd name="connsiteY50838" fmla="*/ 108271 h 4687251"/>
              <a:gd name="connsiteX50839" fmla="*/ 3402323 w 8079933"/>
              <a:gd name="connsiteY50839" fmla="*/ 101991 h 4687251"/>
              <a:gd name="connsiteX50840" fmla="*/ 3406771 w 8079933"/>
              <a:gd name="connsiteY50840" fmla="*/ 101991 h 4687251"/>
              <a:gd name="connsiteX50841" fmla="*/ 3411221 w 8079933"/>
              <a:gd name="connsiteY50841" fmla="*/ 101991 h 4687251"/>
              <a:gd name="connsiteX50842" fmla="*/ 3417515 w 8079933"/>
              <a:gd name="connsiteY50842" fmla="*/ 105672 h 4687251"/>
              <a:gd name="connsiteX50843" fmla="*/ 3422290 w 8079933"/>
              <a:gd name="connsiteY50843" fmla="*/ 105672 h 4687251"/>
              <a:gd name="connsiteX50844" fmla="*/ 3424026 w 8079933"/>
              <a:gd name="connsiteY50844" fmla="*/ 103723 h 4687251"/>
              <a:gd name="connsiteX50845" fmla="*/ 3422506 w 8079933"/>
              <a:gd name="connsiteY50845" fmla="*/ 101341 h 4687251"/>
              <a:gd name="connsiteX50846" fmla="*/ 3419360 w 8079933"/>
              <a:gd name="connsiteY50846" fmla="*/ 100258 h 4687251"/>
              <a:gd name="connsiteX50847" fmla="*/ 3419360 w 8079933"/>
              <a:gd name="connsiteY50847" fmla="*/ 97876 h 4687251"/>
              <a:gd name="connsiteX50848" fmla="*/ 3423375 w 8079933"/>
              <a:gd name="connsiteY50848" fmla="*/ 92679 h 4687251"/>
              <a:gd name="connsiteX50849" fmla="*/ 3426956 w 8079933"/>
              <a:gd name="connsiteY50849" fmla="*/ 89540 h 4687251"/>
              <a:gd name="connsiteX50850" fmla="*/ 3425653 w 8079933"/>
              <a:gd name="connsiteY50850" fmla="*/ 87482 h 4687251"/>
              <a:gd name="connsiteX50851" fmla="*/ 3423917 w 8079933"/>
              <a:gd name="connsiteY50851" fmla="*/ 84667 h 4687251"/>
              <a:gd name="connsiteX50852" fmla="*/ 3425219 w 8079933"/>
              <a:gd name="connsiteY50852" fmla="*/ 80337 h 4687251"/>
              <a:gd name="connsiteX50853" fmla="*/ 3428041 w 8079933"/>
              <a:gd name="connsiteY50853" fmla="*/ 79688 h 4687251"/>
              <a:gd name="connsiteX50854" fmla="*/ 3431079 w 8079933"/>
              <a:gd name="connsiteY50854" fmla="*/ 80662 h 4687251"/>
              <a:gd name="connsiteX50855" fmla="*/ 3433141 w 8079933"/>
              <a:gd name="connsiteY50855" fmla="*/ 78063 h 4687251"/>
              <a:gd name="connsiteX50856" fmla="*/ 3434009 w 8079933"/>
              <a:gd name="connsiteY50856" fmla="*/ 73407 h 4687251"/>
              <a:gd name="connsiteX50857" fmla="*/ 3435529 w 8079933"/>
              <a:gd name="connsiteY50857" fmla="*/ 71567 h 4687251"/>
              <a:gd name="connsiteX50858" fmla="*/ 3438242 w 8079933"/>
              <a:gd name="connsiteY50858" fmla="*/ 72433 h 4687251"/>
              <a:gd name="connsiteX50859" fmla="*/ 3440195 w 8079933"/>
              <a:gd name="connsiteY50859" fmla="*/ 74166 h 4687251"/>
              <a:gd name="connsiteX50860" fmla="*/ 3441931 w 8079933"/>
              <a:gd name="connsiteY50860" fmla="*/ 74166 h 4687251"/>
              <a:gd name="connsiteX50861" fmla="*/ 3444101 w 8079933"/>
              <a:gd name="connsiteY50861" fmla="*/ 77522 h 4687251"/>
              <a:gd name="connsiteX50862" fmla="*/ 3445621 w 8079933"/>
              <a:gd name="connsiteY50862" fmla="*/ 82935 h 4687251"/>
              <a:gd name="connsiteX50863" fmla="*/ 3448008 w 8079933"/>
              <a:gd name="connsiteY50863" fmla="*/ 84667 h 4687251"/>
              <a:gd name="connsiteX50864" fmla="*/ 3450504 w 8079933"/>
              <a:gd name="connsiteY50864" fmla="*/ 83043 h 4687251"/>
              <a:gd name="connsiteX50865" fmla="*/ 3450504 w 8079933"/>
              <a:gd name="connsiteY50865" fmla="*/ 78063 h 4687251"/>
              <a:gd name="connsiteX50866" fmla="*/ 3448984 w 8079933"/>
              <a:gd name="connsiteY50866" fmla="*/ 74166 h 4687251"/>
              <a:gd name="connsiteX50867" fmla="*/ 3448984 w 8079933"/>
              <a:gd name="connsiteY50867" fmla="*/ 71025 h 4687251"/>
              <a:gd name="connsiteX50868" fmla="*/ 3450829 w 8079933"/>
              <a:gd name="connsiteY50868" fmla="*/ 68968 h 4687251"/>
              <a:gd name="connsiteX50869" fmla="*/ 2941342 w 8079933"/>
              <a:gd name="connsiteY50869" fmla="*/ 4872 h 4687251"/>
              <a:gd name="connsiteX50870" fmla="*/ 2943621 w 8079933"/>
              <a:gd name="connsiteY50870" fmla="*/ 8986 h 4687251"/>
              <a:gd name="connsiteX50871" fmla="*/ 2939389 w 8079933"/>
              <a:gd name="connsiteY50871" fmla="*/ 10610 h 4687251"/>
              <a:gd name="connsiteX50872" fmla="*/ 2936677 w 8079933"/>
              <a:gd name="connsiteY50872" fmla="*/ 9311 h 4687251"/>
              <a:gd name="connsiteX50873" fmla="*/ 2938522 w 8079933"/>
              <a:gd name="connsiteY50873" fmla="*/ 5197 h 4687251"/>
              <a:gd name="connsiteX50874" fmla="*/ 2891317 w 8079933"/>
              <a:gd name="connsiteY50874" fmla="*/ 0 h 4687251"/>
              <a:gd name="connsiteX50875" fmla="*/ 2894573 w 8079933"/>
              <a:gd name="connsiteY50875" fmla="*/ 2274 h 4687251"/>
              <a:gd name="connsiteX50876" fmla="*/ 2897936 w 8079933"/>
              <a:gd name="connsiteY50876" fmla="*/ 2382 h 4687251"/>
              <a:gd name="connsiteX50877" fmla="*/ 2902386 w 8079933"/>
              <a:gd name="connsiteY50877" fmla="*/ 4006 h 4687251"/>
              <a:gd name="connsiteX50878" fmla="*/ 2908245 w 8079933"/>
              <a:gd name="connsiteY50878" fmla="*/ 1516 h 4687251"/>
              <a:gd name="connsiteX50879" fmla="*/ 2913780 w 8079933"/>
              <a:gd name="connsiteY50879" fmla="*/ 3031 h 4687251"/>
              <a:gd name="connsiteX50880" fmla="*/ 2915733 w 8079933"/>
              <a:gd name="connsiteY50880" fmla="*/ 6821 h 4687251"/>
              <a:gd name="connsiteX50881" fmla="*/ 2921810 w 8079933"/>
              <a:gd name="connsiteY50881" fmla="*/ 8878 h 4687251"/>
              <a:gd name="connsiteX50882" fmla="*/ 2927562 w 8079933"/>
              <a:gd name="connsiteY50882" fmla="*/ 6929 h 4687251"/>
              <a:gd name="connsiteX50883" fmla="*/ 2933313 w 8079933"/>
              <a:gd name="connsiteY50883" fmla="*/ 11044 h 4687251"/>
              <a:gd name="connsiteX50884" fmla="*/ 2934507 w 8079933"/>
              <a:gd name="connsiteY50884" fmla="*/ 14833 h 4687251"/>
              <a:gd name="connsiteX50885" fmla="*/ 2936351 w 8079933"/>
              <a:gd name="connsiteY50885" fmla="*/ 17215 h 4687251"/>
              <a:gd name="connsiteX50886" fmla="*/ 2937003 w 8079933"/>
              <a:gd name="connsiteY50886" fmla="*/ 23061 h 4687251"/>
              <a:gd name="connsiteX50887" fmla="*/ 2934507 w 8079933"/>
              <a:gd name="connsiteY50887" fmla="*/ 28583 h 4687251"/>
              <a:gd name="connsiteX50888" fmla="*/ 2935591 w 8079933"/>
              <a:gd name="connsiteY50888" fmla="*/ 31182 h 4687251"/>
              <a:gd name="connsiteX50889" fmla="*/ 2939390 w 8079933"/>
              <a:gd name="connsiteY50889" fmla="*/ 30316 h 4687251"/>
              <a:gd name="connsiteX50890" fmla="*/ 2944599 w 8079933"/>
              <a:gd name="connsiteY50890" fmla="*/ 24361 h 4687251"/>
              <a:gd name="connsiteX50891" fmla="*/ 2951869 w 8079933"/>
              <a:gd name="connsiteY50891" fmla="*/ 19164 h 4687251"/>
              <a:gd name="connsiteX50892" fmla="*/ 2955016 w 8079933"/>
              <a:gd name="connsiteY50892" fmla="*/ 15267 h 4687251"/>
              <a:gd name="connsiteX50893" fmla="*/ 2959682 w 8079933"/>
              <a:gd name="connsiteY50893" fmla="*/ 15049 h 4687251"/>
              <a:gd name="connsiteX50894" fmla="*/ 2965217 w 8079933"/>
              <a:gd name="connsiteY50894" fmla="*/ 18298 h 4687251"/>
              <a:gd name="connsiteX50895" fmla="*/ 2971185 w 8079933"/>
              <a:gd name="connsiteY50895" fmla="*/ 18514 h 4687251"/>
              <a:gd name="connsiteX50896" fmla="*/ 2970534 w 8079933"/>
              <a:gd name="connsiteY50896" fmla="*/ 21655 h 4687251"/>
              <a:gd name="connsiteX50897" fmla="*/ 2965325 w 8079933"/>
              <a:gd name="connsiteY50897" fmla="*/ 26743 h 4687251"/>
              <a:gd name="connsiteX50898" fmla="*/ 2968147 w 8079933"/>
              <a:gd name="connsiteY50898" fmla="*/ 31182 h 4687251"/>
              <a:gd name="connsiteX50899" fmla="*/ 2970317 w 8079933"/>
              <a:gd name="connsiteY50899" fmla="*/ 29883 h 4687251"/>
              <a:gd name="connsiteX50900" fmla="*/ 2971511 w 8079933"/>
              <a:gd name="connsiteY50900" fmla="*/ 25552 h 4687251"/>
              <a:gd name="connsiteX50901" fmla="*/ 2976719 w 8079933"/>
              <a:gd name="connsiteY50901" fmla="*/ 21655 h 4687251"/>
              <a:gd name="connsiteX50902" fmla="*/ 2981386 w 8079933"/>
              <a:gd name="connsiteY50902" fmla="*/ 19814 h 4687251"/>
              <a:gd name="connsiteX50903" fmla="*/ 2988765 w 8079933"/>
              <a:gd name="connsiteY50903" fmla="*/ 23170 h 4687251"/>
              <a:gd name="connsiteX50904" fmla="*/ 2997772 w 8079933"/>
              <a:gd name="connsiteY50904" fmla="*/ 24902 h 4687251"/>
              <a:gd name="connsiteX50905" fmla="*/ 3000702 w 8079933"/>
              <a:gd name="connsiteY50905" fmla="*/ 28150 h 4687251"/>
              <a:gd name="connsiteX50906" fmla="*/ 2998314 w 8079933"/>
              <a:gd name="connsiteY50906" fmla="*/ 30641 h 4687251"/>
              <a:gd name="connsiteX50907" fmla="*/ 2995819 w 8079933"/>
              <a:gd name="connsiteY50907" fmla="*/ 31073 h 4687251"/>
              <a:gd name="connsiteX50908" fmla="*/ 2997229 w 8079933"/>
              <a:gd name="connsiteY50908" fmla="*/ 34646 h 4687251"/>
              <a:gd name="connsiteX50909" fmla="*/ 2993756 w 8079933"/>
              <a:gd name="connsiteY50909" fmla="*/ 37570 h 4687251"/>
              <a:gd name="connsiteX50910" fmla="*/ 2996144 w 8079933"/>
              <a:gd name="connsiteY50910" fmla="*/ 40710 h 4687251"/>
              <a:gd name="connsiteX50911" fmla="*/ 2999183 w 8079933"/>
              <a:gd name="connsiteY50911" fmla="*/ 38220 h 4687251"/>
              <a:gd name="connsiteX50912" fmla="*/ 3003632 w 8079933"/>
              <a:gd name="connsiteY50912" fmla="*/ 36271 h 4687251"/>
              <a:gd name="connsiteX50913" fmla="*/ 3004500 w 8079933"/>
              <a:gd name="connsiteY50913" fmla="*/ 41359 h 4687251"/>
              <a:gd name="connsiteX50914" fmla="*/ 3007430 w 8079933"/>
              <a:gd name="connsiteY50914" fmla="*/ 42550 h 4687251"/>
              <a:gd name="connsiteX50915" fmla="*/ 3010143 w 8079933"/>
              <a:gd name="connsiteY50915" fmla="*/ 38652 h 4687251"/>
              <a:gd name="connsiteX50916" fmla="*/ 3017413 w 8079933"/>
              <a:gd name="connsiteY50916" fmla="*/ 37570 h 4687251"/>
              <a:gd name="connsiteX50917" fmla="*/ 3017739 w 8079933"/>
              <a:gd name="connsiteY50917" fmla="*/ 41251 h 4687251"/>
              <a:gd name="connsiteX50918" fmla="*/ 3015135 w 8079933"/>
              <a:gd name="connsiteY50918" fmla="*/ 44066 h 4687251"/>
              <a:gd name="connsiteX50919" fmla="*/ 3016220 w 8079933"/>
              <a:gd name="connsiteY50919" fmla="*/ 47747 h 4687251"/>
              <a:gd name="connsiteX50920" fmla="*/ 3019475 w 8079933"/>
              <a:gd name="connsiteY50920" fmla="*/ 48613 h 4687251"/>
              <a:gd name="connsiteX50921" fmla="*/ 3021320 w 8079933"/>
              <a:gd name="connsiteY50921" fmla="*/ 46340 h 4687251"/>
              <a:gd name="connsiteX50922" fmla="*/ 3025443 w 8079933"/>
              <a:gd name="connsiteY50922" fmla="*/ 43633 h 4687251"/>
              <a:gd name="connsiteX50923" fmla="*/ 3027505 w 8079933"/>
              <a:gd name="connsiteY50923" fmla="*/ 43633 h 4687251"/>
              <a:gd name="connsiteX50924" fmla="*/ 3029241 w 8079933"/>
              <a:gd name="connsiteY50924" fmla="*/ 47422 h 4687251"/>
              <a:gd name="connsiteX50925" fmla="*/ 3037489 w 8079933"/>
              <a:gd name="connsiteY50925" fmla="*/ 52295 h 4687251"/>
              <a:gd name="connsiteX50926" fmla="*/ 3042155 w 8079933"/>
              <a:gd name="connsiteY50926" fmla="*/ 52295 h 4687251"/>
              <a:gd name="connsiteX50927" fmla="*/ 3043566 w 8079933"/>
              <a:gd name="connsiteY50927" fmla="*/ 54461 h 4687251"/>
              <a:gd name="connsiteX50928" fmla="*/ 3041179 w 8079933"/>
              <a:gd name="connsiteY50928" fmla="*/ 57275 h 4687251"/>
              <a:gd name="connsiteX50929" fmla="*/ 3032172 w 8079933"/>
              <a:gd name="connsiteY50929" fmla="*/ 61064 h 4687251"/>
              <a:gd name="connsiteX50930" fmla="*/ 3027614 w 8079933"/>
              <a:gd name="connsiteY50930" fmla="*/ 66912 h 4687251"/>
              <a:gd name="connsiteX50931" fmla="*/ 3022079 w 8079933"/>
              <a:gd name="connsiteY50931" fmla="*/ 67669 h 4687251"/>
              <a:gd name="connsiteX50932" fmla="*/ 3015460 w 8079933"/>
              <a:gd name="connsiteY50932" fmla="*/ 71242 h 4687251"/>
              <a:gd name="connsiteX50933" fmla="*/ 3011879 w 8079933"/>
              <a:gd name="connsiteY50933" fmla="*/ 71458 h 4687251"/>
              <a:gd name="connsiteX50934" fmla="*/ 3008081 w 8079933"/>
              <a:gd name="connsiteY50934" fmla="*/ 69726 h 4687251"/>
              <a:gd name="connsiteX50935" fmla="*/ 3006019 w 8079933"/>
              <a:gd name="connsiteY50935" fmla="*/ 72433 h 4687251"/>
              <a:gd name="connsiteX50936" fmla="*/ 2999074 w 8079933"/>
              <a:gd name="connsiteY50936" fmla="*/ 74491 h 4687251"/>
              <a:gd name="connsiteX50937" fmla="*/ 3009166 w 8079933"/>
              <a:gd name="connsiteY50937" fmla="*/ 73949 h 4687251"/>
              <a:gd name="connsiteX50938" fmla="*/ 3018499 w 8079933"/>
              <a:gd name="connsiteY50938" fmla="*/ 75248 h 4687251"/>
              <a:gd name="connsiteX50939" fmla="*/ 3022079 w 8079933"/>
              <a:gd name="connsiteY50939" fmla="*/ 77305 h 4687251"/>
              <a:gd name="connsiteX50940" fmla="*/ 3025552 w 8079933"/>
              <a:gd name="connsiteY50940" fmla="*/ 77305 h 4687251"/>
              <a:gd name="connsiteX50941" fmla="*/ 3028265 w 8079933"/>
              <a:gd name="connsiteY50941" fmla="*/ 73083 h 4687251"/>
              <a:gd name="connsiteX50942" fmla="*/ 3030544 w 8079933"/>
              <a:gd name="connsiteY50942" fmla="*/ 71350 h 4687251"/>
              <a:gd name="connsiteX50943" fmla="*/ 3035427 w 8079933"/>
              <a:gd name="connsiteY50943" fmla="*/ 71458 h 4687251"/>
              <a:gd name="connsiteX50944" fmla="*/ 3038031 w 8079933"/>
              <a:gd name="connsiteY50944" fmla="*/ 66803 h 4687251"/>
              <a:gd name="connsiteX50945" fmla="*/ 3044651 w 8079933"/>
              <a:gd name="connsiteY50945" fmla="*/ 63446 h 4687251"/>
              <a:gd name="connsiteX50946" fmla="*/ 3050077 w 8079933"/>
              <a:gd name="connsiteY50946" fmla="*/ 63014 h 4687251"/>
              <a:gd name="connsiteX50947" fmla="*/ 3051271 w 8079933"/>
              <a:gd name="connsiteY50947" fmla="*/ 66586 h 4687251"/>
              <a:gd name="connsiteX50948" fmla="*/ 3048775 w 8079933"/>
              <a:gd name="connsiteY50948" fmla="*/ 71783 h 4687251"/>
              <a:gd name="connsiteX50949" fmla="*/ 3050728 w 8079933"/>
              <a:gd name="connsiteY50949" fmla="*/ 74274 h 4687251"/>
              <a:gd name="connsiteX50950" fmla="*/ 3052898 w 8079933"/>
              <a:gd name="connsiteY50950" fmla="*/ 73083 h 4687251"/>
              <a:gd name="connsiteX50951" fmla="*/ 3055394 w 8079933"/>
              <a:gd name="connsiteY50951" fmla="*/ 67886 h 4687251"/>
              <a:gd name="connsiteX50952" fmla="*/ 3060169 w 8079933"/>
              <a:gd name="connsiteY50952" fmla="*/ 64421 h 4687251"/>
              <a:gd name="connsiteX50953" fmla="*/ 3062122 w 8079933"/>
              <a:gd name="connsiteY50953" fmla="*/ 66370 h 4687251"/>
              <a:gd name="connsiteX50954" fmla="*/ 3059735 w 8079933"/>
              <a:gd name="connsiteY50954" fmla="*/ 70593 h 4687251"/>
              <a:gd name="connsiteX50955" fmla="*/ 3059626 w 8079933"/>
              <a:gd name="connsiteY50955" fmla="*/ 73083 h 4687251"/>
              <a:gd name="connsiteX50956" fmla="*/ 3057239 w 8079933"/>
              <a:gd name="connsiteY50956" fmla="*/ 76222 h 4687251"/>
              <a:gd name="connsiteX50957" fmla="*/ 3059192 w 8079933"/>
              <a:gd name="connsiteY50957" fmla="*/ 78605 h 4687251"/>
              <a:gd name="connsiteX50958" fmla="*/ 3062665 w 8079933"/>
              <a:gd name="connsiteY50958" fmla="*/ 77305 h 4687251"/>
              <a:gd name="connsiteX50959" fmla="*/ 3065160 w 8079933"/>
              <a:gd name="connsiteY50959" fmla="*/ 74923 h 4687251"/>
              <a:gd name="connsiteX50960" fmla="*/ 3065920 w 8079933"/>
              <a:gd name="connsiteY50960" fmla="*/ 70809 h 4687251"/>
              <a:gd name="connsiteX50961" fmla="*/ 3071238 w 8079933"/>
              <a:gd name="connsiteY50961" fmla="*/ 69618 h 4687251"/>
              <a:gd name="connsiteX50962" fmla="*/ 3075144 w 8079933"/>
              <a:gd name="connsiteY50962" fmla="*/ 70809 h 4687251"/>
              <a:gd name="connsiteX50963" fmla="*/ 3072540 w 8079933"/>
              <a:gd name="connsiteY50963" fmla="*/ 80770 h 4687251"/>
              <a:gd name="connsiteX50964" fmla="*/ 3069393 w 8079933"/>
              <a:gd name="connsiteY50964" fmla="*/ 82503 h 4687251"/>
              <a:gd name="connsiteX50965" fmla="*/ 3071455 w 8079933"/>
              <a:gd name="connsiteY50965" fmla="*/ 83801 h 4687251"/>
              <a:gd name="connsiteX50966" fmla="*/ 3073083 w 8079933"/>
              <a:gd name="connsiteY50966" fmla="*/ 88890 h 4687251"/>
              <a:gd name="connsiteX50967" fmla="*/ 3072323 w 8079933"/>
              <a:gd name="connsiteY50967" fmla="*/ 95170 h 4687251"/>
              <a:gd name="connsiteX50968" fmla="*/ 3068308 w 8079933"/>
              <a:gd name="connsiteY50968" fmla="*/ 97876 h 4687251"/>
              <a:gd name="connsiteX50969" fmla="*/ 3067114 w 8079933"/>
              <a:gd name="connsiteY50969" fmla="*/ 101449 h 4687251"/>
              <a:gd name="connsiteX50970" fmla="*/ 3061580 w 8079933"/>
              <a:gd name="connsiteY50970" fmla="*/ 109029 h 4687251"/>
              <a:gd name="connsiteX50971" fmla="*/ 3063424 w 8079933"/>
              <a:gd name="connsiteY50971" fmla="*/ 110761 h 4687251"/>
              <a:gd name="connsiteX50972" fmla="*/ 3066680 w 8079933"/>
              <a:gd name="connsiteY50972" fmla="*/ 109461 h 4687251"/>
              <a:gd name="connsiteX50973" fmla="*/ 3069610 w 8079933"/>
              <a:gd name="connsiteY50973" fmla="*/ 104806 h 4687251"/>
              <a:gd name="connsiteX50974" fmla="*/ 3073951 w 8079933"/>
              <a:gd name="connsiteY50974" fmla="*/ 104589 h 4687251"/>
              <a:gd name="connsiteX50975" fmla="*/ 3074927 w 8079933"/>
              <a:gd name="connsiteY50975" fmla="*/ 103399 h 4687251"/>
              <a:gd name="connsiteX50976" fmla="*/ 3078291 w 8079933"/>
              <a:gd name="connsiteY50976" fmla="*/ 103399 h 4687251"/>
              <a:gd name="connsiteX50977" fmla="*/ 3084042 w 8079933"/>
              <a:gd name="connsiteY50977" fmla="*/ 107080 h 4687251"/>
              <a:gd name="connsiteX50978" fmla="*/ 3086430 w 8079933"/>
              <a:gd name="connsiteY50978" fmla="*/ 112601 h 4687251"/>
              <a:gd name="connsiteX50979" fmla="*/ 3087081 w 8079933"/>
              <a:gd name="connsiteY50979" fmla="*/ 119856 h 4687251"/>
              <a:gd name="connsiteX50980" fmla="*/ 3085345 w 8079933"/>
              <a:gd name="connsiteY50980" fmla="*/ 131007 h 4687251"/>
              <a:gd name="connsiteX50981" fmla="*/ 3079594 w 8079933"/>
              <a:gd name="connsiteY50981" fmla="*/ 141618 h 4687251"/>
              <a:gd name="connsiteX50982" fmla="*/ 3070586 w 8079933"/>
              <a:gd name="connsiteY50982" fmla="*/ 146598 h 4687251"/>
              <a:gd name="connsiteX50983" fmla="*/ 3068416 w 8079933"/>
              <a:gd name="connsiteY50983" fmla="*/ 148764 h 4687251"/>
              <a:gd name="connsiteX50984" fmla="*/ 3063750 w 8079933"/>
              <a:gd name="connsiteY50984" fmla="*/ 147681 h 4687251"/>
              <a:gd name="connsiteX50985" fmla="*/ 3059517 w 8079933"/>
              <a:gd name="connsiteY50985" fmla="*/ 149196 h 4687251"/>
              <a:gd name="connsiteX50986" fmla="*/ 3059626 w 8079933"/>
              <a:gd name="connsiteY50986" fmla="*/ 151688 h 4687251"/>
              <a:gd name="connsiteX50987" fmla="*/ 3056696 w 8079933"/>
              <a:gd name="connsiteY50987" fmla="*/ 154286 h 4687251"/>
              <a:gd name="connsiteX50988" fmla="*/ 3042264 w 8079933"/>
              <a:gd name="connsiteY50988" fmla="*/ 161323 h 4687251"/>
              <a:gd name="connsiteX50989" fmla="*/ 3036838 w 8079933"/>
              <a:gd name="connsiteY50989" fmla="*/ 165221 h 4687251"/>
              <a:gd name="connsiteX50990" fmla="*/ 3032172 w 8079933"/>
              <a:gd name="connsiteY50990" fmla="*/ 166304 h 4687251"/>
              <a:gd name="connsiteX50991" fmla="*/ 3025660 w 8079933"/>
              <a:gd name="connsiteY50991" fmla="*/ 168902 h 4687251"/>
              <a:gd name="connsiteX50992" fmla="*/ 3018716 w 8079933"/>
              <a:gd name="connsiteY50992" fmla="*/ 169010 h 4687251"/>
              <a:gd name="connsiteX50993" fmla="*/ 3015351 w 8079933"/>
              <a:gd name="connsiteY50993" fmla="*/ 165653 h 4687251"/>
              <a:gd name="connsiteX50994" fmla="*/ 3013181 w 8079933"/>
              <a:gd name="connsiteY50994" fmla="*/ 170418 h 4687251"/>
              <a:gd name="connsiteX50995" fmla="*/ 3010685 w 8079933"/>
              <a:gd name="connsiteY50995" fmla="*/ 171825 h 4687251"/>
              <a:gd name="connsiteX50996" fmla="*/ 3005260 w 8079933"/>
              <a:gd name="connsiteY50996" fmla="*/ 167819 h 4687251"/>
              <a:gd name="connsiteX50997" fmla="*/ 2999834 w 8079933"/>
              <a:gd name="connsiteY50997" fmla="*/ 165329 h 4687251"/>
              <a:gd name="connsiteX50998" fmla="*/ 2992455 w 8079933"/>
              <a:gd name="connsiteY50998" fmla="*/ 163922 h 4687251"/>
              <a:gd name="connsiteX50999" fmla="*/ 2992455 w 8079933"/>
              <a:gd name="connsiteY50999" fmla="*/ 167278 h 4687251"/>
              <a:gd name="connsiteX51000" fmla="*/ 2998097 w 8079933"/>
              <a:gd name="connsiteY51000" fmla="*/ 168469 h 4687251"/>
              <a:gd name="connsiteX51001" fmla="*/ 3001244 w 8079933"/>
              <a:gd name="connsiteY51001" fmla="*/ 170093 h 4687251"/>
              <a:gd name="connsiteX51002" fmla="*/ 2997555 w 8079933"/>
              <a:gd name="connsiteY51002" fmla="*/ 172150 h 4687251"/>
              <a:gd name="connsiteX51003" fmla="*/ 2991261 w 8079933"/>
              <a:gd name="connsiteY51003" fmla="*/ 170634 h 4687251"/>
              <a:gd name="connsiteX51004" fmla="*/ 2988005 w 8079933"/>
              <a:gd name="connsiteY51004" fmla="*/ 171176 h 4687251"/>
              <a:gd name="connsiteX51005" fmla="*/ 2984967 w 8079933"/>
              <a:gd name="connsiteY51005" fmla="*/ 168794 h 4687251"/>
              <a:gd name="connsiteX51006" fmla="*/ 2976177 w 8079933"/>
              <a:gd name="connsiteY51006" fmla="*/ 168253 h 4687251"/>
              <a:gd name="connsiteX51007" fmla="*/ 2973573 w 8079933"/>
              <a:gd name="connsiteY51007" fmla="*/ 165545 h 4687251"/>
              <a:gd name="connsiteX51008" fmla="*/ 2970752 w 8079933"/>
              <a:gd name="connsiteY51008" fmla="*/ 167061 h 4687251"/>
              <a:gd name="connsiteX51009" fmla="*/ 2968147 w 8079933"/>
              <a:gd name="connsiteY51009" fmla="*/ 167278 h 4687251"/>
              <a:gd name="connsiteX51010" fmla="*/ 2960984 w 8079933"/>
              <a:gd name="connsiteY51010" fmla="*/ 158616 h 4687251"/>
              <a:gd name="connsiteX51011" fmla="*/ 2956210 w 8079933"/>
              <a:gd name="connsiteY51011" fmla="*/ 153636 h 4687251"/>
              <a:gd name="connsiteX51012" fmla="*/ 2957186 w 8079933"/>
              <a:gd name="connsiteY51012" fmla="*/ 158941 h 4687251"/>
              <a:gd name="connsiteX51013" fmla="*/ 2962287 w 8079933"/>
              <a:gd name="connsiteY51013" fmla="*/ 163922 h 4687251"/>
              <a:gd name="connsiteX51014" fmla="*/ 2963155 w 8079933"/>
              <a:gd name="connsiteY51014" fmla="*/ 166953 h 4687251"/>
              <a:gd name="connsiteX51015" fmla="*/ 2958923 w 8079933"/>
              <a:gd name="connsiteY51015" fmla="*/ 167278 h 4687251"/>
              <a:gd name="connsiteX51016" fmla="*/ 2952195 w 8079933"/>
              <a:gd name="connsiteY51016" fmla="*/ 164679 h 4687251"/>
              <a:gd name="connsiteX51017" fmla="*/ 2954800 w 8079933"/>
              <a:gd name="connsiteY51017" fmla="*/ 168577 h 4687251"/>
              <a:gd name="connsiteX51018" fmla="*/ 2970317 w 8079933"/>
              <a:gd name="connsiteY51018" fmla="*/ 170959 h 4687251"/>
              <a:gd name="connsiteX51019" fmla="*/ 2979649 w 8079933"/>
              <a:gd name="connsiteY51019" fmla="*/ 172908 h 4687251"/>
              <a:gd name="connsiteX51020" fmla="*/ 2982362 w 8079933"/>
              <a:gd name="connsiteY51020" fmla="*/ 175723 h 4687251"/>
              <a:gd name="connsiteX51021" fmla="*/ 2979324 w 8079933"/>
              <a:gd name="connsiteY51021" fmla="*/ 178538 h 4687251"/>
              <a:gd name="connsiteX51022" fmla="*/ 2958163 w 8079933"/>
              <a:gd name="connsiteY51022" fmla="*/ 186875 h 4687251"/>
              <a:gd name="connsiteX51023" fmla="*/ 2944924 w 8079933"/>
              <a:gd name="connsiteY51023" fmla="*/ 189040 h 4687251"/>
              <a:gd name="connsiteX51024" fmla="*/ 2939498 w 8079933"/>
              <a:gd name="connsiteY51024" fmla="*/ 188932 h 4687251"/>
              <a:gd name="connsiteX51025" fmla="*/ 2932228 w 8079933"/>
              <a:gd name="connsiteY51025" fmla="*/ 190665 h 4687251"/>
              <a:gd name="connsiteX51026" fmla="*/ 2926042 w 8079933"/>
              <a:gd name="connsiteY51026" fmla="*/ 189690 h 4687251"/>
              <a:gd name="connsiteX51027" fmla="*/ 2925065 w 8079933"/>
              <a:gd name="connsiteY51027" fmla="*/ 186767 h 4687251"/>
              <a:gd name="connsiteX51028" fmla="*/ 2920508 w 8079933"/>
              <a:gd name="connsiteY51028" fmla="*/ 188607 h 4687251"/>
              <a:gd name="connsiteX51029" fmla="*/ 2917036 w 8079933"/>
              <a:gd name="connsiteY51029" fmla="*/ 187633 h 4687251"/>
              <a:gd name="connsiteX51030" fmla="*/ 2912261 w 8079933"/>
              <a:gd name="connsiteY51030" fmla="*/ 188499 h 4687251"/>
              <a:gd name="connsiteX51031" fmla="*/ 2909873 w 8079933"/>
              <a:gd name="connsiteY51031" fmla="*/ 192830 h 4687251"/>
              <a:gd name="connsiteX51032" fmla="*/ 2914539 w 8079933"/>
              <a:gd name="connsiteY51032" fmla="*/ 192397 h 4687251"/>
              <a:gd name="connsiteX51033" fmla="*/ 2915408 w 8079933"/>
              <a:gd name="connsiteY51033" fmla="*/ 196944 h 4687251"/>
              <a:gd name="connsiteX51034" fmla="*/ 2922136 w 8079933"/>
              <a:gd name="connsiteY51034" fmla="*/ 193155 h 4687251"/>
              <a:gd name="connsiteX51035" fmla="*/ 2935483 w 8079933"/>
              <a:gd name="connsiteY51035" fmla="*/ 193155 h 4687251"/>
              <a:gd name="connsiteX51036" fmla="*/ 2941561 w 8079933"/>
              <a:gd name="connsiteY51036" fmla="*/ 194238 h 4687251"/>
              <a:gd name="connsiteX51037" fmla="*/ 2959357 w 8079933"/>
              <a:gd name="connsiteY51037" fmla="*/ 192830 h 4687251"/>
              <a:gd name="connsiteX51038" fmla="*/ 2971402 w 8079933"/>
              <a:gd name="connsiteY51038" fmla="*/ 190881 h 4687251"/>
              <a:gd name="connsiteX51039" fmla="*/ 2978999 w 8079933"/>
              <a:gd name="connsiteY51039" fmla="*/ 183302 h 4687251"/>
              <a:gd name="connsiteX51040" fmla="*/ 2984207 w 8079933"/>
              <a:gd name="connsiteY51040" fmla="*/ 183085 h 4687251"/>
              <a:gd name="connsiteX51041" fmla="*/ 2988005 w 8079933"/>
              <a:gd name="connsiteY51041" fmla="*/ 184493 h 4687251"/>
              <a:gd name="connsiteX51042" fmla="*/ 2993539 w 8079933"/>
              <a:gd name="connsiteY51042" fmla="*/ 183410 h 4687251"/>
              <a:gd name="connsiteX51043" fmla="*/ 3001136 w 8079933"/>
              <a:gd name="connsiteY51043" fmla="*/ 183518 h 4687251"/>
              <a:gd name="connsiteX51044" fmla="*/ 2998206 w 8079933"/>
              <a:gd name="connsiteY51044" fmla="*/ 190231 h 4687251"/>
              <a:gd name="connsiteX51045" fmla="*/ 2994624 w 8079933"/>
              <a:gd name="connsiteY51045" fmla="*/ 197052 h 4687251"/>
              <a:gd name="connsiteX51046" fmla="*/ 2986486 w 8079933"/>
              <a:gd name="connsiteY51046" fmla="*/ 201166 h 4687251"/>
              <a:gd name="connsiteX51047" fmla="*/ 2983990 w 8079933"/>
              <a:gd name="connsiteY51047" fmla="*/ 203116 h 4687251"/>
              <a:gd name="connsiteX51048" fmla="*/ 2974766 w 8079933"/>
              <a:gd name="connsiteY51048" fmla="*/ 204848 h 4687251"/>
              <a:gd name="connsiteX51049" fmla="*/ 2971077 w 8079933"/>
              <a:gd name="connsiteY51049" fmla="*/ 209936 h 4687251"/>
              <a:gd name="connsiteX51050" fmla="*/ 2967604 w 8079933"/>
              <a:gd name="connsiteY51050" fmla="*/ 210478 h 4687251"/>
              <a:gd name="connsiteX51051" fmla="*/ 2962179 w 8079933"/>
              <a:gd name="connsiteY51051" fmla="*/ 215675 h 4687251"/>
              <a:gd name="connsiteX51052" fmla="*/ 2954800 w 8079933"/>
              <a:gd name="connsiteY51052" fmla="*/ 219031 h 4687251"/>
              <a:gd name="connsiteX51053" fmla="*/ 2949916 w 8079933"/>
              <a:gd name="connsiteY51053" fmla="*/ 219465 h 4687251"/>
              <a:gd name="connsiteX51054" fmla="*/ 2946552 w 8079933"/>
              <a:gd name="connsiteY51054" fmla="*/ 220872 h 4687251"/>
              <a:gd name="connsiteX51055" fmla="*/ 2941452 w 8079933"/>
              <a:gd name="connsiteY51055" fmla="*/ 220005 h 4687251"/>
              <a:gd name="connsiteX51056" fmla="*/ 2936786 w 8079933"/>
              <a:gd name="connsiteY51056" fmla="*/ 224228 h 4687251"/>
              <a:gd name="connsiteX51057" fmla="*/ 2927995 w 8079933"/>
              <a:gd name="connsiteY51057" fmla="*/ 226069 h 4687251"/>
              <a:gd name="connsiteX51058" fmla="*/ 2925065 w 8079933"/>
              <a:gd name="connsiteY51058" fmla="*/ 230941 h 4687251"/>
              <a:gd name="connsiteX51059" fmla="*/ 2915516 w 8079933"/>
              <a:gd name="connsiteY51059" fmla="*/ 232673 h 4687251"/>
              <a:gd name="connsiteX51060" fmla="*/ 2911393 w 8079933"/>
              <a:gd name="connsiteY51060" fmla="*/ 234948 h 4687251"/>
              <a:gd name="connsiteX51061" fmla="*/ 2907920 w 8079933"/>
              <a:gd name="connsiteY51061" fmla="*/ 233972 h 4687251"/>
              <a:gd name="connsiteX51062" fmla="*/ 2903905 w 8079933"/>
              <a:gd name="connsiteY51062" fmla="*/ 237762 h 4687251"/>
              <a:gd name="connsiteX51063" fmla="*/ 2899890 w 8079933"/>
              <a:gd name="connsiteY51063" fmla="*/ 237329 h 4687251"/>
              <a:gd name="connsiteX51064" fmla="*/ 2898154 w 8079933"/>
              <a:gd name="connsiteY51064" fmla="*/ 239278 h 4687251"/>
              <a:gd name="connsiteX51065" fmla="*/ 2898371 w 8079933"/>
              <a:gd name="connsiteY51065" fmla="*/ 244475 h 4687251"/>
              <a:gd name="connsiteX51066" fmla="*/ 2893596 w 8079933"/>
              <a:gd name="connsiteY51066" fmla="*/ 248264 h 4687251"/>
              <a:gd name="connsiteX51067" fmla="*/ 2890775 w 8079933"/>
              <a:gd name="connsiteY51067" fmla="*/ 252270 h 4687251"/>
              <a:gd name="connsiteX51068" fmla="*/ 2879489 w 8079933"/>
              <a:gd name="connsiteY51068" fmla="*/ 252486 h 4687251"/>
              <a:gd name="connsiteX51069" fmla="*/ 2876341 w 8079933"/>
              <a:gd name="connsiteY51069" fmla="*/ 254868 h 4687251"/>
              <a:gd name="connsiteX51070" fmla="*/ 2872761 w 8079933"/>
              <a:gd name="connsiteY51070" fmla="*/ 253678 h 4687251"/>
              <a:gd name="connsiteX51071" fmla="*/ 2871893 w 8079933"/>
              <a:gd name="connsiteY51071" fmla="*/ 250863 h 4687251"/>
              <a:gd name="connsiteX51072" fmla="*/ 2873955 w 8079933"/>
              <a:gd name="connsiteY51072" fmla="*/ 247831 h 4687251"/>
              <a:gd name="connsiteX51073" fmla="*/ 2873955 w 8079933"/>
              <a:gd name="connsiteY51073" fmla="*/ 243717 h 4687251"/>
              <a:gd name="connsiteX51074" fmla="*/ 2870807 w 8079933"/>
              <a:gd name="connsiteY51074" fmla="*/ 241119 h 4687251"/>
              <a:gd name="connsiteX51075" fmla="*/ 2871675 w 8079933"/>
              <a:gd name="connsiteY51075" fmla="*/ 247615 h 4687251"/>
              <a:gd name="connsiteX51076" fmla="*/ 2869397 w 8079933"/>
              <a:gd name="connsiteY51076" fmla="*/ 250105 h 4687251"/>
              <a:gd name="connsiteX51077" fmla="*/ 2867769 w 8079933"/>
              <a:gd name="connsiteY51077" fmla="*/ 253678 h 4687251"/>
              <a:gd name="connsiteX51078" fmla="*/ 2873195 w 8079933"/>
              <a:gd name="connsiteY51078" fmla="*/ 257142 h 4687251"/>
              <a:gd name="connsiteX51079" fmla="*/ 2874388 w 8079933"/>
              <a:gd name="connsiteY51079" fmla="*/ 260715 h 4687251"/>
              <a:gd name="connsiteX51080" fmla="*/ 2869614 w 8079933"/>
              <a:gd name="connsiteY51080" fmla="*/ 265696 h 4687251"/>
              <a:gd name="connsiteX51081" fmla="*/ 2867443 w 8079933"/>
              <a:gd name="connsiteY51081" fmla="*/ 266129 h 4687251"/>
              <a:gd name="connsiteX51082" fmla="*/ 2862560 w 8079933"/>
              <a:gd name="connsiteY51082" fmla="*/ 262664 h 4687251"/>
              <a:gd name="connsiteX51083" fmla="*/ 2859521 w 8079933"/>
              <a:gd name="connsiteY51083" fmla="*/ 264505 h 4687251"/>
              <a:gd name="connsiteX51084" fmla="*/ 2851275 w 8079933"/>
              <a:gd name="connsiteY51084" fmla="*/ 261690 h 4687251"/>
              <a:gd name="connsiteX51085" fmla="*/ 2848562 w 8079933"/>
              <a:gd name="connsiteY51085" fmla="*/ 263639 h 4687251"/>
              <a:gd name="connsiteX51086" fmla="*/ 2845414 w 8079933"/>
              <a:gd name="connsiteY51086" fmla="*/ 263964 h 4687251"/>
              <a:gd name="connsiteX51087" fmla="*/ 2844872 w 8079933"/>
              <a:gd name="connsiteY51087" fmla="*/ 259850 h 4687251"/>
              <a:gd name="connsiteX51088" fmla="*/ 2842919 w 8079933"/>
              <a:gd name="connsiteY51088" fmla="*/ 258225 h 4687251"/>
              <a:gd name="connsiteX51089" fmla="*/ 2841074 w 8079933"/>
              <a:gd name="connsiteY51089" fmla="*/ 262448 h 4687251"/>
              <a:gd name="connsiteX51090" fmla="*/ 2836950 w 8079933"/>
              <a:gd name="connsiteY51090" fmla="*/ 262772 h 4687251"/>
              <a:gd name="connsiteX51091" fmla="*/ 2836082 w 8079933"/>
              <a:gd name="connsiteY51091" fmla="*/ 265370 h 4687251"/>
              <a:gd name="connsiteX51092" fmla="*/ 2845197 w 8079933"/>
              <a:gd name="connsiteY51092" fmla="*/ 267319 h 4687251"/>
              <a:gd name="connsiteX51093" fmla="*/ 2857785 w 8079933"/>
              <a:gd name="connsiteY51093" fmla="*/ 267537 h 4687251"/>
              <a:gd name="connsiteX51094" fmla="*/ 2860607 w 8079933"/>
              <a:gd name="connsiteY51094" fmla="*/ 271325 h 4687251"/>
              <a:gd name="connsiteX51095" fmla="*/ 2859630 w 8079933"/>
              <a:gd name="connsiteY51095" fmla="*/ 275440 h 4687251"/>
              <a:gd name="connsiteX51096" fmla="*/ 2854855 w 8079933"/>
              <a:gd name="connsiteY51096" fmla="*/ 278363 h 4687251"/>
              <a:gd name="connsiteX51097" fmla="*/ 2848670 w 8079933"/>
              <a:gd name="connsiteY51097" fmla="*/ 277281 h 4687251"/>
              <a:gd name="connsiteX51098" fmla="*/ 2842376 w 8079933"/>
              <a:gd name="connsiteY51098" fmla="*/ 278797 h 4687251"/>
              <a:gd name="connsiteX51099" fmla="*/ 2840639 w 8079933"/>
              <a:gd name="connsiteY51099" fmla="*/ 280529 h 4687251"/>
              <a:gd name="connsiteX51100" fmla="*/ 2842810 w 8079933"/>
              <a:gd name="connsiteY51100" fmla="*/ 282370 h 4687251"/>
              <a:gd name="connsiteX51101" fmla="*/ 2845089 w 8079933"/>
              <a:gd name="connsiteY51101" fmla="*/ 281070 h 4687251"/>
              <a:gd name="connsiteX51102" fmla="*/ 2848344 w 8079933"/>
              <a:gd name="connsiteY51102" fmla="*/ 283127 h 4687251"/>
              <a:gd name="connsiteX51103" fmla="*/ 2847802 w 8079933"/>
              <a:gd name="connsiteY51103" fmla="*/ 286917 h 4687251"/>
              <a:gd name="connsiteX51104" fmla="*/ 2840097 w 8079933"/>
              <a:gd name="connsiteY51104" fmla="*/ 294279 h 4687251"/>
              <a:gd name="connsiteX51105" fmla="*/ 2833478 w 8079933"/>
              <a:gd name="connsiteY51105" fmla="*/ 293846 h 4687251"/>
              <a:gd name="connsiteX51106" fmla="*/ 2821649 w 8079933"/>
              <a:gd name="connsiteY51106" fmla="*/ 293629 h 4687251"/>
              <a:gd name="connsiteX51107" fmla="*/ 2820021 w 8079933"/>
              <a:gd name="connsiteY51107" fmla="*/ 291139 h 4687251"/>
              <a:gd name="connsiteX51108" fmla="*/ 2815138 w 8079933"/>
              <a:gd name="connsiteY51108" fmla="*/ 290598 h 4687251"/>
              <a:gd name="connsiteX51109" fmla="*/ 2813619 w 8079933"/>
              <a:gd name="connsiteY51109" fmla="*/ 288216 h 4687251"/>
              <a:gd name="connsiteX51110" fmla="*/ 2812968 w 8079933"/>
              <a:gd name="connsiteY51110" fmla="*/ 280312 h 4687251"/>
              <a:gd name="connsiteX51111" fmla="*/ 2806349 w 8079933"/>
              <a:gd name="connsiteY51111" fmla="*/ 279121 h 4687251"/>
              <a:gd name="connsiteX51112" fmla="*/ 2804287 w 8079933"/>
              <a:gd name="connsiteY51112" fmla="*/ 276847 h 4687251"/>
              <a:gd name="connsiteX51113" fmla="*/ 2804612 w 8079933"/>
              <a:gd name="connsiteY51113" fmla="*/ 272517 h 4687251"/>
              <a:gd name="connsiteX51114" fmla="*/ 2801574 w 8079933"/>
              <a:gd name="connsiteY51114" fmla="*/ 269919 h 4687251"/>
              <a:gd name="connsiteX51115" fmla="*/ 2798861 w 8079933"/>
              <a:gd name="connsiteY51115" fmla="*/ 271217 h 4687251"/>
              <a:gd name="connsiteX51116" fmla="*/ 2795605 w 8079933"/>
              <a:gd name="connsiteY51116" fmla="*/ 270027 h 4687251"/>
              <a:gd name="connsiteX51117" fmla="*/ 2787901 w 8079933"/>
              <a:gd name="connsiteY51117" fmla="*/ 271001 h 4687251"/>
              <a:gd name="connsiteX51118" fmla="*/ 2787467 w 8079933"/>
              <a:gd name="connsiteY51118" fmla="*/ 273383 h 4687251"/>
              <a:gd name="connsiteX51119" fmla="*/ 2790505 w 8079933"/>
              <a:gd name="connsiteY51119" fmla="*/ 275007 h 4687251"/>
              <a:gd name="connsiteX51120" fmla="*/ 2792133 w 8079933"/>
              <a:gd name="connsiteY51120" fmla="*/ 273708 h 4687251"/>
              <a:gd name="connsiteX51121" fmla="*/ 2795931 w 8079933"/>
              <a:gd name="connsiteY51121" fmla="*/ 274141 h 4687251"/>
              <a:gd name="connsiteX51122" fmla="*/ 2806349 w 8079933"/>
              <a:gd name="connsiteY51122" fmla="*/ 284318 h 4687251"/>
              <a:gd name="connsiteX51123" fmla="*/ 2806023 w 8079933"/>
              <a:gd name="connsiteY51123" fmla="*/ 297635 h 4687251"/>
              <a:gd name="connsiteX51124" fmla="*/ 2804395 w 8079933"/>
              <a:gd name="connsiteY51124" fmla="*/ 299909 h 4687251"/>
              <a:gd name="connsiteX51125" fmla="*/ 2799295 w 8079933"/>
              <a:gd name="connsiteY51125" fmla="*/ 299259 h 4687251"/>
              <a:gd name="connsiteX51126" fmla="*/ 2795063 w 8079933"/>
              <a:gd name="connsiteY51126" fmla="*/ 295362 h 4687251"/>
              <a:gd name="connsiteX51127" fmla="*/ 2792350 w 8079933"/>
              <a:gd name="connsiteY51127" fmla="*/ 295795 h 4687251"/>
              <a:gd name="connsiteX51128" fmla="*/ 2792133 w 8079933"/>
              <a:gd name="connsiteY51128" fmla="*/ 299584 h 4687251"/>
              <a:gd name="connsiteX51129" fmla="*/ 2790288 w 8079933"/>
              <a:gd name="connsiteY51129" fmla="*/ 300992 h 4687251"/>
              <a:gd name="connsiteX51130" fmla="*/ 2785839 w 8079933"/>
              <a:gd name="connsiteY51130" fmla="*/ 296337 h 4687251"/>
              <a:gd name="connsiteX51131" fmla="*/ 2781932 w 8079933"/>
              <a:gd name="connsiteY51131" fmla="*/ 296661 h 4687251"/>
              <a:gd name="connsiteX51132" fmla="*/ 2778676 w 8079933"/>
              <a:gd name="connsiteY51132" fmla="*/ 300451 h 4687251"/>
              <a:gd name="connsiteX51133" fmla="*/ 2776506 w 8079933"/>
              <a:gd name="connsiteY51133" fmla="*/ 300017 h 4687251"/>
              <a:gd name="connsiteX51134" fmla="*/ 2774336 w 8079933"/>
              <a:gd name="connsiteY51134" fmla="*/ 297094 h 4687251"/>
              <a:gd name="connsiteX51135" fmla="*/ 2769453 w 8079933"/>
              <a:gd name="connsiteY51135" fmla="*/ 295795 h 4687251"/>
              <a:gd name="connsiteX51136" fmla="*/ 2766414 w 8079933"/>
              <a:gd name="connsiteY51136" fmla="*/ 290814 h 4687251"/>
              <a:gd name="connsiteX51137" fmla="*/ 2763810 w 8079933"/>
              <a:gd name="connsiteY51137" fmla="*/ 292439 h 4687251"/>
              <a:gd name="connsiteX51138" fmla="*/ 2762616 w 8079933"/>
              <a:gd name="connsiteY51138" fmla="*/ 287350 h 4687251"/>
              <a:gd name="connsiteX51139" fmla="*/ 2760120 w 8079933"/>
              <a:gd name="connsiteY51139" fmla="*/ 285726 h 4687251"/>
              <a:gd name="connsiteX51140" fmla="*/ 2753067 w 8079933"/>
              <a:gd name="connsiteY51140" fmla="*/ 285076 h 4687251"/>
              <a:gd name="connsiteX51141" fmla="*/ 2750354 w 8079933"/>
              <a:gd name="connsiteY51141" fmla="*/ 281178 h 4687251"/>
              <a:gd name="connsiteX51142" fmla="*/ 2748617 w 8079933"/>
              <a:gd name="connsiteY51142" fmla="*/ 282802 h 4687251"/>
              <a:gd name="connsiteX51143" fmla="*/ 2749160 w 8079933"/>
              <a:gd name="connsiteY51143" fmla="*/ 286159 h 4687251"/>
              <a:gd name="connsiteX51144" fmla="*/ 2753610 w 8079933"/>
              <a:gd name="connsiteY51144" fmla="*/ 289082 h 4687251"/>
              <a:gd name="connsiteX51145" fmla="*/ 2759469 w 8079933"/>
              <a:gd name="connsiteY51145" fmla="*/ 290490 h 4687251"/>
              <a:gd name="connsiteX51146" fmla="*/ 2764787 w 8079933"/>
              <a:gd name="connsiteY51146" fmla="*/ 299368 h 4687251"/>
              <a:gd name="connsiteX51147" fmla="*/ 2762833 w 8079933"/>
              <a:gd name="connsiteY51147" fmla="*/ 301858 h 4687251"/>
              <a:gd name="connsiteX51148" fmla="*/ 2749920 w 8079933"/>
              <a:gd name="connsiteY51148" fmla="*/ 299043 h 4687251"/>
              <a:gd name="connsiteX51149" fmla="*/ 2746339 w 8079933"/>
              <a:gd name="connsiteY51149" fmla="*/ 296012 h 4687251"/>
              <a:gd name="connsiteX51150" fmla="*/ 2746013 w 8079933"/>
              <a:gd name="connsiteY51150" fmla="*/ 291139 h 4687251"/>
              <a:gd name="connsiteX51151" fmla="*/ 2742866 w 8079933"/>
              <a:gd name="connsiteY51151" fmla="*/ 287892 h 4687251"/>
              <a:gd name="connsiteX51152" fmla="*/ 2741238 w 8079933"/>
              <a:gd name="connsiteY51152" fmla="*/ 290273 h 4687251"/>
              <a:gd name="connsiteX51153" fmla="*/ 2742215 w 8079933"/>
              <a:gd name="connsiteY51153" fmla="*/ 292439 h 4687251"/>
              <a:gd name="connsiteX51154" fmla="*/ 2740696 w 8079933"/>
              <a:gd name="connsiteY51154" fmla="*/ 295686 h 4687251"/>
              <a:gd name="connsiteX51155" fmla="*/ 2736463 w 8079933"/>
              <a:gd name="connsiteY51155" fmla="*/ 294496 h 4687251"/>
              <a:gd name="connsiteX51156" fmla="*/ 2733968 w 8079933"/>
              <a:gd name="connsiteY51156" fmla="*/ 291680 h 4687251"/>
              <a:gd name="connsiteX51157" fmla="*/ 2729736 w 8079933"/>
              <a:gd name="connsiteY51157" fmla="*/ 292872 h 4687251"/>
              <a:gd name="connsiteX51158" fmla="*/ 2730170 w 8079933"/>
              <a:gd name="connsiteY51158" fmla="*/ 295903 h 4687251"/>
              <a:gd name="connsiteX51159" fmla="*/ 2736572 w 8079933"/>
              <a:gd name="connsiteY51159" fmla="*/ 298393 h 4687251"/>
              <a:gd name="connsiteX51160" fmla="*/ 2736355 w 8079933"/>
              <a:gd name="connsiteY51160" fmla="*/ 302616 h 4687251"/>
              <a:gd name="connsiteX51161" fmla="*/ 2739068 w 8079933"/>
              <a:gd name="connsiteY51161" fmla="*/ 302616 h 4687251"/>
              <a:gd name="connsiteX51162" fmla="*/ 2741021 w 8079933"/>
              <a:gd name="connsiteY51162" fmla="*/ 300992 h 4687251"/>
              <a:gd name="connsiteX51163" fmla="*/ 2744602 w 8079933"/>
              <a:gd name="connsiteY51163" fmla="*/ 300992 h 4687251"/>
              <a:gd name="connsiteX51164" fmla="*/ 2748292 w 8079933"/>
              <a:gd name="connsiteY51164" fmla="*/ 304457 h 4687251"/>
              <a:gd name="connsiteX51165" fmla="*/ 2753392 w 8079933"/>
              <a:gd name="connsiteY51165" fmla="*/ 306297 h 4687251"/>
              <a:gd name="connsiteX51166" fmla="*/ 2757625 w 8079933"/>
              <a:gd name="connsiteY51166" fmla="*/ 310304 h 4687251"/>
              <a:gd name="connsiteX51167" fmla="*/ 2760338 w 8079933"/>
              <a:gd name="connsiteY51167" fmla="*/ 310304 h 4687251"/>
              <a:gd name="connsiteX51168" fmla="*/ 2764244 w 8079933"/>
              <a:gd name="connsiteY51168" fmla="*/ 309112 h 4687251"/>
              <a:gd name="connsiteX51169" fmla="*/ 2777483 w 8079933"/>
              <a:gd name="connsiteY51169" fmla="*/ 312035 h 4687251"/>
              <a:gd name="connsiteX51170" fmla="*/ 2780088 w 8079933"/>
              <a:gd name="connsiteY51170" fmla="*/ 314850 h 4687251"/>
              <a:gd name="connsiteX51171" fmla="*/ 2775747 w 8079933"/>
              <a:gd name="connsiteY51171" fmla="*/ 317990 h 4687251"/>
              <a:gd name="connsiteX51172" fmla="*/ 2777158 w 8079933"/>
              <a:gd name="connsiteY51172" fmla="*/ 320481 h 4687251"/>
              <a:gd name="connsiteX51173" fmla="*/ 2776615 w 8079933"/>
              <a:gd name="connsiteY51173" fmla="*/ 324811 h 4687251"/>
              <a:gd name="connsiteX51174" fmla="*/ 2777700 w 8079933"/>
              <a:gd name="connsiteY51174" fmla="*/ 329359 h 4687251"/>
              <a:gd name="connsiteX51175" fmla="*/ 2774445 w 8079933"/>
              <a:gd name="connsiteY51175" fmla="*/ 332390 h 4687251"/>
              <a:gd name="connsiteX51176" fmla="*/ 2772492 w 8079933"/>
              <a:gd name="connsiteY51176" fmla="*/ 331957 h 4687251"/>
              <a:gd name="connsiteX51177" fmla="*/ 2769344 w 8079933"/>
              <a:gd name="connsiteY51177" fmla="*/ 328926 h 4687251"/>
              <a:gd name="connsiteX51178" fmla="*/ 2762942 w 8079933"/>
              <a:gd name="connsiteY51178" fmla="*/ 327193 h 4687251"/>
              <a:gd name="connsiteX51179" fmla="*/ 2756756 w 8079933"/>
              <a:gd name="connsiteY51179" fmla="*/ 322321 h 4687251"/>
              <a:gd name="connsiteX51180" fmla="*/ 2755128 w 8079933"/>
              <a:gd name="connsiteY51180" fmla="*/ 319181 h 4687251"/>
              <a:gd name="connsiteX51181" fmla="*/ 2755888 w 8079933"/>
              <a:gd name="connsiteY51181" fmla="*/ 313226 h 4687251"/>
              <a:gd name="connsiteX51182" fmla="*/ 2753392 w 8079933"/>
              <a:gd name="connsiteY51182" fmla="*/ 309112 h 4687251"/>
              <a:gd name="connsiteX51183" fmla="*/ 2746231 w 8079933"/>
              <a:gd name="connsiteY51183" fmla="*/ 308896 h 4687251"/>
              <a:gd name="connsiteX51184" fmla="*/ 2735595 w 8079933"/>
              <a:gd name="connsiteY51184" fmla="*/ 307272 h 4687251"/>
              <a:gd name="connsiteX51185" fmla="*/ 2731689 w 8079933"/>
              <a:gd name="connsiteY51185" fmla="*/ 304349 h 4687251"/>
              <a:gd name="connsiteX51186" fmla="*/ 2727131 w 8079933"/>
              <a:gd name="connsiteY51186" fmla="*/ 304998 h 4687251"/>
              <a:gd name="connsiteX51187" fmla="*/ 2726372 w 8079933"/>
              <a:gd name="connsiteY51187" fmla="*/ 307163 h 4687251"/>
              <a:gd name="connsiteX51188" fmla="*/ 2732557 w 8079933"/>
              <a:gd name="connsiteY51188" fmla="*/ 309545 h 4687251"/>
              <a:gd name="connsiteX51189" fmla="*/ 2741998 w 8079933"/>
              <a:gd name="connsiteY51189" fmla="*/ 310304 h 4687251"/>
              <a:gd name="connsiteX51190" fmla="*/ 2751873 w 8079933"/>
              <a:gd name="connsiteY51190" fmla="*/ 313984 h 4687251"/>
              <a:gd name="connsiteX51191" fmla="*/ 2751656 w 8079933"/>
              <a:gd name="connsiteY51191" fmla="*/ 319073 h 4687251"/>
              <a:gd name="connsiteX51192" fmla="*/ 2749920 w 8079933"/>
              <a:gd name="connsiteY51192" fmla="*/ 319614 h 4687251"/>
              <a:gd name="connsiteX51193" fmla="*/ 2744819 w 8079933"/>
              <a:gd name="connsiteY51193" fmla="*/ 316041 h 4687251"/>
              <a:gd name="connsiteX51194" fmla="*/ 2736030 w 8079933"/>
              <a:gd name="connsiteY51194" fmla="*/ 315825 h 4687251"/>
              <a:gd name="connsiteX51195" fmla="*/ 2728867 w 8079933"/>
              <a:gd name="connsiteY51195" fmla="*/ 317774 h 4687251"/>
              <a:gd name="connsiteX51196" fmla="*/ 2728976 w 8079933"/>
              <a:gd name="connsiteY51196" fmla="*/ 315176 h 4687251"/>
              <a:gd name="connsiteX51197" fmla="*/ 2726372 w 8079933"/>
              <a:gd name="connsiteY51197" fmla="*/ 312360 h 4687251"/>
              <a:gd name="connsiteX51198" fmla="*/ 2718341 w 8079933"/>
              <a:gd name="connsiteY51198" fmla="*/ 311169 h 4687251"/>
              <a:gd name="connsiteX51199" fmla="*/ 2714543 w 8079933"/>
              <a:gd name="connsiteY51199" fmla="*/ 309004 h 4687251"/>
              <a:gd name="connsiteX51200" fmla="*/ 2715412 w 8079933"/>
              <a:gd name="connsiteY51200" fmla="*/ 311494 h 4687251"/>
              <a:gd name="connsiteX51201" fmla="*/ 2724201 w 8079933"/>
              <a:gd name="connsiteY51201" fmla="*/ 315500 h 4687251"/>
              <a:gd name="connsiteX51202" fmla="*/ 2723008 w 8079933"/>
              <a:gd name="connsiteY51202" fmla="*/ 317666 h 4687251"/>
              <a:gd name="connsiteX51203" fmla="*/ 2723008 w 8079933"/>
              <a:gd name="connsiteY51203" fmla="*/ 321022 h 4687251"/>
              <a:gd name="connsiteX51204" fmla="*/ 2726914 w 8079933"/>
              <a:gd name="connsiteY51204" fmla="*/ 321239 h 4687251"/>
              <a:gd name="connsiteX51205" fmla="*/ 2727999 w 8079933"/>
              <a:gd name="connsiteY51205" fmla="*/ 320481 h 4687251"/>
              <a:gd name="connsiteX51206" fmla="*/ 2729736 w 8079933"/>
              <a:gd name="connsiteY51206" fmla="*/ 321671 h 4687251"/>
              <a:gd name="connsiteX51207" fmla="*/ 2733534 w 8079933"/>
              <a:gd name="connsiteY51207" fmla="*/ 320264 h 4687251"/>
              <a:gd name="connsiteX51208" fmla="*/ 2734727 w 8079933"/>
              <a:gd name="connsiteY51208" fmla="*/ 319073 h 4687251"/>
              <a:gd name="connsiteX51209" fmla="*/ 2737223 w 8079933"/>
              <a:gd name="connsiteY51209" fmla="*/ 320264 h 4687251"/>
              <a:gd name="connsiteX51210" fmla="*/ 2741456 w 8079933"/>
              <a:gd name="connsiteY51210" fmla="*/ 319831 h 4687251"/>
              <a:gd name="connsiteX51211" fmla="*/ 2744819 w 8079933"/>
              <a:gd name="connsiteY51211" fmla="*/ 321130 h 4687251"/>
              <a:gd name="connsiteX51212" fmla="*/ 2751765 w 8079933"/>
              <a:gd name="connsiteY51212" fmla="*/ 327518 h 4687251"/>
              <a:gd name="connsiteX51213" fmla="*/ 2751547 w 8079933"/>
              <a:gd name="connsiteY51213" fmla="*/ 329792 h 4687251"/>
              <a:gd name="connsiteX51214" fmla="*/ 2745688 w 8079933"/>
              <a:gd name="connsiteY51214" fmla="*/ 330117 h 4687251"/>
              <a:gd name="connsiteX51215" fmla="*/ 2740805 w 8079933"/>
              <a:gd name="connsiteY51215" fmla="*/ 332282 h 4687251"/>
              <a:gd name="connsiteX51216" fmla="*/ 2740045 w 8079933"/>
              <a:gd name="connsiteY51216" fmla="*/ 334881 h 4687251"/>
              <a:gd name="connsiteX51217" fmla="*/ 2744494 w 8079933"/>
              <a:gd name="connsiteY51217" fmla="*/ 333581 h 4687251"/>
              <a:gd name="connsiteX51218" fmla="*/ 2748835 w 8079933"/>
              <a:gd name="connsiteY51218" fmla="*/ 333581 h 4687251"/>
              <a:gd name="connsiteX51219" fmla="*/ 2752850 w 8079933"/>
              <a:gd name="connsiteY51219" fmla="*/ 332824 h 4687251"/>
              <a:gd name="connsiteX51220" fmla="*/ 2757190 w 8079933"/>
              <a:gd name="connsiteY51220" fmla="*/ 337046 h 4687251"/>
              <a:gd name="connsiteX51221" fmla="*/ 2761423 w 8079933"/>
              <a:gd name="connsiteY51221" fmla="*/ 339536 h 4687251"/>
              <a:gd name="connsiteX51222" fmla="*/ 2761531 w 8079933"/>
              <a:gd name="connsiteY51222" fmla="*/ 343759 h 4687251"/>
              <a:gd name="connsiteX51223" fmla="*/ 2755888 w 8079933"/>
              <a:gd name="connsiteY51223" fmla="*/ 352637 h 4687251"/>
              <a:gd name="connsiteX51224" fmla="*/ 2754043 w 8079933"/>
              <a:gd name="connsiteY51224" fmla="*/ 359891 h 4687251"/>
              <a:gd name="connsiteX51225" fmla="*/ 2751873 w 8079933"/>
              <a:gd name="connsiteY51225" fmla="*/ 360432 h 4687251"/>
              <a:gd name="connsiteX51226" fmla="*/ 2745254 w 8079933"/>
              <a:gd name="connsiteY51226" fmla="*/ 365521 h 4687251"/>
              <a:gd name="connsiteX51227" fmla="*/ 2742106 w 8079933"/>
              <a:gd name="connsiteY51227" fmla="*/ 363789 h 4687251"/>
              <a:gd name="connsiteX51228" fmla="*/ 2738092 w 8079933"/>
              <a:gd name="connsiteY51228" fmla="*/ 363897 h 4687251"/>
              <a:gd name="connsiteX51229" fmla="*/ 2734510 w 8079933"/>
              <a:gd name="connsiteY51229" fmla="*/ 362057 h 4687251"/>
              <a:gd name="connsiteX51230" fmla="*/ 2733860 w 8079933"/>
              <a:gd name="connsiteY51230" fmla="*/ 359566 h 4687251"/>
              <a:gd name="connsiteX51231" fmla="*/ 2730279 w 8079933"/>
              <a:gd name="connsiteY51231" fmla="*/ 357509 h 4687251"/>
              <a:gd name="connsiteX51232" fmla="*/ 2724744 w 8079933"/>
              <a:gd name="connsiteY51232" fmla="*/ 357293 h 4687251"/>
              <a:gd name="connsiteX51233" fmla="*/ 2725395 w 8079933"/>
              <a:gd name="connsiteY51233" fmla="*/ 359566 h 4687251"/>
              <a:gd name="connsiteX51234" fmla="*/ 2730604 w 8079933"/>
              <a:gd name="connsiteY51234" fmla="*/ 361732 h 4687251"/>
              <a:gd name="connsiteX51235" fmla="*/ 2731255 w 8079933"/>
              <a:gd name="connsiteY51235" fmla="*/ 364114 h 4687251"/>
              <a:gd name="connsiteX51236" fmla="*/ 2734619 w 8079933"/>
              <a:gd name="connsiteY51236" fmla="*/ 364979 h 4687251"/>
              <a:gd name="connsiteX51237" fmla="*/ 2740588 w 8079933"/>
              <a:gd name="connsiteY51237" fmla="*/ 368769 h 4687251"/>
              <a:gd name="connsiteX51238" fmla="*/ 2741456 w 8079933"/>
              <a:gd name="connsiteY51238" fmla="*/ 374832 h 4687251"/>
              <a:gd name="connsiteX51239" fmla="*/ 2739502 w 8079933"/>
              <a:gd name="connsiteY51239" fmla="*/ 377539 h 4687251"/>
              <a:gd name="connsiteX51240" fmla="*/ 2735595 w 8079933"/>
              <a:gd name="connsiteY51240" fmla="*/ 378297 h 4687251"/>
              <a:gd name="connsiteX51241" fmla="*/ 2730495 w 8079933"/>
              <a:gd name="connsiteY51241" fmla="*/ 382844 h 4687251"/>
              <a:gd name="connsiteX51242" fmla="*/ 2727457 w 8079933"/>
              <a:gd name="connsiteY51242" fmla="*/ 383603 h 4687251"/>
              <a:gd name="connsiteX51243" fmla="*/ 2720078 w 8079933"/>
              <a:gd name="connsiteY51243" fmla="*/ 377214 h 4687251"/>
              <a:gd name="connsiteX51244" fmla="*/ 2715845 w 8079933"/>
              <a:gd name="connsiteY51244" fmla="*/ 378622 h 4687251"/>
              <a:gd name="connsiteX51245" fmla="*/ 2713567 w 8079933"/>
              <a:gd name="connsiteY51245" fmla="*/ 376023 h 4687251"/>
              <a:gd name="connsiteX51246" fmla="*/ 2708901 w 8079933"/>
              <a:gd name="connsiteY51246" fmla="*/ 375590 h 4687251"/>
              <a:gd name="connsiteX51247" fmla="*/ 2705862 w 8079933"/>
              <a:gd name="connsiteY51247" fmla="*/ 377322 h 4687251"/>
              <a:gd name="connsiteX51248" fmla="*/ 2706839 w 8079933"/>
              <a:gd name="connsiteY51248" fmla="*/ 380571 h 4687251"/>
              <a:gd name="connsiteX51249" fmla="*/ 2721054 w 8079933"/>
              <a:gd name="connsiteY51249" fmla="*/ 388150 h 4687251"/>
              <a:gd name="connsiteX51250" fmla="*/ 2726481 w 8079933"/>
              <a:gd name="connsiteY51250" fmla="*/ 388691 h 4687251"/>
              <a:gd name="connsiteX51251" fmla="*/ 2726481 w 8079933"/>
              <a:gd name="connsiteY51251" fmla="*/ 391614 h 4687251"/>
              <a:gd name="connsiteX51252" fmla="*/ 2722574 w 8079933"/>
              <a:gd name="connsiteY51252" fmla="*/ 393455 h 4687251"/>
              <a:gd name="connsiteX51253" fmla="*/ 2718667 w 8079933"/>
              <a:gd name="connsiteY51253" fmla="*/ 397894 h 4687251"/>
              <a:gd name="connsiteX51254" fmla="*/ 2714543 w 8079933"/>
              <a:gd name="connsiteY51254" fmla="*/ 398868 h 4687251"/>
              <a:gd name="connsiteX51255" fmla="*/ 2710745 w 8079933"/>
              <a:gd name="connsiteY51255" fmla="*/ 394646 h 4687251"/>
              <a:gd name="connsiteX51256" fmla="*/ 2707164 w 8079933"/>
              <a:gd name="connsiteY51256" fmla="*/ 394862 h 4687251"/>
              <a:gd name="connsiteX51257" fmla="*/ 2702715 w 8079933"/>
              <a:gd name="connsiteY51257" fmla="*/ 398219 h 4687251"/>
              <a:gd name="connsiteX51258" fmla="*/ 2695445 w 8079933"/>
              <a:gd name="connsiteY51258" fmla="*/ 397894 h 4687251"/>
              <a:gd name="connsiteX51259" fmla="*/ 2692406 w 8079933"/>
              <a:gd name="connsiteY51259" fmla="*/ 394429 h 4687251"/>
              <a:gd name="connsiteX51260" fmla="*/ 2682748 w 8079933"/>
              <a:gd name="connsiteY51260" fmla="*/ 392156 h 4687251"/>
              <a:gd name="connsiteX51261" fmla="*/ 2676671 w 8079933"/>
              <a:gd name="connsiteY51261" fmla="*/ 393780 h 4687251"/>
              <a:gd name="connsiteX51262" fmla="*/ 2675477 w 8079933"/>
              <a:gd name="connsiteY51262" fmla="*/ 402441 h 4687251"/>
              <a:gd name="connsiteX51263" fmla="*/ 2670920 w 8079933"/>
              <a:gd name="connsiteY51263" fmla="*/ 406772 h 4687251"/>
              <a:gd name="connsiteX51264" fmla="*/ 2675260 w 8079933"/>
              <a:gd name="connsiteY51264" fmla="*/ 406555 h 4687251"/>
              <a:gd name="connsiteX51265" fmla="*/ 2676671 w 8079933"/>
              <a:gd name="connsiteY51265" fmla="*/ 407854 h 4687251"/>
              <a:gd name="connsiteX51266" fmla="*/ 2676888 w 8079933"/>
              <a:gd name="connsiteY51266" fmla="*/ 412619 h 4687251"/>
              <a:gd name="connsiteX51267" fmla="*/ 2670052 w 8079933"/>
              <a:gd name="connsiteY51267" fmla="*/ 416300 h 4687251"/>
              <a:gd name="connsiteX51268" fmla="*/ 2669834 w 8079933"/>
              <a:gd name="connsiteY51268" fmla="*/ 421388 h 4687251"/>
              <a:gd name="connsiteX51269" fmla="*/ 2664300 w 8079933"/>
              <a:gd name="connsiteY51269" fmla="*/ 424420 h 4687251"/>
              <a:gd name="connsiteX51270" fmla="*/ 2662238 w 8079933"/>
              <a:gd name="connsiteY51270" fmla="*/ 422472 h 4687251"/>
              <a:gd name="connsiteX51271" fmla="*/ 2660936 w 8079933"/>
              <a:gd name="connsiteY51271" fmla="*/ 423987 h 4687251"/>
              <a:gd name="connsiteX51272" fmla="*/ 2660176 w 8079933"/>
              <a:gd name="connsiteY51272" fmla="*/ 427235 h 4687251"/>
              <a:gd name="connsiteX51273" fmla="*/ 2655510 w 8079933"/>
              <a:gd name="connsiteY51273" fmla="*/ 429184 h 4687251"/>
              <a:gd name="connsiteX51274" fmla="*/ 2652146 w 8079933"/>
              <a:gd name="connsiteY51274" fmla="*/ 428210 h 4687251"/>
              <a:gd name="connsiteX51275" fmla="*/ 2654317 w 8079933"/>
              <a:gd name="connsiteY51275" fmla="*/ 425611 h 4687251"/>
              <a:gd name="connsiteX51276" fmla="*/ 2652038 w 8079933"/>
              <a:gd name="connsiteY51276" fmla="*/ 425611 h 4687251"/>
              <a:gd name="connsiteX51277" fmla="*/ 2649216 w 8079933"/>
              <a:gd name="connsiteY51277" fmla="*/ 428210 h 4687251"/>
              <a:gd name="connsiteX51278" fmla="*/ 2645961 w 8079933"/>
              <a:gd name="connsiteY51278" fmla="*/ 434706 h 4687251"/>
              <a:gd name="connsiteX51279" fmla="*/ 2643465 w 8079933"/>
              <a:gd name="connsiteY51279" fmla="*/ 436329 h 4687251"/>
              <a:gd name="connsiteX51280" fmla="*/ 2632396 w 8079933"/>
              <a:gd name="connsiteY51280" fmla="*/ 430375 h 4687251"/>
              <a:gd name="connsiteX51281" fmla="*/ 2625994 w 8079933"/>
              <a:gd name="connsiteY51281" fmla="*/ 430267 h 4687251"/>
              <a:gd name="connsiteX51282" fmla="*/ 2625126 w 8079933"/>
              <a:gd name="connsiteY51282" fmla="*/ 432107 h 4687251"/>
              <a:gd name="connsiteX51283" fmla="*/ 2619157 w 8079933"/>
              <a:gd name="connsiteY51283" fmla="*/ 430916 h 4687251"/>
              <a:gd name="connsiteX51284" fmla="*/ 2609065 w 8079933"/>
              <a:gd name="connsiteY51284" fmla="*/ 418790 h 4687251"/>
              <a:gd name="connsiteX51285" fmla="*/ 2606895 w 8079933"/>
              <a:gd name="connsiteY51285" fmla="*/ 408396 h 4687251"/>
              <a:gd name="connsiteX51286" fmla="*/ 2609499 w 8079933"/>
              <a:gd name="connsiteY51286" fmla="*/ 406447 h 4687251"/>
              <a:gd name="connsiteX51287" fmla="*/ 2610259 w 8079933"/>
              <a:gd name="connsiteY51287" fmla="*/ 402550 h 4687251"/>
              <a:gd name="connsiteX51288" fmla="*/ 2608848 w 8079933"/>
              <a:gd name="connsiteY51288" fmla="*/ 399734 h 4687251"/>
              <a:gd name="connsiteX51289" fmla="*/ 2609282 w 8079933"/>
              <a:gd name="connsiteY51289" fmla="*/ 396595 h 4687251"/>
              <a:gd name="connsiteX51290" fmla="*/ 2604833 w 8079933"/>
              <a:gd name="connsiteY51290" fmla="*/ 401900 h 4687251"/>
              <a:gd name="connsiteX51291" fmla="*/ 2604941 w 8079933"/>
              <a:gd name="connsiteY51291" fmla="*/ 405148 h 4687251"/>
              <a:gd name="connsiteX51292" fmla="*/ 2602988 w 8079933"/>
              <a:gd name="connsiteY51292" fmla="*/ 411969 h 4687251"/>
              <a:gd name="connsiteX51293" fmla="*/ 2600818 w 8079933"/>
              <a:gd name="connsiteY51293" fmla="*/ 415650 h 4687251"/>
              <a:gd name="connsiteX51294" fmla="*/ 2604724 w 8079933"/>
              <a:gd name="connsiteY51294" fmla="*/ 420739 h 4687251"/>
              <a:gd name="connsiteX51295" fmla="*/ 2603965 w 8079933"/>
              <a:gd name="connsiteY51295" fmla="*/ 423229 h 4687251"/>
              <a:gd name="connsiteX51296" fmla="*/ 2601469 w 8079933"/>
              <a:gd name="connsiteY51296" fmla="*/ 422580 h 4687251"/>
              <a:gd name="connsiteX51297" fmla="*/ 2594958 w 8079933"/>
              <a:gd name="connsiteY51297" fmla="*/ 423554 h 4687251"/>
              <a:gd name="connsiteX51298" fmla="*/ 2593873 w 8079933"/>
              <a:gd name="connsiteY51298" fmla="*/ 422796 h 4687251"/>
              <a:gd name="connsiteX51299" fmla="*/ 2589424 w 8079933"/>
              <a:gd name="connsiteY51299" fmla="*/ 423554 h 4687251"/>
              <a:gd name="connsiteX51300" fmla="*/ 2593547 w 8079933"/>
              <a:gd name="connsiteY51300" fmla="*/ 427127 h 4687251"/>
              <a:gd name="connsiteX51301" fmla="*/ 2591160 w 8079933"/>
              <a:gd name="connsiteY51301" fmla="*/ 434489 h 4687251"/>
              <a:gd name="connsiteX51302" fmla="*/ 2594524 w 8079933"/>
              <a:gd name="connsiteY51302" fmla="*/ 434489 h 4687251"/>
              <a:gd name="connsiteX51303" fmla="*/ 2599841 w 8079933"/>
              <a:gd name="connsiteY51303" fmla="*/ 428101 h 4687251"/>
              <a:gd name="connsiteX51304" fmla="*/ 2602446 w 8079933"/>
              <a:gd name="connsiteY51304" fmla="*/ 428210 h 4687251"/>
              <a:gd name="connsiteX51305" fmla="*/ 2604508 w 8079933"/>
              <a:gd name="connsiteY51305" fmla="*/ 426261 h 4687251"/>
              <a:gd name="connsiteX51306" fmla="*/ 2607763 w 8079933"/>
              <a:gd name="connsiteY51306" fmla="*/ 425070 h 4687251"/>
              <a:gd name="connsiteX51307" fmla="*/ 2613189 w 8079933"/>
              <a:gd name="connsiteY51307" fmla="*/ 428968 h 4687251"/>
              <a:gd name="connsiteX51308" fmla="*/ 2616662 w 8079933"/>
              <a:gd name="connsiteY51308" fmla="*/ 434273 h 4687251"/>
              <a:gd name="connsiteX51309" fmla="*/ 2614600 w 8079933"/>
              <a:gd name="connsiteY51309" fmla="*/ 439145 h 4687251"/>
              <a:gd name="connsiteX51310" fmla="*/ 2620025 w 8079933"/>
              <a:gd name="connsiteY51310" fmla="*/ 435139 h 4687251"/>
              <a:gd name="connsiteX51311" fmla="*/ 2628707 w 8079933"/>
              <a:gd name="connsiteY51311" fmla="*/ 432865 h 4687251"/>
              <a:gd name="connsiteX51312" fmla="*/ 2634567 w 8079933"/>
              <a:gd name="connsiteY51312" fmla="*/ 435680 h 4687251"/>
              <a:gd name="connsiteX51313" fmla="*/ 2635543 w 8079933"/>
              <a:gd name="connsiteY51313" fmla="*/ 440335 h 4687251"/>
              <a:gd name="connsiteX51314" fmla="*/ 2633156 w 8079933"/>
              <a:gd name="connsiteY51314" fmla="*/ 443151 h 4687251"/>
              <a:gd name="connsiteX51315" fmla="*/ 2630226 w 8079933"/>
              <a:gd name="connsiteY51315" fmla="*/ 450838 h 4687251"/>
              <a:gd name="connsiteX51316" fmla="*/ 2627621 w 8079933"/>
              <a:gd name="connsiteY51316" fmla="*/ 451488 h 4687251"/>
              <a:gd name="connsiteX51317" fmla="*/ 2626211 w 8079933"/>
              <a:gd name="connsiteY51317" fmla="*/ 454736 h 4687251"/>
              <a:gd name="connsiteX51318" fmla="*/ 2627621 w 8079933"/>
              <a:gd name="connsiteY51318" fmla="*/ 456143 h 4687251"/>
              <a:gd name="connsiteX51319" fmla="*/ 2631962 w 8079933"/>
              <a:gd name="connsiteY51319" fmla="*/ 455710 h 4687251"/>
              <a:gd name="connsiteX51320" fmla="*/ 2631311 w 8079933"/>
              <a:gd name="connsiteY51320" fmla="*/ 459067 h 4687251"/>
              <a:gd name="connsiteX51321" fmla="*/ 2627404 w 8079933"/>
              <a:gd name="connsiteY51321" fmla="*/ 463398 h 4687251"/>
              <a:gd name="connsiteX51322" fmla="*/ 2631854 w 8079933"/>
              <a:gd name="connsiteY51322" fmla="*/ 463073 h 4687251"/>
              <a:gd name="connsiteX51323" fmla="*/ 2634024 w 8079933"/>
              <a:gd name="connsiteY51323" fmla="*/ 459933 h 4687251"/>
              <a:gd name="connsiteX51324" fmla="*/ 2639884 w 8079933"/>
              <a:gd name="connsiteY51324" fmla="*/ 456576 h 4687251"/>
              <a:gd name="connsiteX51325" fmla="*/ 2643031 w 8079933"/>
              <a:gd name="connsiteY51325" fmla="*/ 456360 h 4687251"/>
              <a:gd name="connsiteX51326" fmla="*/ 2645201 w 8079933"/>
              <a:gd name="connsiteY51326" fmla="*/ 455277 h 4687251"/>
              <a:gd name="connsiteX51327" fmla="*/ 2647697 w 8079933"/>
              <a:gd name="connsiteY51327" fmla="*/ 456576 h 4687251"/>
              <a:gd name="connsiteX51328" fmla="*/ 2646612 w 8079933"/>
              <a:gd name="connsiteY51328" fmla="*/ 461232 h 4687251"/>
              <a:gd name="connsiteX51329" fmla="*/ 2647914 w 8079933"/>
              <a:gd name="connsiteY51329" fmla="*/ 464372 h 4687251"/>
              <a:gd name="connsiteX51330" fmla="*/ 2646178 w 8079933"/>
              <a:gd name="connsiteY51330" fmla="*/ 472276 h 4687251"/>
              <a:gd name="connsiteX51331" fmla="*/ 2641078 w 8079933"/>
              <a:gd name="connsiteY51331" fmla="*/ 481696 h 4687251"/>
              <a:gd name="connsiteX51332" fmla="*/ 2636520 w 8079933"/>
              <a:gd name="connsiteY51332" fmla="*/ 481804 h 4687251"/>
              <a:gd name="connsiteX51333" fmla="*/ 2631745 w 8079933"/>
              <a:gd name="connsiteY51333" fmla="*/ 484835 h 4687251"/>
              <a:gd name="connsiteX51334" fmla="*/ 2628816 w 8079933"/>
              <a:gd name="connsiteY51334" fmla="*/ 489924 h 4687251"/>
              <a:gd name="connsiteX51335" fmla="*/ 2624366 w 8079933"/>
              <a:gd name="connsiteY51335" fmla="*/ 493281 h 4687251"/>
              <a:gd name="connsiteX51336" fmla="*/ 2622738 w 8079933"/>
              <a:gd name="connsiteY51336" fmla="*/ 491765 h 4687251"/>
              <a:gd name="connsiteX51337" fmla="*/ 2624366 w 8079933"/>
              <a:gd name="connsiteY51337" fmla="*/ 486351 h 4687251"/>
              <a:gd name="connsiteX51338" fmla="*/ 2625126 w 8079933"/>
              <a:gd name="connsiteY51338" fmla="*/ 480720 h 4687251"/>
              <a:gd name="connsiteX51339" fmla="*/ 2623932 w 8079933"/>
              <a:gd name="connsiteY51339" fmla="*/ 479638 h 4687251"/>
              <a:gd name="connsiteX51340" fmla="*/ 2620568 w 8079933"/>
              <a:gd name="connsiteY51340" fmla="*/ 481804 h 4687251"/>
              <a:gd name="connsiteX51341" fmla="*/ 2617204 w 8079933"/>
              <a:gd name="connsiteY51341" fmla="*/ 488191 h 4687251"/>
              <a:gd name="connsiteX51342" fmla="*/ 2613189 w 8079933"/>
              <a:gd name="connsiteY51342" fmla="*/ 489275 h 4687251"/>
              <a:gd name="connsiteX51343" fmla="*/ 2606678 w 8079933"/>
              <a:gd name="connsiteY51343" fmla="*/ 495338 h 4687251"/>
              <a:gd name="connsiteX51344" fmla="*/ 2604724 w 8079933"/>
              <a:gd name="connsiteY51344" fmla="*/ 493930 h 4687251"/>
              <a:gd name="connsiteX51345" fmla="*/ 2600167 w 8079933"/>
              <a:gd name="connsiteY51345" fmla="*/ 493822 h 4687251"/>
              <a:gd name="connsiteX51346" fmla="*/ 2592679 w 8079933"/>
              <a:gd name="connsiteY51346" fmla="*/ 499668 h 4687251"/>
              <a:gd name="connsiteX51347" fmla="*/ 2590509 w 8079933"/>
              <a:gd name="connsiteY51347" fmla="*/ 498477 h 4687251"/>
              <a:gd name="connsiteX51348" fmla="*/ 2586277 w 8079933"/>
              <a:gd name="connsiteY51348" fmla="*/ 500318 h 4687251"/>
              <a:gd name="connsiteX51349" fmla="*/ 2581610 w 8079933"/>
              <a:gd name="connsiteY51349" fmla="*/ 500101 h 4687251"/>
              <a:gd name="connsiteX51350" fmla="*/ 2580091 w 8079933"/>
              <a:gd name="connsiteY51350" fmla="*/ 496745 h 4687251"/>
              <a:gd name="connsiteX51351" fmla="*/ 2578030 w 8079933"/>
              <a:gd name="connsiteY51351" fmla="*/ 495229 h 4687251"/>
              <a:gd name="connsiteX51352" fmla="*/ 2582153 w 8079933"/>
              <a:gd name="connsiteY51352" fmla="*/ 492089 h 4687251"/>
              <a:gd name="connsiteX51353" fmla="*/ 2585300 w 8079933"/>
              <a:gd name="connsiteY51353" fmla="*/ 487650 h 4687251"/>
              <a:gd name="connsiteX51354" fmla="*/ 2585409 w 8079933"/>
              <a:gd name="connsiteY51354" fmla="*/ 483861 h 4687251"/>
              <a:gd name="connsiteX51355" fmla="*/ 2580417 w 8079933"/>
              <a:gd name="connsiteY51355" fmla="*/ 476714 h 4687251"/>
              <a:gd name="connsiteX51356" fmla="*/ 2577270 w 8079933"/>
              <a:gd name="connsiteY51356" fmla="*/ 479855 h 4687251"/>
              <a:gd name="connsiteX51357" fmla="*/ 2570651 w 8079933"/>
              <a:gd name="connsiteY51357" fmla="*/ 477364 h 4687251"/>
              <a:gd name="connsiteX51358" fmla="*/ 2569782 w 8079933"/>
              <a:gd name="connsiteY51358" fmla="*/ 474441 h 4687251"/>
              <a:gd name="connsiteX51359" fmla="*/ 2572278 w 8079933"/>
              <a:gd name="connsiteY51359" fmla="*/ 468811 h 4687251"/>
              <a:gd name="connsiteX51360" fmla="*/ 2575750 w 8079933"/>
              <a:gd name="connsiteY51360" fmla="*/ 467837 h 4687251"/>
              <a:gd name="connsiteX51361" fmla="*/ 2572929 w 8079933"/>
              <a:gd name="connsiteY51361" fmla="*/ 466429 h 4687251"/>
              <a:gd name="connsiteX51362" fmla="*/ 2569565 w 8079933"/>
              <a:gd name="connsiteY51362" fmla="*/ 465455 h 4687251"/>
              <a:gd name="connsiteX51363" fmla="*/ 2566852 w 8079933"/>
              <a:gd name="connsiteY51363" fmla="*/ 458959 h 4687251"/>
              <a:gd name="connsiteX51364" fmla="*/ 2568263 w 8079933"/>
              <a:gd name="connsiteY51364" fmla="*/ 455169 h 4687251"/>
              <a:gd name="connsiteX51365" fmla="*/ 2568480 w 8079933"/>
              <a:gd name="connsiteY51365" fmla="*/ 450838 h 4687251"/>
              <a:gd name="connsiteX51366" fmla="*/ 2566418 w 8079933"/>
              <a:gd name="connsiteY51366" fmla="*/ 447049 h 4687251"/>
              <a:gd name="connsiteX51367" fmla="*/ 2566418 w 8079933"/>
              <a:gd name="connsiteY51367" fmla="*/ 452137 h 4687251"/>
              <a:gd name="connsiteX51368" fmla="*/ 2563055 w 8079933"/>
              <a:gd name="connsiteY51368" fmla="*/ 459716 h 4687251"/>
              <a:gd name="connsiteX51369" fmla="*/ 2566961 w 8079933"/>
              <a:gd name="connsiteY51369" fmla="*/ 466753 h 4687251"/>
              <a:gd name="connsiteX51370" fmla="*/ 2567503 w 8079933"/>
              <a:gd name="connsiteY51370" fmla="*/ 470110 h 4687251"/>
              <a:gd name="connsiteX51371" fmla="*/ 2565008 w 8079933"/>
              <a:gd name="connsiteY51371" fmla="*/ 472709 h 4687251"/>
              <a:gd name="connsiteX51372" fmla="*/ 2564791 w 8079933"/>
              <a:gd name="connsiteY51372" fmla="*/ 477906 h 4687251"/>
              <a:gd name="connsiteX51373" fmla="*/ 2561752 w 8079933"/>
              <a:gd name="connsiteY51373" fmla="*/ 479855 h 4687251"/>
              <a:gd name="connsiteX51374" fmla="*/ 2557954 w 8079933"/>
              <a:gd name="connsiteY51374" fmla="*/ 478230 h 4687251"/>
              <a:gd name="connsiteX51375" fmla="*/ 2553939 w 8079933"/>
              <a:gd name="connsiteY51375" fmla="*/ 479422 h 4687251"/>
              <a:gd name="connsiteX51376" fmla="*/ 2550575 w 8079933"/>
              <a:gd name="connsiteY51376" fmla="*/ 476065 h 4687251"/>
              <a:gd name="connsiteX51377" fmla="*/ 2550032 w 8079933"/>
              <a:gd name="connsiteY51377" fmla="*/ 473034 h 4687251"/>
              <a:gd name="connsiteX51378" fmla="*/ 2553287 w 8079933"/>
              <a:gd name="connsiteY51378" fmla="*/ 464480 h 4687251"/>
              <a:gd name="connsiteX51379" fmla="*/ 2551660 w 8079933"/>
              <a:gd name="connsiteY51379" fmla="*/ 460149 h 4687251"/>
              <a:gd name="connsiteX51380" fmla="*/ 2552528 w 8079933"/>
              <a:gd name="connsiteY51380" fmla="*/ 455818 h 4687251"/>
              <a:gd name="connsiteX51381" fmla="*/ 2557085 w 8079933"/>
              <a:gd name="connsiteY51381" fmla="*/ 451055 h 4687251"/>
              <a:gd name="connsiteX51382" fmla="*/ 2552094 w 8079933"/>
              <a:gd name="connsiteY51382" fmla="*/ 452029 h 4687251"/>
              <a:gd name="connsiteX51383" fmla="*/ 2548730 w 8079933"/>
              <a:gd name="connsiteY51383" fmla="*/ 455818 h 4687251"/>
              <a:gd name="connsiteX51384" fmla="*/ 2547753 w 8079933"/>
              <a:gd name="connsiteY51384" fmla="*/ 461557 h 4687251"/>
              <a:gd name="connsiteX51385" fmla="*/ 2549598 w 8079933"/>
              <a:gd name="connsiteY51385" fmla="*/ 466104 h 4687251"/>
              <a:gd name="connsiteX51386" fmla="*/ 2545583 w 8079933"/>
              <a:gd name="connsiteY51386" fmla="*/ 473358 h 4687251"/>
              <a:gd name="connsiteX51387" fmla="*/ 2541568 w 8079933"/>
              <a:gd name="connsiteY51387" fmla="*/ 474657 h 4687251"/>
              <a:gd name="connsiteX51388" fmla="*/ 2537227 w 8079933"/>
              <a:gd name="connsiteY51388" fmla="*/ 472059 h 4687251"/>
              <a:gd name="connsiteX51389" fmla="*/ 2537444 w 8079933"/>
              <a:gd name="connsiteY51389" fmla="*/ 468053 h 4687251"/>
              <a:gd name="connsiteX51390" fmla="*/ 2535817 w 8079933"/>
              <a:gd name="connsiteY51390" fmla="*/ 466213 h 4687251"/>
              <a:gd name="connsiteX51391" fmla="*/ 2536142 w 8079933"/>
              <a:gd name="connsiteY51391" fmla="*/ 462965 h 4687251"/>
              <a:gd name="connsiteX51392" fmla="*/ 2538204 w 8079933"/>
              <a:gd name="connsiteY51392" fmla="*/ 459175 h 4687251"/>
              <a:gd name="connsiteX51393" fmla="*/ 2539072 w 8079933"/>
              <a:gd name="connsiteY51393" fmla="*/ 456576 h 4687251"/>
              <a:gd name="connsiteX51394" fmla="*/ 2537770 w 8079933"/>
              <a:gd name="connsiteY51394" fmla="*/ 451596 h 4687251"/>
              <a:gd name="connsiteX51395" fmla="*/ 2536142 w 8079933"/>
              <a:gd name="connsiteY51395" fmla="*/ 451163 h 4687251"/>
              <a:gd name="connsiteX51396" fmla="*/ 2535165 w 8079933"/>
              <a:gd name="connsiteY51396" fmla="*/ 453328 h 4687251"/>
              <a:gd name="connsiteX51397" fmla="*/ 2534406 w 8079933"/>
              <a:gd name="connsiteY51397" fmla="*/ 458417 h 4687251"/>
              <a:gd name="connsiteX51398" fmla="*/ 2531584 w 8079933"/>
              <a:gd name="connsiteY51398" fmla="*/ 461016 h 4687251"/>
              <a:gd name="connsiteX51399" fmla="*/ 2531476 w 8079933"/>
              <a:gd name="connsiteY51399" fmla="*/ 464480 h 4687251"/>
              <a:gd name="connsiteX51400" fmla="*/ 2530065 w 8079933"/>
              <a:gd name="connsiteY51400" fmla="*/ 466429 h 4687251"/>
              <a:gd name="connsiteX51401" fmla="*/ 2526267 w 8079933"/>
              <a:gd name="connsiteY51401" fmla="*/ 466645 h 4687251"/>
              <a:gd name="connsiteX51402" fmla="*/ 2525399 w 8079933"/>
              <a:gd name="connsiteY51402" fmla="*/ 468053 h 4687251"/>
              <a:gd name="connsiteX51403" fmla="*/ 2522252 w 8079933"/>
              <a:gd name="connsiteY51403" fmla="*/ 468486 h 4687251"/>
              <a:gd name="connsiteX51404" fmla="*/ 2521275 w 8079933"/>
              <a:gd name="connsiteY51404" fmla="*/ 466104 h 4687251"/>
              <a:gd name="connsiteX51405" fmla="*/ 2521384 w 8079933"/>
              <a:gd name="connsiteY51405" fmla="*/ 462206 h 4687251"/>
              <a:gd name="connsiteX51406" fmla="*/ 2519647 w 8079933"/>
              <a:gd name="connsiteY51406" fmla="*/ 456143 h 4687251"/>
              <a:gd name="connsiteX51407" fmla="*/ 2518454 w 8079933"/>
              <a:gd name="connsiteY51407" fmla="*/ 454844 h 4687251"/>
              <a:gd name="connsiteX51408" fmla="*/ 2516935 w 8079933"/>
              <a:gd name="connsiteY51408" fmla="*/ 456252 h 4687251"/>
              <a:gd name="connsiteX51409" fmla="*/ 2515090 w 8079933"/>
              <a:gd name="connsiteY51409" fmla="*/ 461882 h 4687251"/>
              <a:gd name="connsiteX51410" fmla="*/ 2516392 w 8079933"/>
              <a:gd name="connsiteY51410" fmla="*/ 469677 h 4687251"/>
              <a:gd name="connsiteX51411" fmla="*/ 2519647 w 8079933"/>
              <a:gd name="connsiteY51411" fmla="*/ 475091 h 4687251"/>
              <a:gd name="connsiteX51412" fmla="*/ 2518345 w 8079933"/>
              <a:gd name="connsiteY51412" fmla="*/ 478555 h 4687251"/>
              <a:gd name="connsiteX51413" fmla="*/ 2516284 w 8079933"/>
              <a:gd name="connsiteY51413" fmla="*/ 478772 h 4687251"/>
              <a:gd name="connsiteX51414" fmla="*/ 2512811 w 8079933"/>
              <a:gd name="connsiteY51414" fmla="*/ 477256 h 4687251"/>
              <a:gd name="connsiteX51415" fmla="*/ 2503913 w 8079933"/>
              <a:gd name="connsiteY51415" fmla="*/ 476931 h 4687251"/>
              <a:gd name="connsiteX51416" fmla="*/ 2503478 w 8079933"/>
              <a:gd name="connsiteY51416" fmla="*/ 473142 h 4687251"/>
              <a:gd name="connsiteX51417" fmla="*/ 2501308 w 8079933"/>
              <a:gd name="connsiteY51417" fmla="*/ 472709 h 4687251"/>
              <a:gd name="connsiteX51418" fmla="*/ 2494363 w 8079933"/>
              <a:gd name="connsiteY51418" fmla="*/ 468053 h 4687251"/>
              <a:gd name="connsiteX51419" fmla="*/ 2491324 w 8079933"/>
              <a:gd name="connsiteY51419" fmla="*/ 468269 h 4687251"/>
              <a:gd name="connsiteX51420" fmla="*/ 2490456 w 8079933"/>
              <a:gd name="connsiteY51420" fmla="*/ 466645 h 4687251"/>
              <a:gd name="connsiteX51421" fmla="*/ 2488503 w 8079933"/>
              <a:gd name="connsiteY51421" fmla="*/ 465130 h 4687251"/>
              <a:gd name="connsiteX51422" fmla="*/ 2486008 w 8079933"/>
              <a:gd name="connsiteY51422" fmla="*/ 465130 h 4687251"/>
              <a:gd name="connsiteX51423" fmla="*/ 2485465 w 8079933"/>
              <a:gd name="connsiteY51423" fmla="*/ 462639 h 4687251"/>
              <a:gd name="connsiteX51424" fmla="*/ 2487961 w 8079933"/>
              <a:gd name="connsiteY51424" fmla="*/ 458851 h 4687251"/>
              <a:gd name="connsiteX51425" fmla="*/ 2490023 w 8079933"/>
              <a:gd name="connsiteY51425" fmla="*/ 458525 h 4687251"/>
              <a:gd name="connsiteX51426" fmla="*/ 2492301 w 8079933"/>
              <a:gd name="connsiteY51426" fmla="*/ 454519 h 4687251"/>
              <a:gd name="connsiteX51427" fmla="*/ 2492084 w 8079933"/>
              <a:gd name="connsiteY51427" fmla="*/ 451272 h 4687251"/>
              <a:gd name="connsiteX51428" fmla="*/ 2488720 w 8079933"/>
              <a:gd name="connsiteY51428" fmla="*/ 445100 h 4687251"/>
              <a:gd name="connsiteX51429" fmla="*/ 2486876 w 8079933"/>
              <a:gd name="connsiteY51429" fmla="*/ 443584 h 4687251"/>
              <a:gd name="connsiteX51430" fmla="*/ 2486984 w 8079933"/>
              <a:gd name="connsiteY51430" fmla="*/ 447157 h 4687251"/>
              <a:gd name="connsiteX51431" fmla="*/ 2489046 w 8079933"/>
              <a:gd name="connsiteY51431" fmla="*/ 449106 h 4687251"/>
              <a:gd name="connsiteX51432" fmla="*/ 2489371 w 8079933"/>
              <a:gd name="connsiteY51432" fmla="*/ 452896 h 4687251"/>
              <a:gd name="connsiteX51433" fmla="*/ 2487961 w 8079933"/>
              <a:gd name="connsiteY51433" fmla="*/ 455386 h 4687251"/>
              <a:gd name="connsiteX51434" fmla="*/ 2484163 w 8079933"/>
              <a:gd name="connsiteY51434" fmla="*/ 455277 h 4687251"/>
              <a:gd name="connsiteX51435" fmla="*/ 2482860 w 8079933"/>
              <a:gd name="connsiteY51435" fmla="*/ 456685 h 4687251"/>
              <a:gd name="connsiteX51436" fmla="*/ 2483512 w 8079933"/>
              <a:gd name="connsiteY51436" fmla="*/ 457551 h 4687251"/>
              <a:gd name="connsiteX51437" fmla="*/ 2484054 w 8079933"/>
              <a:gd name="connsiteY51437" fmla="*/ 460690 h 4687251"/>
              <a:gd name="connsiteX51438" fmla="*/ 2481233 w 8079933"/>
              <a:gd name="connsiteY51438" fmla="*/ 463722 h 4687251"/>
              <a:gd name="connsiteX51439" fmla="*/ 2478954 w 8079933"/>
              <a:gd name="connsiteY51439" fmla="*/ 463289 h 4687251"/>
              <a:gd name="connsiteX51440" fmla="*/ 2475915 w 8079933"/>
              <a:gd name="connsiteY51440" fmla="*/ 458309 h 4687251"/>
              <a:gd name="connsiteX51441" fmla="*/ 2476024 w 8079933"/>
              <a:gd name="connsiteY51441" fmla="*/ 455494 h 4687251"/>
              <a:gd name="connsiteX51442" fmla="*/ 2475047 w 8079933"/>
              <a:gd name="connsiteY51442" fmla="*/ 452570 h 4687251"/>
              <a:gd name="connsiteX51443" fmla="*/ 2477435 w 8079933"/>
              <a:gd name="connsiteY51443" fmla="*/ 446832 h 4687251"/>
              <a:gd name="connsiteX51444" fmla="*/ 2476675 w 8079933"/>
              <a:gd name="connsiteY51444" fmla="*/ 444775 h 4687251"/>
              <a:gd name="connsiteX51445" fmla="*/ 2477000 w 8079933"/>
              <a:gd name="connsiteY51445" fmla="*/ 441743 h 4687251"/>
              <a:gd name="connsiteX51446" fmla="*/ 2474830 w 8079933"/>
              <a:gd name="connsiteY51446" fmla="*/ 443909 h 4687251"/>
              <a:gd name="connsiteX51447" fmla="*/ 2473636 w 8079933"/>
              <a:gd name="connsiteY51447" fmla="*/ 447915 h 4687251"/>
              <a:gd name="connsiteX51448" fmla="*/ 2471358 w 8079933"/>
              <a:gd name="connsiteY51448" fmla="*/ 451812 h 4687251"/>
              <a:gd name="connsiteX51449" fmla="*/ 2471900 w 8079933"/>
              <a:gd name="connsiteY51449" fmla="*/ 453653 h 4687251"/>
              <a:gd name="connsiteX51450" fmla="*/ 2471249 w 8079933"/>
              <a:gd name="connsiteY51450" fmla="*/ 457443 h 4687251"/>
              <a:gd name="connsiteX51451" fmla="*/ 2466474 w 8079933"/>
              <a:gd name="connsiteY51451" fmla="*/ 457118 h 4687251"/>
              <a:gd name="connsiteX51452" fmla="*/ 2463653 w 8079933"/>
              <a:gd name="connsiteY51452" fmla="*/ 454736 h 4687251"/>
              <a:gd name="connsiteX51453" fmla="*/ 2460940 w 8079933"/>
              <a:gd name="connsiteY51453" fmla="*/ 454519 h 4687251"/>
              <a:gd name="connsiteX51454" fmla="*/ 2459747 w 8079933"/>
              <a:gd name="connsiteY51454" fmla="*/ 452354 h 4687251"/>
              <a:gd name="connsiteX51455" fmla="*/ 2461700 w 8079933"/>
              <a:gd name="connsiteY51455" fmla="*/ 448456 h 4687251"/>
              <a:gd name="connsiteX51456" fmla="*/ 2462242 w 8079933"/>
              <a:gd name="connsiteY51456" fmla="*/ 442935 h 4687251"/>
              <a:gd name="connsiteX51457" fmla="*/ 2463653 w 8079933"/>
              <a:gd name="connsiteY51457" fmla="*/ 441202 h 4687251"/>
              <a:gd name="connsiteX51458" fmla="*/ 2463761 w 8079933"/>
              <a:gd name="connsiteY51458" fmla="*/ 436980 h 4687251"/>
              <a:gd name="connsiteX51459" fmla="*/ 2468645 w 8079933"/>
              <a:gd name="connsiteY51459" fmla="*/ 427668 h 4687251"/>
              <a:gd name="connsiteX51460" fmla="*/ 2465606 w 8079933"/>
              <a:gd name="connsiteY51460" fmla="*/ 429509 h 4687251"/>
              <a:gd name="connsiteX51461" fmla="*/ 2462242 w 8079933"/>
              <a:gd name="connsiteY51461" fmla="*/ 430916 h 4687251"/>
              <a:gd name="connsiteX51462" fmla="*/ 2460180 w 8079933"/>
              <a:gd name="connsiteY51462" fmla="*/ 440227 h 4687251"/>
              <a:gd name="connsiteX51463" fmla="*/ 2459855 w 8079933"/>
              <a:gd name="connsiteY51463" fmla="*/ 446724 h 4687251"/>
              <a:gd name="connsiteX51464" fmla="*/ 2456708 w 8079933"/>
              <a:gd name="connsiteY51464" fmla="*/ 450296 h 4687251"/>
              <a:gd name="connsiteX51465" fmla="*/ 2455081 w 8079933"/>
              <a:gd name="connsiteY51465" fmla="*/ 448998 h 4687251"/>
              <a:gd name="connsiteX51466" fmla="*/ 2457467 w 8079933"/>
              <a:gd name="connsiteY51466" fmla="*/ 444667 h 4687251"/>
              <a:gd name="connsiteX51467" fmla="*/ 2457793 w 8079933"/>
              <a:gd name="connsiteY51467" fmla="*/ 443476 h 4687251"/>
              <a:gd name="connsiteX51468" fmla="*/ 2456382 w 8079933"/>
              <a:gd name="connsiteY51468" fmla="*/ 443043 h 4687251"/>
              <a:gd name="connsiteX51469" fmla="*/ 2453561 w 8079933"/>
              <a:gd name="connsiteY51469" fmla="*/ 449431 h 4687251"/>
              <a:gd name="connsiteX51470" fmla="*/ 2448243 w 8079933"/>
              <a:gd name="connsiteY51470" fmla="*/ 449431 h 4687251"/>
              <a:gd name="connsiteX51471" fmla="*/ 2446941 w 8079933"/>
              <a:gd name="connsiteY51471" fmla="*/ 446399 h 4687251"/>
              <a:gd name="connsiteX51472" fmla="*/ 2447050 w 8079933"/>
              <a:gd name="connsiteY51472" fmla="*/ 440661 h 4687251"/>
              <a:gd name="connsiteX51473" fmla="*/ 2445748 w 8079933"/>
              <a:gd name="connsiteY51473" fmla="*/ 438062 h 4687251"/>
              <a:gd name="connsiteX51474" fmla="*/ 2446616 w 8079933"/>
              <a:gd name="connsiteY51474" fmla="*/ 434814 h 4687251"/>
              <a:gd name="connsiteX51475" fmla="*/ 2451933 w 8079933"/>
              <a:gd name="connsiteY51475" fmla="*/ 431458 h 4687251"/>
              <a:gd name="connsiteX51476" fmla="*/ 2453127 w 8079933"/>
              <a:gd name="connsiteY51476" fmla="*/ 428101 h 4687251"/>
              <a:gd name="connsiteX51477" fmla="*/ 2452693 w 8079933"/>
              <a:gd name="connsiteY51477" fmla="*/ 425719 h 4687251"/>
              <a:gd name="connsiteX51478" fmla="*/ 2454212 w 8079933"/>
              <a:gd name="connsiteY51478" fmla="*/ 421930 h 4687251"/>
              <a:gd name="connsiteX51479" fmla="*/ 2457576 w 8079933"/>
              <a:gd name="connsiteY51479" fmla="*/ 418574 h 4687251"/>
              <a:gd name="connsiteX51480" fmla="*/ 2460940 w 8079933"/>
              <a:gd name="connsiteY51480" fmla="*/ 417815 h 4687251"/>
              <a:gd name="connsiteX51481" fmla="*/ 2463327 w 8079933"/>
              <a:gd name="connsiteY51481" fmla="*/ 415975 h 4687251"/>
              <a:gd name="connsiteX51482" fmla="*/ 2469947 w 8079933"/>
              <a:gd name="connsiteY51482" fmla="*/ 415542 h 4687251"/>
              <a:gd name="connsiteX51483" fmla="*/ 2472443 w 8079933"/>
              <a:gd name="connsiteY51483" fmla="*/ 412294 h 4687251"/>
              <a:gd name="connsiteX51484" fmla="*/ 2476675 w 8079933"/>
              <a:gd name="connsiteY51484" fmla="*/ 410778 h 4687251"/>
              <a:gd name="connsiteX51485" fmla="*/ 2479713 w 8079933"/>
              <a:gd name="connsiteY51485" fmla="*/ 409803 h 4687251"/>
              <a:gd name="connsiteX51486" fmla="*/ 2479822 w 8079933"/>
              <a:gd name="connsiteY51486" fmla="*/ 406989 h 4687251"/>
              <a:gd name="connsiteX51487" fmla="*/ 2481884 w 8079933"/>
              <a:gd name="connsiteY51487" fmla="*/ 405040 h 4687251"/>
              <a:gd name="connsiteX51488" fmla="*/ 2486008 w 8079933"/>
              <a:gd name="connsiteY51488" fmla="*/ 404931 h 4687251"/>
              <a:gd name="connsiteX51489" fmla="*/ 2492193 w 8079933"/>
              <a:gd name="connsiteY51489" fmla="*/ 407530 h 4687251"/>
              <a:gd name="connsiteX51490" fmla="*/ 2499789 w 8079933"/>
              <a:gd name="connsiteY51490" fmla="*/ 407854 h 4687251"/>
              <a:gd name="connsiteX51491" fmla="*/ 2502828 w 8079933"/>
              <a:gd name="connsiteY51491" fmla="*/ 405906 h 4687251"/>
              <a:gd name="connsiteX51492" fmla="*/ 2506517 w 8079933"/>
              <a:gd name="connsiteY51492" fmla="*/ 406989 h 4687251"/>
              <a:gd name="connsiteX51493" fmla="*/ 2508362 w 8079933"/>
              <a:gd name="connsiteY51493" fmla="*/ 411536 h 4687251"/>
              <a:gd name="connsiteX51494" fmla="*/ 2511834 w 8079933"/>
              <a:gd name="connsiteY51494" fmla="*/ 411319 h 4687251"/>
              <a:gd name="connsiteX51495" fmla="*/ 2512269 w 8079933"/>
              <a:gd name="connsiteY51495" fmla="*/ 408613 h 4687251"/>
              <a:gd name="connsiteX51496" fmla="*/ 2515090 w 8079933"/>
              <a:gd name="connsiteY51496" fmla="*/ 408288 h 4687251"/>
              <a:gd name="connsiteX51497" fmla="*/ 2519647 w 8079933"/>
              <a:gd name="connsiteY51497" fmla="*/ 411969 h 4687251"/>
              <a:gd name="connsiteX51498" fmla="*/ 2521710 w 8079933"/>
              <a:gd name="connsiteY51498" fmla="*/ 410778 h 4687251"/>
              <a:gd name="connsiteX51499" fmla="*/ 2525941 w 8079933"/>
              <a:gd name="connsiteY51499" fmla="*/ 411211 h 4687251"/>
              <a:gd name="connsiteX51500" fmla="*/ 2528003 w 8079933"/>
              <a:gd name="connsiteY51500" fmla="*/ 409046 h 4687251"/>
              <a:gd name="connsiteX51501" fmla="*/ 2526050 w 8079933"/>
              <a:gd name="connsiteY51501" fmla="*/ 407422 h 4687251"/>
              <a:gd name="connsiteX51502" fmla="*/ 2522578 w 8079933"/>
              <a:gd name="connsiteY51502" fmla="*/ 408180 h 4687251"/>
              <a:gd name="connsiteX51503" fmla="*/ 2519756 w 8079933"/>
              <a:gd name="connsiteY51503" fmla="*/ 405256 h 4687251"/>
              <a:gd name="connsiteX51504" fmla="*/ 2517369 w 8079933"/>
              <a:gd name="connsiteY51504" fmla="*/ 405040 h 4687251"/>
              <a:gd name="connsiteX51505" fmla="*/ 2517803 w 8079933"/>
              <a:gd name="connsiteY51505" fmla="*/ 403308 h 4687251"/>
              <a:gd name="connsiteX51506" fmla="*/ 2520842 w 8079933"/>
              <a:gd name="connsiteY51506" fmla="*/ 401142 h 4687251"/>
              <a:gd name="connsiteX51507" fmla="*/ 2521167 w 8079933"/>
              <a:gd name="connsiteY51507" fmla="*/ 398760 h 4687251"/>
              <a:gd name="connsiteX51508" fmla="*/ 2517477 w 8079933"/>
              <a:gd name="connsiteY51508" fmla="*/ 397244 h 4687251"/>
              <a:gd name="connsiteX51509" fmla="*/ 2518237 w 8079933"/>
              <a:gd name="connsiteY51509" fmla="*/ 396054 h 4687251"/>
              <a:gd name="connsiteX51510" fmla="*/ 2522903 w 8079933"/>
              <a:gd name="connsiteY51510" fmla="*/ 396270 h 4687251"/>
              <a:gd name="connsiteX51511" fmla="*/ 2523880 w 8079933"/>
              <a:gd name="connsiteY51511" fmla="*/ 394862 h 4687251"/>
              <a:gd name="connsiteX51512" fmla="*/ 2518779 w 8079933"/>
              <a:gd name="connsiteY51512" fmla="*/ 393022 h 4687251"/>
              <a:gd name="connsiteX51513" fmla="*/ 2517694 w 8079933"/>
              <a:gd name="connsiteY51513" fmla="*/ 394429 h 4687251"/>
              <a:gd name="connsiteX51514" fmla="*/ 2514439 w 8079933"/>
              <a:gd name="connsiteY51514" fmla="*/ 394862 h 4687251"/>
              <a:gd name="connsiteX51515" fmla="*/ 2511617 w 8079933"/>
              <a:gd name="connsiteY51515" fmla="*/ 390856 h 4687251"/>
              <a:gd name="connsiteX51516" fmla="*/ 2512486 w 8079933"/>
              <a:gd name="connsiteY51516" fmla="*/ 388150 h 4687251"/>
              <a:gd name="connsiteX51517" fmla="*/ 2516609 w 8079933"/>
              <a:gd name="connsiteY51517" fmla="*/ 384901 h 4687251"/>
              <a:gd name="connsiteX51518" fmla="*/ 2516717 w 8079933"/>
              <a:gd name="connsiteY51518" fmla="*/ 382303 h 4687251"/>
              <a:gd name="connsiteX51519" fmla="*/ 2514656 w 8079933"/>
              <a:gd name="connsiteY51519" fmla="*/ 382195 h 4687251"/>
              <a:gd name="connsiteX51520" fmla="*/ 2512919 w 8079933"/>
              <a:gd name="connsiteY51520" fmla="*/ 378730 h 4687251"/>
              <a:gd name="connsiteX51521" fmla="*/ 2513137 w 8079933"/>
              <a:gd name="connsiteY51521" fmla="*/ 370718 h 4687251"/>
              <a:gd name="connsiteX51522" fmla="*/ 2514439 w 8079933"/>
              <a:gd name="connsiteY51522" fmla="*/ 369094 h 4687251"/>
              <a:gd name="connsiteX51523" fmla="*/ 2513354 w 8079933"/>
              <a:gd name="connsiteY51523" fmla="*/ 364979 h 4687251"/>
              <a:gd name="connsiteX51524" fmla="*/ 2513896 w 8079933"/>
              <a:gd name="connsiteY51524" fmla="*/ 360757 h 4687251"/>
              <a:gd name="connsiteX51525" fmla="*/ 2517585 w 8079933"/>
              <a:gd name="connsiteY51525" fmla="*/ 360432 h 4687251"/>
              <a:gd name="connsiteX51526" fmla="*/ 2521710 w 8079933"/>
              <a:gd name="connsiteY51526" fmla="*/ 359025 h 4687251"/>
              <a:gd name="connsiteX51527" fmla="*/ 2526918 w 8079933"/>
              <a:gd name="connsiteY51527" fmla="*/ 359242 h 4687251"/>
              <a:gd name="connsiteX51528" fmla="*/ 2530174 w 8079933"/>
              <a:gd name="connsiteY51528" fmla="*/ 358483 h 4687251"/>
              <a:gd name="connsiteX51529" fmla="*/ 2534949 w 8079933"/>
              <a:gd name="connsiteY51529" fmla="*/ 360216 h 4687251"/>
              <a:gd name="connsiteX51530" fmla="*/ 2538963 w 8079933"/>
              <a:gd name="connsiteY51530" fmla="*/ 360216 h 4687251"/>
              <a:gd name="connsiteX51531" fmla="*/ 2543630 w 8079933"/>
              <a:gd name="connsiteY51531" fmla="*/ 366279 h 4687251"/>
              <a:gd name="connsiteX51532" fmla="*/ 2545800 w 8079933"/>
              <a:gd name="connsiteY51532" fmla="*/ 375699 h 4687251"/>
              <a:gd name="connsiteX51533" fmla="*/ 2546017 w 8079933"/>
              <a:gd name="connsiteY51533" fmla="*/ 389124 h 4687251"/>
              <a:gd name="connsiteX51534" fmla="*/ 2544064 w 8079933"/>
              <a:gd name="connsiteY51534" fmla="*/ 395295 h 4687251"/>
              <a:gd name="connsiteX51535" fmla="*/ 2546126 w 8079933"/>
              <a:gd name="connsiteY51535" fmla="*/ 397352 h 4687251"/>
              <a:gd name="connsiteX51536" fmla="*/ 2549164 w 8079933"/>
              <a:gd name="connsiteY51536" fmla="*/ 395837 h 4687251"/>
              <a:gd name="connsiteX51537" fmla="*/ 2557737 w 8079933"/>
              <a:gd name="connsiteY51537" fmla="*/ 400492 h 4687251"/>
              <a:gd name="connsiteX51538" fmla="*/ 2560884 w 8079933"/>
              <a:gd name="connsiteY51538" fmla="*/ 406123 h 4687251"/>
              <a:gd name="connsiteX51539" fmla="*/ 2563705 w 8079933"/>
              <a:gd name="connsiteY51539" fmla="*/ 406989 h 4687251"/>
              <a:gd name="connsiteX51540" fmla="*/ 2563705 w 8079933"/>
              <a:gd name="connsiteY51540" fmla="*/ 403849 h 4687251"/>
              <a:gd name="connsiteX51541" fmla="*/ 2573580 w 8079933"/>
              <a:gd name="connsiteY51541" fmla="*/ 403741 h 4687251"/>
              <a:gd name="connsiteX51542" fmla="*/ 2579766 w 8079933"/>
              <a:gd name="connsiteY51542" fmla="*/ 409371 h 4687251"/>
              <a:gd name="connsiteX51543" fmla="*/ 2582045 w 8079933"/>
              <a:gd name="connsiteY51543" fmla="*/ 407530 h 4687251"/>
              <a:gd name="connsiteX51544" fmla="*/ 2579223 w 8079933"/>
              <a:gd name="connsiteY51544" fmla="*/ 404715 h 4687251"/>
              <a:gd name="connsiteX51545" fmla="*/ 2582913 w 8079933"/>
              <a:gd name="connsiteY51545" fmla="*/ 401683 h 4687251"/>
              <a:gd name="connsiteX51546" fmla="*/ 2589966 w 8079933"/>
              <a:gd name="connsiteY51546" fmla="*/ 398436 h 4687251"/>
              <a:gd name="connsiteX51547" fmla="*/ 2594741 w 8079933"/>
              <a:gd name="connsiteY51547" fmla="*/ 391506 h 4687251"/>
              <a:gd name="connsiteX51548" fmla="*/ 2603748 w 8079933"/>
              <a:gd name="connsiteY51548" fmla="*/ 385984 h 4687251"/>
              <a:gd name="connsiteX51549" fmla="*/ 2611670 w 8079933"/>
              <a:gd name="connsiteY51549" fmla="*/ 377647 h 4687251"/>
              <a:gd name="connsiteX51550" fmla="*/ 2611995 w 8079933"/>
              <a:gd name="connsiteY51550" fmla="*/ 373100 h 4687251"/>
              <a:gd name="connsiteX51551" fmla="*/ 2615250 w 8079933"/>
              <a:gd name="connsiteY51551" fmla="*/ 370393 h 4687251"/>
              <a:gd name="connsiteX51552" fmla="*/ 2611778 w 8079933"/>
              <a:gd name="connsiteY51552" fmla="*/ 370177 h 4687251"/>
              <a:gd name="connsiteX51553" fmla="*/ 2608848 w 8079933"/>
              <a:gd name="connsiteY51553" fmla="*/ 373100 h 4687251"/>
              <a:gd name="connsiteX51554" fmla="*/ 2608523 w 8079933"/>
              <a:gd name="connsiteY51554" fmla="*/ 376890 h 4687251"/>
              <a:gd name="connsiteX51555" fmla="*/ 2600818 w 8079933"/>
              <a:gd name="connsiteY51555" fmla="*/ 385009 h 4687251"/>
              <a:gd name="connsiteX51556" fmla="*/ 2595609 w 8079933"/>
              <a:gd name="connsiteY51556" fmla="*/ 388150 h 4687251"/>
              <a:gd name="connsiteX51557" fmla="*/ 2595609 w 8079933"/>
              <a:gd name="connsiteY51557" fmla="*/ 389666 h 4687251"/>
              <a:gd name="connsiteX51558" fmla="*/ 2588447 w 8079933"/>
              <a:gd name="connsiteY51558" fmla="*/ 395837 h 4687251"/>
              <a:gd name="connsiteX51559" fmla="*/ 2580417 w 8079933"/>
              <a:gd name="connsiteY51559" fmla="*/ 398868 h 4687251"/>
              <a:gd name="connsiteX51560" fmla="*/ 2577704 w 8079933"/>
              <a:gd name="connsiteY51560" fmla="*/ 396920 h 4687251"/>
              <a:gd name="connsiteX51561" fmla="*/ 2574991 w 8079933"/>
              <a:gd name="connsiteY51561" fmla="*/ 396703 h 4687251"/>
              <a:gd name="connsiteX51562" fmla="*/ 2574449 w 8079933"/>
              <a:gd name="connsiteY51562" fmla="*/ 398111 h 4687251"/>
              <a:gd name="connsiteX51563" fmla="*/ 2569023 w 8079933"/>
              <a:gd name="connsiteY51563" fmla="*/ 398111 h 4687251"/>
              <a:gd name="connsiteX51564" fmla="*/ 2562620 w 8079933"/>
              <a:gd name="connsiteY51564" fmla="*/ 394538 h 4687251"/>
              <a:gd name="connsiteX51565" fmla="*/ 2563055 w 8079933"/>
              <a:gd name="connsiteY51565" fmla="*/ 391614 h 4687251"/>
              <a:gd name="connsiteX51566" fmla="*/ 2566852 w 8079933"/>
              <a:gd name="connsiteY51566" fmla="*/ 388475 h 4687251"/>
              <a:gd name="connsiteX51567" fmla="*/ 2571193 w 8079933"/>
              <a:gd name="connsiteY51567" fmla="*/ 385551 h 4687251"/>
              <a:gd name="connsiteX51568" fmla="*/ 2571736 w 8079933"/>
              <a:gd name="connsiteY51568" fmla="*/ 381220 h 4687251"/>
              <a:gd name="connsiteX51569" fmla="*/ 2566526 w 8079933"/>
              <a:gd name="connsiteY51569" fmla="*/ 385118 h 4687251"/>
              <a:gd name="connsiteX51570" fmla="*/ 2564682 w 8079933"/>
              <a:gd name="connsiteY51570" fmla="*/ 388150 h 4687251"/>
              <a:gd name="connsiteX51571" fmla="*/ 2560884 w 8079933"/>
              <a:gd name="connsiteY51571" fmla="*/ 387933 h 4687251"/>
              <a:gd name="connsiteX51572" fmla="*/ 2557954 w 8079933"/>
              <a:gd name="connsiteY51572" fmla="*/ 382303 h 4687251"/>
              <a:gd name="connsiteX51573" fmla="*/ 2557954 w 8079933"/>
              <a:gd name="connsiteY51573" fmla="*/ 380138 h 4687251"/>
              <a:gd name="connsiteX51574" fmla="*/ 2560992 w 8079933"/>
              <a:gd name="connsiteY51574" fmla="*/ 379705 h 4687251"/>
              <a:gd name="connsiteX51575" fmla="*/ 2565008 w 8079933"/>
              <a:gd name="connsiteY51575" fmla="*/ 377647 h 4687251"/>
              <a:gd name="connsiteX51576" fmla="*/ 2565550 w 8079933"/>
              <a:gd name="connsiteY51576" fmla="*/ 376023 h 4687251"/>
              <a:gd name="connsiteX51577" fmla="*/ 2561426 w 8079933"/>
              <a:gd name="connsiteY51577" fmla="*/ 375915 h 4687251"/>
              <a:gd name="connsiteX51578" fmla="*/ 2561426 w 8079933"/>
              <a:gd name="connsiteY51578" fmla="*/ 373750 h 4687251"/>
              <a:gd name="connsiteX51579" fmla="*/ 2563923 w 8079933"/>
              <a:gd name="connsiteY51579" fmla="*/ 371909 h 4687251"/>
              <a:gd name="connsiteX51580" fmla="*/ 2567286 w 8079933"/>
              <a:gd name="connsiteY51580" fmla="*/ 373317 h 4687251"/>
              <a:gd name="connsiteX51581" fmla="*/ 2570651 w 8079933"/>
              <a:gd name="connsiteY51581" fmla="*/ 372992 h 4687251"/>
              <a:gd name="connsiteX51582" fmla="*/ 2571084 w 8079933"/>
              <a:gd name="connsiteY51582" fmla="*/ 370177 h 4687251"/>
              <a:gd name="connsiteX51583" fmla="*/ 2567178 w 8079933"/>
              <a:gd name="connsiteY51583" fmla="*/ 370177 h 4687251"/>
              <a:gd name="connsiteX51584" fmla="*/ 2564465 w 8079933"/>
              <a:gd name="connsiteY51584" fmla="*/ 368444 h 4687251"/>
              <a:gd name="connsiteX51585" fmla="*/ 2562620 w 8079933"/>
              <a:gd name="connsiteY51585" fmla="*/ 370934 h 4687251"/>
              <a:gd name="connsiteX51586" fmla="*/ 2558930 w 8079933"/>
              <a:gd name="connsiteY51586" fmla="*/ 370610 h 4687251"/>
              <a:gd name="connsiteX51587" fmla="*/ 2557194 w 8079933"/>
              <a:gd name="connsiteY51587" fmla="*/ 367145 h 4687251"/>
              <a:gd name="connsiteX51588" fmla="*/ 2558713 w 8079933"/>
              <a:gd name="connsiteY51588" fmla="*/ 364546 h 4687251"/>
              <a:gd name="connsiteX51589" fmla="*/ 2562620 w 8079933"/>
              <a:gd name="connsiteY51589" fmla="*/ 363572 h 4687251"/>
              <a:gd name="connsiteX51590" fmla="*/ 2565658 w 8079933"/>
              <a:gd name="connsiteY51590" fmla="*/ 361407 h 4687251"/>
              <a:gd name="connsiteX51591" fmla="*/ 2570433 w 8079933"/>
              <a:gd name="connsiteY51591" fmla="*/ 361840 h 4687251"/>
              <a:gd name="connsiteX51592" fmla="*/ 2575317 w 8079933"/>
              <a:gd name="connsiteY51592" fmla="*/ 363680 h 4687251"/>
              <a:gd name="connsiteX51593" fmla="*/ 2578898 w 8079933"/>
              <a:gd name="connsiteY51593" fmla="*/ 361407 h 4687251"/>
              <a:gd name="connsiteX51594" fmla="*/ 2573580 w 8079933"/>
              <a:gd name="connsiteY51594" fmla="*/ 361407 h 4687251"/>
              <a:gd name="connsiteX51595" fmla="*/ 2572712 w 8079933"/>
              <a:gd name="connsiteY51595" fmla="*/ 358916 h 4687251"/>
              <a:gd name="connsiteX51596" fmla="*/ 2576836 w 8079933"/>
              <a:gd name="connsiteY51596" fmla="*/ 354585 h 4687251"/>
              <a:gd name="connsiteX51597" fmla="*/ 2580308 w 8079933"/>
              <a:gd name="connsiteY51597" fmla="*/ 354369 h 4687251"/>
              <a:gd name="connsiteX51598" fmla="*/ 2581828 w 8079933"/>
              <a:gd name="connsiteY51598" fmla="*/ 352312 h 4687251"/>
              <a:gd name="connsiteX51599" fmla="*/ 2578247 w 8079933"/>
              <a:gd name="connsiteY51599" fmla="*/ 352312 h 4687251"/>
              <a:gd name="connsiteX51600" fmla="*/ 2578030 w 8079933"/>
              <a:gd name="connsiteY51600" fmla="*/ 349930 h 4687251"/>
              <a:gd name="connsiteX51601" fmla="*/ 2580960 w 8079933"/>
              <a:gd name="connsiteY51601" fmla="*/ 345491 h 4687251"/>
              <a:gd name="connsiteX51602" fmla="*/ 2585083 w 8079933"/>
              <a:gd name="connsiteY51602" fmla="*/ 344733 h 4687251"/>
              <a:gd name="connsiteX51603" fmla="*/ 2583238 w 8079933"/>
              <a:gd name="connsiteY51603" fmla="*/ 340944 h 4687251"/>
              <a:gd name="connsiteX51604" fmla="*/ 2589098 w 8079933"/>
              <a:gd name="connsiteY51604" fmla="*/ 332173 h 4687251"/>
              <a:gd name="connsiteX51605" fmla="*/ 2593005 w 8079933"/>
              <a:gd name="connsiteY51605" fmla="*/ 329792 h 4687251"/>
              <a:gd name="connsiteX51606" fmla="*/ 2594090 w 8079933"/>
              <a:gd name="connsiteY51606" fmla="*/ 326761 h 4687251"/>
              <a:gd name="connsiteX51607" fmla="*/ 2589966 w 8079933"/>
              <a:gd name="connsiteY51607" fmla="*/ 327410 h 4687251"/>
              <a:gd name="connsiteX51608" fmla="*/ 2583346 w 8079933"/>
              <a:gd name="connsiteY51608" fmla="*/ 335530 h 4687251"/>
              <a:gd name="connsiteX51609" fmla="*/ 2578247 w 8079933"/>
              <a:gd name="connsiteY51609" fmla="*/ 345275 h 4687251"/>
              <a:gd name="connsiteX51610" fmla="*/ 2571193 w 8079933"/>
              <a:gd name="connsiteY51610" fmla="*/ 350904 h 4687251"/>
              <a:gd name="connsiteX51611" fmla="*/ 2565441 w 8079933"/>
              <a:gd name="connsiteY51611" fmla="*/ 356751 h 4687251"/>
              <a:gd name="connsiteX51612" fmla="*/ 2561643 w 8079933"/>
              <a:gd name="connsiteY51612" fmla="*/ 355561 h 4687251"/>
              <a:gd name="connsiteX51613" fmla="*/ 2554590 w 8079933"/>
              <a:gd name="connsiteY51613" fmla="*/ 355777 h 4687251"/>
              <a:gd name="connsiteX51614" fmla="*/ 2554481 w 8079933"/>
              <a:gd name="connsiteY51614" fmla="*/ 352637 h 4687251"/>
              <a:gd name="connsiteX51615" fmla="*/ 2558062 w 8079933"/>
              <a:gd name="connsiteY51615" fmla="*/ 347548 h 4687251"/>
              <a:gd name="connsiteX51616" fmla="*/ 2563055 w 8079933"/>
              <a:gd name="connsiteY51616" fmla="*/ 345275 h 4687251"/>
              <a:gd name="connsiteX51617" fmla="*/ 2563055 w 8079933"/>
              <a:gd name="connsiteY51617" fmla="*/ 340618 h 4687251"/>
              <a:gd name="connsiteX51618" fmla="*/ 2556000 w 8079933"/>
              <a:gd name="connsiteY51618" fmla="*/ 345816 h 4687251"/>
              <a:gd name="connsiteX51619" fmla="*/ 2549815 w 8079933"/>
              <a:gd name="connsiteY51619" fmla="*/ 345166 h 4687251"/>
              <a:gd name="connsiteX51620" fmla="*/ 2549924 w 8079933"/>
              <a:gd name="connsiteY51620" fmla="*/ 348522 h 4687251"/>
              <a:gd name="connsiteX51621" fmla="*/ 2546017 w 8079933"/>
              <a:gd name="connsiteY51621" fmla="*/ 351338 h 4687251"/>
              <a:gd name="connsiteX51622" fmla="*/ 2539615 w 8079933"/>
              <a:gd name="connsiteY51622" fmla="*/ 350796 h 4687251"/>
              <a:gd name="connsiteX51623" fmla="*/ 2533646 w 8079933"/>
              <a:gd name="connsiteY51623" fmla="*/ 345275 h 4687251"/>
              <a:gd name="connsiteX51624" fmla="*/ 2536685 w 8079933"/>
              <a:gd name="connsiteY51624" fmla="*/ 342893 h 4687251"/>
              <a:gd name="connsiteX51625" fmla="*/ 2541025 w 8079933"/>
              <a:gd name="connsiteY51625" fmla="*/ 342351 h 4687251"/>
              <a:gd name="connsiteX51626" fmla="*/ 2539506 w 8079933"/>
              <a:gd name="connsiteY51626" fmla="*/ 339969 h 4687251"/>
              <a:gd name="connsiteX51627" fmla="*/ 2536685 w 8079933"/>
              <a:gd name="connsiteY51627" fmla="*/ 339753 h 4687251"/>
              <a:gd name="connsiteX51628" fmla="*/ 2537553 w 8079933"/>
              <a:gd name="connsiteY51628" fmla="*/ 334664 h 4687251"/>
              <a:gd name="connsiteX51629" fmla="*/ 2543304 w 8079933"/>
              <a:gd name="connsiteY51629" fmla="*/ 330008 h 4687251"/>
              <a:gd name="connsiteX51630" fmla="*/ 2543955 w 8079933"/>
              <a:gd name="connsiteY51630" fmla="*/ 326327 h 4687251"/>
              <a:gd name="connsiteX51631" fmla="*/ 2549164 w 8079933"/>
              <a:gd name="connsiteY51631" fmla="*/ 324270 h 4687251"/>
              <a:gd name="connsiteX51632" fmla="*/ 2553396 w 8079933"/>
              <a:gd name="connsiteY51632" fmla="*/ 321239 h 4687251"/>
              <a:gd name="connsiteX51633" fmla="*/ 2558280 w 8079933"/>
              <a:gd name="connsiteY51633" fmla="*/ 320589 h 4687251"/>
              <a:gd name="connsiteX51634" fmla="*/ 2558605 w 8079933"/>
              <a:gd name="connsiteY51634" fmla="*/ 314850 h 4687251"/>
              <a:gd name="connsiteX51635" fmla="*/ 2561860 w 8079933"/>
              <a:gd name="connsiteY51635" fmla="*/ 308679 h 4687251"/>
              <a:gd name="connsiteX51636" fmla="*/ 2568371 w 8079933"/>
              <a:gd name="connsiteY51636" fmla="*/ 300775 h 4687251"/>
              <a:gd name="connsiteX51637" fmla="*/ 2572169 w 8079933"/>
              <a:gd name="connsiteY51637" fmla="*/ 302183 h 4687251"/>
              <a:gd name="connsiteX51638" fmla="*/ 2581502 w 8079933"/>
              <a:gd name="connsiteY51638" fmla="*/ 300017 h 4687251"/>
              <a:gd name="connsiteX51639" fmla="*/ 2588339 w 8079933"/>
              <a:gd name="connsiteY51639" fmla="*/ 301749 h 4687251"/>
              <a:gd name="connsiteX51640" fmla="*/ 2592028 w 8079933"/>
              <a:gd name="connsiteY51640" fmla="*/ 299693 h 4687251"/>
              <a:gd name="connsiteX51641" fmla="*/ 2595826 w 8079933"/>
              <a:gd name="connsiteY51641" fmla="*/ 299909 h 4687251"/>
              <a:gd name="connsiteX51642" fmla="*/ 2600601 w 8079933"/>
              <a:gd name="connsiteY51642" fmla="*/ 296661 h 4687251"/>
              <a:gd name="connsiteX51643" fmla="*/ 2604291 w 8079933"/>
              <a:gd name="connsiteY51643" fmla="*/ 296120 h 4687251"/>
              <a:gd name="connsiteX51644" fmla="*/ 2604941 w 8079933"/>
              <a:gd name="connsiteY51644" fmla="*/ 297852 h 4687251"/>
              <a:gd name="connsiteX51645" fmla="*/ 2610802 w 8079933"/>
              <a:gd name="connsiteY51645" fmla="*/ 304023 h 4687251"/>
              <a:gd name="connsiteX51646" fmla="*/ 2613840 w 8079933"/>
              <a:gd name="connsiteY51646" fmla="*/ 304240 h 4687251"/>
              <a:gd name="connsiteX51647" fmla="*/ 2624366 w 8079933"/>
              <a:gd name="connsiteY51647" fmla="*/ 311278 h 4687251"/>
              <a:gd name="connsiteX51648" fmla="*/ 2626103 w 8079933"/>
              <a:gd name="connsiteY51648" fmla="*/ 315067 h 4687251"/>
              <a:gd name="connsiteX51649" fmla="*/ 2628816 w 8079933"/>
              <a:gd name="connsiteY51649" fmla="*/ 318965 h 4687251"/>
              <a:gd name="connsiteX51650" fmla="*/ 2631637 w 8079933"/>
              <a:gd name="connsiteY51650" fmla="*/ 318857 h 4687251"/>
              <a:gd name="connsiteX51651" fmla="*/ 2638039 w 8079933"/>
              <a:gd name="connsiteY51651" fmla="*/ 328601 h 4687251"/>
              <a:gd name="connsiteX51652" fmla="*/ 2637822 w 8079933"/>
              <a:gd name="connsiteY51652" fmla="*/ 321780 h 4687251"/>
              <a:gd name="connsiteX51653" fmla="*/ 2642488 w 8079933"/>
              <a:gd name="connsiteY51653" fmla="*/ 321347 h 4687251"/>
              <a:gd name="connsiteX51654" fmla="*/ 2641620 w 8079933"/>
              <a:gd name="connsiteY51654" fmla="*/ 318315 h 4687251"/>
              <a:gd name="connsiteX51655" fmla="*/ 2635977 w 8079933"/>
              <a:gd name="connsiteY51655" fmla="*/ 317774 h 4687251"/>
              <a:gd name="connsiteX51656" fmla="*/ 2633699 w 8079933"/>
              <a:gd name="connsiteY51656" fmla="*/ 316908 h 4687251"/>
              <a:gd name="connsiteX51657" fmla="*/ 2633590 w 8079933"/>
              <a:gd name="connsiteY51657" fmla="*/ 313010 h 4687251"/>
              <a:gd name="connsiteX51658" fmla="*/ 2638039 w 8079933"/>
              <a:gd name="connsiteY51658" fmla="*/ 311386 h 4687251"/>
              <a:gd name="connsiteX51659" fmla="*/ 2648023 w 8079933"/>
              <a:gd name="connsiteY51659" fmla="*/ 311386 h 4687251"/>
              <a:gd name="connsiteX51660" fmla="*/ 2652689 w 8079933"/>
              <a:gd name="connsiteY51660" fmla="*/ 313768 h 4687251"/>
              <a:gd name="connsiteX51661" fmla="*/ 2654208 w 8079933"/>
              <a:gd name="connsiteY51661" fmla="*/ 311819 h 4687251"/>
              <a:gd name="connsiteX51662" fmla="*/ 2654534 w 8079933"/>
              <a:gd name="connsiteY51662" fmla="*/ 306297 h 4687251"/>
              <a:gd name="connsiteX51663" fmla="*/ 2656921 w 8079933"/>
              <a:gd name="connsiteY51663" fmla="*/ 301641 h 4687251"/>
              <a:gd name="connsiteX51664" fmla="*/ 2656595 w 8079933"/>
              <a:gd name="connsiteY51664" fmla="*/ 298393 h 4687251"/>
              <a:gd name="connsiteX51665" fmla="*/ 2653882 w 8079933"/>
              <a:gd name="connsiteY51665" fmla="*/ 299584 h 4687251"/>
              <a:gd name="connsiteX51666" fmla="*/ 2653123 w 8079933"/>
              <a:gd name="connsiteY51666" fmla="*/ 303374 h 4687251"/>
              <a:gd name="connsiteX51667" fmla="*/ 2648348 w 8079933"/>
              <a:gd name="connsiteY51667" fmla="*/ 306622 h 4687251"/>
              <a:gd name="connsiteX51668" fmla="*/ 2644876 w 8079933"/>
              <a:gd name="connsiteY51668" fmla="*/ 309870 h 4687251"/>
              <a:gd name="connsiteX51669" fmla="*/ 2635977 w 8079933"/>
              <a:gd name="connsiteY51669" fmla="*/ 306622 h 4687251"/>
              <a:gd name="connsiteX51670" fmla="*/ 2628816 w 8079933"/>
              <a:gd name="connsiteY51670" fmla="*/ 306406 h 4687251"/>
              <a:gd name="connsiteX51671" fmla="*/ 2625994 w 8079933"/>
              <a:gd name="connsiteY51671" fmla="*/ 302833 h 4687251"/>
              <a:gd name="connsiteX51672" fmla="*/ 2622304 w 8079933"/>
              <a:gd name="connsiteY51672" fmla="*/ 300775 h 4687251"/>
              <a:gd name="connsiteX51673" fmla="*/ 2615250 w 8079933"/>
              <a:gd name="connsiteY51673" fmla="*/ 301641 h 4687251"/>
              <a:gd name="connsiteX51674" fmla="*/ 2609607 w 8079933"/>
              <a:gd name="connsiteY51674" fmla="*/ 290923 h 4687251"/>
              <a:gd name="connsiteX51675" fmla="*/ 2609391 w 8079933"/>
              <a:gd name="connsiteY51675" fmla="*/ 282911 h 4687251"/>
              <a:gd name="connsiteX51676" fmla="*/ 2611995 w 8079933"/>
              <a:gd name="connsiteY51676" fmla="*/ 280529 h 4687251"/>
              <a:gd name="connsiteX51677" fmla="*/ 2616770 w 8079933"/>
              <a:gd name="connsiteY51677" fmla="*/ 283019 h 4687251"/>
              <a:gd name="connsiteX51678" fmla="*/ 2617855 w 8079933"/>
              <a:gd name="connsiteY51678" fmla="*/ 287674 h 4687251"/>
              <a:gd name="connsiteX51679" fmla="*/ 2619917 w 8079933"/>
              <a:gd name="connsiteY51679" fmla="*/ 290923 h 4687251"/>
              <a:gd name="connsiteX51680" fmla="*/ 2623173 w 8079933"/>
              <a:gd name="connsiteY51680" fmla="*/ 285509 h 4687251"/>
              <a:gd name="connsiteX51681" fmla="*/ 2624691 w 8079933"/>
              <a:gd name="connsiteY51681" fmla="*/ 279121 h 4687251"/>
              <a:gd name="connsiteX51682" fmla="*/ 2621328 w 8079933"/>
              <a:gd name="connsiteY51682" fmla="*/ 279988 h 4687251"/>
              <a:gd name="connsiteX51683" fmla="*/ 2619700 w 8079933"/>
              <a:gd name="connsiteY51683" fmla="*/ 278580 h 4687251"/>
              <a:gd name="connsiteX51684" fmla="*/ 2619375 w 8079933"/>
              <a:gd name="connsiteY51684" fmla="*/ 273817 h 4687251"/>
              <a:gd name="connsiteX51685" fmla="*/ 2623389 w 8079933"/>
              <a:gd name="connsiteY51685" fmla="*/ 266237 h 4687251"/>
              <a:gd name="connsiteX51686" fmla="*/ 2623173 w 8079933"/>
              <a:gd name="connsiteY51686" fmla="*/ 259850 h 4687251"/>
              <a:gd name="connsiteX51687" fmla="*/ 2626428 w 8079933"/>
              <a:gd name="connsiteY51687" fmla="*/ 252595 h 4687251"/>
              <a:gd name="connsiteX51688" fmla="*/ 2625126 w 8079933"/>
              <a:gd name="connsiteY51688" fmla="*/ 239927 h 4687251"/>
              <a:gd name="connsiteX51689" fmla="*/ 2622846 w 8079933"/>
              <a:gd name="connsiteY51689" fmla="*/ 233215 h 4687251"/>
              <a:gd name="connsiteX51690" fmla="*/ 2620243 w 8079933"/>
              <a:gd name="connsiteY51690" fmla="*/ 230941 h 4687251"/>
              <a:gd name="connsiteX51691" fmla="*/ 2618289 w 8079933"/>
              <a:gd name="connsiteY51691" fmla="*/ 226069 h 4687251"/>
              <a:gd name="connsiteX51692" fmla="*/ 2619157 w 8079933"/>
              <a:gd name="connsiteY51692" fmla="*/ 222495 h 4687251"/>
              <a:gd name="connsiteX51693" fmla="*/ 2621979 w 8079933"/>
              <a:gd name="connsiteY51693" fmla="*/ 221413 h 4687251"/>
              <a:gd name="connsiteX51694" fmla="*/ 2624475 w 8079933"/>
              <a:gd name="connsiteY51694" fmla="*/ 220222 h 4687251"/>
              <a:gd name="connsiteX51695" fmla="*/ 2627079 w 8079933"/>
              <a:gd name="connsiteY51695" fmla="*/ 222821 h 4687251"/>
              <a:gd name="connsiteX51696" fmla="*/ 2630769 w 8079933"/>
              <a:gd name="connsiteY51696" fmla="*/ 223687 h 4687251"/>
              <a:gd name="connsiteX51697" fmla="*/ 2633590 w 8079933"/>
              <a:gd name="connsiteY51697" fmla="*/ 228992 h 4687251"/>
              <a:gd name="connsiteX51698" fmla="*/ 2635218 w 8079933"/>
              <a:gd name="connsiteY51698" fmla="*/ 228342 h 4687251"/>
              <a:gd name="connsiteX51699" fmla="*/ 2635109 w 8079933"/>
              <a:gd name="connsiteY51699" fmla="*/ 224661 h 4687251"/>
              <a:gd name="connsiteX51700" fmla="*/ 2632722 w 8079933"/>
              <a:gd name="connsiteY51700" fmla="*/ 219031 h 4687251"/>
              <a:gd name="connsiteX51701" fmla="*/ 2627730 w 8079933"/>
              <a:gd name="connsiteY51701" fmla="*/ 217515 h 4687251"/>
              <a:gd name="connsiteX51702" fmla="*/ 2624800 w 8079933"/>
              <a:gd name="connsiteY51702" fmla="*/ 215025 h 4687251"/>
              <a:gd name="connsiteX51703" fmla="*/ 2624583 w 8079933"/>
              <a:gd name="connsiteY51703" fmla="*/ 210695 h 4687251"/>
              <a:gd name="connsiteX51704" fmla="*/ 2626319 w 8079933"/>
              <a:gd name="connsiteY51704" fmla="*/ 205172 h 4687251"/>
              <a:gd name="connsiteX51705" fmla="*/ 2641078 w 8079933"/>
              <a:gd name="connsiteY51705" fmla="*/ 189040 h 4687251"/>
              <a:gd name="connsiteX51706" fmla="*/ 2647806 w 8079933"/>
              <a:gd name="connsiteY51706" fmla="*/ 187524 h 4687251"/>
              <a:gd name="connsiteX51707" fmla="*/ 2652255 w 8079933"/>
              <a:gd name="connsiteY51707" fmla="*/ 189365 h 4687251"/>
              <a:gd name="connsiteX51708" fmla="*/ 2653991 w 8079933"/>
              <a:gd name="connsiteY51708" fmla="*/ 193804 h 4687251"/>
              <a:gd name="connsiteX51709" fmla="*/ 2659525 w 8079933"/>
              <a:gd name="connsiteY51709" fmla="*/ 198135 h 4687251"/>
              <a:gd name="connsiteX51710" fmla="*/ 2663649 w 8079933"/>
              <a:gd name="connsiteY51710" fmla="*/ 198135 h 4687251"/>
              <a:gd name="connsiteX51711" fmla="*/ 2673958 w 8079933"/>
              <a:gd name="connsiteY51711" fmla="*/ 205064 h 4687251"/>
              <a:gd name="connsiteX51712" fmla="*/ 2673958 w 8079933"/>
              <a:gd name="connsiteY51712" fmla="*/ 210153 h 4687251"/>
              <a:gd name="connsiteX51713" fmla="*/ 2679493 w 8079933"/>
              <a:gd name="connsiteY51713" fmla="*/ 216541 h 4687251"/>
              <a:gd name="connsiteX51714" fmla="*/ 2682097 w 8079933"/>
              <a:gd name="connsiteY51714" fmla="*/ 228018 h 4687251"/>
              <a:gd name="connsiteX51715" fmla="*/ 2681446 w 8079933"/>
              <a:gd name="connsiteY51715" fmla="*/ 236462 h 4687251"/>
              <a:gd name="connsiteX51716" fmla="*/ 2682423 w 8079933"/>
              <a:gd name="connsiteY51716" fmla="*/ 244583 h 4687251"/>
              <a:gd name="connsiteX51717" fmla="*/ 2685895 w 8079933"/>
              <a:gd name="connsiteY51717" fmla="*/ 249239 h 4687251"/>
              <a:gd name="connsiteX51718" fmla="*/ 2687414 w 8079933"/>
              <a:gd name="connsiteY51718" fmla="*/ 246748 h 4687251"/>
              <a:gd name="connsiteX51719" fmla="*/ 2689367 w 8079933"/>
              <a:gd name="connsiteY51719" fmla="*/ 246423 h 4687251"/>
              <a:gd name="connsiteX51720" fmla="*/ 2693817 w 8079933"/>
              <a:gd name="connsiteY51720" fmla="*/ 250538 h 4687251"/>
              <a:gd name="connsiteX51721" fmla="*/ 2694685 w 8079933"/>
              <a:gd name="connsiteY51721" fmla="*/ 254868 h 4687251"/>
              <a:gd name="connsiteX51722" fmla="*/ 2695878 w 8079933"/>
              <a:gd name="connsiteY51722" fmla="*/ 251729 h 4687251"/>
              <a:gd name="connsiteX51723" fmla="*/ 2699134 w 8079933"/>
              <a:gd name="connsiteY51723" fmla="*/ 249888 h 4687251"/>
              <a:gd name="connsiteX51724" fmla="*/ 2704343 w 8079933"/>
              <a:gd name="connsiteY51724" fmla="*/ 250429 h 4687251"/>
              <a:gd name="connsiteX51725" fmla="*/ 2700545 w 8079933"/>
              <a:gd name="connsiteY51725" fmla="*/ 248048 h 4687251"/>
              <a:gd name="connsiteX51726" fmla="*/ 2694685 w 8079933"/>
              <a:gd name="connsiteY51726" fmla="*/ 247182 h 4687251"/>
              <a:gd name="connsiteX51727" fmla="*/ 2691429 w 8079933"/>
              <a:gd name="connsiteY51727" fmla="*/ 242850 h 4687251"/>
              <a:gd name="connsiteX51728" fmla="*/ 2687957 w 8079933"/>
              <a:gd name="connsiteY51728" fmla="*/ 240577 h 4687251"/>
              <a:gd name="connsiteX51729" fmla="*/ 2687848 w 8079933"/>
              <a:gd name="connsiteY51729" fmla="*/ 237870 h 4687251"/>
              <a:gd name="connsiteX51730" fmla="*/ 2692406 w 8079933"/>
              <a:gd name="connsiteY51730" fmla="*/ 232890 h 4687251"/>
              <a:gd name="connsiteX51731" fmla="*/ 2691972 w 8079933"/>
              <a:gd name="connsiteY51731" fmla="*/ 229750 h 4687251"/>
              <a:gd name="connsiteX51732" fmla="*/ 2691429 w 8079933"/>
              <a:gd name="connsiteY51732" fmla="*/ 212752 h 4687251"/>
              <a:gd name="connsiteX51733" fmla="*/ 2689910 w 8079933"/>
              <a:gd name="connsiteY51733" fmla="*/ 208096 h 4687251"/>
              <a:gd name="connsiteX51734" fmla="*/ 2691429 w 8079933"/>
              <a:gd name="connsiteY51734" fmla="*/ 202791 h 4687251"/>
              <a:gd name="connsiteX51735" fmla="*/ 2700328 w 8079933"/>
              <a:gd name="connsiteY51735" fmla="*/ 202249 h 4687251"/>
              <a:gd name="connsiteX51736" fmla="*/ 2703475 w 8079933"/>
              <a:gd name="connsiteY51736" fmla="*/ 204306 h 4687251"/>
              <a:gd name="connsiteX51737" fmla="*/ 2710311 w 8079933"/>
              <a:gd name="connsiteY51737" fmla="*/ 206147 h 4687251"/>
              <a:gd name="connsiteX51738" fmla="*/ 2717040 w 8079933"/>
              <a:gd name="connsiteY51738" fmla="*/ 206689 h 4687251"/>
              <a:gd name="connsiteX51739" fmla="*/ 2724636 w 8079933"/>
              <a:gd name="connsiteY51739" fmla="*/ 209395 h 4687251"/>
              <a:gd name="connsiteX51740" fmla="*/ 2733642 w 8079933"/>
              <a:gd name="connsiteY51740" fmla="*/ 209179 h 4687251"/>
              <a:gd name="connsiteX51741" fmla="*/ 2741021 w 8079933"/>
              <a:gd name="connsiteY51741" fmla="*/ 205714 h 4687251"/>
              <a:gd name="connsiteX51742" fmla="*/ 2745362 w 8079933"/>
              <a:gd name="connsiteY51742" fmla="*/ 206363 h 4687251"/>
              <a:gd name="connsiteX51743" fmla="*/ 2749811 w 8079933"/>
              <a:gd name="connsiteY51743" fmla="*/ 210153 h 4687251"/>
              <a:gd name="connsiteX51744" fmla="*/ 2759253 w 8079933"/>
              <a:gd name="connsiteY51744" fmla="*/ 211127 h 4687251"/>
              <a:gd name="connsiteX51745" fmla="*/ 2763701 w 8079933"/>
              <a:gd name="connsiteY51745" fmla="*/ 214051 h 4687251"/>
              <a:gd name="connsiteX51746" fmla="*/ 2768694 w 8079933"/>
              <a:gd name="connsiteY51746" fmla="*/ 212535 h 4687251"/>
              <a:gd name="connsiteX51747" fmla="*/ 2768585 w 8079933"/>
              <a:gd name="connsiteY51747" fmla="*/ 210153 h 4687251"/>
              <a:gd name="connsiteX51748" fmla="*/ 2764353 w 8079933"/>
              <a:gd name="connsiteY51748" fmla="*/ 207230 h 4687251"/>
              <a:gd name="connsiteX51749" fmla="*/ 2757950 w 8079933"/>
              <a:gd name="connsiteY51749" fmla="*/ 207230 h 4687251"/>
              <a:gd name="connsiteX51750" fmla="*/ 2750679 w 8079933"/>
              <a:gd name="connsiteY51750" fmla="*/ 205714 h 4687251"/>
              <a:gd name="connsiteX51751" fmla="*/ 2748726 w 8079933"/>
              <a:gd name="connsiteY51751" fmla="*/ 203007 h 4687251"/>
              <a:gd name="connsiteX51752" fmla="*/ 2749485 w 8079933"/>
              <a:gd name="connsiteY51752" fmla="*/ 201491 h 4687251"/>
              <a:gd name="connsiteX51753" fmla="*/ 2753067 w 8079933"/>
              <a:gd name="connsiteY51753" fmla="*/ 201383 h 4687251"/>
              <a:gd name="connsiteX51754" fmla="*/ 2760012 w 8079933"/>
              <a:gd name="connsiteY51754" fmla="*/ 198676 h 4687251"/>
              <a:gd name="connsiteX51755" fmla="*/ 2776398 w 8079933"/>
              <a:gd name="connsiteY51755" fmla="*/ 196944 h 4687251"/>
              <a:gd name="connsiteX51756" fmla="*/ 2787358 w 8079933"/>
              <a:gd name="connsiteY51756" fmla="*/ 196077 h 4687251"/>
              <a:gd name="connsiteX51757" fmla="*/ 2796148 w 8079933"/>
              <a:gd name="connsiteY51757" fmla="*/ 199218 h 4687251"/>
              <a:gd name="connsiteX51758" fmla="*/ 2801574 w 8079933"/>
              <a:gd name="connsiteY51758" fmla="*/ 203657 h 4687251"/>
              <a:gd name="connsiteX51759" fmla="*/ 2805480 w 8079933"/>
              <a:gd name="connsiteY51759" fmla="*/ 201600 h 4687251"/>
              <a:gd name="connsiteX51760" fmla="*/ 2811340 w 8079933"/>
              <a:gd name="connsiteY51760" fmla="*/ 200409 h 4687251"/>
              <a:gd name="connsiteX51761" fmla="*/ 2808410 w 8079933"/>
              <a:gd name="connsiteY51761" fmla="*/ 197485 h 4687251"/>
              <a:gd name="connsiteX51762" fmla="*/ 2805806 w 8079933"/>
              <a:gd name="connsiteY51762" fmla="*/ 197594 h 4687251"/>
              <a:gd name="connsiteX51763" fmla="*/ 2801682 w 8079933"/>
              <a:gd name="connsiteY51763" fmla="*/ 195536 h 4687251"/>
              <a:gd name="connsiteX51764" fmla="*/ 2801791 w 8079933"/>
              <a:gd name="connsiteY51764" fmla="*/ 192938 h 4687251"/>
              <a:gd name="connsiteX51765" fmla="*/ 2797233 w 8079933"/>
              <a:gd name="connsiteY51765" fmla="*/ 190231 h 4687251"/>
              <a:gd name="connsiteX51766" fmla="*/ 2791374 w 8079933"/>
              <a:gd name="connsiteY51766" fmla="*/ 190015 h 4687251"/>
              <a:gd name="connsiteX51767" fmla="*/ 2788226 w 8079933"/>
              <a:gd name="connsiteY51767" fmla="*/ 187957 h 4687251"/>
              <a:gd name="connsiteX51768" fmla="*/ 2775855 w 8079933"/>
              <a:gd name="connsiteY51768" fmla="*/ 189257 h 4687251"/>
              <a:gd name="connsiteX51769" fmla="*/ 2775638 w 8079933"/>
              <a:gd name="connsiteY51769" fmla="*/ 187308 h 4687251"/>
              <a:gd name="connsiteX51770" fmla="*/ 2778026 w 8079933"/>
              <a:gd name="connsiteY51770" fmla="*/ 185034 h 4687251"/>
              <a:gd name="connsiteX51771" fmla="*/ 2780956 w 8079933"/>
              <a:gd name="connsiteY51771" fmla="*/ 178755 h 4687251"/>
              <a:gd name="connsiteX51772" fmla="*/ 2786381 w 8079933"/>
              <a:gd name="connsiteY51772" fmla="*/ 177997 h 4687251"/>
              <a:gd name="connsiteX51773" fmla="*/ 2791374 w 8079933"/>
              <a:gd name="connsiteY51773" fmla="*/ 173774 h 4687251"/>
              <a:gd name="connsiteX51774" fmla="*/ 2793760 w 8079933"/>
              <a:gd name="connsiteY51774" fmla="*/ 167494 h 4687251"/>
              <a:gd name="connsiteX51775" fmla="*/ 2806349 w 8079933"/>
              <a:gd name="connsiteY51775" fmla="*/ 160024 h 4687251"/>
              <a:gd name="connsiteX51776" fmla="*/ 2813402 w 8079933"/>
              <a:gd name="connsiteY51776" fmla="*/ 159590 h 4687251"/>
              <a:gd name="connsiteX51777" fmla="*/ 2824796 w 8079933"/>
              <a:gd name="connsiteY51777" fmla="*/ 154177 h 4687251"/>
              <a:gd name="connsiteX51778" fmla="*/ 2824905 w 8079933"/>
              <a:gd name="connsiteY51778" fmla="*/ 151254 h 4687251"/>
              <a:gd name="connsiteX51779" fmla="*/ 2811340 w 8079933"/>
              <a:gd name="connsiteY51779" fmla="*/ 156667 h 4687251"/>
              <a:gd name="connsiteX51780" fmla="*/ 2802333 w 8079933"/>
              <a:gd name="connsiteY51780" fmla="*/ 157533 h 4687251"/>
              <a:gd name="connsiteX51781" fmla="*/ 2789637 w 8079933"/>
              <a:gd name="connsiteY51781" fmla="*/ 167061 h 4687251"/>
              <a:gd name="connsiteX51782" fmla="*/ 2789420 w 8079933"/>
              <a:gd name="connsiteY51782" fmla="*/ 172042 h 4687251"/>
              <a:gd name="connsiteX51783" fmla="*/ 2787032 w 8079933"/>
              <a:gd name="connsiteY51783" fmla="*/ 172042 h 4687251"/>
              <a:gd name="connsiteX51784" fmla="*/ 2785296 w 8079933"/>
              <a:gd name="connsiteY51784" fmla="*/ 167169 h 4687251"/>
              <a:gd name="connsiteX51785" fmla="*/ 2783451 w 8079933"/>
              <a:gd name="connsiteY51785" fmla="*/ 166845 h 4687251"/>
              <a:gd name="connsiteX51786" fmla="*/ 2780304 w 8079933"/>
              <a:gd name="connsiteY51786" fmla="*/ 171500 h 4687251"/>
              <a:gd name="connsiteX51787" fmla="*/ 2775964 w 8079933"/>
              <a:gd name="connsiteY51787" fmla="*/ 172042 h 4687251"/>
              <a:gd name="connsiteX51788" fmla="*/ 2769779 w 8079933"/>
              <a:gd name="connsiteY51788" fmla="*/ 179404 h 4687251"/>
              <a:gd name="connsiteX51789" fmla="*/ 2772383 w 8079933"/>
              <a:gd name="connsiteY51789" fmla="*/ 179620 h 4687251"/>
              <a:gd name="connsiteX51790" fmla="*/ 2773251 w 8079933"/>
              <a:gd name="connsiteY51790" fmla="*/ 181786 h 4687251"/>
              <a:gd name="connsiteX51791" fmla="*/ 2764678 w 8079933"/>
              <a:gd name="connsiteY51791" fmla="*/ 188391 h 4687251"/>
              <a:gd name="connsiteX51792" fmla="*/ 2759686 w 8079933"/>
              <a:gd name="connsiteY51792" fmla="*/ 189257 h 4687251"/>
              <a:gd name="connsiteX51793" fmla="*/ 2742541 w 8079933"/>
              <a:gd name="connsiteY51793" fmla="*/ 196077 h 4687251"/>
              <a:gd name="connsiteX51794" fmla="*/ 2737440 w 8079933"/>
              <a:gd name="connsiteY51794" fmla="*/ 197160 h 4687251"/>
              <a:gd name="connsiteX51795" fmla="*/ 2732883 w 8079933"/>
              <a:gd name="connsiteY51795" fmla="*/ 196294 h 4687251"/>
              <a:gd name="connsiteX51796" fmla="*/ 2718993 w 8079933"/>
              <a:gd name="connsiteY51796" fmla="*/ 196619 h 4687251"/>
              <a:gd name="connsiteX51797" fmla="*/ 2712807 w 8079933"/>
              <a:gd name="connsiteY51797" fmla="*/ 190448 h 4687251"/>
              <a:gd name="connsiteX51798" fmla="*/ 2706079 w 8079933"/>
              <a:gd name="connsiteY51798" fmla="*/ 191206 h 4687251"/>
              <a:gd name="connsiteX51799" fmla="*/ 2702281 w 8079933"/>
              <a:gd name="connsiteY51799" fmla="*/ 190557 h 4687251"/>
              <a:gd name="connsiteX51800" fmla="*/ 2701738 w 8079933"/>
              <a:gd name="connsiteY51800" fmla="*/ 186659 h 4687251"/>
              <a:gd name="connsiteX51801" fmla="*/ 2708141 w 8079933"/>
              <a:gd name="connsiteY51801" fmla="*/ 180812 h 4687251"/>
              <a:gd name="connsiteX51802" fmla="*/ 2714327 w 8079933"/>
              <a:gd name="connsiteY51802" fmla="*/ 180595 h 4687251"/>
              <a:gd name="connsiteX51803" fmla="*/ 2718450 w 8079933"/>
              <a:gd name="connsiteY51803" fmla="*/ 178863 h 4687251"/>
              <a:gd name="connsiteX51804" fmla="*/ 2727131 w 8079933"/>
              <a:gd name="connsiteY51804" fmla="*/ 177888 h 4687251"/>
              <a:gd name="connsiteX51805" fmla="*/ 2731255 w 8079933"/>
              <a:gd name="connsiteY51805" fmla="*/ 173774 h 4687251"/>
              <a:gd name="connsiteX51806" fmla="*/ 2727782 w 8079933"/>
              <a:gd name="connsiteY51806" fmla="*/ 173449 h 4687251"/>
              <a:gd name="connsiteX51807" fmla="*/ 2721923 w 8079933"/>
              <a:gd name="connsiteY51807" fmla="*/ 175614 h 4687251"/>
              <a:gd name="connsiteX51808" fmla="*/ 2716605 w 8079933"/>
              <a:gd name="connsiteY51808" fmla="*/ 174965 h 4687251"/>
              <a:gd name="connsiteX51809" fmla="*/ 2710202 w 8079933"/>
              <a:gd name="connsiteY51809" fmla="*/ 177455 h 4687251"/>
              <a:gd name="connsiteX51810" fmla="*/ 2705754 w 8079933"/>
              <a:gd name="connsiteY51810" fmla="*/ 176264 h 4687251"/>
              <a:gd name="connsiteX51811" fmla="*/ 2705754 w 8079933"/>
              <a:gd name="connsiteY51811" fmla="*/ 172367 h 4687251"/>
              <a:gd name="connsiteX51812" fmla="*/ 2711397 w 8079933"/>
              <a:gd name="connsiteY51812" fmla="*/ 169443 h 4687251"/>
              <a:gd name="connsiteX51813" fmla="*/ 2707272 w 8079933"/>
              <a:gd name="connsiteY51813" fmla="*/ 168902 h 4687251"/>
              <a:gd name="connsiteX51814" fmla="*/ 2699676 w 8079933"/>
              <a:gd name="connsiteY51814" fmla="*/ 170959 h 4687251"/>
              <a:gd name="connsiteX51815" fmla="*/ 2699025 w 8079933"/>
              <a:gd name="connsiteY51815" fmla="*/ 177888 h 4687251"/>
              <a:gd name="connsiteX51816" fmla="*/ 2692080 w 8079933"/>
              <a:gd name="connsiteY51816" fmla="*/ 184709 h 4687251"/>
              <a:gd name="connsiteX51817" fmla="*/ 2684701 w 8079933"/>
              <a:gd name="connsiteY51817" fmla="*/ 185034 h 4687251"/>
              <a:gd name="connsiteX51818" fmla="*/ 2674392 w 8079933"/>
              <a:gd name="connsiteY51818" fmla="*/ 181786 h 4687251"/>
              <a:gd name="connsiteX51819" fmla="*/ 2665168 w 8079933"/>
              <a:gd name="connsiteY51819" fmla="*/ 181461 h 4687251"/>
              <a:gd name="connsiteX51820" fmla="*/ 2661045 w 8079933"/>
              <a:gd name="connsiteY51820" fmla="*/ 176806 h 4687251"/>
              <a:gd name="connsiteX51821" fmla="*/ 2661153 w 8079933"/>
              <a:gd name="connsiteY51821" fmla="*/ 173991 h 4687251"/>
              <a:gd name="connsiteX51822" fmla="*/ 2655510 w 8079933"/>
              <a:gd name="connsiteY51822" fmla="*/ 173666 h 4687251"/>
              <a:gd name="connsiteX51823" fmla="*/ 2650410 w 8079933"/>
              <a:gd name="connsiteY51823" fmla="*/ 169551 h 4687251"/>
              <a:gd name="connsiteX51824" fmla="*/ 2650844 w 8079933"/>
              <a:gd name="connsiteY51824" fmla="*/ 166953 h 4687251"/>
              <a:gd name="connsiteX51825" fmla="*/ 2654859 w 8079933"/>
              <a:gd name="connsiteY51825" fmla="*/ 163705 h 4687251"/>
              <a:gd name="connsiteX51826" fmla="*/ 2658115 w 8079933"/>
              <a:gd name="connsiteY51826" fmla="*/ 157967 h 4687251"/>
              <a:gd name="connsiteX51827" fmla="*/ 2665277 w 8079933"/>
              <a:gd name="connsiteY51827" fmla="*/ 153853 h 4687251"/>
              <a:gd name="connsiteX51828" fmla="*/ 2669617 w 8079933"/>
              <a:gd name="connsiteY51828" fmla="*/ 148439 h 4687251"/>
              <a:gd name="connsiteX51829" fmla="*/ 2676237 w 8079933"/>
              <a:gd name="connsiteY51829" fmla="*/ 144758 h 4687251"/>
              <a:gd name="connsiteX51830" fmla="*/ 2678950 w 8079933"/>
              <a:gd name="connsiteY51830" fmla="*/ 141618 h 4687251"/>
              <a:gd name="connsiteX51831" fmla="*/ 2683833 w 8079933"/>
              <a:gd name="connsiteY51831" fmla="*/ 142917 h 4687251"/>
              <a:gd name="connsiteX51832" fmla="*/ 2693491 w 8079933"/>
              <a:gd name="connsiteY51832" fmla="*/ 143675 h 4687251"/>
              <a:gd name="connsiteX51833" fmla="*/ 2696421 w 8079933"/>
              <a:gd name="connsiteY51833" fmla="*/ 142051 h 4687251"/>
              <a:gd name="connsiteX51834" fmla="*/ 2701088 w 8079933"/>
              <a:gd name="connsiteY51834" fmla="*/ 142376 h 4687251"/>
              <a:gd name="connsiteX51835" fmla="*/ 2709877 w 8079933"/>
              <a:gd name="connsiteY51835" fmla="*/ 147464 h 4687251"/>
              <a:gd name="connsiteX51836" fmla="*/ 2718016 w 8079933"/>
              <a:gd name="connsiteY51836" fmla="*/ 147681 h 4687251"/>
              <a:gd name="connsiteX51837" fmla="*/ 2722248 w 8079933"/>
              <a:gd name="connsiteY51837" fmla="*/ 149088 h 4687251"/>
              <a:gd name="connsiteX51838" fmla="*/ 2729953 w 8079933"/>
              <a:gd name="connsiteY51838" fmla="*/ 148114 h 4687251"/>
              <a:gd name="connsiteX51839" fmla="*/ 2731038 w 8079933"/>
              <a:gd name="connsiteY51839" fmla="*/ 146706 h 4687251"/>
              <a:gd name="connsiteX51840" fmla="*/ 2727566 w 8079933"/>
              <a:gd name="connsiteY51840" fmla="*/ 144433 h 4687251"/>
              <a:gd name="connsiteX51841" fmla="*/ 2718341 w 8079933"/>
              <a:gd name="connsiteY51841" fmla="*/ 145082 h 4687251"/>
              <a:gd name="connsiteX51842" fmla="*/ 2708358 w 8079933"/>
              <a:gd name="connsiteY51842" fmla="*/ 143133 h 4687251"/>
              <a:gd name="connsiteX51843" fmla="*/ 2702281 w 8079933"/>
              <a:gd name="connsiteY51843" fmla="*/ 139561 h 4687251"/>
              <a:gd name="connsiteX51844" fmla="*/ 2695987 w 8079933"/>
              <a:gd name="connsiteY51844" fmla="*/ 139344 h 4687251"/>
              <a:gd name="connsiteX51845" fmla="*/ 2686872 w 8079933"/>
              <a:gd name="connsiteY51845" fmla="*/ 140319 h 4687251"/>
              <a:gd name="connsiteX51846" fmla="*/ 2676671 w 8079933"/>
              <a:gd name="connsiteY51846" fmla="*/ 138153 h 4687251"/>
              <a:gd name="connsiteX51847" fmla="*/ 2673958 w 8079933"/>
              <a:gd name="connsiteY51847" fmla="*/ 137937 h 4687251"/>
              <a:gd name="connsiteX51848" fmla="*/ 2671571 w 8079933"/>
              <a:gd name="connsiteY51848" fmla="*/ 141076 h 4687251"/>
              <a:gd name="connsiteX51849" fmla="*/ 2666579 w 8079933"/>
              <a:gd name="connsiteY51849" fmla="*/ 146382 h 4687251"/>
              <a:gd name="connsiteX51850" fmla="*/ 2658440 w 8079933"/>
              <a:gd name="connsiteY51850" fmla="*/ 151470 h 4687251"/>
              <a:gd name="connsiteX51851" fmla="*/ 2649542 w 8079933"/>
              <a:gd name="connsiteY51851" fmla="*/ 155584 h 4687251"/>
              <a:gd name="connsiteX51852" fmla="*/ 2644008 w 8079933"/>
              <a:gd name="connsiteY51852" fmla="*/ 162947 h 4687251"/>
              <a:gd name="connsiteX51853" fmla="*/ 2642163 w 8079933"/>
              <a:gd name="connsiteY51853" fmla="*/ 163813 h 4687251"/>
              <a:gd name="connsiteX51854" fmla="*/ 2638148 w 8079933"/>
              <a:gd name="connsiteY51854" fmla="*/ 162081 h 4687251"/>
              <a:gd name="connsiteX51855" fmla="*/ 2631854 w 8079933"/>
              <a:gd name="connsiteY51855" fmla="*/ 153636 h 4687251"/>
              <a:gd name="connsiteX51856" fmla="*/ 2628816 w 8079933"/>
              <a:gd name="connsiteY51856" fmla="*/ 152878 h 4687251"/>
              <a:gd name="connsiteX51857" fmla="*/ 2626103 w 8079933"/>
              <a:gd name="connsiteY51857" fmla="*/ 150280 h 4687251"/>
              <a:gd name="connsiteX51858" fmla="*/ 2624258 w 8079933"/>
              <a:gd name="connsiteY51858" fmla="*/ 144324 h 4687251"/>
              <a:gd name="connsiteX51859" fmla="*/ 2624041 w 8079933"/>
              <a:gd name="connsiteY51859" fmla="*/ 137504 h 4687251"/>
              <a:gd name="connsiteX51860" fmla="*/ 2621653 w 8079933"/>
              <a:gd name="connsiteY51860" fmla="*/ 134797 h 4687251"/>
              <a:gd name="connsiteX51861" fmla="*/ 2621111 w 8079933"/>
              <a:gd name="connsiteY51861" fmla="*/ 128517 h 4687251"/>
              <a:gd name="connsiteX51862" fmla="*/ 2623064 w 8079933"/>
              <a:gd name="connsiteY51862" fmla="*/ 126568 h 4687251"/>
              <a:gd name="connsiteX51863" fmla="*/ 2627621 w 8079933"/>
              <a:gd name="connsiteY51863" fmla="*/ 127651 h 4687251"/>
              <a:gd name="connsiteX51864" fmla="*/ 2632505 w 8079933"/>
              <a:gd name="connsiteY51864" fmla="*/ 126568 h 4687251"/>
              <a:gd name="connsiteX51865" fmla="*/ 2635435 w 8079933"/>
              <a:gd name="connsiteY51865" fmla="*/ 128625 h 4687251"/>
              <a:gd name="connsiteX51866" fmla="*/ 2649542 w 8079933"/>
              <a:gd name="connsiteY51866" fmla="*/ 128409 h 4687251"/>
              <a:gd name="connsiteX51867" fmla="*/ 2656704 w 8079933"/>
              <a:gd name="connsiteY51867" fmla="*/ 133281 h 4687251"/>
              <a:gd name="connsiteX51868" fmla="*/ 2660936 w 8079933"/>
              <a:gd name="connsiteY51868" fmla="*/ 133389 h 4687251"/>
              <a:gd name="connsiteX51869" fmla="*/ 2663432 w 8079933"/>
              <a:gd name="connsiteY51869" fmla="*/ 135013 h 4687251"/>
              <a:gd name="connsiteX51870" fmla="*/ 2667772 w 8079933"/>
              <a:gd name="connsiteY51870" fmla="*/ 135339 h 4687251"/>
              <a:gd name="connsiteX51871" fmla="*/ 2673524 w 8079933"/>
              <a:gd name="connsiteY51871" fmla="*/ 132415 h 4687251"/>
              <a:gd name="connsiteX51872" fmla="*/ 2679384 w 8079933"/>
              <a:gd name="connsiteY51872" fmla="*/ 134255 h 4687251"/>
              <a:gd name="connsiteX51873" fmla="*/ 2680795 w 8079933"/>
              <a:gd name="connsiteY51873" fmla="*/ 132848 h 4687251"/>
              <a:gd name="connsiteX51874" fmla="*/ 2685461 w 8079933"/>
              <a:gd name="connsiteY51874" fmla="*/ 131657 h 4687251"/>
              <a:gd name="connsiteX51875" fmla="*/ 2688174 w 8079933"/>
              <a:gd name="connsiteY51875" fmla="*/ 129708 h 4687251"/>
              <a:gd name="connsiteX51876" fmla="*/ 2697832 w 8079933"/>
              <a:gd name="connsiteY51876" fmla="*/ 127543 h 4687251"/>
              <a:gd name="connsiteX51877" fmla="*/ 2706730 w 8079933"/>
              <a:gd name="connsiteY51877" fmla="*/ 126027 h 4687251"/>
              <a:gd name="connsiteX51878" fmla="*/ 2707924 w 8079933"/>
              <a:gd name="connsiteY51878" fmla="*/ 123320 h 4687251"/>
              <a:gd name="connsiteX51879" fmla="*/ 2707599 w 8079933"/>
              <a:gd name="connsiteY51879" fmla="*/ 120397 h 4687251"/>
              <a:gd name="connsiteX51880" fmla="*/ 2704777 w 8079933"/>
              <a:gd name="connsiteY51880" fmla="*/ 121372 h 4687251"/>
              <a:gd name="connsiteX51881" fmla="*/ 2702173 w 8079933"/>
              <a:gd name="connsiteY51881" fmla="*/ 122129 h 4687251"/>
              <a:gd name="connsiteX51882" fmla="*/ 2698917 w 8079933"/>
              <a:gd name="connsiteY51882" fmla="*/ 124078 h 4687251"/>
              <a:gd name="connsiteX51883" fmla="*/ 2692949 w 8079933"/>
              <a:gd name="connsiteY51883" fmla="*/ 125486 h 4687251"/>
              <a:gd name="connsiteX51884" fmla="*/ 2683291 w 8079933"/>
              <a:gd name="connsiteY51884" fmla="*/ 124836 h 4687251"/>
              <a:gd name="connsiteX51885" fmla="*/ 2676020 w 8079933"/>
              <a:gd name="connsiteY51885" fmla="*/ 129275 h 4687251"/>
              <a:gd name="connsiteX51886" fmla="*/ 2672656 w 8079933"/>
              <a:gd name="connsiteY51886" fmla="*/ 129925 h 4687251"/>
              <a:gd name="connsiteX51887" fmla="*/ 2666145 w 8079933"/>
              <a:gd name="connsiteY51887" fmla="*/ 128842 h 4687251"/>
              <a:gd name="connsiteX51888" fmla="*/ 2663758 w 8079933"/>
              <a:gd name="connsiteY51888" fmla="*/ 130033 h 4687251"/>
              <a:gd name="connsiteX51889" fmla="*/ 2659634 w 8079933"/>
              <a:gd name="connsiteY51889" fmla="*/ 129925 h 4687251"/>
              <a:gd name="connsiteX51890" fmla="*/ 2654208 w 8079933"/>
              <a:gd name="connsiteY51890" fmla="*/ 125052 h 4687251"/>
              <a:gd name="connsiteX51891" fmla="*/ 2650844 w 8079933"/>
              <a:gd name="connsiteY51891" fmla="*/ 124944 h 4687251"/>
              <a:gd name="connsiteX51892" fmla="*/ 2648674 w 8079933"/>
              <a:gd name="connsiteY51892" fmla="*/ 123537 h 4687251"/>
              <a:gd name="connsiteX51893" fmla="*/ 2643140 w 8079933"/>
              <a:gd name="connsiteY51893" fmla="*/ 123754 h 4687251"/>
              <a:gd name="connsiteX51894" fmla="*/ 2635543 w 8079933"/>
              <a:gd name="connsiteY51894" fmla="*/ 119639 h 4687251"/>
              <a:gd name="connsiteX51895" fmla="*/ 2630117 w 8079933"/>
              <a:gd name="connsiteY51895" fmla="*/ 122021 h 4687251"/>
              <a:gd name="connsiteX51896" fmla="*/ 2625234 w 8079933"/>
              <a:gd name="connsiteY51896" fmla="*/ 119422 h 4687251"/>
              <a:gd name="connsiteX51897" fmla="*/ 2623823 w 8079933"/>
              <a:gd name="connsiteY51897" fmla="*/ 116066 h 4687251"/>
              <a:gd name="connsiteX51898" fmla="*/ 2626103 w 8079933"/>
              <a:gd name="connsiteY51898" fmla="*/ 113792 h 4687251"/>
              <a:gd name="connsiteX51899" fmla="*/ 2625994 w 8079933"/>
              <a:gd name="connsiteY51899" fmla="*/ 107837 h 4687251"/>
              <a:gd name="connsiteX51900" fmla="*/ 2629466 w 8079933"/>
              <a:gd name="connsiteY51900" fmla="*/ 105347 h 4687251"/>
              <a:gd name="connsiteX51901" fmla="*/ 2632071 w 8079933"/>
              <a:gd name="connsiteY51901" fmla="*/ 105455 h 4687251"/>
              <a:gd name="connsiteX51902" fmla="*/ 2635327 w 8079933"/>
              <a:gd name="connsiteY51902" fmla="*/ 109353 h 4687251"/>
              <a:gd name="connsiteX51903" fmla="*/ 2642488 w 8079933"/>
              <a:gd name="connsiteY51903" fmla="*/ 108921 h 4687251"/>
              <a:gd name="connsiteX51904" fmla="*/ 2645418 w 8079933"/>
              <a:gd name="connsiteY51904" fmla="*/ 107621 h 4687251"/>
              <a:gd name="connsiteX51905" fmla="*/ 2641295 w 8079933"/>
              <a:gd name="connsiteY51905" fmla="*/ 104481 h 4687251"/>
              <a:gd name="connsiteX51906" fmla="*/ 2637280 w 8079933"/>
              <a:gd name="connsiteY51906" fmla="*/ 104264 h 4687251"/>
              <a:gd name="connsiteX51907" fmla="*/ 2633915 w 8079933"/>
              <a:gd name="connsiteY51907" fmla="*/ 100150 h 4687251"/>
              <a:gd name="connsiteX51908" fmla="*/ 2635327 w 8079933"/>
              <a:gd name="connsiteY51908" fmla="*/ 97985 h 4687251"/>
              <a:gd name="connsiteX51909" fmla="*/ 2641946 w 8079933"/>
              <a:gd name="connsiteY51909" fmla="*/ 98093 h 4687251"/>
              <a:gd name="connsiteX51910" fmla="*/ 2648131 w 8079933"/>
              <a:gd name="connsiteY51910" fmla="*/ 92896 h 4687251"/>
              <a:gd name="connsiteX51911" fmla="*/ 2656270 w 8079933"/>
              <a:gd name="connsiteY51911" fmla="*/ 93004 h 4687251"/>
              <a:gd name="connsiteX51912" fmla="*/ 2659634 w 8079933"/>
              <a:gd name="connsiteY51912" fmla="*/ 90081 h 4687251"/>
              <a:gd name="connsiteX51913" fmla="*/ 2664300 w 8079933"/>
              <a:gd name="connsiteY51913" fmla="*/ 89864 h 4687251"/>
              <a:gd name="connsiteX51914" fmla="*/ 2667230 w 8079933"/>
              <a:gd name="connsiteY51914" fmla="*/ 91488 h 4687251"/>
              <a:gd name="connsiteX51915" fmla="*/ 2671245 w 8079933"/>
              <a:gd name="connsiteY51915" fmla="*/ 90623 h 4687251"/>
              <a:gd name="connsiteX51916" fmla="*/ 2671354 w 8079933"/>
              <a:gd name="connsiteY51916" fmla="*/ 87807 h 4687251"/>
              <a:gd name="connsiteX51917" fmla="*/ 2668858 w 8079933"/>
              <a:gd name="connsiteY51917" fmla="*/ 85750 h 4687251"/>
              <a:gd name="connsiteX51918" fmla="*/ 2658766 w 8079933"/>
              <a:gd name="connsiteY51918" fmla="*/ 87266 h 4687251"/>
              <a:gd name="connsiteX51919" fmla="*/ 2650519 w 8079933"/>
              <a:gd name="connsiteY51919" fmla="*/ 88024 h 4687251"/>
              <a:gd name="connsiteX51920" fmla="*/ 2644116 w 8079933"/>
              <a:gd name="connsiteY51920" fmla="*/ 90514 h 4687251"/>
              <a:gd name="connsiteX51921" fmla="*/ 2639667 w 8079933"/>
              <a:gd name="connsiteY51921" fmla="*/ 91164 h 4687251"/>
              <a:gd name="connsiteX51922" fmla="*/ 2636737 w 8079933"/>
              <a:gd name="connsiteY51922" fmla="*/ 94304 h 4687251"/>
              <a:gd name="connsiteX51923" fmla="*/ 2632722 w 8079933"/>
              <a:gd name="connsiteY51923" fmla="*/ 94195 h 4687251"/>
              <a:gd name="connsiteX51924" fmla="*/ 2632830 w 8079933"/>
              <a:gd name="connsiteY51924" fmla="*/ 90731 h 4687251"/>
              <a:gd name="connsiteX51925" fmla="*/ 2631637 w 8079933"/>
              <a:gd name="connsiteY51925" fmla="*/ 86075 h 4687251"/>
              <a:gd name="connsiteX51926" fmla="*/ 2637280 w 8079933"/>
              <a:gd name="connsiteY51926" fmla="*/ 83801 h 4687251"/>
              <a:gd name="connsiteX51927" fmla="*/ 2644224 w 8079933"/>
              <a:gd name="connsiteY51927" fmla="*/ 78388 h 4687251"/>
              <a:gd name="connsiteX51928" fmla="*/ 2651604 w 8079933"/>
              <a:gd name="connsiteY51928" fmla="*/ 77846 h 4687251"/>
              <a:gd name="connsiteX51929" fmla="*/ 2655402 w 8079933"/>
              <a:gd name="connsiteY51929" fmla="*/ 75897 h 4687251"/>
              <a:gd name="connsiteX51930" fmla="*/ 2650302 w 8079933"/>
              <a:gd name="connsiteY51930" fmla="*/ 75681 h 4687251"/>
              <a:gd name="connsiteX51931" fmla="*/ 2648131 w 8079933"/>
              <a:gd name="connsiteY51931" fmla="*/ 73407 h 4687251"/>
              <a:gd name="connsiteX51932" fmla="*/ 2648891 w 8079933"/>
              <a:gd name="connsiteY51932" fmla="*/ 66803 h 4687251"/>
              <a:gd name="connsiteX51933" fmla="*/ 2646721 w 8079933"/>
              <a:gd name="connsiteY51933" fmla="*/ 67777 h 4687251"/>
              <a:gd name="connsiteX51934" fmla="*/ 2645744 w 8079933"/>
              <a:gd name="connsiteY51934" fmla="*/ 72433 h 4687251"/>
              <a:gd name="connsiteX51935" fmla="*/ 2643248 w 8079933"/>
              <a:gd name="connsiteY51935" fmla="*/ 73949 h 4687251"/>
              <a:gd name="connsiteX51936" fmla="*/ 2641837 w 8079933"/>
              <a:gd name="connsiteY51936" fmla="*/ 69402 h 4687251"/>
              <a:gd name="connsiteX51937" fmla="*/ 2639125 w 8079933"/>
              <a:gd name="connsiteY51937" fmla="*/ 69834 h 4687251"/>
              <a:gd name="connsiteX51938" fmla="*/ 2636954 w 8079933"/>
              <a:gd name="connsiteY51938" fmla="*/ 72217 h 4687251"/>
              <a:gd name="connsiteX51939" fmla="*/ 2632071 w 8079933"/>
              <a:gd name="connsiteY51939" fmla="*/ 72758 h 4687251"/>
              <a:gd name="connsiteX51940" fmla="*/ 2631962 w 8079933"/>
              <a:gd name="connsiteY51940" fmla="*/ 76764 h 4687251"/>
              <a:gd name="connsiteX51941" fmla="*/ 2630226 w 8079933"/>
              <a:gd name="connsiteY51941" fmla="*/ 79687 h 4687251"/>
              <a:gd name="connsiteX51942" fmla="*/ 2624041 w 8079933"/>
              <a:gd name="connsiteY51942" fmla="*/ 81419 h 4687251"/>
              <a:gd name="connsiteX51943" fmla="*/ 2623498 w 8079933"/>
              <a:gd name="connsiteY51943" fmla="*/ 76981 h 4687251"/>
              <a:gd name="connsiteX51944" fmla="*/ 2624041 w 8079933"/>
              <a:gd name="connsiteY51944" fmla="*/ 72000 h 4687251"/>
              <a:gd name="connsiteX51945" fmla="*/ 2622087 w 8079933"/>
              <a:gd name="connsiteY51945" fmla="*/ 71458 h 4687251"/>
              <a:gd name="connsiteX51946" fmla="*/ 2621002 w 8079933"/>
              <a:gd name="connsiteY51946" fmla="*/ 67236 h 4687251"/>
              <a:gd name="connsiteX51947" fmla="*/ 2622413 w 8079933"/>
              <a:gd name="connsiteY51947" fmla="*/ 65828 h 4687251"/>
              <a:gd name="connsiteX51948" fmla="*/ 2625886 w 8079933"/>
              <a:gd name="connsiteY51948" fmla="*/ 67561 h 4687251"/>
              <a:gd name="connsiteX51949" fmla="*/ 2626536 w 8079933"/>
              <a:gd name="connsiteY51949" fmla="*/ 62039 h 4687251"/>
              <a:gd name="connsiteX51950" fmla="*/ 2630443 w 8079933"/>
              <a:gd name="connsiteY51950" fmla="*/ 60199 h 4687251"/>
              <a:gd name="connsiteX51951" fmla="*/ 2635977 w 8079933"/>
              <a:gd name="connsiteY51951" fmla="*/ 60415 h 4687251"/>
              <a:gd name="connsiteX51952" fmla="*/ 2638148 w 8079933"/>
              <a:gd name="connsiteY51952" fmla="*/ 55976 h 4687251"/>
              <a:gd name="connsiteX51953" fmla="*/ 2644008 w 8079933"/>
              <a:gd name="connsiteY51953" fmla="*/ 53161 h 4687251"/>
              <a:gd name="connsiteX51954" fmla="*/ 2647806 w 8079933"/>
              <a:gd name="connsiteY51954" fmla="*/ 53810 h 4687251"/>
              <a:gd name="connsiteX51955" fmla="*/ 2654968 w 8079933"/>
              <a:gd name="connsiteY51955" fmla="*/ 50021 h 4687251"/>
              <a:gd name="connsiteX51956" fmla="*/ 2664843 w 8079933"/>
              <a:gd name="connsiteY51956" fmla="*/ 49371 h 4687251"/>
              <a:gd name="connsiteX51957" fmla="*/ 2667230 w 8079933"/>
              <a:gd name="connsiteY51957" fmla="*/ 47422 h 4687251"/>
              <a:gd name="connsiteX51958" fmla="*/ 2670920 w 8079933"/>
              <a:gd name="connsiteY51958" fmla="*/ 48830 h 4687251"/>
              <a:gd name="connsiteX51959" fmla="*/ 2671462 w 8079933"/>
              <a:gd name="connsiteY51959" fmla="*/ 52187 h 4687251"/>
              <a:gd name="connsiteX51960" fmla="*/ 2669726 w 8079933"/>
              <a:gd name="connsiteY51960" fmla="*/ 54677 h 4687251"/>
              <a:gd name="connsiteX51961" fmla="*/ 2669401 w 8079933"/>
              <a:gd name="connsiteY51961" fmla="*/ 65828 h 4687251"/>
              <a:gd name="connsiteX51962" fmla="*/ 2672765 w 8079933"/>
              <a:gd name="connsiteY51962" fmla="*/ 64746 h 4687251"/>
              <a:gd name="connsiteX51963" fmla="*/ 2675043 w 8079933"/>
              <a:gd name="connsiteY51963" fmla="*/ 57708 h 4687251"/>
              <a:gd name="connsiteX51964" fmla="*/ 2678190 w 8079933"/>
              <a:gd name="connsiteY51964" fmla="*/ 54893 h 4687251"/>
              <a:gd name="connsiteX51965" fmla="*/ 2679710 w 8079933"/>
              <a:gd name="connsiteY51965" fmla="*/ 57167 h 4687251"/>
              <a:gd name="connsiteX51966" fmla="*/ 2678190 w 8079933"/>
              <a:gd name="connsiteY51966" fmla="*/ 59116 h 4687251"/>
              <a:gd name="connsiteX51967" fmla="*/ 2678733 w 8079933"/>
              <a:gd name="connsiteY51967" fmla="*/ 62580 h 4687251"/>
              <a:gd name="connsiteX51968" fmla="*/ 2681554 w 8079933"/>
              <a:gd name="connsiteY51968" fmla="*/ 60740 h 4687251"/>
              <a:gd name="connsiteX51969" fmla="*/ 2681554 w 8079933"/>
              <a:gd name="connsiteY51969" fmla="*/ 56950 h 4687251"/>
              <a:gd name="connsiteX51970" fmla="*/ 2682965 w 8079933"/>
              <a:gd name="connsiteY51970" fmla="*/ 54677 h 4687251"/>
              <a:gd name="connsiteX51971" fmla="*/ 2682314 w 8079933"/>
              <a:gd name="connsiteY51971" fmla="*/ 51320 h 4687251"/>
              <a:gd name="connsiteX51972" fmla="*/ 2683291 w 8079933"/>
              <a:gd name="connsiteY51972" fmla="*/ 45690 h 4687251"/>
              <a:gd name="connsiteX51973" fmla="*/ 2686221 w 8079933"/>
              <a:gd name="connsiteY51973" fmla="*/ 45149 h 4687251"/>
              <a:gd name="connsiteX51974" fmla="*/ 2692297 w 8079933"/>
              <a:gd name="connsiteY51974" fmla="*/ 39736 h 4687251"/>
              <a:gd name="connsiteX51975" fmla="*/ 2694685 w 8079933"/>
              <a:gd name="connsiteY51975" fmla="*/ 40277 h 4687251"/>
              <a:gd name="connsiteX51976" fmla="*/ 2695227 w 8079933"/>
              <a:gd name="connsiteY51976" fmla="*/ 44391 h 4687251"/>
              <a:gd name="connsiteX51977" fmla="*/ 2695227 w 8079933"/>
              <a:gd name="connsiteY51977" fmla="*/ 50129 h 4687251"/>
              <a:gd name="connsiteX51978" fmla="*/ 2699460 w 8079933"/>
              <a:gd name="connsiteY51978" fmla="*/ 52511 h 4687251"/>
              <a:gd name="connsiteX51979" fmla="*/ 2700436 w 8079933"/>
              <a:gd name="connsiteY51979" fmla="*/ 58575 h 4687251"/>
              <a:gd name="connsiteX51980" fmla="*/ 2699243 w 8079933"/>
              <a:gd name="connsiteY51980" fmla="*/ 62148 h 4687251"/>
              <a:gd name="connsiteX51981" fmla="*/ 2700870 w 8079933"/>
              <a:gd name="connsiteY51981" fmla="*/ 65720 h 4687251"/>
              <a:gd name="connsiteX51982" fmla="*/ 2700219 w 8079933"/>
              <a:gd name="connsiteY51982" fmla="*/ 69402 h 4687251"/>
              <a:gd name="connsiteX51983" fmla="*/ 2703475 w 8079933"/>
              <a:gd name="connsiteY51983" fmla="*/ 71892 h 4687251"/>
              <a:gd name="connsiteX51984" fmla="*/ 2705428 w 8079933"/>
              <a:gd name="connsiteY51984" fmla="*/ 70268 h 4687251"/>
              <a:gd name="connsiteX51985" fmla="*/ 2703475 w 8079933"/>
              <a:gd name="connsiteY51985" fmla="*/ 66912 h 4687251"/>
              <a:gd name="connsiteX51986" fmla="*/ 2703149 w 8079933"/>
              <a:gd name="connsiteY51986" fmla="*/ 61389 h 4687251"/>
              <a:gd name="connsiteX51987" fmla="*/ 2706079 w 8079933"/>
              <a:gd name="connsiteY51987" fmla="*/ 59982 h 4687251"/>
              <a:gd name="connsiteX51988" fmla="*/ 2710962 w 8079933"/>
              <a:gd name="connsiteY51988" fmla="*/ 52295 h 4687251"/>
              <a:gd name="connsiteX51989" fmla="*/ 2713567 w 8079933"/>
              <a:gd name="connsiteY51989" fmla="*/ 52295 h 4687251"/>
              <a:gd name="connsiteX51990" fmla="*/ 2717690 w 8079933"/>
              <a:gd name="connsiteY51990" fmla="*/ 58683 h 4687251"/>
              <a:gd name="connsiteX51991" fmla="*/ 2717908 w 8079933"/>
              <a:gd name="connsiteY51991" fmla="*/ 64638 h 4687251"/>
              <a:gd name="connsiteX51992" fmla="*/ 2716605 w 8079933"/>
              <a:gd name="connsiteY51992" fmla="*/ 69402 h 4687251"/>
              <a:gd name="connsiteX51993" fmla="*/ 2719101 w 8079933"/>
              <a:gd name="connsiteY51993" fmla="*/ 71892 h 4687251"/>
              <a:gd name="connsiteX51994" fmla="*/ 2720186 w 8079933"/>
              <a:gd name="connsiteY51994" fmla="*/ 75248 h 4687251"/>
              <a:gd name="connsiteX51995" fmla="*/ 2722465 w 8079933"/>
              <a:gd name="connsiteY51995" fmla="*/ 72325 h 4687251"/>
              <a:gd name="connsiteX51996" fmla="*/ 2722140 w 8079933"/>
              <a:gd name="connsiteY51996" fmla="*/ 65936 h 4687251"/>
              <a:gd name="connsiteX51997" fmla="*/ 2725069 w 8079933"/>
              <a:gd name="connsiteY51997" fmla="*/ 65504 h 4687251"/>
              <a:gd name="connsiteX51998" fmla="*/ 2727782 w 8079933"/>
              <a:gd name="connsiteY51998" fmla="*/ 63446 h 4687251"/>
              <a:gd name="connsiteX51999" fmla="*/ 2728867 w 8079933"/>
              <a:gd name="connsiteY51999" fmla="*/ 66370 h 4687251"/>
              <a:gd name="connsiteX52000" fmla="*/ 2727349 w 8079933"/>
              <a:gd name="connsiteY52000" fmla="*/ 68102 h 4687251"/>
              <a:gd name="connsiteX52001" fmla="*/ 2727891 w 8079933"/>
              <a:gd name="connsiteY52001" fmla="*/ 72433 h 4687251"/>
              <a:gd name="connsiteX52002" fmla="*/ 2730061 w 8079933"/>
              <a:gd name="connsiteY52002" fmla="*/ 74923 h 4687251"/>
              <a:gd name="connsiteX52003" fmla="*/ 2733534 w 8079933"/>
              <a:gd name="connsiteY52003" fmla="*/ 70376 h 4687251"/>
              <a:gd name="connsiteX52004" fmla="*/ 2735704 w 8079933"/>
              <a:gd name="connsiteY52004" fmla="*/ 70268 h 4687251"/>
              <a:gd name="connsiteX52005" fmla="*/ 2735053 w 8079933"/>
              <a:gd name="connsiteY52005" fmla="*/ 75573 h 4687251"/>
              <a:gd name="connsiteX52006" fmla="*/ 2737549 w 8079933"/>
              <a:gd name="connsiteY52006" fmla="*/ 72758 h 4687251"/>
              <a:gd name="connsiteX52007" fmla="*/ 2737332 w 8079933"/>
              <a:gd name="connsiteY52007" fmla="*/ 67236 h 4687251"/>
              <a:gd name="connsiteX52008" fmla="*/ 2733317 w 8079933"/>
              <a:gd name="connsiteY52008" fmla="*/ 60523 h 4687251"/>
              <a:gd name="connsiteX52009" fmla="*/ 2731038 w 8079933"/>
              <a:gd name="connsiteY52009" fmla="*/ 60632 h 4687251"/>
              <a:gd name="connsiteX52010" fmla="*/ 2728759 w 8079933"/>
              <a:gd name="connsiteY52010" fmla="*/ 57059 h 4687251"/>
              <a:gd name="connsiteX52011" fmla="*/ 2728542 w 8079933"/>
              <a:gd name="connsiteY52011" fmla="*/ 52079 h 4687251"/>
              <a:gd name="connsiteX52012" fmla="*/ 2725612 w 8079933"/>
              <a:gd name="connsiteY52012" fmla="*/ 48613 h 4687251"/>
              <a:gd name="connsiteX52013" fmla="*/ 2723442 w 8079933"/>
              <a:gd name="connsiteY52013" fmla="*/ 44391 h 4687251"/>
              <a:gd name="connsiteX52014" fmla="*/ 2721054 w 8079933"/>
              <a:gd name="connsiteY52014" fmla="*/ 42009 h 4687251"/>
              <a:gd name="connsiteX52015" fmla="*/ 2722140 w 8079933"/>
              <a:gd name="connsiteY52015" fmla="*/ 36704 h 4687251"/>
              <a:gd name="connsiteX52016" fmla="*/ 2726806 w 8079933"/>
              <a:gd name="connsiteY52016" fmla="*/ 37028 h 4687251"/>
              <a:gd name="connsiteX52017" fmla="*/ 2730170 w 8079933"/>
              <a:gd name="connsiteY52017" fmla="*/ 40060 h 4687251"/>
              <a:gd name="connsiteX52018" fmla="*/ 2735270 w 8079933"/>
              <a:gd name="connsiteY52018" fmla="*/ 38436 h 4687251"/>
              <a:gd name="connsiteX52019" fmla="*/ 2739285 w 8079933"/>
              <a:gd name="connsiteY52019" fmla="*/ 39844 h 4687251"/>
              <a:gd name="connsiteX52020" fmla="*/ 2741130 w 8079933"/>
              <a:gd name="connsiteY52020" fmla="*/ 37461 h 4687251"/>
              <a:gd name="connsiteX52021" fmla="*/ 2741564 w 8079933"/>
              <a:gd name="connsiteY52021" fmla="*/ 28908 h 4687251"/>
              <a:gd name="connsiteX52022" fmla="*/ 2738092 w 8079933"/>
              <a:gd name="connsiteY52022" fmla="*/ 25335 h 4687251"/>
              <a:gd name="connsiteX52023" fmla="*/ 2739611 w 8079933"/>
              <a:gd name="connsiteY52023" fmla="*/ 21113 h 4687251"/>
              <a:gd name="connsiteX52024" fmla="*/ 2745471 w 8079933"/>
              <a:gd name="connsiteY52024" fmla="*/ 19597 h 4687251"/>
              <a:gd name="connsiteX52025" fmla="*/ 2747207 w 8079933"/>
              <a:gd name="connsiteY52025" fmla="*/ 20896 h 4687251"/>
              <a:gd name="connsiteX52026" fmla="*/ 2755780 w 8079933"/>
              <a:gd name="connsiteY52026" fmla="*/ 22087 h 4687251"/>
              <a:gd name="connsiteX52027" fmla="*/ 2759469 w 8079933"/>
              <a:gd name="connsiteY52027" fmla="*/ 24685 h 4687251"/>
              <a:gd name="connsiteX52028" fmla="*/ 2759035 w 8079933"/>
              <a:gd name="connsiteY52028" fmla="*/ 28150 h 4687251"/>
              <a:gd name="connsiteX52029" fmla="*/ 2755671 w 8079933"/>
              <a:gd name="connsiteY52029" fmla="*/ 31398 h 4687251"/>
              <a:gd name="connsiteX52030" fmla="*/ 2756756 w 8079933"/>
              <a:gd name="connsiteY52030" fmla="*/ 33997 h 4687251"/>
              <a:gd name="connsiteX52031" fmla="*/ 2765546 w 8079933"/>
              <a:gd name="connsiteY52031" fmla="*/ 37137 h 4687251"/>
              <a:gd name="connsiteX52032" fmla="*/ 2765763 w 8079933"/>
              <a:gd name="connsiteY52032" fmla="*/ 40060 h 4687251"/>
              <a:gd name="connsiteX52033" fmla="*/ 2764353 w 8079933"/>
              <a:gd name="connsiteY52033" fmla="*/ 46556 h 4687251"/>
              <a:gd name="connsiteX52034" fmla="*/ 2765221 w 8079933"/>
              <a:gd name="connsiteY52034" fmla="*/ 56842 h 4687251"/>
              <a:gd name="connsiteX52035" fmla="*/ 2769127 w 8079933"/>
              <a:gd name="connsiteY52035" fmla="*/ 55435 h 4687251"/>
              <a:gd name="connsiteX52036" fmla="*/ 2771840 w 8079933"/>
              <a:gd name="connsiteY52036" fmla="*/ 49804 h 4687251"/>
              <a:gd name="connsiteX52037" fmla="*/ 2773685 w 8079933"/>
              <a:gd name="connsiteY52037" fmla="*/ 49913 h 4687251"/>
              <a:gd name="connsiteX52038" fmla="*/ 2774010 w 8079933"/>
              <a:gd name="connsiteY52038" fmla="*/ 54135 h 4687251"/>
              <a:gd name="connsiteX52039" fmla="*/ 2775855 w 8079933"/>
              <a:gd name="connsiteY52039" fmla="*/ 56842 h 4687251"/>
              <a:gd name="connsiteX52040" fmla="*/ 2779653 w 8079933"/>
              <a:gd name="connsiteY52040" fmla="*/ 54677 h 4687251"/>
              <a:gd name="connsiteX52041" fmla="*/ 2781715 w 8079933"/>
              <a:gd name="connsiteY52041" fmla="*/ 51103 h 4687251"/>
              <a:gd name="connsiteX52042" fmla="*/ 2786707 w 8079933"/>
              <a:gd name="connsiteY52042" fmla="*/ 48830 h 4687251"/>
              <a:gd name="connsiteX52043" fmla="*/ 2788009 w 8079933"/>
              <a:gd name="connsiteY52043" fmla="*/ 46232 h 4687251"/>
              <a:gd name="connsiteX52044" fmla="*/ 2784971 w 8079933"/>
              <a:gd name="connsiteY52044" fmla="*/ 37353 h 4687251"/>
              <a:gd name="connsiteX52045" fmla="*/ 2787792 w 8079933"/>
              <a:gd name="connsiteY52045" fmla="*/ 33889 h 4687251"/>
              <a:gd name="connsiteX52046" fmla="*/ 2791265 w 8079933"/>
              <a:gd name="connsiteY52046" fmla="*/ 33781 h 4687251"/>
              <a:gd name="connsiteX52047" fmla="*/ 2793327 w 8079933"/>
              <a:gd name="connsiteY52047" fmla="*/ 35404 h 4687251"/>
              <a:gd name="connsiteX52048" fmla="*/ 2801357 w 8079933"/>
              <a:gd name="connsiteY52048" fmla="*/ 36271 h 4687251"/>
              <a:gd name="connsiteX52049" fmla="*/ 2801031 w 8079933"/>
              <a:gd name="connsiteY52049" fmla="*/ 32806 h 4687251"/>
              <a:gd name="connsiteX52050" fmla="*/ 2793435 w 8079933"/>
              <a:gd name="connsiteY52050" fmla="*/ 27392 h 4687251"/>
              <a:gd name="connsiteX52051" fmla="*/ 2792133 w 8079933"/>
              <a:gd name="connsiteY52051" fmla="*/ 21329 h 4687251"/>
              <a:gd name="connsiteX52052" fmla="*/ 2793652 w 8079933"/>
              <a:gd name="connsiteY52052" fmla="*/ 18947 h 4687251"/>
              <a:gd name="connsiteX52053" fmla="*/ 2794955 w 8079933"/>
              <a:gd name="connsiteY52053" fmla="*/ 14184 h 4687251"/>
              <a:gd name="connsiteX52054" fmla="*/ 2797993 w 8079933"/>
              <a:gd name="connsiteY52054" fmla="*/ 13859 h 4687251"/>
              <a:gd name="connsiteX52055" fmla="*/ 2806999 w 8079933"/>
              <a:gd name="connsiteY52055" fmla="*/ 18839 h 4687251"/>
              <a:gd name="connsiteX52056" fmla="*/ 2807976 w 8079933"/>
              <a:gd name="connsiteY52056" fmla="*/ 25877 h 4687251"/>
              <a:gd name="connsiteX52057" fmla="*/ 2809170 w 8079933"/>
              <a:gd name="connsiteY52057" fmla="*/ 30749 h 4687251"/>
              <a:gd name="connsiteX52058" fmla="*/ 2808627 w 8079933"/>
              <a:gd name="connsiteY52058" fmla="*/ 36596 h 4687251"/>
              <a:gd name="connsiteX52059" fmla="*/ 2810906 w 8079933"/>
              <a:gd name="connsiteY52059" fmla="*/ 40060 h 4687251"/>
              <a:gd name="connsiteX52060" fmla="*/ 2812208 w 8079933"/>
              <a:gd name="connsiteY52060" fmla="*/ 46340 h 4687251"/>
              <a:gd name="connsiteX52061" fmla="*/ 2814378 w 8079933"/>
              <a:gd name="connsiteY52061" fmla="*/ 50346 h 4687251"/>
              <a:gd name="connsiteX52062" fmla="*/ 2816441 w 8079933"/>
              <a:gd name="connsiteY52062" fmla="*/ 48505 h 4687251"/>
              <a:gd name="connsiteX52063" fmla="*/ 2816658 w 8079933"/>
              <a:gd name="connsiteY52063" fmla="*/ 42983 h 4687251"/>
              <a:gd name="connsiteX52064" fmla="*/ 2815790 w 8079933"/>
              <a:gd name="connsiteY52064" fmla="*/ 39194 h 4687251"/>
              <a:gd name="connsiteX52065" fmla="*/ 2815247 w 8079933"/>
              <a:gd name="connsiteY52065" fmla="*/ 33130 h 4687251"/>
              <a:gd name="connsiteX52066" fmla="*/ 2812751 w 8079933"/>
              <a:gd name="connsiteY52066" fmla="*/ 26201 h 4687251"/>
              <a:gd name="connsiteX52067" fmla="*/ 2813728 w 8079933"/>
              <a:gd name="connsiteY52067" fmla="*/ 18081 h 4687251"/>
              <a:gd name="connsiteX52068" fmla="*/ 2813077 w 8079933"/>
              <a:gd name="connsiteY52068" fmla="*/ 9528 h 4687251"/>
              <a:gd name="connsiteX52069" fmla="*/ 2814705 w 8079933"/>
              <a:gd name="connsiteY52069" fmla="*/ 4439 h 4687251"/>
              <a:gd name="connsiteX52070" fmla="*/ 2817851 w 8079933"/>
              <a:gd name="connsiteY52070" fmla="*/ 4764 h 4687251"/>
              <a:gd name="connsiteX52071" fmla="*/ 2822409 w 8079933"/>
              <a:gd name="connsiteY52071" fmla="*/ 8986 h 4687251"/>
              <a:gd name="connsiteX52072" fmla="*/ 2825447 w 8079933"/>
              <a:gd name="connsiteY52072" fmla="*/ 8878 h 4687251"/>
              <a:gd name="connsiteX52073" fmla="*/ 2827184 w 8079933"/>
              <a:gd name="connsiteY52073" fmla="*/ 10394 h 4687251"/>
              <a:gd name="connsiteX52074" fmla="*/ 2827400 w 8079933"/>
              <a:gd name="connsiteY52074" fmla="*/ 17106 h 4687251"/>
              <a:gd name="connsiteX52075" fmla="*/ 2830113 w 8079933"/>
              <a:gd name="connsiteY52075" fmla="*/ 21979 h 4687251"/>
              <a:gd name="connsiteX52076" fmla="*/ 2829354 w 8079933"/>
              <a:gd name="connsiteY52076" fmla="*/ 27718 h 4687251"/>
              <a:gd name="connsiteX52077" fmla="*/ 2830113 w 8079933"/>
              <a:gd name="connsiteY52077" fmla="*/ 35296 h 4687251"/>
              <a:gd name="connsiteX52078" fmla="*/ 2832392 w 8079933"/>
              <a:gd name="connsiteY52078" fmla="*/ 36271 h 4687251"/>
              <a:gd name="connsiteX52079" fmla="*/ 2832175 w 8079933"/>
              <a:gd name="connsiteY52079" fmla="*/ 32265 h 4687251"/>
              <a:gd name="connsiteX52080" fmla="*/ 2833912 w 8079933"/>
              <a:gd name="connsiteY52080" fmla="*/ 29016 h 4687251"/>
              <a:gd name="connsiteX52081" fmla="*/ 2835648 w 8079933"/>
              <a:gd name="connsiteY52081" fmla="*/ 28692 h 4687251"/>
              <a:gd name="connsiteX52082" fmla="*/ 2844004 w 8079933"/>
              <a:gd name="connsiteY52082" fmla="*/ 38328 h 4687251"/>
              <a:gd name="connsiteX52083" fmla="*/ 2844872 w 8079933"/>
              <a:gd name="connsiteY52083" fmla="*/ 36704 h 4687251"/>
              <a:gd name="connsiteX52084" fmla="*/ 2848670 w 8079933"/>
              <a:gd name="connsiteY52084" fmla="*/ 35622 h 4687251"/>
              <a:gd name="connsiteX52085" fmla="*/ 2848887 w 8079933"/>
              <a:gd name="connsiteY52085" fmla="*/ 33455 h 4687251"/>
              <a:gd name="connsiteX52086" fmla="*/ 2845523 w 8079933"/>
              <a:gd name="connsiteY52086" fmla="*/ 32589 h 4687251"/>
              <a:gd name="connsiteX52087" fmla="*/ 2841508 w 8079933"/>
              <a:gd name="connsiteY52087" fmla="*/ 27392 h 4687251"/>
              <a:gd name="connsiteX52088" fmla="*/ 2842810 w 8079933"/>
              <a:gd name="connsiteY52088" fmla="*/ 25661 h 4687251"/>
              <a:gd name="connsiteX52089" fmla="*/ 2843352 w 8079933"/>
              <a:gd name="connsiteY52089" fmla="*/ 22845 h 4687251"/>
              <a:gd name="connsiteX52090" fmla="*/ 2837927 w 8079933"/>
              <a:gd name="connsiteY52090" fmla="*/ 18298 h 4687251"/>
              <a:gd name="connsiteX52091" fmla="*/ 2836408 w 8079933"/>
              <a:gd name="connsiteY52091" fmla="*/ 14833 h 4687251"/>
              <a:gd name="connsiteX52092" fmla="*/ 2837710 w 8079933"/>
              <a:gd name="connsiteY52092" fmla="*/ 12884 h 4687251"/>
              <a:gd name="connsiteX52093" fmla="*/ 2843136 w 8079933"/>
              <a:gd name="connsiteY52093" fmla="*/ 12451 h 4687251"/>
              <a:gd name="connsiteX52094" fmla="*/ 2840748 w 8079933"/>
              <a:gd name="connsiteY52094" fmla="*/ 10178 h 4687251"/>
              <a:gd name="connsiteX52095" fmla="*/ 2837059 w 8079933"/>
              <a:gd name="connsiteY52095" fmla="*/ 9528 h 4687251"/>
              <a:gd name="connsiteX52096" fmla="*/ 2834237 w 8079933"/>
              <a:gd name="connsiteY52096" fmla="*/ 5847 h 4687251"/>
              <a:gd name="connsiteX52097" fmla="*/ 2836950 w 8079933"/>
              <a:gd name="connsiteY52097" fmla="*/ 4439 h 4687251"/>
              <a:gd name="connsiteX52098" fmla="*/ 2841074 w 8079933"/>
              <a:gd name="connsiteY52098" fmla="*/ 4439 h 4687251"/>
              <a:gd name="connsiteX52099" fmla="*/ 2846065 w 8079933"/>
              <a:gd name="connsiteY52099" fmla="*/ 109 h 4687251"/>
              <a:gd name="connsiteX52100" fmla="*/ 2856158 w 8079933"/>
              <a:gd name="connsiteY52100" fmla="*/ 1732 h 4687251"/>
              <a:gd name="connsiteX52101" fmla="*/ 2858003 w 8079933"/>
              <a:gd name="connsiteY52101" fmla="*/ 4223 h 4687251"/>
              <a:gd name="connsiteX52102" fmla="*/ 2857894 w 8079933"/>
              <a:gd name="connsiteY52102" fmla="*/ 9312 h 4687251"/>
              <a:gd name="connsiteX52103" fmla="*/ 2855181 w 8079933"/>
              <a:gd name="connsiteY52103" fmla="*/ 13642 h 4687251"/>
              <a:gd name="connsiteX52104" fmla="*/ 2856375 w 8079933"/>
              <a:gd name="connsiteY52104" fmla="*/ 15916 h 4687251"/>
              <a:gd name="connsiteX52105" fmla="*/ 2859521 w 8079933"/>
              <a:gd name="connsiteY52105" fmla="*/ 15591 h 4687251"/>
              <a:gd name="connsiteX52106" fmla="*/ 2862886 w 8079933"/>
              <a:gd name="connsiteY52106" fmla="*/ 9636 h 4687251"/>
              <a:gd name="connsiteX52107" fmla="*/ 2865164 w 8079933"/>
              <a:gd name="connsiteY52107" fmla="*/ 7904 h 4687251"/>
              <a:gd name="connsiteX52108" fmla="*/ 2866901 w 8079933"/>
              <a:gd name="connsiteY52108" fmla="*/ 10502 h 4687251"/>
              <a:gd name="connsiteX52109" fmla="*/ 2864730 w 8079933"/>
              <a:gd name="connsiteY52109" fmla="*/ 17432 h 4687251"/>
              <a:gd name="connsiteX52110" fmla="*/ 2867226 w 8079933"/>
              <a:gd name="connsiteY52110" fmla="*/ 18947 h 4687251"/>
              <a:gd name="connsiteX52111" fmla="*/ 2870156 w 8079933"/>
              <a:gd name="connsiteY52111" fmla="*/ 18406 h 4687251"/>
              <a:gd name="connsiteX52112" fmla="*/ 2871025 w 8079933"/>
              <a:gd name="connsiteY52112" fmla="*/ 16132 h 4687251"/>
              <a:gd name="connsiteX52113" fmla="*/ 2876993 w 8079933"/>
              <a:gd name="connsiteY52113" fmla="*/ 10502 h 4687251"/>
              <a:gd name="connsiteX52114" fmla="*/ 2878838 w 8079933"/>
              <a:gd name="connsiteY52114" fmla="*/ 12776 h 4687251"/>
              <a:gd name="connsiteX52115" fmla="*/ 2878186 w 8079933"/>
              <a:gd name="connsiteY52115" fmla="*/ 18406 h 4687251"/>
              <a:gd name="connsiteX52116" fmla="*/ 2876125 w 8079933"/>
              <a:gd name="connsiteY52116" fmla="*/ 22304 h 4687251"/>
              <a:gd name="connsiteX52117" fmla="*/ 2877753 w 8079933"/>
              <a:gd name="connsiteY52117" fmla="*/ 30208 h 4687251"/>
              <a:gd name="connsiteX52118" fmla="*/ 2875148 w 8079933"/>
              <a:gd name="connsiteY52118" fmla="*/ 33672 h 4687251"/>
              <a:gd name="connsiteX52119" fmla="*/ 2877318 w 8079933"/>
              <a:gd name="connsiteY52119" fmla="*/ 35730 h 4687251"/>
              <a:gd name="connsiteX52120" fmla="*/ 2882527 w 8079933"/>
              <a:gd name="connsiteY52120" fmla="*/ 34646 h 4687251"/>
              <a:gd name="connsiteX52121" fmla="*/ 2885674 w 8079933"/>
              <a:gd name="connsiteY52121" fmla="*/ 35512 h 4687251"/>
              <a:gd name="connsiteX52122" fmla="*/ 2887736 w 8079933"/>
              <a:gd name="connsiteY52122" fmla="*/ 33672 h 4687251"/>
              <a:gd name="connsiteX52123" fmla="*/ 2887953 w 8079933"/>
              <a:gd name="connsiteY52123" fmla="*/ 26743 h 4687251"/>
              <a:gd name="connsiteX52124" fmla="*/ 2890775 w 8079933"/>
              <a:gd name="connsiteY52124" fmla="*/ 18514 h 4687251"/>
              <a:gd name="connsiteX52125" fmla="*/ 2887085 w 8079933"/>
              <a:gd name="connsiteY52125" fmla="*/ 8120 h 4687251"/>
              <a:gd name="connsiteX52126" fmla="*/ 2888062 w 8079933"/>
              <a:gd name="connsiteY52126" fmla="*/ 1732 h 468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 ang="0">
                <a:pos x="connsiteX49645" y="connsiteY49645"/>
              </a:cxn>
              <a:cxn ang="0">
                <a:pos x="connsiteX49646" y="connsiteY49646"/>
              </a:cxn>
              <a:cxn ang="0">
                <a:pos x="connsiteX49647" y="connsiteY49647"/>
              </a:cxn>
              <a:cxn ang="0">
                <a:pos x="connsiteX49648" y="connsiteY49648"/>
              </a:cxn>
              <a:cxn ang="0">
                <a:pos x="connsiteX49649" y="connsiteY49649"/>
              </a:cxn>
              <a:cxn ang="0">
                <a:pos x="connsiteX49650" y="connsiteY49650"/>
              </a:cxn>
              <a:cxn ang="0">
                <a:pos x="connsiteX49651" y="connsiteY49651"/>
              </a:cxn>
              <a:cxn ang="0">
                <a:pos x="connsiteX49652" y="connsiteY49652"/>
              </a:cxn>
              <a:cxn ang="0">
                <a:pos x="connsiteX49653" y="connsiteY49653"/>
              </a:cxn>
              <a:cxn ang="0">
                <a:pos x="connsiteX49654" y="connsiteY49654"/>
              </a:cxn>
              <a:cxn ang="0">
                <a:pos x="connsiteX49655" y="connsiteY49655"/>
              </a:cxn>
              <a:cxn ang="0">
                <a:pos x="connsiteX49656" y="connsiteY49656"/>
              </a:cxn>
              <a:cxn ang="0">
                <a:pos x="connsiteX49657" y="connsiteY49657"/>
              </a:cxn>
              <a:cxn ang="0">
                <a:pos x="connsiteX49658" y="connsiteY49658"/>
              </a:cxn>
              <a:cxn ang="0">
                <a:pos x="connsiteX49659" y="connsiteY49659"/>
              </a:cxn>
              <a:cxn ang="0">
                <a:pos x="connsiteX49660" y="connsiteY49660"/>
              </a:cxn>
              <a:cxn ang="0">
                <a:pos x="connsiteX49661" y="connsiteY49661"/>
              </a:cxn>
              <a:cxn ang="0">
                <a:pos x="connsiteX49662" y="connsiteY49662"/>
              </a:cxn>
              <a:cxn ang="0">
                <a:pos x="connsiteX49663" y="connsiteY49663"/>
              </a:cxn>
              <a:cxn ang="0">
                <a:pos x="connsiteX49664" y="connsiteY49664"/>
              </a:cxn>
              <a:cxn ang="0">
                <a:pos x="connsiteX49665" y="connsiteY49665"/>
              </a:cxn>
              <a:cxn ang="0">
                <a:pos x="connsiteX49666" y="connsiteY49666"/>
              </a:cxn>
              <a:cxn ang="0">
                <a:pos x="connsiteX49667" y="connsiteY49667"/>
              </a:cxn>
              <a:cxn ang="0">
                <a:pos x="connsiteX49668" y="connsiteY49668"/>
              </a:cxn>
              <a:cxn ang="0">
                <a:pos x="connsiteX49669" y="connsiteY49669"/>
              </a:cxn>
              <a:cxn ang="0">
                <a:pos x="connsiteX49670" y="connsiteY49670"/>
              </a:cxn>
              <a:cxn ang="0">
                <a:pos x="connsiteX49671" y="connsiteY49671"/>
              </a:cxn>
              <a:cxn ang="0">
                <a:pos x="connsiteX49672" y="connsiteY49672"/>
              </a:cxn>
              <a:cxn ang="0">
                <a:pos x="connsiteX49673" y="connsiteY49673"/>
              </a:cxn>
              <a:cxn ang="0">
                <a:pos x="connsiteX49674" y="connsiteY49674"/>
              </a:cxn>
              <a:cxn ang="0">
                <a:pos x="connsiteX49675" y="connsiteY49675"/>
              </a:cxn>
              <a:cxn ang="0">
                <a:pos x="connsiteX49676" y="connsiteY49676"/>
              </a:cxn>
              <a:cxn ang="0">
                <a:pos x="connsiteX49677" y="connsiteY49677"/>
              </a:cxn>
              <a:cxn ang="0">
                <a:pos x="connsiteX49678" y="connsiteY49678"/>
              </a:cxn>
              <a:cxn ang="0">
                <a:pos x="connsiteX49679" y="connsiteY49679"/>
              </a:cxn>
              <a:cxn ang="0">
                <a:pos x="connsiteX49680" y="connsiteY49680"/>
              </a:cxn>
              <a:cxn ang="0">
                <a:pos x="connsiteX49681" y="connsiteY49681"/>
              </a:cxn>
              <a:cxn ang="0">
                <a:pos x="connsiteX49682" y="connsiteY49682"/>
              </a:cxn>
              <a:cxn ang="0">
                <a:pos x="connsiteX49683" y="connsiteY49683"/>
              </a:cxn>
              <a:cxn ang="0">
                <a:pos x="connsiteX49684" y="connsiteY49684"/>
              </a:cxn>
              <a:cxn ang="0">
                <a:pos x="connsiteX49685" y="connsiteY49685"/>
              </a:cxn>
              <a:cxn ang="0">
                <a:pos x="connsiteX49686" y="connsiteY49686"/>
              </a:cxn>
              <a:cxn ang="0">
                <a:pos x="connsiteX49687" y="connsiteY49687"/>
              </a:cxn>
              <a:cxn ang="0">
                <a:pos x="connsiteX49688" y="connsiteY49688"/>
              </a:cxn>
              <a:cxn ang="0">
                <a:pos x="connsiteX49689" y="connsiteY49689"/>
              </a:cxn>
              <a:cxn ang="0">
                <a:pos x="connsiteX49690" y="connsiteY49690"/>
              </a:cxn>
              <a:cxn ang="0">
                <a:pos x="connsiteX49691" y="connsiteY49691"/>
              </a:cxn>
              <a:cxn ang="0">
                <a:pos x="connsiteX49692" y="connsiteY49692"/>
              </a:cxn>
              <a:cxn ang="0">
                <a:pos x="connsiteX49693" y="connsiteY49693"/>
              </a:cxn>
              <a:cxn ang="0">
                <a:pos x="connsiteX49694" y="connsiteY49694"/>
              </a:cxn>
              <a:cxn ang="0">
                <a:pos x="connsiteX49695" y="connsiteY49695"/>
              </a:cxn>
              <a:cxn ang="0">
                <a:pos x="connsiteX49696" y="connsiteY49696"/>
              </a:cxn>
              <a:cxn ang="0">
                <a:pos x="connsiteX49697" y="connsiteY49697"/>
              </a:cxn>
              <a:cxn ang="0">
                <a:pos x="connsiteX49698" y="connsiteY49698"/>
              </a:cxn>
              <a:cxn ang="0">
                <a:pos x="connsiteX49699" y="connsiteY49699"/>
              </a:cxn>
              <a:cxn ang="0">
                <a:pos x="connsiteX49700" y="connsiteY49700"/>
              </a:cxn>
              <a:cxn ang="0">
                <a:pos x="connsiteX49701" y="connsiteY49701"/>
              </a:cxn>
              <a:cxn ang="0">
                <a:pos x="connsiteX49702" y="connsiteY49702"/>
              </a:cxn>
              <a:cxn ang="0">
                <a:pos x="connsiteX49703" y="connsiteY49703"/>
              </a:cxn>
              <a:cxn ang="0">
                <a:pos x="connsiteX49704" y="connsiteY49704"/>
              </a:cxn>
              <a:cxn ang="0">
                <a:pos x="connsiteX49705" y="connsiteY49705"/>
              </a:cxn>
              <a:cxn ang="0">
                <a:pos x="connsiteX49706" y="connsiteY49706"/>
              </a:cxn>
              <a:cxn ang="0">
                <a:pos x="connsiteX49707" y="connsiteY49707"/>
              </a:cxn>
              <a:cxn ang="0">
                <a:pos x="connsiteX49708" y="connsiteY49708"/>
              </a:cxn>
              <a:cxn ang="0">
                <a:pos x="connsiteX49709" y="connsiteY49709"/>
              </a:cxn>
              <a:cxn ang="0">
                <a:pos x="connsiteX49710" y="connsiteY49710"/>
              </a:cxn>
              <a:cxn ang="0">
                <a:pos x="connsiteX49711" y="connsiteY49711"/>
              </a:cxn>
              <a:cxn ang="0">
                <a:pos x="connsiteX49712" y="connsiteY49712"/>
              </a:cxn>
              <a:cxn ang="0">
                <a:pos x="connsiteX49713" y="connsiteY49713"/>
              </a:cxn>
              <a:cxn ang="0">
                <a:pos x="connsiteX49714" y="connsiteY49714"/>
              </a:cxn>
              <a:cxn ang="0">
                <a:pos x="connsiteX49715" y="connsiteY49715"/>
              </a:cxn>
              <a:cxn ang="0">
                <a:pos x="connsiteX49716" y="connsiteY49716"/>
              </a:cxn>
              <a:cxn ang="0">
                <a:pos x="connsiteX49717" y="connsiteY49717"/>
              </a:cxn>
              <a:cxn ang="0">
                <a:pos x="connsiteX49718" y="connsiteY49718"/>
              </a:cxn>
              <a:cxn ang="0">
                <a:pos x="connsiteX49719" y="connsiteY49719"/>
              </a:cxn>
              <a:cxn ang="0">
                <a:pos x="connsiteX49720" y="connsiteY49720"/>
              </a:cxn>
              <a:cxn ang="0">
                <a:pos x="connsiteX49721" y="connsiteY49721"/>
              </a:cxn>
              <a:cxn ang="0">
                <a:pos x="connsiteX49722" y="connsiteY49722"/>
              </a:cxn>
              <a:cxn ang="0">
                <a:pos x="connsiteX49723" y="connsiteY49723"/>
              </a:cxn>
              <a:cxn ang="0">
                <a:pos x="connsiteX49724" y="connsiteY49724"/>
              </a:cxn>
              <a:cxn ang="0">
                <a:pos x="connsiteX49725" y="connsiteY49725"/>
              </a:cxn>
              <a:cxn ang="0">
                <a:pos x="connsiteX49726" y="connsiteY49726"/>
              </a:cxn>
              <a:cxn ang="0">
                <a:pos x="connsiteX49727" y="connsiteY49727"/>
              </a:cxn>
              <a:cxn ang="0">
                <a:pos x="connsiteX49728" y="connsiteY49728"/>
              </a:cxn>
              <a:cxn ang="0">
                <a:pos x="connsiteX49729" y="connsiteY49729"/>
              </a:cxn>
              <a:cxn ang="0">
                <a:pos x="connsiteX49730" y="connsiteY49730"/>
              </a:cxn>
              <a:cxn ang="0">
                <a:pos x="connsiteX49731" y="connsiteY49731"/>
              </a:cxn>
              <a:cxn ang="0">
                <a:pos x="connsiteX49732" y="connsiteY49732"/>
              </a:cxn>
              <a:cxn ang="0">
                <a:pos x="connsiteX49733" y="connsiteY49733"/>
              </a:cxn>
              <a:cxn ang="0">
                <a:pos x="connsiteX49734" y="connsiteY49734"/>
              </a:cxn>
              <a:cxn ang="0">
                <a:pos x="connsiteX49735" y="connsiteY49735"/>
              </a:cxn>
              <a:cxn ang="0">
                <a:pos x="connsiteX49736" y="connsiteY49736"/>
              </a:cxn>
              <a:cxn ang="0">
                <a:pos x="connsiteX49737" y="connsiteY49737"/>
              </a:cxn>
              <a:cxn ang="0">
                <a:pos x="connsiteX49738" y="connsiteY49738"/>
              </a:cxn>
              <a:cxn ang="0">
                <a:pos x="connsiteX49739" y="connsiteY49739"/>
              </a:cxn>
              <a:cxn ang="0">
                <a:pos x="connsiteX49740" y="connsiteY49740"/>
              </a:cxn>
              <a:cxn ang="0">
                <a:pos x="connsiteX49741" y="connsiteY49741"/>
              </a:cxn>
              <a:cxn ang="0">
                <a:pos x="connsiteX49742" y="connsiteY49742"/>
              </a:cxn>
              <a:cxn ang="0">
                <a:pos x="connsiteX49743" y="connsiteY49743"/>
              </a:cxn>
              <a:cxn ang="0">
                <a:pos x="connsiteX49744" y="connsiteY49744"/>
              </a:cxn>
              <a:cxn ang="0">
                <a:pos x="connsiteX49745" y="connsiteY49745"/>
              </a:cxn>
              <a:cxn ang="0">
                <a:pos x="connsiteX49746" y="connsiteY49746"/>
              </a:cxn>
              <a:cxn ang="0">
                <a:pos x="connsiteX49747" y="connsiteY49747"/>
              </a:cxn>
              <a:cxn ang="0">
                <a:pos x="connsiteX49748" y="connsiteY49748"/>
              </a:cxn>
              <a:cxn ang="0">
                <a:pos x="connsiteX49749" y="connsiteY49749"/>
              </a:cxn>
              <a:cxn ang="0">
                <a:pos x="connsiteX49750" y="connsiteY49750"/>
              </a:cxn>
              <a:cxn ang="0">
                <a:pos x="connsiteX49751" y="connsiteY49751"/>
              </a:cxn>
              <a:cxn ang="0">
                <a:pos x="connsiteX49752" y="connsiteY49752"/>
              </a:cxn>
              <a:cxn ang="0">
                <a:pos x="connsiteX49753" y="connsiteY49753"/>
              </a:cxn>
              <a:cxn ang="0">
                <a:pos x="connsiteX49754" y="connsiteY49754"/>
              </a:cxn>
              <a:cxn ang="0">
                <a:pos x="connsiteX49755" y="connsiteY49755"/>
              </a:cxn>
              <a:cxn ang="0">
                <a:pos x="connsiteX49756" y="connsiteY49756"/>
              </a:cxn>
              <a:cxn ang="0">
                <a:pos x="connsiteX49757" y="connsiteY49757"/>
              </a:cxn>
              <a:cxn ang="0">
                <a:pos x="connsiteX49758" y="connsiteY49758"/>
              </a:cxn>
              <a:cxn ang="0">
                <a:pos x="connsiteX49759" y="connsiteY49759"/>
              </a:cxn>
              <a:cxn ang="0">
                <a:pos x="connsiteX49760" y="connsiteY49760"/>
              </a:cxn>
              <a:cxn ang="0">
                <a:pos x="connsiteX49761" y="connsiteY49761"/>
              </a:cxn>
              <a:cxn ang="0">
                <a:pos x="connsiteX49762" y="connsiteY49762"/>
              </a:cxn>
              <a:cxn ang="0">
                <a:pos x="connsiteX49763" y="connsiteY49763"/>
              </a:cxn>
              <a:cxn ang="0">
                <a:pos x="connsiteX49764" y="connsiteY49764"/>
              </a:cxn>
              <a:cxn ang="0">
                <a:pos x="connsiteX49765" y="connsiteY49765"/>
              </a:cxn>
              <a:cxn ang="0">
                <a:pos x="connsiteX49766" y="connsiteY49766"/>
              </a:cxn>
              <a:cxn ang="0">
                <a:pos x="connsiteX49767" y="connsiteY49767"/>
              </a:cxn>
              <a:cxn ang="0">
                <a:pos x="connsiteX49768" y="connsiteY49768"/>
              </a:cxn>
              <a:cxn ang="0">
                <a:pos x="connsiteX49769" y="connsiteY49769"/>
              </a:cxn>
              <a:cxn ang="0">
                <a:pos x="connsiteX49770" y="connsiteY49770"/>
              </a:cxn>
              <a:cxn ang="0">
                <a:pos x="connsiteX49771" y="connsiteY49771"/>
              </a:cxn>
              <a:cxn ang="0">
                <a:pos x="connsiteX49772" y="connsiteY49772"/>
              </a:cxn>
              <a:cxn ang="0">
                <a:pos x="connsiteX49773" y="connsiteY49773"/>
              </a:cxn>
              <a:cxn ang="0">
                <a:pos x="connsiteX49774" y="connsiteY49774"/>
              </a:cxn>
              <a:cxn ang="0">
                <a:pos x="connsiteX49775" y="connsiteY49775"/>
              </a:cxn>
              <a:cxn ang="0">
                <a:pos x="connsiteX49776" y="connsiteY49776"/>
              </a:cxn>
              <a:cxn ang="0">
                <a:pos x="connsiteX49777" y="connsiteY49777"/>
              </a:cxn>
              <a:cxn ang="0">
                <a:pos x="connsiteX49778" y="connsiteY49778"/>
              </a:cxn>
              <a:cxn ang="0">
                <a:pos x="connsiteX49779" y="connsiteY49779"/>
              </a:cxn>
              <a:cxn ang="0">
                <a:pos x="connsiteX49780" y="connsiteY49780"/>
              </a:cxn>
              <a:cxn ang="0">
                <a:pos x="connsiteX49781" y="connsiteY49781"/>
              </a:cxn>
              <a:cxn ang="0">
                <a:pos x="connsiteX49782" y="connsiteY49782"/>
              </a:cxn>
              <a:cxn ang="0">
                <a:pos x="connsiteX49783" y="connsiteY49783"/>
              </a:cxn>
              <a:cxn ang="0">
                <a:pos x="connsiteX49784" y="connsiteY49784"/>
              </a:cxn>
              <a:cxn ang="0">
                <a:pos x="connsiteX49785" y="connsiteY49785"/>
              </a:cxn>
              <a:cxn ang="0">
                <a:pos x="connsiteX49786" y="connsiteY49786"/>
              </a:cxn>
              <a:cxn ang="0">
                <a:pos x="connsiteX49787" y="connsiteY49787"/>
              </a:cxn>
              <a:cxn ang="0">
                <a:pos x="connsiteX49788" y="connsiteY49788"/>
              </a:cxn>
              <a:cxn ang="0">
                <a:pos x="connsiteX49789" y="connsiteY49789"/>
              </a:cxn>
              <a:cxn ang="0">
                <a:pos x="connsiteX49790" y="connsiteY49790"/>
              </a:cxn>
              <a:cxn ang="0">
                <a:pos x="connsiteX49791" y="connsiteY49791"/>
              </a:cxn>
              <a:cxn ang="0">
                <a:pos x="connsiteX49792" y="connsiteY49792"/>
              </a:cxn>
              <a:cxn ang="0">
                <a:pos x="connsiteX49793" y="connsiteY49793"/>
              </a:cxn>
              <a:cxn ang="0">
                <a:pos x="connsiteX49794" y="connsiteY49794"/>
              </a:cxn>
              <a:cxn ang="0">
                <a:pos x="connsiteX49795" y="connsiteY49795"/>
              </a:cxn>
              <a:cxn ang="0">
                <a:pos x="connsiteX49796" y="connsiteY49796"/>
              </a:cxn>
              <a:cxn ang="0">
                <a:pos x="connsiteX49797" y="connsiteY49797"/>
              </a:cxn>
              <a:cxn ang="0">
                <a:pos x="connsiteX49798" y="connsiteY49798"/>
              </a:cxn>
              <a:cxn ang="0">
                <a:pos x="connsiteX49799" y="connsiteY49799"/>
              </a:cxn>
              <a:cxn ang="0">
                <a:pos x="connsiteX49800" y="connsiteY49800"/>
              </a:cxn>
              <a:cxn ang="0">
                <a:pos x="connsiteX49801" y="connsiteY49801"/>
              </a:cxn>
              <a:cxn ang="0">
                <a:pos x="connsiteX49802" y="connsiteY49802"/>
              </a:cxn>
              <a:cxn ang="0">
                <a:pos x="connsiteX49803" y="connsiteY49803"/>
              </a:cxn>
              <a:cxn ang="0">
                <a:pos x="connsiteX49804" y="connsiteY49804"/>
              </a:cxn>
              <a:cxn ang="0">
                <a:pos x="connsiteX49805" y="connsiteY49805"/>
              </a:cxn>
              <a:cxn ang="0">
                <a:pos x="connsiteX49806" y="connsiteY49806"/>
              </a:cxn>
              <a:cxn ang="0">
                <a:pos x="connsiteX49807" y="connsiteY49807"/>
              </a:cxn>
              <a:cxn ang="0">
                <a:pos x="connsiteX49808" y="connsiteY49808"/>
              </a:cxn>
              <a:cxn ang="0">
                <a:pos x="connsiteX49809" y="connsiteY49809"/>
              </a:cxn>
              <a:cxn ang="0">
                <a:pos x="connsiteX49810" y="connsiteY49810"/>
              </a:cxn>
              <a:cxn ang="0">
                <a:pos x="connsiteX49811" y="connsiteY49811"/>
              </a:cxn>
              <a:cxn ang="0">
                <a:pos x="connsiteX49812" y="connsiteY49812"/>
              </a:cxn>
              <a:cxn ang="0">
                <a:pos x="connsiteX49813" y="connsiteY49813"/>
              </a:cxn>
              <a:cxn ang="0">
                <a:pos x="connsiteX49814" y="connsiteY49814"/>
              </a:cxn>
              <a:cxn ang="0">
                <a:pos x="connsiteX49815" y="connsiteY49815"/>
              </a:cxn>
              <a:cxn ang="0">
                <a:pos x="connsiteX49816" y="connsiteY49816"/>
              </a:cxn>
              <a:cxn ang="0">
                <a:pos x="connsiteX49817" y="connsiteY49817"/>
              </a:cxn>
              <a:cxn ang="0">
                <a:pos x="connsiteX49818" y="connsiteY49818"/>
              </a:cxn>
              <a:cxn ang="0">
                <a:pos x="connsiteX49819" y="connsiteY49819"/>
              </a:cxn>
              <a:cxn ang="0">
                <a:pos x="connsiteX49820" y="connsiteY49820"/>
              </a:cxn>
              <a:cxn ang="0">
                <a:pos x="connsiteX49821" y="connsiteY49821"/>
              </a:cxn>
              <a:cxn ang="0">
                <a:pos x="connsiteX49822" y="connsiteY49822"/>
              </a:cxn>
              <a:cxn ang="0">
                <a:pos x="connsiteX49823" y="connsiteY49823"/>
              </a:cxn>
              <a:cxn ang="0">
                <a:pos x="connsiteX49824" y="connsiteY49824"/>
              </a:cxn>
              <a:cxn ang="0">
                <a:pos x="connsiteX49825" y="connsiteY49825"/>
              </a:cxn>
              <a:cxn ang="0">
                <a:pos x="connsiteX49826" y="connsiteY49826"/>
              </a:cxn>
              <a:cxn ang="0">
                <a:pos x="connsiteX49827" y="connsiteY49827"/>
              </a:cxn>
              <a:cxn ang="0">
                <a:pos x="connsiteX49828" y="connsiteY49828"/>
              </a:cxn>
              <a:cxn ang="0">
                <a:pos x="connsiteX49829" y="connsiteY49829"/>
              </a:cxn>
              <a:cxn ang="0">
                <a:pos x="connsiteX49830" y="connsiteY49830"/>
              </a:cxn>
              <a:cxn ang="0">
                <a:pos x="connsiteX49831" y="connsiteY49831"/>
              </a:cxn>
              <a:cxn ang="0">
                <a:pos x="connsiteX49832" y="connsiteY49832"/>
              </a:cxn>
              <a:cxn ang="0">
                <a:pos x="connsiteX49833" y="connsiteY49833"/>
              </a:cxn>
              <a:cxn ang="0">
                <a:pos x="connsiteX49834" y="connsiteY49834"/>
              </a:cxn>
              <a:cxn ang="0">
                <a:pos x="connsiteX49835" y="connsiteY49835"/>
              </a:cxn>
              <a:cxn ang="0">
                <a:pos x="connsiteX49836" y="connsiteY49836"/>
              </a:cxn>
              <a:cxn ang="0">
                <a:pos x="connsiteX49837" y="connsiteY49837"/>
              </a:cxn>
              <a:cxn ang="0">
                <a:pos x="connsiteX49838" y="connsiteY49838"/>
              </a:cxn>
              <a:cxn ang="0">
                <a:pos x="connsiteX49839" y="connsiteY49839"/>
              </a:cxn>
              <a:cxn ang="0">
                <a:pos x="connsiteX49840" y="connsiteY49840"/>
              </a:cxn>
              <a:cxn ang="0">
                <a:pos x="connsiteX49841" y="connsiteY49841"/>
              </a:cxn>
              <a:cxn ang="0">
                <a:pos x="connsiteX49842" y="connsiteY49842"/>
              </a:cxn>
              <a:cxn ang="0">
                <a:pos x="connsiteX49843" y="connsiteY49843"/>
              </a:cxn>
              <a:cxn ang="0">
                <a:pos x="connsiteX49844" y="connsiteY49844"/>
              </a:cxn>
              <a:cxn ang="0">
                <a:pos x="connsiteX49845" y="connsiteY49845"/>
              </a:cxn>
              <a:cxn ang="0">
                <a:pos x="connsiteX49846" y="connsiteY49846"/>
              </a:cxn>
              <a:cxn ang="0">
                <a:pos x="connsiteX49847" y="connsiteY49847"/>
              </a:cxn>
              <a:cxn ang="0">
                <a:pos x="connsiteX49848" y="connsiteY49848"/>
              </a:cxn>
              <a:cxn ang="0">
                <a:pos x="connsiteX49849" y="connsiteY49849"/>
              </a:cxn>
              <a:cxn ang="0">
                <a:pos x="connsiteX49850" y="connsiteY49850"/>
              </a:cxn>
              <a:cxn ang="0">
                <a:pos x="connsiteX49851" y="connsiteY49851"/>
              </a:cxn>
              <a:cxn ang="0">
                <a:pos x="connsiteX49852" y="connsiteY49852"/>
              </a:cxn>
              <a:cxn ang="0">
                <a:pos x="connsiteX49853" y="connsiteY49853"/>
              </a:cxn>
              <a:cxn ang="0">
                <a:pos x="connsiteX49854" y="connsiteY49854"/>
              </a:cxn>
              <a:cxn ang="0">
                <a:pos x="connsiteX49855" y="connsiteY49855"/>
              </a:cxn>
              <a:cxn ang="0">
                <a:pos x="connsiteX49856" y="connsiteY49856"/>
              </a:cxn>
              <a:cxn ang="0">
                <a:pos x="connsiteX49857" y="connsiteY49857"/>
              </a:cxn>
              <a:cxn ang="0">
                <a:pos x="connsiteX49858" y="connsiteY49858"/>
              </a:cxn>
              <a:cxn ang="0">
                <a:pos x="connsiteX49859" y="connsiteY49859"/>
              </a:cxn>
              <a:cxn ang="0">
                <a:pos x="connsiteX49860" y="connsiteY49860"/>
              </a:cxn>
              <a:cxn ang="0">
                <a:pos x="connsiteX49861" y="connsiteY49861"/>
              </a:cxn>
              <a:cxn ang="0">
                <a:pos x="connsiteX49862" y="connsiteY49862"/>
              </a:cxn>
              <a:cxn ang="0">
                <a:pos x="connsiteX49863" y="connsiteY49863"/>
              </a:cxn>
              <a:cxn ang="0">
                <a:pos x="connsiteX49864" y="connsiteY49864"/>
              </a:cxn>
              <a:cxn ang="0">
                <a:pos x="connsiteX49865" y="connsiteY49865"/>
              </a:cxn>
              <a:cxn ang="0">
                <a:pos x="connsiteX49866" y="connsiteY49866"/>
              </a:cxn>
              <a:cxn ang="0">
                <a:pos x="connsiteX49867" y="connsiteY49867"/>
              </a:cxn>
              <a:cxn ang="0">
                <a:pos x="connsiteX49868" y="connsiteY49868"/>
              </a:cxn>
              <a:cxn ang="0">
                <a:pos x="connsiteX49869" y="connsiteY49869"/>
              </a:cxn>
              <a:cxn ang="0">
                <a:pos x="connsiteX49870" y="connsiteY49870"/>
              </a:cxn>
              <a:cxn ang="0">
                <a:pos x="connsiteX49871" y="connsiteY49871"/>
              </a:cxn>
              <a:cxn ang="0">
                <a:pos x="connsiteX49872" y="connsiteY49872"/>
              </a:cxn>
              <a:cxn ang="0">
                <a:pos x="connsiteX49873" y="connsiteY49873"/>
              </a:cxn>
              <a:cxn ang="0">
                <a:pos x="connsiteX49874" y="connsiteY49874"/>
              </a:cxn>
              <a:cxn ang="0">
                <a:pos x="connsiteX49875" y="connsiteY49875"/>
              </a:cxn>
              <a:cxn ang="0">
                <a:pos x="connsiteX49876" y="connsiteY49876"/>
              </a:cxn>
              <a:cxn ang="0">
                <a:pos x="connsiteX49877" y="connsiteY49877"/>
              </a:cxn>
              <a:cxn ang="0">
                <a:pos x="connsiteX49878" y="connsiteY49878"/>
              </a:cxn>
              <a:cxn ang="0">
                <a:pos x="connsiteX49879" y="connsiteY49879"/>
              </a:cxn>
              <a:cxn ang="0">
                <a:pos x="connsiteX49880" y="connsiteY49880"/>
              </a:cxn>
              <a:cxn ang="0">
                <a:pos x="connsiteX49881" y="connsiteY49881"/>
              </a:cxn>
              <a:cxn ang="0">
                <a:pos x="connsiteX49882" y="connsiteY49882"/>
              </a:cxn>
              <a:cxn ang="0">
                <a:pos x="connsiteX49883" y="connsiteY49883"/>
              </a:cxn>
              <a:cxn ang="0">
                <a:pos x="connsiteX49884" y="connsiteY49884"/>
              </a:cxn>
              <a:cxn ang="0">
                <a:pos x="connsiteX49885" y="connsiteY49885"/>
              </a:cxn>
              <a:cxn ang="0">
                <a:pos x="connsiteX49886" y="connsiteY49886"/>
              </a:cxn>
              <a:cxn ang="0">
                <a:pos x="connsiteX49887" y="connsiteY49887"/>
              </a:cxn>
              <a:cxn ang="0">
                <a:pos x="connsiteX49888" y="connsiteY49888"/>
              </a:cxn>
              <a:cxn ang="0">
                <a:pos x="connsiteX49889" y="connsiteY49889"/>
              </a:cxn>
              <a:cxn ang="0">
                <a:pos x="connsiteX49890" y="connsiteY49890"/>
              </a:cxn>
              <a:cxn ang="0">
                <a:pos x="connsiteX49891" y="connsiteY49891"/>
              </a:cxn>
              <a:cxn ang="0">
                <a:pos x="connsiteX49892" y="connsiteY49892"/>
              </a:cxn>
              <a:cxn ang="0">
                <a:pos x="connsiteX49893" y="connsiteY49893"/>
              </a:cxn>
              <a:cxn ang="0">
                <a:pos x="connsiteX49894" y="connsiteY49894"/>
              </a:cxn>
              <a:cxn ang="0">
                <a:pos x="connsiteX49895" y="connsiteY49895"/>
              </a:cxn>
              <a:cxn ang="0">
                <a:pos x="connsiteX49896" y="connsiteY49896"/>
              </a:cxn>
              <a:cxn ang="0">
                <a:pos x="connsiteX49897" y="connsiteY49897"/>
              </a:cxn>
              <a:cxn ang="0">
                <a:pos x="connsiteX49898" y="connsiteY49898"/>
              </a:cxn>
              <a:cxn ang="0">
                <a:pos x="connsiteX49899" y="connsiteY49899"/>
              </a:cxn>
              <a:cxn ang="0">
                <a:pos x="connsiteX49900" y="connsiteY49900"/>
              </a:cxn>
              <a:cxn ang="0">
                <a:pos x="connsiteX49901" y="connsiteY49901"/>
              </a:cxn>
              <a:cxn ang="0">
                <a:pos x="connsiteX49902" y="connsiteY49902"/>
              </a:cxn>
              <a:cxn ang="0">
                <a:pos x="connsiteX49903" y="connsiteY49903"/>
              </a:cxn>
              <a:cxn ang="0">
                <a:pos x="connsiteX49904" y="connsiteY49904"/>
              </a:cxn>
              <a:cxn ang="0">
                <a:pos x="connsiteX49905" y="connsiteY49905"/>
              </a:cxn>
              <a:cxn ang="0">
                <a:pos x="connsiteX49906" y="connsiteY49906"/>
              </a:cxn>
              <a:cxn ang="0">
                <a:pos x="connsiteX49907" y="connsiteY49907"/>
              </a:cxn>
              <a:cxn ang="0">
                <a:pos x="connsiteX49908" y="connsiteY49908"/>
              </a:cxn>
              <a:cxn ang="0">
                <a:pos x="connsiteX49909" y="connsiteY49909"/>
              </a:cxn>
              <a:cxn ang="0">
                <a:pos x="connsiteX49910" y="connsiteY49910"/>
              </a:cxn>
              <a:cxn ang="0">
                <a:pos x="connsiteX49911" y="connsiteY49911"/>
              </a:cxn>
              <a:cxn ang="0">
                <a:pos x="connsiteX49912" y="connsiteY49912"/>
              </a:cxn>
              <a:cxn ang="0">
                <a:pos x="connsiteX49913" y="connsiteY49913"/>
              </a:cxn>
              <a:cxn ang="0">
                <a:pos x="connsiteX49914" y="connsiteY49914"/>
              </a:cxn>
              <a:cxn ang="0">
                <a:pos x="connsiteX49915" y="connsiteY49915"/>
              </a:cxn>
              <a:cxn ang="0">
                <a:pos x="connsiteX49916" y="connsiteY49916"/>
              </a:cxn>
              <a:cxn ang="0">
                <a:pos x="connsiteX49917" y="connsiteY49917"/>
              </a:cxn>
              <a:cxn ang="0">
                <a:pos x="connsiteX49918" y="connsiteY49918"/>
              </a:cxn>
              <a:cxn ang="0">
                <a:pos x="connsiteX49919" y="connsiteY49919"/>
              </a:cxn>
              <a:cxn ang="0">
                <a:pos x="connsiteX49920" y="connsiteY49920"/>
              </a:cxn>
              <a:cxn ang="0">
                <a:pos x="connsiteX49921" y="connsiteY49921"/>
              </a:cxn>
              <a:cxn ang="0">
                <a:pos x="connsiteX49922" y="connsiteY49922"/>
              </a:cxn>
              <a:cxn ang="0">
                <a:pos x="connsiteX49923" y="connsiteY49923"/>
              </a:cxn>
              <a:cxn ang="0">
                <a:pos x="connsiteX49924" y="connsiteY49924"/>
              </a:cxn>
              <a:cxn ang="0">
                <a:pos x="connsiteX49925" y="connsiteY49925"/>
              </a:cxn>
              <a:cxn ang="0">
                <a:pos x="connsiteX49926" y="connsiteY49926"/>
              </a:cxn>
              <a:cxn ang="0">
                <a:pos x="connsiteX49927" y="connsiteY49927"/>
              </a:cxn>
              <a:cxn ang="0">
                <a:pos x="connsiteX49928" y="connsiteY49928"/>
              </a:cxn>
              <a:cxn ang="0">
                <a:pos x="connsiteX49929" y="connsiteY49929"/>
              </a:cxn>
              <a:cxn ang="0">
                <a:pos x="connsiteX49930" y="connsiteY49930"/>
              </a:cxn>
              <a:cxn ang="0">
                <a:pos x="connsiteX49931" y="connsiteY49931"/>
              </a:cxn>
              <a:cxn ang="0">
                <a:pos x="connsiteX49932" y="connsiteY49932"/>
              </a:cxn>
              <a:cxn ang="0">
                <a:pos x="connsiteX49933" y="connsiteY49933"/>
              </a:cxn>
              <a:cxn ang="0">
                <a:pos x="connsiteX49934" y="connsiteY49934"/>
              </a:cxn>
              <a:cxn ang="0">
                <a:pos x="connsiteX49935" y="connsiteY49935"/>
              </a:cxn>
              <a:cxn ang="0">
                <a:pos x="connsiteX49936" y="connsiteY49936"/>
              </a:cxn>
              <a:cxn ang="0">
                <a:pos x="connsiteX49937" y="connsiteY49937"/>
              </a:cxn>
              <a:cxn ang="0">
                <a:pos x="connsiteX49938" y="connsiteY49938"/>
              </a:cxn>
              <a:cxn ang="0">
                <a:pos x="connsiteX49939" y="connsiteY49939"/>
              </a:cxn>
              <a:cxn ang="0">
                <a:pos x="connsiteX49940" y="connsiteY49940"/>
              </a:cxn>
              <a:cxn ang="0">
                <a:pos x="connsiteX49941" y="connsiteY49941"/>
              </a:cxn>
              <a:cxn ang="0">
                <a:pos x="connsiteX49942" y="connsiteY49942"/>
              </a:cxn>
              <a:cxn ang="0">
                <a:pos x="connsiteX49943" y="connsiteY49943"/>
              </a:cxn>
              <a:cxn ang="0">
                <a:pos x="connsiteX49944" y="connsiteY49944"/>
              </a:cxn>
              <a:cxn ang="0">
                <a:pos x="connsiteX49945" y="connsiteY49945"/>
              </a:cxn>
              <a:cxn ang="0">
                <a:pos x="connsiteX49946" y="connsiteY49946"/>
              </a:cxn>
              <a:cxn ang="0">
                <a:pos x="connsiteX49947" y="connsiteY49947"/>
              </a:cxn>
              <a:cxn ang="0">
                <a:pos x="connsiteX49948" y="connsiteY49948"/>
              </a:cxn>
              <a:cxn ang="0">
                <a:pos x="connsiteX49949" y="connsiteY49949"/>
              </a:cxn>
              <a:cxn ang="0">
                <a:pos x="connsiteX49950" y="connsiteY49950"/>
              </a:cxn>
              <a:cxn ang="0">
                <a:pos x="connsiteX49951" y="connsiteY49951"/>
              </a:cxn>
              <a:cxn ang="0">
                <a:pos x="connsiteX49952" y="connsiteY49952"/>
              </a:cxn>
              <a:cxn ang="0">
                <a:pos x="connsiteX49953" y="connsiteY49953"/>
              </a:cxn>
              <a:cxn ang="0">
                <a:pos x="connsiteX49954" y="connsiteY49954"/>
              </a:cxn>
              <a:cxn ang="0">
                <a:pos x="connsiteX49955" y="connsiteY49955"/>
              </a:cxn>
              <a:cxn ang="0">
                <a:pos x="connsiteX49956" y="connsiteY49956"/>
              </a:cxn>
              <a:cxn ang="0">
                <a:pos x="connsiteX49957" y="connsiteY49957"/>
              </a:cxn>
              <a:cxn ang="0">
                <a:pos x="connsiteX49958" y="connsiteY49958"/>
              </a:cxn>
              <a:cxn ang="0">
                <a:pos x="connsiteX49959" y="connsiteY49959"/>
              </a:cxn>
              <a:cxn ang="0">
                <a:pos x="connsiteX49960" y="connsiteY49960"/>
              </a:cxn>
              <a:cxn ang="0">
                <a:pos x="connsiteX49961" y="connsiteY49961"/>
              </a:cxn>
              <a:cxn ang="0">
                <a:pos x="connsiteX49962" y="connsiteY49962"/>
              </a:cxn>
              <a:cxn ang="0">
                <a:pos x="connsiteX49963" y="connsiteY49963"/>
              </a:cxn>
              <a:cxn ang="0">
                <a:pos x="connsiteX49964" y="connsiteY49964"/>
              </a:cxn>
              <a:cxn ang="0">
                <a:pos x="connsiteX49965" y="connsiteY49965"/>
              </a:cxn>
              <a:cxn ang="0">
                <a:pos x="connsiteX49966" y="connsiteY49966"/>
              </a:cxn>
              <a:cxn ang="0">
                <a:pos x="connsiteX49967" y="connsiteY49967"/>
              </a:cxn>
              <a:cxn ang="0">
                <a:pos x="connsiteX49968" y="connsiteY49968"/>
              </a:cxn>
              <a:cxn ang="0">
                <a:pos x="connsiteX49969" y="connsiteY49969"/>
              </a:cxn>
              <a:cxn ang="0">
                <a:pos x="connsiteX49970" y="connsiteY49970"/>
              </a:cxn>
              <a:cxn ang="0">
                <a:pos x="connsiteX49971" y="connsiteY49971"/>
              </a:cxn>
              <a:cxn ang="0">
                <a:pos x="connsiteX49972" y="connsiteY49972"/>
              </a:cxn>
              <a:cxn ang="0">
                <a:pos x="connsiteX49973" y="connsiteY49973"/>
              </a:cxn>
              <a:cxn ang="0">
                <a:pos x="connsiteX49974" y="connsiteY49974"/>
              </a:cxn>
              <a:cxn ang="0">
                <a:pos x="connsiteX49975" y="connsiteY49975"/>
              </a:cxn>
              <a:cxn ang="0">
                <a:pos x="connsiteX49976" y="connsiteY49976"/>
              </a:cxn>
              <a:cxn ang="0">
                <a:pos x="connsiteX49977" y="connsiteY49977"/>
              </a:cxn>
              <a:cxn ang="0">
                <a:pos x="connsiteX49978" y="connsiteY49978"/>
              </a:cxn>
              <a:cxn ang="0">
                <a:pos x="connsiteX49979" y="connsiteY49979"/>
              </a:cxn>
              <a:cxn ang="0">
                <a:pos x="connsiteX49980" y="connsiteY49980"/>
              </a:cxn>
              <a:cxn ang="0">
                <a:pos x="connsiteX49981" y="connsiteY49981"/>
              </a:cxn>
              <a:cxn ang="0">
                <a:pos x="connsiteX49982" y="connsiteY49982"/>
              </a:cxn>
              <a:cxn ang="0">
                <a:pos x="connsiteX49983" y="connsiteY49983"/>
              </a:cxn>
              <a:cxn ang="0">
                <a:pos x="connsiteX49984" y="connsiteY49984"/>
              </a:cxn>
              <a:cxn ang="0">
                <a:pos x="connsiteX49985" y="connsiteY49985"/>
              </a:cxn>
              <a:cxn ang="0">
                <a:pos x="connsiteX49986" y="connsiteY49986"/>
              </a:cxn>
              <a:cxn ang="0">
                <a:pos x="connsiteX49987" y="connsiteY49987"/>
              </a:cxn>
              <a:cxn ang="0">
                <a:pos x="connsiteX49988" y="connsiteY49988"/>
              </a:cxn>
              <a:cxn ang="0">
                <a:pos x="connsiteX49989" y="connsiteY49989"/>
              </a:cxn>
              <a:cxn ang="0">
                <a:pos x="connsiteX49990" y="connsiteY49990"/>
              </a:cxn>
              <a:cxn ang="0">
                <a:pos x="connsiteX49991" y="connsiteY49991"/>
              </a:cxn>
              <a:cxn ang="0">
                <a:pos x="connsiteX49992" y="connsiteY49992"/>
              </a:cxn>
              <a:cxn ang="0">
                <a:pos x="connsiteX49993" y="connsiteY49993"/>
              </a:cxn>
              <a:cxn ang="0">
                <a:pos x="connsiteX49994" y="connsiteY49994"/>
              </a:cxn>
              <a:cxn ang="0">
                <a:pos x="connsiteX49995" y="connsiteY49995"/>
              </a:cxn>
              <a:cxn ang="0">
                <a:pos x="connsiteX49996" y="connsiteY49996"/>
              </a:cxn>
              <a:cxn ang="0">
                <a:pos x="connsiteX49997" y="connsiteY49997"/>
              </a:cxn>
              <a:cxn ang="0">
                <a:pos x="connsiteX49998" y="connsiteY49998"/>
              </a:cxn>
              <a:cxn ang="0">
                <a:pos x="connsiteX49999" y="connsiteY49999"/>
              </a:cxn>
              <a:cxn ang="0">
                <a:pos x="connsiteX50000" y="connsiteY50000"/>
              </a:cxn>
              <a:cxn ang="0">
                <a:pos x="connsiteX50001" y="connsiteY50001"/>
              </a:cxn>
              <a:cxn ang="0">
                <a:pos x="connsiteX50002" y="connsiteY50002"/>
              </a:cxn>
              <a:cxn ang="0">
                <a:pos x="connsiteX50003" y="connsiteY50003"/>
              </a:cxn>
              <a:cxn ang="0">
                <a:pos x="connsiteX50004" y="connsiteY50004"/>
              </a:cxn>
              <a:cxn ang="0">
                <a:pos x="connsiteX50005" y="connsiteY50005"/>
              </a:cxn>
              <a:cxn ang="0">
                <a:pos x="connsiteX50006" y="connsiteY50006"/>
              </a:cxn>
              <a:cxn ang="0">
                <a:pos x="connsiteX50007" y="connsiteY50007"/>
              </a:cxn>
              <a:cxn ang="0">
                <a:pos x="connsiteX50008" y="connsiteY50008"/>
              </a:cxn>
              <a:cxn ang="0">
                <a:pos x="connsiteX50009" y="connsiteY50009"/>
              </a:cxn>
              <a:cxn ang="0">
                <a:pos x="connsiteX50010" y="connsiteY50010"/>
              </a:cxn>
              <a:cxn ang="0">
                <a:pos x="connsiteX50011" y="connsiteY50011"/>
              </a:cxn>
              <a:cxn ang="0">
                <a:pos x="connsiteX50012" y="connsiteY50012"/>
              </a:cxn>
              <a:cxn ang="0">
                <a:pos x="connsiteX50013" y="connsiteY50013"/>
              </a:cxn>
              <a:cxn ang="0">
                <a:pos x="connsiteX50014" y="connsiteY50014"/>
              </a:cxn>
              <a:cxn ang="0">
                <a:pos x="connsiteX50015" y="connsiteY50015"/>
              </a:cxn>
              <a:cxn ang="0">
                <a:pos x="connsiteX50016" y="connsiteY50016"/>
              </a:cxn>
              <a:cxn ang="0">
                <a:pos x="connsiteX50017" y="connsiteY50017"/>
              </a:cxn>
              <a:cxn ang="0">
                <a:pos x="connsiteX50018" y="connsiteY50018"/>
              </a:cxn>
              <a:cxn ang="0">
                <a:pos x="connsiteX50019" y="connsiteY50019"/>
              </a:cxn>
              <a:cxn ang="0">
                <a:pos x="connsiteX50020" y="connsiteY50020"/>
              </a:cxn>
              <a:cxn ang="0">
                <a:pos x="connsiteX50021" y="connsiteY50021"/>
              </a:cxn>
              <a:cxn ang="0">
                <a:pos x="connsiteX50022" y="connsiteY50022"/>
              </a:cxn>
              <a:cxn ang="0">
                <a:pos x="connsiteX50023" y="connsiteY50023"/>
              </a:cxn>
              <a:cxn ang="0">
                <a:pos x="connsiteX50024" y="connsiteY50024"/>
              </a:cxn>
              <a:cxn ang="0">
                <a:pos x="connsiteX50025" y="connsiteY50025"/>
              </a:cxn>
              <a:cxn ang="0">
                <a:pos x="connsiteX50026" y="connsiteY50026"/>
              </a:cxn>
              <a:cxn ang="0">
                <a:pos x="connsiteX50027" y="connsiteY50027"/>
              </a:cxn>
              <a:cxn ang="0">
                <a:pos x="connsiteX50028" y="connsiteY50028"/>
              </a:cxn>
              <a:cxn ang="0">
                <a:pos x="connsiteX50029" y="connsiteY50029"/>
              </a:cxn>
              <a:cxn ang="0">
                <a:pos x="connsiteX50030" y="connsiteY50030"/>
              </a:cxn>
              <a:cxn ang="0">
                <a:pos x="connsiteX50031" y="connsiteY50031"/>
              </a:cxn>
              <a:cxn ang="0">
                <a:pos x="connsiteX50032" y="connsiteY50032"/>
              </a:cxn>
              <a:cxn ang="0">
                <a:pos x="connsiteX50033" y="connsiteY50033"/>
              </a:cxn>
              <a:cxn ang="0">
                <a:pos x="connsiteX50034" y="connsiteY50034"/>
              </a:cxn>
              <a:cxn ang="0">
                <a:pos x="connsiteX50035" y="connsiteY50035"/>
              </a:cxn>
              <a:cxn ang="0">
                <a:pos x="connsiteX50036" y="connsiteY50036"/>
              </a:cxn>
              <a:cxn ang="0">
                <a:pos x="connsiteX50037" y="connsiteY50037"/>
              </a:cxn>
              <a:cxn ang="0">
                <a:pos x="connsiteX50038" y="connsiteY50038"/>
              </a:cxn>
              <a:cxn ang="0">
                <a:pos x="connsiteX50039" y="connsiteY50039"/>
              </a:cxn>
              <a:cxn ang="0">
                <a:pos x="connsiteX50040" y="connsiteY50040"/>
              </a:cxn>
              <a:cxn ang="0">
                <a:pos x="connsiteX50041" y="connsiteY50041"/>
              </a:cxn>
              <a:cxn ang="0">
                <a:pos x="connsiteX50042" y="connsiteY50042"/>
              </a:cxn>
              <a:cxn ang="0">
                <a:pos x="connsiteX50043" y="connsiteY50043"/>
              </a:cxn>
              <a:cxn ang="0">
                <a:pos x="connsiteX50044" y="connsiteY50044"/>
              </a:cxn>
              <a:cxn ang="0">
                <a:pos x="connsiteX50045" y="connsiteY50045"/>
              </a:cxn>
              <a:cxn ang="0">
                <a:pos x="connsiteX50046" y="connsiteY50046"/>
              </a:cxn>
              <a:cxn ang="0">
                <a:pos x="connsiteX50047" y="connsiteY50047"/>
              </a:cxn>
              <a:cxn ang="0">
                <a:pos x="connsiteX50048" y="connsiteY50048"/>
              </a:cxn>
              <a:cxn ang="0">
                <a:pos x="connsiteX50049" y="connsiteY50049"/>
              </a:cxn>
              <a:cxn ang="0">
                <a:pos x="connsiteX50050" y="connsiteY50050"/>
              </a:cxn>
              <a:cxn ang="0">
                <a:pos x="connsiteX50051" y="connsiteY50051"/>
              </a:cxn>
              <a:cxn ang="0">
                <a:pos x="connsiteX50052" y="connsiteY50052"/>
              </a:cxn>
              <a:cxn ang="0">
                <a:pos x="connsiteX50053" y="connsiteY50053"/>
              </a:cxn>
              <a:cxn ang="0">
                <a:pos x="connsiteX50054" y="connsiteY50054"/>
              </a:cxn>
              <a:cxn ang="0">
                <a:pos x="connsiteX50055" y="connsiteY50055"/>
              </a:cxn>
              <a:cxn ang="0">
                <a:pos x="connsiteX50056" y="connsiteY50056"/>
              </a:cxn>
              <a:cxn ang="0">
                <a:pos x="connsiteX50057" y="connsiteY50057"/>
              </a:cxn>
              <a:cxn ang="0">
                <a:pos x="connsiteX50058" y="connsiteY50058"/>
              </a:cxn>
              <a:cxn ang="0">
                <a:pos x="connsiteX50059" y="connsiteY50059"/>
              </a:cxn>
              <a:cxn ang="0">
                <a:pos x="connsiteX50060" y="connsiteY50060"/>
              </a:cxn>
              <a:cxn ang="0">
                <a:pos x="connsiteX50061" y="connsiteY50061"/>
              </a:cxn>
              <a:cxn ang="0">
                <a:pos x="connsiteX50062" y="connsiteY50062"/>
              </a:cxn>
              <a:cxn ang="0">
                <a:pos x="connsiteX50063" y="connsiteY50063"/>
              </a:cxn>
              <a:cxn ang="0">
                <a:pos x="connsiteX50064" y="connsiteY50064"/>
              </a:cxn>
              <a:cxn ang="0">
                <a:pos x="connsiteX50065" y="connsiteY50065"/>
              </a:cxn>
              <a:cxn ang="0">
                <a:pos x="connsiteX50066" y="connsiteY50066"/>
              </a:cxn>
              <a:cxn ang="0">
                <a:pos x="connsiteX50067" y="connsiteY50067"/>
              </a:cxn>
              <a:cxn ang="0">
                <a:pos x="connsiteX50068" y="connsiteY50068"/>
              </a:cxn>
              <a:cxn ang="0">
                <a:pos x="connsiteX50069" y="connsiteY50069"/>
              </a:cxn>
              <a:cxn ang="0">
                <a:pos x="connsiteX50070" y="connsiteY50070"/>
              </a:cxn>
              <a:cxn ang="0">
                <a:pos x="connsiteX50071" y="connsiteY50071"/>
              </a:cxn>
              <a:cxn ang="0">
                <a:pos x="connsiteX50072" y="connsiteY50072"/>
              </a:cxn>
              <a:cxn ang="0">
                <a:pos x="connsiteX50073" y="connsiteY50073"/>
              </a:cxn>
              <a:cxn ang="0">
                <a:pos x="connsiteX50074" y="connsiteY50074"/>
              </a:cxn>
              <a:cxn ang="0">
                <a:pos x="connsiteX50075" y="connsiteY50075"/>
              </a:cxn>
              <a:cxn ang="0">
                <a:pos x="connsiteX50076" y="connsiteY50076"/>
              </a:cxn>
              <a:cxn ang="0">
                <a:pos x="connsiteX50077" y="connsiteY50077"/>
              </a:cxn>
              <a:cxn ang="0">
                <a:pos x="connsiteX50078" y="connsiteY50078"/>
              </a:cxn>
              <a:cxn ang="0">
                <a:pos x="connsiteX50079" y="connsiteY50079"/>
              </a:cxn>
              <a:cxn ang="0">
                <a:pos x="connsiteX50080" y="connsiteY50080"/>
              </a:cxn>
              <a:cxn ang="0">
                <a:pos x="connsiteX50081" y="connsiteY50081"/>
              </a:cxn>
              <a:cxn ang="0">
                <a:pos x="connsiteX50082" y="connsiteY50082"/>
              </a:cxn>
              <a:cxn ang="0">
                <a:pos x="connsiteX50083" y="connsiteY50083"/>
              </a:cxn>
              <a:cxn ang="0">
                <a:pos x="connsiteX50084" y="connsiteY50084"/>
              </a:cxn>
              <a:cxn ang="0">
                <a:pos x="connsiteX50085" y="connsiteY50085"/>
              </a:cxn>
              <a:cxn ang="0">
                <a:pos x="connsiteX50086" y="connsiteY50086"/>
              </a:cxn>
              <a:cxn ang="0">
                <a:pos x="connsiteX50087" y="connsiteY50087"/>
              </a:cxn>
              <a:cxn ang="0">
                <a:pos x="connsiteX50088" y="connsiteY50088"/>
              </a:cxn>
              <a:cxn ang="0">
                <a:pos x="connsiteX50089" y="connsiteY50089"/>
              </a:cxn>
              <a:cxn ang="0">
                <a:pos x="connsiteX50090" y="connsiteY50090"/>
              </a:cxn>
              <a:cxn ang="0">
                <a:pos x="connsiteX50091" y="connsiteY50091"/>
              </a:cxn>
              <a:cxn ang="0">
                <a:pos x="connsiteX50092" y="connsiteY50092"/>
              </a:cxn>
              <a:cxn ang="0">
                <a:pos x="connsiteX50093" y="connsiteY50093"/>
              </a:cxn>
              <a:cxn ang="0">
                <a:pos x="connsiteX50094" y="connsiteY50094"/>
              </a:cxn>
              <a:cxn ang="0">
                <a:pos x="connsiteX50095" y="connsiteY50095"/>
              </a:cxn>
              <a:cxn ang="0">
                <a:pos x="connsiteX50096" y="connsiteY50096"/>
              </a:cxn>
              <a:cxn ang="0">
                <a:pos x="connsiteX50097" y="connsiteY50097"/>
              </a:cxn>
              <a:cxn ang="0">
                <a:pos x="connsiteX50098" y="connsiteY50098"/>
              </a:cxn>
              <a:cxn ang="0">
                <a:pos x="connsiteX50099" y="connsiteY50099"/>
              </a:cxn>
              <a:cxn ang="0">
                <a:pos x="connsiteX50100" y="connsiteY50100"/>
              </a:cxn>
              <a:cxn ang="0">
                <a:pos x="connsiteX50101" y="connsiteY50101"/>
              </a:cxn>
              <a:cxn ang="0">
                <a:pos x="connsiteX50102" y="connsiteY50102"/>
              </a:cxn>
              <a:cxn ang="0">
                <a:pos x="connsiteX50103" y="connsiteY50103"/>
              </a:cxn>
              <a:cxn ang="0">
                <a:pos x="connsiteX50104" y="connsiteY50104"/>
              </a:cxn>
              <a:cxn ang="0">
                <a:pos x="connsiteX50105" y="connsiteY50105"/>
              </a:cxn>
              <a:cxn ang="0">
                <a:pos x="connsiteX50106" y="connsiteY50106"/>
              </a:cxn>
              <a:cxn ang="0">
                <a:pos x="connsiteX50107" y="connsiteY50107"/>
              </a:cxn>
              <a:cxn ang="0">
                <a:pos x="connsiteX50108" y="connsiteY50108"/>
              </a:cxn>
              <a:cxn ang="0">
                <a:pos x="connsiteX50109" y="connsiteY50109"/>
              </a:cxn>
              <a:cxn ang="0">
                <a:pos x="connsiteX50110" y="connsiteY50110"/>
              </a:cxn>
              <a:cxn ang="0">
                <a:pos x="connsiteX50111" y="connsiteY50111"/>
              </a:cxn>
              <a:cxn ang="0">
                <a:pos x="connsiteX50112" y="connsiteY50112"/>
              </a:cxn>
              <a:cxn ang="0">
                <a:pos x="connsiteX50113" y="connsiteY50113"/>
              </a:cxn>
              <a:cxn ang="0">
                <a:pos x="connsiteX50114" y="connsiteY50114"/>
              </a:cxn>
              <a:cxn ang="0">
                <a:pos x="connsiteX50115" y="connsiteY50115"/>
              </a:cxn>
              <a:cxn ang="0">
                <a:pos x="connsiteX50116" y="connsiteY50116"/>
              </a:cxn>
              <a:cxn ang="0">
                <a:pos x="connsiteX50117" y="connsiteY50117"/>
              </a:cxn>
              <a:cxn ang="0">
                <a:pos x="connsiteX50118" y="connsiteY50118"/>
              </a:cxn>
              <a:cxn ang="0">
                <a:pos x="connsiteX50119" y="connsiteY50119"/>
              </a:cxn>
              <a:cxn ang="0">
                <a:pos x="connsiteX50120" y="connsiteY50120"/>
              </a:cxn>
              <a:cxn ang="0">
                <a:pos x="connsiteX50121" y="connsiteY50121"/>
              </a:cxn>
              <a:cxn ang="0">
                <a:pos x="connsiteX50122" y="connsiteY50122"/>
              </a:cxn>
              <a:cxn ang="0">
                <a:pos x="connsiteX50123" y="connsiteY50123"/>
              </a:cxn>
              <a:cxn ang="0">
                <a:pos x="connsiteX50124" y="connsiteY50124"/>
              </a:cxn>
              <a:cxn ang="0">
                <a:pos x="connsiteX50125" y="connsiteY50125"/>
              </a:cxn>
              <a:cxn ang="0">
                <a:pos x="connsiteX50126" y="connsiteY50126"/>
              </a:cxn>
              <a:cxn ang="0">
                <a:pos x="connsiteX50127" y="connsiteY50127"/>
              </a:cxn>
              <a:cxn ang="0">
                <a:pos x="connsiteX50128" y="connsiteY50128"/>
              </a:cxn>
              <a:cxn ang="0">
                <a:pos x="connsiteX50129" y="connsiteY50129"/>
              </a:cxn>
              <a:cxn ang="0">
                <a:pos x="connsiteX50130" y="connsiteY50130"/>
              </a:cxn>
              <a:cxn ang="0">
                <a:pos x="connsiteX50131" y="connsiteY50131"/>
              </a:cxn>
              <a:cxn ang="0">
                <a:pos x="connsiteX50132" y="connsiteY50132"/>
              </a:cxn>
              <a:cxn ang="0">
                <a:pos x="connsiteX50133" y="connsiteY50133"/>
              </a:cxn>
              <a:cxn ang="0">
                <a:pos x="connsiteX50134" y="connsiteY50134"/>
              </a:cxn>
              <a:cxn ang="0">
                <a:pos x="connsiteX50135" y="connsiteY50135"/>
              </a:cxn>
              <a:cxn ang="0">
                <a:pos x="connsiteX50136" y="connsiteY50136"/>
              </a:cxn>
              <a:cxn ang="0">
                <a:pos x="connsiteX50137" y="connsiteY50137"/>
              </a:cxn>
              <a:cxn ang="0">
                <a:pos x="connsiteX50138" y="connsiteY50138"/>
              </a:cxn>
              <a:cxn ang="0">
                <a:pos x="connsiteX50139" y="connsiteY50139"/>
              </a:cxn>
              <a:cxn ang="0">
                <a:pos x="connsiteX50140" y="connsiteY50140"/>
              </a:cxn>
              <a:cxn ang="0">
                <a:pos x="connsiteX50141" y="connsiteY50141"/>
              </a:cxn>
              <a:cxn ang="0">
                <a:pos x="connsiteX50142" y="connsiteY50142"/>
              </a:cxn>
              <a:cxn ang="0">
                <a:pos x="connsiteX50143" y="connsiteY50143"/>
              </a:cxn>
              <a:cxn ang="0">
                <a:pos x="connsiteX50144" y="connsiteY50144"/>
              </a:cxn>
              <a:cxn ang="0">
                <a:pos x="connsiteX50145" y="connsiteY50145"/>
              </a:cxn>
              <a:cxn ang="0">
                <a:pos x="connsiteX50146" y="connsiteY50146"/>
              </a:cxn>
              <a:cxn ang="0">
                <a:pos x="connsiteX50147" y="connsiteY50147"/>
              </a:cxn>
              <a:cxn ang="0">
                <a:pos x="connsiteX50148" y="connsiteY50148"/>
              </a:cxn>
              <a:cxn ang="0">
                <a:pos x="connsiteX50149" y="connsiteY50149"/>
              </a:cxn>
              <a:cxn ang="0">
                <a:pos x="connsiteX50150" y="connsiteY50150"/>
              </a:cxn>
              <a:cxn ang="0">
                <a:pos x="connsiteX50151" y="connsiteY50151"/>
              </a:cxn>
              <a:cxn ang="0">
                <a:pos x="connsiteX50152" y="connsiteY50152"/>
              </a:cxn>
              <a:cxn ang="0">
                <a:pos x="connsiteX50153" y="connsiteY50153"/>
              </a:cxn>
              <a:cxn ang="0">
                <a:pos x="connsiteX50154" y="connsiteY50154"/>
              </a:cxn>
              <a:cxn ang="0">
                <a:pos x="connsiteX50155" y="connsiteY50155"/>
              </a:cxn>
              <a:cxn ang="0">
                <a:pos x="connsiteX50156" y="connsiteY50156"/>
              </a:cxn>
              <a:cxn ang="0">
                <a:pos x="connsiteX50157" y="connsiteY50157"/>
              </a:cxn>
              <a:cxn ang="0">
                <a:pos x="connsiteX50158" y="connsiteY50158"/>
              </a:cxn>
              <a:cxn ang="0">
                <a:pos x="connsiteX50159" y="connsiteY50159"/>
              </a:cxn>
              <a:cxn ang="0">
                <a:pos x="connsiteX50160" y="connsiteY50160"/>
              </a:cxn>
              <a:cxn ang="0">
                <a:pos x="connsiteX50161" y="connsiteY50161"/>
              </a:cxn>
              <a:cxn ang="0">
                <a:pos x="connsiteX50162" y="connsiteY50162"/>
              </a:cxn>
              <a:cxn ang="0">
                <a:pos x="connsiteX50163" y="connsiteY50163"/>
              </a:cxn>
              <a:cxn ang="0">
                <a:pos x="connsiteX50164" y="connsiteY50164"/>
              </a:cxn>
              <a:cxn ang="0">
                <a:pos x="connsiteX50165" y="connsiteY50165"/>
              </a:cxn>
              <a:cxn ang="0">
                <a:pos x="connsiteX50166" y="connsiteY50166"/>
              </a:cxn>
              <a:cxn ang="0">
                <a:pos x="connsiteX50167" y="connsiteY50167"/>
              </a:cxn>
              <a:cxn ang="0">
                <a:pos x="connsiteX50168" y="connsiteY50168"/>
              </a:cxn>
              <a:cxn ang="0">
                <a:pos x="connsiteX50169" y="connsiteY50169"/>
              </a:cxn>
              <a:cxn ang="0">
                <a:pos x="connsiteX50170" y="connsiteY50170"/>
              </a:cxn>
              <a:cxn ang="0">
                <a:pos x="connsiteX50171" y="connsiteY50171"/>
              </a:cxn>
              <a:cxn ang="0">
                <a:pos x="connsiteX50172" y="connsiteY50172"/>
              </a:cxn>
              <a:cxn ang="0">
                <a:pos x="connsiteX50173" y="connsiteY50173"/>
              </a:cxn>
              <a:cxn ang="0">
                <a:pos x="connsiteX50174" y="connsiteY50174"/>
              </a:cxn>
              <a:cxn ang="0">
                <a:pos x="connsiteX50175" y="connsiteY50175"/>
              </a:cxn>
              <a:cxn ang="0">
                <a:pos x="connsiteX50176" y="connsiteY50176"/>
              </a:cxn>
              <a:cxn ang="0">
                <a:pos x="connsiteX50177" y="connsiteY50177"/>
              </a:cxn>
              <a:cxn ang="0">
                <a:pos x="connsiteX50178" y="connsiteY50178"/>
              </a:cxn>
              <a:cxn ang="0">
                <a:pos x="connsiteX50179" y="connsiteY50179"/>
              </a:cxn>
              <a:cxn ang="0">
                <a:pos x="connsiteX50180" y="connsiteY50180"/>
              </a:cxn>
              <a:cxn ang="0">
                <a:pos x="connsiteX50181" y="connsiteY50181"/>
              </a:cxn>
              <a:cxn ang="0">
                <a:pos x="connsiteX50182" y="connsiteY50182"/>
              </a:cxn>
              <a:cxn ang="0">
                <a:pos x="connsiteX50183" y="connsiteY50183"/>
              </a:cxn>
              <a:cxn ang="0">
                <a:pos x="connsiteX50184" y="connsiteY50184"/>
              </a:cxn>
              <a:cxn ang="0">
                <a:pos x="connsiteX50185" y="connsiteY50185"/>
              </a:cxn>
              <a:cxn ang="0">
                <a:pos x="connsiteX50186" y="connsiteY50186"/>
              </a:cxn>
              <a:cxn ang="0">
                <a:pos x="connsiteX50187" y="connsiteY50187"/>
              </a:cxn>
              <a:cxn ang="0">
                <a:pos x="connsiteX50188" y="connsiteY50188"/>
              </a:cxn>
              <a:cxn ang="0">
                <a:pos x="connsiteX50189" y="connsiteY50189"/>
              </a:cxn>
              <a:cxn ang="0">
                <a:pos x="connsiteX50190" y="connsiteY50190"/>
              </a:cxn>
              <a:cxn ang="0">
                <a:pos x="connsiteX50191" y="connsiteY50191"/>
              </a:cxn>
              <a:cxn ang="0">
                <a:pos x="connsiteX50192" y="connsiteY50192"/>
              </a:cxn>
              <a:cxn ang="0">
                <a:pos x="connsiteX50193" y="connsiteY50193"/>
              </a:cxn>
              <a:cxn ang="0">
                <a:pos x="connsiteX50194" y="connsiteY50194"/>
              </a:cxn>
              <a:cxn ang="0">
                <a:pos x="connsiteX50195" y="connsiteY50195"/>
              </a:cxn>
              <a:cxn ang="0">
                <a:pos x="connsiteX50196" y="connsiteY50196"/>
              </a:cxn>
              <a:cxn ang="0">
                <a:pos x="connsiteX50197" y="connsiteY50197"/>
              </a:cxn>
              <a:cxn ang="0">
                <a:pos x="connsiteX50198" y="connsiteY50198"/>
              </a:cxn>
              <a:cxn ang="0">
                <a:pos x="connsiteX50199" y="connsiteY50199"/>
              </a:cxn>
              <a:cxn ang="0">
                <a:pos x="connsiteX50200" y="connsiteY50200"/>
              </a:cxn>
              <a:cxn ang="0">
                <a:pos x="connsiteX50201" y="connsiteY50201"/>
              </a:cxn>
              <a:cxn ang="0">
                <a:pos x="connsiteX50202" y="connsiteY50202"/>
              </a:cxn>
              <a:cxn ang="0">
                <a:pos x="connsiteX50203" y="connsiteY50203"/>
              </a:cxn>
              <a:cxn ang="0">
                <a:pos x="connsiteX50204" y="connsiteY50204"/>
              </a:cxn>
              <a:cxn ang="0">
                <a:pos x="connsiteX50205" y="connsiteY50205"/>
              </a:cxn>
              <a:cxn ang="0">
                <a:pos x="connsiteX50206" y="connsiteY50206"/>
              </a:cxn>
              <a:cxn ang="0">
                <a:pos x="connsiteX50207" y="connsiteY50207"/>
              </a:cxn>
              <a:cxn ang="0">
                <a:pos x="connsiteX50208" y="connsiteY50208"/>
              </a:cxn>
              <a:cxn ang="0">
                <a:pos x="connsiteX50209" y="connsiteY50209"/>
              </a:cxn>
              <a:cxn ang="0">
                <a:pos x="connsiteX50210" y="connsiteY50210"/>
              </a:cxn>
              <a:cxn ang="0">
                <a:pos x="connsiteX50211" y="connsiteY50211"/>
              </a:cxn>
              <a:cxn ang="0">
                <a:pos x="connsiteX50212" y="connsiteY50212"/>
              </a:cxn>
              <a:cxn ang="0">
                <a:pos x="connsiteX50213" y="connsiteY50213"/>
              </a:cxn>
              <a:cxn ang="0">
                <a:pos x="connsiteX50214" y="connsiteY50214"/>
              </a:cxn>
              <a:cxn ang="0">
                <a:pos x="connsiteX50215" y="connsiteY50215"/>
              </a:cxn>
              <a:cxn ang="0">
                <a:pos x="connsiteX50216" y="connsiteY50216"/>
              </a:cxn>
              <a:cxn ang="0">
                <a:pos x="connsiteX50217" y="connsiteY50217"/>
              </a:cxn>
              <a:cxn ang="0">
                <a:pos x="connsiteX50218" y="connsiteY50218"/>
              </a:cxn>
              <a:cxn ang="0">
                <a:pos x="connsiteX50219" y="connsiteY50219"/>
              </a:cxn>
              <a:cxn ang="0">
                <a:pos x="connsiteX50220" y="connsiteY50220"/>
              </a:cxn>
              <a:cxn ang="0">
                <a:pos x="connsiteX50221" y="connsiteY50221"/>
              </a:cxn>
              <a:cxn ang="0">
                <a:pos x="connsiteX50222" y="connsiteY50222"/>
              </a:cxn>
              <a:cxn ang="0">
                <a:pos x="connsiteX50223" y="connsiteY50223"/>
              </a:cxn>
              <a:cxn ang="0">
                <a:pos x="connsiteX50224" y="connsiteY50224"/>
              </a:cxn>
              <a:cxn ang="0">
                <a:pos x="connsiteX50225" y="connsiteY50225"/>
              </a:cxn>
              <a:cxn ang="0">
                <a:pos x="connsiteX50226" y="connsiteY50226"/>
              </a:cxn>
              <a:cxn ang="0">
                <a:pos x="connsiteX50227" y="connsiteY50227"/>
              </a:cxn>
              <a:cxn ang="0">
                <a:pos x="connsiteX50228" y="connsiteY50228"/>
              </a:cxn>
              <a:cxn ang="0">
                <a:pos x="connsiteX50229" y="connsiteY50229"/>
              </a:cxn>
              <a:cxn ang="0">
                <a:pos x="connsiteX50230" y="connsiteY50230"/>
              </a:cxn>
              <a:cxn ang="0">
                <a:pos x="connsiteX50231" y="connsiteY50231"/>
              </a:cxn>
              <a:cxn ang="0">
                <a:pos x="connsiteX50232" y="connsiteY50232"/>
              </a:cxn>
              <a:cxn ang="0">
                <a:pos x="connsiteX50233" y="connsiteY50233"/>
              </a:cxn>
              <a:cxn ang="0">
                <a:pos x="connsiteX50234" y="connsiteY50234"/>
              </a:cxn>
              <a:cxn ang="0">
                <a:pos x="connsiteX50235" y="connsiteY50235"/>
              </a:cxn>
              <a:cxn ang="0">
                <a:pos x="connsiteX50236" y="connsiteY50236"/>
              </a:cxn>
              <a:cxn ang="0">
                <a:pos x="connsiteX50237" y="connsiteY50237"/>
              </a:cxn>
              <a:cxn ang="0">
                <a:pos x="connsiteX50238" y="connsiteY50238"/>
              </a:cxn>
              <a:cxn ang="0">
                <a:pos x="connsiteX50239" y="connsiteY50239"/>
              </a:cxn>
              <a:cxn ang="0">
                <a:pos x="connsiteX50240" y="connsiteY50240"/>
              </a:cxn>
              <a:cxn ang="0">
                <a:pos x="connsiteX50241" y="connsiteY50241"/>
              </a:cxn>
              <a:cxn ang="0">
                <a:pos x="connsiteX50242" y="connsiteY50242"/>
              </a:cxn>
              <a:cxn ang="0">
                <a:pos x="connsiteX50243" y="connsiteY50243"/>
              </a:cxn>
              <a:cxn ang="0">
                <a:pos x="connsiteX50244" y="connsiteY50244"/>
              </a:cxn>
              <a:cxn ang="0">
                <a:pos x="connsiteX50245" y="connsiteY50245"/>
              </a:cxn>
              <a:cxn ang="0">
                <a:pos x="connsiteX50246" y="connsiteY50246"/>
              </a:cxn>
              <a:cxn ang="0">
                <a:pos x="connsiteX50247" y="connsiteY50247"/>
              </a:cxn>
              <a:cxn ang="0">
                <a:pos x="connsiteX50248" y="connsiteY50248"/>
              </a:cxn>
              <a:cxn ang="0">
                <a:pos x="connsiteX50249" y="connsiteY50249"/>
              </a:cxn>
              <a:cxn ang="0">
                <a:pos x="connsiteX50250" y="connsiteY50250"/>
              </a:cxn>
              <a:cxn ang="0">
                <a:pos x="connsiteX50251" y="connsiteY50251"/>
              </a:cxn>
              <a:cxn ang="0">
                <a:pos x="connsiteX50252" y="connsiteY50252"/>
              </a:cxn>
              <a:cxn ang="0">
                <a:pos x="connsiteX50253" y="connsiteY50253"/>
              </a:cxn>
              <a:cxn ang="0">
                <a:pos x="connsiteX50254" y="connsiteY50254"/>
              </a:cxn>
              <a:cxn ang="0">
                <a:pos x="connsiteX50255" y="connsiteY50255"/>
              </a:cxn>
              <a:cxn ang="0">
                <a:pos x="connsiteX50256" y="connsiteY50256"/>
              </a:cxn>
              <a:cxn ang="0">
                <a:pos x="connsiteX50257" y="connsiteY50257"/>
              </a:cxn>
              <a:cxn ang="0">
                <a:pos x="connsiteX50258" y="connsiteY50258"/>
              </a:cxn>
              <a:cxn ang="0">
                <a:pos x="connsiteX50259" y="connsiteY50259"/>
              </a:cxn>
              <a:cxn ang="0">
                <a:pos x="connsiteX50260" y="connsiteY50260"/>
              </a:cxn>
              <a:cxn ang="0">
                <a:pos x="connsiteX50261" y="connsiteY50261"/>
              </a:cxn>
              <a:cxn ang="0">
                <a:pos x="connsiteX50262" y="connsiteY50262"/>
              </a:cxn>
              <a:cxn ang="0">
                <a:pos x="connsiteX50263" y="connsiteY50263"/>
              </a:cxn>
              <a:cxn ang="0">
                <a:pos x="connsiteX50264" y="connsiteY50264"/>
              </a:cxn>
              <a:cxn ang="0">
                <a:pos x="connsiteX50265" y="connsiteY50265"/>
              </a:cxn>
              <a:cxn ang="0">
                <a:pos x="connsiteX50266" y="connsiteY50266"/>
              </a:cxn>
              <a:cxn ang="0">
                <a:pos x="connsiteX50267" y="connsiteY50267"/>
              </a:cxn>
              <a:cxn ang="0">
                <a:pos x="connsiteX50268" y="connsiteY50268"/>
              </a:cxn>
              <a:cxn ang="0">
                <a:pos x="connsiteX50269" y="connsiteY50269"/>
              </a:cxn>
              <a:cxn ang="0">
                <a:pos x="connsiteX50270" y="connsiteY50270"/>
              </a:cxn>
              <a:cxn ang="0">
                <a:pos x="connsiteX50271" y="connsiteY50271"/>
              </a:cxn>
              <a:cxn ang="0">
                <a:pos x="connsiteX50272" y="connsiteY50272"/>
              </a:cxn>
              <a:cxn ang="0">
                <a:pos x="connsiteX50273" y="connsiteY50273"/>
              </a:cxn>
              <a:cxn ang="0">
                <a:pos x="connsiteX50274" y="connsiteY50274"/>
              </a:cxn>
              <a:cxn ang="0">
                <a:pos x="connsiteX50275" y="connsiteY50275"/>
              </a:cxn>
              <a:cxn ang="0">
                <a:pos x="connsiteX50276" y="connsiteY50276"/>
              </a:cxn>
              <a:cxn ang="0">
                <a:pos x="connsiteX50277" y="connsiteY50277"/>
              </a:cxn>
              <a:cxn ang="0">
                <a:pos x="connsiteX50278" y="connsiteY50278"/>
              </a:cxn>
              <a:cxn ang="0">
                <a:pos x="connsiteX50279" y="connsiteY50279"/>
              </a:cxn>
              <a:cxn ang="0">
                <a:pos x="connsiteX50280" y="connsiteY50280"/>
              </a:cxn>
              <a:cxn ang="0">
                <a:pos x="connsiteX50281" y="connsiteY50281"/>
              </a:cxn>
              <a:cxn ang="0">
                <a:pos x="connsiteX50282" y="connsiteY50282"/>
              </a:cxn>
              <a:cxn ang="0">
                <a:pos x="connsiteX50283" y="connsiteY50283"/>
              </a:cxn>
              <a:cxn ang="0">
                <a:pos x="connsiteX50284" y="connsiteY50284"/>
              </a:cxn>
              <a:cxn ang="0">
                <a:pos x="connsiteX50285" y="connsiteY50285"/>
              </a:cxn>
              <a:cxn ang="0">
                <a:pos x="connsiteX50286" y="connsiteY50286"/>
              </a:cxn>
              <a:cxn ang="0">
                <a:pos x="connsiteX50287" y="connsiteY50287"/>
              </a:cxn>
              <a:cxn ang="0">
                <a:pos x="connsiteX50288" y="connsiteY50288"/>
              </a:cxn>
              <a:cxn ang="0">
                <a:pos x="connsiteX50289" y="connsiteY50289"/>
              </a:cxn>
              <a:cxn ang="0">
                <a:pos x="connsiteX50290" y="connsiteY50290"/>
              </a:cxn>
              <a:cxn ang="0">
                <a:pos x="connsiteX50291" y="connsiteY50291"/>
              </a:cxn>
              <a:cxn ang="0">
                <a:pos x="connsiteX50292" y="connsiteY50292"/>
              </a:cxn>
              <a:cxn ang="0">
                <a:pos x="connsiteX50293" y="connsiteY50293"/>
              </a:cxn>
              <a:cxn ang="0">
                <a:pos x="connsiteX50294" y="connsiteY50294"/>
              </a:cxn>
              <a:cxn ang="0">
                <a:pos x="connsiteX50295" y="connsiteY50295"/>
              </a:cxn>
              <a:cxn ang="0">
                <a:pos x="connsiteX50296" y="connsiteY50296"/>
              </a:cxn>
              <a:cxn ang="0">
                <a:pos x="connsiteX50297" y="connsiteY50297"/>
              </a:cxn>
              <a:cxn ang="0">
                <a:pos x="connsiteX50298" y="connsiteY50298"/>
              </a:cxn>
              <a:cxn ang="0">
                <a:pos x="connsiteX50299" y="connsiteY50299"/>
              </a:cxn>
              <a:cxn ang="0">
                <a:pos x="connsiteX50300" y="connsiteY50300"/>
              </a:cxn>
              <a:cxn ang="0">
                <a:pos x="connsiteX50301" y="connsiteY50301"/>
              </a:cxn>
              <a:cxn ang="0">
                <a:pos x="connsiteX50302" y="connsiteY50302"/>
              </a:cxn>
              <a:cxn ang="0">
                <a:pos x="connsiteX50303" y="connsiteY50303"/>
              </a:cxn>
              <a:cxn ang="0">
                <a:pos x="connsiteX50304" y="connsiteY50304"/>
              </a:cxn>
              <a:cxn ang="0">
                <a:pos x="connsiteX50305" y="connsiteY50305"/>
              </a:cxn>
              <a:cxn ang="0">
                <a:pos x="connsiteX50306" y="connsiteY50306"/>
              </a:cxn>
              <a:cxn ang="0">
                <a:pos x="connsiteX50307" y="connsiteY50307"/>
              </a:cxn>
              <a:cxn ang="0">
                <a:pos x="connsiteX50308" y="connsiteY50308"/>
              </a:cxn>
              <a:cxn ang="0">
                <a:pos x="connsiteX50309" y="connsiteY50309"/>
              </a:cxn>
              <a:cxn ang="0">
                <a:pos x="connsiteX50310" y="connsiteY50310"/>
              </a:cxn>
              <a:cxn ang="0">
                <a:pos x="connsiteX50311" y="connsiteY50311"/>
              </a:cxn>
              <a:cxn ang="0">
                <a:pos x="connsiteX50312" y="connsiteY50312"/>
              </a:cxn>
              <a:cxn ang="0">
                <a:pos x="connsiteX50313" y="connsiteY50313"/>
              </a:cxn>
              <a:cxn ang="0">
                <a:pos x="connsiteX50314" y="connsiteY50314"/>
              </a:cxn>
              <a:cxn ang="0">
                <a:pos x="connsiteX50315" y="connsiteY50315"/>
              </a:cxn>
              <a:cxn ang="0">
                <a:pos x="connsiteX50316" y="connsiteY50316"/>
              </a:cxn>
              <a:cxn ang="0">
                <a:pos x="connsiteX50317" y="connsiteY50317"/>
              </a:cxn>
              <a:cxn ang="0">
                <a:pos x="connsiteX50318" y="connsiteY50318"/>
              </a:cxn>
              <a:cxn ang="0">
                <a:pos x="connsiteX50319" y="connsiteY50319"/>
              </a:cxn>
              <a:cxn ang="0">
                <a:pos x="connsiteX50320" y="connsiteY50320"/>
              </a:cxn>
              <a:cxn ang="0">
                <a:pos x="connsiteX50321" y="connsiteY50321"/>
              </a:cxn>
              <a:cxn ang="0">
                <a:pos x="connsiteX50322" y="connsiteY50322"/>
              </a:cxn>
              <a:cxn ang="0">
                <a:pos x="connsiteX50323" y="connsiteY50323"/>
              </a:cxn>
              <a:cxn ang="0">
                <a:pos x="connsiteX50324" y="connsiteY50324"/>
              </a:cxn>
              <a:cxn ang="0">
                <a:pos x="connsiteX50325" y="connsiteY50325"/>
              </a:cxn>
              <a:cxn ang="0">
                <a:pos x="connsiteX50326" y="connsiteY50326"/>
              </a:cxn>
              <a:cxn ang="0">
                <a:pos x="connsiteX50327" y="connsiteY50327"/>
              </a:cxn>
              <a:cxn ang="0">
                <a:pos x="connsiteX50328" y="connsiteY50328"/>
              </a:cxn>
              <a:cxn ang="0">
                <a:pos x="connsiteX50329" y="connsiteY50329"/>
              </a:cxn>
              <a:cxn ang="0">
                <a:pos x="connsiteX50330" y="connsiteY50330"/>
              </a:cxn>
              <a:cxn ang="0">
                <a:pos x="connsiteX50331" y="connsiteY50331"/>
              </a:cxn>
              <a:cxn ang="0">
                <a:pos x="connsiteX50332" y="connsiteY50332"/>
              </a:cxn>
              <a:cxn ang="0">
                <a:pos x="connsiteX50333" y="connsiteY50333"/>
              </a:cxn>
              <a:cxn ang="0">
                <a:pos x="connsiteX50334" y="connsiteY50334"/>
              </a:cxn>
              <a:cxn ang="0">
                <a:pos x="connsiteX50335" y="connsiteY50335"/>
              </a:cxn>
              <a:cxn ang="0">
                <a:pos x="connsiteX50336" y="connsiteY50336"/>
              </a:cxn>
              <a:cxn ang="0">
                <a:pos x="connsiteX50337" y="connsiteY50337"/>
              </a:cxn>
              <a:cxn ang="0">
                <a:pos x="connsiteX50338" y="connsiteY50338"/>
              </a:cxn>
              <a:cxn ang="0">
                <a:pos x="connsiteX50339" y="connsiteY50339"/>
              </a:cxn>
              <a:cxn ang="0">
                <a:pos x="connsiteX50340" y="connsiteY50340"/>
              </a:cxn>
              <a:cxn ang="0">
                <a:pos x="connsiteX50341" y="connsiteY50341"/>
              </a:cxn>
              <a:cxn ang="0">
                <a:pos x="connsiteX50342" y="connsiteY50342"/>
              </a:cxn>
              <a:cxn ang="0">
                <a:pos x="connsiteX50343" y="connsiteY50343"/>
              </a:cxn>
              <a:cxn ang="0">
                <a:pos x="connsiteX50344" y="connsiteY50344"/>
              </a:cxn>
              <a:cxn ang="0">
                <a:pos x="connsiteX50345" y="connsiteY50345"/>
              </a:cxn>
              <a:cxn ang="0">
                <a:pos x="connsiteX50346" y="connsiteY50346"/>
              </a:cxn>
              <a:cxn ang="0">
                <a:pos x="connsiteX50347" y="connsiteY50347"/>
              </a:cxn>
              <a:cxn ang="0">
                <a:pos x="connsiteX50348" y="connsiteY50348"/>
              </a:cxn>
              <a:cxn ang="0">
                <a:pos x="connsiteX50349" y="connsiteY50349"/>
              </a:cxn>
              <a:cxn ang="0">
                <a:pos x="connsiteX50350" y="connsiteY50350"/>
              </a:cxn>
              <a:cxn ang="0">
                <a:pos x="connsiteX50351" y="connsiteY50351"/>
              </a:cxn>
              <a:cxn ang="0">
                <a:pos x="connsiteX50352" y="connsiteY50352"/>
              </a:cxn>
              <a:cxn ang="0">
                <a:pos x="connsiteX50353" y="connsiteY50353"/>
              </a:cxn>
              <a:cxn ang="0">
                <a:pos x="connsiteX50354" y="connsiteY50354"/>
              </a:cxn>
              <a:cxn ang="0">
                <a:pos x="connsiteX50355" y="connsiteY50355"/>
              </a:cxn>
              <a:cxn ang="0">
                <a:pos x="connsiteX50356" y="connsiteY50356"/>
              </a:cxn>
              <a:cxn ang="0">
                <a:pos x="connsiteX50357" y="connsiteY50357"/>
              </a:cxn>
              <a:cxn ang="0">
                <a:pos x="connsiteX50358" y="connsiteY50358"/>
              </a:cxn>
              <a:cxn ang="0">
                <a:pos x="connsiteX50359" y="connsiteY50359"/>
              </a:cxn>
              <a:cxn ang="0">
                <a:pos x="connsiteX50360" y="connsiteY50360"/>
              </a:cxn>
              <a:cxn ang="0">
                <a:pos x="connsiteX50361" y="connsiteY50361"/>
              </a:cxn>
              <a:cxn ang="0">
                <a:pos x="connsiteX50362" y="connsiteY50362"/>
              </a:cxn>
              <a:cxn ang="0">
                <a:pos x="connsiteX50363" y="connsiteY50363"/>
              </a:cxn>
              <a:cxn ang="0">
                <a:pos x="connsiteX50364" y="connsiteY50364"/>
              </a:cxn>
              <a:cxn ang="0">
                <a:pos x="connsiteX50365" y="connsiteY50365"/>
              </a:cxn>
              <a:cxn ang="0">
                <a:pos x="connsiteX50366" y="connsiteY50366"/>
              </a:cxn>
              <a:cxn ang="0">
                <a:pos x="connsiteX50367" y="connsiteY50367"/>
              </a:cxn>
              <a:cxn ang="0">
                <a:pos x="connsiteX50368" y="connsiteY50368"/>
              </a:cxn>
              <a:cxn ang="0">
                <a:pos x="connsiteX50369" y="connsiteY50369"/>
              </a:cxn>
              <a:cxn ang="0">
                <a:pos x="connsiteX50370" y="connsiteY50370"/>
              </a:cxn>
              <a:cxn ang="0">
                <a:pos x="connsiteX50371" y="connsiteY50371"/>
              </a:cxn>
              <a:cxn ang="0">
                <a:pos x="connsiteX50372" y="connsiteY50372"/>
              </a:cxn>
              <a:cxn ang="0">
                <a:pos x="connsiteX50373" y="connsiteY50373"/>
              </a:cxn>
              <a:cxn ang="0">
                <a:pos x="connsiteX50374" y="connsiteY50374"/>
              </a:cxn>
              <a:cxn ang="0">
                <a:pos x="connsiteX50375" y="connsiteY50375"/>
              </a:cxn>
              <a:cxn ang="0">
                <a:pos x="connsiteX50376" y="connsiteY50376"/>
              </a:cxn>
              <a:cxn ang="0">
                <a:pos x="connsiteX50377" y="connsiteY50377"/>
              </a:cxn>
              <a:cxn ang="0">
                <a:pos x="connsiteX50378" y="connsiteY50378"/>
              </a:cxn>
              <a:cxn ang="0">
                <a:pos x="connsiteX50379" y="connsiteY50379"/>
              </a:cxn>
              <a:cxn ang="0">
                <a:pos x="connsiteX50380" y="connsiteY50380"/>
              </a:cxn>
              <a:cxn ang="0">
                <a:pos x="connsiteX50381" y="connsiteY50381"/>
              </a:cxn>
              <a:cxn ang="0">
                <a:pos x="connsiteX50382" y="connsiteY50382"/>
              </a:cxn>
              <a:cxn ang="0">
                <a:pos x="connsiteX50383" y="connsiteY50383"/>
              </a:cxn>
              <a:cxn ang="0">
                <a:pos x="connsiteX50384" y="connsiteY50384"/>
              </a:cxn>
              <a:cxn ang="0">
                <a:pos x="connsiteX50385" y="connsiteY50385"/>
              </a:cxn>
              <a:cxn ang="0">
                <a:pos x="connsiteX50386" y="connsiteY50386"/>
              </a:cxn>
              <a:cxn ang="0">
                <a:pos x="connsiteX50387" y="connsiteY50387"/>
              </a:cxn>
              <a:cxn ang="0">
                <a:pos x="connsiteX50388" y="connsiteY50388"/>
              </a:cxn>
              <a:cxn ang="0">
                <a:pos x="connsiteX50389" y="connsiteY50389"/>
              </a:cxn>
              <a:cxn ang="0">
                <a:pos x="connsiteX50390" y="connsiteY50390"/>
              </a:cxn>
              <a:cxn ang="0">
                <a:pos x="connsiteX50391" y="connsiteY50391"/>
              </a:cxn>
              <a:cxn ang="0">
                <a:pos x="connsiteX50392" y="connsiteY50392"/>
              </a:cxn>
              <a:cxn ang="0">
                <a:pos x="connsiteX50393" y="connsiteY50393"/>
              </a:cxn>
              <a:cxn ang="0">
                <a:pos x="connsiteX50394" y="connsiteY50394"/>
              </a:cxn>
              <a:cxn ang="0">
                <a:pos x="connsiteX50395" y="connsiteY50395"/>
              </a:cxn>
              <a:cxn ang="0">
                <a:pos x="connsiteX50396" y="connsiteY50396"/>
              </a:cxn>
              <a:cxn ang="0">
                <a:pos x="connsiteX50397" y="connsiteY50397"/>
              </a:cxn>
              <a:cxn ang="0">
                <a:pos x="connsiteX50398" y="connsiteY50398"/>
              </a:cxn>
              <a:cxn ang="0">
                <a:pos x="connsiteX50399" y="connsiteY50399"/>
              </a:cxn>
              <a:cxn ang="0">
                <a:pos x="connsiteX50400" y="connsiteY50400"/>
              </a:cxn>
              <a:cxn ang="0">
                <a:pos x="connsiteX50401" y="connsiteY50401"/>
              </a:cxn>
              <a:cxn ang="0">
                <a:pos x="connsiteX50402" y="connsiteY50402"/>
              </a:cxn>
              <a:cxn ang="0">
                <a:pos x="connsiteX50403" y="connsiteY50403"/>
              </a:cxn>
              <a:cxn ang="0">
                <a:pos x="connsiteX50404" y="connsiteY50404"/>
              </a:cxn>
              <a:cxn ang="0">
                <a:pos x="connsiteX50405" y="connsiteY50405"/>
              </a:cxn>
              <a:cxn ang="0">
                <a:pos x="connsiteX50406" y="connsiteY50406"/>
              </a:cxn>
              <a:cxn ang="0">
                <a:pos x="connsiteX50407" y="connsiteY50407"/>
              </a:cxn>
              <a:cxn ang="0">
                <a:pos x="connsiteX50408" y="connsiteY50408"/>
              </a:cxn>
              <a:cxn ang="0">
                <a:pos x="connsiteX50409" y="connsiteY50409"/>
              </a:cxn>
              <a:cxn ang="0">
                <a:pos x="connsiteX50410" y="connsiteY50410"/>
              </a:cxn>
              <a:cxn ang="0">
                <a:pos x="connsiteX50411" y="connsiteY50411"/>
              </a:cxn>
              <a:cxn ang="0">
                <a:pos x="connsiteX50412" y="connsiteY50412"/>
              </a:cxn>
              <a:cxn ang="0">
                <a:pos x="connsiteX50413" y="connsiteY50413"/>
              </a:cxn>
              <a:cxn ang="0">
                <a:pos x="connsiteX50414" y="connsiteY50414"/>
              </a:cxn>
              <a:cxn ang="0">
                <a:pos x="connsiteX50415" y="connsiteY50415"/>
              </a:cxn>
              <a:cxn ang="0">
                <a:pos x="connsiteX50416" y="connsiteY50416"/>
              </a:cxn>
              <a:cxn ang="0">
                <a:pos x="connsiteX50417" y="connsiteY50417"/>
              </a:cxn>
              <a:cxn ang="0">
                <a:pos x="connsiteX50418" y="connsiteY50418"/>
              </a:cxn>
              <a:cxn ang="0">
                <a:pos x="connsiteX50419" y="connsiteY50419"/>
              </a:cxn>
              <a:cxn ang="0">
                <a:pos x="connsiteX50420" y="connsiteY50420"/>
              </a:cxn>
              <a:cxn ang="0">
                <a:pos x="connsiteX50421" y="connsiteY50421"/>
              </a:cxn>
              <a:cxn ang="0">
                <a:pos x="connsiteX50422" y="connsiteY50422"/>
              </a:cxn>
              <a:cxn ang="0">
                <a:pos x="connsiteX50423" y="connsiteY50423"/>
              </a:cxn>
              <a:cxn ang="0">
                <a:pos x="connsiteX50424" y="connsiteY50424"/>
              </a:cxn>
              <a:cxn ang="0">
                <a:pos x="connsiteX50425" y="connsiteY50425"/>
              </a:cxn>
              <a:cxn ang="0">
                <a:pos x="connsiteX50426" y="connsiteY50426"/>
              </a:cxn>
              <a:cxn ang="0">
                <a:pos x="connsiteX50427" y="connsiteY50427"/>
              </a:cxn>
              <a:cxn ang="0">
                <a:pos x="connsiteX50428" y="connsiteY50428"/>
              </a:cxn>
              <a:cxn ang="0">
                <a:pos x="connsiteX50429" y="connsiteY50429"/>
              </a:cxn>
              <a:cxn ang="0">
                <a:pos x="connsiteX50430" y="connsiteY50430"/>
              </a:cxn>
              <a:cxn ang="0">
                <a:pos x="connsiteX50431" y="connsiteY50431"/>
              </a:cxn>
              <a:cxn ang="0">
                <a:pos x="connsiteX50432" y="connsiteY50432"/>
              </a:cxn>
              <a:cxn ang="0">
                <a:pos x="connsiteX50433" y="connsiteY50433"/>
              </a:cxn>
              <a:cxn ang="0">
                <a:pos x="connsiteX50434" y="connsiteY50434"/>
              </a:cxn>
              <a:cxn ang="0">
                <a:pos x="connsiteX50435" y="connsiteY50435"/>
              </a:cxn>
              <a:cxn ang="0">
                <a:pos x="connsiteX50436" y="connsiteY50436"/>
              </a:cxn>
              <a:cxn ang="0">
                <a:pos x="connsiteX50437" y="connsiteY50437"/>
              </a:cxn>
              <a:cxn ang="0">
                <a:pos x="connsiteX50438" y="connsiteY50438"/>
              </a:cxn>
              <a:cxn ang="0">
                <a:pos x="connsiteX50439" y="connsiteY50439"/>
              </a:cxn>
              <a:cxn ang="0">
                <a:pos x="connsiteX50440" y="connsiteY50440"/>
              </a:cxn>
              <a:cxn ang="0">
                <a:pos x="connsiteX50441" y="connsiteY50441"/>
              </a:cxn>
              <a:cxn ang="0">
                <a:pos x="connsiteX50442" y="connsiteY50442"/>
              </a:cxn>
              <a:cxn ang="0">
                <a:pos x="connsiteX50443" y="connsiteY50443"/>
              </a:cxn>
              <a:cxn ang="0">
                <a:pos x="connsiteX50444" y="connsiteY50444"/>
              </a:cxn>
              <a:cxn ang="0">
                <a:pos x="connsiteX50445" y="connsiteY50445"/>
              </a:cxn>
              <a:cxn ang="0">
                <a:pos x="connsiteX50446" y="connsiteY50446"/>
              </a:cxn>
              <a:cxn ang="0">
                <a:pos x="connsiteX50447" y="connsiteY50447"/>
              </a:cxn>
              <a:cxn ang="0">
                <a:pos x="connsiteX50448" y="connsiteY50448"/>
              </a:cxn>
              <a:cxn ang="0">
                <a:pos x="connsiteX50449" y="connsiteY50449"/>
              </a:cxn>
              <a:cxn ang="0">
                <a:pos x="connsiteX50450" y="connsiteY50450"/>
              </a:cxn>
              <a:cxn ang="0">
                <a:pos x="connsiteX50451" y="connsiteY50451"/>
              </a:cxn>
              <a:cxn ang="0">
                <a:pos x="connsiteX50452" y="connsiteY50452"/>
              </a:cxn>
              <a:cxn ang="0">
                <a:pos x="connsiteX50453" y="connsiteY50453"/>
              </a:cxn>
              <a:cxn ang="0">
                <a:pos x="connsiteX50454" y="connsiteY50454"/>
              </a:cxn>
              <a:cxn ang="0">
                <a:pos x="connsiteX50455" y="connsiteY50455"/>
              </a:cxn>
              <a:cxn ang="0">
                <a:pos x="connsiteX50456" y="connsiteY50456"/>
              </a:cxn>
              <a:cxn ang="0">
                <a:pos x="connsiteX50457" y="connsiteY50457"/>
              </a:cxn>
              <a:cxn ang="0">
                <a:pos x="connsiteX50458" y="connsiteY50458"/>
              </a:cxn>
              <a:cxn ang="0">
                <a:pos x="connsiteX50459" y="connsiteY50459"/>
              </a:cxn>
              <a:cxn ang="0">
                <a:pos x="connsiteX50460" y="connsiteY50460"/>
              </a:cxn>
              <a:cxn ang="0">
                <a:pos x="connsiteX50461" y="connsiteY50461"/>
              </a:cxn>
              <a:cxn ang="0">
                <a:pos x="connsiteX50462" y="connsiteY50462"/>
              </a:cxn>
              <a:cxn ang="0">
                <a:pos x="connsiteX50463" y="connsiteY50463"/>
              </a:cxn>
              <a:cxn ang="0">
                <a:pos x="connsiteX50464" y="connsiteY50464"/>
              </a:cxn>
              <a:cxn ang="0">
                <a:pos x="connsiteX50465" y="connsiteY50465"/>
              </a:cxn>
              <a:cxn ang="0">
                <a:pos x="connsiteX50466" y="connsiteY50466"/>
              </a:cxn>
              <a:cxn ang="0">
                <a:pos x="connsiteX50467" y="connsiteY50467"/>
              </a:cxn>
              <a:cxn ang="0">
                <a:pos x="connsiteX50468" y="connsiteY50468"/>
              </a:cxn>
              <a:cxn ang="0">
                <a:pos x="connsiteX50469" y="connsiteY50469"/>
              </a:cxn>
              <a:cxn ang="0">
                <a:pos x="connsiteX50470" y="connsiteY50470"/>
              </a:cxn>
              <a:cxn ang="0">
                <a:pos x="connsiteX50471" y="connsiteY50471"/>
              </a:cxn>
              <a:cxn ang="0">
                <a:pos x="connsiteX50472" y="connsiteY50472"/>
              </a:cxn>
              <a:cxn ang="0">
                <a:pos x="connsiteX50473" y="connsiteY50473"/>
              </a:cxn>
              <a:cxn ang="0">
                <a:pos x="connsiteX50474" y="connsiteY50474"/>
              </a:cxn>
              <a:cxn ang="0">
                <a:pos x="connsiteX50475" y="connsiteY50475"/>
              </a:cxn>
              <a:cxn ang="0">
                <a:pos x="connsiteX50476" y="connsiteY50476"/>
              </a:cxn>
              <a:cxn ang="0">
                <a:pos x="connsiteX50477" y="connsiteY50477"/>
              </a:cxn>
              <a:cxn ang="0">
                <a:pos x="connsiteX50478" y="connsiteY50478"/>
              </a:cxn>
              <a:cxn ang="0">
                <a:pos x="connsiteX50479" y="connsiteY50479"/>
              </a:cxn>
              <a:cxn ang="0">
                <a:pos x="connsiteX50480" y="connsiteY50480"/>
              </a:cxn>
              <a:cxn ang="0">
                <a:pos x="connsiteX50481" y="connsiteY50481"/>
              </a:cxn>
              <a:cxn ang="0">
                <a:pos x="connsiteX50482" y="connsiteY50482"/>
              </a:cxn>
              <a:cxn ang="0">
                <a:pos x="connsiteX50483" y="connsiteY50483"/>
              </a:cxn>
              <a:cxn ang="0">
                <a:pos x="connsiteX50484" y="connsiteY50484"/>
              </a:cxn>
              <a:cxn ang="0">
                <a:pos x="connsiteX50485" y="connsiteY50485"/>
              </a:cxn>
              <a:cxn ang="0">
                <a:pos x="connsiteX50486" y="connsiteY50486"/>
              </a:cxn>
              <a:cxn ang="0">
                <a:pos x="connsiteX50487" y="connsiteY50487"/>
              </a:cxn>
              <a:cxn ang="0">
                <a:pos x="connsiteX50488" y="connsiteY50488"/>
              </a:cxn>
              <a:cxn ang="0">
                <a:pos x="connsiteX50489" y="connsiteY50489"/>
              </a:cxn>
              <a:cxn ang="0">
                <a:pos x="connsiteX50490" y="connsiteY50490"/>
              </a:cxn>
              <a:cxn ang="0">
                <a:pos x="connsiteX50491" y="connsiteY50491"/>
              </a:cxn>
              <a:cxn ang="0">
                <a:pos x="connsiteX50492" y="connsiteY50492"/>
              </a:cxn>
              <a:cxn ang="0">
                <a:pos x="connsiteX50493" y="connsiteY50493"/>
              </a:cxn>
              <a:cxn ang="0">
                <a:pos x="connsiteX50494" y="connsiteY50494"/>
              </a:cxn>
              <a:cxn ang="0">
                <a:pos x="connsiteX50495" y="connsiteY50495"/>
              </a:cxn>
              <a:cxn ang="0">
                <a:pos x="connsiteX50496" y="connsiteY50496"/>
              </a:cxn>
              <a:cxn ang="0">
                <a:pos x="connsiteX50497" y="connsiteY50497"/>
              </a:cxn>
              <a:cxn ang="0">
                <a:pos x="connsiteX50498" y="connsiteY50498"/>
              </a:cxn>
              <a:cxn ang="0">
                <a:pos x="connsiteX50499" y="connsiteY50499"/>
              </a:cxn>
              <a:cxn ang="0">
                <a:pos x="connsiteX50500" y="connsiteY50500"/>
              </a:cxn>
              <a:cxn ang="0">
                <a:pos x="connsiteX50501" y="connsiteY50501"/>
              </a:cxn>
              <a:cxn ang="0">
                <a:pos x="connsiteX50502" y="connsiteY50502"/>
              </a:cxn>
              <a:cxn ang="0">
                <a:pos x="connsiteX50503" y="connsiteY50503"/>
              </a:cxn>
              <a:cxn ang="0">
                <a:pos x="connsiteX50504" y="connsiteY50504"/>
              </a:cxn>
              <a:cxn ang="0">
                <a:pos x="connsiteX50505" y="connsiteY50505"/>
              </a:cxn>
              <a:cxn ang="0">
                <a:pos x="connsiteX50506" y="connsiteY50506"/>
              </a:cxn>
              <a:cxn ang="0">
                <a:pos x="connsiteX50507" y="connsiteY50507"/>
              </a:cxn>
              <a:cxn ang="0">
                <a:pos x="connsiteX50508" y="connsiteY50508"/>
              </a:cxn>
              <a:cxn ang="0">
                <a:pos x="connsiteX50509" y="connsiteY50509"/>
              </a:cxn>
              <a:cxn ang="0">
                <a:pos x="connsiteX50510" y="connsiteY50510"/>
              </a:cxn>
              <a:cxn ang="0">
                <a:pos x="connsiteX50511" y="connsiteY50511"/>
              </a:cxn>
              <a:cxn ang="0">
                <a:pos x="connsiteX50512" y="connsiteY50512"/>
              </a:cxn>
              <a:cxn ang="0">
                <a:pos x="connsiteX50513" y="connsiteY50513"/>
              </a:cxn>
              <a:cxn ang="0">
                <a:pos x="connsiteX50514" y="connsiteY50514"/>
              </a:cxn>
              <a:cxn ang="0">
                <a:pos x="connsiteX50515" y="connsiteY50515"/>
              </a:cxn>
              <a:cxn ang="0">
                <a:pos x="connsiteX50516" y="connsiteY50516"/>
              </a:cxn>
              <a:cxn ang="0">
                <a:pos x="connsiteX50517" y="connsiteY50517"/>
              </a:cxn>
              <a:cxn ang="0">
                <a:pos x="connsiteX50518" y="connsiteY50518"/>
              </a:cxn>
              <a:cxn ang="0">
                <a:pos x="connsiteX50519" y="connsiteY50519"/>
              </a:cxn>
              <a:cxn ang="0">
                <a:pos x="connsiteX50520" y="connsiteY50520"/>
              </a:cxn>
              <a:cxn ang="0">
                <a:pos x="connsiteX50521" y="connsiteY50521"/>
              </a:cxn>
              <a:cxn ang="0">
                <a:pos x="connsiteX50522" y="connsiteY50522"/>
              </a:cxn>
              <a:cxn ang="0">
                <a:pos x="connsiteX50523" y="connsiteY50523"/>
              </a:cxn>
              <a:cxn ang="0">
                <a:pos x="connsiteX50524" y="connsiteY50524"/>
              </a:cxn>
              <a:cxn ang="0">
                <a:pos x="connsiteX50525" y="connsiteY50525"/>
              </a:cxn>
              <a:cxn ang="0">
                <a:pos x="connsiteX50526" y="connsiteY50526"/>
              </a:cxn>
              <a:cxn ang="0">
                <a:pos x="connsiteX50527" y="connsiteY50527"/>
              </a:cxn>
              <a:cxn ang="0">
                <a:pos x="connsiteX50528" y="connsiteY50528"/>
              </a:cxn>
              <a:cxn ang="0">
                <a:pos x="connsiteX50529" y="connsiteY50529"/>
              </a:cxn>
              <a:cxn ang="0">
                <a:pos x="connsiteX50530" y="connsiteY50530"/>
              </a:cxn>
              <a:cxn ang="0">
                <a:pos x="connsiteX50531" y="connsiteY50531"/>
              </a:cxn>
              <a:cxn ang="0">
                <a:pos x="connsiteX50532" y="connsiteY50532"/>
              </a:cxn>
              <a:cxn ang="0">
                <a:pos x="connsiteX50533" y="connsiteY50533"/>
              </a:cxn>
              <a:cxn ang="0">
                <a:pos x="connsiteX50534" y="connsiteY50534"/>
              </a:cxn>
              <a:cxn ang="0">
                <a:pos x="connsiteX50535" y="connsiteY50535"/>
              </a:cxn>
              <a:cxn ang="0">
                <a:pos x="connsiteX50536" y="connsiteY50536"/>
              </a:cxn>
              <a:cxn ang="0">
                <a:pos x="connsiteX50537" y="connsiteY50537"/>
              </a:cxn>
              <a:cxn ang="0">
                <a:pos x="connsiteX50538" y="connsiteY50538"/>
              </a:cxn>
              <a:cxn ang="0">
                <a:pos x="connsiteX50539" y="connsiteY50539"/>
              </a:cxn>
              <a:cxn ang="0">
                <a:pos x="connsiteX50540" y="connsiteY50540"/>
              </a:cxn>
              <a:cxn ang="0">
                <a:pos x="connsiteX50541" y="connsiteY50541"/>
              </a:cxn>
              <a:cxn ang="0">
                <a:pos x="connsiteX50542" y="connsiteY50542"/>
              </a:cxn>
              <a:cxn ang="0">
                <a:pos x="connsiteX50543" y="connsiteY50543"/>
              </a:cxn>
              <a:cxn ang="0">
                <a:pos x="connsiteX50544" y="connsiteY50544"/>
              </a:cxn>
              <a:cxn ang="0">
                <a:pos x="connsiteX50545" y="connsiteY50545"/>
              </a:cxn>
              <a:cxn ang="0">
                <a:pos x="connsiteX50546" y="connsiteY50546"/>
              </a:cxn>
              <a:cxn ang="0">
                <a:pos x="connsiteX50547" y="connsiteY50547"/>
              </a:cxn>
              <a:cxn ang="0">
                <a:pos x="connsiteX50548" y="connsiteY50548"/>
              </a:cxn>
              <a:cxn ang="0">
                <a:pos x="connsiteX50549" y="connsiteY50549"/>
              </a:cxn>
              <a:cxn ang="0">
                <a:pos x="connsiteX50550" y="connsiteY50550"/>
              </a:cxn>
              <a:cxn ang="0">
                <a:pos x="connsiteX50551" y="connsiteY50551"/>
              </a:cxn>
              <a:cxn ang="0">
                <a:pos x="connsiteX50552" y="connsiteY50552"/>
              </a:cxn>
              <a:cxn ang="0">
                <a:pos x="connsiteX50553" y="connsiteY50553"/>
              </a:cxn>
              <a:cxn ang="0">
                <a:pos x="connsiteX50554" y="connsiteY50554"/>
              </a:cxn>
              <a:cxn ang="0">
                <a:pos x="connsiteX50555" y="connsiteY50555"/>
              </a:cxn>
              <a:cxn ang="0">
                <a:pos x="connsiteX50556" y="connsiteY50556"/>
              </a:cxn>
              <a:cxn ang="0">
                <a:pos x="connsiteX50557" y="connsiteY50557"/>
              </a:cxn>
              <a:cxn ang="0">
                <a:pos x="connsiteX50558" y="connsiteY50558"/>
              </a:cxn>
              <a:cxn ang="0">
                <a:pos x="connsiteX50559" y="connsiteY50559"/>
              </a:cxn>
              <a:cxn ang="0">
                <a:pos x="connsiteX50560" y="connsiteY50560"/>
              </a:cxn>
              <a:cxn ang="0">
                <a:pos x="connsiteX50561" y="connsiteY50561"/>
              </a:cxn>
              <a:cxn ang="0">
                <a:pos x="connsiteX50562" y="connsiteY50562"/>
              </a:cxn>
              <a:cxn ang="0">
                <a:pos x="connsiteX50563" y="connsiteY50563"/>
              </a:cxn>
              <a:cxn ang="0">
                <a:pos x="connsiteX50564" y="connsiteY50564"/>
              </a:cxn>
              <a:cxn ang="0">
                <a:pos x="connsiteX50565" y="connsiteY50565"/>
              </a:cxn>
              <a:cxn ang="0">
                <a:pos x="connsiteX50566" y="connsiteY50566"/>
              </a:cxn>
              <a:cxn ang="0">
                <a:pos x="connsiteX50567" y="connsiteY50567"/>
              </a:cxn>
              <a:cxn ang="0">
                <a:pos x="connsiteX50568" y="connsiteY50568"/>
              </a:cxn>
              <a:cxn ang="0">
                <a:pos x="connsiteX50569" y="connsiteY50569"/>
              </a:cxn>
              <a:cxn ang="0">
                <a:pos x="connsiteX50570" y="connsiteY50570"/>
              </a:cxn>
              <a:cxn ang="0">
                <a:pos x="connsiteX50571" y="connsiteY50571"/>
              </a:cxn>
              <a:cxn ang="0">
                <a:pos x="connsiteX50572" y="connsiteY50572"/>
              </a:cxn>
              <a:cxn ang="0">
                <a:pos x="connsiteX50573" y="connsiteY50573"/>
              </a:cxn>
              <a:cxn ang="0">
                <a:pos x="connsiteX50574" y="connsiteY50574"/>
              </a:cxn>
              <a:cxn ang="0">
                <a:pos x="connsiteX50575" y="connsiteY50575"/>
              </a:cxn>
              <a:cxn ang="0">
                <a:pos x="connsiteX50576" y="connsiteY50576"/>
              </a:cxn>
              <a:cxn ang="0">
                <a:pos x="connsiteX50577" y="connsiteY50577"/>
              </a:cxn>
              <a:cxn ang="0">
                <a:pos x="connsiteX50578" y="connsiteY50578"/>
              </a:cxn>
              <a:cxn ang="0">
                <a:pos x="connsiteX50579" y="connsiteY50579"/>
              </a:cxn>
              <a:cxn ang="0">
                <a:pos x="connsiteX50580" y="connsiteY50580"/>
              </a:cxn>
              <a:cxn ang="0">
                <a:pos x="connsiteX50581" y="connsiteY50581"/>
              </a:cxn>
              <a:cxn ang="0">
                <a:pos x="connsiteX50582" y="connsiteY50582"/>
              </a:cxn>
              <a:cxn ang="0">
                <a:pos x="connsiteX50583" y="connsiteY50583"/>
              </a:cxn>
              <a:cxn ang="0">
                <a:pos x="connsiteX50584" y="connsiteY50584"/>
              </a:cxn>
              <a:cxn ang="0">
                <a:pos x="connsiteX50585" y="connsiteY50585"/>
              </a:cxn>
              <a:cxn ang="0">
                <a:pos x="connsiteX50586" y="connsiteY50586"/>
              </a:cxn>
              <a:cxn ang="0">
                <a:pos x="connsiteX50587" y="connsiteY50587"/>
              </a:cxn>
              <a:cxn ang="0">
                <a:pos x="connsiteX50588" y="connsiteY50588"/>
              </a:cxn>
              <a:cxn ang="0">
                <a:pos x="connsiteX50589" y="connsiteY50589"/>
              </a:cxn>
              <a:cxn ang="0">
                <a:pos x="connsiteX50590" y="connsiteY50590"/>
              </a:cxn>
              <a:cxn ang="0">
                <a:pos x="connsiteX50591" y="connsiteY50591"/>
              </a:cxn>
              <a:cxn ang="0">
                <a:pos x="connsiteX50592" y="connsiteY50592"/>
              </a:cxn>
              <a:cxn ang="0">
                <a:pos x="connsiteX50593" y="connsiteY50593"/>
              </a:cxn>
              <a:cxn ang="0">
                <a:pos x="connsiteX50594" y="connsiteY50594"/>
              </a:cxn>
              <a:cxn ang="0">
                <a:pos x="connsiteX50595" y="connsiteY50595"/>
              </a:cxn>
              <a:cxn ang="0">
                <a:pos x="connsiteX50596" y="connsiteY50596"/>
              </a:cxn>
              <a:cxn ang="0">
                <a:pos x="connsiteX50597" y="connsiteY50597"/>
              </a:cxn>
              <a:cxn ang="0">
                <a:pos x="connsiteX50598" y="connsiteY50598"/>
              </a:cxn>
              <a:cxn ang="0">
                <a:pos x="connsiteX50599" y="connsiteY50599"/>
              </a:cxn>
              <a:cxn ang="0">
                <a:pos x="connsiteX50600" y="connsiteY50600"/>
              </a:cxn>
              <a:cxn ang="0">
                <a:pos x="connsiteX50601" y="connsiteY50601"/>
              </a:cxn>
              <a:cxn ang="0">
                <a:pos x="connsiteX50602" y="connsiteY50602"/>
              </a:cxn>
              <a:cxn ang="0">
                <a:pos x="connsiteX50603" y="connsiteY50603"/>
              </a:cxn>
              <a:cxn ang="0">
                <a:pos x="connsiteX50604" y="connsiteY50604"/>
              </a:cxn>
              <a:cxn ang="0">
                <a:pos x="connsiteX50605" y="connsiteY50605"/>
              </a:cxn>
              <a:cxn ang="0">
                <a:pos x="connsiteX50606" y="connsiteY50606"/>
              </a:cxn>
              <a:cxn ang="0">
                <a:pos x="connsiteX50607" y="connsiteY50607"/>
              </a:cxn>
              <a:cxn ang="0">
                <a:pos x="connsiteX50608" y="connsiteY50608"/>
              </a:cxn>
              <a:cxn ang="0">
                <a:pos x="connsiteX50609" y="connsiteY50609"/>
              </a:cxn>
              <a:cxn ang="0">
                <a:pos x="connsiteX50610" y="connsiteY50610"/>
              </a:cxn>
              <a:cxn ang="0">
                <a:pos x="connsiteX50611" y="connsiteY50611"/>
              </a:cxn>
              <a:cxn ang="0">
                <a:pos x="connsiteX50612" y="connsiteY50612"/>
              </a:cxn>
              <a:cxn ang="0">
                <a:pos x="connsiteX50613" y="connsiteY50613"/>
              </a:cxn>
              <a:cxn ang="0">
                <a:pos x="connsiteX50614" y="connsiteY50614"/>
              </a:cxn>
              <a:cxn ang="0">
                <a:pos x="connsiteX50615" y="connsiteY50615"/>
              </a:cxn>
              <a:cxn ang="0">
                <a:pos x="connsiteX50616" y="connsiteY50616"/>
              </a:cxn>
              <a:cxn ang="0">
                <a:pos x="connsiteX50617" y="connsiteY50617"/>
              </a:cxn>
              <a:cxn ang="0">
                <a:pos x="connsiteX50618" y="connsiteY50618"/>
              </a:cxn>
              <a:cxn ang="0">
                <a:pos x="connsiteX50619" y="connsiteY50619"/>
              </a:cxn>
              <a:cxn ang="0">
                <a:pos x="connsiteX50620" y="connsiteY50620"/>
              </a:cxn>
              <a:cxn ang="0">
                <a:pos x="connsiteX50621" y="connsiteY50621"/>
              </a:cxn>
              <a:cxn ang="0">
                <a:pos x="connsiteX50622" y="connsiteY50622"/>
              </a:cxn>
              <a:cxn ang="0">
                <a:pos x="connsiteX50623" y="connsiteY50623"/>
              </a:cxn>
              <a:cxn ang="0">
                <a:pos x="connsiteX50624" y="connsiteY50624"/>
              </a:cxn>
              <a:cxn ang="0">
                <a:pos x="connsiteX50625" y="connsiteY50625"/>
              </a:cxn>
              <a:cxn ang="0">
                <a:pos x="connsiteX50626" y="connsiteY50626"/>
              </a:cxn>
              <a:cxn ang="0">
                <a:pos x="connsiteX50627" y="connsiteY50627"/>
              </a:cxn>
              <a:cxn ang="0">
                <a:pos x="connsiteX50628" y="connsiteY50628"/>
              </a:cxn>
              <a:cxn ang="0">
                <a:pos x="connsiteX50629" y="connsiteY50629"/>
              </a:cxn>
              <a:cxn ang="0">
                <a:pos x="connsiteX50630" y="connsiteY50630"/>
              </a:cxn>
              <a:cxn ang="0">
                <a:pos x="connsiteX50631" y="connsiteY50631"/>
              </a:cxn>
              <a:cxn ang="0">
                <a:pos x="connsiteX50632" y="connsiteY50632"/>
              </a:cxn>
              <a:cxn ang="0">
                <a:pos x="connsiteX50633" y="connsiteY50633"/>
              </a:cxn>
              <a:cxn ang="0">
                <a:pos x="connsiteX50634" y="connsiteY50634"/>
              </a:cxn>
              <a:cxn ang="0">
                <a:pos x="connsiteX50635" y="connsiteY50635"/>
              </a:cxn>
              <a:cxn ang="0">
                <a:pos x="connsiteX50636" y="connsiteY50636"/>
              </a:cxn>
              <a:cxn ang="0">
                <a:pos x="connsiteX50637" y="connsiteY50637"/>
              </a:cxn>
              <a:cxn ang="0">
                <a:pos x="connsiteX50638" y="connsiteY50638"/>
              </a:cxn>
              <a:cxn ang="0">
                <a:pos x="connsiteX50639" y="connsiteY50639"/>
              </a:cxn>
              <a:cxn ang="0">
                <a:pos x="connsiteX50640" y="connsiteY50640"/>
              </a:cxn>
              <a:cxn ang="0">
                <a:pos x="connsiteX50641" y="connsiteY50641"/>
              </a:cxn>
              <a:cxn ang="0">
                <a:pos x="connsiteX50642" y="connsiteY50642"/>
              </a:cxn>
              <a:cxn ang="0">
                <a:pos x="connsiteX50643" y="connsiteY50643"/>
              </a:cxn>
              <a:cxn ang="0">
                <a:pos x="connsiteX50644" y="connsiteY50644"/>
              </a:cxn>
              <a:cxn ang="0">
                <a:pos x="connsiteX50645" y="connsiteY50645"/>
              </a:cxn>
              <a:cxn ang="0">
                <a:pos x="connsiteX50646" y="connsiteY50646"/>
              </a:cxn>
              <a:cxn ang="0">
                <a:pos x="connsiteX50647" y="connsiteY50647"/>
              </a:cxn>
              <a:cxn ang="0">
                <a:pos x="connsiteX50648" y="connsiteY50648"/>
              </a:cxn>
              <a:cxn ang="0">
                <a:pos x="connsiteX50649" y="connsiteY50649"/>
              </a:cxn>
              <a:cxn ang="0">
                <a:pos x="connsiteX50650" y="connsiteY50650"/>
              </a:cxn>
              <a:cxn ang="0">
                <a:pos x="connsiteX50651" y="connsiteY50651"/>
              </a:cxn>
              <a:cxn ang="0">
                <a:pos x="connsiteX50652" y="connsiteY50652"/>
              </a:cxn>
              <a:cxn ang="0">
                <a:pos x="connsiteX50653" y="connsiteY50653"/>
              </a:cxn>
              <a:cxn ang="0">
                <a:pos x="connsiteX50654" y="connsiteY50654"/>
              </a:cxn>
              <a:cxn ang="0">
                <a:pos x="connsiteX50655" y="connsiteY50655"/>
              </a:cxn>
              <a:cxn ang="0">
                <a:pos x="connsiteX50656" y="connsiteY50656"/>
              </a:cxn>
              <a:cxn ang="0">
                <a:pos x="connsiteX50657" y="connsiteY50657"/>
              </a:cxn>
              <a:cxn ang="0">
                <a:pos x="connsiteX50658" y="connsiteY50658"/>
              </a:cxn>
              <a:cxn ang="0">
                <a:pos x="connsiteX50659" y="connsiteY50659"/>
              </a:cxn>
              <a:cxn ang="0">
                <a:pos x="connsiteX50660" y="connsiteY50660"/>
              </a:cxn>
              <a:cxn ang="0">
                <a:pos x="connsiteX50661" y="connsiteY50661"/>
              </a:cxn>
              <a:cxn ang="0">
                <a:pos x="connsiteX50662" y="connsiteY50662"/>
              </a:cxn>
              <a:cxn ang="0">
                <a:pos x="connsiteX50663" y="connsiteY50663"/>
              </a:cxn>
              <a:cxn ang="0">
                <a:pos x="connsiteX50664" y="connsiteY50664"/>
              </a:cxn>
              <a:cxn ang="0">
                <a:pos x="connsiteX50665" y="connsiteY50665"/>
              </a:cxn>
              <a:cxn ang="0">
                <a:pos x="connsiteX50666" y="connsiteY50666"/>
              </a:cxn>
              <a:cxn ang="0">
                <a:pos x="connsiteX50667" y="connsiteY50667"/>
              </a:cxn>
              <a:cxn ang="0">
                <a:pos x="connsiteX50668" y="connsiteY50668"/>
              </a:cxn>
              <a:cxn ang="0">
                <a:pos x="connsiteX50669" y="connsiteY50669"/>
              </a:cxn>
              <a:cxn ang="0">
                <a:pos x="connsiteX50670" y="connsiteY50670"/>
              </a:cxn>
              <a:cxn ang="0">
                <a:pos x="connsiteX50671" y="connsiteY50671"/>
              </a:cxn>
              <a:cxn ang="0">
                <a:pos x="connsiteX50672" y="connsiteY50672"/>
              </a:cxn>
              <a:cxn ang="0">
                <a:pos x="connsiteX50673" y="connsiteY50673"/>
              </a:cxn>
              <a:cxn ang="0">
                <a:pos x="connsiteX50674" y="connsiteY50674"/>
              </a:cxn>
              <a:cxn ang="0">
                <a:pos x="connsiteX50675" y="connsiteY50675"/>
              </a:cxn>
              <a:cxn ang="0">
                <a:pos x="connsiteX50676" y="connsiteY50676"/>
              </a:cxn>
              <a:cxn ang="0">
                <a:pos x="connsiteX50677" y="connsiteY50677"/>
              </a:cxn>
              <a:cxn ang="0">
                <a:pos x="connsiteX50678" y="connsiteY50678"/>
              </a:cxn>
              <a:cxn ang="0">
                <a:pos x="connsiteX50679" y="connsiteY50679"/>
              </a:cxn>
              <a:cxn ang="0">
                <a:pos x="connsiteX50680" y="connsiteY50680"/>
              </a:cxn>
              <a:cxn ang="0">
                <a:pos x="connsiteX50681" y="connsiteY50681"/>
              </a:cxn>
              <a:cxn ang="0">
                <a:pos x="connsiteX50682" y="connsiteY50682"/>
              </a:cxn>
              <a:cxn ang="0">
                <a:pos x="connsiteX50683" y="connsiteY50683"/>
              </a:cxn>
              <a:cxn ang="0">
                <a:pos x="connsiteX50684" y="connsiteY50684"/>
              </a:cxn>
              <a:cxn ang="0">
                <a:pos x="connsiteX50685" y="connsiteY50685"/>
              </a:cxn>
              <a:cxn ang="0">
                <a:pos x="connsiteX50686" y="connsiteY50686"/>
              </a:cxn>
              <a:cxn ang="0">
                <a:pos x="connsiteX50687" y="connsiteY50687"/>
              </a:cxn>
              <a:cxn ang="0">
                <a:pos x="connsiteX50688" y="connsiteY50688"/>
              </a:cxn>
              <a:cxn ang="0">
                <a:pos x="connsiteX50689" y="connsiteY50689"/>
              </a:cxn>
              <a:cxn ang="0">
                <a:pos x="connsiteX50690" y="connsiteY50690"/>
              </a:cxn>
              <a:cxn ang="0">
                <a:pos x="connsiteX50691" y="connsiteY50691"/>
              </a:cxn>
              <a:cxn ang="0">
                <a:pos x="connsiteX50692" y="connsiteY50692"/>
              </a:cxn>
              <a:cxn ang="0">
                <a:pos x="connsiteX50693" y="connsiteY50693"/>
              </a:cxn>
              <a:cxn ang="0">
                <a:pos x="connsiteX50694" y="connsiteY50694"/>
              </a:cxn>
              <a:cxn ang="0">
                <a:pos x="connsiteX50695" y="connsiteY50695"/>
              </a:cxn>
              <a:cxn ang="0">
                <a:pos x="connsiteX50696" y="connsiteY50696"/>
              </a:cxn>
              <a:cxn ang="0">
                <a:pos x="connsiteX50697" y="connsiteY50697"/>
              </a:cxn>
              <a:cxn ang="0">
                <a:pos x="connsiteX50698" y="connsiteY50698"/>
              </a:cxn>
              <a:cxn ang="0">
                <a:pos x="connsiteX50699" y="connsiteY50699"/>
              </a:cxn>
              <a:cxn ang="0">
                <a:pos x="connsiteX50700" y="connsiteY50700"/>
              </a:cxn>
              <a:cxn ang="0">
                <a:pos x="connsiteX50701" y="connsiteY50701"/>
              </a:cxn>
              <a:cxn ang="0">
                <a:pos x="connsiteX50702" y="connsiteY50702"/>
              </a:cxn>
              <a:cxn ang="0">
                <a:pos x="connsiteX50703" y="connsiteY50703"/>
              </a:cxn>
              <a:cxn ang="0">
                <a:pos x="connsiteX50704" y="connsiteY50704"/>
              </a:cxn>
              <a:cxn ang="0">
                <a:pos x="connsiteX50705" y="connsiteY50705"/>
              </a:cxn>
              <a:cxn ang="0">
                <a:pos x="connsiteX50706" y="connsiteY50706"/>
              </a:cxn>
              <a:cxn ang="0">
                <a:pos x="connsiteX50707" y="connsiteY50707"/>
              </a:cxn>
              <a:cxn ang="0">
                <a:pos x="connsiteX50708" y="connsiteY50708"/>
              </a:cxn>
              <a:cxn ang="0">
                <a:pos x="connsiteX50709" y="connsiteY50709"/>
              </a:cxn>
              <a:cxn ang="0">
                <a:pos x="connsiteX50710" y="connsiteY50710"/>
              </a:cxn>
              <a:cxn ang="0">
                <a:pos x="connsiteX50711" y="connsiteY50711"/>
              </a:cxn>
              <a:cxn ang="0">
                <a:pos x="connsiteX50712" y="connsiteY50712"/>
              </a:cxn>
              <a:cxn ang="0">
                <a:pos x="connsiteX50713" y="connsiteY50713"/>
              </a:cxn>
              <a:cxn ang="0">
                <a:pos x="connsiteX50714" y="connsiteY50714"/>
              </a:cxn>
              <a:cxn ang="0">
                <a:pos x="connsiteX50715" y="connsiteY50715"/>
              </a:cxn>
              <a:cxn ang="0">
                <a:pos x="connsiteX50716" y="connsiteY50716"/>
              </a:cxn>
              <a:cxn ang="0">
                <a:pos x="connsiteX50717" y="connsiteY50717"/>
              </a:cxn>
              <a:cxn ang="0">
                <a:pos x="connsiteX50718" y="connsiteY50718"/>
              </a:cxn>
              <a:cxn ang="0">
                <a:pos x="connsiteX50719" y="connsiteY50719"/>
              </a:cxn>
              <a:cxn ang="0">
                <a:pos x="connsiteX50720" y="connsiteY50720"/>
              </a:cxn>
              <a:cxn ang="0">
                <a:pos x="connsiteX50721" y="connsiteY50721"/>
              </a:cxn>
              <a:cxn ang="0">
                <a:pos x="connsiteX50722" y="connsiteY50722"/>
              </a:cxn>
              <a:cxn ang="0">
                <a:pos x="connsiteX50723" y="connsiteY50723"/>
              </a:cxn>
              <a:cxn ang="0">
                <a:pos x="connsiteX50724" y="connsiteY50724"/>
              </a:cxn>
              <a:cxn ang="0">
                <a:pos x="connsiteX50725" y="connsiteY50725"/>
              </a:cxn>
              <a:cxn ang="0">
                <a:pos x="connsiteX50726" y="connsiteY50726"/>
              </a:cxn>
              <a:cxn ang="0">
                <a:pos x="connsiteX50727" y="connsiteY50727"/>
              </a:cxn>
              <a:cxn ang="0">
                <a:pos x="connsiteX50728" y="connsiteY50728"/>
              </a:cxn>
              <a:cxn ang="0">
                <a:pos x="connsiteX50729" y="connsiteY50729"/>
              </a:cxn>
              <a:cxn ang="0">
                <a:pos x="connsiteX50730" y="connsiteY50730"/>
              </a:cxn>
              <a:cxn ang="0">
                <a:pos x="connsiteX50731" y="connsiteY50731"/>
              </a:cxn>
              <a:cxn ang="0">
                <a:pos x="connsiteX50732" y="connsiteY50732"/>
              </a:cxn>
              <a:cxn ang="0">
                <a:pos x="connsiteX50733" y="connsiteY50733"/>
              </a:cxn>
              <a:cxn ang="0">
                <a:pos x="connsiteX50734" y="connsiteY50734"/>
              </a:cxn>
              <a:cxn ang="0">
                <a:pos x="connsiteX50735" y="connsiteY50735"/>
              </a:cxn>
              <a:cxn ang="0">
                <a:pos x="connsiteX50736" y="connsiteY50736"/>
              </a:cxn>
              <a:cxn ang="0">
                <a:pos x="connsiteX50737" y="connsiteY50737"/>
              </a:cxn>
              <a:cxn ang="0">
                <a:pos x="connsiteX50738" y="connsiteY50738"/>
              </a:cxn>
              <a:cxn ang="0">
                <a:pos x="connsiteX50739" y="connsiteY50739"/>
              </a:cxn>
              <a:cxn ang="0">
                <a:pos x="connsiteX50740" y="connsiteY50740"/>
              </a:cxn>
              <a:cxn ang="0">
                <a:pos x="connsiteX50741" y="connsiteY50741"/>
              </a:cxn>
              <a:cxn ang="0">
                <a:pos x="connsiteX50742" y="connsiteY50742"/>
              </a:cxn>
              <a:cxn ang="0">
                <a:pos x="connsiteX50743" y="connsiteY50743"/>
              </a:cxn>
              <a:cxn ang="0">
                <a:pos x="connsiteX50744" y="connsiteY50744"/>
              </a:cxn>
              <a:cxn ang="0">
                <a:pos x="connsiteX50745" y="connsiteY50745"/>
              </a:cxn>
              <a:cxn ang="0">
                <a:pos x="connsiteX50746" y="connsiteY50746"/>
              </a:cxn>
              <a:cxn ang="0">
                <a:pos x="connsiteX50747" y="connsiteY50747"/>
              </a:cxn>
              <a:cxn ang="0">
                <a:pos x="connsiteX50748" y="connsiteY50748"/>
              </a:cxn>
              <a:cxn ang="0">
                <a:pos x="connsiteX50749" y="connsiteY50749"/>
              </a:cxn>
              <a:cxn ang="0">
                <a:pos x="connsiteX50750" y="connsiteY50750"/>
              </a:cxn>
              <a:cxn ang="0">
                <a:pos x="connsiteX50751" y="connsiteY50751"/>
              </a:cxn>
              <a:cxn ang="0">
                <a:pos x="connsiteX50752" y="connsiteY50752"/>
              </a:cxn>
              <a:cxn ang="0">
                <a:pos x="connsiteX50753" y="connsiteY50753"/>
              </a:cxn>
              <a:cxn ang="0">
                <a:pos x="connsiteX50754" y="connsiteY50754"/>
              </a:cxn>
              <a:cxn ang="0">
                <a:pos x="connsiteX50755" y="connsiteY50755"/>
              </a:cxn>
              <a:cxn ang="0">
                <a:pos x="connsiteX50756" y="connsiteY50756"/>
              </a:cxn>
              <a:cxn ang="0">
                <a:pos x="connsiteX50757" y="connsiteY50757"/>
              </a:cxn>
              <a:cxn ang="0">
                <a:pos x="connsiteX50758" y="connsiteY50758"/>
              </a:cxn>
              <a:cxn ang="0">
                <a:pos x="connsiteX50759" y="connsiteY50759"/>
              </a:cxn>
              <a:cxn ang="0">
                <a:pos x="connsiteX50760" y="connsiteY50760"/>
              </a:cxn>
              <a:cxn ang="0">
                <a:pos x="connsiteX50761" y="connsiteY50761"/>
              </a:cxn>
              <a:cxn ang="0">
                <a:pos x="connsiteX50762" y="connsiteY50762"/>
              </a:cxn>
              <a:cxn ang="0">
                <a:pos x="connsiteX50763" y="connsiteY50763"/>
              </a:cxn>
              <a:cxn ang="0">
                <a:pos x="connsiteX50764" y="connsiteY50764"/>
              </a:cxn>
              <a:cxn ang="0">
                <a:pos x="connsiteX50765" y="connsiteY50765"/>
              </a:cxn>
              <a:cxn ang="0">
                <a:pos x="connsiteX50766" y="connsiteY50766"/>
              </a:cxn>
              <a:cxn ang="0">
                <a:pos x="connsiteX50767" y="connsiteY50767"/>
              </a:cxn>
              <a:cxn ang="0">
                <a:pos x="connsiteX50768" y="connsiteY50768"/>
              </a:cxn>
              <a:cxn ang="0">
                <a:pos x="connsiteX50769" y="connsiteY50769"/>
              </a:cxn>
              <a:cxn ang="0">
                <a:pos x="connsiteX50770" y="connsiteY50770"/>
              </a:cxn>
              <a:cxn ang="0">
                <a:pos x="connsiteX50771" y="connsiteY50771"/>
              </a:cxn>
              <a:cxn ang="0">
                <a:pos x="connsiteX50772" y="connsiteY50772"/>
              </a:cxn>
              <a:cxn ang="0">
                <a:pos x="connsiteX50773" y="connsiteY50773"/>
              </a:cxn>
              <a:cxn ang="0">
                <a:pos x="connsiteX50774" y="connsiteY50774"/>
              </a:cxn>
              <a:cxn ang="0">
                <a:pos x="connsiteX50775" y="connsiteY50775"/>
              </a:cxn>
              <a:cxn ang="0">
                <a:pos x="connsiteX50776" y="connsiteY50776"/>
              </a:cxn>
              <a:cxn ang="0">
                <a:pos x="connsiteX50777" y="connsiteY50777"/>
              </a:cxn>
              <a:cxn ang="0">
                <a:pos x="connsiteX50778" y="connsiteY50778"/>
              </a:cxn>
              <a:cxn ang="0">
                <a:pos x="connsiteX50779" y="connsiteY50779"/>
              </a:cxn>
              <a:cxn ang="0">
                <a:pos x="connsiteX50780" y="connsiteY50780"/>
              </a:cxn>
              <a:cxn ang="0">
                <a:pos x="connsiteX50781" y="connsiteY50781"/>
              </a:cxn>
              <a:cxn ang="0">
                <a:pos x="connsiteX50782" y="connsiteY50782"/>
              </a:cxn>
              <a:cxn ang="0">
                <a:pos x="connsiteX50783" y="connsiteY50783"/>
              </a:cxn>
              <a:cxn ang="0">
                <a:pos x="connsiteX50784" y="connsiteY50784"/>
              </a:cxn>
              <a:cxn ang="0">
                <a:pos x="connsiteX50785" y="connsiteY50785"/>
              </a:cxn>
              <a:cxn ang="0">
                <a:pos x="connsiteX50786" y="connsiteY50786"/>
              </a:cxn>
              <a:cxn ang="0">
                <a:pos x="connsiteX50787" y="connsiteY50787"/>
              </a:cxn>
              <a:cxn ang="0">
                <a:pos x="connsiteX50788" y="connsiteY50788"/>
              </a:cxn>
              <a:cxn ang="0">
                <a:pos x="connsiteX50789" y="connsiteY50789"/>
              </a:cxn>
              <a:cxn ang="0">
                <a:pos x="connsiteX50790" y="connsiteY50790"/>
              </a:cxn>
              <a:cxn ang="0">
                <a:pos x="connsiteX50791" y="connsiteY50791"/>
              </a:cxn>
              <a:cxn ang="0">
                <a:pos x="connsiteX50792" y="connsiteY50792"/>
              </a:cxn>
              <a:cxn ang="0">
                <a:pos x="connsiteX50793" y="connsiteY50793"/>
              </a:cxn>
              <a:cxn ang="0">
                <a:pos x="connsiteX50794" y="connsiteY50794"/>
              </a:cxn>
              <a:cxn ang="0">
                <a:pos x="connsiteX50795" y="connsiteY50795"/>
              </a:cxn>
              <a:cxn ang="0">
                <a:pos x="connsiteX50796" y="connsiteY50796"/>
              </a:cxn>
              <a:cxn ang="0">
                <a:pos x="connsiteX50797" y="connsiteY50797"/>
              </a:cxn>
              <a:cxn ang="0">
                <a:pos x="connsiteX50798" y="connsiteY50798"/>
              </a:cxn>
              <a:cxn ang="0">
                <a:pos x="connsiteX50799" y="connsiteY50799"/>
              </a:cxn>
              <a:cxn ang="0">
                <a:pos x="connsiteX50800" y="connsiteY50800"/>
              </a:cxn>
              <a:cxn ang="0">
                <a:pos x="connsiteX50801" y="connsiteY50801"/>
              </a:cxn>
              <a:cxn ang="0">
                <a:pos x="connsiteX50802" y="connsiteY50802"/>
              </a:cxn>
              <a:cxn ang="0">
                <a:pos x="connsiteX50803" y="connsiteY50803"/>
              </a:cxn>
              <a:cxn ang="0">
                <a:pos x="connsiteX50804" y="connsiteY50804"/>
              </a:cxn>
              <a:cxn ang="0">
                <a:pos x="connsiteX50805" y="connsiteY50805"/>
              </a:cxn>
              <a:cxn ang="0">
                <a:pos x="connsiteX50806" y="connsiteY50806"/>
              </a:cxn>
              <a:cxn ang="0">
                <a:pos x="connsiteX50807" y="connsiteY50807"/>
              </a:cxn>
              <a:cxn ang="0">
                <a:pos x="connsiteX50808" y="connsiteY50808"/>
              </a:cxn>
              <a:cxn ang="0">
                <a:pos x="connsiteX50809" y="connsiteY50809"/>
              </a:cxn>
              <a:cxn ang="0">
                <a:pos x="connsiteX50810" y="connsiteY50810"/>
              </a:cxn>
              <a:cxn ang="0">
                <a:pos x="connsiteX50811" y="connsiteY50811"/>
              </a:cxn>
              <a:cxn ang="0">
                <a:pos x="connsiteX50812" y="connsiteY50812"/>
              </a:cxn>
              <a:cxn ang="0">
                <a:pos x="connsiteX50813" y="connsiteY50813"/>
              </a:cxn>
              <a:cxn ang="0">
                <a:pos x="connsiteX50814" y="connsiteY50814"/>
              </a:cxn>
              <a:cxn ang="0">
                <a:pos x="connsiteX50815" y="connsiteY50815"/>
              </a:cxn>
              <a:cxn ang="0">
                <a:pos x="connsiteX50816" y="connsiteY50816"/>
              </a:cxn>
              <a:cxn ang="0">
                <a:pos x="connsiteX50817" y="connsiteY50817"/>
              </a:cxn>
              <a:cxn ang="0">
                <a:pos x="connsiteX50818" y="connsiteY50818"/>
              </a:cxn>
              <a:cxn ang="0">
                <a:pos x="connsiteX50819" y="connsiteY50819"/>
              </a:cxn>
              <a:cxn ang="0">
                <a:pos x="connsiteX50820" y="connsiteY50820"/>
              </a:cxn>
              <a:cxn ang="0">
                <a:pos x="connsiteX50821" y="connsiteY50821"/>
              </a:cxn>
              <a:cxn ang="0">
                <a:pos x="connsiteX50822" y="connsiteY50822"/>
              </a:cxn>
              <a:cxn ang="0">
                <a:pos x="connsiteX50823" y="connsiteY50823"/>
              </a:cxn>
              <a:cxn ang="0">
                <a:pos x="connsiteX50824" y="connsiteY50824"/>
              </a:cxn>
              <a:cxn ang="0">
                <a:pos x="connsiteX50825" y="connsiteY50825"/>
              </a:cxn>
              <a:cxn ang="0">
                <a:pos x="connsiteX50826" y="connsiteY50826"/>
              </a:cxn>
              <a:cxn ang="0">
                <a:pos x="connsiteX50827" y="connsiteY50827"/>
              </a:cxn>
              <a:cxn ang="0">
                <a:pos x="connsiteX50828" y="connsiteY50828"/>
              </a:cxn>
              <a:cxn ang="0">
                <a:pos x="connsiteX50829" y="connsiteY50829"/>
              </a:cxn>
              <a:cxn ang="0">
                <a:pos x="connsiteX50830" y="connsiteY50830"/>
              </a:cxn>
              <a:cxn ang="0">
                <a:pos x="connsiteX50831" y="connsiteY50831"/>
              </a:cxn>
              <a:cxn ang="0">
                <a:pos x="connsiteX50832" y="connsiteY50832"/>
              </a:cxn>
              <a:cxn ang="0">
                <a:pos x="connsiteX50833" y="connsiteY50833"/>
              </a:cxn>
              <a:cxn ang="0">
                <a:pos x="connsiteX50834" y="connsiteY50834"/>
              </a:cxn>
              <a:cxn ang="0">
                <a:pos x="connsiteX50835" y="connsiteY50835"/>
              </a:cxn>
              <a:cxn ang="0">
                <a:pos x="connsiteX50836" y="connsiteY50836"/>
              </a:cxn>
              <a:cxn ang="0">
                <a:pos x="connsiteX50837" y="connsiteY50837"/>
              </a:cxn>
              <a:cxn ang="0">
                <a:pos x="connsiteX50838" y="connsiteY50838"/>
              </a:cxn>
              <a:cxn ang="0">
                <a:pos x="connsiteX50839" y="connsiteY50839"/>
              </a:cxn>
              <a:cxn ang="0">
                <a:pos x="connsiteX50840" y="connsiteY50840"/>
              </a:cxn>
              <a:cxn ang="0">
                <a:pos x="connsiteX50841" y="connsiteY50841"/>
              </a:cxn>
              <a:cxn ang="0">
                <a:pos x="connsiteX50842" y="connsiteY50842"/>
              </a:cxn>
              <a:cxn ang="0">
                <a:pos x="connsiteX50843" y="connsiteY50843"/>
              </a:cxn>
              <a:cxn ang="0">
                <a:pos x="connsiteX50844" y="connsiteY50844"/>
              </a:cxn>
              <a:cxn ang="0">
                <a:pos x="connsiteX50845" y="connsiteY50845"/>
              </a:cxn>
              <a:cxn ang="0">
                <a:pos x="connsiteX50846" y="connsiteY50846"/>
              </a:cxn>
              <a:cxn ang="0">
                <a:pos x="connsiteX50847" y="connsiteY50847"/>
              </a:cxn>
              <a:cxn ang="0">
                <a:pos x="connsiteX50848" y="connsiteY50848"/>
              </a:cxn>
              <a:cxn ang="0">
                <a:pos x="connsiteX50849" y="connsiteY50849"/>
              </a:cxn>
              <a:cxn ang="0">
                <a:pos x="connsiteX50850" y="connsiteY50850"/>
              </a:cxn>
              <a:cxn ang="0">
                <a:pos x="connsiteX50851" y="connsiteY50851"/>
              </a:cxn>
              <a:cxn ang="0">
                <a:pos x="connsiteX50852" y="connsiteY50852"/>
              </a:cxn>
              <a:cxn ang="0">
                <a:pos x="connsiteX50853" y="connsiteY50853"/>
              </a:cxn>
              <a:cxn ang="0">
                <a:pos x="connsiteX50854" y="connsiteY50854"/>
              </a:cxn>
              <a:cxn ang="0">
                <a:pos x="connsiteX50855" y="connsiteY50855"/>
              </a:cxn>
              <a:cxn ang="0">
                <a:pos x="connsiteX50856" y="connsiteY50856"/>
              </a:cxn>
              <a:cxn ang="0">
                <a:pos x="connsiteX50857" y="connsiteY50857"/>
              </a:cxn>
              <a:cxn ang="0">
                <a:pos x="connsiteX50858" y="connsiteY50858"/>
              </a:cxn>
              <a:cxn ang="0">
                <a:pos x="connsiteX50859" y="connsiteY50859"/>
              </a:cxn>
              <a:cxn ang="0">
                <a:pos x="connsiteX50860" y="connsiteY50860"/>
              </a:cxn>
              <a:cxn ang="0">
                <a:pos x="connsiteX50861" y="connsiteY50861"/>
              </a:cxn>
              <a:cxn ang="0">
                <a:pos x="connsiteX50862" y="connsiteY50862"/>
              </a:cxn>
              <a:cxn ang="0">
                <a:pos x="connsiteX50863" y="connsiteY50863"/>
              </a:cxn>
              <a:cxn ang="0">
                <a:pos x="connsiteX50864" y="connsiteY50864"/>
              </a:cxn>
              <a:cxn ang="0">
                <a:pos x="connsiteX50865" y="connsiteY50865"/>
              </a:cxn>
              <a:cxn ang="0">
                <a:pos x="connsiteX50866" y="connsiteY50866"/>
              </a:cxn>
              <a:cxn ang="0">
                <a:pos x="connsiteX50867" y="connsiteY50867"/>
              </a:cxn>
              <a:cxn ang="0">
                <a:pos x="connsiteX50868" y="connsiteY50868"/>
              </a:cxn>
              <a:cxn ang="0">
                <a:pos x="connsiteX50869" y="connsiteY50869"/>
              </a:cxn>
              <a:cxn ang="0">
                <a:pos x="connsiteX50870" y="connsiteY50870"/>
              </a:cxn>
              <a:cxn ang="0">
                <a:pos x="connsiteX50871" y="connsiteY50871"/>
              </a:cxn>
              <a:cxn ang="0">
                <a:pos x="connsiteX50872" y="connsiteY50872"/>
              </a:cxn>
              <a:cxn ang="0">
                <a:pos x="connsiteX50873" y="connsiteY50873"/>
              </a:cxn>
              <a:cxn ang="0">
                <a:pos x="connsiteX50874" y="connsiteY50874"/>
              </a:cxn>
              <a:cxn ang="0">
                <a:pos x="connsiteX50875" y="connsiteY50875"/>
              </a:cxn>
              <a:cxn ang="0">
                <a:pos x="connsiteX50876" y="connsiteY50876"/>
              </a:cxn>
              <a:cxn ang="0">
                <a:pos x="connsiteX50877" y="connsiteY50877"/>
              </a:cxn>
              <a:cxn ang="0">
                <a:pos x="connsiteX50878" y="connsiteY50878"/>
              </a:cxn>
              <a:cxn ang="0">
                <a:pos x="connsiteX50879" y="connsiteY50879"/>
              </a:cxn>
              <a:cxn ang="0">
                <a:pos x="connsiteX50880" y="connsiteY50880"/>
              </a:cxn>
              <a:cxn ang="0">
                <a:pos x="connsiteX50881" y="connsiteY50881"/>
              </a:cxn>
              <a:cxn ang="0">
                <a:pos x="connsiteX50882" y="connsiteY50882"/>
              </a:cxn>
              <a:cxn ang="0">
                <a:pos x="connsiteX50883" y="connsiteY50883"/>
              </a:cxn>
              <a:cxn ang="0">
                <a:pos x="connsiteX50884" y="connsiteY50884"/>
              </a:cxn>
              <a:cxn ang="0">
                <a:pos x="connsiteX50885" y="connsiteY50885"/>
              </a:cxn>
              <a:cxn ang="0">
                <a:pos x="connsiteX50886" y="connsiteY50886"/>
              </a:cxn>
              <a:cxn ang="0">
                <a:pos x="connsiteX50887" y="connsiteY50887"/>
              </a:cxn>
              <a:cxn ang="0">
                <a:pos x="connsiteX50888" y="connsiteY50888"/>
              </a:cxn>
              <a:cxn ang="0">
                <a:pos x="connsiteX50889" y="connsiteY50889"/>
              </a:cxn>
              <a:cxn ang="0">
                <a:pos x="connsiteX50890" y="connsiteY50890"/>
              </a:cxn>
              <a:cxn ang="0">
                <a:pos x="connsiteX50891" y="connsiteY50891"/>
              </a:cxn>
              <a:cxn ang="0">
                <a:pos x="connsiteX50892" y="connsiteY50892"/>
              </a:cxn>
              <a:cxn ang="0">
                <a:pos x="connsiteX50893" y="connsiteY50893"/>
              </a:cxn>
              <a:cxn ang="0">
                <a:pos x="connsiteX50894" y="connsiteY50894"/>
              </a:cxn>
              <a:cxn ang="0">
                <a:pos x="connsiteX50895" y="connsiteY50895"/>
              </a:cxn>
              <a:cxn ang="0">
                <a:pos x="connsiteX50896" y="connsiteY50896"/>
              </a:cxn>
              <a:cxn ang="0">
                <a:pos x="connsiteX50897" y="connsiteY50897"/>
              </a:cxn>
              <a:cxn ang="0">
                <a:pos x="connsiteX50898" y="connsiteY50898"/>
              </a:cxn>
              <a:cxn ang="0">
                <a:pos x="connsiteX50899" y="connsiteY50899"/>
              </a:cxn>
              <a:cxn ang="0">
                <a:pos x="connsiteX50900" y="connsiteY50900"/>
              </a:cxn>
              <a:cxn ang="0">
                <a:pos x="connsiteX50901" y="connsiteY50901"/>
              </a:cxn>
              <a:cxn ang="0">
                <a:pos x="connsiteX50902" y="connsiteY50902"/>
              </a:cxn>
              <a:cxn ang="0">
                <a:pos x="connsiteX50903" y="connsiteY50903"/>
              </a:cxn>
              <a:cxn ang="0">
                <a:pos x="connsiteX50904" y="connsiteY50904"/>
              </a:cxn>
              <a:cxn ang="0">
                <a:pos x="connsiteX50905" y="connsiteY50905"/>
              </a:cxn>
              <a:cxn ang="0">
                <a:pos x="connsiteX50906" y="connsiteY50906"/>
              </a:cxn>
              <a:cxn ang="0">
                <a:pos x="connsiteX50907" y="connsiteY50907"/>
              </a:cxn>
              <a:cxn ang="0">
                <a:pos x="connsiteX50908" y="connsiteY50908"/>
              </a:cxn>
              <a:cxn ang="0">
                <a:pos x="connsiteX50909" y="connsiteY50909"/>
              </a:cxn>
              <a:cxn ang="0">
                <a:pos x="connsiteX50910" y="connsiteY50910"/>
              </a:cxn>
              <a:cxn ang="0">
                <a:pos x="connsiteX50911" y="connsiteY50911"/>
              </a:cxn>
              <a:cxn ang="0">
                <a:pos x="connsiteX50912" y="connsiteY50912"/>
              </a:cxn>
              <a:cxn ang="0">
                <a:pos x="connsiteX50913" y="connsiteY50913"/>
              </a:cxn>
              <a:cxn ang="0">
                <a:pos x="connsiteX50914" y="connsiteY50914"/>
              </a:cxn>
              <a:cxn ang="0">
                <a:pos x="connsiteX50915" y="connsiteY50915"/>
              </a:cxn>
              <a:cxn ang="0">
                <a:pos x="connsiteX50916" y="connsiteY50916"/>
              </a:cxn>
              <a:cxn ang="0">
                <a:pos x="connsiteX50917" y="connsiteY50917"/>
              </a:cxn>
              <a:cxn ang="0">
                <a:pos x="connsiteX50918" y="connsiteY50918"/>
              </a:cxn>
              <a:cxn ang="0">
                <a:pos x="connsiteX50919" y="connsiteY50919"/>
              </a:cxn>
              <a:cxn ang="0">
                <a:pos x="connsiteX50920" y="connsiteY50920"/>
              </a:cxn>
              <a:cxn ang="0">
                <a:pos x="connsiteX50921" y="connsiteY50921"/>
              </a:cxn>
              <a:cxn ang="0">
                <a:pos x="connsiteX50922" y="connsiteY50922"/>
              </a:cxn>
              <a:cxn ang="0">
                <a:pos x="connsiteX50923" y="connsiteY50923"/>
              </a:cxn>
              <a:cxn ang="0">
                <a:pos x="connsiteX50924" y="connsiteY50924"/>
              </a:cxn>
              <a:cxn ang="0">
                <a:pos x="connsiteX50925" y="connsiteY50925"/>
              </a:cxn>
              <a:cxn ang="0">
                <a:pos x="connsiteX50926" y="connsiteY50926"/>
              </a:cxn>
              <a:cxn ang="0">
                <a:pos x="connsiteX50927" y="connsiteY50927"/>
              </a:cxn>
              <a:cxn ang="0">
                <a:pos x="connsiteX50928" y="connsiteY50928"/>
              </a:cxn>
              <a:cxn ang="0">
                <a:pos x="connsiteX50929" y="connsiteY50929"/>
              </a:cxn>
              <a:cxn ang="0">
                <a:pos x="connsiteX50930" y="connsiteY50930"/>
              </a:cxn>
              <a:cxn ang="0">
                <a:pos x="connsiteX50931" y="connsiteY50931"/>
              </a:cxn>
              <a:cxn ang="0">
                <a:pos x="connsiteX50932" y="connsiteY50932"/>
              </a:cxn>
              <a:cxn ang="0">
                <a:pos x="connsiteX50933" y="connsiteY50933"/>
              </a:cxn>
              <a:cxn ang="0">
                <a:pos x="connsiteX50934" y="connsiteY50934"/>
              </a:cxn>
              <a:cxn ang="0">
                <a:pos x="connsiteX50935" y="connsiteY50935"/>
              </a:cxn>
              <a:cxn ang="0">
                <a:pos x="connsiteX50936" y="connsiteY50936"/>
              </a:cxn>
              <a:cxn ang="0">
                <a:pos x="connsiteX50937" y="connsiteY50937"/>
              </a:cxn>
              <a:cxn ang="0">
                <a:pos x="connsiteX50938" y="connsiteY50938"/>
              </a:cxn>
              <a:cxn ang="0">
                <a:pos x="connsiteX50939" y="connsiteY50939"/>
              </a:cxn>
              <a:cxn ang="0">
                <a:pos x="connsiteX50940" y="connsiteY50940"/>
              </a:cxn>
              <a:cxn ang="0">
                <a:pos x="connsiteX50941" y="connsiteY50941"/>
              </a:cxn>
              <a:cxn ang="0">
                <a:pos x="connsiteX50942" y="connsiteY50942"/>
              </a:cxn>
              <a:cxn ang="0">
                <a:pos x="connsiteX50943" y="connsiteY50943"/>
              </a:cxn>
              <a:cxn ang="0">
                <a:pos x="connsiteX50944" y="connsiteY50944"/>
              </a:cxn>
              <a:cxn ang="0">
                <a:pos x="connsiteX50945" y="connsiteY50945"/>
              </a:cxn>
              <a:cxn ang="0">
                <a:pos x="connsiteX50946" y="connsiteY50946"/>
              </a:cxn>
              <a:cxn ang="0">
                <a:pos x="connsiteX50947" y="connsiteY50947"/>
              </a:cxn>
              <a:cxn ang="0">
                <a:pos x="connsiteX50948" y="connsiteY50948"/>
              </a:cxn>
              <a:cxn ang="0">
                <a:pos x="connsiteX50949" y="connsiteY50949"/>
              </a:cxn>
              <a:cxn ang="0">
                <a:pos x="connsiteX50950" y="connsiteY50950"/>
              </a:cxn>
              <a:cxn ang="0">
                <a:pos x="connsiteX50951" y="connsiteY50951"/>
              </a:cxn>
              <a:cxn ang="0">
                <a:pos x="connsiteX50952" y="connsiteY50952"/>
              </a:cxn>
              <a:cxn ang="0">
                <a:pos x="connsiteX50953" y="connsiteY50953"/>
              </a:cxn>
              <a:cxn ang="0">
                <a:pos x="connsiteX50954" y="connsiteY50954"/>
              </a:cxn>
              <a:cxn ang="0">
                <a:pos x="connsiteX50955" y="connsiteY50955"/>
              </a:cxn>
              <a:cxn ang="0">
                <a:pos x="connsiteX50956" y="connsiteY50956"/>
              </a:cxn>
              <a:cxn ang="0">
                <a:pos x="connsiteX50957" y="connsiteY50957"/>
              </a:cxn>
              <a:cxn ang="0">
                <a:pos x="connsiteX50958" y="connsiteY50958"/>
              </a:cxn>
              <a:cxn ang="0">
                <a:pos x="connsiteX50959" y="connsiteY50959"/>
              </a:cxn>
              <a:cxn ang="0">
                <a:pos x="connsiteX50960" y="connsiteY50960"/>
              </a:cxn>
              <a:cxn ang="0">
                <a:pos x="connsiteX50961" y="connsiteY50961"/>
              </a:cxn>
              <a:cxn ang="0">
                <a:pos x="connsiteX50962" y="connsiteY50962"/>
              </a:cxn>
              <a:cxn ang="0">
                <a:pos x="connsiteX50963" y="connsiteY50963"/>
              </a:cxn>
              <a:cxn ang="0">
                <a:pos x="connsiteX50964" y="connsiteY50964"/>
              </a:cxn>
              <a:cxn ang="0">
                <a:pos x="connsiteX50965" y="connsiteY50965"/>
              </a:cxn>
              <a:cxn ang="0">
                <a:pos x="connsiteX50966" y="connsiteY50966"/>
              </a:cxn>
              <a:cxn ang="0">
                <a:pos x="connsiteX50967" y="connsiteY50967"/>
              </a:cxn>
              <a:cxn ang="0">
                <a:pos x="connsiteX50968" y="connsiteY50968"/>
              </a:cxn>
              <a:cxn ang="0">
                <a:pos x="connsiteX50969" y="connsiteY50969"/>
              </a:cxn>
              <a:cxn ang="0">
                <a:pos x="connsiteX50970" y="connsiteY50970"/>
              </a:cxn>
              <a:cxn ang="0">
                <a:pos x="connsiteX50971" y="connsiteY50971"/>
              </a:cxn>
              <a:cxn ang="0">
                <a:pos x="connsiteX50972" y="connsiteY50972"/>
              </a:cxn>
              <a:cxn ang="0">
                <a:pos x="connsiteX50973" y="connsiteY50973"/>
              </a:cxn>
              <a:cxn ang="0">
                <a:pos x="connsiteX50974" y="connsiteY50974"/>
              </a:cxn>
              <a:cxn ang="0">
                <a:pos x="connsiteX50975" y="connsiteY50975"/>
              </a:cxn>
              <a:cxn ang="0">
                <a:pos x="connsiteX50976" y="connsiteY50976"/>
              </a:cxn>
              <a:cxn ang="0">
                <a:pos x="connsiteX50977" y="connsiteY50977"/>
              </a:cxn>
              <a:cxn ang="0">
                <a:pos x="connsiteX50978" y="connsiteY50978"/>
              </a:cxn>
              <a:cxn ang="0">
                <a:pos x="connsiteX50979" y="connsiteY50979"/>
              </a:cxn>
              <a:cxn ang="0">
                <a:pos x="connsiteX50980" y="connsiteY50980"/>
              </a:cxn>
              <a:cxn ang="0">
                <a:pos x="connsiteX50981" y="connsiteY50981"/>
              </a:cxn>
              <a:cxn ang="0">
                <a:pos x="connsiteX50982" y="connsiteY50982"/>
              </a:cxn>
              <a:cxn ang="0">
                <a:pos x="connsiteX50983" y="connsiteY50983"/>
              </a:cxn>
              <a:cxn ang="0">
                <a:pos x="connsiteX50984" y="connsiteY50984"/>
              </a:cxn>
              <a:cxn ang="0">
                <a:pos x="connsiteX50985" y="connsiteY50985"/>
              </a:cxn>
              <a:cxn ang="0">
                <a:pos x="connsiteX50986" y="connsiteY50986"/>
              </a:cxn>
              <a:cxn ang="0">
                <a:pos x="connsiteX50987" y="connsiteY50987"/>
              </a:cxn>
              <a:cxn ang="0">
                <a:pos x="connsiteX50988" y="connsiteY50988"/>
              </a:cxn>
              <a:cxn ang="0">
                <a:pos x="connsiteX50989" y="connsiteY50989"/>
              </a:cxn>
              <a:cxn ang="0">
                <a:pos x="connsiteX50990" y="connsiteY50990"/>
              </a:cxn>
              <a:cxn ang="0">
                <a:pos x="connsiteX50991" y="connsiteY50991"/>
              </a:cxn>
              <a:cxn ang="0">
                <a:pos x="connsiteX50992" y="connsiteY50992"/>
              </a:cxn>
              <a:cxn ang="0">
                <a:pos x="connsiteX50993" y="connsiteY50993"/>
              </a:cxn>
              <a:cxn ang="0">
                <a:pos x="connsiteX50994" y="connsiteY50994"/>
              </a:cxn>
              <a:cxn ang="0">
                <a:pos x="connsiteX50995" y="connsiteY50995"/>
              </a:cxn>
              <a:cxn ang="0">
                <a:pos x="connsiteX50996" y="connsiteY50996"/>
              </a:cxn>
              <a:cxn ang="0">
                <a:pos x="connsiteX50997" y="connsiteY50997"/>
              </a:cxn>
              <a:cxn ang="0">
                <a:pos x="connsiteX50998" y="connsiteY50998"/>
              </a:cxn>
              <a:cxn ang="0">
                <a:pos x="connsiteX50999" y="connsiteY50999"/>
              </a:cxn>
              <a:cxn ang="0">
                <a:pos x="connsiteX51000" y="connsiteY51000"/>
              </a:cxn>
              <a:cxn ang="0">
                <a:pos x="connsiteX51001" y="connsiteY51001"/>
              </a:cxn>
              <a:cxn ang="0">
                <a:pos x="connsiteX51002" y="connsiteY51002"/>
              </a:cxn>
              <a:cxn ang="0">
                <a:pos x="connsiteX51003" y="connsiteY51003"/>
              </a:cxn>
              <a:cxn ang="0">
                <a:pos x="connsiteX51004" y="connsiteY51004"/>
              </a:cxn>
              <a:cxn ang="0">
                <a:pos x="connsiteX51005" y="connsiteY51005"/>
              </a:cxn>
              <a:cxn ang="0">
                <a:pos x="connsiteX51006" y="connsiteY51006"/>
              </a:cxn>
              <a:cxn ang="0">
                <a:pos x="connsiteX51007" y="connsiteY51007"/>
              </a:cxn>
              <a:cxn ang="0">
                <a:pos x="connsiteX51008" y="connsiteY51008"/>
              </a:cxn>
              <a:cxn ang="0">
                <a:pos x="connsiteX51009" y="connsiteY51009"/>
              </a:cxn>
              <a:cxn ang="0">
                <a:pos x="connsiteX51010" y="connsiteY51010"/>
              </a:cxn>
              <a:cxn ang="0">
                <a:pos x="connsiteX51011" y="connsiteY51011"/>
              </a:cxn>
              <a:cxn ang="0">
                <a:pos x="connsiteX51012" y="connsiteY51012"/>
              </a:cxn>
              <a:cxn ang="0">
                <a:pos x="connsiteX51013" y="connsiteY51013"/>
              </a:cxn>
              <a:cxn ang="0">
                <a:pos x="connsiteX51014" y="connsiteY51014"/>
              </a:cxn>
              <a:cxn ang="0">
                <a:pos x="connsiteX51015" y="connsiteY51015"/>
              </a:cxn>
              <a:cxn ang="0">
                <a:pos x="connsiteX51016" y="connsiteY51016"/>
              </a:cxn>
              <a:cxn ang="0">
                <a:pos x="connsiteX51017" y="connsiteY51017"/>
              </a:cxn>
              <a:cxn ang="0">
                <a:pos x="connsiteX51018" y="connsiteY51018"/>
              </a:cxn>
              <a:cxn ang="0">
                <a:pos x="connsiteX51019" y="connsiteY51019"/>
              </a:cxn>
              <a:cxn ang="0">
                <a:pos x="connsiteX51020" y="connsiteY51020"/>
              </a:cxn>
              <a:cxn ang="0">
                <a:pos x="connsiteX51021" y="connsiteY51021"/>
              </a:cxn>
              <a:cxn ang="0">
                <a:pos x="connsiteX51022" y="connsiteY51022"/>
              </a:cxn>
              <a:cxn ang="0">
                <a:pos x="connsiteX51023" y="connsiteY51023"/>
              </a:cxn>
              <a:cxn ang="0">
                <a:pos x="connsiteX51024" y="connsiteY51024"/>
              </a:cxn>
              <a:cxn ang="0">
                <a:pos x="connsiteX51025" y="connsiteY51025"/>
              </a:cxn>
              <a:cxn ang="0">
                <a:pos x="connsiteX51026" y="connsiteY51026"/>
              </a:cxn>
              <a:cxn ang="0">
                <a:pos x="connsiteX51027" y="connsiteY51027"/>
              </a:cxn>
              <a:cxn ang="0">
                <a:pos x="connsiteX51028" y="connsiteY51028"/>
              </a:cxn>
              <a:cxn ang="0">
                <a:pos x="connsiteX51029" y="connsiteY51029"/>
              </a:cxn>
              <a:cxn ang="0">
                <a:pos x="connsiteX51030" y="connsiteY51030"/>
              </a:cxn>
              <a:cxn ang="0">
                <a:pos x="connsiteX51031" y="connsiteY51031"/>
              </a:cxn>
              <a:cxn ang="0">
                <a:pos x="connsiteX51032" y="connsiteY51032"/>
              </a:cxn>
              <a:cxn ang="0">
                <a:pos x="connsiteX51033" y="connsiteY51033"/>
              </a:cxn>
              <a:cxn ang="0">
                <a:pos x="connsiteX51034" y="connsiteY51034"/>
              </a:cxn>
              <a:cxn ang="0">
                <a:pos x="connsiteX51035" y="connsiteY51035"/>
              </a:cxn>
              <a:cxn ang="0">
                <a:pos x="connsiteX51036" y="connsiteY51036"/>
              </a:cxn>
              <a:cxn ang="0">
                <a:pos x="connsiteX51037" y="connsiteY51037"/>
              </a:cxn>
              <a:cxn ang="0">
                <a:pos x="connsiteX51038" y="connsiteY51038"/>
              </a:cxn>
              <a:cxn ang="0">
                <a:pos x="connsiteX51039" y="connsiteY51039"/>
              </a:cxn>
              <a:cxn ang="0">
                <a:pos x="connsiteX51040" y="connsiteY51040"/>
              </a:cxn>
              <a:cxn ang="0">
                <a:pos x="connsiteX51041" y="connsiteY51041"/>
              </a:cxn>
              <a:cxn ang="0">
                <a:pos x="connsiteX51042" y="connsiteY51042"/>
              </a:cxn>
              <a:cxn ang="0">
                <a:pos x="connsiteX51043" y="connsiteY51043"/>
              </a:cxn>
              <a:cxn ang="0">
                <a:pos x="connsiteX51044" y="connsiteY51044"/>
              </a:cxn>
              <a:cxn ang="0">
                <a:pos x="connsiteX51045" y="connsiteY51045"/>
              </a:cxn>
              <a:cxn ang="0">
                <a:pos x="connsiteX51046" y="connsiteY51046"/>
              </a:cxn>
              <a:cxn ang="0">
                <a:pos x="connsiteX51047" y="connsiteY51047"/>
              </a:cxn>
              <a:cxn ang="0">
                <a:pos x="connsiteX51048" y="connsiteY51048"/>
              </a:cxn>
              <a:cxn ang="0">
                <a:pos x="connsiteX51049" y="connsiteY51049"/>
              </a:cxn>
              <a:cxn ang="0">
                <a:pos x="connsiteX51050" y="connsiteY51050"/>
              </a:cxn>
              <a:cxn ang="0">
                <a:pos x="connsiteX51051" y="connsiteY51051"/>
              </a:cxn>
              <a:cxn ang="0">
                <a:pos x="connsiteX51052" y="connsiteY51052"/>
              </a:cxn>
              <a:cxn ang="0">
                <a:pos x="connsiteX51053" y="connsiteY51053"/>
              </a:cxn>
              <a:cxn ang="0">
                <a:pos x="connsiteX51054" y="connsiteY51054"/>
              </a:cxn>
              <a:cxn ang="0">
                <a:pos x="connsiteX51055" y="connsiteY51055"/>
              </a:cxn>
              <a:cxn ang="0">
                <a:pos x="connsiteX51056" y="connsiteY51056"/>
              </a:cxn>
              <a:cxn ang="0">
                <a:pos x="connsiteX51057" y="connsiteY51057"/>
              </a:cxn>
              <a:cxn ang="0">
                <a:pos x="connsiteX51058" y="connsiteY51058"/>
              </a:cxn>
              <a:cxn ang="0">
                <a:pos x="connsiteX51059" y="connsiteY51059"/>
              </a:cxn>
              <a:cxn ang="0">
                <a:pos x="connsiteX51060" y="connsiteY51060"/>
              </a:cxn>
              <a:cxn ang="0">
                <a:pos x="connsiteX51061" y="connsiteY51061"/>
              </a:cxn>
              <a:cxn ang="0">
                <a:pos x="connsiteX51062" y="connsiteY51062"/>
              </a:cxn>
              <a:cxn ang="0">
                <a:pos x="connsiteX51063" y="connsiteY51063"/>
              </a:cxn>
              <a:cxn ang="0">
                <a:pos x="connsiteX51064" y="connsiteY51064"/>
              </a:cxn>
              <a:cxn ang="0">
                <a:pos x="connsiteX51065" y="connsiteY51065"/>
              </a:cxn>
              <a:cxn ang="0">
                <a:pos x="connsiteX51066" y="connsiteY51066"/>
              </a:cxn>
              <a:cxn ang="0">
                <a:pos x="connsiteX51067" y="connsiteY51067"/>
              </a:cxn>
              <a:cxn ang="0">
                <a:pos x="connsiteX51068" y="connsiteY51068"/>
              </a:cxn>
              <a:cxn ang="0">
                <a:pos x="connsiteX51069" y="connsiteY51069"/>
              </a:cxn>
              <a:cxn ang="0">
                <a:pos x="connsiteX51070" y="connsiteY51070"/>
              </a:cxn>
              <a:cxn ang="0">
                <a:pos x="connsiteX51071" y="connsiteY51071"/>
              </a:cxn>
              <a:cxn ang="0">
                <a:pos x="connsiteX51072" y="connsiteY51072"/>
              </a:cxn>
              <a:cxn ang="0">
                <a:pos x="connsiteX51073" y="connsiteY51073"/>
              </a:cxn>
              <a:cxn ang="0">
                <a:pos x="connsiteX51074" y="connsiteY51074"/>
              </a:cxn>
              <a:cxn ang="0">
                <a:pos x="connsiteX51075" y="connsiteY51075"/>
              </a:cxn>
              <a:cxn ang="0">
                <a:pos x="connsiteX51076" y="connsiteY51076"/>
              </a:cxn>
              <a:cxn ang="0">
                <a:pos x="connsiteX51077" y="connsiteY51077"/>
              </a:cxn>
              <a:cxn ang="0">
                <a:pos x="connsiteX51078" y="connsiteY51078"/>
              </a:cxn>
              <a:cxn ang="0">
                <a:pos x="connsiteX51079" y="connsiteY51079"/>
              </a:cxn>
              <a:cxn ang="0">
                <a:pos x="connsiteX51080" y="connsiteY51080"/>
              </a:cxn>
              <a:cxn ang="0">
                <a:pos x="connsiteX51081" y="connsiteY51081"/>
              </a:cxn>
              <a:cxn ang="0">
                <a:pos x="connsiteX51082" y="connsiteY51082"/>
              </a:cxn>
              <a:cxn ang="0">
                <a:pos x="connsiteX51083" y="connsiteY51083"/>
              </a:cxn>
              <a:cxn ang="0">
                <a:pos x="connsiteX51084" y="connsiteY51084"/>
              </a:cxn>
              <a:cxn ang="0">
                <a:pos x="connsiteX51085" y="connsiteY51085"/>
              </a:cxn>
              <a:cxn ang="0">
                <a:pos x="connsiteX51086" y="connsiteY51086"/>
              </a:cxn>
              <a:cxn ang="0">
                <a:pos x="connsiteX51087" y="connsiteY51087"/>
              </a:cxn>
              <a:cxn ang="0">
                <a:pos x="connsiteX51088" y="connsiteY51088"/>
              </a:cxn>
              <a:cxn ang="0">
                <a:pos x="connsiteX51089" y="connsiteY51089"/>
              </a:cxn>
              <a:cxn ang="0">
                <a:pos x="connsiteX51090" y="connsiteY51090"/>
              </a:cxn>
              <a:cxn ang="0">
                <a:pos x="connsiteX51091" y="connsiteY51091"/>
              </a:cxn>
              <a:cxn ang="0">
                <a:pos x="connsiteX51092" y="connsiteY51092"/>
              </a:cxn>
              <a:cxn ang="0">
                <a:pos x="connsiteX51093" y="connsiteY51093"/>
              </a:cxn>
              <a:cxn ang="0">
                <a:pos x="connsiteX51094" y="connsiteY51094"/>
              </a:cxn>
              <a:cxn ang="0">
                <a:pos x="connsiteX51095" y="connsiteY51095"/>
              </a:cxn>
              <a:cxn ang="0">
                <a:pos x="connsiteX51096" y="connsiteY51096"/>
              </a:cxn>
              <a:cxn ang="0">
                <a:pos x="connsiteX51097" y="connsiteY51097"/>
              </a:cxn>
              <a:cxn ang="0">
                <a:pos x="connsiteX51098" y="connsiteY51098"/>
              </a:cxn>
              <a:cxn ang="0">
                <a:pos x="connsiteX51099" y="connsiteY51099"/>
              </a:cxn>
              <a:cxn ang="0">
                <a:pos x="connsiteX51100" y="connsiteY51100"/>
              </a:cxn>
              <a:cxn ang="0">
                <a:pos x="connsiteX51101" y="connsiteY51101"/>
              </a:cxn>
              <a:cxn ang="0">
                <a:pos x="connsiteX51102" y="connsiteY51102"/>
              </a:cxn>
              <a:cxn ang="0">
                <a:pos x="connsiteX51103" y="connsiteY51103"/>
              </a:cxn>
              <a:cxn ang="0">
                <a:pos x="connsiteX51104" y="connsiteY51104"/>
              </a:cxn>
              <a:cxn ang="0">
                <a:pos x="connsiteX51105" y="connsiteY51105"/>
              </a:cxn>
              <a:cxn ang="0">
                <a:pos x="connsiteX51106" y="connsiteY51106"/>
              </a:cxn>
              <a:cxn ang="0">
                <a:pos x="connsiteX51107" y="connsiteY51107"/>
              </a:cxn>
              <a:cxn ang="0">
                <a:pos x="connsiteX51108" y="connsiteY51108"/>
              </a:cxn>
              <a:cxn ang="0">
                <a:pos x="connsiteX51109" y="connsiteY51109"/>
              </a:cxn>
              <a:cxn ang="0">
                <a:pos x="connsiteX51110" y="connsiteY51110"/>
              </a:cxn>
              <a:cxn ang="0">
                <a:pos x="connsiteX51111" y="connsiteY51111"/>
              </a:cxn>
              <a:cxn ang="0">
                <a:pos x="connsiteX51112" y="connsiteY51112"/>
              </a:cxn>
              <a:cxn ang="0">
                <a:pos x="connsiteX51113" y="connsiteY51113"/>
              </a:cxn>
              <a:cxn ang="0">
                <a:pos x="connsiteX51114" y="connsiteY51114"/>
              </a:cxn>
              <a:cxn ang="0">
                <a:pos x="connsiteX51115" y="connsiteY51115"/>
              </a:cxn>
              <a:cxn ang="0">
                <a:pos x="connsiteX51116" y="connsiteY51116"/>
              </a:cxn>
              <a:cxn ang="0">
                <a:pos x="connsiteX51117" y="connsiteY51117"/>
              </a:cxn>
              <a:cxn ang="0">
                <a:pos x="connsiteX51118" y="connsiteY51118"/>
              </a:cxn>
              <a:cxn ang="0">
                <a:pos x="connsiteX51119" y="connsiteY51119"/>
              </a:cxn>
              <a:cxn ang="0">
                <a:pos x="connsiteX51120" y="connsiteY51120"/>
              </a:cxn>
              <a:cxn ang="0">
                <a:pos x="connsiteX51121" y="connsiteY51121"/>
              </a:cxn>
              <a:cxn ang="0">
                <a:pos x="connsiteX51122" y="connsiteY51122"/>
              </a:cxn>
              <a:cxn ang="0">
                <a:pos x="connsiteX51123" y="connsiteY51123"/>
              </a:cxn>
              <a:cxn ang="0">
                <a:pos x="connsiteX51124" y="connsiteY51124"/>
              </a:cxn>
              <a:cxn ang="0">
                <a:pos x="connsiteX51125" y="connsiteY51125"/>
              </a:cxn>
              <a:cxn ang="0">
                <a:pos x="connsiteX51126" y="connsiteY51126"/>
              </a:cxn>
              <a:cxn ang="0">
                <a:pos x="connsiteX51127" y="connsiteY51127"/>
              </a:cxn>
              <a:cxn ang="0">
                <a:pos x="connsiteX51128" y="connsiteY51128"/>
              </a:cxn>
              <a:cxn ang="0">
                <a:pos x="connsiteX51129" y="connsiteY51129"/>
              </a:cxn>
              <a:cxn ang="0">
                <a:pos x="connsiteX51130" y="connsiteY51130"/>
              </a:cxn>
              <a:cxn ang="0">
                <a:pos x="connsiteX51131" y="connsiteY51131"/>
              </a:cxn>
              <a:cxn ang="0">
                <a:pos x="connsiteX51132" y="connsiteY51132"/>
              </a:cxn>
              <a:cxn ang="0">
                <a:pos x="connsiteX51133" y="connsiteY51133"/>
              </a:cxn>
              <a:cxn ang="0">
                <a:pos x="connsiteX51134" y="connsiteY51134"/>
              </a:cxn>
              <a:cxn ang="0">
                <a:pos x="connsiteX51135" y="connsiteY51135"/>
              </a:cxn>
              <a:cxn ang="0">
                <a:pos x="connsiteX51136" y="connsiteY51136"/>
              </a:cxn>
              <a:cxn ang="0">
                <a:pos x="connsiteX51137" y="connsiteY51137"/>
              </a:cxn>
              <a:cxn ang="0">
                <a:pos x="connsiteX51138" y="connsiteY51138"/>
              </a:cxn>
              <a:cxn ang="0">
                <a:pos x="connsiteX51139" y="connsiteY51139"/>
              </a:cxn>
              <a:cxn ang="0">
                <a:pos x="connsiteX51140" y="connsiteY51140"/>
              </a:cxn>
              <a:cxn ang="0">
                <a:pos x="connsiteX51141" y="connsiteY51141"/>
              </a:cxn>
              <a:cxn ang="0">
                <a:pos x="connsiteX51142" y="connsiteY51142"/>
              </a:cxn>
              <a:cxn ang="0">
                <a:pos x="connsiteX51143" y="connsiteY51143"/>
              </a:cxn>
              <a:cxn ang="0">
                <a:pos x="connsiteX51144" y="connsiteY51144"/>
              </a:cxn>
              <a:cxn ang="0">
                <a:pos x="connsiteX51145" y="connsiteY51145"/>
              </a:cxn>
              <a:cxn ang="0">
                <a:pos x="connsiteX51146" y="connsiteY51146"/>
              </a:cxn>
              <a:cxn ang="0">
                <a:pos x="connsiteX51147" y="connsiteY51147"/>
              </a:cxn>
              <a:cxn ang="0">
                <a:pos x="connsiteX51148" y="connsiteY51148"/>
              </a:cxn>
              <a:cxn ang="0">
                <a:pos x="connsiteX51149" y="connsiteY51149"/>
              </a:cxn>
              <a:cxn ang="0">
                <a:pos x="connsiteX51150" y="connsiteY51150"/>
              </a:cxn>
              <a:cxn ang="0">
                <a:pos x="connsiteX51151" y="connsiteY51151"/>
              </a:cxn>
              <a:cxn ang="0">
                <a:pos x="connsiteX51152" y="connsiteY51152"/>
              </a:cxn>
              <a:cxn ang="0">
                <a:pos x="connsiteX51153" y="connsiteY51153"/>
              </a:cxn>
              <a:cxn ang="0">
                <a:pos x="connsiteX51154" y="connsiteY51154"/>
              </a:cxn>
              <a:cxn ang="0">
                <a:pos x="connsiteX51155" y="connsiteY51155"/>
              </a:cxn>
              <a:cxn ang="0">
                <a:pos x="connsiteX51156" y="connsiteY51156"/>
              </a:cxn>
              <a:cxn ang="0">
                <a:pos x="connsiteX51157" y="connsiteY51157"/>
              </a:cxn>
              <a:cxn ang="0">
                <a:pos x="connsiteX51158" y="connsiteY51158"/>
              </a:cxn>
              <a:cxn ang="0">
                <a:pos x="connsiteX51159" y="connsiteY51159"/>
              </a:cxn>
              <a:cxn ang="0">
                <a:pos x="connsiteX51160" y="connsiteY51160"/>
              </a:cxn>
              <a:cxn ang="0">
                <a:pos x="connsiteX51161" y="connsiteY51161"/>
              </a:cxn>
              <a:cxn ang="0">
                <a:pos x="connsiteX51162" y="connsiteY51162"/>
              </a:cxn>
              <a:cxn ang="0">
                <a:pos x="connsiteX51163" y="connsiteY51163"/>
              </a:cxn>
              <a:cxn ang="0">
                <a:pos x="connsiteX51164" y="connsiteY51164"/>
              </a:cxn>
              <a:cxn ang="0">
                <a:pos x="connsiteX51165" y="connsiteY51165"/>
              </a:cxn>
              <a:cxn ang="0">
                <a:pos x="connsiteX51166" y="connsiteY51166"/>
              </a:cxn>
              <a:cxn ang="0">
                <a:pos x="connsiteX51167" y="connsiteY51167"/>
              </a:cxn>
              <a:cxn ang="0">
                <a:pos x="connsiteX51168" y="connsiteY51168"/>
              </a:cxn>
              <a:cxn ang="0">
                <a:pos x="connsiteX51169" y="connsiteY51169"/>
              </a:cxn>
              <a:cxn ang="0">
                <a:pos x="connsiteX51170" y="connsiteY51170"/>
              </a:cxn>
              <a:cxn ang="0">
                <a:pos x="connsiteX51171" y="connsiteY51171"/>
              </a:cxn>
              <a:cxn ang="0">
                <a:pos x="connsiteX51172" y="connsiteY51172"/>
              </a:cxn>
              <a:cxn ang="0">
                <a:pos x="connsiteX51173" y="connsiteY51173"/>
              </a:cxn>
              <a:cxn ang="0">
                <a:pos x="connsiteX51174" y="connsiteY51174"/>
              </a:cxn>
              <a:cxn ang="0">
                <a:pos x="connsiteX51175" y="connsiteY51175"/>
              </a:cxn>
              <a:cxn ang="0">
                <a:pos x="connsiteX51176" y="connsiteY51176"/>
              </a:cxn>
              <a:cxn ang="0">
                <a:pos x="connsiteX51177" y="connsiteY51177"/>
              </a:cxn>
              <a:cxn ang="0">
                <a:pos x="connsiteX51178" y="connsiteY51178"/>
              </a:cxn>
              <a:cxn ang="0">
                <a:pos x="connsiteX51179" y="connsiteY51179"/>
              </a:cxn>
              <a:cxn ang="0">
                <a:pos x="connsiteX51180" y="connsiteY51180"/>
              </a:cxn>
              <a:cxn ang="0">
                <a:pos x="connsiteX51181" y="connsiteY51181"/>
              </a:cxn>
              <a:cxn ang="0">
                <a:pos x="connsiteX51182" y="connsiteY51182"/>
              </a:cxn>
              <a:cxn ang="0">
                <a:pos x="connsiteX51183" y="connsiteY51183"/>
              </a:cxn>
              <a:cxn ang="0">
                <a:pos x="connsiteX51184" y="connsiteY51184"/>
              </a:cxn>
              <a:cxn ang="0">
                <a:pos x="connsiteX51185" y="connsiteY51185"/>
              </a:cxn>
              <a:cxn ang="0">
                <a:pos x="connsiteX51186" y="connsiteY51186"/>
              </a:cxn>
              <a:cxn ang="0">
                <a:pos x="connsiteX51187" y="connsiteY51187"/>
              </a:cxn>
              <a:cxn ang="0">
                <a:pos x="connsiteX51188" y="connsiteY51188"/>
              </a:cxn>
              <a:cxn ang="0">
                <a:pos x="connsiteX51189" y="connsiteY51189"/>
              </a:cxn>
              <a:cxn ang="0">
                <a:pos x="connsiteX51190" y="connsiteY51190"/>
              </a:cxn>
              <a:cxn ang="0">
                <a:pos x="connsiteX51191" y="connsiteY51191"/>
              </a:cxn>
              <a:cxn ang="0">
                <a:pos x="connsiteX51192" y="connsiteY51192"/>
              </a:cxn>
              <a:cxn ang="0">
                <a:pos x="connsiteX51193" y="connsiteY51193"/>
              </a:cxn>
              <a:cxn ang="0">
                <a:pos x="connsiteX51194" y="connsiteY51194"/>
              </a:cxn>
              <a:cxn ang="0">
                <a:pos x="connsiteX51195" y="connsiteY51195"/>
              </a:cxn>
              <a:cxn ang="0">
                <a:pos x="connsiteX51196" y="connsiteY51196"/>
              </a:cxn>
              <a:cxn ang="0">
                <a:pos x="connsiteX51197" y="connsiteY51197"/>
              </a:cxn>
              <a:cxn ang="0">
                <a:pos x="connsiteX51198" y="connsiteY51198"/>
              </a:cxn>
              <a:cxn ang="0">
                <a:pos x="connsiteX51199" y="connsiteY51199"/>
              </a:cxn>
              <a:cxn ang="0">
                <a:pos x="connsiteX51200" y="connsiteY51200"/>
              </a:cxn>
              <a:cxn ang="0">
                <a:pos x="connsiteX51201" y="connsiteY51201"/>
              </a:cxn>
              <a:cxn ang="0">
                <a:pos x="connsiteX51202" y="connsiteY51202"/>
              </a:cxn>
              <a:cxn ang="0">
                <a:pos x="connsiteX51203" y="connsiteY51203"/>
              </a:cxn>
              <a:cxn ang="0">
                <a:pos x="connsiteX51204" y="connsiteY51204"/>
              </a:cxn>
              <a:cxn ang="0">
                <a:pos x="connsiteX51205" y="connsiteY51205"/>
              </a:cxn>
              <a:cxn ang="0">
                <a:pos x="connsiteX51206" y="connsiteY51206"/>
              </a:cxn>
              <a:cxn ang="0">
                <a:pos x="connsiteX51207" y="connsiteY51207"/>
              </a:cxn>
              <a:cxn ang="0">
                <a:pos x="connsiteX51208" y="connsiteY51208"/>
              </a:cxn>
              <a:cxn ang="0">
                <a:pos x="connsiteX51209" y="connsiteY51209"/>
              </a:cxn>
              <a:cxn ang="0">
                <a:pos x="connsiteX51210" y="connsiteY51210"/>
              </a:cxn>
              <a:cxn ang="0">
                <a:pos x="connsiteX51211" y="connsiteY51211"/>
              </a:cxn>
              <a:cxn ang="0">
                <a:pos x="connsiteX51212" y="connsiteY51212"/>
              </a:cxn>
              <a:cxn ang="0">
                <a:pos x="connsiteX51213" y="connsiteY51213"/>
              </a:cxn>
              <a:cxn ang="0">
                <a:pos x="connsiteX51214" y="connsiteY51214"/>
              </a:cxn>
              <a:cxn ang="0">
                <a:pos x="connsiteX51215" y="connsiteY51215"/>
              </a:cxn>
              <a:cxn ang="0">
                <a:pos x="connsiteX51216" y="connsiteY51216"/>
              </a:cxn>
              <a:cxn ang="0">
                <a:pos x="connsiteX51217" y="connsiteY51217"/>
              </a:cxn>
              <a:cxn ang="0">
                <a:pos x="connsiteX51218" y="connsiteY51218"/>
              </a:cxn>
              <a:cxn ang="0">
                <a:pos x="connsiteX51219" y="connsiteY51219"/>
              </a:cxn>
              <a:cxn ang="0">
                <a:pos x="connsiteX51220" y="connsiteY51220"/>
              </a:cxn>
              <a:cxn ang="0">
                <a:pos x="connsiteX51221" y="connsiteY51221"/>
              </a:cxn>
              <a:cxn ang="0">
                <a:pos x="connsiteX51222" y="connsiteY51222"/>
              </a:cxn>
              <a:cxn ang="0">
                <a:pos x="connsiteX51223" y="connsiteY51223"/>
              </a:cxn>
              <a:cxn ang="0">
                <a:pos x="connsiteX51224" y="connsiteY51224"/>
              </a:cxn>
              <a:cxn ang="0">
                <a:pos x="connsiteX51225" y="connsiteY51225"/>
              </a:cxn>
              <a:cxn ang="0">
                <a:pos x="connsiteX51226" y="connsiteY51226"/>
              </a:cxn>
              <a:cxn ang="0">
                <a:pos x="connsiteX51227" y="connsiteY51227"/>
              </a:cxn>
              <a:cxn ang="0">
                <a:pos x="connsiteX51228" y="connsiteY51228"/>
              </a:cxn>
              <a:cxn ang="0">
                <a:pos x="connsiteX51229" y="connsiteY51229"/>
              </a:cxn>
              <a:cxn ang="0">
                <a:pos x="connsiteX51230" y="connsiteY51230"/>
              </a:cxn>
              <a:cxn ang="0">
                <a:pos x="connsiteX51231" y="connsiteY51231"/>
              </a:cxn>
              <a:cxn ang="0">
                <a:pos x="connsiteX51232" y="connsiteY51232"/>
              </a:cxn>
              <a:cxn ang="0">
                <a:pos x="connsiteX51233" y="connsiteY51233"/>
              </a:cxn>
              <a:cxn ang="0">
                <a:pos x="connsiteX51234" y="connsiteY51234"/>
              </a:cxn>
              <a:cxn ang="0">
                <a:pos x="connsiteX51235" y="connsiteY51235"/>
              </a:cxn>
              <a:cxn ang="0">
                <a:pos x="connsiteX51236" y="connsiteY51236"/>
              </a:cxn>
              <a:cxn ang="0">
                <a:pos x="connsiteX51237" y="connsiteY51237"/>
              </a:cxn>
              <a:cxn ang="0">
                <a:pos x="connsiteX51238" y="connsiteY51238"/>
              </a:cxn>
              <a:cxn ang="0">
                <a:pos x="connsiteX51239" y="connsiteY51239"/>
              </a:cxn>
              <a:cxn ang="0">
                <a:pos x="connsiteX51240" y="connsiteY51240"/>
              </a:cxn>
              <a:cxn ang="0">
                <a:pos x="connsiteX51241" y="connsiteY51241"/>
              </a:cxn>
              <a:cxn ang="0">
                <a:pos x="connsiteX51242" y="connsiteY51242"/>
              </a:cxn>
              <a:cxn ang="0">
                <a:pos x="connsiteX51243" y="connsiteY51243"/>
              </a:cxn>
              <a:cxn ang="0">
                <a:pos x="connsiteX51244" y="connsiteY51244"/>
              </a:cxn>
              <a:cxn ang="0">
                <a:pos x="connsiteX51245" y="connsiteY51245"/>
              </a:cxn>
              <a:cxn ang="0">
                <a:pos x="connsiteX51246" y="connsiteY51246"/>
              </a:cxn>
              <a:cxn ang="0">
                <a:pos x="connsiteX51247" y="connsiteY51247"/>
              </a:cxn>
              <a:cxn ang="0">
                <a:pos x="connsiteX51248" y="connsiteY51248"/>
              </a:cxn>
              <a:cxn ang="0">
                <a:pos x="connsiteX51249" y="connsiteY51249"/>
              </a:cxn>
              <a:cxn ang="0">
                <a:pos x="connsiteX51250" y="connsiteY51250"/>
              </a:cxn>
              <a:cxn ang="0">
                <a:pos x="connsiteX51251" y="connsiteY51251"/>
              </a:cxn>
              <a:cxn ang="0">
                <a:pos x="connsiteX51252" y="connsiteY51252"/>
              </a:cxn>
              <a:cxn ang="0">
                <a:pos x="connsiteX51253" y="connsiteY51253"/>
              </a:cxn>
              <a:cxn ang="0">
                <a:pos x="connsiteX51254" y="connsiteY51254"/>
              </a:cxn>
              <a:cxn ang="0">
                <a:pos x="connsiteX51255" y="connsiteY51255"/>
              </a:cxn>
              <a:cxn ang="0">
                <a:pos x="connsiteX51256" y="connsiteY51256"/>
              </a:cxn>
              <a:cxn ang="0">
                <a:pos x="connsiteX51257" y="connsiteY51257"/>
              </a:cxn>
              <a:cxn ang="0">
                <a:pos x="connsiteX51258" y="connsiteY51258"/>
              </a:cxn>
              <a:cxn ang="0">
                <a:pos x="connsiteX51259" y="connsiteY51259"/>
              </a:cxn>
              <a:cxn ang="0">
                <a:pos x="connsiteX51260" y="connsiteY51260"/>
              </a:cxn>
              <a:cxn ang="0">
                <a:pos x="connsiteX51261" y="connsiteY51261"/>
              </a:cxn>
              <a:cxn ang="0">
                <a:pos x="connsiteX51262" y="connsiteY51262"/>
              </a:cxn>
              <a:cxn ang="0">
                <a:pos x="connsiteX51263" y="connsiteY51263"/>
              </a:cxn>
              <a:cxn ang="0">
                <a:pos x="connsiteX51264" y="connsiteY51264"/>
              </a:cxn>
              <a:cxn ang="0">
                <a:pos x="connsiteX51265" y="connsiteY51265"/>
              </a:cxn>
              <a:cxn ang="0">
                <a:pos x="connsiteX51266" y="connsiteY51266"/>
              </a:cxn>
              <a:cxn ang="0">
                <a:pos x="connsiteX51267" y="connsiteY51267"/>
              </a:cxn>
              <a:cxn ang="0">
                <a:pos x="connsiteX51268" y="connsiteY51268"/>
              </a:cxn>
              <a:cxn ang="0">
                <a:pos x="connsiteX51269" y="connsiteY51269"/>
              </a:cxn>
              <a:cxn ang="0">
                <a:pos x="connsiteX51270" y="connsiteY51270"/>
              </a:cxn>
              <a:cxn ang="0">
                <a:pos x="connsiteX51271" y="connsiteY51271"/>
              </a:cxn>
              <a:cxn ang="0">
                <a:pos x="connsiteX51272" y="connsiteY51272"/>
              </a:cxn>
              <a:cxn ang="0">
                <a:pos x="connsiteX51273" y="connsiteY51273"/>
              </a:cxn>
              <a:cxn ang="0">
                <a:pos x="connsiteX51274" y="connsiteY51274"/>
              </a:cxn>
              <a:cxn ang="0">
                <a:pos x="connsiteX51275" y="connsiteY51275"/>
              </a:cxn>
              <a:cxn ang="0">
                <a:pos x="connsiteX51276" y="connsiteY51276"/>
              </a:cxn>
              <a:cxn ang="0">
                <a:pos x="connsiteX51277" y="connsiteY51277"/>
              </a:cxn>
              <a:cxn ang="0">
                <a:pos x="connsiteX51278" y="connsiteY51278"/>
              </a:cxn>
              <a:cxn ang="0">
                <a:pos x="connsiteX51279" y="connsiteY51279"/>
              </a:cxn>
              <a:cxn ang="0">
                <a:pos x="connsiteX51280" y="connsiteY51280"/>
              </a:cxn>
              <a:cxn ang="0">
                <a:pos x="connsiteX51281" y="connsiteY51281"/>
              </a:cxn>
              <a:cxn ang="0">
                <a:pos x="connsiteX51282" y="connsiteY51282"/>
              </a:cxn>
              <a:cxn ang="0">
                <a:pos x="connsiteX51283" y="connsiteY51283"/>
              </a:cxn>
              <a:cxn ang="0">
                <a:pos x="connsiteX51284" y="connsiteY51284"/>
              </a:cxn>
              <a:cxn ang="0">
                <a:pos x="connsiteX51285" y="connsiteY51285"/>
              </a:cxn>
              <a:cxn ang="0">
                <a:pos x="connsiteX51286" y="connsiteY51286"/>
              </a:cxn>
              <a:cxn ang="0">
                <a:pos x="connsiteX51287" y="connsiteY51287"/>
              </a:cxn>
              <a:cxn ang="0">
                <a:pos x="connsiteX51288" y="connsiteY51288"/>
              </a:cxn>
              <a:cxn ang="0">
                <a:pos x="connsiteX51289" y="connsiteY51289"/>
              </a:cxn>
              <a:cxn ang="0">
                <a:pos x="connsiteX51290" y="connsiteY51290"/>
              </a:cxn>
              <a:cxn ang="0">
                <a:pos x="connsiteX51291" y="connsiteY51291"/>
              </a:cxn>
              <a:cxn ang="0">
                <a:pos x="connsiteX51292" y="connsiteY51292"/>
              </a:cxn>
              <a:cxn ang="0">
                <a:pos x="connsiteX51293" y="connsiteY51293"/>
              </a:cxn>
              <a:cxn ang="0">
                <a:pos x="connsiteX51294" y="connsiteY51294"/>
              </a:cxn>
              <a:cxn ang="0">
                <a:pos x="connsiteX51295" y="connsiteY51295"/>
              </a:cxn>
              <a:cxn ang="0">
                <a:pos x="connsiteX51296" y="connsiteY51296"/>
              </a:cxn>
              <a:cxn ang="0">
                <a:pos x="connsiteX51297" y="connsiteY51297"/>
              </a:cxn>
              <a:cxn ang="0">
                <a:pos x="connsiteX51298" y="connsiteY51298"/>
              </a:cxn>
              <a:cxn ang="0">
                <a:pos x="connsiteX51299" y="connsiteY51299"/>
              </a:cxn>
              <a:cxn ang="0">
                <a:pos x="connsiteX51300" y="connsiteY51300"/>
              </a:cxn>
              <a:cxn ang="0">
                <a:pos x="connsiteX51301" y="connsiteY51301"/>
              </a:cxn>
              <a:cxn ang="0">
                <a:pos x="connsiteX51302" y="connsiteY51302"/>
              </a:cxn>
              <a:cxn ang="0">
                <a:pos x="connsiteX51303" y="connsiteY51303"/>
              </a:cxn>
              <a:cxn ang="0">
                <a:pos x="connsiteX51304" y="connsiteY51304"/>
              </a:cxn>
              <a:cxn ang="0">
                <a:pos x="connsiteX51305" y="connsiteY51305"/>
              </a:cxn>
              <a:cxn ang="0">
                <a:pos x="connsiteX51306" y="connsiteY51306"/>
              </a:cxn>
              <a:cxn ang="0">
                <a:pos x="connsiteX51307" y="connsiteY51307"/>
              </a:cxn>
              <a:cxn ang="0">
                <a:pos x="connsiteX51308" y="connsiteY51308"/>
              </a:cxn>
              <a:cxn ang="0">
                <a:pos x="connsiteX51309" y="connsiteY51309"/>
              </a:cxn>
              <a:cxn ang="0">
                <a:pos x="connsiteX51310" y="connsiteY51310"/>
              </a:cxn>
              <a:cxn ang="0">
                <a:pos x="connsiteX51311" y="connsiteY51311"/>
              </a:cxn>
              <a:cxn ang="0">
                <a:pos x="connsiteX51312" y="connsiteY51312"/>
              </a:cxn>
              <a:cxn ang="0">
                <a:pos x="connsiteX51313" y="connsiteY51313"/>
              </a:cxn>
              <a:cxn ang="0">
                <a:pos x="connsiteX51314" y="connsiteY51314"/>
              </a:cxn>
              <a:cxn ang="0">
                <a:pos x="connsiteX51315" y="connsiteY51315"/>
              </a:cxn>
              <a:cxn ang="0">
                <a:pos x="connsiteX51316" y="connsiteY51316"/>
              </a:cxn>
              <a:cxn ang="0">
                <a:pos x="connsiteX51317" y="connsiteY51317"/>
              </a:cxn>
              <a:cxn ang="0">
                <a:pos x="connsiteX51318" y="connsiteY51318"/>
              </a:cxn>
              <a:cxn ang="0">
                <a:pos x="connsiteX51319" y="connsiteY51319"/>
              </a:cxn>
              <a:cxn ang="0">
                <a:pos x="connsiteX51320" y="connsiteY51320"/>
              </a:cxn>
              <a:cxn ang="0">
                <a:pos x="connsiteX51321" y="connsiteY51321"/>
              </a:cxn>
              <a:cxn ang="0">
                <a:pos x="connsiteX51322" y="connsiteY51322"/>
              </a:cxn>
              <a:cxn ang="0">
                <a:pos x="connsiteX51323" y="connsiteY51323"/>
              </a:cxn>
              <a:cxn ang="0">
                <a:pos x="connsiteX51324" y="connsiteY51324"/>
              </a:cxn>
              <a:cxn ang="0">
                <a:pos x="connsiteX51325" y="connsiteY51325"/>
              </a:cxn>
              <a:cxn ang="0">
                <a:pos x="connsiteX51326" y="connsiteY51326"/>
              </a:cxn>
              <a:cxn ang="0">
                <a:pos x="connsiteX51327" y="connsiteY51327"/>
              </a:cxn>
              <a:cxn ang="0">
                <a:pos x="connsiteX51328" y="connsiteY51328"/>
              </a:cxn>
              <a:cxn ang="0">
                <a:pos x="connsiteX51329" y="connsiteY51329"/>
              </a:cxn>
              <a:cxn ang="0">
                <a:pos x="connsiteX51330" y="connsiteY51330"/>
              </a:cxn>
              <a:cxn ang="0">
                <a:pos x="connsiteX51331" y="connsiteY51331"/>
              </a:cxn>
              <a:cxn ang="0">
                <a:pos x="connsiteX51332" y="connsiteY51332"/>
              </a:cxn>
              <a:cxn ang="0">
                <a:pos x="connsiteX51333" y="connsiteY51333"/>
              </a:cxn>
              <a:cxn ang="0">
                <a:pos x="connsiteX51334" y="connsiteY51334"/>
              </a:cxn>
              <a:cxn ang="0">
                <a:pos x="connsiteX51335" y="connsiteY51335"/>
              </a:cxn>
              <a:cxn ang="0">
                <a:pos x="connsiteX51336" y="connsiteY51336"/>
              </a:cxn>
              <a:cxn ang="0">
                <a:pos x="connsiteX51337" y="connsiteY51337"/>
              </a:cxn>
              <a:cxn ang="0">
                <a:pos x="connsiteX51338" y="connsiteY51338"/>
              </a:cxn>
              <a:cxn ang="0">
                <a:pos x="connsiteX51339" y="connsiteY51339"/>
              </a:cxn>
              <a:cxn ang="0">
                <a:pos x="connsiteX51340" y="connsiteY51340"/>
              </a:cxn>
              <a:cxn ang="0">
                <a:pos x="connsiteX51341" y="connsiteY51341"/>
              </a:cxn>
              <a:cxn ang="0">
                <a:pos x="connsiteX51342" y="connsiteY51342"/>
              </a:cxn>
              <a:cxn ang="0">
                <a:pos x="connsiteX51343" y="connsiteY51343"/>
              </a:cxn>
              <a:cxn ang="0">
                <a:pos x="connsiteX51344" y="connsiteY51344"/>
              </a:cxn>
              <a:cxn ang="0">
                <a:pos x="connsiteX51345" y="connsiteY51345"/>
              </a:cxn>
              <a:cxn ang="0">
                <a:pos x="connsiteX51346" y="connsiteY51346"/>
              </a:cxn>
              <a:cxn ang="0">
                <a:pos x="connsiteX51347" y="connsiteY51347"/>
              </a:cxn>
              <a:cxn ang="0">
                <a:pos x="connsiteX51348" y="connsiteY51348"/>
              </a:cxn>
              <a:cxn ang="0">
                <a:pos x="connsiteX51349" y="connsiteY51349"/>
              </a:cxn>
              <a:cxn ang="0">
                <a:pos x="connsiteX51350" y="connsiteY51350"/>
              </a:cxn>
              <a:cxn ang="0">
                <a:pos x="connsiteX51351" y="connsiteY51351"/>
              </a:cxn>
              <a:cxn ang="0">
                <a:pos x="connsiteX51352" y="connsiteY51352"/>
              </a:cxn>
              <a:cxn ang="0">
                <a:pos x="connsiteX51353" y="connsiteY51353"/>
              </a:cxn>
              <a:cxn ang="0">
                <a:pos x="connsiteX51354" y="connsiteY51354"/>
              </a:cxn>
              <a:cxn ang="0">
                <a:pos x="connsiteX51355" y="connsiteY51355"/>
              </a:cxn>
              <a:cxn ang="0">
                <a:pos x="connsiteX51356" y="connsiteY51356"/>
              </a:cxn>
              <a:cxn ang="0">
                <a:pos x="connsiteX51357" y="connsiteY51357"/>
              </a:cxn>
              <a:cxn ang="0">
                <a:pos x="connsiteX51358" y="connsiteY51358"/>
              </a:cxn>
              <a:cxn ang="0">
                <a:pos x="connsiteX51359" y="connsiteY51359"/>
              </a:cxn>
              <a:cxn ang="0">
                <a:pos x="connsiteX51360" y="connsiteY51360"/>
              </a:cxn>
              <a:cxn ang="0">
                <a:pos x="connsiteX51361" y="connsiteY51361"/>
              </a:cxn>
              <a:cxn ang="0">
                <a:pos x="connsiteX51362" y="connsiteY51362"/>
              </a:cxn>
              <a:cxn ang="0">
                <a:pos x="connsiteX51363" y="connsiteY51363"/>
              </a:cxn>
              <a:cxn ang="0">
                <a:pos x="connsiteX51364" y="connsiteY51364"/>
              </a:cxn>
              <a:cxn ang="0">
                <a:pos x="connsiteX51365" y="connsiteY51365"/>
              </a:cxn>
              <a:cxn ang="0">
                <a:pos x="connsiteX51366" y="connsiteY51366"/>
              </a:cxn>
              <a:cxn ang="0">
                <a:pos x="connsiteX51367" y="connsiteY51367"/>
              </a:cxn>
              <a:cxn ang="0">
                <a:pos x="connsiteX51368" y="connsiteY51368"/>
              </a:cxn>
              <a:cxn ang="0">
                <a:pos x="connsiteX51369" y="connsiteY51369"/>
              </a:cxn>
              <a:cxn ang="0">
                <a:pos x="connsiteX51370" y="connsiteY51370"/>
              </a:cxn>
              <a:cxn ang="0">
                <a:pos x="connsiteX51371" y="connsiteY51371"/>
              </a:cxn>
              <a:cxn ang="0">
                <a:pos x="connsiteX51372" y="connsiteY51372"/>
              </a:cxn>
              <a:cxn ang="0">
                <a:pos x="connsiteX51373" y="connsiteY51373"/>
              </a:cxn>
              <a:cxn ang="0">
                <a:pos x="connsiteX51374" y="connsiteY51374"/>
              </a:cxn>
              <a:cxn ang="0">
                <a:pos x="connsiteX51375" y="connsiteY51375"/>
              </a:cxn>
              <a:cxn ang="0">
                <a:pos x="connsiteX51376" y="connsiteY51376"/>
              </a:cxn>
              <a:cxn ang="0">
                <a:pos x="connsiteX51377" y="connsiteY51377"/>
              </a:cxn>
              <a:cxn ang="0">
                <a:pos x="connsiteX51378" y="connsiteY51378"/>
              </a:cxn>
              <a:cxn ang="0">
                <a:pos x="connsiteX51379" y="connsiteY51379"/>
              </a:cxn>
              <a:cxn ang="0">
                <a:pos x="connsiteX51380" y="connsiteY51380"/>
              </a:cxn>
              <a:cxn ang="0">
                <a:pos x="connsiteX51381" y="connsiteY51381"/>
              </a:cxn>
              <a:cxn ang="0">
                <a:pos x="connsiteX51382" y="connsiteY51382"/>
              </a:cxn>
              <a:cxn ang="0">
                <a:pos x="connsiteX51383" y="connsiteY51383"/>
              </a:cxn>
              <a:cxn ang="0">
                <a:pos x="connsiteX51384" y="connsiteY51384"/>
              </a:cxn>
              <a:cxn ang="0">
                <a:pos x="connsiteX51385" y="connsiteY51385"/>
              </a:cxn>
              <a:cxn ang="0">
                <a:pos x="connsiteX51386" y="connsiteY51386"/>
              </a:cxn>
              <a:cxn ang="0">
                <a:pos x="connsiteX51387" y="connsiteY51387"/>
              </a:cxn>
              <a:cxn ang="0">
                <a:pos x="connsiteX51388" y="connsiteY51388"/>
              </a:cxn>
              <a:cxn ang="0">
                <a:pos x="connsiteX51389" y="connsiteY51389"/>
              </a:cxn>
              <a:cxn ang="0">
                <a:pos x="connsiteX51390" y="connsiteY51390"/>
              </a:cxn>
              <a:cxn ang="0">
                <a:pos x="connsiteX51391" y="connsiteY51391"/>
              </a:cxn>
              <a:cxn ang="0">
                <a:pos x="connsiteX51392" y="connsiteY51392"/>
              </a:cxn>
              <a:cxn ang="0">
                <a:pos x="connsiteX51393" y="connsiteY51393"/>
              </a:cxn>
              <a:cxn ang="0">
                <a:pos x="connsiteX51394" y="connsiteY51394"/>
              </a:cxn>
              <a:cxn ang="0">
                <a:pos x="connsiteX51395" y="connsiteY51395"/>
              </a:cxn>
              <a:cxn ang="0">
                <a:pos x="connsiteX51396" y="connsiteY51396"/>
              </a:cxn>
              <a:cxn ang="0">
                <a:pos x="connsiteX51397" y="connsiteY51397"/>
              </a:cxn>
              <a:cxn ang="0">
                <a:pos x="connsiteX51398" y="connsiteY51398"/>
              </a:cxn>
              <a:cxn ang="0">
                <a:pos x="connsiteX51399" y="connsiteY51399"/>
              </a:cxn>
              <a:cxn ang="0">
                <a:pos x="connsiteX51400" y="connsiteY51400"/>
              </a:cxn>
              <a:cxn ang="0">
                <a:pos x="connsiteX51401" y="connsiteY51401"/>
              </a:cxn>
              <a:cxn ang="0">
                <a:pos x="connsiteX51402" y="connsiteY51402"/>
              </a:cxn>
              <a:cxn ang="0">
                <a:pos x="connsiteX51403" y="connsiteY51403"/>
              </a:cxn>
              <a:cxn ang="0">
                <a:pos x="connsiteX51404" y="connsiteY51404"/>
              </a:cxn>
              <a:cxn ang="0">
                <a:pos x="connsiteX51405" y="connsiteY51405"/>
              </a:cxn>
              <a:cxn ang="0">
                <a:pos x="connsiteX51406" y="connsiteY51406"/>
              </a:cxn>
              <a:cxn ang="0">
                <a:pos x="connsiteX51407" y="connsiteY51407"/>
              </a:cxn>
              <a:cxn ang="0">
                <a:pos x="connsiteX51408" y="connsiteY51408"/>
              </a:cxn>
              <a:cxn ang="0">
                <a:pos x="connsiteX51409" y="connsiteY51409"/>
              </a:cxn>
              <a:cxn ang="0">
                <a:pos x="connsiteX51410" y="connsiteY51410"/>
              </a:cxn>
              <a:cxn ang="0">
                <a:pos x="connsiteX51411" y="connsiteY51411"/>
              </a:cxn>
              <a:cxn ang="0">
                <a:pos x="connsiteX51412" y="connsiteY51412"/>
              </a:cxn>
              <a:cxn ang="0">
                <a:pos x="connsiteX51413" y="connsiteY51413"/>
              </a:cxn>
              <a:cxn ang="0">
                <a:pos x="connsiteX51414" y="connsiteY51414"/>
              </a:cxn>
              <a:cxn ang="0">
                <a:pos x="connsiteX51415" y="connsiteY51415"/>
              </a:cxn>
              <a:cxn ang="0">
                <a:pos x="connsiteX51416" y="connsiteY51416"/>
              </a:cxn>
              <a:cxn ang="0">
                <a:pos x="connsiteX51417" y="connsiteY51417"/>
              </a:cxn>
              <a:cxn ang="0">
                <a:pos x="connsiteX51418" y="connsiteY51418"/>
              </a:cxn>
              <a:cxn ang="0">
                <a:pos x="connsiteX51419" y="connsiteY51419"/>
              </a:cxn>
              <a:cxn ang="0">
                <a:pos x="connsiteX51420" y="connsiteY51420"/>
              </a:cxn>
              <a:cxn ang="0">
                <a:pos x="connsiteX51421" y="connsiteY51421"/>
              </a:cxn>
              <a:cxn ang="0">
                <a:pos x="connsiteX51422" y="connsiteY51422"/>
              </a:cxn>
              <a:cxn ang="0">
                <a:pos x="connsiteX51423" y="connsiteY51423"/>
              </a:cxn>
              <a:cxn ang="0">
                <a:pos x="connsiteX51424" y="connsiteY51424"/>
              </a:cxn>
              <a:cxn ang="0">
                <a:pos x="connsiteX51425" y="connsiteY51425"/>
              </a:cxn>
              <a:cxn ang="0">
                <a:pos x="connsiteX51426" y="connsiteY51426"/>
              </a:cxn>
              <a:cxn ang="0">
                <a:pos x="connsiteX51427" y="connsiteY51427"/>
              </a:cxn>
              <a:cxn ang="0">
                <a:pos x="connsiteX51428" y="connsiteY51428"/>
              </a:cxn>
              <a:cxn ang="0">
                <a:pos x="connsiteX51429" y="connsiteY51429"/>
              </a:cxn>
              <a:cxn ang="0">
                <a:pos x="connsiteX51430" y="connsiteY51430"/>
              </a:cxn>
              <a:cxn ang="0">
                <a:pos x="connsiteX51431" y="connsiteY51431"/>
              </a:cxn>
              <a:cxn ang="0">
                <a:pos x="connsiteX51432" y="connsiteY51432"/>
              </a:cxn>
              <a:cxn ang="0">
                <a:pos x="connsiteX51433" y="connsiteY51433"/>
              </a:cxn>
              <a:cxn ang="0">
                <a:pos x="connsiteX51434" y="connsiteY51434"/>
              </a:cxn>
              <a:cxn ang="0">
                <a:pos x="connsiteX51435" y="connsiteY51435"/>
              </a:cxn>
              <a:cxn ang="0">
                <a:pos x="connsiteX51436" y="connsiteY51436"/>
              </a:cxn>
              <a:cxn ang="0">
                <a:pos x="connsiteX51437" y="connsiteY51437"/>
              </a:cxn>
              <a:cxn ang="0">
                <a:pos x="connsiteX51438" y="connsiteY51438"/>
              </a:cxn>
              <a:cxn ang="0">
                <a:pos x="connsiteX51439" y="connsiteY51439"/>
              </a:cxn>
              <a:cxn ang="0">
                <a:pos x="connsiteX51440" y="connsiteY51440"/>
              </a:cxn>
              <a:cxn ang="0">
                <a:pos x="connsiteX51441" y="connsiteY51441"/>
              </a:cxn>
              <a:cxn ang="0">
                <a:pos x="connsiteX51442" y="connsiteY51442"/>
              </a:cxn>
              <a:cxn ang="0">
                <a:pos x="connsiteX51443" y="connsiteY51443"/>
              </a:cxn>
              <a:cxn ang="0">
                <a:pos x="connsiteX51444" y="connsiteY51444"/>
              </a:cxn>
              <a:cxn ang="0">
                <a:pos x="connsiteX51445" y="connsiteY51445"/>
              </a:cxn>
              <a:cxn ang="0">
                <a:pos x="connsiteX51446" y="connsiteY51446"/>
              </a:cxn>
              <a:cxn ang="0">
                <a:pos x="connsiteX51447" y="connsiteY51447"/>
              </a:cxn>
              <a:cxn ang="0">
                <a:pos x="connsiteX51448" y="connsiteY51448"/>
              </a:cxn>
              <a:cxn ang="0">
                <a:pos x="connsiteX51449" y="connsiteY51449"/>
              </a:cxn>
              <a:cxn ang="0">
                <a:pos x="connsiteX51450" y="connsiteY51450"/>
              </a:cxn>
              <a:cxn ang="0">
                <a:pos x="connsiteX51451" y="connsiteY51451"/>
              </a:cxn>
              <a:cxn ang="0">
                <a:pos x="connsiteX51452" y="connsiteY51452"/>
              </a:cxn>
              <a:cxn ang="0">
                <a:pos x="connsiteX51453" y="connsiteY51453"/>
              </a:cxn>
              <a:cxn ang="0">
                <a:pos x="connsiteX51454" y="connsiteY51454"/>
              </a:cxn>
              <a:cxn ang="0">
                <a:pos x="connsiteX51455" y="connsiteY51455"/>
              </a:cxn>
              <a:cxn ang="0">
                <a:pos x="connsiteX51456" y="connsiteY51456"/>
              </a:cxn>
              <a:cxn ang="0">
                <a:pos x="connsiteX51457" y="connsiteY51457"/>
              </a:cxn>
              <a:cxn ang="0">
                <a:pos x="connsiteX51458" y="connsiteY51458"/>
              </a:cxn>
              <a:cxn ang="0">
                <a:pos x="connsiteX51459" y="connsiteY51459"/>
              </a:cxn>
              <a:cxn ang="0">
                <a:pos x="connsiteX51460" y="connsiteY51460"/>
              </a:cxn>
              <a:cxn ang="0">
                <a:pos x="connsiteX51461" y="connsiteY51461"/>
              </a:cxn>
              <a:cxn ang="0">
                <a:pos x="connsiteX51462" y="connsiteY51462"/>
              </a:cxn>
              <a:cxn ang="0">
                <a:pos x="connsiteX51463" y="connsiteY51463"/>
              </a:cxn>
              <a:cxn ang="0">
                <a:pos x="connsiteX51464" y="connsiteY51464"/>
              </a:cxn>
              <a:cxn ang="0">
                <a:pos x="connsiteX51465" y="connsiteY51465"/>
              </a:cxn>
              <a:cxn ang="0">
                <a:pos x="connsiteX51466" y="connsiteY51466"/>
              </a:cxn>
              <a:cxn ang="0">
                <a:pos x="connsiteX51467" y="connsiteY51467"/>
              </a:cxn>
              <a:cxn ang="0">
                <a:pos x="connsiteX51468" y="connsiteY51468"/>
              </a:cxn>
              <a:cxn ang="0">
                <a:pos x="connsiteX51469" y="connsiteY51469"/>
              </a:cxn>
              <a:cxn ang="0">
                <a:pos x="connsiteX51470" y="connsiteY51470"/>
              </a:cxn>
              <a:cxn ang="0">
                <a:pos x="connsiteX51471" y="connsiteY51471"/>
              </a:cxn>
              <a:cxn ang="0">
                <a:pos x="connsiteX51472" y="connsiteY51472"/>
              </a:cxn>
              <a:cxn ang="0">
                <a:pos x="connsiteX51473" y="connsiteY51473"/>
              </a:cxn>
              <a:cxn ang="0">
                <a:pos x="connsiteX51474" y="connsiteY51474"/>
              </a:cxn>
              <a:cxn ang="0">
                <a:pos x="connsiteX51475" y="connsiteY51475"/>
              </a:cxn>
              <a:cxn ang="0">
                <a:pos x="connsiteX51476" y="connsiteY51476"/>
              </a:cxn>
              <a:cxn ang="0">
                <a:pos x="connsiteX51477" y="connsiteY51477"/>
              </a:cxn>
              <a:cxn ang="0">
                <a:pos x="connsiteX51478" y="connsiteY51478"/>
              </a:cxn>
              <a:cxn ang="0">
                <a:pos x="connsiteX51479" y="connsiteY51479"/>
              </a:cxn>
              <a:cxn ang="0">
                <a:pos x="connsiteX51480" y="connsiteY51480"/>
              </a:cxn>
              <a:cxn ang="0">
                <a:pos x="connsiteX51481" y="connsiteY51481"/>
              </a:cxn>
              <a:cxn ang="0">
                <a:pos x="connsiteX51482" y="connsiteY51482"/>
              </a:cxn>
              <a:cxn ang="0">
                <a:pos x="connsiteX51483" y="connsiteY51483"/>
              </a:cxn>
              <a:cxn ang="0">
                <a:pos x="connsiteX51484" y="connsiteY51484"/>
              </a:cxn>
              <a:cxn ang="0">
                <a:pos x="connsiteX51485" y="connsiteY51485"/>
              </a:cxn>
              <a:cxn ang="0">
                <a:pos x="connsiteX51486" y="connsiteY51486"/>
              </a:cxn>
              <a:cxn ang="0">
                <a:pos x="connsiteX51487" y="connsiteY51487"/>
              </a:cxn>
              <a:cxn ang="0">
                <a:pos x="connsiteX51488" y="connsiteY51488"/>
              </a:cxn>
              <a:cxn ang="0">
                <a:pos x="connsiteX51489" y="connsiteY51489"/>
              </a:cxn>
              <a:cxn ang="0">
                <a:pos x="connsiteX51490" y="connsiteY51490"/>
              </a:cxn>
              <a:cxn ang="0">
                <a:pos x="connsiteX51491" y="connsiteY51491"/>
              </a:cxn>
              <a:cxn ang="0">
                <a:pos x="connsiteX51492" y="connsiteY51492"/>
              </a:cxn>
              <a:cxn ang="0">
                <a:pos x="connsiteX51493" y="connsiteY51493"/>
              </a:cxn>
              <a:cxn ang="0">
                <a:pos x="connsiteX51494" y="connsiteY51494"/>
              </a:cxn>
              <a:cxn ang="0">
                <a:pos x="connsiteX51495" y="connsiteY51495"/>
              </a:cxn>
              <a:cxn ang="0">
                <a:pos x="connsiteX51496" y="connsiteY51496"/>
              </a:cxn>
              <a:cxn ang="0">
                <a:pos x="connsiteX51497" y="connsiteY51497"/>
              </a:cxn>
              <a:cxn ang="0">
                <a:pos x="connsiteX51498" y="connsiteY51498"/>
              </a:cxn>
              <a:cxn ang="0">
                <a:pos x="connsiteX51499" y="connsiteY51499"/>
              </a:cxn>
              <a:cxn ang="0">
                <a:pos x="connsiteX51500" y="connsiteY51500"/>
              </a:cxn>
              <a:cxn ang="0">
                <a:pos x="connsiteX51501" y="connsiteY51501"/>
              </a:cxn>
              <a:cxn ang="0">
                <a:pos x="connsiteX51502" y="connsiteY51502"/>
              </a:cxn>
              <a:cxn ang="0">
                <a:pos x="connsiteX51503" y="connsiteY51503"/>
              </a:cxn>
              <a:cxn ang="0">
                <a:pos x="connsiteX51504" y="connsiteY51504"/>
              </a:cxn>
              <a:cxn ang="0">
                <a:pos x="connsiteX51505" y="connsiteY51505"/>
              </a:cxn>
              <a:cxn ang="0">
                <a:pos x="connsiteX51506" y="connsiteY51506"/>
              </a:cxn>
              <a:cxn ang="0">
                <a:pos x="connsiteX51507" y="connsiteY51507"/>
              </a:cxn>
              <a:cxn ang="0">
                <a:pos x="connsiteX51508" y="connsiteY51508"/>
              </a:cxn>
              <a:cxn ang="0">
                <a:pos x="connsiteX51509" y="connsiteY51509"/>
              </a:cxn>
              <a:cxn ang="0">
                <a:pos x="connsiteX51510" y="connsiteY51510"/>
              </a:cxn>
              <a:cxn ang="0">
                <a:pos x="connsiteX51511" y="connsiteY51511"/>
              </a:cxn>
              <a:cxn ang="0">
                <a:pos x="connsiteX51512" y="connsiteY51512"/>
              </a:cxn>
              <a:cxn ang="0">
                <a:pos x="connsiteX51513" y="connsiteY51513"/>
              </a:cxn>
              <a:cxn ang="0">
                <a:pos x="connsiteX51514" y="connsiteY51514"/>
              </a:cxn>
              <a:cxn ang="0">
                <a:pos x="connsiteX51515" y="connsiteY51515"/>
              </a:cxn>
              <a:cxn ang="0">
                <a:pos x="connsiteX51516" y="connsiteY51516"/>
              </a:cxn>
              <a:cxn ang="0">
                <a:pos x="connsiteX51517" y="connsiteY51517"/>
              </a:cxn>
              <a:cxn ang="0">
                <a:pos x="connsiteX51518" y="connsiteY51518"/>
              </a:cxn>
              <a:cxn ang="0">
                <a:pos x="connsiteX51519" y="connsiteY51519"/>
              </a:cxn>
              <a:cxn ang="0">
                <a:pos x="connsiteX51520" y="connsiteY51520"/>
              </a:cxn>
              <a:cxn ang="0">
                <a:pos x="connsiteX51521" y="connsiteY51521"/>
              </a:cxn>
              <a:cxn ang="0">
                <a:pos x="connsiteX51522" y="connsiteY51522"/>
              </a:cxn>
              <a:cxn ang="0">
                <a:pos x="connsiteX51523" y="connsiteY51523"/>
              </a:cxn>
              <a:cxn ang="0">
                <a:pos x="connsiteX51524" y="connsiteY51524"/>
              </a:cxn>
              <a:cxn ang="0">
                <a:pos x="connsiteX51525" y="connsiteY51525"/>
              </a:cxn>
              <a:cxn ang="0">
                <a:pos x="connsiteX51526" y="connsiteY51526"/>
              </a:cxn>
              <a:cxn ang="0">
                <a:pos x="connsiteX51527" y="connsiteY51527"/>
              </a:cxn>
              <a:cxn ang="0">
                <a:pos x="connsiteX51528" y="connsiteY51528"/>
              </a:cxn>
              <a:cxn ang="0">
                <a:pos x="connsiteX51529" y="connsiteY51529"/>
              </a:cxn>
              <a:cxn ang="0">
                <a:pos x="connsiteX51530" y="connsiteY51530"/>
              </a:cxn>
              <a:cxn ang="0">
                <a:pos x="connsiteX51531" y="connsiteY51531"/>
              </a:cxn>
              <a:cxn ang="0">
                <a:pos x="connsiteX51532" y="connsiteY51532"/>
              </a:cxn>
              <a:cxn ang="0">
                <a:pos x="connsiteX51533" y="connsiteY51533"/>
              </a:cxn>
              <a:cxn ang="0">
                <a:pos x="connsiteX51534" y="connsiteY51534"/>
              </a:cxn>
              <a:cxn ang="0">
                <a:pos x="connsiteX51535" y="connsiteY51535"/>
              </a:cxn>
              <a:cxn ang="0">
                <a:pos x="connsiteX51536" y="connsiteY51536"/>
              </a:cxn>
              <a:cxn ang="0">
                <a:pos x="connsiteX51537" y="connsiteY51537"/>
              </a:cxn>
              <a:cxn ang="0">
                <a:pos x="connsiteX51538" y="connsiteY51538"/>
              </a:cxn>
              <a:cxn ang="0">
                <a:pos x="connsiteX51539" y="connsiteY51539"/>
              </a:cxn>
              <a:cxn ang="0">
                <a:pos x="connsiteX51540" y="connsiteY51540"/>
              </a:cxn>
              <a:cxn ang="0">
                <a:pos x="connsiteX51541" y="connsiteY51541"/>
              </a:cxn>
              <a:cxn ang="0">
                <a:pos x="connsiteX51542" y="connsiteY51542"/>
              </a:cxn>
              <a:cxn ang="0">
                <a:pos x="connsiteX51543" y="connsiteY51543"/>
              </a:cxn>
              <a:cxn ang="0">
                <a:pos x="connsiteX51544" y="connsiteY51544"/>
              </a:cxn>
              <a:cxn ang="0">
                <a:pos x="connsiteX51545" y="connsiteY51545"/>
              </a:cxn>
              <a:cxn ang="0">
                <a:pos x="connsiteX51546" y="connsiteY51546"/>
              </a:cxn>
              <a:cxn ang="0">
                <a:pos x="connsiteX51547" y="connsiteY51547"/>
              </a:cxn>
              <a:cxn ang="0">
                <a:pos x="connsiteX51548" y="connsiteY51548"/>
              </a:cxn>
              <a:cxn ang="0">
                <a:pos x="connsiteX51549" y="connsiteY51549"/>
              </a:cxn>
              <a:cxn ang="0">
                <a:pos x="connsiteX51550" y="connsiteY51550"/>
              </a:cxn>
              <a:cxn ang="0">
                <a:pos x="connsiteX51551" y="connsiteY51551"/>
              </a:cxn>
              <a:cxn ang="0">
                <a:pos x="connsiteX51552" y="connsiteY51552"/>
              </a:cxn>
              <a:cxn ang="0">
                <a:pos x="connsiteX51553" y="connsiteY51553"/>
              </a:cxn>
              <a:cxn ang="0">
                <a:pos x="connsiteX51554" y="connsiteY51554"/>
              </a:cxn>
              <a:cxn ang="0">
                <a:pos x="connsiteX51555" y="connsiteY51555"/>
              </a:cxn>
              <a:cxn ang="0">
                <a:pos x="connsiteX51556" y="connsiteY51556"/>
              </a:cxn>
              <a:cxn ang="0">
                <a:pos x="connsiteX51557" y="connsiteY51557"/>
              </a:cxn>
              <a:cxn ang="0">
                <a:pos x="connsiteX51558" y="connsiteY51558"/>
              </a:cxn>
              <a:cxn ang="0">
                <a:pos x="connsiteX51559" y="connsiteY51559"/>
              </a:cxn>
              <a:cxn ang="0">
                <a:pos x="connsiteX51560" y="connsiteY51560"/>
              </a:cxn>
              <a:cxn ang="0">
                <a:pos x="connsiteX51561" y="connsiteY51561"/>
              </a:cxn>
              <a:cxn ang="0">
                <a:pos x="connsiteX51562" y="connsiteY51562"/>
              </a:cxn>
              <a:cxn ang="0">
                <a:pos x="connsiteX51563" y="connsiteY51563"/>
              </a:cxn>
              <a:cxn ang="0">
                <a:pos x="connsiteX51564" y="connsiteY51564"/>
              </a:cxn>
              <a:cxn ang="0">
                <a:pos x="connsiteX51565" y="connsiteY51565"/>
              </a:cxn>
              <a:cxn ang="0">
                <a:pos x="connsiteX51566" y="connsiteY51566"/>
              </a:cxn>
              <a:cxn ang="0">
                <a:pos x="connsiteX51567" y="connsiteY51567"/>
              </a:cxn>
              <a:cxn ang="0">
                <a:pos x="connsiteX51568" y="connsiteY51568"/>
              </a:cxn>
              <a:cxn ang="0">
                <a:pos x="connsiteX51569" y="connsiteY51569"/>
              </a:cxn>
              <a:cxn ang="0">
                <a:pos x="connsiteX51570" y="connsiteY51570"/>
              </a:cxn>
              <a:cxn ang="0">
                <a:pos x="connsiteX51571" y="connsiteY51571"/>
              </a:cxn>
              <a:cxn ang="0">
                <a:pos x="connsiteX51572" y="connsiteY51572"/>
              </a:cxn>
              <a:cxn ang="0">
                <a:pos x="connsiteX51573" y="connsiteY51573"/>
              </a:cxn>
              <a:cxn ang="0">
                <a:pos x="connsiteX51574" y="connsiteY51574"/>
              </a:cxn>
              <a:cxn ang="0">
                <a:pos x="connsiteX51575" y="connsiteY51575"/>
              </a:cxn>
              <a:cxn ang="0">
                <a:pos x="connsiteX51576" y="connsiteY51576"/>
              </a:cxn>
              <a:cxn ang="0">
                <a:pos x="connsiteX51577" y="connsiteY51577"/>
              </a:cxn>
              <a:cxn ang="0">
                <a:pos x="connsiteX51578" y="connsiteY51578"/>
              </a:cxn>
              <a:cxn ang="0">
                <a:pos x="connsiteX51579" y="connsiteY51579"/>
              </a:cxn>
              <a:cxn ang="0">
                <a:pos x="connsiteX51580" y="connsiteY51580"/>
              </a:cxn>
              <a:cxn ang="0">
                <a:pos x="connsiteX51581" y="connsiteY51581"/>
              </a:cxn>
              <a:cxn ang="0">
                <a:pos x="connsiteX51582" y="connsiteY51582"/>
              </a:cxn>
              <a:cxn ang="0">
                <a:pos x="connsiteX51583" y="connsiteY51583"/>
              </a:cxn>
              <a:cxn ang="0">
                <a:pos x="connsiteX51584" y="connsiteY51584"/>
              </a:cxn>
              <a:cxn ang="0">
                <a:pos x="connsiteX51585" y="connsiteY51585"/>
              </a:cxn>
              <a:cxn ang="0">
                <a:pos x="connsiteX51586" y="connsiteY51586"/>
              </a:cxn>
              <a:cxn ang="0">
                <a:pos x="connsiteX51587" y="connsiteY51587"/>
              </a:cxn>
              <a:cxn ang="0">
                <a:pos x="connsiteX51588" y="connsiteY51588"/>
              </a:cxn>
              <a:cxn ang="0">
                <a:pos x="connsiteX51589" y="connsiteY51589"/>
              </a:cxn>
              <a:cxn ang="0">
                <a:pos x="connsiteX51590" y="connsiteY51590"/>
              </a:cxn>
              <a:cxn ang="0">
                <a:pos x="connsiteX51591" y="connsiteY51591"/>
              </a:cxn>
              <a:cxn ang="0">
                <a:pos x="connsiteX51592" y="connsiteY51592"/>
              </a:cxn>
              <a:cxn ang="0">
                <a:pos x="connsiteX51593" y="connsiteY51593"/>
              </a:cxn>
              <a:cxn ang="0">
                <a:pos x="connsiteX51594" y="connsiteY51594"/>
              </a:cxn>
              <a:cxn ang="0">
                <a:pos x="connsiteX51595" y="connsiteY51595"/>
              </a:cxn>
              <a:cxn ang="0">
                <a:pos x="connsiteX51596" y="connsiteY51596"/>
              </a:cxn>
              <a:cxn ang="0">
                <a:pos x="connsiteX51597" y="connsiteY51597"/>
              </a:cxn>
              <a:cxn ang="0">
                <a:pos x="connsiteX51598" y="connsiteY51598"/>
              </a:cxn>
              <a:cxn ang="0">
                <a:pos x="connsiteX51599" y="connsiteY51599"/>
              </a:cxn>
              <a:cxn ang="0">
                <a:pos x="connsiteX51600" y="connsiteY51600"/>
              </a:cxn>
              <a:cxn ang="0">
                <a:pos x="connsiteX51601" y="connsiteY51601"/>
              </a:cxn>
              <a:cxn ang="0">
                <a:pos x="connsiteX51602" y="connsiteY51602"/>
              </a:cxn>
              <a:cxn ang="0">
                <a:pos x="connsiteX51603" y="connsiteY51603"/>
              </a:cxn>
              <a:cxn ang="0">
                <a:pos x="connsiteX51604" y="connsiteY51604"/>
              </a:cxn>
              <a:cxn ang="0">
                <a:pos x="connsiteX51605" y="connsiteY51605"/>
              </a:cxn>
              <a:cxn ang="0">
                <a:pos x="connsiteX51606" y="connsiteY51606"/>
              </a:cxn>
              <a:cxn ang="0">
                <a:pos x="connsiteX51607" y="connsiteY51607"/>
              </a:cxn>
              <a:cxn ang="0">
                <a:pos x="connsiteX51608" y="connsiteY51608"/>
              </a:cxn>
              <a:cxn ang="0">
                <a:pos x="connsiteX51609" y="connsiteY51609"/>
              </a:cxn>
              <a:cxn ang="0">
                <a:pos x="connsiteX51610" y="connsiteY51610"/>
              </a:cxn>
              <a:cxn ang="0">
                <a:pos x="connsiteX51611" y="connsiteY51611"/>
              </a:cxn>
              <a:cxn ang="0">
                <a:pos x="connsiteX51612" y="connsiteY51612"/>
              </a:cxn>
              <a:cxn ang="0">
                <a:pos x="connsiteX51613" y="connsiteY51613"/>
              </a:cxn>
              <a:cxn ang="0">
                <a:pos x="connsiteX51614" y="connsiteY51614"/>
              </a:cxn>
              <a:cxn ang="0">
                <a:pos x="connsiteX51615" y="connsiteY51615"/>
              </a:cxn>
              <a:cxn ang="0">
                <a:pos x="connsiteX51616" y="connsiteY51616"/>
              </a:cxn>
              <a:cxn ang="0">
                <a:pos x="connsiteX51617" y="connsiteY51617"/>
              </a:cxn>
              <a:cxn ang="0">
                <a:pos x="connsiteX51618" y="connsiteY51618"/>
              </a:cxn>
              <a:cxn ang="0">
                <a:pos x="connsiteX51619" y="connsiteY51619"/>
              </a:cxn>
              <a:cxn ang="0">
                <a:pos x="connsiteX51620" y="connsiteY51620"/>
              </a:cxn>
              <a:cxn ang="0">
                <a:pos x="connsiteX51621" y="connsiteY51621"/>
              </a:cxn>
              <a:cxn ang="0">
                <a:pos x="connsiteX51622" y="connsiteY51622"/>
              </a:cxn>
              <a:cxn ang="0">
                <a:pos x="connsiteX51623" y="connsiteY51623"/>
              </a:cxn>
              <a:cxn ang="0">
                <a:pos x="connsiteX51624" y="connsiteY51624"/>
              </a:cxn>
              <a:cxn ang="0">
                <a:pos x="connsiteX51625" y="connsiteY51625"/>
              </a:cxn>
              <a:cxn ang="0">
                <a:pos x="connsiteX51626" y="connsiteY51626"/>
              </a:cxn>
              <a:cxn ang="0">
                <a:pos x="connsiteX51627" y="connsiteY51627"/>
              </a:cxn>
              <a:cxn ang="0">
                <a:pos x="connsiteX51628" y="connsiteY51628"/>
              </a:cxn>
              <a:cxn ang="0">
                <a:pos x="connsiteX51629" y="connsiteY51629"/>
              </a:cxn>
              <a:cxn ang="0">
                <a:pos x="connsiteX51630" y="connsiteY51630"/>
              </a:cxn>
              <a:cxn ang="0">
                <a:pos x="connsiteX51631" y="connsiteY51631"/>
              </a:cxn>
              <a:cxn ang="0">
                <a:pos x="connsiteX51632" y="connsiteY51632"/>
              </a:cxn>
              <a:cxn ang="0">
                <a:pos x="connsiteX51633" y="connsiteY51633"/>
              </a:cxn>
              <a:cxn ang="0">
                <a:pos x="connsiteX51634" y="connsiteY51634"/>
              </a:cxn>
              <a:cxn ang="0">
                <a:pos x="connsiteX51635" y="connsiteY51635"/>
              </a:cxn>
              <a:cxn ang="0">
                <a:pos x="connsiteX51636" y="connsiteY51636"/>
              </a:cxn>
              <a:cxn ang="0">
                <a:pos x="connsiteX51637" y="connsiteY51637"/>
              </a:cxn>
              <a:cxn ang="0">
                <a:pos x="connsiteX51638" y="connsiteY51638"/>
              </a:cxn>
              <a:cxn ang="0">
                <a:pos x="connsiteX51639" y="connsiteY51639"/>
              </a:cxn>
              <a:cxn ang="0">
                <a:pos x="connsiteX51640" y="connsiteY51640"/>
              </a:cxn>
              <a:cxn ang="0">
                <a:pos x="connsiteX51641" y="connsiteY51641"/>
              </a:cxn>
              <a:cxn ang="0">
                <a:pos x="connsiteX51642" y="connsiteY51642"/>
              </a:cxn>
              <a:cxn ang="0">
                <a:pos x="connsiteX51643" y="connsiteY51643"/>
              </a:cxn>
              <a:cxn ang="0">
                <a:pos x="connsiteX51644" y="connsiteY51644"/>
              </a:cxn>
              <a:cxn ang="0">
                <a:pos x="connsiteX51645" y="connsiteY51645"/>
              </a:cxn>
              <a:cxn ang="0">
                <a:pos x="connsiteX51646" y="connsiteY51646"/>
              </a:cxn>
              <a:cxn ang="0">
                <a:pos x="connsiteX51647" y="connsiteY51647"/>
              </a:cxn>
              <a:cxn ang="0">
                <a:pos x="connsiteX51648" y="connsiteY51648"/>
              </a:cxn>
              <a:cxn ang="0">
                <a:pos x="connsiteX51649" y="connsiteY51649"/>
              </a:cxn>
              <a:cxn ang="0">
                <a:pos x="connsiteX51650" y="connsiteY51650"/>
              </a:cxn>
              <a:cxn ang="0">
                <a:pos x="connsiteX51651" y="connsiteY51651"/>
              </a:cxn>
              <a:cxn ang="0">
                <a:pos x="connsiteX51652" y="connsiteY51652"/>
              </a:cxn>
              <a:cxn ang="0">
                <a:pos x="connsiteX51653" y="connsiteY51653"/>
              </a:cxn>
              <a:cxn ang="0">
                <a:pos x="connsiteX51654" y="connsiteY51654"/>
              </a:cxn>
              <a:cxn ang="0">
                <a:pos x="connsiteX51655" y="connsiteY51655"/>
              </a:cxn>
              <a:cxn ang="0">
                <a:pos x="connsiteX51656" y="connsiteY51656"/>
              </a:cxn>
              <a:cxn ang="0">
                <a:pos x="connsiteX51657" y="connsiteY51657"/>
              </a:cxn>
              <a:cxn ang="0">
                <a:pos x="connsiteX51658" y="connsiteY51658"/>
              </a:cxn>
              <a:cxn ang="0">
                <a:pos x="connsiteX51659" y="connsiteY51659"/>
              </a:cxn>
              <a:cxn ang="0">
                <a:pos x="connsiteX51660" y="connsiteY51660"/>
              </a:cxn>
              <a:cxn ang="0">
                <a:pos x="connsiteX51661" y="connsiteY51661"/>
              </a:cxn>
              <a:cxn ang="0">
                <a:pos x="connsiteX51662" y="connsiteY51662"/>
              </a:cxn>
              <a:cxn ang="0">
                <a:pos x="connsiteX51663" y="connsiteY51663"/>
              </a:cxn>
              <a:cxn ang="0">
                <a:pos x="connsiteX51664" y="connsiteY51664"/>
              </a:cxn>
              <a:cxn ang="0">
                <a:pos x="connsiteX51665" y="connsiteY51665"/>
              </a:cxn>
              <a:cxn ang="0">
                <a:pos x="connsiteX51666" y="connsiteY51666"/>
              </a:cxn>
              <a:cxn ang="0">
                <a:pos x="connsiteX51667" y="connsiteY51667"/>
              </a:cxn>
              <a:cxn ang="0">
                <a:pos x="connsiteX51668" y="connsiteY51668"/>
              </a:cxn>
              <a:cxn ang="0">
                <a:pos x="connsiteX51669" y="connsiteY51669"/>
              </a:cxn>
              <a:cxn ang="0">
                <a:pos x="connsiteX51670" y="connsiteY51670"/>
              </a:cxn>
              <a:cxn ang="0">
                <a:pos x="connsiteX51671" y="connsiteY51671"/>
              </a:cxn>
              <a:cxn ang="0">
                <a:pos x="connsiteX51672" y="connsiteY51672"/>
              </a:cxn>
              <a:cxn ang="0">
                <a:pos x="connsiteX51673" y="connsiteY51673"/>
              </a:cxn>
              <a:cxn ang="0">
                <a:pos x="connsiteX51674" y="connsiteY51674"/>
              </a:cxn>
              <a:cxn ang="0">
                <a:pos x="connsiteX51675" y="connsiteY51675"/>
              </a:cxn>
              <a:cxn ang="0">
                <a:pos x="connsiteX51676" y="connsiteY51676"/>
              </a:cxn>
              <a:cxn ang="0">
                <a:pos x="connsiteX51677" y="connsiteY51677"/>
              </a:cxn>
              <a:cxn ang="0">
                <a:pos x="connsiteX51678" y="connsiteY51678"/>
              </a:cxn>
              <a:cxn ang="0">
                <a:pos x="connsiteX51679" y="connsiteY51679"/>
              </a:cxn>
              <a:cxn ang="0">
                <a:pos x="connsiteX51680" y="connsiteY51680"/>
              </a:cxn>
              <a:cxn ang="0">
                <a:pos x="connsiteX51681" y="connsiteY51681"/>
              </a:cxn>
              <a:cxn ang="0">
                <a:pos x="connsiteX51682" y="connsiteY51682"/>
              </a:cxn>
              <a:cxn ang="0">
                <a:pos x="connsiteX51683" y="connsiteY51683"/>
              </a:cxn>
              <a:cxn ang="0">
                <a:pos x="connsiteX51684" y="connsiteY51684"/>
              </a:cxn>
              <a:cxn ang="0">
                <a:pos x="connsiteX51685" y="connsiteY51685"/>
              </a:cxn>
              <a:cxn ang="0">
                <a:pos x="connsiteX51686" y="connsiteY51686"/>
              </a:cxn>
              <a:cxn ang="0">
                <a:pos x="connsiteX51687" y="connsiteY51687"/>
              </a:cxn>
              <a:cxn ang="0">
                <a:pos x="connsiteX51688" y="connsiteY51688"/>
              </a:cxn>
              <a:cxn ang="0">
                <a:pos x="connsiteX51689" y="connsiteY51689"/>
              </a:cxn>
              <a:cxn ang="0">
                <a:pos x="connsiteX51690" y="connsiteY51690"/>
              </a:cxn>
              <a:cxn ang="0">
                <a:pos x="connsiteX51691" y="connsiteY51691"/>
              </a:cxn>
              <a:cxn ang="0">
                <a:pos x="connsiteX51692" y="connsiteY51692"/>
              </a:cxn>
              <a:cxn ang="0">
                <a:pos x="connsiteX51693" y="connsiteY51693"/>
              </a:cxn>
              <a:cxn ang="0">
                <a:pos x="connsiteX51694" y="connsiteY51694"/>
              </a:cxn>
              <a:cxn ang="0">
                <a:pos x="connsiteX51695" y="connsiteY51695"/>
              </a:cxn>
              <a:cxn ang="0">
                <a:pos x="connsiteX51696" y="connsiteY51696"/>
              </a:cxn>
              <a:cxn ang="0">
                <a:pos x="connsiteX51697" y="connsiteY51697"/>
              </a:cxn>
              <a:cxn ang="0">
                <a:pos x="connsiteX51698" y="connsiteY51698"/>
              </a:cxn>
              <a:cxn ang="0">
                <a:pos x="connsiteX51699" y="connsiteY51699"/>
              </a:cxn>
              <a:cxn ang="0">
                <a:pos x="connsiteX51700" y="connsiteY51700"/>
              </a:cxn>
              <a:cxn ang="0">
                <a:pos x="connsiteX51701" y="connsiteY51701"/>
              </a:cxn>
              <a:cxn ang="0">
                <a:pos x="connsiteX51702" y="connsiteY51702"/>
              </a:cxn>
              <a:cxn ang="0">
                <a:pos x="connsiteX51703" y="connsiteY51703"/>
              </a:cxn>
              <a:cxn ang="0">
                <a:pos x="connsiteX51704" y="connsiteY51704"/>
              </a:cxn>
              <a:cxn ang="0">
                <a:pos x="connsiteX51705" y="connsiteY51705"/>
              </a:cxn>
              <a:cxn ang="0">
                <a:pos x="connsiteX51706" y="connsiteY51706"/>
              </a:cxn>
              <a:cxn ang="0">
                <a:pos x="connsiteX51707" y="connsiteY51707"/>
              </a:cxn>
              <a:cxn ang="0">
                <a:pos x="connsiteX51708" y="connsiteY51708"/>
              </a:cxn>
              <a:cxn ang="0">
                <a:pos x="connsiteX51709" y="connsiteY51709"/>
              </a:cxn>
              <a:cxn ang="0">
                <a:pos x="connsiteX51710" y="connsiteY51710"/>
              </a:cxn>
              <a:cxn ang="0">
                <a:pos x="connsiteX51711" y="connsiteY51711"/>
              </a:cxn>
              <a:cxn ang="0">
                <a:pos x="connsiteX51712" y="connsiteY51712"/>
              </a:cxn>
              <a:cxn ang="0">
                <a:pos x="connsiteX51713" y="connsiteY51713"/>
              </a:cxn>
              <a:cxn ang="0">
                <a:pos x="connsiteX51714" y="connsiteY51714"/>
              </a:cxn>
              <a:cxn ang="0">
                <a:pos x="connsiteX51715" y="connsiteY51715"/>
              </a:cxn>
              <a:cxn ang="0">
                <a:pos x="connsiteX51716" y="connsiteY51716"/>
              </a:cxn>
              <a:cxn ang="0">
                <a:pos x="connsiteX51717" y="connsiteY51717"/>
              </a:cxn>
              <a:cxn ang="0">
                <a:pos x="connsiteX51718" y="connsiteY51718"/>
              </a:cxn>
              <a:cxn ang="0">
                <a:pos x="connsiteX51719" y="connsiteY51719"/>
              </a:cxn>
              <a:cxn ang="0">
                <a:pos x="connsiteX51720" y="connsiteY51720"/>
              </a:cxn>
              <a:cxn ang="0">
                <a:pos x="connsiteX51721" y="connsiteY51721"/>
              </a:cxn>
              <a:cxn ang="0">
                <a:pos x="connsiteX51722" y="connsiteY51722"/>
              </a:cxn>
              <a:cxn ang="0">
                <a:pos x="connsiteX51723" y="connsiteY51723"/>
              </a:cxn>
              <a:cxn ang="0">
                <a:pos x="connsiteX51724" y="connsiteY51724"/>
              </a:cxn>
              <a:cxn ang="0">
                <a:pos x="connsiteX51725" y="connsiteY51725"/>
              </a:cxn>
              <a:cxn ang="0">
                <a:pos x="connsiteX51726" y="connsiteY51726"/>
              </a:cxn>
              <a:cxn ang="0">
                <a:pos x="connsiteX51727" y="connsiteY51727"/>
              </a:cxn>
              <a:cxn ang="0">
                <a:pos x="connsiteX51728" y="connsiteY51728"/>
              </a:cxn>
              <a:cxn ang="0">
                <a:pos x="connsiteX51729" y="connsiteY51729"/>
              </a:cxn>
              <a:cxn ang="0">
                <a:pos x="connsiteX51730" y="connsiteY51730"/>
              </a:cxn>
              <a:cxn ang="0">
                <a:pos x="connsiteX51731" y="connsiteY51731"/>
              </a:cxn>
              <a:cxn ang="0">
                <a:pos x="connsiteX51732" y="connsiteY51732"/>
              </a:cxn>
              <a:cxn ang="0">
                <a:pos x="connsiteX51733" y="connsiteY51733"/>
              </a:cxn>
              <a:cxn ang="0">
                <a:pos x="connsiteX51734" y="connsiteY51734"/>
              </a:cxn>
              <a:cxn ang="0">
                <a:pos x="connsiteX51735" y="connsiteY51735"/>
              </a:cxn>
              <a:cxn ang="0">
                <a:pos x="connsiteX51736" y="connsiteY51736"/>
              </a:cxn>
              <a:cxn ang="0">
                <a:pos x="connsiteX51737" y="connsiteY51737"/>
              </a:cxn>
              <a:cxn ang="0">
                <a:pos x="connsiteX51738" y="connsiteY51738"/>
              </a:cxn>
              <a:cxn ang="0">
                <a:pos x="connsiteX51739" y="connsiteY51739"/>
              </a:cxn>
              <a:cxn ang="0">
                <a:pos x="connsiteX51740" y="connsiteY51740"/>
              </a:cxn>
              <a:cxn ang="0">
                <a:pos x="connsiteX51741" y="connsiteY51741"/>
              </a:cxn>
              <a:cxn ang="0">
                <a:pos x="connsiteX51742" y="connsiteY51742"/>
              </a:cxn>
              <a:cxn ang="0">
                <a:pos x="connsiteX51743" y="connsiteY51743"/>
              </a:cxn>
              <a:cxn ang="0">
                <a:pos x="connsiteX51744" y="connsiteY51744"/>
              </a:cxn>
              <a:cxn ang="0">
                <a:pos x="connsiteX51745" y="connsiteY51745"/>
              </a:cxn>
              <a:cxn ang="0">
                <a:pos x="connsiteX51746" y="connsiteY51746"/>
              </a:cxn>
              <a:cxn ang="0">
                <a:pos x="connsiteX51747" y="connsiteY51747"/>
              </a:cxn>
              <a:cxn ang="0">
                <a:pos x="connsiteX51748" y="connsiteY51748"/>
              </a:cxn>
              <a:cxn ang="0">
                <a:pos x="connsiteX51749" y="connsiteY51749"/>
              </a:cxn>
              <a:cxn ang="0">
                <a:pos x="connsiteX51750" y="connsiteY51750"/>
              </a:cxn>
              <a:cxn ang="0">
                <a:pos x="connsiteX51751" y="connsiteY51751"/>
              </a:cxn>
              <a:cxn ang="0">
                <a:pos x="connsiteX51752" y="connsiteY51752"/>
              </a:cxn>
              <a:cxn ang="0">
                <a:pos x="connsiteX51753" y="connsiteY51753"/>
              </a:cxn>
              <a:cxn ang="0">
                <a:pos x="connsiteX51754" y="connsiteY51754"/>
              </a:cxn>
              <a:cxn ang="0">
                <a:pos x="connsiteX51755" y="connsiteY51755"/>
              </a:cxn>
              <a:cxn ang="0">
                <a:pos x="connsiteX51756" y="connsiteY51756"/>
              </a:cxn>
              <a:cxn ang="0">
                <a:pos x="connsiteX51757" y="connsiteY51757"/>
              </a:cxn>
              <a:cxn ang="0">
                <a:pos x="connsiteX51758" y="connsiteY51758"/>
              </a:cxn>
              <a:cxn ang="0">
                <a:pos x="connsiteX51759" y="connsiteY51759"/>
              </a:cxn>
              <a:cxn ang="0">
                <a:pos x="connsiteX51760" y="connsiteY51760"/>
              </a:cxn>
              <a:cxn ang="0">
                <a:pos x="connsiteX51761" y="connsiteY51761"/>
              </a:cxn>
              <a:cxn ang="0">
                <a:pos x="connsiteX51762" y="connsiteY51762"/>
              </a:cxn>
              <a:cxn ang="0">
                <a:pos x="connsiteX51763" y="connsiteY51763"/>
              </a:cxn>
              <a:cxn ang="0">
                <a:pos x="connsiteX51764" y="connsiteY51764"/>
              </a:cxn>
              <a:cxn ang="0">
                <a:pos x="connsiteX51765" y="connsiteY51765"/>
              </a:cxn>
              <a:cxn ang="0">
                <a:pos x="connsiteX51766" y="connsiteY51766"/>
              </a:cxn>
              <a:cxn ang="0">
                <a:pos x="connsiteX51767" y="connsiteY51767"/>
              </a:cxn>
              <a:cxn ang="0">
                <a:pos x="connsiteX51768" y="connsiteY51768"/>
              </a:cxn>
              <a:cxn ang="0">
                <a:pos x="connsiteX51769" y="connsiteY51769"/>
              </a:cxn>
              <a:cxn ang="0">
                <a:pos x="connsiteX51770" y="connsiteY51770"/>
              </a:cxn>
              <a:cxn ang="0">
                <a:pos x="connsiteX51771" y="connsiteY51771"/>
              </a:cxn>
              <a:cxn ang="0">
                <a:pos x="connsiteX51772" y="connsiteY51772"/>
              </a:cxn>
              <a:cxn ang="0">
                <a:pos x="connsiteX51773" y="connsiteY51773"/>
              </a:cxn>
              <a:cxn ang="0">
                <a:pos x="connsiteX51774" y="connsiteY51774"/>
              </a:cxn>
              <a:cxn ang="0">
                <a:pos x="connsiteX51775" y="connsiteY51775"/>
              </a:cxn>
              <a:cxn ang="0">
                <a:pos x="connsiteX51776" y="connsiteY51776"/>
              </a:cxn>
              <a:cxn ang="0">
                <a:pos x="connsiteX51777" y="connsiteY51777"/>
              </a:cxn>
              <a:cxn ang="0">
                <a:pos x="connsiteX51778" y="connsiteY51778"/>
              </a:cxn>
              <a:cxn ang="0">
                <a:pos x="connsiteX51779" y="connsiteY51779"/>
              </a:cxn>
              <a:cxn ang="0">
                <a:pos x="connsiteX51780" y="connsiteY51780"/>
              </a:cxn>
              <a:cxn ang="0">
                <a:pos x="connsiteX51781" y="connsiteY51781"/>
              </a:cxn>
              <a:cxn ang="0">
                <a:pos x="connsiteX51782" y="connsiteY51782"/>
              </a:cxn>
              <a:cxn ang="0">
                <a:pos x="connsiteX51783" y="connsiteY51783"/>
              </a:cxn>
              <a:cxn ang="0">
                <a:pos x="connsiteX51784" y="connsiteY51784"/>
              </a:cxn>
              <a:cxn ang="0">
                <a:pos x="connsiteX51785" y="connsiteY51785"/>
              </a:cxn>
              <a:cxn ang="0">
                <a:pos x="connsiteX51786" y="connsiteY51786"/>
              </a:cxn>
              <a:cxn ang="0">
                <a:pos x="connsiteX51787" y="connsiteY51787"/>
              </a:cxn>
              <a:cxn ang="0">
                <a:pos x="connsiteX51788" y="connsiteY51788"/>
              </a:cxn>
              <a:cxn ang="0">
                <a:pos x="connsiteX51789" y="connsiteY51789"/>
              </a:cxn>
              <a:cxn ang="0">
                <a:pos x="connsiteX51790" y="connsiteY51790"/>
              </a:cxn>
              <a:cxn ang="0">
                <a:pos x="connsiteX51791" y="connsiteY51791"/>
              </a:cxn>
              <a:cxn ang="0">
                <a:pos x="connsiteX51792" y="connsiteY51792"/>
              </a:cxn>
              <a:cxn ang="0">
                <a:pos x="connsiteX51793" y="connsiteY51793"/>
              </a:cxn>
              <a:cxn ang="0">
                <a:pos x="connsiteX51794" y="connsiteY51794"/>
              </a:cxn>
              <a:cxn ang="0">
                <a:pos x="connsiteX51795" y="connsiteY51795"/>
              </a:cxn>
              <a:cxn ang="0">
                <a:pos x="connsiteX51796" y="connsiteY51796"/>
              </a:cxn>
              <a:cxn ang="0">
                <a:pos x="connsiteX51797" y="connsiteY51797"/>
              </a:cxn>
              <a:cxn ang="0">
                <a:pos x="connsiteX51798" y="connsiteY51798"/>
              </a:cxn>
              <a:cxn ang="0">
                <a:pos x="connsiteX51799" y="connsiteY51799"/>
              </a:cxn>
              <a:cxn ang="0">
                <a:pos x="connsiteX51800" y="connsiteY51800"/>
              </a:cxn>
              <a:cxn ang="0">
                <a:pos x="connsiteX51801" y="connsiteY51801"/>
              </a:cxn>
              <a:cxn ang="0">
                <a:pos x="connsiteX51802" y="connsiteY51802"/>
              </a:cxn>
              <a:cxn ang="0">
                <a:pos x="connsiteX51803" y="connsiteY51803"/>
              </a:cxn>
              <a:cxn ang="0">
                <a:pos x="connsiteX51804" y="connsiteY51804"/>
              </a:cxn>
              <a:cxn ang="0">
                <a:pos x="connsiteX51805" y="connsiteY51805"/>
              </a:cxn>
              <a:cxn ang="0">
                <a:pos x="connsiteX51806" y="connsiteY51806"/>
              </a:cxn>
              <a:cxn ang="0">
                <a:pos x="connsiteX51807" y="connsiteY51807"/>
              </a:cxn>
              <a:cxn ang="0">
                <a:pos x="connsiteX51808" y="connsiteY51808"/>
              </a:cxn>
              <a:cxn ang="0">
                <a:pos x="connsiteX51809" y="connsiteY51809"/>
              </a:cxn>
              <a:cxn ang="0">
                <a:pos x="connsiteX51810" y="connsiteY51810"/>
              </a:cxn>
              <a:cxn ang="0">
                <a:pos x="connsiteX51811" y="connsiteY51811"/>
              </a:cxn>
              <a:cxn ang="0">
                <a:pos x="connsiteX51812" y="connsiteY51812"/>
              </a:cxn>
              <a:cxn ang="0">
                <a:pos x="connsiteX51813" y="connsiteY51813"/>
              </a:cxn>
              <a:cxn ang="0">
                <a:pos x="connsiteX51814" y="connsiteY51814"/>
              </a:cxn>
              <a:cxn ang="0">
                <a:pos x="connsiteX51815" y="connsiteY51815"/>
              </a:cxn>
              <a:cxn ang="0">
                <a:pos x="connsiteX51816" y="connsiteY51816"/>
              </a:cxn>
              <a:cxn ang="0">
                <a:pos x="connsiteX51817" y="connsiteY51817"/>
              </a:cxn>
              <a:cxn ang="0">
                <a:pos x="connsiteX51818" y="connsiteY51818"/>
              </a:cxn>
              <a:cxn ang="0">
                <a:pos x="connsiteX51819" y="connsiteY51819"/>
              </a:cxn>
              <a:cxn ang="0">
                <a:pos x="connsiteX51820" y="connsiteY51820"/>
              </a:cxn>
              <a:cxn ang="0">
                <a:pos x="connsiteX51821" y="connsiteY51821"/>
              </a:cxn>
              <a:cxn ang="0">
                <a:pos x="connsiteX51822" y="connsiteY51822"/>
              </a:cxn>
              <a:cxn ang="0">
                <a:pos x="connsiteX51823" y="connsiteY51823"/>
              </a:cxn>
              <a:cxn ang="0">
                <a:pos x="connsiteX51824" y="connsiteY51824"/>
              </a:cxn>
              <a:cxn ang="0">
                <a:pos x="connsiteX51825" y="connsiteY51825"/>
              </a:cxn>
              <a:cxn ang="0">
                <a:pos x="connsiteX51826" y="connsiteY51826"/>
              </a:cxn>
              <a:cxn ang="0">
                <a:pos x="connsiteX51827" y="connsiteY51827"/>
              </a:cxn>
              <a:cxn ang="0">
                <a:pos x="connsiteX51828" y="connsiteY51828"/>
              </a:cxn>
              <a:cxn ang="0">
                <a:pos x="connsiteX51829" y="connsiteY51829"/>
              </a:cxn>
              <a:cxn ang="0">
                <a:pos x="connsiteX51830" y="connsiteY51830"/>
              </a:cxn>
              <a:cxn ang="0">
                <a:pos x="connsiteX51831" y="connsiteY51831"/>
              </a:cxn>
              <a:cxn ang="0">
                <a:pos x="connsiteX51832" y="connsiteY51832"/>
              </a:cxn>
              <a:cxn ang="0">
                <a:pos x="connsiteX51833" y="connsiteY51833"/>
              </a:cxn>
              <a:cxn ang="0">
                <a:pos x="connsiteX51834" y="connsiteY51834"/>
              </a:cxn>
              <a:cxn ang="0">
                <a:pos x="connsiteX51835" y="connsiteY51835"/>
              </a:cxn>
              <a:cxn ang="0">
                <a:pos x="connsiteX51836" y="connsiteY51836"/>
              </a:cxn>
              <a:cxn ang="0">
                <a:pos x="connsiteX51837" y="connsiteY51837"/>
              </a:cxn>
              <a:cxn ang="0">
                <a:pos x="connsiteX51838" y="connsiteY51838"/>
              </a:cxn>
              <a:cxn ang="0">
                <a:pos x="connsiteX51839" y="connsiteY51839"/>
              </a:cxn>
              <a:cxn ang="0">
                <a:pos x="connsiteX51840" y="connsiteY51840"/>
              </a:cxn>
              <a:cxn ang="0">
                <a:pos x="connsiteX51841" y="connsiteY51841"/>
              </a:cxn>
              <a:cxn ang="0">
                <a:pos x="connsiteX51842" y="connsiteY51842"/>
              </a:cxn>
              <a:cxn ang="0">
                <a:pos x="connsiteX51843" y="connsiteY51843"/>
              </a:cxn>
              <a:cxn ang="0">
                <a:pos x="connsiteX51844" y="connsiteY51844"/>
              </a:cxn>
              <a:cxn ang="0">
                <a:pos x="connsiteX51845" y="connsiteY51845"/>
              </a:cxn>
              <a:cxn ang="0">
                <a:pos x="connsiteX51846" y="connsiteY51846"/>
              </a:cxn>
              <a:cxn ang="0">
                <a:pos x="connsiteX51847" y="connsiteY51847"/>
              </a:cxn>
              <a:cxn ang="0">
                <a:pos x="connsiteX51848" y="connsiteY51848"/>
              </a:cxn>
              <a:cxn ang="0">
                <a:pos x="connsiteX51849" y="connsiteY51849"/>
              </a:cxn>
              <a:cxn ang="0">
                <a:pos x="connsiteX51850" y="connsiteY51850"/>
              </a:cxn>
              <a:cxn ang="0">
                <a:pos x="connsiteX51851" y="connsiteY51851"/>
              </a:cxn>
              <a:cxn ang="0">
                <a:pos x="connsiteX51852" y="connsiteY51852"/>
              </a:cxn>
              <a:cxn ang="0">
                <a:pos x="connsiteX51853" y="connsiteY51853"/>
              </a:cxn>
              <a:cxn ang="0">
                <a:pos x="connsiteX51854" y="connsiteY51854"/>
              </a:cxn>
              <a:cxn ang="0">
                <a:pos x="connsiteX51855" y="connsiteY51855"/>
              </a:cxn>
              <a:cxn ang="0">
                <a:pos x="connsiteX51856" y="connsiteY51856"/>
              </a:cxn>
              <a:cxn ang="0">
                <a:pos x="connsiteX51857" y="connsiteY51857"/>
              </a:cxn>
              <a:cxn ang="0">
                <a:pos x="connsiteX51858" y="connsiteY51858"/>
              </a:cxn>
              <a:cxn ang="0">
                <a:pos x="connsiteX51859" y="connsiteY51859"/>
              </a:cxn>
              <a:cxn ang="0">
                <a:pos x="connsiteX51860" y="connsiteY51860"/>
              </a:cxn>
              <a:cxn ang="0">
                <a:pos x="connsiteX51861" y="connsiteY51861"/>
              </a:cxn>
              <a:cxn ang="0">
                <a:pos x="connsiteX51862" y="connsiteY51862"/>
              </a:cxn>
              <a:cxn ang="0">
                <a:pos x="connsiteX51863" y="connsiteY51863"/>
              </a:cxn>
              <a:cxn ang="0">
                <a:pos x="connsiteX51864" y="connsiteY51864"/>
              </a:cxn>
              <a:cxn ang="0">
                <a:pos x="connsiteX51865" y="connsiteY51865"/>
              </a:cxn>
              <a:cxn ang="0">
                <a:pos x="connsiteX51866" y="connsiteY51866"/>
              </a:cxn>
              <a:cxn ang="0">
                <a:pos x="connsiteX51867" y="connsiteY51867"/>
              </a:cxn>
              <a:cxn ang="0">
                <a:pos x="connsiteX51868" y="connsiteY51868"/>
              </a:cxn>
              <a:cxn ang="0">
                <a:pos x="connsiteX51869" y="connsiteY51869"/>
              </a:cxn>
              <a:cxn ang="0">
                <a:pos x="connsiteX51870" y="connsiteY51870"/>
              </a:cxn>
              <a:cxn ang="0">
                <a:pos x="connsiteX51871" y="connsiteY51871"/>
              </a:cxn>
              <a:cxn ang="0">
                <a:pos x="connsiteX51872" y="connsiteY51872"/>
              </a:cxn>
              <a:cxn ang="0">
                <a:pos x="connsiteX51873" y="connsiteY51873"/>
              </a:cxn>
              <a:cxn ang="0">
                <a:pos x="connsiteX51874" y="connsiteY51874"/>
              </a:cxn>
              <a:cxn ang="0">
                <a:pos x="connsiteX51875" y="connsiteY51875"/>
              </a:cxn>
              <a:cxn ang="0">
                <a:pos x="connsiteX51876" y="connsiteY51876"/>
              </a:cxn>
              <a:cxn ang="0">
                <a:pos x="connsiteX51877" y="connsiteY51877"/>
              </a:cxn>
              <a:cxn ang="0">
                <a:pos x="connsiteX51878" y="connsiteY51878"/>
              </a:cxn>
              <a:cxn ang="0">
                <a:pos x="connsiteX51879" y="connsiteY51879"/>
              </a:cxn>
              <a:cxn ang="0">
                <a:pos x="connsiteX51880" y="connsiteY51880"/>
              </a:cxn>
              <a:cxn ang="0">
                <a:pos x="connsiteX51881" y="connsiteY51881"/>
              </a:cxn>
              <a:cxn ang="0">
                <a:pos x="connsiteX51882" y="connsiteY51882"/>
              </a:cxn>
              <a:cxn ang="0">
                <a:pos x="connsiteX51883" y="connsiteY51883"/>
              </a:cxn>
              <a:cxn ang="0">
                <a:pos x="connsiteX51884" y="connsiteY51884"/>
              </a:cxn>
              <a:cxn ang="0">
                <a:pos x="connsiteX51885" y="connsiteY51885"/>
              </a:cxn>
              <a:cxn ang="0">
                <a:pos x="connsiteX51886" y="connsiteY51886"/>
              </a:cxn>
              <a:cxn ang="0">
                <a:pos x="connsiteX51887" y="connsiteY51887"/>
              </a:cxn>
              <a:cxn ang="0">
                <a:pos x="connsiteX51888" y="connsiteY51888"/>
              </a:cxn>
              <a:cxn ang="0">
                <a:pos x="connsiteX51889" y="connsiteY51889"/>
              </a:cxn>
              <a:cxn ang="0">
                <a:pos x="connsiteX51890" y="connsiteY51890"/>
              </a:cxn>
              <a:cxn ang="0">
                <a:pos x="connsiteX51891" y="connsiteY51891"/>
              </a:cxn>
              <a:cxn ang="0">
                <a:pos x="connsiteX51892" y="connsiteY51892"/>
              </a:cxn>
              <a:cxn ang="0">
                <a:pos x="connsiteX51893" y="connsiteY51893"/>
              </a:cxn>
              <a:cxn ang="0">
                <a:pos x="connsiteX51894" y="connsiteY51894"/>
              </a:cxn>
              <a:cxn ang="0">
                <a:pos x="connsiteX51895" y="connsiteY51895"/>
              </a:cxn>
              <a:cxn ang="0">
                <a:pos x="connsiteX51896" y="connsiteY51896"/>
              </a:cxn>
              <a:cxn ang="0">
                <a:pos x="connsiteX51897" y="connsiteY51897"/>
              </a:cxn>
              <a:cxn ang="0">
                <a:pos x="connsiteX51898" y="connsiteY51898"/>
              </a:cxn>
              <a:cxn ang="0">
                <a:pos x="connsiteX51899" y="connsiteY51899"/>
              </a:cxn>
              <a:cxn ang="0">
                <a:pos x="connsiteX51900" y="connsiteY51900"/>
              </a:cxn>
              <a:cxn ang="0">
                <a:pos x="connsiteX51901" y="connsiteY51901"/>
              </a:cxn>
              <a:cxn ang="0">
                <a:pos x="connsiteX51902" y="connsiteY51902"/>
              </a:cxn>
              <a:cxn ang="0">
                <a:pos x="connsiteX51903" y="connsiteY51903"/>
              </a:cxn>
              <a:cxn ang="0">
                <a:pos x="connsiteX51904" y="connsiteY51904"/>
              </a:cxn>
              <a:cxn ang="0">
                <a:pos x="connsiteX51905" y="connsiteY51905"/>
              </a:cxn>
              <a:cxn ang="0">
                <a:pos x="connsiteX51906" y="connsiteY51906"/>
              </a:cxn>
              <a:cxn ang="0">
                <a:pos x="connsiteX51907" y="connsiteY51907"/>
              </a:cxn>
              <a:cxn ang="0">
                <a:pos x="connsiteX51908" y="connsiteY51908"/>
              </a:cxn>
              <a:cxn ang="0">
                <a:pos x="connsiteX51909" y="connsiteY51909"/>
              </a:cxn>
              <a:cxn ang="0">
                <a:pos x="connsiteX51910" y="connsiteY51910"/>
              </a:cxn>
              <a:cxn ang="0">
                <a:pos x="connsiteX51911" y="connsiteY51911"/>
              </a:cxn>
              <a:cxn ang="0">
                <a:pos x="connsiteX51912" y="connsiteY51912"/>
              </a:cxn>
              <a:cxn ang="0">
                <a:pos x="connsiteX51913" y="connsiteY51913"/>
              </a:cxn>
              <a:cxn ang="0">
                <a:pos x="connsiteX51914" y="connsiteY51914"/>
              </a:cxn>
              <a:cxn ang="0">
                <a:pos x="connsiteX51915" y="connsiteY51915"/>
              </a:cxn>
              <a:cxn ang="0">
                <a:pos x="connsiteX51916" y="connsiteY51916"/>
              </a:cxn>
              <a:cxn ang="0">
                <a:pos x="connsiteX51917" y="connsiteY51917"/>
              </a:cxn>
              <a:cxn ang="0">
                <a:pos x="connsiteX51918" y="connsiteY51918"/>
              </a:cxn>
              <a:cxn ang="0">
                <a:pos x="connsiteX51919" y="connsiteY51919"/>
              </a:cxn>
              <a:cxn ang="0">
                <a:pos x="connsiteX51920" y="connsiteY51920"/>
              </a:cxn>
              <a:cxn ang="0">
                <a:pos x="connsiteX51921" y="connsiteY51921"/>
              </a:cxn>
              <a:cxn ang="0">
                <a:pos x="connsiteX51922" y="connsiteY51922"/>
              </a:cxn>
              <a:cxn ang="0">
                <a:pos x="connsiteX51923" y="connsiteY51923"/>
              </a:cxn>
              <a:cxn ang="0">
                <a:pos x="connsiteX51924" y="connsiteY51924"/>
              </a:cxn>
              <a:cxn ang="0">
                <a:pos x="connsiteX51925" y="connsiteY51925"/>
              </a:cxn>
              <a:cxn ang="0">
                <a:pos x="connsiteX51926" y="connsiteY51926"/>
              </a:cxn>
              <a:cxn ang="0">
                <a:pos x="connsiteX51927" y="connsiteY51927"/>
              </a:cxn>
              <a:cxn ang="0">
                <a:pos x="connsiteX51928" y="connsiteY51928"/>
              </a:cxn>
              <a:cxn ang="0">
                <a:pos x="connsiteX51929" y="connsiteY51929"/>
              </a:cxn>
              <a:cxn ang="0">
                <a:pos x="connsiteX51930" y="connsiteY51930"/>
              </a:cxn>
              <a:cxn ang="0">
                <a:pos x="connsiteX51931" y="connsiteY51931"/>
              </a:cxn>
              <a:cxn ang="0">
                <a:pos x="connsiteX51932" y="connsiteY51932"/>
              </a:cxn>
              <a:cxn ang="0">
                <a:pos x="connsiteX51933" y="connsiteY51933"/>
              </a:cxn>
              <a:cxn ang="0">
                <a:pos x="connsiteX51934" y="connsiteY51934"/>
              </a:cxn>
              <a:cxn ang="0">
                <a:pos x="connsiteX51935" y="connsiteY51935"/>
              </a:cxn>
              <a:cxn ang="0">
                <a:pos x="connsiteX51936" y="connsiteY51936"/>
              </a:cxn>
              <a:cxn ang="0">
                <a:pos x="connsiteX51937" y="connsiteY51937"/>
              </a:cxn>
              <a:cxn ang="0">
                <a:pos x="connsiteX51938" y="connsiteY51938"/>
              </a:cxn>
              <a:cxn ang="0">
                <a:pos x="connsiteX51939" y="connsiteY51939"/>
              </a:cxn>
              <a:cxn ang="0">
                <a:pos x="connsiteX51940" y="connsiteY51940"/>
              </a:cxn>
              <a:cxn ang="0">
                <a:pos x="connsiteX51941" y="connsiteY51941"/>
              </a:cxn>
              <a:cxn ang="0">
                <a:pos x="connsiteX51942" y="connsiteY51942"/>
              </a:cxn>
              <a:cxn ang="0">
                <a:pos x="connsiteX51943" y="connsiteY51943"/>
              </a:cxn>
              <a:cxn ang="0">
                <a:pos x="connsiteX51944" y="connsiteY51944"/>
              </a:cxn>
              <a:cxn ang="0">
                <a:pos x="connsiteX51945" y="connsiteY51945"/>
              </a:cxn>
              <a:cxn ang="0">
                <a:pos x="connsiteX51946" y="connsiteY51946"/>
              </a:cxn>
              <a:cxn ang="0">
                <a:pos x="connsiteX51947" y="connsiteY51947"/>
              </a:cxn>
              <a:cxn ang="0">
                <a:pos x="connsiteX51948" y="connsiteY51948"/>
              </a:cxn>
              <a:cxn ang="0">
                <a:pos x="connsiteX51949" y="connsiteY51949"/>
              </a:cxn>
              <a:cxn ang="0">
                <a:pos x="connsiteX51950" y="connsiteY51950"/>
              </a:cxn>
              <a:cxn ang="0">
                <a:pos x="connsiteX51951" y="connsiteY51951"/>
              </a:cxn>
              <a:cxn ang="0">
                <a:pos x="connsiteX51952" y="connsiteY51952"/>
              </a:cxn>
              <a:cxn ang="0">
                <a:pos x="connsiteX51953" y="connsiteY51953"/>
              </a:cxn>
              <a:cxn ang="0">
                <a:pos x="connsiteX51954" y="connsiteY51954"/>
              </a:cxn>
              <a:cxn ang="0">
                <a:pos x="connsiteX51955" y="connsiteY51955"/>
              </a:cxn>
              <a:cxn ang="0">
                <a:pos x="connsiteX51956" y="connsiteY51956"/>
              </a:cxn>
              <a:cxn ang="0">
                <a:pos x="connsiteX51957" y="connsiteY51957"/>
              </a:cxn>
              <a:cxn ang="0">
                <a:pos x="connsiteX51958" y="connsiteY51958"/>
              </a:cxn>
              <a:cxn ang="0">
                <a:pos x="connsiteX51959" y="connsiteY51959"/>
              </a:cxn>
              <a:cxn ang="0">
                <a:pos x="connsiteX51960" y="connsiteY51960"/>
              </a:cxn>
              <a:cxn ang="0">
                <a:pos x="connsiteX51961" y="connsiteY51961"/>
              </a:cxn>
              <a:cxn ang="0">
                <a:pos x="connsiteX51962" y="connsiteY51962"/>
              </a:cxn>
              <a:cxn ang="0">
                <a:pos x="connsiteX51963" y="connsiteY51963"/>
              </a:cxn>
              <a:cxn ang="0">
                <a:pos x="connsiteX51964" y="connsiteY51964"/>
              </a:cxn>
              <a:cxn ang="0">
                <a:pos x="connsiteX51965" y="connsiteY51965"/>
              </a:cxn>
              <a:cxn ang="0">
                <a:pos x="connsiteX51966" y="connsiteY51966"/>
              </a:cxn>
              <a:cxn ang="0">
                <a:pos x="connsiteX51967" y="connsiteY51967"/>
              </a:cxn>
              <a:cxn ang="0">
                <a:pos x="connsiteX51968" y="connsiteY51968"/>
              </a:cxn>
              <a:cxn ang="0">
                <a:pos x="connsiteX51969" y="connsiteY51969"/>
              </a:cxn>
              <a:cxn ang="0">
                <a:pos x="connsiteX51970" y="connsiteY51970"/>
              </a:cxn>
              <a:cxn ang="0">
                <a:pos x="connsiteX51971" y="connsiteY51971"/>
              </a:cxn>
              <a:cxn ang="0">
                <a:pos x="connsiteX51972" y="connsiteY51972"/>
              </a:cxn>
              <a:cxn ang="0">
                <a:pos x="connsiteX51973" y="connsiteY51973"/>
              </a:cxn>
              <a:cxn ang="0">
                <a:pos x="connsiteX51974" y="connsiteY51974"/>
              </a:cxn>
              <a:cxn ang="0">
                <a:pos x="connsiteX51975" y="connsiteY51975"/>
              </a:cxn>
              <a:cxn ang="0">
                <a:pos x="connsiteX51976" y="connsiteY51976"/>
              </a:cxn>
              <a:cxn ang="0">
                <a:pos x="connsiteX51977" y="connsiteY51977"/>
              </a:cxn>
              <a:cxn ang="0">
                <a:pos x="connsiteX51978" y="connsiteY51978"/>
              </a:cxn>
              <a:cxn ang="0">
                <a:pos x="connsiteX51979" y="connsiteY51979"/>
              </a:cxn>
              <a:cxn ang="0">
                <a:pos x="connsiteX51980" y="connsiteY51980"/>
              </a:cxn>
              <a:cxn ang="0">
                <a:pos x="connsiteX51981" y="connsiteY51981"/>
              </a:cxn>
              <a:cxn ang="0">
                <a:pos x="connsiteX51982" y="connsiteY51982"/>
              </a:cxn>
              <a:cxn ang="0">
                <a:pos x="connsiteX51983" y="connsiteY51983"/>
              </a:cxn>
              <a:cxn ang="0">
                <a:pos x="connsiteX51984" y="connsiteY51984"/>
              </a:cxn>
              <a:cxn ang="0">
                <a:pos x="connsiteX51985" y="connsiteY51985"/>
              </a:cxn>
              <a:cxn ang="0">
                <a:pos x="connsiteX51986" y="connsiteY51986"/>
              </a:cxn>
              <a:cxn ang="0">
                <a:pos x="connsiteX51987" y="connsiteY51987"/>
              </a:cxn>
              <a:cxn ang="0">
                <a:pos x="connsiteX51988" y="connsiteY51988"/>
              </a:cxn>
              <a:cxn ang="0">
                <a:pos x="connsiteX51989" y="connsiteY51989"/>
              </a:cxn>
              <a:cxn ang="0">
                <a:pos x="connsiteX51990" y="connsiteY51990"/>
              </a:cxn>
              <a:cxn ang="0">
                <a:pos x="connsiteX51991" y="connsiteY51991"/>
              </a:cxn>
              <a:cxn ang="0">
                <a:pos x="connsiteX51992" y="connsiteY51992"/>
              </a:cxn>
              <a:cxn ang="0">
                <a:pos x="connsiteX51993" y="connsiteY51993"/>
              </a:cxn>
              <a:cxn ang="0">
                <a:pos x="connsiteX51994" y="connsiteY51994"/>
              </a:cxn>
              <a:cxn ang="0">
                <a:pos x="connsiteX51995" y="connsiteY51995"/>
              </a:cxn>
              <a:cxn ang="0">
                <a:pos x="connsiteX51996" y="connsiteY51996"/>
              </a:cxn>
              <a:cxn ang="0">
                <a:pos x="connsiteX51997" y="connsiteY51997"/>
              </a:cxn>
              <a:cxn ang="0">
                <a:pos x="connsiteX51998" y="connsiteY51998"/>
              </a:cxn>
              <a:cxn ang="0">
                <a:pos x="connsiteX51999" y="connsiteY51999"/>
              </a:cxn>
              <a:cxn ang="0">
                <a:pos x="connsiteX52000" y="connsiteY52000"/>
              </a:cxn>
              <a:cxn ang="0">
                <a:pos x="connsiteX52001" y="connsiteY52001"/>
              </a:cxn>
              <a:cxn ang="0">
                <a:pos x="connsiteX52002" y="connsiteY52002"/>
              </a:cxn>
              <a:cxn ang="0">
                <a:pos x="connsiteX52003" y="connsiteY52003"/>
              </a:cxn>
              <a:cxn ang="0">
                <a:pos x="connsiteX52004" y="connsiteY52004"/>
              </a:cxn>
              <a:cxn ang="0">
                <a:pos x="connsiteX52005" y="connsiteY52005"/>
              </a:cxn>
              <a:cxn ang="0">
                <a:pos x="connsiteX52006" y="connsiteY52006"/>
              </a:cxn>
              <a:cxn ang="0">
                <a:pos x="connsiteX52007" y="connsiteY52007"/>
              </a:cxn>
              <a:cxn ang="0">
                <a:pos x="connsiteX52008" y="connsiteY52008"/>
              </a:cxn>
              <a:cxn ang="0">
                <a:pos x="connsiteX52009" y="connsiteY52009"/>
              </a:cxn>
              <a:cxn ang="0">
                <a:pos x="connsiteX52010" y="connsiteY52010"/>
              </a:cxn>
              <a:cxn ang="0">
                <a:pos x="connsiteX52011" y="connsiteY52011"/>
              </a:cxn>
              <a:cxn ang="0">
                <a:pos x="connsiteX52012" y="connsiteY52012"/>
              </a:cxn>
              <a:cxn ang="0">
                <a:pos x="connsiteX52013" y="connsiteY52013"/>
              </a:cxn>
              <a:cxn ang="0">
                <a:pos x="connsiteX52014" y="connsiteY52014"/>
              </a:cxn>
              <a:cxn ang="0">
                <a:pos x="connsiteX52015" y="connsiteY52015"/>
              </a:cxn>
              <a:cxn ang="0">
                <a:pos x="connsiteX52016" y="connsiteY52016"/>
              </a:cxn>
              <a:cxn ang="0">
                <a:pos x="connsiteX52017" y="connsiteY52017"/>
              </a:cxn>
              <a:cxn ang="0">
                <a:pos x="connsiteX52018" y="connsiteY52018"/>
              </a:cxn>
              <a:cxn ang="0">
                <a:pos x="connsiteX52019" y="connsiteY52019"/>
              </a:cxn>
              <a:cxn ang="0">
                <a:pos x="connsiteX52020" y="connsiteY52020"/>
              </a:cxn>
              <a:cxn ang="0">
                <a:pos x="connsiteX52021" y="connsiteY52021"/>
              </a:cxn>
              <a:cxn ang="0">
                <a:pos x="connsiteX52022" y="connsiteY52022"/>
              </a:cxn>
              <a:cxn ang="0">
                <a:pos x="connsiteX52023" y="connsiteY52023"/>
              </a:cxn>
              <a:cxn ang="0">
                <a:pos x="connsiteX52024" y="connsiteY52024"/>
              </a:cxn>
              <a:cxn ang="0">
                <a:pos x="connsiteX52025" y="connsiteY52025"/>
              </a:cxn>
              <a:cxn ang="0">
                <a:pos x="connsiteX52026" y="connsiteY52026"/>
              </a:cxn>
              <a:cxn ang="0">
                <a:pos x="connsiteX52027" y="connsiteY52027"/>
              </a:cxn>
              <a:cxn ang="0">
                <a:pos x="connsiteX52028" y="connsiteY52028"/>
              </a:cxn>
              <a:cxn ang="0">
                <a:pos x="connsiteX52029" y="connsiteY52029"/>
              </a:cxn>
              <a:cxn ang="0">
                <a:pos x="connsiteX52030" y="connsiteY52030"/>
              </a:cxn>
              <a:cxn ang="0">
                <a:pos x="connsiteX52031" y="connsiteY52031"/>
              </a:cxn>
              <a:cxn ang="0">
                <a:pos x="connsiteX52032" y="connsiteY52032"/>
              </a:cxn>
              <a:cxn ang="0">
                <a:pos x="connsiteX52033" y="connsiteY52033"/>
              </a:cxn>
              <a:cxn ang="0">
                <a:pos x="connsiteX52034" y="connsiteY52034"/>
              </a:cxn>
              <a:cxn ang="0">
                <a:pos x="connsiteX52035" y="connsiteY52035"/>
              </a:cxn>
              <a:cxn ang="0">
                <a:pos x="connsiteX52036" y="connsiteY52036"/>
              </a:cxn>
              <a:cxn ang="0">
                <a:pos x="connsiteX52037" y="connsiteY52037"/>
              </a:cxn>
              <a:cxn ang="0">
                <a:pos x="connsiteX52038" y="connsiteY52038"/>
              </a:cxn>
              <a:cxn ang="0">
                <a:pos x="connsiteX52039" y="connsiteY52039"/>
              </a:cxn>
              <a:cxn ang="0">
                <a:pos x="connsiteX52040" y="connsiteY52040"/>
              </a:cxn>
              <a:cxn ang="0">
                <a:pos x="connsiteX52041" y="connsiteY52041"/>
              </a:cxn>
              <a:cxn ang="0">
                <a:pos x="connsiteX52042" y="connsiteY52042"/>
              </a:cxn>
              <a:cxn ang="0">
                <a:pos x="connsiteX52043" y="connsiteY52043"/>
              </a:cxn>
              <a:cxn ang="0">
                <a:pos x="connsiteX52044" y="connsiteY52044"/>
              </a:cxn>
              <a:cxn ang="0">
                <a:pos x="connsiteX52045" y="connsiteY52045"/>
              </a:cxn>
              <a:cxn ang="0">
                <a:pos x="connsiteX52046" y="connsiteY52046"/>
              </a:cxn>
              <a:cxn ang="0">
                <a:pos x="connsiteX52047" y="connsiteY52047"/>
              </a:cxn>
              <a:cxn ang="0">
                <a:pos x="connsiteX52048" y="connsiteY52048"/>
              </a:cxn>
              <a:cxn ang="0">
                <a:pos x="connsiteX52049" y="connsiteY52049"/>
              </a:cxn>
              <a:cxn ang="0">
                <a:pos x="connsiteX52050" y="connsiteY52050"/>
              </a:cxn>
              <a:cxn ang="0">
                <a:pos x="connsiteX52051" y="connsiteY52051"/>
              </a:cxn>
              <a:cxn ang="0">
                <a:pos x="connsiteX52052" y="connsiteY52052"/>
              </a:cxn>
              <a:cxn ang="0">
                <a:pos x="connsiteX52053" y="connsiteY52053"/>
              </a:cxn>
              <a:cxn ang="0">
                <a:pos x="connsiteX52054" y="connsiteY52054"/>
              </a:cxn>
              <a:cxn ang="0">
                <a:pos x="connsiteX52055" y="connsiteY52055"/>
              </a:cxn>
              <a:cxn ang="0">
                <a:pos x="connsiteX52056" y="connsiteY52056"/>
              </a:cxn>
              <a:cxn ang="0">
                <a:pos x="connsiteX52057" y="connsiteY52057"/>
              </a:cxn>
              <a:cxn ang="0">
                <a:pos x="connsiteX52058" y="connsiteY52058"/>
              </a:cxn>
              <a:cxn ang="0">
                <a:pos x="connsiteX52059" y="connsiteY52059"/>
              </a:cxn>
              <a:cxn ang="0">
                <a:pos x="connsiteX52060" y="connsiteY52060"/>
              </a:cxn>
              <a:cxn ang="0">
                <a:pos x="connsiteX52061" y="connsiteY52061"/>
              </a:cxn>
              <a:cxn ang="0">
                <a:pos x="connsiteX52062" y="connsiteY52062"/>
              </a:cxn>
              <a:cxn ang="0">
                <a:pos x="connsiteX52063" y="connsiteY52063"/>
              </a:cxn>
              <a:cxn ang="0">
                <a:pos x="connsiteX52064" y="connsiteY52064"/>
              </a:cxn>
              <a:cxn ang="0">
                <a:pos x="connsiteX52065" y="connsiteY52065"/>
              </a:cxn>
              <a:cxn ang="0">
                <a:pos x="connsiteX52066" y="connsiteY52066"/>
              </a:cxn>
              <a:cxn ang="0">
                <a:pos x="connsiteX52067" y="connsiteY52067"/>
              </a:cxn>
              <a:cxn ang="0">
                <a:pos x="connsiteX52068" y="connsiteY52068"/>
              </a:cxn>
              <a:cxn ang="0">
                <a:pos x="connsiteX52069" y="connsiteY52069"/>
              </a:cxn>
              <a:cxn ang="0">
                <a:pos x="connsiteX52070" y="connsiteY52070"/>
              </a:cxn>
              <a:cxn ang="0">
                <a:pos x="connsiteX52071" y="connsiteY52071"/>
              </a:cxn>
              <a:cxn ang="0">
                <a:pos x="connsiteX52072" y="connsiteY52072"/>
              </a:cxn>
              <a:cxn ang="0">
                <a:pos x="connsiteX52073" y="connsiteY52073"/>
              </a:cxn>
              <a:cxn ang="0">
                <a:pos x="connsiteX52074" y="connsiteY52074"/>
              </a:cxn>
              <a:cxn ang="0">
                <a:pos x="connsiteX52075" y="connsiteY52075"/>
              </a:cxn>
              <a:cxn ang="0">
                <a:pos x="connsiteX52076" y="connsiteY52076"/>
              </a:cxn>
              <a:cxn ang="0">
                <a:pos x="connsiteX52077" y="connsiteY52077"/>
              </a:cxn>
              <a:cxn ang="0">
                <a:pos x="connsiteX52078" y="connsiteY52078"/>
              </a:cxn>
              <a:cxn ang="0">
                <a:pos x="connsiteX52079" y="connsiteY52079"/>
              </a:cxn>
              <a:cxn ang="0">
                <a:pos x="connsiteX52080" y="connsiteY52080"/>
              </a:cxn>
              <a:cxn ang="0">
                <a:pos x="connsiteX52081" y="connsiteY52081"/>
              </a:cxn>
              <a:cxn ang="0">
                <a:pos x="connsiteX52082" y="connsiteY52082"/>
              </a:cxn>
              <a:cxn ang="0">
                <a:pos x="connsiteX52083" y="connsiteY52083"/>
              </a:cxn>
              <a:cxn ang="0">
                <a:pos x="connsiteX52084" y="connsiteY52084"/>
              </a:cxn>
              <a:cxn ang="0">
                <a:pos x="connsiteX52085" y="connsiteY52085"/>
              </a:cxn>
              <a:cxn ang="0">
                <a:pos x="connsiteX52086" y="connsiteY52086"/>
              </a:cxn>
              <a:cxn ang="0">
                <a:pos x="connsiteX52087" y="connsiteY52087"/>
              </a:cxn>
              <a:cxn ang="0">
                <a:pos x="connsiteX52088" y="connsiteY52088"/>
              </a:cxn>
              <a:cxn ang="0">
                <a:pos x="connsiteX52089" y="connsiteY52089"/>
              </a:cxn>
              <a:cxn ang="0">
                <a:pos x="connsiteX52090" y="connsiteY52090"/>
              </a:cxn>
              <a:cxn ang="0">
                <a:pos x="connsiteX52091" y="connsiteY52091"/>
              </a:cxn>
              <a:cxn ang="0">
                <a:pos x="connsiteX52092" y="connsiteY52092"/>
              </a:cxn>
              <a:cxn ang="0">
                <a:pos x="connsiteX52093" y="connsiteY52093"/>
              </a:cxn>
              <a:cxn ang="0">
                <a:pos x="connsiteX52094" y="connsiteY52094"/>
              </a:cxn>
              <a:cxn ang="0">
                <a:pos x="connsiteX52095" y="connsiteY52095"/>
              </a:cxn>
              <a:cxn ang="0">
                <a:pos x="connsiteX52096" y="connsiteY52096"/>
              </a:cxn>
              <a:cxn ang="0">
                <a:pos x="connsiteX52097" y="connsiteY52097"/>
              </a:cxn>
              <a:cxn ang="0">
                <a:pos x="connsiteX52098" y="connsiteY52098"/>
              </a:cxn>
              <a:cxn ang="0">
                <a:pos x="connsiteX52099" y="connsiteY52099"/>
              </a:cxn>
              <a:cxn ang="0">
                <a:pos x="connsiteX52100" y="connsiteY52100"/>
              </a:cxn>
              <a:cxn ang="0">
                <a:pos x="connsiteX52101" y="connsiteY52101"/>
              </a:cxn>
              <a:cxn ang="0">
                <a:pos x="connsiteX52102" y="connsiteY52102"/>
              </a:cxn>
              <a:cxn ang="0">
                <a:pos x="connsiteX52103" y="connsiteY52103"/>
              </a:cxn>
              <a:cxn ang="0">
                <a:pos x="connsiteX52104" y="connsiteY52104"/>
              </a:cxn>
              <a:cxn ang="0">
                <a:pos x="connsiteX52105" y="connsiteY52105"/>
              </a:cxn>
              <a:cxn ang="0">
                <a:pos x="connsiteX52106" y="connsiteY52106"/>
              </a:cxn>
              <a:cxn ang="0">
                <a:pos x="connsiteX52107" y="connsiteY52107"/>
              </a:cxn>
              <a:cxn ang="0">
                <a:pos x="connsiteX52108" y="connsiteY52108"/>
              </a:cxn>
              <a:cxn ang="0">
                <a:pos x="connsiteX52109" y="connsiteY52109"/>
              </a:cxn>
              <a:cxn ang="0">
                <a:pos x="connsiteX52110" y="connsiteY52110"/>
              </a:cxn>
              <a:cxn ang="0">
                <a:pos x="connsiteX52111" y="connsiteY52111"/>
              </a:cxn>
              <a:cxn ang="0">
                <a:pos x="connsiteX52112" y="connsiteY52112"/>
              </a:cxn>
              <a:cxn ang="0">
                <a:pos x="connsiteX52113" y="connsiteY52113"/>
              </a:cxn>
              <a:cxn ang="0">
                <a:pos x="connsiteX52114" y="connsiteY52114"/>
              </a:cxn>
              <a:cxn ang="0">
                <a:pos x="connsiteX52115" y="connsiteY52115"/>
              </a:cxn>
              <a:cxn ang="0">
                <a:pos x="connsiteX52116" y="connsiteY52116"/>
              </a:cxn>
              <a:cxn ang="0">
                <a:pos x="connsiteX52117" y="connsiteY52117"/>
              </a:cxn>
              <a:cxn ang="0">
                <a:pos x="connsiteX52118" y="connsiteY52118"/>
              </a:cxn>
              <a:cxn ang="0">
                <a:pos x="connsiteX52119" y="connsiteY52119"/>
              </a:cxn>
              <a:cxn ang="0">
                <a:pos x="connsiteX52120" y="connsiteY52120"/>
              </a:cxn>
              <a:cxn ang="0">
                <a:pos x="connsiteX52121" y="connsiteY52121"/>
              </a:cxn>
              <a:cxn ang="0">
                <a:pos x="connsiteX52122" y="connsiteY52122"/>
              </a:cxn>
              <a:cxn ang="0">
                <a:pos x="connsiteX52123" y="connsiteY52123"/>
              </a:cxn>
              <a:cxn ang="0">
                <a:pos x="connsiteX52124" y="connsiteY52124"/>
              </a:cxn>
              <a:cxn ang="0">
                <a:pos x="connsiteX52125" y="connsiteY52125"/>
              </a:cxn>
              <a:cxn ang="0">
                <a:pos x="connsiteX52126" y="connsiteY52126"/>
              </a:cxn>
            </a:cxnLst>
            <a:rect l="l" t="t" r="r" b="b"/>
            <a:pathLst>
              <a:path w="8079933" h="4687251">
                <a:moveTo>
                  <a:pt x="7607668" y="4671984"/>
                </a:moveTo>
                <a:lnTo>
                  <a:pt x="7610056" y="4672092"/>
                </a:lnTo>
                <a:lnTo>
                  <a:pt x="7609404" y="4676423"/>
                </a:lnTo>
                <a:lnTo>
                  <a:pt x="7606474" y="4680213"/>
                </a:lnTo>
                <a:lnTo>
                  <a:pt x="7608536" y="4684544"/>
                </a:lnTo>
                <a:lnTo>
                  <a:pt x="7607450" y="4687251"/>
                </a:lnTo>
                <a:lnTo>
                  <a:pt x="7602676" y="4685194"/>
                </a:lnTo>
                <a:lnTo>
                  <a:pt x="7598335" y="4686926"/>
                </a:lnTo>
                <a:lnTo>
                  <a:pt x="7595948" y="4683678"/>
                </a:lnTo>
                <a:close/>
                <a:moveTo>
                  <a:pt x="2515090" y="4599009"/>
                </a:moveTo>
                <a:lnTo>
                  <a:pt x="2517477" y="4599009"/>
                </a:lnTo>
                <a:lnTo>
                  <a:pt x="2514221" y="4602258"/>
                </a:lnTo>
                <a:lnTo>
                  <a:pt x="2512160" y="4600742"/>
                </a:lnTo>
                <a:cubicBezTo>
                  <a:pt x="2512268" y="4600959"/>
                  <a:pt x="2515090" y="4599009"/>
                  <a:pt x="2515090" y="4599009"/>
                </a:cubicBezTo>
                <a:close/>
                <a:moveTo>
                  <a:pt x="2519647" y="4589589"/>
                </a:moveTo>
                <a:lnTo>
                  <a:pt x="2522795" y="4590781"/>
                </a:lnTo>
                <a:lnTo>
                  <a:pt x="2523446" y="4594353"/>
                </a:lnTo>
                <a:lnTo>
                  <a:pt x="2523229" y="4598359"/>
                </a:lnTo>
                <a:lnTo>
                  <a:pt x="2520516" y="4598143"/>
                </a:lnTo>
                <a:lnTo>
                  <a:pt x="2518237" y="4595653"/>
                </a:lnTo>
                <a:lnTo>
                  <a:pt x="2520950" y="4592188"/>
                </a:lnTo>
                <a:close/>
                <a:moveTo>
                  <a:pt x="2429470" y="4575623"/>
                </a:moveTo>
                <a:lnTo>
                  <a:pt x="2431423" y="4577247"/>
                </a:lnTo>
                <a:lnTo>
                  <a:pt x="2428711" y="4580279"/>
                </a:lnTo>
                <a:lnTo>
                  <a:pt x="2425564" y="4577464"/>
                </a:lnTo>
                <a:close/>
                <a:moveTo>
                  <a:pt x="2426757" y="4568693"/>
                </a:moveTo>
                <a:lnTo>
                  <a:pt x="2430121" y="4570318"/>
                </a:lnTo>
                <a:lnTo>
                  <a:pt x="2429796" y="4572916"/>
                </a:lnTo>
                <a:lnTo>
                  <a:pt x="2427083" y="4573024"/>
                </a:lnTo>
                <a:lnTo>
                  <a:pt x="2425564" y="4571509"/>
                </a:lnTo>
                <a:close/>
                <a:moveTo>
                  <a:pt x="2494254" y="4567611"/>
                </a:moveTo>
                <a:lnTo>
                  <a:pt x="2501634" y="4568261"/>
                </a:lnTo>
                <a:lnTo>
                  <a:pt x="2507493" y="4567828"/>
                </a:lnTo>
                <a:lnTo>
                  <a:pt x="2514438" y="4567611"/>
                </a:lnTo>
                <a:lnTo>
                  <a:pt x="2518887" y="4568803"/>
                </a:lnTo>
                <a:lnTo>
                  <a:pt x="2519755" y="4572916"/>
                </a:lnTo>
                <a:lnTo>
                  <a:pt x="2522143" y="4575299"/>
                </a:lnTo>
                <a:lnTo>
                  <a:pt x="2519755" y="4577789"/>
                </a:lnTo>
                <a:lnTo>
                  <a:pt x="2516174" y="4580171"/>
                </a:lnTo>
                <a:lnTo>
                  <a:pt x="2513896" y="4577248"/>
                </a:lnTo>
                <a:lnTo>
                  <a:pt x="2511291" y="4576056"/>
                </a:lnTo>
                <a:lnTo>
                  <a:pt x="2506842" y="4579197"/>
                </a:lnTo>
                <a:lnTo>
                  <a:pt x="2501308" y="4579413"/>
                </a:lnTo>
                <a:lnTo>
                  <a:pt x="2499246" y="4576598"/>
                </a:lnTo>
                <a:lnTo>
                  <a:pt x="2497184" y="4572050"/>
                </a:lnTo>
                <a:lnTo>
                  <a:pt x="2493603" y="4571942"/>
                </a:lnTo>
                <a:lnTo>
                  <a:pt x="2489914" y="4575732"/>
                </a:lnTo>
                <a:lnTo>
                  <a:pt x="2487201" y="4575732"/>
                </a:lnTo>
                <a:lnTo>
                  <a:pt x="2481558" y="4576598"/>
                </a:lnTo>
                <a:lnTo>
                  <a:pt x="2486007" y="4579954"/>
                </a:lnTo>
                <a:lnTo>
                  <a:pt x="2487201" y="4579413"/>
                </a:lnTo>
                <a:lnTo>
                  <a:pt x="2492844" y="4580712"/>
                </a:lnTo>
                <a:lnTo>
                  <a:pt x="2494906" y="4582336"/>
                </a:lnTo>
                <a:lnTo>
                  <a:pt x="2493386" y="4584068"/>
                </a:lnTo>
                <a:lnTo>
                  <a:pt x="2497293" y="4585693"/>
                </a:lnTo>
                <a:lnTo>
                  <a:pt x="2502393" y="4590023"/>
                </a:lnTo>
                <a:lnTo>
                  <a:pt x="2502393" y="4594246"/>
                </a:lnTo>
                <a:lnTo>
                  <a:pt x="2500440" y="4593921"/>
                </a:lnTo>
                <a:lnTo>
                  <a:pt x="2495122" y="4589157"/>
                </a:lnTo>
                <a:lnTo>
                  <a:pt x="2491650" y="4588183"/>
                </a:lnTo>
                <a:lnTo>
                  <a:pt x="2488069" y="4590132"/>
                </a:lnTo>
                <a:lnTo>
                  <a:pt x="2484597" y="4587750"/>
                </a:lnTo>
                <a:lnTo>
                  <a:pt x="2483077" y="4583419"/>
                </a:lnTo>
                <a:lnTo>
                  <a:pt x="2478086" y="4583960"/>
                </a:lnTo>
                <a:lnTo>
                  <a:pt x="2477543" y="4586126"/>
                </a:lnTo>
                <a:lnTo>
                  <a:pt x="2481124" y="4588183"/>
                </a:lnTo>
                <a:lnTo>
                  <a:pt x="2480690" y="4591864"/>
                </a:lnTo>
                <a:lnTo>
                  <a:pt x="2478628" y="4591972"/>
                </a:lnTo>
                <a:lnTo>
                  <a:pt x="2473094" y="4589482"/>
                </a:lnTo>
                <a:lnTo>
                  <a:pt x="2469947" y="4590782"/>
                </a:lnTo>
                <a:lnTo>
                  <a:pt x="2468753" y="4588399"/>
                </a:lnTo>
                <a:lnTo>
                  <a:pt x="2465498" y="4587209"/>
                </a:lnTo>
                <a:lnTo>
                  <a:pt x="2467017" y="4583636"/>
                </a:lnTo>
                <a:lnTo>
                  <a:pt x="2463545" y="4586559"/>
                </a:lnTo>
                <a:lnTo>
                  <a:pt x="2459855" y="4583744"/>
                </a:lnTo>
                <a:lnTo>
                  <a:pt x="2459964" y="4581687"/>
                </a:lnTo>
                <a:lnTo>
                  <a:pt x="2463761" y="4579846"/>
                </a:lnTo>
                <a:lnTo>
                  <a:pt x="2470706" y="4577248"/>
                </a:lnTo>
                <a:lnTo>
                  <a:pt x="2466800" y="4575299"/>
                </a:lnTo>
                <a:lnTo>
                  <a:pt x="2463978" y="4576706"/>
                </a:lnTo>
                <a:lnTo>
                  <a:pt x="2461374" y="4574324"/>
                </a:lnTo>
                <a:lnTo>
                  <a:pt x="2464738" y="4572591"/>
                </a:lnTo>
                <a:lnTo>
                  <a:pt x="2468536" y="4572591"/>
                </a:lnTo>
                <a:lnTo>
                  <a:pt x="2471032" y="4572050"/>
                </a:lnTo>
                <a:lnTo>
                  <a:pt x="2476566" y="4572916"/>
                </a:lnTo>
                <a:lnTo>
                  <a:pt x="2488069" y="4570318"/>
                </a:lnTo>
                <a:close/>
                <a:moveTo>
                  <a:pt x="2584759" y="4552236"/>
                </a:moveTo>
                <a:lnTo>
                  <a:pt x="2590293" y="4552561"/>
                </a:lnTo>
                <a:lnTo>
                  <a:pt x="2585952" y="4556567"/>
                </a:lnTo>
                <a:lnTo>
                  <a:pt x="2581069" y="4557758"/>
                </a:lnTo>
                <a:lnTo>
                  <a:pt x="2575860" y="4561114"/>
                </a:lnTo>
                <a:lnTo>
                  <a:pt x="2572062" y="4557758"/>
                </a:lnTo>
                <a:lnTo>
                  <a:pt x="2574992" y="4555918"/>
                </a:lnTo>
                <a:lnTo>
                  <a:pt x="2581503" y="4555593"/>
                </a:lnTo>
                <a:close/>
                <a:moveTo>
                  <a:pt x="2404619" y="4547040"/>
                </a:moveTo>
                <a:lnTo>
                  <a:pt x="2406790" y="4548014"/>
                </a:lnTo>
                <a:lnTo>
                  <a:pt x="2405922" y="4549314"/>
                </a:lnTo>
                <a:lnTo>
                  <a:pt x="2403643" y="4552887"/>
                </a:lnTo>
                <a:lnTo>
                  <a:pt x="2400496" y="4553861"/>
                </a:lnTo>
                <a:lnTo>
                  <a:pt x="2400496" y="4550722"/>
                </a:lnTo>
                <a:lnTo>
                  <a:pt x="2403209" y="4547581"/>
                </a:lnTo>
                <a:close/>
                <a:moveTo>
                  <a:pt x="2435656" y="4544766"/>
                </a:moveTo>
                <a:lnTo>
                  <a:pt x="2440105" y="4547148"/>
                </a:lnTo>
                <a:lnTo>
                  <a:pt x="2448135" y="4550396"/>
                </a:lnTo>
                <a:lnTo>
                  <a:pt x="2450196" y="4551262"/>
                </a:lnTo>
                <a:lnTo>
                  <a:pt x="2452041" y="4549746"/>
                </a:lnTo>
                <a:lnTo>
                  <a:pt x="2450523" y="4547689"/>
                </a:lnTo>
                <a:lnTo>
                  <a:pt x="2450848" y="4545740"/>
                </a:lnTo>
                <a:lnTo>
                  <a:pt x="2456382" y="4547689"/>
                </a:lnTo>
                <a:lnTo>
                  <a:pt x="2468428" y="4551262"/>
                </a:lnTo>
                <a:lnTo>
                  <a:pt x="2476675" y="4554402"/>
                </a:lnTo>
                <a:lnTo>
                  <a:pt x="2481124" y="4557325"/>
                </a:lnTo>
                <a:lnTo>
                  <a:pt x="2483837" y="4557217"/>
                </a:lnTo>
                <a:lnTo>
                  <a:pt x="2486116" y="4566203"/>
                </a:lnTo>
                <a:lnTo>
                  <a:pt x="2480690" y="4566203"/>
                </a:lnTo>
                <a:lnTo>
                  <a:pt x="2481124" y="4568802"/>
                </a:lnTo>
                <a:lnTo>
                  <a:pt x="2478737" y="4570318"/>
                </a:lnTo>
                <a:lnTo>
                  <a:pt x="2459855" y="4565554"/>
                </a:lnTo>
                <a:lnTo>
                  <a:pt x="2455622" y="4567611"/>
                </a:lnTo>
                <a:lnTo>
                  <a:pt x="2445530" y="4571509"/>
                </a:lnTo>
                <a:lnTo>
                  <a:pt x="2448135" y="4573241"/>
                </a:lnTo>
                <a:lnTo>
                  <a:pt x="2451282" y="4573999"/>
                </a:lnTo>
                <a:lnTo>
                  <a:pt x="2450631" y="4576056"/>
                </a:lnTo>
                <a:lnTo>
                  <a:pt x="2447810" y="4578005"/>
                </a:lnTo>
                <a:lnTo>
                  <a:pt x="2444337" y="4576489"/>
                </a:lnTo>
                <a:lnTo>
                  <a:pt x="2443143" y="4576705"/>
                </a:lnTo>
                <a:lnTo>
                  <a:pt x="2443794" y="4579196"/>
                </a:lnTo>
                <a:lnTo>
                  <a:pt x="2448461" y="4582011"/>
                </a:lnTo>
                <a:lnTo>
                  <a:pt x="2451391" y="4584068"/>
                </a:lnTo>
                <a:lnTo>
                  <a:pt x="2450739" y="4585692"/>
                </a:lnTo>
                <a:lnTo>
                  <a:pt x="2447918" y="4585692"/>
                </a:lnTo>
                <a:lnTo>
                  <a:pt x="2444012" y="4581686"/>
                </a:lnTo>
                <a:lnTo>
                  <a:pt x="2441190" y="4580495"/>
                </a:lnTo>
                <a:lnTo>
                  <a:pt x="2438151" y="4580604"/>
                </a:lnTo>
                <a:lnTo>
                  <a:pt x="2435439" y="4577572"/>
                </a:lnTo>
                <a:lnTo>
                  <a:pt x="2437500" y="4573241"/>
                </a:lnTo>
                <a:lnTo>
                  <a:pt x="2440973" y="4571617"/>
                </a:lnTo>
                <a:lnTo>
                  <a:pt x="2438043" y="4569776"/>
                </a:lnTo>
                <a:lnTo>
                  <a:pt x="2438043" y="4567070"/>
                </a:lnTo>
                <a:lnTo>
                  <a:pt x="2436632" y="4565337"/>
                </a:lnTo>
                <a:lnTo>
                  <a:pt x="2434245" y="4566421"/>
                </a:lnTo>
                <a:lnTo>
                  <a:pt x="2429687" y="4563389"/>
                </a:lnTo>
                <a:lnTo>
                  <a:pt x="2426866" y="4562089"/>
                </a:lnTo>
                <a:lnTo>
                  <a:pt x="2425563" y="4563064"/>
                </a:lnTo>
                <a:lnTo>
                  <a:pt x="2424262" y="4565229"/>
                </a:lnTo>
                <a:lnTo>
                  <a:pt x="2420029" y="4565446"/>
                </a:lnTo>
                <a:lnTo>
                  <a:pt x="2414821" y="4564471"/>
                </a:lnTo>
                <a:lnTo>
                  <a:pt x="2414061" y="4561764"/>
                </a:lnTo>
                <a:lnTo>
                  <a:pt x="2418619" y="4560682"/>
                </a:lnTo>
                <a:lnTo>
                  <a:pt x="2422417" y="4561440"/>
                </a:lnTo>
                <a:lnTo>
                  <a:pt x="2423176" y="4560140"/>
                </a:lnTo>
                <a:lnTo>
                  <a:pt x="2421440" y="4558408"/>
                </a:lnTo>
                <a:lnTo>
                  <a:pt x="2423176" y="4557325"/>
                </a:lnTo>
                <a:lnTo>
                  <a:pt x="2431098" y="4556784"/>
                </a:lnTo>
                <a:lnTo>
                  <a:pt x="2433919" y="4556243"/>
                </a:lnTo>
                <a:lnTo>
                  <a:pt x="2433485" y="4553103"/>
                </a:lnTo>
                <a:lnTo>
                  <a:pt x="2435113" y="4551803"/>
                </a:lnTo>
                <a:lnTo>
                  <a:pt x="2439996" y="4554835"/>
                </a:lnTo>
                <a:lnTo>
                  <a:pt x="2441407" y="4557542"/>
                </a:lnTo>
                <a:lnTo>
                  <a:pt x="2443143" y="4557217"/>
                </a:lnTo>
                <a:lnTo>
                  <a:pt x="2443360" y="4555268"/>
                </a:lnTo>
                <a:lnTo>
                  <a:pt x="2444337" y="4554835"/>
                </a:lnTo>
                <a:lnTo>
                  <a:pt x="2447375" y="4554835"/>
                </a:lnTo>
                <a:lnTo>
                  <a:pt x="2446725" y="4552995"/>
                </a:lnTo>
                <a:lnTo>
                  <a:pt x="2436416" y="4548123"/>
                </a:lnTo>
                <a:lnTo>
                  <a:pt x="2434571" y="4545849"/>
                </a:lnTo>
                <a:close/>
                <a:moveTo>
                  <a:pt x="2386606" y="4544332"/>
                </a:moveTo>
                <a:lnTo>
                  <a:pt x="2389102" y="4546714"/>
                </a:lnTo>
                <a:lnTo>
                  <a:pt x="2387366" y="4548338"/>
                </a:lnTo>
                <a:lnTo>
                  <a:pt x="2385303" y="4546930"/>
                </a:lnTo>
                <a:lnTo>
                  <a:pt x="2384110" y="4546173"/>
                </a:lnTo>
                <a:close/>
                <a:moveTo>
                  <a:pt x="2413192" y="4539568"/>
                </a:moveTo>
                <a:lnTo>
                  <a:pt x="2421656" y="4541842"/>
                </a:lnTo>
                <a:lnTo>
                  <a:pt x="2423609" y="4544873"/>
                </a:lnTo>
                <a:lnTo>
                  <a:pt x="2425779" y="4542816"/>
                </a:lnTo>
                <a:lnTo>
                  <a:pt x="2428058" y="4542384"/>
                </a:lnTo>
                <a:lnTo>
                  <a:pt x="2430011" y="4543574"/>
                </a:lnTo>
                <a:lnTo>
                  <a:pt x="2428167" y="4547147"/>
                </a:lnTo>
                <a:lnTo>
                  <a:pt x="2429360" y="4549854"/>
                </a:lnTo>
                <a:lnTo>
                  <a:pt x="2426539" y="4552019"/>
                </a:lnTo>
                <a:lnTo>
                  <a:pt x="2422633" y="4550829"/>
                </a:lnTo>
                <a:lnTo>
                  <a:pt x="2421113" y="4548554"/>
                </a:lnTo>
                <a:lnTo>
                  <a:pt x="2419051" y="4550395"/>
                </a:lnTo>
                <a:lnTo>
                  <a:pt x="2416338" y="4547905"/>
                </a:lnTo>
                <a:lnTo>
                  <a:pt x="2412107" y="4547256"/>
                </a:lnTo>
                <a:lnTo>
                  <a:pt x="2410045" y="4549313"/>
                </a:lnTo>
                <a:lnTo>
                  <a:pt x="2407875" y="4545523"/>
                </a:lnTo>
                <a:lnTo>
                  <a:pt x="2405162" y="4544007"/>
                </a:lnTo>
                <a:lnTo>
                  <a:pt x="2405162" y="4541625"/>
                </a:lnTo>
                <a:lnTo>
                  <a:pt x="2411564" y="4541084"/>
                </a:lnTo>
                <a:close/>
                <a:moveTo>
                  <a:pt x="2352424" y="4525385"/>
                </a:moveTo>
                <a:lnTo>
                  <a:pt x="2352424" y="4525386"/>
                </a:lnTo>
                <a:cubicBezTo>
                  <a:pt x="2353347" y="4526514"/>
                  <a:pt x="2354363" y="4527565"/>
                  <a:pt x="2355461" y="4528525"/>
                </a:cubicBezTo>
                <a:lnTo>
                  <a:pt x="2350362" y="4527009"/>
                </a:lnTo>
                <a:close/>
                <a:moveTo>
                  <a:pt x="2368810" y="4525060"/>
                </a:moveTo>
                <a:lnTo>
                  <a:pt x="2371306" y="4527442"/>
                </a:lnTo>
                <a:lnTo>
                  <a:pt x="2373585" y="4528525"/>
                </a:lnTo>
                <a:lnTo>
                  <a:pt x="2377817" y="4526793"/>
                </a:lnTo>
                <a:lnTo>
                  <a:pt x="2382917" y="4526576"/>
                </a:lnTo>
                <a:lnTo>
                  <a:pt x="2389537" y="4531340"/>
                </a:lnTo>
                <a:lnTo>
                  <a:pt x="2392467" y="4532639"/>
                </a:lnTo>
                <a:lnTo>
                  <a:pt x="2393661" y="4535238"/>
                </a:lnTo>
                <a:lnTo>
                  <a:pt x="2398544" y="4533722"/>
                </a:lnTo>
                <a:lnTo>
                  <a:pt x="2401908" y="4535129"/>
                </a:lnTo>
                <a:lnTo>
                  <a:pt x="2403536" y="4538594"/>
                </a:lnTo>
                <a:lnTo>
                  <a:pt x="2400063" y="4538378"/>
                </a:lnTo>
                <a:lnTo>
                  <a:pt x="2397676" y="4539460"/>
                </a:lnTo>
                <a:lnTo>
                  <a:pt x="2399629" y="4540868"/>
                </a:lnTo>
                <a:lnTo>
                  <a:pt x="2399846" y="4543358"/>
                </a:lnTo>
                <a:lnTo>
                  <a:pt x="2396265" y="4546715"/>
                </a:lnTo>
                <a:lnTo>
                  <a:pt x="2397567" y="4548988"/>
                </a:lnTo>
                <a:lnTo>
                  <a:pt x="2394204" y="4550395"/>
                </a:lnTo>
                <a:lnTo>
                  <a:pt x="2391164" y="4547472"/>
                </a:lnTo>
                <a:lnTo>
                  <a:pt x="2390731" y="4544224"/>
                </a:lnTo>
                <a:lnTo>
                  <a:pt x="2388235" y="4542709"/>
                </a:lnTo>
                <a:lnTo>
                  <a:pt x="2382917" y="4543683"/>
                </a:lnTo>
                <a:lnTo>
                  <a:pt x="2379445" y="4543142"/>
                </a:lnTo>
                <a:lnTo>
                  <a:pt x="2374670" y="4537511"/>
                </a:lnTo>
                <a:lnTo>
                  <a:pt x="2370221" y="4536428"/>
                </a:lnTo>
                <a:lnTo>
                  <a:pt x="2368484" y="4532206"/>
                </a:lnTo>
                <a:lnTo>
                  <a:pt x="2364035" y="4529824"/>
                </a:lnTo>
                <a:lnTo>
                  <a:pt x="2363710" y="4527334"/>
                </a:lnTo>
                <a:lnTo>
                  <a:pt x="2365120" y="4525385"/>
                </a:lnTo>
                <a:close/>
                <a:moveTo>
                  <a:pt x="7729206" y="4521163"/>
                </a:moveTo>
                <a:lnTo>
                  <a:pt x="7728663" y="4523220"/>
                </a:lnTo>
                <a:lnTo>
                  <a:pt x="7726493" y="4522787"/>
                </a:lnTo>
                <a:close/>
                <a:moveTo>
                  <a:pt x="2433051" y="4519322"/>
                </a:moveTo>
                <a:lnTo>
                  <a:pt x="2435872" y="4521055"/>
                </a:lnTo>
                <a:lnTo>
                  <a:pt x="2436740" y="4526035"/>
                </a:lnTo>
                <a:lnTo>
                  <a:pt x="2439780" y="4530583"/>
                </a:lnTo>
                <a:lnTo>
                  <a:pt x="2439237" y="4532315"/>
                </a:lnTo>
                <a:lnTo>
                  <a:pt x="2441298" y="4535021"/>
                </a:lnTo>
                <a:lnTo>
                  <a:pt x="2438151" y="4538161"/>
                </a:lnTo>
                <a:lnTo>
                  <a:pt x="2443360" y="4541951"/>
                </a:lnTo>
                <a:lnTo>
                  <a:pt x="2441624" y="4544116"/>
                </a:lnTo>
                <a:lnTo>
                  <a:pt x="2439997" y="4542600"/>
                </a:lnTo>
                <a:lnTo>
                  <a:pt x="2435438" y="4541410"/>
                </a:lnTo>
                <a:lnTo>
                  <a:pt x="2431206" y="4539028"/>
                </a:lnTo>
                <a:lnTo>
                  <a:pt x="2431206" y="4535455"/>
                </a:lnTo>
                <a:lnTo>
                  <a:pt x="2432834" y="4532640"/>
                </a:lnTo>
                <a:lnTo>
                  <a:pt x="2430664" y="4528526"/>
                </a:lnTo>
                <a:lnTo>
                  <a:pt x="2432292" y="4524086"/>
                </a:lnTo>
                <a:close/>
                <a:moveTo>
                  <a:pt x="8009722" y="4515155"/>
                </a:moveTo>
                <a:lnTo>
                  <a:pt x="8009506" y="4517645"/>
                </a:lnTo>
                <a:lnTo>
                  <a:pt x="8007335" y="4517212"/>
                </a:lnTo>
                <a:lnTo>
                  <a:pt x="8006358" y="4515480"/>
                </a:lnTo>
                <a:close/>
                <a:moveTo>
                  <a:pt x="7713255" y="4510986"/>
                </a:moveTo>
                <a:lnTo>
                  <a:pt x="7717379" y="4515100"/>
                </a:lnTo>
                <a:lnTo>
                  <a:pt x="7719440" y="4520189"/>
                </a:lnTo>
                <a:lnTo>
                  <a:pt x="7720200" y="4521705"/>
                </a:lnTo>
                <a:lnTo>
                  <a:pt x="7719983" y="4522788"/>
                </a:lnTo>
                <a:lnTo>
                  <a:pt x="7717270" y="4523220"/>
                </a:lnTo>
                <a:lnTo>
                  <a:pt x="7716294" y="4522137"/>
                </a:lnTo>
                <a:lnTo>
                  <a:pt x="7714123" y="4523004"/>
                </a:lnTo>
                <a:lnTo>
                  <a:pt x="7715643" y="4523329"/>
                </a:lnTo>
                <a:lnTo>
                  <a:pt x="7717487" y="4525169"/>
                </a:lnTo>
                <a:lnTo>
                  <a:pt x="7719658" y="4526252"/>
                </a:lnTo>
                <a:lnTo>
                  <a:pt x="7720092" y="4528092"/>
                </a:lnTo>
                <a:lnTo>
                  <a:pt x="7718573" y="4529933"/>
                </a:lnTo>
                <a:lnTo>
                  <a:pt x="7716836" y="4529283"/>
                </a:lnTo>
                <a:lnTo>
                  <a:pt x="7711736" y="4531015"/>
                </a:lnTo>
                <a:lnTo>
                  <a:pt x="7709240" y="4532856"/>
                </a:lnTo>
                <a:lnTo>
                  <a:pt x="7706744" y="4532640"/>
                </a:lnTo>
                <a:lnTo>
                  <a:pt x="7705334" y="4531773"/>
                </a:lnTo>
                <a:lnTo>
                  <a:pt x="7703814" y="4532098"/>
                </a:lnTo>
                <a:lnTo>
                  <a:pt x="7700341" y="4536212"/>
                </a:lnTo>
                <a:lnTo>
                  <a:pt x="7698063" y="4535996"/>
                </a:lnTo>
                <a:lnTo>
                  <a:pt x="7697303" y="4533939"/>
                </a:lnTo>
                <a:lnTo>
                  <a:pt x="7701969" y="4529175"/>
                </a:lnTo>
                <a:lnTo>
                  <a:pt x="7703922" y="4527984"/>
                </a:lnTo>
                <a:lnTo>
                  <a:pt x="7703922" y="4525061"/>
                </a:lnTo>
                <a:lnTo>
                  <a:pt x="7707395" y="4524303"/>
                </a:lnTo>
                <a:lnTo>
                  <a:pt x="7708697" y="4520080"/>
                </a:lnTo>
                <a:lnTo>
                  <a:pt x="7708372" y="4515425"/>
                </a:lnTo>
                <a:lnTo>
                  <a:pt x="7709131" y="4512177"/>
                </a:lnTo>
                <a:close/>
                <a:moveTo>
                  <a:pt x="2472009" y="4510119"/>
                </a:moveTo>
                <a:lnTo>
                  <a:pt x="2477217" y="4512068"/>
                </a:lnTo>
                <a:lnTo>
                  <a:pt x="2483077" y="4510986"/>
                </a:lnTo>
                <a:lnTo>
                  <a:pt x="2485681" y="4515749"/>
                </a:lnTo>
                <a:lnTo>
                  <a:pt x="2488394" y="4523653"/>
                </a:lnTo>
                <a:lnTo>
                  <a:pt x="2494580" y="4524411"/>
                </a:lnTo>
                <a:lnTo>
                  <a:pt x="2500657" y="4529500"/>
                </a:lnTo>
                <a:lnTo>
                  <a:pt x="2500983" y="4534913"/>
                </a:lnTo>
                <a:lnTo>
                  <a:pt x="2506083" y="4536645"/>
                </a:lnTo>
                <a:lnTo>
                  <a:pt x="2524748" y="4542708"/>
                </a:lnTo>
                <a:lnTo>
                  <a:pt x="2527026" y="4545307"/>
                </a:lnTo>
                <a:lnTo>
                  <a:pt x="2533863" y="4547364"/>
                </a:lnTo>
                <a:lnTo>
                  <a:pt x="2539723" y="4552669"/>
                </a:lnTo>
                <a:lnTo>
                  <a:pt x="2544715" y="4553210"/>
                </a:lnTo>
                <a:lnTo>
                  <a:pt x="2553504" y="4551153"/>
                </a:lnTo>
                <a:lnTo>
                  <a:pt x="2557628" y="4552669"/>
                </a:lnTo>
                <a:lnTo>
                  <a:pt x="2558496" y="4556783"/>
                </a:lnTo>
                <a:lnTo>
                  <a:pt x="2552528" y="4560248"/>
                </a:lnTo>
                <a:lnTo>
                  <a:pt x="2550249" y="4558299"/>
                </a:lnTo>
                <a:lnTo>
                  <a:pt x="2545040" y="4559815"/>
                </a:lnTo>
                <a:lnTo>
                  <a:pt x="2544063" y="4564038"/>
                </a:lnTo>
                <a:lnTo>
                  <a:pt x="2539723" y="4568260"/>
                </a:lnTo>
                <a:lnTo>
                  <a:pt x="2534406" y="4569667"/>
                </a:lnTo>
                <a:lnTo>
                  <a:pt x="2528871" y="4567827"/>
                </a:lnTo>
                <a:lnTo>
                  <a:pt x="2523554" y="4564904"/>
                </a:lnTo>
                <a:lnTo>
                  <a:pt x="2513679" y="4563821"/>
                </a:lnTo>
                <a:lnTo>
                  <a:pt x="2506843" y="4564362"/>
                </a:lnTo>
                <a:lnTo>
                  <a:pt x="2496859" y="4563496"/>
                </a:lnTo>
                <a:lnTo>
                  <a:pt x="2488720" y="4566202"/>
                </a:lnTo>
                <a:lnTo>
                  <a:pt x="2486116" y="4566202"/>
                </a:lnTo>
                <a:lnTo>
                  <a:pt x="2483837" y="4557216"/>
                </a:lnTo>
                <a:lnTo>
                  <a:pt x="2495231" y="4556783"/>
                </a:lnTo>
                <a:lnTo>
                  <a:pt x="2501633" y="4554510"/>
                </a:lnTo>
                <a:lnTo>
                  <a:pt x="2505540" y="4553752"/>
                </a:lnTo>
                <a:lnTo>
                  <a:pt x="2506408" y="4552128"/>
                </a:lnTo>
                <a:lnTo>
                  <a:pt x="2500006" y="4553427"/>
                </a:lnTo>
                <a:lnTo>
                  <a:pt x="2493386" y="4553427"/>
                </a:lnTo>
                <a:lnTo>
                  <a:pt x="2484922" y="4555051"/>
                </a:lnTo>
                <a:lnTo>
                  <a:pt x="2483186" y="4554618"/>
                </a:lnTo>
                <a:close/>
                <a:moveTo>
                  <a:pt x="2339184" y="4502540"/>
                </a:moveTo>
                <a:lnTo>
                  <a:pt x="2341897" y="4504273"/>
                </a:lnTo>
                <a:lnTo>
                  <a:pt x="2346997" y="4510228"/>
                </a:lnTo>
                <a:lnTo>
                  <a:pt x="2350253" y="4512177"/>
                </a:lnTo>
                <a:lnTo>
                  <a:pt x="2354159" y="4512285"/>
                </a:lnTo>
                <a:lnTo>
                  <a:pt x="2358282" y="4513909"/>
                </a:lnTo>
                <a:lnTo>
                  <a:pt x="2362080" y="4515967"/>
                </a:lnTo>
                <a:lnTo>
                  <a:pt x="2367615" y="4515967"/>
                </a:lnTo>
                <a:lnTo>
                  <a:pt x="2369676" y="4518240"/>
                </a:lnTo>
                <a:lnTo>
                  <a:pt x="2374234" y="4521597"/>
                </a:lnTo>
                <a:lnTo>
                  <a:pt x="2376296" y="4521813"/>
                </a:lnTo>
                <a:lnTo>
                  <a:pt x="2377598" y="4523654"/>
                </a:lnTo>
                <a:lnTo>
                  <a:pt x="2376839" y="4525061"/>
                </a:lnTo>
                <a:lnTo>
                  <a:pt x="2372173" y="4525061"/>
                </a:lnTo>
                <a:lnTo>
                  <a:pt x="2367832" y="4523329"/>
                </a:lnTo>
                <a:lnTo>
                  <a:pt x="2361430" y="4520947"/>
                </a:lnTo>
                <a:lnTo>
                  <a:pt x="2359585" y="4522030"/>
                </a:lnTo>
                <a:lnTo>
                  <a:pt x="2355896" y="4522030"/>
                </a:lnTo>
                <a:lnTo>
                  <a:pt x="2353616" y="4518673"/>
                </a:lnTo>
                <a:lnTo>
                  <a:pt x="2346997" y="4515750"/>
                </a:lnTo>
                <a:lnTo>
                  <a:pt x="2342005" y="4515100"/>
                </a:lnTo>
                <a:lnTo>
                  <a:pt x="2338967" y="4509361"/>
                </a:lnTo>
                <a:lnTo>
                  <a:pt x="2337882" y="4504706"/>
                </a:lnTo>
                <a:close/>
                <a:moveTo>
                  <a:pt x="8013846" y="4492743"/>
                </a:moveTo>
                <a:lnTo>
                  <a:pt x="8013086" y="4495125"/>
                </a:lnTo>
                <a:lnTo>
                  <a:pt x="8012110" y="4493610"/>
                </a:lnTo>
                <a:close/>
                <a:moveTo>
                  <a:pt x="2354486" y="4490955"/>
                </a:moveTo>
                <a:lnTo>
                  <a:pt x="2355896" y="4495502"/>
                </a:lnTo>
                <a:lnTo>
                  <a:pt x="2353509" y="4499400"/>
                </a:lnTo>
                <a:lnTo>
                  <a:pt x="2351447" y="4498318"/>
                </a:lnTo>
                <a:lnTo>
                  <a:pt x="2349060" y="4496152"/>
                </a:lnTo>
                <a:lnTo>
                  <a:pt x="2348191" y="4493662"/>
                </a:lnTo>
                <a:lnTo>
                  <a:pt x="2343634" y="4493986"/>
                </a:lnTo>
                <a:lnTo>
                  <a:pt x="2341898" y="4492471"/>
                </a:lnTo>
                <a:lnTo>
                  <a:pt x="2345479" y="4491063"/>
                </a:lnTo>
                <a:lnTo>
                  <a:pt x="2348734" y="4491821"/>
                </a:lnTo>
                <a:close/>
                <a:moveTo>
                  <a:pt x="8020899" y="4487113"/>
                </a:moveTo>
                <a:lnTo>
                  <a:pt x="8021224" y="4490902"/>
                </a:lnTo>
                <a:lnTo>
                  <a:pt x="8022744" y="4493068"/>
                </a:lnTo>
                <a:lnTo>
                  <a:pt x="8021224" y="4494042"/>
                </a:lnTo>
                <a:lnTo>
                  <a:pt x="8021875" y="4496317"/>
                </a:lnTo>
                <a:lnTo>
                  <a:pt x="8020899" y="4496966"/>
                </a:lnTo>
                <a:lnTo>
                  <a:pt x="8018186" y="4493501"/>
                </a:lnTo>
                <a:close/>
                <a:moveTo>
                  <a:pt x="2464846" y="4481861"/>
                </a:moveTo>
                <a:lnTo>
                  <a:pt x="2471683" y="4508929"/>
                </a:lnTo>
                <a:lnTo>
                  <a:pt x="2471358" y="4509903"/>
                </a:lnTo>
                <a:lnTo>
                  <a:pt x="2472009" y="4510120"/>
                </a:lnTo>
                <a:lnTo>
                  <a:pt x="2483186" y="4554619"/>
                </a:lnTo>
                <a:lnTo>
                  <a:pt x="2477760" y="4553319"/>
                </a:lnTo>
                <a:lnTo>
                  <a:pt x="2466366" y="4545740"/>
                </a:lnTo>
                <a:lnTo>
                  <a:pt x="2458227" y="4542817"/>
                </a:lnTo>
                <a:lnTo>
                  <a:pt x="2454320" y="4543250"/>
                </a:lnTo>
                <a:lnTo>
                  <a:pt x="2449111" y="4540003"/>
                </a:lnTo>
                <a:lnTo>
                  <a:pt x="2444771" y="4535671"/>
                </a:lnTo>
                <a:lnTo>
                  <a:pt x="2444120" y="4533614"/>
                </a:lnTo>
                <a:lnTo>
                  <a:pt x="2444120" y="4531557"/>
                </a:lnTo>
                <a:lnTo>
                  <a:pt x="2451499" y="4527876"/>
                </a:lnTo>
                <a:lnTo>
                  <a:pt x="2452367" y="4525494"/>
                </a:lnTo>
                <a:lnTo>
                  <a:pt x="2457033" y="4524194"/>
                </a:lnTo>
                <a:lnTo>
                  <a:pt x="2460289" y="4518673"/>
                </a:lnTo>
                <a:lnTo>
                  <a:pt x="2458878" y="4514667"/>
                </a:lnTo>
                <a:lnTo>
                  <a:pt x="2453777" y="4514451"/>
                </a:lnTo>
                <a:lnTo>
                  <a:pt x="2446833" y="4518240"/>
                </a:lnTo>
                <a:lnTo>
                  <a:pt x="2443468" y="4522246"/>
                </a:lnTo>
                <a:lnTo>
                  <a:pt x="2439996" y="4522354"/>
                </a:lnTo>
                <a:lnTo>
                  <a:pt x="2435330" y="4516508"/>
                </a:lnTo>
                <a:lnTo>
                  <a:pt x="2435004" y="4510986"/>
                </a:lnTo>
                <a:lnTo>
                  <a:pt x="2433594" y="4508171"/>
                </a:lnTo>
                <a:lnTo>
                  <a:pt x="2437609" y="4504165"/>
                </a:lnTo>
                <a:lnTo>
                  <a:pt x="2438260" y="4500700"/>
                </a:lnTo>
                <a:lnTo>
                  <a:pt x="2434679" y="4501241"/>
                </a:lnTo>
                <a:lnTo>
                  <a:pt x="2431749" y="4499076"/>
                </a:lnTo>
                <a:lnTo>
                  <a:pt x="2434679" y="4494853"/>
                </a:lnTo>
                <a:lnTo>
                  <a:pt x="2437609" y="4495720"/>
                </a:lnTo>
                <a:lnTo>
                  <a:pt x="2442383" y="4498535"/>
                </a:lnTo>
                <a:lnTo>
                  <a:pt x="2443577" y="4496478"/>
                </a:lnTo>
                <a:lnTo>
                  <a:pt x="2447701" y="4492471"/>
                </a:lnTo>
                <a:lnTo>
                  <a:pt x="2448461" y="4489332"/>
                </a:lnTo>
                <a:lnTo>
                  <a:pt x="2447375" y="4485650"/>
                </a:lnTo>
                <a:lnTo>
                  <a:pt x="2449329" y="4481969"/>
                </a:lnTo>
                <a:lnTo>
                  <a:pt x="2452693" y="4482835"/>
                </a:lnTo>
                <a:lnTo>
                  <a:pt x="2456382" y="4486300"/>
                </a:lnTo>
                <a:lnTo>
                  <a:pt x="2458444" y="4484567"/>
                </a:lnTo>
                <a:close/>
                <a:moveTo>
                  <a:pt x="2465824" y="4481536"/>
                </a:moveTo>
                <a:lnTo>
                  <a:pt x="2469405" y="4486841"/>
                </a:lnTo>
                <a:lnTo>
                  <a:pt x="2477218" y="4494528"/>
                </a:lnTo>
                <a:lnTo>
                  <a:pt x="2479605" y="4506222"/>
                </a:lnTo>
                <a:lnTo>
                  <a:pt x="2477001" y="4503623"/>
                </a:lnTo>
                <a:lnTo>
                  <a:pt x="2473420" y="4505247"/>
                </a:lnTo>
                <a:lnTo>
                  <a:pt x="2471683" y="4508928"/>
                </a:lnTo>
                <a:lnTo>
                  <a:pt x="2464847" y="4481860"/>
                </a:lnTo>
                <a:close/>
                <a:moveTo>
                  <a:pt x="2342548" y="4478287"/>
                </a:moveTo>
                <a:lnTo>
                  <a:pt x="2350252" y="4484241"/>
                </a:lnTo>
                <a:lnTo>
                  <a:pt x="2350035" y="4487706"/>
                </a:lnTo>
                <a:lnTo>
                  <a:pt x="2348191" y="4488464"/>
                </a:lnTo>
                <a:lnTo>
                  <a:pt x="2342982" y="4482834"/>
                </a:lnTo>
                <a:lnTo>
                  <a:pt x="2341246" y="4479911"/>
                </a:lnTo>
                <a:close/>
                <a:moveTo>
                  <a:pt x="2333974" y="4476664"/>
                </a:moveTo>
                <a:lnTo>
                  <a:pt x="2335167" y="4479046"/>
                </a:lnTo>
                <a:lnTo>
                  <a:pt x="2332997" y="4484351"/>
                </a:lnTo>
                <a:lnTo>
                  <a:pt x="2330827" y="4485542"/>
                </a:lnTo>
                <a:lnTo>
                  <a:pt x="2330068" y="4483918"/>
                </a:lnTo>
                <a:lnTo>
                  <a:pt x="2331803" y="4482186"/>
                </a:lnTo>
                <a:lnTo>
                  <a:pt x="2331695" y="4477530"/>
                </a:lnTo>
                <a:close/>
                <a:moveTo>
                  <a:pt x="2343742" y="4474498"/>
                </a:moveTo>
                <a:lnTo>
                  <a:pt x="2346998" y="4475255"/>
                </a:lnTo>
                <a:lnTo>
                  <a:pt x="2347865" y="4479045"/>
                </a:lnTo>
                <a:lnTo>
                  <a:pt x="2345912" y="4479262"/>
                </a:lnTo>
                <a:lnTo>
                  <a:pt x="2342223" y="4475689"/>
                </a:lnTo>
                <a:close/>
                <a:moveTo>
                  <a:pt x="2334952" y="4468543"/>
                </a:moveTo>
                <a:lnTo>
                  <a:pt x="2339726" y="4471033"/>
                </a:lnTo>
                <a:lnTo>
                  <a:pt x="2340811" y="4473632"/>
                </a:lnTo>
                <a:lnTo>
                  <a:pt x="2339509" y="4473848"/>
                </a:lnTo>
                <a:lnTo>
                  <a:pt x="2335929" y="4471249"/>
                </a:lnTo>
                <a:close/>
                <a:moveTo>
                  <a:pt x="7698714" y="4467136"/>
                </a:moveTo>
                <a:lnTo>
                  <a:pt x="7702729" y="4467352"/>
                </a:lnTo>
                <a:lnTo>
                  <a:pt x="7702729" y="4470167"/>
                </a:lnTo>
                <a:lnTo>
                  <a:pt x="7700885" y="4470600"/>
                </a:lnTo>
                <a:lnTo>
                  <a:pt x="7698606" y="4469301"/>
                </a:lnTo>
                <a:lnTo>
                  <a:pt x="7697846" y="4468760"/>
                </a:lnTo>
                <a:close/>
                <a:moveTo>
                  <a:pt x="2387751" y="4465107"/>
                </a:moveTo>
                <a:lnTo>
                  <a:pt x="2398869" y="4465945"/>
                </a:lnTo>
                <a:lnTo>
                  <a:pt x="2402884" y="4468219"/>
                </a:lnTo>
                <a:lnTo>
                  <a:pt x="2420138" y="4465296"/>
                </a:lnTo>
                <a:lnTo>
                  <a:pt x="2451065" y="4465296"/>
                </a:lnTo>
                <a:lnTo>
                  <a:pt x="2452693" y="4467244"/>
                </a:lnTo>
                <a:lnTo>
                  <a:pt x="2457793" y="4468002"/>
                </a:lnTo>
                <a:lnTo>
                  <a:pt x="2457793" y="4468002"/>
                </a:lnTo>
                <a:lnTo>
                  <a:pt x="2452693" y="4467244"/>
                </a:lnTo>
                <a:lnTo>
                  <a:pt x="2451065" y="4465295"/>
                </a:lnTo>
                <a:lnTo>
                  <a:pt x="2420138" y="4465295"/>
                </a:lnTo>
                <a:lnTo>
                  <a:pt x="2402883" y="4468218"/>
                </a:lnTo>
                <a:lnTo>
                  <a:pt x="2398869" y="4465944"/>
                </a:lnTo>
                <a:close/>
                <a:moveTo>
                  <a:pt x="2329309" y="4462913"/>
                </a:moveTo>
                <a:lnTo>
                  <a:pt x="2331371" y="4465078"/>
                </a:lnTo>
                <a:lnTo>
                  <a:pt x="2333758" y="4467460"/>
                </a:lnTo>
                <a:lnTo>
                  <a:pt x="2333866" y="4471682"/>
                </a:lnTo>
                <a:lnTo>
                  <a:pt x="2331045" y="4473631"/>
                </a:lnTo>
                <a:lnTo>
                  <a:pt x="2329092" y="4473090"/>
                </a:lnTo>
                <a:lnTo>
                  <a:pt x="2328658" y="4471033"/>
                </a:lnTo>
                <a:lnTo>
                  <a:pt x="2327790" y="4469733"/>
                </a:lnTo>
                <a:lnTo>
                  <a:pt x="2326922" y="4466269"/>
                </a:lnTo>
                <a:lnTo>
                  <a:pt x="2327899" y="4463887"/>
                </a:lnTo>
                <a:close/>
                <a:moveTo>
                  <a:pt x="2324427" y="4460964"/>
                </a:moveTo>
                <a:lnTo>
                  <a:pt x="2326163" y="4464104"/>
                </a:lnTo>
                <a:lnTo>
                  <a:pt x="2325946" y="4468651"/>
                </a:lnTo>
                <a:lnTo>
                  <a:pt x="2323558" y="4470383"/>
                </a:lnTo>
                <a:lnTo>
                  <a:pt x="2325946" y="4474064"/>
                </a:lnTo>
                <a:lnTo>
                  <a:pt x="2323124" y="4473523"/>
                </a:lnTo>
                <a:lnTo>
                  <a:pt x="2320845" y="4472007"/>
                </a:lnTo>
                <a:lnTo>
                  <a:pt x="2319543" y="4468434"/>
                </a:lnTo>
                <a:lnTo>
                  <a:pt x="2320736" y="4466053"/>
                </a:lnTo>
                <a:lnTo>
                  <a:pt x="2322690" y="4464320"/>
                </a:lnTo>
                <a:lnTo>
                  <a:pt x="2321605" y="4463346"/>
                </a:lnTo>
                <a:lnTo>
                  <a:pt x="2320628" y="4461397"/>
                </a:lnTo>
                <a:close/>
                <a:moveTo>
                  <a:pt x="2340270" y="4459232"/>
                </a:moveTo>
                <a:lnTo>
                  <a:pt x="2342766" y="4464862"/>
                </a:lnTo>
                <a:lnTo>
                  <a:pt x="2346889" y="4469301"/>
                </a:lnTo>
                <a:lnTo>
                  <a:pt x="2348083" y="4472008"/>
                </a:lnTo>
                <a:lnTo>
                  <a:pt x="2346672" y="4472116"/>
                </a:lnTo>
                <a:lnTo>
                  <a:pt x="2341029" y="4469409"/>
                </a:lnTo>
                <a:lnTo>
                  <a:pt x="2338316" y="4466378"/>
                </a:lnTo>
                <a:lnTo>
                  <a:pt x="2338208" y="4459340"/>
                </a:lnTo>
                <a:close/>
                <a:moveTo>
                  <a:pt x="2627296" y="4445048"/>
                </a:moveTo>
                <a:lnTo>
                  <a:pt x="2630334" y="4446997"/>
                </a:lnTo>
                <a:lnTo>
                  <a:pt x="2633264" y="4447538"/>
                </a:lnTo>
                <a:lnTo>
                  <a:pt x="2627079" y="4450028"/>
                </a:lnTo>
                <a:lnTo>
                  <a:pt x="2624909" y="4446997"/>
                </a:lnTo>
                <a:close/>
                <a:moveTo>
                  <a:pt x="2316396" y="4442233"/>
                </a:moveTo>
                <a:lnTo>
                  <a:pt x="2319651" y="4445156"/>
                </a:lnTo>
                <a:lnTo>
                  <a:pt x="2322690" y="4444939"/>
                </a:lnTo>
                <a:lnTo>
                  <a:pt x="2329418" y="4449379"/>
                </a:lnTo>
                <a:lnTo>
                  <a:pt x="2329201" y="4451978"/>
                </a:lnTo>
                <a:lnTo>
                  <a:pt x="2325511" y="4452194"/>
                </a:lnTo>
                <a:lnTo>
                  <a:pt x="2324969" y="4453710"/>
                </a:lnTo>
                <a:lnTo>
                  <a:pt x="2320194" y="4454143"/>
                </a:lnTo>
                <a:lnTo>
                  <a:pt x="2313574" y="4455442"/>
                </a:lnTo>
                <a:lnTo>
                  <a:pt x="2311404" y="4453818"/>
                </a:lnTo>
                <a:lnTo>
                  <a:pt x="2313466" y="4451761"/>
                </a:lnTo>
                <a:lnTo>
                  <a:pt x="2315745" y="4446997"/>
                </a:lnTo>
                <a:lnTo>
                  <a:pt x="2313357" y="4442990"/>
                </a:lnTo>
                <a:close/>
                <a:moveTo>
                  <a:pt x="2317806" y="4429999"/>
                </a:moveTo>
                <a:lnTo>
                  <a:pt x="2322907" y="4432814"/>
                </a:lnTo>
                <a:lnTo>
                  <a:pt x="2327790" y="4439851"/>
                </a:lnTo>
                <a:lnTo>
                  <a:pt x="2325837" y="4442991"/>
                </a:lnTo>
                <a:lnTo>
                  <a:pt x="2321821" y="4442774"/>
                </a:lnTo>
                <a:lnTo>
                  <a:pt x="2316721" y="4436711"/>
                </a:lnTo>
                <a:lnTo>
                  <a:pt x="2315528" y="4430648"/>
                </a:lnTo>
                <a:close/>
                <a:moveTo>
                  <a:pt x="2663758" y="4429457"/>
                </a:moveTo>
                <a:lnTo>
                  <a:pt x="2666036" y="4432922"/>
                </a:lnTo>
                <a:lnTo>
                  <a:pt x="2663649" y="4438444"/>
                </a:lnTo>
                <a:lnTo>
                  <a:pt x="2657572" y="4442883"/>
                </a:lnTo>
                <a:lnTo>
                  <a:pt x="2657463" y="4448079"/>
                </a:lnTo>
                <a:lnTo>
                  <a:pt x="2652255" y="4450570"/>
                </a:lnTo>
                <a:lnTo>
                  <a:pt x="2645201" y="4449920"/>
                </a:lnTo>
                <a:lnTo>
                  <a:pt x="2641077" y="4452302"/>
                </a:lnTo>
                <a:lnTo>
                  <a:pt x="2646178" y="4454684"/>
                </a:lnTo>
                <a:lnTo>
                  <a:pt x="2643465" y="4459231"/>
                </a:lnTo>
                <a:lnTo>
                  <a:pt x="2638798" y="4455767"/>
                </a:lnTo>
                <a:lnTo>
                  <a:pt x="2636194" y="4458581"/>
                </a:lnTo>
                <a:lnTo>
                  <a:pt x="2631094" y="4455767"/>
                </a:lnTo>
                <a:lnTo>
                  <a:pt x="2631202" y="4453493"/>
                </a:lnTo>
                <a:lnTo>
                  <a:pt x="2634566" y="4453709"/>
                </a:lnTo>
                <a:lnTo>
                  <a:pt x="2639233" y="4448838"/>
                </a:lnTo>
                <a:lnTo>
                  <a:pt x="2638365" y="4445914"/>
                </a:lnTo>
                <a:lnTo>
                  <a:pt x="2641620" y="4443857"/>
                </a:lnTo>
                <a:lnTo>
                  <a:pt x="2646937" y="4443857"/>
                </a:lnTo>
                <a:lnTo>
                  <a:pt x="2646937" y="4441691"/>
                </a:lnTo>
                <a:lnTo>
                  <a:pt x="2641620" y="4441042"/>
                </a:lnTo>
                <a:lnTo>
                  <a:pt x="2635868" y="4433246"/>
                </a:lnTo>
                <a:lnTo>
                  <a:pt x="2637605" y="4431189"/>
                </a:lnTo>
                <a:lnTo>
                  <a:pt x="2642271" y="4435087"/>
                </a:lnTo>
                <a:lnTo>
                  <a:pt x="2646937" y="4435845"/>
                </a:lnTo>
                <a:lnTo>
                  <a:pt x="2648674" y="4430864"/>
                </a:lnTo>
                <a:lnTo>
                  <a:pt x="2652906" y="4430323"/>
                </a:lnTo>
                <a:lnTo>
                  <a:pt x="2656270" y="4433571"/>
                </a:lnTo>
                <a:lnTo>
                  <a:pt x="2658766" y="4433463"/>
                </a:lnTo>
                <a:lnTo>
                  <a:pt x="2660502" y="4430540"/>
                </a:lnTo>
                <a:close/>
                <a:moveTo>
                  <a:pt x="2641838" y="4426317"/>
                </a:moveTo>
                <a:lnTo>
                  <a:pt x="2647589" y="4428590"/>
                </a:lnTo>
                <a:lnTo>
                  <a:pt x="2643900" y="4429781"/>
                </a:lnTo>
                <a:close/>
                <a:moveTo>
                  <a:pt x="2673958" y="4425668"/>
                </a:moveTo>
                <a:lnTo>
                  <a:pt x="2681012" y="4426967"/>
                </a:lnTo>
                <a:lnTo>
                  <a:pt x="2681121" y="4430431"/>
                </a:lnTo>
                <a:lnTo>
                  <a:pt x="2684484" y="4435088"/>
                </a:lnTo>
                <a:lnTo>
                  <a:pt x="2687414" y="4433572"/>
                </a:lnTo>
                <a:lnTo>
                  <a:pt x="2686004" y="4430973"/>
                </a:lnTo>
                <a:lnTo>
                  <a:pt x="2689476" y="4429674"/>
                </a:lnTo>
                <a:lnTo>
                  <a:pt x="2695228" y="4431298"/>
                </a:lnTo>
                <a:lnTo>
                  <a:pt x="2696964" y="4433788"/>
                </a:lnTo>
                <a:lnTo>
                  <a:pt x="2693600" y="4433572"/>
                </a:lnTo>
                <a:lnTo>
                  <a:pt x="2691212" y="4435521"/>
                </a:lnTo>
                <a:lnTo>
                  <a:pt x="2692298" y="4436603"/>
                </a:lnTo>
                <a:lnTo>
                  <a:pt x="2694685" y="4437577"/>
                </a:lnTo>
                <a:lnTo>
                  <a:pt x="2695336" y="4440392"/>
                </a:lnTo>
                <a:lnTo>
                  <a:pt x="2690887" y="4441584"/>
                </a:lnTo>
                <a:lnTo>
                  <a:pt x="2686655" y="4445265"/>
                </a:lnTo>
                <a:lnTo>
                  <a:pt x="2681012" y="4446239"/>
                </a:lnTo>
                <a:lnTo>
                  <a:pt x="2677214" y="4444940"/>
                </a:lnTo>
                <a:lnTo>
                  <a:pt x="2675043" y="4446456"/>
                </a:lnTo>
                <a:lnTo>
                  <a:pt x="2677540" y="4448513"/>
                </a:lnTo>
                <a:lnTo>
                  <a:pt x="2680903" y="4448621"/>
                </a:lnTo>
                <a:lnTo>
                  <a:pt x="2680686" y="4449812"/>
                </a:lnTo>
                <a:lnTo>
                  <a:pt x="2676345" y="4450786"/>
                </a:lnTo>
                <a:lnTo>
                  <a:pt x="2671679" y="4449920"/>
                </a:lnTo>
                <a:lnTo>
                  <a:pt x="2672005" y="4452952"/>
                </a:lnTo>
                <a:lnTo>
                  <a:pt x="2673958" y="4455550"/>
                </a:lnTo>
                <a:lnTo>
                  <a:pt x="2671788" y="4456417"/>
                </a:lnTo>
                <a:lnTo>
                  <a:pt x="2667664" y="4453818"/>
                </a:lnTo>
                <a:lnTo>
                  <a:pt x="2666145" y="4455443"/>
                </a:lnTo>
                <a:lnTo>
                  <a:pt x="2669184" y="4459664"/>
                </a:lnTo>
                <a:lnTo>
                  <a:pt x="2668966" y="4461397"/>
                </a:lnTo>
                <a:lnTo>
                  <a:pt x="2665711" y="4460856"/>
                </a:lnTo>
                <a:lnTo>
                  <a:pt x="2662346" y="4455117"/>
                </a:lnTo>
                <a:lnTo>
                  <a:pt x="2658983" y="4454143"/>
                </a:lnTo>
                <a:lnTo>
                  <a:pt x="2666796" y="4443208"/>
                </a:lnTo>
                <a:lnTo>
                  <a:pt x="2670485" y="4442450"/>
                </a:lnTo>
                <a:lnTo>
                  <a:pt x="2673307" y="4443966"/>
                </a:lnTo>
                <a:lnTo>
                  <a:pt x="2674284" y="4442125"/>
                </a:lnTo>
                <a:lnTo>
                  <a:pt x="2669834" y="4436278"/>
                </a:lnTo>
                <a:lnTo>
                  <a:pt x="2671245" y="4434113"/>
                </a:lnTo>
                <a:lnTo>
                  <a:pt x="2669943" y="4430973"/>
                </a:lnTo>
                <a:lnTo>
                  <a:pt x="2673307" y="4429457"/>
                </a:lnTo>
                <a:close/>
                <a:moveTo>
                  <a:pt x="2312163" y="4424910"/>
                </a:moveTo>
                <a:lnTo>
                  <a:pt x="2313465" y="4427508"/>
                </a:lnTo>
                <a:lnTo>
                  <a:pt x="2313465" y="4431622"/>
                </a:lnTo>
                <a:lnTo>
                  <a:pt x="2312272" y="4433355"/>
                </a:lnTo>
                <a:lnTo>
                  <a:pt x="2310970" y="4428375"/>
                </a:lnTo>
                <a:close/>
                <a:moveTo>
                  <a:pt x="2656052" y="4423610"/>
                </a:moveTo>
                <a:lnTo>
                  <a:pt x="2658982" y="4426966"/>
                </a:lnTo>
                <a:lnTo>
                  <a:pt x="2649867" y="4424476"/>
                </a:lnTo>
                <a:close/>
                <a:moveTo>
                  <a:pt x="2302831" y="4423503"/>
                </a:moveTo>
                <a:lnTo>
                  <a:pt x="2308365" y="4423503"/>
                </a:lnTo>
                <a:lnTo>
                  <a:pt x="2305218" y="4425776"/>
                </a:lnTo>
                <a:lnTo>
                  <a:pt x="2302831" y="4427508"/>
                </a:lnTo>
                <a:close/>
                <a:moveTo>
                  <a:pt x="2374452" y="4421878"/>
                </a:moveTo>
                <a:lnTo>
                  <a:pt x="2369461" y="4422095"/>
                </a:lnTo>
                <a:lnTo>
                  <a:pt x="2361864" y="4425776"/>
                </a:lnTo>
                <a:lnTo>
                  <a:pt x="2357741" y="4430432"/>
                </a:lnTo>
                <a:lnTo>
                  <a:pt x="2352750" y="4430323"/>
                </a:lnTo>
                <a:lnTo>
                  <a:pt x="2352750" y="4430324"/>
                </a:lnTo>
                <a:lnTo>
                  <a:pt x="2357741" y="4430432"/>
                </a:lnTo>
                <a:lnTo>
                  <a:pt x="2361864" y="4425776"/>
                </a:lnTo>
                <a:lnTo>
                  <a:pt x="2369461" y="4422095"/>
                </a:lnTo>
                <a:lnTo>
                  <a:pt x="2374452" y="4421879"/>
                </a:lnTo>
                <a:close/>
                <a:moveTo>
                  <a:pt x="2317914" y="4420688"/>
                </a:moveTo>
                <a:lnTo>
                  <a:pt x="2321170" y="4423287"/>
                </a:lnTo>
                <a:lnTo>
                  <a:pt x="2324208" y="4423503"/>
                </a:lnTo>
                <a:lnTo>
                  <a:pt x="2328223" y="4429999"/>
                </a:lnTo>
                <a:lnTo>
                  <a:pt x="2329851" y="4435087"/>
                </a:lnTo>
                <a:lnTo>
                  <a:pt x="2323991" y="4429890"/>
                </a:lnTo>
                <a:lnTo>
                  <a:pt x="2319650" y="4428266"/>
                </a:lnTo>
                <a:lnTo>
                  <a:pt x="2315744" y="4422528"/>
                </a:lnTo>
                <a:lnTo>
                  <a:pt x="2315961" y="4420796"/>
                </a:lnTo>
                <a:close/>
                <a:moveTo>
                  <a:pt x="2304676" y="4408560"/>
                </a:moveTo>
                <a:lnTo>
                  <a:pt x="2306846" y="4409643"/>
                </a:lnTo>
                <a:lnTo>
                  <a:pt x="2312272" y="4410400"/>
                </a:lnTo>
                <a:lnTo>
                  <a:pt x="2310210" y="4414407"/>
                </a:lnTo>
                <a:lnTo>
                  <a:pt x="2310427" y="4418521"/>
                </a:lnTo>
                <a:lnTo>
                  <a:pt x="2307714" y="4420686"/>
                </a:lnTo>
                <a:lnTo>
                  <a:pt x="2305652" y="4420578"/>
                </a:lnTo>
                <a:lnTo>
                  <a:pt x="2304351" y="4416897"/>
                </a:lnTo>
                <a:lnTo>
                  <a:pt x="2301529" y="4414731"/>
                </a:lnTo>
                <a:lnTo>
                  <a:pt x="2303374" y="4412349"/>
                </a:lnTo>
                <a:lnTo>
                  <a:pt x="2303482" y="4409534"/>
                </a:lnTo>
                <a:close/>
                <a:moveTo>
                  <a:pt x="2295670" y="4389830"/>
                </a:moveTo>
                <a:lnTo>
                  <a:pt x="2298491" y="4394485"/>
                </a:lnTo>
                <a:lnTo>
                  <a:pt x="2297406" y="4398491"/>
                </a:lnTo>
                <a:lnTo>
                  <a:pt x="2294367" y="4400657"/>
                </a:lnTo>
                <a:lnTo>
                  <a:pt x="2291871" y="4398058"/>
                </a:lnTo>
                <a:lnTo>
                  <a:pt x="2292739" y="4395351"/>
                </a:lnTo>
                <a:lnTo>
                  <a:pt x="2290461" y="4392645"/>
                </a:lnTo>
                <a:close/>
                <a:moveTo>
                  <a:pt x="2289592" y="4365145"/>
                </a:moveTo>
                <a:lnTo>
                  <a:pt x="2290460" y="4366552"/>
                </a:lnTo>
                <a:lnTo>
                  <a:pt x="2295994" y="4369043"/>
                </a:lnTo>
                <a:lnTo>
                  <a:pt x="2297839" y="4372940"/>
                </a:lnTo>
                <a:lnTo>
                  <a:pt x="2295126" y="4373915"/>
                </a:lnTo>
                <a:lnTo>
                  <a:pt x="2291003" y="4380411"/>
                </a:lnTo>
                <a:lnTo>
                  <a:pt x="2289158" y="4379328"/>
                </a:lnTo>
                <a:lnTo>
                  <a:pt x="2289483" y="4375647"/>
                </a:lnTo>
                <a:lnTo>
                  <a:pt x="2286988" y="4367635"/>
                </a:lnTo>
                <a:close/>
                <a:moveTo>
                  <a:pt x="2300445" y="4362330"/>
                </a:moveTo>
                <a:lnTo>
                  <a:pt x="2307172" y="4362330"/>
                </a:lnTo>
                <a:lnTo>
                  <a:pt x="2310211" y="4364603"/>
                </a:lnTo>
                <a:lnTo>
                  <a:pt x="2312706" y="4375106"/>
                </a:lnTo>
                <a:lnTo>
                  <a:pt x="2315419" y="4380195"/>
                </a:lnTo>
                <a:lnTo>
                  <a:pt x="2316070" y="4388964"/>
                </a:lnTo>
                <a:lnTo>
                  <a:pt x="2315094" y="4390697"/>
                </a:lnTo>
                <a:lnTo>
                  <a:pt x="2317698" y="4397301"/>
                </a:lnTo>
                <a:lnTo>
                  <a:pt x="2317481" y="4404447"/>
                </a:lnTo>
                <a:lnTo>
                  <a:pt x="2314225" y="4407046"/>
                </a:lnTo>
                <a:lnTo>
                  <a:pt x="2311621" y="4405530"/>
                </a:lnTo>
                <a:lnTo>
                  <a:pt x="2310753" y="4400333"/>
                </a:lnTo>
                <a:lnTo>
                  <a:pt x="2309342" y="4396219"/>
                </a:lnTo>
                <a:lnTo>
                  <a:pt x="2308149" y="4400983"/>
                </a:lnTo>
                <a:lnTo>
                  <a:pt x="2305979" y="4402607"/>
                </a:lnTo>
                <a:lnTo>
                  <a:pt x="2301855" y="4398817"/>
                </a:lnTo>
                <a:lnTo>
                  <a:pt x="2300228" y="4393079"/>
                </a:lnTo>
                <a:lnTo>
                  <a:pt x="2295453" y="4383660"/>
                </a:lnTo>
                <a:lnTo>
                  <a:pt x="2300228" y="4382793"/>
                </a:lnTo>
                <a:lnTo>
                  <a:pt x="2303699" y="4379870"/>
                </a:lnTo>
                <a:lnTo>
                  <a:pt x="2304025" y="4376622"/>
                </a:lnTo>
                <a:lnTo>
                  <a:pt x="2302181" y="4379328"/>
                </a:lnTo>
                <a:lnTo>
                  <a:pt x="2300119" y="4379545"/>
                </a:lnTo>
                <a:lnTo>
                  <a:pt x="2299359" y="4376946"/>
                </a:lnTo>
                <a:lnTo>
                  <a:pt x="2300770" y="4372832"/>
                </a:lnTo>
                <a:lnTo>
                  <a:pt x="2297948" y="4369908"/>
                </a:lnTo>
                <a:lnTo>
                  <a:pt x="2297840" y="4364603"/>
                </a:lnTo>
                <a:close/>
                <a:moveTo>
                  <a:pt x="2282105" y="4352152"/>
                </a:moveTo>
                <a:lnTo>
                  <a:pt x="2283950" y="4352693"/>
                </a:lnTo>
                <a:lnTo>
                  <a:pt x="2287313" y="4354101"/>
                </a:lnTo>
                <a:lnTo>
                  <a:pt x="2288832" y="4358756"/>
                </a:lnTo>
                <a:lnTo>
                  <a:pt x="2287965" y="4362221"/>
                </a:lnTo>
                <a:lnTo>
                  <a:pt x="2285252" y="4362654"/>
                </a:lnTo>
                <a:lnTo>
                  <a:pt x="2284926" y="4360597"/>
                </a:lnTo>
                <a:lnTo>
                  <a:pt x="2282322" y="4358648"/>
                </a:lnTo>
                <a:close/>
                <a:moveTo>
                  <a:pt x="2282864" y="4339594"/>
                </a:moveTo>
                <a:lnTo>
                  <a:pt x="2286879" y="4340785"/>
                </a:lnTo>
                <a:lnTo>
                  <a:pt x="2293065" y="4350421"/>
                </a:lnTo>
                <a:lnTo>
                  <a:pt x="2297188" y="4356592"/>
                </a:lnTo>
                <a:lnTo>
                  <a:pt x="2296971" y="4361681"/>
                </a:lnTo>
                <a:lnTo>
                  <a:pt x="2295452" y="4364280"/>
                </a:lnTo>
                <a:lnTo>
                  <a:pt x="2291653" y="4362006"/>
                </a:lnTo>
                <a:lnTo>
                  <a:pt x="2289700" y="4354969"/>
                </a:lnTo>
                <a:lnTo>
                  <a:pt x="2290243" y="4353128"/>
                </a:lnTo>
                <a:lnTo>
                  <a:pt x="2287204" y="4350637"/>
                </a:lnTo>
                <a:lnTo>
                  <a:pt x="2282321" y="4349771"/>
                </a:lnTo>
                <a:lnTo>
                  <a:pt x="2281236" y="4344141"/>
                </a:lnTo>
                <a:lnTo>
                  <a:pt x="2281453" y="4341326"/>
                </a:lnTo>
                <a:close/>
                <a:moveTo>
                  <a:pt x="2356335" y="4337271"/>
                </a:moveTo>
                <a:lnTo>
                  <a:pt x="2357198" y="4339918"/>
                </a:lnTo>
                <a:lnTo>
                  <a:pt x="2357863" y="4343415"/>
                </a:lnTo>
                <a:lnTo>
                  <a:pt x="2357198" y="4339917"/>
                </a:lnTo>
                <a:close/>
                <a:moveTo>
                  <a:pt x="2298165" y="4332664"/>
                </a:moveTo>
                <a:lnTo>
                  <a:pt x="2298708" y="4340134"/>
                </a:lnTo>
                <a:lnTo>
                  <a:pt x="2303157" y="4342083"/>
                </a:lnTo>
                <a:lnTo>
                  <a:pt x="2303483" y="4347280"/>
                </a:lnTo>
                <a:lnTo>
                  <a:pt x="2307281" y="4350636"/>
                </a:lnTo>
                <a:lnTo>
                  <a:pt x="2309668" y="4358540"/>
                </a:lnTo>
                <a:lnTo>
                  <a:pt x="2304676" y="4358107"/>
                </a:lnTo>
                <a:lnTo>
                  <a:pt x="2300118" y="4358540"/>
                </a:lnTo>
                <a:lnTo>
                  <a:pt x="2298925" y="4353235"/>
                </a:lnTo>
                <a:lnTo>
                  <a:pt x="2301855" y="4350636"/>
                </a:lnTo>
                <a:lnTo>
                  <a:pt x="2299576" y="4348796"/>
                </a:lnTo>
                <a:lnTo>
                  <a:pt x="2298491" y="4350528"/>
                </a:lnTo>
                <a:lnTo>
                  <a:pt x="2292848" y="4341866"/>
                </a:lnTo>
                <a:lnTo>
                  <a:pt x="2288399" y="4338077"/>
                </a:lnTo>
                <a:lnTo>
                  <a:pt x="2290244" y="4335370"/>
                </a:lnTo>
                <a:lnTo>
                  <a:pt x="2294367" y="4334829"/>
                </a:lnTo>
                <a:close/>
                <a:moveTo>
                  <a:pt x="7289172" y="4317831"/>
                </a:moveTo>
                <a:lnTo>
                  <a:pt x="7290257" y="4320430"/>
                </a:lnTo>
                <a:lnTo>
                  <a:pt x="7288086" y="4323461"/>
                </a:lnTo>
                <a:lnTo>
                  <a:pt x="7286459" y="4330282"/>
                </a:lnTo>
                <a:lnTo>
                  <a:pt x="7283420" y="4328550"/>
                </a:lnTo>
                <a:lnTo>
                  <a:pt x="7286784" y="4323136"/>
                </a:lnTo>
                <a:lnTo>
                  <a:pt x="7286784" y="4318914"/>
                </a:lnTo>
                <a:close/>
                <a:moveTo>
                  <a:pt x="7930395" y="4299641"/>
                </a:moveTo>
                <a:lnTo>
                  <a:pt x="7928551" y="4302347"/>
                </a:lnTo>
                <a:lnTo>
                  <a:pt x="7926272" y="4302455"/>
                </a:lnTo>
                <a:lnTo>
                  <a:pt x="7928334" y="4300182"/>
                </a:lnTo>
                <a:close/>
                <a:moveTo>
                  <a:pt x="7927359" y="4298991"/>
                </a:moveTo>
                <a:lnTo>
                  <a:pt x="7927142" y="4300182"/>
                </a:lnTo>
                <a:lnTo>
                  <a:pt x="7925079" y="4301264"/>
                </a:lnTo>
                <a:lnTo>
                  <a:pt x="7922583" y="4301481"/>
                </a:lnTo>
                <a:close/>
                <a:moveTo>
                  <a:pt x="7314021" y="4298125"/>
                </a:moveTo>
                <a:lnTo>
                  <a:pt x="7316625" y="4300723"/>
                </a:lnTo>
                <a:lnTo>
                  <a:pt x="7314021" y="4302130"/>
                </a:lnTo>
                <a:close/>
                <a:moveTo>
                  <a:pt x="7930722" y="4289031"/>
                </a:moveTo>
                <a:lnTo>
                  <a:pt x="7934520" y="4290005"/>
                </a:lnTo>
                <a:lnTo>
                  <a:pt x="7933651" y="4292278"/>
                </a:lnTo>
                <a:lnTo>
                  <a:pt x="7930613" y="4294011"/>
                </a:lnTo>
                <a:lnTo>
                  <a:pt x="7928442" y="4297259"/>
                </a:lnTo>
                <a:lnTo>
                  <a:pt x="7927249" y="4297476"/>
                </a:lnTo>
                <a:lnTo>
                  <a:pt x="7927792" y="4296176"/>
                </a:lnTo>
                <a:lnTo>
                  <a:pt x="7928009" y="4292712"/>
                </a:lnTo>
                <a:close/>
                <a:moveTo>
                  <a:pt x="7905763" y="4281668"/>
                </a:moveTo>
                <a:lnTo>
                  <a:pt x="7909669" y="4282210"/>
                </a:lnTo>
                <a:lnTo>
                  <a:pt x="7906848" y="4286215"/>
                </a:lnTo>
                <a:lnTo>
                  <a:pt x="7906306" y="4289247"/>
                </a:lnTo>
                <a:lnTo>
                  <a:pt x="7908259" y="4291629"/>
                </a:lnTo>
                <a:lnTo>
                  <a:pt x="7909995" y="4292604"/>
                </a:lnTo>
                <a:lnTo>
                  <a:pt x="7912491" y="4290762"/>
                </a:lnTo>
                <a:lnTo>
                  <a:pt x="7913902" y="4292170"/>
                </a:lnTo>
                <a:lnTo>
                  <a:pt x="7913685" y="4294119"/>
                </a:lnTo>
                <a:lnTo>
                  <a:pt x="7914987" y="4294661"/>
                </a:lnTo>
                <a:lnTo>
                  <a:pt x="7914118" y="4297042"/>
                </a:lnTo>
                <a:lnTo>
                  <a:pt x="7911840" y="4299749"/>
                </a:lnTo>
                <a:lnTo>
                  <a:pt x="7909886" y="4301265"/>
                </a:lnTo>
                <a:lnTo>
                  <a:pt x="7912057" y="4308086"/>
                </a:lnTo>
                <a:lnTo>
                  <a:pt x="7915204" y="4309602"/>
                </a:lnTo>
                <a:lnTo>
                  <a:pt x="7918351" y="4305163"/>
                </a:lnTo>
                <a:lnTo>
                  <a:pt x="7921389" y="4303214"/>
                </a:lnTo>
                <a:lnTo>
                  <a:pt x="7924319" y="4304080"/>
                </a:lnTo>
                <a:lnTo>
                  <a:pt x="7926381" y="4303972"/>
                </a:lnTo>
                <a:lnTo>
                  <a:pt x="7925839" y="4306786"/>
                </a:lnTo>
                <a:lnTo>
                  <a:pt x="7928225" y="4309169"/>
                </a:lnTo>
                <a:lnTo>
                  <a:pt x="7932567" y="4306137"/>
                </a:lnTo>
                <a:lnTo>
                  <a:pt x="7930614" y="4305596"/>
                </a:lnTo>
                <a:lnTo>
                  <a:pt x="7929419" y="4304404"/>
                </a:lnTo>
                <a:lnTo>
                  <a:pt x="7932350" y="4298882"/>
                </a:lnTo>
                <a:lnTo>
                  <a:pt x="7935822" y="4299641"/>
                </a:lnTo>
                <a:lnTo>
                  <a:pt x="7936039" y="4302347"/>
                </a:lnTo>
                <a:lnTo>
                  <a:pt x="7937341" y="4302347"/>
                </a:lnTo>
                <a:lnTo>
                  <a:pt x="7934520" y="4307436"/>
                </a:lnTo>
                <a:lnTo>
                  <a:pt x="7929528" y="4310359"/>
                </a:lnTo>
                <a:lnTo>
                  <a:pt x="7932892" y="4309818"/>
                </a:lnTo>
                <a:lnTo>
                  <a:pt x="7936473" y="4308844"/>
                </a:lnTo>
                <a:lnTo>
                  <a:pt x="7932024" y="4315016"/>
                </a:lnTo>
                <a:lnTo>
                  <a:pt x="7930505" y="4314582"/>
                </a:lnTo>
                <a:lnTo>
                  <a:pt x="7929311" y="4318480"/>
                </a:lnTo>
                <a:lnTo>
                  <a:pt x="7928877" y="4322702"/>
                </a:lnTo>
                <a:lnTo>
                  <a:pt x="7930938" y="4327358"/>
                </a:lnTo>
                <a:lnTo>
                  <a:pt x="7931373" y="4332014"/>
                </a:lnTo>
                <a:lnTo>
                  <a:pt x="7933868" y="4332771"/>
                </a:lnTo>
                <a:lnTo>
                  <a:pt x="7929528" y="4335370"/>
                </a:lnTo>
                <a:lnTo>
                  <a:pt x="7917157" y="4345981"/>
                </a:lnTo>
                <a:lnTo>
                  <a:pt x="7916398" y="4348796"/>
                </a:lnTo>
                <a:lnTo>
                  <a:pt x="7907933" y="4357350"/>
                </a:lnTo>
                <a:lnTo>
                  <a:pt x="7908476" y="4359298"/>
                </a:lnTo>
                <a:lnTo>
                  <a:pt x="7904677" y="4358973"/>
                </a:lnTo>
                <a:lnTo>
                  <a:pt x="7899686" y="4364062"/>
                </a:lnTo>
                <a:lnTo>
                  <a:pt x="7899034" y="4368501"/>
                </a:lnTo>
                <a:lnTo>
                  <a:pt x="7893717" y="4374889"/>
                </a:lnTo>
                <a:lnTo>
                  <a:pt x="7892632" y="4377704"/>
                </a:lnTo>
                <a:lnTo>
                  <a:pt x="7885579" y="4382143"/>
                </a:lnTo>
                <a:lnTo>
                  <a:pt x="7879068" y="4384200"/>
                </a:lnTo>
                <a:lnTo>
                  <a:pt x="7875595" y="4385608"/>
                </a:lnTo>
                <a:lnTo>
                  <a:pt x="7873859" y="4393078"/>
                </a:lnTo>
                <a:lnTo>
                  <a:pt x="7874402" y="4398600"/>
                </a:lnTo>
                <a:lnTo>
                  <a:pt x="7872991" y="4400658"/>
                </a:lnTo>
                <a:lnTo>
                  <a:pt x="7876246" y="4401415"/>
                </a:lnTo>
                <a:lnTo>
                  <a:pt x="7878308" y="4404664"/>
                </a:lnTo>
                <a:lnTo>
                  <a:pt x="7877657" y="4411051"/>
                </a:lnTo>
                <a:lnTo>
                  <a:pt x="7875378" y="4412675"/>
                </a:lnTo>
                <a:lnTo>
                  <a:pt x="7873859" y="4411484"/>
                </a:lnTo>
                <a:lnTo>
                  <a:pt x="7874402" y="4406721"/>
                </a:lnTo>
                <a:lnTo>
                  <a:pt x="7872991" y="4405529"/>
                </a:lnTo>
                <a:lnTo>
                  <a:pt x="7871797" y="4407045"/>
                </a:lnTo>
                <a:lnTo>
                  <a:pt x="7872014" y="4410510"/>
                </a:lnTo>
                <a:lnTo>
                  <a:pt x="7870603" y="4412675"/>
                </a:lnTo>
                <a:lnTo>
                  <a:pt x="7867023" y="4411376"/>
                </a:lnTo>
                <a:lnTo>
                  <a:pt x="7861922" y="4411160"/>
                </a:lnTo>
                <a:lnTo>
                  <a:pt x="7866263" y="4409427"/>
                </a:lnTo>
                <a:lnTo>
                  <a:pt x="7866263" y="4407587"/>
                </a:lnTo>
                <a:lnTo>
                  <a:pt x="7863008" y="4406396"/>
                </a:lnTo>
                <a:lnTo>
                  <a:pt x="7859860" y="4408561"/>
                </a:lnTo>
                <a:lnTo>
                  <a:pt x="7859751" y="4410618"/>
                </a:lnTo>
                <a:lnTo>
                  <a:pt x="7856822" y="4411701"/>
                </a:lnTo>
                <a:lnTo>
                  <a:pt x="7855085" y="4411160"/>
                </a:lnTo>
                <a:lnTo>
                  <a:pt x="7853349" y="4406396"/>
                </a:lnTo>
                <a:lnTo>
                  <a:pt x="7849334" y="4404664"/>
                </a:lnTo>
                <a:lnTo>
                  <a:pt x="7852481" y="4407911"/>
                </a:lnTo>
                <a:lnTo>
                  <a:pt x="7852807" y="4411484"/>
                </a:lnTo>
                <a:lnTo>
                  <a:pt x="7849877" y="4415490"/>
                </a:lnTo>
                <a:lnTo>
                  <a:pt x="7847381" y="4416140"/>
                </a:lnTo>
                <a:lnTo>
                  <a:pt x="7843366" y="4416356"/>
                </a:lnTo>
                <a:lnTo>
                  <a:pt x="7841955" y="4419929"/>
                </a:lnTo>
                <a:lnTo>
                  <a:pt x="7839242" y="4419929"/>
                </a:lnTo>
                <a:lnTo>
                  <a:pt x="7835986" y="4417331"/>
                </a:lnTo>
                <a:lnTo>
                  <a:pt x="7834902" y="4421662"/>
                </a:lnTo>
                <a:lnTo>
                  <a:pt x="7831320" y="4423394"/>
                </a:lnTo>
                <a:lnTo>
                  <a:pt x="7827197" y="4428158"/>
                </a:lnTo>
                <a:lnTo>
                  <a:pt x="7826980" y="4432272"/>
                </a:lnTo>
                <a:lnTo>
                  <a:pt x="7824376" y="4436062"/>
                </a:lnTo>
                <a:lnTo>
                  <a:pt x="7819818" y="4443857"/>
                </a:lnTo>
                <a:lnTo>
                  <a:pt x="7818842" y="4448838"/>
                </a:lnTo>
                <a:lnTo>
                  <a:pt x="7816453" y="4452952"/>
                </a:lnTo>
                <a:lnTo>
                  <a:pt x="7806144" y="4460314"/>
                </a:lnTo>
                <a:lnTo>
                  <a:pt x="7802672" y="4464320"/>
                </a:lnTo>
                <a:lnTo>
                  <a:pt x="7801045" y="4471358"/>
                </a:lnTo>
                <a:lnTo>
                  <a:pt x="7797247" y="4478179"/>
                </a:lnTo>
                <a:lnTo>
                  <a:pt x="7792146" y="4484134"/>
                </a:lnTo>
                <a:lnTo>
                  <a:pt x="7793123" y="4484892"/>
                </a:lnTo>
                <a:lnTo>
                  <a:pt x="7792363" y="4486408"/>
                </a:lnTo>
                <a:lnTo>
                  <a:pt x="7789867" y="4487924"/>
                </a:lnTo>
                <a:lnTo>
                  <a:pt x="7793882" y="4487165"/>
                </a:lnTo>
                <a:lnTo>
                  <a:pt x="7794425" y="4488465"/>
                </a:lnTo>
                <a:lnTo>
                  <a:pt x="7792254" y="4490088"/>
                </a:lnTo>
                <a:lnTo>
                  <a:pt x="7786069" y="4489873"/>
                </a:lnTo>
                <a:lnTo>
                  <a:pt x="7779124" y="4492904"/>
                </a:lnTo>
                <a:lnTo>
                  <a:pt x="7776086" y="4497452"/>
                </a:lnTo>
                <a:lnTo>
                  <a:pt x="7774349" y="4502649"/>
                </a:lnTo>
                <a:lnTo>
                  <a:pt x="7768815" y="4505031"/>
                </a:lnTo>
                <a:lnTo>
                  <a:pt x="7769683" y="4501782"/>
                </a:lnTo>
                <a:lnTo>
                  <a:pt x="7766752" y="4499400"/>
                </a:lnTo>
                <a:lnTo>
                  <a:pt x="7767838" y="4503298"/>
                </a:lnTo>
                <a:lnTo>
                  <a:pt x="7767405" y="4505680"/>
                </a:lnTo>
                <a:lnTo>
                  <a:pt x="7762955" y="4507521"/>
                </a:lnTo>
                <a:lnTo>
                  <a:pt x="7756118" y="4513584"/>
                </a:lnTo>
                <a:lnTo>
                  <a:pt x="7747871" y="4516941"/>
                </a:lnTo>
                <a:lnTo>
                  <a:pt x="7742011" y="4517698"/>
                </a:lnTo>
                <a:lnTo>
                  <a:pt x="7738105" y="4516616"/>
                </a:lnTo>
                <a:lnTo>
                  <a:pt x="7738105" y="4514125"/>
                </a:lnTo>
                <a:lnTo>
                  <a:pt x="7731811" y="4517157"/>
                </a:lnTo>
                <a:lnTo>
                  <a:pt x="7729423" y="4516616"/>
                </a:lnTo>
                <a:lnTo>
                  <a:pt x="7734089" y="4513909"/>
                </a:lnTo>
                <a:lnTo>
                  <a:pt x="7730942" y="4511527"/>
                </a:lnTo>
                <a:lnTo>
                  <a:pt x="7726385" y="4507521"/>
                </a:lnTo>
                <a:lnTo>
                  <a:pt x="7725734" y="4503190"/>
                </a:lnTo>
                <a:lnTo>
                  <a:pt x="7723998" y="4501241"/>
                </a:lnTo>
                <a:lnTo>
                  <a:pt x="7720091" y="4501241"/>
                </a:lnTo>
                <a:lnTo>
                  <a:pt x="7717595" y="4499076"/>
                </a:lnTo>
                <a:lnTo>
                  <a:pt x="7718897" y="4497452"/>
                </a:lnTo>
                <a:lnTo>
                  <a:pt x="7717487" y="4493662"/>
                </a:lnTo>
                <a:lnTo>
                  <a:pt x="7713797" y="4491930"/>
                </a:lnTo>
                <a:lnTo>
                  <a:pt x="7711409" y="4492255"/>
                </a:lnTo>
                <a:lnTo>
                  <a:pt x="7710867" y="4494962"/>
                </a:lnTo>
                <a:lnTo>
                  <a:pt x="7708914" y="4494745"/>
                </a:lnTo>
                <a:lnTo>
                  <a:pt x="7708371" y="4493446"/>
                </a:lnTo>
                <a:lnTo>
                  <a:pt x="7702294" y="4492904"/>
                </a:lnTo>
                <a:lnTo>
                  <a:pt x="7700232" y="4491821"/>
                </a:lnTo>
                <a:lnTo>
                  <a:pt x="7696869" y="4488357"/>
                </a:lnTo>
                <a:lnTo>
                  <a:pt x="7697628" y="4483918"/>
                </a:lnTo>
                <a:lnTo>
                  <a:pt x="7700232" y="4482402"/>
                </a:lnTo>
                <a:lnTo>
                  <a:pt x="7697954" y="4481752"/>
                </a:lnTo>
                <a:lnTo>
                  <a:pt x="7695132" y="4481319"/>
                </a:lnTo>
                <a:lnTo>
                  <a:pt x="7700667" y="4475039"/>
                </a:lnTo>
                <a:lnTo>
                  <a:pt x="7705658" y="4474390"/>
                </a:lnTo>
                <a:lnTo>
                  <a:pt x="7709565" y="4474498"/>
                </a:lnTo>
                <a:lnTo>
                  <a:pt x="7711301" y="4472982"/>
                </a:lnTo>
                <a:lnTo>
                  <a:pt x="7709565" y="4470708"/>
                </a:lnTo>
                <a:lnTo>
                  <a:pt x="7705984" y="4467352"/>
                </a:lnTo>
                <a:lnTo>
                  <a:pt x="7705658" y="4464320"/>
                </a:lnTo>
                <a:lnTo>
                  <a:pt x="7709782" y="4457500"/>
                </a:lnTo>
                <a:lnTo>
                  <a:pt x="7711409" y="4456308"/>
                </a:lnTo>
                <a:lnTo>
                  <a:pt x="7713146" y="4453385"/>
                </a:lnTo>
                <a:lnTo>
                  <a:pt x="7714991" y="4454360"/>
                </a:lnTo>
                <a:lnTo>
                  <a:pt x="7716835" y="4458474"/>
                </a:lnTo>
                <a:lnTo>
                  <a:pt x="7718680" y="4456200"/>
                </a:lnTo>
                <a:lnTo>
                  <a:pt x="7719114" y="4447972"/>
                </a:lnTo>
                <a:lnTo>
                  <a:pt x="7721285" y="4445048"/>
                </a:lnTo>
                <a:lnTo>
                  <a:pt x="7723238" y="4445048"/>
                </a:lnTo>
                <a:lnTo>
                  <a:pt x="7730182" y="4437252"/>
                </a:lnTo>
                <a:lnTo>
                  <a:pt x="7732353" y="4438877"/>
                </a:lnTo>
                <a:lnTo>
                  <a:pt x="7734415" y="4436495"/>
                </a:lnTo>
                <a:lnTo>
                  <a:pt x="7734415" y="4430757"/>
                </a:lnTo>
                <a:lnTo>
                  <a:pt x="7737237" y="4428916"/>
                </a:lnTo>
                <a:lnTo>
                  <a:pt x="7740275" y="4426209"/>
                </a:lnTo>
                <a:lnTo>
                  <a:pt x="7742336" y="4427833"/>
                </a:lnTo>
                <a:lnTo>
                  <a:pt x="7742988" y="4430757"/>
                </a:lnTo>
                <a:lnTo>
                  <a:pt x="7744073" y="4425235"/>
                </a:lnTo>
                <a:lnTo>
                  <a:pt x="7748197" y="4419929"/>
                </a:lnTo>
                <a:lnTo>
                  <a:pt x="7751886" y="4418847"/>
                </a:lnTo>
                <a:lnTo>
                  <a:pt x="7757638" y="4414191"/>
                </a:lnTo>
                <a:lnTo>
                  <a:pt x="7760459" y="4410618"/>
                </a:lnTo>
                <a:lnTo>
                  <a:pt x="7767947" y="4404122"/>
                </a:lnTo>
                <a:lnTo>
                  <a:pt x="7771527" y="4403905"/>
                </a:lnTo>
                <a:lnTo>
                  <a:pt x="7773698" y="4405638"/>
                </a:lnTo>
                <a:lnTo>
                  <a:pt x="7777930" y="4404555"/>
                </a:lnTo>
                <a:lnTo>
                  <a:pt x="7781836" y="4403364"/>
                </a:lnTo>
                <a:lnTo>
                  <a:pt x="7783682" y="4404122"/>
                </a:lnTo>
                <a:lnTo>
                  <a:pt x="7787697" y="4408020"/>
                </a:lnTo>
                <a:lnTo>
                  <a:pt x="7787154" y="4403148"/>
                </a:lnTo>
                <a:lnTo>
                  <a:pt x="7785526" y="4399358"/>
                </a:lnTo>
                <a:lnTo>
                  <a:pt x="7786286" y="4396651"/>
                </a:lnTo>
                <a:lnTo>
                  <a:pt x="7794642" y="4391454"/>
                </a:lnTo>
                <a:lnTo>
                  <a:pt x="7799308" y="4390480"/>
                </a:lnTo>
                <a:lnTo>
                  <a:pt x="7807012" y="4383117"/>
                </a:lnTo>
                <a:lnTo>
                  <a:pt x="7815911" y="4378678"/>
                </a:lnTo>
                <a:lnTo>
                  <a:pt x="7819818" y="4378895"/>
                </a:lnTo>
                <a:lnTo>
                  <a:pt x="7820469" y="4375430"/>
                </a:lnTo>
                <a:lnTo>
                  <a:pt x="7826437" y="4372290"/>
                </a:lnTo>
                <a:lnTo>
                  <a:pt x="7831429" y="4371641"/>
                </a:lnTo>
                <a:lnTo>
                  <a:pt x="7841087" y="4364711"/>
                </a:lnTo>
                <a:lnTo>
                  <a:pt x="7849769" y="4354642"/>
                </a:lnTo>
                <a:lnTo>
                  <a:pt x="7850202" y="4350853"/>
                </a:lnTo>
                <a:lnTo>
                  <a:pt x="7852481" y="4347929"/>
                </a:lnTo>
                <a:lnTo>
                  <a:pt x="7852699" y="4342732"/>
                </a:lnTo>
                <a:lnTo>
                  <a:pt x="7856496" y="4338510"/>
                </a:lnTo>
                <a:lnTo>
                  <a:pt x="7859101" y="4337210"/>
                </a:lnTo>
                <a:lnTo>
                  <a:pt x="7859318" y="4332447"/>
                </a:lnTo>
                <a:lnTo>
                  <a:pt x="7860620" y="4328224"/>
                </a:lnTo>
                <a:lnTo>
                  <a:pt x="7864526" y="4325301"/>
                </a:lnTo>
                <a:lnTo>
                  <a:pt x="7869410" y="4325734"/>
                </a:lnTo>
                <a:lnTo>
                  <a:pt x="7873425" y="4324110"/>
                </a:lnTo>
                <a:lnTo>
                  <a:pt x="7875053" y="4320537"/>
                </a:lnTo>
                <a:lnTo>
                  <a:pt x="7880478" y="4313933"/>
                </a:lnTo>
                <a:lnTo>
                  <a:pt x="7882540" y="4313175"/>
                </a:lnTo>
                <a:lnTo>
                  <a:pt x="7886880" y="4307436"/>
                </a:lnTo>
                <a:lnTo>
                  <a:pt x="7891222" y="4296609"/>
                </a:lnTo>
                <a:lnTo>
                  <a:pt x="7891982" y="4290655"/>
                </a:lnTo>
                <a:lnTo>
                  <a:pt x="7896214" y="4287190"/>
                </a:lnTo>
                <a:lnTo>
                  <a:pt x="7899360" y="4285890"/>
                </a:lnTo>
                <a:close/>
                <a:moveTo>
                  <a:pt x="2284276" y="4260772"/>
                </a:moveTo>
                <a:lnTo>
                  <a:pt x="2284927" y="4264886"/>
                </a:lnTo>
                <a:lnTo>
                  <a:pt x="2282323" y="4264669"/>
                </a:lnTo>
                <a:lnTo>
                  <a:pt x="2282214" y="4260988"/>
                </a:lnTo>
                <a:close/>
                <a:moveTo>
                  <a:pt x="2300769" y="4259256"/>
                </a:moveTo>
                <a:lnTo>
                  <a:pt x="2298164" y="4262288"/>
                </a:lnTo>
                <a:lnTo>
                  <a:pt x="2295886" y="4259364"/>
                </a:lnTo>
                <a:close/>
                <a:moveTo>
                  <a:pt x="2288182" y="4257957"/>
                </a:moveTo>
                <a:lnTo>
                  <a:pt x="2289593" y="4260122"/>
                </a:lnTo>
                <a:lnTo>
                  <a:pt x="2293716" y="4260988"/>
                </a:lnTo>
                <a:lnTo>
                  <a:pt x="2295561" y="4264670"/>
                </a:lnTo>
                <a:lnTo>
                  <a:pt x="2290787" y="4265752"/>
                </a:lnTo>
                <a:lnTo>
                  <a:pt x="2286337" y="4260772"/>
                </a:lnTo>
                <a:close/>
                <a:moveTo>
                  <a:pt x="2293716" y="4253409"/>
                </a:moveTo>
                <a:lnTo>
                  <a:pt x="2293499" y="4257848"/>
                </a:lnTo>
                <a:lnTo>
                  <a:pt x="2289701" y="4253733"/>
                </a:lnTo>
                <a:close/>
                <a:moveTo>
                  <a:pt x="2297188" y="4245614"/>
                </a:moveTo>
                <a:lnTo>
                  <a:pt x="2302288" y="4245614"/>
                </a:lnTo>
                <a:lnTo>
                  <a:pt x="2302831" y="4253192"/>
                </a:lnTo>
                <a:lnTo>
                  <a:pt x="2300227" y="4256873"/>
                </a:lnTo>
                <a:lnTo>
                  <a:pt x="2297188" y="4255249"/>
                </a:lnTo>
                <a:lnTo>
                  <a:pt x="2295560" y="4250161"/>
                </a:lnTo>
                <a:lnTo>
                  <a:pt x="2293065" y="4248104"/>
                </a:lnTo>
                <a:close/>
                <a:moveTo>
                  <a:pt x="2357250" y="4243263"/>
                </a:moveTo>
                <a:lnTo>
                  <a:pt x="2359911" y="4247996"/>
                </a:lnTo>
                <a:lnTo>
                  <a:pt x="2359914" y="4248105"/>
                </a:lnTo>
                <a:lnTo>
                  <a:pt x="2359911" y="4247995"/>
                </a:lnTo>
                <a:close/>
                <a:moveTo>
                  <a:pt x="2297732" y="4240633"/>
                </a:moveTo>
                <a:lnTo>
                  <a:pt x="2297297" y="4244638"/>
                </a:lnTo>
                <a:lnTo>
                  <a:pt x="2291112" y="4244746"/>
                </a:lnTo>
                <a:lnTo>
                  <a:pt x="2288833" y="4242690"/>
                </a:lnTo>
                <a:lnTo>
                  <a:pt x="2294259" y="4240957"/>
                </a:lnTo>
                <a:close/>
                <a:moveTo>
                  <a:pt x="2337448" y="4232189"/>
                </a:moveTo>
                <a:lnTo>
                  <a:pt x="2340487" y="4235004"/>
                </a:lnTo>
                <a:lnTo>
                  <a:pt x="2342006" y="4233596"/>
                </a:lnTo>
                <a:lnTo>
                  <a:pt x="2340487" y="4235003"/>
                </a:lnTo>
                <a:close/>
                <a:moveTo>
                  <a:pt x="2267129" y="4232188"/>
                </a:moveTo>
                <a:lnTo>
                  <a:pt x="2271686" y="4232188"/>
                </a:lnTo>
                <a:lnTo>
                  <a:pt x="2274182" y="4235002"/>
                </a:lnTo>
                <a:lnTo>
                  <a:pt x="2272663" y="4237925"/>
                </a:lnTo>
                <a:lnTo>
                  <a:pt x="2266695" y="4235327"/>
                </a:lnTo>
                <a:close/>
                <a:moveTo>
                  <a:pt x="2286878" y="4232081"/>
                </a:moveTo>
                <a:lnTo>
                  <a:pt x="2296862" y="4232081"/>
                </a:lnTo>
                <a:lnTo>
                  <a:pt x="2294583" y="4234462"/>
                </a:lnTo>
                <a:lnTo>
                  <a:pt x="2288507" y="4235653"/>
                </a:lnTo>
                <a:lnTo>
                  <a:pt x="2287638" y="4237601"/>
                </a:lnTo>
                <a:cubicBezTo>
                  <a:pt x="2286950" y="4237067"/>
                  <a:pt x="2286297" y="4236489"/>
                  <a:pt x="2285685" y="4235869"/>
                </a:cubicBezTo>
                <a:close/>
                <a:moveTo>
                  <a:pt x="2277655" y="4226991"/>
                </a:moveTo>
                <a:lnTo>
                  <a:pt x="2280151" y="4229481"/>
                </a:lnTo>
                <a:lnTo>
                  <a:pt x="2277113" y="4231755"/>
                </a:lnTo>
                <a:lnTo>
                  <a:pt x="2275268" y="4229914"/>
                </a:lnTo>
                <a:close/>
                <a:moveTo>
                  <a:pt x="2300444" y="4225476"/>
                </a:moveTo>
                <a:lnTo>
                  <a:pt x="2301854" y="4230889"/>
                </a:lnTo>
                <a:lnTo>
                  <a:pt x="2298382" y="4230457"/>
                </a:lnTo>
                <a:close/>
                <a:moveTo>
                  <a:pt x="2281779" y="4223311"/>
                </a:moveTo>
                <a:lnTo>
                  <a:pt x="2286662" y="4223419"/>
                </a:lnTo>
                <a:lnTo>
                  <a:pt x="2289049" y="4228075"/>
                </a:lnTo>
                <a:lnTo>
                  <a:pt x="2285469" y="4228832"/>
                </a:lnTo>
                <a:lnTo>
                  <a:pt x="2282539" y="4230024"/>
                </a:lnTo>
                <a:lnTo>
                  <a:pt x="2282864" y="4226234"/>
                </a:lnTo>
                <a:close/>
                <a:moveTo>
                  <a:pt x="2296862" y="4222119"/>
                </a:moveTo>
                <a:lnTo>
                  <a:pt x="2296862" y="4228291"/>
                </a:lnTo>
                <a:lnTo>
                  <a:pt x="2292196" y="4223851"/>
                </a:lnTo>
                <a:close/>
                <a:moveTo>
                  <a:pt x="2312272" y="4221361"/>
                </a:moveTo>
                <a:lnTo>
                  <a:pt x="2316830" y="4222227"/>
                </a:lnTo>
                <a:lnTo>
                  <a:pt x="2317807" y="4225692"/>
                </a:lnTo>
                <a:lnTo>
                  <a:pt x="2321605" y="4229806"/>
                </a:lnTo>
                <a:lnTo>
                  <a:pt x="2319001" y="4233596"/>
                </a:lnTo>
                <a:lnTo>
                  <a:pt x="2317698" y="4236843"/>
                </a:lnTo>
                <a:lnTo>
                  <a:pt x="2314552" y="4237602"/>
                </a:lnTo>
                <a:lnTo>
                  <a:pt x="2312272" y="4236302"/>
                </a:lnTo>
                <a:lnTo>
                  <a:pt x="2309885" y="4235869"/>
                </a:lnTo>
                <a:lnTo>
                  <a:pt x="2306412" y="4239442"/>
                </a:lnTo>
                <a:lnTo>
                  <a:pt x="2306087" y="4234137"/>
                </a:lnTo>
                <a:lnTo>
                  <a:pt x="2305219" y="4230347"/>
                </a:lnTo>
                <a:lnTo>
                  <a:pt x="2307498" y="4223310"/>
                </a:lnTo>
                <a:close/>
                <a:moveTo>
                  <a:pt x="7340934" y="4221254"/>
                </a:moveTo>
                <a:lnTo>
                  <a:pt x="7339849" y="4225151"/>
                </a:lnTo>
                <a:lnTo>
                  <a:pt x="7337461" y="4222444"/>
                </a:lnTo>
                <a:close/>
                <a:moveTo>
                  <a:pt x="7255423" y="4217248"/>
                </a:moveTo>
                <a:lnTo>
                  <a:pt x="7260089" y="4220604"/>
                </a:lnTo>
                <a:lnTo>
                  <a:pt x="7264430" y="4222769"/>
                </a:lnTo>
                <a:lnTo>
                  <a:pt x="7268011" y="4225693"/>
                </a:lnTo>
                <a:lnTo>
                  <a:pt x="7268771" y="4223203"/>
                </a:lnTo>
                <a:lnTo>
                  <a:pt x="7270724" y="4220820"/>
                </a:lnTo>
                <a:lnTo>
                  <a:pt x="7270724" y="4227858"/>
                </a:lnTo>
                <a:lnTo>
                  <a:pt x="7279079" y="4232405"/>
                </a:lnTo>
                <a:lnTo>
                  <a:pt x="7285591" y="4238360"/>
                </a:lnTo>
                <a:lnTo>
                  <a:pt x="7290040" y="4241609"/>
                </a:lnTo>
                <a:lnTo>
                  <a:pt x="7293078" y="4239335"/>
                </a:lnTo>
                <a:lnTo>
                  <a:pt x="7297744" y="4239335"/>
                </a:lnTo>
                <a:lnTo>
                  <a:pt x="7301326" y="4242799"/>
                </a:lnTo>
                <a:lnTo>
                  <a:pt x="7301326" y="4238468"/>
                </a:lnTo>
                <a:lnTo>
                  <a:pt x="7304364" y="4236519"/>
                </a:lnTo>
                <a:lnTo>
                  <a:pt x="7318689" y="4237386"/>
                </a:lnTo>
                <a:lnTo>
                  <a:pt x="7321184" y="4235762"/>
                </a:lnTo>
                <a:lnTo>
                  <a:pt x="7324440" y="4233272"/>
                </a:lnTo>
                <a:lnTo>
                  <a:pt x="7327153" y="4233272"/>
                </a:lnTo>
                <a:lnTo>
                  <a:pt x="7328455" y="4234138"/>
                </a:lnTo>
                <a:lnTo>
                  <a:pt x="7331168" y="4229807"/>
                </a:lnTo>
                <a:lnTo>
                  <a:pt x="7331711" y="4229049"/>
                </a:lnTo>
                <a:lnTo>
                  <a:pt x="7337353" y="4233055"/>
                </a:lnTo>
                <a:lnTo>
                  <a:pt x="7335726" y="4237169"/>
                </a:lnTo>
                <a:lnTo>
                  <a:pt x="7333556" y="4249403"/>
                </a:lnTo>
                <a:lnTo>
                  <a:pt x="7329431" y="4254384"/>
                </a:lnTo>
                <a:lnTo>
                  <a:pt x="7329431" y="4263263"/>
                </a:lnTo>
                <a:lnTo>
                  <a:pt x="7325959" y="4268351"/>
                </a:lnTo>
                <a:lnTo>
                  <a:pt x="7327261" y="4274305"/>
                </a:lnTo>
                <a:lnTo>
                  <a:pt x="7325959" y="4276471"/>
                </a:lnTo>
                <a:lnTo>
                  <a:pt x="7325959" y="4280802"/>
                </a:lnTo>
                <a:lnTo>
                  <a:pt x="7323572" y="4285999"/>
                </a:lnTo>
                <a:lnTo>
                  <a:pt x="7322703" y="4282643"/>
                </a:lnTo>
                <a:lnTo>
                  <a:pt x="7321293" y="4275713"/>
                </a:lnTo>
                <a:lnTo>
                  <a:pt x="7318797" y="4280260"/>
                </a:lnTo>
                <a:lnTo>
                  <a:pt x="7315759" y="4282426"/>
                </a:lnTo>
                <a:lnTo>
                  <a:pt x="7315759" y="4293253"/>
                </a:lnTo>
                <a:lnTo>
                  <a:pt x="7313805" y="4295202"/>
                </a:lnTo>
                <a:lnTo>
                  <a:pt x="7310007" y="4295202"/>
                </a:lnTo>
                <a:lnTo>
                  <a:pt x="7310007" y="4300615"/>
                </a:lnTo>
                <a:lnTo>
                  <a:pt x="7306643" y="4304946"/>
                </a:lnTo>
                <a:lnTo>
                  <a:pt x="7310441" y="4307437"/>
                </a:lnTo>
                <a:lnTo>
                  <a:pt x="7310441" y="4310360"/>
                </a:lnTo>
                <a:lnTo>
                  <a:pt x="7305015" y="4318155"/>
                </a:lnTo>
                <a:lnTo>
                  <a:pt x="7303062" y="4317506"/>
                </a:lnTo>
                <a:lnTo>
                  <a:pt x="7298830" y="4319563"/>
                </a:lnTo>
                <a:lnTo>
                  <a:pt x="7298830" y="4312526"/>
                </a:lnTo>
                <a:lnTo>
                  <a:pt x="7303713" y="4314583"/>
                </a:lnTo>
                <a:lnTo>
                  <a:pt x="7304364" y="4310577"/>
                </a:lnTo>
                <a:lnTo>
                  <a:pt x="7301651" y="4308194"/>
                </a:lnTo>
                <a:lnTo>
                  <a:pt x="7297636" y="4308953"/>
                </a:lnTo>
                <a:lnTo>
                  <a:pt x="7295249" y="4313067"/>
                </a:lnTo>
                <a:lnTo>
                  <a:pt x="7292210" y="4311984"/>
                </a:lnTo>
                <a:lnTo>
                  <a:pt x="7292210" y="4307004"/>
                </a:lnTo>
                <a:lnTo>
                  <a:pt x="7290365" y="4311984"/>
                </a:lnTo>
                <a:lnTo>
                  <a:pt x="7286025" y="4315448"/>
                </a:lnTo>
                <a:lnTo>
                  <a:pt x="7284614" y="4317939"/>
                </a:lnTo>
                <a:lnTo>
                  <a:pt x="7281359" y="4314907"/>
                </a:lnTo>
                <a:lnTo>
                  <a:pt x="7279188" y="4322703"/>
                </a:lnTo>
                <a:lnTo>
                  <a:pt x="7278646" y="4327033"/>
                </a:lnTo>
                <a:lnTo>
                  <a:pt x="7274197" y="4333854"/>
                </a:lnTo>
                <a:lnTo>
                  <a:pt x="7270398" y="4333854"/>
                </a:lnTo>
                <a:lnTo>
                  <a:pt x="7268011" y="4329524"/>
                </a:lnTo>
                <a:lnTo>
                  <a:pt x="7268011" y="4325518"/>
                </a:lnTo>
                <a:lnTo>
                  <a:pt x="7264212" y="4330498"/>
                </a:lnTo>
                <a:lnTo>
                  <a:pt x="7260957" y="4327250"/>
                </a:lnTo>
                <a:lnTo>
                  <a:pt x="7256617" y="4328116"/>
                </a:lnTo>
                <a:lnTo>
                  <a:pt x="7254663" y="4327250"/>
                </a:lnTo>
                <a:lnTo>
                  <a:pt x="7254663" y="4323027"/>
                </a:lnTo>
                <a:lnTo>
                  <a:pt x="7257376" y="4319996"/>
                </a:lnTo>
                <a:lnTo>
                  <a:pt x="7252818" y="4318372"/>
                </a:lnTo>
                <a:lnTo>
                  <a:pt x="7251733" y="4312200"/>
                </a:lnTo>
                <a:lnTo>
                  <a:pt x="7252818" y="4310251"/>
                </a:lnTo>
                <a:lnTo>
                  <a:pt x="7250322" y="4308302"/>
                </a:lnTo>
                <a:lnTo>
                  <a:pt x="7250322" y="4294986"/>
                </a:lnTo>
                <a:lnTo>
                  <a:pt x="7251408" y="4292495"/>
                </a:lnTo>
                <a:lnTo>
                  <a:pt x="7248152" y="4289788"/>
                </a:lnTo>
                <a:lnTo>
                  <a:pt x="7248152" y="4281452"/>
                </a:lnTo>
                <a:lnTo>
                  <a:pt x="7250105" y="4276796"/>
                </a:lnTo>
                <a:lnTo>
                  <a:pt x="7254120" y="4281235"/>
                </a:lnTo>
                <a:lnTo>
                  <a:pt x="7259221" y="4281235"/>
                </a:lnTo>
                <a:lnTo>
                  <a:pt x="7254880" y="4276904"/>
                </a:lnTo>
                <a:lnTo>
                  <a:pt x="7254880" y="4273873"/>
                </a:lnTo>
                <a:lnTo>
                  <a:pt x="7252710" y="4272465"/>
                </a:lnTo>
                <a:lnTo>
                  <a:pt x="7254011" y="4265753"/>
                </a:lnTo>
                <a:lnTo>
                  <a:pt x="7252927" y="4257307"/>
                </a:lnTo>
                <a:lnTo>
                  <a:pt x="7252384" y="4246480"/>
                </a:lnTo>
                <a:lnTo>
                  <a:pt x="7253578" y="4240417"/>
                </a:lnTo>
                <a:lnTo>
                  <a:pt x="7252493" y="4231106"/>
                </a:lnTo>
                <a:lnTo>
                  <a:pt x="7252493" y="4226126"/>
                </a:lnTo>
                <a:lnTo>
                  <a:pt x="7253904" y="4225043"/>
                </a:lnTo>
                <a:lnTo>
                  <a:pt x="7253904" y="4219521"/>
                </a:lnTo>
                <a:close/>
                <a:moveTo>
                  <a:pt x="7264863" y="4216381"/>
                </a:moveTo>
                <a:lnTo>
                  <a:pt x="7268011" y="4219304"/>
                </a:lnTo>
                <a:lnTo>
                  <a:pt x="7265731" y="4221577"/>
                </a:lnTo>
                <a:lnTo>
                  <a:pt x="7262693" y="4220603"/>
                </a:lnTo>
                <a:lnTo>
                  <a:pt x="7261825" y="4217030"/>
                </a:lnTo>
                <a:close/>
                <a:moveTo>
                  <a:pt x="2306412" y="4216381"/>
                </a:moveTo>
                <a:lnTo>
                  <a:pt x="2310644" y="4219629"/>
                </a:lnTo>
                <a:lnTo>
                  <a:pt x="2305760" y="4220062"/>
                </a:lnTo>
                <a:lnTo>
                  <a:pt x="2304567" y="4217680"/>
                </a:lnTo>
                <a:close/>
                <a:moveTo>
                  <a:pt x="2283080" y="4215839"/>
                </a:moveTo>
                <a:lnTo>
                  <a:pt x="2286661" y="4215947"/>
                </a:lnTo>
                <a:lnTo>
                  <a:pt x="2289049" y="4218546"/>
                </a:lnTo>
                <a:lnTo>
                  <a:pt x="2288506" y="4220495"/>
                </a:lnTo>
                <a:lnTo>
                  <a:pt x="2284816" y="4222011"/>
                </a:lnTo>
                <a:lnTo>
                  <a:pt x="2282212" y="4221361"/>
                </a:lnTo>
                <a:lnTo>
                  <a:pt x="2281453" y="4219087"/>
                </a:lnTo>
                <a:close/>
                <a:moveTo>
                  <a:pt x="2351773" y="4214973"/>
                </a:moveTo>
                <a:lnTo>
                  <a:pt x="2348083" y="4217463"/>
                </a:lnTo>
                <a:lnTo>
                  <a:pt x="2343634" y="4216597"/>
                </a:lnTo>
                <a:lnTo>
                  <a:pt x="2343634" y="4216598"/>
                </a:lnTo>
                <a:lnTo>
                  <a:pt x="2348084" y="4217464"/>
                </a:lnTo>
                <a:close/>
                <a:moveTo>
                  <a:pt x="2288617" y="4211833"/>
                </a:moveTo>
                <a:lnTo>
                  <a:pt x="2290678" y="4213240"/>
                </a:lnTo>
                <a:lnTo>
                  <a:pt x="2289810" y="4215838"/>
                </a:lnTo>
                <a:lnTo>
                  <a:pt x="2287640" y="4213132"/>
                </a:lnTo>
                <a:close/>
                <a:moveTo>
                  <a:pt x="7343430" y="4211401"/>
                </a:moveTo>
                <a:lnTo>
                  <a:pt x="7348312" y="4215948"/>
                </a:lnTo>
                <a:lnTo>
                  <a:pt x="7347553" y="4218655"/>
                </a:lnTo>
                <a:lnTo>
                  <a:pt x="7343972" y="4217139"/>
                </a:lnTo>
                <a:lnTo>
                  <a:pt x="7336702" y="4216815"/>
                </a:lnTo>
                <a:lnTo>
                  <a:pt x="7335291" y="4213783"/>
                </a:lnTo>
                <a:lnTo>
                  <a:pt x="7338004" y="4211942"/>
                </a:lnTo>
                <a:close/>
                <a:moveTo>
                  <a:pt x="7266274" y="4207177"/>
                </a:moveTo>
                <a:lnTo>
                  <a:pt x="7266708" y="4211508"/>
                </a:lnTo>
                <a:lnTo>
                  <a:pt x="7263995" y="4211724"/>
                </a:lnTo>
                <a:lnTo>
                  <a:pt x="7263778" y="4208260"/>
                </a:lnTo>
                <a:close/>
                <a:moveTo>
                  <a:pt x="7261610" y="4206529"/>
                </a:moveTo>
                <a:lnTo>
                  <a:pt x="7261827" y="4210643"/>
                </a:lnTo>
                <a:lnTo>
                  <a:pt x="7260307" y="4213891"/>
                </a:lnTo>
                <a:lnTo>
                  <a:pt x="7257051" y="4212051"/>
                </a:lnTo>
                <a:lnTo>
                  <a:pt x="7258354" y="4208369"/>
                </a:lnTo>
                <a:close/>
                <a:moveTo>
                  <a:pt x="2296754" y="4205338"/>
                </a:moveTo>
                <a:lnTo>
                  <a:pt x="2300335" y="4206421"/>
                </a:lnTo>
                <a:lnTo>
                  <a:pt x="2300878" y="4211076"/>
                </a:lnTo>
                <a:lnTo>
                  <a:pt x="2297839" y="4212808"/>
                </a:lnTo>
                <a:lnTo>
                  <a:pt x="2297514" y="4209993"/>
                </a:lnTo>
                <a:lnTo>
                  <a:pt x="2294367" y="4207395"/>
                </a:lnTo>
                <a:close/>
                <a:moveTo>
                  <a:pt x="2308257" y="4203171"/>
                </a:moveTo>
                <a:lnTo>
                  <a:pt x="2308257" y="4206419"/>
                </a:lnTo>
                <a:lnTo>
                  <a:pt x="2305653" y="4208908"/>
                </a:lnTo>
                <a:lnTo>
                  <a:pt x="2304025" y="4205986"/>
                </a:lnTo>
                <a:close/>
                <a:moveTo>
                  <a:pt x="2286988" y="4202414"/>
                </a:moveTo>
                <a:lnTo>
                  <a:pt x="2293282" y="4203821"/>
                </a:lnTo>
                <a:lnTo>
                  <a:pt x="2288508" y="4206961"/>
                </a:lnTo>
                <a:lnTo>
                  <a:pt x="2285795" y="4204255"/>
                </a:lnTo>
                <a:close/>
                <a:moveTo>
                  <a:pt x="2272772" y="4198841"/>
                </a:moveTo>
                <a:lnTo>
                  <a:pt x="2276461" y="4198841"/>
                </a:lnTo>
                <a:lnTo>
                  <a:pt x="2279500" y="4201114"/>
                </a:lnTo>
                <a:lnTo>
                  <a:pt x="2273423" y="4203388"/>
                </a:lnTo>
                <a:lnTo>
                  <a:pt x="2271036" y="4200898"/>
                </a:lnTo>
                <a:close/>
                <a:moveTo>
                  <a:pt x="2336875" y="4195364"/>
                </a:moveTo>
                <a:lnTo>
                  <a:pt x="2336906" y="4196026"/>
                </a:lnTo>
                <a:lnTo>
                  <a:pt x="2341077" y="4205059"/>
                </a:lnTo>
                <a:lnTo>
                  <a:pt x="2336906" y="4196025"/>
                </a:lnTo>
                <a:close/>
                <a:moveTo>
                  <a:pt x="7340608" y="4192669"/>
                </a:moveTo>
                <a:lnTo>
                  <a:pt x="7348312" y="4200356"/>
                </a:lnTo>
                <a:lnTo>
                  <a:pt x="7348312" y="4204579"/>
                </a:lnTo>
                <a:lnTo>
                  <a:pt x="7339848" y="4208368"/>
                </a:lnTo>
                <a:lnTo>
                  <a:pt x="7338329" y="4205012"/>
                </a:lnTo>
                <a:lnTo>
                  <a:pt x="7336702" y="4202197"/>
                </a:lnTo>
                <a:lnTo>
                  <a:pt x="7338547" y="4197866"/>
                </a:lnTo>
                <a:lnTo>
                  <a:pt x="7337136" y="4193860"/>
                </a:lnTo>
                <a:close/>
                <a:moveTo>
                  <a:pt x="2329419" y="4178486"/>
                </a:moveTo>
                <a:lnTo>
                  <a:pt x="2337014" y="4181085"/>
                </a:lnTo>
                <a:lnTo>
                  <a:pt x="2337014" y="4181084"/>
                </a:lnTo>
                <a:close/>
                <a:moveTo>
                  <a:pt x="7252601" y="4174806"/>
                </a:moveTo>
                <a:lnTo>
                  <a:pt x="7255422" y="4177188"/>
                </a:lnTo>
                <a:lnTo>
                  <a:pt x="7254337" y="4184117"/>
                </a:lnTo>
                <a:lnTo>
                  <a:pt x="7255965" y="4187473"/>
                </a:lnTo>
                <a:lnTo>
                  <a:pt x="7252818" y="4192454"/>
                </a:lnTo>
                <a:lnTo>
                  <a:pt x="7251950" y="4195052"/>
                </a:lnTo>
                <a:lnTo>
                  <a:pt x="7248043" y="4198192"/>
                </a:lnTo>
                <a:lnTo>
                  <a:pt x="7244680" y="4196568"/>
                </a:lnTo>
                <a:lnTo>
                  <a:pt x="7245222" y="4193103"/>
                </a:lnTo>
                <a:lnTo>
                  <a:pt x="7244137" y="4189206"/>
                </a:lnTo>
                <a:lnTo>
                  <a:pt x="7247283" y="4185091"/>
                </a:lnTo>
                <a:lnTo>
                  <a:pt x="7246633" y="4180977"/>
                </a:lnTo>
                <a:lnTo>
                  <a:pt x="7249889" y="4176971"/>
                </a:lnTo>
                <a:close/>
                <a:moveTo>
                  <a:pt x="2302287" y="4154558"/>
                </a:moveTo>
                <a:lnTo>
                  <a:pt x="2304675" y="4156940"/>
                </a:lnTo>
                <a:lnTo>
                  <a:pt x="2303047" y="4159538"/>
                </a:lnTo>
                <a:lnTo>
                  <a:pt x="2298924" y="4156074"/>
                </a:lnTo>
                <a:close/>
                <a:moveTo>
                  <a:pt x="7323030" y="4153368"/>
                </a:moveTo>
                <a:lnTo>
                  <a:pt x="7321293" y="4155425"/>
                </a:lnTo>
                <a:lnTo>
                  <a:pt x="7318797" y="4153693"/>
                </a:lnTo>
                <a:close/>
                <a:moveTo>
                  <a:pt x="2279283" y="4141133"/>
                </a:moveTo>
                <a:lnTo>
                  <a:pt x="2284492" y="4141241"/>
                </a:lnTo>
                <a:lnTo>
                  <a:pt x="2288941" y="4143190"/>
                </a:lnTo>
                <a:lnTo>
                  <a:pt x="2293064" y="4149145"/>
                </a:lnTo>
                <a:lnTo>
                  <a:pt x="2292847" y="4155533"/>
                </a:lnTo>
                <a:lnTo>
                  <a:pt x="2293824" y="4157265"/>
                </a:lnTo>
                <a:lnTo>
                  <a:pt x="2293824" y="4161920"/>
                </a:lnTo>
                <a:lnTo>
                  <a:pt x="2288507" y="4160405"/>
                </a:lnTo>
                <a:lnTo>
                  <a:pt x="2294150" y="4164411"/>
                </a:lnTo>
                <a:lnTo>
                  <a:pt x="2295885" y="4166684"/>
                </a:lnTo>
                <a:lnTo>
                  <a:pt x="2295777" y="4167767"/>
                </a:lnTo>
                <a:lnTo>
                  <a:pt x="2291111" y="4165169"/>
                </a:lnTo>
                <a:lnTo>
                  <a:pt x="2288398" y="4165385"/>
                </a:lnTo>
                <a:lnTo>
                  <a:pt x="2288724" y="4168092"/>
                </a:lnTo>
                <a:lnTo>
                  <a:pt x="2294041" y="4173397"/>
                </a:lnTo>
                <a:lnTo>
                  <a:pt x="2291979" y="4175455"/>
                </a:lnTo>
                <a:lnTo>
                  <a:pt x="2297188" y="4180326"/>
                </a:lnTo>
                <a:lnTo>
                  <a:pt x="2296212" y="4181301"/>
                </a:lnTo>
                <a:lnTo>
                  <a:pt x="2291437" y="4179677"/>
                </a:lnTo>
                <a:lnTo>
                  <a:pt x="2289484" y="4183141"/>
                </a:lnTo>
                <a:lnTo>
                  <a:pt x="2289917" y="4188122"/>
                </a:lnTo>
                <a:lnTo>
                  <a:pt x="2289917" y="4190179"/>
                </a:lnTo>
                <a:lnTo>
                  <a:pt x="2281996" y="4190937"/>
                </a:lnTo>
                <a:lnTo>
                  <a:pt x="2276462" y="4188555"/>
                </a:lnTo>
                <a:lnTo>
                  <a:pt x="2278849" y="4183358"/>
                </a:lnTo>
                <a:lnTo>
                  <a:pt x="2277872" y="4168741"/>
                </a:lnTo>
                <a:lnTo>
                  <a:pt x="2275919" y="4162787"/>
                </a:lnTo>
                <a:lnTo>
                  <a:pt x="2274508" y="4161488"/>
                </a:lnTo>
                <a:lnTo>
                  <a:pt x="2273315" y="4158564"/>
                </a:lnTo>
                <a:lnTo>
                  <a:pt x="2274400" y="4154991"/>
                </a:lnTo>
                <a:lnTo>
                  <a:pt x="2277004" y="4152934"/>
                </a:lnTo>
                <a:lnTo>
                  <a:pt x="2277330" y="4149145"/>
                </a:lnTo>
                <a:lnTo>
                  <a:pt x="2275702" y="4146871"/>
                </a:lnTo>
                <a:lnTo>
                  <a:pt x="2275919" y="4144272"/>
                </a:lnTo>
                <a:close/>
                <a:moveTo>
                  <a:pt x="2325837" y="4136585"/>
                </a:moveTo>
                <a:lnTo>
                  <a:pt x="2325837" y="4136586"/>
                </a:lnTo>
                <a:lnTo>
                  <a:pt x="2330395" y="4138751"/>
                </a:lnTo>
                <a:lnTo>
                  <a:pt x="2331878" y="4141647"/>
                </a:lnTo>
                <a:lnTo>
                  <a:pt x="2330395" y="4138751"/>
                </a:lnTo>
                <a:close/>
                <a:moveTo>
                  <a:pt x="7297093" y="4136369"/>
                </a:moveTo>
                <a:lnTo>
                  <a:pt x="7298721" y="4138534"/>
                </a:lnTo>
                <a:lnTo>
                  <a:pt x="7297527" y="4140158"/>
                </a:lnTo>
                <a:lnTo>
                  <a:pt x="7294598" y="4137343"/>
                </a:lnTo>
                <a:close/>
                <a:moveTo>
                  <a:pt x="2323136" y="4089610"/>
                </a:moveTo>
                <a:lnTo>
                  <a:pt x="2324535" y="4091869"/>
                </a:lnTo>
                <a:lnTo>
                  <a:pt x="2324535" y="4091869"/>
                </a:lnTo>
                <a:close/>
                <a:moveTo>
                  <a:pt x="7979013" y="4042173"/>
                </a:moveTo>
                <a:lnTo>
                  <a:pt x="7981291" y="4044555"/>
                </a:lnTo>
                <a:lnTo>
                  <a:pt x="7979989" y="4045096"/>
                </a:lnTo>
                <a:lnTo>
                  <a:pt x="7979989" y="4046612"/>
                </a:lnTo>
                <a:lnTo>
                  <a:pt x="7979664" y="4050726"/>
                </a:lnTo>
                <a:lnTo>
                  <a:pt x="7980857" y="4056789"/>
                </a:lnTo>
                <a:lnTo>
                  <a:pt x="7982811" y="4060038"/>
                </a:lnTo>
                <a:lnTo>
                  <a:pt x="7981508" y="4063827"/>
                </a:lnTo>
                <a:lnTo>
                  <a:pt x="7984547" y="4065126"/>
                </a:lnTo>
                <a:lnTo>
                  <a:pt x="7986609" y="4061770"/>
                </a:lnTo>
                <a:lnTo>
                  <a:pt x="7986500" y="4059280"/>
                </a:lnTo>
                <a:lnTo>
                  <a:pt x="7988996" y="4057547"/>
                </a:lnTo>
                <a:lnTo>
                  <a:pt x="7991383" y="4057872"/>
                </a:lnTo>
                <a:lnTo>
                  <a:pt x="7989756" y="4060687"/>
                </a:lnTo>
                <a:lnTo>
                  <a:pt x="7987910" y="4060687"/>
                </a:lnTo>
                <a:lnTo>
                  <a:pt x="7988562" y="4064801"/>
                </a:lnTo>
                <a:lnTo>
                  <a:pt x="7991492" y="4063611"/>
                </a:lnTo>
                <a:lnTo>
                  <a:pt x="7994531" y="4066317"/>
                </a:lnTo>
                <a:lnTo>
                  <a:pt x="7998980" y="4067400"/>
                </a:lnTo>
                <a:lnTo>
                  <a:pt x="7999631" y="4069998"/>
                </a:lnTo>
                <a:lnTo>
                  <a:pt x="7995833" y="4071622"/>
                </a:lnTo>
                <a:lnTo>
                  <a:pt x="7994096" y="4074437"/>
                </a:lnTo>
                <a:lnTo>
                  <a:pt x="7996050" y="4074762"/>
                </a:lnTo>
                <a:lnTo>
                  <a:pt x="7998545" y="4077144"/>
                </a:lnTo>
                <a:lnTo>
                  <a:pt x="7996050" y="4079418"/>
                </a:lnTo>
                <a:lnTo>
                  <a:pt x="8000281" y="4083748"/>
                </a:lnTo>
                <a:lnTo>
                  <a:pt x="8006033" y="4081258"/>
                </a:lnTo>
                <a:lnTo>
                  <a:pt x="8008095" y="4080501"/>
                </a:lnTo>
                <a:lnTo>
                  <a:pt x="8007336" y="4084398"/>
                </a:lnTo>
                <a:lnTo>
                  <a:pt x="8009072" y="4090570"/>
                </a:lnTo>
                <a:lnTo>
                  <a:pt x="8009072" y="4097282"/>
                </a:lnTo>
                <a:lnTo>
                  <a:pt x="8007336" y="4099015"/>
                </a:lnTo>
                <a:lnTo>
                  <a:pt x="8006467" y="4104212"/>
                </a:lnTo>
                <a:lnTo>
                  <a:pt x="8002561" y="4104970"/>
                </a:lnTo>
                <a:lnTo>
                  <a:pt x="7999631" y="4103345"/>
                </a:lnTo>
                <a:lnTo>
                  <a:pt x="7999088" y="4105727"/>
                </a:lnTo>
                <a:lnTo>
                  <a:pt x="8004080" y="4109300"/>
                </a:lnTo>
                <a:lnTo>
                  <a:pt x="8003754" y="4114606"/>
                </a:lnTo>
                <a:lnTo>
                  <a:pt x="8005382" y="4118612"/>
                </a:lnTo>
                <a:lnTo>
                  <a:pt x="8004297" y="4121210"/>
                </a:lnTo>
                <a:lnTo>
                  <a:pt x="8005816" y="4124783"/>
                </a:lnTo>
                <a:lnTo>
                  <a:pt x="8004839" y="4129655"/>
                </a:lnTo>
                <a:lnTo>
                  <a:pt x="8001150" y="4130521"/>
                </a:lnTo>
                <a:lnTo>
                  <a:pt x="7998437" y="4135827"/>
                </a:lnTo>
                <a:lnTo>
                  <a:pt x="8002235" y="4138858"/>
                </a:lnTo>
                <a:lnTo>
                  <a:pt x="8000824" y="4142106"/>
                </a:lnTo>
                <a:lnTo>
                  <a:pt x="7997244" y="4144272"/>
                </a:lnTo>
                <a:lnTo>
                  <a:pt x="7997568" y="4146653"/>
                </a:lnTo>
                <a:lnTo>
                  <a:pt x="8000499" y="4146112"/>
                </a:lnTo>
                <a:lnTo>
                  <a:pt x="8004297" y="4147845"/>
                </a:lnTo>
                <a:lnTo>
                  <a:pt x="8004297" y="4150010"/>
                </a:lnTo>
                <a:lnTo>
                  <a:pt x="8009072" y="4150768"/>
                </a:lnTo>
                <a:lnTo>
                  <a:pt x="8009614" y="4154666"/>
                </a:lnTo>
                <a:lnTo>
                  <a:pt x="8012327" y="4157806"/>
                </a:lnTo>
                <a:lnTo>
                  <a:pt x="8016125" y="4156614"/>
                </a:lnTo>
                <a:lnTo>
                  <a:pt x="8016125" y="4153800"/>
                </a:lnTo>
                <a:lnTo>
                  <a:pt x="8013087" y="4149902"/>
                </a:lnTo>
                <a:lnTo>
                  <a:pt x="8012870" y="4146653"/>
                </a:lnTo>
                <a:lnTo>
                  <a:pt x="8016559" y="4143189"/>
                </a:lnTo>
                <a:lnTo>
                  <a:pt x="8015800" y="4141457"/>
                </a:lnTo>
                <a:lnTo>
                  <a:pt x="8016017" y="4136801"/>
                </a:lnTo>
                <a:lnTo>
                  <a:pt x="8012544" y="4133445"/>
                </a:lnTo>
                <a:lnTo>
                  <a:pt x="8013738" y="4131496"/>
                </a:lnTo>
                <a:lnTo>
                  <a:pt x="8017536" y="4133770"/>
                </a:lnTo>
                <a:lnTo>
                  <a:pt x="8019272" y="4132579"/>
                </a:lnTo>
                <a:lnTo>
                  <a:pt x="8020466" y="4135502"/>
                </a:lnTo>
                <a:lnTo>
                  <a:pt x="8021117" y="4140807"/>
                </a:lnTo>
                <a:lnTo>
                  <a:pt x="8023613" y="4141349"/>
                </a:lnTo>
                <a:lnTo>
                  <a:pt x="8022311" y="4144596"/>
                </a:lnTo>
                <a:lnTo>
                  <a:pt x="8021876" y="4149252"/>
                </a:lnTo>
                <a:lnTo>
                  <a:pt x="8023396" y="4151743"/>
                </a:lnTo>
                <a:lnTo>
                  <a:pt x="8023396" y="4155532"/>
                </a:lnTo>
                <a:lnTo>
                  <a:pt x="8026977" y="4163002"/>
                </a:lnTo>
                <a:lnTo>
                  <a:pt x="8026217" y="4168308"/>
                </a:lnTo>
                <a:lnTo>
                  <a:pt x="8023722" y="4170907"/>
                </a:lnTo>
                <a:lnTo>
                  <a:pt x="8025133" y="4174155"/>
                </a:lnTo>
                <a:lnTo>
                  <a:pt x="8028713" y="4179243"/>
                </a:lnTo>
                <a:lnTo>
                  <a:pt x="8031643" y="4178810"/>
                </a:lnTo>
                <a:lnTo>
                  <a:pt x="8041301" y="4188771"/>
                </a:lnTo>
                <a:lnTo>
                  <a:pt x="8045642" y="4190612"/>
                </a:lnTo>
                <a:lnTo>
                  <a:pt x="8048681" y="4189096"/>
                </a:lnTo>
                <a:lnTo>
                  <a:pt x="8054431" y="4188554"/>
                </a:lnTo>
                <a:lnTo>
                  <a:pt x="8063113" y="4179459"/>
                </a:lnTo>
                <a:lnTo>
                  <a:pt x="8068104" y="4176212"/>
                </a:lnTo>
                <a:lnTo>
                  <a:pt x="8073639" y="4177186"/>
                </a:lnTo>
                <a:lnTo>
                  <a:pt x="8073205" y="4178593"/>
                </a:lnTo>
                <a:lnTo>
                  <a:pt x="8071468" y="4179243"/>
                </a:lnTo>
                <a:lnTo>
                  <a:pt x="8073530" y="4181950"/>
                </a:lnTo>
                <a:lnTo>
                  <a:pt x="8079173" y="4183899"/>
                </a:lnTo>
                <a:lnTo>
                  <a:pt x="8079933" y="4184981"/>
                </a:lnTo>
                <a:lnTo>
                  <a:pt x="8075810" y="4187580"/>
                </a:lnTo>
                <a:lnTo>
                  <a:pt x="8072011" y="4191911"/>
                </a:lnTo>
                <a:lnTo>
                  <a:pt x="8070275" y="4197541"/>
                </a:lnTo>
                <a:lnTo>
                  <a:pt x="8070384" y="4200789"/>
                </a:lnTo>
                <a:lnTo>
                  <a:pt x="8070492" y="4204037"/>
                </a:lnTo>
                <a:lnTo>
                  <a:pt x="8064306" y="4213998"/>
                </a:lnTo>
                <a:lnTo>
                  <a:pt x="8061702" y="4217679"/>
                </a:lnTo>
                <a:lnTo>
                  <a:pt x="8059640" y="4219736"/>
                </a:lnTo>
                <a:lnTo>
                  <a:pt x="8058555" y="4218112"/>
                </a:lnTo>
                <a:lnTo>
                  <a:pt x="8054648" y="4217896"/>
                </a:lnTo>
                <a:lnTo>
                  <a:pt x="8051935" y="4220927"/>
                </a:lnTo>
                <a:lnTo>
                  <a:pt x="8048897" y="4228398"/>
                </a:lnTo>
                <a:lnTo>
                  <a:pt x="8048354" y="4233054"/>
                </a:lnTo>
                <a:lnTo>
                  <a:pt x="8053889" y="4235327"/>
                </a:lnTo>
                <a:lnTo>
                  <a:pt x="8051067" y="4236951"/>
                </a:lnTo>
                <a:lnTo>
                  <a:pt x="8047052" y="4240849"/>
                </a:lnTo>
                <a:lnTo>
                  <a:pt x="8046510" y="4237493"/>
                </a:lnTo>
                <a:lnTo>
                  <a:pt x="8047378" y="4234461"/>
                </a:lnTo>
                <a:lnTo>
                  <a:pt x="8043363" y="4234137"/>
                </a:lnTo>
                <a:lnTo>
                  <a:pt x="8035658" y="4232945"/>
                </a:lnTo>
                <a:lnTo>
                  <a:pt x="8030992" y="4234678"/>
                </a:lnTo>
                <a:lnTo>
                  <a:pt x="8020249" y="4245938"/>
                </a:lnTo>
                <a:lnTo>
                  <a:pt x="8017319" y="4246804"/>
                </a:lnTo>
                <a:lnTo>
                  <a:pt x="8014064" y="4249619"/>
                </a:lnTo>
                <a:lnTo>
                  <a:pt x="8017210" y="4249078"/>
                </a:lnTo>
                <a:lnTo>
                  <a:pt x="8021117" y="4249727"/>
                </a:lnTo>
                <a:lnTo>
                  <a:pt x="8024806" y="4253192"/>
                </a:lnTo>
                <a:lnTo>
                  <a:pt x="8022311" y="4255466"/>
                </a:lnTo>
                <a:lnTo>
                  <a:pt x="8022311" y="4257523"/>
                </a:lnTo>
                <a:lnTo>
                  <a:pt x="8017536" y="4264669"/>
                </a:lnTo>
                <a:lnTo>
                  <a:pt x="8014497" y="4273980"/>
                </a:lnTo>
                <a:lnTo>
                  <a:pt x="8009831" y="4275929"/>
                </a:lnTo>
                <a:lnTo>
                  <a:pt x="8007986" y="4278311"/>
                </a:lnTo>
                <a:lnTo>
                  <a:pt x="8007661" y="4282100"/>
                </a:lnTo>
                <a:lnTo>
                  <a:pt x="8005707" y="4284590"/>
                </a:lnTo>
                <a:lnTo>
                  <a:pt x="8002777" y="4284807"/>
                </a:lnTo>
                <a:lnTo>
                  <a:pt x="7998328" y="4287730"/>
                </a:lnTo>
                <a:lnTo>
                  <a:pt x="7990190" y="4297800"/>
                </a:lnTo>
                <a:lnTo>
                  <a:pt x="7983570" y="4305378"/>
                </a:lnTo>
                <a:lnTo>
                  <a:pt x="7976517" y="4312741"/>
                </a:lnTo>
                <a:lnTo>
                  <a:pt x="7968813" y="4318912"/>
                </a:lnTo>
                <a:lnTo>
                  <a:pt x="7960131" y="4325300"/>
                </a:lnTo>
                <a:lnTo>
                  <a:pt x="7956441" y="4325733"/>
                </a:lnTo>
                <a:lnTo>
                  <a:pt x="7955464" y="4324326"/>
                </a:lnTo>
                <a:lnTo>
                  <a:pt x="7955682" y="4320536"/>
                </a:lnTo>
                <a:lnTo>
                  <a:pt x="7954270" y="4318804"/>
                </a:lnTo>
                <a:lnTo>
                  <a:pt x="7952426" y="4319454"/>
                </a:lnTo>
                <a:lnTo>
                  <a:pt x="7951124" y="4318804"/>
                </a:lnTo>
                <a:lnTo>
                  <a:pt x="7951557" y="4316422"/>
                </a:lnTo>
                <a:lnTo>
                  <a:pt x="7951340" y="4313065"/>
                </a:lnTo>
                <a:lnTo>
                  <a:pt x="7949279" y="4312957"/>
                </a:lnTo>
                <a:lnTo>
                  <a:pt x="7948303" y="4315664"/>
                </a:lnTo>
                <a:lnTo>
                  <a:pt x="7943419" y="4314581"/>
                </a:lnTo>
                <a:lnTo>
                  <a:pt x="7942768" y="4312091"/>
                </a:lnTo>
                <a:lnTo>
                  <a:pt x="7945264" y="4309059"/>
                </a:lnTo>
                <a:lnTo>
                  <a:pt x="7952317" y="4302780"/>
                </a:lnTo>
                <a:lnTo>
                  <a:pt x="7959045" y="4295742"/>
                </a:lnTo>
                <a:lnTo>
                  <a:pt x="7968486" y="4283833"/>
                </a:lnTo>
                <a:lnTo>
                  <a:pt x="7970548" y="4279394"/>
                </a:lnTo>
                <a:lnTo>
                  <a:pt x="7970548" y="4273763"/>
                </a:lnTo>
                <a:lnTo>
                  <a:pt x="7971742" y="4272680"/>
                </a:lnTo>
                <a:lnTo>
                  <a:pt x="7971199" y="4271598"/>
                </a:lnTo>
                <a:lnTo>
                  <a:pt x="7970114" y="4261312"/>
                </a:lnTo>
                <a:lnTo>
                  <a:pt x="7967618" y="4258713"/>
                </a:lnTo>
                <a:lnTo>
                  <a:pt x="7961216" y="4256656"/>
                </a:lnTo>
                <a:lnTo>
                  <a:pt x="7957961" y="4250485"/>
                </a:lnTo>
                <a:lnTo>
                  <a:pt x="7951124" y="4246262"/>
                </a:lnTo>
                <a:lnTo>
                  <a:pt x="7947109" y="4242798"/>
                </a:lnTo>
                <a:lnTo>
                  <a:pt x="7946023" y="4235327"/>
                </a:lnTo>
                <a:lnTo>
                  <a:pt x="7947326" y="4229913"/>
                </a:lnTo>
                <a:lnTo>
                  <a:pt x="7951449" y="4225366"/>
                </a:lnTo>
                <a:lnTo>
                  <a:pt x="7960565" y="4221036"/>
                </a:lnTo>
                <a:lnTo>
                  <a:pt x="7965014" y="4220494"/>
                </a:lnTo>
                <a:lnTo>
                  <a:pt x="7969029" y="4222010"/>
                </a:lnTo>
                <a:lnTo>
                  <a:pt x="7972502" y="4221686"/>
                </a:lnTo>
                <a:lnTo>
                  <a:pt x="7975865" y="4219195"/>
                </a:lnTo>
                <a:lnTo>
                  <a:pt x="7976408" y="4215189"/>
                </a:lnTo>
                <a:lnTo>
                  <a:pt x="7979555" y="4198299"/>
                </a:lnTo>
                <a:lnTo>
                  <a:pt x="7981617" y="4193102"/>
                </a:lnTo>
                <a:lnTo>
                  <a:pt x="7984547" y="4192885"/>
                </a:lnTo>
                <a:lnTo>
                  <a:pt x="7987368" y="4191369"/>
                </a:lnTo>
                <a:lnTo>
                  <a:pt x="7984656" y="4188663"/>
                </a:lnTo>
                <a:lnTo>
                  <a:pt x="7984764" y="4186389"/>
                </a:lnTo>
                <a:lnTo>
                  <a:pt x="7986826" y="4182708"/>
                </a:lnTo>
                <a:lnTo>
                  <a:pt x="7990081" y="4182383"/>
                </a:lnTo>
                <a:lnTo>
                  <a:pt x="7991058" y="4180651"/>
                </a:lnTo>
                <a:lnTo>
                  <a:pt x="7988670" y="4178161"/>
                </a:lnTo>
                <a:lnTo>
                  <a:pt x="7989972" y="4176753"/>
                </a:lnTo>
                <a:lnTo>
                  <a:pt x="7989864" y="4172530"/>
                </a:lnTo>
                <a:lnTo>
                  <a:pt x="7992578" y="4164410"/>
                </a:lnTo>
                <a:lnTo>
                  <a:pt x="7994096" y="4161054"/>
                </a:lnTo>
                <a:lnTo>
                  <a:pt x="7992469" y="4159430"/>
                </a:lnTo>
                <a:lnTo>
                  <a:pt x="7992578" y="4157697"/>
                </a:lnTo>
                <a:lnTo>
                  <a:pt x="7997351" y="4154557"/>
                </a:lnTo>
                <a:lnTo>
                  <a:pt x="7995073" y="4152934"/>
                </a:lnTo>
                <a:lnTo>
                  <a:pt x="7994747" y="4150659"/>
                </a:lnTo>
                <a:lnTo>
                  <a:pt x="7993011" y="4147520"/>
                </a:lnTo>
                <a:lnTo>
                  <a:pt x="7991383" y="4148386"/>
                </a:lnTo>
                <a:lnTo>
                  <a:pt x="7989322" y="4147737"/>
                </a:lnTo>
                <a:lnTo>
                  <a:pt x="7986066" y="4138533"/>
                </a:lnTo>
                <a:lnTo>
                  <a:pt x="7985090" y="4131279"/>
                </a:lnTo>
                <a:lnTo>
                  <a:pt x="7987043" y="4131279"/>
                </a:lnTo>
                <a:lnTo>
                  <a:pt x="7988779" y="4134094"/>
                </a:lnTo>
                <a:lnTo>
                  <a:pt x="7990516" y="4133553"/>
                </a:lnTo>
                <a:lnTo>
                  <a:pt x="7990841" y="4131279"/>
                </a:lnTo>
                <a:lnTo>
                  <a:pt x="7992034" y="4127490"/>
                </a:lnTo>
                <a:lnTo>
                  <a:pt x="7994638" y="4122834"/>
                </a:lnTo>
                <a:lnTo>
                  <a:pt x="7994205" y="4119478"/>
                </a:lnTo>
                <a:lnTo>
                  <a:pt x="7992794" y="4119911"/>
                </a:lnTo>
                <a:lnTo>
                  <a:pt x="7993445" y="4121319"/>
                </a:lnTo>
                <a:lnTo>
                  <a:pt x="7993011" y="4123267"/>
                </a:lnTo>
                <a:lnTo>
                  <a:pt x="7990407" y="4123700"/>
                </a:lnTo>
                <a:lnTo>
                  <a:pt x="7990407" y="4119586"/>
                </a:lnTo>
                <a:lnTo>
                  <a:pt x="7988670" y="4116988"/>
                </a:lnTo>
                <a:lnTo>
                  <a:pt x="7987151" y="4118178"/>
                </a:lnTo>
                <a:lnTo>
                  <a:pt x="7988345" y="4121102"/>
                </a:lnTo>
                <a:lnTo>
                  <a:pt x="7987368" y="4125325"/>
                </a:lnTo>
                <a:lnTo>
                  <a:pt x="7984873" y="4126624"/>
                </a:lnTo>
                <a:lnTo>
                  <a:pt x="7984656" y="4121643"/>
                </a:lnTo>
                <a:lnTo>
                  <a:pt x="7984764" y="4114389"/>
                </a:lnTo>
                <a:lnTo>
                  <a:pt x="7983679" y="4102263"/>
                </a:lnTo>
                <a:lnTo>
                  <a:pt x="7980857" y="4095767"/>
                </a:lnTo>
                <a:lnTo>
                  <a:pt x="7979555" y="4089920"/>
                </a:lnTo>
                <a:lnTo>
                  <a:pt x="7982920" y="4085914"/>
                </a:lnTo>
                <a:lnTo>
                  <a:pt x="7986283" y="4084831"/>
                </a:lnTo>
                <a:lnTo>
                  <a:pt x="7981400" y="4084831"/>
                </a:lnTo>
                <a:lnTo>
                  <a:pt x="7977818" y="4087430"/>
                </a:lnTo>
                <a:lnTo>
                  <a:pt x="7976408" y="4086023"/>
                </a:lnTo>
                <a:lnTo>
                  <a:pt x="7973587" y="4076170"/>
                </a:lnTo>
                <a:lnTo>
                  <a:pt x="7974455" y="4074870"/>
                </a:lnTo>
                <a:lnTo>
                  <a:pt x="7976300" y="4074870"/>
                </a:lnTo>
                <a:lnTo>
                  <a:pt x="7978253" y="4072921"/>
                </a:lnTo>
                <a:lnTo>
                  <a:pt x="7979013" y="4064909"/>
                </a:lnTo>
                <a:lnTo>
                  <a:pt x="7978253" y="4060579"/>
                </a:lnTo>
                <a:lnTo>
                  <a:pt x="7973152" y="4048128"/>
                </a:lnTo>
                <a:lnTo>
                  <a:pt x="7970114" y="4044771"/>
                </a:lnTo>
                <a:lnTo>
                  <a:pt x="7970222" y="4043364"/>
                </a:lnTo>
                <a:lnTo>
                  <a:pt x="7976625" y="4043797"/>
                </a:lnTo>
                <a:close/>
                <a:moveTo>
                  <a:pt x="7138659" y="4024092"/>
                </a:moveTo>
                <a:lnTo>
                  <a:pt x="7137900" y="4027881"/>
                </a:lnTo>
                <a:lnTo>
                  <a:pt x="7138985" y="4030263"/>
                </a:lnTo>
                <a:lnTo>
                  <a:pt x="7141915" y="4030263"/>
                </a:lnTo>
                <a:lnTo>
                  <a:pt x="7140287" y="4032212"/>
                </a:lnTo>
                <a:lnTo>
                  <a:pt x="7144520" y="4032429"/>
                </a:lnTo>
                <a:lnTo>
                  <a:pt x="7147124" y="4031345"/>
                </a:lnTo>
                <a:lnTo>
                  <a:pt x="7150379" y="4032970"/>
                </a:lnTo>
                <a:lnTo>
                  <a:pt x="7147341" y="4035676"/>
                </a:lnTo>
                <a:lnTo>
                  <a:pt x="7138659" y="4034486"/>
                </a:lnTo>
                <a:lnTo>
                  <a:pt x="7137032" y="4036759"/>
                </a:lnTo>
                <a:lnTo>
                  <a:pt x="7134536" y="4036867"/>
                </a:lnTo>
                <a:lnTo>
                  <a:pt x="7134102" y="4038275"/>
                </a:lnTo>
                <a:lnTo>
                  <a:pt x="7131715" y="4038383"/>
                </a:lnTo>
                <a:lnTo>
                  <a:pt x="7129870" y="4036001"/>
                </a:lnTo>
                <a:lnTo>
                  <a:pt x="7126940" y="4037084"/>
                </a:lnTo>
                <a:lnTo>
                  <a:pt x="7122707" y="4036435"/>
                </a:lnTo>
                <a:lnTo>
                  <a:pt x="7120971" y="4036759"/>
                </a:lnTo>
                <a:lnTo>
                  <a:pt x="7115546" y="4036543"/>
                </a:lnTo>
                <a:lnTo>
                  <a:pt x="7112073" y="4034161"/>
                </a:lnTo>
                <a:lnTo>
                  <a:pt x="7112289" y="4031345"/>
                </a:lnTo>
                <a:lnTo>
                  <a:pt x="7117932" y="4028422"/>
                </a:lnTo>
                <a:lnTo>
                  <a:pt x="7130738" y="4024958"/>
                </a:lnTo>
                <a:lnTo>
                  <a:pt x="7134970" y="4025391"/>
                </a:lnTo>
                <a:close/>
                <a:moveTo>
                  <a:pt x="2326377" y="3999863"/>
                </a:moveTo>
                <a:lnTo>
                  <a:pt x="2326380" y="4000057"/>
                </a:lnTo>
                <a:lnTo>
                  <a:pt x="2326380" y="4000056"/>
                </a:lnTo>
                <a:close/>
                <a:moveTo>
                  <a:pt x="2333301" y="3955120"/>
                </a:moveTo>
                <a:lnTo>
                  <a:pt x="2335712" y="3959130"/>
                </a:lnTo>
                <a:lnTo>
                  <a:pt x="2335712" y="3959129"/>
                </a:lnTo>
                <a:close/>
                <a:moveTo>
                  <a:pt x="2330325" y="3950591"/>
                </a:moveTo>
                <a:lnTo>
                  <a:pt x="2330828" y="3951010"/>
                </a:lnTo>
                <a:lnTo>
                  <a:pt x="2330828" y="3951009"/>
                </a:lnTo>
                <a:close/>
                <a:moveTo>
                  <a:pt x="2331980" y="3870500"/>
                </a:moveTo>
                <a:lnTo>
                  <a:pt x="2333108" y="3872622"/>
                </a:lnTo>
                <a:lnTo>
                  <a:pt x="2333678" y="3875341"/>
                </a:lnTo>
                <a:lnTo>
                  <a:pt x="2333108" y="3872621"/>
                </a:lnTo>
                <a:close/>
                <a:moveTo>
                  <a:pt x="2606298" y="3855430"/>
                </a:moveTo>
                <a:lnTo>
                  <a:pt x="2607437" y="3864718"/>
                </a:lnTo>
                <a:lnTo>
                  <a:pt x="2609063" y="3870863"/>
                </a:lnTo>
                <a:lnTo>
                  <a:pt x="2607438" y="3864718"/>
                </a:lnTo>
                <a:close/>
                <a:moveTo>
                  <a:pt x="2608414" y="3838949"/>
                </a:moveTo>
                <a:lnTo>
                  <a:pt x="2605484" y="3844146"/>
                </a:lnTo>
                <a:lnTo>
                  <a:pt x="2607872" y="3851508"/>
                </a:lnTo>
                <a:lnTo>
                  <a:pt x="2606136" y="3854107"/>
                </a:lnTo>
                <a:lnTo>
                  <a:pt x="2606136" y="3854108"/>
                </a:lnTo>
                <a:lnTo>
                  <a:pt x="2607872" y="3851509"/>
                </a:lnTo>
                <a:lnTo>
                  <a:pt x="2605485" y="3844147"/>
                </a:lnTo>
                <a:lnTo>
                  <a:pt x="2608414" y="3838949"/>
                </a:lnTo>
                <a:close/>
                <a:moveTo>
                  <a:pt x="2610476" y="3820435"/>
                </a:moveTo>
                <a:lnTo>
                  <a:pt x="2609608" y="3831045"/>
                </a:lnTo>
                <a:lnTo>
                  <a:pt x="2607872" y="3834835"/>
                </a:lnTo>
                <a:lnTo>
                  <a:pt x="2608333" y="3838332"/>
                </a:lnTo>
                <a:lnTo>
                  <a:pt x="2607872" y="3834835"/>
                </a:lnTo>
                <a:lnTo>
                  <a:pt x="2609608" y="3831045"/>
                </a:lnTo>
                <a:close/>
                <a:moveTo>
                  <a:pt x="2667589" y="3814913"/>
                </a:moveTo>
                <a:lnTo>
                  <a:pt x="2668424" y="3815021"/>
                </a:lnTo>
                <a:lnTo>
                  <a:pt x="2673959" y="3824008"/>
                </a:lnTo>
                <a:lnTo>
                  <a:pt x="2680470" y="3826931"/>
                </a:lnTo>
                <a:lnTo>
                  <a:pt x="2686113" y="3828122"/>
                </a:lnTo>
                <a:lnTo>
                  <a:pt x="2691647" y="3833644"/>
                </a:lnTo>
                <a:lnTo>
                  <a:pt x="2691972" y="3840141"/>
                </a:lnTo>
                <a:lnTo>
                  <a:pt x="2696638" y="3839166"/>
                </a:lnTo>
                <a:lnTo>
                  <a:pt x="2705971" y="3843281"/>
                </a:lnTo>
                <a:lnTo>
                  <a:pt x="2711505" y="3850210"/>
                </a:lnTo>
                <a:lnTo>
                  <a:pt x="2717317" y="3858799"/>
                </a:lnTo>
                <a:lnTo>
                  <a:pt x="2711505" y="3850101"/>
                </a:lnTo>
                <a:lnTo>
                  <a:pt x="2705970" y="3843172"/>
                </a:lnTo>
                <a:lnTo>
                  <a:pt x="2696638" y="3839057"/>
                </a:lnTo>
                <a:lnTo>
                  <a:pt x="2691972" y="3840032"/>
                </a:lnTo>
                <a:lnTo>
                  <a:pt x="2691972" y="3833536"/>
                </a:lnTo>
                <a:lnTo>
                  <a:pt x="2686437" y="3828014"/>
                </a:lnTo>
                <a:lnTo>
                  <a:pt x="2680794" y="3826824"/>
                </a:lnTo>
                <a:lnTo>
                  <a:pt x="2674284" y="3823900"/>
                </a:lnTo>
                <a:lnTo>
                  <a:pt x="2668749" y="3814913"/>
                </a:lnTo>
                <a:close/>
                <a:moveTo>
                  <a:pt x="2611019" y="3812856"/>
                </a:moveTo>
                <a:lnTo>
                  <a:pt x="2609174" y="3816429"/>
                </a:lnTo>
                <a:lnTo>
                  <a:pt x="2609174" y="3816429"/>
                </a:lnTo>
                <a:lnTo>
                  <a:pt x="2611019" y="3812857"/>
                </a:lnTo>
                <a:close/>
                <a:moveTo>
                  <a:pt x="2649993" y="3803906"/>
                </a:moveTo>
                <a:lnTo>
                  <a:pt x="2652907" y="3810474"/>
                </a:lnTo>
                <a:lnTo>
                  <a:pt x="2658550" y="3819786"/>
                </a:lnTo>
                <a:lnTo>
                  <a:pt x="2658917" y="3819786"/>
                </a:lnTo>
                <a:lnTo>
                  <a:pt x="2653340" y="3810583"/>
                </a:lnTo>
                <a:lnTo>
                  <a:pt x="2650410" y="3804086"/>
                </a:lnTo>
                <a:close/>
                <a:moveTo>
                  <a:pt x="2620218" y="3793368"/>
                </a:moveTo>
                <a:lnTo>
                  <a:pt x="2622522" y="3794667"/>
                </a:lnTo>
                <a:lnTo>
                  <a:pt x="2622741" y="3794601"/>
                </a:lnTo>
                <a:lnTo>
                  <a:pt x="2620459" y="3793368"/>
                </a:lnTo>
                <a:close/>
                <a:moveTo>
                  <a:pt x="2635109" y="3791202"/>
                </a:moveTo>
                <a:lnTo>
                  <a:pt x="2634972" y="3791243"/>
                </a:lnTo>
                <a:lnTo>
                  <a:pt x="2639667" y="3794233"/>
                </a:lnTo>
                <a:lnTo>
                  <a:pt x="2645093" y="3801813"/>
                </a:lnTo>
                <a:lnTo>
                  <a:pt x="2646888" y="3802569"/>
                </a:lnTo>
                <a:lnTo>
                  <a:pt x="2645635" y="3802029"/>
                </a:lnTo>
                <a:lnTo>
                  <a:pt x="2640101" y="3794450"/>
                </a:lnTo>
                <a:close/>
                <a:moveTo>
                  <a:pt x="7567951" y="3781566"/>
                </a:moveTo>
                <a:lnTo>
                  <a:pt x="7569036" y="3786980"/>
                </a:lnTo>
                <a:lnTo>
                  <a:pt x="7566323" y="3790336"/>
                </a:lnTo>
                <a:close/>
                <a:moveTo>
                  <a:pt x="4571046" y="3779497"/>
                </a:moveTo>
                <a:lnTo>
                  <a:pt x="4571046" y="3783081"/>
                </a:lnTo>
                <a:lnTo>
                  <a:pt x="4574519" y="3786005"/>
                </a:lnTo>
                <a:lnTo>
                  <a:pt x="4577015" y="3789470"/>
                </a:lnTo>
                <a:lnTo>
                  <a:pt x="4582549" y="3791743"/>
                </a:lnTo>
                <a:lnTo>
                  <a:pt x="4582875" y="3791743"/>
                </a:lnTo>
                <a:lnTo>
                  <a:pt x="4586890" y="3791743"/>
                </a:lnTo>
                <a:lnTo>
                  <a:pt x="4587002" y="3791537"/>
                </a:lnTo>
                <a:lnTo>
                  <a:pt x="4582875" y="3791743"/>
                </a:lnTo>
                <a:lnTo>
                  <a:pt x="4577340" y="3789469"/>
                </a:lnTo>
                <a:lnTo>
                  <a:pt x="4574845" y="3786005"/>
                </a:lnTo>
                <a:lnTo>
                  <a:pt x="4571372" y="3783081"/>
                </a:lnTo>
                <a:close/>
                <a:moveTo>
                  <a:pt x="4610475" y="3775480"/>
                </a:moveTo>
                <a:lnTo>
                  <a:pt x="4606423" y="3778210"/>
                </a:lnTo>
                <a:lnTo>
                  <a:pt x="4603602" y="3777343"/>
                </a:lnTo>
                <a:lnTo>
                  <a:pt x="4599478" y="3778101"/>
                </a:lnTo>
                <a:lnTo>
                  <a:pt x="4596331" y="3780158"/>
                </a:lnTo>
                <a:lnTo>
                  <a:pt x="4592207" y="3781349"/>
                </a:lnTo>
                <a:lnTo>
                  <a:pt x="4592117" y="3781606"/>
                </a:lnTo>
                <a:lnTo>
                  <a:pt x="4596005" y="3780483"/>
                </a:lnTo>
                <a:lnTo>
                  <a:pt x="4599153" y="3778426"/>
                </a:lnTo>
                <a:lnTo>
                  <a:pt x="4603276" y="3777668"/>
                </a:lnTo>
                <a:lnTo>
                  <a:pt x="4606097" y="3778534"/>
                </a:lnTo>
                <a:lnTo>
                  <a:pt x="4610438" y="3775611"/>
                </a:lnTo>
                <a:close/>
                <a:moveTo>
                  <a:pt x="4615831" y="3762911"/>
                </a:moveTo>
                <a:lnTo>
                  <a:pt x="4613802" y="3764676"/>
                </a:lnTo>
                <a:lnTo>
                  <a:pt x="4609570" y="3766841"/>
                </a:lnTo>
                <a:lnTo>
                  <a:pt x="4609616" y="3767252"/>
                </a:lnTo>
                <a:lnTo>
                  <a:pt x="4613910" y="3765109"/>
                </a:lnTo>
                <a:close/>
                <a:moveTo>
                  <a:pt x="2647914" y="3744645"/>
                </a:moveTo>
                <a:lnTo>
                  <a:pt x="2640318" y="3753848"/>
                </a:lnTo>
                <a:lnTo>
                  <a:pt x="2638908" y="3757529"/>
                </a:lnTo>
                <a:lnTo>
                  <a:pt x="2639125" y="3762835"/>
                </a:lnTo>
                <a:lnTo>
                  <a:pt x="2635652" y="3763809"/>
                </a:lnTo>
                <a:lnTo>
                  <a:pt x="2633807" y="3766732"/>
                </a:lnTo>
                <a:lnTo>
                  <a:pt x="2628924" y="3775503"/>
                </a:lnTo>
                <a:lnTo>
                  <a:pt x="2625451" y="3779184"/>
                </a:lnTo>
                <a:lnTo>
                  <a:pt x="2621545" y="3785680"/>
                </a:lnTo>
                <a:lnTo>
                  <a:pt x="2621545" y="3787954"/>
                </a:lnTo>
                <a:lnTo>
                  <a:pt x="2617095" y="3790986"/>
                </a:lnTo>
                <a:lnTo>
                  <a:pt x="2616445" y="3793150"/>
                </a:lnTo>
                <a:lnTo>
                  <a:pt x="2616010" y="3794450"/>
                </a:lnTo>
                <a:lnTo>
                  <a:pt x="2613732" y="3799755"/>
                </a:lnTo>
                <a:lnTo>
                  <a:pt x="2609499" y="3805277"/>
                </a:lnTo>
                <a:lnTo>
                  <a:pt x="2609499" y="3805277"/>
                </a:lnTo>
                <a:lnTo>
                  <a:pt x="2613732" y="3799755"/>
                </a:lnTo>
                <a:lnTo>
                  <a:pt x="2616011" y="3794450"/>
                </a:lnTo>
                <a:lnTo>
                  <a:pt x="2616445" y="3793151"/>
                </a:lnTo>
                <a:lnTo>
                  <a:pt x="2616939" y="3793166"/>
                </a:lnTo>
                <a:lnTo>
                  <a:pt x="2617530" y="3791202"/>
                </a:lnTo>
                <a:lnTo>
                  <a:pt x="2621979" y="3788062"/>
                </a:lnTo>
                <a:lnTo>
                  <a:pt x="2621979" y="3785788"/>
                </a:lnTo>
                <a:lnTo>
                  <a:pt x="2625885" y="3779292"/>
                </a:lnTo>
                <a:lnTo>
                  <a:pt x="2629358" y="3775719"/>
                </a:lnTo>
                <a:lnTo>
                  <a:pt x="2634241" y="3766950"/>
                </a:lnTo>
                <a:lnTo>
                  <a:pt x="2636086" y="3764026"/>
                </a:lnTo>
                <a:lnTo>
                  <a:pt x="2639558" y="3762944"/>
                </a:lnTo>
                <a:lnTo>
                  <a:pt x="2639558" y="3757639"/>
                </a:lnTo>
                <a:lnTo>
                  <a:pt x="2640969" y="3754066"/>
                </a:lnTo>
                <a:lnTo>
                  <a:pt x="2648566" y="3744754"/>
                </a:lnTo>
                <a:lnTo>
                  <a:pt x="2648651" y="3744754"/>
                </a:lnTo>
                <a:close/>
                <a:moveTo>
                  <a:pt x="4368083" y="3743671"/>
                </a:moveTo>
                <a:lnTo>
                  <a:pt x="4368662" y="3744754"/>
                </a:lnTo>
                <a:lnTo>
                  <a:pt x="4369765" y="3744754"/>
                </a:lnTo>
                <a:lnTo>
                  <a:pt x="4369205" y="3743671"/>
                </a:lnTo>
                <a:close/>
                <a:moveTo>
                  <a:pt x="4608594" y="3741831"/>
                </a:moveTo>
                <a:lnTo>
                  <a:pt x="4604951" y="3742900"/>
                </a:lnTo>
                <a:lnTo>
                  <a:pt x="4605121" y="3743021"/>
                </a:lnTo>
                <a:lnTo>
                  <a:pt x="4608810" y="3742047"/>
                </a:lnTo>
                <a:lnTo>
                  <a:pt x="4613832" y="3745909"/>
                </a:lnTo>
                <a:lnTo>
                  <a:pt x="4613802" y="3745837"/>
                </a:lnTo>
                <a:close/>
                <a:moveTo>
                  <a:pt x="4601431" y="3740423"/>
                </a:moveTo>
                <a:lnTo>
                  <a:pt x="4600098" y="3741446"/>
                </a:lnTo>
                <a:lnTo>
                  <a:pt x="4600346" y="3741614"/>
                </a:lnTo>
                <a:lnTo>
                  <a:pt x="4601618" y="3740557"/>
                </a:lnTo>
                <a:close/>
                <a:moveTo>
                  <a:pt x="4596272" y="3739882"/>
                </a:moveTo>
                <a:lnTo>
                  <a:pt x="4597887" y="3739986"/>
                </a:lnTo>
                <a:lnTo>
                  <a:pt x="4597741" y="3739882"/>
                </a:lnTo>
                <a:close/>
                <a:moveTo>
                  <a:pt x="4594378" y="3739882"/>
                </a:moveTo>
                <a:lnTo>
                  <a:pt x="4593510" y="3741722"/>
                </a:lnTo>
                <a:lnTo>
                  <a:pt x="4590471" y="3743563"/>
                </a:lnTo>
                <a:lnTo>
                  <a:pt x="4588409" y="3745837"/>
                </a:lnTo>
                <a:lnTo>
                  <a:pt x="4579619" y="3747353"/>
                </a:lnTo>
                <a:lnTo>
                  <a:pt x="4574302" y="3752008"/>
                </a:lnTo>
                <a:lnTo>
                  <a:pt x="4572023" y="3758179"/>
                </a:lnTo>
                <a:lnTo>
                  <a:pt x="4565729" y="3763052"/>
                </a:lnTo>
                <a:lnTo>
                  <a:pt x="4562474" y="3765325"/>
                </a:lnTo>
                <a:lnTo>
                  <a:pt x="4564427" y="3769873"/>
                </a:lnTo>
                <a:lnTo>
                  <a:pt x="4567249" y="3772579"/>
                </a:lnTo>
                <a:lnTo>
                  <a:pt x="4567791" y="3775069"/>
                </a:lnTo>
                <a:lnTo>
                  <a:pt x="4570236" y="3777510"/>
                </a:lnTo>
                <a:lnTo>
                  <a:pt x="4568117" y="3775070"/>
                </a:lnTo>
                <a:lnTo>
                  <a:pt x="4567466" y="3772688"/>
                </a:lnTo>
                <a:lnTo>
                  <a:pt x="4564753" y="3769873"/>
                </a:lnTo>
                <a:lnTo>
                  <a:pt x="4562691" y="3765325"/>
                </a:lnTo>
                <a:lnTo>
                  <a:pt x="4565946" y="3763051"/>
                </a:lnTo>
                <a:lnTo>
                  <a:pt x="4572240" y="3758180"/>
                </a:lnTo>
                <a:lnTo>
                  <a:pt x="4574519" y="3752008"/>
                </a:lnTo>
                <a:lnTo>
                  <a:pt x="4579837" y="3747352"/>
                </a:lnTo>
                <a:lnTo>
                  <a:pt x="4588626" y="3745837"/>
                </a:lnTo>
                <a:lnTo>
                  <a:pt x="4590688" y="3743455"/>
                </a:lnTo>
                <a:lnTo>
                  <a:pt x="4593727" y="3741723"/>
                </a:lnTo>
                <a:lnTo>
                  <a:pt x="4594547" y="3739882"/>
                </a:lnTo>
                <a:close/>
                <a:moveTo>
                  <a:pt x="2654751" y="3738137"/>
                </a:moveTo>
                <a:lnTo>
                  <a:pt x="2654425" y="3738257"/>
                </a:lnTo>
                <a:lnTo>
                  <a:pt x="2654107" y="3743972"/>
                </a:lnTo>
                <a:lnTo>
                  <a:pt x="2654751" y="3743779"/>
                </a:lnTo>
                <a:close/>
                <a:moveTo>
                  <a:pt x="4335372" y="3727934"/>
                </a:moveTo>
                <a:lnTo>
                  <a:pt x="4334155" y="3731003"/>
                </a:lnTo>
                <a:lnTo>
                  <a:pt x="4337627" y="3738041"/>
                </a:lnTo>
                <a:lnTo>
                  <a:pt x="4338920" y="3738316"/>
                </a:lnTo>
                <a:lnTo>
                  <a:pt x="4336433" y="3733277"/>
                </a:lnTo>
                <a:lnTo>
                  <a:pt x="4338495" y="3728079"/>
                </a:lnTo>
                <a:close/>
                <a:moveTo>
                  <a:pt x="2672124" y="3725617"/>
                </a:moveTo>
                <a:lnTo>
                  <a:pt x="2672005" y="3725698"/>
                </a:lnTo>
                <a:lnTo>
                  <a:pt x="2670331" y="3728449"/>
                </a:lnTo>
                <a:lnTo>
                  <a:pt x="2670485" y="3728405"/>
                </a:lnTo>
                <a:close/>
                <a:moveTo>
                  <a:pt x="2635869" y="3724832"/>
                </a:moveTo>
                <a:lnTo>
                  <a:pt x="2637064" y="3726132"/>
                </a:lnTo>
                <a:lnTo>
                  <a:pt x="2635870" y="3724832"/>
                </a:lnTo>
                <a:close/>
                <a:moveTo>
                  <a:pt x="4331115" y="3722991"/>
                </a:moveTo>
                <a:lnTo>
                  <a:pt x="4330201" y="3723329"/>
                </a:lnTo>
                <a:lnTo>
                  <a:pt x="4331551" y="3725807"/>
                </a:lnTo>
                <a:lnTo>
                  <a:pt x="4332683" y="3725807"/>
                </a:lnTo>
                <a:close/>
                <a:moveTo>
                  <a:pt x="2687772" y="3715179"/>
                </a:moveTo>
                <a:lnTo>
                  <a:pt x="2687740" y="3715196"/>
                </a:lnTo>
                <a:lnTo>
                  <a:pt x="2686983" y="3716801"/>
                </a:lnTo>
                <a:lnTo>
                  <a:pt x="2687089" y="3716712"/>
                </a:lnTo>
                <a:close/>
                <a:moveTo>
                  <a:pt x="2351540" y="3713684"/>
                </a:moveTo>
                <a:lnTo>
                  <a:pt x="2351555" y="3714006"/>
                </a:lnTo>
                <a:lnTo>
                  <a:pt x="2353726" y="3716387"/>
                </a:lnTo>
                <a:lnTo>
                  <a:pt x="2353726" y="3716387"/>
                </a:lnTo>
                <a:lnTo>
                  <a:pt x="2351555" y="3714005"/>
                </a:lnTo>
                <a:close/>
                <a:moveTo>
                  <a:pt x="2346564" y="3701445"/>
                </a:moveTo>
                <a:lnTo>
                  <a:pt x="2346564" y="3701446"/>
                </a:lnTo>
                <a:lnTo>
                  <a:pt x="2348816" y="3703277"/>
                </a:lnTo>
                <a:close/>
                <a:moveTo>
                  <a:pt x="6608012" y="3699821"/>
                </a:moveTo>
                <a:lnTo>
                  <a:pt x="6610616" y="3707725"/>
                </a:lnTo>
                <a:lnTo>
                  <a:pt x="6608663" y="3714762"/>
                </a:lnTo>
                <a:lnTo>
                  <a:pt x="6605733" y="3705343"/>
                </a:lnTo>
                <a:close/>
                <a:moveTo>
                  <a:pt x="7574353" y="3697440"/>
                </a:moveTo>
                <a:lnTo>
                  <a:pt x="7576632" y="3697764"/>
                </a:lnTo>
                <a:lnTo>
                  <a:pt x="7577501" y="3703178"/>
                </a:lnTo>
                <a:lnTo>
                  <a:pt x="7576415" y="3709891"/>
                </a:lnTo>
                <a:lnTo>
                  <a:pt x="7571098" y="3717145"/>
                </a:lnTo>
                <a:lnTo>
                  <a:pt x="7569904" y="3726780"/>
                </a:lnTo>
                <a:lnTo>
                  <a:pt x="7571315" y="3731436"/>
                </a:lnTo>
                <a:lnTo>
                  <a:pt x="7568493" y="3730570"/>
                </a:lnTo>
                <a:lnTo>
                  <a:pt x="7566323" y="3723533"/>
                </a:lnTo>
                <a:lnTo>
                  <a:pt x="7567191" y="3718660"/>
                </a:lnTo>
                <a:lnTo>
                  <a:pt x="7567625" y="3714438"/>
                </a:lnTo>
                <a:lnTo>
                  <a:pt x="7571749" y="3709566"/>
                </a:lnTo>
                <a:lnTo>
                  <a:pt x="7574353" y="3704369"/>
                </a:lnTo>
                <a:lnTo>
                  <a:pt x="7573051" y="3701121"/>
                </a:lnTo>
                <a:close/>
                <a:moveTo>
                  <a:pt x="2593356" y="3694633"/>
                </a:moveTo>
                <a:lnTo>
                  <a:pt x="2594090" y="3697440"/>
                </a:lnTo>
                <a:lnTo>
                  <a:pt x="2590726" y="3706751"/>
                </a:lnTo>
                <a:lnTo>
                  <a:pt x="2583238" y="3714330"/>
                </a:lnTo>
                <a:lnTo>
                  <a:pt x="2581936" y="3719634"/>
                </a:lnTo>
                <a:lnTo>
                  <a:pt x="2581937" y="3719634"/>
                </a:lnTo>
                <a:lnTo>
                  <a:pt x="2583239" y="3714330"/>
                </a:lnTo>
                <a:lnTo>
                  <a:pt x="2590726" y="3706751"/>
                </a:lnTo>
                <a:lnTo>
                  <a:pt x="2594090" y="3697440"/>
                </a:lnTo>
                <a:close/>
                <a:moveTo>
                  <a:pt x="4684121" y="3692134"/>
                </a:moveTo>
                <a:lnTo>
                  <a:pt x="4684121" y="3692134"/>
                </a:lnTo>
                <a:lnTo>
                  <a:pt x="4684121" y="3692138"/>
                </a:lnTo>
                <a:close/>
                <a:moveTo>
                  <a:pt x="4659748" y="3691422"/>
                </a:moveTo>
                <a:lnTo>
                  <a:pt x="4662201" y="3695924"/>
                </a:lnTo>
                <a:lnTo>
                  <a:pt x="4662387" y="3696027"/>
                </a:lnTo>
                <a:lnTo>
                  <a:pt x="4659814" y="3691484"/>
                </a:lnTo>
                <a:close/>
                <a:moveTo>
                  <a:pt x="6611484" y="3686073"/>
                </a:moveTo>
                <a:lnTo>
                  <a:pt x="6611484" y="3692569"/>
                </a:lnTo>
                <a:cubicBezTo>
                  <a:pt x="6611484" y="3692569"/>
                  <a:pt x="6609639" y="3696900"/>
                  <a:pt x="6609639" y="3696900"/>
                </a:cubicBezTo>
                <a:close/>
                <a:moveTo>
                  <a:pt x="2698049" y="3685541"/>
                </a:moveTo>
                <a:lnTo>
                  <a:pt x="2697832" y="3690943"/>
                </a:lnTo>
                <a:lnTo>
                  <a:pt x="2698917" y="3700254"/>
                </a:lnTo>
                <a:lnTo>
                  <a:pt x="2699776" y="3708715"/>
                </a:lnTo>
                <a:lnTo>
                  <a:pt x="2700003" y="3708159"/>
                </a:lnTo>
                <a:lnTo>
                  <a:pt x="2699134" y="3699605"/>
                </a:lnTo>
                <a:lnTo>
                  <a:pt x="2698049" y="3690294"/>
                </a:lnTo>
                <a:close/>
                <a:moveTo>
                  <a:pt x="2346566" y="3680322"/>
                </a:moveTo>
                <a:lnTo>
                  <a:pt x="2346672" y="3680983"/>
                </a:lnTo>
                <a:lnTo>
                  <a:pt x="2351881" y="3687478"/>
                </a:lnTo>
                <a:lnTo>
                  <a:pt x="2351881" y="3687478"/>
                </a:lnTo>
                <a:lnTo>
                  <a:pt x="2346672" y="3680983"/>
                </a:lnTo>
                <a:close/>
                <a:moveTo>
                  <a:pt x="2676346" y="3676651"/>
                </a:moveTo>
                <a:lnTo>
                  <a:pt x="2676346" y="3676652"/>
                </a:lnTo>
                <a:lnTo>
                  <a:pt x="2676552" y="3677243"/>
                </a:lnTo>
                <a:close/>
                <a:moveTo>
                  <a:pt x="2604399" y="3674594"/>
                </a:moveTo>
                <a:lnTo>
                  <a:pt x="2602880" y="3679791"/>
                </a:lnTo>
                <a:lnTo>
                  <a:pt x="2599299" y="3685422"/>
                </a:lnTo>
                <a:lnTo>
                  <a:pt x="2595175" y="3688561"/>
                </a:lnTo>
                <a:lnTo>
                  <a:pt x="2592788" y="3692459"/>
                </a:lnTo>
                <a:lnTo>
                  <a:pt x="2592788" y="3692459"/>
                </a:lnTo>
                <a:lnTo>
                  <a:pt x="2595175" y="3688562"/>
                </a:lnTo>
                <a:lnTo>
                  <a:pt x="2599299" y="3685422"/>
                </a:lnTo>
                <a:lnTo>
                  <a:pt x="2602880" y="3679792"/>
                </a:lnTo>
                <a:lnTo>
                  <a:pt x="2604399" y="3674596"/>
                </a:lnTo>
                <a:close/>
                <a:moveTo>
                  <a:pt x="2693668" y="3672152"/>
                </a:moveTo>
                <a:lnTo>
                  <a:pt x="2693708" y="3672753"/>
                </a:lnTo>
                <a:lnTo>
                  <a:pt x="2698049" y="3682576"/>
                </a:lnTo>
                <a:lnTo>
                  <a:pt x="2698049" y="3682173"/>
                </a:lnTo>
                <a:close/>
                <a:moveTo>
                  <a:pt x="2678625" y="3665429"/>
                </a:moveTo>
                <a:lnTo>
                  <a:pt x="2678408" y="3666258"/>
                </a:lnTo>
                <a:lnTo>
                  <a:pt x="2678191" y="3669073"/>
                </a:lnTo>
                <a:lnTo>
                  <a:pt x="2682314" y="3666365"/>
                </a:lnTo>
                <a:lnTo>
                  <a:pt x="2693383" y="3667881"/>
                </a:lnTo>
                <a:lnTo>
                  <a:pt x="2693600" y="3671128"/>
                </a:lnTo>
                <a:lnTo>
                  <a:pt x="2693600" y="3667124"/>
                </a:lnTo>
                <a:lnTo>
                  <a:pt x="2682748" y="3665608"/>
                </a:lnTo>
                <a:lnTo>
                  <a:pt x="2678625" y="3668315"/>
                </a:lnTo>
                <a:close/>
                <a:moveTo>
                  <a:pt x="4527206" y="3663768"/>
                </a:moveTo>
                <a:lnTo>
                  <a:pt x="4526784" y="3663828"/>
                </a:lnTo>
                <a:lnTo>
                  <a:pt x="4526989" y="3664093"/>
                </a:lnTo>
                <a:lnTo>
                  <a:pt x="4527643" y="3664359"/>
                </a:lnTo>
                <a:close/>
                <a:moveTo>
                  <a:pt x="2679276" y="3660390"/>
                </a:moveTo>
                <a:lnTo>
                  <a:pt x="2679059" y="3660736"/>
                </a:lnTo>
                <a:lnTo>
                  <a:pt x="2679059" y="3663732"/>
                </a:lnTo>
                <a:lnTo>
                  <a:pt x="2679276" y="3662902"/>
                </a:lnTo>
                <a:close/>
                <a:moveTo>
                  <a:pt x="2342007" y="3659328"/>
                </a:moveTo>
                <a:lnTo>
                  <a:pt x="2342006" y="3659329"/>
                </a:lnTo>
                <a:lnTo>
                  <a:pt x="2346998" y="3663443"/>
                </a:lnTo>
                <a:lnTo>
                  <a:pt x="2346998" y="3663442"/>
                </a:lnTo>
                <a:close/>
                <a:moveTo>
                  <a:pt x="7529536" y="3658571"/>
                </a:moveTo>
                <a:lnTo>
                  <a:pt x="7531814" y="3660195"/>
                </a:lnTo>
                <a:lnTo>
                  <a:pt x="7534745" y="3660520"/>
                </a:lnTo>
                <a:lnTo>
                  <a:pt x="7534310" y="3663551"/>
                </a:lnTo>
                <a:lnTo>
                  <a:pt x="7536155" y="3665717"/>
                </a:lnTo>
                <a:lnTo>
                  <a:pt x="7535179" y="3669939"/>
                </a:lnTo>
                <a:lnTo>
                  <a:pt x="7532791" y="3665717"/>
                </a:lnTo>
                <a:lnTo>
                  <a:pt x="7528451" y="3659761"/>
                </a:lnTo>
                <a:close/>
                <a:moveTo>
                  <a:pt x="4490785" y="3656504"/>
                </a:moveTo>
                <a:lnTo>
                  <a:pt x="4491287" y="3657163"/>
                </a:lnTo>
                <a:lnTo>
                  <a:pt x="4491346" y="3657163"/>
                </a:lnTo>
                <a:lnTo>
                  <a:pt x="4490852" y="3656513"/>
                </a:lnTo>
                <a:close/>
                <a:moveTo>
                  <a:pt x="4410212" y="3649570"/>
                </a:moveTo>
                <a:lnTo>
                  <a:pt x="4412287" y="3655214"/>
                </a:lnTo>
                <a:lnTo>
                  <a:pt x="4418472" y="3668640"/>
                </a:lnTo>
                <a:lnTo>
                  <a:pt x="4418472" y="3675136"/>
                </a:lnTo>
                <a:lnTo>
                  <a:pt x="4415000" y="3682823"/>
                </a:lnTo>
                <a:lnTo>
                  <a:pt x="4415000" y="3687370"/>
                </a:lnTo>
                <a:lnTo>
                  <a:pt x="4417189" y="3687074"/>
                </a:lnTo>
                <a:lnTo>
                  <a:pt x="4417278" y="3685206"/>
                </a:lnTo>
                <a:lnTo>
                  <a:pt x="4420750" y="3677518"/>
                </a:lnTo>
                <a:lnTo>
                  <a:pt x="4420859" y="3671022"/>
                </a:lnTo>
                <a:lnTo>
                  <a:pt x="4414674" y="3657596"/>
                </a:lnTo>
                <a:lnTo>
                  <a:pt x="4412286" y="3651100"/>
                </a:lnTo>
                <a:close/>
                <a:moveTo>
                  <a:pt x="2681545" y="3634320"/>
                </a:moveTo>
                <a:lnTo>
                  <a:pt x="2681229" y="3634860"/>
                </a:lnTo>
                <a:lnTo>
                  <a:pt x="2680578" y="3657269"/>
                </a:lnTo>
                <a:lnTo>
                  <a:pt x="2680903" y="3656405"/>
                </a:lnTo>
                <a:close/>
                <a:moveTo>
                  <a:pt x="7521722" y="3623274"/>
                </a:moveTo>
                <a:lnTo>
                  <a:pt x="7522265" y="3625981"/>
                </a:lnTo>
                <a:lnTo>
                  <a:pt x="7519769" y="3625331"/>
                </a:lnTo>
                <a:close/>
                <a:moveTo>
                  <a:pt x="2444228" y="3591442"/>
                </a:moveTo>
                <a:lnTo>
                  <a:pt x="2441515" y="3595990"/>
                </a:lnTo>
                <a:lnTo>
                  <a:pt x="2444228" y="3591442"/>
                </a:lnTo>
                <a:close/>
                <a:moveTo>
                  <a:pt x="2429677" y="3583645"/>
                </a:moveTo>
                <a:lnTo>
                  <a:pt x="2433594" y="3584297"/>
                </a:lnTo>
                <a:lnTo>
                  <a:pt x="2434571" y="3590468"/>
                </a:lnTo>
                <a:lnTo>
                  <a:pt x="2433594" y="3584296"/>
                </a:lnTo>
                <a:close/>
                <a:moveTo>
                  <a:pt x="2448026" y="3581482"/>
                </a:moveTo>
                <a:lnTo>
                  <a:pt x="2444228" y="3587003"/>
                </a:lnTo>
                <a:lnTo>
                  <a:pt x="2444228" y="3587003"/>
                </a:lnTo>
                <a:close/>
                <a:moveTo>
                  <a:pt x="2398325" y="3580399"/>
                </a:moveTo>
                <a:lnTo>
                  <a:pt x="2392140" y="3582456"/>
                </a:lnTo>
                <a:lnTo>
                  <a:pt x="2382808" y="3592092"/>
                </a:lnTo>
                <a:lnTo>
                  <a:pt x="2378684" y="3600753"/>
                </a:lnTo>
                <a:lnTo>
                  <a:pt x="2375646" y="3604543"/>
                </a:lnTo>
                <a:lnTo>
                  <a:pt x="2371739" y="3605192"/>
                </a:lnTo>
                <a:lnTo>
                  <a:pt x="2370111" y="3608332"/>
                </a:lnTo>
                <a:lnTo>
                  <a:pt x="2363492" y="3608332"/>
                </a:lnTo>
                <a:lnTo>
                  <a:pt x="2363493" y="3608333"/>
                </a:lnTo>
                <a:lnTo>
                  <a:pt x="2370112" y="3608333"/>
                </a:lnTo>
                <a:lnTo>
                  <a:pt x="2371740" y="3605194"/>
                </a:lnTo>
                <a:lnTo>
                  <a:pt x="2375646" y="3604544"/>
                </a:lnTo>
                <a:lnTo>
                  <a:pt x="2376884" y="3607099"/>
                </a:lnTo>
                <a:lnTo>
                  <a:pt x="2375646" y="3604543"/>
                </a:lnTo>
                <a:lnTo>
                  <a:pt x="2378684" y="3600754"/>
                </a:lnTo>
                <a:lnTo>
                  <a:pt x="2382808" y="3592092"/>
                </a:lnTo>
                <a:lnTo>
                  <a:pt x="2392141" y="3582456"/>
                </a:lnTo>
                <a:lnTo>
                  <a:pt x="2398325" y="3580399"/>
                </a:lnTo>
                <a:lnTo>
                  <a:pt x="2404186" y="3585596"/>
                </a:lnTo>
                <a:lnTo>
                  <a:pt x="2411131" y="3584946"/>
                </a:lnTo>
                <a:lnTo>
                  <a:pt x="2415254" y="3583864"/>
                </a:lnTo>
                <a:lnTo>
                  <a:pt x="2420463" y="3585271"/>
                </a:lnTo>
                <a:lnTo>
                  <a:pt x="2429036" y="3583539"/>
                </a:lnTo>
                <a:lnTo>
                  <a:pt x="2429036" y="3583539"/>
                </a:lnTo>
                <a:lnTo>
                  <a:pt x="2420463" y="3585271"/>
                </a:lnTo>
                <a:lnTo>
                  <a:pt x="2415254" y="3583863"/>
                </a:lnTo>
                <a:lnTo>
                  <a:pt x="2411131" y="3584946"/>
                </a:lnTo>
                <a:lnTo>
                  <a:pt x="2404185" y="3585596"/>
                </a:lnTo>
                <a:close/>
                <a:moveTo>
                  <a:pt x="4664045" y="3579209"/>
                </a:moveTo>
                <a:lnTo>
                  <a:pt x="4663668" y="3579265"/>
                </a:lnTo>
                <a:lnTo>
                  <a:pt x="4670882" y="3580724"/>
                </a:lnTo>
                <a:lnTo>
                  <a:pt x="4675440" y="3584513"/>
                </a:lnTo>
                <a:lnTo>
                  <a:pt x="4676850" y="3591010"/>
                </a:lnTo>
                <a:lnTo>
                  <a:pt x="4678261" y="3597181"/>
                </a:lnTo>
                <a:lnTo>
                  <a:pt x="4681082" y="3603027"/>
                </a:lnTo>
                <a:lnTo>
                  <a:pt x="4681082" y="3613855"/>
                </a:lnTo>
                <a:lnTo>
                  <a:pt x="4681082" y="3615263"/>
                </a:lnTo>
                <a:lnTo>
                  <a:pt x="4681082" y="3619809"/>
                </a:lnTo>
                <a:lnTo>
                  <a:pt x="4682602" y="3624357"/>
                </a:lnTo>
                <a:lnTo>
                  <a:pt x="4684012" y="3629771"/>
                </a:lnTo>
                <a:lnTo>
                  <a:pt x="4684012" y="3648393"/>
                </a:lnTo>
                <a:lnTo>
                  <a:pt x="4682275" y="3655755"/>
                </a:lnTo>
                <a:lnTo>
                  <a:pt x="4682275" y="3662685"/>
                </a:lnTo>
                <a:lnTo>
                  <a:pt x="4682275" y="3670805"/>
                </a:lnTo>
                <a:lnTo>
                  <a:pt x="4678369" y="3669073"/>
                </a:lnTo>
                <a:lnTo>
                  <a:pt x="4674571" y="3665824"/>
                </a:lnTo>
                <a:lnTo>
                  <a:pt x="4668495" y="3662360"/>
                </a:lnTo>
                <a:lnTo>
                  <a:pt x="4664370" y="3664417"/>
                </a:lnTo>
                <a:lnTo>
                  <a:pt x="4663394" y="3669073"/>
                </a:lnTo>
                <a:lnTo>
                  <a:pt x="4657534" y="3679900"/>
                </a:lnTo>
                <a:lnTo>
                  <a:pt x="4655472" y="3685638"/>
                </a:lnTo>
                <a:lnTo>
                  <a:pt x="4656883" y="3688562"/>
                </a:lnTo>
                <a:lnTo>
                  <a:pt x="4657193" y="3688845"/>
                </a:lnTo>
                <a:lnTo>
                  <a:pt x="4655907" y="3686178"/>
                </a:lnTo>
                <a:lnTo>
                  <a:pt x="4657969" y="3680441"/>
                </a:lnTo>
                <a:lnTo>
                  <a:pt x="4663828" y="3669613"/>
                </a:lnTo>
                <a:lnTo>
                  <a:pt x="4664805" y="3664958"/>
                </a:lnTo>
                <a:lnTo>
                  <a:pt x="4668929" y="3662901"/>
                </a:lnTo>
                <a:lnTo>
                  <a:pt x="4675006" y="3666366"/>
                </a:lnTo>
                <a:lnTo>
                  <a:pt x="4678804" y="3669613"/>
                </a:lnTo>
                <a:lnTo>
                  <a:pt x="4682710" y="3671346"/>
                </a:lnTo>
                <a:lnTo>
                  <a:pt x="4682927" y="3663335"/>
                </a:lnTo>
                <a:lnTo>
                  <a:pt x="4682926" y="3663387"/>
                </a:lnTo>
                <a:lnTo>
                  <a:pt x="4682927" y="3663335"/>
                </a:lnTo>
                <a:lnTo>
                  <a:pt x="4683252" y="3656406"/>
                </a:lnTo>
                <a:lnTo>
                  <a:pt x="4684988" y="3649043"/>
                </a:lnTo>
                <a:lnTo>
                  <a:pt x="4685205" y="3630421"/>
                </a:lnTo>
                <a:lnTo>
                  <a:pt x="4683795" y="3625008"/>
                </a:lnTo>
                <a:lnTo>
                  <a:pt x="4682167" y="3620460"/>
                </a:lnTo>
                <a:lnTo>
                  <a:pt x="4682058" y="3615804"/>
                </a:lnTo>
                <a:lnTo>
                  <a:pt x="4682492" y="3614505"/>
                </a:lnTo>
                <a:lnTo>
                  <a:pt x="4682275" y="3603353"/>
                </a:lnTo>
                <a:lnTo>
                  <a:pt x="4679454" y="3597506"/>
                </a:lnTo>
                <a:lnTo>
                  <a:pt x="4678043" y="3591227"/>
                </a:lnTo>
                <a:lnTo>
                  <a:pt x="4676632" y="3584731"/>
                </a:lnTo>
                <a:lnTo>
                  <a:pt x="4676624" y="3584723"/>
                </a:lnTo>
                <a:lnTo>
                  <a:pt x="4672109" y="3580968"/>
                </a:lnTo>
                <a:lnTo>
                  <a:pt x="4672075" y="3580941"/>
                </a:lnTo>
                <a:close/>
                <a:moveTo>
                  <a:pt x="4647334" y="3577585"/>
                </a:moveTo>
                <a:lnTo>
                  <a:pt x="4646330" y="3577673"/>
                </a:lnTo>
                <a:lnTo>
                  <a:pt x="4651240" y="3579966"/>
                </a:lnTo>
                <a:lnTo>
                  <a:pt x="4652868" y="3581482"/>
                </a:lnTo>
                <a:lnTo>
                  <a:pt x="4653618" y="3581178"/>
                </a:lnTo>
                <a:lnTo>
                  <a:pt x="4652434" y="3580075"/>
                </a:lnTo>
                <a:close/>
                <a:moveTo>
                  <a:pt x="4640887" y="3574463"/>
                </a:moveTo>
                <a:lnTo>
                  <a:pt x="4642451" y="3577584"/>
                </a:lnTo>
                <a:lnTo>
                  <a:pt x="4643481" y="3577584"/>
                </a:lnTo>
                <a:lnTo>
                  <a:pt x="4642016" y="3574662"/>
                </a:lnTo>
                <a:close/>
                <a:moveTo>
                  <a:pt x="4625994" y="3571996"/>
                </a:moveTo>
                <a:lnTo>
                  <a:pt x="4626389" y="3572496"/>
                </a:lnTo>
                <a:lnTo>
                  <a:pt x="4626709" y="3572865"/>
                </a:lnTo>
                <a:lnTo>
                  <a:pt x="4626390" y="3572496"/>
                </a:lnTo>
                <a:close/>
                <a:moveTo>
                  <a:pt x="4429757" y="3569138"/>
                </a:moveTo>
                <a:lnTo>
                  <a:pt x="4408488" y="3569464"/>
                </a:lnTo>
                <a:lnTo>
                  <a:pt x="4406441" y="3605854"/>
                </a:lnTo>
                <a:lnTo>
                  <a:pt x="4408488" y="3569464"/>
                </a:lnTo>
                <a:lnTo>
                  <a:pt x="4429757" y="3569139"/>
                </a:lnTo>
                <a:close/>
                <a:moveTo>
                  <a:pt x="4624762" y="3567840"/>
                </a:moveTo>
                <a:lnTo>
                  <a:pt x="4624762" y="3570438"/>
                </a:lnTo>
                <a:lnTo>
                  <a:pt x="4624762" y="3570439"/>
                </a:lnTo>
                <a:lnTo>
                  <a:pt x="4624762" y="3567841"/>
                </a:lnTo>
                <a:close/>
                <a:moveTo>
                  <a:pt x="6683432" y="3563833"/>
                </a:moveTo>
                <a:lnTo>
                  <a:pt x="6682997" y="3569138"/>
                </a:lnTo>
                <a:lnTo>
                  <a:pt x="6680393" y="3572387"/>
                </a:lnTo>
                <a:lnTo>
                  <a:pt x="6678982" y="3570005"/>
                </a:lnTo>
                <a:close/>
                <a:moveTo>
                  <a:pt x="2486649" y="3553611"/>
                </a:moveTo>
                <a:lnTo>
                  <a:pt x="2487309" y="3558636"/>
                </a:lnTo>
                <a:lnTo>
                  <a:pt x="2486767" y="3564916"/>
                </a:lnTo>
                <a:lnTo>
                  <a:pt x="2480365" y="3578017"/>
                </a:lnTo>
                <a:lnTo>
                  <a:pt x="2478520" y="3586029"/>
                </a:lnTo>
                <a:lnTo>
                  <a:pt x="2478520" y="3586029"/>
                </a:lnTo>
                <a:lnTo>
                  <a:pt x="2480365" y="3578018"/>
                </a:lnTo>
                <a:lnTo>
                  <a:pt x="2486767" y="3564918"/>
                </a:lnTo>
                <a:lnTo>
                  <a:pt x="2487310" y="3558637"/>
                </a:lnTo>
                <a:close/>
                <a:moveTo>
                  <a:pt x="2331084" y="3545819"/>
                </a:moveTo>
                <a:lnTo>
                  <a:pt x="2334193" y="3550084"/>
                </a:lnTo>
                <a:lnTo>
                  <a:pt x="2345912" y="3561128"/>
                </a:lnTo>
                <a:lnTo>
                  <a:pt x="2352743" y="3579470"/>
                </a:lnTo>
                <a:lnTo>
                  <a:pt x="2345912" y="3561127"/>
                </a:lnTo>
                <a:lnTo>
                  <a:pt x="2334193" y="3550083"/>
                </a:lnTo>
                <a:close/>
                <a:moveTo>
                  <a:pt x="5253400" y="3544238"/>
                </a:moveTo>
                <a:lnTo>
                  <a:pt x="5258284" y="3546403"/>
                </a:lnTo>
                <a:lnTo>
                  <a:pt x="5261322" y="3553224"/>
                </a:lnTo>
                <a:lnTo>
                  <a:pt x="5263926" y="3554523"/>
                </a:lnTo>
                <a:lnTo>
                  <a:pt x="5257524" y="3560045"/>
                </a:lnTo>
                <a:lnTo>
                  <a:pt x="5254703" y="3558746"/>
                </a:lnTo>
                <a:lnTo>
                  <a:pt x="5250036" y="3552466"/>
                </a:lnTo>
                <a:lnTo>
                  <a:pt x="5250579" y="3545428"/>
                </a:lnTo>
                <a:close/>
                <a:moveTo>
                  <a:pt x="4704373" y="3539317"/>
                </a:moveTo>
                <a:lnTo>
                  <a:pt x="4704087" y="3539798"/>
                </a:lnTo>
                <a:lnTo>
                  <a:pt x="4704086" y="3539901"/>
                </a:lnTo>
                <a:lnTo>
                  <a:pt x="4704087" y="3539799"/>
                </a:lnTo>
                <a:close/>
                <a:moveTo>
                  <a:pt x="4588734" y="3536875"/>
                </a:moveTo>
                <a:lnTo>
                  <a:pt x="4587541" y="3540014"/>
                </a:lnTo>
                <a:lnTo>
                  <a:pt x="4588517" y="3545536"/>
                </a:lnTo>
                <a:lnTo>
                  <a:pt x="4588842" y="3549326"/>
                </a:lnTo>
                <a:lnTo>
                  <a:pt x="4590362" y="3553224"/>
                </a:lnTo>
                <a:lnTo>
                  <a:pt x="4592283" y="3554684"/>
                </a:lnTo>
                <a:lnTo>
                  <a:pt x="4590362" y="3553224"/>
                </a:lnTo>
                <a:lnTo>
                  <a:pt x="4588843" y="3549327"/>
                </a:lnTo>
                <a:lnTo>
                  <a:pt x="4588518" y="3545537"/>
                </a:lnTo>
                <a:lnTo>
                  <a:pt x="4587541" y="3540015"/>
                </a:lnTo>
                <a:lnTo>
                  <a:pt x="4588735" y="3536875"/>
                </a:lnTo>
                <a:close/>
                <a:moveTo>
                  <a:pt x="4583461" y="3533587"/>
                </a:moveTo>
                <a:lnTo>
                  <a:pt x="4584936" y="3534168"/>
                </a:lnTo>
                <a:lnTo>
                  <a:pt x="4587870" y="3536259"/>
                </a:lnTo>
                <a:lnTo>
                  <a:pt x="4584937" y="3534168"/>
                </a:lnTo>
                <a:close/>
                <a:moveTo>
                  <a:pt x="2494689" y="3528212"/>
                </a:moveTo>
                <a:lnTo>
                  <a:pt x="2491542" y="3537091"/>
                </a:lnTo>
                <a:lnTo>
                  <a:pt x="2484054" y="3548242"/>
                </a:lnTo>
                <a:lnTo>
                  <a:pt x="2484054" y="3548243"/>
                </a:lnTo>
                <a:lnTo>
                  <a:pt x="2491542" y="3537092"/>
                </a:lnTo>
                <a:lnTo>
                  <a:pt x="2494689" y="3528213"/>
                </a:lnTo>
                <a:close/>
                <a:moveTo>
                  <a:pt x="4580053" y="3527347"/>
                </a:moveTo>
                <a:lnTo>
                  <a:pt x="4580053" y="3528646"/>
                </a:lnTo>
                <a:lnTo>
                  <a:pt x="4579836" y="3530162"/>
                </a:lnTo>
                <a:lnTo>
                  <a:pt x="4580813" y="3532543"/>
                </a:lnTo>
                <a:lnTo>
                  <a:pt x="4580813" y="3532543"/>
                </a:lnTo>
                <a:lnTo>
                  <a:pt x="4579836" y="3530162"/>
                </a:lnTo>
                <a:lnTo>
                  <a:pt x="4580053" y="3528646"/>
                </a:lnTo>
                <a:lnTo>
                  <a:pt x="4580053" y="3527347"/>
                </a:lnTo>
                <a:close/>
                <a:moveTo>
                  <a:pt x="5308200" y="3525289"/>
                </a:moveTo>
                <a:lnTo>
                  <a:pt x="5311347" y="3526913"/>
                </a:lnTo>
                <a:lnTo>
                  <a:pt x="5311890" y="3530702"/>
                </a:lnTo>
                <a:lnTo>
                  <a:pt x="5309285" y="3533084"/>
                </a:lnTo>
                <a:lnTo>
                  <a:pt x="5309828" y="3537740"/>
                </a:lnTo>
                <a:lnTo>
                  <a:pt x="5304619" y="3541204"/>
                </a:lnTo>
                <a:lnTo>
                  <a:pt x="5298108" y="3534924"/>
                </a:lnTo>
                <a:lnTo>
                  <a:pt x="5301146" y="3532435"/>
                </a:lnTo>
                <a:lnTo>
                  <a:pt x="5302123" y="3526696"/>
                </a:lnTo>
                <a:lnTo>
                  <a:pt x="5305270" y="3527021"/>
                </a:lnTo>
                <a:close/>
                <a:moveTo>
                  <a:pt x="4567583" y="3518505"/>
                </a:moveTo>
                <a:lnTo>
                  <a:pt x="4570395" y="3520201"/>
                </a:lnTo>
                <a:lnTo>
                  <a:pt x="4573435" y="3522516"/>
                </a:lnTo>
                <a:lnTo>
                  <a:pt x="4570395" y="3520201"/>
                </a:lnTo>
                <a:close/>
                <a:moveTo>
                  <a:pt x="4563791" y="3514410"/>
                </a:moveTo>
                <a:lnTo>
                  <a:pt x="4565729" y="3517386"/>
                </a:lnTo>
                <a:lnTo>
                  <a:pt x="4565729" y="3517386"/>
                </a:lnTo>
                <a:close/>
                <a:moveTo>
                  <a:pt x="7434801" y="3510781"/>
                </a:moveTo>
                <a:lnTo>
                  <a:pt x="7435452" y="3518576"/>
                </a:lnTo>
                <a:lnTo>
                  <a:pt x="7433499" y="3523340"/>
                </a:lnTo>
                <a:lnTo>
                  <a:pt x="7431220" y="3520525"/>
                </a:lnTo>
                <a:lnTo>
                  <a:pt x="7432848" y="3516627"/>
                </a:lnTo>
                <a:lnTo>
                  <a:pt x="7429375" y="3512621"/>
                </a:lnTo>
                <a:lnTo>
                  <a:pt x="7433282" y="3511647"/>
                </a:lnTo>
                <a:close/>
                <a:moveTo>
                  <a:pt x="4556939" y="3503636"/>
                </a:moveTo>
                <a:lnTo>
                  <a:pt x="4558271" y="3505852"/>
                </a:lnTo>
                <a:lnTo>
                  <a:pt x="4556939" y="3503636"/>
                </a:lnTo>
                <a:close/>
                <a:moveTo>
                  <a:pt x="4549837" y="3495794"/>
                </a:moveTo>
                <a:lnTo>
                  <a:pt x="4552056" y="3498114"/>
                </a:lnTo>
                <a:lnTo>
                  <a:pt x="4553140" y="3501578"/>
                </a:lnTo>
                <a:lnTo>
                  <a:pt x="4553141" y="3501579"/>
                </a:lnTo>
                <a:lnTo>
                  <a:pt x="4552057" y="3498114"/>
                </a:lnTo>
                <a:close/>
                <a:moveTo>
                  <a:pt x="4714287" y="3495299"/>
                </a:moveTo>
                <a:lnTo>
                  <a:pt x="4711358" y="3496381"/>
                </a:lnTo>
                <a:lnTo>
                  <a:pt x="4711358" y="3496382"/>
                </a:lnTo>
                <a:close/>
                <a:moveTo>
                  <a:pt x="4714831" y="3490535"/>
                </a:moveTo>
                <a:lnTo>
                  <a:pt x="4714797" y="3490834"/>
                </a:lnTo>
                <a:lnTo>
                  <a:pt x="4714831" y="3490536"/>
                </a:lnTo>
                <a:close/>
                <a:moveTo>
                  <a:pt x="4546413" y="3487720"/>
                </a:moveTo>
                <a:lnTo>
                  <a:pt x="4548800" y="3491725"/>
                </a:lnTo>
                <a:lnTo>
                  <a:pt x="4549777" y="3495731"/>
                </a:lnTo>
                <a:lnTo>
                  <a:pt x="4549777" y="3495732"/>
                </a:lnTo>
                <a:lnTo>
                  <a:pt x="4548800" y="3491726"/>
                </a:lnTo>
                <a:close/>
                <a:moveTo>
                  <a:pt x="4433990" y="3483388"/>
                </a:moveTo>
                <a:lnTo>
                  <a:pt x="4433990" y="3483389"/>
                </a:lnTo>
                <a:lnTo>
                  <a:pt x="4451895" y="3484147"/>
                </a:lnTo>
                <a:close/>
                <a:moveTo>
                  <a:pt x="4489890" y="3483008"/>
                </a:moveTo>
                <a:lnTo>
                  <a:pt x="4489441" y="3483605"/>
                </a:lnTo>
                <a:lnTo>
                  <a:pt x="4489212" y="3485322"/>
                </a:lnTo>
                <a:lnTo>
                  <a:pt x="4489442" y="3483605"/>
                </a:lnTo>
                <a:close/>
                <a:moveTo>
                  <a:pt x="2319052" y="3482087"/>
                </a:moveTo>
                <a:lnTo>
                  <a:pt x="2320302" y="3483280"/>
                </a:lnTo>
                <a:lnTo>
                  <a:pt x="2320302" y="3483280"/>
                </a:lnTo>
                <a:close/>
                <a:moveTo>
                  <a:pt x="4720147" y="3480249"/>
                </a:moveTo>
                <a:lnTo>
                  <a:pt x="4717379" y="3480710"/>
                </a:lnTo>
                <a:lnTo>
                  <a:pt x="4720147" y="3480250"/>
                </a:lnTo>
                <a:close/>
                <a:moveTo>
                  <a:pt x="7276040" y="3476352"/>
                </a:moveTo>
                <a:lnTo>
                  <a:pt x="7276366" y="3478951"/>
                </a:lnTo>
                <a:lnTo>
                  <a:pt x="7273870" y="3480250"/>
                </a:lnTo>
                <a:lnTo>
                  <a:pt x="7272459" y="3478084"/>
                </a:lnTo>
                <a:close/>
                <a:moveTo>
                  <a:pt x="4486295" y="3475810"/>
                </a:moveTo>
                <a:lnTo>
                  <a:pt x="4485209" y="3476351"/>
                </a:lnTo>
                <a:lnTo>
                  <a:pt x="4482062" y="3476676"/>
                </a:lnTo>
                <a:lnTo>
                  <a:pt x="4475009" y="3478841"/>
                </a:lnTo>
                <a:lnTo>
                  <a:pt x="4482063" y="3476676"/>
                </a:lnTo>
                <a:lnTo>
                  <a:pt x="4485210" y="3476351"/>
                </a:lnTo>
                <a:lnTo>
                  <a:pt x="4486295" y="3475810"/>
                </a:lnTo>
                <a:lnTo>
                  <a:pt x="4487705" y="3476784"/>
                </a:lnTo>
                <a:lnTo>
                  <a:pt x="4488471" y="3478758"/>
                </a:lnTo>
                <a:lnTo>
                  <a:pt x="4487705" y="3476784"/>
                </a:lnTo>
                <a:close/>
                <a:moveTo>
                  <a:pt x="4513423" y="3470504"/>
                </a:moveTo>
                <a:lnTo>
                  <a:pt x="4508215" y="3471154"/>
                </a:lnTo>
                <a:lnTo>
                  <a:pt x="4503440" y="3476026"/>
                </a:lnTo>
                <a:lnTo>
                  <a:pt x="4498882" y="3481764"/>
                </a:lnTo>
                <a:lnTo>
                  <a:pt x="4491069" y="3487286"/>
                </a:lnTo>
                <a:lnTo>
                  <a:pt x="4491069" y="3487286"/>
                </a:lnTo>
                <a:lnTo>
                  <a:pt x="4498882" y="3481764"/>
                </a:lnTo>
                <a:lnTo>
                  <a:pt x="4503440" y="3476027"/>
                </a:lnTo>
                <a:lnTo>
                  <a:pt x="4508215" y="3471154"/>
                </a:lnTo>
                <a:lnTo>
                  <a:pt x="4513424" y="3470505"/>
                </a:lnTo>
                <a:close/>
                <a:moveTo>
                  <a:pt x="4392345" y="3468615"/>
                </a:moveTo>
                <a:lnTo>
                  <a:pt x="4392645" y="3469313"/>
                </a:lnTo>
                <a:lnTo>
                  <a:pt x="4392645" y="3469314"/>
                </a:lnTo>
                <a:close/>
                <a:moveTo>
                  <a:pt x="4559977" y="3468122"/>
                </a:moveTo>
                <a:lnTo>
                  <a:pt x="4554659" y="3468772"/>
                </a:lnTo>
                <a:lnTo>
                  <a:pt x="4550427" y="3471695"/>
                </a:lnTo>
                <a:lnTo>
                  <a:pt x="4548148" y="3471586"/>
                </a:lnTo>
                <a:lnTo>
                  <a:pt x="4546909" y="3470575"/>
                </a:lnTo>
                <a:lnTo>
                  <a:pt x="4548150" y="3471588"/>
                </a:lnTo>
                <a:lnTo>
                  <a:pt x="4550428" y="3471696"/>
                </a:lnTo>
                <a:lnTo>
                  <a:pt x="4554660" y="3468773"/>
                </a:lnTo>
                <a:lnTo>
                  <a:pt x="4559978" y="3468123"/>
                </a:lnTo>
                <a:lnTo>
                  <a:pt x="4562365" y="3469206"/>
                </a:lnTo>
                <a:lnTo>
                  <a:pt x="4563559" y="3469097"/>
                </a:lnTo>
                <a:lnTo>
                  <a:pt x="4564969" y="3469638"/>
                </a:lnTo>
                <a:lnTo>
                  <a:pt x="4565511" y="3469963"/>
                </a:lnTo>
                <a:lnTo>
                  <a:pt x="4565511" y="3469962"/>
                </a:lnTo>
                <a:lnTo>
                  <a:pt x="4564969" y="3469638"/>
                </a:lnTo>
                <a:lnTo>
                  <a:pt x="4563558" y="3469096"/>
                </a:lnTo>
                <a:lnTo>
                  <a:pt x="4562364" y="3469205"/>
                </a:lnTo>
                <a:close/>
                <a:moveTo>
                  <a:pt x="4533400" y="3466625"/>
                </a:moveTo>
                <a:lnTo>
                  <a:pt x="4534476" y="3468880"/>
                </a:lnTo>
                <a:lnTo>
                  <a:pt x="4533825" y="3470937"/>
                </a:lnTo>
                <a:lnTo>
                  <a:pt x="4534259" y="3472670"/>
                </a:lnTo>
                <a:lnTo>
                  <a:pt x="4534476" y="3475269"/>
                </a:lnTo>
                <a:lnTo>
                  <a:pt x="4537840" y="3477867"/>
                </a:lnTo>
                <a:lnTo>
                  <a:pt x="4539576" y="3479708"/>
                </a:lnTo>
                <a:lnTo>
                  <a:pt x="4542614" y="3481657"/>
                </a:lnTo>
                <a:lnTo>
                  <a:pt x="4544568" y="3484363"/>
                </a:lnTo>
                <a:lnTo>
                  <a:pt x="4545111" y="3486853"/>
                </a:lnTo>
                <a:lnTo>
                  <a:pt x="4545111" y="3486854"/>
                </a:lnTo>
                <a:lnTo>
                  <a:pt x="4544569" y="3484364"/>
                </a:lnTo>
                <a:lnTo>
                  <a:pt x="4542615" y="3481657"/>
                </a:lnTo>
                <a:lnTo>
                  <a:pt x="4539577" y="3479708"/>
                </a:lnTo>
                <a:lnTo>
                  <a:pt x="4537841" y="3477867"/>
                </a:lnTo>
                <a:lnTo>
                  <a:pt x="4534476" y="3475269"/>
                </a:lnTo>
                <a:lnTo>
                  <a:pt x="4534260" y="3472670"/>
                </a:lnTo>
                <a:lnTo>
                  <a:pt x="4533825" y="3470938"/>
                </a:lnTo>
                <a:lnTo>
                  <a:pt x="4534476" y="3468881"/>
                </a:lnTo>
                <a:close/>
                <a:moveTo>
                  <a:pt x="4533396" y="3466616"/>
                </a:moveTo>
                <a:lnTo>
                  <a:pt x="4533396" y="3466617"/>
                </a:lnTo>
                <a:lnTo>
                  <a:pt x="4535778" y="3466824"/>
                </a:lnTo>
                <a:lnTo>
                  <a:pt x="4541421" y="3467473"/>
                </a:lnTo>
                <a:lnTo>
                  <a:pt x="4544338" y="3468928"/>
                </a:lnTo>
                <a:lnTo>
                  <a:pt x="4541420" y="3467472"/>
                </a:lnTo>
                <a:lnTo>
                  <a:pt x="4535778" y="3466823"/>
                </a:lnTo>
                <a:close/>
                <a:moveTo>
                  <a:pt x="4533282" y="3466606"/>
                </a:moveTo>
                <a:lnTo>
                  <a:pt x="4533282" y="3466607"/>
                </a:lnTo>
                <a:lnTo>
                  <a:pt x="4528290" y="3468014"/>
                </a:lnTo>
                <a:lnTo>
                  <a:pt x="4520586" y="3470721"/>
                </a:lnTo>
                <a:lnTo>
                  <a:pt x="4517547" y="3472778"/>
                </a:lnTo>
                <a:lnTo>
                  <a:pt x="4514618" y="3472345"/>
                </a:lnTo>
                <a:lnTo>
                  <a:pt x="4513602" y="3470780"/>
                </a:lnTo>
                <a:lnTo>
                  <a:pt x="4514617" y="3472345"/>
                </a:lnTo>
                <a:lnTo>
                  <a:pt x="4517547" y="3472778"/>
                </a:lnTo>
                <a:lnTo>
                  <a:pt x="4520586" y="3470721"/>
                </a:lnTo>
                <a:lnTo>
                  <a:pt x="4528291" y="3468014"/>
                </a:lnTo>
                <a:lnTo>
                  <a:pt x="4533282" y="3466607"/>
                </a:lnTo>
                <a:lnTo>
                  <a:pt x="4533287" y="3466607"/>
                </a:lnTo>
                <a:close/>
                <a:moveTo>
                  <a:pt x="2306698" y="3465702"/>
                </a:moveTo>
                <a:lnTo>
                  <a:pt x="2307715" y="3466824"/>
                </a:lnTo>
                <a:lnTo>
                  <a:pt x="2310753" y="3467257"/>
                </a:lnTo>
                <a:lnTo>
                  <a:pt x="2311295" y="3470288"/>
                </a:lnTo>
                <a:lnTo>
                  <a:pt x="2307932" y="3469530"/>
                </a:lnTo>
                <a:lnTo>
                  <a:pt x="2305544" y="3473428"/>
                </a:lnTo>
                <a:lnTo>
                  <a:pt x="2303917" y="3477650"/>
                </a:lnTo>
                <a:lnTo>
                  <a:pt x="2303917" y="3477651"/>
                </a:lnTo>
                <a:lnTo>
                  <a:pt x="2305545" y="3473429"/>
                </a:lnTo>
                <a:lnTo>
                  <a:pt x="2307932" y="3469531"/>
                </a:lnTo>
                <a:lnTo>
                  <a:pt x="2311296" y="3470288"/>
                </a:lnTo>
                <a:lnTo>
                  <a:pt x="2312380" y="3470613"/>
                </a:lnTo>
                <a:lnTo>
                  <a:pt x="2312380" y="3470612"/>
                </a:lnTo>
                <a:lnTo>
                  <a:pt x="2311295" y="3470288"/>
                </a:lnTo>
                <a:lnTo>
                  <a:pt x="2310753" y="3467256"/>
                </a:lnTo>
                <a:lnTo>
                  <a:pt x="2307714" y="3466823"/>
                </a:lnTo>
                <a:close/>
                <a:moveTo>
                  <a:pt x="4529143" y="3462226"/>
                </a:moveTo>
                <a:lnTo>
                  <a:pt x="4529810" y="3462492"/>
                </a:lnTo>
                <a:lnTo>
                  <a:pt x="4529809" y="3462491"/>
                </a:lnTo>
                <a:close/>
                <a:moveTo>
                  <a:pt x="7273761" y="3461194"/>
                </a:moveTo>
                <a:lnTo>
                  <a:pt x="7279947" y="3462710"/>
                </a:lnTo>
                <a:lnTo>
                  <a:pt x="7279730" y="3464550"/>
                </a:lnTo>
                <a:lnTo>
                  <a:pt x="7274521" y="3465308"/>
                </a:lnTo>
                <a:lnTo>
                  <a:pt x="7271699" y="3468881"/>
                </a:lnTo>
                <a:lnTo>
                  <a:pt x="7268878" y="3469855"/>
                </a:lnTo>
                <a:lnTo>
                  <a:pt x="7266817" y="3467690"/>
                </a:lnTo>
                <a:cubicBezTo>
                  <a:pt x="7267089" y="3466614"/>
                  <a:pt x="7267452" y="3465564"/>
                  <a:pt x="7267902" y="3464550"/>
                </a:cubicBezTo>
                <a:close/>
                <a:moveTo>
                  <a:pt x="4512664" y="3460327"/>
                </a:moveTo>
                <a:lnTo>
                  <a:pt x="4490201" y="3465415"/>
                </a:lnTo>
                <a:lnTo>
                  <a:pt x="4490201" y="3465416"/>
                </a:lnTo>
                <a:lnTo>
                  <a:pt x="4512664" y="3460327"/>
                </a:lnTo>
                <a:close/>
                <a:moveTo>
                  <a:pt x="4520585" y="3459135"/>
                </a:moveTo>
                <a:lnTo>
                  <a:pt x="4515159" y="3460543"/>
                </a:lnTo>
                <a:lnTo>
                  <a:pt x="4520586" y="3459136"/>
                </a:lnTo>
                <a:lnTo>
                  <a:pt x="4522214" y="3460002"/>
                </a:lnTo>
                <a:lnTo>
                  <a:pt x="4523190" y="3460002"/>
                </a:lnTo>
                <a:lnTo>
                  <a:pt x="4524818" y="3461301"/>
                </a:lnTo>
                <a:lnTo>
                  <a:pt x="4523190" y="3460001"/>
                </a:lnTo>
                <a:lnTo>
                  <a:pt x="4522213" y="3460001"/>
                </a:lnTo>
                <a:close/>
                <a:moveTo>
                  <a:pt x="4371593" y="3457729"/>
                </a:moveTo>
                <a:lnTo>
                  <a:pt x="4373980" y="3462276"/>
                </a:lnTo>
                <a:lnTo>
                  <a:pt x="4373980" y="3462276"/>
                </a:lnTo>
                <a:lnTo>
                  <a:pt x="4371593" y="3457729"/>
                </a:lnTo>
                <a:close/>
                <a:moveTo>
                  <a:pt x="4482930" y="3456754"/>
                </a:moveTo>
                <a:lnTo>
                  <a:pt x="4482931" y="3456755"/>
                </a:lnTo>
                <a:lnTo>
                  <a:pt x="4485861" y="3460220"/>
                </a:lnTo>
                <a:lnTo>
                  <a:pt x="4488791" y="3461627"/>
                </a:lnTo>
                <a:lnTo>
                  <a:pt x="4489029" y="3462268"/>
                </a:lnTo>
                <a:lnTo>
                  <a:pt x="4488790" y="3461625"/>
                </a:lnTo>
                <a:lnTo>
                  <a:pt x="4485860" y="3460218"/>
                </a:lnTo>
                <a:close/>
                <a:moveTo>
                  <a:pt x="4257107" y="3450691"/>
                </a:moveTo>
                <a:lnTo>
                  <a:pt x="4256565" y="3452856"/>
                </a:lnTo>
                <a:lnTo>
                  <a:pt x="4257108" y="3450692"/>
                </a:lnTo>
                <a:close/>
                <a:moveTo>
                  <a:pt x="4253961" y="3448093"/>
                </a:moveTo>
                <a:lnTo>
                  <a:pt x="4254204" y="3449227"/>
                </a:lnTo>
                <a:lnTo>
                  <a:pt x="4253961" y="3448094"/>
                </a:lnTo>
                <a:close/>
                <a:moveTo>
                  <a:pt x="4471781" y="3446935"/>
                </a:moveTo>
                <a:lnTo>
                  <a:pt x="4474467" y="3450151"/>
                </a:lnTo>
                <a:lnTo>
                  <a:pt x="4477613" y="3452857"/>
                </a:lnTo>
                <a:lnTo>
                  <a:pt x="4481195" y="3454265"/>
                </a:lnTo>
                <a:lnTo>
                  <a:pt x="4482798" y="3456565"/>
                </a:lnTo>
                <a:lnTo>
                  <a:pt x="4481194" y="3454264"/>
                </a:lnTo>
                <a:lnTo>
                  <a:pt x="4477612" y="3452856"/>
                </a:lnTo>
                <a:lnTo>
                  <a:pt x="4474466" y="3450149"/>
                </a:lnTo>
                <a:close/>
                <a:moveTo>
                  <a:pt x="4718638" y="3443256"/>
                </a:moveTo>
                <a:lnTo>
                  <a:pt x="4720907" y="3443438"/>
                </a:lnTo>
                <a:lnTo>
                  <a:pt x="4720907" y="3443437"/>
                </a:lnTo>
                <a:close/>
                <a:moveTo>
                  <a:pt x="5126001" y="3441055"/>
                </a:moveTo>
                <a:lnTo>
                  <a:pt x="5124699" y="3445169"/>
                </a:lnTo>
                <a:lnTo>
                  <a:pt x="5123179" y="3447984"/>
                </a:lnTo>
                <a:lnTo>
                  <a:pt x="5121118" y="3452423"/>
                </a:lnTo>
                <a:lnTo>
                  <a:pt x="5121009" y="3449283"/>
                </a:lnTo>
                <a:lnTo>
                  <a:pt x="5121334" y="3446251"/>
                </a:lnTo>
                <a:lnTo>
                  <a:pt x="5122745" y="3443870"/>
                </a:lnTo>
                <a:lnTo>
                  <a:pt x="5124156" y="3443870"/>
                </a:lnTo>
                <a:close/>
                <a:moveTo>
                  <a:pt x="7217875" y="3437807"/>
                </a:moveTo>
                <a:lnTo>
                  <a:pt x="7220479" y="3441380"/>
                </a:lnTo>
                <a:lnTo>
                  <a:pt x="7217984" y="3444628"/>
                </a:lnTo>
                <a:lnTo>
                  <a:pt x="7216356" y="3441705"/>
                </a:lnTo>
                <a:close/>
                <a:moveTo>
                  <a:pt x="6910882" y="3434992"/>
                </a:moveTo>
                <a:lnTo>
                  <a:pt x="6913269" y="3438565"/>
                </a:lnTo>
                <a:lnTo>
                  <a:pt x="6913704" y="3443653"/>
                </a:lnTo>
                <a:lnTo>
                  <a:pt x="6911316" y="3442029"/>
                </a:lnTo>
                <a:close/>
                <a:moveTo>
                  <a:pt x="4458406" y="3433476"/>
                </a:moveTo>
                <a:lnTo>
                  <a:pt x="4458407" y="3433477"/>
                </a:lnTo>
                <a:lnTo>
                  <a:pt x="4461661" y="3437375"/>
                </a:lnTo>
                <a:lnTo>
                  <a:pt x="4464483" y="3439973"/>
                </a:lnTo>
                <a:lnTo>
                  <a:pt x="4466545" y="3442572"/>
                </a:lnTo>
                <a:lnTo>
                  <a:pt x="4469583" y="3444303"/>
                </a:lnTo>
                <a:lnTo>
                  <a:pt x="4469583" y="3444303"/>
                </a:lnTo>
                <a:lnTo>
                  <a:pt x="4466544" y="3442570"/>
                </a:lnTo>
                <a:lnTo>
                  <a:pt x="4464482" y="3439972"/>
                </a:lnTo>
                <a:lnTo>
                  <a:pt x="4461660" y="3437373"/>
                </a:lnTo>
                <a:close/>
                <a:moveTo>
                  <a:pt x="2313140" y="3425356"/>
                </a:moveTo>
                <a:lnTo>
                  <a:pt x="2319977" y="3441163"/>
                </a:lnTo>
                <a:lnTo>
                  <a:pt x="2319977" y="3441163"/>
                </a:lnTo>
                <a:close/>
                <a:moveTo>
                  <a:pt x="6914897" y="3424706"/>
                </a:moveTo>
                <a:lnTo>
                  <a:pt x="6918261" y="3428928"/>
                </a:lnTo>
                <a:lnTo>
                  <a:pt x="6914355" y="3429686"/>
                </a:lnTo>
                <a:lnTo>
                  <a:pt x="6912618" y="3427304"/>
                </a:lnTo>
                <a:cubicBezTo>
                  <a:pt x="6912401" y="3427412"/>
                  <a:pt x="6914897" y="3424706"/>
                  <a:pt x="6914897" y="3424706"/>
                </a:cubicBezTo>
                <a:close/>
                <a:moveTo>
                  <a:pt x="4679454" y="3424165"/>
                </a:moveTo>
                <a:lnTo>
                  <a:pt x="4677934" y="3426547"/>
                </a:lnTo>
                <a:lnTo>
                  <a:pt x="4677935" y="3426547"/>
                </a:lnTo>
                <a:close/>
                <a:moveTo>
                  <a:pt x="4789273" y="3423841"/>
                </a:moveTo>
                <a:lnTo>
                  <a:pt x="4786018" y="3426547"/>
                </a:lnTo>
                <a:lnTo>
                  <a:pt x="4783161" y="3427370"/>
                </a:lnTo>
                <a:lnTo>
                  <a:pt x="4786017" y="3426547"/>
                </a:lnTo>
                <a:close/>
                <a:moveTo>
                  <a:pt x="4643535" y="3413662"/>
                </a:moveTo>
                <a:lnTo>
                  <a:pt x="4638652" y="3415502"/>
                </a:lnTo>
                <a:lnTo>
                  <a:pt x="4635396" y="3417018"/>
                </a:lnTo>
                <a:lnTo>
                  <a:pt x="4631598" y="3418101"/>
                </a:lnTo>
                <a:lnTo>
                  <a:pt x="4624978" y="3421565"/>
                </a:lnTo>
                <a:lnTo>
                  <a:pt x="4623025" y="3425138"/>
                </a:lnTo>
                <a:lnTo>
                  <a:pt x="4623676" y="3427304"/>
                </a:lnTo>
                <a:lnTo>
                  <a:pt x="4622482" y="3429686"/>
                </a:lnTo>
                <a:lnTo>
                  <a:pt x="4623025" y="3431852"/>
                </a:lnTo>
                <a:lnTo>
                  <a:pt x="4622591" y="3433583"/>
                </a:lnTo>
                <a:lnTo>
                  <a:pt x="4620529" y="3435208"/>
                </a:lnTo>
                <a:lnTo>
                  <a:pt x="4612499" y="3438023"/>
                </a:lnTo>
                <a:lnTo>
                  <a:pt x="4598392" y="3447550"/>
                </a:lnTo>
                <a:lnTo>
                  <a:pt x="4587106" y="3461517"/>
                </a:lnTo>
                <a:lnTo>
                  <a:pt x="4580052" y="3471695"/>
                </a:lnTo>
                <a:lnTo>
                  <a:pt x="4573541" y="3473752"/>
                </a:lnTo>
                <a:lnTo>
                  <a:pt x="4569092" y="3472778"/>
                </a:lnTo>
                <a:lnTo>
                  <a:pt x="4567302" y="3471371"/>
                </a:lnTo>
                <a:lnTo>
                  <a:pt x="4569093" y="3472779"/>
                </a:lnTo>
                <a:lnTo>
                  <a:pt x="4573542" y="3473753"/>
                </a:lnTo>
                <a:lnTo>
                  <a:pt x="4580053" y="3471696"/>
                </a:lnTo>
                <a:lnTo>
                  <a:pt x="4587107" y="3461518"/>
                </a:lnTo>
                <a:lnTo>
                  <a:pt x="4598393" y="3447552"/>
                </a:lnTo>
                <a:lnTo>
                  <a:pt x="4612500" y="3438024"/>
                </a:lnTo>
                <a:lnTo>
                  <a:pt x="4620530" y="3435208"/>
                </a:lnTo>
                <a:lnTo>
                  <a:pt x="4622592" y="3433585"/>
                </a:lnTo>
                <a:lnTo>
                  <a:pt x="4623026" y="3431852"/>
                </a:lnTo>
                <a:lnTo>
                  <a:pt x="4622483" y="3429687"/>
                </a:lnTo>
                <a:lnTo>
                  <a:pt x="4623677" y="3427304"/>
                </a:lnTo>
                <a:lnTo>
                  <a:pt x="4623026" y="3425140"/>
                </a:lnTo>
                <a:lnTo>
                  <a:pt x="4624979" y="3421567"/>
                </a:lnTo>
                <a:lnTo>
                  <a:pt x="4631598" y="3418102"/>
                </a:lnTo>
                <a:lnTo>
                  <a:pt x="4635396" y="3417019"/>
                </a:lnTo>
                <a:lnTo>
                  <a:pt x="4638652" y="3415503"/>
                </a:lnTo>
                <a:lnTo>
                  <a:pt x="4643536" y="3413663"/>
                </a:lnTo>
                <a:lnTo>
                  <a:pt x="4650047" y="3413771"/>
                </a:lnTo>
                <a:lnTo>
                  <a:pt x="4650046" y="3413770"/>
                </a:lnTo>
                <a:close/>
                <a:moveTo>
                  <a:pt x="4661451" y="3412829"/>
                </a:moveTo>
                <a:lnTo>
                  <a:pt x="4661548" y="3415069"/>
                </a:lnTo>
                <a:lnTo>
                  <a:pt x="4660680" y="3415177"/>
                </a:lnTo>
                <a:lnTo>
                  <a:pt x="4658618" y="3415502"/>
                </a:lnTo>
                <a:lnTo>
                  <a:pt x="4653736" y="3414853"/>
                </a:lnTo>
                <a:lnTo>
                  <a:pt x="4651239" y="3415177"/>
                </a:lnTo>
                <a:lnTo>
                  <a:pt x="4650483" y="3414286"/>
                </a:lnTo>
                <a:lnTo>
                  <a:pt x="4651240" y="3415179"/>
                </a:lnTo>
                <a:lnTo>
                  <a:pt x="4653736" y="3414853"/>
                </a:lnTo>
                <a:lnTo>
                  <a:pt x="4658619" y="3415503"/>
                </a:lnTo>
                <a:lnTo>
                  <a:pt x="4660681" y="3415179"/>
                </a:lnTo>
                <a:lnTo>
                  <a:pt x="4661549" y="3415070"/>
                </a:lnTo>
                <a:close/>
                <a:moveTo>
                  <a:pt x="2313182" y="3411169"/>
                </a:moveTo>
                <a:lnTo>
                  <a:pt x="2313466" y="3412472"/>
                </a:lnTo>
                <a:lnTo>
                  <a:pt x="2313939" y="3413415"/>
                </a:lnTo>
                <a:lnTo>
                  <a:pt x="2313466" y="3412471"/>
                </a:lnTo>
                <a:close/>
                <a:moveTo>
                  <a:pt x="6932369" y="3405759"/>
                </a:moveTo>
                <a:lnTo>
                  <a:pt x="6934322" y="3406083"/>
                </a:lnTo>
                <a:lnTo>
                  <a:pt x="6933780" y="3408573"/>
                </a:lnTo>
                <a:lnTo>
                  <a:pt x="6930958" y="3408248"/>
                </a:lnTo>
                <a:close/>
                <a:moveTo>
                  <a:pt x="4791334" y="3402294"/>
                </a:moveTo>
                <a:lnTo>
                  <a:pt x="4788731" y="3402619"/>
                </a:lnTo>
                <a:lnTo>
                  <a:pt x="4788731" y="3402619"/>
                </a:lnTo>
                <a:lnTo>
                  <a:pt x="4791334" y="3402295"/>
                </a:lnTo>
                <a:close/>
                <a:moveTo>
                  <a:pt x="4761710" y="3397205"/>
                </a:moveTo>
                <a:lnTo>
                  <a:pt x="4761167" y="3402619"/>
                </a:lnTo>
                <a:lnTo>
                  <a:pt x="4756175" y="3408033"/>
                </a:lnTo>
                <a:lnTo>
                  <a:pt x="4754981" y="3413446"/>
                </a:lnTo>
                <a:lnTo>
                  <a:pt x="4751834" y="3417778"/>
                </a:lnTo>
                <a:lnTo>
                  <a:pt x="4752377" y="3421784"/>
                </a:lnTo>
                <a:lnTo>
                  <a:pt x="4754439" y="3427088"/>
                </a:lnTo>
                <a:lnTo>
                  <a:pt x="4754981" y="3430878"/>
                </a:lnTo>
                <a:lnTo>
                  <a:pt x="4759105" y="3435859"/>
                </a:lnTo>
                <a:lnTo>
                  <a:pt x="4763120" y="3439648"/>
                </a:lnTo>
                <a:lnTo>
                  <a:pt x="4766158" y="3441380"/>
                </a:lnTo>
                <a:lnTo>
                  <a:pt x="4768871" y="3443545"/>
                </a:lnTo>
                <a:lnTo>
                  <a:pt x="4772019" y="3447877"/>
                </a:lnTo>
                <a:lnTo>
                  <a:pt x="4770499" y="3450800"/>
                </a:lnTo>
                <a:lnTo>
                  <a:pt x="4771693" y="3454265"/>
                </a:lnTo>
                <a:lnTo>
                  <a:pt x="4776359" y="3453182"/>
                </a:lnTo>
                <a:lnTo>
                  <a:pt x="4776359" y="3453181"/>
                </a:lnTo>
                <a:lnTo>
                  <a:pt x="4771694" y="3454264"/>
                </a:lnTo>
                <a:lnTo>
                  <a:pt x="4770500" y="3450800"/>
                </a:lnTo>
                <a:lnTo>
                  <a:pt x="4772020" y="3447877"/>
                </a:lnTo>
                <a:lnTo>
                  <a:pt x="4768872" y="3443545"/>
                </a:lnTo>
                <a:lnTo>
                  <a:pt x="4766159" y="3441380"/>
                </a:lnTo>
                <a:lnTo>
                  <a:pt x="4763121" y="3439648"/>
                </a:lnTo>
                <a:lnTo>
                  <a:pt x="4759106" y="3435858"/>
                </a:lnTo>
                <a:lnTo>
                  <a:pt x="4754983" y="3430878"/>
                </a:lnTo>
                <a:lnTo>
                  <a:pt x="4754440" y="3427088"/>
                </a:lnTo>
                <a:lnTo>
                  <a:pt x="4752378" y="3421783"/>
                </a:lnTo>
                <a:lnTo>
                  <a:pt x="4751835" y="3417777"/>
                </a:lnTo>
                <a:lnTo>
                  <a:pt x="4754983" y="3413446"/>
                </a:lnTo>
                <a:lnTo>
                  <a:pt x="4756176" y="3408033"/>
                </a:lnTo>
                <a:lnTo>
                  <a:pt x="4761168" y="3402619"/>
                </a:lnTo>
                <a:close/>
                <a:moveTo>
                  <a:pt x="7214077" y="3388436"/>
                </a:moveTo>
                <a:lnTo>
                  <a:pt x="7214186" y="3392225"/>
                </a:lnTo>
                <a:lnTo>
                  <a:pt x="7218093" y="3391142"/>
                </a:lnTo>
                <a:lnTo>
                  <a:pt x="7218636" y="3392117"/>
                </a:lnTo>
                <a:lnTo>
                  <a:pt x="7214621" y="3395907"/>
                </a:lnTo>
                <a:lnTo>
                  <a:pt x="7215706" y="3397206"/>
                </a:lnTo>
                <a:lnTo>
                  <a:pt x="7217659" y="3396773"/>
                </a:lnTo>
                <a:lnTo>
                  <a:pt x="7219396" y="3397530"/>
                </a:lnTo>
                <a:lnTo>
                  <a:pt x="7217985" y="3401213"/>
                </a:lnTo>
                <a:lnTo>
                  <a:pt x="7211691" y="3400238"/>
                </a:lnTo>
                <a:lnTo>
                  <a:pt x="7207892" y="3401645"/>
                </a:lnTo>
                <a:lnTo>
                  <a:pt x="7206265" y="3401320"/>
                </a:lnTo>
                <a:lnTo>
                  <a:pt x="7208652" y="3399263"/>
                </a:lnTo>
                <a:lnTo>
                  <a:pt x="7207025" y="3393958"/>
                </a:lnTo>
                <a:lnTo>
                  <a:pt x="7207892" y="3392983"/>
                </a:lnTo>
                <a:lnTo>
                  <a:pt x="7206916" y="3391684"/>
                </a:lnTo>
                <a:lnTo>
                  <a:pt x="7210605" y="3391901"/>
                </a:lnTo>
                <a:lnTo>
                  <a:pt x="7211365" y="3389735"/>
                </a:lnTo>
                <a:close/>
                <a:moveTo>
                  <a:pt x="4743045" y="3387678"/>
                </a:moveTo>
                <a:lnTo>
                  <a:pt x="4742483" y="3388008"/>
                </a:lnTo>
                <a:lnTo>
                  <a:pt x="4743045" y="3387678"/>
                </a:lnTo>
                <a:lnTo>
                  <a:pt x="4745975" y="3387678"/>
                </a:lnTo>
                <a:lnTo>
                  <a:pt x="4745975" y="3387678"/>
                </a:lnTo>
                <a:close/>
                <a:moveTo>
                  <a:pt x="7202792" y="3387353"/>
                </a:moveTo>
                <a:lnTo>
                  <a:pt x="7205178" y="3390601"/>
                </a:lnTo>
                <a:lnTo>
                  <a:pt x="7202465" y="3393632"/>
                </a:lnTo>
                <a:lnTo>
                  <a:pt x="7201815" y="3391250"/>
                </a:lnTo>
                <a:lnTo>
                  <a:pt x="7200513" y="3392116"/>
                </a:lnTo>
                <a:lnTo>
                  <a:pt x="7200079" y="3389951"/>
                </a:lnTo>
                <a:close/>
                <a:moveTo>
                  <a:pt x="4753029" y="3385296"/>
                </a:moveTo>
                <a:lnTo>
                  <a:pt x="4748037" y="3385512"/>
                </a:lnTo>
                <a:lnTo>
                  <a:pt x="4748037" y="3385513"/>
                </a:lnTo>
                <a:lnTo>
                  <a:pt x="4753028" y="3385296"/>
                </a:lnTo>
                <a:lnTo>
                  <a:pt x="4759430" y="3386812"/>
                </a:lnTo>
                <a:lnTo>
                  <a:pt x="4761710" y="3390601"/>
                </a:lnTo>
                <a:lnTo>
                  <a:pt x="4761710" y="3390601"/>
                </a:lnTo>
                <a:lnTo>
                  <a:pt x="4759431" y="3386811"/>
                </a:lnTo>
                <a:close/>
                <a:moveTo>
                  <a:pt x="4643100" y="3357903"/>
                </a:moveTo>
                <a:lnTo>
                  <a:pt x="4643535" y="3359310"/>
                </a:lnTo>
                <a:lnTo>
                  <a:pt x="4643101" y="3357903"/>
                </a:lnTo>
                <a:close/>
                <a:moveTo>
                  <a:pt x="5096701" y="3356821"/>
                </a:moveTo>
                <a:lnTo>
                  <a:pt x="5097786" y="3358770"/>
                </a:lnTo>
                <a:lnTo>
                  <a:pt x="5096701" y="3360069"/>
                </a:lnTo>
                <a:lnTo>
                  <a:pt x="5096159" y="3358120"/>
                </a:lnTo>
                <a:close/>
                <a:moveTo>
                  <a:pt x="5089322" y="3355955"/>
                </a:moveTo>
                <a:lnTo>
                  <a:pt x="5090190" y="3356929"/>
                </a:lnTo>
                <a:lnTo>
                  <a:pt x="5092794" y="3358445"/>
                </a:lnTo>
                <a:lnTo>
                  <a:pt x="5091818" y="3362992"/>
                </a:lnTo>
                <a:lnTo>
                  <a:pt x="5089322" y="3360718"/>
                </a:lnTo>
                <a:lnTo>
                  <a:pt x="5086067" y="3360611"/>
                </a:lnTo>
                <a:lnTo>
                  <a:pt x="5088454" y="3356929"/>
                </a:lnTo>
                <a:close/>
                <a:moveTo>
                  <a:pt x="5100608" y="3344694"/>
                </a:moveTo>
                <a:lnTo>
                  <a:pt x="5100500" y="3346318"/>
                </a:lnTo>
                <a:lnTo>
                  <a:pt x="5097678" y="3350648"/>
                </a:lnTo>
                <a:lnTo>
                  <a:pt x="5096593" y="3348700"/>
                </a:lnTo>
                <a:close/>
                <a:moveTo>
                  <a:pt x="7186624" y="3343287"/>
                </a:moveTo>
                <a:lnTo>
                  <a:pt x="7186949" y="3344694"/>
                </a:lnTo>
                <a:lnTo>
                  <a:pt x="7182717" y="3346426"/>
                </a:lnTo>
                <a:lnTo>
                  <a:pt x="7180872" y="3345019"/>
                </a:lnTo>
                <a:close/>
                <a:moveTo>
                  <a:pt x="5017049" y="3342530"/>
                </a:moveTo>
                <a:lnTo>
                  <a:pt x="5019979" y="3346211"/>
                </a:lnTo>
                <a:lnTo>
                  <a:pt x="5015530" y="3353465"/>
                </a:lnTo>
                <a:lnTo>
                  <a:pt x="5014011" y="3351408"/>
                </a:lnTo>
                <a:lnTo>
                  <a:pt x="5014879" y="3347077"/>
                </a:lnTo>
                <a:lnTo>
                  <a:pt x="5014336" y="3343179"/>
                </a:lnTo>
                <a:close/>
                <a:moveTo>
                  <a:pt x="7196498" y="3337657"/>
                </a:moveTo>
                <a:lnTo>
                  <a:pt x="7195087" y="3340256"/>
                </a:lnTo>
                <a:lnTo>
                  <a:pt x="7190963" y="3340797"/>
                </a:lnTo>
                <a:lnTo>
                  <a:pt x="7188468" y="3343288"/>
                </a:lnTo>
                <a:lnTo>
                  <a:pt x="7188034" y="3340473"/>
                </a:lnTo>
                <a:lnTo>
                  <a:pt x="7192592" y="3337873"/>
                </a:lnTo>
                <a:close/>
                <a:moveTo>
                  <a:pt x="4639737" y="3335058"/>
                </a:moveTo>
                <a:lnTo>
                  <a:pt x="4641038" y="3337331"/>
                </a:lnTo>
                <a:lnTo>
                  <a:pt x="4639845" y="3337981"/>
                </a:lnTo>
                <a:lnTo>
                  <a:pt x="4630079" y="3337872"/>
                </a:lnTo>
                <a:lnTo>
                  <a:pt x="4629250" y="3336809"/>
                </a:lnTo>
                <a:lnTo>
                  <a:pt x="4630079" y="3337873"/>
                </a:lnTo>
                <a:lnTo>
                  <a:pt x="4639845" y="3337981"/>
                </a:lnTo>
                <a:lnTo>
                  <a:pt x="4641039" y="3337331"/>
                </a:lnTo>
                <a:close/>
                <a:moveTo>
                  <a:pt x="7197366" y="3334300"/>
                </a:moveTo>
                <a:lnTo>
                  <a:pt x="7197366" y="3336573"/>
                </a:lnTo>
                <a:lnTo>
                  <a:pt x="7194544" y="3336356"/>
                </a:lnTo>
                <a:close/>
                <a:moveTo>
                  <a:pt x="4976465" y="3333434"/>
                </a:moveTo>
                <a:lnTo>
                  <a:pt x="4979177" y="3333650"/>
                </a:lnTo>
                <a:lnTo>
                  <a:pt x="4981347" y="3336573"/>
                </a:lnTo>
                <a:lnTo>
                  <a:pt x="4977115" y="3336140"/>
                </a:lnTo>
                <a:lnTo>
                  <a:pt x="4975488" y="3334517"/>
                </a:lnTo>
                <a:close/>
                <a:moveTo>
                  <a:pt x="4597632" y="3333001"/>
                </a:moveTo>
                <a:lnTo>
                  <a:pt x="4606422" y="3335924"/>
                </a:lnTo>
                <a:lnTo>
                  <a:pt x="4611739" y="3339388"/>
                </a:lnTo>
                <a:lnTo>
                  <a:pt x="4606422" y="3335924"/>
                </a:lnTo>
                <a:close/>
                <a:moveTo>
                  <a:pt x="7203226" y="3331810"/>
                </a:moveTo>
                <a:lnTo>
                  <a:pt x="7206048" y="3331810"/>
                </a:lnTo>
                <a:lnTo>
                  <a:pt x="7204528" y="3333650"/>
                </a:lnTo>
                <a:close/>
                <a:moveTo>
                  <a:pt x="4644403" y="3331485"/>
                </a:moveTo>
                <a:lnTo>
                  <a:pt x="4639194" y="3332351"/>
                </a:lnTo>
                <a:lnTo>
                  <a:pt x="4644403" y="3331485"/>
                </a:lnTo>
                <a:lnTo>
                  <a:pt x="4647441" y="3332676"/>
                </a:lnTo>
                <a:close/>
                <a:moveTo>
                  <a:pt x="5001207" y="3329103"/>
                </a:moveTo>
                <a:lnTo>
                  <a:pt x="5003595" y="3333975"/>
                </a:lnTo>
                <a:lnTo>
                  <a:pt x="5001642" y="3336249"/>
                </a:lnTo>
                <a:lnTo>
                  <a:pt x="4998603" y="3333434"/>
                </a:lnTo>
                <a:lnTo>
                  <a:pt x="4995456" y="3331918"/>
                </a:lnTo>
                <a:lnTo>
                  <a:pt x="4999146" y="3331052"/>
                </a:lnTo>
                <a:close/>
                <a:moveTo>
                  <a:pt x="7209195" y="3328887"/>
                </a:moveTo>
                <a:lnTo>
                  <a:pt x="7209629" y="3331485"/>
                </a:lnTo>
                <a:lnTo>
                  <a:pt x="7206916" y="3330078"/>
                </a:lnTo>
                <a:close/>
                <a:moveTo>
                  <a:pt x="4622284" y="3326641"/>
                </a:moveTo>
                <a:lnTo>
                  <a:pt x="4626389" y="3331161"/>
                </a:lnTo>
                <a:lnTo>
                  <a:pt x="4626710" y="3332023"/>
                </a:lnTo>
                <a:lnTo>
                  <a:pt x="4626389" y="3331160"/>
                </a:lnTo>
                <a:close/>
                <a:moveTo>
                  <a:pt x="5116668" y="3326180"/>
                </a:moveTo>
                <a:lnTo>
                  <a:pt x="5118295" y="3330943"/>
                </a:lnTo>
                <a:lnTo>
                  <a:pt x="5115908" y="3335816"/>
                </a:lnTo>
                <a:lnTo>
                  <a:pt x="5120139" y="3337657"/>
                </a:lnTo>
                <a:lnTo>
                  <a:pt x="5120682" y="3342420"/>
                </a:lnTo>
                <a:lnTo>
                  <a:pt x="5124806" y="3347726"/>
                </a:lnTo>
                <a:lnTo>
                  <a:pt x="5126650" y="3346968"/>
                </a:lnTo>
                <a:lnTo>
                  <a:pt x="5128495" y="3350649"/>
                </a:lnTo>
                <a:lnTo>
                  <a:pt x="5128930" y="3361260"/>
                </a:lnTo>
                <a:lnTo>
                  <a:pt x="5132510" y="3365915"/>
                </a:lnTo>
                <a:lnTo>
                  <a:pt x="5131968" y="3378150"/>
                </a:lnTo>
                <a:lnTo>
                  <a:pt x="5130883" y="3380748"/>
                </a:lnTo>
                <a:lnTo>
                  <a:pt x="5132402" y="3387244"/>
                </a:lnTo>
                <a:lnTo>
                  <a:pt x="5132402" y="3392441"/>
                </a:lnTo>
                <a:lnTo>
                  <a:pt x="5131100" y="3394607"/>
                </a:lnTo>
                <a:lnTo>
                  <a:pt x="5132293" y="3398938"/>
                </a:lnTo>
                <a:lnTo>
                  <a:pt x="5136960" y="3405217"/>
                </a:lnTo>
                <a:lnTo>
                  <a:pt x="5137285" y="3410089"/>
                </a:lnTo>
                <a:lnTo>
                  <a:pt x="5135549" y="3411714"/>
                </a:lnTo>
                <a:lnTo>
                  <a:pt x="5135006" y="3415936"/>
                </a:lnTo>
                <a:lnTo>
                  <a:pt x="5133704" y="3417452"/>
                </a:lnTo>
                <a:lnTo>
                  <a:pt x="5133487" y="3421566"/>
                </a:lnTo>
                <a:lnTo>
                  <a:pt x="5131751" y="3424598"/>
                </a:lnTo>
                <a:lnTo>
                  <a:pt x="5128821" y="3423948"/>
                </a:lnTo>
                <a:lnTo>
                  <a:pt x="5124697" y="3418534"/>
                </a:lnTo>
                <a:lnTo>
                  <a:pt x="5123721" y="3413554"/>
                </a:lnTo>
                <a:lnTo>
                  <a:pt x="5121334" y="3411714"/>
                </a:lnTo>
                <a:lnTo>
                  <a:pt x="5118186" y="3413230"/>
                </a:lnTo>
                <a:lnTo>
                  <a:pt x="5118295" y="3418968"/>
                </a:lnTo>
                <a:lnTo>
                  <a:pt x="5120139" y="3420159"/>
                </a:lnTo>
                <a:lnTo>
                  <a:pt x="5120465" y="3426005"/>
                </a:lnTo>
                <a:lnTo>
                  <a:pt x="5118295" y="3430120"/>
                </a:lnTo>
                <a:lnTo>
                  <a:pt x="5120248" y="3431960"/>
                </a:lnTo>
                <a:lnTo>
                  <a:pt x="5121116" y="3437807"/>
                </a:lnTo>
                <a:lnTo>
                  <a:pt x="5117644" y="3441813"/>
                </a:lnTo>
                <a:lnTo>
                  <a:pt x="5118295" y="3445170"/>
                </a:lnTo>
                <a:lnTo>
                  <a:pt x="5113303" y="3451990"/>
                </a:lnTo>
                <a:lnTo>
                  <a:pt x="5112110" y="3457945"/>
                </a:lnTo>
                <a:lnTo>
                  <a:pt x="5114171" y="3461518"/>
                </a:lnTo>
                <a:lnTo>
                  <a:pt x="5112869" y="3468556"/>
                </a:lnTo>
                <a:lnTo>
                  <a:pt x="5110698" y="3471046"/>
                </a:lnTo>
                <a:lnTo>
                  <a:pt x="5108420" y="3480790"/>
                </a:lnTo>
                <a:lnTo>
                  <a:pt x="5105707" y="3494108"/>
                </a:lnTo>
                <a:lnTo>
                  <a:pt x="5100281" y="3502661"/>
                </a:lnTo>
                <a:lnTo>
                  <a:pt x="5099521" y="3506018"/>
                </a:lnTo>
                <a:lnTo>
                  <a:pt x="5094747" y="3514787"/>
                </a:lnTo>
                <a:lnTo>
                  <a:pt x="5094747" y="3523557"/>
                </a:lnTo>
                <a:lnTo>
                  <a:pt x="5090298" y="3530053"/>
                </a:lnTo>
                <a:lnTo>
                  <a:pt x="5084112" y="3549434"/>
                </a:lnTo>
                <a:lnTo>
                  <a:pt x="5077601" y="3560911"/>
                </a:lnTo>
                <a:lnTo>
                  <a:pt x="5075539" y="3570547"/>
                </a:lnTo>
                <a:lnTo>
                  <a:pt x="5071850" y="3574228"/>
                </a:lnTo>
                <a:lnTo>
                  <a:pt x="5069354" y="3582998"/>
                </a:lnTo>
                <a:lnTo>
                  <a:pt x="5065990" y="3599022"/>
                </a:lnTo>
                <a:lnTo>
                  <a:pt x="5061541" y="3606060"/>
                </a:lnTo>
                <a:lnTo>
                  <a:pt x="5059804" y="3606060"/>
                </a:lnTo>
                <a:lnTo>
                  <a:pt x="5060347" y="3607359"/>
                </a:lnTo>
                <a:lnTo>
                  <a:pt x="5058286" y="3615262"/>
                </a:lnTo>
                <a:lnTo>
                  <a:pt x="5054921" y="3617753"/>
                </a:lnTo>
                <a:lnTo>
                  <a:pt x="5056115" y="3618727"/>
                </a:lnTo>
                <a:lnTo>
                  <a:pt x="5056549" y="3625981"/>
                </a:lnTo>
                <a:lnTo>
                  <a:pt x="5051775" y="3628905"/>
                </a:lnTo>
                <a:lnTo>
                  <a:pt x="5051557" y="3633127"/>
                </a:lnTo>
                <a:lnTo>
                  <a:pt x="5047759" y="3639299"/>
                </a:lnTo>
                <a:lnTo>
                  <a:pt x="5045263" y="3646769"/>
                </a:lnTo>
                <a:lnTo>
                  <a:pt x="5041465" y="3647311"/>
                </a:lnTo>
                <a:lnTo>
                  <a:pt x="5039295" y="3651533"/>
                </a:lnTo>
                <a:lnTo>
                  <a:pt x="5031482" y="3654565"/>
                </a:lnTo>
                <a:lnTo>
                  <a:pt x="5026816" y="3653482"/>
                </a:lnTo>
                <a:lnTo>
                  <a:pt x="5011949" y="3654890"/>
                </a:lnTo>
                <a:lnTo>
                  <a:pt x="5007283" y="3660303"/>
                </a:lnTo>
                <a:lnTo>
                  <a:pt x="5001640" y="3663660"/>
                </a:lnTo>
                <a:lnTo>
                  <a:pt x="4996540" y="3663227"/>
                </a:lnTo>
                <a:lnTo>
                  <a:pt x="4993501" y="3665175"/>
                </a:lnTo>
                <a:lnTo>
                  <a:pt x="4992199" y="3664092"/>
                </a:lnTo>
                <a:lnTo>
                  <a:pt x="4992199" y="3661927"/>
                </a:lnTo>
                <a:lnTo>
                  <a:pt x="4989160" y="3661278"/>
                </a:lnTo>
                <a:lnTo>
                  <a:pt x="4985146" y="3655972"/>
                </a:lnTo>
                <a:lnTo>
                  <a:pt x="4981347" y="3655106"/>
                </a:lnTo>
                <a:lnTo>
                  <a:pt x="4980154" y="3653482"/>
                </a:lnTo>
                <a:lnTo>
                  <a:pt x="4976789" y="3654673"/>
                </a:lnTo>
                <a:lnTo>
                  <a:pt x="4973643" y="3650992"/>
                </a:lnTo>
                <a:lnTo>
                  <a:pt x="4971581" y="3647744"/>
                </a:lnTo>
                <a:lnTo>
                  <a:pt x="4968977" y="3646336"/>
                </a:lnTo>
                <a:lnTo>
                  <a:pt x="4965829" y="3641464"/>
                </a:lnTo>
                <a:lnTo>
                  <a:pt x="4963117" y="3639840"/>
                </a:lnTo>
                <a:lnTo>
                  <a:pt x="4962791" y="3636592"/>
                </a:lnTo>
                <a:lnTo>
                  <a:pt x="4961163" y="3634535"/>
                </a:lnTo>
                <a:lnTo>
                  <a:pt x="4961814" y="3624574"/>
                </a:lnTo>
                <a:lnTo>
                  <a:pt x="4961163" y="3616778"/>
                </a:lnTo>
                <a:lnTo>
                  <a:pt x="4960837" y="3611797"/>
                </a:lnTo>
                <a:lnTo>
                  <a:pt x="4965612" y="3610715"/>
                </a:lnTo>
                <a:lnTo>
                  <a:pt x="4967132" y="3609199"/>
                </a:lnTo>
                <a:lnTo>
                  <a:pt x="4965504" y="3609633"/>
                </a:lnTo>
                <a:lnTo>
                  <a:pt x="4962465" y="3607792"/>
                </a:lnTo>
                <a:lnTo>
                  <a:pt x="4961381" y="3604436"/>
                </a:lnTo>
                <a:lnTo>
                  <a:pt x="4962357" y="3598914"/>
                </a:lnTo>
                <a:lnTo>
                  <a:pt x="4956171" y="3591552"/>
                </a:lnTo>
                <a:lnTo>
                  <a:pt x="4955955" y="3583972"/>
                </a:lnTo>
                <a:lnTo>
                  <a:pt x="4954761" y="3581049"/>
                </a:lnTo>
                <a:lnTo>
                  <a:pt x="4956388" y="3577259"/>
                </a:lnTo>
                <a:lnTo>
                  <a:pt x="4955846" y="3570980"/>
                </a:lnTo>
                <a:lnTo>
                  <a:pt x="4961055" y="3565458"/>
                </a:lnTo>
                <a:lnTo>
                  <a:pt x="4960512" y="3557771"/>
                </a:lnTo>
                <a:lnTo>
                  <a:pt x="4962249" y="3555497"/>
                </a:lnTo>
                <a:lnTo>
                  <a:pt x="4969194" y="3553873"/>
                </a:lnTo>
                <a:lnTo>
                  <a:pt x="4972015" y="3550625"/>
                </a:lnTo>
                <a:lnTo>
                  <a:pt x="4972449" y="3541747"/>
                </a:lnTo>
                <a:lnTo>
                  <a:pt x="4976789" y="3538282"/>
                </a:lnTo>
                <a:lnTo>
                  <a:pt x="4978201" y="3534168"/>
                </a:lnTo>
                <a:lnTo>
                  <a:pt x="4981022" y="3533626"/>
                </a:lnTo>
                <a:lnTo>
                  <a:pt x="4982324" y="3527455"/>
                </a:lnTo>
                <a:lnTo>
                  <a:pt x="4987099" y="3524423"/>
                </a:lnTo>
                <a:lnTo>
                  <a:pt x="4989377" y="3513380"/>
                </a:lnTo>
                <a:lnTo>
                  <a:pt x="4988292" y="3510132"/>
                </a:lnTo>
                <a:lnTo>
                  <a:pt x="4991548" y="3506884"/>
                </a:lnTo>
                <a:lnTo>
                  <a:pt x="4991440" y="3504826"/>
                </a:lnTo>
                <a:lnTo>
                  <a:pt x="4987315" y="3500171"/>
                </a:lnTo>
                <a:lnTo>
                  <a:pt x="4987750" y="3496706"/>
                </a:lnTo>
                <a:lnTo>
                  <a:pt x="4981130" y="3484039"/>
                </a:lnTo>
                <a:lnTo>
                  <a:pt x="4981456" y="3478192"/>
                </a:lnTo>
                <a:lnTo>
                  <a:pt x="4979177" y="3471262"/>
                </a:lnTo>
                <a:lnTo>
                  <a:pt x="4982324" y="3466823"/>
                </a:lnTo>
                <a:lnTo>
                  <a:pt x="4978634" y="3463792"/>
                </a:lnTo>
                <a:lnTo>
                  <a:pt x="4978634" y="3460111"/>
                </a:lnTo>
                <a:lnTo>
                  <a:pt x="4985362" y="3453073"/>
                </a:lnTo>
                <a:lnTo>
                  <a:pt x="4985146" y="3451016"/>
                </a:lnTo>
                <a:lnTo>
                  <a:pt x="4992199" y="3439972"/>
                </a:lnTo>
                <a:lnTo>
                  <a:pt x="4991331" y="3432610"/>
                </a:lnTo>
                <a:lnTo>
                  <a:pt x="4993501" y="3429254"/>
                </a:lnTo>
                <a:lnTo>
                  <a:pt x="4998384" y="3429362"/>
                </a:lnTo>
                <a:lnTo>
                  <a:pt x="5000229" y="3431203"/>
                </a:lnTo>
                <a:lnTo>
                  <a:pt x="5002725" y="3430878"/>
                </a:lnTo>
                <a:lnTo>
                  <a:pt x="5012275" y="3422216"/>
                </a:lnTo>
                <a:lnTo>
                  <a:pt x="5014661" y="3426005"/>
                </a:lnTo>
                <a:lnTo>
                  <a:pt x="5017266" y="3422216"/>
                </a:lnTo>
                <a:lnTo>
                  <a:pt x="5019654" y="3423407"/>
                </a:lnTo>
                <a:lnTo>
                  <a:pt x="5019762" y="3426980"/>
                </a:lnTo>
                <a:lnTo>
                  <a:pt x="5021390" y="3426438"/>
                </a:lnTo>
                <a:lnTo>
                  <a:pt x="5023234" y="3426872"/>
                </a:lnTo>
                <a:lnTo>
                  <a:pt x="5022475" y="3420050"/>
                </a:lnTo>
                <a:lnTo>
                  <a:pt x="5024645" y="3419834"/>
                </a:lnTo>
                <a:lnTo>
                  <a:pt x="5025839" y="3417993"/>
                </a:lnTo>
                <a:lnTo>
                  <a:pt x="5032024" y="3422324"/>
                </a:lnTo>
                <a:lnTo>
                  <a:pt x="5037559" y="3416477"/>
                </a:lnTo>
                <a:lnTo>
                  <a:pt x="5039837" y="3416802"/>
                </a:lnTo>
                <a:lnTo>
                  <a:pt x="5039729" y="3422974"/>
                </a:lnTo>
                <a:lnTo>
                  <a:pt x="5041791" y="3424706"/>
                </a:lnTo>
                <a:lnTo>
                  <a:pt x="5044721" y="3425681"/>
                </a:lnTo>
                <a:lnTo>
                  <a:pt x="5046023" y="3422758"/>
                </a:lnTo>
                <a:lnTo>
                  <a:pt x="5044938" y="3420050"/>
                </a:lnTo>
                <a:lnTo>
                  <a:pt x="5046349" y="3413121"/>
                </a:lnTo>
                <a:lnTo>
                  <a:pt x="5055138" y="3405759"/>
                </a:lnTo>
                <a:lnTo>
                  <a:pt x="5057200" y="3407275"/>
                </a:lnTo>
                <a:lnTo>
                  <a:pt x="5054921" y="3411064"/>
                </a:lnTo>
                <a:lnTo>
                  <a:pt x="5057200" y="3411497"/>
                </a:lnTo>
                <a:lnTo>
                  <a:pt x="5057742" y="3414528"/>
                </a:lnTo>
                <a:lnTo>
                  <a:pt x="5061541" y="3411930"/>
                </a:lnTo>
                <a:lnTo>
                  <a:pt x="5064579" y="3411172"/>
                </a:lnTo>
                <a:lnTo>
                  <a:pt x="5064797" y="3408791"/>
                </a:lnTo>
                <a:lnTo>
                  <a:pt x="5061649" y="3407816"/>
                </a:lnTo>
                <a:lnTo>
                  <a:pt x="5059479" y="3403269"/>
                </a:lnTo>
                <a:lnTo>
                  <a:pt x="5065122" y="3400020"/>
                </a:lnTo>
                <a:lnTo>
                  <a:pt x="5066099" y="3397963"/>
                </a:lnTo>
                <a:lnTo>
                  <a:pt x="5063277" y="3396448"/>
                </a:lnTo>
                <a:lnTo>
                  <a:pt x="5067727" y="3392225"/>
                </a:lnTo>
                <a:lnTo>
                  <a:pt x="5069463" y="3395040"/>
                </a:lnTo>
                <a:lnTo>
                  <a:pt x="5068377" y="3396556"/>
                </a:lnTo>
                <a:lnTo>
                  <a:pt x="5068377" y="3401753"/>
                </a:lnTo>
                <a:lnTo>
                  <a:pt x="5074997" y="3396231"/>
                </a:lnTo>
                <a:lnTo>
                  <a:pt x="5075865" y="3393416"/>
                </a:lnTo>
                <a:lnTo>
                  <a:pt x="5079446" y="3392009"/>
                </a:lnTo>
                <a:lnTo>
                  <a:pt x="5081725" y="3394607"/>
                </a:lnTo>
                <a:lnTo>
                  <a:pt x="5083787" y="3392116"/>
                </a:lnTo>
                <a:lnTo>
                  <a:pt x="5083136" y="3389302"/>
                </a:lnTo>
                <a:lnTo>
                  <a:pt x="5078469" y="3387895"/>
                </a:lnTo>
                <a:lnTo>
                  <a:pt x="5077276" y="3383347"/>
                </a:lnTo>
                <a:lnTo>
                  <a:pt x="5082593" y="3382372"/>
                </a:lnTo>
                <a:lnTo>
                  <a:pt x="5084980" y="3383022"/>
                </a:lnTo>
                <a:lnTo>
                  <a:pt x="5086825" y="3381398"/>
                </a:lnTo>
                <a:lnTo>
                  <a:pt x="5085632" y="3379232"/>
                </a:lnTo>
                <a:lnTo>
                  <a:pt x="5080857" y="3374469"/>
                </a:lnTo>
                <a:lnTo>
                  <a:pt x="5081291" y="3368838"/>
                </a:lnTo>
                <a:lnTo>
                  <a:pt x="5084438" y="3365915"/>
                </a:lnTo>
                <a:lnTo>
                  <a:pt x="5086608" y="3366998"/>
                </a:lnTo>
                <a:lnTo>
                  <a:pt x="5087042" y="3372087"/>
                </a:lnTo>
                <a:lnTo>
                  <a:pt x="5089646" y="3373711"/>
                </a:lnTo>
                <a:lnTo>
                  <a:pt x="5092685" y="3371437"/>
                </a:lnTo>
                <a:lnTo>
                  <a:pt x="5093228" y="3367431"/>
                </a:lnTo>
                <a:lnTo>
                  <a:pt x="5097243" y="3362992"/>
                </a:lnTo>
                <a:lnTo>
                  <a:pt x="5100389" y="3364075"/>
                </a:lnTo>
                <a:lnTo>
                  <a:pt x="5103320" y="3359419"/>
                </a:lnTo>
                <a:lnTo>
                  <a:pt x="5103320" y="3352273"/>
                </a:lnTo>
                <a:lnTo>
                  <a:pt x="5108094" y="3347834"/>
                </a:lnTo>
                <a:lnTo>
                  <a:pt x="5108094" y="3346426"/>
                </a:lnTo>
                <a:lnTo>
                  <a:pt x="5105164" y="3343503"/>
                </a:lnTo>
                <a:lnTo>
                  <a:pt x="5105164" y="3340363"/>
                </a:lnTo>
                <a:lnTo>
                  <a:pt x="5101257" y="3335167"/>
                </a:lnTo>
                <a:lnTo>
                  <a:pt x="5103862" y="3335058"/>
                </a:lnTo>
                <a:lnTo>
                  <a:pt x="5107877" y="3337765"/>
                </a:lnTo>
                <a:lnTo>
                  <a:pt x="5112110" y="3334949"/>
                </a:lnTo>
                <a:lnTo>
                  <a:pt x="5110590" y="3331810"/>
                </a:lnTo>
                <a:close/>
                <a:moveTo>
                  <a:pt x="7620038" y="3326072"/>
                </a:moveTo>
                <a:lnTo>
                  <a:pt x="7625030" y="3329753"/>
                </a:lnTo>
                <a:lnTo>
                  <a:pt x="7629046" y="3329536"/>
                </a:lnTo>
                <a:lnTo>
                  <a:pt x="7630130" y="3332243"/>
                </a:lnTo>
                <a:lnTo>
                  <a:pt x="7628610" y="3333326"/>
                </a:lnTo>
                <a:lnTo>
                  <a:pt x="7625789" y="3332027"/>
                </a:lnTo>
                <a:lnTo>
                  <a:pt x="7622751" y="3332135"/>
                </a:lnTo>
                <a:lnTo>
                  <a:pt x="7617108" y="3326180"/>
                </a:lnTo>
                <a:close/>
                <a:moveTo>
                  <a:pt x="4760073" y="3325973"/>
                </a:moveTo>
                <a:lnTo>
                  <a:pt x="4757398" y="3335709"/>
                </a:lnTo>
                <a:lnTo>
                  <a:pt x="4757396" y="3335718"/>
                </a:lnTo>
                <a:close/>
                <a:moveTo>
                  <a:pt x="7065410" y="3324447"/>
                </a:moveTo>
                <a:lnTo>
                  <a:pt x="7067363" y="3333000"/>
                </a:lnTo>
                <a:lnTo>
                  <a:pt x="7071378" y="3334408"/>
                </a:lnTo>
                <a:lnTo>
                  <a:pt x="7072029" y="3335815"/>
                </a:lnTo>
                <a:lnTo>
                  <a:pt x="7066495" y="3334624"/>
                </a:lnTo>
                <a:lnTo>
                  <a:pt x="7064542" y="3334732"/>
                </a:lnTo>
                <a:lnTo>
                  <a:pt x="7059550" y="3333434"/>
                </a:lnTo>
                <a:lnTo>
                  <a:pt x="7059767" y="3330835"/>
                </a:lnTo>
                <a:lnTo>
                  <a:pt x="7061287" y="3330618"/>
                </a:lnTo>
                <a:lnTo>
                  <a:pt x="7063565" y="3331268"/>
                </a:lnTo>
                <a:lnTo>
                  <a:pt x="7063565" y="3329969"/>
                </a:lnTo>
                <a:lnTo>
                  <a:pt x="7062480" y="3329428"/>
                </a:lnTo>
                <a:lnTo>
                  <a:pt x="7062697" y="3326829"/>
                </a:lnTo>
                <a:lnTo>
                  <a:pt x="7062046" y="3326071"/>
                </a:lnTo>
                <a:close/>
                <a:moveTo>
                  <a:pt x="7640005" y="3323040"/>
                </a:moveTo>
                <a:lnTo>
                  <a:pt x="7644130" y="3324014"/>
                </a:lnTo>
                <a:lnTo>
                  <a:pt x="7643370" y="3326828"/>
                </a:lnTo>
                <a:lnTo>
                  <a:pt x="7639572" y="3327478"/>
                </a:lnTo>
                <a:lnTo>
                  <a:pt x="7637185" y="3326937"/>
                </a:lnTo>
                <a:lnTo>
                  <a:pt x="7637076" y="3325638"/>
                </a:lnTo>
                <a:close/>
                <a:moveTo>
                  <a:pt x="7066278" y="3321741"/>
                </a:moveTo>
                <a:lnTo>
                  <a:pt x="7067689" y="3321741"/>
                </a:lnTo>
                <a:lnTo>
                  <a:pt x="7070619" y="3324772"/>
                </a:lnTo>
                <a:lnTo>
                  <a:pt x="7073440" y="3325206"/>
                </a:lnTo>
                <a:lnTo>
                  <a:pt x="7074091" y="3326722"/>
                </a:lnTo>
                <a:lnTo>
                  <a:pt x="7076913" y="3328237"/>
                </a:lnTo>
                <a:lnTo>
                  <a:pt x="7079626" y="3324881"/>
                </a:lnTo>
                <a:lnTo>
                  <a:pt x="7086028" y="3324772"/>
                </a:lnTo>
                <a:lnTo>
                  <a:pt x="7088958" y="3323365"/>
                </a:lnTo>
                <a:lnTo>
                  <a:pt x="7091020" y="3323365"/>
                </a:lnTo>
                <a:lnTo>
                  <a:pt x="7092431" y="3326397"/>
                </a:lnTo>
                <a:lnTo>
                  <a:pt x="7094384" y="3328020"/>
                </a:lnTo>
                <a:lnTo>
                  <a:pt x="7092105" y="3329861"/>
                </a:lnTo>
                <a:lnTo>
                  <a:pt x="7091780" y="3332351"/>
                </a:lnTo>
                <a:lnTo>
                  <a:pt x="7089718" y="3332026"/>
                </a:lnTo>
                <a:lnTo>
                  <a:pt x="7081579" y="3340580"/>
                </a:lnTo>
                <a:lnTo>
                  <a:pt x="7074959" y="3337873"/>
                </a:lnTo>
                <a:lnTo>
                  <a:pt x="7071596" y="3333434"/>
                </a:lnTo>
                <a:lnTo>
                  <a:pt x="7067689" y="3328887"/>
                </a:lnTo>
                <a:lnTo>
                  <a:pt x="7067038" y="3323257"/>
                </a:lnTo>
                <a:close/>
                <a:moveTo>
                  <a:pt x="4806310" y="3318710"/>
                </a:moveTo>
                <a:lnTo>
                  <a:pt x="4805659" y="3320767"/>
                </a:lnTo>
                <a:lnTo>
                  <a:pt x="4805659" y="3320767"/>
                </a:lnTo>
                <a:close/>
                <a:moveTo>
                  <a:pt x="7218311" y="3317843"/>
                </a:moveTo>
                <a:lnTo>
                  <a:pt x="7220155" y="3320116"/>
                </a:lnTo>
                <a:lnTo>
                  <a:pt x="7216031" y="3323906"/>
                </a:lnTo>
                <a:lnTo>
                  <a:pt x="7215163" y="3327587"/>
                </a:lnTo>
                <a:lnTo>
                  <a:pt x="7212016" y="3326071"/>
                </a:lnTo>
                <a:lnTo>
                  <a:pt x="7213427" y="3323148"/>
                </a:lnTo>
                <a:close/>
                <a:moveTo>
                  <a:pt x="7121839" y="3316977"/>
                </a:moveTo>
                <a:lnTo>
                  <a:pt x="7120428" y="3321308"/>
                </a:lnTo>
                <a:lnTo>
                  <a:pt x="7120103" y="3325747"/>
                </a:lnTo>
                <a:lnTo>
                  <a:pt x="7117390" y="3320983"/>
                </a:lnTo>
                <a:lnTo>
                  <a:pt x="7118258" y="3317627"/>
                </a:lnTo>
                <a:close/>
                <a:moveTo>
                  <a:pt x="4584538" y="3316038"/>
                </a:moveTo>
                <a:lnTo>
                  <a:pt x="4583525" y="3316543"/>
                </a:lnTo>
                <a:lnTo>
                  <a:pt x="4580487" y="3317085"/>
                </a:lnTo>
                <a:lnTo>
                  <a:pt x="4583525" y="3316544"/>
                </a:lnTo>
                <a:close/>
                <a:moveTo>
                  <a:pt x="4587195" y="3315960"/>
                </a:moveTo>
                <a:lnTo>
                  <a:pt x="4587648" y="3316111"/>
                </a:lnTo>
                <a:lnTo>
                  <a:pt x="4587648" y="3322931"/>
                </a:lnTo>
                <a:lnTo>
                  <a:pt x="4591229" y="3327154"/>
                </a:lnTo>
                <a:lnTo>
                  <a:pt x="4587649" y="3322931"/>
                </a:lnTo>
                <a:lnTo>
                  <a:pt x="4587649" y="3316111"/>
                </a:lnTo>
                <a:close/>
                <a:moveTo>
                  <a:pt x="4825083" y="3314163"/>
                </a:moveTo>
                <a:lnTo>
                  <a:pt x="4825409" y="3315678"/>
                </a:lnTo>
                <a:lnTo>
                  <a:pt x="4825409" y="3315678"/>
                </a:lnTo>
                <a:lnTo>
                  <a:pt x="4825084" y="3314163"/>
                </a:lnTo>
                <a:close/>
                <a:moveTo>
                  <a:pt x="7358839" y="3313838"/>
                </a:moveTo>
                <a:lnTo>
                  <a:pt x="7358622" y="3316977"/>
                </a:lnTo>
                <a:lnTo>
                  <a:pt x="7363722" y="3318060"/>
                </a:lnTo>
                <a:lnTo>
                  <a:pt x="7365132" y="3324665"/>
                </a:lnTo>
                <a:lnTo>
                  <a:pt x="7366544" y="3327263"/>
                </a:lnTo>
                <a:lnTo>
                  <a:pt x="7364807" y="3338632"/>
                </a:lnTo>
                <a:lnTo>
                  <a:pt x="7367845" y="3341446"/>
                </a:lnTo>
                <a:lnTo>
                  <a:pt x="7371861" y="3340580"/>
                </a:lnTo>
                <a:lnTo>
                  <a:pt x="7375116" y="3342313"/>
                </a:lnTo>
                <a:lnTo>
                  <a:pt x="7372186" y="3345236"/>
                </a:lnTo>
                <a:lnTo>
                  <a:pt x="7371970" y="3351191"/>
                </a:lnTo>
                <a:lnTo>
                  <a:pt x="7374574" y="3352815"/>
                </a:lnTo>
                <a:lnTo>
                  <a:pt x="7374682" y="3357038"/>
                </a:lnTo>
                <a:lnTo>
                  <a:pt x="7378372" y="3361910"/>
                </a:lnTo>
                <a:lnTo>
                  <a:pt x="7376201" y="3366024"/>
                </a:lnTo>
                <a:lnTo>
                  <a:pt x="7377938" y="3370355"/>
                </a:lnTo>
                <a:lnTo>
                  <a:pt x="7379999" y="3369380"/>
                </a:lnTo>
                <a:lnTo>
                  <a:pt x="7381084" y="3380099"/>
                </a:lnTo>
                <a:lnTo>
                  <a:pt x="7379240" y="3388869"/>
                </a:lnTo>
                <a:lnTo>
                  <a:pt x="7382278" y="3395582"/>
                </a:lnTo>
                <a:lnTo>
                  <a:pt x="7381735" y="3399588"/>
                </a:lnTo>
                <a:lnTo>
                  <a:pt x="7386618" y="3406951"/>
                </a:lnTo>
                <a:lnTo>
                  <a:pt x="7390634" y="3406733"/>
                </a:lnTo>
                <a:lnTo>
                  <a:pt x="7393347" y="3401537"/>
                </a:lnTo>
                <a:lnTo>
                  <a:pt x="7395735" y="3403161"/>
                </a:lnTo>
                <a:lnTo>
                  <a:pt x="7400617" y="3399913"/>
                </a:lnTo>
                <a:lnTo>
                  <a:pt x="7406043" y="3405326"/>
                </a:lnTo>
                <a:lnTo>
                  <a:pt x="7404524" y="3407492"/>
                </a:lnTo>
                <a:lnTo>
                  <a:pt x="7409624" y="3410523"/>
                </a:lnTo>
                <a:lnTo>
                  <a:pt x="7417981" y="3418535"/>
                </a:lnTo>
                <a:lnTo>
                  <a:pt x="7417438" y="3422000"/>
                </a:lnTo>
                <a:lnTo>
                  <a:pt x="7415810" y="3423408"/>
                </a:lnTo>
                <a:lnTo>
                  <a:pt x="7417004" y="3428063"/>
                </a:lnTo>
                <a:lnTo>
                  <a:pt x="7415810" y="3432069"/>
                </a:lnTo>
                <a:lnTo>
                  <a:pt x="7416895" y="3446902"/>
                </a:lnTo>
                <a:lnTo>
                  <a:pt x="7419065" y="3449501"/>
                </a:lnTo>
                <a:lnTo>
                  <a:pt x="7418848" y="3452099"/>
                </a:lnTo>
                <a:lnTo>
                  <a:pt x="7417004" y="3453507"/>
                </a:lnTo>
                <a:lnTo>
                  <a:pt x="7417221" y="3465200"/>
                </a:lnTo>
                <a:lnTo>
                  <a:pt x="7421778" y="3474620"/>
                </a:lnTo>
                <a:lnTo>
                  <a:pt x="7425360" y="3474620"/>
                </a:lnTo>
                <a:lnTo>
                  <a:pt x="7428397" y="3477543"/>
                </a:lnTo>
                <a:lnTo>
                  <a:pt x="7425902" y="3478842"/>
                </a:lnTo>
                <a:lnTo>
                  <a:pt x="7428832" y="3484581"/>
                </a:lnTo>
                <a:lnTo>
                  <a:pt x="7431545" y="3497140"/>
                </a:lnTo>
                <a:lnTo>
                  <a:pt x="7429483" y="3506776"/>
                </a:lnTo>
                <a:lnTo>
                  <a:pt x="7427204" y="3507642"/>
                </a:lnTo>
                <a:lnTo>
                  <a:pt x="7426986" y="3512190"/>
                </a:lnTo>
                <a:lnTo>
                  <a:pt x="7429917" y="3517819"/>
                </a:lnTo>
                <a:lnTo>
                  <a:pt x="7430785" y="3526373"/>
                </a:lnTo>
                <a:lnTo>
                  <a:pt x="7435125" y="3535035"/>
                </a:lnTo>
                <a:lnTo>
                  <a:pt x="7445110" y="3540664"/>
                </a:lnTo>
                <a:lnTo>
                  <a:pt x="7447388" y="3540664"/>
                </a:lnTo>
                <a:lnTo>
                  <a:pt x="7448690" y="3543588"/>
                </a:lnTo>
                <a:lnTo>
                  <a:pt x="7452814" y="3543913"/>
                </a:lnTo>
                <a:lnTo>
                  <a:pt x="7458240" y="3543372"/>
                </a:lnTo>
                <a:lnTo>
                  <a:pt x="7459759" y="3546078"/>
                </a:lnTo>
                <a:lnTo>
                  <a:pt x="7459325" y="3549543"/>
                </a:lnTo>
                <a:lnTo>
                  <a:pt x="7454659" y="3550734"/>
                </a:lnTo>
                <a:lnTo>
                  <a:pt x="7451946" y="3555065"/>
                </a:lnTo>
                <a:lnTo>
                  <a:pt x="7455201" y="3552033"/>
                </a:lnTo>
                <a:lnTo>
                  <a:pt x="7460410" y="3553874"/>
                </a:lnTo>
                <a:lnTo>
                  <a:pt x="7462472" y="3556580"/>
                </a:lnTo>
                <a:lnTo>
                  <a:pt x="7464968" y="3553874"/>
                </a:lnTo>
                <a:lnTo>
                  <a:pt x="7469308" y="3557663"/>
                </a:lnTo>
                <a:lnTo>
                  <a:pt x="7472889" y="3557771"/>
                </a:lnTo>
                <a:lnTo>
                  <a:pt x="7477664" y="3564484"/>
                </a:lnTo>
                <a:lnTo>
                  <a:pt x="7481788" y="3565025"/>
                </a:lnTo>
                <a:lnTo>
                  <a:pt x="7483742" y="3563943"/>
                </a:lnTo>
                <a:lnTo>
                  <a:pt x="7487539" y="3570764"/>
                </a:lnTo>
                <a:lnTo>
                  <a:pt x="7487539" y="3575527"/>
                </a:lnTo>
                <a:lnTo>
                  <a:pt x="7483199" y="3574445"/>
                </a:lnTo>
                <a:lnTo>
                  <a:pt x="7483633" y="3579967"/>
                </a:lnTo>
                <a:lnTo>
                  <a:pt x="7485803" y="3584731"/>
                </a:lnTo>
                <a:lnTo>
                  <a:pt x="7493507" y="3591335"/>
                </a:lnTo>
                <a:lnTo>
                  <a:pt x="7492422" y="3595558"/>
                </a:lnTo>
                <a:lnTo>
                  <a:pt x="7495895" y="3598265"/>
                </a:lnTo>
                <a:lnTo>
                  <a:pt x="7494051" y="3602163"/>
                </a:lnTo>
                <a:lnTo>
                  <a:pt x="7498608" y="3605086"/>
                </a:lnTo>
                <a:lnTo>
                  <a:pt x="7498608" y="3608333"/>
                </a:lnTo>
                <a:lnTo>
                  <a:pt x="7497197" y="3609741"/>
                </a:lnTo>
                <a:lnTo>
                  <a:pt x="7498066" y="3623167"/>
                </a:lnTo>
                <a:lnTo>
                  <a:pt x="7500019" y="3626956"/>
                </a:lnTo>
                <a:lnTo>
                  <a:pt x="7500019" y="3631395"/>
                </a:lnTo>
                <a:lnTo>
                  <a:pt x="7502623" y="3628581"/>
                </a:lnTo>
                <a:lnTo>
                  <a:pt x="7507832" y="3634860"/>
                </a:lnTo>
                <a:lnTo>
                  <a:pt x="7505336" y="3627498"/>
                </a:lnTo>
                <a:lnTo>
                  <a:pt x="7506529" y="3623816"/>
                </a:lnTo>
                <a:lnTo>
                  <a:pt x="7506529" y="3620569"/>
                </a:lnTo>
                <a:lnTo>
                  <a:pt x="7508591" y="3619594"/>
                </a:lnTo>
                <a:lnTo>
                  <a:pt x="7510871" y="3625116"/>
                </a:lnTo>
                <a:lnTo>
                  <a:pt x="7521613" y="3634860"/>
                </a:lnTo>
                <a:lnTo>
                  <a:pt x="7523349" y="3632369"/>
                </a:lnTo>
                <a:lnTo>
                  <a:pt x="7521939" y="3630205"/>
                </a:lnTo>
                <a:lnTo>
                  <a:pt x="7522807" y="3627714"/>
                </a:lnTo>
                <a:lnTo>
                  <a:pt x="7526062" y="3629446"/>
                </a:lnTo>
                <a:lnTo>
                  <a:pt x="7525411" y="3634102"/>
                </a:lnTo>
                <a:lnTo>
                  <a:pt x="7526822" y="3637567"/>
                </a:lnTo>
                <a:lnTo>
                  <a:pt x="7525737" y="3644821"/>
                </a:lnTo>
                <a:lnTo>
                  <a:pt x="7521180" y="3650560"/>
                </a:lnTo>
                <a:lnTo>
                  <a:pt x="7524435" y="3656297"/>
                </a:lnTo>
                <a:lnTo>
                  <a:pt x="7523242" y="3659979"/>
                </a:lnTo>
                <a:lnTo>
                  <a:pt x="7525954" y="3662469"/>
                </a:lnTo>
                <a:lnTo>
                  <a:pt x="7531706" y="3667558"/>
                </a:lnTo>
                <a:lnTo>
                  <a:pt x="7532248" y="3671022"/>
                </a:lnTo>
                <a:lnTo>
                  <a:pt x="7534636" y="3671997"/>
                </a:lnTo>
                <a:lnTo>
                  <a:pt x="7535287" y="3678168"/>
                </a:lnTo>
                <a:lnTo>
                  <a:pt x="7538542" y="3681199"/>
                </a:lnTo>
                <a:lnTo>
                  <a:pt x="7542232" y="3679576"/>
                </a:lnTo>
                <a:lnTo>
                  <a:pt x="7545270" y="3679792"/>
                </a:lnTo>
                <a:lnTo>
                  <a:pt x="7548308" y="3685531"/>
                </a:lnTo>
                <a:lnTo>
                  <a:pt x="7549827" y="3692243"/>
                </a:lnTo>
                <a:lnTo>
                  <a:pt x="7553192" y="3699064"/>
                </a:lnTo>
                <a:lnTo>
                  <a:pt x="7558618" y="3703829"/>
                </a:lnTo>
                <a:lnTo>
                  <a:pt x="7558509" y="3709242"/>
                </a:lnTo>
                <a:lnTo>
                  <a:pt x="7560788" y="3713897"/>
                </a:lnTo>
                <a:lnTo>
                  <a:pt x="7565454" y="3715847"/>
                </a:lnTo>
                <a:lnTo>
                  <a:pt x="7562958" y="3721152"/>
                </a:lnTo>
                <a:lnTo>
                  <a:pt x="7565020" y="3721801"/>
                </a:lnTo>
                <a:lnTo>
                  <a:pt x="7564803" y="3731221"/>
                </a:lnTo>
                <a:lnTo>
                  <a:pt x="7566105" y="3736093"/>
                </a:lnTo>
                <a:lnTo>
                  <a:pt x="7568059" y="3738800"/>
                </a:lnTo>
                <a:lnTo>
                  <a:pt x="7565346" y="3743455"/>
                </a:lnTo>
                <a:lnTo>
                  <a:pt x="7565671" y="3757422"/>
                </a:lnTo>
                <a:lnTo>
                  <a:pt x="7566105" y="3759588"/>
                </a:lnTo>
                <a:lnTo>
                  <a:pt x="7561874" y="3766733"/>
                </a:lnTo>
                <a:lnTo>
                  <a:pt x="7561765" y="3772364"/>
                </a:lnTo>
                <a:lnTo>
                  <a:pt x="7560137" y="3774529"/>
                </a:lnTo>
                <a:lnTo>
                  <a:pt x="7560245" y="3779401"/>
                </a:lnTo>
                <a:lnTo>
                  <a:pt x="7561765" y="3782324"/>
                </a:lnTo>
                <a:lnTo>
                  <a:pt x="7565128" y="3791311"/>
                </a:lnTo>
                <a:lnTo>
                  <a:pt x="7564587" y="3797050"/>
                </a:lnTo>
                <a:lnTo>
                  <a:pt x="7568276" y="3807877"/>
                </a:lnTo>
                <a:lnTo>
                  <a:pt x="7564260" y="3812748"/>
                </a:lnTo>
                <a:lnTo>
                  <a:pt x="7566105" y="3819786"/>
                </a:lnTo>
                <a:lnTo>
                  <a:pt x="7563718" y="3826283"/>
                </a:lnTo>
                <a:lnTo>
                  <a:pt x="7557206" y="3831696"/>
                </a:lnTo>
                <a:lnTo>
                  <a:pt x="7552649" y="3842956"/>
                </a:lnTo>
                <a:lnTo>
                  <a:pt x="7553084" y="3848695"/>
                </a:lnTo>
                <a:lnTo>
                  <a:pt x="7544402" y="3864177"/>
                </a:lnTo>
                <a:lnTo>
                  <a:pt x="7542774" y="3872514"/>
                </a:lnTo>
                <a:lnTo>
                  <a:pt x="7536046" y="3887997"/>
                </a:lnTo>
                <a:lnTo>
                  <a:pt x="7535287" y="3891786"/>
                </a:lnTo>
                <a:lnTo>
                  <a:pt x="7537349" y="3894168"/>
                </a:lnTo>
                <a:lnTo>
                  <a:pt x="7534636" y="3901422"/>
                </a:lnTo>
                <a:lnTo>
                  <a:pt x="7535287" y="3905861"/>
                </a:lnTo>
                <a:lnTo>
                  <a:pt x="7530077" y="3914739"/>
                </a:lnTo>
                <a:lnTo>
                  <a:pt x="7524652" y="3916905"/>
                </a:lnTo>
                <a:lnTo>
                  <a:pt x="7524435" y="3921994"/>
                </a:lnTo>
                <a:lnTo>
                  <a:pt x="7516730" y="3927949"/>
                </a:lnTo>
                <a:lnTo>
                  <a:pt x="7515646" y="3932821"/>
                </a:lnTo>
                <a:lnTo>
                  <a:pt x="7516730" y="3935636"/>
                </a:lnTo>
                <a:lnTo>
                  <a:pt x="7515103" y="3941266"/>
                </a:lnTo>
                <a:lnTo>
                  <a:pt x="7507506" y="3946679"/>
                </a:lnTo>
                <a:lnTo>
                  <a:pt x="7498933" y="3947221"/>
                </a:lnTo>
                <a:lnTo>
                  <a:pt x="7497197" y="3949603"/>
                </a:lnTo>
                <a:lnTo>
                  <a:pt x="7504359" y="3949603"/>
                </a:lnTo>
                <a:lnTo>
                  <a:pt x="7500019" y="3951768"/>
                </a:lnTo>
                <a:lnTo>
                  <a:pt x="7492965" y="3953934"/>
                </a:lnTo>
                <a:lnTo>
                  <a:pt x="7489384" y="3961620"/>
                </a:lnTo>
                <a:lnTo>
                  <a:pt x="7486346" y="3964761"/>
                </a:lnTo>
                <a:lnTo>
                  <a:pt x="7481245" y="3972232"/>
                </a:lnTo>
                <a:lnTo>
                  <a:pt x="7473866" y="3975696"/>
                </a:lnTo>
                <a:lnTo>
                  <a:pt x="7476904" y="3978619"/>
                </a:lnTo>
                <a:lnTo>
                  <a:pt x="7473106" y="3987822"/>
                </a:lnTo>
                <a:lnTo>
                  <a:pt x="7468983" y="3989987"/>
                </a:lnTo>
                <a:lnTo>
                  <a:pt x="7469526" y="3995185"/>
                </a:lnTo>
                <a:lnTo>
                  <a:pt x="7463774" y="4000923"/>
                </a:lnTo>
                <a:lnTo>
                  <a:pt x="7460193" y="4011101"/>
                </a:lnTo>
                <a:lnTo>
                  <a:pt x="7454333" y="4018680"/>
                </a:lnTo>
                <a:lnTo>
                  <a:pt x="7451838" y="4028424"/>
                </a:lnTo>
                <a:lnTo>
                  <a:pt x="7447822" y="4029182"/>
                </a:lnTo>
                <a:lnTo>
                  <a:pt x="7433389" y="4047262"/>
                </a:lnTo>
                <a:lnTo>
                  <a:pt x="7433715" y="4051919"/>
                </a:lnTo>
                <a:lnTo>
                  <a:pt x="7429049" y="4054084"/>
                </a:lnTo>
                <a:lnTo>
                  <a:pt x="7427421" y="4063612"/>
                </a:lnTo>
                <a:lnTo>
                  <a:pt x="7423515" y="4069025"/>
                </a:lnTo>
                <a:lnTo>
                  <a:pt x="7423515" y="4083100"/>
                </a:lnTo>
                <a:lnTo>
                  <a:pt x="7415376" y="4091221"/>
                </a:lnTo>
                <a:lnTo>
                  <a:pt x="7415592" y="4096201"/>
                </a:lnTo>
                <a:lnTo>
                  <a:pt x="7417438" y="4105620"/>
                </a:lnTo>
                <a:lnTo>
                  <a:pt x="7413206" y="4114174"/>
                </a:lnTo>
                <a:lnTo>
                  <a:pt x="7408756" y="4117206"/>
                </a:lnTo>
                <a:lnTo>
                  <a:pt x="7404415" y="4117206"/>
                </a:lnTo>
                <a:lnTo>
                  <a:pt x="7404415" y="4121103"/>
                </a:lnTo>
                <a:lnTo>
                  <a:pt x="7398230" y="4124785"/>
                </a:lnTo>
                <a:lnTo>
                  <a:pt x="7383364" y="4121861"/>
                </a:lnTo>
                <a:lnTo>
                  <a:pt x="7364915" y="4125542"/>
                </a:lnTo>
                <a:lnTo>
                  <a:pt x="7355909" y="4128249"/>
                </a:lnTo>
                <a:lnTo>
                  <a:pt x="7349723" y="4128249"/>
                </a:lnTo>
                <a:lnTo>
                  <a:pt x="7345274" y="4128574"/>
                </a:lnTo>
                <a:lnTo>
                  <a:pt x="7349398" y="4129981"/>
                </a:lnTo>
                <a:lnTo>
                  <a:pt x="7348312" y="4131497"/>
                </a:lnTo>
                <a:lnTo>
                  <a:pt x="7351025" y="4129873"/>
                </a:lnTo>
                <a:lnTo>
                  <a:pt x="7354715" y="4129873"/>
                </a:lnTo>
                <a:lnTo>
                  <a:pt x="7347770" y="4135936"/>
                </a:lnTo>
                <a:lnTo>
                  <a:pt x="7335507" y="4143407"/>
                </a:lnTo>
                <a:lnTo>
                  <a:pt x="7329539" y="4151528"/>
                </a:lnTo>
                <a:lnTo>
                  <a:pt x="7327912" y="4154234"/>
                </a:lnTo>
                <a:lnTo>
                  <a:pt x="7326392" y="4151852"/>
                </a:lnTo>
                <a:lnTo>
                  <a:pt x="7314672" y="4151528"/>
                </a:lnTo>
                <a:lnTo>
                  <a:pt x="7311742" y="4154775"/>
                </a:lnTo>
                <a:lnTo>
                  <a:pt x="7312719" y="4157482"/>
                </a:lnTo>
                <a:lnTo>
                  <a:pt x="7316517" y="4154559"/>
                </a:lnTo>
                <a:lnTo>
                  <a:pt x="7316843" y="4161056"/>
                </a:lnTo>
                <a:lnTo>
                  <a:pt x="7313370" y="4167010"/>
                </a:lnTo>
                <a:lnTo>
                  <a:pt x="7310006" y="4161921"/>
                </a:lnTo>
                <a:lnTo>
                  <a:pt x="7309572" y="4157050"/>
                </a:lnTo>
                <a:lnTo>
                  <a:pt x="7306316" y="4156724"/>
                </a:lnTo>
                <a:lnTo>
                  <a:pt x="7304038" y="4158132"/>
                </a:lnTo>
                <a:lnTo>
                  <a:pt x="7302736" y="4150012"/>
                </a:lnTo>
                <a:lnTo>
                  <a:pt x="7296441" y="4142649"/>
                </a:lnTo>
                <a:lnTo>
                  <a:pt x="7300239" y="4138859"/>
                </a:lnTo>
                <a:lnTo>
                  <a:pt x="7303170" y="4138968"/>
                </a:lnTo>
                <a:lnTo>
                  <a:pt x="7303603" y="4134420"/>
                </a:lnTo>
                <a:lnTo>
                  <a:pt x="7298721" y="4131714"/>
                </a:lnTo>
                <a:lnTo>
                  <a:pt x="7294814" y="4134637"/>
                </a:lnTo>
                <a:lnTo>
                  <a:pt x="7291341" y="4138318"/>
                </a:lnTo>
                <a:lnTo>
                  <a:pt x="7288303" y="4137561"/>
                </a:lnTo>
                <a:lnTo>
                  <a:pt x="7286132" y="4133122"/>
                </a:lnTo>
                <a:lnTo>
                  <a:pt x="7295682" y="4127924"/>
                </a:lnTo>
                <a:lnTo>
                  <a:pt x="7295899" y="4122619"/>
                </a:lnTo>
                <a:lnTo>
                  <a:pt x="7288086" y="4117206"/>
                </a:lnTo>
                <a:lnTo>
                  <a:pt x="7278753" y="4123377"/>
                </a:lnTo>
                <a:lnTo>
                  <a:pt x="7277017" y="4126517"/>
                </a:lnTo>
                <a:lnTo>
                  <a:pt x="7282226" y="4128032"/>
                </a:lnTo>
                <a:lnTo>
                  <a:pt x="7283420" y="4130414"/>
                </a:lnTo>
                <a:lnTo>
                  <a:pt x="7281466" y="4132689"/>
                </a:lnTo>
                <a:lnTo>
                  <a:pt x="7277017" y="4131822"/>
                </a:lnTo>
                <a:lnTo>
                  <a:pt x="7270832" y="4137993"/>
                </a:lnTo>
                <a:lnTo>
                  <a:pt x="7265080" y="4138102"/>
                </a:lnTo>
                <a:lnTo>
                  <a:pt x="7262258" y="4142216"/>
                </a:lnTo>
                <a:lnTo>
                  <a:pt x="7253035" y="4146655"/>
                </a:lnTo>
                <a:lnTo>
                  <a:pt x="7251407" y="4149903"/>
                </a:lnTo>
                <a:lnTo>
                  <a:pt x="7247718" y="4149903"/>
                </a:lnTo>
                <a:lnTo>
                  <a:pt x="7242942" y="4144057"/>
                </a:lnTo>
                <a:lnTo>
                  <a:pt x="7238168" y="4142432"/>
                </a:lnTo>
                <a:lnTo>
                  <a:pt x="7237517" y="4137561"/>
                </a:lnTo>
                <a:lnTo>
                  <a:pt x="7231440" y="4132039"/>
                </a:lnTo>
                <a:lnTo>
                  <a:pt x="7226014" y="4131497"/>
                </a:lnTo>
                <a:lnTo>
                  <a:pt x="7221022" y="4125326"/>
                </a:lnTo>
                <a:lnTo>
                  <a:pt x="7214837" y="4123377"/>
                </a:lnTo>
                <a:lnTo>
                  <a:pt x="7211798" y="4124459"/>
                </a:lnTo>
                <a:lnTo>
                  <a:pt x="7210713" y="4126517"/>
                </a:lnTo>
                <a:lnTo>
                  <a:pt x="7205831" y="4126192"/>
                </a:lnTo>
                <a:lnTo>
                  <a:pt x="7203660" y="4120454"/>
                </a:lnTo>
                <a:lnTo>
                  <a:pt x="7199102" y="4117206"/>
                </a:lnTo>
                <a:lnTo>
                  <a:pt x="7192591" y="4115581"/>
                </a:lnTo>
                <a:lnTo>
                  <a:pt x="7184127" y="4104213"/>
                </a:lnTo>
                <a:lnTo>
                  <a:pt x="7183042" y="4096418"/>
                </a:lnTo>
                <a:lnTo>
                  <a:pt x="7179352" y="4090138"/>
                </a:lnTo>
                <a:lnTo>
                  <a:pt x="7175228" y="4086565"/>
                </a:lnTo>
                <a:lnTo>
                  <a:pt x="7176096" y="4078228"/>
                </a:lnTo>
                <a:lnTo>
                  <a:pt x="7175120" y="4075196"/>
                </a:lnTo>
                <a:lnTo>
                  <a:pt x="7180980" y="4068809"/>
                </a:lnTo>
                <a:lnTo>
                  <a:pt x="7181956" y="4057873"/>
                </a:lnTo>
                <a:lnTo>
                  <a:pt x="7181522" y="4048995"/>
                </a:lnTo>
                <a:lnTo>
                  <a:pt x="7178484" y="4041416"/>
                </a:lnTo>
                <a:lnTo>
                  <a:pt x="7176747" y="4036219"/>
                </a:lnTo>
                <a:lnTo>
                  <a:pt x="7172515" y="4030048"/>
                </a:lnTo>
                <a:lnTo>
                  <a:pt x="7173601" y="4027449"/>
                </a:lnTo>
                <a:lnTo>
                  <a:pt x="7177941" y="4027774"/>
                </a:lnTo>
                <a:lnTo>
                  <a:pt x="7180329" y="4023876"/>
                </a:lnTo>
                <a:lnTo>
                  <a:pt x="7182716" y="4019762"/>
                </a:lnTo>
                <a:lnTo>
                  <a:pt x="7179677" y="4020195"/>
                </a:lnTo>
                <a:lnTo>
                  <a:pt x="7175663" y="4019004"/>
                </a:lnTo>
                <a:lnTo>
                  <a:pt x="7170562" y="4023118"/>
                </a:lnTo>
                <a:lnTo>
                  <a:pt x="7166439" y="4024201"/>
                </a:lnTo>
                <a:lnTo>
                  <a:pt x="7163726" y="4026908"/>
                </a:lnTo>
                <a:lnTo>
                  <a:pt x="7157540" y="4026800"/>
                </a:lnTo>
                <a:lnTo>
                  <a:pt x="7151680" y="4027558"/>
                </a:lnTo>
                <a:lnTo>
                  <a:pt x="7150269" y="4024309"/>
                </a:lnTo>
                <a:lnTo>
                  <a:pt x="7159385" y="4020628"/>
                </a:lnTo>
                <a:lnTo>
                  <a:pt x="7164593" y="4010884"/>
                </a:lnTo>
                <a:lnTo>
                  <a:pt x="7163834" y="3999515"/>
                </a:lnTo>
                <a:lnTo>
                  <a:pt x="7166004" y="3998866"/>
                </a:lnTo>
                <a:lnTo>
                  <a:pt x="7163509" y="3992153"/>
                </a:lnTo>
                <a:lnTo>
                  <a:pt x="7163292" y="3980785"/>
                </a:lnTo>
                <a:lnTo>
                  <a:pt x="7161556" y="3978619"/>
                </a:lnTo>
                <a:lnTo>
                  <a:pt x="7154828" y="3985440"/>
                </a:lnTo>
                <a:lnTo>
                  <a:pt x="7152657" y="3997783"/>
                </a:lnTo>
                <a:lnTo>
                  <a:pt x="7144736" y="4011101"/>
                </a:lnTo>
                <a:lnTo>
                  <a:pt x="7136488" y="4008177"/>
                </a:lnTo>
                <a:lnTo>
                  <a:pt x="7129652" y="4011317"/>
                </a:lnTo>
                <a:lnTo>
                  <a:pt x="7122597" y="4013049"/>
                </a:lnTo>
                <a:lnTo>
                  <a:pt x="7122597" y="4011317"/>
                </a:lnTo>
                <a:lnTo>
                  <a:pt x="7125528" y="4006228"/>
                </a:lnTo>
                <a:lnTo>
                  <a:pt x="7127807" y="3999948"/>
                </a:lnTo>
                <a:lnTo>
                  <a:pt x="7139201" y="4001140"/>
                </a:lnTo>
                <a:lnTo>
                  <a:pt x="7143433" y="3989663"/>
                </a:lnTo>
                <a:lnTo>
                  <a:pt x="7141588" y="3987281"/>
                </a:lnTo>
                <a:lnTo>
                  <a:pt x="7147340" y="3979161"/>
                </a:lnTo>
                <a:lnTo>
                  <a:pt x="7147014" y="3973747"/>
                </a:lnTo>
                <a:lnTo>
                  <a:pt x="7149944" y="3969958"/>
                </a:lnTo>
                <a:lnTo>
                  <a:pt x="7151355" y="3964761"/>
                </a:lnTo>
                <a:lnTo>
                  <a:pt x="7161338" y="3958265"/>
                </a:lnTo>
                <a:lnTo>
                  <a:pt x="7162749" y="3946138"/>
                </a:lnTo>
                <a:lnTo>
                  <a:pt x="7165679" y="3942349"/>
                </a:lnTo>
                <a:lnTo>
                  <a:pt x="7165679" y="3936394"/>
                </a:lnTo>
                <a:lnTo>
                  <a:pt x="7165462" y="3930222"/>
                </a:lnTo>
                <a:lnTo>
                  <a:pt x="7162532" y="3923618"/>
                </a:lnTo>
                <a:lnTo>
                  <a:pt x="7161556" y="3929356"/>
                </a:lnTo>
                <a:lnTo>
                  <a:pt x="7163292" y="3934445"/>
                </a:lnTo>
                <a:lnTo>
                  <a:pt x="7160579" y="3938343"/>
                </a:lnTo>
                <a:lnTo>
                  <a:pt x="7153742" y="3939859"/>
                </a:lnTo>
                <a:lnTo>
                  <a:pt x="7147340" y="3949603"/>
                </a:lnTo>
                <a:lnTo>
                  <a:pt x="7145386" y="3956207"/>
                </a:lnTo>
                <a:lnTo>
                  <a:pt x="7137464" y="3959997"/>
                </a:lnTo>
                <a:lnTo>
                  <a:pt x="7135403" y="3959997"/>
                </a:lnTo>
                <a:lnTo>
                  <a:pt x="7134426" y="3963136"/>
                </a:lnTo>
                <a:lnTo>
                  <a:pt x="7124226" y="3968117"/>
                </a:lnTo>
                <a:lnTo>
                  <a:pt x="7119885" y="3973747"/>
                </a:lnTo>
                <a:lnTo>
                  <a:pt x="7118691" y="3977861"/>
                </a:lnTo>
                <a:lnTo>
                  <a:pt x="7114459" y="3979702"/>
                </a:lnTo>
                <a:lnTo>
                  <a:pt x="7112288" y="3983708"/>
                </a:lnTo>
                <a:lnTo>
                  <a:pt x="7108490" y="3984358"/>
                </a:lnTo>
                <a:lnTo>
                  <a:pt x="7106212" y="3989122"/>
                </a:lnTo>
                <a:lnTo>
                  <a:pt x="7103391" y="3991936"/>
                </a:lnTo>
                <a:lnTo>
                  <a:pt x="7105777" y="3995726"/>
                </a:lnTo>
                <a:lnTo>
                  <a:pt x="7105560" y="3999948"/>
                </a:lnTo>
                <a:lnTo>
                  <a:pt x="7101437" y="3996701"/>
                </a:lnTo>
                <a:lnTo>
                  <a:pt x="7097422" y="3998108"/>
                </a:lnTo>
                <a:lnTo>
                  <a:pt x="7095686" y="3993236"/>
                </a:lnTo>
                <a:lnTo>
                  <a:pt x="7091996" y="3991287"/>
                </a:lnTo>
                <a:lnTo>
                  <a:pt x="7088307" y="3986415"/>
                </a:lnTo>
                <a:lnTo>
                  <a:pt x="7089717" y="3984899"/>
                </a:lnTo>
                <a:lnTo>
                  <a:pt x="7092539" y="3986740"/>
                </a:lnTo>
                <a:lnTo>
                  <a:pt x="7094600" y="3983167"/>
                </a:lnTo>
                <a:lnTo>
                  <a:pt x="7095468" y="3976995"/>
                </a:lnTo>
                <a:lnTo>
                  <a:pt x="7093298" y="3974071"/>
                </a:lnTo>
                <a:lnTo>
                  <a:pt x="7095143" y="3968875"/>
                </a:lnTo>
                <a:lnTo>
                  <a:pt x="7089934" y="3957290"/>
                </a:lnTo>
                <a:lnTo>
                  <a:pt x="7090802" y="3952310"/>
                </a:lnTo>
                <a:lnTo>
                  <a:pt x="7089175" y="3945597"/>
                </a:lnTo>
                <a:lnTo>
                  <a:pt x="7084291" y="3940400"/>
                </a:lnTo>
                <a:lnTo>
                  <a:pt x="7079951" y="3939967"/>
                </a:lnTo>
                <a:lnTo>
                  <a:pt x="7075718" y="3930763"/>
                </a:lnTo>
                <a:lnTo>
                  <a:pt x="7076695" y="3927516"/>
                </a:lnTo>
                <a:lnTo>
                  <a:pt x="7080711" y="3927516"/>
                </a:lnTo>
                <a:lnTo>
                  <a:pt x="7082121" y="3924159"/>
                </a:lnTo>
                <a:lnTo>
                  <a:pt x="7078431" y="3920370"/>
                </a:lnTo>
                <a:lnTo>
                  <a:pt x="7075285" y="3920153"/>
                </a:lnTo>
                <a:lnTo>
                  <a:pt x="7076153" y="3915606"/>
                </a:lnTo>
                <a:lnTo>
                  <a:pt x="7065627" y="3908243"/>
                </a:lnTo>
                <a:lnTo>
                  <a:pt x="7063131" y="3909867"/>
                </a:lnTo>
                <a:lnTo>
                  <a:pt x="7056945" y="3908784"/>
                </a:lnTo>
                <a:lnTo>
                  <a:pt x="7052496" y="3902829"/>
                </a:lnTo>
                <a:lnTo>
                  <a:pt x="7047395" y="3901531"/>
                </a:lnTo>
                <a:lnTo>
                  <a:pt x="7044682" y="3902829"/>
                </a:lnTo>
                <a:lnTo>
                  <a:pt x="7042512" y="3900448"/>
                </a:lnTo>
                <a:lnTo>
                  <a:pt x="7039583" y="3901531"/>
                </a:lnTo>
                <a:lnTo>
                  <a:pt x="7036544" y="3904129"/>
                </a:lnTo>
                <a:lnTo>
                  <a:pt x="7032204" y="3902614"/>
                </a:lnTo>
                <a:lnTo>
                  <a:pt x="7026561" y="3893086"/>
                </a:lnTo>
                <a:lnTo>
                  <a:pt x="7019398" y="3886264"/>
                </a:lnTo>
                <a:lnTo>
                  <a:pt x="7013538" y="3885507"/>
                </a:lnTo>
                <a:lnTo>
                  <a:pt x="7006268" y="3887997"/>
                </a:lnTo>
                <a:lnTo>
                  <a:pt x="7000516" y="3887888"/>
                </a:lnTo>
                <a:lnTo>
                  <a:pt x="6992052" y="3885507"/>
                </a:lnTo>
                <a:lnTo>
                  <a:pt x="6965791" y="3887455"/>
                </a:lnTo>
                <a:lnTo>
                  <a:pt x="6955916" y="3888213"/>
                </a:lnTo>
                <a:lnTo>
                  <a:pt x="6949189" y="3893086"/>
                </a:lnTo>
                <a:lnTo>
                  <a:pt x="6945499" y="3893086"/>
                </a:lnTo>
                <a:lnTo>
                  <a:pt x="6939748" y="3897200"/>
                </a:lnTo>
                <a:lnTo>
                  <a:pt x="6931934" y="3899040"/>
                </a:lnTo>
                <a:lnTo>
                  <a:pt x="6918804" y="3903696"/>
                </a:lnTo>
                <a:lnTo>
                  <a:pt x="6909254" y="3903155"/>
                </a:lnTo>
                <a:lnTo>
                  <a:pt x="6904697" y="3904778"/>
                </a:lnTo>
                <a:lnTo>
                  <a:pt x="6898185" y="3904454"/>
                </a:lnTo>
                <a:lnTo>
                  <a:pt x="6891132" y="3901422"/>
                </a:lnTo>
                <a:lnTo>
                  <a:pt x="6886900" y="3901531"/>
                </a:lnTo>
                <a:lnTo>
                  <a:pt x="6883536" y="3901422"/>
                </a:lnTo>
                <a:lnTo>
                  <a:pt x="6879955" y="3902829"/>
                </a:lnTo>
                <a:lnTo>
                  <a:pt x="6872142" y="3910084"/>
                </a:lnTo>
                <a:lnTo>
                  <a:pt x="6859445" y="3917771"/>
                </a:lnTo>
                <a:lnTo>
                  <a:pt x="6849570" y="3921236"/>
                </a:lnTo>
                <a:lnTo>
                  <a:pt x="6846966" y="3919612"/>
                </a:lnTo>
                <a:lnTo>
                  <a:pt x="6840129" y="3921561"/>
                </a:lnTo>
                <a:lnTo>
                  <a:pt x="6834269" y="3926108"/>
                </a:lnTo>
                <a:lnTo>
                  <a:pt x="6831448" y="3934553"/>
                </a:lnTo>
                <a:lnTo>
                  <a:pt x="6826348" y="3939641"/>
                </a:lnTo>
                <a:lnTo>
                  <a:pt x="6823960" y="3940400"/>
                </a:lnTo>
                <a:lnTo>
                  <a:pt x="6821681" y="3946138"/>
                </a:lnTo>
                <a:lnTo>
                  <a:pt x="6815387" y="3950469"/>
                </a:lnTo>
                <a:lnTo>
                  <a:pt x="6810070" y="3949061"/>
                </a:lnTo>
                <a:lnTo>
                  <a:pt x="6804861" y="3954042"/>
                </a:lnTo>
                <a:lnTo>
                  <a:pt x="6803233" y="3953393"/>
                </a:lnTo>
                <a:lnTo>
                  <a:pt x="6803776" y="3949386"/>
                </a:lnTo>
                <a:lnTo>
                  <a:pt x="6794335" y="3949386"/>
                </a:lnTo>
                <a:lnTo>
                  <a:pt x="6790537" y="3951877"/>
                </a:lnTo>
                <a:lnTo>
                  <a:pt x="6788366" y="3949386"/>
                </a:lnTo>
                <a:lnTo>
                  <a:pt x="6784568" y="3951335"/>
                </a:lnTo>
                <a:lnTo>
                  <a:pt x="6781747" y="3951335"/>
                </a:lnTo>
                <a:lnTo>
                  <a:pt x="6779902" y="3946355"/>
                </a:lnTo>
                <a:lnTo>
                  <a:pt x="6775019" y="3948087"/>
                </a:lnTo>
                <a:lnTo>
                  <a:pt x="6771220" y="3947762"/>
                </a:lnTo>
                <a:lnTo>
                  <a:pt x="6768834" y="3946138"/>
                </a:lnTo>
                <a:lnTo>
                  <a:pt x="6760695" y="3947979"/>
                </a:lnTo>
                <a:lnTo>
                  <a:pt x="6759067" y="3945380"/>
                </a:lnTo>
                <a:lnTo>
                  <a:pt x="6746480" y="3948087"/>
                </a:lnTo>
                <a:lnTo>
                  <a:pt x="6742138" y="3951010"/>
                </a:lnTo>
                <a:lnTo>
                  <a:pt x="6738883" y="3949061"/>
                </a:lnTo>
                <a:lnTo>
                  <a:pt x="6733783" y="3948304"/>
                </a:lnTo>
                <a:lnTo>
                  <a:pt x="6720543" y="3956424"/>
                </a:lnTo>
                <a:lnTo>
                  <a:pt x="6719350" y="3962162"/>
                </a:lnTo>
                <a:lnTo>
                  <a:pt x="6716962" y="3963461"/>
                </a:lnTo>
                <a:lnTo>
                  <a:pt x="6715009" y="3962595"/>
                </a:lnTo>
                <a:lnTo>
                  <a:pt x="6711211" y="3967792"/>
                </a:lnTo>
                <a:lnTo>
                  <a:pt x="6707521" y="3964002"/>
                </a:lnTo>
                <a:lnTo>
                  <a:pt x="6703941" y="3964002"/>
                </a:lnTo>
                <a:lnTo>
                  <a:pt x="6699383" y="3966493"/>
                </a:lnTo>
                <a:lnTo>
                  <a:pt x="6699383" y="3970716"/>
                </a:lnTo>
                <a:lnTo>
                  <a:pt x="6692330" y="3969741"/>
                </a:lnTo>
                <a:lnTo>
                  <a:pt x="6688422" y="3975696"/>
                </a:lnTo>
                <a:lnTo>
                  <a:pt x="6684733" y="3976453"/>
                </a:lnTo>
                <a:lnTo>
                  <a:pt x="6684082" y="3979377"/>
                </a:lnTo>
                <a:lnTo>
                  <a:pt x="6678114" y="3979918"/>
                </a:lnTo>
                <a:lnTo>
                  <a:pt x="6671169" y="3981109"/>
                </a:lnTo>
                <a:lnTo>
                  <a:pt x="6669758" y="3980026"/>
                </a:lnTo>
                <a:lnTo>
                  <a:pt x="6667045" y="3982192"/>
                </a:lnTo>
                <a:lnTo>
                  <a:pt x="6665417" y="3978836"/>
                </a:lnTo>
                <a:lnTo>
                  <a:pt x="6659231" y="3980026"/>
                </a:lnTo>
                <a:lnTo>
                  <a:pt x="6654023" y="3979377"/>
                </a:lnTo>
                <a:lnTo>
                  <a:pt x="6652612" y="3977320"/>
                </a:lnTo>
                <a:lnTo>
                  <a:pt x="6649899" y="3977861"/>
                </a:lnTo>
                <a:lnTo>
                  <a:pt x="6642954" y="3976779"/>
                </a:lnTo>
                <a:lnTo>
                  <a:pt x="6640675" y="3973964"/>
                </a:lnTo>
                <a:lnTo>
                  <a:pt x="6635358" y="3972989"/>
                </a:lnTo>
                <a:lnTo>
                  <a:pt x="6633622" y="3970824"/>
                </a:lnTo>
                <a:lnTo>
                  <a:pt x="6633731" y="3967034"/>
                </a:lnTo>
                <a:lnTo>
                  <a:pt x="6623638" y="3956749"/>
                </a:lnTo>
                <a:lnTo>
                  <a:pt x="6619948" y="3956640"/>
                </a:lnTo>
                <a:lnTo>
                  <a:pt x="6616802" y="3953717"/>
                </a:lnTo>
                <a:lnTo>
                  <a:pt x="6616368" y="3938884"/>
                </a:lnTo>
                <a:lnTo>
                  <a:pt x="6622337" y="3929898"/>
                </a:lnTo>
                <a:lnTo>
                  <a:pt x="6625809" y="3932929"/>
                </a:lnTo>
                <a:lnTo>
                  <a:pt x="6633622" y="3926974"/>
                </a:lnTo>
                <a:lnTo>
                  <a:pt x="6632646" y="3920802"/>
                </a:lnTo>
                <a:lnTo>
                  <a:pt x="6636877" y="3917771"/>
                </a:lnTo>
                <a:lnTo>
                  <a:pt x="6638071" y="3911492"/>
                </a:lnTo>
                <a:lnTo>
                  <a:pt x="6636877" y="3908460"/>
                </a:lnTo>
                <a:lnTo>
                  <a:pt x="6641001" y="3904671"/>
                </a:lnTo>
                <a:lnTo>
                  <a:pt x="6641869" y="3894168"/>
                </a:lnTo>
                <a:lnTo>
                  <a:pt x="6643497" y="3887888"/>
                </a:lnTo>
                <a:lnTo>
                  <a:pt x="6641218" y="3885290"/>
                </a:lnTo>
                <a:lnTo>
                  <a:pt x="6645667" y="3882042"/>
                </a:lnTo>
                <a:lnTo>
                  <a:pt x="6645559" y="3876303"/>
                </a:lnTo>
                <a:lnTo>
                  <a:pt x="6640458" y="3864610"/>
                </a:lnTo>
                <a:lnTo>
                  <a:pt x="6640675" y="3856274"/>
                </a:lnTo>
                <a:lnTo>
                  <a:pt x="6638071" y="3848911"/>
                </a:lnTo>
                <a:lnTo>
                  <a:pt x="6639156" y="3845230"/>
                </a:lnTo>
                <a:lnTo>
                  <a:pt x="6638505" y="3818595"/>
                </a:lnTo>
                <a:lnTo>
                  <a:pt x="6641001" y="3812207"/>
                </a:lnTo>
                <a:lnTo>
                  <a:pt x="6633731" y="3794343"/>
                </a:lnTo>
                <a:lnTo>
                  <a:pt x="6631235" y="3780809"/>
                </a:lnTo>
                <a:lnTo>
                  <a:pt x="6627762" y="3776369"/>
                </a:lnTo>
                <a:lnTo>
                  <a:pt x="6628739" y="3752117"/>
                </a:lnTo>
                <a:lnTo>
                  <a:pt x="6623855" y="3738583"/>
                </a:lnTo>
                <a:lnTo>
                  <a:pt x="6615499" y="3728298"/>
                </a:lnTo>
                <a:lnTo>
                  <a:pt x="6611376" y="3720394"/>
                </a:lnTo>
                <a:lnTo>
                  <a:pt x="6614089" y="3718986"/>
                </a:lnTo>
                <a:lnTo>
                  <a:pt x="6616259" y="3715305"/>
                </a:lnTo>
                <a:lnTo>
                  <a:pt x="6617453" y="3723859"/>
                </a:lnTo>
                <a:lnTo>
                  <a:pt x="6622878" y="3731004"/>
                </a:lnTo>
                <a:lnTo>
                  <a:pt x="6629607" y="3729921"/>
                </a:lnTo>
                <a:lnTo>
                  <a:pt x="6625049" y="3720935"/>
                </a:lnTo>
                <a:lnTo>
                  <a:pt x="6618538" y="3714439"/>
                </a:lnTo>
                <a:lnTo>
                  <a:pt x="6617453" y="3703937"/>
                </a:lnTo>
                <a:lnTo>
                  <a:pt x="6620600" y="3698740"/>
                </a:lnTo>
                <a:lnTo>
                  <a:pt x="6625483" y="3709242"/>
                </a:lnTo>
                <a:lnTo>
                  <a:pt x="6625049" y="3716821"/>
                </a:lnTo>
                <a:lnTo>
                  <a:pt x="6626569" y="3718445"/>
                </a:lnTo>
                <a:lnTo>
                  <a:pt x="6629607" y="3713897"/>
                </a:lnTo>
                <a:lnTo>
                  <a:pt x="6629933" y="3722235"/>
                </a:lnTo>
                <a:lnTo>
                  <a:pt x="6632102" y="3726024"/>
                </a:lnTo>
                <a:lnTo>
                  <a:pt x="6637203" y="3723967"/>
                </a:lnTo>
                <a:lnTo>
                  <a:pt x="6635358" y="3717687"/>
                </a:lnTo>
                <a:lnTo>
                  <a:pt x="6638505" y="3710649"/>
                </a:lnTo>
                <a:lnTo>
                  <a:pt x="6635032" y="3706643"/>
                </a:lnTo>
                <a:lnTo>
                  <a:pt x="6634708" y="3701230"/>
                </a:lnTo>
                <a:lnTo>
                  <a:pt x="6626351" y="3687154"/>
                </a:lnTo>
                <a:lnTo>
                  <a:pt x="6627653" y="3675786"/>
                </a:lnTo>
                <a:lnTo>
                  <a:pt x="6625049" y="3667666"/>
                </a:lnTo>
                <a:lnTo>
                  <a:pt x="6628739" y="3651967"/>
                </a:lnTo>
                <a:lnTo>
                  <a:pt x="6637962" y="3640490"/>
                </a:lnTo>
                <a:lnTo>
                  <a:pt x="6637528" y="3629446"/>
                </a:lnTo>
                <a:lnTo>
                  <a:pt x="6640133" y="3623492"/>
                </a:lnTo>
                <a:lnTo>
                  <a:pt x="6636444" y="3616238"/>
                </a:lnTo>
                <a:lnTo>
                  <a:pt x="6641869" y="3605951"/>
                </a:lnTo>
                <a:lnTo>
                  <a:pt x="6643714" y="3598914"/>
                </a:lnTo>
                <a:lnTo>
                  <a:pt x="6651310" y="3593176"/>
                </a:lnTo>
                <a:lnTo>
                  <a:pt x="6651528" y="3597506"/>
                </a:lnTo>
                <a:lnTo>
                  <a:pt x="6648923" y="3603461"/>
                </a:lnTo>
                <a:lnTo>
                  <a:pt x="6649683" y="3607251"/>
                </a:lnTo>
                <a:lnTo>
                  <a:pt x="6647838" y="3609958"/>
                </a:lnTo>
                <a:lnTo>
                  <a:pt x="6651636" y="3612448"/>
                </a:lnTo>
                <a:lnTo>
                  <a:pt x="6657062" y="3607792"/>
                </a:lnTo>
                <a:lnTo>
                  <a:pt x="6657278" y="3600214"/>
                </a:lnTo>
                <a:lnTo>
                  <a:pt x="6663247" y="3591877"/>
                </a:lnTo>
                <a:lnTo>
                  <a:pt x="6676812" y="3587762"/>
                </a:lnTo>
                <a:lnTo>
                  <a:pt x="6687121" y="3582890"/>
                </a:lnTo>
                <a:lnTo>
                  <a:pt x="6695043" y="3575853"/>
                </a:lnTo>
                <a:lnTo>
                  <a:pt x="6697756" y="3575853"/>
                </a:lnTo>
                <a:lnTo>
                  <a:pt x="6698623" y="3573687"/>
                </a:lnTo>
                <a:lnTo>
                  <a:pt x="6708824" y="3571847"/>
                </a:lnTo>
                <a:lnTo>
                  <a:pt x="6712622" y="3566108"/>
                </a:lnTo>
                <a:lnTo>
                  <a:pt x="6716637" y="3564159"/>
                </a:lnTo>
                <a:lnTo>
                  <a:pt x="6718048" y="3566866"/>
                </a:lnTo>
                <a:lnTo>
                  <a:pt x="6721846" y="3566433"/>
                </a:lnTo>
                <a:lnTo>
                  <a:pt x="6725861" y="3568057"/>
                </a:lnTo>
                <a:lnTo>
                  <a:pt x="6733240" y="3568057"/>
                </a:lnTo>
                <a:lnTo>
                  <a:pt x="6743007" y="3564159"/>
                </a:lnTo>
                <a:lnTo>
                  <a:pt x="6744309" y="3559937"/>
                </a:lnTo>
                <a:lnTo>
                  <a:pt x="6748216" y="3557663"/>
                </a:lnTo>
                <a:lnTo>
                  <a:pt x="6763733" y="3558204"/>
                </a:lnTo>
                <a:lnTo>
                  <a:pt x="6768725" y="3555823"/>
                </a:lnTo>
                <a:lnTo>
                  <a:pt x="6769593" y="3551492"/>
                </a:lnTo>
                <a:lnTo>
                  <a:pt x="6776972" y="3548568"/>
                </a:lnTo>
                <a:lnTo>
                  <a:pt x="6782832" y="3550084"/>
                </a:lnTo>
                <a:lnTo>
                  <a:pt x="6788584" y="3548568"/>
                </a:lnTo>
                <a:lnTo>
                  <a:pt x="6795854" y="3548027"/>
                </a:lnTo>
                <a:lnTo>
                  <a:pt x="6800738" y="3546295"/>
                </a:lnTo>
                <a:lnTo>
                  <a:pt x="6813217" y="3545212"/>
                </a:lnTo>
                <a:lnTo>
                  <a:pt x="6827432" y="3536658"/>
                </a:lnTo>
                <a:lnTo>
                  <a:pt x="6834920" y="3526373"/>
                </a:lnTo>
                <a:lnTo>
                  <a:pt x="6837959" y="3523558"/>
                </a:lnTo>
                <a:lnTo>
                  <a:pt x="6837741" y="3517386"/>
                </a:lnTo>
                <a:lnTo>
                  <a:pt x="6843385" y="3513813"/>
                </a:lnTo>
                <a:lnTo>
                  <a:pt x="6842842" y="3511107"/>
                </a:lnTo>
                <a:lnTo>
                  <a:pt x="6849353" y="3509266"/>
                </a:lnTo>
                <a:lnTo>
                  <a:pt x="6851848" y="3504611"/>
                </a:lnTo>
                <a:lnTo>
                  <a:pt x="6856190" y="3502229"/>
                </a:lnTo>
                <a:lnTo>
                  <a:pt x="6856190" y="3497897"/>
                </a:lnTo>
                <a:lnTo>
                  <a:pt x="6853910" y="3496707"/>
                </a:lnTo>
                <a:lnTo>
                  <a:pt x="6853910" y="3484256"/>
                </a:lnTo>
                <a:lnTo>
                  <a:pt x="6852934" y="3478084"/>
                </a:lnTo>
                <a:lnTo>
                  <a:pt x="6856949" y="3474620"/>
                </a:lnTo>
                <a:lnTo>
                  <a:pt x="6859662" y="3471046"/>
                </a:lnTo>
                <a:lnTo>
                  <a:pt x="6864328" y="3471371"/>
                </a:lnTo>
                <a:lnTo>
                  <a:pt x="6864871" y="3468665"/>
                </a:lnTo>
                <a:lnTo>
                  <a:pt x="6868669" y="3467799"/>
                </a:lnTo>
                <a:lnTo>
                  <a:pt x="6869971" y="3461411"/>
                </a:lnTo>
                <a:lnTo>
                  <a:pt x="6875071" y="3457729"/>
                </a:lnTo>
                <a:lnTo>
                  <a:pt x="6876808" y="3455022"/>
                </a:lnTo>
                <a:lnTo>
                  <a:pt x="6875614" y="3460761"/>
                </a:lnTo>
                <a:lnTo>
                  <a:pt x="6878326" y="3464550"/>
                </a:lnTo>
                <a:lnTo>
                  <a:pt x="6883319" y="3474403"/>
                </a:lnTo>
                <a:lnTo>
                  <a:pt x="6890915" y="3490644"/>
                </a:lnTo>
                <a:lnTo>
                  <a:pt x="6891674" y="3484689"/>
                </a:lnTo>
                <a:lnTo>
                  <a:pt x="6893628" y="3479383"/>
                </a:lnTo>
                <a:lnTo>
                  <a:pt x="6892760" y="3474295"/>
                </a:lnTo>
                <a:lnTo>
                  <a:pt x="6895255" y="3474295"/>
                </a:lnTo>
                <a:lnTo>
                  <a:pt x="6897209" y="3476136"/>
                </a:lnTo>
                <a:lnTo>
                  <a:pt x="6897426" y="3471696"/>
                </a:lnTo>
                <a:lnTo>
                  <a:pt x="6899596" y="3467799"/>
                </a:lnTo>
                <a:lnTo>
                  <a:pt x="6894713" y="3468015"/>
                </a:lnTo>
                <a:lnTo>
                  <a:pt x="6889830" y="3463576"/>
                </a:lnTo>
                <a:lnTo>
                  <a:pt x="6892434" y="3458920"/>
                </a:lnTo>
                <a:lnTo>
                  <a:pt x="6894604" y="3457838"/>
                </a:lnTo>
                <a:lnTo>
                  <a:pt x="6888636" y="3453724"/>
                </a:lnTo>
                <a:lnTo>
                  <a:pt x="6891891" y="3451016"/>
                </a:lnTo>
                <a:lnTo>
                  <a:pt x="6896340" y="3453832"/>
                </a:lnTo>
                <a:lnTo>
                  <a:pt x="6897968" y="3457297"/>
                </a:lnTo>
                <a:lnTo>
                  <a:pt x="6901658" y="3454265"/>
                </a:lnTo>
                <a:lnTo>
                  <a:pt x="6905456" y="3456755"/>
                </a:lnTo>
                <a:lnTo>
                  <a:pt x="6907952" y="3460220"/>
                </a:lnTo>
                <a:lnTo>
                  <a:pt x="6912510" y="3461302"/>
                </a:lnTo>
                <a:lnTo>
                  <a:pt x="6913595" y="3459137"/>
                </a:lnTo>
                <a:lnTo>
                  <a:pt x="6918804" y="3456430"/>
                </a:lnTo>
                <a:lnTo>
                  <a:pt x="6910448" y="3455022"/>
                </a:lnTo>
                <a:lnTo>
                  <a:pt x="6912943" y="3451666"/>
                </a:lnTo>
                <a:lnTo>
                  <a:pt x="6916958" y="3449717"/>
                </a:lnTo>
                <a:lnTo>
                  <a:pt x="6914680" y="3446361"/>
                </a:lnTo>
                <a:lnTo>
                  <a:pt x="6918044" y="3441597"/>
                </a:lnTo>
                <a:lnTo>
                  <a:pt x="6915222" y="3442571"/>
                </a:lnTo>
                <a:lnTo>
                  <a:pt x="6914789" y="3439540"/>
                </a:lnTo>
                <a:lnTo>
                  <a:pt x="6913920" y="3436292"/>
                </a:lnTo>
                <a:lnTo>
                  <a:pt x="6912943" y="3432827"/>
                </a:lnTo>
                <a:lnTo>
                  <a:pt x="6917718" y="3432069"/>
                </a:lnTo>
                <a:lnTo>
                  <a:pt x="6921733" y="3427522"/>
                </a:lnTo>
                <a:lnTo>
                  <a:pt x="6926400" y="3433151"/>
                </a:lnTo>
                <a:lnTo>
                  <a:pt x="6929656" y="3432394"/>
                </a:lnTo>
                <a:lnTo>
                  <a:pt x="6931934" y="3428605"/>
                </a:lnTo>
                <a:lnTo>
                  <a:pt x="6925314" y="3427738"/>
                </a:lnTo>
                <a:lnTo>
                  <a:pt x="6924230" y="3424274"/>
                </a:lnTo>
                <a:lnTo>
                  <a:pt x="6929872" y="3420485"/>
                </a:lnTo>
                <a:lnTo>
                  <a:pt x="6934539" y="3422974"/>
                </a:lnTo>
                <a:lnTo>
                  <a:pt x="6940616" y="3417886"/>
                </a:lnTo>
                <a:lnTo>
                  <a:pt x="6933345" y="3415829"/>
                </a:lnTo>
                <a:lnTo>
                  <a:pt x="6934213" y="3410523"/>
                </a:lnTo>
                <a:lnTo>
                  <a:pt x="6936383" y="3407708"/>
                </a:lnTo>
                <a:lnTo>
                  <a:pt x="6941375" y="3406409"/>
                </a:lnTo>
                <a:lnTo>
                  <a:pt x="6943220" y="3401320"/>
                </a:lnTo>
                <a:lnTo>
                  <a:pt x="6946800" y="3401212"/>
                </a:lnTo>
                <a:lnTo>
                  <a:pt x="6943437" y="3405110"/>
                </a:lnTo>
                <a:lnTo>
                  <a:pt x="6944305" y="3407708"/>
                </a:lnTo>
                <a:lnTo>
                  <a:pt x="6947018" y="3407816"/>
                </a:lnTo>
                <a:lnTo>
                  <a:pt x="6949189" y="3411281"/>
                </a:lnTo>
                <a:lnTo>
                  <a:pt x="6954072" y="3408358"/>
                </a:lnTo>
                <a:lnTo>
                  <a:pt x="6952443" y="3405543"/>
                </a:lnTo>
                <a:lnTo>
                  <a:pt x="6954072" y="3400671"/>
                </a:lnTo>
                <a:lnTo>
                  <a:pt x="6958738" y="3397206"/>
                </a:lnTo>
                <a:lnTo>
                  <a:pt x="6955374" y="3395257"/>
                </a:lnTo>
                <a:lnTo>
                  <a:pt x="6956025" y="3391251"/>
                </a:lnTo>
                <a:lnTo>
                  <a:pt x="6958738" y="3392009"/>
                </a:lnTo>
                <a:lnTo>
                  <a:pt x="6961993" y="3398830"/>
                </a:lnTo>
                <a:lnTo>
                  <a:pt x="6963078" y="3395907"/>
                </a:lnTo>
                <a:lnTo>
                  <a:pt x="6967419" y="3394716"/>
                </a:lnTo>
                <a:lnTo>
                  <a:pt x="6966334" y="3397423"/>
                </a:lnTo>
                <a:lnTo>
                  <a:pt x="6969589" y="3397964"/>
                </a:lnTo>
                <a:lnTo>
                  <a:pt x="6972845" y="3393092"/>
                </a:lnTo>
                <a:lnTo>
                  <a:pt x="6975558" y="3392117"/>
                </a:lnTo>
                <a:lnTo>
                  <a:pt x="6973278" y="3389843"/>
                </a:lnTo>
                <a:lnTo>
                  <a:pt x="6976100" y="3388003"/>
                </a:lnTo>
                <a:lnTo>
                  <a:pt x="6980658" y="3390926"/>
                </a:lnTo>
                <a:lnTo>
                  <a:pt x="6987386" y="3392551"/>
                </a:lnTo>
                <a:lnTo>
                  <a:pt x="6990967" y="3397964"/>
                </a:lnTo>
                <a:lnTo>
                  <a:pt x="6997804" y="3410415"/>
                </a:lnTo>
                <a:lnTo>
                  <a:pt x="7001819" y="3410957"/>
                </a:lnTo>
                <a:lnTo>
                  <a:pt x="7004206" y="3413988"/>
                </a:lnTo>
                <a:lnTo>
                  <a:pt x="7000408" y="3418643"/>
                </a:lnTo>
                <a:lnTo>
                  <a:pt x="7000734" y="3426114"/>
                </a:lnTo>
                <a:lnTo>
                  <a:pt x="6997044" y="3430987"/>
                </a:lnTo>
                <a:lnTo>
                  <a:pt x="6991618" y="3433477"/>
                </a:lnTo>
                <a:lnTo>
                  <a:pt x="6998563" y="3432177"/>
                </a:lnTo>
                <a:lnTo>
                  <a:pt x="7003229" y="3429471"/>
                </a:lnTo>
                <a:lnTo>
                  <a:pt x="7003229" y="3427197"/>
                </a:lnTo>
                <a:lnTo>
                  <a:pt x="7005617" y="3426655"/>
                </a:lnTo>
                <a:lnTo>
                  <a:pt x="7006268" y="3428605"/>
                </a:lnTo>
                <a:lnTo>
                  <a:pt x="7007244" y="3425898"/>
                </a:lnTo>
                <a:lnTo>
                  <a:pt x="7003772" y="3421351"/>
                </a:lnTo>
                <a:lnTo>
                  <a:pt x="7005942" y="3418535"/>
                </a:lnTo>
                <a:lnTo>
                  <a:pt x="7007895" y="3418535"/>
                </a:lnTo>
                <a:lnTo>
                  <a:pt x="7010501" y="3420700"/>
                </a:lnTo>
                <a:lnTo>
                  <a:pt x="7012996" y="3418102"/>
                </a:lnTo>
                <a:lnTo>
                  <a:pt x="7010608" y="3415396"/>
                </a:lnTo>
                <a:lnTo>
                  <a:pt x="7018096" y="3413988"/>
                </a:lnTo>
                <a:lnTo>
                  <a:pt x="7028188" y="3420485"/>
                </a:lnTo>
                <a:lnTo>
                  <a:pt x="7028731" y="3424274"/>
                </a:lnTo>
                <a:lnTo>
                  <a:pt x="7030575" y="3421026"/>
                </a:lnTo>
                <a:lnTo>
                  <a:pt x="7030684" y="3418102"/>
                </a:lnTo>
                <a:lnTo>
                  <a:pt x="7035242" y="3418643"/>
                </a:lnTo>
                <a:lnTo>
                  <a:pt x="7039040" y="3425681"/>
                </a:lnTo>
                <a:lnTo>
                  <a:pt x="7045225" y="3430661"/>
                </a:lnTo>
                <a:lnTo>
                  <a:pt x="7041102" y="3425031"/>
                </a:lnTo>
                <a:lnTo>
                  <a:pt x="7041210" y="3419835"/>
                </a:lnTo>
                <a:lnTo>
                  <a:pt x="7037195" y="3416695"/>
                </a:lnTo>
                <a:lnTo>
                  <a:pt x="7037086" y="3413771"/>
                </a:lnTo>
                <a:lnTo>
                  <a:pt x="7039040" y="3416695"/>
                </a:lnTo>
                <a:lnTo>
                  <a:pt x="7045225" y="3417453"/>
                </a:lnTo>
                <a:lnTo>
                  <a:pt x="7049024" y="3415829"/>
                </a:lnTo>
                <a:lnTo>
                  <a:pt x="7039257" y="3412580"/>
                </a:lnTo>
                <a:lnTo>
                  <a:pt x="7041102" y="3409116"/>
                </a:lnTo>
                <a:lnTo>
                  <a:pt x="7044141" y="3408249"/>
                </a:lnTo>
                <a:lnTo>
                  <a:pt x="7036002" y="3406733"/>
                </a:lnTo>
                <a:lnTo>
                  <a:pt x="7032746" y="3403378"/>
                </a:lnTo>
                <a:lnTo>
                  <a:pt x="7036544" y="3400996"/>
                </a:lnTo>
                <a:lnTo>
                  <a:pt x="7037955" y="3394716"/>
                </a:lnTo>
                <a:lnTo>
                  <a:pt x="7041102" y="3393741"/>
                </a:lnTo>
                <a:lnTo>
                  <a:pt x="7044791" y="3386162"/>
                </a:lnTo>
                <a:lnTo>
                  <a:pt x="7049024" y="3379558"/>
                </a:lnTo>
                <a:lnTo>
                  <a:pt x="7053147" y="3379558"/>
                </a:lnTo>
                <a:lnTo>
                  <a:pt x="7056620" y="3376635"/>
                </a:lnTo>
                <a:lnTo>
                  <a:pt x="7060852" y="3379017"/>
                </a:lnTo>
                <a:lnTo>
                  <a:pt x="7059875" y="3376418"/>
                </a:lnTo>
                <a:lnTo>
                  <a:pt x="7056294" y="3372629"/>
                </a:lnTo>
                <a:lnTo>
                  <a:pt x="7055860" y="3369706"/>
                </a:lnTo>
                <a:lnTo>
                  <a:pt x="7059875" y="3367431"/>
                </a:lnTo>
                <a:lnTo>
                  <a:pt x="7062371" y="3366133"/>
                </a:lnTo>
                <a:lnTo>
                  <a:pt x="7060092" y="3363643"/>
                </a:lnTo>
                <a:lnTo>
                  <a:pt x="7063131" y="3360611"/>
                </a:lnTo>
                <a:lnTo>
                  <a:pt x="7069099" y="3362451"/>
                </a:lnTo>
                <a:lnTo>
                  <a:pt x="7069425" y="3360394"/>
                </a:lnTo>
                <a:lnTo>
                  <a:pt x="7067254" y="3357362"/>
                </a:lnTo>
                <a:lnTo>
                  <a:pt x="7069425" y="3354115"/>
                </a:lnTo>
                <a:lnTo>
                  <a:pt x="7075068" y="3355847"/>
                </a:lnTo>
                <a:lnTo>
                  <a:pt x="7076695" y="3358229"/>
                </a:lnTo>
                <a:lnTo>
                  <a:pt x="7075285" y="3351949"/>
                </a:lnTo>
                <a:lnTo>
                  <a:pt x="7079734" y="3352815"/>
                </a:lnTo>
                <a:lnTo>
                  <a:pt x="7079191" y="3348376"/>
                </a:lnTo>
                <a:lnTo>
                  <a:pt x="7084617" y="3346319"/>
                </a:lnTo>
                <a:lnTo>
                  <a:pt x="7085377" y="3344370"/>
                </a:lnTo>
                <a:lnTo>
                  <a:pt x="7090585" y="3348917"/>
                </a:lnTo>
                <a:lnTo>
                  <a:pt x="7104367" y="3348160"/>
                </a:lnTo>
                <a:lnTo>
                  <a:pt x="7108166" y="3345670"/>
                </a:lnTo>
                <a:lnTo>
                  <a:pt x="7111746" y="3346752"/>
                </a:lnTo>
                <a:lnTo>
                  <a:pt x="7113374" y="3349892"/>
                </a:lnTo>
                <a:lnTo>
                  <a:pt x="7115218" y="3344587"/>
                </a:lnTo>
                <a:lnTo>
                  <a:pt x="7120102" y="3344154"/>
                </a:lnTo>
                <a:lnTo>
                  <a:pt x="7118691" y="3336574"/>
                </a:lnTo>
                <a:lnTo>
                  <a:pt x="7119125" y="3333326"/>
                </a:lnTo>
                <a:lnTo>
                  <a:pt x="7112288" y="3327588"/>
                </a:lnTo>
                <a:lnTo>
                  <a:pt x="7108273" y="3329320"/>
                </a:lnTo>
                <a:lnTo>
                  <a:pt x="7103824" y="3328238"/>
                </a:lnTo>
                <a:lnTo>
                  <a:pt x="7105235" y="3327047"/>
                </a:lnTo>
                <a:lnTo>
                  <a:pt x="7100569" y="3323366"/>
                </a:lnTo>
                <a:lnTo>
                  <a:pt x="7104584" y="3320334"/>
                </a:lnTo>
                <a:lnTo>
                  <a:pt x="7107840" y="3322716"/>
                </a:lnTo>
                <a:lnTo>
                  <a:pt x="7108708" y="3320875"/>
                </a:lnTo>
                <a:lnTo>
                  <a:pt x="7115001" y="3324556"/>
                </a:lnTo>
                <a:lnTo>
                  <a:pt x="7119017" y="3325964"/>
                </a:lnTo>
                <a:lnTo>
                  <a:pt x="7120861" y="3330295"/>
                </a:lnTo>
                <a:lnTo>
                  <a:pt x="7128023" y="3328129"/>
                </a:lnTo>
                <a:lnTo>
                  <a:pt x="7127481" y="3326072"/>
                </a:lnTo>
                <a:lnTo>
                  <a:pt x="7129652" y="3325531"/>
                </a:lnTo>
                <a:lnTo>
                  <a:pt x="7133233" y="3330078"/>
                </a:lnTo>
                <a:lnTo>
                  <a:pt x="7132907" y="3333543"/>
                </a:lnTo>
                <a:lnTo>
                  <a:pt x="7138116" y="3335925"/>
                </a:lnTo>
                <a:lnTo>
                  <a:pt x="7143976" y="3336791"/>
                </a:lnTo>
                <a:lnTo>
                  <a:pt x="7149402" y="3334193"/>
                </a:lnTo>
                <a:lnTo>
                  <a:pt x="7152115" y="3339282"/>
                </a:lnTo>
                <a:lnTo>
                  <a:pt x="7154285" y="3339823"/>
                </a:lnTo>
                <a:lnTo>
                  <a:pt x="7156130" y="3343287"/>
                </a:lnTo>
                <a:lnTo>
                  <a:pt x="7158408" y="3341772"/>
                </a:lnTo>
                <a:lnTo>
                  <a:pt x="7162424" y="3343503"/>
                </a:lnTo>
                <a:lnTo>
                  <a:pt x="7167958" y="3340364"/>
                </a:lnTo>
                <a:lnTo>
                  <a:pt x="7170019" y="3340905"/>
                </a:lnTo>
                <a:lnTo>
                  <a:pt x="7173601" y="3345994"/>
                </a:lnTo>
                <a:lnTo>
                  <a:pt x="7173818" y="3348160"/>
                </a:lnTo>
                <a:lnTo>
                  <a:pt x="7178376" y="3348484"/>
                </a:lnTo>
                <a:lnTo>
                  <a:pt x="7179786" y="3350433"/>
                </a:lnTo>
                <a:lnTo>
                  <a:pt x="7182608" y="3349892"/>
                </a:lnTo>
                <a:lnTo>
                  <a:pt x="7183367" y="3347943"/>
                </a:lnTo>
                <a:lnTo>
                  <a:pt x="7188794" y="3346211"/>
                </a:lnTo>
                <a:lnTo>
                  <a:pt x="7191288" y="3343287"/>
                </a:lnTo>
                <a:lnTo>
                  <a:pt x="7194761" y="3341772"/>
                </a:lnTo>
                <a:lnTo>
                  <a:pt x="7193676" y="3344154"/>
                </a:lnTo>
                <a:lnTo>
                  <a:pt x="7190963" y="3347077"/>
                </a:lnTo>
                <a:lnTo>
                  <a:pt x="7190747" y="3350109"/>
                </a:lnTo>
                <a:lnTo>
                  <a:pt x="7194001" y="3349242"/>
                </a:lnTo>
                <a:lnTo>
                  <a:pt x="7195737" y="3346211"/>
                </a:lnTo>
                <a:lnTo>
                  <a:pt x="7197692" y="3348917"/>
                </a:lnTo>
                <a:lnTo>
                  <a:pt x="7198559" y="3351733"/>
                </a:lnTo>
                <a:lnTo>
                  <a:pt x="7202358" y="3354115"/>
                </a:lnTo>
                <a:lnTo>
                  <a:pt x="7206372" y="3352166"/>
                </a:lnTo>
                <a:lnTo>
                  <a:pt x="7206372" y="3348917"/>
                </a:lnTo>
                <a:lnTo>
                  <a:pt x="7203442" y="3347618"/>
                </a:lnTo>
                <a:lnTo>
                  <a:pt x="7209085" y="3340905"/>
                </a:lnTo>
                <a:lnTo>
                  <a:pt x="7213101" y="3339065"/>
                </a:lnTo>
                <a:lnTo>
                  <a:pt x="7213752" y="3347185"/>
                </a:lnTo>
                <a:lnTo>
                  <a:pt x="7216790" y="3348484"/>
                </a:lnTo>
                <a:lnTo>
                  <a:pt x="7219938" y="3344911"/>
                </a:lnTo>
                <a:lnTo>
                  <a:pt x="7224821" y="3347185"/>
                </a:lnTo>
                <a:lnTo>
                  <a:pt x="7224604" y="3349567"/>
                </a:lnTo>
                <a:lnTo>
                  <a:pt x="7221348" y="3353897"/>
                </a:lnTo>
                <a:lnTo>
                  <a:pt x="7218309" y="3355522"/>
                </a:lnTo>
                <a:lnTo>
                  <a:pt x="7215922" y="3363643"/>
                </a:lnTo>
                <a:lnTo>
                  <a:pt x="7212450" y="3362776"/>
                </a:lnTo>
                <a:lnTo>
                  <a:pt x="7209194" y="3365266"/>
                </a:lnTo>
                <a:lnTo>
                  <a:pt x="7213426" y="3368731"/>
                </a:lnTo>
                <a:lnTo>
                  <a:pt x="7211364" y="3374145"/>
                </a:lnTo>
                <a:lnTo>
                  <a:pt x="7205504" y="3376851"/>
                </a:lnTo>
                <a:lnTo>
                  <a:pt x="7201056" y="3375985"/>
                </a:lnTo>
                <a:lnTo>
                  <a:pt x="7199862" y="3374145"/>
                </a:lnTo>
                <a:lnTo>
                  <a:pt x="7196932" y="3375444"/>
                </a:lnTo>
                <a:lnTo>
                  <a:pt x="7194436" y="3375227"/>
                </a:lnTo>
                <a:lnTo>
                  <a:pt x="7195304" y="3380315"/>
                </a:lnTo>
                <a:lnTo>
                  <a:pt x="7190421" y="3383564"/>
                </a:lnTo>
                <a:lnTo>
                  <a:pt x="7193893" y="3389952"/>
                </a:lnTo>
                <a:lnTo>
                  <a:pt x="7198017" y="3386920"/>
                </a:lnTo>
                <a:lnTo>
                  <a:pt x="7196064" y="3391251"/>
                </a:lnTo>
                <a:lnTo>
                  <a:pt x="7194544" y="3397964"/>
                </a:lnTo>
                <a:lnTo>
                  <a:pt x="7189878" y="3401212"/>
                </a:lnTo>
                <a:lnTo>
                  <a:pt x="7188794" y="3406951"/>
                </a:lnTo>
                <a:lnTo>
                  <a:pt x="7184235" y="3414204"/>
                </a:lnTo>
                <a:lnTo>
                  <a:pt x="7184452" y="3420159"/>
                </a:lnTo>
                <a:lnTo>
                  <a:pt x="7189661" y="3426222"/>
                </a:lnTo>
                <a:lnTo>
                  <a:pt x="7193676" y="3426764"/>
                </a:lnTo>
                <a:lnTo>
                  <a:pt x="7199862" y="3433151"/>
                </a:lnTo>
                <a:lnTo>
                  <a:pt x="7200947" y="3437808"/>
                </a:lnTo>
                <a:lnTo>
                  <a:pt x="7206915" y="3442680"/>
                </a:lnTo>
                <a:lnTo>
                  <a:pt x="7205613" y="3444628"/>
                </a:lnTo>
                <a:lnTo>
                  <a:pt x="7209953" y="3445711"/>
                </a:lnTo>
                <a:lnTo>
                  <a:pt x="7215163" y="3445603"/>
                </a:lnTo>
                <a:lnTo>
                  <a:pt x="7217876" y="3447769"/>
                </a:lnTo>
                <a:lnTo>
                  <a:pt x="7221022" y="3448093"/>
                </a:lnTo>
                <a:lnTo>
                  <a:pt x="7221348" y="3451125"/>
                </a:lnTo>
                <a:lnTo>
                  <a:pt x="7226990" y="3454806"/>
                </a:lnTo>
                <a:lnTo>
                  <a:pt x="7233285" y="3455348"/>
                </a:lnTo>
                <a:lnTo>
                  <a:pt x="7238494" y="3461952"/>
                </a:lnTo>
                <a:lnTo>
                  <a:pt x="7239795" y="3465958"/>
                </a:lnTo>
                <a:lnTo>
                  <a:pt x="7246632" y="3470289"/>
                </a:lnTo>
                <a:lnTo>
                  <a:pt x="7254120" y="3470830"/>
                </a:lnTo>
                <a:lnTo>
                  <a:pt x="7258786" y="3472779"/>
                </a:lnTo>
                <a:lnTo>
                  <a:pt x="7264429" y="3473753"/>
                </a:lnTo>
                <a:lnTo>
                  <a:pt x="7265840" y="3478950"/>
                </a:lnTo>
                <a:lnTo>
                  <a:pt x="7267468" y="3481116"/>
                </a:lnTo>
                <a:lnTo>
                  <a:pt x="7267684" y="3484039"/>
                </a:lnTo>
                <a:lnTo>
                  <a:pt x="7273653" y="3488695"/>
                </a:lnTo>
                <a:lnTo>
                  <a:pt x="7276691" y="3492917"/>
                </a:lnTo>
                <a:lnTo>
                  <a:pt x="7282986" y="3493350"/>
                </a:lnTo>
                <a:lnTo>
                  <a:pt x="7289171" y="3497789"/>
                </a:lnTo>
                <a:lnTo>
                  <a:pt x="7304363" y="3491726"/>
                </a:lnTo>
                <a:lnTo>
                  <a:pt x="7311742" y="3486204"/>
                </a:lnTo>
                <a:lnTo>
                  <a:pt x="7312285" y="3477110"/>
                </a:lnTo>
                <a:lnTo>
                  <a:pt x="7316625" y="3472779"/>
                </a:lnTo>
                <a:lnTo>
                  <a:pt x="7319447" y="3465417"/>
                </a:lnTo>
                <a:lnTo>
                  <a:pt x="7317927" y="3460544"/>
                </a:lnTo>
                <a:lnTo>
                  <a:pt x="7322160" y="3455889"/>
                </a:lnTo>
                <a:lnTo>
                  <a:pt x="7323028" y="3442355"/>
                </a:lnTo>
                <a:lnTo>
                  <a:pt x="7327912" y="3433151"/>
                </a:lnTo>
                <a:lnTo>
                  <a:pt x="7327912" y="3429146"/>
                </a:lnTo>
                <a:lnTo>
                  <a:pt x="7332469" y="3425031"/>
                </a:lnTo>
                <a:lnTo>
                  <a:pt x="7332903" y="3417994"/>
                </a:lnTo>
                <a:lnTo>
                  <a:pt x="7330625" y="3411823"/>
                </a:lnTo>
                <a:lnTo>
                  <a:pt x="7332252" y="3403161"/>
                </a:lnTo>
                <a:lnTo>
                  <a:pt x="7330081" y="3395257"/>
                </a:lnTo>
                <a:lnTo>
                  <a:pt x="7332252" y="3383564"/>
                </a:lnTo>
                <a:lnTo>
                  <a:pt x="7334964" y="3381507"/>
                </a:lnTo>
                <a:lnTo>
                  <a:pt x="7338546" y="3383023"/>
                </a:lnTo>
                <a:lnTo>
                  <a:pt x="7338004" y="3379017"/>
                </a:lnTo>
                <a:lnTo>
                  <a:pt x="7334531" y="3373386"/>
                </a:lnTo>
                <a:lnTo>
                  <a:pt x="7337136" y="3368731"/>
                </a:lnTo>
                <a:lnTo>
                  <a:pt x="7339089" y="3363967"/>
                </a:lnTo>
                <a:lnTo>
                  <a:pt x="7342127" y="3364617"/>
                </a:lnTo>
                <a:lnTo>
                  <a:pt x="7345057" y="3362560"/>
                </a:lnTo>
                <a:lnTo>
                  <a:pt x="7340608" y="3358986"/>
                </a:lnTo>
                <a:lnTo>
                  <a:pt x="7336918" y="3355522"/>
                </a:lnTo>
                <a:lnTo>
                  <a:pt x="7341042" y="3349784"/>
                </a:lnTo>
                <a:lnTo>
                  <a:pt x="7344189" y="3341988"/>
                </a:lnTo>
                <a:lnTo>
                  <a:pt x="7346902" y="3342313"/>
                </a:lnTo>
                <a:lnTo>
                  <a:pt x="7347987" y="3337549"/>
                </a:lnTo>
                <a:lnTo>
                  <a:pt x="7347987" y="3335492"/>
                </a:lnTo>
                <a:lnTo>
                  <a:pt x="7350483" y="3328238"/>
                </a:lnTo>
                <a:lnTo>
                  <a:pt x="7350483" y="3319793"/>
                </a:lnTo>
                <a:lnTo>
                  <a:pt x="7353196" y="3316003"/>
                </a:lnTo>
                <a:close/>
                <a:moveTo>
                  <a:pt x="4796274" y="3313282"/>
                </a:moveTo>
                <a:lnTo>
                  <a:pt x="4797845" y="3313730"/>
                </a:lnTo>
                <a:lnTo>
                  <a:pt x="4800775" y="3315787"/>
                </a:lnTo>
                <a:lnTo>
                  <a:pt x="4801475" y="3315883"/>
                </a:lnTo>
                <a:lnTo>
                  <a:pt x="4800776" y="3315787"/>
                </a:lnTo>
                <a:lnTo>
                  <a:pt x="4797846" y="3313729"/>
                </a:lnTo>
                <a:close/>
                <a:moveTo>
                  <a:pt x="4540335" y="3311563"/>
                </a:moveTo>
                <a:lnTo>
                  <a:pt x="4541637" y="3313728"/>
                </a:lnTo>
                <a:lnTo>
                  <a:pt x="4542072" y="3317085"/>
                </a:lnTo>
                <a:lnTo>
                  <a:pt x="4541746" y="3318817"/>
                </a:lnTo>
                <a:lnTo>
                  <a:pt x="4543591" y="3318925"/>
                </a:lnTo>
                <a:lnTo>
                  <a:pt x="4548257" y="3321091"/>
                </a:lnTo>
                <a:lnTo>
                  <a:pt x="4543591" y="3318925"/>
                </a:lnTo>
                <a:lnTo>
                  <a:pt x="4541746" y="3318817"/>
                </a:lnTo>
                <a:lnTo>
                  <a:pt x="4542072" y="3317085"/>
                </a:lnTo>
                <a:lnTo>
                  <a:pt x="4541638" y="3313729"/>
                </a:lnTo>
                <a:close/>
                <a:moveTo>
                  <a:pt x="4794590" y="3310915"/>
                </a:moveTo>
                <a:lnTo>
                  <a:pt x="4794807" y="3312863"/>
                </a:lnTo>
                <a:lnTo>
                  <a:pt x="4794808" y="3312863"/>
                </a:lnTo>
                <a:lnTo>
                  <a:pt x="4794591" y="3310915"/>
                </a:lnTo>
                <a:close/>
                <a:moveTo>
                  <a:pt x="4971473" y="3309073"/>
                </a:moveTo>
                <a:lnTo>
                  <a:pt x="4974077" y="3309397"/>
                </a:lnTo>
                <a:lnTo>
                  <a:pt x="4976248" y="3314053"/>
                </a:lnTo>
                <a:lnTo>
                  <a:pt x="4974512" y="3316435"/>
                </a:lnTo>
                <a:lnTo>
                  <a:pt x="4976031" y="3321091"/>
                </a:lnTo>
                <a:lnTo>
                  <a:pt x="4974186" y="3323797"/>
                </a:lnTo>
                <a:lnTo>
                  <a:pt x="4971907" y="3324447"/>
                </a:lnTo>
                <a:lnTo>
                  <a:pt x="4969628" y="3323473"/>
                </a:lnTo>
                <a:lnTo>
                  <a:pt x="4968977" y="3318059"/>
                </a:lnTo>
                <a:lnTo>
                  <a:pt x="4967892" y="3314919"/>
                </a:lnTo>
                <a:close/>
                <a:moveTo>
                  <a:pt x="4532414" y="3308207"/>
                </a:moveTo>
                <a:lnTo>
                  <a:pt x="4530894" y="3309831"/>
                </a:lnTo>
                <a:lnTo>
                  <a:pt x="4529104" y="3309885"/>
                </a:lnTo>
                <a:lnTo>
                  <a:pt x="4530894" y="3309831"/>
                </a:lnTo>
                <a:close/>
                <a:moveTo>
                  <a:pt x="4852973" y="3308100"/>
                </a:moveTo>
                <a:lnTo>
                  <a:pt x="4856227" y="3310481"/>
                </a:lnTo>
                <a:lnTo>
                  <a:pt x="4856228" y="3310481"/>
                </a:lnTo>
                <a:close/>
                <a:moveTo>
                  <a:pt x="7349398" y="3306259"/>
                </a:moveTo>
                <a:lnTo>
                  <a:pt x="7352437" y="3306801"/>
                </a:lnTo>
                <a:lnTo>
                  <a:pt x="7354174" y="3310590"/>
                </a:lnTo>
                <a:lnTo>
                  <a:pt x="7351785" y="3310806"/>
                </a:lnTo>
                <a:lnTo>
                  <a:pt x="7349507" y="3312106"/>
                </a:lnTo>
                <a:close/>
                <a:moveTo>
                  <a:pt x="4467087" y="3306041"/>
                </a:moveTo>
                <a:lnTo>
                  <a:pt x="4467087" y="3306042"/>
                </a:lnTo>
                <a:lnTo>
                  <a:pt x="4467350" y="3306740"/>
                </a:lnTo>
                <a:close/>
                <a:moveTo>
                  <a:pt x="4475334" y="3304201"/>
                </a:moveTo>
                <a:lnTo>
                  <a:pt x="4474032" y="3305067"/>
                </a:lnTo>
                <a:lnTo>
                  <a:pt x="4471970" y="3305717"/>
                </a:lnTo>
                <a:lnTo>
                  <a:pt x="4470451" y="3307341"/>
                </a:lnTo>
                <a:lnTo>
                  <a:pt x="4467738" y="3307774"/>
                </a:lnTo>
                <a:lnTo>
                  <a:pt x="4467739" y="3307775"/>
                </a:lnTo>
                <a:lnTo>
                  <a:pt x="4470452" y="3307342"/>
                </a:lnTo>
                <a:lnTo>
                  <a:pt x="4471971" y="3305718"/>
                </a:lnTo>
                <a:lnTo>
                  <a:pt x="4474032" y="3305068"/>
                </a:lnTo>
                <a:lnTo>
                  <a:pt x="4475335" y="3304202"/>
                </a:lnTo>
                <a:lnTo>
                  <a:pt x="4477613" y="3304202"/>
                </a:lnTo>
                <a:lnTo>
                  <a:pt x="4480343" y="3306134"/>
                </a:lnTo>
                <a:lnTo>
                  <a:pt x="4477613" y="3304201"/>
                </a:lnTo>
                <a:close/>
                <a:moveTo>
                  <a:pt x="6896884" y="3303552"/>
                </a:moveTo>
                <a:lnTo>
                  <a:pt x="6898077" y="3306258"/>
                </a:lnTo>
                <a:lnTo>
                  <a:pt x="6896558" y="3310048"/>
                </a:lnTo>
                <a:lnTo>
                  <a:pt x="6885707" y="3314595"/>
                </a:lnTo>
                <a:lnTo>
                  <a:pt x="6882343" y="3313296"/>
                </a:lnTo>
                <a:lnTo>
                  <a:pt x="6885924" y="3310048"/>
                </a:lnTo>
                <a:lnTo>
                  <a:pt x="6893303" y="3306475"/>
                </a:lnTo>
                <a:lnTo>
                  <a:pt x="6892435" y="3305609"/>
                </a:lnTo>
                <a:close/>
                <a:moveTo>
                  <a:pt x="4509083" y="3302576"/>
                </a:moveTo>
                <a:lnTo>
                  <a:pt x="4504633" y="3303118"/>
                </a:lnTo>
                <a:lnTo>
                  <a:pt x="4500836" y="3304634"/>
                </a:lnTo>
                <a:lnTo>
                  <a:pt x="4496712" y="3306583"/>
                </a:lnTo>
                <a:lnTo>
                  <a:pt x="4494541" y="3307449"/>
                </a:lnTo>
                <a:lnTo>
                  <a:pt x="4491937" y="3308098"/>
                </a:lnTo>
                <a:lnTo>
                  <a:pt x="4489766" y="3307666"/>
                </a:lnTo>
                <a:lnTo>
                  <a:pt x="4483582" y="3307449"/>
                </a:lnTo>
                <a:lnTo>
                  <a:pt x="4480977" y="3306583"/>
                </a:lnTo>
                <a:lnTo>
                  <a:pt x="4480978" y="3306583"/>
                </a:lnTo>
                <a:lnTo>
                  <a:pt x="4483582" y="3307450"/>
                </a:lnTo>
                <a:lnTo>
                  <a:pt x="4489767" y="3307667"/>
                </a:lnTo>
                <a:lnTo>
                  <a:pt x="4491938" y="3308099"/>
                </a:lnTo>
                <a:lnTo>
                  <a:pt x="4494542" y="3307450"/>
                </a:lnTo>
                <a:lnTo>
                  <a:pt x="4496712" y="3306583"/>
                </a:lnTo>
                <a:lnTo>
                  <a:pt x="4500836" y="3304635"/>
                </a:lnTo>
                <a:lnTo>
                  <a:pt x="4504634" y="3303119"/>
                </a:lnTo>
                <a:lnTo>
                  <a:pt x="4509083" y="3302577"/>
                </a:lnTo>
                <a:close/>
                <a:moveTo>
                  <a:pt x="6861400" y="3302470"/>
                </a:moveTo>
                <a:lnTo>
                  <a:pt x="6864004" y="3304202"/>
                </a:lnTo>
                <a:lnTo>
                  <a:pt x="6864547" y="3306585"/>
                </a:lnTo>
                <a:lnTo>
                  <a:pt x="6861508" y="3308101"/>
                </a:lnTo>
                <a:lnTo>
                  <a:pt x="6857168" y="3307884"/>
                </a:lnTo>
                <a:lnTo>
                  <a:pt x="6859447" y="3303986"/>
                </a:lnTo>
                <a:close/>
                <a:moveTo>
                  <a:pt x="4616297" y="3302468"/>
                </a:moveTo>
                <a:lnTo>
                  <a:pt x="4616622" y="3315678"/>
                </a:lnTo>
                <a:lnTo>
                  <a:pt x="4616948" y="3321849"/>
                </a:lnTo>
                <a:lnTo>
                  <a:pt x="4618710" y="3323182"/>
                </a:lnTo>
                <a:lnTo>
                  <a:pt x="4616948" y="3321848"/>
                </a:lnTo>
                <a:lnTo>
                  <a:pt x="4616622" y="3315677"/>
                </a:lnTo>
                <a:close/>
                <a:moveTo>
                  <a:pt x="2397563" y="3298129"/>
                </a:moveTo>
                <a:lnTo>
                  <a:pt x="2397024" y="3299112"/>
                </a:lnTo>
                <a:lnTo>
                  <a:pt x="2400062" y="3310156"/>
                </a:lnTo>
                <a:lnTo>
                  <a:pt x="2398000" y="3314920"/>
                </a:lnTo>
                <a:lnTo>
                  <a:pt x="2402124" y="3323906"/>
                </a:lnTo>
                <a:lnTo>
                  <a:pt x="2407658" y="3326288"/>
                </a:lnTo>
                <a:lnTo>
                  <a:pt x="2409394" y="3333543"/>
                </a:lnTo>
                <a:lnTo>
                  <a:pt x="2414929" y="3336249"/>
                </a:lnTo>
                <a:lnTo>
                  <a:pt x="2422525" y="3341121"/>
                </a:lnTo>
                <a:lnTo>
                  <a:pt x="2427734" y="3345994"/>
                </a:lnTo>
                <a:lnTo>
                  <a:pt x="2429796" y="3343503"/>
                </a:lnTo>
                <a:lnTo>
                  <a:pt x="2439779" y="3341121"/>
                </a:lnTo>
                <a:lnTo>
                  <a:pt x="2448026" y="3349349"/>
                </a:lnTo>
                <a:lnTo>
                  <a:pt x="2454320" y="3347618"/>
                </a:lnTo>
                <a:lnTo>
                  <a:pt x="2462893" y="3356929"/>
                </a:lnTo>
                <a:lnTo>
                  <a:pt x="2466691" y="3356604"/>
                </a:lnTo>
                <a:lnTo>
                  <a:pt x="2477000" y="3360069"/>
                </a:lnTo>
                <a:lnTo>
                  <a:pt x="2483620" y="3362451"/>
                </a:lnTo>
                <a:lnTo>
                  <a:pt x="2485031" y="3369380"/>
                </a:lnTo>
                <a:lnTo>
                  <a:pt x="2489806" y="3370679"/>
                </a:lnTo>
                <a:lnTo>
                  <a:pt x="2495990" y="3374144"/>
                </a:lnTo>
                <a:lnTo>
                  <a:pt x="2509881" y="3372844"/>
                </a:lnTo>
                <a:lnTo>
                  <a:pt x="2519539" y="3378366"/>
                </a:lnTo>
                <a:lnTo>
                  <a:pt x="2521601" y="3382481"/>
                </a:lnTo>
                <a:lnTo>
                  <a:pt x="2520190" y="3393416"/>
                </a:lnTo>
                <a:lnTo>
                  <a:pt x="2522251" y="3402402"/>
                </a:lnTo>
                <a:lnTo>
                  <a:pt x="2519539" y="3407924"/>
                </a:lnTo>
                <a:lnTo>
                  <a:pt x="2528437" y="3423082"/>
                </a:lnTo>
                <a:lnTo>
                  <a:pt x="2527786" y="3434125"/>
                </a:lnTo>
                <a:lnTo>
                  <a:pt x="2569891" y="3434775"/>
                </a:lnTo>
                <a:lnTo>
                  <a:pt x="2571952" y="3449933"/>
                </a:lnTo>
                <a:lnTo>
                  <a:pt x="2571302" y="3459569"/>
                </a:lnTo>
                <a:lnTo>
                  <a:pt x="2583672" y="3462384"/>
                </a:lnTo>
                <a:lnTo>
                  <a:pt x="2596152" y="3484363"/>
                </a:lnTo>
                <a:lnTo>
                  <a:pt x="2596803" y="3496056"/>
                </a:lnTo>
                <a:lnTo>
                  <a:pt x="2585083" y="3519442"/>
                </a:lnTo>
                <a:lnTo>
                  <a:pt x="2585734" y="3522907"/>
                </a:lnTo>
                <a:lnTo>
                  <a:pt x="2582588" y="3527346"/>
                </a:lnTo>
                <a:lnTo>
                  <a:pt x="2584758" y="3529836"/>
                </a:lnTo>
                <a:lnTo>
                  <a:pt x="2579875" y="3524315"/>
                </a:lnTo>
                <a:lnTo>
                  <a:pt x="2576076" y="3523557"/>
                </a:lnTo>
                <a:lnTo>
                  <a:pt x="2560233" y="3511971"/>
                </a:lnTo>
                <a:lnTo>
                  <a:pt x="2532995" y="3511539"/>
                </a:lnTo>
                <a:lnTo>
                  <a:pt x="2500223" y="3520634"/>
                </a:lnTo>
                <a:lnTo>
                  <a:pt x="2494689" y="3524206"/>
                </a:lnTo>
                <a:lnTo>
                  <a:pt x="2494689" y="3524207"/>
                </a:lnTo>
                <a:lnTo>
                  <a:pt x="2500223" y="3520635"/>
                </a:lnTo>
                <a:lnTo>
                  <a:pt x="2532995" y="3511540"/>
                </a:lnTo>
                <a:lnTo>
                  <a:pt x="2560233" y="3511973"/>
                </a:lnTo>
                <a:lnTo>
                  <a:pt x="2576077" y="3523558"/>
                </a:lnTo>
                <a:lnTo>
                  <a:pt x="2579875" y="3524316"/>
                </a:lnTo>
                <a:lnTo>
                  <a:pt x="2584758" y="3529837"/>
                </a:lnTo>
                <a:lnTo>
                  <a:pt x="2583347" y="3535035"/>
                </a:lnTo>
                <a:lnTo>
                  <a:pt x="2589207" y="3539474"/>
                </a:lnTo>
                <a:lnTo>
                  <a:pt x="2589532" y="3546727"/>
                </a:lnTo>
                <a:lnTo>
                  <a:pt x="2594416" y="3553874"/>
                </a:lnTo>
                <a:lnTo>
                  <a:pt x="2591920" y="3568382"/>
                </a:lnTo>
                <a:lnTo>
                  <a:pt x="2593330" y="3574228"/>
                </a:lnTo>
                <a:lnTo>
                  <a:pt x="2591594" y="3579426"/>
                </a:lnTo>
                <a:lnTo>
                  <a:pt x="2593330" y="3584622"/>
                </a:lnTo>
                <a:lnTo>
                  <a:pt x="2602338" y="3583865"/>
                </a:lnTo>
                <a:lnTo>
                  <a:pt x="2606136" y="3585597"/>
                </a:lnTo>
                <a:lnTo>
                  <a:pt x="2617205" y="3584947"/>
                </a:lnTo>
                <a:lnTo>
                  <a:pt x="2624041" y="3587329"/>
                </a:lnTo>
                <a:lnTo>
                  <a:pt x="2635110" y="3582890"/>
                </a:lnTo>
                <a:lnTo>
                  <a:pt x="2640969" y="3587004"/>
                </a:lnTo>
                <a:lnTo>
                  <a:pt x="2645419" y="3588304"/>
                </a:lnTo>
                <a:lnTo>
                  <a:pt x="2647155" y="3593826"/>
                </a:lnTo>
                <a:lnTo>
                  <a:pt x="2653232" y="3619810"/>
                </a:lnTo>
                <a:lnTo>
                  <a:pt x="2657356" y="3628905"/>
                </a:lnTo>
                <a:lnTo>
                  <a:pt x="2661696" y="3630096"/>
                </a:lnTo>
                <a:lnTo>
                  <a:pt x="2671137" y="3624899"/>
                </a:lnTo>
                <a:lnTo>
                  <a:pt x="2676455" y="3626956"/>
                </a:lnTo>
                <a:lnTo>
                  <a:pt x="2680144" y="3630312"/>
                </a:lnTo>
                <a:lnTo>
                  <a:pt x="2683345" y="3630931"/>
                </a:lnTo>
                <a:lnTo>
                  <a:pt x="2683833" y="3630095"/>
                </a:lnTo>
                <a:lnTo>
                  <a:pt x="2680361" y="3629446"/>
                </a:lnTo>
                <a:lnTo>
                  <a:pt x="2676779" y="3626198"/>
                </a:lnTo>
                <a:lnTo>
                  <a:pt x="2671462" y="3624141"/>
                </a:lnTo>
                <a:lnTo>
                  <a:pt x="2662021" y="3629337"/>
                </a:lnTo>
                <a:lnTo>
                  <a:pt x="2657681" y="3628147"/>
                </a:lnTo>
                <a:lnTo>
                  <a:pt x="2653557" y="3619052"/>
                </a:lnTo>
                <a:lnTo>
                  <a:pt x="2647480" y="3593067"/>
                </a:lnTo>
                <a:lnTo>
                  <a:pt x="2645744" y="3587545"/>
                </a:lnTo>
                <a:lnTo>
                  <a:pt x="2641295" y="3586138"/>
                </a:lnTo>
                <a:lnTo>
                  <a:pt x="2635435" y="3582023"/>
                </a:lnTo>
                <a:lnTo>
                  <a:pt x="2624583" y="3586462"/>
                </a:lnTo>
                <a:lnTo>
                  <a:pt x="2617638" y="3584080"/>
                </a:lnTo>
                <a:lnTo>
                  <a:pt x="2606786" y="3584731"/>
                </a:lnTo>
                <a:lnTo>
                  <a:pt x="2602988" y="3582998"/>
                </a:lnTo>
                <a:lnTo>
                  <a:pt x="2593981" y="3583648"/>
                </a:lnTo>
                <a:lnTo>
                  <a:pt x="2592245" y="3578450"/>
                </a:lnTo>
                <a:lnTo>
                  <a:pt x="2593981" y="3573253"/>
                </a:lnTo>
                <a:lnTo>
                  <a:pt x="2592571" y="3567407"/>
                </a:lnTo>
                <a:lnTo>
                  <a:pt x="2594958" y="3552899"/>
                </a:lnTo>
                <a:lnTo>
                  <a:pt x="2590075" y="3545753"/>
                </a:lnTo>
                <a:lnTo>
                  <a:pt x="2590075" y="3538498"/>
                </a:lnTo>
                <a:lnTo>
                  <a:pt x="2584215" y="3534059"/>
                </a:lnTo>
                <a:lnTo>
                  <a:pt x="2585626" y="3528863"/>
                </a:lnTo>
                <a:lnTo>
                  <a:pt x="2583456" y="3526372"/>
                </a:lnTo>
                <a:lnTo>
                  <a:pt x="2586711" y="3521933"/>
                </a:lnTo>
                <a:lnTo>
                  <a:pt x="2586059" y="3518469"/>
                </a:lnTo>
                <a:lnTo>
                  <a:pt x="2597780" y="3494974"/>
                </a:lnTo>
                <a:lnTo>
                  <a:pt x="2597128" y="3483280"/>
                </a:lnTo>
                <a:lnTo>
                  <a:pt x="2584649" y="3461627"/>
                </a:lnTo>
                <a:lnTo>
                  <a:pt x="2572278" y="3458919"/>
                </a:lnTo>
                <a:lnTo>
                  <a:pt x="2572929" y="3449284"/>
                </a:lnTo>
                <a:lnTo>
                  <a:pt x="2570867" y="3434125"/>
                </a:lnTo>
                <a:lnTo>
                  <a:pt x="2528763" y="3433476"/>
                </a:lnTo>
                <a:lnTo>
                  <a:pt x="2529414" y="3422649"/>
                </a:lnTo>
                <a:lnTo>
                  <a:pt x="2520407" y="3407491"/>
                </a:lnTo>
                <a:lnTo>
                  <a:pt x="2523120" y="3401970"/>
                </a:lnTo>
                <a:lnTo>
                  <a:pt x="2521058" y="3392983"/>
                </a:lnTo>
                <a:lnTo>
                  <a:pt x="2522469" y="3382156"/>
                </a:lnTo>
                <a:lnTo>
                  <a:pt x="2520407" y="3378042"/>
                </a:lnTo>
                <a:lnTo>
                  <a:pt x="2510749" y="3372520"/>
                </a:lnTo>
                <a:lnTo>
                  <a:pt x="2496968" y="3373927"/>
                </a:lnTo>
                <a:lnTo>
                  <a:pt x="2490782" y="3370463"/>
                </a:lnTo>
                <a:lnTo>
                  <a:pt x="2485899" y="3369055"/>
                </a:lnTo>
                <a:lnTo>
                  <a:pt x="2484488" y="3362126"/>
                </a:lnTo>
                <a:lnTo>
                  <a:pt x="2477977" y="3359744"/>
                </a:lnTo>
                <a:lnTo>
                  <a:pt x="2467126" y="3356279"/>
                </a:lnTo>
                <a:lnTo>
                  <a:pt x="2463328" y="3356279"/>
                </a:lnTo>
                <a:lnTo>
                  <a:pt x="2454755" y="3346968"/>
                </a:lnTo>
                <a:lnTo>
                  <a:pt x="2448569" y="3348700"/>
                </a:lnTo>
                <a:lnTo>
                  <a:pt x="2440322" y="3340471"/>
                </a:lnTo>
                <a:lnTo>
                  <a:pt x="2430339" y="3342853"/>
                </a:lnTo>
                <a:lnTo>
                  <a:pt x="2428276" y="3345235"/>
                </a:lnTo>
                <a:lnTo>
                  <a:pt x="2423068" y="3340471"/>
                </a:lnTo>
                <a:lnTo>
                  <a:pt x="2415472" y="3335600"/>
                </a:lnTo>
                <a:lnTo>
                  <a:pt x="2409937" y="3332893"/>
                </a:lnTo>
                <a:lnTo>
                  <a:pt x="2408201" y="3325639"/>
                </a:lnTo>
                <a:lnTo>
                  <a:pt x="2402666" y="3323257"/>
                </a:lnTo>
                <a:lnTo>
                  <a:pt x="2398543" y="3314270"/>
                </a:lnTo>
                <a:lnTo>
                  <a:pt x="2400605" y="3309506"/>
                </a:lnTo>
                <a:lnTo>
                  <a:pt x="2397458" y="3298679"/>
                </a:lnTo>
                <a:close/>
                <a:moveTo>
                  <a:pt x="6896342" y="3295324"/>
                </a:moveTo>
                <a:lnTo>
                  <a:pt x="6898186" y="3295324"/>
                </a:lnTo>
                <a:lnTo>
                  <a:pt x="6896342" y="3300196"/>
                </a:lnTo>
                <a:lnTo>
                  <a:pt x="6893846" y="3299222"/>
                </a:lnTo>
                <a:close/>
                <a:moveTo>
                  <a:pt x="7352763" y="3294024"/>
                </a:moveTo>
                <a:lnTo>
                  <a:pt x="7356018" y="3294457"/>
                </a:lnTo>
                <a:lnTo>
                  <a:pt x="7354065" y="3297056"/>
                </a:lnTo>
                <a:close/>
                <a:moveTo>
                  <a:pt x="4467196" y="3292833"/>
                </a:moveTo>
                <a:lnTo>
                  <a:pt x="4467196" y="3292834"/>
                </a:lnTo>
                <a:lnTo>
                  <a:pt x="4470017" y="3294998"/>
                </a:lnTo>
                <a:lnTo>
                  <a:pt x="4470017" y="3294997"/>
                </a:lnTo>
                <a:close/>
                <a:moveTo>
                  <a:pt x="4624356" y="3287585"/>
                </a:moveTo>
                <a:lnTo>
                  <a:pt x="4624001" y="3289909"/>
                </a:lnTo>
                <a:lnTo>
                  <a:pt x="4623141" y="3290364"/>
                </a:lnTo>
                <a:lnTo>
                  <a:pt x="4624001" y="3289909"/>
                </a:lnTo>
                <a:close/>
                <a:moveTo>
                  <a:pt x="4624721" y="3284652"/>
                </a:moveTo>
                <a:lnTo>
                  <a:pt x="4624761" y="3284929"/>
                </a:lnTo>
                <a:lnTo>
                  <a:pt x="4624761" y="3284928"/>
                </a:lnTo>
                <a:close/>
                <a:moveTo>
                  <a:pt x="7560029" y="3284063"/>
                </a:moveTo>
                <a:lnTo>
                  <a:pt x="7563176" y="3284604"/>
                </a:lnTo>
                <a:lnTo>
                  <a:pt x="7565238" y="3286661"/>
                </a:lnTo>
                <a:lnTo>
                  <a:pt x="7565564" y="3287852"/>
                </a:lnTo>
                <a:lnTo>
                  <a:pt x="7567300" y="3288393"/>
                </a:lnTo>
                <a:lnTo>
                  <a:pt x="7567951" y="3289909"/>
                </a:lnTo>
                <a:lnTo>
                  <a:pt x="7570989" y="3287527"/>
                </a:lnTo>
                <a:lnTo>
                  <a:pt x="7573159" y="3287419"/>
                </a:lnTo>
                <a:lnTo>
                  <a:pt x="7573485" y="3289801"/>
                </a:lnTo>
                <a:lnTo>
                  <a:pt x="7571314" y="3291425"/>
                </a:lnTo>
                <a:lnTo>
                  <a:pt x="7570772" y="3293373"/>
                </a:lnTo>
                <a:lnTo>
                  <a:pt x="7568167" y="3294240"/>
                </a:lnTo>
                <a:lnTo>
                  <a:pt x="7564912" y="3293373"/>
                </a:lnTo>
                <a:lnTo>
                  <a:pt x="7565129" y="3290450"/>
                </a:lnTo>
                <a:lnTo>
                  <a:pt x="7563936" y="3289909"/>
                </a:lnTo>
                <a:lnTo>
                  <a:pt x="7561982" y="3285903"/>
                </a:lnTo>
                <a:lnTo>
                  <a:pt x="7560246" y="3285146"/>
                </a:lnTo>
                <a:close/>
                <a:moveTo>
                  <a:pt x="4464483" y="3280924"/>
                </a:moveTo>
                <a:lnTo>
                  <a:pt x="4467521" y="3283846"/>
                </a:lnTo>
                <a:lnTo>
                  <a:pt x="4467521" y="3283846"/>
                </a:lnTo>
                <a:close/>
                <a:moveTo>
                  <a:pt x="7556665" y="3275834"/>
                </a:moveTo>
                <a:lnTo>
                  <a:pt x="7559378" y="3276375"/>
                </a:lnTo>
                <a:lnTo>
                  <a:pt x="7561224" y="3276375"/>
                </a:lnTo>
                <a:lnTo>
                  <a:pt x="7562091" y="3278324"/>
                </a:lnTo>
                <a:lnTo>
                  <a:pt x="7561440" y="3279190"/>
                </a:lnTo>
                <a:lnTo>
                  <a:pt x="7562959" y="3279190"/>
                </a:lnTo>
                <a:lnTo>
                  <a:pt x="7564261" y="3281247"/>
                </a:lnTo>
                <a:lnTo>
                  <a:pt x="7563068" y="3282871"/>
                </a:lnTo>
                <a:lnTo>
                  <a:pt x="7562091" y="3281464"/>
                </a:lnTo>
                <a:lnTo>
                  <a:pt x="7558835" y="3281788"/>
                </a:lnTo>
                <a:lnTo>
                  <a:pt x="7556557" y="3280597"/>
                </a:lnTo>
                <a:lnTo>
                  <a:pt x="7555689" y="3276483"/>
                </a:lnTo>
                <a:close/>
                <a:moveTo>
                  <a:pt x="4737402" y="3273560"/>
                </a:moveTo>
                <a:lnTo>
                  <a:pt x="4737185" y="3275293"/>
                </a:lnTo>
                <a:lnTo>
                  <a:pt x="4734472" y="3281356"/>
                </a:lnTo>
                <a:lnTo>
                  <a:pt x="4735014" y="3283630"/>
                </a:lnTo>
                <a:lnTo>
                  <a:pt x="4739138" y="3286553"/>
                </a:lnTo>
                <a:lnTo>
                  <a:pt x="4740440" y="3290126"/>
                </a:lnTo>
                <a:lnTo>
                  <a:pt x="4740765" y="3295106"/>
                </a:lnTo>
                <a:lnTo>
                  <a:pt x="4739572" y="3296730"/>
                </a:lnTo>
                <a:lnTo>
                  <a:pt x="4739572" y="3298138"/>
                </a:lnTo>
                <a:lnTo>
                  <a:pt x="4734146" y="3303660"/>
                </a:lnTo>
                <a:lnTo>
                  <a:pt x="4733387" y="3307665"/>
                </a:lnTo>
                <a:lnTo>
                  <a:pt x="4734905" y="3311780"/>
                </a:lnTo>
                <a:lnTo>
                  <a:pt x="4735340" y="3315352"/>
                </a:lnTo>
                <a:lnTo>
                  <a:pt x="4736208" y="3318276"/>
                </a:lnTo>
                <a:lnTo>
                  <a:pt x="4734363" y="3321307"/>
                </a:lnTo>
                <a:lnTo>
                  <a:pt x="4736534" y="3325097"/>
                </a:lnTo>
                <a:lnTo>
                  <a:pt x="4735557" y="3327587"/>
                </a:lnTo>
                <a:lnTo>
                  <a:pt x="4734363" y="3328670"/>
                </a:lnTo>
                <a:lnTo>
                  <a:pt x="4735340" y="3331810"/>
                </a:lnTo>
                <a:lnTo>
                  <a:pt x="4735774" y="3334084"/>
                </a:lnTo>
                <a:lnTo>
                  <a:pt x="4738270" y="3335707"/>
                </a:lnTo>
                <a:lnTo>
                  <a:pt x="4738703" y="3337440"/>
                </a:lnTo>
                <a:lnTo>
                  <a:pt x="4736425" y="3338089"/>
                </a:lnTo>
                <a:lnTo>
                  <a:pt x="4735123" y="3340471"/>
                </a:lnTo>
                <a:lnTo>
                  <a:pt x="4731759" y="3342095"/>
                </a:lnTo>
                <a:lnTo>
                  <a:pt x="4726441" y="3345993"/>
                </a:lnTo>
                <a:lnTo>
                  <a:pt x="4725464" y="3347833"/>
                </a:lnTo>
                <a:lnTo>
                  <a:pt x="4725682" y="3351190"/>
                </a:lnTo>
                <a:lnTo>
                  <a:pt x="4726333" y="3353139"/>
                </a:lnTo>
                <a:lnTo>
                  <a:pt x="4725573" y="3355737"/>
                </a:lnTo>
                <a:lnTo>
                  <a:pt x="4725573" y="3359094"/>
                </a:lnTo>
                <a:lnTo>
                  <a:pt x="4721883" y="3363316"/>
                </a:lnTo>
                <a:lnTo>
                  <a:pt x="4719388" y="3364616"/>
                </a:lnTo>
                <a:lnTo>
                  <a:pt x="4720147" y="3366780"/>
                </a:lnTo>
                <a:lnTo>
                  <a:pt x="4723511" y="3370895"/>
                </a:lnTo>
                <a:lnTo>
                  <a:pt x="4725573" y="3375443"/>
                </a:lnTo>
                <a:lnTo>
                  <a:pt x="4726008" y="3377716"/>
                </a:lnTo>
                <a:lnTo>
                  <a:pt x="4725790" y="3377716"/>
                </a:lnTo>
                <a:lnTo>
                  <a:pt x="4718737" y="3380098"/>
                </a:lnTo>
                <a:lnTo>
                  <a:pt x="4704521" y="3385836"/>
                </a:lnTo>
                <a:lnTo>
                  <a:pt x="4700180" y="3386702"/>
                </a:lnTo>
                <a:lnTo>
                  <a:pt x="4675872" y="3396772"/>
                </a:lnTo>
                <a:lnTo>
                  <a:pt x="4670881" y="3396772"/>
                </a:lnTo>
                <a:lnTo>
                  <a:pt x="4661548" y="3401644"/>
                </a:lnTo>
                <a:lnTo>
                  <a:pt x="4659487" y="3405217"/>
                </a:lnTo>
                <a:lnTo>
                  <a:pt x="4659487" y="3405218"/>
                </a:lnTo>
                <a:lnTo>
                  <a:pt x="4661549" y="3401645"/>
                </a:lnTo>
                <a:lnTo>
                  <a:pt x="4670881" y="3396773"/>
                </a:lnTo>
                <a:lnTo>
                  <a:pt x="4675873" y="3396773"/>
                </a:lnTo>
                <a:lnTo>
                  <a:pt x="4700180" y="3386703"/>
                </a:lnTo>
                <a:lnTo>
                  <a:pt x="4704521" y="3385837"/>
                </a:lnTo>
                <a:lnTo>
                  <a:pt x="4718737" y="3380099"/>
                </a:lnTo>
                <a:lnTo>
                  <a:pt x="4725790" y="3377717"/>
                </a:lnTo>
                <a:lnTo>
                  <a:pt x="4726008" y="3377717"/>
                </a:lnTo>
                <a:lnTo>
                  <a:pt x="4732410" y="3376201"/>
                </a:lnTo>
                <a:lnTo>
                  <a:pt x="4733929" y="3378691"/>
                </a:lnTo>
                <a:lnTo>
                  <a:pt x="4734797" y="3380965"/>
                </a:lnTo>
                <a:lnTo>
                  <a:pt x="4736859" y="3383456"/>
                </a:lnTo>
                <a:lnTo>
                  <a:pt x="4737185" y="3386270"/>
                </a:lnTo>
                <a:lnTo>
                  <a:pt x="4741200" y="3388760"/>
                </a:lnTo>
                <a:lnTo>
                  <a:pt x="4741200" y="3388760"/>
                </a:lnTo>
                <a:lnTo>
                  <a:pt x="4737186" y="3386270"/>
                </a:lnTo>
                <a:lnTo>
                  <a:pt x="4736860" y="3383455"/>
                </a:lnTo>
                <a:lnTo>
                  <a:pt x="4734798" y="3380965"/>
                </a:lnTo>
                <a:lnTo>
                  <a:pt x="4733930" y="3378692"/>
                </a:lnTo>
                <a:lnTo>
                  <a:pt x="4732411" y="3376201"/>
                </a:lnTo>
                <a:lnTo>
                  <a:pt x="4726009" y="3377717"/>
                </a:lnTo>
                <a:lnTo>
                  <a:pt x="4725574" y="3375443"/>
                </a:lnTo>
                <a:lnTo>
                  <a:pt x="4723512" y="3370896"/>
                </a:lnTo>
                <a:lnTo>
                  <a:pt x="4720149" y="3366782"/>
                </a:lnTo>
                <a:lnTo>
                  <a:pt x="4719389" y="3364616"/>
                </a:lnTo>
                <a:lnTo>
                  <a:pt x="4721884" y="3363317"/>
                </a:lnTo>
                <a:lnTo>
                  <a:pt x="4725574" y="3359094"/>
                </a:lnTo>
                <a:lnTo>
                  <a:pt x="4725574" y="3355738"/>
                </a:lnTo>
                <a:lnTo>
                  <a:pt x="4726334" y="3353139"/>
                </a:lnTo>
                <a:lnTo>
                  <a:pt x="4725683" y="3351191"/>
                </a:lnTo>
                <a:lnTo>
                  <a:pt x="4725465" y="3347834"/>
                </a:lnTo>
                <a:lnTo>
                  <a:pt x="4726442" y="3345994"/>
                </a:lnTo>
                <a:lnTo>
                  <a:pt x="4731760" y="3342095"/>
                </a:lnTo>
                <a:lnTo>
                  <a:pt x="4735124" y="3340472"/>
                </a:lnTo>
                <a:lnTo>
                  <a:pt x="4736426" y="3338090"/>
                </a:lnTo>
                <a:lnTo>
                  <a:pt x="4738704" y="3337440"/>
                </a:lnTo>
                <a:lnTo>
                  <a:pt x="4738271" y="3335708"/>
                </a:lnTo>
                <a:lnTo>
                  <a:pt x="4735775" y="3334084"/>
                </a:lnTo>
                <a:lnTo>
                  <a:pt x="4735341" y="3331810"/>
                </a:lnTo>
                <a:lnTo>
                  <a:pt x="4734364" y="3328670"/>
                </a:lnTo>
                <a:lnTo>
                  <a:pt x="4735558" y="3327587"/>
                </a:lnTo>
                <a:lnTo>
                  <a:pt x="4736535" y="3325097"/>
                </a:lnTo>
                <a:lnTo>
                  <a:pt x="4734364" y="3321308"/>
                </a:lnTo>
                <a:lnTo>
                  <a:pt x="4736209" y="3318276"/>
                </a:lnTo>
                <a:lnTo>
                  <a:pt x="4735341" y="3315353"/>
                </a:lnTo>
                <a:lnTo>
                  <a:pt x="4734906" y="3311780"/>
                </a:lnTo>
                <a:lnTo>
                  <a:pt x="4733388" y="3307666"/>
                </a:lnTo>
                <a:lnTo>
                  <a:pt x="4734147" y="3303660"/>
                </a:lnTo>
                <a:lnTo>
                  <a:pt x="4739573" y="3298138"/>
                </a:lnTo>
                <a:lnTo>
                  <a:pt x="4739573" y="3296730"/>
                </a:lnTo>
                <a:lnTo>
                  <a:pt x="4740767" y="3295106"/>
                </a:lnTo>
                <a:lnTo>
                  <a:pt x="4740441" y="3290126"/>
                </a:lnTo>
                <a:lnTo>
                  <a:pt x="4739139" y="3286553"/>
                </a:lnTo>
                <a:lnTo>
                  <a:pt x="4735015" y="3283630"/>
                </a:lnTo>
                <a:lnTo>
                  <a:pt x="4734473" y="3281356"/>
                </a:lnTo>
                <a:lnTo>
                  <a:pt x="4737186" y="3275293"/>
                </a:lnTo>
                <a:lnTo>
                  <a:pt x="4737403" y="3273561"/>
                </a:lnTo>
                <a:close/>
                <a:moveTo>
                  <a:pt x="2378793" y="3273127"/>
                </a:moveTo>
                <a:lnTo>
                  <a:pt x="2371197" y="3276917"/>
                </a:lnTo>
                <a:lnTo>
                  <a:pt x="2363275" y="3278324"/>
                </a:lnTo>
                <a:lnTo>
                  <a:pt x="2352424" y="3285578"/>
                </a:lnTo>
                <a:lnTo>
                  <a:pt x="2348300" y="3296406"/>
                </a:lnTo>
                <a:lnTo>
                  <a:pt x="2341355" y="3298463"/>
                </a:lnTo>
                <a:lnTo>
                  <a:pt x="2335495" y="3298463"/>
                </a:lnTo>
                <a:lnTo>
                  <a:pt x="2330286" y="3302576"/>
                </a:lnTo>
                <a:lnTo>
                  <a:pt x="2326488" y="3302576"/>
                </a:lnTo>
                <a:lnTo>
                  <a:pt x="2319543" y="3306366"/>
                </a:lnTo>
                <a:lnTo>
                  <a:pt x="2312597" y="3306366"/>
                </a:lnTo>
                <a:lnTo>
                  <a:pt x="2297405" y="3306366"/>
                </a:lnTo>
                <a:lnTo>
                  <a:pt x="2296754" y="3306366"/>
                </a:lnTo>
                <a:lnTo>
                  <a:pt x="2294367" y="3305284"/>
                </a:lnTo>
                <a:lnTo>
                  <a:pt x="2291763" y="3305284"/>
                </a:lnTo>
                <a:lnTo>
                  <a:pt x="2286554" y="3305284"/>
                </a:lnTo>
                <a:lnTo>
                  <a:pt x="2281996" y="3306583"/>
                </a:lnTo>
                <a:lnTo>
                  <a:pt x="2277222" y="3307341"/>
                </a:lnTo>
                <a:lnTo>
                  <a:pt x="2275431" y="3305621"/>
                </a:lnTo>
                <a:lnTo>
                  <a:pt x="2275485" y="3307016"/>
                </a:lnTo>
                <a:lnTo>
                  <a:pt x="2278415" y="3309832"/>
                </a:lnTo>
                <a:lnTo>
                  <a:pt x="2283190" y="3308965"/>
                </a:lnTo>
                <a:lnTo>
                  <a:pt x="2287747" y="3307775"/>
                </a:lnTo>
                <a:lnTo>
                  <a:pt x="2292957" y="3307341"/>
                </a:lnTo>
                <a:lnTo>
                  <a:pt x="2295561" y="3307016"/>
                </a:lnTo>
                <a:lnTo>
                  <a:pt x="2297948" y="3308099"/>
                </a:lnTo>
                <a:lnTo>
                  <a:pt x="2298599" y="3308423"/>
                </a:lnTo>
                <a:lnTo>
                  <a:pt x="2313791" y="3308423"/>
                </a:lnTo>
                <a:lnTo>
                  <a:pt x="2320736" y="3308749"/>
                </a:lnTo>
                <a:lnTo>
                  <a:pt x="2327681" y="3304959"/>
                </a:lnTo>
                <a:lnTo>
                  <a:pt x="2331371" y="3304959"/>
                </a:lnTo>
                <a:lnTo>
                  <a:pt x="2336579" y="3300844"/>
                </a:lnTo>
                <a:lnTo>
                  <a:pt x="2342440" y="3300844"/>
                </a:lnTo>
                <a:lnTo>
                  <a:pt x="2349385" y="3298787"/>
                </a:lnTo>
                <a:lnTo>
                  <a:pt x="2353508" y="3288069"/>
                </a:lnTo>
                <a:lnTo>
                  <a:pt x="2364902" y="3280815"/>
                </a:lnTo>
                <a:lnTo>
                  <a:pt x="2372824" y="3279515"/>
                </a:lnTo>
                <a:lnTo>
                  <a:pt x="2380420" y="3275726"/>
                </a:lnTo>
                <a:lnTo>
                  <a:pt x="2385629" y="3275726"/>
                </a:lnTo>
                <a:lnTo>
                  <a:pt x="2390404" y="3279191"/>
                </a:lnTo>
                <a:lnTo>
                  <a:pt x="2395938" y="3275726"/>
                </a:lnTo>
                <a:lnTo>
                  <a:pt x="2397001" y="3276623"/>
                </a:lnTo>
                <a:lnTo>
                  <a:pt x="2397132" y="3275509"/>
                </a:lnTo>
                <a:lnTo>
                  <a:pt x="2394419" y="3273127"/>
                </a:lnTo>
                <a:lnTo>
                  <a:pt x="2388885" y="3276592"/>
                </a:lnTo>
                <a:lnTo>
                  <a:pt x="2384001" y="3273127"/>
                </a:lnTo>
                <a:close/>
                <a:moveTo>
                  <a:pt x="4463072" y="3272044"/>
                </a:moveTo>
                <a:lnTo>
                  <a:pt x="4463073" y="3272045"/>
                </a:lnTo>
                <a:lnTo>
                  <a:pt x="4465025" y="3272370"/>
                </a:lnTo>
                <a:lnTo>
                  <a:pt x="4465025" y="3272369"/>
                </a:lnTo>
                <a:close/>
                <a:moveTo>
                  <a:pt x="6802475" y="3271721"/>
                </a:moveTo>
                <a:lnTo>
                  <a:pt x="6808877" y="3276702"/>
                </a:lnTo>
                <a:lnTo>
                  <a:pt x="6813218" y="3276702"/>
                </a:lnTo>
                <a:lnTo>
                  <a:pt x="6817559" y="3274320"/>
                </a:lnTo>
                <a:lnTo>
                  <a:pt x="6823202" y="3277135"/>
                </a:lnTo>
                <a:lnTo>
                  <a:pt x="6824720" y="3281357"/>
                </a:lnTo>
                <a:lnTo>
                  <a:pt x="6829387" y="3281357"/>
                </a:lnTo>
                <a:lnTo>
                  <a:pt x="6833403" y="3287420"/>
                </a:lnTo>
                <a:lnTo>
                  <a:pt x="6837309" y="3291210"/>
                </a:lnTo>
                <a:lnTo>
                  <a:pt x="6837526" y="3294241"/>
                </a:lnTo>
                <a:lnTo>
                  <a:pt x="6831449" y="3297381"/>
                </a:lnTo>
                <a:lnTo>
                  <a:pt x="6824720" y="3298030"/>
                </a:lnTo>
                <a:lnTo>
                  <a:pt x="6819186" y="3295649"/>
                </a:lnTo>
                <a:lnTo>
                  <a:pt x="6815279" y="3289910"/>
                </a:lnTo>
                <a:lnTo>
                  <a:pt x="6811264" y="3289153"/>
                </a:lnTo>
                <a:lnTo>
                  <a:pt x="6807467" y="3284496"/>
                </a:lnTo>
                <a:lnTo>
                  <a:pt x="6802149" y="3285363"/>
                </a:lnTo>
                <a:lnTo>
                  <a:pt x="6795638" y="3283955"/>
                </a:lnTo>
                <a:lnTo>
                  <a:pt x="6791840" y="3280490"/>
                </a:lnTo>
                <a:lnTo>
                  <a:pt x="6792165" y="3277135"/>
                </a:lnTo>
                <a:close/>
                <a:moveTo>
                  <a:pt x="7547766" y="3270637"/>
                </a:moveTo>
                <a:lnTo>
                  <a:pt x="7550479" y="3272153"/>
                </a:lnTo>
                <a:lnTo>
                  <a:pt x="7553192" y="3276050"/>
                </a:lnTo>
                <a:lnTo>
                  <a:pt x="7552975" y="3279298"/>
                </a:lnTo>
                <a:lnTo>
                  <a:pt x="7551130" y="3278757"/>
                </a:lnTo>
                <a:lnTo>
                  <a:pt x="7549177" y="3276267"/>
                </a:lnTo>
                <a:lnTo>
                  <a:pt x="7547115" y="3276483"/>
                </a:lnTo>
                <a:lnTo>
                  <a:pt x="7545488" y="3272261"/>
                </a:lnTo>
                <a:close/>
                <a:moveTo>
                  <a:pt x="4626063" y="3270420"/>
                </a:moveTo>
                <a:lnTo>
                  <a:pt x="4625738" y="3273235"/>
                </a:lnTo>
                <a:lnTo>
                  <a:pt x="4625243" y="3273729"/>
                </a:lnTo>
                <a:lnTo>
                  <a:pt x="4625738" y="3273236"/>
                </a:lnTo>
                <a:close/>
                <a:moveTo>
                  <a:pt x="5053294" y="3270096"/>
                </a:moveTo>
                <a:lnTo>
                  <a:pt x="5052317" y="3272262"/>
                </a:lnTo>
                <a:lnTo>
                  <a:pt x="5051666" y="3270312"/>
                </a:lnTo>
                <a:close/>
                <a:moveTo>
                  <a:pt x="4460034" y="3268038"/>
                </a:moveTo>
                <a:lnTo>
                  <a:pt x="4460034" y="3268039"/>
                </a:lnTo>
                <a:lnTo>
                  <a:pt x="4461553" y="3269122"/>
                </a:lnTo>
                <a:lnTo>
                  <a:pt x="4461552" y="3269121"/>
                </a:lnTo>
                <a:close/>
                <a:moveTo>
                  <a:pt x="2273423" y="3266523"/>
                </a:moveTo>
                <a:lnTo>
                  <a:pt x="2264850" y="3271503"/>
                </a:lnTo>
                <a:lnTo>
                  <a:pt x="2254759" y="3280706"/>
                </a:lnTo>
                <a:lnTo>
                  <a:pt x="2242605" y="3279948"/>
                </a:lnTo>
                <a:lnTo>
                  <a:pt x="2232999" y="3279948"/>
                </a:lnTo>
                <a:lnTo>
                  <a:pt x="2233489" y="3282114"/>
                </a:lnTo>
                <a:lnTo>
                  <a:pt x="2243798" y="3282547"/>
                </a:lnTo>
                <a:lnTo>
                  <a:pt x="2255952" y="3283305"/>
                </a:lnTo>
                <a:lnTo>
                  <a:pt x="2266044" y="3274102"/>
                </a:lnTo>
                <a:lnTo>
                  <a:pt x="2274508" y="3269121"/>
                </a:lnTo>
                <a:lnTo>
                  <a:pt x="2275582" y="3270239"/>
                </a:lnTo>
                <a:lnTo>
                  <a:pt x="2275811" y="3269121"/>
                </a:lnTo>
                <a:close/>
                <a:moveTo>
                  <a:pt x="2218514" y="3264466"/>
                </a:moveTo>
                <a:lnTo>
                  <a:pt x="2206887" y="3265397"/>
                </a:lnTo>
                <a:lnTo>
                  <a:pt x="2204949" y="3267823"/>
                </a:lnTo>
                <a:lnTo>
                  <a:pt x="2219708" y="3266631"/>
                </a:lnTo>
                <a:lnTo>
                  <a:pt x="2226761" y="3267823"/>
                </a:lnTo>
                <a:lnTo>
                  <a:pt x="2230921" y="3273875"/>
                </a:lnTo>
                <a:lnTo>
                  <a:pt x="2230776" y="3273235"/>
                </a:lnTo>
                <a:lnTo>
                  <a:pt x="2225568" y="3265657"/>
                </a:lnTo>
                <a:close/>
                <a:moveTo>
                  <a:pt x="7605714" y="3263600"/>
                </a:moveTo>
                <a:lnTo>
                  <a:pt x="7612442" y="3269879"/>
                </a:lnTo>
                <a:lnTo>
                  <a:pt x="7612876" y="3272802"/>
                </a:lnTo>
                <a:lnTo>
                  <a:pt x="7607558" y="3269230"/>
                </a:lnTo>
                <a:lnTo>
                  <a:pt x="7605714" y="3269879"/>
                </a:lnTo>
                <a:lnTo>
                  <a:pt x="7604412" y="3267281"/>
                </a:lnTo>
                <a:close/>
                <a:moveTo>
                  <a:pt x="4458525" y="3263408"/>
                </a:moveTo>
                <a:lnTo>
                  <a:pt x="4460034" y="3265441"/>
                </a:lnTo>
                <a:lnTo>
                  <a:pt x="4460034" y="3265440"/>
                </a:lnTo>
                <a:close/>
                <a:moveTo>
                  <a:pt x="4726876" y="3262193"/>
                </a:moveTo>
                <a:lnTo>
                  <a:pt x="4726984" y="3262516"/>
                </a:lnTo>
                <a:lnTo>
                  <a:pt x="4728286" y="3265981"/>
                </a:lnTo>
                <a:lnTo>
                  <a:pt x="4729914" y="3267280"/>
                </a:lnTo>
                <a:lnTo>
                  <a:pt x="4731108" y="3270637"/>
                </a:lnTo>
                <a:lnTo>
                  <a:pt x="4733381" y="3271954"/>
                </a:lnTo>
                <a:lnTo>
                  <a:pt x="4731109" y="3270637"/>
                </a:lnTo>
                <a:lnTo>
                  <a:pt x="4729915" y="3267281"/>
                </a:lnTo>
                <a:lnTo>
                  <a:pt x="4728287" y="3265981"/>
                </a:lnTo>
                <a:lnTo>
                  <a:pt x="4726985" y="3262517"/>
                </a:lnTo>
                <a:lnTo>
                  <a:pt x="4726877" y="3262193"/>
                </a:lnTo>
                <a:close/>
                <a:moveTo>
                  <a:pt x="5048194" y="3260027"/>
                </a:moveTo>
                <a:lnTo>
                  <a:pt x="5051775" y="3261543"/>
                </a:lnTo>
                <a:lnTo>
                  <a:pt x="5053837" y="3262084"/>
                </a:lnTo>
                <a:lnTo>
                  <a:pt x="5052752" y="3263492"/>
                </a:lnTo>
                <a:lnTo>
                  <a:pt x="5048085" y="3264466"/>
                </a:lnTo>
                <a:lnTo>
                  <a:pt x="5045590" y="3263274"/>
                </a:lnTo>
                <a:close/>
                <a:moveTo>
                  <a:pt x="6810180" y="3256563"/>
                </a:moveTo>
                <a:lnTo>
                  <a:pt x="6812242" y="3257862"/>
                </a:lnTo>
                <a:lnTo>
                  <a:pt x="6811808" y="3260786"/>
                </a:lnTo>
                <a:lnTo>
                  <a:pt x="6808552" y="3261327"/>
                </a:lnTo>
                <a:close/>
                <a:moveTo>
                  <a:pt x="6712514" y="3256563"/>
                </a:moveTo>
                <a:lnTo>
                  <a:pt x="6714034" y="3259161"/>
                </a:lnTo>
                <a:lnTo>
                  <a:pt x="6711537" y="3260461"/>
                </a:lnTo>
                <a:lnTo>
                  <a:pt x="6710235" y="3258945"/>
                </a:lnTo>
                <a:close/>
                <a:moveTo>
                  <a:pt x="7390092" y="3254505"/>
                </a:moveTo>
                <a:lnTo>
                  <a:pt x="7390743" y="3256671"/>
                </a:lnTo>
                <a:lnTo>
                  <a:pt x="7388790" y="3255263"/>
                </a:lnTo>
                <a:close/>
                <a:moveTo>
                  <a:pt x="7381628" y="3254505"/>
                </a:moveTo>
                <a:lnTo>
                  <a:pt x="7388356" y="3257319"/>
                </a:lnTo>
                <a:lnTo>
                  <a:pt x="7391503" y="3261000"/>
                </a:lnTo>
                <a:close/>
                <a:moveTo>
                  <a:pt x="6895799" y="3254072"/>
                </a:moveTo>
                <a:lnTo>
                  <a:pt x="6891892" y="3255912"/>
                </a:lnTo>
                <a:lnTo>
                  <a:pt x="6889179" y="3258727"/>
                </a:lnTo>
                <a:lnTo>
                  <a:pt x="6890807" y="3254938"/>
                </a:lnTo>
                <a:close/>
                <a:moveTo>
                  <a:pt x="4719171" y="3253748"/>
                </a:moveTo>
                <a:lnTo>
                  <a:pt x="4720690" y="3257536"/>
                </a:lnTo>
                <a:lnTo>
                  <a:pt x="4725031" y="3262192"/>
                </a:lnTo>
                <a:lnTo>
                  <a:pt x="4720691" y="3257537"/>
                </a:lnTo>
                <a:lnTo>
                  <a:pt x="4719172" y="3253748"/>
                </a:lnTo>
                <a:close/>
                <a:moveTo>
                  <a:pt x="6989883" y="3253531"/>
                </a:moveTo>
                <a:lnTo>
                  <a:pt x="6992162" y="3255804"/>
                </a:lnTo>
                <a:lnTo>
                  <a:pt x="6992053" y="3257753"/>
                </a:lnTo>
                <a:lnTo>
                  <a:pt x="6987387" y="3260893"/>
                </a:lnTo>
                <a:lnTo>
                  <a:pt x="6984674" y="3261218"/>
                </a:lnTo>
                <a:lnTo>
                  <a:pt x="6982829" y="3264141"/>
                </a:lnTo>
                <a:lnTo>
                  <a:pt x="6975885" y="3266090"/>
                </a:lnTo>
                <a:lnTo>
                  <a:pt x="6969156" y="3270204"/>
                </a:lnTo>
                <a:lnTo>
                  <a:pt x="6959390" y="3272045"/>
                </a:lnTo>
                <a:lnTo>
                  <a:pt x="6954941" y="3271720"/>
                </a:lnTo>
                <a:lnTo>
                  <a:pt x="6951034" y="3272912"/>
                </a:lnTo>
                <a:lnTo>
                  <a:pt x="6946585" y="3277242"/>
                </a:lnTo>
                <a:lnTo>
                  <a:pt x="6945934" y="3277567"/>
                </a:lnTo>
                <a:lnTo>
                  <a:pt x="6943438" y="3278541"/>
                </a:lnTo>
                <a:lnTo>
                  <a:pt x="6941268" y="3281465"/>
                </a:lnTo>
                <a:lnTo>
                  <a:pt x="6932261" y="3288177"/>
                </a:lnTo>
                <a:lnTo>
                  <a:pt x="6929331" y="3292616"/>
                </a:lnTo>
                <a:lnTo>
                  <a:pt x="6924882" y="3295865"/>
                </a:lnTo>
                <a:lnTo>
                  <a:pt x="6920975" y="3295540"/>
                </a:lnTo>
                <a:lnTo>
                  <a:pt x="6916743" y="3296839"/>
                </a:lnTo>
                <a:lnTo>
                  <a:pt x="6909907" y="3301279"/>
                </a:lnTo>
                <a:lnTo>
                  <a:pt x="6902093" y="3301711"/>
                </a:lnTo>
                <a:lnTo>
                  <a:pt x="6899706" y="3299871"/>
                </a:lnTo>
                <a:lnTo>
                  <a:pt x="6901117" y="3294890"/>
                </a:lnTo>
                <a:lnTo>
                  <a:pt x="6903070" y="3296298"/>
                </a:lnTo>
                <a:lnTo>
                  <a:pt x="6905674" y="3296298"/>
                </a:lnTo>
                <a:lnTo>
                  <a:pt x="6904915" y="3294241"/>
                </a:lnTo>
                <a:lnTo>
                  <a:pt x="6902961" y="3292508"/>
                </a:lnTo>
                <a:lnTo>
                  <a:pt x="6903612" y="3290451"/>
                </a:lnTo>
                <a:lnTo>
                  <a:pt x="6908170" y="3283089"/>
                </a:lnTo>
                <a:lnTo>
                  <a:pt x="6909798" y="3278108"/>
                </a:lnTo>
                <a:lnTo>
                  <a:pt x="6914464" y="3275293"/>
                </a:lnTo>
                <a:lnTo>
                  <a:pt x="6915875" y="3273994"/>
                </a:lnTo>
                <a:lnTo>
                  <a:pt x="6919672" y="3270421"/>
                </a:lnTo>
                <a:lnTo>
                  <a:pt x="6926075" y="3269663"/>
                </a:lnTo>
                <a:lnTo>
                  <a:pt x="6929005" y="3268797"/>
                </a:lnTo>
                <a:lnTo>
                  <a:pt x="6933129" y="3267606"/>
                </a:lnTo>
                <a:lnTo>
                  <a:pt x="6935191" y="3266631"/>
                </a:lnTo>
                <a:lnTo>
                  <a:pt x="6940834" y="3263816"/>
                </a:lnTo>
                <a:lnTo>
                  <a:pt x="6948430" y="3257104"/>
                </a:lnTo>
                <a:lnTo>
                  <a:pt x="6958413" y="3257645"/>
                </a:lnTo>
                <a:lnTo>
                  <a:pt x="6965033" y="3256562"/>
                </a:lnTo>
                <a:lnTo>
                  <a:pt x="6969807" y="3256562"/>
                </a:lnTo>
                <a:lnTo>
                  <a:pt x="6975125" y="3255480"/>
                </a:lnTo>
                <a:lnTo>
                  <a:pt x="6980876" y="3255696"/>
                </a:lnTo>
                <a:close/>
                <a:moveTo>
                  <a:pt x="6803885" y="3252773"/>
                </a:moveTo>
                <a:lnTo>
                  <a:pt x="6808008" y="3254072"/>
                </a:lnTo>
                <a:lnTo>
                  <a:pt x="6806164" y="3255913"/>
                </a:lnTo>
                <a:lnTo>
                  <a:pt x="6804645" y="3261651"/>
                </a:lnTo>
                <a:lnTo>
                  <a:pt x="6802149" y="3258187"/>
                </a:lnTo>
                <a:close/>
                <a:moveTo>
                  <a:pt x="7387487" y="3252448"/>
                </a:moveTo>
                <a:lnTo>
                  <a:pt x="7386293" y="3253963"/>
                </a:lnTo>
                <a:lnTo>
                  <a:pt x="7383364" y="3252556"/>
                </a:lnTo>
                <a:close/>
                <a:moveTo>
                  <a:pt x="4714076" y="3251371"/>
                </a:moveTo>
                <a:lnTo>
                  <a:pt x="4716024" y="3253314"/>
                </a:lnTo>
                <a:lnTo>
                  <a:pt x="4716024" y="3253314"/>
                </a:lnTo>
                <a:close/>
                <a:moveTo>
                  <a:pt x="7391937" y="3249741"/>
                </a:moveTo>
                <a:lnTo>
                  <a:pt x="7395626" y="3249741"/>
                </a:lnTo>
                <a:lnTo>
                  <a:pt x="7394432" y="3252448"/>
                </a:lnTo>
                <a:cubicBezTo>
                  <a:pt x="7392698" y="3252361"/>
                  <a:pt x="7390959" y="3252361"/>
                  <a:pt x="7389224" y="3252448"/>
                </a:cubicBezTo>
                <a:close/>
                <a:moveTo>
                  <a:pt x="6923471" y="3249634"/>
                </a:moveTo>
                <a:lnTo>
                  <a:pt x="6923905" y="3251691"/>
                </a:lnTo>
                <a:lnTo>
                  <a:pt x="6920216" y="3256671"/>
                </a:lnTo>
                <a:lnTo>
                  <a:pt x="6917828" y="3254505"/>
                </a:lnTo>
                <a:lnTo>
                  <a:pt x="6914573" y="3254505"/>
                </a:lnTo>
                <a:lnTo>
                  <a:pt x="6916743" y="3252340"/>
                </a:lnTo>
                <a:lnTo>
                  <a:pt x="6921084" y="3251799"/>
                </a:lnTo>
                <a:close/>
                <a:moveTo>
                  <a:pt x="7572509" y="3248658"/>
                </a:moveTo>
                <a:lnTo>
                  <a:pt x="7573269" y="3254937"/>
                </a:lnTo>
                <a:lnTo>
                  <a:pt x="7572618" y="3258835"/>
                </a:lnTo>
                <a:lnTo>
                  <a:pt x="7571749" y="3258835"/>
                </a:lnTo>
                <a:lnTo>
                  <a:pt x="7572183" y="3257427"/>
                </a:lnTo>
                <a:lnTo>
                  <a:pt x="7571749" y="3254180"/>
                </a:lnTo>
                <a:lnTo>
                  <a:pt x="7570664" y="3254396"/>
                </a:lnTo>
                <a:lnTo>
                  <a:pt x="7568819" y="3251039"/>
                </a:lnTo>
                <a:lnTo>
                  <a:pt x="7569905" y="3249200"/>
                </a:lnTo>
                <a:close/>
                <a:moveTo>
                  <a:pt x="6730636" y="3247793"/>
                </a:moveTo>
                <a:lnTo>
                  <a:pt x="6738232" y="3250283"/>
                </a:lnTo>
                <a:lnTo>
                  <a:pt x="6737148" y="3255913"/>
                </a:lnTo>
                <a:lnTo>
                  <a:pt x="6734977" y="3258944"/>
                </a:lnTo>
                <a:lnTo>
                  <a:pt x="6735411" y="3262951"/>
                </a:lnTo>
                <a:lnTo>
                  <a:pt x="6732155" y="3261760"/>
                </a:lnTo>
                <a:lnTo>
                  <a:pt x="6727598" y="3263492"/>
                </a:lnTo>
                <a:lnTo>
                  <a:pt x="6719893" y="3261218"/>
                </a:lnTo>
                <a:lnTo>
                  <a:pt x="6718265" y="3259053"/>
                </a:lnTo>
                <a:lnTo>
                  <a:pt x="6720327" y="3257646"/>
                </a:lnTo>
                <a:lnTo>
                  <a:pt x="6724559" y="3257862"/>
                </a:lnTo>
                <a:lnTo>
                  <a:pt x="6725645" y="3251474"/>
                </a:lnTo>
                <a:close/>
                <a:moveTo>
                  <a:pt x="6912184" y="3247684"/>
                </a:moveTo>
                <a:lnTo>
                  <a:pt x="6914030" y="3248875"/>
                </a:lnTo>
                <a:lnTo>
                  <a:pt x="6909146" y="3253422"/>
                </a:lnTo>
                <a:lnTo>
                  <a:pt x="6906867" y="3256129"/>
                </a:lnTo>
                <a:lnTo>
                  <a:pt x="6901984" y="3257103"/>
                </a:lnTo>
                <a:lnTo>
                  <a:pt x="6899814" y="3255371"/>
                </a:lnTo>
                <a:lnTo>
                  <a:pt x="6904480" y="3252014"/>
                </a:lnTo>
                <a:lnTo>
                  <a:pt x="6903503" y="3249849"/>
                </a:lnTo>
                <a:lnTo>
                  <a:pt x="6905565" y="3248983"/>
                </a:lnTo>
                <a:lnTo>
                  <a:pt x="6908929" y="3249524"/>
                </a:lnTo>
                <a:close/>
                <a:moveTo>
                  <a:pt x="6898294" y="3246927"/>
                </a:moveTo>
                <a:lnTo>
                  <a:pt x="6899054" y="3248984"/>
                </a:lnTo>
                <a:lnTo>
                  <a:pt x="6897644" y="3251040"/>
                </a:lnTo>
                <a:lnTo>
                  <a:pt x="6895148" y="3249633"/>
                </a:lnTo>
                <a:close/>
                <a:moveTo>
                  <a:pt x="7036545" y="3246819"/>
                </a:moveTo>
                <a:lnTo>
                  <a:pt x="7038498" y="3248009"/>
                </a:lnTo>
                <a:lnTo>
                  <a:pt x="7034592" y="3248334"/>
                </a:lnTo>
                <a:lnTo>
                  <a:pt x="7032096" y="3247143"/>
                </a:lnTo>
                <a:close/>
                <a:moveTo>
                  <a:pt x="6953530" y="3245736"/>
                </a:moveTo>
                <a:lnTo>
                  <a:pt x="6954832" y="3247360"/>
                </a:lnTo>
                <a:lnTo>
                  <a:pt x="6952987" y="3248768"/>
                </a:lnTo>
                <a:lnTo>
                  <a:pt x="6952119" y="3247793"/>
                </a:lnTo>
                <a:close/>
                <a:moveTo>
                  <a:pt x="7004641" y="3245195"/>
                </a:moveTo>
                <a:lnTo>
                  <a:pt x="7004424" y="3247793"/>
                </a:lnTo>
                <a:lnTo>
                  <a:pt x="7001386" y="3246169"/>
                </a:lnTo>
                <a:close/>
                <a:moveTo>
                  <a:pt x="6931935" y="3245195"/>
                </a:moveTo>
                <a:lnTo>
                  <a:pt x="6933996" y="3246385"/>
                </a:lnTo>
                <a:lnTo>
                  <a:pt x="6940617" y="3245736"/>
                </a:lnTo>
                <a:lnTo>
                  <a:pt x="6943004" y="3247360"/>
                </a:lnTo>
                <a:lnTo>
                  <a:pt x="6940291" y="3250392"/>
                </a:lnTo>
                <a:lnTo>
                  <a:pt x="6932152" y="3253207"/>
                </a:lnTo>
                <a:lnTo>
                  <a:pt x="6927920" y="3252233"/>
                </a:lnTo>
                <a:lnTo>
                  <a:pt x="6927486" y="3250392"/>
                </a:lnTo>
                <a:lnTo>
                  <a:pt x="6929114" y="3248768"/>
                </a:lnTo>
                <a:lnTo>
                  <a:pt x="6927160" y="3247360"/>
                </a:lnTo>
                <a:close/>
                <a:moveTo>
                  <a:pt x="7018966" y="3244003"/>
                </a:moveTo>
                <a:lnTo>
                  <a:pt x="7018966" y="3246493"/>
                </a:lnTo>
                <a:lnTo>
                  <a:pt x="7013323" y="3248442"/>
                </a:lnTo>
                <a:lnTo>
                  <a:pt x="7008656" y="3246168"/>
                </a:lnTo>
                <a:lnTo>
                  <a:pt x="7008005" y="3244219"/>
                </a:lnTo>
                <a:lnTo>
                  <a:pt x="7015059" y="3244760"/>
                </a:lnTo>
                <a:close/>
                <a:moveTo>
                  <a:pt x="6993465" y="3243138"/>
                </a:moveTo>
                <a:lnTo>
                  <a:pt x="6995852" y="3245087"/>
                </a:lnTo>
                <a:lnTo>
                  <a:pt x="6992922" y="3246602"/>
                </a:lnTo>
                <a:lnTo>
                  <a:pt x="6990426" y="3244654"/>
                </a:lnTo>
                <a:close/>
                <a:moveTo>
                  <a:pt x="7388356" y="3242920"/>
                </a:moveTo>
                <a:lnTo>
                  <a:pt x="7392589" y="3243786"/>
                </a:lnTo>
                <a:lnTo>
                  <a:pt x="7391503" y="3244869"/>
                </a:lnTo>
                <a:lnTo>
                  <a:pt x="7389116" y="3244328"/>
                </a:lnTo>
                <a:close/>
                <a:moveTo>
                  <a:pt x="6769920" y="3242704"/>
                </a:moveTo>
                <a:lnTo>
                  <a:pt x="6773826" y="3244436"/>
                </a:lnTo>
                <a:lnTo>
                  <a:pt x="6778275" y="3247143"/>
                </a:lnTo>
                <a:lnTo>
                  <a:pt x="6783159" y="3245410"/>
                </a:lnTo>
                <a:lnTo>
                  <a:pt x="6787933" y="3248334"/>
                </a:lnTo>
                <a:lnTo>
                  <a:pt x="6787933" y="3252448"/>
                </a:lnTo>
                <a:lnTo>
                  <a:pt x="6790321" y="3251474"/>
                </a:lnTo>
                <a:lnTo>
                  <a:pt x="6789669" y="3247685"/>
                </a:lnTo>
                <a:lnTo>
                  <a:pt x="6794661" y="3249092"/>
                </a:lnTo>
                <a:lnTo>
                  <a:pt x="6794661" y="3252665"/>
                </a:lnTo>
                <a:lnTo>
                  <a:pt x="6796072" y="3256995"/>
                </a:lnTo>
                <a:lnTo>
                  <a:pt x="6797808" y="3254938"/>
                </a:lnTo>
                <a:lnTo>
                  <a:pt x="6797808" y="3260136"/>
                </a:lnTo>
                <a:lnTo>
                  <a:pt x="6791623" y="3260136"/>
                </a:lnTo>
                <a:lnTo>
                  <a:pt x="6794770" y="3262734"/>
                </a:lnTo>
                <a:lnTo>
                  <a:pt x="6788042" y="3261868"/>
                </a:lnTo>
                <a:lnTo>
                  <a:pt x="6783593" y="3262517"/>
                </a:lnTo>
                <a:lnTo>
                  <a:pt x="6782073" y="3259269"/>
                </a:lnTo>
                <a:lnTo>
                  <a:pt x="6776865" y="3263708"/>
                </a:lnTo>
                <a:lnTo>
                  <a:pt x="6771982" y="3262842"/>
                </a:lnTo>
                <a:lnTo>
                  <a:pt x="6766773" y="3265116"/>
                </a:lnTo>
                <a:lnTo>
                  <a:pt x="6762432" y="3263600"/>
                </a:lnTo>
                <a:lnTo>
                  <a:pt x="6760370" y="3266307"/>
                </a:lnTo>
                <a:lnTo>
                  <a:pt x="6755271" y="3268039"/>
                </a:lnTo>
                <a:lnTo>
                  <a:pt x="6751798" y="3266632"/>
                </a:lnTo>
                <a:lnTo>
                  <a:pt x="6745613" y="3268039"/>
                </a:lnTo>
                <a:lnTo>
                  <a:pt x="6741271" y="3266199"/>
                </a:lnTo>
                <a:lnTo>
                  <a:pt x="6738667" y="3263492"/>
                </a:lnTo>
                <a:lnTo>
                  <a:pt x="6740078" y="3261434"/>
                </a:lnTo>
                <a:lnTo>
                  <a:pt x="6738342" y="3259702"/>
                </a:lnTo>
                <a:lnTo>
                  <a:pt x="6738993" y="3256779"/>
                </a:lnTo>
                <a:cubicBezTo>
                  <a:pt x="6739939" y="3255434"/>
                  <a:pt x="6740991" y="3254167"/>
                  <a:pt x="6742140" y="3252989"/>
                </a:cubicBezTo>
                <a:lnTo>
                  <a:pt x="6748976" y="3250391"/>
                </a:lnTo>
                <a:lnTo>
                  <a:pt x="6753317" y="3251474"/>
                </a:lnTo>
                <a:lnTo>
                  <a:pt x="6757224" y="3250391"/>
                </a:lnTo>
                <a:lnTo>
                  <a:pt x="6760479" y="3251041"/>
                </a:lnTo>
                <a:lnTo>
                  <a:pt x="6761673" y="3255155"/>
                </a:lnTo>
                <a:lnTo>
                  <a:pt x="6767316" y="3258836"/>
                </a:lnTo>
                <a:lnTo>
                  <a:pt x="6771113" y="3257104"/>
                </a:lnTo>
                <a:lnTo>
                  <a:pt x="6777516" y="3256238"/>
                </a:lnTo>
                <a:lnTo>
                  <a:pt x="6773718" y="3252448"/>
                </a:lnTo>
                <a:lnTo>
                  <a:pt x="6764060" y="3248875"/>
                </a:lnTo>
                <a:lnTo>
                  <a:pt x="6764060" y="3246277"/>
                </a:lnTo>
                <a:close/>
                <a:moveTo>
                  <a:pt x="4692801" y="3242595"/>
                </a:moveTo>
                <a:lnTo>
                  <a:pt x="4693127" y="3244544"/>
                </a:lnTo>
                <a:lnTo>
                  <a:pt x="4693128" y="3244545"/>
                </a:lnTo>
                <a:lnTo>
                  <a:pt x="4692802" y="3242596"/>
                </a:lnTo>
                <a:close/>
                <a:moveTo>
                  <a:pt x="7060529" y="3242487"/>
                </a:moveTo>
                <a:lnTo>
                  <a:pt x="7058466" y="3245085"/>
                </a:lnTo>
                <a:lnTo>
                  <a:pt x="7055536" y="3245085"/>
                </a:lnTo>
                <a:close/>
                <a:moveTo>
                  <a:pt x="7272786" y="3242379"/>
                </a:moveTo>
                <a:lnTo>
                  <a:pt x="7274413" y="3242812"/>
                </a:lnTo>
                <a:lnTo>
                  <a:pt x="7276150" y="3248226"/>
                </a:lnTo>
                <a:lnTo>
                  <a:pt x="7274739" y="3249633"/>
                </a:lnTo>
                <a:lnTo>
                  <a:pt x="7270289" y="3248117"/>
                </a:lnTo>
                <a:lnTo>
                  <a:pt x="7268228" y="3247684"/>
                </a:lnTo>
                <a:lnTo>
                  <a:pt x="7270289" y="3244003"/>
                </a:lnTo>
                <a:close/>
                <a:moveTo>
                  <a:pt x="7088632" y="3242055"/>
                </a:moveTo>
                <a:lnTo>
                  <a:pt x="7091237" y="3242271"/>
                </a:lnTo>
                <a:lnTo>
                  <a:pt x="7090152" y="3243787"/>
                </a:lnTo>
                <a:lnTo>
                  <a:pt x="7087005" y="3246169"/>
                </a:lnTo>
                <a:lnTo>
                  <a:pt x="7083533" y="3246819"/>
                </a:lnTo>
                <a:lnTo>
                  <a:pt x="7084293" y="3244978"/>
                </a:lnTo>
                <a:close/>
                <a:moveTo>
                  <a:pt x="6704702" y="3241838"/>
                </a:moveTo>
                <a:lnTo>
                  <a:pt x="6710996" y="3243245"/>
                </a:lnTo>
                <a:lnTo>
                  <a:pt x="6716205" y="3249416"/>
                </a:lnTo>
                <a:lnTo>
                  <a:pt x="6715011" y="3252123"/>
                </a:lnTo>
                <a:lnTo>
                  <a:pt x="6710671" y="3252989"/>
                </a:lnTo>
                <a:lnTo>
                  <a:pt x="6709151" y="3254722"/>
                </a:lnTo>
                <a:lnTo>
                  <a:pt x="6705353" y="3256562"/>
                </a:lnTo>
                <a:lnTo>
                  <a:pt x="6703291" y="3259594"/>
                </a:lnTo>
                <a:lnTo>
                  <a:pt x="6702098" y="3256779"/>
                </a:lnTo>
                <a:lnTo>
                  <a:pt x="6696238" y="3252340"/>
                </a:lnTo>
                <a:lnTo>
                  <a:pt x="6689618" y="3250932"/>
                </a:lnTo>
                <a:lnTo>
                  <a:pt x="6687448" y="3247793"/>
                </a:lnTo>
                <a:lnTo>
                  <a:pt x="6687448" y="3244220"/>
                </a:lnTo>
                <a:lnTo>
                  <a:pt x="6692766" y="3242704"/>
                </a:lnTo>
                <a:lnTo>
                  <a:pt x="6698082" y="3244111"/>
                </a:lnTo>
                <a:close/>
                <a:moveTo>
                  <a:pt x="6888421" y="3241297"/>
                </a:moveTo>
                <a:lnTo>
                  <a:pt x="6893413" y="3243354"/>
                </a:lnTo>
                <a:lnTo>
                  <a:pt x="6893413" y="3247685"/>
                </a:lnTo>
                <a:lnTo>
                  <a:pt x="6891133" y="3251691"/>
                </a:lnTo>
                <a:lnTo>
                  <a:pt x="6887987" y="3253098"/>
                </a:lnTo>
                <a:lnTo>
                  <a:pt x="6884514" y="3257754"/>
                </a:lnTo>
                <a:lnTo>
                  <a:pt x="6879306" y="3258403"/>
                </a:lnTo>
                <a:lnTo>
                  <a:pt x="6877244" y="3260677"/>
                </a:lnTo>
                <a:lnTo>
                  <a:pt x="6873771" y="3259486"/>
                </a:lnTo>
                <a:lnTo>
                  <a:pt x="6867260" y="3258620"/>
                </a:lnTo>
                <a:lnTo>
                  <a:pt x="6860532" y="3261651"/>
                </a:lnTo>
                <a:lnTo>
                  <a:pt x="6852827" y="3260244"/>
                </a:lnTo>
                <a:lnTo>
                  <a:pt x="6847619" y="3262517"/>
                </a:lnTo>
                <a:lnTo>
                  <a:pt x="6846533" y="3263817"/>
                </a:lnTo>
                <a:lnTo>
                  <a:pt x="6843060" y="3263817"/>
                </a:lnTo>
                <a:lnTo>
                  <a:pt x="6840347" y="3262409"/>
                </a:lnTo>
                <a:lnTo>
                  <a:pt x="6836007" y="3264250"/>
                </a:lnTo>
                <a:lnTo>
                  <a:pt x="6833294" y="3261976"/>
                </a:lnTo>
                <a:lnTo>
                  <a:pt x="6829605" y="3261976"/>
                </a:lnTo>
                <a:lnTo>
                  <a:pt x="6826240" y="3262626"/>
                </a:lnTo>
                <a:lnTo>
                  <a:pt x="6822659" y="3261651"/>
                </a:lnTo>
                <a:lnTo>
                  <a:pt x="6819404" y="3261651"/>
                </a:lnTo>
                <a:lnTo>
                  <a:pt x="6815389" y="3260677"/>
                </a:lnTo>
                <a:lnTo>
                  <a:pt x="6813978" y="3256671"/>
                </a:lnTo>
                <a:cubicBezTo>
                  <a:pt x="6814238" y="3255193"/>
                  <a:pt x="6814637" y="3253743"/>
                  <a:pt x="6815171" y="3252340"/>
                </a:cubicBezTo>
                <a:lnTo>
                  <a:pt x="6822443" y="3248334"/>
                </a:lnTo>
                <a:lnTo>
                  <a:pt x="6834162" y="3245736"/>
                </a:lnTo>
                <a:lnTo>
                  <a:pt x="6840023" y="3248659"/>
                </a:lnTo>
                <a:lnTo>
                  <a:pt x="6843277" y="3247793"/>
                </a:lnTo>
                <a:lnTo>
                  <a:pt x="6849463" y="3249309"/>
                </a:lnTo>
                <a:lnTo>
                  <a:pt x="6855974" y="3253423"/>
                </a:lnTo>
                <a:lnTo>
                  <a:pt x="6860966" y="3251366"/>
                </a:lnTo>
                <a:lnTo>
                  <a:pt x="6867911" y="3251366"/>
                </a:lnTo>
                <a:lnTo>
                  <a:pt x="6871058" y="3253748"/>
                </a:lnTo>
                <a:lnTo>
                  <a:pt x="6876376" y="3253748"/>
                </a:lnTo>
                <a:lnTo>
                  <a:pt x="6879088" y="3250499"/>
                </a:lnTo>
                <a:lnTo>
                  <a:pt x="6883429" y="3249092"/>
                </a:lnTo>
                <a:lnTo>
                  <a:pt x="6886142" y="3244978"/>
                </a:lnTo>
                <a:lnTo>
                  <a:pt x="6884297" y="3244003"/>
                </a:lnTo>
                <a:close/>
                <a:moveTo>
                  <a:pt x="7395192" y="3235017"/>
                </a:moveTo>
                <a:lnTo>
                  <a:pt x="7396711" y="3239997"/>
                </a:lnTo>
                <a:lnTo>
                  <a:pt x="7396060" y="3241946"/>
                </a:lnTo>
                <a:lnTo>
                  <a:pt x="7394325" y="3242054"/>
                </a:lnTo>
                <a:lnTo>
                  <a:pt x="7392371" y="3239672"/>
                </a:lnTo>
                <a:lnTo>
                  <a:pt x="7392588" y="3237398"/>
                </a:lnTo>
                <a:close/>
                <a:moveTo>
                  <a:pt x="7055319" y="3234151"/>
                </a:moveTo>
                <a:lnTo>
                  <a:pt x="7058467" y="3235991"/>
                </a:lnTo>
                <a:lnTo>
                  <a:pt x="7059335" y="3239781"/>
                </a:lnTo>
                <a:lnTo>
                  <a:pt x="7055754" y="3240539"/>
                </a:lnTo>
                <a:lnTo>
                  <a:pt x="7052714" y="3238049"/>
                </a:lnTo>
                <a:lnTo>
                  <a:pt x="7052498" y="3235450"/>
                </a:lnTo>
                <a:close/>
                <a:moveTo>
                  <a:pt x="2192952" y="3234089"/>
                </a:moveTo>
                <a:lnTo>
                  <a:pt x="2192687" y="3234908"/>
                </a:lnTo>
                <a:lnTo>
                  <a:pt x="2199198" y="3241405"/>
                </a:lnTo>
                <a:lnTo>
                  <a:pt x="2209604" y="3258228"/>
                </a:lnTo>
                <a:lnTo>
                  <a:pt x="2209724" y="3258078"/>
                </a:lnTo>
                <a:lnTo>
                  <a:pt x="2198004" y="3239130"/>
                </a:lnTo>
                <a:close/>
                <a:moveTo>
                  <a:pt x="7397145" y="3233284"/>
                </a:moveTo>
                <a:lnTo>
                  <a:pt x="7399315" y="3235016"/>
                </a:lnTo>
                <a:lnTo>
                  <a:pt x="7400835" y="3237723"/>
                </a:lnTo>
                <a:lnTo>
                  <a:pt x="7399207" y="3237182"/>
                </a:lnTo>
                <a:close/>
                <a:moveTo>
                  <a:pt x="7425686" y="3232418"/>
                </a:moveTo>
                <a:cubicBezTo>
                  <a:pt x="7425686" y="3232526"/>
                  <a:pt x="7425686" y="3235990"/>
                  <a:pt x="7425686" y="3235990"/>
                </a:cubicBezTo>
                <a:lnTo>
                  <a:pt x="7424166" y="3233717"/>
                </a:lnTo>
                <a:close/>
                <a:moveTo>
                  <a:pt x="7408865" y="3231768"/>
                </a:moveTo>
                <a:lnTo>
                  <a:pt x="7411035" y="3233392"/>
                </a:lnTo>
                <a:lnTo>
                  <a:pt x="7411361" y="3234800"/>
                </a:lnTo>
                <a:lnTo>
                  <a:pt x="7408540" y="3234367"/>
                </a:lnTo>
                <a:close/>
                <a:moveTo>
                  <a:pt x="7417329" y="3231552"/>
                </a:moveTo>
                <a:lnTo>
                  <a:pt x="7416027" y="3233718"/>
                </a:lnTo>
                <a:lnTo>
                  <a:pt x="7415376" y="3231877"/>
                </a:lnTo>
                <a:close/>
                <a:moveTo>
                  <a:pt x="6980226" y="3228954"/>
                </a:moveTo>
                <a:lnTo>
                  <a:pt x="6984024" y="3230578"/>
                </a:lnTo>
                <a:lnTo>
                  <a:pt x="6985001" y="3233176"/>
                </a:lnTo>
                <a:lnTo>
                  <a:pt x="6981419" y="3235125"/>
                </a:lnTo>
                <a:lnTo>
                  <a:pt x="6977947" y="3237723"/>
                </a:lnTo>
                <a:lnTo>
                  <a:pt x="6976753" y="3239889"/>
                </a:lnTo>
                <a:lnTo>
                  <a:pt x="6974149" y="3237832"/>
                </a:lnTo>
                <a:lnTo>
                  <a:pt x="6966661" y="3236207"/>
                </a:lnTo>
                <a:lnTo>
                  <a:pt x="6961452" y="3239239"/>
                </a:lnTo>
                <a:lnTo>
                  <a:pt x="6960475" y="3237182"/>
                </a:lnTo>
                <a:lnTo>
                  <a:pt x="6962212" y="3232093"/>
                </a:lnTo>
                <a:lnTo>
                  <a:pt x="6965901" y="3230361"/>
                </a:lnTo>
                <a:lnTo>
                  <a:pt x="6968397" y="3232418"/>
                </a:lnTo>
                <a:lnTo>
                  <a:pt x="6976427" y="3231768"/>
                </a:lnTo>
                <a:close/>
                <a:moveTo>
                  <a:pt x="7412664" y="3228196"/>
                </a:moveTo>
                <a:lnTo>
                  <a:pt x="7415051" y="3228520"/>
                </a:lnTo>
                <a:lnTo>
                  <a:pt x="7414074" y="3231877"/>
                </a:lnTo>
                <a:lnTo>
                  <a:pt x="7414400" y="3233933"/>
                </a:lnTo>
                <a:lnTo>
                  <a:pt x="7411361" y="3230685"/>
                </a:lnTo>
                <a:close/>
                <a:moveTo>
                  <a:pt x="7084836" y="3227329"/>
                </a:moveTo>
                <a:lnTo>
                  <a:pt x="7084076" y="3228736"/>
                </a:lnTo>
                <a:lnTo>
                  <a:pt x="7082123" y="3228736"/>
                </a:lnTo>
                <a:close/>
                <a:moveTo>
                  <a:pt x="6997045" y="3226139"/>
                </a:moveTo>
                <a:lnTo>
                  <a:pt x="6999868" y="3227546"/>
                </a:lnTo>
                <a:lnTo>
                  <a:pt x="6995418" y="3230686"/>
                </a:lnTo>
                <a:lnTo>
                  <a:pt x="6995092" y="3227871"/>
                </a:lnTo>
                <a:close/>
                <a:moveTo>
                  <a:pt x="7264539" y="3225165"/>
                </a:moveTo>
                <a:lnTo>
                  <a:pt x="7273112" y="3225165"/>
                </a:lnTo>
                <a:lnTo>
                  <a:pt x="7274631" y="3226573"/>
                </a:lnTo>
                <a:lnTo>
                  <a:pt x="7278212" y="3229279"/>
                </a:lnTo>
                <a:lnTo>
                  <a:pt x="7277344" y="3231012"/>
                </a:lnTo>
                <a:lnTo>
                  <a:pt x="7276367" y="3235018"/>
                </a:lnTo>
                <a:lnTo>
                  <a:pt x="7275282" y="3236209"/>
                </a:lnTo>
                <a:lnTo>
                  <a:pt x="7275065" y="3239781"/>
                </a:lnTo>
                <a:lnTo>
                  <a:pt x="7273221" y="3242163"/>
                </a:lnTo>
                <a:lnTo>
                  <a:pt x="7269531" y="3243138"/>
                </a:lnTo>
                <a:lnTo>
                  <a:pt x="7265842" y="3247469"/>
                </a:lnTo>
                <a:lnTo>
                  <a:pt x="7261935" y="3249310"/>
                </a:lnTo>
                <a:lnTo>
                  <a:pt x="7255858" y="3248336"/>
                </a:lnTo>
                <a:lnTo>
                  <a:pt x="7252602" y="3248985"/>
                </a:lnTo>
                <a:cubicBezTo>
                  <a:pt x="7252602" y="3248985"/>
                  <a:pt x="7244463" y="3248985"/>
                  <a:pt x="7244463" y="3248985"/>
                </a:cubicBezTo>
                <a:lnTo>
                  <a:pt x="7254229" y="3239349"/>
                </a:lnTo>
                <a:lnTo>
                  <a:pt x="7256725" y="3234477"/>
                </a:lnTo>
                <a:lnTo>
                  <a:pt x="7259222" y="3227655"/>
                </a:lnTo>
                <a:close/>
                <a:moveTo>
                  <a:pt x="7090804" y="3225056"/>
                </a:moveTo>
                <a:lnTo>
                  <a:pt x="7090153" y="3226138"/>
                </a:lnTo>
                <a:lnTo>
                  <a:pt x="7087657" y="3226787"/>
                </a:lnTo>
                <a:lnTo>
                  <a:pt x="7084618" y="3225489"/>
                </a:lnTo>
                <a:close/>
                <a:moveTo>
                  <a:pt x="6722824" y="3222241"/>
                </a:moveTo>
                <a:lnTo>
                  <a:pt x="6722498" y="3223540"/>
                </a:lnTo>
                <a:lnTo>
                  <a:pt x="6719026" y="3223540"/>
                </a:lnTo>
                <a:lnTo>
                  <a:pt x="6718158" y="3222349"/>
                </a:lnTo>
                <a:lnTo>
                  <a:pt x="6721739" y="3222457"/>
                </a:lnTo>
                <a:close/>
                <a:moveTo>
                  <a:pt x="4349825" y="3219896"/>
                </a:moveTo>
                <a:lnTo>
                  <a:pt x="4350540" y="3220941"/>
                </a:lnTo>
                <a:lnTo>
                  <a:pt x="4350540" y="3220940"/>
                </a:lnTo>
                <a:close/>
                <a:moveTo>
                  <a:pt x="7101222" y="3219209"/>
                </a:moveTo>
                <a:lnTo>
                  <a:pt x="7103935" y="3219859"/>
                </a:lnTo>
                <a:lnTo>
                  <a:pt x="7104369" y="3221591"/>
                </a:lnTo>
                <a:lnTo>
                  <a:pt x="7103066" y="3224081"/>
                </a:lnTo>
                <a:lnTo>
                  <a:pt x="7104043" y="3227437"/>
                </a:lnTo>
                <a:lnTo>
                  <a:pt x="7102198" y="3233284"/>
                </a:lnTo>
                <a:lnTo>
                  <a:pt x="7096772" y="3240106"/>
                </a:lnTo>
                <a:lnTo>
                  <a:pt x="7093842" y="3240971"/>
                </a:lnTo>
                <a:lnTo>
                  <a:pt x="7090261" y="3238048"/>
                </a:lnTo>
                <a:lnTo>
                  <a:pt x="7090370" y="3234475"/>
                </a:lnTo>
                <a:lnTo>
                  <a:pt x="7092974" y="3232310"/>
                </a:lnTo>
                <a:lnTo>
                  <a:pt x="7092106" y="3230686"/>
                </a:lnTo>
                <a:lnTo>
                  <a:pt x="7092431" y="3228412"/>
                </a:lnTo>
                <a:lnTo>
                  <a:pt x="7098834" y="3222674"/>
                </a:lnTo>
                <a:lnTo>
                  <a:pt x="7098943" y="3220833"/>
                </a:lnTo>
                <a:close/>
                <a:moveTo>
                  <a:pt x="7105345" y="3217585"/>
                </a:moveTo>
                <a:lnTo>
                  <a:pt x="7109685" y="3218342"/>
                </a:lnTo>
                <a:lnTo>
                  <a:pt x="7111314" y="3220724"/>
                </a:lnTo>
                <a:close/>
                <a:moveTo>
                  <a:pt x="7028840" y="3217477"/>
                </a:moveTo>
                <a:lnTo>
                  <a:pt x="7031228" y="3219209"/>
                </a:lnTo>
                <a:lnTo>
                  <a:pt x="7030034" y="3221158"/>
                </a:lnTo>
                <a:lnTo>
                  <a:pt x="7027430" y="3221050"/>
                </a:lnTo>
                <a:lnTo>
                  <a:pt x="7026670" y="3219209"/>
                </a:lnTo>
                <a:close/>
                <a:moveTo>
                  <a:pt x="6835790" y="3217369"/>
                </a:moveTo>
                <a:lnTo>
                  <a:pt x="6839044" y="3219101"/>
                </a:lnTo>
                <a:lnTo>
                  <a:pt x="6836549" y="3221266"/>
                </a:lnTo>
                <a:lnTo>
                  <a:pt x="6833945" y="3219101"/>
                </a:lnTo>
                <a:close/>
                <a:moveTo>
                  <a:pt x="7111964" y="3212821"/>
                </a:moveTo>
                <a:lnTo>
                  <a:pt x="7113267" y="3213578"/>
                </a:lnTo>
                <a:lnTo>
                  <a:pt x="7109469" y="3215635"/>
                </a:lnTo>
                <a:close/>
                <a:moveTo>
                  <a:pt x="6650986" y="3212389"/>
                </a:moveTo>
                <a:lnTo>
                  <a:pt x="6653481" y="3214120"/>
                </a:lnTo>
                <a:lnTo>
                  <a:pt x="6666286" y="3214554"/>
                </a:lnTo>
                <a:lnTo>
                  <a:pt x="6669976" y="3215745"/>
                </a:lnTo>
                <a:lnTo>
                  <a:pt x="6676378" y="3214771"/>
                </a:lnTo>
                <a:lnTo>
                  <a:pt x="6678767" y="3215962"/>
                </a:lnTo>
                <a:lnTo>
                  <a:pt x="6676705" y="3218777"/>
                </a:lnTo>
                <a:lnTo>
                  <a:pt x="6671387" y="3219426"/>
                </a:lnTo>
                <a:lnTo>
                  <a:pt x="6667046" y="3221375"/>
                </a:lnTo>
                <a:lnTo>
                  <a:pt x="6658907" y="3220942"/>
                </a:lnTo>
                <a:lnTo>
                  <a:pt x="6655868" y="3222674"/>
                </a:lnTo>
                <a:lnTo>
                  <a:pt x="6652288" y="3222241"/>
                </a:lnTo>
                <a:lnTo>
                  <a:pt x="6647513" y="3217261"/>
                </a:lnTo>
                <a:close/>
                <a:moveTo>
                  <a:pt x="6706220" y="3212064"/>
                </a:moveTo>
                <a:lnTo>
                  <a:pt x="6710561" y="3212605"/>
                </a:lnTo>
                <a:lnTo>
                  <a:pt x="6713599" y="3213905"/>
                </a:lnTo>
                <a:lnTo>
                  <a:pt x="6714468" y="3215203"/>
                </a:lnTo>
                <a:lnTo>
                  <a:pt x="6712948" y="3215203"/>
                </a:lnTo>
                <a:lnTo>
                  <a:pt x="6710670" y="3214879"/>
                </a:lnTo>
                <a:lnTo>
                  <a:pt x="6707631" y="3218235"/>
                </a:lnTo>
                <a:lnTo>
                  <a:pt x="6704376" y="3215095"/>
                </a:lnTo>
                <a:lnTo>
                  <a:pt x="6704267" y="3213796"/>
                </a:lnTo>
                <a:close/>
                <a:moveTo>
                  <a:pt x="4343378" y="3211847"/>
                </a:moveTo>
                <a:lnTo>
                  <a:pt x="4343378" y="3211847"/>
                </a:lnTo>
                <a:lnTo>
                  <a:pt x="4345440" y="3213362"/>
                </a:lnTo>
                <a:close/>
                <a:moveTo>
                  <a:pt x="4430734" y="3211088"/>
                </a:moveTo>
                <a:lnTo>
                  <a:pt x="4430734" y="3211089"/>
                </a:lnTo>
                <a:lnTo>
                  <a:pt x="4458514" y="3213146"/>
                </a:lnTo>
                <a:lnTo>
                  <a:pt x="4458514" y="3213145"/>
                </a:lnTo>
                <a:close/>
                <a:moveTo>
                  <a:pt x="7051737" y="3206542"/>
                </a:moveTo>
                <a:lnTo>
                  <a:pt x="7052605" y="3208599"/>
                </a:lnTo>
                <a:lnTo>
                  <a:pt x="7049350" y="3208382"/>
                </a:lnTo>
                <a:close/>
                <a:moveTo>
                  <a:pt x="7177834" y="3206109"/>
                </a:moveTo>
                <a:lnTo>
                  <a:pt x="7178376" y="3208057"/>
                </a:lnTo>
                <a:lnTo>
                  <a:pt x="7177291" y="3209248"/>
                </a:lnTo>
                <a:lnTo>
                  <a:pt x="7175989" y="3208166"/>
                </a:lnTo>
                <a:close/>
                <a:moveTo>
                  <a:pt x="6470739" y="3204593"/>
                </a:moveTo>
                <a:lnTo>
                  <a:pt x="6473235" y="3204593"/>
                </a:lnTo>
                <a:lnTo>
                  <a:pt x="6473018" y="3206757"/>
                </a:lnTo>
                <a:lnTo>
                  <a:pt x="6471282" y="3206865"/>
                </a:lnTo>
                <a:close/>
                <a:moveTo>
                  <a:pt x="4424440" y="3202751"/>
                </a:moveTo>
                <a:lnTo>
                  <a:pt x="4424332" y="3204916"/>
                </a:lnTo>
                <a:lnTo>
                  <a:pt x="4401000" y="3205349"/>
                </a:lnTo>
                <a:lnTo>
                  <a:pt x="4400349" y="3212171"/>
                </a:lnTo>
                <a:lnTo>
                  <a:pt x="4398613" y="3215960"/>
                </a:lnTo>
                <a:lnTo>
                  <a:pt x="4396551" y="3217043"/>
                </a:lnTo>
                <a:lnTo>
                  <a:pt x="4397311" y="3221698"/>
                </a:lnTo>
                <a:lnTo>
                  <a:pt x="4397419" y="3228195"/>
                </a:lnTo>
                <a:lnTo>
                  <a:pt x="4379297" y="3229385"/>
                </a:lnTo>
                <a:lnTo>
                  <a:pt x="4376258" y="3231118"/>
                </a:lnTo>
                <a:lnTo>
                  <a:pt x="4368011" y="3230577"/>
                </a:lnTo>
                <a:lnTo>
                  <a:pt x="4365407" y="3229710"/>
                </a:lnTo>
                <a:lnTo>
                  <a:pt x="4360957" y="3230577"/>
                </a:lnTo>
                <a:lnTo>
                  <a:pt x="4354555" y="3230901"/>
                </a:lnTo>
                <a:lnTo>
                  <a:pt x="4351951" y="3229494"/>
                </a:lnTo>
                <a:lnTo>
                  <a:pt x="4351951" y="3229495"/>
                </a:lnTo>
                <a:lnTo>
                  <a:pt x="4354556" y="3230902"/>
                </a:lnTo>
                <a:lnTo>
                  <a:pt x="4360958" y="3230578"/>
                </a:lnTo>
                <a:lnTo>
                  <a:pt x="4365408" y="3229711"/>
                </a:lnTo>
                <a:lnTo>
                  <a:pt x="4368012" y="3230578"/>
                </a:lnTo>
                <a:lnTo>
                  <a:pt x="4376259" y="3231119"/>
                </a:lnTo>
                <a:lnTo>
                  <a:pt x="4379298" y="3229386"/>
                </a:lnTo>
                <a:lnTo>
                  <a:pt x="4397420" y="3228196"/>
                </a:lnTo>
                <a:lnTo>
                  <a:pt x="4397312" y="3221699"/>
                </a:lnTo>
                <a:lnTo>
                  <a:pt x="4396552" y="3217044"/>
                </a:lnTo>
                <a:lnTo>
                  <a:pt x="4398613" y="3215961"/>
                </a:lnTo>
                <a:lnTo>
                  <a:pt x="4400350" y="3212172"/>
                </a:lnTo>
                <a:lnTo>
                  <a:pt x="4401001" y="3205350"/>
                </a:lnTo>
                <a:lnTo>
                  <a:pt x="4424332" y="3204917"/>
                </a:lnTo>
                <a:lnTo>
                  <a:pt x="4424441" y="3202752"/>
                </a:lnTo>
                <a:lnTo>
                  <a:pt x="4431710" y="3203401"/>
                </a:lnTo>
                <a:lnTo>
                  <a:pt x="4431710" y="3203400"/>
                </a:lnTo>
                <a:close/>
                <a:moveTo>
                  <a:pt x="4654899" y="3200766"/>
                </a:moveTo>
                <a:lnTo>
                  <a:pt x="4666106" y="3216177"/>
                </a:lnTo>
                <a:lnTo>
                  <a:pt x="4671857" y="3235016"/>
                </a:lnTo>
                <a:lnTo>
                  <a:pt x="4668494" y="3233283"/>
                </a:lnTo>
                <a:lnTo>
                  <a:pt x="4629427" y="3242811"/>
                </a:lnTo>
                <a:lnTo>
                  <a:pt x="4619661" y="3261434"/>
                </a:lnTo>
                <a:lnTo>
                  <a:pt x="4619661" y="3261434"/>
                </a:lnTo>
                <a:lnTo>
                  <a:pt x="4629427" y="3242812"/>
                </a:lnTo>
                <a:lnTo>
                  <a:pt x="4668493" y="3233284"/>
                </a:lnTo>
                <a:lnTo>
                  <a:pt x="4671857" y="3235016"/>
                </a:lnTo>
                <a:lnTo>
                  <a:pt x="4671858" y="3235017"/>
                </a:lnTo>
                <a:lnTo>
                  <a:pt x="4666107" y="3216177"/>
                </a:lnTo>
                <a:close/>
                <a:moveTo>
                  <a:pt x="7172408" y="3199288"/>
                </a:moveTo>
                <a:lnTo>
                  <a:pt x="7174795" y="3201237"/>
                </a:lnTo>
                <a:lnTo>
                  <a:pt x="7175663" y="3203619"/>
                </a:lnTo>
                <a:lnTo>
                  <a:pt x="7172950" y="3204052"/>
                </a:lnTo>
                <a:lnTo>
                  <a:pt x="7170997" y="3202536"/>
                </a:lnTo>
                <a:lnTo>
                  <a:pt x="7170997" y="3200262"/>
                </a:lnTo>
                <a:cubicBezTo>
                  <a:pt x="7171441" y="3199900"/>
                  <a:pt x="7171912" y="3199575"/>
                  <a:pt x="7172408" y="3199288"/>
                </a:cubicBezTo>
                <a:close/>
                <a:moveTo>
                  <a:pt x="7161990" y="3196256"/>
                </a:moveTo>
                <a:lnTo>
                  <a:pt x="7163835" y="3197663"/>
                </a:lnTo>
                <a:lnTo>
                  <a:pt x="7168175" y="3201345"/>
                </a:lnTo>
                <a:lnTo>
                  <a:pt x="7169695" y="3204592"/>
                </a:lnTo>
                <a:lnTo>
                  <a:pt x="7171865" y="3205892"/>
                </a:lnTo>
                <a:lnTo>
                  <a:pt x="7170997" y="3208057"/>
                </a:lnTo>
                <a:lnTo>
                  <a:pt x="7166656" y="3212063"/>
                </a:lnTo>
                <a:lnTo>
                  <a:pt x="7164269" y="3212388"/>
                </a:lnTo>
                <a:lnTo>
                  <a:pt x="7161990" y="3210222"/>
                </a:lnTo>
                <a:lnTo>
                  <a:pt x="7162424" y="3205784"/>
                </a:lnTo>
                <a:lnTo>
                  <a:pt x="7163943" y="3205892"/>
                </a:lnTo>
                <a:lnTo>
                  <a:pt x="7165680" y="3207516"/>
                </a:lnTo>
                <a:lnTo>
                  <a:pt x="7164594" y="3204918"/>
                </a:lnTo>
                <a:lnTo>
                  <a:pt x="7162641" y="3203185"/>
                </a:lnTo>
                <a:lnTo>
                  <a:pt x="7162533" y="3198205"/>
                </a:lnTo>
                <a:close/>
                <a:moveTo>
                  <a:pt x="7063566" y="3196148"/>
                </a:moveTo>
                <a:lnTo>
                  <a:pt x="7066062" y="3197338"/>
                </a:lnTo>
                <a:lnTo>
                  <a:pt x="7062698" y="3199396"/>
                </a:lnTo>
                <a:close/>
                <a:moveTo>
                  <a:pt x="7163184" y="3191492"/>
                </a:moveTo>
                <a:lnTo>
                  <a:pt x="7165896" y="3192141"/>
                </a:lnTo>
                <a:lnTo>
                  <a:pt x="7166656" y="3194740"/>
                </a:lnTo>
                <a:lnTo>
                  <a:pt x="7170563" y="3198530"/>
                </a:lnTo>
                <a:lnTo>
                  <a:pt x="7169261" y="3199396"/>
                </a:lnTo>
                <a:lnTo>
                  <a:pt x="7166331" y="3197880"/>
                </a:lnTo>
                <a:lnTo>
                  <a:pt x="7162750" y="3193874"/>
                </a:lnTo>
                <a:close/>
                <a:moveTo>
                  <a:pt x="7174795" y="3188569"/>
                </a:moveTo>
                <a:lnTo>
                  <a:pt x="7176098" y="3188893"/>
                </a:lnTo>
                <a:lnTo>
                  <a:pt x="7177508" y="3191059"/>
                </a:lnTo>
                <a:lnTo>
                  <a:pt x="7177075" y="3192358"/>
                </a:lnTo>
                <a:lnTo>
                  <a:pt x="7178160" y="3192899"/>
                </a:lnTo>
                <a:lnTo>
                  <a:pt x="7177617" y="3195606"/>
                </a:lnTo>
                <a:lnTo>
                  <a:pt x="7175230" y="3198530"/>
                </a:lnTo>
                <a:lnTo>
                  <a:pt x="7173168" y="3197122"/>
                </a:lnTo>
                <a:lnTo>
                  <a:pt x="7168176" y="3194415"/>
                </a:lnTo>
                <a:lnTo>
                  <a:pt x="7167416" y="3193116"/>
                </a:lnTo>
                <a:lnTo>
                  <a:pt x="7170780" y="3190085"/>
                </a:lnTo>
                <a:close/>
                <a:moveTo>
                  <a:pt x="6492008" y="3187486"/>
                </a:moveTo>
                <a:lnTo>
                  <a:pt x="6494179" y="3189651"/>
                </a:lnTo>
                <a:lnTo>
                  <a:pt x="6499821" y="3189651"/>
                </a:lnTo>
                <a:lnTo>
                  <a:pt x="6507526" y="3190842"/>
                </a:lnTo>
                <a:lnTo>
                  <a:pt x="6511108" y="3193765"/>
                </a:lnTo>
                <a:lnTo>
                  <a:pt x="6513061" y="3192033"/>
                </a:lnTo>
                <a:lnTo>
                  <a:pt x="6515231" y="3189651"/>
                </a:lnTo>
                <a:lnTo>
                  <a:pt x="6522610" y="3190085"/>
                </a:lnTo>
                <a:lnTo>
                  <a:pt x="6527276" y="3193765"/>
                </a:lnTo>
                <a:lnTo>
                  <a:pt x="6535741" y="3195823"/>
                </a:lnTo>
                <a:lnTo>
                  <a:pt x="6546266" y="3196906"/>
                </a:lnTo>
                <a:lnTo>
                  <a:pt x="6548979" y="3201886"/>
                </a:lnTo>
                <a:lnTo>
                  <a:pt x="6548111" y="3206542"/>
                </a:lnTo>
                <a:lnTo>
                  <a:pt x="6550064" y="3208599"/>
                </a:lnTo>
                <a:lnTo>
                  <a:pt x="6558203" y="3212280"/>
                </a:lnTo>
                <a:lnTo>
                  <a:pt x="6572636" y="3212063"/>
                </a:lnTo>
                <a:lnTo>
                  <a:pt x="6585441" y="3214120"/>
                </a:lnTo>
                <a:lnTo>
                  <a:pt x="6596293" y="3212280"/>
                </a:lnTo>
                <a:lnTo>
                  <a:pt x="6599223" y="3208382"/>
                </a:lnTo>
                <a:lnTo>
                  <a:pt x="6600633" y="3198963"/>
                </a:lnTo>
                <a:lnTo>
                  <a:pt x="6605083" y="3198746"/>
                </a:lnTo>
                <a:lnTo>
                  <a:pt x="6611050" y="3204918"/>
                </a:lnTo>
                <a:lnTo>
                  <a:pt x="6614740" y="3204918"/>
                </a:lnTo>
                <a:lnTo>
                  <a:pt x="6619082" y="3204051"/>
                </a:lnTo>
                <a:lnTo>
                  <a:pt x="6622337" y="3206108"/>
                </a:lnTo>
                <a:lnTo>
                  <a:pt x="6627437" y="3210439"/>
                </a:lnTo>
                <a:lnTo>
                  <a:pt x="6631560" y="3210222"/>
                </a:lnTo>
                <a:lnTo>
                  <a:pt x="6634925" y="3213904"/>
                </a:lnTo>
                <a:lnTo>
                  <a:pt x="6637963" y="3212388"/>
                </a:lnTo>
                <a:lnTo>
                  <a:pt x="6644366" y="3212496"/>
                </a:lnTo>
                <a:lnTo>
                  <a:pt x="6644691" y="3218884"/>
                </a:lnTo>
                <a:lnTo>
                  <a:pt x="6649249" y="3224947"/>
                </a:lnTo>
                <a:lnTo>
                  <a:pt x="6649575" y="3228412"/>
                </a:lnTo>
                <a:lnTo>
                  <a:pt x="6652830" y="3232093"/>
                </a:lnTo>
                <a:lnTo>
                  <a:pt x="6658147" y="3234583"/>
                </a:lnTo>
                <a:lnTo>
                  <a:pt x="6663356" y="3232743"/>
                </a:lnTo>
                <a:lnTo>
                  <a:pt x="6667046" y="3235017"/>
                </a:lnTo>
                <a:lnTo>
                  <a:pt x="6670952" y="3234800"/>
                </a:lnTo>
                <a:lnTo>
                  <a:pt x="6674099" y="3232851"/>
                </a:lnTo>
                <a:lnTo>
                  <a:pt x="6678006" y="3232743"/>
                </a:lnTo>
                <a:lnTo>
                  <a:pt x="6679091" y="3234259"/>
                </a:lnTo>
                <a:lnTo>
                  <a:pt x="6683214" y="3235017"/>
                </a:lnTo>
                <a:lnTo>
                  <a:pt x="6685928" y="3237940"/>
                </a:lnTo>
                <a:lnTo>
                  <a:pt x="6684408" y="3248334"/>
                </a:lnTo>
                <a:lnTo>
                  <a:pt x="6682021" y="3251365"/>
                </a:lnTo>
                <a:lnTo>
                  <a:pt x="6684734" y="3253206"/>
                </a:lnTo>
                <a:lnTo>
                  <a:pt x="6686036" y="3260352"/>
                </a:lnTo>
                <a:lnTo>
                  <a:pt x="6683214" y="3261218"/>
                </a:lnTo>
                <a:lnTo>
                  <a:pt x="6679742" y="3257536"/>
                </a:lnTo>
                <a:lnTo>
                  <a:pt x="6674316" y="3258187"/>
                </a:lnTo>
                <a:lnTo>
                  <a:pt x="6668239" y="3253097"/>
                </a:lnTo>
                <a:lnTo>
                  <a:pt x="6663248" y="3251799"/>
                </a:lnTo>
                <a:lnTo>
                  <a:pt x="6658690" y="3246927"/>
                </a:lnTo>
                <a:lnTo>
                  <a:pt x="6655109" y="3246818"/>
                </a:lnTo>
                <a:lnTo>
                  <a:pt x="6648273" y="3250391"/>
                </a:lnTo>
                <a:lnTo>
                  <a:pt x="6641110" y="3250716"/>
                </a:lnTo>
                <a:lnTo>
                  <a:pt x="6635033" y="3247251"/>
                </a:lnTo>
                <a:lnTo>
                  <a:pt x="6628414" y="3245844"/>
                </a:lnTo>
                <a:lnTo>
                  <a:pt x="6622880" y="3250499"/>
                </a:lnTo>
                <a:lnTo>
                  <a:pt x="6616802" y="3246168"/>
                </a:lnTo>
                <a:lnTo>
                  <a:pt x="6608555" y="3245736"/>
                </a:lnTo>
                <a:lnTo>
                  <a:pt x="6603564" y="3248442"/>
                </a:lnTo>
                <a:lnTo>
                  <a:pt x="6590976" y="3243678"/>
                </a:lnTo>
                <a:lnTo>
                  <a:pt x="6579473" y="3236424"/>
                </a:lnTo>
                <a:lnTo>
                  <a:pt x="6571876" y="3236532"/>
                </a:lnTo>
                <a:lnTo>
                  <a:pt x="6566125" y="3232634"/>
                </a:lnTo>
                <a:lnTo>
                  <a:pt x="6562762" y="3232851"/>
                </a:lnTo>
                <a:lnTo>
                  <a:pt x="6559832" y="3236207"/>
                </a:lnTo>
                <a:lnTo>
                  <a:pt x="6555274" y="3235342"/>
                </a:lnTo>
                <a:lnTo>
                  <a:pt x="6551692" y="3231552"/>
                </a:lnTo>
                <a:lnTo>
                  <a:pt x="6548437" y="3231877"/>
                </a:lnTo>
                <a:lnTo>
                  <a:pt x="6544096" y="3236857"/>
                </a:lnTo>
                <a:lnTo>
                  <a:pt x="6533462" y="3233826"/>
                </a:lnTo>
                <a:lnTo>
                  <a:pt x="6526083" y="3228195"/>
                </a:lnTo>
                <a:lnTo>
                  <a:pt x="6518811" y="3227762"/>
                </a:lnTo>
                <a:lnTo>
                  <a:pt x="6515556" y="3226030"/>
                </a:lnTo>
                <a:lnTo>
                  <a:pt x="6511108" y="3228629"/>
                </a:lnTo>
                <a:lnTo>
                  <a:pt x="6505573" y="3226571"/>
                </a:lnTo>
                <a:lnTo>
                  <a:pt x="6499170" y="3225597"/>
                </a:lnTo>
                <a:lnTo>
                  <a:pt x="6497001" y="3223540"/>
                </a:lnTo>
                <a:lnTo>
                  <a:pt x="6500364" y="3217585"/>
                </a:lnTo>
                <a:lnTo>
                  <a:pt x="6502426" y="3215528"/>
                </a:lnTo>
                <a:lnTo>
                  <a:pt x="6499062" y="3215420"/>
                </a:lnTo>
                <a:lnTo>
                  <a:pt x="6496132" y="3216935"/>
                </a:lnTo>
                <a:lnTo>
                  <a:pt x="6492985" y="3214987"/>
                </a:lnTo>
                <a:lnTo>
                  <a:pt x="6490815" y="3210873"/>
                </a:lnTo>
                <a:lnTo>
                  <a:pt x="6485606" y="3212930"/>
                </a:lnTo>
                <a:lnTo>
                  <a:pt x="6475948" y="3212713"/>
                </a:lnTo>
                <a:lnTo>
                  <a:pt x="6472909" y="3210873"/>
                </a:lnTo>
                <a:lnTo>
                  <a:pt x="6472692" y="3208165"/>
                </a:lnTo>
                <a:lnTo>
                  <a:pt x="6474320" y="3207841"/>
                </a:lnTo>
                <a:lnTo>
                  <a:pt x="6476273" y="3209898"/>
                </a:lnTo>
                <a:lnTo>
                  <a:pt x="6479854" y="3208599"/>
                </a:lnTo>
                <a:lnTo>
                  <a:pt x="6480288" y="3203726"/>
                </a:lnTo>
                <a:lnTo>
                  <a:pt x="6485280" y="3203077"/>
                </a:lnTo>
                <a:lnTo>
                  <a:pt x="6487560" y="3198096"/>
                </a:lnTo>
                <a:lnTo>
                  <a:pt x="6487233" y="3193116"/>
                </a:lnTo>
                <a:close/>
                <a:moveTo>
                  <a:pt x="6834053" y="3185971"/>
                </a:moveTo>
                <a:lnTo>
                  <a:pt x="6837851" y="3193549"/>
                </a:lnTo>
                <a:lnTo>
                  <a:pt x="6836007" y="3197123"/>
                </a:lnTo>
                <a:lnTo>
                  <a:pt x="6834162" y="3202103"/>
                </a:lnTo>
                <a:lnTo>
                  <a:pt x="6833076" y="3198530"/>
                </a:lnTo>
                <a:lnTo>
                  <a:pt x="6831014" y="3195174"/>
                </a:lnTo>
                <a:lnTo>
                  <a:pt x="6832642" y="3192251"/>
                </a:lnTo>
                <a:lnTo>
                  <a:pt x="6832967" y="3188461"/>
                </a:lnTo>
                <a:close/>
                <a:moveTo>
                  <a:pt x="7164270" y="3183372"/>
                </a:moveTo>
                <a:lnTo>
                  <a:pt x="7165572" y="3183372"/>
                </a:lnTo>
                <a:lnTo>
                  <a:pt x="7165572" y="3184996"/>
                </a:lnTo>
                <a:lnTo>
                  <a:pt x="7163619" y="3184996"/>
                </a:lnTo>
                <a:close/>
                <a:moveTo>
                  <a:pt x="7127482" y="3178824"/>
                </a:moveTo>
                <a:lnTo>
                  <a:pt x="7130846" y="3183479"/>
                </a:lnTo>
                <a:lnTo>
                  <a:pt x="7130738" y="3189001"/>
                </a:lnTo>
                <a:lnTo>
                  <a:pt x="7129002" y="3187160"/>
                </a:lnTo>
                <a:lnTo>
                  <a:pt x="7128784" y="3183371"/>
                </a:lnTo>
                <a:close/>
                <a:moveTo>
                  <a:pt x="7169912" y="3177742"/>
                </a:moveTo>
                <a:lnTo>
                  <a:pt x="7172191" y="3178066"/>
                </a:lnTo>
                <a:lnTo>
                  <a:pt x="7175012" y="3180232"/>
                </a:lnTo>
                <a:lnTo>
                  <a:pt x="7176965" y="3180448"/>
                </a:lnTo>
                <a:lnTo>
                  <a:pt x="7177074" y="3184672"/>
                </a:lnTo>
                <a:lnTo>
                  <a:pt x="7175989" y="3186837"/>
                </a:lnTo>
                <a:lnTo>
                  <a:pt x="7173168" y="3186729"/>
                </a:lnTo>
                <a:lnTo>
                  <a:pt x="7169912" y="3189111"/>
                </a:lnTo>
                <a:lnTo>
                  <a:pt x="7168176" y="3189219"/>
                </a:lnTo>
                <a:lnTo>
                  <a:pt x="7167525" y="3186404"/>
                </a:lnTo>
                <a:lnTo>
                  <a:pt x="7170779" y="3184130"/>
                </a:lnTo>
                <a:lnTo>
                  <a:pt x="7168502" y="3184563"/>
                </a:lnTo>
                <a:lnTo>
                  <a:pt x="7168176" y="3182615"/>
                </a:lnTo>
                <a:lnTo>
                  <a:pt x="7165680" y="3181965"/>
                </a:lnTo>
                <a:lnTo>
                  <a:pt x="7167850" y="3181315"/>
                </a:lnTo>
                <a:close/>
                <a:moveTo>
                  <a:pt x="7175121" y="3176334"/>
                </a:moveTo>
                <a:lnTo>
                  <a:pt x="7177075" y="3179257"/>
                </a:lnTo>
                <a:lnTo>
                  <a:pt x="7175338" y="3179149"/>
                </a:lnTo>
                <a:lnTo>
                  <a:pt x="7173059" y="3176550"/>
                </a:lnTo>
                <a:close/>
                <a:moveTo>
                  <a:pt x="7493942" y="3175793"/>
                </a:moveTo>
                <a:lnTo>
                  <a:pt x="7497740" y="3178932"/>
                </a:lnTo>
                <a:lnTo>
                  <a:pt x="7498934" y="3183264"/>
                </a:lnTo>
                <a:lnTo>
                  <a:pt x="7497740" y="3185429"/>
                </a:lnTo>
                <a:lnTo>
                  <a:pt x="7493508" y="3182939"/>
                </a:lnTo>
                <a:lnTo>
                  <a:pt x="7491012" y="3179041"/>
                </a:lnTo>
                <a:close/>
                <a:moveTo>
                  <a:pt x="7140395" y="3174169"/>
                </a:moveTo>
                <a:lnTo>
                  <a:pt x="7138225" y="3178391"/>
                </a:lnTo>
                <a:lnTo>
                  <a:pt x="7134969" y="3188244"/>
                </a:lnTo>
                <a:lnTo>
                  <a:pt x="7131823" y="3189435"/>
                </a:lnTo>
                <a:lnTo>
                  <a:pt x="7133559" y="3186620"/>
                </a:lnTo>
                <a:lnTo>
                  <a:pt x="7135621" y="3176659"/>
                </a:lnTo>
                <a:close/>
                <a:moveTo>
                  <a:pt x="6400203" y="3172545"/>
                </a:moveTo>
                <a:lnTo>
                  <a:pt x="6403242" y="3174819"/>
                </a:lnTo>
                <a:lnTo>
                  <a:pt x="6403350" y="3178176"/>
                </a:lnTo>
                <a:lnTo>
                  <a:pt x="6397273" y="3173736"/>
                </a:lnTo>
                <a:close/>
                <a:moveTo>
                  <a:pt x="7477339" y="3169621"/>
                </a:moveTo>
                <a:lnTo>
                  <a:pt x="7480270" y="3171678"/>
                </a:lnTo>
                <a:lnTo>
                  <a:pt x="7480270" y="3175792"/>
                </a:lnTo>
                <a:lnTo>
                  <a:pt x="7477339" y="3176550"/>
                </a:lnTo>
                <a:lnTo>
                  <a:pt x="7475277" y="3173627"/>
                </a:lnTo>
                <a:close/>
                <a:moveTo>
                  <a:pt x="6868236" y="3167998"/>
                </a:moveTo>
                <a:lnTo>
                  <a:pt x="6871058" y="3172112"/>
                </a:lnTo>
                <a:lnTo>
                  <a:pt x="6872251" y="3176875"/>
                </a:lnTo>
                <a:lnTo>
                  <a:pt x="6868671" y="3179257"/>
                </a:lnTo>
                <a:lnTo>
                  <a:pt x="6866609" y="3178391"/>
                </a:lnTo>
                <a:lnTo>
                  <a:pt x="6864872" y="3173195"/>
                </a:lnTo>
                <a:lnTo>
                  <a:pt x="6866283" y="3171787"/>
                </a:lnTo>
                <a:lnTo>
                  <a:pt x="6866283" y="3168755"/>
                </a:lnTo>
                <a:close/>
                <a:moveTo>
                  <a:pt x="4238334" y="3162368"/>
                </a:moveTo>
                <a:lnTo>
                  <a:pt x="4238767" y="3171029"/>
                </a:lnTo>
                <a:lnTo>
                  <a:pt x="4238768" y="3171028"/>
                </a:lnTo>
                <a:close/>
                <a:moveTo>
                  <a:pt x="7550914" y="3159985"/>
                </a:moveTo>
                <a:lnTo>
                  <a:pt x="7554061" y="3164641"/>
                </a:lnTo>
                <a:lnTo>
                  <a:pt x="7551457" y="3167563"/>
                </a:lnTo>
                <a:lnTo>
                  <a:pt x="7546682" y="3162800"/>
                </a:lnTo>
                <a:lnTo>
                  <a:pt x="7547550" y="3160310"/>
                </a:lnTo>
                <a:close/>
                <a:moveTo>
                  <a:pt x="6886141" y="3159769"/>
                </a:moveTo>
                <a:lnTo>
                  <a:pt x="6888312" y="3163775"/>
                </a:lnTo>
                <a:lnTo>
                  <a:pt x="6888312" y="3166265"/>
                </a:lnTo>
                <a:lnTo>
                  <a:pt x="6885273" y="3169405"/>
                </a:lnTo>
                <a:lnTo>
                  <a:pt x="6885273" y="3173411"/>
                </a:lnTo>
                <a:lnTo>
                  <a:pt x="6883428" y="3173411"/>
                </a:lnTo>
                <a:lnTo>
                  <a:pt x="6882886" y="3175360"/>
                </a:lnTo>
                <a:lnTo>
                  <a:pt x="6878762" y="3175360"/>
                </a:lnTo>
                <a:lnTo>
                  <a:pt x="6876917" y="3173844"/>
                </a:lnTo>
                <a:cubicBezTo>
                  <a:pt x="6876917" y="3173844"/>
                  <a:pt x="6876157" y="3172653"/>
                  <a:pt x="6876157" y="3172653"/>
                </a:cubicBezTo>
                <a:lnTo>
                  <a:pt x="6880389" y="3167889"/>
                </a:lnTo>
                <a:lnTo>
                  <a:pt x="6878979" y="3165074"/>
                </a:lnTo>
                <a:lnTo>
                  <a:pt x="6882126" y="3161826"/>
                </a:lnTo>
                <a:close/>
                <a:moveTo>
                  <a:pt x="7453792" y="3154355"/>
                </a:moveTo>
                <a:lnTo>
                  <a:pt x="7453249" y="3157278"/>
                </a:lnTo>
                <a:lnTo>
                  <a:pt x="7449994" y="3159876"/>
                </a:lnTo>
                <a:lnTo>
                  <a:pt x="7448474" y="3156412"/>
                </a:lnTo>
                <a:close/>
                <a:moveTo>
                  <a:pt x="6896341" y="3153056"/>
                </a:moveTo>
                <a:lnTo>
                  <a:pt x="6899814" y="3153597"/>
                </a:lnTo>
                <a:lnTo>
                  <a:pt x="6899814" y="3156629"/>
                </a:lnTo>
                <a:lnTo>
                  <a:pt x="6901333" y="3159877"/>
                </a:lnTo>
                <a:lnTo>
                  <a:pt x="6901116" y="3162042"/>
                </a:lnTo>
                <a:lnTo>
                  <a:pt x="6899922" y="3160202"/>
                </a:lnTo>
                <a:lnTo>
                  <a:pt x="6899162" y="3162259"/>
                </a:lnTo>
                <a:lnTo>
                  <a:pt x="6896341" y="3164424"/>
                </a:lnTo>
                <a:lnTo>
                  <a:pt x="6894930" y="3166266"/>
                </a:lnTo>
                <a:lnTo>
                  <a:pt x="6896015" y="3169838"/>
                </a:lnTo>
                <a:lnTo>
                  <a:pt x="6899814" y="3170812"/>
                </a:lnTo>
                <a:lnTo>
                  <a:pt x="6900574" y="3172870"/>
                </a:lnTo>
                <a:lnTo>
                  <a:pt x="6898945" y="3174927"/>
                </a:lnTo>
                <a:lnTo>
                  <a:pt x="6896015" y="3175793"/>
                </a:lnTo>
                <a:lnTo>
                  <a:pt x="6893411" y="3180449"/>
                </a:lnTo>
                <a:lnTo>
                  <a:pt x="6890373" y="3181965"/>
                </a:lnTo>
                <a:lnTo>
                  <a:pt x="6887117" y="3180233"/>
                </a:lnTo>
                <a:lnTo>
                  <a:pt x="6887768" y="3176659"/>
                </a:lnTo>
                <a:lnTo>
                  <a:pt x="6891784" y="3169730"/>
                </a:lnTo>
                <a:lnTo>
                  <a:pt x="6893953" y="3162259"/>
                </a:lnTo>
                <a:lnTo>
                  <a:pt x="6894388" y="3154788"/>
                </a:lnTo>
                <a:close/>
                <a:moveTo>
                  <a:pt x="5268374" y="3149375"/>
                </a:moveTo>
                <a:lnTo>
                  <a:pt x="5272281" y="3151215"/>
                </a:lnTo>
                <a:lnTo>
                  <a:pt x="5273801" y="3153814"/>
                </a:lnTo>
                <a:lnTo>
                  <a:pt x="5268592" y="3155654"/>
                </a:lnTo>
                <a:lnTo>
                  <a:pt x="5265770" y="3152622"/>
                </a:lnTo>
                <a:close/>
                <a:moveTo>
                  <a:pt x="4298886" y="3147858"/>
                </a:moveTo>
                <a:lnTo>
                  <a:pt x="4298886" y="3147858"/>
                </a:lnTo>
                <a:lnTo>
                  <a:pt x="4295413" y="3153055"/>
                </a:lnTo>
                <a:lnTo>
                  <a:pt x="4291923" y="3154529"/>
                </a:lnTo>
                <a:lnTo>
                  <a:pt x="4295413" y="3153055"/>
                </a:lnTo>
                <a:close/>
                <a:moveTo>
                  <a:pt x="7600940" y="3143853"/>
                </a:moveTo>
                <a:lnTo>
                  <a:pt x="7606258" y="3148508"/>
                </a:lnTo>
                <a:lnTo>
                  <a:pt x="7606475" y="3159335"/>
                </a:lnTo>
                <a:lnTo>
                  <a:pt x="7600723" y="3164641"/>
                </a:lnTo>
                <a:lnTo>
                  <a:pt x="7598119" y="3163234"/>
                </a:lnTo>
                <a:lnTo>
                  <a:pt x="7594863" y="3165182"/>
                </a:lnTo>
                <a:lnTo>
                  <a:pt x="7595189" y="3168430"/>
                </a:lnTo>
                <a:lnTo>
                  <a:pt x="7600397" y="3173194"/>
                </a:lnTo>
                <a:lnTo>
                  <a:pt x="7597576" y="3177525"/>
                </a:lnTo>
                <a:lnTo>
                  <a:pt x="7591824" y="3179258"/>
                </a:lnTo>
                <a:lnTo>
                  <a:pt x="7588678" y="3176876"/>
                </a:lnTo>
                <a:lnTo>
                  <a:pt x="7585205" y="3177742"/>
                </a:lnTo>
                <a:lnTo>
                  <a:pt x="7585205" y="3181098"/>
                </a:lnTo>
                <a:lnTo>
                  <a:pt x="7576741" y="3191600"/>
                </a:lnTo>
                <a:lnTo>
                  <a:pt x="7570555" y="3191816"/>
                </a:lnTo>
                <a:lnTo>
                  <a:pt x="7570772" y="3195281"/>
                </a:lnTo>
                <a:lnTo>
                  <a:pt x="7568819" y="3197879"/>
                </a:lnTo>
                <a:lnTo>
                  <a:pt x="7563068" y="3195389"/>
                </a:lnTo>
                <a:lnTo>
                  <a:pt x="7559053" y="3197122"/>
                </a:lnTo>
                <a:lnTo>
                  <a:pt x="7554387" y="3195715"/>
                </a:lnTo>
                <a:lnTo>
                  <a:pt x="7545597" y="3197447"/>
                </a:lnTo>
                <a:lnTo>
                  <a:pt x="7541798" y="3198205"/>
                </a:lnTo>
                <a:lnTo>
                  <a:pt x="7536155" y="3197338"/>
                </a:lnTo>
                <a:lnTo>
                  <a:pt x="7533768" y="3192791"/>
                </a:lnTo>
                <a:lnTo>
                  <a:pt x="7525738" y="3192466"/>
                </a:lnTo>
                <a:lnTo>
                  <a:pt x="7522374" y="3195065"/>
                </a:lnTo>
                <a:lnTo>
                  <a:pt x="7521506" y="3192358"/>
                </a:lnTo>
                <a:lnTo>
                  <a:pt x="7513693" y="3186078"/>
                </a:lnTo>
                <a:lnTo>
                  <a:pt x="7508592" y="3185645"/>
                </a:lnTo>
                <a:lnTo>
                  <a:pt x="7504577" y="3180665"/>
                </a:lnTo>
                <a:lnTo>
                  <a:pt x="7508050" y="3174277"/>
                </a:lnTo>
                <a:lnTo>
                  <a:pt x="7512716" y="3177092"/>
                </a:lnTo>
                <a:lnTo>
                  <a:pt x="7518575" y="3175685"/>
                </a:lnTo>
                <a:lnTo>
                  <a:pt x="7522808" y="3175685"/>
                </a:lnTo>
                <a:lnTo>
                  <a:pt x="7526172" y="3177308"/>
                </a:lnTo>
                <a:lnTo>
                  <a:pt x="7530295" y="3177525"/>
                </a:lnTo>
                <a:lnTo>
                  <a:pt x="7535830" y="3175251"/>
                </a:lnTo>
                <a:lnTo>
                  <a:pt x="7540605" y="3175793"/>
                </a:lnTo>
                <a:lnTo>
                  <a:pt x="7544186" y="3173411"/>
                </a:lnTo>
                <a:lnTo>
                  <a:pt x="7543535" y="3170163"/>
                </a:lnTo>
                <a:lnTo>
                  <a:pt x="7545922" y="3167781"/>
                </a:lnTo>
                <a:lnTo>
                  <a:pt x="7549612" y="3169621"/>
                </a:lnTo>
                <a:lnTo>
                  <a:pt x="7548526" y="3173411"/>
                </a:lnTo>
                <a:lnTo>
                  <a:pt x="7549937" y="3179365"/>
                </a:lnTo>
                <a:lnTo>
                  <a:pt x="7552976" y="3180123"/>
                </a:lnTo>
                <a:lnTo>
                  <a:pt x="7556448" y="3175793"/>
                </a:lnTo>
                <a:lnTo>
                  <a:pt x="7559378" y="3175685"/>
                </a:lnTo>
                <a:lnTo>
                  <a:pt x="7562526" y="3179040"/>
                </a:lnTo>
                <a:lnTo>
                  <a:pt x="7565889" y="3176876"/>
                </a:lnTo>
                <a:lnTo>
                  <a:pt x="7568385" y="3177850"/>
                </a:lnTo>
                <a:lnTo>
                  <a:pt x="7571315" y="3175685"/>
                </a:lnTo>
                <a:lnTo>
                  <a:pt x="7573051" y="3171029"/>
                </a:lnTo>
                <a:lnTo>
                  <a:pt x="7582167" y="3163558"/>
                </a:lnTo>
                <a:lnTo>
                  <a:pt x="7586725" y="3163775"/>
                </a:lnTo>
                <a:lnTo>
                  <a:pt x="7589220" y="3161176"/>
                </a:lnTo>
                <a:lnTo>
                  <a:pt x="7587484" y="3159335"/>
                </a:lnTo>
                <a:lnTo>
                  <a:pt x="7585096" y="3149050"/>
                </a:lnTo>
                <a:lnTo>
                  <a:pt x="7587484" y="3145369"/>
                </a:lnTo>
                <a:lnTo>
                  <a:pt x="7593127" y="3145585"/>
                </a:lnTo>
                <a:lnTo>
                  <a:pt x="7596274" y="3147967"/>
                </a:lnTo>
                <a:lnTo>
                  <a:pt x="7598010" y="3145910"/>
                </a:lnTo>
                <a:close/>
                <a:moveTo>
                  <a:pt x="2046081" y="3143636"/>
                </a:moveTo>
                <a:lnTo>
                  <a:pt x="2046081" y="3143637"/>
                </a:lnTo>
                <a:lnTo>
                  <a:pt x="2048251" y="3147209"/>
                </a:lnTo>
                <a:lnTo>
                  <a:pt x="2055522" y="3148725"/>
                </a:lnTo>
                <a:lnTo>
                  <a:pt x="2059754" y="3150457"/>
                </a:lnTo>
                <a:lnTo>
                  <a:pt x="2066699" y="3160202"/>
                </a:lnTo>
                <a:lnTo>
                  <a:pt x="2069846" y="3160202"/>
                </a:lnTo>
                <a:lnTo>
                  <a:pt x="2069846" y="3160201"/>
                </a:lnTo>
                <a:lnTo>
                  <a:pt x="2066699" y="3160201"/>
                </a:lnTo>
                <a:lnTo>
                  <a:pt x="2059754" y="3150457"/>
                </a:lnTo>
                <a:lnTo>
                  <a:pt x="2055522" y="3148725"/>
                </a:lnTo>
                <a:lnTo>
                  <a:pt x="2048252" y="3147209"/>
                </a:lnTo>
                <a:close/>
                <a:moveTo>
                  <a:pt x="2276462" y="3143550"/>
                </a:moveTo>
                <a:lnTo>
                  <a:pt x="2276462" y="3144502"/>
                </a:lnTo>
                <a:lnTo>
                  <a:pt x="2278001" y="3144918"/>
                </a:lnTo>
                <a:lnTo>
                  <a:pt x="2278089" y="3144610"/>
                </a:lnTo>
                <a:close/>
                <a:moveTo>
                  <a:pt x="4242999" y="3142120"/>
                </a:moveTo>
                <a:lnTo>
                  <a:pt x="4238985" y="3145476"/>
                </a:lnTo>
                <a:lnTo>
                  <a:pt x="4235512" y="3146126"/>
                </a:lnTo>
                <a:lnTo>
                  <a:pt x="4235512" y="3146127"/>
                </a:lnTo>
                <a:lnTo>
                  <a:pt x="4238984" y="3145477"/>
                </a:lnTo>
                <a:lnTo>
                  <a:pt x="4243000" y="3142121"/>
                </a:lnTo>
                <a:lnTo>
                  <a:pt x="4245062" y="3142121"/>
                </a:lnTo>
                <a:lnTo>
                  <a:pt x="4247557" y="3144286"/>
                </a:lnTo>
                <a:lnTo>
                  <a:pt x="4249837" y="3147426"/>
                </a:lnTo>
                <a:lnTo>
                  <a:pt x="4249945" y="3151323"/>
                </a:lnTo>
                <a:lnTo>
                  <a:pt x="4249837" y="3147425"/>
                </a:lnTo>
                <a:lnTo>
                  <a:pt x="4247558" y="3144285"/>
                </a:lnTo>
                <a:lnTo>
                  <a:pt x="4245062" y="3142120"/>
                </a:lnTo>
                <a:close/>
                <a:moveTo>
                  <a:pt x="4284314" y="3141366"/>
                </a:moveTo>
                <a:lnTo>
                  <a:pt x="4284236" y="3141795"/>
                </a:lnTo>
                <a:lnTo>
                  <a:pt x="4283145" y="3143885"/>
                </a:lnTo>
                <a:lnTo>
                  <a:pt x="4284236" y="3141795"/>
                </a:lnTo>
                <a:close/>
                <a:moveTo>
                  <a:pt x="4310280" y="3134757"/>
                </a:moveTo>
                <a:lnTo>
                  <a:pt x="4308652" y="3138438"/>
                </a:lnTo>
                <a:lnTo>
                  <a:pt x="4299491" y="3147275"/>
                </a:lnTo>
                <a:lnTo>
                  <a:pt x="4308653" y="3138439"/>
                </a:lnTo>
                <a:close/>
                <a:moveTo>
                  <a:pt x="2279500" y="3132592"/>
                </a:moveTo>
                <a:lnTo>
                  <a:pt x="2273423" y="3133134"/>
                </a:lnTo>
                <a:lnTo>
                  <a:pt x="2268106" y="3133675"/>
                </a:lnTo>
                <a:lnTo>
                  <a:pt x="2268106" y="3133675"/>
                </a:lnTo>
                <a:lnTo>
                  <a:pt x="2273423" y="3133134"/>
                </a:lnTo>
                <a:lnTo>
                  <a:pt x="2279500" y="3132592"/>
                </a:lnTo>
                <a:lnTo>
                  <a:pt x="2283081" y="3136490"/>
                </a:lnTo>
                <a:lnTo>
                  <a:pt x="2283223" y="3137107"/>
                </a:lnTo>
                <a:lnTo>
                  <a:pt x="2283595" y="3138729"/>
                </a:lnTo>
                <a:lnTo>
                  <a:pt x="2283596" y="3138728"/>
                </a:lnTo>
                <a:lnTo>
                  <a:pt x="2283082" y="3136489"/>
                </a:lnTo>
                <a:close/>
                <a:moveTo>
                  <a:pt x="7026127" y="3131944"/>
                </a:moveTo>
                <a:lnTo>
                  <a:pt x="7028514" y="3131944"/>
                </a:lnTo>
                <a:lnTo>
                  <a:pt x="7028949" y="3134217"/>
                </a:lnTo>
                <a:lnTo>
                  <a:pt x="7026561" y="3134217"/>
                </a:lnTo>
                <a:close/>
                <a:moveTo>
                  <a:pt x="7033290" y="3131185"/>
                </a:moveTo>
                <a:lnTo>
                  <a:pt x="7033399" y="3133026"/>
                </a:lnTo>
                <a:lnTo>
                  <a:pt x="7031662" y="3133567"/>
                </a:lnTo>
                <a:lnTo>
                  <a:pt x="7030577" y="3131618"/>
                </a:lnTo>
                <a:close/>
                <a:moveTo>
                  <a:pt x="7021787" y="3130968"/>
                </a:moveTo>
                <a:lnTo>
                  <a:pt x="7024283" y="3132159"/>
                </a:lnTo>
                <a:lnTo>
                  <a:pt x="7021353" y="3137247"/>
                </a:lnTo>
                <a:lnTo>
                  <a:pt x="7020593" y="3134973"/>
                </a:lnTo>
                <a:lnTo>
                  <a:pt x="7017012" y="3137139"/>
                </a:lnTo>
                <a:lnTo>
                  <a:pt x="7013865" y="3134432"/>
                </a:lnTo>
                <a:lnTo>
                  <a:pt x="7019399" y="3132700"/>
                </a:lnTo>
                <a:close/>
                <a:moveTo>
                  <a:pt x="6735194" y="3128586"/>
                </a:moveTo>
                <a:lnTo>
                  <a:pt x="6736388" y="3129669"/>
                </a:lnTo>
                <a:lnTo>
                  <a:pt x="6735845" y="3136057"/>
                </a:lnTo>
                <a:lnTo>
                  <a:pt x="6734542" y="3136490"/>
                </a:lnTo>
                <a:lnTo>
                  <a:pt x="6734326" y="3130426"/>
                </a:lnTo>
                <a:close/>
                <a:moveTo>
                  <a:pt x="4673342" y="3127733"/>
                </a:moveTo>
                <a:lnTo>
                  <a:pt x="4670773" y="3129886"/>
                </a:lnTo>
                <a:lnTo>
                  <a:pt x="4664588" y="3136707"/>
                </a:lnTo>
                <a:lnTo>
                  <a:pt x="4660355" y="3142662"/>
                </a:lnTo>
                <a:lnTo>
                  <a:pt x="4652434" y="3144827"/>
                </a:lnTo>
                <a:lnTo>
                  <a:pt x="4652434" y="3144827"/>
                </a:lnTo>
                <a:lnTo>
                  <a:pt x="4660356" y="3142662"/>
                </a:lnTo>
                <a:lnTo>
                  <a:pt x="4664588" y="3136707"/>
                </a:lnTo>
                <a:lnTo>
                  <a:pt x="4670774" y="3129886"/>
                </a:lnTo>
                <a:close/>
                <a:moveTo>
                  <a:pt x="6731939" y="3126963"/>
                </a:moveTo>
                <a:lnTo>
                  <a:pt x="6733133" y="3128803"/>
                </a:lnTo>
                <a:lnTo>
                  <a:pt x="6733458" y="3137141"/>
                </a:lnTo>
                <a:lnTo>
                  <a:pt x="6732156" y="3141904"/>
                </a:lnTo>
                <a:lnTo>
                  <a:pt x="6728466" y="3144503"/>
                </a:lnTo>
                <a:lnTo>
                  <a:pt x="6726621" y="3142121"/>
                </a:lnTo>
                <a:lnTo>
                  <a:pt x="6727272" y="3135192"/>
                </a:lnTo>
                <a:lnTo>
                  <a:pt x="6729768" y="3128371"/>
                </a:lnTo>
                <a:close/>
                <a:moveTo>
                  <a:pt x="7012021" y="3119817"/>
                </a:moveTo>
                <a:lnTo>
                  <a:pt x="7012021" y="3122849"/>
                </a:lnTo>
                <a:lnTo>
                  <a:pt x="7009308" y="3122307"/>
                </a:lnTo>
                <a:close/>
                <a:moveTo>
                  <a:pt x="6979464" y="3119493"/>
                </a:moveTo>
                <a:lnTo>
                  <a:pt x="6988580" y="3119926"/>
                </a:lnTo>
                <a:lnTo>
                  <a:pt x="6995308" y="3122741"/>
                </a:lnTo>
                <a:lnTo>
                  <a:pt x="6995633" y="3125448"/>
                </a:lnTo>
                <a:lnTo>
                  <a:pt x="6999757" y="3130212"/>
                </a:lnTo>
                <a:lnTo>
                  <a:pt x="6999431" y="3133893"/>
                </a:lnTo>
                <a:lnTo>
                  <a:pt x="6995525" y="3133677"/>
                </a:lnTo>
                <a:lnTo>
                  <a:pt x="6990642" y="3138007"/>
                </a:lnTo>
                <a:lnTo>
                  <a:pt x="6985107" y="3137466"/>
                </a:lnTo>
                <a:lnTo>
                  <a:pt x="6979464" y="3138007"/>
                </a:lnTo>
                <a:lnTo>
                  <a:pt x="6977402" y="3136059"/>
                </a:lnTo>
                <a:lnTo>
                  <a:pt x="6970350" y="3134760"/>
                </a:lnTo>
                <a:lnTo>
                  <a:pt x="6966551" y="3129562"/>
                </a:lnTo>
                <a:lnTo>
                  <a:pt x="6967202" y="3123499"/>
                </a:lnTo>
                <a:lnTo>
                  <a:pt x="6971217" y="3120792"/>
                </a:lnTo>
                <a:lnTo>
                  <a:pt x="6975666" y="3122741"/>
                </a:lnTo>
                <a:close/>
                <a:moveTo>
                  <a:pt x="4217715" y="3119058"/>
                </a:moveTo>
                <a:lnTo>
                  <a:pt x="4219804" y="3120705"/>
                </a:lnTo>
                <a:lnTo>
                  <a:pt x="4217716" y="3119058"/>
                </a:lnTo>
                <a:close/>
                <a:moveTo>
                  <a:pt x="6512085" y="3116135"/>
                </a:moveTo>
                <a:lnTo>
                  <a:pt x="6514256" y="3117651"/>
                </a:lnTo>
                <a:lnTo>
                  <a:pt x="6511434" y="3120140"/>
                </a:lnTo>
                <a:close/>
                <a:moveTo>
                  <a:pt x="2094881" y="3115317"/>
                </a:moveTo>
                <a:lnTo>
                  <a:pt x="2092960" y="3117109"/>
                </a:lnTo>
                <a:lnTo>
                  <a:pt x="2092388" y="3118292"/>
                </a:lnTo>
                <a:lnTo>
                  <a:pt x="2092960" y="3117110"/>
                </a:lnTo>
                <a:close/>
                <a:moveTo>
                  <a:pt x="7017121" y="3114945"/>
                </a:moveTo>
                <a:lnTo>
                  <a:pt x="7016361" y="3117110"/>
                </a:lnTo>
                <a:lnTo>
                  <a:pt x="7013974" y="3117327"/>
                </a:lnTo>
                <a:lnTo>
                  <a:pt x="7012998" y="3115161"/>
                </a:lnTo>
                <a:close/>
                <a:moveTo>
                  <a:pt x="6352999" y="3113646"/>
                </a:moveTo>
                <a:lnTo>
                  <a:pt x="6357990" y="3117435"/>
                </a:lnTo>
                <a:lnTo>
                  <a:pt x="6357665" y="3121441"/>
                </a:lnTo>
                <a:lnTo>
                  <a:pt x="6358749" y="3126097"/>
                </a:lnTo>
                <a:lnTo>
                  <a:pt x="6349960" y="3117977"/>
                </a:lnTo>
                <a:close/>
                <a:moveTo>
                  <a:pt x="7051954" y="3112021"/>
                </a:moveTo>
                <a:lnTo>
                  <a:pt x="7057164" y="3112563"/>
                </a:lnTo>
                <a:lnTo>
                  <a:pt x="7061939" y="3116568"/>
                </a:lnTo>
                <a:lnTo>
                  <a:pt x="7071814" y="3118409"/>
                </a:lnTo>
                <a:lnTo>
                  <a:pt x="7083642" y="3125122"/>
                </a:lnTo>
                <a:lnTo>
                  <a:pt x="7085921" y="3134108"/>
                </a:lnTo>
                <a:lnTo>
                  <a:pt x="7084076" y="3138330"/>
                </a:lnTo>
                <a:lnTo>
                  <a:pt x="7079084" y="3138330"/>
                </a:lnTo>
                <a:lnTo>
                  <a:pt x="7073875" y="3132808"/>
                </a:lnTo>
                <a:lnTo>
                  <a:pt x="7069534" y="3131943"/>
                </a:lnTo>
                <a:lnTo>
                  <a:pt x="7060093" y="3126312"/>
                </a:lnTo>
                <a:lnTo>
                  <a:pt x="7055211" y="3126312"/>
                </a:lnTo>
                <a:lnTo>
                  <a:pt x="7053040" y="3129453"/>
                </a:lnTo>
                <a:lnTo>
                  <a:pt x="7042731" y="3128153"/>
                </a:lnTo>
                <a:lnTo>
                  <a:pt x="7040127" y="3123714"/>
                </a:lnTo>
                <a:lnTo>
                  <a:pt x="7037196" y="3123714"/>
                </a:lnTo>
                <a:lnTo>
                  <a:pt x="7032748" y="3128153"/>
                </a:lnTo>
                <a:lnTo>
                  <a:pt x="7028406" y="3128586"/>
                </a:lnTo>
                <a:lnTo>
                  <a:pt x="7026345" y="3125447"/>
                </a:lnTo>
                <a:lnTo>
                  <a:pt x="7022656" y="3121549"/>
                </a:lnTo>
                <a:lnTo>
                  <a:pt x="7018423" y="3128370"/>
                </a:lnTo>
                <a:lnTo>
                  <a:pt x="7015601" y="3128370"/>
                </a:lnTo>
                <a:lnTo>
                  <a:pt x="7014408" y="3125230"/>
                </a:lnTo>
                <a:lnTo>
                  <a:pt x="7016035" y="3121115"/>
                </a:lnTo>
                <a:lnTo>
                  <a:pt x="7019943" y="3119816"/>
                </a:lnTo>
                <a:lnTo>
                  <a:pt x="7020267" y="3117002"/>
                </a:lnTo>
                <a:lnTo>
                  <a:pt x="7022330" y="3114294"/>
                </a:lnTo>
                <a:lnTo>
                  <a:pt x="7032205" y="3114403"/>
                </a:lnTo>
                <a:lnTo>
                  <a:pt x="7039259" y="3113970"/>
                </a:lnTo>
                <a:lnTo>
                  <a:pt x="7042731" y="3115377"/>
                </a:lnTo>
                <a:lnTo>
                  <a:pt x="7047723" y="3115810"/>
                </a:lnTo>
                <a:close/>
                <a:moveTo>
                  <a:pt x="6345945" y="3108990"/>
                </a:moveTo>
                <a:lnTo>
                  <a:pt x="6350285" y="3110938"/>
                </a:lnTo>
                <a:lnTo>
                  <a:pt x="6346705" y="3114186"/>
                </a:lnTo>
                <a:close/>
                <a:moveTo>
                  <a:pt x="2042500" y="3107474"/>
                </a:moveTo>
                <a:lnTo>
                  <a:pt x="2042825" y="3108664"/>
                </a:lnTo>
                <a:lnTo>
                  <a:pt x="2041523" y="3111913"/>
                </a:lnTo>
                <a:lnTo>
                  <a:pt x="2041849" y="3114837"/>
                </a:lnTo>
                <a:lnTo>
                  <a:pt x="2040113" y="3118301"/>
                </a:lnTo>
                <a:lnTo>
                  <a:pt x="2037291" y="3119167"/>
                </a:lnTo>
                <a:lnTo>
                  <a:pt x="2035880" y="3117327"/>
                </a:lnTo>
                <a:lnTo>
                  <a:pt x="2035555" y="3115594"/>
                </a:lnTo>
                <a:lnTo>
                  <a:pt x="2038159" y="3111372"/>
                </a:lnTo>
                <a:close/>
                <a:moveTo>
                  <a:pt x="6529990" y="3106391"/>
                </a:moveTo>
                <a:lnTo>
                  <a:pt x="6538019" y="3107907"/>
                </a:lnTo>
                <a:lnTo>
                  <a:pt x="6545941" y="3112995"/>
                </a:lnTo>
                <a:lnTo>
                  <a:pt x="6548111" y="3117759"/>
                </a:lnTo>
                <a:lnTo>
                  <a:pt x="6544531" y="3119491"/>
                </a:lnTo>
                <a:lnTo>
                  <a:pt x="6543011" y="3122848"/>
                </a:lnTo>
                <a:lnTo>
                  <a:pt x="6539431" y="3122090"/>
                </a:lnTo>
                <a:lnTo>
                  <a:pt x="6536935" y="3118409"/>
                </a:lnTo>
                <a:lnTo>
                  <a:pt x="6532811" y="3124689"/>
                </a:lnTo>
                <a:lnTo>
                  <a:pt x="6529230" y="3120899"/>
                </a:lnTo>
                <a:lnTo>
                  <a:pt x="6529338" y="3114186"/>
                </a:lnTo>
                <a:lnTo>
                  <a:pt x="6526192" y="3115811"/>
                </a:lnTo>
                <a:lnTo>
                  <a:pt x="6526300" y="3117327"/>
                </a:lnTo>
                <a:lnTo>
                  <a:pt x="6522502" y="3117110"/>
                </a:lnTo>
                <a:lnTo>
                  <a:pt x="6524130" y="3114728"/>
                </a:lnTo>
                <a:lnTo>
                  <a:pt x="6529013" y="3113537"/>
                </a:lnTo>
                <a:lnTo>
                  <a:pt x="6529230" y="3111263"/>
                </a:lnTo>
                <a:lnTo>
                  <a:pt x="6527494" y="3107148"/>
                </a:lnTo>
                <a:close/>
                <a:moveTo>
                  <a:pt x="4635613" y="3105091"/>
                </a:moveTo>
                <a:lnTo>
                  <a:pt x="4636047" y="3110396"/>
                </a:lnTo>
                <a:lnTo>
                  <a:pt x="4636047" y="3116568"/>
                </a:lnTo>
                <a:lnTo>
                  <a:pt x="4640388" y="3144610"/>
                </a:lnTo>
                <a:lnTo>
                  <a:pt x="4643535" y="3164748"/>
                </a:lnTo>
                <a:lnTo>
                  <a:pt x="4648393" y="3188983"/>
                </a:lnTo>
                <a:lnTo>
                  <a:pt x="4649178" y="3192899"/>
                </a:lnTo>
                <a:lnTo>
                  <a:pt x="4649178" y="3192898"/>
                </a:lnTo>
                <a:lnTo>
                  <a:pt x="4648393" y="3188983"/>
                </a:lnTo>
                <a:lnTo>
                  <a:pt x="4643536" y="3164749"/>
                </a:lnTo>
                <a:lnTo>
                  <a:pt x="4640389" y="3144611"/>
                </a:lnTo>
                <a:lnTo>
                  <a:pt x="4640388" y="3144611"/>
                </a:lnTo>
                <a:lnTo>
                  <a:pt x="4636048" y="3116568"/>
                </a:lnTo>
                <a:lnTo>
                  <a:pt x="4636048" y="3110397"/>
                </a:lnTo>
                <a:lnTo>
                  <a:pt x="4635613" y="3105092"/>
                </a:lnTo>
                <a:close/>
                <a:moveTo>
                  <a:pt x="4673555" y="3105074"/>
                </a:moveTo>
                <a:lnTo>
                  <a:pt x="4675765" y="3106283"/>
                </a:lnTo>
                <a:lnTo>
                  <a:pt x="4676741" y="3109315"/>
                </a:lnTo>
                <a:lnTo>
                  <a:pt x="4679780" y="3109748"/>
                </a:lnTo>
                <a:lnTo>
                  <a:pt x="4681082" y="3116785"/>
                </a:lnTo>
                <a:lnTo>
                  <a:pt x="4680648" y="3120250"/>
                </a:lnTo>
                <a:lnTo>
                  <a:pt x="4676741" y="3124148"/>
                </a:lnTo>
                <a:lnTo>
                  <a:pt x="4673584" y="3127509"/>
                </a:lnTo>
                <a:lnTo>
                  <a:pt x="4673486" y="3127613"/>
                </a:lnTo>
                <a:lnTo>
                  <a:pt x="4673487" y="3127612"/>
                </a:lnTo>
                <a:lnTo>
                  <a:pt x="4673584" y="3127509"/>
                </a:lnTo>
                <a:lnTo>
                  <a:pt x="4676742" y="3124148"/>
                </a:lnTo>
                <a:lnTo>
                  <a:pt x="4680649" y="3120250"/>
                </a:lnTo>
                <a:lnTo>
                  <a:pt x="4681082" y="3116786"/>
                </a:lnTo>
                <a:lnTo>
                  <a:pt x="4679781" y="3109748"/>
                </a:lnTo>
                <a:lnTo>
                  <a:pt x="4676742" y="3109315"/>
                </a:lnTo>
                <a:lnTo>
                  <a:pt x="4675765" y="3106283"/>
                </a:lnTo>
                <a:close/>
                <a:moveTo>
                  <a:pt x="7567843" y="3104983"/>
                </a:moveTo>
                <a:lnTo>
                  <a:pt x="7578477" y="3111371"/>
                </a:lnTo>
                <a:lnTo>
                  <a:pt x="7585965" y="3113428"/>
                </a:lnTo>
                <a:lnTo>
                  <a:pt x="7594755" y="3120791"/>
                </a:lnTo>
                <a:lnTo>
                  <a:pt x="7601374" y="3122198"/>
                </a:lnTo>
                <a:lnTo>
                  <a:pt x="7605063" y="3126313"/>
                </a:lnTo>
                <a:lnTo>
                  <a:pt x="7610598" y="3128911"/>
                </a:lnTo>
                <a:lnTo>
                  <a:pt x="7614722" y="3135732"/>
                </a:lnTo>
                <a:lnTo>
                  <a:pt x="7617977" y="3135948"/>
                </a:lnTo>
                <a:lnTo>
                  <a:pt x="7619822" y="3146017"/>
                </a:lnTo>
                <a:lnTo>
                  <a:pt x="7622426" y="3146884"/>
                </a:lnTo>
                <a:lnTo>
                  <a:pt x="7622643" y="3151107"/>
                </a:lnTo>
                <a:lnTo>
                  <a:pt x="7620364" y="3155654"/>
                </a:lnTo>
                <a:lnTo>
                  <a:pt x="7618629" y="3161609"/>
                </a:lnTo>
                <a:lnTo>
                  <a:pt x="7613854" y="3156195"/>
                </a:lnTo>
                <a:lnTo>
                  <a:pt x="7612443" y="3151107"/>
                </a:lnTo>
                <a:lnTo>
                  <a:pt x="7614179" y="3147100"/>
                </a:lnTo>
                <a:lnTo>
                  <a:pt x="7610707" y="3134866"/>
                </a:lnTo>
                <a:lnTo>
                  <a:pt x="7602242" y="3126204"/>
                </a:lnTo>
                <a:lnTo>
                  <a:pt x="7596599" y="3125662"/>
                </a:lnTo>
                <a:lnTo>
                  <a:pt x="7588026" y="3120791"/>
                </a:lnTo>
                <a:lnTo>
                  <a:pt x="7571424" y="3111154"/>
                </a:lnTo>
                <a:lnTo>
                  <a:pt x="7568494" y="3108230"/>
                </a:lnTo>
                <a:close/>
                <a:moveTo>
                  <a:pt x="4218728" y="3104345"/>
                </a:moveTo>
                <a:lnTo>
                  <a:pt x="4219994" y="3105308"/>
                </a:lnTo>
                <a:lnTo>
                  <a:pt x="4224118" y="3108340"/>
                </a:lnTo>
                <a:lnTo>
                  <a:pt x="4224660" y="3120250"/>
                </a:lnTo>
                <a:lnTo>
                  <a:pt x="4224443" y="3124363"/>
                </a:lnTo>
                <a:lnTo>
                  <a:pt x="4224444" y="3124363"/>
                </a:lnTo>
                <a:lnTo>
                  <a:pt x="4224661" y="3120249"/>
                </a:lnTo>
                <a:lnTo>
                  <a:pt x="4224118" y="3108339"/>
                </a:lnTo>
                <a:lnTo>
                  <a:pt x="4219995" y="3105308"/>
                </a:lnTo>
                <a:close/>
                <a:moveTo>
                  <a:pt x="4217715" y="3103575"/>
                </a:moveTo>
                <a:lnTo>
                  <a:pt x="4214026" y="3104442"/>
                </a:lnTo>
                <a:lnTo>
                  <a:pt x="4210336" y="3105632"/>
                </a:lnTo>
                <a:lnTo>
                  <a:pt x="4210336" y="3105633"/>
                </a:lnTo>
                <a:lnTo>
                  <a:pt x="4214026" y="3104442"/>
                </a:lnTo>
                <a:close/>
                <a:moveTo>
                  <a:pt x="7554603" y="3102276"/>
                </a:moveTo>
                <a:lnTo>
                  <a:pt x="7557858" y="3104333"/>
                </a:lnTo>
                <a:lnTo>
                  <a:pt x="7557858" y="3108989"/>
                </a:lnTo>
                <a:lnTo>
                  <a:pt x="7552976" y="3110288"/>
                </a:lnTo>
                <a:lnTo>
                  <a:pt x="7549395" y="3108123"/>
                </a:lnTo>
                <a:lnTo>
                  <a:pt x="7549069" y="3104333"/>
                </a:lnTo>
                <a:close/>
                <a:moveTo>
                  <a:pt x="2282430" y="3101302"/>
                </a:moveTo>
                <a:lnTo>
                  <a:pt x="2278785" y="3102486"/>
                </a:lnTo>
                <a:lnTo>
                  <a:pt x="2282430" y="3101302"/>
                </a:lnTo>
                <a:lnTo>
                  <a:pt x="2282756" y="3104550"/>
                </a:lnTo>
                <a:close/>
                <a:moveTo>
                  <a:pt x="4650590" y="3101194"/>
                </a:moveTo>
                <a:lnTo>
                  <a:pt x="4648962" y="3101735"/>
                </a:lnTo>
                <a:lnTo>
                  <a:pt x="4648961" y="3101735"/>
                </a:lnTo>
                <a:lnTo>
                  <a:pt x="4650589" y="3101194"/>
                </a:lnTo>
                <a:lnTo>
                  <a:pt x="4652868" y="3103576"/>
                </a:lnTo>
                <a:lnTo>
                  <a:pt x="4657643" y="3101952"/>
                </a:lnTo>
                <a:lnTo>
                  <a:pt x="4657643" y="3101951"/>
                </a:lnTo>
                <a:lnTo>
                  <a:pt x="4652868" y="3103575"/>
                </a:lnTo>
                <a:close/>
                <a:moveTo>
                  <a:pt x="4639086" y="3096863"/>
                </a:moveTo>
                <a:lnTo>
                  <a:pt x="4641582" y="3097838"/>
                </a:lnTo>
                <a:lnTo>
                  <a:pt x="4643427" y="3101735"/>
                </a:lnTo>
                <a:lnTo>
                  <a:pt x="4647551" y="3103251"/>
                </a:lnTo>
                <a:lnTo>
                  <a:pt x="4648815" y="3101892"/>
                </a:lnTo>
                <a:lnTo>
                  <a:pt x="4647551" y="3103251"/>
                </a:lnTo>
                <a:lnTo>
                  <a:pt x="4643427" y="3101735"/>
                </a:lnTo>
                <a:lnTo>
                  <a:pt x="4641582" y="3097837"/>
                </a:lnTo>
                <a:lnTo>
                  <a:pt x="4639087" y="3096863"/>
                </a:lnTo>
                <a:close/>
                <a:moveTo>
                  <a:pt x="4222227" y="3096456"/>
                </a:moveTo>
                <a:lnTo>
                  <a:pt x="4221188" y="3097296"/>
                </a:lnTo>
                <a:lnTo>
                  <a:pt x="4221188" y="3097296"/>
                </a:lnTo>
                <a:close/>
                <a:moveTo>
                  <a:pt x="4210390" y="3096375"/>
                </a:moveTo>
                <a:lnTo>
                  <a:pt x="4209251" y="3097512"/>
                </a:lnTo>
                <a:lnTo>
                  <a:pt x="4211096" y="3100977"/>
                </a:lnTo>
                <a:lnTo>
                  <a:pt x="4210432" y="3105047"/>
                </a:lnTo>
                <a:lnTo>
                  <a:pt x="4211096" y="3100977"/>
                </a:lnTo>
                <a:lnTo>
                  <a:pt x="4209251" y="3097512"/>
                </a:lnTo>
                <a:close/>
                <a:moveTo>
                  <a:pt x="2240543" y="3094047"/>
                </a:moveTo>
                <a:lnTo>
                  <a:pt x="2232946" y="3097512"/>
                </a:lnTo>
                <a:lnTo>
                  <a:pt x="2230560" y="3099569"/>
                </a:lnTo>
                <a:lnTo>
                  <a:pt x="2224699" y="3099786"/>
                </a:lnTo>
                <a:lnTo>
                  <a:pt x="2220576" y="3098703"/>
                </a:lnTo>
                <a:lnTo>
                  <a:pt x="2215584" y="3099894"/>
                </a:lnTo>
                <a:lnTo>
                  <a:pt x="2211135" y="3098054"/>
                </a:lnTo>
                <a:lnTo>
                  <a:pt x="2209724" y="3094589"/>
                </a:lnTo>
                <a:lnTo>
                  <a:pt x="2209879" y="3094347"/>
                </a:lnTo>
                <a:lnTo>
                  <a:pt x="2209724" y="3094590"/>
                </a:lnTo>
                <a:lnTo>
                  <a:pt x="2211135" y="3098055"/>
                </a:lnTo>
                <a:lnTo>
                  <a:pt x="2215584" y="3099895"/>
                </a:lnTo>
                <a:lnTo>
                  <a:pt x="2220576" y="3098704"/>
                </a:lnTo>
                <a:lnTo>
                  <a:pt x="2224699" y="3099787"/>
                </a:lnTo>
                <a:lnTo>
                  <a:pt x="2230559" y="3099570"/>
                </a:lnTo>
                <a:lnTo>
                  <a:pt x="2232947" y="3097513"/>
                </a:lnTo>
                <a:lnTo>
                  <a:pt x="2240543" y="3094048"/>
                </a:lnTo>
                <a:lnTo>
                  <a:pt x="2247054" y="3095239"/>
                </a:lnTo>
                <a:lnTo>
                  <a:pt x="2252805" y="3098055"/>
                </a:lnTo>
                <a:lnTo>
                  <a:pt x="2261053" y="3094482"/>
                </a:lnTo>
                <a:lnTo>
                  <a:pt x="2265393" y="3094482"/>
                </a:lnTo>
                <a:lnTo>
                  <a:pt x="2267238" y="3097188"/>
                </a:lnTo>
                <a:lnTo>
                  <a:pt x="2270059" y="3096972"/>
                </a:lnTo>
                <a:lnTo>
                  <a:pt x="2275376" y="3099570"/>
                </a:lnTo>
                <a:lnTo>
                  <a:pt x="2277764" y="3102818"/>
                </a:lnTo>
                <a:lnTo>
                  <a:pt x="2277764" y="3102818"/>
                </a:lnTo>
                <a:lnTo>
                  <a:pt x="2275377" y="3099569"/>
                </a:lnTo>
                <a:lnTo>
                  <a:pt x="2270060" y="3096971"/>
                </a:lnTo>
                <a:lnTo>
                  <a:pt x="2267238" y="3097187"/>
                </a:lnTo>
                <a:lnTo>
                  <a:pt x="2265393" y="3094481"/>
                </a:lnTo>
                <a:lnTo>
                  <a:pt x="2261052" y="3094481"/>
                </a:lnTo>
                <a:lnTo>
                  <a:pt x="2252805" y="3098054"/>
                </a:lnTo>
                <a:lnTo>
                  <a:pt x="2247054" y="3095239"/>
                </a:lnTo>
                <a:close/>
                <a:moveTo>
                  <a:pt x="6966769" y="3093940"/>
                </a:moveTo>
                <a:lnTo>
                  <a:pt x="6966769" y="3097729"/>
                </a:lnTo>
                <a:lnTo>
                  <a:pt x="6970025" y="3103034"/>
                </a:lnTo>
                <a:lnTo>
                  <a:pt x="6969916" y="3105308"/>
                </a:lnTo>
                <a:lnTo>
                  <a:pt x="6967963" y="3104442"/>
                </a:lnTo>
                <a:lnTo>
                  <a:pt x="6965901" y="3098812"/>
                </a:lnTo>
                <a:lnTo>
                  <a:pt x="6965033" y="3094914"/>
                </a:lnTo>
                <a:close/>
                <a:moveTo>
                  <a:pt x="6337155" y="3093940"/>
                </a:moveTo>
                <a:lnTo>
                  <a:pt x="6342907" y="3101952"/>
                </a:lnTo>
                <a:lnTo>
                  <a:pt x="6337481" y="3100328"/>
                </a:lnTo>
                <a:lnTo>
                  <a:pt x="6334768" y="3096646"/>
                </a:lnTo>
                <a:close/>
                <a:moveTo>
                  <a:pt x="4272408" y="3092965"/>
                </a:moveTo>
                <a:lnTo>
                  <a:pt x="4273818" y="3096213"/>
                </a:lnTo>
                <a:lnTo>
                  <a:pt x="4273819" y="3096213"/>
                </a:lnTo>
                <a:lnTo>
                  <a:pt x="4272408" y="3092965"/>
                </a:lnTo>
                <a:close/>
                <a:moveTo>
                  <a:pt x="4667307" y="3090947"/>
                </a:moveTo>
                <a:lnTo>
                  <a:pt x="4668277" y="3093940"/>
                </a:lnTo>
                <a:lnTo>
                  <a:pt x="4670990" y="3095456"/>
                </a:lnTo>
                <a:lnTo>
                  <a:pt x="4670990" y="3096863"/>
                </a:lnTo>
                <a:lnTo>
                  <a:pt x="4670990" y="3099245"/>
                </a:lnTo>
                <a:lnTo>
                  <a:pt x="4672400" y="3101194"/>
                </a:lnTo>
                <a:lnTo>
                  <a:pt x="4672400" y="3104442"/>
                </a:lnTo>
                <a:lnTo>
                  <a:pt x="4672402" y="3104443"/>
                </a:lnTo>
                <a:lnTo>
                  <a:pt x="4672402" y="3101194"/>
                </a:lnTo>
                <a:lnTo>
                  <a:pt x="4670990" y="3099245"/>
                </a:lnTo>
                <a:lnTo>
                  <a:pt x="4670990" y="3096864"/>
                </a:lnTo>
                <a:lnTo>
                  <a:pt x="4671967" y="3097946"/>
                </a:lnTo>
                <a:lnTo>
                  <a:pt x="4674571" y="3098488"/>
                </a:lnTo>
                <a:lnTo>
                  <a:pt x="4677068" y="3096972"/>
                </a:lnTo>
                <a:lnTo>
                  <a:pt x="4679021" y="3095023"/>
                </a:lnTo>
                <a:lnTo>
                  <a:pt x="4679021" y="3095022"/>
                </a:lnTo>
                <a:lnTo>
                  <a:pt x="4677067" y="3096971"/>
                </a:lnTo>
                <a:lnTo>
                  <a:pt x="4674572" y="3098486"/>
                </a:lnTo>
                <a:lnTo>
                  <a:pt x="4671968" y="3097945"/>
                </a:lnTo>
                <a:lnTo>
                  <a:pt x="4670991" y="3096863"/>
                </a:lnTo>
                <a:lnTo>
                  <a:pt x="4670991" y="3095455"/>
                </a:lnTo>
                <a:lnTo>
                  <a:pt x="4668278" y="3093939"/>
                </a:lnTo>
                <a:close/>
                <a:moveTo>
                  <a:pt x="4267633" y="3090908"/>
                </a:moveTo>
                <a:lnTo>
                  <a:pt x="4269502" y="3091713"/>
                </a:lnTo>
                <a:lnTo>
                  <a:pt x="4267633" y="3090908"/>
                </a:lnTo>
                <a:close/>
                <a:moveTo>
                  <a:pt x="6901116" y="3090259"/>
                </a:moveTo>
                <a:cubicBezTo>
                  <a:pt x="6901116" y="3090367"/>
                  <a:pt x="6900139" y="3092966"/>
                  <a:pt x="6900139" y="3092966"/>
                </a:cubicBezTo>
                <a:lnTo>
                  <a:pt x="6897535" y="3091775"/>
                </a:lnTo>
                <a:close/>
                <a:moveTo>
                  <a:pt x="4681191" y="3088634"/>
                </a:moveTo>
                <a:lnTo>
                  <a:pt x="4680078" y="3091504"/>
                </a:lnTo>
                <a:lnTo>
                  <a:pt x="4681191" y="3088635"/>
                </a:lnTo>
                <a:close/>
                <a:moveTo>
                  <a:pt x="7476037" y="3088201"/>
                </a:moveTo>
                <a:lnTo>
                  <a:pt x="7478967" y="3090258"/>
                </a:lnTo>
                <a:lnTo>
                  <a:pt x="7482548" y="3089392"/>
                </a:lnTo>
                <a:lnTo>
                  <a:pt x="7485370" y="3091666"/>
                </a:lnTo>
                <a:lnTo>
                  <a:pt x="7480161" y="3095996"/>
                </a:lnTo>
                <a:lnTo>
                  <a:pt x="7474084" y="3095996"/>
                </a:lnTo>
                <a:lnTo>
                  <a:pt x="7472023" y="3094048"/>
                </a:lnTo>
                <a:lnTo>
                  <a:pt x="7468224" y="3094048"/>
                </a:lnTo>
                <a:lnTo>
                  <a:pt x="7466705" y="3090583"/>
                </a:lnTo>
                <a:lnTo>
                  <a:pt x="7468224" y="3089392"/>
                </a:lnTo>
                <a:lnTo>
                  <a:pt x="7472023" y="3089392"/>
                </a:lnTo>
                <a:close/>
                <a:moveTo>
                  <a:pt x="4660247" y="3087984"/>
                </a:moveTo>
                <a:lnTo>
                  <a:pt x="4660247" y="3087985"/>
                </a:lnTo>
                <a:lnTo>
                  <a:pt x="4662200" y="3087985"/>
                </a:lnTo>
                <a:lnTo>
                  <a:pt x="4664370" y="3089825"/>
                </a:lnTo>
                <a:lnTo>
                  <a:pt x="4665831" y="3090058"/>
                </a:lnTo>
                <a:lnTo>
                  <a:pt x="4664371" y="3089825"/>
                </a:lnTo>
                <a:lnTo>
                  <a:pt x="4662201" y="3087984"/>
                </a:lnTo>
                <a:close/>
                <a:moveTo>
                  <a:pt x="4275121" y="3087552"/>
                </a:moveTo>
                <a:lnTo>
                  <a:pt x="4275121" y="3087552"/>
                </a:lnTo>
                <a:lnTo>
                  <a:pt x="4276314" y="3091883"/>
                </a:lnTo>
                <a:lnTo>
                  <a:pt x="4276097" y="3096213"/>
                </a:lnTo>
                <a:lnTo>
                  <a:pt x="4276098" y="3096213"/>
                </a:lnTo>
                <a:lnTo>
                  <a:pt x="4276315" y="3091882"/>
                </a:lnTo>
                <a:close/>
                <a:moveTo>
                  <a:pt x="6906217" y="3087335"/>
                </a:moveTo>
                <a:lnTo>
                  <a:pt x="6907628" y="3089717"/>
                </a:lnTo>
                <a:lnTo>
                  <a:pt x="6904155" y="3089176"/>
                </a:lnTo>
                <a:close/>
                <a:moveTo>
                  <a:pt x="6963187" y="3086795"/>
                </a:moveTo>
                <a:lnTo>
                  <a:pt x="6972086" y="3087985"/>
                </a:lnTo>
                <a:lnTo>
                  <a:pt x="6976861" y="3088852"/>
                </a:lnTo>
                <a:lnTo>
                  <a:pt x="6971218" y="3090260"/>
                </a:lnTo>
                <a:lnTo>
                  <a:pt x="6960801" y="3092642"/>
                </a:lnTo>
                <a:lnTo>
                  <a:pt x="6955591" y="3091234"/>
                </a:lnTo>
                <a:lnTo>
                  <a:pt x="6955483" y="3089393"/>
                </a:lnTo>
                <a:lnTo>
                  <a:pt x="6953530" y="3088203"/>
                </a:lnTo>
                <a:lnTo>
                  <a:pt x="6956134" y="3087011"/>
                </a:lnTo>
                <a:lnTo>
                  <a:pt x="6959824" y="3088311"/>
                </a:lnTo>
                <a:close/>
                <a:moveTo>
                  <a:pt x="7071704" y="3085062"/>
                </a:moveTo>
                <a:lnTo>
                  <a:pt x="7073766" y="3087119"/>
                </a:lnTo>
                <a:lnTo>
                  <a:pt x="7074201" y="3090800"/>
                </a:lnTo>
                <a:lnTo>
                  <a:pt x="7076045" y="3091775"/>
                </a:lnTo>
                <a:lnTo>
                  <a:pt x="7069426" y="3093832"/>
                </a:lnTo>
                <a:lnTo>
                  <a:pt x="7061830" y="3091233"/>
                </a:lnTo>
                <a:lnTo>
                  <a:pt x="7059768" y="3089284"/>
                </a:lnTo>
                <a:lnTo>
                  <a:pt x="7062914" y="3087227"/>
                </a:lnTo>
                <a:close/>
                <a:moveTo>
                  <a:pt x="6938230" y="3084954"/>
                </a:moveTo>
                <a:lnTo>
                  <a:pt x="6943005" y="3086145"/>
                </a:lnTo>
                <a:lnTo>
                  <a:pt x="6946043" y="3087769"/>
                </a:lnTo>
                <a:lnTo>
                  <a:pt x="6949081" y="3085496"/>
                </a:lnTo>
                <a:lnTo>
                  <a:pt x="6952120" y="3086578"/>
                </a:lnTo>
                <a:lnTo>
                  <a:pt x="6952228" y="3090692"/>
                </a:lnTo>
                <a:lnTo>
                  <a:pt x="6948539" y="3090259"/>
                </a:lnTo>
                <a:lnTo>
                  <a:pt x="6944306" y="3092208"/>
                </a:lnTo>
                <a:lnTo>
                  <a:pt x="6940942" y="3091341"/>
                </a:lnTo>
                <a:lnTo>
                  <a:pt x="6935734" y="3094481"/>
                </a:lnTo>
                <a:lnTo>
                  <a:pt x="6931284" y="3093507"/>
                </a:lnTo>
                <a:lnTo>
                  <a:pt x="6929548" y="3090908"/>
                </a:lnTo>
                <a:lnTo>
                  <a:pt x="6929873" y="3088635"/>
                </a:lnTo>
                <a:lnTo>
                  <a:pt x="6932912" y="3085496"/>
                </a:lnTo>
                <a:lnTo>
                  <a:pt x="6935299" y="3086145"/>
                </a:lnTo>
                <a:close/>
                <a:moveTo>
                  <a:pt x="6562327" y="3084846"/>
                </a:moveTo>
                <a:lnTo>
                  <a:pt x="6564281" y="3086903"/>
                </a:lnTo>
                <a:lnTo>
                  <a:pt x="6562653" y="3088959"/>
                </a:lnTo>
                <a:lnTo>
                  <a:pt x="6559071" y="3087335"/>
                </a:lnTo>
                <a:lnTo>
                  <a:pt x="6558746" y="3084954"/>
                </a:lnTo>
                <a:close/>
                <a:moveTo>
                  <a:pt x="6912402" y="3082464"/>
                </a:moveTo>
                <a:lnTo>
                  <a:pt x="6913270" y="3085712"/>
                </a:lnTo>
                <a:lnTo>
                  <a:pt x="6909689" y="3084521"/>
                </a:lnTo>
                <a:close/>
                <a:moveTo>
                  <a:pt x="6484846" y="3082247"/>
                </a:moveTo>
                <a:lnTo>
                  <a:pt x="6487775" y="3082247"/>
                </a:lnTo>
                <a:lnTo>
                  <a:pt x="6491248" y="3083871"/>
                </a:lnTo>
                <a:lnTo>
                  <a:pt x="6491899" y="3087877"/>
                </a:lnTo>
                <a:lnTo>
                  <a:pt x="6493744" y="3089609"/>
                </a:lnTo>
                <a:lnTo>
                  <a:pt x="6495697" y="3100436"/>
                </a:lnTo>
                <a:lnTo>
                  <a:pt x="6500689" y="3106066"/>
                </a:lnTo>
                <a:lnTo>
                  <a:pt x="6508610" y="3107799"/>
                </a:lnTo>
                <a:lnTo>
                  <a:pt x="6506114" y="3113645"/>
                </a:lnTo>
                <a:lnTo>
                  <a:pt x="6507742" y="3118517"/>
                </a:lnTo>
                <a:lnTo>
                  <a:pt x="6505355" y="3122090"/>
                </a:lnTo>
                <a:lnTo>
                  <a:pt x="6503076" y="3120142"/>
                </a:lnTo>
                <a:lnTo>
                  <a:pt x="6501557" y="3115485"/>
                </a:lnTo>
                <a:lnTo>
                  <a:pt x="6496782" y="3116027"/>
                </a:lnTo>
                <a:lnTo>
                  <a:pt x="6491465" y="3112562"/>
                </a:lnTo>
                <a:lnTo>
                  <a:pt x="6489946" y="3106175"/>
                </a:lnTo>
                <a:lnTo>
                  <a:pt x="6487342" y="3104442"/>
                </a:lnTo>
                <a:lnTo>
                  <a:pt x="6487124" y="3099787"/>
                </a:lnTo>
                <a:lnTo>
                  <a:pt x="6484846" y="3097404"/>
                </a:lnTo>
                <a:lnTo>
                  <a:pt x="6476056" y="3096755"/>
                </a:lnTo>
                <a:lnTo>
                  <a:pt x="6473126" y="3092857"/>
                </a:lnTo>
                <a:lnTo>
                  <a:pt x="6477575" y="3089501"/>
                </a:lnTo>
                <a:lnTo>
                  <a:pt x="6477684" y="3085603"/>
                </a:lnTo>
                <a:lnTo>
                  <a:pt x="6479311" y="3084737"/>
                </a:lnTo>
                <a:lnTo>
                  <a:pt x="6482350" y="3087985"/>
                </a:lnTo>
                <a:lnTo>
                  <a:pt x="6486907" y="3089609"/>
                </a:lnTo>
                <a:lnTo>
                  <a:pt x="6485280" y="3086469"/>
                </a:lnTo>
                <a:close/>
                <a:moveTo>
                  <a:pt x="7196607" y="3082139"/>
                </a:moveTo>
                <a:lnTo>
                  <a:pt x="7205396" y="3085279"/>
                </a:lnTo>
                <a:lnTo>
                  <a:pt x="7210280" y="3082896"/>
                </a:lnTo>
                <a:lnTo>
                  <a:pt x="7217550" y="3084954"/>
                </a:lnTo>
                <a:lnTo>
                  <a:pt x="7221457" y="3083980"/>
                </a:lnTo>
                <a:lnTo>
                  <a:pt x="7229596" y="3085712"/>
                </a:lnTo>
                <a:lnTo>
                  <a:pt x="7226883" y="3087336"/>
                </a:lnTo>
                <a:lnTo>
                  <a:pt x="7216899" y="3088852"/>
                </a:lnTo>
                <a:lnTo>
                  <a:pt x="7206048" y="3087336"/>
                </a:lnTo>
                <a:lnTo>
                  <a:pt x="7198452" y="3084196"/>
                </a:lnTo>
                <a:cubicBezTo>
                  <a:pt x="7197888" y="3083466"/>
                  <a:pt x="7197271" y="3082778"/>
                  <a:pt x="7196607" y="3082139"/>
                </a:cubicBezTo>
                <a:close/>
                <a:moveTo>
                  <a:pt x="4679941" y="3081747"/>
                </a:moveTo>
                <a:lnTo>
                  <a:pt x="4680540" y="3083870"/>
                </a:lnTo>
                <a:lnTo>
                  <a:pt x="4680978" y="3087074"/>
                </a:lnTo>
                <a:lnTo>
                  <a:pt x="4680540" y="3083871"/>
                </a:lnTo>
                <a:close/>
                <a:moveTo>
                  <a:pt x="4237885" y="3081625"/>
                </a:moveTo>
                <a:lnTo>
                  <a:pt x="4237031" y="3082679"/>
                </a:lnTo>
                <a:lnTo>
                  <a:pt x="4237899" y="3088418"/>
                </a:lnTo>
                <a:lnTo>
                  <a:pt x="4236815" y="3092315"/>
                </a:lnTo>
                <a:lnTo>
                  <a:pt x="4237900" y="3088418"/>
                </a:lnTo>
                <a:lnTo>
                  <a:pt x="4237032" y="3082679"/>
                </a:lnTo>
                <a:close/>
                <a:moveTo>
                  <a:pt x="7187058" y="3080731"/>
                </a:moveTo>
                <a:lnTo>
                  <a:pt x="7193244" y="3080731"/>
                </a:lnTo>
                <a:lnTo>
                  <a:pt x="7190531" y="3081922"/>
                </a:lnTo>
                <a:close/>
                <a:moveTo>
                  <a:pt x="4243619" y="3080376"/>
                </a:moveTo>
                <a:lnTo>
                  <a:pt x="4243867" y="3080406"/>
                </a:lnTo>
                <a:lnTo>
                  <a:pt x="4247774" y="3090041"/>
                </a:lnTo>
                <a:lnTo>
                  <a:pt x="4247775" y="3090042"/>
                </a:lnTo>
                <a:lnTo>
                  <a:pt x="4243868" y="3080406"/>
                </a:lnTo>
                <a:close/>
                <a:moveTo>
                  <a:pt x="2203643" y="3078344"/>
                </a:moveTo>
                <a:lnTo>
                  <a:pt x="2203538" y="3083762"/>
                </a:lnTo>
                <a:lnTo>
                  <a:pt x="2205274" y="3084304"/>
                </a:lnTo>
                <a:lnTo>
                  <a:pt x="2209181" y="3086145"/>
                </a:lnTo>
                <a:lnTo>
                  <a:pt x="2210909" y="3091223"/>
                </a:lnTo>
                <a:lnTo>
                  <a:pt x="2209182" y="3086144"/>
                </a:lnTo>
                <a:lnTo>
                  <a:pt x="2205275" y="3084303"/>
                </a:lnTo>
                <a:lnTo>
                  <a:pt x="2203539" y="3083762"/>
                </a:lnTo>
                <a:close/>
                <a:moveTo>
                  <a:pt x="7009415" y="3077916"/>
                </a:moveTo>
                <a:lnTo>
                  <a:pt x="7015166" y="3078240"/>
                </a:lnTo>
                <a:lnTo>
                  <a:pt x="7021026" y="3084087"/>
                </a:lnTo>
                <a:lnTo>
                  <a:pt x="7019723" y="3086902"/>
                </a:lnTo>
                <a:lnTo>
                  <a:pt x="7016793" y="3086902"/>
                </a:lnTo>
                <a:lnTo>
                  <a:pt x="7012778" y="3086902"/>
                </a:lnTo>
                <a:lnTo>
                  <a:pt x="7009523" y="3087552"/>
                </a:lnTo>
                <a:lnTo>
                  <a:pt x="7005400" y="3085712"/>
                </a:lnTo>
                <a:lnTo>
                  <a:pt x="7002687" y="3082896"/>
                </a:lnTo>
                <a:close/>
                <a:moveTo>
                  <a:pt x="6897753" y="3073694"/>
                </a:moveTo>
                <a:lnTo>
                  <a:pt x="6904372" y="3074235"/>
                </a:lnTo>
                <a:lnTo>
                  <a:pt x="6904805" y="3076292"/>
                </a:lnTo>
                <a:lnTo>
                  <a:pt x="6903287" y="3078999"/>
                </a:lnTo>
                <a:lnTo>
                  <a:pt x="6906976" y="3078241"/>
                </a:lnTo>
                <a:lnTo>
                  <a:pt x="6908604" y="3075318"/>
                </a:lnTo>
                <a:lnTo>
                  <a:pt x="6912077" y="3077808"/>
                </a:lnTo>
                <a:lnTo>
                  <a:pt x="6911208" y="3081489"/>
                </a:lnTo>
                <a:lnTo>
                  <a:pt x="6906976" y="3082464"/>
                </a:lnTo>
                <a:lnTo>
                  <a:pt x="6905565" y="3080732"/>
                </a:lnTo>
                <a:lnTo>
                  <a:pt x="6903287" y="3084088"/>
                </a:lnTo>
                <a:lnTo>
                  <a:pt x="6899380" y="3081057"/>
                </a:lnTo>
                <a:lnTo>
                  <a:pt x="6896233" y="3083872"/>
                </a:lnTo>
                <a:lnTo>
                  <a:pt x="6892651" y="3081273"/>
                </a:lnTo>
                <a:lnTo>
                  <a:pt x="6892435" y="3076942"/>
                </a:lnTo>
                <a:close/>
                <a:moveTo>
                  <a:pt x="6574806" y="3071311"/>
                </a:moveTo>
                <a:lnTo>
                  <a:pt x="6580665" y="3071527"/>
                </a:lnTo>
                <a:lnTo>
                  <a:pt x="6584138" y="3074017"/>
                </a:lnTo>
                <a:lnTo>
                  <a:pt x="6579581" y="3078781"/>
                </a:lnTo>
                <a:lnTo>
                  <a:pt x="6576542" y="3079647"/>
                </a:lnTo>
                <a:lnTo>
                  <a:pt x="6574589" y="3077157"/>
                </a:lnTo>
                <a:lnTo>
                  <a:pt x="6575240" y="3074125"/>
                </a:lnTo>
                <a:close/>
                <a:moveTo>
                  <a:pt x="7534962" y="3069362"/>
                </a:moveTo>
                <a:lnTo>
                  <a:pt x="7539195" y="3069578"/>
                </a:lnTo>
                <a:lnTo>
                  <a:pt x="7542016" y="3073693"/>
                </a:lnTo>
                <a:lnTo>
                  <a:pt x="7541799" y="3076616"/>
                </a:lnTo>
                <a:lnTo>
                  <a:pt x="7535830" y="3072719"/>
                </a:lnTo>
                <a:close/>
                <a:moveTo>
                  <a:pt x="4336758" y="3068820"/>
                </a:moveTo>
                <a:lnTo>
                  <a:pt x="4332200" y="3074451"/>
                </a:lnTo>
                <a:lnTo>
                  <a:pt x="4332092" y="3079647"/>
                </a:lnTo>
                <a:lnTo>
                  <a:pt x="4324821" y="3087226"/>
                </a:lnTo>
                <a:lnTo>
                  <a:pt x="4322217" y="3092315"/>
                </a:lnTo>
                <a:lnTo>
                  <a:pt x="4323194" y="3099028"/>
                </a:lnTo>
                <a:lnTo>
                  <a:pt x="4324604" y="3100977"/>
                </a:lnTo>
                <a:lnTo>
                  <a:pt x="4323736" y="3113969"/>
                </a:lnTo>
                <a:lnTo>
                  <a:pt x="4322109" y="3120574"/>
                </a:lnTo>
                <a:lnTo>
                  <a:pt x="4323737" y="3113969"/>
                </a:lnTo>
                <a:lnTo>
                  <a:pt x="4324605" y="3100977"/>
                </a:lnTo>
                <a:lnTo>
                  <a:pt x="4323194" y="3099028"/>
                </a:lnTo>
                <a:lnTo>
                  <a:pt x="4322217" y="3092315"/>
                </a:lnTo>
                <a:lnTo>
                  <a:pt x="4324822" y="3087227"/>
                </a:lnTo>
                <a:lnTo>
                  <a:pt x="4332092" y="3079648"/>
                </a:lnTo>
                <a:lnTo>
                  <a:pt x="4332201" y="3074450"/>
                </a:lnTo>
                <a:close/>
                <a:moveTo>
                  <a:pt x="6316211" y="3068281"/>
                </a:moveTo>
                <a:lnTo>
                  <a:pt x="6321528" y="3070012"/>
                </a:lnTo>
                <a:lnTo>
                  <a:pt x="6328583" y="3080190"/>
                </a:lnTo>
                <a:lnTo>
                  <a:pt x="6328583" y="3089068"/>
                </a:lnTo>
                <a:lnTo>
                  <a:pt x="6322505" y="3087228"/>
                </a:lnTo>
                <a:lnTo>
                  <a:pt x="6316320" y="3077916"/>
                </a:lnTo>
                <a:lnTo>
                  <a:pt x="6311220" y="3076076"/>
                </a:lnTo>
                <a:lnTo>
                  <a:pt x="6311220" y="3072287"/>
                </a:lnTo>
                <a:close/>
                <a:moveTo>
                  <a:pt x="4647764" y="3068173"/>
                </a:moveTo>
                <a:lnTo>
                  <a:pt x="4641365" y="3073909"/>
                </a:lnTo>
                <a:lnTo>
                  <a:pt x="4636915" y="3079323"/>
                </a:lnTo>
                <a:lnTo>
                  <a:pt x="4633334" y="3093722"/>
                </a:lnTo>
                <a:lnTo>
                  <a:pt x="4632792" y="3097403"/>
                </a:lnTo>
                <a:lnTo>
                  <a:pt x="4632466" y="3100111"/>
                </a:lnTo>
                <a:lnTo>
                  <a:pt x="4633458" y="3101680"/>
                </a:lnTo>
                <a:lnTo>
                  <a:pt x="4632467" y="3100111"/>
                </a:lnTo>
                <a:lnTo>
                  <a:pt x="4632792" y="3097405"/>
                </a:lnTo>
                <a:lnTo>
                  <a:pt x="4634069" y="3097086"/>
                </a:lnTo>
                <a:lnTo>
                  <a:pt x="4632793" y="3097404"/>
                </a:lnTo>
                <a:lnTo>
                  <a:pt x="4633335" y="3093723"/>
                </a:lnTo>
                <a:lnTo>
                  <a:pt x="4636916" y="3079323"/>
                </a:lnTo>
                <a:lnTo>
                  <a:pt x="4641365" y="3073909"/>
                </a:lnTo>
                <a:lnTo>
                  <a:pt x="4645343" y="3070354"/>
                </a:lnTo>
                <a:lnTo>
                  <a:pt x="4641365" y="3073909"/>
                </a:lnTo>
                <a:lnTo>
                  <a:pt x="4647638" y="3068288"/>
                </a:lnTo>
                <a:close/>
                <a:moveTo>
                  <a:pt x="4655689" y="3065789"/>
                </a:moveTo>
                <a:lnTo>
                  <a:pt x="4651782" y="3068929"/>
                </a:lnTo>
                <a:lnTo>
                  <a:pt x="4647876" y="3069686"/>
                </a:lnTo>
                <a:lnTo>
                  <a:pt x="4646574" y="3069254"/>
                </a:lnTo>
                <a:lnTo>
                  <a:pt x="4647877" y="3069687"/>
                </a:lnTo>
                <a:lnTo>
                  <a:pt x="4651783" y="3068929"/>
                </a:lnTo>
                <a:close/>
                <a:moveTo>
                  <a:pt x="7182718" y="3065574"/>
                </a:moveTo>
                <a:lnTo>
                  <a:pt x="7185647" y="3068713"/>
                </a:lnTo>
                <a:lnTo>
                  <a:pt x="7182610" y="3069363"/>
                </a:lnTo>
                <a:lnTo>
                  <a:pt x="7179788" y="3066548"/>
                </a:lnTo>
                <a:close/>
                <a:moveTo>
                  <a:pt x="7089284" y="3065357"/>
                </a:moveTo>
                <a:lnTo>
                  <a:pt x="7092974" y="3066764"/>
                </a:lnTo>
                <a:lnTo>
                  <a:pt x="7091781" y="3074776"/>
                </a:lnTo>
                <a:lnTo>
                  <a:pt x="7089501" y="3076400"/>
                </a:lnTo>
                <a:lnTo>
                  <a:pt x="7084402" y="3075317"/>
                </a:lnTo>
                <a:lnTo>
                  <a:pt x="7084402" y="3068930"/>
                </a:lnTo>
                <a:close/>
                <a:moveTo>
                  <a:pt x="6569814" y="3063733"/>
                </a:moveTo>
                <a:lnTo>
                  <a:pt x="6576000" y="3064816"/>
                </a:lnTo>
                <a:lnTo>
                  <a:pt x="6578604" y="3067306"/>
                </a:lnTo>
                <a:lnTo>
                  <a:pt x="6580558" y="3067955"/>
                </a:lnTo>
                <a:lnTo>
                  <a:pt x="6580666" y="3069687"/>
                </a:lnTo>
                <a:lnTo>
                  <a:pt x="6575023" y="3069363"/>
                </a:lnTo>
                <a:lnTo>
                  <a:pt x="6572744" y="3069471"/>
                </a:lnTo>
                <a:lnTo>
                  <a:pt x="6569380" y="3065573"/>
                </a:lnTo>
                <a:close/>
                <a:moveTo>
                  <a:pt x="7081689" y="3063408"/>
                </a:moveTo>
                <a:lnTo>
                  <a:pt x="7086572" y="3065248"/>
                </a:lnTo>
                <a:lnTo>
                  <a:pt x="7080929" y="3066331"/>
                </a:lnTo>
                <a:lnTo>
                  <a:pt x="7077130" y="3064382"/>
                </a:lnTo>
                <a:close/>
                <a:moveTo>
                  <a:pt x="4669470" y="3063299"/>
                </a:moveTo>
                <a:lnTo>
                  <a:pt x="4665564" y="3064056"/>
                </a:lnTo>
                <a:lnTo>
                  <a:pt x="4665456" y="3067305"/>
                </a:lnTo>
                <a:lnTo>
                  <a:pt x="4663719" y="3068929"/>
                </a:lnTo>
                <a:lnTo>
                  <a:pt x="4663720" y="3068929"/>
                </a:lnTo>
                <a:lnTo>
                  <a:pt x="4665456" y="3067305"/>
                </a:lnTo>
                <a:lnTo>
                  <a:pt x="4665565" y="3064056"/>
                </a:lnTo>
                <a:close/>
                <a:moveTo>
                  <a:pt x="2160113" y="3063149"/>
                </a:moveTo>
                <a:lnTo>
                  <a:pt x="2159589" y="3065573"/>
                </a:lnTo>
                <a:lnTo>
                  <a:pt x="2158504" y="3067738"/>
                </a:lnTo>
                <a:lnTo>
                  <a:pt x="2159589" y="3065574"/>
                </a:lnTo>
                <a:close/>
                <a:moveTo>
                  <a:pt x="7090043" y="3061784"/>
                </a:moveTo>
                <a:lnTo>
                  <a:pt x="7088199" y="3064707"/>
                </a:lnTo>
                <a:lnTo>
                  <a:pt x="7086137" y="3062433"/>
                </a:lnTo>
                <a:close/>
                <a:moveTo>
                  <a:pt x="6998240" y="3060918"/>
                </a:moveTo>
                <a:lnTo>
                  <a:pt x="6999759" y="3062109"/>
                </a:lnTo>
                <a:lnTo>
                  <a:pt x="7001496" y="3065573"/>
                </a:lnTo>
                <a:lnTo>
                  <a:pt x="6996503" y="3064166"/>
                </a:lnTo>
                <a:close/>
                <a:moveTo>
                  <a:pt x="7196065" y="3057561"/>
                </a:moveTo>
                <a:lnTo>
                  <a:pt x="7202793" y="3058752"/>
                </a:lnTo>
                <a:lnTo>
                  <a:pt x="7206590" y="3058752"/>
                </a:lnTo>
                <a:lnTo>
                  <a:pt x="7210498" y="3061350"/>
                </a:lnTo>
                <a:lnTo>
                  <a:pt x="7213644" y="3066331"/>
                </a:lnTo>
                <a:lnTo>
                  <a:pt x="7217008" y="3068063"/>
                </a:lnTo>
                <a:lnTo>
                  <a:pt x="7219070" y="3070121"/>
                </a:lnTo>
                <a:lnTo>
                  <a:pt x="7213644" y="3071095"/>
                </a:lnTo>
                <a:lnTo>
                  <a:pt x="7211474" y="3070121"/>
                </a:lnTo>
                <a:lnTo>
                  <a:pt x="7210172" y="3070121"/>
                </a:lnTo>
                <a:lnTo>
                  <a:pt x="7206590" y="3069363"/>
                </a:lnTo>
                <a:lnTo>
                  <a:pt x="7207242" y="3066331"/>
                </a:lnTo>
                <a:lnTo>
                  <a:pt x="7203118" y="3060809"/>
                </a:lnTo>
                <a:lnTo>
                  <a:pt x="7200623" y="3060701"/>
                </a:lnTo>
                <a:lnTo>
                  <a:pt x="7200840" y="3063408"/>
                </a:lnTo>
                <a:lnTo>
                  <a:pt x="7196933" y="3059402"/>
                </a:lnTo>
                <a:close/>
                <a:moveTo>
                  <a:pt x="2180096" y="3057150"/>
                </a:moveTo>
                <a:lnTo>
                  <a:pt x="2180424" y="3059834"/>
                </a:lnTo>
                <a:lnTo>
                  <a:pt x="2184439" y="3067305"/>
                </a:lnTo>
                <a:lnTo>
                  <a:pt x="2187478" y="3067305"/>
                </a:lnTo>
                <a:lnTo>
                  <a:pt x="2198872" y="3070987"/>
                </a:lnTo>
                <a:lnTo>
                  <a:pt x="2203647" y="3078132"/>
                </a:lnTo>
                <a:lnTo>
                  <a:pt x="2203647" y="3078131"/>
                </a:lnTo>
                <a:lnTo>
                  <a:pt x="2198872" y="3070986"/>
                </a:lnTo>
                <a:lnTo>
                  <a:pt x="2187478" y="3067305"/>
                </a:lnTo>
                <a:lnTo>
                  <a:pt x="2184440" y="3067305"/>
                </a:lnTo>
                <a:lnTo>
                  <a:pt x="2180424" y="3059834"/>
                </a:lnTo>
                <a:close/>
                <a:moveTo>
                  <a:pt x="6454679" y="3056262"/>
                </a:moveTo>
                <a:lnTo>
                  <a:pt x="6458694" y="3056262"/>
                </a:lnTo>
                <a:lnTo>
                  <a:pt x="6460323" y="3060701"/>
                </a:lnTo>
                <a:lnTo>
                  <a:pt x="6456090" y="3063191"/>
                </a:lnTo>
                <a:lnTo>
                  <a:pt x="6452292" y="3059402"/>
                </a:lnTo>
                <a:close/>
                <a:moveTo>
                  <a:pt x="7006812" y="3054530"/>
                </a:moveTo>
                <a:lnTo>
                  <a:pt x="7009416" y="3056479"/>
                </a:lnTo>
                <a:lnTo>
                  <a:pt x="7009198" y="3060052"/>
                </a:lnTo>
                <a:lnTo>
                  <a:pt x="7012562" y="3061460"/>
                </a:lnTo>
                <a:lnTo>
                  <a:pt x="7013865" y="3063408"/>
                </a:lnTo>
                <a:lnTo>
                  <a:pt x="7011586" y="3065682"/>
                </a:lnTo>
                <a:lnTo>
                  <a:pt x="7009090" y="3063300"/>
                </a:lnTo>
                <a:lnTo>
                  <a:pt x="7004967" y="3063408"/>
                </a:lnTo>
                <a:lnTo>
                  <a:pt x="7002363" y="3059403"/>
                </a:lnTo>
                <a:lnTo>
                  <a:pt x="7002037" y="3056587"/>
                </a:lnTo>
                <a:lnTo>
                  <a:pt x="7003556" y="3055179"/>
                </a:lnTo>
                <a:close/>
                <a:moveTo>
                  <a:pt x="6863896" y="3054530"/>
                </a:moveTo>
                <a:lnTo>
                  <a:pt x="6866066" y="3054530"/>
                </a:lnTo>
                <a:lnTo>
                  <a:pt x="6869322" y="3056479"/>
                </a:lnTo>
                <a:lnTo>
                  <a:pt x="6865958" y="3057237"/>
                </a:lnTo>
                <a:close/>
                <a:moveTo>
                  <a:pt x="6307964" y="3054530"/>
                </a:moveTo>
                <a:lnTo>
                  <a:pt x="6311763" y="3056154"/>
                </a:lnTo>
                <a:lnTo>
                  <a:pt x="6311763" y="3059619"/>
                </a:lnTo>
                <a:lnTo>
                  <a:pt x="6308507" y="3062975"/>
                </a:lnTo>
                <a:lnTo>
                  <a:pt x="6305577" y="3059727"/>
                </a:lnTo>
                <a:close/>
                <a:moveTo>
                  <a:pt x="6567536" y="3053339"/>
                </a:moveTo>
                <a:lnTo>
                  <a:pt x="6573396" y="3055071"/>
                </a:lnTo>
                <a:lnTo>
                  <a:pt x="6574264" y="3056370"/>
                </a:lnTo>
                <a:lnTo>
                  <a:pt x="6571877" y="3057778"/>
                </a:lnTo>
                <a:lnTo>
                  <a:pt x="6567536" y="3056262"/>
                </a:lnTo>
                <a:lnTo>
                  <a:pt x="6566668" y="3053988"/>
                </a:lnTo>
                <a:close/>
                <a:moveTo>
                  <a:pt x="4281198" y="3053230"/>
                </a:moveTo>
                <a:lnTo>
                  <a:pt x="4281198" y="3053230"/>
                </a:lnTo>
                <a:lnTo>
                  <a:pt x="4283693" y="3055612"/>
                </a:lnTo>
                <a:lnTo>
                  <a:pt x="4283588" y="3057987"/>
                </a:lnTo>
                <a:lnTo>
                  <a:pt x="4283694" y="3055612"/>
                </a:lnTo>
                <a:close/>
                <a:moveTo>
                  <a:pt x="6996828" y="3052472"/>
                </a:moveTo>
                <a:lnTo>
                  <a:pt x="6999541" y="3052580"/>
                </a:lnTo>
                <a:lnTo>
                  <a:pt x="6999650" y="3054961"/>
                </a:lnTo>
                <a:lnTo>
                  <a:pt x="6998347" y="3058209"/>
                </a:lnTo>
                <a:lnTo>
                  <a:pt x="6995417" y="3057127"/>
                </a:lnTo>
                <a:close/>
                <a:moveTo>
                  <a:pt x="6871165" y="3052365"/>
                </a:moveTo>
                <a:lnTo>
                  <a:pt x="6871057" y="3054963"/>
                </a:lnTo>
                <a:lnTo>
                  <a:pt x="6867259" y="3053448"/>
                </a:lnTo>
                <a:close/>
                <a:moveTo>
                  <a:pt x="7129328" y="3050308"/>
                </a:moveTo>
                <a:lnTo>
                  <a:pt x="7141590" y="3054963"/>
                </a:lnTo>
                <a:lnTo>
                  <a:pt x="7149186" y="3060160"/>
                </a:lnTo>
                <a:lnTo>
                  <a:pt x="7156891" y="3059835"/>
                </a:lnTo>
                <a:lnTo>
                  <a:pt x="7164813" y="3060485"/>
                </a:lnTo>
                <a:lnTo>
                  <a:pt x="7166766" y="3062542"/>
                </a:lnTo>
                <a:lnTo>
                  <a:pt x="7165139" y="3065141"/>
                </a:lnTo>
                <a:lnTo>
                  <a:pt x="7165139" y="3070987"/>
                </a:lnTo>
                <a:lnTo>
                  <a:pt x="7169261" y="3074344"/>
                </a:lnTo>
                <a:lnTo>
                  <a:pt x="7170889" y="3078675"/>
                </a:lnTo>
                <a:lnTo>
                  <a:pt x="7167959" y="3083005"/>
                </a:lnTo>
                <a:lnTo>
                  <a:pt x="7165355" y="3087444"/>
                </a:lnTo>
                <a:lnTo>
                  <a:pt x="7167092" y="3093832"/>
                </a:lnTo>
                <a:lnTo>
                  <a:pt x="7167416" y="3104768"/>
                </a:lnTo>
                <a:lnTo>
                  <a:pt x="7170564" y="3110181"/>
                </a:lnTo>
                <a:lnTo>
                  <a:pt x="7173277" y="3113538"/>
                </a:lnTo>
                <a:lnTo>
                  <a:pt x="7175230" y="3113754"/>
                </a:lnTo>
                <a:lnTo>
                  <a:pt x="7174687" y="3107799"/>
                </a:lnTo>
                <a:lnTo>
                  <a:pt x="7176857" y="3105309"/>
                </a:lnTo>
                <a:lnTo>
                  <a:pt x="7179679" y="3107042"/>
                </a:lnTo>
                <a:lnTo>
                  <a:pt x="7179462" y="3111914"/>
                </a:lnTo>
                <a:lnTo>
                  <a:pt x="7181090" y="3116569"/>
                </a:lnTo>
                <a:lnTo>
                  <a:pt x="7182609" y="3115487"/>
                </a:lnTo>
                <a:lnTo>
                  <a:pt x="7184129" y="3119817"/>
                </a:lnTo>
                <a:lnTo>
                  <a:pt x="7189446" y="3124040"/>
                </a:lnTo>
                <a:lnTo>
                  <a:pt x="7192268" y="3126963"/>
                </a:lnTo>
                <a:lnTo>
                  <a:pt x="7196174" y="3126963"/>
                </a:lnTo>
                <a:lnTo>
                  <a:pt x="7200840" y="3124906"/>
                </a:lnTo>
                <a:lnTo>
                  <a:pt x="7202033" y="3120684"/>
                </a:lnTo>
                <a:lnTo>
                  <a:pt x="7204638" y="3118518"/>
                </a:lnTo>
                <a:lnTo>
                  <a:pt x="7207351" y="3117544"/>
                </a:lnTo>
                <a:lnTo>
                  <a:pt x="7207351" y="3111589"/>
                </a:lnTo>
                <a:lnTo>
                  <a:pt x="7210390" y="3106717"/>
                </a:lnTo>
                <a:lnTo>
                  <a:pt x="7215056" y="3106283"/>
                </a:lnTo>
                <a:lnTo>
                  <a:pt x="7219613" y="3103577"/>
                </a:lnTo>
                <a:lnTo>
                  <a:pt x="7220156" y="3099246"/>
                </a:lnTo>
                <a:lnTo>
                  <a:pt x="7221784" y="3096755"/>
                </a:lnTo>
                <a:lnTo>
                  <a:pt x="7223954" y="3097730"/>
                </a:lnTo>
                <a:lnTo>
                  <a:pt x="7226884" y="3097514"/>
                </a:lnTo>
                <a:lnTo>
                  <a:pt x="7231333" y="3095889"/>
                </a:lnTo>
                <a:lnTo>
                  <a:pt x="7238279" y="3095024"/>
                </a:lnTo>
                <a:lnTo>
                  <a:pt x="7239146" y="3091559"/>
                </a:lnTo>
                <a:lnTo>
                  <a:pt x="7236976" y="3087336"/>
                </a:lnTo>
                <a:lnTo>
                  <a:pt x="7237844" y="3085063"/>
                </a:lnTo>
                <a:lnTo>
                  <a:pt x="7249673" y="3078025"/>
                </a:lnTo>
                <a:lnTo>
                  <a:pt x="7255316" y="3078566"/>
                </a:lnTo>
                <a:lnTo>
                  <a:pt x="7259222" y="3082140"/>
                </a:lnTo>
                <a:lnTo>
                  <a:pt x="7266493" y="3085279"/>
                </a:lnTo>
                <a:lnTo>
                  <a:pt x="7274957" y="3087228"/>
                </a:lnTo>
                <a:lnTo>
                  <a:pt x="7279515" y="3091017"/>
                </a:lnTo>
                <a:lnTo>
                  <a:pt x="7284290" y="3091450"/>
                </a:lnTo>
                <a:lnTo>
                  <a:pt x="7290366" y="3093183"/>
                </a:lnTo>
                <a:lnTo>
                  <a:pt x="7304148" y="3099462"/>
                </a:lnTo>
                <a:lnTo>
                  <a:pt x="7307729" y="3098813"/>
                </a:lnTo>
                <a:lnTo>
                  <a:pt x="7310984" y="3099354"/>
                </a:lnTo>
                <a:lnTo>
                  <a:pt x="7316953" y="3100762"/>
                </a:lnTo>
                <a:lnTo>
                  <a:pt x="7321293" y="3100654"/>
                </a:lnTo>
                <a:lnTo>
                  <a:pt x="7324766" y="3103144"/>
                </a:lnTo>
                <a:lnTo>
                  <a:pt x="7324115" y="3105201"/>
                </a:lnTo>
                <a:lnTo>
                  <a:pt x="7324332" y="3107799"/>
                </a:lnTo>
                <a:lnTo>
                  <a:pt x="7327370" y="3108774"/>
                </a:lnTo>
                <a:lnTo>
                  <a:pt x="7331277" y="3107691"/>
                </a:lnTo>
                <a:lnTo>
                  <a:pt x="7331384" y="3107691"/>
                </a:lnTo>
                <a:lnTo>
                  <a:pt x="7331384" y="3107690"/>
                </a:lnTo>
                <a:lnTo>
                  <a:pt x="7335616" y="3107906"/>
                </a:lnTo>
                <a:lnTo>
                  <a:pt x="7343429" y="3111263"/>
                </a:lnTo>
                <a:lnTo>
                  <a:pt x="7348096" y="3112995"/>
                </a:lnTo>
                <a:lnTo>
                  <a:pt x="7350267" y="3115269"/>
                </a:lnTo>
                <a:lnTo>
                  <a:pt x="7359599" y="3119058"/>
                </a:lnTo>
                <a:lnTo>
                  <a:pt x="7361226" y="3118192"/>
                </a:lnTo>
                <a:lnTo>
                  <a:pt x="7363614" y="3118192"/>
                </a:lnTo>
                <a:lnTo>
                  <a:pt x="7366110" y="3121332"/>
                </a:lnTo>
                <a:lnTo>
                  <a:pt x="7371101" y="3123389"/>
                </a:lnTo>
                <a:lnTo>
                  <a:pt x="7384015" y="3124580"/>
                </a:lnTo>
                <a:lnTo>
                  <a:pt x="7392805" y="3129885"/>
                </a:lnTo>
                <a:lnTo>
                  <a:pt x="7398231" y="3131185"/>
                </a:lnTo>
                <a:lnTo>
                  <a:pt x="7403221" y="3135082"/>
                </a:lnTo>
                <a:lnTo>
                  <a:pt x="7408540" y="3135516"/>
                </a:lnTo>
                <a:lnTo>
                  <a:pt x="7412988" y="3137789"/>
                </a:lnTo>
                <a:lnTo>
                  <a:pt x="7414942" y="3137139"/>
                </a:lnTo>
                <a:lnTo>
                  <a:pt x="7417546" y="3140604"/>
                </a:lnTo>
                <a:lnTo>
                  <a:pt x="7422538" y="3141579"/>
                </a:lnTo>
                <a:lnTo>
                  <a:pt x="7423949" y="3145044"/>
                </a:lnTo>
                <a:lnTo>
                  <a:pt x="7428290" y="3148183"/>
                </a:lnTo>
                <a:lnTo>
                  <a:pt x="7430135" y="3151864"/>
                </a:lnTo>
                <a:lnTo>
                  <a:pt x="7432956" y="3150673"/>
                </a:lnTo>
                <a:lnTo>
                  <a:pt x="7435018" y="3150348"/>
                </a:lnTo>
                <a:lnTo>
                  <a:pt x="7443699" y="3159443"/>
                </a:lnTo>
                <a:lnTo>
                  <a:pt x="7446737" y="3163341"/>
                </a:lnTo>
                <a:lnTo>
                  <a:pt x="7446195" y="3167563"/>
                </a:lnTo>
                <a:lnTo>
                  <a:pt x="7442939" y="3172977"/>
                </a:lnTo>
                <a:lnTo>
                  <a:pt x="7444133" y="3176225"/>
                </a:lnTo>
                <a:lnTo>
                  <a:pt x="7455744" y="3180339"/>
                </a:lnTo>
                <a:lnTo>
                  <a:pt x="7460519" y="3179798"/>
                </a:lnTo>
                <a:lnTo>
                  <a:pt x="7464751" y="3184345"/>
                </a:lnTo>
                <a:lnTo>
                  <a:pt x="7473324" y="3187918"/>
                </a:lnTo>
                <a:lnTo>
                  <a:pt x="7478749" y="3190517"/>
                </a:lnTo>
                <a:lnTo>
                  <a:pt x="7480920" y="3189001"/>
                </a:lnTo>
                <a:lnTo>
                  <a:pt x="7485912" y="3189976"/>
                </a:lnTo>
                <a:lnTo>
                  <a:pt x="7492748" y="3197121"/>
                </a:lnTo>
                <a:lnTo>
                  <a:pt x="7493183" y="3202101"/>
                </a:lnTo>
                <a:lnTo>
                  <a:pt x="7490687" y="3206325"/>
                </a:lnTo>
                <a:lnTo>
                  <a:pt x="7482113" y="3210764"/>
                </a:lnTo>
                <a:lnTo>
                  <a:pt x="7472347" y="3209897"/>
                </a:lnTo>
                <a:lnTo>
                  <a:pt x="7471804" y="3211846"/>
                </a:lnTo>
                <a:lnTo>
                  <a:pt x="7474517" y="3216826"/>
                </a:lnTo>
                <a:lnTo>
                  <a:pt x="7478207" y="3219858"/>
                </a:lnTo>
                <a:lnTo>
                  <a:pt x="7479292" y="3225380"/>
                </a:lnTo>
                <a:lnTo>
                  <a:pt x="7484501" y="3230793"/>
                </a:lnTo>
                <a:lnTo>
                  <a:pt x="7487105" y="3235882"/>
                </a:lnTo>
                <a:lnTo>
                  <a:pt x="7490470" y="3237723"/>
                </a:lnTo>
                <a:lnTo>
                  <a:pt x="7495678" y="3237723"/>
                </a:lnTo>
                <a:lnTo>
                  <a:pt x="7496980" y="3241296"/>
                </a:lnTo>
                <a:lnTo>
                  <a:pt x="7499259" y="3242270"/>
                </a:lnTo>
                <a:lnTo>
                  <a:pt x="7503599" y="3252880"/>
                </a:lnTo>
                <a:lnTo>
                  <a:pt x="7507181" y="3254613"/>
                </a:lnTo>
                <a:lnTo>
                  <a:pt x="7508049" y="3261217"/>
                </a:lnTo>
                <a:lnTo>
                  <a:pt x="7512281" y="3265765"/>
                </a:lnTo>
                <a:lnTo>
                  <a:pt x="7514886" y="3265657"/>
                </a:lnTo>
                <a:lnTo>
                  <a:pt x="7518575" y="3266523"/>
                </a:lnTo>
                <a:lnTo>
                  <a:pt x="7520420" y="3264898"/>
                </a:lnTo>
                <a:lnTo>
                  <a:pt x="7523458" y="3265007"/>
                </a:lnTo>
                <a:lnTo>
                  <a:pt x="7526063" y="3267714"/>
                </a:lnTo>
                <a:lnTo>
                  <a:pt x="7524760" y="3270745"/>
                </a:lnTo>
                <a:lnTo>
                  <a:pt x="7522048" y="3273777"/>
                </a:lnTo>
                <a:lnTo>
                  <a:pt x="7522156" y="3277350"/>
                </a:lnTo>
                <a:lnTo>
                  <a:pt x="7525195" y="3279948"/>
                </a:lnTo>
                <a:lnTo>
                  <a:pt x="7533008" y="3281139"/>
                </a:lnTo>
                <a:lnTo>
                  <a:pt x="7541038" y="3281139"/>
                </a:lnTo>
                <a:lnTo>
                  <a:pt x="7544293" y="3283088"/>
                </a:lnTo>
                <a:lnTo>
                  <a:pt x="7542124" y="3284820"/>
                </a:lnTo>
                <a:lnTo>
                  <a:pt x="7538759" y="3284604"/>
                </a:lnTo>
                <a:lnTo>
                  <a:pt x="7533116" y="3286986"/>
                </a:lnTo>
                <a:lnTo>
                  <a:pt x="7535396" y="3289692"/>
                </a:lnTo>
                <a:lnTo>
                  <a:pt x="7541689" y="3293049"/>
                </a:lnTo>
                <a:lnTo>
                  <a:pt x="7551998" y="3294348"/>
                </a:lnTo>
                <a:lnTo>
                  <a:pt x="7561005" y="3296081"/>
                </a:lnTo>
                <a:lnTo>
                  <a:pt x="7556882" y="3298896"/>
                </a:lnTo>
                <a:lnTo>
                  <a:pt x="7552975" y="3297271"/>
                </a:lnTo>
                <a:lnTo>
                  <a:pt x="7548743" y="3298787"/>
                </a:lnTo>
                <a:lnTo>
                  <a:pt x="7548743" y="3300844"/>
                </a:lnTo>
                <a:lnTo>
                  <a:pt x="7550587" y="3300953"/>
                </a:lnTo>
                <a:lnTo>
                  <a:pt x="7556448" y="3304418"/>
                </a:lnTo>
                <a:lnTo>
                  <a:pt x="7555037" y="3307449"/>
                </a:lnTo>
                <a:lnTo>
                  <a:pt x="7549611" y="3308856"/>
                </a:lnTo>
                <a:lnTo>
                  <a:pt x="7544185" y="3305608"/>
                </a:lnTo>
                <a:lnTo>
                  <a:pt x="7539411" y="3304418"/>
                </a:lnTo>
                <a:lnTo>
                  <a:pt x="7542124" y="3302360"/>
                </a:lnTo>
                <a:lnTo>
                  <a:pt x="7541364" y="3300844"/>
                </a:lnTo>
                <a:lnTo>
                  <a:pt x="7536480" y="3301061"/>
                </a:lnTo>
                <a:lnTo>
                  <a:pt x="7534093" y="3298138"/>
                </a:lnTo>
                <a:lnTo>
                  <a:pt x="7528776" y="3299004"/>
                </a:lnTo>
                <a:lnTo>
                  <a:pt x="7525303" y="3296947"/>
                </a:lnTo>
                <a:lnTo>
                  <a:pt x="7517924" y="3295648"/>
                </a:lnTo>
                <a:lnTo>
                  <a:pt x="7513692" y="3295973"/>
                </a:lnTo>
                <a:lnTo>
                  <a:pt x="7508700" y="3294023"/>
                </a:lnTo>
                <a:lnTo>
                  <a:pt x="7501430" y="3295106"/>
                </a:lnTo>
                <a:lnTo>
                  <a:pt x="7497632" y="3293591"/>
                </a:lnTo>
                <a:lnTo>
                  <a:pt x="7495244" y="3293591"/>
                </a:lnTo>
                <a:lnTo>
                  <a:pt x="7492640" y="3294565"/>
                </a:lnTo>
                <a:lnTo>
                  <a:pt x="7485912" y="3292291"/>
                </a:lnTo>
                <a:lnTo>
                  <a:pt x="7481571" y="3289367"/>
                </a:lnTo>
                <a:lnTo>
                  <a:pt x="7481245" y="3285795"/>
                </a:lnTo>
                <a:lnTo>
                  <a:pt x="7470177" y="3274426"/>
                </a:lnTo>
                <a:lnTo>
                  <a:pt x="7469308" y="3271720"/>
                </a:lnTo>
                <a:lnTo>
                  <a:pt x="7466813" y="3267930"/>
                </a:lnTo>
                <a:lnTo>
                  <a:pt x="7462255" y="3266739"/>
                </a:lnTo>
                <a:lnTo>
                  <a:pt x="7461279" y="3263491"/>
                </a:lnTo>
                <a:lnTo>
                  <a:pt x="7454876" y="3255371"/>
                </a:lnTo>
                <a:lnTo>
                  <a:pt x="7452922" y="3248766"/>
                </a:lnTo>
                <a:lnTo>
                  <a:pt x="7449341" y="3244435"/>
                </a:lnTo>
                <a:lnTo>
                  <a:pt x="7445435" y="3242270"/>
                </a:lnTo>
                <a:lnTo>
                  <a:pt x="7432412" y="3239239"/>
                </a:lnTo>
                <a:lnTo>
                  <a:pt x="7429375" y="3236099"/>
                </a:lnTo>
                <a:lnTo>
                  <a:pt x="7426879" y="3235449"/>
                </a:lnTo>
                <a:lnTo>
                  <a:pt x="7426770" y="3232525"/>
                </a:lnTo>
                <a:lnTo>
                  <a:pt x="7427096" y="3229278"/>
                </a:lnTo>
                <a:lnTo>
                  <a:pt x="7424817" y="3232092"/>
                </a:lnTo>
                <a:lnTo>
                  <a:pt x="7423297" y="3230793"/>
                </a:lnTo>
                <a:lnTo>
                  <a:pt x="7420367" y="3231010"/>
                </a:lnTo>
                <a:lnTo>
                  <a:pt x="7417221" y="3230360"/>
                </a:lnTo>
                <a:lnTo>
                  <a:pt x="7415919" y="3226896"/>
                </a:lnTo>
                <a:lnTo>
                  <a:pt x="7410058" y="3224946"/>
                </a:lnTo>
                <a:lnTo>
                  <a:pt x="7407996" y="3222457"/>
                </a:lnTo>
                <a:lnTo>
                  <a:pt x="7406586" y="3227437"/>
                </a:lnTo>
                <a:lnTo>
                  <a:pt x="7407996" y="3230144"/>
                </a:lnTo>
                <a:lnTo>
                  <a:pt x="7407780" y="3233392"/>
                </a:lnTo>
                <a:lnTo>
                  <a:pt x="7405827" y="3233717"/>
                </a:lnTo>
                <a:lnTo>
                  <a:pt x="7404633" y="3229494"/>
                </a:lnTo>
                <a:lnTo>
                  <a:pt x="7403439" y="3228411"/>
                </a:lnTo>
                <a:lnTo>
                  <a:pt x="7404307" y="3231660"/>
                </a:lnTo>
                <a:lnTo>
                  <a:pt x="7404090" y="3233933"/>
                </a:lnTo>
                <a:lnTo>
                  <a:pt x="7400508" y="3233067"/>
                </a:lnTo>
                <a:lnTo>
                  <a:pt x="7395842" y="3228736"/>
                </a:lnTo>
                <a:lnTo>
                  <a:pt x="7394215" y="3225813"/>
                </a:lnTo>
                <a:lnTo>
                  <a:pt x="7390092" y="3223972"/>
                </a:lnTo>
                <a:lnTo>
                  <a:pt x="7390092" y="3225596"/>
                </a:lnTo>
                <a:lnTo>
                  <a:pt x="7393673" y="3228845"/>
                </a:lnTo>
                <a:lnTo>
                  <a:pt x="7394106" y="3232525"/>
                </a:lnTo>
                <a:lnTo>
                  <a:pt x="7393781" y="3235124"/>
                </a:lnTo>
                <a:lnTo>
                  <a:pt x="7391503" y="3236749"/>
                </a:lnTo>
                <a:lnTo>
                  <a:pt x="7391394" y="3240213"/>
                </a:lnTo>
                <a:lnTo>
                  <a:pt x="7393565" y="3242812"/>
                </a:lnTo>
                <a:lnTo>
                  <a:pt x="7389115" y="3242053"/>
                </a:lnTo>
                <a:lnTo>
                  <a:pt x="7385534" y="3237939"/>
                </a:lnTo>
                <a:lnTo>
                  <a:pt x="7380867" y="3239130"/>
                </a:lnTo>
                <a:lnTo>
                  <a:pt x="7378155" y="3236640"/>
                </a:lnTo>
                <a:lnTo>
                  <a:pt x="7379891" y="3239996"/>
                </a:lnTo>
                <a:lnTo>
                  <a:pt x="7383147" y="3239563"/>
                </a:lnTo>
                <a:lnTo>
                  <a:pt x="7384883" y="3242919"/>
                </a:lnTo>
                <a:lnTo>
                  <a:pt x="7388355" y="3245085"/>
                </a:lnTo>
                <a:lnTo>
                  <a:pt x="7389549" y="3247143"/>
                </a:lnTo>
                <a:lnTo>
                  <a:pt x="7385534" y="3248333"/>
                </a:lnTo>
                <a:lnTo>
                  <a:pt x="7380867" y="3248117"/>
                </a:lnTo>
                <a:lnTo>
                  <a:pt x="7374139" y="3249741"/>
                </a:lnTo>
                <a:lnTo>
                  <a:pt x="7368497" y="3249524"/>
                </a:lnTo>
                <a:lnTo>
                  <a:pt x="7366001" y="3249957"/>
                </a:lnTo>
                <a:lnTo>
                  <a:pt x="7362745" y="3247034"/>
                </a:lnTo>
                <a:lnTo>
                  <a:pt x="7356669" y="3245302"/>
                </a:lnTo>
                <a:lnTo>
                  <a:pt x="7354824" y="3245085"/>
                </a:lnTo>
                <a:lnTo>
                  <a:pt x="7354281" y="3240321"/>
                </a:lnTo>
                <a:lnTo>
                  <a:pt x="7353413" y="3236315"/>
                </a:lnTo>
                <a:lnTo>
                  <a:pt x="7348096" y="3232850"/>
                </a:lnTo>
                <a:lnTo>
                  <a:pt x="7345274" y="3232092"/>
                </a:lnTo>
                <a:lnTo>
                  <a:pt x="7344081" y="3228628"/>
                </a:lnTo>
                <a:lnTo>
                  <a:pt x="7340717" y="3226571"/>
                </a:lnTo>
                <a:lnTo>
                  <a:pt x="7343429" y="3229278"/>
                </a:lnTo>
                <a:lnTo>
                  <a:pt x="7344406" y="3232525"/>
                </a:lnTo>
                <a:lnTo>
                  <a:pt x="7348855" y="3234583"/>
                </a:lnTo>
                <a:lnTo>
                  <a:pt x="7352979" y="3239996"/>
                </a:lnTo>
                <a:lnTo>
                  <a:pt x="7354064" y="3245735"/>
                </a:lnTo>
                <a:lnTo>
                  <a:pt x="7356560" y="3247684"/>
                </a:lnTo>
                <a:lnTo>
                  <a:pt x="7358079" y="3247575"/>
                </a:lnTo>
                <a:lnTo>
                  <a:pt x="7361661" y="3248875"/>
                </a:lnTo>
                <a:lnTo>
                  <a:pt x="7364156" y="3251040"/>
                </a:lnTo>
                <a:lnTo>
                  <a:pt x="7370016" y="3252014"/>
                </a:lnTo>
                <a:lnTo>
                  <a:pt x="7376961" y="3254937"/>
                </a:lnTo>
                <a:lnTo>
                  <a:pt x="7383147" y="3259702"/>
                </a:lnTo>
                <a:lnTo>
                  <a:pt x="7383472" y="3266414"/>
                </a:lnTo>
                <a:lnTo>
                  <a:pt x="7381302" y="3269013"/>
                </a:lnTo>
                <a:lnTo>
                  <a:pt x="7379131" y="3267280"/>
                </a:lnTo>
                <a:lnTo>
                  <a:pt x="7378481" y="3269554"/>
                </a:lnTo>
                <a:lnTo>
                  <a:pt x="7370016" y="3271936"/>
                </a:lnTo>
                <a:lnTo>
                  <a:pt x="7364915" y="3274968"/>
                </a:lnTo>
                <a:lnTo>
                  <a:pt x="7361118" y="3273993"/>
                </a:lnTo>
                <a:lnTo>
                  <a:pt x="7358188" y="3270962"/>
                </a:lnTo>
                <a:lnTo>
                  <a:pt x="7356994" y="3267930"/>
                </a:lnTo>
                <a:lnTo>
                  <a:pt x="7353847" y="3268796"/>
                </a:lnTo>
                <a:lnTo>
                  <a:pt x="7341151" y="3268363"/>
                </a:lnTo>
                <a:lnTo>
                  <a:pt x="7336810" y="3269554"/>
                </a:lnTo>
                <a:lnTo>
                  <a:pt x="7334206" y="3267930"/>
                </a:lnTo>
                <a:lnTo>
                  <a:pt x="7325959" y="3267822"/>
                </a:lnTo>
                <a:lnTo>
                  <a:pt x="7325959" y="3267823"/>
                </a:lnTo>
                <a:lnTo>
                  <a:pt x="7324549" y="3267823"/>
                </a:lnTo>
                <a:lnTo>
                  <a:pt x="7318689" y="3265766"/>
                </a:lnTo>
                <a:lnTo>
                  <a:pt x="7312069" y="3258512"/>
                </a:lnTo>
                <a:lnTo>
                  <a:pt x="7310442" y="3255048"/>
                </a:lnTo>
                <a:lnTo>
                  <a:pt x="7310659" y="3253532"/>
                </a:lnTo>
                <a:lnTo>
                  <a:pt x="7305776" y="3249201"/>
                </a:lnTo>
                <a:lnTo>
                  <a:pt x="7303605" y="3247793"/>
                </a:lnTo>
                <a:lnTo>
                  <a:pt x="7302737" y="3244112"/>
                </a:lnTo>
                <a:lnTo>
                  <a:pt x="7304907" y="3240647"/>
                </a:lnTo>
                <a:lnTo>
                  <a:pt x="7304690" y="3235342"/>
                </a:lnTo>
                <a:lnTo>
                  <a:pt x="7303605" y="3240647"/>
                </a:lnTo>
                <a:lnTo>
                  <a:pt x="7300458" y="3242596"/>
                </a:lnTo>
                <a:lnTo>
                  <a:pt x="7293296" y="3242055"/>
                </a:lnTo>
                <a:lnTo>
                  <a:pt x="7289281" y="3244220"/>
                </a:lnTo>
                <a:lnTo>
                  <a:pt x="7285917" y="3244112"/>
                </a:lnTo>
                <a:lnTo>
                  <a:pt x="7283747" y="3242055"/>
                </a:lnTo>
                <a:lnTo>
                  <a:pt x="7278212" y="3245087"/>
                </a:lnTo>
                <a:lnTo>
                  <a:pt x="7275282" y="3241730"/>
                </a:lnTo>
                <a:lnTo>
                  <a:pt x="7277452" y="3240322"/>
                </a:lnTo>
                <a:lnTo>
                  <a:pt x="7278864" y="3236641"/>
                </a:lnTo>
                <a:lnTo>
                  <a:pt x="7278864" y="3233935"/>
                </a:lnTo>
                <a:lnTo>
                  <a:pt x="7280057" y="3232310"/>
                </a:lnTo>
                <a:lnTo>
                  <a:pt x="7280925" y="3226247"/>
                </a:lnTo>
                <a:lnTo>
                  <a:pt x="7277887" y="3224948"/>
                </a:lnTo>
                <a:lnTo>
                  <a:pt x="7275174" y="3221592"/>
                </a:lnTo>
                <a:lnTo>
                  <a:pt x="7277778" y="3220942"/>
                </a:lnTo>
                <a:lnTo>
                  <a:pt x="7279948" y="3221700"/>
                </a:lnTo>
                <a:lnTo>
                  <a:pt x="7284614" y="3219751"/>
                </a:lnTo>
                <a:lnTo>
                  <a:pt x="7287653" y="3219426"/>
                </a:lnTo>
                <a:lnTo>
                  <a:pt x="7284181" y="3218452"/>
                </a:lnTo>
                <a:lnTo>
                  <a:pt x="7278972" y="3219210"/>
                </a:lnTo>
                <a:lnTo>
                  <a:pt x="7274740" y="3217261"/>
                </a:lnTo>
                <a:lnTo>
                  <a:pt x="7270725" y="3214229"/>
                </a:lnTo>
                <a:lnTo>
                  <a:pt x="7272027" y="3211090"/>
                </a:lnTo>
                <a:lnTo>
                  <a:pt x="7274198" y="3210873"/>
                </a:lnTo>
                <a:lnTo>
                  <a:pt x="7277887" y="3211306"/>
                </a:lnTo>
                <a:lnTo>
                  <a:pt x="7275934" y="3208816"/>
                </a:lnTo>
                <a:lnTo>
                  <a:pt x="7269748" y="3204376"/>
                </a:lnTo>
                <a:lnTo>
                  <a:pt x="7265624" y="3201562"/>
                </a:lnTo>
                <a:lnTo>
                  <a:pt x="7264213" y="3198530"/>
                </a:lnTo>
                <a:lnTo>
                  <a:pt x="7265408" y="3193549"/>
                </a:lnTo>
                <a:lnTo>
                  <a:pt x="7260091" y="3188028"/>
                </a:lnTo>
                <a:lnTo>
                  <a:pt x="7260091" y="3185971"/>
                </a:lnTo>
                <a:lnTo>
                  <a:pt x="7264973" y="3181965"/>
                </a:lnTo>
                <a:lnTo>
                  <a:pt x="7260415" y="3182398"/>
                </a:lnTo>
                <a:lnTo>
                  <a:pt x="7257702" y="3180449"/>
                </a:lnTo>
                <a:lnTo>
                  <a:pt x="7258679" y="3178717"/>
                </a:lnTo>
                <a:lnTo>
                  <a:pt x="7256834" y="3176551"/>
                </a:lnTo>
                <a:lnTo>
                  <a:pt x="7260307" y="3173736"/>
                </a:lnTo>
                <a:lnTo>
                  <a:pt x="7254772" y="3174819"/>
                </a:lnTo>
                <a:lnTo>
                  <a:pt x="7253254" y="3172870"/>
                </a:lnTo>
                <a:lnTo>
                  <a:pt x="7250649" y="3173953"/>
                </a:lnTo>
                <a:lnTo>
                  <a:pt x="7248804" y="3172545"/>
                </a:lnTo>
                <a:lnTo>
                  <a:pt x="7252711" y="3167890"/>
                </a:lnTo>
                <a:lnTo>
                  <a:pt x="7249238" y="3169947"/>
                </a:lnTo>
                <a:lnTo>
                  <a:pt x="7244898" y="3170163"/>
                </a:lnTo>
                <a:lnTo>
                  <a:pt x="7238604" y="3167564"/>
                </a:lnTo>
                <a:lnTo>
                  <a:pt x="7236868" y="3163125"/>
                </a:lnTo>
                <a:lnTo>
                  <a:pt x="7230248" y="3160852"/>
                </a:lnTo>
                <a:lnTo>
                  <a:pt x="7226125" y="3161610"/>
                </a:lnTo>
                <a:lnTo>
                  <a:pt x="7212017" y="3157062"/>
                </a:lnTo>
                <a:lnTo>
                  <a:pt x="7197367" y="3152623"/>
                </a:lnTo>
                <a:lnTo>
                  <a:pt x="7190206" y="3152190"/>
                </a:lnTo>
                <a:lnTo>
                  <a:pt x="7184563" y="3149484"/>
                </a:lnTo>
                <a:lnTo>
                  <a:pt x="7183369" y="3147427"/>
                </a:lnTo>
                <a:lnTo>
                  <a:pt x="7182826" y="3145477"/>
                </a:lnTo>
                <a:lnTo>
                  <a:pt x="7177726" y="3144395"/>
                </a:lnTo>
                <a:lnTo>
                  <a:pt x="7177943" y="3140930"/>
                </a:lnTo>
                <a:lnTo>
                  <a:pt x="7181416" y="3140497"/>
                </a:lnTo>
                <a:lnTo>
                  <a:pt x="7183369" y="3140930"/>
                </a:lnTo>
                <a:lnTo>
                  <a:pt x="7183043" y="3139848"/>
                </a:lnTo>
                <a:lnTo>
                  <a:pt x="7179570" y="3139198"/>
                </a:lnTo>
                <a:lnTo>
                  <a:pt x="7175447" y="3140930"/>
                </a:lnTo>
                <a:lnTo>
                  <a:pt x="7172300" y="3139631"/>
                </a:lnTo>
                <a:lnTo>
                  <a:pt x="7170672" y="3137682"/>
                </a:lnTo>
                <a:lnTo>
                  <a:pt x="7169370" y="3137249"/>
                </a:lnTo>
                <a:lnTo>
                  <a:pt x="7167308" y="3139631"/>
                </a:lnTo>
                <a:lnTo>
                  <a:pt x="7166332" y="3134975"/>
                </a:lnTo>
                <a:lnTo>
                  <a:pt x="7164486" y="3133676"/>
                </a:lnTo>
                <a:lnTo>
                  <a:pt x="7162642" y="3134542"/>
                </a:lnTo>
                <a:lnTo>
                  <a:pt x="7161449" y="3136491"/>
                </a:lnTo>
                <a:lnTo>
                  <a:pt x="7158736" y="3133568"/>
                </a:lnTo>
                <a:lnTo>
                  <a:pt x="7157325" y="3127721"/>
                </a:lnTo>
                <a:lnTo>
                  <a:pt x="7155154" y="3122741"/>
                </a:lnTo>
                <a:lnTo>
                  <a:pt x="7158084" y="3118952"/>
                </a:lnTo>
                <a:lnTo>
                  <a:pt x="7158084" y="3113213"/>
                </a:lnTo>
                <a:lnTo>
                  <a:pt x="7155697" y="3117868"/>
                </a:lnTo>
                <a:lnTo>
                  <a:pt x="7153852" y="3123066"/>
                </a:lnTo>
                <a:lnTo>
                  <a:pt x="7153092" y="3126638"/>
                </a:lnTo>
                <a:lnTo>
                  <a:pt x="7151031" y="3127721"/>
                </a:lnTo>
                <a:lnTo>
                  <a:pt x="7147450" y="3134217"/>
                </a:lnTo>
                <a:lnTo>
                  <a:pt x="7147993" y="3138223"/>
                </a:lnTo>
                <a:lnTo>
                  <a:pt x="7143109" y="3144178"/>
                </a:lnTo>
                <a:lnTo>
                  <a:pt x="7138334" y="3145261"/>
                </a:lnTo>
                <a:lnTo>
                  <a:pt x="7133994" y="3143854"/>
                </a:lnTo>
                <a:lnTo>
                  <a:pt x="7130413" y="3135733"/>
                </a:lnTo>
                <a:lnTo>
                  <a:pt x="7130522" y="3132810"/>
                </a:lnTo>
                <a:lnTo>
                  <a:pt x="7132583" y="3131944"/>
                </a:lnTo>
                <a:lnTo>
                  <a:pt x="7133126" y="3128695"/>
                </a:lnTo>
                <a:lnTo>
                  <a:pt x="7132475" y="3125448"/>
                </a:lnTo>
                <a:lnTo>
                  <a:pt x="7129545" y="3126422"/>
                </a:lnTo>
                <a:lnTo>
                  <a:pt x="7127809" y="3124797"/>
                </a:lnTo>
                <a:lnTo>
                  <a:pt x="7125421" y="3118952"/>
                </a:lnTo>
                <a:lnTo>
                  <a:pt x="7121080" y="3116677"/>
                </a:lnTo>
                <a:lnTo>
                  <a:pt x="7115546" y="3115811"/>
                </a:lnTo>
                <a:lnTo>
                  <a:pt x="7113809" y="3113429"/>
                </a:lnTo>
                <a:lnTo>
                  <a:pt x="7116739" y="3109856"/>
                </a:lnTo>
                <a:lnTo>
                  <a:pt x="7122491" y="3109315"/>
                </a:lnTo>
                <a:lnTo>
                  <a:pt x="7124336" y="3111156"/>
                </a:lnTo>
                <a:lnTo>
                  <a:pt x="7129328" y="3111697"/>
                </a:lnTo>
                <a:lnTo>
                  <a:pt x="7133018" y="3113538"/>
                </a:lnTo>
                <a:lnTo>
                  <a:pt x="7137575" y="3110831"/>
                </a:lnTo>
                <a:lnTo>
                  <a:pt x="7139203" y="3105201"/>
                </a:lnTo>
                <a:lnTo>
                  <a:pt x="7142783" y="3104010"/>
                </a:lnTo>
                <a:lnTo>
                  <a:pt x="7150163" y="3107366"/>
                </a:lnTo>
                <a:lnTo>
                  <a:pt x="7153092" y="3111697"/>
                </a:lnTo>
                <a:lnTo>
                  <a:pt x="7155154" y="3107042"/>
                </a:lnTo>
                <a:lnTo>
                  <a:pt x="7157759" y="3103577"/>
                </a:lnTo>
                <a:lnTo>
                  <a:pt x="7160146" y="3104443"/>
                </a:lnTo>
                <a:lnTo>
                  <a:pt x="7160906" y="3099354"/>
                </a:lnTo>
                <a:lnTo>
                  <a:pt x="7159495" y="3096214"/>
                </a:lnTo>
                <a:lnTo>
                  <a:pt x="7147450" y="3094807"/>
                </a:lnTo>
                <a:lnTo>
                  <a:pt x="7149186" y="3097297"/>
                </a:lnTo>
                <a:lnTo>
                  <a:pt x="7146256" y="3097947"/>
                </a:lnTo>
                <a:lnTo>
                  <a:pt x="7143869" y="3097297"/>
                </a:lnTo>
                <a:lnTo>
                  <a:pt x="7136381" y="3098813"/>
                </a:lnTo>
                <a:lnTo>
                  <a:pt x="7133451" y="3097838"/>
                </a:lnTo>
                <a:lnTo>
                  <a:pt x="7130738" y="3099138"/>
                </a:lnTo>
                <a:lnTo>
                  <a:pt x="7127809" y="3097405"/>
                </a:lnTo>
                <a:lnTo>
                  <a:pt x="7123468" y="3098488"/>
                </a:lnTo>
                <a:lnTo>
                  <a:pt x="7119019" y="3097838"/>
                </a:lnTo>
                <a:lnTo>
                  <a:pt x="7114027" y="3093616"/>
                </a:lnTo>
                <a:lnTo>
                  <a:pt x="7112616" y="3088203"/>
                </a:lnTo>
                <a:lnTo>
                  <a:pt x="7113701" y="3086795"/>
                </a:lnTo>
                <a:lnTo>
                  <a:pt x="7111096" y="3082356"/>
                </a:lnTo>
                <a:lnTo>
                  <a:pt x="7104368" y="3078566"/>
                </a:lnTo>
                <a:lnTo>
                  <a:pt x="7101764" y="3075751"/>
                </a:lnTo>
                <a:lnTo>
                  <a:pt x="7100462" y="3077700"/>
                </a:lnTo>
                <a:lnTo>
                  <a:pt x="7096556" y="3079757"/>
                </a:lnTo>
                <a:lnTo>
                  <a:pt x="7091130" y="3078891"/>
                </a:lnTo>
                <a:lnTo>
                  <a:pt x="7091998" y="3075968"/>
                </a:lnTo>
                <a:lnTo>
                  <a:pt x="7097641" y="3072287"/>
                </a:lnTo>
                <a:lnTo>
                  <a:pt x="7098184" y="3068930"/>
                </a:lnTo>
                <a:lnTo>
                  <a:pt x="7096448" y="3065790"/>
                </a:lnTo>
                <a:lnTo>
                  <a:pt x="7100028" y="3062759"/>
                </a:lnTo>
                <a:lnTo>
                  <a:pt x="7106648" y="3062542"/>
                </a:lnTo>
                <a:lnTo>
                  <a:pt x="7109903" y="3059402"/>
                </a:lnTo>
                <a:lnTo>
                  <a:pt x="7113701" y="3058428"/>
                </a:lnTo>
                <a:lnTo>
                  <a:pt x="7119887" y="3053555"/>
                </a:lnTo>
                <a:lnTo>
                  <a:pt x="7121732" y="3051932"/>
                </a:lnTo>
                <a:close/>
                <a:moveTo>
                  <a:pt x="2175088" y="3049692"/>
                </a:moveTo>
                <a:lnTo>
                  <a:pt x="2179882" y="3055396"/>
                </a:lnTo>
                <a:lnTo>
                  <a:pt x="2179882" y="3055395"/>
                </a:lnTo>
                <a:close/>
                <a:moveTo>
                  <a:pt x="2744493" y="3049549"/>
                </a:moveTo>
                <a:lnTo>
                  <a:pt x="2745578" y="3050632"/>
                </a:lnTo>
                <a:lnTo>
                  <a:pt x="2744384" y="3053663"/>
                </a:lnTo>
                <a:lnTo>
                  <a:pt x="2740803" y="3054421"/>
                </a:lnTo>
                <a:lnTo>
                  <a:pt x="2739393" y="3053988"/>
                </a:lnTo>
                <a:lnTo>
                  <a:pt x="2741238" y="3051606"/>
                </a:lnTo>
                <a:close/>
                <a:moveTo>
                  <a:pt x="6458476" y="3045868"/>
                </a:moveTo>
                <a:lnTo>
                  <a:pt x="6462383" y="3046842"/>
                </a:lnTo>
                <a:lnTo>
                  <a:pt x="6469545" y="3053555"/>
                </a:lnTo>
                <a:lnTo>
                  <a:pt x="6467700" y="3055179"/>
                </a:lnTo>
                <a:lnTo>
                  <a:pt x="6462166" y="3052147"/>
                </a:lnTo>
                <a:lnTo>
                  <a:pt x="6458259" y="3053446"/>
                </a:lnTo>
                <a:lnTo>
                  <a:pt x="6455872" y="3050523"/>
                </a:lnTo>
                <a:close/>
                <a:moveTo>
                  <a:pt x="2283282" y="3044228"/>
                </a:moveTo>
                <a:lnTo>
                  <a:pt x="2283299" y="3044568"/>
                </a:lnTo>
                <a:lnTo>
                  <a:pt x="2287422" y="3049873"/>
                </a:lnTo>
                <a:lnTo>
                  <a:pt x="2295748" y="3056279"/>
                </a:lnTo>
                <a:lnTo>
                  <a:pt x="2294801" y="3054529"/>
                </a:lnTo>
                <a:lnTo>
                  <a:pt x="2285903" y="3047599"/>
                </a:lnTo>
                <a:close/>
                <a:moveTo>
                  <a:pt x="7086680" y="3044027"/>
                </a:moveTo>
                <a:lnTo>
                  <a:pt x="7094711" y="3044027"/>
                </a:lnTo>
                <a:lnTo>
                  <a:pt x="7100462" y="3047492"/>
                </a:lnTo>
                <a:lnTo>
                  <a:pt x="7101331" y="3050739"/>
                </a:lnTo>
                <a:lnTo>
                  <a:pt x="7097424" y="3052147"/>
                </a:lnTo>
                <a:lnTo>
                  <a:pt x="7094385" y="3051064"/>
                </a:lnTo>
                <a:lnTo>
                  <a:pt x="7087440" y="3047167"/>
                </a:lnTo>
                <a:lnTo>
                  <a:pt x="7085812" y="3048141"/>
                </a:lnTo>
                <a:lnTo>
                  <a:pt x="7086464" y="3049116"/>
                </a:lnTo>
                <a:lnTo>
                  <a:pt x="7090262" y="3050739"/>
                </a:lnTo>
                <a:lnTo>
                  <a:pt x="7090370" y="3052689"/>
                </a:lnTo>
                <a:lnTo>
                  <a:pt x="7086464" y="3053338"/>
                </a:lnTo>
                <a:lnTo>
                  <a:pt x="7082014" y="3051281"/>
                </a:lnTo>
                <a:lnTo>
                  <a:pt x="7075069" y="3050306"/>
                </a:lnTo>
                <a:lnTo>
                  <a:pt x="7078325" y="3049332"/>
                </a:lnTo>
                <a:lnTo>
                  <a:pt x="7076806" y="3047708"/>
                </a:lnTo>
                <a:lnTo>
                  <a:pt x="7078325" y="3046842"/>
                </a:lnTo>
                <a:lnTo>
                  <a:pt x="7083099" y="3046733"/>
                </a:lnTo>
                <a:close/>
                <a:moveTo>
                  <a:pt x="7046637" y="3041429"/>
                </a:moveTo>
                <a:lnTo>
                  <a:pt x="7055752" y="3045976"/>
                </a:lnTo>
                <a:lnTo>
                  <a:pt x="7056403" y="3048358"/>
                </a:lnTo>
                <a:lnTo>
                  <a:pt x="7049892" y="3044894"/>
                </a:lnTo>
                <a:close/>
                <a:moveTo>
                  <a:pt x="2748509" y="3040346"/>
                </a:moveTo>
                <a:lnTo>
                  <a:pt x="2749485" y="3042187"/>
                </a:lnTo>
                <a:lnTo>
                  <a:pt x="2745470" y="3046409"/>
                </a:lnTo>
                <a:lnTo>
                  <a:pt x="2742974" y="3046626"/>
                </a:lnTo>
                <a:lnTo>
                  <a:pt x="2737657" y="3051714"/>
                </a:lnTo>
                <a:lnTo>
                  <a:pt x="2736898" y="3053447"/>
                </a:lnTo>
                <a:lnTo>
                  <a:pt x="2735053" y="3053880"/>
                </a:lnTo>
                <a:lnTo>
                  <a:pt x="2737874" y="3046193"/>
                </a:lnTo>
                <a:lnTo>
                  <a:pt x="2742323" y="3041645"/>
                </a:lnTo>
                <a:lnTo>
                  <a:pt x="2744602" y="3040670"/>
                </a:lnTo>
                <a:lnTo>
                  <a:pt x="2746772" y="3040887"/>
                </a:lnTo>
                <a:close/>
                <a:moveTo>
                  <a:pt x="4270369" y="3040178"/>
                </a:moveTo>
                <a:lnTo>
                  <a:pt x="4271865" y="3041970"/>
                </a:lnTo>
                <a:lnTo>
                  <a:pt x="4272733" y="3043919"/>
                </a:lnTo>
                <a:lnTo>
                  <a:pt x="4275555" y="3045218"/>
                </a:lnTo>
                <a:lnTo>
                  <a:pt x="4276423" y="3047384"/>
                </a:lnTo>
                <a:lnTo>
                  <a:pt x="4280112" y="3050415"/>
                </a:lnTo>
                <a:lnTo>
                  <a:pt x="4280988" y="3052685"/>
                </a:lnTo>
                <a:lnTo>
                  <a:pt x="4280113" y="3050414"/>
                </a:lnTo>
                <a:lnTo>
                  <a:pt x="4276423" y="3047382"/>
                </a:lnTo>
                <a:lnTo>
                  <a:pt x="4275555" y="3045218"/>
                </a:lnTo>
                <a:lnTo>
                  <a:pt x="4272733" y="3043918"/>
                </a:lnTo>
                <a:lnTo>
                  <a:pt x="4271865" y="3041969"/>
                </a:lnTo>
                <a:close/>
                <a:moveTo>
                  <a:pt x="2156117" y="3040129"/>
                </a:moveTo>
                <a:lnTo>
                  <a:pt x="2154381" y="3040237"/>
                </a:lnTo>
                <a:lnTo>
                  <a:pt x="2154381" y="3040238"/>
                </a:lnTo>
                <a:lnTo>
                  <a:pt x="2156117" y="3040130"/>
                </a:lnTo>
                <a:lnTo>
                  <a:pt x="2158938" y="3042836"/>
                </a:lnTo>
                <a:lnTo>
                  <a:pt x="2167511" y="3044893"/>
                </a:lnTo>
                <a:lnTo>
                  <a:pt x="2172828" y="3046085"/>
                </a:lnTo>
                <a:lnTo>
                  <a:pt x="2173991" y="3048226"/>
                </a:lnTo>
                <a:lnTo>
                  <a:pt x="2172828" y="3046084"/>
                </a:lnTo>
                <a:lnTo>
                  <a:pt x="2167511" y="3044893"/>
                </a:lnTo>
                <a:lnTo>
                  <a:pt x="2158938" y="3042835"/>
                </a:lnTo>
                <a:close/>
                <a:moveTo>
                  <a:pt x="6313824" y="3038073"/>
                </a:moveTo>
                <a:lnTo>
                  <a:pt x="6319467" y="3040022"/>
                </a:lnTo>
                <a:lnTo>
                  <a:pt x="6318924" y="3043162"/>
                </a:lnTo>
                <a:lnTo>
                  <a:pt x="6316862" y="3041646"/>
                </a:lnTo>
                <a:lnTo>
                  <a:pt x="6311220" y="3041538"/>
                </a:lnTo>
                <a:close/>
                <a:moveTo>
                  <a:pt x="2778785" y="3037098"/>
                </a:moveTo>
                <a:lnTo>
                  <a:pt x="2781389" y="3039155"/>
                </a:lnTo>
                <a:lnTo>
                  <a:pt x="2779762" y="3041862"/>
                </a:lnTo>
                <a:lnTo>
                  <a:pt x="2774336" y="3042187"/>
                </a:lnTo>
                <a:lnTo>
                  <a:pt x="2770864" y="3040887"/>
                </a:lnTo>
                <a:lnTo>
                  <a:pt x="2774444" y="3039372"/>
                </a:lnTo>
                <a:lnTo>
                  <a:pt x="2775530" y="3037314"/>
                </a:lnTo>
                <a:close/>
                <a:moveTo>
                  <a:pt x="2752090" y="3033525"/>
                </a:moveTo>
                <a:lnTo>
                  <a:pt x="2755020" y="3034933"/>
                </a:lnTo>
                <a:lnTo>
                  <a:pt x="2755671" y="3036882"/>
                </a:lnTo>
                <a:lnTo>
                  <a:pt x="2755454" y="3039156"/>
                </a:lnTo>
                <a:lnTo>
                  <a:pt x="2753066" y="3038289"/>
                </a:lnTo>
                <a:lnTo>
                  <a:pt x="2751656" y="3036232"/>
                </a:lnTo>
                <a:close/>
                <a:moveTo>
                  <a:pt x="2104572" y="3032225"/>
                </a:moveTo>
                <a:lnTo>
                  <a:pt x="2104572" y="3032226"/>
                </a:lnTo>
                <a:lnTo>
                  <a:pt x="2111951" y="3032875"/>
                </a:lnTo>
                <a:lnTo>
                  <a:pt x="2120307" y="3036989"/>
                </a:lnTo>
                <a:lnTo>
                  <a:pt x="2121133" y="3037560"/>
                </a:lnTo>
                <a:lnTo>
                  <a:pt x="2120306" y="3036989"/>
                </a:lnTo>
                <a:lnTo>
                  <a:pt x="2111950" y="3032874"/>
                </a:lnTo>
                <a:close/>
                <a:moveTo>
                  <a:pt x="4753951" y="3031900"/>
                </a:moveTo>
                <a:lnTo>
                  <a:pt x="4753463" y="3035256"/>
                </a:lnTo>
                <a:lnTo>
                  <a:pt x="4747169" y="3058534"/>
                </a:lnTo>
                <a:lnTo>
                  <a:pt x="4714180" y="3060267"/>
                </a:lnTo>
                <a:lnTo>
                  <a:pt x="4696492" y="3060809"/>
                </a:lnTo>
                <a:lnTo>
                  <a:pt x="4696508" y="3060809"/>
                </a:lnTo>
                <a:lnTo>
                  <a:pt x="4714180" y="3060268"/>
                </a:lnTo>
                <a:lnTo>
                  <a:pt x="4704956" y="3060809"/>
                </a:lnTo>
                <a:lnTo>
                  <a:pt x="4704815" y="3060809"/>
                </a:lnTo>
                <a:lnTo>
                  <a:pt x="4675874" y="3060917"/>
                </a:lnTo>
                <a:lnTo>
                  <a:pt x="4695949" y="3060809"/>
                </a:lnTo>
                <a:lnTo>
                  <a:pt x="4695948" y="3060809"/>
                </a:lnTo>
                <a:lnTo>
                  <a:pt x="4675873" y="3060916"/>
                </a:lnTo>
                <a:lnTo>
                  <a:pt x="4673812" y="3062973"/>
                </a:lnTo>
                <a:lnTo>
                  <a:pt x="4671641" y="3062540"/>
                </a:lnTo>
                <a:lnTo>
                  <a:pt x="4670230" y="3064381"/>
                </a:lnTo>
                <a:lnTo>
                  <a:pt x="4670091" y="3064183"/>
                </a:lnTo>
                <a:lnTo>
                  <a:pt x="4670231" y="3064382"/>
                </a:lnTo>
                <a:lnTo>
                  <a:pt x="4670231" y="3064382"/>
                </a:lnTo>
                <a:lnTo>
                  <a:pt x="4671642" y="3062542"/>
                </a:lnTo>
                <a:lnTo>
                  <a:pt x="4673812" y="3062975"/>
                </a:lnTo>
                <a:lnTo>
                  <a:pt x="4675874" y="3060918"/>
                </a:lnTo>
                <a:lnTo>
                  <a:pt x="4704956" y="3060809"/>
                </a:lnTo>
                <a:lnTo>
                  <a:pt x="4714180" y="3060268"/>
                </a:lnTo>
                <a:lnTo>
                  <a:pt x="4747169" y="3058536"/>
                </a:lnTo>
                <a:lnTo>
                  <a:pt x="4753897" y="3058103"/>
                </a:lnTo>
                <a:lnTo>
                  <a:pt x="4841687" y="3109315"/>
                </a:lnTo>
                <a:lnTo>
                  <a:pt x="4843010" y="3111486"/>
                </a:lnTo>
                <a:lnTo>
                  <a:pt x="4841687" y="3109314"/>
                </a:lnTo>
                <a:lnTo>
                  <a:pt x="4753897" y="3058102"/>
                </a:lnTo>
                <a:lnTo>
                  <a:pt x="4747169" y="3058535"/>
                </a:lnTo>
                <a:lnTo>
                  <a:pt x="4753463" y="3035256"/>
                </a:lnTo>
                <a:close/>
                <a:moveTo>
                  <a:pt x="4366483" y="3031789"/>
                </a:moveTo>
                <a:lnTo>
                  <a:pt x="4363996" y="3032874"/>
                </a:lnTo>
                <a:lnTo>
                  <a:pt x="4361934" y="3040778"/>
                </a:lnTo>
                <a:lnTo>
                  <a:pt x="4361826" y="3048898"/>
                </a:lnTo>
                <a:lnTo>
                  <a:pt x="4354230" y="3061349"/>
                </a:lnTo>
                <a:lnTo>
                  <a:pt x="4349563" y="3062649"/>
                </a:lnTo>
                <a:lnTo>
                  <a:pt x="4345439" y="3065897"/>
                </a:lnTo>
                <a:lnTo>
                  <a:pt x="4345440" y="3065897"/>
                </a:lnTo>
                <a:lnTo>
                  <a:pt x="4349563" y="3062649"/>
                </a:lnTo>
                <a:lnTo>
                  <a:pt x="4354230" y="3061350"/>
                </a:lnTo>
                <a:lnTo>
                  <a:pt x="4361826" y="3048899"/>
                </a:lnTo>
                <a:lnTo>
                  <a:pt x="4361934" y="3040779"/>
                </a:lnTo>
                <a:lnTo>
                  <a:pt x="4363996" y="3032875"/>
                </a:lnTo>
                <a:close/>
                <a:moveTo>
                  <a:pt x="2768694" y="3031035"/>
                </a:moveTo>
                <a:lnTo>
                  <a:pt x="2771298" y="3033200"/>
                </a:lnTo>
                <a:lnTo>
                  <a:pt x="2770430" y="3036232"/>
                </a:lnTo>
                <a:lnTo>
                  <a:pt x="2767282" y="3037748"/>
                </a:lnTo>
                <a:lnTo>
                  <a:pt x="2765438" y="3036556"/>
                </a:lnTo>
                <a:lnTo>
                  <a:pt x="2759578" y="3036449"/>
                </a:lnTo>
                <a:lnTo>
                  <a:pt x="2757408" y="3035258"/>
                </a:lnTo>
                <a:lnTo>
                  <a:pt x="2758385" y="3033200"/>
                </a:lnTo>
                <a:lnTo>
                  <a:pt x="2761966" y="3032767"/>
                </a:lnTo>
                <a:close/>
                <a:moveTo>
                  <a:pt x="4273276" y="3030817"/>
                </a:moveTo>
                <a:lnTo>
                  <a:pt x="4273276" y="3030818"/>
                </a:lnTo>
                <a:lnTo>
                  <a:pt x="4274469" y="3032225"/>
                </a:lnTo>
                <a:lnTo>
                  <a:pt x="4275333" y="3034654"/>
                </a:lnTo>
                <a:lnTo>
                  <a:pt x="4274470" y="3032225"/>
                </a:lnTo>
                <a:close/>
                <a:moveTo>
                  <a:pt x="2137018" y="3030276"/>
                </a:moveTo>
                <a:lnTo>
                  <a:pt x="2133545" y="3033092"/>
                </a:lnTo>
                <a:lnTo>
                  <a:pt x="2133762" y="3037963"/>
                </a:lnTo>
                <a:lnTo>
                  <a:pt x="2130832" y="3040670"/>
                </a:lnTo>
                <a:lnTo>
                  <a:pt x="2123128" y="3038938"/>
                </a:lnTo>
                <a:lnTo>
                  <a:pt x="2123128" y="3038938"/>
                </a:lnTo>
                <a:lnTo>
                  <a:pt x="2130833" y="3040671"/>
                </a:lnTo>
                <a:lnTo>
                  <a:pt x="2133763" y="3037964"/>
                </a:lnTo>
                <a:lnTo>
                  <a:pt x="2133546" y="3033092"/>
                </a:lnTo>
                <a:lnTo>
                  <a:pt x="2137018" y="3030277"/>
                </a:lnTo>
                <a:lnTo>
                  <a:pt x="2138646" y="3030385"/>
                </a:lnTo>
                <a:lnTo>
                  <a:pt x="2145917" y="3032875"/>
                </a:lnTo>
                <a:lnTo>
                  <a:pt x="2149606" y="3034932"/>
                </a:lnTo>
                <a:lnTo>
                  <a:pt x="2149801" y="3035497"/>
                </a:lnTo>
                <a:lnTo>
                  <a:pt x="2149606" y="3034932"/>
                </a:lnTo>
                <a:lnTo>
                  <a:pt x="2145916" y="3032874"/>
                </a:lnTo>
                <a:lnTo>
                  <a:pt x="2138646" y="3030384"/>
                </a:lnTo>
                <a:close/>
                <a:moveTo>
                  <a:pt x="4096503" y="3027787"/>
                </a:moveTo>
                <a:lnTo>
                  <a:pt x="4100735" y="3030386"/>
                </a:lnTo>
                <a:lnTo>
                  <a:pt x="4098999" y="3033850"/>
                </a:lnTo>
                <a:lnTo>
                  <a:pt x="4096286" y="3035582"/>
                </a:lnTo>
                <a:lnTo>
                  <a:pt x="4094441" y="3035258"/>
                </a:lnTo>
                <a:lnTo>
                  <a:pt x="4093681" y="3030818"/>
                </a:lnTo>
                <a:close/>
                <a:moveTo>
                  <a:pt x="4273602" y="3027461"/>
                </a:moveTo>
                <a:lnTo>
                  <a:pt x="4273601" y="3027462"/>
                </a:lnTo>
                <a:lnTo>
                  <a:pt x="4273307" y="3030504"/>
                </a:lnTo>
                <a:close/>
                <a:moveTo>
                  <a:pt x="4367143" y="3023238"/>
                </a:moveTo>
                <a:lnTo>
                  <a:pt x="4367143" y="3023239"/>
                </a:lnTo>
                <a:lnTo>
                  <a:pt x="4368120" y="3024646"/>
                </a:lnTo>
                <a:lnTo>
                  <a:pt x="4368120" y="3024645"/>
                </a:lnTo>
                <a:close/>
                <a:moveTo>
                  <a:pt x="2303115" y="3022474"/>
                </a:moveTo>
                <a:lnTo>
                  <a:pt x="2302723" y="3022914"/>
                </a:lnTo>
                <a:lnTo>
                  <a:pt x="2303841" y="3024073"/>
                </a:lnTo>
                <a:lnTo>
                  <a:pt x="2304025" y="3023455"/>
                </a:lnTo>
                <a:close/>
                <a:moveTo>
                  <a:pt x="2763158" y="3021183"/>
                </a:moveTo>
                <a:lnTo>
                  <a:pt x="2765328" y="3021507"/>
                </a:lnTo>
                <a:lnTo>
                  <a:pt x="2763266" y="3024864"/>
                </a:lnTo>
                <a:lnTo>
                  <a:pt x="2760663" y="3025730"/>
                </a:lnTo>
                <a:lnTo>
                  <a:pt x="2758275" y="3029411"/>
                </a:lnTo>
                <a:lnTo>
                  <a:pt x="2755671" y="3032010"/>
                </a:lnTo>
                <a:lnTo>
                  <a:pt x="2754803" y="3027787"/>
                </a:lnTo>
                <a:lnTo>
                  <a:pt x="2757516" y="3024756"/>
                </a:lnTo>
                <a:lnTo>
                  <a:pt x="2759903" y="3023565"/>
                </a:lnTo>
                <a:close/>
                <a:moveTo>
                  <a:pt x="2094815" y="3019669"/>
                </a:moveTo>
                <a:lnTo>
                  <a:pt x="2098929" y="3019775"/>
                </a:lnTo>
                <a:lnTo>
                  <a:pt x="2103897" y="3024922"/>
                </a:lnTo>
                <a:lnTo>
                  <a:pt x="2098928" y="3019774"/>
                </a:lnTo>
                <a:close/>
                <a:moveTo>
                  <a:pt x="4282174" y="3016743"/>
                </a:moveTo>
                <a:lnTo>
                  <a:pt x="4283693" y="3019233"/>
                </a:lnTo>
                <a:lnTo>
                  <a:pt x="4283042" y="3023672"/>
                </a:lnTo>
                <a:lnTo>
                  <a:pt x="4283043" y="3023672"/>
                </a:lnTo>
                <a:lnTo>
                  <a:pt x="4283694" y="3019232"/>
                </a:lnTo>
                <a:close/>
                <a:moveTo>
                  <a:pt x="4765616" y="3015010"/>
                </a:moveTo>
                <a:lnTo>
                  <a:pt x="4761710" y="3018691"/>
                </a:lnTo>
                <a:lnTo>
                  <a:pt x="4758997" y="3024213"/>
                </a:lnTo>
                <a:lnTo>
                  <a:pt x="4756718" y="3026378"/>
                </a:lnTo>
                <a:lnTo>
                  <a:pt x="4758997" y="3024213"/>
                </a:lnTo>
                <a:lnTo>
                  <a:pt x="4761710" y="3018691"/>
                </a:lnTo>
                <a:close/>
                <a:moveTo>
                  <a:pt x="6410729" y="3014036"/>
                </a:moveTo>
                <a:lnTo>
                  <a:pt x="6416915" y="3015226"/>
                </a:lnTo>
                <a:lnTo>
                  <a:pt x="6422123" y="3019666"/>
                </a:lnTo>
                <a:lnTo>
                  <a:pt x="6423643" y="3026595"/>
                </a:lnTo>
                <a:lnTo>
                  <a:pt x="6421906" y="3028111"/>
                </a:lnTo>
                <a:lnTo>
                  <a:pt x="6416264" y="3025404"/>
                </a:lnTo>
                <a:lnTo>
                  <a:pt x="6408016" y="3024430"/>
                </a:lnTo>
                <a:lnTo>
                  <a:pt x="6407148" y="3019991"/>
                </a:lnTo>
                <a:close/>
                <a:moveTo>
                  <a:pt x="4174635" y="3013061"/>
                </a:moveTo>
                <a:lnTo>
                  <a:pt x="4172413" y="3013505"/>
                </a:lnTo>
                <a:lnTo>
                  <a:pt x="4174634" y="3013062"/>
                </a:lnTo>
                <a:lnTo>
                  <a:pt x="4175936" y="3014036"/>
                </a:lnTo>
                <a:close/>
                <a:moveTo>
                  <a:pt x="4367794" y="3013061"/>
                </a:moveTo>
                <a:lnTo>
                  <a:pt x="4367794" y="3013061"/>
                </a:lnTo>
                <a:lnTo>
                  <a:pt x="4368445" y="3015984"/>
                </a:lnTo>
                <a:lnTo>
                  <a:pt x="4367400" y="3021805"/>
                </a:lnTo>
                <a:lnTo>
                  <a:pt x="4368445" y="3015984"/>
                </a:lnTo>
                <a:close/>
                <a:moveTo>
                  <a:pt x="6447625" y="3011546"/>
                </a:moveTo>
                <a:lnTo>
                  <a:pt x="6448602" y="3014902"/>
                </a:lnTo>
                <a:lnTo>
                  <a:pt x="6446214" y="3019558"/>
                </a:lnTo>
                <a:lnTo>
                  <a:pt x="6441114" y="3017934"/>
                </a:lnTo>
                <a:close/>
                <a:moveTo>
                  <a:pt x="6461407" y="3011006"/>
                </a:moveTo>
                <a:lnTo>
                  <a:pt x="6459453" y="3014795"/>
                </a:lnTo>
                <a:lnTo>
                  <a:pt x="6461841" y="3017286"/>
                </a:lnTo>
                <a:lnTo>
                  <a:pt x="6460322" y="3024540"/>
                </a:lnTo>
                <a:lnTo>
                  <a:pt x="6457283" y="3025623"/>
                </a:lnTo>
                <a:lnTo>
                  <a:pt x="6455764" y="3019668"/>
                </a:lnTo>
                <a:lnTo>
                  <a:pt x="6450664" y="3018260"/>
                </a:lnTo>
                <a:lnTo>
                  <a:pt x="6452834" y="3013496"/>
                </a:lnTo>
                <a:lnTo>
                  <a:pt x="6456523" y="3013712"/>
                </a:lnTo>
                <a:lnTo>
                  <a:pt x="6458802" y="3011655"/>
                </a:lnTo>
                <a:close/>
                <a:moveTo>
                  <a:pt x="4283643" y="3009299"/>
                </a:moveTo>
                <a:lnTo>
                  <a:pt x="4283910" y="3013711"/>
                </a:lnTo>
                <a:lnTo>
                  <a:pt x="4282992" y="3015315"/>
                </a:lnTo>
                <a:lnTo>
                  <a:pt x="4283911" y="3013711"/>
                </a:lnTo>
                <a:close/>
                <a:moveTo>
                  <a:pt x="2291876" y="3008982"/>
                </a:moveTo>
                <a:lnTo>
                  <a:pt x="2292739" y="3011221"/>
                </a:lnTo>
                <a:lnTo>
                  <a:pt x="2301702" y="3013535"/>
                </a:lnTo>
                <a:lnTo>
                  <a:pt x="2300444" y="3011221"/>
                </a:lnTo>
                <a:close/>
                <a:moveTo>
                  <a:pt x="6661836" y="3006889"/>
                </a:moveTo>
                <a:lnTo>
                  <a:pt x="6650225" y="3007214"/>
                </a:lnTo>
                <a:lnTo>
                  <a:pt x="6646643" y="3010354"/>
                </a:lnTo>
                <a:lnTo>
                  <a:pt x="6633405" y="3015767"/>
                </a:lnTo>
                <a:lnTo>
                  <a:pt x="6620274" y="3015010"/>
                </a:lnTo>
                <a:lnTo>
                  <a:pt x="6616909" y="3016742"/>
                </a:lnTo>
                <a:lnTo>
                  <a:pt x="6610942" y="3016308"/>
                </a:lnTo>
                <a:lnTo>
                  <a:pt x="6610182" y="3019124"/>
                </a:lnTo>
                <a:lnTo>
                  <a:pt x="6603237" y="3020964"/>
                </a:lnTo>
                <a:lnTo>
                  <a:pt x="6599767" y="3020532"/>
                </a:lnTo>
                <a:lnTo>
                  <a:pt x="6599767" y="3020533"/>
                </a:lnTo>
                <a:lnTo>
                  <a:pt x="6603239" y="3020966"/>
                </a:lnTo>
                <a:lnTo>
                  <a:pt x="6610184" y="3019125"/>
                </a:lnTo>
                <a:lnTo>
                  <a:pt x="6610944" y="3016310"/>
                </a:lnTo>
                <a:lnTo>
                  <a:pt x="6616912" y="3016743"/>
                </a:lnTo>
                <a:lnTo>
                  <a:pt x="6620276" y="3015011"/>
                </a:lnTo>
                <a:lnTo>
                  <a:pt x="6633407" y="3015769"/>
                </a:lnTo>
                <a:lnTo>
                  <a:pt x="6646646" y="3010355"/>
                </a:lnTo>
                <a:lnTo>
                  <a:pt x="6650227" y="3007215"/>
                </a:lnTo>
                <a:lnTo>
                  <a:pt x="6661838" y="3006891"/>
                </a:lnTo>
                <a:lnTo>
                  <a:pt x="6667913" y="3009813"/>
                </a:lnTo>
                <a:lnTo>
                  <a:pt x="6667913" y="3009812"/>
                </a:lnTo>
                <a:close/>
                <a:moveTo>
                  <a:pt x="6283982" y="3006675"/>
                </a:moveTo>
                <a:lnTo>
                  <a:pt x="6287129" y="3007865"/>
                </a:lnTo>
                <a:lnTo>
                  <a:pt x="6290710" y="3014579"/>
                </a:lnTo>
                <a:lnTo>
                  <a:pt x="6296244" y="3018909"/>
                </a:lnTo>
                <a:lnTo>
                  <a:pt x="6294725" y="3022266"/>
                </a:lnTo>
                <a:lnTo>
                  <a:pt x="6293748" y="3028546"/>
                </a:lnTo>
                <a:lnTo>
                  <a:pt x="6291578" y="3029520"/>
                </a:lnTo>
                <a:lnTo>
                  <a:pt x="6287129" y="3021075"/>
                </a:lnTo>
                <a:lnTo>
                  <a:pt x="6283656" y="3020209"/>
                </a:lnTo>
                <a:lnTo>
                  <a:pt x="6282572" y="3014903"/>
                </a:lnTo>
                <a:lnTo>
                  <a:pt x="6277037" y="3009381"/>
                </a:lnTo>
                <a:lnTo>
                  <a:pt x="6281703" y="3009273"/>
                </a:lnTo>
                <a:close/>
                <a:moveTo>
                  <a:pt x="6399662" y="3006458"/>
                </a:moveTo>
                <a:lnTo>
                  <a:pt x="6405956" y="3008731"/>
                </a:lnTo>
                <a:lnTo>
                  <a:pt x="6408452" y="3012304"/>
                </a:lnTo>
                <a:lnTo>
                  <a:pt x="6405414" y="3017501"/>
                </a:lnTo>
                <a:lnTo>
                  <a:pt x="6403135" y="3015444"/>
                </a:lnTo>
                <a:lnTo>
                  <a:pt x="6397166" y="3006674"/>
                </a:lnTo>
                <a:close/>
                <a:moveTo>
                  <a:pt x="2558279" y="3006239"/>
                </a:moveTo>
                <a:lnTo>
                  <a:pt x="2557278" y="3006506"/>
                </a:lnTo>
                <a:lnTo>
                  <a:pt x="2557303" y="3006565"/>
                </a:lnTo>
                <a:lnTo>
                  <a:pt x="2558419" y="3006565"/>
                </a:lnTo>
                <a:close/>
                <a:moveTo>
                  <a:pt x="4769740" y="3006132"/>
                </a:moveTo>
                <a:lnTo>
                  <a:pt x="4769957" y="3008189"/>
                </a:lnTo>
                <a:lnTo>
                  <a:pt x="4769741" y="3006132"/>
                </a:lnTo>
                <a:close/>
                <a:moveTo>
                  <a:pt x="4273276" y="3004616"/>
                </a:moveTo>
                <a:lnTo>
                  <a:pt x="4268067" y="3006564"/>
                </a:lnTo>
                <a:lnTo>
                  <a:pt x="4262750" y="3007972"/>
                </a:lnTo>
                <a:lnTo>
                  <a:pt x="4259386" y="3007106"/>
                </a:lnTo>
                <a:lnTo>
                  <a:pt x="4255697" y="3009163"/>
                </a:lnTo>
                <a:lnTo>
                  <a:pt x="4253309" y="3007864"/>
                </a:lnTo>
                <a:lnTo>
                  <a:pt x="4253633" y="3006895"/>
                </a:lnTo>
                <a:lnTo>
                  <a:pt x="4253309" y="3007864"/>
                </a:lnTo>
                <a:lnTo>
                  <a:pt x="4255696" y="3009164"/>
                </a:lnTo>
                <a:lnTo>
                  <a:pt x="4259386" y="3007107"/>
                </a:lnTo>
                <a:lnTo>
                  <a:pt x="4262750" y="3007973"/>
                </a:lnTo>
                <a:lnTo>
                  <a:pt x="4268067" y="3006566"/>
                </a:lnTo>
                <a:lnTo>
                  <a:pt x="4273276" y="3004617"/>
                </a:lnTo>
                <a:lnTo>
                  <a:pt x="4280872" y="3004725"/>
                </a:lnTo>
                <a:lnTo>
                  <a:pt x="4283476" y="3006565"/>
                </a:lnTo>
                <a:lnTo>
                  <a:pt x="4283476" y="3006564"/>
                </a:lnTo>
                <a:lnTo>
                  <a:pt x="4280872" y="3004724"/>
                </a:lnTo>
                <a:close/>
                <a:moveTo>
                  <a:pt x="6943112" y="3003426"/>
                </a:moveTo>
                <a:lnTo>
                  <a:pt x="6949840" y="3004942"/>
                </a:lnTo>
                <a:lnTo>
                  <a:pt x="6950382" y="3007756"/>
                </a:lnTo>
                <a:lnTo>
                  <a:pt x="6952553" y="3010138"/>
                </a:lnTo>
                <a:lnTo>
                  <a:pt x="6950382" y="3011871"/>
                </a:lnTo>
                <a:lnTo>
                  <a:pt x="6948211" y="3015227"/>
                </a:lnTo>
                <a:lnTo>
                  <a:pt x="6946693" y="3019450"/>
                </a:lnTo>
                <a:lnTo>
                  <a:pt x="6943437" y="3021615"/>
                </a:lnTo>
                <a:lnTo>
                  <a:pt x="6940832" y="3024755"/>
                </a:lnTo>
                <a:lnTo>
                  <a:pt x="6937795" y="3025080"/>
                </a:lnTo>
                <a:lnTo>
                  <a:pt x="6935733" y="3028978"/>
                </a:lnTo>
                <a:lnTo>
                  <a:pt x="6928137" y="3034175"/>
                </a:lnTo>
                <a:lnTo>
                  <a:pt x="6910014" y="3038289"/>
                </a:lnTo>
                <a:lnTo>
                  <a:pt x="6905239" y="3036774"/>
                </a:lnTo>
                <a:lnTo>
                  <a:pt x="6904045" y="3034391"/>
                </a:lnTo>
                <a:lnTo>
                  <a:pt x="6900247" y="3032226"/>
                </a:lnTo>
                <a:lnTo>
                  <a:pt x="6894497" y="3032117"/>
                </a:lnTo>
                <a:lnTo>
                  <a:pt x="6893520" y="3033525"/>
                </a:lnTo>
                <a:lnTo>
                  <a:pt x="6888094" y="3033850"/>
                </a:lnTo>
                <a:lnTo>
                  <a:pt x="6878002" y="3032767"/>
                </a:lnTo>
                <a:lnTo>
                  <a:pt x="6875071" y="3034175"/>
                </a:lnTo>
                <a:lnTo>
                  <a:pt x="6870080" y="3034175"/>
                </a:lnTo>
                <a:lnTo>
                  <a:pt x="6868019" y="3031468"/>
                </a:lnTo>
                <a:lnTo>
                  <a:pt x="6862267" y="3030710"/>
                </a:lnTo>
                <a:lnTo>
                  <a:pt x="6853694" y="3035041"/>
                </a:lnTo>
                <a:lnTo>
                  <a:pt x="6845989" y="3034824"/>
                </a:lnTo>
                <a:lnTo>
                  <a:pt x="6839370" y="3031793"/>
                </a:lnTo>
                <a:lnTo>
                  <a:pt x="6833836" y="3033633"/>
                </a:lnTo>
                <a:lnTo>
                  <a:pt x="6829603" y="3037964"/>
                </a:lnTo>
                <a:lnTo>
                  <a:pt x="6825806" y="3046951"/>
                </a:lnTo>
                <a:lnTo>
                  <a:pt x="6825046" y="3056154"/>
                </a:lnTo>
                <a:lnTo>
                  <a:pt x="6828410" y="3064599"/>
                </a:lnTo>
                <a:lnTo>
                  <a:pt x="6834595" y="3069904"/>
                </a:lnTo>
                <a:lnTo>
                  <a:pt x="6840781" y="3076833"/>
                </a:lnTo>
                <a:lnTo>
                  <a:pt x="6841974" y="3078999"/>
                </a:lnTo>
                <a:lnTo>
                  <a:pt x="6846966" y="3079757"/>
                </a:lnTo>
                <a:lnTo>
                  <a:pt x="6851632" y="3077375"/>
                </a:lnTo>
                <a:lnTo>
                  <a:pt x="6854888" y="3069362"/>
                </a:lnTo>
                <a:lnTo>
                  <a:pt x="6859554" y="3063408"/>
                </a:lnTo>
                <a:lnTo>
                  <a:pt x="6863895" y="3064599"/>
                </a:lnTo>
                <a:lnTo>
                  <a:pt x="6868343" y="3067305"/>
                </a:lnTo>
                <a:lnTo>
                  <a:pt x="6871816" y="3066548"/>
                </a:lnTo>
                <a:lnTo>
                  <a:pt x="6876265" y="3066872"/>
                </a:lnTo>
                <a:lnTo>
                  <a:pt x="6880389" y="3062542"/>
                </a:lnTo>
                <a:lnTo>
                  <a:pt x="6883862" y="3061567"/>
                </a:lnTo>
                <a:lnTo>
                  <a:pt x="6890915" y="3061567"/>
                </a:lnTo>
                <a:lnTo>
                  <a:pt x="6895581" y="3058211"/>
                </a:lnTo>
                <a:lnTo>
                  <a:pt x="6906216" y="3057236"/>
                </a:lnTo>
                <a:lnTo>
                  <a:pt x="6911208" y="3059077"/>
                </a:lnTo>
                <a:lnTo>
                  <a:pt x="6911208" y="3062867"/>
                </a:lnTo>
                <a:lnTo>
                  <a:pt x="6907084" y="3068713"/>
                </a:lnTo>
                <a:lnTo>
                  <a:pt x="6904154" y="3068388"/>
                </a:lnTo>
                <a:lnTo>
                  <a:pt x="6899488" y="3066006"/>
                </a:lnTo>
                <a:lnTo>
                  <a:pt x="6894388" y="3067198"/>
                </a:lnTo>
                <a:lnTo>
                  <a:pt x="6894171" y="3070445"/>
                </a:lnTo>
                <a:lnTo>
                  <a:pt x="6889830" y="3072719"/>
                </a:lnTo>
                <a:lnTo>
                  <a:pt x="6886575" y="3078241"/>
                </a:lnTo>
                <a:lnTo>
                  <a:pt x="6879738" y="3083546"/>
                </a:lnTo>
                <a:lnTo>
                  <a:pt x="6870080" y="3087011"/>
                </a:lnTo>
                <a:lnTo>
                  <a:pt x="6868995" y="3089934"/>
                </a:lnTo>
                <a:lnTo>
                  <a:pt x="6865197" y="3092749"/>
                </a:lnTo>
                <a:lnTo>
                  <a:pt x="6860964" y="3092641"/>
                </a:lnTo>
                <a:lnTo>
                  <a:pt x="6859880" y="3090259"/>
                </a:lnTo>
                <a:lnTo>
                  <a:pt x="6858034" y="3090043"/>
                </a:lnTo>
                <a:lnTo>
                  <a:pt x="6857492" y="3091883"/>
                </a:lnTo>
                <a:lnTo>
                  <a:pt x="6859880" y="3096214"/>
                </a:lnTo>
                <a:lnTo>
                  <a:pt x="6863895" y="3099029"/>
                </a:lnTo>
                <a:lnTo>
                  <a:pt x="6870405" y="3106391"/>
                </a:lnTo>
                <a:lnTo>
                  <a:pt x="6871599" y="3110830"/>
                </a:lnTo>
                <a:lnTo>
                  <a:pt x="6874312" y="3111047"/>
                </a:lnTo>
                <a:lnTo>
                  <a:pt x="6878436" y="3113753"/>
                </a:lnTo>
                <a:lnTo>
                  <a:pt x="6878978" y="3116352"/>
                </a:lnTo>
                <a:lnTo>
                  <a:pt x="6877676" y="3118518"/>
                </a:lnTo>
                <a:lnTo>
                  <a:pt x="6880932" y="3119600"/>
                </a:lnTo>
                <a:lnTo>
                  <a:pt x="6883102" y="3121874"/>
                </a:lnTo>
                <a:lnTo>
                  <a:pt x="6882126" y="3124256"/>
                </a:lnTo>
                <a:lnTo>
                  <a:pt x="6880064" y="3124581"/>
                </a:lnTo>
                <a:lnTo>
                  <a:pt x="6881366" y="3127504"/>
                </a:lnTo>
                <a:lnTo>
                  <a:pt x="6879738" y="3126855"/>
                </a:lnTo>
                <a:lnTo>
                  <a:pt x="6878653" y="3129020"/>
                </a:lnTo>
                <a:lnTo>
                  <a:pt x="6875940" y="3131835"/>
                </a:lnTo>
                <a:lnTo>
                  <a:pt x="6877242" y="3134758"/>
                </a:lnTo>
                <a:lnTo>
                  <a:pt x="6881366" y="3135949"/>
                </a:lnTo>
                <a:lnTo>
                  <a:pt x="6881583" y="3138548"/>
                </a:lnTo>
                <a:lnTo>
                  <a:pt x="6883645" y="3137248"/>
                </a:lnTo>
                <a:lnTo>
                  <a:pt x="6885707" y="3137790"/>
                </a:lnTo>
                <a:lnTo>
                  <a:pt x="6885598" y="3140063"/>
                </a:lnTo>
                <a:lnTo>
                  <a:pt x="6887768" y="3140388"/>
                </a:lnTo>
                <a:lnTo>
                  <a:pt x="6888094" y="3143853"/>
                </a:lnTo>
                <a:lnTo>
                  <a:pt x="6892651" y="3143312"/>
                </a:lnTo>
                <a:lnTo>
                  <a:pt x="6894713" y="3143961"/>
                </a:lnTo>
                <a:lnTo>
                  <a:pt x="6896558" y="3143203"/>
                </a:lnTo>
                <a:lnTo>
                  <a:pt x="6902743" y="3143636"/>
                </a:lnTo>
                <a:lnTo>
                  <a:pt x="6903503" y="3145693"/>
                </a:lnTo>
                <a:lnTo>
                  <a:pt x="6901441" y="3149158"/>
                </a:lnTo>
                <a:lnTo>
                  <a:pt x="6897969" y="3149158"/>
                </a:lnTo>
                <a:lnTo>
                  <a:pt x="6896124" y="3148184"/>
                </a:lnTo>
                <a:lnTo>
                  <a:pt x="6893520" y="3150890"/>
                </a:lnTo>
                <a:lnTo>
                  <a:pt x="6886466" y="3150349"/>
                </a:lnTo>
                <a:lnTo>
                  <a:pt x="6880714" y="3153597"/>
                </a:lnTo>
                <a:lnTo>
                  <a:pt x="6876591" y="3154680"/>
                </a:lnTo>
                <a:lnTo>
                  <a:pt x="6872468" y="3158469"/>
                </a:lnTo>
                <a:lnTo>
                  <a:pt x="6873878" y="3161934"/>
                </a:lnTo>
                <a:lnTo>
                  <a:pt x="6874204" y="3163558"/>
                </a:lnTo>
                <a:lnTo>
                  <a:pt x="6870188" y="3164316"/>
                </a:lnTo>
                <a:lnTo>
                  <a:pt x="6864871" y="3162042"/>
                </a:lnTo>
                <a:lnTo>
                  <a:pt x="6862267" y="3162909"/>
                </a:lnTo>
                <a:lnTo>
                  <a:pt x="6858794" y="3161718"/>
                </a:lnTo>
                <a:lnTo>
                  <a:pt x="6857167" y="3156953"/>
                </a:lnTo>
                <a:lnTo>
                  <a:pt x="6858360" y="3148184"/>
                </a:lnTo>
                <a:lnTo>
                  <a:pt x="6860205" y="3148508"/>
                </a:lnTo>
                <a:lnTo>
                  <a:pt x="6859337" y="3143961"/>
                </a:lnTo>
                <a:lnTo>
                  <a:pt x="6853911" y="3140713"/>
                </a:lnTo>
                <a:lnTo>
                  <a:pt x="6850982" y="3137140"/>
                </a:lnTo>
                <a:lnTo>
                  <a:pt x="6847617" y="3136599"/>
                </a:lnTo>
                <a:lnTo>
                  <a:pt x="6845121" y="3131835"/>
                </a:lnTo>
                <a:lnTo>
                  <a:pt x="6846098" y="3127504"/>
                </a:lnTo>
                <a:lnTo>
                  <a:pt x="6849896" y="3123173"/>
                </a:lnTo>
                <a:lnTo>
                  <a:pt x="6849896" y="3118409"/>
                </a:lnTo>
                <a:lnTo>
                  <a:pt x="6847617" y="3114404"/>
                </a:lnTo>
                <a:lnTo>
                  <a:pt x="6848160" y="3112021"/>
                </a:lnTo>
                <a:lnTo>
                  <a:pt x="6843385" y="3110289"/>
                </a:lnTo>
                <a:lnTo>
                  <a:pt x="6838502" y="3111372"/>
                </a:lnTo>
                <a:lnTo>
                  <a:pt x="6836440" y="3114620"/>
                </a:lnTo>
                <a:lnTo>
                  <a:pt x="6831232" y="3117868"/>
                </a:lnTo>
                <a:lnTo>
                  <a:pt x="6831232" y="3120141"/>
                </a:lnTo>
                <a:lnTo>
                  <a:pt x="6834378" y="3122849"/>
                </a:lnTo>
                <a:lnTo>
                  <a:pt x="6835789" y="3130211"/>
                </a:lnTo>
                <a:lnTo>
                  <a:pt x="6834162" y="3136491"/>
                </a:lnTo>
                <a:lnTo>
                  <a:pt x="6829603" y="3143312"/>
                </a:lnTo>
                <a:lnTo>
                  <a:pt x="6831449" y="3145369"/>
                </a:lnTo>
                <a:lnTo>
                  <a:pt x="6832316" y="3152731"/>
                </a:lnTo>
                <a:lnTo>
                  <a:pt x="6831232" y="3160743"/>
                </a:lnTo>
                <a:lnTo>
                  <a:pt x="6828736" y="3164966"/>
                </a:lnTo>
                <a:lnTo>
                  <a:pt x="6829387" y="3171137"/>
                </a:lnTo>
                <a:lnTo>
                  <a:pt x="6832642" y="3173411"/>
                </a:lnTo>
                <a:lnTo>
                  <a:pt x="6833185" y="3178283"/>
                </a:lnTo>
                <a:lnTo>
                  <a:pt x="6832316" y="3181964"/>
                </a:lnTo>
                <a:lnTo>
                  <a:pt x="6829387" y="3179799"/>
                </a:lnTo>
                <a:lnTo>
                  <a:pt x="6825480" y="3180448"/>
                </a:lnTo>
                <a:lnTo>
                  <a:pt x="6820922" y="3179365"/>
                </a:lnTo>
                <a:lnTo>
                  <a:pt x="6818752" y="3181964"/>
                </a:lnTo>
                <a:lnTo>
                  <a:pt x="6813760" y="3182181"/>
                </a:lnTo>
                <a:lnTo>
                  <a:pt x="6810396" y="3180124"/>
                </a:lnTo>
                <a:lnTo>
                  <a:pt x="6807900" y="3180124"/>
                </a:lnTo>
                <a:lnTo>
                  <a:pt x="6807140" y="3172003"/>
                </a:lnTo>
                <a:lnTo>
                  <a:pt x="6807684" y="3161718"/>
                </a:lnTo>
                <a:lnTo>
                  <a:pt x="6811155" y="3156737"/>
                </a:lnTo>
                <a:lnTo>
                  <a:pt x="6812458" y="3150565"/>
                </a:lnTo>
                <a:lnTo>
                  <a:pt x="6814194" y="3147859"/>
                </a:lnTo>
                <a:lnTo>
                  <a:pt x="6810070" y="3136816"/>
                </a:lnTo>
                <a:lnTo>
                  <a:pt x="6808551" y="3130752"/>
                </a:lnTo>
                <a:lnTo>
                  <a:pt x="6806164" y="3129561"/>
                </a:lnTo>
                <a:lnTo>
                  <a:pt x="6803559" y="3131510"/>
                </a:lnTo>
                <a:lnTo>
                  <a:pt x="6799978" y="3131510"/>
                </a:lnTo>
                <a:lnTo>
                  <a:pt x="6798242" y="3132485"/>
                </a:lnTo>
                <a:lnTo>
                  <a:pt x="6795638" y="3128695"/>
                </a:lnTo>
                <a:lnTo>
                  <a:pt x="6792816" y="3120467"/>
                </a:lnTo>
                <a:lnTo>
                  <a:pt x="6794986" y="3117759"/>
                </a:lnTo>
                <a:lnTo>
                  <a:pt x="6794119" y="3115811"/>
                </a:lnTo>
                <a:lnTo>
                  <a:pt x="6795746" y="3109639"/>
                </a:lnTo>
                <a:lnTo>
                  <a:pt x="6801281" y="3105308"/>
                </a:lnTo>
                <a:lnTo>
                  <a:pt x="6801172" y="3099353"/>
                </a:lnTo>
                <a:lnTo>
                  <a:pt x="6804211" y="3097946"/>
                </a:lnTo>
                <a:lnTo>
                  <a:pt x="6804971" y="3093940"/>
                </a:lnTo>
                <a:lnTo>
                  <a:pt x="6806164" y="3091774"/>
                </a:lnTo>
                <a:lnTo>
                  <a:pt x="6804971" y="3081814"/>
                </a:lnTo>
                <a:lnTo>
                  <a:pt x="6806598" y="3078241"/>
                </a:lnTo>
                <a:lnTo>
                  <a:pt x="6805947" y="3072719"/>
                </a:lnTo>
                <a:lnTo>
                  <a:pt x="6806815" y="3068064"/>
                </a:lnTo>
                <a:lnTo>
                  <a:pt x="6810613" y="3066006"/>
                </a:lnTo>
                <a:lnTo>
                  <a:pt x="6813760" y="3062217"/>
                </a:lnTo>
                <a:lnTo>
                  <a:pt x="6816798" y="3061351"/>
                </a:lnTo>
                <a:lnTo>
                  <a:pt x="6818209" y="3064923"/>
                </a:lnTo>
                <a:lnTo>
                  <a:pt x="6820054" y="3067305"/>
                </a:lnTo>
                <a:lnTo>
                  <a:pt x="6819402" y="3062867"/>
                </a:lnTo>
                <a:lnTo>
                  <a:pt x="6817016" y="3057236"/>
                </a:lnTo>
                <a:lnTo>
                  <a:pt x="6818209" y="3054421"/>
                </a:lnTo>
                <a:lnTo>
                  <a:pt x="6818535" y="3046517"/>
                </a:lnTo>
                <a:lnTo>
                  <a:pt x="6817341" y="3042620"/>
                </a:lnTo>
                <a:lnTo>
                  <a:pt x="6817341" y="3035691"/>
                </a:lnTo>
                <a:lnTo>
                  <a:pt x="6823310" y="3030060"/>
                </a:lnTo>
                <a:lnTo>
                  <a:pt x="6822875" y="3028329"/>
                </a:lnTo>
                <a:lnTo>
                  <a:pt x="6825046" y="3025730"/>
                </a:lnTo>
                <a:lnTo>
                  <a:pt x="6830797" y="3024430"/>
                </a:lnTo>
                <a:lnTo>
                  <a:pt x="6836982" y="3026379"/>
                </a:lnTo>
                <a:lnTo>
                  <a:pt x="6840021" y="3023672"/>
                </a:lnTo>
                <a:lnTo>
                  <a:pt x="6842083" y="3019233"/>
                </a:lnTo>
                <a:lnTo>
                  <a:pt x="6845772" y="3016852"/>
                </a:lnTo>
                <a:lnTo>
                  <a:pt x="6845772" y="3011654"/>
                </a:lnTo>
                <a:lnTo>
                  <a:pt x="6850113" y="3011438"/>
                </a:lnTo>
                <a:lnTo>
                  <a:pt x="6857167" y="3012846"/>
                </a:lnTo>
                <a:lnTo>
                  <a:pt x="6861833" y="3017285"/>
                </a:lnTo>
                <a:lnTo>
                  <a:pt x="6865413" y="3019450"/>
                </a:lnTo>
                <a:lnTo>
                  <a:pt x="6868669" y="3017285"/>
                </a:lnTo>
                <a:lnTo>
                  <a:pt x="6874855" y="3018367"/>
                </a:lnTo>
                <a:lnTo>
                  <a:pt x="6879413" y="3019450"/>
                </a:lnTo>
                <a:lnTo>
                  <a:pt x="6883536" y="3019233"/>
                </a:lnTo>
                <a:lnTo>
                  <a:pt x="6887117" y="3019558"/>
                </a:lnTo>
                <a:lnTo>
                  <a:pt x="6891784" y="3023672"/>
                </a:lnTo>
                <a:lnTo>
                  <a:pt x="6893954" y="3023348"/>
                </a:lnTo>
                <a:lnTo>
                  <a:pt x="6895690" y="3020749"/>
                </a:lnTo>
                <a:lnTo>
                  <a:pt x="6905348" y="3021615"/>
                </a:lnTo>
                <a:lnTo>
                  <a:pt x="6916743" y="3023889"/>
                </a:lnTo>
                <a:lnTo>
                  <a:pt x="6922385" y="3022482"/>
                </a:lnTo>
                <a:lnTo>
                  <a:pt x="6924881" y="3018801"/>
                </a:lnTo>
                <a:lnTo>
                  <a:pt x="6928679" y="3018367"/>
                </a:lnTo>
                <a:lnTo>
                  <a:pt x="6933671" y="3014794"/>
                </a:lnTo>
                <a:lnTo>
                  <a:pt x="6933996" y="3012304"/>
                </a:lnTo>
                <a:lnTo>
                  <a:pt x="6937577" y="3009597"/>
                </a:lnTo>
                <a:lnTo>
                  <a:pt x="6938446" y="3004942"/>
                </a:lnTo>
                <a:close/>
                <a:moveTo>
                  <a:pt x="2353253" y="2997911"/>
                </a:moveTo>
                <a:lnTo>
                  <a:pt x="2355787" y="3004292"/>
                </a:lnTo>
                <a:lnTo>
                  <a:pt x="2356163" y="3008317"/>
                </a:lnTo>
                <a:lnTo>
                  <a:pt x="2356164" y="3008318"/>
                </a:lnTo>
                <a:lnTo>
                  <a:pt x="2355788" y="3004291"/>
                </a:lnTo>
                <a:close/>
                <a:moveTo>
                  <a:pt x="4372485" y="2995387"/>
                </a:moveTo>
                <a:lnTo>
                  <a:pt x="4372243" y="2996279"/>
                </a:lnTo>
                <a:lnTo>
                  <a:pt x="4371918" y="3001584"/>
                </a:lnTo>
                <a:lnTo>
                  <a:pt x="4368445" y="3006023"/>
                </a:lnTo>
                <a:lnTo>
                  <a:pt x="4367843" y="3012535"/>
                </a:lnTo>
                <a:lnTo>
                  <a:pt x="4368445" y="3006024"/>
                </a:lnTo>
                <a:lnTo>
                  <a:pt x="4371918" y="3001584"/>
                </a:lnTo>
                <a:lnTo>
                  <a:pt x="4372243" y="2996279"/>
                </a:lnTo>
                <a:close/>
                <a:moveTo>
                  <a:pt x="4320264" y="2992491"/>
                </a:moveTo>
                <a:lnTo>
                  <a:pt x="4320914" y="2993897"/>
                </a:lnTo>
                <a:lnTo>
                  <a:pt x="4320915" y="2993897"/>
                </a:lnTo>
                <a:lnTo>
                  <a:pt x="4320265" y="2992491"/>
                </a:lnTo>
                <a:close/>
                <a:moveTo>
                  <a:pt x="6387615" y="2991732"/>
                </a:moveTo>
                <a:lnTo>
                  <a:pt x="6391956" y="2996604"/>
                </a:lnTo>
                <a:lnTo>
                  <a:pt x="6387615" y="3001477"/>
                </a:lnTo>
                <a:lnTo>
                  <a:pt x="6383274" y="3002126"/>
                </a:lnTo>
                <a:lnTo>
                  <a:pt x="6380670" y="2994980"/>
                </a:lnTo>
                <a:lnTo>
                  <a:pt x="6384793" y="2994222"/>
                </a:lnTo>
                <a:close/>
                <a:moveTo>
                  <a:pt x="2613426" y="2991360"/>
                </a:moveTo>
                <a:lnTo>
                  <a:pt x="2613949" y="2991732"/>
                </a:lnTo>
                <a:lnTo>
                  <a:pt x="2615200" y="2992066"/>
                </a:lnTo>
                <a:lnTo>
                  <a:pt x="2614274" y="2991407"/>
                </a:lnTo>
                <a:close/>
                <a:moveTo>
                  <a:pt x="6280293" y="2990109"/>
                </a:moveTo>
                <a:lnTo>
                  <a:pt x="6282355" y="2993141"/>
                </a:lnTo>
                <a:lnTo>
                  <a:pt x="6276820" y="2991300"/>
                </a:lnTo>
                <a:close/>
                <a:moveTo>
                  <a:pt x="2598105" y="2989891"/>
                </a:moveTo>
                <a:lnTo>
                  <a:pt x="2596892" y="2989947"/>
                </a:lnTo>
                <a:lnTo>
                  <a:pt x="2598105" y="2991298"/>
                </a:lnTo>
                <a:lnTo>
                  <a:pt x="2599218" y="2991132"/>
                </a:lnTo>
                <a:close/>
                <a:moveTo>
                  <a:pt x="2343633" y="2989350"/>
                </a:moveTo>
                <a:lnTo>
                  <a:pt x="2342769" y="2989576"/>
                </a:lnTo>
                <a:lnTo>
                  <a:pt x="2343417" y="2991407"/>
                </a:lnTo>
                <a:lnTo>
                  <a:pt x="2347431" y="2996279"/>
                </a:lnTo>
                <a:lnTo>
                  <a:pt x="2348408" y="3001585"/>
                </a:lnTo>
                <a:lnTo>
                  <a:pt x="2348408" y="3008081"/>
                </a:lnTo>
                <a:lnTo>
                  <a:pt x="2349740" y="3007920"/>
                </a:lnTo>
                <a:lnTo>
                  <a:pt x="2349819" y="3003100"/>
                </a:lnTo>
                <a:lnTo>
                  <a:pt x="2348843" y="2997903"/>
                </a:lnTo>
                <a:lnTo>
                  <a:pt x="2344936" y="2993031"/>
                </a:lnTo>
                <a:close/>
                <a:moveTo>
                  <a:pt x="7018967" y="2988485"/>
                </a:moveTo>
                <a:lnTo>
                  <a:pt x="7018424" y="2992274"/>
                </a:lnTo>
                <a:lnTo>
                  <a:pt x="7014734" y="2996389"/>
                </a:lnTo>
                <a:lnTo>
                  <a:pt x="7015602" y="2998987"/>
                </a:lnTo>
                <a:lnTo>
                  <a:pt x="7019726" y="3000611"/>
                </a:lnTo>
                <a:lnTo>
                  <a:pt x="7019726" y="3007866"/>
                </a:lnTo>
                <a:lnTo>
                  <a:pt x="7017881" y="3013929"/>
                </a:lnTo>
                <a:lnTo>
                  <a:pt x="7014083" y="3014037"/>
                </a:lnTo>
                <a:lnTo>
                  <a:pt x="7010610" y="3017502"/>
                </a:lnTo>
                <a:lnTo>
                  <a:pt x="7012672" y="3021399"/>
                </a:lnTo>
                <a:lnTo>
                  <a:pt x="7015494" y="3020966"/>
                </a:lnTo>
                <a:lnTo>
                  <a:pt x="7017013" y="3017177"/>
                </a:lnTo>
                <a:lnTo>
                  <a:pt x="7021137" y="3015228"/>
                </a:lnTo>
                <a:lnTo>
                  <a:pt x="7023198" y="3012846"/>
                </a:lnTo>
                <a:lnTo>
                  <a:pt x="7020811" y="3012738"/>
                </a:lnTo>
                <a:lnTo>
                  <a:pt x="7021354" y="3009382"/>
                </a:lnTo>
                <a:lnTo>
                  <a:pt x="7028516" y="3005808"/>
                </a:lnTo>
                <a:lnTo>
                  <a:pt x="7036112" y="3003101"/>
                </a:lnTo>
                <a:lnTo>
                  <a:pt x="7038933" y="3006025"/>
                </a:lnTo>
                <a:lnTo>
                  <a:pt x="7039258" y="3009382"/>
                </a:lnTo>
                <a:lnTo>
                  <a:pt x="7035569" y="3017827"/>
                </a:lnTo>
                <a:lnTo>
                  <a:pt x="7026996" y="3020750"/>
                </a:lnTo>
                <a:lnTo>
                  <a:pt x="7023850" y="3024431"/>
                </a:lnTo>
                <a:lnTo>
                  <a:pt x="7025803" y="3027679"/>
                </a:lnTo>
                <a:lnTo>
                  <a:pt x="7028949" y="3028004"/>
                </a:lnTo>
                <a:lnTo>
                  <a:pt x="7034918" y="3032227"/>
                </a:lnTo>
                <a:lnTo>
                  <a:pt x="7035786" y="3035691"/>
                </a:lnTo>
                <a:lnTo>
                  <a:pt x="7038065" y="3037640"/>
                </a:lnTo>
                <a:lnTo>
                  <a:pt x="7033399" y="3037964"/>
                </a:lnTo>
                <a:lnTo>
                  <a:pt x="7030143" y="3035366"/>
                </a:lnTo>
                <a:lnTo>
                  <a:pt x="7023850" y="3035258"/>
                </a:lnTo>
                <a:lnTo>
                  <a:pt x="7018424" y="3033525"/>
                </a:lnTo>
                <a:lnTo>
                  <a:pt x="7014951" y="3034717"/>
                </a:lnTo>
                <a:lnTo>
                  <a:pt x="7014951" y="3043595"/>
                </a:lnTo>
                <a:lnTo>
                  <a:pt x="7018967" y="3051390"/>
                </a:lnTo>
                <a:lnTo>
                  <a:pt x="7020811" y="3058104"/>
                </a:lnTo>
                <a:lnTo>
                  <a:pt x="7026996" y="3063517"/>
                </a:lnTo>
                <a:lnTo>
                  <a:pt x="7028407" y="3065790"/>
                </a:lnTo>
                <a:lnTo>
                  <a:pt x="7026454" y="3066549"/>
                </a:lnTo>
                <a:lnTo>
                  <a:pt x="7026128" y="3069363"/>
                </a:lnTo>
                <a:lnTo>
                  <a:pt x="7025152" y="3065574"/>
                </a:lnTo>
                <a:lnTo>
                  <a:pt x="7021028" y="3063950"/>
                </a:lnTo>
                <a:lnTo>
                  <a:pt x="7017231" y="3056154"/>
                </a:lnTo>
                <a:lnTo>
                  <a:pt x="7012130" y="3053123"/>
                </a:lnTo>
                <a:lnTo>
                  <a:pt x="7009091" y="3047709"/>
                </a:lnTo>
                <a:lnTo>
                  <a:pt x="7010936" y="3042729"/>
                </a:lnTo>
                <a:lnTo>
                  <a:pt x="7010177" y="3040022"/>
                </a:lnTo>
                <a:lnTo>
                  <a:pt x="7010827" y="3037099"/>
                </a:lnTo>
                <a:lnTo>
                  <a:pt x="7006161" y="3033309"/>
                </a:lnTo>
                <a:lnTo>
                  <a:pt x="7007030" y="3028545"/>
                </a:lnTo>
                <a:lnTo>
                  <a:pt x="7008874" y="3025405"/>
                </a:lnTo>
                <a:lnTo>
                  <a:pt x="7006161" y="3020425"/>
                </a:lnTo>
                <a:lnTo>
                  <a:pt x="7003774" y="3017285"/>
                </a:lnTo>
                <a:lnTo>
                  <a:pt x="7005293" y="3011330"/>
                </a:lnTo>
                <a:lnTo>
                  <a:pt x="7008223" y="3009056"/>
                </a:lnTo>
                <a:lnTo>
                  <a:pt x="7007681" y="3003101"/>
                </a:lnTo>
                <a:lnTo>
                  <a:pt x="7009309" y="2996172"/>
                </a:lnTo>
                <a:lnTo>
                  <a:pt x="7016471" y="2989134"/>
                </a:lnTo>
                <a:close/>
                <a:moveTo>
                  <a:pt x="2676275" y="2986649"/>
                </a:moveTo>
                <a:lnTo>
                  <a:pt x="2676779" y="2988159"/>
                </a:lnTo>
                <a:lnTo>
                  <a:pt x="2678516" y="2988917"/>
                </a:lnTo>
                <a:lnTo>
                  <a:pt x="2678516" y="2995197"/>
                </a:lnTo>
                <a:lnTo>
                  <a:pt x="2681338" y="2996171"/>
                </a:lnTo>
                <a:lnTo>
                  <a:pt x="2681395" y="2996129"/>
                </a:lnTo>
                <a:lnTo>
                  <a:pt x="2680577" y="2995847"/>
                </a:lnTo>
                <a:lnTo>
                  <a:pt x="2680360" y="2989567"/>
                </a:lnTo>
                <a:lnTo>
                  <a:pt x="2678624" y="2988809"/>
                </a:lnTo>
                <a:lnTo>
                  <a:pt x="2677973" y="2986861"/>
                </a:lnTo>
                <a:close/>
                <a:moveTo>
                  <a:pt x="4208708" y="2985995"/>
                </a:moveTo>
                <a:lnTo>
                  <a:pt x="4208708" y="2986102"/>
                </a:lnTo>
                <a:lnTo>
                  <a:pt x="4208708" y="3014469"/>
                </a:lnTo>
                <a:lnTo>
                  <a:pt x="4208708" y="3014469"/>
                </a:lnTo>
                <a:lnTo>
                  <a:pt x="4208708" y="2986102"/>
                </a:lnTo>
                <a:lnTo>
                  <a:pt x="4208709" y="2986101"/>
                </a:lnTo>
                <a:lnTo>
                  <a:pt x="4208709" y="2985995"/>
                </a:lnTo>
                <a:close/>
                <a:moveTo>
                  <a:pt x="4252983" y="2985669"/>
                </a:moveTo>
                <a:lnTo>
                  <a:pt x="4251789" y="2990542"/>
                </a:lnTo>
                <a:lnTo>
                  <a:pt x="4253417" y="2995089"/>
                </a:lnTo>
                <a:lnTo>
                  <a:pt x="4253417" y="2995088"/>
                </a:lnTo>
                <a:lnTo>
                  <a:pt x="4251790" y="2990540"/>
                </a:lnTo>
                <a:lnTo>
                  <a:pt x="4252984" y="2985669"/>
                </a:lnTo>
                <a:close/>
                <a:moveTo>
                  <a:pt x="7030035" y="2983937"/>
                </a:moveTo>
                <a:lnTo>
                  <a:pt x="7033181" y="2985994"/>
                </a:lnTo>
                <a:lnTo>
                  <a:pt x="7034593" y="2989675"/>
                </a:lnTo>
                <a:lnTo>
                  <a:pt x="7031120" y="2993032"/>
                </a:lnTo>
                <a:lnTo>
                  <a:pt x="7027538" y="2992707"/>
                </a:lnTo>
                <a:lnTo>
                  <a:pt x="7024826" y="2995089"/>
                </a:lnTo>
                <a:lnTo>
                  <a:pt x="7023415" y="2987510"/>
                </a:lnTo>
                <a:lnTo>
                  <a:pt x="7026996" y="2986210"/>
                </a:lnTo>
                <a:close/>
                <a:moveTo>
                  <a:pt x="4242023" y="2983071"/>
                </a:moveTo>
                <a:lnTo>
                  <a:pt x="4242457" y="2984154"/>
                </a:lnTo>
                <a:lnTo>
                  <a:pt x="4248535" y="2984587"/>
                </a:lnTo>
                <a:lnTo>
                  <a:pt x="4242458" y="2984153"/>
                </a:lnTo>
                <a:lnTo>
                  <a:pt x="4242024" y="2983071"/>
                </a:lnTo>
                <a:close/>
                <a:moveTo>
                  <a:pt x="4225095" y="2982638"/>
                </a:moveTo>
                <a:lnTo>
                  <a:pt x="4232583" y="2983071"/>
                </a:lnTo>
                <a:lnTo>
                  <a:pt x="4233591" y="2983423"/>
                </a:lnTo>
                <a:lnTo>
                  <a:pt x="4232583" y="2983071"/>
                </a:lnTo>
                <a:close/>
                <a:moveTo>
                  <a:pt x="6621795" y="2981988"/>
                </a:moveTo>
                <a:lnTo>
                  <a:pt x="6622988" y="2984261"/>
                </a:lnTo>
                <a:lnTo>
                  <a:pt x="6619082" y="2985885"/>
                </a:lnTo>
                <a:close/>
                <a:moveTo>
                  <a:pt x="6623856" y="2980797"/>
                </a:moveTo>
                <a:lnTo>
                  <a:pt x="6626460" y="2982962"/>
                </a:lnTo>
                <a:lnTo>
                  <a:pt x="6623856" y="2984045"/>
                </a:lnTo>
                <a:lnTo>
                  <a:pt x="6622879" y="2981988"/>
                </a:lnTo>
                <a:close/>
                <a:moveTo>
                  <a:pt x="2752307" y="2979931"/>
                </a:moveTo>
                <a:lnTo>
                  <a:pt x="2755020" y="2981880"/>
                </a:lnTo>
                <a:lnTo>
                  <a:pt x="2758492" y="2988051"/>
                </a:lnTo>
                <a:lnTo>
                  <a:pt x="2758492" y="2991299"/>
                </a:lnTo>
                <a:lnTo>
                  <a:pt x="2755888" y="2991299"/>
                </a:lnTo>
                <a:lnTo>
                  <a:pt x="2753501" y="2987726"/>
                </a:lnTo>
                <a:lnTo>
                  <a:pt x="2751656" y="2981663"/>
                </a:lnTo>
                <a:close/>
                <a:moveTo>
                  <a:pt x="2346181" y="2978302"/>
                </a:moveTo>
                <a:lnTo>
                  <a:pt x="2347106" y="2978848"/>
                </a:lnTo>
                <a:lnTo>
                  <a:pt x="2347757" y="2980061"/>
                </a:lnTo>
                <a:lnTo>
                  <a:pt x="2347106" y="2978847"/>
                </a:lnTo>
                <a:close/>
                <a:moveTo>
                  <a:pt x="2601188" y="2977182"/>
                </a:moveTo>
                <a:lnTo>
                  <a:pt x="2601686" y="2977764"/>
                </a:lnTo>
                <a:lnTo>
                  <a:pt x="2602233" y="2981218"/>
                </a:lnTo>
                <a:lnTo>
                  <a:pt x="2601687" y="2977765"/>
                </a:lnTo>
                <a:close/>
                <a:moveTo>
                  <a:pt x="6623421" y="2976141"/>
                </a:moveTo>
                <a:lnTo>
                  <a:pt x="6623421" y="2976357"/>
                </a:lnTo>
                <a:lnTo>
                  <a:pt x="6623205" y="2980147"/>
                </a:lnTo>
                <a:lnTo>
                  <a:pt x="6622337" y="2980580"/>
                </a:lnTo>
                <a:lnTo>
                  <a:pt x="6621794" y="2979172"/>
                </a:lnTo>
                <a:close/>
                <a:moveTo>
                  <a:pt x="6629173" y="2975492"/>
                </a:moveTo>
                <a:lnTo>
                  <a:pt x="6630692" y="2981013"/>
                </a:lnTo>
                <a:lnTo>
                  <a:pt x="6627653" y="2982529"/>
                </a:lnTo>
                <a:lnTo>
                  <a:pt x="6624290" y="2979065"/>
                </a:lnTo>
                <a:lnTo>
                  <a:pt x="6624290" y="2976682"/>
                </a:lnTo>
                <a:lnTo>
                  <a:pt x="6625700" y="2976358"/>
                </a:lnTo>
                <a:lnTo>
                  <a:pt x="6625918" y="2976358"/>
                </a:lnTo>
                <a:close/>
                <a:moveTo>
                  <a:pt x="4783304" y="2974517"/>
                </a:moveTo>
                <a:lnTo>
                  <a:pt x="4782012" y="2976349"/>
                </a:lnTo>
                <a:lnTo>
                  <a:pt x="4783305" y="2974517"/>
                </a:lnTo>
                <a:close/>
                <a:moveTo>
                  <a:pt x="2416491" y="2974491"/>
                </a:moveTo>
                <a:lnTo>
                  <a:pt x="2416340" y="2975274"/>
                </a:lnTo>
                <a:lnTo>
                  <a:pt x="2427300" y="2978956"/>
                </a:lnTo>
                <a:lnTo>
                  <a:pt x="2434896" y="2978090"/>
                </a:lnTo>
                <a:lnTo>
                  <a:pt x="2441298" y="2979367"/>
                </a:lnTo>
                <a:lnTo>
                  <a:pt x="2441298" y="2978306"/>
                </a:lnTo>
                <a:lnTo>
                  <a:pt x="2433702" y="2976790"/>
                </a:lnTo>
                <a:lnTo>
                  <a:pt x="2426106" y="2977657"/>
                </a:lnTo>
                <a:close/>
                <a:moveTo>
                  <a:pt x="2665385" y="2973110"/>
                </a:moveTo>
                <a:lnTo>
                  <a:pt x="2659634" y="2977007"/>
                </a:lnTo>
                <a:lnTo>
                  <a:pt x="2658440" y="2976790"/>
                </a:lnTo>
                <a:lnTo>
                  <a:pt x="2656404" y="2976316"/>
                </a:lnTo>
                <a:lnTo>
                  <a:pt x="2657246" y="2978523"/>
                </a:lnTo>
                <a:lnTo>
                  <a:pt x="2658766" y="2982421"/>
                </a:lnTo>
                <a:lnTo>
                  <a:pt x="2660068" y="2983504"/>
                </a:lnTo>
                <a:lnTo>
                  <a:pt x="2660068" y="2985885"/>
                </a:lnTo>
                <a:lnTo>
                  <a:pt x="2663324" y="2989567"/>
                </a:lnTo>
                <a:lnTo>
                  <a:pt x="2665198" y="2989911"/>
                </a:lnTo>
                <a:lnTo>
                  <a:pt x="2662021" y="2986319"/>
                </a:lnTo>
                <a:lnTo>
                  <a:pt x="2662021" y="2984045"/>
                </a:lnTo>
                <a:lnTo>
                  <a:pt x="2660719" y="2982854"/>
                </a:lnTo>
                <a:lnTo>
                  <a:pt x="2659308" y="2978957"/>
                </a:lnTo>
                <a:lnTo>
                  <a:pt x="2658440" y="2976791"/>
                </a:lnTo>
                <a:lnTo>
                  <a:pt x="2659634" y="2977008"/>
                </a:lnTo>
                <a:close/>
                <a:moveTo>
                  <a:pt x="2342658" y="2972568"/>
                </a:moveTo>
                <a:lnTo>
                  <a:pt x="2340378" y="2974192"/>
                </a:lnTo>
                <a:lnTo>
                  <a:pt x="2339145" y="2973833"/>
                </a:lnTo>
                <a:lnTo>
                  <a:pt x="2340378" y="2974192"/>
                </a:lnTo>
                <a:lnTo>
                  <a:pt x="2342657" y="2972568"/>
                </a:lnTo>
                <a:lnTo>
                  <a:pt x="2343379" y="2973288"/>
                </a:lnTo>
                <a:close/>
                <a:moveTo>
                  <a:pt x="2648938" y="2971619"/>
                </a:moveTo>
                <a:lnTo>
                  <a:pt x="2653123" y="2975600"/>
                </a:lnTo>
                <a:lnTo>
                  <a:pt x="2655156" y="2976005"/>
                </a:lnTo>
                <a:lnTo>
                  <a:pt x="2650519" y="2971702"/>
                </a:lnTo>
                <a:close/>
                <a:moveTo>
                  <a:pt x="6244266" y="2970295"/>
                </a:moveTo>
                <a:lnTo>
                  <a:pt x="6247846" y="2972893"/>
                </a:lnTo>
                <a:lnTo>
                  <a:pt x="6251102" y="2977332"/>
                </a:lnTo>
                <a:lnTo>
                  <a:pt x="6245568" y="2978090"/>
                </a:lnTo>
                <a:lnTo>
                  <a:pt x="6241010" y="2975275"/>
                </a:lnTo>
                <a:lnTo>
                  <a:pt x="6242312" y="2972352"/>
                </a:lnTo>
                <a:close/>
                <a:moveTo>
                  <a:pt x="6496565" y="2968779"/>
                </a:moveTo>
                <a:lnTo>
                  <a:pt x="6499061" y="2971269"/>
                </a:lnTo>
                <a:lnTo>
                  <a:pt x="6496565" y="2972676"/>
                </a:lnTo>
                <a:close/>
                <a:moveTo>
                  <a:pt x="2339158" y="2966172"/>
                </a:moveTo>
                <a:lnTo>
                  <a:pt x="2337123" y="2969861"/>
                </a:lnTo>
                <a:lnTo>
                  <a:pt x="2337123" y="2969861"/>
                </a:lnTo>
                <a:close/>
                <a:moveTo>
                  <a:pt x="6485063" y="2964665"/>
                </a:moveTo>
                <a:lnTo>
                  <a:pt x="6488862" y="2966181"/>
                </a:lnTo>
                <a:lnTo>
                  <a:pt x="6484195" y="2971161"/>
                </a:lnTo>
                <a:lnTo>
                  <a:pt x="6481590" y="2969537"/>
                </a:lnTo>
                <a:lnTo>
                  <a:pt x="6482133" y="2965422"/>
                </a:lnTo>
                <a:close/>
                <a:moveTo>
                  <a:pt x="4386401" y="2963570"/>
                </a:moveTo>
                <a:lnTo>
                  <a:pt x="4382986" y="2965313"/>
                </a:lnTo>
                <a:lnTo>
                  <a:pt x="4381901" y="2969644"/>
                </a:lnTo>
                <a:lnTo>
                  <a:pt x="4376747" y="2976249"/>
                </a:lnTo>
                <a:lnTo>
                  <a:pt x="4381901" y="2969645"/>
                </a:lnTo>
                <a:lnTo>
                  <a:pt x="4382987" y="2965314"/>
                </a:lnTo>
                <a:close/>
                <a:moveTo>
                  <a:pt x="4772676" y="2962065"/>
                </a:moveTo>
                <a:lnTo>
                  <a:pt x="4774406" y="2963690"/>
                </a:lnTo>
                <a:lnTo>
                  <a:pt x="4775608" y="2966710"/>
                </a:lnTo>
                <a:lnTo>
                  <a:pt x="4774407" y="2963690"/>
                </a:lnTo>
                <a:close/>
                <a:moveTo>
                  <a:pt x="6497108" y="2960984"/>
                </a:moveTo>
                <a:lnTo>
                  <a:pt x="6498845" y="2964232"/>
                </a:lnTo>
                <a:lnTo>
                  <a:pt x="6495698" y="2963799"/>
                </a:lnTo>
                <a:close/>
                <a:moveTo>
                  <a:pt x="4338234" y="2959609"/>
                </a:moveTo>
                <a:lnTo>
                  <a:pt x="4327643" y="2977115"/>
                </a:lnTo>
                <a:lnTo>
                  <a:pt x="4327643" y="2977116"/>
                </a:lnTo>
                <a:lnTo>
                  <a:pt x="4327119" y="2978059"/>
                </a:lnTo>
                <a:lnTo>
                  <a:pt x="4327131" y="2978037"/>
                </a:lnTo>
                <a:lnTo>
                  <a:pt x="4327644" y="2977117"/>
                </a:lnTo>
                <a:lnTo>
                  <a:pt x="4337578" y="2960700"/>
                </a:lnTo>
                <a:close/>
                <a:moveTo>
                  <a:pt x="6765145" y="2956437"/>
                </a:moveTo>
                <a:lnTo>
                  <a:pt x="6767424" y="2957736"/>
                </a:lnTo>
                <a:lnTo>
                  <a:pt x="6767424" y="2961958"/>
                </a:lnTo>
                <a:lnTo>
                  <a:pt x="6765796" y="2961417"/>
                </a:lnTo>
                <a:close/>
                <a:moveTo>
                  <a:pt x="2669183" y="2955029"/>
                </a:moveTo>
                <a:lnTo>
                  <a:pt x="2665386" y="2958709"/>
                </a:lnTo>
                <a:lnTo>
                  <a:pt x="2665386" y="2958710"/>
                </a:lnTo>
                <a:close/>
                <a:moveTo>
                  <a:pt x="6496131" y="2954596"/>
                </a:moveTo>
                <a:lnTo>
                  <a:pt x="6499061" y="2956003"/>
                </a:lnTo>
                <a:lnTo>
                  <a:pt x="6496565" y="2958818"/>
                </a:lnTo>
                <a:close/>
                <a:moveTo>
                  <a:pt x="2590834" y="2954378"/>
                </a:moveTo>
                <a:lnTo>
                  <a:pt x="2592679" y="2955894"/>
                </a:lnTo>
                <a:lnTo>
                  <a:pt x="2593547" y="2959358"/>
                </a:lnTo>
                <a:lnTo>
                  <a:pt x="2595501" y="2966613"/>
                </a:lnTo>
                <a:lnTo>
                  <a:pt x="2593547" y="2959359"/>
                </a:lnTo>
                <a:lnTo>
                  <a:pt x="2592679" y="2955894"/>
                </a:lnTo>
                <a:close/>
                <a:moveTo>
                  <a:pt x="4387435" y="2953295"/>
                </a:moveTo>
                <a:lnTo>
                  <a:pt x="4387652" y="2962931"/>
                </a:lnTo>
                <a:lnTo>
                  <a:pt x="4387653" y="2962931"/>
                </a:lnTo>
                <a:close/>
                <a:moveTo>
                  <a:pt x="6770245" y="2951565"/>
                </a:moveTo>
                <a:lnTo>
                  <a:pt x="6768943" y="2953731"/>
                </a:lnTo>
                <a:lnTo>
                  <a:pt x="6765362" y="2952756"/>
                </a:lnTo>
                <a:close/>
                <a:moveTo>
                  <a:pt x="4683164" y="2950980"/>
                </a:moveTo>
                <a:lnTo>
                  <a:pt x="4683143" y="2951022"/>
                </a:lnTo>
                <a:lnTo>
                  <a:pt x="4681950" y="2955461"/>
                </a:lnTo>
                <a:lnTo>
                  <a:pt x="4679562" y="2958601"/>
                </a:lnTo>
                <a:lnTo>
                  <a:pt x="4679562" y="2965314"/>
                </a:lnTo>
                <a:lnTo>
                  <a:pt x="4678152" y="2973434"/>
                </a:lnTo>
                <a:lnTo>
                  <a:pt x="4677609" y="2979497"/>
                </a:lnTo>
                <a:lnTo>
                  <a:pt x="4680322" y="2981446"/>
                </a:lnTo>
                <a:lnTo>
                  <a:pt x="4682601" y="2984478"/>
                </a:lnTo>
                <a:lnTo>
                  <a:pt x="4684445" y="2988484"/>
                </a:lnTo>
                <a:lnTo>
                  <a:pt x="4684012" y="2991190"/>
                </a:lnTo>
                <a:lnTo>
                  <a:pt x="4671749" y="3007431"/>
                </a:lnTo>
                <a:lnTo>
                  <a:pt x="4664153" y="3015876"/>
                </a:lnTo>
                <a:lnTo>
                  <a:pt x="4662091" y="3019449"/>
                </a:lnTo>
                <a:lnTo>
                  <a:pt x="4652759" y="3036123"/>
                </a:lnTo>
                <a:lnTo>
                  <a:pt x="4651023" y="3039046"/>
                </a:lnTo>
                <a:lnTo>
                  <a:pt x="4650914" y="3045217"/>
                </a:lnTo>
                <a:lnTo>
                  <a:pt x="4650154" y="3053987"/>
                </a:lnTo>
                <a:lnTo>
                  <a:pt x="4647116" y="3062649"/>
                </a:lnTo>
                <a:lnTo>
                  <a:pt x="4647767" y="3068171"/>
                </a:lnTo>
                <a:lnTo>
                  <a:pt x="4647767" y="3068170"/>
                </a:lnTo>
                <a:lnTo>
                  <a:pt x="4647116" y="3062649"/>
                </a:lnTo>
                <a:lnTo>
                  <a:pt x="4650155" y="3053987"/>
                </a:lnTo>
                <a:lnTo>
                  <a:pt x="4650914" y="3045217"/>
                </a:lnTo>
                <a:lnTo>
                  <a:pt x="4651023" y="3039046"/>
                </a:lnTo>
                <a:lnTo>
                  <a:pt x="4652759" y="3036123"/>
                </a:lnTo>
                <a:lnTo>
                  <a:pt x="4662091" y="3019449"/>
                </a:lnTo>
                <a:lnTo>
                  <a:pt x="4664153" y="3015876"/>
                </a:lnTo>
                <a:lnTo>
                  <a:pt x="4671750" y="3007431"/>
                </a:lnTo>
                <a:lnTo>
                  <a:pt x="4684012" y="2991190"/>
                </a:lnTo>
                <a:lnTo>
                  <a:pt x="4684446" y="2988484"/>
                </a:lnTo>
                <a:lnTo>
                  <a:pt x="4682601" y="2984478"/>
                </a:lnTo>
                <a:lnTo>
                  <a:pt x="4680323" y="2981446"/>
                </a:lnTo>
                <a:lnTo>
                  <a:pt x="4677609" y="2979497"/>
                </a:lnTo>
                <a:lnTo>
                  <a:pt x="4678152" y="2973434"/>
                </a:lnTo>
                <a:lnTo>
                  <a:pt x="4679563" y="2965314"/>
                </a:lnTo>
                <a:lnTo>
                  <a:pt x="4679563" y="2958601"/>
                </a:lnTo>
                <a:lnTo>
                  <a:pt x="4681950" y="2955461"/>
                </a:lnTo>
                <a:lnTo>
                  <a:pt x="4683144" y="2951022"/>
                </a:lnTo>
                <a:lnTo>
                  <a:pt x="4683165" y="2950980"/>
                </a:lnTo>
                <a:close/>
                <a:moveTo>
                  <a:pt x="4768058" y="2950968"/>
                </a:moveTo>
                <a:lnTo>
                  <a:pt x="4768872" y="2953621"/>
                </a:lnTo>
                <a:lnTo>
                  <a:pt x="4768872" y="2953620"/>
                </a:lnTo>
                <a:close/>
                <a:moveTo>
                  <a:pt x="6955809" y="2948966"/>
                </a:moveTo>
                <a:lnTo>
                  <a:pt x="6960693" y="2954380"/>
                </a:lnTo>
                <a:lnTo>
                  <a:pt x="6962213" y="2959360"/>
                </a:lnTo>
                <a:lnTo>
                  <a:pt x="6960151" y="2961850"/>
                </a:lnTo>
                <a:lnTo>
                  <a:pt x="6955809" y="2958060"/>
                </a:lnTo>
                <a:lnTo>
                  <a:pt x="6954941" y="2951997"/>
                </a:lnTo>
                <a:close/>
                <a:moveTo>
                  <a:pt x="4878474" y="2948857"/>
                </a:moveTo>
                <a:lnTo>
                  <a:pt x="4882706" y="2950373"/>
                </a:lnTo>
                <a:lnTo>
                  <a:pt x="4886070" y="2950373"/>
                </a:lnTo>
                <a:lnTo>
                  <a:pt x="4890844" y="2950048"/>
                </a:lnTo>
                <a:lnTo>
                  <a:pt x="4890845" y="2950048"/>
                </a:lnTo>
                <a:lnTo>
                  <a:pt x="4886071" y="2950372"/>
                </a:lnTo>
                <a:lnTo>
                  <a:pt x="4882707" y="2950372"/>
                </a:lnTo>
                <a:lnTo>
                  <a:pt x="4878474" y="2948857"/>
                </a:lnTo>
                <a:close/>
                <a:moveTo>
                  <a:pt x="2584365" y="2948222"/>
                </a:moveTo>
                <a:lnTo>
                  <a:pt x="2584757" y="2948748"/>
                </a:lnTo>
                <a:lnTo>
                  <a:pt x="2584975" y="2951780"/>
                </a:lnTo>
                <a:lnTo>
                  <a:pt x="2584758" y="2948749"/>
                </a:lnTo>
                <a:close/>
                <a:moveTo>
                  <a:pt x="4866754" y="2947449"/>
                </a:moveTo>
                <a:lnTo>
                  <a:pt x="4871962" y="2949832"/>
                </a:lnTo>
                <a:lnTo>
                  <a:pt x="4876640" y="2949131"/>
                </a:lnTo>
                <a:lnTo>
                  <a:pt x="4871963" y="2949831"/>
                </a:lnTo>
                <a:lnTo>
                  <a:pt x="4866755" y="2947449"/>
                </a:lnTo>
                <a:close/>
                <a:moveTo>
                  <a:pt x="4764531" y="2943551"/>
                </a:moveTo>
                <a:lnTo>
                  <a:pt x="4764097" y="2947666"/>
                </a:lnTo>
                <a:lnTo>
                  <a:pt x="4765919" y="2948042"/>
                </a:lnTo>
                <a:lnTo>
                  <a:pt x="4764098" y="2947665"/>
                </a:lnTo>
                <a:close/>
                <a:moveTo>
                  <a:pt x="6985433" y="2943445"/>
                </a:moveTo>
                <a:lnTo>
                  <a:pt x="6988037" y="2944094"/>
                </a:lnTo>
                <a:lnTo>
                  <a:pt x="6989556" y="2948534"/>
                </a:lnTo>
                <a:lnTo>
                  <a:pt x="6987712" y="2948534"/>
                </a:lnTo>
                <a:close/>
                <a:moveTo>
                  <a:pt x="4149350" y="2943119"/>
                </a:moveTo>
                <a:lnTo>
                  <a:pt x="4150977" y="2944743"/>
                </a:lnTo>
                <a:lnTo>
                  <a:pt x="4151412" y="2951564"/>
                </a:lnTo>
                <a:lnTo>
                  <a:pt x="4148048" y="2960875"/>
                </a:lnTo>
                <a:lnTo>
                  <a:pt x="4143382" y="2960117"/>
                </a:lnTo>
                <a:lnTo>
                  <a:pt x="4138933" y="2957735"/>
                </a:lnTo>
                <a:lnTo>
                  <a:pt x="4139258" y="2954055"/>
                </a:lnTo>
                <a:lnTo>
                  <a:pt x="4142405" y="2953838"/>
                </a:lnTo>
                <a:lnTo>
                  <a:pt x="4144250" y="2948316"/>
                </a:lnTo>
                <a:close/>
                <a:moveTo>
                  <a:pt x="6767423" y="2940845"/>
                </a:moveTo>
                <a:lnTo>
                  <a:pt x="6768725" y="2943335"/>
                </a:lnTo>
                <a:lnTo>
                  <a:pt x="6766338" y="2942252"/>
                </a:lnTo>
                <a:close/>
                <a:moveTo>
                  <a:pt x="4947597" y="2940087"/>
                </a:moveTo>
                <a:lnTo>
                  <a:pt x="4925353" y="2961200"/>
                </a:lnTo>
                <a:lnTo>
                  <a:pt x="4924918" y="3055611"/>
                </a:lnTo>
                <a:lnTo>
                  <a:pt x="4924919" y="3055612"/>
                </a:lnTo>
                <a:lnTo>
                  <a:pt x="4925353" y="2961200"/>
                </a:lnTo>
                <a:lnTo>
                  <a:pt x="4947599" y="2940087"/>
                </a:lnTo>
                <a:close/>
                <a:moveTo>
                  <a:pt x="4386784" y="2940087"/>
                </a:moveTo>
                <a:lnTo>
                  <a:pt x="4386430" y="2941000"/>
                </a:lnTo>
                <a:lnTo>
                  <a:pt x="4385482" y="2943443"/>
                </a:lnTo>
                <a:lnTo>
                  <a:pt x="4385479" y="2943498"/>
                </a:lnTo>
                <a:lnTo>
                  <a:pt x="4385482" y="2943443"/>
                </a:lnTo>
                <a:lnTo>
                  <a:pt x="4386430" y="2941000"/>
                </a:lnTo>
                <a:lnTo>
                  <a:pt x="4386784" y="2940087"/>
                </a:lnTo>
                <a:close/>
                <a:moveTo>
                  <a:pt x="4948141" y="2939871"/>
                </a:moveTo>
                <a:lnTo>
                  <a:pt x="4947276" y="2940086"/>
                </a:lnTo>
                <a:lnTo>
                  <a:pt x="4947277" y="2940086"/>
                </a:lnTo>
                <a:close/>
                <a:moveTo>
                  <a:pt x="4670242" y="2939810"/>
                </a:moveTo>
                <a:lnTo>
                  <a:pt x="4671206" y="2942035"/>
                </a:lnTo>
                <a:lnTo>
                  <a:pt x="4672726" y="2943876"/>
                </a:lnTo>
                <a:lnTo>
                  <a:pt x="4673377" y="2945608"/>
                </a:lnTo>
                <a:lnTo>
                  <a:pt x="4672726" y="2943876"/>
                </a:lnTo>
                <a:lnTo>
                  <a:pt x="4671207" y="2942035"/>
                </a:lnTo>
                <a:close/>
                <a:moveTo>
                  <a:pt x="2409287" y="2939449"/>
                </a:moveTo>
                <a:lnTo>
                  <a:pt x="2410155" y="2941061"/>
                </a:lnTo>
                <a:lnTo>
                  <a:pt x="2415146" y="2942902"/>
                </a:lnTo>
                <a:lnTo>
                  <a:pt x="2419595" y="2947151"/>
                </a:lnTo>
                <a:lnTo>
                  <a:pt x="2419161" y="2946042"/>
                </a:lnTo>
                <a:lnTo>
                  <a:pt x="2413952" y="2941170"/>
                </a:lnTo>
                <a:close/>
                <a:moveTo>
                  <a:pt x="2338208" y="2938517"/>
                </a:moveTo>
                <a:lnTo>
                  <a:pt x="2339510" y="2940412"/>
                </a:lnTo>
                <a:lnTo>
                  <a:pt x="2339615" y="2943016"/>
                </a:lnTo>
                <a:lnTo>
                  <a:pt x="2339510" y="2940411"/>
                </a:lnTo>
                <a:close/>
                <a:moveTo>
                  <a:pt x="2724047" y="2938472"/>
                </a:moveTo>
                <a:lnTo>
                  <a:pt x="2723959" y="2938588"/>
                </a:lnTo>
                <a:lnTo>
                  <a:pt x="2723984" y="2938571"/>
                </a:lnTo>
                <a:close/>
                <a:moveTo>
                  <a:pt x="6767533" y="2938247"/>
                </a:moveTo>
                <a:lnTo>
                  <a:pt x="6772633" y="2940087"/>
                </a:lnTo>
                <a:lnTo>
                  <a:pt x="6772742" y="2941711"/>
                </a:lnTo>
                <a:lnTo>
                  <a:pt x="6768726" y="2941603"/>
                </a:lnTo>
                <a:lnTo>
                  <a:pt x="6767424" y="2939221"/>
                </a:lnTo>
                <a:close/>
                <a:moveTo>
                  <a:pt x="2537444" y="2938029"/>
                </a:moveTo>
                <a:lnTo>
                  <a:pt x="2537010" y="2938060"/>
                </a:lnTo>
                <a:lnTo>
                  <a:pt x="2537010" y="2939221"/>
                </a:lnTo>
                <a:lnTo>
                  <a:pt x="2532670" y="2944526"/>
                </a:lnTo>
                <a:lnTo>
                  <a:pt x="2531150" y="2951022"/>
                </a:lnTo>
                <a:lnTo>
                  <a:pt x="2526484" y="2959143"/>
                </a:lnTo>
                <a:lnTo>
                  <a:pt x="2526484" y="2964339"/>
                </a:lnTo>
                <a:lnTo>
                  <a:pt x="2524748" y="2967804"/>
                </a:lnTo>
                <a:lnTo>
                  <a:pt x="2524096" y="2972135"/>
                </a:lnTo>
                <a:lnTo>
                  <a:pt x="2525291" y="2974517"/>
                </a:lnTo>
                <a:lnTo>
                  <a:pt x="2524205" y="2977765"/>
                </a:lnTo>
                <a:lnTo>
                  <a:pt x="2524205" y="2982637"/>
                </a:lnTo>
                <a:lnTo>
                  <a:pt x="2528546" y="2987077"/>
                </a:lnTo>
                <a:lnTo>
                  <a:pt x="2533755" y="2992273"/>
                </a:lnTo>
                <a:lnTo>
                  <a:pt x="2533755" y="2995738"/>
                </a:lnTo>
                <a:lnTo>
                  <a:pt x="2537227" y="3000069"/>
                </a:lnTo>
                <a:lnTo>
                  <a:pt x="2546668" y="3008189"/>
                </a:lnTo>
                <a:lnTo>
                  <a:pt x="2547334" y="3008455"/>
                </a:lnTo>
                <a:lnTo>
                  <a:pt x="2538855" y="3001259"/>
                </a:lnTo>
                <a:lnTo>
                  <a:pt x="2535382" y="2996928"/>
                </a:lnTo>
                <a:lnTo>
                  <a:pt x="2535165" y="2993464"/>
                </a:lnTo>
                <a:lnTo>
                  <a:pt x="2530065" y="2988375"/>
                </a:lnTo>
                <a:lnTo>
                  <a:pt x="2525724" y="2983936"/>
                </a:lnTo>
                <a:lnTo>
                  <a:pt x="2525182" y="2979064"/>
                </a:lnTo>
                <a:lnTo>
                  <a:pt x="2526267" y="2975815"/>
                </a:lnTo>
                <a:lnTo>
                  <a:pt x="2525073" y="2973434"/>
                </a:lnTo>
                <a:lnTo>
                  <a:pt x="2525724" y="2969103"/>
                </a:lnTo>
                <a:lnTo>
                  <a:pt x="2527460" y="2965638"/>
                </a:lnTo>
                <a:lnTo>
                  <a:pt x="2527135" y="2960550"/>
                </a:lnTo>
                <a:lnTo>
                  <a:pt x="2531801" y="2952429"/>
                </a:lnTo>
                <a:lnTo>
                  <a:pt x="2533320" y="2945824"/>
                </a:lnTo>
                <a:lnTo>
                  <a:pt x="2537552" y="2940520"/>
                </a:lnTo>
                <a:close/>
                <a:moveTo>
                  <a:pt x="6760043" y="2934348"/>
                </a:moveTo>
                <a:lnTo>
                  <a:pt x="6753316" y="2934565"/>
                </a:lnTo>
                <a:lnTo>
                  <a:pt x="6753317" y="2934566"/>
                </a:lnTo>
                <a:lnTo>
                  <a:pt x="6760045" y="2934349"/>
                </a:lnTo>
                <a:close/>
                <a:moveTo>
                  <a:pt x="6542903" y="2933916"/>
                </a:moveTo>
                <a:lnTo>
                  <a:pt x="6548329" y="2941169"/>
                </a:lnTo>
                <a:lnTo>
                  <a:pt x="6546376" y="2947882"/>
                </a:lnTo>
                <a:lnTo>
                  <a:pt x="6542794" y="2947882"/>
                </a:lnTo>
                <a:lnTo>
                  <a:pt x="6543771" y="2944201"/>
                </a:lnTo>
                <a:lnTo>
                  <a:pt x="6541167" y="2944201"/>
                </a:lnTo>
                <a:lnTo>
                  <a:pt x="6536392" y="2939654"/>
                </a:lnTo>
                <a:lnTo>
                  <a:pt x="6538779" y="2936298"/>
                </a:lnTo>
                <a:close/>
                <a:moveTo>
                  <a:pt x="6731012" y="2932430"/>
                </a:moveTo>
                <a:lnTo>
                  <a:pt x="6732699" y="2933158"/>
                </a:lnTo>
                <a:lnTo>
                  <a:pt x="6740187" y="2932509"/>
                </a:lnTo>
                <a:lnTo>
                  <a:pt x="6750712" y="2932616"/>
                </a:lnTo>
                <a:lnTo>
                  <a:pt x="6750711" y="2932616"/>
                </a:lnTo>
                <a:lnTo>
                  <a:pt x="6740184" y="2932508"/>
                </a:lnTo>
                <a:lnTo>
                  <a:pt x="6732697" y="2933157"/>
                </a:lnTo>
                <a:close/>
                <a:moveTo>
                  <a:pt x="4921881" y="2932291"/>
                </a:moveTo>
                <a:lnTo>
                  <a:pt x="4925353" y="2934024"/>
                </a:lnTo>
                <a:lnTo>
                  <a:pt x="4928174" y="2939220"/>
                </a:lnTo>
                <a:lnTo>
                  <a:pt x="4932297" y="2941494"/>
                </a:lnTo>
                <a:lnTo>
                  <a:pt x="4937649" y="2940594"/>
                </a:lnTo>
                <a:lnTo>
                  <a:pt x="4932299" y="2941494"/>
                </a:lnTo>
                <a:lnTo>
                  <a:pt x="4928175" y="2939220"/>
                </a:lnTo>
                <a:lnTo>
                  <a:pt x="4925354" y="2934024"/>
                </a:lnTo>
                <a:lnTo>
                  <a:pt x="4921882" y="2932291"/>
                </a:lnTo>
                <a:close/>
                <a:moveTo>
                  <a:pt x="4964962" y="2931642"/>
                </a:moveTo>
                <a:lnTo>
                  <a:pt x="4957909" y="2932724"/>
                </a:lnTo>
                <a:lnTo>
                  <a:pt x="4957908" y="2932725"/>
                </a:lnTo>
                <a:lnTo>
                  <a:pt x="4964961" y="2931642"/>
                </a:lnTo>
                <a:close/>
                <a:moveTo>
                  <a:pt x="6728681" y="2931425"/>
                </a:moveTo>
                <a:lnTo>
                  <a:pt x="6723690" y="2937488"/>
                </a:lnTo>
                <a:lnTo>
                  <a:pt x="6724015" y="2940520"/>
                </a:lnTo>
                <a:lnTo>
                  <a:pt x="6721628" y="2944742"/>
                </a:lnTo>
                <a:lnTo>
                  <a:pt x="6721628" y="2948315"/>
                </a:lnTo>
                <a:lnTo>
                  <a:pt x="6716419" y="2966721"/>
                </a:lnTo>
                <a:lnTo>
                  <a:pt x="6709257" y="2977548"/>
                </a:lnTo>
                <a:lnTo>
                  <a:pt x="6705459" y="2987617"/>
                </a:lnTo>
                <a:lnTo>
                  <a:pt x="6695909" y="3001909"/>
                </a:lnTo>
                <a:lnTo>
                  <a:pt x="6696669" y="3005590"/>
                </a:lnTo>
                <a:lnTo>
                  <a:pt x="6685275" y="3007214"/>
                </a:lnTo>
                <a:lnTo>
                  <a:pt x="6675400" y="3012627"/>
                </a:lnTo>
                <a:lnTo>
                  <a:pt x="6669758" y="3012736"/>
                </a:lnTo>
                <a:lnTo>
                  <a:pt x="6669759" y="3012737"/>
                </a:lnTo>
                <a:lnTo>
                  <a:pt x="6675403" y="3012629"/>
                </a:lnTo>
                <a:lnTo>
                  <a:pt x="6685278" y="3007215"/>
                </a:lnTo>
                <a:lnTo>
                  <a:pt x="6696672" y="3005592"/>
                </a:lnTo>
                <a:lnTo>
                  <a:pt x="6695912" y="3001910"/>
                </a:lnTo>
                <a:lnTo>
                  <a:pt x="6705461" y="2987619"/>
                </a:lnTo>
                <a:lnTo>
                  <a:pt x="6709260" y="2977549"/>
                </a:lnTo>
                <a:lnTo>
                  <a:pt x="6716422" y="2966723"/>
                </a:lnTo>
                <a:lnTo>
                  <a:pt x="6721631" y="2948316"/>
                </a:lnTo>
                <a:lnTo>
                  <a:pt x="6721631" y="2944743"/>
                </a:lnTo>
                <a:lnTo>
                  <a:pt x="6724018" y="2940520"/>
                </a:lnTo>
                <a:lnTo>
                  <a:pt x="6723692" y="2937489"/>
                </a:lnTo>
                <a:lnTo>
                  <a:pt x="6728684" y="2931426"/>
                </a:lnTo>
                <a:close/>
                <a:moveTo>
                  <a:pt x="4384506" y="2930235"/>
                </a:moveTo>
                <a:lnTo>
                  <a:pt x="4384506" y="2932942"/>
                </a:lnTo>
                <a:lnTo>
                  <a:pt x="4388304" y="2938030"/>
                </a:lnTo>
                <a:lnTo>
                  <a:pt x="4388304" y="2938029"/>
                </a:lnTo>
                <a:lnTo>
                  <a:pt x="4384506" y="2932941"/>
                </a:lnTo>
                <a:lnTo>
                  <a:pt x="4384506" y="2930235"/>
                </a:lnTo>
                <a:close/>
                <a:moveTo>
                  <a:pt x="6987280" y="2930127"/>
                </a:moveTo>
                <a:lnTo>
                  <a:pt x="6990426" y="2932184"/>
                </a:lnTo>
                <a:lnTo>
                  <a:pt x="6991620" y="2936731"/>
                </a:lnTo>
                <a:lnTo>
                  <a:pt x="6989667" y="2940845"/>
                </a:lnTo>
                <a:lnTo>
                  <a:pt x="6987280" y="2941928"/>
                </a:lnTo>
                <a:lnTo>
                  <a:pt x="6986737" y="2937489"/>
                </a:lnTo>
                <a:lnTo>
                  <a:pt x="6985000" y="2931643"/>
                </a:lnTo>
                <a:close/>
                <a:moveTo>
                  <a:pt x="4473706" y="2928394"/>
                </a:moveTo>
                <a:lnTo>
                  <a:pt x="4474140" y="2930992"/>
                </a:lnTo>
                <a:lnTo>
                  <a:pt x="4476636" y="2933049"/>
                </a:lnTo>
                <a:lnTo>
                  <a:pt x="4475768" y="2934997"/>
                </a:lnTo>
                <a:lnTo>
                  <a:pt x="4476636" y="2933049"/>
                </a:lnTo>
                <a:lnTo>
                  <a:pt x="4474141" y="2930991"/>
                </a:lnTo>
                <a:close/>
                <a:moveTo>
                  <a:pt x="6690376" y="2928178"/>
                </a:moveTo>
                <a:lnTo>
                  <a:pt x="6694499" y="2935215"/>
                </a:lnTo>
                <a:lnTo>
                  <a:pt x="6697361" y="2937406"/>
                </a:lnTo>
                <a:lnTo>
                  <a:pt x="6694500" y="2935215"/>
                </a:lnTo>
                <a:close/>
                <a:moveTo>
                  <a:pt x="2337045" y="2927893"/>
                </a:moveTo>
                <a:lnTo>
                  <a:pt x="2336689" y="2929043"/>
                </a:lnTo>
                <a:lnTo>
                  <a:pt x="2336689" y="2929043"/>
                </a:lnTo>
                <a:close/>
                <a:moveTo>
                  <a:pt x="4655655" y="2926341"/>
                </a:moveTo>
                <a:lnTo>
                  <a:pt x="4656665" y="2928393"/>
                </a:lnTo>
                <a:lnTo>
                  <a:pt x="4659378" y="2931533"/>
                </a:lnTo>
                <a:lnTo>
                  <a:pt x="4660680" y="2933590"/>
                </a:lnTo>
                <a:lnTo>
                  <a:pt x="4659378" y="2931533"/>
                </a:lnTo>
                <a:lnTo>
                  <a:pt x="4656665" y="2928394"/>
                </a:lnTo>
                <a:close/>
                <a:moveTo>
                  <a:pt x="4830956" y="2925851"/>
                </a:moveTo>
                <a:lnTo>
                  <a:pt x="4834633" y="2928177"/>
                </a:lnTo>
                <a:lnTo>
                  <a:pt x="4844725" y="2937705"/>
                </a:lnTo>
                <a:lnTo>
                  <a:pt x="4850585" y="2941711"/>
                </a:lnTo>
                <a:lnTo>
                  <a:pt x="4854492" y="2946258"/>
                </a:lnTo>
                <a:lnTo>
                  <a:pt x="4858290" y="2947449"/>
                </a:lnTo>
                <a:lnTo>
                  <a:pt x="4858291" y="2947449"/>
                </a:lnTo>
                <a:lnTo>
                  <a:pt x="4854493" y="2946258"/>
                </a:lnTo>
                <a:lnTo>
                  <a:pt x="4850586" y="2941711"/>
                </a:lnTo>
                <a:lnTo>
                  <a:pt x="4844726" y="2937704"/>
                </a:lnTo>
                <a:lnTo>
                  <a:pt x="4834634" y="2928177"/>
                </a:lnTo>
                <a:close/>
                <a:moveTo>
                  <a:pt x="4389715" y="2925795"/>
                </a:moveTo>
                <a:lnTo>
                  <a:pt x="4389714" y="2925796"/>
                </a:lnTo>
                <a:lnTo>
                  <a:pt x="4389714" y="2928394"/>
                </a:lnTo>
                <a:lnTo>
                  <a:pt x="4389715" y="2928393"/>
                </a:lnTo>
                <a:close/>
                <a:moveTo>
                  <a:pt x="4608126" y="2925644"/>
                </a:moveTo>
                <a:lnTo>
                  <a:pt x="4608375" y="2925903"/>
                </a:lnTo>
                <a:lnTo>
                  <a:pt x="4608376" y="2925903"/>
                </a:lnTo>
                <a:close/>
                <a:moveTo>
                  <a:pt x="4975922" y="2925470"/>
                </a:moveTo>
                <a:lnTo>
                  <a:pt x="4972536" y="2927435"/>
                </a:lnTo>
                <a:lnTo>
                  <a:pt x="4975922" y="2925471"/>
                </a:lnTo>
                <a:close/>
                <a:moveTo>
                  <a:pt x="2659591" y="2923041"/>
                </a:moveTo>
                <a:lnTo>
                  <a:pt x="2659851" y="2923738"/>
                </a:lnTo>
                <a:lnTo>
                  <a:pt x="2659540" y="2926838"/>
                </a:lnTo>
                <a:lnTo>
                  <a:pt x="2659851" y="2923739"/>
                </a:lnTo>
                <a:close/>
                <a:moveTo>
                  <a:pt x="4601911" y="2921093"/>
                </a:moveTo>
                <a:lnTo>
                  <a:pt x="4602841" y="2922222"/>
                </a:lnTo>
                <a:lnTo>
                  <a:pt x="4601912" y="2921094"/>
                </a:lnTo>
                <a:close/>
                <a:moveTo>
                  <a:pt x="6808226" y="2919841"/>
                </a:moveTo>
                <a:lnTo>
                  <a:pt x="6809420" y="2923306"/>
                </a:lnTo>
                <a:lnTo>
                  <a:pt x="6809420" y="2927095"/>
                </a:lnTo>
                <a:lnTo>
                  <a:pt x="6807358" y="2922765"/>
                </a:lnTo>
                <a:close/>
                <a:moveTo>
                  <a:pt x="4392428" y="2919732"/>
                </a:moveTo>
                <a:lnTo>
                  <a:pt x="4392427" y="2919733"/>
                </a:lnTo>
                <a:lnTo>
                  <a:pt x="4391884" y="2923089"/>
                </a:lnTo>
                <a:lnTo>
                  <a:pt x="4391136" y="2924022"/>
                </a:lnTo>
                <a:lnTo>
                  <a:pt x="4391885" y="2923088"/>
                </a:lnTo>
                <a:close/>
                <a:moveTo>
                  <a:pt x="4987967" y="2917242"/>
                </a:moveTo>
                <a:lnTo>
                  <a:pt x="4983844" y="2917567"/>
                </a:lnTo>
                <a:lnTo>
                  <a:pt x="4983843" y="2917567"/>
                </a:lnTo>
                <a:lnTo>
                  <a:pt x="4987967" y="2917242"/>
                </a:lnTo>
                <a:close/>
                <a:moveTo>
                  <a:pt x="2524639" y="2915296"/>
                </a:moveTo>
                <a:lnTo>
                  <a:pt x="2524639" y="2920057"/>
                </a:lnTo>
                <a:lnTo>
                  <a:pt x="2521709" y="2924713"/>
                </a:lnTo>
                <a:lnTo>
                  <a:pt x="2519648" y="2927636"/>
                </a:lnTo>
                <a:lnTo>
                  <a:pt x="2521042" y="2928331"/>
                </a:lnTo>
                <a:lnTo>
                  <a:pt x="2522143" y="2926769"/>
                </a:lnTo>
                <a:lnTo>
                  <a:pt x="2525073" y="2922114"/>
                </a:lnTo>
                <a:lnTo>
                  <a:pt x="2525073" y="2915834"/>
                </a:lnTo>
                <a:close/>
                <a:moveTo>
                  <a:pt x="4151931" y="2915264"/>
                </a:moveTo>
                <a:lnTo>
                  <a:pt x="4146095" y="2922005"/>
                </a:lnTo>
                <a:lnTo>
                  <a:pt x="4146095" y="2922006"/>
                </a:lnTo>
                <a:close/>
                <a:moveTo>
                  <a:pt x="4598750" y="2914851"/>
                </a:moveTo>
                <a:lnTo>
                  <a:pt x="4598717" y="2915184"/>
                </a:lnTo>
                <a:lnTo>
                  <a:pt x="4598717" y="2915184"/>
                </a:lnTo>
                <a:lnTo>
                  <a:pt x="4598751" y="2914852"/>
                </a:lnTo>
                <a:close/>
                <a:moveTo>
                  <a:pt x="5007393" y="2913777"/>
                </a:moveTo>
                <a:lnTo>
                  <a:pt x="4992526" y="2914426"/>
                </a:lnTo>
                <a:lnTo>
                  <a:pt x="4992525" y="2914427"/>
                </a:lnTo>
                <a:lnTo>
                  <a:pt x="5007391" y="2913778"/>
                </a:lnTo>
                <a:lnTo>
                  <a:pt x="5022041" y="2914210"/>
                </a:lnTo>
                <a:lnTo>
                  <a:pt x="5022042" y="2914210"/>
                </a:lnTo>
                <a:close/>
                <a:moveTo>
                  <a:pt x="4154776" y="2908905"/>
                </a:moveTo>
                <a:lnTo>
                  <a:pt x="4153707" y="2911456"/>
                </a:lnTo>
                <a:lnTo>
                  <a:pt x="4154776" y="2908906"/>
                </a:lnTo>
                <a:close/>
                <a:moveTo>
                  <a:pt x="4547227" y="2908062"/>
                </a:moveTo>
                <a:lnTo>
                  <a:pt x="4547063" y="2909447"/>
                </a:lnTo>
                <a:lnTo>
                  <a:pt x="4548040" y="2911071"/>
                </a:lnTo>
                <a:lnTo>
                  <a:pt x="4548040" y="2911070"/>
                </a:lnTo>
                <a:lnTo>
                  <a:pt x="4547063" y="2909446"/>
                </a:lnTo>
                <a:close/>
                <a:moveTo>
                  <a:pt x="6828193" y="2907714"/>
                </a:moveTo>
                <a:lnTo>
                  <a:pt x="6828627" y="2911287"/>
                </a:lnTo>
                <a:lnTo>
                  <a:pt x="6823093" y="2915184"/>
                </a:lnTo>
                <a:lnTo>
                  <a:pt x="6817884" y="2916375"/>
                </a:lnTo>
                <a:lnTo>
                  <a:pt x="6816581" y="2914860"/>
                </a:lnTo>
                <a:lnTo>
                  <a:pt x="6824503" y="2908363"/>
                </a:lnTo>
                <a:close/>
                <a:moveTo>
                  <a:pt x="4798388" y="2906523"/>
                </a:moveTo>
                <a:lnTo>
                  <a:pt x="4798388" y="2920923"/>
                </a:lnTo>
                <a:lnTo>
                  <a:pt x="4802512" y="2925471"/>
                </a:lnTo>
                <a:lnTo>
                  <a:pt x="4807178" y="2926445"/>
                </a:lnTo>
                <a:lnTo>
                  <a:pt x="4812604" y="2924604"/>
                </a:lnTo>
                <a:lnTo>
                  <a:pt x="4818573" y="2926120"/>
                </a:lnTo>
                <a:lnTo>
                  <a:pt x="4823988" y="2925766"/>
                </a:lnTo>
                <a:lnTo>
                  <a:pt x="4818573" y="2926120"/>
                </a:lnTo>
                <a:lnTo>
                  <a:pt x="4812605" y="2924604"/>
                </a:lnTo>
                <a:lnTo>
                  <a:pt x="4807178" y="2926444"/>
                </a:lnTo>
                <a:lnTo>
                  <a:pt x="4802512" y="2925470"/>
                </a:lnTo>
                <a:lnTo>
                  <a:pt x="4798389" y="2920922"/>
                </a:lnTo>
                <a:lnTo>
                  <a:pt x="4798389" y="2906523"/>
                </a:lnTo>
                <a:close/>
                <a:moveTo>
                  <a:pt x="2345045" y="2906414"/>
                </a:moveTo>
                <a:lnTo>
                  <a:pt x="2339294" y="2908147"/>
                </a:lnTo>
                <a:lnTo>
                  <a:pt x="2339294" y="2908147"/>
                </a:lnTo>
                <a:lnTo>
                  <a:pt x="2345044" y="2906415"/>
                </a:lnTo>
                <a:close/>
                <a:moveTo>
                  <a:pt x="4786214" y="2903880"/>
                </a:moveTo>
                <a:lnTo>
                  <a:pt x="4785693" y="2904465"/>
                </a:lnTo>
                <a:lnTo>
                  <a:pt x="4785693" y="2904465"/>
                </a:lnTo>
                <a:close/>
                <a:moveTo>
                  <a:pt x="2346564" y="2903491"/>
                </a:moveTo>
                <a:lnTo>
                  <a:pt x="2345762" y="2905034"/>
                </a:lnTo>
                <a:lnTo>
                  <a:pt x="2346564" y="2903492"/>
                </a:lnTo>
                <a:close/>
                <a:moveTo>
                  <a:pt x="6345944" y="2902626"/>
                </a:moveTo>
                <a:lnTo>
                  <a:pt x="6348006" y="2903168"/>
                </a:lnTo>
                <a:lnTo>
                  <a:pt x="6350503" y="2906524"/>
                </a:lnTo>
                <a:lnTo>
                  <a:pt x="6351370" y="2909772"/>
                </a:lnTo>
                <a:lnTo>
                  <a:pt x="6349417" y="2911071"/>
                </a:lnTo>
                <a:lnTo>
                  <a:pt x="6346921" y="2907606"/>
                </a:lnTo>
                <a:close/>
                <a:moveTo>
                  <a:pt x="4787429" y="2902517"/>
                </a:moveTo>
                <a:lnTo>
                  <a:pt x="4787429" y="2902517"/>
                </a:lnTo>
                <a:lnTo>
                  <a:pt x="4790033" y="2906956"/>
                </a:lnTo>
                <a:lnTo>
                  <a:pt x="4794699" y="2905982"/>
                </a:lnTo>
                <a:lnTo>
                  <a:pt x="4796696" y="2906275"/>
                </a:lnTo>
                <a:lnTo>
                  <a:pt x="4794699" y="2905981"/>
                </a:lnTo>
                <a:lnTo>
                  <a:pt x="4790033" y="2906955"/>
                </a:lnTo>
                <a:close/>
                <a:moveTo>
                  <a:pt x="6233956" y="2901544"/>
                </a:moveTo>
                <a:lnTo>
                  <a:pt x="6243831" y="2902951"/>
                </a:lnTo>
                <a:lnTo>
                  <a:pt x="6254792" y="2910531"/>
                </a:lnTo>
                <a:lnTo>
                  <a:pt x="6258264" y="2912695"/>
                </a:lnTo>
                <a:lnTo>
                  <a:pt x="6265317" y="2910855"/>
                </a:lnTo>
                <a:lnTo>
                  <a:pt x="6271395" y="2911072"/>
                </a:lnTo>
                <a:lnTo>
                  <a:pt x="6273999" y="2912695"/>
                </a:lnTo>
                <a:lnTo>
                  <a:pt x="6277255" y="2911505"/>
                </a:lnTo>
                <a:lnTo>
                  <a:pt x="6282246" y="2911505"/>
                </a:lnTo>
                <a:lnTo>
                  <a:pt x="6287780" y="2913562"/>
                </a:lnTo>
                <a:lnTo>
                  <a:pt x="6291253" y="2919733"/>
                </a:lnTo>
                <a:lnTo>
                  <a:pt x="6293206" y="2920491"/>
                </a:lnTo>
                <a:lnTo>
                  <a:pt x="6296028" y="2926338"/>
                </a:lnTo>
                <a:lnTo>
                  <a:pt x="6300803" y="2928828"/>
                </a:lnTo>
                <a:lnTo>
                  <a:pt x="6302104" y="2936407"/>
                </a:lnTo>
                <a:lnTo>
                  <a:pt x="6303624" y="2940088"/>
                </a:lnTo>
                <a:lnTo>
                  <a:pt x="6309266" y="2940955"/>
                </a:lnTo>
                <a:lnTo>
                  <a:pt x="6314910" y="2947234"/>
                </a:lnTo>
                <a:lnTo>
                  <a:pt x="6319576" y="2947775"/>
                </a:lnTo>
                <a:lnTo>
                  <a:pt x="6333358" y="2956870"/>
                </a:lnTo>
                <a:lnTo>
                  <a:pt x="6335311" y="2960118"/>
                </a:lnTo>
                <a:lnTo>
                  <a:pt x="6340411" y="2961201"/>
                </a:lnTo>
                <a:lnTo>
                  <a:pt x="6344752" y="2966723"/>
                </a:lnTo>
                <a:lnTo>
                  <a:pt x="6345078" y="2973761"/>
                </a:lnTo>
                <a:lnTo>
                  <a:pt x="6347573" y="2977225"/>
                </a:lnTo>
                <a:lnTo>
                  <a:pt x="6350828" y="2973977"/>
                </a:lnTo>
                <a:lnTo>
                  <a:pt x="6352240" y="2980257"/>
                </a:lnTo>
                <a:lnTo>
                  <a:pt x="6354953" y="2982206"/>
                </a:lnTo>
                <a:lnTo>
                  <a:pt x="6356146" y="2979932"/>
                </a:lnTo>
                <a:lnTo>
                  <a:pt x="6361789" y="2980257"/>
                </a:lnTo>
                <a:lnTo>
                  <a:pt x="6370796" y="2985237"/>
                </a:lnTo>
                <a:lnTo>
                  <a:pt x="6377633" y="2992166"/>
                </a:lnTo>
                <a:lnTo>
                  <a:pt x="6378826" y="3000936"/>
                </a:lnTo>
                <a:lnTo>
                  <a:pt x="6382624" y="3003968"/>
                </a:lnTo>
                <a:lnTo>
                  <a:pt x="6385771" y="3002993"/>
                </a:lnTo>
                <a:lnTo>
                  <a:pt x="6389027" y="3003751"/>
                </a:lnTo>
                <a:lnTo>
                  <a:pt x="6399119" y="3013604"/>
                </a:lnTo>
                <a:lnTo>
                  <a:pt x="6399878" y="3019775"/>
                </a:lnTo>
                <a:lnTo>
                  <a:pt x="6399878" y="3022915"/>
                </a:lnTo>
                <a:lnTo>
                  <a:pt x="6405847" y="3027895"/>
                </a:lnTo>
                <a:lnTo>
                  <a:pt x="6414203" y="3027571"/>
                </a:lnTo>
                <a:lnTo>
                  <a:pt x="6419629" y="3030169"/>
                </a:lnTo>
                <a:lnTo>
                  <a:pt x="6420714" y="3033201"/>
                </a:lnTo>
                <a:lnTo>
                  <a:pt x="6418434" y="3036449"/>
                </a:lnTo>
                <a:lnTo>
                  <a:pt x="6416156" y="3037099"/>
                </a:lnTo>
                <a:lnTo>
                  <a:pt x="6413877" y="3039156"/>
                </a:lnTo>
                <a:lnTo>
                  <a:pt x="6410513" y="3039914"/>
                </a:lnTo>
                <a:lnTo>
                  <a:pt x="6416481" y="3039481"/>
                </a:lnTo>
                <a:lnTo>
                  <a:pt x="6421473" y="3036449"/>
                </a:lnTo>
                <a:lnTo>
                  <a:pt x="6427008" y="3032767"/>
                </a:lnTo>
                <a:lnTo>
                  <a:pt x="6431131" y="3033309"/>
                </a:lnTo>
                <a:lnTo>
                  <a:pt x="6438511" y="3041430"/>
                </a:lnTo>
                <a:lnTo>
                  <a:pt x="6439921" y="3046301"/>
                </a:lnTo>
                <a:lnTo>
                  <a:pt x="6432759" y="3047493"/>
                </a:lnTo>
                <a:lnTo>
                  <a:pt x="6427116" y="3051715"/>
                </a:lnTo>
                <a:lnTo>
                  <a:pt x="6423427" y="3055072"/>
                </a:lnTo>
                <a:lnTo>
                  <a:pt x="6428635" y="3053123"/>
                </a:lnTo>
                <a:lnTo>
                  <a:pt x="6431456" y="3054313"/>
                </a:lnTo>
                <a:lnTo>
                  <a:pt x="6436666" y="3053448"/>
                </a:lnTo>
                <a:lnTo>
                  <a:pt x="6440247" y="3055397"/>
                </a:lnTo>
                <a:lnTo>
                  <a:pt x="6434712" y="3058536"/>
                </a:lnTo>
                <a:lnTo>
                  <a:pt x="6429829" y="3060701"/>
                </a:lnTo>
                <a:lnTo>
                  <a:pt x="6429720" y="3064707"/>
                </a:lnTo>
                <a:lnTo>
                  <a:pt x="6437751" y="3070229"/>
                </a:lnTo>
                <a:lnTo>
                  <a:pt x="6447083" y="3070338"/>
                </a:lnTo>
                <a:lnTo>
                  <a:pt x="6449579" y="3072611"/>
                </a:lnTo>
                <a:lnTo>
                  <a:pt x="6455222" y="3070338"/>
                </a:lnTo>
                <a:lnTo>
                  <a:pt x="6455872" y="3082031"/>
                </a:lnTo>
                <a:lnTo>
                  <a:pt x="6457826" y="3087228"/>
                </a:lnTo>
                <a:lnTo>
                  <a:pt x="6455548" y="3091884"/>
                </a:lnTo>
                <a:lnTo>
                  <a:pt x="6458694" y="3089935"/>
                </a:lnTo>
                <a:lnTo>
                  <a:pt x="6462167" y="3094590"/>
                </a:lnTo>
                <a:lnTo>
                  <a:pt x="6462818" y="3101628"/>
                </a:lnTo>
                <a:lnTo>
                  <a:pt x="6467484" y="3102386"/>
                </a:lnTo>
                <a:lnTo>
                  <a:pt x="6474646" y="3101412"/>
                </a:lnTo>
                <a:lnTo>
                  <a:pt x="6479204" y="3103360"/>
                </a:lnTo>
                <a:lnTo>
                  <a:pt x="6480506" y="3107150"/>
                </a:lnTo>
                <a:lnTo>
                  <a:pt x="6483437" y="3108666"/>
                </a:lnTo>
                <a:lnTo>
                  <a:pt x="6485390" y="3114188"/>
                </a:lnTo>
                <a:lnTo>
                  <a:pt x="6489622" y="3117652"/>
                </a:lnTo>
                <a:lnTo>
                  <a:pt x="6493311" y="3119384"/>
                </a:lnTo>
                <a:lnTo>
                  <a:pt x="6493962" y="3123823"/>
                </a:lnTo>
                <a:lnTo>
                  <a:pt x="6492118" y="3127288"/>
                </a:lnTo>
                <a:lnTo>
                  <a:pt x="6487776" y="3129129"/>
                </a:lnTo>
                <a:lnTo>
                  <a:pt x="6487452" y="3136708"/>
                </a:lnTo>
                <a:lnTo>
                  <a:pt x="6489513" y="3140281"/>
                </a:lnTo>
                <a:lnTo>
                  <a:pt x="6485499" y="3149808"/>
                </a:lnTo>
                <a:lnTo>
                  <a:pt x="6488103" y="3158579"/>
                </a:lnTo>
                <a:lnTo>
                  <a:pt x="6485715" y="3171571"/>
                </a:lnTo>
                <a:lnTo>
                  <a:pt x="6486258" y="3182289"/>
                </a:lnTo>
                <a:lnTo>
                  <a:pt x="6483002" y="3185538"/>
                </a:lnTo>
                <a:lnTo>
                  <a:pt x="6480180" y="3184347"/>
                </a:lnTo>
                <a:lnTo>
                  <a:pt x="6475840" y="3177634"/>
                </a:lnTo>
                <a:lnTo>
                  <a:pt x="6471933" y="3176768"/>
                </a:lnTo>
                <a:lnTo>
                  <a:pt x="6469980" y="3180016"/>
                </a:lnTo>
                <a:lnTo>
                  <a:pt x="6469872" y="3186187"/>
                </a:lnTo>
                <a:lnTo>
                  <a:pt x="6467919" y="3187811"/>
                </a:lnTo>
                <a:lnTo>
                  <a:pt x="6458694" y="3179150"/>
                </a:lnTo>
                <a:lnTo>
                  <a:pt x="6454354" y="3178283"/>
                </a:lnTo>
                <a:lnTo>
                  <a:pt x="6454354" y="3180882"/>
                </a:lnTo>
                <a:lnTo>
                  <a:pt x="6455764" y="3183264"/>
                </a:lnTo>
                <a:lnTo>
                  <a:pt x="6455764" y="3187920"/>
                </a:lnTo>
                <a:lnTo>
                  <a:pt x="6454028" y="3189977"/>
                </a:lnTo>
                <a:lnTo>
                  <a:pt x="6450773" y="3184455"/>
                </a:lnTo>
                <a:lnTo>
                  <a:pt x="6447626" y="3183156"/>
                </a:lnTo>
                <a:lnTo>
                  <a:pt x="6446432" y="3178175"/>
                </a:lnTo>
                <a:lnTo>
                  <a:pt x="6432325" y="3165724"/>
                </a:lnTo>
                <a:lnTo>
                  <a:pt x="6425380" y="3163883"/>
                </a:lnTo>
                <a:lnTo>
                  <a:pt x="6422992" y="3158686"/>
                </a:lnTo>
                <a:lnTo>
                  <a:pt x="6412357" y="3151974"/>
                </a:lnTo>
                <a:lnTo>
                  <a:pt x="6406064" y="3145153"/>
                </a:lnTo>
                <a:lnTo>
                  <a:pt x="6400964" y="3141904"/>
                </a:lnTo>
                <a:lnTo>
                  <a:pt x="6400096" y="3134975"/>
                </a:lnTo>
                <a:lnTo>
                  <a:pt x="6394236" y="3131186"/>
                </a:lnTo>
                <a:lnTo>
                  <a:pt x="6391848" y="3128479"/>
                </a:lnTo>
                <a:lnTo>
                  <a:pt x="6385121" y="3127071"/>
                </a:lnTo>
                <a:lnTo>
                  <a:pt x="6382624" y="3121225"/>
                </a:lnTo>
                <a:lnTo>
                  <a:pt x="6373943" y="3110398"/>
                </a:lnTo>
                <a:lnTo>
                  <a:pt x="6365262" y="3103902"/>
                </a:lnTo>
                <a:lnTo>
                  <a:pt x="6363091" y="3097839"/>
                </a:lnTo>
                <a:lnTo>
                  <a:pt x="6363525" y="3091125"/>
                </a:lnTo>
                <a:lnTo>
                  <a:pt x="6354627" y="3074668"/>
                </a:lnTo>
                <a:lnTo>
                  <a:pt x="6353541" y="3062975"/>
                </a:lnTo>
                <a:lnTo>
                  <a:pt x="6348116" y="3058861"/>
                </a:lnTo>
                <a:lnTo>
                  <a:pt x="6342147" y="3048576"/>
                </a:lnTo>
                <a:lnTo>
                  <a:pt x="6342147" y="3044461"/>
                </a:lnTo>
                <a:lnTo>
                  <a:pt x="6335094" y="3039589"/>
                </a:lnTo>
                <a:lnTo>
                  <a:pt x="6328908" y="3037640"/>
                </a:lnTo>
                <a:lnTo>
                  <a:pt x="6326630" y="3030819"/>
                </a:lnTo>
                <a:lnTo>
                  <a:pt x="6321855" y="3018152"/>
                </a:lnTo>
                <a:lnTo>
                  <a:pt x="6322072" y="3016527"/>
                </a:lnTo>
                <a:lnTo>
                  <a:pt x="6319793" y="3010573"/>
                </a:lnTo>
                <a:lnTo>
                  <a:pt x="6316754" y="3007216"/>
                </a:lnTo>
                <a:lnTo>
                  <a:pt x="6318600" y="3003859"/>
                </a:lnTo>
                <a:lnTo>
                  <a:pt x="6317731" y="3001261"/>
                </a:lnTo>
                <a:lnTo>
                  <a:pt x="6314910" y="3001694"/>
                </a:lnTo>
                <a:lnTo>
                  <a:pt x="6311654" y="2999854"/>
                </a:lnTo>
                <a:lnTo>
                  <a:pt x="6305252" y="2991841"/>
                </a:lnTo>
                <a:lnTo>
                  <a:pt x="6300260" y="2991841"/>
                </a:lnTo>
                <a:lnTo>
                  <a:pt x="6297221" y="2989135"/>
                </a:lnTo>
                <a:lnTo>
                  <a:pt x="6296353" y="2982963"/>
                </a:lnTo>
                <a:lnTo>
                  <a:pt x="6294075" y="2981123"/>
                </a:lnTo>
                <a:lnTo>
                  <a:pt x="6294075" y="2974951"/>
                </a:lnTo>
                <a:lnTo>
                  <a:pt x="6291687" y="2974951"/>
                </a:lnTo>
                <a:lnTo>
                  <a:pt x="6283223" y="2966831"/>
                </a:lnTo>
                <a:lnTo>
                  <a:pt x="6274867" y="2953406"/>
                </a:lnTo>
                <a:lnTo>
                  <a:pt x="6267054" y="2946909"/>
                </a:lnTo>
                <a:lnTo>
                  <a:pt x="6264015" y="2948100"/>
                </a:lnTo>
                <a:lnTo>
                  <a:pt x="6260326" y="2946801"/>
                </a:lnTo>
                <a:lnTo>
                  <a:pt x="6254032" y="2938898"/>
                </a:lnTo>
                <a:lnTo>
                  <a:pt x="6250885" y="2938898"/>
                </a:lnTo>
                <a:lnTo>
                  <a:pt x="6240576" y="2927529"/>
                </a:lnTo>
                <a:lnTo>
                  <a:pt x="6236778" y="2925796"/>
                </a:lnTo>
                <a:lnTo>
                  <a:pt x="6230700" y="2912804"/>
                </a:lnTo>
                <a:lnTo>
                  <a:pt x="6229507" y="2905875"/>
                </a:lnTo>
                <a:lnTo>
                  <a:pt x="6230592" y="2903276"/>
                </a:lnTo>
                <a:close/>
                <a:moveTo>
                  <a:pt x="2595609" y="2898619"/>
                </a:moveTo>
                <a:lnTo>
                  <a:pt x="2594416" y="2903383"/>
                </a:lnTo>
                <a:lnTo>
                  <a:pt x="2594524" y="2906739"/>
                </a:lnTo>
                <a:lnTo>
                  <a:pt x="2591160" y="2910637"/>
                </a:lnTo>
                <a:lnTo>
                  <a:pt x="2586820" y="2912910"/>
                </a:lnTo>
                <a:lnTo>
                  <a:pt x="2580959" y="2913127"/>
                </a:lnTo>
                <a:lnTo>
                  <a:pt x="2577921" y="2918973"/>
                </a:lnTo>
                <a:lnTo>
                  <a:pt x="2577704" y="2924062"/>
                </a:lnTo>
                <a:lnTo>
                  <a:pt x="2573689" y="2934023"/>
                </a:lnTo>
                <a:lnTo>
                  <a:pt x="2574123" y="2937055"/>
                </a:lnTo>
                <a:lnTo>
                  <a:pt x="2574123" y="2937055"/>
                </a:lnTo>
                <a:lnTo>
                  <a:pt x="2573689" y="2934023"/>
                </a:lnTo>
                <a:lnTo>
                  <a:pt x="2577704" y="2924063"/>
                </a:lnTo>
                <a:lnTo>
                  <a:pt x="2577921" y="2918974"/>
                </a:lnTo>
                <a:lnTo>
                  <a:pt x="2580959" y="2913127"/>
                </a:lnTo>
                <a:lnTo>
                  <a:pt x="2586820" y="2912911"/>
                </a:lnTo>
                <a:lnTo>
                  <a:pt x="2591160" y="2910637"/>
                </a:lnTo>
                <a:lnTo>
                  <a:pt x="2594524" y="2906739"/>
                </a:lnTo>
                <a:lnTo>
                  <a:pt x="2594416" y="2903383"/>
                </a:lnTo>
                <a:lnTo>
                  <a:pt x="2595609" y="2898619"/>
                </a:lnTo>
                <a:close/>
                <a:moveTo>
                  <a:pt x="3877299" y="2897646"/>
                </a:moveTo>
                <a:lnTo>
                  <a:pt x="3882833" y="2899270"/>
                </a:lnTo>
                <a:lnTo>
                  <a:pt x="3885112" y="2903168"/>
                </a:lnTo>
                <a:lnTo>
                  <a:pt x="3885112" y="2903167"/>
                </a:lnTo>
                <a:lnTo>
                  <a:pt x="3882833" y="2899269"/>
                </a:lnTo>
                <a:close/>
                <a:moveTo>
                  <a:pt x="4589533" y="2897634"/>
                </a:moveTo>
                <a:lnTo>
                  <a:pt x="4588950" y="2899378"/>
                </a:lnTo>
                <a:lnTo>
                  <a:pt x="4589818" y="2906631"/>
                </a:lnTo>
                <a:lnTo>
                  <a:pt x="4589839" y="2906647"/>
                </a:lnTo>
                <a:lnTo>
                  <a:pt x="4589839" y="2906646"/>
                </a:lnTo>
                <a:lnTo>
                  <a:pt x="4589819" y="2906631"/>
                </a:lnTo>
                <a:lnTo>
                  <a:pt x="4588951" y="2899377"/>
                </a:lnTo>
                <a:close/>
                <a:moveTo>
                  <a:pt x="4156404" y="2896346"/>
                </a:moveTo>
                <a:lnTo>
                  <a:pt x="4153583" y="2898186"/>
                </a:lnTo>
                <a:lnTo>
                  <a:pt x="4153583" y="2898187"/>
                </a:lnTo>
                <a:lnTo>
                  <a:pt x="4156404" y="2896347"/>
                </a:lnTo>
                <a:close/>
                <a:moveTo>
                  <a:pt x="6384251" y="2894504"/>
                </a:moveTo>
                <a:lnTo>
                  <a:pt x="6379910" y="2895046"/>
                </a:lnTo>
                <a:lnTo>
                  <a:pt x="6374593" y="2899593"/>
                </a:lnTo>
                <a:lnTo>
                  <a:pt x="6368191" y="2898078"/>
                </a:lnTo>
                <a:lnTo>
                  <a:pt x="6368191" y="2898079"/>
                </a:lnTo>
                <a:lnTo>
                  <a:pt x="6374593" y="2899594"/>
                </a:lnTo>
                <a:lnTo>
                  <a:pt x="6379910" y="2895047"/>
                </a:lnTo>
                <a:lnTo>
                  <a:pt x="6384252" y="2894506"/>
                </a:lnTo>
                <a:lnTo>
                  <a:pt x="6387506" y="2897212"/>
                </a:lnTo>
                <a:lnTo>
                  <a:pt x="6390762" y="2894830"/>
                </a:lnTo>
                <a:lnTo>
                  <a:pt x="6390762" y="2894830"/>
                </a:lnTo>
                <a:lnTo>
                  <a:pt x="6387506" y="2897212"/>
                </a:lnTo>
                <a:close/>
                <a:moveTo>
                  <a:pt x="4781869" y="2893516"/>
                </a:moveTo>
                <a:lnTo>
                  <a:pt x="4781869" y="2893517"/>
                </a:lnTo>
                <a:lnTo>
                  <a:pt x="4784172" y="2896129"/>
                </a:lnTo>
                <a:lnTo>
                  <a:pt x="4784388" y="2897317"/>
                </a:lnTo>
                <a:lnTo>
                  <a:pt x="4784390" y="2897319"/>
                </a:lnTo>
                <a:lnTo>
                  <a:pt x="4785006" y="2900700"/>
                </a:lnTo>
                <a:lnTo>
                  <a:pt x="4784174" y="2896129"/>
                </a:lnTo>
                <a:close/>
                <a:moveTo>
                  <a:pt x="6850547" y="2890391"/>
                </a:moveTo>
                <a:lnTo>
                  <a:pt x="6855973" y="2891474"/>
                </a:lnTo>
                <a:lnTo>
                  <a:pt x="6856081" y="2893531"/>
                </a:lnTo>
                <a:lnTo>
                  <a:pt x="6852717" y="2895263"/>
                </a:lnTo>
                <a:lnTo>
                  <a:pt x="6850547" y="2893964"/>
                </a:lnTo>
                <a:lnTo>
                  <a:pt x="6848594" y="2895371"/>
                </a:lnTo>
                <a:lnTo>
                  <a:pt x="6844470" y="2895263"/>
                </a:lnTo>
                <a:lnTo>
                  <a:pt x="6843059" y="2893639"/>
                </a:lnTo>
                <a:lnTo>
                  <a:pt x="6844904" y="2891582"/>
                </a:lnTo>
                <a:close/>
                <a:moveTo>
                  <a:pt x="4575930" y="2889817"/>
                </a:moveTo>
                <a:lnTo>
                  <a:pt x="4575928" y="2889850"/>
                </a:lnTo>
                <a:lnTo>
                  <a:pt x="4575930" y="2889852"/>
                </a:lnTo>
                <a:lnTo>
                  <a:pt x="4575930" y="2889850"/>
                </a:lnTo>
                <a:lnTo>
                  <a:pt x="4575929" y="2889849"/>
                </a:lnTo>
                <a:lnTo>
                  <a:pt x="4575930" y="2889837"/>
                </a:lnTo>
                <a:close/>
                <a:moveTo>
                  <a:pt x="2347179" y="2887371"/>
                </a:moveTo>
                <a:lnTo>
                  <a:pt x="2348517" y="2895479"/>
                </a:lnTo>
                <a:lnTo>
                  <a:pt x="2346564" y="2899269"/>
                </a:lnTo>
                <a:lnTo>
                  <a:pt x="2348517" y="2895479"/>
                </a:lnTo>
                <a:close/>
                <a:moveTo>
                  <a:pt x="2319379" y="2886229"/>
                </a:moveTo>
                <a:lnTo>
                  <a:pt x="2321930" y="2887684"/>
                </a:lnTo>
                <a:lnTo>
                  <a:pt x="2323371" y="2886897"/>
                </a:lnTo>
                <a:lnTo>
                  <a:pt x="2321931" y="2887683"/>
                </a:lnTo>
                <a:close/>
                <a:moveTo>
                  <a:pt x="2314009" y="2884544"/>
                </a:moveTo>
                <a:lnTo>
                  <a:pt x="2313407" y="2884756"/>
                </a:lnTo>
                <a:lnTo>
                  <a:pt x="2314009" y="2884544"/>
                </a:lnTo>
                <a:lnTo>
                  <a:pt x="2317259" y="2885481"/>
                </a:lnTo>
                <a:close/>
                <a:moveTo>
                  <a:pt x="3963353" y="2884437"/>
                </a:moveTo>
                <a:lnTo>
                  <a:pt x="3965848" y="2885519"/>
                </a:lnTo>
                <a:lnTo>
                  <a:pt x="3965849" y="2885519"/>
                </a:lnTo>
                <a:close/>
                <a:moveTo>
                  <a:pt x="2343091" y="2884219"/>
                </a:moveTo>
                <a:lnTo>
                  <a:pt x="2339181" y="2884425"/>
                </a:lnTo>
                <a:lnTo>
                  <a:pt x="2343091" y="2884220"/>
                </a:lnTo>
                <a:lnTo>
                  <a:pt x="2345320" y="2885393"/>
                </a:lnTo>
                <a:close/>
                <a:moveTo>
                  <a:pt x="3752938" y="2883029"/>
                </a:moveTo>
                <a:lnTo>
                  <a:pt x="3755760" y="2886493"/>
                </a:lnTo>
                <a:lnTo>
                  <a:pt x="3752939" y="2883029"/>
                </a:lnTo>
                <a:close/>
                <a:moveTo>
                  <a:pt x="6363742" y="2881296"/>
                </a:moveTo>
                <a:lnTo>
                  <a:pt x="6363742" y="2881296"/>
                </a:lnTo>
                <a:lnTo>
                  <a:pt x="6368733" y="2881296"/>
                </a:lnTo>
                <a:lnTo>
                  <a:pt x="6371880" y="2884327"/>
                </a:lnTo>
                <a:lnTo>
                  <a:pt x="6371880" y="2884327"/>
                </a:lnTo>
                <a:lnTo>
                  <a:pt x="6368733" y="2881296"/>
                </a:lnTo>
                <a:close/>
                <a:moveTo>
                  <a:pt x="6838502" y="2879456"/>
                </a:moveTo>
                <a:lnTo>
                  <a:pt x="6839587" y="2881621"/>
                </a:lnTo>
                <a:lnTo>
                  <a:pt x="6838285" y="2884003"/>
                </a:lnTo>
                <a:lnTo>
                  <a:pt x="6835464" y="2883029"/>
                </a:lnTo>
                <a:close/>
                <a:moveTo>
                  <a:pt x="3741762" y="2878156"/>
                </a:moveTo>
                <a:lnTo>
                  <a:pt x="3741761" y="2878157"/>
                </a:lnTo>
                <a:lnTo>
                  <a:pt x="3743064" y="2882813"/>
                </a:lnTo>
                <a:lnTo>
                  <a:pt x="3744343" y="2883273"/>
                </a:lnTo>
                <a:lnTo>
                  <a:pt x="3743064" y="2882813"/>
                </a:lnTo>
                <a:close/>
                <a:moveTo>
                  <a:pt x="6356037" y="2876640"/>
                </a:moveTo>
                <a:lnTo>
                  <a:pt x="6356037" y="2876641"/>
                </a:lnTo>
                <a:lnTo>
                  <a:pt x="6362548" y="2878481"/>
                </a:lnTo>
                <a:lnTo>
                  <a:pt x="6362982" y="2879504"/>
                </a:lnTo>
                <a:lnTo>
                  <a:pt x="6362548" y="2878480"/>
                </a:lnTo>
                <a:close/>
                <a:moveTo>
                  <a:pt x="3872741" y="2876532"/>
                </a:moveTo>
                <a:lnTo>
                  <a:pt x="3870680" y="2877940"/>
                </a:lnTo>
                <a:lnTo>
                  <a:pt x="3872741" y="2876533"/>
                </a:lnTo>
                <a:close/>
                <a:moveTo>
                  <a:pt x="4173240" y="2874944"/>
                </a:moveTo>
                <a:lnTo>
                  <a:pt x="4173658" y="2878697"/>
                </a:lnTo>
                <a:lnTo>
                  <a:pt x="4166496" y="2883894"/>
                </a:lnTo>
                <a:lnTo>
                  <a:pt x="4164434" y="2886493"/>
                </a:lnTo>
                <a:lnTo>
                  <a:pt x="4160310" y="2889200"/>
                </a:lnTo>
                <a:lnTo>
                  <a:pt x="4156404" y="2892881"/>
                </a:lnTo>
                <a:lnTo>
                  <a:pt x="4156404" y="2892882"/>
                </a:lnTo>
                <a:lnTo>
                  <a:pt x="4160311" y="2889200"/>
                </a:lnTo>
                <a:lnTo>
                  <a:pt x="4164434" y="2886494"/>
                </a:lnTo>
                <a:lnTo>
                  <a:pt x="4166496" y="2883895"/>
                </a:lnTo>
                <a:lnTo>
                  <a:pt x="4173658" y="2878698"/>
                </a:lnTo>
                <a:close/>
                <a:moveTo>
                  <a:pt x="6334115" y="2874584"/>
                </a:moveTo>
                <a:lnTo>
                  <a:pt x="6335851" y="2875341"/>
                </a:lnTo>
                <a:lnTo>
                  <a:pt x="6336503" y="2878373"/>
                </a:lnTo>
                <a:lnTo>
                  <a:pt x="6334767" y="2879023"/>
                </a:lnTo>
                <a:lnTo>
                  <a:pt x="6332922" y="2875233"/>
                </a:lnTo>
                <a:close/>
                <a:moveTo>
                  <a:pt x="6873010" y="2873826"/>
                </a:moveTo>
                <a:lnTo>
                  <a:pt x="6875940" y="2875666"/>
                </a:lnTo>
                <a:lnTo>
                  <a:pt x="6878653" y="2876641"/>
                </a:lnTo>
                <a:lnTo>
                  <a:pt x="6878219" y="2878373"/>
                </a:lnTo>
                <a:lnTo>
                  <a:pt x="6872143" y="2883787"/>
                </a:lnTo>
                <a:lnTo>
                  <a:pt x="6869430" y="2882920"/>
                </a:lnTo>
                <a:lnTo>
                  <a:pt x="6866608" y="2878698"/>
                </a:lnTo>
                <a:lnTo>
                  <a:pt x="6866391" y="2876316"/>
                </a:lnTo>
                <a:lnTo>
                  <a:pt x="6870623" y="2875991"/>
                </a:lnTo>
                <a:close/>
                <a:moveTo>
                  <a:pt x="4567268" y="2872958"/>
                </a:moveTo>
                <a:lnTo>
                  <a:pt x="4567465" y="2877169"/>
                </a:lnTo>
                <a:lnTo>
                  <a:pt x="4567465" y="2877157"/>
                </a:lnTo>
                <a:lnTo>
                  <a:pt x="4567268" y="2872959"/>
                </a:lnTo>
                <a:close/>
                <a:moveTo>
                  <a:pt x="4771910" y="2872851"/>
                </a:moveTo>
                <a:lnTo>
                  <a:pt x="4774732" y="2876532"/>
                </a:lnTo>
                <a:lnTo>
                  <a:pt x="4776685" y="2880213"/>
                </a:lnTo>
                <a:lnTo>
                  <a:pt x="4780699" y="2884544"/>
                </a:lnTo>
                <a:lnTo>
                  <a:pt x="4780834" y="2885646"/>
                </a:lnTo>
                <a:lnTo>
                  <a:pt x="4780836" y="2885647"/>
                </a:lnTo>
                <a:lnTo>
                  <a:pt x="4780701" y="2884544"/>
                </a:lnTo>
                <a:lnTo>
                  <a:pt x="4776686" y="2880213"/>
                </a:lnTo>
                <a:lnTo>
                  <a:pt x="4774733" y="2876531"/>
                </a:lnTo>
                <a:lnTo>
                  <a:pt x="4771911" y="2872851"/>
                </a:lnTo>
                <a:close/>
                <a:moveTo>
                  <a:pt x="2507603" y="2871660"/>
                </a:moveTo>
                <a:lnTo>
                  <a:pt x="2507602" y="2871660"/>
                </a:lnTo>
                <a:lnTo>
                  <a:pt x="2511725" y="2873175"/>
                </a:lnTo>
                <a:lnTo>
                  <a:pt x="2511726" y="2873175"/>
                </a:lnTo>
                <a:close/>
                <a:moveTo>
                  <a:pt x="4765725" y="2871226"/>
                </a:moveTo>
                <a:lnTo>
                  <a:pt x="4765725" y="2871228"/>
                </a:lnTo>
                <a:lnTo>
                  <a:pt x="4767352" y="2872850"/>
                </a:lnTo>
                <a:lnTo>
                  <a:pt x="4767353" y="2872850"/>
                </a:lnTo>
                <a:close/>
                <a:moveTo>
                  <a:pt x="4191997" y="2871118"/>
                </a:moveTo>
                <a:lnTo>
                  <a:pt x="4189502" y="2871336"/>
                </a:lnTo>
                <a:lnTo>
                  <a:pt x="4191997" y="2871119"/>
                </a:lnTo>
                <a:lnTo>
                  <a:pt x="4194651" y="2872443"/>
                </a:lnTo>
                <a:close/>
                <a:moveTo>
                  <a:pt x="4765616" y="2869061"/>
                </a:moveTo>
                <a:lnTo>
                  <a:pt x="4765554" y="2870173"/>
                </a:lnTo>
                <a:lnTo>
                  <a:pt x="4765555" y="2870174"/>
                </a:lnTo>
                <a:lnTo>
                  <a:pt x="4765617" y="2869061"/>
                </a:lnTo>
                <a:close/>
                <a:moveTo>
                  <a:pt x="4181905" y="2868087"/>
                </a:moveTo>
                <a:lnTo>
                  <a:pt x="4179627" y="2871118"/>
                </a:lnTo>
                <a:lnTo>
                  <a:pt x="4174309" y="2871336"/>
                </a:lnTo>
                <a:lnTo>
                  <a:pt x="4173116" y="2873825"/>
                </a:lnTo>
                <a:lnTo>
                  <a:pt x="4173116" y="2873826"/>
                </a:lnTo>
                <a:lnTo>
                  <a:pt x="4174309" y="2871336"/>
                </a:lnTo>
                <a:lnTo>
                  <a:pt x="4179627" y="2871119"/>
                </a:lnTo>
                <a:lnTo>
                  <a:pt x="4181905" y="2868087"/>
                </a:lnTo>
                <a:lnTo>
                  <a:pt x="4182990" y="2869278"/>
                </a:lnTo>
                <a:lnTo>
                  <a:pt x="4187127" y="2870585"/>
                </a:lnTo>
                <a:lnTo>
                  <a:pt x="4182990" y="2869278"/>
                </a:lnTo>
                <a:close/>
                <a:moveTo>
                  <a:pt x="6752013" y="2867654"/>
                </a:moveTo>
                <a:lnTo>
                  <a:pt x="6756895" y="2870686"/>
                </a:lnTo>
                <a:lnTo>
                  <a:pt x="6757004" y="2877182"/>
                </a:lnTo>
                <a:lnTo>
                  <a:pt x="6761454" y="2881404"/>
                </a:lnTo>
                <a:lnTo>
                  <a:pt x="6763624" y="2879996"/>
                </a:lnTo>
                <a:lnTo>
                  <a:pt x="6769267" y="2883786"/>
                </a:lnTo>
                <a:lnTo>
                  <a:pt x="6769484" y="2886818"/>
                </a:lnTo>
                <a:lnTo>
                  <a:pt x="6765251" y="2888441"/>
                </a:lnTo>
                <a:lnTo>
                  <a:pt x="6765143" y="2895479"/>
                </a:lnTo>
                <a:lnTo>
                  <a:pt x="6766988" y="2896345"/>
                </a:lnTo>
                <a:lnTo>
                  <a:pt x="6769050" y="2898835"/>
                </a:lnTo>
                <a:lnTo>
                  <a:pt x="6772306" y="2894396"/>
                </a:lnTo>
                <a:lnTo>
                  <a:pt x="6774476" y="2893747"/>
                </a:lnTo>
                <a:lnTo>
                  <a:pt x="6776972" y="2896887"/>
                </a:lnTo>
                <a:lnTo>
                  <a:pt x="6771871" y="2901326"/>
                </a:lnTo>
                <a:lnTo>
                  <a:pt x="6774150" y="2903383"/>
                </a:lnTo>
                <a:lnTo>
                  <a:pt x="6777840" y="2899702"/>
                </a:lnTo>
                <a:lnTo>
                  <a:pt x="6781204" y="2899702"/>
                </a:lnTo>
                <a:lnTo>
                  <a:pt x="6786955" y="2905440"/>
                </a:lnTo>
                <a:lnTo>
                  <a:pt x="6791187" y="2905116"/>
                </a:lnTo>
                <a:lnTo>
                  <a:pt x="6795311" y="2908797"/>
                </a:lnTo>
                <a:lnTo>
                  <a:pt x="6800845" y="2909879"/>
                </a:lnTo>
                <a:lnTo>
                  <a:pt x="6804535" y="2909879"/>
                </a:lnTo>
                <a:lnTo>
                  <a:pt x="6805620" y="2913669"/>
                </a:lnTo>
                <a:lnTo>
                  <a:pt x="6800628" y="2917458"/>
                </a:lnTo>
                <a:lnTo>
                  <a:pt x="6792706" y="2919299"/>
                </a:lnTo>
                <a:lnTo>
                  <a:pt x="6783048" y="2918541"/>
                </a:lnTo>
                <a:lnTo>
                  <a:pt x="6780118" y="2920598"/>
                </a:lnTo>
                <a:lnTo>
                  <a:pt x="6780118" y="2926769"/>
                </a:lnTo>
                <a:lnTo>
                  <a:pt x="6786521" y="2932075"/>
                </a:lnTo>
                <a:lnTo>
                  <a:pt x="6786521" y="2934781"/>
                </a:lnTo>
                <a:lnTo>
                  <a:pt x="6780335" y="2936081"/>
                </a:lnTo>
                <a:lnTo>
                  <a:pt x="6775344" y="2938571"/>
                </a:lnTo>
                <a:lnTo>
                  <a:pt x="6771329" y="2937597"/>
                </a:lnTo>
                <a:lnTo>
                  <a:pt x="6765686" y="2933807"/>
                </a:lnTo>
                <a:lnTo>
                  <a:pt x="6765251" y="2935972"/>
                </a:lnTo>
                <a:lnTo>
                  <a:pt x="6765254" y="2935973"/>
                </a:lnTo>
                <a:lnTo>
                  <a:pt x="6764929" y="2937272"/>
                </a:lnTo>
                <a:lnTo>
                  <a:pt x="6762541" y="2937705"/>
                </a:lnTo>
                <a:lnTo>
                  <a:pt x="6762867" y="2939979"/>
                </a:lnTo>
                <a:lnTo>
                  <a:pt x="6761348" y="2942362"/>
                </a:lnTo>
                <a:lnTo>
                  <a:pt x="6766340" y="2944310"/>
                </a:lnTo>
                <a:lnTo>
                  <a:pt x="6771006" y="2949724"/>
                </a:lnTo>
                <a:lnTo>
                  <a:pt x="6765688" y="2951131"/>
                </a:lnTo>
                <a:lnTo>
                  <a:pt x="6760262" y="2950265"/>
                </a:lnTo>
                <a:lnTo>
                  <a:pt x="6758092" y="2951672"/>
                </a:lnTo>
                <a:lnTo>
                  <a:pt x="6761890" y="2956111"/>
                </a:lnTo>
                <a:lnTo>
                  <a:pt x="6763844" y="2957303"/>
                </a:lnTo>
                <a:lnTo>
                  <a:pt x="6764386" y="2959901"/>
                </a:lnTo>
                <a:lnTo>
                  <a:pt x="6762324" y="2960442"/>
                </a:lnTo>
                <a:lnTo>
                  <a:pt x="6760697" y="2964015"/>
                </a:lnTo>
                <a:lnTo>
                  <a:pt x="6764603" y="2967480"/>
                </a:lnTo>
                <a:lnTo>
                  <a:pt x="6766123" y="2972460"/>
                </a:lnTo>
                <a:lnTo>
                  <a:pt x="6774153" y="2980689"/>
                </a:lnTo>
                <a:lnTo>
                  <a:pt x="6777734" y="2983937"/>
                </a:lnTo>
                <a:lnTo>
                  <a:pt x="6775346" y="2988485"/>
                </a:lnTo>
                <a:lnTo>
                  <a:pt x="6769053" y="2989784"/>
                </a:lnTo>
                <a:lnTo>
                  <a:pt x="6768184" y="2992707"/>
                </a:lnTo>
                <a:lnTo>
                  <a:pt x="6770246" y="2994439"/>
                </a:lnTo>
                <a:lnTo>
                  <a:pt x="6771331" y="2998554"/>
                </a:lnTo>
                <a:lnTo>
                  <a:pt x="6774912" y="3000611"/>
                </a:lnTo>
                <a:lnTo>
                  <a:pt x="6785113" y="3010139"/>
                </a:lnTo>
                <a:lnTo>
                  <a:pt x="6788586" y="3010139"/>
                </a:lnTo>
                <a:lnTo>
                  <a:pt x="6792492" y="3014578"/>
                </a:lnTo>
                <a:lnTo>
                  <a:pt x="6793903" y="3017502"/>
                </a:lnTo>
                <a:lnTo>
                  <a:pt x="6797701" y="3018368"/>
                </a:lnTo>
                <a:lnTo>
                  <a:pt x="6796507" y="3022698"/>
                </a:lnTo>
                <a:lnTo>
                  <a:pt x="6793577" y="3023890"/>
                </a:lnTo>
                <a:lnTo>
                  <a:pt x="6790430" y="3022698"/>
                </a:lnTo>
                <a:lnTo>
                  <a:pt x="6786849" y="3025188"/>
                </a:lnTo>
                <a:lnTo>
                  <a:pt x="6781314" y="3024539"/>
                </a:lnTo>
                <a:lnTo>
                  <a:pt x="6773610" y="3016960"/>
                </a:lnTo>
                <a:lnTo>
                  <a:pt x="6775130" y="3023348"/>
                </a:lnTo>
                <a:lnTo>
                  <a:pt x="6773719" y="3025730"/>
                </a:lnTo>
                <a:lnTo>
                  <a:pt x="6771440" y="3022807"/>
                </a:lnTo>
                <a:lnTo>
                  <a:pt x="6766448" y="3027787"/>
                </a:lnTo>
                <a:lnTo>
                  <a:pt x="6766448" y="3031252"/>
                </a:lnTo>
                <a:lnTo>
                  <a:pt x="6764278" y="3033850"/>
                </a:lnTo>
                <a:lnTo>
                  <a:pt x="6763410" y="3042945"/>
                </a:lnTo>
                <a:lnTo>
                  <a:pt x="6761348" y="3046193"/>
                </a:lnTo>
                <a:lnTo>
                  <a:pt x="6759611" y="3054421"/>
                </a:lnTo>
                <a:lnTo>
                  <a:pt x="6753209" y="3059402"/>
                </a:lnTo>
                <a:lnTo>
                  <a:pt x="6755596" y="3065574"/>
                </a:lnTo>
                <a:lnTo>
                  <a:pt x="6752667" y="3069904"/>
                </a:lnTo>
                <a:lnTo>
                  <a:pt x="6748543" y="3074235"/>
                </a:lnTo>
                <a:lnTo>
                  <a:pt x="6746590" y="3069688"/>
                </a:lnTo>
                <a:lnTo>
                  <a:pt x="6744202" y="3068497"/>
                </a:lnTo>
                <a:lnTo>
                  <a:pt x="6745504" y="3071745"/>
                </a:lnTo>
                <a:lnTo>
                  <a:pt x="6745070" y="3076833"/>
                </a:lnTo>
                <a:lnTo>
                  <a:pt x="6741055" y="3081489"/>
                </a:lnTo>
                <a:lnTo>
                  <a:pt x="6740296" y="3085712"/>
                </a:lnTo>
                <a:lnTo>
                  <a:pt x="6736280" y="3087336"/>
                </a:lnTo>
                <a:lnTo>
                  <a:pt x="6732699" y="3086794"/>
                </a:lnTo>
                <a:lnTo>
                  <a:pt x="6733567" y="3088960"/>
                </a:lnTo>
                <a:lnTo>
                  <a:pt x="6731723" y="3091667"/>
                </a:lnTo>
                <a:lnTo>
                  <a:pt x="6737474" y="3091342"/>
                </a:lnTo>
                <a:lnTo>
                  <a:pt x="6738451" y="3092316"/>
                </a:lnTo>
                <a:lnTo>
                  <a:pt x="6737800" y="3096539"/>
                </a:lnTo>
                <a:lnTo>
                  <a:pt x="6734979" y="3098488"/>
                </a:lnTo>
                <a:lnTo>
                  <a:pt x="6736497" y="3099571"/>
                </a:lnTo>
                <a:lnTo>
                  <a:pt x="6739319" y="3099245"/>
                </a:lnTo>
                <a:lnTo>
                  <a:pt x="6739970" y="3102602"/>
                </a:lnTo>
                <a:lnTo>
                  <a:pt x="6738451" y="3106283"/>
                </a:lnTo>
                <a:lnTo>
                  <a:pt x="6734653" y="3105200"/>
                </a:lnTo>
                <a:lnTo>
                  <a:pt x="6733893" y="3104226"/>
                </a:lnTo>
                <a:lnTo>
                  <a:pt x="6733676" y="3106067"/>
                </a:lnTo>
                <a:lnTo>
                  <a:pt x="6735846" y="3108124"/>
                </a:lnTo>
                <a:lnTo>
                  <a:pt x="6737365" y="3109532"/>
                </a:lnTo>
                <a:lnTo>
                  <a:pt x="6733676" y="3117218"/>
                </a:lnTo>
                <a:lnTo>
                  <a:pt x="6731180" y="3117218"/>
                </a:lnTo>
                <a:lnTo>
                  <a:pt x="6730204" y="3115378"/>
                </a:lnTo>
                <a:lnTo>
                  <a:pt x="6728793" y="3121333"/>
                </a:lnTo>
                <a:lnTo>
                  <a:pt x="6728793" y="3124581"/>
                </a:lnTo>
                <a:lnTo>
                  <a:pt x="6723801" y="3133676"/>
                </a:lnTo>
                <a:lnTo>
                  <a:pt x="6715662" y="3139198"/>
                </a:lnTo>
                <a:lnTo>
                  <a:pt x="6708825" y="3140389"/>
                </a:lnTo>
                <a:lnTo>
                  <a:pt x="6698951" y="3145044"/>
                </a:lnTo>
                <a:lnTo>
                  <a:pt x="6694284" y="3145694"/>
                </a:lnTo>
                <a:lnTo>
                  <a:pt x="6692983" y="3139198"/>
                </a:lnTo>
                <a:lnTo>
                  <a:pt x="6693742" y="3135625"/>
                </a:lnTo>
                <a:lnTo>
                  <a:pt x="6691354" y="3131943"/>
                </a:lnTo>
                <a:lnTo>
                  <a:pt x="6690486" y="3130211"/>
                </a:lnTo>
                <a:lnTo>
                  <a:pt x="6688316" y="3131294"/>
                </a:lnTo>
                <a:lnTo>
                  <a:pt x="6685711" y="3127830"/>
                </a:lnTo>
                <a:lnTo>
                  <a:pt x="6683433" y="3129020"/>
                </a:lnTo>
                <a:lnTo>
                  <a:pt x="6679635" y="3128046"/>
                </a:lnTo>
                <a:lnTo>
                  <a:pt x="6677573" y="3124256"/>
                </a:lnTo>
                <a:lnTo>
                  <a:pt x="6675945" y="3128046"/>
                </a:lnTo>
                <a:lnTo>
                  <a:pt x="6677573" y="3131186"/>
                </a:lnTo>
                <a:lnTo>
                  <a:pt x="6673124" y="3129995"/>
                </a:lnTo>
                <a:lnTo>
                  <a:pt x="6671171" y="3127504"/>
                </a:lnTo>
                <a:lnTo>
                  <a:pt x="6671171" y="3123715"/>
                </a:lnTo>
                <a:lnTo>
                  <a:pt x="6668675" y="3121549"/>
                </a:lnTo>
                <a:lnTo>
                  <a:pt x="6665853" y="3123173"/>
                </a:lnTo>
                <a:lnTo>
                  <a:pt x="6661621" y="3120683"/>
                </a:lnTo>
                <a:lnTo>
                  <a:pt x="6659017" y="3121008"/>
                </a:lnTo>
                <a:lnTo>
                  <a:pt x="6655327" y="3124906"/>
                </a:lnTo>
                <a:lnTo>
                  <a:pt x="6649468" y="3125772"/>
                </a:lnTo>
                <a:lnTo>
                  <a:pt x="6648491" y="3128154"/>
                </a:lnTo>
                <a:lnTo>
                  <a:pt x="6645018" y="3128587"/>
                </a:lnTo>
                <a:lnTo>
                  <a:pt x="6642522" y="3126422"/>
                </a:lnTo>
                <a:lnTo>
                  <a:pt x="6639700" y="3127179"/>
                </a:lnTo>
                <a:lnTo>
                  <a:pt x="6634166" y="3134000"/>
                </a:lnTo>
                <a:lnTo>
                  <a:pt x="6630694" y="3134000"/>
                </a:lnTo>
                <a:lnTo>
                  <a:pt x="6631236" y="3130103"/>
                </a:lnTo>
                <a:lnTo>
                  <a:pt x="6630585" y="3122091"/>
                </a:lnTo>
                <a:lnTo>
                  <a:pt x="6628523" y="3116244"/>
                </a:lnTo>
                <a:lnTo>
                  <a:pt x="6629500" y="3112130"/>
                </a:lnTo>
                <a:lnTo>
                  <a:pt x="6628089" y="3108882"/>
                </a:lnTo>
                <a:lnTo>
                  <a:pt x="6628523" y="3111481"/>
                </a:lnTo>
                <a:lnTo>
                  <a:pt x="6626353" y="3116136"/>
                </a:lnTo>
                <a:lnTo>
                  <a:pt x="6623314" y="3118085"/>
                </a:lnTo>
                <a:lnTo>
                  <a:pt x="6620385" y="3116028"/>
                </a:lnTo>
                <a:lnTo>
                  <a:pt x="6616261" y="3118951"/>
                </a:lnTo>
                <a:lnTo>
                  <a:pt x="6610293" y="3119492"/>
                </a:lnTo>
                <a:lnTo>
                  <a:pt x="6606603" y="3118085"/>
                </a:lnTo>
                <a:lnTo>
                  <a:pt x="6601611" y="3117760"/>
                </a:lnTo>
                <a:lnTo>
                  <a:pt x="6600092" y="3114728"/>
                </a:lnTo>
                <a:lnTo>
                  <a:pt x="6596402" y="3117869"/>
                </a:lnTo>
                <a:lnTo>
                  <a:pt x="6593689" y="3117869"/>
                </a:lnTo>
                <a:lnTo>
                  <a:pt x="6590976" y="3111264"/>
                </a:lnTo>
                <a:lnTo>
                  <a:pt x="6590868" y="3105525"/>
                </a:lnTo>
                <a:lnTo>
                  <a:pt x="6589566" y="3094915"/>
                </a:lnTo>
                <a:lnTo>
                  <a:pt x="6585442" y="3092208"/>
                </a:lnTo>
                <a:lnTo>
                  <a:pt x="6584248" y="3089284"/>
                </a:lnTo>
                <a:lnTo>
                  <a:pt x="6586961" y="3086145"/>
                </a:lnTo>
                <a:lnTo>
                  <a:pt x="6590217" y="3081381"/>
                </a:lnTo>
                <a:lnTo>
                  <a:pt x="6589566" y="3077159"/>
                </a:lnTo>
                <a:lnTo>
                  <a:pt x="6587287" y="3072936"/>
                </a:lnTo>
                <a:lnTo>
                  <a:pt x="6580451" y="3066115"/>
                </a:lnTo>
                <a:lnTo>
                  <a:pt x="6574590" y="3062759"/>
                </a:lnTo>
                <a:lnTo>
                  <a:pt x="6568948" y="3061351"/>
                </a:lnTo>
                <a:lnTo>
                  <a:pt x="6568731" y="3059510"/>
                </a:lnTo>
                <a:lnTo>
                  <a:pt x="6573071" y="3058969"/>
                </a:lnTo>
                <a:lnTo>
                  <a:pt x="6576761" y="3055721"/>
                </a:lnTo>
                <a:lnTo>
                  <a:pt x="6585117" y="3053772"/>
                </a:lnTo>
                <a:lnTo>
                  <a:pt x="6590759" y="3049333"/>
                </a:lnTo>
                <a:lnTo>
                  <a:pt x="6595426" y="3049658"/>
                </a:lnTo>
                <a:lnTo>
                  <a:pt x="6591085" y="3048358"/>
                </a:lnTo>
                <a:lnTo>
                  <a:pt x="6584683" y="3052365"/>
                </a:lnTo>
                <a:lnTo>
                  <a:pt x="6577195" y="3053447"/>
                </a:lnTo>
                <a:lnTo>
                  <a:pt x="6574156" y="3054205"/>
                </a:lnTo>
                <a:lnTo>
                  <a:pt x="6569273" y="3052690"/>
                </a:lnTo>
                <a:lnTo>
                  <a:pt x="6566235" y="3047167"/>
                </a:lnTo>
                <a:lnTo>
                  <a:pt x="6567754" y="3045760"/>
                </a:lnTo>
                <a:lnTo>
                  <a:pt x="6570467" y="3047059"/>
                </a:lnTo>
                <a:lnTo>
                  <a:pt x="6568297" y="3043486"/>
                </a:lnTo>
                <a:lnTo>
                  <a:pt x="6561243" y="3034608"/>
                </a:lnTo>
                <a:lnTo>
                  <a:pt x="6560592" y="3025513"/>
                </a:lnTo>
                <a:lnTo>
                  <a:pt x="6563847" y="3023564"/>
                </a:lnTo>
                <a:lnTo>
                  <a:pt x="6564390" y="3020749"/>
                </a:lnTo>
                <a:lnTo>
                  <a:pt x="6563088" y="3017502"/>
                </a:lnTo>
                <a:lnTo>
                  <a:pt x="6563414" y="3014253"/>
                </a:lnTo>
                <a:lnTo>
                  <a:pt x="6567103" y="3007756"/>
                </a:lnTo>
                <a:lnTo>
                  <a:pt x="6572854" y="3000178"/>
                </a:lnTo>
                <a:lnTo>
                  <a:pt x="6575242" y="2996497"/>
                </a:lnTo>
                <a:lnTo>
                  <a:pt x="6578930" y="2995306"/>
                </a:lnTo>
                <a:lnTo>
                  <a:pt x="6578929" y="2995304"/>
                </a:lnTo>
                <a:lnTo>
                  <a:pt x="6580774" y="2994763"/>
                </a:lnTo>
                <a:lnTo>
                  <a:pt x="6584897" y="2999418"/>
                </a:lnTo>
                <a:lnTo>
                  <a:pt x="6587501" y="3003208"/>
                </a:lnTo>
                <a:lnTo>
                  <a:pt x="6594338" y="3003100"/>
                </a:lnTo>
                <a:lnTo>
                  <a:pt x="6604214" y="3006673"/>
                </a:lnTo>
                <a:lnTo>
                  <a:pt x="6613655" y="3007863"/>
                </a:lnTo>
                <a:lnTo>
                  <a:pt x="6613546" y="3006023"/>
                </a:lnTo>
                <a:lnTo>
                  <a:pt x="6617669" y="3000284"/>
                </a:lnTo>
                <a:lnTo>
                  <a:pt x="6617778" y="2993464"/>
                </a:lnTo>
                <a:lnTo>
                  <a:pt x="6619297" y="2988483"/>
                </a:lnTo>
                <a:lnTo>
                  <a:pt x="6621901" y="2985235"/>
                </a:lnTo>
                <a:lnTo>
                  <a:pt x="6627544" y="2984586"/>
                </a:lnTo>
                <a:lnTo>
                  <a:pt x="6630908" y="2982853"/>
                </a:lnTo>
                <a:lnTo>
                  <a:pt x="6633947" y="2983936"/>
                </a:lnTo>
                <a:lnTo>
                  <a:pt x="6631668" y="2981446"/>
                </a:lnTo>
                <a:lnTo>
                  <a:pt x="6630366" y="2975166"/>
                </a:lnTo>
                <a:lnTo>
                  <a:pt x="6632428" y="2974192"/>
                </a:lnTo>
                <a:lnTo>
                  <a:pt x="6651961" y="2969536"/>
                </a:lnTo>
                <a:lnTo>
                  <a:pt x="6658363" y="2964014"/>
                </a:lnTo>
                <a:lnTo>
                  <a:pt x="6664223" y="2956868"/>
                </a:lnTo>
                <a:lnTo>
                  <a:pt x="6665742" y="2952538"/>
                </a:lnTo>
                <a:lnTo>
                  <a:pt x="6672470" y="2946150"/>
                </a:lnTo>
                <a:lnTo>
                  <a:pt x="6674641" y="2941386"/>
                </a:lnTo>
                <a:lnTo>
                  <a:pt x="6680826" y="2936081"/>
                </a:lnTo>
                <a:lnTo>
                  <a:pt x="6681043" y="2930342"/>
                </a:lnTo>
                <a:lnTo>
                  <a:pt x="6684298" y="2926336"/>
                </a:lnTo>
                <a:lnTo>
                  <a:pt x="6684299" y="2926337"/>
                </a:lnTo>
                <a:lnTo>
                  <a:pt x="6685385" y="2924821"/>
                </a:lnTo>
                <a:lnTo>
                  <a:pt x="6694174" y="2922223"/>
                </a:lnTo>
                <a:lnTo>
                  <a:pt x="6699818" y="2918000"/>
                </a:lnTo>
                <a:lnTo>
                  <a:pt x="6704484" y="2916268"/>
                </a:lnTo>
                <a:lnTo>
                  <a:pt x="6704809" y="2921032"/>
                </a:lnTo>
                <a:lnTo>
                  <a:pt x="6704700" y="2922764"/>
                </a:lnTo>
                <a:lnTo>
                  <a:pt x="6704699" y="2922764"/>
                </a:lnTo>
                <a:lnTo>
                  <a:pt x="6704699" y="2923846"/>
                </a:lnTo>
                <a:lnTo>
                  <a:pt x="6705459" y="2923630"/>
                </a:lnTo>
                <a:lnTo>
                  <a:pt x="6706436" y="2927960"/>
                </a:lnTo>
                <a:lnTo>
                  <a:pt x="6706870" y="2933915"/>
                </a:lnTo>
                <a:lnTo>
                  <a:pt x="6710125" y="2935648"/>
                </a:lnTo>
                <a:lnTo>
                  <a:pt x="6710126" y="2935646"/>
                </a:lnTo>
                <a:lnTo>
                  <a:pt x="6706870" y="2933914"/>
                </a:lnTo>
                <a:lnTo>
                  <a:pt x="6706437" y="2927960"/>
                </a:lnTo>
                <a:lnTo>
                  <a:pt x="6705460" y="2923629"/>
                </a:lnTo>
                <a:lnTo>
                  <a:pt x="6707630" y="2923088"/>
                </a:lnTo>
                <a:lnTo>
                  <a:pt x="6708823" y="2921465"/>
                </a:lnTo>
                <a:lnTo>
                  <a:pt x="6708823" y="2921464"/>
                </a:lnTo>
                <a:lnTo>
                  <a:pt x="6709474" y="2920598"/>
                </a:lnTo>
                <a:lnTo>
                  <a:pt x="6713273" y="2918649"/>
                </a:lnTo>
                <a:lnTo>
                  <a:pt x="6715551" y="2915185"/>
                </a:lnTo>
                <a:lnTo>
                  <a:pt x="6710017" y="2916808"/>
                </a:lnTo>
                <a:lnTo>
                  <a:pt x="6707738" y="2915942"/>
                </a:lnTo>
                <a:lnTo>
                  <a:pt x="6709474" y="2913343"/>
                </a:lnTo>
                <a:lnTo>
                  <a:pt x="6706870" y="2913452"/>
                </a:lnTo>
                <a:lnTo>
                  <a:pt x="6709257" y="2910420"/>
                </a:lnTo>
                <a:lnTo>
                  <a:pt x="6716202" y="2907822"/>
                </a:lnTo>
                <a:lnTo>
                  <a:pt x="6720326" y="2907822"/>
                </a:lnTo>
                <a:lnTo>
                  <a:pt x="6728899" y="2898728"/>
                </a:lnTo>
                <a:lnTo>
                  <a:pt x="6729767" y="2892556"/>
                </a:lnTo>
                <a:lnTo>
                  <a:pt x="6734759" y="2881080"/>
                </a:lnTo>
                <a:lnTo>
                  <a:pt x="6738231" y="2880105"/>
                </a:lnTo>
                <a:lnTo>
                  <a:pt x="6741487" y="2869494"/>
                </a:lnTo>
                <a:lnTo>
                  <a:pt x="6744634" y="2869711"/>
                </a:lnTo>
                <a:lnTo>
                  <a:pt x="6745501" y="2873609"/>
                </a:lnTo>
                <a:lnTo>
                  <a:pt x="6743982" y="2877939"/>
                </a:lnTo>
                <a:lnTo>
                  <a:pt x="6746044" y="2878264"/>
                </a:lnTo>
                <a:lnTo>
                  <a:pt x="6751144" y="2873284"/>
                </a:lnTo>
                <a:lnTo>
                  <a:pt x="6749843" y="2868953"/>
                </a:lnTo>
                <a:close/>
                <a:moveTo>
                  <a:pt x="2253348" y="2864838"/>
                </a:moveTo>
                <a:lnTo>
                  <a:pt x="2249441" y="2866787"/>
                </a:lnTo>
                <a:lnTo>
                  <a:pt x="2245576" y="2864943"/>
                </a:lnTo>
                <a:lnTo>
                  <a:pt x="2249441" y="2866788"/>
                </a:lnTo>
                <a:lnTo>
                  <a:pt x="2253348" y="2864839"/>
                </a:lnTo>
                <a:lnTo>
                  <a:pt x="2259425" y="2865055"/>
                </a:lnTo>
                <a:lnTo>
                  <a:pt x="2265285" y="2866788"/>
                </a:lnTo>
                <a:lnTo>
                  <a:pt x="2266153" y="2866030"/>
                </a:lnTo>
                <a:lnTo>
                  <a:pt x="2265284" y="2866787"/>
                </a:lnTo>
                <a:lnTo>
                  <a:pt x="2259425" y="2865055"/>
                </a:lnTo>
                <a:close/>
                <a:moveTo>
                  <a:pt x="3874694" y="2862566"/>
                </a:moveTo>
                <a:lnTo>
                  <a:pt x="3872416" y="2865814"/>
                </a:lnTo>
                <a:lnTo>
                  <a:pt x="3872416" y="2865814"/>
                </a:lnTo>
                <a:close/>
                <a:moveTo>
                  <a:pt x="3747407" y="2861045"/>
                </a:moveTo>
                <a:lnTo>
                  <a:pt x="3747405" y="2861049"/>
                </a:lnTo>
                <a:lnTo>
                  <a:pt x="3747404" y="2861050"/>
                </a:lnTo>
                <a:lnTo>
                  <a:pt x="3749032" y="2865597"/>
                </a:lnTo>
                <a:lnTo>
                  <a:pt x="3745125" y="2874584"/>
                </a:lnTo>
                <a:lnTo>
                  <a:pt x="3741880" y="2878031"/>
                </a:lnTo>
                <a:lnTo>
                  <a:pt x="3745125" y="2874584"/>
                </a:lnTo>
                <a:lnTo>
                  <a:pt x="3749032" y="2865597"/>
                </a:lnTo>
                <a:lnTo>
                  <a:pt x="3747405" y="2861050"/>
                </a:lnTo>
                <a:close/>
                <a:moveTo>
                  <a:pt x="4222331" y="2860991"/>
                </a:moveTo>
                <a:lnTo>
                  <a:pt x="4222599" y="2863756"/>
                </a:lnTo>
                <a:lnTo>
                  <a:pt x="4219777" y="2868087"/>
                </a:lnTo>
                <a:lnTo>
                  <a:pt x="4216088" y="2869278"/>
                </a:lnTo>
                <a:lnTo>
                  <a:pt x="4214243" y="2871985"/>
                </a:lnTo>
                <a:lnTo>
                  <a:pt x="4214243" y="2874042"/>
                </a:lnTo>
                <a:lnTo>
                  <a:pt x="4211096" y="2879347"/>
                </a:lnTo>
                <a:lnTo>
                  <a:pt x="4205996" y="2882271"/>
                </a:lnTo>
                <a:lnTo>
                  <a:pt x="4203283" y="2881188"/>
                </a:lnTo>
                <a:lnTo>
                  <a:pt x="4199160" y="2878156"/>
                </a:lnTo>
                <a:lnTo>
                  <a:pt x="4203283" y="2881188"/>
                </a:lnTo>
                <a:lnTo>
                  <a:pt x="4205996" y="2882271"/>
                </a:lnTo>
                <a:lnTo>
                  <a:pt x="4211096" y="2879348"/>
                </a:lnTo>
                <a:lnTo>
                  <a:pt x="4214244" y="2874043"/>
                </a:lnTo>
                <a:lnTo>
                  <a:pt x="4214244" y="2871986"/>
                </a:lnTo>
                <a:lnTo>
                  <a:pt x="4216088" y="2869278"/>
                </a:lnTo>
                <a:lnTo>
                  <a:pt x="4219778" y="2868087"/>
                </a:lnTo>
                <a:lnTo>
                  <a:pt x="4222599" y="2863756"/>
                </a:lnTo>
                <a:close/>
                <a:moveTo>
                  <a:pt x="6194563" y="2860292"/>
                </a:moveTo>
                <a:lnTo>
                  <a:pt x="6197276" y="2862782"/>
                </a:lnTo>
                <a:lnTo>
                  <a:pt x="6196951" y="2867329"/>
                </a:lnTo>
                <a:lnTo>
                  <a:pt x="6198362" y="2871335"/>
                </a:lnTo>
                <a:lnTo>
                  <a:pt x="6195540" y="2874691"/>
                </a:lnTo>
                <a:cubicBezTo>
                  <a:pt x="6195540" y="2874691"/>
                  <a:pt x="6193696" y="2869820"/>
                  <a:pt x="6193695" y="2869820"/>
                </a:cubicBezTo>
                <a:cubicBezTo>
                  <a:pt x="6192930" y="2869242"/>
                  <a:pt x="6192091" y="2868768"/>
                  <a:pt x="6191200" y="2868412"/>
                </a:cubicBezTo>
                <a:lnTo>
                  <a:pt x="6191200" y="2863648"/>
                </a:lnTo>
                <a:close/>
                <a:moveTo>
                  <a:pt x="6755486" y="2858993"/>
                </a:moveTo>
                <a:lnTo>
                  <a:pt x="6757657" y="2859642"/>
                </a:lnTo>
                <a:lnTo>
                  <a:pt x="6757548" y="2863107"/>
                </a:lnTo>
                <a:lnTo>
                  <a:pt x="6752339" y="2864623"/>
                </a:lnTo>
                <a:lnTo>
                  <a:pt x="6751146" y="2863107"/>
                </a:lnTo>
                <a:close/>
                <a:moveTo>
                  <a:pt x="6749301" y="2858884"/>
                </a:moveTo>
                <a:lnTo>
                  <a:pt x="6749192" y="2860616"/>
                </a:lnTo>
                <a:lnTo>
                  <a:pt x="6746153" y="2862349"/>
                </a:lnTo>
                <a:lnTo>
                  <a:pt x="6743115" y="2862457"/>
                </a:lnTo>
                <a:close/>
                <a:moveTo>
                  <a:pt x="4756718" y="2858884"/>
                </a:moveTo>
                <a:lnTo>
                  <a:pt x="4761384" y="2867112"/>
                </a:lnTo>
                <a:lnTo>
                  <a:pt x="4761385" y="2867112"/>
                </a:lnTo>
                <a:lnTo>
                  <a:pt x="4756718" y="2858884"/>
                </a:lnTo>
                <a:close/>
                <a:moveTo>
                  <a:pt x="6191525" y="2854554"/>
                </a:moveTo>
                <a:lnTo>
                  <a:pt x="6194347" y="2854662"/>
                </a:lnTo>
                <a:lnTo>
                  <a:pt x="6190548" y="2859101"/>
                </a:lnTo>
                <a:lnTo>
                  <a:pt x="6189029" y="2857694"/>
                </a:lnTo>
                <a:close/>
                <a:moveTo>
                  <a:pt x="3644749" y="2853687"/>
                </a:moveTo>
                <a:lnTo>
                  <a:pt x="3647244" y="2854336"/>
                </a:lnTo>
                <a:lnTo>
                  <a:pt x="3649197" y="2856502"/>
                </a:lnTo>
                <a:lnTo>
                  <a:pt x="3649631" y="2859859"/>
                </a:lnTo>
                <a:lnTo>
                  <a:pt x="3647570" y="2859642"/>
                </a:lnTo>
                <a:lnTo>
                  <a:pt x="3644314" y="2857693"/>
                </a:lnTo>
                <a:lnTo>
                  <a:pt x="3643772" y="2855528"/>
                </a:lnTo>
                <a:close/>
                <a:moveTo>
                  <a:pt x="3876756" y="2853471"/>
                </a:moveTo>
                <a:lnTo>
                  <a:pt x="3875739" y="2855502"/>
                </a:lnTo>
                <a:lnTo>
                  <a:pt x="3876756" y="2853471"/>
                </a:lnTo>
                <a:close/>
                <a:moveTo>
                  <a:pt x="6317948" y="2851847"/>
                </a:moveTo>
                <a:lnTo>
                  <a:pt x="6319141" y="2852063"/>
                </a:lnTo>
                <a:lnTo>
                  <a:pt x="6319467" y="2854120"/>
                </a:lnTo>
                <a:lnTo>
                  <a:pt x="6318816" y="2856719"/>
                </a:lnTo>
                <a:close/>
                <a:moveTo>
                  <a:pt x="2228918" y="2851075"/>
                </a:moveTo>
                <a:lnTo>
                  <a:pt x="2227738" y="2853037"/>
                </a:lnTo>
                <a:lnTo>
                  <a:pt x="2228063" y="2856502"/>
                </a:lnTo>
                <a:lnTo>
                  <a:pt x="2233489" y="2860941"/>
                </a:lnTo>
                <a:lnTo>
                  <a:pt x="2236741" y="2862353"/>
                </a:lnTo>
                <a:lnTo>
                  <a:pt x="2233489" y="2860941"/>
                </a:lnTo>
                <a:lnTo>
                  <a:pt x="2228064" y="2856502"/>
                </a:lnTo>
                <a:lnTo>
                  <a:pt x="2227738" y="2853038"/>
                </a:lnTo>
                <a:close/>
                <a:moveTo>
                  <a:pt x="4747602" y="2847299"/>
                </a:moveTo>
                <a:lnTo>
                  <a:pt x="4749881" y="2850222"/>
                </a:lnTo>
                <a:lnTo>
                  <a:pt x="4754222" y="2854444"/>
                </a:lnTo>
                <a:lnTo>
                  <a:pt x="4754981" y="2857801"/>
                </a:lnTo>
                <a:lnTo>
                  <a:pt x="4756451" y="2858717"/>
                </a:lnTo>
                <a:lnTo>
                  <a:pt x="4754982" y="2857801"/>
                </a:lnTo>
                <a:lnTo>
                  <a:pt x="4754223" y="2854445"/>
                </a:lnTo>
                <a:lnTo>
                  <a:pt x="4749882" y="2850222"/>
                </a:lnTo>
                <a:lnTo>
                  <a:pt x="4747603" y="2847299"/>
                </a:lnTo>
                <a:close/>
                <a:moveTo>
                  <a:pt x="4734684" y="2846356"/>
                </a:moveTo>
                <a:lnTo>
                  <a:pt x="4737618" y="2847407"/>
                </a:lnTo>
                <a:lnTo>
                  <a:pt x="4747377" y="2847301"/>
                </a:lnTo>
                <a:lnTo>
                  <a:pt x="4737619" y="2847407"/>
                </a:lnTo>
                <a:close/>
                <a:moveTo>
                  <a:pt x="2516392" y="2844314"/>
                </a:moveTo>
                <a:lnTo>
                  <a:pt x="2515741" y="2844808"/>
                </a:lnTo>
                <a:lnTo>
                  <a:pt x="2512160" y="2844484"/>
                </a:lnTo>
                <a:lnTo>
                  <a:pt x="2515741" y="2844809"/>
                </a:lnTo>
                <a:close/>
                <a:moveTo>
                  <a:pt x="4337627" y="2843834"/>
                </a:moveTo>
                <a:lnTo>
                  <a:pt x="4336433" y="2845026"/>
                </a:lnTo>
                <a:lnTo>
                  <a:pt x="4337627" y="2843835"/>
                </a:lnTo>
                <a:lnTo>
                  <a:pt x="4340122" y="2846109"/>
                </a:lnTo>
                <a:lnTo>
                  <a:pt x="4341750" y="2851631"/>
                </a:lnTo>
                <a:lnTo>
                  <a:pt x="4343811" y="2853688"/>
                </a:lnTo>
                <a:lnTo>
                  <a:pt x="4348261" y="2853038"/>
                </a:lnTo>
                <a:lnTo>
                  <a:pt x="4348261" y="2853037"/>
                </a:lnTo>
                <a:lnTo>
                  <a:pt x="4343813" y="2853687"/>
                </a:lnTo>
                <a:lnTo>
                  <a:pt x="4341751" y="2851630"/>
                </a:lnTo>
                <a:lnTo>
                  <a:pt x="4340123" y="2846108"/>
                </a:lnTo>
                <a:close/>
                <a:moveTo>
                  <a:pt x="4732085" y="2843380"/>
                </a:moveTo>
                <a:lnTo>
                  <a:pt x="4732085" y="2843380"/>
                </a:lnTo>
                <a:lnTo>
                  <a:pt x="4733387" y="2845891"/>
                </a:lnTo>
                <a:close/>
                <a:moveTo>
                  <a:pt x="6185340" y="2842644"/>
                </a:moveTo>
                <a:lnTo>
                  <a:pt x="6187728" y="2847300"/>
                </a:lnTo>
                <a:lnTo>
                  <a:pt x="6185449" y="2848816"/>
                </a:lnTo>
                <a:lnTo>
                  <a:pt x="6182302" y="2846758"/>
                </a:lnTo>
                <a:lnTo>
                  <a:pt x="6181108" y="2843510"/>
                </a:lnTo>
                <a:close/>
                <a:moveTo>
                  <a:pt x="6301236" y="2839936"/>
                </a:moveTo>
                <a:cubicBezTo>
                  <a:pt x="6302175" y="2839881"/>
                  <a:pt x="6303118" y="2839881"/>
                  <a:pt x="6304057" y="2839936"/>
                </a:cubicBezTo>
                <a:lnTo>
                  <a:pt x="6304057" y="2845675"/>
                </a:lnTo>
                <a:lnTo>
                  <a:pt x="6301236" y="2849897"/>
                </a:lnTo>
                <a:lnTo>
                  <a:pt x="6301236" y="2845026"/>
                </a:lnTo>
                <a:lnTo>
                  <a:pt x="6300151" y="2843077"/>
                </a:lnTo>
                <a:close/>
                <a:moveTo>
                  <a:pt x="6750060" y="2838963"/>
                </a:moveTo>
                <a:lnTo>
                  <a:pt x="6751579" y="2840154"/>
                </a:lnTo>
                <a:lnTo>
                  <a:pt x="6750819" y="2842103"/>
                </a:lnTo>
                <a:lnTo>
                  <a:pt x="6750712" y="2848165"/>
                </a:lnTo>
                <a:lnTo>
                  <a:pt x="6748433" y="2848165"/>
                </a:lnTo>
                <a:lnTo>
                  <a:pt x="6745720" y="2843726"/>
                </a:lnTo>
                <a:lnTo>
                  <a:pt x="6745829" y="2840479"/>
                </a:lnTo>
                <a:close/>
                <a:moveTo>
                  <a:pt x="2230568" y="2838199"/>
                </a:moveTo>
                <a:lnTo>
                  <a:pt x="2231536" y="2841886"/>
                </a:lnTo>
                <a:lnTo>
                  <a:pt x="2229040" y="2846974"/>
                </a:lnTo>
                <a:lnTo>
                  <a:pt x="2229366" y="2850330"/>
                </a:lnTo>
                <a:lnTo>
                  <a:pt x="2229041" y="2846974"/>
                </a:lnTo>
                <a:lnTo>
                  <a:pt x="2231536" y="2841885"/>
                </a:lnTo>
                <a:close/>
                <a:moveTo>
                  <a:pt x="4389873" y="2835557"/>
                </a:moveTo>
                <a:lnTo>
                  <a:pt x="4387436" y="2838312"/>
                </a:lnTo>
                <a:lnTo>
                  <a:pt x="4381359" y="2838312"/>
                </a:lnTo>
                <a:lnTo>
                  <a:pt x="4367035" y="2841561"/>
                </a:lnTo>
                <a:lnTo>
                  <a:pt x="4361066" y="2845674"/>
                </a:lnTo>
                <a:lnTo>
                  <a:pt x="4354906" y="2848194"/>
                </a:lnTo>
                <a:lnTo>
                  <a:pt x="4361066" y="2845675"/>
                </a:lnTo>
                <a:lnTo>
                  <a:pt x="4367034" y="2841562"/>
                </a:lnTo>
                <a:lnTo>
                  <a:pt x="4381358" y="2838313"/>
                </a:lnTo>
                <a:lnTo>
                  <a:pt x="4387436" y="2838313"/>
                </a:lnTo>
                <a:close/>
                <a:moveTo>
                  <a:pt x="5856860" y="2834848"/>
                </a:moveTo>
                <a:lnTo>
                  <a:pt x="5856534" y="2835931"/>
                </a:lnTo>
                <a:lnTo>
                  <a:pt x="5855232" y="2836580"/>
                </a:lnTo>
                <a:lnTo>
                  <a:pt x="5856101" y="2840262"/>
                </a:lnTo>
                <a:lnTo>
                  <a:pt x="5853605" y="2845675"/>
                </a:lnTo>
                <a:lnTo>
                  <a:pt x="5854365" y="2840153"/>
                </a:lnTo>
                <a:lnTo>
                  <a:pt x="5854039" y="2836039"/>
                </a:lnTo>
                <a:close/>
                <a:moveTo>
                  <a:pt x="3888801" y="2834415"/>
                </a:moveTo>
                <a:lnTo>
                  <a:pt x="3883919" y="2837447"/>
                </a:lnTo>
                <a:lnTo>
                  <a:pt x="3880664" y="2842226"/>
                </a:lnTo>
                <a:lnTo>
                  <a:pt x="3883919" y="2837447"/>
                </a:lnTo>
                <a:lnTo>
                  <a:pt x="3888801" y="2834416"/>
                </a:lnTo>
                <a:close/>
                <a:moveTo>
                  <a:pt x="6188053" y="2834199"/>
                </a:moveTo>
                <a:lnTo>
                  <a:pt x="6189790" y="2835931"/>
                </a:lnTo>
                <a:lnTo>
                  <a:pt x="6190006" y="2839612"/>
                </a:lnTo>
                <a:lnTo>
                  <a:pt x="6188162" y="2841669"/>
                </a:lnTo>
                <a:lnTo>
                  <a:pt x="6186100" y="2838205"/>
                </a:lnTo>
                <a:close/>
                <a:moveTo>
                  <a:pt x="6756789" y="2833332"/>
                </a:moveTo>
                <a:lnTo>
                  <a:pt x="6757873" y="2836364"/>
                </a:lnTo>
                <a:lnTo>
                  <a:pt x="6755269" y="2835065"/>
                </a:lnTo>
                <a:close/>
                <a:moveTo>
                  <a:pt x="6754401" y="2832683"/>
                </a:moveTo>
                <a:lnTo>
                  <a:pt x="6754076" y="2834631"/>
                </a:lnTo>
                <a:lnTo>
                  <a:pt x="6752014" y="2834955"/>
                </a:lnTo>
                <a:close/>
                <a:moveTo>
                  <a:pt x="4737983" y="2831955"/>
                </a:moveTo>
                <a:lnTo>
                  <a:pt x="4737837" y="2834282"/>
                </a:lnTo>
                <a:lnTo>
                  <a:pt x="4737837" y="2834299"/>
                </a:lnTo>
                <a:lnTo>
                  <a:pt x="4737984" y="2831955"/>
                </a:lnTo>
                <a:close/>
                <a:moveTo>
                  <a:pt x="6175465" y="2831167"/>
                </a:moveTo>
                <a:lnTo>
                  <a:pt x="6178829" y="2832033"/>
                </a:lnTo>
                <a:lnTo>
                  <a:pt x="6180674" y="2838421"/>
                </a:lnTo>
                <a:lnTo>
                  <a:pt x="6176767" y="2834740"/>
                </a:lnTo>
                <a:cubicBezTo>
                  <a:pt x="6176767" y="2834740"/>
                  <a:pt x="6175465" y="2831167"/>
                  <a:pt x="6175465" y="2831167"/>
                </a:cubicBezTo>
                <a:close/>
                <a:moveTo>
                  <a:pt x="4397636" y="2830084"/>
                </a:moveTo>
                <a:lnTo>
                  <a:pt x="4390691" y="2834631"/>
                </a:lnTo>
                <a:lnTo>
                  <a:pt x="4390691" y="2834632"/>
                </a:lnTo>
                <a:lnTo>
                  <a:pt x="4397636" y="2830085"/>
                </a:lnTo>
                <a:close/>
                <a:moveTo>
                  <a:pt x="3714199" y="2826836"/>
                </a:moveTo>
                <a:lnTo>
                  <a:pt x="3703998" y="2830084"/>
                </a:lnTo>
                <a:lnTo>
                  <a:pt x="3701937" y="2829326"/>
                </a:lnTo>
                <a:lnTo>
                  <a:pt x="3696404" y="2831815"/>
                </a:lnTo>
                <a:lnTo>
                  <a:pt x="3696404" y="2831816"/>
                </a:lnTo>
                <a:lnTo>
                  <a:pt x="3701936" y="2829327"/>
                </a:lnTo>
                <a:lnTo>
                  <a:pt x="3703997" y="2830085"/>
                </a:lnTo>
                <a:lnTo>
                  <a:pt x="3714198" y="2826837"/>
                </a:lnTo>
                <a:lnTo>
                  <a:pt x="3718756" y="2828894"/>
                </a:lnTo>
                <a:lnTo>
                  <a:pt x="3721686" y="2834416"/>
                </a:lnTo>
                <a:lnTo>
                  <a:pt x="3726352" y="2836906"/>
                </a:lnTo>
                <a:lnTo>
                  <a:pt x="3725809" y="2846326"/>
                </a:lnTo>
                <a:lnTo>
                  <a:pt x="3724941" y="2851414"/>
                </a:lnTo>
                <a:lnTo>
                  <a:pt x="3731127" y="2858452"/>
                </a:lnTo>
                <a:lnTo>
                  <a:pt x="3733840" y="2857585"/>
                </a:lnTo>
                <a:lnTo>
                  <a:pt x="3741002" y="2852281"/>
                </a:lnTo>
                <a:lnTo>
                  <a:pt x="3743606" y="2853038"/>
                </a:lnTo>
                <a:lnTo>
                  <a:pt x="3747187" y="2856395"/>
                </a:lnTo>
                <a:lnTo>
                  <a:pt x="3748327" y="2858875"/>
                </a:lnTo>
                <a:lnTo>
                  <a:pt x="3748327" y="2858874"/>
                </a:lnTo>
                <a:lnTo>
                  <a:pt x="3748327" y="2858873"/>
                </a:lnTo>
                <a:lnTo>
                  <a:pt x="3748598" y="2858234"/>
                </a:lnTo>
                <a:lnTo>
                  <a:pt x="3752722" y="2856936"/>
                </a:lnTo>
                <a:lnTo>
                  <a:pt x="3759233" y="2842860"/>
                </a:lnTo>
                <a:lnTo>
                  <a:pt x="3752722" y="2856935"/>
                </a:lnTo>
                <a:lnTo>
                  <a:pt x="3748598" y="2858234"/>
                </a:lnTo>
                <a:lnTo>
                  <a:pt x="3748327" y="2858873"/>
                </a:lnTo>
                <a:lnTo>
                  <a:pt x="3747188" y="2856393"/>
                </a:lnTo>
                <a:lnTo>
                  <a:pt x="3743607" y="2853037"/>
                </a:lnTo>
                <a:lnTo>
                  <a:pt x="3741002" y="2852279"/>
                </a:lnTo>
                <a:lnTo>
                  <a:pt x="3733840" y="2857585"/>
                </a:lnTo>
                <a:lnTo>
                  <a:pt x="3731127" y="2858451"/>
                </a:lnTo>
                <a:lnTo>
                  <a:pt x="3724942" y="2851413"/>
                </a:lnTo>
                <a:lnTo>
                  <a:pt x="3725810" y="2846325"/>
                </a:lnTo>
                <a:lnTo>
                  <a:pt x="3726353" y="2836905"/>
                </a:lnTo>
                <a:lnTo>
                  <a:pt x="3721686" y="2834415"/>
                </a:lnTo>
                <a:lnTo>
                  <a:pt x="3718756" y="2828893"/>
                </a:lnTo>
                <a:close/>
                <a:moveTo>
                  <a:pt x="4509042" y="2824129"/>
                </a:moveTo>
                <a:lnTo>
                  <a:pt x="4508215" y="2825212"/>
                </a:lnTo>
                <a:lnTo>
                  <a:pt x="4508042" y="2825209"/>
                </a:lnTo>
                <a:lnTo>
                  <a:pt x="4508041" y="2825210"/>
                </a:lnTo>
                <a:lnTo>
                  <a:pt x="4508214" y="2825213"/>
                </a:lnTo>
                <a:lnTo>
                  <a:pt x="4509042" y="2824129"/>
                </a:lnTo>
                <a:close/>
                <a:moveTo>
                  <a:pt x="3760969" y="2823155"/>
                </a:moveTo>
                <a:lnTo>
                  <a:pt x="3760535" y="2826402"/>
                </a:lnTo>
                <a:lnTo>
                  <a:pt x="3756629" y="2825970"/>
                </a:lnTo>
                <a:lnTo>
                  <a:pt x="3753590" y="2827594"/>
                </a:lnTo>
                <a:lnTo>
                  <a:pt x="3753590" y="2830734"/>
                </a:lnTo>
                <a:lnTo>
                  <a:pt x="3755203" y="2832493"/>
                </a:lnTo>
                <a:lnTo>
                  <a:pt x="3753590" y="2830734"/>
                </a:lnTo>
                <a:lnTo>
                  <a:pt x="3753590" y="2827594"/>
                </a:lnTo>
                <a:lnTo>
                  <a:pt x="3756629" y="2825970"/>
                </a:lnTo>
                <a:lnTo>
                  <a:pt x="3760536" y="2826403"/>
                </a:lnTo>
                <a:close/>
                <a:moveTo>
                  <a:pt x="1983358" y="2822938"/>
                </a:moveTo>
                <a:lnTo>
                  <a:pt x="1979560" y="2825861"/>
                </a:lnTo>
                <a:lnTo>
                  <a:pt x="1979560" y="2825862"/>
                </a:lnTo>
                <a:lnTo>
                  <a:pt x="1983358" y="2822938"/>
                </a:lnTo>
                <a:close/>
                <a:moveTo>
                  <a:pt x="4294397" y="2822127"/>
                </a:moveTo>
                <a:lnTo>
                  <a:pt x="4301925" y="2830409"/>
                </a:lnTo>
                <a:lnTo>
                  <a:pt x="4305614" y="2833549"/>
                </a:lnTo>
                <a:lnTo>
                  <a:pt x="4309196" y="2839612"/>
                </a:lnTo>
                <a:lnTo>
                  <a:pt x="4313319" y="2846000"/>
                </a:lnTo>
                <a:lnTo>
                  <a:pt x="4313427" y="2850114"/>
                </a:lnTo>
                <a:lnTo>
                  <a:pt x="4313427" y="2850115"/>
                </a:lnTo>
                <a:lnTo>
                  <a:pt x="4316032" y="2853038"/>
                </a:lnTo>
                <a:lnTo>
                  <a:pt x="4317008" y="2857802"/>
                </a:lnTo>
                <a:lnTo>
                  <a:pt x="4321566" y="2857802"/>
                </a:lnTo>
                <a:lnTo>
                  <a:pt x="4325473" y="2856936"/>
                </a:lnTo>
                <a:lnTo>
                  <a:pt x="4331875" y="2856719"/>
                </a:lnTo>
                <a:lnTo>
                  <a:pt x="4332058" y="2856386"/>
                </a:lnTo>
                <a:lnTo>
                  <a:pt x="4331875" y="2856718"/>
                </a:lnTo>
                <a:lnTo>
                  <a:pt x="4325473" y="2856935"/>
                </a:lnTo>
                <a:lnTo>
                  <a:pt x="4321566" y="2857801"/>
                </a:lnTo>
                <a:lnTo>
                  <a:pt x="4317008" y="2857801"/>
                </a:lnTo>
                <a:lnTo>
                  <a:pt x="4316032" y="2853037"/>
                </a:lnTo>
                <a:lnTo>
                  <a:pt x="4313427" y="2850114"/>
                </a:lnTo>
                <a:lnTo>
                  <a:pt x="4313319" y="2845999"/>
                </a:lnTo>
                <a:lnTo>
                  <a:pt x="4309196" y="2839611"/>
                </a:lnTo>
                <a:lnTo>
                  <a:pt x="4305614" y="2833548"/>
                </a:lnTo>
                <a:lnTo>
                  <a:pt x="4301925" y="2830409"/>
                </a:lnTo>
                <a:close/>
                <a:moveTo>
                  <a:pt x="3959230" y="2819366"/>
                </a:moveTo>
                <a:lnTo>
                  <a:pt x="3961508" y="2821206"/>
                </a:lnTo>
                <a:lnTo>
                  <a:pt x="3961508" y="2821206"/>
                </a:lnTo>
                <a:close/>
                <a:moveTo>
                  <a:pt x="3888801" y="2818391"/>
                </a:moveTo>
                <a:lnTo>
                  <a:pt x="3890863" y="2824346"/>
                </a:lnTo>
                <a:lnTo>
                  <a:pt x="3888801" y="2829652"/>
                </a:lnTo>
                <a:lnTo>
                  <a:pt x="3890864" y="2824346"/>
                </a:lnTo>
                <a:close/>
                <a:moveTo>
                  <a:pt x="3693256" y="2814927"/>
                </a:moveTo>
                <a:lnTo>
                  <a:pt x="3697813" y="2819257"/>
                </a:lnTo>
                <a:lnTo>
                  <a:pt x="3697813" y="2819257"/>
                </a:lnTo>
                <a:close/>
                <a:moveTo>
                  <a:pt x="4498837" y="2814233"/>
                </a:moveTo>
                <a:lnTo>
                  <a:pt x="4498556" y="2815035"/>
                </a:lnTo>
                <a:lnTo>
                  <a:pt x="4498773" y="2822289"/>
                </a:lnTo>
                <a:lnTo>
                  <a:pt x="4499317" y="2822744"/>
                </a:lnTo>
                <a:lnTo>
                  <a:pt x="4499317" y="2822743"/>
                </a:lnTo>
                <a:lnTo>
                  <a:pt x="4498774" y="2822289"/>
                </a:lnTo>
                <a:lnTo>
                  <a:pt x="4498557" y="2815034"/>
                </a:lnTo>
                <a:close/>
                <a:moveTo>
                  <a:pt x="4432121" y="2813929"/>
                </a:moveTo>
                <a:lnTo>
                  <a:pt x="4428672" y="2816550"/>
                </a:lnTo>
                <a:lnTo>
                  <a:pt x="4419666" y="2817741"/>
                </a:lnTo>
                <a:lnTo>
                  <a:pt x="4413046" y="2818607"/>
                </a:lnTo>
                <a:lnTo>
                  <a:pt x="4406752" y="2817741"/>
                </a:lnTo>
                <a:lnTo>
                  <a:pt x="4402846" y="2816117"/>
                </a:lnTo>
                <a:lnTo>
                  <a:pt x="4397420" y="2816766"/>
                </a:lnTo>
                <a:lnTo>
                  <a:pt x="4393730" y="2815901"/>
                </a:lnTo>
                <a:lnTo>
                  <a:pt x="4390474" y="2817958"/>
                </a:lnTo>
                <a:lnTo>
                  <a:pt x="4393729" y="2815901"/>
                </a:lnTo>
                <a:lnTo>
                  <a:pt x="4397419" y="2816767"/>
                </a:lnTo>
                <a:lnTo>
                  <a:pt x="4402845" y="2816118"/>
                </a:lnTo>
                <a:lnTo>
                  <a:pt x="4406751" y="2817742"/>
                </a:lnTo>
                <a:lnTo>
                  <a:pt x="4413045" y="2818608"/>
                </a:lnTo>
                <a:lnTo>
                  <a:pt x="4419665" y="2817742"/>
                </a:lnTo>
                <a:lnTo>
                  <a:pt x="4428672" y="2816551"/>
                </a:lnTo>
                <a:close/>
                <a:moveTo>
                  <a:pt x="2214499" y="2813627"/>
                </a:moveTo>
                <a:lnTo>
                  <a:pt x="2216561" y="2813735"/>
                </a:lnTo>
                <a:lnTo>
                  <a:pt x="2220967" y="2821769"/>
                </a:lnTo>
                <a:lnTo>
                  <a:pt x="2216561" y="2813735"/>
                </a:lnTo>
                <a:close/>
                <a:moveTo>
                  <a:pt x="4758564" y="2813154"/>
                </a:moveTo>
                <a:lnTo>
                  <a:pt x="4758564" y="2813167"/>
                </a:lnTo>
                <a:lnTo>
                  <a:pt x="4758780" y="2816875"/>
                </a:lnTo>
                <a:lnTo>
                  <a:pt x="4757912" y="2828135"/>
                </a:lnTo>
                <a:lnTo>
                  <a:pt x="4757727" y="2828281"/>
                </a:lnTo>
                <a:lnTo>
                  <a:pt x="4757727" y="2828281"/>
                </a:lnTo>
                <a:lnTo>
                  <a:pt x="4757913" y="2828135"/>
                </a:lnTo>
                <a:lnTo>
                  <a:pt x="4758781" y="2816875"/>
                </a:lnTo>
                <a:close/>
                <a:moveTo>
                  <a:pt x="4018846" y="2812703"/>
                </a:moveTo>
                <a:lnTo>
                  <a:pt x="4018479" y="2812761"/>
                </a:lnTo>
                <a:lnTo>
                  <a:pt x="4017249" y="2813252"/>
                </a:lnTo>
                <a:lnTo>
                  <a:pt x="4018480" y="2812761"/>
                </a:lnTo>
                <a:close/>
                <a:moveTo>
                  <a:pt x="4246167" y="2812382"/>
                </a:moveTo>
                <a:lnTo>
                  <a:pt x="4246906" y="2817958"/>
                </a:lnTo>
                <a:lnTo>
                  <a:pt x="4245062" y="2821422"/>
                </a:lnTo>
                <a:lnTo>
                  <a:pt x="4244628" y="2826403"/>
                </a:lnTo>
                <a:lnTo>
                  <a:pt x="4239745" y="2829651"/>
                </a:lnTo>
                <a:lnTo>
                  <a:pt x="4233559" y="2836255"/>
                </a:lnTo>
                <a:lnTo>
                  <a:pt x="4231280" y="2839937"/>
                </a:lnTo>
                <a:lnTo>
                  <a:pt x="4232474" y="2843402"/>
                </a:lnTo>
                <a:lnTo>
                  <a:pt x="4231497" y="2847299"/>
                </a:lnTo>
                <a:lnTo>
                  <a:pt x="4224118" y="2854553"/>
                </a:lnTo>
                <a:lnTo>
                  <a:pt x="4222273" y="2860400"/>
                </a:lnTo>
                <a:lnTo>
                  <a:pt x="4222273" y="2860401"/>
                </a:lnTo>
                <a:lnTo>
                  <a:pt x="4224119" y="2854554"/>
                </a:lnTo>
                <a:lnTo>
                  <a:pt x="4231498" y="2847299"/>
                </a:lnTo>
                <a:lnTo>
                  <a:pt x="4232474" y="2843402"/>
                </a:lnTo>
                <a:lnTo>
                  <a:pt x="4231281" y="2839937"/>
                </a:lnTo>
                <a:lnTo>
                  <a:pt x="4233559" y="2836256"/>
                </a:lnTo>
                <a:lnTo>
                  <a:pt x="4239745" y="2829652"/>
                </a:lnTo>
                <a:lnTo>
                  <a:pt x="4244628" y="2826403"/>
                </a:lnTo>
                <a:lnTo>
                  <a:pt x="4245062" y="2821423"/>
                </a:lnTo>
                <a:lnTo>
                  <a:pt x="4246907" y="2817958"/>
                </a:lnTo>
                <a:close/>
                <a:moveTo>
                  <a:pt x="6169714" y="2812220"/>
                </a:moveTo>
                <a:lnTo>
                  <a:pt x="6168194" y="2815143"/>
                </a:lnTo>
                <a:lnTo>
                  <a:pt x="6165265" y="2813627"/>
                </a:lnTo>
                <a:close/>
                <a:moveTo>
                  <a:pt x="4280439" y="2812003"/>
                </a:moveTo>
                <a:lnTo>
                  <a:pt x="4280439" y="2812003"/>
                </a:lnTo>
                <a:lnTo>
                  <a:pt x="4283060" y="2812966"/>
                </a:lnTo>
                <a:close/>
                <a:moveTo>
                  <a:pt x="1981297" y="2810919"/>
                </a:moveTo>
                <a:lnTo>
                  <a:pt x="1978367" y="2814168"/>
                </a:lnTo>
                <a:lnTo>
                  <a:pt x="1978367" y="2814168"/>
                </a:lnTo>
                <a:lnTo>
                  <a:pt x="1981297" y="2810920"/>
                </a:lnTo>
                <a:close/>
                <a:moveTo>
                  <a:pt x="6909256" y="2808430"/>
                </a:moveTo>
                <a:lnTo>
                  <a:pt x="6910776" y="2809620"/>
                </a:lnTo>
                <a:lnTo>
                  <a:pt x="6910341" y="2812436"/>
                </a:lnTo>
                <a:lnTo>
                  <a:pt x="6906543" y="2813951"/>
                </a:lnTo>
                <a:lnTo>
                  <a:pt x="6903504" y="2811677"/>
                </a:lnTo>
                <a:lnTo>
                  <a:pt x="6904915" y="2808971"/>
                </a:lnTo>
                <a:close/>
                <a:moveTo>
                  <a:pt x="4277401" y="2807564"/>
                </a:moveTo>
                <a:lnTo>
                  <a:pt x="4279787" y="2809405"/>
                </a:lnTo>
                <a:lnTo>
                  <a:pt x="4280184" y="2810987"/>
                </a:lnTo>
                <a:lnTo>
                  <a:pt x="4279788" y="2809404"/>
                </a:lnTo>
                <a:close/>
                <a:moveTo>
                  <a:pt x="5864348" y="2806914"/>
                </a:moveTo>
                <a:lnTo>
                  <a:pt x="5869666" y="2808321"/>
                </a:lnTo>
                <a:lnTo>
                  <a:pt x="5869231" y="2810161"/>
                </a:lnTo>
                <a:lnTo>
                  <a:pt x="5872379" y="2811245"/>
                </a:lnTo>
                <a:lnTo>
                  <a:pt x="5873573" y="2809620"/>
                </a:lnTo>
                <a:lnTo>
                  <a:pt x="5880517" y="2812111"/>
                </a:lnTo>
                <a:lnTo>
                  <a:pt x="5880517" y="2814818"/>
                </a:lnTo>
                <a:lnTo>
                  <a:pt x="5881929" y="2816658"/>
                </a:lnTo>
                <a:lnTo>
                  <a:pt x="5883339" y="2821206"/>
                </a:lnTo>
                <a:lnTo>
                  <a:pt x="5885726" y="2820989"/>
                </a:lnTo>
                <a:lnTo>
                  <a:pt x="5888764" y="2826619"/>
                </a:lnTo>
                <a:lnTo>
                  <a:pt x="5890826" y="2827485"/>
                </a:lnTo>
                <a:lnTo>
                  <a:pt x="5891477" y="2829651"/>
                </a:lnTo>
                <a:lnTo>
                  <a:pt x="5886811" y="2832141"/>
                </a:lnTo>
                <a:lnTo>
                  <a:pt x="5890393" y="2832574"/>
                </a:lnTo>
                <a:lnTo>
                  <a:pt x="5890610" y="2833440"/>
                </a:lnTo>
                <a:lnTo>
                  <a:pt x="5894733" y="2832899"/>
                </a:lnTo>
                <a:lnTo>
                  <a:pt x="5897880" y="2840261"/>
                </a:lnTo>
                <a:lnTo>
                  <a:pt x="5901786" y="2850981"/>
                </a:lnTo>
                <a:lnTo>
                  <a:pt x="5905368" y="2854012"/>
                </a:lnTo>
                <a:lnTo>
                  <a:pt x="5904174" y="2857693"/>
                </a:lnTo>
                <a:lnTo>
                  <a:pt x="5906128" y="2860616"/>
                </a:lnTo>
                <a:lnTo>
                  <a:pt x="5906345" y="2867113"/>
                </a:lnTo>
                <a:lnTo>
                  <a:pt x="5905259" y="2868412"/>
                </a:lnTo>
                <a:lnTo>
                  <a:pt x="5905693" y="2872418"/>
                </a:lnTo>
                <a:lnTo>
                  <a:pt x="5904065" y="2876641"/>
                </a:lnTo>
                <a:lnTo>
                  <a:pt x="5900702" y="2883462"/>
                </a:lnTo>
                <a:lnTo>
                  <a:pt x="5892997" y="2891474"/>
                </a:lnTo>
                <a:lnTo>
                  <a:pt x="5885401" y="2893748"/>
                </a:lnTo>
                <a:lnTo>
                  <a:pt x="5877262" y="2894830"/>
                </a:lnTo>
                <a:lnTo>
                  <a:pt x="5872487" y="2896021"/>
                </a:lnTo>
                <a:lnTo>
                  <a:pt x="5866845" y="2892990"/>
                </a:lnTo>
                <a:lnTo>
                  <a:pt x="5863480" y="2887359"/>
                </a:lnTo>
                <a:lnTo>
                  <a:pt x="5859682" y="2874583"/>
                </a:lnTo>
                <a:lnTo>
                  <a:pt x="5856535" y="2863323"/>
                </a:lnTo>
                <a:lnTo>
                  <a:pt x="5857404" y="2859967"/>
                </a:lnTo>
                <a:lnTo>
                  <a:pt x="5855233" y="2850981"/>
                </a:lnTo>
                <a:lnTo>
                  <a:pt x="5856427" y="2849681"/>
                </a:lnTo>
                <a:lnTo>
                  <a:pt x="5855884" y="2846650"/>
                </a:lnTo>
                <a:lnTo>
                  <a:pt x="5857404" y="2835930"/>
                </a:lnTo>
                <a:lnTo>
                  <a:pt x="5859031" y="2833549"/>
                </a:lnTo>
                <a:lnTo>
                  <a:pt x="5858922" y="2827161"/>
                </a:lnTo>
                <a:lnTo>
                  <a:pt x="5856969" y="2822613"/>
                </a:lnTo>
                <a:lnTo>
                  <a:pt x="5857946" y="2821422"/>
                </a:lnTo>
                <a:lnTo>
                  <a:pt x="5856427" y="2819257"/>
                </a:lnTo>
                <a:lnTo>
                  <a:pt x="5853931" y="2818065"/>
                </a:lnTo>
                <a:lnTo>
                  <a:pt x="5853931" y="2816875"/>
                </a:lnTo>
                <a:lnTo>
                  <a:pt x="5856969" y="2817200"/>
                </a:lnTo>
                <a:lnTo>
                  <a:pt x="5859466" y="2819581"/>
                </a:lnTo>
                <a:lnTo>
                  <a:pt x="5860876" y="2820231"/>
                </a:lnTo>
                <a:lnTo>
                  <a:pt x="5863372" y="2815900"/>
                </a:lnTo>
                <a:lnTo>
                  <a:pt x="5863589" y="2812652"/>
                </a:lnTo>
                <a:lnTo>
                  <a:pt x="5863046" y="2811028"/>
                </a:lnTo>
                <a:lnTo>
                  <a:pt x="5864456" y="2810812"/>
                </a:lnTo>
                <a:lnTo>
                  <a:pt x="5865108" y="2809837"/>
                </a:lnTo>
                <a:lnTo>
                  <a:pt x="5864240" y="2808213"/>
                </a:lnTo>
                <a:close/>
                <a:moveTo>
                  <a:pt x="6932368" y="2806157"/>
                </a:moveTo>
                <a:lnTo>
                  <a:pt x="6936599" y="2809621"/>
                </a:lnTo>
                <a:lnTo>
                  <a:pt x="6935948" y="2813735"/>
                </a:lnTo>
                <a:lnTo>
                  <a:pt x="6932477" y="2811462"/>
                </a:lnTo>
                <a:lnTo>
                  <a:pt x="6931500" y="2808538"/>
                </a:lnTo>
                <a:close/>
                <a:moveTo>
                  <a:pt x="4502418" y="2805630"/>
                </a:moveTo>
                <a:lnTo>
                  <a:pt x="4501812" y="2808213"/>
                </a:lnTo>
                <a:lnTo>
                  <a:pt x="4501812" y="2808213"/>
                </a:lnTo>
                <a:close/>
                <a:moveTo>
                  <a:pt x="4276423" y="2804965"/>
                </a:moveTo>
                <a:lnTo>
                  <a:pt x="4276423" y="2804966"/>
                </a:lnTo>
                <a:lnTo>
                  <a:pt x="4276980" y="2806446"/>
                </a:lnTo>
                <a:close/>
                <a:moveTo>
                  <a:pt x="3957992" y="2802663"/>
                </a:moveTo>
                <a:lnTo>
                  <a:pt x="3959013" y="2803450"/>
                </a:lnTo>
                <a:lnTo>
                  <a:pt x="3961073" y="2804208"/>
                </a:lnTo>
                <a:lnTo>
                  <a:pt x="3959012" y="2803449"/>
                </a:lnTo>
                <a:close/>
                <a:moveTo>
                  <a:pt x="4027684" y="2802417"/>
                </a:moveTo>
                <a:lnTo>
                  <a:pt x="4025532" y="2806157"/>
                </a:lnTo>
                <a:lnTo>
                  <a:pt x="4024398" y="2808539"/>
                </a:lnTo>
                <a:lnTo>
                  <a:pt x="4025533" y="2806156"/>
                </a:lnTo>
                <a:close/>
                <a:moveTo>
                  <a:pt x="3984441" y="2802162"/>
                </a:moveTo>
                <a:lnTo>
                  <a:pt x="3985923" y="2809404"/>
                </a:lnTo>
                <a:lnTo>
                  <a:pt x="3985707" y="2816118"/>
                </a:lnTo>
                <a:lnTo>
                  <a:pt x="3985924" y="2809405"/>
                </a:lnTo>
                <a:close/>
                <a:moveTo>
                  <a:pt x="6341930" y="2801176"/>
                </a:moveTo>
                <a:lnTo>
                  <a:pt x="6343342" y="2804641"/>
                </a:lnTo>
                <a:lnTo>
                  <a:pt x="6342365" y="2809405"/>
                </a:lnTo>
                <a:lnTo>
                  <a:pt x="6338892" y="2806481"/>
                </a:lnTo>
                <a:lnTo>
                  <a:pt x="6338566" y="2803341"/>
                </a:lnTo>
                <a:close/>
                <a:moveTo>
                  <a:pt x="5868255" y="2799877"/>
                </a:moveTo>
                <a:lnTo>
                  <a:pt x="5871727" y="2800743"/>
                </a:lnTo>
                <a:lnTo>
                  <a:pt x="5872595" y="2804316"/>
                </a:lnTo>
                <a:lnTo>
                  <a:pt x="5878130" y="2807780"/>
                </a:lnTo>
                <a:lnTo>
                  <a:pt x="5879107" y="2810054"/>
                </a:lnTo>
                <a:lnTo>
                  <a:pt x="5876719" y="2808213"/>
                </a:lnTo>
                <a:lnTo>
                  <a:pt x="5872812" y="2808321"/>
                </a:lnTo>
                <a:lnTo>
                  <a:pt x="5870641" y="2806373"/>
                </a:lnTo>
                <a:lnTo>
                  <a:pt x="5865758" y="2804316"/>
                </a:lnTo>
                <a:lnTo>
                  <a:pt x="5866084" y="2802583"/>
                </a:lnTo>
                <a:lnTo>
                  <a:pt x="5868797" y="2802258"/>
                </a:lnTo>
                <a:lnTo>
                  <a:pt x="5867386" y="2801393"/>
                </a:lnTo>
                <a:close/>
                <a:moveTo>
                  <a:pt x="3885112" y="2798469"/>
                </a:moveTo>
                <a:lnTo>
                  <a:pt x="3883267" y="2806048"/>
                </a:lnTo>
                <a:lnTo>
                  <a:pt x="3883268" y="2806049"/>
                </a:lnTo>
                <a:lnTo>
                  <a:pt x="3885112" y="2798470"/>
                </a:lnTo>
                <a:close/>
                <a:moveTo>
                  <a:pt x="5864347" y="2797928"/>
                </a:moveTo>
                <a:lnTo>
                  <a:pt x="5865542" y="2798794"/>
                </a:lnTo>
                <a:lnTo>
                  <a:pt x="5863805" y="2802908"/>
                </a:lnTo>
                <a:lnTo>
                  <a:pt x="5862394" y="2803233"/>
                </a:lnTo>
                <a:lnTo>
                  <a:pt x="5862829" y="2805290"/>
                </a:lnTo>
                <a:lnTo>
                  <a:pt x="5856644" y="2801284"/>
                </a:lnTo>
                <a:lnTo>
                  <a:pt x="5856535" y="2798361"/>
                </a:lnTo>
                <a:close/>
                <a:moveTo>
                  <a:pt x="4441911" y="2797711"/>
                </a:moveTo>
                <a:lnTo>
                  <a:pt x="4438439" y="2800093"/>
                </a:lnTo>
                <a:lnTo>
                  <a:pt x="4438439" y="2800094"/>
                </a:lnTo>
                <a:lnTo>
                  <a:pt x="4441911" y="2797712"/>
                </a:lnTo>
                <a:close/>
                <a:moveTo>
                  <a:pt x="6963621" y="2797386"/>
                </a:moveTo>
                <a:lnTo>
                  <a:pt x="6966008" y="2799443"/>
                </a:lnTo>
                <a:lnTo>
                  <a:pt x="6965140" y="2802366"/>
                </a:lnTo>
                <a:lnTo>
                  <a:pt x="6963078" y="2800092"/>
                </a:lnTo>
                <a:close/>
                <a:moveTo>
                  <a:pt x="2214120" y="2796423"/>
                </a:moveTo>
                <a:lnTo>
                  <a:pt x="2213522" y="2803774"/>
                </a:lnTo>
                <a:lnTo>
                  <a:pt x="2209941" y="2811462"/>
                </a:lnTo>
                <a:lnTo>
                  <a:pt x="2209398" y="2813843"/>
                </a:lnTo>
                <a:lnTo>
                  <a:pt x="2209399" y="2813843"/>
                </a:lnTo>
                <a:lnTo>
                  <a:pt x="2209941" y="2811461"/>
                </a:lnTo>
                <a:lnTo>
                  <a:pt x="2213522" y="2803774"/>
                </a:lnTo>
                <a:close/>
                <a:moveTo>
                  <a:pt x="6950708" y="2796304"/>
                </a:moveTo>
                <a:lnTo>
                  <a:pt x="6954507" y="2797170"/>
                </a:lnTo>
                <a:lnTo>
                  <a:pt x="6956026" y="2796737"/>
                </a:lnTo>
                <a:lnTo>
                  <a:pt x="6957002" y="2800743"/>
                </a:lnTo>
                <a:lnTo>
                  <a:pt x="6963622" y="2806048"/>
                </a:lnTo>
                <a:lnTo>
                  <a:pt x="6968288" y="2810704"/>
                </a:lnTo>
                <a:lnTo>
                  <a:pt x="6971327" y="2807997"/>
                </a:lnTo>
                <a:lnTo>
                  <a:pt x="6971218" y="2811570"/>
                </a:lnTo>
                <a:lnTo>
                  <a:pt x="6974582" y="2816659"/>
                </a:lnTo>
                <a:lnTo>
                  <a:pt x="6974582" y="2822722"/>
                </a:lnTo>
                <a:lnTo>
                  <a:pt x="6971327" y="2822181"/>
                </a:lnTo>
                <a:lnTo>
                  <a:pt x="6970675" y="2824779"/>
                </a:lnTo>
                <a:lnTo>
                  <a:pt x="6973388" y="2828244"/>
                </a:lnTo>
                <a:lnTo>
                  <a:pt x="6975341" y="2828460"/>
                </a:lnTo>
                <a:lnTo>
                  <a:pt x="6975016" y="2831275"/>
                </a:lnTo>
                <a:lnTo>
                  <a:pt x="6975125" y="2837013"/>
                </a:lnTo>
                <a:lnTo>
                  <a:pt x="6976861" y="2834199"/>
                </a:lnTo>
                <a:lnTo>
                  <a:pt x="6977620" y="2839720"/>
                </a:lnTo>
                <a:lnTo>
                  <a:pt x="6977620" y="2845026"/>
                </a:lnTo>
                <a:lnTo>
                  <a:pt x="6980116" y="2849032"/>
                </a:lnTo>
                <a:lnTo>
                  <a:pt x="6982938" y="2853579"/>
                </a:lnTo>
                <a:lnTo>
                  <a:pt x="6983806" y="2861266"/>
                </a:lnTo>
                <a:lnTo>
                  <a:pt x="6981310" y="2867654"/>
                </a:lnTo>
                <a:lnTo>
                  <a:pt x="6979356" y="2867438"/>
                </a:lnTo>
                <a:lnTo>
                  <a:pt x="6979465" y="2870361"/>
                </a:lnTo>
                <a:lnTo>
                  <a:pt x="6977838" y="2867221"/>
                </a:lnTo>
                <a:lnTo>
                  <a:pt x="6975125" y="2867654"/>
                </a:lnTo>
                <a:lnTo>
                  <a:pt x="6974257" y="2870578"/>
                </a:lnTo>
                <a:lnTo>
                  <a:pt x="6975993" y="2877507"/>
                </a:lnTo>
                <a:lnTo>
                  <a:pt x="6975450" y="2882812"/>
                </a:lnTo>
                <a:lnTo>
                  <a:pt x="6975341" y="2886168"/>
                </a:lnTo>
                <a:lnTo>
                  <a:pt x="6973714" y="2882812"/>
                </a:lnTo>
                <a:lnTo>
                  <a:pt x="6971544" y="2875666"/>
                </a:lnTo>
                <a:lnTo>
                  <a:pt x="6971761" y="2871335"/>
                </a:lnTo>
                <a:lnTo>
                  <a:pt x="6969482" y="2867654"/>
                </a:lnTo>
                <a:lnTo>
                  <a:pt x="6968288" y="2862999"/>
                </a:lnTo>
                <a:lnTo>
                  <a:pt x="6964925" y="2858234"/>
                </a:lnTo>
                <a:lnTo>
                  <a:pt x="6961777" y="2860076"/>
                </a:lnTo>
                <a:lnTo>
                  <a:pt x="6955917" y="2870361"/>
                </a:lnTo>
                <a:lnTo>
                  <a:pt x="6954940" y="2874150"/>
                </a:lnTo>
                <a:lnTo>
                  <a:pt x="6959064" y="2877290"/>
                </a:lnTo>
                <a:lnTo>
                  <a:pt x="6961669" y="2883570"/>
                </a:lnTo>
                <a:lnTo>
                  <a:pt x="6963839" y="2886601"/>
                </a:lnTo>
                <a:lnTo>
                  <a:pt x="6963622" y="2891474"/>
                </a:lnTo>
                <a:lnTo>
                  <a:pt x="6957002" y="2899919"/>
                </a:lnTo>
                <a:lnTo>
                  <a:pt x="6953638" y="2902409"/>
                </a:lnTo>
                <a:lnTo>
                  <a:pt x="6952119" y="2900461"/>
                </a:lnTo>
                <a:lnTo>
                  <a:pt x="6950600" y="2896021"/>
                </a:lnTo>
                <a:lnTo>
                  <a:pt x="6952336" y="2893314"/>
                </a:lnTo>
                <a:lnTo>
                  <a:pt x="6950817" y="2891365"/>
                </a:lnTo>
                <a:lnTo>
                  <a:pt x="6948321" y="2893098"/>
                </a:lnTo>
                <a:lnTo>
                  <a:pt x="6947778" y="2895696"/>
                </a:lnTo>
                <a:lnTo>
                  <a:pt x="6943872" y="2897970"/>
                </a:lnTo>
                <a:lnTo>
                  <a:pt x="6938880" y="2895913"/>
                </a:lnTo>
                <a:lnTo>
                  <a:pt x="6934756" y="2892123"/>
                </a:lnTo>
                <a:lnTo>
                  <a:pt x="6929439" y="2892123"/>
                </a:lnTo>
                <a:lnTo>
                  <a:pt x="6924881" y="2886927"/>
                </a:lnTo>
                <a:lnTo>
                  <a:pt x="6924122" y="2882920"/>
                </a:lnTo>
                <a:lnTo>
                  <a:pt x="6920757" y="2878481"/>
                </a:lnTo>
                <a:lnTo>
                  <a:pt x="6921843" y="2875450"/>
                </a:lnTo>
                <a:lnTo>
                  <a:pt x="6921300" y="2871768"/>
                </a:lnTo>
                <a:lnTo>
                  <a:pt x="6919021" y="2869062"/>
                </a:lnTo>
                <a:lnTo>
                  <a:pt x="6921191" y="2866354"/>
                </a:lnTo>
                <a:lnTo>
                  <a:pt x="6920975" y="2863865"/>
                </a:lnTo>
                <a:lnTo>
                  <a:pt x="6922820" y="2862890"/>
                </a:lnTo>
                <a:lnTo>
                  <a:pt x="6927052" y="2864406"/>
                </a:lnTo>
                <a:lnTo>
                  <a:pt x="6923253" y="2860725"/>
                </a:lnTo>
                <a:lnTo>
                  <a:pt x="6922277" y="2856719"/>
                </a:lnTo>
                <a:lnTo>
                  <a:pt x="6917718" y="2852929"/>
                </a:lnTo>
                <a:lnTo>
                  <a:pt x="6913704" y="2852172"/>
                </a:lnTo>
                <a:lnTo>
                  <a:pt x="6909146" y="2848166"/>
                </a:lnTo>
                <a:lnTo>
                  <a:pt x="6906976" y="2848057"/>
                </a:lnTo>
                <a:lnTo>
                  <a:pt x="6905023" y="2850114"/>
                </a:lnTo>
                <a:lnTo>
                  <a:pt x="6906107" y="2852280"/>
                </a:lnTo>
                <a:lnTo>
                  <a:pt x="6904480" y="2854337"/>
                </a:lnTo>
                <a:lnTo>
                  <a:pt x="6907084" y="2858018"/>
                </a:lnTo>
                <a:lnTo>
                  <a:pt x="6905131" y="2857802"/>
                </a:lnTo>
                <a:lnTo>
                  <a:pt x="6901333" y="2854986"/>
                </a:lnTo>
                <a:lnTo>
                  <a:pt x="6898837" y="2855311"/>
                </a:lnTo>
                <a:lnTo>
                  <a:pt x="6900030" y="2852388"/>
                </a:lnTo>
                <a:lnTo>
                  <a:pt x="6897644" y="2851522"/>
                </a:lnTo>
                <a:lnTo>
                  <a:pt x="6895799" y="2852929"/>
                </a:lnTo>
                <a:lnTo>
                  <a:pt x="6895473" y="2857260"/>
                </a:lnTo>
                <a:lnTo>
                  <a:pt x="6893086" y="2855852"/>
                </a:lnTo>
                <a:lnTo>
                  <a:pt x="6890915" y="2857044"/>
                </a:lnTo>
                <a:lnTo>
                  <a:pt x="6889505" y="2855636"/>
                </a:lnTo>
                <a:lnTo>
                  <a:pt x="6890481" y="2850764"/>
                </a:lnTo>
                <a:lnTo>
                  <a:pt x="6887334" y="2847732"/>
                </a:lnTo>
                <a:lnTo>
                  <a:pt x="6884730" y="2848923"/>
                </a:lnTo>
                <a:lnTo>
                  <a:pt x="6882125" y="2854770"/>
                </a:lnTo>
                <a:lnTo>
                  <a:pt x="6879412" y="2857152"/>
                </a:lnTo>
                <a:lnTo>
                  <a:pt x="6875831" y="2867221"/>
                </a:lnTo>
                <a:lnTo>
                  <a:pt x="6873878" y="2870361"/>
                </a:lnTo>
                <a:lnTo>
                  <a:pt x="6868886" y="2865056"/>
                </a:lnTo>
                <a:lnTo>
                  <a:pt x="6872142" y="2858343"/>
                </a:lnTo>
                <a:lnTo>
                  <a:pt x="6873552" y="2851413"/>
                </a:lnTo>
                <a:lnTo>
                  <a:pt x="6871925" y="2848057"/>
                </a:lnTo>
                <a:lnTo>
                  <a:pt x="6876265" y="2842860"/>
                </a:lnTo>
                <a:lnTo>
                  <a:pt x="6880932" y="2841669"/>
                </a:lnTo>
                <a:lnTo>
                  <a:pt x="6884404" y="2838205"/>
                </a:lnTo>
                <a:lnTo>
                  <a:pt x="6888853" y="2839612"/>
                </a:lnTo>
                <a:lnTo>
                  <a:pt x="6895581" y="2838205"/>
                </a:lnTo>
                <a:lnTo>
                  <a:pt x="6893519" y="2834199"/>
                </a:lnTo>
                <a:lnTo>
                  <a:pt x="6895690" y="2829976"/>
                </a:lnTo>
                <a:lnTo>
                  <a:pt x="6901224" y="2827594"/>
                </a:lnTo>
                <a:lnTo>
                  <a:pt x="6904046" y="2823371"/>
                </a:lnTo>
                <a:lnTo>
                  <a:pt x="6907844" y="2823046"/>
                </a:lnTo>
                <a:lnTo>
                  <a:pt x="6914138" y="2828460"/>
                </a:lnTo>
                <a:lnTo>
                  <a:pt x="6914464" y="2836364"/>
                </a:lnTo>
                <a:lnTo>
                  <a:pt x="6909580" y="2843835"/>
                </a:lnTo>
                <a:lnTo>
                  <a:pt x="6913812" y="2839612"/>
                </a:lnTo>
                <a:lnTo>
                  <a:pt x="6918370" y="2838529"/>
                </a:lnTo>
                <a:lnTo>
                  <a:pt x="6923796" y="2835715"/>
                </a:lnTo>
                <a:lnTo>
                  <a:pt x="6926400" y="2827594"/>
                </a:lnTo>
                <a:lnTo>
                  <a:pt x="6931392" y="2825537"/>
                </a:lnTo>
                <a:lnTo>
                  <a:pt x="6933779" y="2830842"/>
                </a:lnTo>
                <a:lnTo>
                  <a:pt x="6936710" y="2829434"/>
                </a:lnTo>
                <a:lnTo>
                  <a:pt x="6937252" y="2825645"/>
                </a:lnTo>
                <a:lnTo>
                  <a:pt x="6935407" y="2824238"/>
                </a:lnTo>
                <a:lnTo>
                  <a:pt x="6937795" y="2815034"/>
                </a:lnTo>
                <a:lnTo>
                  <a:pt x="6942895" y="2817092"/>
                </a:lnTo>
                <a:lnTo>
                  <a:pt x="6945825" y="2819258"/>
                </a:lnTo>
                <a:lnTo>
                  <a:pt x="6947019" y="2817092"/>
                </a:lnTo>
                <a:lnTo>
                  <a:pt x="6947019" y="2810920"/>
                </a:lnTo>
                <a:lnTo>
                  <a:pt x="6948755" y="2810487"/>
                </a:lnTo>
                <a:lnTo>
                  <a:pt x="6952444" y="2814493"/>
                </a:lnTo>
                <a:lnTo>
                  <a:pt x="6952553" y="2810920"/>
                </a:lnTo>
                <a:lnTo>
                  <a:pt x="6950491" y="2801609"/>
                </a:lnTo>
                <a:close/>
                <a:moveTo>
                  <a:pt x="6340844" y="2796088"/>
                </a:moveTo>
                <a:lnTo>
                  <a:pt x="6339651" y="2798578"/>
                </a:lnTo>
                <a:lnTo>
                  <a:pt x="6336504" y="2797712"/>
                </a:lnTo>
                <a:close/>
                <a:moveTo>
                  <a:pt x="4303414" y="2794911"/>
                </a:moveTo>
                <a:lnTo>
                  <a:pt x="4304312" y="2795004"/>
                </a:lnTo>
                <a:lnTo>
                  <a:pt x="4306917" y="2796520"/>
                </a:lnTo>
                <a:lnTo>
                  <a:pt x="4307434" y="2796606"/>
                </a:lnTo>
                <a:lnTo>
                  <a:pt x="4306917" y="2796520"/>
                </a:lnTo>
                <a:lnTo>
                  <a:pt x="4304313" y="2795004"/>
                </a:lnTo>
                <a:close/>
                <a:moveTo>
                  <a:pt x="4260905" y="2794788"/>
                </a:moveTo>
                <a:lnTo>
                  <a:pt x="4260037" y="2800310"/>
                </a:lnTo>
                <a:lnTo>
                  <a:pt x="4255914" y="2805507"/>
                </a:lnTo>
                <a:lnTo>
                  <a:pt x="4249403" y="2807347"/>
                </a:lnTo>
                <a:lnTo>
                  <a:pt x="4245930" y="2810595"/>
                </a:lnTo>
                <a:lnTo>
                  <a:pt x="4245930" y="2810596"/>
                </a:lnTo>
                <a:lnTo>
                  <a:pt x="4249403" y="2807348"/>
                </a:lnTo>
                <a:lnTo>
                  <a:pt x="4255914" y="2805507"/>
                </a:lnTo>
                <a:lnTo>
                  <a:pt x="4260037" y="2800310"/>
                </a:lnTo>
                <a:lnTo>
                  <a:pt x="4260905" y="2794789"/>
                </a:lnTo>
                <a:close/>
                <a:moveTo>
                  <a:pt x="4287599" y="2794749"/>
                </a:moveTo>
                <a:lnTo>
                  <a:pt x="4288252" y="2795004"/>
                </a:lnTo>
                <a:lnTo>
                  <a:pt x="4288252" y="2795004"/>
                </a:lnTo>
                <a:close/>
                <a:moveTo>
                  <a:pt x="3755072" y="2794401"/>
                </a:moveTo>
                <a:lnTo>
                  <a:pt x="3755977" y="2804641"/>
                </a:lnTo>
                <a:lnTo>
                  <a:pt x="3755272" y="2806373"/>
                </a:lnTo>
                <a:lnTo>
                  <a:pt x="3755978" y="2804640"/>
                </a:lnTo>
                <a:close/>
                <a:moveTo>
                  <a:pt x="4033211" y="2794040"/>
                </a:moveTo>
                <a:lnTo>
                  <a:pt x="4030199" y="2796845"/>
                </a:lnTo>
                <a:lnTo>
                  <a:pt x="4029077" y="2799830"/>
                </a:lnTo>
                <a:lnTo>
                  <a:pt x="4030200" y="2796845"/>
                </a:lnTo>
                <a:close/>
                <a:moveTo>
                  <a:pt x="4306433" y="2790763"/>
                </a:moveTo>
                <a:lnTo>
                  <a:pt x="4310823" y="2794463"/>
                </a:lnTo>
                <a:lnTo>
                  <a:pt x="4312884" y="2795221"/>
                </a:lnTo>
                <a:lnTo>
                  <a:pt x="4312885" y="2795221"/>
                </a:lnTo>
                <a:lnTo>
                  <a:pt x="4310824" y="2794463"/>
                </a:lnTo>
                <a:close/>
                <a:moveTo>
                  <a:pt x="4445167" y="2790132"/>
                </a:moveTo>
                <a:lnTo>
                  <a:pt x="4442538" y="2793083"/>
                </a:lnTo>
                <a:lnTo>
                  <a:pt x="4445166" y="2790133"/>
                </a:lnTo>
                <a:lnTo>
                  <a:pt x="4447011" y="2791324"/>
                </a:lnTo>
                <a:lnTo>
                  <a:pt x="4449507" y="2791107"/>
                </a:lnTo>
                <a:lnTo>
                  <a:pt x="4449507" y="2791107"/>
                </a:lnTo>
                <a:lnTo>
                  <a:pt x="4447012" y="2791323"/>
                </a:lnTo>
                <a:close/>
                <a:moveTo>
                  <a:pt x="2213360" y="2789265"/>
                </a:moveTo>
                <a:lnTo>
                  <a:pt x="2212654" y="2791648"/>
                </a:lnTo>
                <a:lnTo>
                  <a:pt x="2214173" y="2795762"/>
                </a:lnTo>
                <a:lnTo>
                  <a:pt x="2214173" y="2795762"/>
                </a:lnTo>
                <a:lnTo>
                  <a:pt x="2212654" y="2791647"/>
                </a:lnTo>
                <a:close/>
                <a:moveTo>
                  <a:pt x="6945824" y="2787101"/>
                </a:moveTo>
                <a:lnTo>
                  <a:pt x="6948211" y="2791431"/>
                </a:lnTo>
                <a:lnTo>
                  <a:pt x="6948211" y="2795004"/>
                </a:lnTo>
                <a:lnTo>
                  <a:pt x="6944956" y="2791215"/>
                </a:lnTo>
                <a:close/>
                <a:moveTo>
                  <a:pt x="6966986" y="2786776"/>
                </a:moveTo>
                <a:lnTo>
                  <a:pt x="6969264" y="2791214"/>
                </a:lnTo>
                <a:lnTo>
                  <a:pt x="6971001" y="2795761"/>
                </a:lnTo>
                <a:lnTo>
                  <a:pt x="6967637" y="2796952"/>
                </a:lnTo>
                <a:lnTo>
                  <a:pt x="6965358" y="2793921"/>
                </a:lnTo>
                <a:lnTo>
                  <a:pt x="6966118" y="2791972"/>
                </a:lnTo>
                <a:close/>
                <a:moveTo>
                  <a:pt x="6926725" y="2786343"/>
                </a:moveTo>
                <a:lnTo>
                  <a:pt x="6929329" y="2788725"/>
                </a:lnTo>
                <a:lnTo>
                  <a:pt x="6929764" y="2793814"/>
                </a:lnTo>
                <a:lnTo>
                  <a:pt x="6927918" y="2796953"/>
                </a:lnTo>
                <a:lnTo>
                  <a:pt x="6920756" y="2800310"/>
                </a:lnTo>
                <a:lnTo>
                  <a:pt x="6914788" y="2800635"/>
                </a:lnTo>
                <a:lnTo>
                  <a:pt x="6915222" y="2798361"/>
                </a:lnTo>
                <a:lnTo>
                  <a:pt x="6912943" y="2795221"/>
                </a:lnTo>
                <a:lnTo>
                  <a:pt x="6915765" y="2791323"/>
                </a:lnTo>
                <a:lnTo>
                  <a:pt x="6924012" y="2786451"/>
                </a:lnTo>
                <a:close/>
                <a:moveTo>
                  <a:pt x="4456669" y="2783095"/>
                </a:moveTo>
                <a:lnTo>
                  <a:pt x="4453848" y="2784177"/>
                </a:lnTo>
                <a:lnTo>
                  <a:pt x="4453848" y="2784178"/>
                </a:lnTo>
                <a:lnTo>
                  <a:pt x="4456669" y="2783095"/>
                </a:lnTo>
                <a:close/>
                <a:moveTo>
                  <a:pt x="4034270" y="2782482"/>
                </a:moveTo>
                <a:lnTo>
                  <a:pt x="4033237" y="2784178"/>
                </a:lnTo>
                <a:lnTo>
                  <a:pt x="4032912" y="2786343"/>
                </a:lnTo>
                <a:lnTo>
                  <a:pt x="4038012" y="2791865"/>
                </a:lnTo>
                <a:lnTo>
                  <a:pt x="4038012" y="2791864"/>
                </a:lnTo>
                <a:lnTo>
                  <a:pt x="4032913" y="2786343"/>
                </a:lnTo>
                <a:lnTo>
                  <a:pt x="4033238" y="2784177"/>
                </a:lnTo>
                <a:close/>
                <a:moveTo>
                  <a:pt x="6436665" y="2780496"/>
                </a:moveTo>
                <a:lnTo>
                  <a:pt x="6438075" y="2783743"/>
                </a:lnTo>
                <a:lnTo>
                  <a:pt x="6439594" y="2784394"/>
                </a:lnTo>
                <a:lnTo>
                  <a:pt x="6438510" y="2791539"/>
                </a:lnTo>
                <a:lnTo>
                  <a:pt x="6435905" y="2792839"/>
                </a:lnTo>
                <a:lnTo>
                  <a:pt x="6433843" y="2788941"/>
                </a:lnTo>
                <a:lnTo>
                  <a:pt x="6434928" y="2786451"/>
                </a:lnTo>
                <a:lnTo>
                  <a:pt x="6432215" y="2783202"/>
                </a:lnTo>
                <a:close/>
                <a:moveTo>
                  <a:pt x="3774099" y="2779197"/>
                </a:moveTo>
                <a:lnTo>
                  <a:pt x="3771060" y="2779413"/>
                </a:lnTo>
                <a:lnTo>
                  <a:pt x="3764116" y="2783310"/>
                </a:lnTo>
                <a:lnTo>
                  <a:pt x="3764116" y="2783312"/>
                </a:lnTo>
                <a:lnTo>
                  <a:pt x="3762177" y="2784494"/>
                </a:lnTo>
                <a:lnTo>
                  <a:pt x="3762218" y="2784470"/>
                </a:lnTo>
                <a:lnTo>
                  <a:pt x="3764117" y="2783312"/>
                </a:lnTo>
                <a:lnTo>
                  <a:pt x="3770978" y="2779461"/>
                </a:lnTo>
                <a:lnTo>
                  <a:pt x="3771061" y="2779414"/>
                </a:lnTo>
                <a:lnTo>
                  <a:pt x="3774100" y="2779197"/>
                </a:lnTo>
                <a:close/>
                <a:moveTo>
                  <a:pt x="3791787" y="2778764"/>
                </a:moveTo>
                <a:lnTo>
                  <a:pt x="3791570" y="2780821"/>
                </a:lnTo>
                <a:lnTo>
                  <a:pt x="3789508" y="2782662"/>
                </a:lnTo>
                <a:lnTo>
                  <a:pt x="3789509" y="2782662"/>
                </a:lnTo>
                <a:lnTo>
                  <a:pt x="3791571" y="2780821"/>
                </a:lnTo>
                <a:lnTo>
                  <a:pt x="3791788" y="2778764"/>
                </a:lnTo>
                <a:close/>
                <a:moveTo>
                  <a:pt x="6956785" y="2778223"/>
                </a:moveTo>
                <a:lnTo>
                  <a:pt x="6957978" y="2780929"/>
                </a:lnTo>
                <a:lnTo>
                  <a:pt x="6956242" y="2782012"/>
                </a:lnTo>
                <a:lnTo>
                  <a:pt x="6956242" y="2786451"/>
                </a:lnTo>
                <a:lnTo>
                  <a:pt x="6959498" y="2790457"/>
                </a:lnTo>
                <a:lnTo>
                  <a:pt x="6958412" y="2795870"/>
                </a:lnTo>
                <a:lnTo>
                  <a:pt x="6956567" y="2795546"/>
                </a:lnTo>
                <a:lnTo>
                  <a:pt x="6955590" y="2793272"/>
                </a:lnTo>
                <a:lnTo>
                  <a:pt x="6956242" y="2790349"/>
                </a:lnTo>
                <a:lnTo>
                  <a:pt x="6953529" y="2784502"/>
                </a:lnTo>
                <a:lnTo>
                  <a:pt x="6954397" y="2779197"/>
                </a:lnTo>
                <a:close/>
                <a:moveTo>
                  <a:pt x="3799601" y="2777140"/>
                </a:moveTo>
                <a:lnTo>
                  <a:pt x="3797915" y="2777490"/>
                </a:lnTo>
                <a:lnTo>
                  <a:pt x="3799601" y="2777140"/>
                </a:lnTo>
                <a:close/>
                <a:moveTo>
                  <a:pt x="3945448" y="2775083"/>
                </a:moveTo>
                <a:lnTo>
                  <a:pt x="3945448" y="2775083"/>
                </a:lnTo>
                <a:lnTo>
                  <a:pt x="3950657" y="2779848"/>
                </a:lnTo>
                <a:lnTo>
                  <a:pt x="3952719" y="2782771"/>
                </a:lnTo>
                <a:lnTo>
                  <a:pt x="3957710" y="2786451"/>
                </a:lnTo>
                <a:lnTo>
                  <a:pt x="3957710" y="2786451"/>
                </a:lnTo>
                <a:lnTo>
                  <a:pt x="3952718" y="2782770"/>
                </a:lnTo>
                <a:lnTo>
                  <a:pt x="3950656" y="2779847"/>
                </a:lnTo>
                <a:close/>
                <a:moveTo>
                  <a:pt x="4485359" y="2774305"/>
                </a:moveTo>
                <a:lnTo>
                  <a:pt x="4484774" y="2775083"/>
                </a:lnTo>
                <a:lnTo>
                  <a:pt x="4489875" y="2779306"/>
                </a:lnTo>
                <a:lnTo>
                  <a:pt x="4490743" y="2781796"/>
                </a:lnTo>
                <a:lnTo>
                  <a:pt x="4497146" y="2790241"/>
                </a:lnTo>
                <a:lnTo>
                  <a:pt x="4501269" y="2799552"/>
                </a:lnTo>
                <a:lnTo>
                  <a:pt x="4503005" y="2803125"/>
                </a:lnTo>
                <a:lnTo>
                  <a:pt x="4503006" y="2803124"/>
                </a:lnTo>
                <a:lnTo>
                  <a:pt x="4501270" y="2799551"/>
                </a:lnTo>
                <a:lnTo>
                  <a:pt x="4497146" y="2790240"/>
                </a:lnTo>
                <a:lnTo>
                  <a:pt x="4490743" y="2781795"/>
                </a:lnTo>
                <a:lnTo>
                  <a:pt x="4489875" y="2779305"/>
                </a:lnTo>
                <a:lnTo>
                  <a:pt x="4484775" y="2775082"/>
                </a:lnTo>
                <a:close/>
                <a:moveTo>
                  <a:pt x="6814520" y="2773676"/>
                </a:moveTo>
                <a:lnTo>
                  <a:pt x="6815931" y="2775841"/>
                </a:lnTo>
                <a:lnTo>
                  <a:pt x="6817776" y="2777357"/>
                </a:lnTo>
                <a:lnTo>
                  <a:pt x="6817668" y="2780063"/>
                </a:lnTo>
                <a:lnTo>
                  <a:pt x="6814086" y="2780280"/>
                </a:lnTo>
                <a:lnTo>
                  <a:pt x="6810722" y="2779955"/>
                </a:lnTo>
                <a:lnTo>
                  <a:pt x="6811915" y="2776924"/>
                </a:lnTo>
                <a:lnTo>
                  <a:pt x="6813761" y="2775625"/>
                </a:lnTo>
                <a:close/>
                <a:moveTo>
                  <a:pt x="4770297" y="2772545"/>
                </a:moveTo>
                <a:lnTo>
                  <a:pt x="4769848" y="2772592"/>
                </a:lnTo>
                <a:lnTo>
                  <a:pt x="4768980" y="2775840"/>
                </a:lnTo>
                <a:lnTo>
                  <a:pt x="4763879" y="2782012"/>
                </a:lnTo>
                <a:lnTo>
                  <a:pt x="4762034" y="2786992"/>
                </a:lnTo>
                <a:lnTo>
                  <a:pt x="4763771" y="2789698"/>
                </a:lnTo>
                <a:lnTo>
                  <a:pt x="4763879" y="2794896"/>
                </a:lnTo>
                <a:lnTo>
                  <a:pt x="4759973" y="2800851"/>
                </a:lnTo>
                <a:lnTo>
                  <a:pt x="4758237" y="2807563"/>
                </a:lnTo>
                <a:lnTo>
                  <a:pt x="4758316" y="2808920"/>
                </a:lnTo>
                <a:lnTo>
                  <a:pt x="4758317" y="2808921"/>
                </a:lnTo>
                <a:lnTo>
                  <a:pt x="4758238" y="2807564"/>
                </a:lnTo>
                <a:lnTo>
                  <a:pt x="4759974" y="2800850"/>
                </a:lnTo>
                <a:lnTo>
                  <a:pt x="4763881" y="2794896"/>
                </a:lnTo>
                <a:lnTo>
                  <a:pt x="4763772" y="2789699"/>
                </a:lnTo>
                <a:lnTo>
                  <a:pt x="4762036" y="2786992"/>
                </a:lnTo>
                <a:lnTo>
                  <a:pt x="4763881" y="2782012"/>
                </a:lnTo>
                <a:lnTo>
                  <a:pt x="4768981" y="2775840"/>
                </a:lnTo>
                <a:lnTo>
                  <a:pt x="4769849" y="2772592"/>
                </a:lnTo>
                <a:close/>
                <a:moveTo>
                  <a:pt x="6882775" y="2772268"/>
                </a:moveTo>
                <a:lnTo>
                  <a:pt x="6884511" y="2773351"/>
                </a:lnTo>
                <a:lnTo>
                  <a:pt x="6884295" y="2776382"/>
                </a:lnTo>
                <a:lnTo>
                  <a:pt x="6880172" y="2780713"/>
                </a:lnTo>
                <a:lnTo>
                  <a:pt x="6877350" y="2778331"/>
                </a:lnTo>
                <a:lnTo>
                  <a:pt x="6878869" y="2773567"/>
                </a:lnTo>
                <a:close/>
                <a:moveTo>
                  <a:pt x="6161793" y="2771510"/>
                </a:moveTo>
                <a:lnTo>
                  <a:pt x="6163312" y="2777032"/>
                </a:lnTo>
                <a:lnTo>
                  <a:pt x="6160924" y="2783204"/>
                </a:lnTo>
                <a:lnTo>
                  <a:pt x="6156258" y="2783204"/>
                </a:lnTo>
                <a:lnTo>
                  <a:pt x="6156258" y="2779089"/>
                </a:lnTo>
                <a:lnTo>
                  <a:pt x="6156258" y="2773892"/>
                </a:lnTo>
                <a:close/>
                <a:moveTo>
                  <a:pt x="4294872" y="2771510"/>
                </a:moveTo>
                <a:lnTo>
                  <a:pt x="4294871" y="2771510"/>
                </a:lnTo>
                <a:lnTo>
                  <a:pt x="4295088" y="2776057"/>
                </a:lnTo>
                <a:lnTo>
                  <a:pt x="4299320" y="2782229"/>
                </a:lnTo>
                <a:lnTo>
                  <a:pt x="4303118" y="2783961"/>
                </a:lnTo>
                <a:lnTo>
                  <a:pt x="4303625" y="2785827"/>
                </a:lnTo>
                <a:lnTo>
                  <a:pt x="4303118" y="2783960"/>
                </a:lnTo>
                <a:lnTo>
                  <a:pt x="4299320" y="2782228"/>
                </a:lnTo>
                <a:lnTo>
                  <a:pt x="4295088" y="2776057"/>
                </a:lnTo>
                <a:close/>
                <a:moveTo>
                  <a:pt x="2504563" y="2771510"/>
                </a:moveTo>
                <a:lnTo>
                  <a:pt x="2504889" y="2773350"/>
                </a:lnTo>
                <a:lnTo>
                  <a:pt x="2499463" y="2778872"/>
                </a:lnTo>
                <a:lnTo>
                  <a:pt x="2501959" y="2783095"/>
                </a:lnTo>
                <a:lnTo>
                  <a:pt x="2502068" y="2788292"/>
                </a:lnTo>
                <a:lnTo>
                  <a:pt x="2497184" y="2792406"/>
                </a:lnTo>
                <a:lnTo>
                  <a:pt x="2485464" y="2794355"/>
                </a:lnTo>
                <a:lnTo>
                  <a:pt x="2479930" y="2792189"/>
                </a:lnTo>
                <a:lnTo>
                  <a:pt x="2484922" y="2790240"/>
                </a:lnTo>
                <a:lnTo>
                  <a:pt x="2489588" y="2786234"/>
                </a:lnTo>
                <a:lnTo>
                  <a:pt x="2489263" y="2781904"/>
                </a:lnTo>
                <a:lnTo>
                  <a:pt x="2484596" y="2777898"/>
                </a:lnTo>
                <a:lnTo>
                  <a:pt x="2486115" y="2775083"/>
                </a:lnTo>
                <a:lnTo>
                  <a:pt x="2491432" y="2773459"/>
                </a:lnTo>
                <a:lnTo>
                  <a:pt x="2495774" y="2775299"/>
                </a:lnTo>
                <a:close/>
                <a:moveTo>
                  <a:pt x="6923253" y="2771185"/>
                </a:moveTo>
                <a:lnTo>
                  <a:pt x="6923144" y="2775840"/>
                </a:lnTo>
                <a:lnTo>
                  <a:pt x="6921517" y="2773350"/>
                </a:lnTo>
                <a:close/>
                <a:moveTo>
                  <a:pt x="1948850" y="2771044"/>
                </a:moveTo>
                <a:lnTo>
                  <a:pt x="1948850" y="2772592"/>
                </a:lnTo>
                <a:lnTo>
                  <a:pt x="1948958" y="2772687"/>
                </a:lnTo>
                <a:lnTo>
                  <a:pt x="1948958" y="2771077"/>
                </a:lnTo>
                <a:close/>
                <a:moveTo>
                  <a:pt x="6956243" y="2770968"/>
                </a:moveTo>
                <a:lnTo>
                  <a:pt x="6959281" y="2772700"/>
                </a:lnTo>
                <a:lnTo>
                  <a:pt x="6958088" y="2774757"/>
                </a:lnTo>
                <a:lnTo>
                  <a:pt x="6956459" y="2773567"/>
                </a:lnTo>
                <a:close/>
                <a:moveTo>
                  <a:pt x="4482604" y="2769344"/>
                </a:moveTo>
                <a:lnTo>
                  <a:pt x="4476420" y="2772051"/>
                </a:lnTo>
                <a:lnTo>
                  <a:pt x="4473382" y="2770210"/>
                </a:lnTo>
                <a:lnTo>
                  <a:pt x="4467630" y="2770210"/>
                </a:lnTo>
                <a:lnTo>
                  <a:pt x="4463289" y="2773242"/>
                </a:lnTo>
                <a:lnTo>
                  <a:pt x="4457321" y="2776707"/>
                </a:lnTo>
                <a:lnTo>
                  <a:pt x="4457321" y="2776708"/>
                </a:lnTo>
                <a:lnTo>
                  <a:pt x="4463288" y="2773243"/>
                </a:lnTo>
                <a:lnTo>
                  <a:pt x="4467629" y="2770211"/>
                </a:lnTo>
                <a:lnTo>
                  <a:pt x="4473380" y="2770211"/>
                </a:lnTo>
                <a:lnTo>
                  <a:pt x="4476419" y="2772051"/>
                </a:lnTo>
                <a:lnTo>
                  <a:pt x="4482604" y="2769345"/>
                </a:lnTo>
                <a:close/>
                <a:moveTo>
                  <a:pt x="3942843" y="2769344"/>
                </a:moveTo>
                <a:lnTo>
                  <a:pt x="3942843" y="2769345"/>
                </a:lnTo>
                <a:lnTo>
                  <a:pt x="3944905" y="2771510"/>
                </a:lnTo>
                <a:lnTo>
                  <a:pt x="3944905" y="2771509"/>
                </a:lnTo>
                <a:close/>
                <a:moveTo>
                  <a:pt x="4957365" y="2769020"/>
                </a:moveTo>
                <a:lnTo>
                  <a:pt x="4951722" y="2772701"/>
                </a:lnTo>
                <a:lnTo>
                  <a:pt x="4951724" y="2772701"/>
                </a:lnTo>
                <a:lnTo>
                  <a:pt x="4957365" y="2769020"/>
                </a:lnTo>
                <a:close/>
                <a:moveTo>
                  <a:pt x="4483473" y="2767287"/>
                </a:moveTo>
                <a:lnTo>
                  <a:pt x="4483473" y="2767288"/>
                </a:lnTo>
                <a:lnTo>
                  <a:pt x="4486077" y="2770103"/>
                </a:lnTo>
                <a:lnTo>
                  <a:pt x="4486077" y="2773350"/>
                </a:lnTo>
                <a:lnTo>
                  <a:pt x="4486077" y="2773350"/>
                </a:lnTo>
                <a:lnTo>
                  <a:pt x="4486077" y="2770102"/>
                </a:lnTo>
                <a:close/>
                <a:moveTo>
                  <a:pt x="3753589" y="2767070"/>
                </a:moveTo>
                <a:lnTo>
                  <a:pt x="3750659" y="2767287"/>
                </a:lnTo>
                <a:lnTo>
                  <a:pt x="3748163" y="2770535"/>
                </a:lnTo>
                <a:lnTo>
                  <a:pt x="3744040" y="2770968"/>
                </a:lnTo>
                <a:lnTo>
                  <a:pt x="3748164" y="2770535"/>
                </a:lnTo>
                <a:lnTo>
                  <a:pt x="3750660" y="2767288"/>
                </a:lnTo>
                <a:lnTo>
                  <a:pt x="3753589" y="2767071"/>
                </a:lnTo>
                <a:close/>
                <a:moveTo>
                  <a:pt x="6478334" y="2766962"/>
                </a:moveTo>
                <a:lnTo>
                  <a:pt x="6467157" y="2769669"/>
                </a:lnTo>
                <a:lnTo>
                  <a:pt x="6467158" y="2769669"/>
                </a:lnTo>
                <a:close/>
                <a:moveTo>
                  <a:pt x="6895038" y="2766529"/>
                </a:moveTo>
                <a:lnTo>
                  <a:pt x="6898076" y="2768045"/>
                </a:lnTo>
                <a:lnTo>
                  <a:pt x="6900355" y="2766637"/>
                </a:lnTo>
                <a:lnTo>
                  <a:pt x="6904044" y="2769452"/>
                </a:lnTo>
                <a:lnTo>
                  <a:pt x="6903828" y="2773350"/>
                </a:lnTo>
                <a:lnTo>
                  <a:pt x="6899487" y="2777898"/>
                </a:lnTo>
                <a:lnTo>
                  <a:pt x="6896557" y="2791431"/>
                </a:lnTo>
                <a:lnTo>
                  <a:pt x="6897209" y="2800743"/>
                </a:lnTo>
                <a:lnTo>
                  <a:pt x="6900355" y="2806806"/>
                </a:lnTo>
                <a:lnTo>
                  <a:pt x="6900247" y="2811028"/>
                </a:lnTo>
                <a:lnTo>
                  <a:pt x="6895906" y="2813627"/>
                </a:lnTo>
                <a:lnTo>
                  <a:pt x="6892217" y="2811678"/>
                </a:lnTo>
                <a:lnTo>
                  <a:pt x="6892108" y="2806265"/>
                </a:lnTo>
                <a:lnTo>
                  <a:pt x="6887225" y="2805831"/>
                </a:lnTo>
                <a:lnTo>
                  <a:pt x="6881799" y="2802475"/>
                </a:lnTo>
                <a:lnTo>
                  <a:pt x="6878435" y="2801933"/>
                </a:lnTo>
                <a:lnTo>
                  <a:pt x="6877133" y="2794571"/>
                </a:lnTo>
                <a:lnTo>
                  <a:pt x="6879195" y="2791647"/>
                </a:lnTo>
                <a:lnTo>
                  <a:pt x="6886791" y="2789699"/>
                </a:lnTo>
                <a:lnTo>
                  <a:pt x="6889287" y="2784177"/>
                </a:lnTo>
                <a:lnTo>
                  <a:pt x="6888527" y="2777898"/>
                </a:lnTo>
                <a:lnTo>
                  <a:pt x="6891240" y="2773567"/>
                </a:lnTo>
                <a:lnTo>
                  <a:pt x="6891240" y="2769127"/>
                </a:lnTo>
                <a:close/>
                <a:moveTo>
                  <a:pt x="6959390" y="2766097"/>
                </a:moveTo>
                <a:lnTo>
                  <a:pt x="6960692" y="2767613"/>
                </a:lnTo>
                <a:lnTo>
                  <a:pt x="6958521" y="2768263"/>
                </a:lnTo>
                <a:lnTo>
                  <a:pt x="6957545" y="2766313"/>
                </a:lnTo>
                <a:close/>
                <a:moveTo>
                  <a:pt x="2511834" y="2765447"/>
                </a:moveTo>
                <a:lnTo>
                  <a:pt x="2510966" y="2769344"/>
                </a:lnTo>
                <a:lnTo>
                  <a:pt x="2506951" y="2767612"/>
                </a:lnTo>
                <a:close/>
                <a:moveTo>
                  <a:pt x="2434678" y="2764364"/>
                </a:moveTo>
                <a:lnTo>
                  <a:pt x="2436740" y="2767504"/>
                </a:lnTo>
                <a:lnTo>
                  <a:pt x="2432942" y="2772159"/>
                </a:lnTo>
                <a:lnTo>
                  <a:pt x="2428059" y="2770860"/>
                </a:lnTo>
                <a:lnTo>
                  <a:pt x="2422958" y="2771943"/>
                </a:lnTo>
                <a:cubicBezTo>
                  <a:pt x="2422163" y="2771282"/>
                  <a:pt x="2421329" y="2770668"/>
                  <a:pt x="2420463" y="2770102"/>
                </a:cubicBezTo>
                <a:lnTo>
                  <a:pt x="2425346" y="2766529"/>
                </a:lnTo>
                <a:lnTo>
                  <a:pt x="2427625" y="2769669"/>
                </a:lnTo>
                <a:close/>
                <a:moveTo>
                  <a:pt x="2235480" y="2763586"/>
                </a:moveTo>
                <a:lnTo>
                  <a:pt x="2233381" y="2766204"/>
                </a:lnTo>
                <a:lnTo>
                  <a:pt x="2229148" y="2767287"/>
                </a:lnTo>
                <a:lnTo>
                  <a:pt x="2225350" y="2772809"/>
                </a:lnTo>
                <a:lnTo>
                  <a:pt x="2223506" y="2774433"/>
                </a:lnTo>
                <a:lnTo>
                  <a:pt x="2225351" y="2772809"/>
                </a:lnTo>
                <a:lnTo>
                  <a:pt x="2229149" y="2767287"/>
                </a:lnTo>
                <a:lnTo>
                  <a:pt x="2233381" y="2766204"/>
                </a:lnTo>
                <a:close/>
                <a:moveTo>
                  <a:pt x="3942626" y="2762523"/>
                </a:moveTo>
                <a:lnTo>
                  <a:pt x="3967476" y="2768802"/>
                </a:lnTo>
                <a:lnTo>
                  <a:pt x="3966174" y="2771834"/>
                </a:lnTo>
                <a:lnTo>
                  <a:pt x="3966174" y="2771835"/>
                </a:lnTo>
                <a:lnTo>
                  <a:pt x="3968453" y="2766638"/>
                </a:lnTo>
                <a:lnTo>
                  <a:pt x="3974638" y="2765231"/>
                </a:lnTo>
                <a:lnTo>
                  <a:pt x="3974638" y="2765229"/>
                </a:lnTo>
                <a:lnTo>
                  <a:pt x="3968453" y="2766637"/>
                </a:lnTo>
                <a:lnTo>
                  <a:pt x="3968435" y="2766678"/>
                </a:lnTo>
                <a:lnTo>
                  <a:pt x="3966174" y="2771834"/>
                </a:lnTo>
                <a:lnTo>
                  <a:pt x="3967476" y="2768803"/>
                </a:lnTo>
                <a:lnTo>
                  <a:pt x="3967476" y="2768802"/>
                </a:lnTo>
                <a:lnTo>
                  <a:pt x="3942627" y="2762523"/>
                </a:lnTo>
                <a:close/>
                <a:moveTo>
                  <a:pt x="3939045" y="2762414"/>
                </a:moveTo>
                <a:lnTo>
                  <a:pt x="3933511" y="2765013"/>
                </a:lnTo>
                <a:lnTo>
                  <a:pt x="3928085" y="2765229"/>
                </a:lnTo>
                <a:lnTo>
                  <a:pt x="3919078" y="2766637"/>
                </a:lnTo>
                <a:lnTo>
                  <a:pt x="3906707" y="2766637"/>
                </a:lnTo>
                <a:lnTo>
                  <a:pt x="3904537" y="2767503"/>
                </a:lnTo>
                <a:lnTo>
                  <a:pt x="3886957" y="2767503"/>
                </a:lnTo>
                <a:lnTo>
                  <a:pt x="3878601" y="2767936"/>
                </a:lnTo>
                <a:lnTo>
                  <a:pt x="3877950" y="2773242"/>
                </a:lnTo>
                <a:lnTo>
                  <a:pt x="3877950" y="2773242"/>
                </a:lnTo>
                <a:lnTo>
                  <a:pt x="3878601" y="2767938"/>
                </a:lnTo>
                <a:lnTo>
                  <a:pt x="3886957" y="2767505"/>
                </a:lnTo>
                <a:lnTo>
                  <a:pt x="3904537" y="2767505"/>
                </a:lnTo>
                <a:lnTo>
                  <a:pt x="3906707" y="2766638"/>
                </a:lnTo>
                <a:lnTo>
                  <a:pt x="3919078" y="2766638"/>
                </a:lnTo>
                <a:lnTo>
                  <a:pt x="3928085" y="2765231"/>
                </a:lnTo>
                <a:lnTo>
                  <a:pt x="3933511" y="2765014"/>
                </a:lnTo>
                <a:lnTo>
                  <a:pt x="3939045" y="2762416"/>
                </a:lnTo>
                <a:lnTo>
                  <a:pt x="3940890" y="2762957"/>
                </a:lnTo>
                <a:lnTo>
                  <a:pt x="3940890" y="2762956"/>
                </a:lnTo>
                <a:close/>
                <a:moveTo>
                  <a:pt x="3820978" y="2761766"/>
                </a:moveTo>
                <a:lnTo>
                  <a:pt x="3820761" y="2766638"/>
                </a:lnTo>
                <a:lnTo>
                  <a:pt x="3822822" y="2770211"/>
                </a:lnTo>
                <a:lnTo>
                  <a:pt x="3821412" y="2775949"/>
                </a:lnTo>
                <a:lnTo>
                  <a:pt x="3818482" y="2778006"/>
                </a:lnTo>
                <a:lnTo>
                  <a:pt x="3814141" y="2784719"/>
                </a:lnTo>
                <a:lnTo>
                  <a:pt x="3813506" y="2784529"/>
                </a:lnTo>
                <a:lnTo>
                  <a:pt x="3814143" y="2784719"/>
                </a:lnTo>
                <a:lnTo>
                  <a:pt x="3818483" y="2778006"/>
                </a:lnTo>
                <a:lnTo>
                  <a:pt x="3818518" y="2777982"/>
                </a:lnTo>
                <a:lnTo>
                  <a:pt x="3821414" y="2775949"/>
                </a:lnTo>
                <a:lnTo>
                  <a:pt x="3822166" y="2775520"/>
                </a:lnTo>
                <a:lnTo>
                  <a:pt x="3822172" y="2775516"/>
                </a:lnTo>
                <a:lnTo>
                  <a:pt x="3822173" y="2775516"/>
                </a:lnTo>
                <a:lnTo>
                  <a:pt x="3829009" y="2781037"/>
                </a:lnTo>
                <a:lnTo>
                  <a:pt x="3838016" y="2785801"/>
                </a:lnTo>
                <a:lnTo>
                  <a:pt x="3841380" y="2785801"/>
                </a:lnTo>
                <a:lnTo>
                  <a:pt x="3844202" y="2787642"/>
                </a:lnTo>
                <a:lnTo>
                  <a:pt x="3847891" y="2787642"/>
                </a:lnTo>
                <a:lnTo>
                  <a:pt x="3852883" y="2790024"/>
                </a:lnTo>
                <a:lnTo>
                  <a:pt x="3855488" y="2793597"/>
                </a:lnTo>
                <a:lnTo>
                  <a:pt x="3862975" y="2797495"/>
                </a:lnTo>
                <a:lnTo>
                  <a:pt x="3868726" y="2796412"/>
                </a:lnTo>
                <a:lnTo>
                  <a:pt x="3873284" y="2793272"/>
                </a:lnTo>
                <a:lnTo>
                  <a:pt x="3876431" y="2793381"/>
                </a:lnTo>
                <a:lnTo>
                  <a:pt x="3879904" y="2795762"/>
                </a:lnTo>
                <a:lnTo>
                  <a:pt x="3885004" y="2796628"/>
                </a:lnTo>
                <a:lnTo>
                  <a:pt x="3885004" y="2796628"/>
                </a:lnTo>
                <a:lnTo>
                  <a:pt x="3879904" y="2795762"/>
                </a:lnTo>
                <a:lnTo>
                  <a:pt x="3876431" y="2793379"/>
                </a:lnTo>
                <a:lnTo>
                  <a:pt x="3873284" y="2793271"/>
                </a:lnTo>
                <a:lnTo>
                  <a:pt x="3868726" y="2796411"/>
                </a:lnTo>
                <a:lnTo>
                  <a:pt x="3862975" y="2797494"/>
                </a:lnTo>
                <a:lnTo>
                  <a:pt x="3855488" y="2793596"/>
                </a:lnTo>
                <a:lnTo>
                  <a:pt x="3852883" y="2790024"/>
                </a:lnTo>
                <a:lnTo>
                  <a:pt x="3847891" y="2787642"/>
                </a:lnTo>
                <a:lnTo>
                  <a:pt x="3844202" y="2787642"/>
                </a:lnTo>
                <a:lnTo>
                  <a:pt x="3841380" y="2785800"/>
                </a:lnTo>
                <a:lnTo>
                  <a:pt x="3838016" y="2785800"/>
                </a:lnTo>
                <a:lnTo>
                  <a:pt x="3829009" y="2781037"/>
                </a:lnTo>
                <a:lnTo>
                  <a:pt x="3822173" y="2775516"/>
                </a:lnTo>
                <a:lnTo>
                  <a:pt x="3822172" y="2775515"/>
                </a:lnTo>
                <a:lnTo>
                  <a:pt x="3821413" y="2775948"/>
                </a:lnTo>
                <a:lnTo>
                  <a:pt x="3822824" y="2770210"/>
                </a:lnTo>
                <a:lnTo>
                  <a:pt x="3820762" y="2766637"/>
                </a:lnTo>
                <a:lnTo>
                  <a:pt x="3820979" y="2761766"/>
                </a:lnTo>
                <a:close/>
                <a:moveTo>
                  <a:pt x="3601617" y="2761055"/>
                </a:moveTo>
                <a:lnTo>
                  <a:pt x="3597435" y="2761982"/>
                </a:lnTo>
                <a:lnTo>
                  <a:pt x="3595261" y="2766404"/>
                </a:lnTo>
                <a:lnTo>
                  <a:pt x="3597436" y="2761982"/>
                </a:lnTo>
                <a:close/>
                <a:moveTo>
                  <a:pt x="6916200" y="2760358"/>
                </a:moveTo>
                <a:lnTo>
                  <a:pt x="6916417" y="2769452"/>
                </a:lnTo>
                <a:lnTo>
                  <a:pt x="6914681" y="2772376"/>
                </a:lnTo>
                <a:lnTo>
                  <a:pt x="6915332" y="2776599"/>
                </a:lnTo>
                <a:lnTo>
                  <a:pt x="6914138" y="2781254"/>
                </a:lnTo>
                <a:lnTo>
                  <a:pt x="6907626" y="2788725"/>
                </a:lnTo>
                <a:lnTo>
                  <a:pt x="6905890" y="2798794"/>
                </a:lnTo>
                <a:lnTo>
                  <a:pt x="6902309" y="2802909"/>
                </a:lnTo>
                <a:lnTo>
                  <a:pt x="6901224" y="2799011"/>
                </a:lnTo>
                <a:lnTo>
                  <a:pt x="6901440" y="2794031"/>
                </a:lnTo>
                <a:lnTo>
                  <a:pt x="6905022" y="2789591"/>
                </a:lnTo>
                <a:lnTo>
                  <a:pt x="6907084" y="2782662"/>
                </a:lnTo>
                <a:lnTo>
                  <a:pt x="6907626" y="2777140"/>
                </a:lnTo>
                <a:lnTo>
                  <a:pt x="6912076" y="2769994"/>
                </a:lnTo>
                <a:lnTo>
                  <a:pt x="6913704" y="2761332"/>
                </a:lnTo>
                <a:close/>
                <a:moveTo>
                  <a:pt x="4297809" y="2760254"/>
                </a:moveTo>
                <a:lnTo>
                  <a:pt x="4299646" y="2762307"/>
                </a:lnTo>
                <a:lnTo>
                  <a:pt x="4299646" y="2762307"/>
                </a:lnTo>
                <a:close/>
                <a:moveTo>
                  <a:pt x="4485341" y="2758302"/>
                </a:moveTo>
                <a:lnTo>
                  <a:pt x="4486077" y="2759491"/>
                </a:lnTo>
                <a:lnTo>
                  <a:pt x="4486077" y="2759491"/>
                </a:lnTo>
                <a:close/>
                <a:moveTo>
                  <a:pt x="6925858" y="2756135"/>
                </a:moveTo>
                <a:lnTo>
                  <a:pt x="6930199" y="2758084"/>
                </a:lnTo>
                <a:lnTo>
                  <a:pt x="6935082" y="2756459"/>
                </a:lnTo>
                <a:lnTo>
                  <a:pt x="6935949" y="2758408"/>
                </a:lnTo>
                <a:lnTo>
                  <a:pt x="6938555" y="2764363"/>
                </a:lnTo>
                <a:lnTo>
                  <a:pt x="6939314" y="2771618"/>
                </a:lnTo>
                <a:lnTo>
                  <a:pt x="6942570" y="2773783"/>
                </a:lnTo>
                <a:lnTo>
                  <a:pt x="6946802" y="2781037"/>
                </a:lnTo>
                <a:lnTo>
                  <a:pt x="6946367" y="2784718"/>
                </a:lnTo>
                <a:lnTo>
                  <a:pt x="6942244" y="2785801"/>
                </a:lnTo>
                <a:lnTo>
                  <a:pt x="6939640" y="2782336"/>
                </a:lnTo>
                <a:lnTo>
                  <a:pt x="6939206" y="2788941"/>
                </a:lnTo>
                <a:lnTo>
                  <a:pt x="6935299" y="2786234"/>
                </a:lnTo>
                <a:lnTo>
                  <a:pt x="6934540" y="2779196"/>
                </a:lnTo>
                <a:lnTo>
                  <a:pt x="6932260" y="2774974"/>
                </a:lnTo>
                <a:lnTo>
                  <a:pt x="6932586" y="2768694"/>
                </a:lnTo>
                <a:lnTo>
                  <a:pt x="6929873" y="2766204"/>
                </a:lnTo>
                <a:lnTo>
                  <a:pt x="6927486" y="2768586"/>
                </a:lnTo>
                <a:lnTo>
                  <a:pt x="6924556" y="2765663"/>
                </a:lnTo>
                <a:lnTo>
                  <a:pt x="6924556" y="2760790"/>
                </a:lnTo>
                <a:lnTo>
                  <a:pt x="6922711" y="2756243"/>
                </a:lnTo>
                <a:close/>
                <a:moveTo>
                  <a:pt x="6802691" y="2755703"/>
                </a:moveTo>
                <a:lnTo>
                  <a:pt x="6803233" y="2762632"/>
                </a:lnTo>
                <a:lnTo>
                  <a:pt x="6802908" y="2767071"/>
                </a:lnTo>
                <a:lnTo>
                  <a:pt x="6806272" y="2771294"/>
                </a:lnTo>
                <a:lnTo>
                  <a:pt x="6808876" y="2777140"/>
                </a:lnTo>
                <a:lnTo>
                  <a:pt x="6806815" y="2781146"/>
                </a:lnTo>
                <a:lnTo>
                  <a:pt x="6803016" y="2781796"/>
                </a:lnTo>
                <a:lnTo>
                  <a:pt x="6799544" y="2785260"/>
                </a:lnTo>
                <a:lnTo>
                  <a:pt x="6797807" y="2790024"/>
                </a:lnTo>
                <a:lnTo>
                  <a:pt x="6790646" y="2790566"/>
                </a:lnTo>
                <a:lnTo>
                  <a:pt x="6787825" y="2793814"/>
                </a:lnTo>
                <a:lnTo>
                  <a:pt x="6787825" y="2801068"/>
                </a:lnTo>
                <a:lnTo>
                  <a:pt x="6784569" y="2804965"/>
                </a:lnTo>
                <a:lnTo>
                  <a:pt x="6784243" y="2807455"/>
                </a:lnTo>
                <a:lnTo>
                  <a:pt x="6780445" y="2810704"/>
                </a:lnTo>
                <a:lnTo>
                  <a:pt x="6774911" y="2812544"/>
                </a:lnTo>
                <a:lnTo>
                  <a:pt x="6769593" y="2820665"/>
                </a:lnTo>
                <a:lnTo>
                  <a:pt x="6764493" y="2822614"/>
                </a:lnTo>
                <a:lnTo>
                  <a:pt x="6761347" y="2825861"/>
                </a:lnTo>
                <a:lnTo>
                  <a:pt x="6758199" y="2826403"/>
                </a:lnTo>
                <a:lnTo>
                  <a:pt x="6753642" y="2830084"/>
                </a:lnTo>
                <a:lnTo>
                  <a:pt x="6753099" y="2828460"/>
                </a:lnTo>
                <a:lnTo>
                  <a:pt x="6754292" y="2825970"/>
                </a:lnTo>
                <a:lnTo>
                  <a:pt x="6761129" y="2817092"/>
                </a:lnTo>
                <a:lnTo>
                  <a:pt x="6763951" y="2816225"/>
                </a:lnTo>
                <a:lnTo>
                  <a:pt x="6767423" y="2809621"/>
                </a:lnTo>
                <a:lnTo>
                  <a:pt x="6771112" y="2809188"/>
                </a:lnTo>
                <a:lnTo>
                  <a:pt x="6778057" y="2802475"/>
                </a:lnTo>
                <a:lnTo>
                  <a:pt x="6782832" y="2792298"/>
                </a:lnTo>
                <a:lnTo>
                  <a:pt x="6787716" y="2789591"/>
                </a:lnTo>
                <a:lnTo>
                  <a:pt x="6788042" y="2785910"/>
                </a:lnTo>
                <a:lnTo>
                  <a:pt x="6792382" y="2780929"/>
                </a:lnTo>
                <a:lnTo>
                  <a:pt x="6795421" y="2781255"/>
                </a:lnTo>
                <a:lnTo>
                  <a:pt x="6799436" y="2776599"/>
                </a:lnTo>
                <a:lnTo>
                  <a:pt x="6799544" y="2773243"/>
                </a:lnTo>
                <a:lnTo>
                  <a:pt x="6796614" y="2768587"/>
                </a:lnTo>
                <a:lnTo>
                  <a:pt x="6800303" y="2770860"/>
                </a:lnTo>
                <a:lnTo>
                  <a:pt x="6799544" y="2763931"/>
                </a:lnTo>
                <a:lnTo>
                  <a:pt x="6800629" y="2756569"/>
                </a:lnTo>
                <a:close/>
                <a:moveTo>
                  <a:pt x="3618483" y="2754419"/>
                </a:moveTo>
                <a:lnTo>
                  <a:pt x="3616968" y="2755594"/>
                </a:lnTo>
                <a:lnTo>
                  <a:pt x="3608721" y="2757218"/>
                </a:lnTo>
                <a:lnTo>
                  <a:pt x="3606141" y="2758702"/>
                </a:lnTo>
                <a:lnTo>
                  <a:pt x="3608721" y="2757218"/>
                </a:lnTo>
                <a:lnTo>
                  <a:pt x="3616968" y="2755594"/>
                </a:lnTo>
                <a:close/>
                <a:moveTo>
                  <a:pt x="6150615" y="2754294"/>
                </a:moveTo>
                <a:lnTo>
                  <a:pt x="6152568" y="2757542"/>
                </a:lnTo>
                <a:lnTo>
                  <a:pt x="6147142" y="2756135"/>
                </a:lnTo>
                <a:close/>
                <a:moveTo>
                  <a:pt x="4285567" y="2751773"/>
                </a:moveTo>
                <a:lnTo>
                  <a:pt x="4286623" y="2755594"/>
                </a:lnTo>
                <a:lnTo>
                  <a:pt x="4286190" y="2758625"/>
                </a:lnTo>
                <a:lnTo>
                  <a:pt x="4280655" y="2761116"/>
                </a:lnTo>
                <a:lnTo>
                  <a:pt x="4277400" y="2764689"/>
                </a:lnTo>
                <a:lnTo>
                  <a:pt x="4274687" y="2764580"/>
                </a:lnTo>
                <a:lnTo>
                  <a:pt x="4270129" y="2768154"/>
                </a:lnTo>
                <a:lnTo>
                  <a:pt x="4269369" y="2770211"/>
                </a:lnTo>
                <a:lnTo>
                  <a:pt x="4266873" y="2772376"/>
                </a:lnTo>
                <a:lnTo>
                  <a:pt x="4262967" y="2780387"/>
                </a:lnTo>
                <a:lnTo>
                  <a:pt x="4260254" y="2784935"/>
                </a:lnTo>
                <a:lnTo>
                  <a:pt x="4260905" y="2788617"/>
                </a:lnTo>
                <a:lnTo>
                  <a:pt x="4260255" y="2784936"/>
                </a:lnTo>
                <a:lnTo>
                  <a:pt x="4262968" y="2780388"/>
                </a:lnTo>
                <a:lnTo>
                  <a:pt x="4266875" y="2772376"/>
                </a:lnTo>
                <a:lnTo>
                  <a:pt x="4269370" y="2770211"/>
                </a:lnTo>
                <a:lnTo>
                  <a:pt x="4270129" y="2768154"/>
                </a:lnTo>
                <a:lnTo>
                  <a:pt x="4274687" y="2764581"/>
                </a:lnTo>
                <a:lnTo>
                  <a:pt x="4277401" y="2764689"/>
                </a:lnTo>
                <a:lnTo>
                  <a:pt x="4280655" y="2761116"/>
                </a:lnTo>
                <a:lnTo>
                  <a:pt x="4286190" y="2758626"/>
                </a:lnTo>
                <a:lnTo>
                  <a:pt x="4286624" y="2755594"/>
                </a:lnTo>
                <a:close/>
                <a:moveTo>
                  <a:pt x="3823257" y="2749639"/>
                </a:moveTo>
                <a:lnTo>
                  <a:pt x="3823257" y="2749639"/>
                </a:lnTo>
                <a:lnTo>
                  <a:pt x="3824885" y="2753970"/>
                </a:lnTo>
                <a:lnTo>
                  <a:pt x="3825535" y="2760899"/>
                </a:lnTo>
                <a:lnTo>
                  <a:pt x="3825537" y="2760898"/>
                </a:lnTo>
                <a:lnTo>
                  <a:pt x="3824885" y="2753969"/>
                </a:lnTo>
                <a:close/>
                <a:moveTo>
                  <a:pt x="4032349" y="2749590"/>
                </a:moveTo>
                <a:lnTo>
                  <a:pt x="4032152" y="2749748"/>
                </a:lnTo>
                <a:lnTo>
                  <a:pt x="4031067" y="2754728"/>
                </a:lnTo>
                <a:lnTo>
                  <a:pt x="4032152" y="2758517"/>
                </a:lnTo>
                <a:lnTo>
                  <a:pt x="4038663" y="2763715"/>
                </a:lnTo>
                <a:lnTo>
                  <a:pt x="4038771" y="2769561"/>
                </a:lnTo>
                <a:lnTo>
                  <a:pt x="4041159" y="2778115"/>
                </a:lnTo>
                <a:lnTo>
                  <a:pt x="4040291" y="2780821"/>
                </a:lnTo>
                <a:lnTo>
                  <a:pt x="4039694" y="2780858"/>
                </a:lnTo>
                <a:lnTo>
                  <a:pt x="4040292" y="2780821"/>
                </a:lnTo>
                <a:lnTo>
                  <a:pt x="4041160" y="2778114"/>
                </a:lnTo>
                <a:lnTo>
                  <a:pt x="4038772" y="2769561"/>
                </a:lnTo>
                <a:lnTo>
                  <a:pt x="4038664" y="2763714"/>
                </a:lnTo>
                <a:lnTo>
                  <a:pt x="4032153" y="2758517"/>
                </a:lnTo>
                <a:lnTo>
                  <a:pt x="4031068" y="2754728"/>
                </a:lnTo>
                <a:lnTo>
                  <a:pt x="4032153" y="2749748"/>
                </a:lnTo>
                <a:close/>
                <a:moveTo>
                  <a:pt x="6929113" y="2748990"/>
                </a:moveTo>
                <a:lnTo>
                  <a:pt x="6928136" y="2753537"/>
                </a:lnTo>
                <a:lnTo>
                  <a:pt x="6924446" y="2753970"/>
                </a:lnTo>
                <a:lnTo>
                  <a:pt x="6920974" y="2751696"/>
                </a:lnTo>
                <a:lnTo>
                  <a:pt x="6923470" y="2749856"/>
                </a:lnTo>
                <a:close/>
                <a:moveTo>
                  <a:pt x="3996234" y="2747798"/>
                </a:moveTo>
                <a:lnTo>
                  <a:pt x="3992110" y="2748014"/>
                </a:lnTo>
                <a:lnTo>
                  <a:pt x="3984514" y="2751912"/>
                </a:lnTo>
                <a:lnTo>
                  <a:pt x="3982018" y="2750721"/>
                </a:lnTo>
                <a:lnTo>
                  <a:pt x="3977135" y="2753104"/>
                </a:lnTo>
                <a:lnTo>
                  <a:pt x="3982018" y="2750722"/>
                </a:lnTo>
                <a:lnTo>
                  <a:pt x="3984513" y="2751913"/>
                </a:lnTo>
                <a:lnTo>
                  <a:pt x="3992109" y="2748015"/>
                </a:lnTo>
                <a:lnTo>
                  <a:pt x="3996233" y="2747799"/>
                </a:lnTo>
                <a:close/>
                <a:moveTo>
                  <a:pt x="2255234" y="2747484"/>
                </a:moveTo>
                <a:lnTo>
                  <a:pt x="2254976" y="2747690"/>
                </a:lnTo>
                <a:lnTo>
                  <a:pt x="2242713" y="2752454"/>
                </a:lnTo>
                <a:lnTo>
                  <a:pt x="2236735" y="2761672"/>
                </a:lnTo>
                <a:lnTo>
                  <a:pt x="2242713" y="2752454"/>
                </a:lnTo>
                <a:lnTo>
                  <a:pt x="2254975" y="2747690"/>
                </a:lnTo>
                <a:close/>
                <a:moveTo>
                  <a:pt x="6484519" y="2746283"/>
                </a:moveTo>
                <a:lnTo>
                  <a:pt x="6479745" y="2749747"/>
                </a:lnTo>
                <a:lnTo>
                  <a:pt x="6480722" y="2758192"/>
                </a:lnTo>
                <a:lnTo>
                  <a:pt x="6486039" y="2759708"/>
                </a:lnTo>
                <a:lnTo>
                  <a:pt x="6490379" y="2764147"/>
                </a:lnTo>
                <a:lnTo>
                  <a:pt x="6489511" y="2767395"/>
                </a:lnTo>
                <a:lnTo>
                  <a:pt x="6491790" y="2772376"/>
                </a:lnTo>
                <a:lnTo>
                  <a:pt x="6484195" y="2772917"/>
                </a:lnTo>
                <a:lnTo>
                  <a:pt x="6484195" y="2772917"/>
                </a:lnTo>
                <a:lnTo>
                  <a:pt x="6491791" y="2772376"/>
                </a:lnTo>
                <a:lnTo>
                  <a:pt x="6489512" y="2767396"/>
                </a:lnTo>
                <a:lnTo>
                  <a:pt x="6490380" y="2764147"/>
                </a:lnTo>
                <a:lnTo>
                  <a:pt x="6486040" y="2759708"/>
                </a:lnTo>
                <a:lnTo>
                  <a:pt x="6480723" y="2758192"/>
                </a:lnTo>
                <a:lnTo>
                  <a:pt x="6479745" y="2749747"/>
                </a:lnTo>
                <a:lnTo>
                  <a:pt x="6484520" y="2746283"/>
                </a:lnTo>
                <a:close/>
                <a:moveTo>
                  <a:pt x="4295400" y="2744454"/>
                </a:moveTo>
                <a:lnTo>
                  <a:pt x="4295522" y="2744984"/>
                </a:lnTo>
                <a:lnTo>
                  <a:pt x="4296177" y="2746491"/>
                </a:lnTo>
                <a:lnTo>
                  <a:pt x="4295522" y="2744983"/>
                </a:lnTo>
                <a:close/>
                <a:moveTo>
                  <a:pt x="4283680" y="2744278"/>
                </a:moveTo>
                <a:lnTo>
                  <a:pt x="4284670" y="2746716"/>
                </a:lnTo>
                <a:lnTo>
                  <a:pt x="4284852" y="2748881"/>
                </a:lnTo>
                <a:lnTo>
                  <a:pt x="4284671" y="2746716"/>
                </a:lnTo>
                <a:close/>
                <a:moveTo>
                  <a:pt x="4472929" y="2741501"/>
                </a:moveTo>
                <a:lnTo>
                  <a:pt x="4473598" y="2742710"/>
                </a:lnTo>
                <a:lnTo>
                  <a:pt x="4473923" y="2748881"/>
                </a:lnTo>
                <a:lnTo>
                  <a:pt x="4474328" y="2751053"/>
                </a:lnTo>
                <a:lnTo>
                  <a:pt x="4473923" y="2748880"/>
                </a:lnTo>
                <a:lnTo>
                  <a:pt x="4473598" y="2742709"/>
                </a:lnTo>
                <a:close/>
                <a:moveTo>
                  <a:pt x="6808878" y="2740978"/>
                </a:moveTo>
                <a:lnTo>
                  <a:pt x="6813761" y="2742277"/>
                </a:lnTo>
                <a:lnTo>
                  <a:pt x="6815280" y="2745850"/>
                </a:lnTo>
                <a:lnTo>
                  <a:pt x="6813544" y="2747041"/>
                </a:lnTo>
                <a:lnTo>
                  <a:pt x="6811916" y="2749206"/>
                </a:lnTo>
                <a:lnTo>
                  <a:pt x="6809746" y="2749206"/>
                </a:lnTo>
                <a:lnTo>
                  <a:pt x="6808335" y="2743793"/>
                </a:lnTo>
                <a:close/>
                <a:moveTo>
                  <a:pt x="5191219" y="2740870"/>
                </a:moveTo>
                <a:lnTo>
                  <a:pt x="5197513" y="2742710"/>
                </a:lnTo>
                <a:lnTo>
                  <a:pt x="5192413" y="2743468"/>
                </a:lnTo>
                <a:lnTo>
                  <a:pt x="5186227" y="2742494"/>
                </a:lnTo>
                <a:close/>
                <a:moveTo>
                  <a:pt x="6866607" y="2740762"/>
                </a:moveTo>
                <a:lnTo>
                  <a:pt x="6871165" y="2745309"/>
                </a:lnTo>
                <a:lnTo>
                  <a:pt x="6874637" y="2746825"/>
                </a:lnTo>
                <a:lnTo>
                  <a:pt x="6873769" y="2748666"/>
                </a:lnTo>
                <a:lnTo>
                  <a:pt x="6876373" y="2748990"/>
                </a:lnTo>
                <a:lnTo>
                  <a:pt x="6881366" y="2748557"/>
                </a:lnTo>
                <a:lnTo>
                  <a:pt x="6884729" y="2749532"/>
                </a:lnTo>
                <a:lnTo>
                  <a:pt x="6887551" y="2753971"/>
                </a:lnTo>
                <a:lnTo>
                  <a:pt x="6890698" y="2750073"/>
                </a:lnTo>
                <a:lnTo>
                  <a:pt x="6893519" y="2748233"/>
                </a:lnTo>
                <a:lnTo>
                  <a:pt x="6895690" y="2751697"/>
                </a:lnTo>
                <a:lnTo>
                  <a:pt x="6894930" y="2755703"/>
                </a:lnTo>
                <a:lnTo>
                  <a:pt x="6892325" y="2757760"/>
                </a:lnTo>
                <a:lnTo>
                  <a:pt x="6890046" y="2762849"/>
                </a:lnTo>
                <a:lnTo>
                  <a:pt x="6884296" y="2767505"/>
                </a:lnTo>
                <a:lnTo>
                  <a:pt x="6882450" y="2770753"/>
                </a:lnTo>
                <a:lnTo>
                  <a:pt x="6879846" y="2770753"/>
                </a:lnTo>
                <a:lnTo>
                  <a:pt x="6879304" y="2772269"/>
                </a:lnTo>
                <a:lnTo>
                  <a:pt x="6876157" y="2772161"/>
                </a:lnTo>
                <a:lnTo>
                  <a:pt x="6870839" y="2775517"/>
                </a:lnTo>
                <a:lnTo>
                  <a:pt x="6869320" y="2777466"/>
                </a:lnTo>
                <a:lnTo>
                  <a:pt x="6867150" y="2778332"/>
                </a:lnTo>
                <a:lnTo>
                  <a:pt x="6865305" y="2770320"/>
                </a:lnTo>
                <a:lnTo>
                  <a:pt x="6867041" y="2764582"/>
                </a:lnTo>
                <a:lnTo>
                  <a:pt x="6866824" y="2756461"/>
                </a:lnTo>
                <a:lnTo>
                  <a:pt x="6867800" y="2752022"/>
                </a:lnTo>
                <a:lnTo>
                  <a:pt x="6867909" y="2747366"/>
                </a:lnTo>
                <a:lnTo>
                  <a:pt x="6865630" y="2746825"/>
                </a:lnTo>
                <a:lnTo>
                  <a:pt x="6860747" y="2744984"/>
                </a:lnTo>
                <a:lnTo>
                  <a:pt x="6861615" y="2742061"/>
                </a:lnTo>
                <a:close/>
                <a:moveTo>
                  <a:pt x="6323999" y="2740336"/>
                </a:moveTo>
                <a:lnTo>
                  <a:pt x="6325001" y="2742060"/>
                </a:lnTo>
                <a:lnTo>
                  <a:pt x="6325001" y="2742060"/>
                </a:lnTo>
                <a:close/>
                <a:moveTo>
                  <a:pt x="3691409" y="2740219"/>
                </a:moveTo>
                <a:lnTo>
                  <a:pt x="3686092" y="2742493"/>
                </a:lnTo>
                <a:lnTo>
                  <a:pt x="3686093" y="2742493"/>
                </a:lnTo>
                <a:lnTo>
                  <a:pt x="3691410" y="2740220"/>
                </a:lnTo>
                <a:close/>
                <a:moveTo>
                  <a:pt x="2490782" y="2738813"/>
                </a:moveTo>
                <a:lnTo>
                  <a:pt x="2492736" y="2741736"/>
                </a:lnTo>
                <a:lnTo>
                  <a:pt x="2489805" y="2745742"/>
                </a:lnTo>
                <a:lnTo>
                  <a:pt x="2484054" y="2745525"/>
                </a:lnTo>
                <a:lnTo>
                  <a:pt x="2485790" y="2739895"/>
                </a:lnTo>
                <a:close/>
                <a:moveTo>
                  <a:pt x="6387941" y="2737188"/>
                </a:moveTo>
                <a:lnTo>
                  <a:pt x="6394236" y="2743576"/>
                </a:lnTo>
                <a:lnTo>
                  <a:pt x="6391740" y="2744117"/>
                </a:lnTo>
                <a:lnTo>
                  <a:pt x="6388375" y="2741302"/>
                </a:lnTo>
                <a:close/>
                <a:moveTo>
                  <a:pt x="4959535" y="2737188"/>
                </a:moveTo>
                <a:lnTo>
                  <a:pt x="4955467" y="2738348"/>
                </a:lnTo>
                <a:lnTo>
                  <a:pt x="4955221" y="2738418"/>
                </a:lnTo>
                <a:lnTo>
                  <a:pt x="4955130" y="2738444"/>
                </a:lnTo>
                <a:lnTo>
                  <a:pt x="4954219" y="2738703"/>
                </a:lnTo>
                <a:lnTo>
                  <a:pt x="4954219" y="2738704"/>
                </a:lnTo>
                <a:lnTo>
                  <a:pt x="4955130" y="2738444"/>
                </a:lnTo>
                <a:lnTo>
                  <a:pt x="4955467" y="2738348"/>
                </a:lnTo>
                <a:lnTo>
                  <a:pt x="4959535" y="2737188"/>
                </a:lnTo>
                <a:close/>
                <a:moveTo>
                  <a:pt x="2328875" y="2736431"/>
                </a:moveTo>
                <a:lnTo>
                  <a:pt x="2333324" y="2740870"/>
                </a:lnTo>
                <a:lnTo>
                  <a:pt x="2332348" y="2744876"/>
                </a:lnTo>
                <a:lnTo>
                  <a:pt x="2329526" y="2741303"/>
                </a:lnTo>
                <a:lnTo>
                  <a:pt x="2326271" y="2740761"/>
                </a:lnTo>
                <a:lnTo>
                  <a:pt x="2324209" y="2736756"/>
                </a:lnTo>
                <a:close/>
                <a:moveTo>
                  <a:pt x="6165591" y="2736214"/>
                </a:moveTo>
                <a:lnTo>
                  <a:pt x="6165591" y="2738487"/>
                </a:lnTo>
                <a:lnTo>
                  <a:pt x="6162878" y="2740869"/>
                </a:lnTo>
                <a:lnTo>
                  <a:pt x="6161250" y="2746066"/>
                </a:lnTo>
                <a:lnTo>
                  <a:pt x="6162986" y="2749098"/>
                </a:lnTo>
                <a:lnTo>
                  <a:pt x="6163529" y="2753537"/>
                </a:lnTo>
                <a:lnTo>
                  <a:pt x="6160056" y="2761116"/>
                </a:lnTo>
                <a:lnTo>
                  <a:pt x="6158753" y="2757868"/>
                </a:lnTo>
                <a:lnTo>
                  <a:pt x="6160056" y="2753970"/>
                </a:lnTo>
                <a:lnTo>
                  <a:pt x="6157560" y="2748448"/>
                </a:lnTo>
                <a:lnTo>
                  <a:pt x="6159080" y="2745308"/>
                </a:lnTo>
                <a:lnTo>
                  <a:pt x="6159080" y="2738487"/>
                </a:lnTo>
                <a:close/>
                <a:moveTo>
                  <a:pt x="4008387" y="2736105"/>
                </a:moveTo>
                <a:lnTo>
                  <a:pt x="4004046" y="2737512"/>
                </a:lnTo>
                <a:lnTo>
                  <a:pt x="4001551" y="2737729"/>
                </a:lnTo>
                <a:lnTo>
                  <a:pt x="4001551" y="2737730"/>
                </a:lnTo>
                <a:lnTo>
                  <a:pt x="4004046" y="2737513"/>
                </a:lnTo>
                <a:lnTo>
                  <a:pt x="4008387" y="2736106"/>
                </a:lnTo>
                <a:close/>
                <a:moveTo>
                  <a:pt x="2308365" y="2734698"/>
                </a:moveTo>
                <a:lnTo>
                  <a:pt x="2312815" y="2739894"/>
                </a:lnTo>
                <a:lnTo>
                  <a:pt x="2316938" y="2740328"/>
                </a:lnTo>
                <a:lnTo>
                  <a:pt x="2314551" y="2742926"/>
                </a:lnTo>
                <a:lnTo>
                  <a:pt x="2309234" y="2741735"/>
                </a:lnTo>
                <a:lnTo>
                  <a:pt x="2306955" y="2737080"/>
                </a:lnTo>
                <a:close/>
                <a:moveTo>
                  <a:pt x="3723096" y="2734698"/>
                </a:moveTo>
                <a:lnTo>
                  <a:pt x="3718538" y="2734915"/>
                </a:lnTo>
                <a:lnTo>
                  <a:pt x="3713872" y="2741627"/>
                </a:lnTo>
                <a:lnTo>
                  <a:pt x="3710725" y="2741844"/>
                </a:lnTo>
                <a:lnTo>
                  <a:pt x="3705842" y="2745309"/>
                </a:lnTo>
                <a:lnTo>
                  <a:pt x="3705843" y="2745309"/>
                </a:lnTo>
                <a:lnTo>
                  <a:pt x="3710726" y="2741844"/>
                </a:lnTo>
                <a:lnTo>
                  <a:pt x="3713873" y="2741627"/>
                </a:lnTo>
                <a:lnTo>
                  <a:pt x="3718539" y="2734915"/>
                </a:lnTo>
                <a:lnTo>
                  <a:pt x="3723097" y="2734698"/>
                </a:lnTo>
                <a:lnTo>
                  <a:pt x="3725779" y="2735877"/>
                </a:lnTo>
                <a:close/>
                <a:moveTo>
                  <a:pt x="3736010" y="2734265"/>
                </a:moveTo>
                <a:lnTo>
                  <a:pt x="3731669" y="2735672"/>
                </a:lnTo>
                <a:lnTo>
                  <a:pt x="3729499" y="2737513"/>
                </a:lnTo>
                <a:lnTo>
                  <a:pt x="3729499" y="2737513"/>
                </a:lnTo>
                <a:lnTo>
                  <a:pt x="3731670" y="2735672"/>
                </a:lnTo>
                <a:lnTo>
                  <a:pt x="3736010" y="2734265"/>
                </a:lnTo>
                <a:close/>
                <a:moveTo>
                  <a:pt x="3671010" y="2734048"/>
                </a:moveTo>
                <a:lnTo>
                  <a:pt x="3671009" y="2734048"/>
                </a:lnTo>
                <a:lnTo>
                  <a:pt x="3675567" y="2734265"/>
                </a:lnTo>
                <a:lnTo>
                  <a:pt x="3677846" y="2736756"/>
                </a:lnTo>
                <a:lnTo>
                  <a:pt x="3682946" y="2737188"/>
                </a:lnTo>
                <a:lnTo>
                  <a:pt x="3683380" y="2740867"/>
                </a:lnTo>
                <a:lnTo>
                  <a:pt x="3683380" y="2740865"/>
                </a:lnTo>
                <a:lnTo>
                  <a:pt x="3682947" y="2737188"/>
                </a:lnTo>
                <a:lnTo>
                  <a:pt x="3677847" y="2736755"/>
                </a:lnTo>
                <a:lnTo>
                  <a:pt x="3675568" y="2734265"/>
                </a:lnTo>
                <a:close/>
                <a:moveTo>
                  <a:pt x="4965504" y="2733831"/>
                </a:moveTo>
                <a:lnTo>
                  <a:pt x="4961490" y="2734914"/>
                </a:lnTo>
                <a:lnTo>
                  <a:pt x="4961489" y="2734915"/>
                </a:lnTo>
                <a:lnTo>
                  <a:pt x="4965503" y="2733832"/>
                </a:lnTo>
                <a:close/>
                <a:moveTo>
                  <a:pt x="3561842" y="2732424"/>
                </a:moveTo>
                <a:lnTo>
                  <a:pt x="3555059" y="2735808"/>
                </a:lnTo>
                <a:lnTo>
                  <a:pt x="3561842" y="2732424"/>
                </a:lnTo>
                <a:lnTo>
                  <a:pt x="3577902" y="2733832"/>
                </a:lnTo>
                <a:lnTo>
                  <a:pt x="3577903" y="2733832"/>
                </a:lnTo>
                <a:close/>
                <a:moveTo>
                  <a:pt x="4472730" y="2731557"/>
                </a:moveTo>
                <a:lnTo>
                  <a:pt x="4470017" y="2733398"/>
                </a:lnTo>
                <a:lnTo>
                  <a:pt x="4470017" y="2733398"/>
                </a:lnTo>
                <a:lnTo>
                  <a:pt x="4472730" y="2731558"/>
                </a:lnTo>
                <a:close/>
                <a:moveTo>
                  <a:pt x="2494580" y="2731234"/>
                </a:moveTo>
                <a:lnTo>
                  <a:pt x="2496968" y="2735673"/>
                </a:lnTo>
                <a:lnTo>
                  <a:pt x="2493387" y="2735673"/>
                </a:lnTo>
                <a:cubicBezTo>
                  <a:pt x="2493387" y="2735673"/>
                  <a:pt x="2494580" y="2731234"/>
                  <a:pt x="2494580" y="2731234"/>
                </a:cubicBezTo>
                <a:close/>
                <a:moveTo>
                  <a:pt x="3994714" y="2731016"/>
                </a:moveTo>
                <a:lnTo>
                  <a:pt x="3994714" y="2731016"/>
                </a:lnTo>
                <a:lnTo>
                  <a:pt x="3995676" y="2732295"/>
                </a:lnTo>
                <a:close/>
                <a:moveTo>
                  <a:pt x="6809636" y="2730800"/>
                </a:moveTo>
                <a:lnTo>
                  <a:pt x="6813434" y="2731341"/>
                </a:lnTo>
                <a:lnTo>
                  <a:pt x="6816256" y="2734590"/>
                </a:lnTo>
                <a:lnTo>
                  <a:pt x="6821139" y="2735564"/>
                </a:lnTo>
                <a:lnTo>
                  <a:pt x="6822116" y="2738054"/>
                </a:lnTo>
                <a:lnTo>
                  <a:pt x="6820054" y="2740544"/>
                </a:lnTo>
                <a:lnTo>
                  <a:pt x="6816907" y="2739137"/>
                </a:lnTo>
                <a:lnTo>
                  <a:pt x="6811806" y="2738812"/>
                </a:lnTo>
                <a:lnTo>
                  <a:pt x="6809636" y="2736322"/>
                </a:lnTo>
                <a:lnTo>
                  <a:pt x="6808008" y="2732749"/>
                </a:lnTo>
                <a:close/>
                <a:moveTo>
                  <a:pt x="4944301" y="2730043"/>
                </a:moveTo>
                <a:lnTo>
                  <a:pt x="4947708" y="2730150"/>
                </a:lnTo>
                <a:lnTo>
                  <a:pt x="4948773" y="2731548"/>
                </a:lnTo>
                <a:lnTo>
                  <a:pt x="4947708" y="2730150"/>
                </a:lnTo>
                <a:close/>
                <a:moveTo>
                  <a:pt x="2285686" y="2729501"/>
                </a:moveTo>
                <a:lnTo>
                  <a:pt x="2289266" y="2729934"/>
                </a:lnTo>
                <a:lnTo>
                  <a:pt x="2293390" y="2733724"/>
                </a:lnTo>
                <a:lnTo>
                  <a:pt x="2288724" y="2733832"/>
                </a:lnTo>
                <a:close/>
                <a:moveTo>
                  <a:pt x="4009798" y="2728959"/>
                </a:moveTo>
                <a:lnTo>
                  <a:pt x="4008944" y="2730798"/>
                </a:lnTo>
                <a:lnTo>
                  <a:pt x="4009798" y="2728960"/>
                </a:lnTo>
                <a:lnTo>
                  <a:pt x="4017611" y="2735456"/>
                </a:lnTo>
                <a:lnTo>
                  <a:pt x="4021951" y="2741411"/>
                </a:lnTo>
                <a:lnTo>
                  <a:pt x="4027486" y="2742494"/>
                </a:lnTo>
                <a:lnTo>
                  <a:pt x="4032694" y="2749314"/>
                </a:lnTo>
                <a:lnTo>
                  <a:pt x="4032695" y="2749314"/>
                </a:lnTo>
                <a:lnTo>
                  <a:pt x="4036385" y="2746391"/>
                </a:lnTo>
                <a:lnTo>
                  <a:pt x="4036168" y="2743793"/>
                </a:lnTo>
                <a:lnTo>
                  <a:pt x="4036167" y="2743793"/>
                </a:lnTo>
                <a:lnTo>
                  <a:pt x="4036385" y="2746391"/>
                </a:lnTo>
                <a:lnTo>
                  <a:pt x="4032695" y="2749314"/>
                </a:lnTo>
                <a:lnTo>
                  <a:pt x="4027486" y="2742493"/>
                </a:lnTo>
                <a:lnTo>
                  <a:pt x="4021951" y="2741410"/>
                </a:lnTo>
                <a:lnTo>
                  <a:pt x="4017611" y="2735455"/>
                </a:lnTo>
                <a:close/>
                <a:moveTo>
                  <a:pt x="4276722" y="2728770"/>
                </a:moveTo>
                <a:lnTo>
                  <a:pt x="4276721" y="2728770"/>
                </a:lnTo>
                <a:lnTo>
                  <a:pt x="4276966" y="2730150"/>
                </a:lnTo>
                <a:lnTo>
                  <a:pt x="4276748" y="2737405"/>
                </a:lnTo>
                <a:lnTo>
                  <a:pt x="4278810" y="2741627"/>
                </a:lnTo>
                <a:lnTo>
                  <a:pt x="4279865" y="2741897"/>
                </a:lnTo>
                <a:lnTo>
                  <a:pt x="4278811" y="2741627"/>
                </a:lnTo>
                <a:lnTo>
                  <a:pt x="4276749" y="2737405"/>
                </a:lnTo>
                <a:lnTo>
                  <a:pt x="4276966" y="2730151"/>
                </a:lnTo>
                <a:close/>
                <a:moveTo>
                  <a:pt x="6321369" y="2728124"/>
                </a:moveTo>
                <a:lnTo>
                  <a:pt x="6322179" y="2729827"/>
                </a:lnTo>
                <a:lnTo>
                  <a:pt x="6322179" y="2729826"/>
                </a:lnTo>
                <a:close/>
                <a:moveTo>
                  <a:pt x="4470017" y="2727443"/>
                </a:moveTo>
                <a:lnTo>
                  <a:pt x="4472730" y="2728093"/>
                </a:lnTo>
                <a:lnTo>
                  <a:pt x="4472730" y="2728093"/>
                </a:lnTo>
                <a:close/>
                <a:moveTo>
                  <a:pt x="3997427" y="2727443"/>
                </a:moveTo>
                <a:lnTo>
                  <a:pt x="3995619" y="2729825"/>
                </a:lnTo>
                <a:lnTo>
                  <a:pt x="3997427" y="2727444"/>
                </a:lnTo>
                <a:close/>
                <a:moveTo>
                  <a:pt x="5221929" y="2727335"/>
                </a:moveTo>
                <a:lnTo>
                  <a:pt x="5224968" y="2727768"/>
                </a:lnTo>
                <a:lnTo>
                  <a:pt x="5226269" y="2730258"/>
                </a:lnTo>
                <a:lnTo>
                  <a:pt x="5229308" y="2730908"/>
                </a:lnTo>
                <a:lnTo>
                  <a:pt x="5232672" y="2729933"/>
                </a:lnTo>
                <a:lnTo>
                  <a:pt x="5237339" y="2728959"/>
                </a:lnTo>
                <a:lnTo>
                  <a:pt x="5240594" y="2730583"/>
                </a:lnTo>
                <a:lnTo>
                  <a:pt x="5244392" y="2731341"/>
                </a:lnTo>
                <a:lnTo>
                  <a:pt x="5244718" y="2733181"/>
                </a:lnTo>
                <a:lnTo>
                  <a:pt x="5242873" y="2735347"/>
                </a:lnTo>
                <a:lnTo>
                  <a:pt x="5239292" y="2735563"/>
                </a:lnTo>
                <a:lnTo>
                  <a:pt x="5234083" y="2738920"/>
                </a:lnTo>
                <a:lnTo>
                  <a:pt x="5226921" y="2740002"/>
                </a:lnTo>
                <a:lnTo>
                  <a:pt x="5221820" y="2739028"/>
                </a:lnTo>
                <a:lnTo>
                  <a:pt x="5218890" y="2736646"/>
                </a:lnTo>
                <a:lnTo>
                  <a:pt x="5215852" y="2734914"/>
                </a:lnTo>
                <a:lnTo>
                  <a:pt x="5218782" y="2733398"/>
                </a:lnTo>
                <a:lnTo>
                  <a:pt x="5219216" y="2729717"/>
                </a:lnTo>
                <a:close/>
                <a:moveTo>
                  <a:pt x="6878219" y="2726361"/>
                </a:moveTo>
                <a:lnTo>
                  <a:pt x="6881475" y="2727985"/>
                </a:lnTo>
                <a:lnTo>
                  <a:pt x="6881149" y="2730367"/>
                </a:lnTo>
                <a:lnTo>
                  <a:pt x="6876700" y="2730692"/>
                </a:lnTo>
                <a:lnTo>
                  <a:pt x="6876049" y="2727985"/>
                </a:lnTo>
                <a:close/>
                <a:moveTo>
                  <a:pt x="4795459" y="2725711"/>
                </a:moveTo>
                <a:lnTo>
                  <a:pt x="4795458" y="2725711"/>
                </a:lnTo>
                <a:lnTo>
                  <a:pt x="4794807" y="2729825"/>
                </a:lnTo>
                <a:lnTo>
                  <a:pt x="4788947" y="2739353"/>
                </a:lnTo>
                <a:lnTo>
                  <a:pt x="4788839" y="2743034"/>
                </a:lnTo>
                <a:lnTo>
                  <a:pt x="4782111" y="2747906"/>
                </a:lnTo>
                <a:lnTo>
                  <a:pt x="4779181" y="2755377"/>
                </a:lnTo>
                <a:lnTo>
                  <a:pt x="4774515" y="2773133"/>
                </a:lnTo>
                <a:lnTo>
                  <a:pt x="4773725" y="2772904"/>
                </a:lnTo>
                <a:lnTo>
                  <a:pt x="4774515" y="2773134"/>
                </a:lnTo>
                <a:lnTo>
                  <a:pt x="4779181" y="2755377"/>
                </a:lnTo>
                <a:lnTo>
                  <a:pt x="4782112" y="2747906"/>
                </a:lnTo>
                <a:lnTo>
                  <a:pt x="4788840" y="2743034"/>
                </a:lnTo>
                <a:lnTo>
                  <a:pt x="4788948" y="2739353"/>
                </a:lnTo>
                <a:lnTo>
                  <a:pt x="4794808" y="2729826"/>
                </a:lnTo>
                <a:close/>
                <a:moveTo>
                  <a:pt x="3623154" y="2725387"/>
                </a:moveTo>
                <a:lnTo>
                  <a:pt x="3618596" y="2726253"/>
                </a:lnTo>
                <a:lnTo>
                  <a:pt x="3623154" y="2725387"/>
                </a:lnTo>
                <a:lnTo>
                  <a:pt x="3638346" y="2725603"/>
                </a:lnTo>
                <a:lnTo>
                  <a:pt x="3648004" y="2730367"/>
                </a:lnTo>
                <a:lnTo>
                  <a:pt x="3652127" y="2733615"/>
                </a:lnTo>
                <a:lnTo>
                  <a:pt x="3659507" y="2733182"/>
                </a:lnTo>
                <a:lnTo>
                  <a:pt x="3667103" y="2736322"/>
                </a:lnTo>
                <a:lnTo>
                  <a:pt x="3667104" y="2736322"/>
                </a:lnTo>
                <a:lnTo>
                  <a:pt x="3659507" y="2733182"/>
                </a:lnTo>
                <a:lnTo>
                  <a:pt x="3652128" y="2733615"/>
                </a:lnTo>
                <a:lnTo>
                  <a:pt x="3648004" y="2730367"/>
                </a:lnTo>
                <a:lnTo>
                  <a:pt x="3638346" y="2725603"/>
                </a:lnTo>
                <a:close/>
                <a:moveTo>
                  <a:pt x="3612628" y="2724845"/>
                </a:moveTo>
                <a:lnTo>
                  <a:pt x="3618596" y="2726469"/>
                </a:lnTo>
                <a:lnTo>
                  <a:pt x="3618596" y="2726469"/>
                </a:lnTo>
                <a:close/>
                <a:moveTo>
                  <a:pt x="6894279" y="2724412"/>
                </a:moveTo>
                <a:lnTo>
                  <a:pt x="6897643" y="2725386"/>
                </a:lnTo>
                <a:lnTo>
                  <a:pt x="6897209" y="2727010"/>
                </a:lnTo>
                <a:lnTo>
                  <a:pt x="6898945" y="2726794"/>
                </a:lnTo>
                <a:lnTo>
                  <a:pt x="6903069" y="2730691"/>
                </a:lnTo>
                <a:lnTo>
                  <a:pt x="6906215" y="2731233"/>
                </a:lnTo>
                <a:lnTo>
                  <a:pt x="6913594" y="2735997"/>
                </a:lnTo>
                <a:lnTo>
                  <a:pt x="6916416" y="2739677"/>
                </a:lnTo>
                <a:lnTo>
                  <a:pt x="6916416" y="2742601"/>
                </a:lnTo>
                <a:lnTo>
                  <a:pt x="6912618" y="2743034"/>
                </a:lnTo>
                <a:lnTo>
                  <a:pt x="6906758" y="2740652"/>
                </a:lnTo>
                <a:lnTo>
                  <a:pt x="6901658" y="2734156"/>
                </a:lnTo>
                <a:lnTo>
                  <a:pt x="6898076" y="2734481"/>
                </a:lnTo>
                <a:lnTo>
                  <a:pt x="6894279" y="2740760"/>
                </a:lnTo>
                <a:lnTo>
                  <a:pt x="6893193" y="2738054"/>
                </a:lnTo>
                <a:lnTo>
                  <a:pt x="6893302" y="2735238"/>
                </a:lnTo>
                <a:lnTo>
                  <a:pt x="6895363" y="2733398"/>
                </a:lnTo>
                <a:lnTo>
                  <a:pt x="6894387" y="2729608"/>
                </a:lnTo>
                <a:close/>
                <a:moveTo>
                  <a:pt x="4281313" y="2724189"/>
                </a:moveTo>
                <a:lnTo>
                  <a:pt x="4281312" y="2724189"/>
                </a:lnTo>
                <a:lnTo>
                  <a:pt x="4285973" y="2726578"/>
                </a:lnTo>
                <a:lnTo>
                  <a:pt x="4291399" y="2731666"/>
                </a:lnTo>
                <a:lnTo>
                  <a:pt x="4285973" y="2726577"/>
                </a:lnTo>
                <a:close/>
                <a:moveTo>
                  <a:pt x="6902092" y="2723546"/>
                </a:moveTo>
                <a:lnTo>
                  <a:pt x="6905348" y="2724628"/>
                </a:lnTo>
                <a:lnTo>
                  <a:pt x="6909364" y="2729718"/>
                </a:lnTo>
                <a:lnTo>
                  <a:pt x="6907302" y="2729718"/>
                </a:lnTo>
                <a:lnTo>
                  <a:pt x="6903503" y="2725928"/>
                </a:lnTo>
                <a:close/>
                <a:moveTo>
                  <a:pt x="6935081" y="2723113"/>
                </a:moveTo>
                <a:lnTo>
                  <a:pt x="6937252" y="2724196"/>
                </a:lnTo>
                <a:lnTo>
                  <a:pt x="6938879" y="2723438"/>
                </a:lnTo>
                <a:lnTo>
                  <a:pt x="6941700" y="2723763"/>
                </a:lnTo>
                <a:lnTo>
                  <a:pt x="6944196" y="2728094"/>
                </a:lnTo>
                <a:lnTo>
                  <a:pt x="6948211" y="2733507"/>
                </a:lnTo>
                <a:lnTo>
                  <a:pt x="6950164" y="2735023"/>
                </a:lnTo>
                <a:lnTo>
                  <a:pt x="6949622" y="2737621"/>
                </a:lnTo>
                <a:lnTo>
                  <a:pt x="6950490" y="2746066"/>
                </a:lnTo>
                <a:lnTo>
                  <a:pt x="6950164" y="2752887"/>
                </a:lnTo>
                <a:lnTo>
                  <a:pt x="6952769" y="2755269"/>
                </a:lnTo>
                <a:lnTo>
                  <a:pt x="6954180" y="2759600"/>
                </a:lnTo>
                <a:lnTo>
                  <a:pt x="6956458" y="2762415"/>
                </a:lnTo>
                <a:lnTo>
                  <a:pt x="6953963" y="2761332"/>
                </a:lnTo>
                <a:lnTo>
                  <a:pt x="6952877" y="2762523"/>
                </a:lnTo>
                <a:lnTo>
                  <a:pt x="6951467" y="2761873"/>
                </a:lnTo>
                <a:lnTo>
                  <a:pt x="6944413" y="2761440"/>
                </a:lnTo>
                <a:lnTo>
                  <a:pt x="6943003" y="2758192"/>
                </a:lnTo>
                <a:lnTo>
                  <a:pt x="6939097" y="2755702"/>
                </a:lnTo>
                <a:lnTo>
                  <a:pt x="6937360" y="2754511"/>
                </a:lnTo>
                <a:lnTo>
                  <a:pt x="6936492" y="2753104"/>
                </a:lnTo>
                <a:lnTo>
                  <a:pt x="6934213" y="2753970"/>
                </a:lnTo>
                <a:lnTo>
                  <a:pt x="6934973" y="2752887"/>
                </a:lnTo>
                <a:lnTo>
                  <a:pt x="6937252" y="2749964"/>
                </a:lnTo>
                <a:lnTo>
                  <a:pt x="6937903" y="2747798"/>
                </a:lnTo>
                <a:lnTo>
                  <a:pt x="6935515" y="2746282"/>
                </a:lnTo>
                <a:lnTo>
                  <a:pt x="6929981" y="2739894"/>
                </a:lnTo>
                <a:lnTo>
                  <a:pt x="6924013" y="2735131"/>
                </a:lnTo>
                <a:lnTo>
                  <a:pt x="6920215" y="2727552"/>
                </a:lnTo>
                <a:lnTo>
                  <a:pt x="6920323" y="2724304"/>
                </a:lnTo>
                <a:lnTo>
                  <a:pt x="6922385" y="2725278"/>
                </a:lnTo>
                <a:lnTo>
                  <a:pt x="6926074" y="2725170"/>
                </a:lnTo>
                <a:lnTo>
                  <a:pt x="6930958" y="2725386"/>
                </a:lnTo>
                <a:lnTo>
                  <a:pt x="6932585" y="2723654"/>
                </a:lnTo>
                <a:close/>
                <a:moveTo>
                  <a:pt x="4148157" y="2723004"/>
                </a:moveTo>
                <a:lnTo>
                  <a:pt x="4148157" y="2723004"/>
                </a:lnTo>
                <a:lnTo>
                  <a:pt x="4153040" y="2723654"/>
                </a:lnTo>
                <a:lnTo>
                  <a:pt x="4162806" y="2727227"/>
                </a:lnTo>
                <a:lnTo>
                  <a:pt x="4167147" y="2728310"/>
                </a:lnTo>
                <a:lnTo>
                  <a:pt x="4173007" y="2724412"/>
                </a:lnTo>
                <a:lnTo>
                  <a:pt x="4167147" y="2728310"/>
                </a:lnTo>
                <a:lnTo>
                  <a:pt x="4162807" y="2727227"/>
                </a:lnTo>
                <a:lnTo>
                  <a:pt x="4153040" y="2723654"/>
                </a:lnTo>
                <a:close/>
                <a:moveTo>
                  <a:pt x="3996567" y="2722363"/>
                </a:moveTo>
                <a:lnTo>
                  <a:pt x="3996993" y="2722788"/>
                </a:lnTo>
                <a:lnTo>
                  <a:pt x="3997138" y="2724340"/>
                </a:lnTo>
                <a:lnTo>
                  <a:pt x="3996993" y="2722788"/>
                </a:lnTo>
                <a:close/>
                <a:moveTo>
                  <a:pt x="6868886" y="2720731"/>
                </a:moveTo>
                <a:lnTo>
                  <a:pt x="6867801" y="2726253"/>
                </a:lnTo>
                <a:lnTo>
                  <a:pt x="6869430" y="2730475"/>
                </a:lnTo>
                <a:lnTo>
                  <a:pt x="6867584" y="2736322"/>
                </a:lnTo>
                <a:lnTo>
                  <a:pt x="6864655" y="2737296"/>
                </a:lnTo>
                <a:lnTo>
                  <a:pt x="6862158" y="2731125"/>
                </a:lnTo>
                <a:lnTo>
                  <a:pt x="6865088" y="2727119"/>
                </a:lnTo>
                <a:lnTo>
                  <a:pt x="6867150" y="2722463"/>
                </a:lnTo>
                <a:close/>
                <a:moveTo>
                  <a:pt x="4235408" y="2720614"/>
                </a:moveTo>
                <a:lnTo>
                  <a:pt x="4235404" y="2720622"/>
                </a:lnTo>
                <a:lnTo>
                  <a:pt x="4231823" y="2721488"/>
                </a:lnTo>
                <a:lnTo>
                  <a:pt x="4231789" y="2721464"/>
                </a:lnTo>
                <a:lnTo>
                  <a:pt x="4231823" y="2721489"/>
                </a:lnTo>
                <a:lnTo>
                  <a:pt x="4235404" y="2720622"/>
                </a:lnTo>
                <a:close/>
                <a:moveTo>
                  <a:pt x="4109480" y="2719456"/>
                </a:moveTo>
                <a:lnTo>
                  <a:pt x="4107680" y="2720081"/>
                </a:lnTo>
                <a:lnTo>
                  <a:pt x="4107680" y="2720081"/>
                </a:lnTo>
                <a:close/>
                <a:moveTo>
                  <a:pt x="4135569" y="2716941"/>
                </a:moveTo>
                <a:lnTo>
                  <a:pt x="4135569" y="2716941"/>
                </a:lnTo>
                <a:lnTo>
                  <a:pt x="4140452" y="2718674"/>
                </a:lnTo>
                <a:lnTo>
                  <a:pt x="4140452" y="2718673"/>
                </a:lnTo>
                <a:close/>
                <a:moveTo>
                  <a:pt x="3991892" y="2716616"/>
                </a:moveTo>
                <a:lnTo>
                  <a:pt x="3981584" y="2722138"/>
                </a:lnTo>
                <a:lnTo>
                  <a:pt x="3991893" y="2716617"/>
                </a:lnTo>
                <a:close/>
                <a:moveTo>
                  <a:pt x="6316428" y="2715534"/>
                </a:moveTo>
                <a:lnTo>
                  <a:pt x="6316428" y="2715534"/>
                </a:lnTo>
                <a:lnTo>
                  <a:pt x="6319141" y="2718458"/>
                </a:lnTo>
                <a:lnTo>
                  <a:pt x="6319245" y="2719204"/>
                </a:lnTo>
                <a:lnTo>
                  <a:pt x="6319141" y="2718457"/>
                </a:lnTo>
                <a:close/>
                <a:moveTo>
                  <a:pt x="6393547" y="2715317"/>
                </a:moveTo>
                <a:lnTo>
                  <a:pt x="6394234" y="2718457"/>
                </a:lnTo>
                <a:lnTo>
                  <a:pt x="6398358" y="2720623"/>
                </a:lnTo>
                <a:lnTo>
                  <a:pt x="6399118" y="2722210"/>
                </a:lnTo>
                <a:lnTo>
                  <a:pt x="6398358" y="2720622"/>
                </a:lnTo>
                <a:lnTo>
                  <a:pt x="6394234" y="2718457"/>
                </a:lnTo>
                <a:close/>
                <a:moveTo>
                  <a:pt x="4038989" y="2713802"/>
                </a:moveTo>
                <a:lnTo>
                  <a:pt x="4038663" y="2715209"/>
                </a:lnTo>
                <a:lnTo>
                  <a:pt x="4037686" y="2717049"/>
                </a:lnTo>
                <a:lnTo>
                  <a:pt x="4038771" y="2721381"/>
                </a:lnTo>
                <a:lnTo>
                  <a:pt x="4040399" y="2723330"/>
                </a:lnTo>
                <a:lnTo>
                  <a:pt x="4040616" y="2726685"/>
                </a:lnTo>
                <a:lnTo>
                  <a:pt x="4036276" y="2726794"/>
                </a:lnTo>
                <a:lnTo>
                  <a:pt x="4031284" y="2731883"/>
                </a:lnTo>
                <a:lnTo>
                  <a:pt x="4032260" y="2734373"/>
                </a:lnTo>
                <a:lnTo>
                  <a:pt x="4030633" y="2736863"/>
                </a:lnTo>
                <a:lnTo>
                  <a:pt x="4033455" y="2743684"/>
                </a:lnTo>
                <a:lnTo>
                  <a:pt x="4030633" y="2736863"/>
                </a:lnTo>
                <a:lnTo>
                  <a:pt x="4032261" y="2734373"/>
                </a:lnTo>
                <a:lnTo>
                  <a:pt x="4031284" y="2731883"/>
                </a:lnTo>
                <a:lnTo>
                  <a:pt x="4036276" y="2726794"/>
                </a:lnTo>
                <a:lnTo>
                  <a:pt x="4040617" y="2726686"/>
                </a:lnTo>
                <a:lnTo>
                  <a:pt x="4040400" y="2723330"/>
                </a:lnTo>
                <a:lnTo>
                  <a:pt x="4038772" y="2721381"/>
                </a:lnTo>
                <a:lnTo>
                  <a:pt x="4037687" y="2717049"/>
                </a:lnTo>
                <a:lnTo>
                  <a:pt x="4038664" y="2715209"/>
                </a:lnTo>
                <a:close/>
                <a:moveTo>
                  <a:pt x="4201872" y="2712718"/>
                </a:moveTo>
                <a:lnTo>
                  <a:pt x="4196664" y="2715317"/>
                </a:lnTo>
                <a:lnTo>
                  <a:pt x="4184184" y="2714451"/>
                </a:lnTo>
                <a:lnTo>
                  <a:pt x="4179084" y="2715859"/>
                </a:lnTo>
                <a:lnTo>
                  <a:pt x="4179084" y="2715859"/>
                </a:lnTo>
                <a:lnTo>
                  <a:pt x="4184184" y="2714451"/>
                </a:lnTo>
                <a:lnTo>
                  <a:pt x="4196664" y="2715318"/>
                </a:lnTo>
                <a:lnTo>
                  <a:pt x="4201872" y="2712719"/>
                </a:lnTo>
                <a:lnTo>
                  <a:pt x="4212507" y="2714018"/>
                </a:lnTo>
                <a:lnTo>
                  <a:pt x="4220212" y="2717699"/>
                </a:lnTo>
                <a:lnTo>
                  <a:pt x="4226939" y="2717916"/>
                </a:lnTo>
                <a:lnTo>
                  <a:pt x="4226956" y="2717928"/>
                </a:lnTo>
                <a:lnTo>
                  <a:pt x="4226940" y="2717916"/>
                </a:lnTo>
                <a:lnTo>
                  <a:pt x="4220212" y="2717699"/>
                </a:lnTo>
                <a:lnTo>
                  <a:pt x="4212507" y="2714018"/>
                </a:lnTo>
                <a:close/>
                <a:moveTo>
                  <a:pt x="4126453" y="2712610"/>
                </a:moveTo>
                <a:lnTo>
                  <a:pt x="4119726" y="2713910"/>
                </a:lnTo>
                <a:lnTo>
                  <a:pt x="4116144" y="2715642"/>
                </a:lnTo>
                <a:lnTo>
                  <a:pt x="4112780" y="2715967"/>
                </a:lnTo>
                <a:lnTo>
                  <a:pt x="4111478" y="2717591"/>
                </a:lnTo>
                <a:lnTo>
                  <a:pt x="4112781" y="2715967"/>
                </a:lnTo>
                <a:lnTo>
                  <a:pt x="4116144" y="2715642"/>
                </a:lnTo>
                <a:lnTo>
                  <a:pt x="4119726" y="2713910"/>
                </a:lnTo>
                <a:lnTo>
                  <a:pt x="4126453" y="2712610"/>
                </a:lnTo>
                <a:close/>
                <a:moveTo>
                  <a:pt x="3672744" y="2712069"/>
                </a:moveTo>
                <a:lnTo>
                  <a:pt x="3671681" y="2712254"/>
                </a:lnTo>
                <a:lnTo>
                  <a:pt x="3672745" y="2712069"/>
                </a:lnTo>
                <a:close/>
                <a:moveTo>
                  <a:pt x="4127430" y="2711636"/>
                </a:moveTo>
                <a:lnTo>
                  <a:pt x="4126757" y="2712308"/>
                </a:lnTo>
                <a:lnTo>
                  <a:pt x="4127430" y="2711636"/>
                </a:lnTo>
                <a:lnTo>
                  <a:pt x="4131336" y="2711853"/>
                </a:lnTo>
                <a:lnTo>
                  <a:pt x="4135569" y="2715101"/>
                </a:lnTo>
                <a:lnTo>
                  <a:pt x="4135569" y="2715101"/>
                </a:lnTo>
                <a:lnTo>
                  <a:pt x="4131337" y="2711853"/>
                </a:lnTo>
                <a:close/>
                <a:moveTo>
                  <a:pt x="2540157" y="2711095"/>
                </a:moveTo>
                <a:lnTo>
                  <a:pt x="2544498" y="2715209"/>
                </a:lnTo>
                <a:lnTo>
                  <a:pt x="2544606" y="2719648"/>
                </a:lnTo>
                <a:lnTo>
                  <a:pt x="2538638" y="2719866"/>
                </a:lnTo>
                <a:lnTo>
                  <a:pt x="2535600" y="2715642"/>
                </a:lnTo>
                <a:close/>
                <a:moveTo>
                  <a:pt x="4246183" y="2710842"/>
                </a:moveTo>
                <a:lnTo>
                  <a:pt x="4244085" y="2711420"/>
                </a:lnTo>
                <a:lnTo>
                  <a:pt x="4243919" y="2711778"/>
                </a:lnTo>
                <a:lnTo>
                  <a:pt x="4244085" y="2711420"/>
                </a:lnTo>
                <a:close/>
                <a:moveTo>
                  <a:pt x="4247232" y="2710553"/>
                </a:moveTo>
                <a:lnTo>
                  <a:pt x="4250813" y="2712069"/>
                </a:lnTo>
                <a:lnTo>
                  <a:pt x="4247233" y="2710553"/>
                </a:lnTo>
                <a:close/>
                <a:moveTo>
                  <a:pt x="6888311" y="2709579"/>
                </a:moveTo>
                <a:lnTo>
                  <a:pt x="6893086" y="2714560"/>
                </a:lnTo>
                <a:lnTo>
                  <a:pt x="6893737" y="2717266"/>
                </a:lnTo>
                <a:lnTo>
                  <a:pt x="6892543" y="2719540"/>
                </a:lnTo>
                <a:lnTo>
                  <a:pt x="6886358" y="2712719"/>
                </a:lnTo>
                <a:lnTo>
                  <a:pt x="6886466" y="2710012"/>
                </a:lnTo>
                <a:close/>
                <a:moveTo>
                  <a:pt x="2498704" y="2709579"/>
                </a:moveTo>
                <a:lnTo>
                  <a:pt x="2500874" y="2714884"/>
                </a:lnTo>
                <a:lnTo>
                  <a:pt x="2497185" y="2722030"/>
                </a:lnTo>
                <a:close/>
                <a:moveTo>
                  <a:pt x="3851255" y="2709254"/>
                </a:moveTo>
                <a:lnTo>
                  <a:pt x="3851254" y="2709254"/>
                </a:lnTo>
                <a:lnTo>
                  <a:pt x="3845828" y="2718674"/>
                </a:lnTo>
                <a:lnTo>
                  <a:pt x="3845612" y="2722138"/>
                </a:lnTo>
                <a:lnTo>
                  <a:pt x="3840511" y="2728960"/>
                </a:lnTo>
                <a:lnTo>
                  <a:pt x="3833566" y="2741627"/>
                </a:lnTo>
                <a:lnTo>
                  <a:pt x="3827597" y="2746174"/>
                </a:lnTo>
                <a:lnTo>
                  <a:pt x="3824902" y="2748326"/>
                </a:lnTo>
                <a:lnTo>
                  <a:pt x="3827598" y="2746174"/>
                </a:lnTo>
                <a:lnTo>
                  <a:pt x="3833567" y="2741627"/>
                </a:lnTo>
                <a:lnTo>
                  <a:pt x="3840512" y="2728959"/>
                </a:lnTo>
                <a:lnTo>
                  <a:pt x="3845612" y="2722138"/>
                </a:lnTo>
                <a:lnTo>
                  <a:pt x="3845829" y="2718674"/>
                </a:lnTo>
                <a:close/>
                <a:moveTo>
                  <a:pt x="3600108" y="2707990"/>
                </a:moveTo>
                <a:lnTo>
                  <a:pt x="3604164" y="2709363"/>
                </a:lnTo>
                <a:lnTo>
                  <a:pt x="3605867" y="2710070"/>
                </a:lnTo>
                <a:lnTo>
                  <a:pt x="3604163" y="2709362"/>
                </a:lnTo>
                <a:close/>
                <a:moveTo>
                  <a:pt x="3592987" y="2707197"/>
                </a:moveTo>
                <a:lnTo>
                  <a:pt x="3592987" y="2707197"/>
                </a:lnTo>
                <a:lnTo>
                  <a:pt x="3598087" y="2707305"/>
                </a:lnTo>
                <a:lnTo>
                  <a:pt x="3598086" y="2707305"/>
                </a:lnTo>
                <a:close/>
                <a:moveTo>
                  <a:pt x="3617077" y="2706764"/>
                </a:moveTo>
                <a:lnTo>
                  <a:pt x="3618921" y="2709795"/>
                </a:lnTo>
                <a:lnTo>
                  <a:pt x="3617293" y="2712827"/>
                </a:lnTo>
                <a:lnTo>
                  <a:pt x="3615422" y="2712751"/>
                </a:lnTo>
                <a:lnTo>
                  <a:pt x="3617294" y="2712827"/>
                </a:lnTo>
                <a:lnTo>
                  <a:pt x="3618921" y="2709796"/>
                </a:lnTo>
                <a:close/>
                <a:moveTo>
                  <a:pt x="6315886" y="2705790"/>
                </a:moveTo>
                <a:lnTo>
                  <a:pt x="6315886" y="2705790"/>
                </a:lnTo>
                <a:lnTo>
                  <a:pt x="6316862" y="2710337"/>
                </a:lnTo>
                <a:lnTo>
                  <a:pt x="6316862" y="2710337"/>
                </a:lnTo>
                <a:close/>
                <a:moveTo>
                  <a:pt x="3855486" y="2704924"/>
                </a:moveTo>
                <a:lnTo>
                  <a:pt x="3854510" y="2708171"/>
                </a:lnTo>
                <a:lnTo>
                  <a:pt x="3851304" y="2709238"/>
                </a:lnTo>
                <a:lnTo>
                  <a:pt x="3854511" y="2708172"/>
                </a:lnTo>
                <a:lnTo>
                  <a:pt x="3855488" y="2704924"/>
                </a:lnTo>
                <a:close/>
                <a:moveTo>
                  <a:pt x="3584956" y="2704490"/>
                </a:moveTo>
                <a:lnTo>
                  <a:pt x="3584955" y="2704490"/>
                </a:lnTo>
                <a:lnTo>
                  <a:pt x="3581375" y="2707305"/>
                </a:lnTo>
                <a:lnTo>
                  <a:pt x="3581375" y="2707305"/>
                </a:lnTo>
                <a:close/>
                <a:moveTo>
                  <a:pt x="3563036" y="2703949"/>
                </a:moveTo>
                <a:lnTo>
                  <a:pt x="3563035" y="2703949"/>
                </a:lnTo>
                <a:lnTo>
                  <a:pt x="3567267" y="2703949"/>
                </a:lnTo>
                <a:lnTo>
                  <a:pt x="3567268" y="2703949"/>
                </a:lnTo>
                <a:close/>
                <a:moveTo>
                  <a:pt x="4466327" y="2703732"/>
                </a:moveTo>
                <a:lnTo>
                  <a:pt x="4466327" y="2703732"/>
                </a:lnTo>
                <a:lnTo>
                  <a:pt x="4469139" y="2705415"/>
                </a:lnTo>
                <a:close/>
                <a:moveTo>
                  <a:pt x="4256674" y="2703624"/>
                </a:moveTo>
                <a:lnTo>
                  <a:pt x="4256674" y="2703624"/>
                </a:lnTo>
                <a:lnTo>
                  <a:pt x="4261122" y="2705357"/>
                </a:lnTo>
                <a:lnTo>
                  <a:pt x="4264269" y="2706547"/>
                </a:lnTo>
                <a:lnTo>
                  <a:pt x="4269935" y="2713887"/>
                </a:lnTo>
                <a:lnTo>
                  <a:pt x="4269935" y="2713886"/>
                </a:lnTo>
                <a:lnTo>
                  <a:pt x="4264269" y="2706547"/>
                </a:lnTo>
                <a:lnTo>
                  <a:pt x="4261123" y="2705356"/>
                </a:lnTo>
                <a:lnTo>
                  <a:pt x="4261123" y="2705356"/>
                </a:lnTo>
                <a:close/>
                <a:moveTo>
                  <a:pt x="4084458" y="2703516"/>
                </a:moveTo>
                <a:lnTo>
                  <a:pt x="4088364" y="2704274"/>
                </a:lnTo>
                <a:lnTo>
                  <a:pt x="4093490" y="2706133"/>
                </a:lnTo>
                <a:lnTo>
                  <a:pt x="4088364" y="2704273"/>
                </a:lnTo>
                <a:close/>
                <a:moveTo>
                  <a:pt x="3587342" y="2703516"/>
                </a:moveTo>
                <a:lnTo>
                  <a:pt x="3585012" y="2704467"/>
                </a:lnTo>
                <a:lnTo>
                  <a:pt x="3587343" y="2703516"/>
                </a:lnTo>
                <a:close/>
                <a:moveTo>
                  <a:pt x="3966608" y="2701980"/>
                </a:moveTo>
                <a:lnTo>
                  <a:pt x="3972794" y="2706114"/>
                </a:lnTo>
                <a:lnTo>
                  <a:pt x="3972924" y="2708973"/>
                </a:lnTo>
                <a:lnTo>
                  <a:pt x="3972794" y="2706114"/>
                </a:lnTo>
                <a:close/>
                <a:moveTo>
                  <a:pt x="6167544" y="2701676"/>
                </a:moveTo>
                <a:lnTo>
                  <a:pt x="6168521" y="2704382"/>
                </a:lnTo>
                <a:lnTo>
                  <a:pt x="6167001" y="2708388"/>
                </a:lnTo>
                <a:lnTo>
                  <a:pt x="6168521" y="2710121"/>
                </a:lnTo>
                <a:lnTo>
                  <a:pt x="6168303" y="2715101"/>
                </a:lnTo>
                <a:lnTo>
                  <a:pt x="6164723" y="2720406"/>
                </a:lnTo>
                <a:lnTo>
                  <a:pt x="6167978" y="2722463"/>
                </a:lnTo>
                <a:lnTo>
                  <a:pt x="6167978" y="2729176"/>
                </a:lnTo>
                <a:lnTo>
                  <a:pt x="6162660" y="2733291"/>
                </a:lnTo>
                <a:lnTo>
                  <a:pt x="6160490" y="2731233"/>
                </a:lnTo>
                <a:lnTo>
                  <a:pt x="6163203" y="2720947"/>
                </a:lnTo>
                <a:lnTo>
                  <a:pt x="6162335" y="2717700"/>
                </a:lnTo>
                <a:lnTo>
                  <a:pt x="6163746" y="2714885"/>
                </a:lnTo>
                <a:lnTo>
                  <a:pt x="6162877" y="2706981"/>
                </a:lnTo>
                <a:close/>
                <a:moveTo>
                  <a:pt x="4076786" y="2701178"/>
                </a:moveTo>
                <a:lnTo>
                  <a:pt x="4081636" y="2701892"/>
                </a:lnTo>
                <a:lnTo>
                  <a:pt x="4081636" y="2701892"/>
                </a:lnTo>
                <a:close/>
                <a:moveTo>
                  <a:pt x="3604598" y="2700701"/>
                </a:moveTo>
                <a:lnTo>
                  <a:pt x="3615014" y="2707089"/>
                </a:lnTo>
                <a:lnTo>
                  <a:pt x="3615015" y="2707089"/>
                </a:lnTo>
                <a:close/>
                <a:moveTo>
                  <a:pt x="4072055" y="2699963"/>
                </a:moveTo>
                <a:lnTo>
                  <a:pt x="4068506" y="2700159"/>
                </a:lnTo>
                <a:lnTo>
                  <a:pt x="4066444" y="2702000"/>
                </a:lnTo>
                <a:lnTo>
                  <a:pt x="4059173" y="2701892"/>
                </a:lnTo>
                <a:lnTo>
                  <a:pt x="4057220" y="2702000"/>
                </a:lnTo>
                <a:lnTo>
                  <a:pt x="4053422" y="2701783"/>
                </a:lnTo>
                <a:lnTo>
                  <a:pt x="4048538" y="2702866"/>
                </a:lnTo>
                <a:lnTo>
                  <a:pt x="4046694" y="2703949"/>
                </a:lnTo>
                <a:lnTo>
                  <a:pt x="4044089" y="2705031"/>
                </a:lnTo>
                <a:lnTo>
                  <a:pt x="4038771" y="2709363"/>
                </a:lnTo>
                <a:lnTo>
                  <a:pt x="4038012" y="2711744"/>
                </a:lnTo>
                <a:lnTo>
                  <a:pt x="4038772" y="2709363"/>
                </a:lnTo>
                <a:lnTo>
                  <a:pt x="4044090" y="2705032"/>
                </a:lnTo>
                <a:lnTo>
                  <a:pt x="4046694" y="2703949"/>
                </a:lnTo>
                <a:lnTo>
                  <a:pt x="4048538" y="2702867"/>
                </a:lnTo>
                <a:lnTo>
                  <a:pt x="4053422" y="2701784"/>
                </a:lnTo>
                <a:lnTo>
                  <a:pt x="4057220" y="2702000"/>
                </a:lnTo>
                <a:lnTo>
                  <a:pt x="4059173" y="2701892"/>
                </a:lnTo>
                <a:lnTo>
                  <a:pt x="4066444" y="2702000"/>
                </a:lnTo>
                <a:lnTo>
                  <a:pt x="4068506" y="2700159"/>
                </a:lnTo>
                <a:close/>
                <a:moveTo>
                  <a:pt x="4072412" y="2699943"/>
                </a:moveTo>
                <a:lnTo>
                  <a:pt x="4073714" y="2700430"/>
                </a:lnTo>
                <a:lnTo>
                  <a:pt x="4072412" y="2699943"/>
                </a:lnTo>
                <a:close/>
                <a:moveTo>
                  <a:pt x="4906905" y="2699401"/>
                </a:moveTo>
                <a:lnTo>
                  <a:pt x="4906906" y="2699402"/>
                </a:lnTo>
                <a:lnTo>
                  <a:pt x="4913136" y="2700372"/>
                </a:lnTo>
                <a:close/>
                <a:moveTo>
                  <a:pt x="6825046" y="2699294"/>
                </a:moveTo>
                <a:lnTo>
                  <a:pt x="6830580" y="2701351"/>
                </a:lnTo>
                <a:lnTo>
                  <a:pt x="6836332" y="2700052"/>
                </a:lnTo>
                <a:lnTo>
                  <a:pt x="6846315" y="2708822"/>
                </a:lnTo>
                <a:lnTo>
                  <a:pt x="6851090" y="2710663"/>
                </a:lnTo>
                <a:lnTo>
                  <a:pt x="6851090" y="2714993"/>
                </a:lnTo>
                <a:lnTo>
                  <a:pt x="6849354" y="2718241"/>
                </a:lnTo>
                <a:lnTo>
                  <a:pt x="6851741" y="2721814"/>
                </a:lnTo>
                <a:lnTo>
                  <a:pt x="6851741" y="2725929"/>
                </a:lnTo>
                <a:lnTo>
                  <a:pt x="6849571" y="2727445"/>
                </a:lnTo>
                <a:lnTo>
                  <a:pt x="6849571" y="2731234"/>
                </a:lnTo>
                <a:lnTo>
                  <a:pt x="6845230" y="2734916"/>
                </a:lnTo>
                <a:lnTo>
                  <a:pt x="6841324" y="2734157"/>
                </a:lnTo>
                <a:lnTo>
                  <a:pt x="6836657" y="2728527"/>
                </a:lnTo>
                <a:lnTo>
                  <a:pt x="6836440" y="2724196"/>
                </a:lnTo>
                <a:lnTo>
                  <a:pt x="6832642" y="2722031"/>
                </a:lnTo>
                <a:lnTo>
                  <a:pt x="6832642" y="2714561"/>
                </a:lnTo>
                <a:lnTo>
                  <a:pt x="6829603" y="2710446"/>
                </a:lnTo>
                <a:lnTo>
                  <a:pt x="6826240" y="2709255"/>
                </a:lnTo>
                <a:lnTo>
                  <a:pt x="6825046" y="2703625"/>
                </a:lnTo>
                <a:lnTo>
                  <a:pt x="6821791" y="2703733"/>
                </a:lnTo>
                <a:lnTo>
                  <a:pt x="6820705" y="2701567"/>
                </a:lnTo>
                <a:close/>
                <a:moveTo>
                  <a:pt x="6859446" y="2697453"/>
                </a:moveTo>
                <a:lnTo>
                  <a:pt x="6863895" y="2699077"/>
                </a:lnTo>
                <a:lnTo>
                  <a:pt x="6866282" y="2703083"/>
                </a:lnTo>
                <a:lnTo>
                  <a:pt x="6864329" y="2705573"/>
                </a:lnTo>
                <a:lnTo>
                  <a:pt x="6863244" y="2708171"/>
                </a:lnTo>
                <a:lnTo>
                  <a:pt x="6857710" y="2704382"/>
                </a:lnTo>
                <a:lnTo>
                  <a:pt x="6856950" y="2700918"/>
                </a:lnTo>
                <a:close/>
                <a:moveTo>
                  <a:pt x="7408757" y="2697344"/>
                </a:moveTo>
                <a:lnTo>
                  <a:pt x="7410494" y="2698535"/>
                </a:lnTo>
                <a:lnTo>
                  <a:pt x="7406370" y="2706114"/>
                </a:lnTo>
                <a:lnTo>
                  <a:pt x="7402897" y="2707197"/>
                </a:lnTo>
                <a:lnTo>
                  <a:pt x="7401052" y="2705464"/>
                </a:lnTo>
                <a:lnTo>
                  <a:pt x="7401920" y="2702540"/>
                </a:lnTo>
                <a:lnTo>
                  <a:pt x="7404091" y="2698535"/>
                </a:lnTo>
                <a:close/>
                <a:moveTo>
                  <a:pt x="3879795" y="2696911"/>
                </a:moveTo>
                <a:lnTo>
                  <a:pt x="3879794" y="2696912"/>
                </a:lnTo>
                <a:lnTo>
                  <a:pt x="3877732" y="2701675"/>
                </a:lnTo>
                <a:lnTo>
                  <a:pt x="3877733" y="2701675"/>
                </a:lnTo>
                <a:close/>
                <a:moveTo>
                  <a:pt x="3582569" y="2694638"/>
                </a:moveTo>
                <a:lnTo>
                  <a:pt x="3586583" y="2695829"/>
                </a:lnTo>
                <a:lnTo>
                  <a:pt x="3592660" y="2696046"/>
                </a:lnTo>
                <a:lnTo>
                  <a:pt x="3600148" y="2700701"/>
                </a:lnTo>
                <a:lnTo>
                  <a:pt x="3600148" y="2700701"/>
                </a:lnTo>
                <a:lnTo>
                  <a:pt x="3592661" y="2696045"/>
                </a:lnTo>
                <a:lnTo>
                  <a:pt x="3586584" y="2695829"/>
                </a:lnTo>
                <a:close/>
                <a:moveTo>
                  <a:pt x="6396794" y="2693667"/>
                </a:moveTo>
                <a:lnTo>
                  <a:pt x="6396622" y="2694421"/>
                </a:lnTo>
                <a:lnTo>
                  <a:pt x="6394017" y="2697958"/>
                </a:lnTo>
                <a:lnTo>
                  <a:pt x="6396622" y="2694422"/>
                </a:lnTo>
                <a:close/>
                <a:moveTo>
                  <a:pt x="1861168" y="2693663"/>
                </a:moveTo>
                <a:lnTo>
                  <a:pt x="1857153" y="2694096"/>
                </a:lnTo>
                <a:lnTo>
                  <a:pt x="1856067" y="2696804"/>
                </a:lnTo>
                <a:lnTo>
                  <a:pt x="1855200" y="2698968"/>
                </a:lnTo>
                <a:lnTo>
                  <a:pt x="1855200" y="2698969"/>
                </a:lnTo>
                <a:lnTo>
                  <a:pt x="1856068" y="2696803"/>
                </a:lnTo>
                <a:lnTo>
                  <a:pt x="1857153" y="2694097"/>
                </a:lnTo>
                <a:lnTo>
                  <a:pt x="1861168" y="2693663"/>
                </a:lnTo>
                <a:close/>
                <a:moveTo>
                  <a:pt x="2505432" y="2692797"/>
                </a:moveTo>
                <a:lnTo>
                  <a:pt x="2507059" y="2700376"/>
                </a:lnTo>
                <a:lnTo>
                  <a:pt x="2504564" y="2706873"/>
                </a:lnTo>
                <a:lnTo>
                  <a:pt x="2500657" y="2704924"/>
                </a:lnTo>
                <a:lnTo>
                  <a:pt x="2499789" y="2700376"/>
                </a:lnTo>
                <a:close/>
                <a:moveTo>
                  <a:pt x="1823404" y="2691497"/>
                </a:moveTo>
                <a:lnTo>
                  <a:pt x="1819281" y="2692688"/>
                </a:lnTo>
                <a:lnTo>
                  <a:pt x="1813421" y="2693988"/>
                </a:lnTo>
                <a:lnTo>
                  <a:pt x="1808972" y="2698860"/>
                </a:lnTo>
                <a:lnTo>
                  <a:pt x="1808940" y="2699216"/>
                </a:lnTo>
                <a:lnTo>
                  <a:pt x="1808972" y="2698861"/>
                </a:lnTo>
                <a:lnTo>
                  <a:pt x="1813421" y="2693989"/>
                </a:lnTo>
                <a:lnTo>
                  <a:pt x="1819281" y="2692689"/>
                </a:lnTo>
                <a:lnTo>
                  <a:pt x="1823404" y="2691498"/>
                </a:lnTo>
                <a:close/>
                <a:moveTo>
                  <a:pt x="6812566" y="2691173"/>
                </a:moveTo>
                <a:lnTo>
                  <a:pt x="6815713" y="2691173"/>
                </a:lnTo>
                <a:lnTo>
                  <a:pt x="6820162" y="2695829"/>
                </a:lnTo>
                <a:lnTo>
                  <a:pt x="6818969" y="2697020"/>
                </a:lnTo>
                <a:lnTo>
                  <a:pt x="6813109" y="2694530"/>
                </a:lnTo>
                <a:close/>
                <a:moveTo>
                  <a:pt x="1843697" y="2689441"/>
                </a:moveTo>
                <a:lnTo>
                  <a:pt x="1839031" y="2690091"/>
                </a:lnTo>
                <a:lnTo>
                  <a:pt x="1843697" y="2689441"/>
                </a:lnTo>
                <a:close/>
                <a:moveTo>
                  <a:pt x="4815100" y="2689224"/>
                </a:moveTo>
                <a:lnTo>
                  <a:pt x="4813906" y="2690956"/>
                </a:lnTo>
                <a:lnTo>
                  <a:pt x="4811302" y="2698211"/>
                </a:lnTo>
                <a:lnTo>
                  <a:pt x="4811302" y="2706438"/>
                </a:lnTo>
                <a:lnTo>
                  <a:pt x="4804791" y="2717482"/>
                </a:lnTo>
                <a:lnTo>
                  <a:pt x="4802077" y="2725061"/>
                </a:lnTo>
                <a:lnTo>
                  <a:pt x="4802079" y="2725061"/>
                </a:lnTo>
                <a:lnTo>
                  <a:pt x="4804792" y="2717482"/>
                </a:lnTo>
                <a:lnTo>
                  <a:pt x="4811303" y="2706439"/>
                </a:lnTo>
                <a:lnTo>
                  <a:pt x="4811303" y="2698210"/>
                </a:lnTo>
                <a:lnTo>
                  <a:pt x="4813907" y="2690956"/>
                </a:lnTo>
                <a:lnTo>
                  <a:pt x="4815101" y="2689224"/>
                </a:lnTo>
                <a:close/>
                <a:moveTo>
                  <a:pt x="4471536" y="2686409"/>
                </a:moveTo>
                <a:lnTo>
                  <a:pt x="4471753" y="2689765"/>
                </a:lnTo>
                <a:lnTo>
                  <a:pt x="4472926" y="2690935"/>
                </a:lnTo>
                <a:lnTo>
                  <a:pt x="4471753" y="2689765"/>
                </a:lnTo>
                <a:close/>
                <a:moveTo>
                  <a:pt x="6472288" y="2686264"/>
                </a:moveTo>
                <a:lnTo>
                  <a:pt x="6473450" y="2686301"/>
                </a:lnTo>
                <a:lnTo>
                  <a:pt x="6477792" y="2693338"/>
                </a:lnTo>
                <a:lnTo>
                  <a:pt x="6485279" y="2696045"/>
                </a:lnTo>
                <a:lnTo>
                  <a:pt x="6477794" y="2693338"/>
                </a:lnTo>
                <a:lnTo>
                  <a:pt x="6473453" y="2686301"/>
                </a:lnTo>
                <a:close/>
                <a:moveTo>
                  <a:pt x="4891213" y="2685990"/>
                </a:moveTo>
                <a:lnTo>
                  <a:pt x="4892799" y="2687492"/>
                </a:lnTo>
                <a:lnTo>
                  <a:pt x="4896705" y="2688249"/>
                </a:lnTo>
                <a:lnTo>
                  <a:pt x="4905061" y="2695720"/>
                </a:lnTo>
                <a:lnTo>
                  <a:pt x="4905061" y="2695720"/>
                </a:lnTo>
                <a:lnTo>
                  <a:pt x="4896705" y="2688249"/>
                </a:lnTo>
                <a:lnTo>
                  <a:pt x="4892798" y="2687491"/>
                </a:lnTo>
                <a:close/>
                <a:moveTo>
                  <a:pt x="6915657" y="2684893"/>
                </a:moveTo>
                <a:lnTo>
                  <a:pt x="6919129" y="2688466"/>
                </a:lnTo>
                <a:lnTo>
                  <a:pt x="6921409" y="2693338"/>
                </a:lnTo>
                <a:lnTo>
                  <a:pt x="6919672" y="2698318"/>
                </a:lnTo>
                <a:lnTo>
                  <a:pt x="6913378" y="2699617"/>
                </a:lnTo>
                <a:lnTo>
                  <a:pt x="6911208" y="2697019"/>
                </a:lnTo>
                <a:lnTo>
                  <a:pt x="6912836" y="2695719"/>
                </a:lnTo>
                <a:lnTo>
                  <a:pt x="6914246" y="2692039"/>
                </a:lnTo>
                <a:lnTo>
                  <a:pt x="6913378" y="2686733"/>
                </a:lnTo>
                <a:close/>
                <a:moveTo>
                  <a:pt x="1829373" y="2684461"/>
                </a:moveTo>
                <a:lnTo>
                  <a:pt x="1827539" y="2685859"/>
                </a:lnTo>
                <a:lnTo>
                  <a:pt x="1827528" y="2685868"/>
                </a:lnTo>
                <a:lnTo>
                  <a:pt x="1823790" y="2688616"/>
                </a:lnTo>
                <a:lnTo>
                  <a:pt x="1827529" y="2685869"/>
                </a:lnTo>
                <a:lnTo>
                  <a:pt x="1829374" y="2684461"/>
                </a:lnTo>
                <a:lnTo>
                  <a:pt x="1831012" y="2684814"/>
                </a:lnTo>
                <a:close/>
                <a:moveTo>
                  <a:pt x="1829430" y="2684390"/>
                </a:moveTo>
                <a:lnTo>
                  <a:pt x="1823405" y="2688899"/>
                </a:lnTo>
                <a:lnTo>
                  <a:pt x="1823405" y="2688899"/>
                </a:lnTo>
                <a:lnTo>
                  <a:pt x="1823416" y="2688892"/>
                </a:lnTo>
                <a:close/>
                <a:moveTo>
                  <a:pt x="4883683" y="2682511"/>
                </a:moveTo>
                <a:lnTo>
                  <a:pt x="4879776" y="2683268"/>
                </a:lnTo>
                <a:lnTo>
                  <a:pt x="4879125" y="2684676"/>
                </a:lnTo>
                <a:lnTo>
                  <a:pt x="4879125" y="2684676"/>
                </a:lnTo>
                <a:lnTo>
                  <a:pt x="4879777" y="2683269"/>
                </a:lnTo>
                <a:lnTo>
                  <a:pt x="4883683" y="2682511"/>
                </a:lnTo>
                <a:close/>
                <a:moveTo>
                  <a:pt x="3903358" y="2682413"/>
                </a:moveTo>
                <a:lnTo>
                  <a:pt x="3892924" y="2688142"/>
                </a:lnTo>
                <a:lnTo>
                  <a:pt x="3884050" y="2694070"/>
                </a:lnTo>
                <a:lnTo>
                  <a:pt x="3892926" y="2688141"/>
                </a:lnTo>
                <a:close/>
                <a:moveTo>
                  <a:pt x="7419283" y="2681212"/>
                </a:moveTo>
                <a:lnTo>
                  <a:pt x="7420802" y="2684136"/>
                </a:lnTo>
                <a:lnTo>
                  <a:pt x="7418089" y="2684461"/>
                </a:lnTo>
                <a:lnTo>
                  <a:pt x="7414942" y="2683810"/>
                </a:lnTo>
                <a:close/>
                <a:moveTo>
                  <a:pt x="6506114" y="2680779"/>
                </a:moveTo>
                <a:lnTo>
                  <a:pt x="6509044" y="2688141"/>
                </a:lnTo>
                <a:lnTo>
                  <a:pt x="6513277" y="2690415"/>
                </a:lnTo>
                <a:lnTo>
                  <a:pt x="6517400" y="2700051"/>
                </a:lnTo>
                <a:lnTo>
                  <a:pt x="6516423" y="2707414"/>
                </a:lnTo>
                <a:lnTo>
                  <a:pt x="6518159" y="2712069"/>
                </a:lnTo>
                <a:lnTo>
                  <a:pt x="6516532" y="2718457"/>
                </a:lnTo>
                <a:lnTo>
                  <a:pt x="6517400" y="2723979"/>
                </a:lnTo>
                <a:lnTo>
                  <a:pt x="6514036" y="2731017"/>
                </a:lnTo>
                <a:lnTo>
                  <a:pt x="6510238" y="2732532"/>
                </a:lnTo>
                <a:lnTo>
                  <a:pt x="6509153" y="2735672"/>
                </a:lnTo>
                <a:lnTo>
                  <a:pt x="6502641" y="2737513"/>
                </a:lnTo>
                <a:lnTo>
                  <a:pt x="6495697" y="2742060"/>
                </a:lnTo>
                <a:lnTo>
                  <a:pt x="6493309" y="2746607"/>
                </a:lnTo>
                <a:lnTo>
                  <a:pt x="6493310" y="2746607"/>
                </a:lnTo>
                <a:lnTo>
                  <a:pt x="6495698" y="2742060"/>
                </a:lnTo>
                <a:lnTo>
                  <a:pt x="6502642" y="2737513"/>
                </a:lnTo>
                <a:lnTo>
                  <a:pt x="6509154" y="2735672"/>
                </a:lnTo>
                <a:lnTo>
                  <a:pt x="6510239" y="2732532"/>
                </a:lnTo>
                <a:lnTo>
                  <a:pt x="6514037" y="2731017"/>
                </a:lnTo>
                <a:lnTo>
                  <a:pt x="6517401" y="2723979"/>
                </a:lnTo>
                <a:lnTo>
                  <a:pt x="6516533" y="2718457"/>
                </a:lnTo>
                <a:lnTo>
                  <a:pt x="6518160" y="2712069"/>
                </a:lnTo>
                <a:lnTo>
                  <a:pt x="6516424" y="2707414"/>
                </a:lnTo>
                <a:lnTo>
                  <a:pt x="6517401" y="2700051"/>
                </a:lnTo>
                <a:lnTo>
                  <a:pt x="6513278" y="2690415"/>
                </a:lnTo>
                <a:lnTo>
                  <a:pt x="6509045" y="2688141"/>
                </a:lnTo>
                <a:lnTo>
                  <a:pt x="6506115" y="2680779"/>
                </a:lnTo>
                <a:close/>
                <a:moveTo>
                  <a:pt x="1759982" y="2680080"/>
                </a:moveTo>
                <a:lnTo>
                  <a:pt x="1759271" y="2681970"/>
                </a:lnTo>
                <a:lnTo>
                  <a:pt x="1759220" y="2682014"/>
                </a:lnTo>
                <a:lnTo>
                  <a:pt x="1759272" y="2681970"/>
                </a:lnTo>
                <a:close/>
                <a:moveTo>
                  <a:pt x="6859012" y="2679046"/>
                </a:moveTo>
                <a:lnTo>
                  <a:pt x="6862376" y="2681319"/>
                </a:lnTo>
                <a:lnTo>
                  <a:pt x="6863245" y="2685001"/>
                </a:lnTo>
                <a:lnTo>
                  <a:pt x="6859880" y="2683052"/>
                </a:lnTo>
                <a:close/>
                <a:moveTo>
                  <a:pt x="3953130" y="2678678"/>
                </a:moveTo>
                <a:lnTo>
                  <a:pt x="3953044" y="2679263"/>
                </a:lnTo>
                <a:lnTo>
                  <a:pt x="3951579" y="2681645"/>
                </a:lnTo>
                <a:lnTo>
                  <a:pt x="3953044" y="2679263"/>
                </a:lnTo>
                <a:close/>
                <a:moveTo>
                  <a:pt x="1944526" y="2678519"/>
                </a:moveTo>
                <a:lnTo>
                  <a:pt x="1945160" y="2680021"/>
                </a:lnTo>
                <a:lnTo>
                  <a:pt x="1945488" y="2679972"/>
                </a:lnTo>
                <a:lnTo>
                  <a:pt x="1945051" y="2678939"/>
                </a:lnTo>
                <a:close/>
                <a:moveTo>
                  <a:pt x="4867405" y="2678505"/>
                </a:moveTo>
                <a:lnTo>
                  <a:pt x="4865669" y="2680345"/>
                </a:lnTo>
                <a:lnTo>
                  <a:pt x="4865670" y="2680346"/>
                </a:lnTo>
                <a:lnTo>
                  <a:pt x="4867406" y="2678505"/>
                </a:lnTo>
                <a:close/>
                <a:moveTo>
                  <a:pt x="4862305" y="2677314"/>
                </a:moveTo>
                <a:lnTo>
                  <a:pt x="4857639" y="2677855"/>
                </a:lnTo>
                <a:lnTo>
                  <a:pt x="4853298" y="2681753"/>
                </a:lnTo>
                <a:lnTo>
                  <a:pt x="4853299" y="2681753"/>
                </a:lnTo>
                <a:lnTo>
                  <a:pt x="4857639" y="2677855"/>
                </a:lnTo>
                <a:lnTo>
                  <a:pt x="4862305" y="2677314"/>
                </a:lnTo>
                <a:lnTo>
                  <a:pt x="4864445" y="2679242"/>
                </a:lnTo>
                <a:close/>
                <a:moveTo>
                  <a:pt x="6418083" y="2676995"/>
                </a:moveTo>
                <a:lnTo>
                  <a:pt x="6407907" y="2680346"/>
                </a:lnTo>
                <a:lnTo>
                  <a:pt x="6403241" y="2680346"/>
                </a:lnTo>
                <a:lnTo>
                  <a:pt x="6402000" y="2682069"/>
                </a:lnTo>
                <a:lnTo>
                  <a:pt x="6403241" y="2680346"/>
                </a:lnTo>
                <a:lnTo>
                  <a:pt x="6407907" y="2680346"/>
                </a:lnTo>
                <a:close/>
                <a:moveTo>
                  <a:pt x="6419085" y="2676665"/>
                </a:moveTo>
                <a:lnTo>
                  <a:pt x="6419084" y="2676665"/>
                </a:lnTo>
                <a:lnTo>
                  <a:pt x="6422689" y="2676779"/>
                </a:lnTo>
                <a:close/>
                <a:moveTo>
                  <a:pt x="6434710" y="2676448"/>
                </a:moveTo>
                <a:lnTo>
                  <a:pt x="6427982" y="2678938"/>
                </a:lnTo>
                <a:lnTo>
                  <a:pt x="6426608" y="2677567"/>
                </a:lnTo>
                <a:lnTo>
                  <a:pt x="6427982" y="2678939"/>
                </a:lnTo>
                <a:lnTo>
                  <a:pt x="6434710" y="2676449"/>
                </a:lnTo>
                <a:lnTo>
                  <a:pt x="6439920" y="2676449"/>
                </a:lnTo>
                <a:lnTo>
                  <a:pt x="6445019" y="2677856"/>
                </a:lnTo>
                <a:lnTo>
                  <a:pt x="6439920" y="2676448"/>
                </a:lnTo>
                <a:close/>
                <a:moveTo>
                  <a:pt x="1762589" y="2676129"/>
                </a:moveTo>
                <a:lnTo>
                  <a:pt x="1762418" y="2677747"/>
                </a:lnTo>
                <a:lnTo>
                  <a:pt x="1762418" y="2677747"/>
                </a:lnTo>
                <a:close/>
                <a:moveTo>
                  <a:pt x="6297463" y="2675574"/>
                </a:moveTo>
                <a:lnTo>
                  <a:pt x="6300693" y="2679589"/>
                </a:lnTo>
                <a:lnTo>
                  <a:pt x="6307964" y="2685218"/>
                </a:lnTo>
                <a:lnTo>
                  <a:pt x="6314475" y="2691607"/>
                </a:lnTo>
                <a:lnTo>
                  <a:pt x="6317513" y="2701784"/>
                </a:lnTo>
                <a:lnTo>
                  <a:pt x="6317513" y="2701784"/>
                </a:lnTo>
                <a:lnTo>
                  <a:pt x="6314475" y="2691606"/>
                </a:lnTo>
                <a:lnTo>
                  <a:pt x="6307964" y="2685218"/>
                </a:lnTo>
                <a:lnTo>
                  <a:pt x="6300693" y="2679588"/>
                </a:lnTo>
                <a:close/>
                <a:moveTo>
                  <a:pt x="4835393" y="2674066"/>
                </a:moveTo>
                <a:lnTo>
                  <a:pt x="4828882" y="2687708"/>
                </a:lnTo>
                <a:lnTo>
                  <a:pt x="4825084" y="2687925"/>
                </a:lnTo>
                <a:lnTo>
                  <a:pt x="4823348" y="2690739"/>
                </a:lnTo>
                <a:lnTo>
                  <a:pt x="4823348" y="2690739"/>
                </a:lnTo>
                <a:lnTo>
                  <a:pt x="4825084" y="2687925"/>
                </a:lnTo>
                <a:lnTo>
                  <a:pt x="4828882" y="2687708"/>
                </a:lnTo>
                <a:lnTo>
                  <a:pt x="4835393" y="2674066"/>
                </a:lnTo>
                <a:close/>
                <a:moveTo>
                  <a:pt x="1761008" y="2673200"/>
                </a:moveTo>
                <a:lnTo>
                  <a:pt x="1761007" y="2673201"/>
                </a:lnTo>
                <a:lnTo>
                  <a:pt x="1761984" y="2675041"/>
                </a:lnTo>
                <a:lnTo>
                  <a:pt x="1762635" y="2675691"/>
                </a:lnTo>
                <a:lnTo>
                  <a:pt x="1762635" y="2675690"/>
                </a:lnTo>
                <a:lnTo>
                  <a:pt x="1761984" y="2675041"/>
                </a:lnTo>
                <a:close/>
                <a:moveTo>
                  <a:pt x="6492118" y="2673092"/>
                </a:moveTo>
                <a:lnTo>
                  <a:pt x="6492116" y="2673092"/>
                </a:lnTo>
                <a:lnTo>
                  <a:pt x="6494395" y="2676881"/>
                </a:lnTo>
                <a:lnTo>
                  <a:pt x="6497759" y="2677856"/>
                </a:lnTo>
                <a:lnTo>
                  <a:pt x="6502641" y="2680996"/>
                </a:lnTo>
                <a:lnTo>
                  <a:pt x="6502643" y="2680996"/>
                </a:lnTo>
                <a:lnTo>
                  <a:pt x="6497761" y="2677856"/>
                </a:lnTo>
                <a:lnTo>
                  <a:pt x="6494396" y="2676881"/>
                </a:lnTo>
                <a:close/>
                <a:moveTo>
                  <a:pt x="2495449" y="2672551"/>
                </a:moveTo>
                <a:lnTo>
                  <a:pt x="2505323" y="2675041"/>
                </a:lnTo>
                <a:lnTo>
                  <a:pt x="2507711" y="2683702"/>
                </a:lnTo>
                <a:lnTo>
                  <a:pt x="2507385" y="2687926"/>
                </a:lnTo>
                <a:lnTo>
                  <a:pt x="2503587" y="2686085"/>
                </a:lnTo>
                <a:lnTo>
                  <a:pt x="2500440" y="2685760"/>
                </a:lnTo>
                <a:lnTo>
                  <a:pt x="2501525" y="2682404"/>
                </a:lnTo>
                <a:lnTo>
                  <a:pt x="2495449" y="2676232"/>
                </a:lnTo>
                <a:close/>
                <a:moveTo>
                  <a:pt x="4265268" y="2671064"/>
                </a:moveTo>
                <a:lnTo>
                  <a:pt x="4265138" y="2671359"/>
                </a:lnTo>
                <a:lnTo>
                  <a:pt x="4263920" y="2671782"/>
                </a:lnTo>
                <a:lnTo>
                  <a:pt x="4265138" y="2671360"/>
                </a:lnTo>
                <a:close/>
                <a:moveTo>
                  <a:pt x="3955539" y="2669410"/>
                </a:moveTo>
                <a:lnTo>
                  <a:pt x="3955461" y="2669578"/>
                </a:lnTo>
                <a:lnTo>
                  <a:pt x="3955540" y="2669411"/>
                </a:lnTo>
                <a:close/>
                <a:moveTo>
                  <a:pt x="3977676" y="2669194"/>
                </a:moveTo>
                <a:lnTo>
                  <a:pt x="3961074" y="2670818"/>
                </a:lnTo>
                <a:lnTo>
                  <a:pt x="3977677" y="2669194"/>
                </a:lnTo>
                <a:close/>
                <a:moveTo>
                  <a:pt x="1970986" y="2669086"/>
                </a:moveTo>
                <a:lnTo>
                  <a:pt x="1971746" y="2670602"/>
                </a:lnTo>
                <a:lnTo>
                  <a:pt x="1972181" y="2670602"/>
                </a:lnTo>
                <a:lnTo>
                  <a:pt x="1971421" y="2669086"/>
                </a:lnTo>
                <a:close/>
                <a:moveTo>
                  <a:pt x="3924612" y="2668978"/>
                </a:moveTo>
                <a:lnTo>
                  <a:pt x="3917233" y="2673092"/>
                </a:lnTo>
                <a:lnTo>
                  <a:pt x="3912367" y="2677152"/>
                </a:lnTo>
                <a:lnTo>
                  <a:pt x="3917234" y="2673091"/>
                </a:lnTo>
                <a:close/>
                <a:moveTo>
                  <a:pt x="3989396" y="2666596"/>
                </a:moveTo>
                <a:lnTo>
                  <a:pt x="3985265" y="2668620"/>
                </a:lnTo>
                <a:lnTo>
                  <a:pt x="3989397" y="2666596"/>
                </a:lnTo>
                <a:close/>
                <a:moveTo>
                  <a:pt x="4008868" y="2663723"/>
                </a:moveTo>
                <a:lnTo>
                  <a:pt x="4004480" y="2666596"/>
                </a:lnTo>
                <a:lnTo>
                  <a:pt x="4004481" y="2666596"/>
                </a:lnTo>
                <a:close/>
                <a:moveTo>
                  <a:pt x="4486295" y="2663455"/>
                </a:moveTo>
                <a:lnTo>
                  <a:pt x="4486295" y="2663456"/>
                </a:lnTo>
                <a:lnTo>
                  <a:pt x="4488790" y="2666595"/>
                </a:lnTo>
                <a:close/>
                <a:moveTo>
                  <a:pt x="1841636" y="2663239"/>
                </a:moveTo>
                <a:lnTo>
                  <a:pt x="1841636" y="2663239"/>
                </a:lnTo>
                <a:lnTo>
                  <a:pt x="1845325" y="2663456"/>
                </a:lnTo>
                <a:lnTo>
                  <a:pt x="1845325" y="2663455"/>
                </a:lnTo>
                <a:close/>
                <a:moveTo>
                  <a:pt x="3395920" y="2662698"/>
                </a:moveTo>
                <a:lnTo>
                  <a:pt x="3398199" y="2665405"/>
                </a:lnTo>
                <a:lnTo>
                  <a:pt x="3395378" y="2666488"/>
                </a:lnTo>
                <a:lnTo>
                  <a:pt x="3394401" y="2664106"/>
                </a:lnTo>
                <a:close/>
                <a:moveTo>
                  <a:pt x="3381270" y="2662481"/>
                </a:moveTo>
                <a:lnTo>
                  <a:pt x="3385177" y="2663563"/>
                </a:lnTo>
                <a:lnTo>
                  <a:pt x="3390059" y="2668869"/>
                </a:lnTo>
                <a:lnTo>
                  <a:pt x="3388865" y="2672442"/>
                </a:lnTo>
                <a:lnTo>
                  <a:pt x="3383548" y="2671467"/>
                </a:lnTo>
                <a:lnTo>
                  <a:pt x="3383332" y="2665946"/>
                </a:lnTo>
                <a:close/>
                <a:moveTo>
                  <a:pt x="3637586" y="2660207"/>
                </a:moveTo>
                <a:lnTo>
                  <a:pt x="3637586" y="2660208"/>
                </a:lnTo>
                <a:lnTo>
                  <a:pt x="3642904" y="2661182"/>
                </a:lnTo>
                <a:lnTo>
                  <a:pt x="3644314" y="2666163"/>
                </a:lnTo>
                <a:lnTo>
                  <a:pt x="3646583" y="2667056"/>
                </a:lnTo>
                <a:lnTo>
                  <a:pt x="3644314" y="2666162"/>
                </a:lnTo>
                <a:lnTo>
                  <a:pt x="3642904" y="2661182"/>
                </a:lnTo>
                <a:close/>
                <a:moveTo>
                  <a:pt x="6290818" y="2659342"/>
                </a:moveTo>
                <a:lnTo>
                  <a:pt x="6294291" y="2667571"/>
                </a:lnTo>
                <a:lnTo>
                  <a:pt x="6294296" y="2667675"/>
                </a:lnTo>
                <a:lnTo>
                  <a:pt x="6294291" y="2667570"/>
                </a:lnTo>
                <a:close/>
                <a:moveTo>
                  <a:pt x="6860531" y="2657718"/>
                </a:moveTo>
                <a:lnTo>
                  <a:pt x="6863677" y="2659991"/>
                </a:lnTo>
                <a:lnTo>
                  <a:pt x="6861290" y="2662373"/>
                </a:lnTo>
                <a:lnTo>
                  <a:pt x="6860747" y="2669519"/>
                </a:lnTo>
                <a:lnTo>
                  <a:pt x="6857492" y="2672659"/>
                </a:lnTo>
                <a:lnTo>
                  <a:pt x="6856624" y="2669411"/>
                </a:lnTo>
                <a:lnTo>
                  <a:pt x="6857275" y="2667354"/>
                </a:lnTo>
                <a:lnTo>
                  <a:pt x="6854888" y="2660966"/>
                </a:lnTo>
                <a:close/>
                <a:moveTo>
                  <a:pt x="6295843" y="2656259"/>
                </a:moveTo>
                <a:lnTo>
                  <a:pt x="6295810" y="2656418"/>
                </a:lnTo>
                <a:lnTo>
                  <a:pt x="6294449" y="2657216"/>
                </a:lnTo>
                <a:lnTo>
                  <a:pt x="6295810" y="2656419"/>
                </a:lnTo>
                <a:close/>
                <a:moveTo>
                  <a:pt x="1766844" y="2655824"/>
                </a:moveTo>
                <a:lnTo>
                  <a:pt x="1760573" y="2665730"/>
                </a:lnTo>
                <a:lnTo>
                  <a:pt x="1761007" y="2669519"/>
                </a:lnTo>
                <a:lnTo>
                  <a:pt x="1761333" y="2670710"/>
                </a:lnTo>
                <a:lnTo>
                  <a:pt x="1761333" y="2670709"/>
                </a:lnTo>
                <a:lnTo>
                  <a:pt x="1761007" y="2669519"/>
                </a:lnTo>
                <a:lnTo>
                  <a:pt x="1760574" y="2665729"/>
                </a:lnTo>
                <a:close/>
                <a:moveTo>
                  <a:pt x="3725375" y="2655444"/>
                </a:moveTo>
                <a:lnTo>
                  <a:pt x="3728197" y="2659125"/>
                </a:lnTo>
                <a:lnTo>
                  <a:pt x="3730692" y="2660208"/>
                </a:lnTo>
                <a:lnTo>
                  <a:pt x="3815769" y="2659883"/>
                </a:lnTo>
                <a:lnTo>
                  <a:pt x="3815769" y="2659883"/>
                </a:lnTo>
                <a:lnTo>
                  <a:pt x="3730693" y="2660207"/>
                </a:lnTo>
                <a:lnTo>
                  <a:pt x="3728198" y="2659125"/>
                </a:lnTo>
                <a:lnTo>
                  <a:pt x="3725376" y="2655444"/>
                </a:lnTo>
                <a:close/>
                <a:moveTo>
                  <a:pt x="2495991" y="2654361"/>
                </a:moveTo>
                <a:lnTo>
                  <a:pt x="2499572" y="2658150"/>
                </a:lnTo>
                <a:lnTo>
                  <a:pt x="2499572" y="2664863"/>
                </a:lnTo>
                <a:lnTo>
                  <a:pt x="2495123" y="2665946"/>
                </a:lnTo>
                <a:lnTo>
                  <a:pt x="2493387" y="2658475"/>
                </a:lnTo>
                <a:close/>
                <a:moveTo>
                  <a:pt x="3672896" y="2651265"/>
                </a:moveTo>
                <a:lnTo>
                  <a:pt x="3671443" y="2651762"/>
                </a:lnTo>
                <a:lnTo>
                  <a:pt x="3671443" y="2651763"/>
                </a:lnTo>
                <a:close/>
                <a:moveTo>
                  <a:pt x="3632595" y="2650355"/>
                </a:moveTo>
                <a:lnTo>
                  <a:pt x="3632595" y="2650355"/>
                </a:lnTo>
                <a:lnTo>
                  <a:pt x="3637586" y="2654686"/>
                </a:lnTo>
                <a:close/>
                <a:moveTo>
                  <a:pt x="7428290" y="2650139"/>
                </a:moveTo>
                <a:lnTo>
                  <a:pt x="7429592" y="2652629"/>
                </a:lnTo>
                <a:lnTo>
                  <a:pt x="7427205" y="2655769"/>
                </a:lnTo>
                <a:lnTo>
                  <a:pt x="7427422" y="2660750"/>
                </a:lnTo>
                <a:lnTo>
                  <a:pt x="7423732" y="2653712"/>
                </a:lnTo>
                <a:close/>
                <a:moveTo>
                  <a:pt x="3680494" y="2649339"/>
                </a:moveTo>
                <a:lnTo>
                  <a:pt x="3684464" y="2649489"/>
                </a:lnTo>
                <a:lnTo>
                  <a:pt x="3685224" y="2655443"/>
                </a:lnTo>
                <a:lnTo>
                  <a:pt x="3689347" y="2663239"/>
                </a:lnTo>
                <a:lnTo>
                  <a:pt x="3691843" y="2664863"/>
                </a:lnTo>
                <a:lnTo>
                  <a:pt x="3691843" y="2664863"/>
                </a:lnTo>
                <a:lnTo>
                  <a:pt x="3689348" y="2663239"/>
                </a:lnTo>
                <a:lnTo>
                  <a:pt x="3685225" y="2655444"/>
                </a:lnTo>
                <a:lnTo>
                  <a:pt x="3684465" y="2649489"/>
                </a:lnTo>
                <a:close/>
                <a:moveTo>
                  <a:pt x="3709749" y="2648298"/>
                </a:moveTo>
                <a:lnTo>
                  <a:pt x="3709749" y="2648298"/>
                </a:lnTo>
                <a:lnTo>
                  <a:pt x="3715283" y="2650355"/>
                </a:lnTo>
                <a:lnTo>
                  <a:pt x="3715500" y="2657284"/>
                </a:lnTo>
                <a:lnTo>
                  <a:pt x="3718213" y="2660208"/>
                </a:lnTo>
                <a:lnTo>
                  <a:pt x="3718214" y="2660207"/>
                </a:lnTo>
                <a:lnTo>
                  <a:pt x="3715501" y="2657284"/>
                </a:lnTo>
                <a:lnTo>
                  <a:pt x="3715284" y="2650355"/>
                </a:lnTo>
                <a:close/>
                <a:moveTo>
                  <a:pt x="2501633" y="2644942"/>
                </a:moveTo>
                <a:lnTo>
                  <a:pt x="2501199" y="2649273"/>
                </a:lnTo>
                <a:lnTo>
                  <a:pt x="2497727" y="2647758"/>
                </a:lnTo>
                <a:close/>
                <a:moveTo>
                  <a:pt x="4818830" y="2644717"/>
                </a:moveTo>
                <a:lnTo>
                  <a:pt x="4817053" y="2655552"/>
                </a:lnTo>
                <a:lnTo>
                  <a:pt x="4813255" y="2661398"/>
                </a:lnTo>
                <a:lnTo>
                  <a:pt x="4812929" y="2665404"/>
                </a:lnTo>
                <a:lnTo>
                  <a:pt x="4810434" y="2668111"/>
                </a:lnTo>
                <a:lnTo>
                  <a:pt x="4809999" y="2673850"/>
                </a:lnTo>
                <a:lnTo>
                  <a:pt x="4812929" y="2683918"/>
                </a:lnTo>
                <a:lnTo>
                  <a:pt x="4813906" y="2688683"/>
                </a:lnTo>
                <a:lnTo>
                  <a:pt x="4814811" y="2689093"/>
                </a:lnTo>
                <a:lnTo>
                  <a:pt x="4813907" y="2688683"/>
                </a:lnTo>
                <a:lnTo>
                  <a:pt x="4818303" y="2690502"/>
                </a:lnTo>
                <a:lnTo>
                  <a:pt x="4818344" y="2690518"/>
                </a:lnTo>
                <a:lnTo>
                  <a:pt x="4813906" y="2688682"/>
                </a:lnTo>
                <a:lnTo>
                  <a:pt x="4812930" y="2683919"/>
                </a:lnTo>
                <a:lnTo>
                  <a:pt x="4810000" y="2673849"/>
                </a:lnTo>
                <a:lnTo>
                  <a:pt x="4810434" y="2668111"/>
                </a:lnTo>
                <a:lnTo>
                  <a:pt x="4812930" y="2665404"/>
                </a:lnTo>
                <a:lnTo>
                  <a:pt x="4813255" y="2661398"/>
                </a:lnTo>
                <a:lnTo>
                  <a:pt x="4817053" y="2655552"/>
                </a:lnTo>
                <a:close/>
                <a:moveTo>
                  <a:pt x="3629556" y="2642560"/>
                </a:moveTo>
                <a:lnTo>
                  <a:pt x="3625758" y="2643101"/>
                </a:lnTo>
                <a:lnTo>
                  <a:pt x="3629556" y="2642560"/>
                </a:lnTo>
                <a:close/>
                <a:moveTo>
                  <a:pt x="3624130" y="2641910"/>
                </a:moveTo>
                <a:lnTo>
                  <a:pt x="3619898" y="2643534"/>
                </a:lnTo>
                <a:lnTo>
                  <a:pt x="3616752" y="2642126"/>
                </a:lnTo>
                <a:lnTo>
                  <a:pt x="3616752" y="2642127"/>
                </a:lnTo>
                <a:lnTo>
                  <a:pt x="3619898" y="2643535"/>
                </a:lnTo>
                <a:lnTo>
                  <a:pt x="3624131" y="2641910"/>
                </a:lnTo>
                <a:lnTo>
                  <a:pt x="3625037" y="2642573"/>
                </a:lnTo>
                <a:close/>
                <a:moveTo>
                  <a:pt x="6293748" y="2640611"/>
                </a:moveTo>
                <a:lnTo>
                  <a:pt x="6293748" y="2640611"/>
                </a:lnTo>
                <a:lnTo>
                  <a:pt x="6294017" y="2641766"/>
                </a:lnTo>
                <a:close/>
                <a:moveTo>
                  <a:pt x="3401997" y="2638229"/>
                </a:moveTo>
                <a:lnTo>
                  <a:pt x="3404819" y="2639312"/>
                </a:lnTo>
                <a:lnTo>
                  <a:pt x="3405687" y="2643209"/>
                </a:lnTo>
                <a:lnTo>
                  <a:pt x="3403625" y="2644833"/>
                </a:lnTo>
                <a:lnTo>
                  <a:pt x="3401129" y="2644833"/>
                </a:lnTo>
                <a:lnTo>
                  <a:pt x="3398850" y="2641369"/>
                </a:lnTo>
                <a:close/>
                <a:moveTo>
                  <a:pt x="6456631" y="2637363"/>
                </a:moveTo>
                <a:lnTo>
                  <a:pt x="6460755" y="2638987"/>
                </a:lnTo>
                <a:lnTo>
                  <a:pt x="6459235" y="2641585"/>
                </a:lnTo>
                <a:lnTo>
                  <a:pt x="6465205" y="2645591"/>
                </a:lnTo>
                <a:lnTo>
                  <a:pt x="6466289" y="2648839"/>
                </a:lnTo>
                <a:lnTo>
                  <a:pt x="6464661" y="2654144"/>
                </a:lnTo>
                <a:lnTo>
                  <a:pt x="6465096" y="2657284"/>
                </a:lnTo>
                <a:lnTo>
                  <a:pt x="6463359" y="2661723"/>
                </a:lnTo>
                <a:lnTo>
                  <a:pt x="6465096" y="2665513"/>
                </a:lnTo>
                <a:lnTo>
                  <a:pt x="6464661" y="2674066"/>
                </a:lnTo>
                <a:lnTo>
                  <a:pt x="6461623" y="2677531"/>
                </a:lnTo>
                <a:lnTo>
                  <a:pt x="6459226" y="2678704"/>
                </a:lnTo>
                <a:lnTo>
                  <a:pt x="6461624" y="2677531"/>
                </a:lnTo>
                <a:lnTo>
                  <a:pt x="6459019" y="2678830"/>
                </a:lnTo>
                <a:lnTo>
                  <a:pt x="6455929" y="2680317"/>
                </a:lnTo>
                <a:lnTo>
                  <a:pt x="6455871" y="2680346"/>
                </a:lnTo>
                <a:lnTo>
                  <a:pt x="6451748" y="2676990"/>
                </a:lnTo>
                <a:lnTo>
                  <a:pt x="6451747" y="2676990"/>
                </a:lnTo>
                <a:lnTo>
                  <a:pt x="6455871" y="2680346"/>
                </a:lnTo>
                <a:lnTo>
                  <a:pt x="6459019" y="2678830"/>
                </a:lnTo>
                <a:lnTo>
                  <a:pt x="6464552" y="2682836"/>
                </a:lnTo>
                <a:lnTo>
                  <a:pt x="6466614" y="2686084"/>
                </a:lnTo>
                <a:lnTo>
                  <a:pt x="6466616" y="2686084"/>
                </a:lnTo>
                <a:lnTo>
                  <a:pt x="6464554" y="2682836"/>
                </a:lnTo>
                <a:lnTo>
                  <a:pt x="6459020" y="2678830"/>
                </a:lnTo>
                <a:lnTo>
                  <a:pt x="6461624" y="2677531"/>
                </a:lnTo>
                <a:lnTo>
                  <a:pt x="6464663" y="2674066"/>
                </a:lnTo>
                <a:lnTo>
                  <a:pt x="6465097" y="2665513"/>
                </a:lnTo>
                <a:lnTo>
                  <a:pt x="6463360" y="2661724"/>
                </a:lnTo>
                <a:lnTo>
                  <a:pt x="6465097" y="2657285"/>
                </a:lnTo>
                <a:lnTo>
                  <a:pt x="6464663" y="2654145"/>
                </a:lnTo>
                <a:lnTo>
                  <a:pt x="6466290" y="2648839"/>
                </a:lnTo>
                <a:lnTo>
                  <a:pt x="6465206" y="2645591"/>
                </a:lnTo>
                <a:lnTo>
                  <a:pt x="6459237" y="2641585"/>
                </a:lnTo>
                <a:lnTo>
                  <a:pt x="6460756" y="2638987"/>
                </a:lnTo>
                <a:lnTo>
                  <a:pt x="6456633" y="2637363"/>
                </a:lnTo>
                <a:close/>
                <a:moveTo>
                  <a:pt x="4042851" y="2635986"/>
                </a:moveTo>
                <a:lnTo>
                  <a:pt x="4039965" y="2637796"/>
                </a:lnTo>
                <a:lnTo>
                  <a:pt x="4039205" y="2646024"/>
                </a:lnTo>
                <a:lnTo>
                  <a:pt x="4037577" y="2651330"/>
                </a:lnTo>
                <a:lnTo>
                  <a:pt x="4037453" y="2651399"/>
                </a:lnTo>
                <a:lnTo>
                  <a:pt x="4037578" y="2651329"/>
                </a:lnTo>
                <a:lnTo>
                  <a:pt x="4039206" y="2646024"/>
                </a:lnTo>
                <a:lnTo>
                  <a:pt x="4039966" y="2637796"/>
                </a:lnTo>
                <a:close/>
                <a:moveTo>
                  <a:pt x="3612812" y="2634751"/>
                </a:moveTo>
                <a:lnTo>
                  <a:pt x="3616751" y="2639853"/>
                </a:lnTo>
                <a:lnTo>
                  <a:pt x="3616751" y="2639852"/>
                </a:lnTo>
                <a:close/>
                <a:moveTo>
                  <a:pt x="6504108" y="2634272"/>
                </a:moveTo>
                <a:lnTo>
                  <a:pt x="6504705" y="2635089"/>
                </a:lnTo>
                <a:lnTo>
                  <a:pt x="6506303" y="2635524"/>
                </a:lnTo>
                <a:lnTo>
                  <a:pt x="6504705" y="2635089"/>
                </a:lnTo>
                <a:close/>
                <a:moveTo>
                  <a:pt x="2490348" y="2634006"/>
                </a:moveTo>
                <a:lnTo>
                  <a:pt x="2494797" y="2639095"/>
                </a:lnTo>
                <a:lnTo>
                  <a:pt x="2491650" y="2648082"/>
                </a:lnTo>
                <a:lnTo>
                  <a:pt x="2485682" y="2638987"/>
                </a:lnTo>
                <a:lnTo>
                  <a:pt x="2487201" y="2634114"/>
                </a:lnTo>
                <a:close/>
                <a:moveTo>
                  <a:pt x="6511758" y="2633898"/>
                </a:moveTo>
                <a:lnTo>
                  <a:pt x="6507092" y="2635738"/>
                </a:lnTo>
                <a:lnTo>
                  <a:pt x="6507093" y="2635739"/>
                </a:lnTo>
                <a:lnTo>
                  <a:pt x="6511758" y="2633899"/>
                </a:lnTo>
                <a:close/>
                <a:moveTo>
                  <a:pt x="6496458" y="2630758"/>
                </a:moveTo>
                <a:lnTo>
                  <a:pt x="6496458" y="2630758"/>
                </a:lnTo>
                <a:lnTo>
                  <a:pt x="6501774" y="2631083"/>
                </a:lnTo>
                <a:lnTo>
                  <a:pt x="6501774" y="2631082"/>
                </a:lnTo>
                <a:close/>
                <a:moveTo>
                  <a:pt x="2499464" y="2629134"/>
                </a:moveTo>
                <a:lnTo>
                  <a:pt x="2502936" y="2639095"/>
                </a:lnTo>
                <a:lnTo>
                  <a:pt x="2497402" y="2638662"/>
                </a:lnTo>
                <a:lnTo>
                  <a:pt x="2494581" y="2633681"/>
                </a:lnTo>
                <a:close/>
                <a:moveTo>
                  <a:pt x="3596612" y="2628953"/>
                </a:moveTo>
                <a:lnTo>
                  <a:pt x="3605466" y="2631841"/>
                </a:lnTo>
                <a:lnTo>
                  <a:pt x="3611651" y="2633249"/>
                </a:lnTo>
                <a:lnTo>
                  <a:pt x="3611651" y="2633248"/>
                </a:lnTo>
                <a:lnTo>
                  <a:pt x="3605465" y="2631840"/>
                </a:lnTo>
                <a:close/>
                <a:moveTo>
                  <a:pt x="3378990" y="2627618"/>
                </a:moveTo>
                <a:lnTo>
                  <a:pt x="3382354" y="2630324"/>
                </a:lnTo>
                <a:lnTo>
                  <a:pt x="3378882" y="2631732"/>
                </a:lnTo>
                <a:lnTo>
                  <a:pt x="3377255" y="2629458"/>
                </a:lnTo>
                <a:close/>
                <a:moveTo>
                  <a:pt x="3369550" y="2627510"/>
                </a:moveTo>
                <a:lnTo>
                  <a:pt x="3372263" y="2627510"/>
                </a:lnTo>
                <a:lnTo>
                  <a:pt x="3374650" y="2628918"/>
                </a:lnTo>
                <a:lnTo>
                  <a:pt x="3374867" y="2630325"/>
                </a:lnTo>
                <a:lnTo>
                  <a:pt x="3373782" y="2630650"/>
                </a:lnTo>
                <a:lnTo>
                  <a:pt x="3372263" y="2630650"/>
                </a:lnTo>
                <a:lnTo>
                  <a:pt x="3371069" y="2631408"/>
                </a:lnTo>
                <a:lnTo>
                  <a:pt x="3368573" y="2629350"/>
                </a:lnTo>
                <a:close/>
                <a:moveTo>
                  <a:pt x="2477000" y="2623937"/>
                </a:moveTo>
                <a:lnTo>
                  <a:pt x="2478736" y="2627943"/>
                </a:lnTo>
                <a:lnTo>
                  <a:pt x="2475264" y="2628592"/>
                </a:lnTo>
                <a:close/>
                <a:moveTo>
                  <a:pt x="5031743" y="2623399"/>
                </a:moveTo>
                <a:lnTo>
                  <a:pt x="5043094" y="2628917"/>
                </a:lnTo>
                <a:lnTo>
                  <a:pt x="5043116" y="2629406"/>
                </a:lnTo>
                <a:lnTo>
                  <a:pt x="5043094" y="2628917"/>
                </a:lnTo>
                <a:close/>
                <a:moveTo>
                  <a:pt x="6491791" y="2622854"/>
                </a:moveTo>
                <a:lnTo>
                  <a:pt x="6489730" y="2623612"/>
                </a:lnTo>
                <a:lnTo>
                  <a:pt x="6491792" y="2622855"/>
                </a:lnTo>
                <a:lnTo>
                  <a:pt x="6493307" y="2623496"/>
                </a:lnTo>
                <a:close/>
                <a:moveTo>
                  <a:pt x="3404058" y="2622313"/>
                </a:moveTo>
                <a:lnTo>
                  <a:pt x="3404058" y="2626428"/>
                </a:lnTo>
                <a:lnTo>
                  <a:pt x="3402648" y="2628485"/>
                </a:lnTo>
                <a:lnTo>
                  <a:pt x="3401563" y="2624695"/>
                </a:lnTo>
                <a:close/>
                <a:moveTo>
                  <a:pt x="3355768" y="2620364"/>
                </a:moveTo>
                <a:lnTo>
                  <a:pt x="3358047" y="2621013"/>
                </a:lnTo>
                <a:lnTo>
                  <a:pt x="3358047" y="2623721"/>
                </a:lnTo>
                <a:lnTo>
                  <a:pt x="3355877" y="2625236"/>
                </a:lnTo>
                <a:lnTo>
                  <a:pt x="3354358" y="2622313"/>
                </a:lnTo>
                <a:close/>
                <a:moveTo>
                  <a:pt x="4969411" y="2618090"/>
                </a:moveTo>
                <a:lnTo>
                  <a:pt x="4969411" y="2618090"/>
                </a:lnTo>
                <a:lnTo>
                  <a:pt x="4973751" y="2626102"/>
                </a:lnTo>
                <a:lnTo>
                  <a:pt x="4967457" y="2630217"/>
                </a:lnTo>
                <a:lnTo>
                  <a:pt x="4964853" y="2635088"/>
                </a:lnTo>
                <a:lnTo>
                  <a:pt x="4964854" y="2635089"/>
                </a:lnTo>
                <a:lnTo>
                  <a:pt x="4967458" y="2630216"/>
                </a:lnTo>
                <a:lnTo>
                  <a:pt x="4973752" y="2626102"/>
                </a:lnTo>
                <a:close/>
                <a:moveTo>
                  <a:pt x="3349800" y="2615817"/>
                </a:moveTo>
                <a:lnTo>
                  <a:pt x="3353272" y="2615817"/>
                </a:lnTo>
                <a:lnTo>
                  <a:pt x="3354466" y="2618307"/>
                </a:lnTo>
                <a:lnTo>
                  <a:pt x="3349257" y="2621555"/>
                </a:lnTo>
                <a:lnTo>
                  <a:pt x="3346002" y="2621555"/>
                </a:lnTo>
                <a:lnTo>
                  <a:pt x="3344700" y="2617874"/>
                </a:lnTo>
                <a:lnTo>
                  <a:pt x="3346653" y="2617224"/>
                </a:lnTo>
                <a:close/>
                <a:moveTo>
                  <a:pt x="6287238" y="2614843"/>
                </a:moveTo>
                <a:lnTo>
                  <a:pt x="6287238" y="2614843"/>
                </a:lnTo>
                <a:lnTo>
                  <a:pt x="6291035" y="2616142"/>
                </a:lnTo>
                <a:lnTo>
                  <a:pt x="6293748" y="2622314"/>
                </a:lnTo>
                <a:lnTo>
                  <a:pt x="6294616" y="2627510"/>
                </a:lnTo>
                <a:lnTo>
                  <a:pt x="6299608" y="2629892"/>
                </a:lnTo>
                <a:lnTo>
                  <a:pt x="6294616" y="2627510"/>
                </a:lnTo>
                <a:lnTo>
                  <a:pt x="6293748" y="2622313"/>
                </a:lnTo>
                <a:lnTo>
                  <a:pt x="6291035" y="2616142"/>
                </a:lnTo>
                <a:close/>
                <a:moveTo>
                  <a:pt x="1782060" y="2614302"/>
                </a:moveTo>
                <a:lnTo>
                  <a:pt x="1785532" y="2617225"/>
                </a:lnTo>
                <a:lnTo>
                  <a:pt x="1786834" y="2619606"/>
                </a:lnTo>
                <a:lnTo>
                  <a:pt x="1790632" y="2624371"/>
                </a:lnTo>
                <a:lnTo>
                  <a:pt x="1794430" y="2626861"/>
                </a:lnTo>
                <a:lnTo>
                  <a:pt x="1797143" y="2626861"/>
                </a:lnTo>
                <a:lnTo>
                  <a:pt x="1798988" y="2630109"/>
                </a:lnTo>
                <a:lnTo>
                  <a:pt x="1799422" y="2633465"/>
                </a:lnTo>
                <a:lnTo>
                  <a:pt x="1801050" y="2635306"/>
                </a:lnTo>
                <a:lnTo>
                  <a:pt x="1805173" y="2635630"/>
                </a:lnTo>
                <a:lnTo>
                  <a:pt x="1807778" y="2637038"/>
                </a:lnTo>
                <a:lnTo>
                  <a:pt x="1807886" y="2640178"/>
                </a:lnTo>
                <a:lnTo>
                  <a:pt x="1807887" y="2640177"/>
                </a:lnTo>
                <a:lnTo>
                  <a:pt x="1807778" y="2637037"/>
                </a:lnTo>
                <a:lnTo>
                  <a:pt x="1805174" y="2635630"/>
                </a:lnTo>
                <a:lnTo>
                  <a:pt x="1801050" y="2635305"/>
                </a:lnTo>
                <a:lnTo>
                  <a:pt x="1799423" y="2633464"/>
                </a:lnTo>
                <a:lnTo>
                  <a:pt x="1798989" y="2630108"/>
                </a:lnTo>
                <a:lnTo>
                  <a:pt x="1797144" y="2626860"/>
                </a:lnTo>
                <a:lnTo>
                  <a:pt x="1794431" y="2626860"/>
                </a:lnTo>
                <a:lnTo>
                  <a:pt x="1790633" y="2624370"/>
                </a:lnTo>
                <a:lnTo>
                  <a:pt x="1786835" y="2619606"/>
                </a:lnTo>
                <a:lnTo>
                  <a:pt x="1785533" y="2617224"/>
                </a:lnTo>
                <a:lnTo>
                  <a:pt x="1782061" y="2614302"/>
                </a:lnTo>
                <a:close/>
                <a:moveTo>
                  <a:pt x="2483619" y="2612460"/>
                </a:moveTo>
                <a:lnTo>
                  <a:pt x="2490781" y="2617115"/>
                </a:lnTo>
                <a:lnTo>
                  <a:pt x="2485464" y="2619064"/>
                </a:lnTo>
                <a:lnTo>
                  <a:pt x="2483294" y="2616466"/>
                </a:lnTo>
                <a:close/>
                <a:moveTo>
                  <a:pt x="4835079" y="2610058"/>
                </a:moveTo>
                <a:lnTo>
                  <a:pt x="4831268" y="2610835"/>
                </a:lnTo>
                <a:lnTo>
                  <a:pt x="4830943" y="2613218"/>
                </a:lnTo>
                <a:lnTo>
                  <a:pt x="4832028" y="2615492"/>
                </a:lnTo>
                <a:lnTo>
                  <a:pt x="4831486" y="2618198"/>
                </a:lnTo>
                <a:lnTo>
                  <a:pt x="4825083" y="2618198"/>
                </a:lnTo>
                <a:lnTo>
                  <a:pt x="4822370" y="2619930"/>
                </a:lnTo>
                <a:lnTo>
                  <a:pt x="4822370" y="2624802"/>
                </a:lnTo>
                <a:lnTo>
                  <a:pt x="4820091" y="2630324"/>
                </a:lnTo>
                <a:lnTo>
                  <a:pt x="4822262" y="2631732"/>
                </a:lnTo>
                <a:lnTo>
                  <a:pt x="4823564" y="2633897"/>
                </a:lnTo>
                <a:lnTo>
                  <a:pt x="4821719" y="2636279"/>
                </a:lnTo>
                <a:lnTo>
                  <a:pt x="4819446" y="2642448"/>
                </a:lnTo>
                <a:lnTo>
                  <a:pt x="4821719" y="2636279"/>
                </a:lnTo>
                <a:lnTo>
                  <a:pt x="4823564" y="2633897"/>
                </a:lnTo>
                <a:lnTo>
                  <a:pt x="4822262" y="2631732"/>
                </a:lnTo>
                <a:lnTo>
                  <a:pt x="4820092" y="2630324"/>
                </a:lnTo>
                <a:lnTo>
                  <a:pt x="4822371" y="2624803"/>
                </a:lnTo>
                <a:lnTo>
                  <a:pt x="4822371" y="2619930"/>
                </a:lnTo>
                <a:lnTo>
                  <a:pt x="4825084" y="2618199"/>
                </a:lnTo>
                <a:lnTo>
                  <a:pt x="4831487" y="2618199"/>
                </a:lnTo>
                <a:lnTo>
                  <a:pt x="4832028" y="2615491"/>
                </a:lnTo>
                <a:lnTo>
                  <a:pt x="4830943" y="2613218"/>
                </a:lnTo>
                <a:lnTo>
                  <a:pt x="4831269" y="2610836"/>
                </a:lnTo>
                <a:close/>
                <a:moveTo>
                  <a:pt x="4838973" y="2607371"/>
                </a:moveTo>
                <a:lnTo>
                  <a:pt x="4836043" y="2609861"/>
                </a:lnTo>
                <a:lnTo>
                  <a:pt x="4836044" y="2609861"/>
                </a:lnTo>
                <a:lnTo>
                  <a:pt x="4838974" y="2607371"/>
                </a:lnTo>
                <a:close/>
                <a:moveTo>
                  <a:pt x="2463761" y="2606506"/>
                </a:moveTo>
                <a:lnTo>
                  <a:pt x="2467885" y="2613110"/>
                </a:lnTo>
                <a:lnTo>
                  <a:pt x="2462893" y="2612461"/>
                </a:lnTo>
                <a:lnTo>
                  <a:pt x="2460289" y="2608888"/>
                </a:lnTo>
                <a:close/>
                <a:moveTo>
                  <a:pt x="4975436" y="2605456"/>
                </a:moveTo>
                <a:lnTo>
                  <a:pt x="4972558" y="2606722"/>
                </a:lnTo>
                <a:lnTo>
                  <a:pt x="4969905" y="2616305"/>
                </a:lnTo>
                <a:lnTo>
                  <a:pt x="4972559" y="2606722"/>
                </a:lnTo>
                <a:close/>
                <a:moveTo>
                  <a:pt x="4849686" y="2603865"/>
                </a:moveTo>
                <a:lnTo>
                  <a:pt x="4846027" y="2604556"/>
                </a:lnTo>
                <a:lnTo>
                  <a:pt x="4844291" y="2607912"/>
                </a:lnTo>
                <a:lnTo>
                  <a:pt x="4844291" y="2607912"/>
                </a:lnTo>
                <a:lnTo>
                  <a:pt x="4846027" y="2604556"/>
                </a:lnTo>
                <a:close/>
                <a:moveTo>
                  <a:pt x="1792956" y="2601701"/>
                </a:moveTo>
                <a:lnTo>
                  <a:pt x="1792043" y="2613434"/>
                </a:lnTo>
                <a:lnTo>
                  <a:pt x="1792044" y="2613434"/>
                </a:lnTo>
                <a:close/>
                <a:moveTo>
                  <a:pt x="2487092" y="2598602"/>
                </a:moveTo>
                <a:lnTo>
                  <a:pt x="2488937" y="2602500"/>
                </a:lnTo>
                <a:lnTo>
                  <a:pt x="2487743" y="2606831"/>
                </a:lnTo>
                <a:lnTo>
                  <a:pt x="2483620" y="2603041"/>
                </a:lnTo>
                <a:close/>
                <a:moveTo>
                  <a:pt x="2420897" y="2598170"/>
                </a:moveTo>
                <a:lnTo>
                  <a:pt x="2423502" y="2600768"/>
                </a:lnTo>
                <a:lnTo>
                  <a:pt x="2415906" y="2601852"/>
                </a:lnTo>
                <a:close/>
                <a:moveTo>
                  <a:pt x="1843046" y="2597844"/>
                </a:moveTo>
                <a:lnTo>
                  <a:pt x="1843046" y="2597844"/>
                </a:lnTo>
                <a:lnTo>
                  <a:pt x="1842562" y="2598508"/>
                </a:lnTo>
                <a:close/>
                <a:moveTo>
                  <a:pt x="1836774" y="2596765"/>
                </a:moveTo>
                <a:lnTo>
                  <a:pt x="1834907" y="2598061"/>
                </a:lnTo>
                <a:lnTo>
                  <a:pt x="1834473" y="2601524"/>
                </a:lnTo>
                <a:lnTo>
                  <a:pt x="1834474" y="2601524"/>
                </a:lnTo>
                <a:lnTo>
                  <a:pt x="1834908" y="2598061"/>
                </a:lnTo>
                <a:close/>
                <a:moveTo>
                  <a:pt x="2403752" y="2592323"/>
                </a:moveTo>
                <a:lnTo>
                  <a:pt x="2410371" y="2594163"/>
                </a:lnTo>
                <a:lnTo>
                  <a:pt x="2408526" y="2595679"/>
                </a:lnTo>
                <a:lnTo>
                  <a:pt x="2399737" y="2596221"/>
                </a:lnTo>
                <a:close/>
                <a:moveTo>
                  <a:pt x="6363307" y="2591564"/>
                </a:moveTo>
                <a:lnTo>
                  <a:pt x="6359311" y="2592450"/>
                </a:lnTo>
                <a:lnTo>
                  <a:pt x="6363307" y="2591565"/>
                </a:lnTo>
                <a:close/>
                <a:moveTo>
                  <a:pt x="2327574" y="2588858"/>
                </a:moveTo>
                <a:lnTo>
                  <a:pt x="2330287" y="2591672"/>
                </a:lnTo>
                <a:lnTo>
                  <a:pt x="2334085" y="2592214"/>
                </a:lnTo>
                <a:lnTo>
                  <a:pt x="2331155" y="2594380"/>
                </a:lnTo>
                <a:lnTo>
                  <a:pt x="2327791" y="2592972"/>
                </a:lnTo>
                <a:lnTo>
                  <a:pt x="2326055" y="2589615"/>
                </a:lnTo>
                <a:close/>
                <a:moveTo>
                  <a:pt x="2462567" y="2587883"/>
                </a:moveTo>
                <a:lnTo>
                  <a:pt x="2458986" y="2591997"/>
                </a:lnTo>
                <a:lnTo>
                  <a:pt x="2458769" y="2597195"/>
                </a:lnTo>
                <a:lnTo>
                  <a:pt x="2453126" y="2593297"/>
                </a:lnTo>
                <a:lnTo>
                  <a:pt x="2452367" y="2591022"/>
                </a:lnTo>
                <a:lnTo>
                  <a:pt x="2456382" y="2588099"/>
                </a:lnTo>
                <a:close/>
                <a:moveTo>
                  <a:pt x="6384360" y="2587017"/>
                </a:moveTo>
                <a:lnTo>
                  <a:pt x="6388483" y="2592214"/>
                </a:lnTo>
                <a:lnTo>
                  <a:pt x="6388484" y="2592214"/>
                </a:lnTo>
                <a:lnTo>
                  <a:pt x="6384361" y="2587017"/>
                </a:lnTo>
                <a:close/>
                <a:moveTo>
                  <a:pt x="1850100" y="2586800"/>
                </a:moveTo>
                <a:lnTo>
                  <a:pt x="1850099" y="2586800"/>
                </a:lnTo>
                <a:lnTo>
                  <a:pt x="1849122" y="2588641"/>
                </a:lnTo>
                <a:lnTo>
                  <a:pt x="1848146" y="2592214"/>
                </a:lnTo>
                <a:lnTo>
                  <a:pt x="1847386" y="2593244"/>
                </a:lnTo>
                <a:lnTo>
                  <a:pt x="1848147" y="2592214"/>
                </a:lnTo>
                <a:lnTo>
                  <a:pt x="1849123" y="2588641"/>
                </a:lnTo>
                <a:close/>
                <a:moveTo>
                  <a:pt x="6371556" y="2583227"/>
                </a:moveTo>
                <a:lnTo>
                  <a:pt x="6371555" y="2583228"/>
                </a:lnTo>
                <a:lnTo>
                  <a:pt x="6379476" y="2587450"/>
                </a:lnTo>
                <a:lnTo>
                  <a:pt x="6379478" y="2587449"/>
                </a:lnTo>
                <a:close/>
                <a:moveTo>
                  <a:pt x="2364902" y="2582470"/>
                </a:moveTo>
                <a:lnTo>
                  <a:pt x="2382264" y="2583986"/>
                </a:lnTo>
                <a:lnTo>
                  <a:pt x="2392140" y="2582578"/>
                </a:lnTo>
                <a:lnTo>
                  <a:pt x="2395069" y="2583986"/>
                </a:lnTo>
                <a:lnTo>
                  <a:pt x="2396263" y="2586909"/>
                </a:lnTo>
                <a:lnTo>
                  <a:pt x="2400712" y="2588209"/>
                </a:lnTo>
                <a:lnTo>
                  <a:pt x="2394526" y="2594921"/>
                </a:lnTo>
                <a:lnTo>
                  <a:pt x="2386605" y="2598603"/>
                </a:lnTo>
                <a:lnTo>
                  <a:pt x="2383458" y="2596978"/>
                </a:lnTo>
                <a:lnTo>
                  <a:pt x="2375211" y="2599144"/>
                </a:lnTo>
                <a:lnTo>
                  <a:pt x="2372064" y="2598062"/>
                </a:lnTo>
                <a:lnTo>
                  <a:pt x="2360779" y="2597520"/>
                </a:lnTo>
                <a:lnTo>
                  <a:pt x="2358717" y="2593513"/>
                </a:lnTo>
                <a:lnTo>
                  <a:pt x="2359368" y="2591132"/>
                </a:lnTo>
                <a:lnTo>
                  <a:pt x="2358825" y="2587884"/>
                </a:lnTo>
                <a:lnTo>
                  <a:pt x="2362949" y="2585827"/>
                </a:lnTo>
                <a:close/>
                <a:moveTo>
                  <a:pt x="2115205" y="2581928"/>
                </a:moveTo>
                <a:lnTo>
                  <a:pt x="2133436" y="2582902"/>
                </a:lnTo>
                <a:lnTo>
                  <a:pt x="2137994" y="2590373"/>
                </a:lnTo>
                <a:lnTo>
                  <a:pt x="2143962" y="2591456"/>
                </a:lnTo>
                <a:lnTo>
                  <a:pt x="2147977" y="2595679"/>
                </a:lnTo>
                <a:lnTo>
                  <a:pt x="2147434" y="2597844"/>
                </a:lnTo>
                <a:lnTo>
                  <a:pt x="2139513" y="2597844"/>
                </a:lnTo>
                <a:lnTo>
                  <a:pt x="2136257" y="2596112"/>
                </a:lnTo>
                <a:lnTo>
                  <a:pt x="2134412" y="2600118"/>
                </a:lnTo>
                <a:lnTo>
                  <a:pt x="2131917" y="2600767"/>
                </a:lnTo>
                <a:lnTo>
                  <a:pt x="2130072" y="2598602"/>
                </a:lnTo>
                <a:lnTo>
                  <a:pt x="2125948" y="2598602"/>
                </a:lnTo>
                <a:lnTo>
                  <a:pt x="2125731" y="2603583"/>
                </a:lnTo>
                <a:lnTo>
                  <a:pt x="2120088" y="2603365"/>
                </a:lnTo>
                <a:lnTo>
                  <a:pt x="2116290" y="2600442"/>
                </a:lnTo>
                <a:lnTo>
                  <a:pt x="2110756" y="2600659"/>
                </a:lnTo>
                <a:lnTo>
                  <a:pt x="2107501" y="2598060"/>
                </a:lnTo>
                <a:lnTo>
                  <a:pt x="2104788" y="2591889"/>
                </a:lnTo>
                <a:lnTo>
                  <a:pt x="2101749" y="2590481"/>
                </a:lnTo>
                <a:lnTo>
                  <a:pt x="2098711" y="2591456"/>
                </a:lnTo>
                <a:lnTo>
                  <a:pt x="2094262" y="2588099"/>
                </a:lnTo>
                <a:lnTo>
                  <a:pt x="2096975" y="2584093"/>
                </a:lnTo>
                <a:lnTo>
                  <a:pt x="2100881" y="2583227"/>
                </a:lnTo>
                <a:lnTo>
                  <a:pt x="2106307" y="2583769"/>
                </a:lnTo>
                <a:close/>
                <a:moveTo>
                  <a:pt x="6262387" y="2579547"/>
                </a:moveTo>
                <a:lnTo>
                  <a:pt x="6262930" y="2583336"/>
                </a:lnTo>
                <a:lnTo>
                  <a:pt x="6266619" y="2584419"/>
                </a:lnTo>
                <a:lnTo>
                  <a:pt x="6270526" y="2591239"/>
                </a:lnTo>
                <a:lnTo>
                  <a:pt x="6273998" y="2594488"/>
                </a:lnTo>
                <a:lnTo>
                  <a:pt x="6275301" y="2598169"/>
                </a:lnTo>
                <a:lnTo>
                  <a:pt x="6281594" y="2602392"/>
                </a:lnTo>
                <a:lnTo>
                  <a:pt x="6282398" y="2604166"/>
                </a:lnTo>
                <a:lnTo>
                  <a:pt x="6281594" y="2602391"/>
                </a:lnTo>
                <a:lnTo>
                  <a:pt x="6275301" y="2598169"/>
                </a:lnTo>
                <a:lnTo>
                  <a:pt x="6273998" y="2594488"/>
                </a:lnTo>
                <a:lnTo>
                  <a:pt x="6270526" y="2591239"/>
                </a:lnTo>
                <a:lnTo>
                  <a:pt x="6266619" y="2584418"/>
                </a:lnTo>
                <a:lnTo>
                  <a:pt x="6262930" y="2583336"/>
                </a:lnTo>
                <a:close/>
                <a:moveTo>
                  <a:pt x="6411599" y="2578788"/>
                </a:moveTo>
                <a:lnTo>
                  <a:pt x="6411598" y="2578788"/>
                </a:lnTo>
                <a:lnTo>
                  <a:pt x="6422340" y="2581604"/>
                </a:lnTo>
                <a:lnTo>
                  <a:pt x="6425813" y="2588424"/>
                </a:lnTo>
                <a:lnTo>
                  <a:pt x="6436121" y="2595895"/>
                </a:lnTo>
                <a:lnTo>
                  <a:pt x="6441982" y="2600226"/>
                </a:lnTo>
                <a:lnTo>
                  <a:pt x="6444369" y="2605314"/>
                </a:lnTo>
                <a:lnTo>
                  <a:pt x="6443501" y="2609429"/>
                </a:lnTo>
                <a:lnTo>
                  <a:pt x="6441765" y="2612352"/>
                </a:lnTo>
                <a:lnTo>
                  <a:pt x="6444369" y="2618091"/>
                </a:lnTo>
                <a:lnTo>
                  <a:pt x="6444043" y="2624803"/>
                </a:lnTo>
                <a:lnTo>
                  <a:pt x="6442849" y="2628376"/>
                </a:lnTo>
                <a:lnTo>
                  <a:pt x="6447191" y="2631516"/>
                </a:lnTo>
                <a:lnTo>
                  <a:pt x="6452182" y="2636930"/>
                </a:lnTo>
                <a:lnTo>
                  <a:pt x="6452184" y="2636930"/>
                </a:lnTo>
                <a:lnTo>
                  <a:pt x="6447192" y="2631516"/>
                </a:lnTo>
                <a:lnTo>
                  <a:pt x="6442851" y="2628376"/>
                </a:lnTo>
                <a:lnTo>
                  <a:pt x="6444045" y="2624803"/>
                </a:lnTo>
                <a:lnTo>
                  <a:pt x="6444370" y="2618090"/>
                </a:lnTo>
                <a:lnTo>
                  <a:pt x="6441766" y="2612352"/>
                </a:lnTo>
                <a:lnTo>
                  <a:pt x="6443503" y="2609429"/>
                </a:lnTo>
                <a:lnTo>
                  <a:pt x="6444370" y="2605314"/>
                </a:lnTo>
                <a:lnTo>
                  <a:pt x="6441983" y="2600226"/>
                </a:lnTo>
                <a:lnTo>
                  <a:pt x="6436123" y="2595895"/>
                </a:lnTo>
                <a:lnTo>
                  <a:pt x="6425814" y="2588424"/>
                </a:lnTo>
                <a:lnTo>
                  <a:pt x="6422341" y="2581603"/>
                </a:lnTo>
                <a:close/>
                <a:moveTo>
                  <a:pt x="6436936" y="2570963"/>
                </a:moveTo>
                <a:lnTo>
                  <a:pt x="6442634" y="2574025"/>
                </a:lnTo>
                <a:lnTo>
                  <a:pt x="6446058" y="2574404"/>
                </a:lnTo>
                <a:lnTo>
                  <a:pt x="6442633" y="2574024"/>
                </a:lnTo>
                <a:close/>
                <a:moveTo>
                  <a:pt x="4308473" y="2570188"/>
                </a:moveTo>
                <a:lnTo>
                  <a:pt x="4305180" y="2593297"/>
                </a:lnTo>
                <a:lnTo>
                  <a:pt x="4306048" y="2628160"/>
                </a:lnTo>
                <a:lnTo>
                  <a:pt x="4289152" y="2645387"/>
                </a:lnTo>
                <a:lnTo>
                  <a:pt x="4306049" y="2628160"/>
                </a:lnTo>
                <a:lnTo>
                  <a:pt x="4305181" y="2593297"/>
                </a:lnTo>
                <a:close/>
                <a:moveTo>
                  <a:pt x="6166459" y="2569911"/>
                </a:moveTo>
                <a:lnTo>
                  <a:pt x="6170257" y="2573700"/>
                </a:lnTo>
                <a:lnTo>
                  <a:pt x="6169063" y="2577815"/>
                </a:lnTo>
                <a:lnTo>
                  <a:pt x="6164180" y="2575000"/>
                </a:lnTo>
                <a:lnTo>
                  <a:pt x="6162769" y="2571643"/>
                </a:lnTo>
                <a:close/>
                <a:moveTo>
                  <a:pt x="6271394" y="2569802"/>
                </a:moveTo>
                <a:lnTo>
                  <a:pt x="6271394" y="2569802"/>
                </a:lnTo>
                <a:lnTo>
                  <a:pt x="6273130" y="2573700"/>
                </a:lnTo>
                <a:close/>
                <a:moveTo>
                  <a:pt x="6428202" y="2569801"/>
                </a:moveTo>
                <a:lnTo>
                  <a:pt x="6428202" y="2569802"/>
                </a:lnTo>
                <a:lnTo>
                  <a:pt x="6435580" y="2570235"/>
                </a:lnTo>
                <a:lnTo>
                  <a:pt x="6435579" y="2570234"/>
                </a:lnTo>
                <a:close/>
                <a:moveTo>
                  <a:pt x="4041165" y="2569489"/>
                </a:moveTo>
                <a:lnTo>
                  <a:pt x="4037579" y="2570667"/>
                </a:lnTo>
                <a:lnTo>
                  <a:pt x="4028489" y="2571745"/>
                </a:lnTo>
                <a:lnTo>
                  <a:pt x="4037577" y="2570668"/>
                </a:lnTo>
                <a:close/>
                <a:moveTo>
                  <a:pt x="2222202" y="2568935"/>
                </a:moveTo>
                <a:lnTo>
                  <a:pt x="2226869" y="2572400"/>
                </a:lnTo>
                <a:lnTo>
                  <a:pt x="2227954" y="2576081"/>
                </a:lnTo>
                <a:lnTo>
                  <a:pt x="2221226" y="2573699"/>
                </a:lnTo>
                <a:lnTo>
                  <a:pt x="2218079" y="2571100"/>
                </a:lnTo>
                <a:close/>
                <a:moveTo>
                  <a:pt x="6825045" y="2567962"/>
                </a:moveTo>
                <a:lnTo>
                  <a:pt x="6834161" y="2569694"/>
                </a:lnTo>
                <a:lnTo>
                  <a:pt x="6838176" y="2574133"/>
                </a:lnTo>
                <a:lnTo>
                  <a:pt x="6841648" y="2576407"/>
                </a:lnTo>
                <a:lnTo>
                  <a:pt x="6842842" y="2574025"/>
                </a:lnTo>
                <a:lnTo>
                  <a:pt x="6849570" y="2574025"/>
                </a:lnTo>
                <a:lnTo>
                  <a:pt x="6852826" y="2571210"/>
                </a:lnTo>
                <a:lnTo>
                  <a:pt x="6853151" y="2569045"/>
                </a:lnTo>
                <a:lnTo>
                  <a:pt x="6855429" y="2568178"/>
                </a:lnTo>
                <a:lnTo>
                  <a:pt x="6858468" y="2572293"/>
                </a:lnTo>
                <a:lnTo>
                  <a:pt x="6858142" y="2575757"/>
                </a:lnTo>
                <a:lnTo>
                  <a:pt x="6855429" y="2579005"/>
                </a:lnTo>
                <a:lnTo>
                  <a:pt x="6854344" y="2588317"/>
                </a:lnTo>
                <a:lnTo>
                  <a:pt x="6858685" y="2595679"/>
                </a:lnTo>
                <a:lnTo>
                  <a:pt x="6861398" y="2596653"/>
                </a:lnTo>
                <a:lnTo>
                  <a:pt x="6863026" y="2602717"/>
                </a:lnTo>
                <a:lnTo>
                  <a:pt x="6865413" y="2605640"/>
                </a:lnTo>
                <a:lnTo>
                  <a:pt x="6863135" y="2616792"/>
                </a:lnTo>
                <a:lnTo>
                  <a:pt x="6860204" y="2623613"/>
                </a:lnTo>
                <a:lnTo>
                  <a:pt x="6861615" y="2629351"/>
                </a:lnTo>
                <a:lnTo>
                  <a:pt x="6857600" y="2635739"/>
                </a:lnTo>
                <a:lnTo>
                  <a:pt x="6857274" y="2633357"/>
                </a:lnTo>
                <a:lnTo>
                  <a:pt x="6858793" y="2629892"/>
                </a:lnTo>
                <a:lnTo>
                  <a:pt x="6855972" y="2631625"/>
                </a:lnTo>
                <a:lnTo>
                  <a:pt x="6848484" y="2638663"/>
                </a:lnTo>
                <a:lnTo>
                  <a:pt x="6846748" y="2642885"/>
                </a:lnTo>
                <a:lnTo>
                  <a:pt x="6847291" y="2648299"/>
                </a:lnTo>
                <a:lnTo>
                  <a:pt x="6844904" y="2651871"/>
                </a:lnTo>
                <a:lnTo>
                  <a:pt x="6844035" y="2657718"/>
                </a:lnTo>
                <a:lnTo>
                  <a:pt x="6846640" y="2659775"/>
                </a:lnTo>
                <a:lnTo>
                  <a:pt x="6849028" y="2665946"/>
                </a:lnTo>
                <a:lnTo>
                  <a:pt x="6852174" y="2669411"/>
                </a:lnTo>
                <a:lnTo>
                  <a:pt x="6850221" y="2672118"/>
                </a:lnTo>
                <a:lnTo>
                  <a:pt x="6850221" y="2677315"/>
                </a:lnTo>
                <a:lnTo>
                  <a:pt x="6853910" y="2680238"/>
                </a:lnTo>
                <a:lnTo>
                  <a:pt x="6856189" y="2684894"/>
                </a:lnTo>
                <a:lnTo>
                  <a:pt x="6861615" y="2686734"/>
                </a:lnTo>
                <a:lnTo>
                  <a:pt x="6865413" y="2685435"/>
                </a:lnTo>
                <a:lnTo>
                  <a:pt x="6866498" y="2681754"/>
                </a:lnTo>
                <a:lnTo>
                  <a:pt x="6872900" y="2676666"/>
                </a:lnTo>
                <a:lnTo>
                  <a:pt x="6877567" y="2676558"/>
                </a:lnTo>
                <a:lnTo>
                  <a:pt x="6884620" y="2680996"/>
                </a:lnTo>
                <a:lnTo>
                  <a:pt x="6887550" y="2686626"/>
                </a:lnTo>
                <a:lnTo>
                  <a:pt x="6886900" y="2691607"/>
                </a:lnTo>
                <a:lnTo>
                  <a:pt x="6889178" y="2693989"/>
                </a:lnTo>
                <a:lnTo>
                  <a:pt x="6892325" y="2691932"/>
                </a:lnTo>
                <a:lnTo>
                  <a:pt x="6891999" y="2687276"/>
                </a:lnTo>
                <a:lnTo>
                  <a:pt x="6894061" y="2685544"/>
                </a:lnTo>
                <a:lnTo>
                  <a:pt x="6896774" y="2690199"/>
                </a:lnTo>
                <a:lnTo>
                  <a:pt x="6902417" y="2690416"/>
                </a:lnTo>
                <a:lnTo>
                  <a:pt x="6907083" y="2693447"/>
                </a:lnTo>
                <a:lnTo>
                  <a:pt x="6908168" y="2695072"/>
                </a:lnTo>
                <a:lnTo>
                  <a:pt x="6904697" y="2695613"/>
                </a:lnTo>
                <a:lnTo>
                  <a:pt x="6902308" y="2694205"/>
                </a:lnTo>
                <a:lnTo>
                  <a:pt x="6899922" y="2695829"/>
                </a:lnTo>
                <a:lnTo>
                  <a:pt x="6900898" y="2699944"/>
                </a:lnTo>
                <a:lnTo>
                  <a:pt x="6904153" y="2708280"/>
                </a:lnTo>
                <a:lnTo>
                  <a:pt x="6904044" y="2711529"/>
                </a:lnTo>
                <a:lnTo>
                  <a:pt x="6908819" y="2711529"/>
                </a:lnTo>
                <a:lnTo>
                  <a:pt x="6912292" y="2713261"/>
                </a:lnTo>
                <a:lnTo>
                  <a:pt x="6916199" y="2713044"/>
                </a:lnTo>
                <a:lnTo>
                  <a:pt x="6918152" y="2715643"/>
                </a:lnTo>
                <a:lnTo>
                  <a:pt x="6916091" y="2717700"/>
                </a:lnTo>
                <a:lnTo>
                  <a:pt x="6916632" y="2720623"/>
                </a:lnTo>
                <a:lnTo>
                  <a:pt x="6914896" y="2727445"/>
                </a:lnTo>
                <a:lnTo>
                  <a:pt x="6910665" y="2726145"/>
                </a:lnTo>
                <a:lnTo>
                  <a:pt x="6906757" y="2721381"/>
                </a:lnTo>
                <a:lnTo>
                  <a:pt x="6910556" y="2719107"/>
                </a:lnTo>
                <a:lnTo>
                  <a:pt x="6910881" y="2716617"/>
                </a:lnTo>
                <a:lnTo>
                  <a:pt x="6906975" y="2715859"/>
                </a:lnTo>
                <a:lnTo>
                  <a:pt x="6907083" y="2717592"/>
                </a:lnTo>
                <a:lnTo>
                  <a:pt x="6902960" y="2718782"/>
                </a:lnTo>
                <a:lnTo>
                  <a:pt x="6897642" y="2712503"/>
                </a:lnTo>
                <a:lnTo>
                  <a:pt x="6893952" y="2711312"/>
                </a:lnTo>
                <a:lnTo>
                  <a:pt x="6893952" y="2706223"/>
                </a:lnTo>
                <a:lnTo>
                  <a:pt x="6892108" y="2701676"/>
                </a:lnTo>
                <a:lnTo>
                  <a:pt x="6885271" y="2699186"/>
                </a:lnTo>
                <a:lnTo>
                  <a:pt x="6882125" y="2693664"/>
                </a:lnTo>
                <a:lnTo>
                  <a:pt x="6878977" y="2692040"/>
                </a:lnTo>
                <a:lnTo>
                  <a:pt x="6876265" y="2689333"/>
                </a:lnTo>
                <a:lnTo>
                  <a:pt x="6873660" y="2688791"/>
                </a:lnTo>
                <a:lnTo>
                  <a:pt x="6873009" y="2691282"/>
                </a:lnTo>
                <a:lnTo>
                  <a:pt x="6878001" y="2700052"/>
                </a:lnTo>
                <a:lnTo>
                  <a:pt x="6879521" y="2707956"/>
                </a:lnTo>
                <a:lnTo>
                  <a:pt x="6877675" y="2708280"/>
                </a:lnTo>
                <a:lnTo>
                  <a:pt x="6873009" y="2700376"/>
                </a:lnTo>
                <a:lnTo>
                  <a:pt x="6867692" y="2696587"/>
                </a:lnTo>
                <a:lnTo>
                  <a:pt x="6865738" y="2692906"/>
                </a:lnTo>
                <a:lnTo>
                  <a:pt x="6855972" y="2689009"/>
                </a:lnTo>
                <a:lnTo>
                  <a:pt x="6850438" y="2689550"/>
                </a:lnTo>
                <a:lnTo>
                  <a:pt x="6848376" y="2692581"/>
                </a:lnTo>
                <a:lnTo>
                  <a:pt x="6849353" y="2695938"/>
                </a:lnTo>
                <a:lnTo>
                  <a:pt x="6844904" y="2698644"/>
                </a:lnTo>
                <a:lnTo>
                  <a:pt x="6839369" y="2693123"/>
                </a:lnTo>
                <a:lnTo>
                  <a:pt x="6836114" y="2696046"/>
                </a:lnTo>
                <a:lnTo>
                  <a:pt x="6832315" y="2696912"/>
                </a:lnTo>
                <a:lnTo>
                  <a:pt x="6834594" y="2692906"/>
                </a:lnTo>
                <a:lnTo>
                  <a:pt x="6832641" y="2688791"/>
                </a:lnTo>
                <a:lnTo>
                  <a:pt x="6829928" y="2689874"/>
                </a:lnTo>
                <a:lnTo>
                  <a:pt x="6828518" y="2694638"/>
                </a:lnTo>
                <a:lnTo>
                  <a:pt x="6825479" y="2689333"/>
                </a:lnTo>
                <a:lnTo>
                  <a:pt x="6825913" y="2683703"/>
                </a:lnTo>
                <a:lnTo>
                  <a:pt x="6825479" y="2680888"/>
                </a:lnTo>
                <a:lnTo>
                  <a:pt x="6827975" y="2677856"/>
                </a:lnTo>
                <a:lnTo>
                  <a:pt x="6833184" y="2671144"/>
                </a:lnTo>
                <a:lnTo>
                  <a:pt x="6829060" y="2668004"/>
                </a:lnTo>
                <a:lnTo>
                  <a:pt x="6823852" y="2667571"/>
                </a:lnTo>
                <a:lnTo>
                  <a:pt x="6823743" y="2670385"/>
                </a:lnTo>
                <a:lnTo>
                  <a:pt x="6826239" y="2673201"/>
                </a:lnTo>
                <a:lnTo>
                  <a:pt x="6823526" y="2676774"/>
                </a:lnTo>
                <a:lnTo>
                  <a:pt x="6820379" y="2676666"/>
                </a:lnTo>
                <a:lnTo>
                  <a:pt x="6815821" y="2670603"/>
                </a:lnTo>
                <a:lnTo>
                  <a:pt x="6815604" y="2665838"/>
                </a:lnTo>
                <a:lnTo>
                  <a:pt x="6813759" y="2665081"/>
                </a:lnTo>
                <a:lnTo>
                  <a:pt x="6812023" y="2666488"/>
                </a:lnTo>
                <a:lnTo>
                  <a:pt x="6809852" y="2664972"/>
                </a:lnTo>
                <a:lnTo>
                  <a:pt x="6809745" y="2656310"/>
                </a:lnTo>
                <a:lnTo>
                  <a:pt x="6806163" y="2649814"/>
                </a:lnTo>
                <a:lnTo>
                  <a:pt x="6804427" y="2642885"/>
                </a:lnTo>
                <a:lnTo>
                  <a:pt x="6806163" y="2639637"/>
                </a:lnTo>
                <a:lnTo>
                  <a:pt x="6805295" y="2637904"/>
                </a:lnTo>
                <a:lnTo>
                  <a:pt x="6802473" y="2637797"/>
                </a:lnTo>
                <a:lnTo>
                  <a:pt x="6801280" y="2632599"/>
                </a:lnTo>
                <a:lnTo>
                  <a:pt x="6802040" y="2626753"/>
                </a:lnTo>
                <a:lnTo>
                  <a:pt x="6805295" y="2630759"/>
                </a:lnTo>
                <a:lnTo>
                  <a:pt x="6809419" y="2631408"/>
                </a:lnTo>
                <a:lnTo>
                  <a:pt x="6812891" y="2629568"/>
                </a:lnTo>
                <a:lnTo>
                  <a:pt x="6812891" y="2626428"/>
                </a:lnTo>
                <a:lnTo>
                  <a:pt x="6809093" y="2618524"/>
                </a:lnTo>
                <a:lnTo>
                  <a:pt x="6811264" y="2612894"/>
                </a:lnTo>
                <a:lnTo>
                  <a:pt x="6814085" y="2600984"/>
                </a:lnTo>
                <a:lnTo>
                  <a:pt x="6813868" y="2591240"/>
                </a:lnTo>
                <a:lnTo>
                  <a:pt x="6812458" y="2585285"/>
                </a:lnTo>
                <a:lnTo>
                  <a:pt x="6817340" y="2575757"/>
                </a:lnTo>
                <a:lnTo>
                  <a:pt x="6818209" y="2570344"/>
                </a:lnTo>
                <a:close/>
                <a:moveTo>
                  <a:pt x="4046477" y="2567744"/>
                </a:moveTo>
                <a:lnTo>
                  <a:pt x="4046476" y="2567745"/>
                </a:lnTo>
                <a:lnTo>
                  <a:pt x="4046584" y="2567853"/>
                </a:lnTo>
                <a:lnTo>
                  <a:pt x="4045390" y="2613976"/>
                </a:lnTo>
                <a:lnTo>
                  <a:pt x="4043763" y="2635414"/>
                </a:lnTo>
                <a:lnTo>
                  <a:pt x="4043764" y="2635413"/>
                </a:lnTo>
                <a:lnTo>
                  <a:pt x="4045391" y="2613976"/>
                </a:lnTo>
                <a:lnTo>
                  <a:pt x="4046585" y="2567853"/>
                </a:lnTo>
                <a:lnTo>
                  <a:pt x="4046586" y="2567853"/>
                </a:lnTo>
                <a:close/>
                <a:moveTo>
                  <a:pt x="6420931" y="2563522"/>
                </a:moveTo>
                <a:lnTo>
                  <a:pt x="6420931" y="2563522"/>
                </a:lnTo>
                <a:lnTo>
                  <a:pt x="6424728" y="2563522"/>
                </a:lnTo>
                <a:lnTo>
                  <a:pt x="6424728" y="2563522"/>
                </a:lnTo>
                <a:close/>
                <a:moveTo>
                  <a:pt x="6830797" y="2560924"/>
                </a:moveTo>
                <a:lnTo>
                  <a:pt x="6836766" y="2560924"/>
                </a:lnTo>
                <a:lnTo>
                  <a:pt x="6832967" y="2562981"/>
                </a:lnTo>
                <a:close/>
                <a:moveTo>
                  <a:pt x="2028935" y="2560599"/>
                </a:moveTo>
                <a:lnTo>
                  <a:pt x="2027308" y="2563955"/>
                </a:lnTo>
                <a:lnTo>
                  <a:pt x="2022533" y="2564713"/>
                </a:lnTo>
                <a:lnTo>
                  <a:pt x="2024052" y="2560707"/>
                </a:lnTo>
                <a:close/>
                <a:moveTo>
                  <a:pt x="4083047" y="2559083"/>
                </a:moveTo>
                <a:lnTo>
                  <a:pt x="4053361" y="2566223"/>
                </a:lnTo>
                <a:lnTo>
                  <a:pt x="4083047" y="2559083"/>
                </a:lnTo>
                <a:close/>
                <a:moveTo>
                  <a:pt x="6848158" y="2555943"/>
                </a:moveTo>
                <a:lnTo>
                  <a:pt x="6849787" y="2558325"/>
                </a:lnTo>
                <a:lnTo>
                  <a:pt x="6847942" y="2561790"/>
                </a:lnTo>
                <a:lnTo>
                  <a:pt x="6845229" y="2559516"/>
                </a:lnTo>
                <a:close/>
                <a:moveTo>
                  <a:pt x="6848158" y="2555943"/>
                </a:moveTo>
                <a:lnTo>
                  <a:pt x="6848159" y="2555943"/>
                </a:lnTo>
                <a:lnTo>
                  <a:pt x="6848158" y="2555943"/>
                </a:lnTo>
                <a:close/>
                <a:moveTo>
                  <a:pt x="5225318" y="2550811"/>
                </a:moveTo>
                <a:lnTo>
                  <a:pt x="5177871" y="2564929"/>
                </a:lnTo>
                <a:lnTo>
                  <a:pt x="5150212" y="2573178"/>
                </a:lnTo>
                <a:lnTo>
                  <a:pt x="5177872" y="2564929"/>
                </a:lnTo>
                <a:close/>
                <a:moveTo>
                  <a:pt x="6827649" y="2550638"/>
                </a:moveTo>
                <a:lnTo>
                  <a:pt x="6830905" y="2553777"/>
                </a:lnTo>
                <a:lnTo>
                  <a:pt x="6826456" y="2554536"/>
                </a:lnTo>
                <a:close/>
                <a:moveTo>
                  <a:pt x="6342365" y="2547931"/>
                </a:moveTo>
                <a:lnTo>
                  <a:pt x="6351153" y="2548148"/>
                </a:lnTo>
                <a:lnTo>
                  <a:pt x="6351370" y="2552262"/>
                </a:lnTo>
                <a:lnTo>
                  <a:pt x="6348549" y="2557676"/>
                </a:lnTo>
                <a:lnTo>
                  <a:pt x="6351370" y="2562331"/>
                </a:lnTo>
                <a:lnTo>
                  <a:pt x="6351153" y="2566121"/>
                </a:lnTo>
                <a:lnTo>
                  <a:pt x="6348441" y="2569802"/>
                </a:lnTo>
                <a:lnTo>
                  <a:pt x="6350503" y="2575649"/>
                </a:lnTo>
                <a:lnTo>
                  <a:pt x="6350503" y="2583877"/>
                </a:lnTo>
                <a:lnTo>
                  <a:pt x="6350936" y="2596328"/>
                </a:lnTo>
                <a:lnTo>
                  <a:pt x="6350937" y="2596328"/>
                </a:lnTo>
                <a:lnTo>
                  <a:pt x="6350504" y="2583877"/>
                </a:lnTo>
                <a:lnTo>
                  <a:pt x="6350504" y="2575648"/>
                </a:lnTo>
                <a:lnTo>
                  <a:pt x="6348442" y="2569802"/>
                </a:lnTo>
                <a:lnTo>
                  <a:pt x="6351154" y="2566121"/>
                </a:lnTo>
                <a:lnTo>
                  <a:pt x="6351371" y="2562331"/>
                </a:lnTo>
                <a:lnTo>
                  <a:pt x="6348550" y="2557676"/>
                </a:lnTo>
                <a:lnTo>
                  <a:pt x="6351371" y="2552262"/>
                </a:lnTo>
                <a:lnTo>
                  <a:pt x="6351154" y="2548148"/>
                </a:lnTo>
                <a:close/>
                <a:moveTo>
                  <a:pt x="2272230" y="2545982"/>
                </a:moveTo>
                <a:lnTo>
                  <a:pt x="2292197" y="2550313"/>
                </a:lnTo>
                <a:lnTo>
                  <a:pt x="2295235" y="2552478"/>
                </a:lnTo>
                <a:lnTo>
                  <a:pt x="2297406" y="2551612"/>
                </a:lnTo>
                <a:lnTo>
                  <a:pt x="2301638" y="2551612"/>
                </a:lnTo>
                <a:lnTo>
                  <a:pt x="2305436" y="2558975"/>
                </a:lnTo>
                <a:lnTo>
                  <a:pt x="2313140" y="2560598"/>
                </a:lnTo>
                <a:lnTo>
                  <a:pt x="2315962" y="2560057"/>
                </a:lnTo>
                <a:lnTo>
                  <a:pt x="2319109" y="2562439"/>
                </a:lnTo>
                <a:lnTo>
                  <a:pt x="2314877" y="2563955"/>
                </a:lnTo>
                <a:lnTo>
                  <a:pt x="2304567" y="2562980"/>
                </a:lnTo>
                <a:lnTo>
                  <a:pt x="2297840" y="2561031"/>
                </a:lnTo>
                <a:lnTo>
                  <a:pt x="2294584" y="2562331"/>
                </a:lnTo>
                <a:lnTo>
                  <a:pt x="2299251" y="2562331"/>
                </a:lnTo>
                <a:lnTo>
                  <a:pt x="2305979" y="2566229"/>
                </a:lnTo>
                <a:lnTo>
                  <a:pt x="2312381" y="2569369"/>
                </a:lnTo>
                <a:lnTo>
                  <a:pt x="2316288" y="2569152"/>
                </a:lnTo>
                <a:lnTo>
                  <a:pt x="2322148" y="2571101"/>
                </a:lnTo>
                <a:lnTo>
                  <a:pt x="2325729" y="2571101"/>
                </a:lnTo>
                <a:lnTo>
                  <a:pt x="2335386" y="2576623"/>
                </a:lnTo>
                <a:lnTo>
                  <a:pt x="2337448" y="2579979"/>
                </a:lnTo>
                <a:lnTo>
                  <a:pt x="2335278" y="2583769"/>
                </a:lnTo>
                <a:lnTo>
                  <a:pt x="2332348" y="2583769"/>
                </a:lnTo>
                <a:lnTo>
                  <a:pt x="2330937" y="2587559"/>
                </a:lnTo>
                <a:lnTo>
                  <a:pt x="2324209" y="2585826"/>
                </a:lnTo>
                <a:lnTo>
                  <a:pt x="2318675" y="2585501"/>
                </a:lnTo>
                <a:lnTo>
                  <a:pt x="2315203" y="2582686"/>
                </a:lnTo>
                <a:lnTo>
                  <a:pt x="2310645" y="2584527"/>
                </a:lnTo>
                <a:lnTo>
                  <a:pt x="2303157" y="2583444"/>
                </a:lnTo>
                <a:lnTo>
                  <a:pt x="2296320" y="2584635"/>
                </a:lnTo>
                <a:lnTo>
                  <a:pt x="2289918" y="2590482"/>
                </a:lnTo>
                <a:lnTo>
                  <a:pt x="2283624" y="2592214"/>
                </a:lnTo>
                <a:lnTo>
                  <a:pt x="2280803" y="2590482"/>
                </a:lnTo>
                <a:lnTo>
                  <a:pt x="2280477" y="2585826"/>
                </a:lnTo>
                <a:lnTo>
                  <a:pt x="2277005" y="2583769"/>
                </a:lnTo>
                <a:lnTo>
                  <a:pt x="2274075" y="2589615"/>
                </a:lnTo>
                <a:lnTo>
                  <a:pt x="2270819" y="2589290"/>
                </a:lnTo>
                <a:lnTo>
                  <a:pt x="2267997" y="2586692"/>
                </a:lnTo>
                <a:lnTo>
                  <a:pt x="2265936" y="2590157"/>
                </a:lnTo>
                <a:lnTo>
                  <a:pt x="2266696" y="2592539"/>
                </a:lnTo>
                <a:lnTo>
                  <a:pt x="2260835" y="2600226"/>
                </a:lnTo>
                <a:lnTo>
                  <a:pt x="2257905" y="2607372"/>
                </a:lnTo>
                <a:lnTo>
                  <a:pt x="2254758" y="2605748"/>
                </a:lnTo>
                <a:lnTo>
                  <a:pt x="2253565" y="2603366"/>
                </a:lnTo>
                <a:lnTo>
                  <a:pt x="2249224" y="2601633"/>
                </a:lnTo>
                <a:lnTo>
                  <a:pt x="2250852" y="2597735"/>
                </a:lnTo>
                <a:lnTo>
                  <a:pt x="2248247" y="2592431"/>
                </a:lnTo>
                <a:lnTo>
                  <a:pt x="2245643" y="2592214"/>
                </a:lnTo>
                <a:lnTo>
                  <a:pt x="2245209" y="2589507"/>
                </a:lnTo>
                <a:lnTo>
                  <a:pt x="2250849" y="2583555"/>
                </a:lnTo>
                <a:lnTo>
                  <a:pt x="2245101" y="2588857"/>
                </a:lnTo>
                <a:lnTo>
                  <a:pt x="2245101" y="2591564"/>
                </a:lnTo>
                <a:lnTo>
                  <a:pt x="2241520" y="2591564"/>
                </a:lnTo>
                <a:lnTo>
                  <a:pt x="2237613" y="2589615"/>
                </a:lnTo>
                <a:lnTo>
                  <a:pt x="2235226" y="2591131"/>
                </a:lnTo>
                <a:lnTo>
                  <a:pt x="2222096" y="2591131"/>
                </a:lnTo>
                <a:lnTo>
                  <a:pt x="2217646" y="2588748"/>
                </a:lnTo>
                <a:lnTo>
                  <a:pt x="2206794" y="2588748"/>
                </a:lnTo>
                <a:lnTo>
                  <a:pt x="2204190" y="2590806"/>
                </a:lnTo>
                <a:lnTo>
                  <a:pt x="2204190" y="2594921"/>
                </a:lnTo>
                <a:lnTo>
                  <a:pt x="2201586" y="2594054"/>
                </a:lnTo>
                <a:lnTo>
                  <a:pt x="2195726" y="2587341"/>
                </a:lnTo>
                <a:lnTo>
                  <a:pt x="2190083" y="2586584"/>
                </a:lnTo>
                <a:lnTo>
                  <a:pt x="2188347" y="2582577"/>
                </a:lnTo>
                <a:lnTo>
                  <a:pt x="2190300" y="2579654"/>
                </a:lnTo>
                <a:lnTo>
                  <a:pt x="2195292" y="2577056"/>
                </a:lnTo>
                <a:lnTo>
                  <a:pt x="2199307" y="2580845"/>
                </a:lnTo>
                <a:lnTo>
                  <a:pt x="2206686" y="2579005"/>
                </a:lnTo>
                <a:lnTo>
                  <a:pt x="2208748" y="2579871"/>
                </a:lnTo>
                <a:lnTo>
                  <a:pt x="2208748" y="2582252"/>
                </a:lnTo>
                <a:lnTo>
                  <a:pt x="2214608" y="2579871"/>
                </a:lnTo>
                <a:lnTo>
                  <a:pt x="2219600" y="2581928"/>
                </a:lnTo>
                <a:lnTo>
                  <a:pt x="2225243" y="2581928"/>
                </a:lnTo>
                <a:lnTo>
                  <a:pt x="2229366" y="2583119"/>
                </a:lnTo>
                <a:lnTo>
                  <a:pt x="2231211" y="2581711"/>
                </a:lnTo>
                <a:lnTo>
                  <a:pt x="2240978" y="2581711"/>
                </a:lnTo>
                <a:lnTo>
                  <a:pt x="2242171" y="2578788"/>
                </a:lnTo>
                <a:lnTo>
                  <a:pt x="2236962" y="2574132"/>
                </a:lnTo>
                <a:lnTo>
                  <a:pt x="2232513" y="2572942"/>
                </a:lnTo>
                <a:lnTo>
                  <a:pt x="2230234" y="2568827"/>
                </a:lnTo>
                <a:lnTo>
                  <a:pt x="2231970" y="2562872"/>
                </a:lnTo>
                <a:lnTo>
                  <a:pt x="2230234" y="2559083"/>
                </a:lnTo>
                <a:lnTo>
                  <a:pt x="2231645" y="2556701"/>
                </a:lnTo>
                <a:lnTo>
                  <a:pt x="2218948" y="2552370"/>
                </a:lnTo>
                <a:lnTo>
                  <a:pt x="2214065" y="2549555"/>
                </a:lnTo>
                <a:lnTo>
                  <a:pt x="2215476" y="2546957"/>
                </a:lnTo>
                <a:lnTo>
                  <a:pt x="2224483" y="2546957"/>
                </a:lnTo>
                <a:lnTo>
                  <a:pt x="2228607" y="2548364"/>
                </a:lnTo>
                <a:lnTo>
                  <a:pt x="2231537" y="2546632"/>
                </a:lnTo>
                <a:lnTo>
                  <a:pt x="2241737" y="2547822"/>
                </a:lnTo>
                <a:lnTo>
                  <a:pt x="2245861" y="2551937"/>
                </a:lnTo>
                <a:lnTo>
                  <a:pt x="2249984" y="2551071"/>
                </a:lnTo>
                <a:lnTo>
                  <a:pt x="2254325" y="2552153"/>
                </a:lnTo>
                <a:lnTo>
                  <a:pt x="2254976" y="2554536"/>
                </a:lnTo>
                <a:lnTo>
                  <a:pt x="2252588" y="2558975"/>
                </a:lnTo>
                <a:lnTo>
                  <a:pt x="2254542" y="2562764"/>
                </a:lnTo>
                <a:lnTo>
                  <a:pt x="2253023" y="2567961"/>
                </a:lnTo>
                <a:lnTo>
                  <a:pt x="2249225" y="2569801"/>
                </a:lnTo>
                <a:lnTo>
                  <a:pt x="2248574" y="2571642"/>
                </a:lnTo>
                <a:lnTo>
                  <a:pt x="2250852" y="2576623"/>
                </a:lnTo>
                <a:lnTo>
                  <a:pt x="2250852" y="2580628"/>
                </a:lnTo>
                <a:lnTo>
                  <a:pt x="2250852" y="2583549"/>
                </a:lnTo>
                <a:lnTo>
                  <a:pt x="2251286" y="2580521"/>
                </a:lnTo>
                <a:lnTo>
                  <a:pt x="2251394" y="2576623"/>
                </a:lnTo>
                <a:lnTo>
                  <a:pt x="2249224" y="2571643"/>
                </a:lnTo>
                <a:lnTo>
                  <a:pt x="2249875" y="2569802"/>
                </a:lnTo>
                <a:lnTo>
                  <a:pt x="2253673" y="2567853"/>
                </a:lnTo>
                <a:lnTo>
                  <a:pt x="2255192" y="2562656"/>
                </a:lnTo>
                <a:lnTo>
                  <a:pt x="2253347" y="2558975"/>
                </a:lnTo>
                <a:lnTo>
                  <a:pt x="2255735" y="2554427"/>
                </a:lnTo>
                <a:lnTo>
                  <a:pt x="2255084" y="2552045"/>
                </a:lnTo>
                <a:lnTo>
                  <a:pt x="2257580" y="2547498"/>
                </a:lnTo>
                <a:lnTo>
                  <a:pt x="2265501" y="2546090"/>
                </a:lnTo>
                <a:lnTo>
                  <a:pt x="2269950" y="2547281"/>
                </a:lnTo>
                <a:close/>
                <a:moveTo>
                  <a:pt x="6837851" y="2544034"/>
                </a:moveTo>
                <a:lnTo>
                  <a:pt x="6837091" y="2549230"/>
                </a:lnTo>
                <a:lnTo>
                  <a:pt x="6834162" y="2546632"/>
                </a:lnTo>
                <a:close/>
                <a:moveTo>
                  <a:pt x="4000249" y="2541976"/>
                </a:moveTo>
                <a:lnTo>
                  <a:pt x="3992076" y="2542379"/>
                </a:lnTo>
                <a:lnTo>
                  <a:pt x="4000247" y="2541977"/>
                </a:lnTo>
                <a:lnTo>
                  <a:pt x="4007084" y="2544250"/>
                </a:lnTo>
                <a:lnTo>
                  <a:pt x="4011425" y="2549555"/>
                </a:lnTo>
                <a:lnTo>
                  <a:pt x="4017176" y="2551179"/>
                </a:lnTo>
                <a:lnTo>
                  <a:pt x="4021733" y="2555185"/>
                </a:lnTo>
                <a:lnTo>
                  <a:pt x="4021517" y="2558975"/>
                </a:lnTo>
                <a:lnTo>
                  <a:pt x="4019238" y="2566229"/>
                </a:lnTo>
                <a:lnTo>
                  <a:pt x="4020865" y="2569910"/>
                </a:lnTo>
                <a:lnTo>
                  <a:pt x="4026617" y="2571967"/>
                </a:lnTo>
                <a:lnTo>
                  <a:pt x="4026618" y="2571967"/>
                </a:lnTo>
                <a:lnTo>
                  <a:pt x="4020867" y="2569910"/>
                </a:lnTo>
                <a:lnTo>
                  <a:pt x="4019239" y="2566228"/>
                </a:lnTo>
                <a:lnTo>
                  <a:pt x="4021518" y="2558975"/>
                </a:lnTo>
                <a:lnTo>
                  <a:pt x="4021735" y="2555185"/>
                </a:lnTo>
                <a:lnTo>
                  <a:pt x="4017177" y="2551179"/>
                </a:lnTo>
                <a:lnTo>
                  <a:pt x="4011426" y="2549555"/>
                </a:lnTo>
                <a:lnTo>
                  <a:pt x="4007085" y="2544250"/>
                </a:lnTo>
                <a:close/>
                <a:moveTo>
                  <a:pt x="2231319" y="2539052"/>
                </a:moveTo>
                <a:lnTo>
                  <a:pt x="2239675" y="2543924"/>
                </a:lnTo>
                <a:lnTo>
                  <a:pt x="2230668" y="2544033"/>
                </a:lnTo>
                <a:lnTo>
                  <a:pt x="2227087" y="2541434"/>
                </a:lnTo>
                <a:close/>
                <a:moveTo>
                  <a:pt x="6571985" y="2529850"/>
                </a:moveTo>
                <a:lnTo>
                  <a:pt x="6577193" y="2531691"/>
                </a:lnTo>
                <a:lnTo>
                  <a:pt x="6582185" y="2534939"/>
                </a:lnTo>
                <a:lnTo>
                  <a:pt x="6584247" y="2541110"/>
                </a:lnTo>
                <a:lnTo>
                  <a:pt x="6580666" y="2546957"/>
                </a:lnTo>
                <a:lnTo>
                  <a:pt x="6579689" y="2550421"/>
                </a:lnTo>
                <a:lnTo>
                  <a:pt x="6577302" y="2552370"/>
                </a:lnTo>
                <a:lnTo>
                  <a:pt x="6574915" y="2559733"/>
                </a:lnTo>
                <a:lnTo>
                  <a:pt x="6575782" y="2563847"/>
                </a:lnTo>
                <a:lnTo>
                  <a:pt x="6572309" y="2567420"/>
                </a:lnTo>
                <a:lnTo>
                  <a:pt x="6567861" y="2568286"/>
                </a:lnTo>
                <a:lnTo>
                  <a:pt x="6567861" y="2570994"/>
                </a:lnTo>
                <a:lnTo>
                  <a:pt x="6564930" y="2574783"/>
                </a:lnTo>
                <a:lnTo>
                  <a:pt x="6560915" y="2573808"/>
                </a:lnTo>
                <a:lnTo>
                  <a:pt x="6557118" y="2574458"/>
                </a:lnTo>
                <a:lnTo>
                  <a:pt x="6555924" y="2578789"/>
                </a:lnTo>
                <a:lnTo>
                  <a:pt x="6552994" y="2580305"/>
                </a:lnTo>
                <a:lnTo>
                  <a:pt x="6548653" y="2577382"/>
                </a:lnTo>
                <a:lnTo>
                  <a:pt x="6545180" y="2577382"/>
                </a:lnTo>
                <a:lnTo>
                  <a:pt x="6541925" y="2574783"/>
                </a:lnTo>
                <a:lnTo>
                  <a:pt x="6536933" y="2574783"/>
                </a:lnTo>
                <a:lnTo>
                  <a:pt x="6532375" y="2570994"/>
                </a:lnTo>
                <a:lnTo>
                  <a:pt x="6532375" y="2568286"/>
                </a:lnTo>
                <a:lnTo>
                  <a:pt x="6529663" y="2563631"/>
                </a:lnTo>
                <a:lnTo>
                  <a:pt x="6529663" y="2554753"/>
                </a:lnTo>
                <a:lnTo>
                  <a:pt x="6527384" y="2550963"/>
                </a:lnTo>
                <a:lnTo>
                  <a:pt x="6533570" y="2544466"/>
                </a:lnTo>
                <a:lnTo>
                  <a:pt x="6540731" y="2540136"/>
                </a:lnTo>
                <a:lnTo>
                  <a:pt x="6541708" y="2535697"/>
                </a:lnTo>
                <a:lnTo>
                  <a:pt x="6546049" y="2535047"/>
                </a:lnTo>
                <a:lnTo>
                  <a:pt x="6550715" y="2532665"/>
                </a:lnTo>
                <a:lnTo>
                  <a:pt x="6555165" y="2532665"/>
                </a:lnTo>
                <a:lnTo>
                  <a:pt x="6558528" y="2530392"/>
                </a:lnTo>
                <a:lnTo>
                  <a:pt x="6561024" y="2531149"/>
                </a:lnTo>
                <a:lnTo>
                  <a:pt x="6565907" y="2530175"/>
                </a:lnTo>
                <a:cubicBezTo>
                  <a:pt x="6565690" y="2530283"/>
                  <a:pt x="6568512" y="2532232"/>
                  <a:pt x="6568512" y="2532232"/>
                </a:cubicBezTo>
                <a:close/>
                <a:moveTo>
                  <a:pt x="6328908" y="2527468"/>
                </a:moveTo>
                <a:lnTo>
                  <a:pt x="6328907" y="2527468"/>
                </a:lnTo>
                <a:lnTo>
                  <a:pt x="6333574" y="2532990"/>
                </a:lnTo>
                <a:lnTo>
                  <a:pt x="6334767" y="2541219"/>
                </a:lnTo>
                <a:lnTo>
                  <a:pt x="6330969" y="2543925"/>
                </a:lnTo>
                <a:lnTo>
                  <a:pt x="6334442" y="2549988"/>
                </a:lnTo>
                <a:lnTo>
                  <a:pt x="6338240" y="2551396"/>
                </a:lnTo>
                <a:lnTo>
                  <a:pt x="6338241" y="2551395"/>
                </a:lnTo>
                <a:lnTo>
                  <a:pt x="6334443" y="2549988"/>
                </a:lnTo>
                <a:lnTo>
                  <a:pt x="6330970" y="2543925"/>
                </a:lnTo>
                <a:lnTo>
                  <a:pt x="6334768" y="2541219"/>
                </a:lnTo>
                <a:lnTo>
                  <a:pt x="6333575" y="2532989"/>
                </a:lnTo>
                <a:close/>
                <a:moveTo>
                  <a:pt x="6439684" y="2526880"/>
                </a:moveTo>
                <a:lnTo>
                  <a:pt x="6441547" y="2527359"/>
                </a:lnTo>
                <a:lnTo>
                  <a:pt x="6441547" y="2527359"/>
                </a:lnTo>
                <a:close/>
                <a:moveTo>
                  <a:pt x="6322505" y="2517291"/>
                </a:moveTo>
                <a:lnTo>
                  <a:pt x="6319792" y="2523354"/>
                </a:lnTo>
                <a:lnTo>
                  <a:pt x="6322505" y="2528984"/>
                </a:lnTo>
                <a:lnTo>
                  <a:pt x="6322506" y="2528984"/>
                </a:lnTo>
                <a:lnTo>
                  <a:pt x="6319793" y="2523354"/>
                </a:lnTo>
                <a:lnTo>
                  <a:pt x="6322506" y="2517291"/>
                </a:lnTo>
                <a:close/>
                <a:moveTo>
                  <a:pt x="6431824" y="2516210"/>
                </a:moveTo>
                <a:lnTo>
                  <a:pt x="6434060" y="2516641"/>
                </a:lnTo>
                <a:lnTo>
                  <a:pt x="6434060" y="2516641"/>
                </a:lnTo>
                <a:close/>
                <a:moveTo>
                  <a:pt x="6396955" y="2512531"/>
                </a:moveTo>
                <a:lnTo>
                  <a:pt x="6406498" y="2512635"/>
                </a:lnTo>
                <a:lnTo>
                  <a:pt x="6407533" y="2512941"/>
                </a:lnTo>
                <a:lnTo>
                  <a:pt x="6406497" y="2512635"/>
                </a:lnTo>
                <a:close/>
                <a:moveTo>
                  <a:pt x="4301241" y="2511219"/>
                </a:moveTo>
                <a:lnTo>
                  <a:pt x="4301057" y="2513934"/>
                </a:lnTo>
                <a:lnTo>
                  <a:pt x="4300351" y="2515288"/>
                </a:lnTo>
                <a:lnTo>
                  <a:pt x="4301057" y="2513934"/>
                </a:lnTo>
                <a:close/>
                <a:moveTo>
                  <a:pt x="6417675" y="2511119"/>
                </a:moveTo>
                <a:lnTo>
                  <a:pt x="6412357" y="2514367"/>
                </a:lnTo>
                <a:lnTo>
                  <a:pt x="6412358" y="2514367"/>
                </a:lnTo>
                <a:lnTo>
                  <a:pt x="6417675" y="2511119"/>
                </a:lnTo>
                <a:lnTo>
                  <a:pt x="6424402" y="2511119"/>
                </a:lnTo>
                <a:lnTo>
                  <a:pt x="6424402" y="2511119"/>
                </a:lnTo>
                <a:close/>
                <a:moveTo>
                  <a:pt x="2226652" y="2509712"/>
                </a:moveTo>
                <a:lnTo>
                  <a:pt x="2226652" y="2515342"/>
                </a:lnTo>
                <a:lnTo>
                  <a:pt x="2222746" y="2520647"/>
                </a:lnTo>
                <a:lnTo>
                  <a:pt x="2210375" y="2522055"/>
                </a:lnTo>
                <a:lnTo>
                  <a:pt x="2211568" y="2515017"/>
                </a:lnTo>
                <a:lnTo>
                  <a:pt x="2217211" y="2511444"/>
                </a:lnTo>
                <a:lnTo>
                  <a:pt x="2222094" y="2514151"/>
                </a:lnTo>
                <a:lnTo>
                  <a:pt x="2225024" y="2510686"/>
                </a:lnTo>
                <a:close/>
                <a:moveTo>
                  <a:pt x="6571334" y="2505056"/>
                </a:moveTo>
                <a:lnTo>
                  <a:pt x="6575675" y="2506788"/>
                </a:lnTo>
                <a:lnTo>
                  <a:pt x="6575675" y="2508846"/>
                </a:lnTo>
                <a:lnTo>
                  <a:pt x="6571009" y="2507980"/>
                </a:lnTo>
                <a:lnTo>
                  <a:pt x="6567753" y="2508196"/>
                </a:lnTo>
                <a:lnTo>
                  <a:pt x="6565583" y="2505814"/>
                </a:lnTo>
                <a:close/>
                <a:moveTo>
                  <a:pt x="2229256" y="2502783"/>
                </a:moveTo>
                <a:lnTo>
                  <a:pt x="2229256" y="2507114"/>
                </a:lnTo>
                <a:lnTo>
                  <a:pt x="2226652" y="2505598"/>
                </a:lnTo>
                <a:close/>
                <a:moveTo>
                  <a:pt x="6330645" y="2502024"/>
                </a:moveTo>
                <a:lnTo>
                  <a:pt x="6330644" y="2502024"/>
                </a:lnTo>
                <a:lnTo>
                  <a:pt x="6330535" y="2506464"/>
                </a:lnTo>
                <a:lnTo>
                  <a:pt x="6327714" y="2510254"/>
                </a:lnTo>
                <a:lnTo>
                  <a:pt x="6329993" y="2513393"/>
                </a:lnTo>
                <a:lnTo>
                  <a:pt x="6325218" y="2517291"/>
                </a:lnTo>
                <a:lnTo>
                  <a:pt x="6325219" y="2517291"/>
                </a:lnTo>
                <a:lnTo>
                  <a:pt x="6329994" y="2513393"/>
                </a:lnTo>
                <a:lnTo>
                  <a:pt x="6327715" y="2510253"/>
                </a:lnTo>
                <a:lnTo>
                  <a:pt x="6330536" y="2506463"/>
                </a:lnTo>
                <a:close/>
                <a:moveTo>
                  <a:pt x="6136943" y="2501807"/>
                </a:moveTo>
                <a:lnTo>
                  <a:pt x="6136942" y="2501808"/>
                </a:lnTo>
                <a:lnTo>
                  <a:pt x="6138895" y="2503107"/>
                </a:lnTo>
                <a:lnTo>
                  <a:pt x="6138895" y="2503106"/>
                </a:lnTo>
                <a:close/>
                <a:moveTo>
                  <a:pt x="6354164" y="2501006"/>
                </a:moveTo>
                <a:lnTo>
                  <a:pt x="6357556" y="2501808"/>
                </a:lnTo>
                <a:lnTo>
                  <a:pt x="6357556" y="2501807"/>
                </a:lnTo>
                <a:close/>
                <a:moveTo>
                  <a:pt x="6353432" y="2500833"/>
                </a:moveTo>
                <a:lnTo>
                  <a:pt x="6347247" y="2502674"/>
                </a:lnTo>
                <a:lnTo>
                  <a:pt x="6347247" y="2502674"/>
                </a:lnTo>
                <a:lnTo>
                  <a:pt x="6353433" y="2500834"/>
                </a:lnTo>
                <a:close/>
                <a:moveTo>
                  <a:pt x="6337438" y="2500560"/>
                </a:moveTo>
                <a:lnTo>
                  <a:pt x="6337372" y="2500617"/>
                </a:lnTo>
                <a:lnTo>
                  <a:pt x="6332259" y="2501687"/>
                </a:lnTo>
                <a:lnTo>
                  <a:pt x="6337373" y="2500617"/>
                </a:lnTo>
                <a:close/>
                <a:moveTo>
                  <a:pt x="6344473" y="2498262"/>
                </a:moveTo>
                <a:lnTo>
                  <a:pt x="6345185" y="2498776"/>
                </a:lnTo>
                <a:lnTo>
                  <a:pt x="6345485" y="2499344"/>
                </a:lnTo>
                <a:lnTo>
                  <a:pt x="6345185" y="2498776"/>
                </a:lnTo>
                <a:close/>
                <a:moveTo>
                  <a:pt x="6043834" y="2496179"/>
                </a:moveTo>
                <a:lnTo>
                  <a:pt x="6045354" y="2498669"/>
                </a:lnTo>
                <a:lnTo>
                  <a:pt x="6043834" y="2500293"/>
                </a:lnTo>
                <a:close/>
                <a:moveTo>
                  <a:pt x="6034827" y="2495420"/>
                </a:moveTo>
                <a:lnTo>
                  <a:pt x="6037214" y="2497693"/>
                </a:lnTo>
                <a:lnTo>
                  <a:pt x="6037866" y="2501916"/>
                </a:lnTo>
                <a:lnTo>
                  <a:pt x="6035261" y="2500075"/>
                </a:lnTo>
                <a:close/>
                <a:moveTo>
                  <a:pt x="6041447" y="2494446"/>
                </a:moveTo>
                <a:lnTo>
                  <a:pt x="6041772" y="2496936"/>
                </a:lnTo>
                <a:lnTo>
                  <a:pt x="6041229" y="2499860"/>
                </a:lnTo>
                <a:lnTo>
                  <a:pt x="6039602" y="2498668"/>
                </a:lnTo>
                <a:lnTo>
                  <a:pt x="6038625" y="2495962"/>
                </a:lnTo>
                <a:close/>
                <a:moveTo>
                  <a:pt x="6314844" y="2493312"/>
                </a:moveTo>
                <a:lnTo>
                  <a:pt x="6315017" y="2493796"/>
                </a:lnTo>
                <a:lnTo>
                  <a:pt x="6320451" y="2496454"/>
                </a:lnTo>
                <a:lnTo>
                  <a:pt x="6315017" y="2493795"/>
                </a:lnTo>
                <a:close/>
                <a:moveTo>
                  <a:pt x="1992690" y="2493146"/>
                </a:moveTo>
                <a:lnTo>
                  <a:pt x="1997030" y="2494012"/>
                </a:lnTo>
                <a:lnTo>
                  <a:pt x="2001262" y="2498993"/>
                </a:lnTo>
                <a:lnTo>
                  <a:pt x="2000503" y="2503324"/>
                </a:lnTo>
                <a:lnTo>
                  <a:pt x="1993775" y="2505273"/>
                </a:lnTo>
                <a:lnTo>
                  <a:pt x="1988458" y="2503215"/>
                </a:lnTo>
                <a:lnTo>
                  <a:pt x="1987807" y="2500725"/>
                </a:lnTo>
                <a:lnTo>
                  <a:pt x="1989869" y="2502132"/>
                </a:lnTo>
                <a:lnTo>
                  <a:pt x="1992256" y="2502566"/>
                </a:lnTo>
                <a:lnTo>
                  <a:pt x="1994535" y="2500725"/>
                </a:lnTo>
                <a:lnTo>
                  <a:pt x="1992256" y="2499317"/>
                </a:lnTo>
                <a:lnTo>
                  <a:pt x="1990954" y="2496503"/>
                </a:lnTo>
                <a:close/>
                <a:moveTo>
                  <a:pt x="6508828" y="2492171"/>
                </a:moveTo>
                <a:lnTo>
                  <a:pt x="6508828" y="2492172"/>
                </a:lnTo>
                <a:lnTo>
                  <a:pt x="6508937" y="2492172"/>
                </a:lnTo>
                <a:lnTo>
                  <a:pt x="6508936" y="2492171"/>
                </a:lnTo>
                <a:close/>
                <a:moveTo>
                  <a:pt x="6030703" y="2490440"/>
                </a:moveTo>
                <a:lnTo>
                  <a:pt x="6032222" y="2492822"/>
                </a:lnTo>
                <a:lnTo>
                  <a:pt x="6029944" y="2498560"/>
                </a:lnTo>
                <a:lnTo>
                  <a:pt x="6028208" y="2499426"/>
                </a:lnTo>
                <a:lnTo>
                  <a:pt x="6028099" y="2496936"/>
                </a:lnTo>
                <a:close/>
                <a:moveTo>
                  <a:pt x="6355822" y="2490157"/>
                </a:moveTo>
                <a:lnTo>
                  <a:pt x="6356144" y="2495852"/>
                </a:lnTo>
                <a:lnTo>
                  <a:pt x="6357513" y="2501625"/>
                </a:lnTo>
                <a:lnTo>
                  <a:pt x="6356146" y="2495853"/>
                </a:lnTo>
                <a:close/>
                <a:moveTo>
                  <a:pt x="6139979" y="2489589"/>
                </a:moveTo>
                <a:lnTo>
                  <a:pt x="6140632" y="2490656"/>
                </a:lnTo>
                <a:lnTo>
                  <a:pt x="6141225" y="2491247"/>
                </a:lnTo>
                <a:lnTo>
                  <a:pt x="6140632" y="2490655"/>
                </a:lnTo>
                <a:close/>
                <a:moveTo>
                  <a:pt x="6499929" y="2489140"/>
                </a:moveTo>
                <a:lnTo>
                  <a:pt x="6496306" y="2490265"/>
                </a:lnTo>
                <a:lnTo>
                  <a:pt x="6499930" y="2489140"/>
                </a:lnTo>
                <a:close/>
                <a:moveTo>
                  <a:pt x="6339976" y="2488815"/>
                </a:moveTo>
                <a:lnTo>
                  <a:pt x="6329124" y="2493362"/>
                </a:lnTo>
                <a:lnTo>
                  <a:pt x="6323807" y="2493362"/>
                </a:lnTo>
                <a:lnTo>
                  <a:pt x="6320551" y="2496502"/>
                </a:lnTo>
                <a:lnTo>
                  <a:pt x="6320552" y="2496503"/>
                </a:lnTo>
                <a:lnTo>
                  <a:pt x="6323808" y="2493363"/>
                </a:lnTo>
                <a:lnTo>
                  <a:pt x="6329124" y="2493363"/>
                </a:lnTo>
                <a:lnTo>
                  <a:pt x="6339976" y="2488816"/>
                </a:lnTo>
                <a:lnTo>
                  <a:pt x="6344642" y="2490332"/>
                </a:lnTo>
                <a:lnTo>
                  <a:pt x="6344642" y="2490331"/>
                </a:lnTo>
                <a:close/>
                <a:moveTo>
                  <a:pt x="2228280" y="2480695"/>
                </a:moveTo>
                <a:lnTo>
                  <a:pt x="2235443" y="2484809"/>
                </a:lnTo>
                <a:lnTo>
                  <a:pt x="2235117" y="2486650"/>
                </a:lnTo>
                <a:lnTo>
                  <a:pt x="2230668" y="2484593"/>
                </a:lnTo>
                <a:lnTo>
                  <a:pt x="2226218" y="2484917"/>
                </a:lnTo>
                <a:lnTo>
                  <a:pt x="2224157" y="2482535"/>
                </a:lnTo>
                <a:close/>
                <a:moveTo>
                  <a:pt x="6311545" y="2478638"/>
                </a:moveTo>
                <a:lnTo>
                  <a:pt x="6307963" y="2481885"/>
                </a:lnTo>
                <a:lnTo>
                  <a:pt x="6306662" y="2480478"/>
                </a:lnTo>
                <a:lnTo>
                  <a:pt x="6299174" y="2479612"/>
                </a:lnTo>
                <a:lnTo>
                  <a:pt x="6295749" y="2481321"/>
                </a:lnTo>
                <a:lnTo>
                  <a:pt x="6299174" y="2479613"/>
                </a:lnTo>
                <a:lnTo>
                  <a:pt x="6306661" y="2480479"/>
                </a:lnTo>
                <a:lnTo>
                  <a:pt x="6307964" y="2481887"/>
                </a:lnTo>
                <a:lnTo>
                  <a:pt x="6311545" y="2478638"/>
                </a:lnTo>
                <a:lnTo>
                  <a:pt x="6314800" y="2482969"/>
                </a:lnTo>
                <a:lnTo>
                  <a:pt x="6314800" y="2482968"/>
                </a:lnTo>
                <a:close/>
                <a:moveTo>
                  <a:pt x="6294616" y="2478097"/>
                </a:moveTo>
                <a:lnTo>
                  <a:pt x="6295484" y="2481453"/>
                </a:lnTo>
                <a:lnTo>
                  <a:pt x="6295485" y="2481452"/>
                </a:lnTo>
                <a:close/>
                <a:moveTo>
                  <a:pt x="6150072" y="2476256"/>
                </a:moveTo>
                <a:lnTo>
                  <a:pt x="6147359" y="2484158"/>
                </a:lnTo>
                <a:lnTo>
                  <a:pt x="6144755" y="2485458"/>
                </a:lnTo>
                <a:lnTo>
                  <a:pt x="6142476" y="2484484"/>
                </a:lnTo>
                <a:lnTo>
                  <a:pt x="6142279" y="2485380"/>
                </a:lnTo>
                <a:lnTo>
                  <a:pt x="6142476" y="2484485"/>
                </a:lnTo>
                <a:lnTo>
                  <a:pt x="6144755" y="2485459"/>
                </a:lnTo>
                <a:lnTo>
                  <a:pt x="6147359" y="2484160"/>
                </a:lnTo>
                <a:lnTo>
                  <a:pt x="6150072" y="2476256"/>
                </a:lnTo>
                <a:close/>
                <a:moveTo>
                  <a:pt x="6473596" y="2475967"/>
                </a:moveTo>
                <a:lnTo>
                  <a:pt x="6474537" y="2479288"/>
                </a:lnTo>
                <a:lnTo>
                  <a:pt x="6480976" y="2481597"/>
                </a:lnTo>
                <a:lnTo>
                  <a:pt x="6474537" y="2479287"/>
                </a:lnTo>
                <a:close/>
                <a:moveTo>
                  <a:pt x="5243744" y="2473435"/>
                </a:moveTo>
                <a:lnTo>
                  <a:pt x="5243741" y="2473441"/>
                </a:lnTo>
                <a:lnTo>
                  <a:pt x="5243742" y="2473437"/>
                </a:lnTo>
                <a:lnTo>
                  <a:pt x="5243740" y="2473441"/>
                </a:lnTo>
                <a:lnTo>
                  <a:pt x="5249275" y="2492713"/>
                </a:lnTo>
                <a:lnTo>
                  <a:pt x="5245911" y="2544683"/>
                </a:lnTo>
                <a:lnTo>
                  <a:pt x="5245912" y="2544683"/>
                </a:lnTo>
                <a:lnTo>
                  <a:pt x="5249276" y="2492713"/>
                </a:lnTo>
                <a:lnTo>
                  <a:pt x="5243742" y="2473441"/>
                </a:lnTo>
                <a:close/>
                <a:moveTo>
                  <a:pt x="6470413" y="2473332"/>
                </a:moveTo>
                <a:lnTo>
                  <a:pt x="6470413" y="2473333"/>
                </a:lnTo>
                <a:lnTo>
                  <a:pt x="6472222" y="2473982"/>
                </a:lnTo>
                <a:close/>
                <a:moveTo>
                  <a:pt x="6366020" y="2471059"/>
                </a:moveTo>
                <a:lnTo>
                  <a:pt x="6357013" y="2471383"/>
                </a:lnTo>
                <a:lnTo>
                  <a:pt x="6357013" y="2474848"/>
                </a:lnTo>
                <a:lnTo>
                  <a:pt x="6353758" y="2477122"/>
                </a:lnTo>
                <a:lnTo>
                  <a:pt x="6354083" y="2485134"/>
                </a:lnTo>
                <a:lnTo>
                  <a:pt x="6355653" y="2489637"/>
                </a:lnTo>
                <a:lnTo>
                  <a:pt x="6354084" y="2485134"/>
                </a:lnTo>
                <a:lnTo>
                  <a:pt x="6353759" y="2477122"/>
                </a:lnTo>
                <a:lnTo>
                  <a:pt x="6357014" y="2474848"/>
                </a:lnTo>
                <a:lnTo>
                  <a:pt x="6357014" y="2471384"/>
                </a:lnTo>
                <a:lnTo>
                  <a:pt x="6366020" y="2471059"/>
                </a:lnTo>
                <a:close/>
                <a:moveTo>
                  <a:pt x="6107534" y="2470843"/>
                </a:moveTo>
                <a:lnTo>
                  <a:pt x="6109054" y="2472467"/>
                </a:lnTo>
                <a:lnTo>
                  <a:pt x="6108510" y="2475823"/>
                </a:lnTo>
                <a:lnTo>
                  <a:pt x="6106232" y="2476906"/>
                </a:lnTo>
                <a:lnTo>
                  <a:pt x="6105581" y="2471925"/>
                </a:lnTo>
                <a:close/>
                <a:moveTo>
                  <a:pt x="2211026" y="2470843"/>
                </a:moveTo>
                <a:lnTo>
                  <a:pt x="2211894" y="2473117"/>
                </a:lnTo>
                <a:lnTo>
                  <a:pt x="2211568" y="2478639"/>
                </a:lnTo>
                <a:lnTo>
                  <a:pt x="2201151" y="2484594"/>
                </a:lnTo>
                <a:lnTo>
                  <a:pt x="2198764" y="2484485"/>
                </a:lnTo>
                <a:lnTo>
                  <a:pt x="2199306" y="2481886"/>
                </a:lnTo>
                <a:lnTo>
                  <a:pt x="2201911" y="2481453"/>
                </a:lnTo>
                <a:lnTo>
                  <a:pt x="2206685" y="2476148"/>
                </a:lnTo>
                <a:lnTo>
                  <a:pt x="2206360" y="2472251"/>
                </a:lnTo>
                <a:close/>
                <a:moveTo>
                  <a:pt x="6051866" y="2470678"/>
                </a:moveTo>
                <a:lnTo>
                  <a:pt x="6051973" y="2477121"/>
                </a:lnTo>
                <a:lnTo>
                  <a:pt x="6053311" y="2480413"/>
                </a:lnTo>
                <a:lnTo>
                  <a:pt x="6051974" y="2477122"/>
                </a:lnTo>
                <a:close/>
                <a:moveTo>
                  <a:pt x="6096573" y="2469002"/>
                </a:moveTo>
                <a:lnTo>
                  <a:pt x="6103084" y="2473333"/>
                </a:lnTo>
                <a:lnTo>
                  <a:pt x="6104278" y="2477122"/>
                </a:lnTo>
                <a:lnTo>
                  <a:pt x="6101022" y="2483294"/>
                </a:lnTo>
                <a:lnTo>
                  <a:pt x="6098960" y="2480154"/>
                </a:lnTo>
                <a:lnTo>
                  <a:pt x="6098960" y="2476256"/>
                </a:lnTo>
                <a:lnTo>
                  <a:pt x="6096573" y="2471276"/>
                </a:lnTo>
                <a:cubicBezTo>
                  <a:pt x="6096661" y="2470520"/>
                  <a:pt x="6096661" y="2469757"/>
                  <a:pt x="6096573" y="2469002"/>
                </a:cubicBezTo>
                <a:close/>
                <a:moveTo>
                  <a:pt x="6091797" y="2467810"/>
                </a:moveTo>
                <a:lnTo>
                  <a:pt x="6094728" y="2471924"/>
                </a:lnTo>
                <a:lnTo>
                  <a:pt x="6095270" y="2478963"/>
                </a:lnTo>
                <a:lnTo>
                  <a:pt x="6090930" y="2478746"/>
                </a:lnTo>
                <a:lnTo>
                  <a:pt x="6087674" y="2471708"/>
                </a:lnTo>
                <a:lnTo>
                  <a:pt x="6087457" y="2469651"/>
                </a:lnTo>
                <a:close/>
                <a:moveTo>
                  <a:pt x="6381538" y="2467053"/>
                </a:moveTo>
                <a:lnTo>
                  <a:pt x="6381538" y="2467053"/>
                </a:lnTo>
                <a:lnTo>
                  <a:pt x="6383600" y="2468785"/>
                </a:lnTo>
                <a:lnTo>
                  <a:pt x="6385282" y="2468731"/>
                </a:lnTo>
                <a:lnTo>
                  <a:pt x="6383600" y="2468785"/>
                </a:lnTo>
                <a:close/>
                <a:moveTo>
                  <a:pt x="2197244" y="2466944"/>
                </a:moveTo>
                <a:lnTo>
                  <a:pt x="2202887" y="2469975"/>
                </a:lnTo>
                <a:lnTo>
                  <a:pt x="2203430" y="2473981"/>
                </a:lnTo>
                <a:lnTo>
                  <a:pt x="2199849" y="2473223"/>
                </a:lnTo>
                <a:lnTo>
                  <a:pt x="2196919" y="2469867"/>
                </a:lnTo>
                <a:close/>
                <a:moveTo>
                  <a:pt x="6149747" y="2465537"/>
                </a:moveTo>
                <a:lnTo>
                  <a:pt x="6149563" y="2466772"/>
                </a:lnTo>
                <a:lnTo>
                  <a:pt x="6149747" y="2465538"/>
                </a:lnTo>
                <a:close/>
                <a:moveTo>
                  <a:pt x="6378716" y="2463046"/>
                </a:moveTo>
                <a:lnTo>
                  <a:pt x="6373617" y="2464995"/>
                </a:lnTo>
                <a:lnTo>
                  <a:pt x="6371011" y="2467269"/>
                </a:lnTo>
                <a:lnTo>
                  <a:pt x="6370030" y="2469228"/>
                </a:lnTo>
                <a:lnTo>
                  <a:pt x="6371012" y="2467269"/>
                </a:lnTo>
                <a:lnTo>
                  <a:pt x="6373617" y="2464996"/>
                </a:lnTo>
                <a:lnTo>
                  <a:pt x="6378717" y="2463047"/>
                </a:lnTo>
                <a:lnTo>
                  <a:pt x="6381863" y="2463372"/>
                </a:lnTo>
                <a:lnTo>
                  <a:pt x="6381863" y="2463371"/>
                </a:lnTo>
                <a:close/>
                <a:moveTo>
                  <a:pt x="6398684" y="2462830"/>
                </a:moveTo>
                <a:lnTo>
                  <a:pt x="6397436" y="2464508"/>
                </a:lnTo>
                <a:lnTo>
                  <a:pt x="6398684" y="2462830"/>
                </a:lnTo>
                <a:lnTo>
                  <a:pt x="6401396" y="2463047"/>
                </a:lnTo>
                <a:lnTo>
                  <a:pt x="6401396" y="2463046"/>
                </a:lnTo>
                <a:close/>
                <a:moveTo>
                  <a:pt x="6476589" y="2462328"/>
                </a:moveTo>
                <a:lnTo>
                  <a:pt x="6476273" y="2464021"/>
                </a:lnTo>
                <a:lnTo>
                  <a:pt x="6475226" y="2464184"/>
                </a:lnTo>
                <a:lnTo>
                  <a:pt x="6476273" y="2464021"/>
                </a:lnTo>
                <a:close/>
                <a:moveTo>
                  <a:pt x="4314404" y="2460231"/>
                </a:moveTo>
                <a:lnTo>
                  <a:pt x="4287275" y="2471492"/>
                </a:lnTo>
                <a:lnTo>
                  <a:pt x="4266006" y="2480261"/>
                </a:lnTo>
                <a:lnTo>
                  <a:pt x="4262099" y="2476147"/>
                </a:lnTo>
                <a:lnTo>
                  <a:pt x="4220104" y="2465754"/>
                </a:lnTo>
                <a:lnTo>
                  <a:pt x="4220104" y="2465754"/>
                </a:lnTo>
                <a:lnTo>
                  <a:pt x="4262099" y="2476148"/>
                </a:lnTo>
                <a:lnTo>
                  <a:pt x="4266006" y="2480262"/>
                </a:lnTo>
                <a:lnTo>
                  <a:pt x="4287275" y="2471493"/>
                </a:lnTo>
                <a:lnTo>
                  <a:pt x="4287275" y="2471492"/>
                </a:lnTo>
                <a:lnTo>
                  <a:pt x="4314404" y="2460232"/>
                </a:lnTo>
                <a:lnTo>
                  <a:pt x="4507130" y="2558000"/>
                </a:lnTo>
                <a:lnTo>
                  <a:pt x="4507130" y="2558000"/>
                </a:lnTo>
                <a:close/>
                <a:moveTo>
                  <a:pt x="3654190" y="2459798"/>
                </a:moveTo>
                <a:lnTo>
                  <a:pt x="3648329" y="2460664"/>
                </a:lnTo>
                <a:lnTo>
                  <a:pt x="3643121" y="2464346"/>
                </a:lnTo>
                <a:lnTo>
                  <a:pt x="3643121" y="2464346"/>
                </a:lnTo>
                <a:lnTo>
                  <a:pt x="3648330" y="2460665"/>
                </a:lnTo>
                <a:lnTo>
                  <a:pt x="3654189" y="2459799"/>
                </a:lnTo>
                <a:lnTo>
                  <a:pt x="3662545" y="2459799"/>
                </a:lnTo>
                <a:lnTo>
                  <a:pt x="3662545" y="2459798"/>
                </a:lnTo>
                <a:close/>
                <a:moveTo>
                  <a:pt x="6148879" y="2459256"/>
                </a:moveTo>
                <a:lnTo>
                  <a:pt x="6148879" y="2459257"/>
                </a:lnTo>
                <a:lnTo>
                  <a:pt x="6153870" y="2459907"/>
                </a:lnTo>
                <a:lnTo>
                  <a:pt x="6153870" y="2459906"/>
                </a:lnTo>
                <a:close/>
                <a:moveTo>
                  <a:pt x="2017215" y="2459149"/>
                </a:moveTo>
                <a:lnTo>
                  <a:pt x="2028175" y="2461098"/>
                </a:lnTo>
                <a:lnTo>
                  <a:pt x="2032515" y="2466186"/>
                </a:lnTo>
                <a:lnTo>
                  <a:pt x="2039895" y="2467702"/>
                </a:lnTo>
                <a:lnTo>
                  <a:pt x="2045754" y="2465537"/>
                </a:lnTo>
                <a:lnTo>
                  <a:pt x="2063551" y="2468135"/>
                </a:lnTo>
                <a:lnTo>
                  <a:pt x="2065830" y="2470842"/>
                </a:lnTo>
                <a:lnTo>
                  <a:pt x="2070062" y="2469867"/>
                </a:lnTo>
                <a:lnTo>
                  <a:pt x="2075597" y="2475822"/>
                </a:lnTo>
                <a:lnTo>
                  <a:pt x="2077333" y="2481020"/>
                </a:lnTo>
                <a:lnTo>
                  <a:pt x="2082216" y="2483185"/>
                </a:lnTo>
                <a:lnTo>
                  <a:pt x="2095455" y="2483943"/>
                </a:lnTo>
                <a:lnTo>
                  <a:pt x="2101423" y="2488598"/>
                </a:lnTo>
                <a:lnTo>
                  <a:pt x="2106958" y="2491630"/>
                </a:lnTo>
                <a:lnTo>
                  <a:pt x="2113035" y="2497368"/>
                </a:lnTo>
                <a:lnTo>
                  <a:pt x="2122150" y="2499426"/>
                </a:lnTo>
                <a:lnTo>
                  <a:pt x="2125080" y="2502457"/>
                </a:lnTo>
                <a:lnTo>
                  <a:pt x="2126599" y="2499534"/>
                </a:lnTo>
                <a:lnTo>
                  <a:pt x="2129204" y="2500724"/>
                </a:lnTo>
                <a:lnTo>
                  <a:pt x="2128119" y="2503648"/>
                </a:lnTo>
                <a:lnTo>
                  <a:pt x="2130072" y="2505922"/>
                </a:lnTo>
                <a:lnTo>
                  <a:pt x="2133870" y="2501916"/>
                </a:lnTo>
                <a:lnTo>
                  <a:pt x="2140164" y="2506788"/>
                </a:lnTo>
                <a:lnTo>
                  <a:pt x="2143962" y="2510252"/>
                </a:lnTo>
                <a:lnTo>
                  <a:pt x="2146458" y="2507979"/>
                </a:lnTo>
                <a:lnTo>
                  <a:pt x="2155030" y="2514367"/>
                </a:lnTo>
                <a:lnTo>
                  <a:pt x="2159480" y="2514691"/>
                </a:lnTo>
                <a:lnTo>
                  <a:pt x="2163495" y="2513175"/>
                </a:lnTo>
                <a:lnTo>
                  <a:pt x="2166425" y="2514150"/>
                </a:lnTo>
                <a:lnTo>
                  <a:pt x="2164689" y="2519997"/>
                </a:lnTo>
                <a:lnTo>
                  <a:pt x="2162084" y="2522379"/>
                </a:lnTo>
                <a:lnTo>
                  <a:pt x="2165339" y="2523678"/>
                </a:lnTo>
                <a:lnTo>
                  <a:pt x="2177819" y="2523678"/>
                </a:lnTo>
                <a:lnTo>
                  <a:pt x="2188345" y="2527901"/>
                </a:lnTo>
                <a:lnTo>
                  <a:pt x="2191167" y="2534505"/>
                </a:lnTo>
                <a:lnTo>
                  <a:pt x="2195507" y="2534938"/>
                </a:lnTo>
                <a:lnTo>
                  <a:pt x="2197569" y="2537211"/>
                </a:lnTo>
                <a:lnTo>
                  <a:pt x="2194965" y="2541976"/>
                </a:lnTo>
                <a:lnTo>
                  <a:pt x="2188996" y="2543599"/>
                </a:lnTo>
                <a:lnTo>
                  <a:pt x="2180858" y="2542517"/>
                </a:lnTo>
                <a:lnTo>
                  <a:pt x="2177385" y="2545332"/>
                </a:lnTo>
                <a:lnTo>
                  <a:pt x="2174455" y="2544791"/>
                </a:lnTo>
                <a:lnTo>
                  <a:pt x="2172827" y="2547389"/>
                </a:lnTo>
                <a:lnTo>
                  <a:pt x="2160565" y="2550313"/>
                </a:lnTo>
                <a:lnTo>
                  <a:pt x="2152318" y="2546631"/>
                </a:lnTo>
                <a:lnTo>
                  <a:pt x="2145807" y="2545765"/>
                </a:lnTo>
                <a:lnTo>
                  <a:pt x="2134195" y="2548472"/>
                </a:lnTo>
                <a:lnTo>
                  <a:pt x="2129964" y="2546739"/>
                </a:lnTo>
                <a:lnTo>
                  <a:pt x="2124429" y="2549663"/>
                </a:lnTo>
                <a:lnTo>
                  <a:pt x="2116073" y="2548255"/>
                </a:lnTo>
                <a:lnTo>
                  <a:pt x="2116290" y="2543925"/>
                </a:lnTo>
                <a:lnTo>
                  <a:pt x="2124212" y="2536779"/>
                </a:lnTo>
                <a:lnTo>
                  <a:pt x="2130289" y="2535263"/>
                </a:lnTo>
                <a:lnTo>
                  <a:pt x="2130940" y="2530607"/>
                </a:lnTo>
                <a:lnTo>
                  <a:pt x="2127034" y="2529308"/>
                </a:lnTo>
                <a:lnTo>
                  <a:pt x="2125839" y="2526818"/>
                </a:lnTo>
                <a:lnTo>
                  <a:pt x="2117267" y="2526818"/>
                </a:lnTo>
                <a:lnTo>
                  <a:pt x="2111950" y="2523570"/>
                </a:lnTo>
                <a:lnTo>
                  <a:pt x="2110214" y="2525085"/>
                </a:lnTo>
                <a:lnTo>
                  <a:pt x="2106307" y="2525085"/>
                </a:lnTo>
                <a:lnTo>
                  <a:pt x="2098385" y="2515666"/>
                </a:lnTo>
                <a:lnTo>
                  <a:pt x="2094478" y="2501483"/>
                </a:lnTo>
                <a:lnTo>
                  <a:pt x="2091657" y="2500400"/>
                </a:lnTo>
                <a:lnTo>
                  <a:pt x="2084929" y="2502673"/>
                </a:lnTo>
                <a:lnTo>
                  <a:pt x="2081456" y="2501050"/>
                </a:lnTo>
                <a:lnTo>
                  <a:pt x="2076898" y="2501699"/>
                </a:lnTo>
                <a:lnTo>
                  <a:pt x="2072884" y="2498234"/>
                </a:lnTo>
                <a:lnTo>
                  <a:pt x="2070279" y="2499750"/>
                </a:lnTo>
                <a:lnTo>
                  <a:pt x="2064094" y="2498667"/>
                </a:lnTo>
                <a:lnTo>
                  <a:pt x="2056389" y="2493146"/>
                </a:lnTo>
                <a:lnTo>
                  <a:pt x="2056063" y="2490547"/>
                </a:lnTo>
                <a:lnTo>
                  <a:pt x="2052917" y="2488165"/>
                </a:lnTo>
                <a:lnTo>
                  <a:pt x="2051180" y="2490764"/>
                </a:lnTo>
                <a:lnTo>
                  <a:pt x="2047925" y="2490981"/>
                </a:lnTo>
                <a:lnTo>
                  <a:pt x="2041197" y="2490114"/>
                </a:lnTo>
                <a:lnTo>
                  <a:pt x="2037398" y="2486866"/>
                </a:lnTo>
                <a:lnTo>
                  <a:pt x="2033058" y="2486866"/>
                </a:lnTo>
                <a:lnTo>
                  <a:pt x="2030128" y="2487840"/>
                </a:lnTo>
                <a:lnTo>
                  <a:pt x="2016021" y="2485675"/>
                </a:lnTo>
                <a:lnTo>
                  <a:pt x="2012332" y="2482751"/>
                </a:lnTo>
                <a:lnTo>
                  <a:pt x="2016021" y="2480153"/>
                </a:lnTo>
                <a:lnTo>
                  <a:pt x="2021338" y="2480694"/>
                </a:lnTo>
                <a:lnTo>
                  <a:pt x="2024051" y="2478421"/>
                </a:lnTo>
                <a:lnTo>
                  <a:pt x="2021338" y="2475822"/>
                </a:lnTo>
                <a:lnTo>
                  <a:pt x="2010812" y="2474631"/>
                </a:lnTo>
                <a:lnTo>
                  <a:pt x="2006146" y="2474848"/>
                </a:lnTo>
                <a:lnTo>
                  <a:pt x="1999635" y="2473765"/>
                </a:lnTo>
                <a:lnTo>
                  <a:pt x="1996705" y="2477014"/>
                </a:lnTo>
                <a:lnTo>
                  <a:pt x="1992582" y="2477879"/>
                </a:lnTo>
                <a:lnTo>
                  <a:pt x="1985528" y="2486433"/>
                </a:lnTo>
                <a:lnTo>
                  <a:pt x="1980645" y="2487407"/>
                </a:lnTo>
                <a:lnTo>
                  <a:pt x="1977606" y="2484917"/>
                </a:lnTo>
                <a:lnTo>
                  <a:pt x="1975110" y="2486975"/>
                </a:lnTo>
                <a:lnTo>
                  <a:pt x="1968925" y="2485783"/>
                </a:lnTo>
                <a:lnTo>
                  <a:pt x="1964150" y="2493146"/>
                </a:lnTo>
                <a:lnTo>
                  <a:pt x="1960026" y="2493579"/>
                </a:lnTo>
                <a:lnTo>
                  <a:pt x="1954167" y="2496935"/>
                </a:lnTo>
                <a:lnTo>
                  <a:pt x="1953949" y="2493146"/>
                </a:lnTo>
                <a:lnTo>
                  <a:pt x="1952214" y="2492171"/>
                </a:lnTo>
                <a:lnTo>
                  <a:pt x="1947439" y="2497693"/>
                </a:lnTo>
                <a:lnTo>
                  <a:pt x="1942881" y="2495420"/>
                </a:lnTo>
                <a:lnTo>
                  <a:pt x="1943098" y="2492279"/>
                </a:lnTo>
                <a:lnTo>
                  <a:pt x="1946571" y="2493362"/>
                </a:lnTo>
                <a:lnTo>
                  <a:pt x="1955035" y="2488382"/>
                </a:lnTo>
                <a:lnTo>
                  <a:pt x="1958942" y="2490655"/>
                </a:lnTo>
                <a:lnTo>
                  <a:pt x="1960135" y="2488382"/>
                </a:lnTo>
                <a:lnTo>
                  <a:pt x="1957422" y="2484809"/>
                </a:lnTo>
                <a:lnTo>
                  <a:pt x="1958073" y="2479287"/>
                </a:lnTo>
                <a:lnTo>
                  <a:pt x="1962414" y="2476905"/>
                </a:lnTo>
                <a:lnTo>
                  <a:pt x="1965886" y="2472683"/>
                </a:lnTo>
                <a:lnTo>
                  <a:pt x="1975978" y="2469867"/>
                </a:lnTo>
                <a:lnTo>
                  <a:pt x="1979668" y="2466512"/>
                </a:lnTo>
                <a:lnTo>
                  <a:pt x="1989651" y="2464129"/>
                </a:lnTo>
                <a:lnTo>
                  <a:pt x="2002673" y="2463480"/>
                </a:lnTo>
                <a:lnTo>
                  <a:pt x="2007557" y="2459474"/>
                </a:lnTo>
                <a:close/>
                <a:moveTo>
                  <a:pt x="6469816" y="2457417"/>
                </a:moveTo>
                <a:lnTo>
                  <a:pt x="6466615" y="2458716"/>
                </a:lnTo>
                <a:lnTo>
                  <a:pt x="6466311" y="2458346"/>
                </a:lnTo>
                <a:lnTo>
                  <a:pt x="6466615" y="2458716"/>
                </a:lnTo>
                <a:close/>
                <a:moveTo>
                  <a:pt x="6474517" y="2457298"/>
                </a:moveTo>
                <a:lnTo>
                  <a:pt x="6477141" y="2459366"/>
                </a:lnTo>
                <a:lnTo>
                  <a:pt x="6477141" y="2459365"/>
                </a:lnTo>
                <a:close/>
                <a:moveTo>
                  <a:pt x="6044060" y="2454908"/>
                </a:moveTo>
                <a:lnTo>
                  <a:pt x="6045028" y="2460881"/>
                </a:lnTo>
                <a:lnTo>
                  <a:pt x="6049225" y="2466863"/>
                </a:lnTo>
                <a:lnTo>
                  <a:pt x="6045029" y="2460881"/>
                </a:lnTo>
                <a:close/>
                <a:moveTo>
                  <a:pt x="6452310" y="2454238"/>
                </a:moveTo>
                <a:lnTo>
                  <a:pt x="6453810" y="2456443"/>
                </a:lnTo>
                <a:lnTo>
                  <a:pt x="6461133" y="2456369"/>
                </a:lnTo>
                <a:lnTo>
                  <a:pt x="6453810" y="2456442"/>
                </a:lnTo>
                <a:close/>
                <a:moveTo>
                  <a:pt x="6446431" y="2452328"/>
                </a:moveTo>
                <a:lnTo>
                  <a:pt x="6446431" y="2452328"/>
                </a:lnTo>
                <a:lnTo>
                  <a:pt x="6450298" y="2453115"/>
                </a:lnTo>
                <a:close/>
                <a:moveTo>
                  <a:pt x="6292229" y="2451354"/>
                </a:moveTo>
                <a:lnTo>
                  <a:pt x="6294182" y="2454385"/>
                </a:lnTo>
                <a:lnTo>
                  <a:pt x="6294942" y="2452545"/>
                </a:lnTo>
                <a:lnTo>
                  <a:pt x="6301670" y="2451679"/>
                </a:lnTo>
                <a:lnTo>
                  <a:pt x="6306552" y="2454710"/>
                </a:lnTo>
                <a:lnTo>
                  <a:pt x="6306552" y="2458391"/>
                </a:lnTo>
                <a:lnTo>
                  <a:pt x="6305767" y="2459959"/>
                </a:lnTo>
                <a:lnTo>
                  <a:pt x="6306553" y="2458391"/>
                </a:lnTo>
                <a:lnTo>
                  <a:pt x="6306553" y="2454710"/>
                </a:lnTo>
                <a:lnTo>
                  <a:pt x="6301670" y="2451678"/>
                </a:lnTo>
                <a:lnTo>
                  <a:pt x="6294942" y="2452544"/>
                </a:lnTo>
                <a:lnTo>
                  <a:pt x="6294182" y="2454385"/>
                </a:lnTo>
                <a:close/>
                <a:moveTo>
                  <a:pt x="6427007" y="2451354"/>
                </a:moveTo>
                <a:lnTo>
                  <a:pt x="6427331" y="2458716"/>
                </a:lnTo>
                <a:lnTo>
                  <a:pt x="6419302" y="2461314"/>
                </a:lnTo>
                <a:lnTo>
                  <a:pt x="6414636" y="2458608"/>
                </a:lnTo>
                <a:lnTo>
                  <a:pt x="6408775" y="2460340"/>
                </a:lnTo>
                <a:lnTo>
                  <a:pt x="6407907" y="2463913"/>
                </a:lnTo>
                <a:lnTo>
                  <a:pt x="6405252" y="2465211"/>
                </a:lnTo>
                <a:lnTo>
                  <a:pt x="6407908" y="2463913"/>
                </a:lnTo>
                <a:lnTo>
                  <a:pt x="6408776" y="2460340"/>
                </a:lnTo>
                <a:lnTo>
                  <a:pt x="6414636" y="2458608"/>
                </a:lnTo>
                <a:lnTo>
                  <a:pt x="6419302" y="2461314"/>
                </a:lnTo>
                <a:lnTo>
                  <a:pt x="6427332" y="2458716"/>
                </a:lnTo>
                <a:close/>
                <a:moveTo>
                  <a:pt x="6154416" y="2451181"/>
                </a:moveTo>
                <a:lnTo>
                  <a:pt x="6154413" y="2451353"/>
                </a:lnTo>
                <a:lnTo>
                  <a:pt x="6154365" y="2452116"/>
                </a:lnTo>
                <a:lnTo>
                  <a:pt x="6154413" y="2451354"/>
                </a:lnTo>
                <a:close/>
                <a:moveTo>
                  <a:pt x="2178580" y="2448106"/>
                </a:moveTo>
                <a:lnTo>
                  <a:pt x="2182812" y="2455685"/>
                </a:lnTo>
                <a:lnTo>
                  <a:pt x="2184114" y="2461532"/>
                </a:lnTo>
                <a:lnTo>
                  <a:pt x="2188346" y="2469110"/>
                </a:lnTo>
                <a:lnTo>
                  <a:pt x="2185308" y="2468785"/>
                </a:lnTo>
                <a:lnTo>
                  <a:pt x="2182486" y="2465212"/>
                </a:lnTo>
                <a:lnTo>
                  <a:pt x="2178471" y="2458824"/>
                </a:lnTo>
                <a:lnTo>
                  <a:pt x="2181076" y="2457092"/>
                </a:lnTo>
                <a:lnTo>
                  <a:pt x="2177929" y="2451030"/>
                </a:lnTo>
                <a:close/>
                <a:moveTo>
                  <a:pt x="6104279" y="2448031"/>
                </a:moveTo>
                <a:lnTo>
                  <a:pt x="6105039" y="2448755"/>
                </a:lnTo>
                <a:lnTo>
                  <a:pt x="6106015" y="2451137"/>
                </a:lnTo>
                <a:lnTo>
                  <a:pt x="6108047" y="2453105"/>
                </a:lnTo>
                <a:lnTo>
                  <a:pt x="6106015" y="2451136"/>
                </a:lnTo>
                <a:lnTo>
                  <a:pt x="6105039" y="2448754"/>
                </a:lnTo>
                <a:close/>
                <a:moveTo>
                  <a:pt x="6287238" y="2447673"/>
                </a:moveTo>
                <a:lnTo>
                  <a:pt x="6287238" y="2447673"/>
                </a:lnTo>
                <a:lnTo>
                  <a:pt x="6293422" y="2449080"/>
                </a:lnTo>
                <a:lnTo>
                  <a:pt x="6293422" y="2449079"/>
                </a:lnTo>
                <a:close/>
                <a:moveTo>
                  <a:pt x="2161542" y="2445940"/>
                </a:moveTo>
                <a:lnTo>
                  <a:pt x="2164472" y="2449838"/>
                </a:lnTo>
                <a:lnTo>
                  <a:pt x="2160674" y="2449838"/>
                </a:lnTo>
                <a:close/>
                <a:moveTo>
                  <a:pt x="6441331" y="2445073"/>
                </a:moveTo>
                <a:lnTo>
                  <a:pt x="6437966" y="2448430"/>
                </a:lnTo>
                <a:lnTo>
                  <a:pt x="6432215" y="2448430"/>
                </a:lnTo>
                <a:lnTo>
                  <a:pt x="6428901" y="2450291"/>
                </a:lnTo>
                <a:lnTo>
                  <a:pt x="6432215" y="2448431"/>
                </a:lnTo>
                <a:lnTo>
                  <a:pt x="6437967" y="2448431"/>
                </a:lnTo>
                <a:lnTo>
                  <a:pt x="6441331" y="2445074"/>
                </a:lnTo>
                <a:lnTo>
                  <a:pt x="6444731" y="2447889"/>
                </a:lnTo>
                <a:close/>
                <a:moveTo>
                  <a:pt x="6120427" y="2442906"/>
                </a:moveTo>
                <a:lnTo>
                  <a:pt x="6122510" y="2444316"/>
                </a:lnTo>
                <a:lnTo>
                  <a:pt x="6126633" y="2443991"/>
                </a:lnTo>
                <a:lnTo>
                  <a:pt x="6126633" y="2443991"/>
                </a:lnTo>
                <a:lnTo>
                  <a:pt x="6122510" y="2444315"/>
                </a:lnTo>
                <a:close/>
                <a:moveTo>
                  <a:pt x="6119470" y="2442258"/>
                </a:moveTo>
                <a:lnTo>
                  <a:pt x="6117300" y="2443991"/>
                </a:lnTo>
                <a:lnTo>
                  <a:pt x="6118711" y="2446264"/>
                </a:lnTo>
                <a:lnTo>
                  <a:pt x="6117409" y="2448430"/>
                </a:lnTo>
                <a:lnTo>
                  <a:pt x="6117300" y="2451028"/>
                </a:lnTo>
                <a:lnTo>
                  <a:pt x="6114804" y="2454601"/>
                </a:lnTo>
                <a:lnTo>
                  <a:pt x="6116324" y="2455792"/>
                </a:lnTo>
                <a:lnTo>
                  <a:pt x="6115890" y="2459581"/>
                </a:lnTo>
                <a:lnTo>
                  <a:pt x="6113503" y="2459689"/>
                </a:lnTo>
                <a:lnTo>
                  <a:pt x="6113503" y="2459690"/>
                </a:lnTo>
                <a:lnTo>
                  <a:pt x="6115890" y="2459582"/>
                </a:lnTo>
                <a:lnTo>
                  <a:pt x="6116325" y="2455793"/>
                </a:lnTo>
                <a:lnTo>
                  <a:pt x="6114805" y="2454601"/>
                </a:lnTo>
                <a:lnTo>
                  <a:pt x="6117301" y="2451028"/>
                </a:lnTo>
                <a:lnTo>
                  <a:pt x="6117409" y="2448430"/>
                </a:lnTo>
                <a:lnTo>
                  <a:pt x="6118712" y="2446265"/>
                </a:lnTo>
                <a:lnTo>
                  <a:pt x="6117301" y="2443991"/>
                </a:lnTo>
                <a:lnTo>
                  <a:pt x="6119471" y="2442259"/>
                </a:lnTo>
                <a:close/>
                <a:moveTo>
                  <a:pt x="4181146" y="2438686"/>
                </a:moveTo>
                <a:lnTo>
                  <a:pt x="4181146" y="2438686"/>
                </a:lnTo>
                <a:lnTo>
                  <a:pt x="4190804" y="2438686"/>
                </a:lnTo>
                <a:lnTo>
                  <a:pt x="4199703" y="2439336"/>
                </a:lnTo>
                <a:lnTo>
                  <a:pt x="4199702" y="2439335"/>
                </a:lnTo>
                <a:lnTo>
                  <a:pt x="4190804" y="2438686"/>
                </a:lnTo>
                <a:close/>
                <a:moveTo>
                  <a:pt x="5155080" y="2436532"/>
                </a:moveTo>
                <a:lnTo>
                  <a:pt x="5154865" y="2444532"/>
                </a:lnTo>
                <a:lnTo>
                  <a:pt x="5160617" y="2451354"/>
                </a:lnTo>
                <a:lnTo>
                  <a:pt x="5165826" y="2469976"/>
                </a:lnTo>
                <a:lnTo>
                  <a:pt x="5235819" y="2480695"/>
                </a:lnTo>
                <a:lnTo>
                  <a:pt x="5243795" y="2473274"/>
                </a:lnTo>
                <a:lnTo>
                  <a:pt x="5243795" y="2473274"/>
                </a:lnTo>
                <a:lnTo>
                  <a:pt x="5235819" y="2480694"/>
                </a:lnTo>
                <a:lnTo>
                  <a:pt x="5165826" y="2469975"/>
                </a:lnTo>
                <a:lnTo>
                  <a:pt x="5160617" y="2451353"/>
                </a:lnTo>
                <a:lnTo>
                  <a:pt x="5154866" y="2444532"/>
                </a:lnTo>
                <a:close/>
                <a:moveTo>
                  <a:pt x="2198764" y="2436087"/>
                </a:moveTo>
                <a:lnTo>
                  <a:pt x="2200391" y="2439226"/>
                </a:lnTo>
                <a:lnTo>
                  <a:pt x="2198221" y="2443124"/>
                </a:lnTo>
                <a:lnTo>
                  <a:pt x="2195834" y="2440959"/>
                </a:lnTo>
                <a:close/>
                <a:moveTo>
                  <a:pt x="6284849" y="2435654"/>
                </a:moveTo>
                <a:lnTo>
                  <a:pt x="6278697" y="2437163"/>
                </a:lnTo>
                <a:lnTo>
                  <a:pt x="6284849" y="2435655"/>
                </a:lnTo>
                <a:lnTo>
                  <a:pt x="6286043" y="2439769"/>
                </a:lnTo>
                <a:lnTo>
                  <a:pt x="6285377" y="2441575"/>
                </a:lnTo>
                <a:lnTo>
                  <a:pt x="6286044" y="2439769"/>
                </a:lnTo>
                <a:close/>
                <a:moveTo>
                  <a:pt x="6719133" y="2435546"/>
                </a:moveTo>
                <a:lnTo>
                  <a:pt x="6722064" y="2438361"/>
                </a:lnTo>
                <a:lnTo>
                  <a:pt x="6720435" y="2439768"/>
                </a:lnTo>
                <a:lnTo>
                  <a:pt x="6716203" y="2439551"/>
                </a:lnTo>
                <a:lnTo>
                  <a:pt x="6715552" y="2437278"/>
                </a:lnTo>
                <a:close/>
                <a:moveTo>
                  <a:pt x="4178477" y="2435502"/>
                </a:moveTo>
                <a:lnTo>
                  <a:pt x="4178650" y="2436195"/>
                </a:lnTo>
                <a:lnTo>
                  <a:pt x="4181018" y="2438558"/>
                </a:lnTo>
                <a:lnTo>
                  <a:pt x="4178650" y="2436195"/>
                </a:lnTo>
                <a:close/>
                <a:moveTo>
                  <a:pt x="2125732" y="2435222"/>
                </a:moveTo>
                <a:lnTo>
                  <a:pt x="2127577" y="2437171"/>
                </a:lnTo>
                <a:lnTo>
                  <a:pt x="2127033" y="2440527"/>
                </a:lnTo>
                <a:lnTo>
                  <a:pt x="2128336" y="2443559"/>
                </a:lnTo>
                <a:lnTo>
                  <a:pt x="2126166" y="2447781"/>
                </a:lnTo>
                <a:lnTo>
                  <a:pt x="2122151" y="2448539"/>
                </a:lnTo>
                <a:lnTo>
                  <a:pt x="2119764" y="2442693"/>
                </a:lnTo>
                <a:lnTo>
                  <a:pt x="2119547" y="2438579"/>
                </a:lnTo>
                <a:close/>
                <a:moveTo>
                  <a:pt x="6275734" y="2434788"/>
                </a:moveTo>
                <a:lnTo>
                  <a:pt x="6275734" y="2434789"/>
                </a:lnTo>
                <a:lnTo>
                  <a:pt x="6278664" y="2437171"/>
                </a:lnTo>
                <a:lnTo>
                  <a:pt x="6278665" y="2437170"/>
                </a:lnTo>
                <a:close/>
                <a:moveTo>
                  <a:pt x="2119981" y="2433706"/>
                </a:moveTo>
                <a:lnTo>
                  <a:pt x="2120415" y="2436738"/>
                </a:lnTo>
                <a:lnTo>
                  <a:pt x="2117811" y="2435547"/>
                </a:lnTo>
                <a:close/>
                <a:moveTo>
                  <a:pt x="6151592" y="2433380"/>
                </a:moveTo>
                <a:lnTo>
                  <a:pt x="6151592" y="2433381"/>
                </a:lnTo>
                <a:lnTo>
                  <a:pt x="6156692" y="2433706"/>
                </a:lnTo>
                <a:lnTo>
                  <a:pt x="6160815" y="2435114"/>
                </a:lnTo>
                <a:lnTo>
                  <a:pt x="6167109" y="2435005"/>
                </a:lnTo>
                <a:lnTo>
                  <a:pt x="6167109" y="2435004"/>
                </a:lnTo>
                <a:lnTo>
                  <a:pt x="6160815" y="2435112"/>
                </a:lnTo>
                <a:lnTo>
                  <a:pt x="6156692" y="2433705"/>
                </a:lnTo>
                <a:close/>
                <a:moveTo>
                  <a:pt x="6038941" y="2430952"/>
                </a:moveTo>
                <a:lnTo>
                  <a:pt x="6042424" y="2435328"/>
                </a:lnTo>
                <a:lnTo>
                  <a:pt x="6042424" y="2443232"/>
                </a:lnTo>
                <a:lnTo>
                  <a:pt x="6044594" y="2449295"/>
                </a:lnTo>
                <a:lnTo>
                  <a:pt x="6043835" y="2453518"/>
                </a:lnTo>
                <a:lnTo>
                  <a:pt x="6043835" y="2453519"/>
                </a:lnTo>
                <a:lnTo>
                  <a:pt x="6044595" y="2449296"/>
                </a:lnTo>
                <a:lnTo>
                  <a:pt x="6042425" y="2443233"/>
                </a:lnTo>
                <a:lnTo>
                  <a:pt x="6042425" y="2435329"/>
                </a:lnTo>
                <a:close/>
                <a:moveTo>
                  <a:pt x="2125298" y="2430782"/>
                </a:moveTo>
                <a:lnTo>
                  <a:pt x="2122585" y="2434355"/>
                </a:lnTo>
                <a:lnTo>
                  <a:pt x="2121066" y="2432081"/>
                </a:lnTo>
                <a:close/>
                <a:moveTo>
                  <a:pt x="6276276" y="2428075"/>
                </a:moveTo>
                <a:lnTo>
                  <a:pt x="6265425" y="2430349"/>
                </a:lnTo>
                <a:lnTo>
                  <a:pt x="6259674" y="2434463"/>
                </a:lnTo>
                <a:lnTo>
                  <a:pt x="6257395" y="2428941"/>
                </a:lnTo>
                <a:lnTo>
                  <a:pt x="6257395" y="2428941"/>
                </a:lnTo>
                <a:lnTo>
                  <a:pt x="6259674" y="2434463"/>
                </a:lnTo>
                <a:lnTo>
                  <a:pt x="6265425" y="2430349"/>
                </a:lnTo>
                <a:lnTo>
                  <a:pt x="6276276" y="2428076"/>
                </a:lnTo>
                <a:close/>
                <a:moveTo>
                  <a:pt x="5617697" y="2426453"/>
                </a:moveTo>
                <a:lnTo>
                  <a:pt x="5618341" y="2427208"/>
                </a:lnTo>
                <a:lnTo>
                  <a:pt x="5618341" y="2427208"/>
                </a:lnTo>
                <a:close/>
                <a:moveTo>
                  <a:pt x="5608140" y="2425909"/>
                </a:moveTo>
                <a:lnTo>
                  <a:pt x="5602714" y="2427533"/>
                </a:lnTo>
                <a:lnTo>
                  <a:pt x="5602063" y="2428219"/>
                </a:lnTo>
                <a:lnTo>
                  <a:pt x="5602714" y="2427534"/>
                </a:lnTo>
                <a:lnTo>
                  <a:pt x="5608140" y="2425909"/>
                </a:lnTo>
                <a:close/>
                <a:moveTo>
                  <a:pt x="6171356" y="2424012"/>
                </a:moveTo>
                <a:lnTo>
                  <a:pt x="6170907" y="2426018"/>
                </a:lnTo>
                <a:lnTo>
                  <a:pt x="6169759" y="2428735"/>
                </a:lnTo>
                <a:lnTo>
                  <a:pt x="6170907" y="2426018"/>
                </a:lnTo>
                <a:close/>
                <a:moveTo>
                  <a:pt x="2172611" y="2422878"/>
                </a:moveTo>
                <a:lnTo>
                  <a:pt x="2177277" y="2426343"/>
                </a:lnTo>
                <a:lnTo>
                  <a:pt x="2178579" y="2431431"/>
                </a:lnTo>
                <a:lnTo>
                  <a:pt x="2182268" y="2438144"/>
                </a:lnTo>
                <a:lnTo>
                  <a:pt x="2182051" y="2440959"/>
                </a:lnTo>
                <a:lnTo>
                  <a:pt x="2176409" y="2441392"/>
                </a:lnTo>
                <a:lnTo>
                  <a:pt x="2174347" y="2438794"/>
                </a:lnTo>
                <a:lnTo>
                  <a:pt x="2176409" y="2436520"/>
                </a:lnTo>
                <a:lnTo>
                  <a:pt x="2175432" y="2430024"/>
                </a:lnTo>
                <a:lnTo>
                  <a:pt x="2171743" y="2425802"/>
                </a:lnTo>
                <a:close/>
                <a:moveTo>
                  <a:pt x="6256881" y="2422123"/>
                </a:moveTo>
                <a:lnTo>
                  <a:pt x="6258155" y="2423312"/>
                </a:lnTo>
                <a:lnTo>
                  <a:pt x="6258155" y="2423312"/>
                </a:lnTo>
                <a:close/>
                <a:moveTo>
                  <a:pt x="1651839" y="2419197"/>
                </a:moveTo>
                <a:lnTo>
                  <a:pt x="1652056" y="2422770"/>
                </a:lnTo>
                <a:lnTo>
                  <a:pt x="1649778" y="2426885"/>
                </a:lnTo>
                <a:close/>
                <a:moveTo>
                  <a:pt x="1347667" y="2417682"/>
                </a:moveTo>
                <a:lnTo>
                  <a:pt x="1350055" y="2418331"/>
                </a:lnTo>
                <a:lnTo>
                  <a:pt x="1349404" y="2420931"/>
                </a:lnTo>
                <a:lnTo>
                  <a:pt x="1347342" y="2420713"/>
                </a:lnTo>
                <a:close/>
                <a:moveTo>
                  <a:pt x="6249039" y="2415408"/>
                </a:moveTo>
                <a:lnTo>
                  <a:pt x="6249039" y="2415408"/>
                </a:lnTo>
                <a:lnTo>
                  <a:pt x="6253054" y="2417032"/>
                </a:lnTo>
                <a:lnTo>
                  <a:pt x="6253563" y="2417953"/>
                </a:lnTo>
                <a:lnTo>
                  <a:pt x="6253054" y="2417032"/>
                </a:lnTo>
                <a:close/>
                <a:moveTo>
                  <a:pt x="1653142" y="2413134"/>
                </a:moveTo>
                <a:lnTo>
                  <a:pt x="1654445" y="2413134"/>
                </a:lnTo>
                <a:lnTo>
                  <a:pt x="1653251" y="2417140"/>
                </a:lnTo>
                <a:lnTo>
                  <a:pt x="1652600" y="2416490"/>
                </a:lnTo>
                <a:close/>
                <a:moveTo>
                  <a:pt x="6878545" y="2410536"/>
                </a:moveTo>
                <a:lnTo>
                  <a:pt x="6879738" y="2413459"/>
                </a:lnTo>
                <a:lnTo>
                  <a:pt x="6878111" y="2415083"/>
                </a:lnTo>
                <a:lnTo>
                  <a:pt x="6874856" y="2415083"/>
                </a:lnTo>
                <a:lnTo>
                  <a:pt x="6875832" y="2410644"/>
                </a:lnTo>
                <a:close/>
                <a:moveTo>
                  <a:pt x="2116182" y="2410536"/>
                </a:moveTo>
                <a:lnTo>
                  <a:pt x="2119437" y="2411835"/>
                </a:lnTo>
                <a:lnTo>
                  <a:pt x="2120523" y="2417465"/>
                </a:lnTo>
                <a:lnTo>
                  <a:pt x="2124646" y="2424935"/>
                </a:lnTo>
                <a:lnTo>
                  <a:pt x="2119004" y="2428725"/>
                </a:lnTo>
                <a:lnTo>
                  <a:pt x="2117918" y="2424502"/>
                </a:lnTo>
                <a:lnTo>
                  <a:pt x="2113903" y="2426668"/>
                </a:lnTo>
                <a:lnTo>
                  <a:pt x="2110648" y="2423528"/>
                </a:lnTo>
                <a:lnTo>
                  <a:pt x="2114338" y="2416924"/>
                </a:lnTo>
                <a:close/>
                <a:moveTo>
                  <a:pt x="2135173" y="2408262"/>
                </a:moveTo>
                <a:lnTo>
                  <a:pt x="2140708" y="2409561"/>
                </a:lnTo>
                <a:lnTo>
                  <a:pt x="2138755" y="2413135"/>
                </a:lnTo>
                <a:lnTo>
                  <a:pt x="2132243" y="2413026"/>
                </a:lnTo>
                <a:lnTo>
                  <a:pt x="2129205" y="2411510"/>
                </a:lnTo>
                <a:close/>
                <a:moveTo>
                  <a:pt x="1655854" y="2407288"/>
                </a:moveTo>
                <a:lnTo>
                  <a:pt x="1654986" y="2409994"/>
                </a:lnTo>
                <a:lnTo>
                  <a:pt x="1653576" y="2410645"/>
                </a:lnTo>
                <a:lnTo>
                  <a:pt x="1654226" y="2407396"/>
                </a:lnTo>
                <a:close/>
                <a:moveTo>
                  <a:pt x="6885489" y="2406746"/>
                </a:moveTo>
                <a:lnTo>
                  <a:pt x="6887767" y="2408803"/>
                </a:lnTo>
                <a:lnTo>
                  <a:pt x="6886466" y="2413134"/>
                </a:lnTo>
                <a:lnTo>
                  <a:pt x="6883970" y="2412484"/>
                </a:lnTo>
                <a:lnTo>
                  <a:pt x="6882885" y="2409452"/>
                </a:lnTo>
                <a:close/>
                <a:moveTo>
                  <a:pt x="6249960" y="2405926"/>
                </a:moveTo>
                <a:lnTo>
                  <a:pt x="6251209" y="2407829"/>
                </a:lnTo>
                <a:lnTo>
                  <a:pt x="6249583" y="2410506"/>
                </a:lnTo>
                <a:lnTo>
                  <a:pt x="6251210" y="2407829"/>
                </a:lnTo>
                <a:close/>
                <a:moveTo>
                  <a:pt x="6120773" y="2404688"/>
                </a:moveTo>
                <a:lnTo>
                  <a:pt x="6120774" y="2404689"/>
                </a:lnTo>
                <a:lnTo>
                  <a:pt x="6122419" y="2405435"/>
                </a:lnTo>
                <a:close/>
                <a:moveTo>
                  <a:pt x="2153404" y="2402523"/>
                </a:moveTo>
                <a:lnTo>
                  <a:pt x="2160024" y="2406313"/>
                </a:lnTo>
                <a:lnTo>
                  <a:pt x="2164256" y="2412376"/>
                </a:lnTo>
                <a:lnTo>
                  <a:pt x="2162303" y="2419847"/>
                </a:lnTo>
                <a:lnTo>
                  <a:pt x="2159698" y="2420605"/>
                </a:lnTo>
                <a:lnTo>
                  <a:pt x="2157637" y="2418223"/>
                </a:lnTo>
                <a:lnTo>
                  <a:pt x="2160458" y="2416707"/>
                </a:lnTo>
                <a:lnTo>
                  <a:pt x="2162085" y="2413134"/>
                </a:lnTo>
                <a:lnTo>
                  <a:pt x="2158505" y="2408153"/>
                </a:lnTo>
                <a:lnTo>
                  <a:pt x="2152862" y="2405988"/>
                </a:lnTo>
                <a:close/>
                <a:moveTo>
                  <a:pt x="6116649" y="2400465"/>
                </a:moveTo>
                <a:lnTo>
                  <a:pt x="6113937" y="2401116"/>
                </a:lnTo>
                <a:lnTo>
                  <a:pt x="6113937" y="2401116"/>
                </a:lnTo>
                <a:lnTo>
                  <a:pt x="6116649" y="2400466"/>
                </a:lnTo>
                <a:lnTo>
                  <a:pt x="6120345" y="2404249"/>
                </a:lnTo>
                <a:close/>
                <a:moveTo>
                  <a:pt x="5607164" y="2400249"/>
                </a:moveTo>
                <a:lnTo>
                  <a:pt x="5607164" y="2400249"/>
                </a:lnTo>
                <a:lnTo>
                  <a:pt x="5611830" y="2406421"/>
                </a:lnTo>
                <a:lnTo>
                  <a:pt x="5612556" y="2408490"/>
                </a:lnTo>
                <a:lnTo>
                  <a:pt x="5611830" y="2406420"/>
                </a:lnTo>
                <a:close/>
                <a:moveTo>
                  <a:pt x="6035153" y="2400249"/>
                </a:moveTo>
                <a:lnTo>
                  <a:pt x="6031681" y="2402306"/>
                </a:lnTo>
                <a:lnTo>
                  <a:pt x="6029619" y="2408694"/>
                </a:lnTo>
                <a:lnTo>
                  <a:pt x="6025170" y="2409669"/>
                </a:lnTo>
                <a:lnTo>
                  <a:pt x="6024953" y="2419196"/>
                </a:lnTo>
                <a:lnTo>
                  <a:pt x="6025170" y="2409669"/>
                </a:lnTo>
                <a:lnTo>
                  <a:pt x="6029619" y="2408694"/>
                </a:lnTo>
                <a:lnTo>
                  <a:pt x="6031681" y="2402306"/>
                </a:lnTo>
                <a:lnTo>
                  <a:pt x="6035154" y="2400249"/>
                </a:lnTo>
                <a:close/>
                <a:moveTo>
                  <a:pt x="6041231" y="2398841"/>
                </a:moveTo>
                <a:lnTo>
                  <a:pt x="6038083" y="2401332"/>
                </a:lnTo>
                <a:lnTo>
                  <a:pt x="6035634" y="2400427"/>
                </a:lnTo>
                <a:lnTo>
                  <a:pt x="6038083" y="2401332"/>
                </a:lnTo>
                <a:lnTo>
                  <a:pt x="6041231" y="2398842"/>
                </a:lnTo>
                <a:close/>
                <a:moveTo>
                  <a:pt x="6073336" y="2398778"/>
                </a:moveTo>
                <a:lnTo>
                  <a:pt x="6077042" y="2400466"/>
                </a:lnTo>
                <a:lnTo>
                  <a:pt x="6083227" y="2400466"/>
                </a:lnTo>
                <a:lnTo>
                  <a:pt x="6092885" y="2399708"/>
                </a:lnTo>
                <a:lnTo>
                  <a:pt x="6100156" y="2400575"/>
                </a:lnTo>
                <a:lnTo>
                  <a:pt x="6108186" y="2400249"/>
                </a:lnTo>
                <a:lnTo>
                  <a:pt x="6112200" y="2399925"/>
                </a:lnTo>
                <a:lnTo>
                  <a:pt x="6112200" y="2399924"/>
                </a:lnTo>
                <a:lnTo>
                  <a:pt x="6108185" y="2400249"/>
                </a:lnTo>
                <a:lnTo>
                  <a:pt x="6100155" y="2400574"/>
                </a:lnTo>
                <a:lnTo>
                  <a:pt x="6092884" y="2399708"/>
                </a:lnTo>
                <a:lnTo>
                  <a:pt x="6083227" y="2400465"/>
                </a:lnTo>
                <a:lnTo>
                  <a:pt x="6077041" y="2400465"/>
                </a:lnTo>
                <a:close/>
                <a:moveTo>
                  <a:pt x="1342350" y="2398193"/>
                </a:moveTo>
                <a:lnTo>
                  <a:pt x="1345063" y="2401982"/>
                </a:lnTo>
                <a:lnTo>
                  <a:pt x="1345823" y="2405447"/>
                </a:lnTo>
                <a:lnTo>
                  <a:pt x="1343219" y="2407179"/>
                </a:lnTo>
                <a:lnTo>
                  <a:pt x="1342350" y="2402307"/>
                </a:lnTo>
                <a:lnTo>
                  <a:pt x="1341157" y="2400250"/>
                </a:lnTo>
                <a:close/>
                <a:moveTo>
                  <a:pt x="6072049" y="2398192"/>
                </a:moveTo>
                <a:lnTo>
                  <a:pt x="6067600" y="2398517"/>
                </a:lnTo>
                <a:lnTo>
                  <a:pt x="6067601" y="2398517"/>
                </a:lnTo>
                <a:lnTo>
                  <a:pt x="6072050" y="2398192"/>
                </a:lnTo>
                <a:close/>
                <a:moveTo>
                  <a:pt x="3663630" y="2396893"/>
                </a:moveTo>
                <a:lnTo>
                  <a:pt x="3663017" y="2432455"/>
                </a:lnTo>
                <a:lnTo>
                  <a:pt x="3663630" y="2396894"/>
                </a:lnTo>
                <a:lnTo>
                  <a:pt x="3739375" y="2398193"/>
                </a:lnTo>
                <a:lnTo>
                  <a:pt x="3739375" y="2398192"/>
                </a:lnTo>
                <a:close/>
                <a:moveTo>
                  <a:pt x="6063042" y="2396784"/>
                </a:moveTo>
                <a:lnTo>
                  <a:pt x="6063042" y="2396785"/>
                </a:lnTo>
                <a:lnTo>
                  <a:pt x="6066838" y="2398227"/>
                </a:lnTo>
                <a:close/>
                <a:moveTo>
                  <a:pt x="5607346" y="2396127"/>
                </a:moveTo>
                <a:lnTo>
                  <a:pt x="5608357" y="2397001"/>
                </a:lnTo>
                <a:lnTo>
                  <a:pt x="5607336" y="2399781"/>
                </a:lnTo>
                <a:lnTo>
                  <a:pt x="5608358" y="2397001"/>
                </a:lnTo>
                <a:close/>
                <a:moveTo>
                  <a:pt x="6905348" y="2393104"/>
                </a:moveTo>
                <a:lnTo>
                  <a:pt x="6910774" y="2395702"/>
                </a:lnTo>
                <a:lnTo>
                  <a:pt x="6909905" y="2400141"/>
                </a:lnTo>
                <a:lnTo>
                  <a:pt x="6906650" y="2399816"/>
                </a:lnTo>
                <a:lnTo>
                  <a:pt x="6904805" y="2398085"/>
                </a:lnTo>
                <a:close/>
                <a:moveTo>
                  <a:pt x="5594507" y="2390786"/>
                </a:moveTo>
                <a:lnTo>
                  <a:pt x="5600436" y="2394619"/>
                </a:lnTo>
                <a:lnTo>
                  <a:pt x="5605102" y="2394186"/>
                </a:lnTo>
                <a:lnTo>
                  <a:pt x="5605102" y="2394186"/>
                </a:lnTo>
                <a:lnTo>
                  <a:pt x="5600436" y="2394619"/>
                </a:lnTo>
                <a:close/>
                <a:moveTo>
                  <a:pt x="6040796" y="2389747"/>
                </a:moveTo>
                <a:lnTo>
                  <a:pt x="6039820" y="2392670"/>
                </a:lnTo>
                <a:lnTo>
                  <a:pt x="6039820" y="2392670"/>
                </a:lnTo>
                <a:close/>
                <a:moveTo>
                  <a:pt x="5591646" y="2380868"/>
                </a:moveTo>
                <a:lnTo>
                  <a:pt x="5591646" y="2380869"/>
                </a:lnTo>
                <a:lnTo>
                  <a:pt x="5591711" y="2381391"/>
                </a:lnTo>
                <a:close/>
                <a:moveTo>
                  <a:pt x="6814519" y="2378488"/>
                </a:moveTo>
                <a:lnTo>
                  <a:pt x="6819837" y="2380329"/>
                </a:lnTo>
                <a:lnTo>
                  <a:pt x="6822441" y="2385742"/>
                </a:lnTo>
                <a:lnTo>
                  <a:pt x="6823960" y="2385742"/>
                </a:lnTo>
                <a:lnTo>
                  <a:pt x="6828083" y="2388774"/>
                </a:lnTo>
                <a:lnTo>
                  <a:pt x="6828952" y="2392888"/>
                </a:lnTo>
                <a:lnTo>
                  <a:pt x="6827216" y="2393213"/>
                </a:lnTo>
                <a:lnTo>
                  <a:pt x="6825696" y="2399601"/>
                </a:lnTo>
                <a:lnTo>
                  <a:pt x="6824503" y="2412052"/>
                </a:lnTo>
                <a:lnTo>
                  <a:pt x="6821898" y="2417032"/>
                </a:lnTo>
                <a:lnTo>
                  <a:pt x="6822983" y="2423853"/>
                </a:lnTo>
                <a:lnTo>
                  <a:pt x="6822441" y="2430242"/>
                </a:lnTo>
                <a:lnTo>
                  <a:pt x="6821030" y="2439336"/>
                </a:lnTo>
                <a:lnTo>
                  <a:pt x="6823310" y="2440203"/>
                </a:lnTo>
                <a:lnTo>
                  <a:pt x="6821573" y="2441935"/>
                </a:lnTo>
                <a:lnTo>
                  <a:pt x="6821356" y="2447781"/>
                </a:lnTo>
                <a:lnTo>
                  <a:pt x="6815387" y="2456877"/>
                </a:lnTo>
                <a:lnTo>
                  <a:pt x="6811372" y="2462181"/>
                </a:lnTo>
                <a:lnTo>
                  <a:pt x="6813760" y="2469219"/>
                </a:lnTo>
                <a:lnTo>
                  <a:pt x="6812566" y="2474957"/>
                </a:lnTo>
                <a:lnTo>
                  <a:pt x="6813651" y="2479722"/>
                </a:lnTo>
                <a:lnTo>
                  <a:pt x="6810179" y="2478530"/>
                </a:lnTo>
                <a:lnTo>
                  <a:pt x="6806706" y="2479722"/>
                </a:lnTo>
                <a:lnTo>
                  <a:pt x="6806380" y="2475824"/>
                </a:lnTo>
                <a:lnTo>
                  <a:pt x="6806706" y="2470302"/>
                </a:lnTo>
                <a:lnTo>
                  <a:pt x="6803343" y="2465105"/>
                </a:lnTo>
                <a:lnTo>
                  <a:pt x="6796615" y="2462940"/>
                </a:lnTo>
                <a:lnTo>
                  <a:pt x="6795855" y="2459800"/>
                </a:lnTo>
                <a:lnTo>
                  <a:pt x="6793359" y="2459150"/>
                </a:lnTo>
                <a:lnTo>
                  <a:pt x="6790755" y="2455144"/>
                </a:lnTo>
                <a:lnTo>
                  <a:pt x="6790863" y="2452220"/>
                </a:lnTo>
                <a:lnTo>
                  <a:pt x="6791949" y="2451896"/>
                </a:lnTo>
                <a:lnTo>
                  <a:pt x="6791297" y="2449189"/>
                </a:lnTo>
                <a:lnTo>
                  <a:pt x="6788801" y="2447565"/>
                </a:lnTo>
                <a:lnTo>
                  <a:pt x="6788150" y="2437929"/>
                </a:lnTo>
                <a:lnTo>
                  <a:pt x="6787933" y="2428618"/>
                </a:lnTo>
                <a:lnTo>
                  <a:pt x="6786414" y="2426452"/>
                </a:lnTo>
                <a:lnTo>
                  <a:pt x="6788150" y="2425045"/>
                </a:lnTo>
                <a:lnTo>
                  <a:pt x="6790755" y="2415625"/>
                </a:lnTo>
                <a:lnTo>
                  <a:pt x="6795855" y="2406530"/>
                </a:lnTo>
                <a:lnTo>
                  <a:pt x="6797916" y="2404581"/>
                </a:lnTo>
                <a:lnTo>
                  <a:pt x="6798785" y="2401333"/>
                </a:lnTo>
                <a:lnTo>
                  <a:pt x="6797591" y="2399168"/>
                </a:lnTo>
                <a:lnTo>
                  <a:pt x="6802474" y="2390831"/>
                </a:lnTo>
                <a:lnTo>
                  <a:pt x="6807574" y="2384984"/>
                </a:lnTo>
                <a:lnTo>
                  <a:pt x="6811915" y="2383469"/>
                </a:lnTo>
                <a:lnTo>
                  <a:pt x="6811372" y="2380220"/>
                </a:lnTo>
                <a:close/>
                <a:moveTo>
                  <a:pt x="5398702" y="2378272"/>
                </a:moveTo>
                <a:lnTo>
                  <a:pt x="5396206" y="2382927"/>
                </a:lnTo>
                <a:lnTo>
                  <a:pt x="5397509" y="2387041"/>
                </a:lnTo>
                <a:lnTo>
                  <a:pt x="5397510" y="2387040"/>
                </a:lnTo>
                <a:lnTo>
                  <a:pt x="5396207" y="2382926"/>
                </a:lnTo>
                <a:close/>
                <a:moveTo>
                  <a:pt x="6182302" y="2376647"/>
                </a:moveTo>
                <a:lnTo>
                  <a:pt x="6179046" y="2386174"/>
                </a:lnTo>
                <a:lnTo>
                  <a:pt x="6176484" y="2390297"/>
                </a:lnTo>
                <a:lnTo>
                  <a:pt x="6179046" y="2386175"/>
                </a:lnTo>
                <a:lnTo>
                  <a:pt x="6182302" y="2376647"/>
                </a:lnTo>
                <a:close/>
                <a:moveTo>
                  <a:pt x="6768400" y="2374699"/>
                </a:moveTo>
                <a:lnTo>
                  <a:pt x="6770136" y="2376540"/>
                </a:lnTo>
                <a:lnTo>
                  <a:pt x="6770028" y="2380005"/>
                </a:lnTo>
                <a:lnTo>
                  <a:pt x="6767532" y="2380871"/>
                </a:lnTo>
                <a:lnTo>
                  <a:pt x="6766555" y="2375565"/>
                </a:lnTo>
                <a:close/>
                <a:moveTo>
                  <a:pt x="6036022" y="2374264"/>
                </a:moveTo>
                <a:lnTo>
                  <a:pt x="6036022" y="2374264"/>
                </a:lnTo>
                <a:lnTo>
                  <a:pt x="6041013" y="2374914"/>
                </a:lnTo>
                <a:lnTo>
                  <a:pt x="6041014" y="2374914"/>
                </a:lnTo>
                <a:close/>
                <a:moveTo>
                  <a:pt x="5407327" y="2373875"/>
                </a:moveTo>
                <a:lnTo>
                  <a:pt x="5405973" y="2375348"/>
                </a:lnTo>
                <a:lnTo>
                  <a:pt x="5405974" y="2375347"/>
                </a:lnTo>
                <a:close/>
                <a:moveTo>
                  <a:pt x="6040037" y="2371666"/>
                </a:moveTo>
                <a:lnTo>
                  <a:pt x="6043400" y="2373723"/>
                </a:lnTo>
                <a:lnTo>
                  <a:pt x="6041549" y="2374647"/>
                </a:lnTo>
                <a:lnTo>
                  <a:pt x="6043401" y="2373723"/>
                </a:lnTo>
                <a:close/>
                <a:moveTo>
                  <a:pt x="6045788" y="2371435"/>
                </a:moveTo>
                <a:lnTo>
                  <a:pt x="6046548" y="2372099"/>
                </a:lnTo>
                <a:lnTo>
                  <a:pt x="6048935" y="2374481"/>
                </a:lnTo>
                <a:lnTo>
                  <a:pt x="6053601" y="2375996"/>
                </a:lnTo>
                <a:lnTo>
                  <a:pt x="6053927" y="2374264"/>
                </a:lnTo>
                <a:lnTo>
                  <a:pt x="6056314" y="2373723"/>
                </a:lnTo>
                <a:lnTo>
                  <a:pt x="6059678" y="2379570"/>
                </a:lnTo>
                <a:lnTo>
                  <a:pt x="6060655" y="2385308"/>
                </a:lnTo>
                <a:lnTo>
                  <a:pt x="6061306" y="2388231"/>
                </a:lnTo>
                <a:lnTo>
                  <a:pt x="6063259" y="2393320"/>
                </a:lnTo>
                <a:lnTo>
                  <a:pt x="6063259" y="2393320"/>
                </a:lnTo>
                <a:lnTo>
                  <a:pt x="6061306" y="2388231"/>
                </a:lnTo>
                <a:lnTo>
                  <a:pt x="6060655" y="2385308"/>
                </a:lnTo>
                <a:lnTo>
                  <a:pt x="6059678" y="2379569"/>
                </a:lnTo>
                <a:lnTo>
                  <a:pt x="6056314" y="2373723"/>
                </a:lnTo>
                <a:lnTo>
                  <a:pt x="6053927" y="2374264"/>
                </a:lnTo>
                <a:lnTo>
                  <a:pt x="6053601" y="2375996"/>
                </a:lnTo>
                <a:lnTo>
                  <a:pt x="6048935" y="2374480"/>
                </a:lnTo>
                <a:lnTo>
                  <a:pt x="6046548" y="2372098"/>
                </a:lnTo>
                <a:close/>
                <a:moveTo>
                  <a:pt x="6032549" y="2369933"/>
                </a:moveTo>
                <a:lnTo>
                  <a:pt x="6032549" y="2369933"/>
                </a:lnTo>
                <a:lnTo>
                  <a:pt x="6033086" y="2370603"/>
                </a:lnTo>
                <a:close/>
                <a:moveTo>
                  <a:pt x="6026689" y="2369825"/>
                </a:moveTo>
                <a:lnTo>
                  <a:pt x="6024518" y="2375996"/>
                </a:lnTo>
                <a:lnTo>
                  <a:pt x="6019852" y="2381302"/>
                </a:lnTo>
                <a:lnTo>
                  <a:pt x="6019093" y="2387040"/>
                </a:lnTo>
                <a:lnTo>
                  <a:pt x="6019853" y="2381302"/>
                </a:lnTo>
                <a:lnTo>
                  <a:pt x="6024519" y="2375996"/>
                </a:lnTo>
                <a:close/>
                <a:moveTo>
                  <a:pt x="3747258" y="2369152"/>
                </a:moveTo>
                <a:lnTo>
                  <a:pt x="3827056" y="2422662"/>
                </a:lnTo>
                <a:lnTo>
                  <a:pt x="3827056" y="2422771"/>
                </a:lnTo>
                <a:lnTo>
                  <a:pt x="3826839" y="2422554"/>
                </a:lnTo>
                <a:lnTo>
                  <a:pt x="3826838" y="2422554"/>
                </a:lnTo>
                <a:lnTo>
                  <a:pt x="3827055" y="2422770"/>
                </a:lnTo>
                <a:lnTo>
                  <a:pt x="3983645" y="2526385"/>
                </a:lnTo>
                <a:lnTo>
                  <a:pt x="3986466" y="2537754"/>
                </a:lnTo>
                <a:lnTo>
                  <a:pt x="3991458" y="2542409"/>
                </a:lnTo>
                <a:lnTo>
                  <a:pt x="3991459" y="2542409"/>
                </a:lnTo>
                <a:lnTo>
                  <a:pt x="3986467" y="2537753"/>
                </a:lnTo>
                <a:lnTo>
                  <a:pt x="3983646" y="2526385"/>
                </a:lnTo>
                <a:lnTo>
                  <a:pt x="3827056" y="2422770"/>
                </a:lnTo>
                <a:lnTo>
                  <a:pt x="3827056" y="2422662"/>
                </a:lnTo>
                <a:close/>
                <a:moveTo>
                  <a:pt x="5584050" y="2367443"/>
                </a:moveTo>
                <a:lnTo>
                  <a:pt x="5581446" y="2368742"/>
                </a:lnTo>
                <a:lnTo>
                  <a:pt x="5584050" y="2367443"/>
                </a:lnTo>
                <a:lnTo>
                  <a:pt x="5588607" y="2367552"/>
                </a:lnTo>
                <a:lnTo>
                  <a:pt x="5589453" y="2369403"/>
                </a:lnTo>
                <a:lnTo>
                  <a:pt x="5588607" y="2367551"/>
                </a:lnTo>
                <a:close/>
                <a:moveTo>
                  <a:pt x="5574688" y="2366964"/>
                </a:moveTo>
                <a:lnTo>
                  <a:pt x="5571896" y="2367118"/>
                </a:lnTo>
                <a:lnTo>
                  <a:pt x="5571896" y="2367119"/>
                </a:lnTo>
                <a:close/>
                <a:moveTo>
                  <a:pt x="3740351" y="2364521"/>
                </a:moveTo>
                <a:lnTo>
                  <a:pt x="3740351" y="2364735"/>
                </a:lnTo>
                <a:lnTo>
                  <a:pt x="3740351" y="2364736"/>
                </a:lnTo>
                <a:lnTo>
                  <a:pt x="3740351" y="2364521"/>
                </a:lnTo>
                <a:close/>
                <a:moveTo>
                  <a:pt x="2115422" y="2363979"/>
                </a:moveTo>
                <a:lnTo>
                  <a:pt x="2122801" y="2363979"/>
                </a:lnTo>
                <a:lnTo>
                  <a:pt x="2128010" y="2368742"/>
                </a:lnTo>
                <a:lnTo>
                  <a:pt x="2124212" y="2368201"/>
                </a:lnTo>
                <a:lnTo>
                  <a:pt x="2119546" y="2367227"/>
                </a:lnTo>
                <a:lnTo>
                  <a:pt x="2110539" y="2373507"/>
                </a:lnTo>
                <a:lnTo>
                  <a:pt x="2105764" y="2372640"/>
                </a:lnTo>
                <a:lnTo>
                  <a:pt x="2099688" y="2366036"/>
                </a:lnTo>
                <a:lnTo>
                  <a:pt x="2105764" y="2366036"/>
                </a:lnTo>
                <a:lnTo>
                  <a:pt x="2108694" y="2368093"/>
                </a:lnTo>
                <a:close/>
                <a:moveTo>
                  <a:pt x="2135173" y="2360948"/>
                </a:moveTo>
                <a:lnTo>
                  <a:pt x="2142444" y="2366037"/>
                </a:lnTo>
                <a:lnTo>
                  <a:pt x="2143313" y="2370584"/>
                </a:lnTo>
                <a:lnTo>
                  <a:pt x="2146785" y="2372858"/>
                </a:lnTo>
                <a:lnTo>
                  <a:pt x="2146785" y="2379354"/>
                </a:lnTo>
                <a:lnTo>
                  <a:pt x="2142119" y="2382277"/>
                </a:lnTo>
                <a:lnTo>
                  <a:pt x="2142444" y="2386500"/>
                </a:lnTo>
                <a:lnTo>
                  <a:pt x="2138429" y="2390505"/>
                </a:lnTo>
                <a:lnTo>
                  <a:pt x="2140165" y="2382602"/>
                </a:lnTo>
                <a:lnTo>
                  <a:pt x="2138863" y="2378162"/>
                </a:lnTo>
                <a:lnTo>
                  <a:pt x="2141902" y="2375239"/>
                </a:lnTo>
                <a:lnTo>
                  <a:pt x="2136584" y="2368419"/>
                </a:lnTo>
                <a:lnTo>
                  <a:pt x="2135716" y="2363546"/>
                </a:lnTo>
                <a:lnTo>
                  <a:pt x="2128554" y="2361164"/>
                </a:lnTo>
                <a:close/>
                <a:moveTo>
                  <a:pt x="6027557" y="2360839"/>
                </a:moveTo>
                <a:lnTo>
                  <a:pt x="6026147" y="2364303"/>
                </a:lnTo>
                <a:lnTo>
                  <a:pt x="6024085" y="2364520"/>
                </a:lnTo>
                <a:lnTo>
                  <a:pt x="6026147" y="2364304"/>
                </a:lnTo>
                <a:lnTo>
                  <a:pt x="6027558" y="2360840"/>
                </a:lnTo>
                <a:close/>
                <a:moveTo>
                  <a:pt x="3740351" y="2357838"/>
                </a:moveTo>
                <a:lnTo>
                  <a:pt x="3740350" y="2357937"/>
                </a:lnTo>
                <a:lnTo>
                  <a:pt x="3740351" y="2357838"/>
                </a:lnTo>
                <a:close/>
                <a:moveTo>
                  <a:pt x="6098675" y="2355150"/>
                </a:moveTo>
                <a:lnTo>
                  <a:pt x="6095163" y="2356291"/>
                </a:lnTo>
                <a:lnTo>
                  <a:pt x="6092766" y="2356135"/>
                </a:lnTo>
                <a:lnTo>
                  <a:pt x="6095163" y="2356292"/>
                </a:lnTo>
                <a:close/>
                <a:moveTo>
                  <a:pt x="6033673" y="2353575"/>
                </a:moveTo>
                <a:lnTo>
                  <a:pt x="6035370" y="2356292"/>
                </a:lnTo>
                <a:lnTo>
                  <a:pt x="6041717" y="2357575"/>
                </a:lnTo>
                <a:lnTo>
                  <a:pt x="6035370" y="2356291"/>
                </a:lnTo>
                <a:close/>
                <a:moveTo>
                  <a:pt x="3526140" y="2352719"/>
                </a:moveTo>
                <a:lnTo>
                  <a:pt x="3527659" y="2353152"/>
                </a:lnTo>
                <a:lnTo>
                  <a:pt x="3527659" y="2356184"/>
                </a:lnTo>
                <a:lnTo>
                  <a:pt x="3525923" y="2357483"/>
                </a:lnTo>
                <a:lnTo>
                  <a:pt x="3524621" y="2356833"/>
                </a:lnTo>
                <a:lnTo>
                  <a:pt x="3523644" y="2354451"/>
                </a:lnTo>
                <a:close/>
                <a:moveTo>
                  <a:pt x="6104604" y="2349362"/>
                </a:moveTo>
                <a:lnTo>
                  <a:pt x="6104604" y="2349362"/>
                </a:lnTo>
                <a:lnTo>
                  <a:pt x="6104821" y="2353151"/>
                </a:lnTo>
                <a:close/>
                <a:moveTo>
                  <a:pt x="4169147" y="2348776"/>
                </a:moveTo>
                <a:lnTo>
                  <a:pt x="4169752" y="2350229"/>
                </a:lnTo>
                <a:lnTo>
                  <a:pt x="4169752" y="2350228"/>
                </a:lnTo>
                <a:close/>
                <a:moveTo>
                  <a:pt x="6263689" y="2347305"/>
                </a:moveTo>
                <a:lnTo>
                  <a:pt x="6263689" y="2347305"/>
                </a:lnTo>
                <a:lnTo>
                  <a:pt x="6267596" y="2355317"/>
                </a:lnTo>
                <a:close/>
                <a:moveTo>
                  <a:pt x="1668768" y="2346656"/>
                </a:moveTo>
                <a:lnTo>
                  <a:pt x="1666272" y="2358024"/>
                </a:lnTo>
                <a:lnTo>
                  <a:pt x="1665621" y="2368851"/>
                </a:lnTo>
                <a:lnTo>
                  <a:pt x="1667791" y="2376538"/>
                </a:lnTo>
                <a:cubicBezTo>
                  <a:pt x="1667140" y="2374806"/>
                  <a:pt x="1664428" y="2368310"/>
                  <a:pt x="1664428" y="2368310"/>
                </a:cubicBezTo>
                <a:lnTo>
                  <a:pt x="1664428" y="2357483"/>
                </a:lnTo>
                <a:close/>
                <a:moveTo>
                  <a:pt x="6014101" y="2346006"/>
                </a:moveTo>
                <a:lnTo>
                  <a:pt x="6014101" y="2346007"/>
                </a:lnTo>
                <a:lnTo>
                  <a:pt x="6018550" y="2355318"/>
                </a:lnTo>
                <a:lnTo>
                  <a:pt x="6018550" y="2355317"/>
                </a:lnTo>
                <a:close/>
                <a:moveTo>
                  <a:pt x="5582476" y="2345681"/>
                </a:moveTo>
                <a:lnTo>
                  <a:pt x="5579275" y="2350228"/>
                </a:lnTo>
                <a:lnTo>
                  <a:pt x="5578081" y="2350625"/>
                </a:lnTo>
                <a:lnTo>
                  <a:pt x="5579275" y="2350228"/>
                </a:lnTo>
                <a:close/>
                <a:moveTo>
                  <a:pt x="6200918" y="2344685"/>
                </a:moveTo>
                <a:lnTo>
                  <a:pt x="6200098" y="2346655"/>
                </a:lnTo>
                <a:lnTo>
                  <a:pt x="6194347" y="2353693"/>
                </a:lnTo>
                <a:lnTo>
                  <a:pt x="6189030" y="2355533"/>
                </a:lnTo>
                <a:lnTo>
                  <a:pt x="6181108" y="2367984"/>
                </a:lnTo>
                <a:lnTo>
                  <a:pt x="6180749" y="2369676"/>
                </a:lnTo>
                <a:lnTo>
                  <a:pt x="6181108" y="2367986"/>
                </a:lnTo>
                <a:lnTo>
                  <a:pt x="6189030" y="2355534"/>
                </a:lnTo>
                <a:lnTo>
                  <a:pt x="6194347" y="2353694"/>
                </a:lnTo>
                <a:lnTo>
                  <a:pt x="6200098" y="2346656"/>
                </a:lnTo>
                <a:close/>
                <a:moveTo>
                  <a:pt x="6032476" y="2344622"/>
                </a:moveTo>
                <a:lnTo>
                  <a:pt x="6032441" y="2344923"/>
                </a:lnTo>
                <a:lnTo>
                  <a:pt x="6030704" y="2348821"/>
                </a:lnTo>
                <a:lnTo>
                  <a:pt x="6030704" y="2348821"/>
                </a:lnTo>
                <a:lnTo>
                  <a:pt x="6032441" y="2344923"/>
                </a:lnTo>
                <a:close/>
                <a:moveTo>
                  <a:pt x="3576491" y="2343949"/>
                </a:moveTo>
                <a:lnTo>
                  <a:pt x="3580940" y="2343949"/>
                </a:lnTo>
                <a:lnTo>
                  <a:pt x="3584955" y="2345140"/>
                </a:lnTo>
                <a:lnTo>
                  <a:pt x="3585823" y="2350661"/>
                </a:lnTo>
                <a:lnTo>
                  <a:pt x="3583002" y="2351744"/>
                </a:lnTo>
                <a:lnTo>
                  <a:pt x="3578878" y="2354451"/>
                </a:lnTo>
                <a:lnTo>
                  <a:pt x="3574430" y="2350878"/>
                </a:lnTo>
                <a:close/>
                <a:moveTo>
                  <a:pt x="3540898" y="2343842"/>
                </a:moveTo>
                <a:lnTo>
                  <a:pt x="3542851" y="2343842"/>
                </a:lnTo>
                <a:lnTo>
                  <a:pt x="3543502" y="2345899"/>
                </a:lnTo>
                <a:cubicBezTo>
                  <a:pt x="3543502" y="2345899"/>
                  <a:pt x="3542526" y="2347307"/>
                  <a:pt x="3542526" y="2347307"/>
                </a:cubicBezTo>
                <a:lnTo>
                  <a:pt x="3540898" y="2345791"/>
                </a:lnTo>
                <a:close/>
                <a:moveTo>
                  <a:pt x="5607183" y="2338358"/>
                </a:moveTo>
                <a:lnTo>
                  <a:pt x="5603908" y="2340051"/>
                </a:lnTo>
                <a:lnTo>
                  <a:pt x="5602751" y="2339834"/>
                </a:lnTo>
                <a:lnTo>
                  <a:pt x="5603908" y="2340051"/>
                </a:lnTo>
                <a:close/>
                <a:moveTo>
                  <a:pt x="3563252" y="2335721"/>
                </a:moveTo>
                <a:lnTo>
                  <a:pt x="3568026" y="2336696"/>
                </a:lnTo>
                <a:lnTo>
                  <a:pt x="3566832" y="2343084"/>
                </a:lnTo>
                <a:lnTo>
                  <a:pt x="3561841" y="2342975"/>
                </a:lnTo>
                <a:lnTo>
                  <a:pt x="3554245" y="2348497"/>
                </a:lnTo>
                <a:lnTo>
                  <a:pt x="3550447" y="2346007"/>
                </a:lnTo>
                <a:lnTo>
                  <a:pt x="3547843" y="2342109"/>
                </a:lnTo>
                <a:lnTo>
                  <a:pt x="3551641" y="2339186"/>
                </a:lnTo>
                <a:lnTo>
                  <a:pt x="3555981" y="2339511"/>
                </a:lnTo>
                <a:lnTo>
                  <a:pt x="3561299" y="2337453"/>
                </a:lnTo>
                <a:close/>
                <a:moveTo>
                  <a:pt x="1673217" y="2334963"/>
                </a:moveTo>
                <a:lnTo>
                  <a:pt x="1673434" y="2337345"/>
                </a:lnTo>
                <a:lnTo>
                  <a:pt x="1671155" y="2343192"/>
                </a:lnTo>
                <a:lnTo>
                  <a:pt x="1669528" y="2344275"/>
                </a:lnTo>
                <a:close/>
                <a:moveTo>
                  <a:pt x="6096465" y="2334637"/>
                </a:moveTo>
                <a:lnTo>
                  <a:pt x="6096465" y="2334638"/>
                </a:lnTo>
                <a:lnTo>
                  <a:pt x="6097225" y="2339401"/>
                </a:lnTo>
                <a:lnTo>
                  <a:pt x="6104604" y="2342650"/>
                </a:lnTo>
                <a:lnTo>
                  <a:pt x="6104604" y="2342649"/>
                </a:lnTo>
                <a:lnTo>
                  <a:pt x="6097225" y="2339401"/>
                </a:lnTo>
                <a:close/>
                <a:moveTo>
                  <a:pt x="6255045" y="2334459"/>
                </a:moveTo>
                <a:lnTo>
                  <a:pt x="6255225" y="2335396"/>
                </a:lnTo>
                <a:lnTo>
                  <a:pt x="6259348" y="2335288"/>
                </a:lnTo>
                <a:lnTo>
                  <a:pt x="6263689" y="2340052"/>
                </a:lnTo>
                <a:lnTo>
                  <a:pt x="6263689" y="2340051"/>
                </a:lnTo>
                <a:lnTo>
                  <a:pt x="6259348" y="2335287"/>
                </a:lnTo>
                <a:lnTo>
                  <a:pt x="6255225" y="2335395"/>
                </a:lnTo>
                <a:close/>
                <a:moveTo>
                  <a:pt x="6216919" y="2333662"/>
                </a:moveTo>
                <a:lnTo>
                  <a:pt x="6210191" y="2338535"/>
                </a:lnTo>
                <a:lnTo>
                  <a:pt x="6202486" y="2340917"/>
                </a:lnTo>
                <a:lnTo>
                  <a:pt x="6202486" y="2340917"/>
                </a:lnTo>
                <a:lnTo>
                  <a:pt x="6210191" y="2338536"/>
                </a:lnTo>
                <a:lnTo>
                  <a:pt x="6216919" y="2333664"/>
                </a:lnTo>
                <a:lnTo>
                  <a:pt x="6220934" y="2337020"/>
                </a:lnTo>
                <a:lnTo>
                  <a:pt x="6225600" y="2339077"/>
                </a:lnTo>
                <a:lnTo>
                  <a:pt x="6225600" y="2339076"/>
                </a:lnTo>
                <a:lnTo>
                  <a:pt x="6220934" y="2337019"/>
                </a:lnTo>
                <a:close/>
                <a:moveTo>
                  <a:pt x="5594250" y="2332472"/>
                </a:moveTo>
                <a:lnTo>
                  <a:pt x="5592160" y="2333982"/>
                </a:lnTo>
                <a:lnTo>
                  <a:pt x="5594251" y="2332472"/>
                </a:lnTo>
                <a:close/>
                <a:moveTo>
                  <a:pt x="3619896" y="2332257"/>
                </a:moveTo>
                <a:lnTo>
                  <a:pt x="3620222" y="2337995"/>
                </a:lnTo>
                <a:lnTo>
                  <a:pt x="3615122" y="2345141"/>
                </a:lnTo>
                <a:lnTo>
                  <a:pt x="3610022" y="2346549"/>
                </a:lnTo>
                <a:lnTo>
                  <a:pt x="3606984" y="2345682"/>
                </a:lnTo>
                <a:lnTo>
                  <a:pt x="3612192" y="2339294"/>
                </a:lnTo>
                <a:lnTo>
                  <a:pt x="3612518" y="2336046"/>
                </a:lnTo>
                <a:close/>
                <a:moveTo>
                  <a:pt x="6966118" y="2330524"/>
                </a:moveTo>
                <a:lnTo>
                  <a:pt x="6968180" y="2335396"/>
                </a:lnTo>
                <a:lnTo>
                  <a:pt x="6965900" y="2338320"/>
                </a:lnTo>
                <a:lnTo>
                  <a:pt x="6965791" y="2342434"/>
                </a:lnTo>
                <a:lnTo>
                  <a:pt x="6959932" y="2346006"/>
                </a:lnTo>
                <a:lnTo>
                  <a:pt x="6959715" y="2350338"/>
                </a:lnTo>
                <a:lnTo>
                  <a:pt x="6957328" y="2351204"/>
                </a:lnTo>
                <a:lnTo>
                  <a:pt x="6955483" y="2344816"/>
                </a:lnTo>
                <a:lnTo>
                  <a:pt x="6959932" y="2341676"/>
                </a:lnTo>
                <a:lnTo>
                  <a:pt x="6960583" y="2339510"/>
                </a:lnTo>
                <a:lnTo>
                  <a:pt x="6959607" y="2337778"/>
                </a:lnTo>
                <a:lnTo>
                  <a:pt x="6963730" y="2335396"/>
                </a:lnTo>
                <a:close/>
                <a:moveTo>
                  <a:pt x="6098092" y="2328791"/>
                </a:moveTo>
                <a:lnTo>
                  <a:pt x="6097008" y="2328899"/>
                </a:lnTo>
                <a:lnTo>
                  <a:pt x="6097008" y="2328899"/>
                </a:lnTo>
                <a:lnTo>
                  <a:pt x="6098093" y="2328791"/>
                </a:lnTo>
                <a:lnTo>
                  <a:pt x="6098093" y="2328791"/>
                </a:lnTo>
                <a:close/>
                <a:moveTo>
                  <a:pt x="6043075" y="2326626"/>
                </a:moveTo>
                <a:lnTo>
                  <a:pt x="6037757" y="2337128"/>
                </a:lnTo>
                <a:lnTo>
                  <a:pt x="6035562" y="2338198"/>
                </a:lnTo>
                <a:lnTo>
                  <a:pt x="6037758" y="2337128"/>
                </a:lnTo>
                <a:close/>
                <a:moveTo>
                  <a:pt x="3529612" y="2325328"/>
                </a:moveTo>
                <a:cubicBezTo>
                  <a:pt x="3530769" y="2325852"/>
                  <a:pt x="3531861" y="2326506"/>
                  <a:pt x="3532868" y="2327277"/>
                </a:cubicBezTo>
                <a:lnTo>
                  <a:pt x="3532325" y="2334205"/>
                </a:lnTo>
                <a:cubicBezTo>
                  <a:pt x="3532325" y="2334205"/>
                  <a:pt x="3529612" y="2336046"/>
                  <a:pt x="3529612" y="2336046"/>
                </a:cubicBezTo>
                <a:lnTo>
                  <a:pt x="3529612" y="2330741"/>
                </a:lnTo>
                <a:lnTo>
                  <a:pt x="3528093" y="2328034"/>
                </a:lnTo>
                <a:cubicBezTo>
                  <a:pt x="3528093" y="2328034"/>
                  <a:pt x="3528744" y="2325328"/>
                  <a:pt x="3529612" y="2325328"/>
                </a:cubicBezTo>
                <a:close/>
                <a:moveTo>
                  <a:pt x="3755355" y="2325027"/>
                </a:moveTo>
                <a:lnTo>
                  <a:pt x="3751854" y="2329658"/>
                </a:lnTo>
                <a:lnTo>
                  <a:pt x="3740785" y="2337453"/>
                </a:lnTo>
                <a:lnTo>
                  <a:pt x="3740459" y="2357808"/>
                </a:lnTo>
                <a:lnTo>
                  <a:pt x="3740427" y="2357841"/>
                </a:lnTo>
                <a:lnTo>
                  <a:pt x="3740460" y="2357808"/>
                </a:lnTo>
                <a:lnTo>
                  <a:pt x="3740785" y="2337453"/>
                </a:lnTo>
                <a:lnTo>
                  <a:pt x="3751854" y="2329658"/>
                </a:lnTo>
                <a:close/>
                <a:moveTo>
                  <a:pt x="6084212" y="2324677"/>
                </a:moveTo>
                <a:lnTo>
                  <a:pt x="6080838" y="2325976"/>
                </a:lnTo>
                <a:lnTo>
                  <a:pt x="6080839" y="2325976"/>
                </a:lnTo>
                <a:close/>
                <a:moveTo>
                  <a:pt x="6228964" y="2324460"/>
                </a:moveTo>
                <a:lnTo>
                  <a:pt x="6224407" y="2328790"/>
                </a:lnTo>
                <a:lnTo>
                  <a:pt x="6224407" y="2328791"/>
                </a:lnTo>
                <a:lnTo>
                  <a:pt x="6228964" y="2324460"/>
                </a:lnTo>
                <a:close/>
                <a:moveTo>
                  <a:pt x="1685371" y="2319806"/>
                </a:moveTo>
                <a:lnTo>
                  <a:pt x="1682007" y="2324353"/>
                </a:lnTo>
                <a:lnTo>
                  <a:pt x="1676907" y="2330524"/>
                </a:lnTo>
                <a:lnTo>
                  <a:pt x="1674954" y="2331932"/>
                </a:lnTo>
                <a:lnTo>
                  <a:pt x="1680488" y="2323379"/>
                </a:lnTo>
                <a:close/>
                <a:moveTo>
                  <a:pt x="4165411" y="2319804"/>
                </a:moveTo>
                <a:lnTo>
                  <a:pt x="4165411" y="2319805"/>
                </a:lnTo>
                <a:lnTo>
                  <a:pt x="4165438" y="2320163"/>
                </a:lnTo>
                <a:close/>
                <a:moveTo>
                  <a:pt x="3627494" y="2319697"/>
                </a:moveTo>
                <a:lnTo>
                  <a:pt x="3631401" y="2322512"/>
                </a:lnTo>
                <a:lnTo>
                  <a:pt x="3626626" y="2323162"/>
                </a:lnTo>
                <a:lnTo>
                  <a:pt x="3621417" y="2326085"/>
                </a:lnTo>
                <a:lnTo>
                  <a:pt x="3623695" y="2319913"/>
                </a:lnTo>
                <a:close/>
                <a:moveTo>
                  <a:pt x="6062390" y="2318722"/>
                </a:moveTo>
                <a:lnTo>
                  <a:pt x="6060818" y="2318946"/>
                </a:lnTo>
                <a:lnTo>
                  <a:pt x="6062390" y="2318722"/>
                </a:lnTo>
                <a:close/>
                <a:moveTo>
                  <a:pt x="6229721" y="2318592"/>
                </a:moveTo>
                <a:lnTo>
                  <a:pt x="6227445" y="2319696"/>
                </a:lnTo>
                <a:lnTo>
                  <a:pt x="6227445" y="2319696"/>
                </a:lnTo>
                <a:close/>
                <a:moveTo>
                  <a:pt x="6231460" y="2317748"/>
                </a:moveTo>
                <a:lnTo>
                  <a:pt x="6231459" y="2317748"/>
                </a:lnTo>
                <a:lnTo>
                  <a:pt x="6236994" y="2320130"/>
                </a:lnTo>
                <a:lnTo>
                  <a:pt x="6240575" y="2318073"/>
                </a:lnTo>
                <a:lnTo>
                  <a:pt x="6246109" y="2318289"/>
                </a:lnTo>
                <a:lnTo>
                  <a:pt x="6246109" y="2318289"/>
                </a:lnTo>
                <a:lnTo>
                  <a:pt x="6240575" y="2318072"/>
                </a:lnTo>
                <a:lnTo>
                  <a:pt x="6236994" y="2320129"/>
                </a:lnTo>
                <a:close/>
                <a:moveTo>
                  <a:pt x="6120012" y="2317748"/>
                </a:moveTo>
                <a:lnTo>
                  <a:pt x="6116432" y="2320346"/>
                </a:lnTo>
                <a:lnTo>
                  <a:pt x="6114044" y="2326192"/>
                </a:lnTo>
                <a:lnTo>
                  <a:pt x="6114045" y="2326192"/>
                </a:lnTo>
                <a:lnTo>
                  <a:pt x="6116433" y="2320345"/>
                </a:lnTo>
                <a:close/>
                <a:moveTo>
                  <a:pt x="5045707" y="2317236"/>
                </a:moveTo>
                <a:lnTo>
                  <a:pt x="5054053" y="2319805"/>
                </a:lnTo>
                <a:lnTo>
                  <a:pt x="5055464" y="2328575"/>
                </a:lnTo>
                <a:lnTo>
                  <a:pt x="5055465" y="2328574"/>
                </a:lnTo>
                <a:lnTo>
                  <a:pt x="5054054" y="2319805"/>
                </a:lnTo>
                <a:close/>
                <a:moveTo>
                  <a:pt x="3771496" y="2317079"/>
                </a:moveTo>
                <a:lnTo>
                  <a:pt x="3763465" y="2318722"/>
                </a:lnTo>
                <a:lnTo>
                  <a:pt x="3757824" y="2322592"/>
                </a:lnTo>
                <a:lnTo>
                  <a:pt x="3763465" y="2318723"/>
                </a:lnTo>
                <a:close/>
                <a:moveTo>
                  <a:pt x="6123812" y="2315799"/>
                </a:moveTo>
                <a:lnTo>
                  <a:pt x="6123811" y="2315799"/>
                </a:lnTo>
                <a:lnTo>
                  <a:pt x="6123705" y="2318886"/>
                </a:lnTo>
                <a:close/>
                <a:moveTo>
                  <a:pt x="5962304" y="2313645"/>
                </a:moveTo>
                <a:lnTo>
                  <a:pt x="5958648" y="2317748"/>
                </a:lnTo>
                <a:lnTo>
                  <a:pt x="5953548" y="2319264"/>
                </a:lnTo>
                <a:lnTo>
                  <a:pt x="5950618" y="2321862"/>
                </a:lnTo>
                <a:lnTo>
                  <a:pt x="5943890" y="2318613"/>
                </a:lnTo>
                <a:lnTo>
                  <a:pt x="5939875" y="2319480"/>
                </a:lnTo>
                <a:lnTo>
                  <a:pt x="5937162" y="2313958"/>
                </a:lnTo>
                <a:lnTo>
                  <a:pt x="5937162" y="2313959"/>
                </a:lnTo>
                <a:lnTo>
                  <a:pt x="5939875" y="2319481"/>
                </a:lnTo>
                <a:lnTo>
                  <a:pt x="5943890" y="2318614"/>
                </a:lnTo>
                <a:lnTo>
                  <a:pt x="5950618" y="2321862"/>
                </a:lnTo>
                <a:lnTo>
                  <a:pt x="5953548" y="2319264"/>
                </a:lnTo>
                <a:lnTo>
                  <a:pt x="5958648" y="2317748"/>
                </a:lnTo>
                <a:close/>
                <a:moveTo>
                  <a:pt x="5962990" y="2312875"/>
                </a:moveTo>
                <a:lnTo>
                  <a:pt x="5962989" y="2312876"/>
                </a:lnTo>
                <a:lnTo>
                  <a:pt x="5971996" y="2313959"/>
                </a:lnTo>
                <a:lnTo>
                  <a:pt x="5977747" y="2316882"/>
                </a:lnTo>
                <a:lnTo>
                  <a:pt x="5979158" y="2322512"/>
                </a:lnTo>
                <a:lnTo>
                  <a:pt x="5986212" y="2325327"/>
                </a:lnTo>
                <a:lnTo>
                  <a:pt x="5991095" y="2331823"/>
                </a:lnTo>
                <a:lnTo>
                  <a:pt x="5995218" y="2332906"/>
                </a:lnTo>
                <a:lnTo>
                  <a:pt x="6001187" y="2330307"/>
                </a:lnTo>
                <a:lnTo>
                  <a:pt x="6003683" y="2331282"/>
                </a:lnTo>
                <a:lnTo>
                  <a:pt x="6010194" y="2329225"/>
                </a:lnTo>
                <a:lnTo>
                  <a:pt x="6014534" y="2329550"/>
                </a:lnTo>
                <a:lnTo>
                  <a:pt x="6016163" y="2334638"/>
                </a:lnTo>
                <a:lnTo>
                  <a:pt x="6016163" y="2334637"/>
                </a:lnTo>
                <a:lnTo>
                  <a:pt x="6014535" y="2329549"/>
                </a:lnTo>
                <a:lnTo>
                  <a:pt x="6010194" y="2329225"/>
                </a:lnTo>
                <a:lnTo>
                  <a:pt x="6003683" y="2331282"/>
                </a:lnTo>
                <a:lnTo>
                  <a:pt x="6001187" y="2330307"/>
                </a:lnTo>
                <a:lnTo>
                  <a:pt x="5995218" y="2332905"/>
                </a:lnTo>
                <a:lnTo>
                  <a:pt x="5991095" y="2331823"/>
                </a:lnTo>
                <a:lnTo>
                  <a:pt x="5986212" y="2325327"/>
                </a:lnTo>
                <a:lnTo>
                  <a:pt x="5979158" y="2322511"/>
                </a:lnTo>
                <a:lnTo>
                  <a:pt x="5977747" y="2316881"/>
                </a:lnTo>
                <a:lnTo>
                  <a:pt x="5971996" y="2313958"/>
                </a:lnTo>
                <a:close/>
                <a:moveTo>
                  <a:pt x="6130431" y="2309518"/>
                </a:moveTo>
                <a:lnTo>
                  <a:pt x="6130430" y="2309519"/>
                </a:lnTo>
                <a:lnTo>
                  <a:pt x="6128980" y="2313860"/>
                </a:lnTo>
                <a:close/>
                <a:moveTo>
                  <a:pt x="6213663" y="2306162"/>
                </a:moveTo>
                <a:lnTo>
                  <a:pt x="6211783" y="2308252"/>
                </a:lnTo>
                <a:lnTo>
                  <a:pt x="6213663" y="2306162"/>
                </a:lnTo>
                <a:close/>
                <a:moveTo>
                  <a:pt x="3819062" y="2305116"/>
                </a:moveTo>
                <a:lnTo>
                  <a:pt x="3806112" y="2312767"/>
                </a:lnTo>
                <a:lnTo>
                  <a:pt x="3796671" y="2314824"/>
                </a:lnTo>
                <a:lnTo>
                  <a:pt x="3792013" y="2314935"/>
                </a:lnTo>
                <a:lnTo>
                  <a:pt x="3796671" y="2314825"/>
                </a:lnTo>
                <a:lnTo>
                  <a:pt x="3806112" y="2312768"/>
                </a:lnTo>
                <a:close/>
                <a:moveTo>
                  <a:pt x="6979139" y="2303023"/>
                </a:moveTo>
                <a:lnTo>
                  <a:pt x="6982177" y="2305513"/>
                </a:lnTo>
                <a:lnTo>
                  <a:pt x="6983045" y="2309411"/>
                </a:lnTo>
                <a:lnTo>
                  <a:pt x="6981635" y="2310386"/>
                </a:lnTo>
                <a:lnTo>
                  <a:pt x="6978162" y="2307570"/>
                </a:lnTo>
                <a:lnTo>
                  <a:pt x="6977946" y="2304647"/>
                </a:lnTo>
                <a:close/>
                <a:moveTo>
                  <a:pt x="4806788" y="2302500"/>
                </a:moveTo>
                <a:lnTo>
                  <a:pt x="4803380" y="2303023"/>
                </a:lnTo>
                <a:lnTo>
                  <a:pt x="4786126" y="2319805"/>
                </a:lnTo>
                <a:lnTo>
                  <a:pt x="4786126" y="2319805"/>
                </a:lnTo>
                <a:lnTo>
                  <a:pt x="4803381" y="2303023"/>
                </a:lnTo>
                <a:close/>
                <a:moveTo>
                  <a:pt x="4163995" y="2301539"/>
                </a:moveTo>
                <a:lnTo>
                  <a:pt x="4165411" y="2304214"/>
                </a:lnTo>
                <a:lnTo>
                  <a:pt x="4165411" y="2304214"/>
                </a:lnTo>
                <a:close/>
                <a:moveTo>
                  <a:pt x="4160094" y="2296851"/>
                </a:moveTo>
                <a:lnTo>
                  <a:pt x="4160094" y="2296852"/>
                </a:lnTo>
                <a:lnTo>
                  <a:pt x="4162373" y="2298476"/>
                </a:lnTo>
                <a:lnTo>
                  <a:pt x="4162373" y="2298475"/>
                </a:lnTo>
                <a:close/>
                <a:moveTo>
                  <a:pt x="5825282" y="2295118"/>
                </a:moveTo>
                <a:lnTo>
                  <a:pt x="5820870" y="2301679"/>
                </a:lnTo>
                <a:lnTo>
                  <a:pt x="5825282" y="2295120"/>
                </a:lnTo>
                <a:close/>
                <a:moveTo>
                  <a:pt x="5039513" y="2291331"/>
                </a:moveTo>
                <a:lnTo>
                  <a:pt x="5039512" y="2291331"/>
                </a:lnTo>
                <a:lnTo>
                  <a:pt x="5034303" y="2303024"/>
                </a:lnTo>
                <a:lnTo>
                  <a:pt x="5028986" y="2312984"/>
                </a:lnTo>
                <a:lnTo>
                  <a:pt x="5028987" y="2312984"/>
                </a:lnTo>
                <a:lnTo>
                  <a:pt x="5034304" y="2303023"/>
                </a:lnTo>
                <a:close/>
                <a:moveTo>
                  <a:pt x="5364195" y="2291113"/>
                </a:moveTo>
                <a:lnTo>
                  <a:pt x="5364194" y="2291114"/>
                </a:lnTo>
                <a:lnTo>
                  <a:pt x="5376565" y="2307571"/>
                </a:lnTo>
                <a:lnTo>
                  <a:pt x="5379386" y="2313093"/>
                </a:lnTo>
                <a:lnTo>
                  <a:pt x="5385572" y="2319589"/>
                </a:lnTo>
                <a:lnTo>
                  <a:pt x="5391649" y="2322837"/>
                </a:lnTo>
                <a:lnTo>
                  <a:pt x="5393711" y="2325327"/>
                </a:lnTo>
                <a:lnTo>
                  <a:pt x="5401632" y="2325977"/>
                </a:lnTo>
                <a:lnTo>
                  <a:pt x="5406082" y="2327709"/>
                </a:lnTo>
                <a:lnTo>
                  <a:pt x="5406841" y="2330308"/>
                </a:lnTo>
                <a:lnTo>
                  <a:pt x="5413353" y="2330957"/>
                </a:lnTo>
                <a:lnTo>
                  <a:pt x="5413569" y="2339077"/>
                </a:lnTo>
                <a:lnTo>
                  <a:pt x="5415197" y="2344491"/>
                </a:lnTo>
                <a:lnTo>
                  <a:pt x="5415522" y="2351095"/>
                </a:lnTo>
                <a:lnTo>
                  <a:pt x="5416825" y="2355318"/>
                </a:lnTo>
                <a:lnTo>
                  <a:pt x="5422685" y="2354993"/>
                </a:lnTo>
                <a:lnTo>
                  <a:pt x="5428870" y="2359107"/>
                </a:lnTo>
                <a:lnTo>
                  <a:pt x="5429521" y="2368419"/>
                </a:lnTo>
                <a:lnTo>
                  <a:pt x="5429522" y="2368418"/>
                </a:lnTo>
                <a:lnTo>
                  <a:pt x="5428871" y="2359107"/>
                </a:lnTo>
                <a:lnTo>
                  <a:pt x="5422685" y="2354992"/>
                </a:lnTo>
                <a:lnTo>
                  <a:pt x="5416826" y="2355317"/>
                </a:lnTo>
                <a:lnTo>
                  <a:pt x="5415523" y="2351095"/>
                </a:lnTo>
                <a:lnTo>
                  <a:pt x="5415198" y="2344490"/>
                </a:lnTo>
                <a:lnTo>
                  <a:pt x="5413570" y="2339077"/>
                </a:lnTo>
                <a:lnTo>
                  <a:pt x="5413353" y="2330956"/>
                </a:lnTo>
                <a:lnTo>
                  <a:pt x="5406842" y="2330306"/>
                </a:lnTo>
                <a:lnTo>
                  <a:pt x="5406083" y="2327708"/>
                </a:lnTo>
                <a:lnTo>
                  <a:pt x="5401633" y="2325975"/>
                </a:lnTo>
                <a:lnTo>
                  <a:pt x="5393711" y="2325326"/>
                </a:lnTo>
                <a:lnTo>
                  <a:pt x="5391649" y="2322836"/>
                </a:lnTo>
                <a:lnTo>
                  <a:pt x="5385573" y="2319588"/>
                </a:lnTo>
                <a:lnTo>
                  <a:pt x="5379387" y="2313091"/>
                </a:lnTo>
                <a:lnTo>
                  <a:pt x="5376565" y="2307569"/>
                </a:lnTo>
                <a:lnTo>
                  <a:pt x="5364195" y="2291113"/>
                </a:lnTo>
                <a:close/>
                <a:moveTo>
                  <a:pt x="6202218" y="2290840"/>
                </a:moveTo>
                <a:lnTo>
                  <a:pt x="6201292" y="2292628"/>
                </a:lnTo>
                <a:lnTo>
                  <a:pt x="6201292" y="2292628"/>
                </a:lnTo>
                <a:close/>
                <a:moveTo>
                  <a:pt x="1545276" y="2290247"/>
                </a:moveTo>
                <a:lnTo>
                  <a:pt x="1543851" y="2290654"/>
                </a:lnTo>
                <a:lnTo>
                  <a:pt x="1545276" y="2290248"/>
                </a:lnTo>
                <a:close/>
                <a:moveTo>
                  <a:pt x="6153328" y="2289922"/>
                </a:moveTo>
                <a:lnTo>
                  <a:pt x="6153327" y="2289922"/>
                </a:lnTo>
                <a:lnTo>
                  <a:pt x="6153762" y="2295011"/>
                </a:lnTo>
                <a:lnTo>
                  <a:pt x="6151445" y="2297877"/>
                </a:lnTo>
                <a:lnTo>
                  <a:pt x="6153763" y="2295010"/>
                </a:lnTo>
                <a:close/>
                <a:moveTo>
                  <a:pt x="5654458" y="2288829"/>
                </a:moveTo>
                <a:lnTo>
                  <a:pt x="5652524" y="2291545"/>
                </a:lnTo>
                <a:lnTo>
                  <a:pt x="5652129" y="2294380"/>
                </a:lnTo>
                <a:lnTo>
                  <a:pt x="5652524" y="2291546"/>
                </a:lnTo>
                <a:close/>
                <a:moveTo>
                  <a:pt x="4760407" y="2286783"/>
                </a:moveTo>
                <a:lnTo>
                  <a:pt x="4758562" y="2292737"/>
                </a:lnTo>
                <a:lnTo>
                  <a:pt x="4758562" y="2298151"/>
                </a:lnTo>
                <a:lnTo>
                  <a:pt x="4756283" y="2300533"/>
                </a:lnTo>
                <a:lnTo>
                  <a:pt x="4756478" y="2303351"/>
                </a:lnTo>
                <a:lnTo>
                  <a:pt x="4756284" y="2300533"/>
                </a:lnTo>
                <a:lnTo>
                  <a:pt x="4758563" y="2298151"/>
                </a:lnTo>
                <a:lnTo>
                  <a:pt x="4758563" y="2292738"/>
                </a:lnTo>
                <a:close/>
                <a:moveTo>
                  <a:pt x="1519015" y="2286133"/>
                </a:moveTo>
                <a:lnTo>
                  <a:pt x="1523898" y="2288624"/>
                </a:lnTo>
                <a:lnTo>
                  <a:pt x="1524550" y="2290248"/>
                </a:lnTo>
                <a:lnTo>
                  <a:pt x="1528565" y="2291547"/>
                </a:lnTo>
                <a:lnTo>
                  <a:pt x="1533339" y="2294037"/>
                </a:lnTo>
                <a:lnTo>
                  <a:pt x="1534750" y="2295661"/>
                </a:lnTo>
                <a:lnTo>
                  <a:pt x="1536812" y="2295986"/>
                </a:lnTo>
                <a:lnTo>
                  <a:pt x="1536812" y="2295986"/>
                </a:lnTo>
                <a:lnTo>
                  <a:pt x="1534751" y="2295661"/>
                </a:lnTo>
                <a:lnTo>
                  <a:pt x="1533340" y="2294037"/>
                </a:lnTo>
                <a:lnTo>
                  <a:pt x="1528565" y="2291547"/>
                </a:lnTo>
                <a:lnTo>
                  <a:pt x="1524550" y="2290247"/>
                </a:lnTo>
                <a:lnTo>
                  <a:pt x="1523899" y="2288624"/>
                </a:lnTo>
                <a:lnTo>
                  <a:pt x="1519016" y="2286133"/>
                </a:lnTo>
                <a:close/>
                <a:moveTo>
                  <a:pt x="6162117" y="2285375"/>
                </a:moveTo>
                <a:lnTo>
                  <a:pt x="6161319" y="2285944"/>
                </a:lnTo>
                <a:lnTo>
                  <a:pt x="6162117" y="2285375"/>
                </a:lnTo>
                <a:close/>
                <a:moveTo>
                  <a:pt x="5490470" y="2284256"/>
                </a:moveTo>
                <a:lnTo>
                  <a:pt x="5489640" y="2287648"/>
                </a:lnTo>
                <a:lnTo>
                  <a:pt x="5489641" y="2287648"/>
                </a:lnTo>
                <a:close/>
                <a:moveTo>
                  <a:pt x="4170077" y="2283209"/>
                </a:moveTo>
                <a:lnTo>
                  <a:pt x="4166387" y="2285482"/>
                </a:lnTo>
                <a:lnTo>
                  <a:pt x="4164977" y="2286782"/>
                </a:lnTo>
                <a:lnTo>
                  <a:pt x="4162048" y="2286782"/>
                </a:lnTo>
                <a:lnTo>
                  <a:pt x="4162048" y="2286782"/>
                </a:lnTo>
                <a:lnTo>
                  <a:pt x="4164977" y="2286782"/>
                </a:lnTo>
                <a:lnTo>
                  <a:pt x="4166387" y="2285483"/>
                </a:lnTo>
                <a:close/>
                <a:moveTo>
                  <a:pt x="5826621" y="2282641"/>
                </a:moveTo>
                <a:lnTo>
                  <a:pt x="5825282" y="2287107"/>
                </a:lnTo>
                <a:lnTo>
                  <a:pt x="5825282" y="2287108"/>
                </a:lnTo>
                <a:close/>
                <a:moveTo>
                  <a:pt x="6997371" y="2282344"/>
                </a:moveTo>
                <a:lnTo>
                  <a:pt x="6994658" y="2286999"/>
                </a:lnTo>
                <a:lnTo>
                  <a:pt x="6990316" y="2289923"/>
                </a:lnTo>
                <a:lnTo>
                  <a:pt x="6990100" y="2292846"/>
                </a:lnTo>
                <a:lnTo>
                  <a:pt x="6988906" y="2294254"/>
                </a:lnTo>
                <a:lnTo>
                  <a:pt x="6986953" y="2292629"/>
                </a:lnTo>
                <a:lnTo>
                  <a:pt x="6983046" y="2292521"/>
                </a:lnTo>
                <a:lnTo>
                  <a:pt x="6981744" y="2291438"/>
                </a:lnTo>
                <a:lnTo>
                  <a:pt x="6983480" y="2288082"/>
                </a:lnTo>
                <a:lnTo>
                  <a:pt x="6987603" y="2286242"/>
                </a:lnTo>
                <a:lnTo>
                  <a:pt x="6988906" y="2285809"/>
                </a:lnTo>
                <a:lnTo>
                  <a:pt x="6989775" y="2284401"/>
                </a:lnTo>
                <a:lnTo>
                  <a:pt x="6992379" y="2284185"/>
                </a:lnTo>
                <a:lnTo>
                  <a:pt x="6993898" y="2283210"/>
                </a:lnTo>
                <a:close/>
                <a:moveTo>
                  <a:pt x="1548872" y="2281671"/>
                </a:moveTo>
                <a:lnTo>
                  <a:pt x="1547447" y="2284292"/>
                </a:lnTo>
                <a:lnTo>
                  <a:pt x="1545385" y="2286999"/>
                </a:lnTo>
                <a:lnTo>
                  <a:pt x="1547447" y="2284293"/>
                </a:lnTo>
                <a:close/>
                <a:moveTo>
                  <a:pt x="6194021" y="2280069"/>
                </a:moveTo>
                <a:lnTo>
                  <a:pt x="6183712" y="2286132"/>
                </a:lnTo>
                <a:lnTo>
                  <a:pt x="6184363" y="2290355"/>
                </a:lnTo>
                <a:lnTo>
                  <a:pt x="6183550" y="2291133"/>
                </a:lnTo>
                <a:lnTo>
                  <a:pt x="6184364" y="2290354"/>
                </a:lnTo>
                <a:lnTo>
                  <a:pt x="6183713" y="2286132"/>
                </a:lnTo>
                <a:close/>
                <a:moveTo>
                  <a:pt x="5488772" y="2278553"/>
                </a:moveTo>
                <a:lnTo>
                  <a:pt x="5488772" y="2278554"/>
                </a:lnTo>
                <a:lnTo>
                  <a:pt x="5490726" y="2283209"/>
                </a:lnTo>
                <a:lnTo>
                  <a:pt x="5490726" y="2283209"/>
                </a:lnTo>
                <a:close/>
                <a:moveTo>
                  <a:pt x="1506425" y="2277175"/>
                </a:moveTo>
                <a:lnTo>
                  <a:pt x="1506318" y="2278446"/>
                </a:lnTo>
                <a:lnTo>
                  <a:pt x="1507730" y="2278446"/>
                </a:lnTo>
                <a:lnTo>
                  <a:pt x="1509683" y="2280395"/>
                </a:lnTo>
                <a:lnTo>
                  <a:pt x="1511202" y="2280287"/>
                </a:lnTo>
                <a:lnTo>
                  <a:pt x="1513481" y="2281261"/>
                </a:lnTo>
                <a:lnTo>
                  <a:pt x="1514349" y="2282993"/>
                </a:lnTo>
                <a:lnTo>
                  <a:pt x="1514674" y="2284509"/>
                </a:lnTo>
                <a:lnTo>
                  <a:pt x="1516302" y="2286133"/>
                </a:lnTo>
                <a:lnTo>
                  <a:pt x="1516303" y="2286133"/>
                </a:lnTo>
                <a:lnTo>
                  <a:pt x="1514675" y="2284509"/>
                </a:lnTo>
                <a:lnTo>
                  <a:pt x="1514350" y="2282993"/>
                </a:lnTo>
                <a:lnTo>
                  <a:pt x="1513481" y="2281261"/>
                </a:lnTo>
                <a:lnTo>
                  <a:pt x="1511202" y="2280286"/>
                </a:lnTo>
                <a:lnTo>
                  <a:pt x="1509683" y="2280394"/>
                </a:lnTo>
                <a:lnTo>
                  <a:pt x="1507730" y="2278446"/>
                </a:lnTo>
                <a:lnTo>
                  <a:pt x="1506319" y="2278446"/>
                </a:lnTo>
                <a:close/>
                <a:moveTo>
                  <a:pt x="4174201" y="2276821"/>
                </a:moveTo>
                <a:lnTo>
                  <a:pt x="4173799" y="2277376"/>
                </a:lnTo>
                <a:lnTo>
                  <a:pt x="4174201" y="2276821"/>
                </a:lnTo>
                <a:close/>
                <a:moveTo>
                  <a:pt x="4520477" y="2276713"/>
                </a:moveTo>
                <a:lnTo>
                  <a:pt x="4517114" y="2284941"/>
                </a:lnTo>
                <a:lnTo>
                  <a:pt x="4514292" y="2292521"/>
                </a:lnTo>
                <a:lnTo>
                  <a:pt x="4517114" y="2284942"/>
                </a:lnTo>
                <a:lnTo>
                  <a:pt x="4520477" y="2276713"/>
                </a:lnTo>
                <a:close/>
                <a:moveTo>
                  <a:pt x="5060239" y="2275739"/>
                </a:moveTo>
                <a:lnTo>
                  <a:pt x="5060239" y="2275740"/>
                </a:lnTo>
                <a:lnTo>
                  <a:pt x="5062304" y="2277166"/>
                </a:lnTo>
                <a:close/>
                <a:moveTo>
                  <a:pt x="1556128" y="2274440"/>
                </a:moveTo>
                <a:lnTo>
                  <a:pt x="1556128" y="2274440"/>
                </a:lnTo>
                <a:lnTo>
                  <a:pt x="1557972" y="2274873"/>
                </a:lnTo>
                <a:lnTo>
                  <a:pt x="1558407" y="2275523"/>
                </a:lnTo>
                <a:lnTo>
                  <a:pt x="1560252" y="2275198"/>
                </a:lnTo>
                <a:lnTo>
                  <a:pt x="1558408" y="2275522"/>
                </a:lnTo>
                <a:lnTo>
                  <a:pt x="1557973" y="2274873"/>
                </a:lnTo>
                <a:close/>
                <a:moveTo>
                  <a:pt x="1580544" y="2274332"/>
                </a:moveTo>
                <a:lnTo>
                  <a:pt x="1578879" y="2274619"/>
                </a:lnTo>
                <a:lnTo>
                  <a:pt x="1580544" y="2274332"/>
                </a:lnTo>
                <a:lnTo>
                  <a:pt x="1583691" y="2275956"/>
                </a:lnTo>
                <a:lnTo>
                  <a:pt x="1585753" y="2279529"/>
                </a:lnTo>
                <a:lnTo>
                  <a:pt x="1590419" y="2283318"/>
                </a:lnTo>
                <a:lnTo>
                  <a:pt x="1594109" y="2289057"/>
                </a:lnTo>
                <a:lnTo>
                  <a:pt x="1595954" y="2294037"/>
                </a:lnTo>
                <a:lnTo>
                  <a:pt x="1597256" y="2296095"/>
                </a:lnTo>
                <a:lnTo>
                  <a:pt x="1597798" y="2299775"/>
                </a:lnTo>
                <a:lnTo>
                  <a:pt x="1598124" y="2305405"/>
                </a:lnTo>
                <a:lnTo>
                  <a:pt x="1600728" y="2306705"/>
                </a:lnTo>
                <a:lnTo>
                  <a:pt x="1601922" y="2309953"/>
                </a:lnTo>
                <a:lnTo>
                  <a:pt x="1605068" y="2318614"/>
                </a:lnTo>
                <a:lnTo>
                  <a:pt x="1607022" y="2319914"/>
                </a:lnTo>
                <a:lnTo>
                  <a:pt x="1608107" y="2322946"/>
                </a:lnTo>
                <a:lnTo>
                  <a:pt x="1611797" y="2325003"/>
                </a:lnTo>
                <a:lnTo>
                  <a:pt x="1612882" y="2329550"/>
                </a:lnTo>
                <a:lnTo>
                  <a:pt x="1615161" y="2333556"/>
                </a:lnTo>
                <a:lnTo>
                  <a:pt x="1619176" y="2337670"/>
                </a:lnTo>
                <a:lnTo>
                  <a:pt x="1618742" y="2342001"/>
                </a:lnTo>
                <a:lnTo>
                  <a:pt x="1618308" y="2346332"/>
                </a:lnTo>
                <a:lnTo>
                  <a:pt x="1618199" y="2347631"/>
                </a:lnTo>
                <a:lnTo>
                  <a:pt x="1618634" y="2349039"/>
                </a:lnTo>
                <a:lnTo>
                  <a:pt x="1623408" y="2363005"/>
                </a:lnTo>
                <a:lnTo>
                  <a:pt x="1623191" y="2369177"/>
                </a:lnTo>
                <a:lnTo>
                  <a:pt x="1625253" y="2371558"/>
                </a:lnTo>
                <a:lnTo>
                  <a:pt x="1625795" y="2372209"/>
                </a:lnTo>
                <a:lnTo>
                  <a:pt x="1628617" y="2373291"/>
                </a:lnTo>
                <a:lnTo>
                  <a:pt x="1628618" y="2373291"/>
                </a:lnTo>
                <a:lnTo>
                  <a:pt x="1625796" y="2372208"/>
                </a:lnTo>
                <a:lnTo>
                  <a:pt x="1625254" y="2371558"/>
                </a:lnTo>
                <a:lnTo>
                  <a:pt x="1623192" y="2369177"/>
                </a:lnTo>
                <a:lnTo>
                  <a:pt x="1623409" y="2363005"/>
                </a:lnTo>
                <a:lnTo>
                  <a:pt x="1618634" y="2349038"/>
                </a:lnTo>
                <a:lnTo>
                  <a:pt x="1618200" y="2347631"/>
                </a:lnTo>
                <a:lnTo>
                  <a:pt x="1618308" y="2346332"/>
                </a:lnTo>
                <a:lnTo>
                  <a:pt x="1618742" y="2342001"/>
                </a:lnTo>
                <a:lnTo>
                  <a:pt x="1619176" y="2337670"/>
                </a:lnTo>
                <a:lnTo>
                  <a:pt x="1615161" y="2333556"/>
                </a:lnTo>
                <a:lnTo>
                  <a:pt x="1612883" y="2329550"/>
                </a:lnTo>
                <a:lnTo>
                  <a:pt x="1611798" y="2325003"/>
                </a:lnTo>
                <a:lnTo>
                  <a:pt x="1608108" y="2322945"/>
                </a:lnTo>
                <a:lnTo>
                  <a:pt x="1607023" y="2319914"/>
                </a:lnTo>
                <a:lnTo>
                  <a:pt x="1605069" y="2318614"/>
                </a:lnTo>
                <a:lnTo>
                  <a:pt x="1601922" y="2309953"/>
                </a:lnTo>
                <a:lnTo>
                  <a:pt x="1600729" y="2306705"/>
                </a:lnTo>
                <a:lnTo>
                  <a:pt x="1598124" y="2305405"/>
                </a:lnTo>
                <a:lnTo>
                  <a:pt x="1597799" y="2299775"/>
                </a:lnTo>
                <a:lnTo>
                  <a:pt x="1597256" y="2296094"/>
                </a:lnTo>
                <a:lnTo>
                  <a:pt x="1595954" y="2294037"/>
                </a:lnTo>
                <a:lnTo>
                  <a:pt x="1594109" y="2289057"/>
                </a:lnTo>
                <a:lnTo>
                  <a:pt x="1590420" y="2283318"/>
                </a:lnTo>
                <a:lnTo>
                  <a:pt x="1585754" y="2279528"/>
                </a:lnTo>
                <a:lnTo>
                  <a:pt x="1583692" y="2275955"/>
                </a:lnTo>
                <a:close/>
                <a:moveTo>
                  <a:pt x="1505342" y="2273790"/>
                </a:moveTo>
                <a:lnTo>
                  <a:pt x="1506427" y="2277147"/>
                </a:lnTo>
                <a:lnTo>
                  <a:pt x="1506427" y="2277147"/>
                </a:lnTo>
                <a:close/>
                <a:moveTo>
                  <a:pt x="4174902" y="2273778"/>
                </a:moveTo>
                <a:lnTo>
                  <a:pt x="4173984" y="2274764"/>
                </a:lnTo>
                <a:lnTo>
                  <a:pt x="4174189" y="2276708"/>
                </a:lnTo>
                <a:lnTo>
                  <a:pt x="4173984" y="2274764"/>
                </a:lnTo>
                <a:close/>
                <a:moveTo>
                  <a:pt x="5871650" y="2273497"/>
                </a:moveTo>
                <a:lnTo>
                  <a:pt x="5874874" y="2275740"/>
                </a:lnTo>
                <a:lnTo>
                  <a:pt x="5881927" y="2283210"/>
                </a:lnTo>
                <a:lnTo>
                  <a:pt x="5887461" y="2283318"/>
                </a:lnTo>
                <a:lnTo>
                  <a:pt x="5892671" y="2285917"/>
                </a:lnTo>
                <a:lnTo>
                  <a:pt x="5894624" y="2289057"/>
                </a:lnTo>
                <a:lnTo>
                  <a:pt x="5898856" y="2294037"/>
                </a:lnTo>
                <a:lnTo>
                  <a:pt x="5900918" y="2299126"/>
                </a:lnTo>
                <a:lnTo>
                  <a:pt x="5903305" y="2298151"/>
                </a:lnTo>
                <a:lnTo>
                  <a:pt x="5903848" y="2291114"/>
                </a:lnTo>
                <a:lnTo>
                  <a:pt x="5906669" y="2288515"/>
                </a:lnTo>
                <a:lnTo>
                  <a:pt x="5908297" y="2290572"/>
                </a:lnTo>
                <a:lnTo>
                  <a:pt x="5913289" y="2290572"/>
                </a:lnTo>
                <a:lnTo>
                  <a:pt x="5918389" y="2293604"/>
                </a:lnTo>
                <a:lnTo>
                  <a:pt x="5919040" y="2300208"/>
                </a:lnTo>
                <a:lnTo>
                  <a:pt x="5924900" y="2305405"/>
                </a:lnTo>
                <a:lnTo>
                  <a:pt x="5932496" y="2303348"/>
                </a:lnTo>
                <a:lnTo>
                  <a:pt x="5938573" y="2304106"/>
                </a:lnTo>
                <a:lnTo>
                  <a:pt x="5938573" y="2304105"/>
                </a:lnTo>
                <a:lnTo>
                  <a:pt x="5932496" y="2303348"/>
                </a:lnTo>
                <a:lnTo>
                  <a:pt x="5924900" y="2305405"/>
                </a:lnTo>
                <a:lnTo>
                  <a:pt x="5919040" y="2300208"/>
                </a:lnTo>
                <a:lnTo>
                  <a:pt x="5918389" y="2293603"/>
                </a:lnTo>
                <a:lnTo>
                  <a:pt x="5913289" y="2290571"/>
                </a:lnTo>
                <a:lnTo>
                  <a:pt x="5908297" y="2290571"/>
                </a:lnTo>
                <a:lnTo>
                  <a:pt x="5906669" y="2288514"/>
                </a:lnTo>
                <a:lnTo>
                  <a:pt x="5903848" y="2291113"/>
                </a:lnTo>
                <a:lnTo>
                  <a:pt x="5903305" y="2298150"/>
                </a:lnTo>
                <a:lnTo>
                  <a:pt x="5900918" y="2299125"/>
                </a:lnTo>
                <a:lnTo>
                  <a:pt x="5898856" y="2294036"/>
                </a:lnTo>
                <a:lnTo>
                  <a:pt x="5894624" y="2289056"/>
                </a:lnTo>
                <a:lnTo>
                  <a:pt x="5892671" y="2285916"/>
                </a:lnTo>
                <a:lnTo>
                  <a:pt x="5887461" y="2283318"/>
                </a:lnTo>
                <a:lnTo>
                  <a:pt x="5881927" y="2283209"/>
                </a:lnTo>
                <a:lnTo>
                  <a:pt x="5874874" y="2275738"/>
                </a:lnTo>
                <a:close/>
                <a:moveTo>
                  <a:pt x="1574576" y="2272599"/>
                </a:moveTo>
                <a:lnTo>
                  <a:pt x="1570835" y="2272955"/>
                </a:lnTo>
                <a:lnTo>
                  <a:pt x="1574576" y="2272600"/>
                </a:lnTo>
                <a:lnTo>
                  <a:pt x="1576421" y="2273574"/>
                </a:lnTo>
                <a:lnTo>
                  <a:pt x="1577397" y="2274873"/>
                </a:lnTo>
                <a:lnTo>
                  <a:pt x="1577398" y="2274873"/>
                </a:lnTo>
                <a:lnTo>
                  <a:pt x="1576421" y="2273574"/>
                </a:lnTo>
                <a:close/>
                <a:moveTo>
                  <a:pt x="1561663" y="2272383"/>
                </a:moveTo>
                <a:lnTo>
                  <a:pt x="1561663" y="2272383"/>
                </a:lnTo>
                <a:lnTo>
                  <a:pt x="1566003" y="2272383"/>
                </a:lnTo>
                <a:lnTo>
                  <a:pt x="1570018" y="2273032"/>
                </a:lnTo>
                <a:lnTo>
                  <a:pt x="1570018" y="2273032"/>
                </a:lnTo>
                <a:lnTo>
                  <a:pt x="1566004" y="2272383"/>
                </a:lnTo>
                <a:close/>
                <a:moveTo>
                  <a:pt x="3869452" y="2271109"/>
                </a:moveTo>
                <a:lnTo>
                  <a:pt x="3867641" y="2275198"/>
                </a:lnTo>
                <a:lnTo>
                  <a:pt x="3857711" y="2281997"/>
                </a:lnTo>
                <a:lnTo>
                  <a:pt x="3867642" y="2275197"/>
                </a:lnTo>
                <a:close/>
                <a:moveTo>
                  <a:pt x="5665944" y="2268303"/>
                </a:moveTo>
                <a:lnTo>
                  <a:pt x="5668042" y="2269892"/>
                </a:lnTo>
                <a:lnTo>
                  <a:pt x="5668043" y="2269945"/>
                </a:lnTo>
                <a:lnTo>
                  <a:pt x="5668042" y="2269891"/>
                </a:lnTo>
                <a:close/>
                <a:moveTo>
                  <a:pt x="5829405" y="2264803"/>
                </a:moveTo>
                <a:lnTo>
                  <a:pt x="5828428" y="2266210"/>
                </a:lnTo>
                <a:lnTo>
                  <a:pt x="5828104" y="2266643"/>
                </a:lnTo>
                <a:lnTo>
                  <a:pt x="5828104" y="2266644"/>
                </a:lnTo>
                <a:lnTo>
                  <a:pt x="5828429" y="2266210"/>
                </a:lnTo>
                <a:lnTo>
                  <a:pt x="5828429" y="2266210"/>
                </a:lnTo>
                <a:lnTo>
                  <a:pt x="5829405" y="2264804"/>
                </a:lnTo>
                <a:lnTo>
                  <a:pt x="5836459" y="2268377"/>
                </a:lnTo>
                <a:lnTo>
                  <a:pt x="5838195" y="2270975"/>
                </a:lnTo>
                <a:lnTo>
                  <a:pt x="5843079" y="2270759"/>
                </a:lnTo>
                <a:lnTo>
                  <a:pt x="5845574" y="2271950"/>
                </a:lnTo>
                <a:lnTo>
                  <a:pt x="5848613" y="2267728"/>
                </a:lnTo>
                <a:lnTo>
                  <a:pt x="5854473" y="2267186"/>
                </a:lnTo>
                <a:lnTo>
                  <a:pt x="5863153" y="2270434"/>
                </a:lnTo>
                <a:lnTo>
                  <a:pt x="5865650" y="2272924"/>
                </a:lnTo>
                <a:lnTo>
                  <a:pt x="5871293" y="2273249"/>
                </a:lnTo>
                <a:lnTo>
                  <a:pt x="5871292" y="2273248"/>
                </a:lnTo>
                <a:lnTo>
                  <a:pt x="5865650" y="2272924"/>
                </a:lnTo>
                <a:lnTo>
                  <a:pt x="5863154" y="2270434"/>
                </a:lnTo>
                <a:lnTo>
                  <a:pt x="5854472" y="2267185"/>
                </a:lnTo>
                <a:lnTo>
                  <a:pt x="5848613" y="2267726"/>
                </a:lnTo>
                <a:lnTo>
                  <a:pt x="5845574" y="2271949"/>
                </a:lnTo>
                <a:lnTo>
                  <a:pt x="5843079" y="2270758"/>
                </a:lnTo>
                <a:lnTo>
                  <a:pt x="5838195" y="2270975"/>
                </a:lnTo>
                <a:lnTo>
                  <a:pt x="5836459" y="2268376"/>
                </a:lnTo>
                <a:close/>
                <a:moveTo>
                  <a:pt x="4762689" y="2264640"/>
                </a:moveTo>
                <a:lnTo>
                  <a:pt x="4762903" y="2268268"/>
                </a:lnTo>
                <a:lnTo>
                  <a:pt x="4761818" y="2273574"/>
                </a:lnTo>
                <a:lnTo>
                  <a:pt x="4761818" y="2278770"/>
                </a:lnTo>
                <a:lnTo>
                  <a:pt x="4760299" y="2279745"/>
                </a:lnTo>
                <a:lnTo>
                  <a:pt x="4760299" y="2279745"/>
                </a:lnTo>
                <a:lnTo>
                  <a:pt x="4761818" y="2278771"/>
                </a:lnTo>
                <a:lnTo>
                  <a:pt x="4761818" y="2273574"/>
                </a:lnTo>
                <a:lnTo>
                  <a:pt x="4762904" y="2268269"/>
                </a:lnTo>
                <a:close/>
                <a:moveTo>
                  <a:pt x="4762687" y="2264582"/>
                </a:moveTo>
                <a:lnTo>
                  <a:pt x="4762686" y="2264587"/>
                </a:lnTo>
                <a:lnTo>
                  <a:pt x="4762686" y="2264587"/>
                </a:lnTo>
                <a:close/>
                <a:moveTo>
                  <a:pt x="5384053" y="2263721"/>
                </a:moveTo>
                <a:lnTo>
                  <a:pt x="5382099" y="2266645"/>
                </a:lnTo>
                <a:lnTo>
                  <a:pt x="5364199" y="2291107"/>
                </a:lnTo>
                <a:lnTo>
                  <a:pt x="5364196" y="2291112"/>
                </a:lnTo>
                <a:lnTo>
                  <a:pt x="5364198" y="2291109"/>
                </a:lnTo>
                <a:lnTo>
                  <a:pt x="5364199" y="2291107"/>
                </a:lnTo>
                <a:lnTo>
                  <a:pt x="5381868" y="2266963"/>
                </a:lnTo>
                <a:lnTo>
                  <a:pt x="5382100" y="2266644"/>
                </a:lnTo>
                <a:lnTo>
                  <a:pt x="5384053" y="2263721"/>
                </a:lnTo>
                <a:close/>
                <a:moveTo>
                  <a:pt x="5668313" y="2263720"/>
                </a:moveTo>
                <a:lnTo>
                  <a:pt x="5664895" y="2267509"/>
                </a:lnTo>
                <a:lnTo>
                  <a:pt x="5664895" y="2267509"/>
                </a:lnTo>
                <a:close/>
                <a:moveTo>
                  <a:pt x="1501224" y="2262152"/>
                </a:moveTo>
                <a:lnTo>
                  <a:pt x="1500675" y="2262530"/>
                </a:lnTo>
                <a:lnTo>
                  <a:pt x="1497962" y="2263288"/>
                </a:lnTo>
                <a:lnTo>
                  <a:pt x="1497962" y="2265020"/>
                </a:lnTo>
                <a:lnTo>
                  <a:pt x="1502087" y="2269892"/>
                </a:lnTo>
                <a:lnTo>
                  <a:pt x="1497963" y="2265020"/>
                </a:lnTo>
                <a:lnTo>
                  <a:pt x="1497963" y="2263288"/>
                </a:lnTo>
                <a:lnTo>
                  <a:pt x="1500676" y="2262530"/>
                </a:lnTo>
                <a:close/>
                <a:moveTo>
                  <a:pt x="5487036" y="2259282"/>
                </a:moveTo>
                <a:lnTo>
                  <a:pt x="5487469" y="2265778"/>
                </a:lnTo>
                <a:lnTo>
                  <a:pt x="5489097" y="2273574"/>
                </a:lnTo>
                <a:lnTo>
                  <a:pt x="5489097" y="2273573"/>
                </a:lnTo>
                <a:lnTo>
                  <a:pt x="5487470" y="2265777"/>
                </a:lnTo>
                <a:close/>
                <a:moveTo>
                  <a:pt x="4734942" y="2258776"/>
                </a:moveTo>
                <a:lnTo>
                  <a:pt x="4738053" y="2263396"/>
                </a:lnTo>
                <a:lnTo>
                  <a:pt x="4740548" y="2272166"/>
                </a:lnTo>
                <a:lnTo>
                  <a:pt x="4744530" y="2278189"/>
                </a:lnTo>
                <a:lnTo>
                  <a:pt x="4740549" y="2272166"/>
                </a:lnTo>
                <a:lnTo>
                  <a:pt x="4738053" y="2263396"/>
                </a:lnTo>
                <a:close/>
                <a:moveTo>
                  <a:pt x="4173501" y="2255499"/>
                </a:moveTo>
                <a:lnTo>
                  <a:pt x="4173332" y="2256791"/>
                </a:lnTo>
                <a:lnTo>
                  <a:pt x="4172464" y="2260039"/>
                </a:lnTo>
                <a:lnTo>
                  <a:pt x="4174852" y="2267510"/>
                </a:lnTo>
                <a:lnTo>
                  <a:pt x="4175394" y="2273248"/>
                </a:lnTo>
                <a:lnTo>
                  <a:pt x="4175395" y="2273248"/>
                </a:lnTo>
                <a:lnTo>
                  <a:pt x="4174852" y="2267510"/>
                </a:lnTo>
                <a:lnTo>
                  <a:pt x="4172465" y="2260039"/>
                </a:lnTo>
                <a:lnTo>
                  <a:pt x="4173333" y="2256791"/>
                </a:lnTo>
                <a:close/>
                <a:moveTo>
                  <a:pt x="4805442" y="2252028"/>
                </a:moveTo>
                <a:lnTo>
                  <a:pt x="4832463" y="2281261"/>
                </a:lnTo>
                <a:lnTo>
                  <a:pt x="4805442" y="2252028"/>
                </a:lnTo>
                <a:close/>
                <a:moveTo>
                  <a:pt x="4177022" y="2251811"/>
                </a:moveTo>
                <a:lnTo>
                  <a:pt x="4174089" y="2253982"/>
                </a:lnTo>
                <a:lnTo>
                  <a:pt x="4177022" y="2251811"/>
                </a:lnTo>
                <a:lnTo>
                  <a:pt x="4182556" y="2252027"/>
                </a:lnTo>
                <a:close/>
                <a:moveTo>
                  <a:pt x="5049581" y="2248088"/>
                </a:moveTo>
                <a:lnTo>
                  <a:pt x="5049278" y="2254627"/>
                </a:lnTo>
                <a:lnTo>
                  <a:pt x="5051123" y="2261015"/>
                </a:lnTo>
                <a:lnTo>
                  <a:pt x="5058719" y="2261015"/>
                </a:lnTo>
                <a:lnTo>
                  <a:pt x="5059602" y="2269570"/>
                </a:lnTo>
                <a:lnTo>
                  <a:pt x="5058720" y="2261014"/>
                </a:lnTo>
                <a:lnTo>
                  <a:pt x="5051123" y="2261014"/>
                </a:lnTo>
                <a:lnTo>
                  <a:pt x="5049279" y="2254627"/>
                </a:lnTo>
                <a:close/>
                <a:moveTo>
                  <a:pt x="4753788" y="2247263"/>
                </a:moveTo>
                <a:lnTo>
                  <a:pt x="4752702" y="2254626"/>
                </a:lnTo>
                <a:lnTo>
                  <a:pt x="4753630" y="2255552"/>
                </a:lnTo>
                <a:lnTo>
                  <a:pt x="4752703" y="2254627"/>
                </a:lnTo>
                <a:lnTo>
                  <a:pt x="4753788" y="2247264"/>
                </a:lnTo>
                <a:close/>
                <a:moveTo>
                  <a:pt x="5497453" y="2246398"/>
                </a:moveTo>
                <a:lnTo>
                  <a:pt x="5496491" y="2248378"/>
                </a:lnTo>
                <a:lnTo>
                  <a:pt x="5497454" y="2246398"/>
                </a:lnTo>
                <a:close/>
                <a:moveTo>
                  <a:pt x="3882508" y="2244016"/>
                </a:moveTo>
                <a:lnTo>
                  <a:pt x="3876756" y="2253110"/>
                </a:lnTo>
                <a:lnTo>
                  <a:pt x="3871765" y="2257549"/>
                </a:lnTo>
                <a:lnTo>
                  <a:pt x="3869797" y="2262223"/>
                </a:lnTo>
                <a:lnTo>
                  <a:pt x="3871765" y="2257550"/>
                </a:lnTo>
                <a:lnTo>
                  <a:pt x="3876757" y="2253111"/>
                </a:lnTo>
                <a:lnTo>
                  <a:pt x="3882508" y="2244016"/>
                </a:lnTo>
                <a:close/>
                <a:moveTo>
                  <a:pt x="5378742" y="2240210"/>
                </a:moveTo>
                <a:lnTo>
                  <a:pt x="5382099" y="2247698"/>
                </a:lnTo>
                <a:lnTo>
                  <a:pt x="5381665" y="2254302"/>
                </a:lnTo>
                <a:lnTo>
                  <a:pt x="5383816" y="2262785"/>
                </a:lnTo>
                <a:lnTo>
                  <a:pt x="5381666" y="2254301"/>
                </a:lnTo>
                <a:lnTo>
                  <a:pt x="5382100" y="2247697"/>
                </a:lnTo>
                <a:close/>
                <a:moveTo>
                  <a:pt x="4191909" y="2240108"/>
                </a:moveTo>
                <a:lnTo>
                  <a:pt x="4186897" y="2243257"/>
                </a:lnTo>
                <a:lnTo>
                  <a:pt x="4186897" y="2243258"/>
                </a:lnTo>
                <a:close/>
                <a:moveTo>
                  <a:pt x="5513623" y="2238493"/>
                </a:moveTo>
                <a:lnTo>
                  <a:pt x="5513622" y="2238494"/>
                </a:lnTo>
                <a:lnTo>
                  <a:pt x="5517528" y="2239685"/>
                </a:lnTo>
                <a:lnTo>
                  <a:pt x="5517529" y="2239684"/>
                </a:lnTo>
                <a:close/>
                <a:moveTo>
                  <a:pt x="6803560" y="2238169"/>
                </a:moveTo>
                <a:lnTo>
                  <a:pt x="6805513" y="2238926"/>
                </a:lnTo>
                <a:lnTo>
                  <a:pt x="6808335" y="2238602"/>
                </a:lnTo>
                <a:lnTo>
                  <a:pt x="6812892" y="2241308"/>
                </a:lnTo>
                <a:lnTo>
                  <a:pt x="6812784" y="2245206"/>
                </a:lnTo>
                <a:lnTo>
                  <a:pt x="6809419" y="2242932"/>
                </a:lnTo>
                <a:lnTo>
                  <a:pt x="6804753" y="2241417"/>
                </a:lnTo>
                <a:close/>
                <a:moveTo>
                  <a:pt x="3919187" y="2236761"/>
                </a:moveTo>
                <a:lnTo>
                  <a:pt x="3919729" y="2238169"/>
                </a:lnTo>
                <a:lnTo>
                  <a:pt x="3919729" y="2238169"/>
                </a:lnTo>
                <a:close/>
                <a:moveTo>
                  <a:pt x="1487941" y="2235831"/>
                </a:moveTo>
                <a:lnTo>
                  <a:pt x="1487653" y="2237737"/>
                </a:lnTo>
                <a:lnTo>
                  <a:pt x="1486460" y="2239577"/>
                </a:lnTo>
                <a:lnTo>
                  <a:pt x="1489390" y="2240443"/>
                </a:lnTo>
                <a:lnTo>
                  <a:pt x="1492646" y="2242608"/>
                </a:lnTo>
                <a:lnTo>
                  <a:pt x="1494816" y="2246073"/>
                </a:lnTo>
                <a:lnTo>
                  <a:pt x="1495359" y="2251270"/>
                </a:lnTo>
                <a:lnTo>
                  <a:pt x="1496986" y="2253219"/>
                </a:lnTo>
                <a:lnTo>
                  <a:pt x="1498397" y="2253544"/>
                </a:lnTo>
                <a:lnTo>
                  <a:pt x="1499157" y="2255384"/>
                </a:lnTo>
                <a:lnTo>
                  <a:pt x="1501978" y="2257875"/>
                </a:lnTo>
                <a:lnTo>
                  <a:pt x="1502087" y="2261555"/>
                </a:lnTo>
                <a:lnTo>
                  <a:pt x="1501979" y="2257874"/>
                </a:lnTo>
                <a:lnTo>
                  <a:pt x="1499157" y="2255384"/>
                </a:lnTo>
                <a:lnTo>
                  <a:pt x="1498398" y="2253543"/>
                </a:lnTo>
                <a:lnTo>
                  <a:pt x="1496986" y="2253219"/>
                </a:lnTo>
                <a:lnTo>
                  <a:pt x="1495359" y="2251270"/>
                </a:lnTo>
                <a:lnTo>
                  <a:pt x="1494816" y="2246073"/>
                </a:lnTo>
                <a:lnTo>
                  <a:pt x="1492646" y="2242608"/>
                </a:lnTo>
                <a:lnTo>
                  <a:pt x="1489390" y="2240443"/>
                </a:lnTo>
                <a:lnTo>
                  <a:pt x="1486461" y="2239577"/>
                </a:lnTo>
                <a:lnTo>
                  <a:pt x="1487654" y="2237736"/>
                </a:lnTo>
                <a:close/>
                <a:moveTo>
                  <a:pt x="5675963" y="2233886"/>
                </a:moveTo>
                <a:lnTo>
                  <a:pt x="5677483" y="2239468"/>
                </a:lnTo>
                <a:lnTo>
                  <a:pt x="5677483" y="2239467"/>
                </a:lnTo>
                <a:close/>
                <a:moveTo>
                  <a:pt x="4141276" y="2232609"/>
                </a:moveTo>
                <a:lnTo>
                  <a:pt x="4147180" y="2239144"/>
                </a:lnTo>
                <a:lnTo>
                  <a:pt x="4147180" y="2239143"/>
                </a:lnTo>
                <a:close/>
                <a:moveTo>
                  <a:pt x="4849614" y="2232107"/>
                </a:moveTo>
                <a:lnTo>
                  <a:pt x="4851875" y="2232379"/>
                </a:lnTo>
                <a:lnTo>
                  <a:pt x="4849615" y="2232107"/>
                </a:lnTo>
                <a:close/>
                <a:moveTo>
                  <a:pt x="4137414" y="2231672"/>
                </a:moveTo>
                <a:lnTo>
                  <a:pt x="4137414" y="2231673"/>
                </a:lnTo>
                <a:lnTo>
                  <a:pt x="4141212" y="2232539"/>
                </a:lnTo>
                <a:lnTo>
                  <a:pt x="4141212" y="2232538"/>
                </a:lnTo>
                <a:close/>
                <a:moveTo>
                  <a:pt x="4765182" y="2230266"/>
                </a:moveTo>
                <a:lnTo>
                  <a:pt x="4765616" y="2233081"/>
                </a:lnTo>
                <a:lnTo>
                  <a:pt x="4764748" y="2235354"/>
                </a:lnTo>
                <a:lnTo>
                  <a:pt x="4764314" y="2241742"/>
                </a:lnTo>
                <a:lnTo>
                  <a:pt x="4764748" y="2235355"/>
                </a:lnTo>
                <a:lnTo>
                  <a:pt x="4765617" y="2233081"/>
                </a:lnTo>
                <a:close/>
                <a:moveTo>
                  <a:pt x="4765073" y="2228641"/>
                </a:moveTo>
                <a:lnTo>
                  <a:pt x="4762252" y="2231240"/>
                </a:lnTo>
                <a:lnTo>
                  <a:pt x="4759756" y="2230915"/>
                </a:lnTo>
                <a:lnTo>
                  <a:pt x="4759756" y="2230915"/>
                </a:lnTo>
                <a:lnTo>
                  <a:pt x="4762253" y="2231240"/>
                </a:lnTo>
                <a:lnTo>
                  <a:pt x="4765073" y="2228642"/>
                </a:lnTo>
                <a:lnTo>
                  <a:pt x="4765073" y="2228642"/>
                </a:lnTo>
                <a:close/>
                <a:moveTo>
                  <a:pt x="5524148" y="2228534"/>
                </a:moveTo>
                <a:lnTo>
                  <a:pt x="5522629" y="2231565"/>
                </a:lnTo>
                <a:lnTo>
                  <a:pt x="5522630" y="2231564"/>
                </a:lnTo>
                <a:close/>
                <a:moveTo>
                  <a:pt x="4132355" y="2228040"/>
                </a:moveTo>
                <a:lnTo>
                  <a:pt x="4135135" y="2229183"/>
                </a:lnTo>
                <a:lnTo>
                  <a:pt x="4135134" y="2229182"/>
                </a:lnTo>
                <a:close/>
                <a:moveTo>
                  <a:pt x="5538764" y="2227353"/>
                </a:moveTo>
                <a:lnTo>
                  <a:pt x="5538472" y="2230264"/>
                </a:lnTo>
                <a:lnTo>
                  <a:pt x="5538473" y="2230264"/>
                </a:lnTo>
                <a:close/>
                <a:moveTo>
                  <a:pt x="4753570" y="2227126"/>
                </a:moveTo>
                <a:lnTo>
                  <a:pt x="4752377" y="2233622"/>
                </a:lnTo>
                <a:lnTo>
                  <a:pt x="4753617" y="2235809"/>
                </a:lnTo>
                <a:lnTo>
                  <a:pt x="4752378" y="2233622"/>
                </a:lnTo>
                <a:lnTo>
                  <a:pt x="4753571" y="2227126"/>
                </a:lnTo>
                <a:lnTo>
                  <a:pt x="4759322" y="2227126"/>
                </a:lnTo>
                <a:lnTo>
                  <a:pt x="4759343" y="2227308"/>
                </a:lnTo>
                <a:lnTo>
                  <a:pt x="4759322" y="2227126"/>
                </a:lnTo>
                <a:close/>
                <a:moveTo>
                  <a:pt x="3912466" y="2225593"/>
                </a:moveTo>
                <a:lnTo>
                  <a:pt x="3914737" y="2226259"/>
                </a:lnTo>
                <a:lnTo>
                  <a:pt x="3917124" y="2228425"/>
                </a:lnTo>
                <a:lnTo>
                  <a:pt x="3919729" y="2228533"/>
                </a:lnTo>
                <a:lnTo>
                  <a:pt x="3921899" y="2230157"/>
                </a:lnTo>
                <a:lnTo>
                  <a:pt x="3919800" y="2235268"/>
                </a:lnTo>
                <a:lnTo>
                  <a:pt x="3921900" y="2230157"/>
                </a:lnTo>
                <a:lnTo>
                  <a:pt x="3919729" y="2228533"/>
                </a:lnTo>
                <a:lnTo>
                  <a:pt x="3917125" y="2228424"/>
                </a:lnTo>
                <a:lnTo>
                  <a:pt x="3914738" y="2226259"/>
                </a:lnTo>
                <a:close/>
                <a:moveTo>
                  <a:pt x="4204472" y="2225063"/>
                </a:moveTo>
                <a:lnTo>
                  <a:pt x="4205996" y="2226583"/>
                </a:lnTo>
                <a:lnTo>
                  <a:pt x="4202186" y="2232324"/>
                </a:lnTo>
                <a:lnTo>
                  <a:pt x="4205996" y="2226583"/>
                </a:lnTo>
                <a:close/>
                <a:moveTo>
                  <a:pt x="7007897" y="2221170"/>
                </a:moveTo>
                <a:lnTo>
                  <a:pt x="7010827" y="2224743"/>
                </a:lnTo>
                <a:lnTo>
                  <a:pt x="7011696" y="2227991"/>
                </a:lnTo>
                <a:lnTo>
                  <a:pt x="7010502" y="2230048"/>
                </a:lnTo>
                <a:lnTo>
                  <a:pt x="7006378" y="2229398"/>
                </a:lnTo>
                <a:lnTo>
                  <a:pt x="7003665" y="2224635"/>
                </a:lnTo>
                <a:lnTo>
                  <a:pt x="7004858" y="2221711"/>
                </a:lnTo>
                <a:close/>
                <a:moveTo>
                  <a:pt x="4771368" y="2221063"/>
                </a:moveTo>
                <a:lnTo>
                  <a:pt x="4768438" y="2223661"/>
                </a:lnTo>
                <a:lnTo>
                  <a:pt x="4771368" y="2221063"/>
                </a:lnTo>
                <a:lnTo>
                  <a:pt x="4771368" y="2221063"/>
                </a:lnTo>
                <a:close/>
                <a:moveTo>
                  <a:pt x="5039132" y="2220576"/>
                </a:moveTo>
                <a:lnTo>
                  <a:pt x="5040597" y="2221604"/>
                </a:lnTo>
                <a:lnTo>
                  <a:pt x="5045155" y="2230049"/>
                </a:lnTo>
                <a:lnTo>
                  <a:pt x="5049604" y="2232432"/>
                </a:lnTo>
                <a:lnTo>
                  <a:pt x="5054596" y="2243150"/>
                </a:lnTo>
                <a:lnTo>
                  <a:pt x="5054596" y="2243150"/>
                </a:lnTo>
                <a:lnTo>
                  <a:pt x="5049604" y="2232431"/>
                </a:lnTo>
                <a:lnTo>
                  <a:pt x="5045155" y="2230049"/>
                </a:lnTo>
                <a:lnTo>
                  <a:pt x="5040597" y="2221604"/>
                </a:lnTo>
                <a:close/>
                <a:moveTo>
                  <a:pt x="3553594" y="2219546"/>
                </a:moveTo>
                <a:lnTo>
                  <a:pt x="3556089" y="2223444"/>
                </a:lnTo>
                <a:cubicBezTo>
                  <a:pt x="3555104" y="2223970"/>
                  <a:pt x="3554090" y="2224440"/>
                  <a:pt x="3553050" y="2224852"/>
                </a:cubicBezTo>
                <a:lnTo>
                  <a:pt x="3548601" y="2223011"/>
                </a:lnTo>
                <a:lnTo>
                  <a:pt x="3547191" y="2220412"/>
                </a:lnTo>
                <a:close/>
                <a:moveTo>
                  <a:pt x="4119928" y="2214817"/>
                </a:moveTo>
                <a:lnTo>
                  <a:pt x="4121028" y="2215216"/>
                </a:lnTo>
                <a:lnTo>
                  <a:pt x="4121027" y="2215215"/>
                </a:lnTo>
                <a:close/>
                <a:moveTo>
                  <a:pt x="5549433" y="2214566"/>
                </a:moveTo>
                <a:lnTo>
                  <a:pt x="5549433" y="2214567"/>
                </a:lnTo>
                <a:lnTo>
                  <a:pt x="5551277" y="2225177"/>
                </a:lnTo>
                <a:lnTo>
                  <a:pt x="5549763" y="2227381"/>
                </a:lnTo>
                <a:lnTo>
                  <a:pt x="5551278" y="2225176"/>
                </a:lnTo>
                <a:close/>
                <a:moveTo>
                  <a:pt x="1427211" y="2211535"/>
                </a:moveTo>
                <a:lnTo>
                  <a:pt x="1465950" y="2212726"/>
                </a:lnTo>
                <a:lnTo>
                  <a:pt x="1470400" y="2215541"/>
                </a:lnTo>
                <a:lnTo>
                  <a:pt x="1474198" y="2220955"/>
                </a:lnTo>
                <a:lnTo>
                  <a:pt x="1476259" y="2223445"/>
                </a:lnTo>
                <a:lnTo>
                  <a:pt x="1476694" y="2225610"/>
                </a:lnTo>
                <a:lnTo>
                  <a:pt x="1479189" y="2225718"/>
                </a:lnTo>
                <a:lnTo>
                  <a:pt x="1481360" y="2228858"/>
                </a:lnTo>
                <a:lnTo>
                  <a:pt x="1480600" y="2231240"/>
                </a:lnTo>
                <a:lnTo>
                  <a:pt x="1484290" y="2232539"/>
                </a:lnTo>
                <a:lnTo>
                  <a:pt x="1487980" y="2235571"/>
                </a:lnTo>
                <a:lnTo>
                  <a:pt x="1487980" y="2235570"/>
                </a:lnTo>
                <a:lnTo>
                  <a:pt x="1484291" y="2232539"/>
                </a:lnTo>
                <a:lnTo>
                  <a:pt x="1480601" y="2231240"/>
                </a:lnTo>
                <a:lnTo>
                  <a:pt x="1481361" y="2228858"/>
                </a:lnTo>
                <a:lnTo>
                  <a:pt x="1479190" y="2225718"/>
                </a:lnTo>
                <a:lnTo>
                  <a:pt x="1476695" y="2225610"/>
                </a:lnTo>
                <a:lnTo>
                  <a:pt x="1476260" y="2223445"/>
                </a:lnTo>
                <a:lnTo>
                  <a:pt x="1474198" y="2220954"/>
                </a:lnTo>
                <a:lnTo>
                  <a:pt x="1470400" y="2215541"/>
                </a:lnTo>
                <a:lnTo>
                  <a:pt x="1465951" y="2212725"/>
                </a:lnTo>
                <a:close/>
                <a:moveTo>
                  <a:pt x="5009186" y="2209720"/>
                </a:moveTo>
                <a:lnTo>
                  <a:pt x="5010863" y="2210994"/>
                </a:lnTo>
                <a:lnTo>
                  <a:pt x="5010863" y="2210994"/>
                </a:lnTo>
                <a:close/>
                <a:moveTo>
                  <a:pt x="5017374" y="2208937"/>
                </a:moveTo>
                <a:lnTo>
                  <a:pt x="5035171" y="2220630"/>
                </a:lnTo>
                <a:lnTo>
                  <a:pt x="5037667" y="2219547"/>
                </a:lnTo>
                <a:lnTo>
                  <a:pt x="5037667" y="2219547"/>
                </a:lnTo>
                <a:lnTo>
                  <a:pt x="5035171" y="2220629"/>
                </a:lnTo>
                <a:lnTo>
                  <a:pt x="5017375" y="2208937"/>
                </a:lnTo>
                <a:close/>
                <a:moveTo>
                  <a:pt x="7013865" y="2208611"/>
                </a:moveTo>
                <a:lnTo>
                  <a:pt x="7016577" y="2210885"/>
                </a:lnTo>
                <a:lnTo>
                  <a:pt x="7017011" y="2214891"/>
                </a:lnTo>
                <a:lnTo>
                  <a:pt x="7015926" y="2218139"/>
                </a:lnTo>
                <a:lnTo>
                  <a:pt x="7014732" y="2219438"/>
                </a:lnTo>
                <a:lnTo>
                  <a:pt x="7013756" y="2211750"/>
                </a:lnTo>
                <a:close/>
                <a:moveTo>
                  <a:pt x="5691265" y="2205579"/>
                </a:moveTo>
                <a:lnTo>
                  <a:pt x="5685513" y="2207744"/>
                </a:lnTo>
                <a:lnTo>
                  <a:pt x="5678243" y="2206229"/>
                </a:lnTo>
                <a:lnTo>
                  <a:pt x="5677964" y="2205652"/>
                </a:lnTo>
                <a:lnTo>
                  <a:pt x="5678243" y="2206229"/>
                </a:lnTo>
                <a:lnTo>
                  <a:pt x="5685513" y="2207744"/>
                </a:lnTo>
                <a:close/>
                <a:moveTo>
                  <a:pt x="4767352" y="2203739"/>
                </a:moveTo>
                <a:lnTo>
                  <a:pt x="4766050" y="2206554"/>
                </a:lnTo>
                <a:lnTo>
                  <a:pt x="4764856" y="2212617"/>
                </a:lnTo>
                <a:lnTo>
                  <a:pt x="4763554" y="2219655"/>
                </a:lnTo>
                <a:lnTo>
                  <a:pt x="4764531" y="2223877"/>
                </a:lnTo>
                <a:lnTo>
                  <a:pt x="4765616" y="2225934"/>
                </a:lnTo>
                <a:lnTo>
                  <a:pt x="4764965" y="2225934"/>
                </a:lnTo>
                <a:lnTo>
                  <a:pt x="4764965" y="2225935"/>
                </a:lnTo>
                <a:lnTo>
                  <a:pt x="4765092" y="2225942"/>
                </a:lnTo>
                <a:lnTo>
                  <a:pt x="4764966" y="2225935"/>
                </a:lnTo>
                <a:lnTo>
                  <a:pt x="4765616" y="2225935"/>
                </a:lnTo>
                <a:lnTo>
                  <a:pt x="4766787" y="2226042"/>
                </a:lnTo>
                <a:lnTo>
                  <a:pt x="4766810" y="2226043"/>
                </a:lnTo>
                <a:lnTo>
                  <a:pt x="4766810" y="2226043"/>
                </a:lnTo>
                <a:lnTo>
                  <a:pt x="4765617" y="2225935"/>
                </a:lnTo>
                <a:lnTo>
                  <a:pt x="4764532" y="2223877"/>
                </a:lnTo>
                <a:lnTo>
                  <a:pt x="4763555" y="2219655"/>
                </a:lnTo>
                <a:lnTo>
                  <a:pt x="4764857" y="2212617"/>
                </a:lnTo>
                <a:lnTo>
                  <a:pt x="4766050" y="2206554"/>
                </a:lnTo>
                <a:lnTo>
                  <a:pt x="4767353" y="2203739"/>
                </a:lnTo>
                <a:close/>
                <a:moveTo>
                  <a:pt x="4767570" y="2203739"/>
                </a:moveTo>
                <a:lnTo>
                  <a:pt x="4768872" y="2205471"/>
                </a:lnTo>
                <a:lnTo>
                  <a:pt x="4772235" y="2208827"/>
                </a:lnTo>
                <a:lnTo>
                  <a:pt x="4772235" y="2208827"/>
                </a:lnTo>
                <a:lnTo>
                  <a:pt x="4768872" y="2205470"/>
                </a:lnTo>
                <a:close/>
                <a:moveTo>
                  <a:pt x="5005329" y="2202549"/>
                </a:moveTo>
                <a:lnTo>
                  <a:pt x="5006740" y="2204281"/>
                </a:lnTo>
                <a:lnTo>
                  <a:pt x="5006332" y="2205655"/>
                </a:lnTo>
                <a:lnTo>
                  <a:pt x="5006740" y="2204281"/>
                </a:lnTo>
                <a:close/>
                <a:moveTo>
                  <a:pt x="5779272" y="2198974"/>
                </a:moveTo>
                <a:lnTo>
                  <a:pt x="5779271" y="2198975"/>
                </a:lnTo>
                <a:lnTo>
                  <a:pt x="5783285" y="2200274"/>
                </a:lnTo>
                <a:lnTo>
                  <a:pt x="5784154" y="2203630"/>
                </a:lnTo>
                <a:lnTo>
                  <a:pt x="5784155" y="2203629"/>
                </a:lnTo>
                <a:lnTo>
                  <a:pt x="5783287" y="2200274"/>
                </a:lnTo>
                <a:close/>
                <a:moveTo>
                  <a:pt x="4183859" y="2194969"/>
                </a:moveTo>
                <a:lnTo>
                  <a:pt x="4188200" y="2194969"/>
                </a:lnTo>
                <a:lnTo>
                  <a:pt x="4190045" y="2197134"/>
                </a:lnTo>
                <a:lnTo>
                  <a:pt x="4187006" y="2199624"/>
                </a:lnTo>
                <a:lnTo>
                  <a:pt x="4183208" y="2196701"/>
                </a:lnTo>
                <a:close/>
                <a:moveTo>
                  <a:pt x="5750696" y="2192746"/>
                </a:moveTo>
                <a:lnTo>
                  <a:pt x="5754095" y="2194102"/>
                </a:lnTo>
                <a:lnTo>
                  <a:pt x="5756591" y="2200706"/>
                </a:lnTo>
                <a:lnTo>
                  <a:pt x="5756592" y="2200706"/>
                </a:lnTo>
                <a:lnTo>
                  <a:pt x="5754096" y="2194102"/>
                </a:lnTo>
                <a:close/>
                <a:moveTo>
                  <a:pt x="6777516" y="2191396"/>
                </a:moveTo>
                <a:lnTo>
                  <a:pt x="6783268" y="2192371"/>
                </a:lnTo>
                <a:lnTo>
                  <a:pt x="6785437" y="2193778"/>
                </a:lnTo>
                <a:lnTo>
                  <a:pt x="6789452" y="2193453"/>
                </a:lnTo>
                <a:lnTo>
                  <a:pt x="6789995" y="2198543"/>
                </a:lnTo>
                <a:lnTo>
                  <a:pt x="6784895" y="2196269"/>
                </a:lnTo>
                <a:lnTo>
                  <a:pt x="6779795" y="2196160"/>
                </a:lnTo>
                <a:lnTo>
                  <a:pt x="6776973" y="2193237"/>
                </a:lnTo>
                <a:close/>
                <a:moveTo>
                  <a:pt x="5001600" y="2191065"/>
                </a:moveTo>
                <a:lnTo>
                  <a:pt x="5002182" y="2193129"/>
                </a:lnTo>
                <a:lnTo>
                  <a:pt x="5007608" y="2197568"/>
                </a:lnTo>
                <a:lnTo>
                  <a:pt x="5006732" y="2199482"/>
                </a:lnTo>
                <a:lnTo>
                  <a:pt x="5007608" y="2197568"/>
                </a:lnTo>
                <a:lnTo>
                  <a:pt x="5002182" y="2193129"/>
                </a:lnTo>
                <a:close/>
                <a:moveTo>
                  <a:pt x="4995997" y="2188581"/>
                </a:moveTo>
                <a:lnTo>
                  <a:pt x="4995997" y="2188582"/>
                </a:lnTo>
                <a:lnTo>
                  <a:pt x="5001205" y="2189665"/>
                </a:lnTo>
                <a:lnTo>
                  <a:pt x="5001205" y="2189664"/>
                </a:lnTo>
                <a:close/>
                <a:moveTo>
                  <a:pt x="5354861" y="2183926"/>
                </a:moveTo>
                <a:lnTo>
                  <a:pt x="5347483" y="2193129"/>
                </a:lnTo>
                <a:lnTo>
                  <a:pt x="5346289" y="2199300"/>
                </a:lnTo>
                <a:lnTo>
                  <a:pt x="5352692" y="2211643"/>
                </a:lnTo>
                <a:lnTo>
                  <a:pt x="5356164" y="2222795"/>
                </a:lnTo>
                <a:lnTo>
                  <a:pt x="5354428" y="2226043"/>
                </a:lnTo>
                <a:lnTo>
                  <a:pt x="5356815" y="2230374"/>
                </a:lnTo>
                <a:lnTo>
                  <a:pt x="5357466" y="2239144"/>
                </a:lnTo>
                <a:lnTo>
                  <a:pt x="5357467" y="2239144"/>
                </a:lnTo>
                <a:lnTo>
                  <a:pt x="5356816" y="2230373"/>
                </a:lnTo>
                <a:lnTo>
                  <a:pt x="5354429" y="2226043"/>
                </a:lnTo>
                <a:lnTo>
                  <a:pt x="5356165" y="2222795"/>
                </a:lnTo>
                <a:lnTo>
                  <a:pt x="5352692" y="2211643"/>
                </a:lnTo>
                <a:lnTo>
                  <a:pt x="5346290" y="2199300"/>
                </a:lnTo>
                <a:lnTo>
                  <a:pt x="5347484" y="2193129"/>
                </a:lnTo>
                <a:lnTo>
                  <a:pt x="5354862" y="2183926"/>
                </a:lnTo>
                <a:close/>
                <a:moveTo>
                  <a:pt x="1276698" y="2177105"/>
                </a:moveTo>
                <a:lnTo>
                  <a:pt x="1277891" y="2179162"/>
                </a:lnTo>
                <a:lnTo>
                  <a:pt x="1277023" y="2181003"/>
                </a:lnTo>
                <a:lnTo>
                  <a:pt x="1358411" y="2218139"/>
                </a:lnTo>
                <a:lnTo>
                  <a:pt x="1426776" y="2220196"/>
                </a:lnTo>
                <a:lnTo>
                  <a:pt x="1358411" y="2218139"/>
                </a:lnTo>
                <a:lnTo>
                  <a:pt x="1277023" y="2181003"/>
                </a:lnTo>
                <a:lnTo>
                  <a:pt x="1277892" y="2179162"/>
                </a:lnTo>
                <a:close/>
                <a:moveTo>
                  <a:pt x="3903235" y="2175047"/>
                </a:moveTo>
                <a:lnTo>
                  <a:pt x="3903669" y="2182735"/>
                </a:lnTo>
                <a:lnTo>
                  <a:pt x="3903560" y="2192046"/>
                </a:lnTo>
                <a:lnTo>
                  <a:pt x="3904537" y="2195835"/>
                </a:lnTo>
                <a:lnTo>
                  <a:pt x="3906490" y="2213484"/>
                </a:lnTo>
                <a:lnTo>
                  <a:pt x="3909854" y="2220521"/>
                </a:lnTo>
                <a:lnTo>
                  <a:pt x="3911048" y="2225176"/>
                </a:lnTo>
                <a:lnTo>
                  <a:pt x="3911048" y="2225177"/>
                </a:lnTo>
                <a:lnTo>
                  <a:pt x="3909855" y="2220521"/>
                </a:lnTo>
                <a:lnTo>
                  <a:pt x="3906490" y="2213483"/>
                </a:lnTo>
                <a:lnTo>
                  <a:pt x="3904537" y="2195835"/>
                </a:lnTo>
                <a:lnTo>
                  <a:pt x="3903560" y="2192046"/>
                </a:lnTo>
                <a:lnTo>
                  <a:pt x="3903669" y="2182735"/>
                </a:lnTo>
                <a:close/>
                <a:moveTo>
                  <a:pt x="5557138" y="2168659"/>
                </a:moveTo>
                <a:lnTo>
                  <a:pt x="5557137" y="2168659"/>
                </a:lnTo>
                <a:lnTo>
                  <a:pt x="5559742" y="2174831"/>
                </a:lnTo>
                <a:lnTo>
                  <a:pt x="5564733" y="2177646"/>
                </a:lnTo>
                <a:lnTo>
                  <a:pt x="5567772" y="2184142"/>
                </a:lnTo>
                <a:lnTo>
                  <a:pt x="5566919" y="2187376"/>
                </a:lnTo>
                <a:lnTo>
                  <a:pt x="5567773" y="2184142"/>
                </a:lnTo>
                <a:lnTo>
                  <a:pt x="5564734" y="2177645"/>
                </a:lnTo>
                <a:lnTo>
                  <a:pt x="5559742" y="2174830"/>
                </a:lnTo>
                <a:close/>
                <a:moveTo>
                  <a:pt x="6981418" y="2165845"/>
                </a:moveTo>
                <a:lnTo>
                  <a:pt x="6982829" y="2166495"/>
                </a:lnTo>
                <a:lnTo>
                  <a:pt x="6981093" y="2169418"/>
                </a:lnTo>
                <a:lnTo>
                  <a:pt x="6979574" y="2167902"/>
                </a:lnTo>
                <a:close/>
                <a:moveTo>
                  <a:pt x="5583652" y="2163786"/>
                </a:moveTo>
                <a:lnTo>
                  <a:pt x="5580577" y="2168334"/>
                </a:lnTo>
                <a:lnTo>
                  <a:pt x="5580578" y="2168334"/>
                </a:lnTo>
                <a:close/>
                <a:moveTo>
                  <a:pt x="4130230" y="2162599"/>
                </a:moveTo>
                <a:lnTo>
                  <a:pt x="4132639" y="2165086"/>
                </a:lnTo>
                <a:lnTo>
                  <a:pt x="4132639" y="2165086"/>
                </a:lnTo>
                <a:close/>
                <a:moveTo>
                  <a:pt x="4887263" y="2161405"/>
                </a:moveTo>
                <a:lnTo>
                  <a:pt x="4883465" y="2166926"/>
                </a:lnTo>
                <a:lnTo>
                  <a:pt x="4881295" y="2170607"/>
                </a:lnTo>
                <a:lnTo>
                  <a:pt x="4838756" y="2200815"/>
                </a:lnTo>
                <a:lnTo>
                  <a:pt x="4838648" y="2201031"/>
                </a:lnTo>
                <a:lnTo>
                  <a:pt x="4791551" y="2230590"/>
                </a:lnTo>
                <a:lnTo>
                  <a:pt x="4788187" y="2228532"/>
                </a:lnTo>
                <a:lnTo>
                  <a:pt x="4786451" y="2228532"/>
                </a:lnTo>
                <a:lnTo>
                  <a:pt x="4781676" y="2224743"/>
                </a:lnTo>
                <a:lnTo>
                  <a:pt x="4773755" y="2221278"/>
                </a:lnTo>
                <a:lnTo>
                  <a:pt x="4773736" y="2221277"/>
                </a:lnTo>
                <a:lnTo>
                  <a:pt x="4773755" y="2221279"/>
                </a:lnTo>
                <a:lnTo>
                  <a:pt x="4773744" y="2221278"/>
                </a:lnTo>
                <a:lnTo>
                  <a:pt x="4773755" y="2221279"/>
                </a:lnTo>
                <a:lnTo>
                  <a:pt x="4781677" y="2224744"/>
                </a:lnTo>
                <a:lnTo>
                  <a:pt x="4786451" y="2228534"/>
                </a:lnTo>
                <a:lnTo>
                  <a:pt x="4788188" y="2228534"/>
                </a:lnTo>
                <a:lnTo>
                  <a:pt x="4791551" y="2230591"/>
                </a:lnTo>
                <a:lnTo>
                  <a:pt x="4838648" y="2201033"/>
                </a:lnTo>
                <a:lnTo>
                  <a:pt x="4838648" y="2201033"/>
                </a:lnTo>
                <a:lnTo>
                  <a:pt x="4838756" y="2200816"/>
                </a:lnTo>
                <a:lnTo>
                  <a:pt x="4881295" y="2170609"/>
                </a:lnTo>
                <a:lnTo>
                  <a:pt x="4883465" y="2166927"/>
                </a:lnTo>
                <a:lnTo>
                  <a:pt x="4887263" y="2161406"/>
                </a:lnTo>
                <a:close/>
                <a:moveTo>
                  <a:pt x="6984675" y="2156316"/>
                </a:moveTo>
                <a:lnTo>
                  <a:pt x="6986411" y="2157290"/>
                </a:lnTo>
                <a:lnTo>
                  <a:pt x="6985977" y="2160213"/>
                </a:lnTo>
                <a:lnTo>
                  <a:pt x="6983589" y="2160430"/>
                </a:lnTo>
                <a:lnTo>
                  <a:pt x="6983264" y="2157832"/>
                </a:lnTo>
                <a:close/>
                <a:moveTo>
                  <a:pt x="6977729" y="2155559"/>
                </a:moveTo>
                <a:lnTo>
                  <a:pt x="6978813" y="2155775"/>
                </a:lnTo>
                <a:lnTo>
                  <a:pt x="6978922" y="2157291"/>
                </a:lnTo>
                <a:lnTo>
                  <a:pt x="6981526" y="2161838"/>
                </a:lnTo>
                <a:lnTo>
                  <a:pt x="6980550" y="2165736"/>
                </a:lnTo>
                <a:lnTo>
                  <a:pt x="6978380" y="2165736"/>
                </a:lnTo>
                <a:lnTo>
                  <a:pt x="6976643" y="2162379"/>
                </a:lnTo>
                <a:lnTo>
                  <a:pt x="6975884" y="2157832"/>
                </a:lnTo>
                <a:close/>
                <a:moveTo>
                  <a:pt x="4995454" y="2155126"/>
                </a:moveTo>
                <a:lnTo>
                  <a:pt x="4994586" y="2162488"/>
                </a:lnTo>
                <a:lnTo>
                  <a:pt x="4992090" y="2164762"/>
                </a:lnTo>
                <a:lnTo>
                  <a:pt x="4991873" y="2173532"/>
                </a:lnTo>
                <a:lnTo>
                  <a:pt x="4990462" y="2176780"/>
                </a:lnTo>
                <a:lnTo>
                  <a:pt x="4992090" y="2179162"/>
                </a:lnTo>
                <a:lnTo>
                  <a:pt x="4990710" y="2180999"/>
                </a:lnTo>
                <a:lnTo>
                  <a:pt x="4992091" y="2179162"/>
                </a:lnTo>
                <a:lnTo>
                  <a:pt x="4990463" y="2176780"/>
                </a:lnTo>
                <a:lnTo>
                  <a:pt x="4991873" y="2173532"/>
                </a:lnTo>
                <a:lnTo>
                  <a:pt x="4992091" y="2164762"/>
                </a:lnTo>
                <a:lnTo>
                  <a:pt x="4994586" y="2162489"/>
                </a:lnTo>
                <a:lnTo>
                  <a:pt x="4995454" y="2155126"/>
                </a:lnTo>
                <a:close/>
                <a:moveTo>
                  <a:pt x="5340430" y="2155126"/>
                </a:moveTo>
                <a:lnTo>
                  <a:pt x="5340429" y="2155126"/>
                </a:lnTo>
                <a:lnTo>
                  <a:pt x="5342491" y="2158374"/>
                </a:lnTo>
                <a:lnTo>
                  <a:pt x="5346506" y="2161405"/>
                </a:lnTo>
                <a:lnTo>
                  <a:pt x="5342057" y="2167793"/>
                </a:lnTo>
                <a:lnTo>
                  <a:pt x="5343142" y="2168876"/>
                </a:lnTo>
                <a:lnTo>
                  <a:pt x="5344770" y="2177430"/>
                </a:lnTo>
                <a:lnTo>
                  <a:pt x="5344770" y="2182085"/>
                </a:lnTo>
                <a:lnTo>
                  <a:pt x="5344771" y="2182085"/>
                </a:lnTo>
                <a:lnTo>
                  <a:pt x="5344771" y="2177429"/>
                </a:lnTo>
                <a:lnTo>
                  <a:pt x="5343143" y="2168876"/>
                </a:lnTo>
                <a:lnTo>
                  <a:pt x="5342058" y="2167794"/>
                </a:lnTo>
                <a:lnTo>
                  <a:pt x="5346507" y="2161406"/>
                </a:lnTo>
                <a:lnTo>
                  <a:pt x="5342492" y="2158374"/>
                </a:lnTo>
                <a:close/>
                <a:moveTo>
                  <a:pt x="4129675" y="2149932"/>
                </a:moveTo>
                <a:lnTo>
                  <a:pt x="4130035" y="2151445"/>
                </a:lnTo>
                <a:lnTo>
                  <a:pt x="4132170" y="2153869"/>
                </a:lnTo>
                <a:lnTo>
                  <a:pt x="4130035" y="2151444"/>
                </a:lnTo>
                <a:close/>
                <a:moveTo>
                  <a:pt x="5639937" y="2149147"/>
                </a:moveTo>
                <a:lnTo>
                  <a:pt x="5640044" y="2156424"/>
                </a:lnTo>
                <a:lnTo>
                  <a:pt x="5644386" y="2163462"/>
                </a:lnTo>
                <a:lnTo>
                  <a:pt x="5648183" y="2179703"/>
                </a:lnTo>
                <a:lnTo>
                  <a:pt x="5649377" y="2186740"/>
                </a:lnTo>
                <a:lnTo>
                  <a:pt x="5657950" y="2194535"/>
                </a:lnTo>
                <a:lnTo>
                  <a:pt x="5666956" y="2196701"/>
                </a:lnTo>
                <a:lnTo>
                  <a:pt x="5668881" y="2197499"/>
                </a:lnTo>
                <a:lnTo>
                  <a:pt x="5666956" y="2196701"/>
                </a:lnTo>
                <a:lnTo>
                  <a:pt x="5657951" y="2194535"/>
                </a:lnTo>
                <a:lnTo>
                  <a:pt x="5649377" y="2186740"/>
                </a:lnTo>
                <a:lnTo>
                  <a:pt x="5648183" y="2179702"/>
                </a:lnTo>
                <a:lnTo>
                  <a:pt x="5644386" y="2163462"/>
                </a:lnTo>
                <a:lnTo>
                  <a:pt x="5640045" y="2156424"/>
                </a:lnTo>
                <a:close/>
                <a:moveTo>
                  <a:pt x="6948321" y="2148088"/>
                </a:moveTo>
                <a:lnTo>
                  <a:pt x="6948647" y="2150903"/>
                </a:lnTo>
                <a:lnTo>
                  <a:pt x="6951468" y="2152419"/>
                </a:lnTo>
                <a:lnTo>
                  <a:pt x="6953096" y="2155667"/>
                </a:lnTo>
                <a:lnTo>
                  <a:pt x="6950383" y="2157941"/>
                </a:lnTo>
                <a:lnTo>
                  <a:pt x="6947236" y="2157508"/>
                </a:lnTo>
                <a:lnTo>
                  <a:pt x="6945608" y="2152419"/>
                </a:lnTo>
                <a:lnTo>
                  <a:pt x="6945825" y="2149279"/>
                </a:lnTo>
                <a:close/>
                <a:moveTo>
                  <a:pt x="5643843" y="2147330"/>
                </a:moveTo>
                <a:lnTo>
                  <a:pt x="5639936" y="2149061"/>
                </a:lnTo>
                <a:lnTo>
                  <a:pt x="5639936" y="2149062"/>
                </a:lnTo>
                <a:close/>
                <a:moveTo>
                  <a:pt x="6950708" y="2145706"/>
                </a:moveTo>
                <a:lnTo>
                  <a:pt x="6954072" y="2146247"/>
                </a:lnTo>
                <a:lnTo>
                  <a:pt x="6951251" y="2147872"/>
                </a:lnTo>
                <a:close/>
                <a:moveTo>
                  <a:pt x="5352692" y="2145273"/>
                </a:moveTo>
                <a:lnTo>
                  <a:pt x="5351498" y="2146464"/>
                </a:lnTo>
                <a:lnTo>
                  <a:pt x="5351823" y="2149604"/>
                </a:lnTo>
                <a:lnTo>
                  <a:pt x="5345638" y="2153718"/>
                </a:lnTo>
                <a:lnTo>
                  <a:pt x="5342051" y="2154688"/>
                </a:lnTo>
                <a:lnTo>
                  <a:pt x="5345639" y="2153718"/>
                </a:lnTo>
                <a:lnTo>
                  <a:pt x="5351824" y="2149604"/>
                </a:lnTo>
                <a:lnTo>
                  <a:pt x="5351499" y="2146464"/>
                </a:lnTo>
                <a:close/>
                <a:moveTo>
                  <a:pt x="4482713" y="2144840"/>
                </a:moveTo>
                <a:lnTo>
                  <a:pt x="4483798" y="2145165"/>
                </a:lnTo>
                <a:lnTo>
                  <a:pt x="4484666" y="2148738"/>
                </a:lnTo>
                <a:lnTo>
                  <a:pt x="4488247" y="2148521"/>
                </a:lnTo>
                <a:lnTo>
                  <a:pt x="4489658" y="2147330"/>
                </a:lnTo>
                <a:lnTo>
                  <a:pt x="4488464" y="2147005"/>
                </a:lnTo>
                <a:lnTo>
                  <a:pt x="4487704" y="2145165"/>
                </a:lnTo>
                <a:lnTo>
                  <a:pt x="4491394" y="2144840"/>
                </a:lnTo>
                <a:lnTo>
                  <a:pt x="4493130" y="2147763"/>
                </a:lnTo>
                <a:lnTo>
                  <a:pt x="4491177" y="2149495"/>
                </a:lnTo>
                <a:lnTo>
                  <a:pt x="4493999" y="2149171"/>
                </a:lnTo>
                <a:lnTo>
                  <a:pt x="4495735" y="2151011"/>
                </a:lnTo>
                <a:lnTo>
                  <a:pt x="4499425" y="2152960"/>
                </a:lnTo>
                <a:lnTo>
                  <a:pt x="4503656" y="2151769"/>
                </a:lnTo>
                <a:lnTo>
                  <a:pt x="4509299" y="2148305"/>
                </a:lnTo>
                <a:lnTo>
                  <a:pt x="4516027" y="2147979"/>
                </a:lnTo>
                <a:lnTo>
                  <a:pt x="4521128" y="2150254"/>
                </a:lnTo>
                <a:lnTo>
                  <a:pt x="4527638" y="2151120"/>
                </a:lnTo>
                <a:lnTo>
                  <a:pt x="4529917" y="2151011"/>
                </a:lnTo>
                <a:lnTo>
                  <a:pt x="4531219" y="2154151"/>
                </a:lnTo>
                <a:lnTo>
                  <a:pt x="4530677" y="2156317"/>
                </a:lnTo>
                <a:lnTo>
                  <a:pt x="4533172" y="2156750"/>
                </a:lnTo>
                <a:lnTo>
                  <a:pt x="4535669" y="2155775"/>
                </a:lnTo>
                <a:lnTo>
                  <a:pt x="4537730" y="2157616"/>
                </a:lnTo>
                <a:lnTo>
                  <a:pt x="4540660" y="2155126"/>
                </a:lnTo>
                <a:lnTo>
                  <a:pt x="4540768" y="2152744"/>
                </a:lnTo>
                <a:lnTo>
                  <a:pt x="4542071" y="2150903"/>
                </a:lnTo>
                <a:lnTo>
                  <a:pt x="4542071" y="2152960"/>
                </a:lnTo>
                <a:lnTo>
                  <a:pt x="4542939" y="2156208"/>
                </a:lnTo>
                <a:lnTo>
                  <a:pt x="4541420" y="2159565"/>
                </a:lnTo>
                <a:lnTo>
                  <a:pt x="4537947" y="2161730"/>
                </a:lnTo>
                <a:lnTo>
                  <a:pt x="4531979" y="2161513"/>
                </a:lnTo>
                <a:lnTo>
                  <a:pt x="4523081" y="2161838"/>
                </a:lnTo>
                <a:lnTo>
                  <a:pt x="4517655" y="2161297"/>
                </a:lnTo>
                <a:lnTo>
                  <a:pt x="4512663" y="2164437"/>
                </a:lnTo>
                <a:lnTo>
                  <a:pt x="4506694" y="2164654"/>
                </a:lnTo>
                <a:lnTo>
                  <a:pt x="4506152" y="2161513"/>
                </a:lnTo>
                <a:lnTo>
                  <a:pt x="4500943" y="2158482"/>
                </a:lnTo>
                <a:lnTo>
                  <a:pt x="4496168" y="2157183"/>
                </a:lnTo>
                <a:lnTo>
                  <a:pt x="4493022" y="2158265"/>
                </a:lnTo>
                <a:lnTo>
                  <a:pt x="4489766" y="2157399"/>
                </a:lnTo>
                <a:lnTo>
                  <a:pt x="4481736" y="2158374"/>
                </a:lnTo>
                <a:lnTo>
                  <a:pt x="4478263" y="2156858"/>
                </a:lnTo>
                <a:lnTo>
                  <a:pt x="4477830" y="2153285"/>
                </a:lnTo>
                <a:lnTo>
                  <a:pt x="4479349" y="2150254"/>
                </a:lnTo>
                <a:lnTo>
                  <a:pt x="4479566" y="2146897"/>
                </a:lnTo>
                <a:lnTo>
                  <a:pt x="4481085" y="2149820"/>
                </a:lnTo>
                <a:lnTo>
                  <a:pt x="4482929" y="2149171"/>
                </a:lnTo>
                <a:lnTo>
                  <a:pt x="4482279" y="2146789"/>
                </a:lnTo>
                <a:close/>
                <a:moveTo>
                  <a:pt x="5583897" y="2143106"/>
                </a:moveTo>
                <a:lnTo>
                  <a:pt x="5580902" y="2147005"/>
                </a:lnTo>
                <a:lnTo>
                  <a:pt x="5586871" y="2152527"/>
                </a:lnTo>
                <a:lnTo>
                  <a:pt x="5586871" y="2152526"/>
                </a:lnTo>
                <a:lnTo>
                  <a:pt x="5580903" y="2147004"/>
                </a:lnTo>
                <a:close/>
                <a:moveTo>
                  <a:pt x="6956460" y="2142783"/>
                </a:moveTo>
                <a:lnTo>
                  <a:pt x="6955591" y="2144083"/>
                </a:lnTo>
                <a:lnTo>
                  <a:pt x="6953638" y="2143216"/>
                </a:lnTo>
                <a:close/>
                <a:moveTo>
                  <a:pt x="4733604" y="2142025"/>
                </a:moveTo>
                <a:lnTo>
                  <a:pt x="4734906" y="2143324"/>
                </a:lnTo>
                <a:lnTo>
                  <a:pt x="4732411" y="2145273"/>
                </a:lnTo>
                <a:lnTo>
                  <a:pt x="4726876" y="2148737"/>
                </a:lnTo>
                <a:lnTo>
                  <a:pt x="4721559" y="2154909"/>
                </a:lnTo>
                <a:lnTo>
                  <a:pt x="4723403" y="2159131"/>
                </a:lnTo>
                <a:lnTo>
                  <a:pt x="4723078" y="2163679"/>
                </a:lnTo>
                <a:lnTo>
                  <a:pt x="4716676" y="2162921"/>
                </a:lnTo>
                <a:lnTo>
                  <a:pt x="4713095" y="2164654"/>
                </a:lnTo>
                <a:lnTo>
                  <a:pt x="4708103" y="2169309"/>
                </a:lnTo>
                <a:lnTo>
                  <a:pt x="4702569" y="2170500"/>
                </a:lnTo>
                <a:lnTo>
                  <a:pt x="4699856" y="2172774"/>
                </a:lnTo>
                <a:lnTo>
                  <a:pt x="4697034" y="2171041"/>
                </a:lnTo>
                <a:lnTo>
                  <a:pt x="4690523" y="2171367"/>
                </a:lnTo>
                <a:lnTo>
                  <a:pt x="4684989" y="2168118"/>
                </a:lnTo>
                <a:lnTo>
                  <a:pt x="4681842" y="2163679"/>
                </a:lnTo>
                <a:lnTo>
                  <a:pt x="4681842" y="2158266"/>
                </a:lnTo>
                <a:lnTo>
                  <a:pt x="4684664" y="2157616"/>
                </a:lnTo>
                <a:lnTo>
                  <a:pt x="4687593" y="2154151"/>
                </a:lnTo>
                <a:lnTo>
                  <a:pt x="4692259" y="2156100"/>
                </a:lnTo>
                <a:lnTo>
                  <a:pt x="4695515" y="2155017"/>
                </a:lnTo>
                <a:lnTo>
                  <a:pt x="4696926" y="2151986"/>
                </a:lnTo>
                <a:lnTo>
                  <a:pt x="4697034" y="2148846"/>
                </a:lnTo>
                <a:lnTo>
                  <a:pt x="4701700" y="2148846"/>
                </a:lnTo>
                <a:lnTo>
                  <a:pt x="4706475" y="2151228"/>
                </a:lnTo>
                <a:lnTo>
                  <a:pt x="4712769" y="2150903"/>
                </a:lnTo>
                <a:lnTo>
                  <a:pt x="4723403" y="2146789"/>
                </a:lnTo>
                <a:lnTo>
                  <a:pt x="4730783" y="2142133"/>
                </a:lnTo>
                <a:close/>
                <a:moveTo>
                  <a:pt x="4999457" y="2141689"/>
                </a:moveTo>
                <a:lnTo>
                  <a:pt x="4999686" y="2144299"/>
                </a:lnTo>
                <a:lnTo>
                  <a:pt x="5001531" y="2145490"/>
                </a:lnTo>
                <a:lnTo>
                  <a:pt x="5001531" y="2145490"/>
                </a:lnTo>
                <a:lnTo>
                  <a:pt x="4999687" y="2144299"/>
                </a:lnTo>
                <a:close/>
                <a:moveTo>
                  <a:pt x="4561063" y="2141592"/>
                </a:moveTo>
                <a:lnTo>
                  <a:pt x="4561714" y="2144407"/>
                </a:lnTo>
                <a:lnTo>
                  <a:pt x="4563993" y="2147439"/>
                </a:lnTo>
                <a:lnTo>
                  <a:pt x="4562257" y="2151877"/>
                </a:lnTo>
                <a:lnTo>
                  <a:pt x="4560737" y="2152527"/>
                </a:lnTo>
                <a:lnTo>
                  <a:pt x="4559977" y="2147763"/>
                </a:lnTo>
                <a:lnTo>
                  <a:pt x="4558567" y="2144840"/>
                </a:lnTo>
                <a:close/>
                <a:moveTo>
                  <a:pt x="6956459" y="2140401"/>
                </a:moveTo>
                <a:lnTo>
                  <a:pt x="6958087" y="2140617"/>
                </a:lnTo>
                <a:lnTo>
                  <a:pt x="6957327" y="2141701"/>
                </a:lnTo>
                <a:close/>
                <a:moveTo>
                  <a:pt x="4264271" y="2138669"/>
                </a:moveTo>
                <a:lnTo>
                  <a:pt x="4271433" y="2139752"/>
                </a:lnTo>
                <a:lnTo>
                  <a:pt x="4271541" y="2143432"/>
                </a:lnTo>
                <a:lnTo>
                  <a:pt x="4268937" y="2146140"/>
                </a:lnTo>
                <a:lnTo>
                  <a:pt x="4264054" y="2142134"/>
                </a:lnTo>
                <a:close/>
                <a:moveTo>
                  <a:pt x="5000415" y="2137835"/>
                </a:moveTo>
                <a:lnTo>
                  <a:pt x="4999144" y="2138127"/>
                </a:lnTo>
                <a:lnTo>
                  <a:pt x="4999144" y="2138128"/>
                </a:lnTo>
                <a:close/>
                <a:moveTo>
                  <a:pt x="4562365" y="2137261"/>
                </a:moveTo>
                <a:lnTo>
                  <a:pt x="4562365" y="2139534"/>
                </a:lnTo>
                <a:lnTo>
                  <a:pt x="4561823" y="2140401"/>
                </a:lnTo>
                <a:lnTo>
                  <a:pt x="4561063" y="2139318"/>
                </a:lnTo>
                <a:close/>
                <a:moveTo>
                  <a:pt x="6958956" y="2136287"/>
                </a:moveTo>
                <a:lnTo>
                  <a:pt x="6961885" y="2138236"/>
                </a:lnTo>
                <a:lnTo>
                  <a:pt x="6960258" y="2139211"/>
                </a:lnTo>
                <a:lnTo>
                  <a:pt x="6957761" y="2137261"/>
                </a:lnTo>
                <a:lnTo>
                  <a:pt x="6957545" y="2136395"/>
                </a:lnTo>
                <a:close/>
                <a:moveTo>
                  <a:pt x="5007002" y="2135677"/>
                </a:moveTo>
                <a:lnTo>
                  <a:pt x="5006632" y="2135962"/>
                </a:lnTo>
                <a:lnTo>
                  <a:pt x="5003183" y="2137082"/>
                </a:lnTo>
                <a:lnTo>
                  <a:pt x="5006631" y="2135962"/>
                </a:lnTo>
                <a:close/>
                <a:moveTo>
                  <a:pt x="5003810" y="2132497"/>
                </a:moveTo>
                <a:lnTo>
                  <a:pt x="5005980" y="2133580"/>
                </a:lnTo>
                <a:lnTo>
                  <a:pt x="5006966" y="2134201"/>
                </a:lnTo>
                <a:lnTo>
                  <a:pt x="5005980" y="2133580"/>
                </a:lnTo>
                <a:close/>
                <a:moveTo>
                  <a:pt x="5373527" y="2127625"/>
                </a:moveTo>
                <a:lnTo>
                  <a:pt x="5378845" y="2131523"/>
                </a:lnTo>
                <a:lnTo>
                  <a:pt x="5380255" y="2134988"/>
                </a:lnTo>
                <a:lnTo>
                  <a:pt x="5382317" y="2136936"/>
                </a:lnTo>
                <a:lnTo>
                  <a:pt x="5380256" y="2134988"/>
                </a:lnTo>
                <a:lnTo>
                  <a:pt x="5378845" y="2131523"/>
                </a:lnTo>
                <a:lnTo>
                  <a:pt x="5373528" y="2127625"/>
                </a:lnTo>
                <a:close/>
                <a:moveTo>
                  <a:pt x="6895148" y="2127084"/>
                </a:moveTo>
                <a:lnTo>
                  <a:pt x="6899814" y="2127842"/>
                </a:lnTo>
                <a:lnTo>
                  <a:pt x="6900140" y="2130982"/>
                </a:lnTo>
                <a:lnTo>
                  <a:pt x="6896993" y="2136504"/>
                </a:lnTo>
                <a:lnTo>
                  <a:pt x="6888637" y="2138019"/>
                </a:lnTo>
                <a:lnTo>
                  <a:pt x="6883971" y="2137153"/>
                </a:lnTo>
                <a:lnTo>
                  <a:pt x="6882235" y="2133580"/>
                </a:lnTo>
                <a:lnTo>
                  <a:pt x="6884948" y="2130115"/>
                </a:lnTo>
                <a:close/>
                <a:moveTo>
                  <a:pt x="4983348" y="2126548"/>
                </a:moveTo>
                <a:lnTo>
                  <a:pt x="4985905" y="2126868"/>
                </a:lnTo>
                <a:lnTo>
                  <a:pt x="4994043" y="2131523"/>
                </a:lnTo>
                <a:lnTo>
                  <a:pt x="4996906" y="2132237"/>
                </a:lnTo>
                <a:lnTo>
                  <a:pt x="4994044" y="2131523"/>
                </a:lnTo>
                <a:lnTo>
                  <a:pt x="4985905" y="2126867"/>
                </a:lnTo>
                <a:close/>
                <a:moveTo>
                  <a:pt x="4463289" y="2124485"/>
                </a:moveTo>
                <a:lnTo>
                  <a:pt x="4464157" y="2127624"/>
                </a:lnTo>
                <a:lnTo>
                  <a:pt x="4466544" y="2130873"/>
                </a:lnTo>
                <a:lnTo>
                  <a:pt x="4464808" y="2134338"/>
                </a:lnTo>
                <a:lnTo>
                  <a:pt x="4462529" y="2133146"/>
                </a:lnTo>
                <a:lnTo>
                  <a:pt x="4462637" y="2130656"/>
                </a:lnTo>
                <a:lnTo>
                  <a:pt x="4461227" y="2128383"/>
                </a:lnTo>
                <a:lnTo>
                  <a:pt x="4462529" y="2125459"/>
                </a:lnTo>
                <a:close/>
                <a:moveTo>
                  <a:pt x="4586238" y="2122861"/>
                </a:moveTo>
                <a:lnTo>
                  <a:pt x="4586021" y="2125351"/>
                </a:lnTo>
                <a:lnTo>
                  <a:pt x="4584285" y="2126650"/>
                </a:lnTo>
                <a:lnTo>
                  <a:pt x="4583417" y="2129140"/>
                </a:lnTo>
                <a:lnTo>
                  <a:pt x="4582114" y="2131306"/>
                </a:lnTo>
                <a:lnTo>
                  <a:pt x="4582223" y="2132822"/>
                </a:lnTo>
                <a:lnTo>
                  <a:pt x="4580053" y="2132930"/>
                </a:lnTo>
                <a:lnTo>
                  <a:pt x="4577449" y="2135420"/>
                </a:lnTo>
                <a:lnTo>
                  <a:pt x="4575278" y="2138018"/>
                </a:lnTo>
                <a:lnTo>
                  <a:pt x="4573325" y="2138343"/>
                </a:lnTo>
                <a:lnTo>
                  <a:pt x="4571806" y="2136828"/>
                </a:lnTo>
                <a:lnTo>
                  <a:pt x="4573000" y="2134229"/>
                </a:lnTo>
                <a:lnTo>
                  <a:pt x="4572240" y="2133255"/>
                </a:lnTo>
                <a:lnTo>
                  <a:pt x="4572565" y="2130765"/>
                </a:lnTo>
                <a:lnTo>
                  <a:pt x="4577774" y="2126434"/>
                </a:lnTo>
                <a:lnTo>
                  <a:pt x="4583200" y="2124160"/>
                </a:lnTo>
                <a:close/>
                <a:moveTo>
                  <a:pt x="4977216" y="2121864"/>
                </a:moveTo>
                <a:lnTo>
                  <a:pt x="4978091" y="2123944"/>
                </a:lnTo>
                <a:lnTo>
                  <a:pt x="4982432" y="2126434"/>
                </a:lnTo>
                <a:lnTo>
                  <a:pt x="4978092" y="2123944"/>
                </a:lnTo>
                <a:close/>
                <a:moveTo>
                  <a:pt x="4462204" y="2121021"/>
                </a:moveTo>
                <a:lnTo>
                  <a:pt x="4463506" y="2123078"/>
                </a:lnTo>
                <a:lnTo>
                  <a:pt x="4461770" y="2122970"/>
                </a:lnTo>
                <a:close/>
                <a:moveTo>
                  <a:pt x="5397618" y="2120155"/>
                </a:moveTo>
                <a:lnTo>
                  <a:pt x="5398812" y="2123511"/>
                </a:lnTo>
                <a:lnTo>
                  <a:pt x="5398812" y="2123511"/>
                </a:lnTo>
                <a:close/>
                <a:moveTo>
                  <a:pt x="4572349" y="2118422"/>
                </a:moveTo>
                <a:lnTo>
                  <a:pt x="4574302" y="2118530"/>
                </a:lnTo>
                <a:lnTo>
                  <a:pt x="4574844" y="2120263"/>
                </a:lnTo>
                <a:lnTo>
                  <a:pt x="4572783" y="2120804"/>
                </a:lnTo>
                <a:lnTo>
                  <a:pt x="4570721" y="2120154"/>
                </a:lnTo>
                <a:close/>
                <a:moveTo>
                  <a:pt x="4495301" y="2117880"/>
                </a:moveTo>
                <a:lnTo>
                  <a:pt x="4498340" y="2117988"/>
                </a:lnTo>
                <a:lnTo>
                  <a:pt x="4497689" y="2120478"/>
                </a:lnTo>
                <a:lnTo>
                  <a:pt x="4495085" y="2121453"/>
                </a:lnTo>
                <a:lnTo>
                  <a:pt x="4493023" y="2121128"/>
                </a:lnTo>
                <a:close/>
                <a:moveTo>
                  <a:pt x="4544134" y="2117664"/>
                </a:moveTo>
                <a:lnTo>
                  <a:pt x="4546087" y="2118530"/>
                </a:lnTo>
                <a:lnTo>
                  <a:pt x="4544243" y="2121346"/>
                </a:lnTo>
                <a:cubicBezTo>
                  <a:pt x="4543204" y="2121758"/>
                  <a:pt x="4542190" y="2122228"/>
                  <a:pt x="4541205" y="2122754"/>
                </a:cubicBezTo>
                <a:lnTo>
                  <a:pt x="4539360" y="2120804"/>
                </a:lnTo>
                <a:lnTo>
                  <a:pt x="4540445" y="2119071"/>
                </a:lnTo>
                <a:close/>
                <a:moveTo>
                  <a:pt x="4971312" y="2114013"/>
                </a:moveTo>
                <a:lnTo>
                  <a:pt x="4973425" y="2114525"/>
                </a:lnTo>
                <a:lnTo>
                  <a:pt x="4974619" y="2116527"/>
                </a:lnTo>
                <a:lnTo>
                  <a:pt x="4973426" y="2114524"/>
                </a:lnTo>
                <a:close/>
                <a:moveTo>
                  <a:pt x="5728159" y="2113116"/>
                </a:moveTo>
                <a:lnTo>
                  <a:pt x="5718718" y="2113332"/>
                </a:lnTo>
                <a:lnTo>
                  <a:pt x="5718488" y="2113304"/>
                </a:lnTo>
                <a:lnTo>
                  <a:pt x="5718720" y="2113333"/>
                </a:lnTo>
                <a:lnTo>
                  <a:pt x="5728160" y="2113116"/>
                </a:lnTo>
                <a:close/>
                <a:moveTo>
                  <a:pt x="5625070" y="2110192"/>
                </a:moveTo>
                <a:lnTo>
                  <a:pt x="5625069" y="2110193"/>
                </a:lnTo>
                <a:lnTo>
                  <a:pt x="5629952" y="2116255"/>
                </a:lnTo>
                <a:lnTo>
                  <a:pt x="5636463" y="2121777"/>
                </a:lnTo>
                <a:lnTo>
                  <a:pt x="5641145" y="2124549"/>
                </a:lnTo>
                <a:lnTo>
                  <a:pt x="5636464" y="2121777"/>
                </a:lnTo>
                <a:lnTo>
                  <a:pt x="5629953" y="2116256"/>
                </a:lnTo>
                <a:close/>
                <a:moveTo>
                  <a:pt x="5613350" y="2110084"/>
                </a:moveTo>
                <a:lnTo>
                  <a:pt x="5616821" y="2113332"/>
                </a:lnTo>
                <a:lnTo>
                  <a:pt x="5616822" y="2113332"/>
                </a:lnTo>
                <a:close/>
                <a:moveTo>
                  <a:pt x="4967565" y="2109002"/>
                </a:moveTo>
                <a:lnTo>
                  <a:pt x="4967565" y="2109003"/>
                </a:lnTo>
                <a:lnTo>
                  <a:pt x="4968705" y="2111330"/>
                </a:lnTo>
                <a:close/>
                <a:moveTo>
                  <a:pt x="5581337" y="2106729"/>
                </a:moveTo>
                <a:lnTo>
                  <a:pt x="5581337" y="2106729"/>
                </a:lnTo>
                <a:lnTo>
                  <a:pt x="5591646" y="2121886"/>
                </a:lnTo>
                <a:lnTo>
                  <a:pt x="5592297" y="2132172"/>
                </a:lnTo>
                <a:lnTo>
                  <a:pt x="5592297" y="2132171"/>
                </a:lnTo>
                <a:lnTo>
                  <a:pt x="5591646" y="2121886"/>
                </a:lnTo>
                <a:close/>
                <a:moveTo>
                  <a:pt x="6949515" y="2105863"/>
                </a:moveTo>
                <a:lnTo>
                  <a:pt x="6953205" y="2106079"/>
                </a:lnTo>
                <a:lnTo>
                  <a:pt x="6951902" y="2109220"/>
                </a:lnTo>
                <a:lnTo>
                  <a:pt x="6949949" y="2111169"/>
                </a:lnTo>
                <a:lnTo>
                  <a:pt x="6947996" y="2111494"/>
                </a:lnTo>
                <a:lnTo>
                  <a:pt x="6947453" y="2108787"/>
                </a:lnTo>
                <a:close/>
                <a:moveTo>
                  <a:pt x="4512122" y="2104996"/>
                </a:moveTo>
                <a:lnTo>
                  <a:pt x="4514509" y="2104996"/>
                </a:lnTo>
                <a:lnTo>
                  <a:pt x="4515594" y="2107486"/>
                </a:lnTo>
                <a:lnTo>
                  <a:pt x="4513315" y="2110627"/>
                </a:lnTo>
                <a:lnTo>
                  <a:pt x="4511145" y="2108786"/>
                </a:lnTo>
                <a:close/>
                <a:moveTo>
                  <a:pt x="4497038" y="2104888"/>
                </a:moveTo>
                <a:lnTo>
                  <a:pt x="4497038" y="2107920"/>
                </a:lnTo>
                <a:lnTo>
                  <a:pt x="4494867" y="2106404"/>
                </a:lnTo>
                <a:close/>
                <a:moveTo>
                  <a:pt x="4520803" y="2104130"/>
                </a:moveTo>
                <a:lnTo>
                  <a:pt x="4522973" y="2104563"/>
                </a:lnTo>
                <a:lnTo>
                  <a:pt x="4523516" y="2107054"/>
                </a:lnTo>
                <a:lnTo>
                  <a:pt x="4521345" y="2109761"/>
                </a:lnTo>
                <a:lnTo>
                  <a:pt x="4519067" y="2109652"/>
                </a:lnTo>
                <a:lnTo>
                  <a:pt x="4517439" y="2107054"/>
                </a:lnTo>
                <a:close/>
                <a:moveTo>
                  <a:pt x="4908485" y="2102064"/>
                </a:moveTo>
                <a:lnTo>
                  <a:pt x="4907122" y="2104346"/>
                </a:lnTo>
                <a:lnTo>
                  <a:pt x="4904843" y="2104346"/>
                </a:lnTo>
                <a:lnTo>
                  <a:pt x="4899852" y="2108677"/>
                </a:lnTo>
                <a:lnTo>
                  <a:pt x="4890520" y="2110626"/>
                </a:lnTo>
                <a:lnTo>
                  <a:pt x="4890519" y="2110627"/>
                </a:lnTo>
                <a:lnTo>
                  <a:pt x="4899851" y="2108678"/>
                </a:lnTo>
                <a:lnTo>
                  <a:pt x="4904842" y="2104347"/>
                </a:lnTo>
                <a:lnTo>
                  <a:pt x="4907122" y="2104347"/>
                </a:lnTo>
                <a:close/>
                <a:moveTo>
                  <a:pt x="5335764" y="2100732"/>
                </a:moveTo>
                <a:lnTo>
                  <a:pt x="5338910" y="2100990"/>
                </a:lnTo>
                <a:lnTo>
                  <a:pt x="5344879" y="2103481"/>
                </a:lnTo>
                <a:lnTo>
                  <a:pt x="5348677" y="2110194"/>
                </a:lnTo>
                <a:lnTo>
                  <a:pt x="5347048" y="2113875"/>
                </a:lnTo>
                <a:lnTo>
                  <a:pt x="5349110" y="2119722"/>
                </a:lnTo>
                <a:lnTo>
                  <a:pt x="5348893" y="2123294"/>
                </a:lnTo>
                <a:lnTo>
                  <a:pt x="5350846" y="2127084"/>
                </a:lnTo>
                <a:lnTo>
                  <a:pt x="5351172" y="2127625"/>
                </a:lnTo>
                <a:lnTo>
                  <a:pt x="5350738" y="2134338"/>
                </a:lnTo>
                <a:lnTo>
                  <a:pt x="5351281" y="2137586"/>
                </a:lnTo>
                <a:lnTo>
                  <a:pt x="5349545" y="2141159"/>
                </a:lnTo>
                <a:lnTo>
                  <a:pt x="5352273" y="2144725"/>
                </a:lnTo>
                <a:lnTo>
                  <a:pt x="5349546" y="2141158"/>
                </a:lnTo>
                <a:lnTo>
                  <a:pt x="5351282" y="2137586"/>
                </a:lnTo>
                <a:lnTo>
                  <a:pt x="5350739" y="2134338"/>
                </a:lnTo>
                <a:lnTo>
                  <a:pt x="5351173" y="2127625"/>
                </a:lnTo>
                <a:lnTo>
                  <a:pt x="5350847" y="2127084"/>
                </a:lnTo>
                <a:lnTo>
                  <a:pt x="5348894" y="2123294"/>
                </a:lnTo>
                <a:lnTo>
                  <a:pt x="5349111" y="2119722"/>
                </a:lnTo>
                <a:lnTo>
                  <a:pt x="5347049" y="2113875"/>
                </a:lnTo>
                <a:lnTo>
                  <a:pt x="5348678" y="2110194"/>
                </a:lnTo>
                <a:lnTo>
                  <a:pt x="5344879" y="2103481"/>
                </a:lnTo>
                <a:lnTo>
                  <a:pt x="5338911" y="2100990"/>
                </a:lnTo>
                <a:close/>
                <a:moveTo>
                  <a:pt x="5164307" y="2100233"/>
                </a:moveTo>
                <a:lnTo>
                  <a:pt x="5152370" y="2101749"/>
                </a:lnTo>
                <a:lnTo>
                  <a:pt x="5151689" y="2101939"/>
                </a:lnTo>
                <a:lnTo>
                  <a:pt x="5162569" y="2100557"/>
                </a:lnTo>
                <a:lnTo>
                  <a:pt x="5176352" y="2101749"/>
                </a:lnTo>
                <a:lnTo>
                  <a:pt x="5181669" y="2102831"/>
                </a:lnTo>
                <a:lnTo>
                  <a:pt x="5181846" y="2102189"/>
                </a:lnTo>
                <a:lnTo>
                  <a:pt x="5178088" y="2101424"/>
                </a:lnTo>
                <a:close/>
                <a:moveTo>
                  <a:pt x="4961055" y="2098392"/>
                </a:moveTo>
                <a:lnTo>
                  <a:pt x="4960512" y="2098500"/>
                </a:lnTo>
                <a:lnTo>
                  <a:pt x="4960512" y="2098500"/>
                </a:lnTo>
                <a:lnTo>
                  <a:pt x="4960513" y="2098500"/>
                </a:lnTo>
                <a:lnTo>
                  <a:pt x="4961055" y="2098392"/>
                </a:lnTo>
                <a:lnTo>
                  <a:pt x="4955321" y="2100087"/>
                </a:lnTo>
                <a:lnTo>
                  <a:pt x="4955312" y="2100090"/>
                </a:lnTo>
                <a:lnTo>
                  <a:pt x="4961054" y="2098392"/>
                </a:lnTo>
                <a:lnTo>
                  <a:pt x="4965503" y="2098717"/>
                </a:lnTo>
                <a:lnTo>
                  <a:pt x="4967782" y="2104672"/>
                </a:lnTo>
                <a:lnTo>
                  <a:pt x="4967571" y="2108883"/>
                </a:lnTo>
                <a:lnTo>
                  <a:pt x="4967783" y="2104672"/>
                </a:lnTo>
                <a:lnTo>
                  <a:pt x="4965503" y="2098717"/>
                </a:lnTo>
                <a:lnTo>
                  <a:pt x="4961055" y="2098392"/>
                </a:lnTo>
                <a:close/>
                <a:moveTo>
                  <a:pt x="4493891" y="2098175"/>
                </a:moveTo>
                <a:lnTo>
                  <a:pt x="4496062" y="2098717"/>
                </a:lnTo>
                <a:lnTo>
                  <a:pt x="4496062" y="2100882"/>
                </a:lnTo>
                <a:cubicBezTo>
                  <a:pt x="4495399" y="2101319"/>
                  <a:pt x="4494710" y="2101717"/>
                  <a:pt x="4494000" y="2102073"/>
                </a:cubicBezTo>
                <a:close/>
                <a:moveTo>
                  <a:pt x="6879737" y="2097959"/>
                </a:moveTo>
                <a:lnTo>
                  <a:pt x="6880932" y="2100449"/>
                </a:lnTo>
                <a:lnTo>
                  <a:pt x="6881257" y="2104563"/>
                </a:lnTo>
                <a:lnTo>
                  <a:pt x="6879521" y="2104563"/>
                </a:lnTo>
                <a:lnTo>
                  <a:pt x="6877676" y="2105755"/>
                </a:lnTo>
                <a:lnTo>
                  <a:pt x="6875614" y="2102398"/>
                </a:lnTo>
                <a:lnTo>
                  <a:pt x="6876591" y="2100774"/>
                </a:lnTo>
                <a:lnTo>
                  <a:pt x="6878110" y="2100774"/>
                </a:lnTo>
                <a:close/>
                <a:moveTo>
                  <a:pt x="4517873" y="2097309"/>
                </a:moveTo>
                <a:lnTo>
                  <a:pt x="4519935" y="2097850"/>
                </a:lnTo>
                <a:lnTo>
                  <a:pt x="4517765" y="2099150"/>
                </a:lnTo>
                <a:close/>
                <a:moveTo>
                  <a:pt x="7061070" y="2096985"/>
                </a:moveTo>
                <a:lnTo>
                  <a:pt x="7067256" y="2097310"/>
                </a:lnTo>
                <a:lnTo>
                  <a:pt x="7070729" y="2099909"/>
                </a:lnTo>
                <a:lnTo>
                  <a:pt x="7074309" y="2100017"/>
                </a:lnTo>
                <a:lnTo>
                  <a:pt x="7079518" y="2104131"/>
                </a:lnTo>
                <a:lnTo>
                  <a:pt x="7080494" y="2107487"/>
                </a:lnTo>
                <a:lnTo>
                  <a:pt x="7082231" y="2109111"/>
                </a:lnTo>
                <a:lnTo>
                  <a:pt x="7081688" y="2112251"/>
                </a:lnTo>
                <a:lnTo>
                  <a:pt x="7076371" y="2117232"/>
                </a:lnTo>
                <a:lnTo>
                  <a:pt x="7074201" y="2125677"/>
                </a:lnTo>
                <a:lnTo>
                  <a:pt x="7071270" y="2127084"/>
                </a:lnTo>
                <a:lnTo>
                  <a:pt x="7069317" y="2123728"/>
                </a:lnTo>
                <a:lnTo>
                  <a:pt x="7062589" y="2119505"/>
                </a:lnTo>
                <a:lnTo>
                  <a:pt x="7057272" y="2118747"/>
                </a:lnTo>
                <a:lnTo>
                  <a:pt x="7055753" y="2121346"/>
                </a:lnTo>
                <a:lnTo>
                  <a:pt x="7050001" y="2124811"/>
                </a:lnTo>
                <a:lnTo>
                  <a:pt x="7047939" y="2131631"/>
                </a:lnTo>
                <a:lnTo>
                  <a:pt x="7045877" y="2135854"/>
                </a:lnTo>
                <a:lnTo>
                  <a:pt x="7050219" y="2140401"/>
                </a:lnTo>
                <a:lnTo>
                  <a:pt x="7050543" y="2143325"/>
                </a:lnTo>
                <a:lnTo>
                  <a:pt x="7048265" y="2144082"/>
                </a:lnTo>
                <a:lnTo>
                  <a:pt x="7045335" y="2143000"/>
                </a:lnTo>
                <a:lnTo>
                  <a:pt x="7043815" y="2144733"/>
                </a:lnTo>
                <a:lnTo>
                  <a:pt x="7041862" y="2143866"/>
                </a:lnTo>
                <a:lnTo>
                  <a:pt x="7042297" y="2140943"/>
                </a:lnTo>
                <a:lnTo>
                  <a:pt x="7036436" y="2140293"/>
                </a:lnTo>
                <a:lnTo>
                  <a:pt x="7032639" y="2134554"/>
                </a:lnTo>
                <a:lnTo>
                  <a:pt x="7032639" y="2132173"/>
                </a:lnTo>
                <a:lnTo>
                  <a:pt x="7034049" y="2130874"/>
                </a:lnTo>
                <a:lnTo>
                  <a:pt x="7032747" y="2126218"/>
                </a:lnTo>
                <a:lnTo>
                  <a:pt x="7026127" y="2124486"/>
                </a:lnTo>
                <a:lnTo>
                  <a:pt x="7027104" y="2119613"/>
                </a:lnTo>
                <a:lnTo>
                  <a:pt x="7031227" y="2116690"/>
                </a:lnTo>
                <a:lnTo>
                  <a:pt x="7031445" y="2112468"/>
                </a:lnTo>
                <a:lnTo>
                  <a:pt x="7037738" y="2105213"/>
                </a:lnTo>
                <a:lnTo>
                  <a:pt x="7040018" y="2104997"/>
                </a:lnTo>
                <a:lnTo>
                  <a:pt x="7042839" y="2111385"/>
                </a:lnTo>
                <a:lnTo>
                  <a:pt x="7045010" y="2112035"/>
                </a:lnTo>
                <a:lnTo>
                  <a:pt x="7048590" y="2109544"/>
                </a:lnTo>
                <a:lnTo>
                  <a:pt x="7052931" y="2108137"/>
                </a:lnTo>
                <a:lnTo>
                  <a:pt x="7055210" y="2104672"/>
                </a:lnTo>
                <a:lnTo>
                  <a:pt x="7055210" y="2101749"/>
                </a:lnTo>
                <a:close/>
                <a:moveTo>
                  <a:pt x="5618981" y="2096140"/>
                </a:moveTo>
                <a:lnTo>
                  <a:pt x="5612373" y="2100556"/>
                </a:lnTo>
                <a:lnTo>
                  <a:pt x="5612373" y="2100557"/>
                </a:lnTo>
                <a:close/>
                <a:moveTo>
                  <a:pt x="4951396" y="2093520"/>
                </a:moveTo>
                <a:lnTo>
                  <a:pt x="4951180" y="2098175"/>
                </a:lnTo>
                <a:lnTo>
                  <a:pt x="4951180" y="2098175"/>
                </a:lnTo>
                <a:lnTo>
                  <a:pt x="4951397" y="2093520"/>
                </a:lnTo>
                <a:close/>
                <a:moveTo>
                  <a:pt x="4492372" y="2093086"/>
                </a:moveTo>
                <a:lnTo>
                  <a:pt x="4494108" y="2095468"/>
                </a:lnTo>
                <a:lnTo>
                  <a:pt x="4491721" y="2096551"/>
                </a:lnTo>
                <a:lnTo>
                  <a:pt x="4490961" y="2094926"/>
                </a:lnTo>
                <a:close/>
                <a:moveTo>
                  <a:pt x="4513098" y="2092437"/>
                </a:moveTo>
                <a:lnTo>
                  <a:pt x="4515159" y="2094386"/>
                </a:lnTo>
                <a:lnTo>
                  <a:pt x="4515594" y="2096659"/>
                </a:lnTo>
                <a:lnTo>
                  <a:pt x="4512881" y="2095468"/>
                </a:lnTo>
                <a:lnTo>
                  <a:pt x="4510928" y="2093194"/>
                </a:lnTo>
                <a:close/>
                <a:moveTo>
                  <a:pt x="6952661" y="2091680"/>
                </a:moveTo>
                <a:lnTo>
                  <a:pt x="6953530" y="2093629"/>
                </a:lnTo>
                <a:lnTo>
                  <a:pt x="6954398" y="2096985"/>
                </a:lnTo>
                <a:lnTo>
                  <a:pt x="6952010" y="2101857"/>
                </a:lnTo>
                <a:lnTo>
                  <a:pt x="6950165" y="2103482"/>
                </a:lnTo>
                <a:lnTo>
                  <a:pt x="6949080" y="2100125"/>
                </a:lnTo>
                <a:lnTo>
                  <a:pt x="6949189" y="2096119"/>
                </a:lnTo>
                <a:lnTo>
                  <a:pt x="6950491" y="2093088"/>
                </a:lnTo>
                <a:close/>
                <a:moveTo>
                  <a:pt x="4536538" y="2091680"/>
                </a:moveTo>
                <a:lnTo>
                  <a:pt x="4535779" y="2094062"/>
                </a:lnTo>
                <a:lnTo>
                  <a:pt x="4532414" y="2097202"/>
                </a:lnTo>
                <a:lnTo>
                  <a:pt x="4530787" y="2095253"/>
                </a:lnTo>
                <a:lnTo>
                  <a:pt x="4531546" y="2092654"/>
                </a:lnTo>
                <a:close/>
                <a:moveTo>
                  <a:pt x="5602064" y="2091246"/>
                </a:moveTo>
                <a:lnTo>
                  <a:pt x="5602063" y="2091246"/>
                </a:lnTo>
                <a:lnTo>
                  <a:pt x="5600804" y="2092319"/>
                </a:lnTo>
                <a:close/>
                <a:moveTo>
                  <a:pt x="7067364" y="2090055"/>
                </a:moveTo>
                <a:lnTo>
                  <a:pt x="7070402" y="2090705"/>
                </a:lnTo>
                <a:lnTo>
                  <a:pt x="7070293" y="2093087"/>
                </a:lnTo>
                <a:lnTo>
                  <a:pt x="7067255" y="2094602"/>
                </a:lnTo>
                <a:lnTo>
                  <a:pt x="7063674" y="2093628"/>
                </a:lnTo>
                <a:close/>
                <a:moveTo>
                  <a:pt x="3772319" y="2089721"/>
                </a:moveTo>
                <a:lnTo>
                  <a:pt x="3772256" y="2089838"/>
                </a:lnTo>
                <a:lnTo>
                  <a:pt x="3775728" y="2095359"/>
                </a:lnTo>
                <a:lnTo>
                  <a:pt x="3775728" y="2095143"/>
                </a:lnTo>
                <a:close/>
                <a:moveTo>
                  <a:pt x="5622357" y="2088756"/>
                </a:moveTo>
                <a:lnTo>
                  <a:pt x="5622356" y="2088756"/>
                </a:lnTo>
                <a:lnTo>
                  <a:pt x="5623193" y="2091021"/>
                </a:lnTo>
                <a:lnTo>
                  <a:pt x="5623128" y="2090844"/>
                </a:lnTo>
                <a:close/>
                <a:moveTo>
                  <a:pt x="5584266" y="2087889"/>
                </a:moveTo>
                <a:lnTo>
                  <a:pt x="5584266" y="2087889"/>
                </a:lnTo>
                <a:lnTo>
                  <a:pt x="5588607" y="2089622"/>
                </a:lnTo>
                <a:close/>
                <a:moveTo>
                  <a:pt x="5090795" y="2087673"/>
                </a:moveTo>
                <a:lnTo>
                  <a:pt x="5092251" y="2092654"/>
                </a:lnTo>
                <a:lnTo>
                  <a:pt x="5095940" y="2097093"/>
                </a:lnTo>
                <a:lnTo>
                  <a:pt x="5107986" y="2101965"/>
                </a:lnTo>
                <a:lnTo>
                  <a:pt x="5113304" y="2102398"/>
                </a:lnTo>
                <a:lnTo>
                  <a:pt x="5127736" y="2106621"/>
                </a:lnTo>
                <a:lnTo>
                  <a:pt x="5134790" y="2106621"/>
                </a:lnTo>
                <a:lnTo>
                  <a:pt x="5136298" y="2106188"/>
                </a:lnTo>
                <a:lnTo>
                  <a:pt x="5129472" y="2106188"/>
                </a:lnTo>
                <a:lnTo>
                  <a:pt x="5115040" y="2102073"/>
                </a:lnTo>
                <a:lnTo>
                  <a:pt x="5109722" y="2102073"/>
                </a:lnTo>
                <a:lnTo>
                  <a:pt x="5097677" y="2097310"/>
                </a:lnTo>
                <a:lnTo>
                  <a:pt x="5094096" y="2092871"/>
                </a:lnTo>
                <a:lnTo>
                  <a:pt x="5092576" y="2087673"/>
                </a:lnTo>
                <a:close/>
                <a:moveTo>
                  <a:pt x="6913921" y="2086807"/>
                </a:moveTo>
                <a:lnTo>
                  <a:pt x="6916308" y="2089189"/>
                </a:lnTo>
                <a:lnTo>
                  <a:pt x="6912728" y="2090597"/>
                </a:lnTo>
                <a:lnTo>
                  <a:pt x="6911642" y="2088431"/>
                </a:lnTo>
                <a:close/>
                <a:moveTo>
                  <a:pt x="7082664" y="2086374"/>
                </a:moveTo>
                <a:lnTo>
                  <a:pt x="7083641" y="2089298"/>
                </a:lnTo>
                <a:lnTo>
                  <a:pt x="7083097" y="2092762"/>
                </a:lnTo>
                <a:lnTo>
                  <a:pt x="7083857" y="2094819"/>
                </a:lnTo>
                <a:lnTo>
                  <a:pt x="7083097" y="2097743"/>
                </a:lnTo>
                <a:lnTo>
                  <a:pt x="7080601" y="2097852"/>
                </a:lnTo>
                <a:lnTo>
                  <a:pt x="7078431" y="2093087"/>
                </a:lnTo>
                <a:lnTo>
                  <a:pt x="7078540" y="2089298"/>
                </a:lnTo>
                <a:lnTo>
                  <a:pt x="7080168" y="2086807"/>
                </a:lnTo>
                <a:close/>
                <a:moveTo>
                  <a:pt x="4544676" y="2085617"/>
                </a:moveTo>
                <a:lnTo>
                  <a:pt x="4547498" y="2085942"/>
                </a:lnTo>
                <a:lnTo>
                  <a:pt x="4550319" y="2088215"/>
                </a:lnTo>
                <a:lnTo>
                  <a:pt x="4551079" y="2087241"/>
                </a:lnTo>
                <a:lnTo>
                  <a:pt x="4552381" y="2087566"/>
                </a:lnTo>
                <a:lnTo>
                  <a:pt x="4552923" y="2089298"/>
                </a:lnTo>
                <a:lnTo>
                  <a:pt x="4550211" y="2090597"/>
                </a:lnTo>
                <a:lnTo>
                  <a:pt x="4549126" y="2092005"/>
                </a:lnTo>
                <a:lnTo>
                  <a:pt x="4546847" y="2091897"/>
                </a:lnTo>
                <a:lnTo>
                  <a:pt x="4544785" y="2089623"/>
                </a:lnTo>
                <a:lnTo>
                  <a:pt x="4542180" y="2089839"/>
                </a:lnTo>
                <a:lnTo>
                  <a:pt x="4539685" y="2090597"/>
                </a:lnTo>
                <a:lnTo>
                  <a:pt x="4540770" y="2088865"/>
                </a:lnTo>
                <a:close/>
                <a:moveTo>
                  <a:pt x="5311251" y="2084971"/>
                </a:moveTo>
                <a:lnTo>
                  <a:pt x="5318726" y="2086699"/>
                </a:lnTo>
                <a:lnTo>
                  <a:pt x="5328383" y="2100124"/>
                </a:lnTo>
                <a:lnTo>
                  <a:pt x="5328384" y="2100124"/>
                </a:lnTo>
                <a:lnTo>
                  <a:pt x="5318727" y="2086699"/>
                </a:lnTo>
                <a:close/>
                <a:moveTo>
                  <a:pt x="5073154" y="2084750"/>
                </a:moveTo>
                <a:lnTo>
                  <a:pt x="5076082" y="2085725"/>
                </a:lnTo>
                <a:lnTo>
                  <a:pt x="5076402" y="2085608"/>
                </a:lnTo>
                <a:lnTo>
                  <a:pt x="5074020" y="2084750"/>
                </a:lnTo>
                <a:close/>
                <a:moveTo>
                  <a:pt x="5083570" y="2084100"/>
                </a:moveTo>
                <a:lnTo>
                  <a:pt x="5082799" y="2084382"/>
                </a:lnTo>
                <a:lnTo>
                  <a:pt x="5087259" y="2087349"/>
                </a:lnTo>
                <a:lnTo>
                  <a:pt x="5088669" y="2087393"/>
                </a:lnTo>
                <a:close/>
                <a:moveTo>
                  <a:pt x="4408054" y="2083884"/>
                </a:moveTo>
                <a:lnTo>
                  <a:pt x="4410984" y="2085183"/>
                </a:lnTo>
                <a:lnTo>
                  <a:pt x="4413154" y="2088106"/>
                </a:lnTo>
                <a:lnTo>
                  <a:pt x="4414999" y="2090272"/>
                </a:lnTo>
                <a:lnTo>
                  <a:pt x="4412069" y="2089730"/>
                </a:lnTo>
                <a:lnTo>
                  <a:pt x="4411418" y="2091355"/>
                </a:lnTo>
                <a:lnTo>
                  <a:pt x="4408705" y="2090596"/>
                </a:lnTo>
                <a:lnTo>
                  <a:pt x="4405450" y="2087349"/>
                </a:lnTo>
                <a:lnTo>
                  <a:pt x="4406209" y="2084750"/>
                </a:lnTo>
                <a:close/>
                <a:moveTo>
                  <a:pt x="4502463" y="2083667"/>
                </a:moveTo>
                <a:lnTo>
                  <a:pt x="4504417" y="2086591"/>
                </a:lnTo>
                <a:lnTo>
                  <a:pt x="4508432" y="2090272"/>
                </a:lnTo>
                <a:lnTo>
                  <a:pt x="4508324" y="2092762"/>
                </a:lnTo>
                <a:lnTo>
                  <a:pt x="4506370" y="2092654"/>
                </a:lnTo>
                <a:lnTo>
                  <a:pt x="4501270" y="2087673"/>
                </a:lnTo>
                <a:lnTo>
                  <a:pt x="4499100" y="2085941"/>
                </a:lnTo>
                <a:lnTo>
                  <a:pt x="4500293" y="2083883"/>
                </a:lnTo>
                <a:close/>
                <a:moveTo>
                  <a:pt x="5427678" y="2083234"/>
                </a:moveTo>
                <a:lnTo>
                  <a:pt x="5427678" y="2083235"/>
                </a:lnTo>
                <a:lnTo>
                  <a:pt x="5429207" y="2084455"/>
                </a:lnTo>
                <a:close/>
                <a:moveTo>
                  <a:pt x="5582589" y="2082426"/>
                </a:moveTo>
                <a:lnTo>
                  <a:pt x="5584266" y="2084642"/>
                </a:lnTo>
                <a:lnTo>
                  <a:pt x="5584266" y="2084641"/>
                </a:lnTo>
                <a:close/>
                <a:moveTo>
                  <a:pt x="6932043" y="2080635"/>
                </a:moveTo>
                <a:lnTo>
                  <a:pt x="6933888" y="2081826"/>
                </a:lnTo>
                <a:lnTo>
                  <a:pt x="6934214" y="2085940"/>
                </a:lnTo>
                <a:lnTo>
                  <a:pt x="6932585" y="2088430"/>
                </a:lnTo>
                <a:lnTo>
                  <a:pt x="6930307" y="2089296"/>
                </a:lnTo>
                <a:lnTo>
                  <a:pt x="6928896" y="2086048"/>
                </a:lnTo>
                <a:lnTo>
                  <a:pt x="6928679" y="2083341"/>
                </a:lnTo>
                <a:close/>
                <a:moveTo>
                  <a:pt x="5062062" y="2079770"/>
                </a:moveTo>
                <a:lnTo>
                  <a:pt x="5066424" y="2084425"/>
                </a:lnTo>
                <a:lnTo>
                  <a:pt x="5068072" y="2084425"/>
                </a:lnTo>
                <a:lnTo>
                  <a:pt x="5063711" y="2079770"/>
                </a:lnTo>
                <a:close/>
                <a:moveTo>
                  <a:pt x="3356745" y="2079553"/>
                </a:moveTo>
                <a:lnTo>
                  <a:pt x="3359458" y="2080202"/>
                </a:lnTo>
                <a:lnTo>
                  <a:pt x="3361194" y="2082584"/>
                </a:lnTo>
                <a:lnTo>
                  <a:pt x="3359349" y="2083884"/>
                </a:lnTo>
                <a:lnTo>
                  <a:pt x="3353164" y="2082910"/>
                </a:lnTo>
                <a:lnTo>
                  <a:pt x="3352513" y="2080852"/>
                </a:lnTo>
                <a:close/>
                <a:moveTo>
                  <a:pt x="5297728" y="2076470"/>
                </a:moveTo>
                <a:lnTo>
                  <a:pt x="5301146" y="2077063"/>
                </a:lnTo>
                <a:lnTo>
                  <a:pt x="5302557" y="2084100"/>
                </a:lnTo>
                <a:lnTo>
                  <a:pt x="5304727" y="2085833"/>
                </a:lnTo>
                <a:lnTo>
                  <a:pt x="5304728" y="2085833"/>
                </a:lnTo>
                <a:lnTo>
                  <a:pt x="5302558" y="2084100"/>
                </a:lnTo>
                <a:lnTo>
                  <a:pt x="5301147" y="2077063"/>
                </a:lnTo>
                <a:close/>
                <a:moveTo>
                  <a:pt x="5666956" y="2072623"/>
                </a:moveTo>
                <a:lnTo>
                  <a:pt x="5664569" y="2074355"/>
                </a:lnTo>
                <a:lnTo>
                  <a:pt x="5664570" y="2074355"/>
                </a:lnTo>
                <a:lnTo>
                  <a:pt x="5666956" y="2072623"/>
                </a:lnTo>
                <a:lnTo>
                  <a:pt x="5668022" y="2072709"/>
                </a:lnTo>
                <a:close/>
                <a:moveTo>
                  <a:pt x="4285322" y="2072407"/>
                </a:moveTo>
                <a:lnTo>
                  <a:pt x="4289012" y="2076738"/>
                </a:lnTo>
                <a:lnTo>
                  <a:pt x="4288035" y="2083017"/>
                </a:lnTo>
                <a:lnTo>
                  <a:pt x="4283695" y="2087023"/>
                </a:lnTo>
                <a:lnTo>
                  <a:pt x="4279354" y="2098608"/>
                </a:lnTo>
                <a:lnTo>
                  <a:pt x="4283695" y="2104563"/>
                </a:lnTo>
                <a:lnTo>
                  <a:pt x="4284237" y="2109760"/>
                </a:lnTo>
                <a:lnTo>
                  <a:pt x="4281958" y="2112684"/>
                </a:lnTo>
                <a:lnTo>
                  <a:pt x="4282284" y="2118638"/>
                </a:lnTo>
                <a:lnTo>
                  <a:pt x="4277727" y="2119288"/>
                </a:lnTo>
                <a:lnTo>
                  <a:pt x="4266766" y="2114957"/>
                </a:lnTo>
                <a:lnTo>
                  <a:pt x="4265789" y="2111168"/>
                </a:lnTo>
                <a:lnTo>
                  <a:pt x="4261123" y="2107811"/>
                </a:lnTo>
                <a:lnTo>
                  <a:pt x="4258953" y="2109219"/>
                </a:lnTo>
                <a:lnTo>
                  <a:pt x="4248318" y="2105213"/>
                </a:lnTo>
                <a:lnTo>
                  <a:pt x="4243760" y="2100341"/>
                </a:lnTo>
                <a:lnTo>
                  <a:pt x="4238877" y="2099150"/>
                </a:lnTo>
                <a:lnTo>
                  <a:pt x="4229871" y="2092978"/>
                </a:lnTo>
                <a:lnTo>
                  <a:pt x="4224770" y="2093844"/>
                </a:lnTo>
                <a:lnTo>
                  <a:pt x="4219670" y="2089189"/>
                </a:lnTo>
                <a:lnTo>
                  <a:pt x="4220430" y="2081393"/>
                </a:lnTo>
                <a:lnTo>
                  <a:pt x="4226181" y="2078686"/>
                </a:lnTo>
                <a:lnTo>
                  <a:pt x="4227917" y="2080852"/>
                </a:lnTo>
                <a:lnTo>
                  <a:pt x="4230739" y="2078578"/>
                </a:lnTo>
                <a:lnTo>
                  <a:pt x="4236055" y="2078037"/>
                </a:lnTo>
                <a:lnTo>
                  <a:pt x="4240505" y="2081068"/>
                </a:lnTo>
                <a:lnTo>
                  <a:pt x="4246799" y="2082260"/>
                </a:lnTo>
                <a:lnTo>
                  <a:pt x="4255697" y="2079661"/>
                </a:lnTo>
                <a:lnTo>
                  <a:pt x="4266549" y="2080311"/>
                </a:lnTo>
                <a:lnTo>
                  <a:pt x="4271649" y="2074897"/>
                </a:lnTo>
                <a:lnTo>
                  <a:pt x="4276858" y="2077821"/>
                </a:lnTo>
                <a:lnTo>
                  <a:pt x="4279354" y="2078145"/>
                </a:lnTo>
                <a:close/>
                <a:moveTo>
                  <a:pt x="5286497" y="2072190"/>
                </a:moveTo>
                <a:lnTo>
                  <a:pt x="5286497" y="2072191"/>
                </a:lnTo>
                <a:lnTo>
                  <a:pt x="5296154" y="2076196"/>
                </a:lnTo>
                <a:lnTo>
                  <a:pt x="5296155" y="2076197"/>
                </a:lnTo>
                <a:close/>
                <a:moveTo>
                  <a:pt x="5656755" y="2071216"/>
                </a:moveTo>
                <a:lnTo>
                  <a:pt x="5654585" y="2072623"/>
                </a:lnTo>
                <a:lnTo>
                  <a:pt x="5651004" y="2071649"/>
                </a:lnTo>
                <a:lnTo>
                  <a:pt x="5654585" y="2072623"/>
                </a:lnTo>
                <a:lnTo>
                  <a:pt x="5654801" y="2072623"/>
                </a:lnTo>
                <a:lnTo>
                  <a:pt x="5650027" y="2080852"/>
                </a:lnTo>
                <a:lnTo>
                  <a:pt x="5650028" y="2080851"/>
                </a:lnTo>
                <a:lnTo>
                  <a:pt x="5654803" y="2072623"/>
                </a:lnTo>
                <a:lnTo>
                  <a:pt x="5654586" y="2072623"/>
                </a:lnTo>
                <a:close/>
                <a:moveTo>
                  <a:pt x="5464030" y="2070566"/>
                </a:moveTo>
                <a:lnTo>
                  <a:pt x="5465658" y="2072191"/>
                </a:lnTo>
                <a:lnTo>
                  <a:pt x="5465659" y="2072190"/>
                </a:lnTo>
                <a:lnTo>
                  <a:pt x="5465658" y="2072190"/>
                </a:lnTo>
                <a:close/>
                <a:moveTo>
                  <a:pt x="5522846" y="2070565"/>
                </a:moveTo>
                <a:lnTo>
                  <a:pt x="5520133" y="2073056"/>
                </a:lnTo>
                <a:lnTo>
                  <a:pt x="5517420" y="2073597"/>
                </a:lnTo>
                <a:lnTo>
                  <a:pt x="5514815" y="2077387"/>
                </a:lnTo>
                <a:lnTo>
                  <a:pt x="5509607" y="2080310"/>
                </a:lnTo>
                <a:lnTo>
                  <a:pt x="5501685" y="2082042"/>
                </a:lnTo>
                <a:lnTo>
                  <a:pt x="5498104" y="2080526"/>
                </a:lnTo>
                <a:lnTo>
                  <a:pt x="5492895" y="2073814"/>
                </a:lnTo>
                <a:lnTo>
                  <a:pt x="5494957" y="2076412"/>
                </a:lnTo>
                <a:lnTo>
                  <a:pt x="5494957" y="2076411"/>
                </a:lnTo>
                <a:lnTo>
                  <a:pt x="5492896" y="2073814"/>
                </a:lnTo>
                <a:lnTo>
                  <a:pt x="5492895" y="2073814"/>
                </a:lnTo>
                <a:lnTo>
                  <a:pt x="5498104" y="2080527"/>
                </a:lnTo>
                <a:lnTo>
                  <a:pt x="5501685" y="2082043"/>
                </a:lnTo>
                <a:lnTo>
                  <a:pt x="5509607" y="2080311"/>
                </a:lnTo>
                <a:lnTo>
                  <a:pt x="5514816" y="2077387"/>
                </a:lnTo>
                <a:lnTo>
                  <a:pt x="5517420" y="2073598"/>
                </a:lnTo>
                <a:lnTo>
                  <a:pt x="5520133" y="2073056"/>
                </a:lnTo>
                <a:lnTo>
                  <a:pt x="5522846" y="2070566"/>
                </a:lnTo>
                <a:lnTo>
                  <a:pt x="5525342" y="2072191"/>
                </a:lnTo>
                <a:lnTo>
                  <a:pt x="5527946" y="2075655"/>
                </a:lnTo>
                <a:lnTo>
                  <a:pt x="5536194" y="2076413"/>
                </a:lnTo>
                <a:lnTo>
                  <a:pt x="5535977" y="2072623"/>
                </a:lnTo>
                <a:lnTo>
                  <a:pt x="5535423" y="2072044"/>
                </a:lnTo>
                <a:lnTo>
                  <a:pt x="5535976" y="2072623"/>
                </a:lnTo>
                <a:lnTo>
                  <a:pt x="5536193" y="2076412"/>
                </a:lnTo>
                <a:lnTo>
                  <a:pt x="5527946" y="2075655"/>
                </a:lnTo>
                <a:lnTo>
                  <a:pt x="5525342" y="2072190"/>
                </a:lnTo>
                <a:close/>
                <a:moveTo>
                  <a:pt x="5660120" y="2070349"/>
                </a:moveTo>
                <a:lnTo>
                  <a:pt x="5658073" y="2070876"/>
                </a:lnTo>
                <a:lnTo>
                  <a:pt x="5660121" y="2070350"/>
                </a:lnTo>
                <a:close/>
                <a:moveTo>
                  <a:pt x="5473472" y="2070133"/>
                </a:moveTo>
                <a:lnTo>
                  <a:pt x="5473431" y="2070144"/>
                </a:lnTo>
                <a:lnTo>
                  <a:pt x="5473471" y="2070133"/>
                </a:lnTo>
                <a:lnTo>
                  <a:pt x="5478680" y="2072623"/>
                </a:lnTo>
                <a:lnTo>
                  <a:pt x="5480561" y="2075438"/>
                </a:lnTo>
                <a:lnTo>
                  <a:pt x="5478680" y="2072623"/>
                </a:lnTo>
                <a:close/>
                <a:moveTo>
                  <a:pt x="5675854" y="2068617"/>
                </a:moveTo>
                <a:lnTo>
                  <a:pt x="5673684" y="2070998"/>
                </a:lnTo>
                <a:lnTo>
                  <a:pt x="5670971" y="2072948"/>
                </a:lnTo>
                <a:lnTo>
                  <a:pt x="5670972" y="2072948"/>
                </a:lnTo>
                <a:lnTo>
                  <a:pt x="5673685" y="2070999"/>
                </a:lnTo>
                <a:lnTo>
                  <a:pt x="5675855" y="2068617"/>
                </a:lnTo>
                <a:lnTo>
                  <a:pt x="5678893" y="2068833"/>
                </a:lnTo>
                <a:lnTo>
                  <a:pt x="5678893" y="2068833"/>
                </a:lnTo>
                <a:close/>
                <a:moveTo>
                  <a:pt x="5534132" y="2067101"/>
                </a:moveTo>
                <a:lnTo>
                  <a:pt x="5533806" y="2070349"/>
                </a:lnTo>
                <a:lnTo>
                  <a:pt x="5533806" y="2070349"/>
                </a:lnTo>
                <a:close/>
                <a:moveTo>
                  <a:pt x="5265010" y="2066235"/>
                </a:moveTo>
                <a:lnTo>
                  <a:pt x="5278900" y="2075006"/>
                </a:lnTo>
                <a:lnTo>
                  <a:pt x="5278901" y="2075006"/>
                </a:lnTo>
                <a:lnTo>
                  <a:pt x="5265011" y="2066236"/>
                </a:lnTo>
                <a:close/>
                <a:moveTo>
                  <a:pt x="5579600" y="2065694"/>
                </a:moveTo>
                <a:lnTo>
                  <a:pt x="5580251" y="2070566"/>
                </a:lnTo>
                <a:lnTo>
                  <a:pt x="5580262" y="2070890"/>
                </a:lnTo>
                <a:lnTo>
                  <a:pt x="5580251" y="2070565"/>
                </a:lnTo>
                <a:close/>
                <a:moveTo>
                  <a:pt x="4404472" y="2065369"/>
                </a:moveTo>
                <a:lnTo>
                  <a:pt x="4407077" y="2067643"/>
                </a:lnTo>
                <a:lnTo>
                  <a:pt x="4408596" y="2070999"/>
                </a:lnTo>
                <a:lnTo>
                  <a:pt x="4407945" y="2072948"/>
                </a:lnTo>
                <a:lnTo>
                  <a:pt x="4410007" y="2075114"/>
                </a:lnTo>
                <a:lnTo>
                  <a:pt x="4410658" y="2077387"/>
                </a:lnTo>
                <a:lnTo>
                  <a:pt x="4411634" y="2078687"/>
                </a:lnTo>
                <a:lnTo>
                  <a:pt x="4410115" y="2080961"/>
                </a:lnTo>
                <a:lnTo>
                  <a:pt x="4407294" y="2079445"/>
                </a:lnTo>
                <a:lnTo>
                  <a:pt x="4404038" y="2079012"/>
                </a:lnTo>
                <a:lnTo>
                  <a:pt x="4404038" y="2076305"/>
                </a:lnTo>
                <a:lnTo>
                  <a:pt x="4402844" y="2075114"/>
                </a:lnTo>
                <a:lnTo>
                  <a:pt x="4402844" y="2077496"/>
                </a:lnTo>
                <a:lnTo>
                  <a:pt x="4401651" y="2078795"/>
                </a:lnTo>
                <a:lnTo>
                  <a:pt x="4399481" y="2076630"/>
                </a:lnTo>
                <a:lnTo>
                  <a:pt x="4399481" y="2071540"/>
                </a:lnTo>
                <a:lnTo>
                  <a:pt x="4402302" y="2070783"/>
                </a:lnTo>
                <a:lnTo>
                  <a:pt x="4404364" y="2071108"/>
                </a:lnTo>
                <a:close/>
                <a:moveTo>
                  <a:pt x="5658199" y="2065091"/>
                </a:moveTo>
                <a:lnTo>
                  <a:pt x="5658274" y="2065369"/>
                </a:lnTo>
                <a:lnTo>
                  <a:pt x="5658274" y="2065369"/>
                </a:lnTo>
                <a:close/>
                <a:moveTo>
                  <a:pt x="3775765" y="2062950"/>
                </a:moveTo>
                <a:lnTo>
                  <a:pt x="3775728" y="2062987"/>
                </a:lnTo>
                <a:lnTo>
                  <a:pt x="3779093" y="2069916"/>
                </a:lnTo>
                <a:lnTo>
                  <a:pt x="3784190" y="2070234"/>
                </a:lnTo>
                <a:lnTo>
                  <a:pt x="3784300" y="2069482"/>
                </a:lnTo>
                <a:lnTo>
                  <a:pt x="3779091" y="2069482"/>
                </a:lnTo>
                <a:close/>
                <a:moveTo>
                  <a:pt x="5626805" y="2062771"/>
                </a:moveTo>
                <a:lnTo>
                  <a:pt x="5615953" y="2069700"/>
                </a:lnTo>
                <a:lnTo>
                  <a:pt x="5612697" y="2072514"/>
                </a:lnTo>
                <a:lnTo>
                  <a:pt x="5611721" y="2076845"/>
                </a:lnTo>
                <a:lnTo>
                  <a:pt x="5607814" y="2080310"/>
                </a:lnTo>
                <a:lnTo>
                  <a:pt x="5599567" y="2084100"/>
                </a:lnTo>
                <a:lnTo>
                  <a:pt x="5598699" y="2086481"/>
                </a:lnTo>
                <a:lnTo>
                  <a:pt x="5594575" y="2089622"/>
                </a:lnTo>
                <a:lnTo>
                  <a:pt x="5598699" y="2086482"/>
                </a:lnTo>
                <a:lnTo>
                  <a:pt x="5599567" y="2084100"/>
                </a:lnTo>
                <a:lnTo>
                  <a:pt x="5607814" y="2080311"/>
                </a:lnTo>
                <a:lnTo>
                  <a:pt x="5611721" y="2076846"/>
                </a:lnTo>
                <a:lnTo>
                  <a:pt x="5612697" y="2072515"/>
                </a:lnTo>
                <a:lnTo>
                  <a:pt x="5615954" y="2069700"/>
                </a:lnTo>
                <a:close/>
                <a:moveTo>
                  <a:pt x="5646989" y="2061363"/>
                </a:moveTo>
                <a:lnTo>
                  <a:pt x="5643842" y="2065152"/>
                </a:lnTo>
                <a:lnTo>
                  <a:pt x="5634944" y="2066235"/>
                </a:lnTo>
                <a:lnTo>
                  <a:pt x="5634944" y="2066236"/>
                </a:lnTo>
                <a:lnTo>
                  <a:pt x="5643842" y="2065153"/>
                </a:lnTo>
                <a:close/>
                <a:moveTo>
                  <a:pt x="4528616" y="2061363"/>
                </a:moveTo>
                <a:lnTo>
                  <a:pt x="4531546" y="2062554"/>
                </a:lnTo>
                <a:lnTo>
                  <a:pt x="4532739" y="2063637"/>
                </a:lnTo>
                <a:lnTo>
                  <a:pt x="4533716" y="2069484"/>
                </a:lnTo>
                <a:lnTo>
                  <a:pt x="4532848" y="2073382"/>
                </a:lnTo>
                <a:lnTo>
                  <a:pt x="4529593" y="2074898"/>
                </a:lnTo>
                <a:lnTo>
                  <a:pt x="4526988" y="2072949"/>
                </a:lnTo>
                <a:lnTo>
                  <a:pt x="4526988" y="2071000"/>
                </a:lnTo>
                <a:lnTo>
                  <a:pt x="4529158" y="2070241"/>
                </a:lnTo>
                <a:lnTo>
                  <a:pt x="4528941" y="2066669"/>
                </a:lnTo>
                <a:lnTo>
                  <a:pt x="4525903" y="2064287"/>
                </a:lnTo>
                <a:lnTo>
                  <a:pt x="4525903" y="2062771"/>
                </a:lnTo>
                <a:close/>
                <a:moveTo>
                  <a:pt x="5465333" y="2061255"/>
                </a:moveTo>
                <a:lnTo>
                  <a:pt x="5465333" y="2061255"/>
                </a:lnTo>
                <a:lnTo>
                  <a:pt x="5465666" y="2064000"/>
                </a:lnTo>
                <a:close/>
                <a:moveTo>
                  <a:pt x="5223449" y="2060497"/>
                </a:moveTo>
                <a:lnTo>
                  <a:pt x="5223448" y="2060497"/>
                </a:lnTo>
                <a:lnTo>
                  <a:pt x="5232455" y="2062447"/>
                </a:lnTo>
                <a:lnTo>
                  <a:pt x="5232455" y="2062446"/>
                </a:lnTo>
                <a:close/>
                <a:moveTo>
                  <a:pt x="5552688" y="2060064"/>
                </a:moveTo>
                <a:lnTo>
                  <a:pt x="5549432" y="2065152"/>
                </a:lnTo>
                <a:lnTo>
                  <a:pt x="5544333" y="2065694"/>
                </a:lnTo>
                <a:lnTo>
                  <a:pt x="5549433" y="2065153"/>
                </a:lnTo>
                <a:lnTo>
                  <a:pt x="5552688" y="2060064"/>
                </a:lnTo>
                <a:close/>
                <a:moveTo>
                  <a:pt x="3291201" y="2057899"/>
                </a:moveTo>
                <a:lnTo>
                  <a:pt x="3294999" y="2058440"/>
                </a:lnTo>
                <a:lnTo>
                  <a:pt x="3299340" y="2062229"/>
                </a:lnTo>
                <a:lnTo>
                  <a:pt x="3296519" y="2062879"/>
                </a:lnTo>
                <a:lnTo>
                  <a:pt x="3291634" y="2062554"/>
                </a:lnTo>
                <a:close/>
                <a:moveTo>
                  <a:pt x="4407512" y="2057682"/>
                </a:moveTo>
                <a:lnTo>
                  <a:pt x="4408163" y="2061688"/>
                </a:lnTo>
                <a:lnTo>
                  <a:pt x="4406752" y="2063529"/>
                </a:lnTo>
                <a:lnTo>
                  <a:pt x="4405233" y="2063854"/>
                </a:lnTo>
                <a:lnTo>
                  <a:pt x="4404039" y="2063421"/>
                </a:lnTo>
                <a:lnTo>
                  <a:pt x="4403714" y="2061796"/>
                </a:lnTo>
                <a:lnTo>
                  <a:pt x="4405884" y="2057898"/>
                </a:lnTo>
                <a:close/>
                <a:moveTo>
                  <a:pt x="5248950" y="2057249"/>
                </a:moveTo>
                <a:lnTo>
                  <a:pt x="5257522" y="2064178"/>
                </a:lnTo>
                <a:lnTo>
                  <a:pt x="5264960" y="2066222"/>
                </a:lnTo>
                <a:lnTo>
                  <a:pt x="5257523" y="2064178"/>
                </a:lnTo>
                <a:close/>
                <a:moveTo>
                  <a:pt x="4944127" y="2056817"/>
                </a:moveTo>
                <a:lnTo>
                  <a:pt x="4944127" y="2056817"/>
                </a:lnTo>
                <a:lnTo>
                  <a:pt x="4949660" y="2057466"/>
                </a:lnTo>
                <a:lnTo>
                  <a:pt x="4949660" y="2057466"/>
                </a:lnTo>
                <a:close/>
                <a:moveTo>
                  <a:pt x="5238967" y="2055517"/>
                </a:moveTo>
                <a:lnTo>
                  <a:pt x="5238966" y="2055517"/>
                </a:lnTo>
                <a:lnTo>
                  <a:pt x="5243632" y="2057466"/>
                </a:lnTo>
                <a:lnTo>
                  <a:pt x="5243633" y="2057466"/>
                </a:lnTo>
                <a:close/>
                <a:moveTo>
                  <a:pt x="5574173" y="2055063"/>
                </a:moveTo>
                <a:lnTo>
                  <a:pt x="5574283" y="2055408"/>
                </a:lnTo>
                <a:lnTo>
                  <a:pt x="5578189" y="2055192"/>
                </a:lnTo>
                <a:lnTo>
                  <a:pt x="5579926" y="2059739"/>
                </a:lnTo>
                <a:lnTo>
                  <a:pt x="5579926" y="2059739"/>
                </a:lnTo>
                <a:lnTo>
                  <a:pt x="5578189" y="2055191"/>
                </a:lnTo>
                <a:lnTo>
                  <a:pt x="5574283" y="2055408"/>
                </a:lnTo>
                <a:close/>
                <a:moveTo>
                  <a:pt x="3299774" y="2053677"/>
                </a:moveTo>
                <a:lnTo>
                  <a:pt x="3302703" y="2054110"/>
                </a:lnTo>
                <a:lnTo>
                  <a:pt x="3304114" y="2056710"/>
                </a:lnTo>
                <a:close/>
                <a:moveTo>
                  <a:pt x="3321476" y="2052810"/>
                </a:moveTo>
                <a:lnTo>
                  <a:pt x="3323755" y="2054218"/>
                </a:lnTo>
                <a:lnTo>
                  <a:pt x="3323538" y="2056058"/>
                </a:lnTo>
                <a:lnTo>
                  <a:pt x="3320283" y="2053676"/>
                </a:lnTo>
                <a:close/>
                <a:moveTo>
                  <a:pt x="4495192" y="2051186"/>
                </a:moveTo>
                <a:lnTo>
                  <a:pt x="4497146" y="2053351"/>
                </a:lnTo>
                <a:lnTo>
                  <a:pt x="4499533" y="2054109"/>
                </a:lnTo>
                <a:lnTo>
                  <a:pt x="4499967" y="2058115"/>
                </a:lnTo>
                <a:lnTo>
                  <a:pt x="4498448" y="2058765"/>
                </a:lnTo>
                <a:lnTo>
                  <a:pt x="4497146" y="2056057"/>
                </a:lnTo>
                <a:lnTo>
                  <a:pt x="4495951" y="2055733"/>
                </a:lnTo>
                <a:lnTo>
                  <a:pt x="4493456" y="2051727"/>
                </a:lnTo>
                <a:close/>
                <a:moveTo>
                  <a:pt x="4465135" y="2050970"/>
                </a:moveTo>
                <a:lnTo>
                  <a:pt x="4468716" y="2054976"/>
                </a:lnTo>
                <a:lnTo>
                  <a:pt x="4472948" y="2056492"/>
                </a:lnTo>
                <a:lnTo>
                  <a:pt x="4476962" y="2058657"/>
                </a:lnTo>
                <a:lnTo>
                  <a:pt x="4477505" y="2059631"/>
                </a:lnTo>
                <a:lnTo>
                  <a:pt x="4480544" y="2059740"/>
                </a:lnTo>
                <a:lnTo>
                  <a:pt x="4481087" y="2058982"/>
                </a:lnTo>
                <a:lnTo>
                  <a:pt x="4486729" y="2064721"/>
                </a:lnTo>
                <a:lnTo>
                  <a:pt x="4488791" y="2068294"/>
                </a:lnTo>
                <a:lnTo>
                  <a:pt x="4488900" y="2070243"/>
                </a:lnTo>
                <a:lnTo>
                  <a:pt x="4489551" y="2072733"/>
                </a:lnTo>
                <a:lnTo>
                  <a:pt x="4489116" y="2076197"/>
                </a:lnTo>
                <a:lnTo>
                  <a:pt x="4492372" y="2079337"/>
                </a:lnTo>
                <a:lnTo>
                  <a:pt x="4493674" y="2078363"/>
                </a:lnTo>
                <a:lnTo>
                  <a:pt x="4497906" y="2078796"/>
                </a:lnTo>
                <a:lnTo>
                  <a:pt x="4496170" y="2083560"/>
                </a:lnTo>
                <a:lnTo>
                  <a:pt x="4494000" y="2082369"/>
                </a:lnTo>
                <a:lnTo>
                  <a:pt x="4491938" y="2083452"/>
                </a:lnTo>
                <a:lnTo>
                  <a:pt x="4488465" y="2081178"/>
                </a:lnTo>
                <a:lnTo>
                  <a:pt x="4487163" y="2078796"/>
                </a:lnTo>
                <a:lnTo>
                  <a:pt x="4487598" y="2076197"/>
                </a:lnTo>
                <a:lnTo>
                  <a:pt x="4485644" y="2074357"/>
                </a:lnTo>
                <a:lnTo>
                  <a:pt x="4482605" y="2069809"/>
                </a:lnTo>
                <a:lnTo>
                  <a:pt x="4481412" y="2067752"/>
                </a:lnTo>
                <a:lnTo>
                  <a:pt x="4478374" y="2068077"/>
                </a:lnTo>
                <a:lnTo>
                  <a:pt x="4474033" y="2065695"/>
                </a:lnTo>
                <a:lnTo>
                  <a:pt x="4472079" y="2062772"/>
                </a:lnTo>
                <a:lnTo>
                  <a:pt x="4469150" y="2062122"/>
                </a:lnTo>
                <a:lnTo>
                  <a:pt x="4467305" y="2059523"/>
                </a:lnTo>
                <a:lnTo>
                  <a:pt x="4465135" y="2058549"/>
                </a:lnTo>
                <a:lnTo>
                  <a:pt x="4464158" y="2057033"/>
                </a:lnTo>
                <a:lnTo>
                  <a:pt x="4461879" y="2055084"/>
                </a:lnTo>
                <a:lnTo>
                  <a:pt x="4457756" y="2055301"/>
                </a:lnTo>
                <a:lnTo>
                  <a:pt x="4455694" y="2054868"/>
                </a:lnTo>
                <a:lnTo>
                  <a:pt x="4459057" y="2051945"/>
                </a:lnTo>
                <a:close/>
                <a:moveTo>
                  <a:pt x="3979087" y="2049129"/>
                </a:moveTo>
                <a:lnTo>
                  <a:pt x="3980932" y="2052160"/>
                </a:lnTo>
                <a:lnTo>
                  <a:pt x="3978328" y="2054759"/>
                </a:lnTo>
                <a:lnTo>
                  <a:pt x="3975614" y="2058549"/>
                </a:lnTo>
                <a:lnTo>
                  <a:pt x="3972143" y="2055300"/>
                </a:lnTo>
                <a:lnTo>
                  <a:pt x="3972902" y="2050970"/>
                </a:lnTo>
                <a:close/>
                <a:moveTo>
                  <a:pt x="5451551" y="2047992"/>
                </a:moveTo>
                <a:lnTo>
                  <a:pt x="5452962" y="2049562"/>
                </a:lnTo>
                <a:lnTo>
                  <a:pt x="5456760" y="2048913"/>
                </a:lnTo>
                <a:lnTo>
                  <a:pt x="5460820" y="2051728"/>
                </a:lnTo>
                <a:lnTo>
                  <a:pt x="5456760" y="2048912"/>
                </a:lnTo>
                <a:lnTo>
                  <a:pt x="5452962" y="2049562"/>
                </a:lnTo>
                <a:close/>
                <a:moveTo>
                  <a:pt x="4472187" y="2045880"/>
                </a:moveTo>
                <a:lnTo>
                  <a:pt x="4474684" y="2046746"/>
                </a:lnTo>
                <a:lnTo>
                  <a:pt x="4475443" y="2049777"/>
                </a:lnTo>
                <a:lnTo>
                  <a:pt x="4474684" y="2051402"/>
                </a:lnTo>
                <a:lnTo>
                  <a:pt x="4470777" y="2046313"/>
                </a:lnTo>
                <a:close/>
                <a:moveTo>
                  <a:pt x="4468173" y="2045123"/>
                </a:moveTo>
                <a:lnTo>
                  <a:pt x="4469149" y="2046097"/>
                </a:lnTo>
                <a:lnTo>
                  <a:pt x="4467955" y="2048480"/>
                </a:lnTo>
                <a:lnTo>
                  <a:pt x="4466328" y="2046422"/>
                </a:lnTo>
                <a:close/>
                <a:moveTo>
                  <a:pt x="5437335" y="2044365"/>
                </a:moveTo>
                <a:lnTo>
                  <a:pt x="5437336" y="2044365"/>
                </a:lnTo>
                <a:lnTo>
                  <a:pt x="5444023" y="2045439"/>
                </a:lnTo>
                <a:close/>
                <a:moveTo>
                  <a:pt x="5004678" y="2044040"/>
                </a:moveTo>
                <a:lnTo>
                  <a:pt x="5000447" y="2045988"/>
                </a:lnTo>
                <a:lnTo>
                  <a:pt x="4997084" y="2044797"/>
                </a:lnTo>
                <a:lnTo>
                  <a:pt x="4997082" y="2044798"/>
                </a:lnTo>
                <a:lnTo>
                  <a:pt x="4994113" y="2045354"/>
                </a:lnTo>
                <a:lnTo>
                  <a:pt x="4997082" y="2044798"/>
                </a:lnTo>
                <a:lnTo>
                  <a:pt x="5000446" y="2045989"/>
                </a:lnTo>
                <a:lnTo>
                  <a:pt x="5004678" y="2044040"/>
                </a:lnTo>
                <a:close/>
                <a:moveTo>
                  <a:pt x="4537841" y="2038951"/>
                </a:moveTo>
                <a:lnTo>
                  <a:pt x="4538600" y="2040141"/>
                </a:lnTo>
                <a:lnTo>
                  <a:pt x="4537623" y="2042849"/>
                </a:lnTo>
                <a:lnTo>
                  <a:pt x="4538708" y="2043065"/>
                </a:lnTo>
                <a:lnTo>
                  <a:pt x="4539576" y="2046421"/>
                </a:lnTo>
                <a:lnTo>
                  <a:pt x="4539468" y="2051510"/>
                </a:lnTo>
                <a:lnTo>
                  <a:pt x="4534693" y="2051835"/>
                </a:lnTo>
                <a:lnTo>
                  <a:pt x="4531437" y="2050319"/>
                </a:lnTo>
                <a:lnTo>
                  <a:pt x="4532740" y="2048371"/>
                </a:lnTo>
                <a:lnTo>
                  <a:pt x="4534693" y="2046746"/>
                </a:lnTo>
                <a:lnTo>
                  <a:pt x="4535019" y="2043823"/>
                </a:lnTo>
                <a:lnTo>
                  <a:pt x="4531546" y="2043931"/>
                </a:lnTo>
                <a:lnTo>
                  <a:pt x="4530461" y="2046638"/>
                </a:lnTo>
                <a:lnTo>
                  <a:pt x="4529918" y="2049453"/>
                </a:lnTo>
                <a:lnTo>
                  <a:pt x="4527748" y="2049994"/>
                </a:lnTo>
                <a:lnTo>
                  <a:pt x="4526229" y="2049886"/>
                </a:lnTo>
                <a:lnTo>
                  <a:pt x="4522648" y="2046963"/>
                </a:lnTo>
                <a:lnTo>
                  <a:pt x="4524818" y="2043282"/>
                </a:lnTo>
                <a:lnTo>
                  <a:pt x="4530244" y="2041333"/>
                </a:lnTo>
                <a:lnTo>
                  <a:pt x="4532740" y="2039709"/>
                </a:lnTo>
                <a:close/>
                <a:moveTo>
                  <a:pt x="5007175" y="2038951"/>
                </a:moveTo>
                <a:lnTo>
                  <a:pt x="5007174" y="2038952"/>
                </a:lnTo>
                <a:lnTo>
                  <a:pt x="5009561" y="2038952"/>
                </a:lnTo>
                <a:lnTo>
                  <a:pt x="5009562" y="2038951"/>
                </a:lnTo>
                <a:close/>
                <a:moveTo>
                  <a:pt x="4998338" y="2038499"/>
                </a:moveTo>
                <a:lnTo>
                  <a:pt x="4997407" y="2039601"/>
                </a:lnTo>
                <a:lnTo>
                  <a:pt x="4997407" y="2044689"/>
                </a:lnTo>
                <a:lnTo>
                  <a:pt x="4997409" y="2044688"/>
                </a:lnTo>
                <a:lnTo>
                  <a:pt x="4997409" y="2039600"/>
                </a:lnTo>
                <a:close/>
                <a:moveTo>
                  <a:pt x="7025693" y="2038085"/>
                </a:moveTo>
                <a:lnTo>
                  <a:pt x="7027864" y="2040359"/>
                </a:lnTo>
                <a:lnTo>
                  <a:pt x="7026127" y="2041333"/>
                </a:lnTo>
                <a:lnTo>
                  <a:pt x="7024825" y="2040683"/>
                </a:lnTo>
                <a:close/>
                <a:moveTo>
                  <a:pt x="5498183" y="2037773"/>
                </a:moveTo>
                <a:lnTo>
                  <a:pt x="5498430" y="2038410"/>
                </a:lnTo>
                <a:lnTo>
                  <a:pt x="5501620" y="2039754"/>
                </a:lnTo>
                <a:lnTo>
                  <a:pt x="5498430" y="2038410"/>
                </a:lnTo>
                <a:close/>
                <a:moveTo>
                  <a:pt x="5168686" y="2036907"/>
                </a:moveTo>
                <a:lnTo>
                  <a:pt x="5170167" y="2041551"/>
                </a:lnTo>
                <a:lnTo>
                  <a:pt x="5170167" y="2048371"/>
                </a:lnTo>
                <a:lnTo>
                  <a:pt x="5170817" y="2052160"/>
                </a:lnTo>
                <a:lnTo>
                  <a:pt x="5170817" y="2064395"/>
                </a:lnTo>
                <a:lnTo>
                  <a:pt x="5170832" y="2064427"/>
                </a:lnTo>
                <a:lnTo>
                  <a:pt x="5171252" y="2052594"/>
                </a:lnTo>
                <a:lnTo>
                  <a:pt x="5170492" y="2048804"/>
                </a:lnTo>
                <a:lnTo>
                  <a:pt x="5170709" y="2041983"/>
                </a:lnTo>
                <a:lnTo>
                  <a:pt x="5169081" y="2037111"/>
                </a:lnTo>
                <a:close/>
                <a:moveTo>
                  <a:pt x="5565699" y="2036607"/>
                </a:moveTo>
                <a:lnTo>
                  <a:pt x="5569617" y="2039385"/>
                </a:lnTo>
                <a:lnTo>
                  <a:pt x="5573957" y="2041658"/>
                </a:lnTo>
                <a:lnTo>
                  <a:pt x="5573957" y="2041657"/>
                </a:lnTo>
                <a:lnTo>
                  <a:pt x="5569617" y="2039384"/>
                </a:lnTo>
                <a:close/>
                <a:moveTo>
                  <a:pt x="5559742" y="2036460"/>
                </a:moveTo>
                <a:lnTo>
                  <a:pt x="5557354" y="2040791"/>
                </a:lnTo>
                <a:lnTo>
                  <a:pt x="5556486" y="2047612"/>
                </a:lnTo>
                <a:lnTo>
                  <a:pt x="5553556" y="2050211"/>
                </a:lnTo>
                <a:lnTo>
                  <a:pt x="5551494" y="2053459"/>
                </a:lnTo>
                <a:lnTo>
                  <a:pt x="5551494" y="2053459"/>
                </a:lnTo>
                <a:lnTo>
                  <a:pt x="5553556" y="2050211"/>
                </a:lnTo>
                <a:lnTo>
                  <a:pt x="5556486" y="2047612"/>
                </a:lnTo>
                <a:lnTo>
                  <a:pt x="5557354" y="2040792"/>
                </a:lnTo>
                <a:lnTo>
                  <a:pt x="5559742" y="2036461"/>
                </a:lnTo>
                <a:lnTo>
                  <a:pt x="5565493" y="2036461"/>
                </a:lnTo>
                <a:lnTo>
                  <a:pt x="5565492" y="2036460"/>
                </a:lnTo>
                <a:close/>
                <a:moveTo>
                  <a:pt x="5035380" y="2034708"/>
                </a:moveTo>
                <a:lnTo>
                  <a:pt x="5034954" y="2035054"/>
                </a:lnTo>
                <a:lnTo>
                  <a:pt x="5036257" y="2037436"/>
                </a:lnTo>
                <a:lnTo>
                  <a:pt x="5041790" y="2040900"/>
                </a:lnTo>
                <a:lnTo>
                  <a:pt x="5041792" y="2040899"/>
                </a:lnTo>
                <a:lnTo>
                  <a:pt x="5036258" y="2037435"/>
                </a:lnTo>
                <a:lnTo>
                  <a:pt x="5034956" y="2035053"/>
                </a:lnTo>
                <a:close/>
                <a:moveTo>
                  <a:pt x="7033181" y="2032888"/>
                </a:moveTo>
                <a:lnTo>
                  <a:pt x="7033941" y="2036678"/>
                </a:lnTo>
                <a:lnTo>
                  <a:pt x="7031987" y="2038519"/>
                </a:lnTo>
                <a:lnTo>
                  <a:pt x="7029925" y="2038302"/>
                </a:lnTo>
                <a:lnTo>
                  <a:pt x="7028406" y="2036461"/>
                </a:lnTo>
                <a:lnTo>
                  <a:pt x="7030251" y="2033321"/>
                </a:lnTo>
                <a:close/>
                <a:moveTo>
                  <a:pt x="5054597" y="2032454"/>
                </a:moveTo>
                <a:lnTo>
                  <a:pt x="5052644" y="2034186"/>
                </a:lnTo>
                <a:lnTo>
                  <a:pt x="5051233" y="2037976"/>
                </a:lnTo>
                <a:lnTo>
                  <a:pt x="5052969" y="2044147"/>
                </a:lnTo>
                <a:lnTo>
                  <a:pt x="5052535" y="2047937"/>
                </a:lnTo>
                <a:lnTo>
                  <a:pt x="5053729" y="2049994"/>
                </a:lnTo>
                <a:lnTo>
                  <a:pt x="5053512" y="2059088"/>
                </a:lnTo>
                <a:lnTo>
                  <a:pt x="5051450" y="2060388"/>
                </a:lnTo>
                <a:lnTo>
                  <a:pt x="5047543" y="2059522"/>
                </a:lnTo>
                <a:lnTo>
                  <a:pt x="5046024" y="2056815"/>
                </a:lnTo>
                <a:lnTo>
                  <a:pt x="5042009" y="2054866"/>
                </a:lnTo>
                <a:lnTo>
                  <a:pt x="5034087" y="2046097"/>
                </a:lnTo>
                <a:lnTo>
                  <a:pt x="5034086" y="2046097"/>
                </a:lnTo>
                <a:lnTo>
                  <a:pt x="5042008" y="2054868"/>
                </a:lnTo>
                <a:lnTo>
                  <a:pt x="5046023" y="2056816"/>
                </a:lnTo>
                <a:lnTo>
                  <a:pt x="5047543" y="2059523"/>
                </a:lnTo>
                <a:lnTo>
                  <a:pt x="5051449" y="2060390"/>
                </a:lnTo>
                <a:lnTo>
                  <a:pt x="5053511" y="2059090"/>
                </a:lnTo>
                <a:lnTo>
                  <a:pt x="5053511" y="2060497"/>
                </a:lnTo>
                <a:lnTo>
                  <a:pt x="5056984" y="2065478"/>
                </a:lnTo>
                <a:lnTo>
                  <a:pt x="5057634" y="2071108"/>
                </a:lnTo>
                <a:lnTo>
                  <a:pt x="5056657" y="2076629"/>
                </a:lnTo>
                <a:lnTo>
                  <a:pt x="5058177" y="2078903"/>
                </a:lnTo>
                <a:lnTo>
                  <a:pt x="5059706" y="2079134"/>
                </a:lnTo>
                <a:lnTo>
                  <a:pt x="5058611" y="2077496"/>
                </a:lnTo>
                <a:lnTo>
                  <a:pt x="5059588" y="2071974"/>
                </a:lnTo>
                <a:lnTo>
                  <a:pt x="5058937" y="2066344"/>
                </a:lnTo>
                <a:lnTo>
                  <a:pt x="5055464" y="2061364"/>
                </a:lnTo>
                <a:lnTo>
                  <a:pt x="5055464" y="2050537"/>
                </a:lnTo>
                <a:lnTo>
                  <a:pt x="5054270" y="2048480"/>
                </a:lnTo>
                <a:lnTo>
                  <a:pt x="5054270" y="2044690"/>
                </a:lnTo>
                <a:lnTo>
                  <a:pt x="5052534" y="2038519"/>
                </a:lnTo>
                <a:lnTo>
                  <a:pt x="5053945" y="2034729"/>
                </a:lnTo>
                <a:lnTo>
                  <a:pt x="5055466" y="2033379"/>
                </a:lnTo>
                <a:close/>
                <a:moveTo>
                  <a:pt x="4960078" y="2032130"/>
                </a:moveTo>
                <a:lnTo>
                  <a:pt x="4960078" y="2032131"/>
                </a:lnTo>
                <a:lnTo>
                  <a:pt x="4970495" y="2037760"/>
                </a:lnTo>
                <a:lnTo>
                  <a:pt x="4970495" y="2037759"/>
                </a:lnTo>
                <a:close/>
                <a:moveTo>
                  <a:pt x="4995672" y="2031264"/>
                </a:moveTo>
                <a:lnTo>
                  <a:pt x="4995671" y="2031264"/>
                </a:lnTo>
                <a:lnTo>
                  <a:pt x="4999144" y="2037544"/>
                </a:lnTo>
                <a:lnTo>
                  <a:pt x="4999144" y="2037543"/>
                </a:lnTo>
                <a:close/>
                <a:moveTo>
                  <a:pt x="3771611" y="2030508"/>
                </a:moveTo>
                <a:lnTo>
                  <a:pt x="3771171" y="2030614"/>
                </a:lnTo>
                <a:lnTo>
                  <a:pt x="3777465" y="2042307"/>
                </a:lnTo>
                <a:lnTo>
                  <a:pt x="3782999" y="2045771"/>
                </a:lnTo>
                <a:lnTo>
                  <a:pt x="3783215" y="2052152"/>
                </a:lnTo>
                <a:lnTo>
                  <a:pt x="3783215" y="2045446"/>
                </a:lnTo>
                <a:lnTo>
                  <a:pt x="3777681" y="2041982"/>
                </a:lnTo>
                <a:close/>
                <a:moveTo>
                  <a:pt x="4001768" y="2030505"/>
                </a:moveTo>
                <a:lnTo>
                  <a:pt x="4007302" y="2031371"/>
                </a:lnTo>
                <a:lnTo>
                  <a:pt x="4012185" y="2031696"/>
                </a:lnTo>
                <a:lnTo>
                  <a:pt x="4006759" y="2036568"/>
                </a:lnTo>
                <a:lnTo>
                  <a:pt x="4004698" y="2042740"/>
                </a:lnTo>
                <a:lnTo>
                  <a:pt x="4000900" y="2039276"/>
                </a:lnTo>
                <a:lnTo>
                  <a:pt x="3996125" y="2037760"/>
                </a:lnTo>
                <a:lnTo>
                  <a:pt x="3997102" y="2033645"/>
                </a:lnTo>
                <a:close/>
                <a:moveTo>
                  <a:pt x="5018064" y="2029913"/>
                </a:moveTo>
                <a:lnTo>
                  <a:pt x="5016507" y="2032021"/>
                </a:lnTo>
                <a:lnTo>
                  <a:pt x="5013686" y="2033212"/>
                </a:lnTo>
                <a:lnTo>
                  <a:pt x="5013685" y="2033213"/>
                </a:lnTo>
                <a:lnTo>
                  <a:pt x="5016507" y="2032022"/>
                </a:lnTo>
                <a:close/>
                <a:moveTo>
                  <a:pt x="4981130" y="2029640"/>
                </a:moveTo>
                <a:lnTo>
                  <a:pt x="4991764" y="2045771"/>
                </a:lnTo>
                <a:lnTo>
                  <a:pt x="4990462" y="2049561"/>
                </a:lnTo>
                <a:lnTo>
                  <a:pt x="4983734" y="2045771"/>
                </a:lnTo>
                <a:lnTo>
                  <a:pt x="4977549" y="2045555"/>
                </a:lnTo>
                <a:lnTo>
                  <a:pt x="4971364" y="2042416"/>
                </a:lnTo>
                <a:lnTo>
                  <a:pt x="4971364" y="2042416"/>
                </a:lnTo>
                <a:lnTo>
                  <a:pt x="4977549" y="2045556"/>
                </a:lnTo>
                <a:lnTo>
                  <a:pt x="4983735" y="2045772"/>
                </a:lnTo>
                <a:lnTo>
                  <a:pt x="4990463" y="2049562"/>
                </a:lnTo>
                <a:lnTo>
                  <a:pt x="4991764" y="2045772"/>
                </a:lnTo>
                <a:lnTo>
                  <a:pt x="4991766" y="2045772"/>
                </a:lnTo>
                <a:lnTo>
                  <a:pt x="4981253" y="2029825"/>
                </a:lnTo>
                <a:close/>
                <a:moveTo>
                  <a:pt x="5159797" y="2029365"/>
                </a:moveTo>
                <a:lnTo>
                  <a:pt x="5162244" y="2033538"/>
                </a:lnTo>
                <a:lnTo>
                  <a:pt x="5162746" y="2033793"/>
                </a:lnTo>
                <a:lnTo>
                  <a:pt x="5160183" y="2029424"/>
                </a:lnTo>
                <a:close/>
                <a:moveTo>
                  <a:pt x="3782033" y="2028755"/>
                </a:moveTo>
                <a:lnTo>
                  <a:pt x="3781470" y="2029530"/>
                </a:lnTo>
                <a:lnTo>
                  <a:pt x="3781479" y="2029531"/>
                </a:lnTo>
                <a:close/>
                <a:moveTo>
                  <a:pt x="4383312" y="2028124"/>
                </a:moveTo>
                <a:lnTo>
                  <a:pt x="4385483" y="2029423"/>
                </a:lnTo>
                <a:lnTo>
                  <a:pt x="4385265" y="2034187"/>
                </a:lnTo>
                <a:lnTo>
                  <a:pt x="4387978" y="2037110"/>
                </a:lnTo>
                <a:lnTo>
                  <a:pt x="4391017" y="2038301"/>
                </a:lnTo>
                <a:lnTo>
                  <a:pt x="4391559" y="2039925"/>
                </a:lnTo>
                <a:lnTo>
                  <a:pt x="4390474" y="2040791"/>
                </a:lnTo>
                <a:lnTo>
                  <a:pt x="4386568" y="2038950"/>
                </a:lnTo>
                <a:lnTo>
                  <a:pt x="4382336" y="2034511"/>
                </a:lnTo>
                <a:lnTo>
                  <a:pt x="4382010" y="2033104"/>
                </a:lnTo>
                <a:lnTo>
                  <a:pt x="4379514" y="2032130"/>
                </a:lnTo>
                <a:lnTo>
                  <a:pt x="4379189" y="2029640"/>
                </a:lnTo>
                <a:close/>
                <a:moveTo>
                  <a:pt x="5154540" y="2027366"/>
                </a:moveTo>
                <a:lnTo>
                  <a:pt x="5151719" y="2028016"/>
                </a:lnTo>
                <a:lnTo>
                  <a:pt x="5151730" y="2028127"/>
                </a:lnTo>
                <a:lnTo>
                  <a:pt x="5153998" y="2027584"/>
                </a:lnTo>
                <a:lnTo>
                  <a:pt x="5156059" y="2029099"/>
                </a:lnTo>
                <a:lnTo>
                  <a:pt x="5158034" y="2029099"/>
                </a:lnTo>
                <a:lnTo>
                  <a:pt x="5156602" y="2028882"/>
                </a:lnTo>
                <a:close/>
                <a:moveTo>
                  <a:pt x="5023019" y="2027257"/>
                </a:moveTo>
                <a:lnTo>
                  <a:pt x="5019546" y="2027907"/>
                </a:lnTo>
                <a:lnTo>
                  <a:pt x="5019545" y="2027908"/>
                </a:lnTo>
                <a:lnTo>
                  <a:pt x="5023018" y="2027258"/>
                </a:lnTo>
                <a:close/>
                <a:moveTo>
                  <a:pt x="5027468" y="2023901"/>
                </a:moveTo>
                <a:lnTo>
                  <a:pt x="5027466" y="2023902"/>
                </a:lnTo>
                <a:lnTo>
                  <a:pt x="5029962" y="2024011"/>
                </a:lnTo>
                <a:lnTo>
                  <a:pt x="5030396" y="2025309"/>
                </a:lnTo>
                <a:lnTo>
                  <a:pt x="5032675" y="2025850"/>
                </a:lnTo>
                <a:lnTo>
                  <a:pt x="5034737" y="2029424"/>
                </a:lnTo>
                <a:lnTo>
                  <a:pt x="5037884" y="2032671"/>
                </a:lnTo>
                <a:lnTo>
                  <a:pt x="5037885" y="2032670"/>
                </a:lnTo>
                <a:lnTo>
                  <a:pt x="5034738" y="2029423"/>
                </a:lnTo>
                <a:lnTo>
                  <a:pt x="5032676" y="2025850"/>
                </a:lnTo>
                <a:lnTo>
                  <a:pt x="5030398" y="2025308"/>
                </a:lnTo>
                <a:lnTo>
                  <a:pt x="5029963" y="2024009"/>
                </a:lnTo>
                <a:close/>
                <a:moveTo>
                  <a:pt x="5157482" y="2023137"/>
                </a:moveTo>
                <a:lnTo>
                  <a:pt x="5155802" y="2023539"/>
                </a:lnTo>
                <a:lnTo>
                  <a:pt x="5155843" y="2023577"/>
                </a:lnTo>
                <a:close/>
                <a:moveTo>
                  <a:pt x="4026401" y="2022060"/>
                </a:moveTo>
                <a:lnTo>
                  <a:pt x="4031285" y="2027041"/>
                </a:lnTo>
                <a:lnTo>
                  <a:pt x="4030091" y="2029531"/>
                </a:lnTo>
                <a:lnTo>
                  <a:pt x="4026293" y="2027474"/>
                </a:lnTo>
                <a:lnTo>
                  <a:pt x="4018480" y="2026715"/>
                </a:lnTo>
                <a:lnTo>
                  <a:pt x="4019565" y="2023468"/>
                </a:lnTo>
                <a:close/>
                <a:moveTo>
                  <a:pt x="5153130" y="2021845"/>
                </a:moveTo>
                <a:lnTo>
                  <a:pt x="5148680" y="2025417"/>
                </a:lnTo>
                <a:lnTo>
                  <a:pt x="5148680" y="2029748"/>
                </a:lnTo>
                <a:lnTo>
                  <a:pt x="5151285" y="2033755"/>
                </a:lnTo>
                <a:lnTo>
                  <a:pt x="5151285" y="2032036"/>
                </a:lnTo>
                <a:lnTo>
                  <a:pt x="5149657" y="2029532"/>
                </a:lnTo>
                <a:lnTo>
                  <a:pt x="5149331" y="2025309"/>
                </a:lnTo>
                <a:lnTo>
                  <a:pt x="5153317" y="2022012"/>
                </a:lnTo>
                <a:close/>
                <a:moveTo>
                  <a:pt x="5496910" y="2021519"/>
                </a:moveTo>
                <a:lnTo>
                  <a:pt x="5490182" y="2021735"/>
                </a:lnTo>
                <a:lnTo>
                  <a:pt x="5486059" y="2023901"/>
                </a:lnTo>
                <a:lnTo>
                  <a:pt x="5485005" y="2022388"/>
                </a:lnTo>
                <a:lnTo>
                  <a:pt x="5486059" y="2023901"/>
                </a:lnTo>
                <a:lnTo>
                  <a:pt x="5490183" y="2021736"/>
                </a:lnTo>
                <a:lnTo>
                  <a:pt x="5496910" y="2021520"/>
                </a:lnTo>
                <a:close/>
                <a:moveTo>
                  <a:pt x="4952645" y="2020977"/>
                </a:moveTo>
                <a:lnTo>
                  <a:pt x="4955737" y="2024660"/>
                </a:lnTo>
                <a:lnTo>
                  <a:pt x="4958775" y="2024335"/>
                </a:lnTo>
                <a:lnTo>
                  <a:pt x="4960403" y="2028666"/>
                </a:lnTo>
                <a:lnTo>
                  <a:pt x="4960403" y="2028665"/>
                </a:lnTo>
                <a:lnTo>
                  <a:pt x="4958776" y="2024335"/>
                </a:lnTo>
                <a:lnTo>
                  <a:pt x="4955737" y="2024659"/>
                </a:lnTo>
                <a:close/>
                <a:moveTo>
                  <a:pt x="4971472" y="2020329"/>
                </a:moveTo>
                <a:lnTo>
                  <a:pt x="4973278" y="2023932"/>
                </a:lnTo>
                <a:lnTo>
                  <a:pt x="4971472" y="2020329"/>
                </a:lnTo>
                <a:close/>
                <a:moveTo>
                  <a:pt x="4967349" y="2020329"/>
                </a:moveTo>
                <a:lnTo>
                  <a:pt x="4964636" y="2022710"/>
                </a:lnTo>
                <a:lnTo>
                  <a:pt x="4964636" y="2022710"/>
                </a:lnTo>
                <a:close/>
                <a:moveTo>
                  <a:pt x="4951059" y="2020167"/>
                </a:moveTo>
                <a:lnTo>
                  <a:pt x="4951397" y="2020654"/>
                </a:lnTo>
                <a:lnTo>
                  <a:pt x="4952373" y="2020654"/>
                </a:lnTo>
                <a:lnTo>
                  <a:pt x="4952373" y="2020653"/>
                </a:lnTo>
                <a:lnTo>
                  <a:pt x="4951397" y="2020653"/>
                </a:lnTo>
                <a:close/>
                <a:moveTo>
                  <a:pt x="5160834" y="2018056"/>
                </a:moveTo>
                <a:lnTo>
                  <a:pt x="5160275" y="2018283"/>
                </a:lnTo>
                <a:lnTo>
                  <a:pt x="5163330" y="2022278"/>
                </a:lnTo>
                <a:lnTo>
                  <a:pt x="5162165" y="2023887"/>
                </a:lnTo>
                <a:lnTo>
                  <a:pt x="5162570" y="2024010"/>
                </a:lnTo>
                <a:lnTo>
                  <a:pt x="5163981" y="2022170"/>
                </a:lnTo>
                <a:close/>
                <a:moveTo>
                  <a:pt x="4511689" y="2017730"/>
                </a:moveTo>
                <a:lnTo>
                  <a:pt x="4514184" y="2019029"/>
                </a:lnTo>
                <a:lnTo>
                  <a:pt x="4511145" y="2022277"/>
                </a:lnTo>
                <a:lnTo>
                  <a:pt x="4510603" y="2026825"/>
                </a:lnTo>
                <a:lnTo>
                  <a:pt x="4507890" y="2025634"/>
                </a:lnTo>
                <a:lnTo>
                  <a:pt x="4505936" y="2025959"/>
                </a:lnTo>
                <a:lnTo>
                  <a:pt x="4503766" y="2024118"/>
                </a:lnTo>
                <a:lnTo>
                  <a:pt x="4502681" y="2020545"/>
                </a:lnTo>
                <a:lnTo>
                  <a:pt x="4503875" y="2018704"/>
                </a:lnTo>
                <a:lnTo>
                  <a:pt x="4507673" y="2018596"/>
                </a:lnTo>
                <a:lnTo>
                  <a:pt x="4509301" y="2020004"/>
                </a:lnTo>
                <a:close/>
                <a:moveTo>
                  <a:pt x="3783647" y="2016860"/>
                </a:moveTo>
                <a:lnTo>
                  <a:pt x="3783325" y="2017188"/>
                </a:lnTo>
                <a:lnTo>
                  <a:pt x="3787394" y="2021248"/>
                </a:lnTo>
                <a:lnTo>
                  <a:pt x="3787665" y="2020870"/>
                </a:lnTo>
                <a:close/>
                <a:moveTo>
                  <a:pt x="4947445" y="2015087"/>
                </a:moveTo>
                <a:lnTo>
                  <a:pt x="4948575" y="2016215"/>
                </a:lnTo>
                <a:lnTo>
                  <a:pt x="4948575" y="2016214"/>
                </a:lnTo>
                <a:close/>
                <a:moveTo>
                  <a:pt x="4975271" y="2011342"/>
                </a:moveTo>
                <a:lnTo>
                  <a:pt x="4975270" y="2011343"/>
                </a:lnTo>
                <a:lnTo>
                  <a:pt x="4978417" y="2018596"/>
                </a:lnTo>
                <a:lnTo>
                  <a:pt x="4989052" y="2024443"/>
                </a:lnTo>
                <a:lnTo>
                  <a:pt x="4995997" y="2024768"/>
                </a:lnTo>
                <a:lnTo>
                  <a:pt x="5001531" y="2029964"/>
                </a:lnTo>
                <a:lnTo>
                  <a:pt x="5001532" y="2029964"/>
                </a:lnTo>
                <a:lnTo>
                  <a:pt x="4995998" y="2024766"/>
                </a:lnTo>
                <a:lnTo>
                  <a:pt x="4989053" y="2024442"/>
                </a:lnTo>
                <a:lnTo>
                  <a:pt x="4978418" y="2018595"/>
                </a:lnTo>
                <a:close/>
                <a:moveTo>
                  <a:pt x="4524818" y="2009718"/>
                </a:moveTo>
                <a:lnTo>
                  <a:pt x="4527097" y="2011234"/>
                </a:lnTo>
                <a:lnTo>
                  <a:pt x="4526446" y="2013832"/>
                </a:lnTo>
                <a:lnTo>
                  <a:pt x="4521672" y="2015132"/>
                </a:lnTo>
                <a:lnTo>
                  <a:pt x="4517982" y="2013616"/>
                </a:lnTo>
                <a:lnTo>
                  <a:pt x="4518850" y="2011775"/>
                </a:lnTo>
                <a:lnTo>
                  <a:pt x="4522322" y="2011667"/>
                </a:lnTo>
                <a:close/>
                <a:moveTo>
                  <a:pt x="5145534" y="2008744"/>
                </a:moveTo>
                <a:lnTo>
                  <a:pt x="5145286" y="2009029"/>
                </a:lnTo>
                <a:lnTo>
                  <a:pt x="5151935" y="2010152"/>
                </a:lnTo>
                <a:lnTo>
                  <a:pt x="5152312" y="2009889"/>
                </a:lnTo>
                <a:close/>
                <a:moveTo>
                  <a:pt x="4925570" y="2007987"/>
                </a:moveTo>
                <a:lnTo>
                  <a:pt x="4925570" y="2007987"/>
                </a:lnTo>
                <a:lnTo>
                  <a:pt x="4932406" y="2012101"/>
                </a:lnTo>
                <a:lnTo>
                  <a:pt x="4939894" y="2012426"/>
                </a:lnTo>
                <a:lnTo>
                  <a:pt x="4944452" y="2012101"/>
                </a:lnTo>
                <a:lnTo>
                  <a:pt x="4944451" y="2012100"/>
                </a:lnTo>
                <a:lnTo>
                  <a:pt x="4939894" y="2012425"/>
                </a:lnTo>
                <a:lnTo>
                  <a:pt x="4932406" y="2012100"/>
                </a:lnTo>
                <a:close/>
                <a:moveTo>
                  <a:pt x="5155843" y="2007770"/>
                </a:moveTo>
                <a:lnTo>
                  <a:pt x="5155394" y="2008069"/>
                </a:lnTo>
                <a:lnTo>
                  <a:pt x="5157036" y="2009610"/>
                </a:lnTo>
                <a:lnTo>
                  <a:pt x="5155842" y="2014374"/>
                </a:lnTo>
                <a:lnTo>
                  <a:pt x="5157253" y="2019354"/>
                </a:lnTo>
                <a:lnTo>
                  <a:pt x="5157867" y="2019105"/>
                </a:lnTo>
                <a:lnTo>
                  <a:pt x="5156602" y="2014266"/>
                </a:lnTo>
                <a:lnTo>
                  <a:pt x="5157796" y="2009393"/>
                </a:lnTo>
                <a:close/>
                <a:moveTo>
                  <a:pt x="4518307" y="2004197"/>
                </a:moveTo>
                <a:lnTo>
                  <a:pt x="4521237" y="2004954"/>
                </a:lnTo>
                <a:lnTo>
                  <a:pt x="4521345" y="2007121"/>
                </a:lnTo>
                <a:lnTo>
                  <a:pt x="4518741" y="2008095"/>
                </a:lnTo>
                <a:lnTo>
                  <a:pt x="4514292" y="2006254"/>
                </a:lnTo>
                <a:lnTo>
                  <a:pt x="4515052" y="2004630"/>
                </a:lnTo>
                <a:close/>
                <a:moveTo>
                  <a:pt x="5364504" y="2000565"/>
                </a:moveTo>
                <a:lnTo>
                  <a:pt x="5371465" y="2003764"/>
                </a:lnTo>
                <a:lnTo>
                  <a:pt x="5387309" y="2013725"/>
                </a:lnTo>
                <a:lnTo>
                  <a:pt x="5403261" y="2025417"/>
                </a:lnTo>
                <a:lnTo>
                  <a:pt x="5421166" y="2033430"/>
                </a:lnTo>
                <a:lnTo>
                  <a:pt x="5431893" y="2040684"/>
                </a:lnTo>
                <a:lnTo>
                  <a:pt x="5421166" y="2033429"/>
                </a:lnTo>
                <a:lnTo>
                  <a:pt x="5403261" y="2025417"/>
                </a:lnTo>
                <a:lnTo>
                  <a:pt x="5387309" y="2013724"/>
                </a:lnTo>
                <a:lnTo>
                  <a:pt x="5371466" y="2003763"/>
                </a:lnTo>
                <a:close/>
                <a:moveTo>
                  <a:pt x="4494216" y="1997483"/>
                </a:moveTo>
                <a:lnTo>
                  <a:pt x="4497471" y="1999107"/>
                </a:lnTo>
                <a:lnTo>
                  <a:pt x="4497905" y="2001705"/>
                </a:lnTo>
                <a:lnTo>
                  <a:pt x="4494867" y="2003221"/>
                </a:lnTo>
                <a:lnTo>
                  <a:pt x="4493564" y="2002354"/>
                </a:lnTo>
                <a:lnTo>
                  <a:pt x="4490961" y="2002462"/>
                </a:lnTo>
                <a:lnTo>
                  <a:pt x="4492371" y="1998132"/>
                </a:lnTo>
                <a:close/>
                <a:moveTo>
                  <a:pt x="4429974" y="1990555"/>
                </a:moveTo>
                <a:lnTo>
                  <a:pt x="4429649" y="1992611"/>
                </a:lnTo>
                <a:lnTo>
                  <a:pt x="4429649" y="1992611"/>
                </a:lnTo>
                <a:lnTo>
                  <a:pt x="4429975" y="1990555"/>
                </a:lnTo>
                <a:close/>
                <a:moveTo>
                  <a:pt x="5072693" y="1990446"/>
                </a:moveTo>
                <a:lnTo>
                  <a:pt x="5078362" y="1992827"/>
                </a:lnTo>
                <a:lnTo>
                  <a:pt x="5081726" y="1997807"/>
                </a:lnTo>
                <a:lnTo>
                  <a:pt x="5078145" y="1997266"/>
                </a:lnTo>
                <a:lnTo>
                  <a:pt x="5074889" y="1999648"/>
                </a:lnTo>
                <a:lnTo>
                  <a:pt x="5068487" y="1999973"/>
                </a:lnTo>
                <a:lnTo>
                  <a:pt x="5061217" y="2006036"/>
                </a:lnTo>
                <a:lnTo>
                  <a:pt x="5061759" y="2012207"/>
                </a:lnTo>
                <a:lnTo>
                  <a:pt x="5062627" y="2017188"/>
                </a:lnTo>
                <a:lnTo>
                  <a:pt x="5060457" y="2020111"/>
                </a:lnTo>
                <a:lnTo>
                  <a:pt x="5059914" y="2024442"/>
                </a:lnTo>
                <a:lnTo>
                  <a:pt x="5061434" y="2026933"/>
                </a:lnTo>
                <a:lnTo>
                  <a:pt x="5061434" y="2030397"/>
                </a:lnTo>
                <a:lnTo>
                  <a:pt x="5059155" y="2032454"/>
                </a:lnTo>
                <a:lnTo>
                  <a:pt x="5059155" y="2040682"/>
                </a:lnTo>
                <a:lnTo>
                  <a:pt x="5058276" y="2042801"/>
                </a:lnTo>
                <a:lnTo>
                  <a:pt x="5059153" y="2044365"/>
                </a:lnTo>
                <a:lnTo>
                  <a:pt x="5060564" y="2041225"/>
                </a:lnTo>
                <a:lnTo>
                  <a:pt x="5060564" y="2032997"/>
                </a:lnTo>
                <a:lnTo>
                  <a:pt x="5062843" y="2030939"/>
                </a:lnTo>
                <a:lnTo>
                  <a:pt x="5062843" y="2027475"/>
                </a:lnTo>
                <a:lnTo>
                  <a:pt x="5061324" y="2024876"/>
                </a:lnTo>
                <a:lnTo>
                  <a:pt x="5061324" y="2020546"/>
                </a:lnTo>
                <a:lnTo>
                  <a:pt x="5063603" y="2017622"/>
                </a:lnTo>
                <a:lnTo>
                  <a:pt x="5062734" y="2012642"/>
                </a:lnTo>
                <a:lnTo>
                  <a:pt x="5062734" y="2006470"/>
                </a:lnTo>
                <a:lnTo>
                  <a:pt x="5070005" y="2000407"/>
                </a:lnTo>
                <a:lnTo>
                  <a:pt x="5076408" y="2000407"/>
                </a:lnTo>
                <a:lnTo>
                  <a:pt x="5079663" y="1998025"/>
                </a:lnTo>
                <a:lnTo>
                  <a:pt x="5083244" y="1998025"/>
                </a:lnTo>
                <a:lnTo>
                  <a:pt x="5079772" y="1993045"/>
                </a:lnTo>
                <a:lnTo>
                  <a:pt x="5073586" y="1990446"/>
                </a:lnTo>
                <a:close/>
                <a:moveTo>
                  <a:pt x="3788350" y="1990424"/>
                </a:moveTo>
                <a:lnTo>
                  <a:pt x="3788100" y="1990662"/>
                </a:lnTo>
                <a:lnTo>
                  <a:pt x="3789185" y="1996942"/>
                </a:lnTo>
                <a:lnTo>
                  <a:pt x="3788431" y="2011876"/>
                </a:lnTo>
                <a:lnTo>
                  <a:pt x="3788750" y="2011558"/>
                </a:lnTo>
                <a:lnTo>
                  <a:pt x="3789401" y="1996400"/>
                </a:lnTo>
                <a:close/>
                <a:moveTo>
                  <a:pt x="4139911" y="1986656"/>
                </a:moveTo>
                <a:lnTo>
                  <a:pt x="4144142" y="1989904"/>
                </a:lnTo>
                <a:lnTo>
                  <a:pt x="4145878" y="1988172"/>
                </a:lnTo>
                <a:lnTo>
                  <a:pt x="4149351" y="1994451"/>
                </a:lnTo>
                <a:lnTo>
                  <a:pt x="4152390" y="1997916"/>
                </a:lnTo>
                <a:lnTo>
                  <a:pt x="4153692" y="2003438"/>
                </a:lnTo>
                <a:lnTo>
                  <a:pt x="4152933" y="2007119"/>
                </a:lnTo>
                <a:lnTo>
                  <a:pt x="4147723" y="2010476"/>
                </a:lnTo>
                <a:lnTo>
                  <a:pt x="4153909" y="2015889"/>
                </a:lnTo>
                <a:lnTo>
                  <a:pt x="4152064" y="2024551"/>
                </a:lnTo>
                <a:lnTo>
                  <a:pt x="4153150" y="2034186"/>
                </a:lnTo>
                <a:lnTo>
                  <a:pt x="4152282" y="2036677"/>
                </a:lnTo>
                <a:lnTo>
                  <a:pt x="4152282" y="2045555"/>
                </a:lnTo>
                <a:lnTo>
                  <a:pt x="4150437" y="2048912"/>
                </a:lnTo>
                <a:lnTo>
                  <a:pt x="4147723" y="2048912"/>
                </a:lnTo>
                <a:lnTo>
                  <a:pt x="4144794" y="2046096"/>
                </a:lnTo>
                <a:lnTo>
                  <a:pt x="4140344" y="2045663"/>
                </a:lnTo>
                <a:lnTo>
                  <a:pt x="4138825" y="2048912"/>
                </a:lnTo>
                <a:lnTo>
                  <a:pt x="4138499" y="2054325"/>
                </a:lnTo>
                <a:lnTo>
                  <a:pt x="4135136" y="2055841"/>
                </a:lnTo>
                <a:lnTo>
                  <a:pt x="4132748" y="2054758"/>
                </a:lnTo>
                <a:lnTo>
                  <a:pt x="4130904" y="2055841"/>
                </a:lnTo>
                <a:lnTo>
                  <a:pt x="4127322" y="2052051"/>
                </a:lnTo>
                <a:lnTo>
                  <a:pt x="4124935" y="2042307"/>
                </a:lnTo>
                <a:lnTo>
                  <a:pt x="4122982" y="2039167"/>
                </a:lnTo>
                <a:lnTo>
                  <a:pt x="4125152" y="2030830"/>
                </a:lnTo>
                <a:lnTo>
                  <a:pt x="4127973" y="2027474"/>
                </a:lnTo>
                <a:lnTo>
                  <a:pt x="4127973" y="2025525"/>
                </a:lnTo>
                <a:lnTo>
                  <a:pt x="4123307" y="2025092"/>
                </a:lnTo>
                <a:lnTo>
                  <a:pt x="4121896" y="2022276"/>
                </a:lnTo>
                <a:lnTo>
                  <a:pt x="4125260" y="2018596"/>
                </a:lnTo>
                <a:lnTo>
                  <a:pt x="4125260" y="2013074"/>
                </a:lnTo>
                <a:lnTo>
                  <a:pt x="4122222" y="2010367"/>
                </a:lnTo>
                <a:lnTo>
                  <a:pt x="4121354" y="2006686"/>
                </a:lnTo>
                <a:lnTo>
                  <a:pt x="4117556" y="2002896"/>
                </a:lnTo>
                <a:lnTo>
                  <a:pt x="4118424" y="1999540"/>
                </a:lnTo>
                <a:lnTo>
                  <a:pt x="4118424" y="1994235"/>
                </a:lnTo>
                <a:lnTo>
                  <a:pt x="4123850" y="1997483"/>
                </a:lnTo>
                <a:lnTo>
                  <a:pt x="4127648" y="1997374"/>
                </a:lnTo>
                <a:lnTo>
                  <a:pt x="4136330" y="1987089"/>
                </a:lnTo>
                <a:close/>
                <a:moveTo>
                  <a:pt x="4120593" y="1985357"/>
                </a:moveTo>
                <a:lnTo>
                  <a:pt x="4122438" y="1986981"/>
                </a:lnTo>
                <a:lnTo>
                  <a:pt x="4120485" y="1989147"/>
                </a:lnTo>
                <a:lnTo>
                  <a:pt x="4120051" y="1991312"/>
                </a:lnTo>
                <a:lnTo>
                  <a:pt x="4118532" y="1991529"/>
                </a:lnTo>
                <a:lnTo>
                  <a:pt x="4118315" y="1988497"/>
                </a:lnTo>
                <a:lnTo>
                  <a:pt x="4119833" y="1987631"/>
                </a:lnTo>
                <a:close/>
                <a:moveTo>
                  <a:pt x="4919819" y="1985033"/>
                </a:moveTo>
                <a:lnTo>
                  <a:pt x="4924159" y="1986116"/>
                </a:lnTo>
                <a:lnTo>
                  <a:pt x="4924159" y="1986115"/>
                </a:lnTo>
                <a:close/>
                <a:moveTo>
                  <a:pt x="5353218" y="1981905"/>
                </a:moveTo>
                <a:lnTo>
                  <a:pt x="5355948" y="1983842"/>
                </a:lnTo>
                <a:lnTo>
                  <a:pt x="5357684" y="1990013"/>
                </a:lnTo>
                <a:lnTo>
                  <a:pt x="5358530" y="1991536"/>
                </a:lnTo>
                <a:lnTo>
                  <a:pt x="5357684" y="1990013"/>
                </a:lnTo>
                <a:lnTo>
                  <a:pt x="5355948" y="1983841"/>
                </a:lnTo>
                <a:close/>
                <a:moveTo>
                  <a:pt x="4956146" y="1978843"/>
                </a:moveTo>
                <a:lnTo>
                  <a:pt x="4956170" y="1978866"/>
                </a:lnTo>
                <a:lnTo>
                  <a:pt x="4956280" y="1978970"/>
                </a:lnTo>
                <a:lnTo>
                  <a:pt x="4964961" y="1980052"/>
                </a:lnTo>
                <a:lnTo>
                  <a:pt x="4969736" y="1984816"/>
                </a:lnTo>
                <a:lnTo>
                  <a:pt x="4968000" y="1990338"/>
                </a:lnTo>
                <a:lnTo>
                  <a:pt x="4968434" y="1995210"/>
                </a:lnTo>
                <a:lnTo>
                  <a:pt x="4978091" y="2003114"/>
                </a:lnTo>
                <a:lnTo>
                  <a:pt x="4978417" y="2007878"/>
                </a:lnTo>
                <a:lnTo>
                  <a:pt x="4977193" y="2009226"/>
                </a:lnTo>
                <a:lnTo>
                  <a:pt x="4978418" y="2007876"/>
                </a:lnTo>
                <a:lnTo>
                  <a:pt x="4978092" y="2003113"/>
                </a:lnTo>
                <a:lnTo>
                  <a:pt x="4968435" y="1995209"/>
                </a:lnTo>
                <a:lnTo>
                  <a:pt x="4968000" y="1990337"/>
                </a:lnTo>
                <a:lnTo>
                  <a:pt x="4969737" y="1984815"/>
                </a:lnTo>
                <a:lnTo>
                  <a:pt x="4964962" y="1980051"/>
                </a:lnTo>
                <a:lnTo>
                  <a:pt x="4956281" y="1978968"/>
                </a:lnTo>
                <a:close/>
                <a:moveTo>
                  <a:pt x="4492372" y="1978752"/>
                </a:moveTo>
                <a:lnTo>
                  <a:pt x="4493022" y="1982650"/>
                </a:lnTo>
                <a:lnTo>
                  <a:pt x="4493023" y="1982650"/>
                </a:lnTo>
                <a:lnTo>
                  <a:pt x="4492372" y="1978752"/>
                </a:lnTo>
                <a:close/>
                <a:moveTo>
                  <a:pt x="4915521" y="1977833"/>
                </a:moveTo>
                <a:lnTo>
                  <a:pt x="4915520" y="1977834"/>
                </a:lnTo>
                <a:lnTo>
                  <a:pt x="4919493" y="1982109"/>
                </a:lnTo>
                <a:lnTo>
                  <a:pt x="4919493" y="1982109"/>
                </a:lnTo>
                <a:lnTo>
                  <a:pt x="4919464" y="1982077"/>
                </a:lnTo>
                <a:close/>
                <a:moveTo>
                  <a:pt x="5517095" y="1975504"/>
                </a:moveTo>
                <a:lnTo>
                  <a:pt x="5517095" y="1975505"/>
                </a:lnTo>
                <a:lnTo>
                  <a:pt x="5524474" y="1979077"/>
                </a:lnTo>
                <a:lnTo>
                  <a:pt x="5524474" y="1979077"/>
                </a:lnTo>
                <a:close/>
                <a:moveTo>
                  <a:pt x="4977637" y="1974963"/>
                </a:moveTo>
                <a:lnTo>
                  <a:pt x="4983376" y="1975170"/>
                </a:lnTo>
                <a:lnTo>
                  <a:pt x="4982977" y="1974963"/>
                </a:lnTo>
                <a:close/>
                <a:moveTo>
                  <a:pt x="4933601" y="1972906"/>
                </a:moveTo>
                <a:lnTo>
                  <a:pt x="4922749" y="1975288"/>
                </a:lnTo>
                <a:lnTo>
                  <a:pt x="4915531" y="1977830"/>
                </a:lnTo>
                <a:lnTo>
                  <a:pt x="4915804" y="1978103"/>
                </a:lnTo>
                <a:lnTo>
                  <a:pt x="4923182" y="1975505"/>
                </a:lnTo>
                <a:lnTo>
                  <a:pt x="4933925" y="1973123"/>
                </a:lnTo>
                <a:lnTo>
                  <a:pt x="4936963" y="1973772"/>
                </a:lnTo>
                <a:lnTo>
                  <a:pt x="4945965" y="1973555"/>
                </a:lnTo>
                <a:lnTo>
                  <a:pt x="4936748" y="1973555"/>
                </a:lnTo>
                <a:close/>
                <a:moveTo>
                  <a:pt x="4533515" y="1970973"/>
                </a:moveTo>
                <a:lnTo>
                  <a:pt x="4533499" y="1971065"/>
                </a:lnTo>
                <a:lnTo>
                  <a:pt x="4533499" y="1971065"/>
                </a:lnTo>
                <a:close/>
                <a:moveTo>
                  <a:pt x="4884442" y="1967926"/>
                </a:moveTo>
                <a:lnTo>
                  <a:pt x="4882164" y="1970849"/>
                </a:lnTo>
                <a:lnTo>
                  <a:pt x="4879480" y="1969992"/>
                </a:lnTo>
                <a:lnTo>
                  <a:pt x="4879559" y="1970308"/>
                </a:lnTo>
                <a:lnTo>
                  <a:pt x="4882272" y="1971174"/>
                </a:lnTo>
                <a:lnTo>
                  <a:pt x="4884550" y="1968251"/>
                </a:lnTo>
                <a:lnTo>
                  <a:pt x="4890736" y="1970633"/>
                </a:lnTo>
                <a:lnTo>
                  <a:pt x="4892499" y="1970307"/>
                </a:lnTo>
                <a:lnTo>
                  <a:pt x="4890628" y="1970307"/>
                </a:lnTo>
                <a:close/>
                <a:moveTo>
                  <a:pt x="4960513" y="1967384"/>
                </a:moveTo>
                <a:lnTo>
                  <a:pt x="4951506" y="1970849"/>
                </a:lnTo>
                <a:lnTo>
                  <a:pt x="4951506" y="1974472"/>
                </a:lnTo>
                <a:lnTo>
                  <a:pt x="4951730" y="1974682"/>
                </a:lnTo>
                <a:lnTo>
                  <a:pt x="4952157" y="1970740"/>
                </a:lnTo>
                <a:lnTo>
                  <a:pt x="4960662" y="1967468"/>
                </a:lnTo>
                <a:close/>
                <a:moveTo>
                  <a:pt x="4400241" y="1966301"/>
                </a:moveTo>
                <a:lnTo>
                  <a:pt x="4400241" y="1966302"/>
                </a:lnTo>
                <a:lnTo>
                  <a:pt x="4401327" y="1968468"/>
                </a:lnTo>
                <a:lnTo>
                  <a:pt x="4401327" y="1968469"/>
                </a:lnTo>
                <a:lnTo>
                  <a:pt x="4401760" y="1969226"/>
                </a:lnTo>
                <a:lnTo>
                  <a:pt x="4403713" y="1967277"/>
                </a:lnTo>
                <a:lnTo>
                  <a:pt x="4403713" y="1967277"/>
                </a:lnTo>
                <a:lnTo>
                  <a:pt x="4401761" y="1969225"/>
                </a:lnTo>
                <a:lnTo>
                  <a:pt x="4400382" y="1966572"/>
                </a:lnTo>
                <a:lnTo>
                  <a:pt x="4401760" y="1969225"/>
                </a:lnTo>
                <a:lnTo>
                  <a:pt x="4401326" y="1968466"/>
                </a:lnTo>
                <a:close/>
                <a:moveTo>
                  <a:pt x="3784951" y="1962728"/>
                </a:moveTo>
                <a:lnTo>
                  <a:pt x="3780502" y="1967167"/>
                </a:lnTo>
                <a:lnTo>
                  <a:pt x="3767372" y="1964460"/>
                </a:lnTo>
                <a:lnTo>
                  <a:pt x="3759450" y="1968575"/>
                </a:lnTo>
                <a:lnTo>
                  <a:pt x="3757434" y="1965186"/>
                </a:lnTo>
                <a:lnTo>
                  <a:pt x="3757389" y="1965543"/>
                </a:lnTo>
                <a:lnTo>
                  <a:pt x="3759451" y="1969008"/>
                </a:lnTo>
                <a:lnTo>
                  <a:pt x="3767373" y="1964894"/>
                </a:lnTo>
                <a:lnTo>
                  <a:pt x="3780504" y="1967601"/>
                </a:lnTo>
                <a:lnTo>
                  <a:pt x="3785061" y="1963162"/>
                </a:lnTo>
                <a:lnTo>
                  <a:pt x="3795843" y="1964493"/>
                </a:lnTo>
                <a:lnTo>
                  <a:pt x="3795803" y="1964135"/>
                </a:lnTo>
                <a:close/>
                <a:moveTo>
                  <a:pt x="4408001" y="1960901"/>
                </a:moveTo>
                <a:lnTo>
                  <a:pt x="4403389" y="1963378"/>
                </a:lnTo>
                <a:lnTo>
                  <a:pt x="4403389" y="1963378"/>
                </a:lnTo>
                <a:close/>
                <a:moveTo>
                  <a:pt x="5546234" y="1959597"/>
                </a:moveTo>
                <a:lnTo>
                  <a:pt x="5547371" y="1960779"/>
                </a:lnTo>
                <a:lnTo>
                  <a:pt x="5549324" y="1964244"/>
                </a:lnTo>
                <a:lnTo>
                  <a:pt x="5549325" y="1964244"/>
                </a:lnTo>
                <a:lnTo>
                  <a:pt x="5547372" y="1960780"/>
                </a:lnTo>
                <a:lnTo>
                  <a:pt x="5547371" y="1960779"/>
                </a:lnTo>
                <a:lnTo>
                  <a:pt x="5547371" y="1960779"/>
                </a:lnTo>
                <a:close/>
                <a:moveTo>
                  <a:pt x="4415016" y="1958196"/>
                </a:moveTo>
                <a:lnTo>
                  <a:pt x="4414023" y="1958939"/>
                </a:lnTo>
                <a:lnTo>
                  <a:pt x="4409032" y="1960347"/>
                </a:lnTo>
                <a:lnTo>
                  <a:pt x="4409030" y="1960348"/>
                </a:lnTo>
                <a:lnTo>
                  <a:pt x="4414022" y="1958940"/>
                </a:lnTo>
                <a:close/>
                <a:moveTo>
                  <a:pt x="2309451" y="1956990"/>
                </a:moveTo>
                <a:lnTo>
                  <a:pt x="2309559" y="1958289"/>
                </a:lnTo>
                <a:lnTo>
                  <a:pt x="2307823" y="1960346"/>
                </a:lnTo>
                <a:lnTo>
                  <a:pt x="2306087" y="1962836"/>
                </a:lnTo>
                <a:lnTo>
                  <a:pt x="2310753" y="1960779"/>
                </a:lnTo>
                <a:lnTo>
                  <a:pt x="2313248" y="1961971"/>
                </a:lnTo>
                <a:lnTo>
                  <a:pt x="2317155" y="1960563"/>
                </a:lnTo>
                <a:lnTo>
                  <a:pt x="2314551" y="1963053"/>
                </a:lnTo>
                <a:lnTo>
                  <a:pt x="2308149" y="1965002"/>
                </a:lnTo>
                <a:lnTo>
                  <a:pt x="2306087" y="1964569"/>
                </a:lnTo>
                <a:lnTo>
                  <a:pt x="2304351" y="1966193"/>
                </a:lnTo>
                <a:lnTo>
                  <a:pt x="2297623" y="1965868"/>
                </a:lnTo>
                <a:lnTo>
                  <a:pt x="2294041" y="1968033"/>
                </a:lnTo>
                <a:lnTo>
                  <a:pt x="2286120" y="1968141"/>
                </a:lnTo>
                <a:lnTo>
                  <a:pt x="2281236" y="1969657"/>
                </a:lnTo>
                <a:lnTo>
                  <a:pt x="2276028" y="1969874"/>
                </a:lnTo>
                <a:lnTo>
                  <a:pt x="2274508" y="1971390"/>
                </a:lnTo>
                <a:lnTo>
                  <a:pt x="2271036" y="1972472"/>
                </a:lnTo>
                <a:lnTo>
                  <a:pt x="2272990" y="1970740"/>
                </a:lnTo>
                <a:lnTo>
                  <a:pt x="2269951" y="1970524"/>
                </a:lnTo>
                <a:lnTo>
                  <a:pt x="2269300" y="1968467"/>
                </a:lnTo>
                <a:lnTo>
                  <a:pt x="2272013" y="1965110"/>
                </a:lnTo>
                <a:lnTo>
                  <a:pt x="2277221" y="1964244"/>
                </a:lnTo>
                <a:lnTo>
                  <a:pt x="2284058" y="1961429"/>
                </a:lnTo>
                <a:lnTo>
                  <a:pt x="2289050" y="1962620"/>
                </a:lnTo>
                <a:lnTo>
                  <a:pt x="2295127" y="1960779"/>
                </a:lnTo>
                <a:lnTo>
                  <a:pt x="2302723" y="1960779"/>
                </a:lnTo>
                <a:close/>
                <a:moveTo>
                  <a:pt x="7134969" y="1956774"/>
                </a:moveTo>
                <a:lnTo>
                  <a:pt x="7135729" y="1960131"/>
                </a:lnTo>
                <a:lnTo>
                  <a:pt x="7135402" y="1963595"/>
                </a:lnTo>
                <a:lnTo>
                  <a:pt x="7138659" y="1964678"/>
                </a:lnTo>
                <a:lnTo>
                  <a:pt x="7139527" y="1967168"/>
                </a:lnTo>
                <a:lnTo>
                  <a:pt x="7138333" y="1972473"/>
                </a:lnTo>
                <a:lnTo>
                  <a:pt x="7135729" y="1975072"/>
                </a:lnTo>
                <a:lnTo>
                  <a:pt x="7133992" y="1975613"/>
                </a:lnTo>
                <a:lnTo>
                  <a:pt x="7134209" y="1971066"/>
                </a:lnTo>
                <a:lnTo>
                  <a:pt x="7135729" y="1968359"/>
                </a:lnTo>
                <a:lnTo>
                  <a:pt x="7134643" y="1967601"/>
                </a:lnTo>
                <a:lnTo>
                  <a:pt x="7131713" y="1969333"/>
                </a:lnTo>
                <a:lnTo>
                  <a:pt x="7131279" y="1966302"/>
                </a:lnTo>
                <a:lnTo>
                  <a:pt x="7133341" y="1958398"/>
                </a:lnTo>
                <a:close/>
                <a:moveTo>
                  <a:pt x="4399338" y="1956376"/>
                </a:moveTo>
                <a:lnTo>
                  <a:pt x="4400350" y="1958940"/>
                </a:lnTo>
                <a:lnTo>
                  <a:pt x="4400241" y="1966301"/>
                </a:lnTo>
                <a:lnTo>
                  <a:pt x="4400241" y="1966302"/>
                </a:lnTo>
                <a:lnTo>
                  <a:pt x="4400350" y="1958939"/>
                </a:lnTo>
                <a:close/>
                <a:moveTo>
                  <a:pt x="5478740" y="1955772"/>
                </a:moveTo>
                <a:lnTo>
                  <a:pt x="5486167" y="1956774"/>
                </a:lnTo>
                <a:lnTo>
                  <a:pt x="5486167" y="1956774"/>
                </a:lnTo>
                <a:close/>
                <a:moveTo>
                  <a:pt x="5478136" y="1955691"/>
                </a:moveTo>
                <a:lnTo>
                  <a:pt x="5471083" y="1957099"/>
                </a:lnTo>
                <a:lnTo>
                  <a:pt x="5460340" y="1962837"/>
                </a:lnTo>
                <a:lnTo>
                  <a:pt x="5460341" y="1962837"/>
                </a:lnTo>
                <a:lnTo>
                  <a:pt x="5471084" y="1957099"/>
                </a:lnTo>
                <a:lnTo>
                  <a:pt x="5478138" y="1955691"/>
                </a:lnTo>
                <a:close/>
                <a:moveTo>
                  <a:pt x="4982976" y="1953094"/>
                </a:moveTo>
                <a:lnTo>
                  <a:pt x="4982976" y="1954393"/>
                </a:lnTo>
                <a:lnTo>
                  <a:pt x="4980350" y="1954682"/>
                </a:lnTo>
                <a:lnTo>
                  <a:pt x="4981878" y="1955597"/>
                </a:lnTo>
                <a:cubicBezTo>
                  <a:pt x="4983600" y="1955664"/>
                  <a:pt x="4985147" y="1955150"/>
                  <a:pt x="4985364" y="1954825"/>
                </a:cubicBezTo>
                <a:lnTo>
                  <a:pt x="4983302" y="1962187"/>
                </a:lnTo>
                <a:lnTo>
                  <a:pt x="4989487" y="1965977"/>
                </a:lnTo>
                <a:lnTo>
                  <a:pt x="4992960" y="1970740"/>
                </a:lnTo>
                <a:lnTo>
                  <a:pt x="4991567" y="1979291"/>
                </a:lnTo>
                <a:lnTo>
                  <a:pt x="4992200" y="1979618"/>
                </a:lnTo>
                <a:lnTo>
                  <a:pt x="4993610" y="1971065"/>
                </a:lnTo>
                <a:lnTo>
                  <a:pt x="4990138" y="1966193"/>
                </a:lnTo>
                <a:lnTo>
                  <a:pt x="4983952" y="1962403"/>
                </a:lnTo>
                <a:lnTo>
                  <a:pt x="4986340" y="1953850"/>
                </a:lnTo>
                <a:lnTo>
                  <a:pt x="4990530" y="1954248"/>
                </a:lnTo>
                <a:lnTo>
                  <a:pt x="4989920" y="1953743"/>
                </a:lnTo>
                <a:close/>
                <a:moveTo>
                  <a:pt x="4438440" y="1952984"/>
                </a:moveTo>
                <a:lnTo>
                  <a:pt x="4431712" y="1954500"/>
                </a:lnTo>
                <a:lnTo>
                  <a:pt x="4427262" y="1953742"/>
                </a:lnTo>
                <a:lnTo>
                  <a:pt x="4421530" y="1955139"/>
                </a:lnTo>
                <a:lnTo>
                  <a:pt x="4427261" y="1953743"/>
                </a:lnTo>
                <a:lnTo>
                  <a:pt x="4431711" y="1954501"/>
                </a:lnTo>
                <a:lnTo>
                  <a:pt x="4438438" y="1952985"/>
                </a:lnTo>
                <a:lnTo>
                  <a:pt x="4441911" y="1952985"/>
                </a:lnTo>
                <a:lnTo>
                  <a:pt x="4451569" y="1960456"/>
                </a:lnTo>
                <a:lnTo>
                  <a:pt x="4457863" y="1971716"/>
                </a:lnTo>
                <a:lnTo>
                  <a:pt x="4458731" y="1977346"/>
                </a:lnTo>
                <a:lnTo>
                  <a:pt x="4459599" y="1982109"/>
                </a:lnTo>
                <a:lnTo>
                  <a:pt x="4459599" y="1982109"/>
                </a:lnTo>
                <a:lnTo>
                  <a:pt x="4458731" y="1977345"/>
                </a:lnTo>
                <a:lnTo>
                  <a:pt x="4457863" y="1971714"/>
                </a:lnTo>
                <a:lnTo>
                  <a:pt x="4451570" y="1960455"/>
                </a:lnTo>
                <a:lnTo>
                  <a:pt x="4441912" y="1952984"/>
                </a:lnTo>
                <a:close/>
                <a:moveTo>
                  <a:pt x="5037341" y="1952444"/>
                </a:moveTo>
                <a:lnTo>
                  <a:pt x="5036789" y="1953109"/>
                </a:lnTo>
                <a:lnTo>
                  <a:pt x="5040815" y="1956015"/>
                </a:lnTo>
                <a:lnTo>
                  <a:pt x="5048195" y="1965651"/>
                </a:lnTo>
                <a:lnTo>
                  <a:pt x="5048520" y="1970307"/>
                </a:lnTo>
                <a:lnTo>
                  <a:pt x="5051667" y="1976911"/>
                </a:lnTo>
                <a:lnTo>
                  <a:pt x="5059697" y="1982650"/>
                </a:lnTo>
                <a:lnTo>
                  <a:pt x="5060565" y="1986439"/>
                </a:lnTo>
                <a:lnTo>
                  <a:pt x="5065774" y="1990337"/>
                </a:lnTo>
                <a:lnTo>
                  <a:pt x="5067010" y="1990316"/>
                </a:lnTo>
                <a:lnTo>
                  <a:pt x="5061975" y="1986548"/>
                </a:lnTo>
                <a:lnTo>
                  <a:pt x="5061107" y="1982759"/>
                </a:lnTo>
                <a:lnTo>
                  <a:pt x="5052968" y="1977020"/>
                </a:lnTo>
                <a:lnTo>
                  <a:pt x="5049821" y="1970308"/>
                </a:lnTo>
                <a:lnTo>
                  <a:pt x="5049821" y="1965652"/>
                </a:lnTo>
                <a:lnTo>
                  <a:pt x="5042442" y="1956016"/>
                </a:lnTo>
                <a:close/>
                <a:moveTo>
                  <a:pt x="4181255" y="1951793"/>
                </a:moveTo>
                <a:lnTo>
                  <a:pt x="4182123" y="1953959"/>
                </a:lnTo>
                <a:lnTo>
                  <a:pt x="4179410" y="1952659"/>
                </a:lnTo>
                <a:close/>
                <a:moveTo>
                  <a:pt x="2348408" y="1948437"/>
                </a:moveTo>
                <a:lnTo>
                  <a:pt x="2352314" y="1948437"/>
                </a:lnTo>
                <a:lnTo>
                  <a:pt x="2354484" y="1950710"/>
                </a:lnTo>
                <a:lnTo>
                  <a:pt x="2351120" y="1950710"/>
                </a:lnTo>
                <a:lnTo>
                  <a:pt x="2349058" y="1952659"/>
                </a:lnTo>
                <a:lnTo>
                  <a:pt x="2346455" y="1952984"/>
                </a:lnTo>
                <a:lnTo>
                  <a:pt x="2345478" y="1951143"/>
                </a:lnTo>
                <a:lnTo>
                  <a:pt x="2347431" y="1949736"/>
                </a:lnTo>
                <a:close/>
                <a:moveTo>
                  <a:pt x="3995311" y="1947272"/>
                </a:moveTo>
                <a:lnTo>
                  <a:pt x="3984683" y="1948302"/>
                </a:lnTo>
                <a:lnTo>
                  <a:pt x="3984731" y="1948328"/>
                </a:lnTo>
                <a:close/>
                <a:moveTo>
                  <a:pt x="3952473" y="1946933"/>
                </a:moveTo>
                <a:lnTo>
                  <a:pt x="3952171" y="1947243"/>
                </a:lnTo>
                <a:lnTo>
                  <a:pt x="3952176" y="1947245"/>
                </a:lnTo>
                <a:close/>
                <a:moveTo>
                  <a:pt x="4966264" y="1946922"/>
                </a:moveTo>
                <a:lnTo>
                  <a:pt x="4940865" y="1955854"/>
                </a:lnTo>
                <a:lnTo>
                  <a:pt x="4942825" y="1956990"/>
                </a:lnTo>
                <a:lnTo>
                  <a:pt x="4968091" y="1948105"/>
                </a:lnTo>
                <a:close/>
                <a:moveTo>
                  <a:pt x="4386855" y="1945129"/>
                </a:moveTo>
                <a:lnTo>
                  <a:pt x="4386854" y="1945130"/>
                </a:lnTo>
                <a:lnTo>
                  <a:pt x="4388630" y="1946380"/>
                </a:lnTo>
                <a:lnTo>
                  <a:pt x="4391777" y="1951685"/>
                </a:lnTo>
                <a:lnTo>
                  <a:pt x="4394056" y="1952227"/>
                </a:lnTo>
                <a:lnTo>
                  <a:pt x="4398939" y="1955366"/>
                </a:lnTo>
                <a:lnTo>
                  <a:pt x="4398939" y="1955366"/>
                </a:lnTo>
                <a:lnTo>
                  <a:pt x="4394056" y="1952227"/>
                </a:lnTo>
                <a:lnTo>
                  <a:pt x="4391777" y="1951685"/>
                </a:lnTo>
                <a:lnTo>
                  <a:pt x="4388631" y="1946380"/>
                </a:lnTo>
                <a:close/>
                <a:moveTo>
                  <a:pt x="3977569" y="1944540"/>
                </a:moveTo>
                <a:lnTo>
                  <a:pt x="3971227" y="1945162"/>
                </a:lnTo>
                <a:lnTo>
                  <a:pt x="3971274" y="1945188"/>
                </a:lnTo>
                <a:lnTo>
                  <a:pt x="3977601" y="1944557"/>
                </a:lnTo>
                <a:close/>
                <a:moveTo>
                  <a:pt x="4440653" y="1943311"/>
                </a:moveTo>
                <a:lnTo>
                  <a:pt x="4440718" y="1943782"/>
                </a:lnTo>
                <a:lnTo>
                  <a:pt x="4442804" y="1947126"/>
                </a:lnTo>
                <a:lnTo>
                  <a:pt x="4440718" y="1943781"/>
                </a:lnTo>
                <a:close/>
                <a:moveTo>
                  <a:pt x="5535868" y="1943131"/>
                </a:moveTo>
                <a:lnTo>
                  <a:pt x="5535869" y="1943132"/>
                </a:lnTo>
                <a:lnTo>
                  <a:pt x="5540337" y="1944451"/>
                </a:lnTo>
                <a:close/>
                <a:moveTo>
                  <a:pt x="5295685" y="1942049"/>
                </a:moveTo>
                <a:lnTo>
                  <a:pt x="5296264" y="1943890"/>
                </a:lnTo>
                <a:lnTo>
                  <a:pt x="5314169" y="1953526"/>
                </a:lnTo>
                <a:lnTo>
                  <a:pt x="5328276" y="1960671"/>
                </a:lnTo>
                <a:lnTo>
                  <a:pt x="5332182" y="1958290"/>
                </a:lnTo>
                <a:lnTo>
                  <a:pt x="5336957" y="1959048"/>
                </a:lnTo>
                <a:lnTo>
                  <a:pt x="5346941" y="1966193"/>
                </a:lnTo>
                <a:lnTo>
                  <a:pt x="5347271" y="1967328"/>
                </a:lnTo>
                <a:lnTo>
                  <a:pt x="5346941" y="1966193"/>
                </a:lnTo>
                <a:lnTo>
                  <a:pt x="5336957" y="1959048"/>
                </a:lnTo>
                <a:lnTo>
                  <a:pt x="5332182" y="1958289"/>
                </a:lnTo>
                <a:lnTo>
                  <a:pt x="5328276" y="1960671"/>
                </a:lnTo>
                <a:lnTo>
                  <a:pt x="5314169" y="1953526"/>
                </a:lnTo>
                <a:lnTo>
                  <a:pt x="5296264" y="1943889"/>
                </a:lnTo>
                <a:close/>
                <a:moveTo>
                  <a:pt x="5559958" y="1940749"/>
                </a:moveTo>
                <a:lnTo>
                  <a:pt x="5559307" y="1947462"/>
                </a:lnTo>
                <a:lnTo>
                  <a:pt x="5555183" y="1951901"/>
                </a:lnTo>
                <a:lnTo>
                  <a:pt x="5555185" y="1951901"/>
                </a:lnTo>
                <a:lnTo>
                  <a:pt x="5559308" y="1947462"/>
                </a:lnTo>
                <a:lnTo>
                  <a:pt x="5559959" y="1940750"/>
                </a:lnTo>
                <a:lnTo>
                  <a:pt x="5562998" y="1941399"/>
                </a:lnTo>
                <a:lnTo>
                  <a:pt x="5562997" y="1941399"/>
                </a:lnTo>
                <a:close/>
                <a:moveTo>
                  <a:pt x="5531311" y="1940425"/>
                </a:moveTo>
                <a:lnTo>
                  <a:pt x="5531311" y="1940425"/>
                </a:lnTo>
                <a:lnTo>
                  <a:pt x="5535508" y="1942918"/>
                </a:lnTo>
                <a:close/>
                <a:moveTo>
                  <a:pt x="4166821" y="1935444"/>
                </a:moveTo>
                <a:lnTo>
                  <a:pt x="4169101" y="1938150"/>
                </a:lnTo>
                <a:lnTo>
                  <a:pt x="4169643" y="1940750"/>
                </a:lnTo>
                <a:lnTo>
                  <a:pt x="4165845" y="1940533"/>
                </a:lnTo>
                <a:lnTo>
                  <a:pt x="4160961" y="1942265"/>
                </a:lnTo>
                <a:lnTo>
                  <a:pt x="4158357" y="1941183"/>
                </a:lnTo>
                <a:lnTo>
                  <a:pt x="4160419" y="1939017"/>
                </a:lnTo>
                <a:lnTo>
                  <a:pt x="4165736" y="1936960"/>
                </a:lnTo>
                <a:close/>
                <a:moveTo>
                  <a:pt x="5234992" y="1934992"/>
                </a:moveTo>
                <a:lnTo>
                  <a:pt x="5232348" y="1935228"/>
                </a:lnTo>
                <a:lnTo>
                  <a:pt x="5227247" y="1945622"/>
                </a:lnTo>
                <a:lnTo>
                  <a:pt x="5227247" y="1945622"/>
                </a:lnTo>
                <a:lnTo>
                  <a:pt x="5232348" y="1935228"/>
                </a:lnTo>
                <a:close/>
                <a:moveTo>
                  <a:pt x="4308653" y="1934254"/>
                </a:moveTo>
                <a:cubicBezTo>
                  <a:pt x="4308978" y="1934254"/>
                  <a:pt x="4316900" y="1934254"/>
                  <a:pt x="4316900" y="1934254"/>
                </a:cubicBezTo>
                <a:lnTo>
                  <a:pt x="4320047" y="1937177"/>
                </a:lnTo>
                <a:lnTo>
                  <a:pt x="4312776" y="1936527"/>
                </a:lnTo>
                <a:close/>
                <a:moveTo>
                  <a:pt x="4142514" y="1931979"/>
                </a:moveTo>
                <a:lnTo>
                  <a:pt x="4144793" y="1931979"/>
                </a:lnTo>
                <a:lnTo>
                  <a:pt x="4146095" y="1938908"/>
                </a:lnTo>
                <a:lnTo>
                  <a:pt x="4145552" y="1944971"/>
                </a:lnTo>
                <a:lnTo>
                  <a:pt x="4148048" y="1954608"/>
                </a:lnTo>
                <a:lnTo>
                  <a:pt x="4145227" y="1965543"/>
                </a:lnTo>
                <a:lnTo>
                  <a:pt x="4145335" y="1971715"/>
                </a:lnTo>
                <a:lnTo>
                  <a:pt x="4142839" y="1979293"/>
                </a:lnTo>
                <a:lnTo>
                  <a:pt x="4138281" y="1981459"/>
                </a:lnTo>
                <a:lnTo>
                  <a:pt x="4131119" y="1978428"/>
                </a:lnTo>
                <a:lnTo>
                  <a:pt x="4129817" y="1976262"/>
                </a:lnTo>
                <a:lnTo>
                  <a:pt x="4131445" y="1973663"/>
                </a:lnTo>
                <a:lnTo>
                  <a:pt x="4133290" y="1973989"/>
                </a:lnTo>
                <a:lnTo>
                  <a:pt x="4131987" y="1971931"/>
                </a:lnTo>
                <a:lnTo>
                  <a:pt x="4130359" y="1971931"/>
                </a:lnTo>
                <a:lnTo>
                  <a:pt x="4130577" y="1968683"/>
                </a:lnTo>
                <a:lnTo>
                  <a:pt x="4127321" y="1966842"/>
                </a:lnTo>
                <a:lnTo>
                  <a:pt x="4125802" y="1964460"/>
                </a:lnTo>
                <a:lnTo>
                  <a:pt x="4127646" y="1963377"/>
                </a:lnTo>
                <a:lnTo>
                  <a:pt x="4127646" y="1961645"/>
                </a:lnTo>
                <a:lnTo>
                  <a:pt x="4124174" y="1959805"/>
                </a:lnTo>
                <a:lnTo>
                  <a:pt x="4123306" y="1956340"/>
                </a:lnTo>
                <a:lnTo>
                  <a:pt x="4126019" y="1956340"/>
                </a:lnTo>
                <a:lnTo>
                  <a:pt x="4126996" y="1954175"/>
                </a:lnTo>
                <a:lnTo>
                  <a:pt x="4124174" y="1951685"/>
                </a:lnTo>
                <a:lnTo>
                  <a:pt x="4127538" y="1945946"/>
                </a:lnTo>
                <a:lnTo>
                  <a:pt x="4134700" y="1943348"/>
                </a:lnTo>
                <a:lnTo>
                  <a:pt x="4137630" y="1940532"/>
                </a:lnTo>
                <a:lnTo>
                  <a:pt x="4140560" y="1943564"/>
                </a:lnTo>
                <a:lnTo>
                  <a:pt x="4142296" y="1943564"/>
                </a:lnTo>
                <a:lnTo>
                  <a:pt x="4143056" y="1939233"/>
                </a:lnTo>
                <a:lnTo>
                  <a:pt x="4141537" y="1936201"/>
                </a:lnTo>
                <a:close/>
                <a:moveTo>
                  <a:pt x="4383096" y="1931748"/>
                </a:moveTo>
                <a:lnTo>
                  <a:pt x="4384724" y="1933279"/>
                </a:lnTo>
                <a:lnTo>
                  <a:pt x="4390692" y="1934362"/>
                </a:lnTo>
                <a:lnTo>
                  <a:pt x="4390711" y="1934676"/>
                </a:lnTo>
                <a:lnTo>
                  <a:pt x="4390692" y="1934362"/>
                </a:lnTo>
                <a:lnTo>
                  <a:pt x="4384724" y="1933279"/>
                </a:lnTo>
                <a:close/>
                <a:moveTo>
                  <a:pt x="4303119" y="1929274"/>
                </a:moveTo>
                <a:lnTo>
                  <a:pt x="4315381" y="1929490"/>
                </a:lnTo>
                <a:lnTo>
                  <a:pt x="4310389" y="1931872"/>
                </a:lnTo>
                <a:close/>
                <a:moveTo>
                  <a:pt x="5246100" y="1927209"/>
                </a:moveTo>
                <a:lnTo>
                  <a:pt x="5243416" y="1928732"/>
                </a:lnTo>
                <a:lnTo>
                  <a:pt x="5242035" y="1930858"/>
                </a:lnTo>
                <a:lnTo>
                  <a:pt x="5243416" y="1928732"/>
                </a:lnTo>
                <a:close/>
                <a:moveTo>
                  <a:pt x="5123627" y="1925654"/>
                </a:moveTo>
                <a:lnTo>
                  <a:pt x="5123504" y="1925917"/>
                </a:lnTo>
                <a:lnTo>
                  <a:pt x="5123504" y="1928299"/>
                </a:lnTo>
                <a:lnTo>
                  <a:pt x="5122636" y="1935012"/>
                </a:lnTo>
                <a:lnTo>
                  <a:pt x="5119923" y="1941616"/>
                </a:lnTo>
                <a:lnTo>
                  <a:pt x="5121226" y="1947246"/>
                </a:lnTo>
                <a:lnTo>
                  <a:pt x="5121226" y="1953418"/>
                </a:lnTo>
                <a:lnTo>
                  <a:pt x="5121226" y="1955258"/>
                </a:lnTo>
                <a:lnTo>
                  <a:pt x="5124806" y="1958940"/>
                </a:lnTo>
                <a:lnTo>
                  <a:pt x="5126434" y="1962404"/>
                </a:lnTo>
                <a:lnTo>
                  <a:pt x="5130340" y="1965436"/>
                </a:lnTo>
                <a:lnTo>
                  <a:pt x="5131752" y="1969658"/>
                </a:lnTo>
                <a:lnTo>
                  <a:pt x="5136960" y="1977670"/>
                </a:lnTo>
                <a:lnTo>
                  <a:pt x="5135875" y="1984708"/>
                </a:lnTo>
                <a:lnTo>
                  <a:pt x="5132945" y="1989689"/>
                </a:lnTo>
                <a:lnTo>
                  <a:pt x="5133922" y="2001707"/>
                </a:lnTo>
                <a:lnTo>
                  <a:pt x="5136635" y="2005280"/>
                </a:lnTo>
                <a:lnTo>
                  <a:pt x="5137828" y="2008852"/>
                </a:lnTo>
                <a:lnTo>
                  <a:pt x="5146076" y="2016539"/>
                </a:lnTo>
                <a:lnTo>
                  <a:pt x="5146076" y="2015225"/>
                </a:lnTo>
                <a:lnTo>
                  <a:pt x="5138914" y="2008636"/>
                </a:lnTo>
                <a:lnTo>
                  <a:pt x="5137720" y="2004954"/>
                </a:lnTo>
                <a:lnTo>
                  <a:pt x="5135007" y="2001381"/>
                </a:lnTo>
                <a:lnTo>
                  <a:pt x="5134031" y="1989364"/>
                </a:lnTo>
                <a:lnTo>
                  <a:pt x="5136961" y="1984383"/>
                </a:lnTo>
                <a:lnTo>
                  <a:pt x="5137937" y="1977346"/>
                </a:lnTo>
                <a:lnTo>
                  <a:pt x="5132728" y="1969334"/>
                </a:lnTo>
                <a:lnTo>
                  <a:pt x="5131426" y="1965111"/>
                </a:lnTo>
                <a:lnTo>
                  <a:pt x="5127520" y="1962079"/>
                </a:lnTo>
                <a:lnTo>
                  <a:pt x="5125892" y="1958614"/>
                </a:lnTo>
                <a:lnTo>
                  <a:pt x="5122202" y="1954825"/>
                </a:lnTo>
                <a:lnTo>
                  <a:pt x="5122094" y="1952985"/>
                </a:lnTo>
                <a:lnTo>
                  <a:pt x="5136852" y="1939775"/>
                </a:lnTo>
                <a:lnTo>
                  <a:pt x="5148572" y="1935553"/>
                </a:lnTo>
                <a:lnTo>
                  <a:pt x="5154749" y="1936544"/>
                </a:lnTo>
                <a:lnTo>
                  <a:pt x="5148571" y="1935552"/>
                </a:lnTo>
                <a:lnTo>
                  <a:pt x="5136851" y="1939775"/>
                </a:lnTo>
                <a:lnTo>
                  <a:pt x="5122093" y="1952984"/>
                </a:lnTo>
                <a:lnTo>
                  <a:pt x="5121550" y="1946813"/>
                </a:lnTo>
                <a:lnTo>
                  <a:pt x="5120248" y="1941183"/>
                </a:lnTo>
                <a:lnTo>
                  <a:pt x="5122961" y="1934578"/>
                </a:lnTo>
                <a:lnTo>
                  <a:pt x="5123830" y="1927866"/>
                </a:lnTo>
                <a:close/>
                <a:moveTo>
                  <a:pt x="5248951" y="1925592"/>
                </a:moveTo>
                <a:lnTo>
                  <a:pt x="5248950" y="1925592"/>
                </a:lnTo>
                <a:lnTo>
                  <a:pt x="5254810" y="1928732"/>
                </a:lnTo>
                <a:lnTo>
                  <a:pt x="5257632" y="1927000"/>
                </a:lnTo>
                <a:lnTo>
                  <a:pt x="5254810" y="1928732"/>
                </a:lnTo>
                <a:close/>
                <a:moveTo>
                  <a:pt x="4303336" y="1923752"/>
                </a:moveTo>
                <a:lnTo>
                  <a:pt x="4312777" y="1923752"/>
                </a:lnTo>
                <a:lnTo>
                  <a:pt x="4314839" y="1925160"/>
                </a:lnTo>
                <a:lnTo>
                  <a:pt x="4310172" y="1927434"/>
                </a:lnTo>
                <a:lnTo>
                  <a:pt x="4305506" y="1926676"/>
                </a:lnTo>
                <a:close/>
                <a:moveTo>
                  <a:pt x="5253399" y="1921153"/>
                </a:moveTo>
                <a:lnTo>
                  <a:pt x="5253399" y="1921153"/>
                </a:lnTo>
                <a:lnTo>
                  <a:pt x="5257424" y="1921507"/>
                </a:lnTo>
                <a:close/>
                <a:moveTo>
                  <a:pt x="5539778" y="1917352"/>
                </a:moveTo>
                <a:lnTo>
                  <a:pt x="5539778" y="1917352"/>
                </a:lnTo>
                <a:lnTo>
                  <a:pt x="5542271" y="1917688"/>
                </a:lnTo>
                <a:lnTo>
                  <a:pt x="5542282" y="1917864"/>
                </a:lnTo>
                <a:lnTo>
                  <a:pt x="5542271" y="1917687"/>
                </a:lnTo>
                <a:close/>
                <a:moveTo>
                  <a:pt x="5538254" y="1917147"/>
                </a:moveTo>
                <a:lnTo>
                  <a:pt x="5533480" y="1923318"/>
                </a:lnTo>
                <a:lnTo>
                  <a:pt x="5529356" y="1925050"/>
                </a:lnTo>
                <a:lnTo>
                  <a:pt x="5520024" y="1936311"/>
                </a:lnTo>
                <a:lnTo>
                  <a:pt x="5516768" y="1942807"/>
                </a:lnTo>
                <a:lnTo>
                  <a:pt x="5513946" y="1946055"/>
                </a:lnTo>
                <a:lnTo>
                  <a:pt x="5509172" y="1955041"/>
                </a:lnTo>
                <a:lnTo>
                  <a:pt x="5499515" y="1963919"/>
                </a:lnTo>
                <a:lnTo>
                  <a:pt x="5499516" y="1963920"/>
                </a:lnTo>
                <a:lnTo>
                  <a:pt x="5509174" y="1955042"/>
                </a:lnTo>
                <a:lnTo>
                  <a:pt x="5513948" y="1946055"/>
                </a:lnTo>
                <a:lnTo>
                  <a:pt x="5516770" y="1942807"/>
                </a:lnTo>
                <a:lnTo>
                  <a:pt x="5520025" y="1936310"/>
                </a:lnTo>
                <a:lnTo>
                  <a:pt x="5529357" y="1925050"/>
                </a:lnTo>
                <a:lnTo>
                  <a:pt x="5533482" y="1923318"/>
                </a:lnTo>
                <a:lnTo>
                  <a:pt x="5538256" y="1917147"/>
                </a:lnTo>
                <a:close/>
                <a:moveTo>
                  <a:pt x="4369856" y="1916822"/>
                </a:moveTo>
                <a:lnTo>
                  <a:pt x="4368229" y="1918446"/>
                </a:lnTo>
                <a:lnTo>
                  <a:pt x="4367795" y="1918879"/>
                </a:lnTo>
                <a:close/>
                <a:moveTo>
                  <a:pt x="4359953" y="1914881"/>
                </a:moveTo>
                <a:lnTo>
                  <a:pt x="4363997" y="1917689"/>
                </a:lnTo>
                <a:lnTo>
                  <a:pt x="4367795" y="1918879"/>
                </a:lnTo>
                <a:lnTo>
                  <a:pt x="4368229" y="1918446"/>
                </a:lnTo>
                <a:lnTo>
                  <a:pt x="4372931" y="1922938"/>
                </a:lnTo>
                <a:lnTo>
                  <a:pt x="4368229" y="1918446"/>
                </a:lnTo>
                <a:lnTo>
                  <a:pt x="4369857" y="1916822"/>
                </a:lnTo>
                <a:lnTo>
                  <a:pt x="4369856" y="1916821"/>
                </a:lnTo>
                <a:lnTo>
                  <a:pt x="4367795" y="1918878"/>
                </a:lnTo>
                <a:lnTo>
                  <a:pt x="4363996" y="1917688"/>
                </a:lnTo>
                <a:close/>
                <a:moveTo>
                  <a:pt x="4359004" y="1914223"/>
                </a:moveTo>
                <a:lnTo>
                  <a:pt x="4356075" y="1916280"/>
                </a:lnTo>
                <a:lnTo>
                  <a:pt x="4356291" y="1919961"/>
                </a:lnTo>
                <a:lnTo>
                  <a:pt x="4356293" y="1919962"/>
                </a:lnTo>
                <a:lnTo>
                  <a:pt x="4356075" y="1916281"/>
                </a:lnTo>
                <a:lnTo>
                  <a:pt x="4359006" y="1914224"/>
                </a:lnTo>
                <a:close/>
                <a:moveTo>
                  <a:pt x="5544006" y="1909026"/>
                </a:moveTo>
                <a:lnTo>
                  <a:pt x="5544006" y="1909026"/>
                </a:lnTo>
                <a:lnTo>
                  <a:pt x="5545742" y="1911841"/>
                </a:lnTo>
                <a:lnTo>
                  <a:pt x="5545742" y="1911841"/>
                </a:lnTo>
                <a:close/>
                <a:moveTo>
                  <a:pt x="4492809" y="1908427"/>
                </a:moveTo>
                <a:lnTo>
                  <a:pt x="4495953" y="1909568"/>
                </a:lnTo>
                <a:lnTo>
                  <a:pt x="4500185" y="1909568"/>
                </a:lnTo>
                <a:lnTo>
                  <a:pt x="4506004" y="1910275"/>
                </a:lnTo>
                <a:lnTo>
                  <a:pt x="4500184" y="1909567"/>
                </a:lnTo>
                <a:lnTo>
                  <a:pt x="4495952" y="1909567"/>
                </a:lnTo>
                <a:close/>
                <a:moveTo>
                  <a:pt x="4463368" y="1907343"/>
                </a:moveTo>
                <a:lnTo>
                  <a:pt x="4465025" y="1909135"/>
                </a:lnTo>
                <a:lnTo>
                  <a:pt x="4467413" y="1908376"/>
                </a:lnTo>
                <a:lnTo>
                  <a:pt x="4475660" y="1911517"/>
                </a:lnTo>
                <a:lnTo>
                  <a:pt x="4482497" y="1908268"/>
                </a:lnTo>
                <a:lnTo>
                  <a:pt x="4487163" y="1909568"/>
                </a:lnTo>
                <a:lnTo>
                  <a:pt x="4490107" y="1908297"/>
                </a:lnTo>
                <a:lnTo>
                  <a:pt x="4487163" y="1909567"/>
                </a:lnTo>
                <a:lnTo>
                  <a:pt x="4482497" y="1908268"/>
                </a:lnTo>
                <a:lnTo>
                  <a:pt x="4475660" y="1911516"/>
                </a:lnTo>
                <a:lnTo>
                  <a:pt x="4467413" y="1908376"/>
                </a:lnTo>
                <a:lnTo>
                  <a:pt x="4465025" y="1909134"/>
                </a:lnTo>
                <a:close/>
                <a:moveTo>
                  <a:pt x="4456018" y="1905995"/>
                </a:moveTo>
                <a:lnTo>
                  <a:pt x="4450159" y="1909783"/>
                </a:lnTo>
                <a:lnTo>
                  <a:pt x="4450159" y="1909784"/>
                </a:lnTo>
                <a:close/>
                <a:moveTo>
                  <a:pt x="4447555" y="1905453"/>
                </a:moveTo>
                <a:lnTo>
                  <a:pt x="4447554" y="1905453"/>
                </a:lnTo>
                <a:lnTo>
                  <a:pt x="4448663" y="1907297"/>
                </a:lnTo>
                <a:close/>
                <a:moveTo>
                  <a:pt x="5548563" y="1904263"/>
                </a:moveTo>
                <a:lnTo>
                  <a:pt x="5545594" y="1907367"/>
                </a:lnTo>
                <a:lnTo>
                  <a:pt x="5548564" y="1904263"/>
                </a:lnTo>
                <a:close/>
                <a:moveTo>
                  <a:pt x="4371355" y="1902026"/>
                </a:moveTo>
                <a:lnTo>
                  <a:pt x="4372678" y="1903396"/>
                </a:lnTo>
                <a:lnTo>
                  <a:pt x="4370942" y="1906211"/>
                </a:lnTo>
                <a:lnTo>
                  <a:pt x="4366818" y="1903937"/>
                </a:lnTo>
                <a:lnTo>
                  <a:pt x="4364539" y="1905453"/>
                </a:lnTo>
                <a:lnTo>
                  <a:pt x="4364539" y="1905454"/>
                </a:lnTo>
                <a:lnTo>
                  <a:pt x="4366818" y="1903938"/>
                </a:lnTo>
                <a:lnTo>
                  <a:pt x="4370942" y="1906211"/>
                </a:lnTo>
                <a:lnTo>
                  <a:pt x="4372679" y="1903397"/>
                </a:lnTo>
                <a:close/>
                <a:moveTo>
                  <a:pt x="4565725" y="1901990"/>
                </a:moveTo>
                <a:lnTo>
                  <a:pt x="4568984" y="1903504"/>
                </a:lnTo>
                <a:lnTo>
                  <a:pt x="4568984" y="1903504"/>
                </a:lnTo>
                <a:close/>
                <a:moveTo>
                  <a:pt x="4266440" y="1901447"/>
                </a:moveTo>
                <a:lnTo>
                  <a:pt x="4271215" y="1905344"/>
                </a:lnTo>
                <a:lnTo>
                  <a:pt x="4272408" y="1909567"/>
                </a:lnTo>
                <a:close/>
                <a:moveTo>
                  <a:pt x="4101534" y="1900979"/>
                </a:moveTo>
                <a:lnTo>
                  <a:pt x="4099433" y="1905995"/>
                </a:lnTo>
                <a:lnTo>
                  <a:pt x="4099433" y="1905996"/>
                </a:lnTo>
                <a:close/>
                <a:moveTo>
                  <a:pt x="4562690" y="1900581"/>
                </a:moveTo>
                <a:lnTo>
                  <a:pt x="4558133" y="1902313"/>
                </a:lnTo>
                <a:lnTo>
                  <a:pt x="4562690" y="1900581"/>
                </a:lnTo>
                <a:close/>
                <a:moveTo>
                  <a:pt x="4449327" y="1899035"/>
                </a:moveTo>
                <a:lnTo>
                  <a:pt x="4449616" y="1899282"/>
                </a:lnTo>
                <a:lnTo>
                  <a:pt x="4449616" y="1899281"/>
                </a:lnTo>
                <a:close/>
                <a:moveTo>
                  <a:pt x="5427676" y="1898957"/>
                </a:moveTo>
                <a:lnTo>
                  <a:pt x="5419321" y="1901556"/>
                </a:lnTo>
                <a:lnTo>
                  <a:pt x="5419321" y="1901556"/>
                </a:lnTo>
                <a:lnTo>
                  <a:pt x="5427676" y="1898958"/>
                </a:lnTo>
                <a:close/>
                <a:moveTo>
                  <a:pt x="2159646" y="1898427"/>
                </a:moveTo>
                <a:lnTo>
                  <a:pt x="2153295" y="1900473"/>
                </a:lnTo>
                <a:lnTo>
                  <a:pt x="2110837" y="1911848"/>
                </a:lnTo>
                <a:lnTo>
                  <a:pt x="2153295" y="1900473"/>
                </a:lnTo>
                <a:close/>
                <a:moveTo>
                  <a:pt x="4552107" y="1898139"/>
                </a:moveTo>
                <a:lnTo>
                  <a:pt x="4555637" y="1899607"/>
                </a:lnTo>
                <a:lnTo>
                  <a:pt x="4555636" y="1899606"/>
                </a:lnTo>
                <a:close/>
                <a:moveTo>
                  <a:pt x="5756700" y="1897438"/>
                </a:moveTo>
                <a:lnTo>
                  <a:pt x="5754311" y="1899065"/>
                </a:lnTo>
                <a:lnTo>
                  <a:pt x="5754528" y="1905345"/>
                </a:lnTo>
                <a:lnTo>
                  <a:pt x="5752733" y="1906326"/>
                </a:lnTo>
                <a:lnTo>
                  <a:pt x="5754529" y="1905345"/>
                </a:lnTo>
                <a:lnTo>
                  <a:pt x="5754312" y="1899065"/>
                </a:lnTo>
                <a:close/>
                <a:moveTo>
                  <a:pt x="4534259" y="1896683"/>
                </a:moveTo>
                <a:lnTo>
                  <a:pt x="4520152" y="1903287"/>
                </a:lnTo>
                <a:lnTo>
                  <a:pt x="4518090" y="1906644"/>
                </a:lnTo>
                <a:lnTo>
                  <a:pt x="4512013" y="1908593"/>
                </a:lnTo>
                <a:lnTo>
                  <a:pt x="4509083" y="1910650"/>
                </a:lnTo>
                <a:lnTo>
                  <a:pt x="4512013" y="1908593"/>
                </a:lnTo>
                <a:lnTo>
                  <a:pt x="4518091" y="1906645"/>
                </a:lnTo>
                <a:lnTo>
                  <a:pt x="4520152" y="1903288"/>
                </a:lnTo>
                <a:close/>
                <a:moveTo>
                  <a:pt x="4540444" y="1895709"/>
                </a:moveTo>
                <a:lnTo>
                  <a:pt x="4537495" y="1896173"/>
                </a:lnTo>
                <a:lnTo>
                  <a:pt x="4540445" y="1895709"/>
                </a:lnTo>
                <a:close/>
                <a:moveTo>
                  <a:pt x="5005437" y="1894518"/>
                </a:moveTo>
                <a:lnTo>
                  <a:pt x="5003050" y="1896792"/>
                </a:lnTo>
                <a:lnTo>
                  <a:pt x="5001860" y="1896047"/>
                </a:lnTo>
                <a:lnTo>
                  <a:pt x="5001097" y="1897659"/>
                </a:lnTo>
                <a:lnTo>
                  <a:pt x="4999904" y="1902098"/>
                </a:lnTo>
                <a:lnTo>
                  <a:pt x="4997516" y="1901016"/>
                </a:lnTo>
                <a:lnTo>
                  <a:pt x="4997516" y="1905130"/>
                </a:lnTo>
                <a:lnTo>
                  <a:pt x="5000772" y="1905130"/>
                </a:lnTo>
                <a:lnTo>
                  <a:pt x="5001423" y="1907728"/>
                </a:lnTo>
                <a:lnTo>
                  <a:pt x="5002834" y="1910976"/>
                </a:lnTo>
                <a:lnTo>
                  <a:pt x="5002834" y="1917906"/>
                </a:lnTo>
                <a:lnTo>
                  <a:pt x="5006415" y="1922020"/>
                </a:lnTo>
                <a:lnTo>
                  <a:pt x="5007934" y="1928841"/>
                </a:lnTo>
                <a:lnTo>
                  <a:pt x="5016941" y="1939668"/>
                </a:lnTo>
                <a:lnTo>
                  <a:pt x="5029637" y="1950495"/>
                </a:lnTo>
                <a:lnTo>
                  <a:pt x="5031808" y="1952011"/>
                </a:lnTo>
                <a:lnTo>
                  <a:pt x="5023777" y="1961755"/>
                </a:lnTo>
                <a:lnTo>
                  <a:pt x="5016833" y="1965545"/>
                </a:lnTo>
                <a:lnTo>
                  <a:pt x="5014771" y="1969659"/>
                </a:lnTo>
                <a:lnTo>
                  <a:pt x="5007159" y="1968900"/>
                </a:lnTo>
                <a:lnTo>
                  <a:pt x="5007392" y="1969332"/>
                </a:lnTo>
                <a:lnTo>
                  <a:pt x="5018461" y="1970415"/>
                </a:lnTo>
                <a:lnTo>
                  <a:pt x="5020522" y="1966193"/>
                </a:lnTo>
                <a:lnTo>
                  <a:pt x="5027359" y="1962403"/>
                </a:lnTo>
                <a:lnTo>
                  <a:pt x="5035715" y="1952334"/>
                </a:lnTo>
                <a:lnTo>
                  <a:pt x="5036755" y="1953085"/>
                </a:lnTo>
                <a:lnTo>
                  <a:pt x="5037016" y="1952768"/>
                </a:lnTo>
                <a:lnTo>
                  <a:pt x="5034846" y="1951252"/>
                </a:lnTo>
                <a:lnTo>
                  <a:pt x="5022149" y="1940425"/>
                </a:lnTo>
                <a:lnTo>
                  <a:pt x="5013142" y="1929598"/>
                </a:lnTo>
                <a:lnTo>
                  <a:pt x="5011623" y="1922777"/>
                </a:lnTo>
                <a:lnTo>
                  <a:pt x="5008042" y="1918663"/>
                </a:lnTo>
                <a:lnTo>
                  <a:pt x="5008042" y="1911733"/>
                </a:lnTo>
                <a:lnTo>
                  <a:pt x="5006631" y="1908485"/>
                </a:lnTo>
                <a:lnTo>
                  <a:pt x="5005981" y="1905886"/>
                </a:lnTo>
                <a:lnTo>
                  <a:pt x="5002724" y="1905886"/>
                </a:lnTo>
                <a:lnTo>
                  <a:pt x="5002724" y="1901773"/>
                </a:lnTo>
                <a:lnTo>
                  <a:pt x="5005112" y="1902855"/>
                </a:lnTo>
                <a:lnTo>
                  <a:pt x="5006306" y="1898416"/>
                </a:lnTo>
                <a:lnTo>
                  <a:pt x="5008150" y="1894518"/>
                </a:lnTo>
                <a:close/>
                <a:moveTo>
                  <a:pt x="2087767" y="1893762"/>
                </a:moveTo>
                <a:lnTo>
                  <a:pt x="2087317" y="1894843"/>
                </a:lnTo>
                <a:lnTo>
                  <a:pt x="2086291" y="1896892"/>
                </a:lnTo>
                <a:lnTo>
                  <a:pt x="2087317" y="1894843"/>
                </a:lnTo>
                <a:close/>
                <a:moveTo>
                  <a:pt x="4260364" y="1893544"/>
                </a:moveTo>
                <a:lnTo>
                  <a:pt x="4264054" y="1895060"/>
                </a:lnTo>
                <a:lnTo>
                  <a:pt x="4264596" y="1898525"/>
                </a:lnTo>
                <a:close/>
                <a:moveTo>
                  <a:pt x="4269261" y="1893327"/>
                </a:moveTo>
                <a:lnTo>
                  <a:pt x="4271974" y="1894084"/>
                </a:lnTo>
                <a:lnTo>
                  <a:pt x="4275012" y="1898199"/>
                </a:lnTo>
                <a:lnTo>
                  <a:pt x="4273276" y="1899390"/>
                </a:lnTo>
                <a:close/>
                <a:moveTo>
                  <a:pt x="5759521" y="1893219"/>
                </a:moveTo>
                <a:lnTo>
                  <a:pt x="5759520" y="1893219"/>
                </a:lnTo>
                <a:lnTo>
                  <a:pt x="5758760" y="1896034"/>
                </a:lnTo>
                <a:lnTo>
                  <a:pt x="5758761" y="1896033"/>
                </a:lnTo>
                <a:close/>
                <a:moveTo>
                  <a:pt x="6315887" y="1891379"/>
                </a:moveTo>
                <a:lnTo>
                  <a:pt x="6315885" y="1891380"/>
                </a:lnTo>
                <a:lnTo>
                  <a:pt x="6316753" y="1894951"/>
                </a:lnTo>
                <a:lnTo>
                  <a:pt x="6316753" y="1897549"/>
                </a:lnTo>
                <a:lnTo>
                  <a:pt x="6316754" y="1897550"/>
                </a:lnTo>
                <a:lnTo>
                  <a:pt x="6316754" y="1894951"/>
                </a:lnTo>
                <a:close/>
                <a:moveTo>
                  <a:pt x="5598373" y="1891054"/>
                </a:moveTo>
                <a:lnTo>
                  <a:pt x="5598916" y="1896142"/>
                </a:lnTo>
                <a:lnTo>
                  <a:pt x="5600326" y="1901556"/>
                </a:lnTo>
                <a:lnTo>
                  <a:pt x="5600434" y="1907835"/>
                </a:lnTo>
                <a:lnTo>
                  <a:pt x="5600435" y="1907835"/>
                </a:lnTo>
                <a:lnTo>
                  <a:pt x="5600326" y="1901555"/>
                </a:lnTo>
                <a:lnTo>
                  <a:pt x="5598916" y="1896142"/>
                </a:lnTo>
                <a:close/>
                <a:moveTo>
                  <a:pt x="6288757" y="1891054"/>
                </a:moveTo>
                <a:lnTo>
                  <a:pt x="6290255" y="1891819"/>
                </a:lnTo>
                <a:lnTo>
                  <a:pt x="6288758" y="1891054"/>
                </a:lnTo>
                <a:close/>
                <a:moveTo>
                  <a:pt x="5657948" y="1890837"/>
                </a:moveTo>
                <a:lnTo>
                  <a:pt x="5655594" y="1892945"/>
                </a:lnTo>
                <a:lnTo>
                  <a:pt x="5657948" y="1890837"/>
                </a:lnTo>
                <a:close/>
                <a:moveTo>
                  <a:pt x="2165191" y="1888655"/>
                </a:moveTo>
                <a:lnTo>
                  <a:pt x="2163713" y="1897117"/>
                </a:lnTo>
                <a:lnTo>
                  <a:pt x="2163713" y="1897117"/>
                </a:lnTo>
                <a:close/>
                <a:moveTo>
                  <a:pt x="5757567" y="1887480"/>
                </a:moveTo>
                <a:lnTo>
                  <a:pt x="5757567" y="1887481"/>
                </a:lnTo>
                <a:lnTo>
                  <a:pt x="5761690" y="1892136"/>
                </a:lnTo>
                <a:lnTo>
                  <a:pt x="5761691" y="1892135"/>
                </a:lnTo>
                <a:close/>
                <a:moveTo>
                  <a:pt x="4265356" y="1887048"/>
                </a:moveTo>
                <a:lnTo>
                  <a:pt x="4269696" y="1891487"/>
                </a:lnTo>
                <a:lnTo>
                  <a:pt x="4265247" y="1890296"/>
                </a:lnTo>
                <a:close/>
                <a:moveTo>
                  <a:pt x="4425851" y="1883149"/>
                </a:moveTo>
                <a:lnTo>
                  <a:pt x="4420860" y="1885206"/>
                </a:lnTo>
                <a:lnTo>
                  <a:pt x="4420860" y="1885207"/>
                </a:lnTo>
                <a:lnTo>
                  <a:pt x="4425852" y="1883150"/>
                </a:lnTo>
                <a:lnTo>
                  <a:pt x="4428457" y="1885526"/>
                </a:lnTo>
                <a:close/>
                <a:moveTo>
                  <a:pt x="4433664" y="1881200"/>
                </a:moveTo>
                <a:lnTo>
                  <a:pt x="4429649" y="1886614"/>
                </a:lnTo>
                <a:lnTo>
                  <a:pt x="4429650" y="1886614"/>
                </a:lnTo>
                <a:lnTo>
                  <a:pt x="4433665" y="1881201"/>
                </a:lnTo>
                <a:lnTo>
                  <a:pt x="4441911" y="1882933"/>
                </a:lnTo>
                <a:lnTo>
                  <a:pt x="4441911" y="1882933"/>
                </a:lnTo>
                <a:close/>
                <a:moveTo>
                  <a:pt x="4252008" y="1880660"/>
                </a:moveTo>
                <a:lnTo>
                  <a:pt x="4257976" y="1884882"/>
                </a:lnTo>
                <a:lnTo>
                  <a:pt x="4260038" y="1891162"/>
                </a:lnTo>
                <a:lnTo>
                  <a:pt x="4258193" y="1891487"/>
                </a:lnTo>
                <a:lnTo>
                  <a:pt x="4253962" y="1887048"/>
                </a:lnTo>
                <a:lnTo>
                  <a:pt x="4255046" y="1885641"/>
                </a:lnTo>
                <a:close/>
                <a:moveTo>
                  <a:pt x="4989920" y="1880227"/>
                </a:moveTo>
                <a:lnTo>
                  <a:pt x="4986990" y="1881093"/>
                </a:lnTo>
                <a:lnTo>
                  <a:pt x="4986060" y="1881093"/>
                </a:lnTo>
                <a:lnTo>
                  <a:pt x="4987859" y="1883259"/>
                </a:lnTo>
                <a:lnTo>
                  <a:pt x="4992308" y="1884666"/>
                </a:lnTo>
                <a:lnTo>
                  <a:pt x="4992308" y="1892570"/>
                </a:lnTo>
                <a:lnTo>
                  <a:pt x="4997842" y="1896035"/>
                </a:lnTo>
                <a:lnTo>
                  <a:pt x="4999428" y="1894525"/>
                </a:lnTo>
                <a:lnTo>
                  <a:pt x="4997516" y="1893328"/>
                </a:lnTo>
                <a:lnTo>
                  <a:pt x="4997516" y="1885424"/>
                </a:lnTo>
                <a:lnTo>
                  <a:pt x="4993067" y="1884016"/>
                </a:lnTo>
                <a:close/>
                <a:moveTo>
                  <a:pt x="4413518" y="1879517"/>
                </a:moveTo>
                <a:lnTo>
                  <a:pt x="4418580" y="1881201"/>
                </a:lnTo>
                <a:lnTo>
                  <a:pt x="4418580" y="1881200"/>
                </a:lnTo>
                <a:close/>
                <a:moveTo>
                  <a:pt x="4364647" y="1878169"/>
                </a:moveTo>
                <a:lnTo>
                  <a:pt x="4363996" y="1884340"/>
                </a:lnTo>
                <a:lnTo>
                  <a:pt x="4359221" y="1891594"/>
                </a:lnTo>
                <a:lnTo>
                  <a:pt x="4359330" y="1894843"/>
                </a:lnTo>
                <a:lnTo>
                  <a:pt x="4363150" y="1897880"/>
                </a:lnTo>
                <a:lnTo>
                  <a:pt x="4359331" y="1894843"/>
                </a:lnTo>
                <a:lnTo>
                  <a:pt x="4359222" y="1891595"/>
                </a:lnTo>
                <a:lnTo>
                  <a:pt x="4363997" y="1884340"/>
                </a:lnTo>
                <a:lnTo>
                  <a:pt x="4364648" y="1878169"/>
                </a:lnTo>
                <a:close/>
                <a:moveTo>
                  <a:pt x="5401089" y="1877953"/>
                </a:moveTo>
                <a:lnTo>
                  <a:pt x="5361806" y="1878061"/>
                </a:lnTo>
                <a:lnTo>
                  <a:pt x="5326215" y="1881850"/>
                </a:lnTo>
                <a:lnTo>
                  <a:pt x="5326215" y="1881851"/>
                </a:lnTo>
                <a:lnTo>
                  <a:pt x="5361808" y="1878061"/>
                </a:lnTo>
                <a:close/>
                <a:moveTo>
                  <a:pt x="6248168" y="1874317"/>
                </a:moveTo>
                <a:lnTo>
                  <a:pt x="6251752" y="1877844"/>
                </a:lnTo>
                <a:lnTo>
                  <a:pt x="6251753" y="1877845"/>
                </a:lnTo>
                <a:close/>
                <a:moveTo>
                  <a:pt x="4292375" y="1871239"/>
                </a:moveTo>
                <a:lnTo>
                  <a:pt x="4294220" y="1874488"/>
                </a:lnTo>
                <a:lnTo>
                  <a:pt x="4294220" y="1874488"/>
                </a:lnTo>
                <a:close/>
                <a:moveTo>
                  <a:pt x="4255914" y="1871023"/>
                </a:moveTo>
                <a:lnTo>
                  <a:pt x="4262425" y="1881309"/>
                </a:lnTo>
                <a:lnTo>
                  <a:pt x="4258953" y="1882717"/>
                </a:lnTo>
                <a:lnTo>
                  <a:pt x="4256999" y="1880334"/>
                </a:lnTo>
                <a:lnTo>
                  <a:pt x="4253527" y="1879468"/>
                </a:lnTo>
                <a:lnTo>
                  <a:pt x="4253527" y="1872755"/>
                </a:lnTo>
                <a:cubicBezTo>
                  <a:pt x="4254260" y="1872095"/>
                  <a:pt x="4255060" y="1871515"/>
                  <a:pt x="4255914" y="1871023"/>
                </a:cubicBezTo>
                <a:close/>
                <a:moveTo>
                  <a:pt x="4331116" y="1870698"/>
                </a:moveTo>
                <a:lnTo>
                  <a:pt x="4331115" y="1870699"/>
                </a:lnTo>
                <a:lnTo>
                  <a:pt x="4331994" y="1871893"/>
                </a:lnTo>
                <a:close/>
                <a:moveTo>
                  <a:pt x="4297473" y="1870649"/>
                </a:moveTo>
                <a:lnTo>
                  <a:pt x="4297367" y="1873838"/>
                </a:lnTo>
                <a:lnTo>
                  <a:pt x="4295793" y="1874163"/>
                </a:lnTo>
                <a:lnTo>
                  <a:pt x="4297367" y="1873838"/>
                </a:lnTo>
                <a:close/>
                <a:moveTo>
                  <a:pt x="4364647" y="1870373"/>
                </a:moveTo>
                <a:lnTo>
                  <a:pt x="4364647" y="1872322"/>
                </a:lnTo>
                <a:lnTo>
                  <a:pt x="4362477" y="1872322"/>
                </a:lnTo>
                <a:lnTo>
                  <a:pt x="4357810" y="1874054"/>
                </a:lnTo>
                <a:lnTo>
                  <a:pt x="4358349" y="1877811"/>
                </a:lnTo>
                <a:lnTo>
                  <a:pt x="4358350" y="1877812"/>
                </a:lnTo>
                <a:lnTo>
                  <a:pt x="4357811" y="1874055"/>
                </a:lnTo>
                <a:lnTo>
                  <a:pt x="4362478" y="1872322"/>
                </a:lnTo>
                <a:lnTo>
                  <a:pt x="4364648" y="1872322"/>
                </a:lnTo>
                <a:lnTo>
                  <a:pt x="4364648" y="1870373"/>
                </a:lnTo>
                <a:close/>
                <a:moveTo>
                  <a:pt x="4322000" y="1870373"/>
                </a:moveTo>
                <a:lnTo>
                  <a:pt x="4318853" y="1872647"/>
                </a:lnTo>
                <a:lnTo>
                  <a:pt x="4318853" y="1872647"/>
                </a:lnTo>
                <a:lnTo>
                  <a:pt x="4322001" y="1870374"/>
                </a:lnTo>
                <a:lnTo>
                  <a:pt x="4327119" y="1872249"/>
                </a:lnTo>
                <a:close/>
                <a:moveTo>
                  <a:pt x="5062518" y="1870158"/>
                </a:moveTo>
                <a:lnTo>
                  <a:pt x="5060456" y="1872648"/>
                </a:lnTo>
                <a:lnTo>
                  <a:pt x="5060456" y="1874813"/>
                </a:lnTo>
                <a:lnTo>
                  <a:pt x="5063386" y="1878386"/>
                </a:lnTo>
                <a:lnTo>
                  <a:pt x="5067184" y="1878386"/>
                </a:lnTo>
                <a:lnTo>
                  <a:pt x="5071307" y="1880010"/>
                </a:lnTo>
                <a:lnTo>
                  <a:pt x="5073043" y="1883692"/>
                </a:lnTo>
                <a:lnTo>
                  <a:pt x="5075757" y="1885315"/>
                </a:lnTo>
                <a:lnTo>
                  <a:pt x="5077493" y="1890404"/>
                </a:lnTo>
                <a:lnTo>
                  <a:pt x="5079446" y="1891054"/>
                </a:lnTo>
                <a:lnTo>
                  <a:pt x="5080748" y="1893977"/>
                </a:lnTo>
                <a:lnTo>
                  <a:pt x="5087368" y="1901773"/>
                </a:lnTo>
                <a:lnTo>
                  <a:pt x="5087368" y="1906428"/>
                </a:lnTo>
                <a:lnTo>
                  <a:pt x="5087368" y="1912275"/>
                </a:lnTo>
                <a:lnTo>
                  <a:pt x="5089430" y="1912275"/>
                </a:lnTo>
                <a:lnTo>
                  <a:pt x="5093879" y="1911192"/>
                </a:lnTo>
                <a:lnTo>
                  <a:pt x="5095507" y="1910326"/>
                </a:lnTo>
                <a:lnTo>
                  <a:pt x="5097677" y="1911517"/>
                </a:lnTo>
                <a:lnTo>
                  <a:pt x="5099739" y="1915414"/>
                </a:lnTo>
                <a:lnTo>
                  <a:pt x="5101693" y="1917255"/>
                </a:lnTo>
                <a:lnTo>
                  <a:pt x="5103537" y="1921261"/>
                </a:lnTo>
                <a:lnTo>
                  <a:pt x="5105599" y="1922020"/>
                </a:lnTo>
                <a:lnTo>
                  <a:pt x="5109180" y="1920504"/>
                </a:lnTo>
                <a:lnTo>
                  <a:pt x="5113520" y="1921586"/>
                </a:lnTo>
                <a:lnTo>
                  <a:pt x="5117318" y="1923210"/>
                </a:lnTo>
                <a:lnTo>
                  <a:pt x="5122527" y="1923210"/>
                </a:lnTo>
                <a:lnTo>
                  <a:pt x="5124190" y="1924247"/>
                </a:lnTo>
                <a:lnTo>
                  <a:pt x="5124371" y="1923860"/>
                </a:lnTo>
                <a:lnTo>
                  <a:pt x="5122635" y="1922669"/>
                </a:lnTo>
                <a:lnTo>
                  <a:pt x="5117426" y="1922993"/>
                </a:lnTo>
                <a:lnTo>
                  <a:pt x="5113737" y="1921369"/>
                </a:lnTo>
                <a:lnTo>
                  <a:pt x="5109396" y="1920287"/>
                </a:lnTo>
                <a:lnTo>
                  <a:pt x="5105816" y="1921803"/>
                </a:lnTo>
                <a:lnTo>
                  <a:pt x="5103753" y="1921044"/>
                </a:lnTo>
                <a:lnTo>
                  <a:pt x="5101909" y="1917038"/>
                </a:lnTo>
                <a:lnTo>
                  <a:pt x="5099847" y="1915198"/>
                </a:lnTo>
                <a:lnTo>
                  <a:pt x="5097785" y="1911300"/>
                </a:lnTo>
                <a:lnTo>
                  <a:pt x="5095615" y="1910109"/>
                </a:lnTo>
                <a:lnTo>
                  <a:pt x="5093987" y="1910975"/>
                </a:lnTo>
                <a:lnTo>
                  <a:pt x="5089646" y="1912058"/>
                </a:lnTo>
                <a:lnTo>
                  <a:pt x="5087584" y="1911950"/>
                </a:lnTo>
                <a:lnTo>
                  <a:pt x="5088019" y="1906103"/>
                </a:lnTo>
                <a:lnTo>
                  <a:pt x="5087584" y="1901448"/>
                </a:lnTo>
                <a:lnTo>
                  <a:pt x="5080856" y="1893652"/>
                </a:lnTo>
                <a:lnTo>
                  <a:pt x="5079555" y="1890729"/>
                </a:lnTo>
                <a:lnTo>
                  <a:pt x="5077710" y="1889971"/>
                </a:lnTo>
                <a:lnTo>
                  <a:pt x="5075974" y="1884882"/>
                </a:lnTo>
                <a:lnTo>
                  <a:pt x="5073261" y="1883258"/>
                </a:lnTo>
                <a:lnTo>
                  <a:pt x="5071524" y="1879577"/>
                </a:lnTo>
                <a:lnTo>
                  <a:pt x="5067401" y="1878061"/>
                </a:lnTo>
                <a:lnTo>
                  <a:pt x="5063603" y="1877845"/>
                </a:lnTo>
                <a:lnTo>
                  <a:pt x="5060673" y="1874271"/>
                </a:lnTo>
                <a:lnTo>
                  <a:pt x="5060998" y="1872106"/>
                </a:lnTo>
                <a:lnTo>
                  <a:pt x="5062590" y="1870183"/>
                </a:lnTo>
                <a:close/>
                <a:moveTo>
                  <a:pt x="4312312" y="1868491"/>
                </a:moveTo>
                <a:lnTo>
                  <a:pt x="4310931" y="1869723"/>
                </a:lnTo>
                <a:lnTo>
                  <a:pt x="4310932" y="1869723"/>
                </a:lnTo>
                <a:close/>
                <a:moveTo>
                  <a:pt x="4307133" y="1867450"/>
                </a:moveTo>
                <a:lnTo>
                  <a:pt x="4304746" y="1870048"/>
                </a:lnTo>
                <a:lnTo>
                  <a:pt x="4301816" y="1869940"/>
                </a:lnTo>
                <a:lnTo>
                  <a:pt x="4298633" y="1870417"/>
                </a:lnTo>
                <a:lnTo>
                  <a:pt x="4301816" y="1869941"/>
                </a:lnTo>
                <a:lnTo>
                  <a:pt x="4304746" y="1870048"/>
                </a:lnTo>
                <a:lnTo>
                  <a:pt x="4307134" y="1867450"/>
                </a:lnTo>
                <a:close/>
                <a:moveTo>
                  <a:pt x="4286623" y="1867017"/>
                </a:moveTo>
                <a:lnTo>
                  <a:pt x="4285775" y="1868012"/>
                </a:lnTo>
                <a:lnTo>
                  <a:pt x="4286624" y="1867017"/>
                </a:lnTo>
                <a:close/>
                <a:moveTo>
                  <a:pt x="6110636" y="1866214"/>
                </a:moveTo>
                <a:lnTo>
                  <a:pt x="6114912" y="1874488"/>
                </a:lnTo>
                <a:lnTo>
                  <a:pt x="6114914" y="1874488"/>
                </a:lnTo>
                <a:close/>
                <a:moveTo>
                  <a:pt x="4090561" y="1865713"/>
                </a:moveTo>
                <a:lnTo>
                  <a:pt x="4089775" y="1870482"/>
                </a:lnTo>
                <a:lnTo>
                  <a:pt x="4084241" y="1871240"/>
                </a:lnTo>
                <a:lnTo>
                  <a:pt x="4080768" y="1875030"/>
                </a:lnTo>
                <a:lnTo>
                  <a:pt x="4084240" y="1871241"/>
                </a:lnTo>
                <a:lnTo>
                  <a:pt x="4089775" y="1870483"/>
                </a:lnTo>
                <a:close/>
                <a:moveTo>
                  <a:pt x="4356944" y="1863547"/>
                </a:moveTo>
                <a:lnTo>
                  <a:pt x="4357810" y="1867342"/>
                </a:lnTo>
                <a:lnTo>
                  <a:pt x="4360198" y="1869399"/>
                </a:lnTo>
                <a:lnTo>
                  <a:pt x="4360198" y="1869399"/>
                </a:lnTo>
                <a:lnTo>
                  <a:pt x="4357811" y="1867342"/>
                </a:lnTo>
                <a:close/>
                <a:moveTo>
                  <a:pt x="4400024" y="1862145"/>
                </a:moveTo>
                <a:lnTo>
                  <a:pt x="4400024" y="1862146"/>
                </a:lnTo>
                <a:lnTo>
                  <a:pt x="4406209" y="1865393"/>
                </a:lnTo>
                <a:close/>
                <a:moveTo>
                  <a:pt x="6836986" y="1860731"/>
                </a:moveTo>
                <a:lnTo>
                  <a:pt x="6839262" y="1861929"/>
                </a:lnTo>
                <a:lnTo>
                  <a:pt x="6842626" y="1864961"/>
                </a:lnTo>
                <a:lnTo>
                  <a:pt x="6846750" y="1863337"/>
                </a:lnTo>
                <a:lnTo>
                  <a:pt x="6851854" y="1865352"/>
                </a:lnTo>
                <a:lnTo>
                  <a:pt x="6846749" y="1863336"/>
                </a:lnTo>
                <a:lnTo>
                  <a:pt x="6842625" y="1864960"/>
                </a:lnTo>
                <a:lnTo>
                  <a:pt x="6839261" y="1861928"/>
                </a:lnTo>
                <a:close/>
                <a:moveTo>
                  <a:pt x="4563821" y="1857591"/>
                </a:moveTo>
                <a:lnTo>
                  <a:pt x="4565213" y="1860053"/>
                </a:lnTo>
                <a:lnTo>
                  <a:pt x="4565295" y="1860196"/>
                </a:lnTo>
                <a:close/>
                <a:moveTo>
                  <a:pt x="2091658" y="1857165"/>
                </a:moveTo>
                <a:lnTo>
                  <a:pt x="2091542" y="1859056"/>
                </a:lnTo>
                <a:lnTo>
                  <a:pt x="2091658" y="1857165"/>
                </a:lnTo>
                <a:close/>
                <a:moveTo>
                  <a:pt x="4353470" y="1854133"/>
                </a:moveTo>
                <a:lnTo>
                  <a:pt x="4354264" y="1856039"/>
                </a:lnTo>
                <a:lnTo>
                  <a:pt x="4353470" y="1854133"/>
                </a:lnTo>
                <a:close/>
                <a:moveTo>
                  <a:pt x="6869309" y="1854040"/>
                </a:moveTo>
                <a:lnTo>
                  <a:pt x="6870622" y="1855323"/>
                </a:lnTo>
                <a:lnTo>
                  <a:pt x="6870948" y="1858788"/>
                </a:lnTo>
                <a:lnTo>
                  <a:pt x="6867801" y="1865393"/>
                </a:lnTo>
                <a:lnTo>
                  <a:pt x="6861616" y="1864310"/>
                </a:lnTo>
                <a:lnTo>
                  <a:pt x="6851957" y="1865393"/>
                </a:lnTo>
                <a:lnTo>
                  <a:pt x="6851959" y="1865393"/>
                </a:lnTo>
                <a:lnTo>
                  <a:pt x="6861617" y="1864311"/>
                </a:lnTo>
                <a:lnTo>
                  <a:pt x="6867802" y="1865393"/>
                </a:lnTo>
                <a:lnTo>
                  <a:pt x="6870949" y="1858789"/>
                </a:lnTo>
                <a:lnTo>
                  <a:pt x="6870624" y="1855325"/>
                </a:lnTo>
                <a:close/>
                <a:moveTo>
                  <a:pt x="2236505" y="1853878"/>
                </a:moveTo>
                <a:lnTo>
                  <a:pt x="2235225" y="1854133"/>
                </a:lnTo>
                <a:lnTo>
                  <a:pt x="2230776" y="1857382"/>
                </a:lnTo>
                <a:lnTo>
                  <a:pt x="2210701" y="1872323"/>
                </a:lnTo>
                <a:lnTo>
                  <a:pt x="2230777" y="1857382"/>
                </a:lnTo>
                <a:lnTo>
                  <a:pt x="2235226" y="1854133"/>
                </a:lnTo>
                <a:close/>
                <a:moveTo>
                  <a:pt x="4561177" y="1852951"/>
                </a:moveTo>
                <a:lnTo>
                  <a:pt x="4563509" y="1857054"/>
                </a:lnTo>
                <a:lnTo>
                  <a:pt x="4561187" y="1852969"/>
                </a:lnTo>
                <a:close/>
                <a:moveTo>
                  <a:pt x="4564969" y="1850994"/>
                </a:moveTo>
                <a:lnTo>
                  <a:pt x="4561497" y="1853483"/>
                </a:lnTo>
                <a:lnTo>
                  <a:pt x="4561498" y="1853484"/>
                </a:lnTo>
                <a:lnTo>
                  <a:pt x="4564970" y="1850994"/>
                </a:lnTo>
                <a:lnTo>
                  <a:pt x="4567097" y="1851643"/>
                </a:lnTo>
                <a:close/>
                <a:moveTo>
                  <a:pt x="4088039" y="1850236"/>
                </a:moveTo>
                <a:lnTo>
                  <a:pt x="4088364" y="1850344"/>
                </a:lnTo>
                <a:lnTo>
                  <a:pt x="4093573" y="1852293"/>
                </a:lnTo>
                <a:close/>
                <a:moveTo>
                  <a:pt x="6100382" y="1849034"/>
                </a:moveTo>
                <a:lnTo>
                  <a:pt x="6102541" y="1851643"/>
                </a:lnTo>
                <a:lnTo>
                  <a:pt x="6105528" y="1856111"/>
                </a:lnTo>
                <a:lnTo>
                  <a:pt x="6102543" y="1851643"/>
                </a:lnTo>
                <a:close/>
                <a:moveTo>
                  <a:pt x="4390800" y="1848827"/>
                </a:moveTo>
                <a:lnTo>
                  <a:pt x="4392390" y="1850704"/>
                </a:lnTo>
                <a:lnTo>
                  <a:pt x="4390800" y="1848828"/>
                </a:lnTo>
                <a:close/>
                <a:moveTo>
                  <a:pt x="4361826" y="1847312"/>
                </a:moveTo>
                <a:lnTo>
                  <a:pt x="4356292" y="1850127"/>
                </a:lnTo>
                <a:lnTo>
                  <a:pt x="4353036" y="1853808"/>
                </a:lnTo>
                <a:lnTo>
                  <a:pt x="4351722" y="1853098"/>
                </a:lnTo>
                <a:lnTo>
                  <a:pt x="4353036" y="1853808"/>
                </a:lnTo>
                <a:lnTo>
                  <a:pt x="4353468" y="1854132"/>
                </a:lnTo>
                <a:lnTo>
                  <a:pt x="4353469" y="1854132"/>
                </a:lnTo>
                <a:lnTo>
                  <a:pt x="4353037" y="1853808"/>
                </a:lnTo>
                <a:lnTo>
                  <a:pt x="4356292" y="1850127"/>
                </a:lnTo>
                <a:close/>
                <a:moveTo>
                  <a:pt x="4384941" y="1844389"/>
                </a:moveTo>
                <a:lnTo>
                  <a:pt x="4384940" y="1844389"/>
                </a:lnTo>
                <a:lnTo>
                  <a:pt x="4389390" y="1845905"/>
                </a:lnTo>
                <a:lnTo>
                  <a:pt x="4389389" y="1845904"/>
                </a:lnTo>
                <a:close/>
                <a:moveTo>
                  <a:pt x="4122547" y="1842332"/>
                </a:moveTo>
                <a:lnTo>
                  <a:pt x="4122547" y="1842332"/>
                </a:lnTo>
                <a:lnTo>
                  <a:pt x="4130143" y="1846014"/>
                </a:lnTo>
                <a:lnTo>
                  <a:pt x="4132531" y="1850886"/>
                </a:lnTo>
                <a:lnTo>
                  <a:pt x="4134422" y="1847497"/>
                </a:lnTo>
                <a:lnTo>
                  <a:pt x="4132531" y="1850885"/>
                </a:lnTo>
                <a:lnTo>
                  <a:pt x="4130143" y="1846013"/>
                </a:lnTo>
                <a:close/>
                <a:moveTo>
                  <a:pt x="5106901" y="1841899"/>
                </a:moveTo>
                <a:lnTo>
                  <a:pt x="5104969" y="1843116"/>
                </a:lnTo>
                <a:lnTo>
                  <a:pt x="5105056" y="1843198"/>
                </a:lnTo>
                <a:lnTo>
                  <a:pt x="5107117" y="1841899"/>
                </a:lnTo>
                <a:close/>
                <a:moveTo>
                  <a:pt x="5090515" y="1841358"/>
                </a:moveTo>
                <a:lnTo>
                  <a:pt x="5086282" y="1842874"/>
                </a:lnTo>
                <a:lnTo>
                  <a:pt x="5081074" y="1844389"/>
                </a:lnTo>
                <a:lnTo>
                  <a:pt x="5078253" y="1847421"/>
                </a:lnTo>
                <a:lnTo>
                  <a:pt x="5078904" y="1849586"/>
                </a:lnTo>
                <a:lnTo>
                  <a:pt x="5078904" y="1853376"/>
                </a:lnTo>
                <a:lnTo>
                  <a:pt x="5076625" y="1854891"/>
                </a:lnTo>
                <a:lnTo>
                  <a:pt x="5076625" y="1857274"/>
                </a:lnTo>
                <a:lnTo>
                  <a:pt x="5081291" y="1862687"/>
                </a:lnTo>
                <a:lnTo>
                  <a:pt x="5081291" y="1866151"/>
                </a:lnTo>
                <a:lnTo>
                  <a:pt x="5082702" y="1867126"/>
                </a:lnTo>
                <a:lnTo>
                  <a:pt x="5087477" y="1867126"/>
                </a:lnTo>
                <a:lnTo>
                  <a:pt x="5088670" y="1869508"/>
                </a:lnTo>
                <a:lnTo>
                  <a:pt x="5088293" y="1869947"/>
                </a:lnTo>
                <a:lnTo>
                  <a:pt x="5089213" y="1869183"/>
                </a:lnTo>
                <a:lnTo>
                  <a:pt x="5088019" y="1866801"/>
                </a:lnTo>
                <a:lnTo>
                  <a:pt x="5083353" y="1867018"/>
                </a:lnTo>
                <a:lnTo>
                  <a:pt x="5081942" y="1866151"/>
                </a:lnTo>
                <a:lnTo>
                  <a:pt x="5081942" y="1862686"/>
                </a:lnTo>
                <a:lnTo>
                  <a:pt x="5077275" y="1857273"/>
                </a:lnTo>
                <a:lnTo>
                  <a:pt x="5076842" y="1854783"/>
                </a:lnTo>
                <a:lnTo>
                  <a:pt x="5079120" y="1853375"/>
                </a:lnTo>
                <a:lnTo>
                  <a:pt x="5079120" y="1849586"/>
                </a:lnTo>
                <a:lnTo>
                  <a:pt x="5078469" y="1847421"/>
                </a:lnTo>
                <a:lnTo>
                  <a:pt x="5081291" y="1844389"/>
                </a:lnTo>
                <a:lnTo>
                  <a:pt x="5086500" y="1842873"/>
                </a:lnTo>
                <a:lnTo>
                  <a:pt x="5090604" y="1841403"/>
                </a:lnTo>
                <a:close/>
                <a:moveTo>
                  <a:pt x="5102777" y="1841249"/>
                </a:moveTo>
                <a:lnTo>
                  <a:pt x="5098762" y="1841899"/>
                </a:lnTo>
                <a:lnTo>
                  <a:pt x="5094236" y="1843159"/>
                </a:lnTo>
                <a:lnTo>
                  <a:pt x="5094312" y="1843198"/>
                </a:lnTo>
                <a:lnTo>
                  <a:pt x="5098979" y="1841899"/>
                </a:lnTo>
                <a:lnTo>
                  <a:pt x="5102809" y="1841279"/>
                </a:lnTo>
                <a:close/>
                <a:moveTo>
                  <a:pt x="4372894" y="1840816"/>
                </a:moveTo>
                <a:lnTo>
                  <a:pt x="4367252" y="1845688"/>
                </a:lnTo>
                <a:lnTo>
                  <a:pt x="4365733" y="1847853"/>
                </a:lnTo>
                <a:lnTo>
                  <a:pt x="4365733" y="1847853"/>
                </a:lnTo>
                <a:lnTo>
                  <a:pt x="4367253" y="1845688"/>
                </a:lnTo>
                <a:lnTo>
                  <a:pt x="4372895" y="1840816"/>
                </a:lnTo>
                <a:close/>
                <a:moveTo>
                  <a:pt x="4061127" y="1840275"/>
                </a:moveTo>
                <a:lnTo>
                  <a:pt x="4061126" y="1840275"/>
                </a:lnTo>
                <a:lnTo>
                  <a:pt x="4061669" y="1844065"/>
                </a:lnTo>
                <a:lnTo>
                  <a:pt x="4066769" y="1844606"/>
                </a:lnTo>
                <a:lnTo>
                  <a:pt x="4072629" y="1842223"/>
                </a:lnTo>
                <a:lnTo>
                  <a:pt x="4066770" y="1844605"/>
                </a:lnTo>
                <a:lnTo>
                  <a:pt x="4061669" y="1844064"/>
                </a:lnTo>
                <a:close/>
                <a:moveTo>
                  <a:pt x="4573542" y="1839625"/>
                </a:moveTo>
                <a:lnTo>
                  <a:pt x="4569093" y="1847854"/>
                </a:lnTo>
                <a:lnTo>
                  <a:pt x="4568882" y="1852075"/>
                </a:lnTo>
                <a:lnTo>
                  <a:pt x="4569093" y="1847854"/>
                </a:lnTo>
                <a:lnTo>
                  <a:pt x="4573542" y="1839626"/>
                </a:lnTo>
                <a:lnTo>
                  <a:pt x="4575667" y="1839915"/>
                </a:lnTo>
                <a:close/>
                <a:moveTo>
                  <a:pt x="4390284" y="1839337"/>
                </a:moveTo>
                <a:lnTo>
                  <a:pt x="4389714" y="1839516"/>
                </a:lnTo>
                <a:lnTo>
                  <a:pt x="4388344" y="1840915"/>
                </a:lnTo>
                <a:lnTo>
                  <a:pt x="4389715" y="1839516"/>
                </a:lnTo>
                <a:close/>
                <a:moveTo>
                  <a:pt x="4083465" y="1839261"/>
                </a:moveTo>
                <a:lnTo>
                  <a:pt x="4084891" y="1844065"/>
                </a:lnTo>
                <a:lnTo>
                  <a:pt x="4087604" y="1846338"/>
                </a:lnTo>
                <a:lnTo>
                  <a:pt x="4088364" y="1850344"/>
                </a:lnTo>
                <a:lnTo>
                  <a:pt x="4088039" y="1850235"/>
                </a:lnTo>
                <a:lnTo>
                  <a:pt x="4087629" y="1850709"/>
                </a:lnTo>
                <a:lnTo>
                  <a:pt x="4088038" y="1850236"/>
                </a:lnTo>
                <a:lnTo>
                  <a:pt x="4093573" y="1852293"/>
                </a:lnTo>
                <a:lnTo>
                  <a:pt x="4102796" y="1845364"/>
                </a:lnTo>
                <a:lnTo>
                  <a:pt x="4109091" y="1848179"/>
                </a:lnTo>
                <a:lnTo>
                  <a:pt x="4109091" y="1848178"/>
                </a:lnTo>
                <a:lnTo>
                  <a:pt x="4102797" y="1845363"/>
                </a:lnTo>
                <a:lnTo>
                  <a:pt x="4093573" y="1852293"/>
                </a:lnTo>
                <a:lnTo>
                  <a:pt x="4088365" y="1850344"/>
                </a:lnTo>
                <a:lnTo>
                  <a:pt x="4087605" y="1846338"/>
                </a:lnTo>
                <a:lnTo>
                  <a:pt x="4084892" y="1844064"/>
                </a:lnTo>
                <a:close/>
                <a:moveTo>
                  <a:pt x="7159819" y="1838434"/>
                </a:moveTo>
                <a:lnTo>
                  <a:pt x="7162098" y="1838650"/>
                </a:lnTo>
                <a:lnTo>
                  <a:pt x="7166330" y="1840599"/>
                </a:lnTo>
                <a:lnTo>
                  <a:pt x="7167415" y="1842007"/>
                </a:lnTo>
                <a:lnTo>
                  <a:pt x="7169585" y="1841682"/>
                </a:lnTo>
                <a:lnTo>
                  <a:pt x="7172407" y="1839950"/>
                </a:lnTo>
                <a:lnTo>
                  <a:pt x="7171973" y="1842440"/>
                </a:lnTo>
                <a:lnTo>
                  <a:pt x="7172515" y="1849694"/>
                </a:lnTo>
                <a:lnTo>
                  <a:pt x="7174469" y="1857056"/>
                </a:lnTo>
                <a:lnTo>
                  <a:pt x="7177073" y="1861929"/>
                </a:lnTo>
                <a:lnTo>
                  <a:pt x="7186840" y="1872756"/>
                </a:lnTo>
                <a:lnTo>
                  <a:pt x="7191289" y="1876870"/>
                </a:lnTo>
                <a:lnTo>
                  <a:pt x="7191831" y="1887047"/>
                </a:lnTo>
                <a:lnTo>
                  <a:pt x="7194436" y="1888455"/>
                </a:lnTo>
                <a:lnTo>
                  <a:pt x="7196823" y="1888455"/>
                </a:lnTo>
                <a:lnTo>
                  <a:pt x="7201164" y="1896034"/>
                </a:lnTo>
                <a:lnTo>
                  <a:pt x="7202465" y="1905237"/>
                </a:lnTo>
                <a:lnTo>
                  <a:pt x="7204419" y="1908701"/>
                </a:lnTo>
                <a:lnTo>
                  <a:pt x="7203334" y="1911625"/>
                </a:lnTo>
                <a:lnTo>
                  <a:pt x="7203660" y="1917471"/>
                </a:lnTo>
                <a:lnTo>
                  <a:pt x="7205071" y="1919637"/>
                </a:lnTo>
                <a:lnTo>
                  <a:pt x="7204527" y="1923318"/>
                </a:lnTo>
                <a:lnTo>
                  <a:pt x="7204636" y="1924725"/>
                </a:lnTo>
                <a:lnTo>
                  <a:pt x="7202900" y="1927649"/>
                </a:lnTo>
                <a:lnTo>
                  <a:pt x="7203009" y="1931330"/>
                </a:lnTo>
                <a:lnTo>
                  <a:pt x="7202683" y="1933712"/>
                </a:lnTo>
                <a:lnTo>
                  <a:pt x="7203877" y="1938476"/>
                </a:lnTo>
                <a:lnTo>
                  <a:pt x="7205395" y="1940316"/>
                </a:lnTo>
                <a:lnTo>
                  <a:pt x="7206264" y="1943998"/>
                </a:lnTo>
                <a:lnTo>
                  <a:pt x="7207458" y="1949411"/>
                </a:lnTo>
                <a:lnTo>
                  <a:pt x="7206155" y="1951143"/>
                </a:lnTo>
                <a:lnTo>
                  <a:pt x="7204202" y="1947896"/>
                </a:lnTo>
                <a:lnTo>
                  <a:pt x="7200621" y="1947896"/>
                </a:lnTo>
                <a:lnTo>
                  <a:pt x="7193242" y="1951360"/>
                </a:lnTo>
                <a:lnTo>
                  <a:pt x="7191831" y="1959047"/>
                </a:lnTo>
                <a:lnTo>
                  <a:pt x="7192374" y="1965218"/>
                </a:lnTo>
                <a:lnTo>
                  <a:pt x="7198234" y="1973231"/>
                </a:lnTo>
                <a:lnTo>
                  <a:pt x="7202358" y="1989796"/>
                </a:lnTo>
                <a:lnTo>
                  <a:pt x="7202032" y="1998999"/>
                </a:lnTo>
                <a:lnTo>
                  <a:pt x="7200296" y="2012424"/>
                </a:lnTo>
                <a:lnTo>
                  <a:pt x="7201815" y="2023901"/>
                </a:lnTo>
                <a:lnTo>
                  <a:pt x="7203660" y="2029531"/>
                </a:lnTo>
                <a:lnTo>
                  <a:pt x="7209194" y="2037111"/>
                </a:lnTo>
                <a:lnTo>
                  <a:pt x="7211799" y="2039492"/>
                </a:lnTo>
                <a:lnTo>
                  <a:pt x="7212450" y="2042632"/>
                </a:lnTo>
                <a:lnTo>
                  <a:pt x="7207349" y="2047396"/>
                </a:lnTo>
                <a:lnTo>
                  <a:pt x="7208326" y="2051402"/>
                </a:lnTo>
                <a:lnTo>
                  <a:pt x="7206698" y="2057574"/>
                </a:lnTo>
                <a:lnTo>
                  <a:pt x="7202141" y="2062446"/>
                </a:lnTo>
                <a:lnTo>
                  <a:pt x="7198234" y="2062770"/>
                </a:lnTo>
                <a:lnTo>
                  <a:pt x="7196172" y="2067209"/>
                </a:lnTo>
                <a:lnTo>
                  <a:pt x="7193025" y="2069266"/>
                </a:lnTo>
                <a:lnTo>
                  <a:pt x="7190747" y="2068184"/>
                </a:lnTo>
                <a:lnTo>
                  <a:pt x="7189444" y="2054650"/>
                </a:lnTo>
                <a:lnTo>
                  <a:pt x="7190638" y="2048154"/>
                </a:lnTo>
                <a:lnTo>
                  <a:pt x="7192808" y="2044905"/>
                </a:lnTo>
                <a:lnTo>
                  <a:pt x="7191831" y="2042307"/>
                </a:lnTo>
                <a:lnTo>
                  <a:pt x="7187382" y="2041441"/>
                </a:lnTo>
                <a:lnTo>
                  <a:pt x="7184452" y="2043282"/>
                </a:lnTo>
                <a:lnTo>
                  <a:pt x="7183259" y="2049020"/>
                </a:lnTo>
                <a:lnTo>
                  <a:pt x="7185429" y="2051727"/>
                </a:lnTo>
                <a:lnTo>
                  <a:pt x="7184452" y="2054001"/>
                </a:lnTo>
                <a:lnTo>
                  <a:pt x="7181088" y="2054109"/>
                </a:lnTo>
                <a:lnTo>
                  <a:pt x="7175336" y="2058548"/>
                </a:lnTo>
                <a:lnTo>
                  <a:pt x="7173927" y="2063745"/>
                </a:lnTo>
                <a:lnTo>
                  <a:pt x="7176639" y="2071974"/>
                </a:lnTo>
                <a:lnTo>
                  <a:pt x="7173058" y="2076954"/>
                </a:lnTo>
                <a:lnTo>
                  <a:pt x="7169368" y="2077387"/>
                </a:lnTo>
                <a:lnTo>
                  <a:pt x="7167524" y="2073922"/>
                </a:lnTo>
                <a:lnTo>
                  <a:pt x="7168934" y="2069484"/>
                </a:lnTo>
                <a:lnTo>
                  <a:pt x="7168066" y="2064611"/>
                </a:lnTo>
                <a:lnTo>
                  <a:pt x="7164051" y="2063962"/>
                </a:lnTo>
                <a:lnTo>
                  <a:pt x="7158951" y="2066560"/>
                </a:lnTo>
                <a:lnTo>
                  <a:pt x="7157757" y="2071974"/>
                </a:lnTo>
                <a:lnTo>
                  <a:pt x="7158951" y="2076845"/>
                </a:lnTo>
                <a:lnTo>
                  <a:pt x="7160579" y="2078361"/>
                </a:lnTo>
                <a:lnTo>
                  <a:pt x="7154393" y="2079119"/>
                </a:lnTo>
                <a:lnTo>
                  <a:pt x="7142347" y="2078037"/>
                </a:lnTo>
                <a:lnTo>
                  <a:pt x="7136488" y="2081176"/>
                </a:lnTo>
                <a:lnTo>
                  <a:pt x="7132798" y="2082151"/>
                </a:lnTo>
                <a:lnTo>
                  <a:pt x="7131279" y="2081393"/>
                </a:lnTo>
                <a:lnTo>
                  <a:pt x="7131822" y="2080202"/>
                </a:lnTo>
                <a:lnTo>
                  <a:pt x="7136162" y="2079119"/>
                </a:lnTo>
                <a:lnTo>
                  <a:pt x="7137030" y="2077062"/>
                </a:lnTo>
                <a:lnTo>
                  <a:pt x="7135403" y="2076629"/>
                </a:lnTo>
                <a:lnTo>
                  <a:pt x="7132907" y="2077496"/>
                </a:lnTo>
                <a:lnTo>
                  <a:pt x="7130520" y="2075763"/>
                </a:lnTo>
                <a:lnTo>
                  <a:pt x="7127264" y="2075005"/>
                </a:lnTo>
                <a:lnTo>
                  <a:pt x="7126179" y="2076413"/>
                </a:lnTo>
                <a:lnTo>
                  <a:pt x="7124009" y="2077928"/>
                </a:lnTo>
                <a:lnTo>
                  <a:pt x="7122381" y="2076521"/>
                </a:lnTo>
                <a:lnTo>
                  <a:pt x="7121838" y="2071323"/>
                </a:lnTo>
                <a:lnTo>
                  <a:pt x="7122814" y="2069375"/>
                </a:lnTo>
                <a:lnTo>
                  <a:pt x="7120970" y="2069916"/>
                </a:lnTo>
                <a:lnTo>
                  <a:pt x="7118257" y="2072298"/>
                </a:lnTo>
                <a:lnTo>
                  <a:pt x="7116412" y="2078794"/>
                </a:lnTo>
                <a:lnTo>
                  <a:pt x="7117498" y="2081176"/>
                </a:lnTo>
                <a:lnTo>
                  <a:pt x="7126070" y="2084858"/>
                </a:lnTo>
                <a:lnTo>
                  <a:pt x="7127047" y="2089729"/>
                </a:lnTo>
                <a:lnTo>
                  <a:pt x="7128241" y="2091462"/>
                </a:lnTo>
                <a:lnTo>
                  <a:pt x="7126830" y="2093952"/>
                </a:lnTo>
                <a:lnTo>
                  <a:pt x="7123140" y="2093952"/>
                </a:lnTo>
                <a:lnTo>
                  <a:pt x="7119017" y="2094494"/>
                </a:lnTo>
                <a:lnTo>
                  <a:pt x="7115978" y="2100340"/>
                </a:lnTo>
                <a:lnTo>
                  <a:pt x="7116847" y="2103480"/>
                </a:lnTo>
                <a:lnTo>
                  <a:pt x="7116195" y="2105862"/>
                </a:lnTo>
                <a:lnTo>
                  <a:pt x="7113591" y="2107486"/>
                </a:lnTo>
                <a:lnTo>
                  <a:pt x="7113157" y="2112034"/>
                </a:lnTo>
                <a:lnTo>
                  <a:pt x="7108490" y="2119071"/>
                </a:lnTo>
                <a:lnTo>
                  <a:pt x="7105560" y="2120587"/>
                </a:lnTo>
                <a:lnTo>
                  <a:pt x="7101111" y="2119288"/>
                </a:lnTo>
                <a:lnTo>
                  <a:pt x="7094383" y="2113116"/>
                </a:lnTo>
                <a:lnTo>
                  <a:pt x="7089609" y="2110951"/>
                </a:lnTo>
                <a:lnTo>
                  <a:pt x="7088416" y="2106404"/>
                </a:lnTo>
                <a:lnTo>
                  <a:pt x="7089066" y="2104563"/>
                </a:lnTo>
                <a:lnTo>
                  <a:pt x="7088740" y="2100124"/>
                </a:lnTo>
                <a:lnTo>
                  <a:pt x="7088198" y="2095793"/>
                </a:lnTo>
                <a:lnTo>
                  <a:pt x="7086027" y="2094386"/>
                </a:lnTo>
                <a:lnTo>
                  <a:pt x="7087113" y="2090271"/>
                </a:lnTo>
                <a:lnTo>
                  <a:pt x="7090693" y="2085182"/>
                </a:lnTo>
                <a:lnTo>
                  <a:pt x="7090693" y="2081284"/>
                </a:lnTo>
                <a:lnTo>
                  <a:pt x="7088740" y="2079553"/>
                </a:lnTo>
                <a:lnTo>
                  <a:pt x="7084617" y="2080635"/>
                </a:lnTo>
                <a:lnTo>
                  <a:pt x="7077455" y="2079336"/>
                </a:lnTo>
                <a:lnTo>
                  <a:pt x="7071703" y="2081284"/>
                </a:lnTo>
                <a:lnTo>
                  <a:pt x="7066169" y="2085832"/>
                </a:lnTo>
                <a:lnTo>
                  <a:pt x="7064975" y="2088431"/>
                </a:lnTo>
                <a:lnTo>
                  <a:pt x="7060092" y="2091137"/>
                </a:lnTo>
                <a:lnTo>
                  <a:pt x="7059875" y="2092653"/>
                </a:lnTo>
                <a:lnTo>
                  <a:pt x="7057271" y="2093952"/>
                </a:lnTo>
                <a:lnTo>
                  <a:pt x="7055426" y="2093086"/>
                </a:lnTo>
                <a:lnTo>
                  <a:pt x="7050542" y="2093303"/>
                </a:lnTo>
                <a:lnTo>
                  <a:pt x="7043055" y="2095684"/>
                </a:lnTo>
                <a:lnTo>
                  <a:pt x="7035242" y="2097200"/>
                </a:lnTo>
                <a:lnTo>
                  <a:pt x="7031227" y="2099366"/>
                </a:lnTo>
                <a:lnTo>
                  <a:pt x="7028188" y="2099149"/>
                </a:lnTo>
                <a:lnTo>
                  <a:pt x="7026235" y="2096334"/>
                </a:lnTo>
                <a:lnTo>
                  <a:pt x="7022979" y="2096551"/>
                </a:lnTo>
                <a:lnTo>
                  <a:pt x="7021569" y="2099149"/>
                </a:lnTo>
                <a:lnTo>
                  <a:pt x="7022328" y="2102506"/>
                </a:lnTo>
                <a:lnTo>
                  <a:pt x="7021895" y="2107270"/>
                </a:lnTo>
                <a:lnTo>
                  <a:pt x="7022111" y="2110518"/>
                </a:lnTo>
                <a:lnTo>
                  <a:pt x="7021352" y="2112575"/>
                </a:lnTo>
                <a:lnTo>
                  <a:pt x="7017771" y="2110951"/>
                </a:lnTo>
                <a:lnTo>
                  <a:pt x="7010717" y="2108461"/>
                </a:lnTo>
                <a:lnTo>
                  <a:pt x="7004206" y="2109651"/>
                </a:lnTo>
                <a:lnTo>
                  <a:pt x="6996827" y="2113333"/>
                </a:lnTo>
                <a:lnTo>
                  <a:pt x="6996067" y="2116689"/>
                </a:lnTo>
                <a:lnTo>
                  <a:pt x="7001276" y="2122428"/>
                </a:lnTo>
                <a:lnTo>
                  <a:pt x="7004640" y="2122861"/>
                </a:lnTo>
                <a:lnTo>
                  <a:pt x="7007895" y="2120587"/>
                </a:lnTo>
                <a:lnTo>
                  <a:pt x="7007895" y="2119071"/>
                </a:lnTo>
                <a:lnTo>
                  <a:pt x="7011694" y="2118313"/>
                </a:lnTo>
                <a:lnTo>
                  <a:pt x="7014732" y="2120262"/>
                </a:lnTo>
                <a:lnTo>
                  <a:pt x="7015926" y="2126433"/>
                </a:lnTo>
                <a:lnTo>
                  <a:pt x="7014732" y="2129465"/>
                </a:lnTo>
                <a:lnTo>
                  <a:pt x="7010934" y="2131739"/>
                </a:lnTo>
                <a:lnTo>
                  <a:pt x="7012019" y="2133471"/>
                </a:lnTo>
                <a:lnTo>
                  <a:pt x="7019833" y="2133363"/>
                </a:lnTo>
                <a:lnTo>
                  <a:pt x="7019073" y="2136503"/>
                </a:lnTo>
                <a:lnTo>
                  <a:pt x="7021569" y="2137044"/>
                </a:lnTo>
                <a:lnTo>
                  <a:pt x="7021786" y="2141483"/>
                </a:lnTo>
                <a:lnTo>
                  <a:pt x="7024173" y="2142133"/>
                </a:lnTo>
                <a:lnTo>
                  <a:pt x="7025150" y="2145814"/>
                </a:lnTo>
                <a:lnTo>
                  <a:pt x="7020701" y="2150253"/>
                </a:lnTo>
                <a:lnTo>
                  <a:pt x="7018205" y="2154584"/>
                </a:lnTo>
                <a:lnTo>
                  <a:pt x="7018639" y="2161730"/>
                </a:lnTo>
                <a:lnTo>
                  <a:pt x="7018313" y="2175372"/>
                </a:lnTo>
                <a:lnTo>
                  <a:pt x="7019724" y="2179162"/>
                </a:lnTo>
                <a:lnTo>
                  <a:pt x="7019833" y="2186632"/>
                </a:lnTo>
                <a:lnTo>
                  <a:pt x="7018639" y="2191504"/>
                </a:lnTo>
                <a:lnTo>
                  <a:pt x="7016577" y="2189988"/>
                </a:lnTo>
                <a:lnTo>
                  <a:pt x="7013104" y="2188905"/>
                </a:lnTo>
                <a:lnTo>
                  <a:pt x="7010934" y="2189988"/>
                </a:lnTo>
                <a:lnTo>
                  <a:pt x="7011043" y="2192479"/>
                </a:lnTo>
                <a:lnTo>
                  <a:pt x="7015383" y="2196809"/>
                </a:lnTo>
                <a:lnTo>
                  <a:pt x="7010717" y="2203305"/>
                </a:lnTo>
                <a:lnTo>
                  <a:pt x="7006268" y="2206013"/>
                </a:lnTo>
                <a:lnTo>
                  <a:pt x="7005726" y="2202656"/>
                </a:lnTo>
                <a:lnTo>
                  <a:pt x="7006919" y="2198866"/>
                </a:lnTo>
                <a:lnTo>
                  <a:pt x="7005508" y="2192479"/>
                </a:lnTo>
                <a:lnTo>
                  <a:pt x="7001819" y="2188689"/>
                </a:lnTo>
                <a:lnTo>
                  <a:pt x="7001927" y="2186415"/>
                </a:lnTo>
                <a:lnTo>
                  <a:pt x="7003338" y="2184358"/>
                </a:lnTo>
                <a:lnTo>
                  <a:pt x="7000842" y="2182409"/>
                </a:lnTo>
                <a:lnTo>
                  <a:pt x="6998780" y="2184791"/>
                </a:lnTo>
                <a:lnTo>
                  <a:pt x="6998780" y="2192479"/>
                </a:lnTo>
                <a:lnTo>
                  <a:pt x="7002253" y="2197892"/>
                </a:lnTo>
                <a:lnTo>
                  <a:pt x="7002253" y="2200491"/>
                </a:lnTo>
                <a:lnTo>
                  <a:pt x="7000733" y="2202223"/>
                </a:lnTo>
                <a:lnTo>
                  <a:pt x="6997478" y="2200382"/>
                </a:lnTo>
                <a:lnTo>
                  <a:pt x="6993680" y="2200923"/>
                </a:lnTo>
                <a:lnTo>
                  <a:pt x="6990642" y="2197134"/>
                </a:lnTo>
                <a:lnTo>
                  <a:pt x="6992704" y="2194644"/>
                </a:lnTo>
                <a:lnTo>
                  <a:pt x="6992704" y="2190638"/>
                </a:lnTo>
                <a:lnTo>
                  <a:pt x="6988797" y="2185982"/>
                </a:lnTo>
                <a:lnTo>
                  <a:pt x="6987278" y="2177646"/>
                </a:lnTo>
                <a:lnTo>
                  <a:pt x="6983588" y="2171366"/>
                </a:lnTo>
                <a:lnTo>
                  <a:pt x="6982612" y="2168659"/>
                </a:lnTo>
                <a:lnTo>
                  <a:pt x="6986735" y="2168226"/>
                </a:lnTo>
                <a:lnTo>
                  <a:pt x="6990207" y="2160647"/>
                </a:lnTo>
                <a:lnTo>
                  <a:pt x="6989882" y="2152526"/>
                </a:lnTo>
                <a:lnTo>
                  <a:pt x="6987820" y="2150145"/>
                </a:lnTo>
                <a:lnTo>
                  <a:pt x="6987278" y="2144840"/>
                </a:lnTo>
                <a:lnTo>
                  <a:pt x="6983045" y="2137802"/>
                </a:lnTo>
                <a:lnTo>
                  <a:pt x="6979139" y="2136286"/>
                </a:lnTo>
                <a:lnTo>
                  <a:pt x="6977185" y="2138885"/>
                </a:lnTo>
                <a:lnTo>
                  <a:pt x="6978162" y="2142457"/>
                </a:lnTo>
                <a:lnTo>
                  <a:pt x="6976968" y="2144515"/>
                </a:lnTo>
                <a:lnTo>
                  <a:pt x="6976751" y="2146463"/>
                </a:lnTo>
                <a:lnTo>
                  <a:pt x="6980983" y="2145273"/>
                </a:lnTo>
                <a:lnTo>
                  <a:pt x="6983588" y="2147655"/>
                </a:lnTo>
                <a:lnTo>
                  <a:pt x="6984022" y="2152093"/>
                </a:lnTo>
                <a:lnTo>
                  <a:pt x="6980333" y="2153177"/>
                </a:lnTo>
                <a:lnTo>
                  <a:pt x="6978597" y="2151877"/>
                </a:lnTo>
                <a:lnTo>
                  <a:pt x="6980441" y="2150145"/>
                </a:lnTo>
                <a:lnTo>
                  <a:pt x="6978053" y="2149279"/>
                </a:lnTo>
                <a:lnTo>
                  <a:pt x="6974472" y="2150469"/>
                </a:lnTo>
                <a:lnTo>
                  <a:pt x="6972845" y="2153718"/>
                </a:lnTo>
                <a:lnTo>
                  <a:pt x="6970458" y="2155016"/>
                </a:lnTo>
                <a:lnTo>
                  <a:pt x="6972085" y="2151985"/>
                </a:lnTo>
                <a:lnTo>
                  <a:pt x="6971542" y="2149170"/>
                </a:lnTo>
                <a:lnTo>
                  <a:pt x="6968504" y="2147871"/>
                </a:lnTo>
                <a:lnTo>
                  <a:pt x="6967310" y="2143648"/>
                </a:lnTo>
                <a:lnTo>
                  <a:pt x="6968396" y="2139751"/>
                </a:lnTo>
                <a:lnTo>
                  <a:pt x="6970349" y="2142674"/>
                </a:lnTo>
                <a:lnTo>
                  <a:pt x="6971217" y="2146355"/>
                </a:lnTo>
                <a:lnTo>
                  <a:pt x="6972845" y="2144840"/>
                </a:lnTo>
                <a:lnTo>
                  <a:pt x="6970783" y="2139210"/>
                </a:lnTo>
                <a:lnTo>
                  <a:pt x="6969155" y="2134987"/>
                </a:lnTo>
                <a:lnTo>
                  <a:pt x="6966876" y="2134662"/>
                </a:lnTo>
                <a:lnTo>
                  <a:pt x="6964706" y="2134662"/>
                </a:lnTo>
                <a:lnTo>
                  <a:pt x="6969047" y="2132280"/>
                </a:lnTo>
                <a:lnTo>
                  <a:pt x="6972954" y="2132280"/>
                </a:lnTo>
                <a:lnTo>
                  <a:pt x="6974581" y="2128490"/>
                </a:lnTo>
                <a:lnTo>
                  <a:pt x="6979139" y="2123618"/>
                </a:lnTo>
                <a:lnTo>
                  <a:pt x="6982177" y="2121237"/>
                </a:lnTo>
                <a:lnTo>
                  <a:pt x="6983479" y="2118530"/>
                </a:lnTo>
                <a:lnTo>
                  <a:pt x="6988471" y="2114632"/>
                </a:lnTo>
                <a:lnTo>
                  <a:pt x="6992486" y="2114307"/>
                </a:lnTo>
                <a:lnTo>
                  <a:pt x="6993897" y="2111817"/>
                </a:lnTo>
                <a:lnTo>
                  <a:pt x="6993137" y="2109110"/>
                </a:lnTo>
                <a:lnTo>
                  <a:pt x="6990751" y="2107811"/>
                </a:lnTo>
                <a:lnTo>
                  <a:pt x="6989231" y="2100340"/>
                </a:lnTo>
                <a:lnTo>
                  <a:pt x="6991510" y="2096984"/>
                </a:lnTo>
                <a:lnTo>
                  <a:pt x="6997803" y="2095684"/>
                </a:lnTo>
                <a:lnTo>
                  <a:pt x="7001385" y="2092112"/>
                </a:lnTo>
                <a:lnTo>
                  <a:pt x="7002469" y="2088972"/>
                </a:lnTo>
                <a:lnTo>
                  <a:pt x="7005942" y="2084208"/>
                </a:lnTo>
                <a:lnTo>
                  <a:pt x="7009957" y="2082692"/>
                </a:lnTo>
                <a:lnTo>
                  <a:pt x="7016469" y="2075329"/>
                </a:lnTo>
                <a:lnTo>
                  <a:pt x="7017229" y="2071865"/>
                </a:lnTo>
                <a:lnTo>
                  <a:pt x="7020592" y="2069592"/>
                </a:lnTo>
                <a:lnTo>
                  <a:pt x="7022219" y="2063962"/>
                </a:lnTo>
                <a:lnTo>
                  <a:pt x="7031118" y="2057790"/>
                </a:lnTo>
                <a:lnTo>
                  <a:pt x="7036219" y="2057140"/>
                </a:lnTo>
                <a:lnTo>
                  <a:pt x="7038280" y="2058440"/>
                </a:lnTo>
                <a:lnTo>
                  <a:pt x="7044140" y="2056707"/>
                </a:lnTo>
                <a:lnTo>
                  <a:pt x="7050217" y="2056274"/>
                </a:lnTo>
                <a:lnTo>
                  <a:pt x="7055643" y="2054325"/>
                </a:lnTo>
                <a:lnTo>
                  <a:pt x="7061178" y="2052268"/>
                </a:lnTo>
                <a:lnTo>
                  <a:pt x="7071487" y="2048587"/>
                </a:lnTo>
                <a:lnTo>
                  <a:pt x="7072897" y="2049670"/>
                </a:lnTo>
                <a:lnTo>
                  <a:pt x="7075827" y="2049562"/>
                </a:lnTo>
                <a:lnTo>
                  <a:pt x="7078974" y="2047288"/>
                </a:lnTo>
                <a:lnTo>
                  <a:pt x="7080384" y="2047937"/>
                </a:lnTo>
                <a:lnTo>
                  <a:pt x="7081253" y="2053026"/>
                </a:lnTo>
                <a:lnTo>
                  <a:pt x="7083314" y="2053784"/>
                </a:lnTo>
                <a:lnTo>
                  <a:pt x="7086787" y="2051185"/>
                </a:lnTo>
                <a:lnTo>
                  <a:pt x="7089283" y="2053135"/>
                </a:lnTo>
                <a:lnTo>
                  <a:pt x="7092864" y="2051619"/>
                </a:lnTo>
                <a:lnTo>
                  <a:pt x="7091345" y="2049453"/>
                </a:lnTo>
                <a:lnTo>
                  <a:pt x="7093624" y="2049237"/>
                </a:lnTo>
                <a:lnTo>
                  <a:pt x="7094818" y="2046313"/>
                </a:lnTo>
                <a:lnTo>
                  <a:pt x="7093841" y="2044905"/>
                </a:lnTo>
                <a:lnTo>
                  <a:pt x="7095360" y="2043607"/>
                </a:lnTo>
                <a:lnTo>
                  <a:pt x="7095035" y="2040142"/>
                </a:lnTo>
                <a:lnTo>
                  <a:pt x="7092973" y="2037868"/>
                </a:lnTo>
                <a:lnTo>
                  <a:pt x="7093732" y="2029423"/>
                </a:lnTo>
                <a:lnTo>
                  <a:pt x="7095686" y="2027258"/>
                </a:lnTo>
                <a:lnTo>
                  <a:pt x="7095794" y="2024118"/>
                </a:lnTo>
                <a:lnTo>
                  <a:pt x="7101328" y="2018487"/>
                </a:lnTo>
                <a:lnTo>
                  <a:pt x="7102088" y="2013074"/>
                </a:lnTo>
                <a:lnTo>
                  <a:pt x="7101328" y="2001814"/>
                </a:lnTo>
                <a:lnTo>
                  <a:pt x="7097965" y="1996075"/>
                </a:lnTo>
                <a:lnTo>
                  <a:pt x="7098941" y="1991528"/>
                </a:lnTo>
                <a:lnTo>
                  <a:pt x="7104041" y="1989579"/>
                </a:lnTo>
                <a:lnTo>
                  <a:pt x="7107948" y="1985465"/>
                </a:lnTo>
                <a:lnTo>
                  <a:pt x="7113482" y="1984166"/>
                </a:lnTo>
                <a:lnTo>
                  <a:pt x="7113808" y="1985465"/>
                </a:lnTo>
                <a:lnTo>
                  <a:pt x="7110878" y="1988389"/>
                </a:lnTo>
                <a:lnTo>
                  <a:pt x="7111312" y="1990879"/>
                </a:lnTo>
                <a:lnTo>
                  <a:pt x="7108816" y="1995318"/>
                </a:lnTo>
                <a:lnTo>
                  <a:pt x="7106212" y="1996509"/>
                </a:lnTo>
                <a:lnTo>
                  <a:pt x="7106103" y="1999432"/>
                </a:lnTo>
                <a:lnTo>
                  <a:pt x="7111746" y="2006361"/>
                </a:lnTo>
                <a:lnTo>
                  <a:pt x="7117498" y="2009609"/>
                </a:lnTo>
                <a:lnTo>
                  <a:pt x="7119776" y="2005062"/>
                </a:lnTo>
                <a:lnTo>
                  <a:pt x="7124226" y="2003763"/>
                </a:lnTo>
                <a:lnTo>
                  <a:pt x="7135620" y="1996942"/>
                </a:lnTo>
                <a:lnTo>
                  <a:pt x="7141371" y="1991528"/>
                </a:lnTo>
                <a:lnTo>
                  <a:pt x="7142239" y="1986765"/>
                </a:lnTo>
                <a:lnTo>
                  <a:pt x="7145169" y="1982109"/>
                </a:lnTo>
                <a:lnTo>
                  <a:pt x="7144736" y="1974205"/>
                </a:lnTo>
                <a:lnTo>
                  <a:pt x="7147339" y="1967167"/>
                </a:lnTo>
                <a:lnTo>
                  <a:pt x="7153200" y="1964136"/>
                </a:lnTo>
                <a:lnTo>
                  <a:pt x="7155153" y="1956882"/>
                </a:lnTo>
                <a:lnTo>
                  <a:pt x="7153959" y="1950494"/>
                </a:lnTo>
                <a:lnTo>
                  <a:pt x="7158083" y="1933820"/>
                </a:lnTo>
                <a:lnTo>
                  <a:pt x="7157540" y="1922452"/>
                </a:lnTo>
                <a:lnTo>
                  <a:pt x="7158516" y="1916064"/>
                </a:lnTo>
                <a:lnTo>
                  <a:pt x="7156780" y="1904588"/>
                </a:lnTo>
                <a:lnTo>
                  <a:pt x="7152223" y="1894085"/>
                </a:lnTo>
                <a:lnTo>
                  <a:pt x="7149075" y="1897550"/>
                </a:lnTo>
                <a:lnTo>
                  <a:pt x="7145495" y="1898415"/>
                </a:lnTo>
                <a:lnTo>
                  <a:pt x="7142023" y="1894085"/>
                </a:lnTo>
                <a:lnTo>
                  <a:pt x="7142782" y="1891486"/>
                </a:lnTo>
                <a:lnTo>
                  <a:pt x="7146472" y="1892244"/>
                </a:lnTo>
                <a:lnTo>
                  <a:pt x="7149727" y="1890187"/>
                </a:lnTo>
                <a:lnTo>
                  <a:pt x="7151788" y="1883691"/>
                </a:lnTo>
                <a:lnTo>
                  <a:pt x="7149727" y="1880118"/>
                </a:lnTo>
                <a:lnTo>
                  <a:pt x="7143867" y="1874055"/>
                </a:lnTo>
                <a:lnTo>
                  <a:pt x="7143759" y="1871348"/>
                </a:lnTo>
                <a:lnTo>
                  <a:pt x="7146580" y="1867125"/>
                </a:lnTo>
                <a:lnTo>
                  <a:pt x="7149402" y="1866043"/>
                </a:lnTo>
                <a:lnTo>
                  <a:pt x="7149293" y="1861171"/>
                </a:lnTo>
                <a:lnTo>
                  <a:pt x="7147556" y="1854242"/>
                </a:lnTo>
                <a:lnTo>
                  <a:pt x="7148425" y="1850452"/>
                </a:lnTo>
                <a:lnTo>
                  <a:pt x="7151029" y="1851859"/>
                </a:lnTo>
                <a:lnTo>
                  <a:pt x="7153959" y="1850885"/>
                </a:lnTo>
                <a:lnTo>
                  <a:pt x="7155478" y="1853375"/>
                </a:lnTo>
                <a:lnTo>
                  <a:pt x="7156238" y="1858139"/>
                </a:lnTo>
                <a:lnTo>
                  <a:pt x="7156998" y="1862362"/>
                </a:lnTo>
                <a:lnTo>
                  <a:pt x="7160362" y="1863661"/>
                </a:lnTo>
                <a:lnTo>
                  <a:pt x="7162532" y="1861387"/>
                </a:lnTo>
                <a:lnTo>
                  <a:pt x="7161121" y="1855757"/>
                </a:lnTo>
                <a:lnTo>
                  <a:pt x="7162206" y="1855757"/>
                </a:lnTo>
                <a:lnTo>
                  <a:pt x="7165245" y="1858139"/>
                </a:lnTo>
                <a:lnTo>
                  <a:pt x="7168175" y="1856299"/>
                </a:lnTo>
                <a:lnTo>
                  <a:pt x="7169911" y="1851968"/>
                </a:lnTo>
                <a:lnTo>
                  <a:pt x="7167524" y="1846013"/>
                </a:lnTo>
                <a:lnTo>
                  <a:pt x="7162206" y="1850777"/>
                </a:lnTo>
                <a:lnTo>
                  <a:pt x="7159927" y="1851751"/>
                </a:lnTo>
                <a:lnTo>
                  <a:pt x="7157866" y="1849803"/>
                </a:lnTo>
                <a:lnTo>
                  <a:pt x="7157757" y="1845797"/>
                </a:lnTo>
                <a:lnTo>
                  <a:pt x="7160145" y="1839950"/>
                </a:lnTo>
                <a:close/>
                <a:moveTo>
                  <a:pt x="5253398" y="1837568"/>
                </a:moveTo>
                <a:lnTo>
                  <a:pt x="5190242" y="1849478"/>
                </a:lnTo>
                <a:lnTo>
                  <a:pt x="5209666" y="1963162"/>
                </a:lnTo>
                <a:lnTo>
                  <a:pt x="5206194" y="1963486"/>
                </a:lnTo>
                <a:lnTo>
                  <a:pt x="5196536" y="1965543"/>
                </a:lnTo>
                <a:lnTo>
                  <a:pt x="5196537" y="1965544"/>
                </a:lnTo>
                <a:lnTo>
                  <a:pt x="5206195" y="1963487"/>
                </a:lnTo>
                <a:lnTo>
                  <a:pt x="5209667" y="1963162"/>
                </a:lnTo>
                <a:lnTo>
                  <a:pt x="5220627" y="1962079"/>
                </a:lnTo>
                <a:lnTo>
                  <a:pt x="5230611" y="1963812"/>
                </a:lnTo>
                <a:lnTo>
                  <a:pt x="5233107" y="1958290"/>
                </a:lnTo>
                <a:lnTo>
                  <a:pt x="5230611" y="1963811"/>
                </a:lnTo>
                <a:lnTo>
                  <a:pt x="5220627" y="1962079"/>
                </a:lnTo>
                <a:lnTo>
                  <a:pt x="5209667" y="1963162"/>
                </a:lnTo>
                <a:lnTo>
                  <a:pt x="5190243" y="1849478"/>
                </a:lnTo>
                <a:lnTo>
                  <a:pt x="5253398" y="1837568"/>
                </a:lnTo>
                <a:close/>
                <a:moveTo>
                  <a:pt x="4302613" y="1837397"/>
                </a:moveTo>
                <a:lnTo>
                  <a:pt x="4302682" y="1838092"/>
                </a:lnTo>
                <a:lnTo>
                  <a:pt x="4302684" y="1838109"/>
                </a:lnTo>
                <a:close/>
                <a:moveTo>
                  <a:pt x="5744111" y="1837026"/>
                </a:moveTo>
                <a:lnTo>
                  <a:pt x="5744110" y="1837027"/>
                </a:lnTo>
                <a:lnTo>
                  <a:pt x="5746389" y="1844064"/>
                </a:lnTo>
                <a:lnTo>
                  <a:pt x="5746715" y="1847745"/>
                </a:lnTo>
                <a:lnTo>
                  <a:pt x="5748776" y="1850777"/>
                </a:lnTo>
                <a:lnTo>
                  <a:pt x="5749645" y="1855757"/>
                </a:lnTo>
                <a:lnTo>
                  <a:pt x="5754094" y="1863012"/>
                </a:lnTo>
                <a:lnTo>
                  <a:pt x="5754962" y="1867018"/>
                </a:lnTo>
                <a:lnTo>
                  <a:pt x="5760171" y="1870698"/>
                </a:lnTo>
                <a:lnTo>
                  <a:pt x="5762015" y="1880551"/>
                </a:lnTo>
                <a:lnTo>
                  <a:pt x="5759930" y="1882401"/>
                </a:lnTo>
                <a:lnTo>
                  <a:pt x="5762016" y="1880551"/>
                </a:lnTo>
                <a:lnTo>
                  <a:pt x="5760172" y="1870698"/>
                </a:lnTo>
                <a:lnTo>
                  <a:pt x="5754963" y="1867017"/>
                </a:lnTo>
                <a:lnTo>
                  <a:pt x="5754094" y="1863011"/>
                </a:lnTo>
                <a:lnTo>
                  <a:pt x="5749645" y="1855757"/>
                </a:lnTo>
                <a:lnTo>
                  <a:pt x="5748778" y="1850776"/>
                </a:lnTo>
                <a:lnTo>
                  <a:pt x="5746715" y="1847745"/>
                </a:lnTo>
                <a:lnTo>
                  <a:pt x="5746390" y="1844064"/>
                </a:lnTo>
                <a:close/>
                <a:moveTo>
                  <a:pt x="6095271" y="1836810"/>
                </a:moveTo>
                <a:lnTo>
                  <a:pt x="6095596" y="1839841"/>
                </a:lnTo>
                <a:lnTo>
                  <a:pt x="6097134" y="1843558"/>
                </a:lnTo>
                <a:lnTo>
                  <a:pt x="6095597" y="1839842"/>
                </a:lnTo>
                <a:lnTo>
                  <a:pt x="6095272" y="1836811"/>
                </a:lnTo>
                <a:close/>
                <a:moveTo>
                  <a:pt x="4137306" y="1835727"/>
                </a:moveTo>
                <a:lnTo>
                  <a:pt x="4137306" y="1835728"/>
                </a:lnTo>
                <a:lnTo>
                  <a:pt x="4147723" y="1838543"/>
                </a:lnTo>
                <a:lnTo>
                  <a:pt x="4151846" y="1838110"/>
                </a:lnTo>
                <a:lnTo>
                  <a:pt x="4155970" y="1841575"/>
                </a:lnTo>
                <a:lnTo>
                  <a:pt x="4155970" y="1841573"/>
                </a:lnTo>
                <a:lnTo>
                  <a:pt x="4151847" y="1838109"/>
                </a:lnTo>
                <a:lnTo>
                  <a:pt x="4147723" y="1838542"/>
                </a:lnTo>
                <a:close/>
                <a:moveTo>
                  <a:pt x="4988835" y="1834537"/>
                </a:moveTo>
                <a:lnTo>
                  <a:pt x="4988835" y="1837569"/>
                </a:lnTo>
                <a:lnTo>
                  <a:pt x="4986665" y="1841358"/>
                </a:lnTo>
                <a:lnTo>
                  <a:pt x="4985688" y="1846664"/>
                </a:lnTo>
                <a:lnTo>
                  <a:pt x="4983084" y="1848395"/>
                </a:lnTo>
                <a:lnTo>
                  <a:pt x="4981564" y="1853376"/>
                </a:lnTo>
                <a:lnTo>
                  <a:pt x="4979611" y="1857166"/>
                </a:lnTo>
                <a:lnTo>
                  <a:pt x="4979611" y="1865936"/>
                </a:lnTo>
                <a:lnTo>
                  <a:pt x="4977006" y="1867776"/>
                </a:lnTo>
                <a:lnTo>
                  <a:pt x="4975488" y="1872107"/>
                </a:lnTo>
                <a:lnTo>
                  <a:pt x="4977766" y="1880335"/>
                </a:lnTo>
                <a:lnTo>
                  <a:pt x="4981781" y="1880335"/>
                </a:lnTo>
                <a:lnTo>
                  <a:pt x="4982691" y="1880067"/>
                </a:lnTo>
                <a:lnTo>
                  <a:pt x="4980696" y="1872864"/>
                </a:lnTo>
                <a:lnTo>
                  <a:pt x="4982215" y="1868533"/>
                </a:lnTo>
                <a:lnTo>
                  <a:pt x="4984819" y="1866693"/>
                </a:lnTo>
                <a:lnTo>
                  <a:pt x="4984819" y="1857923"/>
                </a:lnTo>
                <a:lnTo>
                  <a:pt x="4986772" y="1854133"/>
                </a:lnTo>
                <a:lnTo>
                  <a:pt x="4988292" y="1849153"/>
                </a:lnTo>
                <a:lnTo>
                  <a:pt x="4990897" y="1847421"/>
                </a:lnTo>
                <a:lnTo>
                  <a:pt x="4991873" y="1842115"/>
                </a:lnTo>
                <a:lnTo>
                  <a:pt x="4994044" y="1838326"/>
                </a:lnTo>
                <a:lnTo>
                  <a:pt x="4994044" y="1837052"/>
                </a:lnTo>
                <a:lnTo>
                  <a:pt x="4993502" y="1837352"/>
                </a:lnTo>
                <a:lnTo>
                  <a:pt x="4991222" y="1835403"/>
                </a:lnTo>
                <a:close/>
                <a:moveTo>
                  <a:pt x="4073715" y="1833454"/>
                </a:moveTo>
                <a:lnTo>
                  <a:pt x="4080768" y="1833778"/>
                </a:lnTo>
                <a:lnTo>
                  <a:pt x="4082952" y="1837840"/>
                </a:lnTo>
                <a:lnTo>
                  <a:pt x="4080769" y="1833778"/>
                </a:lnTo>
                <a:close/>
                <a:moveTo>
                  <a:pt x="4117664" y="1833346"/>
                </a:moveTo>
                <a:lnTo>
                  <a:pt x="4117664" y="1833346"/>
                </a:lnTo>
                <a:lnTo>
                  <a:pt x="4123198" y="1836811"/>
                </a:lnTo>
                <a:lnTo>
                  <a:pt x="4122651" y="1841453"/>
                </a:lnTo>
                <a:lnTo>
                  <a:pt x="4123198" y="1836810"/>
                </a:lnTo>
                <a:close/>
                <a:moveTo>
                  <a:pt x="4166387" y="1830530"/>
                </a:moveTo>
                <a:lnTo>
                  <a:pt x="4157056" y="1832587"/>
                </a:lnTo>
                <a:lnTo>
                  <a:pt x="4157056" y="1832587"/>
                </a:lnTo>
                <a:lnTo>
                  <a:pt x="4166388" y="1830531"/>
                </a:lnTo>
                <a:close/>
                <a:moveTo>
                  <a:pt x="5011190" y="1827933"/>
                </a:moveTo>
                <a:lnTo>
                  <a:pt x="5008323" y="1828690"/>
                </a:lnTo>
                <a:lnTo>
                  <a:pt x="5010538" y="1828690"/>
                </a:lnTo>
                <a:cubicBezTo>
                  <a:pt x="5011203" y="1829132"/>
                  <a:pt x="5011936" y="1829461"/>
                  <a:pt x="5012709" y="1829664"/>
                </a:cubicBezTo>
                <a:lnTo>
                  <a:pt x="5012879" y="1829619"/>
                </a:lnTo>
                <a:close/>
                <a:moveTo>
                  <a:pt x="5003051" y="1827933"/>
                </a:moveTo>
                <a:lnTo>
                  <a:pt x="5006524" y="1829232"/>
                </a:lnTo>
                <a:lnTo>
                  <a:pt x="5007174" y="1831181"/>
                </a:lnTo>
                <a:lnTo>
                  <a:pt x="5003919" y="1833563"/>
                </a:lnTo>
                <a:lnTo>
                  <a:pt x="5000772" y="1833563"/>
                </a:lnTo>
                <a:lnTo>
                  <a:pt x="4998493" y="1835403"/>
                </a:lnTo>
                <a:lnTo>
                  <a:pt x="4996540" y="1833455"/>
                </a:lnTo>
                <a:lnTo>
                  <a:pt x="4995611" y="1835864"/>
                </a:lnTo>
                <a:lnTo>
                  <a:pt x="4996431" y="1836161"/>
                </a:lnTo>
                <a:lnTo>
                  <a:pt x="4998710" y="1838109"/>
                </a:lnTo>
                <a:lnTo>
                  <a:pt x="5000663" y="1837027"/>
                </a:lnTo>
                <a:lnTo>
                  <a:pt x="5001748" y="1834211"/>
                </a:lnTo>
                <a:lnTo>
                  <a:pt x="5003701" y="1836161"/>
                </a:lnTo>
                <a:lnTo>
                  <a:pt x="5005981" y="1834320"/>
                </a:lnTo>
                <a:lnTo>
                  <a:pt x="5009127" y="1834320"/>
                </a:lnTo>
                <a:lnTo>
                  <a:pt x="5012383" y="1831938"/>
                </a:lnTo>
                <a:lnTo>
                  <a:pt x="5011732" y="1829989"/>
                </a:lnTo>
                <a:lnTo>
                  <a:pt x="5008286" y="1828700"/>
                </a:lnTo>
                <a:lnTo>
                  <a:pt x="5007501" y="1828907"/>
                </a:lnTo>
                <a:cubicBezTo>
                  <a:pt x="5006728" y="1828703"/>
                  <a:pt x="5005994" y="1828374"/>
                  <a:pt x="5005330" y="1827933"/>
                </a:cubicBezTo>
                <a:close/>
                <a:moveTo>
                  <a:pt x="2363173" y="1825488"/>
                </a:moveTo>
                <a:lnTo>
                  <a:pt x="2362081" y="1826199"/>
                </a:lnTo>
                <a:lnTo>
                  <a:pt x="2362082" y="1826199"/>
                </a:lnTo>
                <a:close/>
                <a:moveTo>
                  <a:pt x="2354810" y="1825334"/>
                </a:moveTo>
                <a:lnTo>
                  <a:pt x="2352640" y="1826958"/>
                </a:lnTo>
                <a:lnTo>
                  <a:pt x="2352641" y="1826958"/>
                </a:lnTo>
                <a:lnTo>
                  <a:pt x="2354811" y="1825334"/>
                </a:lnTo>
                <a:close/>
                <a:moveTo>
                  <a:pt x="5731307" y="1824683"/>
                </a:moveTo>
                <a:lnTo>
                  <a:pt x="5731306" y="1824684"/>
                </a:lnTo>
                <a:lnTo>
                  <a:pt x="5731197" y="1828040"/>
                </a:lnTo>
                <a:lnTo>
                  <a:pt x="5735212" y="1831180"/>
                </a:lnTo>
                <a:lnTo>
                  <a:pt x="5741831" y="1830747"/>
                </a:lnTo>
                <a:lnTo>
                  <a:pt x="5747366" y="1831505"/>
                </a:lnTo>
                <a:lnTo>
                  <a:pt x="5747475" y="1833670"/>
                </a:lnTo>
                <a:lnTo>
                  <a:pt x="5747367" y="1831504"/>
                </a:lnTo>
                <a:lnTo>
                  <a:pt x="5741832" y="1830746"/>
                </a:lnTo>
                <a:lnTo>
                  <a:pt x="5735213" y="1831180"/>
                </a:lnTo>
                <a:lnTo>
                  <a:pt x="5731198" y="1828039"/>
                </a:lnTo>
                <a:close/>
                <a:moveTo>
                  <a:pt x="6084202" y="1824576"/>
                </a:moveTo>
                <a:lnTo>
                  <a:pt x="6084853" y="1828798"/>
                </a:lnTo>
                <a:lnTo>
                  <a:pt x="6085830" y="1831504"/>
                </a:lnTo>
                <a:lnTo>
                  <a:pt x="6085831" y="1831505"/>
                </a:lnTo>
                <a:lnTo>
                  <a:pt x="6084854" y="1828798"/>
                </a:lnTo>
                <a:lnTo>
                  <a:pt x="6084203" y="1824576"/>
                </a:lnTo>
                <a:close/>
                <a:moveTo>
                  <a:pt x="4559109" y="1824034"/>
                </a:moveTo>
                <a:lnTo>
                  <a:pt x="4558024" y="1846445"/>
                </a:lnTo>
                <a:lnTo>
                  <a:pt x="4558024" y="1846446"/>
                </a:lnTo>
                <a:lnTo>
                  <a:pt x="4559110" y="1824034"/>
                </a:lnTo>
                <a:close/>
                <a:moveTo>
                  <a:pt x="4296716" y="1821977"/>
                </a:moveTo>
                <a:lnTo>
                  <a:pt x="4295631" y="1822301"/>
                </a:lnTo>
                <a:lnTo>
                  <a:pt x="4289771" y="1824250"/>
                </a:lnTo>
                <a:lnTo>
                  <a:pt x="4279353" y="1830097"/>
                </a:lnTo>
                <a:lnTo>
                  <a:pt x="4276857" y="1829772"/>
                </a:lnTo>
                <a:lnTo>
                  <a:pt x="4273385" y="1830205"/>
                </a:lnTo>
                <a:lnTo>
                  <a:pt x="4267959" y="1832695"/>
                </a:lnTo>
                <a:lnTo>
                  <a:pt x="4262750" y="1832695"/>
                </a:lnTo>
                <a:lnTo>
                  <a:pt x="4257107" y="1834969"/>
                </a:lnTo>
                <a:lnTo>
                  <a:pt x="4253961" y="1831288"/>
                </a:lnTo>
                <a:lnTo>
                  <a:pt x="4257107" y="1834969"/>
                </a:lnTo>
                <a:lnTo>
                  <a:pt x="4262750" y="1832696"/>
                </a:lnTo>
                <a:lnTo>
                  <a:pt x="4267959" y="1832696"/>
                </a:lnTo>
                <a:lnTo>
                  <a:pt x="4273384" y="1830206"/>
                </a:lnTo>
                <a:lnTo>
                  <a:pt x="4276857" y="1829773"/>
                </a:lnTo>
                <a:lnTo>
                  <a:pt x="4279354" y="1830097"/>
                </a:lnTo>
                <a:lnTo>
                  <a:pt x="4289771" y="1824251"/>
                </a:lnTo>
                <a:lnTo>
                  <a:pt x="4295631" y="1822302"/>
                </a:lnTo>
                <a:lnTo>
                  <a:pt x="4301599" y="1829231"/>
                </a:lnTo>
                <a:lnTo>
                  <a:pt x="4301623" y="1829424"/>
                </a:lnTo>
                <a:lnTo>
                  <a:pt x="4302247" y="1834406"/>
                </a:lnTo>
                <a:lnTo>
                  <a:pt x="4301599" y="1829231"/>
                </a:lnTo>
                <a:lnTo>
                  <a:pt x="4295631" y="1822302"/>
                </a:lnTo>
                <a:close/>
                <a:moveTo>
                  <a:pt x="5010430" y="1821328"/>
                </a:moveTo>
                <a:lnTo>
                  <a:pt x="5007283" y="1821977"/>
                </a:lnTo>
                <a:lnTo>
                  <a:pt x="5014228" y="1825984"/>
                </a:lnTo>
                <a:lnTo>
                  <a:pt x="5015205" y="1828691"/>
                </a:lnTo>
                <a:lnTo>
                  <a:pt x="5014689" y="1829141"/>
                </a:lnTo>
                <a:lnTo>
                  <a:pt x="5016398" y="1828690"/>
                </a:lnTo>
                <a:lnTo>
                  <a:pt x="5018676" y="1830964"/>
                </a:lnTo>
                <a:lnTo>
                  <a:pt x="5020413" y="1829448"/>
                </a:lnTo>
                <a:lnTo>
                  <a:pt x="5019436" y="1826741"/>
                </a:lnTo>
                <a:lnTo>
                  <a:pt x="5012492" y="1822735"/>
                </a:lnTo>
                <a:lnTo>
                  <a:pt x="5014294" y="1822363"/>
                </a:lnTo>
                <a:close/>
                <a:moveTo>
                  <a:pt x="5735538" y="1820678"/>
                </a:moveTo>
                <a:lnTo>
                  <a:pt x="5735537" y="1820678"/>
                </a:lnTo>
                <a:lnTo>
                  <a:pt x="5732055" y="1823975"/>
                </a:lnTo>
                <a:close/>
                <a:moveTo>
                  <a:pt x="5739552" y="1819054"/>
                </a:moveTo>
                <a:lnTo>
                  <a:pt x="5737240" y="1819989"/>
                </a:lnTo>
                <a:lnTo>
                  <a:pt x="5739552" y="1819054"/>
                </a:lnTo>
                <a:close/>
                <a:moveTo>
                  <a:pt x="4201872" y="1818837"/>
                </a:moveTo>
                <a:lnTo>
                  <a:pt x="4201872" y="1818838"/>
                </a:lnTo>
                <a:lnTo>
                  <a:pt x="4213700" y="1825767"/>
                </a:lnTo>
                <a:lnTo>
                  <a:pt x="4228133" y="1828474"/>
                </a:lnTo>
                <a:lnTo>
                  <a:pt x="4236055" y="1827824"/>
                </a:lnTo>
                <a:lnTo>
                  <a:pt x="4239527" y="1830964"/>
                </a:lnTo>
                <a:lnTo>
                  <a:pt x="4239527" y="1830963"/>
                </a:lnTo>
                <a:lnTo>
                  <a:pt x="4243217" y="1831396"/>
                </a:lnTo>
                <a:lnTo>
                  <a:pt x="4239528" y="1830963"/>
                </a:lnTo>
                <a:lnTo>
                  <a:pt x="4236055" y="1827823"/>
                </a:lnTo>
                <a:lnTo>
                  <a:pt x="4228133" y="1828473"/>
                </a:lnTo>
                <a:lnTo>
                  <a:pt x="4213700" y="1825766"/>
                </a:lnTo>
                <a:close/>
                <a:moveTo>
                  <a:pt x="2368141" y="1818662"/>
                </a:moveTo>
                <a:lnTo>
                  <a:pt x="2366205" y="1820786"/>
                </a:lnTo>
                <a:lnTo>
                  <a:pt x="2365121" y="1823761"/>
                </a:lnTo>
                <a:lnTo>
                  <a:pt x="2364903" y="1824359"/>
                </a:lnTo>
                <a:lnTo>
                  <a:pt x="2364903" y="1824359"/>
                </a:lnTo>
                <a:lnTo>
                  <a:pt x="2365121" y="1823761"/>
                </a:lnTo>
                <a:lnTo>
                  <a:pt x="2366205" y="1820786"/>
                </a:lnTo>
                <a:close/>
                <a:moveTo>
                  <a:pt x="5753938" y="1817608"/>
                </a:moveTo>
                <a:lnTo>
                  <a:pt x="5753226" y="1817754"/>
                </a:lnTo>
                <a:lnTo>
                  <a:pt x="5753226" y="1817754"/>
                </a:lnTo>
                <a:lnTo>
                  <a:pt x="5753225" y="1817754"/>
                </a:lnTo>
                <a:lnTo>
                  <a:pt x="5751480" y="1818420"/>
                </a:lnTo>
                <a:lnTo>
                  <a:pt x="5753226" y="1817754"/>
                </a:lnTo>
                <a:close/>
                <a:moveTo>
                  <a:pt x="4075840" y="1816720"/>
                </a:moveTo>
                <a:lnTo>
                  <a:pt x="4073823" y="1817429"/>
                </a:lnTo>
                <a:lnTo>
                  <a:pt x="4067637" y="1827282"/>
                </a:lnTo>
                <a:lnTo>
                  <a:pt x="4066661" y="1834537"/>
                </a:lnTo>
                <a:lnTo>
                  <a:pt x="4066661" y="1839083"/>
                </a:lnTo>
                <a:lnTo>
                  <a:pt x="4066662" y="1839083"/>
                </a:lnTo>
                <a:lnTo>
                  <a:pt x="4066662" y="1834536"/>
                </a:lnTo>
                <a:lnTo>
                  <a:pt x="4067638" y="1827282"/>
                </a:lnTo>
                <a:lnTo>
                  <a:pt x="4073823" y="1817430"/>
                </a:lnTo>
                <a:close/>
                <a:moveTo>
                  <a:pt x="6059243" y="1814831"/>
                </a:moveTo>
                <a:lnTo>
                  <a:pt x="6067279" y="1820572"/>
                </a:lnTo>
                <a:lnTo>
                  <a:pt x="6059244" y="1814831"/>
                </a:lnTo>
                <a:close/>
                <a:moveTo>
                  <a:pt x="6895742" y="1814058"/>
                </a:moveTo>
                <a:lnTo>
                  <a:pt x="6897535" y="1816130"/>
                </a:lnTo>
                <a:lnTo>
                  <a:pt x="6905132" y="1817863"/>
                </a:lnTo>
                <a:lnTo>
                  <a:pt x="6905131" y="1817862"/>
                </a:lnTo>
                <a:lnTo>
                  <a:pt x="6897535" y="1816130"/>
                </a:lnTo>
                <a:close/>
                <a:moveTo>
                  <a:pt x="5781874" y="1813532"/>
                </a:moveTo>
                <a:lnTo>
                  <a:pt x="5780664" y="1814304"/>
                </a:lnTo>
                <a:lnTo>
                  <a:pt x="5781875" y="1813532"/>
                </a:lnTo>
                <a:close/>
                <a:moveTo>
                  <a:pt x="4189176" y="1813315"/>
                </a:moveTo>
                <a:lnTo>
                  <a:pt x="4176697" y="1820569"/>
                </a:lnTo>
                <a:lnTo>
                  <a:pt x="4168775" y="1817105"/>
                </a:lnTo>
                <a:lnTo>
                  <a:pt x="4168775" y="1817106"/>
                </a:lnTo>
                <a:lnTo>
                  <a:pt x="4168775" y="1817105"/>
                </a:lnTo>
                <a:lnTo>
                  <a:pt x="4176697" y="1820570"/>
                </a:lnTo>
                <a:lnTo>
                  <a:pt x="4189176" y="1813316"/>
                </a:lnTo>
                <a:lnTo>
                  <a:pt x="4194276" y="1814724"/>
                </a:lnTo>
                <a:lnTo>
                  <a:pt x="4202632" y="1814074"/>
                </a:lnTo>
                <a:lnTo>
                  <a:pt x="4202632" y="1814073"/>
                </a:lnTo>
                <a:lnTo>
                  <a:pt x="4194276" y="1814722"/>
                </a:lnTo>
                <a:close/>
                <a:moveTo>
                  <a:pt x="4162915" y="1813315"/>
                </a:moveTo>
                <a:lnTo>
                  <a:pt x="4158792" y="1817105"/>
                </a:lnTo>
                <a:lnTo>
                  <a:pt x="4158792" y="1817105"/>
                </a:lnTo>
                <a:lnTo>
                  <a:pt x="4162916" y="1813315"/>
                </a:lnTo>
                <a:lnTo>
                  <a:pt x="4166713" y="1813315"/>
                </a:lnTo>
                <a:lnTo>
                  <a:pt x="4166713" y="1813315"/>
                </a:lnTo>
                <a:close/>
                <a:moveTo>
                  <a:pt x="4596331" y="1811258"/>
                </a:moveTo>
                <a:lnTo>
                  <a:pt x="4597090" y="1815589"/>
                </a:lnTo>
                <a:lnTo>
                  <a:pt x="4596113" y="1819487"/>
                </a:lnTo>
                <a:lnTo>
                  <a:pt x="4599043" y="1823710"/>
                </a:lnTo>
                <a:lnTo>
                  <a:pt x="4598175" y="1826200"/>
                </a:lnTo>
                <a:lnTo>
                  <a:pt x="4591122" y="1826416"/>
                </a:lnTo>
                <a:lnTo>
                  <a:pt x="4587324" y="1823276"/>
                </a:lnTo>
                <a:lnTo>
                  <a:pt x="4581138" y="1825333"/>
                </a:lnTo>
                <a:lnTo>
                  <a:pt x="4576472" y="1825550"/>
                </a:lnTo>
                <a:lnTo>
                  <a:pt x="4575821" y="1834104"/>
                </a:lnTo>
                <a:lnTo>
                  <a:pt x="4575929" y="1839950"/>
                </a:lnTo>
                <a:lnTo>
                  <a:pt x="4575930" y="1839950"/>
                </a:lnTo>
                <a:lnTo>
                  <a:pt x="4575821" y="1834104"/>
                </a:lnTo>
                <a:lnTo>
                  <a:pt x="4576473" y="1825550"/>
                </a:lnTo>
                <a:lnTo>
                  <a:pt x="4581139" y="1825334"/>
                </a:lnTo>
                <a:lnTo>
                  <a:pt x="4587324" y="1823277"/>
                </a:lnTo>
                <a:lnTo>
                  <a:pt x="4591122" y="1826417"/>
                </a:lnTo>
                <a:lnTo>
                  <a:pt x="4598176" y="1826200"/>
                </a:lnTo>
                <a:lnTo>
                  <a:pt x="4599044" y="1823710"/>
                </a:lnTo>
                <a:lnTo>
                  <a:pt x="4596114" y="1819487"/>
                </a:lnTo>
                <a:lnTo>
                  <a:pt x="4597091" y="1815589"/>
                </a:lnTo>
                <a:lnTo>
                  <a:pt x="4596331" y="1811259"/>
                </a:lnTo>
                <a:close/>
                <a:moveTo>
                  <a:pt x="6047849" y="1810717"/>
                </a:moveTo>
                <a:lnTo>
                  <a:pt x="6049384" y="1812843"/>
                </a:lnTo>
                <a:lnTo>
                  <a:pt x="6049802" y="1813423"/>
                </a:lnTo>
                <a:lnTo>
                  <a:pt x="6049802" y="1813423"/>
                </a:lnTo>
                <a:lnTo>
                  <a:pt x="6049384" y="1812843"/>
                </a:lnTo>
                <a:lnTo>
                  <a:pt x="6047850" y="1810717"/>
                </a:lnTo>
                <a:close/>
                <a:moveTo>
                  <a:pt x="7116847" y="1809742"/>
                </a:moveTo>
                <a:lnTo>
                  <a:pt x="7115870" y="1814073"/>
                </a:lnTo>
                <a:lnTo>
                  <a:pt x="7115653" y="1818079"/>
                </a:lnTo>
                <a:lnTo>
                  <a:pt x="7112940" y="1820028"/>
                </a:lnTo>
                <a:lnTo>
                  <a:pt x="7110988" y="1817754"/>
                </a:lnTo>
                <a:lnTo>
                  <a:pt x="7110445" y="1814073"/>
                </a:lnTo>
                <a:lnTo>
                  <a:pt x="7114243" y="1810717"/>
                </a:lnTo>
                <a:close/>
                <a:moveTo>
                  <a:pt x="4144328" y="1807686"/>
                </a:moveTo>
                <a:lnTo>
                  <a:pt x="4143165" y="1810392"/>
                </a:lnTo>
                <a:lnTo>
                  <a:pt x="4144685" y="1813207"/>
                </a:lnTo>
                <a:lnTo>
                  <a:pt x="4147072" y="1813315"/>
                </a:lnTo>
                <a:lnTo>
                  <a:pt x="4150871" y="1813532"/>
                </a:lnTo>
                <a:lnTo>
                  <a:pt x="4153800" y="1812341"/>
                </a:lnTo>
                <a:lnTo>
                  <a:pt x="4153799" y="1812340"/>
                </a:lnTo>
                <a:lnTo>
                  <a:pt x="4150870" y="1813532"/>
                </a:lnTo>
                <a:lnTo>
                  <a:pt x="4147071" y="1813315"/>
                </a:lnTo>
                <a:lnTo>
                  <a:pt x="4147071" y="1813315"/>
                </a:lnTo>
                <a:lnTo>
                  <a:pt x="4144685" y="1813207"/>
                </a:lnTo>
                <a:lnTo>
                  <a:pt x="4143166" y="1810392"/>
                </a:lnTo>
                <a:close/>
                <a:moveTo>
                  <a:pt x="6907193" y="1806819"/>
                </a:moveTo>
                <a:lnTo>
                  <a:pt x="6904480" y="1808442"/>
                </a:lnTo>
                <a:lnTo>
                  <a:pt x="6904424" y="1808738"/>
                </a:lnTo>
                <a:lnTo>
                  <a:pt x="6905999" y="1807795"/>
                </a:lnTo>
                <a:lnTo>
                  <a:pt x="6911642" y="1808444"/>
                </a:lnTo>
                <a:lnTo>
                  <a:pt x="6913270" y="1808444"/>
                </a:lnTo>
                <a:lnTo>
                  <a:pt x="6913270" y="1807252"/>
                </a:lnTo>
                <a:lnTo>
                  <a:pt x="6912836" y="1807360"/>
                </a:lnTo>
                <a:close/>
                <a:moveTo>
                  <a:pt x="4144576" y="1806711"/>
                </a:moveTo>
                <a:lnTo>
                  <a:pt x="4144576" y="1806711"/>
                </a:lnTo>
                <a:lnTo>
                  <a:pt x="4147289" y="1808876"/>
                </a:lnTo>
                <a:close/>
                <a:moveTo>
                  <a:pt x="5787397" y="1805590"/>
                </a:moveTo>
                <a:lnTo>
                  <a:pt x="5785455" y="1809742"/>
                </a:lnTo>
                <a:lnTo>
                  <a:pt x="5785035" y="1813408"/>
                </a:lnTo>
                <a:lnTo>
                  <a:pt x="5785456" y="1809742"/>
                </a:lnTo>
                <a:close/>
                <a:moveTo>
                  <a:pt x="6891349" y="1805411"/>
                </a:moveTo>
                <a:lnTo>
                  <a:pt x="6888202" y="1806819"/>
                </a:lnTo>
                <a:lnTo>
                  <a:pt x="6888202" y="1812015"/>
                </a:lnTo>
                <a:lnTo>
                  <a:pt x="6887876" y="1816780"/>
                </a:lnTo>
                <a:lnTo>
                  <a:pt x="6889613" y="1820244"/>
                </a:lnTo>
                <a:lnTo>
                  <a:pt x="6887876" y="1824683"/>
                </a:lnTo>
                <a:lnTo>
                  <a:pt x="6882993" y="1825441"/>
                </a:lnTo>
                <a:lnTo>
                  <a:pt x="6879195" y="1830529"/>
                </a:lnTo>
                <a:lnTo>
                  <a:pt x="6879195" y="1835727"/>
                </a:lnTo>
                <a:lnTo>
                  <a:pt x="6869971" y="1843306"/>
                </a:lnTo>
                <a:lnTo>
                  <a:pt x="6864437" y="1843955"/>
                </a:lnTo>
                <a:lnTo>
                  <a:pt x="6860205" y="1846445"/>
                </a:lnTo>
                <a:lnTo>
                  <a:pt x="6860206" y="1846446"/>
                </a:lnTo>
                <a:lnTo>
                  <a:pt x="6864438" y="1843956"/>
                </a:lnTo>
                <a:lnTo>
                  <a:pt x="6869973" y="1843307"/>
                </a:lnTo>
                <a:lnTo>
                  <a:pt x="6879196" y="1835728"/>
                </a:lnTo>
                <a:lnTo>
                  <a:pt x="6879196" y="1830530"/>
                </a:lnTo>
                <a:lnTo>
                  <a:pt x="6882995" y="1825442"/>
                </a:lnTo>
                <a:lnTo>
                  <a:pt x="6887877" y="1824684"/>
                </a:lnTo>
                <a:lnTo>
                  <a:pt x="6889614" y="1820245"/>
                </a:lnTo>
                <a:lnTo>
                  <a:pt x="6887877" y="1816781"/>
                </a:lnTo>
                <a:lnTo>
                  <a:pt x="6888203" y="1812016"/>
                </a:lnTo>
                <a:lnTo>
                  <a:pt x="6888203" y="1806820"/>
                </a:lnTo>
                <a:lnTo>
                  <a:pt x="6891350" y="1805412"/>
                </a:lnTo>
                <a:lnTo>
                  <a:pt x="6894224" y="1807826"/>
                </a:lnTo>
                <a:close/>
                <a:moveTo>
                  <a:pt x="4080701" y="1801159"/>
                </a:moveTo>
                <a:lnTo>
                  <a:pt x="4085543" y="1803680"/>
                </a:lnTo>
                <a:lnTo>
                  <a:pt x="4086411" y="1808227"/>
                </a:lnTo>
                <a:lnTo>
                  <a:pt x="4086412" y="1808226"/>
                </a:lnTo>
                <a:lnTo>
                  <a:pt x="4085543" y="1803679"/>
                </a:lnTo>
                <a:close/>
                <a:moveTo>
                  <a:pt x="4151708" y="1800008"/>
                </a:moveTo>
                <a:lnTo>
                  <a:pt x="4153474" y="1801946"/>
                </a:lnTo>
                <a:lnTo>
                  <a:pt x="4153475" y="1801947"/>
                </a:lnTo>
                <a:close/>
                <a:moveTo>
                  <a:pt x="4582657" y="1799241"/>
                </a:moveTo>
                <a:lnTo>
                  <a:pt x="4583526" y="1801839"/>
                </a:lnTo>
                <a:lnTo>
                  <a:pt x="4583526" y="1801839"/>
                </a:lnTo>
                <a:lnTo>
                  <a:pt x="4582658" y="1799241"/>
                </a:lnTo>
                <a:close/>
                <a:moveTo>
                  <a:pt x="4102579" y="1798158"/>
                </a:moveTo>
                <a:lnTo>
                  <a:pt x="4102577" y="1798159"/>
                </a:lnTo>
                <a:lnTo>
                  <a:pt x="4102471" y="1798265"/>
                </a:lnTo>
                <a:lnTo>
                  <a:pt x="4094970" y="1800617"/>
                </a:lnTo>
                <a:lnTo>
                  <a:pt x="4094908" y="1800637"/>
                </a:lnTo>
                <a:lnTo>
                  <a:pt x="4102472" y="1798265"/>
                </a:lnTo>
                <a:close/>
                <a:moveTo>
                  <a:pt x="2701847" y="1798157"/>
                </a:moveTo>
                <a:lnTo>
                  <a:pt x="2702064" y="1800430"/>
                </a:lnTo>
                <a:lnTo>
                  <a:pt x="2700544" y="1802596"/>
                </a:lnTo>
                <a:lnTo>
                  <a:pt x="2699351" y="1801188"/>
                </a:lnTo>
                <a:lnTo>
                  <a:pt x="2700002" y="1798806"/>
                </a:lnTo>
                <a:close/>
                <a:moveTo>
                  <a:pt x="6447625" y="1796967"/>
                </a:moveTo>
                <a:lnTo>
                  <a:pt x="6458369" y="1804005"/>
                </a:lnTo>
                <a:lnTo>
                  <a:pt x="6468134" y="1810067"/>
                </a:lnTo>
                <a:lnTo>
                  <a:pt x="6468134" y="1810066"/>
                </a:lnTo>
                <a:lnTo>
                  <a:pt x="6458368" y="1804003"/>
                </a:lnTo>
                <a:close/>
                <a:moveTo>
                  <a:pt x="4089232" y="1796966"/>
                </a:moveTo>
                <a:lnTo>
                  <a:pt x="4083698" y="1797399"/>
                </a:lnTo>
                <a:lnTo>
                  <a:pt x="4080551" y="1801081"/>
                </a:lnTo>
                <a:lnTo>
                  <a:pt x="4080551" y="1801081"/>
                </a:lnTo>
                <a:lnTo>
                  <a:pt x="4083699" y="1797400"/>
                </a:lnTo>
                <a:lnTo>
                  <a:pt x="4089232" y="1796967"/>
                </a:lnTo>
                <a:close/>
                <a:moveTo>
                  <a:pt x="5054812" y="1796533"/>
                </a:moveTo>
                <a:lnTo>
                  <a:pt x="5052099" y="1800323"/>
                </a:lnTo>
                <a:lnTo>
                  <a:pt x="5049496" y="1799998"/>
                </a:lnTo>
                <a:lnTo>
                  <a:pt x="5047433" y="1803030"/>
                </a:lnTo>
                <a:lnTo>
                  <a:pt x="5043418" y="1806386"/>
                </a:lnTo>
                <a:lnTo>
                  <a:pt x="5041248" y="1806061"/>
                </a:lnTo>
                <a:lnTo>
                  <a:pt x="5040380" y="1808876"/>
                </a:lnTo>
                <a:lnTo>
                  <a:pt x="5038644" y="1810717"/>
                </a:lnTo>
                <a:lnTo>
                  <a:pt x="5037016" y="1808876"/>
                </a:lnTo>
                <a:lnTo>
                  <a:pt x="5034845" y="1808660"/>
                </a:lnTo>
                <a:lnTo>
                  <a:pt x="5033326" y="1811150"/>
                </a:lnTo>
                <a:lnTo>
                  <a:pt x="5030071" y="1811042"/>
                </a:lnTo>
                <a:lnTo>
                  <a:pt x="5028878" y="1808660"/>
                </a:lnTo>
                <a:lnTo>
                  <a:pt x="5027249" y="1808768"/>
                </a:lnTo>
                <a:lnTo>
                  <a:pt x="5027033" y="1808660"/>
                </a:lnTo>
                <a:lnTo>
                  <a:pt x="5021172" y="1804870"/>
                </a:lnTo>
                <a:lnTo>
                  <a:pt x="5018183" y="1805917"/>
                </a:lnTo>
                <a:lnTo>
                  <a:pt x="5022258" y="1808552"/>
                </a:lnTo>
                <a:lnTo>
                  <a:pt x="5022258" y="1810393"/>
                </a:lnTo>
                <a:lnTo>
                  <a:pt x="5022258" y="1812883"/>
                </a:lnTo>
                <a:lnTo>
                  <a:pt x="5018677" y="1813532"/>
                </a:lnTo>
                <a:lnTo>
                  <a:pt x="5020739" y="1815373"/>
                </a:lnTo>
                <a:lnTo>
                  <a:pt x="5020739" y="1818621"/>
                </a:lnTo>
                <a:lnTo>
                  <a:pt x="5018135" y="1818621"/>
                </a:lnTo>
                <a:lnTo>
                  <a:pt x="5020414" y="1820137"/>
                </a:lnTo>
                <a:lnTo>
                  <a:pt x="5020414" y="1822952"/>
                </a:lnTo>
                <a:lnTo>
                  <a:pt x="5016615" y="1821977"/>
                </a:lnTo>
                <a:lnTo>
                  <a:pt x="5015979" y="1822176"/>
                </a:lnTo>
                <a:lnTo>
                  <a:pt x="5020088" y="1823276"/>
                </a:lnTo>
                <a:lnTo>
                  <a:pt x="5021824" y="1822735"/>
                </a:lnTo>
                <a:lnTo>
                  <a:pt x="5025622" y="1823709"/>
                </a:lnTo>
                <a:lnTo>
                  <a:pt x="5025622" y="1820895"/>
                </a:lnTo>
                <a:lnTo>
                  <a:pt x="5023343" y="1819379"/>
                </a:lnTo>
                <a:lnTo>
                  <a:pt x="5025947" y="1819379"/>
                </a:lnTo>
                <a:lnTo>
                  <a:pt x="5025947" y="1816672"/>
                </a:lnTo>
                <a:lnTo>
                  <a:pt x="5023886" y="1814831"/>
                </a:lnTo>
                <a:lnTo>
                  <a:pt x="5027467" y="1814182"/>
                </a:lnTo>
                <a:lnTo>
                  <a:pt x="5027467" y="1811691"/>
                </a:lnTo>
                <a:lnTo>
                  <a:pt x="5027467" y="1809850"/>
                </a:lnTo>
                <a:lnTo>
                  <a:pt x="5029420" y="1809850"/>
                </a:lnTo>
                <a:lnTo>
                  <a:pt x="5030614" y="1812232"/>
                </a:lnTo>
                <a:lnTo>
                  <a:pt x="5033869" y="1812232"/>
                </a:lnTo>
                <a:lnTo>
                  <a:pt x="5035388" y="1809743"/>
                </a:lnTo>
                <a:lnTo>
                  <a:pt x="5037450" y="1809743"/>
                </a:lnTo>
                <a:lnTo>
                  <a:pt x="5039078" y="1811583"/>
                </a:lnTo>
                <a:lnTo>
                  <a:pt x="5040923" y="1809743"/>
                </a:lnTo>
                <a:lnTo>
                  <a:pt x="5041683" y="1806927"/>
                </a:lnTo>
                <a:lnTo>
                  <a:pt x="5043961" y="1806927"/>
                </a:lnTo>
                <a:lnTo>
                  <a:pt x="5047976" y="1803571"/>
                </a:lnTo>
                <a:lnTo>
                  <a:pt x="5049930" y="1800540"/>
                </a:lnTo>
                <a:lnTo>
                  <a:pt x="5052534" y="1800540"/>
                </a:lnTo>
                <a:lnTo>
                  <a:pt x="5055247" y="1796750"/>
                </a:lnTo>
                <a:lnTo>
                  <a:pt x="5057342" y="1796750"/>
                </a:lnTo>
                <a:lnTo>
                  <a:pt x="5057092" y="1796533"/>
                </a:lnTo>
                <a:close/>
                <a:moveTo>
                  <a:pt x="5085306" y="1796209"/>
                </a:moveTo>
                <a:lnTo>
                  <a:pt x="5082484" y="1796317"/>
                </a:lnTo>
                <a:lnTo>
                  <a:pt x="5081131" y="1797667"/>
                </a:lnTo>
                <a:lnTo>
                  <a:pt x="5081616" y="1798266"/>
                </a:lnTo>
                <a:lnTo>
                  <a:pt x="5083136" y="1796750"/>
                </a:lnTo>
                <a:lnTo>
                  <a:pt x="5085396" y="1796750"/>
                </a:lnTo>
                <a:close/>
                <a:moveTo>
                  <a:pt x="4539467" y="1795775"/>
                </a:moveTo>
                <a:lnTo>
                  <a:pt x="4540444" y="1800647"/>
                </a:lnTo>
                <a:lnTo>
                  <a:pt x="4553249" y="1810608"/>
                </a:lnTo>
                <a:lnTo>
                  <a:pt x="4554848" y="1816589"/>
                </a:lnTo>
                <a:lnTo>
                  <a:pt x="4553250" y="1810609"/>
                </a:lnTo>
                <a:lnTo>
                  <a:pt x="4540445" y="1800648"/>
                </a:lnTo>
                <a:lnTo>
                  <a:pt x="4539468" y="1795776"/>
                </a:lnTo>
                <a:close/>
                <a:moveTo>
                  <a:pt x="4118071" y="1794842"/>
                </a:moveTo>
                <a:lnTo>
                  <a:pt x="4118315" y="1796208"/>
                </a:lnTo>
                <a:lnTo>
                  <a:pt x="4116579" y="1799024"/>
                </a:lnTo>
                <a:lnTo>
                  <a:pt x="4110719" y="1796967"/>
                </a:lnTo>
                <a:lnTo>
                  <a:pt x="4110719" y="1796967"/>
                </a:lnTo>
                <a:lnTo>
                  <a:pt x="4116579" y="1799024"/>
                </a:lnTo>
                <a:lnTo>
                  <a:pt x="4118316" y="1796208"/>
                </a:lnTo>
                <a:close/>
                <a:moveTo>
                  <a:pt x="4129710" y="1794801"/>
                </a:moveTo>
                <a:lnTo>
                  <a:pt x="4127213" y="1796967"/>
                </a:lnTo>
                <a:lnTo>
                  <a:pt x="4129710" y="1794801"/>
                </a:lnTo>
                <a:lnTo>
                  <a:pt x="4132965" y="1794910"/>
                </a:lnTo>
                <a:lnTo>
                  <a:pt x="4139476" y="1799781"/>
                </a:lnTo>
                <a:lnTo>
                  <a:pt x="4132965" y="1794909"/>
                </a:lnTo>
                <a:close/>
                <a:moveTo>
                  <a:pt x="4200354" y="1794585"/>
                </a:moveTo>
                <a:lnTo>
                  <a:pt x="4200353" y="1794585"/>
                </a:lnTo>
                <a:lnTo>
                  <a:pt x="4205888" y="1796208"/>
                </a:lnTo>
                <a:close/>
                <a:moveTo>
                  <a:pt x="5094205" y="1794149"/>
                </a:moveTo>
                <a:lnTo>
                  <a:pt x="5094095" y="1794476"/>
                </a:lnTo>
                <a:lnTo>
                  <a:pt x="5091491" y="1795884"/>
                </a:lnTo>
                <a:lnTo>
                  <a:pt x="5091382" y="1798158"/>
                </a:lnTo>
                <a:lnTo>
                  <a:pt x="5088995" y="1799456"/>
                </a:lnTo>
                <a:lnTo>
                  <a:pt x="5085957" y="1798284"/>
                </a:lnTo>
                <a:lnTo>
                  <a:pt x="5085957" y="1798699"/>
                </a:lnTo>
                <a:lnTo>
                  <a:pt x="5089321" y="1799998"/>
                </a:lnTo>
                <a:lnTo>
                  <a:pt x="5091600" y="1798699"/>
                </a:lnTo>
                <a:lnTo>
                  <a:pt x="5091600" y="1796317"/>
                </a:lnTo>
                <a:lnTo>
                  <a:pt x="5094205" y="1794909"/>
                </a:lnTo>
                <a:close/>
                <a:moveTo>
                  <a:pt x="2385847" y="1793285"/>
                </a:moveTo>
                <a:lnTo>
                  <a:pt x="2385846" y="1793285"/>
                </a:lnTo>
                <a:lnTo>
                  <a:pt x="2385087" y="1798591"/>
                </a:lnTo>
                <a:lnTo>
                  <a:pt x="2384066" y="1801219"/>
                </a:lnTo>
                <a:lnTo>
                  <a:pt x="2385087" y="1798591"/>
                </a:lnTo>
                <a:close/>
                <a:moveTo>
                  <a:pt x="5972369" y="1793277"/>
                </a:moveTo>
                <a:lnTo>
                  <a:pt x="5974926" y="1797182"/>
                </a:lnTo>
                <a:lnTo>
                  <a:pt x="5974927" y="1797183"/>
                </a:lnTo>
                <a:close/>
                <a:moveTo>
                  <a:pt x="5097785" y="1791878"/>
                </a:moveTo>
                <a:lnTo>
                  <a:pt x="5094639" y="1792852"/>
                </a:lnTo>
                <a:lnTo>
                  <a:pt x="5094523" y="1793198"/>
                </a:lnTo>
                <a:lnTo>
                  <a:pt x="5097351" y="1792419"/>
                </a:lnTo>
                <a:lnTo>
                  <a:pt x="5100390" y="1793069"/>
                </a:lnTo>
                <a:lnTo>
                  <a:pt x="5108637" y="1793069"/>
                </a:lnTo>
                <a:lnTo>
                  <a:pt x="5109288" y="1795126"/>
                </a:lnTo>
                <a:lnTo>
                  <a:pt x="5111133" y="1798266"/>
                </a:lnTo>
                <a:lnTo>
                  <a:pt x="5114280" y="1798915"/>
                </a:lnTo>
                <a:lnTo>
                  <a:pt x="5114280" y="1800322"/>
                </a:lnTo>
                <a:lnTo>
                  <a:pt x="5112327" y="1803354"/>
                </a:lnTo>
                <a:lnTo>
                  <a:pt x="5113412" y="1806062"/>
                </a:lnTo>
                <a:lnTo>
                  <a:pt x="5117101" y="1809743"/>
                </a:lnTo>
                <a:lnTo>
                  <a:pt x="5117101" y="1813315"/>
                </a:lnTo>
                <a:lnTo>
                  <a:pt x="5114388" y="1818188"/>
                </a:lnTo>
                <a:lnTo>
                  <a:pt x="5115148" y="1820462"/>
                </a:lnTo>
                <a:lnTo>
                  <a:pt x="5116668" y="1822519"/>
                </a:lnTo>
                <a:lnTo>
                  <a:pt x="5118186" y="1823926"/>
                </a:lnTo>
                <a:lnTo>
                  <a:pt x="5116342" y="1826199"/>
                </a:lnTo>
                <a:lnTo>
                  <a:pt x="5113195" y="1827607"/>
                </a:lnTo>
                <a:lnTo>
                  <a:pt x="5112435" y="1832913"/>
                </a:lnTo>
                <a:lnTo>
                  <a:pt x="5115583" y="1839192"/>
                </a:lnTo>
                <a:lnTo>
                  <a:pt x="5120140" y="1840275"/>
                </a:lnTo>
                <a:lnTo>
                  <a:pt x="5123612" y="1841466"/>
                </a:lnTo>
                <a:lnTo>
                  <a:pt x="5122853" y="1843631"/>
                </a:lnTo>
                <a:lnTo>
                  <a:pt x="5117862" y="1846121"/>
                </a:lnTo>
                <a:lnTo>
                  <a:pt x="5118078" y="1846121"/>
                </a:lnTo>
                <a:lnTo>
                  <a:pt x="5123070" y="1843631"/>
                </a:lnTo>
                <a:lnTo>
                  <a:pt x="5123830" y="1841466"/>
                </a:lnTo>
                <a:lnTo>
                  <a:pt x="5120465" y="1840275"/>
                </a:lnTo>
                <a:lnTo>
                  <a:pt x="5115907" y="1839192"/>
                </a:lnTo>
                <a:lnTo>
                  <a:pt x="5112760" y="1832912"/>
                </a:lnTo>
                <a:lnTo>
                  <a:pt x="5113520" y="1827607"/>
                </a:lnTo>
                <a:lnTo>
                  <a:pt x="5116667" y="1826200"/>
                </a:lnTo>
                <a:lnTo>
                  <a:pt x="5118404" y="1823926"/>
                </a:lnTo>
                <a:lnTo>
                  <a:pt x="5116993" y="1822518"/>
                </a:lnTo>
                <a:lnTo>
                  <a:pt x="5115365" y="1820353"/>
                </a:lnTo>
                <a:lnTo>
                  <a:pt x="5114605" y="1818188"/>
                </a:lnTo>
                <a:lnTo>
                  <a:pt x="5117318" y="1813207"/>
                </a:lnTo>
                <a:lnTo>
                  <a:pt x="5117752" y="1809742"/>
                </a:lnTo>
                <a:lnTo>
                  <a:pt x="5114062" y="1806061"/>
                </a:lnTo>
                <a:lnTo>
                  <a:pt x="5112977" y="1803354"/>
                </a:lnTo>
                <a:lnTo>
                  <a:pt x="5114931" y="1800323"/>
                </a:lnTo>
                <a:lnTo>
                  <a:pt x="5114713" y="1798915"/>
                </a:lnTo>
                <a:lnTo>
                  <a:pt x="5111567" y="1798266"/>
                </a:lnTo>
                <a:lnTo>
                  <a:pt x="5109722" y="1795017"/>
                </a:lnTo>
                <a:lnTo>
                  <a:pt x="5109071" y="1792960"/>
                </a:lnTo>
                <a:lnTo>
                  <a:pt x="5100823" y="1792527"/>
                </a:lnTo>
                <a:close/>
                <a:moveTo>
                  <a:pt x="4122656" y="1791553"/>
                </a:moveTo>
                <a:lnTo>
                  <a:pt x="4117773" y="1793177"/>
                </a:lnTo>
                <a:lnTo>
                  <a:pt x="4117773" y="1793177"/>
                </a:lnTo>
                <a:close/>
                <a:moveTo>
                  <a:pt x="4097080" y="1791512"/>
                </a:moveTo>
                <a:lnTo>
                  <a:pt x="4100409" y="1793610"/>
                </a:lnTo>
                <a:lnTo>
                  <a:pt x="4102065" y="1797078"/>
                </a:lnTo>
                <a:lnTo>
                  <a:pt x="4100410" y="1793610"/>
                </a:lnTo>
                <a:close/>
                <a:moveTo>
                  <a:pt x="4577883" y="1790795"/>
                </a:moveTo>
                <a:lnTo>
                  <a:pt x="4577340" y="1796533"/>
                </a:lnTo>
                <a:lnTo>
                  <a:pt x="4577341" y="1796534"/>
                </a:lnTo>
                <a:lnTo>
                  <a:pt x="4577883" y="1790796"/>
                </a:lnTo>
                <a:close/>
                <a:moveTo>
                  <a:pt x="5070764" y="1790254"/>
                </a:moveTo>
                <a:lnTo>
                  <a:pt x="5064471" y="1790362"/>
                </a:lnTo>
                <a:lnTo>
                  <a:pt x="5061107" y="1793719"/>
                </a:lnTo>
                <a:lnTo>
                  <a:pt x="5060022" y="1797183"/>
                </a:lnTo>
                <a:lnTo>
                  <a:pt x="5058772" y="1797911"/>
                </a:lnTo>
                <a:lnTo>
                  <a:pt x="5059153" y="1798266"/>
                </a:lnTo>
                <a:lnTo>
                  <a:pt x="5060456" y="1797508"/>
                </a:lnTo>
                <a:lnTo>
                  <a:pt x="5061541" y="1794044"/>
                </a:lnTo>
                <a:lnTo>
                  <a:pt x="5064905" y="1790687"/>
                </a:lnTo>
                <a:lnTo>
                  <a:pt x="5071090" y="1790687"/>
                </a:lnTo>
                <a:lnTo>
                  <a:pt x="5073369" y="1792203"/>
                </a:lnTo>
                <a:lnTo>
                  <a:pt x="5076408" y="1792203"/>
                </a:lnTo>
                <a:lnTo>
                  <a:pt x="5078209" y="1790723"/>
                </a:lnTo>
                <a:lnTo>
                  <a:pt x="5077818" y="1790254"/>
                </a:lnTo>
                <a:lnTo>
                  <a:pt x="5075974" y="1791878"/>
                </a:lnTo>
                <a:lnTo>
                  <a:pt x="5072935" y="1791878"/>
                </a:lnTo>
                <a:close/>
                <a:moveTo>
                  <a:pt x="4212399" y="1788521"/>
                </a:moveTo>
                <a:lnTo>
                  <a:pt x="4212399" y="1788522"/>
                </a:lnTo>
                <a:lnTo>
                  <a:pt x="4218258" y="1791553"/>
                </a:lnTo>
                <a:close/>
                <a:moveTo>
                  <a:pt x="4307676" y="1786356"/>
                </a:moveTo>
                <a:lnTo>
                  <a:pt x="4308327" y="1791120"/>
                </a:lnTo>
                <a:lnTo>
                  <a:pt x="4307459" y="1795992"/>
                </a:lnTo>
                <a:lnTo>
                  <a:pt x="4297150" y="1795775"/>
                </a:lnTo>
                <a:lnTo>
                  <a:pt x="4296065" y="1797832"/>
                </a:lnTo>
                <a:lnTo>
                  <a:pt x="4300405" y="1802812"/>
                </a:lnTo>
                <a:lnTo>
                  <a:pt x="4298344" y="1808334"/>
                </a:lnTo>
                <a:lnTo>
                  <a:pt x="4297801" y="1812882"/>
                </a:lnTo>
                <a:lnTo>
                  <a:pt x="4300405" y="1817321"/>
                </a:lnTo>
                <a:lnTo>
                  <a:pt x="4298226" y="1820071"/>
                </a:lnTo>
                <a:lnTo>
                  <a:pt x="4300406" y="1817321"/>
                </a:lnTo>
                <a:lnTo>
                  <a:pt x="4297801" y="1812882"/>
                </a:lnTo>
                <a:lnTo>
                  <a:pt x="4298344" y="1808335"/>
                </a:lnTo>
                <a:lnTo>
                  <a:pt x="4300406" y="1802813"/>
                </a:lnTo>
                <a:lnTo>
                  <a:pt x="4296065" y="1797833"/>
                </a:lnTo>
                <a:lnTo>
                  <a:pt x="4297150" y="1795776"/>
                </a:lnTo>
                <a:lnTo>
                  <a:pt x="4307459" y="1795992"/>
                </a:lnTo>
                <a:lnTo>
                  <a:pt x="4308327" y="1791119"/>
                </a:lnTo>
                <a:close/>
                <a:moveTo>
                  <a:pt x="2604181" y="1785814"/>
                </a:moveTo>
                <a:lnTo>
                  <a:pt x="2604616" y="1787763"/>
                </a:lnTo>
                <a:lnTo>
                  <a:pt x="2602445" y="1791119"/>
                </a:lnTo>
                <a:lnTo>
                  <a:pt x="2606569" y="1791552"/>
                </a:lnTo>
                <a:lnTo>
                  <a:pt x="2606678" y="1794692"/>
                </a:lnTo>
                <a:lnTo>
                  <a:pt x="2601469" y="1803571"/>
                </a:lnTo>
                <a:lnTo>
                  <a:pt x="2598322" y="1806494"/>
                </a:lnTo>
                <a:lnTo>
                  <a:pt x="2603205" y="1808226"/>
                </a:lnTo>
                <a:lnTo>
                  <a:pt x="2605158" y="1811691"/>
                </a:lnTo>
                <a:lnTo>
                  <a:pt x="2602880" y="1814830"/>
                </a:lnTo>
                <a:lnTo>
                  <a:pt x="2604507" y="1816779"/>
                </a:lnTo>
                <a:lnTo>
                  <a:pt x="2607437" y="1814830"/>
                </a:lnTo>
                <a:lnTo>
                  <a:pt x="2607437" y="1811366"/>
                </a:lnTo>
                <a:lnTo>
                  <a:pt x="2610259" y="1810608"/>
                </a:lnTo>
                <a:lnTo>
                  <a:pt x="2614924" y="1812232"/>
                </a:lnTo>
                <a:lnTo>
                  <a:pt x="2615792" y="1817537"/>
                </a:lnTo>
                <a:lnTo>
                  <a:pt x="2617095" y="1819595"/>
                </a:lnTo>
                <a:lnTo>
                  <a:pt x="2612537" y="1821002"/>
                </a:lnTo>
                <a:lnTo>
                  <a:pt x="2610150" y="1822951"/>
                </a:lnTo>
                <a:lnTo>
                  <a:pt x="2603531" y="1823817"/>
                </a:lnTo>
                <a:lnTo>
                  <a:pt x="2596152" y="1829339"/>
                </a:lnTo>
                <a:lnTo>
                  <a:pt x="2591919" y="1829339"/>
                </a:lnTo>
                <a:lnTo>
                  <a:pt x="2590184" y="1826740"/>
                </a:lnTo>
                <a:lnTo>
                  <a:pt x="2588447" y="1827498"/>
                </a:lnTo>
                <a:lnTo>
                  <a:pt x="2587471" y="1831938"/>
                </a:lnTo>
                <a:lnTo>
                  <a:pt x="2586168" y="1832912"/>
                </a:lnTo>
                <a:lnTo>
                  <a:pt x="2584432" y="1829555"/>
                </a:lnTo>
                <a:lnTo>
                  <a:pt x="2577053" y="1826091"/>
                </a:lnTo>
                <a:lnTo>
                  <a:pt x="2576619" y="1819595"/>
                </a:lnTo>
                <a:lnTo>
                  <a:pt x="2574883" y="1816563"/>
                </a:lnTo>
                <a:lnTo>
                  <a:pt x="2576728" y="1813098"/>
                </a:lnTo>
                <a:lnTo>
                  <a:pt x="2583347" y="1809309"/>
                </a:lnTo>
                <a:lnTo>
                  <a:pt x="2588447" y="1801838"/>
                </a:lnTo>
                <a:lnTo>
                  <a:pt x="2590617" y="1799565"/>
                </a:lnTo>
                <a:lnTo>
                  <a:pt x="2593005" y="1794584"/>
                </a:lnTo>
                <a:lnTo>
                  <a:pt x="2598539" y="1790145"/>
                </a:lnTo>
                <a:lnTo>
                  <a:pt x="2600601" y="1786463"/>
                </a:lnTo>
                <a:close/>
                <a:moveTo>
                  <a:pt x="4433106" y="1783068"/>
                </a:moveTo>
                <a:lnTo>
                  <a:pt x="4433121" y="1783108"/>
                </a:lnTo>
                <a:lnTo>
                  <a:pt x="4433121" y="1783107"/>
                </a:lnTo>
                <a:close/>
                <a:moveTo>
                  <a:pt x="2696096" y="1782566"/>
                </a:moveTo>
                <a:lnTo>
                  <a:pt x="2695770" y="1784298"/>
                </a:lnTo>
                <a:lnTo>
                  <a:pt x="2697399" y="1786139"/>
                </a:lnTo>
                <a:lnTo>
                  <a:pt x="2697182" y="1788954"/>
                </a:lnTo>
                <a:lnTo>
                  <a:pt x="2695553" y="1790361"/>
                </a:lnTo>
                <a:lnTo>
                  <a:pt x="2695662" y="1792527"/>
                </a:lnTo>
                <a:lnTo>
                  <a:pt x="2697073" y="1793826"/>
                </a:lnTo>
                <a:lnTo>
                  <a:pt x="2697941" y="1795775"/>
                </a:lnTo>
                <a:lnTo>
                  <a:pt x="2696422" y="1798915"/>
                </a:lnTo>
                <a:lnTo>
                  <a:pt x="2695228" y="1799023"/>
                </a:lnTo>
                <a:lnTo>
                  <a:pt x="2694034" y="1796316"/>
                </a:lnTo>
                <a:lnTo>
                  <a:pt x="2695119" y="1793068"/>
                </a:lnTo>
                <a:lnTo>
                  <a:pt x="2694359" y="1789387"/>
                </a:lnTo>
                <a:lnTo>
                  <a:pt x="2692949" y="1786247"/>
                </a:lnTo>
                <a:lnTo>
                  <a:pt x="2694468" y="1784190"/>
                </a:lnTo>
                <a:close/>
                <a:moveTo>
                  <a:pt x="2526375" y="1780726"/>
                </a:moveTo>
                <a:lnTo>
                  <a:pt x="2527352" y="1784840"/>
                </a:lnTo>
                <a:lnTo>
                  <a:pt x="2524314" y="1787872"/>
                </a:lnTo>
                <a:lnTo>
                  <a:pt x="2524205" y="1789604"/>
                </a:lnTo>
                <a:lnTo>
                  <a:pt x="2526050" y="1791986"/>
                </a:lnTo>
                <a:lnTo>
                  <a:pt x="2526158" y="1796101"/>
                </a:lnTo>
                <a:lnTo>
                  <a:pt x="2529848" y="1798158"/>
                </a:lnTo>
                <a:lnTo>
                  <a:pt x="2530500" y="1795126"/>
                </a:lnTo>
                <a:lnTo>
                  <a:pt x="2534080" y="1795018"/>
                </a:lnTo>
                <a:lnTo>
                  <a:pt x="2540157" y="1799781"/>
                </a:lnTo>
                <a:lnTo>
                  <a:pt x="2542762" y="1799781"/>
                </a:lnTo>
                <a:lnTo>
                  <a:pt x="2544932" y="1801947"/>
                </a:lnTo>
                <a:lnTo>
                  <a:pt x="2551878" y="1801730"/>
                </a:lnTo>
                <a:lnTo>
                  <a:pt x="2553722" y="1799565"/>
                </a:lnTo>
                <a:lnTo>
                  <a:pt x="2557846" y="1800864"/>
                </a:lnTo>
                <a:lnTo>
                  <a:pt x="2564682" y="1801081"/>
                </a:lnTo>
                <a:lnTo>
                  <a:pt x="2562620" y="1802597"/>
                </a:lnTo>
                <a:lnTo>
                  <a:pt x="2557520" y="1803571"/>
                </a:lnTo>
                <a:lnTo>
                  <a:pt x="2556001" y="1808010"/>
                </a:lnTo>
                <a:lnTo>
                  <a:pt x="2556761" y="1810934"/>
                </a:lnTo>
                <a:lnTo>
                  <a:pt x="2555024" y="1815589"/>
                </a:lnTo>
                <a:lnTo>
                  <a:pt x="2551551" y="1816889"/>
                </a:lnTo>
                <a:lnTo>
                  <a:pt x="2545908" y="1814290"/>
                </a:lnTo>
                <a:lnTo>
                  <a:pt x="2544607" y="1809418"/>
                </a:lnTo>
                <a:lnTo>
                  <a:pt x="2533863" y="1808118"/>
                </a:lnTo>
                <a:lnTo>
                  <a:pt x="2530825" y="1806603"/>
                </a:lnTo>
                <a:lnTo>
                  <a:pt x="2530391" y="1803896"/>
                </a:lnTo>
                <a:lnTo>
                  <a:pt x="2528220" y="1801514"/>
                </a:lnTo>
                <a:lnTo>
                  <a:pt x="2526375" y="1801406"/>
                </a:lnTo>
                <a:lnTo>
                  <a:pt x="2524639" y="1798483"/>
                </a:lnTo>
                <a:lnTo>
                  <a:pt x="2521817" y="1797508"/>
                </a:lnTo>
                <a:lnTo>
                  <a:pt x="2521817" y="1793935"/>
                </a:lnTo>
                <a:lnTo>
                  <a:pt x="2519647" y="1791877"/>
                </a:lnTo>
                <a:lnTo>
                  <a:pt x="2517151" y="1792419"/>
                </a:lnTo>
                <a:lnTo>
                  <a:pt x="2515741" y="1790687"/>
                </a:lnTo>
                <a:lnTo>
                  <a:pt x="2517586" y="1786897"/>
                </a:lnTo>
                <a:close/>
                <a:moveTo>
                  <a:pt x="4515214" y="1778546"/>
                </a:moveTo>
                <a:lnTo>
                  <a:pt x="4512783" y="1778967"/>
                </a:lnTo>
                <a:lnTo>
                  <a:pt x="4512758" y="1778972"/>
                </a:lnTo>
                <a:close/>
                <a:moveTo>
                  <a:pt x="4430843" y="1777261"/>
                </a:moveTo>
                <a:lnTo>
                  <a:pt x="4430852" y="1777285"/>
                </a:lnTo>
                <a:lnTo>
                  <a:pt x="4430846" y="1777270"/>
                </a:lnTo>
                <a:close/>
                <a:moveTo>
                  <a:pt x="4367578" y="1776719"/>
                </a:moveTo>
                <a:lnTo>
                  <a:pt x="4359873" y="1783215"/>
                </a:lnTo>
                <a:lnTo>
                  <a:pt x="4353145" y="1785489"/>
                </a:lnTo>
                <a:lnTo>
                  <a:pt x="4353145" y="1785490"/>
                </a:lnTo>
                <a:lnTo>
                  <a:pt x="4359872" y="1783216"/>
                </a:lnTo>
                <a:lnTo>
                  <a:pt x="4367577" y="1776720"/>
                </a:lnTo>
                <a:lnTo>
                  <a:pt x="4374306" y="1783757"/>
                </a:lnTo>
                <a:lnTo>
                  <a:pt x="4374306" y="1783756"/>
                </a:lnTo>
                <a:close/>
                <a:moveTo>
                  <a:pt x="4567492" y="1776571"/>
                </a:moveTo>
                <a:lnTo>
                  <a:pt x="4570287" y="1779319"/>
                </a:lnTo>
                <a:lnTo>
                  <a:pt x="4571485" y="1779927"/>
                </a:lnTo>
                <a:lnTo>
                  <a:pt x="4570287" y="1779319"/>
                </a:lnTo>
                <a:close/>
                <a:moveTo>
                  <a:pt x="4378331" y="1776538"/>
                </a:moveTo>
                <a:lnTo>
                  <a:pt x="4374849" y="1779317"/>
                </a:lnTo>
                <a:lnTo>
                  <a:pt x="4374849" y="1779318"/>
                </a:lnTo>
                <a:close/>
                <a:moveTo>
                  <a:pt x="4526989" y="1776503"/>
                </a:moveTo>
                <a:lnTo>
                  <a:pt x="4526988" y="1776503"/>
                </a:lnTo>
                <a:lnTo>
                  <a:pt x="4529701" y="1787221"/>
                </a:lnTo>
                <a:lnTo>
                  <a:pt x="4529702" y="1787222"/>
                </a:lnTo>
                <a:close/>
                <a:moveTo>
                  <a:pt x="4429351" y="1776260"/>
                </a:moveTo>
                <a:lnTo>
                  <a:pt x="4430843" y="1777261"/>
                </a:lnTo>
                <a:lnTo>
                  <a:pt x="4430846" y="1777270"/>
                </a:lnTo>
                <a:lnTo>
                  <a:pt x="4430869" y="1777329"/>
                </a:lnTo>
                <a:lnTo>
                  <a:pt x="4430843" y="1777261"/>
                </a:lnTo>
                <a:lnTo>
                  <a:pt x="4430843" y="1777261"/>
                </a:lnTo>
                <a:close/>
                <a:moveTo>
                  <a:pt x="4098348" y="1775854"/>
                </a:moveTo>
                <a:lnTo>
                  <a:pt x="4098348" y="1775854"/>
                </a:lnTo>
                <a:lnTo>
                  <a:pt x="4095852" y="1784082"/>
                </a:lnTo>
                <a:lnTo>
                  <a:pt x="4096276" y="1790847"/>
                </a:lnTo>
                <a:lnTo>
                  <a:pt x="4095853" y="1784082"/>
                </a:lnTo>
                <a:close/>
                <a:moveTo>
                  <a:pt x="4516680" y="1772281"/>
                </a:moveTo>
                <a:lnTo>
                  <a:pt x="4516680" y="1772281"/>
                </a:lnTo>
                <a:lnTo>
                  <a:pt x="4517374" y="1776958"/>
                </a:lnTo>
                <a:close/>
                <a:moveTo>
                  <a:pt x="4391235" y="1768815"/>
                </a:moveTo>
                <a:lnTo>
                  <a:pt x="4383313" y="1769465"/>
                </a:lnTo>
                <a:lnTo>
                  <a:pt x="4381993" y="1771510"/>
                </a:lnTo>
                <a:lnTo>
                  <a:pt x="4383312" y="1769466"/>
                </a:lnTo>
                <a:lnTo>
                  <a:pt x="4391234" y="1768816"/>
                </a:lnTo>
                <a:lnTo>
                  <a:pt x="4396769" y="1770332"/>
                </a:lnTo>
                <a:lnTo>
                  <a:pt x="4406426" y="1769682"/>
                </a:lnTo>
                <a:lnTo>
                  <a:pt x="4413806" y="1771415"/>
                </a:lnTo>
                <a:lnTo>
                  <a:pt x="4413871" y="1771372"/>
                </a:lnTo>
                <a:lnTo>
                  <a:pt x="4413806" y="1771414"/>
                </a:lnTo>
                <a:lnTo>
                  <a:pt x="4406427" y="1769681"/>
                </a:lnTo>
                <a:lnTo>
                  <a:pt x="4396769" y="1770331"/>
                </a:lnTo>
                <a:close/>
                <a:moveTo>
                  <a:pt x="2580308" y="1768383"/>
                </a:moveTo>
                <a:lnTo>
                  <a:pt x="2581176" y="1768491"/>
                </a:lnTo>
                <a:lnTo>
                  <a:pt x="2580850" y="1769682"/>
                </a:lnTo>
                <a:lnTo>
                  <a:pt x="2580742" y="1769032"/>
                </a:lnTo>
                <a:lnTo>
                  <a:pt x="2577161" y="1771956"/>
                </a:lnTo>
                <a:lnTo>
                  <a:pt x="2576076" y="1774879"/>
                </a:lnTo>
                <a:lnTo>
                  <a:pt x="2574449" y="1775746"/>
                </a:lnTo>
                <a:lnTo>
                  <a:pt x="2575317" y="1777478"/>
                </a:lnTo>
                <a:lnTo>
                  <a:pt x="2577270" y="1777695"/>
                </a:lnTo>
                <a:lnTo>
                  <a:pt x="2576402" y="1778778"/>
                </a:lnTo>
                <a:lnTo>
                  <a:pt x="2574882" y="1778128"/>
                </a:lnTo>
                <a:lnTo>
                  <a:pt x="2573472" y="1775638"/>
                </a:lnTo>
                <a:lnTo>
                  <a:pt x="2576185" y="1771740"/>
                </a:lnTo>
                <a:close/>
                <a:moveTo>
                  <a:pt x="4517195" y="1767422"/>
                </a:moveTo>
                <a:lnTo>
                  <a:pt x="4517548" y="1769466"/>
                </a:lnTo>
                <a:lnTo>
                  <a:pt x="4517548" y="1769466"/>
                </a:lnTo>
                <a:close/>
                <a:moveTo>
                  <a:pt x="2406140" y="1767409"/>
                </a:moveTo>
                <a:lnTo>
                  <a:pt x="2406139" y="1767409"/>
                </a:lnTo>
                <a:lnTo>
                  <a:pt x="2404294" y="1771198"/>
                </a:lnTo>
                <a:lnTo>
                  <a:pt x="2395830" y="1780618"/>
                </a:lnTo>
                <a:lnTo>
                  <a:pt x="2391598" y="1786032"/>
                </a:lnTo>
                <a:lnTo>
                  <a:pt x="2391923" y="1790038"/>
                </a:lnTo>
                <a:lnTo>
                  <a:pt x="2389004" y="1791598"/>
                </a:lnTo>
                <a:lnTo>
                  <a:pt x="2391924" y="1790037"/>
                </a:lnTo>
                <a:lnTo>
                  <a:pt x="2391598" y="1786031"/>
                </a:lnTo>
                <a:lnTo>
                  <a:pt x="2395831" y="1780618"/>
                </a:lnTo>
                <a:lnTo>
                  <a:pt x="2404295" y="1771198"/>
                </a:lnTo>
                <a:close/>
                <a:moveTo>
                  <a:pt x="5783267" y="1767374"/>
                </a:moveTo>
                <a:lnTo>
                  <a:pt x="5782959" y="1772389"/>
                </a:lnTo>
                <a:lnTo>
                  <a:pt x="5780680" y="1786140"/>
                </a:lnTo>
                <a:lnTo>
                  <a:pt x="5780680" y="1796858"/>
                </a:lnTo>
                <a:lnTo>
                  <a:pt x="5779487" y="1800431"/>
                </a:lnTo>
                <a:lnTo>
                  <a:pt x="5782200" y="1802488"/>
                </a:lnTo>
                <a:lnTo>
                  <a:pt x="5787734" y="1804870"/>
                </a:lnTo>
                <a:lnTo>
                  <a:pt x="5787734" y="1804870"/>
                </a:lnTo>
                <a:lnTo>
                  <a:pt x="5782201" y="1802487"/>
                </a:lnTo>
                <a:lnTo>
                  <a:pt x="5779488" y="1800430"/>
                </a:lnTo>
                <a:lnTo>
                  <a:pt x="5780681" y="1796858"/>
                </a:lnTo>
                <a:lnTo>
                  <a:pt x="5780681" y="1786138"/>
                </a:lnTo>
                <a:lnTo>
                  <a:pt x="5782960" y="1772389"/>
                </a:lnTo>
                <a:close/>
                <a:moveTo>
                  <a:pt x="2707815" y="1766759"/>
                </a:moveTo>
                <a:lnTo>
                  <a:pt x="2708900" y="1768383"/>
                </a:lnTo>
                <a:lnTo>
                  <a:pt x="2707924" y="1769466"/>
                </a:lnTo>
                <a:lnTo>
                  <a:pt x="2706622" y="1769033"/>
                </a:lnTo>
                <a:close/>
                <a:moveTo>
                  <a:pt x="2431423" y="1766543"/>
                </a:moveTo>
                <a:lnTo>
                  <a:pt x="2429362" y="1768491"/>
                </a:lnTo>
                <a:lnTo>
                  <a:pt x="2431423" y="1766543"/>
                </a:lnTo>
                <a:close/>
                <a:moveTo>
                  <a:pt x="4979610" y="1766434"/>
                </a:moveTo>
                <a:lnTo>
                  <a:pt x="4979310" y="1767017"/>
                </a:lnTo>
                <a:lnTo>
                  <a:pt x="4990029" y="1770008"/>
                </a:lnTo>
                <a:lnTo>
                  <a:pt x="5000881" y="1780835"/>
                </a:lnTo>
                <a:lnTo>
                  <a:pt x="5010538" y="1796967"/>
                </a:lnTo>
                <a:lnTo>
                  <a:pt x="5001423" y="1796967"/>
                </a:lnTo>
                <a:lnTo>
                  <a:pt x="5001423" y="1800974"/>
                </a:lnTo>
                <a:lnTo>
                  <a:pt x="5010213" y="1806820"/>
                </a:lnTo>
                <a:lnTo>
                  <a:pt x="5013201" y="1805826"/>
                </a:lnTo>
                <a:lnTo>
                  <a:pt x="5006197" y="1801081"/>
                </a:lnTo>
                <a:lnTo>
                  <a:pt x="5006740" y="1797183"/>
                </a:lnTo>
                <a:lnTo>
                  <a:pt x="5015855" y="1797183"/>
                </a:lnTo>
                <a:lnTo>
                  <a:pt x="5006197" y="1781050"/>
                </a:lnTo>
                <a:lnTo>
                  <a:pt x="4995129" y="1770657"/>
                </a:lnTo>
                <a:close/>
                <a:moveTo>
                  <a:pt x="6910991" y="1766414"/>
                </a:moveTo>
                <a:lnTo>
                  <a:pt x="6910990" y="1766434"/>
                </a:lnTo>
                <a:lnTo>
                  <a:pt x="6910991" y="1766444"/>
                </a:lnTo>
                <a:close/>
                <a:moveTo>
                  <a:pt x="4306243" y="1765841"/>
                </a:moveTo>
                <a:lnTo>
                  <a:pt x="4305831" y="1773038"/>
                </a:lnTo>
                <a:lnTo>
                  <a:pt x="4307242" y="1783108"/>
                </a:lnTo>
                <a:lnTo>
                  <a:pt x="4307242" y="1783108"/>
                </a:lnTo>
                <a:lnTo>
                  <a:pt x="4323194" y="1792311"/>
                </a:lnTo>
                <a:lnTo>
                  <a:pt x="4331658" y="1793935"/>
                </a:lnTo>
                <a:lnTo>
                  <a:pt x="4339689" y="1791119"/>
                </a:lnTo>
                <a:lnTo>
                  <a:pt x="4352493" y="1789929"/>
                </a:lnTo>
                <a:lnTo>
                  <a:pt x="4339689" y="1791119"/>
                </a:lnTo>
                <a:lnTo>
                  <a:pt x="4331659" y="1793934"/>
                </a:lnTo>
                <a:lnTo>
                  <a:pt x="4323194" y="1792310"/>
                </a:lnTo>
                <a:lnTo>
                  <a:pt x="4307242" y="1783107"/>
                </a:lnTo>
                <a:lnTo>
                  <a:pt x="4305832" y="1773038"/>
                </a:lnTo>
                <a:close/>
                <a:moveTo>
                  <a:pt x="4103086" y="1765013"/>
                </a:moveTo>
                <a:lnTo>
                  <a:pt x="4101603" y="1769141"/>
                </a:lnTo>
                <a:lnTo>
                  <a:pt x="4101603" y="1772823"/>
                </a:lnTo>
                <a:lnTo>
                  <a:pt x="4101604" y="1772822"/>
                </a:lnTo>
                <a:lnTo>
                  <a:pt x="4101604" y="1769141"/>
                </a:lnTo>
                <a:close/>
                <a:moveTo>
                  <a:pt x="4520639" y="1764174"/>
                </a:moveTo>
                <a:lnTo>
                  <a:pt x="4520260" y="1764702"/>
                </a:lnTo>
                <a:lnTo>
                  <a:pt x="4520261" y="1764702"/>
                </a:lnTo>
                <a:close/>
                <a:moveTo>
                  <a:pt x="4318745" y="1761778"/>
                </a:moveTo>
                <a:lnTo>
                  <a:pt x="4313211" y="1761886"/>
                </a:lnTo>
                <a:lnTo>
                  <a:pt x="4311677" y="1762926"/>
                </a:lnTo>
                <a:lnTo>
                  <a:pt x="4313211" y="1761886"/>
                </a:lnTo>
                <a:lnTo>
                  <a:pt x="4318745" y="1761778"/>
                </a:lnTo>
                <a:close/>
                <a:moveTo>
                  <a:pt x="4534585" y="1761563"/>
                </a:moveTo>
                <a:lnTo>
                  <a:pt x="4534585" y="1761563"/>
                </a:lnTo>
                <a:lnTo>
                  <a:pt x="4534851" y="1761986"/>
                </a:lnTo>
                <a:close/>
                <a:moveTo>
                  <a:pt x="4234753" y="1761237"/>
                </a:moveTo>
                <a:lnTo>
                  <a:pt x="4246906" y="1768166"/>
                </a:lnTo>
                <a:lnTo>
                  <a:pt x="4246907" y="1768166"/>
                </a:lnTo>
                <a:close/>
                <a:moveTo>
                  <a:pt x="5972322" y="1760479"/>
                </a:moveTo>
                <a:lnTo>
                  <a:pt x="5971236" y="1763510"/>
                </a:lnTo>
                <a:lnTo>
                  <a:pt x="5972430" y="1769140"/>
                </a:lnTo>
                <a:lnTo>
                  <a:pt x="5975143" y="1772280"/>
                </a:lnTo>
                <a:lnTo>
                  <a:pt x="5973624" y="1776611"/>
                </a:lnTo>
                <a:lnTo>
                  <a:pt x="5970260" y="1779318"/>
                </a:lnTo>
                <a:lnTo>
                  <a:pt x="5968741" y="1781808"/>
                </a:lnTo>
                <a:lnTo>
                  <a:pt x="5968741" y="1785273"/>
                </a:lnTo>
                <a:lnTo>
                  <a:pt x="5969459" y="1788406"/>
                </a:lnTo>
                <a:lnTo>
                  <a:pt x="5968742" y="1785273"/>
                </a:lnTo>
                <a:lnTo>
                  <a:pt x="5968742" y="1781809"/>
                </a:lnTo>
                <a:lnTo>
                  <a:pt x="5970261" y="1779318"/>
                </a:lnTo>
                <a:lnTo>
                  <a:pt x="5973624" y="1776612"/>
                </a:lnTo>
                <a:lnTo>
                  <a:pt x="5975144" y="1772281"/>
                </a:lnTo>
                <a:lnTo>
                  <a:pt x="5972431" y="1769141"/>
                </a:lnTo>
                <a:lnTo>
                  <a:pt x="5971238" y="1763511"/>
                </a:lnTo>
                <a:lnTo>
                  <a:pt x="5972322" y="1760479"/>
                </a:lnTo>
                <a:close/>
                <a:moveTo>
                  <a:pt x="4292809" y="1760262"/>
                </a:moveTo>
                <a:lnTo>
                  <a:pt x="4286515" y="1761561"/>
                </a:lnTo>
                <a:lnTo>
                  <a:pt x="4292809" y="1760263"/>
                </a:lnTo>
                <a:lnTo>
                  <a:pt x="4296933" y="1763294"/>
                </a:lnTo>
                <a:lnTo>
                  <a:pt x="4300291" y="1764073"/>
                </a:lnTo>
                <a:lnTo>
                  <a:pt x="4296933" y="1763294"/>
                </a:lnTo>
                <a:close/>
                <a:moveTo>
                  <a:pt x="4334401" y="1759778"/>
                </a:moveTo>
                <a:lnTo>
                  <a:pt x="4330031" y="1760370"/>
                </a:lnTo>
                <a:lnTo>
                  <a:pt x="4322983" y="1762882"/>
                </a:lnTo>
                <a:lnTo>
                  <a:pt x="4330031" y="1760370"/>
                </a:lnTo>
                <a:close/>
                <a:moveTo>
                  <a:pt x="4265138" y="1756798"/>
                </a:moveTo>
                <a:lnTo>
                  <a:pt x="4273927" y="1757122"/>
                </a:lnTo>
                <a:lnTo>
                  <a:pt x="4279787" y="1761237"/>
                </a:lnTo>
                <a:lnTo>
                  <a:pt x="4273928" y="1757122"/>
                </a:lnTo>
                <a:close/>
                <a:moveTo>
                  <a:pt x="5971996" y="1755065"/>
                </a:moveTo>
                <a:lnTo>
                  <a:pt x="5972306" y="1760220"/>
                </a:lnTo>
                <a:lnTo>
                  <a:pt x="5971997" y="1755066"/>
                </a:lnTo>
                <a:close/>
                <a:moveTo>
                  <a:pt x="4345224" y="1752792"/>
                </a:moveTo>
                <a:lnTo>
                  <a:pt x="4338820" y="1759179"/>
                </a:lnTo>
                <a:lnTo>
                  <a:pt x="4338821" y="1759179"/>
                </a:lnTo>
                <a:close/>
                <a:moveTo>
                  <a:pt x="4083156" y="1750951"/>
                </a:moveTo>
                <a:lnTo>
                  <a:pt x="4080070" y="1752033"/>
                </a:lnTo>
                <a:lnTo>
                  <a:pt x="4083156" y="1750952"/>
                </a:lnTo>
                <a:lnTo>
                  <a:pt x="4087279" y="1750952"/>
                </a:lnTo>
                <a:lnTo>
                  <a:pt x="4090426" y="1752142"/>
                </a:lnTo>
                <a:lnTo>
                  <a:pt x="4087280" y="1750951"/>
                </a:lnTo>
                <a:close/>
                <a:moveTo>
                  <a:pt x="4094658" y="1750735"/>
                </a:moveTo>
                <a:lnTo>
                  <a:pt x="4091356" y="1751833"/>
                </a:lnTo>
                <a:lnTo>
                  <a:pt x="4094658" y="1750735"/>
                </a:lnTo>
                <a:lnTo>
                  <a:pt x="4100409" y="1753334"/>
                </a:lnTo>
                <a:lnTo>
                  <a:pt x="4104859" y="1753334"/>
                </a:lnTo>
                <a:lnTo>
                  <a:pt x="4109525" y="1756473"/>
                </a:lnTo>
                <a:lnTo>
                  <a:pt x="4104859" y="1753333"/>
                </a:lnTo>
                <a:lnTo>
                  <a:pt x="4100410" y="1753333"/>
                </a:lnTo>
                <a:close/>
                <a:moveTo>
                  <a:pt x="5787410" y="1749436"/>
                </a:moveTo>
                <a:lnTo>
                  <a:pt x="5787408" y="1749436"/>
                </a:lnTo>
                <a:lnTo>
                  <a:pt x="5785346" y="1760263"/>
                </a:lnTo>
                <a:lnTo>
                  <a:pt x="5783760" y="1765512"/>
                </a:lnTo>
                <a:lnTo>
                  <a:pt x="5785347" y="1760262"/>
                </a:lnTo>
                <a:close/>
                <a:moveTo>
                  <a:pt x="5835807" y="1749003"/>
                </a:moveTo>
                <a:lnTo>
                  <a:pt x="5831683" y="1753875"/>
                </a:lnTo>
                <a:lnTo>
                  <a:pt x="5831256" y="1754021"/>
                </a:lnTo>
                <a:lnTo>
                  <a:pt x="5831685" y="1753874"/>
                </a:lnTo>
                <a:close/>
                <a:moveTo>
                  <a:pt x="4075017" y="1748894"/>
                </a:moveTo>
                <a:lnTo>
                  <a:pt x="4075017" y="1748895"/>
                </a:lnTo>
                <a:lnTo>
                  <a:pt x="4079140" y="1752359"/>
                </a:lnTo>
                <a:lnTo>
                  <a:pt x="4079141" y="1752359"/>
                </a:lnTo>
                <a:close/>
                <a:moveTo>
                  <a:pt x="4219414" y="1748039"/>
                </a:moveTo>
                <a:lnTo>
                  <a:pt x="4221840" y="1749652"/>
                </a:lnTo>
                <a:lnTo>
                  <a:pt x="4231498" y="1760696"/>
                </a:lnTo>
                <a:lnTo>
                  <a:pt x="4221840" y="1749652"/>
                </a:lnTo>
                <a:close/>
                <a:moveTo>
                  <a:pt x="5967114" y="1747271"/>
                </a:moveTo>
                <a:lnTo>
                  <a:pt x="5970043" y="1752142"/>
                </a:lnTo>
                <a:lnTo>
                  <a:pt x="5971776" y="1754735"/>
                </a:lnTo>
                <a:lnTo>
                  <a:pt x="5970044" y="1752143"/>
                </a:lnTo>
                <a:close/>
                <a:moveTo>
                  <a:pt x="4381920" y="1743253"/>
                </a:moveTo>
                <a:lnTo>
                  <a:pt x="4383855" y="1743480"/>
                </a:lnTo>
                <a:lnTo>
                  <a:pt x="4389607" y="1743480"/>
                </a:lnTo>
                <a:lnTo>
                  <a:pt x="4389606" y="1743480"/>
                </a:lnTo>
                <a:lnTo>
                  <a:pt x="4383854" y="1743480"/>
                </a:lnTo>
                <a:close/>
                <a:moveTo>
                  <a:pt x="4380165" y="1743047"/>
                </a:moveTo>
                <a:lnTo>
                  <a:pt x="4376367" y="1744346"/>
                </a:lnTo>
                <a:lnTo>
                  <a:pt x="4373545" y="1748677"/>
                </a:lnTo>
                <a:lnTo>
                  <a:pt x="4373546" y="1748677"/>
                </a:lnTo>
                <a:lnTo>
                  <a:pt x="4376368" y="1744346"/>
                </a:lnTo>
                <a:close/>
                <a:moveTo>
                  <a:pt x="4396008" y="1742722"/>
                </a:moveTo>
                <a:lnTo>
                  <a:pt x="4392971" y="1745753"/>
                </a:lnTo>
                <a:lnTo>
                  <a:pt x="4392971" y="1745754"/>
                </a:lnTo>
                <a:lnTo>
                  <a:pt x="4396009" y="1742722"/>
                </a:lnTo>
                <a:close/>
                <a:moveTo>
                  <a:pt x="4406534" y="1742506"/>
                </a:moveTo>
                <a:lnTo>
                  <a:pt x="4403605" y="1743913"/>
                </a:lnTo>
                <a:lnTo>
                  <a:pt x="4403605" y="1743913"/>
                </a:lnTo>
                <a:lnTo>
                  <a:pt x="4406535" y="1742506"/>
                </a:lnTo>
                <a:close/>
                <a:moveTo>
                  <a:pt x="4061126" y="1742181"/>
                </a:moveTo>
                <a:lnTo>
                  <a:pt x="4067095" y="1743373"/>
                </a:lnTo>
                <a:lnTo>
                  <a:pt x="4070567" y="1742507"/>
                </a:lnTo>
                <a:lnTo>
                  <a:pt x="4074195" y="1745331"/>
                </a:lnTo>
                <a:lnTo>
                  <a:pt x="4070568" y="1742506"/>
                </a:lnTo>
                <a:lnTo>
                  <a:pt x="4070567" y="1742506"/>
                </a:lnTo>
                <a:lnTo>
                  <a:pt x="4067096" y="1743372"/>
                </a:lnTo>
                <a:lnTo>
                  <a:pt x="4068669" y="1742967"/>
                </a:lnTo>
                <a:lnTo>
                  <a:pt x="4067095" y="1743372"/>
                </a:lnTo>
                <a:close/>
                <a:moveTo>
                  <a:pt x="4366508" y="1742044"/>
                </a:moveTo>
                <a:lnTo>
                  <a:pt x="4366510" y="1742051"/>
                </a:lnTo>
                <a:lnTo>
                  <a:pt x="4367794" y="1748136"/>
                </a:lnTo>
                <a:lnTo>
                  <a:pt x="4367794" y="1748352"/>
                </a:lnTo>
                <a:lnTo>
                  <a:pt x="4356726" y="1747270"/>
                </a:lnTo>
                <a:lnTo>
                  <a:pt x="4351625" y="1751925"/>
                </a:lnTo>
                <a:lnTo>
                  <a:pt x="4349272" y="1752135"/>
                </a:lnTo>
                <a:lnTo>
                  <a:pt x="4351626" y="1751925"/>
                </a:lnTo>
                <a:lnTo>
                  <a:pt x="4356726" y="1747270"/>
                </a:lnTo>
                <a:lnTo>
                  <a:pt x="4367794" y="1748352"/>
                </a:lnTo>
                <a:lnTo>
                  <a:pt x="4367795" y="1748352"/>
                </a:lnTo>
                <a:lnTo>
                  <a:pt x="4367795" y="1748137"/>
                </a:lnTo>
                <a:lnTo>
                  <a:pt x="4367794" y="1748136"/>
                </a:lnTo>
                <a:close/>
                <a:moveTo>
                  <a:pt x="6549800" y="1740229"/>
                </a:moveTo>
                <a:lnTo>
                  <a:pt x="6549848" y="1740774"/>
                </a:lnTo>
                <a:lnTo>
                  <a:pt x="6549848" y="1740773"/>
                </a:lnTo>
                <a:close/>
                <a:moveTo>
                  <a:pt x="5958593" y="1739306"/>
                </a:moveTo>
                <a:lnTo>
                  <a:pt x="5959734" y="1742397"/>
                </a:lnTo>
                <a:lnTo>
                  <a:pt x="5963531" y="1745538"/>
                </a:lnTo>
                <a:lnTo>
                  <a:pt x="5964278" y="1745899"/>
                </a:lnTo>
                <a:lnTo>
                  <a:pt x="5963533" y="1745538"/>
                </a:lnTo>
                <a:lnTo>
                  <a:pt x="5959735" y="1742398"/>
                </a:lnTo>
                <a:close/>
                <a:moveTo>
                  <a:pt x="4356400" y="1738067"/>
                </a:moveTo>
                <a:lnTo>
                  <a:pt x="4354338" y="1740449"/>
                </a:lnTo>
                <a:lnTo>
                  <a:pt x="4353118" y="1740385"/>
                </a:lnTo>
                <a:lnTo>
                  <a:pt x="4354338" y="1740449"/>
                </a:lnTo>
                <a:close/>
                <a:moveTo>
                  <a:pt x="4057979" y="1737742"/>
                </a:moveTo>
                <a:lnTo>
                  <a:pt x="4057979" y="1737742"/>
                </a:lnTo>
                <a:lnTo>
                  <a:pt x="4057980" y="1737742"/>
                </a:lnTo>
                <a:lnTo>
                  <a:pt x="4058305" y="1737742"/>
                </a:lnTo>
                <a:lnTo>
                  <a:pt x="4058305" y="1737742"/>
                </a:lnTo>
                <a:close/>
                <a:moveTo>
                  <a:pt x="7269963" y="1735252"/>
                </a:moveTo>
                <a:lnTo>
                  <a:pt x="7269203" y="1738825"/>
                </a:lnTo>
                <a:lnTo>
                  <a:pt x="7264971" y="1741640"/>
                </a:lnTo>
                <a:lnTo>
                  <a:pt x="7262802" y="1740882"/>
                </a:lnTo>
                <a:lnTo>
                  <a:pt x="7266491" y="1736768"/>
                </a:lnTo>
                <a:close/>
                <a:moveTo>
                  <a:pt x="4203067" y="1734819"/>
                </a:moveTo>
                <a:lnTo>
                  <a:pt x="4203067" y="1734819"/>
                </a:lnTo>
                <a:lnTo>
                  <a:pt x="4203316" y="1735501"/>
                </a:lnTo>
                <a:close/>
                <a:moveTo>
                  <a:pt x="4054507" y="1728107"/>
                </a:moveTo>
                <a:lnTo>
                  <a:pt x="4054507" y="1728107"/>
                </a:lnTo>
                <a:lnTo>
                  <a:pt x="4056134" y="1730164"/>
                </a:lnTo>
                <a:lnTo>
                  <a:pt x="4056134" y="1733412"/>
                </a:lnTo>
                <a:lnTo>
                  <a:pt x="4057979" y="1735144"/>
                </a:lnTo>
                <a:lnTo>
                  <a:pt x="4057979" y="1735143"/>
                </a:lnTo>
                <a:lnTo>
                  <a:pt x="4056135" y="1733411"/>
                </a:lnTo>
                <a:lnTo>
                  <a:pt x="4056135" y="1730163"/>
                </a:lnTo>
                <a:close/>
                <a:moveTo>
                  <a:pt x="4067312" y="1727564"/>
                </a:moveTo>
                <a:lnTo>
                  <a:pt x="4068289" y="1732653"/>
                </a:lnTo>
                <a:lnTo>
                  <a:pt x="4070893" y="1734927"/>
                </a:lnTo>
                <a:lnTo>
                  <a:pt x="4070459" y="1742506"/>
                </a:lnTo>
                <a:lnTo>
                  <a:pt x="4070460" y="1742506"/>
                </a:lnTo>
                <a:lnTo>
                  <a:pt x="4070894" y="1734927"/>
                </a:lnTo>
                <a:lnTo>
                  <a:pt x="4068289" y="1732653"/>
                </a:lnTo>
                <a:lnTo>
                  <a:pt x="4067312" y="1727565"/>
                </a:lnTo>
                <a:close/>
                <a:moveTo>
                  <a:pt x="5953657" y="1726698"/>
                </a:moveTo>
                <a:lnTo>
                  <a:pt x="5954308" y="1730488"/>
                </a:lnTo>
                <a:lnTo>
                  <a:pt x="5955719" y="1734710"/>
                </a:lnTo>
                <a:lnTo>
                  <a:pt x="5955720" y="1734711"/>
                </a:lnTo>
                <a:lnTo>
                  <a:pt x="5955720" y="1734712"/>
                </a:lnTo>
                <a:lnTo>
                  <a:pt x="5955809" y="1734839"/>
                </a:lnTo>
                <a:lnTo>
                  <a:pt x="5955720" y="1734711"/>
                </a:lnTo>
                <a:lnTo>
                  <a:pt x="5954309" y="1730489"/>
                </a:lnTo>
                <a:lnTo>
                  <a:pt x="5953658" y="1726699"/>
                </a:lnTo>
                <a:close/>
                <a:moveTo>
                  <a:pt x="4028869" y="1726212"/>
                </a:moveTo>
                <a:lnTo>
                  <a:pt x="4027160" y="1727348"/>
                </a:lnTo>
                <a:lnTo>
                  <a:pt x="4027161" y="1727348"/>
                </a:lnTo>
                <a:close/>
                <a:moveTo>
                  <a:pt x="4330208" y="1721715"/>
                </a:moveTo>
                <a:lnTo>
                  <a:pt x="4331224" y="1722043"/>
                </a:lnTo>
                <a:lnTo>
                  <a:pt x="4338494" y="1727294"/>
                </a:lnTo>
                <a:lnTo>
                  <a:pt x="4331224" y="1722043"/>
                </a:lnTo>
                <a:close/>
                <a:moveTo>
                  <a:pt x="6914355" y="1721068"/>
                </a:moveTo>
                <a:lnTo>
                  <a:pt x="6912510" y="1721501"/>
                </a:lnTo>
                <a:lnTo>
                  <a:pt x="6908061" y="1728322"/>
                </a:lnTo>
                <a:lnTo>
                  <a:pt x="6907084" y="1731571"/>
                </a:lnTo>
                <a:lnTo>
                  <a:pt x="6904805" y="1734602"/>
                </a:lnTo>
                <a:lnTo>
                  <a:pt x="6901984" y="1734818"/>
                </a:lnTo>
                <a:lnTo>
                  <a:pt x="6899054" y="1736767"/>
                </a:lnTo>
                <a:lnTo>
                  <a:pt x="6898077" y="1738933"/>
                </a:lnTo>
                <a:lnTo>
                  <a:pt x="6898309" y="1739454"/>
                </a:lnTo>
                <a:lnTo>
                  <a:pt x="6898837" y="1738285"/>
                </a:lnTo>
                <a:lnTo>
                  <a:pt x="6901767" y="1736336"/>
                </a:lnTo>
                <a:lnTo>
                  <a:pt x="6904480" y="1736336"/>
                </a:lnTo>
                <a:lnTo>
                  <a:pt x="6906758" y="1733304"/>
                </a:lnTo>
                <a:lnTo>
                  <a:pt x="6907735" y="1730056"/>
                </a:lnTo>
                <a:lnTo>
                  <a:pt x="6912184" y="1723235"/>
                </a:lnTo>
                <a:lnTo>
                  <a:pt x="6914029" y="1723235"/>
                </a:lnTo>
                <a:lnTo>
                  <a:pt x="6917827" y="1724209"/>
                </a:lnTo>
                <a:lnTo>
                  <a:pt x="6920757" y="1725400"/>
                </a:lnTo>
                <a:lnTo>
                  <a:pt x="6935950" y="1728107"/>
                </a:lnTo>
                <a:lnTo>
                  <a:pt x="6938228" y="1728865"/>
                </a:lnTo>
                <a:lnTo>
                  <a:pt x="6940941" y="1728865"/>
                </a:lnTo>
                <a:lnTo>
                  <a:pt x="6942894" y="1726483"/>
                </a:lnTo>
                <a:lnTo>
                  <a:pt x="6942660" y="1725201"/>
                </a:lnTo>
                <a:lnTo>
                  <a:pt x="6941375" y="1726698"/>
                </a:lnTo>
                <a:lnTo>
                  <a:pt x="6938662" y="1726698"/>
                </a:lnTo>
                <a:lnTo>
                  <a:pt x="6936383" y="1726049"/>
                </a:lnTo>
                <a:lnTo>
                  <a:pt x="6921082" y="1723234"/>
                </a:lnTo>
                <a:lnTo>
                  <a:pt x="6918153" y="1722043"/>
                </a:lnTo>
                <a:close/>
                <a:moveTo>
                  <a:pt x="4021342" y="1718021"/>
                </a:moveTo>
                <a:lnTo>
                  <a:pt x="4021843" y="1718254"/>
                </a:lnTo>
                <a:lnTo>
                  <a:pt x="4021843" y="1718254"/>
                </a:lnTo>
                <a:close/>
                <a:moveTo>
                  <a:pt x="4293243" y="1717062"/>
                </a:moveTo>
                <a:lnTo>
                  <a:pt x="4291921" y="1718444"/>
                </a:lnTo>
                <a:lnTo>
                  <a:pt x="4293243" y="1717062"/>
                </a:lnTo>
                <a:close/>
                <a:moveTo>
                  <a:pt x="4805225" y="1716522"/>
                </a:moveTo>
                <a:lnTo>
                  <a:pt x="4801644" y="1720096"/>
                </a:lnTo>
                <a:lnTo>
                  <a:pt x="4795056" y="1718820"/>
                </a:lnTo>
                <a:lnTo>
                  <a:pt x="4796652" y="1719770"/>
                </a:lnTo>
                <a:lnTo>
                  <a:pt x="4803923" y="1721178"/>
                </a:lnTo>
                <a:lnTo>
                  <a:pt x="4806138" y="1718967"/>
                </a:lnTo>
                <a:close/>
                <a:moveTo>
                  <a:pt x="5941828" y="1715872"/>
                </a:moveTo>
                <a:lnTo>
                  <a:pt x="5943673" y="1718686"/>
                </a:lnTo>
                <a:lnTo>
                  <a:pt x="5941829" y="1715872"/>
                </a:lnTo>
                <a:close/>
                <a:moveTo>
                  <a:pt x="7243812" y="1715222"/>
                </a:moveTo>
                <a:lnTo>
                  <a:pt x="7246200" y="1717495"/>
                </a:lnTo>
                <a:lnTo>
                  <a:pt x="7248804" y="1718362"/>
                </a:lnTo>
                <a:lnTo>
                  <a:pt x="7252276" y="1717495"/>
                </a:lnTo>
                <a:lnTo>
                  <a:pt x="7253688" y="1717495"/>
                </a:lnTo>
                <a:lnTo>
                  <a:pt x="7252602" y="1722693"/>
                </a:lnTo>
                <a:lnTo>
                  <a:pt x="7246742" y="1728215"/>
                </a:lnTo>
                <a:lnTo>
                  <a:pt x="7244680" y="1729297"/>
                </a:lnTo>
                <a:lnTo>
                  <a:pt x="7242619" y="1740774"/>
                </a:lnTo>
                <a:cubicBezTo>
                  <a:pt x="7242619" y="1740774"/>
                  <a:pt x="7242619" y="1747487"/>
                  <a:pt x="7242619" y="1747487"/>
                </a:cubicBezTo>
                <a:lnTo>
                  <a:pt x="7238278" y="1742506"/>
                </a:lnTo>
                <a:lnTo>
                  <a:pt x="7237301" y="1739583"/>
                </a:lnTo>
                <a:lnTo>
                  <a:pt x="7239471" y="1734603"/>
                </a:lnTo>
                <a:lnTo>
                  <a:pt x="7240340" y="1727565"/>
                </a:lnTo>
                <a:lnTo>
                  <a:pt x="7241534" y="1722585"/>
                </a:lnTo>
                <a:lnTo>
                  <a:pt x="7242401" y="1716954"/>
                </a:lnTo>
                <a:close/>
                <a:moveTo>
                  <a:pt x="4788188" y="1714898"/>
                </a:moveTo>
                <a:lnTo>
                  <a:pt x="4783371" y="1715699"/>
                </a:lnTo>
                <a:lnTo>
                  <a:pt x="4785258" y="1716847"/>
                </a:lnTo>
                <a:lnTo>
                  <a:pt x="4790196" y="1716128"/>
                </a:lnTo>
                <a:close/>
                <a:moveTo>
                  <a:pt x="6941300" y="1714722"/>
                </a:moveTo>
                <a:lnTo>
                  <a:pt x="6940832" y="1715655"/>
                </a:lnTo>
                <a:lnTo>
                  <a:pt x="6941043" y="1717268"/>
                </a:lnTo>
                <a:lnTo>
                  <a:pt x="6941701" y="1715872"/>
                </a:lnTo>
                <a:close/>
                <a:moveTo>
                  <a:pt x="4015657" y="1714356"/>
                </a:moveTo>
                <a:lnTo>
                  <a:pt x="4012728" y="1714464"/>
                </a:lnTo>
                <a:lnTo>
                  <a:pt x="4015658" y="1714356"/>
                </a:lnTo>
                <a:close/>
                <a:moveTo>
                  <a:pt x="4191781" y="1713923"/>
                </a:moveTo>
                <a:lnTo>
                  <a:pt x="4192106" y="1717496"/>
                </a:lnTo>
                <a:lnTo>
                  <a:pt x="4198401" y="1721285"/>
                </a:lnTo>
                <a:lnTo>
                  <a:pt x="4203392" y="1729080"/>
                </a:lnTo>
                <a:lnTo>
                  <a:pt x="4203392" y="1729080"/>
                </a:lnTo>
                <a:lnTo>
                  <a:pt x="4198401" y="1721284"/>
                </a:lnTo>
                <a:lnTo>
                  <a:pt x="4192106" y="1717495"/>
                </a:lnTo>
                <a:close/>
                <a:moveTo>
                  <a:pt x="5922903" y="1712563"/>
                </a:moveTo>
                <a:lnTo>
                  <a:pt x="5923055" y="1712840"/>
                </a:lnTo>
                <a:lnTo>
                  <a:pt x="5923055" y="1712839"/>
                </a:lnTo>
                <a:close/>
                <a:moveTo>
                  <a:pt x="4763555" y="1711217"/>
                </a:moveTo>
                <a:lnTo>
                  <a:pt x="4761545" y="1713222"/>
                </a:lnTo>
                <a:lnTo>
                  <a:pt x="4762578" y="1715331"/>
                </a:lnTo>
                <a:lnTo>
                  <a:pt x="4765833" y="1712083"/>
                </a:lnTo>
                <a:lnTo>
                  <a:pt x="4774406" y="1713923"/>
                </a:lnTo>
                <a:lnTo>
                  <a:pt x="4780280" y="1714123"/>
                </a:lnTo>
                <a:lnTo>
                  <a:pt x="4778530" y="1713058"/>
                </a:lnTo>
                <a:lnTo>
                  <a:pt x="4772127" y="1713058"/>
                </a:lnTo>
                <a:close/>
                <a:moveTo>
                  <a:pt x="4293026" y="1708292"/>
                </a:moveTo>
                <a:lnTo>
                  <a:pt x="4290747" y="1709808"/>
                </a:lnTo>
                <a:lnTo>
                  <a:pt x="4296282" y="1717062"/>
                </a:lnTo>
                <a:lnTo>
                  <a:pt x="4290748" y="1709808"/>
                </a:lnTo>
                <a:close/>
                <a:moveTo>
                  <a:pt x="5839582" y="1705657"/>
                </a:moveTo>
                <a:lnTo>
                  <a:pt x="5839062" y="1706020"/>
                </a:lnTo>
                <a:lnTo>
                  <a:pt x="5838194" y="1711541"/>
                </a:lnTo>
                <a:lnTo>
                  <a:pt x="5838520" y="1721718"/>
                </a:lnTo>
                <a:lnTo>
                  <a:pt x="5843187" y="1731138"/>
                </a:lnTo>
                <a:lnTo>
                  <a:pt x="5847744" y="1737201"/>
                </a:lnTo>
                <a:lnTo>
                  <a:pt x="5846984" y="1740449"/>
                </a:lnTo>
                <a:lnTo>
                  <a:pt x="5842454" y="1745544"/>
                </a:lnTo>
                <a:lnTo>
                  <a:pt x="5846985" y="1740449"/>
                </a:lnTo>
                <a:lnTo>
                  <a:pt x="5847745" y="1737200"/>
                </a:lnTo>
                <a:lnTo>
                  <a:pt x="5843187" y="1731137"/>
                </a:lnTo>
                <a:lnTo>
                  <a:pt x="5838521" y="1721718"/>
                </a:lnTo>
                <a:lnTo>
                  <a:pt x="5838195" y="1711540"/>
                </a:lnTo>
                <a:lnTo>
                  <a:pt x="5839064" y="1706018"/>
                </a:lnTo>
                <a:close/>
                <a:moveTo>
                  <a:pt x="5898314" y="1705586"/>
                </a:moveTo>
                <a:lnTo>
                  <a:pt x="5898314" y="1705586"/>
                </a:lnTo>
                <a:lnTo>
                  <a:pt x="5899155" y="1706615"/>
                </a:lnTo>
                <a:lnTo>
                  <a:pt x="5901677" y="1709700"/>
                </a:lnTo>
                <a:lnTo>
                  <a:pt x="5901786" y="1711324"/>
                </a:lnTo>
                <a:lnTo>
                  <a:pt x="5902979" y="1714896"/>
                </a:lnTo>
                <a:lnTo>
                  <a:pt x="5902980" y="1714897"/>
                </a:lnTo>
                <a:lnTo>
                  <a:pt x="5901787" y="1711325"/>
                </a:lnTo>
                <a:lnTo>
                  <a:pt x="5901678" y="1709701"/>
                </a:lnTo>
                <a:lnTo>
                  <a:pt x="5899155" y="1706615"/>
                </a:lnTo>
                <a:close/>
                <a:moveTo>
                  <a:pt x="3913001" y="1704720"/>
                </a:moveTo>
                <a:lnTo>
                  <a:pt x="3915280" y="1706452"/>
                </a:lnTo>
                <a:lnTo>
                  <a:pt x="3917667" y="1706236"/>
                </a:lnTo>
                <a:lnTo>
                  <a:pt x="3916148" y="1708834"/>
                </a:lnTo>
                <a:lnTo>
                  <a:pt x="3916148" y="1710567"/>
                </a:lnTo>
                <a:lnTo>
                  <a:pt x="3913001" y="1711108"/>
                </a:lnTo>
                <a:lnTo>
                  <a:pt x="3909746" y="1708726"/>
                </a:lnTo>
                <a:lnTo>
                  <a:pt x="3906599" y="1708077"/>
                </a:lnTo>
                <a:close/>
                <a:moveTo>
                  <a:pt x="2749703" y="1704071"/>
                </a:moveTo>
                <a:lnTo>
                  <a:pt x="2750571" y="1704396"/>
                </a:lnTo>
                <a:lnTo>
                  <a:pt x="2751222" y="1706995"/>
                </a:lnTo>
                <a:lnTo>
                  <a:pt x="2749269" y="1710350"/>
                </a:lnTo>
                <a:lnTo>
                  <a:pt x="2745797" y="1711975"/>
                </a:lnTo>
                <a:lnTo>
                  <a:pt x="2743735" y="1710567"/>
                </a:lnTo>
                <a:lnTo>
                  <a:pt x="2743952" y="1708618"/>
                </a:lnTo>
                <a:lnTo>
                  <a:pt x="2744820" y="1707536"/>
                </a:lnTo>
                <a:lnTo>
                  <a:pt x="2747316" y="1708510"/>
                </a:lnTo>
                <a:lnTo>
                  <a:pt x="2748943" y="1708077"/>
                </a:lnTo>
                <a:lnTo>
                  <a:pt x="2750028" y="1705479"/>
                </a:lnTo>
                <a:close/>
                <a:moveTo>
                  <a:pt x="2755237" y="1702879"/>
                </a:moveTo>
                <a:lnTo>
                  <a:pt x="2756865" y="1702879"/>
                </a:lnTo>
                <a:lnTo>
                  <a:pt x="2757841" y="1704179"/>
                </a:lnTo>
                <a:lnTo>
                  <a:pt x="2759035" y="1703312"/>
                </a:lnTo>
                <a:lnTo>
                  <a:pt x="2761422" y="1704936"/>
                </a:lnTo>
                <a:lnTo>
                  <a:pt x="2761422" y="1706885"/>
                </a:lnTo>
                <a:lnTo>
                  <a:pt x="2758709" y="1709051"/>
                </a:lnTo>
                <a:lnTo>
                  <a:pt x="2756214" y="1709051"/>
                </a:lnTo>
                <a:lnTo>
                  <a:pt x="2755237" y="1704179"/>
                </a:lnTo>
                <a:close/>
                <a:moveTo>
                  <a:pt x="6943458" y="1702700"/>
                </a:moveTo>
                <a:lnTo>
                  <a:pt x="6942352" y="1703961"/>
                </a:lnTo>
                <a:lnTo>
                  <a:pt x="6940290" y="1708726"/>
                </a:lnTo>
                <a:lnTo>
                  <a:pt x="6940529" y="1709872"/>
                </a:lnTo>
                <a:lnTo>
                  <a:pt x="6942243" y="1705912"/>
                </a:lnTo>
                <a:lnTo>
                  <a:pt x="6943763" y="1704180"/>
                </a:lnTo>
                <a:close/>
                <a:moveTo>
                  <a:pt x="6603781" y="1700714"/>
                </a:moveTo>
                <a:lnTo>
                  <a:pt x="6605950" y="1702986"/>
                </a:lnTo>
                <a:lnTo>
                  <a:pt x="6605951" y="1702987"/>
                </a:lnTo>
                <a:close/>
                <a:moveTo>
                  <a:pt x="6944726" y="1693612"/>
                </a:moveTo>
                <a:lnTo>
                  <a:pt x="6942352" y="1694759"/>
                </a:lnTo>
                <a:lnTo>
                  <a:pt x="6941701" y="1696166"/>
                </a:lnTo>
                <a:lnTo>
                  <a:pt x="6942146" y="1696918"/>
                </a:lnTo>
                <a:lnTo>
                  <a:pt x="6942243" y="1696709"/>
                </a:lnTo>
                <a:lnTo>
                  <a:pt x="6945499" y="1695085"/>
                </a:lnTo>
                <a:close/>
                <a:moveTo>
                  <a:pt x="4741526" y="1693460"/>
                </a:moveTo>
                <a:lnTo>
                  <a:pt x="4733387" y="1699632"/>
                </a:lnTo>
                <a:lnTo>
                  <a:pt x="4728178" y="1698658"/>
                </a:lnTo>
                <a:lnTo>
                  <a:pt x="4722644" y="1700174"/>
                </a:lnTo>
                <a:lnTo>
                  <a:pt x="4715915" y="1696601"/>
                </a:lnTo>
                <a:lnTo>
                  <a:pt x="4712059" y="1700930"/>
                </a:lnTo>
                <a:lnTo>
                  <a:pt x="4713962" y="1702772"/>
                </a:lnTo>
                <a:lnTo>
                  <a:pt x="4718303" y="1698008"/>
                </a:lnTo>
                <a:lnTo>
                  <a:pt x="4725032" y="1701580"/>
                </a:lnTo>
                <a:lnTo>
                  <a:pt x="4730458" y="1700065"/>
                </a:lnTo>
                <a:lnTo>
                  <a:pt x="4735666" y="1701039"/>
                </a:lnTo>
                <a:lnTo>
                  <a:pt x="4743805" y="1694868"/>
                </a:lnTo>
                <a:lnTo>
                  <a:pt x="4745857" y="1694634"/>
                </a:lnTo>
                <a:lnTo>
                  <a:pt x="4745324" y="1693460"/>
                </a:lnTo>
                <a:close/>
                <a:moveTo>
                  <a:pt x="4454093" y="1690656"/>
                </a:moveTo>
                <a:lnTo>
                  <a:pt x="4455258" y="1691402"/>
                </a:lnTo>
                <a:lnTo>
                  <a:pt x="4453196" y="1694001"/>
                </a:lnTo>
                <a:lnTo>
                  <a:pt x="4453848" y="1697790"/>
                </a:lnTo>
                <a:lnTo>
                  <a:pt x="4455584" y="1700713"/>
                </a:lnTo>
                <a:lnTo>
                  <a:pt x="4454281" y="1707751"/>
                </a:lnTo>
                <a:lnTo>
                  <a:pt x="4450375" y="1707968"/>
                </a:lnTo>
                <a:lnTo>
                  <a:pt x="4446685" y="1711757"/>
                </a:lnTo>
                <a:lnTo>
                  <a:pt x="4444624" y="1718903"/>
                </a:lnTo>
                <a:lnTo>
                  <a:pt x="4429974" y="1735251"/>
                </a:lnTo>
                <a:lnTo>
                  <a:pt x="4431059" y="1741856"/>
                </a:lnTo>
                <a:lnTo>
                  <a:pt x="4430733" y="1749002"/>
                </a:lnTo>
                <a:lnTo>
                  <a:pt x="4425529" y="1748677"/>
                </a:lnTo>
                <a:lnTo>
                  <a:pt x="4425535" y="1748679"/>
                </a:lnTo>
                <a:lnTo>
                  <a:pt x="4430734" y="1749003"/>
                </a:lnTo>
                <a:lnTo>
                  <a:pt x="4426177" y="1748786"/>
                </a:lnTo>
                <a:lnTo>
                  <a:pt x="4421185" y="1759179"/>
                </a:lnTo>
                <a:lnTo>
                  <a:pt x="4420208" y="1767299"/>
                </a:lnTo>
                <a:lnTo>
                  <a:pt x="4420196" y="1767307"/>
                </a:lnTo>
                <a:lnTo>
                  <a:pt x="4420208" y="1767300"/>
                </a:lnTo>
                <a:lnTo>
                  <a:pt x="4420172" y="1767323"/>
                </a:lnTo>
                <a:lnTo>
                  <a:pt x="4420209" y="1767301"/>
                </a:lnTo>
                <a:lnTo>
                  <a:pt x="4421186" y="1759181"/>
                </a:lnTo>
                <a:lnTo>
                  <a:pt x="4426177" y="1748787"/>
                </a:lnTo>
                <a:lnTo>
                  <a:pt x="4430735" y="1749003"/>
                </a:lnTo>
                <a:lnTo>
                  <a:pt x="4431060" y="1741857"/>
                </a:lnTo>
                <a:lnTo>
                  <a:pt x="4429975" y="1735253"/>
                </a:lnTo>
                <a:lnTo>
                  <a:pt x="4444625" y="1718904"/>
                </a:lnTo>
                <a:lnTo>
                  <a:pt x="4446687" y="1711758"/>
                </a:lnTo>
                <a:lnTo>
                  <a:pt x="4450376" y="1707968"/>
                </a:lnTo>
                <a:lnTo>
                  <a:pt x="4454283" y="1707752"/>
                </a:lnTo>
                <a:lnTo>
                  <a:pt x="4455585" y="1700715"/>
                </a:lnTo>
                <a:lnTo>
                  <a:pt x="4453849" y="1697791"/>
                </a:lnTo>
                <a:lnTo>
                  <a:pt x="4453198" y="1694002"/>
                </a:lnTo>
                <a:lnTo>
                  <a:pt x="4455259" y="1691403"/>
                </a:lnTo>
                <a:close/>
                <a:moveTo>
                  <a:pt x="7135512" y="1690103"/>
                </a:moveTo>
                <a:lnTo>
                  <a:pt x="7140829" y="1690103"/>
                </a:lnTo>
                <a:lnTo>
                  <a:pt x="7142566" y="1693676"/>
                </a:lnTo>
                <a:lnTo>
                  <a:pt x="7150270" y="1700064"/>
                </a:lnTo>
                <a:lnTo>
                  <a:pt x="7156782" y="1701363"/>
                </a:lnTo>
                <a:lnTo>
                  <a:pt x="7160145" y="1707751"/>
                </a:lnTo>
                <a:lnTo>
                  <a:pt x="7170997" y="1718470"/>
                </a:lnTo>
                <a:lnTo>
                  <a:pt x="7176965" y="1722692"/>
                </a:lnTo>
                <a:lnTo>
                  <a:pt x="7178919" y="1726157"/>
                </a:lnTo>
                <a:lnTo>
                  <a:pt x="7183585" y="1727240"/>
                </a:lnTo>
                <a:lnTo>
                  <a:pt x="7187708" y="1731679"/>
                </a:lnTo>
                <a:lnTo>
                  <a:pt x="7194762" y="1735144"/>
                </a:lnTo>
                <a:lnTo>
                  <a:pt x="7200622" y="1735793"/>
                </a:lnTo>
                <a:lnTo>
                  <a:pt x="7205288" y="1740232"/>
                </a:lnTo>
                <a:lnTo>
                  <a:pt x="7208869" y="1739583"/>
                </a:lnTo>
                <a:lnTo>
                  <a:pt x="7210605" y="1740774"/>
                </a:lnTo>
                <a:lnTo>
                  <a:pt x="7216574" y="1739907"/>
                </a:lnTo>
                <a:lnTo>
                  <a:pt x="7224387" y="1734711"/>
                </a:lnTo>
                <a:lnTo>
                  <a:pt x="7228186" y="1729622"/>
                </a:lnTo>
                <a:lnTo>
                  <a:pt x="7229162" y="1725399"/>
                </a:lnTo>
                <a:lnTo>
                  <a:pt x="7230247" y="1723992"/>
                </a:lnTo>
                <a:lnTo>
                  <a:pt x="7231550" y="1725941"/>
                </a:lnTo>
                <a:lnTo>
                  <a:pt x="7231550" y="1729946"/>
                </a:lnTo>
                <a:lnTo>
                  <a:pt x="7229053" y="1737092"/>
                </a:lnTo>
                <a:lnTo>
                  <a:pt x="7229053" y="1743589"/>
                </a:lnTo>
                <a:lnTo>
                  <a:pt x="7230682" y="1745754"/>
                </a:lnTo>
                <a:lnTo>
                  <a:pt x="7236432" y="1749435"/>
                </a:lnTo>
                <a:lnTo>
                  <a:pt x="7240447" y="1754307"/>
                </a:lnTo>
                <a:lnTo>
                  <a:pt x="7240773" y="1757989"/>
                </a:lnTo>
                <a:lnTo>
                  <a:pt x="7240231" y="1760370"/>
                </a:lnTo>
                <a:lnTo>
                  <a:pt x="7243812" y="1760370"/>
                </a:lnTo>
                <a:lnTo>
                  <a:pt x="7246090" y="1756798"/>
                </a:lnTo>
                <a:lnTo>
                  <a:pt x="7249563" y="1753441"/>
                </a:lnTo>
                <a:lnTo>
                  <a:pt x="7252493" y="1753117"/>
                </a:lnTo>
                <a:lnTo>
                  <a:pt x="7250865" y="1756582"/>
                </a:lnTo>
                <a:lnTo>
                  <a:pt x="7248695" y="1757989"/>
                </a:lnTo>
                <a:lnTo>
                  <a:pt x="7248370" y="1762645"/>
                </a:lnTo>
                <a:lnTo>
                  <a:pt x="7245439" y="1764810"/>
                </a:lnTo>
                <a:lnTo>
                  <a:pt x="7241207" y="1766543"/>
                </a:lnTo>
                <a:lnTo>
                  <a:pt x="7240447" y="1770115"/>
                </a:lnTo>
                <a:lnTo>
                  <a:pt x="7238711" y="1772713"/>
                </a:lnTo>
                <a:lnTo>
                  <a:pt x="7235348" y="1772930"/>
                </a:lnTo>
                <a:lnTo>
                  <a:pt x="7233719" y="1771523"/>
                </a:lnTo>
                <a:lnTo>
                  <a:pt x="7230355" y="1774121"/>
                </a:lnTo>
                <a:lnTo>
                  <a:pt x="7230790" y="1776503"/>
                </a:lnTo>
                <a:lnTo>
                  <a:pt x="7224713" y="1776503"/>
                </a:lnTo>
                <a:lnTo>
                  <a:pt x="7220047" y="1775312"/>
                </a:lnTo>
                <a:lnTo>
                  <a:pt x="7216140" y="1776503"/>
                </a:lnTo>
                <a:lnTo>
                  <a:pt x="7209737" y="1785490"/>
                </a:lnTo>
                <a:lnTo>
                  <a:pt x="7207350" y="1795126"/>
                </a:lnTo>
                <a:lnTo>
                  <a:pt x="7206265" y="1803029"/>
                </a:lnTo>
                <a:lnTo>
                  <a:pt x="7207676" y="1808335"/>
                </a:lnTo>
                <a:lnTo>
                  <a:pt x="7206807" y="1812233"/>
                </a:lnTo>
                <a:lnTo>
                  <a:pt x="7207133" y="1815914"/>
                </a:lnTo>
                <a:lnTo>
                  <a:pt x="7203010" y="1814181"/>
                </a:lnTo>
                <a:lnTo>
                  <a:pt x="7200622" y="1810933"/>
                </a:lnTo>
                <a:lnTo>
                  <a:pt x="7193243" y="1808984"/>
                </a:lnTo>
                <a:lnTo>
                  <a:pt x="7185972" y="1805195"/>
                </a:lnTo>
                <a:lnTo>
                  <a:pt x="7179569" y="1799565"/>
                </a:lnTo>
                <a:lnTo>
                  <a:pt x="7175446" y="1794909"/>
                </a:lnTo>
                <a:lnTo>
                  <a:pt x="7171106" y="1795559"/>
                </a:lnTo>
                <a:lnTo>
                  <a:pt x="7167307" y="1794801"/>
                </a:lnTo>
                <a:lnTo>
                  <a:pt x="7165462" y="1792852"/>
                </a:lnTo>
                <a:lnTo>
                  <a:pt x="7161013" y="1792635"/>
                </a:lnTo>
                <a:lnTo>
                  <a:pt x="7155588" y="1796641"/>
                </a:lnTo>
                <a:lnTo>
                  <a:pt x="7149945" y="1804329"/>
                </a:lnTo>
                <a:lnTo>
                  <a:pt x="7147557" y="1802813"/>
                </a:lnTo>
                <a:lnTo>
                  <a:pt x="7141480" y="1799024"/>
                </a:lnTo>
                <a:lnTo>
                  <a:pt x="7138225" y="1799349"/>
                </a:lnTo>
                <a:lnTo>
                  <a:pt x="7135078" y="1802163"/>
                </a:lnTo>
                <a:lnTo>
                  <a:pt x="7135078" y="1806819"/>
                </a:lnTo>
                <a:lnTo>
                  <a:pt x="7136706" y="1810608"/>
                </a:lnTo>
                <a:lnTo>
                  <a:pt x="7141698" y="1813315"/>
                </a:lnTo>
                <a:lnTo>
                  <a:pt x="7146906" y="1811908"/>
                </a:lnTo>
                <a:lnTo>
                  <a:pt x="7152875" y="1818620"/>
                </a:lnTo>
                <a:lnTo>
                  <a:pt x="7158083" y="1820028"/>
                </a:lnTo>
                <a:lnTo>
                  <a:pt x="7163509" y="1820028"/>
                </a:lnTo>
                <a:lnTo>
                  <a:pt x="7165462" y="1822735"/>
                </a:lnTo>
                <a:lnTo>
                  <a:pt x="7161881" y="1827607"/>
                </a:lnTo>
                <a:lnTo>
                  <a:pt x="7160579" y="1831072"/>
                </a:lnTo>
                <a:lnTo>
                  <a:pt x="7157324" y="1828473"/>
                </a:lnTo>
                <a:lnTo>
                  <a:pt x="7151030" y="1828040"/>
                </a:lnTo>
                <a:lnTo>
                  <a:pt x="7148534" y="1829773"/>
                </a:lnTo>
                <a:lnTo>
                  <a:pt x="7149077" y="1833237"/>
                </a:lnTo>
                <a:lnTo>
                  <a:pt x="7147341" y="1837243"/>
                </a:lnTo>
                <a:lnTo>
                  <a:pt x="7141806" y="1843631"/>
                </a:lnTo>
                <a:lnTo>
                  <a:pt x="7137791" y="1841141"/>
                </a:lnTo>
                <a:lnTo>
                  <a:pt x="7135838" y="1837243"/>
                </a:lnTo>
                <a:lnTo>
                  <a:pt x="7137356" y="1836161"/>
                </a:lnTo>
                <a:lnTo>
                  <a:pt x="7135838" y="1827607"/>
                </a:lnTo>
                <a:lnTo>
                  <a:pt x="7132908" y="1819487"/>
                </a:lnTo>
                <a:lnTo>
                  <a:pt x="7129327" y="1816130"/>
                </a:lnTo>
                <a:lnTo>
                  <a:pt x="7125202" y="1813315"/>
                </a:lnTo>
                <a:lnTo>
                  <a:pt x="7122382" y="1813207"/>
                </a:lnTo>
                <a:lnTo>
                  <a:pt x="7121839" y="1810067"/>
                </a:lnTo>
                <a:lnTo>
                  <a:pt x="7122273" y="1803571"/>
                </a:lnTo>
                <a:lnTo>
                  <a:pt x="7121079" y="1798807"/>
                </a:lnTo>
                <a:lnTo>
                  <a:pt x="7122816" y="1794909"/>
                </a:lnTo>
                <a:lnTo>
                  <a:pt x="7125638" y="1793394"/>
                </a:lnTo>
                <a:lnTo>
                  <a:pt x="7126397" y="1791228"/>
                </a:lnTo>
                <a:lnTo>
                  <a:pt x="7129544" y="1790686"/>
                </a:lnTo>
                <a:lnTo>
                  <a:pt x="7131605" y="1785923"/>
                </a:lnTo>
                <a:lnTo>
                  <a:pt x="7133341" y="1783541"/>
                </a:lnTo>
                <a:lnTo>
                  <a:pt x="7132799" y="1781484"/>
                </a:lnTo>
                <a:lnTo>
                  <a:pt x="7128024" y="1777911"/>
                </a:lnTo>
                <a:lnTo>
                  <a:pt x="7126179" y="1777586"/>
                </a:lnTo>
                <a:lnTo>
                  <a:pt x="7124769" y="1775853"/>
                </a:lnTo>
                <a:lnTo>
                  <a:pt x="7126505" y="1772280"/>
                </a:lnTo>
                <a:lnTo>
                  <a:pt x="7129977" y="1771523"/>
                </a:lnTo>
                <a:lnTo>
                  <a:pt x="7137465" y="1775637"/>
                </a:lnTo>
                <a:lnTo>
                  <a:pt x="7145495" y="1776936"/>
                </a:lnTo>
                <a:lnTo>
                  <a:pt x="7148208" y="1774771"/>
                </a:lnTo>
                <a:lnTo>
                  <a:pt x="7148534" y="1771198"/>
                </a:lnTo>
                <a:lnTo>
                  <a:pt x="7150054" y="1769682"/>
                </a:lnTo>
                <a:lnTo>
                  <a:pt x="7148534" y="1766217"/>
                </a:lnTo>
                <a:lnTo>
                  <a:pt x="7146364" y="1765027"/>
                </a:lnTo>
                <a:lnTo>
                  <a:pt x="7145495" y="1762753"/>
                </a:lnTo>
                <a:lnTo>
                  <a:pt x="7142891" y="1758422"/>
                </a:lnTo>
                <a:lnTo>
                  <a:pt x="7141480" y="1754091"/>
                </a:lnTo>
                <a:lnTo>
                  <a:pt x="7145061" y="1749976"/>
                </a:lnTo>
                <a:lnTo>
                  <a:pt x="7147124" y="1749652"/>
                </a:lnTo>
                <a:lnTo>
                  <a:pt x="7147557" y="1747703"/>
                </a:lnTo>
                <a:lnTo>
                  <a:pt x="7145821" y="1743047"/>
                </a:lnTo>
                <a:lnTo>
                  <a:pt x="7143434" y="1735793"/>
                </a:lnTo>
                <a:lnTo>
                  <a:pt x="7144302" y="1732545"/>
                </a:lnTo>
                <a:lnTo>
                  <a:pt x="7143759" y="1723558"/>
                </a:lnTo>
                <a:lnTo>
                  <a:pt x="7141806" y="1718145"/>
                </a:lnTo>
                <a:lnTo>
                  <a:pt x="7133558" y="1705369"/>
                </a:lnTo>
                <a:lnTo>
                  <a:pt x="7132257" y="1699631"/>
                </a:lnTo>
                <a:lnTo>
                  <a:pt x="7130195" y="1696599"/>
                </a:lnTo>
                <a:lnTo>
                  <a:pt x="7131388" y="1695083"/>
                </a:lnTo>
                <a:lnTo>
                  <a:pt x="7133558" y="1695083"/>
                </a:lnTo>
                <a:lnTo>
                  <a:pt x="7136054" y="1692160"/>
                </a:lnTo>
                <a:close/>
                <a:moveTo>
                  <a:pt x="4967783" y="1689671"/>
                </a:moveTo>
                <a:lnTo>
                  <a:pt x="4964311" y="1694110"/>
                </a:lnTo>
                <a:lnTo>
                  <a:pt x="4964311" y="1700174"/>
                </a:lnTo>
                <a:lnTo>
                  <a:pt x="4957908" y="1708077"/>
                </a:lnTo>
                <a:lnTo>
                  <a:pt x="4953242" y="1710351"/>
                </a:lnTo>
                <a:lnTo>
                  <a:pt x="4954435" y="1722044"/>
                </a:lnTo>
                <a:lnTo>
                  <a:pt x="4958016" y="1725617"/>
                </a:lnTo>
                <a:lnTo>
                  <a:pt x="4955955" y="1740450"/>
                </a:lnTo>
                <a:lnTo>
                  <a:pt x="4952374" y="1748679"/>
                </a:lnTo>
                <a:lnTo>
                  <a:pt x="4962249" y="1752468"/>
                </a:lnTo>
                <a:lnTo>
                  <a:pt x="4966372" y="1759181"/>
                </a:lnTo>
                <a:lnTo>
                  <a:pt x="4964853" y="1762754"/>
                </a:lnTo>
                <a:lnTo>
                  <a:pt x="4972558" y="1769250"/>
                </a:lnTo>
                <a:lnTo>
                  <a:pt x="4973900" y="1766794"/>
                </a:lnTo>
                <a:lnTo>
                  <a:pt x="4969952" y="1763511"/>
                </a:lnTo>
                <a:lnTo>
                  <a:pt x="4971581" y="1759830"/>
                </a:lnTo>
                <a:lnTo>
                  <a:pt x="4967457" y="1753225"/>
                </a:lnTo>
                <a:lnTo>
                  <a:pt x="4957582" y="1749436"/>
                </a:lnTo>
                <a:lnTo>
                  <a:pt x="4961163" y="1741099"/>
                </a:lnTo>
                <a:lnTo>
                  <a:pt x="4963333" y="1726374"/>
                </a:lnTo>
                <a:lnTo>
                  <a:pt x="4959644" y="1722801"/>
                </a:lnTo>
                <a:lnTo>
                  <a:pt x="4958450" y="1711000"/>
                </a:lnTo>
                <a:lnTo>
                  <a:pt x="4963116" y="1708834"/>
                </a:lnTo>
                <a:lnTo>
                  <a:pt x="4969410" y="1700931"/>
                </a:lnTo>
                <a:lnTo>
                  <a:pt x="4969410" y="1694867"/>
                </a:lnTo>
                <a:lnTo>
                  <a:pt x="4971117" y="1692685"/>
                </a:lnTo>
                <a:close/>
                <a:moveTo>
                  <a:pt x="5883354" y="1689146"/>
                </a:moveTo>
                <a:lnTo>
                  <a:pt x="5883555" y="1692051"/>
                </a:lnTo>
                <a:lnTo>
                  <a:pt x="5884640" y="1695083"/>
                </a:lnTo>
                <a:lnTo>
                  <a:pt x="5887049" y="1697278"/>
                </a:lnTo>
                <a:lnTo>
                  <a:pt x="5884641" y="1695084"/>
                </a:lnTo>
                <a:lnTo>
                  <a:pt x="5883556" y="1692053"/>
                </a:lnTo>
                <a:close/>
                <a:moveTo>
                  <a:pt x="4051468" y="1687288"/>
                </a:moveTo>
                <a:lnTo>
                  <a:pt x="4049166" y="1687444"/>
                </a:lnTo>
                <a:lnTo>
                  <a:pt x="4051468" y="1687289"/>
                </a:lnTo>
                <a:close/>
                <a:moveTo>
                  <a:pt x="2537661" y="1686747"/>
                </a:moveTo>
                <a:lnTo>
                  <a:pt x="2541892" y="1688479"/>
                </a:lnTo>
                <a:lnTo>
                  <a:pt x="2552961" y="1692269"/>
                </a:lnTo>
                <a:lnTo>
                  <a:pt x="2559255" y="1692810"/>
                </a:lnTo>
                <a:lnTo>
                  <a:pt x="2564898" y="1694975"/>
                </a:lnTo>
                <a:lnTo>
                  <a:pt x="2569456" y="1699956"/>
                </a:lnTo>
                <a:lnTo>
                  <a:pt x="2571518" y="1700281"/>
                </a:lnTo>
                <a:lnTo>
                  <a:pt x="2576943" y="1704287"/>
                </a:lnTo>
                <a:lnTo>
                  <a:pt x="2580742" y="1708834"/>
                </a:lnTo>
                <a:lnTo>
                  <a:pt x="2583888" y="1709808"/>
                </a:lnTo>
                <a:lnTo>
                  <a:pt x="2586384" y="1711865"/>
                </a:lnTo>
                <a:lnTo>
                  <a:pt x="2587578" y="1714139"/>
                </a:lnTo>
                <a:lnTo>
                  <a:pt x="2590291" y="1716629"/>
                </a:lnTo>
                <a:lnTo>
                  <a:pt x="2589748" y="1719444"/>
                </a:lnTo>
                <a:lnTo>
                  <a:pt x="2584105" y="1721285"/>
                </a:lnTo>
                <a:lnTo>
                  <a:pt x="2579656" y="1719444"/>
                </a:lnTo>
                <a:lnTo>
                  <a:pt x="2576401" y="1719011"/>
                </a:lnTo>
                <a:lnTo>
                  <a:pt x="2572819" y="1716196"/>
                </a:lnTo>
                <a:lnTo>
                  <a:pt x="2568153" y="1715114"/>
                </a:lnTo>
                <a:lnTo>
                  <a:pt x="2561425" y="1715114"/>
                </a:lnTo>
                <a:lnTo>
                  <a:pt x="2552310" y="1708401"/>
                </a:lnTo>
                <a:lnTo>
                  <a:pt x="2549815" y="1707968"/>
                </a:lnTo>
                <a:lnTo>
                  <a:pt x="2548512" y="1706019"/>
                </a:lnTo>
                <a:lnTo>
                  <a:pt x="2547535" y="1701688"/>
                </a:lnTo>
                <a:lnTo>
                  <a:pt x="2539614" y="1695733"/>
                </a:lnTo>
                <a:lnTo>
                  <a:pt x="2534948" y="1693568"/>
                </a:lnTo>
                <a:lnTo>
                  <a:pt x="2532886" y="1689345"/>
                </a:lnTo>
                <a:close/>
                <a:moveTo>
                  <a:pt x="5882037" y="1686423"/>
                </a:moveTo>
                <a:lnTo>
                  <a:pt x="5882037" y="1686423"/>
                </a:lnTo>
                <a:lnTo>
                  <a:pt x="5882500" y="1687309"/>
                </a:lnTo>
                <a:close/>
                <a:moveTo>
                  <a:pt x="5855158" y="1685804"/>
                </a:moveTo>
                <a:lnTo>
                  <a:pt x="5852193" y="1688913"/>
                </a:lnTo>
                <a:lnTo>
                  <a:pt x="5851976" y="1692702"/>
                </a:lnTo>
                <a:lnTo>
                  <a:pt x="5853387" y="1695192"/>
                </a:lnTo>
                <a:lnTo>
                  <a:pt x="5850927" y="1699557"/>
                </a:lnTo>
                <a:lnTo>
                  <a:pt x="5850458" y="1700388"/>
                </a:lnTo>
                <a:lnTo>
                  <a:pt x="5850458" y="1700388"/>
                </a:lnTo>
                <a:lnTo>
                  <a:pt x="5850927" y="1699557"/>
                </a:lnTo>
                <a:lnTo>
                  <a:pt x="5853388" y="1695192"/>
                </a:lnTo>
                <a:lnTo>
                  <a:pt x="5851977" y="1692701"/>
                </a:lnTo>
                <a:lnTo>
                  <a:pt x="5852194" y="1688912"/>
                </a:lnTo>
                <a:close/>
                <a:moveTo>
                  <a:pt x="5877139" y="1685108"/>
                </a:moveTo>
                <a:lnTo>
                  <a:pt x="5877587" y="1685555"/>
                </a:lnTo>
                <a:lnTo>
                  <a:pt x="5879323" y="1688587"/>
                </a:lnTo>
                <a:lnTo>
                  <a:pt x="5879324" y="1688587"/>
                </a:lnTo>
                <a:lnTo>
                  <a:pt x="5877588" y="1685556"/>
                </a:lnTo>
                <a:close/>
                <a:moveTo>
                  <a:pt x="4038217" y="1683921"/>
                </a:moveTo>
                <a:lnTo>
                  <a:pt x="4038663" y="1684366"/>
                </a:lnTo>
                <a:lnTo>
                  <a:pt x="4042895" y="1684366"/>
                </a:lnTo>
                <a:lnTo>
                  <a:pt x="4042895" y="1684365"/>
                </a:lnTo>
                <a:lnTo>
                  <a:pt x="4038663" y="1684365"/>
                </a:lnTo>
                <a:close/>
                <a:moveTo>
                  <a:pt x="4027811" y="1681442"/>
                </a:moveTo>
                <a:lnTo>
                  <a:pt x="4026509" y="1684907"/>
                </a:lnTo>
                <a:lnTo>
                  <a:pt x="4023037" y="1685231"/>
                </a:lnTo>
                <a:lnTo>
                  <a:pt x="4021952" y="1686855"/>
                </a:lnTo>
                <a:lnTo>
                  <a:pt x="4020469" y="1687144"/>
                </a:lnTo>
                <a:lnTo>
                  <a:pt x="4021952" y="1686856"/>
                </a:lnTo>
                <a:lnTo>
                  <a:pt x="4023037" y="1685231"/>
                </a:lnTo>
                <a:lnTo>
                  <a:pt x="4026509" y="1684907"/>
                </a:lnTo>
                <a:lnTo>
                  <a:pt x="4027812" y="1681442"/>
                </a:lnTo>
                <a:close/>
                <a:moveTo>
                  <a:pt x="6946150" y="1680871"/>
                </a:moveTo>
                <a:lnTo>
                  <a:pt x="6943871" y="1682523"/>
                </a:lnTo>
                <a:lnTo>
                  <a:pt x="6942894" y="1685664"/>
                </a:lnTo>
                <a:lnTo>
                  <a:pt x="6943232" y="1686181"/>
                </a:lnTo>
                <a:lnTo>
                  <a:pt x="6943763" y="1684474"/>
                </a:lnTo>
                <a:lnTo>
                  <a:pt x="6946150" y="1682742"/>
                </a:lnTo>
                <a:close/>
                <a:moveTo>
                  <a:pt x="3957276" y="1680034"/>
                </a:moveTo>
                <a:lnTo>
                  <a:pt x="3959555" y="1680034"/>
                </a:lnTo>
                <a:lnTo>
                  <a:pt x="3960965" y="1681766"/>
                </a:lnTo>
                <a:lnTo>
                  <a:pt x="3958470" y="1682416"/>
                </a:lnTo>
                <a:lnTo>
                  <a:pt x="3955648" y="1680900"/>
                </a:lnTo>
                <a:close/>
                <a:moveTo>
                  <a:pt x="5876018" y="1676865"/>
                </a:moveTo>
                <a:lnTo>
                  <a:pt x="5876393" y="1678735"/>
                </a:lnTo>
                <a:lnTo>
                  <a:pt x="5876176" y="1684148"/>
                </a:lnTo>
                <a:lnTo>
                  <a:pt x="5876177" y="1684149"/>
                </a:lnTo>
                <a:lnTo>
                  <a:pt x="5876394" y="1678735"/>
                </a:lnTo>
                <a:close/>
                <a:moveTo>
                  <a:pt x="4695902" y="1676139"/>
                </a:moveTo>
                <a:lnTo>
                  <a:pt x="4696057" y="1677328"/>
                </a:lnTo>
                <a:lnTo>
                  <a:pt x="4698119" y="1677679"/>
                </a:lnTo>
                <a:lnTo>
                  <a:pt x="4698119" y="1676462"/>
                </a:lnTo>
                <a:close/>
                <a:moveTo>
                  <a:pt x="4015875" y="1673213"/>
                </a:moveTo>
                <a:lnTo>
                  <a:pt x="4017720" y="1675703"/>
                </a:lnTo>
                <a:lnTo>
                  <a:pt x="4015333" y="1676353"/>
                </a:lnTo>
                <a:lnTo>
                  <a:pt x="4014465" y="1675161"/>
                </a:lnTo>
                <a:lnTo>
                  <a:pt x="4011752" y="1675053"/>
                </a:lnTo>
                <a:close/>
                <a:moveTo>
                  <a:pt x="6598939" y="1672167"/>
                </a:moveTo>
                <a:lnTo>
                  <a:pt x="6602804" y="1677003"/>
                </a:lnTo>
                <a:lnTo>
                  <a:pt x="6611702" y="1683390"/>
                </a:lnTo>
                <a:lnTo>
                  <a:pt x="6611702" y="1683390"/>
                </a:lnTo>
                <a:lnTo>
                  <a:pt x="6602804" y="1677002"/>
                </a:lnTo>
                <a:close/>
                <a:moveTo>
                  <a:pt x="5218457" y="1670724"/>
                </a:moveTo>
                <a:lnTo>
                  <a:pt x="5216394" y="1672131"/>
                </a:lnTo>
                <a:lnTo>
                  <a:pt x="5212665" y="1670922"/>
                </a:lnTo>
                <a:lnTo>
                  <a:pt x="5213138" y="1671481"/>
                </a:lnTo>
                <a:lnTo>
                  <a:pt x="5217371" y="1672888"/>
                </a:lnTo>
                <a:lnTo>
                  <a:pt x="5219541" y="1671481"/>
                </a:lnTo>
                <a:lnTo>
                  <a:pt x="5222796" y="1673430"/>
                </a:lnTo>
                <a:lnTo>
                  <a:pt x="5229783" y="1673113"/>
                </a:lnTo>
                <a:lnTo>
                  <a:pt x="5228983" y="1672673"/>
                </a:lnTo>
                <a:lnTo>
                  <a:pt x="5221712" y="1672673"/>
                </a:lnTo>
                <a:close/>
                <a:moveTo>
                  <a:pt x="4013814" y="1670181"/>
                </a:moveTo>
                <a:lnTo>
                  <a:pt x="4017177" y="1670289"/>
                </a:lnTo>
                <a:lnTo>
                  <a:pt x="4021518" y="1672022"/>
                </a:lnTo>
                <a:lnTo>
                  <a:pt x="4020650" y="1673213"/>
                </a:lnTo>
                <a:lnTo>
                  <a:pt x="4018263" y="1672672"/>
                </a:lnTo>
                <a:lnTo>
                  <a:pt x="4017503" y="1671264"/>
                </a:lnTo>
                <a:lnTo>
                  <a:pt x="4014573" y="1672239"/>
                </a:lnTo>
                <a:close/>
                <a:moveTo>
                  <a:pt x="2733968" y="1667691"/>
                </a:moveTo>
                <a:lnTo>
                  <a:pt x="2735595" y="1668124"/>
                </a:lnTo>
                <a:lnTo>
                  <a:pt x="2735595" y="1670615"/>
                </a:lnTo>
                <a:lnTo>
                  <a:pt x="2734076" y="1670722"/>
                </a:lnTo>
                <a:lnTo>
                  <a:pt x="2733208" y="1671589"/>
                </a:lnTo>
                <a:lnTo>
                  <a:pt x="2731906" y="1670939"/>
                </a:lnTo>
                <a:lnTo>
                  <a:pt x="2731798" y="1668340"/>
                </a:lnTo>
                <a:close/>
                <a:moveTo>
                  <a:pt x="7294381" y="1667150"/>
                </a:moveTo>
                <a:lnTo>
                  <a:pt x="7296008" y="1671805"/>
                </a:lnTo>
                <a:lnTo>
                  <a:pt x="7296334" y="1676570"/>
                </a:lnTo>
                <a:lnTo>
                  <a:pt x="7292536" y="1678952"/>
                </a:lnTo>
                <a:lnTo>
                  <a:pt x="7287219" y="1679493"/>
                </a:lnTo>
                <a:lnTo>
                  <a:pt x="7282552" y="1685123"/>
                </a:lnTo>
                <a:lnTo>
                  <a:pt x="7278971" y="1692160"/>
                </a:lnTo>
                <a:lnTo>
                  <a:pt x="7275715" y="1695300"/>
                </a:lnTo>
                <a:lnTo>
                  <a:pt x="7273219" y="1694217"/>
                </a:lnTo>
                <a:lnTo>
                  <a:pt x="7271049" y="1695950"/>
                </a:lnTo>
                <a:lnTo>
                  <a:pt x="7270723" y="1698549"/>
                </a:lnTo>
                <a:lnTo>
                  <a:pt x="7268445" y="1700606"/>
                </a:lnTo>
                <a:lnTo>
                  <a:pt x="7269205" y="1706777"/>
                </a:lnTo>
                <a:lnTo>
                  <a:pt x="7265949" y="1709700"/>
                </a:lnTo>
                <a:lnTo>
                  <a:pt x="7264538" y="1714789"/>
                </a:lnTo>
                <a:lnTo>
                  <a:pt x="7262150" y="1715764"/>
                </a:lnTo>
                <a:lnTo>
                  <a:pt x="7260957" y="1710458"/>
                </a:lnTo>
                <a:lnTo>
                  <a:pt x="7261825" y="1706777"/>
                </a:lnTo>
                <a:lnTo>
                  <a:pt x="7263779" y="1705153"/>
                </a:lnTo>
                <a:lnTo>
                  <a:pt x="7261500" y="1702771"/>
                </a:lnTo>
                <a:lnTo>
                  <a:pt x="7262043" y="1699956"/>
                </a:lnTo>
                <a:lnTo>
                  <a:pt x="7265840" y="1697899"/>
                </a:lnTo>
                <a:lnTo>
                  <a:pt x="7267143" y="1693243"/>
                </a:lnTo>
                <a:lnTo>
                  <a:pt x="7266709" y="1690537"/>
                </a:lnTo>
                <a:lnTo>
                  <a:pt x="7268879" y="1690645"/>
                </a:lnTo>
                <a:lnTo>
                  <a:pt x="7271700" y="1685772"/>
                </a:lnTo>
                <a:lnTo>
                  <a:pt x="7273545" y="1682633"/>
                </a:lnTo>
                <a:lnTo>
                  <a:pt x="7272026" y="1680034"/>
                </a:lnTo>
                <a:lnTo>
                  <a:pt x="7273654" y="1676028"/>
                </a:lnTo>
                <a:lnTo>
                  <a:pt x="7274739" y="1675487"/>
                </a:lnTo>
                <a:lnTo>
                  <a:pt x="7276475" y="1679060"/>
                </a:lnTo>
                <a:lnTo>
                  <a:pt x="7278971" y="1680034"/>
                </a:lnTo>
                <a:lnTo>
                  <a:pt x="7282336" y="1677760"/>
                </a:lnTo>
                <a:lnTo>
                  <a:pt x="7285265" y="1677436"/>
                </a:lnTo>
                <a:lnTo>
                  <a:pt x="7286242" y="1673754"/>
                </a:lnTo>
                <a:lnTo>
                  <a:pt x="7291342" y="1668016"/>
                </a:lnTo>
                <a:close/>
                <a:moveTo>
                  <a:pt x="4065576" y="1666934"/>
                </a:moveTo>
                <a:lnTo>
                  <a:pt x="4065575" y="1666934"/>
                </a:lnTo>
                <a:lnTo>
                  <a:pt x="4062645" y="1671698"/>
                </a:lnTo>
                <a:lnTo>
                  <a:pt x="4059606" y="1675488"/>
                </a:lnTo>
                <a:lnTo>
                  <a:pt x="4061017" y="1682417"/>
                </a:lnTo>
                <a:lnTo>
                  <a:pt x="4059389" y="1690320"/>
                </a:lnTo>
                <a:lnTo>
                  <a:pt x="4057436" y="1695517"/>
                </a:lnTo>
                <a:lnTo>
                  <a:pt x="4056555" y="1695263"/>
                </a:lnTo>
                <a:lnTo>
                  <a:pt x="4057437" y="1695517"/>
                </a:lnTo>
                <a:lnTo>
                  <a:pt x="4057979" y="1695734"/>
                </a:lnTo>
                <a:lnTo>
                  <a:pt x="4056460" y="1699199"/>
                </a:lnTo>
                <a:lnTo>
                  <a:pt x="4060041" y="1706561"/>
                </a:lnTo>
                <a:lnTo>
                  <a:pt x="4059932" y="1709484"/>
                </a:lnTo>
                <a:lnTo>
                  <a:pt x="4062862" y="1713923"/>
                </a:lnTo>
                <a:lnTo>
                  <a:pt x="4060042" y="1720527"/>
                </a:lnTo>
                <a:lnTo>
                  <a:pt x="4062863" y="1713923"/>
                </a:lnTo>
                <a:lnTo>
                  <a:pt x="4059933" y="1709484"/>
                </a:lnTo>
                <a:lnTo>
                  <a:pt x="4060042" y="1706560"/>
                </a:lnTo>
                <a:lnTo>
                  <a:pt x="4056461" y="1699198"/>
                </a:lnTo>
                <a:lnTo>
                  <a:pt x="4057980" y="1695733"/>
                </a:lnTo>
                <a:lnTo>
                  <a:pt x="4057438" y="1695517"/>
                </a:lnTo>
                <a:lnTo>
                  <a:pt x="4059391" y="1690319"/>
                </a:lnTo>
                <a:lnTo>
                  <a:pt x="4061019" y="1682415"/>
                </a:lnTo>
                <a:lnTo>
                  <a:pt x="4059608" y="1675486"/>
                </a:lnTo>
                <a:lnTo>
                  <a:pt x="4062646" y="1671697"/>
                </a:lnTo>
                <a:close/>
                <a:moveTo>
                  <a:pt x="4688136" y="1666718"/>
                </a:moveTo>
                <a:lnTo>
                  <a:pt x="4675933" y="1668414"/>
                </a:lnTo>
                <a:lnTo>
                  <a:pt x="4677284" y="1670182"/>
                </a:lnTo>
                <a:lnTo>
                  <a:pt x="4690022" y="1668307"/>
                </a:lnTo>
                <a:close/>
                <a:moveTo>
                  <a:pt x="4574628" y="1665417"/>
                </a:moveTo>
                <a:lnTo>
                  <a:pt x="4569637" y="1665634"/>
                </a:lnTo>
                <a:lnTo>
                  <a:pt x="4569636" y="1665635"/>
                </a:lnTo>
                <a:lnTo>
                  <a:pt x="4574628" y="1665419"/>
                </a:lnTo>
                <a:lnTo>
                  <a:pt x="4578751" y="1668017"/>
                </a:lnTo>
                <a:lnTo>
                  <a:pt x="4585588" y="1665960"/>
                </a:lnTo>
                <a:lnTo>
                  <a:pt x="4589712" y="1669641"/>
                </a:lnTo>
                <a:lnTo>
                  <a:pt x="4594920" y="1668883"/>
                </a:lnTo>
                <a:lnTo>
                  <a:pt x="4594920" y="1668882"/>
                </a:lnTo>
                <a:lnTo>
                  <a:pt x="4589712" y="1669640"/>
                </a:lnTo>
                <a:lnTo>
                  <a:pt x="4585589" y="1665958"/>
                </a:lnTo>
                <a:lnTo>
                  <a:pt x="4578752" y="1668016"/>
                </a:lnTo>
                <a:close/>
                <a:moveTo>
                  <a:pt x="5247539" y="1664444"/>
                </a:moveTo>
                <a:lnTo>
                  <a:pt x="5245152" y="1666718"/>
                </a:lnTo>
                <a:lnTo>
                  <a:pt x="5245152" y="1671374"/>
                </a:lnTo>
                <a:lnTo>
                  <a:pt x="5242764" y="1676354"/>
                </a:lnTo>
                <a:lnTo>
                  <a:pt x="5237724" y="1677277"/>
                </a:lnTo>
                <a:lnTo>
                  <a:pt x="5238423" y="1677653"/>
                </a:lnTo>
                <a:lnTo>
                  <a:pt x="5243741" y="1676678"/>
                </a:lnTo>
                <a:lnTo>
                  <a:pt x="5246236" y="1671698"/>
                </a:lnTo>
                <a:lnTo>
                  <a:pt x="5246562" y="1667042"/>
                </a:lnTo>
                <a:lnTo>
                  <a:pt x="5248612" y="1665089"/>
                </a:lnTo>
                <a:close/>
                <a:moveTo>
                  <a:pt x="4553793" y="1664334"/>
                </a:moveTo>
                <a:lnTo>
                  <a:pt x="4546305" y="1668882"/>
                </a:lnTo>
                <a:lnTo>
                  <a:pt x="4543050" y="1667366"/>
                </a:lnTo>
                <a:lnTo>
                  <a:pt x="4535779" y="1666391"/>
                </a:lnTo>
                <a:lnTo>
                  <a:pt x="4533744" y="1668423"/>
                </a:lnTo>
                <a:lnTo>
                  <a:pt x="4535779" y="1666393"/>
                </a:lnTo>
                <a:lnTo>
                  <a:pt x="4543049" y="1667367"/>
                </a:lnTo>
                <a:lnTo>
                  <a:pt x="4546305" y="1668883"/>
                </a:lnTo>
                <a:lnTo>
                  <a:pt x="4553793" y="1664336"/>
                </a:lnTo>
                <a:lnTo>
                  <a:pt x="4560303" y="1665201"/>
                </a:lnTo>
                <a:lnTo>
                  <a:pt x="4561280" y="1669749"/>
                </a:lnTo>
                <a:lnTo>
                  <a:pt x="4565187" y="1671048"/>
                </a:lnTo>
                <a:lnTo>
                  <a:pt x="4565187" y="1671048"/>
                </a:lnTo>
                <a:lnTo>
                  <a:pt x="4561280" y="1669748"/>
                </a:lnTo>
                <a:lnTo>
                  <a:pt x="4560304" y="1665201"/>
                </a:lnTo>
                <a:close/>
                <a:moveTo>
                  <a:pt x="5272997" y="1663932"/>
                </a:moveTo>
                <a:lnTo>
                  <a:pt x="5269785" y="1666826"/>
                </a:lnTo>
                <a:lnTo>
                  <a:pt x="5261646" y="1669533"/>
                </a:lnTo>
                <a:lnTo>
                  <a:pt x="5255758" y="1668964"/>
                </a:lnTo>
                <a:lnTo>
                  <a:pt x="5256328" y="1669315"/>
                </a:lnTo>
                <a:lnTo>
                  <a:pt x="5263056" y="1669965"/>
                </a:lnTo>
                <a:lnTo>
                  <a:pt x="5271195" y="1667259"/>
                </a:lnTo>
                <a:close/>
                <a:moveTo>
                  <a:pt x="6945345" y="1663834"/>
                </a:moveTo>
                <a:lnTo>
                  <a:pt x="6945391" y="1664226"/>
                </a:lnTo>
                <a:lnTo>
                  <a:pt x="6944305" y="1665200"/>
                </a:lnTo>
                <a:lnTo>
                  <a:pt x="6942786" y="1665850"/>
                </a:lnTo>
                <a:lnTo>
                  <a:pt x="6943003" y="1669609"/>
                </a:lnTo>
                <a:lnTo>
                  <a:pt x="6943003" y="1667801"/>
                </a:lnTo>
                <a:lnTo>
                  <a:pt x="6944522" y="1667151"/>
                </a:lnTo>
                <a:lnTo>
                  <a:pt x="6945608" y="1666068"/>
                </a:lnTo>
                <a:lnTo>
                  <a:pt x="6945608" y="1664228"/>
                </a:lnTo>
                <a:close/>
                <a:moveTo>
                  <a:pt x="6944218" y="1659684"/>
                </a:moveTo>
                <a:lnTo>
                  <a:pt x="6944088" y="1660761"/>
                </a:lnTo>
                <a:lnTo>
                  <a:pt x="6944522" y="1661411"/>
                </a:lnTo>
                <a:lnTo>
                  <a:pt x="6944522" y="1659897"/>
                </a:lnTo>
                <a:close/>
                <a:moveTo>
                  <a:pt x="4081053" y="1658712"/>
                </a:moveTo>
                <a:lnTo>
                  <a:pt x="4078814" y="1660330"/>
                </a:lnTo>
                <a:lnTo>
                  <a:pt x="4081418" y="1664768"/>
                </a:lnTo>
                <a:lnTo>
                  <a:pt x="4077947" y="1666717"/>
                </a:lnTo>
                <a:lnTo>
                  <a:pt x="4081419" y="1664768"/>
                </a:lnTo>
                <a:lnTo>
                  <a:pt x="4078815" y="1660329"/>
                </a:lnTo>
                <a:close/>
                <a:moveTo>
                  <a:pt x="5167236" y="1658381"/>
                </a:moveTo>
                <a:lnTo>
                  <a:pt x="5163439" y="1659572"/>
                </a:lnTo>
                <a:lnTo>
                  <a:pt x="5163439" y="1664011"/>
                </a:lnTo>
                <a:lnTo>
                  <a:pt x="5158447" y="1664011"/>
                </a:lnTo>
                <a:lnTo>
                  <a:pt x="5158447" y="1672889"/>
                </a:lnTo>
                <a:lnTo>
                  <a:pt x="5152587" y="1677328"/>
                </a:lnTo>
                <a:lnTo>
                  <a:pt x="5148789" y="1675813"/>
                </a:lnTo>
                <a:lnTo>
                  <a:pt x="5146076" y="1671374"/>
                </a:lnTo>
                <a:lnTo>
                  <a:pt x="5136961" y="1669966"/>
                </a:lnTo>
                <a:lnTo>
                  <a:pt x="5133705" y="1665311"/>
                </a:lnTo>
                <a:lnTo>
                  <a:pt x="5129038" y="1668017"/>
                </a:lnTo>
                <a:lnTo>
                  <a:pt x="5129038" y="1674080"/>
                </a:lnTo>
                <a:lnTo>
                  <a:pt x="5125892" y="1678736"/>
                </a:lnTo>
                <a:lnTo>
                  <a:pt x="5123783" y="1678063"/>
                </a:lnTo>
                <a:lnTo>
                  <a:pt x="5123830" y="1678843"/>
                </a:lnTo>
                <a:lnTo>
                  <a:pt x="5126651" y="1679818"/>
                </a:lnTo>
                <a:lnTo>
                  <a:pt x="5129689" y="1675162"/>
                </a:lnTo>
                <a:lnTo>
                  <a:pt x="5129255" y="1669099"/>
                </a:lnTo>
                <a:lnTo>
                  <a:pt x="5133812" y="1666392"/>
                </a:lnTo>
                <a:lnTo>
                  <a:pt x="5137177" y="1670939"/>
                </a:lnTo>
                <a:lnTo>
                  <a:pt x="5146292" y="1672347"/>
                </a:lnTo>
                <a:lnTo>
                  <a:pt x="5149005" y="1676894"/>
                </a:lnTo>
                <a:lnTo>
                  <a:pt x="5152803" y="1678410"/>
                </a:lnTo>
                <a:lnTo>
                  <a:pt x="5158663" y="1673863"/>
                </a:lnTo>
                <a:lnTo>
                  <a:pt x="5159205" y="1664985"/>
                </a:lnTo>
                <a:lnTo>
                  <a:pt x="5164198" y="1664443"/>
                </a:lnTo>
                <a:lnTo>
                  <a:pt x="5164523" y="1660004"/>
                </a:lnTo>
                <a:lnTo>
                  <a:pt x="5167710" y="1659005"/>
                </a:lnTo>
                <a:close/>
                <a:moveTo>
                  <a:pt x="5177546" y="1657190"/>
                </a:moveTo>
                <a:lnTo>
                  <a:pt x="5172011" y="1658056"/>
                </a:lnTo>
                <a:lnTo>
                  <a:pt x="5170260" y="1661367"/>
                </a:lnTo>
                <a:lnTo>
                  <a:pt x="5171034" y="1662386"/>
                </a:lnTo>
                <a:lnTo>
                  <a:pt x="5173095" y="1658488"/>
                </a:lnTo>
                <a:lnTo>
                  <a:pt x="5178098" y="1657706"/>
                </a:lnTo>
                <a:close/>
                <a:moveTo>
                  <a:pt x="4488792" y="1657081"/>
                </a:moveTo>
                <a:lnTo>
                  <a:pt x="4488791" y="1657081"/>
                </a:lnTo>
                <a:lnTo>
                  <a:pt x="4491721" y="1657189"/>
                </a:lnTo>
                <a:lnTo>
                  <a:pt x="4497581" y="1660546"/>
                </a:lnTo>
                <a:lnTo>
                  <a:pt x="4511363" y="1662603"/>
                </a:lnTo>
                <a:lnTo>
                  <a:pt x="4517222" y="1665527"/>
                </a:lnTo>
                <a:lnTo>
                  <a:pt x="4518199" y="1668233"/>
                </a:lnTo>
                <a:lnTo>
                  <a:pt x="4526555" y="1664985"/>
                </a:lnTo>
                <a:lnTo>
                  <a:pt x="4530461" y="1668558"/>
                </a:lnTo>
                <a:lnTo>
                  <a:pt x="4533717" y="1668450"/>
                </a:lnTo>
                <a:lnTo>
                  <a:pt x="4533718" y="1668449"/>
                </a:lnTo>
                <a:lnTo>
                  <a:pt x="4530462" y="1668557"/>
                </a:lnTo>
                <a:lnTo>
                  <a:pt x="4526555" y="1664984"/>
                </a:lnTo>
                <a:lnTo>
                  <a:pt x="4518199" y="1668232"/>
                </a:lnTo>
                <a:lnTo>
                  <a:pt x="4517223" y="1665526"/>
                </a:lnTo>
                <a:lnTo>
                  <a:pt x="4511363" y="1662603"/>
                </a:lnTo>
                <a:lnTo>
                  <a:pt x="4497581" y="1660545"/>
                </a:lnTo>
                <a:lnTo>
                  <a:pt x="4491722" y="1657189"/>
                </a:lnTo>
                <a:close/>
                <a:moveTo>
                  <a:pt x="5203373" y="1655241"/>
                </a:moveTo>
                <a:lnTo>
                  <a:pt x="5200768" y="1658489"/>
                </a:lnTo>
                <a:lnTo>
                  <a:pt x="5195451" y="1658489"/>
                </a:lnTo>
                <a:lnTo>
                  <a:pt x="5191653" y="1659680"/>
                </a:lnTo>
                <a:lnTo>
                  <a:pt x="5192521" y="1665527"/>
                </a:lnTo>
                <a:lnTo>
                  <a:pt x="5186673" y="1666092"/>
                </a:lnTo>
                <a:lnTo>
                  <a:pt x="5186878" y="1666501"/>
                </a:lnTo>
                <a:lnTo>
                  <a:pt x="5193605" y="1665851"/>
                </a:lnTo>
                <a:lnTo>
                  <a:pt x="5192846" y="1660004"/>
                </a:lnTo>
                <a:lnTo>
                  <a:pt x="5196535" y="1658813"/>
                </a:lnTo>
                <a:lnTo>
                  <a:pt x="5201961" y="1659247"/>
                </a:lnTo>
                <a:lnTo>
                  <a:pt x="5204457" y="1655998"/>
                </a:lnTo>
                <a:lnTo>
                  <a:pt x="5210209" y="1659139"/>
                </a:lnTo>
                <a:lnTo>
                  <a:pt x="5212427" y="1660245"/>
                </a:lnTo>
                <a:lnTo>
                  <a:pt x="5212488" y="1660113"/>
                </a:lnTo>
                <a:lnTo>
                  <a:pt x="5209016" y="1658381"/>
                </a:lnTo>
                <a:close/>
                <a:moveTo>
                  <a:pt x="5093330" y="1651658"/>
                </a:moveTo>
                <a:lnTo>
                  <a:pt x="5094530" y="1653508"/>
                </a:lnTo>
                <a:lnTo>
                  <a:pt x="5097351" y="1653617"/>
                </a:lnTo>
                <a:lnTo>
                  <a:pt x="5102126" y="1659788"/>
                </a:lnTo>
                <a:lnTo>
                  <a:pt x="5107334" y="1659788"/>
                </a:lnTo>
                <a:lnTo>
                  <a:pt x="5111132" y="1664768"/>
                </a:lnTo>
                <a:lnTo>
                  <a:pt x="5117861" y="1669749"/>
                </a:lnTo>
                <a:lnTo>
                  <a:pt x="5121659" y="1670182"/>
                </a:lnTo>
                <a:lnTo>
                  <a:pt x="5123179" y="1672858"/>
                </a:lnTo>
                <a:lnTo>
                  <a:pt x="5123179" y="1672348"/>
                </a:lnTo>
                <a:lnTo>
                  <a:pt x="5121334" y="1669099"/>
                </a:lnTo>
                <a:lnTo>
                  <a:pt x="5117536" y="1669099"/>
                </a:lnTo>
                <a:lnTo>
                  <a:pt x="5110808" y="1664119"/>
                </a:lnTo>
                <a:lnTo>
                  <a:pt x="5107010" y="1659139"/>
                </a:lnTo>
                <a:lnTo>
                  <a:pt x="5101801" y="1659139"/>
                </a:lnTo>
                <a:lnTo>
                  <a:pt x="5096918" y="1652968"/>
                </a:lnTo>
                <a:lnTo>
                  <a:pt x="5094205" y="1652968"/>
                </a:lnTo>
                <a:close/>
                <a:moveTo>
                  <a:pt x="5022475" y="1651126"/>
                </a:moveTo>
                <a:lnTo>
                  <a:pt x="5018894" y="1653942"/>
                </a:lnTo>
                <a:lnTo>
                  <a:pt x="5016615" y="1660330"/>
                </a:lnTo>
                <a:lnTo>
                  <a:pt x="5013360" y="1660330"/>
                </a:lnTo>
                <a:lnTo>
                  <a:pt x="5006306" y="1664769"/>
                </a:lnTo>
                <a:lnTo>
                  <a:pt x="5004787" y="1670291"/>
                </a:lnTo>
                <a:lnTo>
                  <a:pt x="5008260" y="1674621"/>
                </a:lnTo>
                <a:lnTo>
                  <a:pt x="5008260" y="1679711"/>
                </a:lnTo>
                <a:lnTo>
                  <a:pt x="5000555" y="1679711"/>
                </a:lnTo>
                <a:lnTo>
                  <a:pt x="4993176" y="1680576"/>
                </a:lnTo>
                <a:lnTo>
                  <a:pt x="4998710" y="1699632"/>
                </a:lnTo>
                <a:lnTo>
                  <a:pt x="4995780" y="1702014"/>
                </a:lnTo>
                <a:lnTo>
                  <a:pt x="4996648" y="1709268"/>
                </a:lnTo>
                <a:lnTo>
                  <a:pt x="4992737" y="1709613"/>
                </a:lnTo>
                <a:lnTo>
                  <a:pt x="4994477" y="1710675"/>
                </a:lnTo>
                <a:lnTo>
                  <a:pt x="5001856" y="1710026"/>
                </a:lnTo>
                <a:lnTo>
                  <a:pt x="5000988" y="1702771"/>
                </a:lnTo>
                <a:lnTo>
                  <a:pt x="5003918" y="1700389"/>
                </a:lnTo>
                <a:lnTo>
                  <a:pt x="4998383" y="1681333"/>
                </a:lnTo>
                <a:lnTo>
                  <a:pt x="5005871" y="1680468"/>
                </a:lnTo>
                <a:lnTo>
                  <a:pt x="5013576" y="1680468"/>
                </a:lnTo>
                <a:lnTo>
                  <a:pt x="5013576" y="1674837"/>
                </a:lnTo>
                <a:lnTo>
                  <a:pt x="5010104" y="1670507"/>
                </a:lnTo>
                <a:lnTo>
                  <a:pt x="5011731" y="1664985"/>
                </a:lnTo>
                <a:lnTo>
                  <a:pt x="5018785" y="1660546"/>
                </a:lnTo>
                <a:lnTo>
                  <a:pt x="5022040" y="1660329"/>
                </a:lnTo>
                <a:lnTo>
                  <a:pt x="5024320" y="1653941"/>
                </a:lnTo>
                <a:lnTo>
                  <a:pt x="5026530" y="1652270"/>
                </a:lnTo>
                <a:close/>
                <a:moveTo>
                  <a:pt x="6570356" y="1650151"/>
                </a:moveTo>
                <a:lnTo>
                  <a:pt x="6567970" y="1652208"/>
                </a:lnTo>
                <a:lnTo>
                  <a:pt x="6561350" y="1654265"/>
                </a:lnTo>
                <a:lnTo>
                  <a:pt x="6561024" y="1658704"/>
                </a:lnTo>
                <a:lnTo>
                  <a:pt x="6561784" y="1663901"/>
                </a:lnTo>
                <a:lnTo>
                  <a:pt x="6555816" y="1672888"/>
                </a:lnTo>
                <a:lnTo>
                  <a:pt x="6551041" y="1668015"/>
                </a:lnTo>
                <a:lnTo>
                  <a:pt x="6540732" y="1666283"/>
                </a:lnTo>
                <a:lnTo>
                  <a:pt x="6531074" y="1666283"/>
                </a:lnTo>
                <a:lnTo>
                  <a:pt x="6523478" y="1672129"/>
                </a:lnTo>
                <a:lnTo>
                  <a:pt x="6512084" y="1666717"/>
                </a:lnTo>
                <a:lnTo>
                  <a:pt x="6512084" y="1666717"/>
                </a:lnTo>
                <a:lnTo>
                  <a:pt x="6523479" y="1672131"/>
                </a:lnTo>
                <a:lnTo>
                  <a:pt x="6531074" y="1666284"/>
                </a:lnTo>
                <a:lnTo>
                  <a:pt x="6540732" y="1666284"/>
                </a:lnTo>
                <a:lnTo>
                  <a:pt x="6551042" y="1668017"/>
                </a:lnTo>
                <a:lnTo>
                  <a:pt x="6555816" y="1672889"/>
                </a:lnTo>
                <a:lnTo>
                  <a:pt x="6561785" y="1663902"/>
                </a:lnTo>
                <a:lnTo>
                  <a:pt x="6561025" y="1658705"/>
                </a:lnTo>
                <a:lnTo>
                  <a:pt x="6561351" y="1654266"/>
                </a:lnTo>
                <a:lnTo>
                  <a:pt x="6567970" y="1652209"/>
                </a:lnTo>
                <a:lnTo>
                  <a:pt x="6570358" y="1650152"/>
                </a:lnTo>
                <a:lnTo>
                  <a:pt x="6581100" y="1652858"/>
                </a:lnTo>
                <a:lnTo>
                  <a:pt x="6581100" y="1652858"/>
                </a:lnTo>
                <a:close/>
                <a:moveTo>
                  <a:pt x="6942322" y="1648712"/>
                </a:moveTo>
                <a:lnTo>
                  <a:pt x="6942134" y="1651017"/>
                </a:lnTo>
                <a:lnTo>
                  <a:pt x="6940832" y="1654482"/>
                </a:lnTo>
                <a:lnTo>
                  <a:pt x="6941334" y="1655252"/>
                </a:lnTo>
                <a:lnTo>
                  <a:pt x="6942352" y="1652751"/>
                </a:lnTo>
                <a:lnTo>
                  <a:pt x="6942352" y="1648745"/>
                </a:lnTo>
                <a:close/>
                <a:moveTo>
                  <a:pt x="5074177" y="1648706"/>
                </a:moveTo>
                <a:lnTo>
                  <a:pt x="5074237" y="1648852"/>
                </a:lnTo>
                <a:lnTo>
                  <a:pt x="5079555" y="1652425"/>
                </a:lnTo>
                <a:lnTo>
                  <a:pt x="5088236" y="1649719"/>
                </a:lnTo>
                <a:lnTo>
                  <a:pt x="5092106" y="1649826"/>
                </a:lnTo>
                <a:lnTo>
                  <a:pt x="5091818" y="1649395"/>
                </a:lnTo>
                <a:lnTo>
                  <a:pt x="5087802" y="1649395"/>
                </a:lnTo>
                <a:lnTo>
                  <a:pt x="5079229" y="1652101"/>
                </a:lnTo>
                <a:close/>
                <a:moveTo>
                  <a:pt x="2731906" y="1642356"/>
                </a:moveTo>
                <a:lnTo>
                  <a:pt x="2731906" y="1643980"/>
                </a:lnTo>
                <a:lnTo>
                  <a:pt x="2731906" y="1646362"/>
                </a:lnTo>
                <a:lnTo>
                  <a:pt x="2733968" y="1646362"/>
                </a:lnTo>
                <a:lnTo>
                  <a:pt x="2733968" y="1644738"/>
                </a:lnTo>
                <a:lnTo>
                  <a:pt x="2736681" y="1643655"/>
                </a:lnTo>
                <a:lnTo>
                  <a:pt x="2739828" y="1643655"/>
                </a:lnTo>
                <a:lnTo>
                  <a:pt x="2739828" y="1649610"/>
                </a:lnTo>
                <a:lnTo>
                  <a:pt x="2738200" y="1652209"/>
                </a:lnTo>
                <a:lnTo>
                  <a:pt x="2736356" y="1653183"/>
                </a:lnTo>
                <a:lnTo>
                  <a:pt x="2732883" y="1651234"/>
                </a:lnTo>
                <a:lnTo>
                  <a:pt x="2729410" y="1650476"/>
                </a:lnTo>
                <a:lnTo>
                  <a:pt x="2727023" y="1651018"/>
                </a:lnTo>
                <a:lnTo>
                  <a:pt x="2725938" y="1653183"/>
                </a:lnTo>
                <a:lnTo>
                  <a:pt x="2727348" y="1654590"/>
                </a:lnTo>
                <a:lnTo>
                  <a:pt x="2727999" y="1657947"/>
                </a:lnTo>
                <a:lnTo>
                  <a:pt x="2730061" y="1656323"/>
                </a:lnTo>
                <a:lnTo>
                  <a:pt x="2731689" y="1656323"/>
                </a:lnTo>
                <a:lnTo>
                  <a:pt x="2733208" y="1658488"/>
                </a:lnTo>
                <a:lnTo>
                  <a:pt x="2732014" y="1660978"/>
                </a:lnTo>
                <a:lnTo>
                  <a:pt x="2727565" y="1665417"/>
                </a:lnTo>
                <a:lnTo>
                  <a:pt x="2724853" y="1669965"/>
                </a:lnTo>
                <a:lnTo>
                  <a:pt x="2723550" y="1668016"/>
                </a:lnTo>
                <a:lnTo>
                  <a:pt x="2724201" y="1665959"/>
                </a:lnTo>
                <a:lnTo>
                  <a:pt x="2724201" y="1663360"/>
                </a:lnTo>
                <a:lnTo>
                  <a:pt x="2722899" y="1666176"/>
                </a:lnTo>
                <a:lnTo>
                  <a:pt x="2721380" y="1668774"/>
                </a:lnTo>
                <a:lnTo>
                  <a:pt x="2721380" y="1670831"/>
                </a:lnTo>
                <a:lnTo>
                  <a:pt x="2720729" y="1672347"/>
                </a:lnTo>
                <a:lnTo>
                  <a:pt x="2718450" y="1673105"/>
                </a:lnTo>
                <a:lnTo>
                  <a:pt x="2716605" y="1675811"/>
                </a:lnTo>
                <a:lnTo>
                  <a:pt x="2713892" y="1677761"/>
                </a:lnTo>
                <a:lnTo>
                  <a:pt x="2711831" y="1681767"/>
                </a:lnTo>
                <a:lnTo>
                  <a:pt x="2710311" y="1683282"/>
                </a:lnTo>
                <a:lnTo>
                  <a:pt x="2708141" y="1685339"/>
                </a:lnTo>
                <a:lnTo>
                  <a:pt x="2708141" y="1687180"/>
                </a:lnTo>
                <a:lnTo>
                  <a:pt x="2705103" y="1690320"/>
                </a:lnTo>
                <a:lnTo>
                  <a:pt x="2703149" y="1694326"/>
                </a:lnTo>
                <a:lnTo>
                  <a:pt x="2703149" y="1696600"/>
                </a:lnTo>
                <a:lnTo>
                  <a:pt x="2700979" y="1699955"/>
                </a:lnTo>
                <a:lnTo>
                  <a:pt x="2700328" y="1703096"/>
                </a:lnTo>
                <a:lnTo>
                  <a:pt x="2700328" y="1706885"/>
                </a:lnTo>
                <a:lnTo>
                  <a:pt x="2702932" y="1704070"/>
                </a:lnTo>
                <a:lnTo>
                  <a:pt x="2706296" y="1701904"/>
                </a:lnTo>
                <a:lnTo>
                  <a:pt x="2707165" y="1699306"/>
                </a:lnTo>
                <a:lnTo>
                  <a:pt x="2709443" y="1697791"/>
                </a:lnTo>
                <a:lnTo>
                  <a:pt x="2712373" y="1694651"/>
                </a:lnTo>
                <a:lnTo>
                  <a:pt x="2714326" y="1691727"/>
                </a:lnTo>
                <a:lnTo>
                  <a:pt x="2717256" y="1689453"/>
                </a:lnTo>
                <a:lnTo>
                  <a:pt x="2719752" y="1688804"/>
                </a:lnTo>
                <a:lnTo>
                  <a:pt x="2719752" y="1689778"/>
                </a:lnTo>
                <a:lnTo>
                  <a:pt x="2718450" y="1690969"/>
                </a:lnTo>
                <a:lnTo>
                  <a:pt x="2716605" y="1694975"/>
                </a:lnTo>
                <a:lnTo>
                  <a:pt x="2718450" y="1693568"/>
                </a:lnTo>
                <a:lnTo>
                  <a:pt x="2720404" y="1693568"/>
                </a:lnTo>
                <a:lnTo>
                  <a:pt x="2723985" y="1696383"/>
                </a:lnTo>
                <a:lnTo>
                  <a:pt x="2726371" y="1697141"/>
                </a:lnTo>
                <a:lnTo>
                  <a:pt x="2730387" y="1695950"/>
                </a:lnTo>
                <a:lnTo>
                  <a:pt x="2731689" y="1695300"/>
                </a:lnTo>
                <a:lnTo>
                  <a:pt x="2731689" y="1697249"/>
                </a:lnTo>
                <a:lnTo>
                  <a:pt x="2729627" y="1699523"/>
                </a:lnTo>
                <a:lnTo>
                  <a:pt x="2726155" y="1700281"/>
                </a:lnTo>
                <a:lnTo>
                  <a:pt x="2724310" y="1701363"/>
                </a:lnTo>
                <a:lnTo>
                  <a:pt x="2720295" y="1701363"/>
                </a:lnTo>
                <a:lnTo>
                  <a:pt x="2716605" y="1704503"/>
                </a:lnTo>
                <a:lnTo>
                  <a:pt x="2714869" y="1707426"/>
                </a:lnTo>
                <a:lnTo>
                  <a:pt x="2718124" y="1704828"/>
                </a:lnTo>
                <a:lnTo>
                  <a:pt x="2719969" y="1704828"/>
                </a:lnTo>
                <a:lnTo>
                  <a:pt x="2721488" y="1704828"/>
                </a:lnTo>
                <a:lnTo>
                  <a:pt x="2720404" y="1707968"/>
                </a:lnTo>
                <a:lnTo>
                  <a:pt x="2717907" y="1711865"/>
                </a:lnTo>
                <a:lnTo>
                  <a:pt x="2714001" y="1714464"/>
                </a:lnTo>
                <a:lnTo>
                  <a:pt x="2714001" y="1715547"/>
                </a:lnTo>
                <a:lnTo>
                  <a:pt x="2715846" y="1715547"/>
                </a:lnTo>
                <a:lnTo>
                  <a:pt x="2719427" y="1712624"/>
                </a:lnTo>
                <a:lnTo>
                  <a:pt x="2720512" y="1712624"/>
                </a:lnTo>
                <a:lnTo>
                  <a:pt x="2721814" y="1716305"/>
                </a:lnTo>
                <a:lnTo>
                  <a:pt x="2723442" y="1716305"/>
                </a:lnTo>
                <a:lnTo>
                  <a:pt x="2727348" y="1712732"/>
                </a:lnTo>
                <a:lnTo>
                  <a:pt x="2730387" y="1712191"/>
                </a:lnTo>
                <a:lnTo>
                  <a:pt x="2730387" y="1713165"/>
                </a:lnTo>
                <a:lnTo>
                  <a:pt x="2729736" y="1715655"/>
                </a:lnTo>
                <a:lnTo>
                  <a:pt x="2728108" y="1717279"/>
                </a:lnTo>
                <a:lnTo>
                  <a:pt x="2728976" y="1718903"/>
                </a:lnTo>
                <a:lnTo>
                  <a:pt x="2731581" y="1716196"/>
                </a:lnTo>
                <a:lnTo>
                  <a:pt x="2732774" y="1713922"/>
                </a:lnTo>
                <a:lnTo>
                  <a:pt x="2735379" y="1712840"/>
                </a:lnTo>
                <a:lnTo>
                  <a:pt x="2736464" y="1713489"/>
                </a:lnTo>
                <a:lnTo>
                  <a:pt x="2733859" y="1717928"/>
                </a:lnTo>
                <a:lnTo>
                  <a:pt x="2733317" y="1723883"/>
                </a:lnTo>
                <a:lnTo>
                  <a:pt x="2731038" y="1726373"/>
                </a:lnTo>
                <a:lnTo>
                  <a:pt x="2734185" y="1724100"/>
                </a:lnTo>
                <a:lnTo>
                  <a:pt x="2734836" y="1719553"/>
                </a:lnTo>
                <a:lnTo>
                  <a:pt x="2737983" y="1717496"/>
                </a:lnTo>
                <a:lnTo>
                  <a:pt x="2739502" y="1719011"/>
                </a:lnTo>
                <a:lnTo>
                  <a:pt x="2741998" y="1718037"/>
                </a:lnTo>
                <a:lnTo>
                  <a:pt x="2743300" y="1716521"/>
                </a:lnTo>
                <a:lnTo>
                  <a:pt x="2744711" y="1717928"/>
                </a:lnTo>
                <a:lnTo>
                  <a:pt x="2746013" y="1717496"/>
                </a:lnTo>
                <a:lnTo>
                  <a:pt x="2747641" y="1715005"/>
                </a:lnTo>
                <a:lnTo>
                  <a:pt x="2750896" y="1712515"/>
                </a:lnTo>
                <a:lnTo>
                  <a:pt x="2752416" y="1712515"/>
                </a:lnTo>
                <a:lnTo>
                  <a:pt x="2750788" y="1715763"/>
                </a:lnTo>
                <a:lnTo>
                  <a:pt x="2749703" y="1718037"/>
                </a:lnTo>
                <a:lnTo>
                  <a:pt x="2750788" y="1719553"/>
                </a:lnTo>
                <a:lnTo>
                  <a:pt x="2750137" y="1723450"/>
                </a:lnTo>
                <a:lnTo>
                  <a:pt x="2748509" y="1725508"/>
                </a:lnTo>
                <a:lnTo>
                  <a:pt x="2751114" y="1723559"/>
                </a:lnTo>
                <a:lnTo>
                  <a:pt x="2751982" y="1719769"/>
                </a:lnTo>
                <a:lnTo>
                  <a:pt x="2753718" y="1716412"/>
                </a:lnTo>
                <a:lnTo>
                  <a:pt x="2753718" y="1714031"/>
                </a:lnTo>
                <a:lnTo>
                  <a:pt x="2755671" y="1714031"/>
                </a:lnTo>
                <a:lnTo>
                  <a:pt x="2759687" y="1713057"/>
                </a:lnTo>
                <a:lnTo>
                  <a:pt x="2763593" y="1713057"/>
                </a:lnTo>
                <a:lnTo>
                  <a:pt x="2767608" y="1716846"/>
                </a:lnTo>
                <a:lnTo>
                  <a:pt x="2770429" y="1718470"/>
                </a:lnTo>
                <a:lnTo>
                  <a:pt x="2770429" y="1720852"/>
                </a:lnTo>
                <a:lnTo>
                  <a:pt x="2768693" y="1722476"/>
                </a:lnTo>
                <a:lnTo>
                  <a:pt x="2768693" y="1725508"/>
                </a:lnTo>
                <a:lnTo>
                  <a:pt x="2766414" y="1727024"/>
                </a:lnTo>
                <a:lnTo>
                  <a:pt x="2764135" y="1727024"/>
                </a:lnTo>
                <a:lnTo>
                  <a:pt x="2762725" y="1728756"/>
                </a:lnTo>
                <a:lnTo>
                  <a:pt x="2759578" y="1730272"/>
                </a:lnTo>
                <a:lnTo>
                  <a:pt x="2755562" y="1731030"/>
                </a:lnTo>
                <a:lnTo>
                  <a:pt x="2758059" y="1732870"/>
                </a:lnTo>
                <a:lnTo>
                  <a:pt x="2753718" y="1732870"/>
                </a:lnTo>
                <a:lnTo>
                  <a:pt x="2758167" y="1733520"/>
                </a:lnTo>
                <a:lnTo>
                  <a:pt x="2760988" y="1732546"/>
                </a:lnTo>
                <a:lnTo>
                  <a:pt x="2762508" y="1732546"/>
                </a:lnTo>
                <a:lnTo>
                  <a:pt x="2762508" y="1735144"/>
                </a:lnTo>
                <a:lnTo>
                  <a:pt x="2761531" y="1737634"/>
                </a:lnTo>
                <a:lnTo>
                  <a:pt x="2763376" y="1735577"/>
                </a:lnTo>
                <a:lnTo>
                  <a:pt x="2765003" y="1736335"/>
                </a:lnTo>
                <a:lnTo>
                  <a:pt x="2763593" y="1739691"/>
                </a:lnTo>
                <a:lnTo>
                  <a:pt x="2761640" y="1741423"/>
                </a:lnTo>
                <a:lnTo>
                  <a:pt x="2763376" y="1742506"/>
                </a:lnTo>
                <a:lnTo>
                  <a:pt x="2762291" y="1743913"/>
                </a:lnTo>
                <a:lnTo>
                  <a:pt x="2759903" y="1746295"/>
                </a:lnTo>
                <a:lnTo>
                  <a:pt x="2757516" y="1747595"/>
                </a:lnTo>
                <a:lnTo>
                  <a:pt x="2759903" y="1747595"/>
                </a:lnTo>
                <a:lnTo>
                  <a:pt x="2761423" y="1746079"/>
                </a:lnTo>
                <a:lnTo>
                  <a:pt x="2761423" y="1748894"/>
                </a:lnTo>
                <a:lnTo>
                  <a:pt x="2760663" y="1750843"/>
                </a:lnTo>
                <a:lnTo>
                  <a:pt x="2762291" y="1750085"/>
                </a:lnTo>
                <a:lnTo>
                  <a:pt x="2762291" y="1747703"/>
                </a:lnTo>
                <a:lnTo>
                  <a:pt x="2764569" y="1746295"/>
                </a:lnTo>
                <a:lnTo>
                  <a:pt x="2767608" y="1744022"/>
                </a:lnTo>
                <a:lnTo>
                  <a:pt x="2769453" y="1744022"/>
                </a:lnTo>
                <a:lnTo>
                  <a:pt x="2771298" y="1743048"/>
                </a:lnTo>
                <a:lnTo>
                  <a:pt x="2771298" y="1739907"/>
                </a:lnTo>
                <a:lnTo>
                  <a:pt x="2771298" y="1737959"/>
                </a:lnTo>
                <a:lnTo>
                  <a:pt x="2773902" y="1737959"/>
                </a:lnTo>
                <a:lnTo>
                  <a:pt x="2774553" y="1739475"/>
                </a:lnTo>
                <a:lnTo>
                  <a:pt x="2776940" y="1737959"/>
                </a:lnTo>
                <a:lnTo>
                  <a:pt x="2779979" y="1734710"/>
                </a:lnTo>
                <a:lnTo>
                  <a:pt x="2781173" y="1737093"/>
                </a:lnTo>
                <a:lnTo>
                  <a:pt x="2781173" y="1740449"/>
                </a:lnTo>
                <a:lnTo>
                  <a:pt x="2779762" y="1743481"/>
                </a:lnTo>
                <a:lnTo>
                  <a:pt x="2775421" y="1746187"/>
                </a:lnTo>
                <a:lnTo>
                  <a:pt x="2774336" y="1744888"/>
                </a:lnTo>
                <a:lnTo>
                  <a:pt x="2770755" y="1744888"/>
                </a:lnTo>
                <a:lnTo>
                  <a:pt x="2769236" y="1748894"/>
                </a:lnTo>
                <a:lnTo>
                  <a:pt x="2765655" y="1751817"/>
                </a:lnTo>
                <a:lnTo>
                  <a:pt x="2764461" y="1752791"/>
                </a:lnTo>
                <a:lnTo>
                  <a:pt x="2760446" y="1752791"/>
                </a:lnTo>
                <a:lnTo>
                  <a:pt x="2759143" y="1753658"/>
                </a:lnTo>
                <a:lnTo>
                  <a:pt x="2759143" y="1754839"/>
                </a:lnTo>
                <a:lnTo>
                  <a:pt x="2763485" y="1756149"/>
                </a:lnTo>
                <a:lnTo>
                  <a:pt x="2762834" y="1757773"/>
                </a:lnTo>
                <a:lnTo>
                  <a:pt x="2760759" y="1757773"/>
                </a:lnTo>
                <a:lnTo>
                  <a:pt x="2760988" y="1757989"/>
                </a:lnTo>
                <a:lnTo>
                  <a:pt x="2764787" y="1758746"/>
                </a:lnTo>
                <a:lnTo>
                  <a:pt x="2761097" y="1758746"/>
                </a:lnTo>
                <a:lnTo>
                  <a:pt x="2758818" y="1758746"/>
                </a:lnTo>
                <a:lnTo>
                  <a:pt x="2762400" y="1760046"/>
                </a:lnTo>
                <a:lnTo>
                  <a:pt x="2764244" y="1760046"/>
                </a:lnTo>
                <a:lnTo>
                  <a:pt x="2761531" y="1764268"/>
                </a:lnTo>
                <a:lnTo>
                  <a:pt x="2760012" y="1764268"/>
                </a:lnTo>
                <a:lnTo>
                  <a:pt x="2758275" y="1761670"/>
                </a:lnTo>
                <a:lnTo>
                  <a:pt x="2758275" y="1764485"/>
                </a:lnTo>
                <a:lnTo>
                  <a:pt x="2759361" y="1767191"/>
                </a:lnTo>
                <a:lnTo>
                  <a:pt x="2759361" y="1769574"/>
                </a:lnTo>
                <a:lnTo>
                  <a:pt x="2762616" y="1772389"/>
                </a:lnTo>
                <a:lnTo>
                  <a:pt x="2764895" y="1770764"/>
                </a:lnTo>
                <a:lnTo>
                  <a:pt x="2764895" y="1769032"/>
                </a:lnTo>
                <a:lnTo>
                  <a:pt x="2769670" y="1765351"/>
                </a:lnTo>
                <a:lnTo>
                  <a:pt x="2770321" y="1762970"/>
                </a:lnTo>
                <a:lnTo>
                  <a:pt x="2773251" y="1760262"/>
                </a:lnTo>
                <a:lnTo>
                  <a:pt x="2775964" y="1760262"/>
                </a:lnTo>
                <a:lnTo>
                  <a:pt x="2778894" y="1758746"/>
                </a:lnTo>
                <a:lnTo>
                  <a:pt x="2780521" y="1758746"/>
                </a:lnTo>
                <a:lnTo>
                  <a:pt x="2782583" y="1756906"/>
                </a:lnTo>
                <a:lnTo>
                  <a:pt x="2783560" y="1759288"/>
                </a:lnTo>
                <a:lnTo>
                  <a:pt x="2781824" y="1760262"/>
                </a:lnTo>
                <a:lnTo>
                  <a:pt x="2780630" y="1760262"/>
                </a:lnTo>
                <a:lnTo>
                  <a:pt x="2777049" y="1763511"/>
                </a:lnTo>
                <a:lnTo>
                  <a:pt x="2776180" y="1765134"/>
                </a:lnTo>
                <a:lnTo>
                  <a:pt x="2772166" y="1768274"/>
                </a:lnTo>
                <a:lnTo>
                  <a:pt x="2772166" y="1771956"/>
                </a:lnTo>
                <a:lnTo>
                  <a:pt x="2771514" y="1775312"/>
                </a:lnTo>
                <a:lnTo>
                  <a:pt x="2773034" y="1778235"/>
                </a:lnTo>
                <a:lnTo>
                  <a:pt x="2774987" y="1777586"/>
                </a:lnTo>
                <a:lnTo>
                  <a:pt x="2777808" y="1774337"/>
                </a:lnTo>
                <a:lnTo>
                  <a:pt x="2781064" y="1772172"/>
                </a:lnTo>
                <a:lnTo>
                  <a:pt x="2782692" y="1768599"/>
                </a:lnTo>
                <a:lnTo>
                  <a:pt x="2782692" y="1766867"/>
                </a:lnTo>
                <a:lnTo>
                  <a:pt x="2783994" y="1766867"/>
                </a:lnTo>
                <a:lnTo>
                  <a:pt x="2783994" y="1769357"/>
                </a:lnTo>
                <a:lnTo>
                  <a:pt x="2783994" y="1776286"/>
                </a:lnTo>
                <a:lnTo>
                  <a:pt x="2781607" y="1780076"/>
                </a:lnTo>
                <a:lnTo>
                  <a:pt x="2777592" y="1785489"/>
                </a:lnTo>
                <a:lnTo>
                  <a:pt x="2776615" y="1789279"/>
                </a:lnTo>
                <a:lnTo>
                  <a:pt x="2777808" y="1791661"/>
                </a:lnTo>
                <a:lnTo>
                  <a:pt x="2777049" y="1793718"/>
                </a:lnTo>
                <a:lnTo>
                  <a:pt x="2776072" y="1793718"/>
                </a:lnTo>
                <a:lnTo>
                  <a:pt x="2776072" y="1794368"/>
                </a:lnTo>
                <a:lnTo>
                  <a:pt x="2775204" y="1796641"/>
                </a:lnTo>
                <a:lnTo>
                  <a:pt x="2773794" y="1796641"/>
                </a:lnTo>
                <a:lnTo>
                  <a:pt x="2773794" y="1799023"/>
                </a:lnTo>
                <a:lnTo>
                  <a:pt x="2770646" y="1801080"/>
                </a:lnTo>
                <a:lnTo>
                  <a:pt x="2768585" y="1800431"/>
                </a:lnTo>
                <a:cubicBezTo>
                  <a:pt x="2768585" y="1800431"/>
                  <a:pt x="2766631" y="1797291"/>
                  <a:pt x="2766631" y="1797291"/>
                </a:cubicBezTo>
                <a:lnTo>
                  <a:pt x="2764461" y="1797291"/>
                </a:lnTo>
                <a:lnTo>
                  <a:pt x="2762400" y="1799565"/>
                </a:lnTo>
                <a:lnTo>
                  <a:pt x="2761748" y="1802813"/>
                </a:lnTo>
                <a:lnTo>
                  <a:pt x="2759469" y="1800755"/>
                </a:lnTo>
                <a:lnTo>
                  <a:pt x="2759469" y="1796533"/>
                </a:lnTo>
                <a:lnTo>
                  <a:pt x="2758493" y="1795017"/>
                </a:lnTo>
                <a:lnTo>
                  <a:pt x="2759469" y="1791769"/>
                </a:lnTo>
                <a:lnTo>
                  <a:pt x="2759469" y="1788954"/>
                </a:lnTo>
                <a:lnTo>
                  <a:pt x="2763485" y="1784731"/>
                </a:lnTo>
                <a:lnTo>
                  <a:pt x="2766306" y="1784082"/>
                </a:lnTo>
                <a:lnTo>
                  <a:pt x="2766306" y="1782458"/>
                </a:lnTo>
                <a:lnTo>
                  <a:pt x="2762508" y="1782458"/>
                </a:lnTo>
                <a:lnTo>
                  <a:pt x="2761856" y="1780942"/>
                </a:lnTo>
                <a:lnTo>
                  <a:pt x="2760120" y="1783432"/>
                </a:lnTo>
                <a:lnTo>
                  <a:pt x="2756865" y="1787330"/>
                </a:lnTo>
                <a:lnTo>
                  <a:pt x="2755129" y="1787330"/>
                </a:lnTo>
                <a:lnTo>
                  <a:pt x="2751982" y="1793502"/>
                </a:lnTo>
                <a:lnTo>
                  <a:pt x="2748509" y="1795559"/>
                </a:lnTo>
                <a:lnTo>
                  <a:pt x="2746230" y="1794801"/>
                </a:lnTo>
                <a:lnTo>
                  <a:pt x="2746230" y="1791986"/>
                </a:lnTo>
                <a:lnTo>
                  <a:pt x="2747641" y="1790686"/>
                </a:lnTo>
                <a:lnTo>
                  <a:pt x="2747641" y="1787546"/>
                </a:lnTo>
                <a:lnTo>
                  <a:pt x="2750246" y="1780725"/>
                </a:lnTo>
                <a:lnTo>
                  <a:pt x="2753826" y="1777802"/>
                </a:lnTo>
                <a:lnTo>
                  <a:pt x="2754912" y="1775312"/>
                </a:lnTo>
                <a:lnTo>
                  <a:pt x="2753718" y="1773038"/>
                </a:lnTo>
                <a:lnTo>
                  <a:pt x="2754369" y="1769682"/>
                </a:lnTo>
                <a:lnTo>
                  <a:pt x="2755129" y="1766975"/>
                </a:lnTo>
                <a:lnTo>
                  <a:pt x="2755129" y="1762319"/>
                </a:lnTo>
                <a:lnTo>
                  <a:pt x="2753392" y="1760803"/>
                </a:lnTo>
                <a:lnTo>
                  <a:pt x="2751873" y="1760803"/>
                </a:lnTo>
                <a:lnTo>
                  <a:pt x="2750137" y="1759180"/>
                </a:lnTo>
                <a:lnTo>
                  <a:pt x="2748726" y="1759180"/>
                </a:lnTo>
                <a:lnTo>
                  <a:pt x="2747641" y="1760587"/>
                </a:lnTo>
                <a:lnTo>
                  <a:pt x="2747641" y="1765027"/>
                </a:lnTo>
                <a:lnTo>
                  <a:pt x="2745362" y="1769682"/>
                </a:lnTo>
                <a:lnTo>
                  <a:pt x="2743517" y="1775095"/>
                </a:lnTo>
                <a:lnTo>
                  <a:pt x="2741455" y="1776611"/>
                </a:lnTo>
                <a:lnTo>
                  <a:pt x="2738960" y="1776611"/>
                </a:lnTo>
                <a:lnTo>
                  <a:pt x="2741673" y="1774987"/>
                </a:lnTo>
                <a:lnTo>
                  <a:pt x="2738525" y="1774987"/>
                </a:lnTo>
                <a:lnTo>
                  <a:pt x="2736572" y="1773472"/>
                </a:lnTo>
                <a:lnTo>
                  <a:pt x="2734619" y="1774662"/>
                </a:lnTo>
                <a:lnTo>
                  <a:pt x="2730604" y="1779210"/>
                </a:lnTo>
                <a:lnTo>
                  <a:pt x="2728868" y="1779859"/>
                </a:lnTo>
                <a:lnTo>
                  <a:pt x="2728216" y="1782891"/>
                </a:lnTo>
                <a:lnTo>
                  <a:pt x="2727240" y="1785489"/>
                </a:lnTo>
                <a:lnTo>
                  <a:pt x="2726263" y="1785489"/>
                </a:lnTo>
                <a:lnTo>
                  <a:pt x="2724853" y="1788196"/>
                </a:lnTo>
                <a:lnTo>
                  <a:pt x="2722790" y="1790470"/>
                </a:lnTo>
                <a:lnTo>
                  <a:pt x="2719318" y="1791769"/>
                </a:lnTo>
                <a:lnTo>
                  <a:pt x="2717799" y="1790362"/>
                </a:lnTo>
                <a:lnTo>
                  <a:pt x="2717799" y="1788413"/>
                </a:lnTo>
                <a:lnTo>
                  <a:pt x="2715954" y="1788413"/>
                </a:lnTo>
                <a:lnTo>
                  <a:pt x="2714435" y="1789929"/>
                </a:lnTo>
                <a:lnTo>
                  <a:pt x="2713132" y="1791769"/>
                </a:lnTo>
                <a:lnTo>
                  <a:pt x="2710094" y="1791769"/>
                </a:lnTo>
                <a:lnTo>
                  <a:pt x="2709118" y="1790253"/>
                </a:lnTo>
                <a:lnTo>
                  <a:pt x="2708033" y="1788846"/>
                </a:lnTo>
                <a:lnTo>
                  <a:pt x="2708683" y="1787005"/>
                </a:lnTo>
                <a:lnTo>
                  <a:pt x="2712156" y="1784298"/>
                </a:lnTo>
                <a:lnTo>
                  <a:pt x="2716280" y="1783215"/>
                </a:lnTo>
                <a:lnTo>
                  <a:pt x="2717907" y="1781700"/>
                </a:lnTo>
                <a:lnTo>
                  <a:pt x="2718992" y="1780076"/>
                </a:lnTo>
                <a:lnTo>
                  <a:pt x="2720620" y="1779426"/>
                </a:lnTo>
                <a:lnTo>
                  <a:pt x="2723550" y="1779426"/>
                </a:lnTo>
                <a:lnTo>
                  <a:pt x="2724310" y="1777586"/>
                </a:lnTo>
                <a:lnTo>
                  <a:pt x="2725612" y="1776936"/>
                </a:lnTo>
                <a:lnTo>
                  <a:pt x="2725612" y="1775095"/>
                </a:lnTo>
                <a:lnTo>
                  <a:pt x="2727891" y="1772605"/>
                </a:lnTo>
                <a:lnTo>
                  <a:pt x="2731906" y="1772605"/>
                </a:lnTo>
                <a:lnTo>
                  <a:pt x="2735921" y="1770873"/>
                </a:lnTo>
                <a:lnTo>
                  <a:pt x="2735921" y="1769357"/>
                </a:lnTo>
                <a:lnTo>
                  <a:pt x="2738634" y="1767625"/>
                </a:lnTo>
                <a:lnTo>
                  <a:pt x="2735487" y="1767625"/>
                </a:lnTo>
                <a:lnTo>
                  <a:pt x="2733208" y="1769032"/>
                </a:lnTo>
                <a:lnTo>
                  <a:pt x="2730604" y="1769682"/>
                </a:lnTo>
                <a:lnTo>
                  <a:pt x="2728759" y="1767625"/>
                </a:lnTo>
                <a:lnTo>
                  <a:pt x="2725178" y="1766975"/>
                </a:lnTo>
                <a:lnTo>
                  <a:pt x="2723225" y="1765676"/>
                </a:lnTo>
                <a:lnTo>
                  <a:pt x="2723225" y="1768166"/>
                </a:lnTo>
                <a:lnTo>
                  <a:pt x="2721705" y="1771414"/>
                </a:lnTo>
                <a:lnTo>
                  <a:pt x="2718992" y="1772064"/>
                </a:lnTo>
                <a:lnTo>
                  <a:pt x="2717256" y="1773363"/>
                </a:lnTo>
                <a:lnTo>
                  <a:pt x="2716171" y="1771956"/>
                </a:lnTo>
                <a:lnTo>
                  <a:pt x="2713458" y="1771956"/>
                </a:lnTo>
                <a:lnTo>
                  <a:pt x="2712590" y="1770548"/>
                </a:lnTo>
                <a:lnTo>
                  <a:pt x="2709877" y="1770548"/>
                </a:lnTo>
                <a:lnTo>
                  <a:pt x="2708575" y="1771306"/>
                </a:lnTo>
                <a:lnTo>
                  <a:pt x="2707273" y="1770331"/>
                </a:lnTo>
                <a:lnTo>
                  <a:pt x="2711722" y="1768491"/>
                </a:lnTo>
                <a:lnTo>
                  <a:pt x="2716388" y="1765568"/>
                </a:lnTo>
                <a:lnTo>
                  <a:pt x="2716388" y="1764593"/>
                </a:lnTo>
                <a:lnTo>
                  <a:pt x="2715194" y="1764593"/>
                </a:lnTo>
                <a:lnTo>
                  <a:pt x="2712264" y="1765243"/>
                </a:lnTo>
                <a:lnTo>
                  <a:pt x="2712264" y="1763402"/>
                </a:lnTo>
                <a:lnTo>
                  <a:pt x="2713784" y="1760912"/>
                </a:lnTo>
                <a:lnTo>
                  <a:pt x="2713784" y="1758097"/>
                </a:lnTo>
                <a:lnTo>
                  <a:pt x="2712807" y="1758097"/>
                </a:lnTo>
                <a:lnTo>
                  <a:pt x="2710203" y="1760803"/>
                </a:lnTo>
                <a:lnTo>
                  <a:pt x="2709118" y="1763185"/>
                </a:lnTo>
                <a:lnTo>
                  <a:pt x="2708250" y="1762103"/>
                </a:lnTo>
                <a:lnTo>
                  <a:pt x="2709443" y="1757556"/>
                </a:lnTo>
                <a:lnTo>
                  <a:pt x="2710528" y="1756473"/>
                </a:lnTo>
                <a:lnTo>
                  <a:pt x="2708901" y="1756473"/>
                </a:lnTo>
                <a:lnTo>
                  <a:pt x="2707381" y="1759180"/>
                </a:lnTo>
                <a:lnTo>
                  <a:pt x="2706079" y="1757772"/>
                </a:lnTo>
                <a:lnTo>
                  <a:pt x="2706079" y="1761345"/>
                </a:lnTo>
                <a:lnTo>
                  <a:pt x="2706079" y="1763294"/>
                </a:lnTo>
                <a:lnTo>
                  <a:pt x="2705211" y="1765351"/>
                </a:lnTo>
                <a:lnTo>
                  <a:pt x="2702932" y="1764268"/>
                </a:lnTo>
                <a:lnTo>
                  <a:pt x="2700653" y="1764268"/>
                </a:lnTo>
                <a:lnTo>
                  <a:pt x="2699134" y="1766001"/>
                </a:lnTo>
                <a:lnTo>
                  <a:pt x="2697181" y="1766001"/>
                </a:lnTo>
                <a:lnTo>
                  <a:pt x="2695879" y="1764701"/>
                </a:lnTo>
                <a:lnTo>
                  <a:pt x="2692189" y="1764701"/>
                </a:lnTo>
                <a:lnTo>
                  <a:pt x="2692189" y="1766217"/>
                </a:lnTo>
                <a:lnTo>
                  <a:pt x="2690236" y="1767625"/>
                </a:lnTo>
                <a:lnTo>
                  <a:pt x="2687523" y="1767625"/>
                </a:lnTo>
                <a:lnTo>
                  <a:pt x="2686655" y="1766217"/>
                </a:lnTo>
                <a:lnTo>
                  <a:pt x="2685135" y="1766867"/>
                </a:lnTo>
                <a:lnTo>
                  <a:pt x="2680903" y="1766867"/>
                </a:lnTo>
                <a:lnTo>
                  <a:pt x="2679167" y="1764918"/>
                </a:lnTo>
                <a:lnTo>
                  <a:pt x="2678407" y="1763294"/>
                </a:lnTo>
                <a:lnTo>
                  <a:pt x="2674609" y="1764377"/>
                </a:lnTo>
                <a:lnTo>
                  <a:pt x="2668424" y="1764377"/>
                </a:lnTo>
                <a:lnTo>
                  <a:pt x="2666796" y="1761995"/>
                </a:lnTo>
                <a:lnTo>
                  <a:pt x="2663215" y="1763402"/>
                </a:lnTo>
                <a:lnTo>
                  <a:pt x="2658332" y="1762428"/>
                </a:lnTo>
                <a:lnTo>
                  <a:pt x="2660610" y="1759180"/>
                </a:lnTo>
                <a:lnTo>
                  <a:pt x="2660610" y="1757664"/>
                </a:lnTo>
                <a:lnTo>
                  <a:pt x="2659742" y="1759613"/>
                </a:lnTo>
                <a:lnTo>
                  <a:pt x="2656596" y="1762319"/>
                </a:lnTo>
                <a:lnTo>
                  <a:pt x="2652580" y="1762319"/>
                </a:lnTo>
                <a:lnTo>
                  <a:pt x="2649325" y="1764918"/>
                </a:lnTo>
                <a:lnTo>
                  <a:pt x="2644007" y="1765676"/>
                </a:lnTo>
                <a:lnTo>
                  <a:pt x="2639341" y="1764160"/>
                </a:lnTo>
                <a:lnTo>
                  <a:pt x="2636737" y="1764160"/>
                </a:lnTo>
                <a:lnTo>
                  <a:pt x="2635978" y="1762319"/>
                </a:lnTo>
                <a:lnTo>
                  <a:pt x="2636954" y="1758855"/>
                </a:lnTo>
                <a:lnTo>
                  <a:pt x="2635869" y="1756364"/>
                </a:lnTo>
                <a:lnTo>
                  <a:pt x="2636846" y="1753983"/>
                </a:lnTo>
                <a:lnTo>
                  <a:pt x="2639559" y="1753983"/>
                </a:lnTo>
                <a:lnTo>
                  <a:pt x="2644116" y="1749977"/>
                </a:lnTo>
                <a:lnTo>
                  <a:pt x="2649542" y="1747162"/>
                </a:lnTo>
                <a:lnTo>
                  <a:pt x="2652255" y="1742723"/>
                </a:lnTo>
                <a:lnTo>
                  <a:pt x="2656704" y="1737201"/>
                </a:lnTo>
                <a:lnTo>
                  <a:pt x="2659851" y="1734061"/>
                </a:lnTo>
                <a:lnTo>
                  <a:pt x="2654643" y="1734061"/>
                </a:lnTo>
                <a:lnTo>
                  <a:pt x="2648023" y="1734819"/>
                </a:lnTo>
                <a:lnTo>
                  <a:pt x="2644658" y="1735901"/>
                </a:lnTo>
                <a:lnTo>
                  <a:pt x="2642922" y="1735901"/>
                </a:lnTo>
                <a:lnTo>
                  <a:pt x="2645201" y="1730163"/>
                </a:lnTo>
                <a:lnTo>
                  <a:pt x="2650736" y="1726915"/>
                </a:lnTo>
                <a:lnTo>
                  <a:pt x="2654099" y="1724533"/>
                </a:lnTo>
                <a:lnTo>
                  <a:pt x="2655184" y="1723234"/>
                </a:lnTo>
                <a:lnTo>
                  <a:pt x="2654208" y="1725508"/>
                </a:lnTo>
                <a:lnTo>
                  <a:pt x="2651495" y="1727456"/>
                </a:lnTo>
                <a:lnTo>
                  <a:pt x="2650844" y="1729405"/>
                </a:lnTo>
                <a:lnTo>
                  <a:pt x="2652689" y="1732437"/>
                </a:lnTo>
                <a:lnTo>
                  <a:pt x="2654208" y="1729189"/>
                </a:lnTo>
                <a:lnTo>
                  <a:pt x="2654208" y="1732653"/>
                </a:lnTo>
                <a:lnTo>
                  <a:pt x="2655619" y="1732653"/>
                </a:lnTo>
                <a:lnTo>
                  <a:pt x="2657897" y="1729514"/>
                </a:lnTo>
                <a:lnTo>
                  <a:pt x="2660285" y="1724642"/>
                </a:lnTo>
                <a:lnTo>
                  <a:pt x="2663107" y="1721826"/>
                </a:lnTo>
                <a:lnTo>
                  <a:pt x="2663107" y="1719661"/>
                </a:lnTo>
                <a:lnTo>
                  <a:pt x="2664191" y="1718253"/>
                </a:lnTo>
                <a:lnTo>
                  <a:pt x="2669292" y="1719769"/>
                </a:lnTo>
                <a:lnTo>
                  <a:pt x="2672004" y="1717712"/>
                </a:lnTo>
                <a:lnTo>
                  <a:pt x="2672004" y="1715330"/>
                </a:lnTo>
                <a:lnTo>
                  <a:pt x="2673524" y="1714031"/>
                </a:lnTo>
                <a:lnTo>
                  <a:pt x="2671788" y="1712406"/>
                </a:lnTo>
                <a:lnTo>
                  <a:pt x="2669292" y="1712406"/>
                </a:lnTo>
                <a:lnTo>
                  <a:pt x="2669292" y="1710567"/>
                </a:lnTo>
                <a:lnTo>
                  <a:pt x="2670920" y="1707426"/>
                </a:lnTo>
                <a:lnTo>
                  <a:pt x="2675261" y="1705369"/>
                </a:lnTo>
                <a:lnTo>
                  <a:pt x="2676671" y="1705369"/>
                </a:lnTo>
                <a:lnTo>
                  <a:pt x="2677648" y="1706669"/>
                </a:lnTo>
                <a:lnTo>
                  <a:pt x="2679167" y="1706669"/>
                </a:lnTo>
                <a:lnTo>
                  <a:pt x="2679167" y="1704286"/>
                </a:lnTo>
                <a:lnTo>
                  <a:pt x="2677322" y="1702338"/>
                </a:lnTo>
                <a:lnTo>
                  <a:pt x="2677322" y="1699955"/>
                </a:lnTo>
                <a:lnTo>
                  <a:pt x="2682314" y="1692485"/>
                </a:lnTo>
                <a:lnTo>
                  <a:pt x="2682965" y="1689995"/>
                </a:lnTo>
                <a:lnTo>
                  <a:pt x="2685678" y="1685988"/>
                </a:lnTo>
                <a:lnTo>
                  <a:pt x="2688391" y="1685988"/>
                </a:lnTo>
                <a:lnTo>
                  <a:pt x="2690778" y="1684581"/>
                </a:lnTo>
                <a:lnTo>
                  <a:pt x="2689368" y="1683824"/>
                </a:lnTo>
                <a:lnTo>
                  <a:pt x="2688174" y="1683824"/>
                </a:lnTo>
                <a:lnTo>
                  <a:pt x="2688174" y="1681983"/>
                </a:lnTo>
                <a:lnTo>
                  <a:pt x="2690453" y="1678627"/>
                </a:lnTo>
                <a:lnTo>
                  <a:pt x="2693491" y="1678627"/>
                </a:lnTo>
                <a:lnTo>
                  <a:pt x="2695227" y="1677111"/>
                </a:lnTo>
                <a:lnTo>
                  <a:pt x="2693274" y="1676028"/>
                </a:lnTo>
                <a:lnTo>
                  <a:pt x="2693274" y="1673755"/>
                </a:lnTo>
                <a:lnTo>
                  <a:pt x="2695227" y="1673755"/>
                </a:lnTo>
                <a:lnTo>
                  <a:pt x="2696421" y="1672130"/>
                </a:lnTo>
                <a:lnTo>
                  <a:pt x="2695770" y="1670939"/>
                </a:lnTo>
                <a:lnTo>
                  <a:pt x="2698266" y="1669532"/>
                </a:lnTo>
                <a:lnTo>
                  <a:pt x="2702498" y="1666392"/>
                </a:lnTo>
                <a:lnTo>
                  <a:pt x="2704668" y="1663794"/>
                </a:lnTo>
                <a:lnTo>
                  <a:pt x="2704668" y="1661412"/>
                </a:lnTo>
                <a:lnTo>
                  <a:pt x="2703475" y="1659896"/>
                </a:lnTo>
                <a:lnTo>
                  <a:pt x="2703475" y="1659138"/>
                </a:lnTo>
                <a:lnTo>
                  <a:pt x="2705537" y="1659788"/>
                </a:lnTo>
                <a:lnTo>
                  <a:pt x="2707924" y="1659788"/>
                </a:lnTo>
                <a:lnTo>
                  <a:pt x="2707924" y="1656106"/>
                </a:lnTo>
                <a:lnTo>
                  <a:pt x="2712156" y="1652966"/>
                </a:lnTo>
                <a:lnTo>
                  <a:pt x="2716280" y="1650260"/>
                </a:lnTo>
                <a:lnTo>
                  <a:pt x="2720186" y="1650260"/>
                </a:lnTo>
                <a:lnTo>
                  <a:pt x="2723008" y="1648094"/>
                </a:lnTo>
                <a:lnTo>
                  <a:pt x="2724635" y="1646037"/>
                </a:lnTo>
                <a:lnTo>
                  <a:pt x="2727565" y="1646037"/>
                </a:lnTo>
                <a:lnTo>
                  <a:pt x="2729844" y="1643655"/>
                </a:lnTo>
                <a:close/>
                <a:moveTo>
                  <a:pt x="5066967" y="1642140"/>
                </a:moveTo>
                <a:lnTo>
                  <a:pt x="5056658" y="1646471"/>
                </a:lnTo>
                <a:lnTo>
                  <a:pt x="5051992" y="1646471"/>
                </a:lnTo>
                <a:lnTo>
                  <a:pt x="5051341" y="1649395"/>
                </a:lnTo>
                <a:lnTo>
                  <a:pt x="5048193" y="1652642"/>
                </a:lnTo>
                <a:lnTo>
                  <a:pt x="5048193" y="1648528"/>
                </a:lnTo>
                <a:lnTo>
                  <a:pt x="5045706" y="1650101"/>
                </a:lnTo>
                <a:lnTo>
                  <a:pt x="5045589" y="1650585"/>
                </a:lnTo>
                <a:lnTo>
                  <a:pt x="5044505" y="1651882"/>
                </a:lnTo>
                <a:lnTo>
                  <a:pt x="5043744" y="1654158"/>
                </a:lnTo>
                <a:lnTo>
                  <a:pt x="5042649" y="1654798"/>
                </a:lnTo>
                <a:lnTo>
                  <a:pt x="5044721" y="1656864"/>
                </a:lnTo>
                <a:lnTo>
                  <a:pt x="5049278" y="1654266"/>
                </a:lnTo>
                <a:lnTo>
                  <a:pt x="5050472" y="1650693"/>
                </a:lnTo>
                <a:lnTo>
                  <a:pt x="5053727" y="1648636"/>
                </a:lnTo>
                <a:lnTo>
                  <a:pt x="5053944" y="1652750"/>
                </a:lnTo>
                <a:lnTo>
                  <a:pt x="5056983" y="1649502"/>
                </a:lnTo>
                <a:lnTo>
                  <a:pt x="5057742" y="1646579"/>
                </a:lnTo>
                <a:lnTo>
                  <a:pt x="5062300" y="1646037"/>
                </a:lnTo>
                <a:lnTo>
                  <a:pt x="5067292" y="1642681"/>
                </a:lnTo>
                <a:lnTo>
                  <a:pt x="5071444" y="1642474"/>
                </a:lnTo>
                <a:lnTo>
                  <a:pt x="5071308" y="1642140"/>
                </a:lnTo>
                <a:close/>
                <a:moveTo>
                  <a:pt x="5028119" y="1640732"/>
                </a:moveTo>
                <a:lnTo>
                  <a:pt x="5026924" y="1643873"/>
                </a:lnTo>
                <a:lnTo>
                  <a:pt x="5028119" y="1648203"/>
                </a:lnTo>
                <a:lnTo>
                  <a:pt x="5027632" y="1651437"/>
                </a:lnTo>
                <a:lnTo>
                  <a:pt x="5027901" y="1651234"/>
                </a:lnTo>
                <a:lnTo>
                  <a:pt x="5032892" y="1652642"/>
                </a:lnTo>
                <a:lnTo>
                  <a:pt x="5033544" y="1648311"/>
                </a:lnTo>
                <a:lnTo>
                  <a:pt x="5032349" y="1643980"/>
                </a:lnTo>
                <a:lnTo>
                  <a:pt x="5032599" y="1643346"/>
                </a:lnTo>
                <a:close/>
                <a:moveTo>
                  <a:pt x="4077077" y="1640191"/>
                </a:moveTo>
                <a:lnTo>
                  <a:pt x="4075016" y="1644847"/>
                </a:lnTo>
                <a:lnTo>
                  <a:pt x="4075775" y="1647987"/>
                </a:lnTo>
                <a:lnTo>
                  <a:pt x="4081635" y="1647770"/>
                </a:lnTo>
                <a:lnTo>
                  <a:pt x="4084022" y="1650044"/>
                </a:lnTo>
                <a:lnTo>
                  <a:pt x="4082612" y="1652967"/>
                </a:lnTo>
                <a:lnTo>
                  <a:pt x="4081960" y="1658056"/>
                </a:lnTo>
                <a:lnTo>
                  <a:pt x="4081962" y="1658055"/>
                </a:lnTo>
                <a:lnTo>
                  <a:pt x="4082613" y="1652966"/>
                </a:lnTo>
                <a:lnTo>
                  <a:pt x="4084024" y="1650042"/>
                </a:lnTo>
                <a:lnTo>
                  <a:pt x="4081637" y="1647769"/>
                </a:lnTo>
                <a:lnTo>
                  <a:pt x="4075776" y="1647986"/>
                </a:lnTo>
                <a:lnTo>
                  <a:pt x="4075017" y="1644846"/>
                </a:lnTo>
                <a:lnTo>
                  <a:pt x="4077078" y="1640192"/>
                </a:lnTo>
                <a:close/>
                <a:moveTo>
                  <a:pt x="4441990" y="1639262"/>
                </a:moveTo>
                <a:lnTo>
                  <a:pt x="4440826" y="1639649"/>
                </a:lnTo>
                <a:lnTo>
                  <a:pt x="4437244" y="1645604"/>
                </a:lnTo>
                <a:lnTo>
                  <a:pt x="4439089" y="1652642"/>
                </a:lnTo>
                <a:lnTo>
                  <a:pt x="4443972" y="1660329"/>
                </a:lnTo>
                <a:lnTo>
                  <a:pt x="4443756" y="1662711"/>
                </a:lnTo>
                <a:lnTo>
                  <a:pt x="4443430" y="1666717"/>
                </a:lnTo>
                <a:lnTo>
                  <a:pt x="4443756" y="1677652"/>
                </a:lnTo>
                <a:lnTo>
                  <a:pt x="4446685" y="1680792"/>
                </a:lnTo>
                <a:lnTo>
                  <a:pt x="4449507" y="1687721"/>
                </a:lnTo>
                <a:lnTo>
                  <a:pt x="4449508" y="1687722"/>
                </a:lnTo>
                <a:lnTo>
                  <a:pt x="4446687" y="1680793"/>
                </a:lnTo>
                <a:lnTo>
                  <a:pt x="4443757" y="1677652"/>
                </a:lnTo>
                <a:lnTo>
                  <a:pt x="4443432" y="1666717"/>
                </a:lnTo>
                <a:lnTo>
                  <a:pt x="4443757" y="1662711"/>
                </a:lnTo>
                <a:lnTo>
                  <a:pt x="4447555" y="1662278"/>
                </a:lnTo>
                <a:lnTo>
                  <a:pt x="4455368" y="1666176"/>
                </a:lnTo>
                <a:lnTo>
                  <a:pt x="4459492" y="1663903"/>
                </a:lnTo>
                <a:lnTo>
                  <a:pt x="4476203" y="1661521"/>
                </a:lnTo>
                <a:lnTo>
                  <a:pt x="4483800" y="1661195"/>
                </a:lnTo>
                <a:lnTo>
                  <a:pt x="4487387" y="1658239"/>
                </a:lnTo>
                <a:lnTo>
                  <a:pt x="4483799" y="1661195"/>
                </a:lnTo>
                <a:lnTo>
                  <a:pt x="4476203" y="1661520"/>
                </a:lnTo>
                <a:lnTo>
                  <a:pt x="4459492" y="1663901"/>
                </a:lnTo>
                <a:lnTo>
                  <a:pt x="4455368" y="1666175"/>
                </a:lnTo>
                <a:lnTo>
                  <a:pt x="4447555" y="1662277"/>
                </a:lnTo>
                <a:lnTo>
                  <a:pt x="4443757" y="1662711"/>
                </a:lnTo>
                <a:lnTo>
                  <a:pt x="4443974" y="1660329"/>
                </a:lnTo>
                <a:lnTo>
                  <a:pt x="4439091" y="1652642"/>
                </a:lnTo>
                <a:lnTo>
                  <a:pt x="4437246" y="1645604"/>
                </a:lnTo>
                <a:lnTo>
                  <a:pt x="4440827" y="1639649"/>
                </a:lnTo>
                <a:close/>
                <a:moveTo>
                  <a:pt x="4626932" y="1639109"/>
                </a:moveTo>
                <a:lnTo>
                  <a:pt x="4623351" y="1642357"/>
                </a:lnTo>
                <a:lnTo>
                  <a:pt x="4623351" y="1647338"/>
                </a:lnTo>
                <a:lnTo>
                  <a:pt x="4617817" y="1648528"/>
                </a:lnTo>
                <a:lnTo>
                  <a:pt x="4616733" y="1648281"/>
                </a:lnTo>
                <a:lnTo>
                  <a:pt x="4616733" y="1648636"/>
                </a:lnTo>
                <a:lnTo>
                  <a:pt x="4616082" y="1648419"/>
                </a:lnTo>
                <a:lnTo>
                  <a:pt x="4605881" y="1651017"/>
                </a:lnTo>
                <a:lnTo>
                  <a:pt x="4598827" y="1651775"/>
                </a:lnTo>
                <a:lnTo>
                  <a:pt x="4598827" y="1651776"/>
                </a:lnTo>
                <a:lnTo>
                  <a:pt x="4605880" y="1651019"/>
                </a:lnTo>
                <a:lnTo>
                  <a:pt x="4616081" y="1648420"/>
                </a:lnTo>
                <a:lnTo>
                  <a:pt x="4616732" y="1648636"/>
                </a:lnTo>
                <a:lnTo>
                  <a:pt x="4620530" y="1649503"/>
                </a:lnTo>
                <a:lnTo>
                  <a:pt x="4626065" y="1648311"/>
                </a:lnTo>
                <a:lnTo>
                  <a:pt x="4625522" y="1643331"/>
                </a:lnTo>
                <a:lnTo>
                  <a:pt x="4629211" y="1640083"/>
                </a:lnTo>
                <a:lnTo>
                  <a:pt x="4641040" y="1643981"/>
                </a:lnTo>
                <a:lnTo>
                  <a:pt x="4653302" y="1643981"/>
                </a:lnTo>
                <a:lnTo>
                  <a:pt x="4659379" y="1640732"/>
                </a:lnTo>
                <a:lnTo>
                  <a:pt x="4662918" y="1640945"/>
                </a:lnTo>
                <a:lnTo>
                  <a:pt x="4662525" y="1639758"/>
                </a:lnTo>
                <a:lnTo>
                  <a:pt x="4656991" y="1639758"/>
                </a:lnTo>
                <a:lnTo>
                  <a:pt x="4651023" y="1643006"/>
                </a:lnTo>
                <a:lnTo>
                  <a:pt x="4638760" y="1643006"/>
                </a:lnTo>
                <a:close/>
                <a:moveTo>
                  <a:pt x="6074304" y="1637593"/>
                </a:moveTo>
                <a:lnTo>
                  <a:pt x="6074762" y="1637809"/>
                </a:lnTo>
                <a:lnTo>
                  <a:pt x="6076581" y="1637593"/>
                </a:lnTo>
                <a:close/>
                <a:moveTo>
                  <a:pt x="6079754" y="1636402"/>
                </a:moveTo>
                <a:lnTo>
                  <a:pt x="6078921" y="1637315"/>
                </a:lnTo>
                <a:lnTo>
                  <a:pt x="6079320" y="1637268"/>
                </a:lnTo>
                <a:lnTo>
                  <a:pt x="6079992" y="1636448"/>
                </a:lnTo>
                <a:close/>
                <a:moveTo>
                  <a:pt x="6060462" y="1635752"/>
                </a:moveTo>
                <a:lnTo>
                  <a:pt x="6070666" y="1635964"/>
                </a:lnTo>
                <a:lnTo>
                  <a:pt x="6070204" y="1635752"/>
                </a:lnTo>
                <a:close/>
                <a:moveTo>
                  <a:pt x="6059352" y="1635752"/>
                </a:moveTo>
                <a:lnTo>
                  <a:pt x="6056380" y="1636684"/>
                </a:lnTo>
                <a:lnTo>
                  <a:pt x="6056749" y="1636943"/>
                </a:lnTo>
                <a:lnTo>
                  <a:pt x="6060437" y="1635752"/>
                </a:lnTo>
                <a:close/>
                <a:moveTo>
                  <a:pt x="1221354" y="1635752"/>
                </a:moveTo>
                <a:lnTo>
                  <a:pt x="1222765" y="1637917"/>
                </a:lnTo>
                <a:lnTo>
                  <a:pt x="1220052" y="1639000"/>
                </a:lnTo>
                <a:lnTo>
                  <a:pt x="1219184" y="1643006"/>
                </a:lnTo>
                <a:lnTo>
                  <a:pt x="1221897" y="1651884"/>
                </a:lnTo>
                <a:lnTo>
                  <a:pt x="1219943" y="1653400"/>
                </a:lnTo>
                <a:lnTo>
                  <a:pt x="1216688" y="1646254"/>
                </a:lnTo>
                <a:lnTo>
                  <a:pt x="1216796" y="1639650"/>
                </a:lnTo>
                <a:close/>
                <a:moveTo>
                  <a:pt x="7327586" y="1634561"/>
                </a:moveTo>
                <a:lnTo>
                  <a:pt x="7322594" y="1641273"/>
                </a:lnTo>
                <a:lnTo>
                  <a:pt x="7321183" y="1646362"/>
                </a:lnTo>
                <a:lnTo>
                  <a:pt x="7320967" y="1651126"/>
                </a:lnTo>
                <a:lnTo>
                  <a:pt x="7317928" y="1653399"/>
                </a:lnTo>
                <a:lnTo>
                  <a:pt x="7314455" y="1659030"/>
                </a:lnTo>
                <a:lnTo>
                  <a:pt x="7309464" y="1664118"/>
                </a:lnTo>
                <a:lnTo>
                  <a:pt x="7306860" y="1663252"/>
                </a:lnTo>
                <a:lnTo>
                  <a:pt x="7308487" y="1656215"/>
                </a:lnTo>
                <a:lnTo>
                  <a:pt x="7311960" y="1652425"/>
                </a:lnTo>
                <a:lnTo>
                  <a:pt x="7312828" y="1649610"/>
                </a:lnTo>
                <a:lnTo>
                  <a:pt x="7314672" y="1647661"/>
                </a:lnTo>
                <a:lnTo>
                  <a:pt x="7316084" y="1643330"/>
                </a:lnTo>
                <a:lnTo>
                  <a:pt x="7317928" y="1641598"/>
                </a:lnTo>
                <a:lnTo>
                  <a:pt x="7320316" y="1636726"/>
                </a:lnTo>
                <a:lnTo>
                  <a:pt x="7325199" y="1635860"/>
                </a:lnTo>
                <a:close/>
                <a:moveTo>
                  <a:pt x="6947018" y="1634466"/>
                </a:moveTo>
                <a:lnTo>
                  <a:pt x="6946259" y="1636076"/>
                </a:lnTo>
                <a:lnTo>
                  <a:pt x="6942569" y="1636725"/>
                </a:lnTo>
                <a:lnTo>
                  <a:pt x="6939313" y="1640731"/>
                </a:lnTo>
                <a:lnTo>
                  <a:pt x="6939313" y="1642332"/>
                </a:lnTo>
                <a:lnTo>
                  <a:pt x="6942460" y="1638459"/>
                </a:lnTo>
                <a:lnTo>
                  <a:pt x="6946041" y="1637810"/>
                </a:lnTo>
                <a:lnTo>
                  <a:pt x="6947018" y="1635969"/>
                </a:lnTo>
                <a:close/>
                <a:moveTo>
                  <a:pt x="6043291" y="1633154"/>
                </a:moveTo>
                <a:lnTo>
                  <a:pt x="6038082" y="1636943"/>
                </a:lnTo>
                <a:lnTo>
                  <a:pt x="6033199" y="1638675"/>
                </a:lnTo>
                <a:lnTo>
                  <a:pt x="6030120" y="1640371"/>
                </a:lnTo>
                <a:lnTo>
                  <a:pt x="6031356" y="1640949"/>
                </a:lnTo>
                <a:lnTo>
                  <a:pt x="6034503" y="1639217"/>
                </a:lnTo>
                <a:lnTo>
                  <a:pt x="6039278" y="1637484"/>
                </a:lnTo>
                <a:lnTo>
                  <a:pt x="6044486" y="1633695"/>
                </a:lnTo>
                <a:lnTo>
                  <a:pt x="6047807" y="1633259"/>
                </a:lnTo>
                <a:lnTo>
                  <a:pt x="6047415" y="1633154"/>
                </a:lnTo>
                <a:close/>
                <a:moveTo>
                  <a:pt x="5243090" y="1630613"/>
                </a:moveTo>
                <a:lnTo>
                  <a:pt x="5243090" y="1632829"/>
                </a:lnTo>
                <a:lnTo>
                  <a:pt x="5248733" y="1632829"/>
                </a:lnTo>
                <a:lnTo>
                  <a:pt x="5251988" y="1635969"/>
                </a:lnTo>
                <a:lnTo>
                  <a:pt x="5257306" y="1637160"/>
                </a:lnTo>
                <a:lnTo>
                  <a:pt x="5258174" y="1639758"/>
                </a:lnTo>
                <a:lnTo>
                  <a:pt x="5262623" y="1643332"/>
                </a:lnTo>
                <a:lnTo>
                  <a:pt x="5269676" y="1643332"/>
                </a:lnTo>
                <a:lnTo>
                  <a:pt x="5271956" y="1645063"/>
                </a:lnTo>
                <a:lnTo>
                  <a:pt x="5273141" y="1663666"/>
                </a:lnTo>
                <a:lnTo>
                  <a:pt x="5273365" y="1663252"/>
                </a:lnTo>
                <a:lnTo>
                  <a:pt x="5272280" y="1644521"/>
                </a:lnTo>
                <a:lnTo>
                  <a:pt x="5270002" y="1642789"/>
                </a:lnTo>
                <a:lnTo>
                  <a:pt x="5262947" y="1642681"/>
                </a:lnTo>
                <a:lnTo>
                  <a:pt x="5258390" y="1639000"/>
                </a:lnTo>
                <a:lnTo>
                  <a:pt x="5257521" y="1636401"/>
                </a:lnTo>
                <a:lnTo>
                  <a:pt x="5252205" y="1635211"/>
                </a:lnTo>
                <a:lnTo>
                  <a:pt x="5248949" y="1632179"/>
                </a:lnTo>
                <a:lnTo>
                  <a:pt x="5243306" y="1632179"/>
                </a:lnTo>
                <a:close/>
                <a:moveTo>
                  <a:pt x="5748125" y="1630468"/>
                </a:moveTo>
                <a:lnTo>
                  <a:pt x="5743786" y="1632179"/>
                </a:lnTo>
                <a:lnTo>
                  <a:pt x="5739771" y="1631313"/>
                </a:lnTo>
                <a:lnTo>
                  <a:pt x="5739348" y="1631532"/>
                </a:lnTo>
                <a:lnTo>
                  <a:pt x="5743351" y="1632503"/>
                </a:lnTo>
                <a:lnTo>
                  <a:pt x="5748017" y="1630663"/>
                </a:lnTo>
                <a:close/>
                <a:moveTo>
                  <a:pt x="5929017" y="1628059"/>
                </a:moveTo>
                <a:lnTo>
                  <a:pt x="5927070" y="1629797"/>
                </a:lnTo>
                <a:lnTo>
                  <a:pt x="5923815" y="1634454"/>
                </a:lnTo>
                <a:lnTo>
                  <a:pt x="5919800" y="1635428"/>
                </a:lnTo>
                <a:lnTo>
                  <a:pt x="5915784" y="1639217"/>
                </a:lnTo>
                <a:lnTo>
                  <a:pt x="5915784" y="1642465"/>
                </a:lnTo>
                <a:lnTo>
                  <a:pt x="5909599" y="1645389"/>
                </a:lnTo>
                <a:lnTo>
                  <a:pt x="5907863" y="1650152"/>
                </a:lnTo>
                <a:lnTo>
                  <a:pt x="5907863" y="1654916"/>
                </a:lnTo>
                <a:lnTo>
                  <a:pt x="5900267" y="1657623"/>
                </a:lnTo>
                <a:lnTo>
                  <a:pt x="5896142" y="1662062"/>
                </a:lnTo>
                <a:lnTo>
                  <a:pt x="5894624" y="1664444"/>
                </a:lnTo>
                <a:lnTo>
                  <a:pt x="5883772" y="1664444"/>
                </a:lnTo>
                <a:lnTo>
                  <a:pt x="5879432" y="1666718"/>
                </a:lnTo>
                <a:lnTo>
                  <a:pt x="5875633" y="1675487"/>
                </a:lnTo>
                <a:lnTo>
                  <a:pt x="5875633" y="1676029"/>
                </a:lnTo>
                <a:lnTo>
                  <a:pt x="5873572" y="1676029"/>
                </a:lnTo>
                <a:lnTo>
                  <a:pt x="5868797" y="1674297"/>
                </a:lnTo>
                <a:lnTo>
                  <a:pt x="5865867" y="1674297"/>
                </a:lnTo>
                <a:lnTo>
                  <a:pt x="5864674" y="1672889"/>
                </a:lnTo>
                <a:lnTo>
                  <a:pt x="5857619" y="1670507"/>
                </a:lnTo>
                <a:lnTo>
                  <a:pt x="5852302" y="1665852"/>
                </a:lnTo>
                <a:lnTo>
                  <a:pt x="5848874" y="1664996"/>
                </a:lnTo>
                <a:lnTo>
                  <a:pt x="5849046" y="1665526"/>
                </a:lnTo>
                <a:lnTo>
                  <a:pt x="5852519" y="1666392"/>
                </a:lnTo>
                <a:lnTo>
                  <a:pt x="5857836" y="1670939"/>
                </a:lnTo>
                <a:lnTo>
                  <a:pt x="5864890" y="1673430"/>
                </a:lnTo>
                <a:lnTo>
                  <a:pt x="5866083" y="1674729"/>
                </a:lnTo>
                <a:lnTo>
                  <a:pt x="5866625" y="1675487"/>
                </a:lnTo>
                <a:lnTo>
                  <a:pt x="5866626" y="1675486"/>
                </a:lnTo>
                <a:lnTo>
                  <a:pt x="5866084" y="1674728"/>
                </a:lnTo>
                <a:lnTo>
                  <a:pt x="5869014" y="1674837"/>
                </a:lnTo>
                <a:lnTo>
                  <a:pt x="5873897" y="1676569"/>
                </a:lnTo>
                <a:lnTo>
                  <a:pt x="5875959" y="1676569"/>
                </a:lnTo>
                <a:lnTo>
                  <a:pt x="5875743" y="1676029"/>
                </a:lnTo>
                <a:lnTo>
                  <a:pt x="5879541" y="1667259"/>
                </a:lnTo>
                <a:lnTo>
                  <a:pt x="5883882" y="1664985"/>
                </a:lnTo>
                <a:lnTo>
                  <a:pt x="5894950" y="1665527"/>
                </a:lnTo>
                <a:lnTo>
                  <a:pt x="5896469" y="1663036"/>
                </a:lnTo>
                <a:lnTo>
                  <a:pt x="5900593" y="1658597"/>
                </a:lnTo>
                <a:lnTo>
                  <a:pt x="5908190" y="1655890"/>
                </a:lnTo>
                <a:lnTo>
                  <a:pt x="5908514" y="1651018"/>
                </a:lnTo>
                <a:lnTo>
                  <a:pt x="5910251" y="1646254"/>
                </a:lnTo>
                <a:lnTo>
                  <a:pt x="5916436" y="1643331"/>
                </a:lnTo>
                <a:lnTo>
                  <a:pt x="5916654" y="1640083"/>
                </a:lnTo>
                <a:lnTo>
                  <a:pt x="5920561" y="1636293"/>
                </a:lnTo>
                <a:lnTo>
                  <a:pt x="5924575" y="1635211"/>
                </a:lnTo>
                <a:lnTo>
                  <a:pt x="5927831" y="1630555"/>
                </a:lnTo>
                <a:lnTo>
                  <a:pt x="5929893" y="1628714"/>
                </a:lnTo>
                <a:close/>
                <a:moveTo>
                  <a:pt x="2750679" y="1626873"/>
                </a:moveTo>
                <a:lnTo>
                  <a:pt x="2750679" y="1629904"/>
                </a:lnTo>
                <a:lnTo>
                  <a:pt x="2749377" y="1633045"/>
                </a:lnTo>
                <a:lnTo>
                  <a:pt x="2746989" y="1634561"/>
                </a:lnTo>
                <a:cubicBezTo>
                  <a:pt x="2746989" y="1634561"/>
                  <a:pt x="2745904" y="1633586"/>
                  <a:pt x="2745904" y="1633586"/>
                </a:cubicBezTo>
                <a:lnTo>
                  <a:pt x="2747749" y="1629147"/>
                </a:lnTo>
                <a:close/>
                <a:moveTo>
                  <a:pt x="6947993" y="1626809"/>
                </a:moveTo>
                <a:lnTo>
                  <a:pt x="6947344" y="1630121"/>
                </a:lnTo>
                <a:lnTo>
                  <a:pt x="6947328" y="1630434"/>
                </a:lnTo>
                <a:lnTo>
                  <a:pt x="6948103" y="1626874"/>
                </a:lnTo>
                <a:close/>
                <a:moveTo>
                  <a:pt x="6896047" y="1626742"/>
                </a:moveTo>
                <a:lnTo>
                  <a:pt x="6896015" y="1626874"/>
                </a:lnTo>
                <a:lnTo>
                  <a:pt x="6896015" y="1629327"/>
                </a:lnTo>
                <a:lnTo>
                  <a:pt x="6896450" y="1629146"/>
                </a:lnTo>
                <a:close/>
                <a:moveTo>
                  <a:pt x="4088898" y="1626668"/>
                </a:moveTo>
                <a:lnTo>
                  <a:pt x="4087495" y="1628390"/>
                </a:lnTo>
                <a:lnTo>
                  <a:pt x="4087170" y="1631097"/>
                </a:lnTo>
                <a:lnTo>
                  <a:pt x="4085325" y="1635211"/>
                </a:lnTo>
                <a:lnTo>
                  <a:pt x="4085216" y="1639867"/>
                </a:lnTo>
                <a:lnTo>
                  <a:pt x="4082178" y="1642464"/>
                </a:lnTo>
                <a:lnTo>
                  <a:pt x="4082179" y="1642464"/>
                </a:lnTo>
                <a:lnTo>
                  <a:pt x="4085217" y="1639866"/>
                </a:lnTo>
                <a:lnTo>
                  <a:pt x="4085326" y="1635210"/>
                </a:lnTo>
                <a:lnTo>
                  <a:pt x="4087171" y="1631095"/>
                </a:lnTo>
                <a:lnTo>
                  <a:pt x="4087497" y="1628389"/>
                </a:lnTo>
                <a:close/>
                <a:moveTo>
                  <a:pt x="5241612" y="1626613"/>
                </a:moveTo>
                <a:lnTo>
                  <a:pt x="5241570" y="1626765"/>
                </a:lnTo>
                <a:lnTo>
                  <a:pt x="5242917" y="1629356"/>
                </a:lnTo>
                <a:lnTo>
                  <a:pt x="5242873" y="1629039"/>
                </a:lnTo>
                <a:close/>
                <a:moveTo>
                  <a:pt x="6328426" y="1625782"/>
                </a:moveTo>
                <a:lnTo>
                  <a:pt x="6332055" y="1629689"/>
                </a:lnTo>
                <a:lnTo>
                  <a:pt x="6332096" y="1629691"/>
                </a:lnTo>
                <a:lnTo>
                  <a:pt x="6328474" y="1625791"/>
                </a:lnTo>
                <a:close/>
                <a:moveTo>
                  <a:pt x="5697557" y="1625574"/>
                </a:moveTo>
                <a:lnTo>
                  <a:pt x="5697557" y="1626008"/>
                </a:lnTo>
                <a:lnTo>
                  <a:pt x="5698600" y="1626954"/>
                </a:lnTo>
                <a:lnTo>
                  <a:pt x="5698751" y="1626548"/>
                </a:lnTo>
                <a:close/>
                <a:moveTo>
                  <a:pt x="6897125" y="1622423"/>
                </a:moveTo>
                <a:lnTo>
                  <a:pt x="6897101" y="1622435"/>
                </a:lnTo>
                <a:lnTo>
                  <a:pt x="6896897" y="1623268"/>
                </a:lnTo>
                <a:close/>
                <a:moveTo>
                  <a:pt x="5756916" y="1622110"/>
                </a:moveTo>
                <a:lnTo>
                  <a:pt x="5748994" y="1623193"/>
                </a:lnTo>
                <a:lnTo>
                  <a:pt x="5748899" y="1623466"/>
                </a:lnTo>
                <a:lnTo>
                  <a:pt x="5756481" y="1622326"/>
                </a:lnTo>
                <a:lnTo>
                  <a:pt x="5764946" y="1622326"/>
                </a:lnTo>
                <a:lnTo>
                  <a:pt x="5772216" y="1624275"/>
                </a:lnTo>
                <a:lnTo>
                  <a:pt x="5779270" y="1629472"/>
                </a:lnTo>
                <a:lnTo>
                  <a:pt x="5783176" y="1636293"/>
                </a:lnTo>
                <a:lnTo>
                  <a:pt x="5785672" y="1641815"/>
                </a:lnTo>
                <a:lnTo>
                  <a:pt x="5787951" y="1642031"/>
                </a:lnTo>
                <a:lnTo>
                  <a:pt x="5792943" y="1643439"/>
                </a:lnTo>
                <a:lnTo>
                  <a:pt x="5798585" y="1646903"/>
                </a:lnTo>
                <a:lnTo>
                  <a:pt x="5800322" y="1646903"/>
                </a:lnTo>
                <a:lnTo>
                  <a:pt x="5803903" y="1648636"/>
                </a:lnTo>
                <a:lnTo>
                  <a:pt x="5804120" y="1651343"/>
                </a:lnTo>
                <a:lnTo>
                  <a:pt x="5803252" y="1653617"/>
                </a:lnTo>
                <a:lnTo>
                  <a:pt x="5803360" y="1657514"/>
                </a:lnTo>
                <a:lnTo>
                  <a:pt x="5804662" y="1660654"/>
                </a:lnTo>
                <a:lnTo>
                  <a:pt x="5806941" y="1662927"/>
                </a:lnTo>
                <a:lnTo>
                  <a:pt x="5808026" y="1664119"/>
                </a:lnTo>
                <a:lnTo>
                  <a:pt x="5810197" y="1664010"/>
                </a:lnTo>
                <a:lnTo>
                  <a:pt x="5814863" y="1665959"/>
                </a:lnTo>
                <a:lnTo>
                  <a:pt x="5818553" y="1667692"/>
                </a:lnTo>
                <a:lnTo>
                  <a:pt x="5819855" y="1665526"/>
                </a:lnTo>
                <a:lnTo>
                  <a:pt x="5823653" y="1663469"/>
                </a:lnTo>
                <a:lnTo>
                  <a:pt x="5834939" y="1662711"/>
                </a:lnTo>
                <a:lnTo>
                  <a:pt x="5840148" y="1661195"/>
                </a:lnTo>
                <a:lnTo>
                  <a:pt x="5842535" y="1657081"/>
                </a:lnTo>
                <a:lnTo>
                  <a:pt x="5847201" y="1654482"/>
                </a:lnTo>
                <a:lnTo>
                  <a:pt x="5849395" y="1655486"/>
                </a:lnTo>
                <a:lnTo>
                  <a:pt x="5849481" y="1655241"/>
                </a:lnTo>
                <a:lnTo>
                  <a:pt x="5846877" y="1654050"/>
                </a:lnTo>
                <a:lnTo>
                  <a:pt x="5842210" y="1656648"/>
                </a:lnTo>
                <a:lnTo>
                  <a:pt x="5839822" y="1660763"/>
                </a:lnTo>
                <a:lnTo>
                  <a:pt x="5834723" y="1662279"/>
                </a:lnTo>
                <a:lnTo>
                  <a:pt x="5823871" y="1663036"/>
                </a:lnTo>
                <a:lnTo>
                  <a:pt x="5820073" y="1665093"/>
                </a:lnTo>
                <a:lnTo>
                  <a:pt x="5818771" y="1667259"/>
                </a:lnTo>
                <a:lnTo>
                  <a:pt x="5815190" y="1665527"/>
                </a:lnTo>
                <a:lnTo>
                  <a:pt x="5810415" y="1663578"/>
                </a:lnTo>
                <a:lnTo>
                  <a:pt x="5808245" y="1663578"/>
                </a:lnTo>
                <a:lnTo>
                  <a:pt x="5807160" y="1662387"/>
                </a:lnTo>
                <a:lnTo>
                  <a:pt x="5804880" y="1660113"/>
                </a:lnTo>
                <a:lnTo>
                  <a:pt x="5803579" y="1656973"/>
                </a:lnTo>
                <a:lnTo>
                  <a:pt x="5803579" y="1653184"/>
                </a:lnTo>
                <a:lnTo>
                  <a:pt x="5804447" y="1650910"/>
                </a:lnTo>
                <a:lnTo>
                  <a:pt x="5804447" y="1648203"/>
                </a:lnTo>
                <a:lnTo>
                  <a:pt x="5800866" y="1646579"/>
                </a:lnTo>
                <a:lnTo>
                  <a:pt x="5799129" y="1646579"/>
                </a:lnTo>
                <a:lnTo>
                  <a:pt x="5793486" y="1643006"/>
                </a:lnTo>
                <a:lnTo>
                  <a:pt x="5788495" y="1641599"/>
                </a:lnTo>
                <a:lnTo>
                  <a:pt x="5786107" y="1641599"/>
                </a:lnTo>
                <a:lnTo>
                  <a:pt x="5783611" y="1636077"/>
                </a:lnTo>
                <a:lnTo>
                  <a:pt x="5779704" y="1629148"/>
                </a:lnTo>
                <a:lnTo>
                  <a:pt x="5772652" y="1623951"/>
                </a:lnTo>
                <a:lnTo>
                  <a:pt x="5765380" y="1622110"/>
                </a:lnTo>
                <a:close/>
                <a:moveTo>
                  <a:pt x="5707927" y="1621986"/>
                </a:moveTo>
                <a:lnTo>
                  <a:pt x="5707215" y="1625033"/>
                </a:lnTo>
                <a:lnTo>
                  <a:pt x="5707541" y="1627473"/>
                </a:lnTo>
                <a:lnTo>
                  <a:pt x="5707541" y="1625358"/>
                </a:lnTo>
                <a:lnTo>
                  <a:pt x="5708192" y="1622110"/>
                </a:lnTo>
                <a:close/>
                <a:moveTo>
                  <a:pt x="3845612" y="1616588"/>
                </a:moveTo>
                <a:lnTo>
                  <a:pt x="3847565" y="1620486"/>
                </a:lnTo>
                <a:lnTo>
                  <a:pt x="3851580" y="1620486"/>
                </a:lnTo>
                <a:lnTo>
                  <a:pt x="3846046" y="1624492"/>
                </a:lnTo>
                <a:lnTo>
                  <a:pt x="3839535" y="1621243"/>
                </a:lnTo>
                <a:cubicBezTo>
                  <a:pt x="3839828" y="1619891"/>
                  <a:pt x="3840191" y="1618554"/>
                  <a:pt x="3840620" y="1617237"/>
                </a:cubicBezTo>
                <a:close/>
                <a:moveTo>
                  <a:pt x="5993916" y="1615289"/>
                </a:moveTo>
                <a:lnTo>
                  <a:pt x="5990336" y="1617671"/>
                </a:lnTo>
                <a:lnTo>
                  <a:pt x="5985995" y="1617671"/>
                </a:lnTo>
                <a:lnTo>
                  <a:pt x="5983390" y="1618538"/>
                </a:lnTo>
                <a:lnTo>
                  <a:pt x="5978658" y="1618538"/>
                </a:lnTo>
                <a:lnTo>
                  <a:pt x="5979702" y="1619620"/>
                </a:lnTo>
                <a:lnTo>
                  <a:pt x="5984693" y="1619295"/>
                </a:lnTo>
                <a:lnTo>
                  <a:pt x="5987298" y="1618320"/>
                </a:lnTo>
                <a:lnTo>
                  <a:pt x="5991530" y="1618753"/>
                </a:lnTo>
                <a:lnTo>
                  <a:pt x="5995219" y="1616371"/>
                </a:lnTo>
                <a:lnTo>
                  <a:pt x="6001759" y="1615905"/>
                </a:lnTo>
                <a:lnTo>
                  <a:pt x="6001512" y="1615289"/>
                </a:lnTo>
                <a:close/>
                <a:moveTo>
                  <a:pt x="4608811" y="1612581"/>
                </a:moveTo>
                <a:lnTo>
                  <a:pt x="4608317" y="1613489"/>
                </a:lnTo>
                <a:lnTo>
                  <a:pt x="4611631" y="1616589"/>
                </a:lnTo>
                <a:lnTo>
                  <a:pt x="4612905" y="1616411"/>
                </a:lnTo>
                <a:close/>
                <a:moveTo>
                  <a:pt x="6314541" y="1612232"/>
                </a:moveTo>
                <a:lnTo>
                  <a:pt x="6317080" y="1619620"/>
                </a:lnTo>
                <a:lnTo>
                  <a:pt x="6317402" y="1619839"/>
                </a:lnTo>
                <a:lnTo>
                  <a:pt x="6314909" y="1612583"/>
                </a:lnTo>
                <a:close/>
                <a:moveTo>
                  <a:pt x="6939734" y="1609104"/>
                </a:moveTo>
                <a:lnTo>
                  <a:pt x="6937903" y="1610848"/>
                </a:lnTo>
                <a:lnTo>
                  <a:pt x="6938400" y="1612213"/>
                </a:lnTo>
                <a:lnTo>
                  <a:pt x="6940399" y="1610309"/>
                </a:lnTo>
                <a:close/>
                <a:moveTo>
                  <a:pt x="6217352" y="1608901"/>
                </a:moveTo>
                <a:lnTo>
                  <a:pt x="6214097" y="1611175"/>
                </a:lnTo>
                <a:lnTo>
                  <a:pt x="6206826" y="1611175"/>
                </a:lnTo>
                <a:lnTo>
                  <a:pt x="6205090" y="1612799"/>
                </a:lnTo>
                <a:lnTo>
                  <a:pt x="6202168" y="1612799"/>
                </a:lnTo>
                <a:lnTo>
                  <a:pt x="6202378" y="1612907"/>
                </a:lnTo>
                <a:lnTo>
                  <a:pt x="6205742" y="1613015"/>
                </a:lnTo>
                <a:lnTo>
                  <a:pt x="6207478" y="1611391"/>
                </a:lnTo>
                <a:lnTo>
                  <a:pt x="6214749" y="1611716"/>
                </a:lnTo>
                <a:lnTo>
                  <a:pt x="6218004" y="1609550"/>
                </a:lnTo>
                <a:lnTo>
                  <a:pt x="6221585" y="1609659"/>
                </a:lnTo>
                <a:lnTo>
                  <a:pt x="6224515" y="1610742"/>
                </a:lnTo>
                <a:lnTo>
                  <a:pt x="6227554" y="1609767"/>
                </a:lnTo>
                <a:lnTo>
                  <a:pt x="6227620" y="1609696"/>
                </a:lnTo>
                <a:lnTo>
                  <a:pt x="6223863" y="1609984"/>
                </a:lnTo>
                <a:lnTo>
                  <a:pt x="6220934" y="1608901"/>
                </a:lnTo>
                <a:close/>
                <a:moveTo>
                  <a:pt x="5971562" y="1608901"/>
                </a:moveTo>
                <a:lnTo>
                  <a:pt x="5967982" y="1611175"/>
                </a:lnTo>
                <a:lnTo>
                  <a:pt x="5962447" y="1611175"/>
                </a:lnTo>
                <a:lnTo>
                  <a:pt x="5958540" y="1611175"/>
                </a:lnTo>
                <a:lnTo>
                  <a:pt x="5953874" y="1612366"/>
                </a:lnTo>
                <a:lnTo>
                  <a:pt x="5945410" y="1613449"/>
                </a:lnTo>
                <a:lnTo>
                  <a:pt x="5941611" y="1614965"/>
                </a:lnTo>
                <a:lnTo>
                  <a:pt x="5939224" y="1621136"/>
                </a:lnTo>
                <a:lnTo>
                  <a:pt x="5935969" y="1622868"/>
                </a:lnTo>
                <a:lnTo>
                  <a:pt x="5928046" y="1620595"/>
                </a:lnTo>
                <a:lnTo>
                  <a:pt x="5926528" y="1622652"/>
                </a:lnTo>
                <a:lnTo>
                  <a:pt x="5926528" y="1626116"/>
                </a:lnTo>
                <a:lnTo>
                  <a:pt x="5927285" y="1626651"/>
                </a:lnTo>
                <a:lnTo>
                  <a:pt x="5927180" y="1623409"/>
                </a:lnTo>
                <a:lnTo>
                  <a:pt x="5928699" y="1621352"/>
                </a:lnTo>
                <a:lnTo>
                  <a:pt x="5936621" y="1623517"/>
                </a:lnTo>
                <a:lnTo>
                  <a:pt x="5939876" y="1621785"/>
                </a:lnTo>
                <a:lnTo>
                  <a:pt x="5942264" y="1615614"/>
                </a:lnTo>
                <a:lnTo>
                  <a:pt x="5946062" y="1614098"/>
                </a:lnTo>
                <a:lnTo>
                  <a:pt x="5954525" y="1613015"/>
                </a:lnTo>
                <a:lnTo>
                  <a:pt x="5959192" y="1611824"/>
                </a:lnTo>
                <a:lnTo>
                  <a:pt x="5963099" y="1611716"/>
                </a:lnTo>
                <a:lnTo>
                  <a:pt x="5968633" y="1612040"/>
                </a:lnTo>
                <a:lnTo>
                  <a:pt x="5972322" y="1609767"/>
                </a:lnTo>
                <a:lnTo>
                  <a:pt x="5973516" y="1609983"/>
                </a:lnTo>
                <a:lnTo>
                  <a:pt x="5974667" y="1611514"/>
                </a:lnTo>
                <a:lnTo>
                  <a:pt x="5972755" y="1608901"/>
                </a:lnTo>
                <a:close/>
                <a:moveTo>
                  <a:pt x="5246236" y="1607959"/>
                </a:moveTo>
                <a:lnTo>
                  <a:pt x="5246236" y="1609551"/>
                </a:lnTo>
                <a:lnTo>
                  <a:pt x="5249818" y="1609551"/>
                </a:lnTo>
                <a:lnTo>
                  <a:pt x="5250784" y="1614020"/>
                </a:lnTo>
                <a:lnTo>
                  <a:pt x="5250902" y="1613881"/>
                </a:lnTo>
                <a:lnTo>
                  <a:pt x="5249600" y="1608468"/>
                </a:lnTo>
                <a:close/>
                <a:moveTo>
                  <a:pt x="6848604" y="1606417"/>
                </a:moveTo>
                <a:lnTo>
                  <a:pt x="6848702" y="1606842"/>
                </a:lnTo>
                <a:lnTo>
                  <a:pt x="6849877" y="1610092"/>
                </a:lnTo>
                <a:lnTo>
                  <a:pt x="6849896" y="1609984"/>
                </a:lnTo>
                <a:close/>
                <a:moveTo>
                  <a:pt x="6244814" y="1602663"/>
                </a:moveTo>
                <a:lnTo>
                  <a:pt x="6239056" y="1603055"/>
                </a:lnTo>
                <a:lnTo>
                  <a:pt x="6238783" y="1603141"/>
                </a:lnTo>
                <a:close/>
                <a:moveTo>
                  <a:pt x="6843554" y="1601863"/>
                </a:moveTo>
                <a:lnTo>
                  <a:pt x="6843710" y="1602836"/>
                </a:lnTo>
                <a:lnTo>
                  <a:pt x="6847683" y="1602622"/>
                </a:lnTo>
                <a:lnTo>
                  <a:pt x="6847508" y="1601863"/>
                </a:lnTo>
                <a:close/>
                <a:moveTo>
                  <a:pt x="6287211" y="1601430"/>
                </a:moveTo>
                <a:lnTo>
                  <a:pt x="6291687" y="1607926"/>
                </a:lnTo>
                <a:lnTo>
                  <a:pt x="6292115" y="1608091"/>
                </a:lnTo>
                <a:lnTo>
                  <a:pt x="6287454" y="1601430"/>
                </a:lnTo>
                <a:close/>
                <a:moveTo>
                  <a:pt x="6178843" y="1600023"/>
                </a:moveTo>
                <a:lnTo>
                  <a:pt x="6181204" y="1600110"/>
                </a:lnTo>
                <a:lnTo>
                  <a:pt x="6181108" y="1600023"/>
                </a:lnTo>
                <a:close/>
                <a:moveTo>
                  <a:pt x="4434843" y="1598808"/>
                </a:moveTo>
                <a:lnTo>
                  <a:pt x="4434858" y="1598831"/>
                </a:lnTo>
                <a:lnTo>
                  <a:pt x="4438438" y="1609767"/>
                </a:lnTo>
                <a:lnTo>
                  <a:pt x="4441694" y="1614747"/>
                </a:lnTo>
                <a:lnTo>
                  <a:pt x="4442779" y="1620594"/>
                </a:lnTo>
                <a:lnTo>
                  <a:pt x="4445492" y="1623084"/>
                </a:lnTo>
                <a:lnTo>
                  <a:pt x="4445709" y="1638025"/>
                </a:lnTo>
                <a:lnTo>
                  <a:pt x="4445710" y="1638024"/>
                </a:lnTo>
                <a:lnTo>
                  <a:pt x="4445493" y="1623083"/>
                </a:lnTo>
                <a:lnTo>
                  <a:pt x="4442780" y="1620593"/>
                </a:lnTo>
                <a:lnTo>
                  <a:pt x="4441695" y="1614747"/>
                </a:lnTo>
                <a:lnTo>
                  <a:pt x="4438440" y="1609766"/>
                </a:lnTo>
                <a:lnTo>
                  <a:pt x="4434858" y="1598831"/>
                </a:lnTo>
                <a:close/>
                <a:moveTo>
                  <a:pt x="7349072" y="1598290"/>
                </a:moveTo>
                <a:lnTo>
                  <a:pt x="7350700" y="1598615"/>
                </a:lnTo>
                <a:lnTo>
                  <a:pt x="7350049" y="1606410"/>
                </a:lnTo>
                <a:lnTo>
                  <a:pt x="7348205" y="1609008"/>
                </a:lnTo>
                <a:lnTo>
                  <a:pt x="7346577" y="1608467"/>
                </a:lnTo>
                <a:lnTo>
                  <a:pt x="7348639" y="1602296"/>
                </a:lnTo>
                <a:close/>
                <a:moveTo>
                  <a:pt x="6265642" y="1597749"/>
                </a:moveTo>
                <a:lnTo>
                  <a:pt x="6265552" y="1597776"/>
                </a:lnTo>
                <a:lnTo>
                  <a:pt x="6269408" y="1599853"/>
                </a:lnTo>
                <a:close/>
                <a:moveTo>
                  <a:pt x="6843494" y="1596403"/>
                </a:moveTo>
                <a:lnTo>
                  <a:pt x="6843168" y="1596882"/>
                </a:lnTo>
                <a:lnTo>
                  <a:pt x="6843276" y="1600130"/>
                </a:lnTo>
                <a:lnTo>
                  <a:pt x="6843494" y="1601490"/>
                </a:lnTo>
                <a:lnTo>
                  <a:pt x="6843494" y="1599157"/>
                </a:lnTo>
                <a:close/>
                <a:moveTo>
                  <a:pt x="4438981" y="1593310"/>
                </a:moveTo>
                <a:lnTo>
                  <a:pt x="4438981" y="1593310"/>
                </a:lnTo>
                <a:lnTo>
                  <a:pt x="4437555" y="1594298"/>
                </a:lnTo>
                <a:close/>
                <a:moveTo>
                  <a:pt x="2221443" y="1592552"/>
                </a:moveTo>
                <a:lnTo>
                  <a:pt x="2222637" y="1596342"/>
                </a:lnTo>
                <a:lnTo>
                  <a:pt x="2217320" y="1599265"/>
                </a:lnTo>
                <a:lnTo>
                  <a:pt x="2214715" y="1598507"/>
                </a:lnTo>
                <a:lnTo>
                  <a:pt x="2216343" y="1594717"/>
                </a:lnTo>
                <a:lnTo>
                  <a:pt x="2219815" y="1593960"/>
                </a:lnTo>
                <a:close/>
                <a:moveTo>
                  <a:pt x="6845555" y="1592030"/>
                </a:moveTo>
                <a:lnTo>
                  <a:pt x="6845326" y="1593311"/>
                </a:lnTo>
                <a:lnTo>
                  <a:pt x="6845555" y="1592985"/>
                </a:lnTo>
                <a:close/>
                <a:moveTo>
                  <a:pt x="6516571" y="1591722"/>
                </a:moveTo>
                <a:lnTo>
                  <a:pt x="6516967" y="1592119"/>
                </a:lnTo>
                <a:lnTo>
                  <a:pt x="6516967" y="1592118"/>
                </a:lnTo>
                <a:close/>
                <a:moveTo>
                  <a:pt x="4460032" y="1590603"/>
                </a:moveTo>
                <a:lnTo>
                  <a:pt x="4454420" y="1593354"/>
                </a:lnTo>
                <a:lnTo>
                  <a:pt x="4460033" y="1590603"/>
                </a:lnTo>
                <a:close/>
                <a:moveTo>
                  <a:pt x="6514391" y="1589335"/>
                </a:moveTo>
                <a:lnTo>
                  <a:pt x="6516533" y="1591685"/>
                </a:lnTo>
                <a:lnTo>
                  <a:pt x="6516618" y="1591661"/>
                </a:lnTo>
                <a:close/>
                <a:moveTo>
                  <a:pt x="7353087" y="1587788"/>
                </a:moveTo>
                <a:lnTo>
                  <a:pt x="7355475" y="1588763"/>
                </a:lnTo>
                <a:lnTo>
                  <a:pt x="7354824" y="1591253"/>
                </a:lnTo>
                <a:lnTo>
                  <a:pt x="7352654" y="1590603"/>
                </a:lnTo>
                <a:lnTo>
                  <a:pt x="7352111" y="1588871"/>
                </a:lnTo>
                <a:close/>
                <a:moveTo>
                  <a:pt x="4610075" y="1586667"/>
                </a:moveTo>
                <a:lnTo>
                  <a:pt x="4610113" y="1586813"/>
                </a:lnTo>
                <a:lnTo>
                  <a:pt x="4615833" y="1588278"/>
                </a:lnTo>
                <a:lnTo>
                  <a:pt x="4615646" y="1588114"/>
                </a:lnTo>
                <a:close/>
                <a:moveTo>
                  <a:pt x="5273149" y="1583607"/>
                </a:moveTo>
                <a:lnTo>
                  <a:pt x="5273149" y="1588005"/>
                </a:lnTo>
                <a:lnTo>
                  <a:pt x="5272716" y="1588827"/>
                </a:lnTo>
                <a:lnTo>
                  <a:pt x="5273257" y="1588438"/>
                </a:lnTo>
                <a:lnTo>
                  <a:pt x="5273365" y="1583673"/>
                </a:lnTo>
                <a:close/>
                <a:moveTo>
                  <a:pt x="4461769" y="1583349"/>
                </a:moveTo>
                <a:lnTo>
                  <a:pt x="4464156" y="1590278"/>
                </a:lnTo>
                <a:lnTo>
                  <a:pt x="4464158" y="1590277"/>
                </a:lnTo>
                <a:lnTo>
                  <a:pt x="4461771" y="1583349"/>
                </a:lnTo>
                <a:close/>
                <a:moveTo>
                  <a:pt x="3844636" y="1583133"/>
                </a:moveTo>
                <a:lnTo>
                  <a:pt x="3843768" y="1587139"/>
                </a:lnTo>
                <a:lnTo>
                  <a:pt x="3844636" y="1589629"/>
                </a:lnTo>
                <a:lnTo>
                  <a:pt x="3838993" y="1595367"/>
                </a:lnTo>
                <a:lnTo>
                  <a:pt x="3834978" y="1596017"/>
                </a:lnTo>
                <a:lnTo>
                  <a:pt x="3836823" y="1589845"/>
                </a:lnTo>
                <a:close/>
                <a:moveTo>
                  <a:pt x="7356452" y="1580642"/>
                </a:moveTo>
                <a:lnTo>
                  <a:pt x="7358948" y="1580750"/>
                </a:lnTo>
                <a:lnTo>
                  <a:pt x="7357320" y="1583565"/>
                </a:lnTo>
                <a:close/>
                <a:moveTo>
                  <a:pt x="1191946" y="1579775"/>
                </a:moveTo>
                <a:lnTo>
                  <a:pt x="1197047" y="1583781"/>
                </a:lnTo>
                <a:lnTo>
                  <a:pt x="1201387" y="1589952"/>
                </a:lnTo>
                <a:lnTo>
                  <a:pt x="1199977" y="1592334"/>
                </a:lnTo>
                <a:lnTo>
                  <a:pt x="1193139" y="1586163"/>
                </a:lnTo>
                <a:close/>
                <a:moveTo>
                  <a:pt x="4471102" y="1576745"/>
                </a:moveTo>
                <a:lnTo>
                  <a:pt x="4471101" y="1576745"/>
                </a:lnTo>
                <a:lnTo>
                  <a:pt x="4468714" y="1583024"/>
                </a:lnTo>
                <a:lnTo>
                  <a:pt x="4468715" y="1583024"/>
                </a:lnTo>
                <a:close/>
                <a:moveTo>
                  <a:pt x="5246996" y="1576183"/>
                </a:moveTo>
                <a:lnTo>
                  <a:pt x="5246996" y="1578261"/>
                </a:lnTo>
                <a:lnTo>
                  <a:pt x="5247355" y="1578261"/>
                </a:lnTo>
                <a:close/>
                <a:moveTo>
                  <a:pt x="6569970" y="1575832"/>
                </a:moveTo>
                <a:lnTo>
                  <a:pt x="6566342" y="1579451"/>
                </a:lnTo>
                <a:lnTo>
                  <a:pt x="6557769" y="1580967"/>
                </a:lnTo>
                <a:lnTo>
                  <a:pt x="6552343" y="1584757"/>
                </a:lnTo>
                <a:lnTo>
                  <a:pt x="6540949" y="1595585"/>
                </a:lnTo>
                <a:lnTo>
                  <a:pt x="6538236" y="1595585"/>
                </a:lnTo>
                <a:lnTo>
                  <a:pt x="6534763" y="1592661"/>
                </a:lnTo>
                <a:lnTo>
                  <a:pt x="6527818" y="1591686"/>
                </a:lnTo>
                <a:lnTo>
                  <a:pt x="6523477" y="1592444"/>
                </a:lnTo>
                <a:lnTo>
                  <a:pt x="6522718" y="1590820"/>
                </a:lnTo>
                <a:lnTo>
                  <a:pt x="6519355" y="1590820"/>
                </a:lnTo>
                <a:lnTo>
                  <a:pt x="6517435" y="1591433"/>
                </a:lnTo>
                <a:lnTo>
                  <a:pt x="6519246" y="1590927"/>
                </a:lnTo>
                <a:lnTo>
                  <a:pt x="6522610" y="1591360"/>
                </a:lnTo>
                <a:lnTo>
                  <a:pt x="6523369" y="1592984"/>
                </a:lnTo>
                <a:lnTo>
                  <a:pt x="6527709" y="1592226"/>
                </a:lnTo>
                <a:lnTo>
                  <a:pt x="6534764" y="1593201"/>
                </a:lnTo>
                <a:lnTo>
                  <a:pt x="6538127" y="1596124"/>
                </a:lnTo>
                <a:lnTo>
                  <a:pt x="6540840" y="1595691"/>
                </a:lnTo>
                <a:lnTo>
                  <a:pt x="6552234" y="1584864"/>
                </a:lnTo>
                <a:lnTo>
                  <a:pt x="6557660" y="1581074"/>
                </a:lnTo>
                <a:lnTo>
                  <a:pt x="6566234" y="1579667"/>
                </a:lnTo>
                <a:lnTo>
                  <a:pt x="6569923" y="1575985"/>
                </a:lnTo>
                <a:close/>
                <a:moveTo>
                  <a:pt x="4212941" y="1573929"/>
                </a:moveTo>
                <a:lnTo>
                  <a:pt x="4214569" y="1574795"/>
                </a:lnTo>
                <a:lnTo>
                  <a:pt x="4216196" y="1573929"/>
                </a:lnTo>
                <a:lnTo>
                  <a:pt x="4219669" y="1574687"/>
                </a:lnTo>
                <a:lnTo>
                  <a:pt x="4218692" y="1578585"/>
                </a:lnTo>
                <a:lnTo>
                  <a:pt x="4220754" y="1582266"/>
                </a:lnTo>
                <a:lnTo>
                  <a:pt x="4220428" y="1584432"/>
                </a:lnTo>
                <a:lnTo>
                  <a:pt x="4217498" y="1583566"/>
                </a:lnTo>
                <a:lnTo>
                  <a:pt x="4214460" y="1587789"/>
                </a:lnTo>
                <a:lnTo>
                  <a:pt x="4209577" y="1586164"/>
                </a:lnTo>
                <a:lnTo>
                  <a:pt x="4208275" y="1584432"/>
                </a:lnTo>
                <a:lnTo>
                  <a:pt x="4209360" y="1581076"/>
                </a:lnTo>
                <a:lnTo>
                  <a:pt x="4212290" y="1579343"/>
                </a:lnTo>
                <a:lnTo>
                  <a:pt x="4213267" y="1578043"/>
                </a:lnTo>
                <a:lnTo>
                  <a:pt x="4209577" y="1577719"/>
                </a:lnTo>
                <a:lnTo>
                  <a:pt x="4209360" y="1574795"/>
                </a:lnTo>
                <a:close/>
                <a:moveTo>
                  <a:pt x="5249058" y="1573281"/>
                </a:moveTo>
                <a:lnTo>
                  <a:pt x="5246996" y="1575121"/>
                </a:lnTo>
                <a:lnTo>
                  <a:pt x="5246996" y="1575456"/>
                </a:lnTo>
                <a:lnTo>
                  <a:pt x="5248949" y="1573713"/>
                </a:lnTo>
                <a:lnTo>
                  <a:pt x="5255352" y="1573496"/>
                </a:lnTo>
                <a:lnTo>
                  <a:pt x="5255271" y="1573281"/>
                </a:lnTo>
                <a:close/>
                <a:moveTo>
                  <a:pt x="7358080" y="1570789"/>
                </a:moveTo>
                <a:lnTo>
                  <a:pt x="7359057" y="1573387"/>
                </a:lnTo>
                <a:lnTo>
                  <a:pt x="7357755" y="1576961"/>
                </a:lnTo>
                <a:lnTo>
                  <a:pt x="7356452" y="1573063"/>
                </a:lnTo>
                <a:close/>
                <a:moveTo>
                  <a:pt x="6148736" y="1569645"/>
                </a:moveTo>
                <a:lnTo>
                  <a:pt x="6149313" y="1569924"/>
                </a:lnTo>
                <a:lnTo>
                  <a:pt x="6153437" y="1570573"/>
                </a:lnTo>
                <a:lnTo>
                  <a:pt x="6162723" y="1570274"/>
                </a:lnTo>
                <a:lnTo>
                  <a:pt x="6162659" y="1570249"/>
                </a:lnTo>
                <a:lnTo>
                  <a:pt x="6152568" y="1570249"/>
                </a:lnTo>
                <a:close/>
                <a:moveTo>
                  <a:pt x="6782339" y="1568639"/>
                </a:moveTo>
                <a:lnTo>
                  <a:pt x="6781964" y="1569056"/>
                </a:lnTo>
                <a:lnTo>
                  <a:pt x="6783483" y="1570463"/>
                </a:lnTo>
                <a:lnTo>
                  <a:pt x="6788800" y="1570897"/>
                </a:lnTo>
                <a:lnTo>
                  <a:pt x="6791188" y="1572196"/>
                </a:lnTo>
                <a:lnTo>
                  <a:pt x="6792816" y="1574036"/>
                </a:lnTo>
                <a:lnTo>
                  <a:pt x="6795746" y="1575985"/>
                </a:lnTo>
                <a:lnTo>
                  <a:pt x="6796397" y="1574036"/>
                </a:lnTo>
                <a:lnTo>
                  <a:pt x="6798784" y="1573062"/>
                </a:lnTo>
                <a:lnTo>
                  <a:pt x="6801280" y="1573820"/>
                </a:lnTo>
                <a:lnTo>
                  <a:pt x="6802257" y="1570897"/>
                </a:lnTo>
                <a:lnTo>
                  <a:pt x="6804644" y="1570572"/>
                </a:lnTo>
                <a:lnTo>
                  <a:pt x="6806489" y="1572304"/>
                </a:lnTo>
                <a:lnTo>
                  <a:pt x="6807466" y="1575011"/>
                </a:lnTo>
                <a:lnTo>
                  <a:pt x="6809853" y="1577826"/>
                </a:lnTo>
                <a:lnTo>
                  <a:pt x="6812458" y="1578151"/>
                </a:lnTo>
                <a:lnTo>
                  <a:pt x="6813217" y="1580533"/>
                </a:lnTo>
                <a:lnTo>
                  <a:pt x="6815714" y="1582590"/>
                </a:lnTo>
                <a:lnTo>
                  <a:pt x="6817015" y="1582481"/>
                </a:lnTo>
                <a:lnTo>
                  <a:pt x="6819185" y="1584755"/>
                </a:lnTo>
                <a:lnTo>
                  <a:pt x="6819728" y="1587029"/>
                </a:lnTo>
                <a:lnTo>
                  <a:pt x="6824937" y="1589411"/>
                </a:lnTo>
                <a:lnTo>
                  <a:pt x="6826130" y="1590494"/>
                </a:lnTo>
                <a:lnTo>
                  <a:pt x="6828409" y="1590818"/>
                </a:lnTo>
                <a:lnTo>
                  <a:pt x="6830905" y="1592659"/>
                </a:lnTo>
                <a:lnTo>
                  <a:pt x="6834161" y="1593309"/>
                </a:lnTo>
                <a:lnTo>
                  <a:pt x="6836657" y="1592551"/>
                </a:lnTo>
                <a:lnTo>
                  <a:pt x="6839478" y="1592226"/>
                </a:lnTo>
                <a:lnTo>
                  <a:pt x="6841974" y="1590385"/>
                </a:lnTo>
                <a:lnTo>
                  <a:pt x="6843927" y="1589952"/>
                </a:lnTo>
                <a:lnTo>
                  <a:pt x="6845555" y="1590716"/>
                </a:lnTo>
                <a:lnTo>
                  <a:pt x="6845555" y="1589846"/>
                </a:lnTo>
                <a:lnTo>
                  <a:pt x="6843710" y="1588979"/>
                </a:lnTo>
                <a:lnTo>
                  <a:pt x="6841865" y="1588979"/>
                </a:lnTo>
                <a:lnTo>
                  <a:pt x="6839370" y="1590820"/>
                </a:lnTo>
                <a:lnTo>
                  <a:pt x="6836548" y="1590820"/>
                </a:lnTo>
                <a:lnTo>
                  <a:pt x="6834053" y="1591578"/>
                </a:lnTo>
                <a:lnTo>
                  <a:pt x="6830796" y="1590928"/>
                </a:lnTo>
                <a:lnTo>
                  <a:pt x="6828410" y="1588979"/>
                </a:lnTo>
                <a:lnTo>
                  <a:pt x="6826130" y="1588979"/>
                </a:lnTo>
                <a:lnTo>
                  <a:pt x="6824937" y="1587896"/>
                </a:lnTo>
                <a:lnTo>
                  <a:pt x="6819728" y="1585623"/>
                </a:lnTo>
                <a:lnTo>
                  <a:pt x="6819077" y="1583349"/>
                </a:lnTo>
                <a:lnTo>
                  <a:pt x="6816907" y="1581076"/>
                </a:lnTo>
                <a:lnTo>
                  <a:pt x="6815604" y="1581076"/>
                </a:lnTo>
                <a:lnTo>
                  <a:pt x="6813108" y="1579018"/>
                </a:lnTo>
                <a:lnTo>
                  <a:pt x="6812349" y="1576745"/>
                </a:lnTo>
                <a:lnTo>
                  <a:pt x="6809744" y="1576745"/>
                </a:lnTo>
                <a:lnTo>
                  <a:pt x="6807248" y="1573930"/>
                </a:lnTo>
                <a:lnTo>
                  <a:pt x="6806272" y="1571224"/>
                </a:lnTo>
                <a:lnTo>
                  <a:pt x="6804428" y="1569491"/>
                </a:lnTo>
                <a:lnTo>
                  <a:pt x="6802040" y="1569491"/>
                </a:lnTo>
                <a:lnTo>
                  <a:pt x="6801063" y="1572306"/>
                </a:lnTo>
                <a:lnTo>
                  <a:pt x="6798567" y="1571656"/>
                </a:lnTo>
                <a:lnTo>
                  <a:pt x="6796180" y="1572631"/>
                </a:lnTo>
                <a:lnTo>
                  <a:pt x="6795529" y="1574471"/>
                </a:lnTo>
                <a:lnTo>
                  <a:pt x="6792599" y="1572631"/>
                </a:lnTo>
                <a:lnTo>
                  <a:pt x="6791080" y="1570790"/>
                </a:lnTo>
                <a:lnTo>
                  <a:pt x="6788692" y="1569599"/>
                </a:lnTo>
                <a:lnTo>
                  <a:pt x="6783375" y="1569599"/>
                </a:lnTo>
                <a:close/>
                <a:moveTo>
                  <a:pt x="4131652" y="1568558"/>
                </a:moveTo>
                <a:lnTo>
                  <a:pt x="4129817" y="1568840"/>
                </a:lnTo>
                <a:lnTo>
                  <a:pt x="4129818" y="1568840"/>
                </a:lnTo>
                <a:close/>
                <a:moveTo>
                  <a:pt x="6139502" y="1567389"/>
                </a:moveTo>
                <a:lnTo>
                  <a:pt x="6139763" y="1567649"/>
                </a:lnTo>
                <a:lnTo>
                  <a:pt x="6145697" y="1568273"/>
                </a:lnTo>
                <a:lnTo>
                  <a:pt x="6145080" y="1567975"/>
                </a:lnTo>
                <a:close/>
                <a:moveTo>
                  <a:pt x="4149460" y="1566458"/>
                </a:moveTo>
                <a:lnTo>
                  <a:pt x="4154668" y="1568407"/>
                </a:lnTo>
                <a:lnTo>
                  <a:pt x="4153041" y="1570031"/>
                </a:lnTo>
                <a:close/>
                <a:moveTo>
                  <a:pt x="6085504" y="1566135"/>
                </a:moveTo>
                <a:lnTo>
                  <a:pt x="6081598" y="1567542"/>
                </a:lnTo>
                <a:lnTo>
                  <a:pt x="6079211" y="1571548"/>
                </a:lnTo>
                <a:lnTo>
                  <a:pt x="6079211" y="1575121"/>
                </a:lnTo>
                <a:lnTo>
                  <a:pt x="6074328" y="1580643"/>
                </a:lnTo>
                <a:lnTo>
                  <a:pt x="6074328" y="1592336"/>
                </a:lnTo>
                <a:lnTo>
                  <a:pt x="6076064" y="1598183"/>
                </a:lnTo>
                <a:lnTo>
                  <a:pt x="6083117" y="1600023"/>
                </a:lnTo>
                <a:lnTo>
                  <a:pt x="6085504" y="1603163"/>
                </a:lnTo>
                <a:lnTo>
                  <a:pt x="6089954" y="1604679"/>
                </a:lnTo>
                <a:lnTo>
                  <a:pt x="6090822" y="1607818"/>
                </a:lnTo>
                <a:lnTo>
                  <a:pt x="6089411" y="1615506"/>
                </a:lnTo>
                <a:lnTo>
                  <a:pt x="6089411" y="1622760"/>
                </a:lnTo>
                <a:lnTo>
                  <a:pt x="6094185" y="1626008"/>
                </a:lnTo>
                <a:lnTo>
                  <a:pt x="6096791" y="1628932"/>
                </a:lnTo>
                <a:lnTo>
                  <a:pt x="6092441" y="1636022"/>
                </a:lnTo>
                <a:lnTo>
                  <a:pt x="6092884" y="1635968"/>
                </a:lnTo>
                <a:lnTo>
                  <a:pt x="6097334" y="1628714"/>
                </a:lnTo>
                <a:lnTo>
                  <a:pt x="6094729" y="1625791"/>
                </a:lnTo>
                <a:lnTo>
                  <a:pt x="6089955" y="1622543"/>
                </a:lnTo>
                <a:lnTo>
                  <a:pt x="6090172" y="1615289"/>
                </a:lnTo>
                <a:lnTo>
                  <a:pt x="6091474" y="1607602"/>
                </a:lnTo>
                <a:lnTo>
                  <a:pt x="6090606" y="1604462"/>
                </a:lnTo>
                <a:lnTo>
                  <a:pt x="6086156" y="1602946"/>
                </a:lnTo>
                <a:lnTo>
                  <a:pt x="6083770" y="1599806"/>
                </a:lnTo>
                <a:lnTo>
                  <a:pt x="6076715" y="1597965"/>
                </a:lnTo>
                <a:lnTo>
                  <a:pt x="6074979" y="1592119"/>
                </a:lnTo>
                <a:lnTo>
                  <a:pt x="6075088" y="1580426"/>
                </a:lnTo>
                <a:lnTo>
                  <a:pt x="6079971" y="1574904"/>
                </a:lnTo>
                <a:lnTo>
                  <a:pt x="6079971" y="1571331"/>
                </a:lnTo>
                <a:lnTo>
                  <a:pt x="6082358" y="1567325"/>
                </a:lnTo>
                <a:lnTo>
                  <a:pt x="6085627" y="1566179"/>
                </a:lnTo>
                <a:close/>
                <a:moveTo>
                  <a:pt x="5245336" y="1565524"/>
                </a:moveTo>
                <a:lnTo>
                  <a:pt x="5243198" y="1567759"/>
                </a:lnTo>
                <a:lnTo>
                  <a:pt x="5243275" y="1567780"/>
                </a:lnTo>
                <a:lnTo>
                  <a:pt x="5245368" y="1565593"/>
                </a:lnTo>
                <a:close/>
                <a:moveTo>
                  <a:pt x="6562544" y="1564942"/>
                </a:moveTo>
                <a:lnTo>
                  <a:pt x="6562544" y="1565268"/>
                </a:lnTo>
                <a:lnTo>
                  <a:pt x="6563981" y="1565268"/>
                </a:lnTo>
                <a:close/>
                <a:moveTo>
                  <a:pt x="4168883" y="1564835"/>
                </a:moveTo>
                <a:lnTo>
                  <a:pt x="4173224" y="1571006"/>
                </a:lnTo>
                <a:lnTo>
                  <a:pt x="4176262" y="1570031"/>
                </a:lnTo>
                <a:lnTo>
                  <a:pt x="4178757" y="1570031"/>
                </a:lnTo>
                <a:lnTo>
                  <a:pt x="4180277" y="1566459"/>
                </a:lnTo>
                <a:lnTo>
                  <a:pt x="4184183" y="1566676"/>
                </a:lnTo>
                <a:lnTo>
                  <a:pt x="4185052" y="1565918"/>
                </a:lnTo>
                <a:lnTo>
                  <a:pt x="4185811" y="1569274"/>
                </a:lnTo>
                <a:lnTo>
                  <a:pt x="4183641" y="1573388"/>
                </a:lnTo>
                <a:lnTo>
                  <a:pt x="4183749" y="1577286"/>
                </a:lnTo>
                <a:lnTo>
                  <a:pt x="4182555" y="1576636"/>
                </a:lnTo>
                <a:lnTo>
                  <a:pt x="4181362" y="1572955"/>
                </a:lnTo>
                <a:lnTo>
                  <a:pt x="4179083" y="1575986"/>
                </a:lnTo>
                <a:lnTo>
                  <a:pt x="4172355" y="1576528"/>
                </a:lnTo>
                <a:lnTo>
                  <a:pt x="4165519" y="1574255"/>
                </a:lnTo>
                <a:lnTo>
                  <a:pt x="4163566" y="1571547"/>
                </a:lnTo>
                <a:lnTo>
                  <a:pt x="4166279" y="1570573"/>
                </a:lnTo>
                <a:lnTo>
                  <a:pt x="4164651" y="1568408"/>
                </a:lnTo>
                <a:lnTo>
                  <a:pt x="4166604" y="1565376"/>
                </a:lnTo>
                <a:close/>
                <a:moveTo>
                  <a:pt x="6119364" y="1562994"/>
                </a:moveTo>
                <a:lnTo>
                  <a:pt x="6119688" y="1563102"/>
                </a:lnTo>
                <a:lnTo>
                  <a:pt x="6125656" y="1563643"/>
                </a:lnTo>
                <a:lnTo>
                  <a:pt x="6133874" y="1563336"/>
                </a:lnTo>
                <a:lnTo>
                  <a:pt x="6133361" y="1562994"/>
                </a:lnTo>
                <a:lnTo>
                  <a:pt x="6124788" y="1562994"/>
                </a:lnTo>
                <a:close/>
                <a:moveTo>
                  <a:pt x="4477288" y="1562669"/>
                </a:moveTo>
                <a:lnTo>
                  <a:pt x="4477287" y="1562669"/>
                </a:lnTo>
                <a:lnTo>
                  <a:pt x="4475876" y="1569923"/>
                </a:lnTo>
                <a:lnTo>
                  <a:pt x="4482170" y="1573063"/>
                </a:lnTo>
                <a:lnTo>
                  <a:pt x="4482170" y="1578151"/>
                </a:lnTo>
                <a:lnTo>
                  <a:pt x="4482172" y="1578151"/>
                </a:lnTo>
                <a:lnTo>
                  <a:pt x="4482172" y="1573062"/>
                </a:lnTo>
                <a:lnTo>
                  <a:pt x="4475878" y="1569922"/>
                </a:lnTo>
                <a:close/>
                <a:moveTo>
                  <a:pt x="1185760" y="1561153"/>
                </a:moveTo>
                <a:lnTo>
                  <a:pt x="1183373" y="1569057"/>
                </a:lnTo>
                <a:lnTo>
                  <a:pt x="1182288" y="1562235"/>
                </a:lnTo>
                <a:close/>
                <a:moveTo>
                  <a:pt x="4192215" y="1561045"/>
                </a:moveTo>
                <a:lnTo>
                  <a:pt x="4192866" y="1563643"/>
                </a:lnTo>
                <a:lnTo>
                  <a:pt x="4189719" y="1564185"/>
                </a:lnTo>
                <a:lnTo>
                  <a:pt x="4187549" y="1567324"/>
                </a:lnTo>
                <a:lnTo>
                  <a:pt x="4186789" y="1565483"/>
                </a:lnTo>
                <a:lnTo>
                  <a:pt x="4188742" y="1562452"/>
                </a:lnTo>
                <a:close/>
                <a:moveTo>
                  <a:pt x="4160202" y="1558772"/>
                </a:moveTo>
                <a:cubicBezTo>
                  <a:pt x="4161132" y="1560030"/>
                  <a:pt x="4162186" y="1561190"/>
                  <a:pt x="4163349" y="1562237"/>
                </a:cubicBezTo>
                <a:lnTo>
                  <a:pt x="4160636" y="1567759"/>
                </a:lnTo>
                <a:lnTo>
                  <a:pt x="4157923" y="1571331"/>
                </a:lnTo>
                <a:lnTo>
                  <a:pt x="4157055" y="1569057"/>
                </a:lnTo>
                <a:lnTo>
                  <a:pt x="4159008" y="1565268"/>
                </a:lnTo>
                <a:close/>
                <a:moveTo>
                  <a:pt x="5244609" y="1558122"/>
                </a:moveTo>
                <a:lnTo>
                  <a:pt x="5242873" y="1559638"/>
                </a:lnTo>
                <a:lnTo>
                  <a:pt x="5242947" y="1559803"/>
                </a:lnTo>
                <a:lnTo>
                  <a:pt x="5244500" y="1558447"/>
                </a:lnTo>
                <a:lnTo>
                  <a:pt x="5248322" y="1558122"/>
                </a:lnTo>
                <a:close/>
                <a:moveTo>
                  <a:pt x="7358731" y="1557256"/>
                </a:moveTo>
                <a:lnTo>
                  <a:pt x="7361011" y="1558772"/>
                </a:lnTo>
                <a:lnTo>
                  <a:pt x="7359057" y="1560180"/>
                </a:lnTo>
                <a:lnTo>
                  <a:pt x="7357212" y="1558122"/>
                </a:lnTo>
                <a:close/>
                <a:moveTo>
                  <a:pt x="5262732" y="1557148"/>
                </a:moveTo>
                <a:lnTo>
                  <a:pt x="5262545" y="1557170"/>
                </a:lnTo>
                <a:lnTo>
                  <a:pt x="5266854" y="1560287"/>
                </a:lnTo>
                <a:lnTo>
                  <a:pt x="5266935" y="1560189"/>
                </a:lnTo>
                <a:close/>
                <a:moveTo>
                  <a:pt x="5253787" y="1555199"/>
                </a:moveTo>
                <a:lnTo>
                  <a:pt x="5255460" y="1555307"/>
                </a:lnTo>
                <a:lnTo>
                  <a:pt x="5257088" y="1557906"/>
                </a:lnTo>
                <a:lnTo>
                  <a:pt x="5261335" y="1557312"/>
                </a:lnTo>
                <a:lnTo>
                  <a:pt x="5257197" y="1557798"/>
                </a:lnTo>
                <a:lnTo>
                  <a:pt x="5255678" y="1555199"/>
                </a:lnTo>
                <a:close/>
                <a:moveTo>
                  <a:pt x="6091907" y="1552709"/>
                </a:moveTo>
                <a:lnTo>
                  <a:pt x="6088868" y="1555415"/>
                </a:lnTo>
                <a:lnTo>
                  <a:pt x="6088217" y="1559097"/>
                </a:lnTo>
                <a:lnTo>
                  <a:pt x="6089628" y="1563103"/>
                </a:lnTo>
                <a:lnTo>
                  <a:pt x="6088096" y="1566543"/>
                </a:lnTo>
                <a:lnTo>
                  <a:pt x="6088761" y="1566784"/>
                </a:lnTo>
                <a:lnTo>
                  <a:pt x="6090497" y="1562886"/>
                </a:lnTo>
                <a:lnTo>
                  <a:pt x="6089086" y="1558880"/>
                </a:lnTo>
                <a:lnTo>
                  <a:pt x="6089737" y="1555198"/>
                </a:lnTo>
                <a:lnTo>
                  <a:pt x="6092532" y="1552709"/>
                </a:lnTo>
                <a:close/>
                <a:moveTo>
                  <a:pt x="4488917" y="1552412"/>
                </a:moveTo>
                <a:lnTo>
                  <a:pt x="4485209" y="1554115"/>
                </a:lnTo>
                <a:lnTo>
                  <a:pt x="4480759" y="1562019"/>
                </a:lnTo>
                <a:lnTo>
                  <a:pt x="4480761" y="1562019"/>
                </a:lnTo>
                <a:lnTo>
                  <a:pt x="4485211" y="1554115"/>
                </a:lnTo>
                <a:close/>
                <a:moveTo>
                  <a:pt x="5273041" y="1552384"/>
                </a:moveTo>
                <a:lnTo>
                  <a:pt x="5273033" y="1552389"/>
                </a:lnTo>
                <a:lnTo>
                  <a:pt x="5277163" y="1552600"/>
                </a:lnTo>
                <a:lnTo>
                  <a:pt x="5279984" y="1556822"/>
                </a:lnTo>
                <a:lnTo>
                  <a:pt x="5280079" y="1556690"/>
                </a:lnTo>
                <a:lnTo>
                  <a:pt x="5277381" y="1552384"/>
                </a:lnTo>
                <a:close/>
                <a:moveTo>
                  <a:pt x="6749626" y="1551926"/>
                </a:moveTo>
                <a:lnTo>
                  <a:pt x="6749517" y="1552599"/>
                </a:lnTo>
                <a:lnTo>
                  <a:pt x="6752122" y="1557146"/>
                </a:lnTo>
                <a:lnTo>
                  <a:pt x="6757440" y="1562668"/>
                </a:lnTo>
                <a:lnTo>
                  <a:pt x="6761455" y="1564075"/>
                </a:lnTo>
                <a:lnTo>
                  <a:pt x="6763191" y="1567216"/>
                </a:lnTo>
                <a:lnTo>
                  <a:pt x="6766230" y="1567649"/>
                </a:lnTo>
                <a:lnTo>
                  <a:pt x="6768617" y="1566783"/>
                </a:lnTo>
                <a:lnTo>
                  <a:pt x="6771112" y="1568190"/>
                </a:lnTo>
                <a:lnTo>
                  <a:pt x="6772957" y="1567216"/>
                </a:lnTo>
                <a:lnTo>
                  <a:pt x="6777949" y="1567865"/>
                </a:lnTo>
                <a:lnTo>
                  <a:pt x="6780554" y="1565808"/>
                </a:lnTo>
                <a:lnTo>
                  <a:pt x="6783810" y="1565808"/>
                </a:lnTo>
                <a:lnTo>
                  <a:pt x="6783810" y="1564943"/>
                </a:lnTo>
                <a:lnTo>
                  <a:pt x="6780553" y="1564943"/>
                </a:lnTo>
                <a:lnTo>
                  <a:pt x="6777949" y="1567000"/>
                </a:lnTo>
                <a:lnTo>
                  <a:pt x="6772958" y="1566351"/>
                </a:lnTo>
                <a:lnTo>
                  <a:pt x="6771112" y="1567325"/>
                </a:lnTo>
                <a:lnTo>
                  <a:pt x="6768726" y="1565918"/>
                </a:lnTo>
                <a:lnTo>
                  <a:pt x="6766338" y="1566784"/>
                </a:lnTo>
                <a:lnTo>
                  <a:pt x="6763191" y="1566784"/>
                </a:lnTo>
                <a:lnTo>
                  <a:pt x="6761455" y="1563644"/>
                </a:lnTo>
                <a:lnTo>
                  <a:pt x="6757548" y="1562237"/>
                </a:lnTo>
                <a:lnTo>
                  <a:pt x="6752231" y="1556715"/>
                </a:lnTo>
                <a:lnTo>
                  <a:pt x="6749626" y="1552059"/>
                </a:lnTo>
                <a:close/>
                <a:moveTo>
                  <a:pt x="4242566" y="1551409"/>
                </a:moveTo>
                <a:lnTo>
                  <a:pt x="4246907" y="1554007"/>
                </a:lnTo>
                <a:lnTo>
                  <a:pt x="4251031" y="1560612"/>
                </a:lnTo>
                <a:lnTo>
                  <a:pt x="4250163" y="1564619"/>
                </a:lnTo>
                <a:lnTo>
                  <a:pt x="4242566" y="1562020"/>
                </a:lnTo>
                <a:lnTo>
                  <a:pt x="4241373" y="1557689"/>
                </a:lnTo>
                <a:close/>
                <a:moveTo>
                  <a:pt x="2181943" y="1550217"/>
                </a:moveTo>
                <a:lnTo>
                  <a:pt x="2186609" y="1550217"/>
                </a:lnTo>
                <a:lnTo>
                  <a:pt x="2187694" y="1552166"/>
                </a:lnTo>
                <a:lnTo>
                  <a:pt x="2191601" y="1551733"/>
                </a:lnTo>
                <a:lnTo>
                  <a:pt x="2197135" y="1556388"/>
                </a:lnTo>
                <a:lnTo>
                  <a:pt x="2198111" y="1561369"/>
                </a:lnTo>
                <a:lnTo>
                  <a:pt x="2199414" y="1563534"/>
                </a:lnTo>
                <a:lnTo>
                  <a:pt x="2198329" y="1567107"/>
                </a:lnTo>
                <a:lnTo>
                  <a:pt x="2187152" y="1564833"/>
                </a:lnTo>
                <a:lnTo>
                  <a:pt x="2183246" y="1562343"/>
                </a:lnTo>
                <a:lnTo>
                  <a:pt x="2179013" y="1562127"/>
                </a:lnTo>
                <a:lnTo>
                  <a:pt x="2178796" y="1565050"/>
                </a:lnTo>
                <a:lnTo>
                  <a:pt x="2179231" y="1566782"/>
                </a:lnTo>
                <a:lnTo>
                  <a:pt x="2176626" y="1564292"/>
                </a:lnTo>
                <a:lnTo>
                  <a:pt x="2176192" y="1562019"/>
                </a:lnTo>
                <a:lnTo>
                  <a:pt x="2172068" y="1562451"/>
                </a:lnTo>
                <a:lnTo>
                  <a:pt x="2170658" y="1560503"/>
                </a:lnTo>
                <a:lnTo>
                  <a:pt x="2175324" y="1554764"/>
                </a:lnTo>
                <a:lnTo>
                  <a:pt x="2179231" y="1555414"/>
                </a:lnTo>
                <a:lnTo>
                  <a:pt x="2179556" y="1552058"/>
                </a:lnTo>
                <a:close/>
                <a:moveTo>
                  <a:pt x="3784626" y="1549676"/>
                </a:moveTo>
                <a:lnTo>
                  <a:pt x="3788099" y="1552815"/>
                </a:lnTo>
                <a:lnTo>
                  <a:pt x="3793199" y="1555523"/>
                </a:lnTo>
                <a:lnTo>
                  <a:pt x="3788967" y="1558013"/>
                </a:lnTo>
                <a:lnTo>
                  <a:pt x="3784192" y="1561694"/>
                </a:lnTo>
                <a:lnTo>
                  <a:pt x="3786363" y="1561261"/>
                </a:lnTo>
                <a:lnTo>
                  <a:pt x="3784083" y="1563751"/>
                </a:lnTo>
                <a:lnTo>
                  <a:pt x="3780828" y="1565483"/>
                </a:lnTo>
                <a:lnTo>
                  <a:pt x="3779526" y="1569598"/>
                </a:lnTo>
                <a:lnTo>
                  <a:pt x="3774642" y="1570247"/>
                </a:lnTo>
                <a:lnTo>
                  <a:pt x="3769434" y="1580966"/>
                </a:lnTo>
                <a:lnTo>
                  <a:pt x="3769434" y="1580966"/>
                </a:lnTo>
                <a:lnTo>
                  <a:pt x="3774642" y="1570248"/>
                </a:lnTo>
                <a:lnTo>
                  <a:pt x="3779526" y="1569598"/>
                </a:lnTo>
                <a:lnTo>
                  <a:pt x="3780828" y="1565484"/>
                </a:lnTo>
                <a:lnTo>
                  <a:pt x="3784083" y="1563751"/>
                </a:lnTo>
                <a:lnTo>
                  <a:pt x="3786363" y="1561261"/>
                </a:lnTo>
                <a:lnTo>
                  <a:pt x="3790811" y="1560395"/>
                </a:lnTo>
                <a:lnTo>
                  <a:pt x="3792331" y="1558771"/>
                </a:lnTo>
                <a:lnTo>
                  <a:pt x="3795044" y="1558447"/>
                </a:lnTo>
                <a:lnTo>
                  <a:pt x="3799493" y="1555523"/>
                </a:lnTo>
                <a:lnTo>
                  <a:pt x="3806763" y="1556281"/>
                </a:lnTo>
                <a:lnTo>
                  <a:pt x="3810345" y="1558121"/>
                </a:lnTo>
                <a:lnTo>
                  <a:pt x="3810779" y="1562561"/>
                </a:lnTo>
                <a:lnTo>
                  <a:pt x="3817724" y="1572413"/>
                </a:lnTo>
                <a:lnTo>
                  <a:pt x="3814143" y="1575012"/>
                </a:lnTo>
                <a:lnTo>
                  <a:pt x="3820653" y="1575337"/>
                </a:lnTo>
                <a:lnTo>
                  <a:pt x="3822064" y="1585731"/>
                </a:lnTo>
                <a:lnTo>
                  <a:pt x="3819352" y="1577610"/>
                </a:lnTo>
                <a:lnTo>
                  <a:pt x="3816747" y="1578043"/>
                </a:lnTo>
                <a:lnTo>
                  <a:pt x="3818049" y="1580750"/>
                </a:lnTo>
                <a:lnTo>
                  <a:pt x="3816747" y="1584431"/>
                </a:lnTo>
                <a:lnTo>
                  <a:pt x="3820220" y="1585189"/>
                </a:lnTo>
                <a:lnTo>
                  <a:pt x="3819460" y="1589087"/>
                </a:lnTo>
                <a:lnTo>
                  <a:pt x="3813817" y="1588329"/>
                </a:lnTo>
                <a:lnTo>
                  <a:pt x="3813491" y="1591686"/>
                </a:lnTo>
                <a:lnTo>
                  <a:pt x="3809802" y="1594609"/>
                </a:lnTo>
                <a:lnTo>
                  <a:pt x="3807631" y="1594067"/>
                </a:lnTo>
                <a:lnTo>
                  <a:pt x="3808066" y="1597641"/>
                </a:lnTo>
                <a:lnTo>
                  <a:pt x="3807089" y="1597424"/>
                </a:lnTo>
                <a:lnTo>
                  <a:pt x="3807086" y="1597422"/>
                </a:lnTo>
                <a:lnTo>
                  <a:pt x="3804159" y="1596990"/>
                </a:lnTo>
                <a:lnTo>
                  <a:pt x="3802423" y="1599804"/>
                </a:lnTo>
                <a:lnTo>
                  <a:pt x="3806004" y="1602403"/>
                </a:lnTo>
                <a:lnTo>
                  <a:pt x="3805136" y="1607167"/>
                </a:lnTo>
                <a:lnTo>
                  <a:pt x="3808174" y="1611931"/>
                </a:lnTo>
                <a:lnTo>
                  <a:pt x="3808174" y="1616695"/>
                </a:lnTo>
                <a:lnTo>
                  <a:pt x="3804810" y="1618969"/>
                </a:lnTo>
                <a:lnTo>
                  <a:pt x="3807632" y="1620701"/>
                </a:lnTo>
                <a:lnTo>
                  <a:pt x="3809476" y="1631419"/>
                </a:lnTo>
                <a:lnTo>
                  <a:pt x="3808174" y="1636183"/>
                </a:lnTo>
                <a:lnTo>
                  <a:pt x="3804376" y="1640406"/>
                </a:lnTo>
                <a:lnTo>
                  <a:pt x="3805136" y="1644303"/>
                </a:lnTo>
                <a:lnTo>
                  <a:pt x="3801446" y="1648743"/>
                </a:lnTo>
                <a:lnTo>
                  <a:pt x="3798082" y="1650150"/>
                </a:lnTo>
                <a:lnTo>
                  <a:pt x="3802748" y="1656213"/>
                </a:lnTo>
                <a:lnTo>
                  <a:pt x="3795912" y="1656321"/>
                </a:lnTo>
                <a:lnTo>
                  <a:pt x="3793091" y="1655239"/>
                </a:lnTo>
                <a:lnTo>
                  <a:pt x="3790269" y="1657946"/>
                </a:lnTo>
                <a:lnTo>
                  <a:pt x="3788207" y="1654481"/>
                </a:lnTo>
                <a:lnTo>
                  <a:pt x="3787122" y="1657404"/>
                </a:lnTo>
                <a:lnTo>
                  <a:pt x="3773774" y="1658920"/>
                </a:lnTo>
                <a:lnTo>
                  <a:pt x="3772580" y="1663359"/>
                </a:lnTo>
                <a:lnTo>
                  <a:pt x="3769434" y="1663143"/>
                </a:lnTo>
                <a:lnTo>
                  <a:pt x="3764985" y="1667798"/>
                </a:lnTo>
                <a:lnTo>
                  <a:pt x="3760318" y="1667798"/>
                </a:lnTo>
                <a:lnTo>
                  <a:pt x="3761621" y="1665092"/>
                </a:lnTo>
                <a:lnTo>
                  <a:pt x="3757063" y="1664658"/>
                </a:lnTo>
                <a:lnTo>
                  <a:pt x="3759016" y="1669314"/>
                </a:lnTo>
                <a:lnTo>
                  <a:pt x="3753047" y="1673320"/>
                </a:lnTo>
                <a:lnTo>
                  <a:pt x="3745451" y="1675594"/>
                </a:lnTo>
                <a:lnTo>
                  <a:pt x="3737422" y="1676568"/>
                </a:lnTo>
                <a:lnTo>
                  <a:pt x="3734383" y="1674403"/>
                </a:lnTo>
                <a:lnTo>
                  <a:pt x="3728523" y="1675918"/>
                </a:lnTo>
                <a:lnTo>
                  <a:pt x="3729608" y="1673645"/>
                </a:lnTo>
                <a:lnTo>
                  <a:pt x="3726027" y="1673645"/>
                </a:lnTo>
                <a:lnTo>
                  <a:pt x="3732538" y="1670505"/>
                </a:lnTo>
                <a:lnTo>
                  <a:pt x="3732972" y="1667582"/>
                </a:lnTo>
                <a:lnTo>
                  <a:pt x="3725268" y="1671804"/>
                </a:lnTo>
                <a:lnTo>
                  <a:pt x="3719299" y="1671804"/>
                </a:lnTo>
                <a:lnTo>
                  <a:pt x="3722771" y="1668881"/>
                </a:lnTo>
                <a:lnTo>
                  <a:pt x="3731236" y="1663359"/>
                </a:lnTo>
                <a:lnTo>
                  <a:pt x="3720058" y="1667041"/>
                </a:lnTo>
                <a:lnTo>
                  <a:pt x="3719190" y="1664225"/>
                </a:lnTo>
                <a:lnTo>
                  <a:pt x="3715284" y="1664225"/>
                </a:lnTo>
                <a:lnTo>
                  <a:pt x="3717345" y="1659137"/>
                </a:lnTo>
                <a:lnTo>
                  <a:pt x="3723531" y="1657729"/>
                </a:lnTo>
                <a:lnTo>
                  <a:pt x="3728414" y="1653615"/>
                </a:lnTo>
                <a:lnTo>
                  <a:pt x="3713765" y="1654481"/>
                </a:lnTo>
                <a:lnTo>
                  <a:pt x="3713114" y="1652749"/>
                </a:lnTo>
                <a:lnTo>
                  <a:pt x="3719516" y="1649392"/>
                </a:lnTo>
                <a:lnTo>
                  <a:pt x="3720601" y="1650692"/>
                </a:lnTo>
                <a:lnTo>
                  <a:pt x="3721795" y="1648851"/>
                </a:lnTo>
                <a:lnTo>
                  <a:pt x="3725051" y="1651666"/>
                </a:lnTo>
                <a:lnTo>
                  <a:pt x="3728849" y="1650908"/>
                </a:lnTo>
                <a:lnTo>
                  <a:pt x="3726678" y="1650258"/>
                </a:lnTo>
                <a:lnTo>
                  <a:pt x="3727763" y="1647985"/>
                </a:lnTo>
                <a:lnTo>
                  <a:pt x="3726027" y="1645495"/>
                </a:lnTo>
                <a:lnTo>
                  <a:pt x="3731127" y="1643762"/>
                </a:lnTo>
                <a:lnTo>
                  <a:pt x="3733081" y="1640731"/>
                </a:lnTo>
                <a:lnTo>
                  <a:pt x="3740894" y="1640406"/>
                </a:lnTo>
                <a:lnTo>
                  <a:pt x="3751529" y="1637591"/>
                </a:lnTo>
                <a:lnTo>
                  <a:pt x="3746754" y="1637158"/>
                </a:lnTo>
                <a:lnTo>
                  <a:pt x="3746428" y="1635425"/>
                </a:lnTo>
                <a:lnTo>
                  <a:pt x="3742630" y="1639215"/>
                </a:lnTo>
                <a:lnTo>
                  <a:pt x="3736987" y="1638999"/>
                </a:lnTo>
                <a:lnTo>
                  <a:pt x="3734274" y="1637374"/>
                </a:lnTo>
                <a:lnTo>
                  <a:pt x="3729717" y="1640297"/>
                </a:lnTo>
                <a:lnTo>
                  <a:pt x="3726353" y="1640297"/>
                </a:lnTo>
                <a:lnTo>
                  <a:pt x="3734709" y="1634668"/>
                </a:lnTo>
                <a:lnTo>
                  <a:pt x="3738615" y="1629146"/>
                </a:lnTo>
                <a:lnTo>
                  <a:pt x="3736445" y="1629362"/>
                </a:lnTo>
                <a:lnTo>
                  <a:pt x="3741328" y="1621350"/>
                </a:lnTo>
                <a:lnTo>
                  <a:pt x="3744366" y="1623083"/>
                </a:lnTo>
                <a:lnTo>
                  <a:pt x="3748490" y="1618860"/>
                </a:lnTo>
                <a:lnTo>
                  <a:pt x="3735577" y="1619077"/>
                </a:lnTo>
                <a:lnTo>
                  <a:pt x="3734165" y="1613230"/>
                </a:lnTo>
                <a:lnTo>
                  <a:pt x="3728740" y="1614313"/>
                </a:lnTo>
                <a:lnTo>
                  <a:pt x="3730368" y="1612040"/>
                </a:lnTo>
                <a:lnTo>
                  <a:pt x="3727546" y="1613122"/>
                </a:lnTo>
                <a:lnTo>
                  <a:pt x="3723965" y="1610957"/>
                </a:lnTo>
                <a:lnTo>
                  <a:pt x="3726353" y="1609982"/>
                </a:lnTo>
                <a:lnTo>
                  <a:pt x="3724833" y="1605976"/>
                </a:lnTo>
                <a:lnTo>
                  <a:pt x="3731561" y="1605868"/>
                </a:lnTo>
                <a:lnTo>
                  <a:pt x="3729825" y="1603486"/>
                </a:lnTo>
                <a:lnTo>
                  <a:pt x="3730585" y="1600779"/>
                </a:lnTo>
                <a:lnTo>
                  <a:pt x="3736553" y="1599589"/>
                </a:lnTo>
                <a:lnTo>
                  <a:pt x="3735034" y="1595907"/>
                </a:lnTo>
                <a:lnTo>
                  <a:pt x="3730368" y="1597098"/>
                </a:lnTo>
                <a:lnTo>
                  <a:pt x="3723531" y="1592226"/>
                </a:lnTo>
                <a:lnTo>
                  <a:pt x="3729391" y="1592010"/>
                </a:lnTo>
                <a:lnTo>
                  <a:pt x="3729934" y="1594283"/>
                </a:lnTo>
                <a:lnTo>
                  <a:pt x="3732538" y="1594175"/>
                </a:lnTo>
                <a:lnTo>
                  <a:pt x="3731127" y="1590277"/>
                </a:lnTo>
                <a:lnTo>
                  <a:pt x="3729825" y="1589519"/>
                </a:lnTo>
                <a:lnTo>
                  <a:pt x="3729174" y="1585513"/>
                </a:lnTo>
                <a:lnTo>
                  <a:pt x="3726136" y="1588545"/>
                </a:lnTo>
                <a:lnTo>
                  <a:pt x="3727221" y="1581940"/>
                </a:lnTo>
                <a:lnTo>
                  <a:pt x="3733297" y="1583565"/>
                </a:lnTo>
                <a:lnTo>
                  <a:pt x="3733297" y="1581616"/>
                </a:lnTo>
                <a:lnTo>
                  <a:pt x="3744258" y="1583239"/>
                </a:lnTo>
                <a:lnTo>
                  <a:pt x="3745669" y="1587679"/>
                </a:lnTo>
                <a:lnTo>
                  <a:pt x="3748708" y="1584214"/>
                </a:lnTo>
                <a:lnTo>
                  <a:pt x="3752179" y="1585838"/>
                </a:lnTo>
                <a:lnTo>
                  <a:pt x="3758908" y="1584539"/>
                </a:lnTo>
                <a:lnTo>
                  <a:pt x="3756520" y="1582373"/>
                </a:lnTo>
                <a:lnTo>
                  <a:pt x="3763356" y="1579775"/>
                </a:lnTo>
                <a:lnTo>
                  <a:pt x="3768782" y="1574037"/>
                </a:lnTo>
                <a:lnTo>
                  <a:pt x="3765961" y="1574037"/>
                </a:lnTo>
                <a:lnTo>
                  <a:pt x="3761838" y="1575444"/>
                </a:lnTo>
                <a:lnTo>
                  <a:pt x="3762597" y="1574037"/>
                </a:lnTo>
                <a:lnTo>
                  <a:pt x="3757497" y="1574037"/>
                </a:lnTo>
                <a:lnTo>
                  <a:pt x="3756195" y="1570247"/>
                </a:lnTo>
                <a:lnTo>
                  <a:pt x="3760861" y="1569056"/>
                </a:lnTo>
                <a:lnTo>
                  <a:pt x="3760535" y="1567216"/>
                </a:lnTo>
                <a:lnTo>
                  <a:pt x="3763900" y="1567108"/>
                </a:lnTo>
                <a:lnTo>
                  <a:pt x="3764768" y="1565267"/>
                </a:lnTo>
                <a:lnTo>
                  <a:pt x="3761512" y="1563967"/>
                </a:lnTo>
                <a:lnTo>
                  <a:pt x="3763031" y="1560070"/>
                </a:lnTo>
                <a:lnTo>
                  <a:pt x="3765201" y="1559961"/>
                </a:lnTo>
                <a:lnTo>
                  <a:pt x="3765201" y="1556821"/>
                </a:lnTo>
                <a:lnTo>
                  <a:pt x="3771712" y="1555198"/>
                </a:lnTo>
                <a:lnTo>
                  <a:pt x="3773774" y="1557147"/>
                </a:lnTo>
                <a:lnTo>
                  <a:pt x="3777464" y="1557038"/>
                </a:lnTo>
                <a:lnTo>
                  <a:pt x="3775619" y="1554331"/>
                </a:lnTo>
                <a:lnTo>
                  <a:pt x="3778766" y="1553682"/>
                </a:lnTo>
                <a:lnTo>
                  <a:pt x="3781045" y="1557796"/>
                </a:lnTo>
                <a:lnTo>
                  <a:pt x="3779200" y="1560070"/>
                </a:lnTo>
                <a:lnTo>
                  <a:pt x="3778766" y="1563426"/>
                </a:lnTo>
                <a:lnTo>
                  <a:pt x="3782130" y="1558446"/>
                </a:lnTo>
                <a:lnTo>
                  <a:pt x="3781371" y="1553032"/>
                </a:lnTo>
                <a:lnTo>
                  <a:pt x="3786254" y="1553032"/>
                </a:lnTo>
                <a:close/>
                <a:moveTo>
                  <a:pt x="5290620" y="1547512"/>
                </a:moveTo>
                <a:lnTo>
                  <a:pt x="5282373" y="1550110"/>
                </a:lnTo>
                <a:lnTo>
                  <a:pt x="5282373" y="1552400"/>
                </a:lnTo>
                <a:lnTo>
                  <a:pt x="5282698" y="1550326"/>
                </a:lnTo>
                <a:lnTo>
                  <a:pt x="5290945" y="1547728"/>
                </a:lnTo>
                <a:lnTo>
                  <a:pt x="5293150" y="1547512"/>
                </a:lnTo>
                <a:close/>
                <a:moveTo>
                  <a:pt x="1163514" y="1545562"/>
                </a:moveTo>
                <a:lnTo>
                  <a:pt x="1163839" y="1549244"/>
                </a:lnTo>
                <a:lnTo>
                  <a:pt x="1157112" y="1546320"/>
                </a:lnTo>
                <a:close/>
                <a:moveTo>
                  <a:pt x="4145660" y="1545237"/>
                </a:moveTo>
                <a:lnTo>
                  <a:pt x="4150869" y="1548052"/>
                </a:lnTo>
                <a:lnTo>
                  <a:pt x="4154124" y="1547510"/>
                </a:lnTo>
                <a:lnTo>
                  <a:pt x="4157162" y="1554223"/>
                </a:lnTo>
                <a:lnTo>
                  <a:pt x="4158356" y="1558013"/>
                </a:lnTo>
                <a:lnTo>
                  <a:pt x="4155535" y="1563643"/>
                </a:lnTo>
                <a:lnTo>
                  <a:pt x="4150869" y="1564509"/>
                </a:lnTo>
                <a:lnTo>
                  <a:pt x="4148264" y="1562777"/>
                </a:lnTo>
                <a:lnTo>
                  <a:pt x="4144249" y="1562235"/>
                </a:lnTo>
                <a:lnTo>
                  <a:pt x="4139800" y="1557688"/>
                </a:lnTo>
                <a:lnTo>
                  <a:pt x="4137413" y="1552491"/>
                </a:lnTo>
                <a:lnTo>
                  <a:pt x="4138390" y="1546645"/>
                </a:lnTo>
                <a:close/>
                <a:moveTo>
                  <a:pt x="6746985" y="1544697"/>
                </a:moveTo>
                <a:lnTo>
                  <a:pt x="6748636" y="1545055"/>
                </a:lnTo>
                <a:lnTo>
                  <a:pt x="6748542" y="1544697"/>
                </a:lnTo>
                <a:close/>
                <a:moveTo>
                  <a:pt x="5543683" y="1543753"/>
                </a:moveTo>
                <a:lnTo>
                  <a:pt x="5543464" y="1543831"/>
                </a:lnTo>
                <a:lnTo>
                  <a:pt x="5544233" y="1548090"/>
                </a:lnTo>
                <a:lnTo>
                  <a:pt x="5544440" y="1547945"/>
                </a:lnTo>
                <a:close/>
                <a:moveTo>
                  <a:pt x="2218405" y="1543505"/>
                </a:moveTo>
                <a:lnTo>
                  <a:pt x="2218405" y="1549027"/>
                </a:lnTo>
                <a:lnTo>
                  <a:pt x="2217320" y="1551301"/>
                </a:lnTo>
                <a:lnTo>
                  <a:pt x="2216126" y="1549676"/>
                </a:lnTo>
                <a:lnTo>
                  <a:pt x="2215801" y="1544696"/>
                </a:lnTo>
                <a:lnTo>
                  <a:pt x="2217103" y="1544371"/>
                </a:lnTo>
                <a:close/>
                <a:moveTo>
                  <a:pt x="4195795" y="1540582"/>
                </a:moveTo>
                <a:lnTo>
                  <a:pt x="4197315" y="1546645"/>
                </a:lnTo>
                <a:lnTo>
                  <a:pt x="4194060" y="1545563"/>
                </a:lnTo>
                <a:close/>
                <a:moveTo>
                  <a:pt x="3827490" y="1540149"/>
                </a:moveTo>
                <a:lnTo>
                  <a:pt x="3830746" y="1546753"/>
                </a:lnTo>
                <a:lnTo>
                  <a:pt x="3829335" y="1551518"/>
                </a:lnTo>
                <a:lnTo>
                  <a:pt x="3824886" y="1549677"/>
                </a:lnTo>
                <a:lnTo>
                  <a:pt x="3823692" y="1542747"/>
                </a:lnTo>
                <a:close/>
                <a:moveTo>
                  <a:pt x="1164818" y="1537117"/>
                </a:moveTo>
                <a:lnTo>
                  <a:pt x="1167747" y="1539282"/>
                </a:lnTo>
                <a:lnTo>
                  <a:pt x="1164166" y="1542530"/>
                </a:lnTo>
                <a:lnTo>
                  <a:pt x="1160043" y="1542855"/>
                </a:lnTo>
                <a:lnTo>
                  <a:pt x="1160368" y="1539282"/>
                </a:lnTo>
                <a:lnTo>
                  <a:pt x="1163515" y="1539066"/>
                </a:lnTo>
                <a:close/>
                <a:moveTo>
                  <a:pt x="3829335" y="1534410"/>
                </a:moveTo>
                <a:lnTo>
                  <a:pt x="3831288" y="1536467"/>
                </a:lnTo>
                <a:lnTo>
                  <a:pt x="3831505" y="1539824"/>
                </a:lnTo>
                <a:lnTo>
                  <a:pt x="3828901" y="1537658"/>
                </a:lnTo>
                <a:close/>
                <a:moveTo>
                  <a:pt x="5519569" y="1534372"/>
                </a:moveTo>
                <a:lnTo>
                  <a:pt x="5517962" y="1538200"/>
                </a:lnTo>
                <a:lnTo>
                  <a:pt x="5515032" y="1540798"/>
                </a:lnTo>
                <a:lnTo>
                  <a:pt x="5514923" y="1546970"/>
                </a:lnTo>
                <a:lnTo>
                  <a:pt x="5515141" y="1547253"/>
                </a:lnTo>
                <a:lnTo>
                  <a:pt x="5515141" y="1541882"/>
                </a:lnTo>
                <a:lnTo>
                  <a:pt x="5518071" y="1539284"/>
                </a:lnTo>
                <a:lnTo>
                  <a:pt x="5520025" y="1534627"/>
                </a:lnTo>
                <a:close/>
                <a:moveTo>
                  <a:pt x="3809043" y="1533002"/>
                </a:moveTo>
                <a:lnTo>
                  <a:pt x="3810996" y="1540689"/>
                </a:lnTo>
                <a:lnTo>
                  <a:pt x="3806113" y="1543720"/>
                </a:lnTo>
                <a:lnTo>
                  <a:pt x="3806656" y="1539065"/>
                </a:lnTo>
                <a:lnTo>
                  <a:pt x="3802316" y="1541879"/>
                </a:lnTo>
                <a:lnTo>
                  <a:pt x="3802207" y="1535817"/>
                </a:lnTo>
                <a:close/>
                <a:moveTo>
                  <a:pt x="5496809" y="1532695"/>
                </a:moveTo>
                <a:lnTo>
                  <a:pt x="5496368" y="1532787"/>
                </a:lnTo>
                <a:lnTo>
                  <a:pt x="5497670" y="1535494"/>
                </a:lnTo>
                <a:lnTo>
                  <a:pt x="5499707" y="1536426"/>
                </a:lnTo>
                <a:lnTo>
                  <a:pt x="5500382" y="1535710"/>
                </a:lnTo>
                <a:lnTo>
                  <a:pt x="5497669" y="1534411"/>
                </a:lnTo>
                <a:close/>
                <a:moveTo>
                  <a:pt x="1158849" y="1531812"/>
                </a:moveTo>
                <a:lnTo>
                  <a:pt x="1160694" y="1535926"/>
                </a:lnTo>
                <a:lnTo>
                  <a:pt x="1155919" y="1535493"/>
                </a:lnTo>
                <a:close/>
                <a:moveTo>
                  <a:pt x="4154234" y="1530838"/>
                </a:moveTo>
                <a:lnTo>
                  <a:pt x="4155970" y="1536901"/>
                </a:lnTo>
                <a:lnTo>
                  <a:pt x="4155536" y="1540257"/>
                </a:lnTo>
                <a:lnTo>
                  <a:pt x="4151847" y="1541015"/>
                </a:lnTo>
                <a:lnTo>
                  <a:pt x="4154234" y="1537334"/>
                </a:lnTo>
                <a:close/>
                <a:moveTo>
                  <a:pt x="5334623" y="1530587"/>
                </a:moveTo>
                <a:lnTo>
                  <a:pt x="5334461" y="1530730"/>
                </a:lnTo>
                <a:lnTo>
                  <a:pt x="5334461" y="1534591"/>
                </a:lnTo>
                <a:lnTo>
                  <a:pt x="5334786" y="1534302"/>
                </a:lnTo>
                <a:close/>
                <a:moveTo>
                  <a:pt x="4192540" y="1529321"/>
                </a:moveTo>
                <a:lnTo>
                  <a:pt x="4193951" y="1533219"/>
                </a:lnTo>
                <a:lnTo>
                  <a:pt x="4194384" y="1538415"/>
                </a:lnTo>
                <a:lnTo>
                  <a:pt x="4192866" y="1544046"/>
                </a:lnTo>
                <a:lnTo>
                  <a:pt x="4187874" y="1546428"/>
                </a:lnTo>
                <a:lnTo>
                  <a:pt x="4187874" y="1548160"/>
                </a:lnTo>
                <a:lnTo>
                  <a:pt x="4192214" y="1551084"/>
                </a:lnTo>
                <a:lnTo>
                  <a:pt x="4193082" y="1554007"/>
                </a:lnTo>
                <a:lnTo>
                  <a:pt x="4190586" y="1556281"/>
                </a:lnTo>
                <a:lnTo>
                  <a:pt x="4185594" y="1558338"/>
                </a:lnTo>
                <a:lnTo>
                  <a:pt x="4185812" y="1561586"/>
                </a:lnTo>
                <a:lnTo>
                  <a:pt x="4183967" y="1564076"/>
                </a:lnTo>
                <a:lnTo>
                  <a:pt x="4180387" y="1564293"/>
                </a:lnTo>
                <a:lnTo>
                  <a:pt x="4178541" y="1561803"/>
                </a:lnTo>
                <a:lnTo>
                  <a:pt x="4180603" y="1559313"/>
                </a:lnTo>
                <a:lnTo>
                  <a:pt x="4179735" y="1557147"/>
                </a:lnTo>
                <a:lnTo>
                  <a:pt x="4174201" y="1555631"/>
                </a:lnTo>
                <a:lnTo>
                  <a:pt x="4171162" y="1555631"/>
                </a:lnTo>
                <a:lnTo>
                  <a:pt x="4168449" y="1552275"/>
                </a:lnTo>
                <a:lnTo>
                  <a:pt x="4168666" y="1547403"/>
                </a:lnTo>
                <a:lnTo>
                  <a:pt x="4166822" y="1544479"/>
                </a:lnTo>
                <a:lnTo>
                  <a:pt x="4166171" y="1541015"/>
                </a:lnTo>
                <a:lnTo>
                  <a:pt x="4169101" y="1540148"/>
                </a:lnTo>
                <a:lnTo>
                  <a:pt x="4170945" y="1536575"/>
                </a:lnTo>
                <a:lnTo>
                  <a:pt x="4173224" y="1534951"/>
                </a:lnTo>
                <a:lnTo>
                  <a:pt x="4175394" y="1537766"/>
                </a:lnTo>
                <a:lnTo>
                  <a:pt x="4175612" y="1540040"/>
                </a:lnTo>
                <a:lnTo>
                  <a:pt x="4179952" y="1542963"/>
                </a:lnTo>
                <a:lnTo>
                  <a:pt x="4180928" y="1541772"/>
                </a:lnTo>
                <a:lnTo>
                  <a:pt x="4183425" y="1542422"/>
                </a:lnTo>
                <a:lnTo>
                  <a:pt x="4183750" y="1539931"/>
                </a:lnTo>
                <a:lnTo>
                  <a:pt x="4180060" y="1537441"/>
                </a:lnTo>
                <a:lnTo>
                  <a:pt x="4178433" y="1535276"/>
                </a:lnTo>
                <a:lnTo>
                  <a:pt x="4180712" y="1531053"/>
                </a:lnTo>
                <a:lnTo>
                  <a:pt x="4187006" y="1529537"/>
                </a:lnTo>
                <a:close/>
                <a:moveTo>
                  <a:pt x="6562251" y="1528573"/>
                </a:moveTo>
                <a:lnTo>
                  <a:pt x="6562218" y="1528672"/>
                </a:lnTo>
                <a:lnTo>
                  <a:pt x="6562978" y="1533870"/>
                </a:lnTo>
                <a:lnTo>
                  <a:pt x="6565764" y="1536756"/>
                </a:lnTo>
                <a:lnTo>
                  <a:pt x="6565799" y="1536467"/>
                </a:lnTo>
                <a:lnTo>
                  <a:pt x="6562978" y="1533543"/>
                </a:lnTo>
                <a:close/>
                <a:moveTo>
                  <a:pt x="1126076" y="1527589"/>
                </a:moveTo>
                <a:lnTo>
                  <a:pt x="1130417" y="1528563"/>
                </a:lnTo>
                <a:lnTo>
                  <a:pt x="1133347" y="1533760"/>
                </a:lnTo>
                <a:lnTo>
                  <a:pt x="1138882" y="1533436"/>
                </a:lnTo>
                <a:lnTo>
                  <a:pt x="1140075" y="1537875"/>
                </a:lnTo>
                <a:lnTo>
                  <a:pt x="1143548" y="1541989"/>
                </a:lnTo>
                <a:lnTo>
                  <a:pt x="1151035" y="1546103"/>
                </a:lnTo>
                <a:lnTo>
                  <a:pt x="1153097" y="1550217"/>
                </a:lnTo>
                <a:lnTo>
                  <a:pt x="1158523" y="1552275"/>
                </a:lnTo>
                <a:lnTo>
                  <a:pt x="1163298" y="1552275"/>
                </a:lnTo>
                <a:lnTo>
                  <a:pt x="1171762" y="1556822"/>
                </a:lnTo>
                <a:lnTo>
                  <a:pt x="1176754" y="1557472"/>
                </a:lnTo>
                <a:lnTo>
                  <a:pt x="1179358" y="1560178"/>
                </a:lnTo>
                <a:lnTo>
                  <a:pt x="1179467" y="1568515"/>
                </a:lnTo>
                <a:lnTo>
                  <a:pt x="1185218" y="1577068"/>
                </a:lnTo>
                <a:lnTo>
                  <a:pt x="1186195" y="1590819"/>
                </a:lnTo>
                <a:lnTo>
                  <a:pt x="1197047" y="1598182"/>
                </a:lnTo>
                <a:lnTo>
                  <a:pt x="1201061" y="1603703"/>
                </a:lnTo>
                <a:lnTo>
                  <a:pt x="1199976" y="1613015"/>
                </a:lnTo>
                <a:lnTo>
                  <a:pt x="1201713" y="1616804"/>
                </a:lnTo>
                <a:lnTo>
                  <a:pt x="1200845" y="1622976"/>
                </a:lnTo>
                <a:lnTo>
                  <a:pt x="1204100" y="1635210"/>
                </a:lnTo>
                <a:lnTo>
                  <a:pt x="1199868" y="1634669"/>
                </a:lnTo>
                <a:lnTo>
                  <a:pt x="1197372" y="1636402"/>
                </a:lnTo>
                <a:lnTo>
                  <a:pt x="1182831" y="1627956"/>
                </a:lnTo>
                <a:lnTo>
                  <a:pt x="1180878" y="1624492"/>
                </a:lnTo>
                <a:lnTo>
                  <a:pt x="1177730" y="1623625"/>
                </a:lnTo>
                <a:lnTo>
                  <a:pt x="1168832" y="1614531"/>
                </a:lnTo>
                <a:lnTo>
                  <a:pt x="1175560" y="1607493"/>
                </a:lnTo>
                <a:lnTo>
                  <a:pt x="1171220" y="1607493"/>
                </a:lnTo>
                <a:lnTo>
                  <a:pt x="1168941" y="1605111"/>
                </a:lnTo>
                <a:lnTo>
                  <a:pt x="1165359" y="1608359"/>
                </a:lnTo>
                <a:lnTo>
                  <a:pt x="1160043" y="1603487"/>
                </a:lnTo>
                <a:lnTo>
                  <a:pt x="1161561" y="1599048"/>
                </a:lnTo>
                <a:lnTo>
                  <a:pt x="1159825" y="1594609"/>
                </a:lnTo>
                <a:lnTo>
                  <a:pt x="1156787" y="1594067"/>
                </a:lnTo>
                <a:lnTo>
                  <a:pt x="1157221" y="1590170"/>
                </a:lnTo>
                <a:lnTo>
                  <a:pt x="1148974" y="1591036"/>
                </a:lnTo>
                <a:lnTo>
                  <a:pt x="1147563" y="1585297"/>
                </a:lnTo>
                <a:lnTo>
                  <a:pt x="1145176" y="1586164"/>
                </a:lnTo>
                <a:lnTo>
                  <a:pt x="1144850" y="1582266"/>
                </a:lnTo>
                <a:lnTo>
                  <a:pt x="1148866" y="1578584"/>
                </a:lnTo>
                <a:lnTo>
                  <a:pt x="1150384" y="1572954"/>
                </a:lnTo>
                <a:lnTo>
                  <a:pt x="1144199" y="1574687"/>
                </a:lnTo>
                <a:lnTo>
                  <a:pt x="1143656" y="1578909"/>
                </a:lnTo>
                <a:lnTo>
                  <a:pt x="1140184" y="1580100"/>
                </a:lnTo>
                <a:lnTo>
                  <a:pt x="1137254" y="1574362"/>
                </a:lnTo>
                <a:lnTo>
                  <a:pt x="1143656" y="1566891"/>
                </a:lnTo>
                <a:lnTo>
                  <a:pt x="1138665" y="1569706"/>
                </a:lnTo>
                <a:lnTo>
                  <a:pt x="1133999" y="1566458"/>
                </a:lnTo>
                <a:lnTo>
                  <a:pt x="1133782" y="1561803"/>
                </a:lnTo>
                <a:lnTo>
                  <a:pt x="1128681" y="1562127"/>
                </a:lnTo>
                <a:lnTo>
                  <a:pt x="1128030" y="1557688"/>
                </a:lnTo>
                <a:lnTo>
                  <a:pt x="1122496" y="1559529"/>
                </a:lnTo>
                <a:lnTo>
                  <a:pt x="1121085" y="1558013"/>
                </a:lnTo>
                <a:lnTo>
                  <a:pt x="1123689" y="1552275"/>
                </a:lnTo>
                <a:lnTo>
                  <a:pt x="1120868" y="1550542"/>
                </a:lnTo>
                <a:lnTo>
                  <a:pt x="1124340" y="1545346"/>
                </a:lnTo>
                <a:lnTo>
                  <a:pt x="1130201" y="1545670"/>
                </a:lnTo>
                <a:lnTo>
                  <a:pt x="1135084" y="1542855"/>
                </a:lnTo>
                <a:lnTo>
                  <a:pt x="1123364" y="1541556"/>
                </a:lnTo>
                <a:lnTo>
                  <a:pt x="1121302" y="1535709"/>
                </a:lnTo>
                <a:lnTo>
                  <a:pt x="1119132" y="1535385"/>
                </a:lnTo>
                <a:lnTo>
                  <a:pt x="1117070" y="1528780"/>
                </a:lnTo>
                <a:lnTo>
                  <a:pt x="1124232" y="1529321"/>
                </a:lnTo>
                <a:close/>
                <a:moveTo>
                  <a:pt x="5565382" y="1527168"/>
                </a:moveTo>
                <a:lnTo>
                  <a:pt x="5564950" y="1527590"/>
                </a:lnTo>
                <a:lnTo>
                  <a:pt x="5564950" y="1529847"/>
                </a:lnTo>
                <a:lnTo>
                  <a:pt x="5565058" y="1529755"/>
                </a:lnTo>
                <a:close/>
                <a:moveTo>
                  <a:pt x="4480434" y="1526724"/>
                </a:moveTo>
                <a:lnTo>
                  <a:pt x="4485969" y="1534194"/>
                </a:lnTo>
                <a:lnTo>
                  <a:pt x="4492913" y="1534519"/>
                </a:lnTo>
                <a:lnTo>
                  <a:pt x="4495192" y="1536576"/>
                </a:lnTo>
                <a:lnTo>
                  <a:pt x="4489766" y="1543721"/>
                </a:lnTo>
                <a:lnTo>
                  <a:pt x="4493456" y="1545454"/>
                </a:lnTo>
                <a:lnTo>
                  <a:pt x="4493456" y="1550326"/>
                </a:lnTo>
                <a:lnTo>
                  <a:pt x="4493458" y="1550325"/>
                </a:lnTo>
                <a:lnTo>
                  <a:pt x="4493458" y="1545453"/>
                </a:lnTo>
                <a:lnTo>
                  <a:pt x="4489768" y="1543721"/>
                </a:lnTo>
                <a:lnTo>
                  <a:pt x="4495193" y="1536576"/>
                </a:lnTo>
                <a:lnTo>
                  <a:pt x="4492916" y="1534519"/>
                </a:lnTo>
                <a:lnTo>
                  <a:pt x="4485970" y="1534194"/>
                </a:lnTo>
                <a:lnTo>
                  <a:pt x="4480436" y="1526724"/>
                </a:lnTo>
                <a:close/>
                <a:moveTo>
                  <a:pt x="4570544" y="1526074"/>
                </a:moveTo>
                <a:lnTo>
                  <a:pt x="4571156" y="1526831"/>
                </a:lnTo>
                <a:lnTo>
                  <a:pt x="4573863" y="1526831"/>
                </a:lnTo>
                <a:lnTo>
                  <a:pt x="4571697" y="1526074"/>
                </a:lnTo>
                <a:close/>
                <a:moveTo>
                  <a:pt x="3808390" y="1526074"/>
                </a:moveTo>
                <a:lnTo>
                  <a:pt x="3809041" y="1528456"/>
                </a:lnTo>
                <a:lnTo>
                  <a:pt x="3806980" y="1530621"/>
                </a:lnTo>
                <a:close/>
                <a:moveTo>
                  <a:pt x="3818700" y="1525856"/>
                </a:moveTo>
                <a:lnTo>
                  <a:pt x="3815119" y="1533868"/>
                </a:lnTo>
                <a:lnTo>
                  <a:pt x="3812189" y="1537658"/>
                </a:lnTo>
                <a:lnTo>
                  <a:pt x="3810561" y="1533435"/>
                </a:lnTo>
                <a:close/>
                <a:moveTo>
                  <a:pt x="5460014" y="1524262"/>
                </a:moveTo>
                <a:lnTo>
                  <a:pt x="5456433" y="1525208"/>
                </a:lnTo>
                <a:lnTo>
                  <a:pt x="5456737" y="1525845"/>
                </a:lnTo>
                <a:lnTo>
                  <a:pt x="5460014" y="1524884"/>
                </a:lnTo>
                <a:close/>
                <a:moveTo>
                  <a:pt x="5587889" y="1523007"/>
                </a:moveTo>
                <a:lnTo>
                  <a:pt x="5584373" y="1523908"/>
                </a:lnTo>
                <a:lnTo>
                  <a:pt x="5584385" y="1523931"/>
                </a:lnTo>
                <a:lnTo>
                  <a:pt x="5587847" y="1523043"/>
                </a:lnTo>
                <a:close/>
                <a:moveTo>
                  <a:pt x="4565512" y="1522609"/>
                </a:moveTo>
                <a:lnTo>
                  <a:pt x="4558567" y="1524666"/>
                </a:lnTo>
                <a:lnTo>
                  <a:pt x="4554086" y="1528118"/>
                </a:lnTo>
                <a:lnTo>
                  <a:pt x="4555312" y="1530295"/>
                </a:lnTo>
                <a:lnTo>
                  <a:pt x="4561497" y="1525531"/>
                </a:lnTo>
                <a:lnTo>
                  <a:pt x="4566613" y="1524016"/>
                </a:lnTo>
                <a:close/>
                <a:moveTo>
                  <a:pt x="5480401" y="1521630"/>
                </a:moveTo>
                <a:lnTo>
                  <a:pt x="5480090" y="1521852"/>
                </a:lnTo>
                <a:lnTo>
                  <a:pt x="5481932" y="1526715"/>
                </a:lnTo>
                <a:lnTo>
                  <a:pt x="5482042" y="1525966"/>
                </a:lnTo>
                <a:close/>
                <a:moveTo>
                  <a:pt x="7367737" y="1521526"/>
                </a:moveTo>
                <a:lnTo>
                  <a:pt x="7369257" y="1523258"/>
                </a:lnTo>
                <a:lnTo>
                  <a:pt x="7368931" y="1527589"/>
                </a:lnTo>
                <a:lnTo>
                  <a:pt x="7367195" y="1529863"/>
                </a:lnTo>
                <a:lnTo>
                  <a:pt x="7365458" y="1530946"/>
                </a:lnTo>
                <a:lnTo>
                  <a:pt x="7366326" y="1524991"/>
                </a:lnTo>
                <a:close/>
                <a:moveTo>
                  <a:pt x="4542723" y="1520877"/>
                </a:moveTo>
                <a:lnTo>
                  <a:pt x="4538692" y="1522739"/>
                </a:lnTo>
                <a:lnTo>
                  <a:pt x="4539794" y="1524449"/>
                </a:lnTo>
                <a:lnTo>
                  <a:pt x="4545654" y="1521742"/>
                </a:lnTo>
                <a:lnTo>
                  <a:pt x="4548235" y="1522064"/>
                </a:lnTo>
                <a:lnTo>
                  <a:pt x="4547932" y="1521527"/>
                </a:lnTo>
                <a:close/>
                <a:moveTo>
                  <a:pt x="5591753" y="1518864"/>
                </a:moveTo>
                <a:lnTo>
                  <a:pt x="5588788" y="1522235"/>
                </a:lnTo>
                <a:lnTo>
                  <a:pt x="5591753" y="1519686"/>
                </a:lnTo>
                <a:close/>
                <a:moveTo>
                  <a:pt x="4469149" y="1518820"/>
                </a:moveTo>
                <a:lnTo>
                  <a:pt x="4475334" y="1525965"/>
                </a:lnTo>
                <a:lnTo>
                  <a:pt x="4477404" y="1526273"/>
                </a:lnTo>
                <a:lnTo>
                  <a:pt x="4475336" y="1525965"/>
                </a:lnTo>
                <a:lnTo>
                  <a:pt x="4469150" y="1518820"/>
                </a:lnTo>
                <a:close/>
                <a:moveTo>
                  <a:pt x="4443323" y="1517629"/>
                </a:moveTo>
                <a:lnTo>
                  <a:pt x="4443321" y="1517629"/>
                </a:lnTo>
                <a:lnTo>
                  <a:pt x="4445453" y="1518692"/>
                </a:lnTo>
                <a:close/>
                <a:moveTo>
                  <a:pt x="7360792" y="1517087"/>
                </a:moveTo>
                <a:lnTo>
                  <a:pt x="7362637" y="1517736"/>
                </a:lnTo>
                <a:lnTo>
                  <a:pt x="7363396" y="1519252"/>
                </a:lnTo>
                <a:lnTo>
                  <a:pt x="7362094" y="1519902"/>
                </a:lnTo>
                <a:lnTo>
                  <a:pt x="7359815" y="1519143"/>
                </a:lnTo>
                <a:close/>
                <a:moveTo>
                  <a:pt x="4523643" y="1517021"/>
                </a:moveTo>
                <a:lnTo>
                  <a:pt x="4523722" y="1517641"/>
                </a:lnTo>
                <a:lnTo>
                  <a:pt x="4524356" y="1517489"/>
                </a:lnTo>
                <a:close/>
                <a:moveTo>
                  <a:pt x="4532089" y="1516005"/>
                </a:moveTo>
                <a:lnTo>
                  <a:pt x="4527706" y="1518647"/>
                </a:lnTo>
                <a:lnTo>
                  <a:pt x="4529702" y="1520009"/>
                </a:lnTo>
                <a:lnTo>
                  <a:pt x="4533260" y="1517865"/>
                </a:lnTo>
                <a:close/>
                <a:moveTo>
                  <a:pt x="4453307" y="1513731"/>
                </a:moveTo>
                <a:lnTo>
                  <a:pt x="4453306" y="1513731"/>
                </a:lnTo>
                <a:lnTo>
                  <a:pt x="4461660" y="1517629"/>
                </a:lnTo>
                <a:lnTo>
                  <a:pt x="4464654" y="1518105"/>
                </a:lnTo>
                <a:lnTo>
                  <a:pt x="4461662" y="1517629"/>
                </a:lnTo>
                <a:close/>
                <a:moveTo>
                  <a:pt x="4431928" y="1513406"/>
                </a:moveTo>
                <a:lnTo>
                  <a:pt x="4435834" y="1517845"/>
                </a:lnTo>
                <a:lnTo>
                  <a:pt x="4435835" y="1517845"/>
                </a:lnTo>
                <a:lnTo>
                  <a:pt x="4431929" y="1513406"/>
                </a:lnTo>
                <a:close/>
                <a:moveTo>
                  <a:pt x="6563563" y="1513284"/>
                </a:moveTo>
                <a:lnTo>
                  <a:pt x="6563412" y="1513407"/>
                </a:lnTo>
                <a:lnTo>
                  <a:pt x="6560699" y="1518170"/>
                </a:lnTo>
                <a:lnTo>
                  <a:pt x="6560699" y="1521742"/>
                </a:lnTo>
                <a:lnTo>
                  <a:pt x="6560699" y="1522068"/>
                </a:lnTo>
                <a:lnTo>
                  <a:pt x="6563016" y="1525957"/>
                </a:lnTo>
                <a:lnTo>
                  <a:pt x="6563086" y="1525748"/>
                </a:lnTo>
                <a:lnTo>
                  <a:pt x="6560699" y="1521742"/>
                </a:lnTo>
                <a:lnTo>
                  <a:pt x="6561024" y="1517844"/>
                </a:lnTo>
                <a:close/>
                <a:moveTo>
                  <a:pt x="3794068" y="1512431"/>
                </a:moveTo>
                <a:lnTo>
                  <a:pt x="3797866" y="1512647"/>
                </a:lnTo>
                <a:lnTo>
                  <a:pt x="3793634" y="1515788"/>
                </a:lnTo>
                <a:close/>
                <a:moveTo>
                  <a:pt x="4414132" y="1511998"/>
                </a:moveTo>
                <a:lnTo>
                  <a:pt x="4414131" y="1511999"/>
                </a:lnTo>
                <a:lnTo>
                  <a:pt x="4417277" y="1514597"/>
                </a:lnTo>
                <a:lnTo>
                  <a:pt x="4417278" y="1514596"/>
                </a:lnTo>
                <a:close/>
                <a:moveTo>
                  <a:pt x="4400134" y="1511457"/>
                </a:moveTo>
                <a:lnTo>
                  <a:pt x="4400133" y="1511457"/>
                </a:lnTo>
                <a:lnTo>
                  <a:pt x="4402422" y="1511695"/>
                </a:lnTo>
                <a:close/>
                <a:moveTo>
                  <a:pt x="4426720" y="1510267"/>
                </a:moveTo>
                <a:lnTo>
                  <a:pt x="4426719" y="1510267"/>
                </a:lnTo>
                <a:lnTo>
                  <a:pt x="4427803" y="1513189"/>
                </a:lnTo>
                <a:lnTo>
                  <a:pt x="4427805" y="1513189"/>
                </a:lnTo>
                <a:close/>
                <a:moveTo>
                  <a:pt x="3810344" y="1508859"/>
                </a:moveTo>
                <a:lnTo>
                  <a:pt x="3814142" y="1513082"/>
                </a:lnTo>
                <a:lnTo>
                  <a:pt x="3817073" y="1513514"/>
                </a:lnTo>
                <a:lnTo>
                  <a:pt x="3818809" y="1517412"/>
                </a:lnTo>
                <a:lnTo>
                  <a:pt x="3814577" y="1520553"/>
                </a:lnTo>
                <a:lnTo>
                  <a:pt x="3814251" y="1519145"/>
                </a:lnTo>
                <a:lnTo>
                  <a:pt x="3805461" y="1521094"/>
                </a:lnTo>
                <a:lnTo>
                  <a:pt x="3809584" y="1518171"/>
                </a:lnTo>
                <a:lnTo>
                  <a:pt x="3808716" y="1516763"/>
                </a:lnTo>
                <a:lnTo>
                  <a:pt x="3812081" y="1514922"/>
                </a:lnTo>
                <a:lnTo>
                  <a:pt x="3806003" y="1511890"/>
                </a:lnTo>
                <a:close/>
                <a:moveTo>
                  <a:pt x="7368714" y="1507776"/>
                </a:moveTo>
                <a:lnTo>
                  <a:pt x="7372186" y="1509075"/>
                </a:lnTo>
                <a:lnTo>
                  <a:pt x="7372946" y="1511999"/>
                </a:lnTo>
                <a:lnTo>
                  <a:pt x="7370667" y="1513082"/>
                </a:lnTo>
                <a:lnTo>
                  <a:pt x="7368171" y="1510807"/>
                </a:lnTo>
                <a:lnTo>
                  <a:pt x="7367303" y="1508751"/>
                </a:lnTo>
                <a:close/>
                <a:moveTo>
                  <a:pt x="3803616" y="1506043"/>
                </a:moveTo>
                <a:lnTo>
                  <a:pt x="3802640" y="1509616"/>
                </a:lnTo>
                <a:lnTo>
                  <a:pt x="3799493" y="1511023"/>
                </a:lnTo>
                <a:close/>
                <a:moveTo>
                  <a:pt x="4121787" y="1500846"/>
                </a:moveTo>
                <a:lnTo>
                  <a:pt x="4121136" y="1503877"/>
                </a:lnTo>
                <a:lnTo>
                  <a:pt x="4117339" y="1508209"/>
                </a:lnTo>
                <a:lnTo>
                  <a:pt x="4114951" y="1509400"/>
                </a:lnTo>
                <a:lnTo>
                  <a:pt x="4114517" y="1504419"/>
                </a:lnTo>
                <a:lnTo>
                  <a:pt x="4117989" y="1501062"/>
                </a:lnTo>
                <a:close/>
                <a:moveTo>
                  <a:pt x="6570762" y="1500617"/>
                </a:moveTo>
                <a:lnTo>
                  <a:pt x="6570465" y="1500847"/>
                </a:lnTo>
                <a:lnTo>
                  <a:pt x="6567319" y="1505503"/>
                </a:lnTo>
                <a:lnTo>
                  <a:pt x="6566377" y="1510825"/>
                </a:lnTo>
                <a:lnTo>
                  <a:pt x="6566667" y="1510590"/>
                </a:lnTo>
                <a:lnTo>
                  <a:pt x="6567753" y="1505068"/>
                </a:lnTo>
                <a:close/>
                <a:moveTo>
                  <a:pt x="5393435" y="1499719"/>
                </a:moveTo>
                <a:lnTo>
                  <a:pt x="5392951" y="1499981"/>
                </a:lnTo>
                <a:lnTo>
                  <a:pt x="5395154" y="1503435"/>
                </a:lnTo>
                <a:lnTo>
                  <a:pt x="5395121" y="1502362"/>
                </a:lnTo>
                <a:close/>
                <a:moveTo>
                  <a:pt x="3809042" y="1499439"/>
                </a:moveTo>
                <a:lnTo>
                  <a:pt x="3811320" y="1499439"/>
                </a:lnTo>
                <a:lnTo>
                  <a:pt x="3809150" y="1501605"/>
                </a:lnTo>
                <a:close/>
                <a:moveTo>
                  <a:pt x="3806981" y="1494999"/>
                </a:moveTo>
                <a:lnTo>
                  <a:pt x="3808174" y="1497597"/>
                </a:lnTo>
                <a:lnTo>
                  <a:pt x="3806547" y="1499113"/>
                </a:lnTo>
                <a:lnTo>
                  <a:pt x="3804702" y="1495432"/>
                </a:lnTo>
                <a:close/>
                <a:moveTo>
                  <a:pt x="1140075" y="1494350"/>
                </a:moveTo>
                <a:lnTo>
                  <a:pt x="1141052" y="1498464"/>
                </a:lnTo>
                <a:lnTo>
                  <a:pt x="1139750" y="1505068"/>
                </a:lnTo>
                <a:lnTo>
                  <a:pt x="1137145" y="1502145"/>
                </a:lnTo>
                <a:lnTo>
                  <a:pt x="1136820" y="1497815"/>
                </a:lnTo>
                <a:close/>
                <a:moveTo>
                  <a:pt x="3785277" y="1494242"/>
                </a:moveTo>
                <a:lnTo>
                  <a:pt x="3786470" y="1497166"/>
                </a:lnTo>
                <a:lnTo>
                  <a:pt x="3783216" y="1499115"/>
                </a:lnTo>
                <a:lnTo>
                  <a:pt x="3783433" y="1496624"/>
                </a:lnTo>
                <a:close/>
                <a:moveTo>
                  <a:pt x="5448294" y="1493593"/>
                </a:moveTo>
                <a:lnTo>
                  <a:pt x="5450030" y="1498790"/>
                </a:lnTo>
                <a:lnTo>
                  <a:pt x="5450031" y="1498791"/>
                </a:lnTo>
                <a:lnTo>
                  <a:pt x="5448295" y="1493593"/>
                </a:lnTo>
                <a:close/>
                <a:moveTo>
                  <a:pt x="7368172" y="1491427"/>
                </a:moveTo>
                <a:lnTo>
                  <a:pt x="7369582" y="1492077"/>
                </a:lnTo>
                <a:lnTo>
                  <a:pt x="7369582" y="1496191"/>
                </a:lnTo>
                <a:lnTo>
                  <a:pt x="7371862" y="1500847"/>
                </a:lnTo>
                <a:cubicBezTo>
                  <a:pt x="7371862" y="1500847"/>
                  <a:pt x="7369799" y="1503878"/>
                  <a:pt x="7369799" y="1503878"/>
                </a:cubicBezTo>
                <a:lnTo>
                  <a:pt x="7366652" y="1500414"/>
                </a:lnTo>
                <a:lnTo>
                  <a:pt x="7368172" y="1495758"/>
                </a:lnTo>
                <a:close/>
                <a:moveTo>
                  <a:pt x="4284671" y="1487313"/>
                </a:moveTo>
                <a:lnTo>
                  <a:pt x="4287275" y="1490128"/>
                </a:lnTo>
                <a:lnTo>
                  <a:pt x="4286407" y="1497166"/>
                </a:lnTo>
                <a:lnTo>
                  <a:pt x="4284019" y="1505178"/>
                </a:lnTo>
                <a:lnTo>
                  <a:pt x="4283151" y="1513081"/>
                </a:lnTo>
                <a:lnTo>
                  <a:pt x="4280547" y="1520660"/>
                </a:lnTo>
                <a:lnTo>
                  <a:pt x="4278811" y="1524775"/>
                </a:lnTo>
                <a:lnTo>
                  <a:pt x="4277292" y="1523259"/>
                </a:lnTo>
                <a:lnTo>
                  <a:pt x="4277292" y="1520010"/>
                </a:lnTo>
                <a:lnTo>
                  <a:pt x="4276641" y="1515571"/>
                </a:lnTo>
                <a:lnTo>
                  <a:pt x="4278268" y="1502579"/>
                </a:lnTo>
                <a:lnTo>
                  <a:pt x="4280872" y="1500955"/>
                </a:lnTo>
                <a:lnTo>
                  <a:pt x="4282501" y="1493809"/>
                </a:lnTo>
                <a:lnTo>
                  <a:pt x="4281741" y="1491752"/>
                </a:lnTo>
                <a:close/>
                <a:moveTo>
                  <a:pt x="4159768" y="1483956"/>
                </a:moveTo>
                <a:lnTo>
                  <a:pt x="4164977" y="1483956"/>
                </a:lnTo>
                <a:lnTo>
                  <a:pt x="4161070" y="1486771"/>
                </a:lnTo>
                <a:lnTo>
                  <a:pt x="4157598" y="1486880"/>
                </a:lnTo>
                <a:close/>
                <a:moveTo>
                  <a:pt x="3786796" y="1483307"/>
                </a:moveTo>
                <a:lnTo>
                  <a:pt x="3789184" y="1483740"/>
                </a:lnTo>
                <a:lnTo>
                  <a:pt x="3789727" y="1486555"/>
                </a:lnTo>
                <a:lnTo>
                  <a:pt x="3788533" y="1488721"/>
                </a:lnTo>
                <a:lnTo>
                  <a:pt x="3789401" y="1492727"/>
                </a:lnTo>
                <a:lnTo>
                  <a:pt x="3786579" y="1492076"/>
                </a:lnTo>
                <a:lnTo>
                  <a:pt x="3785711" y="1488937"/>
                </a:lnTo>
                <a:lnTo>
                  <a:pt x="3787013" y="1486013"/>
                </a:lnTo>
                <a:close/>
                <a:moveTo>
                  <a:pt x="1145285" y="1481032"/>
                </a:moveTo>
                <a:lnTo>
                  <a:pt x="1147129" y="1483089"/>
                </a:lnTo>
                <a:lnTo>
                  <a:pt x="1144091" y="1488936"/>
                </a:lnTo>
                <a:lnTo>
                  <a:pt x="1140619" y="1488936"/>
                </a:lnTo>
                <a:lnTo>
                  <a:pt x="1138557" y="1488936"/>
                </a:lnTo>
                <a:lnTo>
                  <a:pt x="1139642" y="1484280"/>
                </a:lnTo>
                <a:close/>
                <a:moveTo>
                  <a:pt x="3790812" y="1479409"/>
                </a:moveTo>
                <a:lnTo>
                  <a:pt x="3789618" y="1482658"/>
                </a:lnTo>
                <a:lnTo>
                  <a:pt x="3786580" y="1481466"/>
                </a:lnTo>
                <a:lnTo>
                  <a:pt x="3786580" y="1480058"/>
                </a:lnTo>
                <a:close/>
                <a:moveTo>
                  <a:pt x="4505589" y="1474899"/>
                </a:moveTo>
                <a:lnTo>
                  <a:pt x="4505176" y="1475511"/>
                </a:lnTo>
                <a:lnTo>
                  <a:pt x="4505177" y="1475511"/>
                </a:lnTo>
                <a:lnTo>
                  <a:pt x="4507028" y="1475804"/>
                </a:lnTo>
                <a:lnTo>
                  <a:pt x="4506913" y="1475079"/>
                </a:lnTo>
                <a:close/>
                <a:moveTo>
                  <a:pt x="4499281" y="1474721"/>
                </a:moveTo>
                <a:lnTo>
                  <a:pt x="4507034" y="1475846"/>
                </a:lnTo>
                <a:lnTo>
                  <a:pt x="4507034" y="1475845"/>
                </a:lnTo>
                <a:close/>
                <a:moveTo>
                  <a:pt x="6702340" y="1474646"/>
                </a:moveTo>
                <a:lnTo>
                  <a:pt x="6702964" y="1477243"/>
                </a:lnTo>
                <a:lnTo>
                  <a:pt x="6701553" y="1480382"/>
                </a:lnTo>
                <a:lnTo>
                  <a:pt x="6701771" y="1481426"/>
                </a:lnTo>
                <a:lnTo>
                  <a:pt x="6701771" y="1480601"/>
                </a:lnTo>
                <a:lnTo>
                  <a:pt x="6703182" y="1477352"/>
                </a:lnTo>
                <a:lnTo>
                  <a:pt x="6702422" y="1474646"/>
                </a:lnTo>
                <a:close/>
                <a:moveTo>
                  <a:pt x="4498014" y="1474536"/>
                </a:moveTo>
                <a:lnTo>
                  <a:pt x="4489659" y="1477892"/>
                </a:lnTo>
                <a:lnTo>
                  <a:pt x="4489660" y="1477894"/>
                </a:lnTo>
                <a:lnTo>
                  <a:pt x="4498015" y="1474537"/>
                </a:lnTo>
                <a:lnTo>
                  <a:pt x="4498022" y="1474538"/>
                </a:lnTo>
                <a:lnTo>
                  <a:pt x="4502860" y="1475196"/>
                </a:lnTo>
                <a:close/>
                <a:moveTo>
                  <a:pt x="1143005" y="1474212"/>
                </a:moveTo>
                <a:lnTo>
                  <a:pt x="1144307" y="1476161"/>
                </a:lnTo>
                <a:lnTo>
                  <a:pt x="1142571" y="1479409"/>
                </a:lnTo>
                <a:lnTo>
                  <a:pt x="1141160" y="1479517"/>
                </a:lnTo>
                <a:lnTo>
                  <a:pt x="1140835" y="1475620"/>
                </a:lnTo>
                <a:close/>
                <a:moveTo>
                  <a:pt x="3786363" y="1473995"/>
                </a:moveTo>
                <a:lnTo>
                  <a:pt x="3792222" y="1474644"/>
                </a:lnTo>
                <a:lnTo>
                  <a:pt x="3791896" y="1477243"/>
                </a:lnTo>
                <a:lnTo>
                  <a:pt x="3787773" y="1478326"/>
                </a:lnTo>
                <a:lnTo>
                  <a:pt x="3784518" y="1474969"/>
                </a:lnTo>
                <a:close/>
                <a:moveTo>
                  <a:pt x="3808284" y="1473887"/>
                </a:moveTo>
                <a:lnTo>
                  <a:pt x="3810779" y="1478001"/>
                </a:lnTo>
                <a:lnTo>
                  <a:pt x="3810237" y="1486013"/>
                </a:lnTo>
                <a:lnTo>
                  <a:pt x="3815012" y="1488612"/>
                </a:lnTo>
                <a:lnTo>
                  <a:pt x="3817725" y="1487962"/>
                </a:lnTo>
                <a:lnTo>
                  <a:pt x="3819461" y="1489262"/>
                </a:lnTo>
                <a:lnTo>
                  <a:pt x="3816206" y="1491102"/>
                </a:lnTo>
                <a:lnTo>
                  <a:pt x="3814795" y="1495217"/>
                </a:lnTo>
                <a:lnTo>
                  <a:pt x="3812950" y="1495542"/>
                </a:lnTo>
                <a:lnTo>
                  <a:pt x="3812516" y="1490994"/>
                </a:lnTo>
                <a:lnTo>
                  <a:pt x="3806981" y="1491535"/>
                </a:lnTo>
                <a:lnTo>
                  <a:pt x="3803835" y="1485905"/>
                </a:lnTo>
                <a:lnTo>
                  <a:pt x="3804485" y="1484389"/>
                </a:lnTo>
                <a:lnTo>
                  <a:pt x="3802749" y="1483090"/>
                </a:lnTo>
                <a:lnTo>
                  <a:pt x="3802640" y="1484822"/>
                </a:lnTo>
                <a:lnTo>
                  <a:pt x="3798300" y="1481683"/>
                </a:lnTo>
                <a:lnTo>
                  <a:pt x="3800036" y="1479950"/>
                </a:lnTo>
                <a:lnTo>
                  <a:pt x="3801664" y="1481032"/>
                </a:lnTo>
                <a:lnTo>
                  <a:pt x="3801447" y="1476918"/>
                </a:lnTo>
                <a:lnTo>
                  <a:pt x="3806548" y="1480383"/>
                </a:lnTo>
                <a:lnTo>
                  <a:pt x="3806005" y="1474969"/>
                </a:lnTo>
                <a:close/>
                <a:moveTo>
                  <a:pt x="4152389" y="1469989"/>
                </a:moveTo>
                <a:lnTo>
                  <a:pt x="4153040" y="1471721"/>
                </a:lnTo>
                <a:lnTo>
                  <a:pt x="4149568" y="1477893"/>
                </a:lnTo>
                <a:lnTo>
                  <a:pt x="4150653" y="1482656"/>
                </a:lnTo>
                <a:lnTo>
                  <a:pt x="4149785" y="1484713"/>
                </a:lnTo>
                <a:lnTo>
                  <a:pt x="4150870" y="1489694"/>
                </a:lnTo>
                <a:lnTo>
                  <a:pt x="4146203" y="1497815"/>
                </a:lnTo>
                <a:lnTo>
                  <a:pt x="4143599" y="1499005"/>
                </a:lnTo>
                <a:lnTo>
                  <a:pt x="4139584" y="1497273"/>
                </a:lnTo>
                <a:lnTo>
                  <a:pt x="4134918" y="1497273"/>
                </a:lnTo>
                <a:lnTo>
                  <a:pt x="4131553" y="1498464"/>
                </a:lnTo>
                <a:lnTo>
                  <a:pt x="4126345" y="1497489"/>
                </a:lnTo>
                <a:lnTo>
                  <a:pt x="4122438" y="1498139"/>
                </a:lnTo>
                <a:lnTo>
                  <a:pt x="4121353" y="1497273"/>
                </a:lnTo>
                <a:lnTo>
                  <a:pt x="4113431" y="1502254"/>
                </a:lnTo>
                <a:lnTo>
                  <a:pt x="4112346" y="1505501"/>
                </a:lnTo>
                <a:lnTo>
                  <a:pt x="4113431" y="1511782"/>
                </a:lnTo>
                <a:lnTo>
                  <a:pt x="4108439" y="1506043"/>
                </a:lnTo>
                <a:lnTo>
                  <a:pt x="4106377" y="1507234"/>
                </a:lnTo>
                <a:lnTo>
                  <a:pt x="4104099" y="1505393"/>
                </a:lnTo>
                <a:lnTo>
                  <a:pt x="4107789" y="1501821"/>
                </a:lnTo>
                <a:lnTo>
                  <a:pt x="4109307" y="1496623"/>
                </a:lnTo>
                <a:lnTo>
                  <a:pt x="4112780" y="1496407"/>
                </a:lnTo>
                <a:lnTo>
                  <a:pt x="4114516" y="1497598"/>
                </a:lnTo>
                <a:lnTo>
                  <a:pt x="4120485" y="1492834"/>
                </a:lnTo>
                <a:lnTo>
                  <a:pt x="4125694" y="1492834"/>
                </a:lnTo>
                <a:lnTo>
                  <a:pt x="4130360" y="1489586"/>
                </a:lnTo>
                <a:lnTo>
                  <a:pt x="4132748" y="1484064"/>
                </a:lnTo>
                <a:lnTo>
                  <a:pt x="4135677" y="1479625"/>
                </a:lnTo>
                <a:lnTo>
                  <a:pt x="4139909" y="1479083"/>
                </a:lnTo>
                <a:lnTo>
                  <a:pt x="4145987" y="1476377"/>
                </a:lnTo>
                <a:close/>
                <a:moveTo>
                  <a:pt x="1167748" y="1469448"/>
                </a:moveTo>
                <a:lnTo>
                  <a:pt x="1167097" y="1472046"/>
                </a:lnTo>
                <a:lnTo>
                  <a:pt x="1160043" y="1478543"/>
                </a:lnTo>
                <a:lnTo>
                  <a:pt x="1156353" y="1479085"/>
                </a:lnTo>
                <a:lnTo>
                  <a:pt x="1151253" y="1483740"/>
                </a:lnTo>
                <a:lnTo>
                  <a:pt x="1148432" y="1484065"/>
                </a:lnTo>
                <a:lnTo>
                  <a:pt x="1154183" y="1475944"/>
                </a:lnTo>
                <a:lnTo>
                  <a:pt x="1157765" y="1475836"/>
                </a:lnTo>
                <a:lnTo>
                  <a:pt x="1161237" y="1471722"/>
                </a:lnTo>
                <a:close/>
                <a:moveTo>
                  <a:pt x="6694300" y="1468230"/>
                </a:moveTo>
                <a:lnTo>
                  <a:pt x="6695150" y="1470313"/>
                </a:lnTo>
                <a:lnTo>
                  <a:pt x="6695150" y="1472587"/>
                </a:lnTo>
                <a:lnTo>
                  <a:pt x="6695368" y="1472949"/>
                </a:lnTo>
                <a:lnTo>
                  <a:pt x="6695368" y="1470748"/>
                </a:lnTo>
                <a:close/>
                <a:moveTo>
                  <a:pt x="4325582" y="1465983"/>
                </a:moveTo>
                <a:lnTo>
                  <a:pt x="4328294" y="1467391"/>
                </a:lnTo>
                <a:lnTo>
                  <a:pt x="4326341" y="1469231"/>
                </a:lnTo>
                <a:lnTo>
                  <a:pt x="4325799" y="1471938"/>
                </a:lnTo>
                <a:lnTo>
                  <a:pt x="4323846" y="1475944"/>
                </a:lnTo>
                <a:lnTo>
                  <a:pt x="4327209" y="1478976"/>
                </a:lnTo>
                <a:lnTo>
                  <a:pt x="4327752" y="1481141"/>
                </a:lnTo>
                <a:lnTo>
                  <a:pt x="4324388" y="1485255"/>
                </a:lnTo>
                <a:lnTo>
                  <a:pt x="4323628" y="1488395"/>
                </a:lnTo>
                <a:lnTo>
                  <a:pt x="4318094" y="1492726"/>
                </a:lnTo>
                <a:lnTo>
                  <a:pt x="4317226" y="1495649"/>
                </a:lnTo>
                <a:lnTo>
                  <a:pt x="4318853" y="1496840"/>
                </a:lnTo>
                <a:lnTo>
                  <a:pt x="4317768" y="1499655"/>
                </a:lnTo>
                <a:lnTo>
                  <a:pt x="4312234" y="1501280"/>
                </a:lnTo>
                <a:lnTo>
                  <a:pt x="4311800" y="1499222"/>
                </a:lnTo>
                <a:lnTo>
                  <a:pt x="4314622" y="1495758"/>
                </a:lnTo>
                <a:lnTo>
                  <a:pt x="4315707" y="1491752"/>
                </a:lnTo>
                <a:lnTo>
                  <a:pt x="4313753" y="1492401"/>
                </a:lnTo>
                <a:lnTo>
                  <a:pt x="4309087" y="1485580"/>
                </a:lnTo>
                <a:lnTo>
                  <a:pt x="4310823" y="1484389"/>
                </a:lnTo>
                <a:lnTo>
                  <a:pt x="4309304" y="1478976"/>
                </a:lnTo>
                <a:lnTo>
                  <a:pt x="4312451" y="1475619"/>
                </a:lnTo>
                <a:lnTo>
                  <a:pt x="4314730" y="1471397"/>
                </a:lnTo>
                <a:lnTo>
                  <a:pt x="4317985" y="1467391"/>
                </a:lnTo>
                <a:lnTo>
                  <a:pt x="4323086" y="1467391"/>
                </a:lnTo>
                <a:close/>
                <a:moveTo>
                  <a:pt x="3797540" y="1465875"/>
                </a:moveTo>
                <a:lnTo>
                  <a:pt x="3801229" y="1467391"/>
                </a:lnTo>
                <a:lnTo>
                  <a:pt x="3796020" y="1472047"/>
                </a:lnTo>
                <a:lnTo>
                  <a:pt x="3792982" y="1469773"/>
                </a:lnTo>
                <a:lnTo>
                  <a:pt x="3794610" y="1468799"/>
                </a:lnTo>
                <a:lnTo>
                  <a:pt x="3795586" y="1466958"/>
                </a:lnTo>
                <a:close/>
                <a:moveTo>
                  <a:pt x="6692382" y="1461885"/>
                </a:moveTo>
                <a:lnTo>
                  <a:pt x="6693741" y="1464142"/>
                </a:lnTo>
                <a:lnTo>
                  <a:pt x="6693957" y="1467390"/>
                </a:lnTo>
                <a:lnTo>
                  <a:pt x="6694174" y="1467922"/>
                </a:lnTo>
                <a:lnTo>
                  <a:pt x="6694174" y="1464685"/>
                </a:lnTo>
                <a:lnTo>
                  <a:pt x="6692546" y="1461978"/>
                </a:lnTo>
                <a:close/>
                <a:moveTo>
                  <a:pt x="4336108" y="1461328"/>
                </a:moveTo>
                <a:lnTo>
                  <a:pt x="4337193" y="1462952"/>
                </a:lnTo>
                <a:lnTo>
                  <a:pt x="4332961" y="1464143"/>
                </a:lnTo>
                <a:lnTo>
                  <a:pt x="4330356" y="1466634"/>
                </a:lnTo>
                <a:lnTo>
                  <a:pt x="4328729" y="1464359"/>
                </a:lnTo>
                <a:lnTo>
                  <a:pt x="4331224" y="1461436"/>
                </a:lnTo>
                <a:close/>
                <a:moveTo>
                  <a:pt x="4468607" y="1460244"/>
                </a:moveTo>
                <a:lnTo>
                  <a:pt x="4468608" y="1460245"/>
                </a:lnTo>
                <a:lnTo>
                  <a:pt x="4471646" y="1460353"/>
                </a:lnTo>
                <a:lnTo>
                  <a:pt x="4471645" y="1460353"/>
                </a:lnTo>
                <a:close/>
                <a:moveTo>
                  <a:pt x="6553466" y="1458429"/>
                </a:moveTo>
                <a:lnTo>
                  <a:pt x="6551583" y="1462087"/>
                </a:lnTo>
                <a:lnTo>
                  <a:pt x="6549630" y="1464468"/>
                </a:lnTo>
                <a:lnTo>
                  <a:pt x="6549630" y="1466850"/>
                </a:lnTo>
                <a:lnTo>
                  <a:pt x="6548111" y="1468907"/>
                </a:lnTo>
                <a:lnTo>
                  <a:pt x="6548111" y="1475837"/>
                </a:lnTo>
                <a:lnTo>
                  <a:pt x="6549630" y="1477786"/>
                </a:lnTo>
                <a:lnTo>
                  <a:pt x="6552018" y="1477786"/>
                </a:lnTo>
                <a:lnTo>
                  <a:pt x="6557335" y="1474538"/>
                </a:lnTo>
                <a:lnTo>
                  <a:pt x="6560591" y="1473130"/>
                </a:lnTo>
                <a:lnTo>
                  <a:pt x="6563520" y="1473780"/>
                </a:lnTo>
                <a:lnTo>
                  <a:pt x="6566993" y="1479410"/>
                </a:lnTo>
                <a:lnTo>
                  <a:pt x="6568838" y="1483848"/>
                </a:lnTo>
                <a:lnTo>
                  <a:pt x="6572310" y="1486447"/>
                </a:lnTo>
                <a:lnTo>
                  <a:pt x="6572310" y="1490021"/>
                </a:lnTo>
                <a:lnTo>
                  <a:pt x="6573396" y="1492944"/>
                </a:lnTo>
                <a:lnTo>
                  <a:pt x="6573396" y="1498567"/>
                </a:lnTo>
                <a:lnTo>
                  <a:pt x="6573829" y="1498247"/>
                </a:lnTo>
                <a:lnTo>
                  <a:pt x="6574155" y="1492509"/>
                </a:lnTo>
                <a:lnTo>
                  <a:pt x="6573069" y="1489586"/>
                </a:lnTo>
                <a:lnTo>
                  <a:pt x="6573069" y="1486013"/>
                </a:lnTo>
                <a:lnTo>
                  <a:pt x="6569598" y="1483414"/>
                </a:lnTo>
                <a:lnTo>
                  <a:pt x="6567753" y="1478975"/>
                </a:lnTo>
                <a:lnTo>
                  <a:pt x="6564280" y="1473345"/>
                </a:lnTo>
                <a:lnTo>
                  <a:pt x="6561350" y="1472587"/>
                </a:lnTo>
                <a:lnTo>
                  <a:pt x="6558095" y="1473995"/>
                </a:lnTo>
                <a:lnTo>
                  <a:pt x="6552777" y="1477243"/>
                </a:lnTo>
                <a:lnTo>
                  <a:pt x="6550390" y="1476918"/>
                </a:lnTo>
                <a:lnTo>
                  <a:pt x="6548762" y="1474969"/>
                </a:lnTo>
                <a:lnTo>
                  <a:pt x="6548762" y="1469123"/>
                </a:lnTo>
                <a:lnTo>
                  <a:pt x="6550390" y="1467065"/>
                </a:lnTo>
                <a:lnTo>
                  <a:pt x="6550390" y="1464683"/>
                </a:lnTo>
                <a:lnTo>
                  <a:pt x="6552234" y="1462301"/>
                </a:lnTo>
                <a:close/>
                <a:moveTo>
                  <a:pt x="6689725" y="1457900"/>
                </a:moveTo>
                <a:lnTo>
                  <a:pt x="6689725" y="1460136"/>
                </a:lnTo>
                <a:lnTo>
                  <a:pt x="6690268" y="1460431"/>
                </a:lnTo>
                <a:lnTo>
                  <a:pt x="6690268" y="1458405"/>
                </a:lnTo>
                <a:close/>
                <a:moveTo>
                  <a:pt x="4171271" y="1456564"/>
                </a:moveTo>
                <a:lnTo>
                  <a:pt x="4170294" y="1460570"/>
                </a:lnTo>
                <a:lnTo>
                  <a:pt x="4167907" y="1460678"/>
                </a:lnTo>
                <a:lnTo>
                  <a:pt x="4168232" y="1457321"/>
                </a:lnTo>
                <a:close/>
                <a:moveTo>
                  <a:pt x="1140727" y="1454182"/>
                </a:moveTo>
                <a:lnTo>
                  <a:pt x="1142246" y="1456888"/>
                </a:lnTo>
                <a:lnTo>
                  <a:pt x="1140401" y="1459704"/>
                </a:lnTo>
                <a:lnTo>
                  <a:pt x="1134867" y="1457105"/>
                </a:lnTo>
                <a:close/>
                <a:moveTo>
                  <a:pt x="4463397" y="1454181"/>
                </a:moveTo>
                <a:lnTo>
                  <a:pt x="4462420" y="1458295"/>
                </a:lnTo>
                <a:lnTo>
                  <a:pt x="4459274" y="1458728"/>
                </a:lnTo>
                <a:lnTo>
                  <a:pt x="4459275" y="1458729"/>
                </a:lnTo>
                <a:lnTo>
                  <a:pt x="4462422" y="1458296"/>
                </a:lnTo>
                <a:lnTo>
                  <a:pt x="4463398" y="1454182"/>
                </a:lnTo>
                <a:close/>
                <a:moveTo>
                  <a:pt x="6681197" y="1449012"/>
                </a:moveTo>
                <a:lnTo>
                  <a:pt x="6681912" y="1451150"/>
                </a:lnTo>
                <a:lnTo>
                  <a:pt x="6680610" y="1453423"/>
                </a:lnTo>
                <a:lnTo>
                  <a:pt x="6681695" y="1455480"/>
                </a:lnTo>
                <a:lnTo>
                  <a:pt x="6682134" y="1455611"/>
                </a:lnTo>
                <a:lnTo>
                  <a:pt x="6681152" y="1453750"/>
                </a:lnTo>
                <a:lnTo>
                  <a:pt x="6682454" y="1451368"/>
                </a:lnTo>
                <a:lnTo>
                  <a:pt x="6681695" y="1449094"/>
                </a:lnTo>
                <a:close/>
                <a:moveTo>
                  <a:pt x="1147997" y="1448768"/>
                </a:moveTo>
                <a:lnTo>
                  <a:pt x="1149516" y="1453640"/>
                </a:lnTo>
                <a:lnTo>
                  <a:pt x="1146912" y="1455481"/>
                </a:lnTo>
                <a:lnTo>
                  <a:pt x="1146912" y="1457105"/>
                </a:lnTo>
                <a:lnTo>
                  <a:pt x="1144850" y="1458513"/>
                </a:lnTo>
                <a:lnTo>
                  <a:pt x="1144850" y="1453099"/>
                </a:lnTo>
                <a:close/>
                <a:moveTo>
                  <a:pt x="6674508" y="1448661"/>
                </a:moveTo>
                <a:lnTo>
                  <a:pt x="6675401" y="1450175"/>
                </a:lnTo>
                <a:lnTo>
                  <a:pt x="6675721" y="1449939"/>
                </a:lnTo>
                <a:lnTo>
                  <a:pt x="6674967" y="1448661"/>
                </a:lnTo>
                <a:close/>
                <a:moveTo>
                  <a:pt x="2259291" y="1446637"/>
                </a:moveTo>
                <a:lnTo>
                  <a:pt x="2256386" y="1450501"/>
                </a:lnTo>
                <a:lnTo>
                  <a:pt x="2256494" y="1450501"/>
                </a:lnTo>
                <a:close/>
                <a:moveTo>
                  <a:pt x="3809910" y="1446495"/>
                </a:moveTo>
                <a:lnTo>
                  <a:pt x="3810670" y="1452666"/>
                </a:lnTo>
                <a:lnTo>
                  <a:pt x="3806546" y="1456456"/>
                </a:lnTo>
                <a:lnTo>
                  <a:pt x="3805244" y="1459920"/>
                </a:lnTo>
                <a:lnTo>
                  <a:pt x="3806655" y="1461003"/>
                </a:lnTo>
                <a:lnTo>
                  <a:pt x="3803725" y="1465226"/>
                </a:lnTo>
                <a:lnTo>
                  <a:pt x="3799493" y="1464144"/>
                </a:lnTo>
                <a:lnTo>
                  <a:pt x="3795478" y="1464793"/>
                </a:lnTo>
                <a:lnTo>
                  <a:pt x="3793308" y="1462952"/>
                </a:lnTo>
                <a:lnTo>
                  <a:pt x="3795369" y="1461328"/>
                </a:lnTo>
                <a:lnTo>
                  <a:pt x="3792874" y="1458621"/>
                </a:lnTo>
                <a:lnTo>
                  <a:pt x="3795478" y="1455373"/>
                </a:lnTo>
                <a:lnTo>
                  <a:pt x="3800469" y="1457647"/>
                </a:lnTo>
                <a:lnTo>
                  <a:pt x="3799276" y="1454074"/>
                </a:lnTo>
                <a:close/>
                <a:moveTo>
                  <a:pt x="1128030" y="1442814"/>
                </a:moveTo>
                <a:lnTo>
                  <a:pt x="1131286" y="1447253"/>
                </a:lnTo>
                <a:lnTo>
                  <a:pt x="1133130" y="1452559"/>
                </a:lnTo>
                <a:lnTo>
                  <a:pt x="1130418" y="1457106"/>
                </a:lnTo>
                <a:lnTo>
                  <a:pt x="1130201" y="1453641"/>
                </a:lnTo>
                <a:lnTo>
                  <a:pt x="1127271" y="1451584"/>
                </a:lnTo>
                <a:close/>
                <a:moveTo>
                  <a:pt x="3863627" y="1442272"/>
                </a:moveTo>
                <a:lnTo>
                  <a:pt x="3868293" y="1442272"/>
                </a:lnTo>
                <a:lnTo>
                  <a:pt x="3868509" y="1444113"/>
                </a:lnTo>
                <a:lnTo>
                  <a:pt x="3866665" y="1447036"/>
                </a:lnTo>
                <a:lnTo>
                  <a:pt x="3868293" y="1448768"/>
                </a:lnTo>
                <a:lnTo>
                  <a:pt x="3866773" y="1452990"/>
                </a:lnTo>
                <a:lnTo>
                  <a:pt x="3863627" y="1454074"/>
                </a:lnTo>
                <a:lnTo>
                  <a:pt x="3860914" y="1458621"/>
                </a:lnTo>
                <a:lnTo>
                  <a:pt x="3851581" y="1465658"/>
                </a:lnTo>
                <a:lnTo>
                  <a:pt x="3850821" y="1468473"/>
                </a:lnTo>
                <a:lnTo>
                  <a:pt x="3848868" y="1469772"/>
                </a:lnTo>
                <a:lnTo>
                  <a:pt x="3852232" y="1470963"/>
                </a:lnTo>
                <a:lnTo>
                  <a:pt x="3854945" y="1469448"/>
                </a:lnTo>
                <a:lnTo>
                  <a:pt x="3851147" y="1475511"/>
                </a:lnTo>
                <a:lnTo>
                  <a:pt x="3847675" y="1479517"/>
                </a:lnTo>
                <a:lnTo>
                  <a:pt x="3848434" y="1480383"/>
                </a:lnTo>
                <a:lnTo>
                  <a:pt x="3851038" y="1478218"/>
                </a:lnTo>
                <a:lnTo>
                  <a:pt x="3852666" y="1478326"/>
                </a:lnTo>
                <a:lnTo>
                  <a:pt x="3856573" y="1476161"/>
                </a:lnTo>
                <a:lnTo>
                  <a:pt x="3860154" y="1475078"/>
                </a:lnTo>
                <a:lnTo>
                  <a:pt x="3860479" y="1473778"/>
                </a:lnTo>
                <a:lnTo>
                  <a:pt x="3863083" y="1473670"/>
                </a:lnTo>
                <a:lnTo>
                  <a:pt x="3866665" y="1474970"/>
                </a:lnTo>
                <a:lnTo>
                  <a:pt x="3869486" y="1474970"/>
                </a:lnTo>
                <a:lnTo>
                  <a:pt x="3871222" y="1473778"/>
                </a:lnTo>
                <a:lnTo>
                  <a:pt x="3877191" y="1474861"/>
                </a:lnTo>
                <a:lnTo>
                  <a:pt x="3886740" y="1474537"/>
                </a:lnTo>
                <a:lnTo>
                  <a:pt x="3887934" y="1473562"/>
                </a:lnTo>
                <a:lnTo>
                  <a:pt x="3893468" y="1478651"/>
                </a:lnTo>
                <a:lnTo>
                  <a:pt x="3893468" y="1482332"/>
                </a:lnTo>
                <a:lnTo>
                  <a:pt x="3889670" y="1485580"/>
                </a:lnTo>
                <a:lnTo>
                  <a:pt x="3887717" y="1491318"/>
                </a:lnTo>
                <a:lnTo>
                  <a:pt x="3888585" y="1492726"/>
                </a:lnTo>
                <a:lnTo>
                  <a:pt x="3886306" y="1496840"/>
                </a:lnTo>
                <a:lnTo>
                  <a:pt x="3886523" y="1498897"/>
                </a:lnTo>
                <a:lnTo>
                  <a:pt x="3884570" y="1501712"/>
                </a:lnTo>
                <a:lnTo>
                  <a:pt x="3881423" y="1507884"/>
                </a:lnTo>
                <a:lnTo>
                  <a:pt x="3879252" y="1509291"/>
                </a:lnTo>
                <a:lnTo>
                  <a:pt x="3878710" y="1511781"/>
                </a:lnTo>
                <a:lnTo>
                  <a:pt x="3875563" y="1514488"/>
                </a:lnTo>
                <a:lnTo>
                  <a:pt x="3870029" y="1514163"/>
                </a:lnTo>
                <a:lnTo>
                  <a:pt x="3865580" y="1517520"/>
                </a:lnTo>
                <a:lnTo>
                  <a:pt x="3866556" y="1518711"/>
                </a:lnTo>
                <a:lnTo>
                  <a:pt x="3872416" y="1515571"/>
                </a:lnTo>
                <a:lnTo>
                  <a:pt x="3874153" y="1516871"/>
                </a:lnTo>
                <a:lnTo>
                  <a:pt x="3874478" y="1519361"/>
                </a:lnTo>
                <a:lnTo>
                  <a:pt x="3878710" y="1521418"/>
                </a:lnTo>
                <a:lnTo>
                  <a:pt x="3874478" y="1524557"/>
                </a:lnTo>
                <a:lnTo>
                  <a:pt x="3869920" y="1524341"/>
                </a:lnTo>
                <a:lnTo>
                  <a:pt x="3868509" y="1527914"/>
                </a:lnTo>
                <a:lnTo>
                  <a:pt x="3864060" y="1529430"/>
                </a:lnTo>
                <a:lnTo>
                  <a:pt x="3858634" y="1528997"/>
                </a:lnTo>
                <a:lnTo>
                  <a:pt x="3855922" y="1527589"/>
                </a:lnTo>
                <a:lnTo>
                  <a:pt x="3857224" y="1530079"/>
                </a:lnTo>
                <a:lnTo>
                  <a:pt x="3861782" y="1531487"/>
                </a:lnTo>
                <a:lnTo>
                  <a:pt x="3864495" y="1531162"/>
                </a:lnTo>
                <a:lnTo>
                  <a:pt x="3870029" y="1533002"/>
                </a:lnTo>
                <a:lnTo>
                  <a:pt x="3874044" y="1530404"/>
                </a:lnTo>
                <a:lnTo>
                  <a:pt x="3876106" y="1528563"/>
                </a:lnTo>
                <a:lnTo>
                  <a:pt x="3881097" y="1530512"/>
                </a:lnTo>
                <a:lnTo>
                  <a:pt x="3884245" y="1533111"/>
                </a:lnTo>
                <a:lnTo>
                  <a:pt x="3888260" y="1533977"/>
                </a:lnTo>
                <a:lnTo>
                  <a:pt x="3894879" y="1543938"/>
                </a:lnTo>
                <a:lnTo>
                  <a:pt x="3897158" y="1543938"/>
                </a:lnTo>
                <a:lnTo>
                  <a:pt x="3899437" y="1547619"/>
                </a:lnTo>
                <a:lnTo>
                  <a:pt x="3901498" y="1558663"/>
                </a:lnTo>
                <a:lnTo>
                  <a:pt x="3904320" y="1563318"/>
                </a:lnTo>
                <a:lnTo>
                  <a:pt x="3906925" y="1571980"/>
                </a:lnTo>
                <a:lnTo>
                  <a:pt x="3908661" y="1573062"/>
                </a:lnTo>
                <a:lnTo>
                  <a:pt x="3909095" y="1576203"/>
                </a:lnTo>
                <a:lnTo>
                  <a:pt x="3917017" y="1578043"/>
                </a:lnTo>
                <a:lnTo>
                  <a:pt x="3922659" y="1580966"/>
                </a:lnTo>
                <a:lnTo>
                  <a:pt x="3926458" y="1587787"/>
                </a:lnTo>
                <a:lnTo>
                  <a:pt x="3927760" y="1588004"/>
                </a:lnTo>
                <a:lnTo>
                  <a:pt x="3929170" y="1590386"/>
                </a:lnTo>
                <a:lnTo>
                  <a:pt x="3932317" y="1592119"/>
                </a:lnTo>
                <a:lnTo>
                  <a:pt x="3930581" y="1592768"/>
                </a:lnTo>
                <a:lnTo>
                  <a:pt x="3928736" y="1595799"/>
                </a:lnTo>
                <a:lnTo>
                  <a:pt x="3931666" y="1599589"/>
                </a:lnTo>
                <a:lnTo>
                  <a:pt x="3938069" y="1607601"/>
                </a:lnTo>
                <a:lnTo>
                  <a:pt x="3935790" y="1607060"/>
                </a:lnTo>
                <a:lnTo>
                  <a:pt x="3933294" y="1607493"/>
                </a:lnTo>
                <a:lnTo>
                  <a:pt x="3931449" y="1605544"/>
                </a:lnTo>
                <a:lnTo>
                  <a:pt x="3929279" y="1604570"/>
                </a:lnTo>
                <a:lnTo>
                  <a:pt x="3925698" y="1605327"/>
                </a:lnTo>
                <a:lnTo>
                  <a:pt x="3923636" y="1604786"/>
                </a:lnTo>
                <a:lnTo>
                  <a:pt x="3920380" y="1605652"/>
                </a:lnTo>
                <a:lnTo>
                  <a:pt x="3922117" y="1605652"/>
                </a:lnTo>
                <a:lnTo>
                  <a:pt x="3925047" y="1606627"/>
                </a:lnTo>
                <a:lnTo>
                  <a:pt x="3926675" y="1606085"/>
                </a:lnTo>
                <a:lnTo>
                  <a:pt x="3929170" y="1605652"/>
                </a:lnTo>
                <a:lnTo>
                  <a:pt x="3931124" y="1609009"/>
                </a:lnTo>
                <a:lnTo>
                  <a:pt x="3935899" y="1611715"/>
                </a:lnTo>
                <a:lnTo>
                  <a:pt x="3938069" y="1612148"/>
                </a:lnTo>
                <a:lnTo>
                  <a:pt x="3943495" y="1620918"/>
                </a:lnTo>
                <a:lnTo>
                  <a:pt x="3943495" y="1625141"/>
                </a:lnTo>
                <a:lnTo>
                  <a:pt x="3936658" y="1631962"/>
                </a:lnTo>
                <a:lnTo>
                  <a:pt x="3940999" y="1633045"/>
                </a:lnTo>
                <a:lnTo>
                  <a:pt x="3944580" y="1637159"/>
                </a:lnTo>
                <a:lnTo>
                  <a:pt x="3946425" y="1634127"/>
                </a:lnTo>
                <a:lnTo>
                  <a:pt x="3946967" y="1629039"/>
                </a:lnTo>
                <a:lnTo>
                  <a:pt x="3953912" y="1628822"/>
                </a:lnTo>
                <a:lnTo>
                  <a:pt x="3964981" y="1629363"/>
                </a:lnTo>
                <a:lnTo>
                  <a:pt x="3972902" y="1635535"/>
                </a:lnTo>
                <a:lnTo>
                  <a:pt x="3973987" y="1641382"/>
                </a:lnTo>
                <a:lnTo>
                  <a:pt x="3976049" y="1643980"/>
                </a:lnTo>
                <a:lnTo>
                  <a:pt x="3973445" y="1650368"/>
                </a:lnTo>
                <a:lnTo>
                  <a:pt x="3973011" y="1657297"/>
                </a:lnTo>
                <a:lnTo>
                  <a:pt x="3970298" y="1658380"/>
                </a:lnTo>
                <a:lnTo>
                  <a:pt x="3967476" y="1662061"/>
                </a:lnTo>
                <a:lnTo>
                  <a:pt x="3966826" y="1660220"/>
                </a:lnTo>
                <a:lnTo>
                  <a:pt x="3964330" y="1659679"/>
                </a:lnTo>
                <a:lnTo>
                  <a:pt x="3962810" y="1662169"/>
                </a:lnTo>
                <a:lnTo>
                  <a:pt x="3966717" y="1662602"/>
                </a:lnTo>
                <a:lnTo>
                  <a:pt x="3965632" y="1664335"/>
                </a:lnTo>
                <a:lnTo>
                  <a:pt x="3967259" y="1664659"/>
                </a:lnTo>
                <a:lnTo>
                  <a:pt x="3965849" y="1666716"/>
                </a:lnTo>
                <a:lnTo>
                  <a:pt x="3962485" y="1669207"/>
                </a:lnTo>
                <a:lnTo>
                  <a:pt x="3960315" y="1667367"/>
                </a:lnTo>
                <a:lnTo>
                  <a:pt x="3958361" y="1669315"/>
                </a:lnTo>
                <a:lnTo>
                  <a:pt x="3955648" y="1671697"/>
                </a:lnTo>
                <a:lnTo>
                  <a:pt x="3959338" y="1671697"/>
                </a:lnTo>
                <a:lnTo>
                  <a:pt x="3960315" y="1674837"/>
                </a:lnTo>
                <a:lnTo>
                  <a:pt x="3956734" y="1676569"/>
                </a:lnTo>
                <a:lnTo>
                  <a:pt x="3953695" y="1676245"/>
                </a:lnTo>
                <a:lnTo>
                  <a:pt x="3949138" y="1679384"/>
                </a:lnTo>
                <a:lnTo>
                  <a:pt x="3952393" y="1678193"/>
                </a:lnTo>
                <a:lnTo>
                  <a:pt x="3956082" y="1679168"/>
                </a:lnTo>
                <a:lnTo>
                  <a:pt x="3955757" y="1679926"/>
                </a:lnTo>
                <a:lnTo>
                  <a:pt x="3954455" y="1680142"/>
                </a:lnTo>
                <a:lnTo>
                  <a:pt x="3953044" y="1681549"/>
                </a:lnTo>
                <a:lnTo>
                  <a:pt x="3954563" y="1681875"/>
                </a:lnTo>
                <a:lnTo>
                  <a:pt x="3958687" y="1683390"/>
                </a:lnTo>
                <a:lnTo>
                  <a:pt x="3961292" y="1682957"/>
                </a:lnTo>
                <a:lnTo>
                  <a:pt x="3965740" y="1681225"/>
                </a:lnTo>
                <a:lnTo>
                  <a:pt x="3971926" y="1681008"/>
                </a:lnTo>
                <a:lnTo>
                  <a:pt x="3970841" y="1683932"/>
                </a:lnTo>
                <a:lnTo>
                  <a:pt x="3971818" y="1686314"/>
                </a:lnTo>
                <a:lnTo>
                  <a:pt x="3971600" y="1689887"/>
                </a:lnTo>
                <a:lnTo>
                  <a:pt x="3968128" y="1690644"/>
                </a:lnTo>
                <a:lnTo>
                  <a:pt x="3962593" y="1694434"/>
                </a:lnTo>
                <a:lnTo>
                  <a:pt x="3963136" y="1697032"/>
                </a:lnTo>
                <a:lnTo>
                  <a:pt x="3960748" y="1696491"/>
                </a:lnTo>
                <a:lnTo>
                  <a:pt x="3958361" y="1696708"/>
                </a:lnTo>
                <a:lnTo>
                  <a:pt x="3954889" y="1699848"/>
                </a:lnTo>
                <a:lnTo>
                  <a:pt x="3951091" y="1700605"/>
                </a:lnTo>
                <a:lnTo>
                  <a:pt x="3947509" y="1703528"/>
                </a:lnTo>
                <a:lnTo>
                  <a:pt x="3945231" y="1703095"/>
                </a:lnTo>
                <a:lnTo>
                  <a:pt x="3940456" y="1701580"/>
                </a:lnTo>
                <a:lnTo>
                  <a:pt x="3935573" y="1702554"/>
                </a:lnTo>
                <a:lnTo>
                  <a:pt x="3927760" y="1702663"/>
                </a:lnTo>
                <a:lnTo>
                  <a:pt x="3924395" y="1704936"/>
                </a:lnTo>
                <a:lnTo>
                  <a:pt x="3921357" y="1703204"/>
                </a:lnTo>
                <a:lnTo>
                  <a:pt x="3920706" y="1701471"/>
                </a:lnTo>
                <a:lnTo>
                  <a:pt x="3918210" y="1703312"/>
                </a:lnTo>
                <a:lnTo>
                  <a:pt x="3916365" y="1703528"/>
                </a:lnTo>
                <a:lnTo>
                  <a:pt x="3912892" y="1702771"/>
                </a:lnTo>
                <a:lnTo>
                  <a:pt x="3907901" y="1706019"/>
                </a:lnTo>
                <a:lnTo>
                  <a:pt x="3904428" y="1705044"/>
                </a:lnTo>
                <a:lnTo>
                  <a:pt x="3899220" y="1707643"/>
                </a:lnTo>
                <a:lnTo>
                  <a:pt x="3897809" y="1711216"/>
                </a:lnTo>
                <a:lnTo>
                  <a:pt x="3894771" y="1710133"/>
                </a:lnTo>
                <a:lnTo>
                  <a:pt x="3889128" y="1709916"/>
                </a:lnTo>
                <a:lnTo>
                  <a:pt x="3887283" y="1710675"/>
                </a:lnTo>
                <a:lnTo>
                  <a:pt x="3882183" y="1707102"/>
                </a:lnTo>
                <a:lnTo>
                  <a:pt x="3877625" y="1706777"/>
                </a:lnTo>
                <a:lnTo>
                  <a:pt x="3869161" y="1708726"/>
                </a:lnTo>
                <a:lnTo>
                  <a:pt x="3868293" y="1710350"/>
                </a:lnTo>
                <a:lnTo>
                  <a:pt x="3866122" y="1710675"/>
                </a:lnTo>
                <a:lnTo>
                  <a:pt x="3863518" y="1713165"/>
                </a:lnTo>
                <a:lnTo>
                  <a:pt x="3864277" y="1717387"/>
                </a:lnTo>
                <a:lnTo>
                  <a:pt x="3863518" y="1719661"/>
                </a:lnTo>
                <a:lnTo>
                  <a:pt x="3860479" y="1721068"/>
                </a:lnTo>
                <a:lnTo>
                  <a:pt x="3861239" y="1723450"/>
                </a:lnTo>
                <a:lnTo>
                  <a:pt x="3857441" y="1723667"/>
                </a:lnTo>
                <a:lnTo>
                  <a:pt x="3854186" y="1720960"/>
                </a:lnTo>
                <a:lnTo>
                  <a:pt x="3851798" y="1721177"/>
                </a:lnTo>
                <a:lnTo>
                  <a:pt x="3849844" y="1718470"/>
                </a:lnTo>
                <a:lnTo>
                  <a:pt x="3847783" y="1719553"/>
                </a:lnTo>
                <a:lnTo>
                  <a:pt x="3845070" y="1719120"/>
                </a:lnTo>
                <a:lnTo>
                  <a:pt x="3841597" y="1720744"/>
                </a:lnTo>
                <a:lnTo>
                  <a:pt x="3837148" y="1719553"/>
                </a:lnTo>
                <a:lnTo>
                  <a:pt x="3835737" y="1723017"/>
                </a:lnTo>
                <a:lnTo>
                  <a:pt x="3833784" y="1723017"/>
                </a:lnTo>
                <a:lnTo>
                  <a:pt x="3830963" y="1725832"/>
                </a:lnTo>
                <a:lnTo>
                  <a:pt x="3829769" y="1724316"/>
                </a:lnTo>
                <a:lnTo>
                  <a:pt x="3827382" y="1727456"/>
                </a:lnTo>
                <a:lnTo>
                  <a:pt x="3828575" y="1729297"/>
                </a:lnTo>
                <a:lnTo>
                  <a:pt x="3825971" y="1731679"/>
                </a:lnTo>
                <a:lnTo>
                  <a:pt x="3823909" y="1727889"/>
                </a:lnTo>
                <a:lnTo>
                  <a:pt x="3818700" y="1726590"/>
                </a:lnTo>
                <a:lnTo>
                  <a:pt x="3818484" y="1729838"/>
                </a:lnTo>
                <a:lnTo>
                  <a:pt x="3814251" y="1729513"/>
                </a:lnTo>
                <a:lnTo>
                  <a:pt x="3814251" y="1725940"/>
                </a:lnTo>
                <a:lnTo>
                  <a:pt x="3818158" y="1723234"/>
                </a:lnTo>
                <a:lnTo>
                  <a:pt x="3820653" y="1724100"/>
                </a:lnTo>
                <a:lnTo>
                  <a:pt x="3826297" y="1720094"/>
                </a:lnTo>
                <a:lnTo>
                  <a:pt x="3827382" y="1717604"/>
                </a:lnTo>
                <a:lnTo>
                  <a:pt x="3829335" y="1717495"/>
                </a:lnTo>
                <a:lnTo>
                  <a:pt x="3830529" y="1712840"/>
                </a:lnTo>
                <a:lnTo>
                  <a:pt x="3835195" y="1712082"/>
                </a:lnTo>
                <a:lnTo>
                  <a:pt x="3836280" y="1709916"/>
                </a:lnTo>
                <a:lnTo>
                  <a:pt x="3840404" y="1706127"/>
                </a:lnTo>
                <a:lnTo>
                  <a:pt x="3841055" y="1698007"/>
                </a:lnTo>
                <a:lnTo>
                  <a:pt x="3844962" y="1698007"/>
                </a:lnTo>
                <a:lnTo>
                  <a:pt x="3847891" y="1695083"/>
                </a:lnTo>
                <a:lnTo>
                  <a:pt x="3847783" y="1691510"/>
                </a:lnTo>
                <a:lnTo>
                  <a:pt x="3854945" y="1689670"/>
                </a:lnTo>
                <a:lnTo>
                  <a:pt x="3864820" y="1690753"/>
                </a:lnTo>
                <a:lnTo>
                  <a:pt x="3868401" y="1692702"/>
                </a:lnTo>
                <a:lnTo>
                  <a:pt x="3871440" y="1691510"/>
                </a:lnTo>
                <a:lnTo>
                  <a:pt x="3875346" y="1691727"/>
                </a:lnTo>
                <a:lnTo>
                  <a:pt x="3875563" y="1685339"/>
                </a:lnTo>
                <a:lnTo>
                  <a:pt x="3881315" y="1679818"/>
                </a:lnTo>
                <a:lnTo>
                  <a:pt x="3886957" y="1673213"/>
                </a:lnTo>
                <a:lnTo>
                  <a:pt x="3882833" y="1675161"/>
                </a:lnTo>
                <a:lnTo>
                  <a:pt x="3880989" y="1677977"/>
                </a:lnTo>
                <a:lnTo>
                  <a:pt x="3875997" y="1679818"/>
                </a:lnTo>
                <a:lnTo>
                  <a:pt x="3872308" y="1681333"/>
                </a:lnTo>
                <a:lnTo>
                  <a:pt x="3870571" y="1684365"/>
                </a:lnTo>
                <a:lnTo>
                  <a:pt x="3862867" y="1684473"/>
                </a:lnTo>
                <a:lnTo>
                  <a:pt x="3859829" y="1680900"/>
                </a:lnTo>
                <a:lnTo>
                  <a:pt x="3856356" y="1676894"/>
                </a:lnTo>
                <a:lnTo>
                  <a:pt x="3852991" y="1677869"/>
                </a:lnTo>
                <a:lnTo>
                  <a:pt x="3852991" y="1679168"/>
                </a:lnTo>
                <a:lnTo>
                  <a:pt x="3846263" y="1678951"/>
                </a:lnTo>
                <a:lnTo>
                  <a:pt x="3846806" y="1676677"/>
                </a:lnTo>
                <a:lnTo>
                  <a:pt x="3850713" y="1675595"/>
                </a:lnTo>
                <a:lnTo>
                  <a:pt x="3845830" y="1674404"/>
                </a:lnTo>
                <a:lnTo>
                  <a:pt x="3845287" y="1671589"/>
                </a:lnTo>
                <a:lnTo>
                  <a:pt x="3839102" y="1673646"/>
                </a:lnTo>
                <a:lnTo>
                  <a:pt x="3835412" y="1675920"/>
                </a:lnTo>
                <a:lnTo>
                  <a:pt x="3832048" y="1676894"/>
                </a:lnTo>
                <a:lnTo>
                  <a:pt x="3829878" y="1675595"/>
                </a:lnTo>
                <a:lnTo>
                  <a:pt x="3831288" y="1674187"/>
                </a:lnTo>
                <a:lnTo>
                  <a:pt x="3825537" y="1673213"/>
                </a:lnTo>
                <a:lnTo>
                  <a:pt x="3828793" y="1671697"/>
                </a:lnTo>
                <a:lnTo>
                  <a:pt x="3828466" y="1668341"/>
                </a:lnTo>
                <a:lnTo>
                  <a:pt x="3823909" y="1667691"/>
                </a:lnTo>
                <a:lnTo>
                  <a:pt x="3829661" y="1664010"/>
                </a:lnTo>
                <a:lnTo>
                  <a:pt x="3833241" y="1664010"/>
                </a:lnTo>
                <a:lnTo>
                  <a:pt x="3838125" y="1660978"/>
                </a:lnTo>
                <a:lnTo>
                  <a:pt x="3839970" y="1660870"/>
                </a:lnTo>
                <a:lnTo>
                  <a:pt x="3843768" y="1658055"/>
                </a:lnTo>
                <a:lnTo>
                  <a:pt x="3847566" y="1656756"/>
                </a:lnTo>
                <a:lnTo>
                  <a:pt x="3852775" y="1646686"/>
                </a:lnTo>
                <a:lnTo>
                  <a:pt x="3850930" y="1646253"/>
                </a:lnTo>
                <a:lnTo>
                  <a:pt x="3849193" y="1643006"/>
                </a:lnTo>
                <a:lnTo>
                  <a:pt x="3852232" y="1640840"/>
                </a:lnTo>
                <a:lnTo>
                  <a:pt x="3849411" y="1637917"/>
                </a:lnTo>
                <a:lnTo>
                  <a:pt x="3850062" y="1633694"/>
                </a:lnTo>
                <a:lnTo>
                  <a:pt x="3842032" y="1635860"/>
                </a:lnTo>
                <a:lnTo>
                  <a:pt x="3841489" y="1637917"/>
                </a:lnTo>
                <a:lnTo>
                  <a:pt x="3839644" y="1637267"/>
                </a:lnTo>
                <a:lnTo>
                  <a:pt x="3836063" y="1637917"/>
                </a:lnTo>
                <a:lnTo>
                  <a:pt x="3838559" y="1634452"/>
                </a:lnTo>
                <a:lnTo>
                  <a:pt x="3844202" y="1630879"/>
                </a:lnTo>
                <a:lnTo>
                  <a:pt x="3848325" y="1625141"/>
                </a:lnTo>
                <a:lnTo>
                  <a:pt x="3856139" y="1621351"/>
                </a:lnTo>
                <a:lnTo>
                  <a:pt x="3859611" y="1621784"/>
                </a:lnTo>
                <a:lnTo>
                  <a:pt x="3867207" y="1619402"/>
                </a:lnTo>
                <a:lnTo>
                  <a:pt x="3870138" y="1622434"/>
                </a:lnTo>
                <a:lnTo>
                  <a:pt x="3873935" y="1623192"/>
                </a:lnTo>
                <a:lnTo>
                  <a:pt x="3871548" y="1621784"/>
                </a:lnTo>
                <a:lnTo>
                  <a:pt x="3869378" y="1617995"/>
                </a:lnTo>
                <a:lnTo>
                  <a:pt x="3871982" y="1617021"/>
                </a:lnTo>
                <a:lnTo>
                  <a:pt x="3874695" y="1620918"/>
                </a:lnTo>
                <a:lnTo>
                  <a:pt x="3877842" y="1620702"/>
                </a:lnTo>
                <a:lnTo>
                  <a:pt x="3879795" y="1619294"/>
                </a:lnTo>
                <a:lnTo>
                  <a:pt x="3876974" y="1618970"/>
                </a:lnTo>
                <a:lnTo>
                  <a:pt x="3873501" y="1616046"/>
                </a:lnTo>
                <a:lnTo>
                  <a:pt x="3870680" y="1612257"/>
                </a:lnTo>
                <a:lnTo>
                  <a:pt x="3873176" y="1607384"/>
                </a:lnTo>
                <a:lnTo>
                  <a:pt x="3871765" y="1600996"/>
                </a:lnTo>
                <a:lnTo>
                  <a:pt x="3876431" y="1597315"/>
                </a:lnTo>
                <a:lnTo>
                  <a:pt x="3874912" y="1596341"/>
                </a:lnTo>
                <a:lnTo>
                  <a:pt x="3876648" y="1590711"/>
                </a:lnTo>
                <a:lnTo>
                  <a:pt x="3871873" y="1589953"/>
                </a:lnTo>
                <a:lnTo>
                  <a:pt x="3868075" y="1594609"/>
                </a:lnTo>
                <a:lnTo>
                  <a:pt x="3868075" y="1589087"/>
                </a:lnTo>
                <a:lnTo>
                  <a:pt x="3865145" y="1590711"/>
                </a:lnTo>
                <a:lnTo>
                  <a:pt x="3859394" y="1580317"/>
                </a:lnTo>
                <a:lnTo>
                  <a:pt x="3864060" y="1566891"/>
                </a:lnTo>
                <a:lnTo>
                  <a:pt x="3871873" y="1564834"/>
                </a:lnTo>
                <a:lnTo>
                  <a:pt x="3860045" y="1564293"/>
                </a:lnTo>
                <a:lnTo>
                  <a:pt x="3858852" y="1568299"/>
                </a:lnTo>
                <a:lnTo>
                  <a:pt x="3854511" y="1568191"/>
                </a:lnTo>
                <a:lnTo>
                  <a:pt x="3854511" y="1570139"/>
                </a:lnTo>
                <a:lnTo>
                  <a:pt x="3849736" y="1570897"/>
                </a:lnTo>
                <a:lnTo>
                  <a:pt x="3843009" y="1566783"/>
                </a:lnTo>
                <a:lnTo>
                  <a:pt x="3840838" y="1567324"/>
                </a:lnTo>
                <a:lnTo>
                  <a:pt x="3844310" y="1570031"/>
                </a:lnTo>
                <a:lnTo>
                  <a:pt x="3844093" y="1574795"/>
                </a:lnTo>
                <a:lnTo>
                  <a:pt x="3835737" y="1568732"/>
                </a:lnTo>
                <a:lnTo>
                  <a:pt x="3832482" y="1569706"/>
                </a:lnTo>
                <a:lnTo>
                  <a:pt x="3834001" y="1575769"/>
                </a:lnTo>
                <a:lnTo>
                  <a:pt x="3829226" y="1569165"/>
                </a:lnTo>
                <a:lnTo>
                  <a:pt x="3829010" y="1564185"/>
                </a:lnTo>
                <a:lnTo>
                  <a:pt x="3832482" y="1566458"/>
                </a:lnTo>
                <a:lnTo>
                  <a:pt x="3831614" y="1561803"/>
                </a:lnTo>
                <a:lnTo>
                  <a:pt x="3835521" y="1551517"/>
                </a:lnTo>
                <a:lnTo>
                  <a:pt x="3839427" y="1547619"/>
                </a:lnTo>
                <a:lnTo>
                  <a:pt x="3837908" y="1543505"/>
                </a:lnTo>
                <a:lnTo>
                  <a:pt x="3835303" y="1542855"/>
                </a:lnTo>
                <a:lnTo>
                  <a:pt x="3834218" y="1538199"/>
                </a:lnTo>
                <a:lnTo>
                  <a:pt x="3835846" y="1531812"/>
                </a:lnTo>
                <a:lnTo>
                  <a:pt x="3840187" y="1533002"/>
                </a:lnTo>
                <a:lnTo>
                  <a:pt x="3835086" y="1529213"/>
                </a:lnTo>
                <a:lnTo>
                  <a:pt x="3835954" y="1524232"/>
                </a:lnTo>
                <a:lnTo>
                  <a:pt x="3833892" y="1525207"/>
                </a:lnTo>
                <a:lnTo>
                  <a:pt x="3834436" y="1529105"/>
                </a:lnTo>
                <a:lnTo>
                  <a:pt x="3832048" y="1534626"/>
                </a:lnTo>
                <a:lnTo>
                  <a:pt x="3830637" y="1529971"/>
                </a:lnTo>
                <a:lnTo>
                  <a:pt x="3827707" y="1532461"/>
                </a:lnTo>
                <a:lnTo>
                  <a:pt x="3827273" y="1535385"/>
                </a:lnTo>
                <a:lnTo>
                  <a:pt x="3825645" y="1534193"/>
                </a:lnTo>
                <a:lnTo>
                  <a:pt x="3826080" y="1529213"/>
                </a:lnTo>
                <a:lnTo>
                  <a:pt x="3830637" y="1522392"/>
                </a:lnTo>
                <a:lnTo>
                  <a:pt x="3824669" y="1529538"/>
                </a:lnTo>
                <a:lnTo>
                  <a:pt x="3822824" y="1529538"/>
                </a:lnTo>
                <a:lnTo>
                  <a:pt x="3824777" y="1537983"/>
                </a:lnTo>
                <a:lnTo>
                  <a:pt x="3822173" y="1541231"/>
                </a:lnTo>
                <a:lnTo>
                  <a:pt x="3822390" y="1544371"/>
                </a:lnTo>
                <a:lnTo>
                  <a:pt x="3820219" y="1549352"/>
                </a:lnTo>
                <a:lnTo>
                  <a:pt x="3820871" y="1552924"/>
                </a:lnTo>
                <a:lnTo>
                  <a:pt x="3815771" y="1552924"/>
                </a:lnTo>
                <a:lnTo>
                  <a:pt x="3815662" y="1551300"/>
                </a:lnTo>
                <a:lnTo>
                  <a:pt x="3817940" y="1549026"/>
                </a:lnTo>
                <a:lnTo>
                  <a:pt x="3818484" y="1542206"/>
                </a:lnTo>
                <a:lnTo>
                  <a:pt x="3821522" y="1537442"/>
                </a:lnTo>
                <a:lnTo>
                  <a:pt x="3819785" y="1538199"/>
                </a:lnTo>
                <a:lnTo>
                  <a:pt x="3818484" y="1536034"/>
                </a:lnTo>
                <a:lnTo>
                  <a:pt x="3820219" y="1533436"/>
                </a:lnTo>
                <a:lnTo>
                  <a:pt x="3819569" y="1528997"/>
                </a:lnTo>
                <a:lnTo>
                  <a:pt x="3822173" y="1522284"/>
                </a:lnTo>
                <a:lnTo>
                  <a:pt x="3820871" y="1521526"/>
                </a:lnTo>
                <a:lnTo>
                  <a:pt x="3823909" y="1515787"/>
                </a:lnTo>
                <a:lnTo>
                  <a:pt x="3823584" y="1514488"/>
                </a:lnTo>
                <a:lnTo>
                  <a:pt x="3825971" y="1508858"/>
                </a:lnTo>
                <a:lnTo>
                  <a:pt x="3828793" y="1507775"/>
                </a:lnTo>
                <a:lnTo>
                  <a:pt x="3827382" y="1506910"/>
                </a:lnTo>
                <a:lnTo>
                  <a:pt x="3828901" y="1503986"/>
                </a:lnTo>
                <a:lnTo>
                  <a:pt x="3819243" y="1513730"/>
                </a:lnTo>
                <a:lnTo>
                  <a:pt x="3817398" y="1511781"/>
                </a:lnTo>
                <a:lnTo>
                  <a:pt x="3816204" y="1512214"/>
                </a:lnTo>
                <a:lnTo>
                  <a:pt x="3812514" y="1508750"/>
                </a:lnTo>
                <a:lnTo>
                  <a:pt x="3815227" y="1508750"/>
                </a:lnTo>
                <a:lnTo>
                  <a:pt x="3815771" y="1507667"/>
                </a:lnTo>
                <a:lnTo>
                  <a:pt x="3813383" y="1507018"/>
                </a:lnTo>
                <a:lnTo>
                  <a:pt x="3809802" y="1507234"/>
                </a:lnTo>
                <a:lnTo>
                  <a:pt x="3808283" y="1506259"/>
                </a:lnTo>
                <a:lnTo>
                  <a:pt x="3810019" y="1504311"/>
                </a:lnTo>
                <a:lnTo>
                  <a:pt x="3814251" y="1504202"/>
                </a:lnTo>
                <a:lnTo>
                  <a:pt x="3816313" y="1502686"/>
                </a:lnTo>
                <a:lnTo>
                  <a:pt x="3817289" y="1500846"/>
                </a:lnTo>
                <a:lnTo>
                  <a:pt x="3815553" y="1499655"/>
                </a:lnTo>
                <a:lnTo>
                  <a:pt x="3816313" y="1496840"/>
                </a:lnTo>
                <a:lnTo>
                  <a:pt x="3820653" y="1498464"/>
                </a:lnTo>
                <a:lnTo>
                  <a:pt x="3820002" y="1496516"/>
                </a:lnTo>
                <a:lnTo>
                  <a:pt x="3817398" y="1495541"/>
                </a:lnTo>
                <a:lnTo>
                  <a:pt x="3818917" y="1493375"/>
                </a:lnTo>
                <a:lnTo>
                  <a:pt x="3821087" y="1493051"/>
                </a:lnTo>
                <a:lnTo>
                  <a:pt x="3819569" y="1491968"/>
                </a:lnTo>
                <a:lnTo>
                  <a:pt x="3820437" y="1489369"/>
                </a:lnTo>
                <a:lnTo>
                  <a:pt x="3821522" y="1488612"/>
                </a:lnTo>
                <a:lnTo>
                  <a:pt x="3824344" y="1489802"/>
                </a:lnTo>
                <a:lnTo>
                  <a:pt x="3822824" y="1487853"/>
                </a:lnTo>
                <a:lnTo>
                  <a:pt x="3823692" y="1486879"/>
                </a:lnTo>
                <a:lnTo>
                  <a:pt x="3819894" y="1488287"/>
                </a:lnTo>
                <a:lnTo>
                  <a:pt x="3818592" y="1487529"/>
                </a:lnTo>
                <a:lnTo>
                  <a:pt x="3819026" y="1486446"/>
                </a:lnTo>
                <a:lnTo>
                  <a:pt x="3822932" y="1484498"/>
                </a:lnTo>
                <a:lnTo>
                  <a:pt x="3816964" y="1485472"/>
                </a:lnTo>
                <a:lnTo>
                  <a:pt x="3817072" y="1483739"/>
                </a:lnTo>
                <a:lnTo>
                  <a:pt x="3816313" y="1478434"/>
                </a:lnTo>
                <a:lnTo>
                  <a:pt x="3819569" y="1480275"/>
                </a:lnTo>
                <a:lnTo>
                  <a:pt x="3822824" y="1479084"/>
                </a:lnTo>
                <a:lnTo>
                  <a:pt x="3820111" y="1478976"/>
                </a:lnTo>
                <a:lnTo>
                  <a:pt x="3817289" y="1475835"/>
                </a:lnTo>
                <a:lnTo>
                  <a:pt x="3818700" y="1473887"/>
                </a:lnTo>
                <a:lnTo>
                  <a:pt x="3816856" y="1471829"/>
                </a:lnTo>
                <a:lnTo>
                  <a:pt x="3818484" y="1468149"/>
                </a:lnTo>
                <a:lnTo>
                  <a:pt x="3820328" y="1471721"/>
                </a:lnTo>
                <a:lnTo>
                  <a:pt x="3821413" y="1469989"/>
                </a:lnTo>
                <a:lnTo>
                  <a:pt x="3820545" y="1467824"/>
                </a:lnTo>
                <a:lnTo>
                  <a:pt x="3820653" y="1466200"/>
                </a:lnTo>
                <a:lnTo>
                  <a:pt x="3824126" y="1468473"/>
                </a:lnTo>
                <a:lnTo>
                  <a:pt x="3825862" y="1466957"/>
                </a:lnTo>
                <a:lnTo>
                  <a:pt x="3830529" y="1469339"/>
                </a:lnTo>
                <a:lnTo>
                  <a:pt x="3828901" y="1466416"/>
                </a:lnTo>
                <a:lnTo>
                  <a:pt x="3824344" y="1462302"/>
                </a:lnTo>
                <a:lnTo>
                  <a:pt x="3826188" y="1462194"/>
                </a:lnTo>
                <a:lnTo>
                  <a:pt x="3827816" y="1458945"/>
                </a:lnTo>
                <a:lnTo>
                  <a:pt x="3825971" y="1455806"/>
                </a:lnTo>
                <a:lnTo>
                  <a:pt x="3829878" y="1454939"/>
                </a:lnTo>
                <a:lnTo>
                  <a:pt x="3829661" y="1451150"/>
                </a:lnTo>
                <a:lnTo>
                  <a:pt x="3830746" y="1451150"/>
                </a:lnTo>
                <a:lnTo>
                  <a:pt x="3830203" y="1448119"/>
                </a:lnTo>
                <a:lnTo>
                  <a:pt x="3832048" y="1446711"/>
                </a:lnTo>
                <a:lnTo>
                  <a:pt x="3832916" y="1443354"/>
                </a:lnTo>
                <a:lnTo>
                  <a:pt x="3838234" y="1445845"/>
                </a:lnTo>
                <a:lnTo>
                  <a:pt x="3837039" y="1448876"/>
                </a:lnTo>
                <a:lnTo>
                  <a:pt x="3840946" y="1445411"/>
                </a:lnTo>
                <a:lnTo>
                  <a:pt x="3842900" y="1446278"/>
                </a:lnTo>
                <a:lnTo>
                  <a:pt x="3842465" y="1448335"/>
                </a:lnTo>
                <a:lnTo>
                  <a:pt x="3844527" y="1446494"/>
                </a:lnTo>
                <a:lnTo>
                  <a:pt x="3846480" y="1446386"/>
                </a:lnTo>
                <a:lnTo>
                  <a:pt x="3850062" y="1444978"/>
                </a:lnTo>
                <a:lnTo>
                  <a:pt x="3854186" y="1445411"/>
                </a:lnTo>
                <a:lnTo>
                  <a:pt x="3858634" y="1443354"/>
                </a:lnTo>
                <a:lnTo>
                  <a:pt x="3861673" y="1444329"/>
                </a:lnTo>
                <a:close/>
                <a:moveTo>
                  <a:pt x="6670155" y="1441445"/>
                </a:moveTo>
                <a:lnTo>
                  <a:pt x="6671494" y="1443354"/>
                </a:lnTo>
                <a:lnTo>
                  <a:pt x="6670843" y="1445844"/>
                </a:lnTo>
                <a:lnTo>
                  <a:pt x="6671602" y="1448334"/>
                </a:lnTo>
                <a:lnTo>
                  <a:pt x="6672150" y="1448334"/>
                </a:lnTo>
                <a:lnTo>
                  <a:pt x="6671494" y="1446279"/>
                </a:lnTo>
                <a:lnTo>
                  <a:pt x="6672146" y="1443789"/>
                </a:lnTo>
                <a:lnTo>
                  <a:pt x="6670627" y="1441623"/>
                </a:lnTo>
                <a:close/>
                <a:moveTo>
                  <a:pt x="4328947" y="1441082"/>
                </a:moveTo>
                <a:lnTo>
                  <a:pt x="4331442" y="1443139"/>
                </a:lnTo>
                <a:lnTo>
                  <a:pt x="4328947" y="1446278"/>
                </a:lnTo>
                <a:lnTo>
                  <a:pt x="4326885" y="1442381"/>
                </a:lnTo>
                <a:close/>
                <a:moveTo>
                  <a:pt x="2262029" y="1440431"/>
                </a:moveTo>
                <a:lnTo>
                  <a:pt x="2255626" y="1446927"/>
                </a:lnTo>
                <a:lnTo>
                  <a:pt x="2255554" y="1447325"/>
                </a:lnTo>
                <a:lnTo>
                  <a:pt x="2261773" y="1441014"/>
                </a:lnTo>
                <a:close/>
                <a:moveTo>
                  <a:pt x="2272122" y="1440216"/>
                </a:moveTo>
                <a:lnTo>
                  <a:pt x="2273532" y="1440216"/>
                </a:lnTo>
                <a:lnTo>
                  <a:pt x="2273532" y="1445846"/>
                </a:lnTo>
                <a:lnTo>
                  <a:pt x="2269735" y="1447904"/>
                </a:lnTo>
                <a:lnTo>
                  <a:pt x="2267890" y="1447904"/>
                </a:lnTo>
                <a:lnTo>
                  <a:pt x="2271037" y="1443897"/>
                </a:lnTo>
                <a:close/>
                <a:moveTo>
                  <a:pt x="6662596" y="1437726"/>
                </a:moveTo>
                <a:lnTo>
                  <a:pt x="6662286" y="1437880"/>
                </a:lnTo>
                <a:lnTo>
                  <a:pt x="6664441" y="1440322"/>
                </a:lnTo>
                <a:lnTo>
                  <a:pt x="6664931" y="1440258"/>
                </a:lnTo>
                <a:close/>
                <a:moveTo>
                  <a:pt x="6655326" y="1437726"/>
                </a:moveTo>
                <a:lnTo>
                  <a:pt x="6655316" y="1437732"/>
                </a:lnTo>
                <a:lnTo>
                  <a:pt x="6656844" y="1438374"/>
                </a:lnTo>
                <a:lnTo>
                  <a:pt x="6656869" y="1438374"/>
                </a:lnTo>
                <a:close/>
                <a:moveTo>
                  <a:pt x="7377287" y="1436859"/>
                </a:moveTo>
                <a:lnTo>
                  <a:pt x="7384883" y="1443463"/>
                </a:lnTo>
                <a:lnTo>
                  <a:pt x="7386294" y="1448119"/>
                </a:lnTo>
                <a:lnTo>
                  <a:pt x="7383689" y="1450501"/>
                </a:lnTo>
                <a:lnTo>
                  <a:pt x="7382929" y="1454291"/>
                </a:lnTo>
                <a:lnTo>
                  <a:pt x="7383255" y="1459271"/>
                </a:lnTo>
                <a:lnTo>
                  <a:pt x="7380434" y="1463601"/>
                </a:lnTo>
                <a:lnTo>
                  <a:pt x="7376527" y="1465550"/>
                </a:lnTo>
                <a:lnTo>
                  <a:pt x="7375876" y="1469340"/>
                </a:lnTo>
                <a:lnTo>
                  <a:pt x="7375767" y="1474754"/>
                </a:lnTo>
                <a:lnTo>
                  <a:pt x="7374031" y="1474536"/>
                </a:lnTo>
                <a:lnTo>
                  <a:pt x="7372513" y="1472046"/>
                </a:lnTo>
                <a:lnTo>
                  <a:pt x="7368171" y="1472263"/>
                </a:lnTo>
                <a:lnTo>
                  <a:pt x="7367086" y="1470748"/>
                </a:lnTo>
                <a:lnTo>
                  <a:pt x="7369799" y="1469232"/>
                </a:lnTo>
                <a:lnTo>
                  <a:pt x="7369799" y="1465550"/>
                </a:lnTo>
                <a:lnTo>
                  <a:pt x="7366218" y="1461328"/>
                </a:lnTo>
                <a:lnTo>
                  <a:pt x="7366652" y="1460028"/>
                </a:lnTo>
                <a:lnTo>
                  <a:pt x="7369582" y="1459704"/>
                </a:lnTo>
                <a:lnTo>
                  <a:pt x="7372295" y="1455265"/>
                </a:lnTo>
                <a:lnTo>
                  <a:pt x="7376310" y="1453749"/>
                </a:lnTo>
                <a:lnTo>
                  <a:pt x="7376853" y="1448985"/>
                </a:lnTo>
                <a:lnTo>
                  <a:pt x="7376202" y="1440648"/>
                </a:lnTo>
                <a:close/>
                <a:moveTo>
                  <a:pt x="4396443" y="1434260"/>
                </a:moveTo>
                <a:lnTo>
                  <a:pt x="4398504" y="1435343"/>
                </a:lnTo>
                <a:lnTo>
                  <a:pt x="4405775" y="1435992"/>
                </a:lnTo>
                <a:lnTo>
                  <a:pt x="4409465" y="1438699"/>
                </a:lnTo>
                <a:lnTo>
                  <a:pt x="4411744" y="1440107"/>
                </a:lnTo>
                <a:lnTo>
                  <a:pt x="4412829" y="1441514"/>
                </a:lnTo>
                <a:lnTo>
                  <a:pt x="4411635" y="1442164"/>
                </a:lnTo>
                <a:lnTo>
                  <a:pt x="4408488" y="1441514"/>
                </a:lnTo>
                <a:lnTo>
                  <a:pt x="4405775" y="1445629"/>
                </a:lnTo>
                <a:lnTo>
                  <a:pt x="4402737" y="1449093"/>
                </a:lnTo>
                <a:lnTo>
                  <a:pt x="4396226" y="1450393"/>
                </a:lnTo>
                <a:lnTo>
                  <a:pt x="4392970" y="1456780"/>
                </a:lnTo>
                <a:lnTo>
                  <a:pt x="4393078" y="1459271"/>
                </a:lnTo>
                <a:lnTo>
                  <a:pt x="4389388" y="1462303"/>
                </a:lnTo>
                <a:lnTo>
                  <a:pt x="4387435" y="1461870"/>
                </a:lnTo>
                <a:lnTo>
                  <a:pt x="4389280" y="1455915"/>
                </a:lnTo>
                <a:lnTo>
                  <a:pt x="4391233" y="1456131"/>
                </a:lnTo>
                <a:lnTo>
                  <a:pt x="4392536" y="1452558"/>
                </a:lnTo>
                <a:lnTo>
                  <a:pt x="4388846" y="1448985"/>
                </a:lnTo>
                <a:lnTo>
                  <a:pt x="4385157" y="1448011"/>
                </a:lnTo>
                <a:lnTo>
                  <a:pt x="4385157" y="1445303"/>
                </a:lnTo>
                <a:lnTo>
                  <a:pt x="4387544" y="1443572"/>
                </a:lnTo>
                <a:lnTo>
                  <a:pt x="4387544" y="1441189"/>
                </a:lnTo>
                <a:lnTo>
                  <a:pt x="4384397" y="1440215"/>
                </a:lnTo>
                <a:lnTo>
                  <a:pt x="4386784" y="1439240"/>
                </a:lnTo>
                <a:lnTo>
                  <a:pt x="4386675" y="1437291"/>
                </a:lnTo>
                <a:lnTo>
                  <a:pt x="4389172" y="1438050"/>
                </a:lnTo>
                <a:lnTo>
                  <a:pt x="4390365" y="1440431"/>
                </a:lnTo>
                <a:lnTo>
                  <a:pt x="4392645" y="1437617"/>
                </a:lnTo>
                <a:lnTo>
                  <a:pt x="4394163" y="1437075"/>
                </a:lnTo>
                <a:close/>
                <a:moveTo>
                  <a:pt x="3863627" y="1433827"/>
                </a:moveTo>
                <a:lnTo>
                  <a:pt x="3865254" y="1436209"/>
                </a:lnTo>
                <a:lnTo>
                  <a:pt x="3864169" y="1438374"/>
                </a:lnTo>
                <a:lnTo>
                  <a:pt x="3861565" y="1434260"/>
                </a:lnTo>
                <a:close/>
                <a:moveTo>
                  <a:pt x="7363613" y="1432961"/>
                </a:moveTo>
                <a:lnTo>
                  <a:pt x="7368171" y="1436750"/>
                </a:lnTo>
                <a:lnTo>
                  <a:pt x="7367302" y="1439998"/>
                </a:lnTo>
                <a:lnTo>
                  <a:pt x="7362528" y="1440324"/>
                </a:lnTo>
                <a:lnTo>
                  <a:pt x="7360467" y="1438483"/>
                </a:lnTo>
                <a:lnTo>
                  <a:pt x="7360792" y="1434693"/>
                </a:lnTo>
                <a:close/>
                <a:moveTo>
                  <a:pt x="1141377" y="1432853"/>
                </a:moveTo>
                <a:lnTo>
                  <a:pt x="1146803" y="1435777"/>
                </a:lnTo>
                <a:lnTo>
                  <a:pt x="1145935" y="1446928"/>
                </a:lnTo>
                <a:lnTo>
                  <a:pt x="1141052" y="1452125"/>
                </a:lnTo>
                <a:lnTo>
                  <a:pt x="1140401" y="1447578"/>
                </a:lnTo>
                <a:lnTo>
                  <a:pt x="1142788" y="1442165"/>
                </a:lnTo>
                <a:lnTo>
                  <a:pt x="1138122" y="1446820"/>
                </a:lnTo>
                <a:lnTo>
                  <a:pt x="1134541" y="1446062"/>
                </a:lnTo>
                <a:lnTo>
                  <a:pt x="1134323" y="1442489"/>
                </a:lnTo>
                <a:lnTo>
                  <a:pt x="1135518" y="1439349"/>
                </a:lnTo>
                <a:lnTo>
                  <a:pt x="1131828" y="1438700"/>
                </a:lnTo>
                <a:lnTo>
                  <a:pt x="1136603" y="1434044"/>
                </a:lnTo>
                <a:close/>
                <a:moveTo>
                  <a:pt x="4408380" y="1431877"/>
                </a:moveTo>
                <a:lnTo>
                  <a:pt x="4414565" y="1432093"/>
                </a:lnTo>
                <a:lnTo>
                  <a:pt x="4416627" y="1437290"/>
                </a:lnTo>
                <a:lnTo>
                  <a:pt x="4414131" y="1438914"/>
                </a:lnTo>
                <a:lnTo>
                  <a:pt x="4408597" y="1434692"/>
                </a:lnTo>
                <a:close/>
                <a:moveTo>
                  <a:pt x="2254107" y="1431877"/>
                </a:moveTo>
                <a:lnTo>
                  <a:pt x="2251286" y="1437399"/>
                </a:lnTo>
                <a:lnTo>
                  <a:pt x="2245101" y="1441513"/>
                </a:lnTo>
                <a:lnTo>
                  <a:pt x="2241302" y="1442920"/>
                </a:lnTo>
                <a:lnTo>
                  <a:pt x="2240109" y="1442054"/>
                </a:lnTo>
                <a:lnTo>
                  <a:pt x="2242279" y="1437182"/>
                </a:lnTo>
                <a:lnTo>
                  <a:pt x="2245534" y="1437073"/>
                </a:lnTo>
                <a:lnTo>
                  <a:pt x="2246945" y="1435666"/>
                </a:lnTo>
                <a:lnTo>
                  <a:pt x="2248573" y="1435666"/>
                </a:lnTo>
                <a:lnTo>
                  <a:pt x="2251937" y="1433609"/>
                </a:lnTo>
                <a:close/>
                <a:moveTo>
                  <a:pt x="7386185" y="1431661"/>
                </a:moveTo>
                <a:lnTo>
                  <a:pt x="7388789" y="1434585"/>
                </a:lnTo>
                <a:lnTo>
                  <a:pt x="7389766" y="1438699"/>
                </a:lnTo>
                <a:lnTo>
                  <a:pt x="7387813" y="1440973"/>
                </a:lnTo>
                <a:lnTo>
                  <a:pt x="7385859" y="1440973"/>
                </a:lnTo>
                <a:lnTo>
                  <a:pt x="7382821" y="1437291"/>
                </a:lnTo>
                <a:lnTo>
                  <a:pt x="7382821" y="1434259"/>
                </a:lnTo>
                <a:close/>
                <a:moveTo>
                  <a:pt x="2263765" y="1430687"/>
                </a:moveTo>
                <a:lnTo>
                  <a:pt x="2267237" y="1432528"/>
                </a:lnTo>
                <a:lnTo>
                  <a:pt x="2267237" y="1435884"/>
                </a:lnTo>
                <a:lnTo>
                  <a:pt x="2268648" y="1435884"/>
                </a:lnTo>
                <a:lnTo>
                  <a:pt x="2270601" y="1438050"/>
                </a:lnTo>
                <a:lnTo>
                  <a:pt x="2269842" y="1443246"/>
                </a:lnTo>
                <a:lnTo>
                  <a:pt x="2267888" y="1444979"/>
                </a:lnTo>
                <a:lnTo>
                  <a:pt x="2262571" y="1451583"/>
                </a:lnTo>
                <a:lnTo>
                  <a:pt x="2259858" y="1453423"/>
                </a:lnTo>
                <a:lnTo>
                  <a:pt x="2261377" y="1449850"/>
                </a:lnTo>
                <a:lnTo>
                  <a:pt x="2267563" y="1442921"/>
                </a:lnTo>
                <a:lnTo>
                  <a:pt x="2267563" y="1439890"/>
                </a:lnTo>
                <a:lnTo>
                  <a:pt x="2265935" y="1439890"/>
                </a:lnTo>
                <a:lnTo>
                  <a:pt x="2264741" y="1443030"/>
                </a:lnTo>
                <a:lnTo>
                  <a:pt x="2259207" y="1450609"/>
                </a:lnTo>
                <a:cubicBezTo>
                  <a:pt x="2259099" y="1450501"/>
                  <a:pt x="2255626" y="1455048"/>
                  <a:pt x="2255626" y="1455048"/>
                </a:cubicBezTo>
                <a:lnTo>
                  <a:pt x="2253130" y="1455048"/>
                </a:lnTo>
                <a:lnTo>
                  <a:pt x="2249983" y="1456997"/>
                </a:lnTo>
                <a:lnTo>
                  <a:pt x="2248464" y="1456997"/>
                </a:lnTo>
                <a:lnTo>
                  <a:pt x="2251611" y="1452125"/>
                </a:lnTo>
                <a:lnTo>
                  <a:pt x="2252805" y="1449093"/>
                </a:lnTo>
                <a:lnTo>
                  <a:pt x="2250417" y="1449743"/>
                </a:lnTo>
                <a:lnTo>
                  <a:pt x="2245752" y="1456022"/>
                </a:lnTo>
                <a:lnTo>
                  <a:pt x="2244015" y="1456022"/>
                </a:lnTo>
                <a:lnTo>
                  <a:pt x="2242930" y="1453099"/>
                </a:lnTo>
                <a:lnTo>
                  <a:pt x="2246402" y="1448876"/>
                </a:lnTo>
                <a:lnTo>
                  <a:pt x="2247053" y="1446386"/>
                </a:lnTo>
                <a:lnTo>
                  <a:pt x="2252371" y="1441189"/>
                </a:lnTo>
                <a:lnTo>
                  <a:pt x="2255192" y="1435559"/>
                </a:lnTo>
                <a:lnTo>
                  <a:pt x="2258231" y="1433285"/>
                </a:lnTo>
                <a:lnTo>
                  <a:pt x="2259099" y="1434693"/>
                </a:lnTo>
                <a:lnTo>
                  <a:pt x="2257688" y="1438807"/>
                </a:lnTo>
                <a:lnTo>
                  <a:pt x="2253890" y="1442272"/>
                </a:lnTo>
                <a:lnTo>
                  <a:pt x="2253021" y="1445411"/>
                </a:lnTo>
                <a:lnTo>
                  <a:pt x="2256603" y="1443030"/>
                </a:lnTo>
                <a:lnTo>
                  <a:pt x="2260075" y="1439673"/>
                </a:lnTo>
                <a:lnTo>
                  <a:pt x="2262137" y="1433069"/>
                </a:lnTo>
                <a:close/>
                <a:moveTo>
                  <a:pt x="1128573" y="1430255"/>
                </a:moveTo>
                <a:lnTo>
                  <a:pt x="1131068" y="1434152"/>
                </a:lnTo>
                <a:lnTo>
                  <a:pt x="1128573" y="1436318"/>
                </a:lnTo>
                <a:close/>
                <a:moveTo>
                  <a:pt x="2266695" y="1427547"/>
                </a:moveTo>
                <a:lnTo>
                  <a:pt x="2267346" y="1428846"/>
                </a:lnTo>
                <a:lnTo>
                  <a:pt x="2266261" y="1430037"/>
                </a:lnTo>
                <a:lnTo>
                  <a:pt x="2265285" y="1427872"/>
                </a:lnTo>
                <a:close/>
                <a:moveTo>
                  <a:pt x="3865471" y="1426140"/>
                </a:moveTo>
                <a:lnTo>
                  <a:pt x="3868293" y="1428846"/>
                </a:lnTo>
                <a:lnTo>
                  <a:pt x="3866556" y="1430904"/>
                </a:lnTo>
                <a:lnTo>
                  <a:pt x="3871765" y="1430362"/>
                </a:lnTo>
                <a:lnTo>
                  <a:pt x="3871657" y="1433936"/>
                </a:lnTo>
                <a:lnTo>
                  <a:pt x="3869161" y="1432420"/>
                </a:lnTo>
                <a:lnTo>
                  <a:pt x="3864712" y="1432961"/>
                </a:lnTo>
                <a:lnTo>
                  <a:pt x="3864494" y="1429605"/>
                </a:lnTo>
                <a:lnTo>
                  <a:pt x="3863518" y="1432420"/>
                </a:lnTo>
                <a:lnTo>
                  <a:pt x="3861890" y="1430687"/>
                </a:lnTo>
                <a:lnTo>
                  <a:pt x="3861890" y="1426356"/>
                </a:lnTo>
                <a:close/>
                <a:moveTo>
                  <a:pt x="1134324" y="1426140"/>
                </a:moveTo>
                <a:lnTo>
                  <a:pt x="1136277" y="1428846"/>
                </a:lnTo>
                <a:lnTo>
                  <a:pt x="1135083" y="1431662"/>
                </a:lnTo>
                <a:lnTo>
                  <a:pt x="1131828" y="1427980"/>
                </a:lnTo>
                <a:close/>
                <a:moveTo>
                  <a:pt x="3869051" y="1424299"/>
                </a:moveTo>
                <a:lnTo>
                  <a:pt x="3868617" y="1426681"/>
                </a:lnTo>
                <a:lnTo>
                  <a:pt x="3866773" y="1424624"/>
                </a:lnTo>
                <a:close/>
                <a:moveTo>
                  <a:pt x="4045500" y="1420402"/>
                </a:moveTo>
                <a:lnTo>
                  <a:pt x="4048647" y="1423541"/>
                </a:lnTo>
                <a:lnTo>
                  <a:pt x="4044958" y="1424841"/>
                </a:lnTo>
                <a:close/>
                <a:moveTo>
                  <a:pt x="4412503" y="1419427"/>
                </a:moveTo>
                <a:lnTo>
                  <a:pt x="4413697" y="1421809"/>
                </a:lnTo>
                <a:lnTo>
                  <a:pt x="4409248" y="1422459"/>
                </a:lnTo>
                <a:lnTo>
                  <a:pt x="4408380" y="1419752"/>
                </a:lnTo>
                <a:close/>
                <a:moveTo>
                  <a:pt x="4397203" y="1418886"/>
                </a:moveTo>
                <a:lnTo>
                  <a:pt x="4399807" y="1419319"/>
                </a:lnTo>
                <a:lnTo>
                  <a:pt x="4402195" y="1421592"/>
                </a:lnTo>
                <a:lnTo>
                  <a:pt x="4406427" y="1421917"/>
                </a:lnTo>
                <a:lnTo>
                  <a:pt x="4408272" y="1426573"/>
                </a:lnTo>
                <a:lnTo>
                  <a:pt x="4405451" y="1425599"/>
                </a:lnTo>
                <a:lnTo>
                  <a:pt x="4401435" y="1428306"/>
                </a:lnTo>
                <a:lnTo>
                  <a:pt x="4399916" y="1431013"/>
                </a:lnTo>
                <a:lnTo>
                  <a:pt x="4396986" y="1426249"/>
                </a:lnTo>
                <a:lnTo>
                  <a:pt x="4392971" y="1426573"/>
                </a:lnTo>
                <a:lnTo>
                  <a:pt x="4388847" y="1428414"/>
                </a:lnTo>
                <a:lnTo>
                  <a:pt x="4387111" y="1427115"/>
                </a:lnTo>
                <a:lnTo>
                  <a:pt x="4394599" y="1423541"/>
                </a:lnTo>
                <a:lnTo>
                  <a:pt x="4396877" y="1420618"/>
                </a:lnTo>
                <a:close/>
                <a:moveTo>
                  <a:pt x="1147346" y="1412064"/>
                </a:moveTo>
                <a:lnTo>
                  <a:pt x="1149733" y="1412389"/>
                </a:lnTo>
                <a:lnTo>
                  <a:pt x="1148214" y="1416286"/>
                </a:lnTo>
                <a:lnTo>
                  <a:pt x="1143656" y="1418018"/>
                </a:lnTo>
                <a:lnTo>
                  <a:pt x="1140618" y="1420400"/>
                </a:lnTo>
                <a:lnTo>
                  <a:pt x="1142463" y="1414770"/>
                </a:lnTo>
                <a:close/>
                <a:moveTo>
                  <a:pt x="1111644" y="1406759"/>
                </a:moveTo>
                <a:lnTo>
                  <a:pt x="1121411" y="1418236"/>
                </a:lnTo>
                <a:lnTo>
                  <a:pt x="1124992" y="1425057"/>
                </a:lnTo>
                <a:lnTo>
                  <a:pt x="1122930" y="1428955"/>
                </a:lnTo>
                <a:lnTo>
                  <a:pt x="1119349" y="1427439"/>
                </a:lnTo>
                <a:lnTo>
                  <a:pt x="1119349" y="1422133"/>
                </a:lnTo>
                <a:lnTo>
                  <a:pt x="1112296" y="1414337"/>
                </a:lnTo>
                <a:lnTo>
                  <a:pt x="1110234" y="1409682"/>
                </a:lnTo>
                <a:cubicBezTo>
                  <a:pt x="1110234" y="1409682"/>
                  <a:pt x="1111644" y="1406759"/>
                  <a:pt x="1111644" y="1406759"/>
                </a:cubicBezTo>
                <a:close/>
                <a:moveTo>
                  <a:pt x="4310498" y="1402645"/>
                </a:moveTo>
                <a:lnTo>
                  <a:pt x="4316249" y="1402645"/>
                </a:lnTo>
                <a:lnTo>
                  <a:pt x="4316141" y="1406543"/>
                </a:lnTo>
                <a:lnTo>
                  <a:pt x="4311474" y="1410657"/>
                </a:lnTo>
                <a:lnTo>
                  <a:pt x="4311366" y="1416505"/>
                </a:lnTo>
                <a:lnTo>
                  <a:pt x="4309521" y="1414989"/>
                </a:lnTo>
                <a:lnTo>
                  <a:pt x="4305940" y="1409358"/>
                </a:lnTo>
                <a:close/>
                <a:moveTo>
                  <a:pt x="1122278" y="1400155"/>
                </a:moveTo>
                <a:lnTo>
                  <a:pt x="1124558" y="1400804"/>
                </a:lnTo>
                <a:lnTo>
                  <a:pt x="1126728" y="1407192"/>
                </a:lnTo>
                <a:lnTo>
                  <a:pt x="1131068" y="1416504"/>
                </a:lnTo>
                <a:lnTo>
                  <a:pt x="1130417" y="1424083"/>
                </a:lnTo>
                <a:lnTo>
                  <a:pt x="1125534" y="1420077"/>
                </a:lnTo>
                <a:lnTo>
                  <a:pt x="1124883" y="1413363"/>
                </a:lnTo>
                <a:lnTo>
                  <a:pt x="1121410" y="1407734"/>
                </a:lnTo>
                <a:lnTo>
                  <a:pt x="1120868" y="1401779"/>
                </a:lnTo>
                <a:close/>
                <a:moveTo>
                  <a:pt x="4174526" y="1398530"/>
                </a:moveTo>
                <a:lnTo>
                  <a:pt x="4171162" y="1400262"/>
                </a:lnTo>
                <a:lnTo>
                  <a:pt x="4169317" y="1404377"/>
                </a:lnTo>
                <a:lnTo>
                  <a:pt x="4169859" y="1405344"/>
                </a:lnTo>
                <a:lnTo>
                  <a:pt x="4169317" y="1404377"/>
                </a:lnTo>
                <a:lnTo>
                  <a:pt x="4171162" y="1400263"/>
                </a:lnTo>
                <a:lnTo>
                  <a:pt x="4174526" y="1398531"/>
                </a:lnTo>
                <a:close/>
                <a:moveTo>
                  <a:pt x="4037361" y="1392901"/>
                </a:moveTo>
                <a:lnTo>
                  <a:pt x="4039965" y="1395608"/>
                </a:lnTo>
                <a:lnTo>
                  <a:pt x="4038230" y="1399073"/>
                </a:lnTo>
                <a:lnTo>
                  <a:pt x="4034649" y="1393767"/>
                </a:lnTo>
                <a:cubicBezTo>
                  <a:pt x="4034540" y="1393117"/>
                  <a:pt x="4037361" y="1392901"/>
                  <a:pt x="4037361" y="1392901"/>
                </a:cubicBezTo>
                <a:close/>
                <a:moveTo>
                  <a:pt x="1121084" y="1389003"/>
                </a:moveTo>
                <a:lnTo>
                  <a:pt x="1125208" y="1392251"/>
                </a:lnTo>
                <a:lnTo>
                  <a:pt x="1122929" y="1397774"/>
                </a:lnTo>
                <a:lnTo>
                  <a:pt x="1119565" y="1397774"/>
                </a:lnTo>
                <a:lnTo>
                  <a:pt x="1119348" y="1395174"/>
                </a:lnTo>
                <a:lnTo>
                  <a:pt x="1112512" y="1395174"/>
                </a:lnTo>
                <a:lnTo>
                  <a:pt x="1115225" y="1391601"/>
                </a:lnTo>
                <a:close/>
                <a:moveTo>
                  <a:pt x="4183099" y="1386620"/>
                </a:moveTo>
                <a:lnTo>
                  <a:pt x="4181037" y="1390301"/>
                </a:lnTo>
                <a:lnTo>
                  <a:pt x="4173658" y="1390951"/>
                </a:lnTo>
                <a:lnTo>
                  <a:pt x="4172030" y="1393658"/>
                </a:lnTo>
                <a:lnTo>
                  <a:pt x="4172030" y="1393659"/>
                </a:lnTo>
                <a:lnTo>
                  <a:pt x="4173658" y="1390952"/>
                </a:lnTo>
                <a:lnTo>
                  <a:pt x="4181037" y="1390302"/>
                </a:lnTo>
                <a:lnTo>
                  <a:pt x="4183099" y="1386621"/>
                </a:lnTo>
                <a:close/>
                <a:moveTo>
                  <a:pt x="4043004" y="1384564"/>
                </a:moveTo>
                <a:lnTo>
                  <a:pt x="4042787" y="1388353"/>
                </a:lnTo>
                <a:lnTo>
                  <a:pt x="4040943" y="1388786"/>
                </a:lnTo>
                <a:close/>
                <a:moveTo>
                  <a:pt x="3909421" y="1384131"/>
                </a:moveTo>
                <a:lnTo>
                  <a:pt x="3910831" y="1385430"/>
                </a:lnTo>
                <a:lnTo>
                  <a:pt x="3907359" y="1388029"/>
                </a:lnTo>
                <a:close/>
                <a:moveTo>
                  <a:pt x="4038880" y="1382290"/>
                </a:moveTo>
                <a:lnTo>
                  <a:pt x="4038121" y="1386404"/>
                </a:lnTo>
                <a:lnTo>
                  <a:pt x="4034540" y="1385755"/>
                </a:lnTo>
                <a:close/>
                <a:moveTo>
                  <a:pt x="4399482" y="1379041"/>
                </a:moveTo>
                <a:lnTo>
                  <a:pt x="4400458" y="1382614"/>
                </a:lnTo>
                <a:lnTo>
                  <a:pt x="4397311" y="1384672"/>
                </a:lnTo>
                <a:lnTo>
                  <a:pt x="4395575" y="1382614"/>
                </a:lnTo>
                <a:lnTo>
                  <a:pt x="4397853" y="1381315"/>
                </a:lnTo>
                <a:close/>
                <a:moveTo>
                  <a:pt x="1068345" y="1377309"/>
                </a:moveTo>
                <a:lnTo>
                  <a:pt x="1075941" y="1379582"/>
                </a:lnTo>
                <a:lnTo>
                  <a:pt x="1074748" y="1385429"/>
                </a:lnTo>
                <a:lnTo>
                  <a:pt x="1077461" y="1384130"/>
                </a:lnTo>
                <a:lnTo>
                  <a:pt x="1080607" y="1381423"/>
                </a:lnTo>
                <a:lnTo>
                  <a:pt x="1083863" y="1382939"/>
                </a:lnTo>
                <a:lnTo>
                  <a:pt x="1084080" y="1386079"/>
                </a:lnTo>
                <a:lnTo>
                  <a:pt x="1083537" y="1391601"/>
                </a:lnTo>
                <a:lnTo>
                  <a:pt x="1079414" y="1395499"/>
                </a:lnTo>
                <a:lnTo>
                  <a:pt x="1070407" y="1398963"/>
                </a:lnTo>
                <a:lnTo>
                  <a:pt x="1073228" y="1401237"/>
                </a:lnTo>
                <a:lnTo>
                  <a:pt x="1073879" y="1403835"/>
                </a:lnTo>
                <a:lnTo>
                  <a:pt x="1079197" y="1402536"/>
                </a:lnTo>
                <a:lnTo>
                  <a:pt x="1082344" y="1395174"/>
                </a:lnTo>
                <a:lnTo>
                  <a:pt x="1088203" y="1388136"/>
                </a:lnTo>
                <a:lnTo>
                  <a:pt x="1095583" y="1384563"/>
                </a:lnTo>
                <a:lnTo>
                  <a:pt x="1097861" y="1384996"/>
                </a:lnTo>
                <a:lnTo>
                  <a:pt x="1089180" y="1394632"/>
                </a:lnTo>
                <a:lnTo>
                  <a:pt x="1087335" y="1402103"/>
                </a:lnTo>
                <a:lnTo>
                  <a:pt x="1082995" y="1407192"/>
                </a:lnTo>
                <a:lnTo>
                  <a:pt x="1082452" y="1415096"/>
                </a:lnTo>
                <a:lnTo>
                  <a:pt x="1077135" y="1419427"/>
                </a:lnTo>
                <a:lnTo>
                  <a:pt x="1072794" y="1419427"/>
                </a:lnTo>
                <a:lnTo>
                  <a:pt x="1069430" y="1423433"/>
                </a:lnTo>
                <a:lnTo>
                  <a:pt x="1073337" y="1423541"/>
                </a:lnTo>
                <a:lnTo>
                  <a:pt x="1076267" y="1421809"/>
                </a:lnTo>
                <a:lnTo>
                  <a:pt x="1081584" y="1422566"/>
                </a:lnTo>
                <a:lnTo>
                  <a:pt x="1082127" y="1428197"/>
                </a:lnTo>
                <a:lnTo>
                  <a:pt x="1075833" y="1427980"/>
                </a:lnTo>
                <a:lnTo>
                  <a:pt x="1072794" y="1433935"/>
                </a:lnTo>
                <a:lnTo>
                  <a:pt x="1074422" y="1438807"/>
                </a:lnTo>
                <a:lnTo>
                  <a:pt x="1073554" y="1445520"/>
                </a:lnTo>
                <a:lnTo>
                  <a:pt x="1076158" y="1453640"/>
                </a:lnTo>
                <a:lnTo>
                  <a:pt x="1077461" y="1459704"/>
                </a:lnTo>
                <a:lnTo>
                  <a:pt x="1080933" y="1459487"/>
                </a:lnTo>
                <a:lnTo>
                  <a:pt x="1082995" y="1462411"/>
                </a:lnTo>
                <a:lnTo>
                  <a:pt x="1080390" y="1466417"/>
                </a:lnTo>
                <a:lnTo>
                  <a:pt x="1074205" y="1465009"/>
                </a:lnTo>
                <a:lnTo>
                  <a:pt x="1067043" y="1449526"/>
                </a:lnTo>
                <a:lnTo>
                  <a:pt x="1066283" y="1442813"/>
                </a:lnTo>
                <a:lnTo>
                  <a:pt x="1067694" y="1439565"/>
                </a:lnTo>
                <a:lnTo>
                  <a:pt x="1062160" y="1438482"/>
                </a:lnTo>
                <a:lnTo>
                  <a:pt x="1060749" y="1434368"/>
                </a:lnTo>
                <a:lnTo>
                  <a:pt x="1062702" y="1430903"/>
                </a:lnTo>
                <a:lnTo>
                  <a:pt x="1068237" y="1431661"/>
                </a:lnTo>
                <a:lnTo>
                  <a:pt x="1063896" y="1426789"/>
                </a:lnTo>
                <a:lnTo>
                  <a:pt x="1060966" y="1425598"/>
                </a:lnTo>
                <a:lnTo>
                  <a:pt x="1063679" y="1420617"/>
                </a:lnTo>
                <a:lnTo>
                  <a:pt x="1060098" y="1416503"/>
                </a:lnTo>
                <a:lnTo>
                  <a:pt x="1060749" y="1413905"/>
                </a:lnTo>
                <a:lnTo>
                  <a:pt x="1064764" y="1414446"/>
                </a:lnTo>
                <a:lnTo>
                  <a:pt x="1067043" y="1415854"/>
                </a:lnTo>
                <a:lnTo>
                  <a:pt x="1066826" y="1411739"/>
                </a:lnTo>
                <a:lnTo>
                  <a:pt x="1063679" y="1407950"/>
                </a:lnTo>
                <a:lnTo>
                  <a:pt x="1059772" y="1407084"/>
                </a:lnTo>
                <a:lnTo>
                  <a:pt x="1059447" y="1402752"/>
                </a:lnTo>
                <a:lnTo>
                  <a:pt x="1062160" y="1398097"/>
                </a:lnTo>
                <a:lnTo>
                  <a:pt x="1060966" y="1389652"/>
                </a:lnTo>
                <a:close/>
                <a:moveTo>
                  <a:pt x="4186138" y="1374278"/>
                </a:moveTo>
                <a:lnTo>
                  <a:pt x="4182773" y="1381640"/>
                </a:lnTo>
                <a:lnTo>
                  <a:pt x="4182773" y="1381641"/>
                </a:lnTo>
                <a:lnTo>
                  <a:pt x="4186138" y="1374278"/>
                </a:lnTo>
                <a:close/>
                <a:moveTo>
                  <a:pt x="4393078" y="1374170"/>
                </a:moveTo>
                <a:lnTo>
                  <a:pt x="4394489" y="1377527"/>
                </a:lnTo>
                <a:lnTo>
                  <a:pt x="4392536" y="1377527"/>
                </a:lnTo>
                <a:close/>
                <a:moveTo>
                  <a:pt x="4032478" y="1373196"/>
                </a:moveTo>
                <a:lnTo>
                  <a:pt x="4031067" y="1378392"/>
                </a:lnTo>
                <a:lnTo>
                  <a:pt x="4028029" y="1374603"/>
                </a:lnTo>
                <a:close/>
                <a:moveTo>
                  <a:pt x="4037579" y="1372329"/>
                </a:moveTo>
                <a:lnTo>
                  <a:pt x="4041160" y="1376985"/>
                </a:lnTo>
                <a:lnTo>
                  <a:pt x="4039640" y="1381425"/>
                </a:lnTo>
                <a:close/>
                <a:moveTo>
                  <a:pt x="3908445" y="1369298"/>
                </a:moveTo>
                <a:lnTo>
                  <a:pt x="3911158" y="1370597"/>
                </a:lnTo>
                <a:lnTo>
                  <a:pt x="3914413" y="1371788"/>
                </a:lnTo>
                <a:lnTo>
                  <a:pt x="3912460" y="1373845"/>
                </a:lnTo>
                <a:lnTo>
                  <a:pt x="3913002" y="1376444"/>
                </a:lnTo>
                <a:lnTo>
                  <a:pt x="3910833" y="1378718"/>
                </a:lnTo>
                <a:lnTo>
                  <a:pt x="3911917" y="1382508"/>
                </a:lnTo>
                <a:lnTo>
                  <a:pt x="3909313" y="1381641"/>
                </a:lnTo>
                <a:lnTo>
                  <a:pt x="3907468" y="1377851"/>
                </a:lnTo>
                <a:lnTo>
                  <a:pt x="3901717" y="1377635"/>
                </a:lnTo>
                <a:lnTo>
                  <a:pt x="3899872" y="1375253"/>
                </a:lnTo>
                <a:lnTo>
                  <a:pt x="3902802" y="1374062"/>
                </a:lnTo>
                <a:lnTo>
                  <a:pt x="3907685" y="1374495"/>
                </a:lnTo>
                <a:lnTo>
                  <a:pt x="3908228" y="1372329"/>
                </a:lnTo>
                <a:lnTo>
                  <a:pt x="3907143" y="1370597"/>
                </a:lnTo>
                <a:close/>
                <a:moveTo>
                  <a:pt x="4028788" y="1367891"/>
                </a:moveTo>
                <a:lnTo>
                  <a:pt x="4032260" y="1367999"/>
                </a:lnTo>
                <a:lnTo>
                  <a:pt x="4030524" y="1370057"/>
                </a:lnTo>
                <a:close/>
                <a:moveTo>
                  <a:pt x="4390691" y="1367566"/>
                </a:moveTo>
                <a:lnTo>
                  <a:pt x="4390148" y="1370273"/>
                </a:lnTo>
                <a:lnTo>
                  <a:pt x="4385916" y="1373738"/>
                </a:lnTo>
                <a:lnTo>
                  <a:pt x="4382552" y="1371897"/>
                </a:lnTo>
                <a:lnTo>
                  <a:pt x="4383420" y="1368974"/>
                </a:lnTo>
                <a:close/>
                <a:moveTo>
                  <a:pt x="1122496" y="1366266"/>
                </a:moveTo>
                <a:lnTo>
                  <a:pt x="1122604" y="1370813"/>
                </a:lnTo>
                <a:lnTo>
                  <a:pt x="1119674" y="1373412"/>
                </a:lnTo>
                <a:lnTo>
                  <a:pt x="1118915" y="1368540"/>
                </a:lnTo>
                <a:close/>
                <a:moveTo>
                  <a:pt x="3906925" y="1364967"/>
                </a:moveTo>
                <a:lnTo>
                  <a:pt x="3906491" y="1370598"/>
                </a:lnTo>
                <a:lnTo>
                  <a:pt x="3902910" y="1368649"/>
                </a:lnTo>
                <a:lnTo>
                  <a:pt x="3903778" y="1365725"/>
                </a:lnTo>
                <a:close/>
                <a:moveTo>
                  <a:pt x="4514726" y="1364642"/>
                </a:moveTo>
                <a:lnTo>
                  <a:pt x="4519284" y="1368973"/>
                </a:lnTo>
                <a:lnTo>
                  <a:pt x="4517765" y="1371355"/>
                </a:lnTo>
                <a:lnTo>
                  <a:pt x="4512990" y="1368865"/>
                </a:lnTo>
                <a:cubicBezTo>
                  <a:pt x="4512990" y="1368865"/>
                  <a:pt x="4514726" y="1364642"/>
                  <a:pt x="4514726" y="1364642"/>
                </a:cubicBezTo>
                <a:close/>
                <a:moveTo>
                  <a:pt x="4336867" y="1363559"/>
                </a:moveTo>
                <a:lnTo>
                  <a:pt x="4343921" y="1368323"/>
                </a:lnTo>
                <a:lnTo>
                  <a:pt x="4344572" y="1372004"/>
                </a:lnTo>
                <a:lnTo>
                  <a:pt x="4341208" y="1371463"/>
                </a:lnTo>
                <a:lnTo>
                  <a:pt x="4339580" y="1373195"/>
                </a:lnTo>
                <a:lnTo>
                  <a:pt x="4342076" y="1377309"/>
                </a:lnTo>
                <a:lnTo>
                  <a:pt x="4345657" y="1376985"/>
                </a:lnTo>
                <a:lnTo>
                  <a:pt x="4346742" y="1381099"/>
                </a:lnTo>
                <a:lnTo>
                  <a:pt x="4343379" y="1382940"/>
                </a:lnTo>
                <a:lnTo>
                  <a:pt x="4339472" y="1379150"/>
                </a:lnTo>
                <a:lnTo>
                  <a:pt x="4334806" y="1377634"/>
                </a:lnTo>
                <a:lnTo>
                  <a:pt x="4332093" y="1374494"/>
                </a:lnTo>
                <a:lnTo>
                  <a:pt x="4329163" y="1372329"/>
                </a:lnTo>
                <a:lnTo>
                  <a:pt x="4331008" y="1369947"/>
                </a:lnTo>
                <a:lnTo>
                  <a:pt x="4336542" y="1371896"/>
                </a:lnTo>
                <a:lnTo>
                  <a:pt x="4337844" y="1369730"/>
                </a:lnTo>
                <a:lnTo>
                  <a:pt x="4334263" y="1367348"/>
                </a:lnTo>
                <a:lnTo>
                  <a:pt x="4334371" y="1363775"/>
                </a:lnTo>
                <a:close/>
                <a:moveTo>
                  <a:pt x="4362695" y="1363127"/>
                </a:moveTo>
                <a:lnTo>
                  <a:pt x="4367252" y="1363776"/>
                </a:lnTo>
                <a:lnTo>
                  <a:pt x="4364540" y="1364859"/>
                </a:lnTo>
                <a:close/>
                <a:moveTo>
                  <a:pt x="3038032" y="1361503"/>
                </a:moveTo>
                <a:lnTo>
                  <a:pt x="3039551" y="1362802"/>
                </a:lnTo>
                <a:lnTo>
                  <a:pt x="3038032" y="1365292"/>
                </a:lnTo>
                <a:lnTo>
                  <a:pt x="3035102" y="1365508"/>
                </a:lnTo>
                <a:lnTo>
                  <a:pt x="3033149" y="1366700"/>
                </a:lnTo>
                <a:lnTo>
                  <a:pt x="3031304" y="1365833"/>
                </a:lnTo>
                <a:lnTo>
                  <a:pt x="3034559" y="1361828"/>
                </a:lnTo>
                <a:close/>
                <a:moveTo>
                  <a:pt x="4373546" y="1361070"/>
                </a:moveTo>
                <a:lnTo>
                  <a:pt x="4378429" y="1365293"/>
                </a:lnTo>
                <a:lnTo>
                  <a:pt x="4375499" y="1367242"/>
                </a:lnTo>
                <a:lnTo>
                  <a:pt x="4373546" y="1364968"/>
                </a:lnTo>
                <a:close/>
                <a:moveTo>
                  <a:pt x="3911374" y="1359121"/>
                </a:moveTo>
                <a:lnTo>
                  <a:pt x="3913111" y="1360420"/>
                </a:lnTo>
                <a:lnTo>
                  <a:pt x="3913219" y="1365725"/>
                </a:lnTo>
                <a:lnTo>
                  <a:pt x="3911700" y="1367457"/>
                </a:lnTo>
                <a:lnTo>
                  <a:pt x="3909204" y="1364859"/>
                </a:lnTo>
                <a:lnTo>
                  <a:pt x="3911049" y="1362152"/>
                </a:lnTo>
                <a:close/>
                <a:moveTo>
                  <a:pt x="4030524" y="1358904"/>
                </a:moveTo>
                <a:cubicBezTo>
                  <a:pt x="4030524" y="1358904"/>
                  <a:pt x="4030524" y="1363559"/>
                  <a:pt x="4030524" y="1364209"/>
                </a:cubicBezTo>
                <a:lnTo>
                  <a:pt x="4026943" y="1361827"/>
                </a:lnTo>
                <a:close/>
                <a:moveTo>
                  <a:pt x="3918101" y="1354248"/>
                </a:moveTo>
                <a:lnTo>
                  <a:pt x="3916365" y="1359662"/>
                </a:lnTo>
                <a:lnTo>
                  <a:pt x="3915063" y="1357388"/>
                </a:lnTo>
                <a:close/>
                <a:moveTo>
                  <a:pt x="4028030" y="1350675"/>
                </a:moveTo>
                <a:lnTo>
                  <a:pt x="4028789" y="1352948"/>
                </a:lnTo>
                <a:lnTo>
                  <a:pt x="4026402" y="1355330"/>
                </a:lnTo>
                <a:lnTo>
                  <a:pt x="4024014" y="1353706"/>
                </a:lnTo>
                <a:close/>
                <a:moveTo>
                  <a:pt x="3035102" y="1350675"/>
                </a:moveTo>
                <a:lnTo>
                  <a:pt x="3038465" y="1351108"/>
                </a:lnTo>
                <a:lnTo>
                  <a:pt x="3046170" y="1355438"/>
                </a:lnTo>
                <a:lnTo>
                  <a:pt x="3042698" y="1357171"/>
                </a:lnTo>
                <a:lnTo>
                  <a:pt x="3039985" y="1357171"/>
                </a:lnTo>
                <a:lnTo>
                  <a:pt x="3035102" y="1352083"/>
                </a:lnTo>
                <a:close/>
                <a:moveTo>
                  <a:pt x="1118155" y="1350134"/>
                </a:moveTo>
                <a:lnTo>
                  <a:pt x="1121628" y="1352407"/>
                </a:lnTo>
                <a:lnTo>
                  <a:pt x="1118372" y="1356197"/>
                </a:lnTo>
                <a:lnTo>
                  <a:pt x="1114249" y="1353057"/>
                </a:lnTo>
                <a:close/>
                <a:moveTo>
                  <a:pt x="2500765" y="1345695"/>
                </a:moveTo>
                <a:lnTo>
                  <a:pt x="2500873" y="1348077"/>
                </a:lnTo>
                <a:lnTo>
                  <a:pt x="2499680" y="1348185"/>
                </a:lnTo>
                <a:close/>
                <a:moveTo>
                  <a:pt x="2503479" y="1345045"/>
                </a:moveTo>
                <a:lnTo>
                  <a:pt x="2504998" y="1348943"/>
                </a:lnTo>
                <a:lnTo>
                  <a:pt x="2504455" y="1353057"/>
                </a:lnTo>
                <a:lnTo>
                  <a:pt x="2502936" y="1353490"/>
                </a:lnTo>
                <a:lnTo>
                  <a:pt x="2503154" y="1351541"/>
                </a:lnTo>
                <a:lnTo>
                  <a:pt x="2502177" y="1347535"/>
                </a:lnTo>
                <a:close/>
                <a:moveTo>
                  <a:pt x="2498270" y="1345045"/>
                </a:moveTo>
                <a:lnTo>
                  <a:pt x="2498921" y="1346128"/>
                </a:lnTo>
                <a:lnTo>
                  <a:pt x="2497619" y="1347318"/>
                </a:lnTo>
                <a:close/>
                <a:moveTo>
                  <a:pt x="1079089" y="1343097"/>
                </a:moveTo>
                <a:lnTo>
                  <a:pt x="1082237" y="1345046"/>
                </a:lnTo>
                <a:lnTo>
                  <a:pt x="1081585" y="1347752"/>
                </a:lnTo>
                <a:lnTo>
                  <a:pt x="1084949" y="1353383"/>
                </a:lnTo>
                <a:lnTo>
                  <a:pt x="1081260" y="1359230"/>
                </a:lnTo>
                <a:lnTo>
                  <a:pt x="1079524" y="1357281"/>
                </a:lnTo>
                <a:lnTo>
                  <a:pt x="1079415" y="1352842"/>
                </a:lnTo>
                <a:lnTo>
                  <a:pt x="1075834" y="1346995"/>
                </a:lnTo>
                <a:lnTo>
                  <a:pt x="1077136" y="1343746"/>
                </a:lnTo>
                <a:close/>
                <a:moveTo>
                  <a:pt x="3008189" y="1342663"/>
                </a:moveTo>
                <a:lnTo>
                  <a:pt x="3010359" y="1342771"/>
                </a:lnTo>
                <a:lnTo>
                  <a:pt x="3010467" y="1345803"/>
                </a:lnTo>
                <a:lnTo>
                  <a:pt x="3008080" y="1349159"/>
                </a:lnTo>
                <a:lnTo>
                  <a:pt x="3007971" y="1350892"/>
                </a:lnTo>
                <a:lnTo>
                  <a:pt x="3006018" y="1350892"/>
                </a:lnTo>
                <a:lnTo>
                  <a:pt x="3005368" y="1346453"/>
                </a:lnTo>
                <a:lnTo>
                  <a:pt x="3007321" y="1344612"/>
                </a:lnTo>
                <a:close/>
                <a:moveTo>
                  <a:pt x="6911425" y="1342555"/>
                </a:moveTo>
                <a:lnTo>
                  <a:pt x="6913921" y="1344720"/>
                </a:lnTo>
                <a:lnTo>
                  <a:pt x="6912944" y="1347644"/>
                </a:lnTo>
                <a:lnTo>
                  <a:pt x="6910123" y="1349702"/>
                </a:lnTo>
                <a:lnTo>
                  <a:pt x="6909255" y="1348510"/>
                </a:lnTo>
                <a:lnTo>
                  <a:pt x="6911100" y="1345478"/>
                </a:lnTo>
                <a:lnTo>
                  <a:pt x="6910666" y="1343746"/>
                </a:lnTo>
                <a:close/>
                <a:moveTo>
                  <a:pt x="6905565" y="1341797"/>
                </a:moveTo>
                <a:lnTo>
                  <a:pt x="6906867" y="1342988"/>
                </a:lnTo>
                <a:lnTo>
                  <a:pt x="6907084" y="1346452"/>
                </a:lnTo>
                <a:lnTo>
                  <a:pt x="6905999" y="1348834"/>
                </a:lnTo>
                <a:lnTo>
                  <a:pt x="6904154" y="1345695"/>
                </a:lnTo>
                <a:lnTo>
                  <a:pt x="6904263" y="1342988"/>
                </a:lnTo>
                <a:close/>
                <a:moveTo>
                  <a:pt x="1087553" y="1339198"/>
                </a:moveTo>
                <a:lnTo>
                  <a:pt x="1089289" y="1341904"/>
                </a:lnTo>
                <a:lnTo>
                  <a:pt x="1088204" y="1344612"/>
                </a:lnTo>
                <a:lnTo>
                  <a:pt x="1086468" y="1342446"/>
                </a:lnTo>
                <a:close/>
                <a:moveTo>
                  <a:pt x="1119891" y="1338440"/>
                </a:moveTo>
                <a:lnTo>
                  <a:pt x="1122279" y="1343962"/>
                </a:lnTo>
                <a:lnTo>
                  <a:pt x="1117830" y="1348293"/>
                </a:lnTo>
                <a:lnTo>
                  <a:pt x="1114357" y="1345803"/>
                </a:lnTo>
                <a:lnTo>
                  <a:pt x="1116962" y="1343420"/>
                </a:lnTo>
                <a:lnTo>
                  <a:pt x="1115876" y="1340172"/>
                </a:lnTo>
                <a:close/>
                <a:moveTo>
                  <a:pt x="1079848" y="1336167"/>
                </a:moveTo>
                <a:lnTo>
                  <a:pt x="1082018" y="1336708"/>
                </a:lnTo>
                <a:lnTo>
                  <a:pt x="1083429" y="1340064"/>
                </a:lnTo>
                <a:lnTo>
                  <a:pt x="1079631" y="1341689"/>
                </a:lnTo>
                <a:lnTo>
                  <a:pt x="1077895" y="1337357"/>
                </a:lnTo>
                <a:close/>
                <a:moveTo>
                  <a:pt x="1114901" y="1329563"/>
                </a:moveTo>
                <a:lnTo>
                  <a:pt x="1118481" y="1334651"/>
                </a:lnTo>
                <a:lnTo>
                  <a:pt x="1114358" y="1338441"/>
                </a:lnTo>
                <a:lnTo>
                  <a:pt x="1114901" y="1334327"/>
                </a:lnTo>
                <a:lnTo>
                  <a:pt x="1112839" y="1331945"/>
                </a:lnTo>
                <a:close/>
                <a:moveTo>
                  <a:pt x="4190152" y="1329237"/>
                </a:moveTo>
                <a:lnTo>
                  <a:pt x="4187874" y="1334542"/>
                </a:lnTo>
                <a:lnTo>
                  <a:pt x="4187765" y="1342337"/>
                </a:lnTo>
                <a:lnTo>
                  <a:pt x="4176914" y="1345910"/>
                </a:lnTo>
                <a:lnTo>
                  <a:pt x="4176588" y="1349916"/>
                </a:lnTo>
                <a:lnTo>
                  <a:pt x="4176588" y="1349917"/>
                </a:lnTo>
                <a:lnTo>
                  <a:pt x="4176914" y="1345911"/>
                </a:lnTo>
                <a:lnTo>
                  <a:pt x="4187765" y="1342339"/>
                </a:lnTo>
                <a:lnTo>
                  <a:pt x="4187874" y="1334543"/>
                </a:lnTo>
                <a:lnTo>
                  <a:pt x="4190153" y="1329238"/>
                </a:lnTo>
                <a:close/>
                <a:moveTo>
                  <a:pt x="7018315" y="1328913"/>
                </a:moveTo>
                <a:lnTo>
                  <a:pt x="7019942" y="1330970"/>
                </a:lnTo>
                <a:lnTo>
                  <a:pt x="7023306" y="1337683"/>
                </a:lnTo>
                <a:lnTo>
                  <a:pt x="7030468" y="1340498"/>
                </a:lnTo>
                <a:lnTo>
                  <a:pt x="7033290" y="1343529"/>
                </a:lnTo>
                <a:lnTo>
                  <a:pt x="7032964" y="1351433"/>
                </a:lnTo>
                <a:lnTo>
                  <a:pt x="7036220" y="1356739"/>
                </a:lnTo>
                <a:lnTo>
                  <a:pt x="7045877" y="1364534"/>
                </a:lnTo>
                <a:lnTo>
                  <a:pt x="7047180" y="1368648"/>
                </a:lnTo>
                <a:lnTo>
                  <a:pt x="7049242" y="1368648"/>
                </a:lnTo>
                <a:lnTo>
                  <a:pt x="7054776" y="1374494"/>
                </a:lnTo>
                <a:lnTo>
                  <a:pt x="7060310" y="1382723"/>
                </a:lnTo>
                <a:lnTo>
                  <a:pt x="7062372" y="1388787"/>
                </a:lnTo>
                <a:lnTo>
                  <a:pt x="7057923" y="1382182"/>
                </a:lnTo>
                <a:lnTo>
                  <a:pt x="7053473" y="1377743"/>
                </a:lnTo>
                <a:lnTo>
                  <a:pt x="7051303" y="1378284"/>
                </a:lnTo>
                <a:lnTo>
                  <a:pt x="7051303" y="1380666"/>
                </a:lnTo>
                <a:lnTo>
                  <a:pt x="7053908" y="1383265"/>
                </a:lnTo>
                <a:lnTo>
                  <a:pt x="7054450" y="1386296"/>
                </a:lnTo>
                <a:lnTo>
                  <a:pt x="7059442" y="1391818"/>
                </a:lnTo>
                <a:lnTo>
                  <a:pt x="7064326" y="1393875"/>
                </a:lnTo>
                <a:lnTo>
                  <a:pt x="7065519" y="1399289"/>
                </a:lnTo>
                <a:lnTo>
                  <a:pt x="7066496" y="1406976"/>
                </a:lnTo>
                <a:lnTo>
                  <a:pt x="7067689" y="1413905"/>
                </a:lnTo>
                <a:lnTo>
                  <a:pt x="7066713" y="1412931"/>
                </a:lnTo>
                <a:lnTo>
                  <a:pt x="7065519" y="1416828"/>
                </a:lnTo>
                <a:lnTo>
                  <a:pt x="7066170" y="1421917"/>
                </a:lnTo>
                <a:lnTo>
                  <a:pt x="7068557" y="1425599"/>
                </a:lnTo>
                <a:lnTo>
                  <a:pt x="7070945" y="1432095"/>
                </a:lnTo>
                <a:lnTo>
                  <a:pt x="7075285" y="1437291"/>
                </a:lnTo>
                <a:lnTo>
                  <a:pt x="7079734" y="1439999"/>
                </a:lnTo>
                <a:lnTo>
                  <a:pt x="7081146" y="1443463"/>
                </a:lnTo>
                <a:lnTo>
                  <a:pt x="7080169" y="1447361"/>
                </a:lnTo>
                <a:lnTo>
                  <a:pt x="7081146" y="1449309"/>
                </a:lnTo>
                <a:lnTo>
                  <a:pt x="7084076" y="1449634"/>
                </a:lnTo>
                <a:lnTo>
                  <a:pt x="7084293" y="1447577"/>
                </a:lnTo>
                <a:lnTo>
                  <a:pt x="7087331" y="1448768"/>
                </a:lnTo>
                <a:lnTo>
                  <a:pt x="7090152" y="1453207"/>
                </a:lnTo>
                <a:lnTo>
                  <a:pt x="7090152" y="1458187"/>
                </a:lnTo>
                <a:lnTo>
                  <a:pt x="7093516" y="1460570"/>
                </a:lnTo>
                <a:lnTo>
                  <a:pt x="7097857" y="1468907"/>
                </a:lnTo>
                <a:lnTo>
                  <a:pt x="7106321" y="1480058"/>
                </a:lnTo>
                <a:lnTo>
                  <a:pt x="7107841" y="1485905"/>
                </a:lnTo>
                <a:lnTo>
                  <a:pt x="7114460" y="1497598"/>
                </a:lnTo>
                <a:lnTo>
                  <a:pt x="7121514" y="1506043"/>
                </a:lnTo>
                <a:lnTo>
                  <a:pt x="7122165" y="1510699"/>
                </a:lnTo>
                <a:lnTo>
                  <a:pt x="7125420" y="1512323"/>
                </a:lnTo>
                <a:lnTo>
                  <a:pt x="7127482" y="1517845"/>
                </a:lnTo>
                <a:lnTo>
                  <a:pt x="7132040" y="1526290"/>
                </a:lnTo>
                <a:lnTo>
                  <a:pt x="7134753" y="1528672"/>
                </a:lnTo>
                <a:lnTo>
                  <a:pt x="7134753" y="1531812"/>
                </a:lnTo>
                <a:lnTo>
                  <a:pt x="7138876" y="1537659"/>
                </a:lnTo>
                <a:lnTo>
                  <a:pt x="7142675" y="1544155"/>
                </a:lnTo>
                <a:lnTo>
                  <a:pt x="7149620" y="1549135"/>
                </a:lnTo>
                <a:lnTo>
                  <a:pt x="7154394" y="1555198"/>
                </a:lnTo>
                <a:lnTo>
                  <a:pt x="7156673" y="1561369"/>
                </a:lnTo>
                <a:lnTo>
                  <a:pt x="7154069" y="1560179"/>
                </a:lnTo>
                <a:lnTo>
                  <a:pt x="7149728" y="1553357"/>
                </a:lnTo>
                <a:lnTo>
                  <a:pt x="7145279" y="1550543"/>
                </a:lnTo>
                <a:lnTo>
                  <a:pt x="7140287" y="1548702"/>
                </a:lnTo>
                <a:lnTo>
                  <a:pt x="7137031" y="1541881"/>
                </a:lnTo>
                <a:lnTo>
                  <a:pt x="7131931" y="1538524"/>
                </a:lnTo>
                <a:lnTo>
                  <a:pt x="7126289" y="1537767"/>
                </a:lnTo>
                <a:lnTo>
                  <a:pt x="7120754" y="1539066"/>
                </a:lnTo>
                <a:lnTo>
                  <a:pt x="7118041" y="1538524"/>
                </a:lnTo>
                <a:lnTo>
                  <a:pt x="7115762" y="1538849"/>
                </a:lnTo>
                <a:lnTo>
                  <a:pt x="7115871" y="1541556"/>
                </a:lnTo>
                <a:lnTo>
                  <a:pt x="7115003" y="1545129"/>
                </a:lnTo>
                <a:lnTo>
                  <a:pt x="7112832" y="1548269"/>
                </a:lnTo>
                <a:lnTo>
                  <a:pt x="7116088" y="1554332"/>
                </a:lnTo>
                <a:lnTo>
                  <a:pt x="7116522" y="1558988"/>
                </a:lnTo>
                <a:lnTo>
                  <a:pt x="7115437" y="1567000"/>
                </a:lnTo>
                <a:lnTo>
                  <a:pt x="7118366" y="1571871"/>
                </a:lnTo>
                <a:lnTo>
                  <a:pt x="7119234" y="1581075"/>
                </a:lnTo>
                <a:lnTo>
                  <a:pt x="7119018" y="1588870"/>
                </a:lnTo>
                <a:lnTo>
                  <a:pt x="7120754" y="1594717"/>
                </a:lnTo>
                <a:lnTo>
                  <a:pt x="7124444" y="1600888"/>
                </a:lnTo>
                <a:lnTo>
                  <a:pt x="7126505" y="1609117"/>
                </a:lnTo>
                <a:lnTo>
                  <a:pt x="7130304" y="1613772"/>
                </a:lnTo>
                <a:lnTo>
                  <a:pt x="7133885" y="1614639"/>
                </a:lnTo>
                <a:lnTo>
                  <a:pt x="7139744" y="1619836"/>
                </a:lnTo>
                <a:lnTo>
                  <a:pt x="7142891" y="1625358"/>
                </a:lnTo>
                <a:lnTo>
                  <a:pt x="7143868" y="1632395"/>
                </a:lnTo>
                <a:lnTo>
                  <a:pt x="7150379" y="1636509"/>
                </a:lnTo>
                <a:lnTo>
                  <a:pt x="7153527" y="1636509"/>
                </a:lnTo>
                <a:lnTo>
                  <a:pt x="7156999" y="1634777"/>
                </a:lnTo>
                <a:lnTo>
                  <a:pt x="7158735" y="1638674"/>
                </a:lnTo>
                <a:lnTo>
                  <a:pt x="7159929" y="1645062"/>
                </a:lnTo>
                <a:lnTo>
                  <a:pt x="7164378" y="1648852"/>
                </a:lnTo>
                <a:lnTo>
                  <a:pt x="7164378" y="1654374"/>
                </a:lnTo>
                <a:lnTo>
                  <a:pt x="7164052" y="1659354"/>
                </a:lnTo>
                <a:lnTo>
                  <a:pt x="7165029" y="1661953"/>
                </a:lnTo>
                <a:lnTo>
                  <a:pt x="7164921" y="1665201"/>
                </a:lnTo>
                <a:lnTo>
                  <a:pt x="7162099" y="1662278"/>
                </a:lnTo>
                <a:lnTo>
                  <a:pt x="7161448" y="1657947"/>
                </a:lnTo>
                <a:lnTo>
                  <a:pt x="7156456" y="1652641"/>
                </a:lnTo>
                <a:lnTo>
                  <a:pt x="7156131" y="1649068"/>
                </a:lnTo>
                <a:lnTo>
                  <a:pt x="7157324" y="1647336"/>
                </a:lnTo>
                <a:lnTo>
                  <a:pt x="7155805" y="1644954"/>
                </a:lnTo>
                <a:lnTo>
                  <a:pt x="7153527" y="1645388"/>
                </a:lnTo>
                <a:lnTo>
                  <a:pt x="7152550" y="1647661"/>
                </a:lnTo>
                <a:lnTo>
                  <a:pt x="7143217" y="1648527"/>
                </a:lnTo>
                <a:lnTo>
                  <a:pt x="7140396" y="1646578"/>
                </a:lnTo>
                <a:lnTo>
                  <a:pt x="7140396" y="1643222"/>
                </a:lnTo>
                <a:lnTo>
                  <a:pt x="7138225" y="1642139"/>
                </a:lnTo>
                <a:lnTo>
                  <a:pt x="7133885" y="1645929"/>
                </a:lnTo>
                <a:lnTo>
                  <a:pt x="7132800" y="1653724"/>
                </a:lnTo>
                <a:lnTo>
                  <a:pt x="7134427" y="1659138"/>
                </a:lnTo>
                <a:lnTo>
                  <a:pt x="7136489" y="1663685"/>
                </a:lnTo>
                <a:lnTo>
                  <a:pt x="7135621" y="1668774"/>
                </a:lnTo>
                <a:lnTo>
                  <a:pt x="7136272" y="1674188"/>
                </a:lnTo>
                <a:lnTo>
                  <a:pt x="7130304" y="1670506"/>
                </a:lnTo>
                <a:lnTo>
                  <a:pt x="7126831" y="1663361"/>
                </a:lnTo>
                <a:lnTo>
                  <a:pt x="7121839" y="1659679"/>
                </a:lnTo>
                <a:lnTo>
                  <a:pt x="7119777" y="1653724"/>
                </a:lnTo>
                <a:lnTo>
                  <a:pt x="7120429" y="1643655"/>
                </a:lnTo>
                <a:lnTo>
                  <a:pt x="7121839" y="1636184"/>
                </a:lnTo>
                <a:lnTo>
                  <a:pt x="7121079" y="1632503"/>
                </a:lnTo>
                <a:lnTo>
                  <a:pt x="7114786" y="1624275"/>
                </a:lnTo>
                <a:lnTo>
                  <a:pt x="7113592" y="1619294"/>
                </a:lnTo>
                <a:lnTo>
                  <a:pt x="7109577" y="1611932"/>
                </a:lnTo>
                <a:lnTo>
                  <a:pt x="7108383" y="1604028"/>
                </a:lnTo>
                <a:lnTo>
                  <a:pt x="7109252" y="1594067"/>
                </a:lnTo>
                <a:lnTo>
                  <a:pt x="7105562" y="1587463"/>
                </a:lnTo>
                <a:lnTo>
                  <a:pt x="7105562" y="1582807"/>
                </a:lnTo>
                <a:lnTo>
                  <a:pt x="7096880" y="1571871"/>
                </a:lnTo>
                <a:lnTo>
                  <a:pt x="7092214" y="1567757"/>
                </a:lnTo>
                <a:lnTo>
                  <a:pt x="7091455" y="1561369"/>
                </a:lnTo>
                <a:lnTo>
                  <a:pt x="7092540" y="1557905"/>
                </a:lnTo>
                <a:lnTo>
                  <a:pt x="7088742" y="1548594"/>
                </a:lnTo>
                <a:lnTo>
                  <a:pt x="7087657" y="1540690"/>
                </a:lnTo>
                <a:lnTo>
                  <a:pt x="7088416" y="1536143"/>
                </a:lnTo>
                <a:lnTo>
                  <a:pt x="7086680" y="1533002"/>
                </a:lnTo>
                <a:lnTo>
                  <a:pt x="7086029" y="1524233"/>
                </a:lnTo>
                <a:lnTo>
                  <a:pt x="7083533" y="1517737"/>
                </a:lnTo>
                <a:lnTo>
                  <a:pt x="7082340" y="1512323"/>
                </a:lnTo>
                <a:lnTo>
                  <a:pt x="7077021" y="1503986"/>
                </a:lnTo>
                <a:lnTo>
                  <a:pt x="7076479" y="1500305"/>
                </a:lnTo>
                <a:lnTo>
                  <a:pt x="7077890" y="1498898"/>
                </a:lnTo>
                <a:lnTo>
                  <a:pt x="7073441" y="1494025"/>
                </a:lnTo>
                <a:lnTo>
                  <a:pt x="7069426" y="1491210"/>
                </a:lnTo>
                <a:lnTo>
                  <a:pt x="7069426" y="1486446"/>
                </a:lnTo>
                <a:lnTo>
                  <a:pt x="7065627" y="1480058"/>
                </a:lnTo>
                <a:lnTo>
                  <a:pt x="7066170" y="1473887"/>
                </a:lnTo>
                <a:lnTo>
                  <a:pt x="7064651" y="1465983"/>
                </a:lnTo>
                <a:lnTo>
                  <a:pt x="7059117" y="1457863"/>
                </a:lnTo>
                <a:lnTo>
                  <a:pt x="7055102" y="1456456"/>
                </a:lnTo>
                <a:lnTo>
                  <a:pt x="7043382" y="1444979"/>
                </a:lnTo>
                <a:lnTo>
                  <a:pt x="7045661" y="1443463"/>
                </a:lnTo>
                <a:lnTo>
                  <a:pt x="7045117" y="1441189"/>
                </a:lnTo>
                <a:lnTo>
                  <a:pt x="7040018" y="1438483"/>
                </a:lnTo>
                <a:lnTo>
                  <a:pt x="7036220" y="1430904"/>
                </a:lnTo>
                <a:lnTo>
                  <a:pt x="7033072" y="1419536"/>
                </a:lnTo>
                <a:lnTo>
                  <a:pt x="7032096" y="1411956"/>
                </a:lnTo>
                <a:lnTo>
                  <a:pt x="7030360" y="1409791"/>
                </a:lnTo>
                <a:lnTo>
                  <a:pt x="7029817" y="1399614"/>
                </a:lnTo>
                <a:lnTo>
                  <a:pt x="7025694" y="1392035"/>
                </a:lnTo>
                <a:lnTo>
                  <a:pt x="7020810" y="1386188"/>
                </a:lnTo>
                <a:lnTo>
                  <a:pt x="7019508" y="1380558"/>
                </a:lnTo>
                <a:lnTo>
                  <a:pt x="7015167" y="1375686"/>
                </a:lnTo>
                <a:lnTo>
                  <a:pt x="7017772" y="1369298"/>
                </a:lnTo>
                <a:lnTo>
                  <a:pt x="7020810" y="1366374"/>
                </a:lnTo>
                <a:lnTo>
                  <a:pt x="7023740" y="1370380"/>
                </a:lnTo>
                <a:lnTo>
                  <a:pt x="7027430" y="1371030"/>
                </a:lnTo>
                <a:lnTo>
                  <a:pt x="7031228" y="1368865"/>
                </a:lnTo>
                <a:lnTo>
                  <a:pt x="7030034" y="1363992"/>
                </a:lnTo>
                <a:lnTo>
                  <a:pt x="7026344" y="1363884"/>
                </a:lnTo>
                <a:lnTo>
                  <a:pt x="7025476" y="1360745"/>
                </a:lnTo>
                <a:lnTo>
                  <a:pt x="7028732" y="1359337"/>
                </a:lnTo>
                <a:lnTo>
                  <a:pt x="7030686" y="1357172"/>
                </a:lnTo>
                <a:lnTo>
                  <a:pt x="7029492" y="1353815"/>
                </a:lnTo>
                <a:lnTo>
                  <a:pt x="7026670" y="1354249"/>
                </a:lnTo>
                <a:lnTo>
                  <a:pt x="7024500" y="1356305"/>
                </a:lnTo>
                <a:lnTo>
                  <a:pt x="7025151" y="1350892"/>
                </a:lnTo>
                <a:lnTo>
                  <a:pt x="7022763" y="1347102"/>
                </a:lnTo>
                <a:lnTo>
                  <a:pt x="7014517" y="1342339"/>
                </a:lnTo>
                <a:lnTo>
                  <a:pt x="7008331" y="1335842"/>
                </a:lnTo>
                <a:lnTo>
                  <a:pt x="7012237" y="1335409"/>
                </a:lnTo>
                <a:lnTo>
                  <a:pt x="7015710" y="1337899"/>
                </a:lnTo>
                <a:lnTo>
                  <a:pt x="7018423" y="1336817"/>
                </a:lnTo>
                <a:lnTo>
                  <a:pt x="7018315" y="1333352"/>
                </a:lnTo>
                <a:lnTo>
                  <a:pt x="7016579" y="1331295"/>
                </a:lnTo>
                <a:close/>
                <a:moveTo>
                  <a:pt x="1078872" y="1328479"/>
                </a:moveTo>
                <a:lnTo>
                  <a:pt x="1079089" y="1333785"/>
                </a:lnTo>
                <a:lnTo>
                  <a:pt x="1075834" y="1332052"/>
                </a:lnTo>
                <a:close/>
                <a:moveTo>
                  <a:pt x="3796562" y="1327397"/>
                </a:moveTo>
                <a:lnTo>
                  <a:pt x="3800360" y="1329238"/>
                </a:lnTo>
                <a:lnTo>
                  <a:pt x="3799817" y="1331728"/>
                </a:lnTo>
                <a:lnTo>
                  <a:pt x="3800360" y="1336493"/>
                </a:lnTo>
                <a:close/>
                <a:moveTo>
                  <a:pt x="2607" y="1325448"/>
                </a:moveTo>
                <a:lnTo>
                  <a:pt x="4668" y="1328697"/>
                </a:lnTo>
                <a:lnTo>
                  <a:pt x="0" y="1330212"/>
                </a:lnTo>
                <a:close/>
                <a:moveTo>
                  <a:pt x="1072361" y="1324906"/>
                </a:moveTo>
                <a:lnTo>
                  <a:pt x="1075942" y="1326314"/>
                </a:lnTo>
                <a:lnTo>
                  <a:pt x="1071819" y="1331078"/>
                </a:lnTo>
                <a:close/>
                <a:moveTo>
                  <a:pt x="3066680" y="1322742"/>
                </a:moveTo>
                <a:lnTo>
                  <a:pt x="3067547" y="1324907"/>
                </a:lnTo>
                <a:lnTo>
                  <a:pt x="3065703" y="1325991"/>
                </a:lnTo>
                <a:lnTo>
                  <a:pt x="3062448" y="1323825"/>
                </a:lnTo>
                <a:lnTo>
                  <a:pt x="3064401" y="1322850"/>
                </a:lnTo>
                <a:close/>
                <a:moveTo>
                  <a:pt x="6883537" y="1320576"/>
                </a:moveTo>
                <a:lnTo>
                  <a:pt x="6884622" y="1323499"/>
                </a:lnTo>
                <a:lnTo>
                  <a:pt x="6882777" y="1326314"/>
                </a:lnTo>
                <a:lnTo>
                  <a:pt x="6884187" y="1329670"/>
                </a:lnTo>
                <a:lnTo>
                  <a:pt x="6882560" y="1330862"/>
                </a:lnTo>
                <a:lnTo>
                  <a:pt x="6879847" y="1329129"/>
                </a:lnTo>
                <a:lnTo>
                  <a:pt x="6878327" y="1330753"/>
                </a:lnTo>
                <a:lnTo>
                  <a:pt x="6878327" y="1331945"/>
                </a:lnTo>
                <a:lnTo>
                  <a:pt x="6876591" y="1332811"/>
                </a:lnTo>
                <a:lnTo>
                  <a:pt x="6874638" y="1329454"/>
                </a:lnTo>
                <a:lnTo>
                  <a:pt x="6874747" y="1325556"/>
                </a:lnTo>
                <a:lnTo>
                  <a:pt x="6879413" y="1323824"/>
                </a:lnTo>
                <a:lnTo>
                  <a:pt x="6882126" y="1320792"/>
                </a:lnTo>
                <a:close/>
                <a:moveTo>
                  <a:pt x="2955233" y="1320034"/>
                </a:moveTo>
                <a:lnTo>
                  <a:pt x="2958814" y="1320900"/>
                </a:lnTo>
                <a:lnTo>
                  <a:pt x="2960224" y="1324364"/>
                </a:lnTo>
                <a:lnTo>
                  <a:pt x="2956860" y="1325772"/>
                </a:lnTo>
                <a:lnTo>
                  <a:pt x="2955775" y="1323390"/>
                </a:lnTo>
                <a:lnTo>
                  <a:pt x="2953822" y="1322957"/>
                </a:lnTo>
                <a:lnTo>
                  <a:pt x="2953280" y="1321333"/>
                </a:lnTo>
                <a:close/>
                <a:moveTo>
                  <a:pt x="2980952" y="1317436"/>
                </a:moveTo>
                <a:lnTo>
                  <a:pt x="2982905" y="1318736"/>
                </a:lnTo>
                <a:lnTo>
                  <a:pt x="2982688" y="1321118"/>
                </a:lnTo>
                <a:lnTo>
                  <a:pt x="2979758" y="1321118"/>
                </a:lnTo>
                <a:lnTo>
                  <a:pt x="2979107" y="1318519"/>
                </a:lnTo>
                <a:close/>
                <a:moveTo>
                  <a:pt x="4026293" y="1317328"/>
                </a:moveTo>
                <a:lnTo>
                  <a:pt x="4031827" y="1319926"/>
                </a:lnTo>
                <a:lnTo>
                  <a:pt x="4027270" y="1320793"/>
                </a:lnTo>
                <a:close/>
                <a:moveTo>
                  <a:pt x="6895363" y="1317111"/>
                </a:moveTo>
                <a:lnTo>
                  <a:pt x="6898728" y="1318843"/>
                </a:lnTo>
                <a:lnTo>
                  <a:pt x="6903828" y="1317869"/>
                </a:lnTo>
                <a:lnTo>
                  <a:pt x="6905130" y="1318843"/>
                </a:lnTo>
                <a:lnTo>
                  <a:pt x="6904804" y="1320684"/>
                </a:lnTo>
                <a:lnTo>
                  <a:pt x="6902851" y="1323715"/>
                </a:lnTo>
                <a:lnTo>
                  <a:pt x="6903828" y="1325015"/>
                </a:lnTo>
                <a:lnTo>
                  <a:pt x="6906324" y="1323391"/>
                </a:lnTo>
                <a:lnTo>
                  <a:pt x="6907192" y="1321225"/>
                </a:lnTo>
                <a:lnTo>
                  <a:pt x="6911099" y="1321225"/>
                </a:lnTo>
                <a:lnTo>
                  <a:pt x="6910230" y="1323391"/>
                </a:lnTo>
                <a:lnTo>
                  <a:pt x="6907517" y="1325989"/>
                </a:lnTo>
                <a:lnTo>
                  <a:pt x="6907410" y="1329021"/>
                </a:lnTo>
                <a:lnTo>
                  <a:pt x="6909037" y="1331511"/>
                </a:lnTo>
                <a:lnTo>
                  <a:pt x="6907626" y="1334326"/>
                </a:lnTo>
                <a:lnTo>
                  <a:pt x="6905021" y="1336925"/>
                </a:lnTo>
                <a:lnTo>
                  <a:pt x="6901115" y="1335842"/>
                </a:lnTo>
                <a:lnTo>
                  <a:pt x="6898076" y="1332486"/>
                </a:lnTo>
                <a:lnTo>
                  <a:pt x="6895906" y="1331944"/>
                </a:lnTo>
                <a:lnTo>
                  <a:pt x="6894496" y="1333460"/>
                </a:lnTo>
                <a:lnTo>
                  <a:pt x="6893845" y="1335733"/>
                </a:lnTo>
                <a:lnTo>
                  <a:pt x="6892326" y="1336383"/>
                </a:lnTo>
                <a:lnTo>
                  <a:pt x="6888527" y="1329995"/>
                </a:lnTo>
                <a:lnTo>
                  <a:pt x="6888527" y="1326422"/>
                </a:lnTo>
                <a:lnTo>
                  <a:pt x="6891566" y="1323823"/>
                </a:lnTo>
                <a:lnTo>
                  <a:pt x="6892868" y="1319493"/>
                </a:lnTo>
                <a:close/>
                <a:moveTo>
                  <a:pt x="2994407" y="1317111"/>
                </a:moveTo>
                <a:lnTo>
                  <a:pt x="2995058" y="1318627"/>
                </a:lnTo>
                <a:lnTo>
                  <a:pt x="2992129" y="1320359"/>
                </a:lnTo>
                <a:lnTo>
                  <a:pt x="2989308" y="1320468"/>
                </a:lnTo>
                <a:lnTo>
                  <a:pt x="2988331" y="1319601"/>
                </a:lnTo>
                <a:lnTo>
                  <a:pt x="2990935" y="1317327"/>
                </a:lnTo>
                <a:close/>
                <a:moveTo>
                  <a:pt x="3799276" y="1316354"/>
                </a:moveTo>
                <a:lnTo>
                  <a:pt x="3800795" y="1318627"/>
                </a:lnTo>
                <a:lnTo>
                  <a:pt x="3800578" y="1321876"/>
                </a:lnTo>
                <a:lnTo>
                  <a:pt x="3797106" y="1317762"/>
                </a:lnTo>
                <a:close/>
                <a:moveTo>
                  <a:pt x="6078" y="1315271"/>
                </a:moveTo>
                <a:lnTo>
                  <a:pt x="10526" y="1317112"/>
                </a:lnTo>
                <a:lnTo>
                  <a:pt x="5643" y="1320902"/>
                </a:lnTo>
                <a:lnTo>
                  <a:pt x="2931" y="1317545"/>
                </a:lnTo>
                <a:close/>
                <a:moveTo>
                  <a:pt x="135104" y="1313539"/>
                </a:moveTo>
                <a:lnTo>
                  <a:pt x="146605" y="1315812"/>
                </a:lnTo>
                <a:lnTo>
                  <a:pt x="149861" y="1314947"/>
                </a:lnTo>
                <a:lnTo>
                  <a:pt x="153551" y="1317653"/>
                </a:lnTo>
                <a:lnTo>
                  <a:pt x="147910" y="1319061"/>
                </a:lnTo>
                <a:lnTo>
                  <a:pt x="137057" y="1316354"/>
                </a:lnTo>
                <a:lnTo>
                  <a:pt x="133150" y="1317436"/>
                </a:lnTo>
                <a:lnTo>
                  <a:pt x="130654" y="1314838"/>
                </a:lnTo>
                <a:close/>
                <a:moveTo>
                  <a:pt x="1135953" y="1311481"/>
                </a:moveTo>
                <a:lnTo>
                  <a:pt x="1137798" y="1316461"/>
                </a:lnTo>
                <a:lnTo>
                  <a:pt x="1135953" y="1321766"/>
                </a:lnTo>
                <a:lnTo>
                  <a:pt x="1137472" y="1325772"/>
                </a:lnTo>
                <a:lnTo>
                  <a:pt x="1131287" y="1334650"/>
                </a:lnTo>
                <a:lnTo>
                  <a:pt x="1124016" y="1340497"/>
                </a:lnTo>
                <a:lnTo>
                  <a:pt x="1121846" y="1338115"/>
                </a:lnTo>
                <a:lnTo>
                  <a:pt x="1124884" y="1332810"/>
                </a:lnTo>
                <a:lnTo>
                  <a:pt x="1129659" y="1329345"/>
                </a:lnTo>
                <a:lnTo>
                  <a:pt x="1129659" y="1327288"/>
                </a:lnTo>
                <a:lnTo>
                  <a:pt x="1120869" y="1331619"/>
                </a:lnTo>
                <a:lnTo>
                  <a:pt x="1119350" y="1328804"/>
                </a:lnTo>
                <a:lnTo>
                  <a:pt x="1123365" y="1324907"/>
                </a:lnTo>
                <a:lnTo>
                  <a:pt x="1122931" y="1322633"/>
                </a:lnTo>
                <a:lnTo>
                  <a:pt x="1125426" y="1316136"/>
                </a:lnTo>
                <a:lnTo>
                  <a:pt x="1130202" y="1314079"/>
                </a:lnTo>
                <a:lnTo>
                  <a:pt x="1130419" y="1311697"/>
                </a:lnTo>
                <a:close/>
                <a:moveTo>
                  <a:pt x="4027813" y="1309099"/>
                </a:moveTo>
                <a:lnTo>
                  <a:pt x="4032262" y="1312022"/>
                </a:lnTo>
                <a:lnTo>
                  <a:pt x="4030091" y="1314946"/>
                </a:lnTo>
                <a:close/>
                <a:moveTo>
                  <a:pt x="4174643" y="1308019"/>
                </a:moveTo>
                <a:lnTo>
                  <a:pt x="4174960" y="1316678"/>
                </a:lnTo>
                <a:lnTo>
                  <a:pt x="4174961" y="1316678"/>
                </a:lnTo>
                <a:close/>
                <a:moveTo>
                  <a:pt x="1085058" y="1306826"/>
                </a:moveTo>
                <a:lnTo>
                  <a:pt x="1086794" y="1309749"/>
                </a:lnTo>
                <a:lnTo>
                  <a:pt x="1084407" y="1311481"/>
                </a:lnTo>
                <a:lnTo>
                  <a:pt x="1082345" y="1308775"/>
                </a:lnTo>
                <a:close/>
                <a:moveTo>
                  <a:pt x="65760" y="1306826"/>
                </a:moveTo>
                <a:lnTo>
                  <a:pt x="68040" y="1307584"/>
                </a:lnTo>
                <a:lnTo>
                  <a:pt x="69775" y="1313755"/>
                </a:lnTo>
                <a:lnTo>
                  <a:pt x="64026" y="1318845"/>
                </a:lnTo>
                <a:lnTo>
                  <a:pt x="58925" y="1318845"/>
                </a:lnTo>
                <a:lnTo>
                  <a:pt x="61745" y="1312998"/>
                </a:lnTo>
                <a:lnTo>
                  <a:pt x="64242" y="1312132"/>
                </a:lnTo>
                <a:close/>
                <a:moveTo>
                  <a:pt x="54910" y="1305634"/>
                </a:moveTo>
                <a:lnTo>
                  <a:pt x="56539" y="1306825"/>
                </a:lnTo>
                <a:lnTo>
                  <a:pt x="53932" y="1310723"/>
                </a:lnTo>
                <a:lnTo>
                  <a:pt x="53392" y="1315054"/>
                </a:lnTo>
                <a:lnTo>
                  <a:pt x="47639" y="1318626"/>
                </a:lnTo>
                <a:lnTo>
                  <a:pt x="44927" y="1317111"/>
                </a:lnTo>
                <a:lnTo>
                  <a:pt x="48834" y="1314187"/>
                </a:lnTo>
                <a:lnTo>
                  <a:pt x="50571" y="1309965"/>
                </a:lnTo>
                <a:close/>
                <a:moveTo>
                  <a:pt x="170263" y="1304769"/>
                </a:moveTo>
                <a:lnTo>
                  <a:pt x="174711" y="1307692"/>
                </a:lnTo>
                <a:lnTo>
                  <a:pt x="169503" y="1310291"/>
                </a:lnTo>
                <a:lnTo>
                  <a:pt x="162775" y="1310291"/>
                </a:lnTo>
                <a:lnTo>
                  <a:pt x="164402" y="1305418"/>
                </a:lnTo>
                <a:close/>
                <a:moveTo>
                  <a:pt x="1157981" y="1304444"/>
                </a:moveTo>
                <a:lnTo>
                  <a:pt x="1157981" y="1304444"/>
                </a:lnTo>
                <a:lnTo>
                  <a:pt x="1158516" y="1304700"/>
                </a:lnTo>
                <a:close/>
                <a:moveTo>
                  <a:pt x="3787882" y="1302820"/>
                </a:moveTo>
                <a:lnTo>
                  <a:pt x="3792222" y="1308234"/>
                </a:lnTo>
                <a:lnTo>
                  <a:pt x="3788533" y="1307042"/>
                </a:lnTo>
                <a:close/>
                <a:moveTo>
                  <a:pt x="15843" y="1302387"/>
                </a:moveTo>
                <a:lnTo>
                  <a:pt x="15194" y="1307151"/>
                </a:lnTo>
                <a:lnTo>
                  <a:pt x="12046" y="1304119"/>
                </a:lnTo>
                <a:close/>
                <a:moveTo>
                  <a:pt x="33099" y="1301304"/>
                </a:moveTo>
                <a:lnTo>
                  <a:pt x="36678" y="1301737"/>
                </a:lnTo>
                <a:lnTo>
                  <a:pt x="42214" y="1307692"/>
                </a:lnTo>
                <a:lnTo>
                  <a:pt x="39283" y="1309316"/>
                </a:lnTo>
                <a:lnTo>
                  <a:pt x="36354" y="1312997"/>
                </a:lnTo>
                <a:lnTo>
                  <a:pt x="32773" y="1313863"/>
                </a:lnTo>
                <a:lnTo>
                  <a:pt x="31469" y="1310182"/>
                </a:lnTo>
                <a:lnTo>
                  <a:pt x="35487" y="1309208"/>
                </a:lnTo>
                <a:lnTo>
                  <a:pt x="30494" y="1306934"/>
                </a:lnTo>
                <a:lnTo>
                  <a:pt x="29517" y="1304335"/>
                </a:lnTo>
                <a:close/>
                <a:moveTo>
                  <a:pt x="199019" y="1300005"/>
                </a:moveTo>
                <a:lnTo>
                  <a:pt x="201081" y="1305960"/>
                </a:lnTo>
                <a:lnTo>
                  <a:pt x="196958" y="1304444"/>
                </a:lnTo>
                <a:close/>
                <a:moveTo>
                  <a:pt x="4041266" y="1299463"/>
                </a:moveTo>
                <a:lnTo>
                  <a:pt x="4042677" y="1303252"/>
                </a:lnTo>
                <a:lnTo>
                  <a:pt x="4038120" y="1303361"/>
                </a:lnTo>
                <a:close/>
                <a:moveTo>
                  <a:pt x="126312" y="1299247"/>
                </a:moveTo>
                <a:lnTo>
                  <a:pt x="129676" y="1300438"/>
                </a:lnTo>
                <a:lnTo>
                  <a:pt x="130546" y="1305418"/>
                </a:lnTo>
                <a:lnTo>
                  <a:pt x="127074" y="1307691"/>
                </a:lnTo>
                <a:lnTo>
                  <a:pt x="127290" y="1311805"/>
                </a:lnTo>
                <a:lnTo>
                  <a:pt x="121538" y="1311048"/>
                </a:lnTo>
                <a:lnTo>
                  <a:pt x="115789" y="1313213"/>
                </a:lnTo>
                <a:lnTo>
                  <a:pt x="110796" y="1312672"/>
                </a:lnTo>
                <a:lnTo>
                  <a:pt x="108299" y="1313646"/>
                </a:lnTo>
                <a:lnTo>
                  <a:pt x="104828" y="1311048"/>
                </a:lnTo>
                <a:lnTo>
                  <a:pt x="106238" y="1308774"/>
                </a:lnTo>
                <a:lnTo>
                  <a:pt x="110037" y="1309857"/>
                </a:lnTo>
                <a:lnTo>
                  <a:pt x="113182" y="1309965"/>
                </a:lnTo>
                <a:lnTo>
                  <a:pt x="116764" y="1306393"/>
                </a:lnTo>
                <a:lnTo>
                  <a:pt x="119150" y="1307367"/>
                </a:lnTo>
                <a:lnTo>
                  <a:pt x="121430" y="1306067"/>
                </a:lnTo>
                <a:lnTo>
                  <a:pt x="121646" y="1302387"/>
                </a:lnTo>
                <a:close/>
                <a:moveTo>
                  <a:pt x="1116745" y="1298922"/>
                </a:moveTo>
                <a:lnTo>
                  <a:pt x="1119349" y="1299571"/>
                </a:lnTo>
                <a:lnTo>
                  <a:pt x="1119349" y="1304660"/>
                </a:lnTo>
                <a:lnTo>
                  <a:pt x="1115876" y="1306826"/>
                </a:lnTo>
                <a:lnTo>
                  <a:pt x="1113381" y="1306176"/>
                </a:lnTo>
                <a:close/>
                <a:moveTo>
                  <a:pt x="1069106" y="1298922"/>
                </a:moveTo>
                <a:lnTo>
                  <a:pt x="1072470" y="1300654"/>
                </a:lnTo>
                <a:lnTo>
                  <a:pt x="1070083" y="1302712"/>
                </a:lnTo>
                <a:close/>
                <a:moveTo>
                  <a:pt x="4176262" y="1298922"/>
                </a:moveTo>
                <a:lnTo>
                  <a:pt x="4174635" y="1307799"/>
                </a:lnTo>
                <a:lnTo>
                  <a:pt x="4174635" y="1307800"/>
                </a:lnTo>
                <a:lnTo>
                  <a:pt x="4176262" y="1298922"/>
                </a:lnTo>
                <a:close/>
                <a:moveTo>
                  <a:pt x="3792873" y="1298706"/>
                </a:moveTo>
                <a:lnTo>
                  <a:pt x="3798842" y="1308667"/>
                </a:lnTo>
                <a:lnTo>
                  <a:pt x="3803399" y="1312132"/>
                </a:lnTo>
                <a:lnTo>
                  <a:pt x="3799492" y="1312023"/>
                </a:lnTo>
                <a:lnTo>
                  <a:pt x="3793199" y="1305743"/>
                </a:lnTo>
                <a:lnTo>
                  <a:pt x="3791354" y="1300655"/>
                </a:lnTo>
                <a:close/>
                <a:moveTo>
                  <a:pt x="3795261" y="1297947"/>
                </a:moveTo>
                <a:lnTo>
                  <a:pt x="3797757" y="1297947"/>
                </a:lnTo>
                <a:lnTo>
                  <a:pt x="3802314" y="1301087"/>
                </a:lnTo>
                <a:lnTo>
                  <a:pt x="3802314" y="1305094"/>
                </a:lnTo>
                <a:lnTo>
                  <a:pt x="3799168" y="1304010"/>
                </a:lnTo>
                <a:close/>
                <a:moveTo>
                  <a:pt x="3802314" y="1297730"/>
                </a:moveTo>
                <a:lnTo>
                  <a:pt x="3804159" y="1297838"/>
                </a:lnTo>
                <a:lnTo>
                  <a:pt x="3805027" y="1300979"/>
                </a:lnTo>
                <a:close/>
                <a:moveTo>
                  <a:pt x="4045609" y="1296540"/>
                </a:moveTo>
                <a:lnTo>
                  <a:pt x="4048973" y="1297514"/>
                </a:lnTo>
                <a:lnTo>
                  <a:pt x="4050601" y="1300330"/>
                </a:lnTo>
                <a:lnTo>
                  <a:pt x="4045718" y="1303253"/>
                </a:lnTo>
                <a:close/>
                <a:moveTo>
                  <a:pt x="228104" y="1295024"/>
                </a:moveTo>
                <a:lnTo>
                  <a:pt x="230817" y="1297406"/>
                </a:lnTo>
                <a:lnTo>
                  <a:pt x="228428" y="1298706"/>
                </a:lnTo>
                <a:lnTo>
                  <a:pt x="225174" y="1297189"/>
                </a:lnTo>
                <a:close/>
                <a:moveTo>
                  <a:pt x="1091134" y="1294375"/>
                </a:moveTo>
                <a:lnTo>
                  <a:pt x="1094172" y="1296973"/>
                </a:lnTo>
                <a:lnTo>
                  <a:pt x="1091459" y="1300005"/>
                </a:lnTo>
                <a:lnTo>
                  <a:pt x="1088854" y="1300005"/>
                </a:lnTo>
                <a:lnTo>
                  <a:pt x="1085708" y="1302279"/>
                </a:lnTo>
                <a:lnTo>
                  <a:pt x="1083321" y="1301304"/>
                </a:lnTo>
                <a:lnTo>
                  <a:pt x="1087010" y="1295783"/>
                </a:lnTo>
                <a:close/>
                <a:moveTo>
                  <a:pt x="214538" y="1294158"/>
                </a:moveTo>
                <a:lnTo>
                  <a:pt x="218986" y="1298272"/>
                </a:lnTo>
                <a:lnTo>
                  <a:pt x="215190" y="1297948"/>
                </a:lnTo>
                <a:lnTo>
                  <a:pt x="209980" y="1302171"/>
                </a:lnTo>
                <a:lnTo>
                  <a:pt x="210416" y="1297948"/>
                </a:lnTo>
                <a:close/>
                <a:moveTo>
                  <a:pt x="2548514" y="1293508"/>
                </a:moveTo>
                <a:lnTo>
                  <a:pt x="2549057" y="1295240"/>
                </a:lnTo>
                <a:lnTo>
                  <a:pt x="2548623" y="1297730"/>
                </a:lnTo>
                <a:lnTo>
                  <a:pt x="2549816" y="1298597"/>
                </a:lnTo>
                <a:lnTo>
                  <a:pt x="2549599" y="1300762"/>
                </a:lnTo>
                <a:lnTo>
                  <a:pt x="2546127" y="1303360"/>
                </a:lnTo>
                <a:lnTo>
                  <a:pt x="2544391" y="1305851"/>
                </a:lnTo>
                <a:lnTo>
                  <a:pt x="2541243" y="1305959"/>
                </a:lnTo>
                <a:lnTo>
                  <a:pt x="2536903" y="1309424"/>
                </a:lnTo>
                <a:lnTo>
                  <a:pt x="2535058" y="1309424"/>
                </a:lnTo>
                <a:lnTo>
                  <a:pt x="2534407" y="1306608"/>
                </a:lnTo>
                <a:lnTo>
                  <a:pt x="2535817" y="1302602"/>
                </a:lnTo>
                <a:lnTo>
                  <a:pt x="2537771" y="1300437"/>
                </a:lnTo>
                <a:lnTo>
                  <a:pt x="2538205" y="1298271"/>
                </a:lnTo>
                <a:lnTo>
                  <a:pt x="2543088" y="1294157"/>
                </a:lnTo>
                <a:close/>
                <a:moveTo>
                  <a:pt x="1152068" y="1292851"/>
                </a:moveTo>
                <a:lnTo>
                  <a:pt x="1155267" y="1295025"/>
                </a:lnTo>
                <a:lnTo>
                  <a:pt x="1156137" y="1296760"/>
                </a:lnTo>
                <a:lnTo>
                  <a:pt x="1155267" y="1295024"/>
                </a:lnTo>
                <a:close/>
                <a:moveTo>
                  <a:pt x="1118480" y="1291885"/>
                </a:moveTo>
                <a:lnTo>
                  <a:pt x="1118480" y="1295133"/>
                </a:lnTo>
                <a:lnTo>
                  <a:pt x="1116093" y="1297515"/>
                </a:lnTo>
                <a:lnTo>
                  <a:pt x="1113488" y="1301522"/>
                </a:lnTo>
                <a:lnTo>
                  <a:pt x="1110125" y="1300763"/>
                </a:lnTo>
                <a:lnTo>
                  <a:pt x="1110776" y="1296865"/>
                </a:lnTo>
                <a:close/>
                <a:moveTo>
                  <a:pt x="238630" y="1290802"/>
                </a:moveTo>
                <a:lnTo>
                  <a:pt x="240476" y="1293400"/>
                </a:lnTo>
                <a:lnTo>
                  <a:pt x="237112" y="1295674"/>
                </a:lnTo>
                <a:lnTo>
                  <a:pt x="233637" y="1292967"/>
                </a:lnTo>
                <a:close/>
                <a:moveTo>
                  <a:pt x="1124232" y="1290368"/>
                </a:moveTo>
                <a:lnTo>
                  <a:pt x="1125751" y="1291667"/>
                </a:lnTo>
                <a:lnTo>
                  <a:pt x="1125534" y="1296864"/>
                </a:lnTo>
                <a:lnTo>
                  <a:pt x="1122821" y="1300329"/>
                </a:lnTo>
                <a:lnTo>
                  <a:pt x="1120217" y="1296756"/>
                </a:lnTo>
                <a:lnTo>
                  <a:pt x="1121953" y="1294266"/>
                </a:lnTo>
                <a:close/>
                <a:moveTo>
                  <a:pt x="1094714" y="1287228"/>
                </a:moveTo>
                <a:lnTo>
                  <a:pt x="1098730" y="1288311"/>
                </a:lnTo>
                <a:lnTo>
                  <a:pt x="1101768" y="1293291"/>
                </a:lnTo>
                <a:lnTo>
                  <a:pt x="1098730" y="1297730"/>
                </a:lnTo>
                <a:lnTo>
                  <a:pt x="1097645" y="1300437"/>
                </a:lnTo>
                <a:lnTo>
                  <a:pt x="1100466" y="1303360"/>
                </a:lnTo>
                <a:lnTo>
                  <a:pt x="1101660" y="1302711"/>
                </a:lnTo>
                <a:lnTo>
                  <a:pt x="1106978" y="1305850"/>
                </a:lnTo>
                <a:lnTo>
                  <a:pt x="1107194" y="1312888"/>
                </a:lnTo>
                <a:lnTo>
                  <a:pt x="1103830" y="1313213"/>
                </a:lnTo>
                <a:lnTo>
                  <a:pt x="1107846" y="1317544"/>
                </a:lnTo>
                <a:lnTo>
                  <a:pt x="1107846" y="1320900"/>
                </a:lnTo>
                <a:lnTo>
                  <a:pt x="1104373" y="1321225"/>
                </a:lnTo>
                <a:lnTo>
                  <a:pt x="1103179" y="1320034"/>
                </a:lnTo>
                <a:lnTo>
                  <a:pt x="1101117" y="1324581"/>
                </a:lnTo>
                <a:lnTo>
                  <a:pt x="1106434" y="1328371"/>
                </a:lnTo>
                <a:lnTo>
                  <a:pt x="1108822" y="1332485"/>
                </a:lnTo>
                <a:lnTo>
                  <a:pt x="1104047" y="1335409"/>
                </a:lnTo>
                <a:lnTo>
                  <a:pt x="1103505" y="1336924"/>
                </a:lnTo>
                <a:lnTo>
                  <a:pt x="1106760" y="1336383"/>
                </a:lnTo>
                <a:lnTo>
                  <a:pt x="1108714" y="1337466"/>
                </a:lnTo>
                <a:lnTo>
                  <a:pt x="1108714" y="1340822"/>
                </a:lnTo>
                <a:lnTo>
                  <a:pt x="1104373" y="1343745"/>
                </a:lnTo>
                <a:lnTo>
                  <a:pt x="1101660" y="1344503"/>
                </a:lnTo>
                <a:lnTo>
                  <a:pt x="1099598" y="1348293"/>
                </a:lnTo>
                <a:lnTo>
                  <a:pt x="1101660" y="1348401"/>
                </a:lnTo>
                <a:lnTo>
                  <a:pt x="1103505" y="1350891"/>
                </a:lnTo>
                <a:lnTo>
                  <a:pt x="1101443" y="1352948"/>
                </a:lnTo>
                <a:lnTo>
                  <a:pt x="1103396" y="1356197"/>
                </a:lnTo>
                <a:lnTo>
                  <a:pt x="1100792" y="1358578"/>
                </a:lnTo>
                <a:lnTo>
                  <a:pt x="1096777" y="1358795"/>
                </a:lnTo>
                <a:lnTo>
                  <a:pt x="1094606" y="1356846"/>
                </a:lnTo>
                <a:lnTo>
                  <a:pt x="1095909" y="1352948"/>
                </a:lnTo>
                <a:lnTo>
                  <a:pt x="1091459" y="1349268"/>
                </a:lnTo>
                <a:lnTo>
                  <a:pt x="1092110" y="1345694"/>
                </a:lnTo>
                <a:lnTo>
                  <a:pt x="1095257" y="1342987"/>
                </a:lnTo>
                <a:lnTo>
                  <a:pt x="1092653" y="1340064"/>
                </a:lnTo>
                <a:lnTo>
                  <a:pt x="1093521" y="1337466"/>
                </a:lnTo>
                <a:lnTo>
                  <a:pt x="1096994" y="1335409"/>
                </a:lnTo>
                <a:lnTo>
                  <a:pt x="1095040" y="1333135"/>
                </a:lnTo>
                <a:lnTo>
                  <a:pt x="1092002" y="1333784"/>
                </a:lnTo>
                <a:lnTo>
                  <a:pt x="1090591" y="1336275"/>
                </a:lnTo>
                <a:lnTo>
                  <a:pt x="1088746" y="1334001"/>
                </a:lnTo>
                <a:lnTo>
                  <a:pt x="1085273" y="1334001"/>
                </a:lnTo>
                <a:lnTo>
                  <a:pt x="1083863" y="1331619"/>
                </a:lnTo>
                <a:lnTo>
                  <a:pt x="1085599" y="1329021"/>
                </a:lnTo>
                <a:lnTo>
                  <a:pt x="1088203" y="1329021"/>
                </a:lnTo>
                <a:lnTo>
                  <a:pt x="1089397" y="1325772"/>
                </a:lnTo>
                <a:lnTo>
                  <a:pt x="1089397" y="1323715"/>
                </a:lnTo>
                <a:lnTo>
                  <a:pt x="1094172" y="1320034"/>
                </a:lnTo>
                <a:lnTo>
                  <a:pt x="1094172" y="1317869"/>
                </a:lnTo>
                <a:lnTo>
                  <a:pt x="1091459" y="1317111"/>
                </a:lnTo>
                <a:lnTo>
                  <a:pt x="1088746" y="1317977"/>
                </a:lnTo>
                <a:lnTo>
                  <a:pt x="1087553" y="1316136"/>
                </a:lnTo>
                <a:lnTo>
                  <a:pt x="1088854" y="1314079"/>
                </a:lnTo>
                <a:lnTo>
                  <a:pt x="1093304" y="1312888"/>
                </a:lnTo>
                <a:lnTo>
                  <a:pt x="1094606" y="1308340"/>
                </a:lnTo>
                <a:lnTo>
                  <a:pt x="1094172" y="1304876"/>
                </a:lnTo>
                <a:lnTo>
                  <a:pt x="1096342" y="1298163"/>
                </a:lnTo>
                <a:lnTo>
                  <a:pt x="1095257" y="1293724"/>
                </a:lnTo>
                <a:lnTo>
                  <a:pt x="1092002" y="1289718"/>
                </a:lnTo>
                <a:close/>
                <a:moveTo>
                  <a:pt x="231360" y="1287228"/>
                </a:moveTo>
                <a:lnTo>
                  <a:pt x="232551" y="1289934"/>
                </a:lnTo>
                <a:lnTo>
                  <a:pt x="228104" y="1290152"/>
                </a:lnTo>
                <a:close/>
                <a:moveTo>
                  <a:pt x="4173292" y="1284978"/>
                </a:moveTo>
                <a:lnTo>
                  <a:pt x="4174960" y="1289393"/>
                </a:lnTo>
                <a:lnTo>
                  <a:pt x="4176133" y="1297974"/>
                </a:lnTo>
                <a:lnTo>
                  <a:pt x="4174961" y="1289394"/>
                </a:lnTo>
                <a:close/>
                <a:moveTo>
                  <a:pt x="1109256" y="1284955"/>
                </a:moveTo>
                <a:lnTo>
                  <a:pt x="1116744" y="1285712"/>
                </a:lnTo>
                <a:lnTo>
                  <a:pt x="1116093" y="1288744"/>
                </a:lnTo>
                <a:lnTo>
                  <a:pt x="1111644" y="1294483"/>
                </a:lnTo>
                <a:lnTo>
                  <a:pt x="1107628" y="1292750"/>
                </a:lnTo>
                <a:lnTo>
                  <a:pt x="1105241" y="1288961"/>
                </a:lnTo>
                <a:close/>
                <a:moveTo>
                  <a:pt x="1134216" y="1278567"/>
                </a:moveTo>
                <a:lnTo>
                  <a:pt x="1134216" y="1278568"/>
                </a:lnTo>
                <a:lnTo>
                  <a:pt x="1138231" y="1278676"/>
                </a:lnTo>
                <a:lnTo>
                  <a:pt x="1141486" y="1279975"/>
                </a:lnTo>
                <a:lnTo>
                  <a:pt x="1141486" y="1279975"/>
                </a:lnTo>
                <a:lnTo>
                  <a:pt x="1138230" y="1278675"/>
                </a:lnTo>
                <a:close/>
                <a:moveTo>
                  <a:pt x="3087840" y="1275753"/>
                </a:moveTo>
                <a:lnTo>
                  <a:pt x="3087298" y="1277485"/>
                </a:lnTo>
                <a:lnTo>
                  <a:pt x="3086538" y="1276077"/>
                </a:lnTo>
                <a:close/>
                <a:moveTo>
                  <a:pt x="4174526" y="1275427"/>
                </a:moveTo>
                <a:lnTo>
                  <a:pt x="4172464" y="1282789"/>
                </a:lnTo>
                <a:lnTo>
                  <a:pt x="4172464" y="1282789"/>
                </a:lnTo>
                <a:lnTo>
                  <a:pt x="4174526" y="1275428"/>
                </a:lnTo>
                <a:close/>
                <a:moveTo>
                  <a:pt x="3090227" y="1269255"/>
                </a:moveTo>
                <a:lnTo>
                  <a:pt x="3090119" y="1271637"/>
                </a:lnTo>
                <a:lnTo>
                  <a:pt x="3088600" y="1272612"/>
                </a:lnTo>
                <a:lnTo>
                  <a:pt x="3089034" y="1270013"/>
                </a:lnTo>
                <a:close/>
                <a:moveTo>
                  <a:pt x="1119674" y="1268823"/>
                </a:moveTo>
                <a:lnTo>
                  <a:pt x="1122170" y="1276402"/>
                </a:lnTo>
                <a:lnTo>
                  <a:pt x="1119240" y="1280840"/>
                </a:lnTo>
                <a:lnTo>
                  <a:pt x="1113489" y="1282465"/>
                </a:lnTo>
                <a:lnTo>
                  <a:pt x="1111753" y="1280191"/>
                </a:lnTo>
                <a:lnTo>
                  <a:pt x="1111753" y="1277268"/>
                </a:lnTo>
                <a:lnTo>
                  <a:pt x="1116310" y="1270555"/>
                </a:lnTo>
                <a:close/>
                <a:moveTo>
                  <a:pt x="288980" y="1267308"/>
                </a:moveTo>
                <a:lnTo>
                  <a:pt x="290500" y="1272288"/>
                </a:lnTo>
                <a:lnTo>
                  <a:pt x="293649" y="1272938"/>
                </a:lnTo>
                <a:lnTo>
                  <a:pt x="288980" y="1274886"/>
                </a:lnTo>
                <a:lnTo>
                  <a:pt x="287462" y="1279326"/>
                </a:lnTo>
                <a:lnTo>
                  <a:pt x="280408" y="1281925"/>
                </a:lnTo>
                <a:lnTo>
                  <a:pt x="272813" y="1290370"/>
                </a:lnTo>
                <a:lnTo>
                  <a:pt x="266410" y="1290370"/>
                </a:lnTo>
                <a:lnTo>
                  <a:pt x="261201" y="1296217"/>
                </a:lnTo>
                <a:lnTo>
                  <a:pt x="252196" y="1296217"/>
                </a:lnTo>
                <a:lnTo>
                  <a:pt x="256862" y="1292102"/>
                </a:lnTo>
                <a:lnTo>
                  <a:pt x="259572" y="1292102"/>
                </a:lnTo>
                <a:lnTo>
                  <a:pt x="262830" y="1286797"/>
                </a:lnTo>
                <a:lnTo>
                  <a:pt x="265762" y="1285064"/>
                </a:lnTo>
                <a:lnTo>
                  <a:pt x="265762" y="1282682"/>
                </a:lnTo>
                <a:lnTo>
                  <a:pt x="271619" y="1277702"/>
                </a:lnTo>
                <a:lnTo>
                  <a:pt x="276285" y="1276836"/>
                </a:lnTo>
                <a:lnTo>
                  <a:pt x="278130" y="1272397"/>
                </a:lnTo>
                <a:lnTo>
                  <a:pt x="276936" y="1269690"/>
                </a:lnTo>
                <a:lnTo>
                  <a:pt x="284533" y="1269690"/>
                </a:lnTo>
                <a:cubicBezTo>
                  <a:pt x="286084" y="1269030"/>
                  <a:pt x="287573" y="1268233"/>
                  <a:pt x="288980" y="1267308"/>
                </a:cubicBezTo>
                <a:close/>
                <a:moveTo>
                  <a:pt x="4092271" y="1262110"/>
                </a:moveTo>
                <a:lnTo>
                  <a:pt x="4093465" y="1267307"/>
                </a:lnTo>
                <a:lnTo>
                  <a:pt x="4091077" y="1269473"/>
                </a:lnTo>
                <a:lnTo>
                  <a:pt x="4088039" y="1266874"/>
                </a:lnTo>
                <a:close/>
                <a:moveTo>
                  <a:pt x="3093157" y="1261244"/>
                </a:moveTo>
                <a:lnTo>
                  <a:pt x="3092506" y="1263084"/>
                </a:lnTo>
                <a:lnTo>
                  <a:pt x="3091313" y="1263301"/>
                </a:lnTo>
                <a:lnTo>
                  <a:pt x="3090879" y="1261893"/>
                </a:lnTo>
                <a:lnTo>
                  <a:pt x="3091530" y="1261352"/>
                </a:lnTo>
                <a:close/>
                <a:moveTo>
                  <a:pt x="2611778" y="1258862"/>
                </a:moveTo>
                <a:lnTo>
                  <a:pt x="2618832" y="1259945"/>
                </a:lnTo>
                <a:lnTo>
                  <a:pt x="2623390" y="1262543"/>
                </a:lnTo>
                <a:lnTo>
                  <a:pt x="2623715" y="1264492"/>
                </a:lnTo>
                <a:lnTo>
                  <a:pt x="2621437" y="1266116"/>
                </a:lnTo>
                <a:lnTo>
                  <a:pt x="2621002" y="1268823"/>
                </a:lnTo>
                <a:lnTo>
                  <a:pt x="2619266" y="1270339"/>
                </a:lnTo>
                <a:lnTo>
                  <a:pt x="2618289" y="1272829"/>
                </a:lnTo>
                <a:lnTo>
                  <a:pt x="2617204" y="1273154"/>
                </a:lnTo>
                <a:lnTo>
                  <a:pt x="2615468" y="1271421"/>
                </a:lnTo>
                <a:lnTo>
                  <a:pt x="2615251" y="1268715"/>
                </a:lnTo>
                <a:lnTo>
                  <a:pt x="2612972" y="1266982"/>
                </a:lnTo>
                <a:lnTo>
                  <a:pt x="2610476" y="1266441"/>
                </a:lnTo>
                <a:lnTo>
                  <a:pt x="2607546" y="1262976"/>
                </a:lnTo>
                <a:lnTo>
                  <a:pt x="2607546" y="1260486"/>
                </a:lnTo>
                <a:lnTo>
                  <a:pt x="2609499" y="1260053"/>
                </a:lnTo>
                <a:close/>
                <a:moveTo>
                  <a:pt x="1087662" y="1256263"/>
                </a:moveTo>
                <a:lnTo>
                  <a:pt x="1089940" y="1256263"/>
                </a:lnTo>
                <a:lnTo>
                  <a:pt x="1094064" y="1262001"/>
                </a:lnTo>
                <a:lnTo>
                  <a:pt x="1092111" y="1265791"/>
                </a:lnTo>
                <a:lnTo>
                  <a:pt x="1092653" y="1268714"/>
                </a:lnTo>
                <a:lnTo>
                  <a:pt x="1095041" y="1265899"/>
                </a:lnTo>
                <a:lnTo>
                  <a:pt x="1096668" y="1268281"/>
                </a:lnTo>
                <a:lnTo>
                  <a:pt x="1092979" y="1277809"/>
                </a:lnTo>
                <a:lnTo>
                  <a:pt x="1085925" y="1285171"/>
                </a:lnTo>
                <a:lnTo>
                  <a:pt x="1086034" y="1289285"/>
                </a:lnTo>
                <a:lnTo>
                  <a:pt x="1083646" y="1292750"/>
                </a:lnTo>
                <a:lnTo>
                  <a:pt x="1078871" y="1294266"/>
                </a:lnTo>
                <a:lnTo>
                  <a:pt x="1080608" y="1289826"/>
                </a:lnTo>
                <a:lnTo>
                  <a:pt x="1079089" y="1287228"/>
                </a:lnTo>
                <a:lnTo>
                  <a:pt x="1076267" y="1295673"/>
                </a:lnTo>
                <a:lnTo>
                  <a:pt x="1074531" y="1293399"/>
                </a:lnTo>
                <a:lnTo>
                  <a:pt x="1075073" y="1289935"/>
                </a:lnTo>
                <a:lnTo>
                  <a:pt x="1077135" y="1286254"/>
                </a:lnTo>
                <a:lnTo>
                  <a:pt x="1076810" y="1283655"/>
                </a:lnTo>
                <a:lnTo>
                  <a:pt x="1078763" y="1280191"/>
                </a:lnTo>
                <a:lnTo>
                  <a:pt x="1081476" y="1282464"/>
                </a:lnTo>
                <a:lnTo>
                  <a:pt x="1083864" y="1279866"/>
                </a:lnTo>
                <a:lnTo>
                  <a:pt x="1084080" y="1276726"/>
                </a:lnTo>
                <a:lnTo>
                  <a:pt x="1080282" y="1274128"/>
                </a:lnTo>
                <a:lnTo>
                  <a:pt x="1083646" y="1269363"/>
                </a:lnTo>
                <a:lnTo>
                  <a:pt x="1081259" y="1267306"/>
                </a:lnTo>
                <a:lnTo>
                  <a:pt x="1081802" y="1262326"/>
                </a:lnTo>
                <a:lnTo>
                  <a:pt x="1083646" y="1259403"/>
                </a:lnTo>
                <a:lnTo>
                  <a:pt x="1087878" y="1261135"/>
                </a:lnTo>
                <a:close/>
                <a:moveTo>
                  <a:pt x="4083046" y="1255505"/>
                </a:moveTo>
                <a:lnTo>
                  <a:pt x="4088037" y="1255505"/>
                </a:lnTo>
                <a:lnTo>
                  <a:pt x="4089448" y="1259078"/>
                </a:lnTo>
                <a:lnTo>
                  <a:pt x="4087603" y="1260595"/>
                </a:lnTo>
                <a:close/>
                <a:moveTo>
                  <a:pt x="4349998" y="1253557"/>
                </a:moveTo>
                <a:lnTo>
                  <a:pt x="4352819" y="1255939"/>
                </a:lnTo>
                <a:lnTo>
                  <a:pt x="4355858" y="1254423"/>
                </a:lnTo>
                <a:lnTo>
                  <a:pt x="4355423" y="1258429"/>
                </a:lnTo>
                <a:lnTo>
                  <a:pt x="4351192" y="1260812"/>
                </a:lnTo>
                <a:lnTo>
                  <a:pt x="4348479" y="1257563"/>
                </a:lnTo>
                <a:close/>
                <a:moveTo>
                  <a:pt x="362663" y="1253232"/>
                </a:moveTo>
                <a:lnTo>
                  <a:pt x="365049" y="1255398"/>
                </a:lnTo>
                <a:lnTo>
                  <a:pt x="360167" y="1255290"/>
                </a:lnTo>
                <a:close/>
                <a:moveTo>
                  <a:pt x="340416" y="1253232"/>
                </a:moveTo>
                <a:lnTo>
                  <a:pt x="343999" y="1255397"/>
                </a:lnTo>
                <a:lnTo>
                  <a:pt x="344105" y="1258104"/>
                </a:lnTo>
                <a:lnTo>
                  <a:pt x="339984" y="1256155"/>
                </a:lnTo>
                <a:close/>
                <a:moveTo>
                  <a:pt x="1102855" y="1252040"/>
                </a:moveTo>
                <a:lnTo>
                  <a:pt x="1107629" y="1257345"/>
                </a:lnTo>
                <a:lnTo>
                  <a:pt x="1112079" y="1257345"/>
                </a:lnTo>
                <a:lnTo>
                  <a:pt x="1115443" y="1261568"/>
                </a:lnTo>
                <a:lnTo>
                  <a:pt x="1115443" y="1267631"/>
                </a:lnTo>
                <a:lnTo>
                  <a:pt x="1111754" y="1273694"/>
                </a:lnTo>
                <a:lnTo>
                  <a:pt x="1109583" y="1274344"/>
                </a:lnTo>
                <a:lnTo>
                  <a:pt x="1108823" y="1268172"/>
                </a:lnTo>
                <a:lnTo>
                  <a:pt x="1106219" y="1269146"/>
                </a:lnTo>
                <a:lnTo>
                  <a:pt x="1106219" y="1274344"/>
                </a:lnTo>
                <a:lnTo>
                  <a:pt x="1104374" y="1276401"/>
                </a:lnTo>
                <a:lnTo>
                  <a:pt x="1106979" y="1280407"/>
                </a:lnTo>
                <a:lnTo>
                  <a:pt x="1103831" y="1282464"/>
                </a:lnTo>
                <a:lnTo>
                  <a:pt x="1101987" y="1280840"/>
                </a:lnTo>
                <a:lnTo>
                  <a:pt x="1099165" y="1284305"/>
                </a:lnTo>
                <a:lnTo>
                  <a:pt x="1096127" y="1283655"/>
                </a:lnTo>
                <a:lnTo>
                  <a:pt x="1096344" y="1277808"/>
                </a:lnTo>
                <a:lnTo>
                  <a:pt x="1099165" y="1266981"/>
                </a:lnTo>
                <a:lnTo>
                  <a:pt x="1101444" y="1263733"/>
                </a:lnTo>
                <a:lnTo>
                  <a:pt x="1097104" y="1262001"/>
                </a:lnTo>
                <a:lnTo>
                  <a:pt x="1098189" y="1257995"/>
                </a:lnTo>
                <a:lnTo>
                  <a:pt x="1096344" y="1255288"/>
                </a:lnTo>
                <a:lnTo>
                  <a:pt x="1096778" y="1252148"/>
                </a:lnTo>
                <a:close/>
                <a:moveTo>
                  <a:pt x="367764" y="1252040"/>
                </a:moveTo>
                <a:lnTo>
                  <a:pt x="372106" y="1252148"/>
                </a:lnTo>
                <a:lnTo>
                  <a:pt x="373516" y="1254530"/>
                </a:lnTo>
                <a:lnTo>
                  <a:pt x="369175" y="1255180"/>
                </a:lnTo>
                <a:lnTo>
                  <a:pt x="368307" y="1254421"/>
                </a:lnTo>
                <a:close/>
                <a:moveTo>
                  <a:pt x="329024" y="1251283"/>
                </a:moveTo>
                <a:lnTo>
                  <a:pt x="330650" y="1254314"/>
                </a:lnTo>
                <a:lnTo>
                  <a:pt x="335859" y="1255830"/>
                </a:lnTo>
                <a:lnTo>
                  <a:pt x="337054" y="1260053"/>
                </a:lnTo>
                <a:lnTo>
                  <a:pt x="332387" y="1263518"/>
                </a:lnTo>
                <a:lnTo>
                  <a:pt x="336185" y="1264601"/>
                </a:lnTo>
                <a:lnTo>
                  <a:pt x="336294" y="1266550"/>
                </a:lnTo>
                <a:lnTo>
                  <a:pt x="329890" y="1269689"/>
                </a:lnTo>
                <a:lnTo>
                  <a:pt x="326203" y="1274236"/>
                </a:lnTo>
                <a:lnTo>
                  <a:pt x="323706" y="1274886"/>
                </a:lnTo>
                <a:lnTo>
                  <a:pt x="322513" y="1272179"/>
                </a:lnTo>
                <a:lnTo>
                  <a:pt x="319691" y="1271313"/>
                </a:lnTo>
                <a:lnTo>
                  <a:pt x="318389" y="1275103"/>
                </a:lnTo>
                <a:lnTo>
                  <a:pt x="316760" y="1279650"/>
                </a:lnTo>
                <a:lnTo>
                  <a:pt x="314266" y="1278675"/>
                </a:lnTo>
                <a:lnTo>
                  <a:pt x="313723" y="1274453"/>
                </a:lnTo>
                <a:lnTo>
                  <a:pt x="308622" y="1280408"/>
                </a:lnTo>
                <a:lnTo>
                  <a:pt x="301895" y="1282357"/>
                </a:lnTo>
                <a:lnTo>
                  <a:pt x="294300" y="1282465"/>
                </a:lnTo>
                <a:lnTo>
                  <a:pt x="291153" y="1279434"/>
                </a:lnTo>
                <a:lnTo>
                  <a:pt x="294190" y="1278892"/>
                </a:lnTo>
                <a:lnTo>
                  <a:pt x="298423" y="1279001"/>
                </a:lnTo>
                <a:lnTo>
                  <a:pt x="304064" y="1274995"/>
                </a:lnTo>
                <a:lnTo>
                  <a:pt x="306777" y="1274778"/>
                </a:lnTo>
                <a:lnTo>
                  <a:pt x="311011" y="1269581"/>
                </a:lnTo>
                <a:lnTo>
                  <a:pt x="313396" y="1268823"/>
                </a:lnTo>
                <a:lnTo>
                  <a:pt x="312964" y="1265791"/>
                </a:lnTo>
                <a:lnTo>
                  <a:pt x="317195" y="1262218"/>
                </a:lnTo>
                <a:lnTo>
                  <a:pt x="322077" y="1264601"/>
                </a:lnTo>
                <a:lnTo>
                  <a:pt x="323922" y="1263193"/>
                </a:lnTo>
                <a:lnTo>
                  <a:pt x="320126" y="1259511"/>
                </a:lnTo>
                <a:lnTo>
                  <a:pt x="320126" y="1255830"/>
                </a:lnTo>
                <a:lnTo>
                  <a:pt x="324790" y="1251824"/>
                </a:lnTo>
                <a:close/>
                <a:moveTo>
                  <a:pt x="3088925" y="1250849"/>
                </a:moveTo>
                <a:lnTo>
                  <a:pt x="3091312" y="1252798"/>
                </a:lnTo>
                <a:lnTo>
                  <a:pt x="3095436" y="1252906"/>
                </a:lnTo>
                <a:lnTo>
                  <a:pt x="3097606" y="1254746"/>
                </a:lnTo>
                <a:lnTo>
                  <a:pt x="3097171" y="1256154"/>
                </a:lnTo>
                <a:lnTo>
                  <a:pt x="3092180" y="1256371"/>
                </a:lnTo>
                <a:lnTo>
                  <a:pt x="3090878" y="1254963"/>
                </a:lnTo>
                <a:lnTo>
                  <a:pt x="3087948" y="1254530"/>
                </a:lnTo>
                <a:lnTo>
                  <a:pt x="3086755" y="1251824"/>
                </a:lnTo>
                <a:close/>
                <a:moveTo>
                  <a:pt x="4107898" y="1249876"/>
                </a:moveTo>
                <a:lnTo>
                  <a:pt x="4110394" y="1252582"/>
                </a:lnTo>
                <a:lnTo>
                  <a:pt x="4106921" y="1256804"/>
                </a:lnTo>
                <a:lnTo>
                  <a:pt x="4101495" y="1256480"/>
                </a:lnTo>
                <a:lnTo>
                  <a:pt x="4098348" y="1258212"/>
                </a:lnTo>
                <a:lnTo>
                  <a:pt x="4095201" y="1258104"/>
                </a:lnTo>
                <a:lnTo>
                  <a:pt x="4098131" y="1252690"/>
                </a:lnTo>
                <a:lnTo>
                  <a:pt x="4102797" y="1252582"/>
                </a:lnTo>
                <a:lnTo>
                  <a:pt x="4104208" y="1250092"/>
                </a:lnTo>
                <a:close/>
                <a:moveTo>
                  <a:pt x="3535798" y="1249009"/>
                </a:moveTo>
                <a:lnTo>
                  <a:pt x="3536557" y="1253989"/>
                </a:lnTo>
                <a:lnTo>
                  <a:pt x="3533518" y="1256155"/>
                </a:lnTo>
                <a:lnTo>
                  <a:pt x="3532108" y="1252907"/>
                </a:lnTo>
                <a:lnTo>
                  <a:pt x="3533410" y="1249550"/>
                </a:lnTo>
                <a:close/>
                <a:moveTo>
                  <a:pt x="4352602" y="1247602"/>
                </a:moveTo>
                <a:lnTo>
                  <a:pt x="4355424" y="1250092"/>
                </a:lnTo>
                <a:lnTo>
                  <a:pt x="4353470" y="1252041"/>
                </a:lnTo>
                <a:lnTo>
                  <a:pt x="4352060" y="1250741"/>
                </a:lnTo>
                <a:close/>
                <a:moveTo>
                  <a:pt x="2617422" y="1246518"/>
                </a:moveTo>
                <a:lnTo>
                  <a:pt x="2619592" y="1249550"/>
                </a:lnTo>
                <a:lnTo>
                  <a:pt x="2620243" y="1251715"/>
                </a:lnTo>
                <a:lnTo>
                  <a:pt x="2622305" y="1254421"/>
                </a:lnTo>
                <a:lnTo>
                  <a:pt x="2622739" y="1257994"/>
                </a:lnTo>
                <a:lnTo>
                  <a:pt x="2621654" y="1258644"/>
                </a:lnTo>
                <a:lnTo>
                  <a:pt x="2617313" y="1255287"/>
                </a:lnTo>
                <a:lnTo>
                  <a:pt x="2617313" y="1252364"/>
                </a:lnTo>
                <a:lnTo>
                  <a:pt x="2615360" y="1250740"/>
                </a:lnTo>
                <a:lnTo>
                  <a:pt x="2615360" y="1248467"/>
                </a:lnTo>
                <a:close/>
                <a:moveTo>
                  <a:pt x="4538434" y="1246465"/>
                </a:moveTo>
                <a:lnTo>
                  <a:pt x="4540445" y="1249333"/>
                </a:lnTo>
                <a:lnTo>
                  <a:pt x="4546630" y="1251390"/>
                </a:lnTo>
                <a:lnTo>
                  <a:pt x="4555463" y="1260997"/>
                </a:lnTo>
                <a:lnTo>
                  <a:pt x="4555311" y="1260270"/>
                </a:lnTo>
                <a:lnTo>
                  <a:pt x="4544460" y="1248469"/>
                </a:lnTo>
                <a:close/>
                <a:moveTo>
                  <a:pt x="349535" y="1246302"/>
                </a:moveTo>
                <a:lnTo>
                  <a:pt x="351378" y="1249658"/>
                </a:lnTo>
                <a:lnTo>
                  <a:pt x="353982" y="1250632"/>
                </a:lnTo>
                <a:lnTo>
                  <a:pt x="352791" y="1252906"/>
                </a:lnTo>
                <a:lnTo>
                  <a:pt x="349317" y="1254963"/>
                </a:lnTo>
                <a:lnTo>
                  <a:pt x="345085" y="1251391"/>
                </a:lnTo>
                <a:lnTo>
                  <a:pt x="344758" y="1247818"/>
                </a:lnTo>
                <a:close/>
                <a:moveTo>
                  <a:pt x="3108567" y="1244029"/>
                </a:moveTo>
                <a:lnTo>
                  <a:pt x="3109001" y="1246952"/>
                </a:lnTo>
                <a:lnTo>
                  <a:pt x="3107265" y="1249119"/>
                </a:lnTo>
                <a:lnTo>
                  <a:pt x="3107265" y="1245329"/>
                </a:lnTo>
                <a:close/>
                <a:moveTo>
                  <a:pt x="424517" y="1243595"/>
                </a:moveTo>
                <a:lnTo>
                  <a:pt x="429075" y="1247926"/>
                </a:lnTo>
                <a:lnTo>
                  <a:pt x="425603" y="1249983"/>
                </a:lnTo>
                <a:lnTo>
                  <a:pt x="421804" y="1246301"/>
                </a:lnTo>
                <a:close/>
                <a:moveTo>
                  <a:pt x="358108" y="1243488"/>
                </a:moveTo>
                <a:lnTo>
                  <a:pt x="360058" y="1244137"/>
                </a:lnTo>
                <a:lnTo>
                  <a:pt x="361253" y="1248902"/>
                </a:lnTo>
                <a:lnTo>
                  <a:pt x="357238" y="1250851"/>
                </a:lnTo>
                <a:lnTo>
                  <a:pt x="358216" y="1247277"/>
                </a:lnTo>
                <a:close/>
                <a:moveTo>
                  <a:pt x="4101494" y="1242513"/>
                </a:moveTo>
                <a:lnTo>
                  <a:pt x="4104641" y="1245436"/>
                </a:lnTo>
                <a:lnTo>
                  <a:pt x="4099758" y="1248792"/>
                </a:lnTo>
                <a:lnTo>
                  <a:pt x="4094007" y="1249009"/>
                </a:lnTo>
                <a:close/>
                <a:moveTo>
                  <a:pt x="1080934" y="1235368"/>
                </a:moveTo>
                <a:lnTo>
                  <a:pt x="1084406" y="1235584"/>
                </a:lnTo>
                <a:lnTo>
                  <a:pt x="1083104" y="1238941"/>
                </a:lnTo>
                <a:close/>
                <a:moveTo>
                  <a:pt x="1063788" y="1235150"/>
                </a:moveTo>
                <a:lnTo>
                  <a:pt x="1065198" y="1238615"/>
                </a:lnTo>
                <a:lnTo>
                  <a:pt x="1064004" y="1241862"/>
                </a:lnTo>
                <a:lnTo>
                  <a:pt x="1063462" y="1246843"/>
                </a:lnTo>
                <a:lnTo>
                  <a:pt x="1059448" y="1248142"/>
                </a:lnTo>
                <a:lnTo>
                  <a:pt x="1058471" y="1245652"/>
                </a:lnTo>
                <a:lnTo>
                  <a:pt x="1061183" y="1242837"/>
                </a:lnTo>
                <a:lnTo>
                  <a:pt x="1060207" y="1241321"/>
                </a:lnTo>
                <a:lnTo>
                  <a:pt x="1060749" y="1237532"/>
                </a:lnTo>
                <a:close/>
                <a:moveTo>
                  <a:pt x="511006" y="1233743"/>
                </a:moveTo>
                <a:lnTo>
                  <a:pt x="511222" y="1236991"/>
                </a:lnTo>
                <a:lnTo>
                  <a:pt x="509269" y="1239157"/>
                </a:lnTo>
                <a:lnTo>
                  <a:pt x="508618" y="1236233"/>
                </a:lnTo>
                <a:close/>
                <a:moveTo>
                  <a:pt x="1075725" y="1232444"/>
                </a:moveTo>
                <a:lnTo>
                  <a:pt x="1078329" y="1233418"/>
                </a:lnTo>
                <a:lnTo>
                  <a:pt x="1080282" y="1239915"/>
                </a:lnTo>
                <a:lnTo>
                  <a:pt x="1080825" y="1248143"/>
                </a:lnTo>
                <a:lnTo>
                  <a:pt x="1079414" y="1255830"/>
                </a:lnTo>
                <a:lnTo>
                  <a:pt x="1077353" y="1257887"/>
                </a:lnTo>
                <a:lnTo>
                  <a:pt x="1076051" y="1266333"/>
                </a:lnTo>
                <a:lnTo>
                  <a:pt x="1073338" y="1269256"/>
                </a:lnTo>
                <a:lnTo>
                  <a:pt x="1071493" y="1275536"/>
                </a:lnTo>
                <a:lnTo>
                  <a:pt x="1070733" y="1281382"/>
                </a:lnTo>
                <a:lnTo>
                  <a:pt x="1069431" y="1285064"/>
                </a:lnTo>
                <a:lnTo>
                  <a:pt x="1067478" y="1286038"/>
                </a:lnTo>
                <a:lnTo>
                  <a:pt x="1066827" y="1282682"/>
                </a:lnTo>
                <a:lnTo>
                  <a:pt x="1067695" y="1279001"/>
                </a:lnTo>
                <a:lnTo>
                  <a:pt x="1065525" y="1277376"/>
                </a:lnTo>
                <a:lnTo>
                  <a:pt x="1064005" y="1270988"/>
                </a:lnTo>
                <a:lnTo>
                  <a:pt x="1065959" y="1267415"/>
                </a:lnTo>
                <a:lnTo>
                  <a:pt x="1069105" y="1266766"/>
                </a:lnTo>
                <a:lnTo>
                  <a:pt x="1071493" y="1264817"/>
                </a:lnTo>
                <a:lnTo>
                  <a:pt x="1070950" y="1262652"/>
                </a:lnTo>
                <a:lnTo>
                  <a:pt x="1068237" y="1264168"/>
                </a:lnTo>
                <a:lnTo>
                  <a:pt x="1065959" y="1264168"/>
                </a:lnTo>
                <a:lnTo>
                  <a:pt x="1065633" y="1261244"/>
                </a:lnTo>
                <a:lnTo>
                  <a:pt x="1067695" y="1260053"/>
                </a:lnTo>
                <a:lnTo>
                  <a:pt x="1068888" y="1257779"/>
                </a:lnTo>
                <a:lnTo>
                  <a:pt x="1063680" y="1256372"/>
                </a:lnTo>
                <a:lnTo>
                  <a:pt x="1063897" y="1254315"/>
                </a:lnTo>
                <a:lnTo>
                  <a:pt x="1068020" y="1253665"/>
                </a:lnTo>
                <a:lnTo>
                  <a:pt x="1070299" y="1250309"/>
                </a:lnTo>
                <a:lnTo>
                  <a:pt x="1070842" y="1245653"/>
                </a:lnTo>
                <a:lnTo>
                  <a:pt x="1073555" y="1242730"/>
                </a:lnTo>
                <a:lnTo>
                  <a:pt x="1070082" y="1239589"/>
                </a:lnTo>
                <a:lnTo>
                  <a:pt x="1069431" y="1236666"/>
                </a:lnTo>
                <a:lnTo>
                  <a:pt x="1073663" y="1234934"/>
                </a:lnTo>
                <a:close/>
                <a:moveTo>
                  <a:pt x="509272" y="1226488"/>
                </a:moveTo>
                <a:lnTo>
                  <a:pt x="509272" y="1230710"/>
                </a:lnTo>
                <a:lnTo>
                  <a:pt x="506232" y="1232010"/>
                </a:lnTo>
                <a:close/>
                <a:moveTo>
                  <a:pt x="444267" y="1225298"/>
                </a:moveTo>
                <a:lnTo>
                  <a:pt x="445137" y="1228763"/>
                </a:lnTo>
                <a:lnTo>
                  <a:pt x="441989" y="1232335"/>
                </a:lnTo>
                <a:lnTo>
                  <a:pt x="439709" y="1228546"/>
                </a:lnTo>
                <a:close/>
                <a:moveTo>
                  <a:pt x="501566" y="1224865"/>
                </a:moveTo>
                <a:lnTo>
                  <a:pt x="498092" y="1228113"/>
                </a:lnTo>
                <a:lnTo>
                  <a:pt x="496900" y="1231144"/>
                </a:lnTo>
                <a:lnTo>
                  <a:pt x="490387" y="1234393"/>
                </a:lnTo>
                <a:lnTo>
                  <a:pt x="487241" y="1237965"/>
                </a:lnTo>
                <a:lnTo>
                  <a:pt x="489846" y="1231577"/>
                </a:lnTo>
                <a:lnTo>
                  <a:pt x="495055" y="1227138"/>
                </a:lnTo>
                <a:lnTo>
                  <a:pt x="495271" y="1225190"/>
                </a:lnTo>
                <a:close/>
                <a:moveTo>
                  <a:pt x="4201655" y="1223673"/>
                </a:moveTo>
                <a:lnTo>
                  <a:pt x="4197532" y="1229412"/>
                </a:lnTo>
                <a:lnTo>
                  <a:pt x="4189501" y="1228870"/>
                </a:lnTo>
                <a:lnTo>
                  <a:pt x="4183099" y="1227463"/>
                </a:lnTo>
                <a:lnTo>
                  <a:pt x="4177890" y="1230603"/>
                </a:lnTo>
                <a:lnTo>
                  <a:pt x="4172573" y="1240022"/>
                </a:lnTo>
                <a:lnTo>
                  <a:pt x="4170836" y="1250632"/>
                </a:lnTo>
                <a:lnTo>
                  <a:pt x="4172473" y="1259418"/>
                </a:lnTo>
                <a:lnTo>
                  <a:pt x="4170837" y="1250633"/>
                </a:lnTo>
                <a:lnTo>
                  <a:pt x="4172573" y="1240023"/>
                </a:lnTo>
                <a:lnTo>
                  <a:pt x="4177890" y="1230604"/>
                </a:lnTo>
                <a:lnTo>
                  <a:pt x="4183099" y="1227463"/>
                </a:lnTo>
                <a:lnTo>
                  <a:pt x="4189501" y="1228871"/>
                </a:lnTo>
                <a:lnTo>
                  <a:pt x="4197532" y="1229412"/>
                </a:lnTo>
                <a:lnTo>
                  <a:pt x="4201655" y="1223674"/>
                </a:lnTo>
                <a:close/>
                <a:moveTo>
                  <a:pt x="2637279" y="1223349"/>
                </a:moveTo>
                <a:lnTo>
                  <a:pt x="2639883" y="1224324"/>
                </a:lnTo>
                <a:lnTo>
                  <a:pt x="2639558" y="1226597"/>
                </a:lnTo>
                <a:lnTo>
                  <a:pt x="2638256" y="1228438"/>
                </a:lnTo>
                <a:lnTo>
                  <a:pt x="2637496" y="1231578"/>
                </a:lnTo>
                <a:lnTo>
                  <a:pt x="2635326" y="1232986"/>
                </a:lnTo>
                <a:lnTo>
                  <a:pt x="2631203" y="1229088"/>
                </a:lnTo>
                <a:lnTo>
                  <a:pt x="2627513" y="1228979"/>
                </a:lnTo>
                <a:lnTo>
                  <a:pt x="2626428" y="1228113"/>
                </a:lnTo>
                <a:lnTo>
                  <a:pt x="2629791" y="1225947"/>
                </a:lnTo>
                <a:lnTo>
                  <a:pt x="2634024" y="1224757"/>
                </a:lnTo>
                <a:close/>
                <a:moveTo>
                  <a:pt x="459786" y="1220100"/>
                </a:moveTo>
                <a:lnTo>
                  <a:pt x="462498" y="1223131"/>
                </a:lnTo>
                <a:lnTo>
                  <a:pt x="458808" y="1225190"/>
                </a:lnTo>
                <a:lnTo>
                  <a:pt x="457181" y="1220533"/>
                </a:lnTo>
                <a:close/>
                <a:moveTo>
                  <a:pt x="410954" y="1216636"/>
                </a:moveTo>
                <a:lnTo>
                  <a:pt x="417466" y="1217069"/>
                </a:lnTo>
                <a:lnTo>
                  <a:pt x="420502" y="1221291"/>
                </a:lnTo>
                <a:lnTo>
                  <a:pt x="418225" y="1225514"/>
                </a:lnTo>
                <a:lnTo>
                  <a:pt x="424628" y="1231577"/>
                </a:lnTo>
                <a:lnTo>
                  <a:pt x="424520" y="1234067"/>
                </a:lnTo>
                <a:lnTo>
                  <a:pt x="418441" y="1232660"/>
                </a:lnTo>
                <a:lnTo>
                  <a:pt x="414861" y="1235691"/>
                </a:lnTo>
                <a:lnTo>
                  <a:pt x="407591" y="1236666"/>
                </a:lnTo>
                <a:lnTo>
                  <a:pt x="402490" y="1235150"/>
                </a:lnTo>
                <a:lnTo>
                  <a:pt x="393917" y="1235366"/>
                </a:lnTo>
                <a:lnTo>
                  <a:pt x="388927" y="1240888"/>
                </a:lnTo>
                <a:lnTo>
                  <a:pt x="386862" y="1240455"/>
                </a:lnTo>
                <a:lnTo>
                  <a:pt x="383391" y="1242188"/>
                </a:lnTo>
                <a:lnTo>
                  <a:pt x="378833" y="1239589"/>
                </a:lnTo>
                <a:lnTo>
                  <a:pt x="377748" y="1235583"/>
                </a:lnTo>
                <a:lnTo>
                  <a:pt x="379049" y="1231360"/>
                </a:lnTo>
                <a:lnTo>
                  <a:pt x="381003" y="1228978"/>
                </a:lnTo>
                <a:lnTo>
                  <a:pt x="383283" y="1229736"/>
                </a:lnTo>
                <a:lnTo>
                  <a:pt x="387298" y="1226813"/>
                </a:lnTo>
                <a:lnTo>
                  <a:pt x="389143" y="1225622"/>
                </a:lnTo>
                <a:lnTo>
                  <a:pt x="393050" y="1217827"/>
                </a:lnTo>
                <a:lnTo>
                  <a:pt x="394785" y="1218044"/>
                </a:lnTo>
                <a:lnTo>
                  <a:pt x="399234" y="1221832"/>
                </a:lnTo>
                <a:lnTo>
                  <a:pt x="401515" y="1219884"/>
                </a:lnTo>
                <a:lnTo>
                  <a:pt x="405853" y="1220425"/>
                </a:lnTo>
                <a:lnTo>
                  <a:pt x="409652" y="1218693"/>
                </a:lnTo>
                <a:close/>
                <a:moveTo>
                  <a:pt x="489627" y="1215878"/>
                </a:moveTo>
                <a:lnTo>
                  <a:pt x="492883" y="1217502"/>
                </a:lnTo>
                <a:lnTo>
                  <a:pt x="490062" y="1220100"/>
                </a:lnTo>
                <a:close/>
                <a:moveTo>
                  <a:pt x="483659" y="1214146"/>
                </a:moveTo>
                <a:lnTo>
                  <a:pt x="486590" y="1216636"/>
                </a:lnTo>
                <a:lnTo>
                  <a:pt x="484529" y="1220534"/>
                </a:lnTo>
                <a:lnTo>
                  <a:pt x="483986" y="1223241"/>
                </a:lnTo>
                <a:lnTo>
                  <a:pt x="480946" y="1223458"/>
                </a:lnTo>
                <a:lnTo>
                  <a:pt x="478777" y="1220426"/>
                </a:lnTo>
                <a:lnTo>
                  <a:pt x="480295" y="1215878"/>
                </a:lnTo>
                <a:close/>
                <a:moveTo>
                  <a:pt x="497114" y="1213063"/>
                </a:moveTo>
                <a:lnTo>
                  <a:pt x="498199" y="1215661"/>
                </a:lnTo>
                <a:lnTo>
                  <a:pt x="495163" y="1214579"/>
                </a:lnTo>
                <a:cubicBezTo>
                  <a:pt x="495055" y="1214470"/>
                  <a:pt x="497114" y="1213063"/>
                  <a:pt x="497114" y="1213063"/>
                </a:cubicBezTo>
                <a:close/>
                <a:moveTo>
                  <a:pt x="609324" y="1210248"/>
                </a:moveTo>
                <a:lnTo>
                  <a:pt x="608345" y="1213929"/>
                </a:lnTo>
                <a:lnTo>
                  <a:pt x="605741" y="1215012"/>
                </a:lnTo>
                <a:lnTo>
                  <a:pt x="603679" y="1214795"/>
                </a:lnTo>
                <a:lnTo>
                  <a:pt x="604115" y="1211980"/>
                </a:lnTo>
                <a:close/>
                <a:moveTo>
                  <a:pt x="4527843" y="1206523"/>
                </a:moveTo>
                <a:lnTo>
                  <a:pt x="4528834" y="1208624"/>
                </a:lnTo>
                <a:lnTo>
                  <a:pt x="4533824" y="1212094"/>
                </a:lnTo>
                <a:lnTo>
                  <a:pt x="4533824" y="1210682"/>
                </a:lnTo>
                <a:close/>
                <a:moveTo>
                  <a:pt x="7555362" y="1204618"/>
                </a:moveTo>
                <a:lnTo>
                  <a:pt x="7561222" y="1206242"/>
                </a:lnTo>
                <a:lnTo>
                  <a:pt x="7564478" y="1210140"/>
                </a:lnTo>
                <a:lnTo>
                  <a:pt x="7569252" y="1210681"/>
                </a:lnTo>
                <a:lnTo>
                  <a:pt x="7572399" y="1213280"/>
                </a:lnTo>
                <a:lnTo>
                  <a:pt x="7579669" y="1216204"/>
                </a:lnTo>
                <a:lnTo>
                  <a:pt x="7581515" y="1217935"/>
                </a:lnTo>
                <a:lnTo>
                  <a:pt x="7575112" y="1219235"/>
                </a:lnTo>
                <a:lnTo>
                  <a:pt x="7572616" y="1217069"/>
                </a:lnTo>
                <a:lnTo>
                  <a:pt x="7565345" y="1214796"/>
                </a:lnTo>
                <a:lnTo>
                  <a:pt x="7560136" y="1210140"/>
                </a:lnTo>
                <a:lnTo>
                  <a:pt x="7555687" y="1209924"/>
                </a:lnTo>
                <a:lnTo>
                  <a:pt x="7553300" y="1206242"/>
                </a:lnTo>
                <a:close/>
                <a:moveTo>
                  <a:pt x="2507385" y="1195848"/>
                </a:moveTo>
                <a:lnTo>
                  <a:pt x="2510532" y="1195956"/>
                </a:lnTo>
                <a:lnTo>
                  <a:pt x="2514765" y="1198446"/>
                </a:lnTo>
                <a:lnTo>
                  <a:pt x="2515850" y="1199529"/>
                </a:lnTo>
                <a:lnTo>
                  <a:pt x="2518888" y="1201045"/>
                </a:lnTo>
                <a:lnTo>
                  <a:pt x="2521818" y="1203643"/>
                </a:lnTo>
                <a:lnTo>
                  <a:pt x="2522035" y="1206567"/>
                </a:lnTo>
                <a:lnTo>
                  <a:pt x="2521167" y="1207000"/>
                </a:lnTo>
                <a:lnTo>
                  <a:pt x="2520299" y="1208407"/>
                </a:lnTo>
                <a:lnTo>
                  <a:pt x="2517478" y="1208732"/>
                </a:lnTo>
                <a:lnTo>
                  <a:pt x="2515633" y="1207325"/>
                </a:lnTo>
                <a:lnTo>
                  <a:pt x="2512703" y="1205809"/>
                </a:lnTo>
                <a:lnTo>
                  <a:pt x="2512268" y="1202777"/>
                </a:lnTo>
                <a:lnTo>
                  <a:pt x="2512594" y="1201478"/>
                </a:lnTo>
                <a:lnTo>
                  <a:pt x="2511835" y="1198880"/>
                </a:lnTo>
                <a:lnTo>
                  <a:pt x="2506952" y="1197472"/>
                </a:lnTo>
                <a:lnTo>
                  <a:pt x="2505975" y="1196064"/>
                </a:lnTo>
                <a:close/>
                <a:moveTo>
                  <a:pt x="4160094" y="1192925"/>
                </a:moveTo>
                <a:lnTo>
                  <a:pt x="4154668" y="1199637"/>
                </a:lnTo>
                <a:lnTo>
                  <a:pt x="4152172" y="1201803"/>
                </a:lnTo>
                <a:lnTo>
                  <a:pt x="4150544" y="1198880"/>
                </a:lnTo>
                <a:lnTo>
                  <a:pt x="4146204" y="1199205"/>
                </a:lnTo>
                <a:lnTo>
                  <a:pt x="4149894" y="1195198"/>
                </a:lnTo>
                <a:lnTo>
                  <a:pt x="4156513" y="1194441"/>
                </a:lnTo>
                <a:close/>
                <a:moveTo>
                  <a:pt x="1078112" y="1192817"/>
                </a:moveTo>
                <a:lnTo>
                  <a:pt x="1082887" y="1195415"/>
                </a:lnTo>
                <a:lnTo>
                  <a:pt x="1082887" y="1199205"/>
                </a:lnTo>
                <a:lnTo>
                  <a:pt x="1080608" y="1202345"/>
                </a:lnTo>
                <a:lnTo>
                  <a:pt x="1082019" y="1205268"/>
                </a:lnTo>
                <a:lnTo>
                  <a:pt x="1083864" y="1202670"/>
                </a:lnTo>
                <a:lnTo>
                  <a:pt x="1087662" y="1201154"/>
                </a:lnTo>
                <a:lnTo>
                  <a:pt x="1092870" y="1205268"/>
                </a:lnTo>
                <a:lnTo>
                  <a:pt x="1092870" y="1208841"/>
                </a:lnTo>
                <a:lnTo>
                  <a:pt x="1088530" y="1209924"/>
                </a:lnTo>
                <a:lnTo>
                  <a:pt x="1089940" y="1212847"/>
                </a:lnTo>
                <a:lnTo>
                  <a:pt x="1087336" y="1215337"/>
                </a:lnTo>
                <a:lnTo>
                  <a:pt x="1083864" y="1214363"/>
                </a:lnTo>
                <a:lnTo>
                  <a:pt x="1080391" y="1209166"/>
                </a:lnTo>
                <a:lnTo>
                  <a:pt x="1074965" y="1204186"/>
                </a:lnTo>
                <a:lnTo>
                  <a:pt x="1074531" y="1205376"/>
                </a:lnTo>
                <a:lnTo>
                  <a:pt x="1080391" y="1214688"/>
                </a:lnTo>
                <a:lnTo>
                  <a:pt x="1080391" y="1218478"/>
                </a:lnTo>
                <a:lnTo>
                  <a:pt x="1085600" y="1219127"/>
                </a:lnTo>
                <a:lnTo>
                  <a:pt x="1087987" y="1222917"/>
                </a:lnTo>
                <a:lnTo>
                  <a:pt x="1085600" y="1225299"/>
                </a:lnTo>
                <a:lnTo>
                  <a:pt x="1085274" y="1232119"/>
                </a:lnTo>
                <a:lnTo>
                  <a:pt x="1082344" y="1232553"/>
                </a:lnTo>
                <a:lnTo>
                  <a:pt x="1077678" y="1227464"/>
                </a:lnTo>
                <a:lnTo>
                  <a:pt x="1077461" y="1222808"/>
                </a:lnTo>
                <a:lnTo>
                  <a:pt x="1071818" y="1212631"/>
                </a:lnTo>
                <a:lnTo>
                  <a:pt x="1070841" y="1217286"/>
                </a:lnTo>
                <a:lnTo>
                  <a:pt x="1073663" y="1223999"/>
                </a:lnTo>
                <a:lnTo>
                  <a:pt x="1073880" y="1229088"/>
                </a:lnTo>
                <a:lnTo>
                  <a:pt x="1070950" y="1232770"/>
                </a:lnTo>
                <a:lnTo>
                  <a:pt x="1066609" y="1232445"/>
                </a:lnTo>
                <a:lnTo>
                  <a:pt x="1062702" y="1227464"/>
                </a:lnTo>
                <a:lnTo>
                  <a:pt x="1065415" y="1223783"/>
                </a:lnTo>
                <a:lnTo>
                  <a:pt x="1062486" y="1221617"/>
                </a:lnTo>
                <a:lnTo>
                  <a:pt x="1063679" y="1216962"/>
                </a:lnTo>
                <a:lnTo>
                  <a:pt x="1060424" y="1210790"/>
                </a:lnTo>
                <a:lnTo>
                  <a:pt x="1063028" y="1206135"/>
                </a:lnTo>
                <a:lnTo>
                  <a:pt x="1065632" y="1208517"/>
                </a:lnTo>
                <a:lnTo>
                  <a:pt x="1067477" y="1205701"/>
                </a:lnTo>
                <a:lnTo>
                  <a:pt x="1064764" y="1203860"/>
                </a:lnTo>
                <a:lnTo>
                  <a:pt x="1064114" y="1198231"/>
                </a:lnTo>
                <a:lnTo>
                  <a:pt x="1066284" y="1193033"/>
                </a:lnTo>
                <a:lnTo>
                  <a:pt x="1068345" y="1197689"/>
                </a:lnTo>
                <a:lnTo>
                  <a:pt x="1070841" y="1196823"/>
                </a:lnTo>
                <a:lnTo>
                  <a:pt x="1071601" y="1194333"/>
                </a:lnTo>
                <a:close/>
                <a:moveTo>
                  <a:pt x="1101226" y="1192384"/>
                </a:moveTo>
                <a:lnTo>
                  <a:pt x="1102854" y="1194766"/>
                </a:lnTo>
                <a:lnTo>
                  <a:pt x="1102854" y="1199205"/>
                </a:lnTo>
                <a:lnTo>
                  <a:pt x="1108822" y="1203211"/>
                </a:lnTo>
                <a:lnTo>
                  <a:pt x="1111752" y="1207000"/>
                </a:lnTo>
                <a:lnTo>
                  <a:pt x="1112946" y="1224324"/>
                </a:lnTo>
                <a:lnTo>
                  <a:pt x="1110233" y="1231253"/>
                </a:lnTo>
                <a:lnTo>
                  <a:pt x="1108171" y="1229629"/>
                </a:lnTo>
                <a:lnTo>
                  <a:pt x="1109257" y="1219018"/>
                </a:lnTo>
                <a:lnTo>
                  <a:pt x="1107303" y="1209166"/>
                </a:lnTo>
                <a:lnTo>
                  <a:pt x="1106109" y="1213714"/>
                </a:lnTo>
                <a:lnTo>
                  <a:pt x="1105784" y="1229953"/>
                </a:lnTo>
                <a:lnTo>
                  <a:pt x="1104373" y="1232985"/>
                </a:lnTo>
                <a:lnTo>
                  <a:pt x="1103831" y="1236991"/>
                </a:lnTo>
                <a:lnTo>
                  <a:pt x="1101443" y="1239048"/>
                </a:lnTo>
                <a:lnTo>
                  <a:pt x="1097862" y="1237532"/>
                </a:lnTo>
                <a:lnTo>
                  <a:pt x="1096560" y="1244570"/>
                </a:lnTo>
                <a:lnTo>
                  <a:pt x="1089724" y="1248576"/>
                </a:lnTo>
                <a:lnTo>
                  <a:pt x="1085816" y="1252149"/>
                </a:lnTo>
                <a:lnTo>
                  <a:pt x="1083321" y="1248685"/>
                </a:lnTo>
                <a:lnTo>
                  <a:pt x="1085925" y="1243704"/>
                </a:lnTo>
                <a:lnTo>
                  <a:pt x="1086251" y="1238399"/>
                </a:lnTo>
                <a:lnTo>
                  <a:pt x="1089397" y="1235475"/>
                </a:lnTo>
                <a:lnTo>
                  <a:pt x="1094932" y="1235692"/>
                </a:lnTo>
                <a:lnTo>
                  <a:pt x="1093196" y="1232769"/>
                </a:lnTo>
                <a:lnTo>
                  <a:pt x="1095367" y="1229845"/>
                </a:lnTo>
                <a:lnTo>
                  <a:pt x="1091460" y="1227788"/>
                </a:lnTo>
                <a:lnTo>
                  <a:pt x="1092328" y="1219885"/>
                </a:lnTo>
                <a:lnTo>
                  <a:pt x="1096994" y="1213496"/>
                </a:lnTo>
                <a:lnTo>
                  <a:pt x="1097971" y="1198663"/>
                </a:lnTo>
                <a:close/>
                <a:moveTo>
                  <a:pt x="2432618" y="1191193"/>
                </a:moveTo>
                <a:lnTo>
                  <a:pt x="2435548" y="1191734"/>
                </a:lnTo>
                <a:lnTo>
                  <a:pt x="2440865" y="1195957"/>
                </a:lnTo>
                <a:lnTo>
                  <a:pt x="2444663" y="1197906"/>
                </a:lnTo>
                <a:lnTo>
                  <a:pt x="2446183" y="1199747"/>
                </a:lnTo>
                <a:lnTo>
                  <a:pt x="2441408" y="1198123"/>
                </a:lnTo>
                <a:lnTo>
                  <a:pt x="2437826" y="1197581"/>
                </a:lnTo>
                <a:lnTo>
                  <a:pt x="2434680" y="1194225"/>
                </a:lnTo>
                <a:lnTo>
                  <a:pt x="2430990" y="1191626"/>
                </a:lnTo>
                <a:close/>
                <a:moveTo>
                  <a:pt x="2321061" y="1189136"/>
                </a:moveTo>
                <a:lnTo>
                  <a:pt x="2322689" y="1189894"/>
                </a:lnTo>
                <a:lnTo>
                  <a:pt x="2325076" y="1192601"/>
                </a:lnTo>
                <a:lnTo>
                  <a:pt x="2327139" y="1192601"/>
                </a:lnTo>
                <a:lnTo>
                  <a:pt x="2329417" y="1191518"/>
                </a:lnTo>
                <a:lnTo>
                  <a:pt x="2330937" y="1193034"/>
                </a:lnTo>
                <a:lnTo>
                  <a:pt x="2331045" y="1195957"/>
                </a:lnTo>
                <a:lnTo>
                  <a:pt x="2331913" y="1198447"/>
                </a:lnTo>
                <a:lnTo>
                  <a:pt x="2329851" y="1201479"/>
                </a:lnTo>
                <a:lnTo>
                  <a:pt x="2327681" y="1203752"/>
                </a:lnTo>
                <a:lnTo>
                  <a:pt x="2328224" y="1206568"/>
                </a:lnTo>
                <a:lnTo>
                  <a:pt x="2328441" y="1208191"/>
                </a:lnTo>
                <a:lnTo>
                  <a:pt x="2327464" y="1209383"/>
                </a:lnTo>
                <a:lnTo>
                  <a:pt x="2324968" y="1209924"/>
                </a:lnTo>
                <a:lnTo>
                  <a:pt x="2322255" y="1213821"/>
                </a:lnTo>
                <a:lnTo>
                  <a:pt x="2318023" y="1217286"/>
                </a:lnTo>
                <a:lnTo>
                  <a:pt x="2317263" y="1219343"/>
                </a:lnTo>
                <a:lnTo>
                  <a:pt x="2318457" y="1220426"/>
                </a:lnTo>
                <a:lnTo>
                  <a:pt x="2318023" y="1222483"/>
                </a:lnTo>
                <a:lnTo>
                  <a:pt x="2316395" y="1224757"/>
                </a:lnTo>
                <a:lnTo>
                  <a:pt x="2315853" y="1226597"/>
                </a:lnTo>
                <a:lnTo>
                  <a:pt x="2314550" y="1228438"/>
                </a:lnTo>
                <a:lnTo>
                  <a:pt x="2313249" y="1228330"/>
                </a:lnTo>
                <a:lnTo>
                  <a:pt x="2312380" y="1224757"/>
                </a:lnTo>
                <a:lnTo>
                  <a:pt x="2310752" y="1223782"/>
                </a:lnTo>
                <a:lnTo>
                  <a:pt x="2309451" y="1220859"/>
                </a:lnTo>
                <a:lnTo>
                  <a:pt x="2305978" y="1220209"/>
                </a:lnTo>
                <a:lnTo>
                  <a:pt x="2304676" y="1218477"/>
                </a:lnTo>
                <a:lnTo>
                  <a:pt x="2306629" y="1215770"/>
                </a:lnTo>
                <a:lnTo>
                  <a:pt x="2306086" y="1211656"/>
                </a:lnTo>
                <a:lnTo>
                  <a:pt x="2307389" y="1208841"/>
                </a:lnTo>
                <a:lnTo>
                  <a:pt x="2310210" y="1207001"/>
                </a:lnTo>
                <a:lnTo>
                  <a:pt x="2309125" y="1203536"/>
                </a:lnTo>
                <a:lnTo>
                  <a:pt x="2309993" y="1199313"/>
                </a:lnTo>
                <a:lnTo>
                  <a:pt x="2312814" y="1196499"/>
                </a:lnTo>
                <a:lnTo>
                  <a:pt x="2314659" y="1196065"/>
                </a:lnTo>
                <a:lnTo>
                  <a:pt x="2319217" y="1191734"/>
                </a:lnTo>
                <a:close/>
                <a:moveTo>
                  <a:pt x="2362190" y="1188811"/>
                </a:moveTo>
                <a:lnTo>
                  <a:pt x="2367073" y="1189569"/>
                </a:lnTo>
                <a:cubicBezTo>
                  <a:pt x="2367073" y="1189569"/>
                  <a:pt x="2366422" y="1191193"/>
                  <a:pt x="2366422" y="1191193"/>
                </a:cubicBezTo>
                <a:lnTo>
                  <a:pt x="2362298" y="1191193"/>
                </a:lnTo>
                <a:lnTo>
                  <a:pt x="2361105" y="1189460"/>
                </a:lnTo>
                <a:close/>
                <a:moveTo>
                  <a:pt x="7513150" y="1186645"/>
                </a:moveTo>
                <a:lnTo>
                  <a:pt x="7518142" y="1187078"/>
                </a:lnTo>
                <a:lnTo>
                  <a:pt x="7515862" y="1189135"/>
                </a:lnTo>
                <a:lnTo>
                  <a:pt x="7515862" y="1190867"/>
                </a:lnTo>
                <a:lnTo>
                  <a:pt x="7520203" y="1197363"/>
                </a:lnTo>
                <a:lnTo>
                  <a:pt x="7524652" y="1197796"/>
                </a:lnTo>
                <a:lnTo>
                  <a:pt x="7526389" y="1202236"/>
                </a:lnTo>
                <a:lnTo>
                  <a:pt x="7532900" y="1207000"/>
                </a:lnTo>
                <a:lnTo>
                  <a:pt x="7537892" y="1208732"/>
                </a:lnTo>
                <a:lnTo>
                  <a:pt x="7540713" y="1214146"/>
                </a:lnTo>
                <a:lnTo>
                  <a:pt x="7539628" y="1215986"/>
                </a:lnTo>
                <a:lnTo>
                  <a:pt x="7534527" y="1215336"/>
                </a:lnTo>
                <a:lnTo>
                  <a:pt x="7529970" y="1210789"/>
                </a:lnTo>
                <a:lnTo>
                  <a:pt x="7527908" y="1211872"/>
                </a:lnTo>
                <a:lnTo>
                  <a:pt x="7525738" y="1211547"/>
                </a:lnTo>
                <a:lnTo>
                  <a:pt x="7521723" y="1207000"/>
                </a:lnTo>
                <a:lnTo>
                  <a:pt x="7518359" y="1206350"/>
                </a:lnTo>
                <a:lnTo>
                  <a:pt x="7513584" y="1200504"/>
                </a:lnTo>
                <a:lnTo>
                  <a:pt x="7514018" y="1198771"/>
                </a:lnTo>
                <a:lnTo>
                  <a:pt x="7511414" y="1196065"/>
                </a:lnTo>
                <a:lnTo>
                  <a:pt x="7507398" y="1196173"/>
                </a:lnTo>
                <a:lnTo>
                  <a:pt x="7503600" y="1194440"/>
                </a:lnTo>
                <a:lnTo>
                  <a:pt x="7503492" y="1191734"/>
                </a:lnTo>
                <a:lnTo>
                  <a:pt x="7506965" y="1187620"/>
                </a:lnTo>
                <a:lnTo>
                  <a:pt x="7510220" y="1187620"/>
                </a:lnTo>
                <a:close/>
                <a:moveTo>
                  <a:pt x="4165086" y="1185778"/>
                </a:moveTo>
                <a:lnTo>
                  <a:pt x="4160203" y="1191625"/>
                </a:lnTo>
                <a:lnTo>
                  <a:pt x="4157273" y="1190325"/>
                </a:lnTo>
                <a:lnTo>
                  <a:pt x="4159009" y="1186861"/>
                </a:lnTo>
                <a:close/>
                <a:moveTo>
                  <a:pt x="1077029" y="1185455"/>
                </a:moveTo>
                <a:lnTo>
                  <a:pt x="1078656" y="1188161"/>
                </a:lnTo>
                <a:lnTo>
                  <a:pt x="1075184" y="1190761"/>
                </a:lnTo>
                <a:lnTo>
                  <a:pt x="1072579" y="1189245"/>
                </a:lnTo>
                <a:close/>
                <a:moveTo>
                  <a:pt x="4517006" y="1182481"/>
                </a:moveTo>
                <a:lnTo>
                  <a:pt x="4517006" y="1182639"/>
                </a:lnTo>
                <a:lnTo>
                  <a:pt x="4520152" y="1186645"/>
                </a:lnTo>
                <a:lnTo>
                  <a:pt x="4525130" y="1187473"/>
                </a:lnTo>
                <a:lnTo>
                  <a:pt x="4523842" y="1184697"/>
                </a:lnTo>
                <a:lnTo>
                  <a:pt x="4517981" y="1183723"/>
                </a:lnTo>
                <a:close/>
                <a:moveTo>
                  <a:pt x="655008" y="1182207"/>
                </a:moveTo>
                <a:lnTo>
                  <a:pt x="653163" y="1185130"/>
                </a:lnTo>
                <a:lnTo>
                  <a:pt x="651644" y="1182748"/>
                </a:lnTo>
                <a:close/>
                <a:moveTo>
                  <a:pt x="651425" y="1178417"/>
                </a:moveTo>
                <a:lnTo>
                  <a:pt x="642312" y="1187512"/>
                </a:lnTo>
                <a:lnTo>
                  <a:pt x="637970" y="1188054"/>
                </a:lnTo>
                <a:lnTo>
                  <a:pt x="641661" y="1181882"/>
                </a:lnTo>
                <a:close/>
                <a:moveTo>
                  <a:pt x="4414566" y="1176901"/>
                </a:moveTo>
                <a:lnTo>
                  <a:pt x="4421728" y="1178092"/>
                </a:lnTo>
                <a:lnTo>
                  <a:pt x="4421402" y="1180149"/>
                </a:lnTo>
                <a:lnTo>
                  <a:pt x="4417062" y="1180258"/>
                </a:lnTo>
                <a:lnTo>
                  <a:pt x="4419340" y="1182856"/>
                </a:lnTo>
                <a:lnTo>
                  <a:pt x="4417495" y="1185130"/>
                </a:lnTo>
                <a:lnTo>
                  <a:pt x="4413372" y="1184805"/>
                </a:lnTo>
                <a:lnTo>
                  <a:pt x="4410008" y="1180149"/>
                </a:lnTo>
                <a:close/>
                <a:moveTo>
                  <a:pt x="2651387" y="1176576"/>
                </a:moveTo>
                <a:lnTo>
                  <a:pt x="2653015" y="1178092"/>
                </a:lnTo>
                <a:lnTo>
                  <a:pt x="2653666" y="1182856"/>
                </a:lnTo>
                <a:lnTo>
                  <a:pt x="2652147" y="1188270"/>
                </a:lnTo>
                <a:lnTo>
                  <a:pt x="2652907" y="1191409"/>
                </a:lnTo>
                <a:lnTo>
                  <a:pt x="2651387" y="1193250"/>
                </a:lnTo>
                <a:lnTo>
                  <a:pt x="2649217" y="1189460"/>
                </a:lnTo>
                <a:lnTo>
                  <a:pt x="2650519" y="1184155"/>
                </a:lnTo>
                <a:close/>
                <a:moveTo>
                  <a:pt x="592719" y="1172029"/>
                </a:moveTo>
                <a:lnTo>
                  <a:pt x="595215" y="1174735"/>
                </a:lnTo>
                <a:lnTo>
                  <a:pt x="591960" y="1176251"/>
                </a:lnTo>
                <a:lnTo>
                  <a:pt x="587944" y="1172137"/>
                </a:lnTo>
                <a:close/>
                <a:moveTo>
                  <a:pt x="2929407" y="1167156"/>
                </a:moveTo>
                <a:lnTo>
                  <a:pt x="2925934" y="1172028"/>
                </a:lnTo>
                <a:lnTo>
                  <a:pt x="2922136" y="1175060"/>
                </a:lnTo>
                <a:lnTo>
                  <a:pt x="2920183" y="1175385"/>
                </a:lnTo>
                <a:lnTo>
                  <a:pt x="2925066" y="1170729"/>
                </a:lnTo>
                <a:lnTo>
                  <a:pt x="2927345" y="1168022"/>
                </a:lnTo>
                <a:close/>
                <a:moveTo>
                  <a:pt x="4515594" y="1166845"/>
                </a:moveTo>
                <a:lnTo>
                  <a:pt x="4515594" y="1169213"/>
                </a:lnTo>
                <a:lnTo>
                  <a:pt x="4516596" y="1169469"/>
                </a:lnTo>
                <a:lnTo>
                  <a:pt x="4518090" y="1167482"/>
                </a:lnTo>
                <a:close/>
                <a:moveTo>
                  <a:pt x="2923873" y="1166183"/>
                </a:moveTo>
                <a:lnTo>
                  <a:pt x="2925609" y="1166183"/>
                </a:lnTo>
                <a:lnTo>
                  <a:pt x="2923981" y="1168997"/>
                </a:lnTo>
                <a:lnTo>
                  <a:pt x="2921593" y="1170946"/>
                </a:lnTo>
                <a:lnTo>
                  <a:pt x="2919966" y="1171704"/>
                </a:lnTo>
                <a:cubicBezTo>
                  <a:pt x="2919966" y="1171704"/>
                  <a:pt x="2919966" y="1170405"/>
                  <a:pt x="2919966" y="1170405"/>
                </a:cubicBezTo>
                <a:close/>
                <a:moveTo>
                  <a:pt x="2261053" y="1164342"/>
                </a:moveTo>
                <a:lnTo>
                  <a:pt x="2262463" y="1168673"/>
                </a:lnTo>
                <a:lnTo>
                  <a:pt x="2266261" y="1170621"/>
                </a:lnTo>
                <a:lnTo>
                  <a:pt x="2269191" y="1167157"/>
                </a:lnTo>
                <a:lnTo>
                  <a:pt x="2271579" y="1166291"/>
                </a:lnTo>
                <a:lnTo>
                  <a:pt x="2273424" y="1167698"/>
                </a:lnTo>
                <a:lnTo>
                  <a:pt x="2277005" y="1165858"/>
                </a:lnTo>
                <a:lnTo>
                  <a:pt x="2280260" y="1165858"/>
                </a:lnTo>
                <a:lnTo>
                  <a:pt x="2282322" y="1167266"/>
                </a:lnTo>
                <a:lnTo>
                  <a:pt x="2286663" y="1167266"/>
                </a:lnTo>
                <a:lnTo>
                  <a:pt x="2288399" y="1168673"/>
                </a:lnTo>
                <a:lnTo>
                  <a:pt x="2284601" y="1173111"/>
                </a:lnTo>
                <a:lnTo>
                  <a:pt x="2284601" y="1176360"/>
                </a:lnTo>
                <a:lnTo>
                  <a:pt x="2279067" y="1180366"/>
                </a:lnTo>
                <a:lnTo>
                  <a:pt x="2275377" y="1180582"/>
                </a:lnTo>
                <a:lnTo>
                  <a:pt x="2271579" y="1186212"/>
                </a:lnTo>
                <a:lnTo>
                  <a:pt x="2267455" y="1188919"/>
                </a:lnTo>
                <a:lnTo>
                  <a:pt x="2263983" y="1190002"/>
                </a:lnTo>
                <a:lnTo>
                  <a:pt x="2257472" y="1195523"/>
                </a:lnTo>
                <a:lnTo>
                  <a:pt x="2253999" y="1195523"/>
                </a:lnTo>
                <a:lnTo>
                  <a:pt x="2253348" y="1192925"/>
                </a:lnTo>
                <a:lnTo>
                  <a:pt x="2251069" y="1192275"/>
                </a:lnTo>
                <a:lnTo>
                  <a:pt x="2247922" y="1192275"/>
                </a:lnTo>
                <a:lnTo>
                  <a:pt x="2243798" y="1197472"/>
                </a:lnTo>
                <a:lnTo>
                  <a:pt x="2241954" y="1198339"/>
                </a:lnTo>
                <a:cubicBezTo>
                  <a:pt x="2241954" y="1198339"/>
                  <a:pt x="2240869" y="1196931"/>
                  <a:pt x="2240869" y="1196931"/>
                </a:cubicBezTo>
                <a:lnTo>
                  <a:pt x="2240869" y="1192600"/>
                </a:lnTo>
                <a:lnTo>
                  <a:pt x="2242279" y="1189135"/>
                </a:lnTo>
                <a:lnTo>
                  <a:pt x="2240869" y="1184480"/>
                </a:lnTo>
                <a:lnTo>
                  <a:pt x="2238807" y="1182639"/>
                </a:lnTo>
                <a:lnTo>
                  <a:pt x="2239675" y="1179716"/>
                </a:lnTo>
                <a:lnTo>
                  <a:pt x="2248140" y="1177442"/>
                </a:lnTo>
                <a:lnTo>
                  <a:pt x="2249984" y="1175060"/>
                </a:lnTo>
                <a:lnTo>
                  <a:pt x="2249984" y="1172787"/>
                </a:lnTo>
                <a:lnTo>
                  <a:pt x="2254976" y="1166615"/>
                </a:lnTo>
                <a:lnTo>
                  <a:pt x="2259317" y="1165425"/>
                </a:lnTo>
                <a:close/>
                <a:moveTo>
                  <a:pt x="4628560" y="1163475"/>
                </a:moveTo>
                <a:lnTo>
                  <a:pt x="4631708" y="1164124"/>
                </a:lnTo>
                <a:lnTo>
                  <a:pt x="4632250" y="1167048"/>
                </a:lnTo>
                <a:lnTo>
                  <a:pt x="4630622" y="1168997"/>
                </a:lnTo>
                <a:lnTo>
                  <a:pt x="4632793" y="1173003"/>
                </a:lnTo>
                <a:lnTo>
                  <a:pt x="4632250" y="1175276"/>
                </a:lnTo>
                <a:lnTo>
                  <a:pt x="4630297" y="1175385"/>
                </a:lnTo>
                <a:lnTo>
                  <a:pt x="4629212" y="1173219"/>
                </a:lnTo>
                <a:lnTo>
                  <a:pt x="4625631" y="1169971"/>
                </a:lnTo>
                <a:lnTo>
                  <a:pt x="4625522" y="1166723"/>
                </a:lnTo>
                <a:close/>
                <a:moveTo>
                  <a:pt x="3136348" y="1163367"/>
                </a:moveTo>
                <a:lnTo>
                  <a:pt x="3138084" y="1165208"/>
                </a:lnTo>
                <a:lnTo>
                  <a:pt x="3139711" y="1169646"/>
                </a:lnTo>
                <a:lnTo>
                  <a:pt x="3141665" y="1171812"/>
                </a:lnTo>
                <a:lnTo>
                  <a:pt x="3141014" y="1176793"/>
                </a:lnTo>
                <a:lnTo>
                  <a:pt x="3141882" y="1181881"/>
                </a:lnTo>
                <a:lnTo>
                  <a:pt x="3139386" y="1181231"/>
                </a:lnTo>
                <a:lnTo>
                  <a:pt x="3137650" y="1177658"/>
                </a:lnTo>
                <a:lnTo>
                  <a:pt x="3138193" y="1172028"/>
                </a:lnTo>
                <a:lnTo>
                  <a:pt x="3136131" y="1168781"/>
                </a:lnTo>
                <a:lnTo>
                  <a:pt x="3135480" y="1165099"/>
                </a:lnTo>
                <a:close/>
                <a:moveTo>
                  <a:pt x="4163891" y="1161635"/>
                </a:moveTo>
                <a:lnTo>
                  <a:pt x="4165844" y="1162934"/>
                </a:lnTo>
                <a:lnTo>
                  <a:pt x="4166061" y="1165749"/>
                </a:lnTo>
                <a:lnTo>
                  <a:pt x="4163565" y="1168023"/>
                </a:lnTo>
                <a:lnTo>
                  <a:pt x="4161504" y="1165425"/>
                </a:lnTo>
                <a:close/>
                <a:moveTo>
                  <a:pt x="4212399" y="1157303"/>
                </a:moveTo>
                <a:lnTo>
                  <a:pt x="4210011" y="1163366"/>
                </a:lnTo>
                <a:lnTo>
                  <a:pt x="4207515" y="1174194"/>
                </a:lnTo>
                <a:lnTo>
                  <a:pt x="4207190" y="1185562"/>
                </a:lnTo>
                <a:lnTo>
                  <a:pt x="4199160" y="1205267"/>
                </a:lnTo>
                <a:lnTo>
                  <a:pt x="4198725" y="1211114"/>
                </a:lnTo>
                <a:lnTo>
                  <a:pt x="4198725" y="1211114"/>
                </a:lnTo>
                <a:lnTo>
                  <a:pt x="4199160" y="1205268"/>
                </a:lnTo>
                <a:lnTo>
                  <a:pt x="4207190" y="1185562"/>
                </a:lnTo>
                <a:lnTo>
                  <a:pt x="4207515" y="1174194"/>
                </a:lnTo>
                <a:lnTo>
                  <a:pt x="4210011" y="1163367"/>
                </a:lnTo>
                <a:lnTo>
                  <a:pt x="4212399" y="1157304"/>
                </a:lnTo>
                <a:close/>
                <a:moveTo>
                  <a:pt x="3159678" y="1150483"/>
                </a:moveTo>
                <a:lnTo>
                  <a:pt x="3161523" y="1152324"/>
                </a:lnTo>
                <a:lnTo>
                  <a:pt x="3160980" y="1154165"/>
                </a:lnTo>
                <a:lnTo>
                  <a:pt x="3158701" y="1152865"/>
                </a:lnTo>
                <a:lnTo>
                  <a:pt x="3157942" y="1150699"/>
                </a:lnTo>
                <a:close/>
                <a:moveTo>
                  <a:pt x="4174961" y="1150267"/>
                </a:moveTo>
                <a:lnTo>
                  <a:pt x="4179410" y="1150916"/>
                </a:lnTo>
                <a:lnTo>
                  <a:pt x="4173767" y="1155573"/>
                </a:lnTo>
                <a:lnTo>
                  <a:pt x="4172899" y="1152649"/>
                </a:lnTo>
                <a:close/>
                <a:moveTo>
                  <a:pt x="2368484" y="1149833"/>
                </a:moveTo>
                <a:lnTo>
                  <a:pt x="2371414" y="1152865"/>
                </a:lnTo>
                <a:lnTo>
                  <a:pt x="2373802" y="1155138"/>
                </a:lnTo>
                <a:lnTo>
                  <a:pt x="2378793" y="1155571"/>
                </a:lnTo>
                <a:lnTo>
                  <a:pt x="2380963" y="1156762"/>
                </a:lnTo>
                <a:lnTo>
                  <a:pt x="2381289" y="1162934"/>
                </a:lnTo>
                <a:lnTo>
                  <a:pt x="2380855" y="1164557"/>
                </a:lnTo>
                <a:lnTo>
                  <a:pt x="2380855" y="1167048"/>
                </a:lnTo>
                <a:lnTo>
                  <a:pt x="2378793" y="1168455"/>
                </a:lnTo>
                <a:lnTo>
                  <a:pt x="2376188" y="1168888"/>
                </a:lnTo>
                <a:lnTo>
                  <a:pt x="2374019" y="1170404"/>
                </a:lnTo>
                <a:lnTo>
                  <a:pt x="2370329" y="1170945"/>
                </a:lnTo>
                <a:lnTo>
                  <a:pt x="2368376" y="1169321"/>
                </a:lnTo>
                <a:lnTo>
                  <a:pt x="2367724" y="1165748"/>
                </a:lnTo>
                <a:lnTo>
                  <a:pt x="2365988" y="1164232"/>
                </a:lnTo>
                <a:lnTo>
                  <a:pt x="2364035" y="1159469"/>
                </a:lnTo>
                <a:lnTo>
                  <a:pt x="2360563" y="1156762"/>
                </a:lnTo>
                <a:lnTo>
                  <a:pt x="2359803" y="1152648"/>
                </a:lnTo>
                <a:lnTo>
                  <a:pt x="2360563" y="1150266"/>
                </a:lnTo>
                <a:lnTo>
                  <a:pt x="2362733" y="1151457"/>
                </a:lnTo>
                <a:lnTo>
                  <a:pt x="2366856" y="1151241"/>
                </a:lnTo>
                <a:close/>
                <a:moveTo>
                  <a:pt x="1073889" y="1147565"/>
                </a:moveTo>
                <a:lnTo>
                  <a:pt x="1067585" y="1148426"/>
                </a:lnTo>
                <a:lnTo>
                  <a:pt x="1058361" y="1149942"/>
                </a:lnTo>
                <a:lnTo>
                  <a:pt x="1056734" y="1150266"/>
                </a:lnTo>
                <a:lnTo>
                  <a:pt x="1056734" y="1150267"/>
                </a:lnTo>
                <a:lnTo>
                  <a:pt x="1058362" y="1149942"/>
                </a:lnTo>
                <a:lnTo>
                  <a:pt x="1067586" y="1148426"/>
                </a:lnTo>
                <a:close/>
                <a:moveTo>
                  <a:pt x="2647480" y="1146910"/>
                </a:moveTo>
                <a:lnTo>
                  <a:pt x="2648782" y="1148209"/>
                </a:lnTo>
                <a:lnTo>
                  <a:pt x="2648674" y="1151349"/>
                </a:lnTo>
                <a:lnTo>
                  <a:pt x="2647154" y="1151024"/>
                </a:lnTo>
                <a:lnTo>
                  <a:pt x="2645635" y="1148859"/>
                </a:lnTo>
                <a:close/>
                <a:moveTo>
                  <a:pt x="2391163" y="1144745"/>
                </a:moveTo>
                <a:lnTo>
                  <a:pt x="2393333" y="1146044"/>
                </a:lnTo>
                <a:lnTo>
                  <a:pt x="2395612" y="1145828"/>
                </a:lnTo>
                <a:lnTo>
                  <a:pt x="2396806" y="1147127"/>
                </a:lnTo>
                <a:lnTo>
                  <a:pt x="2397240" y="1148643"/>
                </a:lnTo>
                <a:lnTo>
                  <a:pt x="2400712" y="1148967"/>
                </a:lnTo>
                <a:lnTo>
                  <a:pt x="2404727" y="1152324"/>
                </a:lnTo>
                <a:lnTo>
                  <a:pt x="2404727" y="1153515"/>
                </a:lnTo>
                <a:lnTo>
                  <a:pt x="2402557" y="1155031"/>
                </a:lnTo>
                <a:lnTo>
                  <a:pt x="2405161" y="1156655"/>
                </a:lnTo>
                <a:lnTo>
                  <a:pt x="2404619" y="1158929"/>
                </a:lnTo>
                <a:lnTo>
                  <a:pt x="2403208" y="1159362"/>
                </a:lnTo>
                <a:lnTo>
                  <a:pt x="2402774" y="1160878"/>
                </a:lnTo>
                <a:lnTo>
                  <a:pt x="2400604" y="1161960"/>
                </a:lnTo>
                <a:lnTo>
                  <a:pt x="2398868" y="1160445"/>
                </a:lnTo>
                <a:lnTo>
                  <a:pt x="2396155" y="1160445"/>
                </a:lnTo>
                <a:lnTo>
                  <a:pt x="2395178" y="1159470"/>
                </a:lnTo>
                <a:lnTo>
                  <a:pt x="2394744" y="1156005"/>
                </a:lnTo>
                <a:lnTo>
                  <a:pt x="2392683" y="1153515"/>
                </a:lnTo>
                <a:lnTo>
                  <a:pt x="2391272" y="1151025"/>
                </a:lnTo>
                <a:lnTo>
                  <a:pt x="2389318" y="1149942"/>
                </a:lnTo>
                <a:lnTo>
                  <a:pt x="2388016" y="1149833"/>
                </a:lnTo>
                <a:lnTo>
                  <a:pt x="2386823" y="1147019"/>
                </a:lnTo>
                <a:lnTo>
                  <a:pt x="2388016" y="1145828"/>
                </a:lnTo>
                <a:close/>
                <a:moveTo>
                  <a:pt x="3164670" y="1143770"/>
                </a:moveTo>
                <a:lnTo>
                  <a:pt x="3166406" y="1145286"/>
                </a:lnTo>
                <a:lnTo>
                  <a:pt x="3165972" y="1147127"/>
                </a:lnTo>
                <a:lnTo>
                  <a:pt x="3164670" y="1145178"/>
                </a:lnTo>
                <a:close/>
                <a:moveTo>
                  <a:pt x="4174093" y="1139547"/>
                </a:moveTo>
                <a:lnTo>
                  <a:pt x="4175069" y="1144094"/>
                </a:lnTo>
                <a:lnTo>
                  <a:pt x="4171271" y="1150049"/>
                </a:lnTo>
                <a:lnTo>
                  <a:pt x="4169752" y="1144202"/>
                </a:lnTo>
                <a:close/>
                <a:moveTo>
                  <a:pt x="3217626" y="1134350"/>
                </a:moveTo>
                <a:lnTo>
                  <a:pt x="3216325" y="1136732"/>
                </a:lnTo>
                <a:lnTo>
                  <a:pt x="3217626" y="1139439"/>
                </a:lnTo>
                <a:lnTo>
                  <a:pt x="3216866" y="1140522"/>
                </a:lnTo>
                <a:lnTo>
                  <a:pt x="3215131" y="1138898"/>
                </a:lnTo>
                <a:lnTo>
                  <a:pt x="3215131" y="1136191"/>
                </a:lnTo>
                <a:close/>
                <a:moveTo>
                  <a:pt x="1092521" y="1129611"/>
                </a:moveTo>
                <a:lnTo>
                  <a:pt x="1087879" y="1134242"/>
                </a:lnTo>
                <a:lnTo>
                  <a:pt x="1081151" y="1144312"/>
                </a:lnTo>
                <a:lnTo>
                  <a:pt x="1075508" y="1147343"/>
                </a:lnTo>
                <a:lnTo>
                  <a:pt x="1081151" y="1144312"/>
                </a:lnTo>
                <a:lnTo>
                  <a:pt x="1087879" y="1134243"/>
                </a:lnTo>
                <a:close/>
                <a:moveTo>
                  <a:pt x="2646612" y="1129262"/>
                </a:moveTo>
                <a:lnTo>
                  <a:pt x="2647263" y="1131860"/>
                </a:lnTo>
                <a:lnTo>
                  <a:pt x="2643791" y="1134567"/>
                </a:lnTo>
                <a:lnTo>
                  <a:pt x="2642055" y="1136625"/>
                </a:lnTo>
                <a:lnTo>
                  <a:pt x="2639776" y="1135974"/>
                </a:lnTo>
                <a:lnTo>
                  <a:pt x="2643031" y="1130994"/>
                </a:lnTo>
                <a:close/>
                <a:moveTo>
                  <a:pt x="3203736" y="1128179"/>
                </a:moveTo>
                <a:lnTo>
                  <a:pt x="3205039" y="1130994"/>
                </a:lnTo>
                <a:lnTo>
                  <a:pt x="3206775" y="1131860"/>
                </a:lnTo>
                <a:lnTo>
                  <a:pt x="3209813" y="1137057"/>
                </a:lnTo>
                <a:lnTo>
                  <a:pt x="3208945" y="1139547"/>
                </a:lnTo>
                <a:lnTo>
                  <a:pt x="3205256" y="1139222"/>
                </a:lnTo>
                <a:lnTo>
                  <a:pt x="3202760" y="1141605"/>
                </a:lnTo>
                <a:lnTo>
                  <a:pt x="3200590" y="1141388"/>
                </a:lnTo>
                <a:lnTo>
                  <a:pt x="3199613" y="1139222"/>
                </a:lnTo>
                <a:lnTo>
                  <a:pt x="3196683" y="1136732"/>
                </a:lnTo>
                <a:lnTo>
                  <a:pt x="3197660" y="1134350"/>
                </a:lnTo>
                <a:lnTo>
                  <a:pt x="3197985" y="1131752"/>
                </a:lnTo>
                <a:lnTo>
                  <a:pt x="3201023" y="1128395"/>
                </a:lnTo>
                <a:close/>
                <a:moveTo>
                  <a:pt x="2388342" y="1127962"/>
                </a:moveTo>
                <a:lnTo>
                  <a:pt x="2390621" y="1130235"/>
                </a:lnTo>
                <a:lnTo>
                  <a:pt x="2388885" y="1131427"/>
                </a:lnTo>
                <a:lnTo>
                  <a:pt x="2383677" y="1130885"/>
                </a:lnTo>
                <a:lnTo>
                  <a:pt x="2385087" y="1128503"/>
                </a:lnTo>
                <a:close/>
                <a:moveTo>
                  <a:pt x="1103059" y="1125444"/>
                </a:moveTo>
                <a:lnTo>
                  <a:pt x="1101769" y="1126230"/>
                </a:lnTo>
                <a:lnTo>
                  <a:pt x="1097709" y="1127512"/>
                </a:lnTo>
                <a:lnTo>
                  <a:pt x="1101769" y="1126231"/>
                </a:lnTo>
                <a:close/>
                <a:moveTo>
                  <a:pt x="4388088" y="1124125"/>
                </a:moveTo>
                <a:lnTo>
                  <a:pt x="4386784" y="1127097"/>
                </a:lnTo>
                <a:lnTo>
                  <a:pt x="4387110" y="1128027"/>
                </a:lnTo>
                <a:lnTo>
                  <a:pt x="4388088" y="1125797"/>
                </a:lnTo>
                <a:close/>
                <a:moveTo>
                  <a:pt x="3496514" y="1122657"/>
                </a:moveTo>
                <a:lnTo>
                  <a:pt x="3501507" y="1124173"/>
                </a:lnTo>
                <a:lnTo>
                  <a:pt x="3505847" y="1123090"/>
                </a:lnTo>
                <a:lnTo>
                  <a:pt x="3508235" y="1127529"/>
                </a:lnTo>
                <a:lnTo>
                  <a:pt x="3508343" y="1131643"/>
                </a:lnTo>
                <a:lnTo>
                  <a:pt x="3514202" y="1134891"/>
                </a:lnTo>
                <a:lnTo>
                  <a:pt x="3516482" y="1138573"/>
                </a:lnTo>
                <a:lnTo>
                  <a:pt x="3519086" y="1136516"/>
                </a:lnTo>
                <a:lnTo>
                  <a:pt x="3522667" y="1140413"/>
                </a:lnTo>
                <a:lnTo>
                  <a:pt x="3518652" y="1143336"/>
                </a:lnTo>
                <a:lnTo>
                  <a:pt x="3523210" y="1145394"/>
                </a:lnTo>
                <a:lnTo>
                  <a:pt x="3524187" y="1148209"/>
                </a:lnTo>
                <a:lnTo>
                  <a:pt x="3520388" y="1152106"/>
                </a:lnTo>
                <a:lnTo>
                  <a:pt x="3517024" y="1149941"/>
                </a:lnTo>
                <a:lnTo>
                  <a:pt x="3519737" y="1155355"/>
                </a:lnTo>
                <a:lnTo>
                  <a:pt x="3517459" y="1158495"/>
                </a:lnTo>
                <a:lnTo>
                  <a:pt x="3522775" y="1158495"/>
                </a:lnTo>
                <a:lnTo>
                  <a:pt x="3522775" y="1162067"/>
                </a:lnTo>
                <a:lnTo>
                  <a:pt x="3519412" y="1166615"/>
                </a:lnTo>
                <a:lnTo>
                  <a:pt x="3518652" y="1170187"/>
                </a:lnTo>
                <a:lnTo>
                  <a:pt x="3522125" y="1170512"/>
                </a:lnTo>
                <a:lnTo>
                  <a:pt x="3525380" y="1177875"/>
                </a:lnTo>
                <a:lnTo>
                  <a:pt x="3525597" y="1170296"/>
                </a:lnTo>
                <a:lnTo>
                  <a:pt x="3528527" y="1168455"/>
                </a:lnTo>
                <a:lnTo>
                  <a:pt x="3530371" y="1162717"/>
                </a:lnTo>
                <a:lnTo>
                  <a:pt x="3535255" y="1160335"/>
                </a:lnTo>
                <a:lnTo>
                  <a:pt x="3535364" y="1166073"/>
                </a:lnTo>
                <a:lnTo>
                  <a:pt x="3539595" y="1165857"/>
                </a:lnTo>
                <a:lnTo>
                  <a:pt x="3542417" y="1162067"/>
                </a:lnTo>
                <a:lnTo>
                  <a:pt x="3542851" y="1154489"/>
                </a:lnTo>
                <a:lnTo>
                  <a:pt x="3540355" y="1151240"/>
                </a:lnTo>
                <a:lnTo>
                  <a:pt x="3539595" y="1140413"/>
                </a:lnTo>
                <a:lnTo>
                  <a:pt x="3545346" y="1135433"/>
                </a:lnTo>
                <a:lnTo>
                  <a:pt x="3548711" y="1138032"/>
                </a:lnTo>
                <a:lnTo>
                  <a:pt x="3549362" y="1147775"/>
                </a:lnTo>
                <a:lnTo>
                  <a:pt x="3552618" y="1149183"/>
                </a:lnTo>
                <a:lnTo>
                  <a:pt x="3553160" y="1156220"/>
                </a:lnTo>
                <a:lnTo>
                  <a:pt x="3556959" y="1156220"/>
                </a:lnTo>
                <a:lnTo>
                  <a:pt x="3560865" y="1149941"/>
                </a:lnTo>
                <a:lnTo>
                  <a:pt x="3559237" y="1145935"/>
                </a:lnTo>
                <a:lnTo>
                  <a:pt x="3560539" y="1140738"/>
                </a:lnTo>
                <a:lnTo>
                  <a:pt x="3569871" y="1134783"/>
                </a:lnTo>
                <a:lnTo>
                  <a:pt x="3574646" y="1137706"/>
                </a:lnTo>
                <a:lnTo>
                  <a:pt x="3574212" y="1142471"/>
                </a:lnTo>
                <a:lnTo>
                  <a:pt x="3576057" y="1144420"/>
                </a:lnTo>
                <a:lnTo>
                  <a:pt x="3576057" y="1148209"/>
                </a:lnTo>
                <a:lnTo>
                  <a:pt x="3580723" y="1155246"/>
                </a:lnTo>
                <a:lnTo>
                  <a:pt x="3578878" y="1165532"/>
                </a:lnTo>
                <a:lnTo>
                  <a:pt x="3583978" y="1153514"/>
                </a:lnTo>
                <a:lnTo>
                  <a:pt x="3579747" y="1145069"/>
                </a:lnTo>
                <a:lnTo>
                  <a:pt x="3581266" y="1137165"/>
                </a:lnTo>
                <a:lnTo>
                  <a:pt x="3584847" y="1136840"/>
                </a:lnTo>
                <a:lnTo>
                  <a:pt x="3586366" y="1138032"/>
                </a:lnTo>
                <a:lnTo>
                  <a:pt x="3589839" y="1137165"/>
                </a:lnTo>
                <a:lnTo>
                  <a:pt x="3594288" y="1144852"/>
                </a:lnTo>
                <a:lnTo>
                  <a:pt x="3598954" y="1145069"/>
                </a:lnTo>
                <a:lnTo>
                  <a:pt x="3601559" y="1139006"/>
                </a:lnTo>
                <a:lnTo>
                  <a:pt x="3604380" y="1135000"/>
                </a:lnTo>
                <a:lnTo>
                  <a:pt x="3606876" y="1136840"/>
                </a:lnTo>
                <a:lnTo>
                  <a:pt x="3606985" y="1140738"/>
                </a:lnTo>
                <a:lnTo>
                  <a:pt x="3611651" y="1138681"/>
                </a:lnTo>
                <a:lnTo>
                  <a:pt x="3616317" y="1138248"/>
                </a:lnTo>
                <a:lnTo>
                  <a:pt x="3618053" y="1134891"/>
                </a:lnTo>
                <a:lnTo>
                  <a:pt x="3616208" y="1130344"/>
                </a:lnTo>
                <a:lnTo>
                  <a:pt x="3618379" y="1126338"/>
                </a:lnTo>
                <a:lnTo>
                  <a:pt x="3621200" y="1127637"/>
                </a:lnTo>
                <a:lnTo>
                  <a:pt x="3624890" y="1125255"/>
                </a:lnTo>
                <a:lnTo>
                  <a:pt x="3629447" y="1126555"/>
                </a:lnTo>
                <a:lnTo>
                  <a:pt x="3630207" y="1130777"/>
                </a:lnTo>
                <a:lnTo>
                  <a:pt x="3632486" y="1133159"/>
                </a:lnTo>
                <a:lnTo>
                  <a:pt x="3630641" y="1135974"/>
                </a:lnTo>
                <a:lnTo>
                  <a:pt x="3633679" y="1140630"/>
                </a:lnTo>
                <a:lnTo>
                  <a:pt x="3636500" y="1140197"/>
                </a:lnTo>
                <a:lnTo>
                  <a:pt x="3637912" y="1136191"/>
                </a:lnTo>
                <a:lnTo>
                  <a:pt x="3645508" y="1129045"/>
                </a:lnTo>
                <a:lnTo>
                  <a:pt x="3649197" y="1128071"/>
                </a:lnTo>
                <a:lnTo>
                  <a:pt x="3653972" y="1130128"/>
                </a:lnTo>
                <a:lnTo>
                  <a:pt x="3649523" y="1131318"/>
                </a:lnTo>
                <a:lnTo>
                  <a:pt x="3647352" y="1133159"/>
                </a:lnTo>
                <a:lnTo>
                  <a:pt x="3646810" y="1136732"/>
                </a:lnTo>
                <a:lnTo>
                  <a:pt x="3642578" y="1138681"/>
                </a:lnTo>
                <a:lnTo>
                  <a:pt x="3644423" y="1143012"/>
                </a:lnTo>
                <a:lnTo>
                  <a:pt x="3648329" y="1144636"/>
                </a:lnTo>
                <a:lnTo>
                  <a:pt x="3651476" y="1142146"/>
                </a:lnTo>
                <a:lnTo>
                  <a:pt x="3653864" y="1143553"/>
                </a:lnTo>
                <a:lnTo>
                  <a:pt x="3654623" y="1149724"/>
                </a:lnTo>
                <a:lnTo>
                  <a:pt x="3651042" y="1150916"/>
                </a:lnTo>
                <a:lnTo>
                  <a:pt x="3647678" y="1155030"/>
                </a:lnTo>
                <a:lnTo>
                  <a:pt x="3649414" y="1159361"/>
                </a:lnTo>
                <a:lnTo>
                  <a:pt x="3650825" y="1158169"/>
                </a:lnTo>
                <a:lnTo>
                  <a:pt x="3656142" y="1158603"/>
                </a:lnTo>
                <a:lnTo>
                  <a:pt x="3656794" y="1162067"/>
                </a:lnTo>
                <a:lnTo>
                  <a:pt x="3654297" y="1166399"/>
                </a:lnTo>
                <a:lnTo>
                  <a:pt x="3657227" y="1164124"/>
                </a:lnTo>
                <a:lnTo>
                  <a:pt x="3666777" y="1164883"/>
                </a:lnTo>
                <a:lnTo>
                  <a:pt x="3670792" y="1168780"/>
                </a:lnTo>
                <a:lnTo>
                  <a:pt x="3668513" y="1172136"/>
                </a:lnTo>
                <a:lnTo>
                  <a:pt x="3664823" y="1172136"/>
                </a:lnTo>
                <a:lnTo>
                  <a:pt x="3660591" y="1174302"/>
                </a:lnTo>
                <a:lnTo>
                  <a:pt x="3661025" y="1178633"/>
                </a:lnTo>
                <a:lnTo>
                  <a:pt x="3658421" y="1180799"/>
                </a:lnTo>
                <a:lnTo>
                  <a:pt x="3658530" y="1185562"/>
                </a:lnTo>
                <a:lnTo>
                  <a:pt x="3662870" y="1190001"/>
                </a:lnTo>
                <a:lnTo>
                  <a:pt x="3664173" y="1194224"/>
                </a:lnTo>
                <a:lnTo>
                  <a:pt x="3661568" y="1199313"/>
                </a:lnTo>
                <a:lnTo>
                  <a:pt x="3657662" y="1199854"/>
                </a:lnTo>
                <a:lnTo>
                  <a:pt x="3656902" y="1196064"/>
                </a:lnTo>
                <a:lnTo>
                  <a:pt x="3652778" y="1193574"/>
                </a:lnTo>
                <a:lnTo>
                  <a:pt x="3650934" y="1195848"/>
                </a:lnTo>
                <a:lnTo>
                  <a:pt x="3652996" y="1201695"/>
                </a:lnTo>
                <a:lnTo>
                  <a:pt x="3650174" y="1202452"/>
                </a:lnTo>
                <a:lnTo>
                  <a:pt x="3649631" y="1205484"/>
                </a:lnTo>
                <a:lnTo>
                  <a:pt x="3651151" y="1207108"/>
                </a:lnTo>
                <a:lnTo>
                  <a:pt x="3650499" y="1210031"/>
                </a:lnTo>
                <a:lnTo>
                  <a:pt x="3647135" y="1213821"/>
                </a:lnTo>
                <a:lnTo>
                  <a:pt x="3641167" y="1211764"/>
                </a:lnTo>
                <a:lnTo>
                  <a:pt x="3640082" y="1208191"/>
                </a:lnTo>
                <a:lnTo>
                  <a:pt x="3637912" y="1207974"/>
                </a:lnTo>
                <a:lnTo>
                  <a:pt x="3637260" y="1211114"/>
                </a:lnTo>
                <a:lnTo>
                  <a:pt x="3638345" y="1213279"/>
                </a:lnTo>
                <a:lnTo>
                  <a:pt x="3636067" y="1216203"/>
                </a:lnTo>
                <a:lnTo>
                  <a:pt x="3624130" y="1218476"/>
                </a:lnTo>
                <a:lnTo>
                  <a:pt x="3620332" y="1223674"/>
                </a:lnTo>
                <a:lnTo>
                  <a:pt x="3610348" y="1232443"/>
                </a:lnTo>
                <a:lnTo>
                  <a:pt x="3608286" y="1233635"/>
                </a:lnTo>
                <a:lnTo>
                  <a:pt x="3608395" y="1232443"/>
                </a:lnTo>
                <a:lnTo>
                  <a:pt x="3604380" y="1232119"/>
                </a:lnTo>
                <a:lnTo>
                  <a:pt x="3602861" y="1232660"/>
                </a:lnTo>
                <a:lnTo>
                  <a:pt x="3600582" y="1231360"/>
                </a:lnTo>
                <a:lnTo>
                  <a:pt x="3596241" y="1236991"/>
                </a:lnTo>
                <a:lnTo>
                  <a:pt x="3592552" y="1237749"/>
                </a:lnTo>
                <a:lnTo>
                  <a:pt x="3590707" y="1240023"/>
                </a:lnTo>
                <a:lnTo>
                  <a:pt x="3588971" y="1237749"/>
                </a:lnTo>
                <a:lnTo>
                  <a:pt x="3591249" y="1234825"/>
                </a:lnTo>
                <a:lnTo>
                  <a:pt x="3585064" y="1235475"/>
                </a:lnTo>
                <a:lnTo>
                  <a:pt x="3584630" y="1241321"/>
                </a:lnTo>
                <a:lnTo>
                  <a:pt x="3579530" y="1246302"/>
                </a:lnTo>
                <a:lnTo>
                  <a:pt x="3574212" y="1244895"/>
                </a:lnTo>
                <a:lnTo>
                  <a:pt x="3572910" y="1242080"/>
                </a:lnTo>
                <a:lnTo>
                  <a:pt x="3571391" y="1244245"/>
                </a:lnTo>
                <a:lnTo>
                  <a:pt x="3572259" y="1249550"/>
                </a:lnTo>
                <a:lnTo>
                  <a:pt x="3565857" y="1251499"/>
                </a:lnTo>
                <a:lnTo>
                  <a:pt x="3561950" y="1249875"/>
                </a:lnTo>
                <a:lnTo>
                  <a:pt x="3551966" y="1250092"/>
                </a:lnTo>
                <a:lnTo>
                  <a:pt x="3544370" y="1242946"/>
                </a:lnTo>
                <a:lnTo>
                  <a:pt x="3539921" y="1242513"/>
                </a:lnTo>
                <a:lnTo>
                  <a:pt x="3536123" y="1245760"/>
                </a:lnTo>
                <a:lnTo>
                  <a:pt x="3532325" y="1243920"/>
                </a:lnTo>
                <a:lnTo>
                  <a:pt x="3527008" y="1238615"/>
                </a:lnTo>
                <a:lnTo>
                  <a:pt x="3527441" y="1233635"/>
                </a:lnTo>
                <a:lnTo>
                  <a:pt x="3522450" y="1235366"/>
                </a:lnTo>
                <a:lnTo>
                  <a:pt x="3519520" y="1234501"/>
                </a:lnTo>
                <a:lnTo>
                  <a:pt x="3518652" y="1231794"/>
                </a:lnTo>
                <a:lnTo>
                  <a:pt x="3515071" y="1234068"/>
                </a:lnTo>
                <a:lnTo>
                  <a:pt x="3510296" y="1231469"/>
                </a:lnTo>
                <a:lnTo>
                  <a:pt x="3504653" y="1235800"/>
                </a:lnTo>
                <a:lnTo>
                  <a:pt x="3496840" y="1234825"/>
                </a:lnTo>
                <a:lnTo>
                  <a:pt x="3493151" y="1232660"/>
                </a:lnTo>
                <a:lnTo>
                  <a:pt x="3491631" y="1234501"/>
                </a:lnTo>
                <a:lnTo>
                  <a:pt x="3485988" y="1234501"/>
                </a:lnTo>
                <a:lnTo>
                  <a:pt x="3486639" y="1226813"/>
                </a:lnTo>
                <a:lnTo>
                  <a:pt x="3488376" y="1225514"/>
                </a:lnTo>
                <a:lnTo>
                  <a:pt x="3486097" y="1224431"/>
                </a:lnTo>
                <a:lnTo>
                  <a:pt x="3485120" y="1218801"/>
                </a:lnTo>
                <a:lnTo>
                  <a:pt x="3486857" y="1218801"/>
                </a:lnTo>
                <a:lnTo>
                  <a:pt x="3486965" y="1216744"/>
                </a:lnTo>
                <a:lnTo>
                  <a:pt x="3490980" y="1219451"/>
                </a:lnTo>
                <a:lnTo>
                  <a:pt x="3492391" y="1222482"/>
                </a:lnTo>
                <a:lnTo>
                  <a:pt x="3495429" y="1220750"/>
                </a:lnTo>
                <a:lnTo>
                  <a:pt x="3498034" y="1221399"/>
                </a:lnTo>
                <a:lnTo>
                  <a:pt x="3500312" y="1218585"/>
                </a:lnTo>
                <a:lnTo>
                  <a:pt x="3500530" y="1215337"/>
                </a:lnTo>
                <a:lnTo>
                  <a:pt x="3504979" y="1215228"/>
                </a:lnTo>
                <a:lnTo>
                  <a:pt x="3508343" y="1212305"/>
                </a:lnTo>
                <a:lnTo>
                  <a:pt x="3513009" y="1210681"/>
                </a:lnTo>
                <a:lnTo>
                  <a:pt x="3516047" y="1212522"/>
                </a:lnTo>
                <a:lnTo>
                  <a:pt x="3514854" y="1209815"/>
                </a:lnTo>
                <a:lnTo>
                  <a:pt x="3509753" y="1208191"/>
                </a:lnTo>
                <a:lnTo>
                  <a:pt x="3503243" y="1213388"/>
                </a:lnTo>
                <a:lnTo>
                  <a:pt x="3499662" y="1210789"/>
                </a:lnTo>
                <a:lnTo>
                  <a:pt x="3501940" y="1207325"/>
                </a:lnTo>
                <a:lnTo>
                  <a:pt x="3506281" y="1204185"/>
                </a:lnTo>
                <a:lnTo>
                  <a:pt x="3507258" y="1201153"/>
                </a:lnTo>
                <a:lnTo>
                  <a:pt x="3501289" y="1205268"/>
                </a:lnTo>
                <a:lnTo>
                  <a:pt x="3498468" y="1205809"/>
                </a:lnTo>
                <a:lnTo>
                  <a:pt x="3497491" y="1202669"/>
                </a:lnTo>
                <a:lnTo>
                  <a:pt x="3493151" y="1199638"/>
                </a:lnTo>
                <a:lnTo>
                  <a:pt x="3493259" y="1197147"/>
                </a:lnTo>
                <a:lnTo>
                  <a:pt x="3496406" y="1195090"/>
                </a:lnTo>
                <a:lnTo>
                  <a:pt x="3496732" y="1192925"/>
                </a:lnTo>
                <a:lnTo>
                  <a:pt x="3491631" y="1192491"/>
                </a:lnTo>
                <a:lnTo>
                  <a:pt x="3482625" y="1193141"/>
                </a:lnTo>
                <a:lnTo>
                  <a:pt x="3474920" y="1191084"/>
                </a:lnTo>
                <a:lnTo>
                  <a:pt x="3474920" y="1192600"/>
                </a:lnTo>
                <a:lnTo>
                  <a:pt x="3468734" y="1192167"/>
                </a:lnTo>
                <a:lnTo>
                  <a:pt x="3466890" y="1187944"/>
                </a:lnTo>
                <a:lnTo>
                  <a:pt x="3463634" y="1182856"/>
                </a:lnTo>
                <a:lnTo>
                  <a:pt x="3465913" y="1183180"/>
                </a:lnTo>
                <a:lnTo>
                  <a:pt x="3469168" y="1181881"/>
                </a:lnTo>
                <a:lnTo>
                  <a:pt x="3473943" y="1183722"/>
                </a:lnTo>
                <a:lnTo>
                  <a:pt x="3478067" y="1181664"/>
                </a:lnTo>
                <a:lnTo>
                  <a:pt x="3482082" y="1181340"/>
                </a:lnTo>
                <a:lnTo>
                  <a:pt x="3484903" y="1182856"/>
                </a:lnTo>
                <a:lnTo>
                  <a:pt x="3488593" y="1180257"/>
                </a:lnTo>
                <a:lnTo>
                  <a:pt x="3487725" y="1178308"/>
                </a:lnTo>
                <a:lnTo>
                  <a:pt x="3488484" y="1177117"/>
                </a:lnTo>
                <a:lnTo>
                  <a:pt x="3490871" y="1177875"/>
                </a:lnTo>
                <a:lnTo>
                  <a:pt x="3490980" y="1179824"/>
                </a:lnTo>
                <a:lnTo>
                  <a:pt x="3492391" y="1181340"/>
                </a:lnTo>
                <a:lnTo>
                  <a:pt x="3494344" y="1183613"/>
                </a:lnTo>
                <a:lnTo>
                  <a:pt x="3498142" y="1180040"/>
                </a:lnTo>
                <a:lnTo>
                  <a:pt x="3500855" y="1180799"/>
                </a:lnTo>
                <a:lnTo>
                  <a:pt x="3509103" y="1179824"/>
                </a:lnTo>
                <a:lnTo>
                  <a:pt x="3511816" y="1176142"/>
                </a:lnTo>
                <a:lnTo>
                  <a:pt x="3512033" y="1172353"/>
                </a:lnTo>
                <a:lnTo>
                  <a:pt x="3509320" y="1173436"/>
                </a:lnTo>
                <a:lnTo>
                  <a:pt x="3507583" y="1176359"/>
                </a:lnTo>
                <a:lnTo>
                  <a:pt x="3503243" y="1177009"/>
                </a:lnTo>
                <a:lnTo>
                  <a:pt x="3495321" y="1174735"/>
                </a:lnTo>
                <a:lnTo>
                  <a:pt x="3495755" y="1173003"/>
                </a:lnTo>
                <a:lnTo>
                  <a:pt x="3501940" y="1170296"/>
                </a:lnTo>
                <a:lnTo>
                  <a:pt x="3505847" y="1169971"/>
                </a:lnTo>
                <a:lnTo>
                  <a:pt x="3509211" y="1167481"/>
                </a:lnTo>
                <a:lnTo>
                  <a:pt x="3511924" y="1167481"/>
                </a:lnTo>
                <a:lnTo>
                  <a:pt x="3514637" y="1166290"/>
                </a:lnTo>
                <a:lnTo>
                  <a:pt x="3509645" y="1163367"/>
                </a:lnTo>
                <a:lnTo>
                  <a:pt x="3506390" y="1166073"/>
                </a:lnTo>
                <a:lnTo>
                  <a:pt x="3504328" y="1164450"/>
                </a:lnTo>
                <a:lnTo>
                  <a:pt x="3505847" y="1160660"/>
                </a:lnTo>
                <a:lnTo>
                  <a:pt x="3506173" y="1158495"/>
                </a:lnTo>
                <a:lnTo>
                  <a:pt x="3501289" y="1162393"/>
                </a:lnTo>
                <a:lnTo>
                  <a:pt x="3499878" y="1162501"/>
                </a:lnTo>
                <a:lnTo>
                  <a:pt x="3499444" y="1157736"/>
                </a:lnTo>
                <a:lnTo>
                  <a:pt x="3498250" y="1160227"/>
                </a:lnTo>
                <a:lnTo>
                  <a:pt x="3494452" y="1163258"/>
                </a:lnTo>
                <a:lnTo>
                  <a:pt x="3492499" y="1163258"/>
                </a:lnTo>
                <a:lnTo>
                  <a:pt x="3491631" y="1158711"/>
                </a:lnTo>
                <a:lnTo>
                  <a:pt x="3488593" y="1160660"/>
                </a:lnTo>
                <a:lnTo>
                  <a:pt x="3485988" y="1160660"/>
                </a:lnTo>
                <a:lnTo>
                  <a:pt x="3485880" y="1158278"/>
                </a:lnTo>
                <a:lnTo>
                  <a:pt x="3484361" y="1155896"/>
                </a:lnTo>
                <a:lnTo>
                  <a:pt x="3482190" y="1160010"/>
                </a:lnTo>
                <a:lnTo>
                  <a:pt x="3476982" y="1161526"/>
                </a:lnTo>
                <a:lnTo>
                  <a:pt x="3474052" y="1166181"/>
                </a:lnTo>
                <a:lnTo>
                  <a:pt x="3468192" y="1164991"/>
                </a:lnTo>
                <a:lnTo>
                  <a:pt x="3464177" y="1160660"/>
                </a:lnTo>
                <a:lnTo>
                  <a:pt x="3459185" y="1158603"/>
                </a:lnTo>
                <a:lnTo>
                  <a:pt x="3461680" y="1153947"/>
                </a:lnTo>
                <a:lnTo>
                  <a:pt x="3465696" y="1155138"/>
                </a:lnTo>
                <a:lnTo>
                  <a:pt x="3469711" y="1160552"/>
                </a:lnTo>
                <a:lnTo>
                  <a:pt x="3471556" y="1159794"/>
                </a:lnTo>
                <a:lnTo>
                  <a:pt x="3469711" y="1156438"/>
                </a:lnTo>
                <a:lnTo>
                  <a:pt x="3466781" y="1151024"/>
                </a:lnTo>
                <a:lnTo>
                  <a:pt x="3469060" y="1148642"/>
                </a:lnTo>
                <a:lnTo>
                  <a:pt x="3471121" y="1149075"/>
                </a:lnTo>
                <a:lnTo>
                  <a:pt x="3477850" y="1155246"/>
                </a:lnTo>
                <a:lnTo>
                  <a:pt x="3479260" y="1154922"/>
                </a:lnTo>
                <a:lnTo>
                  <a:pt x="3478175" y="1152214"/>
                </a:lnTo>
                <a:lnTo>
                  <a:pt x="3479477" y="1151132"/>
                </a:lnTo>
                <a:lnTo>
                  <a:pt x="3482516" y="1150591"/>
                </a:lnTo>
                <a:lnTo>
                  <a:pt x="3476222" y="1148750"/>
                </a:lnTo>
                <a:lnTo>
                  <a:pt x="3473618" y="1144961"/>
                </a:lnTo>
                <a:lnTo>
                  <a:pt x="3477850" y="1143228"/>
                </a:lnTo>
                <a:lnTo>
                  <a:pt x="3482190" y="1144961"/>
                </a:lnTo>
                <a:lnTo>
                  <a:pt x="3480562" y="1142579"/>
                </a:lnTo>
                <a:lnTo>
                  <a:pt x="3477850" y="1140955"/>
                </a:lnTo>
                <a:lnTo>
                  <a:pt x="3475137" y="1137490"/>
                </a:lnTo>
                <a:lnTo>
                  <a:pt x="3476331" y="1134675"/>
                </a:lnTo>
                <a:lnTo>
                  <a:pt x="3480129" y="1135866"/>
                </a:lnTo>
                <a:lnTo>
                  <a:pt x="3482950" y="1139980"/>
                </a:lnTo>
                <a:lnTo>
                  <a:pt x="3483926" y="1137490"/>
                </a:lnTo>
                <a:lnTo>
                  <a:pt x="3480562" y="1133051"/>
                </a:lnTo>
                <a:lnTo>
                  <a:pt x="3483926" y="1130994"/>
                </a:lnTo>
                <a:lnTo>
                  <a:pt x="3488593" y="1132943"/>
                </a:lnTo>
                <a:lnTo>
                  <a:pt x="3492391" y="1137814"/>
                </a:lnTo>
                <a:lnTo>
                  <a:pt x="3491089" y="1140738"/>
                </a:lnTo>
                <a:lnTo>
                  <a:pt x="3493802" y="1141604"/>
                </a:lnTo>
                <a:lnTo>
                  <a:pt x="3497057" y="1138681"/>
                </a:lnTo>
                <a:lnTo>
                  <a:pt x="3501940" y="1142038"/>
                </a:lnTo>
                <a:lnTo>
                  <a:pt x="3501940" y="1144961"/>
                </a:lnTo>
                <a:lnTo>
                  <a:pt x="3504111" y="1144528"/>
                </a:lnTo>
                <a:lnTo>
                  <a:pt x="3505304" y="1141171"/>
                </a:lnTo>
                <a:lnTo>
                  <a:pt x="3500964" y="1135974"/>
                </a:lnTo>
                <a:lnTo>
                  <a:pt x="3494452" y="1131643"/>
                </a:lnTo>
                <a:lnTo>
                  <a:pt x="3493802" y="1130128"/>
                </a:lnTo>
                <a:lnTo>
                  <a:pt x="3498034" y="1130020"/>
                </a:lnTo>
                <a:lnTo>
                  <a:pt x="3502266" y="1131318"/>
                </a:lnTo>
                <a:lnTo>
                  <a:pt x="3504219" y="1129045"/>
                </a:lnTo>
                <a:lnTo>
                  <a:pt x="3500312" y="1127746"/>
                </a:lnTo>
                <a:lnTo>
                  <a:pt x="3497600" y="1125905"/>
                </a:lnTo>
                <a:lnTo>
                  <a:pt x="3494127" y="1125797"/>
                </a:lnTo>
                <a:lnTo>
                  <a:pt x="3493584" y="1127853"/>
                </a:lnTo>
                <a:lnTo>
                  <a:pt x="3490763" y="1128071"/>
                </a:lnTo>
                <a:lnTo>
                  <a:pt x="3488810" y="1125147"/>
                </a:lnTo>
                <a:lnTo>
                  <a:pt x="3489461" y="1123198"/>
                </a:lnTo>
                <a:close/>
                <a:moveTo>
                  <a:pt x="1119239" y="1122116"/>
                </a:moveTo>
                <a:lnTo>
                  <a:pt x="1115184" y="1122358"/>
                </a:lnTo>
                <a:lnTo>
                  <a:pt x="1119240" y="1122116"/>
                </a:lnTo>
                <a:close/>
                <a:moveTo>
                  <a:pt x="2901299" y="1120925"/>
                </a:moveTo>
                <a:lnTo>
                  <a:pt x="2902928" y="1121250"/>
                </a:lnTo>
                <a:lnTo>
                  <a:pt x="2903579" y="1123199"/>
                </a:lnTo>
                <a:lnTo>
                  <a:pt x="2899672" y="1124282"/>
                </a:lnTo>
                <a:lnTo>
                  <a:pt x="2898153" y="1124065"/>
                </a:lnTo>
                <a:lnTo>
                  <a:pt x="2899998" y="1121250"/>
                </a:lnTo>
                <a:close/>
                <a:moveTo>
                  <a:pt x="705901" y="1120383"/>
                </a:moveTo>
                <a:lnTo>
                  <a:pt x="710025" y="1123306"/>
                </a:lnTo>
                <a:lnTo>
                  <a:pt x="710025" y="1126879"/>
                </a:lnTo>
                <a:lnTo>
                  <a:pt x="707854" y="1128503"/>
                </a:lnTo>
                <a:lnTo>
                  <a:pt x="707854" y="1130236"/>
                </a:lnTo>
                <a:lnTo>
                  <a:pt x="710568" y="1130993"/>
                </a:lnTo>
                <a:lnTo>
                  <a:pt x="714908" y="1125905"/>
                </a:lnTo>
                <a:lnTo>
                  <a:pt x="719142" y="1125038"/>
                </a:lnTo>
                <a:lnTo>
                  <a:pt x="722287" y="1126121"/>
                </a:lnTo>
                <a:lnTo>
                  <a:pt x="724240" y="1131101"/>
                </a:lnTo>
                <a:lnTo>
                  <a:pt x="720117" y="1132293"/>
                </a:lnTo>
                <a:lnTo>
                  <a:pt x="715776" y="1132293"/>
                </a:lnTo>
                <a:lnTo>
                  <a:pt x="715560" y="1135107"/>
                </a:lnTo>
                <a:lnTo>
                  <a:pt x="717838" y="1136515"/>
                </a:lnTo>
                <a:lnTo>
                  <a:pt x="719250" y="1139655"/>
                </a:lnTo>
                <a:lnTo>
                  <a:pt x="716103" y="1144636"/>
                </a:lnTo>
                <a:lnTo>
                  <a:pt x="712521" y="1144094"/>
                </a:lnTo>
                <a:lnTo>
                  <a:pt x="711327" y="1141820"/>
                </a:lnTo>
                <a:lnTo>
                  <a:pt x="708289" y="1142903"/>
                </a:lnTo>
                <a:lnTo>
                  <a:pt x="705141" y="1141279"/>
                </a:lnTo>
                <a:lnTo>
                  <a:pt x="701562" y="1141712"/>
                </a:lnTo>
                <a:lnTo>
                  <a:pt x="699390" y="1143986"/>
                </a:lnTo>
                <a:lnTo>
                  <a:pt x="703950" y="1145068"/>
                </a:lnTo>
                <a:lnTo>
                  <a:pt x="706228" y="1150049"/>
                </a:lnTo>
                <a:lnTo>
                  <a:pt x="703405" y="1154164"/>
                </a:lnTo>
                <a:lnTo>
                  <a:pt x="699718" y="1153838"/>
                </a:lnTo>
                <a:lnTo>
                  <a:pt x="696896" y="1149183"/>
                </a:lnTo>
                <a:lnTo>
                  <a:pt x="690928" y="1148750"/>
                </a:lnTo>
                <a:lnTo>
                  <a:pt x="687345" y="1150158"/>
                </a:lnTo>
                <a:lnTo>
                  <a:pt x="692228" y="1152323"/>
                </a:lnTo>
                <a:lnTo>
                  <a:pt x="693530" y="1155354"/>
                </a:lnTo>
                <a:lnTo>
                  <a:pt x="690928" y="1157411"/>
                </a:lnTo>
                <a:lnTo>
                  <a:pt x="687019" y="1156437"/>
                </a:lnTo>
                <a:lnTo>
                  <a:pt x="682571" y="1157628"/>
                </a:lnTo>
                <a:lnTo>
                  <a:pt x="680402" y="1156978"/>
                </a:lnTo>
                <a:lnTo>
                  <a:pt x="677905" y="1162175"/>
                </a:lnTo>
                <a:lnTo>
                  <a:pt x="675733" y="1162392"/>
                </a:lnTo>
                <a:lnTo>
                  <a:pt x="673131" y="1164341"/>
                </a:lnTo>
                <a:lnTo>
                  <a:pt x="674432" y="1166939"/>
                </a:lnTo>
                <a:lnTo>
                  <a:pt x="669116" y="1169862"/>
                </a:lnTo>
                <a:lnTo>
                  <a:pt x="669005" y="1173002"/>
                </a:lnTo>
                <a:lnTo>
                  <a:pt x="666077" y="1174735"/>
                </a:lnTo>
                <a:lnTo>
                  <a:pt x="664015" y="1177658"/>
                </a:lnTo>
                <a:lnTo>
                  <a:pt x="659130" y="1176792"/>
                </a:lnTo>
                <a:lnTo>
                  <a:pt x="659781" y="1174627"/>
                </a:lnTo>
                <a:lnTo>
                  <a:pt x="668246" y="1167913"/>
                </a:lnTo>
                <a:lnTo>
                  <a:pt x="668246" y="1165315"/>
                </a:lnTo>
                <a:lnTo>
                  <a:pt x="671070" y="1161093"/>
                </a:lnTo>
                <a:lnTo>
                  <a:pt x="669332" y="1160876"/>
                </a:lnTo>
                <a:lnTo>
                  <a:pt x="665643" y="1163907"/>
                </a:lnTo>
                <a:lnTo>
                  <a:pt x="663797" y="1161958"/>
                </a:lnTo>
                <a:lnTo>
                  <a:pt x="665207" y="1159685"/>
                </a:lnTo>
                <a:lnTo>
                  <a:pt x="659999" y="1159468"/>
                </a:lnTo>
                <a:lnTo>
                  <a:pt x="657612" y="1161958"/>
                </a:lnTo>
                <a:lnTo>
                  <a:pt x="659891" y="1162609"/>
                </a:lnTo>
                <a:lnTo>
                  <a:pt x="661084" y="1164124"/>
                </a:lnTo>
                <a:lnTo>
                  <a:pt x="660325" y="1166831"/>
                </a:lnTo>
                <a:lnTo>
                  <a:pt x="657285" y="1167589"/>
                </a:lnTo>
                <a:lnTo>
                  <a:pt x="654246" y="1165748"/>
                </a:lnTo>
                <a:lnTo>
                  <a:pt x="653705" y="1160984"/>
                </a:lnTo>
                <a:lnTo>
                  <a:pt x="655984" y="1158170"/>
                </a:lnTo>
                <a:lnTo>
                  <a:pt x="657069" y="1153297"/>
                </a:lnTo>
                <a:lnTo>
                  <a:pt x="656742" y="1147450"/>
                </a:lnTo>
                <a:lnTo>
                  <a:pt x="655335" y="1145068"/>
                </a:lnTo>
                <a:lnTo>
                  <a:pt x="656418" y="1142254"/>
                </a:lnTo>
                <a:lnTo>
                  <a:pt x="662711" y="1137381"/>
                </a:lnTo>
                <a:lnTo>
                  <a:pt x="673131" y="1132293"/>
                </a:lnTo>
                <a:lnTo>
                  <a:pt x="679099" y="1131534"/>
                </a:lnTo>
                <a:lnTo>
                  <a:pt x="680834" y="1132617"/>
                </a:lnTo>
                <a:lnTo>
                  <a:pt x="681161" y="1141929"/>
                </a:lnTo>
                <a:lnTo>
                  <a:pt x="682898" y="1142903"/>
                </a:lnTo>
                <a:lnTo>
                  <a:pt x="687019" y="1137706"/>
                </a:lnTo>
                <a:lnTo>
                  <a:pt x="685500" y="1133375"/>
                </a:lnTo>
                <a:lnTo>
                  <a:pt x="686695" y="1132617"/>
                </a:lnTo>
                <a:lnTo>
                  <a:pt x="689841" y="1134783"/>
                </a:lnTo>
                <a:lnTo>
                  <a:pt x="691144" y="1130993"/>
                </a:lnTo>
                <a:lnTo>
                  <a:pt x="687129" y="1128070"/>
                </a:lnTo>
                <a:lnTo>
                  <a:pt x="686043" y="1125905"/>
                </a:lnTo>
                <a:lnTo>
                  <a:pt x="690385" y="1121141"/>
                </a:lnTo>
                <a:lnTo>
                  <a:pt x="693530" y="1120816"/>
                </a:lnTo>
                <a:lnTo>
                  <a:pt x="696680" y="1123198"/>
                </a:lnTo>
                <a:lnTo>
                  <a:pt x="696461" y="1127962"/>
                </a:lnTo>
                <a:lnTo>
                  <a:pt x="694725" y="1130127"/>
                </a:lnTo>
                <a:lnTo>
                  <a:pt x="694725" y="1133592"/>
                </a:lnTo>
                <a:lnTo>
                  <a:pt x="697436" y="1132834"/>
                </a:lnTo>
                <a:lnTo>
                  <a:pt x="699608" y="1128936"/>
                </a:lnTo>
                <a:lnTo>
                  <a:pt x="701562" y="1127962"/>
                </a:lnTo>
                <a:lnTo>
                  <a:pt x="704056" y="1129369"/>
                </a:lnTo>
                <a:lnTo>
                  <a:pt x="704817" y="1125038"/>
                </a:lnTo>
                <a:lnTo>
                  <a:pt x="703515" y="1122115"/>
                </a:lnTo>
                <a:close/>
                <a:moveTo>
                  <a:pt x="2900433" y="1113995"/>
                </a:moveTo>
                <a:lnTo>
                  <a:pt x="2902711" y="1114861"/>
                </a:lnTo>
                <a:lnTo>
                  <a:pt x="2902494" y="1118434"/>
                </a:lnTo>
                <a:lnTo>
                  <a:pt x="2899022" y="1117893"/>
                </a:lnTo>
                <a:lnTo>
                  <a:pt x="2897503" y="1115403"/>
                </a:lnTo>
                <a:close/>
                <a:moveTo>
                  <a:pt x="4388063" y="1108152"/>
                </a:moveTo>
                <a:lnTo>
                  <a:pt x="4387218" y="1110748"/>
                </a:lnTo>
                <a:lnTo>
                  <a:pt x="4387435" y="1111462"/>
                </a:lnTo>
                <a:lnTo>
                  <a:pt x="4388197" y="1108907"/>
                </a:lnTo>
                <a:close/>
                <a:moveTo>
                  <a:pt x="4244303" y="1101653"/>
                </a:moveTo>
                <a:lnTo>
                  <a:pt x="4242023" y="1107066"/>
                </a:lnTo>
                <a:lnTo>
                  <a:pt x="4235295" y="1116377"/>
                </a:lnTo>
                <a:lnTo>
                  <a:pt x="4228784" y="1127962"/>
                </a:lnTo>
                <a:lnTo>
                  <a:pt x="4228459" y="1132726"/>
                </a:lnTo>
                <a:lnTo>
                  <a:pt x="4224661" y="1135974"/>
                </a:lnTo>
                <a:lnTo>
                  <a:pt x="4216522" y="1137706"/>
                </a:lnTo>
                <a:lnTo>
                  <a:pt x="4208926" y="1142254"/>
                </a:lnTo>
                <a:lnTo>
                  <a:pt x="4208818" y="1147017"/>
                </a:lnTo>
                <a:lnTo>
                  <a:pt x="4208926" y="1142254"/>
                </a:lnTo>
                <a:lnTo>
                  <a:pt x="4216522" y="1137707"/>
                </a:lnTo>
                <a:lnTo>
                  <a:pt x="4224661" y="1135975"/>
                </a:lnTo>
                <a:lnTo>
                  <a:pt x="4228459" y="1132726"/>
                </a:lnTo>
                <a:lnTo>
                  <a:pt x="4228784" y="1127963"/>
                </a:lnTo>
                <a:lnTo>
                  <a:pt x="4235295" y="1116378"/>
                </a:lnTo>
                <a:lnTo>
                  <a:pt x="4242023" y="1107067"/>
                </a:lnTo>
                <a:lnTo>
                  <a:pt x="4244303" y="1101653"/>
                </a:lnTo>
                <a:close/>
                <a:moveTo>
                  <a:pt x="727278" y="1100137"/>
                </a:moveTo>
                <a:lnTo>
                  <a:pt x="729884" y="1101220"/>
                </a:lnTo>
                <a:lnTo>
                  <a:pt x="728907" y="1105551"/>
                </a:lnTo>
                <a:lnTo>
                  <a:pt x="731076" y="1106092"/>
                </a:lnTo>
                <a:lnTo>
                  <a:pt x="732270" y="1103818"/>
                </a:lnTo>
                <a:lnTo>
                  <a:pt x="735201" y="1102952"/>
                </a:lnTo>
                <a:lnTo>
                  <a:pt x="737047" y="1106525"/>
                </a:lnTo>
                <a:lnTo>
                  <a:pt x="734767" y="1108690"/>
                </a:lnTo>
                <a:lnTo>
                  <a:pt x="733032" y="1112047"/>
                </a:lnTo>
                <a:lnTo>
                  <a:pt x="735853" y="1113021"/>
                </a:lnTo>
                <a:lnTo>
                  <a:pt x="737371" y="1115944"/>
                </a:lnTo>
                <a:lnTo>
                  <a:pt x="733789" y="1116918"/>
                </a:lnTo>
                <a:lnTo>
                  <a:pt x="731403" y="1114970"/>
                </a:lnTo>
                <a:lnTo>
                  <a:pt x="727713" y="1118759"/>
                </a:lnTo>
                <a:lnTo>
                  <a:pt x="725107" y="1118759"/>
                </a:lnTo>
                <a:lnTo>
                  <a:pt x="724024" y="1115728"/>
                </a:lnTo>
                <a:lnTo>
                  <a:pt x="719574" y="1119517"/>
                </a:lnTo>
                <a:lnTo>
                  <a:pt x="716211" y="1119626"/>
                </a:lnTo>
                <a:lnTo>
                  <a:pt x="710786" y="1114428"/>
                </a:lnTo>
                <a:lnTo>
                  <a:pt x="709915" y="1112371"/>
                </a:lnTo>
                <a:lnTo>
                  <a:pt x="711980" y="1110206"/>
                </a:lnTo>
                <a:lnTo>
                  <a:pt x="715016" y="1111614"/>
                </a:lnTo>
                <a:lnTo>
                  <a:pt x="717186" y="1109773"/>
                </a:lnTo>
                <a:lnTo>
                  <a:pt x="719899" y="1111072"/>
                </a:lnTo>
                <a:lnTo>
                  <a:pt x="722612" y="1106958"/>
                </a:lnTo>
                <a:lnTo>
                  <a:pt x="720658" y="1104576"/>
                </a:lnTo>
                <a:lnTo>
                  <a:pt x="722722" y="1101436"/>
                </a:lnTo>
                <a:close/>
                <a:moveTo>
                  <a:pt x="4200897" y="1098730"/>
                </a:moveTo>
                <a:lnTo>
                  <a:pt x="4203610" y="1099271"/>
                </a:lnTo>
                <a:lnTo>
                  <a:pt x="4201656" y="1103169"/>
                </a:lnTo>
                <a:lnTo>
                  <a:pt x="4199378" y="1101112"/>
                </a:lnTo>
                <a:close/>
                <a:moveTo>
                  <a:pt x="4492529" y="1092350"/>
                </a:moveTo>
                <a:lnTo>
                  <a:pt x="4492372" y="1092774"/>
                </a:lnTo>
                <a:lnTo>
                  <a:pt x="4496224" y="1096908"/>
                </a:lnTo>
                <a:lnTo>
                  <a:pt x="4495953" y="1096024"/>
                </a:lnTo>
                <a:close/>
                <a:moveTo>
                  <a:pt x="732379" y="1091042"/>
                </a:moveTo>
                <a:lnTo>
                  <a:pt x="735853" y="1091258"/>
                </a:lnTo>
                <a:lnTo>
                  <a:pt x="735526" y="1094940"/>
                </a:lnTo>
                <a:lnTo>
                  <a:pt x="731838" y="1097538"/>
                </a:lnTo>
                <a:lnTo>
                  <a:pt x="729125" y="1095373"/>
                </a:lnTo>
                <a:lnTo>
                  <a:pt x="730316" y="1091475"/>
                </a:lnTo>
                <a:close/>
                <a:moveTo>
                  <a:pt x="4756175" y="1088660"/>
                </a:moveTo>
                <a:lnTo>
                  <a:pt x="4758779" y="1091691"/>
                </a:lnTo>
                <a:lnTo>
                  <a:pt x="4759105" y="1094182"/>
                </a:lnTo>
                <a:lnTo>
                  <a:pt x="4756717" y="1094507"/>
                </a:lnTo>
                <a:lnTo>
                  <a:pt x="4753679" y="1091583"/>
                </a:lnTo>
                <a:lnTo>
                  <a:pt x="4753679" y="1089093"/>
                </a:lnTo>
                <a:close/>
                <a:moveTo>
                  <a:pt x="880070" y="1085629"/>
                </a:moveTo>
                <a:lnTo>
                  <a:pt x="882783" y="1087795"/>
                </a:lnTo>
                <a:lnTo>
                  <a:pt x="875729" y="1088336"/>
                </a:lnTo>
                <a:close/>
                <a:moveTo>
                  <a:pt x="4385170" y="1085051"/>
                </a:moveTo>
                <a:lnTo>
                  <a:pt x="4383420" y="1087794"/>
                </a:lnTo>
                <a:lnTo>
                  <a:pt x="4383588" y="1089250"/>
                </a:lnTo>
                <a:lnTo>
                  <a:pt x="4385484" y="1086278"/>
                </a:lnTo>
                <a:close/>
                <a:moveTo>
                  <a:pt x="1047655" y="1084195"/>
                </a:moveTo>
                <a:lnTo>
                  <a:pt x="1045666" y="1088336"/>
                </a:lnTo>
                <a:lnTo>
                  <a:pt x="1045666" y="1088336"/>
                </a:lnTo>
                <a:close/>
                <a:moveTo>
                  <a:pt x="1008988" y="1078592"/>
                </a:moveTo>
                <a:lnTo>
                  <a:pt x="1008987" y="1078592"/>
                </a:lnTo>
                <a:lnTo>
                  <a:pt x="1024614" y="1078808"/>
                </a:lnTo>
                <a:lnTo>
                  <a:pt x="1029052" y="1081022"/>
                </a:lnTo>
                <a:lnTo>
                  <a:pt x="1024613" y="1078808"/>
                </a:lnTo>
                <a:close/>
                <a:moveTo>
                  <a:pt x="7094276" y="1077942"/>
                </a:moveTo>
                <a:lnTo>
                  <a:pt x="7094059" y="1081299"/>
                </a:lnTo>
                <a:lnTo>
                  <a:pt x="7090803" y="1086171"/>
                </a:lnTo>
                <a:lnTo>
                  <a:pt x="7088633" y="1085846"/>
                </a:lnTo>
                <a:lnTo>
                  <a:pt x="7088959" y="1082165"/>
                </a:lnTo>
                <a:lnTo>
                  <a:pt x="7091346" y="1078591"/>
                </a:lnTo>
                <a:close/>
                <a:moveTo>
                  <a:pt x="4170729" y="1076643"/>
                </a:moveTo>
                <a:lnTo>
                  <a:pt x="4172791" y="1079133"/>
                </a:lnTo>
                <a:lnTo>
                  <a:pt x="4171488" y="1081515"/>
                </a:lnTo>
                <a:lnTo>
                  <a:pt x="4168993" y="1080000"/>
                </a:lnTo>
                <a:close/>
                <a:moveTo>
                  <a:pt x="1038720" y="1076318"/>
                </a:moveTo>
                <a:lnTo>
                  <a:pt x="1029605" y="1081298"/>
                </a:lnTo>
                <a:lnTo>
                  <a:pt x="1029605" y="1081298"/>
                </a:lnTo>
                <a:lnTo>
                  <a:pt x="1038721" y="1076318"/>
                </a:lnTo>
                <a:close/>
                <a:moveTo>
                  <a:pt x="934006" y="1073394"/>
                </a:moveTo>
                <a:lnTo>
                  <a:pt x="937044" y="1073394"/>
                </a:lnTo>
                <a:lnTo>
                  <a:pt x="932812" y="1078374"/>
                </a:lnTo>
                <a:lnTo>
                  <a:pt x="928144" y="1079566"/>
                </a:lnTo>
                <a:lnTo>
                  <a:pt x="928254" y="1075668"/>
                </a:lnTo>
                <a:close/>
                <a:moveTo>
                  <a:pt x="4379492" y="1068147"/>
                </a:moveTo>
                <a:lnTo>
                  <a:pt x="4377452" y="1073611"/>
                </a:lnTo>
                <a:lnTo>
                  <a:pt x="4377779" y="1077119"/>
                </a:lnTo>
                <a:lnTo>
                  <a:pt x="4377779" y="1075992"/>
                </a:lnTo>
                <a:lnTo>
                  <a:pt x="4379949" y="1070579"/>
                </a:lnTo>
                <a:close/>
                <a:moveTo>
                  <a:pt x="2904231" y="1067115"/>
                </a:moveTo>
                <a:lnTo>
                  <a:pt x="2906509" y="1067981"/>
                </a:lnTo>
                <a:lnTo>
                  <a:pt x="2904882" y="1070039"/>
                </a:lnTo>
                <a:lnTo>
                  <a:pt x="2900541" y="1068847"/>
                </a:lnTo>
                <a:close/>
                <a:moveTo>
                  <a:pt x="2906619" y="1062135"/>
                </a:moveTo>
                <a:lnTo>
                  <a:pt x="2911068" y="1063651"/>
                </a:lnTo>
                <a:lnTo>
                  <a:pt x="2908355" y="1065275"/>
                </a:lnTo>
                <a:lnTo>
                  <a:pt x="2904882" y="1065275"/>
                </a:lnTo>
                <a:lnTo>
                  <a:pt x="2902712" y="1064083"/>
                </a:lnTo>
                <a:lnTo>
                  <a:pt x="2903363" y="1063110"/>
                </a:lnTo>
                <a:close/>
                <a:moveTo>
                  <a:pt x="2895332" y="1061809"/>
                </a:moveTo>
                <a:lnTo>
                  <a:pt x="2896743" y="1062134"/>
                </a:lnTo>
                <a:lnTo>
                  <a:pt x="2897394" y="1063758"/>
                </a:lnTo>
                <a:lnTo>
                  <a:pt x="2895332" y="1064841"/>
                </a:lnTo>
                <a:lnTo>
                  <a:pt x="2894247" y="1062242"/>
                </a:lnTo>
                <a:close/>
                <a:moveTo>
                  <a:pt x="4252255" y="1061328"/>
                </a:moveTo>
                <a:lnTo>
                  <a:pt x="4249402" y="1067439"/>
                </a:lnTo>
                <a:lnTo>
                  <a:pt x="4246147" y="1069171"/>
                </a:lnTo>
                <a:lnTo>
                  <a:pt x="4244736" y="1075018"/>
                </a:lnTo>
                <a:lnTo>
                  <a:pt x="4241807" y="1078915"/>
                </a:lnTo>
                <a:lnTo>
                  <a:pt x="4238768" y="1080540"/>
                </a:lnTo>
                <a:lnTo>
                  <a:pt x="4238768" y="1080541"/>
                </a:lnTo>
                <a:lnTo>
                  <a:pt x="4241807" y="1078916"/>
                </a:lnTo>
                <a:lnTo>
                  <a:pt x="4244736" y="1075019"/>
                </a:lnTo>
                <a:lnTo>
                  <a:pt x="4246147" y="1069172"/>
                </a:lnTo>
                <a:lnTo>
                  <a:pt x="4249402" y="1067439"/>
                </a:lnTo>
                <a:close/>
                <a:moveTo>
                  <a:pt x="4379569" y="1058081"/>
                </a:moveTo>
                <a:lnTo>
                  <a:pt x="4378211" y="1061268"/>
                </a:lnTo>
                <a:lnTo>
                  <a:pt x="4378660" y="1063618"/>
                </a:lnTo>
                <a:lnTo>
                  <a:pt x="4380383" y="1059319"/>
                </a:lnTo>
                <a:close/>
                <a:moveTo>
                  <a:pt x="4177564" y="1057912"/>
                </a:moveTo>
                <a:lnTo>
                  <a:pt x="4178758" y="1064625"/>
                </a:lnTo>
                <a:lnTo>
                  <a:pt x="4173224" y="1069931"/>
                </a:lnTo>
                <a:lnTo>
                  <a:pt x="4173224" y="1065275"/>
                </a:lnTo>
                <a:close/>
                <a:moveTo>
                  <a:pt x="4182231" y="1055854"/>
                </a:moveTo>
                <a:lnTo>
                  <a:pt x="4184184" y="1057045"/>
                </a:lnTo>
                <a:lnTo>
                  <a:pt x="4182231" y="1061051"/>
                </a:lnTo>
                <a:lnTo>
                  <a:pt x="4180278" y="1058235"/>
                </a:lnTo>
                <a:close/>
                <a:moveTo>
                  <a:pt x="4258084" y="1055746"/>
                </a:moveTo>
                <a:lnTo>
                  <a:pt x="4253092" y="1059535"/>
                </a:lnTo>
                <a:lnTo>
                  <a:pt x="4253092" y="1059536"/>
                </a:lnTo>
                <a:lnTo>
                  <a:pt x="4258084" y="1055747"/>
                </a:lnTo>
                <a:lnTo>
                  <a:pt x="4263401" y="1058129"/>
                </a:lnTo>
                <a:lnTo>
                  <a:pt x="4265571" y="1060727"/>
                </a:lnTo>
                <a:lnTo>
                  <a:pt x="4268719" y="1060186"/>
                </a:lnTo>
                <a:lnTo>
                  <a:pt x="4272299" y="1056937"/>
                </a:lnTo>
                <a:lnTo>
                  <a:pt x="4272299" y="1056937"/>
                </a:lnTo>
                <a:lnTo>
                  <a:pt x="4268719" y="1060185"/>
                </a:lnTo>
                <a:lnTo>
                  <a:pt x="4265571" y="1060726"/>
                </a:lnTo>
                <a:lnTo>
                  <a:pt x="4263401" y="1058128"/>
                </a:lnTo>
                <a:close/>
                <a:moveTo>
                  <a:pt x="4488790" y="1055495"/>
                </a:moveTo>
                <a:lnTo>
                  <a:pt x="4489659" y="1057587"/>
                </a:lnTo>
                <a:lnTo>
                  <a:pt x="4500510" y="1064516"/>
                </a:lnTo>
                <a:lnTo>
                  <a:pt x="4501041" y="1065006"/>
                </a:lnTo>
                <a:lnTo>
                  <a:pt x="4501270" y="1064300"/>
                </a:lnTo>
                <a:lnTo>
                  <a:pt x="4498340" y="1061594"/>
                </a:lnTo>
                <a:close/>
                <a:moveTo>
                  <a:pt x="863360" y="1051090"/>
                </a:moveTo>
                <a:lnTo>
                  <a:pt x="863360" y="1054663"/>
                </a:lnTo>
                <a:lnTo>
                  <a:pt x="859345" y="1057262"/>
                </a:lnTo>
                <a:cubicBezTo>
                  <a:pt x="858502" y="1056964"/>
                  <a:pt x="857702" y="1056564"/>
                  <a:pt x="856957" y="1056070"/>
                </a:cubicBezTo>
                <a:close/>
                <a:moveTo>
                  <a:pt x="4196013" y="1050332"/>
                </a:moveTo>
                <a:lnTo>
                  <a:pt x="4195470" y="1054338"/>
                </a:lnTo>
                <a:lnTo>
                  <a:pt x="4186789" y="1060834"/>
                </a:lnTo>
                <a:lnTo>
                  <a:pt x="4188199" y="1052389"/>
                </a:lnTo>
                <a:close/>
                <a:moveTo>
                  <a:pt x="733899" y="1050008"/>
                </a:moveTo>
                <a:lnTo>
                  <a:pt x="737371" y="1051198"/>
                </a:lnTo>
                <a:lnTo>
                  <a:pt x="733789" y="1053147"/>
                </a:lnTo>
                <a:lnTo>
                  <a:pt x="730209" y="1050874"/>
                </a:lnTo>
                <a:close/>
                <a:moveTo>
                  <a:pt x="4272191" y="1049357"/>
                </a:moveTo>
                <a:lnTo>
                  <a:pt x="4269369" y="1051956"/>
                </a:lnTo>
                <a:lnTo>
                  <a:pt x="4269369" y="1051957"/>
                </a:lnTo>
                <a:lnTo>
                  <a:pt x="4272191" y="1049358"/>
                </a:lnTo>
                <a:close/>
                <a:moveTo>
                  <a:pt x="573403" y="1049033"/>
                </a:moveTo>
                <a:lnTo>
                  <a:pt x="572101" y="1051739"/>
                </a:lnTo>
                <a:lnTo>
                  <a:pt x="570364" y="1052498"/>
                </a:lnTo>
                <a:lnTo>
                  <a:pt x="569063" y="1050657"/>
                </a:lnTo>
                <a:close/>
                <a:moveTo>
                  <a:pt x="4273385" y="1044161"/>
                </a:moveTo>
                <a:lnTo>
                  <a:pt x="4272191" y="1046759"/>
                </a:lnTo>
                <a:lnTo>
                  <a:pt x="4272191" y="1046760"/>
                </a:lnTo>
                <a:lnTo>
                  <a:pt x="4273385" y="1044162"/>
                </a:lnTo>
                <a:close/>
                <a:moveTo>
                  <a:pt x="568411" y="1043511"/>
                </a:moveTo>
                <a:lnTo>
                  <a:pt x="568954" y="1045893"/>
                </a:lnTo>
                <a:lnTo>
                  <a:pt x="563637" y="1052389"/>
                </a:lnTo>
                <a:lnTo>
                  <a:pt x="560708" y="1054664"/>
                </a:lnTo>
                <a:lnTo>
                  <a:pt x="558320" y="1053472"/>
                </a:lnTo>
                <a:lnTo>
                  <a:pt x="558755" y="1049358"/>
                </a:lnTo>
                <a:lnTo>
                  <a:pt x="564396" y="1045785"/>
                </a:lnTo>
                <a:close/>
                <a:moveTo>
                  <a:pt x="4209903" y="1041780"/>
                </a:moveTo>
                <a:lnTo>
                  <a:pt x="4209795" y="1051200"/>
                </a:lnTo>
                <a:lnTo>
                  <a:pt x="4204803" y="1048817"/>
                </a:lnTo>
                <a:lnTo>
                  <a:pt x="4198400" y="1052932"/>
                </a:lnTo>
                <a:lnTo>
                  <a:pt x="4199051" y="1048276"/>
                </a:lnTo>
                <a:close/>
                <a:moveTo>
                  <a:pt x="4473245" y="1041130"/>
                </a:moveTo>
                <a:lnTo>
                  <a:pt x="4474358" y="1044053"/>
                </a:lnTo>
                <a:lnTo>
                  <a:pt x="4477614" y="1044053"/>
                </a:lnTo>
                <a:lnTo>
                  <a:pt x="4483780" y="1047437"/>
                </a:lnTo>
                <a:lnTo>
                  <a:pt x="4481954" y="1044704"/>
                </a:lnTo>
                <a:lnTo>
                  <a:pt x="4475443" y="1041130"/>
                </a:lnTo>
                <a:close/>
                <a:moveTo>
                  <a:pt x="888319" y="1040047"/>
                </a:moveTo>
                <a:lnTo>
                  <a:pt x="889187" y="1042645"/>
                </a:lnTo>
                <a:lnTo>
                  <a:pt x="887992" y="1045244"/>
                </a:lnTo>
                <a:lnTo>
                  <a:pt x="890272" y="1047084"/>
                </a:lnTo>
                <a:lnTo>
                  <a:pt x="887666" y="1049467"/>
                </a:lnTo>
                <a:lnTo>
                  <a:pt x="882351" y="1051524"/>
                </a:lnTo>
                <a:lnTo>
                  <a:pt x="875188" y="1059644"/>
                </a:lnTo>
                <a:lnTo>
                  <a:pt x="870954" y="1061051"/>
                </a:lnTo>
                <a:lnTo>
                  <a:pt x="871823" y="1063867"/>
                </a:lnTo>
                <a:lnTo>
                  <a:pt x="870630" y="1066465"/>
                </a:lnTo>
                <a:lnTo>
                  <a:pt x="865203" y="1065274"/>
                </a:lnTo>
                <a:lnTo>
                  <a:pt x="862490" y="1067223"/>
                </a:lnTo>
                <a:lnTo>
                  <a:pt x="857608" y="1067223"/>
                </a:lnTo>
                <a:lnTo>
                  <a:pt x="857825" y="1065166"/>
                </a:lnTo>
                <a:lnTo>
                  <a:pt x="861188" y="1064300"/>
                </a:lnTo>
                <a:lnTo>
                  <a:pt x="863033" y="1063109"/>
                </a:lnTo>
                <a:lnTo>
                  <a:pt x="863684" y="1060510"/>
                </a:lnTo>
                <a:lnTo>
                  <a:pt x="872476" y="1053365"/>
                </a:lnTo>
                <a:lnTo>
                  <a:pt x="876598" y="1052065"/>
                </a:lnTo>
                <a:lnTo>
                  <a:pt x="881481" y="1046651"/>
                </a:lnTo>
                <a:lnTo>
                  <a:pt x="883651" y="1046002"/>
                </a:lnTo>
                <a:close/>
                <a:moveTo>
                  <a:pt x="899170" y="1036258"/>
                </a:moveTo>
                <a:lnTo>
                  <a:pt x="902100" y="1037666"/>
                </a:lnTo>
                <a:lnTo>
                  <a:pt x="902317" y="1041780"/>
                </a:lnTo>
                <a:lnTo>
                  <a:pt x="905354" y="1041780"/>
                </a:lnTo>
                <a:lnTo>
                  <a:pt x="906982" y="1045027"/>
                </a:lnTo>
                <a:lnTo>
                  <a:pt x="902750" y="1046976"/>
                </a:lnTo>
                <a:lnTo>
                  <a:pt x="896241" y="1045894"/>
                </a:lnTo>
                <a:lnTo>
                  <a:pt x="896132" y="1038315"/>
                </a:lnTo>
                <a:close/>
                <a:moveTo>
                  <a:pt x="4206322" y="1035717"/>
                </a:moveTo>
                <a:lnTo>
                  <a:pt x="4210445" y="1039182"/>
                </a:lnTo>
                <a:lnTo>
                  <a:pt x="4203718" y="1040048"/>
                </a:lnTo>
                <a:close/>
                <a:moveTo>
                  <a:pt x="5277056" y="1035608"/>
                </a:moveTo>
                <a:lnTo>
                  <a:pt x="5280312" y="1035608"/>
                </a:lnTo>
                <a:lnTo>
                  <a:pt x="5283675" y="1036799"/>
                </a:lnTo>
                <a:lnTo>
                  <a:pt x="5287365" y="1035716"/>
                </a:lnTo>
                <a:lnTo>
                  <a:pt x="5291164" y="1036799"/>
                </a:lnTo>
                <a:lnTo>
                  <a:pt x="5293009" y="1041238"/>
                </a:lnTo>
                <a:lnTo>
                  <a:pt x="5291164" y="1043295"/>
                </a:lnTo>
                <a:lnTo>
                  <a:pt x="5286280" y="1045028"/>
                </a:lnTo>
                <a:lnTo>
                  <a:pt x="5280962" y="1041671"/>
                </a:lnTo>
                <a:lnTo>
                  <a:pt x="5280637" y="1038748"/>
                </a:lnTo>
                <a:lnTo>
                  <a:pt x="5277490" y="1037773"/>
                </a:lnTo>
                <a:close/>
                <a:moveTo>
                  <a:pt x="4284019" y="1034091"/>
                </a:moveTo>
                <a:lnTo>
                  <a:pt x="4278919" y="1036798"/>
                </a:lnTo>
                <a:lnTo>
                  <a:pt x="4271974" y="1036690"/>
                </a:lnTo>
                <a:lnTo>
                  <a:pt x="4269587" y="1038206"/>
                </a:lnTo>
                <a:lnTo>
                  <a:pt x="4269587" y="1038206"/>
                </a:lnTo>
                <a:lnTo>
                  <a:pt x="4271974" y="1036691"/>
                </a:lnTo>
                <a:lnTo>
                  <a:pt x="4278919" y="1036799"/>
                </a:lnTo>
                <a:lnTo>
                  <a:pt x="4284019" y="1034092"/>
                </a:lnTo>
                <a:lnTo>
                  <a:pt x="4291941" y="1036150"/>
                </a:lnTo>
                <a:lnTo>
                  <a:pt x="4296824" y="1039398"/>
                </a:lnTo>
                <a:lnTo>
                  <a:pt x="4302358" y="1039939"/>
                </a:lnTo>
                <a:lnTo>
                  <a:pt x="4305397" y="1042537"/>
                </a:lnTo>
                <a:lnTo>
                  <a:pt x="4307893" y="1041672"/>
                </a:lnTo>
                <a:lnTo>
                  <a:pt x="4310063" y="1042970"/>
                </a:lnTo>
                <a:lnTo>
                  <a:pt x="4310063" y="1042969"/>
                </a:lnTo>
                <a:lnTo>
                  <a:pt x="4307893" y="1041671"/>
                </a:lnTo>
                <a:lnTo>
                  <a:pt x="4305397" y="1042536"/>
                </a:lnTo>
                <a:lnTo>
                  <a:pt x="4302359" y="1039938"/>
                </a:lnTo>
                <a:lnTo>
                  <a:pt x="4296825" y="1039397"/>
                </a:lnTo>
                <a:lnTo>
                  <a:pt x="4291941" y="1036149"/>
                </a:lnTo>
                <a:close/>
                <a:moveTo>
                  <a:pt x="4307597" y="1031996"/>
                </a:moveTo>
                <a:lnTo>
                  <a:pt x="4307459" y="1033334"/>
                </a:lnTo>
                <a:lnTo>
                  <a:pt x="4307459" y="1033334"/>
                </a:lnTo>
                <a:close/>
                <a:moveTo>
                  <a:pt x="878768" y="1031602"/>
                </a:moveTo>
                <a:lnTo>
                  <a:pt x="881700" y="1031818"/>
                </a:lnTo>
                <a:lnTo>
                  <a:pt x="882892" y="1033875"/>
                </a:lnTo>
                <a:lnTo>
                  <a:pt x="879636" y="1037232"/>
                </a:lnTo>
                <a:lnTo>
                  <a:pt x="877577" y="1040480"/>
                </a:lnTo>
                <a:lnTo>
                  <a:pt x="872909" y="1044594"/>
                </a:lnTo>
                <a:lnTo>
                  <a:pt x="872149" y="1047085"/>
                </a:lnTo>
                <a:lnTo>
                  <a:pt x="869872" y="1046868"/>
                </a:lnTo>
                <a:lnTo>
                  <a:pt x="868677" y="1044594"/>
                </a:lnTo>
                <a:lnTo>
                  <a:pt x="875296" y="1037881"/>
                </a:lnTo>
                <a:lnTo>
                  <a:pt x="875839" y="1034850"/>
                </a:lnTo>
                <a:close/>
                <a:moveTo>
                  <a:pt x="4467034" y="1029070"/>
                </a:moveTo>
                <a:lnTo>
                  <a:pt x="4466979" y="1029328"/>
                </a:lnTo>
                <a:lnTo>
                  <a:pt x="4468290" y="1030897"/>
                </a:lnTo>
                <a:lnTo>
                  <a:pt x="4468063" y="1030303"/>
                </a:lnTo>
                <a:close/>
                <a:moveTo>
                  <a:pt x="2261486" y="1025431"/>
                </a:moveTo>
                <a:lnTo>
                  <a:pt x="2263765" y="1026405"/>
                </a:lnTo>
                <a:lnTo>
                  <a:pt x="2260293" y="1030845"/>
                </a:lnTo>
                <a:lnTo>
                  <a:pt x="2260293" y="1033984"/>
                </a:lnTo>
                <a:lnTo>
                  <a:pt x="2264416" y="1032902"/>
                </a:lnTo>
                <a:lnTo>
                  <a:pt x="2265609" y="1037232"/>
                </a:lnTo>
                <a:lnTo>
                  <a:pt x="2264741" y="1041022"/>
                </a:lnTo>
                <a:lnTo>
                  <a:pt x="2265936" y="1044053"/>
                </a:lnTo>
                <a:lnTo>
                  <a:pt x="2262680" y="1044053"/>
                </a:lnTo>
                <a:lnTo>
                  <a:pt x="2260293" y="1044053"/>
                </a:lnTo>
                <a:lnTo>
                  <a:pt x="2259641" y="1046760"/>
                </a:lnTo>
                <a:lnTo>
                  <a:pt x="2261703" y="1051199"/>
                </a:lnTo>
                <a:lnTo>
                  <a:pt x="2261703" y="1057045"/>
                </a:lnTo>
                <a:lnTo>
                  <a:pt x="2263765" y="1058886"/>
                </a:lnTo>
                <a:lnTo>
                  <a:pt x="2266369" y="1056612"/>
                </a:lnTo>
                <a:lnTo>
                  <a:pt x="2267237" y="1052498"/>
                </a:lnTo>
                <a:lnTo>
                  <a:pt x="2271578" y="1047302"/>
                </a:lnTo>
                <a:lnTo>
                  <a:pt x="2273097" y="1047302"/>
                </a:lnTo>
                <a:lnTo>
                  <a:pt x="2274182" y="1050549"/>
                </a:lnTo>
                <a:lnTo>
                  <a:pt x="2277763" y="1053256"/>
                </a:lnTo>
                <a:lnTo>
                  <a:pt x="2277763" y="1055638"/>
                </a:lnTo>
                <a:lnTo>
                  <a:pt x="2275810" y="1058020"/>
                </a:lnTo>
                <a:lnTo>
                  <a:pt x="2278089" y="1062676"/>
                </a:lnTo>
                <a:lnTo>
                  <a:pt x="2285794" y="1065599"/>
                </a:lnTo>
                <a:lnTo>
                  <a:pt x="2291654" y="1065599"/>
                </a:lnTo>
                <a:lnTo>
                  <a:pt x="2293173" y="1069063"/>
                </a:lnTo>
                <a:lnTo>
                  <a:pt x="2292305" y="1074585"/>
                </a:lnTo>
                <a:lnTo>
                  <a:pt x="2293498" y="1077509"/>
                </a:lnTo>
                <a:lnTo>
                  <a:pt x="2296754" y="1077509"/>
                </a:lnTo>
                <a:lnTo>
                  <a:pt x="2298273" y="1083030"/>
                </a:lnTo>
                <a:lnTo>
                  <a:pt x="2298273" y="1085087"/>
                </a:lnTo>
                <a:lnTo>
                  <a:pt x="2304133" y="1087469"/>
                </a:lnTo>
                <a:lnTo>
                  <a:pt x="2310427" y="1094399"/>
                </a:lnTo>
                <a:lnTo>
                  <a:pt x="2310427" y="1097647"/>
                </a:lnTo>
                <a:lnTo>
                  <a:pt x="2313032" y="1099921"/>
                </a:lnTo>
                <a:lnTo>
                  <a:pt x="2313032" y="1102303"/>
                </a:lnTo>
                <a:lnTo>
                  <a:pt x="2311512" y="1105117"/>
                </a:lnTo>
                <a:lnTo>
                  <a:pt x="2311512" y="1110206"/>
                </a:lnTo>
                <a:lnTo>
                  <a:pt x="2313032" y="1111613"/>
                </a:lnTo>
                <a:lnTo>
                  <a:pt x="2313032" y="1114754"/>
                </a:lnTo>
                <a:lnTo>
                  <a:pt x="2309559" y="1117352"/>
                </a:lnTo>
                <a:lnTo>
                  <a:pt x="2306412" y="1117352"/>
                </a:lnTo>
                <a:lnTo>
                  <a:pt x="2302288" y="1119842"/>
                </a:lnTo>
                <a:lnTo>
                  <a:pt x="2305436" y="1122441"/>
                </a:lnTo>
                <a:lnTo>
                  <a:pt x="2312815" y="1122441"/>
                </a:lnTo>
                <a:lnTo>
                  <a:pt x="2315962" y="1119084"/>
                </a:lnTo>
                <a:lnTo>
                  <a:pt x="2317589" y="1118326"/>
                </a:lnTo>
                <a:lnTo>
                  <a:pt x="2317589" y="1121358"/>
                </a:lnTo>
                <a:lnTo>
                  <a:pt x="2321604" y="1123199"/>
                </a:lnTo>
                <a:lnTo>
                  <a:pt x="2323449" y="1124389"/>
                </a:lnTo>
                <a:lnTo>
                  <a:pt x="2325294" y="1123090"/>
                </a:lnTo>
                <a:lnTo>
                  <a:pt x="2325294" y="1120275"/>
                </a:lnTo>
                <a:lnTo>
                  <a:pt x="2327030" y="1119517"/>
                </a:lnTo>
                <a:lnTo>
                  <a:pt x="2328875" y="1123199"/>
                </a:lnTo>
                <a:lnTo>
                  <a:pt x="2331697" y="1124389"/>
                </a:lnTo>
                <a:lnTo>
                  <a:pt x="2330177" y="1127096"/>
                </a:lnTo>
                <a:lnTo>
                  <a:pt x="2327355" y="1128070"/>
                </a:lnTo>
                <a:lnTo>
                  <a:pt x="2329635" y="1130994"/>
                </a:lnTo>
                <a:lnTo>
                  <a:pt x="2332456" y="1132618"/>
                </a:lnTo>
                <a:lnTo>
                  <a:pt x="2331480" y="1134892"/>
                </a:lnTo>
                <a:lnTo>
                  <a:pt x="2327464" y="1134892"/>
                </a:lnTo>
                <a:lnTo>
                  <a:pt x="2323774" y="1138790"/>
                </a:lnTo>
                <a:lnTo>
                  <a:pt x="2321062" y="1139764"/>
                </a:lnTo>
                <a:lnTo>
                  <a:pt x="2318458" y="1145178"/>
                </a:lnTo>
                <a:lnTo>
                  <a:pt x="2316396" y="1146476"/>
                </a:lnTo>
                <a:lnTo>
                  <a:pt x="2310644" y="1143012"/>
                </a:lnTo>
                <a:lnTo>
                  <a:pt x="2308040" y="1143012"/>
                </a:lnTo>
                <a:lnTo>
                  <a:pt x="2305436" y="1140630"/>
                </a:lnTo>
                <a:lnTo>
                  <a:pt x="2301203" y="1140630"/>
                </a:lnTo>
                <a:lnTo>
                  <a:pt x="2299793" y="1137707"/>
                </a:lnTo>
                <a:lnTo>
                  <a:pt x="2296971" y="1138356"/>
                </a:lnTo>
                <a:lnTo>
                  <a:pt x="2295452" y="1136949"/>
                </a:lnTo>
                <a:lnTo>
                  <a:pt x="2292305" y="1136949"/>
                </a:lnTo>
                <a:lnTo>
                  <a:pt x="2290352" y="1138248"/>
                </a:lnTo>
                <a:lnTo>
                  <a:pt x="2287422" y="1136840"/>
                </a:lnTo>
                <a:lnTo>
                  <a:pt x="2287422" y="1131211"/>
                </a:lnTo>
                <a:lnTo>
                  <a:pt x="2290352" y="1130345"/>
                </a:lnTo>
                <a:lnTo>
                  <a:pt x="2293173" y="1125905"/>
                </a:lnTo>
                <a:lnTo>
                  <a:pt x="2292088" y="1122549"/>
                </a:lnTo>
                <a:lnTo>
                  <a:pt x="2288941" y="1121358"/>
                </a:lnTo>
                <a:lnTo>
                  <a:pt x="2284166" y="1121358"/>
                </a:lnTo>
                <a:lnTo>
                  <a:pt x="2280476" y="1118976"/>
                </a:lnTo>
                <a:lnTo>
                  <a:pt x="2282429" y="1116378"/>
                </a:lnTo>
                <a:lnTo>
                  <a:pt x="2285468" y="1113779"/>
                </a:lnTo>
                <a:lnTo>
                  <a:pt x="2284817" y="1109990"/>
                </a:lnTo>
                <a:lnTo>
                  <a:pt x="2282538" y="1108799"/>
                </a:lnTo>
                <a:lnTo>
                  <a:pt x="2279825" y="1109881"/>
                </a:lnTo>
                <a:lnTo>
                  <a:pt x="2277546" y="1112264"/>
                </a:lnTo>
                <a:lnTo>
                  <a:pt x="2275376" y="1110315"/>
                </a:lnTo>
                <a:lnTo>
                  <a:pt x="2272447" y="1110315"/>
                </a:lnTo>
                <a:lnTo>
                  <a:pt x="2270927" y="1113346"/>
                </a:lnTo>
                <a:lnTo>
                  <a:pt x="2266912" y="1116052"/>
                </a:lnTo>
                <a:lnTo>
                  <a:pt x="2266912" y="1121791"/>
                </a:lnTo>
                <a:lnTo>
                  <a:pt x="2265176" y="1127854"/>
                </a:lnTo>
                <a:lnTo>
                  <a:pt x="2262354" y="1127854"/>
                </a:lnTo>
                <a:lnTo>
                  <a:pt x="2260075" y="1129370"/>
                </a:lnTo>
                <a:lnTo>
                  <a:pt x="2256603" y="1131860"/>
                </a:lnTo>
                <a:lnTo>
                  <a:pt x="2254432" y="1129695"/>
                </a:lnTo>
                <a:lnTo>
                  <a:pt x="2252370" y="1129695"/>
                </a:lnTo>
                <a:lnTo>
                  <a:pt x="2250092" y="1133268"/>
                </a:lnTo>
                <a:lnTo>
                  <a:pt x="2246945" y="1135974"/>
                </a:lnTo>
                <a:lnTo>
                  <a:pt x="2245642" y="1141063"/>
                </a:lnTo>
                <a:lnTo>
                  <a:pt x="2241736" y="1144636"/>
                </a:lnTo>
                <a:lnTo>
                  <a:pt x="2238480" y="1144636"/>
                </a:lnTo>
                <a:lnTo>
                  <a:pt x="2235008" y="1146585"/>
                </a:lnTo>
                <a:lnTo>
                  <a:pt x="2233923" y="1148533"/>
                </a:lnTo>
                <a:lnTo>
                  <a:pt x="2230016" y="1148533"/>
                </a:lnTo>
                <a:lnTo>
                  <a:pt x="2227412" y="1150266"/>
                </a:lnTo>
                <a:lnTo>
                  <a:pt x="2223939" y="1150266"/>
                </a:lnTo>
                <a:lnTo>
                  <a:pt x="2222203" y="1148967"/>
                </a:lnTo>
                <a:lnTo>
                  <a:pt x="2219598" y="1150266"/>
                </a:lnTo>
                <a:lnTo>
                  <a:pt x="2218622" y="1148318"/>
                </a:lnTo>
                <a:lnTo>
                  <a:pt x="2218622" y="1141929"/>
                </a:lnTo>
                <a:lnTo>
                  <a:pt x="2221335" y="1138140"/>
                </a:lnTo>
                <a:lnTo>
                  <a:pt x="2220575" y="1134351"/>
                </a:lnTo>
                <a:lnTo>
                  <a:pt x="2224156" y="1129695"/>
                </a:lnTo>
                <a:lnTo>
                  <a:pt x="2223505" y="1126880"/>
                </a:lnTo>
                <a:lnTo>
                  <a:pt x="2220901" y="1125147"/>
                </a:lnTo>
                <a:lnTo>
                  <a:pt x="2218622" y="1125147"/>
                </a:lnTo>
                <a:lnTo>
                  <a:pt x="2216777" y="1126231"/>
                </a:lnTo>
                <a:lnTo>
                  <a:pt x="2213087" y="1126231"/>
                </a:lnTo>
                <a:lnTo>
                  <a:pt x="2210049" y="1124498"/>
                </a:lnTo>
                <a:lnTo>
                  <a:pt x="2208421" y="1123307"/>
                </a:lnTo>
                <a:lnTo>
                  <a:pt x="2206142" y="1124173"/>
                </a:lnTo>
                <a:lnTo>
                  <a:pt x="2205166" y="1128179"/>
                </a:lnTo>
                <a:lnTo>
                  <a:pt x="2203104" y="1128179"/>
                </a:lnTo>
                <a:lnTo>
                  <a:pt x="2202236" y="1123199"/>
                </a:lnTo>
                <a:lnTo>
                  <a:pt x="2204623" y="1115078"/>
                </a:lnTo>
                <a:lnTo>
                  <a:pt x="2204623" y="1110748"/>
                </a:lnTo>
                <a:lnTo>
                  <a:pt x="2212328" y="1107607"/>
                </a:lnTo>
                <a:lnTo>
                  <a:pt x="2218188" y="1107607"/>
                </a:lnTo>
                <a:lnTo>
                  <a:pt x="2220901" y="1104685"/>
                </a:lnTo>
                <a:lnTo>
                  <a:pt x="2220901" y="1097864"/>
                </a:lnTo>
                <a:lnTo>
                  <a:pt x="2222094" y="1095265"/>
                </a:lnTo>
                <a:lnTo>
                  <a:pt x="2222094" y="1088769"/>
                </a:lnTo>
                <a:lnTo>
                  <a:pt x="2224156" y="1084763"/>
                </a:lnTo>
                <a:lnTo>
                  <a:pt x="2230125" y="1079457"/>
                </a:lnTo>
                <a:lnTo>
                  <a:pt x="2230125" y="1075668"/>
                </a:lnTo>
                <a:lnTo>
                  <a:pt x="2231319" y="1071337"/>
                </a:lnTo>
                <a:lnTo>
                  <a:pt x="2233923" y="1069930"/>
                </a:lnTo>
                <a:lnTo>
                  <a:pt x="2232187" y="1066682"/>
                </a:lnTo>
                <a:lnTo>
                  <a:pt x="2236853" y="1059102"/>
                </a:lnTo>
                <a:lnTo>
                  <a:pt x="2236853" y="1056179"/>
                </a:lnTo>
                <a:lnTo>
                  <a:pt x="2239783" y="1052173"/>
                </a:lnTo>
                <a:lnTo>
                  <a:pt x="2239783" y="1048709"/>
                </a:lnTo>
                <a:lnTo>
                  <a:pt x="2244123" y="1042321"/>
                </a:lnTo>
                <a:lnTo>
                  <a:pt x="2247704" y="1033226"/>
                </a:lnTo>
                <a:lnTo>
                  <a:pt x="2252370" y="1029220"/>
                </a:lnTo>
                <a:close/>
                <a:moveTo>
                  <a:pt x="4312017" y="1023914"/>
                </a:moveTo>
                <a:lnTo>
                  <a:pt x="4308219" y="1025971"/>
                </a:lnTo>
                <a:lnTo>
                  <a:pt x="4308219" y="1025972"/>
                </a:lnTo>
                <a:lnTo>
                  <a:pt x="4312017" y="1023915"/>
                </a:lnTo>
                <a:close/>
                <a:moveTo>
                  <a:pt x="890597" y="1023590"/>
                </a:moveTo>
                <a:lnTo>
                  <a:pt x="894071" y="1023915"/>
                </a:lnTo>
                <a:lnTo>
                  <a:pt x="894503" y="1027488"/>
                </a:lnTo>
                <a:lnTo>
                  <a:pt x="889837" y="1026838"/>
                </a:lnTo>
                <a:close/>
                <a:moveTo>
                  <a:pt x="2730604" y="1022940"/>
                </a:moveTo>
                <a:lnTo>
                  <a:pt x="2732883" y="1024348"/>
                </a:lnTo>
                <a:lnTo>
                  <a:pt x="2730279" y="1028787"/>
                </a:lnTo>
                <a:lnTo>
                  <a:pt x="2727457" y="1029761"/>
                </a:lnTo>
                <a:cubicBezTo>
                  <a:pt x="2727457" y="1029761"/>
                  <a:pt x="2725504" y="1030736"/>
                  <a:pt x="2725504" y="1030736"/>
                </a:cubicBezTo>
                <a:lnTo>
                  <a:pt x="2725504" y="1026188"/>
                </a:lnTo>
                <a:lnTo>
                  <a:pt x="2728976" y="1024239"/>
                </a:lnTo>
                <a:close/>
                <a:moveTo>
                  <a:pt x="4247884" y="1020017"/>
                </a:moveTo>
                <a:lnTo>
                  <a:pt x="4250488" y="1024023"/>
                </a:lnTo>
                <a:lnTo>
                  <a:pt x="4246256" y="1025864"/>
                </a:lnTo>
                <a:close/>
                <a:moveTo>
                  <a:pt x="2272012" y="1019692"/>
                </a:moveTo>
                <a:lnTo>
                  <a:pt x="2274942" y="1019800"/>
                </a:lnTo>
                <a:lnTo>
                  <a:pt x="2275810" y="1023806"/>
                </a:lnTo>
                <a:lnTo>
                  <a:pt x="2273965" y="1025106"/>
                </a:lnTo>
                <a:lnTo>
                  <a:pt x="2274291" y="1028029"/>
                </a:lnTo>
                <a:lnTo>
                  <a:pt x="2276353" y="1031277"/>
                </a:lnTo>
                <a:lnTo>
                  <a:pt x="2273097" y="1039073"/>
                </a:lnTo>
                <a:lnTo>
                  <a:pt x="2270384" y="1039939"/>
                </a:lnTo>
                <a:lnTo>
                  <a:pt x="2270710" y="1035608"/>
                </a:lnTo>
                <a:lnTo>
                  <a:pt x="2269625" y="1033010"/>
                </a:lnTo>
                <a:lnTo>
                  <a:pt x="2270493" y="1029978"/>
                </a:lnTo>
                <a:lnTo>
                  <a:pt x="2270493" y="1023481"/>
                </a:lnTo>
                <a:close/>
                <a:moveTo>
                  <a:pt x="4224769" y="1018609"/>
                </a:moveTo>
                <a:lnTo>
                  <a:pt x="4221839" y="1031060"/>
                </a:lnTo>
                <a:lnTo>
                  <a:pt x="4223033" y="1035607"/>
                </a:lnTo>
                <a:lnTo>
                  <a:pt x="4226288" y="1029544"/>
                </a:lnTo>
                <a:lnTo>
                  <a:pt x="4233884" y="1029219"/>
                </a:lnTo>
                <a:lnTo>
                  <a:pt x="4230954" y="1025105"/>
                </a:lnTo>
                <a:lnTo>
                  <a:pt x="4230737" y="1021640"/>
                </a:lnTo>
                <a:lnTo>
                  <a:pt x="4233992" y="1024131"/>
                </a:lnTo>
                <a:lnTo>
                  <a:pt x="4240069" y="1029977"/>
                </a:lnTo>
                <a:lnTo>
                  <a:pt x="4231931" y="1038855"/>
                </a:lnTo>
                <a:lnTo>
                  <a:pt x="4226396" y="1041994"/>
                </a:lnTo>
                <a:lnTo>
                  <a:pt x="4224552" y="1045784"/>
                </a:lnTo>
                <a:lnTo>
                  <a:pt x="4220862" y="1044485"/>
                </a:lnTo>
                <a:lnTo>
                  <a:pt x="4221405" y="1039829"/>
                </a:lnTo>
                <a:lnTo>
                  <a:pt x="4215762" y="1047300"/>
                </a:lnTo>
                <a:lnTo>
                  <a:pt x="4213158" y="1047300"/>
                </a:lnTo>
                <a:lnTo>
                  <a:pt x="4214026" y="1041453"/>
                </a:lnTo>
                <a:lnTo>
                  <a:pt x="4216521" y="1040046"/>
                </a:lnTo>
                <a:lnTo>
                  <a:pt x="4215762" y="1035715"/>
                </a:lnTo>
                <a:lnTo>
                  <a:pt x="4219018" y="1031818"/>
                </a:lnTo>
                <a:lnTo>
                  <a:pt x="4219018" y="1027378"/>
                </a:lnTo>
                <a:close/>
                <a:moveTo>
                  <a:pt x="4213049" y="1018609"/>
                </a:moveTo>
                <a:lnTo>
                  <a:pt x="4214568" y="1024889"/>
                </a:lnTo>
                <a:lnTo>
                  <a:pt x="4214785" y="1032793"/>
                </a:lnTo>
                <a:lnTo>
                  <a:pt x="4208382" y="1034742"/>
                </a:lnTo>
                <a:lnTo>
                  <a:pt x="4205778" y="1032468"/>
                </a:lnTo>
                <a:lnTo>
                  <a:pt x="4211638" y="1028354"/>
                </a:lnTo>
                <a:lnTo>
                  <a:pt x="4208382" y="1028245"/>
                </a:lnTo>
                <a:lnTo>
                  <a:pt x="4202306" y="1033009"/>
                </a:lnTo>
                <a:lnTo>
                  <a:pt x="4200461" y="1029870"/>
                </a:lnTo>
                <a:lnTo>
                  <a:pt x="4202197" y="1025105"/>
                </a:lnTo>
                <a:lnTo>
                  <a:pt x="4206646" y="1026080"/>
                </a:lnTo>
                <a:lnTo>
                  <a:pt x="4210770" y="1021315"/>
                </a:lnTo>
                <a:lnTo>
                  <a:pt x="4209902" y="1019042"/>
                </a:lnTo>
                <a:close/>
                <a:moveTo>
                  <a:pt x="2909440" y="1018609"/>
                </a:moveTo>
                <a:lnTo>
                  <a:pt x="2911719" y="1018609"/>
                </a:lnTo>
                <a:lnTo>
                  <a:pt x="2911393" y="1020558"/>
                </a:lnTo>
                <a:lnTo>
                  <a:pt x="2908680" y="1023589"/>
                </a:lnTo>
                <a:lnTo>
                  <a:pt x="2906510" y="1024023"/>
                </a:lnTo>
                <a:lnTo>
                  <a:pt x="2905317" y="1022831"/>
                </a:lnTo>
                <a:lnTo>
                  <a:pt x="2906402" y="1021424"/>
                </a:lnTo>
                <a:close/>
                <a:moveTo>
                  <a:pt x="4235295" y="1015903"/>
                </a:moveTo>
                <a:lnTo>
                  <a:pt x="4240070" y="1018393"/>
                </a:lnTo>
                <a:lnTo>
                  <a:pt x="4240070" y="1021641"/>
                </a:lnTo>
                <a:lnTo>
                  <a:pt x="4233233" y="1018825"/>
                </a:lnTo>
                <a:lnTo>
                  <a:pt x="4231823" y="1017310"/>
                </a:lnTo>
                <a:close/>
                <a:moveTo>
                  <a:pt x="2289158" y="1015578"/>
                </a:moveTo>
                <a:lnTo>
                  <a:pt x="2290460" y="1020341"/>
                </a:lnTo>
                <a:lnTo>
                  <a:pt x="2294801" y="1022074"/>
                </a:lnTo>
                <a:lnTo>
                  <a:pt x="2295777" y="1025106"/>
                </a:lnTo>
                <a:lnTo>
                  <a:pt x="2298599" y="1027379"/>
                </a:lnTo>
                <a:lnTo>
                  <a:pt x="2298599" y="1034092"/>
                </a:lnTo>
                <a:lnTo>
                  <a:pt x="2303373" y="1036473"/>
                </a:lnTo>
                <a:lnTo>
                  <a:pt x="2306629" y="1036798"/>
                </a:lnTo>
                <a:lnTo>
                  <a:pt x="2305978" y="1041671"/>
                </a:lnTo>
                <a:lnTo>
                  <a:pt x="2301312" y="1040588"/>
                </a:lnTo>
                <a:lnTo>
                  <a:pt x="2298056" y="1041454"/>
                </a:lnTo>
                <a:lnTo>
                  <a:pt x="2298056" y="1038206"/>
                </a:lnTo>
                <a:lnTo>
                  <a:pt x="2295452" y="1035499"/>
                </a:lnTo>
                <a:lnTo>
                  <a:pt x="2291003" y="1033009"/>
                </a:lnTo>
                <a:lnTo>
                  <a:pt x="2291654" y="1030086"/>
                </a:lnTo>
                <a:lnTo>
                  <a:pt x="2290352" y="1025863"/>
                </a:lnTo>
                <a:lnTo>
                  <a:pt x="2287422" y="1023482"/>
                </a:lnTo>
                <a:lnTo>
                  <a:pt x="2287747" y="1017202"/>
                </a:lnTo>
                <a:close/>
                <a:moveTo>
                  <a:pt x="901339" y="1014820"/>
                </a:moveTo>
                <a:lnTo>
                  <a:pt x="904594" y="1016010"/>
                </a:lnTo>
                <a:lnTo>
                  <a:pt x="902207" y="1018177"/>
                </a:lnTo>
                <a:lnTo>
                  <a:pt x="898953" y="1016985"/>
                </a:lnTo>
                <a:close/>
                <a:moveTo>
                  <a:pt x="2314985" y="1014062"/>
                </a:moveTo>
                <a:lnTo>
                  <a:pt x="2317155" y="1014387"/>
                </a:lnTo>
                <a:lnTo>
                  <a:pt x="2319868" y="1016443"/>
                </a:lnTo>
                <a:lnTo>
                  <a:pt x="2319651" y="1018176"/>
                </a:lnTo>
                <a:lnTo>
                  <a:pt x="2317155" y="1017634"/>
                </a:lnTo>
                <a:lnTo>
                  <a:pt x="2313683" y="1014928"/>
                </a:lnTo>
                <a:close/>
                <a:moveTo>
                  <a:pt x="4467534" y="1012459"/>
                </a:moveTo>
                <a:lnTo>
                  <a:pt x="4466003" y="1013520"/>
                </a:lnTo>
                <a:lnTo>
                  <a:pt x="4467280" y="1013957"/>
                </a:lnTo>
                <a:close/>
                <a:moveTo>
                  <a:pt x="4319288" y="1011896"/>
                </a:moveTo>
                <a:lnTo>
                  <a:pt x="4317551" y="1012762"/>
                </a:lnTo>
                <a:lnTo>
                  <a:pt x="4312125" y="1013737"/>
                </a:lnTo>
                <a:lnTo>
                  <a:pt x="4306699" y="1012112"/>
                </a:lnTo>
                <a:lnTo>
                  <a:pt x="4306699" y="1012114"/>
                </a:lnTo>
                <a:lnTo>
                  <a:pt x="4312125" y="1013738"/>
                </a:lnTo>
                <a:lnTo>
                  <a:pt x="4317551" y="1012763"/>
                </a:lnTo>
                <a:lnTo>
                  <a:pt x="4319287" y="1011897"/>
                </a:lnTo>
                <a:lnTo>
                  <a:pt x="4320412" y="1013237"/>
                </a:lnTo>
                <a:lnTo>
                  <a:pt x="4320412" y="1013236"/>
                </a:lnTo>
                <a:lnTo>
                  <a:pt x="4319288" y="1011896"/>
                </a:lnTo>
                <a:close/>
                <a:moveTo>
                  <a:pt x="878441" y="1010489"/>
                </a:moveTo>
                <a:lnTo>
                  <a:pt x="881698" y="1012005"/>
                </a:lnTo>
                <a:lnTo>
                  <a:pt x="880829" y="1014820"/>
                </a:lnTo>
                <a:lnTo>
                  <a:pt x="881480" y="1017310"/>
                </a:lnTo>
                <a:lnTo>
                  <a:pt x="879854" y="1019584"/>
                </a:lnTo>
                <a:lnTo>
                  <a:pt x="875729" y="1013954"/>
                </a:lnTo>
                <a:close/>
                <a:moveTo>
                  <a:pt x="4320264" y="1010380"/>
                </a:moveTo>
                <a:lnTo>
                  <a:pt x="4319288" y="1011788"/>
                </a:lnTo>
                <a:lnTo>
                  <a:pt x="4319288" y="1011788"/>
                </a:lnTo>
                <a:lnTo>
                  <a:pt x="4320441" y="1013195"/>
                </a:lnTo>
                <a:lnTo>
                  <a:pt x="4320591" y="1012979"/>
                </a:lnTo>
                <a:lnTo>
                  <a:pt x="4322652" y="1013954"/>
                </a:lnTo>
                <a:lnTo>
                  <a:pt x="4324280" y="1012871"/>
                </a:lnTo>
                <a:lnTo>
                  <a:pt x="4323377" y="1010584"/>
                </a:lnTo>
                <a:lnTo>
                  <a:pt x="4322217" y="1011355"/>
                </a:lnTo>
                <a:close/>
                <a:moveTo>
                  <a:pt x="786962" y="1009623"/>
                </a:moveTo>
                <a:lnTo>
                  <a:pt x="790544" y="1009623"/>
                </a:lnTo>
                <a:lnTo>
                  <a:pt x="790764" y="1013304"/>
                </a:lnTo>
                <a:lnTo>
                  <a:pt x="784684" y="1017311"/>
                </a:lnTo>
                <a:lnTo>
                  <a:pt x="780237" y="1016878"/>
                </a:lnTo>
                <a:close/>
                <a:moveTo>
                  <a:pt x="7383580" y="1007024"/>
                </a:moveTo>
                <a:lnTo>
                  <a:pt x="7386186" y="1007890"/>
                </a:lnTo>
                <a:lnTo>
                  <a:pt x="7391719" y="1014169"/>
                </a:lnTo>
                <a:lnTo>
                  <a:pt x="7394215" y="1020124"/>
                </a:lnTo>
                <a:lnTo>
                  <a:pt x="7395518" y="1025321"/>
                </a:lnTo>
                <a:lnTo>
                  <a:pt x="7393238" y="1026513"/>
                </a:lnTo>
                <a:lnTo>
                  <a:pt x="7387379" y="1030843"/>
                </a:lnTo>
                <a:lnTo>
                  <a:pt x="7383689" y="1035066"/>
                </a:lnTo>
                <a:lnTo>
                  <a:pt x="7381194" y="1040696"/>
                </a:lnTo>
                <a:lnTo>
                  <a:pt x="7381194" y="1044052"/>
                </a:lnTo>
                <a:lnTo>
                  <a:pt x="7379782" y="1046325"/>
                </a:lnTo>
                <a:lnTo>
                  <a:pt x="7381953" y="1050765"/>
                </a:lnTo>
                <a:lnTo>
                  <a:pt x="7382604" y="1056070"/>
                </a:lnTo>
                <a:lnTo>
                  <a:pt x="7381085" y="1055420"/>
                </a:lnTo>
                <a:lnTo>
                  <a:pt x="7376852" y="1050982"/>
                </a:lnTo>
                <a:lnTo>
                  <a:pt x="7375985" y="1048383"/>
                </a:lnTo>
                <a:lnTo>
                  <a:pt x="7378155" y="1045351"/>
                </a:lnTo>
                <a:lnTo>
                  <a:pt x="7377829" y="1040046"/>
                </a:lnTo>
                <a:lnTo>
                  <a:pt x="7375225" y="1036473"/>
                </a:lnTo>
                <a:lnTo>
                  <a:pt x="7373597" y="1028894"/>
                </a:lnTo>
                <a:lnTo>
                  <a:pt x="7375008" y="1024672"/>
                </a:lnTo>
                <a:lnTo>
                  <a:pt x="7374465" y="1023914"/>
                </a:lnTo>
                <a:lnTo>
                  <a:pt x="7370016" y="1025538"/>
                </a:lnTo>
                <a:lnTo>
                  <a:pt x="7367303" y="1025863"/>
                </a:lnTo>
                <a:lnTo>
                  <a:pt x="7370125" y="1021315"/>
                </a:lnTo>
                <a:lnTo>
                  <a:pt x="7372512" y="1020233"/>
                </a:lnTo>
                <a:lnTo>
                  <a:pt x="7378372" y="1013303"/>
                </a:lnTo>
                <a:lnTo>
                  <a:pt x="7380325" y="1012004"/>
                </a:lnTo>
                <a:lnTo>
                  <a:pt x="7381085" y="1009622"/>
                </a:lnTo>
                <a:close/>
                <a:moveTo>
                  <a:pt x="2948614" y="1002044"/>
                </a:moveTo>
                <a:lnTo>
                  <a:pt x="2954149" y="1003343"/>
                </a:lnTo>
                <a:lnTo>
                  <a:pt x="2954582" y="1005725"/>
                </a:lnTo>
                <a:lnTo>
                  <a:pt x="2948289" y="1006591"/>
                </a:lnTo>
                <a:lnTo>
                  <a:pt x="2945034" y="1004967"/>
                </a:lnTo>
                <a:lnTo>
                  <a:pt x="2945034" y="1003127"/>
                </a:lnTo>
                <a:close/>
                <a:moveTo>
                  <a:pt x="4228892" y="1000854"/>
                </a:moveTo>
                <a:lnTo>
                  <a:pt x="4230086" y="1005293"/>
                </a:lnTo>
                <a:lnTo>
                  <a:pt x="4225094" y="1008974"/>
                </a:lnTo>
                <a:lnTo>
                  <a:pt x="4224551" y="1013738"/>
                </a:lnTo>
                <a:lnTo>
                  <a:pt x="4218149" y="1021317"/>
                </a:lnTo>
                <a:lnTo>
                  <a:pt x="4215762" y="1019584"/>
                </a:lnTo>
                <a:lnTo>
                  <a:pt x="4216087" y="1012655"/>
                </a:lnTo>
                <a:lnTo>
                  <a:pt x="4222490" y="1007566"/>
                </a:lnTo>
                <a:lnTo>
                  <a:pt x="4222707" y="1003236"/>
                </a:lnTo>
                <a:close/>
                <a:moveTo>
                  <a:pt x="4326666" y="999878"/>
                </a:moveTo>
                <a:lnTo>
                  <a:pt x="4323302" y="1002584"/>
                </a:lnTo>
                <a:lnTo>
                  <a:pt x="4322434" y="1006699"/>
                </a:lnTo>
                <a:lnTo>
                  <a:pt x="4323075" y="1008322"/>
                </a:lnTo>
                <a:lnTo>
                  <a:pt x="4323737" y="1005184"/>
                </a:lnTo>
                <a:lnTo>
                  <a:pt x="4326993" y="1002477"/>
                </a:lnTo>
                <a:lnTo>
                  <a:pt x="4331442" y="1003126"/>
                </a:lnTo>
                <a:lnTo>
                  <a:pt x="4335023" y="1008432"/>
                </a:lnTo>
                <a:lnTo>
                  <a:pt x="4345223" y="1016660"/>
                </a:lnTo>
                <a:lnTo>
                  <a:pt x="4347177" y="1021641"/>
                </a:lnTo>
                <a:lnTo>
                  <a:pt x="4350975" y="1026838"/>
                </a:lnTo>
                <a:lnTo>
                  <a:pt x="4357703" y="1029544"/>
                </a:lnTo>
                <a:lnTo>
                  <a:pt x="4368555" y="1029544"/>
                </a:lnTo>
                <a:lnTo>
                  <a:pt x="4374414" y="1023914"/>
                </a:lnTo>
                <a:lnTo>
                  <a:pt x="4377670" y="1020450"/>
                </a:lnTo>
                <a:lnTo>
                  <a:pt x="4382662" y="1020450"/>
                </a:lnTo>
                <a:lnTo>
                  <a:pt x="4390583" y="1025971"/>
                </a:lnTo>
                <a:lnTo>
                  <a:pt x="4395901" y="1026838"/>
                </a:lnTo>
                <a:lnTo>
                  <a:pt x="4398614" y="1021641"/>
                </a:lnTo>
                <a:lnTo>
                  <a:pt x="4401761" y="1019908"/>
                </a:lnTo>
                <a:lnTo>
                  <a:pt x="4405558" y="1016336"/>
                </a:lnTo>
                <a:lnTo>
                  <a:pt x="4409683" y="1016336"/>
                </a:lnTo>
                <a:lnTo>
                  <a:pt x="4413806" y="1013629"/>
                </a:lnTo>
                <a:lnTo>
                  <a:pt x="4415543" y="1010489"/>
                </a:lnTo>
                <a:lnTo>
                  <a:pt x="4415127" y="1009505"/>
                </a:lnTo>
                <a:lnTo>
                  <a:pt x="4413805" y="1011896"/>
                </a:lnTo>
                <a:lnTo>
                  <a:pt x="4409682" y="1014602"/>
                </a:lnTo>
                <a:lnTo>
                  <a:pt x="4405558" y="1014278"/>
                </a:lnTo>
                <a:lnTo>
                  <a:pt x="4401760" y="1017959"/>
                </a:lnTo>
                <a:lnTo>
                  <a:pt x="4398613" y="1019583"/>
                </a:lnTo>
                <a:lnTo>
                  <a:pt x="4395900" y="1024780"/>
                </a:lnTo>
                <a:lnTo>
                  <a:pt x="4390583" y="1023914"/>
                </a:lnTo>
                <a:lnTo>
                  <a:pt x="4382661" y="1018392"/>
                </a:lnTo>
                <a:lnTo>
                  <a:pt x="4377670" y="1018284"/>
                </a:lnTo>
                <a:lnTo>
                  <a:pt x="4374305" y="1021640"/>
                </a:lnTo>
                <a:lnTo>
                  <a:pt x="4368445" y="1027379"/>
                </a:lnTo>
                <a:lnTo>
                  <a:pt x="4357268" y="1027054"/>
                </a:lnTo>
                <a:lnTo>
                  <a:pt x="4350540" y="1024239"/>
                </a:lnTo>
                <a:lnTo>
                  <a:pt x="4346742" y="1019150"/>
                </a:lnTo>
                <a:lnTo>
                  <a:pt x="4344898" y="1014170"/>
                </a:lnTo>
                <a:lnTo>
                  <a:pt x="4334697" y="1005833"/>
                </a:lnTo>
                <a:lnTo>
                  <a:pt x="4331115" y="1000527"/>
                </a:lnTo>
                <a:close/>
                <a:moveTo>
                  <a:pt x="2708358" y="999554"/>
                </a:moveTo>
                <a:lnTo>
                  <a:pt x="2711180" y="1002152"/>
                </a:lnTo>
                <a:lnTo>
                  <a:pt x="2711505" y="1007024"/>
                </a:lnTo>
                <a:lnTo>
                  <a:pt x="2709010" y="1008107"/>
                </a:lnTo>
                <a:lnTo>
                  <a:pt x="2706513" y="1008215"/>
                </a:lnTo>
                <a:lnTo>
                  <a:pt x="2705320" y="1002585"/>
                </a:lnTo>
                <a:close/>
                <a:moveTo>
                  <a:pt x="4900612" y="995007"/>
                </a:moveTo>
                <a:lnTo>
                  <a:pt x="4906580" y="995656"/>
                </a:lnTo>
                <a:lnTo>
                  <a:pt x="4904084" y="997389"/>
                </a:lnTo>
                <a:lnTo>
                  <a:pt x="4898767" y="998472"/>
                </a:lnTo>
                <a:lnTo>
                  <a:pt x="4897573" y="999879"/>
                </a:lnTo>
                <a:lnTo>
                  <a:pt x="4895946" y="999879"/>
                </a:lnTo>
                <a:lnTo>
                  <a:pt x="4896163" y="997281"/>
                </a:lnTo>
                <a:close/>
                <a:moveTo>
                  <a:pt x="4959645" y="994681"/>
                </a:moveTo>
                <a:lnTo>
                  <a:pt x="4961272" y="997171"/>
                </a:lnTo>
                <a:lnTo>
                  <a:pt x="4959102" y="999877"/>
                </a:lnTo>
                <a:lnTo>
                  <a:pt x="4955630" y="999444"/>
                </a:lnTo>
                <a:lnTo>
                  <a:pt x="4957257" y="995655"/>
                </a:lnTo>
                <a:close/>
                <a:moveTo>
                  <a:pt x="4969628" y="992408"/>
                </a:moveTo>
                <a:lnTo>
                  <a:pt x="4969845" y="995873"/>
                </a:lnTo>
                <a:lnTo>
                  <a:pt x="4966481" y="1000312"/>
                </a:lnTo>
                <a:lnTo>
                  <a:pt x="4964853" y="998471"/>
                </a:lnTo>
                <a:lnTo>
                  <a:pt x="4964636" y="996089"/>
                </a:lnTo>
                <a:lnTo>
                  <a:pt x="4966481" y="992949"/>
                </a:lnTo>
                <a:close/>
                <a:moveTo>
                  <a:pt x="4249946" y="989160"/>
                </a:moveTo>
                <a:lnTo>
                  <a:pt x="4257108" y="989918"/>
                </a:lnTo>
                <a:lnTo>
                  <a:pt x="4257977" y="993707"/>
                </a:lnTo>
                <a:lnTo>
                  <a:pt x="4261231" y="994790"/>
                </a:lnTo>
                <a:lnTo>
                  <a:pt x="4262534" y="1000203"/>
                </a:lnTo>
                <a:lnTo>
                  <a:pt x="4261666" y="1002910"/>
                </a:lnTo>
                <a:lnTo>
                  <a:pt x="4262751" y="1006700"/>
                </a:lnTo>
                <a:lnTo>
                  <a:pt x="4257650" y="1007891"/>
                </a:lnTo>
                <a:lnTo>
                  <a:pt x="4255806" y="1010490"/>
                </a:lnTo>
                <a:lnTo>
                  <a:pt x="4250272" y="1010056"/>
                </a:lnTo>
                <a:lnTo>
                  <a:pt x="4249078" y="1015903"/>
                </a:lnTo>
                <a:lnTo>
                  <a:pt x="4246907" y="1016011"/>
                </a:lnTo>
                <a:lnTo>
                  <a:pt x="4246691" y="1011572"/>
                </a:lnTo>
                <a:lnTo>
                  <a:pt x="4242784" y="1011031"/>
                </a:lnTo>
                <a:lnTo>
                  <a:pt x="4246582" y="1005942"/>
                </a:lnTo>
                <a:lnTo>
                  <a:pt x="4241916" y="1005509"/>
                </a:lnTo>
                <a:lnTo>
                  <a:pt x="4243978" y="999987"/>
                </a:lnTo>
                <a:lnTo>
                  <a:pt x="4250054" y="999446"/>
                </a:lnTo>
                <a:lnTo>
                  <a:pt x="4244520" y="996631"/>
                </a:lnTo>
                <a:lnTo>
                  <a:pt x="4247450" y="991433"/>
                </a:lnTo>
                <a:lnTo>
                  <a:pt x="4251031" y="994249"/>
                </a:lnTo>
                <a:close/>
                <a:moveTo>
                  <a:pt x="2932445" y="982664"/>
                </a:moveTo>
                <a:lnTo>
                  <a:pt x="2936569" y="982989"/>
                </a:lnTo>
                <a:lnTo>
                  <a:pt x="2937437" y="985586"/>
                </a:lnTo>
                <a:lnTo>
                  <a:pt x="2930600" y="986778"/>
                </a:lnTo>
                <a:lnTo>
                  <a:pt x="2929190" y="985154"/>
                </a:lnTo>
                <a:lnTo>
                  <a:pt x="2929732" y="983205"/>
                </a:lnTo>
                <a:close/>
                <a:moveTo>
                  <a:pt x="4413906" y="982573"/>
                </a:moveTo>
                <a:lnTo>
                  <a:pt x="4412828" y="985261"/>
                </a:lnTo>
                <a:lnTo>
                  <a:pt x="4411527" y="997496"/>
                </a:lnTo>
                <a:lnTo>
                  <a:pt x="4411648" y="997878"/>
                </a:lnTo>
                <a:lnTo>
                  <a:pt x="4412721" y="986886"/>
                </a:lnTo>
                <a:lnTo>
                  <a:pt x="4414240" y="983096"/>
                </a:lnTo>
                <a:close/>
                <a:moveTo>
                  <a:pt x="2952412" y="980498"/>
                </a:moveTo>
                <a:lnTo>
                  <a:pt x="2956427" y="982122"/>
                </a:lnTo>
                <a:lnTo>
                  <a:pt x="2953823" y="983529"/>
                </a:lnTo>
                <a:lnTo>
                  <a:pt x="2949916" y="983747"/>
                </a:lnTo>
                <a:lnTo>
                  <a:pt x="2948614" y="981689"/>
                </a:lnTo>
                <a:close/>
                <a:moveTo>
                  <a:pt x="4497906" y="978657"/>
                </a:moveTo>
                <a:lnTo>
                  <a:pt x="4497275" y="978710"/>
                </a:lnTo>
                <a:lnTo>
                  <a:pt x="4501487" y="980391"/>
                </a:lnTo>
                <a:lnTo>
                  <a:pt x="4501621" y="980222"/>
                </a:lnTo>
                <a:close/>
                <a:moveTo>
                  <a:pt x="3504111" y="978441"/>
                </a:moveTo>
                <a:lnTo>
                  <a:pt x="3504653" y="980498"/>
                </a:lnTo>
                <a:lnTo>
                  <a:pt x="3502049" y="982014"/>
                </a:lnTo>
                <a:lnTo>
                  <a:pt x="3500313" y="981797"/>
                </a:lnTo>
                <a:lnTo>
                  <a:pt x="3500638" y="979848"/>
                </a:lnTo>
                <a:close/>
                <a:moveTo>
                  <a:pt x="4277617" y="978332"/>
                </a:moveTo>
                <a:lnTo>
                  <a:pt x="4280764" y="982987"/>
                </a:lnTo>
                <a:lnTo>
                  <a:pt x="4277400" y="987102"/>
                </a:lnTo>
                <a:lnTo>
                  <a:pt x="4277617" y="990567"/>
                </a:lnTo>
                <a:lnTo>
                  <a:pt x="4271974" y="990675"/>
                </a:lnTo>
                <a:lnTo>
                  <a:pt x="4267417" y="992408"/>
                </a:lnTo>
                <a:lnTo>
                  <a:pt x="4262642" y="986236"/>
                </a:lnTo>
                <a:lnTo>
                  <a:pt x="4269044" y="985911"/>
                </a:lnTo>
                <a:lnTo>
                  <a:pt x="4269262" y="982338"/>
                </a:lnTo>
                <a:lnTo>
                  <a:pt x="4274904" y="982122"/>
                </a:lnTo>
                <a:close/>
                <a:moveTo>
                  <a:pt x="2942212" y="975409"/>
                </a:moveTo>
                <a:lnTo>
                  <a:pt x="2946878" y="976600"/>
                </a:lnTo>
                <a:lnTo>
                  <a:pt x="2949591" y="978115"/>
                </a:lnTo>
                <a:lnTo>
                  <a:pt x="2946552" y="980498"/>
                </a:lnTo>
                <a:lnTo>
                  <a:pt x="2943297" y="980931"/>
                </a:lnTo>
                <a:lnTo>
                  <a:pt x="2937654" y="978441"/>
                </a:lnTo>
                <a:lnTo>
                  <a:pt x="2938088" y="976925"/>
                </a:lnTo>
                <a:close/>
                <a:moveTo>
                  <a:pt x="4290530" y="971295"/>
                </a:moveTo>
                <a:lnTo>
                  <a:pt x="4292592" y="975734"/>
                </a:lnTo>
                <a:lnTo>
                  <a:pt x="4289120" y="977683"/>
                </a:lnTo>
                <a:close/>
                <a:moveTo>
                  <a:pt x="4418472" y="971118"/>
                </a:moveTo>
                <a:lnTo>
                  <a:pt x="4414781" y="976166"/>
                </a:lnTo>
                <a:lnTo>
                  <a:pt x="4412069" y="977899"/>
                </a:lnTo>
                <a:lnTo>
                  <a:pt x="4412774" y="979005"/>
                </a:lnTo>
                <a:lnTo>
                  <a:pt x="4414675" y="977791"/>
                </a:lnTo>
                <a:lnTo>
                  <a:pt x="4418472" y="972594"/>
                </a:lnTo>
                <a:close/>
                <a:moveTo>
                  <a:pt x="2672222" y="970104"/>
                </a:moveTo>
                <a:lnTo>
                  <a:pt x="2674826" y="970212"/>
                </a:lnTo>
                <a:lnTo>
                  <a:pt x="2675694" y="973135"/>
                </a:lnTo>
                <a:lnTo>
                  <a:pt x="2673958" y="974435"/>
                </a:lnTo>
                <a:lnTo>
                  <a:pt x="2669509" y="971620"/>
                </a:lnTo>
                <a:cubicBezTo>
                  <a:pt x="2670370" y="971042"/>
                  <a:pt x="2671278" y="970535"/>
                  <a:pt x="2672222" y="970104"/>
                </a:cubicBezTo>
                <a:close/>
                <a:moveTo>
                  <a:pt x="4991874" y="968914"/>
                </a:moveTo>
                <a:lnTo>
                  <a:pt x="4995454" y="970754"/>
                </a:lnTo>
                <a:lnTo>
                  <a:pt x="4994695" y="973136"/>
                </a:lnTo>
                <a:lnTo>
                  <a:pt x="4991765" y="973028"/>
                </a:lnTo>
                <a:lnTo>
                  <a:pt x="4989595" y="970430"/>
                </a:lnTo>
                <a:close/>
                <a:moveTo>
                  <a:pt x="5021282" y="968372"/>
                </a:moveTo>
                <a:lnTo>
                  <a:pt x="5025622" y="969563"/>
                </a:lnTo>
                <a:lnTo>
                  <a:pt x="5023886" y="971837"/>
                </a:lnTo>
                <a:lnTo>
                  <a:pt x="5017158" y="974002"/>
                </a:lnTo>
                <a:lnTo>
                  <a:pt x="5014554" y="975951"/>
                </a:lnTo>
                <a:lnTo>
                  <a:pt x="5012601" y="975409"/>
                </a:lnTo>
                <a:lnTo>
                  <a:pt x="5014988" y="971512"/>
                </a:lnTo>
                <a:close/>
                <a:moveTo>
                  <a:pt x="4971147" y="967830"/>
                </a:moveTo>
                <a:lnTo>
                  <a:pt x="4973426" y="968696"/>
                </a:lnTo>
                <a:lnTo>
                  <a:pt x="4971473" y="971187"/>
                </a:lnTo>
                <a:lnTo>
                  <a:pt x="4968543" y="971187"/>
                </a:lnTo>
                <a:lnTo>
                  <a:pt x="4967892" y="969779"/>
                </a:lnTo>
                <a:close/>
                <a:moveTo>
                  <a:pt x="4978636" y="967073"/>
                </a:moveTo>
                <a:lnTo>
                  <a:pt x="4982868" y="968914"/>
                </a:lnTo>
                <a:lnTo>
                  <a:pt x="4984821" y="973569"/>
                </a:lnTo>
                <a:lnTo>
                  <a:pt x="4980372" y="972487"/>
                </a:lnTo>
                <a:lnTo>
                  <a:pt x="4978310" y="970321"/>
                </a:lnTo>
                <a:lnTo>
                  <a:pt x="4975163" y="969455"/>
                </a:lnTo>
                <a:close/>
                <a:moveTo>
                  <a:pt x="4283477" y="965990"/>
                </a:moveTo>
                <a:lnTo>
                  <a:pt x="4285213" y="968696"/>
                </a:lnTo>
                <a:lnTo>
                  <a:pt x="4289337" y="968047"/>
                </a:lnTo>
                <a:lnTo>
                  <a:pt x="4289988" y="969347"/>
                </a:lnTo>
                <a:lnTo>
                  <a:pt x="4286299" y="972161"/>
                </a:lnTo>
                <a:lnTo>
                  <a:pt x="4286732" y="976276"/>
                </a:lnTo>
                <a:lnTo>
                  <a:pt x="4285431" y="978333"/>
                </a:lnTo>
                <a:lnTo>
                  <a:pt x="4282066" y="978333"/>
                </a:lnTo>
                <a:lnTo>
                  <a:pt x="4276098" y="972161"/>
                </a:lnTo>
                <a:close/>
                <a:moveTo>
                  <a:pt x="4279895" y="961876"/>
                </a:moveTo>
                <a:lnTo>
                  <a:pt x="4279678" y="965124"/>
                </a:lnTo>
                <a:cubicBezTo>
                  <a:pt x="4279678" y="965124"/>
                  <a:pt x="4273710" y="969130"/>
                  <a:pt x="4273710" y="969130"/>
                </a:cubicBezTo>
                <a:lnTo>
                  <a:pt x="4273710" y="963608"/>
                </a:lnTo>
                <a:close/>
                <a:moveTo>
                  <a:pt x="4446903" y="959818"/>
                </a:moveTo>
                <a:lnTo>
                  <a:pt x="4436703" y="959926"/>
                </a:lnTo>
                <a:lnTo>
                  <a:pt x="4432796" y="964257"/>
                </a:lnTo>
                <a:lnTo>
                  <a:pt x="4433121" y="966314"/>
                </a:lnTo>
                <a:lnTo>
                  <a:pt x="4429540" y="967180"/>
                </a:lnTo>
                <a:lnTo>
                  <a:pt x="4423246" y="965989"/>
                </a:lnTo>
                <a:lnTo>
                  <a:pt x="4418254" y="968263"/>
                </a:lnTo>
                <a:lnTo>
                  <a:pt x="4418472" y="970074"/>
                </a:lnTo>
                <a:lnTo>
                  <a:pt x="4418472" y="969888"/>
                </a:lnTo>
                <a:lnTo>
                  <a:pt x="4423464" y="967614"/>
                </a:lnTo>
                <a:lnTo>
                  <a:pt x="4429649" y="968805"/>
                </a:lnTo>
                <a:lnTo>
                  <a:pt x="4433231" y="967939"/>
                </a:lnTo>
                <a:lnTo>
                  <a:pt x="4433231" y="965882"/>
                </a:lnTo>
                <a:lnTo>
                  <a:pt x="4437246" y="961551"/>
                </a:lnTo>
                <a:lnTo>
                  <a:pt x="4447446" y="961551"/>
                </a:lnTo>
                <a:lnTo>
                  <a:pt x="4451896" y="964582"/>
                </a:lnTo>
                <a:lnTo>
                  <a:pt x="4457647" y="971945"/>
                </a:lnTo>
                <a:lnTo>
                  <a:pt x="4461011" y="975410"/>
                </a:lnTo>
                <a:lnTo>
                  <a:pt x="4466220" y="977359"/>
                </a:lnTo>
                <a:lnTo>
                  <a:pt x="4474141" y="978224"/>
                </a:lnTo>
                <a:lnTo>
                  <a:pt x="4475552" y="982122"/>
                </a:lnTo>
                <a:lnTo>
                  <a:pt x="4479627" y="986373"/>
                </a:lnTo>
                <a:lnTo>
                  <a:pt x="4479784" y="985370"/>
                </a:lnTo>
                <a:lnTo>
                  <a:pt x="4475009" y="980281"/>
                </a:lnTo>
                <a:lnTo>
                  <a:pt x="4473707" y="976492"/>
                </a:lnTo>
                <a:lnTo>
                  <a:pt x="4465676" y="975625"/>
                </a:lnTo>
                <a:lnTo>
                  <a:pt x="4460576" y="973676"/>
                </a:lnTo>
                <a:lnTo>
                  <a:pt x="4457212" y="970212"/>
                </a:lnTo>
                <a:lnTo>
                  <a:pt x="4451352" y="962849"/>
                </a:lnTo>
                <a:close/>
                <a:moveTo>
                  <a:pt x="4309087" y="955812"/>
                </a:moveTo>
                <a:lnTo>
                  <a:pt x="4313971" y="959601"/>
                </a:lnTo>
                <a:lnTo>
                  <a:pt x="4311909" y="964257"/>
                </a:lnTo>
                <a:lnTo>
                  <a:pt x="4314730" y="968047"/>
                </a:lnTo>
                <a:lnTo>
                  <a:pt x="4312560" y="972161"/>
                </a:lnTo>
                <a:lnTo>
                  <a:pt x="4309955" y="968155"/>
                </a:lnTo>
                <a:lnTo>
                  <a:pt x="4306374" y="966855"/>
                </a:lnTo>
                <a:lnTo>
                  <a:pt x="4305832" y="958952"/>
                </a:lnTo>
                <a:close/>
                <a:moveTo>
                  <a:pt x="4284887" y="955163"/>
                </a:moveTo>
                <a:lnTo>
                  <a:pt x="4281957" y="959818"/>
                </a:lnTo>
                <a:lnTo>
                  <a:pt x="4280764" y="956462"/>
                </a:lnTo>
                <a:close/>
                <a:moveTo>
                  <a:pt x="4845703" y="953971"/>
                </a:moveTo>
                <a:lnTo>
                  <a:pt x="4853624" y="955379"/>
                </a:lnTo>
                <a:lnTo>
                  <a:pt x="4870879" y="962632"/>
                </a:lnTo>
                <a:lnTo>
                  <a:pt x="4875328" y="967721"/>
                </a:lnTo>
                <a:lnTo>
                  <a:pt x="4875328" y="973243"/>
                </a:lnTo>
                <a:lnTo>
                  <a:pt x="4871856" y="979198"/>
                </a:lnTo>
                <a:lnTo>
                  <a:pt x="4873266" y="972701"/>
                </a:lnTo>
                <a:lnTo>
                  <a:pt x="4871530" y="968587"/>
                </a:lnTo>
                <a:lnTo>
                  <a:pt x="4868600" y="971727"/>
                </a:lnTo>
                <a:lnTo>
                  <a:pt x="4868600" y="979956"/>
                </a:lnTo>
                <a:lnTo>
                  <a:pt x="4864368" y="985261"/>
                </a:lnTo>
                <a:lnTo>
                  <a:pt x="4857965" y="990566"/>
                </a:lnTo>
                <a:lnTo>
                  <a:pt x="4852973" y="990999"/>
                </a:lnTo>
                <a:lnTo>
                  <a:pt x="4849392" y="994248"/>
                </a:lnTo>
                <a:lnTo>
                  <a:pt x="4845703" y="994248"/>
                </a:lnTo>
                <a:lnTo>
                  <a:pt x="4847113" y="990999"/>
                </a:lnTo>
                <a:lnTo>
                  <a:pt x="4843423" y="988834"/>
                </a:lnTo>
                <a:lnTo>
                  <a:pt x="4841904" y="990133"/>
                </a:lnTo>
                <a:lnTo>
                  <a:pt x="4840494" y="984070"/>
                </a:lnTo>
                <a:lnTo>
                  <a:pt x="4837564" y="978765"/>
                </a:lnTo>
                <a:lnTo>
                  <a:pt x="4837781" y="966855"/>
                </a:lnTo>
                <a:lnTo>
                  <a:pt x="4840710" y="957111"/>
                </a:lnTo>
                <a:close/>
                <a:moveTo>
                  <a:pt x="2517803" y="952131"/>
                </a:moveTo>
                <a:lnTo>
                  <a:pt x="2518019" y="954729"/>
                </a:lnTo>
                <a:lnTo>
                  <a:pt x="2518128" y="957220"/>
                </a:lnTo>
                <a:lnTo>
                  <a:pt x="2519756" y="956353"/>
                </a:lnTo>
                <a:lnTo>
                  <a:pt x="2523445" y="956678"/>
                </a:lnTo>
                <a:lnTo>
                  <a:pt x="2525616" y="960143"/>
                </a:lnTo>
                <a:lnTo>
                  <a:pt x="2530282" y="960468"/>
                </a:lnTo>
                <a:lnTo>
                  <a:pt x="2530065" y="965340"/>
                </a:lnTo>
                <a:lnTo>
                  <a:pt x="2531476" y="968047"/>
                </a:lnTo>
                <a:lnTo>
                  <a:pt x="2529740" y="971078"/>
                </a:lnTo>
                <a:lnTo>
                  <a:pt x="2525507" y="969671"/>
                </a:lnTo>
                <a:lnTo>
                  <a:pt x="2521601" y="970428"/>
                </a:lnTo>
                <a:lnTo>
                  <a:pt x="2519214" y="969345"/>
                </a:lnTo>
                <a:lnTo>
                  <a:pt x="2514873" y="968155"/>
                </a:lnTo>
                <a:lnTo>
                  <a:pt x="2512377" y="969237"/>
                </a:lnTo>
                <a:lnTo>
                  <a:pt x="2510315" y="967830"/>
                </a:lnTo>
                <a:lnTo>
                  <a:pt x="2509447" y="961984"/>
                </a:lnTo>
                <a:lnTo>
                  <a:pt x="2508145" y="957653"/>
                </a:lnTo>
                <a:lnTo>
                  <a:pt x="2509013" y="955920"/>
                </a:lnTo>
                <a:lnTo>
                  <a:pt x="2512051" y="956029"/>
                </a:lnTo>
                <a:lnTo>
                  <a:pt x="2514330" y="955596"/>
                </a:lnTo>
                <a:lnTo>
                  <a:pt x="2516066" y="952780"/>
                </a:lnTo>
                <a:close/>
                <a:moveTo>
                  <a:pt x="4292701" y="952023"/>
                </a:moveTo>
                <a:lnTo>
                  <a:pt x="4293678" y="958627"/>
                </a:lnTo>
                <a:lnTo>
                  <a:pt x="4298126" y="962200"/>
                </a:lnTo>
                <a:lnTo>
                  <a:pt x="4299429" y="965015"/>
                </a:lnTo>
                <a:lnTo>
                  <a:pt x="4297258" y="966747"/>
                </a:lnTo>
                <a:lnTo>
                  <a:pt x="4291942" y="964473"/>
                </a:lnTo>
                <a:lnTo>
                  <a:pt x="4291724" y="960143"/>
                </a:lnTo>
                <a:lnTo>
                  <a:pt x="4289988" y="953863"/>
                </a:lnTo>
                <a:close/>
                <a:moveTo>
                  <a:pt x="5054161" y="950616"/>
                </a:moveTo>
                <a:cubicBezTo>
                  <a:pt x="5053093" y="951729"/>
                  <a:pt x="5052114" y="952924"/>
                  <a:pt x="5051232" y="954189"/>
                </a:cubicBezTo>
                <a:lnTo>
                  <a:pt x="5050364" y="951265"/>
                </a:lnTo>
                <a:close/>
                <a:moveTo>
                  <a:pt x="2653232" y="949749"/>
                </a:moveTo>
                <a:lnTo>
                  <a:pt x="2655294" y="951265"/>
                </a:lnTo>
                <a:lnTo>
                  <a:pt x="2652907" y="952131"/>
                </a:lnTo>
                <a:lnTo>
                  <a:pt x="2649977" y="950074"/>
                </a:lnTo>
                <a:close/>
                <a:moveTo>
                  <a:pt x="4342076" y="946826"/>
                </a:moveTo>
                <a:lnTo>
                  <a:pt x="4347176" y="947259"/>
                </a:lnTo>
                <a:lnTo>
                  <a:pt x="4349455" y="949641"/>
                </a:lnTo>
                <a:lnTo>
                  <a:pt x="4348479" y="954081"/>
                </a:lnTo>
                <a:lnTo>
                  <a:pt x="4343812" y="952023"/>
                </a:lnTo>
                <a:lnTo>
                  <a:pt x="4338604" y="949424"/>
                </a:lnTo>
                <a:close/>
                <a:moveTo>
                  <a:pt x="2524747" y="940438"/>
                </a:moveTo>
                <a:lnTo>
                  <a:pt x="2525941" y="941304"/>
                </a:lnTo>
                <a:lnTo>
                  <a:pt x="2526158" y="944876"/>
                </a:lnTo>
                <a:lnTo>
                  <a:pt x="2524747" y="946176"/>
                </a:lnTo>
                <a:lnTo>
                  <a:pt x="2523120" y="943469"/>
                </a:lnTo>
                <a:close/>
                <a:moveTo>
                  <a:pt x="494944" y="940114"/>
                </a:moveTo>
                <a:lnTo>
                  <a:pt x="494512" y="943795"/>
                </a:lnTo>
                <a:lnTo>
                  <a:pt x="499937" y="947693"/>
                </a:lnTo>
                <a:lnTo>
                  <a:pt x="500480" y="951699"/>
                </a:lnTo>
                <a:lnTo>
                  <a:pt x="496030" y="958195"/>
                </a:lnTo>
                <a:lnTo>
                  <a:pt x="494296" y="964042"/>
                </a:lnTo>
                <a:lnTo>
                  <a:pt x="487893" y="964042"/>
                </a:lnTo>
                <a:lnTo>
                  <a:pt x="483443" y="962310"/>
                </a:lnTo>
                <a:lnTo>
                  <a:pt x="479320" y="965233"/>
                </a:lnTo>
                <a:lnTo>
                  <a:pt x="474978" y="961985"/>
                </a:lnTo>
                <a:lnTo>
                  <a:pt x="470312" y="961119"/>
                </a:lnTo>
                <a:lnTo>
                  <a:pt x="465320" y="952565"/>
                </a:lnTo>
                <a:lnTo>
                  <a:pt x="462934" y="943579"/>
                </a:lnTo>
                <a:lnTo>
                  <a:pt x="468686" y="943254"/>
                </a:lnTo>
                <a:lnTo>
                  <a:pt x="474327" y="945203"/>
                </a:lnTo>
                <a:lnTo>
                  <a:pt x="478993" y="944769"/>
                </a:lnTo>
                <a:lnTo>
                  <a:pt x="482791" y="946502"/>
                </a:lnTo>
                <a:lnTo>
                  <a:pt x="488433" y="941522"/>
                </a:lnTo>
                <a:close/>
                <a:moveTo>
                  <a:pt x="3452022" y="938706"/>
                </a:moveTo>
                <a:lnTo>
                  <a:pt x="3455603" y="939355"/>
                </a:lnTo>
                <a:lnTo>
                  <a:pt x="3455603" y="941196"/>
                </a:lnTo>
                <a:lnTo>
                  <a:pt x="3452347" y="941846"/>
                </a:lnTo>
                <a:lnTo>
                  <a:pt x="3450069" y="940763"/>
                </a:lnTo>
                <a:cubicBezTo>
                  <a:pt x="3450668" y="940030"/>
                  <a:pt x="3451321" y="939342"/>
                  <a:pt x="3452022" y="938706"/>
                </a:cubicBezTo>
                <a:close/>
                <a:moveTo>
                  <a:pt x="2489696" y="936324"/>
                </a:moveTo>
                <a:lnTo>
                  <a:pt x="2494688" y="937840"/>
                </a:lnTo>
                <a:lnTo>
                  <a:pt x="2496858" y="940979"/>
                </a:lnTo>
                <a:lnTo>
                  <a:pt x="2499462" y="940979"/>
                </a:lnTo>
                <a:lnTo>
                  <a:pt x="2502718" y="944553"/>
                </a:lnTo>
                <a:lnTo>
                  <a:pt x="2504454" y="949208"/>
                </a:lnTo>
                <a:lnTo>
                  <a:pt x="2504346" y="952781"/>
                </a:lnTo>
                <a:lnTo>
                  <a:pt x="2500222" y="956246"/>
                </a:lnTo>
                <a:lnTo>
                  <a:pt x="2498160" y="960902"/>
                </a:lnTo>
                <a:lnTo>
                  <a:pt x="2497726" y="965665"/>
                </a:lnTo>
                <a:lnTo>
                  <a:pt x="2491541" y="975302"/>
                </a:lnTo>
                <a:lnTo>
                  <a:pt x="2489479" y="978875"/>
                </a:lnTo>
                <a:lnTo>
                  <a:pt x="2485681" y="980065"/>
                </a:lnTo>
                <a:lnTo>
                  <a:pt x="2479821" y="982989"/>
                </a:lnTo>
                <a:lnTo>
                  <a:pt x="2478519" y="984613"/>
                </a:lnTo>
                <a:lnTo>
                  <a:pt x="2475046" y="985046"/>
                </a:lnTo>
                <a:lnTo>
                  <a:pt x="2469838" y="987320"/>
                </a:lnTo>
                <a:lnTo>
                  <a:pt x="2467125" y="985479"/>
                </a:lnTo>
                <a:lnTo>
                  <a:pt x="2460397" y="986779"/>
                </a:lnTo>
                <a:lnTo>
                  <a:pt x="2456599" y="985479"/>
                </a:lnTo>
                <a:lnTo>
                  <a:pt x="2453669" y="985587"/>
                </a:lnTo>
                <a:lnTo>
                  <a:pt x="2452909" y="984071"/>
                </a:lnTo>
                <a:lnTo>
                  <a:pt x="2454536" y="978767"/>
                </a:lnTo>
                <a:lnTo>
                  <a:pt x="2453126" y="976818"/>
                </a:lnTo>
                <a:lnTo>
                  <a:pt x="2453669" y="971512"/>
                </a:lnTo>
                <a:lnTo>
                  <a:pt x="2454211" y="966207"/>
                </a:lnTo>
                <a:lnTo>
                  <a:pt x="2460397" y="960036"/>
                </a:lnTo>
                <a:lnTo>
                  <a:pt x="2463001" y="954622"/>
                </a:lnTo>
                <a:lnTo>
                  <a:pt x="2466582" y="952240"/>
                </a:lnTo>
                <a:lnTo>
                  <a:pt x="2473527" y="942279"/>
                </a:lnTo>
                <a:lnTo>
                  <a:pt x="2478085" y="939355"/>
                </a:lnTo>
                <a:lnTo>
                  <a:pt x="2480364" y="939355"/>
                </a:lnTo>
                <a:lnTo>
                  <a:pt x="2482208" y="937298"/>
                </a:lnTo>
                <a:lnTo>
                  <a:pt x="2485030" y="938706"/>
                </a:lnTo>
                <a:close/>
                <a:moveTo>
                  <a:pt x="4357811" y="936215"/>
                </a:moveTo>
                <a:lnTo>
                  <a:pt x="4359222" y="941520"/>
                </a:lnTo>
                <a:lnTo>
                  <a:pt x="4355424" y="946067"/>
                </a:lnTo>
                <a:lnTo>
                  <a:pt x="4354664" y="950182"/>
                </a:lnTo>
                <a:lnTo>
                  <a:pt x="4349347" y="943577"/>
                </a:lnTo>
                <a:close/>
                <a:moveTo>
                  <a:pt x="5035606" y="934592"/>
                </a:moveTo>
                <a:lnTo>
                  <a:pt x="5038644" y="937840"/>
                </a:lnTo>
                <a:lnTo>
                  <a:pt x="5046241" y="941738"/>
                </a:lnTo>
                <a:lnTo>
                  <a:pt x="5047109" y="947151"/>
                </a:lnTo>
                <a:lnTo>
                  <a:pt x="5039404" y="941629"/>
                </a:lnTo>
                <a:lnTo>
                  <a:pt x="5034521" y="936974"/>
                </a:lnTo>
                <a:close/>
                <a:moveTo>
                  <a:pt x="2435222" y="929177"/>
                </a:moveTo>
                <a:lnTo>
                  <a:pt x="2436523" y="930152"/>
                </a:lnTo>
                <a:lnTo>
                  <a:pt x="2440539" y="930476"/>
                </a:lnTo>
                <a:lnTo>
                  <a:pt x="2440431" y="933508"/>
                </a:lnTo>
                <a:lnTo>
                  <a:pt x="2436958" y="934266"/>
                </a:lnTo>
                <a:lnTo>
                  <a:pt x="2436523" y="937297"/>
                </a:lnTo>
                <a:lnTo>
                  <a:pt x="2434896" y="938489"/>
                </a:lnTo>
                <a:lnTo>
                  <a:pt x="2433160" y="932858"/>
                </a:lnTo>
                <a:close/>
                <a:moveTo>
                  <a:pt x="5028227" y="929070"/>
                </a:moveTo>
                <a:lnTo>
                  <a:pt x="5030614" y="930478"/>
                </a:lnTo>
                <a:lnTo>
                  <a:pt x="5029855" y="934050"/>
                </a:lnTo>
                <a:lnTo>
                  <a:pt x="5028010" y="934917"/>
                </a:lnTo>
                <a:close/>
                <a:moveTo>
                  <a:pt x="4365734" y="929070"/>
                </a:moveTo>
                <a:lnTo>
                  <a:pt x="4371268" y="933184"/>
                </a:lnTo>
                <a:lnTo>
                  <a:pt x="4369640" y="937299"/>
                </a:lnTo>
                <a:lnTo>
                  <a:pt x="4363237" y="939681"/>
                </a:lnTo>
                <a:lnTo>
                  <a:pt x="4362695" y="935133"/>
                </a:lnTo>
                <a:lnTo>
                  <a:pt x="4359114" y="931452"/>
                </a:lnTo>
                <a:close/>
                <a:moveTo>
                  <a:pt x="2518345" y="927337"/>
                </a:moveTo>
                <a:lnTo>
                  <a:pt x="2519755" y="931884"/>
                </a:lnTo>
                <a:lnTo>
                  <a:pt x="2521275" y="934591"/>
                </a:lnTo>
                <a:lnTo>
                  <a:pt x="2519864" y="936540"/>
                </a:lnTo>
                <a:lnTo>
                  <a:pt x="2518129" y="936322"/>
                </a:lnTo>
                <a:lnTo>
                  <a:pt x="2517152" y="932642"/>
                </a:lnTo>
                <a:close/>
                <a:moveTo>
                  <a:pt x="2271903" y="926796"/>
                </a:moveTo>
                <a:lnTo>
                  <a:pt x="2276353" y="927553"/>
                </a:lnTo>
                <a:lnTo>
                  <a:pt x="2277112" y="929394"/>
                </a:lnTo>
                <a:lnTo>
                  <a:pt x="2274073" y="932534"/>
                </a:lnTo>
                <a:lnTo>
                  <a:pt x="2269082" y="932534"/>
                </a:lnTo>
                <a:lnTo>
                  <a:pt x="2267780" y="931342"/>
                </a:lnTo>
                <a:lnTo>
                  <a:pt x="2268322" y="927012"/>
                </a:lnTo>
                <a:close/>
                <a:moveTo>
                  <a:pt x="2986487" y="926038"/>
                </a:moveTo>
                <a:lnTo>
                  <a:pt x="2987681" y="927770"/>
                </a:lnTo>
                <a:lnTo>
                  <a:pt x="2984209" y="931018"/>
                </a:lnTo>
                <a:lnTo>
                  <a:pt x="2982472" y="937840"/>
                </a:lnTo>
                <a:lnTo>
                  <a:pt x="2979433" y="940114"/>
                </a:lnTo>
                <a:lnTo>
                  <a:pt x="2977697" y="938056"/>
                </a:lnTo>
                <a:lnTo>
                  <a:pt x="2978999" y="933401"/>
                </a:lnTo>
                <a:lnTo>
                  <a:pt x="2978674" y="930477"/>
                </a:lnTo>
                <a:lnTo>
                  <a:pt x="2976178" y="930910"/>
                </a:lnTo>
                <a:lnTo>
                  <a:pt x="2976178" y="929395"/>
                </a:lnTo>
                <a:lnTo>
                  <a:pt x="2979759" y="926254"/>
                </a:lnTo>
                <a:lnTo>
                  <a:pt x="2984100" y="926579"/>
                </a:lnTo>
                <a:close/>
                <a:moveTo>
                  <a:pt x="4355859" y="925713"/>
                </a:moveTo>
                <a:lnTo>
                  <a:pt x="4356727" y="928853"/>
                </a:lnTo>
                <a:lnTo>
                  <a:pt x="4344356" y="941304"/>
                </a:lnTo>
                <a:lnTo>
                  <a:pt x="4341209" y="941954"/>
                </a:lnTo>
                <a:lnTo>
                  <a:pt x="4333613" y="939680"/>
                </a:lnTo>
                <a:lnTo>
                  <a:pt x="4331768" y="934699"/>
                </a:lnTo>
                <a:lnTo>
                  <a:pt x="4336000" y="935674"/>
                </a:lnTo>
                <a:lnTo>
                  <a:pt x="4340015" y="932534"/>
                </a:lnTo>
                <a:lnTo>
                  <a:pt x="4342837" y="935782"/>
                </a:lnTo>
                <a:lnTo>
                  <a:pt x="4345224" y="931018"/>
                </a:lnTo>
                <a:lnTo>
                  <a:pt x="4348263" y="932750"/>
                </a:lnTo>
                <a:close/>
                <a:moveTo>
                  <a:pt x="2512051" y="922789"/>
                </a:moveTo>
                <a:lnTo>
                  <a:pt x="2514547" y="926579"/>
                </a:lnTo>
                <a:lnTo>
                  <a:pt x="2513679" y="932967"/>
                </a:lnTo>
                <a:lnTo>
                  <a:pt x="2514547" y="939788"/>
                </a:lnTo>
                <a:lnTo>
                  <a:pt x="2512485" y="940654"/>
                </a:lnTo>
                <a:lnTo>
                  <a:pt x="2510098" y="942387"/>
                </a:lnTo>
                <a:lnTo>
                  <a:pt x="2509446" y="939030"/>
                </a:lnTo>
                <a:lnTo>
                  <a:pt x="2507710" y="936864"/>
                </a:lnTo>
                <a:lnTo>
                  <a:pt x="2506951" y="932425"/>
                </a:lnTo>
                <a:lnTo>
                  <a:pt x="2509338" y="927553"/>
                </a:lnTo>
                <a:lnTo>
                  <a:pt x="2509664" y="923547"/>
                </a:lnTo>
                <a:close/>
                <a:moveTo>
                  <a:pt x="3434552" y="918892"/>
                </a:moveTo>
                <a:lnTo>
                  <a:pt x="3433249" y="921382"/>
                </a:lnTo>
                <a:lnTo>
                  <a:pt x="3430645" y="922032"/>
                </a:lnTo>
                <a:lnTo>
                  <a:pt x="3429126" y="921490"/>
                </a:lnTo>
                <a:lnTo>
                  <a:pt x="3431404" y="919325"/>
                </a:lnTo>
                <a:close/>
                <a:moveTo>
                  <a:pt x="4369856" y="917160"/>
                </a:moveTo>
                <a:lnTo>
                  <a:pt x="4372135" y="919975"/>
                </a:lnTo>
                <a:lnTo>
                  <a:pt x="4370724" y="922357"/>
                </a:lnTo>
                <a:lnTo>
                  <a:pt x="4368662" y="923007"/>
                </a:lnTo>
                <a:lnTo>
                  <a:pt x="4365624" y="918243"/>
                </a:lnTo>
                <a:close/>
                <a:moveTo>
                  <a:pt x="5192304" y="915753"/>
                </a:moveTo>
                <a:lnTo>
                  <a:pt x="5194583" y="918351"/>
                </a:lnTo>
                <a:lnTo>
                  <a:pt x="5194583" y="921924"/>
                </a:lnTo>
                <a:lnTo>
                  <a:pt x="5192413" y="925173"/>
                </a:lnTo>
                <a:lnTo>
                  <a:pt x="5189157" y="924090"/>
                </a:lnTo>
                <a:cubicBezTo>
                  <a:pt x="5189157" y="924090"/>
                  <a:pt x="5188072" y="922032"/>
                  <a:pt x="5188072" y="922032"/>
                </a:cubicBezTo>
                <a:lnTo>
                  <a:pt x="5189374" y="919867"/>
                </a:lnTo>
                <a:lnTo>
                  <a:pt x="5189374" y="917594"/>
                </a:lnTo>
                <a:close/>
                <a:moveTo>
                  <a:pt x="2439888" y="914778"/>
                </a:moveTo>
                <a:lnTo>
                  <a:pt x="2442168" y="915644"/>
                </a:lnTo>
                <a:lnTo>
                  <a:pt x="2444772" y="917592"/>
                </a:lnTo>
                <a:lnTo>
                  <a:pt x="2443687" y="920516"/>
                </a:lnTo>
                <a:lnTo>
                  <a:pt x="2443144" y="923655"/>
                </a:lnTo>
                <a:lnTo>
                  <a:pt x="2439346" y="923981"/>
                </a:lnTo>
                <a:lnTo>
                  <a:pt x="2439346" y="921490"/>
                </a:lnTo>
                <a:lnTo>
                  <a:pt x="2441191" y="919325"/>
                </a:lnTo>
                <a:close/>
                <a:moveTo>
                  <a:pt x="3465152" y="911639"/>
                </a:moveTo>
                <a:lnTo>
                  <a:pt x="3468951" y="911855"/>
                </a:lnTo>
                <a:lnTo>
                  <a:pt x="3470904" y="916294"/>
                </a:lnTo>
                <a:lnTo>
                  <a:pt x="3474268" y="919434"/>
                </a:lnTo>
                <a:lnTo>
                  <a:pt x="3473833" y="932318"/>
                </a:lnTo>
                <a:lnTo>
                  <a:pt x="3468082" y="936649"/>
                </a:lnTo>
                <a:lnTo>
                  <a:pt x="3465478" y="935891"/>
                </a:lnTo>
                <a:lnTo>
                  <a:pt x="3460052" y="938057"/>
                </a:lnTo>
                <a:lnTo>
                  <a:pt x="3454843" y="934917"/>
                </a:lnTo>
                <a:lnTo>
                  <a:pt x="3450394" y="935891"/>
                </a:lnTo>
                <a:lnTo>
                  <a:pt x="3447247" y="939248"/>
                </a:lnTo>
                <a:lnTo>
                  <a:pt x="3436938" y="936974"/>
                </a:lnTo>
                <a:lnTo>
                  <a:pt x="3426412" y="939248"/>
                </a:lnTo>
                <a:lnTo>
                  <a:pt x="3420769" y="940114"/>
                </a:lnTo>
                <a:lnTo>
                  <a:pt x="3419901" y="937840"/>
                </a:lnTo>
                <a:lnTo>
                  <a:pt x="3421637" y="934592"/>
                </a:lnTo>
                <a:lnTo>
                  <a:pt x="3422288" y="931452"/>
                </a:lnTo>
                <a:lnTo>
                  <a:pt x="3427497" y="930586"/>
                </a:lnTo>
                <a:lnTo>
                  <a:pt x="3430210" y="925822"/>
                </a:lnTo>
                <a:lnTo>
                  <a:pt x="3434876" y="923549"/>
                </a:lnTo>
                <a:lnTo>
                  <a:pt x="3438348" y="919651"/>
                </a:lnTo>
                <a:lnTo>
                  <a:pt x="3451262" y="918027"/>
                </a:lnTo>
                <a:close/>
                <a:moveTo>
                  <a:pt x="4380817" y="909147"/>
                </a:moveTo>
                <a:lnTo>
                  <a:pt x="4384181" y="909147"/>
                </a:lnTo>
                <a:lnTo>
                  <a:pt x="4382445" y="912504"/>
                </a:lnTo>
                <a:lnTo>
                  <a:pt x="4379189" y="912504"/>
                </a:lnTo>
                <a:close/>
                <a:moveTo>
                  <a:pt x="2279934" y="908606"/>
                </a:moveTo>
                <a:lnTo>
                  <a:pt x="2280694" y="910014"/>
                </a:lnTo>
                <a:lnTo>
                  <a:pt x="2280694" y="914777"/>
                </a:lnTo>
                <a:lnTo>
                  <a:pt x="2279609" y="919649"/>
                </a:lnTo>
                <a:lnTo>
                  <a:pt x="2279609" y="924089"/>
                </a:lnTo>
                <a:lnTo>
                  <a:pt x="2275702" y="925496"/>
                </a:lnTo>
                <a:lnTo>
                  <a:pt x="2269300" y="925063"/>
                </a:lnTo>
                <a:lnTo>
                  <a:pt x="2271579" y="920949"/>
                </a:lnTo>
                <a:lnTo>
                  <a:pt x="2271362" y="916185"/>
                </a:lnTo>
                <a:lnTo>
                  <a:pt x="2276679" y="911530"/>
                </a:lnTo>
                <a:close/>
                <a:moveTo>
                  <a:pt x="3472857" y="907957"/>
                </a:moveTo>
                <a:lnTo>
                  <a:pt x="3474919" y="909473"/>
                </a:lnTo>
                <a:lnTo>
                  <a:pt x="3475353" y="912612"/>
                </a:lnTo>
                <a:lnTo>
                  <a:pt x="3474160" y="914236"/>
                </a:lnTo>
                <a:lnTo>
                  <a:pt x="3472098" y="912395"/>
                </a:lnTo>
                <a:lnTo>
                  <a:pt x="3472315" y="909473"/>
                </a:lnTo>
                <a:close/>
                <a:moveTo>
                  <a:pt x="4397093" y="906224"/>
                </a:moveTo>
                <a:lnTo>
                  <a:pt x="4399806" y="908497"/>
                </a:lnTo>
                <a:lnTo>
                  <a:pt x="4403604" y="909472"/>
                </a:lnTo>
                <a:lnTo>
                  <a:pt x="4400565" y="913370"/>
                </a:lnTo>
                <a:lnTo>
                  <a:pt x="4406317" y="913370"/>
                </a:lnTo>
                <a:lnTo>
                  <a:pt x="4404255" y="918783"/>
                </a:lnTo>
                <a:lnTo>
                  <a:pt x="4399372" y="919866"/>
                </a:lnTo>
                <a:lnTo>
                  <a:pt x="4394271" y="915860"/>
                </a:lnTo>
                <a:lnTo>
                  <a:pt x="4389063" y="915101"/>
                </a:lnTo>
                <a:lnTo>
                  <a:pt x="4389388" y="912720"/>
                </a:lnTo>
                <a:lnTo>
                  <a:pt x="4391450" y="910771"/>
                </a:lnTo>
                <a:lnTo>
                  <a:pt x="4394271" y="912070"/>
                </a:lnTo>
                <a:lnTo>
                  <a:pt x="4396551" y="910013"/>
                </a:lnTo>
                <a:close/>
                <a:moveTo>
                  <a:pt x="2675261" y="899620"/>
                </a:moveTo>
                <a:lnTo>
                  <a:pt x="2678950" y="900919"/>
                </a:lnTo>
                <a:lnTo>
                  <a:pt x="2676455" y="903518"/>
                </a:lnTo>
                <a:lnTo>
                  <a:pt x="2673633" y="903518"/>
                </a:lnTo>
                <a:lnTo>
                  <a:pt x="2672765" y="902326"/>
                </a:lnTo>
                <a:close/>
                <a:moveTo>
                  <a:pt x="356586" y="897671"/>
                </a:moveTo>
                <a:lnTo>
                  <a:pt x="359299" y="899620"/>
                </a:lnTo>
                <a:lnTo>
                  <a:pt x="359518" y="903734"/>
                </a:lnTo>
                <a:lnTo>
                  <a:pt x="366027" y="910554"/>
                </a:lnTo>
                <a:lnTo>
                  <a:pt x="365160" y="914453"/>
                </a:lnTo>
                <a:lnTo>
                  <a:pt x="356479" y="907740"/>
                </a:lnTo>
                <a:lnTo>
                  <a:pt x="355611" y="902976"/>
                </a:lnTo>
                <a:lnTo>
                  <a:pt x="354093" y="899511"/>
                </a:lnTo>
                <a:cubicBezTo>
                  <a:pt x="354869" y="898827"/>
                  <a:pt x="355703" y="898211"/>
                  <a:pt x="356586" y="897671"/>
                </a:cubicBezTo>
                <a:close/>
                <a:moveTo>
                  <a:pt x="2921050" y="896371"/>
                </a:moveTo>
                <a:lnTo>
                  <a:pt x="2926260" y="898428"/>
                </a:lnTo>
                <a:lnTo>
                  <a:pt x="2933313" y="899186"/>
                </a:lnTo>
                <a:lnTo>
                  <a:pt x="2937762" y="904166"/>
                </a:lnTo>
                <a:lnTo>
                  <a:pt x="2945250" y="905899"/>
                </a:lnTo>
                <a:lnTo>
                  <a:pt x="2949699" y="913586"/>
                </a:lnTo>
                <a:lnTo>
                  <a:pt x="2952738" y="924954"/>
                </a:lnTo>
                <a:lnTo>
                  <a:pt x="2957295" y="927011"/>
                </a:lnTo>
                <a:lnTo>
                  <a:pt x="2961853" y="927336"/>
                </a:lnTo>
                <a:lnTo>
                  <a:pt x="2964675" y="933399"/>
                </a:lnTo>
                <a:lnTo>
                  <a:pt x="2966085" y="940437"/>
                </a:lnTo>
                <a:lnTo>
                  <a:pt x="2957730" y="947583"/>
                </a:lnTo>
                <a:lnTo>
                  <a:pt x="2950567" y="947583"/>
                </a:lnTo>
                <a:lnTo>
                  <a:pt x="2937762" y="949856"/>
                </a:lnTo>
                <a:lnTo>
                  <a:pt x="2934833" y="952130"/>
                </a:lnTo>
                <a:lnTo>
                  <a:pt x="2930600" y="951264"/>
                </a:lnTo>
                <a:lnTo>
                  <a:pt x="2929298" y="947799"/>
                </a:lnTo>
                <a:lnTo>
                  <a:pt x="2922244" y="946933"/>
                </a:lnTo>
                <a:lnTo>
                  <a:pt x="2919749" y="944984"/>
                </a:lnTo>
                <a:lnTo>
                  <a:pt x="2920074" y="940762"/>
                </a:lnTo>
                <a:lnTo>
                  <a:pt x="2922787" y="940112"/>
                </a:lnTo>
                <a:lnTo>
                  <a:pt x="2929515" y="942603"/>
                </a:lnTo>
                <a:lnTo>
                  <a:pt x="2933530" y="942494"/>
                </a:lnTo>
                <a:lnTo>
                  <a:pt x="2938847" y="935781"/>
                </a:lnTo>
                <a:lnTo>
                  <a:pt x="2931360" y="940437"/>
                </a:lnTo>
                <a:lnTo>
                  <a:pt x="2928321" y="939354"/>
                </a:lnTo>
                <a:lnTo>
                  <a:pt x="2926585" y="937189"/>
                </a:lnTo>
                <a:lnTo>
                  <a:pt x="2915191" y="934374"/>
                </a:lnTo>
                <a:lnTo>
                  <a:pt x="2913346" y="930476"/>
                </a:lnTo>
                <a:lnTo>
                  <a:pt x="2914756" y="928744"/>
                </a:lnTo>
                <a:lnTo>
                  <a:pt x="2918881" y="927553"/>
                </a:lnTo>
                <a:lnTo>
                  <a:pt x="2912478" y="923872"/>
                </a:lnTo>
                <a:lnTo>
                  <a:pt x="2913997" y="920299"/>
                </a:lnTo>
                <a:lnTo>
                  <a:pt x="2913997" y="916726"/>
                </a:lnTo>
                <a:lnTo>
                  <a:pt x="2918012" y="914993"/>
                </a:lnTo>
                <a:lnTo>
                  <a:pt x="2922461" y="917701"/>
                </a:lnTo>
                <a:lnTo>
                  <a:pt x="2920399" y="913261"/>
                </a:lnTo>
                <a:lnTo>
                  <a:pt x="2915191" y="910338"/>
                </a:lnTo>
                <a:lnTo>
                  <a:pt x="2915191" y="904491"/>
                </a:lnTo>
                <a:lnTo>
                  <a:pt x="2920725" y="899294"/>
                </a:lnTo>
                <a:close/>
                <a:moveTo>
                  <a:pt x="2670594" y="895614"/>
                </a:moveTo>
                <a:lnTo>
                  <a:pt x="2672005" y="897779"/>
                </a:lnTo>
                <a:lnTo>
                  <a:pt x="2668316" y="902218"/>
                </a:lnTo>
                <a:lnTo>
                  <a:pt x="2665168" y="902435"/>
                </a:lnTo>
                <a:lnTo>
                  <a:pt x="2663975" y="900811"/>
                </a:lnTo>
                <a:lnTo>
                  <a:pt x="2664083" y="897779"/>
                </a:lnTo>
                <a:lnTo>
                  <a:pt x="2668966" y="897022"/>
                </a:lnTo>
                <a:close/>
                <a:moveTo>
                  <a:pt x="7288304" y="890633"/>
                </a:moveTo>
                <a:lnTo>
                  <a:pt x="7289714" y="892041"/>
                </a:lnTo>
                <a:lnTo>
                  <a:pt x="7289606" y="894855"/>
                </a:lnTo>
                <a:lnTo>
                  <a:pt x="7287435" y="897562"/>
                </a:lnTo>
                <a:lnTo>
                  <a:pt x="7285808" y="892690"/>
                </a:lnTo>
                <a:lnTo>
                  <a:pt x="7287327" y="891932"/>
                </a:lnTo>
                <a:close/>
                <a:moveTo>
                  <a:pt x="358324" y="890417"/>
                </a:moveTo>
                <a:lnTo>
                  <a:pt x="359842" y="893882"/>
                </a:lnTo>
                <a:lnTo>
                  <a:pt x="357238" y="894748"/>
                </a:lnTo>
                <a:lnTo>
                  <a:pt x="356152" y="892907"/>
                </a:lnTo>
                <a:close/>
                <a:moveTo>
                  <a:pt x="2486224" y="886952"/>
                </a:moveTo>
                <a:lnTo>
                  <a:pt x="2488829" y="887493"/>
                </a:lnTo>
                <a:lnTo>
                  <a:pt x="2494146" y="888035"/>
                </a:lnTo>
                <a:lnTo>
                  <a:pt x="2495014" y="893340"/>
                </a:lnTo>
                <a:lnTo>
                  <a:pt x="2492952" y="897238"/>
                </a:lnTo>
                <a:lnTo>
                  <a:pt x="2490022" y="897563"/>
                </a:lnTo>
                <a:lnTo>
                  <a:pt x="2487093" y="901569"/>
                </a:lnTo>
                <a:lnTo>
                  <a:pt x="2483294" y="900919"/>
                </a:lnTo>
                <a:lnTo>
                  <a:pt x="2482101" y="893989"/>
                </a:lnTo>
                <a:lnTo>
                  <a:pt x="2483837" y="892041"/>
                </a:lnTo>
                <a:close/>
                <a:moveTo>
                  <a:pt x="2979758" y="885545"/>
                </a:moveTo>
                <a:lnTo>
                  <a:pt x="2982036" y="886302"/>
                </a:lnTo>
                <a:lnTo>
                  <a:pt x="2983990" y="888793"/>
                </a:lnTo>
                <a:lnTo>
                  <a:pt x="2982796" y="891283"/>
                </a:lnTo>
                <a:lnTo>
                  <a:pt x="2980626" y="889226"/>
                </a:lnTo>
                <a:close/>
                <a:moveTo>
                  <a:pt x="2922786" y="884029"/>
                </a:moveTo>
                <a:lnTo>
                  <a:pt x="2925390" y="888793"/>
                </a:lnTo>
                <a:lnTo>
                  <a:pt x="2924414" y="891392"/>
                </a:lnTo>
                <a:lnTo>
                  <a:pt x="2921158" y="890417"/>
                </a:lnTo>
                <a:lnTo>
                  <a:pt x="2918880" y="886411"/>
                </a:lnTo>
                <a:lnTo>
                  <a:pt x="2920398" y="884137"/>
                </a:lnTo>
                <a:close/>
                <a:moveTo>
                  <a:pt x="5020414" y="883704"/>
                </a:moveTo>
                <a:lnTo>
                  <a:pt x="5023669" y="883920"/>
                </a:lnTo>
                <a:lnTo>
                  <a:pt x="5029746" y="888359"/>
                </a:lnTo>
                <a:lnTo>
                  <a:pt x="5031266" y="891608"/>
                </a:lnTo>
                <a:lnTo>
                  <a:pt x="5036257" y="894314"/>
                </a:lnTo>
                <a:lnTo>
                  <a:pt x="5041466" y="899620"/>
                </a:lnTo>
                <a:lnTo>
                  <a:pt x="5046240" y="900161"/>
                </a:lnTo>
                <a:lnTo>
                  <a:pt x="5051774" y="906332"/>
                </a:lnTo>
                <a:lnTo>
                  <a:pt x="5060564" y="911854"/>
                </a:lnTo>
                <a:lnTo>
                  <a:pt x="5061758" y="919433"/>
                </a:lnTo>
                <a:lnTo>
                  <a:pt x="5059371" y="924089"/>
                </a:lnTo>
                <a:lnTo>
                  <a:pt x="5054379" y="922681"/>
                </a:lnTo>
                <a:lnTo>
                  <a:pt x="5051992" y="925930"/>
                </a:lnTo>
                <a:lnTo>
                  <a:pt x="5045806" y="924955"/>
                </a:lnTo>
                <a:lnTo>
                  <a:pt x="5042985" y="922140"/>
                </a:lnTo>
                <a:lnTo>
                  <a:pt x="5043853" y="920083"/>
                </a:lnTo>
                <a:lnTo>
                  <a:pt x="5042333" y="914236"/>
                </a:lnTo>
                <a:lnTo>
                  <a:pt x="5040923" y="912396"/>
                </a:lnTo>
                <a:lnTo>
                  <a:pt x="5036800" y="912937"/>
                </a:lnTo>
                <a:lnTo>
                  <a:pt x="5033327" y="911313"/>
                </a:lnTo>
                <a:lnTo>
                  <a:pt x="5033002" y="916726"/>
                </a:lnTo>
                <a:lnTo>
                  <a:pt x="5030722" y="916402"/>
                </a:lnTo>
                <a:lnTo>
                  <a:pt x="5027684" y="912071"/>
                </a:lnTo>
                <a:lnTo>
                  <a:pt x="5023018" y="909473"/>
                </a:lnTo>
                <a:lnTo>
                  <a:pt x="5014771" y="900161"/>
                </a:lnTo>
                <a:lnTo>
                  <a:pt x="5013035" y="896263"/>
                </a:lnTo>
                <a:lnTo>
                  <a:pt x="5014880" y="895938"/>
                </a:lnTo>
                <a:lnTo>
                  <a:pt x="5018352" y="898861"/>
                </a:lnTo>
                <a:lnTo>
                  <a:pt x="5020740" y="897996"/>
                </a:lnTo>
                <a:lnTo>
                  <a:pt x="5021608" y="895722"/>
                </a:lnTo>
                <a:lnTo>
                  <a:pt x="5017701" y="895073"/>
                </a:lnTo>
                <a:lnTo>
                  <a:pt x="5014880" y="891067"/>
                </a:lnTo>
                <a:lnTo>
                  <a:pt x="5018243" y="888359"/>
                </a:lnTo>
                <a:lnTo>
                  <a:pt x="5017810" y="885761"/>
                </a:lnTo>
                <a:close/>
                <a:moveTo>
                  <a:pt x="2463436" y="881647"/>
                </a:moveTo>
                <a:lnTo>
                  <a:pt x="2465715" y="882838"/>
                </a:lnTo>
                <a:lnTo>
                  <a:pt x="2466040" y="887494"/>
                </a:lnTo>
                <a:lnTo>
                  <a:pt x="2462134" y="890741"/>
                </a:lnTo>
                <a:lnTo>
                  <a:pt x="2458119" y="894639"/>
                </a:lnTo>
                <a:lnTo>
                  <a:pt x="2455732" y="894639"/>
                </a:lnTo>
                <a:lnTo>
                  <a:pt x="2453778" y="897996"/>
                </a:lnTo>
                <a:lnTo>
                  <a:pt x="2444880" y="905359"/>
                </a:lnTo>
                <a:lnTo>
                  <a:pt x="2441733" y="905359"/>
                </a:lnTo>
                <a:lnTo>
                  <a:pt x="2437284" y="904276"/>
                </a:lnTo>
                <a:lnTo>
                  <a:pt x="2435547" y="905684"/>
                </a:lnTo>
                <a:lnTo>
                  <a:pt x="2434137" y="900378"/>
                </a:lnTo>
                <a:lnTo>
                  <a:pt x="2437609" y="897996"/>
                </a:lnTo>
                <a:lnTo>
                  <a:pt x="2439345" y="894206"/>
                </a:lnTo>
                <a:lnTo>
                  <a:pt x="2442818" y="892257"/>
                </a:lnTo>
                <a:lnTo>
                  <a:pt x="2449003" y="892474"/>
                </a:lnTo>
                <a:lnTo>
                  <a:pt x="2452584" y="890741"/>
                </a:lnTo>
                <a:lnTo>
                  <a:pt x="2456708" y="886302"/>
                </a:lnTo>
                <a:lnTo>
                  <a:pt x="2458987" y="886302"/>
                </a:lnTo>
                <a:lnTo>
                  <a:pt x="2459855" y="882513"/>
                </a:lnTo>
                <a:close/>
                <a:moveTo>
                  <a:pt x="7285048" y="880023"/>
                </a:moveTo>
                <a:lnTo>
                  <a:pt x="7288304" y="884570"/>
                </a:lnTo>
                <a:lnTo>
                  <a:pt x="7288087" y="886735"/>
                </a:lnTo>
                <a:lnTo>
                  <a:pt x="7285916" y="887386"/>
                </a:lnTo>
                <a:lnTo>
                  <a:pt x="7280925" y="882621"/>
                </a:lnTo>
                <a:lnTo>
                  <a:pt x="7281901" y="880348"/>
                </a:lnTo>
                <a:close/>
                <a:moveTo>
                  <a:pt x="2976828" y="874284"/>
                </a:moveTo>
                <a:lnTo>
                  <a:pt x="2981169" y="875908"/>
                </a:lnTo>
                <a:lnTo>
                  <a:pt x="2982580" y="880022"/>
                </a:lnTo>
                <a:lnTo>
                  <a:pt x="2980301" y="880022"/>
                </a:lnTo>
                <a:lnTo>
                  <a:pt x="2975526" y="876774"/>
                </a:lnTo>
                <a:close/>
                <a:moveTo>
                  <a:pt x="2037942" y="872011"/>
                </a:moveTo>
                <a:lnTo>
                  <a:pt x="2042174" y="872011"/>
                </a:lnTo>
                <a:lnTo>
                  <a:pt x="2042174" y="876125"/>
                </a:lnTo>
                <a:lnTo>
                  <a:pt x="2039461" y="877642"/>
                </a:lnTo>
                <a:lnTo>
                  <a:pt x="2038050" y="875801"/>
                </a:lnTo>
                <a:close/>
                <a:moveTo>
                  <a:pt x="1840442" y="869737"/>
                </a:moveTo>
                <a:lnTo>
                  <a:pt x="1841853" y="872335"/>
                </a:lnTo>
                <a:lnTo>
                  <a:pt x="1840767" y="875476"/>
                </a:lnTo>
                <a:lnTo>
                  <a:pt x="1842721" y="877533"/>
                </a:lnTo>
                <a:lnTo>
                  <a:pt x="1841310" y="880023"/>
                </a:lnTo>
                <a:lnTo>
                  <a:pt x="1842721" y="882947"/>
                </a:lnTo>
                <a:lnTo>
                  <a:pt x="1839574" y="884678"/>
                </a:lnTo>
                <a:lnTo>
                  <a:pt x="1838597" y="887494"/>
                </a:lnTo>
                <a:lnTo>
                  <a:pt x="1836318" y="888793"/>
                </a:lnTo>
                <a:lnTo>
                  <a:pt x="1834799" y="881214"/>
                </a:lnTo>
                <a:lnTo>
                  <a:pt x="1836969" y="878723"/>
                </a:lnTo>
                <a:lnTo>
                  <a:pt x="1837404" y="875043"/>
                </a:lnTo>
                <a:close/>
                <a:moveTo>
                  <a:pt x="2401257" y="869088"/>
                </a:moveTo>
                <a:lnTo>
                  <a:pt x="2403861" y="870820"/>
                </a:lnTo>
                <a:lnTo>
                  <a:pt x="2403644" y="873527"/>
                </a:lnTo>
                <a:lnTo>
                  <a:pt x="2400605" y="872228"/>
                </a:lnTo>
                <a:lnTo>
                  <a:pt x="2398110" y="872553"/>
                </a:lnTo>
                <a:lnTo>
                  <a:pt x="2396482" y="870387"/>
                </a:lnTo>
                <a:lnTo>
                  <a:pt x="2397567" y="869304"/>
                </a:lnTo>
                <a:close/>
                <a:moveTo>
                  <a:pt x="2475048" y="865623"/>
                </a:moveTo>
                <a:lnTo>
                  <a:pt x="2477001" y="868113"/>
                </a:lnTo>
                <a:lnTo>
                  <a:pt x="2476567" y="870278"/>
                </a:lnTo>
                <a:lnTo>
                  <a:pt x="2472009" y="872335"/>
                </a:lnTo>
                <a:lnTo>
                  <a:pt x="2468103" y="875367"/>
                </a:lnTo>
                <a:lnTo>
                  <a:pt x="2464739" y="875584"/>
                </a:lnTo>
                <a:lnTo>
                  <a:pt x="2462460" y="876125"/>
                </a:lnTo>
                <a:lnTo>
                  <a:pt x="2465390" y="873094"/>
                </a:lnTo>
                <a:lnTo>
                  <a:pt x="2467886" y="868871"/>
                </a:lnTo>
                <a:lnTo>
                  <a:pt x="2471358" y="868979"/>
                </a:lnTo>
                <a:lnTo>
                  <a:pt x="2473312" y="865948"/>
                </a:lnTo>
                <a:close/>
                <a:moveTo>
                  <a:pt x="2400170" y="864324"/>
                </a:moveTo>
                <a:lnTo>
                  <a:pt x="2402341" y="864649"/>
                </a:lnTo>
                <a:lnTo>
                  <a:pt x="2401690" y="866381"/>
                </a:lnTo>
                <a:close/>
                <a:moveTo>
                  <a:pt x="2392792" y="863025"/>
                </a:moveTo>
                <a:lnTo>
                  <a:pt x="2395287" y="864324"/>
                </a:lnTo>
                <a:lnTo>
                  <a:pt x="2395830" y="865948"/>
                </a:lnTo>
                <a:lnTo>
                  <a:pt x="2395071" y="867139"/>
                </a:lnTo>
                <a:close/>
                <a:moveTo>
                  <a:pt x="1848038" y="858261"/>
                </a:moveTo>
                <a:lnTo>
                  <a:pt x="1850968" y="858261"/>
                </a:lnTo>
                <a:lnTo>
                  <a:pt x="1848689" y="860859"/>
                </a:lnTo>
                <a:lnTo>
                  <a:pt x="1850100" y="862592"/>
                </a:lnTo>
                <a:lnTo>
                  <a:pt x="1846627" y="866815"/>
                </a:lnTo>
                <a:lnTo>
                  <a:pt x="1844782" y="866165"/>
                </a:lnTo>
                <a:lnTo>
                  <a:pt x="1842829" y="860102"/>
                </a:lnTo>
                <a:lnTo>
                  <a:pt x="1845107" y="859236"/>
                </a:lnTo>
                <a:lnTo>
                  <a:pt x="1846519" y="860968"/>
                </a:lnTo>
                <a:close/>
                <a:moveTo>
                  <a:pt x="4897681" y="856311"/>
                </a:moveTo>
                <a:lnTo>
                  <a:pt x="4900828" y="858043"/>
                </a:lnTo>
                <a:lnTo>
                  <a:pt x="4901913" y="861183"/>
                </a:lnTo>
                <a:lnTo>
                  <a:pt x="4907230" y="862915"/>
                </a:lnTo>
                <a:lnTo>
                  <a:pt x="4908750" y="866489"/>
                </a:lnTo>
                <a:lnTo>
                  <a:pt x="4906579" y="870278"/>
                </a:lnTo>
                <a:lnTo>
                  <a:pt x="4908750" y="873201"/>
                </a:lnTo>
                <a:lnTo>
                  <a:pt x="4908424" y="875909"/>
                </a:lnTo>
                <a:lnTo>
                  <a:pt x="4906579" y="875042"/>
                </a:lnTo>
                <a:lnTo>
                  <a:pt x="4903107" y="870062"/>
                </a:lnTo>
                <a:lnTo>
                  <a:pt x="4899092" y="869195"/>
                </a:lnTo>
                <a:lnTo>
                  <a:pt x="4898766" y="864973"/>
                </a:lnTo>
                <a:lnTo>
                  <a:pt x="4895294" y="863565"/>
                </a:lnTo>
                <a:lnTo>
                  <a:pt x="4892907" y="864431"/>
                </a:lnTo>
                <a:lnTo>
                  <a:pt x="4889651" y="862699"/>
                </a:lnTo>
                <a:lnTo>
                  <a:pt x="4889000" y="860101"/>
                </a:lnTo>
                <a:lnTo>
                  <a:pt x="4892255" y="856852"/>
                </a:lnTo>
                <a:close/>
                <a:moveTo>
                  <a:pt x="2431424" y="852847"/>
                </a:moveTo>
                <a:lnTo>
                  <a:pt x="2435655" y="853496"/>
                </a:lnTo>
                <a:lnTo>
                  <a:pt x="2439128" y="856745"/>
                </a:lnTo>
                <a:lnTo>
                  <a:pt x="2445096" y="857178"/>
                </a:lnTo>
                <a:lnTo>
                  <a:pt x="2447375" y="860318"/>
                </a:lnTo>
                <a:lnTo>
                  <a:pt x="2444771" y="862916"/>
                </a:lnTo>
                <a:lnTo>
                  <a:pt x="2443034" y="862916"/>
                </a:lnTo>
                <a:lnTo>
                  <a:pt x="2439453" y="863782"/>
                </a:lnTo>
                <a:lnTo>
                  <a:pt x="2436523" y="862592"/>
                </a:lnTo>
                <a:lnTo>
                  <a:pt x="2436523" y="865840"/>
                </a:lnTo>
                <a:lnTo>
                  <a:pt x="2433810" y="866923"/>
                </a:lnTo>
                <a:lnTo>
                  <a:pt x="2432725" y="864649"/>
                </a:lnTo>
                <a:lnTo>
                  <a:pt x="2433377" y="862592"/>
                </a:lnTo>
                <a:lnTo>
                  <a:pt x="2432183" y="861076"/>
                </a:lnTo>
                <a:lnTo>
                  <a:pt x="2431206" y="858694"/>
                </a:lnTo>
                <a:lnTo>
                  <a:pt x="2427734" y="857935"/>
                </a:lnTo>
                <a:cubicBezTo>
                  <a:pt x="2428906" y="856991"/>
                  <a:pt x="2430138" y="856123"/>
                  <a:pt x="2431424" y="855337"/>
                </a:cubicBezTo>
                <a:close/>
                <a:moveTo>
                  <a:pt x="2968690" y="851115"/>
                </a:moveTo>
                <a:lnTo>
                  <a:pt x="2973139" y="852847"/>
                </a:lnTo>
                <a:lnTo>
                  <a:pt x="2973790" y="857719"/>
                </a:lnTo>
                <a:lnTo>
                  <a:pt x="2970209" y="861617"/>
                </a:lnTo>
                <a:lnTo>
                  <a:pt x="2965977" y="862158"/>
                </a:lnTo>
                <a:lnTo>
                  <a:pt x="2963915" y="860426"/>
                </a:lnTo>
                <a:lnTo>
                  <a:pt x="2965651" y="852414"/>
                </a:lnTo>
                <a:close/>
                <a:moveTo>
                  <a:pt x="2956970" y="850574"/>
                </a:moveTo>
                <a:lnTo>
                  <a:pt x="2955559" y="857178"/>
                </a:lnTo>
                <a:lnTo>
                  <a:pt x="2956102" y="859994"/>
                </a:lnTo>
                <a:lnTo>
                  <a:pt x="2952954" y="863784"/>
                </a:lnTo>
                <a:lnTo>
                  <a:pt x="2949048" y="861617"/>
                </a:lnTo>
                <a:lnTo>
                  <a:pt x="2948723" y="856745"/>
                </a:lnTo>
                <a:lnTo>
                  <a:pt x="2950676" y="853605"/>
                </a:lnTo>
                <a:close/>
                <a:moveTo>
                  <a:pt x="2484270" y="850140"/>
                </a:moveTo>
                <a:lnTo>
                  <a:pt x="2483076" y="853605"/>
                </a:lnTo>
                <a:lnTo>
                  <a:pt x="2481232" y="854146"/>
                </a:lnTo>
                <a:lnTo>
                  <a:pt x="2481991" y="851115"/>
                </a:lnTo>
                <a:close/>
                <a:moveTo>
                  <a:pt x="2383785" y="846026"/>
                </a:moveTo>
                <a:lnTo>
                  <a:pt x="2387474" y="846026"/>
                </a:lnTo>
                <a:lnTo>
                  <a:pt x="2387908" y="847217"/>
                </a:lnTo>
                <a:lnTo>
                  <a:pt x="2391489" y="849274"/>
                </a:lnTo>
                <a:lnTo>
                  <a:pt x="2391597" y="851331"/>
                </a:lnTo>
                <a:lnTo>
                  <a:pt x="2388993" y="851764"/>
                </a:lnTo>
                <a:lnTo>
                  <a:pt x="2387148" y="849923"/>
                </a:lnTo>
                <a:lnTo>
                  <a:pt x="2384218" y="849490"/>
                </a:lnTo>
                <a:lnTo>
                  <a:pt x="2382808" y="848299"/>
                </a:lnTo>
                <a:close/>
                <a:moveTo>
                  <a:pt x="2378576" y="845701"/>
                </a:moveTo>
                <a:lnTo>
                  <a:pt x="2379987" y="848191"/>
                </a:lnTo>
                <a:lnTo>
                  <a:pt x="2376406" y="847109"/>
                </a:lnTo>
                <a:close/>
                <a:moveTo>
                  <a:pt x="1835667" y="843319"/>
                </a:moveTo>
                <a:lnTo>
                  <a:pt x="1836860" y="847217"/>
                </a:lnTo>
                <a:lnTo>
                  <a:pt x="1835124" y="847000"/>
                </a:lnTo>
                <a:lnTo>
                  <a:pt x="1834582" y="844294"/>
                </a:lnTo>
                <a:close/>
                <a:moveTo>
                  <a:pt x="1832194" y="843103"/>
                </a:moveTo>
                <a:lnTo>
                  <a:pt x="1835341" y="849166"/>
                </a:lnTo>
                <a:lnTo>
                  <a:pt x="1832736" y="847542"/>
                </a:lnTo>
                <a:lnTo>
                  <a:pt x="1831001" y="845160"/>
                </a:lnTo>
                <a:close/>
                <a:moveTo>
                  <a:pt x="2365988" y="841695"/>
                </a:moveTo>
                <a:lnTo>
                  <a:pt x="2368701" y="842778"/>
                </a:lnTo>
                <a:lnTo>
                  <a:pt x="2371522" y="842778"/>
                </a:lnTo>
                <a:lnTo>
                  <a:pt x="2372282" y="845376"/>
                </a:lnTo>
                <a:lnTo>
                  <a:pt x="2370980" y="846459"/>
                </a:lnTo>
                <a:lnTo>
                  <a:pt x="2367941" y="846351"/>
                </a:lnTo>
                <a:close/>
                <a:moveTo>
                  <a:pt x="2227954" y="841046"/>
                </a:moveTo>
                <a:lnTo>
                  <a:pt x="2229473" y="842995"/>
                </a:lnTo>
                <a:lnTo>
                  <a:pt x="2229799" y="849382"/>
                </a:lnTo>
                <a:lnTo>
                  <a:pt x="2228605" y="851223"/>
                </a:lnTo>
                <a:lnTo>
                  <a:pt x="2227303" y="849923"/>
                </a:lnTo>
                <a:lnTo>
                  <a:pt x="2227411" y="847650"/>
                </a:lnTo>
                <a:lnTo>
                  <a:pt x="2225350" y="845160"/>
                </a:lnTo>
                <a:lnTo>
                  <a:pt x="2226869" y="842020"/>
                </a:lnTo>
                <a:close/>
                <a:moveTo>
                  <a:pt x="2233489" y="839746"/>
                </a:moveTo>
                <a:lnTo>
                  <a:pt x="2235659" y="841262"/>
                </a:lnTo>
                <a:lnTo>
                  <a:pt x="2235442" y="845051"/>
                </a:lnTo>
                <a:lnTo>
                  <a:pt x="2234248" y="845160"/>
                </a:lnTo>
                <a:lnTo>
                  <a:pt x="2231535" y="847650"/>
                </a:lnTo>
                <a:lnTo>
                  <a:pt x="2231210" y="841803"/>
                </a:lnTo>
                <a:close/>
                <a:moveTo>
                  <a:pt x="2966954" y="833574"/>
                </a:moveTo>
                <a:lnTo>
                  <a:pt x="2970100" y="835631"/>
                </a:lnTo>
                <a:lnTo>
                  <a:pt x="2974007" y="835847"/>
                </a:lnTo>
                <a:lnTo>
                  <a:pt x="2973899" y="837688"/>
                </a:lnTo>
                <a:lnTo>
                  <a:pt x="2970317" y="838988"/>
                </a:lnTo>
                <a:lnTo>
                  <a:pt x="2966845" y="842560"/>
                </a:lnTo>
                <a:lnTo>
                  <a:pt x="2963589" y="842452"/>
                </a:lnTo>
                <a:lnTo>
                  <a:pt x="2962504" y="839204"/>
                </a:lnTo>
                <a:lnTo>
                  <a:pt x="2963697" y="835739"/>
                </a:lnTo>
                <a:close/>
                <a:moveTo>
                  <a:pt x="1829590" y="827295"/>
                </a:moveTo>
                <a:lnTo>
                  <a:pt x="1832520" y="827944"/>
                </a:lnTo>
                <a:lnTo>
                  <a:pt x="1833280" y="829894"/>
                </a:lnTo>
                <a:lnTo>
                  <a:pt x="1828071" y="830002"/>
                </a:lnTo>
                <a:close/>
                <a:moveTo>
                  <a:pt x="1992691" y="826645"/>
                </a:moveTo>
                <a:lnTo>
                  <a:pt x="1993558" y="827511"/>
                </a:lnTo>
                <a:lnTo>
                  <a:pt x="1992799" y="830326"/>
                </a:lnTo>
                <a:lnTo>
                  <a:pt x="1993124" y="832924"/>
                </a:lnTo>
                <a:lnTo>
                  <a:pt x="1992148" y="835739"/>
                </a:lnTo>
                <a:lnTo>
                  <a:pt x="1988458" y="837905"/>
                </a:lnTo>
                <a:lnTo>
                  <a:pt x="1986180" y="836497"/>
                </a:lnTo>
                <a:lnTo>
                  <a:pt x="1983033" y="832383"/>
                </a:lnTo>
                <a:lnTo>
                  <a:pt x="1984010" y="830326"/>
                </a:lnTo>
                <a:lnTo>
                  <a:pt x="1988675" y="830542"/>
                </a:lnTo>
                <a:lnTo>
                  <a:pt x="1989326" y="828918"/>
                </a:lnTo>
                <a:close/>
                <a:moveTo>
                  <a:pt x="1846084" y="820799"/>
                </a:moveTo>
                <a:lnTo>
                  <a:pt x="1849556" y="820799"/>
                </a:lnTo>
                <a:lnTo>
                  <a:pt x="1846518" y="823072"/>
                </a:lnTo>
                <a:lnTo>
                  <a:pt x="1843805" y="823072"/>
                </a:lnTo>
                <a:close/>
                <a:moveTo>
                  <a:pt x="2032734" y="817551"/>
                </a:moveTo>
                <a:lnTo>
                  <a:pt x="2035664" y="818092"/>
                </a:lnTo>
                <a:lnTo>
                  <a:pt x="2035772" y="820799"/>
                </a:lnTo>
                <a:lnTo>
                  <a:pt x="2038919" y="824697"/>
                </a:lnTo>
                <a:lnTo>
                  <a:pt x="2036206" y="829461"/>
                </a:lnTo>
                <a:lnTo>
                  <a:pt x="2031757" y="832059"/>
                </a:lnTo>
                <a:lnTo>
                  <a:pt x="2031106" y="834766"/>
                </a:lnTo>
                <a:lnTo>
                  <a:pt x="2029261" y="837149"/>
                </a:lnTo>
                <a:lnTo>
                  <a:pt x="2026440" y="832817"/>
                </a:lnTo>
                <a:lnTo>
                  <a:pt x="2026331" y="830219"/>
                </a:lnTo>
                <a:lnTo>
                  <a:pt x="2030780" y="823506"/>
                </a:lnTo>
                <a:lnTo>
                  <a:pt x="2030563" y="820149"/>
                </a:lnTo>
                <a:close/>
                <a:moveTo>
                  <a:pt x="3502916" y="817334"/>
                </a:moveTo>
                <a:lnTo>
                  <a:pt x="3508125" y="818092"/>
                </a:lnTo>
                <a:lnTo>
                  <a:pt x="3510295" y="819175"/>
                </a:lnTo>
                <a:lnTo>
                  <a:pt x="3513876" y="819066"/>
                </a:lnTo>
                <a:lnTo>
                  <a:pt x="3519845" y="822856"/>
                </a:lnTo>
                <a:lnTo>
                  <a:pt x="3523968" y="822748"/>
                </a:lnTo>
                <a:lnTo>
                  <a:pt x="3526247" y="823938"/>
                </a:lnTo>
                <a:lnTo>
                  <a:pt x="3530045" y="830651"/>
                </a:lnTo>
                <a:lnTo>
                  <a:pt x="3541439" y="835956"/>
                </a:lnTo>
                <a:lnTo>
                  <a:pt x="3543501" y="840503"/>
                </a:lnTo>
                <a:lnTo>
                  <a:pt x="3542307" y="842128"/>
                </a:lnTo>
                <a:lnTo>
                  <a:pt x="3540680" y="840612"/>
                </a:lnTo>
                <a:lnTo>
                  <a:pt x="3535688" y="840071"/>
                </a:lnTo>
                <a:lnTo>
                  <a:pt x="3531890" y="837148"/>
                </a:lnTo>
                <a:lnTo>
                  <a:pt x="3529286" y="836389"/>
                </a:lnTo>
                <a:lnTo>
                  <a:pt x="3527875" y="838555"/>
                </a:lnTo>
                <a:lnTo>
                  <a:pt x="3526247" y="839962"/>
                </a:lnTo>
                <a:lnTo>
                  <a:pt x="3528743" y="842994"/>
                </a:lnTo>
                <a:lnTo>
                  <a:pt x="3530696" y="842994"/>
                </a:lnTo>
                <a:lnTo>
                  <a:pt x="3535688" y="844943"/>
                </a:lnTo>
                <a:lnTo>
                  <a:pt x="3538943" y="849707"/>
                </a:lnTo>
                <a:lnTo>
                  <a:pt x="3536339" y="851656"/>
                </a:lnTo>
                <a:lnTo>
                  <a:pt x="3536556" y="854470"/>
                </a:lnTo>
                <a:lnTo>
                  <a:pt x="3535470" y="856203"/>
                </a:lnTo>
                <a:lnTo>
                  <a:pt x="3530588" y="854362"/>
                </a:lnTo>
                <a:lnTo>
                  <a:pt x="3529503" y="851872"/>
                </a:lnTo>
                <a:lnTo>
                  <a:pt x="3526790" y="851547"/>
                </a:lnTo>
                <a:lnTo>
                  <a:pt x="3522231" y="849382"/>
                </a:lnTo>
                <a:lnTo>
                  <a:pt x="3518651" y="844293"/>
                </a:lnTo>
                <a:lnTo>
                  <a:pt x="3513225" y="839854"/>
                </a:lnTo>
                <a:lnTo>
                  <a:pt x="3507148" y="838122"/>
                </a:lnTo>
                <a:lnTo>
                  <a:pt x="3504978" y="833142"/>
                </a:lnTo>
                <a:lnTo>
                  <a:pt x="3501722" y="827295"/>
                </a:lnTo>
                <a:lnTo>
                  <a:pt x="3502048" y="823722"/>
                </a:lnTo>
                <a:lnTo>
                  <a:pt x="3500963" y="822206"/>
                </a:lnTo>
                <a:lnTo>
                  <a:pt x="3500963" y="819066"/>
                </a:lnTo>
                <a:close/>
                <a:moveTo>
                  <a:pt x="2616661" y="814736"/>
                </a:moveTo>
                <a:lnTo>
                  <a:pt x="2620242" y="815818"/>
                </a:lnTo>
                <a:lnTo>
                  <a:pt x="2621110" y="819067"/>
                </a:lnTo>
                <a:lnTo>
                  <a:pt x="2624257" y="819067"/>
                </a:lnTo>
                <a:lnTo>
                  <a:pt x="2626428" y="821016"/>
                </a:lnTo>
                <a:lnTo>
                  <a:pt x="2623715" y="824697"/>
                </a:lnTo>
                <a:lnTo>
                  <a:pt x="2619808" y="825780"/>
                </a:lnTo>
                <a:lnTo>
                  <a:pt x="2617855" y="824481"/>
                </a:lnTo>
                <a:lnTo>
                  <a:pt x="2615034" y="825888"/>
                </a:lnTo>
                <a:lnTo>
                  <a:pt x="2613514" y="828271"/>
                </a:lnTo>
                <a:lnTo>
                  <a:pt x="2611778" y="827296"/>
                </a:lnTo>
                <a:lnTo>
                  <a:pt x="2611778" y="823614"/>
                </a:lnTo>
                <a:lnTo>
                  <a:pt x="2610259" y="821232"/>
                </a:lnTo>
                <a:lnTo>
                  <a:pt x="2612538" y="817334"/>
                </a:lnTo>
                <a:close/>
                <a:moveTo>
                  <a:pt x="5479222" y="814628"/>
                </a:moveTo>
                <a:lnTo>
                  <a:pt x="5481067" y="814953"/>
                </a:lnTo>
                <a:lnTo>
                  <a:pt x="5482694" y="818309"/>
                </a:lnTo>
                <a:lnTo>
                  <a:pt x="5481610" y="822857"/>
                </a:lnTo>
                <a:lnTo>
                  <a:pt x="5479330" y="819934"/>
                </a:lnTo>
                <a:close/>
                <a:moveTo>
                  <a:pt x="3494344" y="814195"/>
                </a:moveTo>
                <a:lnTo>
                  <a:pt x="3492065" y="817119"/>
                </a:lnTo>
                <a:lnTo>
                  <a:pt x="3492391" y="819934"/>
                </a:lnTo>
                <a:lnTo>
                  <a:pt x="3490220" y="821342"/>
                </a:lnTo>
                <a:lnTo>
                  <a:pt x="3487942" y="819717"/>
                </a:lnTo>
                <a:lnTo>
                  <a:pt x="3488267" y="816902"/>
                </a:lnTo>
                <a:close/>
                <a:moveTo>
                  <a:pt x="2928322" y="813870"/>
                </a:moveTo>
                <a:lnTo>
                  <a:pt x="2931577" y="816901"/>
                </a:lnTo>
                <a:lnTo>
                  <a:pt x="2929950" y="819176"/>
                </a:lnTo>
                <a:lnTo>
                  <a:pt x="2927453" y="818309"/>
                </a:lnTo>
                <a:lnTo>
                  <a:pt x="2926260" y="814303"/>
                </a:lnTo>
                <a:close/>
                <a:moveTo>
                  <a:pt x="2310970" y="813870"/>
                </a:moveTo>
                <a:lnTo>
                  <a:pt x="2314768" y="813870"/>
                </a:lnTo>
                <a:lnTo>
                  <a:pt x="2317264" y="817659"/>
                </a:lnTo>
                <a:lnTo>
                  <a:pt x="2322256" y="818525"/>
                </a:lnTo>
                <a:lnTo>
                  <a:pt x="2323015" y="822423"/>
                </a:lnTo>
                <a:lnTo>
                  <a:pt x="2321496" y="825129"/>
                </a:lnTo>
                <a:lnTo>
                  <a:pt x="2318566" y="825780"/>
                </a:lnTo>
                <a:lnTo>
                  <a:pt x="2317264" y="823614"/>
                </a:lnTo>
                <a:lnTo>
                  <a:pt x="2313792" y="823614"/>
                </a:lnTo>
                <a:lnTo>
                  <a:pt x="2311079" y="820907"/>
                </a:lnTo>
                <a:lnTo>
                  <a:pt x="2310102" y="822856"/>
                </a:lnTo>
                <a:lnTo>
                  <a:pt x="2307172" y="822207"/>
                </a:lnTo>
                <a:lnTo>
                  <a:pt x="2307172" y="818092"/>
                </a:lnTo>
                <a:lnTo>
                  <a:pt x="2305219" y="816576"/>
                </a:lnTo>
                <a:lnTo>
                  <a:pt x="2310102" y="815386"/>
                </a:lnTo>
                <a:close/>
                <a:moveTo>
                  <a:pt x="2217537" y="813328"/>
                </a:moveTo>
                <a:lnTo>
                  <a:pt x="2220684" y="813328"/>
                </a:lnTo>
                <a:lnTo>
                  <a:pt x="2222528" y="814627"/>
                </a:lnTo>
                <a:lnTo>
                  <a:pt x="2221443" y="816901"/>
                </a:lnTo>
                <a:lnTo>
                  <a:pt x="2219381" y="817009"/>
                </a:lnTo>
                <a:lnTo>
                  <a:pt x="2216994" y="817767"/>
                </a:lnTo>
                <a:lnTo>
                  <a:pt x="2215801" y="815601"/>
                </a:lnTo>
                <a:close/>
                <a:moveTo>
                  <a:pt x="2137559" y="812354"/>
                </a:moveTo>
                <a:lnTo>
                  <a:pt x="2143202" y="814303"/>
                </a:lnTo>
                <a:lnTo>
                  <a:pt x="2143202" y="818417"/>
                </a:lnTo>
                <a:lnTo>
                  <a:pt x="2138536" y="826104"/>
                </a:lnTo>
                <a:lnTo>
                  <a:pt x="2135172" y="827403"/>
                </a:lnTo>
                <a:lnTo>
                  <a:pt x="2135823" y="823831"/>
                </a:lnTo>
                <a:lnTo>
                  <a:pt x="2135823" y="819716"/>
                </a:lnTo>
                <a:lnTo>
                  <a:pt x="2134087" y="822098"/>
                </a:lnTo>
                <a:lnTo>
                  <a:pt x="2133436" y="824805"/>
                </a:lnTo>
                <a:cubicBezTo>
                  <a:pt x="2132388" y="824890"/>
                  <a:pt x="2131336" y="824890"/>
                  <a:pt x="2130289" y="824805"/>
                </a:cubicBezTo>
                <a:lnTo>
                  <a:pt x="2132567" y="817009"/>
                </a:lnTo>
                <a:close/>
                <a:moveTo>
                  <a:pt x="2044886" y="811921"/>
                </a:moveTo>
                <a:lnTo>
                  <a:pt x="2047382" y="816360"/>
                </a:lnTo>
                <a:lnTo>
                  <a:pt x="2044995" y="819284"/>
                </a:lnTo>
                <a:lnTo>
                  <a:pt x="2044235" y="823181"/>
                </a:lnTo>
                <a:lnTo>
                  <a:pt x="2041957" y="823940"/>
                </a:lnTo>
                <a:lnTo>
                  <a:pt x="2041305" y="820907"/>
                </a:lnTo>
                <a:lnTo>
                  <a:pt x="2039678" y="819176"/>
                </a:lnTo>
                <a:lnTo>
                  <a:pt x="2042933" y="812679"/>
                </a:lnTo>
                <a:close/>
                <a:moveTo>
                  <a:pt x="3526031" y="809539"/>
                </a:moveTo>
                <a:lnTo>
                  <a:pt x="3532217" y="809539"/>
                </a:lnTo>
                <a:lnTo>
                  <a:pt x="3538185" y="813220"/>
                </a:lnTo>
                <a:lnTo>
                  <a:pt x="3542092" y="813870"/>
                </a:lnTo>
                <a:lnTo>
                  <a:pt x="3547734" y="818092"/>
                </a:lnTo>
                <a:lnTo>
                  <a:pt x="3544696" y="819500"/>
                </a:lnTo>
                <a:lnTo>
                  <a:pt x="3543611" y="822748"/>
                </a:lnTo>
                <a:lnTo>
                  <a:pt x="3545022" y="824914"/>
                </a:lnTo>
                <a:lnTo>
                  <a:pt x="3545022" y="827512"/>
                </a:lnTo>
                <a:lnTo>
                  <a:pt x="3541766" y="828378"/>
                </a:lnTo>
                <a:lnTo>
                  <a:pt x="3539053" y="827296"/>
                </a:lnTo>
                <a:lnTo>
                  <a:pt x="3534604" y="827296"/>
                </a:lnTo>
                <a:lnTo>
                  <a:pt x="3531891" y="825347"/>
                </a:lnTo>
                <a:lnTo>
                  <a:pt x="3531891" y="822639"/>
                </a:lnTo>
                <a:lnTo>
                  <a:pt x="3529938" y="821665"/>
                </a:lnTo>
                <a:lnTo>
                  <a:pt x="3526357" y="821665"/>
                </a:lnTo>
                <a:lnTo>
                  <a:pt x="3521039" y="818850"/>
                </a:lnTo>
                <a:lnTo>
                  <a:pt x="3514854" y="817767"/>
                </a:lnTo>
                <a:lnTo>
                  <a:pt x="3510405" y="815277"/>
                </a:lnTo>
                <a:lnTo>
                  <a:pt x="3502809" y="815277"/>
                </a:lnTo>
                <a:lnTo>
                  <a:pt x="3499879" y="812787"/>
                </a:lnTo>
                <a:cubicBezTo>
                  <a:pt x="3500460" y="812039"/>
                  <a:pt x="3501115" y="811350"/>
                  <a:pt x="3501832" y="810730"/>
                </a:cubicBezTo>
                <a:lnTo>
                  <a:pt x="3505955" y="810730"/>
                </a:lnTo>
                <a:lnTo>
                  <a:pt x="3513009" y="810080"/>
                </a:lnTo>
                <a:lnTo>
                  <a:pt x="3517784" y="811704"/>
                </a:lnTo>
                <a:close/>
                <a:moveTo>
                  <a:pt x="2128337" y="809106"/>
                </a:moveTo>
                <a:lnTo>
                  <a:pt x="2131158" y="814520"/>
                </a:lnTo>
                <a:lnTo>
                  <a:pt x="2128553" y="819717"/>
                </a:lnTo>
                <a:lnTo>
                  <a:pt x="2126492" y="819067"/>
                </a:lnTo>
                <a:lnTo>
                  <a:pt x="2126275" y="812354"/>
                </a:lnTo>
                <a:close/>
                <a:moveTo>
                  <a:pt x="603026" y="805641"/>
                </a:moveTo>
                <a:lnTo>
                  <a:pt x="605306" y="807590"/>
                </a:lnTo>
                <a:lnTo>
                  <a:pt x="605087" y="817226"/>
                </a:lnTo>
                <a:lnTo>
                  <a:pt x="602483" y="822747"/>
                </a:lnTo>
                <a:lnTo>
                  <a:pt x="601507" y="833250"/>
                </a:lnTo>
                <a:lnTo>
                  <a:pt x="598035" y="831192"/>
                </a:lnTo>
                <a:lnTo>
                  <a:pt x="598252" y="828052"/>
                </a:lnTo>
                <a:lnTo>
                  <a:pt x="594780" y="825995"/>
                </a:lnTo>
                <a:lnTo>
                  <a:pt x="589244" y="827619"/>
                </a:lnTo>
                <a:lnTo>
                  <a:pt x="584578" y="824371"/>
                </a:lnTo>
                <a:lnTo>
                  <a:pt x="584686" y="821556"/>
                </a:lnTo>
                <a:lnTo>
                  <a:pt x="597493" y="808564"/>
                </a:lnTo>
                <a:close/>
                <a:moveTo>
                  <a:pt x="3559236" y="805316"/>
                </a:moveTo>
                <a:lnTo>
                  <a:pt x="3559453" y="808022"/>
                </a:lnTo>
                <a:lnTo>
                  <a:pt x="3557066" y="809538"/>
                </a:lnTo>
                <a:lnTo>
                  <a:pt x="3554896" y="808130"/>
                </a:lnTo>
                <a:lnTo>
                  <a:pt x="3556198" y="806291"/>
                </a:lnTo>
                <a:close/>
                <a:moveTo>
                  <a:pt x="5471518" y="800120"/>
                </a:moveTo>
                <a:lnTo>
                  <a:pt x="5474556" y="806075"/>
                </a:lnTo>
                <a:lnTo>
                  <a:pt x="5475859" y="818958"/>
                </a:lnTo>
                <a:lnTo>
                  <a:pt x="5473146" y="823289"/>
                </a:lnTo>
                <a:lnTo>
                  <a:pt x="5471626" y="821556"/>
                </a:lnTo>
                <a:lnTo>
                  <a:pt x="5472278" y="813870"/>
                </a:lnTo>
                <a:lnTo>
                  <a:pt x="5469890" y="808673"/>
                </a:lnTo>
                <a:lnTo>
                  <a:pt x="5469890" y="800228"/>
                </a:lnTo>
                <a:close/>
                <a:moveTo>
                  <a:pt x="618979" y="798495"/>
                </a:moveTo>
                <a:lnTo>
                  <a:pt x="627336" y="804017"/>
                </a:lnTo>
                <a:lnTo>
                  <a:pt x="627336" y="807048"/>
                </a:lnTo>
                <a:lnTo>
                  <a:pt x="622235" y="809322"/>
                </a:lnTo>
                <a:lnTo>
                  <a:pt x="612468" y="818093"/>
                </a:lnTo>
                <a:lnTo>
                  <a:pt x="609432" y="816901"/>
                </a:lnTo>
                <a:cubicBezTo>
                  <a:pt x="609104" y="816793"/>
                  <a:pt x="611817" y="814519"/>
                  <a:pt x="611817" y="814519"/>
                </a:cubicBezTo>
                <a:lnTo>
                  <a:pt x="611817" y="812029"/>
                </a:lnTo>
                <a:lnTo>
                  <a:pt x="608996" y="809105"/>
                </a:lnTo>
                <a:lnTo>
                  <a:pt x="610299" y="805316"/>
                </a:lnTo>
                <a:lnTo>
                  <a:pt x="606282" y="801201"/>
                </a:lnTo>
                <a:lnTo>
                  <a:pt x="609864" y="799253"/>
                </a:lnTo>
                <a:close/>
                <a:moveTo>
                  <a:pt x="2940151" y="794598"/>
                </a:moveTo>
                <a:lnTo>
                  <a:pt x="2941995" y="795681"/>
                </a:lnTo>
                <a:lnTo>
                  <a:pt x="2940910" y="798171"/>
                </a:lnTo>
                <a:lnTo>
                  <a:pt x="2936244" y="799687"/>
                </a:lnTo>
                <a:lnTo>
                  <a:pt x="2932880" y="803910"/>
                </a:lnTo>
                <a:lnTo>
                  <a:pt x="2929733" y="803910"/>
                </a:lnTo>
                <a:lnTo>
                  <a:pt x="2929950" y="799903"/>
                </a:lnTo>
                <a:cubicBezTo>
                  <a:pt x="2930627" y="799590"/>
                  <a:pt x="2931279" y="799228"/>
                  <a:pt x="2931903" y="798820"/>
                </a:cubicBezTo>
                <a:lnTo>
                  <a:pt x="2932988" y="795897"/>
                </a:lnTo>
                <a:lnTo>
                  <a:pt x="2937871" y="795897"/>
                </a:lnTo>
                <a:close/>
                <a:moveTo>
                  <a:pt x="5465224" y="790483"/>
                </a:moveTo>
                <a:lnTo>
                  <a:pt x="5468263" y="793623"/>
                </a:lnTo>
                <a:lnTo>
                  <a:pt x="5468155" y="797412"/>
                </a:lnTo>
                <a:lnTo>
                  <a:pt x="5465659" y="796221"/>
                </a:lnTo>
                <a:lnTo>
                  <a:pt x="5463271" y="791241"/>
                </a:lnTo>
                <a:close/>
                <a:moveTo>
                  <a:pt x="2033601" y="788318"/>
                </a:moveTo>
                <a:lnTo>
                  <a:pt x="2033601" y="791349"/>
                </a:lnTo>
                <a:lnTo>
                  <a:pt x="2035880" y="793515"/>
                </a:lnTo>
                <a:lnTo>
                  <a:pt x="2035880" y="796222"/>
                </a:lnTo>
                <a:lnTo>
                  <a:pt x="2034036" y="799037"/>
                </a:lnTo>
                <a:lnTo>
                  <a:pt x="2032191" y="798604"/>
                </a:lnTo>
                <a:lnTo>
                  <a:pt x="2030671" y="801202"/>
                </a:lnTo>
                <a:lnTo>
                  <a:pt x="2028935" y="800877"/>
                </a:lnTo>
                <a:lnTo>
                  <a:pt x="2028176" y="798604"/>
                </a:lnTo>
                <a:lnTo>
                  <a:pt x="2029044" y="795897"/>
                </a:lnTo>
                <a:lnTo>
                  <a:pt x="2032299" y="794814"/>
                </a:lnTo>
                <a:lnTo>
                  <a:pt x="2029912" y="791566"/>
                </a:lnTo>
                <a:lnTo>
                  <a:pt x="2031323" y="788751"/>
                </a:lnTo>
                <a:close/>
                <a:moveTo>
                  <a:pt x="3494235" y="787885"/>
                </a:moveTo>
                <a:lnTo>
                  <a:pt x="3508560" y="790483"/>
                </a:lnTo>
                <a:lnTo>
                  <a:pt x="3518651" y="797629"/>
                </a:lnTo>
                <a:lnTo>
                  <a:pt x="3521039" y="800444"/>
                </a:lnTo>
                <a:lnTo>
                  <a:pt x="3518435" y="800769"/>
                </a:lnTo>
                <a:lnTo>
                  <a:pt x="3509753" y="799362"/>
                </a:lnTo>
                <a:lnTo>
                  <a:pt x="3502483" y="793948"/>
                </a:lnTo>
                <a:lnTo>
                  <a:pt x="3499228" y="793840"/>
                </a:lnTo>
                <a:lnTo>
                  <a:pt x="3497166" y="795572"/>
                </a:lnTo>
                <a:lnTo>
                  <a:pt x="3499228" y="798279"/>
                </a:lnTo>
                <a:lnTo>
                  <a:pt x="3503894" y="798928"/>
                </a:lnTo>
                <a:lnTo>
                  <a:pt x="3510296" y="802393"/>
                </a:lnTo>
                <a:lnTo>
                  <a:pt x="3514853" y="804342"/>
                </a:lnTo>
                <a:lnTo>
                  <a:pt x="3526248" y="803909"/>
                </a:lnTo>
                <a:lnTo>
                  <a:pt x="3531782" y="804883"/>
                </a:lnTo>
                <a:lnTo>
                  <a:pt x="3531999" y="807049"/>
                </a:lnTo>
                <a:lnTo>
                  <a:pt x="3526139" y="808456"/>
                </a:lnTo>
                <a:lnTo>
                  <a:pt x="3512466" y="807591"/>
                </a:lnTo>
                <a:lnTo>
                  <a:pt x="3502917" y="808673"/>
                </a:lnTo>
                <a:lnTo>
                  <a:pt x="3496298" y="806075"/>
                </a:lnTo>
                <a:lnTo>
                  <a:pt x="3491088" y="800336"/>
                </a:lnTo>
                <a:lnTo>
                  <a:pt x="3484686" y="799470"/>
                </a:lnTo>
                <a:lnTo>
                  <a:pt x="3481431" y="796330"/>
                </a:lnTo>
                <a:lnTo>
                  <a:pt x="3484252" y="793840"/>
                </a:lnTo>
                <a:lnTo>
                  <a:pt x="3490655" y="791783"/>
                </a:lnTo>
                <a:lnTo>
                  <a:pt x="3490763" y="789076"/>
                </a:lnTo>
                <a:close/>
                <a:moveTo>
                  <a:pt x="2110867" y="785177"/>
                </a:moveTo>
                <a:lnTo>
                  <a:pt x="2110867" y="790374"/>
                </a:lnTo>
                <a:lnTo>
                  <a:pt x="2110215" y="794163"/>
                </a:lnTo>
                <a:lnTo>
                  <a:pt x="2112277" y="799036"/>
                </a:lnTo>
                <a:lnTo>
                  <a:pt x="2108804" y="802067"/>
                </a:lnTo>
                <a:lnTo>
                  <a:pt x="2108479" y="807589"/>
                </a:lnTo>
                <a:lnTo>
                  <a:pt x="2112277" y="802717"/>
                </a:lnTo>
                <a:lnTo>
                  <a:pt x="2116075" y="803150"/>
                </a:lnTo>
                <a:lnTo>
                  <a:pt x="2116075" y="807914"/>
                </a:lnTo>
                <a:lnTo>
                  <a:pt x="2122586" y="812461"/>
                </a:lnTo>
                <a:lnTo>
                  <a:pt x="2125082" y="828268"/>
                </a:lnTo>
                <a:lnTo>
                  <a:pt x="2121609" y="839312"/>
                </a:lnTo>
                <a:lnTo>
                  <a:pt x="2121935" y="843751"/>
                </a:lnTo>
                <a:lnTo>
                  <a:pt x="2125299" y="836713"/>
                </a:lnTo>
                <a:lnTo>
                  <a:pt x="2130616" y="833682"/>
                </a:lnTo>
                <a:lnTo>
                  <a:pt x="2129205" y="838337"/>
                </a:lnTo>
                <a:lnTo>
                  <a:pt x="2124431" y="848298"/>
                </a:lnTo>
                <a:lnTo>
                  <a:pt x="2126818" y="851872"/>
                </a:lnTo>
                <a:lnTo>
                  <a:pt x="2132352" y="849814"/>
                </a:lnTo>
                <a:lnTo>
                  <a:pt x="2132135" y="853387"/>
                </a:lnTo>
                <a:lnTo>
                  <a:pt x="2125407" y="857935"/>
                </a:lnTo>
                <a:lnTo>
                  <a:pt x="2123346" y="860208"/>
                </a:lnTo>
                <a:lnTo>
                  <a:pt x="2121284" y="856527"/>
                </a:lnTo>
                <a:lnTo>
                  <a:pt x="2115750" y="860641"/>
                </a:lnTo>
                <a:lnTo>
                  <a:pt x="2112277" y="861291"/>
                </a:lnTo>
                <a:lnTo>
                  <a:pt x="2107394" y="866163"/>
                </a:lnTo>
                <a:lnTo>
                  <a:pt x="2102944" y="866163"/>
                </a:lnTo>
                <a:lnTo>
                  <a:pt x="2099472" y="866488"/>
                </a:lnTo>
                <a:lnTo>
                  <a:pt x="2093286" y="861291"/>
                </a:lnTo>
                <a:lnTo>
                  <a:pt x="2092961" y="856852"/>
                </a:lnTo>
                <a:lnTo>
                  <a:pt x="2089163" y="862698"/>
                </a:lnTo>
                <a:lnTo>
                  <a:pt x="2086016" y="859233"/>
                </a:lnTo>
                <a:lnTo>
                  <a:pt x="2083629" y="852304"/>
                </a:lnTo>
                <a:lnTo>
                  <a:pt x="2079179" y="851330"/>
                </a:lnTo>
                <a:lnTo>
                  <a:pt x="2073645" y="845159"/>
                </a:lnTo>
                <a:lnTo>
                  <a:pt x="2075381" y="840936"/>
                </a:lnTo>
                <a:lnTo>
                  <a:pt x="2073645" y="837905"/>
                </a:lnTo>
                <a:lnTo>
                  <a:pt x="2070824" y="842668"/>
                </a:lnTo>
                <a:lnTo>
                  <a:pt x="2065615" y="838554"/>
                </a:lnTo>
                <a:lnTo>
                  <a:pt x="2067351" y="832058"/>
                </a:lnTo>
                <a:lnTo>
                  <a:pt x="2062902" y="828268"/>
                </a:lnTo>
                <a:lnTo>
                  <a:pt x="2061491" y="831625"/>
                </a:lnTo>
                <a:lnTo>
                  <a:pt x="2062576" y="834440"/>
                </a:lnTo>
                <a:lnTo>
                  <a:pt x="2058453" y="836822"/>
                </a:lnTo>
                <a:lnTo>
                  <a:pt x="2053570" y="830650"/>
                </a:lnTo>
                <a:lnTo>
                  <a:pt x="2052593" y="825886"/>
                </a:lnTo>
                <a:lnTo>
                  <a:pt x="2063227" y="819282"/>
                </a:lnTo>
                <a:lnTo>
                  <a:pt x="2066374" y="819932"/>
                </a:lnTo>
                <a:lnTo>
                  <a:pt x="2069522" y="818633"/>
                </a:lnTo>
                <a:lnTo>
                  <a:pt x="2077118" y="819282"/>
                </a:lnTo>
                <a:lnTo>
                  <a:pt x="2079831" y="815168"/>
                </a:lnTo>
                <a:lnTo>
                  <a:pt x="2083629" y="815168"/>
                </a:lnTo>
                <a:lnTo>
                  <a:pt x="2086342" y="811054"/>
                </a:lnTo>
                <a:lnTo>
                  <a:pt x="2083954" y="806615"/>
                </a:lnTo>
                <a:lnTo>
                  <a:pt x="2087101" y="806181"/>
                </a:lnTo>
                <a:lnTo>
                  <a:pt x="2088078" y="800660"/>
                </a:lnTo>
                <a:lnTo>
                  <a:pt x="2090140" y="800984"/>
                </a:lnTo>
                <a:lnTo>
                  <a:pt x="2091876" y="807264"/>
                </a:lnTo>
                <a:lnTo>
                  <a:pt x="2095674" y="808672"/>
                </a:lnTo>
                <a:lnTo>
                  <a:pt x="2093938" y="801417"/>
                </a:lnTo>
                <a:lnTo>
                  <a:pt x="2097085" y="793081"/>
                </a:lnTo>
                <a:lnTo>
                  <a:pt x="2104029" y="787234"/>
                </a:lnTo>
                <a:close/>
                <a:moveTo>
                  <a:pt x="662713" y="784853"/>
                </a:moveTo>
                <a:lnTo>
                  <a:pt x="665426" y="788534"/>
                </a:lnTo>
                <a:lnTo>
                  <a:pt x="663905" y="791999"/>
                </a:lnTo>
                <a:lnTo>
                  <a:pt x="660976" y="792541"/>
                </a:lnTo>
                <a:lnTo>
                  <a:pt x="654900" y="786802"/>
                </a:lnTo>
                <a:lnTo>
                  <a:pt x="657069" y="785286"/>
                </a:lnTo>
                <a:close/>
                <a:moveTo>
                  <a:pt x="2601686" y="783878"/>
                </a:moveTo>
                <a:lnTo>
                  <a:pt x="2603314" y="787126"/>
                </a:lnTo>
                <a:lnTo>
                  <a:pt x="2604833" y="786693"/>
                </a:lnTo>
                <a:lnTo>
                  <a:pt x="2607438" y="788317"/>
                </a:lnTo>
                <a:lnTo>
                  <a:pt x="2603857" y="791023"/>
                </a:lnTo>
                <a:lnTo>
                  <a:pt x="2602012" y="795355"/>
                </a:lnTo>
                <a:lnTo>
                  <a:pt x="2600492" y="796221"/>
                </a:lnTo>
                <a:lnTo>
                  <a:pt x="2598756" y="792539"/>
                </a:lnTo>
                <a:lnTo>
                  <a:pt x="2599733" y="790374"/>
                </a:lnTo>
                <a:lnTo>
                  <a:pt x="2599407" y="785719"/>
                </a:lnTo>
                <a:close/>
                <a:moveTo>
                  <a:pt x="2938088" y="780631"/>
                </a:moveTo>
                <a:lnTo>
                  <a:pt x="2940150" y="781931"/>
                </a:lnTo>
                <a:lnTo>
                  <a:pt x="2937763" y="784313"/>
                </a:lnTo>
                <a:lnTo>
                  <a:pt x="2936461" y="783771"/>
                </a:lnTo>
                <a:lnTo>
                  <a:pt x="2936461" y="781714"/>
                </a:lnTo>
                <a:close/>
                <a:moveTo>
                  <a:pt x="2946335" y="779006"/>
                </a:moveTo>
                <a:lnTo>
                  <a:pt x="2946986" y="781279"/>
                </a:lnTo>
                <a:lnTo>
                  <a:pt x="2944381" y="781930"/>
                </a:lnTo>
                <a:lnTo>
                  <a:pt x="2944056" y="780197"/>
                </a:lnTo>
                <a:close/>
                <a:moveTo>
                  <a:pt x="2609933" y="776408"/>
                </a:moveTo>
                <a:lnTo>
                  <a:pt x="2611777" y="779548"/>
                </a:lnTo>
                <a:lnTo>
                  <a:pt x="2610584" y="783337"/>
                </a:lnTo>
                <a:lnTo>
                  <a:pt x="2608522" y="783987"/>
                </a:lnTo>
                <a:lnTo>
                  <a:pt x="2607437" y="781279"/>
                </a:lnTo>
                <a:lnTo>
                  <a:pt x="2607437" y="778032"/>
                </a:lnTo>
                <a:close/>
                <a:moveTo>
                  <a:pt x="2015587" y="776083"/>
                </a:moveTo>
                <a:lnTo>
                  <a:pt x="2016130" y="778140"/>
                </a:lnTo>
                <a:lnTo>
                  <a:pt x="2015262" y="780847"/>
                </a:lnTo>
                <a:lnTo>
                  <a:pt x="2013852" y="780197"/>
                </a:lnTo>
                <a:lnTo>
                  <a:pt x="2013960" y="777815"/>
                </a:lnTo>
                <a:close/>
                <a:moveTo>
                  <a:pt x="2603423" y="774459"/>
                </a:moveTo>
                <a:lnTo>
                  <a:pt x="2603531" y="779006"/>
                </a:lnTo>
                <a:lnTo>
                  <a:pt x="2601903" y="779873"/>
                </a:lnTo>
                <a:lnTo>
                  <a:pt x="2601578" y="776408"/>
                </a:lnTo>
                <a:close/>
                <a:moveTo>
                  <a:pt x="2951001" y="773918"/>
                </a:moveTo>
                <a:lnTo>
                  <a:pt x="2950784" y="775759"/>
                </a:lnTo>
                <a:lnTo>
                  <a:pt x="2948723" y="777167"/>
                </a:lnTo>
                <a:lnTo>
                  <a:pt x="2947529" y="777058"/>
                </a:lnTo>
                <a:close/>
                <a:moveTo>
                  <a:pt x="2937220" y="766988"/>
                </a:moveTo>
                <a:lnTo>
                  <a:pt x="2937437" y="768937"/>
                </a:lnTo>
                <a:lnTo>
                  <a:pt x="2936026" y="769045"/>
                </a:lnTo>
                <a:lnTo>
                  <a:pt x="2932336" y="770670"/>
                </a:lnTo>
                <a:lnTo>
                  <a:pt x="2930600" y="769262"/>
                </a:lnTo>
                <a:lnTo>
                  <a:pt x="2932445" y="767096"/>
                </a:lnTo>
                <a:close/>
                <a:moveTo>
                  <a:pt x="2947746" y="766230"/>
                </a:moveTo>
                <a:lnTo>
                  <a:pt x="2951544" y="766230"/>
                </a:lnTo>
                <a:lnTo>
                  <a:pt x="2951761" y="768720"/>
                </a:lnTo>
                <a:lnTo>
                  <a:pt x="2947420" y="772509"/>
                </a:lnTo>
                <a:lnTo>
                  <a:pt x="2939716" y="778572"/>
                </a:lnTo>
                <a:lnTo>
                  <a:pt x="2938631" y="779331"/>
                </a:lnTo>
                <a:lnTo>
                  <a:pt x="2937328" y="779222"/>
                </a:lnTo>
                <a:lnTo>
                  <a:pt x="2937437" y="777056"/>
                </a:lnTo>
                <a:lnTo>
                  <a:pt x="2937003" y="774350"/>
                </a:lnTo>
                <a:lnTo>
                  <a:pt x="2938848" y="773050"/>
                </a:lnTo>
                <a:lnTo>
                  <a:pt x="2940584" y="770128"/>
                </a:lnTo>
                <a:lnTo>
                  <a:pt x="2943623" y="769803"/>
                </a:lnTo>
                <a:close/>
                <a:moveTo>
                  <a:pt x="2948614" y="755078"/>
                </a:moveTo>
                <a:lnTo>
                  <a:pt x="2950893" y="756268"/>
                </a:lnTo>
                <a:lnTo>
                  <a:pt x="2949917" y="758651"/>
                </a:lnTo>
                <a:lnTo>
                  <a:pt x="2947638" y="758651"/>
                </a:lnTo>
                <a:cubicBezTo>
                  <a:pt x="2946913" y="758364"/>
                  <a:pt x="2946222" y="758001"/>
                  <a:pt x="2945576" y="757568"/>
                </a:cubicBezTo>
                <a:close/>
                <a:moveTo>
                  <a:pt x="2939173" y="753022"/>
                </a:moveTo>
                <a:lnTo>
                  <a:pt x="2942211" y="753347"/>
                </a:lnTo>
                <a:lnTo>
                  <a:pt x="2944381" y="753347"/>
                </a:lnTo>
                <a:lnTo>
                  <a:pt x="2943513" y="754863"/>
                </a:lnTo>
                <a:lnTo>
                  <a:pt x="2939933" y="754972"/>
                </a:lnTo>
                <a:close/>
                <a:moveTo>
                  <a:pt x="2942862" y="744251"/>
                </a:moveTo>
                <a:lnTo>
                  <a:pt x="2942536" y="745767"/>
                </a:lnTo>
                <a:lnTo>
                  <a:pt x="2940258" y="746741"/>
                </a:lnTo>
                <a:lnTo>
                  <a:pt x="2940909" y="744467"/>
                </a:lnTo>
                <a:close/>
                <a:moveTo>
                  <a:pt x="4901913" y="743061"/>
                </a:moveTo>
                <a:lnTo>
                  <a:pt x="4905712" y="743061"/>
                </a:lnTo>
                <a:lnTo>
                  <a:pt x="4910161" y="745985"/>
                </a:lnTo>
                <a:lnTo>
                  <a:pt x="4921664" y="747716"/>
                </a:lnTo>
                <a:lnTo>
                  <a:pt x="4930453" y="747716"/>
                </a:lnTo>
                <a:lnTo>
                  <a:pt x="4932407" y="749773"/>
                </a:lnTo>
                <a:lnTo>
                  <a:pt x="4931213" y="752481"/>
                </a:lnTo>
                <a:lnTo>
                  <a:pt x="4924811" y="754971"/>
                </a:lnTo>
                <a:lnTo>
                  <a:pt x="4923075" y="757028"/>
                </a:lnTo>
                <a:lnTo>
                  <a:pt x="4927415" y="755728"/>
                </a:lnTo>
                <a:lnTo>
                  <a:pt x="4931539" y="754971"/>
                </a:lnTo>
                <a:lnTo>
                  <a:pt x="4932516" y="759085"/>
                </a:lnTo>
                <a:lnTo>
                  <a:pt x="4931647" y="768179"/>
                </a:lnTo>
                <a:lnTo>
                  <a:pt x="4926330" y="771428"/>
                </a:lnTo>
                <a:lnTo>
                  <a:pt x="4919818" y="770887"/>
                </a:lnTo>
                <a:lnTo>
                  <a:pt x="4918733" y="772510"/>
                </a:lnTo>
                <a:lnTo>
                  <a:pt x="4921664" y="774676"/>
                </a:lnTo>
                <a:lnTo>
                  <a:pt x="4925353" y="772944"/>
                </a:lnTo>
                <a:lnTo>
                  <a:pt x="4929477" y="774026"/>
                </a:lnTo>
                <a:lnTo>
                  <a:pt x="4930019" y="776950"/>
                </a:lnTo>
                <a:lnTo>
                  <a:pt x="4927741" y="780956"/>
                </a:lnTo>
                <a:lnTo>
                  <a:pt x="4928826" y="783987"/>
                </a:lnTo>
                <a:lnTo>
                  <a:pt x="4930888" y="797088"/>
                </a:lnTo>
                <a:lnTo>
                  <a:pt x="4934360" y="803909"/>
                </a:lnTo>
                <a:lnTo>
                  <a:pt x="4934685" y="815711"/>
                </a:lnTo>
                <a:lnTo>
                  <a:pt x="4939135" y="823289"/>
                </a:lnTo>
                <a:lnTo>
                  <a:pt x="4942282" y="833576"/>
                </a:lnTo>
                <a:lnTo>
                  <a:pt x="4950529" y="843536"/>
                </a:lnTo>
                <a:lnTo>
                  <a:pt x="4956497" y="853930"/>
                </a:lnTo>
                <a:lnTo>
                  <a:pt x="4961598" y="853930"/>
                </a:lnTo>
                <a:lnTo>
                  <a:pt x="4964420" y="858694"/>
                </a:lnTo>
                <a:lnTo>
                  <a:pt x="4972341" y="864865"/>
                </a:lnTo>
                <a:lnTo>
                  <a:pt x="4977115" y="864865"/>
                </a:lnTo>
                <a:lnTo>
                  <a:pt x="4980588" y="871145"/>
                </a:lnTo>
                <a:lnTo>
                  <a:pt x="4984386" y="872120"/>
                </a:lnTo>
                <a:lnTo>
                  <a:pt x="4987099" y="870820"/>
                </a:lnTo>
                <a:lnTo>
                  <a:pt x="4992308" y="874610"/>
                </a:lnTo>
                <a:lnTo>
                  <a:pt x="4992525" y="877100"/>
                </a:lnTo>
                <a:lnTo>
                  <a:pt x="4991331" y="880023"/>
                </a:lnTo>
                <a:lnTo>
                  <a:pt x="4988184" y="884029"/>
                </a:lnTo>
                <a:lnTo>
                  <a:pt x="4985471" y="884029"/>
                </a:lnTo>
                <a:lnTo>
                  <a:pt x="4983193" y="882947"/>
                </a:lnTo>
                <a:lnTo>
                  <a:pt x="4982325" y="884571"/>
                </a:lnTo>
                <a:lnTo>
                  <a:pt x="4984712" y="886520"/>
                </a:lnTo>
                <a:lnTo>
                  <a:pt x="4987642" y="886736"/>
                </a:lnTo>
                <a:lnTo>
                  <a:pt x="4989595" y="890309"/>
                </a:lnTo>
                <a:lnTo>
                  <a:pt x="4988727" y="894098"/>
                </a:lnTo>
                <a:lnTo>
                  <a:pt x="4986556" y="895290"/>
                </a:lnTo>
                <a:lnTo>
                  <a:pt x="4983626" y="893341"/>
                </a:lnTo>
                <a:lnTo>
                  <a:pt x="4982108" y="888902"/>
                </a:lnTo>
                <a:lnTo>
                  <a:pt x="4980805" y="888793"/>
                </a:lnTo>
                <a:lnTo>
                  <a:pt x="4978960" y="886520"/>
                </a:lnTo>
                <a:lnTo>
                  <a:pt x="4974077" y="883921"/>
                </a:lnTo>
                <a:lnTo>
                  <a:pt x="4972124" y="884787"/>
                </a:lnTo>
                <a:lnTo>
                  <a:pt x="4972124" y="886845"/>
                </a:lnTo>
                <a:lnTo>
                  <a:pt x="4976139" y="890092"/>
                </a:lnTo>
                <a:lnTo>
                  <a:pt x="4976139" y="892908"/>
                </a:lnTo>
                <a:lnTo>
                  <a:pt x="4972775" y="893232"/>
                </a:lnTo>
                <a:lnTo>
                  <a:pt x="4967458" y="890634"/>
                </a:lnTo>
                <a:lnTo>
                  <a:pt x="4964636" y="886845"/>
                </a:lnTo>
                <a:lnTo>
                  <a:pt x="4962791" y="887602"/>
                </a:lnTo>
                <a:lnTo>
                  <a:pt x="4961707" y="891716"/>
                </a:lnTo>
                <a:lnTo>
                  <a:pt x="4959970" y="891933"/>
                </a:lnTo>
                <a:lnTo>
                  <a:pt x="4957800" y="887169"/>
                </a:lnTo>
                <a:lnTo>
                  <a:pt x="4955738" y="883704"/>
                </a:lnTo>
                <a:lnTo>
                  <a:pt x="4951072" y="880890"/>
                </a:lnTo>
                <a:lnTo>
                  <a:pt x="4947599" y="880023"/>
                </a:lnTo>
                <a:lnTo>
                  <a:pt x="4945537" y="881214"/>
                </a:lnTo>
                <a:lnTo>
                  <a:pt x="4947708" y="882622"/>
                </a:lnTo>
                <a:lnTo>
                  <a:pt x="4953893" y="885437"/>
                </a:lnTo>
                <a:lnTo>
                  <a:pt x="4954978" y="890309"/>
                </a:lnTo>
                <a:lnTo>
                  <a:pt x="4951722" y="894207"/>
                </a:lnTo>
                <a:lnTo>
                  <a:pt x="4948468" y="894423"/>
                </a:lnTo>
                <a:lnTo>
                  <a:pt x="4944778" y="891392"/>
                </a:lnTo>
                <a:lnTo>
                  <a:pt x="4942933" y="884896"/>
                </a:lnTo>
                <a:lnTo>
                  <a:pt x="4941305" y="881972"/>
                </a:lnTo>
                <a:lnTo>
                  <a:pt x="4938592" y="881106"/>
                </a:lnTo>
                <a:lnTo>
                  <a:pt x="4938918" y="885437"/>
                </a:lnTo>
                <a:lnTo>
                  <a:pt x="4932949" y="882947"/>
                </a:lnTo>
                <a:lnTo>
                  <a:pt x="4928066" y="884246"/>
                </a:lnTo>
                <a:lnTo>
                  <a:pt x="4923291" y="881972"/>
                </a:lnTo>
                <a:lnTo>
                  <a:pt x="4916237" y="881214"/>
                </a:lnTo>
                <a:lnTo>
                  <a:pt x="4913634" y="878724"/>
                </a:lnTo>
                <a:lnTo>
                  <a:pt x="4913416" y="875801"/>
                </a:lnTo>
                <a:lnTo>
                  <a:pt x="4916237" y="876667"/>
                </a:lnTo>
                <a:lnTo>
                  <a:pt x="4918950" y="876451"/>
                </a:lnTo>
                <a:lnTo>
                  <a:pt x="4918625" y="872986"/>
                </a:lnTo>
                <a:lnTo>
                  <a:pt x="4914284" y="869196"/>
                </a:lnTo>
                <a:lnTo>
                  <a:pt x="4915152" y="866490"/>
                </a:lnTo>
                <a:lnTo>
                  <a:pt x="4918408" y="864433"/>
                </a:lnTo>
                <a:lnTo>
                  <a:pt x="4919927" y="861509"/>
                </a:lnTo>
                <a:lnTo>
                  <a:pt x="4922532" y="861509"/>
                </a:lnTo>
                <a:lnTo>
                  <a:pt x="4923725" y="859560"/>
                </a:lnTo>
                <a:lnTo>
                  <a:pt x="4921555" y="858369"/>
                </a:lnTo>
                <a:lnTo>
                  <a:pt x="4918300" y="860643"/>
                </a:lnTo>
                <a:lnTo>
                  <a:pt x="4914502" y="860859"/>
                </a:lnTo>
                <a:lnTo>
                  <a:pt x="4908967" y="857503"/>
                </a:lnTo>
                <a:lnTo>
                  <a:pt x="4904301" y="850357"/>
                </a:lnTo>
                <a:lnTo>
                  <a:pt x="4904084" y="846027"/>
                </a:lnTo>
                <a:lnTo>
                  <a:pt x="4904843" y="843969"/>
                </a:lnTo>
                <a:lnTo>
                  <a:pt x="4903650" y="841588"/>
                </a:lnTo>
                <a:lnTo>
                  <a:pt x="4901045" y="846351"/>
                </a:lnTo>
                <a:lnTo>
                  <a:pt x="4901045" y="849599"/>
                </a:lnTo>
                <a:lnTo>
                  <a:pt x="4897899" y="851873"/>
                </a:lnTo>
                <a:lnTo>
                  <a:pt x="4894969" y="851007"/>
                </a:lnTo>
                <a:lnTo>
                  <a:pt x="4893233" y="844835"/>
                </a:lnTo>
                <a:lnTo>
                  <a:pt x="4891171" y="841588"/>
                </a:lnTo>
                <a:lnTo>
                  <a:pt x="4891387" y="838123"/>
                </a:lnTo>
                <a:lnTo>
                  <a:pt x="4893666" y="832601"/>
                </a:lnTo>
                <a:lnTo>
                  <a:pt x="4890736" y="836931"/>
                </a:lnTo>
                <a:lnTo>
                  <a:pt x="4889651" y="841588"/>
                </a:lnTo>
                <a:lnTo>
                  <a:pt x="4891171" y="847867"/>
                </a:lnTo>
                <a:lnTo>
                  <a:pt x="4887264" y="853930"/>
                </a:lnTo>
                <a:lnTo>
                  <a:pt x="4883466" y="855013"/>
                </a:lnTo>
                <a:lnTo>
                  <a:pt x="4881078" y="856312"/>
                </a:lnTo>
                <a:lnTo>
                  <a:pt x="4876737" y="854580"/>
                </a:lnTo>
                <a:lnTo>
                  <a:pt x="4870335" y="849599"/>
                </a:lnTo>
                <a:lnTo>
                  <a:pt x="4870226" y="846676"/>
                </a:lnTo>
                <a:lnTo>
                  <a:pt x="4863824" y="841370"/>
                </a:lnTo>
                <a:lnTo>
                  <a:pt x="4862630" y="837040"/>
                </a:lnTo>
                <a:lnTo>
                  <a:pt x="4863607" y="831735"/>
                </a:lnTo>
                <a:lnTo>
                  <a:pt x="4862197" y="825780"/>
                </a:lnTo>
                <a:lnTo>
                  <a:pt x="4862088" y="820907"/>
                </a:lnTo>
                <a:lnTo>
                  <a:pt x="4866211" y="815819"/>
                </a:lnTo>
                <a:lnTo>
                  <a:pt x="4869250" y="815386"/>
                </a:lnTo>
                <a:lnTo>
                  <a:pt x="4872722" y="817335"/>
                </a:lnTo>
                <a:lnTo>
                  <a:pt x="4877063" y="816144"/>
                </a:lnTo>
                <a:lnTo>
                  <a:pt x="4879450" y="817335"/>
                </a:lnTo>
                <a:lnTo>
                  <a:pt x="4881512" y="815602"/>
                </a:lnTo>
                <a:lnTo>
                  <a:pt x="4879017" y="810838"/>
                </a:lnTo>
                <a:lnTo>
                  <a:pt x="4878799" y="807482"/>
                </a:lnTo>
                <a:lnTo>
                  <a:pt x="4881947" y="804558"/>
                </a:lnTo>
                <a:lnTo>
                  <a:pt x="4885202" y="804450"/>
                </a:lnTo>
                <a:lnTo>
                  <a:pt x="4887915" y="802935"/>
                </a:lnTo>
                <a:lnTo>
                  <a:pt x="4883140" y="802935"/>
                </a:lnTo>
                <a:lnTo>
                  <a:pt x="4879667" y="799145"/>
                </a:lnTo>
                <a:lnTo>
                  <a:pt x="4880535" y="795681"/>
                </a:lnTo>
                <a:lnTo>
                  <a:pt x="4884334" y="792216"/>
                </a:lnTo>
                <a:lnTo>
                  <a:pt x="4883248" y="790159"/>
                </a:lnTo>
                <a:lnTo>
                  <a:pt x="4880210" y="791025"/>
                </a:lnTo>
                <a:lnTo>
                  <a:pt x="4877063" y="794815"/>
                </a:lnTo>
                <a:lnTo>
                  <a:pt x="4874459" y="794815"/>
                </a:lnTo>
                <a:lnTo>
                  <a:pt x="4875327" y="790809"/>
                </a:lnTo>
                <a:lnTo>
                  <a:pt x="4879667" y="787019"/>
                </a:lnTo>
                <a:lnTo>
                  <a:pt x="4878582" y="784962"/>
                </a:lnTo>
                <a:lnTo>
                  <a:pt x="4872614" y="788318"/>
                </a:lnTo>
                <a:lnTo>
                  <a:pt x="4868816" y="789509"/>
                </a:lnTo>
                <a:lnTo>
                  <a:pt x="4866537" y="786911"/>
                </a:lnTo>
                <a:lnTo>
                  <a:pt x="4866863" y="781605"/>
                </a:lnTo>
                <a:lnTo>
                  <a:pt x="4870877" y="774676"/>
                </a:lnTo>
                <a:lnTo>
                  <a:pt x="4875869" y="773160"/>
                </a:lnTo>
                <a:lnTo>
                  <a:pt x="4880210" y="773269"/>
                </a:lnTo>
                <a:lnTo>
                  <a:pt x="4881187" y="770778"/>
                </a:lnTo>
                <a:lnTo>
                  <a:pt x="4879450" y="769046"/>
                </a:lnTo>
                <a:lnTo>
                  <a:pt x="4875327" y="768505"/>
                </a:lnTo>
                <a:lnTo>
                  <a:pt x="4874133" y="763849"/>
                </a:lnTo>
                <a:lnTo>
                  <a:pt x="4875652" y="760817"/>
                </a:lnTo>
                <a:lnTo>
                  <a:pt x="4876195" y="755404"/>
                </a:lnTo>
                <a:lnTo>
                  <a:pt x="4882380" y="750965"/>
                </a:lnTo>
                <a:lnTo>
                  <a:pt x="4885310" y="748583"/>
                </a:lnTo>
                <a:lnTo>
                  <a:pt x="4893449" y="748583"/>
                </a:lnTo>
                <a:close/>
                <a:moveTo>
                  <a:pt x="2942863" y="738947"/>
                </a:moveTo>
                <a:lnTo>
                  <a:pt x="2944925" y="740030"/>
                </a:lnTo>
                <a:lnTo>
                  <a:pt x="2943622" y="741437"/>
                </a:lnTo>
                <a:lnTo>
                  <a:pt x="2942212" y="740571"/>
                </a:lnTo>
                <a:close/>
                <a:moveTo>
                  <a:pt x="2949700" y="738838"/>
                </a:moveTo>
                <a:lnTo>
                  <a:pt x="2950893" y="739054"/>
                </a:lnTo>
                <a:lnTo>
                  <a:pt x="2951327" y="740246"/>
                </a:lnTo>
                <a:lnTo>
                  <a:pt x="2950459" y="740246"/>
                </a:lnTo>
                <a:close/>
                <a:moveTo>
                  <a:pt x="2936677" y="738405"/>
                </a:moveTo>
                <a:lnTo>
                  <a:pt x="2937546" y="740245"/>
                </a:lnTo>
                <a:lnTo>
                  <a:pt x="2935918" y="741870"/>
                </a:lnTo>
                <a:lnTo>
                  <a:pt x="2935375" y="740570"/>
                </a:lnTo>
                <a:close/>
                <a:moveTo>
                  <a:pt x="4253961" y="738296"/>
                </a:moveTo>
                <a:lnTo>
                  <a:pt x="4258302" y="738621"/>
                </a:lnTo>
                <a:lnTo>
                  <a:pt x="4261557" y="742085"/>
                </a:lnTo>
                <a:lnTo>
                  <a:pt x="4261015" y="748473"/>
                </a:lnTo>
                <a:lnTo>
                  <a:pt x="4259170" y="751396"/>
                </a:lnTo>
                <a:lnTo>
                  <a:pt x="4257433" y="750314"/>
                </a:lnTo>
                <a:lnTo>
                  <a:pt x="4256891" y="747282"/>
                </a:lnTo>
                <a:lnTo>
                  <a:pt x="4253852" y="744900"/>
                </a:lnTo>
                <a:lnTo>
                  <a:pt x="4252659" y="741219"/>
                </a:lnTo>
                <a:close/>
                <a:moveTo>
                  <a:pt x="3572041" y="734507"/>
                </a:moveTo>
                <a:lnTo>
                  <a:pt x="3581590" y="740137"/>
                </a:lnTo>
                <a:lnTo>
                  <a:pt x="3581807" y="746200"/>
                </a:lnTo>
                <a:lnTo>
                  <a:pt x="3580071" y="749123"/>
                </a:lnTo>
                <a:lnTo>
                  <a:pt x="3579203" y="753562"/>
                </a:lnTo>
                <a:lnTo>
                  <a:pt x="3575297" y="755945"/>
                </a:lnTo>
                <a:lnTo>
                  <a:pt x="3569979" y="755294"/>
                </a:lnTo>
                <a:lnTo>
                  <a:pt x="3566615" y="755294"/>
                </a:lnTo>
                <a:lnTo>
                  <a:pt x="3562166" y="750964"/>
                </a:lnTo>
                <a:lnTo>
                  <a:pt x="3558693" y="749773"/>
                </a:lnTo>
                <a:lnTo>
                  <a:pt x="3555439" y="747499"/>
                </a:lnTo>
                <a:lnTo>
                  <a:pt x="3555330" y="743602"/>
                </a:lnTo>
                <a:lnTo>
                  <a:pt x="3559020" y="736889"/>
                </a:lnTo>
                <a:lnTo>
                  <a:pt x="3565639" y="735698"/>
                </a:lnTo>
                <a:close/>
                <a:moveTo>
                  <a:pt x="2074404" y="729635"/>
                </a:moveTo>
                <a:lnTo>
                  <a:pt x="2076032" y="731584"/>
                </a:lnTo>
                <a:lnTo>
                  <a:pt x="2075706" y="733857"/>
                </a:lnTo>
                <a:lnTo>
                  <a:pt x="2077985" y="736456"/>
                </a:lnTo>
                <a:lnTo>
                  <a:pt x="2075598" y="739163"/>
                </a:lnTo>
                <a:lnTo>
                  <a:pt x="2075164" y="743926"/>
                </a:lnTo>
                <a:lnTo>
                  <a:pt x="2072993" y="744143"/>
                </a:lnTo>
                <a:lnTo>
                  <a:pt x="2072017" y="738188"/>
                </a:lnTo>
                <a:lnTo>
                  <a:pt x="2070498" y="736456"/>
                </a:lnTo>
                <a:lnTo>
                  <a:pt x="2071583" y="730718"/>
                </a:lnTo>
                <a:close/>
                <a:moveTo>
                  <a:pt x="3609697" y="726928"/>
                </a:moveTo>
                <a:lnTo>
                  <a:pt x="3609914" y="729526"/>
                </a:lnTo>
                <a:lnTo>
                  <a:pt x="3606550" y="733207"/>
                </a:lnTo>
                <a:lnTo>
                  <a:pt x="3604055" y="732882"/>
                </a:lnTo>
                <a:lnTo>
                  <a:pt x="3604272" y="729309"/>
                </a:lnTo>
                <a:lnTo>
                  <a:pt x="3607202" y="727144"/>
                </a:lnTo>
                <a:close/>
                <a:moveTo>
                  <a:pt x="2943946" y="726712"/>
                </a:moveTo>
                <a:lnTo>
                  <a:pt x="2945031" y="729635"/>
                </a:lnTo>
                <a:lnTo>
                  <a:pt x="2946550" y="732559"/>
                </a:lnTo>
                <a:lnTo>
                  <a:pt x="2945357" y="734075"/>
                </a:lnTo>
                <a:lnTo>
                  <a:pt x="2943404" y="733749"/>
                </a:lnTo>
                <a:lnTo>
                  <a:pt x="2943296" y="728661"/>
                </a:lnTo>
                <a:close/>
                <a:moveTo>
                  <a:pt x="482573" y="722164"/>
                </a:moveTo>
                <a:lnTo>
                  <a:pt x="485396" y="722164"/>
                </a:lnTo>
                <a:lnTo>
                  <a:pt x="485396" y="731150"/>
                </a:lnTo>
                <a:lnTo>
                  <a:pt x="483227" y="734182"/>
                </a:lnTo>
                <a:lnTo>
                  <a:pt x="489303" y="736456"/>
                </a:lnTo>
                <a:lnTo>
                  <a:pt x="489522" y="739596"/>
                </a:lnTo>
                <a:lnTo>
                  <a:pt x="494947" y="740245"/>
                </a:lnTo>
                <a:lnTo>
                  <a:pt x="497441" y="737972"/>
                </a:lnTo>
                <a:lnTo>
                  <a:pt x="506340" y="738837"/>
                </a:lnTo>
                <a:lnTo>
                  <a:pt x="511006" y="743385"/>
                </a:lnTo>
                <a:lnTo>
                  <a:pt x="510463" y="746308"/>
                </a:lnTo>
                <a:lnTo>
                  <a:pt x="507750" y="748798"/>
                </a:lnTo>
                <a:lnTo>
                  <a:pt x="510463" y="754862"/>
                </a:lnTo>
                <a:lnTo>
                  <a:pt x="515130" y="758110"/>
                </a:lnTo>
                <a:lnTo>
                  <a:pt x="515021" y="762982"/>
                </a:lnTo>
                <a:lnTo>
                  <a:pt x="523810" y="771319"/>
                </a:lnTo>
                <a:lnTo>
                  <a:pt x="525115" y="775867"/>
                </a:lnTo>
                <a:lnTo>
                  <a:pt x="521206" y="778573"/>
                </a:lnTo>
                <a:lnTo>
                  <a:pt x="515021" y="774675"/>
                </a:lnTo>
                <a:lnTo>
                  <a:pt x="512417" y="775650"/>
                </a:lnTo>
                <a:lnTo>
                  <a:pt x="510463" y="778032"/>
                </a:lnTo>
                <a:lnTo>
                  <a:pt x="505689" y="778249"/>
                </a:lnTo>
                <a:lnTo>
                  <a:pt x="498962" y="783770"/>
                </a:lnTo>
                <a:lnTo>
                  <a:pt x="494947" y="781821"/>
                </a:lnTo>
                <a:lnTo>
                  <a:pt x="499286" y="775650"/>
                </a:lnTo>
                <a:lnTo>
                  <a:pt x="497875" y="770020"/>
                </a:lnTo>
                <a:lnTo>
                  <a:pt x="492558" y="767205"/>
                </a:lnTo>
                <a:lnTo>
                  <a:pt x="493753" y="761250"/>
                </a:lnTo>
                <a:lnTo>
                  <a:pt x="492015" y="753346"/>
                </a:lnTo>
                <a:lnTo>
                  <a:pt x="486914" y="749231"/>
                </a:lnTo>
                <a:lnTo>
                  <a:pt x="478993" y="749015"/>
                </a:lnTo>
                <a:lnTo>
                  <a:pt x="477258" y="753021"/>
                </a:lnTo>
                <a:lnTo>
                  <a:pt x="472373" y="753129"/>
                </a:lnTo>
                <a:lnTo>
                  <a:pt x="467599" y="747500"/>
                </a:lnTo>
                <a:lnTo>
                  <a:pt x="467599" y="741436"/>
                </a:lnTo>
                <a:lnTo>
                  <a:pt x="478669" y="731475"/>
                </a:lnTo>
                <a:close/>
                <a:moveTo>
                  <a:pt x="5329904" y="717834"/>
                </a:moveTo>
                <a:lnTo>
                  <a:pt x="5334787" y="718483"/>
                </a:lnTo>
                <a:lnTo>
                  <a:pt x="5337066" y="719783"/>
                </a:lnTo>
                <a:lnTo>
                  <a:pt x="5337500" y="723464"/>
                </a:lnTo>
                <a:lnTo>
                  <a:pt x="5333376" y="728877"/>
                </a:lnTo>
                <a:lnTo>
                  <a:pt x="5329578" y="730610"/>
                </a:lnTo>
                <a:lnTo>
                  <a:pt x="5326323" y="735915"/>
                </a:lnTo>
                <a:lnTo>
                  <a:pt x="5323284" y="737431"/>
                </a:lnTo>
                <a:lnTo>
                  <a:pt x="5318509" y="741546"/>
                </a:lnTo>
                <a:lnTo>
                  <a:pt x="5315905" y="741979"/>
                </a:lnTo>
                <a:lnTo>
                  <a:pt x="5313626" y="738947"/>
                </a:lnTo>
                <a:lnTo>
                  <a:pt x="5314386" y="734508"/>
                </a:lnTo>
                <a:lnTo>
                  <a:pt x="5317099" y="732559"/>
                </a:lnTo>
                <a:lnTo>
                  <a:pt x="5320245" y="728228"/>
                </a:lnTo>
                <a:lnTo>
                  <a:pt x="5319703" y="723681"/>
                </a:lnTo>
                <a:lnTo>
                  <a:pt x="5322958" y="719783"/>
                </a:lnTo>
                <a:close/>
                <a:moveTo>
                  <a:pt x="2938088" y="713286"/>
                </a:moveTo>
                <a:lnTo>
                  <a:pt x="2939824" y="714261"/>
                </a:lnTo>
                <a:lnTo>
                  <a:pt x="2944707" y="715126"/>
                </a:lnTo>
                <a:lnTo>
                  <a:pt x="2941669" y="717508"/>
                </a:lnTo>
                <a:lnTo>
                  <a:pt x="2938088" y="716750"/>
                </a:lnTo>
                <a:lnTo>
                  <a:pt x="2937003" y="714693"/>
                </a:lnTo>
                <a:close/>
                <a:moveTo>
                  <a:pt x="2511834" y="712529"/>
                </a:moveTo>
                <a:lnTo>
                  <a:pt x="2515089" y="715235"/>
                </a:lnTo>
                <a:lnTo>
                  <a:pt x="2513570" y="716643"/>
                </a:lnTo>
                <a:lnTo>
                  <a:pt x="2510314" y="715777"/>
                </a:lnTo>
                <a:lnTo>
                  <a:pt x="2509772" y="712962"/>
                </a:lnTo>
                <a:close/>
                <a:moveTo>
                  <a:pt x="2501308" y="711988"/>
                </a:moveTo>
                <a:lnTo>
                  <a:pt x="2503045" y="712204"/>
                </a:lnTo>
                <a:lnTo>
                  <a:pt x="2503587" y="715452"/>
                </a:lnTo>
                <a:lnTo>
                  <a:pt x="2501091" y="716643"/>
                </a:lnTo>
                <a:lnTo>
                  <a:pt x="2499355" y="713720"/>
                </a:lnTo>
                <a:close/>
                <a:moveTo>
                  <a:pt x="2163604" y="710363"/>
                </a:moveTo>
                <a:lnTo>
                  <a:pt x="2163604" y="714910"/>
                </a:lnTo>
                <a:lnTo>
                  <a:pt x="2161868" y="715669"/>
                </a:lnTo>
                <a:lnTo>
                  <a:pt x="2160349" y="714044"/>
                </a:lnTo>
                <a:lnTo>
                  <a:pt x="2161542" y="711121"/>
                </a:lnTo>
                <a:close/>
                <a:moveTo>
                  <a:pt x="3584196" y="706141"/>
                </a:moveTo>
                <a:lnTo>
                  <a:pt x="3587342" y="706682"/>
                </a:lnTo>
                <a:lnTo>
                  <a:pt x="3591792" y="709822"/>
                </a:lnTo>
                <a:lnTo>
                  <a:pt x="3592443" y="714045"/>
                </a:lnTo>
                <a:lnTo>
                  <a:pt x="3590381" y="716535"/>
                </a:lnTo>
                <a:lnTo>
                  <a:pt x="3590055" y="720432"/>
                </a:lnTo>
                <a:lnTo>
                  <a:pt x="3587886" y="722057"/>
                </a:lnTo>
                <a:lnTo>
                  <a:pt x="3583979" y="719133"/>
                </a:lnTo>
                <a:lnTo>
                  <a:pt x="3582351" y="715344"/>
                </a:lnTo>
                <a:lnTo>
                  <a:pt x="3582460" y="709172"/>
                </a:lnTo>
                <a:close/>
                <a:moveTo>
                  <a:pt x="2495230" y="705166"/>
                </a:moveTo>
                <a:lnTo>
                  <a:pt x="2496750" y="707223"/>
                </a:lnTo>
                <a:lnTo>
                  <a:pt x="2496750" y="710146"/>
                </a:lnTo>
                <a:lnTo>
                  <a:pt x="2493929" y="712421"/>
                </a:lnTo>
                <a:lnTo>
                  <a:pt x="2493495" y="707656"/>
                </a:lnTo>
                <a:close/>
                <a:moveTo>
                  <a:pt x="5254158" y="701593"/>
                </a:moveTo>
                <a:lnTo>
                  <a:pt x="5258390" y="702784"/>
                </a:lnTo>
                <a:lnTo>
                  <a:pt x="5259909" y="706032"/>
                </a:lnTo>
                <a:lnTo>
                  <a:pt x="5257522" y="708089"/>
                </a:lnTo>
                <a:lnTo>
                  <a:pt x="5257413" y="711338"/>
                </a:lnTo>
                <a:lnTo>
                  <a:pt x="5259909" y="713936"/>
                </a:lnTo>
                <a:lnTo>
                  <a:pt x="5260886" y="718592"/>
                </a:lnTo>
                <a:lnTo>
                  <a:pt x="5257413" y="718375"/>
                </a:lnTo>
                <a:lnTo>
                  <a:pt x="5254809" y="715344"/>
                </a:lnTo>
                <a:lnTo>
                  <a:pt x="5250903" y="714910"/>
                </a:lnTo>
                <a:lnTo>
                  <a:pt x="5249058" y="711554"/>
                </a:lnTo>
                <a:lnTo>
                  <a:pt x="5250468" y="703434"/>
                </a:lnTo>
                <a:close/>
                <a:moveTo>
                  <a:pt x="2945250" y="701376"/>
                </a:moveTo>
                <a:lnTo>
                  <a:pt x="2949590" y="704191"/>
                </a:lnTo>
                <a:lnTo>
                  <a:pt x="2951001" y="707007"/>
                </a:lnTo>
                <a:lnTo>
                  <a:pt x="2948289" y="708523"/>
                </a:lnTo>
                <a:lnTo>
                  <a:pt x="2946444" y="705815"/>
                </a:lnTo>
                <a:lnTo>
                  <a:pt x="2942971" y="705815"/>
                </a:lnTo>
                <a:lnTo>
                  <a:pt x="2941669" y="703433"/>
                </a:lnTo>
                <a:lnTo>
                  <a:pt x="2942646" y="701917"/>
                </a:lnTo>
                <a:close/>
                <a:moveTo>
                  <a:pt x="5181994" y="688600"/>
                </a:moveTo>
                <a:lnTo>
                  <a:pt x="5184707" y="690332"/>
                </a:lnTo>
                <a:lnTo>
                  <a:pt x="5188831" y="695421"/>
                </a:lnTo>
                <a:lnTo>
                  <a:pt x="5189699" y="699210"/>
                </a:lnTo>
                <a:lnTo>
                  <a:pt x="5196101" y="702459"/>
                </a:lnTo>
                <a:lnTo>
                  <a:pt x="5198489" y="707439"/>
                </a:lnTo>
                <a:lnTo>
                  <a:pt x="5197837" y="709930"/>
                </a:lnTo>
                <a:lnTo>
                  <a:pt x="5193063" y="711553"/>
                </a:lnTo>
                <a:lnTo>
                  <a:pt x="5188614" y="715451"/>
                </a:lnTo>
                <a:lnTo>
                  <a:pt x="5186878" y="719349"/>
                </a:lnTo>
                <a:lnTo>
                  <a:pt x="5183297" y="720216"/>
                </a:lnTo>
                <a:lnTo>
                  <a:pt x="5181452" y="719241"/>
                </a:lnTo>
                <a:lnTo>
                  <a:pt x="5178847" y="720432"/>
                </a:lnTo>
                <a:lnTo>
                  <a:pt x="5176894" y="715992"/>
                </a:lnTo>
                <a:lnTo>
                  <a:pt x="5174072" y="716210"/>
                </a:lnTo>
                <a:lnTo>
                  <a:pt x="5173747" y="719024"/>
                </a:lnTo>
                <a:lnTo>
                  <a:pt x="5174941" y="721731"/>
                </a:lnTo>
                <a:lnTo>
                  <a:pt x="5173096" y="721406"/>
                </a:lnTo>
                <a:lnTo>
                  <a:pt x="5168972" y="717833"/>
                </a:lnTo>
                <a:lnTo>
                  <a:pt x="5169623" y="711229"/>
                </a:lnTo>
                <a:lnTo>
                  <a:pt x="5168972" y="706790"/>
                </a:lnTo>
                <a:lnTo>
                  <a:pt x="5165825" y="702242"/>
                </a:lnTo>
                <a:lnTo>
                  <a:pt x="5165500" y="698669"/>
                </a:lnTo>
                <a:lnTo>
                  <a:pt x="5170275" y="694555"/>
                </a:lnTo>
                <a:lnTo>
                  <a:pt x="5174181" y="694230"/>
                </a:lnTo>
                <a:lnTo>
                  <a:pt x="5178413" y="690224"/>
                </a:lnTo>
                <a:close/>
                <a:moveTo>
                  <a:pt x="5276406" y="688275"/>
                </a:moveTo>
                <a:lnTo>
                  <a:pt x="5280855" y="690224"/>
                </a:lnTo>
                <a:lnTo>
                  <a:pt x="5287691" y="691198"/>
                </a:lnTo>
                <a:lnTo>
                  <a:pt x="5287908" y="693905"/>
                </a:lnTo>
                <a:lnTo>
                  <a:pt x="5284653" y="694663"/>
                </a:lnTo>
                <a:lnTo>
                  <a:pt x="5278467" y="693797"/>
                </a:lnTo>
                <a:lnTo>
                  <a:pt x="5273584" y="689574"/>
                </a:lnTo>
                <a:close/>
                <a:moveTo>
                  <a:pt x="3626625" y="683187"/>
                </a:moveTo>
                <a:lnTo>
                  <a:pt x="3629664" y="684811"/>
                </a:lnTo>
                <a:lnTo>
                  <a:pt x="3629338" y="688601"/>
                </a:lnTo>
                <a:lnTo>
                  <a:pt x="3627167" y="688601"/>
                </a:lnTo>
                <a:lnTo>
                  <a:pt x="3624889" y="690658"/>
                </a:lnTo>
                <a:lnTo>
                  <a:pt x="3628035" y="694447"/>
                </a:lnTo>
                <a:lnTo>
                  <a:pt x="3627602" y="697478"/>
                </a:lnTo>
                <a:lnTo>
                  <a:pt x="3630532" y="702134"/>
                </a:lnTo>
                <a:lnTo>
                  <a:pt x="3633461" y="703866"/>
                </a:lnTo>
                <a:lnTo>
                  <a:pt x="3633461" y="700943"/>
                </a:lnTo>
                <a:lnTo>
                  <a:pt x="3634655" y="697911"/>
                </a:lnTo>
                <a:lnTo>
                  <a:pt x="3637585" y="699752"/>
                </a:lnTo>
                <a:lnTo>
                  <a:pt x="3637585" y="706573"/>
                </a:lnTo>
                <a:lnTo>
                  <a:pt x="3635523" y="707980"/>
                </a:lnTo>
                <a:lnTo>
                  <a:pt x="3633353" y="712745"/>
                </a:lnTo>
                <a:lnTo>
                  <a:pt x="3630098" y="711229"/>
                </a:lnTo>
                <a:lnTo>
                  <a:pt x="3629230" y="707980"/>
                </a:lnTo>
                <a:lnTo>
                  <a:pt x="3627276" y="709496"/>
                </a:lnTo>
                <a:lnTo>
                  <a:pt x="3622284" y="709496"/>
                </a:lnTo>
                <a:lnTo>
                  <a:pt x="3617293" y="710579"/>
                </a:lnTo>
                <a:lnTo>
                  <a:pt x="3613169" y="707114"/>
                </a:lnTo>
                <a:lnTo>
                  <a:pt x="3611650" y="703000"/>
                </a:lnTo>
                <a:lnTo>
                  <a:pt x="3613386" y="697911"/>
                </a:lnTo>
                <a:lnTo>
                  <a:pt x="3613386" y="687842"/>
                </a:lnTo>
                <a:lnTo>
                  <a:pt x="3617076" y="687301"/>
                </a:lnTo>
                <a:lnTo>
                  <a:pt x="3618812" y="686219"/>
                </a:lnTo>
                <a:lnTo>
                  <a:pt x="3622501" y="686976"/>
                </a:lnTo>
                <a:close/>
                <a:moveTo>
                  <a:pt x="591198" y="681130"/>
                </a:moveTo>
                <a:lnTo>
                  <a:pt x="594672" y="681779"/>
                </a:lnTo>
                <a:lnTo>
                  <a:pt x="591308" y="685352"/>
                </a:lnTo>
                <a:lnTo>
                  <a:pt x="587726" y="681887"/>
                </a:lnTo>
                <a:close/>
                <a:moveTo>
                  <a:pt x="5336957" y="680155"/>
                </a:moveTo>
                <a:lnTo>
                  <a:pt x="5339344" y="685352"/>
                </a:lnTo>
                <a:lnTo>
                  <a:pt x="5344879" y="690116"/>
                </a:lnTo>
                <a:lnTo>
                  <a:pt x="5345856" y="696612"/>
                </a:lnTo>
                <a:lnTo>
                  <a:pt x="5349654" y="703542"/>
                </a:lnTo>
                <a:lnTo>
                  <a:pt x="5349545" y="706573"/>
                </a:lnTo>
                <a:lnTo>
                  <a:pt x="5345530" y="707981"/>
                </a:lnTo>
                <a:lnTo>
                  <a:pt x="5341623" y="706248"/>
                </a:lnTo>
                <a:lnTo>
                  <a:pt x="5336740" y="705707"/>
                </a:lnTo>
                <a:lnTo>
                  <a:pt x="5334895" y="703324"/>
                </a:lnTo>
                <a:lnTo>
                  <a:pt x="5329361" y="702459"/>
                </a:lnTo>
                <a:lnTo>
                  <a:pt x="5328710" y="698994"/>
                </a:lnTo>
                <a:lnTo>
                  <a:pt x="5331640" y="693255"/>
                </a:lnTo>
                <a:lnTo>
                  <a:pt x="5332833" y="685677"/>
                </a:lnTo>
                <a:close/>
                <a:moveTo>
                  <a:pt x="2942753" y="672252"/>
                </a:moveTo>
                <a:lnTo>
                  <a:pt x="2943296" y="674202"/>
                </a:lnTo>
                <a:lnTo>
                  <a:pt x="2941668" y="674202"/>
                </a:lnTo>
                <a:lnTo>
                  <a:pt x="2940475" y="672685"/>
                </a:lnTo>
                <a:close/>
                <a:moveTo>
                  <a:pt x="5265335" y="669762"/>
                </a:moveTo>
                <a:lnTo>
                  <a:pt x="5266637" y="671061"/>
                </a:lnTo>
                <a:lnTo>
                  <a:pt x="5264033" y="672576"/>
                </a:lnTo>
                <a:lnTo>
                  <a:pt x="5263273" y="675067"/>
                </a:lnTo>
                <a:lnTo>
                  <a:pt x="5264250" y="677665"/>
                </a:lnTo>
                <a:lnTo>
                  <a:pt x="5260018" y="680805"/>
                </a:lnTo>
                <a:lnTo>
                  <a:pt x="5257197" y="679398"/>
                </a:lnTo>
                <a:lnTo>
                  <a:pt x="5252856" y="683945"/>
                </a:lnTo>
                <a:lnTo>
                  <a:pt x="5252639" y="680372"/>
                </a:lnTo>
                <a:lnTo>
                  <a:pt x="5255243" y="674959"/>
                </a:lnTo>
                <a:lnTo>
                  <a:pt x="5261755" y="670087"/>
                </a:lnTo>
                <a:close/>
                <a:moveTo>
                  <a:pt x="2938305" y="661641"/>
                </a:moveTo>
                <a:lnTo>
                  <a:pt x="2942754" y="664456"/>
                </a:lnTo>
                <a:lnTo>
                  <a:pt x="2944816" y="663049"/>
                </a:lnTo>
                <a:lnTo>
                  <a:pt x="2950676" y="664239"/>
                </a:lnTo>
                <a:lnTo>
                  <a:pt x="2954040" y="667704"/>
                </a:lnTo>
                <a:lnTo>
                  <a:pt x="2952737" y="670953"/>
                </a:lnTo>
                <a:lnTo>
                  <a:pt x="2951436" y="669112"/>
                </a:lnTo>
                <a:lnTo>
                  <a:pt x="2948180" y="667379"/>
                </a:lnTo>
                <a:lnTo>
                  <a:pt x="2940150" y="667812"/>
                </a:lnTo>
                <a:lnTo>
                  <a:pt x="2937762" y="666513"/>
                </a:lnTo>
                <a:lnTo>
                  <a:pt x="2934290" y="665863"/>
                </a:lnTo>
                <a:lnTo>
                  <a:pt x="2933422" y="663698"/>
                </a:lnTo>
                <a:lnTo>
                  <a:pt x="2935484" y="661857"/>
                </a:lnTo>
                <a:close/>
                <a:moveTo>
                  <a:pt x="1362752" y="653737"/>
                </a:moveTo>
                <a:lnTo>
                  <a:pt x="1369045" y="659800"/>
                </a:lnTo>
                <a:lnTo>
                  <a:pt x="1374146" y="659800"/>
                </a:lnTo>
                <a:lnTo>
                  <a:pt x="1374146" y="667163"/>
                </a:lnTo>
                <a:lnTo>
                  <a:pt x="1376967" y="675066"/>
                </a:lnTo>
                <a:lnTo>
                  <a:pt x="1374363" y="679181"/>
                </a:lnTo>
                <a:lnTo>
                  <a:pt x="1367635" y="670844"/>
                </a:lnTo>
                <a:lnTo>
                  <a:pt x="1362643" y="666838"/>
                </a:lnTo>
                <a:lnTo>
                  <a:pt x="1362643" y="664131"/>
                </a:lnTo>
                <a:lnTo>
                  <a:pt x="1368828" y="664997"/>
                </a:lnTo>
                <a:lnTo>
                  <a:pt x="1360039" y="657527"/>
                </a:lnTo>
                <a:lnTo>
                  <a:pt x="1360039" y="654278"/>
                </a:lnTo>
                <a:close/>
                <a:moveTo>
                  <a:pt x="2935375" y="644534"/>
                </a:moveTo>
                <a:lnTo>
                  <a:pt x="2937111" y="646266"/>
                </a:lnTo>
                <a:lnTo>
                  <a:pt x="2934832" y="649189"/>
                </a:lnTo>
                <a:lnTo>
                  <a:pt x="2933096" y="648215"/>
                </a:lnTo>
                <a:lnTo>
                  <a:pt x="2933964" y="645075"/>
                </a:lnTo>
                <a:close/>
                <a:moveTo>
                  <a:pt x="1608650" y="643235"/>
                </a:moveTo>
                <a:lnTo>
                  <a:pt x="1613967" y="643884"/>
                </a:lnTo>
                <a:lnTo>
                  <a:pt x="1611689" y="645076"/>
                </a:lnTo>
                <a:lnTo>
                  <a:pt x="1611797" y="647241"/>
                </a:lnTo>
                <a:lnTo>
                  <a:pt x="1609627" y="648325"/>
                </a:lnTo>
                <a:lnTo>
                  <a:pt x="1606697" y="645833"/>
                </a:lnTo>
                <a:close/>
                <a:moveTo>
                  <a:pt x="1367417" y="637713"/>
                </a:moveTo>
                <a:lnTo>
                  <a:pt x="1367417" y="647349"/>
                </a:lnTo>
                <a:lnTo>
                  <a:pt x="1365898" y="651680"/>
                </a:lnTo>
                <a:lnTo>
                  <a:pt x="1361449" y="649514"/>
                </a:lnTo>
                <a:lnTo>
                  <a:pt x="1359713" y="647998"/>
                </a:lnTo>
                <a:lnTo>
                  <a:pt x="1361558" y="646482"/>
                </a:lnTo>
                <a:lnTo>
                  <a:pt x="1362426" y="642152"/>
                </a:lnTo>
                <a:close/>
                <a:moveTo>
                  <a:pt x="2518454" y="636522"/>
                </a:moveTo>
                <a:lnTo>
                  <a:pt x="2521493" y="639446"/>
                </a:lnTo>
                <a:lnTo>
                  <a:pt x="2522578" y="643343"/>
                </a:lnTo>
                <a:lnTo>
                  <a:pt x="2531693" y="646483"/>
                </a:lnTo>
                <a:lnTo>
                  <a:pt x="2535166" y="650056"/>
                </a:lnTo>
                <a:lnTo>
                  <a:pt x="2540483" y="651463"/>
                </a:lnTo>
                <a:lnTo>
                  <a:pt x="2542328" y="649514"/>
                </a:lnTo>
                <a:lnTo>
                  <a:pt x="2551009" y="652438"/>
                </a:lnTo>
                <a:lnTo>
                  <a:pt x="2557846" y="652329"/>
                </a:lnTo>
                <a:lnTo>
                  <a:pt x="2560884" y="654495"/>
                </a:lnTo>
                <a:lnTo>
                  <a:pt x="2561969" y="658825"/>
                </a:lnTo>
                <a:lnTo>
                  <a:pt x="2568697" y="662940"/>
                </a:lnTo>
                <a:lnTo>
                  <a:pt x="2570976" y="667812"/>
                </a:lnTo>
                <a:lnTo>
                  <a:pt x="2569132" y="672901"/>
                </a:lnTo>
                <a:lnTo>
                  <a:pt x="2569457" y="675824"/>
                </a:lnTo>
                <a:lnTo>
                  <a:pt x="2573364" y="678747"/>
                </a:lnTo>
                <a:lnTo>
                  <a:pt x="2572387" y="681346"/>
                </a:lnTo>
                <a:lnTo>
                  <a:pt x="2573364" y="685460"/>
                </a:lnTo>
                <a:lnTo>
                  <a:pt x="2573038" y="688383"/>
                </a:lnTo>
                <a:lnTo>
                  <a:pt x="2575426" y="693688"/>
                </a:lnTo>
                <a:lnTo>
                  <a:pt x="2574558" y="697153"/>
                </a:lnTo>
                <a:lnTo>
                  <a:pt x="2572387" y="700401"/>
                </a:lnTo>
                <a:lnTo>
                  <a:pt x="2578247" y="702133"/>
                </a:lnTo>
                <a:lnTo>
                  <a:pt x="2578247" y="704515"/>
                </a:lnTo>
                <a:lnTo>
                  <a:pt x="2575317" y="706789"/>
                </a:lnTo>
                <a:lnTo>
                  <a:pt x="2573798" y="709388"/>
                </a:lnTo>
                <a:lnTo>
                  <a:pt x="2564791" y="707439"/>
                </a:lnTo>
                <a:lnTo>
                  <a:pt x="2563380" y="705706"/>
                </a:lnTo>
                <a:lnTo>
                  <a:pt x="2554590" y="703649"/>
                </a:lnTo>
                <a:lnTo>
                  <a:pt x="2551877" y="701267"/>
                </a:lnTo>
                <a:lnTo>
                  <a:pt x="2545692" y="700076"/>
                </a:lnTo>
                <a:lnTo>
                  <a:pt x="2543304" y="700076"/>
                </a:lnTo>
                <a:lnTo>
                  <a:pt x="2539506" y="697694"/>
                </a:lnTo>
                <a:lnTo>
                  <a:pt x="2532778" y="699751"/>
                </a:lnTo>
                <a:lnTo>
                  <a:pt x="2528546" y="700076"/>
                </a:lnTo>
                <a:lnTo>
                  <a:pt x="2523988" y="704407"/>
                </a:lnTo>
                <a:lnTo>
                  <a:pt x="2521384" y="704949"/>
                </a:lnTo>
                <a:lnTo>
                  <a:pt x="2514981" y="701592"/>
                </a:lnTo>
                <a:lnTo>
                  <a:pt x="2509989" y="700293"/>
                </a:lnTo>
                <a:lnTo>
                  <a:pt x="2507927" y="694555"/>
                </a:lnTo>
                <a:lnTo>
                  <a:pt x="2504998" y="693039"/>
                </a:lnTo>
                <a:lnTo>
                  <a:pt x="2502936" y="688600"/>
                </a:lnTo>
                <a:lnTo>
                  <a:pt x="2504455" y="682537"/>
                </a:lnTo>
                <a:lnTo>
                  <a:pt x="2509339" y="679613"/>
                </a:lnTo>
                <a:lnTo>
                  <a:pt x="2508796" y="676040"/>
                </a:lnTo>
                <a:lnTo>
                  <a:pt x="2511400" y="672792"/>
                </a:lnTo>
                <a:lnTo>
                  <a:pt x="2510532" y="669003"/>
                </a:lnTo>
                <a:lnTo>
                  <a:pt x="2506409" y="668245"/>
                </a:lnTo>
                <a:lnTo>
                  <a:pt x="2501851" y="664672"/>
                </a:lnTo>
                <a:lnTo>
                  <a:pt x="2506409" y="654819"/>
                </a:lnTo>
                <a:lnTo>
                  <a:pt x="2509447" y="655361"/>
                </a:lnTo>
                <a:lnTo>
                  <a:pt x="2510857" y="652329"/>
                </a:lnTo>
                <a:lnTo>
                  <a:pt x="2509989" y="647782"/>
                </a:lnTo>
                <a:lnTo>
                  <a:pt x="2512702" y="644426"/>
                </a:lnTo>
                <a:lnTo>
                  <a:pt x="2514330" y="638039"/>
                </a:lnTo>
                <a:close/>
                <a:moveTo>
                  <a:pt x="1378160" y="630567"/>
                </a:moveTo>
                <a:lnTo>
                  <a:pt x="1380222" y="635764"/>
                </a:lnTo>
                <a:lnTo>
                  <a:pt x="1379571" y="647240"/>
                </a:lnTo>
                <a:lnTo>
                  <a:pt x="1377075" y="650813"/>
                </a:lnTo>
                <a:lnTo>
                  <a:pt x="1379137" y="654603"/>
                </a:lnTo>
                <a:lnTo>
                  <a:pt x="1372844" y="657959"/>
                </a:lnTo>
                <a:lnTo>
                  <a:pt x="1366984" y="654928"/>
                </a:lnTo>
                <a:lnTo>
                  <a:pt x="1370022" y="653303"/>
                </a:lnTo>
                <a:lnTo>
                  <a:pt x="1371650" y="650164"/>
                </a:lnTo>
                <a:lnTo>
                  <a:pt x="1369371" y="645075"/>
                </a:lnTo>
                <a:lnTo>
                  <a:pt x="1369697" y="636089"/>
                </a:lnTo>
                <a:lnTo>
                  <a:pt x="1372409" y="633165"/>
                </a:lnTo>
                <a:lnTo>
                  <a:pt x="1374905" y="634898"/>
                </a:lnTo>
                <a:lnTo>
                  <a:pt x="1375557" y="631759"/>
                </a:lnTo>
                <a:close/>
                <a:moveTo>
                  <a:pt x="2211677" y="622123"/>
                </a:moveTo>
                <a:lnTo>
                  <a:pt x="2209507" y="627969"/>
                </a:lnTo>
                <a:lnTo>
                  <a:pt x="2207337" y="629701"/>
                </a:lnTo>
                <a:lnTo>
                  <a:pt x="2204407" y="628401"/>
                </a:lnTo>
                <a:lnTo>
                  <a:pt x="2204732" y="625262"/>
                </a:lnTo>
                <a:lnTo>
                  <a:pt x="2208205" y="622339"/>
                </a:lnTo>
                <a:close/>
                <a:moveTo>
                  <a:pt x="3585281" y="622015"/>
                </a:moveTo>
                <a:lnTo>
                  <a:pt x="3589296" y="622772"/>
                </a:lnTo>
                <a:lnTo>
                  <a:pt x="3591466" y="625479"/>
                </a:lnTo>
                <a:lnTo>
                  <a:pt x="3588862" y="628294"/>
                </a:lnTo>
                <a:lnTo>
                  <a:pt x="3584087" y="628403"/>
                </a:lnTo>
                <a:lnTo>
                  <a:pt x="3582351" y="627103"/>
                </a:lnTo>
                <a:lnTo>
                  <a:pt x="3583653" y="623639"/>
                </a:lnTo>
                <a:close/>
                <a:moveTo>
                  <a:pt x="1393027" y="619091"/>
                </a:moveTo>
                <a:lnTo>
                  <a:pt x="1394329" y="621473"/>
                </a:lnTo>
                <a:lnTo>
                  <a:pt x="1391725" y="622556"/>
                </a:lnTo>
                <a:lnTo>
                  <a:pt x="1390640" y="620282"/>
                </a:lnTo>
                <a:close/>
                <a:moveTo>
                  <a:pt x="1413321" y="618225"/>
                </a:moveTo>
                <a:lnTo>
                  <a:pt x="1414298" y="626453"/>
                </a:lnTo>
                <a:lnTo>
                  <a:pt x="1416902" y="628510"/>
                </a:lnTo>
                <a:lnTo>
                  <a:pt x="1419832" y="626995"/>
                </a:lnTo>
                <a:lnTo>
                  <a:pt x="1416793" y="632841"/>
                </a:lnTo>
                <a:lnTo>
                  <a:pt x="1409632" y="636631"/>
                </a:lnTo>
                <a:lnTo>
                  <a:pt x="1393680" y="649839"/>
                </a:lnTo>
                <a:lnTo>
                  <a:pt x="1389556" y="650164"/>
                </a:lnTo>
                <a:lnTo>
                  <a:pt x="1386300" y="652979"/>
                </a:lnTo>
                <a:lnTo>
                  <a:pt x="1381634" y="652762"/>
                </a:lnTo>
                <a:lnTo>
                  <a:pt x="1380766" y="648432"/>
                </a:lnTo>
                <a:lnTo>
                  <a:pt x="1383479" y="644534"/>
                </a:lnTo>
                <a:lnTo>
                  <a:pt x="1383153" y="637064"/>
                </a:lnTo>
                <a:lnTo>
                  <a:pt x="1385757" y="634032"/>
                </a:lnTo>
                <a:lnTo>
                  <a:pt x="1387928" y="628835"/>
                </a:lnTo>
                <a:lnTo>
                  <a:pt x="1389664" y="629918"/>
                </a:lnTo>
                <a:lnTo>
                  <a:pt x="1392594" y="626237"/>
                </a:lnTo>
                <a:lnTo>
                  <a:pt x="1395524" y="629052"/>
                </a:lnTo>
                <a:lnTo>
                  <a:pt x="1393680" y="631434"/>
                </a:lnTo>
                <a:lnTo>
                  <a:pt x="1395850" y="635548"/>
                </a:lnTo>
                <a:lnTo>
                  <a:pt x="1397586" y="631434"/>
                </a:lnTo>
                <a:lnTo>
                  <a:pt x="1399323" y="629918"/>
                </a:lnTo>
                <a:lnTo>
                  <a:pt x="1403121" y="630243"/>
                </a:lnTo>
                <a:lnTo>
                  <a:pt x="1402252" y="626453"/>
                </a:lnTo>
                <a:lnTo>
                  <a:pt x="1406919" y="624613"/>
                </a:lnTo>
                <a:lnTo>
                  <a:pt x="1409848" y="618766"/>
                </a:lnTo>
                <a:close/>
                <a:moveTo>
                  <a:pt x="5398811" y="617793"/>
                </a:moveTo>
                <a:lnTo>
                  <a:pt x="5403585" y="620282"/>
                </a:lnTo>
                <a:lnTo>
                  <a:pt x="5401415" y="621798"/>
                </a:lnTo>
                <a:lnTo>
                  <a:pt x="5394687" y="621474"/>
                </a:lnTo>
                <a:lnTo>
                  <a:pt x="5392951" y="620066"/>
                </a:lnTo>
                <a:close/>
                <a:moveTo>
                  <a:pt x="5367666" y="614869"/>
                </a:moveTo>
                <a:lnTo>
                  <a:pt x="5369620" y="617035"/>
                </a:lnTo>
                <a:lnTo>
                  <a:pt x="5365930" y="622448"/>
                </a:lnTo>
                <a:lnTo>
                  <a:pt x="5362349" y="621798"/>
                </a:lnTo>
                <a:lnTo>
                  <a:pt x="5360613" y="617900"/>
                </a:lnTo>
                <a:lnTo>
                  <a:pt x="5363651" y="615193"/>
                </a:lnTo>
                <a:close/>
                <a:moveTo>
                  <a:pt x="3581050" y="614544"/>
                </a:moveTo>
                <a:lnTo>
                  <a:pt x="3582786" y="617901"/>
                </a:lnTo>
                <a:lnTo>
                  <a:pt x="3580073" y="619199"/>
                </a:lnTo>
                <a:lnTo>
                  <a:pt x="3577794" y="615952"/>
                </a:lnTo>
                <a:lnTo>
                  <a:pt x="3578987" y="614761"/>
                </a:lnTo>
                <a:close/>
                <a:moveTo>
                  <a:pt x="3619464" y="612162"/>
                </a:moveTo>
                <a:lnTo>
                  <a:pt x="3621634" y="614653"/>
                </a:lnTo>
                <a:lnTo>
                  <a:pt x="3622611" y="618442"/>
                </a:lnTo>
                <a:lnTo>
                  <a:pt x="3621091" y="623423"/>
                </a:lnTo>
                <a:lnTo>
                  <a:pt x="3621959" y="632626"/>
                </a:lnTo>
                <a:lnTo>
                  <a:pt x="3624781" y="637715"/>
                </a:lnTo>
                <a:lnTo>
                  <a:pt x="3625432" y="644535"/>
                </a:lnTo>
                <a:lnTo>
                  <a:pt x="3623262" y="646700"/>
                </a:lnTo>
                <a:lnTo>
                  <a:pt x="3622502" y="653413"/>
                </a:lnTo>
                <a:lnTo>
                  <a:pt x="3620658" y="655904"/>
                </a:lnTo>
                <a:lnTo>
                  <a:pt x="3618921" y="653629"/>
                </a:lnTo>
                <a:lnTo>
                  <a:pt x="3619030" y="648324"/>
                </a:lnTo>
                <a:lnTo>
                  <a:pt x="3620658" y="643235"/>
                </a:lnTo>
                <a:lnTo>
                  <a:pt x="3620332" y="635766"/>
                </a:lnTo>
                <a:lnTo>
                  <a:pt x="3617402" y="630461"/>
                </a:lnTo>
                <a:lnTo>
                  <a:pt x="3617510" y="624289"/>
                </a:lnTo>
                <a:lnTo>
                  <a:pt x="3619572" y="622015"/>
                </a:lnTo>
                <a:lnTo>
                  <a:pt x="3619030" y="619199"/>
                </a:lnTo>
                <a:lnTo>
                  <a:pt x="3616425" y="616926"/>
                </a:lnTo>
                <a:lnTo>
                  <a:pt x="3615883" y="615086"/>
                </a:lnTo>
                <a:close/>
                <a:moveTo>
                  <a:pt x="5379061" y="611838"/>
                </a:moveTo>
                <a:lnTo>
                  <a:pt x="5384271" y="612596"/>
                </a:lnTo>
                <a:lnTo>
                  <a:pt x="5383294" y="615736"/>
                </a:lnTo>
                <a:lnTo>
                  <a:pt x="5380146" y="618660"/>
                </a:lnTo>
                <a:lnTo>
                  <a:pt x="5375046" y="617037"/>
                </a:lnTo>
                <a:lnTo>
                  <a:pt x="5373310" y="614871"/>
                </a:lnTo>
                <a:lnTo>
                  <a:pt x="5377000" y="613464"/>
                </a:lnTo>
                <a:close/>
                <a:moveTo>
                  <a:pt x="1395415" y="611404"/>
                </a:moveTo>
                <a:lnTo>
                  <a:pt x="1397477" y="612054"/>
                </a:lnTo>
                <a:lnTo>
                  <a:pt x="1394981" y="615843"/>
                </a:lnTo>
                <a:lnTo>
                  <a:pt x="1392594" y="614435"/>
                </a:lnTo>
                <a:close/>
                <a:moveTo>
                  <a:pt x="2405597" y="611079"/>
                </a:moveTo>
                <a:lnTo>
                  <a:pt x="2411782" y="612271"/>
                </a:lnTo>
                <a:lnTo>
                  <a:pt x="2415364" y="611079"/>
                </a:lnTo>
                <a:lnTo>
                  <a:pt x="2417968" y="612053"/>
                </a:lnTo>
                <a:lnTo>
                  <a:pt x="2425564" y="612271"/>
                </a:lnTo>
                <a:lnTo>
                  <a:pt x="2430556" y="615735"/>
                </a:lnTo>
                <a:lnTo>
                  <a:pt x="2440540" y="620499"/>
                </a:lnTo>
                <a:lnTo>
                  <a:pt x="2441299" y="623422"/>
                </a:lnTo>
                <a:lnTo>
                  <a:pt x="2439997" y="627212"/>
                </a:lnTo>
                <a:lnTo>
                  <a:pt x="2434029" y="629810"/>
                </a:lnTo>
                <a:lnTo>
                  <a:pt x="2426215" y="632842"/>
                </a:lnTo>
                <a:lnTo>
                  <a:pt x="2421658" y="632734"/>
                </a:lnTo>
                <a:lnTo>
                  <a:pt x="2419378" y="636307"/>
                </a:lnTo>
                <a:lnTo>
                  <a:pt x="2415364" y="641287"/>
                </a:lnTo>
                <a:lnTo>
                  <a:pt x="2410263" y="642694"/>
                </a:lnTo>
                <a:lnTo>
                  <a:pt x="2401473" y="651139"/>
                </a:lnTo>
                <a:lnTo>
                  <a:pt x="2393009" y="661533"/>
                </a:lnTo>
                <a:lnTo>
                  <a:pt x="2385956" y="666189"/>
                </a:lnTo>
                <a:lnTo>
                  <a:pt x="2383243" y="667596"/>
                </a:lnTo>
                <a:lnTo>
                  <a:pt x="2378685" y="676691"/>
                </a:lnTo>
                <a:lnTo>
                  <a:pt x="2378034" y="682213"/>
                </a:lnTo>
                <a:lnTo>
                  <a:pt x="2379878" y="686868"/>
                </a:lnTo>
                <a:lnTo>
                  <a:pt x="2382483" y="690117"/>
                </a:lnTo>
                <a:lnTo>
                  <a:pt x="2382483" y="694231"/>
                </a:lnTo>
                <a:lnTo>
                  <a:pt x="2378577" y="696288"/>
                </a:lnTo>
                <a:lnTo>
                  <a:pt x="2375104" y="700943"/>
                </a:lnTo>
                <a:lnTo>
                  <a:pt x="2370763" y="705708"/>
                </a:lnTo>
                <a:lnTo>
                  <a:pt x="2370438" y="710580"/>
                </a:lnTo>
                <a:lnTo>
                  <a:pt x="2367508" y="716643"/>
                </a:lnTo>
                <a:lnTo>
                  <a:pt x="2365120" y="718267"/>
                </a:lnTo>
                <a:lnTo>
                  <a:pt x="2364795" y="721948"/>
                </a:lnTo>
                <a:lnTo>
                  <a:pt x="2366965" y="726063"/>
                </a:lnTo>
                <a:lnTo>
                  <a:pt x="2368050" y="732883"/>
                </a:lnTo>
                <a:lnTo>
                  <a:pt x="2369786" y="736023"/>
                </a:lnTo>
                <a:lnTo>
                  <a:pt x="2369786" y="742195"/>
                </a:lnTo>
                <a:lnTo>
                  <a:pt x="2373910" y="747716"/>
                </a:lnTo>
                <a:lnTo>
                  <a:pt x="2374778" y="750098"/>
                </a:lnTo>
                <a:lnTo>
                  <a:pt x="2379227" y="752697"/>
                </a:lnTo>
                <a:lnTo>
                  <a:pt x="2379227" y="757461"/>
                </a:lnTo>
                <a:lnTo>
                  <a:pt x="2377274" y="761791"/>
                </a:lnTo>
                <a:lnTo>
                  <a:pt x="2375755" y="757894"/>
                </a:lnTo>
                <a:lnTo>
                  <a:pt x="2373367" y="757894"/>
                </a:lnTo>
                <a:lnTo>
                  <a:pt x="2373042" y="760059"/>
                </a:lnTo>
                <a:lnTo>
                  <a:pt x="2370112" y="760384"/>
                </a:lnTo>
                <a:lnTo>
                  <a:pt x="2366965" y="761575"/>
                </a:lnTo>
                <a:lnTo>
                  <a:pt x="2364686" y="762549"/>
                </a:lnTo>
                <a:lnTo>
                  <a:pt x="2366423" y="763740"/>
                </a:lnTo>
                <a:lnTo>
                  <a:pt x="2369461" y="767313"/>
                </a:lnTo>
                <a:lnTo>
                  <a:pt x="2372825" y="766881"/>
                </a:lnTo>
                <a:lnTo>
                  <a:pt x="2373693" y="765906"/>
                </a:lnTo>
                <a:lnTo>
                  <a:pt x="2375321" y="767638"/>
                </a:lnTo>
                <a:lnTo>
                  <a:pt x="2371631" y="771211"/>
                </a:lnTo>
                <a:lnTo>
                  <a:pt x="2369895" y="778032"/>
                </a:lnTo>
                <a:lnTo>
                  <a:pt x="2369786" y="782471"/>
                </a:lnTo>
                <a:lnTo>
                  <a:pt x="2368593" y="785070"/>
                </a:lnTo>
                <a:lnTo>
                  <a:pt x="2374452" y="779332"/>
                </a:lnTo>
                <a:lnTo>
                  <a:pt x="2374452" y="776191"/>
                </a:lnTo>
                <a:lnTo>
                  <a:pt x="2379445" y="767422"/>
                </a:lnTo>
                <a:lnTo>
                  <a:pt x="2381723" y="765256"/>
                </a:lnTo>
                <a:lnTo>
                  <a:pt x="2383025" y="756595"/>
                </a:lnTo>
                <a:lnTo>
                  <a:pt x="2385088" y="753563"/>
                </a:lnTo>
                <a:lnTo>
                  <a:pt x="2389211" y="750748"/>
                </a:lnTo>
                <a:lnTo>
                  <a:pt x="2389211" y="746309"/>
                </a:lnTo>
                <a:lnTo>
                  <a:pt x="2387909" y="743385"/>
                </a:lnTo>
                <a:lnTo>
                  <a:pt x="2388777" y="740354"/>
                </a:lnTo>
                <a:lnTo>
                  <a:pt x="2385738" y="738189"/>
                </a:lnTo>
                <a:lnTo>
                  <a:pt x="2382808" y="737539"/>
                </a:lnTo>
                <a:lnTo>
                  <a:pt x="2382591" y="731584"/>
                </a:lnTo>
                <a:lnTo>
                  <a:pt x="2381615" y="730177"/>
                </a:lnTo>
                <a:lnTo>
                  <a:pt x="2381289" y="724222"/>
                </a:lnTo>
                <a:lnTo>
                  <a:pt x="2378794" y="719458"/>
                </a:lnTo>
                <a:lnTo>
                  <a:pt x="2378142" y="714802"/>
                </a:lnTo>
                <a:lnTo>
                  <a:pt x="2380204" y="713611"/>
                </a:lnTo>
                <a:lnTo>
                  <a:pt x="2381723" y="717076"/>
                </a:lnTo>
                <a:lnTo>
                  <a:pt x="2383893" y="715127"/>
                </a:lnTo>
                <a:lnTo>
                  <a:pt x="2388777" y="713719"/>
                </a:lnTo>
                <a:lnTo>
                  <a:pt x="2391381" y="710255"/>
                </a:lnTo>
                <a:lnTo>
                  <a:pt x="2390404" y="707223"/>
                </a:lnTo>
                <a:lnTo>
                  <a:pt x="2392900" y="703217"/>
                </a:lnTo>
                <a:lnTo>
                  <a:pt x="2396482" y="704408"/>
                </a:lnTo>
                <a:lnTo>
                  <a:pt x="2399412" y="710580"/>
                </a:lnTo>
                <a:lnTo>
                  <a:pt x="2398218" y="713286"/>
                </a:lnTo>
                <a:lnTo>
                  <a:pt x="2400388" y="715019"/>
                </a:lnTo>
                <a:lnTo>
                  <a:pt x="2403535" y="711445"/>
                </a:lnTo>
                <a:lnTo>
                  <a:pt x="2403535" y="707115"/>
                </a:lnTo>
                <a:lnTo>
                  <a:pt x="2406791" y="703217"/>
                </a:lnTo>
                <a:lnTo>
                  <a:pt x="2409938" y="703217"/>
                </a:lnTo>
                <a:lnTo>
                  <a:pt x="2409395" y="700619"/>
                </a:lnTo>
                <a:lnTo>
                  <a:pt x="2411240" y="698994"/>
                </a:lnTo>
                <a:lnTo>
                  <a:pt x="2415580" y="697696"/>
                </a:lnTo>
                <a:lnTo>
                  <a:pt x="2414061" y="695097"/>
                </a:lnTo>
                <a:lnTo>
                  <a:pt x="2410806" y="694555"/>
                </a:lnTo>
                <a:lnTo>
                  <a:pt x="2402993" y="700077"/>
                </a:lnTo>
                <a:lnTo>
                  <a:pt x="2399737" y="699861"/>
                </a:lnTo>
                <a:lnTo>
                  <a:pt x="2398327" y="695313"/>
                </a:lnTo>
                <a:lnTo>
                  <a:pt x="2395830" y="692715"/>
                </a:lnTo>
                <a:lnTo>
                  <a:pt x="2396156" y="689900"/>
                </a:lnTo>
                <a:lnTo>
                  <a:pt x="2401148" y="688168"/>
                </a:lnTo>
                <a:lnTo>
                  <a:pt x="2398218" y="684270"/>
                </a:lnTo>
                <a:lnTo>
                  <a:pt x="2399954" y="677774"/>
                </a:lnTo>
                <a:lnTo>
                  <a:pt x="2403318" y="671386"/>
                </a:lnTo>
                <a:lnTo>
                  <a:pt x="2403861" y="667813"/>
                </a:lnTo>
                <a:lnTo>
                  <a:pt x="2407442" y="664131"/>
                </a:lnTo>
                <a:lnTo>
                  <a:pt x="2413193" y="664673"/>
                </a:lnTo>
                <a:lnTo>
                  <a:pt x="2417100" y="669004"/>
                </a:lnTo>
                <a:lnTo>
                  <a:pt x="2417642" y="672035"/>
                </a:lnTo>
                <a:lnTo>
                  <a:pt x="2424045" y="675500"/>
                </a:lnTo>
                <a:lnTo>
                  <a:pt x="2426974" y="679831"/>
                </a:lnTo>
                <a:lnTo>
                  <a:pt x="2431424" y="680156"/>
                </a:lnTo>
                <a:lnTo>
                  <a:pt x="2427843" y="677233"/>
                </a:lnTo>
                <a:lnTo>
                  <a:pt x="2426974" y="673768"/>
                </a:lnTo>
                <a:lnTo>
                  <a:pt x="2420247" y="669329"/>
                </a:lnTo>
                <a:lnTo>
                  <a:pt x="2419053" y="664564"/>
                </a:lnTo>
                <a:lnTo>
                  <a:pt x="2417859" y="661966"/>
                </a:lnTo>
                <a:lnTo>
                  <a:pt x="2412759" y="661966"/>
                </a:lnTo>
                <a:lnTo>
                  <a:pt x="2410806" y="659692"/>
                </a:lnTo>
                <a:lnTo>
                  <a:pt x="2412325" y="659043"/>
                </a:lnTo>
                <a:lnTo>
                  <a:pt x="2420355" y="658501"/>
                </a:lnTo>
                <a:lnTo>
                  <a:pt x="2421766" y="656228"/>
                </a:lnTo>
                <a:lnTo>
                  <a:pt x="2423828" y="656228"/>
                </a:lnTo>
                <a:lnTo>
                  <a:pt x="2431207" y="664348"/>
                </a:lnTo>
                <a:lnTo>
                  <a:pt x="2437610" y="667921"/>
                </a:lnTo>
                <a:lnTo>
                  <a:pt x="2439888" y="667813"/>
                </a:lnTo>
                <a:lnTo>
                  <a:pt x="2434029" y="664348"/>
                </a:lnTo>
                <a:lnTo>
                  <a:pt x="2429904" y="657419"/>
                </a:lnTo>
                <a:lnTo>
                  <a:pt x="2424370" y="653521"/>
                </a:lnTo>
                <a:lnTo>
                  <a:pt x="2424153" y="650597"/>
                </a:lnTo>
                <a:lnTo>
                  <a:pt x="2426106" y="646267"/>
                </a:lnTo>
                <a:lnTo>
                  <a:pt x="2432943" y="644860"/>
                </a:lnTo>
                <a:lnTo>
                  <a:pt x="2435439" y="645942"/>
                </a:lnTo>
                <a:lnTo>
                  <a:pt x="2434679" y="650056"/>
                </a:lnTo>
                <a:lnTo>
                  <a:pt x="2435439" y="653305"/>
                </a:lnTo>
                <a:lnTo>
                  <a:pt x="2437501" y="651247"/>
                </a:lnTo>
                <a:lnTo>
                  <a:pt x="2437284" y="647999"/>
                </a:lnTo>
                <a:lnTo>
                  <a:pt x="2439997" y="644534"/>
                </a:lnTo>
                <a:lnTo>
                  <a:pt x="2445423" y="644534"/>
                </a:lnTo>
                <a:lnTo>
                  <a:pt x="2447919" y="649731"/>
                </a:lnTo>
                <a:lnTo>
                  <a:pt x="2450089" y="651464"/>
                </a:lnTo>
                <a:lnTo>
                  <a:pt x="2451717" y="657419"/>
                </a:lnTo>
                <a:lnTo>
                  <a:pt x="2453995" y="654821"/>
                </a:lnTo>
                <a:lnTo>
                  <a:pt x="2453995" y="651247"/>
                </a:lnTo>
                <a:lnTo>
                  <a:pt x="2449546" y="645942"/>
                </a:lnTo>
                <a:lnTo>
                  <a:pt x="2450849" y="643235"/>
                </a:lnTo>
                <a:lnTo>
                  <a:pt x="2462785" y="640420"/>
                </a:lnTo>
                <a:lnTo>
                  <a:pt x="2469730" y="637389"/>
                </a:lnTo>
                <a:lnTo>
                  <a:pt x="2475590" y="636848"/>
                </a:lnTo>
                <a:lnTo>
                  <a:pt x="2480908" y="633058"/>
                </a:lnTo>
                <a:lnTo>
                  <a:pt x="2487744" y="635440"/>
                </a:lnTo>
                <a:lnTo>
                  <a:pt x="2495340" y="635765"/>
                </a:lnTo>
                <a:lnTo>
                  <a:pt x="2502611" y="637497"/>
                </a:lnTo>
                <a:lnTo>
                  <a:pt x="2503262" y="640312"/>
                </a:lnTo>
                <a:lnTo>
                  <a:pt x="2501851" y="642153"/>
                </a:lnTo>
                <a:lnTo>
                  <a:pt x="2500983" y="652546"/>
                </a:lnTo>
                <a:lnTo>
                  <a:pt x="2499790" y="655362"/>
                </a:lnTo>
                <a:lnTo>
                  <a:pt x="2496751" y="658935"/>
                </a:lnTo>
                <a:lnTo>
                  <a:pt x="2493495" y="664889"/>
                </a:lnTo>
                <a:lnTo>
                  <a:pt x="2494689" y="667380"/>
                </a:lnTo>
                <a:lnTo>
                  <a:pt x="2498921" y="669329"/>
                </a:lnTo>
                <a:lnTo>
                  <a:pt x="2500658" y="673118"/>
                </a:lnTo>
                <a:lnTo>
                  <a:pt x="2499790" y="675608"/>
                </a:lnTo>
                <a:lnTo>
                  <a:pt x="2493278" y="682862"/>
                </a:lnTo>
                <a:lnTo>
                  <a:pt x="2492085" y="685786"/>
                </a:lnTo>
                <a:lnTo>
                  <a:pt x="2491542" y="690441"/>
                </a:lnTo>
                <a:lnTo>
                  <a:pt x="2495340" y="693906"/>
                </a:lnTo>
                <a:lnTo>
                  <a:pt x="2495232" y="696180"/>
                </a:lnTo>
                <a:lnTo>
                  <a:pt x="2492085" y="701160"/>
                </a:lnTo>
                <a:lnTo>
                  <a:pt x="2488395" y="701484"/>
                </a:lnTo>
                <a:lnTo>
                  <a:pt x="2485139" y="705274"/>
                </a:lnTo>
                <a:lnTo>
                  <a:pt x="2481016" y="706465"/>
                </a:lnTo>
                <a:lnTo>
                  <a:pt x="2477760" y="709497"/>
                </a:lnTo>
                <a:lnTo>
                  <a:pt x="2474830" y="713719"/>
                </a:lnTo>
                <a:lnTo>
                  <a:pt x="2471792" y="717292"/>
                </a:lnTo>
                <a:lnTo>
                  <a:pt x="2475047" y="716967"/>
                </a:lnTo>
                <a:lnTo>
                  <a:pt x="2480040" y="711987"/>
                </a:lnTo>
                <a:lnTo>
                  <a:pt x="2486008" y="707331"/>
                </a:lnTo>
                <a:lnTo>
                  <a:pt x="2488395" y="707439"/>
                </a:lnTo>
                <a:lnTo>
                  <a:pt x="2490565" y="707115"/>
                </a:lnTo>
                <a:lnTo>
                  <a:pt x="2487419" y="710580"/>
                </a:lnTo>
                <a:lnTo>
                  <a:pt x="2486442" y="714044"/>
                </a:lnTo>
                <a:lnTo>
                  <a:pt x="2479714" y="720216"/>
                </a:lnTo>
                <a:lnTo>
                  <a:pt x="2475156" y="722381"/>
                </a:lnTo>
                <a:lnTo>
                  <a:pt x="2474830" y="724114"/>
                </a:lnTo>
                <a:lnTo>
                  <a:pt x="2475156" y="726387"/>
                </a:lnTo>
                <a:lnTo>
                  <a:pt x="2474505" y="728769"/>
                </a:lnTo>
                <a:lnTo>
                  <a:pt x="2472117" y="727470"/>
                </a:lnTo>
                <a:lnTo>
                  <a:pt x="2468971" y="727794"/>
                </a:lnTo>
                <a:lnTo>
                  <a:pt x="2469187" y="730285"/>
                </a:lnTo>
                <a:lnTo>
                  <a:pt x="2471249" y="730502"/>
                </a:lnTo>
                <a:lnTo>
                  <a:pt x="2473094" y="732559"/>
                </a:lnTo>
                <a:lnTo>
                  <a:pt x="2472769" y="736240"/>
                </a:lnTo>
                <a:lnTo>
                  <a:pt x="2469079" y="738947"/>
                </a:lnTo>
                <a:lnTo>
                  <a:pt x="2472986" y="738947"/>
                </a:lnTo>
                <a:lnTo>
                  <a:pt x="2474939" y="736131"/>
                </a:lnTo>
                <a:lnTo>
                  <a:pt x="2478303" y="734941"/>
                </a:lnTo>
                <a:lnTo>
                  <a:pt x="2481341" y="730610"/>
                </a:lnTo>
                <a:lnTo>
                  <a:pt x="2481450" y="727253"/>
                </a:lnTo>
                <a:lnTo>
                  <a:pt x="2485791" y="725629"/>
                </a:lnTo>
                <a:lnTo>
                  <a:pt x="2487527" y="721731"/>
                </a:lnTo>
                <a:lnTo>
                  <a:pt x="2488938" y="722922"/>
                </a:lnTo>
                <a:lnTo>
                  <a:pt x="2488938" y="728986"/>
                </a:lnTo>
                <a:lnTo>
                  <a:pt x="2491651" y="730610"/>
                </a:lnTo>
                <a:lnTo>
                  <a:pt x="2491651" y="725304"/>
                </a:lnTo>
                <a:lnTo>
                  <a:pt x="2490457" y="720432"/>
                </a:lnTo>
                <a:lnTo>
                  <a:pt x="2491325" y="716967"/>
                </a:lnTo>
                <a:lnTo>
                  <a:pt x="2493495" y="715451"/>
                </a:lnTo>
                <a:lnTo>
                  <a:pt x="2497945" y="716643"/>
                </a:lnTo>
                <a:lnTo>
                  <a:pt x="2497293" y="721948"/>
                </a:lnTo>
                <a:lnTo>
                  <a:pt x="2498813" y="724547"/>
                </a:lnTo>
                <a:lnTo>
                  <a:pt x="2501200" y="722057"/>
                </a:lnTo>
                <a:lnTo>
                  <a:pt x="2506192" y="716967"/>
                </a:lnTo>
                <a:lnTo>
                  <a:pt x="2507603" y="721082"/>
                </a:lnTo>
                <a:lnTo>
                  <a:pt x="2510641" y="724547"/>
                </a:lnTo>
                <a:lnTo>
                  <a:pt x="2509339" y="728444"/>
                </a:lnTo>
                <a:lnTo>
                  <a:pt x="2503479" y="736565"/>
                </a:lnTo>
                <a:lnTo>
                  <a:pt x="2498813" y="740137"/>
                </a:lnTo>
                <a:lnTo>
                  <a:pt x="2496534" y="743385"/>
                </a:lnTo>
                <a:lnTo>
                  <a:pt x="2501091" y="744469"/>
                </a:lnTo>
                <a:lnTo>
                  <a:pt x="2505215" y="746526"/>
                </a:lnTo>
                <a:lnTo>
                  <a:pt x="2508254" y="744469"/>
                </a:lnTo>
                <a:lnTo>
                  <a:pt x="2505649" y="741328"/>
                </a:lnTo>
                <a:lnTo>
                  <a:pt x="2507711" y="736673"/>
                </a:lnTo>
                <a:lnTo>
                  <a:pt x="2511509" y="732234"/>
                </a:lnTo>
                <a:lnTo>
                  <a:pt x="2514873" y="738297"/>
                </a:lnTo>
                <a:lnTo>
                  <a:pt x="2514982" y="742520"/>
                </a:lnTo>
                <a:lnTo>
                  <a:pt x="2516175" y="739488"/>
                </a:lnTo>
                <a:lnTo>
                  <a:pt x="2515524" y="733641"/>
                </a:lnTo>
                <a:lnTo>
                  <a:pt x="2513137" y="729094"/>
                </a:lnTo>
                <a:lnTo>
                  <a:pt x="2512920" y="720324"/>
                </a:lnTo>
                <a:lnTo>
                  <a:pt x="2514873" y="719349"/>
                </a:lnTo>
                <a:lnTo>
                  <a:pt x="2519865" y="721623"/>
                </a:lnTo>
                <a:lnTo>
                  <a:pt x="2518780" y="726063"/>
                </a:lnTo>
                <a:lnTo>
                  <a:pt x="2517260" y="729635"/>
                </a:lnTo>
                <a:lnTo>
                  <a:pt x="2519865" y="728444"/>
                </a:lnTo>
                <a:lnTo>
                  <a:pt x="2523663" y="727794"/>
                </a:lnTo>
                <a:lnTo>
                  <a:pt x="2531367" y="735157"/>
                </a:lnTo>
                <a:lnTo>
                  <a:pt x="2531367" y="738297"/>
                </a:lnTo>
                <a:lnTo>
                  <a:pt x="2536685" y="738297"/>
                </a:lnTo>
                <a:lnTo>
                  <a:pt x="2540158" y="740354"/>
                </a:lnTo>
                <a:lnTo>
                  <a:pt x="2542328" y="740354"/>
                </a:lnTo>
                <a:lnTo>
                  <a:pt x="2540158" y="735482"/>
                </a:lnTo>
                <a:lnTo>
                  <a:pt x="2536902" y="734832"/>
                </a:lnTo>
                <a:lnTo>
                  <a:pt x="2535491" y="732559"/>
                </a:lnTo>
                <a:lnTo>
                  <a:pt x="2526919" y="724980"/>
                </a:lnTo>
                <a:lnTo>
                  <a:pt x="2523663" y="724005"/>
                </a:lnTo>
                <a:lnTo>
                  <a:pt x="2522035" y="721731"/>
                </a:lnTo>
                <a:lnTo>
                  <a:pt x="2526919" y="714586"/>
                </a:lnTo>
                <a:lnTo>
                  <a:pt x="2532236" y="714369"/>
                </a:lnTo>
                <a:lnTo>
                  <a:pt x="2536685" y="710255"/>
                </a:lnTo>
                <a:lnTo>
                  <a:pt x="2543739" y="708955"/>
                </a:lnTo>
                <a:lnTo>
                  <a:pt x="2549599" y="709497"/>
                </a:lnTo>
                <a:lnTo>
                  <a:pt x="2551660" y="711770"/>
                </a:lnTo>
                <a:lnTo>
                  <a:pt x="2553939" y="711445"/>
                </a:lnTo>
                <a:lnTo>
                  <a:pt x="2560450" y="714586"/>
                </a:lnTo>
                <a:lnTo>
                  <a:pt x="2560885" y="717400"/>
                </a:lnTo>
                <a:lnTo>
                  <a:pt x="2564574" y="720649"/>
                </a:lnTo>
                <a:lnTo>
                  <a:pt x="2567504" y="721948"/>
                </a:lnTo>
                <a:lnTo>
                  <a:pt x="2568046" y="725737"/>
                </a:lnTo>
                <a:lnTo>
                  <a:pt x="2570434" y="725521"/>
                </a:lnTo>
                <a:lnTo>
                  <a:pt x="2571519" y="723680"/>
                </a:lnTo>
                <a:lnTo>
                  <a:pt x="2575317" y="724330"/>
                </a:lnTo>
                <a:lnTo>
                  <a:pt x="2577053" y="728120"/>
                </a:lnTo>
                <a:lnTo>
                  <a:pt x="2582153" y="730502"/>
                </a:lnTo>
                <a:lnTo>
                  <a:pt x="2582371" y="733641"/>
                </a:lnTo>
                <a:lnTo>
                  <a:pt x="2582045" y="736889"/>
                </a:lnTo>
                <a:lnTo>
                  <a:pt x="2583239" y="739271"/>
                </a:lnTo>
                <a:lnTo>
                  <a:pt x="2583781" y="742411"/>
                </a:lnTo>
                <a:lnTo>
                  <a:pt x="2579658" y="747175"/>
                </a:lnTo>
                <a:lnTo>
                  <a:pt x="2575860" y="746526"/>
                </a:lnTo>
                <a:lnTo>
                  <a:pt x="2571519" y="745334"/>
                </a:lnTo>
                <a:lnTo>
                  <a:pt x="2564791" y="747175"/>
                </a:lnTo>
                <a:lnTo>
                  <a:pt x="2557520" y="753888"/>
                </a:lnTo>
                <a:lnTo>
                  <a:pt x="2565659" y="748691"/>
                </a:lnTo>
                <a:lnTo>
                  <a:pt x="2573364" y="748257"/>
                </a:lnTo>
                <a:lnTo>
                  <a:pt x="2574991" y="750640"/>
                </a:lnTo>
                <a:lnTo>
                  <a:pt x="2571627" y="753888"/>
                </a:lnTo>
                <a:lnTo>
                  <a:pt x="2566527" y="757136"/>
                </a:lnTo>
                <a:lnTo>
                  <a:pt x="2561210" y="764932"/>
                </a:lnTo>
                <a:lnTo>
                  <a:pt x="2557412" y="767855"/>
                </a:lnTo>
                <a:lnTo>
                  <a:pt x="2554807" y="768179"/>
                </a:lnTo>
                <a:lnTo>
                  <a:pt x="2554156" y="771752"/>
                </a:lnTo>
                <a:lnTo>
                  <a:pt x="2556543" y="772077"/>
                </a:lnTo>
                <a:lnTo>
                  <a:pt x="2565116" y="763307"/>
                </a:lnTo>
                <a:lnTo>
                  <a:pt x="2568697" y="757677"/>
                </a:lnTo>
                <a:lnTo>
                  <a:pt x="2574991" y="755404"/>
                </a:lnTo>
                <a:lnTo>
                  <a:pt x="2579983" y="750640"/>
                </a:lnTo>
                <a:lnTo>
                  <a:pt x="2584758" y="752155"/>
                </a:lnTo>
                <a:lnTo>
                  <a:pt x="2586820" y="754212"/>
                </a:lnTo>
                <a:lnTo>
                  <a:pt x="2590075" y="754538"/>
                </a:lnTo>
                <a:lnTo>
                  <a:pt x="2590075" y="758002"/>
                </a:lnTo>
                <a:lnTo>
                  <a:pt x="2588230" y="761575"/>
                </a:lnTo>
                <a:lnTo>
                  <a:pt x="2588556" y="765256"/>
                </a:lnTo>
                <a:lnTo>
                  <a:pt x="2583347" y="766989"/>
                </a:lnTo>
                <a:lnTo>
                  <a:pt x="2580960" y="771752"/>
                </a:lnTo>
                <a:lnTo>
                  <a:pt x="2575968" y="772077"/>
                </a:lnTo>
                <a:lnTo>
                  <a:pt x="2573798" y="770345"/>
                </a:lnTo>
                <a:lnTo>
                  <a:pt x="2569457" y="770345"/>
                </a:lnTo>
                <a:lnTo>
                  <a:pt x="2567070" y="773485"/>
                </a:lnTo>
                <a:lnTo>
                  <a:pt x="2571844" y="773485"/>
                </a:lnTo>
                <a:lnTo>
                  <a:pt x="2572930" y="776083"/>
                </a:lnTo>
                <a:lnTo>
                  <a:pt x="2564574" y="780522"/>
                </a:lnTo>
                <a:lnTo>
                  <a:pt x="2567721" y="781280"/>
                </a:lnTo>
                <a:lnTo>
                  <a:pt x="2570434" y="778465"/>
                </a:lnTo>
                <a:lnTo>
                  <a:pt x="2575643" y="776950"/>
                </a:lnTo>
                <a:lnTo>
                  <a:pt x="2578355" y="775326"/>
                </a:lnTo>
                <a:lnTo>
                  <a:pt x="2579115" y="777599"/>
                </a:lnTo>
                <a:lnTo>
                  <a:pt x="2577162" y="780197"/>
                </a:lnTo>
                <a:lnTo>
                  <a:pt x="2572170" y="781280"/>
                </a:lnTo>
                <a:lnTo>
                  <a:pt x="2567721" y="784853"/>
                </a:lnTo>
                <a:lnTo>
                  <a:pt x="2571194" y="784312"/>
                </a:lnTo>
                <a:lnTo>
                  <a:pt x="2572495" y="785395"/>
                </a:lnTo>
                <a:lnTo>
                  <a:pt x="2569891" y="789509"/>
                </a:lnTo>
                <a:lnTo>
                  <a:pt x="2565008" y="793731"/>
                </a:lnTo>
                <a:lnTo>
                  <a:pt x="2561535" y="796654"/>
                </a:lnTo>
                <a:lnTo>
                  <a:pt x="2564574" y="797196"/>
                </a:lnTo>
                <a:lnTo>
                  <a:pt x="2570108" y="793623"/>
                </a:lnTo>
                <a:lnTo>
                  <a:pt x="2573907" y="786261"/>
                </a:lnTo>
                <a:lnTo>
                  <a:pt x="2577053" y="782471"/>
                </a:lnTo>
                <a:lnTo>
                  <a:pt x="2584216" y="777058"/>
                </a:lnTo>
                <a:lnTo>
                  <a:pt x="2585409" y="778790"/>
                </a:lnTo>
                <a:lnTo>
                  <a:pt x="2585409" y="781280"/>
                </a:lnTo>
                <a:lnTo>
                  <a:pt x="2589424" y="779332"/>
                </a:lnTo>
                <a:lnTo>
                  <a:pt x="2590075" y="776083"/>
                </a:lnTo>
                <a:lnTo>
                  <a:pt x="2595935" y="772294"/>
                </a:lnTo>
                <a:lnTo>
                  <a:pt x="2599082" y="772618"/>
                </a:lnTo>
                <a:lnTo>
                  <a:pt x="2598756" y="775542"/>
                </a:lnTo>
                <a:lnTo>
                  <a:pt x="2591486" y="781713"/>
                </a:lnTo>
                <a:lnTo>
                  <a:pt x="2583347" y="787019"/>
                </a:lnTo>
                <a:lnTo>
                  <a:pt x="2580091" y="787885"/>
                </a:lnTo>
                <a:lnTo>
                  <a:pt x="2580091" y="790158"/>
                </a:lnTo>
                <a:lnTo>
                  <a:pt x="2582153" y="791241"/>
                </a:lnTo>
                <a:lnTo>
                  <a:pt x="2579766" y="795356"/>
                </a:lnTo>
                <a:lnTo>
                  <a:pt x="2578790" y="799578"/>
                </a:lnTo>
                <a:lnTo>
                  <a:pt x="2580309" y="800228"/>
                </a:lnTo>
                <a:lnTo>
                  <a:pt x="2583021" y="796330"/>
                </a:lnTo>
                <a:lnTo>
                  <a:pt x="2583998" y="792107"/>
                </a:lnTo>
                <a:lnTo>
                  <a:pt x="2590509" y="786694"/>
                </a:lnTo>
                <a:lnTo>
                  <a:pt x="2595501" y="783554"/>
                </a:lnTo>
                <a:lnTo>
                  <a:pt x="2595284" y="786694"/>
                </a:lnTo>
                <a:lnTo>
                  <a:pt x="2595935" y="789401"/>
                </a:lnTo>
                <a:lnTo>
                  <a:pt x="2593548" y="792432"/>
                </a:lnTo>
                <a:lnTo>
                  <a:pt x="2587796" y="797954"/>
                </a:lnTo>
                <a:lnTo>
                  <a:pt x="2587146" y="800877"/>
                </a:lnTo>
                <a:lnTo>
                  <a:pt x="2583456" y="807265"/>
                </a:lnTo>
                <a:lnTo>
                  <a:pt x="2580960" y="809431"/>
                </a:lnTo>
                <a:lnTo>
                  <a:pt x="2581286" y="810621"/>
                </a:lnTo>
                <a:lnTo>
                  <a:pt x="2585517" y="809431"/>
                </a:lnTo>
                <a:lnTo>
                  <a:pt x="2587362" y="805858"/>
                </a:lnTo>
                <a:lnTo>
                  <a:pt x="2593222" y="797954"/>
                </a:lnTo>
                <a:lnTo>
                  <a:pt x="2596912" y="796330"/>
                </a:lnTo>
                <a:lnTo>
                  <a:pt x="2598865" y="799362"/>
                </a:lnTo>
                <a:lnTo>
                  <a:pt x="2600059" y="800228"/>
                </a:lnTo>
                <a:lnTo>
                  <a:pt x="2599841" y="802718"/>
                </a:lnTo>
                <a:lnTo>
                  <a:pt x="2596695" y="803909"/>
                </a:lnTo>
                <a:lnTo>
                  <a:pt x="2592463" y="810080"/>
                </a:lnTo>
                <a:lnTo>
                  <a:pt x="2591269" y="816035"/>
                </a:lnTo>
                <a:lnTo>
                  <a:pt x="2593114" y="816793"/>
                </a:lnTo>
                <a:lnTo>
                  <a:pt x="2594850" y="813545"/>
                </a:lnTo>
                <a:lnTo>
                  <a:pt x="2595827" y="809864"/>
                </a:lnTo>
                <a:lnTo>
                  <a:pt x="2598973" y="805208"/>
                </a:lnTo>
                <a:lnTo>
                  <a:pt x="2603857" y="803042"/>
                </a:lnTo>
                <a:lnTo>
                  <a:pt x="2603857" y="798387"/>
                </a:lnTo>
                <a:lnTo>
                  <a:pt x="2605702" y="794706"/>
                </a:lnTo>
                <a:lnTo>
                  <a:pt x="2609391" y="792865"/>
                </a:lnTo>
                <a:lnTo>
                  <a:pt x="2609934" y="789401"/>
                </a:lnTo>
                <a:lnTo>
                  <a:pt x="2611236" y="787019"/>
                </a:lnTo>
                <a:lnTo>
                  <a:pt x="2613298" y="786152"/>
                </a:lnTo>
                <a:lnTo>
                  <a:pt x="2615468" y="782796"/>
                </a:lnTo>
                <a:lnTo>
                  <a:pt x="2615793" y="779440"/>
                </a:lnTo>
                <a:lnTo>
                  <a:pt x="2617747" y="778573"/>
                </a:lnTo>
                <a:lnTo>
                  <a:pt x="2621328" y="785828"/>
                </a:lnTo>
                <a:lnTo>
                  <a:pt x="2624692" y="787885"/>
                </a:lnTo>
                <a:lnTo>
                  <a:pt x="2628815" y="792107"/>
                </a:lnTo>
                <a:lnTo>
                  <a:pt x="2629792" y="796438"/>
                </a:lnTo>
                <a:lnTo>
                  <a:pt x="2630769" y="800985"/>
                </a:lnTo>
                <a:lnTo>
                  <a:pt x="2635218" y="805858"/>
                </a:lnTo>
                <a:lnTo>
                  <a:pt x="2635543" y="807915"/>
                </a:lnTo>
                <a:lnTo>
                  <a:pt x="2632397" y="811054"/>
                </a:lnTo>
                <a:lnTo>
                  <a:pt x="2627839" y="816685"/>
                </a:lnTo>
                <a:lnTo>
                  <a:pt x="2625126" y="816793"/>
                </a:lnTo>
                <a:lnTo>
                  <a:pt x="2621979" y="814195"/>
                </a:lnTo>
                <a:lnTo>
                  <a:pt x="2617964" y="810730"/>
                </a:lnTo>
                <a:lnTo>
                  <a:pt x="2615685" y="811054"/>
                </a:lnTo>
                <a:lnTo>
                  <a:pt x="2613515" y="812787"/>
                </a:lnTo>
                <a:lnTo>
                  <a:pt x="2610694" y="813870"/>
                </a:lnTo>
                <a:lnTo>
                  <a:pt x="2608523" y="818201"/>
                </a:lnTo>
                <a:lnTo>
                  <a:pt x="2605159" y="820150"/>
                </a:lnTo>
                <a:lnTo>
                  <a:pt x="2602338" y="820041"/>
                </a:lnTo>
                <a:lnTo>
                  <a:pt x="2599733" y="823181"/>
                </a:lnTo>
                <a:lnTo>
                  <a:pt x="2604942" y="822423"/>
                </a:lnTo>
                <a:lnTo>
                  <a:pt x="2607329" y="822423"/>
                </a:lnTo>
                <a:lnTo>
                  <a:pt x="2608414" y="825238"/>
                </a:lnTo>
                <a:lnTo>
                  <a:pt x="2604725" y="829352"/>
                </a:lnTo>
                <a:lnTo>
                  <a:pt x="2600818" y="831301"/>
                </a:lnTo>
                <a:lnTo>
                  <a:pt x="2597020" y="833250"/>
                </a:lnTo>
                <a:lnTo>
                  <a:pt x="2602663" y="833358"/>
                </a:lnTo>
                <a:lnTo>
                  <a:pt x="2606461" y="831085"/>
                </a:lnTo>
                <a:lnTo>
                  <a:pt x="2611562" y="830327"/>
                </a:lnTo>
                <a:lnTo>
                  <a:pt x="2615360" y="830976"/>
                </a:lnTo>
                <a:lnTo>
                  <a:pt x="2619483" y="827620"/>
                </a:lnTo>
                <a:lnTo>
                  <a:pt x="2623716" y="827728"/>
                </a:lnTo>
                <a:lnTo>
                  <a:pt x="2626429" y="829894"/>
                </a:lnTo>
                <a:lnTo>
                  <a:pt x="2626862" y="832059"/>
                </a:lnTo>
                <a:lnTo>
                  <a:pt x="2626102" y="833683"/>
                </a:lnTo>
                <a:lnTo>
                  <a:pt x="2628056" y="832492"/>
                </a:lnTo>
                <a:lnTo>
                  <a:pt x="2629250" y="827187"/>
                </a:lnTo>
                <a:lnTo>
                  <a:pt x="2628815" y="823181"/>
                </a:lnTo>
                <a:lnTo>
                  <a:pt x="2631529" y="819717"/>
                </a:lnTo>
                <a:lnTo>
                  <a:pt x="2638365" y="816468"/>
                </a:lnTo>
                <a:lnTo>
                  <a:pt x="2639559" y="817659"/>
                </a:lnTo>
                <a:lnTo>
                  <a:pt x="2639016" y="820799"/>
                </a:lnTo>
                <a:lnTo>
                  <a:pt x="2640318" y="824697"/>
                </a:lnTo>
                <a:lnTo>
                  <a:pt x="2638148" y="828811"/>
                </a:lnTo>
                <a:lnTo>
                  <a:pt x="2633916" y="834441"/>
                </a:lnTo>
                <a:lnTo>
                  <a:pt x="2629141" y="836282"/>
                </a:lnTo>
                <a:lnTo>
                  <a:pt x="2625777" y="839205"/>
                </a:lnTo>
                <a:lnTo>
                  <a:pt x="2624909" y="841262"/>
                </a:lnTo>
                <a:lnTo>
                  <a:pt x="2620568" y="841154"/>
                </a:lnTo>
                <a:lnTo>
                  <a:pt x="2617964" y="839963"/>
                </a:lnTo>
                <a:lnTo>
                  <a:pt x="2615143" y="840071"/>
                </a:lnTo>
                <a:lnTo>
                  <a:pt x="2612755" y="842994"/>
                </a:lnTo>
                <a:lnTo>
                  <a:pt x="2611995" y="846243"/>
                </a:lnTo>
                <a:lnTo>
                  <a:pt x="2607764" y="850465"/>
                </a:lnTo>
                <a:lnTo>
                  <a:pt x="2607112" y="853280"/>
                </a:lnTo>
                <a:lnTo>
                  <a:pt x="2605811" y="855987"/>
                </a:lnTo>
                <a:lnTo>
                  <a:pt x="2608197" y="855554"/>
                </a:lnTo>
                <a:lnTo>
                  <a:pt x="2613623" y="849707"/>
                </a:lnTo>
                <a:lnTo>
                  <a:pt x="2617096" y="843752"/>
                </a:lnTo>
                <a:lnTo>
                  <a:pt x="2619591" y="842670"/>
                </a:lnTo>
                <a:lnTo>
                  <a:pt x="2620894" y="843969"/>
                </a:lnTo>
                <a:lnTo>
                  <a:pt x="2622630" y="844186"/>
                </a:lnTo>
                <a:lnTo>
                  <a:pt x="2623173" y="846026"/>
                </a:lnTo>
                <a:lnTo>
                  <a:pt x="2621003" y="848408"/>
                </a:lnTo>
                <a:lnTo>
                  <a:pt x="2618181" y="853605"/>
                </a:lnTo>
                <a:lnTo>
                  <a:pt x="2612321" y="859452"/>
                </a:lnTo>
                <a:lnTo>
                  <a:pt x="2608740" y="862916"/>
                </a:lnTo>
                <a:lnTo>
                  <a:pt x="2608849" y="864324"/>
                </a:lnTo>
                <a:lnTo>
                  <a:pt x="2616336" y="860318"/>
                </a:lnTo>
                <a:lnTo>
                  <a:pt x="2624258" y="851439"/>
                </a:lnTo>
                <a:lnTo>
                  <a:pt x="2627405" y="844077"/>
                </a:lnTo>
                <a:lnTo>
                  <a:pt x="2628165" y="840937"/>
                </a:lnTo>
                <a:lnTo>
                  <a:pt x="2630118" y="838447"/>
                </a:lnTo>
                <a:lnTo>
                  <a:pt x="2632722" y="838447"/>
                </a:lnTo>
                <a:lnTo>
                  <a:pt x="2639559" y="833683"/>
                </a:lnTo>
                <a:lnTo>
                  <a:pt x="2645744" y="831193"/>
                </a:lnTo>
                <a:lnTo>
                  <a:pt x="2648783" y="830219"/>
                </a:lnTo>
                <a:lnTo>
                  <a:pt x="2649217" y="831843"/>
                </a:lnTo>
                <a:lnTo>
                  <a:pt x="2647480" y="834658"/>
                </a:lnTo>
                <a:lnTo>
                  <a:pt x="2642597" y="839746"/>
                </a:lnTo>
                <a:lnTo>
                  <a:pt x="2637931" y="839746"/>
                </a:lnTo>
                <a:lnTo>
                  <a:pt x="2635218" y="842020"/>
                </a:lnTo>
                <a:lnTo>
                  <a:pt x="2634567" y="846026"/>
                </a:lnTo>
                <a:lnTo>
                  <a:pt x="2635652" y="846892"/>
                </a:lnTo>
                <a:lnTo>
                  <a:pt x="2638799" y="843644"/>
                </a:lnTo>
                <a:lnTo>
                  <a:pt x="2643574" y="843103"/>
                </a:lnTo>
                <a:lnTo>
                  <a:pt x="2647806" y="839421"/>
                </a:lnTo>
                <a:lnTo>
                  <a:pt x="2651170" y="838339"/>
                </a:lnTo>
                <a:lnTo>
                  <a:pt x="2653449" y="836390"/>
                </a:lnTo>
                <a:lnTo>
                  <a:pt x="2656813" y="834225"/>
                </a:lnTo>
                <a:lnTo>
                  <a:pt x="2660068" y="834658"/>
                </a:lnTo>
                <a:lnTo>
                  <a:pt x="2662131" y="838988"/>
                </a:lnTo>
                <a:lnTo>
                  <a:pt x="2667230" y="844727"/>
                </a:lnTo>
                <a:lnTo>
                  <a:pt x="2669835" y="848841"/>
                </a:lnTo>
                <a:lnTo>
                  <a:pt x="2673525" y="850682"/>
                </a:lnTo>
                <a:lnTo>
                  <a:pt x="2674393" y="853280"/>
                </a:lnTo>
                <a:lnTo>
                  <a:pt x="2673742" y="857178"/>
                </a:lnTo>
                <a:lnTo>
                  <a:pt x="2669075" y="861617"/>
                </a:lnTo>
                <a:lnTo>
                  <a:pt x="2667230" y="860535"/>
                </a:lnTo>
                <a:lnTo>
                  <a:pt x="2667665" y="855878"/>
                </a:lnTo>
                <a:lnTo>
                  <a:pt x="2664734" y="856637"/>
                </a:lnTo>
                <a:lnTo>
                  <a:pt x="2663975" y="858910"/>
                </a:lnTo>
                <a:lnTo>
                  <a:pt x="2661804" y="861509"/>
                </a:lnTo>
                <a:lnTo>
                  <a:pt x="2658766" y="864324"/>
                </a:lnTo>
                <a:lnTo>
                  <a:pt x="2651279" y="864865"/>
                </a:lnTo>
                <a:lnTo>
                  <a:pt x="2647915" y="866381"/>
                </a:lnTo>
                <a:lnTo>
                  <a:pt x="2642923" y="866164"/>
                </a:lnTo>
                <a:lnTo>
                  <a:pt x="2636520" y="870387"/>
                </a:lnTo>
                <a:lnTo>
                  <a:pt x="2632614" y="870712"/>
                </a:lnTo>
                <a:lnTo>
                  <a:pt x="2625994" y="874501"/>
                </a:lnTo>
                <a:lnTo>
                  <a:pt x="2630227" y="873960"/>
                </a:lnTo>
                <a:lnTo>
                  <a:pt x="2632505" y="875151"/>
                </a:lnTo>
                <a:lnTo>
                  <a:pt x="2631203" y="878290"/>
                </a:lnTo>
                <a:lnTo>
                  <a:pt x="2625234" y="879590"/>
                </a:lnTo>
                <a:lnTo>
                  <a:pt x="2623498" y="881755"/>
                </a:lnTo>
                <a:lnTo>
                  <a:pt x="2631529" y="880672"/>
                </a:lnTo>
                <a:lnTo>
                  <a:pt x="2636195" y="875800"/>
                </a:lnTo>
                <a:lnTo>
                  <a:pt x="2643140" y="869737"/>
                </a:lnTo>
                <a:lnTo>
                  <a:pt x="2648240" y="869304"/>
                </a:lnTo>
                <a:lnTo>
                  <a:pt x="2651821" y="870387"/>
                </a:lnTo>
                <a:lnTo>
                  <a:pt x="2655077" y="869088"/>
                </a:lnTo>
                <a:lnTo>
                  <a:pt x="2658115" y="868980"/>
                </a:lnTo>
                <a:lnTo>
                  <a:pt x="2658332" y="870712"/>
                </a:lnTo>
                <a:lnTo>
                  <a:pt x="2657898" y="875692"/>
                </a:lnTo>
                <a:lnTo>
                  <a:pt x="2654751" y="877857"/>
                </a:lnTo>
                <a:lnTo>
                  <a:pt x="2650627" y="880456"/>
                </a:lnTo>
                <a:lnTo>
                  <a:pt x="2648023" y="880348"/>
                </a:lnTo>
                <a:lnTo>
                  <a:pt x="2644442" y="881972"/>
                </a:lnTo>
                <a:lnTo>
                  <a:pt x="2641729" y="886194"/>
                </a:lnTo>
                <a:lnTo>
                  <a:pt x="2637931" y="887818"/>
                </a:lnTo>
                <a:lnTo>
                  <a:pt x="2634242" y="885870"/>
                </a:lnTo>
                <a:lnTo>
                  <a:pt x="2631637" y="886953"/>
                </a:lnTo>
                <a:lnTo>
                  <a:pt x="2627622" y="890850"/>
                </a:lnTo>
                <a:lnTo>
                  <a:pt x="2630118" y="890309"/>
                </a:lnTo>
                <a:lnTo>
                  <a:pt x="2634133" y="888793"/>
                </a:lnTo>
                <a:lnTo>
                  <a:pt x="2637388" y="889659"/>
                </a:lnTo>
                <a:lnTo>
                  <a:pt x="2639668" y="891067"/>
                </a:lnTo>
                <a:lnTo>
                  <a:pt x="2644442" y="887169"/>
                </a:lnTo>
                <a:lnTo>
                  <a:pt x="2647480" y="882838"/>
                </a:lnTo>
                <a:lnTo>
                  <a:pt x="2651604" y="881431"/>
                </a:lnTo>
                <a:lnTo>
                  <a:pt x="2654643" y="882621"/>
                </a:lnTo>
                <a:lnTo>
                  <a:pt x="2658875" y="883488"/>
                </a:lnTo>
                <a:lnTo>
                  <a:pt x="2661913" y="879915"/>
                </a:lnTo>
                <a:lnTo>
                  <a:pt x="2666471" y="877857"/>
                </a:lnTo>
                <a:lnTo>
                  <a:pt x="2668207" y="876450"/>
                </a:lnTo>
                <a:lnTo>
                  <a:pt x="2668207" y="873635"/>
                </a:lnTo>
                <a:lnTo>
                  <a:pt x="2666579" y="872227"/>
                </a:lnTo>
                <a:lnTo>
                  <a:pt x="2669292" y="868329"/>
                </a:lnTo>
                <a:lnTo>
                  <a:pt x="2669401" y="865839"/>
                </a:lnTo>
                <a:lnTo>
                  <a:pt x="2672548" y="864974"/>
                </a:lnTo>
                <a:lnTo>
                  <a:pt x="2673633" y="865948"/>
                </a:lnTo>
                <a:lnTo>
                  <a:pt x="2675478" y="865298"/>
                </a:lnTo>
                <a:lnTo>
                  <a:pt x="2676888" y="870278"/>
                </a:lnTo>
                <a:lnTo>
                  <a:pt x="2681121" y="879698"/>
                </a:lnTo>
                <a:lnTo>
                  <a:pt x="2682314" y="885437"/>
                </a:lnTo>
                <a:lnTo>
                  <a:pt x="2684919" y="888901"/>
                </a:lnTo>
                <a:lnTo>
                  <a:pt x="2684051" y="892582"/>
                </a:lnTo>
                <a:lnTo>
                  <a:pt x="2681989" y="895831"/>
                </a:lnTo>
                <a:lnTo>
                  <a:pt x="2676888" y="895614"/>
                </a:lnTo>
                <a:lnTo>
                  <a:pt x="2673742" y="893340"/>
                </a:lnTo>
                <a:lnTo>
                  <a:pt x="2667230" y="892799"/>
                </a:lnTo>
                <a:lnTo>
                  <a:pt x="2663758" y="894639"/>
                </a:lnTo>
                <a:lnTo>
                  <a:pt x="2660068" y="897130"/>
                </a:lnTo>
                <a:lnTo>
                  <a:pt x="2657138" y="897238"/>
                </a:lnTo>
                <a:lnTo>
                  <a:pt x="2655728" y="896047"/>
                </a:lnTo>
                <a:lnTo>
                  <a:pt x="2652038" y="896263"/>
                </a:lnTo>
                <a:lnTo>
                  <a:pt x="2649108" y="899079"/>
                </a:lnTo>
                <a:lnTo>
                  <a:pt x="2641838" y="900161"/>
                </a:lnTo>
                <a:lnTo>
                  <a:pt x="2644984" y="901353"/>
                </a:lnTo>
                <a:lnTo>
                  <a:pt x="2653232" y="900161"/>
                </a:lnTo>
                <a:lnTo>
                  <a:pt x="2657464" y="901461"/>
                </a:lnTo>
                <a:lnTo>
                  <a:pt x="2663867" y="907416"/>
                </a:lnTo>
                <a:lnTo>
                  <a:pt x="2667122" y="909256"/>
                </a:lnTo>
                <a:lnTo>
                  <a:pt x="2669618" y="907957"/>
                </a:lnTo>
                <a:lnTo>
                  <a:pt x="2672331" y="907199"/>
                </a:lnTo>
                <a:lnTo>
                  <a:pt x="2674610" y="908823"/>
                </a:lnTo>
                <a:lnTo>
                  <a:pt x="2678408" y="911205"/>
                </a:lnTo>
                <a:lnTo>
                  <a:pt x="2683182" y="913045"/>
                </a:lnTo>
                <a:lnTo>
                  <a:pt x="2683725" y="916402"/>
                </a:lnTo>
                <a:lnTo>
                  <a:pt x="2686004" y="920191"/>
                </a:lnTo>
                <a:lnTo>
                  <a:pt x="2686221" y="925280"/>
                </a:lnTo>
                <a:lnTo>
                  <a:pt x="2684376" y="926796"/>
                </a:lnTo>
                <a:lnTo>
                  <a:pt x="2681121" y="926688"/>
                </a:lnTo>
                <a:lnTo>
                  <a:pt x="2678842" y="922898"/>
                </a:lnTo>
                <a:lnTo>
                  <a:pt x="2677214" y="923223"/>
                </a:lnTo>
                <a:lnTo>
                  <a:pt x="2675152" y="925713"/>
                </a:lnTo>
                <a:lnTo>
                  <a:pt x="2672982" y="924630"/>
                </a:lnTo>
                <a:lnTo>
                  <a:pt x="2671463" y="922140"/>
                </a:lnTo>
                <a:lnTo>
                  <a:pt x="2668967" y="923440"/>
                </a:lnTo>
                <a:lnTo>
                  <a:pt x="2666037" y="922681"/>
                </a:lnTo>
                <a:lnTo>
                  <a:pt x="2660503" y="916510"/>
                </a:lnTo>
                <a:lnTo>
                  <a:pt x="2658224" y="915752"/>
                </a:lnTo>
                <a:lnTo>
                  <a:pt x="2655077" y="916185"/>
                </a:lnTo>
                <a:lnTo>
                  <a:pt x="2651170" y="916618"/>
                </a:lnTo>
                <a:lnTo>
                  <a:pt x="2647589" y="914886"/>
                </a:lnTo>
                <a:lnTo>
                  <a:pt x="2649000" y="916943"/>
                </a:lnTo>
                <a:lnTo>
                  <a:pt x="2653557" y="918351"/>
                </a:lnTo>
                <a:lnTo>
                  <a:pt x="2657247" y="919108"/>
                </a:lnTo>
                <a:lnTo>
                  <a:pt x="2656053" y="921166"/>
                </a:lnTo>
                <a:lnTo>
                  <a:pt x="2650410" y="921599"/>
                </a:lnTo>
                <a:lnTo>
                  <a:pt x="2648023" y="922790"/>
                </a:lnTo>
                <a:lnTo>
                  <a:pt x="2642814" y="922790"/>
                </a:lnTo>
                <a:lnTo>
                  <a:pt x="2639016" y="925280"/>
                </a:lnTo>
                <a:lnTo>
                  <a:pt x="2639668" y="928312"/>
                </a:lnTo>
                <a:lnTo>
                  <a:pt x="2641946" y="927879"/>
                </a:lnTo>
                <a:lnTo>
                  <a:pt x="2643031" y="925822"/>
                </a:lnTo>
                <a:lnTo>
                  <a:pt x="2648891" y="925930"/>
                </a:lnTo>
                <a:lnTo>
                  <a:pt x="2652581" y="923873"/>
                </a:lnTo>
                <a:lnTo>
                  <a:pt x="2656162" y="923223"/>
                </a:lnTo>
                <a:lnTo>
                  <a:pt x="2658549" y="926579"/>
                </a:lnTo>
                <a:lnTo>
                  <a:pt x="2658658" y="928312"/>
                </a:lnTo>
                <a:lnTo>
                  <a:pt x="2661479" y="929611"/>
                </a:lnTo>
                <a:lnTo>
                  <a:pt x="2661913" y="931235"/>
                </a:lnTo>
                <a:lnTo>
                  <a:pt x="2660828" y="931777"/>
                </a:lnTo>
                <a:lnTo>
                  <a:pt x="2656379" y="931777"/>
                </a:lnTo>
                <a:lnTo>
                  <a:pt x="2654208" y="933400"/>
                </a:lnTo>
                <a:lnTo>
                  <a:pt x="2652255" y="932101"/>
                </a:lnTo>
                <a:lnTo>
                  <a:pt x="2651062" y="930369"/>
                </a:lnTo>
                <a:lnTo>
                  <a:pt x="2648457" y="930585"/>
                </a:lnTo>
                <a:lnTo>
                  <a:pt x="2647264" y="931560"/>
                </a:lnTo>
                <a:lnTo>
                  <a:pt x="2650736" y="934158"/>
                </a:lnTo>
                <a:lnTo>
                  <a:pt x="2654100" y="935566"/>
                </a:lnTo>
                <a:lnTo>
                  <a:pt x="2655945" y="937623"/>
                </a:lnTo>
                <a:lnTo>
                  <a:pt x="2655836" y="940546"/>
                </a:lnTo>
                <a:lnTo>
                  <a:pt x="2657356" y="942603"/>
                </a:lnTo>
                <a:lnTo>
                  <a:pt x="2654860" y="942928"/>
                </a:lnTo>
                <a:lnTo>
                  <a:pt x="2645744" y="940438"/>
                </a:lnTo>
                <a:lnTo>
                  <a:pt x="2640101" y="940222"/>
                </a:lnTo>
                <a:lnTo>
                  <a:pt x="2631312" y="936973"/>
                </a:lnTo>
                <a:lnTo>
                  <a:pt x="2627622" y="937514"/>
                </a:lnTo>
                <a:lnTo>
                  <a:pt x="2628815" y="939030"/>
                </a:lnTo>
                <a:lnTo>
                  <a:pt x="2634025" y="940438"/>
                </a:lnTo>
                <a:lnTo>
                  <a:pt x="2646287" y="946393"/>
                </a:lnTo>
                <a:lnTo>
                  <a:pt x="2646938" y="948883"/>
                </a:lnTo>
                <a:lnTo>
                  <a:pt x="2644876" y="949316"/>
                </a:lnTo>
                <a:lnTo>
                  <a:pt x="2638148" y="945202"/>
                </a:lnTo>
                <a:lnTo>
                  <a:pt x="2636086" y="945852"/>
                </a:lnTo>
                <a:lnTo>
                  <a:pt x="2632831" y="949532"/>
                </a:lnTo>
                <a:lnTo>
                  <a:pt x="2635978" y="948991"/>
                </a:lnTo>
                <a:lnTo>
                  <a:pt x="2638040" y="950399"/>
                </a:lnTo>
                <a:lnTo>
                  <a:pt x="2640536" y="952564"/>
                </a:lnTo>
                <a:lnTo>
                  <a:pt x="2642163" y="951698"/>
                </a:lnTo>
                <a:lnTo>
                  <a:pt x="2644225" y="952781"/>
                </a:lnTo>
                <a:lnTo>
                  <a:pt x="2644551" y="955921"/>
                </a:lnTo>
                <a:lnTo>
                  <a:pt x="2646070" y="958411"/>
                </a:lnTo>
                <a:lnTo>
                  <a:pt x="2647806" y="957220"/>
                </a:lnTo>
                <a:lnTo>
                  <a:pt x="2648349" y="954622"/>
                </a:lnTo>
                <a:lnTo>
                  <a:pt x="2652255" y="954622"/>
                </a:lnTo>
                <a:lnTo>
                  <a:pt x="2651930" y="957112"/>
                </a:lnTo>
                <a:lnTo>
                  <a:pt x="2650410" y="958952"/>
                </a:lnTo>
                <a:lnTo>
                  <a:pt x="2650410" y="960901"/>
                </a:lnTo>
                <a:lnTo>
                  <a:pt x="2653015" y="960685"/>
                </a:lnTo>
                <a:lnTo>
                  <a:pt x="2653123" y="956354"/>
                </a:lnTo>
                <a:lnTo>
                  <a:pt x="2656379" y="956354"/>
                </a:lnTo>
                <a:lnTo>
                  <a:pt x="2661045" y="958844"/>
                </a:lnTo>
                <a:lnTo>
                  <a:pt x="2665386" y="960144"/>
                </a:lnTo>
                <a:lnTo>
                  <a:pt x="2669075" y="960035"/>
                </a:lnTo>
                <a:lnTo>
                  <a:pt x="2667447" y="963824"/>
                </a:lnTo>
                <a:lnTo>
                  <a:pt x="2666797" y="965881"/>
                </a:lnTo>
                <a:lnTo>
                  <a:pt x="2662673" y="964474"/>
                </a:lnTo>
                <a:lnTo>
                  <a:pt x="2660068" y="962742"/>
                </a:lnTo>
                <a:lnTo>
                  <a:pt x="2654751" y="963608"/>
                </a:lnTo>
                <a:lnTo>
                  <a:pt x="2647480" y="967073"/>
                </a:lnTo>
                <a:lnTo>
                  <a:pt x="2647264" y="970429"/>
                </a:lnTo>
                <a:lnTo>
                  <a:pt x="2650410" y="967181"/>
                </a:lnTo>
                <a:lnTo>
                  <a:pt x="2656053" y="967181"/>
                </a:lnTo>
                <a:lnTo>
                  <a:pt x="2660286" y="968372"/>
                </a:lnTo>
                <a:lnTo>
                  <a:pt x="2656379" y="969130"/>
                </a:lnTo>
                <a:lnTo>
                  <a:pt x="2655077" y="972053"/>
                </a:lnTo>
                <a:lnTo>
                  <a:pt x="2658006" y="970646"/>
                </a:lnTo>
                <a:lnTo>
                  <a:pt x="2663867" y="970862"/>
                </a:lnTo>
                <a:lnTo>
                  <a:pt x="2665929" y="972919"/>
                </a:lnTo>
                <a:lnTo>
                  <a:pt x="2664734" y="974219"/>
                </a:lnTo>
                <a:lnTo>
                  <a:pt x="2668641" y="975842"/>
                </a:lnTo>
                <a:lnTo>
                  <a:pt x="2670377" y="978766"/>
                </a:lnTo>
                <a:lnTo>
                  <a:pt x="2669075" y="981364"/>
                </a:lnTo>
                <a:lnTo>
                  <a:pt x="2666797" y="986670"/>
                </a:lnTo>
                <a:lnTo>
                  <a:pt x="2667339" y="989593"/>
                </a:lnTo>
                <a:lnTo>
                  <a:pt x="2668859" y="988185"/>
                </a:lnTo>
                <a:lnTo>
                  <a:pt x="2669401" y="984937"/>
                </a:lnTo>
                <a:lnTo>
                  <a:pt x="2672440" y="981689"/>
                </a:lnTo>
                <a:lnTo>
                  <a:pt x="2675695" y="981364"/>
                </a:lnTo>
                <a:lnTo>
                  <a:pt x="2676455" y="984937"/>
                </a:lnTo>
                <a:lnTo>
                  <a:pt x="2674718" y="987536"/>
                </a:lnTo>
                <a:lnTo>
                  <a:pt x="2670269" y="995007"/>
                </a:lnTo>
                <a:lnTo>
                  <a:pt x="2668424" y="999229"/>
                </a:lnTo>
                <a:lnTo>
                  <a:pt x="2668424" y="1002585"/>
                </a:lnTo>
                <a:lnTo>
                  <a:pt x="2670595" y="1001286"/>
                </a:lnTo>
                <a:lnTo>
                  <a:pt x="2673850" y="995548"/>
                </a:lnTo>
                <a:lnTo>
                  <a:pt x="2673850" y="992841"/>
                </a:lnTo>
                <a:lnTo>
                  <a:pt x="2676129" y="989809"/>
                </a:lnTo>
                <a:lnTo>
                  <a:pt x="2680469" y="987752"/>
                </a:lnTo>
                <a:lnTo>
                  <a:pt x="2680144" y="986562"/>
                </a:lnTo>
                <a:lnTo>
                  <a:pt x="2681772" y="983421"/>
                </a:lnTo>
                <a:lnTo>
                  <a:pt x="2685136" y="980931"/>
                </a:lnTo>
                <a:lnTo>
                  <a:pt x="2686329" y="982014"/>
                </a:lnTo>
                <a:lnTo>
                  <a:pt x="2685027" y="985370"/>
                </a:lnTo>
                <a:lnTo>
                  <a:pt x="2680795" y="991109"/>
                </a:lnTo>
                <a:lnTo>
                  <a:pt x="2678733" y="994465"/>
                </a:lnTo>
                <a:lnTo>
                  <a:pt x="2678625" y="998796"/>
                </a:lnTo>
                <a:lnTo>
                  <a:pt x="2679059" y="1003127"/>
                </a:lnTo>
                <a:lnTo>
                  <a:pt x="2681012" y="1001719"/>
                </a:lnTo>
                <a:lnTo>
                  <a:pt x="2680686" y="998904"/>
                </a:lnTo>
                <a:lnTo>
                  <a:pt x="2681121" y="994682"/>
                </a:lnTo>
                <a:lnTo>
                  <a:pt x="2684159" y="992083"/>
                </a:lnTo>
                <a:lnTo>
                  <a:pt x="2686764" y="988619"/>
                </a:lnTo>
                <a:lnTo>
                  <a:pt x="2692190" y="984179"/>
                </a:lnTo>
                <a:lnTo>
                  <a:pt x="2695879" y="981256"/>
                </a:lnTo>
                <a:lnTo>
                  <a:pt x="2696856" y="982988"/>
                </a:lnTo>
                <a:lnTo>
                  <a:pt x="2696638" y="988185"/>
                </a:lnTo>
                <a:lnTo>
                  <a:pt x="2694577" y="990351"/>
                </a:lnTo>
                <a:lnTo>
                  <a:pt x="2689368" y="991542"/>
                </a:lnTo>
                <a:lnTo>
                  <a:pt x="2688717" y="995331"/>
                </a:lnTo>
                <a:lnTo>
                  <a:pt x="2686980" y="999121"/>
                </a:lnTo>
                <a:lnTo>
                  <a:pt x="2688392" y="999987"/>
                </a:lnTo>
                <a:lnTo>
                  <a:pt x="2689802" y="998471"/>
                </a:lnTo>
                <a:lnTo>
                  <a:pt x="2691972" y="999987"/>
                </a:lnTo>
                <a:lnTo>
                  <a:pt x="2694360" y="998254"/>
                </a:lnTo>
                <a:lnTo>
                  <a:pt x="2699786" y="996305"/>
                </a:lnTo>
                <a:lnTo>
                  <a:pt x="2701413" y="998904"/>
                </a:lnTo>
                <a:lnTo>
                  <a:pt x="2702824" y="1004643"/>
                </a:lnTo>
                <a:lnTo>
                  <a:pt x="2702499" y="1007349"/>
                </a:lnTo>
                <a:lnTo>
                  <a:pt x="2698918" y="1008974"/>
                </a:lnTo>
                <a:lnTo>
                  <a:pt x="2698918" y="1010381"/>
                </a:lnTo>
                <a:lnTo>
                  <a:pt x="2701739" y="1011031"/>
                </a:lnTo>
                <a:lnTo>
                  <a:pt x="2703909" y="1014820"/>
                </a:lnTo>
                <a:lnTo>
                  <a:pt x="2700545" y="1015903"/>
                </a:lnTo>
                <a:lnTo>
                  <a:pt x="2697615" y="1015361"/>
                </a:lnTo>
                <a:lnTo>
                  <a:pt x="2700545" y="1017202"/>
                </a:lnTo>
                <a:lnTo>
                  <a:pt x="2704343" y="1018935"/>
                </a:lnTo>
                <a:lnTo>
                  <a:pt x="2695228" y="1020992"/>
                </a:lnTo>
                <a:lnTo>
                  <a:pt x="2690779" y="1020666"/>
                </a:lnTo>
                <a:lnTo>
                  <a:pt x="2692949" y="1022941"/>
                </a:lnTo>
                <a:lnTo>
                  <a:pt x="2697398" y="1022615"/>
                </a:lnTo>
                <a:lnTo>
                  <a:pt x="2703692" y="1023915"/>
                </a:lnTo>
                <a:lnTo>
                  <a:pt x="2705537" y="1021858"/>
                </a:lnTo>
                <a:lnTo>
                  <a:pt x="2709878" y="1020992"/>
                </a:lnTo>
                <a:lnTo>
                  <a:pt x="2710854" y="1021316"/>
                </a:lnTo>
                <a:lnTo>
                  <a:pt x="2707490" y="1025972"/>
                </a:lnTo>
                <a:lnTo>
                  <a:pt x="2705537" y="1030627"/>
                </a:lnTo>
                <a:lnTo>
                  <a:pt x="2709660" y="1026513"/>
                </a:lnTo>
                <a:lnTo>
                  <a:pt x="2713242" y="1025322"/>
                </a:lnTo>
                <a:lnTo>
                  <a:pt x="2716063" y="1022182"/>
                </a:lnTo>
                <a:lnTo>
                  <a:pt x="2720512" y="1018935"/>
                </a:lnTo>
                <a:lnTo>
                  <a:pt x="2723985" y="1020017"/>
                </a:lnTo>
                <a:lnTo>
                  <a:pt x="2723117" y="1022182"/>
                </a:lnTo>
                <a:lnTo>
                  <a:pt x="2720404" y="1025322"/>
                </a:lnTo>
                <a:lnTo>
                  <a:pt x="2718451" y="1025539"/>
                </a:lnTo>
                <a:lnTo>
                  <a:pt x="2716388" y="1029112"/>
                </a:lnTo>
                <a:lnTo>
                  <a:pt x="2714327" y="1033767"/>
                </a:lnTo>
                <a:lnTo>
                  <a:pt x="2709010" y="1035825"/>
                </a:lnTo>
                <a:lnTo>
                  <a:pt x="2706730" y="1039939"/>
                </a:lnTo>
                <a:lnTo>
                  <a:pt x="2706947" y="1042862"/>
                </a:lnTo>
                <a:lnTo>
                  <a:pt x="2709660" y="1043404"/>
                </a:lnTo>
                <a:lnTo>
                  <a:pt x="2713133" y="1039722"/>
                </a:lnTo>
                <a:lnTo>
                  <a:pt x="2713133" y="1037882"/>
                </a:lnTo>
                <a:lnTo>
                  <a:pt x="2717799" y="1032143"/>
                </a:lnTo>
                <a:lnTo>
                  <a:pt x="2721923" y="1030627"/>
                </a:lnTo>
                <a:lnTo>
                  <a:pt x="2721597" y="1033876"/>
                </a:lnTo>
                <a:lnTo>
                  <a:pt x="2718451" y="1039072"/>
                </a:lnTo>
                <a:lnTo>
                  <a:pt x="2717908" y="1044053"/>
                </a:lnTo>
                <a:lnTo>
                  <a:pt x="2716606" y="1047193"/>
                </a:lnTo>
                <a:lnTo>
                  <a:pt x="2719101" y="1045244"/>
                </a:lnTo>
                <a:lnTo>
                  <a:pt x="2722466" y="1039398"/>
                </a:lnTo>
                <a:lnTo>
                  <a:pt x="2722574" y="1036474"/>
                </a:lnTo>
                <a:lnTo>
                  <a:pt x="2724311" y="1035608"/>
                </a:lnTo>
                <a:lnTo>
                  <a:pt x="2725721" y="1036690"/>
                </a:lnTo>
                <a:lnTo>
                  <a:pt x="2726264" y="1043186"/>
                </a:lnTo>
                <a:lnTo>
                  <a:pt x="2728651" y="1045244"/>
                </a:lnTo>
                <a:lnTo>
                  <a:pt x="2730170" y="1045135"/>
                </a:lnTo>
                <a:lnTo>
                  <a:pt x="2729519" y="1040047"/>
                </a:lnTo>
                <a:lnTo>
                  <a:pt x="2731255" y="1037232"/>
                </a:lnTo>
                <a:lnTo>
                  <a:pt x="2737115" y="1034092"/>
                </a:lnTo>
                <a:lnTo>
                  <a:pt x="2738309" y="1035608"/>
                </a:lnTo>
                <a:lnTo>
                  <a:pt x="2736247" y="1038423"/>
                </a:lnTo>
                <a:lnTo>
                  <a:pt x="2737549" y="1038856"/>
                </a:lnTo>
                <a:lnTo>
                  <a:pt x="2741347" y="1038748"/>
                </a:lnTo>
                <a:lnTo>
                  <a:pt x="2743626" y="1041671"/>
                </a:lnTo>
                <a:lnTo>
                  <a:pt x="2741890" y="1046435"/>
                </a:lnTo>
                <a:lnTo>
                  <a:pt x="2745905" y="1046002"/>
                </a:lnTo>
                <a:lnTo>
                  <a:pt x="2747424" y="1048167"/>
                </a:lnTo>
                <a:lnTo>
                  <a:pt x="2747750" y="1051307"/>
                </a:lnTo>
                <a:lnTo>
                  <a:pt x="2750572" y="1053689"/>
                </a:lnTo>
                <a:lnTo>
                  <a:pt x="2751222" y="1056504"/>
                </a:lnTo>
                <a:lnTo>
                  <a:pt x="2749920" y="1057912"/>
                </a:lnTo>
                <a:lnTo>
                  <a:pt x="2748075" y="1059427"/>
                </a:lnTo>
                <a:lnTo>
                  <a:pt x="2743192" y="1059427"/>
                </a:lnTo>
                <a:lnTo>
                  <a:pt x="2743409" y="1056504"/>
                </a:lnTo>
                <a:lnTo>
                  <a:pt x="2741347" y="1053473"/>
                </a:lnTo>
                <a:lnTo>
                  <a:pt x="2738851" y="1052173"/>
                </a:lnTo>
                <a:lnTo>
                  <a:pt x="2737333" y="1050874"/>
                </a:lnTo>
                <a:lnTo>
                  <a:pt x="2735271" y="1052715"/>
                </a:lnTo>
                <a:lnTo>
                  <a:pt x="2732775" y="1055963"/>
                </a:lnTo>
                <a:lnTo>
                  <a:pt x="2735813" y="1054663"/>
                </a:lnTo>
                <a:lnTo>
                  <a:pt x="2738092" y="1055205"/>
                </a:lnTo>
                <a:lnTo>
                  <a:pt x="2739719" y="1057262"/>
                </a:lnTo>
                <a:lnTo>
                  <a:pt x="2738092" y="1058128"/>
                </a:lnTo>
                <a:lnTo>
                  <a:pt x="2740262" y="1059319"/>
                </a:lnTo>
                <a:lnTo>
                  <a:pt x="2741239" y="1061810"/>
                </a:lnTo>
                <a:lnTo>
                  <a:pt x="2739286" y="1062675"/>
                </a:lnTo>
                <a:lnTo>
                  <a:pt x="2735921" y="1061810"/>
                </a:lnTo>
                <a:lnTo>
                  <a:pt x="2733208" y="1063433"/>
                </a:lnTo>
                <a:lnTo>
                  <a:pt x="2734728" y="1064733"/>
                </a:lnTo>
                <a:lnTo>
                  <a:pt x="2740696" y="1064841"/>
                </a:lnTo>
                <a:lnTo>
                  <a:pt x="2742867" y="1064841"/>
                </a:lnTo>
                <a:lnTo>
                  <a:pt x="2743192" y="1066573"/>
                </a:lnTo>
                <a:lnTo>
                  <a:pt x="2741022" y="1069388"/>
                </a:lnTo>
                <a:lnTo>
                  <a:pt x="2737333" y="1069388"/>
                </a:lnTo>
                <a:lnTo>
                  <a:pt x="2733968" y="1070146"/>
                </a:lnTo>
                <a:lnTo>
                  <a:pt x="2729410" y="1069496"/>
                </a:lnTo>
                <a:lnTo>
                  <a:pt x="2725612" y="1068739"/>
                </a:lnTo>
                <a:lnTo>
                  <a:pt x="2726697" y="1065274"/>
                </a:lnTo>
                <a:lnTo>
                  <a:pt x="2726372" y="1063217"/>
                </a:lnTo>
                <a:lnTo>
                  <a:pt x="2723225" y="1061484"/>
                </a:lnTo>
                <a:lnTo>
                  <a:pt x="2721923" y="1059861"/>
                </a:lnTo>
                <a:lnTo>
                  <a:pt x="2719969" y="1060510"/>
                </a:lnTo>
                <a:lnTo>
                  <a:pt x="2720404" y="1063000"/>
                </a:lnTo>
                <a:lnTo>
                  <a:pt x="2722466" y="1064516"/>
                </a:lnTo>
                <a:lnTo>
                  <a:pt x="2723442" y="1068197"/>
                </a:lnTo>
                <a:lnTo>
                  <a:pt x="2722791" y="1070038"/>
                </a:lnTo>
                <a:lnTo>
                  <a:pt x="2719644" y="1070363"/>
                </a:lnTo>
                <a:lnTo>
                  <a:pt x="2716280" y="1068197"/>
                </a:lnTo>
                <a:lnTo>
                  <a:pt x="2715520" y="1065816"/>
                </a:lnTo>
                <a:lnTo>
                  <a:pt x="2714869" y="1070038"/>
                </a:lnTo>
                <a:lnTo>
                  <a:pt x="2717256" y="1072528"/>
                </a:lnTo>
                <a:lnTo>
                  <a:pt x="2721923" y="1072528"/>
                </a:lnTo>
                <a:lnTo>
                  <a:pt x="2724311" y="1074694"/>
                </a:lnTo>
                <a:lnTo>
                  <a:pt x="2727024" y="1075559"/>
                </a:lnTo>
                <a:lnTo>
                  <a:pt x="2727566" y="1078267"/>
                </a:lnTo>
                <a:lnTo>
                  <a:pt x="2726264" y="1081514"/>
                </a:lnTo>
                <a:lnTo>
                  <a:pt x="2719536" y="1081298"/>
                </a:lnTo>
                <a:lnTo>
                  <a:pt x="2717908" y="1078483"/>
                </a:lnTo>
                <a:lnTo>
                  <a:pt x="2713676" y="1075776"/>
                </a:lnTo>
                <a:lnTo>
                  <a:pt x="2711722" y="1073719"/>
                </a:lnTo>
                <a:lnTo>
                  <a:pt x="2710420" y="1073828"/>
                </a:lnTo>
                <a:lnTo>
                  <a:pt x="2711614" y="1075776"/>
                </a:lnTo>
                <a:lnTo>
                  <a:pt x="2716280" y="1079241"/>
                </a:lnTo>
                <a:lnTo>
                  <a:pt x="2718016" y="1082814"/>
                </a:lnTo>
                <a:lnTo>
                  <a:pt x="2717908" y="1087902"/>
                </a:lnTo>
                <a:lnTo>
                  <a:pt x="2716388" y="1090609"/>
                </a:lnTo>
                <a:lnTo>
                  <a:pt x="2714218" y="1090285"/>
                </a:lnTo>
                <a:lnTo>
                  <a:pt x="2713025" y="1087036"/>
                </a:lnTo>
                <a:lnTo>
                  <a:pt x="2710203" y="1084763"/>
                </a:lnTo>
                <a:lnTo>
                  <a:pt x="2706947" y="1083572"/>
                </a:lnTo>
                <a:lnTo>
                  <a:pt x="2707707" y="1084871"/>
                </a:lnTo>
                <a:lnTo>
                  <a:pt x="2709335" y="1086387"/>
                </a:lnTo>
                <a:lnTo>
                  <a:pt x="2709227" y="1090609"/>
                </a:lnTo>
                <a:lnTo>
                  <a:pt x="2709010" y="1096240"/>
                </a:lnTo>
                <a:lnTo>
                  <a:pt x="2707815" y="1097106"/>
                </a:lnTo>
                <a:lnTo>
                  <a:pt x="2705537" y="1097106"/>
                </a:lnTo>
                <a:lnTo>
                  <a:pt x="2704017" y="1095590"/>
                </a:lnTo>
                <a:lnTo>
                  <a:pt x="2704235" y="1091259"/>
                </a:lnTo>
                <a:lnTo>
                  <a:pt x="2702499" y="1092017"/>
                </a:lnTo>
                <a:lnTo>
                  <a:pt x="2701847" y="1094616"/>
                </a:lnTo>
                <a:lnTo>
                  <a:pt x="2698592" y="1095373"/>
                </a:lnTo>
                <a:lnTo>
                  <a:pt x="2696530" y="1094507"/>
                </a:lnTo>
                <a:lnTo>
                  <a:pt x="2697181" y="1091367"/>
                </a:lnTo>
                <a:lnTo>
                  <a:pt x="2695988" y="1088010"/>
                </a:lnTo>
                <a:lnTo>
                  <a:pt x="2695770" y="1084438"/>
                </a:lnTo>
                <a:lnTo>
                  <a:pt x="2694251" y="1082706"/>
                </a:lnTo>
                <a:lnTo>
                  <a:pt x="2693600" y="1085196"/>
                </a:lnTo>
                <a:lnTo>
                  <a:pt x="2693600" y="1091584"/>
                </a:lnTo>
                <a:lnTo>
                  <a:pt x="2691538" y="1093316"/>
                </a:lnTo>
                <a:lnTo>
                  <a:pt x="2688500" y="1093424"/>
                </a:lnTo>
                <a:lnTo>
                  <a:pt x="2689585" y="1094616"/>
                </a:lnTo>
                <a:lnTo>
                  <a:pt x="2692190" y="1095048"/>
                </a:lnTo>
                <a:lnTo>
                  <a:pt x="2692840" y="1096997"/>
                </a:lnTo>
                <a:lnTo>
                  <a:pt x="2690887" y="1099487"/>
                </a:lnTo>
                <a:lnTo>
                  <a:pt x="2688066" y="1098838"/>
                </a:lnTo>
                <a:lnTo>
                  <a:pt x="2686872" y="1098080"/>
                </a:lnTo>
                <a:lnTo>
                  <a:pt x="2686547" y="1099487"/>
                </a:lnTo>
                <a:lnTo>
                  <a:pt x="2689151" y="1101545"/>
                </a:lnTo>
                <a:lnTo>
                  <a:pt x="2691104" y="1101545"/>
                </a:lnTo>
                <a:lnTo>
                  <a:pt x="2691538" y="1103493"/>
                </a:lnTo>
                <a:lnTo>
                  <a:pt x="2691104" y="1106308"/>
                </a:lnTo>
                <a:lnTo>
                  <a:pt x="2689151" y="1106958"/>
                </a:lnTo>
                <a:lnTo>
                  <a:pt x="2688717" y="1109124"/>
                </a:lnTo>
                <a:lnTo>
                  <a:pt x="2690127" y="1112480"/>
                </a:lnTo>
                <a:lnTo>
                  <a:pt x="2690127" y="1115079"/>
                </a:lnTo>
                <a:lnTo>
                  <a:pt x="2688717" y="1115079"/>
                </a:lnTo>
                <a:lnTo>
                  <a:pt x="2686764" y="1113671"/>
                </a:lnTo>
                <a:lnTo>
                  <a:pt x="2685787" y="1114104"/>
                </a:lnTo>
                <a:lnTo>
                  <a:pt x="2688825" y="1117352"/>
                </a:lnTo>
                <a:lnTo>
                  <a:pt x="2689259" y="1119951"/>
                </a:lnTo>
                <a:lnTo>
                  <a:pt x="2688717" y="1123524"/>
                </a:lnTo>
                <a:lnTo>
                  <a:pt x="2684051" y="1125040"/>
                </a:lnTo>
                <a:lnTo>
                  <a:pt x="2682966" y="1126880"/>
                </a:lnTo>
                <a:lnTo>
                  <a:pt x="2681121" y="1126122"/>
                </a:lnTo>
                <a:lnTo>
                  <a:pt x="2680686" y="1124173"/>
                </a:lnTo>
                <a:lnTo>
                  <a:pt x="2679710" y="1123199"/>
                </a:lnTo>
                <a:lnTo>
                  <a:pt x="2679927" y="1121250"/>
                </a:lnTo>
                <a:lnTo>
                  <a:pt x="2677431" y="1120383"/>
                </a:lnTo>
                <a:lnTo>
                  <a:pt x="2676888" y="1118760"/>
                </a:lnTo>
                <a:lnTo>
                  <a:pt x="2678516" y="1116377"/>
                </a:lnTo>
                <a:lnTo>
                  <a:pt x="2678516" y="1114429"/>
                </a:lnTo>
                <a:lnTo>
                  <a:pt x="2677106" y="1114646"/>
                </a:lnTo>
                <a:lnTo>
                  <a:pt x="2673850" y="1116053"/>
                </a:lnTo>
                <a:lnTo>
                  <a:pt x="2672765" y="1118543"/>
                </a:lnTo>
                <a:lnTo>
                  <a:pt x="2671245" y="1118326"/>
                </a:lnTo>
                <a:lnTo>
                  <a:pt x="2669075" y="1115620"/>
                </a:lnTo>
                <a:lnTo>
                  <a:pt x="2670595" y="1113454"/>
                </a:lnTo>
                <a:lnTo>
                  <a:pt x="2668967" y="1111289"/>
                </a:lnTo>
                <a:lnTo>
                  <a:pt x="2668967" y="1109773"/>
                </a:lnTo>
                <a:lnTo>
                  <a:pt x="2670595" y="1108257"/>
                </a:lnTo>
                <a:lnTo>
                  <a:pt x="2670812" y="1106417"/>
                </a:lnTo>
                <a:lnTo>
                  <a:pt x="2671463" y="1104360"/>
                </a:lnTo>
                <a:lnTo>
                  <a:pt x="2670595" y="1103926"/>
                </a:lnTo>
                <a:lnTo>
                  <a:pt x="2668207" y="1106417"/>
                </a:lnTo>
                <a:lnTo>
                  <a:pt x="2666254" y="1110964"/>
                </a:lnTo>
                <a:lnTo>
                  <a:pt x="2663649" y="1113887"/>
                </a:lnTo>
                <a:lnTo>
                  <a:pt x="2662890" y="1112805"/>
                </a:lnTo>
                <a:lnTo>
                  <a:pt x="2662781" y="1110098"/>
                </a:lnTo>
                <a:lnTo>
                  <a:pt x="2661045" y="1107175"/>
                </a:lnTo>
                <a:lnTo>
                  <a:pt x="2660177" y="1104360"/>
                </a:lnTo>
                <a:lnTo>
                  <a:pt x="2661804" y="1102628"/>
                </a:lnTo>
                <a:lnTo>
                  <a:pt x="2666037" y="1100895"/>
                </a:lnTo>
                <a:lnTo>
                  <a:pt x="2666037" y="1099812"/>
                </a:lnTo>
                <a:lnTo>
                  <a:pt x="2668424" y="1098946"/>
                </a:lnTo>
                <a:lnTo>
                  <a:pt x="2667556" y="1097755"/>
                </a:lnTo>
                <a:lnTo>
                  <a:pt x="2664084" y="1097430"/>
                </a:lnTo>
                <a:lnTo>
                  <a:pt x="2661154" y="1098188"/>
                </a:lnTo>
                <a:lnTo>
                  <a:pt x="2658006" y="1097430"/>
                </a:lnTo>
                <a:lnTo>
                  <a:pt x="2657247" y="1095914"/>
                </a:lnTo>
                <a:lnTo>
                  <a:pt x="2658224" y="1093749"/>
                </a:lnTo>
                <a:lnTo>
                  <a:pt x="2661804" y="1092883"/>
                </a:lnTo>
                <a:lnTo>
                  <a:pt x="2664952" y="1088877"/>
                </a:lnTo>
                <a:lnTo>
                  <a:pt x="2662890" y="1089526"/>
                </a:lnTo>
                <a:lnTo>
                  <a:pt x="2660068" y="1090718"/>
                </a:lnTo>
                <a:lnTo>
                  <a:pt x="2658006" y="1089743"/>
                </a:lnTo>
                <a:lnTo>
                  <a:pt x="2657681" y="1087469"/>
                </a:lnTo>
                <a:lnTo>
                  <a:pt x="2660068" y="1086495"/>
                </a:lnTo>
                <a:lnTo>
                  <a:pt x="2663216" y="1085196"/>
                </a:lnTo>
                <a:lnTo>
                  <a:pt x="2666362" y="1084222"/>
                </a:lnTo>
                <a:lnTo>
                  <a:pt x="2663649" y="1083030"/>
                </a:lnTo>
                <a:lnTo>
                  <a:pt x="2660177" y="1083139"/>
                </a:lnTo>
                <a:lnTo>
                  <a:pt x="2657898" y="1084655"/>
                </a:lnTo>
                <a:lnTo>
                  <a:pt x="2656270" y="1083572"/>
                </a:lnTo>
                <a:lnTo>
                  <a:pt x="2656705" y="1081514"/>
                </a:lnTo>
                <a:lnTo>
                  <a:pt x="2660286" y="1076426"/>
                </a:lnTo>
                <a:lnTo>
                  <a:pt x="2662564" y="1075559"/>
                </a:lnTo>
                <a:lnTo>
                  <a:pt x="2667339" y="1074694"/>
                </a:lnTo>
                <a:lnTo>
                  <a:pt x="2671137" y="1071553"/>
                </a:lnTo>
                <a:lnTo>
                  <a:pt x="2674176" y="1069605"/>
                </a:lnTo>
                <a:lnTo>
                  <a:pt x="2676020" y="1065816"/>
                </a:lnTo>
                <a:lnTo>
                  <a:pt x="2679493" y="1061918"/>
                </a:lnTo>
                <a:lnTo>
                  <a:pt x="2681446" y="1060835"/>
                </a:lnTo>
                <a:lnTo>
                  <a:pt x="2681012" y="1059211"/>
                </a:lnTo>
                <a:lnTo>
                  <a:pt x="2679059" y="1059535"/>
                </a:lnTo>
                <a:lnTo>
                  <a:pt x="2674718" y="1063000"/>
                </a:lnTo>
                <a:lnTo>
                  <a:pt x="2672331" y="1064300"/>
                </a:lnTo>
                <a:lnTo>
                  <a:pt x="2670269" y="1067765"/>
                </a:lnTo>
                <a:lnTo>
                  <a:pt x="2664734" y="1070363"/>
                </a:lnTo>
                <a:lnTo>
                  <a:pt x="2661804" y="1070363"/>
                </a:lnTo>
                <a:lnTo>
                  <a:pt x="2655620" y="1074694"/>
                </a:lnTo>
                <a:lnTo>
                  <a:pt x="2651170" y="1075343"/>
                </a:lnTo>
                <a:lnTo>
                  <a:pt x="2648132" y="1074152"/>
                </a:lnTo>
                <a:lnTo>
                  <a:pt x="2648240" y="1072420"/>
                </a:lnTo>
                <a:lnTo>
                  <a:pt x="2654643" y="1065707"/>
                </a:lnTo>
                <a:lnTo>
                  <a:pt x="2659418" y="1063108"/>
                </a:lnTo>
                <a:lnTo>
                  <a:pt x="2660719" y="1060835"/>
                </a:lnTo>
                <a:lnTo>
                  <a:pt x="2662456" y="1058886"/>
                </a:lnTo>
                <a:lnTo>
                  <a:pt x="2662131" y="1055638"/>
                </a:lnTo>
                <a:lnTo>
                  <a:pt x="2658766" y="1060618"/>
                </a:lnTo>
                <a:lnTo>
                  <a:pt x="2649759" y="1066032"/>
                </a:lnTo>
                <a:lnTo>
                  <a:pt x="2646829" y="1067547"/>
                </a:lnTo>
                <a:lnTo>
                  <a:pt x="2644659" y="1066790"/>
                </a:lnTo>
                <a:lnTo>
                  <a:pt x="2643574" y="1065057"/>
                </a:lnTo>
                <a:lnTo>
                  <a:pt x="2644116" y="1061810"/>
                </a:lnTo>
                <a:lnTo>
                  <a:pt x="2642923" y="1060185"/>
                </a:lnTo>
                <a:lnTo>
                  <a:pt x="2640427" y="1060943"/>
                </a:lnTo>
                <a:lnTo>
                  <a:pt x="2638148" y="1059535"/>
                </a:lnTo>
                <a:lnTo>
                  <a:pt x="2639341" y="1057804"/>
                </a:lnTo>
                <a:lnTo>
                  <a:pt x="2641621" y="1057045"/>
                </a:lnTo>
                <a:lnTo>
                  <a:pt x="2641621" y="1054772"/>
                </a:lnTo>
                <a:lnTo>
                  <a:pt x="2639884" y="1053473"/>
                </a:lnTo>
                <a:lnTo>
                  <a:pt x="2637606" y="1053473"/>
                </a:lnTo>
                <a:lnTo>
                  <a:pt x="2637171" y="1052282"/>
                </a:lnTo>
                <a:lnTo>
                  <a:pt x="2637714" y="1047843"/>
                </a:lnTo>
                <a:lnTo>
                  <a:pt x="2639341" y="1046868"/>
                </a:lnTo>
                <a:lnTo>
                  <a:pt x="2639450" y="1044270"/>
                </a:lnTo>
                <a:lnTo>
                  <a:pt x="2636955" y="1042862"/>
                </a:lnTo>
                <a:lnTo>
                  <a:pt x="2635110" y="1040480"/>
                </a:lnTo>
                <a:lnTo>
                  <a:pt x="2634133" y="1040696"/>
                </a:lnTo>
                <a:lnTo>
                  <a:pt x="2634025" y="1043837"/>
                </a:lnTo>
                <a:lnTo>
                  <a:pt x="2634784" y="1046327"/>
                </a:lnTo>
                <a:lnTo>
                  <a:pt x="2631095" y="1047734"/>
                </a:lnTo>
                <a:lnTo>
                  <a:pt x="2629032" y="1045785"/>
                </a:lnTo>
                <a:lnTo>
                  <a:pt x="2626646" y="1043512"/>
                </a:lnTo>
                <a:lnTo>
                  <a:pt x="2622630" y="1043620"/>
                </a:lnTo>
                <a:lnTo>
                  <a:pt x="2627079" y="1046327"/>
                </a:lnTo>
                <a:lnTo>
                  <a:pt x="2629684" y="1050766"/>
                </a:lnTo>
                <a:lnTo>
                  <a:pt x="2630227" y="1054772"/>
                </a:lnTo>
                <a:lnTo>
                  <a:pt x="2627297" y="1054014"/>
                </a:lnTo>
                <a:lnTo>
                  <a:pt x="2626537" y="1055313"/>
                </a:lnTo>
                <a:lnTo>
                  <a:pt x="2627188" y="1056504"/>
                </a:lnTo>
                <a:lnTo>
                  <a:pt x="2623607" y="1057045"/>
                </a:lnTo>
                <a:lnTo>
                  <a:pt x="2621436" y="1054447"/>
                </a:lnTo>
                <a:lnTo>
                  <a:pt x="2620351" y="1049792"/>
                </a:lnTo>
                <a:lnTo>
                  <a:pt x="2618398" y="1048384"/>
                </a:lnTo>
                <a:lnTo>
                  <a:pt x="2617096" y="1049683"/>
                </a:lnTo>
                <a:lnTo>
                  <a:pt x="2619591" y="1052173"/>
                </a:lnTo>
                <a:lnTo>
                  <a:pt x="2620026" y="1055313"/>
                </a:lnTo>
                <a:lnTo>
                  <a:pt x="2618615" y="1058669"/>
                </a:lnTo>
                <a:lnTo>
                  <a:pt x="2621545" y="1059319"/>
                </a:lnTo>
                <a:lnTo>
                  <a:pt x="2624475" y="1062892"/>
                </a:lnTo>
                <a:lnTo>
                  <a:pt x="2625994" y="1066898"/>
                </a:lnTo>
                <a:lnTo>
                  <a:pt x="2625560" y="1069930"/>
                </a:lnTo>
                <a:lnTo>
                  <a:pt x="2627514" y="1070471"/>
                </a:lnTo>
                <a:lnTo>
                  <a:pt x="2627079" y="1072528"/>
                </a:lnTo>
                <a:lnTo>
                  <a:pt x="2624475" y="1073394"/>
                </a:lnTo>
                <a:lnTo>
                  <a:pt x="2619591" y="1072853"/>
                </a:lnTo>
                <a:lnTo>
                  <a:pt x="2617530" y="1070255"/>
                </a:lnTo>
                <a:lnTo>
                  <a:pt x="2616228" y="1074369"/>
                </a:lnTo>
                <a:lnTo>
                  <a:pt x="2614708" y="1074369"/>
                </a:lnTo>
                <a:lnTo>
                  <a:pt x="2610259" y="1069280"/>
                </a:lnTo>
                <a:lnTo>
                  <a:pt x="2609500" y="1066140"/>
                </a:lnTo>
                <a:lnTo>
                  <a:pt x="2611127" y="1063433"/>
                </a:lnTo>
                <a:lnTo>
                  <a:pt x="2610259" y="1060618"/>
                </a:lnTo>
                <a:lnTo>
                  <a:pt x="2606461" y="1058237"/>
                </a:lnTo>
                <a:lnTo>
                  <a:pt x="2602663" y="1058453"/>
                </a:lnTo>
                <a:lnTo>
                  <a:pt x="2602012" y="1055963"/>
                </a:lnTo>
                <a:lnTo>
                  <a:pt x="2600276" y="1052715"/>
                </a:lnTo>
                <a:lnTo>
                  <a:pt x="2597888" y="1054447"/>
                </a:lnTo>
                <a:lnTo>
                  <a:pt x="2593765" y="1055529"/>
                </a:lnTo>
                <a:lnTo>
                  <a:pt x="2588447" y="1055096"/>
                </a:lnTo>
                <a:lnTo>
                  <a:pt x="2590509" y="1057587"/>
                </a:lnTo>
                <a:lnTo>
                  <a:pt x="2596261" y="1058020"/>
                </a:lnTo>
                <a:lnTo>
                  <a:pt x="2599841" y="1059535"/>
                </a:lnTo>
                <a:lnTo>
                  <a:pt x="2604834" y="1061051"/>
                </a:lnTo>
                <a:lnTo>
                  <a:pt x="2604834" y="1065816"/>
                </a:lnTo>
                <a:lnTo>
                  <a:pt x="2602229" y="1069063"/>
                </a:lnTo>
                <a:lnTo>
                  <a:pt x="2602338" y="1071770"/>
                </a:lnTo>
                <a:lnTo>
                  <a:pt x="2604942" y="1071229"/>
                </a:lnTo>
                <a:lnTo>
                  <a:pt x="2606461" y="1073394"/>
                </a:lnTo>
                <a:lnTo>
                  <a:pt x="2604725" y="1075885"/>
                </a:lnTo>
                <a:lnTo>
                  <a:pt x="2606679" y="1076751"/>
                </a:lnTo>
                <a:lnTo>
                  <a:pt x="2610585" y="1076751"/>
                </a:lnTo>
                <a:lnTo>
                  <a:pt x="2610802" y="1078808"/>
                </a:lnTo>
                <a:lnTo>
                  <a:pt x="2608197" y="1082922"/>
                </a:lnTo>
                <a:lnTo>
                  <a:pt x="2601904" y="1088336"/>
                </a:lnTo>
                <a:lnTo>
                  <a:pt x="2597997" y="1091584"/>
                </a:lnTo>
                <a:lnTo>
                  <a:pt x="2606461" y="1089526"/>
                </a:lnTo>
                <a:lnTo>
                  <a:pt x="2609065" y="1086495"/>
                </a:lnTo>
                <a:lnTo>
                  <a:pt x="2609934" y="1084438"/>
                </a:lnTo>
                <a:lnTo>
                  <a:pt x="2616553" y="1084546"/>
                </a:lnTo>
                <a:lnTo>
                  <a:pt x="2618506" y="1086712"/>
                </a:lnTo>
                <a:lnTo>
                  <a:pt x="2618506" y="1088336"/>
                </a:lnTo>
                <a:lnTo>
                  <a:pt x="2614383" y="1090501"/>
                </a:lnTo>
                <a:lnTo>
                  <a:pt x="2612321" y="1093424"/>
                </a:lnTo>
                <a:lnTo>
                  <a:pt x="2614057" y="1094724"/>
                </a:lnTo>
                <a:lnTo>
                  <a:pt x="2618073" y="1095265"/>
                </a:lnTo>
                <a:lnTo>
                  <a:pt x="2620677" y="1097863"/>
                </a:lnTo>
                <a:lnTo>
                  <a:pt x="2618398" y="1099271"/>
                </a:lnTo>
                <a:lnTo>
                  <a:pt x="2614166" y="1099812"/>
                </a:lnTo>
                <a:lnTo>
                  <a:pt x="2612864" y="1101761"/>
                </a:lnTo>
                <a:lnTo>
                  <a:pt x="2615143" y="1102519"/>
                </a:lnTo>
                <a:lnTo>
                  <a:pt x="2615902" y="1105334"/>
                </a:lnTo>
                <a:lnTo>
                  <a:pt x="2615360" y="1105875"/>
                </a:lnTo>
                <a:lnTo>
                  <a:pt x="2615793" y="1107391"/>
                </a:lnTo>
                <a:lnTo>
                  <a:pt x="2617530" y="1107391"/>
                </a:lnTo>
                <a:lnTo>
                  <a:pt x="2616770" y="1111181"/>
                </a:lnTo>
                <a:lnTo>
                  <a:pt x="2618723" y="1111614"/>
                </a:lnTo>
                <a:lnTo>
                  <a:pt x="2619591" y="1114862"/>
                </a:lnTo>
                <a:lnTo>
                  <a:pt x="2620134" y="1120601"/>
                </a:lnTo>
                <a:lnTo>
                  <a:pt x="2621219" y="1121358"/>
                </a:lnTo>
                <a:lnTo>
                  <a:pt x="2622522" y="1118760"/>
                </a:lnTo>
                <a:lnTo>
                  <a:pt x="2622956" y="1114320"/>
                </a:lnTo>
                <a:lnTo>
                  <a:pt x="2625017" y="1113021"/>
                </a:lnTo>
                <a:lnTo>
                  <a:pt x="2627730" y="1115512"/>
                </a:lnTo>
                <a:lnTo>
                  <a:pt x="2628382" y="1120383"/>
                </a:lnTo>
                <a:lnTo>
                  <a:pt x="2630227" y="1122549"/>
                </a:lnTo>
                <a:lnTo>
                  <a:pt x="2629250" y="1124173"/>
                </a:lnTo>
                <a:lnTo>
                  <a:pt x="2625777" y="1126338"/>
                </a:lnTo>
                <a:lnTo>
                  <a:pt x="2626537" y="1128071"/>
                </a:lnTo>
                <a:lnTo>
                  <a:pt x="2632288" y="1127205"/>
                </a:lnTo>
                <a:lnTo>
                  <a:pt x="2633590" y="1126122"/>
                </a:lnTo>
                <a:lnTo>
                  <a:pt x="2633916" y="1129154"/>
                </a:lnTo>
                <a:lnTo>
                  <a:pt x="2635978" y="1126014"/>
                </a:lnTo>
                <a:lnTo>
                  <a:pt x="2636086" y="1123524"/>
                </a:lnTo>
                <a:lnTo>
                  <a:pt x="2638691" y="1123848"/>
                </a:lnTo>
                <a:lnTo>
                  <a:pt x="2640753" y="1127313"/>
                </a:lnTo>
                <a:lnTo>
                  <a:pt x="2639884" y="1131319"/>
                </a:lnTo>
                <a:lnTo>
                  <a:pt x="2636846" y="1134350"/>
                </a:lnTo>
                <a:lnTo>
                  <a:pt x="2636195" y="1137058"/>
                </a:lnTo>
                <a:lnTo>
                  <a:pt x="2635218" y="1138465"/>
                </a:lnTo>
                <a:lnTo>
                  <a:pt x="2637497" y="1140522"/>
                </a:lnTo>
                <a:lnTo>
                  <a:pt x="2643140" y="1139981"/>
                </a:lnTo>
                <a:lnTo>
                  <a:pt x="2645961" y="1138573"/>
                </a:lnTo>
                <a:lnTo>
                  <a:pt x="2647915" y="1140414"/>
                </a:lnTo>
                <a:lnTo>
                  <a:pt x="2644225" y="1143121"/>
                </a:lnTo>
                <a:lnTo>
                  <a:pt x="2643248" y="1144744"/>
                </a:lnTo>
                <a:lnTo>
                  <a:pt x="2638148" y="1145611"/>
                </a:lnTo>
                <a:lnTo>
                  <a:pt x="2640969" y="1148859"/>
                </a:lnTo>
                <a:lnTo>
                  <a:pt x="2643682" y="1153839"/>
                </a:lnTo>
                <a:lnTo>
                  <a:pt x="2642706" y="1157304"/>
                </a:lnTo>
                <a:lnTo>
                  <a:pt x="2644876" y="1157845"/>
                </a:lnTo>
                <a:lnTo>
                  <a:pt x="2645744" y="1163692"/>
                </a:lnTo>
                <a:lnTo>
                  <a:pt x="2650953" y="1171812"/>
                </a:lnTo>
                <a:lnTo>
                  <a:pt x="2652472" y="1173111"/>
                </a:lnTo>
                <a:lnTo>
                  <a:pt x="2649434" y="1174844"/>
                </a:lnTo>
                <a:lnTo>
                  <a:pt x="2648891" y="1181448"/>
                </a:lnTo>
                <a:lnTo>
                  <a:pt x="2646612" y="1186212"/>
                </a:lnTo>
                <a:lnTo>
                  <a:pt x="2647697" y="1191193"/>
                </a:lnTo>
                <a:lnTo>
                  <a:pt x="2646287" y="1192925"/>
                </a:lnTo>
                <a:lnTo>
                  <a:pt x="2640210" y="1186104"/>
                </a:lnTo>
                <a:lnTo>
                  <a:pt x="2638908" y="1180690"/>
                </a:lnTo>
                <a:lnTo>
                  <a:pt x="2639559" y="1175927"/>
                </a:lnTo>
                <a:lnTo>
                  <a:pt x="2638040" y="1169213"/>
                </a:lnTo>
                <a:lnTo>
                  <a:pt x="2637497" y="1175168"/>
                </a:lnTo>
                <a:lnTo>
                  <a:pt x="2636629" y="1181882"/>
                </a:lnTo>
                <a:lnTo>
                  <a:pt x="2639559" y="1189785"/>
                </a:lnTo>
                <a:lnTo>
                  <a:pt x="2639016" y="1197256"/>
                </a:lnTo>
                <a:lnTo>
                  <a:pt x="2637497" y="1201045"/>
                </a:lnTo>
                <a:lnTo>
                  <a:pt x="2640101" y="1205484"/>
                </a:lnTo>
                <a:lnTo>
                  <a:pt x="2638691" y="1207000"/>
                </a:lnTo>
                <a:lnTo>
                  <a:pt x="2634567" y="1206134"/>
                </a:lnTo>
                <a:lnTo>
                  <a:pt x="2632505" y="1202669"/>
                </a:lnTo>
                <a:lnTo>
                  <a:pt x="2628707" y="1202669"/>
                </a:lnTo>
                <a:lnTo>
                  <a:pt x="2631312" y="1211439"/>
                </a:lnTo>
                <a:lnTo>
                  <a:pt x="2630986" y="1217178"/>
                </a:lnTo>
                <a:lnTo>
                  <a:pt x="2632288" y="1218585"/>
                </a:lnTo>
                <a:lnTo>
                  <a:pt x="2632288" y="1221617"/>
                </a:lnTo>
                <a:lnTo>
                  <a:pt x="2628056" y="1221075"/>
                </a:lnTo>
                <a:lnTo>
                  <a:pt x="2625452" y="1218152"/>
                </a:lnTo>
                <a:lnTo>
                  <a:pt x="2623716" y="1210790"/>
                </a:lnTo>
                <a:lnTo>
                  <a:pt x="2625234" y="1208624"/>
                </a:lnTo>
                <a:lnTo>
                  <a:pt x="2625234" y="1203968"/>
                </a:lnTo>
                <a:lnTo>
                  <a:pt x="2623173" y="1206459"/>
                </a:lnTo>
                <a:lnTo>
                  <a:pt x="2619917" y="1207000"/>
                </a:lnTo>
                <a:lnTo>
                  <a:pt x="2617964" y="1204294"/>
                </a:lnTo>
                <a:lnTo>
                  <a:pt x="2617964" y="1197364"/>
                </a:lnTo>
                <a:lnTo>
                  <a:pt x="2615468" y="1198880"/>
                </a:lnTo>
                <a:lnTo>
                  <a:pt x="2615143" y="1202345"/>
                </a:lnTo>
                <a:lnTo>
                  <a:pt x="2614057" y="1200829"/>
                </a:lnTo>
                <a:lnTo>
                  <a:pt x="2614275" y="1197905"/>
                </a:lnTo>
                <a:lnTo>
                  <a:pt x="2612647" y="1193574"/>
                </a:lnTo>
                <a:lnTo>
                  <a:pt x="2609717" y="1192925"/>
                </a:lnTo>
                <a:lnTo>
                  <a:pt x="2609717" y="1194766"/>
                </a:lnTo>
                <a:lnTo>
                  <a:pt x="2611453" y="1197039"/>
                </a:lnTo>
                <a:lnTo>
                  <a:pt x="2610150" y="1199746"/>
                </a:lnTo>
                <a:lnTo>
                  <a:pt x="2607112" y="1197689"/>
                </a:lnTo>
                <a:lnTo>
                  <a:pt x="2604942" y="1197039"/>
                </a:lnTo>
                <a:lnTo>
                  <a:pt x="2604399" y="1193250"/>
                </a:lnTo>
                <a:lnTo>
                  <a:pt x="2604942" y="1189135"/>
                </a:lnTo>
                <a:lnTo>
                  <a:pt x="2602338" y="1181882"/>
                </a:lnTo>
                <a:lnTo>
                  <a:pt x="2602338" y="1178958"/>
                </a:lnTo>
                <a:lnTo>
                  <a:pt x="2601144" y="1183180"/>
                </a:lnTo>
                <a:lnTo>
                  <a:pt x="2601469" y="1190218"/>
                </a:lnTo>
                <a:lnTo>
                  <a:pt x="2602663" y="1194657"/>
                </a:lnTo>
                <a:lnTo>
                  <a:pt x="2600059" y="1197364"/>
                </a:lnTo>
                <a:lnTo>
                  <a:pt x="2596803" y="1189677"/>
                </a:lnTo>
                <a:lnTo>
                  <a:pt x="2593548" y="1186429"/>
                </a:lnTo>
                <a:lnTo>
                  <a:pt x="2593548" y="1184155"/>
                </a:lnTo>
                <a:lnTo>
                  <a:pt x="2590292" y="1183505"/>
                </a:lnTo>
                <a:lnTo>
                  <a:pt x="2588014" y="1176035"/>
                </a:lnTo>
                <a:lnTo>
                  <a:pt x="2585952" y="1174194"/>
                </a:lnTo>
                <a:lnTo>
                  <a:pt x="2585952" y="1171812"/>
                </a:lnTo>
                <a:lnTo>
                  <a:pt x="2583889" y="1168348"/>
                </a:lnTo>
                <a:lnTo>
                  <a:pt x="2581503" y="1169755"/>
                </a:lnTo>
                <a:lnTo>
                  <a:pt x="2581177" y="1171812"/>
                </a:lnTo>
                <a:lnTo>
                  <a:pt x="2583347" y="1177334"/>
                </a:lnTo>
                <a:lnTo>
                  <a:pt x="2583781" y="1181015"/>
                </a:lnTo>
                <a:lnTo>
                  <a:pt x="2581719" y="1178958"/>
                </a:lnTo>
                <a:lnTo>
                  <a:pt x="2581286" y="1175927"/>
                </a:lnTo>
                <a:lnTo>
                  <a:pt x="2578898" y="1173870"/>
                </a:lnTo>
                <a:lnTo>
                  <a:pt x="2573580" y="1171271"/>
                </a:lnTo>
                <a:lnTo>
                  <a:pt x="2570434" y="1165316"/>
                </a:lnTo>
                <a:lnTo>
                  <a:pt x="2570108" y="1160768"/>
                </a:lnTo>
                <a:lnTo>
                  <a:pt x="2565442" y="1159686"/>
                </a:lnTo>
                <a:lnTo>
                  <a:pt x="2563598" y="1162826"/>
                </a:lnTo>
                <a:lnTo>
                  <a:pt x="2560450" y="1161093"/>
                </a:lnTo>
                <a:lnTo>
                  <a:pt x="2559908" y="1165099"/>
                </a:lnTo>
                <a:lnTo>
                  <a:pt x="2561210" y="1170946"/>
                </a:lnTo>
                <a:lnTo>
                  <a:pt x="2567721" y="1176468"/>
                </a:lnTo>
                <a:lnTo>
                  <a:pt x="2567829" y="1178633"/>
                </a:lnTo>
                <a:lnTo>
                  <a:pt x="2568372" y="1181882"/>
                </a:lnTo>
                <a:lnTo>
                  <a:pt x="2568914" y="1187619"/>
                </a:lnTo>
                <a:lnTo>
                  <a:pt x="2570868" y="1187295"/>
                </a:lnTo>
                <a:lnTo>
                  <a:pt x="2576293" y="1188270"/>
                </a:lnTo>
                <a:lnTo>
                  <a:pt x="2579223" y="1192276"/>
                </a:lnTo>
                <a:lnTo>
                  <a:pt x="2578030" y="1194766"/>
                </a:lnTo>
                <a:lnTo>
                  <a:pt x="2580091" y="1194441"/>
                </a:lnTo>
                <a:lnTo>
                  <a:pt x="2583239" y="1195199"/>
                </a:lnTo>
                <a:lnTo>
                  <a:pt x="2580634" y="1198555"/>
                </a:lnTo>
                <a:lnTo>
                  <a:pt x="2584975" y="1198772"/>
                </a:lnTo>
                <a:lnTo>
                  <a:pt x="2586494" y="1201803"/>
                </a:lnTo>
                <a:lnTo>
                  <a:pt x="2588882" y="1206351"/>
                </a:lnTo>
                <a:lnTo>
                  <a:pt x="2588014" y="1210249"/>
                </a:lnTo>
                <a:lnTo>
                  <a:pt x="2591812" y="1209815"/>
                </a:lnTo>
                <a:lnTo>
                  <a:pt x="2594307" y="1210790"/>
                </a:lnTo>
                <a:lnTo>
                  <a:pt x="2595501" y="1216204"/>
                </a:lnTo>
                <a:lnTo>
                  <a:pt x="2591703" y="1220426"/>
                </a:lnTo>
                <a:lnTo>
                  <a:pt x="2594199" y="1220318"/>
                </a:lnTo>
                <a:lnTo>
                  <a:pt x="2595393" y="1223349"/>
                </a:lnTo>
                <a:lnTo>
                  <a:pt x="2595610" y="1225623"/>
                </a:lnTo>
                <a:lnTo>
                  <a:pt x="2599516" y="1221833"/>
                </a:lnTo>
                <a:lnTo>
                  <a:pt x="2600601" y="1222916"/>
                </a:lnTo>
                <a:lnTo>
                  <a:pt x="2600059" y="1227896"/>
                </a:lnTo>
                <a:lnTo>
                  <a:pt x="2601469" y="1229737"/>
                </a:lnTo>
                <a:lnTo>
                  <a:pt x="2603314" y="1228546"/>
                </a:lnTo>
                <a:lnTo>
                  <a:pt x="2604725" y="1231253"/>
                </a:lnTo>
                <a:lnTo>
                  <a:pt x="2603423" y="1234176"/>
                </a:lnTo>
                <a:lnTo>
                  <a:pt x="2599841" y="1233310"/>
                </a:lnTo>
                <a:lnTo>
                  <a:pt x="2597997" y="1235367"/>
                </a:lnTo>
                <a:lnTo>
                  <a:pt x="2599733" y="1238398"/>
                </a:lnTo>
                <a:lnTo>
                  <a:pt x="2602663" y="1241647"/>
                </a:lnTo>
                <a:lnTo>
                  <a:pt x="2602446" y="1244353"/>
                </a:lnTo>
                <a:lnTo>
                  <a:pt x="2601469" y="1245545"/>
                </a:lnTo>
                <a:lnTo>
                  <a:pt x="2597237" y="1245545"/>
                </a:lnTo>
                <a:lnTo>
                  <a:pt x="2593005" y="1242946"/>
                </a:lnTo>
                <a:lnTo>
                  <a:pt x="2585734" y="1240455"/>
                </a:lnTo>
                <a:lnTo>
                  <a:pt x="2582371" y="1237857"/>
                </a:lnTo>
                <a:lnTo>
                  <a:pt x="2579115" y="1237316"/>
                </a:lnTo>
                <a:lnTo>
                  <a:pt x="2572604" y="1231686"/>
                </a:lnTo>
                <a:lnTo>
                  <a:pt x="2571410" y="1228979"/>
                </a:lnTo>
                <a:lnTo>
                  <a:pt x="2567937" y="1227030"/>
                </a:lnTo>
                <a:lnTo>
                  <a:pt x="2565116" y="1227355"/>
                </a:lnTo>
                <a:lnTo>
                  <a:pt x="2562512" y="1226272"/>
                </a:lnTo>
                <a:lnTo>
                  <a:pt x="2560667" y="1227788"/>
                </a:lnTo>
                <a:lnTo>
                  <a:pt x="2553505" y="1224757"/>
                </a:lnTo>
                <a:lnTo>
                  <a:pt x="2552637" y="1222266"/>
                </a:lnTo>
                <a:lnTo>
                  <a:pt x="2550032" y="1219776"/>
                </a:lnTo>
                <a:lnTo>
                  <a:pt x="2546777" y="1219776"/>
                </a:lnTo>
                <a:lnTo>
                  <a:pt x="2541894" y="1214146"/>
                </a:lnTo>
                <a:lnTo>
                  <a:pt x="2542003" y="1211006"/>
                </a:lnTo>
                <a:lnTo>
                  <a:pt x="2539723" y="1211223"/>
                </a:lnTo>
                <a:lnTo>
                  <a:pt x="2536902" y="1209274"/>
                </a:lnTo>
                <a:lnTo>
                  <a:pt x="2534840" y="1205160"/>
                </a:lnTo>
                <a:lnTo>
                  <a:pt x="2536793" y="1203319"/>
                </a:lnTo>
                <a:lnTo>
                  <a:pt x="2539073" y="1201803"/>
                </a:lnTo>
                <a:lnTo>
                  <a:pt x="2534732" y="1199963"/>
                </a:lnTo>
                <a:lnTo>
                  <a:pt x="2533212" y="1201045"/>
                </a:lnTo>
                <a:lnTo>
                  <a:pt x="2532019" y="1202778"/>
                </a:lnTo>
                <a:lnTo>
                  <a:pt x="2529523" y="1201262"/>
                </a:lnTo>
                <a:lnTo>
                  <a:pt x="2529632" y="1199313"/>
                </a:lnTo>
                <a:lnTo>
                  <a:pt x="2525725" y="1199313"/>
                </a:lnTo>
                <a:lnTo>
                  <a:pt x="2518346" y="1194333"/>
                </a:lnTo>
                <a:lnTo>
                  <a:pt x="2515307" y="1194116"/>
                </a:lnTo>
                <a:lnTo>
                  <a:pt x="2512920" y="1191843"/>
                </a:lnTo>
                <a:lnTo>
                  <a:pt x="2508579" y="1188270"/>
                </a:lnTo>
                <a:lnTo>
                  <a:pt x="2508905" y="1185779"/>
                </a:lnTo>
                <a:lnTo>
                  <a:pt x="2505866" y="1185346"/>
                </a:lnTo>
                <a:lnTo>
                  <a:pt x="2503153" y="1181990"/>
                </a:lnTo>
                <a:lnTo>
                  <a:pt x="2500223" y="1178092"/>
                </a:lnTo>
                <a:lnTo>
                  <a:pt x="2499790" y="1172462"/>
                </a:lnTo>
                <a:lnTo>
                  <a:pt x="2495340" y="1170188"/>
                </a:lnTo>
                <a:lnTo>
                  <a:pt x="2496860" y="1168348"/>
                </a:lnTo>
                <a:lnTo>
                  <a:pt x="2503262" y="1168672"/>
                </a:lnTo>
                <a:lnTo>
                  <a:pt x="2511835" y="1162826"/>
                </a:lnTo>
                <a:lnTo>
                  <a:pt x="2513571" y="1160444"/>
                </a:lnTo>
                <a:lnTo>
                  <a:pt x="2506734" y="1161310"/>
                </a:lnTo>
                <a:lnTo>
                  <a:pt x="2503479" y="1156329"/>
                </a:lnTo>
                <a:lnTo>
                  <a:pt x="2501851" y="1151133"/>
                </a:lnTo>
                <a:lnTo>
                  <a:pt x="2502936" y="1149292"/>
                </a:lnTo>
                <a:lnTo>
                  <a:pt x="2500332" y="1150483"/>
                </a:lnTo>
                <a:lnTo>
                  <a:pt x="2498162" y="1154814"/>
                </a:lnTo>
                <a:lnTo>
                  <a:pt x="2497619" y="1158170"/>
                </a:lnTo>
                <a:lnTo>
                  <a:pt x="2493604" y="1154272"/>
                </a:lnTo>
                <a:lnTo>
                  <a:pt x="2496425" y="1150807"/>
                </a:lnTo>
                <a:lnTo>
                  <a:pt x="2497293" y="1143554"/>
                </a:lnTo>
                <a:lnTo>
                  <a:pt x="2494255" y="1148750"/>
                </a:lnTo>
                <a:lnTo>
                  <a:pt x="2492302" y="1146693"/>
                </a:lnTo>
                <a:lnTo>
                  <a:pt x="2492302" y="1141497"/>
                </a:lnTo>
                <a:lnTo>
                  <a:pt x="2488395" y="1142254"/>
                </a:lnTo>
                <a:lnTo>
                  <a:pt x="2487419" y="1137924"/>
                </a:lnTo>
                <a:lnTo>
                  <a:pt x="2487744" y="1133809"/>
                </a:lnTo>
                <a:lnTo>
                  <a:pt x="2485465" y="1127638"/>
                </a:lnTo>
                <a:lnTo>
                  <a:pt x="2481885" y="1125581"/>
                </a:lnTo>
                <a:lnTo>
                  <a:pt x="2482101" y="1121899"/>
                </a:lnTo>
                <a:lnTo>
                  <a:pt x="2487093" y="1117136"/>
                </a:lnTo>
                <a:lnTo>
                  <a:pt x="2485899" y="1114862"/>
                </a:lnTo>
                <a:lnTo>
                  <a:pt x="2477760" y="1121791"/>
                </a:lnTo>
                <a:lnTo>
                  <a:pt x="2477435" y="1125905"/>
                </a:lnTo>
                <a:lnTo>
                  <a:pt x="2476024" y="1122658"/>
                </a:lnTo>
                <a:lnTo>
                  <a:pt x="2478846" y="1117136"/>
                </a:lnTo>
                <a:lnTo>
                  <a:pt x="2475156" y="1115944"/>
                </a:lnTo>
                <a:lnTo>
                  <a:pt x="2472986" y="1117244"/>
                </a:lnTo>
                <a:lnTo>
                  <a:pt x="2471792" y="1116053"/>
                </a:lnTo>
                <a:lnTo>
                  <a:pt x="2469187" y="1123957"/>
                </a:lnTo>
                <a:lnTo>
                  <a:pt x="2465173" y="1126447"/>
                </a:lnTo>
                <a:lnTo>
                  <a:pt x="2464847" y="1121466"/>
                </a:lnTo>
                <a:lnTo>
                  <a:pt x="2468103" y="1117460"/>
                </a:lnTo>
                <a:lnTo>
                  <a:pt x="2467777" y="1112805"/>
                </a:lnTo>
                <a:lnTo>
                  <a:pt x="2468645" y="1109881"/>
                </a:lnTo>
                <a:lnTo>
                  <a:pt x="2464738" y="1111289"/>
                </a:lnTo>
                <a:lnTo>
                  <a:pt x="2461049" y="1114862"/>
                </a:lnTo>
                <a:lnTo>
                  <a:pt x="2458878" y="1115079"/>
                </a:lnTo>
                <a:lnTo>
                  <a:pt x="2456057" y="1118868"/>
                </a:lnTo>
                <a:lnTo>
                  <a:pt x="2454538" y="1121575"/>
                </a:lnTo>
                <a:lnTo>
                  <a:pt x="2448787" y="1120383"/>
                </a:lnTo>
                <a:lnTo>
                  <a:pt x="2445965" y="1116919"/>
                </a:lnTo>
                <a:lnTo>
                  <a:pt x="2442493" y="1116919"/>
                </a:lnTo>
                <a:lnTo>
                  <a:pt x="2437826" y="1109232"/>
                </a:lnTo>
                <a:lnTo>
                  <a:pt x="2435873" y="1109015"/>
                </a:lnTo>
                <a:lnTo>
                  <a:pt x="2434571" y="1112480"/>
                </a:lnTo>
                <a:lnTo>
                  <a:pt x="2434571" y="1117136"/>
                </a:lnTo>
                <a:lnTo>
                  <a:pt x="2432292" y="1119409"/>
                </a:lnTo>
                <a:lnTo>
                  <a:pt x="2428494" y="1118002"/>
                </a:lnTo>
                <a:lnTo>
                  <a:pt x="2425564" y="1119193"/>
                </a:lnTo>
                <a:lnTo>
                  <a:pt x="2420572" y="1119409"/>
                </a:lnTo>
                <a:lnTo>
                  <a:pt x="2418836" y="1121791"/>
                </a:lnTo>
                <a:lnTo>
                  <a:pt x="2414170" y="1121466"/>
                </a:lnTo>
                <a:lnTo>
                  <a:pt x="2412108" y="1123632"/>
                </a:lnTo>
                <a:lnTo>
                  <a:pt x="2407768" y="1122116"/>
                </a:lnTo>
                <a:lnTo>
                  <a:pt x="2400713" y="1121575"/>
                </a:lnTo>
                <a:lnTo>
                  <a:pt x="2401582" y="1118652"/>
                </a:lnTo>
                <a:lnTo>
                  <a:pt x="2396807" y="1113130"/>
                </a:lnTo>
                <a:lnTo>
                  <a:pt x="2394529" y="1114754"/>
                </a:lnTo>
                <a:lnTo>
                  <a:pt x="2390404" y="1110748"/>
                </a:lnTo>
                <a:lnTo>
                  <a:pt x="2387366" y="1101653"/>
                </a:lnTo>
                <a:lnTo>
                  <a:pt x="2389103" y="1096348"/>
                </a:lnTo>
                <a:lnTo>
                  <a:pt x="2392684" y="1093857"/>
                </a:lnTo>
                <a:lnTo>
                  <a:pt x="2392684" y="1089418"/>
                </a:lnTo>
                <a:lnTo>
                  <a:pt x="2396156" y="1085845"/>
                </a:lnTo>
                <a:lnTo>
                  <a:pt x="2401256" y="1085304"/>
                </a:lnTo>
                <a:lnTo>
                  <a:pt x="2404078" y="1082164"/>
                </a:lnTo>
                <a:lnTo>
                  <a:pt x="2408527" y="1081406"/>
                </a:lnTo>
                <a:lnTo>
                  <a:pt x="2410589" y="1081731"/>
                </a:lnTo>
                <a:lnTo>
                  <a:pt x="2411240" y="1077941"/>
                </a:lnTo>
                <a:lnTo>
                  <a:pt x="2409286" y="1074910"/>
                </a:lnTo>
                <a:lnTo>
                  <a:pt x="2409069" y="1071987"/>
                </a:lnTo>
                <a:lnTo>
                  <a:pt x="2410154" y="1071120"/>
                </a:lnTo>
                <a:lnTo>
                  <a:pt x="2412759" y="1071770"/>
                </a:lnTo>
                <a:lnTo>
                  <a:pt x="2413519" y="1069605"/>
                </a:lnTo>
                <a:lnTo>
                  <a:pt x="2413085" y="1066790"/>
                </a:lnTo>
                <a:lnTo>
                  <a:pt x="2414604" y="1064949"/>
                </a:lnTo>
                <a:lnTo>
                  <a:pt x="2419595" y="1072420"/>
                </a:lnTo>
                <a:lnTo>
                  <a:pt x="2424479" y="1073286"/>
                </a:lnTo>
                <a:lnTo>
                  <a:pt x="2429471" y="1076859"/>
                </a:lnTo>
                <a:lnTo>
                  <a:pt x="2432943" y="1080757"/>
                </a:lnTo>
                <a:lnTo>
                  <a:pt x="2435439" y="1081406"/>
                </a:lnTo>
                <a:lnTo>
                  <a:pt x="2440648" y="1083896"/>
                </a:lnTo>
                <a:lnTo>
                  <a:pt x="2443686" y="1081190"/>
                </a:lnTo>
                <a:lnTo>
                  <a:pt x="2447159" y="1081298"/>
                </a:lnTo>
                <a:lnTo>
                  <a:pt x="2449004" y="1083896"/>
                </a:lnTo>
                <a:lnTo>
                  <a:pt x="2452151" y="1084005"/>
                </a:lnTo>
                <a:lnTo>
                  <a:pt x="2457468" y="1085087"/>
                </a:lnTo>
                <a:lnTo>
                  <a:pt x="2460723" y="1081514"/>
                </a:lnTo>
                <a:lnTo>
                  <a:pt x="2463003" y="1077075"/>
                </a:lnTo>
                <a:lnTo>
                  <a:pt x="2468971" y="1077075"/>
                </a:lnTo>
                <a:lnTo>
                  <a:pt x="2468971" y="1078916"/>
                </a:lnTo>
                <a:lnTo>
                  <a:pt x="2467669" y="1080865"/>
                </a:lnTo>
                <a:lnTo>
                  <a:pt x="2470924" y="1082706"/>
                </a:lnTo>
                <a:lnTo>
                  <a:pt x="2475373" y="1078916"/>
                </a:lnTo>
                <a:lnTo>
                  <a:pt x="2477218" y="1074694"/>
                </a:lnTo>
                <a:lnTo>
                  <a:pt x="2481776" y="1072095"/>
                </a:lnTo>
                <a:lnTo>
                  <a:pt x="2483621" y="1074694"/>
                </a:lnTo>
                <a:lnTo>
                  <a:pt x="2483838" y="1081190"/>
                </a:lnTo>
                <a:lnTo>
                  <a:pt x="2485139" y="1085087"/>
                </a:lnTo>
                <a:lnTo>
                  <a:pt x="2486008" y="1080324"/>
                </a:lnTo>
                <a:lnTo>
                  <a:pt x="2488612" y="1078267"/>
                </a:lnTo>
                <a:lnTo>
                  <a:pt x="2490891" y="1079457"/>
                </a:lnTo>
                <a:lnTo>
                  <a:pt x="2493062" y="1077400"/>
                </a:lnTo>
                <a:lnTo>
                  <a:pt x="2491867" y="1065598"/>
                </a:lnTo>
                <a:lnTo>
                  <a:pt x="2487961" y="1059535"/>
                </a:lnTo>
                <a:lnTo>
                  <a:pt x="2487310" y="1055422"/>
                </a:lnTo>
                <a:lnTo>
                  <a:pt x="2484380" y="1051090"/>
                </a:lnTo>
                <a:lnTo>
                  <a:pt x="2485682" y="1045569"/>
                </a:lnTo>
                <a:lnTo>
                  <a:pt x="2487744" y="1043512"/>
                </a:lnTo>
                <a:lnTo>
                  <a:pt x="2490349" y="1043404"/>
                </a:lnTo>
                <a:lnTo>
                  <a:pt x="2497293" y="1037882"/>
                </a:lnTo>
                <a:lnTo>
                  <a:pt x="2505541" y="1032901"/>
                </a:lnTo>
                <a:lnTo>
                  <a:pt x="2508796" y="1030952"/>
                </a:lnTo>
                <a:lnTo>
                  <a:pt x="2514656" y="1024997"/>
                </a:lnTo>
                <a:lnTo>
                  <a:pt x="2517043" y="1024997"/>
                </a:lnTo>
                <a:lnTo>
                  <a:pt x="2519865" y="1027271"/>
                </a:lnTo>
                <a:lnTo>
                  <a:pt x="2523229" y="1026188"/>
                </a:lnTo>
                <a:lnTo>
                  <a:pt x="2525508" y="1025864"/>
                </a:lnTo>
                <a:lnTo>
                  <a:pt x="2519323" y="1022399"/>
                </a:lnTo>
                <a:lnTo>
                  <a:pt x="2519105" y="1018826"/>
                </a:lnTo>
                <a:lnTo>
                  <a:pt x="2527787" y="1011897"/>
                </a:lnTo>
                <a:lnTo>
                  <a:pt x="2528764" y="1008432"/>
                </a:lnTo>
                <a:lnTo>
                  <a:pt x="2531367" y="1006916"/>
                </a:lnTo>
                <a:lnTo>
                  <a:pt x="2538313" y="1008432"/>
                </a:lnTo>
                <a:lnTo>
                  <a:pt x="2545366" y="1006050"/>
                </a:lnTo>
                <a:lnTo>
                  <a:pt x="2546126" y="1003019"/>
                </a:lnTo>
                <a:lnTo>
                  <a:pt x="2543630" y="998471"/>
                </a:lnTo>
                <a:lnTo>
                  <a:pt x="2546017" y="995115"/>
                </a:lnTo>
                <a:lnTo>
                  <a:pt x="2546994" y="986453"/>
                </a:lnTo>
                <a:lnTo>
                  <a:pt x="2547428" y="984829"/>
                </a:lnTo>
                <a:lnTo>
                  <a:pt x="2546451" y="983421"/>
                </a:lnTo>
                <a:lnTo>
                  <a:pt x="2546451" y="979632"/>
                </a:lnTo>
                <a:lnTo>
                  <a:pt x="2548947" y="975193"/>
                </a:lnTo>
                <a:lnTo>
                  <a:pt x="2549056" y="970970"/>
                </a:lnTo>
                <a:lnTo>
                  <a:pt x="2545692" y="969887"/>
                </a:lnTo>
                <a:lnTo>
                  <a:pt x="2545584" y="967938"/>
                </a:lnTo>
                <a:lnTo>
                  <a:pt x="2547646" y="961442"/>
                </a:lnTo>
                <a:lnTo>
                  <a:pt x="2550901" y="960793"/>
                </a:lnTo>
                <a:lnTo>
                  <a:pt x="2551443" y="957328"/>
                </a:lnTo>
                <a:lnTo>
                  <a:pt x="2553722" y="953322"/>
                </a:lnTo>
                <a:lnTo>
                  <a:pt x="2553288" y="950615"/>
                </a:lnTo>
                <a:lnTo>
                  <a:pt x="2550901" y="951048"/>
                </a:lnTo>
                <a:lnTo>
                  <a:pt x="2548405" y="953972"/>
                </a:lnTo>
                <a:lnTo>
                  <a:pt x="2548296" y="956679"/>
                </a:lnTo>
                <a:lnTo>
                  <a:pt x="2546343" y="957436"/>
                </a:lnTo>
                <a:lnTo>
                  <a:pt x="2546017" y="954405"/>
                </a:lnTo>
                <a:lnTo>
                  <a:pt x="2546343" y="950291"/>
                </a:lnTo>
                <a:lnTo>
                  <a:pt x="2544607" y="949100"/>
                </a:lnTo>
                <a:lnTo>
                  <a:pt x="2535166" y="948775"/>
                </a:lnTo>
                <a:lnTo>
                  <a:pt x="2532127" y="945635"/>
                </a:lnTo>
                <a:lnTo>
                  <a:pt x="2533104" y="943578"/>
                </a:lnTo>
                <a:lnTo>
                  <a:pt x="2539941" y="940763"/>
                </a:lnTo>
                <a:lnTo>
                  <a:pt x="2539073" y="938922"/>
                </a:lnTo>
                <a:lnTo>
                  <a:pt x="2535600" y="936865"/>
                </a:lnTo>
                <a:lnTo>
                  <a:pt x="2538096" y="932534"/>
                </a:lnTo>
                <a:lnTo>
                  <a:pt x="2538096" y="929286"/>
                </a:lnTo>
                <a:lnTo>
                  <a:pt x="2532887" y="925497"/>
                </a:lnTo>
                <a:lnTo>
                  <a:pt x="2530934" y="926255"/>
                </a:lnTo>
                <a:lnTo>
                  <a:pt x="2530500" y="929178"/>
                </a:lnTo>
                <a:lnTo>
                  <a:pt x="2532127" y="932101"/>
                </a:lnTo>
                <a:lnTo>
                  <a:pt x="2530934" y="934700"/>
                </a:lnTo>
                <a:lnTo>
                  <a:pt x="2525399" y="935999"/>
                </a:lnTo>
                <a:lnTo>
                  <a:pt x="2523446" y="931777"/>
                </a:lnTo>
                <a:lnTo>
                  <a:pt x="2521385" y="931018"/>
                </a:lnTo>
                <a:lnTo>
                  <a:pt x="2520625" y="925389"/>
                </a:lnTo>
                <a:lnTo>
                  <a:pt x="2524423" y="921707"/>
                </a:lnTo>
                <a:lnTo>
                  <a:pt x="2523229" y="918675"/>
                </a:lnTo>
                <a:lnTo>
                  <a:pt x="2517043" y="919434"/>
                </a:lnTo>
                <a:lnTo>
                  <a:pt x="2517586" y="918026"/>
                </a:lnTo>
                <a:lnTo>
                  <a:pt x="2522578" y="916402"/>
                </a:lnTo>
                <a:lnTo>
                  <a:pt x="2523012" y="914345"/>
                </a:lnTo>
                <a:lnTo>
                  <a:pt x="2520408" y="913371"/>
                </a:lnTo>
                <a:lnTo>
                  <a:pt x="2522903" y="911530"/>
                </a:lnTo>
                <a:lnTo>
                  <a:pt x="2525725" y="910122"/>
                </a:lnTo>
                <a:lnTo>
                  <a:pt x="2526159" y="907632"/>
                </a:lnTo>
                <a:lnTo>
                  <a:pt x="2523771" y="905683"/>
                </a:lnTo>
                <a:lnTo>
                  <a:pt x="2519648" y="908823"/>
                </a:lnTo>
                <a:lnTo>
                  <a:pt x="2516392" y="914020"/>
                </a:lnTo>
                <a:lnTo>
                  <a:pt x="2513245" y="916077"/>
                </a:lnTo>
                <a:lnTo>
                  <a:pt x="2511617" y="914561"/>
                </a:lnTo>
                <a:lnTo>
                  <a:pt x="2511075" y="909256"/>
                </a:lnTo>
                <a:lnTo>
                  <a:pt x="2508796" y="910663"/>
                </a:lnTo>
                <a:lnTo>
                  <a:pt x="2506517" y="914778"/>
                </a:lnTo>
                <a:lnTo>
                  <a:pt x="2502936" y="914886"/>
                </a:lnTo>
                <a:lnTo>
                  <a:pt x="2500006" y="916943"/>
                </a:lnTo>
                <a:lnTo>
                  <a:pt x="2495665" y="916835"/>
                </a:lnTo>
                <a:lnTo>
                  <a:pt x="2492627" y="918026"/>
                </a:lnTo>
                <a:lnTo>
                  <a:pt x="2492085" y="919542"/>
                </a:lnTo>
                <a:lnTo>
                  <a:pt x="2489589" y="919542"/>
                </a:lnTo>
                <a:lnTo>
                  <a:pt x="2488829" y="917051"/>
                </a:lnTo>
                <a:lnTo>
                  <a:pt x="2491434" y="913912"/>
                </a:lnTo>
                <a:lnTo>
                  <a:pt x="2490999" y="911746"/>
                </a:lnTo>
                <a:lnTo>
                  <a:pt x="2489155" y="910555"/>
                </a:lnTo>
                <a:lnTo>
                  <a:pt x="2492519" y="905791"/>
                </a:lnTo>
                <a:lnTo>
                  <a:pt x="2494689" y="905033"/>
                </a:lnTo>
                <a:lnTo>
                  <a:pt x="2497619" y="906441"/>
                </a:lnTo>
                <a:lnTo>
                  <a:pt x="2500115" y="907957"/>
                </a:lnTo>
                <a:lnTo>
                  <a:pt x="2502503" y="906766"/>
                </a:lnTo>
                <a:lnTo>
                  <a:pt x="2505324" y="906441"/>
                </a:lnTo>
                <a:lnTo>
                  <a:pt x="2509122" y="902977"/>
                </a:lnTo>
                <a:lnTo>
                  <a:pt x="2510424" y="898862"/>
                </a:lnTo>
                <a:lnTo>
                  <a:pt x="2508905" y="896155"/>
                </a:lnTo>
                <a:lnTo>
                  <a:pt x="2506192" y="893340"/>
                </a:lnTo>
                <a:lnTo>
                  <a:pt x="2501634" y="891824"/>
                </a:lnTo>
                <a:lnTo>
                  <a:pt x="2499681" y="888468"/>
                </a:lnTo>
                <a:lnTo>
                  <a:pt x="2499464" y="885437"/>
                </a:lnTo>
                <a:lnTo>
                  <a:pt x="2498053" y="883488"/>
                </a:lnTo>
                <a:lnTo>
                  <a:pt x="2498162" y="880348"/>
                </a:lnTo>
                <a:lnTo>
                  <a:pt x="2493604" y="879806"/>
                </a:lnTo>
                <a:lnTo>
                  <a:pt x="2492953" y="878616"/>
                </a:lnTo>
                <a:lnTo>
                  <a:pt x="2490240" y="876992"/>
                </a:lnTo>
                <a:lnTo>
                  <a:pt x="2489372" y="874068"/>
                </a:lnTo>
                <a:lnTo>
                  <a:pt x="2492953" y="872553"/>
                </a:lnTo>
                <a:lnTo>
                  <a:pt x="2494580" y="874826"/>
                </a:lnTo>
                <a:lnTo>
                  <a:pt x="2496425" y="873635"/>
                </a:lnTo>
                <a:lnTo>
                  <a:pt x="2497185" y="871037"/>
                </a:lnTo>
                <a:lnTo>
                  <a:pt x="2501417" y="868871"/>
                </a:lnTo>
                <a:lnTo>
                  <a:pt x="2495232" y="867680"/>
                </a:lnTo>
                <a:lnTo>
                  <a:pt x="2492627" y="864757"/>
                </a:lnTo>
                <a:lnTo>
                  <a:pt x="2489697" y="864649"/>
                </a:lnTo>
                <a:lnTo>
                  <a:pt x="2489372" y="863241"/>
                </a:lnTo>
                <a:lnTo>
                  <a:pt x="2485465" y="862266"/>
                </a:lnTo>
                <a:lnTo>
                  <a:pt x="2483621" y="866381"/>
                </a:lnTo>
                <a:lnTo>
                  <a:pt x="2482101" y="866814"/>
                </a:lnTo>
                <a:lnTo>
                  <a:pt x="2482101" y="864107"/>
                </a:lnTo>
                <a:lnTo>
                  <a:pt x="2485465" y="856637"/>
                </a:lnTo>
                <a:lnTo>
                  <a:pt x="2489481" y="850249"/>
                </a:lnTo>
                <a:lnTo>
                  <a:pt x="2489806" y="848408"/>
                </a:lnTo>
                <a:lnTo>
                  <a:pt x="2492302" y="842129"/>
                </a:lnTo>
                <a:lnTo>
                  <a:pt x="2492410" y="837581"/>
                </a:lnTo>
                <a:lnTo>
                  <a:pt x="2493821" y="835091"/>
                </a:lnTo>
                <a:lnTo>
                  <a:pt x="2492302" y="832492"/>
                </a:lnTo>
                <a:lnTo>
                  <a:pt x="2488069" y="834874"/>
                </a:lnTo>
                <a:lnTo>
                  <a:pt x="2485465" y="833033"/>
                </a:lnTo>
                <a:lnTo>
                  <a:pt x="2483838" y="834008"/>
                </a:lnTo>
                <a:lnTo>
                  <a:pt x="2483403" y="836715"/>
                </a:lnTo>
                <a:lnTo>
                  <a:pt x="2480908" y="836065"/>
                </a:lnTo>
                <a:lnTo>
                  <a:pt x="2475047" y="829894"/>
                </a:lnTo>
                <a:lnTo>
                  <a:pt x="2474722" y="826537"/>
                </a:lnTo>
                <a:lnTo>
                  <a:pt x="2472552" y="823723"/>
                </a:lnTo>
                <a:lnTo>
                  <a:pt x="2470490" y="822640"/>
                </a:lnTo>
                <a:lnTo>
                  <a:pt x="2471358" y="817442"/>
                </a:lnTo>
                <a:lnTo>
                  <a:pt x="2475807" y="815494"/>
                </a:lnTo>
                <a:lnTo>
                  <a:pt x="2476675" y="813328"/>
                </a:lnTo>
                <a:lnTo>
                  <a:pt x="2475265" y="810621"/>
                </a:lnTo>
                <a:lnTo>
                  <a:pt x="2474830" y="805858"/>
                </a:lnTo>
                <a:lnTo>
                  <a:pt x="2472226" y="806507"/>
                </a:lnTo>
                <a:lnTo>
                  <a:pt x="2469622" y="809106"/>
                </a:lnTo>
                <a:lnTo>
                  <a:pt x="2469405" y="815927"/>
                </a:lnTo>
                <a:lnTo>
                  <a:pt x="2466909" y="819825"/>
                </a:lnTo>
                <a:lnTo>
                  <a:pt x="2465715" y="815602"/>
                </a:lnTo>
                <a:lnTo>
                  <a:pt x="2463436" y="813762"/>
                </a:lnTo>
                <a:lnTo>
                  <a:pt x="2462243" y="814736"/>
                </a:lnTo>
                <a:lnTo>
                  <a:pt x="2461917" y="817659"/>
                </a:lnTo>
                <a:lnTo>
                  <a:pt x="2459747" y="818417"/>
                </a:lnTo>
                <a:lnTo>
                  <a:pt x="2458878" y="823505"/>
                </a:lnTo>
                <a:lnTo>
                  <a:pt x="2462676" y="828703"/>
                </a:lnTo>
                <a:lnTo>
                  <a:pt x="2465389" y="828270"/>
                </a:lnTo>
                <a:lnTo>
                  <a:pt x="2469079" y="836715"/>
                </a:lnTo>
                <a:lnTo>
                  <a:pt x="2471467" y="839313"/>
                </a:lnTo>
                <a:lnTo>
                  <a:pt x="2469947" y="843860"/>
                </a:lnTo>
                <a:lnTo>
                  <a:pt x="2469622" y="847650"/>
                </a:lnTo>
                <a:lnTo>
                  <a:pt x="2466474" y="852522"/>
                </a:lnTo>
                <a:lnTo>
                  <a:pt x="2463220" y="854904"/>
                </a:lnTo>
                <a:lnTo>
                  <a:pt x="2452694" y="854688"/>
                </a:lnTo>
                <a:lnTo>
                  <a:pt x="2451282" y="853388"/>
                </a:lnTo>
                <a:lnTo>
                  <a:pt x="2447159" y="853713"/>
                </a:lnTo>
                <a:lnTo>
                  <a:pt x="2442384" y="850682"/>
                </a:lnTo>
                <a:lnTo>
                  <a:pt x="2443578" y="848949"/>
                </a:lnTo>
                <a:lnTo>
                  <a:pt x="2443578" y="844619"/>
                </a:lnTo>
                <a:lnTo>
                  <a:pt x="2436090" y="844727"/>
                </a:lnTo>
                <a:lnTo>
                  <a:pt x="2428277" y="840829"/>
                </a:lnTo>
                <a:lnTo>
                  <a:pt x="2421658" y="840180"/>
                </a:lnTo>
                <a:lnTo>
                  <a:pt x="2424804" y="848733"/>
                </a:lnTo>
                <a:lnTo>
                  <a:pt x="2426974" y="853930"/>
                </a:lnTo>
                <a:lnTo>
                  <a:pt x="2425998" y="854904"/>
                </a:lnTo>
                <a:lnTo>
                  <a:pt x="2422200" y="854796"/>
                </a:lnTo>
                <a:lnTo>
                  <a:pt x="2420030" y="850140"/>
                </a:lnTo>
                <a:lnTo>
                  <a:pt x="2416123" y="845917"/>
                </a:lnTo>
                <a:lnTo>
                  <a:pt x="2414495" y="845160"/>
                </a:lnTo>
                <a:lnTo>
                  <a:pt x="2413302" y="841803"/>
                </a:lnTo>
                <a:lnTo>
                  <a:pt x="2408744" y="837040"/>
                </a:lnTo>
                <a:lnTo>
                  <a:pt x="2405271" y="832817"/>
                </a:lnTo>
                <a:lnTo>
                  <a:pt x="2404511" y="830435"/>
                </a:lnTo>
                <a:lnTo>
                  <a:pt x="2401256" y="829677"/>
                </a:lnTo>
                <a:lnTo>
                  <a:pt x="2397350" y="824697"/>
                </a:lnTo>
                <a:lnTo>
                  <a:pt x="2394420" y="823505"/>
                </a:lnTo>
                <a:lnTo>
                  <a:pt x="2393009" y="821665"/>
                </a:lnTo>
                <a:lnTo>
                  <a:pt x="2389211" y="819608"/>
                </a:lnTo>
                <a:lnTo>
                  <a:pt x="2390079" y="823181"/>
                </a:lnTo>
                <a:lnTo>
                  <a:pt x="2399195" y="830435"/>
                </a:lnTo>
                <a:lnTo>
                  <a:pt x="2401256" y="834008"/>
                </a:lnTo>
                <a:lnTo>
                  <a:pt x="2404511" y="837906"/>
                </a:lnTo>
                <a:lnTo>
                  <a:pt x="2408201" y="840396"/>
                </a:lnTo>
                <a:lnTo>
                  <a:pt x="2409504" y="843752"/>
                </a:lnTo>
                <a:lnTo>
                  <a:pt x="2407116" y="846892"/>
                </a:lnTo>
                <a:lnTo>
                  <a:pt x="2405380" y="845376"/>
                </a:lnTo>
                <a:lnTo>
                  <a:pt x="2402993" y="847758"/>
                </a:lnTo>
                <a:lnTo>
                  <a:pt x="2396265" y="843427"/>
                </a:lnTo>
                <a:lnTo>
                  <a:pt x="2393660" y="844186"/>
                </a:lnTo>
                <a:lnTo>
                  <a:pt x="2391490" y="840504"/>
                </a:lnTo>
                <a:lnTo>
                  <a:pt x="2387149" y="838988"/>
                </a:lnTo>
                <a:lnTo>
                  <a:pt x="2385413" y="834982"/>
                </a:lnTo>
                <a:lnTo>
                  <a:pt x="2377708" y="836065"/>
                </a:lnTo>
                <a:lnTo>
                  <a:pt x="2373693" y="838339"/>
                </a:lnTo>
                <a:lnTo>
                  <a:pt x="2370221" y="835415"/>
                </a:lnTo>
                <a:lnTo>
                  <a:pt x="2365120" y="834333"/>
                </a:lnTo>
                <a:lnTo>
                  <a:pt x="2360780" y="834658"/>
                </a:lnTo>
                <a:lnTo>
                  <a:pt x="2358392" y="831409"/>
                </a:lnTo>
                <a:lnTo>
                  <a:pt x="2352858" y="827837"/>
                </a:lnTo>
                <a:lnTo>
                  <a:pt x="2352749" y="824913"/>
                </a:lnTo>
                <a:lnTo>
                  <a:pt x="2359369" y="818742"/>
                </a:lnTo>
                <a:lnTo>
                  <a:pt x="2362190" y="817334"/>
                </a:lnTo>
                <a:lnTo>
                  <a:pt x="2361973" y="815385"/>
                </a:lnTo>
                <a:lnTo>
                  <a:pt x="2358935" y="815602"/>
                </a:lnTo>
                <a:lnTo>
                  <a:pt x="2354811" y="819933"/>
                </a:lnTo>
                <a:lnTo>
                  <a:pt x="2351447" y="823723"/>
                </a:lnTo>
                <a:lnTo>
                  <a:pt x="2349060" y="824588"/>
                </a:lnTo>
                <a:lnTo>
                  <a:pt x="2345261" y="821448"/>
                </a:lnTo>
                <a:lnTo>
                  <a:pt x="2340813" y="820582"/>
                </a:lnTo>
                <a:lnTo>
                  <a:pt x="2338859" y="821232"/>
                </a:lnTo>
                <a:lnTo>
                  <a:pt x="2342875" y="824047"/>
                </a:lnTo>
                <a:lnTo>
                  <a:pt x="2340595" y="825780"/>
                </a:lnTo>
                <a:lnTo>
                  <a:pt x="2334410" y="825346"/>
                </a:lnTo>
                <a:lnTo>
                  <a:pt x="2328550" y="820474"/>
                </a:lnTo>
                <a:lnTo>
                  <a:pt x="2327682" y="814086"/>
                </a:lnTo>
                <a:lnTo>
                  <a:pt x="2323558" y="810946"/>
                </a:lnTo>
                <a:lnTo>
                  <a:pt x="2324318" y="807048"/>
                </a:lnTo>
                <a:lnTo>
                  <a:pt x="2332348" y="802934"/>
                </a:lnTo>
                <a:lnTo>
                  <a:pt x="2334302" y="800011"/>
                </a:lnTo>
                <a:lnTo>
                  <a:pt x="2332674" y="798928"/>
                </a:lnTo>
                <a:lnTo>
                  <a:pt x="2329093" y="801635"/>
                </a:lnTo>
                <a:lnTo>
                  <a:pt x="2323450" y="802393"/>
                </a:lnTo>
                <a:lnTo>
                  <a:pt x="2321388" y="807374"/>
                </a:lnTo>
                <a:lnTo>
                  <a:pt x="2318892" y="807915"/>
                </a:lnTo>
                <a:lnTo>
                  <a:pt x="2318024" y="804450"/>
                </a:lnTo>
                <a:lnTo>
                  <a:pt x="2319109" y="800661"/>
                </a:lnTo>
                <a:lnTo>
                  <a:pt x="2317156" y="798928"/>
                </a:lnTo>
                <a:lnTo>
                  <a:pt x="2314877" y="799470"/>
                </a:lnTo>
                <a:lnTo>
                  <a:pt x="2314009" y="802501"/>
                </a:lnTo>
                <a:lnTo>
                  <a:pt x="2314660" y="804991"/>
                </a:lnTo>
                <a:lnTo>
                  <a:pt x="2313466" y="807482"/>
                </a:lnTo>
                <a:lnTo>
                  <a:pt x="2310103" y="806507"/>
                </a:lnTo>
                <a:lnTo>
                  <a:pt x="2307281" y="803260"/>
                </a:lnTo>
                <a:lnTo>
                  <a:pt x="2303375" y="802393"/>
                </a:lnTo>
                <a:lnTo>
                  <a:pt x="2300227" y="803260"/>
                </a:lnTo>
                <a:lnTo>
                  <a:pt x="2299793" y="806183"/>
                </a:lnTo>
                <a:lnTo>
                  <a:pt x="2297297" y="806291"/>
                </a:lnTo>
                <a:lnTo>
                  <a:pt x="2294151" y="802501"/>
                </a:lnTo>
                <a:lnTo>
                  <a:pt x="2292848" y="798712"/>
                </a:lnTo>
                <a:lnTo>
                  <a:pt x="2294259" y="798928"/>
                </a:lnTo>
                <a:lnTo>
                  <a:pt x="2296646" y="800661"/>
                </a:lnTo>
                <a:lnTo>
                  <a:pt x="2296537" y="798928"/>
                </a:lnTo>
                <a:lnTo>
                  <a:pt x="2292089" y="794706"/>
                </a:lnTo>
                <a:lnTo>
                  <a:pt x="2286446" y="791458"/>
                </a:lnTo>
                <a:lnTo>
                  <a:pt x="2285795" y="787452"/>
                </a:lnTo>
                <a:lnTo>
                  <a:pt x="2286555" y="782363"/>
                </a:lnTo>
                <a:lnTo>
                  <a:pt x="2285903" y="776516"/>
                </a:lnTo>
                <a:lnTo>
                  <a:pt x="2283733" y="769371"/>
                </a:lnTo>
                <a:lnTo>
                  <a:pt x="2285143" y="765906"/>
                </a:lnTo>
                <a:lnTo>
                  <a:pt x="2288073" y="765906"/>
                </a:lnTo>
                <a:lnTo>
                  <a:pt x="2288073" y="763199"/>
                </a:lnTo>
                <a:lnTo>
                  <a:pt x="2286337" y="757677"/>
                </a:lnTo>
                <a:lnTo>
                  <a:pt x="2287096" y="755728"/>
                </a:lnTo>
                <a:lnTo>
                  <a:pt x="2291546" y="757028"/>
                </a:lnTo>
                <a:lnTo>
                  <a:pt x="2293282" y="759410"/>
                </a:lnTo>
                <a:lnTo>
                  <a:pt x="2300987" y="759951"/>
                </a:lnTo>
                <a:lnTo>
                  <a:pt x="2305111" y="763199"/>
                </a:lnTo>
                <a:lnTo>
                  <a:pt x="2306521" y="767638"/>
                </a:lnTo>
                <a:lnTo>
                  <a:pt x="2314986" y="770887"/>
                </a:lnTo>
                <a:lnTo>
                  <a:pt x="2322582" y="770887"/>
                </a:lnTo>
                <a:lnTo>
                  <a:pt x="2324752" y="769587"/>
                </a:lnTo>
                <a:lnTo>
                  <a:pt x="2331480" y="769371"/>
                </a:lnTo>
                <a:lnTo>
                  <a:pt x="2328550" y="766989"/>
                </a:lnTo>
                <a:lnTo>
                  <a:pt x="2327899" y="763849"/>
                </a:lnTo>
                <a:lnTo>
                  <a:pt x="2321713" y="760059"/>
                </a:lnTo>
                <a:lnTo>
                  <a:pt x="2320954" y="753671"/>
                </a:lnTo>
                <a:lnTo>
                  <a:pt x="2314769" y="753671"/>
                </a:lnTo>
                <a:lnTo>
                  <a:pt x="2309451" y="750423"/>
                </a:lnTo>
                <a:lnTo>
                  <a:pt x="2305870" y="750423"/>
                </a:lnTo>
                <a:lnTo>
                  <a:pt x="2300336" y="746850"/>
                </a:lnTo>
                <a:lnTo>
                  <a:pt x="2295669" y="746634"/>
                </a:lnTo>
                <a:lnTo>
                  <a:pt x="2287205" y="741978"/>
                </a:lnTo>
                <a:lnTo>
                  <a:pt x="2284926" y="737755"/>
                </a:lnTo>
                <a:lnTo>
                  <a:pt x="2286663" y="730177"/>
                </a:lnTo>
                <a:lnTo>
                  <a:pt x="2290678" y="727578"/>
                </a:lnTo>
                <a:lnTo>
                  <a:pt x="2290352" y="724114"/>
                </a:lnTo>
                <a:lnTo>
                  <a:pt x="2291871" y="718808"/>
                </a:lnTo>
                <a:lnTo>
                  <a:pt x="2295669" y="718808"/>
                </a:lnTo>
                <a:lnTo>
                  <a:pt x="2298057" y="714153"/>
                </a:lnTo>
                <a:lnTo>
                  <a:pt x="2298057" y="705708"/>
                </a:lnTo>
                <a:lnTo>
                  <a:pt x="2299685" y="702351"/>
                </a:lnTo>
                <a:lnTo>
                  <a:pt x="2303048" y="701268"/>
                </a:lnTo>
                <a:lnTo>
                  <a:pt x="2304243" y="697154"/>
                </a:lnTo>
                <a:lnTo>
                  <a:pt x="2310645" y="693690"/>
                </a:lnTo>
                <a:lnTo>
                  <a:pt x="2314443" y="693364"/>
                </a:lnTo>
                <a:lnTo>
                  <a:pt x="2315528" y="690117"/>
                </a:lnTo>
                <a:lnTo>
                  <a:pt x="2313900" y="690333"/>
                </a:lnTo>
                <a:lnTo>
                  <a:pt x="2311730" y="691199"/>
                </a:lnTo>
                <a:lnTo>
                  <a:pt x="2311187" y="687301"/>
                </a:lnTo>
                <a:lnTo>
                  <a:pt x="2315962" y="680156"/>
                </a:lnTo>
                <a:lnTo>
                  <a:pt x="2319652" y="673227"/>
                </a:lnTo>
                <a:lnTo>
                  <a:pt x="2321388" y="671602"/>
                </a:lnTo>
                <a:lnTo>
                  <a:pt x="2324969" y="666946"/>
                </a:lnTo>
                <a:lnTo>
                  <a:pt x="2328441" y="666946"/>
                </a:lnTo>
                <a:lnTo>
                  <a:pt x="2330178" y="667380"/>
                </a:lnTo>
                <a:lnTo>
                  <a:pt x="2332239" y="660017"/>
                </a:lnTo>
                <a:lnTo>
                  <a:pt x="2334410" y="660342"/>
                </a:lnTo>
                <a:lnTo>
                  <a:pt x="2336146" y="664023"/>
                </a:lnTo>
                <a:lnTo>
                  <a:pt x="2338534" y="660667"/>
                </a:lnTo>
                <a:lnTo>
                  <a:pt x="2336797" y="657635"/>
                </a:lnTo>
                <a:lnTo>
                  <a:pt x="2342332" y="649082"/>
                </a:lnTo>
                <a:lnTo>
                  <a:pt x="2346130" y="649190"/>
                </a:lnTo>
                <a:lnTo>
                  <a:pt x="2345804" y="644860"/>
                </a:lnTo>
                <a:lnTo>
                  <a:pt x="2349711" y="639446"/>
                </a:lnTo>
                <a:lnTo>
                  <a:pt x="2354811" y="639229"/>
                </a:lnTo>
                <a:lnTo>
                  <a:pt x="2357632" y="635116"/>
                </a:lnTo>
                <a:lnTo>
                  <a:pt x="2361322" y="635224"/>
                </a:lnTo>
                <a:lnTo>
                  <a:pt x="2364252" y="636848"/>
                </a:lnTo>
                <a:lnTo>
                  <a:pt x="2362733" y="632517"/>
                </a:lnTo>
                <a:lnTo>
                  <a:pt x="2363926" y="628078"/>
                </a:lnTo>
                <a:lnTo>
                  <a:pt x="2372391" y="624289"/>
                </a:lnTo>
                <a:lnTo>
                  <a:pt x="2380421" y="617251"/>
                </a:lnTo>
                <a:lnTo>
                  <a:pt x="2393334" y="612920"/>
                </a:lnTo>
                <a:lnTo>
                  <a:pt x="2401908" y="612379"/>
                </a:lnTo>
                <a:close/>
                <a:moveTo>
                  <a:pt x="5435707" y="610865"/>
                </a:moveTo>
                <a:lnTo>
                  <a:pt x="5439397" y="612381"/>
                </a:lnTo>
                <a:lnTo>
                  <a:pt x="5442327" y="615520"/>
                </a:lnTo>
                <a:lnTo>
                  <a:pt x="5440157" y="618119"/>
                </a:lnTo>
                <a:lnTo>
                  <a:pt x="5437769" y="616820"/>
                </a:lnTo>
                <a:close/>
                <a:moveTo>
                  <a:pt x="2214282" y="604582"/>
                </a:moveTo>
                <a:lnTo>
                  <a:pt x="2215475" y="608372"/>
                </a:lnTo>
                <a:lnTo>
                  <a:pt x="2216886" y="610429"/>
                </a:lnTo>
                <a:lnTo>
                  <a:pt x="2216343" y="613677"/>
                </a:lnTo>
                <a:lnTo>
                  <a:pt x="2212437" y="618657"/>
                </a:lnTo>
                <a:lnTo>
                  <a:pt x="2210158" y="619415"/>
                </a:lnTo>
                <a:lnTo>
                  <a:pt x="2207879" y="616709"/>
                </a:lnTo>
                <a:lnTo>
                  <a:pt x="2207337" y="611295"/>
                </a:lnTo>
                <a:lnTo>
                  <a:pt x="2209832" y="609671"/>
                </a:lnTo>
                <a:lnTo>
                  <a:pt x="2211026" y="605990"/>
                </a:lnTo>
                <a:close/>
                <a:moveTo>
                  <a:pt x="5419538" y="602094"/>
                </a:moveTo>
                <a:lnTo>
                  <a:pt x="5423662" y="603611"/>
                </a:lnTo>
                <a:lnTo>
                  <a:pt x="5420949" y="607182"/>
                </a:lnTo>
                <a:lnTo>
                  <a:pt x="5415740" y="607507"/>
                </a:lnTo>
                <a:lnTo>
                  <a:pt x="5417042" y="605233"/>
                </a:lnTo>
                <a:lnTo>
                  <a:pt x="5416717" y="602959"/>
                </a:lnTo>
                <a:close/>
                <a:moveTo>
                  <a:pt x="2213630" y="599928"/>
                </a:moveTo>
                <a:lnTo>
                  <a:pt x="2216559" y="600252"/>
                </a:lnTo>
                <a:lnTo>
                  <a:pt x="2215583" y="602525"/>
                </a:lnTo>
                <a:lnTo>
                  <a:pt x="2213305" y="602202"/>
                </a:lnTo>
                <a:close/>
                <a:moveTo>
                  <a:pt x="1568283" y="593863"/>
                </a:moveTo>
                <a:lnTo>
                  <a:pt x="1568391" y="599169"/>
                </a:lnTo>
                <a:lnTo>
                  <a:pt x="1563834" y="601551"/>
                </a:lnTo>
                <a:lnTo>
                  <a:pt x="1560904" y="599927"/>
                </a:lnTo>
                <a:lnTo>
                  <a:pt x="1563074" y="596678"/>
                </a:lnTo>
                <a:close/>
                <a:moveTo>
                  <a:pt x="5299952" y="592242"/>
                </a:moveTo>
                <a:lnTo>
                  <a:pt x="5303316" y="593649"/>
                </a:lnTo>
                <a:lnTo>
                  <a:pt x="5302991" y="596464"/>
                </a:lnTo>
                <a:lnTo>
                  <a:pt x="5304185" y="600362"/>
                </a:lnTo>
                <a:lnTo>
                  <a:pt x="5301038" y="602419"/>
                </a:lnTo>
                <a:lnTo>
                  <a:pt x="5297240" y="600578"/>
                </a:lnTo>
                <a:lnTo>
                  <a:pt x="5296263" y="597006"/>
                </a:lnTo>
                <a:lnTo>
                  <a:pt x="5293767" y="595381"/>
                </a:lnTo>
                <a:lnTo>
                  <a:pt x="5294852" y="593107"/>
                </a:lnTo>
                <a:close/>
                <a:moveTo>
                  <a:pt x="1324011" y="590183"/>
                </a:moveTo>
                <a:lnTo>
                  <a:pt x="1328677" y="591807"/>
                </a:lnTo>
                <a:lnTo>
                  <a:pt x="1333560" y="598519"/>
                </a:lnTo>
                <a:lnTo>
                  <a:pt x="1331824" y="599711"/>
                </a:lnTo>
                <a:lnTo>
                  <a:pt x="1327483" y="597220"/>
                </a:lnTo>
                <a:lnTo>
                  <a:pt x="1324445" y="598195"/>
                </a:lnTo>
                <a:lnTo>
                  <a:pt x="1320864" y="592673"/>
                </a:lnTo>
                <a:close/>
                <a:moveTo>
                  <a:pt x="5397618" y="584770"/>
                </a:moveTo>
                <a:lnTo>
                  <a:pt x="5400331" y="584987"/>
                </a:lnTo>
                <a:lnTo>
                  <a:pt x="5400222" y="587152"/>
                </a:lnTo>
                <a:lnTo>
                  <a:pt x="5397184" y="588885"/>
                </a:lnTo>
                <a:lnTo>
                  <a:pt x="5396533" y="590292"/>
                </a:lnTo>
                <a:lnTo>
                  <a:pt x="5397510" y="591917"/>
                </a:lnTo>
                <a:lnTo>
                  <a:pt x="5396316" y="593649"/>
                </a:lnTo>
                <a:lnTo>
                  <a:pt x="5391975" y="591699"/>
                </a:lnTo>
                <a:lnTo>
                  <a:pt x="5391975" y="588993"/>
                </a:lnTo>
                <a:close/>
                <a:moveTo>
                  <a:pt x="4923074" y="582065"/>
                </a:moveTo>
                <a:lnTo>
                  <a:pt x="4924593" y="582173"/>
                </a:lnTo>
                <a:lnTo>
                  <a:pt x="4923833" y="585529"/>
                </a:lnTo>
                <a:lnTo>
                  <a:pt x="4917323" y="589860"/>
                </a:lnTo>
                <a:lnTo>
                  <a:pt x="4916021" y="592350"/>
                </a:lnTo>
                <a:lnTo>
                  <a:pt x="4914176" y="592782"/>
                </a:lnTo>
                <a:lnTo>
                  <a:pt x="4912331" y="589860"/>
                </a:lnTo>
                <a:lnTo>
                  <a:pt x="4914935" y="586720"/>
                </a:lnTo>
                <a:lnTo>
                  <a:pt x="4917865" y="585746"/>
                </a:lnTo>
                <a:close/>
                <a:moveTo>
                  <a:pt x="2357198" y="581196"/>
                </a:moveTo>
                <a:lnTo>
                  <a:pt x="2363383" y="582929"/>
                </a:lnTo>
                <a:lnTo>
                  <a:pt x="2364143" y="584986"/>
                </a:lnTo>
                <a:lnTo>
                  <a:pt x="2361213" y="586827"/>
                </a:lnTo>
                <a:lnTo>
                  <a:pt x="2358934" y="586285"/>
                </a:lnTo>
                <a:lnTo>
                  <a:pt x="2355896" y="583037"/>
                </a:lnTo>
                <a:close/>
                <a:moveTo>
                  <a:pt x="5406842" y="580657"/>
                </a:moveTo>
                <a:lnTo>
                  <a:pt x="5411834" y="580874"/>
                </a:lnTo>
                <a:lnTo>
                  <a:pt x="5412810" y="583798"/>
                </a:lnTo>
                <a:lnTo>
                  <a:pt x="5412267" y="585421"/>
                </a:lnTo>
                <a:lnTo>
                  <a:pt x="5409772" y="587045"/>
                </a:lnTo>
                <a:lnTo>
                  <a:pt x="5406299" y="586828"/>
                </a:lnTo>
                <a:lnTo>
                  <a:pt x="5405431" y="582821"/>
                </a:lnTo>
                <a:close/>
                <a:moveTo>
                  <a:pt x="5420406" y="576867"/>
                </a:moveTo>
                <a:lnTo>
                  <a:pt x="5422577" y="579575"/>
                </a:lnTo>
                <a:lnTo>
                  <a:pt x="5422251" y="582716"/>
                </a:lnTo>
                <a:lnTo>
                  <a:pt x="5417801" y="586504"/>
                </a:lnTo>
                <a:lnTo>
                  <a:pt x="5415848" y="587261"/>
                </a:lnTo>
                <a:lnTo>
                  <a:pt x="5414763" y="586178"/>
                </a:lnTo>
                <a:lnTo>
                  <a:pt x="5416282" y="583254"/>
                </a:lnTo>
                <a:lnTo>
                  <a:pt x="5415522" y="580441"/>
                </a:lnTo>
                <a:lnTo>
                  <a:pt x="5416065" y="577083"/>
                </a:lnTo>
                <a:close/>
                <a:moveTo>
                  <a:pt x="5399680" y="564524"/>
                </a:moveTo>
                <a:lnTo>
                  <a:pt x="5402827" y="565391"/>
                </a:lnTo>
                <a:lnTo>
                  <a:pt x="5403913" y="567230"/>
                </a:lnTo>
                <a:lnTo>
                  <a:pt x="5400331" y="571886"/>
                </a:lnTo>
                <a:lnTo>
                  <a:pt x="5398269" y="570047"/>
                </a:lnTo>
                <a:lnTo>
                  <a:pt x="5392409" y="568206"/>
                </a:lnTo>
                <a:lnTo>
                  <a:pt x="5392192" y="566905"/>
                </a:lnTo>
                <a:lnTo>
                  <a:pt x="5396099" y="565932"/>
                </a:lnTo>
                <a:close/>
                <a:moveTo>
                  <a:pt x="2287097" y="559759"/>
                </a:moveTo>
                <a:lnTo>
                  <a:pt x="2289375" y="561492"/>
                </a:lnTo>
                <a:lnTo>
                  <a:pt x="2293716" y="561492"/>
                </a:lnTo>
                <a:lnTo>
                  <a:pt x="2294910" y="564956"/>
                </a:lnTo>
                <a:lnTo>
                  <a:pt x="2298165" y="562249"/>
                </a:lnTo>
                <a:lnTo>
                  <a:pt x="2304243" y="562249"/>
                </a:lnTo>
                <a:lnTo>
                  <a:pt x="2307389" y="567555"/>
                </a:lnTo>
                <a:lnTo>
                  <a:pt x="2312055" y="568962"/>
                </a:lnTo>
                <a:lnTo>
                  <a:pt x="2313032" y="570153"/>
                </a:lnTo>
                <a:lnTo>
                  <a:pt x="2315311" y="570153"/>
                </a:lnTo>
                <a:lnTo>
                  <a:pt x="2317915" y="574592"/>
                </a:lnTo>
                <a:lnTo>
                  <a:pt x="2317915" y="578381"/>
                </a:lnTo>
                <a:lnTo>
                  <a:pt x="2319760" y="579897"/>
                </a:lnTo>
                <a:lnTo>
                  <a:pt x="2323016" y="578381"/>
                </a:lnTo>
                <a:lnTo>
                  <a:pt x="2329744" y="579031"/>
                </a:lnTo>
                <a:lnTo>
                  <a:pt x="2340595" y="580439"/>
                </a:lnTo>
                <a:lnTo>
                  <a:pt x="2346998" y="584445"/>
                </a:lnTo>
                <a:lnTo>
                  <a:pt x="2346998" y="588234"/>
                </a:lnTo>
                <a:lnTo>
                  <a:pt x="2349927" y="590291"/>
                </a:lnTo>
                <a:lnTo>
                  <a:pt x="2351121" y="594081"/>
                </a:lnTo>
                <a:lnTo>
                  <a:pt x="2349277" y="592890"/>
                </a:lnTo>
                <a:lnTo>
                  <a:pt x="2347214" y="592890"/>
                </a:lnTo>
                <a:lnTo>
                  <a:pt x="2344936" y="598195"/>
                </a:lnTo>
                <a:lnTo>
                  <a:pt x="2337991" y="604583"/>
                </a:lnTo>
                <a:lnTo>
                  <a:pt x="2334410" y="609780"/>
                </a:lnTo>
                <a:lnTo>
                  <a:pt x="2330286" y="610971"/>
                </a:lnTo>
                <a:lnTo>
                  <a:pt x="2330286" y="612811"/>
                </a:lnTo>
                <a:lnTo>
                  <a:pt x="2320411" y="620390"/>
                </a:lnTo>
                <a:lnTo>
                  <a:pt x="2315420" y="627320"/>
                </a:lnTo>
                <a:lnTo>
                  <a:pt x="2310102" y="627320"/>
                </a:lnTo>
                <a:lnTo>
                  <a:pt x="2309451" y="629593"/>
                </a:lnTo>
                <a:lnTo>
                  <a:pt x="2311187" y="631109"/>
                </a:lnTo>
                <a:lnTo>
                  <a:pt x="2308800" y="634574"/>
                </a:lnTo>
                <a:lnTo>
                  <a:pt x="2301529" y="639879"/>
                </a:lnTo>
                <a:lnTo>
                  <a:pt x="2295670" y="645942"/>
                </a:lnTo>
                <a:lnTo>
                  <a:pt x="2287097" y="651572"/>
                </a:lnTo>
                <a:lnTo>
                  <a:pt x="2281454" y="655037"/>
                </a:lnTo>
                <a:lnTo>
                  <a:pt x="2278632" y="653629"/>
                </a:lnTo>
                <a:lnTo>
                  <a:pt x="2277656" y="651464"/>
                </a:lnTo>
                <a:lnTo>
                  <a:pt x="2274617" y="651464"/>
                </a:lnTo>
                <a:lnTo>
                  <a:pt x="2268323" y="646375"/>
                </a:lnTo>
                <a:lnTo>
                  <a:pt x="2267672" y="642369"/>
                </a:lnTo>
                <a:lnTo>
                  <a:pt x="2264308" y="640854"/>
                </a:lnTo>
                <a:lnTo>
                  <a:pt x="2260944" y="642694"/>
                </a:lnTo>
                <a:lnTo>
                  <a:pt x="2256387" y="641503"/>
                </a:lnTo>
                <a:lnTo>
                  <a:pt x="2252588" y="641503"/>
                </a:lnTo>
                <a:lnTo>
                  <a:pt x="2249224" y="639554"/>
                </a:lnTo>
                <a:lnTo>
                  <a:pt x="2245643" y="639554"/>
                </a:lnTo>
                <a:lnTo>
                  <a:pt x="2244992" y="642478"/>
                </a:lnTo>
                <a:lnTo>
                  <a:pt x="2246837" y="644751"/>
                </a:lnTo>
                <a:lnTo>
                  <a:pt x="2255952" y="644751"/>
                </a:lnTo>
                <a:lnTo>
                  <a:pt x="2254433" y="648215"/>
                </a:lnTo>
                <a:lnTo>
                  <a:pt x="2251177" y="651788"/>
                </a:lnTo>
                <a:lnTo>
                  <a:pt x="2253674" y="654278"/>
                </a:lnTo>
                <a:lnTo>
                  <a:pt x="2253674" y="659476"/>
                </a:lnTo>
                <a:lnTo>
                  <a:pt x="2251395" y="663807"/>
                </a:lnTo>
                <a:lnTo>
                  <a:pt x="2248247" y="665864"/>
                </a:lnTo>
                <a:lnTo>
                  <a:pt x="2245534" y="668896"/>
                </a:lnTo>
                <a:lnTo>
                  <a:pt x="2240977" y="668896"/>
                </a:lnTo>
                <a:lnTo>
                  <a:pt x="2238047" y="671277"/>
                </a:lnTo>
                <a:lnTo>
                  <a:pt x="2235768" y="675825"/>
                </a:lnTo>
                <a:lnTo>
                  <a:pt x="2232187" y="679289"/>
                </a:lnTo>
                <a:lnTo>
                  <a:pt x="2228715" y="679289"/>
                </a:lnTo>
                <a:lnTo>
                  <a:pt x="2228715" y="683620"/>
                </a:lnTo>
                <a:cubicBezTo>
                  <a:pt x="2228202" y="684161"/>
                  <a:pt x="2227730" y="684741"/>
                  <a:pt x="2227304" y="685353"/>
                </a:cubicBezTo>
                <a:lnTo>
                  <a:pt x="2220033" y="679181"/>
                </a:lnTo>
                <a:lnTo>
                  <a:pt x="2216561" y="680588"/>
                </a:lnTo>
                <a:lnTo>
                  <a:pt x="2208314" y="679614"/>
                </a:lnTo>
                <a:lnTo>
                  <a:pt x="2211569" y="674526"/>
                </a:lnTo>
                <a:lnTo>
                  <a:pt x="2215367" y="672793"/>
                </a:lnTo>
                <a:lnTo>
                  <a:pt x="2218080" y="673984"/>
                </a:lnTo>
                <a:lnTo>
                  <a:pt x="2219600" y="672468"/>
                </a:lnTo>
                <a:lnTo>
                  <a:pt x="2218948" y="670411"/>
                </a:lnTo>
                <a:lnTo>
                  <a:pt x="2214825" y="670411"/>
                </a:lnTo>
                <a:lnTo>
                  <a:pt x="2213631" y="668679"/>
                </a:lnTo>
                <a:lnTo>
                  <a:pt x="2219491" y="660775"/>
                </a:lnTo>
                <a:lnTo>
                  <a:pt x="2222095" y="652871"/>
                </a:lnTo>
                <a:lnTo>
                  <a:pt x="2222095" y="648541"/>
                </a:lnTo>
                <a:lnTo>
                  <a:pt x="2224483" y="647133"/>
                </a:lnTo>
                <a:lnTo>
                  <a:pt x="2224483" y="644426"/>
                </a:lnTo>
                <a:lnTo>
                  <a:pt x="2220685" y="641503"/>
                </a:lnTo>
                <a:lnTo>
                  <a:pt x="2223072" y="638255"/>
                </a:lnTo>
                <a:lnTo>
                  <a:pt x="2223072" y="632733"/>
                </a:lnTo>
                <a:lnTo>
                  <a:pt x="2227413" y="623097"/>
                </a:lnTo>
                <a:lnTo>
                  <a:pt x="2230668" y="620824"/>
                </a:lnTo>
                <a:lnTo>
                  <a:pt x="2230668" y="616493"/>
                </a:lnTo>
                <a:lnTo>
                  <a:pt x="2234683" y="613569"/>
                </a:lnTo>
                <a:lnTo>
                  <a:pt x="2236311" y="608914"/>
                </a:lnTo>
                <a:lnTo>
                  <a:pt x="2237830" y="605774"/>
                </a:lnTo>
                <a:lnTo>
                  <a:pt x="2238481" y="600577"/>
                </a:lnTo>
                <a:lnTo>
                  <a:pt x="2244558" y="594081"/>
                </a:lnTo>
                <a:lnTo>
                  <a:pt x="2245969" y="587585"/>
                </a:lnTo>
                <a:lnTo>
                  <a:pt x="2249984" y="586935"/>
                </a:lnTo>
                <a:lnTo>
                  <a:pt x="2249984" y="583795"/>
                </a:lnTo>
                <a:lnTo>
                  <a:pt x="2248791" y="581955"/>
                </a:lnTo>
                <a:lnTo>
                  <a:pt x="2252263" y="576108"/>
                </a:lnTo>
                <a:lnTo>
                  <a:pt x="2255193" y="577191"/>
                </a:lnTo>
                <a:lnTo>
                  <a:pt x="2258991" y="582821"/>
                </a:lnTo>
                <a:lnTo>
                  <a:pt x="2260185" y="587260"/>
                </a:lnTo>
                <a:lnTo>
                  <a:pt x="2265176" y="587260"/>
                </a:lnTo>
                <a:lnTo>
                  <a:pt x="2264308" y="582063"/>
                </a:lnTo>
                <a:lnTo>
                  <a:pt x="2260727" y="577949"/>
                </a:lnTo>
                <a:lnTo>
                  <a:pt x="2261378" y="575891"/>
                </a:lnTo>
                <a:lnTo>
                  <a:pt x="2264851" y="574700"/>
                </a:lnTo>
                <a:lnTo>
                  <a:pt x="2261053" y="570045"/>
                </a:lnTo>
                <a:lnTo>
                  <a:pt x="2265176" y="563548"/>
                </a:lnTo>
                <a:lnTo>
                  <a:pt x="2276028" y="561167"/>
                </a:lnTo>
                <a:lnTo>
                  <a:pt x="2283081" y="561167"/>
                </a:lnTo>
                <a:close/>
                <a:moveTo>
                  <a:pt x="2178798" y="548931"/>
                </a:moveTo>
                <a:lnTo>
                  <a:pt x="2184984" y="549580"/>
                </a:lnTo>
                <a:lnTo>
                  <a:pt x="2186394" y="551855"/>
                </a:lnTo>
                <a:lnTo>
                  <a:pt x="2184332" y="553586"/>
                </a:lnTo>
                <a:lnTo>
                  <a:pt x="2184332" y="556510"/>
                </a:lnTo>
                <a:lnTo>
                  <a:pt x="2187588" y="558784"/>
                </a:lnTo>
                <a:lnTo>
                  <a:pt x="2190843" y="563439"/>
                </a:lnTo>
                <a:lnTo>
                  <a:pt x="2194641" y="562032"/>
                </a:lnTo>
                <a:lnTo>
                  <a:pt x="2199416" y="564306"/>
                </a:lnTo>
                <a:lnTo>
                  <a:pt x="2205059" y="564306"/>
                </a:lnTo>
                <a:lnTo>
                  <a:pt x="2207447" y="562032"/>
                </a:lnTo>
                <a:lnTo>
                  <a:pt x="2211028" y="562898"/>
                </a:lnTo>
                <a:lnTo>
                  <a:pt x="2221879" y="562898"/>
                </a:lnTo>
                <a:lnTo>
                  <a:pt x="2225460" y="566904"/>
                </a:lnTo>
                <a:lnTo>
                  <a:pt x="2228390" y="566038"/>
                </a:lnTo>
                <a:lnTo>
                  <a:pt x="2229258" y="568961"/>
                </a:lnTo>
                <a:lnTo>
                  <a:pt x="2228607" y="571559"/>
                </a:lnTo>
                <a:lnTo>
                  <a:pt x="2229801" y="575025"/>
                </a:lnTo>
                <a:lnTo>
                  <a:pt x="2227522" y="578814"/>
                </a:lnTo>
                <a:lnTo>
                  <a:pt x="2221445" y="582386"/>
                </a:lnTo>
                <a:lnTo>
                  <a:pt x="2217864" y="580871"/>
                </a:lnTo>
                <a:lnTo>
                  <a:pt x="2216996" y="578598"/>
                </a:lnTo>
                <a:lnTo>
                  <a:pt x="2214608" y="580979"/>
                </a:lnTo>
                <a:lnTo>
                  <a:pt x="2211678" y="581954"/>
                </a:lnTo>
                <a:lnTo>
                  <a:pt x="2212764" y="584552"/>
                </a:lnTo>
                <a:lnTo>
                  <a:pt x="2217973" y="587800"/>
                </a:lnTo>
                <a:lnTo>
                  <a:pt x="2216236" y="590724"/>
                </a:lnTo>
                <a:lnTo>
                  <a:pt x="2215368" y="596679"/>
                </a:lnTo>
                <a:lnTo>
                  <a:pt x="2212981" y="597869"/>
                </a:lnTo>
                <a:lnTo>
                  <a:pt x="2211245" y="596137"/>
                </a:lnTo>
                <a:lnTo>
                  <a:pt x="2207772" y="596137"/>
                </a:lnTo>
                <a:lnTo>
                  <a:pt x="2202780" y="597328"/>
                </a:lnTo>
                <a:lnTo>
                  <a:pt x="2201044" y="599927"/>
                </a:lnTo>
                <a:lnTo>
                  <a:pt x="2191928" y="601984"/>
                </a:lnTo>
                <a:lnTo>
                  <a:pt x="2186394" y="606423"/>
                </a:lnTo>
                <a:lnTo>
                  <a:pt x="2183681" y="606423"/>
                </a:lnTo>
                <a:lnTo>
                  <a:pt x="2179883" y="612269"/>
                </a:lnTo>
                <a:lnTo>
                  <a:pt x="2179883" y="614976"/>
                </a:lnTo>
                <a:lnTo>
                  <a:pt x="2183031" y="614976"/>
                </a:lnTo>
                <a:lnTo>
                  <a:pt x="2184224" y="612920"/>
                </a:lnTo>
                <a:lnTo>
                  <a:pt x="2191277" y="611404"/>
                </a:lnTo>
                <a:lnTo>
                  <a:pt x="2193882" y="610320"/>
                </a:lnTo>
                <a:lnTo>
                  <a:pt x="2201152" y="614435"/>
                </a:lnTo>
                <a:lnTo>
                  <a:pt x="2202563" y="619416"/>
                </a:lnTo>
                <a:lnTo>
                  <a:pt x="2200501" y="620931"/>
                </a:lnTo>
                <a:lnTo>
                  <a:pt x="2197354" y="620931"/>
                </a:lnTo>
                <a:lnTo>
                  <a:pt x="2200827" y="622447"/>
                </a:lnTo>
                <a:lnTo>
                  <a:pt x="2201695" y="626236"/>
                </a:lnTo>
                <a:lnTo>
                  <a:pt x="2201695" y="630675"/>
                </a:lnTo>
                <a:lnTo>
                  <a:pt x="2198114" y="633057"/>
                </a:lnTo>
                <a:lnTo>
                  <a:pt x="2198114" y="637930"/>
                </a:lnTo>
                <a:lnTo>
                  <a:pt x="2199524" y="639987"/>
                </a:lnTo>
                <a:lnTo>
                  <a:pt x="2202237" y="634681"/>
                </a:lnTo>
                <a:lnTo>
                  <a:pt x="2207447" y="632733"/>
                </a:lnTo>
                <a:lnTo>
                  <a:pt x="2209183" y="630675"/>
                </a:lnTo>
                <a:lnTo>
                  <a:pt x="2211896" y="630675"/>
                </a:lnTo>
                <a:lnTo>
                  <a:pt x="2209292" y="633815"/>
                </a:lnTo>
                <a:lnTo>
                  <a:pt x="2209292" y="640636"/>
                </a:lnTo>
                <a:lnTo>
                  <a:pt x="2206579" y="647891"/>
                </a:lnTo>
                <a:lnTo>
                  <a:pt x="2206579" y="652221"/>
                </a:lnTo>
                <a:lnTo>
                  <a:pt x="2198656" y="656877"/>
                </a:lnTo>
                <a:lnTo>
                  <a:pt x="2195510" y="656660"/>
                </a:lnTo>
                <a:lnTo>
                  <a:pt x="2194099" y="658934"/>
                </a:lnTo>
                <a:lnTo>
                  <a:pt x="2195618" y="661532"/>
                </a:lnTo>
                <a:lnTo>
                  <a:pt x="2193556" y="667921"/>
                </a:lnTo>
                <a:lnTo>
                  <a:pt x="2190952" y="668570"/>
                </a:lnTo>
                <a:lnTo>
                  <a:pt x="2189758" y="666513"/>
                </a:lnTo>
                <a:lnTo>
                  <a:pt x="2186611" y="668245"/>
                </a:lnTo>
                <a:lnTo>
                  <a:pt x="2186611" y="670303"/>
                </a:lnTo>
                <a:lnTo>
                  <a:pt x="2192688" y="673550"/>
                </a:lnTo>
                <a:lnTo>
                  <a:pt x="2191495" y="675932"/>
                </a:lnTo>
                <a:lnTo>
                  <a:pt x="2186828" y="675932"/>
                </a:lnTo>
                <a:lnTo>
                  <a:pt x="2189541" y="680264"/>
                </a:lnTo>
                <a:lnTo>
                  <a:pt x="2184332" y="684703"/>
                </a:lnTo>
                <a:lnTo>
                  <a:pt x="2182271" y="682645"/>
                </a:lnTo>
                <a:lnTo>
                  <a:pt x="2179341" y="685244"/>
                </a:lnTo>
                <a:lnTo>
                  <a:pt x="2174891" y="685244"/>
                </a:lnTo>
                <a:lnTo>
                  <a:pt x="2169357" y="687842"/>
                </a:lnTo>
                <a:lnTo>
                  <a:pt x="2169357" y="691415"/>
                </a:lnTo>
                <a:lnTo>
                  <a:pt x="2162846" y="693472"/>
                </a:lnTo>
                <a:lnTo>
                  <a:pt x="2157311" y="689683"/>
                </a:lnTo>
                <a:lnTo>
                  <a:pt x="2152645" y="692282"/>
                </a:lnTo>
                <a:lnTo>
                  <a:pt x="2149498" y="691199"/>
                </a:lnTo>
                <a:lnTo>
                  <a:pt x="2147654" y="681887"/>
                </a:lnTo>
                <a:lnTo>
                  <a:pt x="2151777" y="676041"/>
                </a:lnTo>
                <a:lnTo>
                  <a:pt x="2151777" y="672576"/>
                </a:lnTo>
                <a:lnTo>
                  <a:pt x="2143856" y="680155"/>
                </a:lnTo>
                <a:lnTo>
                  <a:pt x="2143204" y="684594"/>
                </a:lnTo>
                <a:lnTo>
                  <a:pt x="2146677" y="693472"/>
                </a:lnTo>
                <a:lnTo>
                  <a:pt x="2149064" y="695854"/>
                </a:lnTo>
                <a:lnTo>
                  <a:pt x="2147870" y="700185"/>
                </a:lnTo>
                <a:lnTo>
                  <a:pt x="2141902" y="706790"/>
                </a:lnTo>
                <a:lnTo>
                  <a:pt x="2139623" y="711770"/>
                </a:lnTo>
                <a:lnTo>
                  <a:pt x="2133221" y="713719"/>
                </a:lnTo>
                <a:lnTo>
                  <a:pt x="2130291" y="711337"/>
                </a:lnTo>
                <a:lnTo>
                  <a:pt x="2130291" y="706031"/>
                </a:lnTo>
                <a:lnTo>
                  <a:pt x="2128337" y="703974"/>
                </a:lnTo>
                <a:lnTo>
                  <a:pt x="2125407" y="706573"/>
                </a:lnTo>
                <a:lnTo>
                  <a:pt x="2124322" y="703974"/>
                </a:lnTo>
                <a:lnTo>
                  <a:pt x="2125516" y="699319"/>
                </a:lnTo>
                <a:lnTo>
                  <a:pt x="2124431" y="694339"/>
                </a:lnTo>
                <a:lnTo>
                  <a:pt x="2121176" y="690874"/>
                </a:lnTo>
                <a:lnTo>
                  <a:pt x="2123888" y="685568"/>
                </a:lnTo>
                <a:lnTo>
                  <a:pt x="2123020" y="678748"/>
                </a:lnTo>
                <a:lnTo>
                  <a:pt x="2124539" y="675824"/>
                </a:lnTo>
                <a:lnTo>
                  <a:pt x="2121067" y="674091"/>
                </a:lnTo>
                <a:lnTo>
                  <a:pt x="2119005" y="669978"/>
                </a:lnTo>
                <a:lnTo>
                  <a:pt x="2119005" y="666188"/>
                </a:lnTo>
                <a:lnTo>
                  <a:pt x="2115098" y="661207"/>
                </a:lnTo>
                <a:lnTo>
                  <a:pt x="2115098" y="653845"/>
                </a:lnTo>
                <a:lnTo>
                  <a:pt x="2111952" y="648215"/>
                </a:lnTo>
                <a:lnTo>
                  <a:pt x="2109564" y="648215"/>
                </a:lnTo>
                <a:lnTo>
                  <a:pt x="2108045" y="645942"/>
                </a:lnTo>
                <a:lnTo>
                  <a:pt x="2108045" y="640636"/>
                </a:lnTo>
                <a:lnTo>
                  <a:pt x="2105441" y="639229"/>
                </a:lnTo>
                <a:lnTo>
                  <a:pt x="2101859" y="641503"/>
                </a:lnTo>
                <a:lnTo>
                  <a:pt x="2099906" y="639662"/>
                </a:lnTo>
                <a:lnTo>
                  <a:pt x="2096433" y="640312"/>
                </a:lnTo>
                <a:lnTo>
                  <a:pt x="2094155" y="638038"/>
                </a:lnTo>
                <a:lnTo>
                  <a:pt x="2094155" y="632841"/>
                </a:lnTo>
                <a:lnTo>
                  <a:pt x="2099038" y="630243"/>
                </a:lnTo>
                <a:lnTo>
                  <a:pt x="2100015" y="623530"/>
                </a:lnTo>
                <a:lnTo>
                  <a:pt x="2097627" y="620282"/>
                </a:lnTo>
                <a:lnTo>
                  <a:pt x="2098821" y="617575"/>
                </a:lnTo>
                <a:lnTo>
                  <a:pt x="2098821" y="609454"/>
                </a:lnTo>
                <a:lnTo>
                  <a:pt x="2097085" y="606206"/>
                </a:lnTo>
                <a:lnTo>
                  <a:pt x="2102728" y="598953"/>
                </a:lnTo>
                <a:lnTo>
                  <a:pt x="2107394" y="597220"/>
                </a:lnTo>
                <a:lnTo>
                  <a:pt x="2109239" y="594080"/>
                </a:lnTo>
                <a:lnTo>
                  <a:pt x="2111626" y="593430"/>
                </a:lnTo>
                <a:lnTo>
                  <a:pt x="2113037" y="595704"/>
                </a:lnTo>
                <a:lnTo>
                  <a:pt x="2120090" y="593430"/>
                </a:lnTo>
                <a:lnTo>
                  <a:pt x="2124214" y="594621"/>
                </a:lnTo>
                <a:lnTo>
                  <a:pt x="2126276" y="597545"/>
                </a:lnTo>
                <a:lnTo>
                  <a:pt x="2124431" y="599818"/>
                </a:lnTo>
                <a:lnTo>
                  <a:pt x="2122369" y="600468"/>
                </a:lnTo>
                <a:lnTo>
                  <a:pt x="2122369" y="602849"/>
                </a:lnTo>
                <a:lnTo>
                  <a:pt x="2126384" y="603499"/>
                </a:lnTo>
                <a:lnTo>
                  <a:pt x="2127252" y="606206"/>
                </a:lnTo>
                <a:lnTo>
                  <a:pt x="2127252" y="610320"/>
                </a:lnTo>
                <a:lnTo>
                  <a:pt x="2133112" y="616708"/>
                </a:lnTo>
                <a:lnTo>
                  <a:pt x="2133112" y="620822"/>
                </a:lnTo>
                <a:lnTo>
                  <a:pt x="2135825" y="624829"/>
                </a:lnTo>
                <a:lnTo>
                  <a:pt x="2140274" y="625479"/>
                </a:lnTo>
                <a:lnTo>
                  <a:pt x="2142336" y="623746"/>
                </a:lnTo>
                <a:lnTo>
                  <a:pt x="2141468" y="619740"/>
                </a:lnTo>
                <a:lnTo>
                  <a:pt x="2144072" y="617900"/>
                </a:lnTo>
                <a:lnTo>
                  <a:pt x="2147219" y="612702"/>
                </a:lnTo>
                <a:lnTo>
                  <a:pt x="2146351" y="609563"/>
                </a:lnTo>
                <a:lnTo>
                  <a:pt x="2149607" y="606423"/>
                </a:lnTo>
                <a:lnTo>
                  <a:pt x="2150258" y="602959"/>
                </a:lnTo>
                <a:lnTo>
                  <a:pt x="2148522" y="598844"/>
                </a:lnTo>
                <a:lnTo>
                  <a:pt x="2150258" y="596786"/>
                </a:lnTo>
                <a:lnTo>
                  <a:pt x="2154598" y="595812"/>
                </a:lnTo>
                <a:lnTo>
                  <a:pt x="2157746" y="597003"/>
                </a:lnTo>
                <a:lnTo>
                  <a:pt x="2160024" y="601767"/>
                </a:lnTo>
                <a:lnTo>
                  <a:pt x="2163280" y="601767"/>
                </a:lnTo>
                <a:lnTo>
                  <a:pt x="2163280" y="598844"/>
                </a:lnTo>
                <a:lnTo>
                  <a:pt x="2159808" y="593214"/>
                </a:lnTo>
                <a:lnTo>
                  <a:pt x="2158723" y="588775"/>
                </a:lnTo>
                <a:lnTo>
                  <a:pt x="2156986" y="588775"/>
                </a:lnTo>
                <a:lnTo>
                  <a:pt x="2154707" y="593106"/>
                </a:lnTo>
                <a:lnTo>
                  <a:pt x="2149390" y="593106"/>
                </a:lnTo>
                <a:lnTo>
                  <a:pt x="2145266" y="587259"/>
                </a:lnTo>
                <a:lnTo>
                  <a:pt x="2145266" y="584119"/>
                </a:lnTo>
                <a:lnTo>
                  <a:pt x="2141468" y="579355"/>
                </a:lnTo>
                <a:lnTo>
                  <a:pt x="2141468" y="573833"/>
                </a:lnTo>
                <a:lnTo>
                  <a:pt x="2144398" y="570910"/>
                </a:lnTo>
                <a:lnTo>
                  <a:pt x="2147979" y="570910"/>
                </a:lnTo>
                <a:lnTo>
                  <a:pt x="2149064" y="567121"/>
                </a:lnTo>
                <a:lnTo>
                  <a:pt x="2152645" y="569178"/>
                </a:lnTo>
                <a:lnTo>
                  <a:pt x="2155033" y="573292"/>
                </a:lnTo>
                <a:lnTo>
                  <a:pt x="2156552" y="582604"/>
                </a:lnTo>
                <a:lnTo>
                  <a:pt x="2157637" y="582604"/>
                </a:lnTo>
                <a:lnTo>
                  <a:pt x="2158614" y="577623"/>
                </a:lnTo>
                <a:lnTo>
                  <a:pt x="2160350" y="575349"/>
                </a:lnTo>
                <a:lnTo>
                  <a:pt x="2160350" y="570368"/>
                </a:lnTo>
                <a:lnTo>
                  <a:pt x="2156878" y="568528"/>
                </a:lnTo>
                <a:lnTo>
                  <a:pt x="2156878" y="564089"/>
                </a:lnTo>
                <a:lnTo>
                  <a:pt x="2155901" y="559433"/>
                </a:lnTo>
                <a:lnTo>
                  <a:pt x="2157963" y="558243"/>
                </a:lnTo>
                <a:lnTo>
                  <a:pt x="2159373" y="553478"/>
                </a:lnTo>
                <a:lnTo>
                  <a:pt x="2163822" y="551746"/>
                </a:lnTo>
                <a:lnTo>
                  <a:pt x="2165884" y="552829"/>
                </a:lnTo>
                <a:lnTo>
                  <a:pt x="2168163" y="552180"/>
                </a:lnTo>
                <a:lnTo>
                  <a:pt x="2171636" y="557376"/>
                </a:lnTo>
                <a:lnTo>
                  <a:pt x="2177279" y="558784"/>
                </a:lnTo>
                <a:lnTo>
                  <a:pt x="2179558" y="554778"/>
                </a:lnTo>
                <a:lnTo>
                  <a:pt x="2174891" y="554778"/>
                </a:lnTo>
                <a:lnTo>
                  <a:pt x="2172830" y="552504"/>
                </a:lnTo>
                <a:lnTo>
                  <a:pt x="2175217" y="550664"/>
                </a:lnTo>
                <a:close/>
                <a:moveTo>
                  <a:pt x="5417911" y="548501"/>
                </a:moveTo>
                <a:lnTo>
                  <a:pt x="5423662" y="549259"/>
                </a:lnTo>
                <a:lnTo>
                  <a:pt x="5426701" y="552723"/>
                </a:lnTo>
                <a:lnTo>
                  <a:pt x="5426484" y="554673"/>
                </a:lnTo>
                <a:lnTo>
                  <a:pt x="5422794" y="555430"/>
                </a:lnTo>
                <a:lnTo>
                  <a:pt x="5424639" y="558136"/>
                </a:lnTo>
                <a:lnTo>
                  <a:pt x="5424965" y="559761"/>
                </a:lnTo>
                <a:lnTo>
                  <a:pt x="5422903" y="560735"/>
                </a:lnTo>
                <a:lnTo>
                  <a:pt x="5419430" y="558355"/>
                </a:lnTo>
                <a:lnTo>
                  <a:pt x="5414764" y="558136"/>
                </a:lnTo>
                <a:lnTo>
                  <a:pt x="5412159" y="556404"/>
                </a:lnTo>
                <a:lnTo>
                  <a:pt x="5409772" y="552399"/>
                </a:lnTo>
                <a:lnTo>
                  <a:pt x="5411183" y="551423"/>
                </a:lnTo>
                <a:lnTo>
                  <a:pt x="5414655" y="553481"/>
                </a:lnTo>
                <a:lnTo>
                  <a:pt x="5415957" y="553156"/>
                </a:lnTo>
                <a:lnTo>
                  <a:pt x="5415523" y="550016"/>
                </a:lnTo>
                <a:close/>
                <a:moveTo>
                  <a:pt x="2223614" y="544384"/>
                </a:moveTo>
                <a:lnTo>
                  <a:pt x="2230450" y="548390"/>
                </a:lnTo>
                <a:lnTo>
                  <a:pt x="2230993" y="551963"/>
                </a:lnTo>
                <a:lnTo>
                  <a:pt x="2225133" y="551639"/>
                </a:lnTo>
                <a:lnTo>
                  <a:pt x="2221769" y="555212"/>
                </a:lnTo>
                <a:lnTo>
                  <a:pt x="2218405" y="556078"/>
                </a:lnTo>
                <a:lnTo>
                  <a:pt x="2214824" y="554670"/>
                </a:lnTo>
                <a:lnTo>
                  <a:pt x="2209073" y="557594"/>
                </a:lnTo>
                <a:lnTo>
                  <a:pt x="2204732" y="555970"/>
                </a:lnTo>
                <a:lnTo>
                  <a:pt x="2202671" y="558460"/>
                </a:lnTo>
                <a:lnTo>
                  <a:pt x="2196485" y="553913"/>
                </a:lnTo>
                <a:lnTo>
                  <a:pt x="2190625" y="552288"/>
                </a:lnTo>
                <a:lnTo>
                  <a:pt x="2188672" y="549256"/>
                </a:lnTo>
                <a:lnTo>
                  <a:pt x="2190191" y="548607"/>
                </a:lnTo>
                <a:lnTo>
                  <a:pt x="2195725" y="549148"/>
                </a:lnTo>
                <a:lnTo>
                  <a:pt x="2200608" y="545684"/>
                </a:lnTo>
                <a:lnTo>
                  <a:pt x="2207011" y="548715"/>
                </a:lnTo>
                <a:lnTo>
                  <a:pt x="2211786" y="546009"/>
                </a:lnTo>
                <a:lnTo>
                  <a:pt x="2214173" y="547308"/>
                </a:lnTo>
                <a:lnTo>
                  <a:pt x="2219708" y="546550"/>
                </a:lnTo>
                <a:close/>
                <a:moveTo>
                  <a:pt x="3646919" y="541028"/>
                </a:moveTo>
                <a:lnTo>
                  <a:pt x="3646919" y="545899"/>
                </a:lnTo>
                <a:lnTo>
                  <a:pt x="3645399" y="548606"/>
                </a:lnTo>
                <a:lnTo>
                  <a:pt x="3644857" y="553262"/>
                </a:lnTo>
                <a:lnTo>
                  <a:pt x="3645616" y="555860"/>
                </a:lnTo>
                <a:lnTo>
                  <a:pt x="3644206" y="558350"/>
                </a:lnTo>
                <a:lnTo>
                  <a:pt x="3640625" y="558351"/>
                </a:lnTo>
                <a:cubicBezTo>
                  <a:pt x="3640243" y="557506"/>
                  <a:pt x="3639917" y="556639"/>
                  <a:pt x="3639648" y="555752"/>
                </a:cubicBezTo>
                <a:lnTo>
                  <a:pt x="3642144" y="551746"/>
                </a:lnTo>
                <a:lnTo>
                  <a:pt x="3642144" y="547091"/>
                </a:lnTo>
                <a:close/>
                <a:moveTo>
                  <a:pt x="3609806" y="536156"/>
                </a:moveTo>
                <a:lnTo>
                  <a:pt x="3611759" y="536373"/>
                </a:lnTo>
                <a:lnTo>
                  <a:pt x="3615124" y="540920"/>
                </a:lnTo>
                <a:lnTo>
                  <a:pt x="3618488" y="542760"/>
                </a:lnTo>
                <a:lnTo>
                  <a:pt x="3618596" y="545576"/>
                </a:lnTo>
                <a:lnTo>
                  <a:pt x="3615774" y="545251"/>
                </a:lnTo>
                <a:lnTo>
                  <a:pt x="3612302" y="543085"/>
                </a:lnTo>
                <a:lnTo>
                  <a:pt x="3608938" y="537455"/>
                </a:lnTo>
                <a:close/>
                <a:moveTo>
                  <a:pt x="5322742" y="529445"/>
                </a:moveTo>
                <a:lnTo>
                  <a:pt x="5323935" y="533344"/>
                </a:lnTo>
                <a:lnTo>
                  <a:pt x="5323935" y="536374"/>
                </a:lnTo>
                <a:lnTo>
                  <a:pt x="5327300" y="539623"/>
                </a:lnTo>
                <a:lnTo>
                  <a:pt x="5327300" y="542220"/>
                </a:lnTo>
                <a:lnTo>
                  <a:pt x="5324044" y="544386"/>
                </a:lnTo>
                <a:lnTo>
                  <a:pt x="5325563" y="549800"/>
                </a:lnTo>
                <a:lnTo>
                  <a:pt x="5325129" y="554563"/>
                </a:lnTo>
                <a:lnTo>
                  <a:pt x="5322850" y="551857"/>
                </a:lnTo>
                <a:lnTo>
                  <a:pt x="5322308" y="546878"/>
                </a:lnTo>
                <a:lnTo>
                  <a:pt x="5320463" y="545470"/>
                </a:lnTo>
                <a:lnTo>
                  <a:pt x="5317967" y="547634"/>
                </a:lnTo>
                <a:lnTo>
                  <a:pt x="5314820" y="546552"/>
                </a:lnTo>
                <a:lnTo>
                  <a:pt x="5314386" y="537565"/>
                </a:lnTo>
                <a:lnTo>
                  <a:pt x="5316339" y="539730"/>
                </a:lnTo>
                <a:lnTo>
                  <a:pt x="5318509" y="540705"/>
                </a:lnTo>
                <a:lnTo>
                  <a:pt x="5319161" y="537132"/>
                </a:lnTo>
                <a:lnTo>
                  <a:pt x="5315688" y="533451"/>
                </a:lnTo>
                <a:lnTo>
                  <a:pt x="5317207" y="531502"/>
                </a:lnTo>
                <a:lnTo>
                  <a:pt x="5319377" y="531502"/>
                </a:lnTo>
                <a:close/>
                <a:moveTo>
                  <a:pt x="2062358" y="526953"/>
                </a:moveTo>
                <a:lnTo>
                  <a:pt x="2065940" y="529875"/>
                </a:lnTo>
                <a:lnTo>
                  <a:pt x="2069304" y="530092"/>
                </a:lnTo>
                <a:lnTo>
                  <a:pt x="2073427" y="532799"/>
                </a:lnTo>
                <a:lnTo>
                  <a:pt x="2076140" y="531933"/>
                </a:lnTo>
                <a:lnTo>
                  <a:pt x="2080807" y="533881"/>
                </a:lnTo>
                <a:lnTo>
                  <a:pt x="2083520" y="533016"/>
                </a:lnTo>
                <a:lnTo>
                  <a:pt x="2086992" y="533124"/>
                </a:lnTo>
                <a:lnTo>
                  <a:pt x="2091332" y="539187"/>
                </a:lnTo>
                <a:lnTo>
                  <a:pt x="2091116" y="542652"/>
                </a:lnTo>
                <a:lnTo>
                  <a:pt x="2089922" y="544709"/>
                </a:lnTo>
                <a:lnTo>
                  <a:pt x="2092743" y="549473"/>
                </a:lnTo>
                <a:lnTo>
                  <a:pt x="2092743" y="552396"/>
                </a:lnTo>
                <a:lnTo>
                  <a:pt x="2090681" y="554345"/>
                </a:lnTo>
                <a:lnTo>
                  <a:pt x="2090464" y="557917"/>
                </a:lnTo>
                <a:lnTo>
                  <a:pt x="2084930" y="563440"/>
                </a:lnTo>
                <a:lnTo>
                  <a:pt x="2082543" y="563440"/>
                </a:lnTo>
                <a:lnTo>
                  <a:pt x="2075815" y="569827"/>
                </a:lnTo>
                <a:lnTo>
                  <a:pt x="2069846" y="573617"/>
                </a:lnTo>
                <a:lnTo>
                  <a:pt x="2064312" y="580221"/>
                </a:lnTo>
                <a:lnTo>
                  <a:pt x="2059754" y="580221"/>
                </a:lnTo>
                <a:lnTo>
                  <a:pt x="2056824" y="582279"/>
                </a:lnTo>
                <a:lnTo>
                  <a:pt x="2057150" y="585743"/>
                </a:lnTo>
                <a:lnTo>
                  <a:pt x="2055522" y="587151"/>
                </a:lnTo>
                <a:lnTo>
                  <a:pt x="2052049" y="582821"/>
                </a:lnTo>
                <a:lnTo>
                  <a:pt x="2051507" y="573076"/>
                </a:lnTo>
                <a:lnTo>
                  <a:pt x="2048794" y="568203"/>
                </a:lnTo>
                <a:lnTo>
                  <a:pt x="2048794" y="564414"/>
                </a:lnTo>
                <a:lnTo>
                  <a:pt x="2049663" y="561924"/>
                </a:lnTo>
                <a:lnTo>
                  <a:pt x="2048251" y="556402"/>
                </a:lnTo>
                <a:lnTo>
                  <a:pt x="2048251" y="550880"/>
                </a:lnTo>
                <a:lnTo>
                  <a:pt x="2044453" y="545358"/>
                </a:lnTo>
                <a:lnTo>
                  <a:pt x="2040330" y="541785"/>
                </a:lnTo>
                <a:lnTo>
                  <a:pt x="2040438" y="539187"/>
                </a:lnTo>
                <a:lnTo>
                  <a:pt x="2047926" y="533341"/>
                </a:lnTo>
                <a:lnTo>
                  <a:pt x="2051507" y="531933"/>
                </a:lnTo>
                <a:lnTo>
                  <a:pt x="2055956" y="527710"/>
                </a:lnTo>
                <a:close/>
                <a:moveTo>
                  <a:pt x="2026548" y="526629"/>
                </a:moveTo>
                <a:lnTo>
                  <a:pt x="2032191" y="527495"/>
                </a:lnTo>
                <a:lnTo>
                  <a:pt x="2034144" y="530310"/>
                </a:lnTo>
                <a:lnTo>
                  <a:pt x="2032517" y="532150"/>
                </a:lnTo>
                <a:lnTo>
                  <a:pt x="2029152" y="530742"/>
                </a:lnTo>
                <a:lnTo>
                  <a:pt x="2026331" y="531934"/>
                </a:lnTo>
                <a:lnTo>
                  <a:pt x="2024921" y="530418"/>
                </a:lnTo>
                <a:lnTo>
                  <a:pt x="2024812" y="527603"/>
                </a:lnTo>
                <a:close/>
                <a:moveTo>
                  <a:pt x="2281019" y="522405"/>
                </a:moveTo>
                <a:lnTo>
                  <a:pt x="2282972" y="523379"/>
                </a:lnTo>
                <a:lnTo>
                  <a:pt x="2284817" y="526953"/>
                </a:lnTo>
                <a:lnTo>
                  <a:pt x="2283514" y="531176"/>
                </a:lnTo>
                <a:lnTo>
                  <a:pt x="2281887" y="532475"/>
                </a:lnTo>
                <a:lnTo>
                  <a:pt x="2280259" y="530202"/>
                </a:lnTo>
                <a:lnTo>
                  <a:pt x="2278849" y="524895"/>
                </a:lnTo>
                <a:close/>
                <a:moveTo>
                  <a:pt x="3629555" y="520672"/>
                </a:moveTo>
                <a:lnTo>
                  <a:pt x="3629881" y="523595"/>
                </a:lnTo>
                <a:lnTo>
                  <a:pt x="3628470" y="528360"/>
                </a:lnTo>
                <a:lnTo>
                  <a:pt x="3626517" y="529442"/>
                </a:lnTo>
                <a:lnTo>
                  <a:pt x="3625432" y="528468"/>
                </a:lnTo>
                <a:lnTo>
                  <a:pt x="3628036" y="522296"/>
                </a:lnTo>
                <a:close/>
                <a:moveTo>
                  <a:pt x="2242712" y="515801"/>
                </a:moveTo>
                <a:lnTo>
                  <a:pt x="2245968" y="518075"/>
                </a:lnTo>
                <a:lnTo>
                  <a:pt x="2244557" y="520890"/>
                </a:lnTo>
                <a:lnTo>
                  <a:pt x="2241193" y="521108"/>
                </a:lnTo>
                <a:lnTo>
                  <a:pt x="2237829" y="523489"/>
                </a:lnTo>
                <a:lnTo>
                  <a:pt x="2234031" y="523056"/>
                </a:lnTo>
                <a:lnTo>
                  <a:pt x="2237069" y="518075"/>
                </a:lnTo>
                <a:close/>
                <a:moveTo>
                  <a:pt x="1898715" y="513202"/>
                </a:moveTo>
                <a:lnTo>
                  <a:pt x="1902622" y="513419"/>
                </a:lnTo>
                <a:lnTo>
                  <a:pt x="1904032" y="517641"/>
                </a:lnTo>
                <a:lnTo>
                  <a:pt x="1902839" y="521430"/>
                </a:lnTo>
                <a:lnTo>
                  <a:pt x="1903381" y="528577"/>
                </a:lnTo>
                <a:lnTo>
                  <a:pt x="1899909" y="535289"/>
                </a:lnTo>
                <a:lnTo>
                  <a:pt x="1896111" y="535289"/>
                </a:lnTo>
                <a:lnTo>
                  <a:pt x="1894266" y="537779"/>
                </a:lnTo>
                <a:lnTo>
                  <a:pt x="1893940" y="543301"/>
                </a:lnTo>
                <a:lnTo>
                  <a:pt x="1890468" y="547957"/>
                </a:lnTo>
                <a:lnTo>
                  <a:pt x="1887538" y="547308"/>
                </a:lnTo>
                <a:lnTo>
                  <a:pt x="1883522" y="548823"/>
                </a:lnTo>
                <a:lnTo>
                  <a:pt x="1881786" y="552938"/>
                </a:lnTo>
                <a:lnTo>
                  <a:pt x="1874949" y="554453"/>
                </a:lnTo>
                <a:lnTo>
                  <a:pt x="1873213" y="556185"/>
                </a:lnTo>
                <a:lnTo>
                  <a:pt x="1875058" y="557918"/>
                </a:lnTo>
                <a:lnTo>
                  <a:pt x="1879941" y="558134"/>
                </a:lnTo>
                <a:lnTo>
                  <a:pt x="1882003" y="556185"/>
                </a:lnTo>
                <a:lnTo>
                  <a:pt x="1886670" y="555861"/>
                </a:lnTo>
                <a:lnTo>
                  <a:pt x="1890142" y="558243"/>
                </a:lnTo>
                <a:lnTo>
                  <a:pt x="1893723" y="557593"/>
                </a:lnTo>
                <a:lnTo>
                  <a:pt x="1893940" y="559650"/>
                </a:lnTo>
                <a:lnTo>
                  <a:pt x="1897196" y="558134"/>
                </a:lnTo>
                <a:lnTo>
                  <a:pt x="1900126" y="557052"/>
                </a:lnTo>
                <a:lnTo>
                  <a:pt x="1900234" y="554020"/>
                </a:lnTo>
                <a:lnTo>
                  <a:pt x="1898389" y="552288"/>
                </a:lnTo>
                <a:lnTo>
                  <a:pt x="1905877" y="544492"/>
                </a:lnTo>
                <a:lnTo>
                  <a:pt x="1909024" y="544167"/>
                </a:lnTo>
                <a:lnTo>
                  <a:pt x="1914232" y="540378"/>
                </a:lnTo>
                <a:lnTo>
                  <a:pt x="1918139" y="540378"/>
                </a:lnTo>
                <a:lnTo>
                  <a:pt x="1919224" y="542977"/>
                </a:lnTo>
                <a:lnTo>
                  <a:pt x="1926495" y="549690"/>
                </a:lnTo>
                <a:lnTo>
                  <a:pt x="1927146" y="552938"/>
                </a:lnTo>
                <a:lnTo>
                  <a:pt x="1932463" y="554670"/>
                </a:lnTo>
                <a:lnTo>
                  <a:pt x="1936479" y="562573"/>
                </a:lnTo>
                <a:lnTo>
                  <a:pt x="1939517" y="565281"/>
                </a:lnTo>
                <a:lnTo>
                  <a:pt x="1938649" y="568095"/>
                </a:lnTo>
                <a:lnTo>
                  <a:pt x="1938649" y="571993"/>
                </a:lnTo>
                <a:lnTo>
                  <a:pt x="1933874" y="576107"/>
                </a:lnTo>
                <a:lnTo>
                  <a:pt x="1930619" y="575132"/>
                </a:lnTo>
                <a:lnTo>
                  <a:pt x="1927471" y="576107"/>
                </a:lnTo>
                <a:lnTo>
                  <a:pt x="1927146" y="579030"/>
                </a:lnTo>
                <a:lnTo>
                  <a:pt x="1921829" y="580438"/>
                </a:lnTo>
                <a:lnTo>
                  <a:pt x="1918899" y="579464"/>
                </a:lnTo>
                <a:lnTo>
                  <a:pt x="1912822" y="580114"/>
                </a:lnTo>
                <a:lnTo>
                  <a:pt x="1909024" y="583578"/>
                </a:lnTo>
                <a:lnTo>
                  <a:pt x="1911303" y="585635"/>
                </a:lnTo>
                <a:lnTo>
                  <a:pt x="1916620" y="584769"/>
                </a:lnTo>
                <a:lnTo>
                  <a:pt x="1917705" y="587367"/>
                </a:lnTo>
                <a:lnTo>
                  <a:pt x="1923022" y="587151"/>
                </a:lnTo>
                <a:lnTo>
                  <a:pt x="1925952" y="584228"/>
                </a:lnTo>
                <a:lnTo>
                  <a:pt x="1928991" y="583903"/>
                </a:lnTo>
                <a:lnTo>
                  <a:pt x="1932246" y="589533"/>
                </a:lnTo>
                <a:lnTo>
                  <a:pt x="1937672" y="584444"/>
                </a:lnTo>
                <a:lnTo>
                  <a:pt x="1943858" y="581954"/>
                </a:lnTo>
                <a:lnTo>
                  <a:pt x="1945268" y="583036"/>
                </a:lnTo>
                <a:lnTo>
                  <a:pt x="1942339" y="586068"/>
                </a:lnTo>
                <a:lnTo>
                  <a:pt x="1942339" y="591049"/>
                </a:lnTo>
                <a:lnTo>
                  <a:pt x="1944183" y="591915"/>
                </a:lnTo>
                <a:lnTo>
                  <a:pt x="1946788" y="587151"/>
                </a:lnTo>
                <a:lnTo>
                  <a:pt x="1949718" y="586609"/>
                </a:lnTo>
                <a:lnTo>
                  <a:pt x="1949718" y="590615"/>
                </a:lnTo>
                <a:lnTo>
                  <a:pt x="1953624" y="593647"/>
                </a:lnTo>
                <a:lnTo>
                  <a:pt x="1954926" y="588233"/>
                </a:lnTo>
                <a:lnTo>
                  <a:pt x="1956988" y="590291"/>
                </a:lnTo>
                <a:lnTo>
                  <a:pt x="1957639" y="592131"/>
                </a:lnTo>
                <a:lnTo>
                  <a:pt x="1960027" y="590399"/>
                </a:lnTo>
                <a:lnTo>
                  <a:pt x="1958291" y="584769"/>
                </a:lnTo>
                <a:lnTo>
                  <a:pt x="1957097" y="580763"/>
                </a:lnTo>
                <a:lnTo>
                  <a:pt x="1955035" y="579464"/>
                </a:lnTo>
                <a:lnTo>
                  <a:pt x="1956771" y="574266"/>
                </a:lnTo>
                <a:lnTo>
                  <a:pt x="1960027" y="574266"/>
                </a:lnTo>
                <a:lnTo>
                  <a:pt x="1961546" y="578706"/>
                </a:lnTo>
                <a:lnTo>
                  <a:pt x="1964693" y="578598"/>
                </a:lnTo>
                <a:lnTo>
                  <a:pt x="1964693" y="574916"/>
                </a:lnTo>
                <a:lnTo>
                  <a:pt x="1962305" y="571993"/>
                </a:lnTo>
                <a:lnTo>
                  <a:pt x="1962414" y="567879"/>
                </a:lnTo>
                <a:lnTo>
                  <a:pt x="1957965" y="564414"/>
                </a:lnTo>
                <a:lnTo>
                  <a:pt x="1959484" y="559434"/>
                </a:lnTo>
                <a:lnTo>
                  <a:pt x="1966212" y="557268"/>
                </a:lnTo>
                <a:lnTo>
                  <a:pt x="1970553" y="562898"/>
                </a:lnTo>
                <a:lnTo>
                  <a:pt x="1973483" y="563440"/>
                </a:lnTo>
                <a:lnTo>
                  <a:pt x="1973157" y="569069"/>
                </a:lnTo>
                <a:lnTo>
                  <a:pt x="1971638" y="571018"/>
                </a:lnTo>
                <a:lnTo>
                  <a:pt x="1973700" y="576540"/>
                </a:lnTo>
                <a:lnTo>
                  <a:pt x="1976196" y="578164"/>
                </a:lnTo>
                <a:lnTo>
                  <a:pt x="1975762" y="588017"/>
                </a:lnTo>
                <a:lnTo>
                  <a:pt x="1972832" y="591265"/>
                </a:lnTo>
                <a:lnTo>
                  <a:pt x="1972397" y="594730"/>
                </a:lnTo>
                <a:lnTo>
                  <a:pt x="1974676" y="595271"/>
                </a:lnTo>
                <a:lnTo>
                  <a:pt x="1977389" y="594730"/>
                </a:lnTo>
                <a:lnTo>
                  <a:pt x="1976955" y="600360"/>
                </a:lnTo>
                <a:lnTo>
                  <a:pt x="1971421" y="603283"/>
                </a:lnTo>
                <a:lnTo>
                  <a:pt x="1968816" y="613244"/>
                </a:lnTo>
                <a:lnTo>
                  <a:pt x="1967623" y="617250"/>
                </a:lnTo>
                <a:lnTo>
                  <a:pt x="1967297" y="621148"/>
                </a:lnTo>
                <a:lnTo>
                  <a:pt x="1964042" y="623963"/>
                </a:lnTo>
                <a:lnTo>
                  <a:pt x="1963174" y="629809"/>
                </a:lnTo>
                <a:lnTo>
                  <a:pt x="1959701" y="636847"/>
                </a:lnTo>
                <a:lnTo>
                  <a:pt x="1959810" y="643884"/>
                </a:lnTo>
                <a:lnTo>
                  <a:pt x="1962414" y="647024"/>
                </a:lnTo>
                <a:lnTo>
                  <a:pt x="1961112" y="650597"/>
                </a:lnTo>
                <a:lnTo>
                  <a:pt x="1961546" y="655361"/>
                </a:lnTo>
                <a:lnTo>
                  <a:pt x="1964801" y="657310"/>
                </a:lnTo>
                <a:lnTo>
                  <a:pt x="1966971" y="655253"/>
                </a:lnTo>
                <a:lnTo>
                  <a:pt x="1966538" y="650597"/>
                </a:lnTo>
                <a:lnTo>
                  <a:pt x="1968708" y="648323"/>
                </a:lnTo>
                <a:lnTo>
                  <a:pt x="1971638" y="649406"/>
                </a:lnTo>
                <a:lnTo>
                  <a:pt x="1975327" y="646808"/>
                </a:lnTo>
                <a:lnTo>
                  <a:pt x="1978474" y="646050"/>
                </a:lnTo>
                <a:lnTo>
                  <a:pt x="1981405" y="647457"/>
                </a:lnTo>
                <a:lnTo>
                  <a:pt x="1981405" y="643343"/>
                </a:lnTo>
                <a:lnTo>
                  <a:pt x="1977281" y="641503"/>
                </a:lnTo>
                <a:lnTo>
                  <a:pt x="1975327" y="639229"/>
                </a:lnTo>
                <a:lnTo>
                  <a:pt x="1980428" y="639229"/>
                </a:lnTo>
                <a:lnTo>
                  <a:pt x="1981079" y="635764"/>
                </a:lnTo>
                <a:lnTo>
                  <a:pt x="1978692" y="632191"/>
                </a:lnTo>
                <a:lnTo>
                  <a:pt x="1982055" y="627752"/>
                </a:lnTo>
                <a:lnTo>
                  <a:pt x="1982598" y="622880"/>
                </a:lnTo>
                <a:lnTo>
                  <a:pt x="1984009" y="618441"/>
                </a:lnTo>
                <a:lnTo>
                  <a:pt x="1982490" y="615734"/>
                </a:lnTo>
                <a:lnTo>
                  <a:pt x="1985745" y="607939"/>
                </a:lnTo>
                <a:lnTo>
                  <a:pt x="1987807" y="608805"/>
                </a:lnTo>
                <a:lnTo>
                  <a:pt x="1991388" y="606423"/>
                </a:lnTo>
                <a:lnTo>
                  <a:pt x="1991931" y="596787"/>
                </a:lnTo>
                <a:lnTo>
                  <a:pt x="1995403" y="594513"/>
                </a:lnTo>
                <a:lnTo>
                  <a:pt x="1995729" y="590615"/>
                </a:lnTo>
                <a:lnTo>
                  <a:pt x="1997248" y="589208"/>
                </a:lnTo>
                <a:lnTo>
                  <a:pt x="1997574" y="583578"/>
                </a:lnTo>
                <a:lnTo>
                  <a:pt x="2000178" y="579789"/>
                </a:lnTo>
                <a:lnTo>
                  <a:pt x="2000178" y="574916"/>
                </a:lnTo>
                <a:lnTo>
                  <a:pt x="2003976" y="563440"/>
                </a:lnTo>
                <a:lnTo>
                  <a:pt x="2006906" y="561707"/>
                </a:lnTo>
                <a:lnTo>
                  <a:pt x="2006906" y="558784"/>
                </a:lnTo>
                <a:lnTo>
                  <a:pt x="2009293" y="553154"/>
                </a:lnTo>
                <a:lnTo>
                  <a:pt x="2012549" y="554020"/>
                </a:lnTo>
                <a:lnTo>
                  <a:pt x="2014285" y="552720"/>
                </a:lnTo>
                <a:lnTo>
                  <a:pt x="2013417" y="546766"/>
                </a:lnTo>
                <a:lnTo>
                  <a:pt x="2016564" y="545034"/>
                </a:lnTo>
                <a:lnTo>
                  <a:pt x="2019820" y="548823"/>
                </a:lnTo>
                <a:lnTo>
                  <a:pt x="2022966" y="549364"/>
                </a:lnTo>
                <a:lnTo>
                  <a:pt x="2027958" y="558459"/>
                </a:lnTo>
                <a:lnTo>
                  <a:pt x="2030129" y="558567"/>
                </a:lnTo>
                <a:lnTo>
                  <a:pt x="2030997" y="552396"/>
                </a:lnTo>
                <a:lnTo>
                  <a:pt x="2032950" y="552071"/>
                </a:lnTo>
                <a:lnTo>
                  <a:pt x="2034795" y="554128"/>
                </a:lnTo>
                <a:lnTo>
                  <a:pt x="2039135" y="554994"/>
                </a:lnTo>
                <a:lnTo>
                  <a:pt x="2042391" y="563115"/>
                </a:lnTo>
                <a:lnTo>
                  <a:pt x="2040872" y="565281"/>
                </a:lnTo>
                <a:lnTo>
                  <a:pt x="2042933" y="572210"/>
                </a:lnTo>
                <a:lnTo>
                  <a:pt x="2047057" y="574375"/>
                </a:lnTo>
                <a:lnTo>
                  <a:pt x="2047057" y="578056"/>
                </a:lnTo>
                <a:lnTo>
                  <a:pt x="2046298" y="580979"/>
                </a:lnTo>
                <a:lnTo>
                  <a:pt x="2048793" y="585960"/>
                </a:lnTo>
                <a:lnTo>
                  <a:pt x="2048468" y="590615"/>
                </a:lnTo>
                <a:lnTo>
                  <a:pt x="2045321" y="591481"/>
                </a:lnTo>
                <a:lnTo>
                  <a:pt x="2044778" y="594730"/>
                </a:lnTo>
                <a:lnTo>
                  <a:pt x="2045321" y="599927"/>
                </a:lnTo>
                <a:lnTo>
                  <a:pt x="2040112" y="605665"/>
                </a:lnTo>
                <a:lnTo>
                  <a:pt x="2040112" y="610213"/>
                </a:lnTo>
                <a:lnTo>
                  <a:pt x="2037182" y="611403"/>
                </a:lnTo>
                <a:lnTo>
                  <a:pt x="2037182" y="620499"/>
                </a:lnTo>
                <a:lnTo>
                  <a:pt x="2034686" y="623638"/>
                </a:lnTo>
                <a:lnTo>
                  <a:pt x="2034144" y="627536"/>
                </a:lnTo>
                <a:lnTo>
                  <a:pt x="2029261" y="634032"/>
                </a:lnTo>
                <a:lnTo>
                  <a:pt x="2028935" y="640961"/>
                </a:lnTo>
                <a:lnTo>
                  <a:pt x="2026005" y="641503"/>
                </a:lnTo>
                <a:lnTo>
                  <a:pt x="2024268" y="647024"/>
                </a:lnTo>
                <a:lnTo>
                  <a:pt x="2027741" y="654712"/>
                </a:lnTo>
                <a:lnTo>
                  <a:pt x="2026765" y="657310"/>
                </a:lnTo>
                <a:lnTo>
                  <a:pt x="2026765" y="663481"/>
                </a:lnTo>
                <a:lnTo>
                  <a:pt x="2022423" y="672792"/>
                </a:lnTo>
                <a:lnTo>
                  <a:pt x="2022207" y="676907"/>
                </a:lnTo>
                <a:lnTo>
                  <a:pt x="2019169" y="678964"/>
                </a:lnTo>
                <a:lnTo>
                  <a:pt x="2018300" y="677557"/>
                </a:lnTo>
                <a:lnTo>
                  <a:pt x="2015153" y="677557"/>
                </a:lnTo>
                <a:lnTo>
                  <a:pt x="2013634" y="682537"/>
                </a:lnTo>
                <a:lnTo>
                  <a:pt x="2008859" y="683078"/>
                </a:lnTo>
                <a:lnTo>
                  <a:pt x="2008859" y="686326"/>
                </a:lnTo>
                <a:lnTo>
                  <a:pt x="2010487" y="689466"/>
                </a:lnTo>
                <a:lnTo>
                  <a:pt x="2010704" y="694014"/>
                </a:lnTo>
                <a:lnTo>
                  <a:pt x="2013959" y="698344"/>
                </a:lnTo>
                <a:lnTo>
                  <a:pt x="2014827" y="706140"/>
                </a:lnTo>
                <a:lnTo>
                  <a:pt x="2017757" y="707872"/>
                </a:lnTo>
                <a:lnTo>
                  <a:pt x="2019169" y="717616"/>
                </a:lnTo>
                <a:lnTo>
                  <a:pt x="2024160" y="720323"/>
                </a:lnTo>
                <a:lnTo>
                  <a:pt x="2027741" y="725412"/>
                </a:lnTo>
                <a:lnTo>
                  <a:pt x="2027416" y="720648"/>
                </a:lnTo>
                <a:lnTo>
                  <a:pt x="2030129" y="715234"/>
                </a:lnTo>
                <a:lnTo>
                  <a:pt x="2032299" y="722164"/>
                </a:lnTo>
                <a:lnTo>
                  <a:pt x="2030129" y="727252"/>
                </a:lnTo>
                <a:lnTo>
                  <a:pt x="2030671" y="733099"/>
                </a:lnTo>
                <a:lnTo>
                  <a:pt x="2034035" y="740354"/>
                </a:lnTo>
                <a:lnTo>
                  <a:pt x="2034035" y="743818"/>
                </a:lnTo>
                <a:lnTo>
                  <a:pt x="2038375" y="747391"/>
                </a:lnTo>
                <a:lnTo>
                  <a:pt x="2039135" y="749448"/>
                </a:lnTo>
                <a:lnTo>
                  <a:pt x="2043585" y="748907"/>
                </a:lnTo>
                <a:lnTo>
                  <a:pt x="2044995" y="751289"/>
                </a:lnTo>
                <a:lnTo>
                  <a:pt x="2042933" y="752696"/>
                </a:lnTo>
                <a:lnTo>
                  <a:pt x="2042933" y="757893"/>
                </a:lnTo>
                <a:lnTo>
                  <a:pt x="2045646" y="755728"/>
                </a:lnTo>
                <a:lnTo>
                  <a:pt x="2048251" y="757027"/>
                </a:lnTo>
                <a:lnTo>
                  <a:pt x="2050964" y="756702"/>
                </a:lnTo>
                <a:lnTo>
                  <a:pt x="2051723" y="759084"/>
                </a:lnTo>
                <a:lnTo>
                  <a:pt x="2049987" y="761141"/>
                </a:lnTo>
                <a:lnTo>
                  <a:pt x="2051181" y="766230"/>
                </a:lnTo>
                <a:lnTo>
                  <a:pt x="2048902" y="771211"/>
                </a:lnTo>
                <a:lnTo>
                  <a:pt x="2047274" y="778140"/>
                </a:lnTo>
                <a:lnTo>
                  <a:pt x="2041848" y="782796"/>
                </a:lnTo>
                <a:lnTo>
                  <a:pt x="2039787" y="786043"/>
                </a:lnTo>
                <a:lnTo>
                  <a:pt x="2036857" y="784095"/>
                </a:lnTo>
                <a:lnTo>
                  <a:pt x="2033384" y="783986"/>
                </a:lnTo>
                <a:lnTo>
                  <a:pt x="2032407" y="776624"/>
                </a:lnTo>
                <a:lnTo>
                  <a:pt x="2036205" y="772076"/>
                </a:lnTo>
                <a:lnTo>
                  <a:pt x="2037182" y="767096"/>
                </a:lnTo>
                <a:lnTo>
                  <a:pt x="2034252" y="768287"/>
                </a:lnTo>
                <a:lnTo>
                  <a:pt x="2030671" y="775325"/>
                </a:lnTo>
                <a:lnTo>
                  <a:pt x="2028284" y="777057"/>
                </a:lnTo>
                <a:lnTo>
                  <a:pt x="2026222" y="782254"/>
                </a:lnTo>
                <a:lnTo>
                  <a:pt x="2023292" y="782254"/>
                </a:lnTo>
                <a:lnTo>
                  <a:pt x="2025354" y="778464"/>
                </a:lnTo>
                <a:lnTo>
                  <a:pt x="2023292" y="777274"/>
                </a:lnTo>
                <a:lnTo>
                  <a:pt x="2021339" y="778356"/>
                </a:lnTo>
                <a:lnTo>
                  <a:pt x="2021013" y="772293"/>
                </a:lnTo>
                <a:lnTo>
                  <a:pt x="2024486" y="764714"/>
                </a:lnTo>
                <a:lnTo>
                  <a:pt x="2020470" y="768287"/>
                </a:lnTo>
                <a:lnTo>
                  <a:pt x="2018734" y="768179"/>
                </a:lnTo>
                <a:lnTo>
                  <a:pt x="2017975" y="764064"/>
                </a:lnTo>
                <a:lnTo>
                  <a:pt x="2016347" y="769045"/>
                </a:lnTo>
                <a:lnTo>
                  <a:pt x="2012549" y="772618"/>
                </a:lnTo>
                <a:lnTo>
                  <a:pt x="2010161" y="773268"/>
                </a:lnTo>
                <a:lnTo>
                  <a:pt x="2008643" y="771644"/>
                </a:lnTo>
                <a:lnTo>
                  <a:pt x="2005387" y="771752"/>
                </a:lnTo>
                <a:lnTo>
                  <a:pt x="2005170" y="773701"/>
                </a:lnTo>
                <a:lnTo>
                  <a:pt x="2007774" y="775866"/>
                </a:lnTo>
                <a:lnTo>
                  <a:pt x="2005495" y="781280"/>
                </a:lnTo>
                <a:lnTo>
                  <a:pt x="2000720" y="781388"/>
                </a:lnTo>
                <a:lnTo>
                  <a:pt x="1998442" y="782470"/>
                </a:lnTo>
                <a:lnTo>
                  <a:pt x="1995403" y="779331"/>
                </a:lnTo>
                <a:lnTo>
                  <a:pt x="1993341" y="772835"/>
                </a:lnTo>
                <a:lnTo>
                  <a:pt x="1993992" y="770236"/>
                </a:lnTo>
                <a:lnTo>
                  <a:pt x="1990737" y="770019"/>
                </a:lnTo>
                <a:lnTo>
                  <a:pt x="1987916" y="773701"/>
                </a:lnTo>
                <a:lnTo>
                  <a:pt x="1991062" y="779547"/>
                </a:lnTo>
                <a:lnTo>
                  <a:pt x="1987048" y="782470"/>
                </a:lnTo>
                <a:lnTo>
                  <a:pt x="1987265" y="786260"/>
                </a:lnTo>
                <a:lnTo>
                  <a:pt x="1989326" y="787235"/>
                </a:lnTo>
                <a:lnTo>
                  <a:pt x="1991279" y="784095"/>
                </a:lnTo>
                <a:lnTo>
                  <a:pt x="1991388" y="789508"/>
                </a:lnTo>
                <a:lnTo>
                  <a:pt x="1988784" y="792865"/>
                </a:lnTo>
                <a:lnTo>
                  <a:pt x="1983683" y="796004"/>
                </a:lnTo>
                <a:lnTo>
                  <a:pt x="1983575" y="798062"/>
                </a:lnTo>
                <a:lnTo>
                  <a:pt x="1988133" y="795139"/>
                </a:lnTo>
                <a:lnTo>
                  <a:pt x="1993776" y="789292"/>
                </a:lnTo>
                <a:lnTo>
                  <a:pt x="1999527" y="789508"/>
                </a:lnTo>
                <a:lnTo>
                  <a:pt x="2002348" y="791132"/>
                </a:lnTo>
                <a:lnTo>
                  <a:pt x="2004085" y="789400"/>
                </a:lnTo>
                <a:lnTo>
                  <a:pt x="2004410" y="786476"/>
                </a:lnTo>
                <a:lnTo>
                  <a:pt x="2007448" y="785394"/>
                </a:lnTo>
                <a:lnTo>
                  <a:pt x="2012223" y="788101"/>
                </a:lnTo>
                <a:lnTo>
                  <a:pt x="2011789" y="792107"/>
                </a:lnTo>
                <a:lnTo>
                  <a:pt x="2008100" y="792865"/>
                </a:lnTo>
                <a:lnTo>
                  <a:pt x="2006580" y="796654"/>
                </a:lnTo>
                <a:lnTo>
                  <a:pt x="2007448" y="800227"/>
                </a:lnTo>
                <a:lnTo>
                  <a:pt x="2011138" y="800335"/>
                </a:lnTo>
                <a:lnTo>
                  <a:pt x="2011355" y="803475"/>
                </a:lnTo>
                <a:lnTo>
                  <a:pt x="2009184" y="806182"/>
                </a:lnTo>
                <a:lnTo>
                  <a:pt x="2009184" y="808131"/>
                </a:lnTo>
                <a:lnTo>
                  <a:pt x="2006255" y="811487"/>
                </a:lnTo>
                <a:lnTo>
                  <a:pt x="2007123" y="814194"/>
                </a:lnTo>
                <a:lnTo>
                  <a:pt x="2006580" y="815926"/>
                </a:lnTo>
                <a:lnTo>
                  <a:pt x="2004627" y="816792"/>
                </a:lnTo>
                <a:lnTo>
                  <a:pt x="2002782" y="816035"/>
                </a:lnTo>
                <a:lnTo>
                  <a:pt x="2001805" y="814410"/>
                </a:lnTo>
                <a:lnTo>
                  <a:pt x="1998659" y="814086"/>
                </a:lnTo>
                <a:lnTo>
                  <a:pt x="1996054" y="816792"/>
                </a:lnTo>
                <a:lnTo>
                  <a:pt x="1994861" y="817333"/>
                </a:lnTo>
                <a:lnTo>
                  <a:pt x="1993341" y="819391"/>
                </a:lnTo>
                <a:lnTo>
                  <a:pt x="1991388" y="819499"/>
                </a:lnTo>
                <a:lnTo>
                  <a:pt x="1990628" y="816576"/>
                </a:lnTo>
                <a:lnTo>
                  <a:pt x="1988784" y="815493"/>
                </a:lnTo>
                <a:lnTo>
                  <a:pt x="1986288" y="818958"/>
                </a:lnTo>
                <a:lnTo>
                  <a:pt x="1982598" y="820041"/>
                </a:lnTo>
                <a:lnTo>
                  <a:pt x="1980970" y="819066"/>
                </a:lnTo>
                <a:lnTo>
                  <a:pt x="1981187" y="815818"/>
                </a:lnTo>
                <a:lnTo>
                  <a:pt x="1979342" y="814302"/>
                </a:lnTo>
                <a:lnTo>
                  <a:pt x="1976087" y="815493"/>
                </a:lnTo>
                <a:lnTo>
                  <a:pt x="1973917" y="815493"/>
                </a:lnTo>
                <a:lnTo>
                  <a:pt x="1974134" y="819282"/>
                </a:lnTo>
                <a:lnTo>
                  <a:pt x="1972397" y="819174"/>
                </a:lnTo>
                <a:lnTo>
                  <a:pt x="1970336" y="816684"/>
                </a:lnTo>
                <a:lnTo>
                  <a:pt x="1966863" y="816684"/>
                </a:lnTo>
                <a:lnTo>
                  <a:pt x="1964801" y="813653"/>
                </a:lnTo>
                <a:lnTo>
                  <a:pt x="1961112" y="812678"/>
                </a:lnTo>
                <a:lnTo>
                  <a:pt x="1958399" y="814519"/>
                </a:lnTo>
                <a:lnTo>
                  <a:pt x="1955578" y="813653"/>
                </a:lnTo>
                <a:lnTo>
                  <a:pt x="1952973" y="808997"/>
                </a:lnTo>
                <a:lnTo>
                  <a:pt x="1953299" y="805099"/>
                </a:lnTo>
                <a:lnTo>
                  <a:pt x="1951779" y="804991"/>
                </a:lnTo>
                <a:lnTo>
                  <a:pt x="1948306" y="809755"/>
                </a:lnTo>
                <a:lnTo>
                  <a:pt x="1945377" y="810729"/>
                </a:lnTo>
                <a:lnTo>
                  <a:pt x="1941687" y="807590"/>
                </a:lnTo>
                <a:lnTo>
                  <a:pt x="1938757" y="806939"/>
                </a:lnTo>
                <a:lnTo>
                  <a:pt x="1936262" y="806939"/>
                </a:lnTo>
                <a:lnTo>
                  <a:pt x="1935719" y="804666"/>
                </a:lnTo>
                <a:lnTo>
                  <a:pt x="1938324" y="801418"/>
                </a:lnTo>
                <a:lnTo>
                  <a:pt x="1941796" y="801418"/>
                </a:lnTo>
                <a:lnTo>
                  <a:pt x="1944726" y="798603"/>
                </a:lnTo>
                <a:lnTo>
                  <a:pt x="1944726" y="795571"/>
                </a:lnTo>
                <a:lnTo>
                  <a:pt x="1941796" y="794272"/>
                </a:lnTo>
                <a:lnTo>
                  <a:pt x="1940385" y="795680"/>
                </a:lnTo>
                <a:lnTo>
                  <a:pt x="1940168" y="797737"/>
                </a:lnTo>
                <a:lnTo>
                  <a:pt x="1938215" y="795896"/>
                </a:lnTo>
                <a:lnTo>
                  <a:pt x="1936804" y="791674"/>
                </a:lnTo>
                <a:lnTo>
                  <a:pt x="1932898" y="789725"/>
                </a:lnTo>
                <a:lnTo>
                  <a:pt x="1929968" y="790049"/>
                </a:lnTo>
                <a:lnTo>
                  <a:pt x="1928557" y="791241"/>
                </a:lnTo>
                <a:lnTo>
                  <a:pt x="1924976" y="788317"/>
                </a:lnTo>
                <a:lnTo>
                  <a:pt x="1921829" y="787668"/>
                </a:lnTo>
                <a:lnTo>
                  <a:pt x="1921504" y="786043"/>
                </a:lnTo>
                <a:lnTo>
                  <a:pt x="1923782" y="784419"/>
                </a:lnTo>
                <a:lnTo>
                  <a:pt x="1925735" y="781496"/>
                </a:lnTo>
                <a:lnTo>
                  <a:pt x="1925735" y="778573"/>
                </a:lnTo>
                <a:lnTo>
                  <a:pt x="1929208" y="776299"/>
                </a:lnTo>
                <a:lnTo>
                  <a:pt x="1927580" y="773917"/>
                </a:lnTo>
                <a:lnTo>
                  <a:pt x="1927580" y="771644"/>
                </a:lnTo>
                <a:lnTo>
                  <a:pt x="1926061" y="768937"/>
                </a:lnTo>
                <a:lnTo>
                  <a:pt x="1923890" y="769370"/>
                </a:lnTo>
                <a:lnTo>
                  <a:pt x="1921829" y="768504"/>
                </a:lnTo>
                <a:lnTo>
                  <a:pt x="1922263" y="770886"/>
                </a:lnTo>
                <a:lnTo>
                  <a:pt x="1920635" y="773376"/>
                </a:lnTo>
                <a:lnTo>
                  <a:pt x="1917705" y="773809"/>
                </a:lnTo>
                <a:lnTo>
                  <a:pt x="1915861" y="773051"/>
                </a:lnTo>
                <a:lnTo>
                  <a:pt x="1914449" y="774892"/>
                </a:lnTo>
                <a:lnTo>
                  <a:pt x="1914667" y="777815"/>
                </a:lnTo>
                <a:lnTo>
                  <a:pt x="1910977" y="779980"/>
                </a:lnTo>
                <a:lnTo>
                  <a:pt x="1909566" y="782579"/>
                </a:lnTo>
                <a:lnTo>
                  <a:pt x="1908047" y="780955"/>
                </a:lnTo>
                <a:lnTo>
                  <a:pt x="1906311" y="781063"/>
                </a:lnTo>
                <a:lnTo>
                  <a:pt x="1904792" y="783986"/>
                </a:lnTo>
                <a:lnTo>
                  <a:pt x="1895351" y="790158"/>
                </a:lnTo>
                <a:lnTo>
                  <a:pt x="1886235" y="790158"/>
                </a:lnTo>
                <a:lnTo>
                  <a:pt x="1882980" y="788425"/>
                </a:lnTo>
                <a:lnTo>
                  <a:pt x="1879724" y="788967"/>
                </a:lnTo>
                <a:lnTo>
                  <a:pt x="1874949" y="788101"/>
                </a:lnTo>
                <a:lnTo>
                  <a:pt x="1871694" y="787992"/>
                </a:lnTo>
                <a:lnTo>
                  <a:pt x="1870609" y="790049"/>
                </a:lnTo>
                <a:lnTo>
                  <a:pt x="1866593" y="791024"/>
                </a:lnTo>
                <a:lnTo>
                  <a:pt x="1860951" y="793514"/>
                </a:lnTo>
                <a:lnTo>
                  <a:pt x="1856068" y="798278"/>
                </a:lnTo>
                <a:lnTo>
                  <a:pt x="1852595" y="798278"/>
                </a:lnTo>
                <a:lnTo>
                  <a:pt x="1848797" y="799577"/>
                </a:lnTo>
                <a:lnTo>
                  <a:pt x="1846084" y="802500"/>
                </a:lnTo>
                <a:lnTo>
                  <a:pt x="1840116" y="803151"/>
                </a:lnTo>
                <a:lnTo>
                  <a:pt x="1838162" y="805208"/>
                </a:lnTo>
                <a:lnTo>
                  <a:pt x="1835775" y="805316"/>
                </a:lnTo>
                <a:lnTo>
                  <a:pt x="1834907" y="801743"/>
                </a:lnTo>
                <a:lnTo>
                  <a:pt x="1832736" y="800335"/>
                </a:lnTo>
                <a:lnTo>
                  <a:pt x="1831000" y="801418"/>
                </a:lnTo>
                <a:lnTo>
                  <a:pt x="1828287" y="801851"/>
                </a:lnTo>
                <a:lnTo>
                  <a:pt x="1827636" y="799036"/>
                </a:lnTo>
                <a:lnTo>
                  <a:pt x="1825466" y="798170"/>
                </a:lnTo>
                <a:lnTo>
                  <a:pt x="1821994" y="799036"/>
                </a:lnTo>
                <a:lnTo>
                  <a:pt x="1820257" y="800227"/>
                </a:lnTo>
                <a:lnTo>
                  <a:pt x="1818955" y="799794"/>
                </a:lnTo>
                <a:lnTo>
                  <a:pt x="1817761" y="797629"/>
                </a:lnTo>
                <a:lnTo>
                  <a:pt x="1811685" y="797304"/>
                </a:lnTo>
                <a:lnTo>
                  <a:pt x="1808755" y="800768"/>
                </a:lnTo>
                <a:lnTo>
                  <a:pt x="1801267" y="797304"/>
                </a:lnTo>
                <a:lnTo>
                  <a:pt x="1795298" y="797304"/>
                </a:lnTo>
                <a:lnTo>
                  <a:pt x="1793236" y="796004"/>
                </a:lnTo>
                <a:lnTo>
                  <a:pt x="1790632" y="796437"/>
                </a:lnTo>
                <a:lnTo>
                  <a:pt x="1788679" y="799145"/>
                </a:lnTo>
                <a:lnTo>
                  <a:pt x="1787160" y="797520"/>
                </a:lnTo>
                <a:lnTo>
                  <a:pt x="1784880" y="797196"/>
                </a:lnTo>
                <a:lnTo>
                  <a:pt x="1781734" y="798062"/>
                </a:lnTo>
                <a:lnTo>
                  <a:pt x="1773812" y="796546"/>
                </a:lnTo>
                <a:lnTo>
                  <a:pt x="1772185" y="794597"/>
                </a:lnTo>
                <a:lnTo>
                  <a:pt x="1777719" y="793406"/>
                </a:lnTo>
                <a:lnTo>
                  <a:pt x="1778153" y="790482"/>
                </a:lnTo>
                <a:lnTo>
                  <a:pt x="1775656" y="784961"/>
                </a:lnTo>
                <a:lnTo>
                  <a:pt x="1775440" y="779331"/>
                </a:lnTo>
                <a:lnTo>
                  <a:pt x="1771750" y="776732"/>
                </a:lnTo>
                <a:lnTo>
                  <a:pt x="1773486" y="773701"/>
                </a:lnTo>
                <a:lnTo>
                  <a:pt x="1773812" y="771319"/>
                </a:lnTo>
                <a:lnTo>
                  <a:pt x="1779563" y="768395"/>
                </a:lnTo>
                <a:lnTo>
                  <a:pt x="1781299" y="765364"/>
                </a:lnTo>
                <a:lnTo>
                  <a:pt x="1780974" y="762982"/>
                </a:lnTo>
                <a:lnTo>
                  <a:pt x="1783253" y="760600"/>
                </a:lnTo>
                <a:lnTo>
                  <a:pt x="1782710" y="757785"/>
                </a:lnTo>
                <a:lnTo>
                  <a:pt x="1787810" y="756161"/>
                </a:lnTo>
                <a:lnTo>
                  <a:pt x="1786834" y="753562"/>
                </a:lnTo>
                <a:lnTo>
                  <a:pt x="1784012" y="752588"/>
                </a:lnTo>
                <a:lnTo>
                  <a:pt x="1780974" y="747283"/>
                </a:lnTo>
                <a:lnTo>
                  <a:pt x="1775874" y="747283"/>
                </a:lnTo>
                <a:lnTo>
                  <a:pt x="1772510" y="743710"/>
                </a:lnTo>
                <a:lnTo>
                  <a:pt x="1769472" y="743601"/>
                </a:lnTo>
                <a:lnTo>
                  <a:pt x="1764588" y="745767"/>
                </a:lnTo>
                <a:lnTo>
                  <a:pt x="1761441" y="745009"/>
                </a:lnTo>
                <a:lnTo>
                  <a:pt x="1758945" y="742303"/>
                </a:lnTo>
                <a:lnTo>
                  <a:pt x="1755038" y="743277"/>
                </a:lnTo>
                <a:lnTo>
                  <a:pt x="1752976" y="741111"/>
                </a:lnTo>
                <a:lnTo>
                  <a:pt x="1746140" y="737105"/>
                </a:lnTo>
                <a:lnTo>
                  <a:pt x="1745055" y="734832"/>
                </a:lnTo>
                <a:lnTo>
                  <a:pt x="1741583" y="731908"/>
                </a:lnTo>
                <a:lnTo>
                  <a:pt x="1738327" y="722056"/>
                </a:lnTo>
                <a:lnTo>
                  <a:pt x="1740063" y="720648"/>
                </a:lnTo>
                <a:lnTo>
                  <a:pt x="1740931" y="718050"/>
                </a:lnTo>
                <a:lnTo>
                  <a:pt x="1737676" y="716642"/>
                </a:lnTo>
                <a:lnTo>
                  <a:pt x="1736591" y="714152"/>
                </a:lnTo>
                <a:lnTo>
                  <a:pt x="1738110" y="711337"/>
                </a:lnTo>
                <a:lnTo>
                  <a:pt x="1736808" y="704083"/>
                </a:lnTo>
                <a:lnTo>
                  <a:pt x="1740931" y="697587"/>
                </a:lnTo>
                <a:lnTo>
                  <a:pt x="1741366" y="690332"/>
                </a:lnTo>
                <a:lnTo>
                  <a:pt x="1743970" y="686651"/>
                </a:lnTo>
                <a:lnTo>
                  <a:pt x="1749504" y="685244"/>
                </a:lnTo>
                <a:lnTo>
                  <a:pt x="1752543" y="683944"/>
                </a:lnTo>
                <a:lnTo>
                  <a:pt x="1771316" y="684269"/>
                </a:lnTo>
                <a:lnTo>
                  <a:pt x="1775983" y="685677"/>
                </a:lnTo>
                <a:lnTo>
                  <a:pt x="1782276" y="686218"/>
                </a:lnTo>
                <a:lnTo>
                  <a:pt x="1792803" y="685785"/>
                </a:lnTo>
                <a:lnTo>
                  <a:pt x="1795081" y="687084"/>
                </a:lnTo>
                <a:lnTo>
                  <a:pt x="1800182" y="686759"/>
                </a:lnTo>
                <a:lnTo>
                  <a:pt x="1802786" y="687842"/>
                </a:lnTo>
                <a:lnTo>
                  <a:pt x="1804631" y="687842"/>
                </a:lnTo>
                <a:lnTo>
                  <a:pt x="1805499" y="691524"/>
                </a:lnTo>
                <a:lnTo>
                  <a:pt x="1810708" y="693473"/>
                </a:lnTo>
                <a:lnTo>
                  <a:pt x="1812878" y="695530"/>
                </a:lnTo>
                <a:lnTo>
                  <a:pt x="1815591" y="696287"/>
                </a:lnTo>
                <a:lnTo>
                  <a:pt x="1820583" y="695638"/>
                </a:lnTo>
                <a:lnTo>
                  <a:pt x="1822753" y="696396"/>
                </a:lnTo>
                <a:lnTo>
                  <a:pt x="1825466" y="700402"/>
                </a:lnTo>
                <a:lnTo>
                  <a:pt x="1828505" y="700510"/>
                </a:lnTo>
                <a:lnTo>
                  <a:pt x="1831868" y="704408"/>
                </a:lnTo>
                <a:lnTo>
                  <a:pt x="1835233" y="704408"/>
                </a:lnTo>
                <a:lnTo>
                  <a:pt x="1836318" y="703433"/>
                </a:lnTo>
                <a:lnTo>
                  <a:pt x="1839899" y="704624"/>
                </a:lnTo>
                <a:lnTo>
                  <a:pt x="1843371" y="703433"/>
                </a:lnTo>
                <a:lnTo>
                  <a:pt x="1850316" y="705491"/>
                </a:lnTo>
                <a:lnTo>
                  <a:pt x="1858564" y="707439"/>
                </a:lnTo>
                <a:lnTo>
                  <a:pt x="1860842" y="708630"/>
                </a:lnTo>
                <a:lnTo>
                  <a:pt x="1859757" y="706032"/>
                </a:lnTo>
                <a:lnTo>
                  <a:pt x="1860951" y="704732"/>
                </a:lnTo>
                <a:lnTo>
                  <a:pt x="1860842" y="702134"/>
                </a:lnTo>
                <a:lnTo>
                  <a:pt x="1854766" y="698236"/>
                </a:lnTo>
                <a:lnTo>
                  <a:pt x="1850533" y="693797"/>
                </a:lnTo>
                <a:lnTo>
                  <a:pt x="1850968" y="690332"/>
                </a:lnTo>
                <a:lnTo>
                  <a:pt x="1851618" y="688600"/>
                </a:lnTo>
                <a:lnTo>
                  <a:pt x="1848905" y="685569"/>
                </a:lnTo>
                <a:lnTo>
                  <a:pt x="1846302" y="684810"/>
                </a:lnTo>
                <a:lnTo>
                  <a:pt x="1845216" y="681563"/>
                </a:lnTo>
                <a:lnTo>
                  <a:pt x="1842395" y="680155"/>
                </a:lnTo>
                <a:lnTo>
                  <a:pt x="1837946" y="680155"/>
                </a:lnTo>
                <a:lnTo>
                  <a:pt x="1836426" y="678098"/>
                </a:lnTo>
                <a:lnTo>
                  <a:pt x="1836209" y="676257"/>
                </a:lnTo>
                <a:lnTo>
                  <a:pt x="1832194" y="673009"/>
                </a:lnTo>
                <a:lnTo>
                  <a:pt x="1831543" y="669003"/>
                </a:lnTo>
                <a:lnTo>
                  <a:pt x="1828613" y="670952"/>
                </a:lnTo>
                <a:lnTo>
                  <a:pt x="1827093" y="667596"/>
                </a:lnTo>
                <a:lnTo>
                  <a:pt x="1823296" y="665863"/>
                </a:lnTo>
                <a:lnTo>
                  <a:pt x="1818413" y="667163"/>
                </a:lnTo>
                <a:lnTo>
                  <a:pt x="1812770" y="666621"/>
                </a:lnTo>
                <a:lnTo>
                  <a:pt x="1809948" y="665430"/>
                </a:lnTo>
                <a:lnTo>
                  <a:pt x="1806042" y="667379"/>
                </a:lnTo>
                <a:lnTo>
                  <a:pt x="1801701" y="665539"/>
                </a:lnTo>
                <a:lnTo>
                  <a:pt x="1798337" y="666188"/>
                </a:lnTo>
                <a:lnTo>
                  <a:pt x="1793236" y="665971"/>
                </a:lnTo>
                <a:lnTo>
                  <a:pt x="1791283" y="664023"/>
                </a:lnTo>
                <a:lnTo>
                  <a:pt x="1788462" y="663914"/>
                </a:lnTo>
                <a:lnTo>
                  <a:pt x="1784664" y="664997"/>
                </a:lnTo>
                <a:lnTo>
                  <a:pt x="1781734" y="664131"/>
                </a:lnTo>
                <a:lnTo>
                  <a:pt x="1781299" y="661424"/>
                </a:lnTo>
                <a:lnTo>
                  <a:pt x="1778587" y="658934"/>
                </a:lnTo>
                <a:lnTo>
                  <a:pt x="1776199" y="659800"/>
                </a:lnTo>
                <a:lnTo>
                  <a:pt x="1774355" y="658068"/>
                </a:lnTo>
                <a:lnTo>
                  <a:pt x="1771316" y="656552"/>
                </a:lnTo>
                <a:lnTo>
                  <a:pt x="1770340" y="656985"/>
                </a:lnTo>
                <a:lnTo>
                  <a:pt x="1769146" y="658934"/>
                </a:lnTo>
                <a:lnTo>
                  <a:pt x="1764914" y="658826"/>
                </a:lnTo>
                <a:lnTo>
                  <a:pt x="1762201" y="656769"/>
                </a:lnTo>
                <a:lnTo>
                  <a:pt x="1759705" y="656769"/>
                </a:lnTo>
                <a:lnTo>
                  <a:pt x="1755581" y="657418"/>
                </a:lnTo>
                <a:lnTo>
                  <a:pt x="1753520" y="655578"/>
                </a:lnTo>
                <a:lnTo>
                  <a:pt x="1752976" y="652113"/>
                </a:lnTo>
                <a:lnTo>
                  <a:pt x="1754822" y="650922"/>
                </a:lnTo>
                <a:lnTo>
                  <a:pt x="1754822" y="645941"/>
                </a:lnTo>
                <a:lnTo>
                  <a:pt x="1753736" y="643343"/>
                </a:lnTo>
                <a:lnTo>
                  <a:pt x="1752435" y="630351"/>
                </a:lnTo>
                <a:lnTo>
                  <a:pt x="1753953" y="625262"/>
                </a:lnTo>
                <a:lnTo>
                  <a:pt x="1762961" y="623638"/>
                </a:lnTo>
                <a:lnTo>
                  <a:pt x="1764805" y="622013"/>
                </a:lnTo>
                <a:lnTo>
                  <a:pt x="1776091" y="621364"/>
                </a:lnTo>
                <a:lnTo>
                  <a:pt x="1779672" y="621689"/>
                </a:lnTo>
                <a:lnTo>
                  <a:pt x="1783253" y="620715"/>
                </a:lnTo>
                <a:lnTo>
                  <a:pt x="1786074" y="620715"/>
                </a:lnTo>
                <a:lnTo>
                  <a:pt x="1789113" y="622555"/>
                </a:lnTo>
                <a:lnTo>
                  <a:pt x="1791935" y="619957"/>
                </a:lnTo>
                <a:lnTo>
                  <a:pt x="1802352" y="618766"/>
                </a:lnTo>
                <a:lnTo>
                  <a:pt x="1805824" y="621689"/>
                </a:lnTo>
                <a:lnTo>
                  <a:pt x="1813638" y="621689"/>
                </a:lnTo>
                <a:lnTo>
                  <a:pt x="1812227" y="619091"/>
                </a:lnTo>
                <a:lnTo>
                  <a:pt x="1806367" y="617033"/>
                </a:lnTo>
                <a:lnTo>
                  <a:pt x="1808103" y="615301"/>
                </a:lnTo>
                <a:lnTo>
                  <a:pt x="1817219" y="615517"/>
                </a:lnTo>
                <a:lnTo>
                  <a:pt x="1823730" y="619848"/>
                </a:lnTo>
                <a:lnTo>
                  <a:pt x="1827202" y="619848"/>
                </a:lnTo>
                <a:lnTo>
                  <a:pt x="1828722" y="617358"/>
                </a:lnTo>
                <a:lnTo>
                  <a:pt x="1825140" y="616925"/>
                </a:lnTo>
                <a:lnTo>
                  <a:pt x="1822427" y="613027"/>
                </a:lnTo>
                <a:lnTo>
                  <a:pt x="1817761" y="610970"/>
                </a:lnTo>
                <a:lnTo>
                  <a:pt x="1812661" y="611945"/>
                </a:lnTo>
                <a:lnTo>
                  <a:pt x="1805933" y="609022"/>
                </a:lnTo>
                <a:lnTo>
                  <a:pt x="1801375" y="609022"/>
                </a:lnTo>
                <a:lnTo>
                  <a:pt x="1793996" y="611078"/>
                </a:lnTo>
                <a:lnTo>
                  <a:pt x="1786074" y="609671"/>
                </a:lnTo>
                <a:lnTo>
                  <a:pt x="1782276" y="610104"/>
                </a:lnTo>
                <a:lnTo>
                  <a:pt x="1784121" y="606748"/>
                </a:lnTo>
                <a:lnTo>
                  <a:pt x="1782494" y="604474"/>
                </a:lnTo>
                <a:lnTo>
                  <a:pt x="1779781" y="604582"/>
                </a:lnTo>
                <a:lnTo>
                  <a:pt x="1778804" y="608048"/>
                </a:lnTo>
                <a:lnTo>
                  <a:pt x="1776091" y="609779"/>
                </a:lnTo>
                <a:lnTo>
                  <a:pt x="1767844" y="605556"/>
                </a:lnTo>
                <a:lnTo>
                  <a:pt x="1766867" y="601226"/>
                </a:lnTo>
                <a:lnTo>
                  <a:pt x="1770448" y="599277"/>
                </a:lnTo>
                <a:lnTo>
                  <a:pt x="1775656" y="602200"/>
                </a:lnTo>
                <a:lnTo>
                  <a:pt x="1781083" y="599927"/>
                </a:lnTo>
                <a:lnTo>
                  <a:pt x="1782602" y="596354"/>
                </a:lnTo>
                <a:lnTo>
                  <a:pt x="1778912" y="593972"/>
                </a:lnTo>
                <a:lnTo>
                  <a:pt x="1774463" y="593539"/>
                </a:lnTo>
                <a:lnTo>
                  <a:pt x="1770340" y="596029"/>
                </a:lnTo>
                <a:lnTo>
                  <a:pt x="1767518" y="596570"/>
                </a:lnTo>
                <a:lnTo>
                  <a:pt x="1766107" y="595379"/>
                </a:lnTo>
                <a:lnTo>
                  <a:pt x="1767844" y="592348"/>
                </a:lnTo>
                <a:lnTo>
                  <a:pt x="1764697" y="589641"/>
                </a:lnTo>
                <a:lnTo>
                  <a:pt x="1761332" y="591373"/>
                </a:lnTo>
                <a:lnTo>
                  <a:pt x="1761549" y="585527"/>
                </a:lnTo>
                <a:lnTo>
                  <a:pt x="1764479" y="581738"/>
                </a:lnTo>
                <a:lnTo>
                  <a:pt x="1770882" y="576973"/>
                </a:lnTo>
                <a:lnTo>
                  <a:pt x="1772076" y="572751"/>
                </a:lnTo>
                <a:lnTo>
                  <a:pt x="1775331" y="569936"/>
                </a:lnTo>
                <a:lnTo>
                  <a:pt x="1781951" y="569611"/>
                </a:lnTo>
                <a:lnTo>
                  <a:pt x="1789438" y="562790"/>
                </a:lnTo>
                <a:lnTo>
                  <a:pt x="1793996" y="562790"/>
                </a:lnTo>
                <a:lnTo>
                  <a:pt x="1798662" y="559325"/>
                </a:lnTo>
                <a:lnTo>
                  <a:pt x="1796166" y="557377"/>
                </a:lnTo>
                <a:lnTo>
                  <a:pt x="1792260" y="557052"/>
                </a:lnTo>
                <a:lnTo>
                  <a:pt x="1792803" y="553479"/>
                </a:lnTo>
                <a:lnTo>
                  <a:pt x="1798771" y="547957"/>
                </a:lnTo>
                <a:lnTo>
                  <a:pt x="1816134" y="539837"/>
                </a:lnTo>
                <a:lnTo>
                  <a:pt x="1829264" y="536805"/>
                </a:lnTo>
                <a:lnTo>
                  <a:pt x="1834798" y="531933"/>
                </a:lnTo>
                <a:lnTo>
                  <a:pt x="1856176" y="523704"/>
                </a:lnTo>
                <a:lnTo>
                  <a:pt x="1873539" y="520998"/>
                </a:lnTo>
                <a:lnTo>
                  <a:pt x="1882654" y="517316"/>
                </a:lnTo>
                <a:lnTo>
                  <a:pt x="1891444" y="515476"/>
                </a:lnTo>
                <a:close/>
                <a:moveTo>
                  <a:pt x="3630424" y="511254"/>
                </a:moveTo>
                <a:lnTo>
                  <a:pt x="3630207" y="513420"/>
                </a:lnTo>
                <a:lnTo>
                  <a:pt x="3629122" y="514503"/>
                </a:lnTo>
                <a:lnTo>
                  <a:pt x="3627277" y="512987"/>
                </a:lnTo>
                <a:lnTo>
                  <a:pt x="3628254" y="511363"/>
                </a:lnTo>
                <a:close/>
                <a:moveTo>
                  <a:pt x="5300387" y="507141"/>
                </a:moveTo>
                <a:lnTo>
                  <a:pt x="5303208" y="508006"/>
                </a:lnTo>
                <a:lnTo>
                  <a:pt x="5304836" y="510822"/>
                </a:lnTo>
                <a:lnTo>
                  <a:pt x="5311021" y="512446"/>
                </a:lnTo>
                <a:lnTo>
                  <a:pt x="5309176" y="514830"/>
                </a:lnTo>
                <a:lnTo>
                  <a:pt x="5304510" y="514612"/>
                </a:lnTo>
                <a:lnTo>
                  <a:pt x="5298976" y="512121"/>
                </a:lnTo>
                <a:lnTo>
                  <a:pt x="5298325" y="509090"/>
                </a:lnTo>
                <a:close/>
                <a:moveTo>
                  <a:pt x="4295415" y="506382"/>
                </a:moveTo>
                <a:lnTo>
                  <a:pt x="4297151" y="511687"/>
                </a:lnTo>
                <a:lnTo>
                  <a:pt x="4300949" y="517317"/>
                </a:lnTo>
                <a:lnTo>
                  <a:pt x="4300624" y="519808"/>
                </a:lnTo>
                <a:lnTo>
                  <a:pt x="4296934" y="520783"/>
                </a:lnTo>
                <a:lnTo>
                  <a:pt x="4295415" y="523055"/>
                </a:lnTo>
                <a:lnTo>
                  <a:pt x="4296500" y="528902"/>
                </a:lnTo>
                <a:lnTo>
                  <a:pt x="4302034" y="534748"/>
                </a:lnTo>
                <a:lnTo>
                  <a:pt x="4307460" y="538214"/>
                </a:lnTo>
                <a:lnTo>
                  <a:pt x="4310607" y="535398"/>
                </a:lnTo>
                <a:lnTo>
                  <a:pt x="4316141" y="532476"/>
                </a:lnTo>
                <a:lnTo>
                  <a:pt x="4320048" y="534532"/>
                </a:lnTo>
                <a:lnTo>
                  <a:pt x="4322111" y="537132"/>
                </a:lnTo>
                <a:lnTo>
                  <a:pt x="4326668" y="539187"/>
                </a:lnTo>
                <a:lnTo>
                  <a:pt x="4324932" y="540920"/>
                </a:lnTo>
                <a:lnTo>
                  <a:pt x="4319723" y="542978"/>
                </a:lnTo>
                <a:lnTo>
                  <a:pt x="4315382" y="549798"/>
                </a:lnTo>
                <a:lnTo>
                  <a:pt x="4314731" y="554129"/>
                </a:lnTo>
                <a:lnTo>
                  <a:pt x="4311584" y="563765"/>
                </a:lnTo>
                <a:lnTo>
                  <a:pt x="4307894" y="564849"/>
                </a:lnTo>
                <a:lnTo>
                  <a:pt x="4303554" y="567338"/>
                </a:lnTo>
                <a:lnTo>
                  <a:pt x="4301166" y="571020"/>
                </a:lnTo>
                <a:lnTo>
                  <a:pt x="4301166" y="574917"/>
                </a:lnTo>
                <a:lnTo>
                  <a:pt x="4297476" y="577840"/>
                </a:lnTo>
                <a:lnTo>
                  <a:pt x="4294763" y="577732"/>
                </a:lnTo>
                <a:lnTo>
                  <a:pt x="4293245" y="573726"/>
                </a:lnTo>
                <a:lnTo>
                  <a:pt x="4295849" y="570152"/>
                </a:lnTo>
                <a:lnTo>
                  <a:pt x="4294981" y="564631"/>
                </a:lnTo>
                <a:lnTo>
                  <a:pt x="4296934" y="557702"/>
                </a:lnTo>
                <a:lnTo>
                  <a:pt x="4296934" y="552722"/>
                </a:lnTo>
                <a:lnTo>
                  <a:pt x="4294981" y="554346"/>
                </a:lnTo>
                <a:lnTo>
                  <a:pt x="4291508" y="553589"/>
                </a:lnTo>
                <a:lnTo>
                  <a:pt x="4289120" y="555320"/>
                </a:lnTo>
                <a:lnTo>
                  <a:pt x="4286299" y="560842"/>
                </a:lnTo>
                <a:lnTo>
                  <a:pt x="4283261" y="563441"/>
                </a:lnTo>
                <a:lnTo>
                  <a:pt x="4279788" y="563224"/>
                </a:lnTo>
                <a:lnTo>
                  <a:pt x="4275230" y="567555"/>
                </a:lnTo>
                <a:lnTo>
                  <a:pt x="4270781" y="568096"/>
                </a:lnTo>
                <a:lnTo>
                  <a:pt x="4266874" y="570152"/>
                </a:lnTo>
                <a:lnTo>
                  <a:pt x="4264921" y="569829"/>
                </a:lnTo>
                <a:lnTo>
                  <a:pt x="4264379" y="566147"/>
                </a:lnTo>
                <a:lnTo>
                  <a:pt x="4265789" y="563765"/>
                </a:lnTo>
                <a:lnTo>
                  <a:pt x="4265247" y="559435"/>
                </a:lnTo>
                <a:lnTo>
                  <a:pt x="4268719" y="556945"/>
                </a:lnTo>
                <a:lnTo>
                  <a:pt x="4269805" y="549798"/>
                </a:lnTo>
                <a:lnTo>
                  <a:pt x="4273277" y="543627"/>
                </a:lnTo>
                <a:lnTo>
                  <a:pt x="4273385" y="538971"/>
                </a:lnTo>
                <a:lnTo>
                  <a:pt x="4274471" y="536156"/>
                </a:lnTo>
                <a:lnTo>
                  <a:pt x="4273603" y="533558"/>
                </a:lnTo>
                <a:lnTo>
                  <a:pt x="4269370" y="533558"/>
                </a:lnTo>
                <a:lnTo>
                  <a:pt x="4265681" y="529552"/>
                </a:lnTo>
                <a:lnTo>
                  <a:pt x="4261666" y="527169"/>
                </a:lnTo>
                <a:lnTo>
                  <a:pt x="4263944" y="522298"/>
                </a:lnTo>
                <a:lnTo>
                  <a:pt x="4268177" y="518617"/>
                </a:lnTo>
                <a:lnTo>
                  <a:pt x="4277509" y="516451"/>
                </a:lnTo>
                <a:lnTo>
                  <a:pt x="4282718" y="516019"/>
                </a:lnTo>
                <a:lnTo>
                  <a:pt x="4288687" y="510821"/>
                </a:lnTo>
                <a:close/>
                <a:moveTo>
                  <a:pt x="2612863" y="502374"/>
                </a:moveTo>
                <a:lnTo>
                  <a:pt x="2610042" y="507139"/>
                </a:lnTo>
                <a:lnTo>
                  <a:pt x="2603205" y="512552"/>
                </a:lnTo>
                <a:lnTo>
                  <a:pt x="2601795" y="516125"/>
                </a:lnTo>
                <a:lnTo>
                  <a:pt x="2603531" y="519048"/>
                </a:lnTo>
                <a:lnTo>
                  <a:pt x="2602988" y="521539"/>
                </a:lnTo>
                <a:lnTo>
                  <a:pt x="2600601" y="520889"/>
                </a:lnTo>
                <a:lnTo>
                  <a:pt x="2598756" y="517858"/>
                </a:lnTo>
                <a:lnTo>
                  <a:pt x="2596586" y="519373"/>
                </a:lnTo>
                <a:lnTo>
                  <a:pt x="2595066" y="521647"/>
                </a:lnTo>
                <a:lnTo>
                  <a:pt x="2593005" y="521430"/>
                </a:lnTo>
                <a:lnTo>
                  <a:pt x="2592571" y="515801"/>
                </a:lnTo>
                <a:lnTo>
                  <a:pt x="2594958" y="514393"/>
                </a:lnTo>
                <a:lnTo>
                  <a:pt x="2597888" y="510062"/>
                </a:lnTo>
                <a:lnTo>
                  <a:pt x="2608631" y="503240"/>
                </a:lnTo>
                <a:close/>
                <a:moveTo>
                  <a:pt x="5317316" y="501186"/>
                </a:moveTo>
                <a:lnTo>
                  <a:pt x="5320571" y="503135"/>
                </a:lnTo>
                <a:lnTo>
                  <a:pt x="5327951" y="504216"/>
                </a:lnTo>
                <a:lnTo>
                  <a:pt x="5327299" y="506057"/>
                </a:lnTo>
                <a:lnTo>
                  <a:pt x="5323067" y="507790"/>
                </a:lnTo>
                <a:lnTo>
                  <a:pt x="5319486" y="507790"/>
                </a:lnTo>
                <a:lnTo>
                  <a:pt x="5313951" y="508765"/>
                </a:lnTo>
                <a:cubicBezTo>
                  <a:pt x="5313189" y="508317"/>
                  <a:pt x="5312463" y="507810"/>
                  <a:pt x="5311781" y="507248"/>
                </a:cubicBezTo>
                <a:lnTo>
                  <a:pt x="5314385" y="502052"/>
                </a:lnTo>
                <a:close/>
                <a:moveTo>
                  <a:pt x="6051756" y="498913"/>
                </a:moveTo>
                <a:lnTo>
                  <a:pt x="6055446" y="498913"/>
                </a:lnTo>
                <a:lnTo>
                  <a:pt x="6060330" y="502377"/>
                </a:lnTo>
                <a:lnTo>
                  <a:pt x="6063368" y="505409"/>
                </a:lnTo>
                <a:lnTo>
                  <a:pt x="6063368" y="507356"/>
                </a:lnTo>
                <a:lnTo>
                  <a:pt x="6061415" y="507356"/>
                </a:lnTo>
                <a:lnTo>
                  <a:pt x="6059570" y="508874"/>
                </a:lnTo>
                <a:lnTo>
                  <a:pt x="6053385" y="508874"/>
                </a:lnTo>
                <a:lnTo>
                  <a:pt x="6053385" y="505300"/>
                </a:lnTo>
                <a:lnTo>
                  <a:pt x="6049586" y="503026"/>
                </a:lnTo>
                <a:lnTo>
                  <a:pt x="6049586" y="500861"/>
                </a:lnTo>
                <a:close/>
                <a:moveTo>
                  <a:pt x="2574014" y="496747"/>
                </a:moveTo>
                <a:lnTo>
                  <a:pt x="2575425" y="498587"/>
                </a:lnTo>
                <a:lnTo>
                  <a:pt x="2573689" y="501186"/>
                </a:lnTo>
                <a:lnTo>
                  <a:pt x="2571301" y="501186"/>
                </a:lnTo>
                <a:cubicBezTo>
                  <a:pt x="2570608" y="500464"/>
                  <a:pt x="2569956" y="499706"/>
                  <a:pt x="2569348" y="498912"/>
                </a:cubicBezTo>
                <a:close/>
                <a:moveTo>
                  <a:pt x="5053946" y="492308"/>
                </a:moveTo>
                <a:lnTo>
                  <a:pt x="5055791" y="494798"/>
                </a:lnTo>
                <a:lnTo>
                  <a:pt x="5055791" y="498697"/>
                </a:lnTo>
                <a:lnTo>
                  <a:pt x="5058395" y="502161"/>
                </a:lnTo>
                <a:lnTo>
                  <a:pt x="5062844" y="502811"/>
                </a:lnTo>
                <a:lnTo>
                  <a:pt x="5065232" y="505409"/>
                </a:lnTo>
                <a:lnTo>
                  <a:pt x="5070115" y="506058"/>
                </a:lnTo>
                <a:lnTo>
                  <a:pt x="5071525" y="508116"/>
                </a:lnTo>
                <a:lnTo>
                  <a:pt x="5069138" y="513963"/>
                </a:lnTo>
                <a:lnTo>
                  <a:pt x="5069138" y="520027"/>
                </a:lnTo>
                <a:lnTo>
                  <a:pt x="5072285" y="520027"/>
                </a:lnTo>
                <a:lnTo>
                  <a:pt x="5073804" y="521218"/>
                </a:lnTo>
                <a:lnTo>
                  <a:pt x="5073804" y="527712"/>
                </a:lnTo>
                <a:lnTo>
                  <a:pt x="5074455" y="531719"/>
                </a:lnTo>
                <a:lnTo>
                  <a:pt x="5072177" y="536159"/>
                </a:lnTo>
                <a:lnTo>
                  <a:pt x="5073587" y="538432"/>
                </a:lnTo>
                <a:lnTo>
                  <a:pt x="5073587" y="541572"/>
                </a:lnTo>
                <a:lnTo>
                  <a:pt x="5070006" y="543088"/>
                </a:lnTo>
                <a:lnTo>
                  <a:pt x="5067402" y="543088"/>
                </a:lnTo>
                <a:lnTo>
                  <a:pt x="5063604" y="545469"/>
                </a:lnTo>
                <a:lnTo>
                  <a:pt x="5056876" y="553698"/>
                </a:lnTo>
                <a:lnTo>
                  <a:pt x="5052426" y="557272"/>
                </a:lnTo>
                <a:lnTo>
                  <a:pt x="5044830" y="559544"/>
                </a:lnTo>
                <a:lnTo>
                  <a:pt x="5038428" y="565066"/>
                </a:lnTo>
                <a:lnTo>
                  <a:pt x="5035715" y="565066"/>
                </a:lnTo>
                <a:lnTo>
                  <a:pt x="5028010" y="571238"/>
                </a:lnTo>
                <a:lnTo>
                  <a:pt x="5018352" y="582065"/>
                </a:lnTo>
                <a:lnTo>
                  <a:pt x="5009562" y="588561"/>
                </a:lnTo>
                <a:lnTo>
                  <a:pt x="5005764" y="588561"/>
                </a:lnTo>
                <a:lnTo>
                  <a:pt x="5003051" y="597114"/>
                </a:lnTo>
                <a:lnTo>
                  <a:pt x="4999253" y="603828"/>
                </a:lnTo>
                <a:lnTo>
                  <a:pt x="4992308" y="608158"/>
                </a:lnTo>
                <a:lnTo>
                  <a:pt x="4991657" y="614004"/>
                </a:lnTo>
                <a:lnTo>
                  <a:pt x="4988944" y="616603"/>
                </a:lnTo>
                <a:lnTo>
                  <a:pt x="4987208" y="621908"/>
                </a:lnTo>
                <a:lnTo>
                  <a:pt x="4980479" y="630462"/>
                </a:lnTo>
                <a:lnTo>
                  <a:pt x="4977550" y="632844"/>
                </a:lnTo>
                <a:lnTo>
                  <a:pt x="4975271" y="628729"/>
                </a:lnTo>
                <a:lnTo>
                  <a:pt x="4972883" y="632844"/>
                </a:lnTo>
                <a:lnTo>
                  <a:pt x="4974837" y="636308"/>
                </a:lnTo>
                <a:lnTo>
                  <a:pt x="4978743" y="638906"/>
                </a:lnTo>
                <a:lnTo>
                  <a:pt x="4977550" y="642370"/>
                </a:lnTo>
                <a:lnTo>
                  <a:pt x="4971364" y="645293"/>
                </a:lnTo>
                <a:lnTo>
                  <a:pt x="4970496" y="647242"/>
                </a:lnTo>
                <a:lnTo>
                  <a:pt x="4972015" y="648974"/>
                </a:lnTo>
                <a:lnTo>
                  <a:pt x="4972015" y="653738"/>
                </a:lnTo>
                <a:lnTo>
                  <a:pt x="4968543" y="656878"/>
                </a:lnTo>
                <a:lnTo>
                  <a:pt x="4965830" y="655470"/>
                </a:lnTo>
                <a:lnTo>
                  <a:pt x="4962032" y="655470"/>
                </a:lnTo>
                <a:lnTo>
                  <a:pt x="4962032" y="658069"/>
                </a:lnTo>
                <a:lnTo>
                  <a:pt x="4965504" y="660343"/>
                </a:lnTo>
                <a:lnTo>
                  <a:pt x="4963551" y="663050"/>
                </a:lnTo>
                <a:lnTo>
                  <a:pt x="4957366" y="660668"/>
                </a:lnTo>
                <a:lnTo>
                  <a:pt x="4953242" y="657744"/>
                </a:lnTo>
                <a:lnTo>
                  <a:pt x="4950312" y="658611"/>
                </a:lnTo>
                <a:lnTo>
                  <a:pt x="4950312" y="664566"/>
                </a:lnTo>
                <a:lnTo>
                  <a:pt x="4953459" y="664566"/>
                </a:lnTo>
                <a:lnTo>
                  <a:pt x="4954653" y="665973"/>
                </a:lnTo>
                <a:lnTo>
                  <a:pt x="4952808" y="671170"/>
                </a:lnTo>
                <a:lnTo>
                  <a:pt x="4949552" y="672036"/>
                </a:lnTo>
                <a:lnTo>
                  <a:pt x="4945754" y="668572"/>
                </a:lnTo>
                <a:lnTo>
                  <a:pt x="4942282" y="668572"/>
                </a:lnTo>
                <a:lnTo>
                  <a:pt x="4947274" y="674743"/>
                </a:lnTo>
                <a:lnTo>
                  <a:pt x="4950855" y="679182"/>
                </a:lnTo>
                <a:lnTo>
                  <a:pt x="4950855" y="683621"/>
                </a:lnTo>
                <a:lnTo>
                  <a:pt x="4948142" y="688385"/>
                </a:lnTo>
                <a:lnTo>
                  <a:pt x="4948142" y="691308"/>
                </a:lnTo>
                <a:lnTo>
                  <a:pt x="4949987" y="693149"/>
                </a:lnTo>
                <a:lnTo>
                  <a:pt x="4949987" y="696288"/>
                </a:lnTo>
                <a:lnTo>
                  <a:pt x="4948793" y="698996"/>
                </a:lnTo>
                <a:lnTo>
                  <a:pt x="4944669" y="697804"/>
                </a:lnTo>
                <a:lnTo>
                  <a:pt x="4940220" y="695747"/>
                </a:lnTo>
                <a:lnTo>
                  <a:pt x="4939569" y="692282"/>
                </a:lnTo>
                <a:lnTo>
                  <a:pt x="4936313" y="688493"/>
                </a:lnTo>
                <a:lnTo>
                  <a:pt x="4934903" y="691092"/>
                </a:lnTo>
                <a:lnTo>
                  <a:pt x="4939569" y="697588"/>
                </a:lnTo>
                <a:lnTo>
                  <a:pt x="4944561" y="704301"/>
                </a:lnTo>
                <a:lnTo>
                  <a:pt x="4946406" y="711338"/>
                </a:lnTo>
                <a:lnTo>
                  <a:pt x="4944126" y="714478"/>
                </a:lnTo>
                <a:lnTo>
                  <a:pt x="4941739" y="713071"/>
                </a:lnTo>
                <a:lnTo>
                  <a:pt x="4941739" y="710147"/>
                </a:lnTo>
                <a:lnTo>
                  <a:pt x="4939135" y="706358"/>
                </a:lnTo>
                <a:lnTo>
                  <a:pt x="4935988" y="707441"/>
                </a:lnTo>
                <a:lnTo>
                  <a:pt x="4932190" y="706358"/>
                </a:lnTo>
                <a:lnTo>
                  <a:pt x="4929477" y="707765"/>
                </a:lnTo>
                <a:lnTo>
                  <a:pt x="4931213" y="710039"/>
                </a:lnTo>
                <a:lnTo>
                  <a:pt x="4934469" y="710039"/>
                </a:lnTo>
                <a:lnTo>
                  <a:pt x="4938918" y="711121"/>
                </a:lnTo>
                <a:lnTo>
                  <a:pt x="4941523" y="716968"/>
                </a:lnTo>
                <a:lnTo>
                  <a:pt x="4944777" y="719892"/>
                </a:lnTo>
                <a:lnTo>
                  <a:pt x="4944126" y="724222"/>
                </a:lnTo>
                <a:lnTo>
                  <a:pt x="4940980" y="729419"/>
                </a:lnTo>
                <a:lnTo>
                  <a:pt x="4940980" y="734616"/>
                </a:lnTo>
                <a:lnTo>
                  <a:pt x="4938592" y="740463"/>
                </a:lnTo>
                <a:lnTo>
                  <a:pt x="4935011" y="741329"/>
                </a:lnTo>
                <a:lnTo>
                  <a:pt x="4933817" y="743928"/>
                </a:lnTo>
                <a:lnTo>
                  <a:pt x="4926872" y="743928"/>
                </a:lnTo>
                <a:lnTo>
                  <a:pt x="4922858" y="741871"/>
                </a:lnTo>
                <a:lnTo>
                  <a:pt x="4920578" y="737215"/>
                </a:lnTo>
                <a:lnTo>
                  <a:pt x="4918517" y="736565"/>
                </a:lnTo>
                <a:lnTo>
                  <a:pt x="4918517" y="740030"/>
                </a:lnTo>
                <a:lnTo>
                  <a:pt x="4920578" y="742628"/>
                </a:lnTo>
                <a:lnTo>
                  <a:pt x="4916997" y="744686"/>
                </a:lnTo>
                <a:lnTo>
                  <a:pt x="4911680" y="743494"/>
                </a:lnTo>
                <a:lnTo>
                  <a:pt x="4909401" y="740788"/>
                </a:lnTo>
                <a:lnTo>
                  <a:pt x="4904952" y="739705"/>
                </a:lnTo>
                <a:lnTo>
                  <a:pt x="4899309" y="742304"/>
                </a:lnTo>
                <a:lnTo>
                  <a:pt x="4892472" y="745769"/>
                </a:lnTo>
                <a:lnTo>
                  <a:pt x="4885419" y="745769"/>
                </a:lnTo>
                <a:cubicBezTo>
                  <a:pt x="4885482" y="745012"/>
                  <a:pt x="4885482" y="744251"/>
                  <a:pt x="4885419" y="743494"/>
                </a:cubicBezTo>
                <a:lnTo>
                  <a:pt x="4886504" y="741546"/>
                </a:lnTo>
                <a:lnTo>
                  <a:pt x="4885202" y="737539"/>
                </a:lnTo>
                <a:lnTo>
                  <a:pt x="4886179" y="733426"/>
                </a:lnTo>
                <a:lnTo>
                  <a:pt x="4888783" y="729528"/>
                </a:lnTo>
                <a:lnTo>
                  <a:pt x="4895185" y="725738"/>
                </a:lnTo>
                <a:lnTo>
                  <a:pt x="4896813" y="723031"/>
                </a:lnTo>
                <a:lnTo>
                  <a:pt x="4899526" y="723031"/>
                </a:lnTo>
                <a:lnTo>
                  <a:pt x="4902456" y="725414"/>
                </a:lnTo>
                <a:lnTo>
                  <a:pt x="4904518" y="725414"/>
                </a:lnTo>
                <a:lnTo>
                  <a:pt x="4904518" y="723139"/>
                </a:lnTo>
                <a:lnTo>
                  <a:pt x="4902239" y="721082"/>
                </a:lnTo>
                <a:lnTo>
                  <a:pt x="4897356" y="721082"/>
                </a:lnTo>
                <a:lnTo>
                  <a:pt x="4892472" y="722815"/>
                </a:lnTo>
                <a:lnTo>
                  <a:pt x="4886396" y="727687"/>
                </a:lnTo>
                <a:lnTo>
                  <a:pt x="4883140" y="729528"/>
                </a:lnTo>
                <a:lnTo>
                  <a:pt x="4881946" y="732235"/>
                </a:lnTo>
                <a:lnTo>
                  <a:pt x="4879993" y="733534"/>
                </a:lnTo>
                <a:lnTo>
                  <a:pt x="4875652" y="731260"/>
                </a:lnTo>
                <a:lnTo>
                  <a:pt x="4870444" y="726063"/>
                </a:lnTo>
                <a:lnTo>
                  <a:pt x="4870444" y="724547"/>
                </a:lnTo>
                <a:lnTo>
                  <a:pt x="4874459" y="723465"/>
                </a:lnTo>
                <a:lnTo>
                  <a:pt x="4875870" y="721516"/>
                </a:lnTo>
                <a:lnTo>
                  <a:pt x="4875110" y="719783"/>
                </a:lnTo>
                <a:lnTo>
                  <a:pt x="4876520" y="715994"/>
                </a:lnTo>
                <a:lnTo>
                  <a:pt x="4879342" y="712529"/>
                </a:lnTo>
                <a:lnTo>
                  <a:pt x="4881513" y="712529"/>
                </a:lnTo>
                <a:lnTo>
                  <a:pt x="4884334" y="711880"/>
                </a:lnTo>
                <a:lnTo>
                  <a:pt x="4884985" y="709714"/>
                </a:lnTo>
                <a:lnTo>
                  <a:pt x="4883249" y="707657"/>
                </a:lnTo>
                <a:lnTo>
                  <a:pt x="4883249" y="705058"/>
                </a:lnTo>
                <a:lnTo>
                  <a:pt x="4885093" y="703326"/>
                </a:lnTo>
                <a:lnTo>
                  <a:pt x="4885853" y="700186"/>
                </a:lnTo>
                <a:lnTo>
                  <a:pt x="4888566" y="697480"/>
                </a:lnTo>
                <a:lnTo>
                  <a:pt x="4892690" y="697480"/>
                </a:lnTo>
                <a:lnTo>
                  <a:pt x="4896596" y="699862"/>
                </a:lnTo>
                <a:lnTo>
                  <a:pt x="4900828" y="699862"/>
                </a:lnTo>
                <a:lnTo>
                  <a:pt x="4905603" y="701919"/>
                </a:lnTo>
                <a:lnTo>
                  <a:pt x="4908751" y="705600"/>
                </a:lnTo>
                <a:lnTo>
                  <a:pt x="4908751" y="702568"/>
                </a:lnTo>
                <a:lnTo>
                  <a:pt x="4908751" y="701161"/>
                </a:lnTo>
                <a:lnTo>
                  <a:pt x="4904952" y="699645"/>
                </a:lnTo>
                <a:lnTo>
                  <a:pt x="4898333" y="695423"/>
                </a:lnTo>
                <a:lnTo>
                  <a:pt x="4892472" y="694665"/>
                </a:lnTo>
                <a:lnTo>
                  <a:pt x="4890954" y="693690"/>
                </a:lnTo>
                <a:lnTo>
                  <a:pt x="4890954" y="691200"/>
                </a:lnTo>
                <a:lnTo>
                  <a:pt x="4895728" y="690442"/>
                </a:lnTo>
                <a:lnTo>
                  <a:pt x="4898658" y="689359"/>
                </a:lnTo>
                <a:lnTo>
                  <a:pt x="4898658" y="687411"/>
                </a:lnTo>
                <a:lnTo>
                  <a:pt x="4893883" y="687411"/>
                </a:lnTo>
                <a:lnTo>
                  <a:pt x="4889759" y="688060"/>
                </a:lnTo>
                <a:lnTo>
                  <a:pt x="4887481" y="686436"/>
                </a:lnTo>
                <a:lnTo>
                  <a:pt x="4887481" y="683837"/>
                </a:lnTo>
                <a:lnTo>
                  <a:pt x="4890194" y="681889"/>
                </a:lnTo>
                <a:lnTo>
                  <a:pt x="4895837" y="681889"/>
                </a:lnTo>
                <a:lnTo>
                  <a:pt x="4901154" y="679615"/>
                </a:lnTo>
                <a:lnTo>
                  <a:pt x="4902239" y="677774"/>
                </a:lnTo>
                <a:lnTo>
                  <a:pt x="4900720" y="676258"/>
                </a:lnTo>
                <a:lnTo>
                  <a:pt x="4897573" y="677558"/>
                </a:lnTo>
                <a:lnTo>
                  <a:pt x="4894426" y="676908"/>
                </a:lnTo>
                <a:lnTo>
                  <a:pt x="4890736" y="674851"/>
                </a:lnTo>
                <a:lnTo>
                  <a:pt x="4889217" y="669870"/>
                </a:lnTo>
                <a:lnTo>
                  <a:pt x="4890954" y="666839"/>
                </a:lnTo>
                <a:lnTo>
                  <a:pt x="4893666" y="667922"/>
                </a:lnTo>
                <a:lnTo>
                  <a:pt x="4895837" y="665215"/>
                </a:lnTo>
                <a:lnTo>
                  <a:pt x="4901588" y="665215"/>
                </a:lnTo>
                <a:lnTo>
                  <a:pt x="4905278" y="664349"/>
                </a:lnTo>
                <a:lnTo>
                  <a:pt x="4906906" y="661101"/>
                </a:lnTo>
                <a:lnTo>
                  <a:pt x="4905494" y="659909"/>
                </a:lnTo>
                <a:lnTo>
                  <a:pt x="4902456" y="661967"/>
                </a:lnTo>
                <a:lnTo>
                  <a:pt x="4897681" y="661967"/>
                </a:lnTo>
                <a:lnTo>
                  <a:pt x="4895728" y="660560"/>
                </a:lnTo>
                <a:lnTo>
                  <a:pt x="4893666" y="660560"/>
                </a:lnTo>
                <a:lnTo>
                  <a:pt x="4891279" y="663374"/>
                </a:lnTo>
                <a:lnTo>
                  <a:pt x="4888349" y="661858"/>
                </a:lnTo>
                <a:lnTo>
                  <a:pt x="4887698" y="659585"/>
                </a:lnTo>
                <a:lnTo>
                  <a:pt x="4889977" y="654605"/>
                </a:lnTo>
                <a:lnTo>
                  <a:pt x="4889977" y="651464"/>
                </a:lnTo>
                <a:lnTo>
                  <a:pt x="4888457" y="650815"/>
                </a:lnTo>
                <a:lnTo>
                  <a:pt x="4885419" y="651789"/>
                </a:lnTo>
                <a:lnTo>
                  <a:pt x="4881187" y="648325"/>
                </a:lnTo>
                <a:lnTo>
                  <a:pt x="4880210" y="643128"/>
                </a:lnTo>
                <a:lnTo>
                  <a:pt x="4881513" y="637067"/>
                </a:lnTo>
                <a:lnTo>
                  <a:pt x="4883357" y="636093"/>
                </a:lnTo>
                <a:lnTo>
                  <a:pt x="4884551" y="639340"/>
                </a:lnTo>
                <a:lnTo>
                  <a:pt x="4887047" y="642478"/>
                </a:lnTo>
                <a:lnTo>
                  <a:pt x="4890411" y="644319"/>
                </a:lnTo>
                <a:lnTo>
                  <a:pt x="4894752" y="640639"/>
                </a:lnTo>
                <a:lnTo>
                  <a:pt x="4896813" y="636634"/>
                </a:lnTo>
                <a:lnTo>
                  <a:pt x="4896813" y="633277"/>
                </a:lnTo>
                <a:lnTo>
                  <a:pt x="4898115" y="630029"/>
                </a:lnTo>
                <a:lnTo>
                  <a:pt x="4903216" y="627322"/>
                </a:lnTo>
                <a:lnTo>
                  <a:pt x="4908967" y="628622"/>
                </a:lnTo>
                <a:lnTo>
                  <a:pt x="4911897" y="629704"/>
                </a:lnTo>
                <a:lnTo>
                  <a:pt x="4915044" y="627105"/>
                </a:lnTo>
                <a:lnTo>
                  <a:pt x="4915044" y="623100"/>
                </a:lnTo>
                <a:lnTo>
                  <a:pt x="4915804" y="620718"/>
                </a:lnTo>
                <a:lnTo>
                  <a:pt x="4914393" y="618769"/>
                </a:lnTo>
                <a:lnTo>
                  <a:pt x="4910920" y="619418"/>
                </a:lnTo>
                <a:lnTo>
                  <a:pt x="4908642" y="619418"/>
                </a:lnTo>
                <a:lnTo>
                  <a:pt x="4907882" y="615845"/>
                </a:lnTo>
                <a:lnTo>
                  <a:pt x="4908859" y="609674"/>
                </a:lnTo>
                <a:lnTo>
                  <a:pt x="4911463" y="607617"/>
                </a:lnTo>
                <a:lnTo>
                  <a:pt x="4918517" y="607617"/>
                </a:lnTo>
                <a:lnTo>
                  <a:pt x="4921990" y="604260"/>
                </a:lnTo>
                <a:lnTo>
                  <a:pt x="4919168" y="604260"/>
                </a:lnTo>
                <a:lnTo>
                  <a:pt x="4917865" y="602744"/>
                </a:lnTo>
                <a:lnTo>
                  <a:pt x="4918842" y="596140"/>
                </a:lnTo>
                <a:lnTo>
                  <a:pt x="4921555" y="593325"/>
                </a:lnTo>
                <a:lnTo>
                  <a:pt x="4925896" y="591917"/>
                </a:lnTo>
                <a:lnTo>
                  <a:pt x="4926547" y="589103"/>
                </a:lnTo>
                <a:lnTo>
                  <a:pt x="4929477" y="586720"/>
                </a:lnTo>
                <a:lnTo>
                  <a:pt x="4934794" y="586720"/>
                </a:lnTo>
                <a:lnTo>
                  <a:pt x="4936639" y="582930"/>
                </a:lnTo>
                <a:lnTo>
                  <a:pt x="4939026" y="580982"/>
                </a:lnTo>
                <a:lnTo>
                  <a:pt x="4935988" y="579466"/>
                </a:lnTo>
                <a:lnTo>
                  <a:pt x="4935988" y="576109"/>
                </a:lnTo>
                <a:lnTo>
                  <a:pt x="4939460" y="573620"/>
                </a:lnTo>
                <a:lnTo>
                  <a:pt x="4943367" y="568314"/>
                </a:lnTo>
                <a:lnTo>
                  <a:pt x="4946406" y="568314"/>
                </a:lnTo>
                <a:lnTo>
                  <a:pt x="4946406" y="571671"/>
                </a:lnTo>
                <a:lnTo>
                  <a:pt x="4944669" y="573620"/>
                </a:lnTo>
                <a:lnTo>
                  <a:pt x="4944669" y="576326"/>
                </a:lnTo>
                <a:lnTo>
                  <a:pt x="4946622" y="576976"/>
                </a:lnTo>
                <a:lnTo>
                  <a:pt x="4949552" y="572862"/>
                </a:lnTo>
                <a:lnTo>
                  <a:pt x="4951832" y="571996"/>
                </a:lnTo>
                <a:lnTo>
                  <a:pt x="4951832" y="569938"/>
                </a:lnTo>
                <a:lnTo>
                  <a:pt x="4949878" y="567991"/>
                </a:lnTo>
                <a:lnTo>
                  <a:pt x="4947165" y="561927"/>
                </a:lnTo>
                <a:lnTo>
                  <a:pt x="4948575" y="559436"/>
                </a:lnTo>
                <a:lnTo>
                  <a:pt x="4952048" y="558787"/>
                </a:lnTo>
                <a:lnTo>
                  <a:pt x="4953893" y="557055"/>
                </a:lnTo>
                <a:lnTo>
                  <a:pt x="4962900" y="554673"/>
                </a:lnTo>
                <a:lnTo>
                  <a:pt x="4970170" y="553914"/>
                </a:lnTo>
                <a:lnTo>
                  <a:pt x="4972450" y="557920"/>
                </a:lnTo>
                <a:lnTo>
                  <a:pt x="4973968" y="562034"/>
                </a:lnTo>
                <a:lnTo>
                  <a:pt x="4975488" y="560409"/>
                </a:lnTo>
                <a:lnTo>
                  <a:pt x="4974728" y="555105"/>
                </a:lnTo>
                <a:lnTo>
                  <a:pt x="4975488" y="551966"/>
                </a:lnTo>
                <a:lnTo>
                  <a:pt x="4977333" y="551966"/>
                </a:lnTo>
                <a:lnTo>
                  <a:pt x="4978852" y="555430"/>
                </a:lnTo>
                <a:lnTo>
                  <a:pt x="4980697" y="556730"/>
                </a:lnTo>
                <a:lnTo>
                  <a:pt x="4984278" y="554347"/>
                </a:lnTo>
                <a:lnTo>
                  <a:pt x="4988184" y="548392"/>
                </a:lnTo>
                <a:lnTo>
                  <a:pt x="4991765" y="545685"/>
                </a:lnTo>
                <a:lnTo>
                  <a:pt x="4995781" y="545685"/>
                </a:lnTo>
                <a:lnTo>
                  <a:pt x="4997625" y="546552"/>
                </a:lnTo>
                <a:lnTo>
                  <a:pt x="5000556" y="544170"/>
                </a:lnTo>
                <a:lnTo>
                  <a:pt x="5008803" y="538757"/>
                </a:lnTo>
                <a:lnTo>
                  <a:pt x="5011515" y="535184"/>
                </a:lnTo>
                <a:lnTo>
                  <a:pt x="5013795" y="533559"/>
                </a:lnTo>
                <a:lnTo>
                  <a:pt x="5013795" y="530095"/>
                </a:lnTo>
                <a:lnTo>
                  <a:pt x="5015856" y="527712"/>
                </a:lnTo>
                <a:lnTo>
                  <a:pt x="5019871" y="527712"/>
                </a:lnTo>
                <a:lnTo>
                  <a:pt x="5019871" y="524572"/>
                </a:lnTo>
                <a:lnTo>
                  <a:pt x="5017050" y="519809"/>
                </a:lnTo>
                <a:lnTo>
                  <a:pt x="5017050" y="517426"/>
                </a:lnTo>
                <a:lnTo>
                  <a:pt x="5020631" y="513530"/>
                </a:lnTo>
                <a:lnTo>
                  <a:pt x="5020631" y="510174"/>
                </a:lnTo>
                <a:lnTo>
                  <a:pt x="5023452" y="507250"/>
                </a:lnTo>
                <a:lnTo>
                  <a:pt x="5026925" y="506600"/>
                </a:lnTo>
                <a:lnTo>
                  <a:pt x="5029747" y="504327"/>
                </a:lnTo>
                <a:lnTo>
                  <a:pt x="5031048" y="500212"/>
                </a:lnTo>
                <a:lnTo>
                  <a:pt x="5036908" y="496423"/>
                </a:lnTo>
                <a:lnTo>
                  <a:pt x="5040924" y="495340"/>
                </a:lnTo>
                <a:lnTo>
                  <a:pt x="5044614" y="497072"/>
                </a:lnTo>
                <a:lnTo>
                  <a:pt x="5047543" y="498155"/>
                </a:lnTo>
                <a:lnTo>
                  <a:pt x="5048520" y="495773"/>
                </a:lnTo>
                <a:close/>
                <a:moveTo>
                  <a:pt x="6438510" y="490033"/>
                </a:moveTo>
                <a:lnTo>
                  <a:pt x="6440355" y="495338"/>
                </a:lnTo>
                <a:lnTo>
                  <a:pt x="6442091" y="498479"/>
                </a:lnTo>
                <a:lnTo>
                  <a:pt x="6440680" y="500752"/>
                </a:lnTo>
                <a:lnTo>
                  <a:pt x="6434277" y="502701"/>
                </a:lnTo>
                <a:lnTo>
                  <a:pt x="6434277" y="505300"/>
                </a:lnTo>
                <a:lnTo>
                  <a:pt x="6430045" y="503676"/>
                </a:lnTo>
                <a:lnTo>
                  <a:pt x="6425704" y="498046"/>
                </a:lnTo>
                <a:cubicBezTo>
                  <a:pt x="6427545" y="498226"/>
                  <a:pt x="6429398" y="498226"/>
                  <a:pt x="6431239" y="498046"/>
                </a:cubicBezTo>
                <a:lnTo>
                  <a:pt x="6435689" y="494907"/>
                </a:lnTo>
                <a:lnTo>
                  <a:pt x="6436557" y="490900"/>
                </a:lnTo>
                <a:close/>
                <a:moveTo>
                  <a:pt x="4275773" y="486678"/>
                </a:moveTo>
                <a:lnTo>
                  <a:pt x="4277509" y="487543"/>
                </a:lnTo>
                <a:lnTo>
                  <a:pt x="4279137" y="490141"/>
                </a:lnTo>
                <a:lnTo>
                  <a:pt x="4282827" y="490683"/>
                </a:lnTo>
                <a:lnTo>
                  <a:pt x="4284563" y="494365"/>
                </a:lnTo>
                <a:lnTo>
                  <a:pt x="4282935" y="498262"/>
                </a:lnTo>
                <a:lnTo>
                  <a:pt x="4280114" y="500104"/>
                </a:lnTo>
                <a:lnTo>
                  <a:pt x="4279462" y="506166"/>
                </a:lnTo>
                <a:lnTo>
                  <a:pt x="4280114" y="508765"/>
                </a:lnTo>
                <a:lnTo>
                  <a:pt x="4277184" y="511362"/>
                </a:lnTo>
                <a:lnTo>
                  <a:pt x="4274036" y="511362"/>
                </a:lnTo>
                <a:lnTo>
                  <a:pt x="4267743" y="515152"/>
                </a:lnTo>
                <a:lnTo>
                  <a:pt x="4265898" y="516994"/>
                </a:lnTo>
                <a:lnTo>
                  <a:pt x="4263511" y="516018"/>
                </a:lnTo>
                <a:lnTo>
                  <a:pt x="4260472" y="516452"/>
                </a:lnTo>
                <a:lnTo>
                  <a:pt x="4262534" y="512770"/>
                </a:lnTo>
                <a:lnTo>
                  <a:pt x="4260364" y="511362"/>
                </a:lnTo>
                <a:lnTo>
                  <a:pt x="4260689" y="508765"/>
                </a:lnTo>
                <a:lnTo>
                  <a:pt x="4259170" y="506275"/>
                </a:lnTo>
                <a:lnTo>
                  <a:pt x="4257325" y="502161"/>
                </a:lnTo>
                <a:lnTo>
                  <a:pt x="4252442" y="502052"/>
                </a:lnTo>
                <a:lnTo>
                  <a:pt x="4248427" y="499995"/>
                </a:lnTo>
                <a:lnTo>
                  <a:pt x="4251682" y="497829"/>
                </a:lnTo>
                <a:lnTo>
                  <a:pt x="4254395" y="494473"/>
                </a:lnTo>
                <a:lnTo>
                  <a:pt x="4258085" y="495230"/>
                </a:lnTo>
                <a:lnTo>
                  <a:pt x="4260038" y="493606"/>
                </a:lnTo>
                <a:lnTo>
                  <a:pt x="4260581" y="490900"/>
                </a:lnTo>
                <a:lnTo>
                  <a:pt x="4263945" y="488626"/>
                </a:lnTo>
                <a:lnTo>
                  <a:pt x="4266007" y="489600"/>
                </a:lnTo>
                <a:lnTo>
                  <a:pt x="4266657" y="491983"/>
                </a:lnTo>
                <a:lnTo>
                  <a:pt x="4273495" y="488843"/>
                </a:lnTo>
                <a:close/>
                <a:moveTo>
                  <a:pt x="4096829" y="479098"/>
                </a:moveTo>
                <a:lnTo>
                  <a:pt x="4099107" y="479856"/>
                </a:lnTo>
                <a:lnTo>
                  <a:pt x="4103773" y="485378"/>
                </a:lnTo>
                <a:lnTo>
                  <a:pt x="4103773" y="489925"/>
                </a:lnTo>
                <a:lnTo>
                  <a:pt x="4103122" y="494690"/>
                </a:lnTo>
                <a:lnTo>
                  <a:pt x="4106704" y="500103"/>
                </a:lnTo>
                <a:lnTo>
                  <a:pt x="4109308" y="502485"/>
                </a:lnTo>
                <a:lnTo>
                  <a:pt x="4111044" y="502485"/>
                </a:lnTo>
                <a:lnTo>
                  <a:pt x="4111695" y="503892"/>
                </a:lnTo>
                <a:lnTo>
                  <a:pt x="4113540" y="503892"/>
                </a:lnTo>
                <a:lnTo>
                  <a:pt x="4115168" y="508656"/>
                </a:lnTo>
                <a:lnTo>
                  <a:pt x="4118966" y="514828"/>
                </a:lnTo>
                <a:lnTo>
                  <a:pt x="4120376" y="519266"/>
                </a:lnTo>
                <a:lnTo>
                  <a:pt x="4119725" y="522191"/>
                </a:lnTo>
                <a:lnTo>
                  <a:pt x="4117446" y="522839"/>
                </a:lnTo>
                <a:cubicBezTo>
                  <a:pt x="4117446" y="522839"/>
                  <a:pt x="4115602" y="521215"/>
                  <a:pt x="4115602" y="521215"/>
                </a:cubicBezTo>
                <a:lnTo>
                  <a:pt x="4113323" y="515369"/>
                </a:lnTo>
                <a:lnTo>
                  <a:pt x="4111695" y="514503"/>
                </a:lnTo>
                <a:lnTo>
                  <a:pt x="4110068" y="510064"/>
                </a:lnTo>
                <a:lnTo>
                  <a:pt x="4105727" y="506708"/>
                </a:lnTo>
                <a:lnTo>
                  <a:pt x="4102146" y="506708"/>
                </a:lnTo>
                <a:lnTo>
                  <a:pt x="4099759" y="503135"/>
                </a:lnTo>
                <a:lnTo>
                  <a:pt x="4099759" y="495338"/>
                </a:lnTo>
                <a:lnTo>
                  <a:pt x="4097697" y="490900"/>
                </a:lnTo>
                <a:lnTo>
                  <a:pt x="4094984" y="487436"/>
                </a:lnTo>
                <a:lnTo>
                  <a:pt x="4094984" y="481589"/>
                </a:lnTo>
                <a:close/>
                <a:moveTo>
                  <a:pt x="2272773" y="473576"/>
                </a:moveTo>
                <a:lnTo>
                  <a:pt x="2273749" y="475091"/>
                </a:lnTo>
                <a:lnTo>
                  <a:pt x="2272773" y="477473"/>
                </a:lnTo>
                <a:lnTo>
                  <a:pt x="2271362" y="478231"/>
                </a:lnTo>
                <a:lnTo>
                  <a:pt x="2270928" y="474658"/>
                </a:lnTo>
                <a:close/>
                <a:moveTo>
                  <a:pt x="4346634" y="472277"/>
                </a:moveTo>
                <a:lnTo>
                  <a:pt x="4348045" y="472710"/>
                </a:lnTo>
                <a:lnTo>
                  <a:pt x="4348913" y="478016"/>
                </a:lnTo>
                <a:lnTo>
                  <a:pt x="4352494" y="481264"/>
                </a:lnTo>
                <a:lnTo>
                  <a:pt x="4352386" y="483754"/>
                </a:lnTo>
                <a:lnTo>
                  <a:pt x="4349130" y="487651"/>
                </a:lnTo>
                <a:lnTo>
                  <a:pt x="4346743" y="487003"/>
                </a:lnTo>
                <a:lnTo>
                  <a:pt x="4346417" y="483320"/>
                </a:lnTo>
                <a:lnTo>
                  <a:pt x="4344030" y="479424"/>
                </a:lnTo>
                <a:lnTo>
                  <a:pt x="4344030" y="475418"/>
                </a:lnTo>
                <a:lnTo>
                  <a:pt x="4345332" y="474226"/>
                </a:lnTo>
                <a:close/>
                <a:moveTo>
                  <a:pt x="2318240" y="469353"/>
                </a:moveTo>
                <a:lnTo>
                  <a:pt x="2324534" y="472276"/>
                </a:lnTo>
                <a:lnTo>
                  <a:pt x="2325619" y="476174"/>
                </a:lnTo>
                <a:lnTo>
                  <a:pt x="2327681" y="478557"/>
                </a:lnTo>
                <a:lnTo>
                  <a:pt x="2327681" y="483321"/>
                </a:lnTo>
                <a:lnTo>
                  <a:pt x="2331371" y="486677"/>
                </a:lnTo>
                <a:lnTo>
                  <a:pt x="2332781" y="491333"/>
                </a:lnTo>
                <a:lnTo>
                  <a:pt x="2331045" y="493065"/>
                </a:lnTo>
                <a:lnTo>
                  <a:pt x="2330937" y="499020"/>
                </a:lnTo>
                <a:lnTo>
                  <a:pt x="2328441" y="507032"/>
                </a:lnTo>
                <a:lnTo>
                  <a:pt x="2326813" y="508764"/>
                </a:lnTo>
                <a:lnTo>
                  <a:pt x="2323340" y="515261"/>
                </a:lnTo>
                <a:lnTo>
                  <a:pt x="2324426" y="520241"/>
                </a:lnTo>
                <a:lnTo>
                  <a:pt x="2322038" y="526520"/>
                </a:lnTo>
                <a:lnTo>
                  <a:pt x="2318023" y="527820"/>
                </a:lnTo>
                <a:lnTo>
                  <a:pt x="2319217" y="531067"/>
                </a:lnTo>
                <a:lnTo>
                  <a:pt x="2317915" y="532583"/>
                </a:lnTo>
                <a:lnTo>
                  <a:pt x="2316504" y="531067"/>
                </a:lnTo>
                <a:lnTo>
                  <a:pt x="2312163" y="531176"/>
                </a:lnTo>
                <a:lnTo>
                  <a:pt x="2306412" y="527711"/>
                </a:lnTo>
                <a:lnTo>
                  <a:pt x="2301963" y="527820"/>
                </a:lnTo>
                <a:lnTo>
                  <a:pt x="2300878" y="523164"/>
                </a:lnTo>
                <a:lnTo>
                  <a:pt x="2296428" y="524030"/>
                </a:lnTo>
                <a:lnTo>
                  <a:pt x="2295560" y="521756"/>
                </a:lnTo>
                <a:lnTo>
                  <a:pt x="2295886" y="515585"/>
                </a:lnTo>
                <a:lnTo>
                  <a:pt x="2292956" y="514935"/>
                </a:lnTo>
                <a:lnTo>
                  <a:pt x="2291219" y="517534"/>
                </a:lnTo>
                <a:lnTo>
                  <a:pt x="2289701" y="517751"/>
                </a:lnTo>
                <a:lnTo>
                  <a:pt x="2289158" y="513528"/>
                </a:lnTo>
                <a:lnTo>
                  <a:pt x="2287638" y="512445"/>
                </a:lnTo>
                <a:lnTo>
                  <a:pt x="2285685" y="513419"/>
                </a:lnTo>
                <a:lnTo>
                  <a:pt x="2282321" y="511363"/>
                </a:lnTo>
                <a:lnTo>
                  <a:pt x="2281670" y="509197"/>
                </a:lnTo>
                <a:lnTo>
                  <a:pt x="2283406" y="504325"/>
                </a:lnTo>
                <a:lnTo>
                  <a:pt x="2282321" y="503675"/>
                </a:lnTo>
                <a:lnTo>
                  <a:pt x="2279283" y="507140"/>
                </a:lnTo>
                <a:lnTo>
                  <a:pt x="2278197" y="506815"/>
                </a:lnTo>
                <a:lnTo>
                  <a:pt x="2278523" y="503892"/>
                </a:lnTo>
                <a:lnTo>
                  <a:pt x="2279500" y="501510"/>
                </a:lnTo>
                <a:lnTo>
                  <a:pt x="2277438" y="501077"/>
                </a:lnTo>
                <a:lnTo>
                  <a:pt x="2276570" y="499778"/>
                </a:lnTo>
                <a:lnTo>
                  <a:pt x="2277980" y="498261"/>
                </a:lnTo>
                <a:lnTo>
                  <a:pt x="2279934" y="493714"/>
                </a:lnTo>
                <a:lnTo>
                  <a:pt x="2283623" y="490358"/>
                </a:lnTo>
                <a:lnTo>
                  <a:pt x="2289049" y="488951"/>
                </a:lnTo>
                <a:lnTo>
                  <a:pt x="2294041" y="490683"/>
                </a:lnTo>
                <a:lnTo>
                  <a:pt x="2294258" y="488951"/>
                </a:lnTo>
                <a:lnTo>
                  <a:pt x="2293173" y="488517"/>
                </a:lnTo>
                <a:lnTo>
                  <a:pt x="2291002" y="483862"/>
                </a:lnTo>
                <a:lnTo>
                  <a:pt x="2293064" y="482563"/>
                </a:lnTo>
                <a:lnTo>
                  <a:pt x="2299250" y="481804"/>
                </a:lnTo>
                <a:lnTo>
                  <a:pt x="2299792" y="479964"/>
                </a:lnTo>
                <a:lnTo>
                  <a:pt x="2298165" y="478015"/>
                </a:lnTo>
                <a:lnTo>
                  <a:pt x="2294041" y="477907"/>
                </a:lnTo>
                <a:lnTo>
                  <a:pt x="2295669" y="475308"/>
                </a:lnTo>
                <a:lnTo>
                  <a:pt x="2299358" y="475633"/>
                </a:lnTo>
                <a:lnTo>
                  <a:pt x="2303265" y="478665"/>
                </a:lnTo>
                <a:lnTo>
                  <a:pt x="2305110" y="478881"/>
                </a:lnTo>
                <a:lnTo>
                  <a:pt x="2304893" y="476391"/>
                </a:lnTo>
                <a:lnTo>
                  <a:pt x="2302180" y="472926"/>
                </a:lnTo>
                <a:lnTo>
                  <a:pt x="2303590" y="470653"/>
                </a:lnTo>
                <a:lnTo>
                  <a:pt x="2309451" y="470111"/>
                </a:lnTo>
                <a:lnTo>
                  <a:pt x="2313574" y="471303"/>
                </a:lnTo>
                <a:close/>
                <a:moveTo>
                  <a:pt x="2286988" y="464264"/>
                </a:moveTo>
                <a:lnTo>
                  <a:pt x="2289592" y="465889"/>
                </a:lnTo>
                <a:lnTo>
                  <a:pt x="2290894" y="467295"/>
                </a:lnTo>
                <a:lnTo>
                  <a:pt x="2289700" y="469461"/>
                </a:lnTo>
                <a:lnTo>
                  <a:pt x="2289918" y="472385"/>
                </a:lnTo>
                <a:lnTo>
                  <a:pt x="2286988" y="473142"/>
                </a:lnTo>
                <a:lnTo>
                  <a:pt x="2285685" y="475199"/>
                </a:lnTo>
                <a:lnTo>
                  <a:pt x="2283949" y="475849"/>
                </a:lnTo>
                <a:lnTo>
                  <a:pt x="2281128" y="474117"/>
                </a:lnTo>
                <a:lnTo>
                  <a:pt x="2280260" y="467837"/>
                </a:lnTo>
                <a:lnTo>
                  <a:pt x="2282105" y="466538"/>
                </a:lnTo>
                <a:lnTo>
                  <a:pt x="2284058" y="464806"/>
                </a:lnTo>
                <a:close/>
                <a:moveTo>
                  <a:pt x="2295126" y="462315"/>
                </a:moveTo>
                <a:lnTo>
                  <a:pt x="2297514" y="464590"/>
                </a:lnTo>
                <a:lnTo>
                  <a:pt x="2299250" y="467838"/>
                </a:lnTo>
                <a:lnTo>
                  <a:pt x="2295343" y="471085"/>
                </a:lnTo>
                <a:lnTo>
                  <a:pt x="2293281" y="471410"/>
                </a:lnTo>
                <a:lnTo>
                  <a:pt x="2294040" y="468379"/>
                </a:lnTo>
                <a:lnTo>
                  <a:pt x="2292630" y="466646"/>
                </a:lnTo>
                <a:lnTo>
                  <a:pt x="2293390" y="462748"/>
                </a:lnTo>
                <a:close/>
                <a:moveTo>
                  <a:pt x="6954397" y="461018"/>
                </a:moveTo>
                <a:lnTo>
                  <a:pt x="6958630" y="464482"/>
                </a:lnTo>
                <a:lnTo>
                  <a:pt x="6960366" y="470653"/>
                </a:lnTo>
                <a:lnTo>
                  <a:pt x="6959063" y="472711"/>
                </a:lnTo>
                <a:lnTo>
                  <a:pt x="6956677" y="468164"/>
                </a:lnTo>
                <a:lnTo>
                  <a:pt x="6952770" y="462966"/>
                </a:lnTo>
                <a:lnTo>
                  <a:pt x="6952444" y="461125"/>
                </a:lnTo>
                <a:close/>
                <a:moveTo>
                  <a:pt x="4378536" y="459610"/>
                </a:moveTo>
                <a:lnTo>
                  <a:pt x="4379838" y="462207"/>
                </a:lnTo>
                <a:lnTo>
                  <a:pt x="4386675" y="462966"/>
                </a:lnTo>
                <a:lnTo>
                  <a:pt x="4389713" y="462641"/>
                </a:lnTo>
                <a:lnTo>
                  <a:pt x="4388303" y="465889"/>
                </a:lnTo>
                <a:lnTo>
                  <a:pt x="4384179" y="468162"/>
                </a:lnTo>
                <a:lnTo>
                  <a:pt x="4378536" y="465132"/>
                </a:lnTo>
                <a:lnTo>
                  <a:pt x="4375390" y="465132"/>
                </a:lnTo>
                <a:lnTo>
                  <a:pt x="4373110" y="466757"/>
                </a:lnTo>
                <a:lnTo>
                  <a:pt x="4370615" y="466863"/>
                </a:lnTo>
                <a:lnTo>
                  <a:pt x="4366600" y="471844"/>
                </a:lnTo>
                <a:lnTo>
                  <a:pt x="4364864" y="471520"/>
                </a:lnTo>
                <a:lnTo>
                  <a:pt x="4368445" y="464697"/>
                </a:lnTo>
                <a:lnTo>
                  <a:pt x="4372894" y="461666"/>
                </a:lnTo>
                <a:lnTo>
                  <a:pt x="4375390" y="461666"/>
                </a:lnTo>
                <a:close/>
                <a:moveTo>
                  <a:pt x="6944848" y="457335"/>
                </a:moveTo>
                <a:lnTo>
                  <a:pt x="6947778" y="458852"/>
                </a:lnTo>
                <a:lnTo>
                  <a:pt x="6949080" y="463940"/>
                </a:lnTo>
                <a:lnTo>
                  <a:pt x="6947778" y="464590"/>
                </a:lnTo>
                <a:lnTo>
                  <a:pt x="6946367" y="467188"/>
                </a:lnTo>
                <a:lnTo>
                  <a:pt x="6943329" y="465023"/>
                </a:lnTo>
                <a:lnTo>
                  <a:pt x="6940724" y="460042"/>
                </a:lnTo>
                <a:lnTo>
                  <a:pt x="6944197" y="458635"/>
                </a:lnTo>
                <a:close/>
                <a:moveTo>
                  <a:pt x="2290677" y="456902"/>
                </a:moveTo>
                <a:lnTo>
                  <a:pt x="2288615" y="459825"/>
                </a:lnTo>
                <a:lnTo>
                  <a:pt x="2286770" y="460908"/>
                </a:lnTo>
                <a:lnTo>
                  <a:pt x="2285902" y="459068"/>
                </a:lnTo>
                <a:lnTo>
                  <a:pt x="2288724" y="457119"/>
                </a:lnTo>
                <a:close/>
                <a:moveTo>
                  <a:pt x="4241264" y="455603"/>
                </a:moveTo>
                <a:lnTo>
                  <a:pt x="4249620" y="457336"/>
                </a:lnTo>
                <a:lnTo>
                  <a:pt x="4252333" y="460583"/>
                </a:lnTo>
                <a:lnTo>
                  <a:pt x="4252333" y="464807"/>
                </a:lnTo>
                <a:lnTo>
                  <a:pt x="4248101" y="466104"/>
                </a:lnTo>
                <a:lnTo>
                  <a:pt x="4243868" y="465781"/>
                </a:lnTo>
                <a:lnTo>
                  <a:pt x="4241047" y="462425"/>
                </a:lnTo>
                <a:lnTo>
                  <a:pt x="4239745" y="457878"/>
                </a:lnTo>
                <a:lnTo>
                  <a:pt x="4239745" y="456470"/>
                </a:lnTo>
                <a:close/>
                <a:moveTo>
                  <a:pt x="6953747" y="454197"/>
                </a:moveTo>
                <a:lnTo>
                  <a:pt x="6956786" y="454304"/>
                </a:lnTo>
                <a:lnTo>
                  <a:pt x="6958957" y="458093"/>
                </a:lnTo>
                <a:lnTo>
                  <a:pt x="6959174" y="461667"/>
                </a:lnTo>
                <a:lnTo>
                  <a:pt x="6956895" y="460583"/>
                </a:lnTo>
                <a:lnTo>
                  <a:pt x="6953422" y="456470"/>
                </a:lnTo>
                <a:close/>
                <a:moveTo>
                  <a:pt x="2300444" y="449539"/>
                </a:moveTo>
                <a:lnTo>
                  <a:pt x="2301203" y="450731"/>
                </a:lnTo>
                <a:lnTo>
                  <a:pt x="2298816" y="452246"/>
                </a:lnTo>
                <a:lnTo>
                  <a:pt x="2297731" y="454411"/>
                </a:lnTo>
                <a:lnTo>
                  <a:pt x="2295343" y="454953"/>
                </a:lnTo>
                <a:lnTo>
                  <a:pt x="2293716" y="452896"/>
                </a:lnTo>
                <a:lnTo>
                  <a:pt x="2295778" y="450405"/>
                </a:lnTo>
                <a:close/>
                <a:moveTo>
                  <a:pt x="5890175" y="449108"/>
                </a:moveTo>
                <a:lnTo>
                  <a:pt x="5893865" y="449973"/>
                </a:lnTo>
                <a:lnTo>
                  <a:pt x="5893973" y="453006"/>
                </a:lnTo>
                <a:lnTo>
                  <a:pt x="5896252" y="457985"/>
                </a:lnTo>
                <a:lnTo>
                  <a:pt x="5899182" y="461125"/>
                </a:lnTo>
                <a:lnTo>
                  <a:pt x="5899291" y="469246"/>
                </a:lnTo>
                <a:lnTo>
                  <a:pt x="5901895" y="471953"/>
                </a:lnTo>
                <a:lnTo>
                  <a:pt x="5901895" y="474877"/>
                </a:lnTo>
                <a:lnTo>
                  <a:pt x="5899508" y="476934"/>
                </a:lnTo>
                <a:lnTo>
                  <a:pt x="5898640" y="480724"/>
                </a:lnTo>
                <a:lnTo>
                  <a:pt x="5895167" y="482672"/>
                </a:lnTo>
                <a:lnTo>
                  <a:pt x="5892454" y="481049"/>
                </a:lnTo>
                <a:lnTo>
                  <a:pt x="5887137" y="479856"/>
                </a:lnTo>
                <a:lnTo>
                  <a:pt x="5875200" y="477150"/>
                </a:lnTo>
                <a:lnTo>
                  <a:pt x="5868472" y="476718"/>
                </a:lnTo>
                <a:lnTo>
                  <a:pt x="5866302" y="474010"/>
                </a:lnTo>
                <a:lnTo>
                  <a:pt x="5867061" y="472604"/>
                </a:lnTo>
                <a:lnTo>
                  <a:pt x="5871620" y="473036"/>
                </a:lnTo>
                <a:lnTo>
                  <a:pt x="5873681" y="470546"/>
                </a:lnTo>
                <a:lnTo>
                  <a:pt x="5872596" y="466648"/>
                </a:lnTo>
                <a:lnTo>
                  <a:pt x="5868689" y="464266"/>
                </a:lnTo>
                <a:lnTo>
                  <a:pt x="5867278" y="459177"/>
                </a:lnTo>
                <a:lnTo>
                  <a:pt x="5868472" y="457011"/>
                </a:lnTo>
                <a:lnTo>
                  <a:pt x="5873030" y="456794"/>
                </a:lnTo>
                <a:lnTo>
                  <a:pt x="5881385" y="451707"/>
                </a:lnTo>
                <a:close/>
                <a:moveTo>
                  <a:pt x="2328766" y="448998"/>
                </a:moveTo>
                <a:lnTo>
                  <a:pt x="2335277" y="448998"/>
                </a:lnTo>
                <a:lnTo>
                  <a:pt x="2332347" y="459284"/>
                </a:lnTo>
                <a:lnTo>
                  <a:pt x="2329851" y="463723"/>
                </a:lnTo>
                <a:lnTo>
                  <a:pt x="2328332" y="465455"/>
                </a:lnTo>
                <a:lnTo>
                  <a:pt x="2327464" y="461666"/>
                </a:lnTo>
                <a:lnTo>
                  <a:pt x="2325728" y="460367"/>
                </a:lnTo>
                <a:lnTo>
                  <a:pt x="2325728" y="458093"/>
                </a:lnTo>
                <a:lnTo>
                  <a:pt x="2327573" y="456469"/>
                </a:lnTo>
                <a:lnTo>
                  <a:pt x="2327573" y="451164"/>
                </a:lnTo>
                <a:close/>
                <a:moveTo>
                  <a:pt x="6959064" y="448675"/>
                </a:moveTo>
                <a:lnTo>
                  <a:pt x="6961561" y="448891"/>
                </a:lnTo>
                <a:lnTo>
                  <a:pt x="6963080" y="452788"/>
                </a:lnTo>
                <a:lnTo>
                  <a:pt x="6962103" y="456578"/>
                </a:lnTo>
                <a:lnTo>
                  <a:pt x="6960366" y="456794"/>
                </a:lnTo>
                <a:lnTo>
                  <a:pt x="6958304" y="450623"/>
                </a:lnTo>
                <a:close/>
                <a:moveTo>
                  <a:pt x="3656359" y="447265"/>
                </a:moveTo>
                <a:lnTo>
                  <a:pt x="3658530" y="448781"/>
                </a:lnTo>
                <a:lnTo>
                  <a:pt x="3657227" y="452246"/>
                </a:lnTo>
                <a:lnTo>
                  <a:pt x="3657662" y="457226"/>
                </a:lnTo>
                <a:lnTo>
                  <a:pt x="3655709" y="463182"/>
                </a:lnTo>
                <a:lnTo>
                  <a:pt x="3651476" y="466321"/>
                </a:lnTo>
                <a:lnTo>
                  <a:pt x="3651259" y="464264"/>
                </a:lnTo>
                <a:lnTo>
                  <a:pt x="3648981" y="460150"/>
                </a:lnTo>
                <a:lnTo>
                  <a:pt x="3652127" y="453220"/>
                </a:lnTo>
                <a:lnTo>
                  <a:pt x="3653321" y="449323"/>
                </a:lnTo>
                <a:close/>
                <a:moveTo>
                  <a:pt x="2758059" y="444452"/>
                </a:moveTo>
                <a:lnTo>
                  <a:pt x="2764787" y="447049"/>
                </a:lnTo>
                <a:lnTo>
                  <a:pt x="2770539" y="452030"/>
                </a:lnTo>
                <a:lnTo>
                  <a:pt x="2765005" y="455170"/>
                </a:lnTo>
                <a:lnTo>
                  <a:pt x="2760881" y="452679"/>
                </a:lnTo>
                <a:lnTo>
                  <a:pt x="2755346" y="452572"/>
                </a:lnTo>
                <a:lnTo>
                  <a:pt x="2750680" y="447049"/>
                </a:lnTo>
                <a:lnTo>
                  <a:pt x="2752416" y="444993"/>
                </a:lnTo>
                <a:close/>
                <a:moveTo>
                  <a:pt x="2774445" y="444342"/>
                </a:moveTo>
                <a:lnTo>
                  <a:pt x="2777593" y="445316"/>
                </a:lnTo>
                <a:lnTo>
                  <a:pt x="2781824" y="444342"/>
                </a:lnTo>
                <a:lnTo>
                  <a:pt x="2785623" y="448890"/>
                </a:lnTo>
                <a:lnTo>
                  <a:pt x="2788444" y="448890"/>
                </a:lnTo>
                <a:lnTo>
                  <a:pt x="2790940" y="452896"/>
                </a:lnTo>
                <a:lnTo>
                  <a:pt x="2787251" y="452896"/>
                </a:lnTo>
                <a:lnTo>
                  <a:pt x="2783452" y="451164"/>
                </a:lnTo>
                <a:lnTo>
                  <a:pt x="2776725" y="450514"/>
                </a:lnTo>
                <a:lnTo>
                  <a:pt x="2773903" y="446400"/>
                </a:lnTo>
                <a:close/>
                <a:moveTo>
                  <a:pt x="2209832" y="440986"/>
                </a:moveTo>
                <a:lnTo>
                  <a:pt x="2211568" y="442827"/>
                </a:lnTo>
                <a:lnTo>
                  <a:pt x="2210483" y="445208"/>
                </a:lnTo>
                <a:lnTo>
                  <a:pt x="2208747" y="443152"/>
                </a:lnTo>
                <a:close/>
                <a:moveTo>
                  <a:pt x="2332131" y="436872"/>
                </a:moveTo>
                <a:lnTo>
                  <a:pt x="2335712" y="436872"/>
                </a:lnTo>
                <a:cubicBezTo>
                  <a:pt x="2335284" y="438307"/>
                  <a:pt x="2334777" y="439716"/>
                  <a:pt x="2334193" y="441095"/>
                </a:cubicBezTo>
                <a:lnTo>
                  <a:pt x="2331263" y="438929"/>
                </a:lnTo>
                <a:close/>
                <a:moveTo>
                  <a:pt x="2161218" y="434599"/>
                </a:moveTo>
                <a:lnTo>
                  <a:pt x="2161326" y="439146"/>
                </a:lnTo>
                <a:lnTo>
                  <a:pt x="2162194" y="441745"/>
                </a:lnTo>
                <a:lnTo>
                  <a:pt x="2162194" y="447916"/>
                </a:lnTo>
                <a:lnTo>
                  <a:pt x="2161000" y="452247"/>
                </a:lnTo>
                <a:lnTo>
                  <a:pt x="2156768" y="455929"/>
                </a:lnTo>
                <a:lnTo>
                  <a:pt x="2152536" y="455712"/>
                </a:lnTo>
                <a:lnTo>
                  <a:pt x="2150257" y="457119"/>
                </a:lnTo>
                <a:lnTo>
                  <a:pt x="2146567" y="457119"/>
                </a:lnTo>
                <a:lnTo>
                  <a:pt x="2145157" y="453655"/>
                </a:lnTo>
                <a:lnTo>
                  <a:pt x="2141901" y="451381"/>
                </a:lnTo>
                <a:lnTo>
                  <a:pt x="2140491" y="449323"/>
                </a:lnTo>
                <a:lnTo>
                  <a:pt x="2141684" y="447808"/>
                </a:lnTo>
                <a:lnTo>
                  <a:pt x="2146676" y="446184"/>
                </a:lnTo>
                <a:lnTo>
                  <a:pt x="2148412" y="442610"/>
                </a:lnTo>
                <a:lnTo>
                  <a:pt x="2148412" y="440445"/>
                </a:lnTo>
                <a:lnTo>
                  <a:pt x="2155466" y="436547"/>
                </a:lnTo>
                <a:lnTo>
                  <a:pt x="2156768" y="434814"/>
                </a:lnTo>
                <a:close/>
                <a:moveTo>
                  <a:pt x="6115672" y="432542"/>
                </a:moveTo>
                <a:lnTo>
                  <a:pt x="6116215" y="436440"/>
                </a:lnTo>
                <a:lnTo>
                  <a:pt x="6115347" y="441746"/>
                </a:lnTo>
                <a:lnTo>
                  <a:pt x="6113068" y="443154"/>
                </a:lnTo>
                <a:lnTo>
                  <a:pt x="6111115" y="441204"/>
                </a:lnTo>
                <a:lnTo>
                  <a:pt x="6108836" y="441097"/>
                </a:lnTo>
                <a:lnTo>
                  <a:pt x="6107859" y="436981"/>
                </a:lnTo>
                <a:lnTo>
                  <a:pt x="6109270" y="435466"/>
                </a:lnTo>
                <a:close/>
                <a:moveTo>
                  <a:pt x="5545526" y="426912"/>
                </a:moveTo>
                <a:lnTo>
                  <a:pt x="5546827" y="431025"/>
                </a:lnTo>
                <a:lnTo>
                  <a:pt x="5545959" y="433301"/>
                </a:lnTo>
                <a:lnTo>
                  <a:pt x="5547479" y="433735"/>
                </a:lnTo>
                <a:lnTo>
                  <a:pt x="5547479" y="435683"/>
                </a:lnTo>
                <a:lnTo>
                  <a:pt x="5545742" y="438714"/>
                </a:lnTo>
                <a:lnTo>
                  <a:pt x="5542053" y="439579"/>
                </a:lnTo>
                <a:lnTo>
                  <a:pt x="5537278" y="438931"/>
                </a:lnTo>
                <a:lnTo>
                  <a:pt x="5534240" y="440013"/>
                </a:lnTo>
                <a:lnTo>
                  <a:pt x="5529790" y="440121"/>
                </a:lnTo>
                <a:lnTo>
                  <a:pt x="5527403" y="437848"/>
                </a:lnTo>
                <a:lnTo>
                  <a:pt x="5523822" y="438605"/>
                </a:lnTo>
                <a:lnTo>
                  <a:pt x="5522303" y="436767"/>
                </a:lnTo>
                <a:lnTo>
                  <a:pt x="5524473" y="433518"/>
                </a:lnTo>
                <a:lnTo>
                  <a:pt x="5528054" y="434060"/>
                </a:lnTo>
                <a:lnTo>
                  <a:pt x="5530442" y="432760"/>
                </a:lnTo>
                <a:lnTo>
                  <a:pt x="5532503" y="429944"/>
                </a:lnTo>
                <a:lnTo>
                  <a:pt x="5534348" y="430052"/>
                </a:lnTo>
                <a:lnTo>
                  <a:pt x="5535976" y="432218"/>
                </a:lnTo>
                <a:lnTo>
                  <a:pt x="5538363" y="432868"/>
                </a:lnTo>
                <a:lnTo>
                  <a:pt x="5539991" y="431892"/>
                </a:lnTo>
                <a:lnTo>
                  <a:pt x="5539232" y="429509"/>
                </a:lnTo>
                <a:lnTo>
                  <a:pt x="5541727" y="427129"/>
                </a:lnTo>
                <a:close/>
                <a:moveTo>
                  <a:pt x="2437067" y="415434"/>
                </a:moveTo>
                <a:lnTo>
                  <a:pt x="2444121" y="418467"/>
                </a:lnTo>
                <a:lnTo>
                  <a:pt x="2444880" y="423988"/>
                </a:lnTo>
                <a:lnTo>
                  <a:pt x="2441625" y="433299"/>
                </a:lnTo>
                <a:lnTo>
                  <a:pt x="2440539" y="436005"/>
                </a:lnTo>
                <a:lnTo>
                  <a:pt x="2441950" y="437738"/>
                </a:lnTo>
                <a:lnTo>
                  <a:pt x="2442818" y="441419"/>
                </a:lnTo>
                <a:lnTo>
                  <a:pt x="2440322" y="441527"/>
                </a:lnTo>
                <a:lnTo>
                  <a:pt x="2434788" y="439578"/>
                </a:lnTo>
                <a:lnTo>
                  <a:pt x="2434245" y="434923"/>
                </a:lnTo>
                <a:lnTo>
                  <a:pt x="2434897" y="426153"/>
                </a:lnTo>
                <a:lnTo>
                  <a:pt x="2433269" y="423879"/>
                </a:lnTo>
                <a:lnTo>
                  <a:pt x="2433160" y="418574"/>
                </a:lnTo>
                <a:lnTo>
                  <a:pt x="2432292" y="417383"/>
                </a:lnTo>
                <a:close/>
                <a:moveTo>
                  <a:pt x="2213631" y="411861"/>
                </a:moveTo>
                <a:lnTo>
                  <a:pt x="2216453" y="411970"/>
                </a:lnTo>
                <a:lnTo>
                  <a:pt x="2217429" y="414568"/>
                </a:lnTo>
                <a:lnTo>
                  <a:pt x="2213740" y="417167"/>
                </a:lnTo>
                <a:lnTo>
                  <a:pt x="2210158" y="417708"/>
                </a:lnTo>
                <a:lnTo>
                  <a:pt x="2204732" y="418249"/>
                </a:lnTo>
                <a:lnTo>
                  <a:pt x="2203430" y="420523"/>
                </a:lnTo>
                <a:lnTo>
                  <a:pt x="2198221" y="423988"/>
                </a:lnTo>
                <a:lnTo>
                  <a:pt x="2193447" y="421389"/>
                </a:lnTo>
                <a:lnTo>
                  <a:pt x="2189323" y="421174"/>
                </a:lnTo>
                <a:lnTo>
                  <a:pt x="2187369" y="422580"/>
                </a:lnTo>
                <a:lnTo>
                  <a:pt x="2185742" y="421389"/>
                </a:lnTo>
                <a:lnTo>
                  <a:pt x="2186284" y="419333"/>
                </a:lnTo>
                <a:lnTo>
                  <a:pt x="2189648" y="418142"/>
                </a:lnTo>
                <a:lnTo>
                  <a:pt x="2193230" y="417925"/>
                </a:lnTo>
                <a:lnTo>
                  <a:pt x="2198547" y="414568"/>
                </a:lnTo>
                <a:lnTo>
                  <a:pt x="2208422" y="412511"/>
                </a:lnTo>
                <a:lnTo>
                  <a:pt x="2210810" y="413053"/>
                </a:lnTo>
                <a:close/>
                <a:moveTo>
                  <a:pt x="1820366" y="410887"/>
                </a:moveTo>
                <a:lnTo>
                  <a:pt x="1833388" y="414784"/>
                </a:lnTo>
                <a:lnTo>
                  <a:pt x="1832086" y="419873"/>
                </a:lnTo>
                <a:lnTo>
                  <a:pt x="1835124" y="422363"/>
                </a:lnTo>
                <a:lnTo>
                  <a:pt x="1838271" y="427776"/>
                </a:lnTo>
                <a:lnTo>
                  <a:pt x="1850643" y="434382"/>
                </a:lnTo>
                <a:lnTo>
                  <a:pt x="1851402" y="437845"/>
                </a:lnTo>
                <a:lnTo>
                  <a:pt x="1848255" y="441202"/>
                </a:lnTo>
                <a:lnTo>
                  <a:pt x="1852053" y="440553"/>
                </a:lnTo>
                <a:lnTo>
                  <a:pt x="1856177" y="438495"/>
                </a:lnTo>
                <a:lnTo>
                  <a:pt x="1861060" y="441202"/>
                </a:lnTo>
                <a:lnTo>
                  <a:pt x="1859324" y="447482"/>
                </a:lnTo>
                <a:lnTo>
                  <a:pt x="1852813" y="454303"/>
                </a:lnTo>
                <a:lnTo>
                  <a:pt x="1853138" y="456794"/>
                </a:lnTo>
                <a:lnTo>
                  <a:pt x="1862470" y="450839"/>
                </a:lnTo>
                <a:lnTo>
                  <a:pt x="1862470" y="445424"/>
                </a:lnTo>
                <a:lnTo>
                  <a:pt x="1865835" y="442285"/>
                </a:lnTo>
                <a:lnTo>
                  <a:pt x="1872454" y="442935"/>
                </a:lnTo>
                <a:lnTo>
                  <a:pt x="1878640" y="440878"/>
                </a:lnTo>
                <a:lnTo>
                  <a:pt x="1881352" y="441960"/>
                </a:lnTo>
                <a:lnTo>
                  <a:pt x="1882763" y="446399"/>
                </a:lnTo>
                <a:lnTo>
                  <a:pt x="1891770" y="455710"/>
                </a:lnTo>
                <a:lnTo>
                  <a:pt x="1892747" y="467404"/>
                </a:lnTo>
                <a:lnTo>
                  <a:pt x="1890685" y="471843"/>
                </a:lnTo>
                <a:lnTo>
                  <a:pt x="1894157" y="479854"/>
                </a:lnTo>
                <a:lnTo>
                  <a:pt x="1893832" y="486676"/>
                </a:lnTo>
                <a:lnTo>
                  <a:pt x="1892096" y="489057"/>
                </a:lnTo>
                <a:lnTo>
                  <a:pt x="1894483" y="492198"/>
                </a:lnTo>
                <a:lnTo>
                  <a:pt x="1894483" y="497070"/>
                </a:lnTo>
                <a:lnTo>
                  <a:pt x="1895568" y="501509"/>
                </a:lnTo>
                <a:lnTo>
                  <a:pt x="1891444" y="507031"/>
                </a:lnTo>
                <a:lnTo>
                  <a:pt x="1882438" y="509088"/>
                </a:lnTo>
                <a:lnTo>
                  <a:pt x="1878965" y="511470"/>
                </a:lnTo>
                <a:lnTo>
                  <a:pt x="1868873" y="512661"/>
                </a:lnTo>
                <a:lnTo>
                  <a:pt x="1861711" y="512012"/>
                </a:lnTo>
                <a:lnTo>
                  <a:pt x="1848580" y="517858"/>
                </a:lnTo>
                <a:lnTo>
                  <a:pt x="1840116" y="518615"/>
                </a:lnTo>
                <a:lnTo>
                  <a:pt x="1829807" y="523379"/>
                </a:lnTo>
                <a:lnTo>
                  <a:pt x="1825683" y="523487"/>
                </a:lnTo>
                <a:lnTo>
                  <a:pt x="1820475" y="526953"/>
                </a:lnTo>
                <a:lnTo>
                  <a:pt x="1812228" y="527277"/>
                </a:lnTo>
                <a:lnTo>
                  <a:pt x="1808972" y="529551"/>
                </a:lnTo>
                <a:lnTo>
                  <a:pt x="1806476" y="526953"/>
                </a:lnTo>
                <a:lnTo>
                  <a:pt x="1803655" y="528360"/>
                </a:lnTo>
                <a:lnTo>
                  <a:pt x="1795516" y="530093"/>
                </a:lnTo>
                <a:lnTo>
                  <a:pt x="1793237" y="536264"/>
                </a:lnTo>
                <a:lnTo>
                  <a:pt x="1788896" y="540920"/>
                </a:lnTo>
                <a:lnTo>
                  <a:pt x="1786183" y="541136"/>
                </a:lnTo>
                <a:lnTo>
                  <a:pt x="1784447" y="547740"/>
                </a:lnTo>
                <a:lnTo>
                  <a:pt x="1778262" y="549148"/>
                </a:lnTo>
                <a:lnTo>
                  <a:pt x="1772945" y="554020"/>
                </a:lnTo>
                <a:lnTo>
                  <a:pt x="1766433" y="553479"/>
                </a:lnTo>
                <a:lnTo>
                  <a:pt x="1762310" y="547308"/>
                </a:lnTo>
                <a:lnTo>
                  <a:pt x="1759706" y="553262"/>
                </a:lnTo>
                <a:lnTo>
                  <a:pt x="1758946" y="558134"/>
                </a:lnTo>
                <a:lnTo>
                  <a:pt x="1753520" y="560191"/>
                </a:lnTo>
                <a:lnTo>
                  <a:pt x="1747443" y="566363"/>
                </a:lnTo>
                <a:lnTo>
                  <a:pt x="1746249" y="569936"/>
                </a:lnTo>
                <a:lnTo>
                  <a:pt x="1740715" y="575999"/>
                </a:lnTo>
                <a:lnTo>
                  <a:pt x="1741583" y="579248"/>
                </a:lnTo>
                <a:lnTo>
                  <a:pt x="1734638" y="585743"/>
                </a:lnTo>
                <a:lnTo>
                  <a:pt x="1730406" y="590724"/>
                </a:lnTo>
                <a:lnTo>
                  <a:pt x="1723352" y="590291"/>
                </a:lnTo>
                <a:lnTo>
                  <a:pt x="1717167" y="593323"/>
                </a:lnTo>
                <a:lnTo>
                  <a:pt x="1713151" y="593539"/>
                </a:lnTo>
                <a:lnTo>
                  <a:pt x="1710438" y="589209"/>
                </a:lnTo>
                <a:lnTo>
                  <a:pt x="1714020" y="586285"/>
                </a:lnTo>
                <a:lnTo>
                  <a:pt x="1713694" y="580438"/>
                </a:lnTo>
                <a:lnTo>
                  <a:pt x="1711090" y="577731"/>
                </a:lnTo>
                <a:lnTo>
                  <a:pt x="1707075" y="581305"/>
                </a:lnTo>
                <a:lnTo>
                  <a:pt x="1707292" y="583578"/>
                </a:lnTo>
                <a:lnTo>
                  <a:pt x="1704362" y="584878"/>
                </a:lnTo>
                <a:lnTo>
                  <a:pt x="1697308" y="591266"/>
                </a:lnTo>
                <a:lnTo>
                  <a:pt x="1691232" y="592781"/>
                </a:lnTo>
                <a:lnTo>
                  <a:pt x="1686999" y="592023"/>
                </a:lnTo>
                <a:lnTo>
                  <a:pt x="1682007" y="593431"/>
                </a:lnTo>
                <a:lnTo>
                  <a:pt x="1678209" y="597003"/>
                </a:lnTo>
                <a:lnTo>
                  <a:pt x="1675930" y="595921"/>
                </a:lnTo>
                <a:lnTo>
                  <a:pt x="1672132" y="596029"/>
                </a:lnTo>
                <a:lnTo>
                  <a:pt x="1672567" y="593756"/>
                </a:lnTo>
                <a:lnTo>
                  <a:pt x="1672567" y="584878"/>
                </a:lnTo>
                <a:lnTo>
                  <a:pt x="1676798" y="577190"/>
                </a:lnTo>
                <a:lnTo>
                  <a:pt x="1674736" y="571344"/>
                </a:lnTo>
                <a:lnTo>
                  <a:pt x="1676473" y="564847"/>
                </a:lnTo>
                <a:lnTo>
                  <a:pt x="1677124" y="559326"/>
                </a:lnTo>
                <a:lnTo>
                  <a:pt x="1673977" y="556620"/>
                </a:lnTo>
                <a:lnTo>
                  <a:pt x="1670179" y="543843"/>
                </a:lnTo>
                <a:lnTo>
                  <a:pt x="1675713" y="545575"/>
                </a:lnTo>
                <a:lnTo>
                  <a:pt x="1675713" y="541461"/>
                </a:lnTo>
                <a:lnTo>
                  <a:pt x="1667466" y="541461"/>
                </a:lnTo>
                <a:lnTo>
                  <a:pt x="1659544" y="538646"/>
                </a:lnTo>
                <a:lnTo>
                  <a:pt x="1659219" y="534532"/>
                </a:lnTo>
                <a:lnTo>
                  <a:pt x="1663017" y="535939"/>
                </a:lnTo>
                <a:lnTo>
                  <a:pt x="1667792" y="532150"/>
                </a:lnTo>
                <a:lnTo>
                  <a:pt x="1673977" y="529010"/>
                </a:lnTo>
                <a:lnTo>
                  <a:pt x="1674736" y="525220"/>
                </a:lnTo>
                <a:lnTo>
                  <a:pt x="1677450" y="525220"/>
                </a:lnTo>
                <a:lnTo>
                  <a:pt x="1681247" y="520781"/>
                </a:lnTo>
                <a:lnTo>
                  <a:pt x="1685372" y="520132"/>
                </a:lnTo>
                <a:lnTo>
                  <a:pt x="1687759" y="513202"/>
                </a:lnTo>
                <a:lnTo>
                  <a:pt x="1696766" y="511144"/>
                </a:lnTo>
                <a:lnTo>
                  <a:pt x="1697525" y="509088"/>
                </a:lnTo>
                <a:lnTo>
                  <a:pt x="1700564" y="507681"/>
                </a:lnTo>
                <a:lnTo>
                  <a:pt x="1704687" y="501509"/>
                </a:lnTo>
                <a:lnTo>
                  <a:pt x="1705447" y="493605"/>
                </a:lnTo>
                <a:lnTo>
                  <a:pt x="1706749" y="496312"/>
                </a:lnTo>
                <a:lnTo>
                  <a:pt x="1719879" y="498044"/>
                </a:lnTo>
                <a:lnTo>
                  <a:pt x="1720206" y="491548"/>
                </a:lnTo>
                <a:lnTo>
                  <a:pt x="1717493" y="484618"/>
                </a:lnTo>
                <a:lnTo>
                  <a:pt x="1717818" y="481154"/>
                </a:lnTo>
                <a:lnTo>
                  <a:pt x="1722701" y="479422"/>
                </a:lnTo>
                <a:lnTo>
                  <a:pt x="1733336" y="471518"/>
                </a:lnTo>
                <a:lnTo>
                  <a:pt x="1737894" y="465022"/>
                </a:lnTo>
                <a:lnTo>
                  <a:pt x="1747551" y="461557"/>
                </a:lnTo>
                <a:lnTo>
                  <a:pt x="1749613" y="457118"/>
                </a:lnTo>
                <a:lnTo>
                  <a:pt x="1755799" y="450839"/>
                </a:lnTo>
                <a:lnTo>
                  <a:pt x="1761333" y="450839"/>
                </a:lnTo>
                <a:lnTo>
                  <a:pt x="1764372" y="447157"/>
                </a:lnTo>
                <a:lnTo>
                  <a:pt x="1761007" y="442610"/>
                </a:lnTo>
                <a:lnTo>
                  <a:pt x="1762310" y="432974"/>
                </a:lnTo>
                <a:lnTo>
                  <a:pt x="1762310" y="426478"/>
                </a:lnTo>
                <a:lnTo>
                  <a:pt x="1764805" y="421930"/>
                </a:lnTo>
                <a:lnTo>
                  <a:pt x="1762744" y="419548"/>
                </a:lnTo>
                <a:lnTo>
                  <a:pt x="1764372" y="415759"/>
                </a:lnTo>
                <a:lnTo>
                  <a:pt x="1771642" y="413702"/>
                </a:lnTo>
                <a:lnTo>
                  <a:pt x="1775440" y="414784"/>
                </a:lnTo>
                <a:lnTo>
                  <a:pt x="1789981" y="413702"/>
                </a:lnTo>
                <a:lnTo>
                  <a:pt x="1793346" y="415434"/>
                </a:lnTo>
                <a:lnTo>
                  <a:pt x="1809298" y="415434"/>
                </a:lnTo>
                <a:close/>
                <a:moveTo>
                  <a:pt x="5499407" y="407425"/>
                </a:moveTo>
                <a:lnTo>
                  <a:pt x="5502553" y="409697"/>
                </a:lnTo>
                <a:lnTo>
                  <a:pt x="5502988" y="412188"/>
                </a:lnTo>
                <a:lnTo>
                  <a:pt x="5497995" y="414029"/>
                </a:lnTo>
                <a:lnTo>
                  <a:pt x="5493546" y="414462"/>
                </a:lnTo>
                <a:lnTo>
                  <a:pt x="5492244" y="412405"/>
                </a:lnTo>
                <a:lnTo>
                  <a:pt x="5497345" y="410564"/>
                </a:lnTo>
                <a:close/>
                <a:moveTo>
                  <a:pt x="2190843" y="403524"/>
                </a:moveTo>
                <a:lnTo>
                  <a:pt x="2196702" y="403957"/>
                </a:lnTo>
                <a:lnTo>
                  <a:pt x="2198330" y="405906"/>
                </a:lnTo>
                <a:lnTo>
                  <a:pt x="2202888" y="404716"/>
                </a:lnTo>
                <a:lnTo>
                  <a:pt x="2213522" y="403524"/>
                </a:lnTo>
                <a:lnTo>
                  <a:pt x="2216886" y="404390"/>
                </a:lnTo>
                <a:lnTo>
                  <a:pt x="2216778" y="407531"/>
                </a:lnTo>
                <a:lnTo>
                  <a:pt x="2212437" y="408180"/>
                </a:lnTo>
                <a:lnTo>
                  <a:pt x="2209181" y="409696"/>
                </a:lnTo>
                <a:lnTo>
                  <a:pt x="2207445" y="408288"/>
                </a:lnTo>
                <a:lnTo>
                  <a:pt x="2203213" y="408288"/>
                </a:lnTo>
                <a:lnTo>
                  <a:pt x="2198981" y="410345"/>
                </a:lnTo>
                <a:lnTo>
                  <a:pt x="2188021" y="407206"/>
                </a:lnTo>
                <a:lnTo>
                  <a:pt x="2187153" y="404932"/>
                </a:lnTo>
                <a:close/>
                <a:moveTo>
                  <a:pt x="5520025" y="402010"/>
                </a:moveTo>
                <a:lnTo>
                  <a:pt x="5522846" y="402010"/>
                </a:lnTo>
                <a:lnTo>
                  <a:pt x="5522521" y="407316"/>
                </a:lnTo>
                <a:lnTo>
                  <a:pt x="5524258" y="408723"/>
                </a:lnTo>
                <a:lnTo>
                  <a:pt x="5523823" y="412405"/>
                </a:lnTo>
                <a:lnTo>
                  <a:pt x="5521761" y="414786"/>
                </a:lnTo>
                <a:lnTo>
                  <a:pt x="5520568" y="410348"/>
                </a:lnTo>
                <a:lnTo>
                  <a:pt x="5518832" y="408940"/>
                </a:lnTo>
                <a:lnTo>
                  <a:pt x="5515901" y="411647"/>
                </a:lnTo>
                <a:lnTo>
                  <a:pt x="5513297" y="412620"/>
                </a:lnTo>
                <a:lnTo>
                  <a:pt x="5512537" y="410889"/>
                </a:lnTo>
                <a:lnTo>
                  <a:pt x="5516444" y="407857"/>
                </a:lnTo>
                <a:lnTo>
                  <a:pt x="5517746" y="404176"/>
                </a:lnTo>
                <a:close/>
                <a:moveTo>
                  <a:pt x="2681446" y="397678"/>
                </a:moveTo>
                <a:lnTo>
                  <a:pt x="2683833" y="401684"/>
                </a:lnTo>
                <a:lnTo>
                  <a:pt x="2679493" y="401900"/>
                </a:lnTo>
                <a:lnTo>
                  <a:pt x="2677648" y="398870"/>
                </a:lnTo>
                <a:close/>
                <a:moveTo>
                  <a:pt x="4175502" y="395513"/>
                </a:moveTo>
                <a:lnTo>
                  <a:pt x="4177238" y="396271"/>
                </a:lnTo>
                <a:lnTo>
                  <a:pt x="4181688" y="402334"/>
                </a:lnTo>
                <a:lnTo>
                  <a:pt x="4182664" y="407855"/>
                </a:lnTo>
                <a:lnTo>
                  <a:pt x="4184943" y="409480"/>
                </a:lnTo>
                <a:lnTo>
                  <a:pt x="4187005" y="405799"/>
                </a:lnTo>
                <a:lnTo>
                  <a:pt x="4190369" y="403634"/>
                </a:lnTo>
                <a:lnTo>
                  <a:pt x="4194058" y="406232"/>
                </a:lnTo>
                <a:lnTo>
                  <a:pt x="4198725" y="412945"/>
                </a:lnTo>
                <a:lnTo>
                  <a:pt x="4200678" y="418250"/>
                </a:lnTo>
                <a:lnTo>
                  <a:pt x="4200895" y="423556"/>
                </a:lnTo>
                <a:lnTo>
                  <a:pt x="4199050" y="426045"/>
                </a:lnTo>
                <a:lnTo>
                  <a:pt x="4198833" y="436223"/>
                </a:lnTo>
                <a:lnTo>
                  <a:pt x="4198942" y="442179"/>
                </a:lnTo>
                <a:lnTo>
                  <a:pt x="4198616" y="444560"/>
                </a:lnTo>
                <a:lnTo>
                  <a:pt x="4200244" y="445426"/>
                </a:lnTo>
                <a:lnTo>
                  <a:pt x="4203283" y="442611"/>
                </a:lnTo>
                <a:lnTo>
                  <a:pt x="4203174" y="436764"/>
                </a:lnTo>
                <a:lnTo>
                  <a:pt x="4202306" y="427996"/>
                </a:lnTo>
                <a:lnTo>
                  <a:pt x="4203499" y="423664"/>
                </a:lnTo>
                <a:lnTo>
                  <a:pt x="4206647" y="421281"/>
                </a:lnTo>
                <a:lnTo>
                  <a:pt x="4212615" y="426370"/>
                </a:lnTo>
                <a:lnTo>
                  <a:pt x="4216196" y="435248"/>
                </a:lnTo>
                <a:lnTo>
                  <a:pt x="4219235" y="446076"/>
                </a:lnTo>
                <a:lnTo>
                  <a:pt x="4219343" y="449215"/>
                </a:lnTo>
                <a:lnTo>
                  <a:pt x="4222164" y="452356"/>
                </a:lnTo>
                <a:lnTo>
                  <a:pt x="4227047" y="452680"/>
                </a:lnTo>
                <a:lnTo>
                  <a:pt x="4229435" y="453872"/>
                </a:lnTo>
                <a:lnTo>
                  <a:pt x="4235078" y="460583"/>
                </a:lnTo>
                <a:lnTo>
                  <a:pt x="4237900" y="462966"/>
                </a:lnTo>
                <a:lnTo>
                  <a:pt x="4244085" y="469462"/>
                </a:lnTo>
                <a:lnTo>
                  <a:pt x="4249185" y="472277"/>
                </a:lnTo>
                <a:lnTo>
                  <a:pt x="4259494" y="474876"/>
                </a:lnTo>
                <a:lnTo>
                  <a:pt x="4262858" y="475850"/>
                </a:lnTo>
                <a:lnTo>
                  <a:pt x="4263075" y="481264"/>
                </a:lnTo>
                <a:lnTo>
                  <a:pt x="4261556" y="483862"/>
                </a:lnTo>
                <a:lnTo>
                  <a:pt x="4260796" y="487003"/>
                </a:lnTo>
                <a:lnTo>
                  <a:pt x="4258843" y="487544"/>
                </a:lnTo>
                <a:lnTo>
                  <a:pt x="4256238" y="483104"/>
                </a:lnTo>
                <a:lnTo>
                  <a:pt x="4251464" y="485270"/>
                </a:lnTo>
                <a:lnTo>
                  <a:pt x="4248100" y="484729"/>
                </a:lnTo>
                <a:lnTo>
                  <a:pt x="4241589" y="489925"/>
                </a:lnTo>
                <a:lnTo>
                  <a:pt x="4237032" y="490250"/>
                </a:lnTo>
                <a:lnTo>
                  <a:pt x="4236272" y="491983"/>
                </a:lnTo>
                <a:lnTo>
                  <a:pt x="4237791" y="494582"/>
                </a:lnTo>
                <a:lnTo>
                  <a:pt x="4237574" y="497287"/>
                </a:lnTo>
                <a:lnTo>
                  <a:pt x="4232365" y="501727"/>
                </a:lnTo>
                <a:lnTo>
                  <a:pt x="4231497" y="504217"/>
                </a:lnTo>
                <a:lnTo>
                  <a:pt x="4232799" y="509955"/>
                </a:lnTo>
                <a:lnTo>
                  <a:pt x="4233016" y="518619"/>
                </a:lnTo>
                <a:lnTo>
                  <a:pt x="4232040" y="522406"/>
                </a:lnTo>
                <a:lnTo>
                  <a:pt x="4232473" y="527820"/>
                </a:lnTo>
                <a:lnTo>
                  <a:pt x="4233559" y="529661"/>
                </a:lnTo>
                <a:lnTo>
                  <a:pt x="4231388" y="533125"/>
                </a:lnTo>
                <a:lnTo>
                  <a:pt x="4227047" y="531285"/>
                </a:lnTo>
                <a:lnTo>
                  <a:pt x="4225202" y="532584"/>
                </a:lnTo>
                <a:lnTo>
                  <a:pt x="4224769" y="537673"/>
                </a:lnTo>
                <a:lnTo>
                  <a:pt x="4228133" y="543520"/>
                </a:lnTo>
                <a:lnTo>
                  <a:pt x="4228133" y="548608"/>
                </a:lnTo>
                <a:lnTo>
                  <a:pt x="4226722" y="553805"/>
                </a:lnTo>
                <a:lnTo>
                  <a:pt x="4226831" y="560085"/>
                </a:lnTo>
                <a:lnTo>
                  <a:pt x="4226397" y="564740"/>
                </a:lnTo>
                <a:lnTo>
                  <a:pt x="4224552" y="564849"/>
                </a:lnTo>
                <a:lnTo>
                  <a:pt x="4219560" y="564307"/>
                </a:lnTo>
                <a:lnTo>
                  <a:pt x="4215654" y="567664"/>
                </a:lnTo>
                <a:lnTo>
                  <a:pt x="4219994" y="569830"/>
                </a:lnTo>
                <a:lnTo>
                  <a:pt x="4219235" y="571670"/>
                </a:lnTo>
                <a:lnTo>
                  <a:pt x="4216196" y="574701"/>
                </a:lnTo>
                <a:lnTo>
                  <a:pt x="4216196" y="578167"/>
                </a:lnTo>
                <a:lnTo>
                  <a:pt x="4215545" y="582173"/>
                </a:lnTo>
                <a:lnTo>
                  <a:pt x="4215111" y="597006"/>
                </a:lnTo>
                <a:lnTo>
                  <a:pt x="4213266" y="600903"/>
                </a:lnTo>
                <a:lnTo>
                  <a:pt x="4211095" y="603826"/>
                </a:lnTo>
                <a:lnTo>
                  <a:pt x="4211747" y="609240"/>
                </a:lnTo>
                <a:lnTo>
                  <a:pt x="4213808" y="615303"/>
                </a:lnTo>
                <a:lnTo>
                  <a:pt x="4213808" y="618335"/>
                </a:lnTo>
                <a:lnTo>
                  <a:pt x="4212615" y="619526"/>
                </a:lnTo>
                <a:lnTo>
                  <a:pt x="4211964" y="624614"/>
                </a:lnTo>
                <a:lnTo>
                  <a:pt x="4209034" y="628837"/>
                </a:lnTo>
                <a:lnTo>
                  <a:pt x="4205344" y="629487"/>
                </a:lnTo>
                <a:lnTo>
                  <a:pt x="4202740" y="626671"/>
                </a:lnTo>
                <a:lnTo>
                  <a:pt x="4200895" y="627322"/>
                </a:lnTo>
                <a:lnTo>
                  <a:pt x="4199593" y="629487"/>
                </a:lnTo>
                <a:lnTo>
                  <a:pt x="4197965" y="629811"/>
                </a:lnTo>
                <a:lnTo>
                  <a:pt x="4197206" y="626346"/>
                </a:lnTo>
                <a:lnTo>
                  <a:pt x="4197640" y="620175"/>
                </a:lnTo>
                <a:lnTo>
                  <a:pt x="4196012" y="617793"/>
                </a:lnTo>
                <a:lnTo>
                  <a:pt x="4193625" y="616602"/>
                </a:lnTo>
                <a:lnTo>
                  <a:pt x="4186245" y="609348"/>
                </a:lnTo>
                <a:lnTo>
                  <a:pt x="4186245" y="606966"/>
                </a:lnTo>
                <a:lnTo>
                  <a:pt x="4190369" y="603611"/>
                </a:lnTo>
                <a:lnTo>
                  <a:pt x="4192431" y="603502"/>
                </a:lnTo>
                <a:lnTo>
                  <a:pt x="4194167" y="601553"/>
                </a:lnTo>
                <a:lnTo>
                  <a:pt x="4194602" y="598630"/>
                </a:lnTo>
                <a:lnTo>
                  <a:pt x="4193082" y="597655"/>
                </a:lnTo>
                <a:lnTo>
                  <a:pt x="4190477" y="597980"/>
                </a:lnTo>
                <a:lnTo>
                  <a:pt x="4188959" y="596032"/>
                </a:lnTo>
                <a:lnTo>
                  <a:pt x="4187114" y="596032"/>
                </a:lnTo>
                <a:lnTo>
                  <a:pt x="4185377" y="599495"/>
                </a:lnTo>
                <a:lnTo>
                  <a:pt x="4180386" y="601228"/>
                </a:lnTo>
                <a:lnTo>
                  <a:pt x="4175177" y="597114"/>
                </a:lnTo>
                <a:lnTo>
                  <a:pt x="4175068" y="593649"/>
                </a:lnTo>
                <a:lnTo>
                  <a:pt x="4173332" y="592999"/>
                </a:lnTo>
                <a:lnTo>
                  <a:pt x="4170727" y="589860"/>
                </a:lnTo>
                <a:lnTo>
                  <a:pt x="4167798" y="589101"/>
                </a:lnTo>
                <a:lnTo>
                  <a:pt x="4166604" y="589209"/>
                </a:lnTo>
                <a:lnTo>
                  <a:pt x="4164325" y="586612"/>
                </a:lnTo>
                <a:lnTo>
                  <a:pt x="4164108" y="584338"/>
                </a:lnTo>
                <a:lnTo>
                  <a:pt x="4161395" y="581631"/>
                </a:lnTo>
                <a:lnTo>
                  <a:pt x="4159768" y="581848"/>
                </a:lnTo>
                <a:lnTo>
                  <a:pt x="4159008" y="580441"/>
                </a:lnTo>
                <a:lnTo>
                  <a:pt x="4158682" y="577408"/>
                </a:lnTo>
                <a:lnTo>
                  <a:pt x="4155319" y="575351"/>
                </a:lnTo>
                <a:lnTo>
                  <a:pt x="4154775" y="573619"/>
                </a:lnTo>
                <a:lnTo>
                  <a:pt x="4154884" y="571670"/>
                </a:lnTo>
                <a:lnTo>
                  <a:pt x="4153907" y="571128"/>
                </a:lnTo>
                <a:lnTo>
                  <a:pt x="4154993" y="568206"/>
                </a:lnTo>
                <a:lnTo>
                  <a:pt x="4154884" y="565823"/>
                </a:lnTo>
                <a:lnTo>
                  <a:pt x="4152388" y="563008"/>
                </a:lnTo>
                <a:lnTo>
                  <a:pt x="4152497" y="561601"/>
                </a:lnTo>
                <a:lnTo>
                  <a:pt x="4158140" y="557812"/>
                </a:lnTo>
                <a:lnTo>
                  <a:pt x="4160527" y="558028"/>
                </a:lnTo>
                <a:lnTo>
                  <a:pt x="4163131" y="561817"/>
                </a:lnTo>
                <a:lnTo>
                  <a:pt x="4165085" y="563550"/>
                </a:lnTo>
                <a:lnTo>
                  <a:pt x="4166279" y="563550"/>
                </a:lnTo>
                <a:lnTo>
                  <a:pt x="4167580" y="561492"/>
                </a:lnTo>
                <a:lnTo>
                  <a:pt x="4171704" y="562575"/>
                </a:lnTo>
                <a:lnTo>
                  <a:pt x="4173875" y="563767"/>
                </a:lnTo>
                <a:lnTo>
                  <a:pt x="4177456" y="563116"/>
                </a:lnTo>
                <a:lnTo>
                  <a:pt x="4185594" y="562575"/>
                </a:lnTo>
                <a:lnTo>
                  <a:pt x="4185920" y="560301"/>
                </a:lnTo>
                <a:lnTo>
                  <a:pt x="4181471" y="557162"/>
                </a:lnTo>
                <a:lnTo>
                  <a:pt x="4177673" y="557487"/>
                </a:lnTo>
                <a:lnTo>
                  <a:pt x="4171379" y="556404"/>
                </a:lnTo>
                <a:lnTo>
                  <a:pt x="4167038" y="554563"/>
                </a:lnTo>
                <a:lnTo>
                  <a:pt x="4167038" y="553047"/>
                </a:lnTo>
                <a:lnTo>
                  <a:pt x="4170836" y="552073"/>
                </a:lnTo>
                <a:lnTo>
                  <a:pt x="4174200" y="551966"/>
                </a:lnTo>
                <a:lnTo>
                  <a:pt x="4181796" y="548608"/>
                </a:lnTo>
                <a:lnTo>
                  <a:pt x="4185703" y="546119"/>
                </a:lnTo>
                <a:lnTo>
                  <a:pt x="4191889" y="546551"/>
                </a:lnTo>
                <a:lnTo>
                  <a:pt x="4194927" y="545035"/>
                </a:lnTo>
                <a:lnTo>
                  <a:pt x="4196771" y="544927"/>
                </a:lnTo>
                <a:lnTo>
                  <a:pt x="4197748" y="545793"/>
                </a:lnTo>
                <a:lnTo>
                  <a:pt x="4198291" y="542545"/>
                </a:lnTo>
                <a:lnTo>
                  <a:pt x="4200678" y="540704"/>
                </a:lnTo>
                <a:lnTo>
                  <a:pt x="4200786" y="538323"/>
                </a:lnTo>
                <a:lnTo>
                  <a:pt x="4198725" y="537565"/>
                </a:lnTo>
                <a:lnTo>
                  <a:pt x="4195252" y="539947"/>
                </a:lnTo>
                <a:lnTo>
                  <a:pt x="4192865" y="542220"/>
                </a:lnTo>
                <a:lnTo>
                  <a:pt x="4183532" y="542220"/>
                </a:lnTo>
                <a:lnTo>
                  <a:pt x="4181037" y="542436"/>
                </a:lnTo>
                <a:lnTo>
                  <a:pt x="4180060" y="541030"/>
                </a:lnTo>
                <a:lnTo>
                  <a:pt x="4176153" y="541030"/>
                </a:lnTo>
                <a:lnTo>
                  <a:pt x="4174525" y="542327"/>
                </a:lnTo>
                <a:lnTo>
                  <a:pt x="4173224" y="542653"/>
                </a:lnTo>
                <a:lnTo>
                  <a:pt x="4169859" y="546984"/>
                </a:lnTo>
                <a:lnTo>
                  <a:pt x="4166061" y="547634"/>
                </a:lnTo>
                <a:lnTo>
                  <a:pt x="4163240" y="547201"/>
                </a:lnTo>
                <a:lnTo>
                  <a:pt x="4161070" y="548608"/>
                </a:lnTo>
                <a:lnTo>
                  <a:pt x="4156187" y="549149"/>
                </a:lnTo>
                <a:lnTo>
                  <a:pt x="4152714" y="551099"/>
                </a:lnTo>
                <a:lnTo>
                  <a:pt x="4149350" y="551207"/>
                </a:lnTo>
                <a:lnTo>
                  <a:pt x="4147939" y="550016"/>
                </a:lnTo>
                <a:lnTo>
                  <a:pt x="4147614" y="543737"/>
                </a:lnTo>
                <a:lnTo>
                  <a:pt x="4146202" y="536807"/>
                </a:lnTo>
                <a:lnTo>
                  <a:pt x="4146854" y="534749"/>
                </a:lnTo>
                <a:lnTo>
                  <a:pt x="4147071" y="532584"/>
                </a:lnTo>
                <a:lnTo>
                  <a:pt x="4149784" y="531068"/>
                </a:lnTo>
                <a:lnTo>
                  <a:pt x="4152931" y="529553"/>
                </a:lnTo>
                <a:lnTo>
                  <a:pt x="4154450" y="531177"/>
                </a:lnTo>
                <a:lnTo>
                  <a:pt x="4155427" y="534209"/>
                </a:lnTo>
                <a:lnTo>
                  <a:pt x="4157055" y="533884"/>
                </a:lnTo>
                <a:lnTo>
                  <a:pt x="4158140" y="529986"/>
                </a:lnTo>
                <a:lnTo>
                  <a:pt x="4162154" y="527604"/>
                </a:lnTo>
                <a:lnTo>
                  <a:pt x="4164216" y="528254"/>
                </a:lnTo>
                <a:lnTo>
                  <a:pt x="4167038" y="524464"/>
                </a:lnTo>
                <a:lnTo>
                  <a:pt x="4171053" y="520024"/>
                </a:lnTo>
                <a:lnTo>
                  <a:pt x="4175502" y="518292"/>
                </a:lnTo>
                <a:lnTo>
                  <a:pt x="4174852" y="515369"/>
                </a:lnTo>
                <a:lnTo>
                  <a:pt x="4176262" y="513095"/>
                </a:lnTo>
                <a:lnTo>
                  <a:pt x="4182339" y="510606"/>
                </a:lnTo>
                <a:lnTo>
                  <a:pt x="4189827" y="510172"/>
                </a:lnTo>
                <a:lnTo>
                  <a:pt x="4193625" y="506816"/>
                </a:lnTo>
                <a:lnTo>
                  <a:pt x="4197748" y="505300"/>
                </a:lnTo>
                <a:lnTo>
                  <a:pt x="4200244" y="502918"/>
                </a:lnTo>
                <a:lnTo>
                  <a:pt x="4200353" y="500753"/>
                </a:lnTo>
                <a:lnTo>
                  <a:pt x="4197748" y="500753"/>
                </a:lnTo>
                <a:lnTo>
                  <a:pt x="4194384" y="504108"/>
                </a:lnTo>
                <a:lnTo>
                  <a:pt x="4190586" y="504867"/>
                </a:lnTo>
                <a:lnTo>
                  <a:pt x="4187222" y="503135"/>
                </a:lnTo>
                <a:lnTo>
                  <a:pt x="4187331" y="499778"/>
                </a:lnTo>
                <a:lnTo>
                  <a:pt x="4189501" y="495123"/>
                </a:lnTo>
                <a:lnTo>
                  <a:pt x="4189827" y="489708"/>
                </a:lnTo>
                <a:lnTo>
                  <a:pt x="4187765" y="486353"/>
                </a:lnTo>
                <a:lnTo>
                  <a:pt x="4185594" y="486244"/>
                </a:lnTo>
                <a:lnTo>
                  <a:pt x="4184292" y="488734"/>
                </a:lnTo>
                <a:lnTo>
                  <a:pt x="4184401" y="493931"/>
                </a:lnTo>
                <a:lnTo>
                  <a:pt x="4182990" y="498371"/>
                </a:lnTo>
                <a:lnTo>
                  <a:pt x="4176262" y="505191"/>
                </a:lnTo>
                <a:lnTo>
                  <a:pt x="4172464" y="506165"/>
                </a:lnTo>
                <a:lnTo>
                  <a:pt x="4170402" y="504867"/>
                </a:lnTo>
                <a:lnTo>
                  <a:pt x="4169317" y="498587"/>
                </a:lnTo>
                <a:lnTo>
                  <a:pt x="4169968" y="496422"/>
                </a:lnTo>
                <a:lnTo>
                  <a:pt x="4172572" y="493390"/>
                </a:lnTo>
                <a:lnTo>
                  <a:pt x="4172572" y="490575"/>
                </a:lnTo>
                <a:lnTo>
                  <a:pt x="4171053" y="488193"/>
                </a:lnTo>
                <a:lnTo>
                  <a:pt x="4170402" y="482347"/>
                </a:lnTo>
                <a:lnTo>
                  <a:pt x="4168883" y="479639"/>
                </a:lnTo>
                <a:lnTo>
                  <a:pt x="4167472" y="479748"/>
                </a:lnTo>
                <a:lnTo>
                  <a:pt x="4165627" y="482780"/>
                </a:lnTo>
                <a:lnTo>
                  <a:pt x="4166604" y="490142"/>
                </a:lnTo>
                <a:lnTo>
                  <a:pt x="4165844" y="493498"/>
                </a:lnTo>
                <a:lnTo>
                  <a:pt x="4163023" y="496314"/>
                </a:lnTo>
                <a:lnTo>
                  <a:pt x="4162372" y="493931"/>
                </a:lnTo>
                <a:lnTo>
                  <a:pt x="4162914" y="492199"/>
                </a:lnTo>
                <a:lnTo>
                  <a:pt x="4160745" y="488085"/>
                </a:lnTo>
                <a:lnTo>
                  <a:pt x="4158357" y="487003"/>
                </a:lnTo>
                <a:lnTo>
                  <a:pt x="4156512" y="488085"/>
                </a:lnTo>
                <a:lnTo>
                  <a:pt x="4156403" y="491333"/>
                </a:lnTo>
                <a:lnTo>
                  <a:pt x="4157380" y="494582"/>
                </a:lnTo>
                <a:lnTo>
                  <a:pt x="4157380" y="499669"/>
                </a:lnTo>
                <a:lnTo>
                  <a:pt x="4159659" y="503784"/>
                </a:lnTo>
                <a:lnTo>
                  <a:pt x="4161721" y="508549"/>
                </a:lnTo>
                <a:lnTo>
                  <a:pt x="4161829" y="511472"/>
                </a:lnTo>
                <a:lnTo>
                  <a:pt x="4158465" y="511147"/>
                </a:lnTo>
                <a:lnTo>
                  <a:pt x="4155644" y="512229"/>
                </a:lnTo>
                <a:lnTo>
                  <a:pt x="4153582" y="517535"/>
                </a:lnTo>
                <a:lnTo>
                  <a:pt x="4153474" y="520783"/>
                </a:lnTo>
                <a:lnTo>
                  <a:pt x="4150327" y="523273"/>
                </a:lnTo>
                <a:lnTo>
                  <a:pt x="4141645" y="524030"/>
                </a:lnTo>
                <a:lnTo>
                  <a:pt x="4136762" y="523490"/>
                </a:lnTo>
                <a:lnTo>
                  <a:pt x="4137413" y="521324"/>
                </a:lnTo>
                <a:lnTo>
                  <a:pt x="4138824" y="519266"/>
                </a:lnTo>
                <a:lnTo>
                  <a:pt x="4136870" y="515694"/>
                </a:lnTo>
                <a:lnTo>
                  <a:pt x="4131336" y="510280"/>
                </a:lnTo>
                <a:lnTo>
                  <a:pt x="4127755" y="509198"/>
                </a:lnTo>
                <a:lnTo>
                  <a:pt x="4126561" y="509740"/>
                </a:lnTo>
                <a:lnTo>
                  <a:pt x="4124066" y="505191"/>
                </a:lnTo>
                <a:lnTo>
                  <a:pt x="4123523" y="501186"/>
                </a:lnTo>
                <a:lnTo>
                  <a:pt x="4128949" y="500969"/>
                </a:lnTo>
                <a:lnTo>
                  <a:pt x="4131662" y="499021"/>
                </a:lnTo>
                <a:lnTo>
                  <a:pt x="4130685" y="497612"/>
                </a:lnTo>
                <a:lnTo>
                  <a:pt x="4127104" y="497287"/>
                </a:lnTo>
                <a:lnTo>
                  <a:pt x="4124825" y="497938"/>
                </a:lnTo>
                <a:lnTo>
                  <a:pt x="4121461" y="496314"/>
                </a:lnTo>
                <a:lnTo>
                  <a:pt x="4120268" y="493390"/>
                </a:lnTo>
                <a:lnTo>
                  <a:pt x="4117555" y="491333"/>
                </a:lnTo>
                <a:lnTo>
                  <a:pt x="4113431" y="489275"/>
                </a:lnTo>
                <a:lnTo>
                  <a:pt x="4110935" y="486244"/>
                </a:lnTo>
                <a:lnTo>
                  <a:pt x="4112997" y="483971"/>
                </a:lnTo>
                <a:lnTo>
                  <a:pt x="4112889" y="482780"/>
                </a:lnTo>
                <a:lnTo>
                  <a:pt x="4110392" y="480289"/>
                </a:lnTo>
                <a:lnTo>
                  <a:pt x="4107137" y="478665"/>
                </a:lnTo>
                <a:lnTo>
                  <a:pt x="4104098" y="474442"/>
                </a:lnTo>
                <a:lnTo>
                  <a:pt x="4104424" y="471303"/>
                </a:lnTo>
                <a:lnTo>
                  <a:pt x="4106052" y="470653"/>
                </a:lnTo>
                <a:lnTo>
                  <a:pt x="4111804" y="475309"/>
                </a:lnTo>
                <a:lnTo>
                  <a:pt x="4113431" y="477474"/>
                </a:lnTo>
                <a:lnTo>
                  <a:pt x="4113539" y="479098"/>
                </a:lnTo>
                <a:lnTo>
                  <a:pt x="4115493" y="479098"/>
                </a:lnTo>
                <a:lnTo>
                  <a:pt x="4119074" y="476392"/>
                </a:lnTo>
                <a:lnTo>
                  <a:pt x="4119399" y="472493"/>
                </a:lnTo>
                <a:lnTo>
                  <a:pt x="4118097" y="471518"/>
                </a:lnTo>
                <a:lnTo>
                  <a:pt x="4115058" y="471953"/>
                </a:lnTo>
                <a:lnTo>
                  <a:pt x="4112997" y="470653"/>
                </a:lnTo>
                <a:lnTo>
                  <a:pt x="4112997" y="469246"/>
                </a:lnTo>
                <a:lnTo>
                  <a:pt x="4108873" y="465782"/>
                </a:lnTo>
                <a:lnTo>
                  <a:pt x="4108765" y="462533"/>
                </a:lnTo>
                <a:lnTo>
                  <a:pt x="4109633" y="461775"/>
                </a:lnTo>
                <a:lnTo>
                  <a:pt x="4111369" y="455712"/>
                </a:lnTo>
                <a:lnTo>
                  <a:pt x="4113648" y="451056"/>
                </a:lnTo>
                <a:lnTo>
                  <a:pt x="4112563" y="450190"/>
                </a:lnTo>
                <a:lnTo>
                  <a:pt x="4109416" y="451922"/>
                </a:lnTo>
                <a:lnTo>
                  <a:pt x="4106703" y="449433"/>
                </a:lnTo>
                <a:lnTo>
                  <a:pt x="4104858" y="449757"/>
                </a:lnTo>
                <a:lnTo>
                  <a:pt x="4104207" y="454737"/>
                </a:lnTo>
                <a:lnTo>
                  <a:pt x="4104858" y="458960"/>
                </a:lnTo>
                <a:lnTo>
                  <a:pt x="4102579" y="462100"/>
                </a:lnTo>
                <a:lnTo>
                  <a:pt x="4099541" y="463615"/>
                </a:lnTo>
                <a:lnTo>
                  <a:pt x="4098998" y="459392"/>
                </a:lnTo>
                <a:lnTo>
                  <a:pt x="4094224" y="452356"/>
                </a:lnTo>
                <a:lnTo>
                  <a:pt x="4093681" y="447158"/>
                </a:lnTo>
                <a:lnTo>
                  <a:pt x="4092162" y="441203"/>
                </a:lnTo>
                <a:lnTo>
                  <a:pt x="4092162" y="437198"/>
                </a:lnTo>
                <a:lnTo>
                  <a:pt x="4094983" y="436547"/>
                </a:lnTo>
                <a:lnTo>
                  <a:pt x="4098673" y="433300"/>
                </a:lnTo>
                <a:lnTo>
                  <a:pt x="4099975" y="432434"/>
                </a:lnTo>
                <a:lnTo>
                  <a:pt x="4099975" y="428320"/>
                </a:lnTo>
                <a:lnTo>
                  <a:pt x="4098673" y="426045"/>
                </a:lnTo>
                <a:lnTo>
                  <a:pt x="4098347" y="420957"/>
                </a:lnTo>
                <a:lnTo>
                  <a:pt x="4102579" y="416301"/>
                </a:lnTo>
                <a:lnTo>
                  <a:pt x="4105834" y="416518"/>
                </a:lnTo>
                <a:lnTo>
                  <a:pt x="4108439" y="422906"/>
                </a:lnTo>
                <a:lnTo>
                  <a:pt x="4110392" y="427020"/>
                </a:lnTo>
                <a:lnTo>
                  <a:pt x="4114190" y="427670"/>
                </a:lnTo>
                <a:lnTo>
                  <a:pt x="4115276" y="425613"/>
                </a:lnTo>
                <a:lnTo>
                  <a:pt x="4110392" y="419333"/>
                </a:lnTo>
                <a:lnTo>
                  <a:pt x="4110392" y="414677"/>
                </a:lnTo>
                <a:lnTo>
                  <a:pt x="4112345" y="413703"/>
                </a:lnTo>
                <a:lnTo>
                  <a:pt x="4115058" y="415435"/>
                </a:lnTo>
                <a:lnTo>
                  <a:pt x="4115493" y="418250"/>
                </a:lnTo>
                <a:lnTo>
                  <a:pt x="4117338" y="420090"/>
                </a:lnTo>
                <a:lnTo>
                  <a:pt x="4121027" y="418359"/>
                </a:lnTo>
                <a:lnTo>
                  <a:pt x="4130685" y="410780"/>
                </a:lnTo>
                <a:lnTo>
                  <a:pt x="4135460" y="409697"/>
                </a:lnTo>
                <a:lnTo>
                  <a:pt x="4138173" y="411971"/>
                </a:lnTo>
                <a:lnTo>
                  <a:pt x="4140994" y="417276"/>
                </a:lnTo>
                <a:lnTo>
                  <a:pt x="4140126" y="420740"/>
                </a:lnTo>
                <a:lnTo>
                  <a:pt x="4137522" y="423556"/>
                </a:lnTo>
                <a:lnTo>
                  <a:pt x="4134592" y="423339"/>
                </a:lnTo>
                <a:lnTo>
                  <a:pt x="4133290" y="422148"/>
                </a:lnTo>
                <a:lnTo>
                  <a:pt x="4131010" y="422473"/>
                </a:lnTo>
                <a:lnTo>
                  <a:pt x="4126019" y="426478"/>
                </a:lnTo>
                <a:lnTo>
                  <a:pt x="4125259" y="428644"/>
                </a:lnTo>
                <a:lnTo>
                  <a:pt x="4123306" y="429078"/>
                </a:lnTo>
                <a:lnTo>
                  <a:pt x="4122329" y="432000"/>
                </a:lnTo>
                <a:lnTo>
                  <a:pt x="4124825" y="433842"/>
                </a:lnTo>
                <a:lnTo>
                  <a:pt x="4128623" y="431459"/>
                </a:lnTo>
                <a:lnTo>
                  <a:pt x="4134157" y="429078"/>
                </a:lnTo>
                <a:lnTo>
                  <a:pt x="4136436" y="430269"/>
                </a:lnTo>
                <a:lnTo>
                  <a:pt x="4136328" y="432000"/>
                </a:lnTo>
                <a:lnTo>
                  <a:pt x="4131987" y="435357"/>
                </a:lnTo>
                <a:lnTo>
                  <a:pt x="4131554" y="437631"/>
                </a:lnTo>
                <a:lnTo>
                  <a:pt x="4133941" y="438713"/>
                </a:lnTo>
                <a:lnTo>
                  <a:pt x="4135351" y="436981"/>
                </a:lnTo>
                <a:lnTo>
                  <a:pt x="4137088" y="437198"/>
                </a:lnTo>
                <a:lnTo>
                  <a:pt x="4138932" y="440337"/>
                </a:lnTo>
                <a:lnTo>
                  <a:pt x="4140886" y="441853"/>
                </a:lnTo>
                <a:lnTo>
                  <a:pt x="4140560" y="444777"/>
                </a:lnTo>
                <a:lnTo>
                  <a:pt x="4141536" y="450081"/>
                </a:lnTo>
                <a:lnTo>
                  <a:pt x="4143924" y="453006"/>
                </a:lnTo>
                <a:lnTo>
                  <a:pt x="4145986" y="453980"/>
                </a:lnTo>
                <a:lnTo>
                  <a:pt x="4144901" y="447267"/>
                </a:lnTo>
                <a:lnTo>
                  <a:pt x="4142188" y="441853"/>
                </a:lnTo>
                <a:lnTo>
                  <a:pt x="4141428" y="436439"/>
                </a:lnTo>
                <a:lnTo>
                  <a:pt x="4142622" y="431025"/>
                </a:lnTo>
                <a:lnTo>
                  <a:pt x="4147397" y="423556"/>
                </a:lnTo>
                <a:lnTo>
                  <a:pt x="4148265" y="418899"/>
                </a:lnTo>
                <a:lnTo>
                  <a:pt x="4150435" y="416951"/>
                </a:lnTo>
                <a:lnTo>
                  <a:pt x="4152714" y="417925"/>
                </a:lnTo>
                <a:lnTo>
                  <a:pt x="4156946" y="422798"/>
                </a:lnTo>
                <a:lnTo>
                  <a:pt x="4162046" y="426370"/>
                </a:lnTo>
                <a:lnTo>
                  <a:pt x="4162589" y="429078"/>
                </a:lnTo>
                <a:lnTo>
                  <a:pt x="4162589" y="438171"/>
                </a:lnTo>
                <a:lnTo>
                  <a:pt x="4166496" y="447917"/>
                </a:lnTo>
                <a:lnTo>
                  <a:pt x="4166496" y="451922"/>
                </a:lnTo>
                <a:lnTo>
                  <a:pt x="4165411" y="454954"/>
                </a:lnTo>
                <a:lnTo>
                  <a:pt x="4161938" y="458203"/>
                </a:lnTo>
                <a:lnTo>
                  <a:pt x="4162372" y="460044"/>
                </a:lnTo>
                <a:lnTo>
                  <a:pt x="4163999" y="460800"/>
                </a:lnTo>
                <a:lnTo>
                  <a:pt x="4167364" y="458744"/>
                </a:lnTo>
                <a:lnTo>
                  <a:pt x="4169751" y="459176"/>
                </a:lnTo>
                <a:lnTo>
                  <a:pt x="4172681" y="463508"/>
                </a:lnTo>
                <a:lnTo>
                  <a:pt x="4175828" y="471086"/>
                </a:lnTo>
                <a:lnTo>
                  <a:pt x="4177890" y="473143"/>
                </a:lnTo>
                <a:lnTo>
                  <a:pt x="4181145" y="473035"/>
                </a:lnTo>
                <a:lnTo>
                  <a:pt x="4182013" y="469246"/>
                </a:lnTo>
                <a:lnTo>
                  <a:pt x="4177456" y="463833"/>
                </a:lnTo>
                <a:lnTo>
                  <a:pt x="4176697" y="459068"/>
                </a:lnTo>
                <a:lnTo>
                  <a:pt x="4172681" y="452572"/>
                </a:lnTo>
                <a:lnTo>
                  <a:pt x="4170945" y="447267"/>
                </a:lnTo>
                <a:lnTo>
                  <a:pt x="4170836" y="440554"/>
                </a:lnTo>
                <a:lnTo>
                  <a:pt x="4171053" y="426370"/>
                </a:lnTo>
                <a:lnTo>
                  <a:pt x="4169642" y="423556"/>
                </a:lnTo>
                <a:lnTo>
                  <a:pt x="4167580" y="422256"/>
                </a:lnTo>
                <a:lnTo>
                  <a:pt x="4168666" y="417276"/>
                </a:lnTo>
                <a:lnTo>
                  <a:pt x="4168340" y="412838"/>
                </a:lnTo>
                <a:lnTo>
                  <a:pt x="4170402" y="408723"/>
                </a:lnTo>
                <a:lnTo>
                  <a:pt x="4169859" y="401685"/>
                </a:lnTo>
                <a:lnTo>
                  <a:pt x="4172681" y="396705"/>
                </a:lnTo>
                <a:close/>
                <a:moveTo>
                  <a:pt x="5536519" y="393782"/>
                </a:moveTo>
                <a:lnTo>
                  <a:pt x="5538364" y="393891"/>
                </a:lnTo>
                <a:lnTo>
                  <a:pt x="5540426" y="397463"/>
                </a:lnTo>
                <a:lnTo>
                  <a:pt x="5544441" y="398872"/>
                </a:lnTo>
                <a:lnTo>
                  <a:pt x="5543464" y="401578"/>
                </a:lnTo>
                <a:lnTo>
                  <a:pt x="5541511" y="402660"/>
                </a:lnTo>
                <a:lnTo>
                  <a:pt x="5539449" y="402770"/>
                </a:lnTo>
                <a:lnTo>
                  <a:pt x="5538581" y="398546"/>
                </a:lnTo>
                <a:lnTo>
                  <a:pt x="5536085" y="395839"/>
                </a:lnTo>
                <a:close/>
                <a:moveTo>
                  <a:pt x="2328875" y="393130"/>
                </a:moveTo>
                <a:lnTo>
                  <a:pt x="2329201" y="396920"/>
                </a:lnTo>
                <a:lnTo>
                  <a:pt x="2326705" y="399301"/>
                </a:lnTo>
                <a:lnTo>
                  <a:pt x="2324535" y="399735"/>
                </a:lnTo>
                <a:lnTo>
                  <a:pt x="2327465" y="396379"/>
                </a:lnTo>
                <a:close/>
                <a:moveTo>
                  <a:pt x="7107190" y="388152"/>
                </a:moveTo>
                <a:lnTo>
                  <a:pt x="7106430" y="391617"/>
                </a:lnTo>
                <a:lnTo>
                  <a:pt x="7103392" y="394429"/>
                </a:lnTo>
                <a:lnTo>
                  <a:pt x="7101438" y="391617"/>
                </a:lnTo>
                <a:lnTo>
                  <a:pt x="7102957" y="389342"/>
                </a:lnTo>
                <a:close/>
                <a:moveTo>
                  <a:pt x="2556976" y="387934"/>
                </a:moveTo>
                <a:lnTo>
                  <a:pt x="2559146" y="390640"/>
                </a:lnTo>
                <a:lnTo>
                  <a:pt x="2559146" y="394863"/>
                </a:lnTo>
                <a:lnTo>
                  <a:pt x="2557627" y="396595"/>
                </a:lnTo>
                <a:lnTo>
                  <a:pt x="2556217" y="396703"/>
                </a:lnTo>
                <a:lnTo>
                  <a:pt x="2554047" y="390965"/>
                </a:lnTo>
                <a:lnTo>
                  <a:pt x="2554264" y="388150"/>
                </a:lnTo>
                <a:close/>
                <a:moveTo>
                  <a:pt x="2444989" y="387176"/>
                </a:moveTo>
                <a:lnTo>
                  <a:pt x="2445639" y="390425"/>
                </a:lnTo>
                <a:lnTo>
                  <a:pt x="2447592" y="391724"/>
                </a:lnTo>
                <a:lnTo>
                  <a:pt x="2448026" y="394430"/>
                </a:lnTo>
                <a:lnTo>
                  <a:pt x="2446616" y="396162"/>
                </a:lnTo>
                <a:lnTo>
                  <a:pt x="2443904" y="394539"/>
                </a:lnTo>
                <a:lnTo>
                  <a:pt x="2442927" y="390425"/>
                </a:lnTo>
                <a:lnTo>
                  <a:pt x="2443686" y="387718"/>
                </a:lnTo>
                <a:close/>
                <a:moveTo>
                  <a:pt x="5536085" y="386852"/>
                </a:moveTo>
                <a:lnTo>
                  <a:pt x="5539558" y="387718"/>
                </a:lnTo>
                <a:lnTo>
                  <a:pt x="5537170" y="391183"/>
                </a:lnTo>
                <a:lnTo>
                  <a:pt x="5531962" y="392160"/>
                </a:lnTo>
                <a:lnTo>
                  <a:pt x="5530985" y="390860"/>
                </a:lnTo>
                <a:lnTo>
                  <a:pt x="5532287" y="388477"/>
                </a:lnTo>
                <a:close/>
                <a:moveTo>
                  <a:pt x="5381233" y="385877"/>
                </a:moveTo>
                <a:lnTo>
                  <a:pt x="5384271" y="386095"/>
                </a:lnTo>
                <a:lnTo>
                  <a:pt x="5387635" y="389126"/>
                </a:lnTo>
                <a:lnTo>
                  <a:pt x="5388070" y="395405"/>
                </a:lnTo>
                <a:lnTo>
                  <a:pt x="5386550" y="398437"/>
                </a:lnTo>
                <a:lnTo>
                  <a:pt x="5382317" y="400386"/>
                </a:lnTo>
                <a:lnTo>
                  <a:pt x="5379930" y="400062"/>
                </a:lnTo>
                <a:lnTo>
                  <a:pt x="5379062" y="397138"/>
                </a:lnTo>
                <a:lnTo>
                  <a:pt x="5379388" y="392481"/>
                </a:lnTo>
                <a:lnTo>
                  <a:pt x="5378845" y="388368"/>
                </a:lnTo>
                <a:close/>
                <a:moveTo>
                  <a:pt x="2194314" y="384685"/>
                </a:moveTo>
                <a:lnTo>
                  <a:pt x="2197895" y="385010"/>
                </a:lnTo>
                <a:lnTo>
                  <a:pt x="2202127" y="386093"/>
                </a:lnTo>
                <a:lnTo>
                  <a:pt x="2208095" y="385660"/>
                </a:lnTo>
                <a:lnTo>
                  <a:pt x="2213956" y="388150"/>
                </a:lnTo>
                <a:lnTo>
                  <a:pt x="2218079" y="387608"/>
                </a:lnTo>
                <a:lnTo>
                  <a:pt x="2221335" y="391831"/>
                </a:lnTo>
                <a:lnTo>
                  <a:pt x="2217971" y="398544"/>
                </a:lnTo>
                <a:lnTo>
                  <a:pt x="2214607" y="401466"/>
                </a:lnTo>
                <a:lnTo>
                  <a:pt x="2205166" y="400601"/>
                </a:lnTo>
                <a:lnTo>
                  <a:pt x="2199740" y="399952"/>
                </a:lnTo>
                <a:lnTo>
                  <a:pt x="2196050" y="397677"/>
                </a:lnTo>
                <a:lnTo>
                  <a:pt x="2192252" y="396920"/>
                </a:lnTo>
                <a:lnTo>
                  <a:pt x="2190841" y="394213"/>
                </a:lnTo>
                <a:lnTo>
                  <a:pt x="2188997" y="393780"/>
                </a:lnTo>
                <a:lnTo>
                  <a:pt x="2188237" y="391831"/>
                </a:lnTo>
                <a:lnTo>
                  <a:pt x="2188888" y="388367"/>
                </a:lnTo>
                <a:lnTo>
                  <a:pt x="2191818" y="386851"/>
                </a:lnTo>
                <a:close/>
                <a:moveTo>
                  <a:pt x="7063023" y="382196"/>
                </a:moveTo>
                <a:lnTo>
                  <a:pt x="7067906" y="382412"/>
                </a:lnTo>
                <a:lnTo>
                  <a:pt x="7072138" y="384579"/>
                </a:lnTo>
                <a:lnTo>
                  <a:pt x="7076153" y="385012"/>
                </a:lnTo>
                <a:lnTo>
                  <a:pt x="7077238" y="382955"/>
                </a:lnTo>
                <a:lnTo>
                  <a:pt x="7082230" y="386311"/>
                </a:lnTo>
                <a:lnTo>
                  <a:pt x="7084074" y="390859"/>
                </a:lnTo>
                <a:lnTo>
                  <a:pt x="7082556" y="392373"/>
                </a:lnTo>
                <a:lnTo>
                  <a:pt x="7086354" y="396813"/>
                </a:lnTo>
                <a:lnTo>
                  <a:pt x="7087222" y="402009"/>
                </a:lnTo>
                <a:lnTo>
                  <a:pt x="7084401" y="406664"/>
                </a:lnTo>
                <a:lnTo>
                  <a:pt x="7078975" y="407965"/>
                </a:lnTo>
                <a:lnTo>
                  <a:pt x="7073874" y="405473"/>
                </a:lnTo>
                <a:lnTo>
                  <a:pt x="7067906" y="400926"/>
                </a:lnTo>
                <a:lnTo>
                  <a:pt x="7062046" y="399736"/>
                </a:lnTo>
                <a:lnTo>
                  <a:pt x="7057596" y="400494"/>
                </a:lnTo>
                <a:lnTo>
                  <a:pt x="7055317" y="399086"/>
                </a:lnTo>
                <a:lnTo>
                  <a:pt x="7054992" y="390965"/>
                </a:lnTo>
                <a:lnTo>
                  <a:pt x="7056512" y="386852"/>
                </a:lnTo>
                <a:lnTo>
                  <a:pt x="7060092" y="386527"/>
                </a:lnTo>
                <a:lnTo>
                  <a:pt x="7059441" y="384795"/>
                </a:lnTo>
                <a:lnTo>
                  <a:pt x="7062371" y="384253"/>
                </a:lnTo>
                <a:close/>
                <a:moveTo>
                  <a:pt x="1076051" y="381873"/>
                </a:moveTo>
                <a:lnTo>
                  <a:pt x="1078329" y="382307"/>
                </a:lnTo>
                <a:lnTo>
                  <a:pt x="1077461" y="384146"/>
                </a:lnTo>
                <a:lnTo>
                  <a:pt x="1074966" y="385012"/>
                </a:lnTo>
                <a:lnTo>
                  <a:pt x="1074098" y="386420"/>
                </a:lnTo>
                <a:lnTo>
                  <a:pt x="1075725" y="387722"/>
                </a:lnTo>
                <a:lnTo>
                  <a:pt x="1077461" y="389562"/>
                </a:lnTo>
                <a:lnTo>
                  <a:pt x="1077787" y="393458"/>
                </a:lnTo>
                <a:lnTo>
                  <a:pt x="1079632" y="393351"/>
                </a:lnTo>
                <a:lnTo>
                  <a:pt x="1085275" y="395731"/>
                </a:lnTo>
                <a:lnTo>
                  <a:pt x="1086360" y="397787"/>
                </a:lnTo>
                <a:lnTo>
                  <a:pt x="1085057" y="400063"/>
                </a:lnTo>
                <a:lnTo>
                  <a:pt x="1084515" y="402230"/>
                </a:lnTo>
                <a:lnTo>
                  <a:pt x="1079740" y="406991"/>
                </a:lnTo>
                <a:lnTo>
                  <a:pt x="1075399" y="408182"/>
                </a:lnTo>
                <a:lnTo>
                  <a:pt x="1068888" y="410890"/>
                </a:lnTo>
                <a:lnTo>
                  <a:pt x="1063680" y="406883"/>
                </a:lnTo>
                <a:lnTo>
                  <a:pt x="1058905" y="408074"/>
                </a:lnTo>
                <a:lnTo>
                  <a:pt x="1053479" y="412297"/>
                </a:lnTo>
                <a:lnTo>
                  <a:pt x="1052611" y="415436"/>
                </a:lnTo>
                <a:lnTo>
                  <a:pt x="1056952" y="414896"/>
                </a:lnTo>
                <a:lnTo>
                  <a:pt x="1059664" y="419442"/>
                </a:lnTo>
                <a:lnTo>
                  <a:pt x="1056952" y="426481"/>
                </a:lnTo>
                <a:lnTo>
                  <a:pt x="1060532" y="425506"/>
                </a:lnTo>
                <a:lnTo>
                  <a:pt x="1061835" y="422368"/>
                </a:lnTo>
                <a:lnTo>
                  <a:pt x="1064982" y="419116"/>
                </a:lnTo>
                <a:lnTo>
                  <a:pt x="1067043" y="419766"/>
                </a:lnTo>
                <a:lnTo>
                  <a:pt x="1064765" y="423884"/>
                </a:lnTo>
                <a:lnTo>
                  <a:pt x="1064873" y="428753"/>
                </a:lnTo>
                <a:lnTo>
                  <a:pt x="1066610" y="433627"/>
                </a:lnTo>
                <a:lnTo>
                  <a:pt x="1066827" y="428863"/>
                </a:lnTo>
                <a:lnTo>
                  <a:pt x="1069431" y="422910"/>
                </a:lnTo>
                <a:lnTo>
                  <a:pt x="1070733" y="424750"/>
                </a:lnTo>
                <a:lnTo>
                  <a:pt x="1072904" y="424423"/>
                </a:lnTo>
                <a:lnTo>
                  <a:pt x="1076051" y="421067"/>
                </a:lnTo>
                <a:lnTo>
                  <a:pt x="1075074" y="416302"/>
                </a:lnTo>
                <a:lnTo>
                  <a:pt x="1076051" y="413923"/>
                </a:lnTo>
                <a:lnTo>
                  <a:pt x="1080825" y="412081"/>
                </a:lnTo>
                <a:lnTo>
                  <a:pt x="1084081" y="414464"/>
                </a:lnTo>
                <a:lnTo>
                  <a:pt x="1085275" y="414356"/>
                </a:lnTo>
                <a:lnTo>
                  <a:pt x="1086468" y="410242"/>
                </a:lnTo>
                <a:lnTo>
                  <a:pt x="1092111" y="404827"/>
                </a:lnTo>
                <a:lnTo>
                  <a:pt x="1093631" y="405042"/>
                </a:lnTo>
                <a:lnTo>
                  <a:pt x="1095041" y="407749"/>
                </a:lnTo>
                <a:lnTo>
                  <a:pt x="1093631" y="411865"/>
                </a:lnTo>
                <a:lnTo>
                  <a:pt x="1093196" y="416302"/>
                </a:lnTo>
                <a:lnTo>
                  <a:pt x="1090809" y="417710"/>
                </a:lnTo>
                <a:lnTo>
                  <a:pt x="1089181" y="420960"/>
                </a:lnTo>
                <a:lnTo>
                  <a:pt x="1089506" y="424965"/>
                </a:lnTo>
                <a:lnTo>
                  <a:pt x="1087445" y="426264"/>
                </a:lnTo>
                <a:lnTo>
                  <a:pt x="1085708" y="430160"/>
                </a:lnTo>
                <a:lnTo>
                  <a:pt x="1088530" y="434060"/>
                </a:lnTo>
                <a:lnTo>
                  <a:pt x="1088530" y="432005"/>
                </a:lnTo>
                <a:lnTo>
                  <a:pt x="1091026" y="428104"/>
                </a:lnTo>
                <a:lnTo>
                  <a:pt x="1096452" y="427996"/>
                </a:lnTo>
                <a:lnTo>
                  <a:pt x="1099924" y="426805"/>
                </a:lnTo>
                <a:lnTo>
                  <a:pt x="1102637" y="427672"/>
                </a:lnTo>
                <a:lnTo>
                  <a:pt x="1108063" y="430052"/>
                </a:lnTo>
                <a:lnTo>
                  <a:pt x="1112621" y="429510"/>
                </a:lnTo>
                <a:lnTo>
                  <a:pt x="1116311" y="431353"/>
                </a:lnTo>
                <a:lnTo>
                  <a:pt x="1118047" y="434494"/>
                </a:lnTo>
                <a:lnTo>
                  <a:pt x="1120542" y="433301"/>
                </a:lnTo>
                <a:lnTo>
                  <a:pt x="1122713" y="433518"/>
                </a:lnTo>
                <a:lnTo>
                  <a:pt x="1125317" y="438607"/>
                </a:lnTo>
                <a:lnTo>
                  <a:pt x="1127705" y="441311"/>
                </a:lnTo>
                <a:lnTo>
                  <a:pt x="1124449" y="444997"/>
                </a:lnTo>
                <a:lnTo>
                  <a:pt x="1118047" y="448028"/>
                </a:lnTo>
                <a:lnTo>
                  <a:pt x="1115551" y="451814"/>
                </a:lnTo>
                <a:lnTo>
                  <a:pt x="1116744" y="454740"/>
                </a:lnTo>
                <a:lnTo>
                  <a:pt x="1128356" y="461235"/>
                </a:lnTo>
                <a:lnTo>
                  <a:pt x="1128681" y="463075"/>
                </a:lnTo>
                <a:lnTo>
                  <a:pt x="1124883" y="463292"/>
                </a:lnTo>
                <a:lnTo>
                  <a:pt x="1120434" y="465025"/>
                </a:lnTo>
                <a:lnTo>
                  <a:pt x="1120434" y="466974"/>
                </a:lnTo>
                <a:lnTo>
                  <a:pt x="1128030" y="471522"/>
                </a:lnTo>
                <a:lnTo>
                  <a:pt x="1128247" y="475526"/>
                </a:lnTo>
                <a:lnTo>
                  <a:pt x="1127270" y="481051"/>
                </a:lnTo>
                <a:lnTo>
                  <a:pt x="1128030" y="487436"/>
                </a:lnTo>
                <a:lnTo>
                  <a:pt x="1123472" y="492417"/>
                </a:lnTo>
                <a:lnTo>
                  <a:pt x="1129006" y="488195"/>
                </a:lnTo>
                <a:lnTo>
                  <a:pt x="1135409" y="481267"/>
                </a:lnTo>
                <a:lnTo>
                  <a:pt x="1142137" y="480184"/>
                </a:lnTo>
                <a:lnTo>
                  <a:pt x="1143982" y="478776"/>
                </a:lnTo>
                <a:lnTo>
                  <a:pt x="1147780" y="478776"/>
                </a:lnTo>
                <a:lnTo>
                  <a:pt x="1153857" y="476392"/>
                </a:lnTo>
                <a:lnTo>
                  <a:pt x="1159717" y="476392"/>
                </a:lnTo>
                <a:lnTo>
                  <a:pt x="1166011" y="480833"/>
                </a:lnTo>
                <a:lnTo>
                  <a:pt x="1169158" y="482890"/>
                </a:lnTo>
                <a:lnTo>
                  <a:pt x="1167964" y="488737"/>
                </a:lnTo>
                <a:lnTo>
                  <a:pt x="1162647" y="494042"/>
                </a:lnTo>
                <a:lnTo>
                  <a:pt x="1157221" y="502164"/>
                </a:lnTo>
                <a:lnTo>
                  <a:pt x="1148431" y="508223"/>
                </a:lnTo>
                <a:lnTo>
                  <a:pt x="1158524" y="503245"/>
                </a:lnTo>
                <a:lnTo>
                  <a:pt x="1167747" y="494581"/>
                </a:lnTo>
                <a:lnTo>
                  <a:pt x="1169918" y="492852"/>
                </a:lnTo>
                <a:lnTo>
                  <a:pt x="1172956" y="493716"/>
                </a:lnTo>
                <a:lnTo>
                  <a:pt x="1174367" y="495448"/>
                </a:lnTo>
                <a:lnTo>
                  <a:pt x="1173607" y="496855"/>
                </a:lnTo>
                <a:lnTo>
                  <a:pt x="1176862" y="500971"/>
                </a:lnTo>
                <a:lnTo>
                  <a:pt x="1180878" y="503570"/>
                </a:lnTo>
                <a:lnTo>
                  <a:pt x="1181203" y="505301"/>
                </a:lnTo>
                <a:lnTo>
                  <a:pt x="1180010" y="507358"/>
                </a:lnTo>
                <a:lnTo>
                  <a:pt x="1183482" y="506492"/>
                </a:lnTo>
                <a:lnTo>
                  <a:pt x="1187280" y="508007"/>
                </a:lnTo>
                <a:lnTo>
                  <a:pt x="1188583" y="510065"/>
                </a:lnTo>
                <a:lnTo>
                  <a:pt x="1186955" y="511257"/>
                </a:lnTo>
                <a:lnTo>
                  <a:pt x="1186738" y="514180"/>
                </a:lnTo>
                <a:lnTo>
                  <a:pt x="1189125" y="515912"/>
                </a:lnTo>
                <a:lnTo>
                  <a:pt x="1191946" y="511691"/>
                </a:lnTo>
                <a:lnTo>
                  <a:pt x="1195311" y="513531"/>
                </a:lnTo>
                <a:lnTo>
                  <a:pt x="1196070" y="515372"/>
                </a:lnTo>
                <a:lnTo>
                  <a:pt x="1195527" y="517102"/>
                </a:lnTo>
                <a:lnTo>
                  <a:pt x="1197807" y="515048"/>
                </a:lnTo>
                <a:lnTo>
                  <a:pt x="1199868" y="515048"/>
                </a:lnTo>
                <a:lnTo>
                  <a:pt x="1201713" y="516452"/>
                </a:lnTo>
                <a:lnTo>
                  <a:pt x="1203232" y="515912"/>
                </a:lnTo>
                <a:lnTo>
                  <a:pt x="1210394" y="521108"/>
                </a:lnTo>
                <a:lnTo>
                  <a:pt x="1213758" y="524572"/>
                </a:lnTo>
                <a:lnTo>
                  <a:pt x="1213433" y="526956"/>
                </a:lnTo>
                <a:lnTo>
                  <a:pt x="1217014" y="527605"/>
                </a:lnTo>
                <a:lnTo>
                  <a:pt x="1219835" y="527279"/>
                </a:lnTo>
                <a:lnTo>
                  <a:pt x="1221572" y="529119"/>
                </a:lnTo>
                <a:lnTo>
                  <a:pt x="1219510" y="530744"/>
                </a:lnTo>
                <a:lnTo>
                  <a:pt x="1218750" y="532259"/>
                </a:lnTo>
                <a:lnTo>
                  <a:pt x="1221897" y="533455"/>
                </a:lnTo>
                <a:lnTo>
                  <a:pt x="1224610" y="531936"/>
                </a:lnTo>
                <a:lnTo>
                  <a:pt x="1228734" y="534644"/>
                </a:lnTo>
                <a:lnTo>
                  <a:pt x="1228408" y="536916"/>
                </a:lnTo>
                <a:lnTo>
                  <a:pt x="1226238" y="537350"/>
                </a:lnTo>
                <a:lnTo>
                  <a:pt x="1226563" y="538647"/>
                </a:lnTo>
                <a:lnTo>
                  <a:pt x="1229276" y="539190"/>
                </a:lnTo>
                <a:lnTo>
                  <a:pt x="1230796" y="537784"/>
                </a:lnTo>
                <a:lnTo>
                  <a:pt x="1232857" y="538973"/>
                </a:lnTo>
                <a:lnTo>
                  <a:pt x="1234811" y="538324"/>
                </a:lnTo>
                <a:lnTo>
                  <a:pt x="1237524" y="540380"/>
                </a:lnTo>
                <a:lnTo>
                  <a:pt x="1243600" y="538973"/>
                </a:lnTo>
                <a:lnTo>
                  <a:pt x="1250437" y="539842"/>
                </a:lnTo>
                <a:lnTo>
                  <a:pt x="1251848" y="538432"/>
                </a:lnTo>
                <a:lnTo>
                  <a:pt x="1260312" y="538756"/>
                </a:lnTo>
                <a:lnTo>
                  <a:pt x="1262373" y="540814"/>
                </a:lnTo>
                <a:lnTo>
                  <a:pt x="1265521" y="546985"/>
                </a:lnTo>
                <a:lnTo>
                  <a:pt x="1266498" y="552182"/>
                </a:lnTo>
                <a:lnTo>
                  <a:pt x="1269644" y="554022"/>
                </a:lnTo>
                <a:lnTo>
                  <a:pt x="1272141" y="559004"/>
                </a:lnTo>
                <a:lnTo>
                  <a:pt x="1273877" y="568317"/>
                </a:lnTo>
                <a:lnTo>
                  <a:pt x="1276481" y="571239"/>
                </a:lnTo>
                <a:lnTo>
                  <a:pt x="1280279" y="570591"/>
                </a:lnTo>
                <a:lnTo>
                  <a:pt x="1285271" y="572105"/>
                </a:lnTo>
                <a:lnTo>
                  <a:pt x="1286030" y="574160"/>
                </a:lnTo>
                <a:lnTo>
                  <a:pt x="1286030" y="574159"/>
                </a:lnTo>
                <a:lnTo>
                  <a:pt x="1287223" y="577300"/>
                </a:lnTo>
                <a:lnTo>
                  <a:pt x="1289936" y="577300"/>
                </a:lnTo>
                <a:lnTo>
                  <a:pt x="1303392" y="587152"/>
                </a:lnTo>
                <a:lnTo>
                  <a:pt x="1307516" y="587260"/>
                </a:lnTo>
                <a:lnTo>
                  <a:pt x="1311856" y="591050"/>
                </a:lnTo>
                <a:lnTo>
                  <a:pt x="1313593" y="594514"/>
                </a:lnTo>
                <a:lnTo>
                  <a:pt x="1315438" y="594298"/>
                </a:lnTo>
                <a:lnTo>
                  <a:pt x="1320104" y="597979"/>
                </a:lnTo>
                <a:lnTo>
                  <a:pt x="1320104" y="601985"/>
                </a:lnTo>
                <a:lnTo>
                  <a:pt x="1325422" y="607724"/>
                </a:lnTo>
                <a:lnTo>
                  <a:pt x="1324445" y="610430"/>
                </a:lnTo>
                <a:lnTo>
                  <a:pt x="1325096" y="612054"/>
                </a:lnTo>
                <a:lnTo>
                  <a:pt x="1322817" y="617359"/>
                </a:lnTo>
                <a:lnTo>
                  <a:pt x="1324770" y="622340"/>
                </a:lnTo>
                <a:lnTo>
                  <a:pt x="1326940" y="623314"/>
                </a:lnTo>
                <a:lnTo>
                  <a:pt x="1328677" y="621149"/>
                </a:lnTo>
                <a:lnTo>
                  <a:pt x="1330088" y="622015"/>
                </a:lnTo>
                <a:lnTo>
                  <a:pt x="1330196" y="629378"/>
                </a:lnTo>
                <a:lnTo>
                  <a:pt x="1331933" y="636415"/>
                </a:lnTo>
                <a:lnTo>
                  <a:pt x="1339854" y="644643"/>
                </a:lnTo>
                <a:lnTo>
                  <a:pt x="1344087" y="647891"/>
                </a:lnTo>
                <a:lnTo>
                  <a:pt x="1345823" y="646592"/>
                </a:lnTo>
                <a:lnTo>
                  <a:pt x="1348861" y="648433"/>
                </a:lnTo>
                <a:lnTo>
                  <a:pt x="1349512" y="652438"/>
                </a:lnTo>
                <a:lnTo>
                  <a:pt x="1352659" y="653954"/>
                </a:lnTo>
                <a:lnTo>
                  <a:pt x="1353853" y="653629"/>
                </a:lnTo>
                <a:lnTo>
                  <a:pt x="1358844" y="660884"/>
                </a:lnTo>
                <a:lnTo>
                  <a:pt x="1359387" y="667055"/>
                </a:lnTo>
                <a:lnTo>
                  <a:pt x="1362100" y="668246"/>
                </a:lnTo>
                <a:lnTo>
                  <a:pt x="1364162" y="672035"/>
                </a:lnTo>
                <a:lnTo>
                  <a:pt x="1367635" y="672144"/>
                </a:lnTo>
                <a:lnTo>
                  <a:pt x="1372952" y="679398"/>
                </a:lnTo>
                <a:lnTo>
                  <a:pt x="1372952" y="682538"/>
                </a:lnTo>
                <a:lnTo>
                  <a:pt x="1375447" y="683729"/>
                </a:lnTo>
                <a:lnTo>
                  <a:pt x="1374579" y="687302"/>
                </a:lnTo>
                <a:lnTo>
                  <a:pt x="1369913" y="692823"/>
                </a:lnTo>
                <a:lnTo>
                  <a:pt x="1366983" y="697154"/>
                </a:lnTo>
                <a:lnTo>
                  <a:pt x="1376967" y="688492"/>
                </a:lnTo>
                <a:lnTo>
                  <a:pt x="1380548" y="686652"/>
                </a:lnTo>
                <a:lnTo>
                  <a:pt x="1382827" y="687518"/>
                </a:lnTo>
                <a:lnTo>
                  <a:pt x="1384020" y="681131"/>
                </a:lnTo>
                <a:lnTo>
                  <a:pt x="1383152" y="667921"/>
                </a:lnTo>
                <a:lnTo>
                  <a:pt x="1383695" y="660126"/>
                </a:lnTo>
                <a:lnTo>
                  <a:pt x="1386300" y="655687"/>
                </a:lnTo>
                <a:lnTo>
                  <a:pt x="1394221" y="653088"/>
                </a:lnTo>
                <a:lnTo>
                  <a:pt x="1400407" y="649623"/>
                </a:lnTo>
                <a:lnTo>
                  <a:pt x="1404205" y="646267"/>
                </a:lnTo>
                <a:lnTo>
                  <a:pt x="1408654" y="645076"/>
                </a:lnTo>
                <a:lnTo>
                  <a:pt x="1410824" y="641936"/>
                </a:lnTo>
                <a:lnTo>
                  <a:pt x="1414188" y="641396"/>
                </a:lnTo>
                <a:lnTo>
                  <a:pt x="1417552" y="639663"/>
                </a:lnTo>
                <a:lnTo>
                  <a:pt x="1423086" y="639663"/>
                </a:lnTo>
                <a:lnTo>
                  <a:pt x="1424280" y="640422"/>
                </a:lnTo>
                <a:lnTo>
                  <a:pt x="1429163" y="640422"/>
                </a:lnTo>
                <a:lnTo>
                  <a:pt x="1431225" y="642045"/>
                </a:lnTo>
                <a:lnTo>
                  <a:pt x="1437302" y="635440"/>
                </a:lnTo>
                <a:lnTo>
                  <a:pt x="1439472" y="630244"/>
                </a:lnTo>
                <a:lnTo>
                  <a:pt x="1442620" y="629702"/>
                </a:lnTo>
                <a:lnTo>
                  <a:pt x="1446743" y="630785"/>
                </a:lnTo>
                <a:lnTo>
                  <a:pt x="1449348" y="629053"/>
                </a:lnTo>
                <a:lnTo>
                  <a:pt x="1448588" y="627104"/>
                </a:lnTo>
                <a:lnTo>
                  <a:pt x="1452061" y="626995"/>
                </a:lnTo>
                <a:lnTo>
                  <a:pt x="1454339" y="629594"/>
                </a:lnTo>
                <a:lnTo>
                  <a:pt x="1467904" y="628295"/>
                </a:lnTo>
                <a:lnTo>
                  <a:pt x="1479081" y="624722"/>
                </a:lnTo>
                <a:lnTo>
                  <a:pt x="1483205" y="622015"/>
                </a:lnTo>
                <a:lnTo>
                  <a:pt x="1485483" y="621798"/>
                </a:lnTo>
                <a:lnTo>
                  <a:pt x="1487871" y="625588"/>
                </a:lnTo>
                <a:lnTo>
                  <a:pt x="1491017" y="623855"/>
                </a:lnTo>
                <a:lnTo>
                  <a:pt x="1492754" y="619092"/>
                </a:lnTo>
                <a:lnTo>
                  <a:pt x="1500676" y="615627"/>
                </a:lnTo>
                <a:lnTo>
                  <a:pt x="1505668" y="615627"/>
                </a:lnTo>
                <a:lnTo>
                  <a:pt x="1507078" y="617467"/>
                </a:lnTo>
                <a:lnTo>
                  <a:pt x="1509466" y="617467"/>
                </a:lnTo>
                <a:lnTo>
                  <a:pt x="1510659" y="620067"/>
                </a:lnTo>
                <a:lnTo>
                  <a:pt x="1514566" y="619200"/>
                </a:lnTo>
                <a:lnTo>
                  <a:pt x="1514783" y="615953"/>
                </a:lnTo>
                <a:lnTo>
                  <a:pt x="1516302" y="613569"/>
                </a:lnTo>
                <a:lnTo>
                  <a:pt x="1519775" y="615627"/>
                </a:lnTo>
                <a:lnTo>
                  <a:pt x="1519775" y="620067"/>
                </a:lnTo>
                <a:lnTo>
                  <a:pt x="1522162" y="622340"/>
                </a:lnTo>
                <a:lnTo>
                  <a:pt x="1520317" y="624614"/>
                </a:lnTo>
                <a:lnTo>
                  <a:pt x="1518038" y="624614"/>
                </a:lnTo>
                <a:lnTo>
                  <a:pt x="1516845" y="629053"/>
                </a:lnTo>
                <a:lnTo>
                  <a:pt x="1506210" y="631975"/>
                </a:lnTo>
                <a:lnTo>
                  <a:pt x="1496878" y="634683"/>
                </a:lnTo>
                <a:lnTo>
                  <a:pt x="1493731" y="638797"/>
                </a:lnTo>
                <a:lnTo>
                  <a:pt x="1488088" y="640422"/>
                </a:lnTo>
                <a:lnTo>
                  <a:pt x="1484290" y="639880"/>
                </a:lnTo>
                <a:lnTo>
                  <a:pt x="1480817" y="642478"/>
                </a:lnTo>
                <a:lnTo>
                  <a:pt x="1478430" y="642478"/>
                </a:lnTo>
                <a:lnTo>
                  <a:pt x="1476694" y="639122"/>
                </a:lnTo>
                <a:lnTo>
                  <a:pt x="1469314" y="642586"/>
                </a:lnTo>
                <a:lnTo>
                  <a:pt x="1462044" y="642261"/>
                </a:lnTo>
                <a:lnTo>
                  <a:pt x="1460633" y="643993"/>
                </a:lnTo>
                <a:lnTo>
                  <a:pt x="1452277" y="643344"/>
                </a:lnTo>
                <a:lnTo>
                  <a:pt x="1447068" y="645293"/>
                </a:lnTo>
                <a:lnTo>
                  <a:pt x="1443488" y="650815"/>
                </a:lnTo>
                <a:lnTo>
                  <a:pt x="1432419" y="655687"/>
                </a:lnTo>
                <a:lnTo>
                  <a:pt x="1431768" y="653629"/>
                </a:lnTo>
                <a:lnTo>
                  <a:pt x="1426016" y="657744"/>
                </a:lnTo>
                <a:lnTo>
                  <a:pt x="1425148" y="661209"/>
                </a:lnTo>
                <a:lnTo>
                  <a:pt x="1421567" y="662941"/>
                </a:lnTo>
                <a:lnTo>
                  <a:pt x="1419180" y="660450"/>
                </a:lnTo>
                <a:lnTo>
                  <a:pt x="1414731" y="664240"/>
                </a:lnTo>
                <a:lnTo>
                  <a:pt x="1411801" y="668896"/>
                </a:lnTo>
                <a:lnTo>
                  <a:pt x="1408436" y="669112"/>
                </a:lnTo>
                <a:lnTo>
                  <a:pt x="1406050" y="673010"/>
                </a:lnTo>
                <a:lnTo>
                  <a:pt x="1410173" y="678315"/>
                </a:lnTo>
                <a:lnTo>
                  <a:pt x="1414839" y="680805"/>
                </a:lnTo>
                <a:lnTo>
                  <a:pt x="1410064" y="675284"/>
                </a:lnTo>
                <a:lnTo>
                  <a:pt x="1410824" y="673551"/>
                </a:lnTo>
                <a:lnTo>
                  <a:pt x="1415273" y="674959"/>
                </a:lnTo>
                <a:lnTo>
                  <a:pt x="1417660" y="673227"/>
                </a:lnTo>
                <a:lnTo>
                  <a:pt x="1421784" y="674634"/>
                </a:lnTo>
                <a:lnTo>
                  <a:pt x="1420048" y="670411"/>
                </a:lnTo>
                <a:lnTo>
                  <a:pt x="1425908" y="664240"/>
                </a:lnTo>
                <a:lnTo>
                  <a:pt x="1433938" y="662183"/>
                </a:lnTo>
                <a:lnTo>
                  <a:pt x="1438387" y="662183"/>
                </a:lnTo>
                <a:lnTo>
                  <a:pt x="1450758" y="654279"/>
                </a:lnTo>
                <a:lnTo>
                  <a:pt x="1451843" y="650490"/>
                </a:lnTo>
                <a:lnTo>
                  <a:pt x="1455641" y="649407"/>
                </a:lnTo>
                <a:lnTo>
                  <a:pt x="1458788" y="652872"/>
                </a:lnTo>
                <a:lnTo>
                  <a:pt x="1461827" y="650490"/>
                </a:lnTo>
                <a:lnTo>
                  <a:pt x="1465299" y="649840"/>
                </a:lnTo>
                <a:lnTo>
                  <a:pt x="1465950" y="651897"/>
                </a:lnTo>
                <a:lnTo>
                  <a:pt x="1473221" y="647025"/>
                </a:lnTo>
                <a:lnTo>
                  <a:pt x="1474957" y="649840"/>
                </a:lnTo>
                <a:lnTo>
                  <a:pt x="1469098" y="657419"/>
                </a:lnTo>
                <a:lnTo>
                  <a:pt x="1469749" y="661209"/>
                </a:lnTo>
                <a:lnTo>
                  <a:pt x="1474957" y="652872"/>
                </a:lnTo>
                <a:lnTo>
                  <a:pt x="1482553" y="651139"/>
                </a:lnTo>
                <a:lnTo>
                  <a:pt x="1496335" y="640854"/>
                </a:lnTo>
                <a:lnTo>
                  <a:pt x="1503606" y="640854"/>
                </a:lnTo>
                <a:lnTo>
                  <a:pt x="1509140" y="637389"/>
                </a:lnTo>
                <a:lnTo>
                  <a:pt x="1517713" y="637064"/>
                </a:lnTo>
                <a:lnTo>
                  <a:pt x="1521945" y="634683"/>
                </a:lnTo>
                <a:lnTo>
                  <a:pt x="1526069" y="634683"/>
                </a:lnTo>
                <a:lnTo>
                  <a:pt x="1524658" y="639446"/>
                </a:lnTo>
                <a:lnTo>
                  <a:pt x="1518472" y="641504"/>
                </a:lnTo>
                <a:lnTo>
                  <a:pt x="1518472" y="645293"/>
                </a:lnTo>
                <a:lnTo>
                  <a:pt x="1522271" y="648107"/>
                </a:lnTo>
                <a:lnTo>
                  <a:pt x="1528131" y="641504"/>
                </a:lnTo>
                <a:lnTo>
                  <a:pt x="1539199" y="636307"/>
                </a:lnTo>
                <a:lnTo>
                  <a:pt x="1541586" y="636740"/>
                </a:lnTo>
                <a:lnTo>
                  <a:pt x="1541261" y="633600"/>
                </a:lnTo>
                <a:lnTo>
                  <a:pt x="1545710" y="630136"/>
                </a:lnTo>
                <a:lnTo>
                  <a:pt x="1549508" y="631868"/>
                </a:lnTo>
                <a:lnTo>
                  <a:pt x="1549834" y="628078"/>
                </a:lnTo>
                <a:lnTo>
                  <a:pt x="1551244" y="625371"/>
                </a:lnTo>
                <a:lnTo>
                  <a:pt x="1554283" y="628403"/>
                </a:lnTo>
                <a:lnTo>
                  <a:pt x="1558081" y="629485"/>
                </a:lnTo>
                <a:lnTo>
                  <a:pt x="1559166" y="622232"/>
                </a:lnTo>
                <a:lnTo>
                  <a:pt x="1557105" y="617035"/>
                </a:lnTo>
                <a:lnTo>
                  <a:pt x="1559492" y="614328"/>
                </a:lnTo>
                <a:lnTo>
                  <a:pt x="1556779" y="611188"/>
                </a:lnTo>
                <a:lnTo>
                  <a:pt x="1560903" y="605017"/>
                </a:lnTo>
                <a:lnTo>
                  <a:pt x="1567739" y="602310"/>
                </a:lnTo>
                <a:lnTo>
                  <a:pt x="1567739" y="608481"/>
                </a:lnTo>
                <a:lnTo>
                  <a:pt x="1569150" y="626671"/>
                </a:lnTo>
                <a:lnTo>
                  <a:pt x="1566437" y="631868"/>
                </a:lnTo>
                <a:lnTo>
                  <a:pt x="1567088" y="646700"/>
                </a:lnTo>
                <a:lnTo>
                  <a:pt x="1562964" y="655254"/>
                </a:lnTo>
                <a:lnTo>
                  <a:pt x="1562639" y="676691"/>
                </a:lnTo>
                <a:lnTo>
                  <a:pt x="1564701" y="682538"/>
                </a:lnTo>
                <a:lnTo>
                  <a:pt x="1569801" y="684270"/>
                </a:lnTo>
                <a:lnTo>
                  <a:pt x="1572948" y="691091"/>
                </a:lnTo>
                <a:lnTo>
                  <a:pt x="1580544" y="686976"/>
                </a:lnTo>
                <a:lnTo>
                  <a:pt x="1578157" y="683512"/>
                </a:lnTo>
                <a:lnTo>
                  <a:pt x="1573707" y="683512"/>
                </a:lnTo>
                <a:lnTo>
                  <a:pt x="1572297" y="680480"/>
                </a:lnTo>
                <a:lnTo>
                  <a:pt x="1576746" y="677666"/>
                </a:lnTo>
                <a:lnTo>
                  <a:pt x="1581303" y="679398"/>
                </a:lnTo>
                <a:lnTo>
                  <a:pt x="1582606" y="674201"/>
                </a:lnTo>
                <a:lnTo>
                  <a:pt x="1579893" y="673227"/>
                </a:lnTo>
                <a:lnTo>
                  <a:pt x="1584668" y="669112"/>
                </a:lnTo>
                <a:lnTo>
                  <a:pt x="1590853" y="669437"/>
                </a:lnTo>
                <a:lnTo>
                  <a:pt x="1591612" y="673227"/>
                </a:lnTo>
                <a:lnTo>
                  <a:pt x="1595411" y="669762"/>
                </a:lnTo>
                <a:lnTo>
                  <a:pt x="1590527" y="660776"/>
                </a:lnTo>
                <a:lnTo>
                  <a:pt x="1595085" y="661533"/>
                </a:lnTo>
                <a:lnTo>
                  <a:pt x="1603984" y="656011"/>
                </a:lnTo>
                <a:lnTo>
                  <a:pt x="1603984" y="652222"/>
                </a:lnTo>
                <a:lnTo>
                  <a:pt x="1609518" y="650815"/>
                </a:lnTo>
                <a:lnTo>
                  <a:pt x="1610603" y="656336"/>
                </a:lnTo>
                <a:lnTo>
                  <a:pt x="1610386" y="659801"/>
                </a:lnTo>
                <a:lnTo>
                  <a:pt x="1605937" y="664132"/>
                </a:lnTo>
                <a:lnTo>
                  <a:pt x="1606479" y="666622"/>
                </a:lnTo>
                <a:lnTo>
                  <a:pt x="1601922" y="670519"/>
                </a:lnTo>
                <a:lnTo>
                  <a:pt x="1601271" y="673335"/>
                </a:lnTo>
                <a:lnTo>
                  <a:pt x="1603116" y="675284"/>
                </a:lnTo>
                <a:lnTo>
                  <a:pt x="1606588" y="674201"/>
                </a:lnTo>
                <a:lnTo>
                  <a:pt x="1607782" y="676799"/>
                </a:lnTo>
                <a:lnTo>
                  <a:pt x="1606696" y="678748"/>
                </a:lnTo>
                <a:lnTo>
                  <a:pt x="1603116" y="680480"/>
                </a:lnTo>
                <a:lnTo>
                  <a:pt x="1598883" y="684703"/>
                </a:lnTo>
                <a:lnTo>
                  <a:pt x="1595954" y="684270"/>
                </a:lnTo>
                <a:lnTo>
                  <a:pt x="1594325" y="686652"/>
                </a:lnTo>
                <a:lnTo>
                  <a:pt x="1590853" y="691091"/>
                </a:lnTo>
                <a:lnTo>
                  <a:pt x="1593675" y="693906"/>
                </a:lnTo>
                <a:lnTo>
                  <a:pt x="1600620" y="694880"/>
                </a:lnTo>
                <a:lnTo>
                  <a:pt x="1604309" y="697696"/>
                </a:lnTo>
                <a:lnTo>
                  <a:pt x="1608867" y="697263"/>
                </a:lnTo>
                <a:lnTo>
                  <a:pt x="1612990" y="693582"/>
                </a:lnTo>
                <a:lnTo>
                  <a:pt x="1617873" y="692498"/>
                </a:lnTo>
                <a:lnTo>
                  <a:pt x="1622648" y="683837"/>
                </a:lnTo>
                <a:lnTo>
                  <a:pt x="1628183" y="678315"/>
                </a:lnTo>
                <a:lnTo>
                  <a:pt x="1633392" y="676691"/>
                </a:lnTo>
                <a:lnTo>
                  <a:pt x="1636430" y="679398"/>
                </a:lnTo>
                <a:lnTo>
                  <a:pt x="1641313" y="680047"/>
                </a:lnTo>
                <a:lnTo>
                  <a:pt x="1645111" y="683188"/>
                </a:lnTo>
                <a:lnTo>
                  <a:pt x="1649235" y="683512"/>
                </a:lnTo>
                <a:lnTo>
                  <a:pt x="1655095" y="688060"/>
                </a:lnTo>
                <a:lnTo>
                  <a:pt x="1659218" y="688060"/>
                </a:lnTo>
                <a:lnTo>
                  <a:pt x="1659218" y="692498"/>
                </a:lnTo>
                <a:lnTo>
                  <a:pt x="1663342" y="703867"/>
                </a:lnTo>
                <a:lnTo>
                  <a:pt x="1663342" y="710039"/>
                </a:lnTo>
                <a:lnTo>
                  <a:pt x="1668877" y="718267"/>
                </a:lnTo>
                <a:lnTo>
                  <a:pt x="1688192" y="730393"/>
                </a:lnTo>
                <a:lnTo>
                  <a:pt x="1689604" y="734832"/>
                </a:lnTo>
                <a:lnTo>
                  <a:pt x="1696223" y="737973"/>
                </a:lnTo>
                <a:lnTo>
                  <a:pt x="1703276" y="745551"/>
                </a:lnTo>
                <a:lnTo>
                  <a:pt x="1705664" y="745551"/>
                </a:lnTo>
                <a:lnTo>
                  <a:pt x="1710547" y="748799"/>
                </a:lnTo>
                <a:lnTo>
                  <a:pt x="1712175" y="753022"/>
                </a:lnTo>
                <a:lnTo>
                  <a:pt x="1715213" y="754863"/>
                </a:lnTo>
                <a:lnTo>
                  <a:pt x="1717601" y="752589"/>
                </a:lnTo>
                <a:lnTo>
                  <a:pt x="1719120" y="755512"/>
                </a:lnTo>
                <a:lnTo>
                  <a:pt x="1726174" y="760167"/>
                </a:lnTo>
                <a:lnTo>
                  <a:pt x="1730189" y="760167"/>
                </a:lnTo>
                <a:lnTo>
                  <a:pt x="1730189" y="764824"/>
                </a:lnTo>
                <a:lnTo>
                  <a:pt x="1733444" y="769154"/>
                </a:lnTo>
                <a:lnTo>
                  <a:pt x="1735180" y="764824"/>
                </a:lnTo>
                <a:lnTo>
                  <a:pt x="1733118" y="761900"/>
                </a:lnTo>
                <a:lnTo>
                  <a:pt x="1734095" y="759302"/>
                </a:lnTo>
                <a:lnTo>
                  <a:pt x="1729755" y="755728"/>
                </a:lnTo>
                <a:lnTo>
                  <a:pt x="1729755" y="753130"/>
                </a:lnTo>
                <a:lnTo>
                  <a:pt x="1736700" y="756703"/>
                </a:lnTo>
                <a:lnTo>
                  <a:pt x="1738219" y="760385"/>
                </a:lnTo>
                <a:lnTo>
                  <a:pt x="1740281" y="760167"/>
                </a:lnTo>
                <a:lnTo>
                  <a:pt x="1741691" y="756595"/>
                </a:lnTo>
                <a:lnTo>
                  <a:pt x="1743536" y="756053"/>
                </a:lnTo>
                <a:lnTo>
                  <a:pt x="1749938" y="762225"/>
                </a:lnTo>
                <a:lnTo>
                  <a:pt x="1751024" y="765581"/>
                </a:lnTo>
                <a:lnTo>
                  <a:pt x="1754062" y="766881"/>
                </a:lnTo>
                <a:lnTo>
                  <a:pt x="1756667" y="772944"/>
                </a:lnTo>
                <a:lnTo>
                  <a:pt x="1759054" y="777058"/>
                </a:lnTo>
                <a:lnTo>
                  <a:pt x="1759596" y="782905"/>
                </a:lnTo>
                <a:lnTo>
                  <a:pt x="1761876" y="788318"/>
                </a:lnTo>
                <a:lnTo>
                  <a:pt x="1759596" y="793082"/>
                </a:lnTo>
                <a:lnTo>
                  <a:pt x="1759054" y="798387"/>
                </a:lnTo>
                <a:lnTo>
                  <a:pt x="1754822" y="803151"/>
                </a:lnTo>
                <a:lnTo>
                  <a:pt x="1744296" y="799362"/>
                </a:lnTo>
                <a:lnTo>
                  <a:pt x="1738436" y="798820"/>
                </a:lnTo>
                <a:lnTo>
                  <a:pt x="1738545" y="800769"/>
                </a:lnTo>
                <a:lnTo>
                  <a:pt x="1736483" y="802285"/>
                </a:lnTo>
                <a:lnTo>
                  <a:pt x="1730514" y="799903"/>
                </a:lnTo>
                <a:lnTo>
                  <a:pt x="1726499" y="799687"/>
                </a:lnTo>
                <a:lnTo>
                  <a:pt x="1727692" y="803368"/>
                </a:lnTo>
                <a:lnTo>
                  <a:pt x="1723786" y="806074"/>
                </a:lnTo>
                <a:lnTo>
                  <a:pt x="1723244" y="811055"/>
                </a:lnTo>
                <a:lnTo>
                  <a:pt x="1718251" y="810513"/>
                </a:lnTo>
                <a:lnTo>
                  <a:pt x="1713911" y="812138"/>
                </a:lnTo>
                <a:lnTo>
                  <a:pt x="1715647" y="814519"/>
                </a:lnTo>
                <a:lnTo>
                  <a:pt x="1720313" y="816577"/>
                </a:lnTo>
                <a:lnTo>
                  <a:pt x="1721724" y="821882"/>
                </a:lnTo>
                <a:lnTo>
                  <a:pt x="1725631" y="825130"/>
                </a:lnTo>
                <a:lnTo>
                  <a:pt x="1728560" y="823290"/>
                </a:lnTo>
                <a:lnTo>
                  <a:pt x="1734095" y="827729"/>
                </a:lnTo>
                <a:lnTo>
                  <a:pt x="1734421" y="831843"/>
                </a:lnTo>
                <a:lnTo>
                  <a:pt x="1741040" y="831843"/>
                </a:lnTo>
                <a:lnTo>
                  <a:pt x="1748419" y="836390"/>
                </a:lnTo>
                <a:lnTo>
                  <a:pt x="1756341" y="836823"/>
                </a:lnTo>
                <a:lnTo>
                  <a:pt x="1766325" y="841370"/>
                </a:lnTo>
                <a:lnTo>
                  <a:pt x="1772402" y="841696"/>
                </a:lnTo>
                <a:lnTo>
                  <a:pt x="1772402" y="839097"/>
                </a:lnTo>
                <a:lnTo>
                  <a:pt x="1774789" y="838772"/>
                </a:lnTo>
                <a:lnTo>
                  <a:pt x="1779021" y="841154"/>
                </a:lnTo>
                <a:lnTo>
                  <a:pt x="1778696" y="844944"/>
                </a:lnTo>
                <a:lnTo>
                  <a:pt x="1785641" y="839422"/>
                </a:lnTo>
                <a:lnTo>
                  <a:pt x="1788028" y="842129"/>
                </a:lnTo>
                <a:lnTo>
                  <a:pt x="1790958" y="841804"/>
                </a:lnTo>
                <a:lnTo>
                  <a:pt x="1794213" y="838014"/>
                </a:lnTo>
                <a:lnTo>
                  <a:pt x="1796275" y="838231"/>
                </a:lnTo>
                <a:lnTo>
                  <a:pt x="1796167" y="840505"/>
                </a:lnTo>
                <a:lnTo>
                  <a:pt x="1798663" y="841479"/>
                </a:lnTo>
                <a:lnTo>
                  <a:pt x="1806259" y="837582"/>
                </a:lnTo>
                <a:lnTo>
                  <a:pt x="1819389" y="832709"/>
                </a:lnTo>
                <a:lnTo>
                  <a:pt x="1823404" y="831843"/>
                </a:lnTo>
                <a:lnTo>
                  <a:pt x="1823187" y="836390"/>
                </a:lnTo>
                <a:lnTo>
                  <a:pt x="1821994" y="838772"/>
                </a:lnTo>
                <a:lnTo>
                  <a:pt x="1821994" y="840505"/>
                </a:lnTo>
                <a:lnTo>
                  <a:pt x="1824164" y="840613"/>
                </a:lnTo>
                <a:lnTo>
                  <a:pt x="1824598" y="845593"/>
                </a:lnTo>
                <a:lnTo>
                  <a:pt x="1823839" y="849274"/>
                </a:lnTo>
                <a:lnTo>
                  <a:pt x="1825032" y="851764"/>
                </a:lnTo>
                <a:lnTo>
                  <a:pt x="1826660" y="852847"/>
                </a:lnTo>
                <a:lnTo>
                  <a:pt x="1829373" y="849924"/>
                </a:lnTo>
                <a:lnTo>
                  <a:pt x="1832303" y="852523"/>
                </a:lnTo>
                <a:lnTo>
                  <a:pt x="1831651" y="856637"/>
                </a:lnTo>
                <a:lnTo>
                  <a:pt x="1828505" y="864216"/>
                </a:lnTo>
                <a:lnTo>
                  <a:pt x="1829590" y="869196"/>
                </a:lnTo>
                <a:lnTo>
                  <a:pt x="1830892" y="870171"/>
                </a:lnTo>
                <a:lnTo>
                  <a:pt x="1834365" y="866814"/>
                </a:lnTo>
                <a:lnTo>
                  <a:pt x="1835016" y="860968"/>
                </a:lnTo>
                <a:lnTo>
                  <a:pt x="1836752" y="858045"/>
                </a:lnTo>
                <a:lnTo>
                  <a:pt x="1838163" y="858045"/>
                </a:lnTo>
                <a:lnTo>
                  <a:pt x="1837620" y="864324"/>
                </a:lnTo>
                <a:lnTo>
                  <a:pt x="1834365" y="872120"/>
                </a:lnTo>
                <a:lnTo>
                  <a:pt x="1830892" y="877316"/>
                </a:lnTo>
                <a:lnTo>
                  <a:pt x="1830567" y="885653"/>
                </a:lnTo>
                <a:lnTo>
                  <a:pt x="1833822" y="890851"/>
                </a:lnTo>
                <a:lnTo>
                  <a:pt x="1834039" y="899079"/>
                </a:lnTo>
                <a:lnTo>
                  <a:pt x="1832303" y="904926"/>
                </a:lnTo>
                <a:lnTo>
                  <a:pt x="1837294" y="908498"/>
                </a:lnTo>
                <a:lnTo>
                  <a:pt x="1837294" y="911530"/>
                </a:lnTo>
                <a:lnTo>
                  <a:pt x="1835233" y="915428"/>
                </a:lnTo>
                <a:lnTo>
                  <a:pt x="1837294" y="917810"/>
                </a:lnTo>
                <a:lnTo>
                  <a:pt x="1839899" y="924847"/>
                </a:lnTo>
                <a:lnTo>
                  <a:pt x="1840767" y="939681"/>
                </a:lnTo>
                <a:lnTo>
                  <a:pt x="1841093" y="924847"/>
                </a:lnTo>
                <a:lnTo>
                  <a:pt x="1838488" y="913154"/>
                </a:lnTo>
                <a:lnTo>
                  <a:pt x="1839899" y="902869"/>
                </a:lnTo>
                <a:lnTo>
                  <a:pt x="1845433" y="892908"/>
                </a:lnTo>
                <a:lnTo>
                  <a:pt x="1848689" y="893016"/>
                </a:lnTo>
                <a:lnTo>
                  <a:pt x="1848689" y="897347"/>
                </a:lnTo>
                <a:lnTo>
                  <a:pt x="1846952" y="897996"/>
                </a:lnTo>
                <a:lnTo>
                  <a:pt x="1846302" y="901894"/>
                </a:lnTo>
                <a:lnTo>
                  <a:pt x="1847929" y="903085"/>
                </a:lnTo>
                <a:lnTo>
                  <a:pt x="1851076" y="901028"/>
                </a:lnTo>
                <a:lnTo>
                  <a:pt x="1852270" y="902869"/>
                </a:lnTo>
                <a:lnTo>
                  <a:pt x="1854331" y="900703"/>
                </a:lnTo>
                <a:lnTo>
                  <a:pt x="1854331" y="895831"/>
                </a:lnTo>
                <a:lnTo>
                  <a:pt x="1851618" y="891500"/>
                </a:lnTo>
                <a:lnTo>
                  <a:pt x="1851402" y="888793"/>
                </a:lnTo>
                <a:lnTo>
                  <a:pt x="1855959" y="887602"/>
                </a:lnTo>
                <a:lnTo>
                  <a:pt x="1857153" y="885112"/>
                </a:lnTo>
                <a:lnTo>
                  <a:pt x="1852813" y="881755"/>
                </a:lnTo>
                <a:lnTo>
                  <a:pt x="1853138" y="878508"/>
                </a:lnTo>
                <a:lnTo>
                  <a:pt x="1855417" y="869521"/>
                </a:lnTo>
                <a:lnTo>
                  <a:pt x="1859541" y="857503"/>
                </a:lnTo>
                <a:lnTo>
                  <a:pt x="1858456" y="853497"/>
                </a:lnTo>
                <a:lnTo>
                  <a:pt x="1858456" y="849708"/>
                </a:lnTo>
                <a:lnTo>
                  <a:pt x="1861602" y="847325"/>
                </a:lnTo>
                <a:lnTo>
                  <a:pt x="1868330" y="846676"/>
                </a:lnTo>
                <a:lnTo>
                  <a:pt x="1868656" y="845160"/>
                </a:lnTo>
                <a:lnTo>
                  <a:pt x="1870718" y="842345"/>
                </a:lnTo>
                <a:lnTo>
                  <a:pt x="1873973" y="841804"/>
                </a:lnTo>
                <a:lnTo>
                  <a:pt x="1876035" y="844294"/>
                </a:lnTo>
                <a:lnTo>
                  <a:pt x="1879507" y="842670"/>
                </a:lnTo>
                <a:lnTo>
                  <a:pt x="1882437" y="838772"/>
                </a:lnTo>
                <a:lnTo>
                  <a:pt x="1884717" y="838556"/>
                </a:lnTo>
                <a:lnTo>
                  <a:pt x="1884717" y="841804"/>
                </a:lnTo>
                <a:lnTo>
                  <a:pt x="1887103" y="840613"/>
                </a:lnTo>
                <a:lnTo>
                  <a:pt x="1892313" y="839747"/>
                </a:lnTo>
                <a:lnTo>
                  <a:pt x="1894700" y="835091"/>
                </a:lnTo>
                <a:lnTo>
                  <a:pt x="1897413" y="835091"/>
                </a:lnTo>
                <a:lnTo>
                  <a:pt x="1899041" y="838772"/>
                </a:lnTo>
                <a:lnTo>
                  <a:pt x="1901211" y="839313"/>
                </a:lnTo>
                <a:lnTo>
                  <a:pt x="1902404" y="845268"/>
                </a:lnTo>
                <a:lnTo>
                  <a:pt x="1902296" y="839313"/>
                </a:lnTo>
                <a:lnTo>
                  <a:pt x="1900668" y="834117"/>
                </a:lnTo>
                <a:lnTo>
                  <a:pt x="1904467" y="826862"/>
                </a:lnTo>
                <a:lnTo>
                  <a:pt x="1907830" y="826754"/>
                </a:lnTo>
                <a:lnTo>
                  <a:pt x="1910001" y="828486"/>
                </a:lnTo>
                <a:lnTo>
                  <a:pt x="1914016" y="828270"/>
                </a:lnTo>
                <a:lnTo>
                  <a:pt x="1916620" y="826538"/>
                </a:lnTo>
                <a:lnTo>
                  <a:pt x="1919442" y="828811"/>
                </a:lnTo>
                <a:lnTo>
                  <a:pt x="1924867" y="822964"/>
                </a:lnTo>
                <a:lnTo>
                  <a:pt x="1923131" y="819825"/>
                </a:lnTo>
                <a:lnTo>
                  <a:pt x="1926170" y="816577"/>
                </a:lnTo>
                <a:lnTo>
                  <a:pt x="1921937" y="816252"/>
                </a:lnTo>
                <a:lnTo>
                  <a:pt x="1921395" y="814844"/>
                </a:lnTo>
                <a:lnTo>
                  <a:pt x="1917814" y="815061"/>
                </a:lnTo>
                <a:lnTo>
                  <a:pt x="1908156" y="818417"/>
                </a:lnTo>
                <a:lnTo>
                  <a:pt x="1905335" y="818093"/>
                </a:lnTo>
                <a:lnTo>
                  <a:pt x="1904032" y="821341"/>
                </a:lnTo>
                <a:lnTo>
                  <a:pt x="1899801" y="821774"/>
                </a:lnTo>
                <a:lnTo>
                  <a:pt x="1899801" y="824697"/>
                </a:lnTo>
                <a:lnTo>
                  <a:pt x="1898824" y="827079"/>
                </a:lnTo>
                <a:lnTo>
                  <a:pt x="1894808" y="822207"/>
                </a:lnTo>
                <a:lnTo>
                  <a:pt x="1895351" y="818417"/>
                </a:lnTo>
                <a:lnTo>
                  <a:pt x="1892638" y="820691"/>
                </a:lnTo>
                <a:lnTo>
                  <a:pt x="1891553" y="824805"/>
                </a:lnTo>
                <a:lnTo>
                  <a:pt x="1888297" y="826213"/>
                </a:lnTo>
                <a:lnTo>
                  <a:pt x="1883849" y="823290"/>
                </a:lnTo>
                <a:lnTo>
                  <a:pt x="1880159" y="823290"/>
                </a:lnTo>
                <a:lnTo>
                  <a:pt x="1879507" y="821016"/>
                </a:lnTo>
                <a:lnTo>
                  <a:pt x="1876469" y="821882"/>
                </a:lnTo>
                <a:lnTo>
                  <a:pt x="1875926" y="824697"/>
                </a:lnTo>
                <a:lnTo>
                  <a:pt x="1879182" y="827945"/>
                </a:lnTo>
                <a:lnTo>
                  <a:pt x="1879182" y="830652"/>
                </a:lnTo>
                <a:lnTo>
                  <a:pt x="1874190" y="832276"/>
                </a:lnTo>
                <a:lnTo>
                  <a:pt x="1872780" y="830002"/>
                </a:lnTo>
                <a:lnTo>
                  <a:pt x="1866377" y="829136"/>
                </a:lnTo>
                <a:lnTo>
                  <a:pt x="1865509" y="826754"/>
                </a:lnTo>
                <a:lnTo>
                  <a:pt x="1868547" y="824156"/>
                </a:lnTo>
                <a:lnTo>
                  <a:pt x="1869850" y="819825"/>
                </a:lnTo>
                <a:lnTo>
                  <a:pt x="1868005" y="819609"/>
                </a:lnTo>
                <a:lnTo>
                  <a:pt x="1865184" y="821341"/>
                </a:lnTo>
                <a:lnTo>
                  <a:pt x="1861602" y="819500"/>
                </a:lnTo>
                <a:lnTo>
                  <a:pt x="1863447" y="815711"/>
                </a:lnTo>
                <a:lnTo>
                  <a:pt x="1867788" y="813112"/>
                </a:lnTo>
                <a:lnTo>
                  <a:pt x="1873864" y="804558"/>
                </a:lnTo>
                <a:lnTo>
                  <a:pt x="1878097" y="804558"/>
                </a:lnTo>
                <a:lnTo>
                  <a:pt x="1883306" y="805966"/>
                </a:lnTo>
                <a:lnTo>
                  <a:pt x="1900668" y="805209"/>
                </a:lnTo>
                <a:lnTo>
                  <a:pt x="1912931" y="801419"/>
                </a:lnTo>
                <a:lnTo>
                  <a:pt x="1916186" y="802177"/>
                </a:lnTo>
                <a:lnTo>
                  <a:pt x="1922263" y="800011"/>
                </a:lnTo>
                <a:lnTo>
                  <a:pt x="1924433" y="803476"/>
                </a:lnTo>
                <a:lnTo>
                  <a:pt x="1927363" y="806074"/>
                </a:lnTo>
                <a:lnTo>
                  <a:pt x="1929642" y="806291"/>
                </a:lnTo>
                <a:lnTo>
                  <a:pt x="1931053" y="810080"/>
                </a:lnTo>
                <a:lnTo>
                  <a:pt x="1930185" y="819609"/>
                </a:lnTo>
                <a:lnTo>
                  <a:pt x="1928991" y="822748"/>
                </a:lnTo>
                <a:lnTo>
                  <a:pt x="1931270" y="824156"/>
                </a:lnTo>
                <a:lnTo>
                  <a:pt x="1930510" y="825996"/>
                </a:lnTo>
                <a:lnTo>
                  <a:pt x="1926712" y="828486"/>
                </a:lnTo>
                <a:lnTo>
                  <a:pt x="1927255" y="830111"/>
                </a:lnTo>
                <a:lnTo>
                  <a:pt x="1928991" y="831518"/>
                </a:lnTo>
                <a:lnTo>
                  <a:pt x="1930185" y="840829"/>
                </a:lnTo>
                <a:lnTo>
                  <a:pt x="1933766" y="840937"/>
                </a:lnTo>
                <a:lnTo>
                  <a:pt x="1936696" y="842345"/>
                </a:lnTo>
                <a:lnTo>
                  <a:pt x="1936696" y="844727"/>
                </a:lnTo>
                <a:lnTo>
                  <a:pt x="1932898" y="847542"/>
                </a:lnTo>
                <a:lnTo>
                  <a:pt x="1932572" y="851115"/>
                </a:lnTo>
                <a:lnTo>
                  <a:pt x="1930728" y="854255"/>
                </a:lnTo>
                <a:lnTo>
                  <a:pt x="1935394" y="854039"/>
                </a:lnTo>
                <a:lnTo>
                  <a:pt x="1939626" y="855988"/>
                </a:lnTo>
                <a:lnTo>
                  <a:pt x="1940494" y="857719"/>
                </a:lnTo>
                <a:lnTo>
                  <a:pt x="1942447" y="857178"/>
                </a:lnTo>
                <a:lnTo>
                  <a:pt x="1945703" y="860751"/>
                </a:lnTo>
                <a:lnTo>
                  <a:pt x="1950694" y="860968"/>
                </a:lnTo>
                <a:lnTo>
                  <a:pt x="1954818" y="858478"/>
                </a:lnTo>
                <a:lnTo>
                  <a:pt x="1956554" y="859560"/>
                </a:lnTo>
                <a:lnTo>
                  <a:pt x="1956229" y="862808"/>
                </a:lnTo>
                <a:lnTo>
                  <a:pt x="1957423" y="864216"/>
                </a:lnTo>
                <a:lnTo>
                  <a:pt x="1959592" y="863349"/>
                </a:lnTo>
                <a:lnTo>
                  <a:pt x="1962089" y="866273"/>
                </a:lnTo>
                <a:lnTo>
                  <a:pt x="1960787" y="868547"/>
                </a:lnTo>
                <a:lnTo>
                  <a:pt x="1960787" y="871362"/>
                </a:lnTo>
                <a:lnTo>
                  <a:pt x="1962849" y="872228"/>
                </a:lnTo>
                <a:lnTo>
                  <a:pt x="1963825" y="875151"/>
                </a:lnTo>
                <a:lnTo>
                  <a:pt x="1970336" y="881431"/>
                </a:lnTo>
                <a:lnTo>
                  <a:pt x="1970336" y="884787"/>
                </a:lnTo>
                <a:lnTo>
                  <a:pt x="1975436" y="881214"/>
                </a:lnTo>
                <a:lnTo>
                  <a:pt x="1977172" y="882622"/>
                </a:lnTo>
                <a:lnTo>
                  <a:pt x="1977932" y="886736"/>
                </a:lnTo>
                <a:lnTo>
                  <a:pt x="1979126" y="887277"/>
                </a:lnTo>
                <a:lnTo>
                  <a:pt x="1984118" y="891392"/>
                </a:lnTo>
                <a:lnTo>
                  <a:pt x="1989435" y="888577"/>
                </a:lnTo>
                <a:lnTo>
                  <a:pt x="1997357" y="888902"/>
                </a:lnTo>
                <a:lnTo>
                  <a:pt x="1999744" y="885112"/>
                </a:lnTo>
                <a:lnTo>
                  <a:pt x="2006146" y="881755"/>
                </a:lnTo>
                <a:lnTo>
                  <a:pt x="2007557" y="881755"/>
                </a:lnTo>
                <a:lnTo>
                  <a:pt x="2008968" y="884463"/>
                </a:lnTo>
                <a:lnTo>
                  <a:pt x="2018192" y="883921"/>
                </a:lnTo>
                <a:lnTo>
                  <a:pt x="2026113" y="890200"/>
                </a:lnTo>
                <a:lnTo>
                  <a:pt x="2029694" y="891175"/>
                </a:lnTo>
                <a:lnTo>
                  <a:pt x="2033384" y="894640"/>
                </a:lnTo>
                <a:lnTo>
                  <a:pt x="2035446" y="892908"/>
                </a:lnTo>
                <a:lnTo>
                  <a:pt x="2044019" y="891067"/>
                </a:lnTo>
                <a:lnTo>
                  <a:pt x="2047166" y="895181"/>
                </a:lnTo>
                <a:lnTo>
                  <a:pt x="2049553" y="893557"/>
                </a:lnTo>
                <a:lnTo>
                  <a:pt x="2048902" y="888468"/>
                </a:lnTo>
                <a:lnTo>
                  <a:pt x="2045213" y="884354"/>
                </a:lnTo>
                <a:lnTo>
                  <a:pt x="2043910" y="877749"/>
                </a:lnTo>
                <a:lnTo>
                  <a:pt x="2045646" y="875692"/>
                </a:lnTo>
                <a:lnTo>
                  <a:pt x="2048359" y="876234"/>
                </a:lnTo>
                <a:lnTo>
                  <a:pt x="2050964" y="883921"/>
                </a:lnTo>
                <a:lnTo>
                  <a:pt x="2052158" y="890200"/>
                </a:lnTo>
                <a:lnTo>
                  <a:pt x="2058669" y="897996"/>
                </a:lnTo>
                <a:lnTo>
                  <a:pt x="2061924" y="900703"/>
                </a:lnTo>
                <a:lnTo>
                  <a:pt x="2063552" y="906008"/>
                </a:lnTo>
                <a:lnTo>
                  <a:pt x="2063877" y="896155"/>
                </a:lnTo>
                <a:lnTo>
                  <a:pt x="2061490" y="892908"/>
                </a:lnTo>
                <a:lnTo>
                  <a:pt x="2054871" y="890200"/>
                </a:lnTo>
                <a:lnTo>
                  <a:pt x="2053351" y="883271"/>
                </a:lnTo>
                <a:lnTo>
                  <a:pt x="2050964" y="873852"/>
                </a:lnTo>
                <a:lnTo>
                  <a:pt x="2052158" y="870604"/>
                </a:lnTo>
                <a:lnTo>
                  <a:pt x="2054002" y="871037"/>
                </a:lnTo>
                <a:lnTo>
                  <a:pt x="2054219" y="874176"/>
                </a:lnTo>
                <a:lnTo>
                  <a:pt x="2056064" y="876017"/>
                </a:lnTo>
                <a:lnTo>
                  <a:pt x="2058669" y="873960"/>
                </a:lnTo>
                <a:lnTo>
                  <a:pt x="2058669" y="870712"/>
                </a:lnTo>
                <a:lnTo>
                  <a:pt x="2056607" y="866814"/>
                </a:lnTo>
                <a:lnTo>
                  <a:pt x="2058234" y="864216"/>
                </a:lnTo>
                <a:lnTo>
                  <a:pt x="2056824" y="861617"/>
                </a:lnTo>
                <a:lnTo>
                  <a:pt x="2057692" y="858694"/>
                </a:lnTo>
                <a:lnTo>
                  <a:pt x="2061273" y="858911"/>
                </a:lnTo>
                <a:lnTo>
                  <a:pt x="2063877" y="862484"/>
                </a:lnTo>
                <a:lnTo>
                  <a:pt x="2063660" y="865515"/>
                </a:lnTo>
                <a:lnTo>
                  <a:pt x="2065722" y="866814"/>
                </a:lnTo>
                <a:lnTo>
                  <a:pt x="2066590" y="864865"/>
                </a:lnTo>
                <a:lnTo>
                  <a:pt x="2071474" y="862159"/>
                </a:lnTo>
                <a:lnTo>
                  <a:pt x="2073210" y="857286"/>
                </a:lnTo>
                <a:lnTo>
                  <a:pt x="2077334" y="857286"/>
                </a:lnTo>
                <a:lnTo>
                  <a:pt x="2079504" y="861292"/>
                </a:lnTo>
                <a:lnTo>
                  <a:pt x="2077984" y="864000"/>
                </a:lnTo>
                <a:lnTo>
                  <a:pt x="2077984" y="866814"/>
                </a:lnTo>
                <a:lnTo>
                  <a:pt x="2079179" y="863674"/>
                </a:lnTo>
                <a:lnTo>
                  <a:pt x="2081565" y="863025"/>
                </a:lnTo>
                <a:lnTo>
                  <a:pt x="2085255" y="866056"/>
                </a:lnTo>
                <a:lnTo>
                  <a:pt x="2084495" y="871362"/>
                </a:lnTo>
                <a:lnTo>
                  <a:pt x="2082976" y="874502"/>
                </a:lnTo>
                <a:lnTo>
                  <a:pt x="2085798" y="877749"/>
                </a:lnTo>
                <a:lnTo>
                  <a:pt x="2089596" y="876775"/>
                </a:lnTo>
                <a:lnTo>
                  <a:pt x="2092634" y="878508"/>
                </a:lnTo>
                <a:lnTo>
                  <a:pt x="2091441" y="882188"/>
                </a:lnTo>
                <a:lnTo>
                  <a:pt x="2085906" y="884463"/>
                </a:lnTo>
                <a:lnTo>
                  <a:pt x="2085038" y="886303"/>
                </a:lnTo>
                <a:lnTo>
                  <a:pt x="2088294" y="887710"/>
                </a:lnTo>
                <a:lnTo>
                  <a:pt x="2093719" y="884137"/>
                </a:lnTo>
                <a:lnTo>
                  <a:pt x="2096649" y="879374"/>
                </a:lnTo>
                <a:lnTo>
                  <a:pt x="2102510" y="877749"/>
                </a:lnTo>
                <a:lnTo>
                  <a:pt x="2107284" y="878291"/>
                </a:lnTo>
                <a:lnTo>
                  <a:pt x="2107176" y="880240"/>
                </a:lnTo>
                <a:lnTo>
                  <a:pt x="2103811" y="881214"/>
                </a:lnTo>
                <a:lnTo>
                  <a:pt x="2100882" y="883813"/>
                </a:lnTo>
                <a:lnTo>
                  <a:pt x="2100447" y="889443"/>
                </a:lnTo>
                <a:lnTo>
                  <a:pt x="2093394" y="893774"/>
                </a:lnTo>
                <a:lnTo>
                  <a:pt x="2092851" y="896697"/>
                </a:lnTo>
                <a:lnTo>
                  <a:pt x="2085906" y="903085"/>
                </a:lnTo>
                <a:lnTo>
                  <a:pt x="2085906" y="906116"/>
                </a:lnTo>
                <a:lnTo>
                  <a:pt x="2084062" y="908715"/>
                </a:lnTo>
                <a:lnTo>
                  <a:pt x="2082976" y="904709"/>
                </a:lnTo>
                <a:lnTo>
                  <a:pt x="2080047" y="909040"/>
                </a:lnTo>
                <a:lnTo>
                  <a:pt x="2078202" y="916944"/>
                </a:lnTo>
                <a:lnTo>
                  <a:pt x="2078635" y="919759"/>
                </a:lnTo>
                <a:lnTo>
                  <a:pt x="2082433" y="917810"/>
                </a:lnTo>
                <a:lnTo>
                  <a:pt x="2085255" y="917702"/>
                </a:lnTo>
                <a:lnTo>
                  <a:pt x="2085038" y="921924"/>
                </a:lnTo>
                <a:lnTo>
                  <a:pt x="2080047" y="925389"/>
                </a:lnTo>
                <a:lnTo>
                  <a:pt x="2079720" y="928095"/>
                </a:lnTo>
                <a:lnTo>
                  <a:pt x="2086123" y="926255"/>
                </a:lnTo>
                <a:lnTo>
                  <a:pt x="2089379" y="923115"/>
                </a:lnTo>
                <a:lnTo>
                  <a:pt x="2092851" y="923548"/>
                </a:lnTo>
                <a:lnTo>
                  <a:pt x="2089704" y="928528"/>
                </a:lnTo>
                <a:lnTo>
                  <a:pt x="2086449" y="930910"/>
                </a:lnTo>
                <a:lnTo>
                  <a:pt x="2089379" y="931777"/>
                </a:lnTo>
                <a:lnTo>
                  <a:pt x="2093177" y="930153"/>
                </a:lnTo>
                <a:lnTo>
                  <a:pt x="2091115" y="936216"/>
                </a:lnTo>
                <a:lnTo>
                  <a:pt x="2090572" y="940005"/>
                </a:lnTo>
                <a:lnTo>
                  <a:pt x="2087317" y="942712"/>
                </a:lnTo>
                <a:lnTo>
                  <a:pt x="2082108" y="940655"/>
                </a:lnTo>
                <a:lnTo>
                  <a:pt x="2079938" y="936324"/>
                </a:lnTo>
                <a:lnTo>
                  <a:pt x="2074186" y="939139"/>
                </a:lnTo>
                <a:lnTo>
                  <a:pt x="2072124" y="932643"/>
                </a:lnTo>
                <a:lnTo>
                  <a:pt x="2070280" y="932751"/>
                </a:lnTo>
                <a:lnTo>
                  <a:pt x="2068652" y="939356"/>
                </a:lnTo>
                <a:lnTo>
                  <a:pt x="2071799" y="944011"/>
                </a:lnTo>
                <a:lnTo>
                  <a:pt x="2073644" y="950183"/>
                </a:lnTo>
                <a:lnTo>
                  <a:pt x="2072016" y="960468"/>
                </a:lnTo>
                <a:lnTo>
                  <a:pt x="2076140" y="950940"/>
                </a:lnTo>
                <a:lnTo>
                  <a:pt x="2074729" y="943578"/>
                </a:lnTo>
                <a:lnTo>
                  <a:pt x="2077659" y="940979"/>
                </a:lnTo>
                <a:lnTo>
                  <a:pt x="2080589" y="944011"/>
                </a:lnTo>
                <a:lnTo>
                  <a:pt x="2085798" y="944336"/>
                </a:lnTo>
                <a:lnTo>
                  <a:pt x="2089704" y="947259"/>
                </a:lnTo>
                <a:lnTo>
                  <a:pt x="2092960" y="944444"/>
                </a:lnTo>
                <a:lnTo>
                  <a:pt x="2093502" y="939139"/>
                </a:lnTo>
                <a:lnTo>
                  <a:pt x="2099688" y="937299"/>
                </a:lnTo>
                <a:lnTo>
                  <a:pt x="2103811" y="932643"/>
                </a:lnTo>
                <a:lnTo>
                  <a:pt x="2108478" y="932426"/>
                </a:lnTo>
                <a:lnTo>
                  <a:pt x="2111733" y="928095"/>
                </a:lnTo>
                <a:lnTo>
                  <a:pt x="2107826" y="930910"/>
                </a:lnTo>
                <a:lnTo>
                  <a:pt x="2103160" y="930153"/>
                </a:lnTo>
                <a:lnTo>
                  <a:pt x="2100882" y="933617"/>
                </a:lnTo>
                <a:lnTo>
                  <a:pt x="2097843" y="935024"/>
                </a:lnTo>
                <a:lnTo>
                  <a:pt x="2096215" y="935024"/>
                </a:lnTo>
                <a:lnTo>
                  <a:pt x="2098385" y="929720"/>
                </a:lnTo>
                <a:lnTo>
                  <a:pt x="2101424" y="927338"/>
                </a:lnTo>
                <a:lnTo>
                  <a:pt x="2099688" y="924414"/>
                </a:lnTo>
                <a:lnTo>
                  <a:pt x="2099905" y="921058"/>
                </a:lnTo>
                <a:lnTo>
                  <a:pt x="2102618" y="914237"/>
                </a:lnTo>
                <a:lnTo>
                  <a:pt x="2102292" y="910772"/>
                </a:lnTo>
                <a:lnTo>
                  <a:pt x="2099905" y="908065"/>
                </a:lnTo>
                <a:lnTo>
                  <a:pt x="2101424" y="906008"/>
                </a:lnTo>
                <a:lnTo>
                  <a:pt x="2105331" y="899945"/>
                </a:lnTo>
                <a:lnTo>
                  <a:pt x="2107176" y="893882"/>
                </a:lnTo>
                <a:lnTo>
                  <a:pt x="2111951" y="889984"/>
                </a:lnTo>
                <a:lnTo>
                  <a:pt x="2113361" y="891825"/>
                </a:lnTo>
                <a:lnTo>
                  <a:pt x="2112059" y="893882"/>
                </a:lnTo>
                <a:lnTo>
                  <a:pt x="2114880" y="893016"/>
                </a:lnTo>
                <a:lnTo>
                  <a:pt x="2117485" y="889335"/>
                </a:lnTo>
                <a:lnTo>
                  <a:pt x="2118679" y="891500"/>
                </a:lnTo>
                <a:lnTo>
                  <a:pt x="2120523" y="891716"/>
                </a:lnTo>
                <a:lnTo>
                  <a:pt x="2121933" y="894098"/>
                </a:lnTo>
                <a:lnTo>
                  <a:pt x="2126275" y="893232"/>
                </a:lnTo>
                <a:lnTo>
                  <a:pt x="2128988" y="889335"/>
                </a:lnTo>
                <a:lnTo>
                  <a:pt x="2139839" y="884787"/>
                </a:lnTo>
                <a:lnTo>
                  <a:pt x="2142118" y="880673"/>
                </a:lnTo>
                <a:lnTo>
                  <a:pt x="2141901" y="878291"/>
                </a:lnTo>
                <a:lnTo>
                  <a:pt x="2144831" y="877425"/>
                </a:lnTo>
                <a:lnTo>
                  <a:pt x="2149280" y="872661"/>
                </a:lnTo>
                <a:lnTo>
                  <a:pt x="2156008" y="871903"/>
                </a:lnTo>
                <a:lnTo>
                  <a:pt x="2159372" y="868114"/>
                </a:lnTo>
                <a:lnTo>
                  <a:pt x="2158938" y="865190"/>
                </a:lnTo>
                <a:lnTo>
                  <a:pt x="2160132" y="859019"/>
                </a:lnTo>
                <a:lnTo>
                  <a:pt x="2163496" y="853389"/>
                </a:lnTo>
                <a:lnTo>
                  <a:pt x="2164255" y="849058"/>
                </a:lnTo>
                <a:lnTo>
                  <a:pt x="2162628" y="846784"/>
                </a:lnTo>
                <a:lnTo>
                  <a:pt x="2159806" y="848950"/>
                </a:lnTo>
                <a:lnTo>
                  <a:pt x="2156008" y="849599"/>
                </a:lnTo>
                <a:lnTo>
                  <a:pt x="2156876" y="851440"/>
                </a:lnTo>
                <a:lnTo>
                  <a:pt x="2154706" y="855446"/>
                </a:lnTo>
                <a:lnTo>
                  <a:pt x="2150148" y="856312"/>
                </a:lnTo>
                <a:lnTo>
                  <a:pt x="2147761" y="854363"/>
                </a:lnTo>
                <a:lnTo>
                  <a:pt x="2144614" y="854363"/>
                </a:lnTo>
                <a:lnTo>
                  <a:pt x="2143637" y="852631"/>
                </a:lnTo>
                <a:lnTo>
                  <a:pt x="2146893" y="846459"/>
                </a:lnTo>
                <a:lnTo>
                  <a:pt x="2149823" y="846459"/>
                </a:lnTo>
                <a:lnTo>
                  <a:pt x="2152644" y="842995"/>
                </a:lnTo>
                <a:lnTo>
                  <a:pt x="2158830" y="840288"/>
                </a:lnTo>
                <a:lnTo>
                  <a:pt x="2159155" y="837256"/>
                </a:lnTo>
                <a:lnTo>
                  <a:pt x="2156550" y="834983"/>
                </a:lnTo>
                <a:lnTo>
                  <a:pt x="2160674" y="829786"/>
                </a:lnTo>
                <a:lnTo>
                  <a:pt x="2165991" y="828811"/>
                </a:lnTo>
                <a:lnTo>
                  <a:pt x="2171417" y="830327"/>
                </a:lnTo>
                <a:lnTo>
                  <a:pt x="2167402" y="832925"/>
                </a:lnTo>
                <a:lnTo>
                  <a:pt x="2166751" y="837690"/>
                </a:lnTo>
                <a:lnTo>
                  <a:pt x="2168271" y="838772"/>
                </a:lnTo>
                <a:lnTo>
                  <a:pt x="2173045" y="836390"/>
                </a:lnTo>
                <a:lnTo>
                  <a:pt x="2177277" y="827403"/>
                </a:lnTo>
                <a:lnTo>
                  <a:pt x="2177385" y="823615"/>
                </a:lnTo>
                <a:lnTo>
                  <a:pt x="2172394" y="822423"/>
                </a:lnTo>
                <a:lnTo>
                  <a:pt x="2168271" y="822640"/>
                </a:lnTo>
                <a:lnTo>
                  <a:pt x="2165341" y="820366"/>
                </a:lnTo>
                <a:lnTo>
                  <a:pt x="2158612" y="818850"/>
                </a:lnTo>
                <a:lnTo>
                  <a:pt x="2156225" y="812138"/>
                </a:lnTo>
                <a:lnTo>
                  <a:pt x="2157202" y="806832"/>
                </a:lnTo>
                <a:lnTo>
                  <a:pt x="2153837" y="811705"/>
                </a:lnTo>
                <a:lnTo>
                  <a:pt x="2151233" y="811705"/>
                </a:lnTo>
                <a:lnTo>
                  <a:pt x="2148846" y="807482"/>
                </a:lnTo>
                <a:lnTo>
                  <a:pt x="2144505" y="804883"/>
                </a:lnTo>
                <a:lnTo>
                  <a:pt x="2143311" y="799578"/>
                </a:lnTo>
                <a:lnTo>
                  <a:pt x="2141250" y="798495"/>
                </a:lnTo>
                <a:lnTo>
                  <a:pt x="2137777" y="799037"/>
                </a:lnTo>
                <a:lnTo>
                  <a:pt x="2136800" y="795248"/>
                </a:lnTo>
                <a:lnTo>
                  <a:pt x="2135173" y="793190"/>
                </a:lnTo>
                <a:lnTo>
                  <a:pt x="2137452" y="789293"/>
                </a:lnTo>
                <a:lnTo>
                  <a:pt x="2137235" y="785503"/>
                </a:lnTo>
                <a:lnTo>
                  <a:pt x="2135390" y="780956"/>
                </a:lnTo>
                <a:lnTo>
                  <a:pt x="2136041" y="769479"/>
                </a:lnTo>
                <a:lnTo>
                  <a:pt x="2139405" y="765581"/>
                </a:lnTo>
                <a:lnTo>
                  <a:pt x="2147326" y="758544"/>
                </a:lnTo>
                <a:lnTo>
                  <a:pt x="2151993" y="756703"/>
                </a:lnTo>
                <a:lnTo>
                  <a:pt x="2155791" y="756811"/>
                </a:lnTo>
                <a:lnTo>
                  <a:pt x="2156225" y="755079"/>
                </a:lnTo>
                <a:lnTo>
                  <a:pt x="2160023" y="752047"/>
                </a:lnTo>
                <a:lnTo>
                  <a:pt x="2160457" y="749232"/>
                </a:lnTo>
                <a:lnTo>
                  <a:pt x="2157853" y="749232"/>
                </a:lnTo>
                <a:lnTo>
                  <a:pt x="2154164" y="751722"/>
                </a:lnTo>
                <a:lnTo>
                  <a:pt x="2151667" y="750532"/>
                </a:lnTo>
                <a:lnTo>
                  <a:pt x="2151776" y="747608"/>
                </a:lnTo>
                <a:lnTo>
                  <a:pt x="2150039" y="742628"/>
                </a:lnTo>
                <a:lnTo>
                  <a:pt x="2150691" y="737647"/>
                </a:lnTo>
                <a:lnTo>
                  <a:pt x="2156767" y="730935"/>
                </a:lnTo>
                <a:lnTo>
                  <a:pt x="2160566" y="722598"/>
                </a:lnTo>
                <a:lnTo>
                  <a:pt x="2163496" y="721298"/>
                </a:lnTo>
                <a:lnTo>
                  <a:pt x="2166751" y="715127"/>
                </a:lnTo>
                <a:lnTo>
                  <a:pt x="2169789" y="715019"/>
                </a:lnTo>
                <a:lnTo>
                  <a:pt x="2173262" y="709714"/>
                </a:lnTo>
                <a:lnTo>
                  <a:pt x="2178905" y="707223"/>
                </a:lnTo>
                <a:lnTo>
                  <a:pt x="2182269" y="710039"/>
                </a:lnTo>
                <a:lnTo>
                  <a:pt x="2180533" y="715127"/>
                </a:lnTo>
                <a:lnTo>
                  <a:pt x="2183137" y="717726"/>
                </a:lnTo>
                <a:lnTo>
                  <a:pt x="2182052" y="721190"/>
                </a:lnTo>
                <a:lnTo>
                  <a:pt x="2186935" y="718592"/>
                </a:lnTo>
                <a:lnTo>
                  <a:pt x="2187586" y="715452"/>
                </a:lnTo>
                <a:lnTo>
                  <a:pt x="2193121" y="707223"/>
                </a:lnTo>
                <a:lnTo>
                  <a:pt x="2193121" y="705166"/>
                </a:lnTo>
                <a:lnTo>
                  <a:pt x="2189323" y="704625"/>
                </a:lnTo>
                <a:lnTo>
                  <a:pt x="2185308" y="703001"/>
                </a:lnTo>
                <a:lnTo>
                  <a:pt x="2182269" y="698670"/>
                </a:lnTo>
                <a:lnTo>
                  <a:pt x="2186393" y="694880"/>
                </a:lnTo>
                <a:lnTo>
                  <a:pt x="2192687" y="694880"/>
                </a:lnTo>
                <a:lnTo>
                  <a:pt x="2194423" y="692066"/>
                </a:lnTo>
                <a:lnTo>
                  <a:pt x="2201043" y="687843"/>
                </a:lnTo>
                <a:lnTo>
                  <a:pt x="2200825" y="683837"/>
                </a:lnTo>
                <a:lnTo>
                  <a:pt x="2204298" y="682105"/>
                </a:lnTo>
                <a:lnTo>
                  <a:pt x="2209615" y="684053"/>
                </a:lnTo>
                <a:lnTo>
                  <a:pt x="2217428" y="685786"/>
                </a:lnTo>
                <a:lnTo>
                  <a:pt x="2217862" y="690225"/>
                </a:lnTo>
                <a:lnTo>
                  <a:pt x="2216886" y="692282"/>
                </a:lnTo>
                <a:lnTo>
                  <a:pt x="2219816" y="693473"/>
                </a:lnTo>
                <a:lnTo>
                  <a:pt x="2223614" y="697263"/>
                </a:lnTo>
                <a:lnTo>
                  <a:pt x="2227195" y="699645"/>
                </a:lnTo>
                <a:lnTo>
                  <a:pt x="2225459" y="704300"/>
                </a:lnTo>
                <a:lnTo>
                  <a:pt x="2223288" y="705383"/>
                </a:lnTo>
                <a:lnTo>
                  <a:pt x="2224156" y="709497"/>
                </a:lnTo>
                <a:lnTo>
                  <a:pt x="2223397" y="713070"/>
                </a:lnTo>
                <a:lnTo>
                  <a:pt x="2227412" y="716859"/>
                </a:lnTo>
                <a:lnTo>
                  <a:pt x="2228714" y="720649"/>
                </a:lnTo>
                <a:lnTo>
                  <a:pt x="2227846" y="728877"/>
                </a:lnTo>
                <a:lnTo>
                  <a:pt x="2230776" y="730935"/>
                </a:lnTo>
                <a:lnTo>
                  <a:pt x="2230776" y="733208"/>
                </a:lnTo>
                <a:lnTo>
                  <a:pt x="2227412" y="737864"/>
                </a:lnTo>
                <a:lnTo>
                  <a:pt x="2227195" y="741437"/>
                </a:lnTo>
                <a:lnTo>
                  <a:pt x="2223614" y="746959"/>
                </a:lnTo>
                <a:lnTo>
                  <a:pt x="2223397" y="753022"/>
                </a:lnTo>
                <a:lnTo>
                  <a:pt x="2221010" y="754538"/>
                </a:lnTo>
                <a:lnTo>
                  <a:pt x="2223288" y="758760"/>
                </a:lnTo>
                <a:lnTo>
                  <a:pt x="2221552" y="763416"/>
                </a:lnTo>
                <a:lnTo>
                  <a:pt x="2226327" y="769154"/>
                </a:lnTo>
                <a:lnTo>
                  <a:pt x="2226327" y="772944"/>
                </a:lnTo>
                <a:lnTo>
                  <a:pt x="2224916" y="774676"/>
                </a:lnTo>
                <a:lnTo>
                  <a:pt x="2226327" y="778791"/>
                </a:lnTo>
                <a:lnTo>
                  <a:pt x="2224916" y="783013"/>
                </a:lnTo>
                <a:lnTo>
                  <a:pt x="2224916" y="786369"/>
                </a:lnTo>
                <a:lnTo>
                  <a:pt x="2228063" y="787127"/>
                </a:lnTo>
                <a:lnTo>
                  <a:pt x="2231102" y="791458"/>
                </a:lnTo>
                <a:lnTo>
                  <a:pt x="2230667" y="795464"/>
                </a:lnTo>
                <a:lnTo>
                  <a:pt x="2227195" y="798495"/>
                </a:lnTo>
                <a:lnTo>
                  <a:pt x="2224265" y="796980"/>
                </a:lnTo>
                <a:lnTo>
                  <a:pt x="2220141" y="797846"/>
                </a:lnTo>
                <a:lnTo>
                  <a:pt x="2217754" y="793407"/>
                </a:lnTo>
                <a:lnTo>
                  <a:pt x="2219273" y="788210"/>
                </a:lnTo>
                <a:lnTo>
                  <a:pt x="2213739" y="790591"/>
                </a:lnTo>
                <a:lnTo>
                  <a:pt x="2211569" y="795572"/>
                </a:lnTo>
                <a:lnTo>
                  <a:pt x="2207445" y="797305"/>
                </a:lnTo>
                <a:lnTo>
                  <a:pt x="2207445" y="799362"/>
                </a:lnTo>
                <a:lnTo>
                  <a:pt x="2213414" y="797846"/>
                </a:lnTo>
                <a:lnTo>
                  <a:pt x="2216560" y="800986"/>
                </a:lnTo>
                <a:lnTo>
                  <a:pt x="2215800" y="803368"/>
                </a:lnTo>
                <a:lnTo>
                  <a:pt x="2203105" y="812246"/>
                </a:lnTo>
                <a:lnTo>
                  <a:pt x="2199848" y="812787"/>
                </a:lnTo>
                <a:lnTo>
                  <a:pt x="2199089" y="815386"/>
                </a:lnTo>
                <a:lnTo>
                  <a:pt x="2196159" y="816793"/>
                </a:lnTo>
                <a:lnTo>
                  <a:pt x="2194965" y="821341"/>
                </a:lnTo>
                <a:lnTo>
                  <a:pt x="2197353" y="823939"/>
                </a:lnTo>
                <a:lnTo>
                  <a:pt x="2202019" y="822748"/>
                </a:lnTo>
                <a:lnTo>
                  <a:pt x="2204949" y="823831"/>
                </a:lnTo>
                <a:lnTo>
                  <a:pt x="2205491" y="828270"/>
                </a:lnTo>
                <a:lnTo>
                  <a:pt x="2209832" y="832601"/>
                </a:lnTo>
                <a:lnTo>
                  <a:pt x="2215800" y="830652"/>
                </a:lnTo>
                <a:lnTo>
                  <a:pt x="2216669" y="827079"/>
                </a:lnTo>
                <a:lnTo>
                  <a:pt x="2220250" y="826213"/>
                </a:lnTo>
                <a:lnTo>
                  <a:pt x="2221878" y="828054"/>
                </a:lnTo>
                <a:lnTo>
                  <a:pt x="2219598" y="830002"/>
                </a:lnTo>
                <a:lnTo>
                  <a:pt x="2219598" y="831301"/>
                </a:lnTo>
                <a:lnTo>
                  <a:pt x="2223723" y="832925"/>
                </a:lnTo>
                <a:lnTo>
                  <a:pt x="2226653" y="835957"/>
                </a:lnTo>
                <a:lnTo>
                  <a:pt x="2230993" y="832709"/>
                </a:lnTo>
                <a:lnTo>
                  <a:pt x="2234249" y="834658"/>
                </a:lnTo>
                <a:lnTo>
                  <a:pt x="2231102" y="838014"/>
                </a:lnTo>
                <a:lnTo>
                  <a:pt x="2226653" y="838231"/>
                </a:lnTo>
                <a:lnTo>
                  <a:pt x="2221878" y="843753"/>
                </a:lnTo>
                <a:lnTo>
                  <a:pt x="2220141" y="845268"/>
                </a:lnTo>
                <a:lnTo>
                  <a:pt x="2219057" y="839639"/>
                </a:lnTo>
                <a:lnTo>
                  <a:pt x="2216886" y="839747"/>
                </a:lnTo>
                <a:lnTo>
                  <a:pt x="2214932" y="838772"/>
                </a:lnTo>
                <a:lnTo>
                  <a:pt x="2214932" y="841154"/>
                </a:lnTo>
                <a:lnTo>
                  <a:pt x="2217537" y="845485"/>
                </a:lnTo>
                <a:lnTo>
                  <a:pt x="2217537" y="849058"/>
                </a:lnTo>
                <a:lnTo>
                  <a:pt x="2221986" y="856096"/>
                </a:lnTo>
                <a:lnTo>
                  <a:pt x="2221227" y="861725"/>
                </a:lnTo>
                <a:lnTo>
                  <a:pt x="2221986" y="862808"/>
                </a:lnTo>
                <a:lnTo>
                  <a:pt x="2221552" y="867572"/>
                </a:lnTo>
                <a:lnTo>
                  <a:pt x="2218188" y="869521"/>
                </a:lnTo>
                <a:lnTo>
                  <a:pt x="2217971" y="874069"/>
                </a:lnTo>
                <a:lnTo>
                  <a:pt x="2217320" y="878941"/>
                </a:lnTo>
                <a:lnTo>
                  <a:pt x="2212762" y="884571"/>
                </a:lnTo>
                <a:lnTo>
                  <a:pt x="2213956" y="887169"/>
                </a:lnTo>
                <a:lnTo>
                  <a:pt x="2214282" y="892258"/>
                </a:lnTo>
                <a:lnTo>
                  <a:pt x="2211352" y="893557"/>
                </a:lnTo>
                <a:lnTo>
                  <a:pt x="2211786" y="896805"/>
                </a:lnTo>
                <a:lnTo>
                  <a:pt x="2214607" y="896697"/>
                </a:lnTo>
                <a:lnTo>
                  <a:pt x="2218405" y="892366"/>
                </a:lnTo>
                <a:lnTo>
                  <a:pt x="2220141" y="889118"/>
                </a:lnTo>
                <a:lnTo>
                  <a:pt x="2226218" y="885978"/>
                </a:lnTo>
                <a:lnTo>
                  <a:pt x="2227195" y="883921"/>
                </a:lnTo>
                <a:lnTo>
                  <a:pt x="2226327" y="882622"/>
                </a:lnTo>
                <a:lnTo>
                  <a:pt x="2229039" y="879374"/>
                </a:lnTo>
                <a:lnTo>
                  <a:pt x="2231861" y="881539"/>
                </a:lnTo>
                <a:lnTo>
                  <a:pt x="2234140" y="879374"/>
                </a:lnTo>
                <a:lnTo>
                  <a:pt x="2234140" y="871037"/>
                </a:lnTo>
                <a:lnTo>
                  <a:pt x="2235117" y="866381"/>
                </a:lnTo>
                <a:lnTo>
                  <a:pt x="2241193" y="861401"/>
                </a:lnTo>
                <a:lnTo>
                  <a:pt x="2246619" y="853064"/>
                </a:lnTo>
                <a:lnTo>
                  <a:pt x="2248356" y="848192"/>
                </a:lnTo>
                <a:lnTo>
                  <a:pt x="2250417" y="847867"/>
                </a:lnTo>
                <a:lnTo>
                  <a:pt x="2252479" y="849924"/>
                </a:lnTo>
                <a:lnTo>
                  <a:pt x="2253347" y="854255"/>
                </a:lnTo>
                <a:lnTo>
                  <a:pt x="2257037" y="862267"/>
                </a:lnTo>
                <a:lnTo>
                  <a:pt x="2257905" y="868547"/>
                </a:lnTo>
                <a:lnTo>
                  <a:pt x="2262138" y="873852"/>
                </a:lnTo>
                <a:lnTo>
                  <a:pt x="2262138" y="878941"/>
                </a:lnTo>
                <a:lnTo>
                  <a:pt x="2260510" y="883488"/>
                </a:lnTo>
                <a:lnTo>
                  <a:pt x="2262029" y="893016"/>
                </a:lnTo>
                <a:lnTo>
                  <a:pt x="2259099" y="897888"/>
                </a:lnTo>
                <a:lnTo>
                  <a:pt x="2255627" y="899404"/>
                </a:lnTo>
                <a:lnTo>
                  <a:pt x="2252914" y="897022"/>
                </a:lnTo>
                <a:lnTo>
                  <a:pt x="2250092" y="899404"/>
                </a:lnTo>
                <a:lnTo>
                  <a:pt x="2248030" y="903518"/>
                </a:lnTo>
                <a:lnTo>
                  <a:pt x="2249224" y="908498"/>
                </a:lnTo>
                <a:lnTo>
                  <a:pt x="2245860" y="912829"/>
                </a:lnTo>
                <a:lnTo>
                  <a:pt x="2243689" y="918676"/>
                </a:lnTo>
                <a:lnTo>
                  <a:pt x="2245318" y="921816"/>
                </a:lnTo>
                <a:lnTo>
                  <a:pt x="2245426" y="929720"/>
                </a:lnTo>
                <a:lnTo>
                  <a:pt x="2249224" y="946177"/>
                </a:lnTo>
                <a:lnTo>
                  <a:pt x="2252914" y="953106"/>
                </a:lnTo>
                <a:lnTo>
                  <a:pt x="2251502" y="957654"/>
                </a:lnTo>
                <a:lnTo>
                  <a:pt x="2255084" y="961334"/>
                </a:lnTo>
                <a:lnTo>
                  <a:pt x="2258557" y="961334"/>
                </a:lnTo>
                <a:lnTo>
                  <a:pt x="2257688" y="955488"/>
                </a:lnTo>
                <a:lnTo>
                  <a:pt x="2256169" y="953756"/>
                </a:lnTo>
                <a:lnTo>
                  <a:pt x="2259533" y="950291"/>
                </a:lnTo>
                <a:lnTo>
                  <a:pt x="2262571" y="949966"/>
                </a:lnTo>
                <a:lnTo>
                  <a:pt x="2264959" y="955705"/>
                </a:lnTo>
                <a:lnTo>
                  <a:pt x="2267346" y="955163"/>
                </a:lnTo>
                <a:lnTo>
                  <a:pt x="2268431" y="949750"/>
                </a:lnTo>
                <a:lnTo>
                  <a:pt x="2271795" y="946068"/>
                </a:lnTo>
                <a:lnTo>
                  <a:pt x="2272555" y="938598"/>
                </a:lnTo>
                <a:lnTo>
                  <a:pt x="2276353" y="936865"/>
                </a:lnTo>
                <a:lnTo>
                  <a:pt x="2280802" y="930694"/>
                </a:lnTo>
                <a:lnTo>
                  <a:pt x="2282538" y="930369"/>
                </a:lnTo>
                <a:lnTo>
                  <a:pt x="2285143" y="926255"/>
                </a:lnTo>
                <a:lnTo>
                  <a:pt x="2293499" y="920083"/>
                </a:lnTo>
                <a:lnTo>
                  <a:pt x="2299250" y="910447"/>
                </a:lnTo>
                <a:lnTo>
                  <a:pt x="2303374" y="900270"/>
                </a:lnTo>
                <a:lnTo>
                  <a:pt x="2307280" y="891825"/>
                </a:lnTo>
                <a:lnTo>
                  <a:pt x="2311838" y="888577"/>
                </a:lnTo>
                <a:lnTo>
                  <a:pt x="2315202" y="893557"/>
                </a:lnTo>
                <a:lnTo>
                  <a:pt x="2318132" y="890851"/>
                </a:lnTo>
                <a:lnTo>
                  <a:pt x="2320736" y="892691"/>
                </a:lnTo>
                <a:lnTo>
                  <a:pt x="2325294" y="892041"/>
                </a:lnTo>
                <a:lnTo>
                  <a:pt x="2325402" y="889335"/>
                </a:lnTo>
                <a:lnTo>
                  <a:pt x="2322798" y="889118"/>
                </a:lnTo>
                <a:lnTo>
                  <a:pt x="2318891" y="885112"/>
                </a:lnTo>
                <a:lnTo>
                  <a:pt x="2320736" y="882406"/>
                </a:lnTo>
                <a:lnTo>
                  <a:pt x="2325728" y="881755"/>
                </a:lnTo>
                <a:lnTo>
                  <a:pt x="2328332" y="883921"/>
                </a:lnTo>
                <a:lnTo>
                  <a:pt x="2330394" y="882188"/>
                </a:lnTo>
                <a:lnTo>
                  <a:pt x="2333867" y="882622"/>
                </a:lnTo>
                <a:lnTo>
                  <a:pt x="2335712" y="881214"/>
                </a:lnTo>
                <a:lnTo>
                  <a:pt x="2333541" y="876775"/>
                </a:lnTo>
                <a:lnTo>
                  <a:pt x="2331479" y="876342"/>
                </a:lnTo>
                <a:lnTo>
                  <a:pt x="2329201" y="872228"/>
                </a:lnTo>
                <a:lnTo>
                  <a:pt x="2326596" y="872120"/>
                </a:lnTo>
                <a:lnTo>
                  <a:pt x="2326922" y="865082"/>
                </a:lnTo>
                <a:lnTo>
                  <a:pt x="2329744" y="861942"/>
                </a:lnTo>
                <a:lnTo>
                  <a:pt x="2330286" y="857719"/>
                </a:lnTo>
                <a:lnTo>
                  <a:pt x="2333541" y="857503"/>
                </a:lnTo>
                <a:lnTo>
                  <a:pt x="2331045" y="853713"/>
                </a:lnTo>
                <a:lnTo>
                  <a:pt x="2331588" y="850574"/>
                </a:lnTo>
                <a:lnTo>
                  <a:pt x="2335060" y="847001"/>
                </a:lnTo>
                <a:lnTo>
                  <a:pt x="2333541" y="845268"/>
                </a:lnTo>
                <a:lnTo>
                  <a:pt x="2333324" y="843861"/>
                </a:lnTo>
                <a:lnTo>
                  <a:pt x="2337773" y="843861"/>
                </a:lnTo>
                <a:lnTo>
                  <a:pt x="2339401" y="839639"/>
                </a:lnTo>
                <a:lnTo>
                  <a:pt x="2335712" y="837582"/>
                </a:lnTo>
                <a:lnTo>
                  <a:pt x="2334518" y="835091"/>
                </a:lnTo>
                <a:lnTo>
                  <a:pt x="2339401" y="835849"/>
                </a:lnTo>
                <a:lnTo>
                  <a:pt x="2341463" y="839313"/>
                </a:lnTo>
                <a:lnTo>
                  <a:pt x="2345044" y="839639"/>
                </a:lnTo>
                <a:lnTo>
                  <a:pt x="2348082" y="837582"/>
                </a:lnTo>
                <a:lnTo>
                  <a:pt x="2355570" y="838014"/>
                </a:lnTo>
                <a:lnTo>
                  <a:pt x="2362081" y="842886"/>
                </a:lnTo>
                <a:lnTo>
                  <a:pt x="2362624" y="845268"/>
                </a:lnTo>
                <a:lnTo>
                  <a:pt x="2364686" y="848192"/>
                </a:lnTo>
                <a:lnTo>
                  <a:pt x="2373692" y="852631"/>
                </a:lnTo>
                <a:lnTo>
                  <a:pt x="2377816" y="849924"/>
                </a:lnTo>
                <a:lnTo>
                  <a:pt x="2382374" y="853172"/>
                </a:lnTo>
                <a:lnTo>
                  <a:pt x="2388342" y="855662"/>
                </a:lnTo>
                <a:lnTo>
                  <a:pt x="2388342" y="858153"/>
                </a:lnTo>
                <a:lnTo>
                  <a:pt x="2385846" y="859776"/>
                </a:lnTo>
                <a:lnTo>
                  <a:pt x="2388668" y="862808"/>
                </a:lnTo>
                <a:lnTo>
                  <a:pt x="2385738" y="864324"/>
                </a:lnTo>
                <a:lnTo>
                  <a:pt x="2382374" y="861292"/>
                </a:lnTo>
                <a:lnTo>
                  <a:pt x="2379118" y="860968"/>
                </a:lnTo>
                <a:lnTo>
                  <a:pt x="2379661" y="863458"/>
                </a:lnTo>
                <a:lnTo>
                  <a:pt x="2389644" y="869846"/>
                </a:lnTo>
                <a:lnTo>
                  <a:pt x="2390187" y="874826"/>
                </a:lnTo>
                <a:lnTo>
                  <a:pt x="2386280" y="876342"/>
                </a:lnTo>
                <a:lnTo>
                  <a:pt x="2388668" y="877749"/>
                </a:lnTo>
                <a:lnTo>
                  <a:pt x="2392792" y="876342"/>
                </a:lnTo>
                <a:lnTo>
                  <a:pt x="2399845" y="878074"/>
                </a:lnTo>
                <a:lnTo>
                  <a:pt x="2401364" y="880890"/>
                </a:lnTo>
                <a:lnTo>
                  <a:pt x="2403969" y="881864"/>
                </a:lnTo>
                <a:lnTo>
                  <a:pt x="2404728" y="883921"/>
                </a:lnTo>
                <a:lnTo>
                  <a:pt x="2401798" y="888577"/>
                </a:lnTo>
                <a:lnTo>
                  <a:pt x="2394419" y="894315"/>
                </a:lnTo>
                <a:lnTo>
                  <a:pt x="2389970" y="895181"/>
                </a:lnTo>
                <a:lnTo>
                  <a:pt x="2386606" y="896805"/>
                </a:lnTo>
                <a:lnTo>
                  <a:pt x="2393008" y="896914"/>
                </a:lnTo>
                <a:lnTo>
                  <a:pt x="2395396" y="898429"/>
                </a:lnTo>
                <a:lnTo>
                  <a:pt x="2395830" y="902002"/>
                </a:lnTo>
                <a:lnTo>
                  <a:pt x="2397566" y="901894"/>
                </a:lnTo>
                <a:lnTo>
                  <a:pt x="2399194" y="903193"/>
                </a:lnTo>
                <a:lnTo>
                  <a:pt x="2396155" y="907849"/>
                </a:lnTo>
                <a:lnTo>
                  <a:pt x="2397891" y="909581"/>
                </a:lnTo>
                <a:lnTo>
                  <a:pt x="2392249" y="913371"/>
                </a:lnTo>
                <a:lnTo>
                  <a:pt x="2385738" y="915536"/>
                </a:lnTo>
                <a:lnTo>
                  <a:pt x="2382266" y="914887"/>
                </a:lnTo>
                <a:lnTo>
                  <a:pt x="2379986" y="917810"/>
                </a:lnTo>
                <a:lnTo>
                  <a:pt x="2376405" y="916618"/>
                </a:lnTo>
                <a:lnTo>
                  <a:pt x="2372607" y="912180"/>
                </a:lnTo>
                <a:lnTo>
                  <a:pt x="2368267" y="911963"/>
                </a:lnTo>
                <a:lnTo>
                  <a:pt x="2366964" y="909581"/>
                </a:lnTo>
                <a:lnTo>
                  <a:pt x="2364034" y="909906"/>
                </a:lnTo>
                <a:lnTo>
                  <a:pt x="2363818" y="913695"/>
                </a:lnTo>
                <a:lnTo>
                  <a:pt x="2361756" y="915103"/>
                </a:lnTo>
                <a:lnTo>
                  <a:pt x="2365662" y="915969"/>
                </a:lnTo>
                <a:lnTo>
                  <a:pt x="2368701" y="918351"/>
                </a:lnTo>
                <a:lnTo>
                  <a:pt x="2367290" y="921599"/>
                </a:lnTo>
                <a:lnTo>
                  <a:pt x="2364469" y="924522"/>
                </a:lnTo>
                <a:lnTo>
                  <a:pt x="2368484" y="924847"/>
                </a:lnTo>
                <a:lnTo>
                  <a:pt x="2365662" y="928961"/>
                </a:lnTo>
                <a:lnTo>
                  <a:pt x="2366096" y="931885"/>
                </a:lnTo>
                <a:lnTo>
                  <a:pt x="2367615" y="932318"/>
                </a:lnTo>
                <a:lnTo>
                  <a:pt x="2370545" y="929287"/>
                </a:lnTo>
                <a:lnTo>
                  <a:pt x="2372065" y="929503"/>
                </a:lnTo>
                <a:lnTo>
                  <a:pt x="2370871" y="932967"/>
                </a:lnTo>
                <a:lnTo>
                  <a:pt x="2365228" y="935241"/>
                </a:lnTo>
                <a:lnTo>
                  <a:pt x="2363058" y="939572"/>
                </a:lnTo>
                <a:lnTo>
                  <a:pt x="2364034" y="944661"/>
                </a:lnTo>
                <a:lnTo>
                  <a:pt x="2369460" y="948775"/>
                </a:lnTo>
                <a:lnTo>
                  <a:pt x="2368701" y="952023"/>
                </a:lnTo>
                <a:lnTo>
                  <a:pt x="2373801" y="962201"/>
                </a:lnTo>
                <a:lnTo>
                  <a:pt x="2373150" y="968048"/>
                </a:lnTo>
                <a:lnTo>
                  <a:pt x="2371414" y="969238"/>
                </a:lnTo>
                <a:lnTo>
                  <a:pt x="2370762" y="972703"/>
                </a:lnTo>
                <a:lnTo>
                  <a:pt x="2364360" y="978117"/>
                </a:lnTo>
                <a:lnTo>
                  <a:pt x="2365554" y="982447"/>
                </a:lnTo>
                <a:lnTo>
                  <a:pt x="2363275" y="985587"/>
                </a:lnTo>
                <a:lnTo>
                  <a:pt x="2359151" y="983854"/>
                </a:lnTo>
                <a:lnTo>
                  <a:pt x="2351772" y="983963"/>
                </a:lnTo>
                <a:lnTo>
                  <a:pt x="2348517" y="986237"/>
                </a:lnTo>
                <a:lnTo>
                  <a:pt x="2347323" y="991758"/>
                </a:lnTo>
                <a:lnTo>
                  <a:pt x="2342656" y="994466"/>
                </a:lnTo>
                <a:lnTo>
                  <a:pt x="2340378" y="997605"/>
                </a:lnTo>
                <a:lnTo>
                  <a:pt x="2336580" y="997713"/>
                </a:lnTo>
                <a:lnTo>
                  <a:pt x="2329852" y="1004968"/>
                </a:lnTo>
                <a:lnTo>
                  <a:pt x="2327464" y="1004101"/>
                </a:lnTo>
                <a:lnTo>
                  <a:pt x="2323558" y="1004318"/>
                </a:lnTo>
                <a:lnTo>
                  <a:pt x="2321062" y="1008974"/>
                </a:lnTo>
                <a:lnTo>
                  <a:pt x="2309559" y="1012221"/>
                </a:lnTo>
                <a:lnTo>
                  <a:pt x="2307280" y="1010164"/>
                </a:lnTo>
                <a:lnTo>
                  <a:pt x="2309017" y="1007241"/>
                </a:lnTo>
                <a:lnTo>
                  <a:pt x="2307497" y="1001503"/>
                </a:lnTo>
                <a:lnTo>
                  <a:pt x="2304242" y="997930"/>
                </a:lnTo>
                <a:lnTo>
                  <a:pt x="2304242" y="995331"/>
                </a:lnTo>
                <a:lnTo>
                  <a:pt x="2306954" y="994357"/>
                </a:lnTo>
                <a:lnTo>
                  <a:pt x="2307172" y="990568"/>
                </a:lnTo>
                <a:lnTo>
                  <a:pt x="2310970" y="983963"/>
                </a:lnTo>
                <a:lnTo>
                  <a:pt x="2305978" y="988835"/>
                </a:lnTo>
                <a:lnTo>
                  <a:pt x="2304242" y="989376"/>
                </a:lnTo>
                <a:lnTo>
                  <a:pt x="2303699" y="979415"/>
                </a:lnTo>
                <a:lnTo>
                  <a:pt x="2301420" y="978550"/>
                </a:lnTo>
                <a:lnTo>
                  <a:pt x="2298708" y="974002"/>
                </a:lnTo>
                <a:lnTo>
                  <a:pt x="2294258" y="976601"/>
                </a:lnTo>
                <a:lnTo>
                  <a:pt x="2292630" y="975085"/>
                </a:lnTo>
                <a:lnTo>
                  <a:pt x="2288507" y="975409"/>
                </a:lnTo>
                <a:lnTo>
                  <a:pt x="2284274" y="981906"/>
                </a:lnTo>
                <a:lnTo>
                  <a:pt x="2286445" y="982447"/>
                </a:lnTo>
                <a:lnTo>
                  <a:pt x="2292630" y="978333"/>
                </a:lnTo>
                <a:lnTo>
                  <a:pt x="2295127" y="979524"/>
                </a:lnTo>
                <a:lnTo>
                  <a:pt x="2294801" y="983638"/>
                </a:lnTo>
                <a:lnTo>
                  <a:pt x="2298925" y="985587"/>
                </a:lnTo>
                <a:lnTo>
                  <a:pt x="2301854" y="992733"/>
                </a:lnTo>
                <a:lnTo>
                  <a:pt x="2300552" y="999662"/>
                </a:lnTo>
                <a:lnTo>
                  <a:pt x="2302831" y="1001070"/>
                </a:lnTo>
                <a:lnTo>
                  <a:pt x="2303916" y="1007566"/>
                </a:lnTo>
                <a:lnTo>
                  <a:pt x="2301963" y="1010490"/>
                </a:lnTo>
                <a:lnTo>
                  <a:pt x="2303483" y="1012221"/>
                </a:lnTo>
                <a:lnTo>
                  <a:pt x="2303156" y="1016011"/>
                </a:lnTo>
                <a:lnTo>
                  <a:pt x="2300770" y="1016119"/>
                </a:lnTo>
                <a:lnTo>
                  <a:pt x="2293173" y="1009623"/>
                </a:lnTo>
                <a:lnTo>
                  <a:pt x="2292522" y="1005725"/>
                </a:lnTo>
                <a:lnTo>
                  <a:pt x="2289267" y="1004426"/>
                </a:lnTo>
                <a:lnTo>
                  <a:pt x="2288181" y="1000637"/>
                </a:lnTo>
                <a:lnTo>
                  <a:pt x="2285468" y="1004643"/>
                </a:lnTo>
                <a:lnTo>
                  <a:pt x="2289917" y="1008757"/>
                </a:lnTo>
                <a:lnTo>
                  <a:pt x="2288832" y="1012655"/>
                </a:lnTo>
                <a:lnTo>
                  <a:pt x="2283406" y="1009623"/>
                </a:lnTo>
                <a:lnTo>
                  <a:pt x="2279717" y="1008757"/>
                </a:lnTo>
                <a:lnTo>
                  <a:pt x="2278849" y="1006484"/>
                </a:lnTo>
                <a:lnTo>
                  <a:pt x="2275593" y="1008107"/>
                </a:lnTo>
                <a:lnTo>
                  <a:pt x="2275485" y="1004859"/>
                </a:lnTo>
                <a:lnTo>
                  <a:pt x="2277655" y="997930"/>
                </a:lnTo>
                <a:lnTo>
                  <a:pt x="2278740" y="996739"/>
                </a:lnTo>
                <a:lnTo>
                  <a:pt x="2276136" y="995548"/>
                </a:lnTo>
                <a:lnTo>
                  <a:pt x="2275919" y="993274"/>
                </a:lnTo>
                <a:lnTo>
                  <a:pt x="2269082" y="996089"/>
                </a:lnTo>
                <a:lnTo>
                  <a:pt x="2263548" y="996089"/>
                </a:lnTo>
                <a:lnTo>
                  <a:pt x="2259533" y="993166"/>
                </a:lnTo>
                <a:lnTo>
                  <a:pt x="2255627" y="993815"/>
                </a:lnTo>
                <a:lnTo>
                  <a:pt x="2250417" y="990351"/>
                </a:lnTo>
                <a:lnTo>
                  <a:pt x="2249658" y="994032"/>
                </a:lnTo>
                <a:lnTo>
                  <a:pt x="2250960" y="996956"/>
                </a:lnTo>
                <a:lnTo>
                  <a:pt x="2248681" y="998472"/>
                </a:lnTo>
                <a:lnTo>
                  <a:pt x="2249115" y="1003127"/>
                </a:lnTo>
                <a:lnTo>
                  <a:pt x="2251286" y="1006484"/>
                </a:lnTo>
                <a:lnTo>
                  <a:pt x="2257145" y="1007566"/>
                </a:lnTo>
                <a:lnTo>
                  <a:pt x="2259750" y="1011897"/>
                </a:lnTo>
                <a:lnTo>
                  <a:pt x="2255952" y="1018393"/>
                </a:lnTo>
                <a:lnTo>
                  <a:pt x="2252914" y="1019368"/>
                </a:lnTo>
                <a:lnTo>
                  <a:pt x="2241628" y="1027488"/>
                </a:lnTo>
                <a:lnTo>
                  <a:pt x="2236853" y="1033659"/>
                </a:lnTo>
                <a:lnTo>
                  <a:pt x="2231319" y="1040588"/>
                </a:lnTo>
                <a:lnTo>
                  <a:pt x="2227846" y="1039181"/>
                </a:lnTo>
                <a:lnTo>
                  <a:pt x="2224265" y="1041563"/>
                </a:lnTo>
                <a:lnTo>
                  <a:pt x="2222420" y="1047302"/>
                </a:lnTo>
                <a:lnTo>
                  <a:pt x="2218080" y="1049033"/>
                </a:lnTo>
                <a:lnTo>
                  <a:pt x="2203105" y="1045677"/>
                </a:lnTo>
                <a:lnTo>
                  <a:pt x="2199848" y="1041130"/>
                </a:lnTo>
                <a:lnTo>
                  <a:pt x="2197787" y="1035933"/>
                </a:lnTo>
                <a:lnTo>
                  <a:pt x="2190299" y="1032684"/>
                </a:lnTo>
                <a:lnTo>
                  <a:pt x="2190516" y="1030411"/>
                </a:lnTo>
                <a:lnTo>
                  <a:pt x="2192904" y="1030303"/>
                </a:lnTo>
                <a:lnTo>
                  <a:pt x="2194749" y="1028678"/>
                </a:lnTo>
                <a:lnTo>
                  <a:pt x="2192361" y="1026080"/>
                </a:lnTo>
                <a:lnTo>
                  <a:pt x="2187912" y="1024890"/>
                </a:lnTo>
                <a:lnTo>
                  <a:pt x="2182920" y="1015470"/>
                </a:lnTo>
                <a:lnTo>
                  <a:pt x="2177060" y="1010814"/>
                </a:lnTo>
                <a:lnTo>
                  <a:pt x="2167402" y="1010814"/>
                </a:lnTo>
                <a:lnTo>
                  <a:pt x="2160566" y="1006700"/>
                </a:lnTo>
                <a:lnTo>
                  <a:pt x="2149497" y="1006050"/>
                </a:lnTo>
                <a:lnTo>
                  <a:pt x="2145156" y="1004643"/>
                </a:lnTo>
                <a:lnTo>
                  <a:pt x="2145048" y="1007891"/>
                </a:lnTo>
                <a:lnTo>
                  <a:pt x="2147978" y="1011139"/>
                </a:lnTo>
                <a:lnTo>
                  <a:pt x="2149606" y="1008974"/>
                </a:lnTo>
                <a:lnTo>
                  <a:pt x="2152644" y="1008433"/>
                </a:lnTo>
                <a:lnTo>
                  <a:pt x="2163278" y="1012221"/>
                </a:lnTo>
                <a:lnTo>
                  <a:pt x="2173045" y="1012005"/>
                </a:lnTo>
                <a:lnTo>
                  <a:pt x="2176192" y="1014062"/>
                </a:lnTo>
                <a:lnTo>
                  <a:pt x="2175107" y="1016878"/>
                </a:lnTo>
                <a:lnTo>
                  <a:pt x="2173262" y="1016661"/>
                </a:lnTo>
                <a:lnTo>
                  <a:pt x="2171743" y="1018610"/>
                </a:lnTo>
                <a:lnTo>
                  <a:pt x="2173045" y="1019909"/>
                </a:lnTo>
                <a:lnTo>
                  <a:pt x="2173805" y="1027813"/>
                </a:lnTo>
                <a:lnTo>
                  <a:pt x="2175867" y="1028029"/>
                </a:lnTo>
                <a:lnTo>
                  <a:pt x="2181075" y="1038098"/>
                </a:lnTo>
                <a:lnTo>
                  <a:pt x="2184114" y="1045244"/>
                </a:lnTo>
                <a:lnTo>
                  <a:pt x="2192904" y="1048167"/>
                </a:lnTo>
                <a:lnTo>
                  <a:pt x="2202236" y="1049792"/>
                </a:lnTo>
                <a:lnTo>
                  <a:pt x="2219273" y="1054664"/>
                </a:lnTo>
                <a:lnTo>
                  <a:pt x="2219925" y="1059861"/>
                </a:lnTo>
                <a:lnTo>
                  <a:pt x="2217862" y="1061593"/>
                </a:lnTo>
                <a:lnTo>
                  <a:pt x="2212545" y="1065491"/>
                </a:lnTo>
                <a:lnTo>
                  <a:pt x="2208204" y="1067765"/>
                </a:lnTo>
                <a:lnTo>
                  <a:pt x="2201368" y="1076859"/>
                </a:lnTo>
                <a:lnTo>
                  <a:pt x="2200283" y="1074910"/>
                </a:lnTo>
                <a:lnTo>
                  <a:pt x="2198221" y="1076426"/>
                </a:lnTo>
                <a:lnTo>
                  <a:pt x="2197570" y="1079349"/>
                </a:lnTo>
                <a:lnTo>
                  <a:pt x="2182378" y="1095049"/>
                </a:lnTo>
                <a:lnTo>
                  <a:pt x="2176192" y="1097972"/>
                </a:lnTo>
                <a:lnTo>
                  <a:pt x="2172069" y="1105226"/>
                </a:lnTo>
                <a:lnTo>
                  <a:pt x="2167945" y="1106093"/>
                </a:lnTo>
                <a:lnTo>
                  <a:pt x="2165666" y="1104360"/>
                </a:lnTo>
                <a:lnTo>
                  <a:pt x="2162953" y="1104360"/>
                </a:lnTo>
                <a:lnTo>
                  <a:pt x="2161868" y="1106958"/>
                </a:lnTo>
                <a:lnTo>
                  <a:pt x="2156008" y="1100029"/>
                </a:lnTo>
                <a:lnTo>
                  <a:pt x="2152427" y="1098513"/>
                </a:lnTo>
                <a:lnTo>
                  <a:pt x="2149606" y="1101978"/>
                </a:lnTo>
                <a:lnTo>
                  <a:pt x="2148521" y="1098622"/>
                </a:lnTo>
                <a:lnTo>
                  <a:pt x="2146567" y="1097755"/>
                </a:lnTo>
                <a:lnTo>
                  <a:pt x="2150039" y="1093208"/>
                </a:lnTo>
                <a:lnTo>
                  <a:pt x="2148521" y="1092017"/>
                </a:lnTo>
                <a:lnTo>
                  <a:pt x="2147435" y="1089527"/>
                </a:lnTo>
                <a:lnTo>
                  <a:pt x="2142769" y="1092126"/>
                </a:lnTo>
                <a:lnTo>
                  <a:pt x="2139188" y="1101545"/>
                </a:lnTo>
                <a:lnTo>
                  <a:pt x="2138862" y="1097322"/>
                </a:lnTo>
                <a:lnTo>
                  <a:pt x="2136258" y="1089744"/>
                </a:lnTo>
                <a:lnTo>
                  <a:pt x="2134196" y="1096456"/>
                </a:lnTo>
                <a:lnTo>
                  <a:pt x="2136584" y="1099379"/>
                </a:lnTo>
                <a:lnTo>
                  <a:pt x="2136041" y="1108258"/>
                </a:lnTo>
                <a:lnTo>
                  <a:pt x="2130398" y="1116161"/>
                </a:lnTo>
                <a:lnTo>
                  <a:pt x="2127251" y="1115403"/>
                </a:lnTo>
                <a:lnTo>
                  <a:pt x="2126275" y="1112372"/>
                </a:lnTo>
                <a:lnTo>
                  <a:pt x="2122802" y="1106742"/>
                </a:lnTo>
                <a:lnTo>
                  <a:pt x="2121608" y="1111073"/>
                </a:lnTo>
                <a:lnTo>
                  <a:pt x="2124864" y="1113671"/>
                </a:lnTo>
                <a:lnTo>
                  <a:pt x="2120089" y="1116161"/>
                </a:lnTo>
                <a:lnTo>
                  <a:pt x="2119547" y="1121358"/>
                </a:lnTo>
                <a:lnTo>
                  <a:pt x="2117810" y="1119626"/>
                </a:lnTo>
                <a:lnTo>
                  <a:pt x="2112601" y="1117894"/>
                </a:lnTo>
                <a:lnTo>
                  <a:pt x="2111951" y="1114429"/>
                </a:lnTo>
                <a:lnTo>
                  <a:pt x="2107935" y="1111939"/>
                </a:lnTo>
                <a:lnTo>
                  <a:pt x="2103269" y="1105659"/>
                </a:lnTo>
                <a:lnTo>
                  <a:pt x="2093828" y="1102303"/>
                </a:lnTo>
                <a:lnTo>
                  <a:pt x="2084930" y="1097106"/>
                </a:lnTo>
                <a:lnTo>
                  <a:pt x="2082000" y="1090068"/>
                </a:lnTo>
                <a:lnTo>
                  <a:pt x="2078202" y="1088661"/>
                </a:lnTo>
                <a:lnTo>
                  <a:pt x="2071582" y="1083680"/>
                </a:lnTo>
                <a:lnTo>
                  <a:pt x="2069411" y="1079891"/>
                </a:lnTo>
                <a:lnTo>
                  <a:pt x="2069086" y="1086928"/>
                </a:lnTo>
                <a:lnTo>
                  <a:pt x="2064854" y="1085954"/>
                </a:lnTo>
                <a:lnTo>
                  <a:pt x="2067458" y="1092775"/>
                </a:lnTo>
                <a:lnTo>
                  <a:pt x="2071582" y="1096456"/>
                </a:lnTo>
                <a:lnTo>
                  <a:pt x="2073210" y="1094507"/>
                </a:lnTo>
                <a:lnTo>
                  <a:pt x="2071256" y="1091043"/>
                </a:lnTo>
                <a:lnTo>
                  <a:pt x="2072124" y="1088985"/>
                </a:lnTo>
                <a:lnTo>
                  <a:pt x="2074078" y="1089202"/>
                </a:lnTo>
                <a:lnTo>
                  <a:pt x="2083627" y="1099163"/>
                </a:lnTo>
                <a:lnTo>
                  <a:pt x="2092309" y="1104468"/>
                </a:lnTo>
                <a:lnTo>
                  <a:pt x="2093177" y="1106526"/>
                </a:lnTo>
                <a:lnTo>
                  <a:pt x="2087426" y="1110315"/>
                </a:lnTo>
                <a:lnTo>
                  <a:pt x="2081783" y="1111181"/>
                </a:lnTo>
                <a:lnTo>
                  <a:pt x="2078635" y="1110315"/>
                </a:lnTo>
                <a:lnTo>
                  <a:pt x="2079720" y="1113238"/>
                </a:lnTo>
                <a:lnTo>
                  <a:pt x="2079720" y="1114862"/>
                </a:lnTo>
                <a:lnTo>
                  <a:pt x="2082108" y="1113671"/>
                </a:lnTo>
                <a:lnTo>
                  <a:pt x="2091441" y="1112913"/>
                </a:lnTo>
                <a:lnTo>
                  <a:pt x="2096432" y="1107933"/>
                </a:lnTo>
                <a:lnTo>
                  <a:pt x="2098711" y="1107391"/>
                </a:lnTo>
                <a:lnTo>
                  <a:pt x="2101641" y="1110856"/>
                </a:lnTo>
                <a:lnTo>
                  <a:pt x="2102618" y="1116919"/>
                </a:lnTo>
                <a:lnTo>
                  <a:pt x="2111624" y="1127422"/>
                </a:lnTo>
                <a:lnTo>
                  <a:pt x="2110756" y="1138248"/>
                </a:lnTo>
                <a:lnTo>
                  <a:pt x="2104571" y="1144745"/>
                </a:lnTo>
                <a:lnTo>
                  <a:pt x="2100556" y="1145070"/>
                </a:lnTo>
                <a:lnTo>
                  <a:pt x="2097843" y="1147343"/>
                </a:lnTo>
                <a:lnTo>
                  <a:pt x="2092309" y="1147019"/>
                </a:lnTo>
                <a:lnTo>
                  <a:pt x="2088294" y="1144203"/>
                </a:lnTo>
                <a:lnTo>
                  <a:pt x="2077659" y="1142146"/>
                </a:lnTo>
                <a:lnTo>
                  <a:pt x="2071474" y="1134134"/>
                </a:lnTo>
                <a:lnTo>
                  <a:pt x="2069194" y="1126339"/>
                </a:lnTo>
                <a:lnTo>
                  <a:pt x="2065722" y="1123091"/>
                </a:lnTo>
                <a:lnTo>
                  <a:pt x="2064528" y="1124931"/>
                </a:lnTo>
                <a:lnTo>
                  <a:pt x="2065288" y="1128071"/>
                </a:lnTo>
                <a:lnTo>
                  <a:pt x="2065071" y="1132727"/>
                </a:lnTo>
                <a:lnTo>
                  <a:pt x="2069194" y="1137815"/>
                </a:lnTo>
                <a:lnTo>
                  <a:pt x="2072667" y="1147668"/>
                </a:lnTo>
                <a:lnTo>
                  <a:pt x="2077442" y="1155897"/>
                </a:lnTo>
                <a:lnTo>
                  <a:pt x="2074729" y="1158279"/>
                </a:lnTo>
                <a:lnTo>
                  <a:pt x="2072016" y="1156980"/>
                </a:lnTo>
                <a:lnTo>
                  <a:pt x="2067458" y="1157629"/>
                </a:lnTo>
                <a:lnTo>
                  <a:pt x="2065940" y="1151458"/>
                </a:lnTo>
                <a:lnTo>
                  <a:pt x="2065071" y="1154489"/>
                </a:lnTo>
                <a:lnTo>
                  <a:pt x="2063227" y="1155897"/>
                </a:lnTo>
                <a:lnTo>
                  <a:pt x="2064745" y="1158820"/>
                </a:lnTo>
                <a:lnTo>
                  <a:pt x="2068652" y="1160552"/>
                </a:lnTo>
                <a:lnTo>
                  <a:pt x="2070063" y="1163476"/>
                </a:lnTo>
                <a:lnTo>
                  <a:pt x="2061598" y="1161419"/>
                </a:lnTo>
                <a:lnTo>
                  <a:pt x="2059537" y="1159686"/>
                </a:lnTo>
                <a:lnTo>
                  <a:pt x="2059211" y="1163801"/>
                </a:lnTo>
                <a:lnTo>
                  <a:pt x="2061924" y="1166182"/>
                </a:lnTo>
                <a:lnTo>
                  <a:pt x="2061924" y="1169864"/>
                </a:lnTo>
                <a:lnTo>
                  <a:pt x="2058343" y="1174411"/>
                </a:lnTo>
                <a:lnTo>
                  <a:pt x="2057475" y="1168997"/>
                </a:lnTo>
                <a:lnTo>
                  <a:pt x="2054545" y="1168456"/>
                </a:lnTo>
                <a:lnTo>
                  <a:pt x="2056064" y="1170513"/>
                </a:lnTo>
                <a:lnTo>
                  <a:pt x="2055304" y="1174086"/>
                </a:lnTo>
                <a:lnTo>
                  <a:pt x="2053677" y="1172895"/>
                </a:lnTo>
                <a:lnTo>
                  <a:pt x="2047817" y="1172570"/>
                </a:lnTo>
                <a:lnTo>
                  <a:pt x="2045646" y="1175494"/>
                </a:lnTo>
                <a:lnTo>
                  <a:pt x="2038484" y="1178309"/>
                </a:lnTo>
                <a:lnTo>
                  <a:pt x="2042391" y="1180691"/>
                </a:lnTo>
                <a:lnTo>
                  <a:pt x="2043150" y="1184047"/>
                </a:lnTo>
                <a:lnTo>
                  <a:pt x="2041089" y="1184913"/>
                </a:lnTo>
                <a:lnTo>
                  <a:pt x="2040220" y="1182856"/>
                </a:lnTo>
                <a:lnTo>
                  <a:pt x="2034904" y="1178958"/>
                </a:lnTo>
                <a:lnTo>
                  <a:pt x="2031105" y="1178309"/>
                </a:lnTo>
                <a:lnTo>
                  <a:pt x="2030780" y="1181123"/>
                </a:lnTo>
                <a:lnTo>
                  <a:pt x="2028393" y="1182531"/>
                </a:lnTo>
                <a:lnTo>
                  <a:pt x="2034253" y="1186862"/>
                </a:lnTo>
                <a:lnTo>
                  <a:pt x="2032191" y="1189461"/>
                </a:lnTo>
                <a:lnTo>
                  <a:pt x="2032191" y="1192059"/>
                </a:lnTo>
                <a:lnTo>
                  <a:pt x="2027524" y="1191843"/>
                </a:lnTo>
                <a:lnTo>
                  <a:pt x="2023727" y="1198014"/>
                </a:lnTo>
                <a:lnTo>
                  <a:pt x="2017866" y="1201154"/>
                </a:lnTo>
                <a:lnTo>
                  <a:pt x="2020254" y="1204186"/>
                </a:lnTo>
                <a:lnTo>
                  <a:pt x="2019060" y="1207000"/>
                </a:lnTo>
                <a:lnTo>
                  <a:pt x="2016021" y="1207000"/>
                </a:lnTo>
                <a:lnTo>
                  <a:pt x="2013200" y="1210573"/>
                </a:lnTo>
                <a:lnTo>
                  <a:pt x="2014068" y="1214471"/>
                </a:lnTo>
                <a:lnTo>
                  <a:pt x="2009945" y="1216204"/>
                </a:lnTo>
                <a:lnTo>
                  <a:pt x="2002891" y="1224107"/>
                </a:lnTo>
                <a:lnTo>
                  <a:pt x="1997791" y="1225515"/>
                </a:lnTo>
                <a:lnTo>
                  <a:pt x="1997466" y="1229629"/>
                </a:lnTo>
                <a:lnTo>
                  <a:pt x="1992582" y="1234068"/>
                </a:lnTo>
                <a:lnTo>
                  <a:pt x="1987373" y="1230604"/>
                </a:lnTo>
                <a:lnTo>
                  <a:pt x="1987048" y="1233418"/>
                </a:lnTo>
                <a:lnTo>
                  <a:pt x="1989435" y="1238832"/>
                </a:lnTo>
                <a:lnTo>
                  <a:pt x="1984985" y="1243379"/>
                </a:lnTo>
                <a:lnTo>
                  <a:pt x="1983250" y="1251933"/>
                </a:lnTo>
                <a:lnTo>
                  <a:pt x="1980537" y="1256480"/>
                </a:lnTo>
                <a:lnTo>
                  <a:pt x="1978475" y="1262652"/>
                </a:lnTo>
                <a:lnTo>
                  <a:pt x="1974676" y="1264708"/>
                </a:lnTo>
                <a:lnTo>
                  <a:pt x="1971204" y="1274345"/>
                </a:lnTo>
                <a:lnTo>
                  <a:pt x="1973049" y="1276402"/>
                </a:lnTo>
                <a:lnTo>
                  <a:pt x="1973049" y="1283331"/>
                </a:lnTo>
                <a:lnTo>
                  <a:pt x="1968816" y="1290693"/>
                </a:lnTo>
                <a:lnTo>
                  <a:pt x="1967189" y="1294808"/>
                </a:lnTo>
                <a:lnTo>
                  <a:pt x="1962849" y="1296215"/>
                </a:lnTo>
                <a:lnTo>
                  <a:pt x="1960787" y="1298381"/>
                </a:lnTo>
                <a:lnTo>
                  <a:pt x="1965887" y="1299464"/>
                </a:lnTo>
                <a:lnTo>
                  <a:pt x="1967080" y="1303036"/>
                </a:lnTo>
                <a:lnTo>
                  <a:pt x="1965670" y="1307367"/>
                </a:lnTo>
                <a:lnTo>
                  <a:pt x="1968057" y="1310291"/>
                </a:lnTo>
                <a:lnTo>
                  <a:pt x="1967840" y="1316462"/>
                </a:lnTo>
                <a:lnTo>
                  <a:pt x="1969793" y="1317545"/>
                </a:lnTo>
                <a:lnTo>
                  <a:pt x="1965344" y="1328697"/>
                </a:lnTo>
                <a:lnTo>
                  <a:pt x="1959050" y="1334652"/>
                </a:lnTo>
                <a:lnTo>
                  <a:pt x="1946137" y="1337575"/>
                </a:lnTo>
                <a:lnTo>
                  <a:pt x="1944292" y="1342447"/>
                </a:lnTo>
                <a:lnTo>
                  <a:pt x="1950694" y="1337142"/>
                </a:lnTo>
                <a:lnTo>
                  <a:pt x="1961655" y="1335734"/>
                </a:lnTo>
                <a:lnTo>
                  <a:pt x="1970010" y="1325556"/>
                </a:lnTo>
                <a:lnTo>
                  <a:pt x="1975979" y="1313755"/>
                </a:lnTo>
                <a:lnTo>
                  <a:pt x="1989760" y="1313214"/>
                </a:lnTo>
                <a:lnTo>
                  <a:pt x="1993884" y="1315054"/>
                </a:lnTo>
                <a:lnTo>
                  <a:pt x="1993884" y="1319601"/>
                </a:lnTo>
                <a:lnTo>
                  <a:pt x="1992039" y="1324691"/>
                </a:lnTo>
                <a:lnTo>
                  <a:pt x="1992039" y="1330429"/>
                </a:lnTo>
                <a:lnTo>
                  <a:pt x="1994753" y="1336709"/>
                </a:lnTo>
                <a:lnTo>
                  <a:pt x="1994753" y="1346345"/>
                </a:lnTo>
                <a:lnTo>
                  <a:pt x="1991171" y="1355656"/>
                </a:lnTo>
                <a:lnTo>
                  <a:pt x="1994101" y="1359770"/>
                </a:lnTo>
                <a:lnTo>
                  <a:pt x="1995837" y="1369082"/>
                </a:lnTo>
                <a:lnTo>
                  <a:pt x="1993884" y="1373845"/>
                </a:lnTo>
                <a:lnTo>
                  <a:pt x="1979234" y="1387812"/>
                </a:lnTo>
                <a:lnTo>
                  <a:pt x="1972181" y="1390194"/>
                </a:lnTo>
                <a:lnTo>
                  <a:pt x="1967080" y="1389328"/>
                </a:lnTo>
                <a:lnTo>
                  <a:pt x="1972398" y="1391602"/>
                </a:lnTo>
                <a:lnTo>
                  <a:pt x="1979451" y="1391710"/>
                </a:lnTo>
                <a:lnTo>
                  <a:pt x="1996489" y="1386296"/>
                </a:lnTo>
                <a:lnTo>
                  <a:pt x="2013743" y="1380558"/>
                </a:lnTo>
                <a:lnTo>
                  <a:pt x="2022207" y="1379692"/>
                </a:lnTo>
                <a:lnTo>
                  <a:pt x="2033059" y="1386730"/>
                </a:lnTo>
                <a:lnTo>
                  <a:pt x="2040112" y="1393118"/>
                </a:lnTo>
                <a:lnTo>
                  <a:pt x="2050421" y="1396257"/>
                </a:lnTo>
                <a:lnTo>
                  <a:pt x="2053243" y="1398639"/>
                </a:lnTo>
                <a:lnTo>
                  <a:pt x="2057801" y="1399830"/>
                </a:lnTo>
                <a:lnTo>
                  <a:pt x="2065397" y="1407518"/>
                </a:lnTo>
                <a:lnTo>
                  <a:pt x="2069086" y="1409141"/>
                </a:lnTo>
                <a:lnTo>
                  <a:pt x="2072884" y="1416179"/>
                </a:lnTo>
                <a:lnTo>
                  <a:pt x="2077008" y="1418778"/>
                </a:lnTo>
                <a:lnTo>
                  <a:pt x="2077008" y="1422892"/>
                </a:lnTo>
                <a:lnTo>
                  <a:pt x="2080047" y="1426357"/>
                </a:lnTo>
                <a:lnTo>
                  <a:pt x="2083302" y="1434369"/>
                </a:lnTo>
                <a:lnTo>
                  <a:pt x="2083193" y="1436642"/>
                </a:lnTo>
                <a:lnTo>
                  <a:pt x="2086449" y="1435235"/>
                </a:lnTo>
                <a:lnTo>
                  <a:pt x="2088728" y="1437834"/>
                </a:lnTo>
                <a:lnTo>
                  <a:pt x="2098494" y="1444330"/>
                </a:lnTo>
                <a:lnTo>
                  <a:pt x="2101967" y="1445196"/>
                </a:lnTo>
                <a:lnTo>
                  <a:pt x="2109020" y="1450176"/>
                </a:lnTo>
                <a:lnTo>
                  <a:pt x="2112601" y="1451367"/>
                </a:lnTo>
                <a:lnTo>
                  <a:pt x="2120740" y="1458621"/>
                </a:lnTo>
                <a:lnTo>
                  <a:pt x="2121608" y="1462086"/>
                </a:lnTo>
                <a:lnTo>
                  <a:pt x="2127576" y="1467932"/>
                </a:lnTo>
                <a:lnTo>
                  <a:pt x="2126708" y="1470098"/>
                </a:lnTo>
                <a:lnTo>
                  <a:pt x="2128336" y="1471722"/>
                </a:lnTo>
                <a:lnTo>
                  <a:pt x="2135824" y="1471830"/>
                </a:lnTo>
                <a:lnTo>
                  <a:pt x="2138103" y="1472697"/>
                </a:lnTo>
                <a:lnTo>
                  <a:pt x="2143528" y="1471505"/>
                </a:lnTo>
                <a:lnTo>
                  <a:pt x="2153621" y="1471830"/>
                </a:lnTo>
                <a:lnTo>
                  <a:pt x="2156008" y="1474104"/>
                </a:lnTo>
                <a:lnTo>
                  <a:pt x="2157962" y="1474104"/>
                </a:lnTo>
                <a:lnTo>
                  <a:pt x="2165341" y="1476378"/>
                </a:lnTo>
                <a:lnTo>
                  <a:pt x="2173479" y="1477893"/>
                </a:lnTo>
                <a:lnTo>
                  <a:pt x="2179339" y="1475944"/>
                </a:lnTo>
                <a:lnTo>
                  <a:pt x="2182703" y="1475944"/>
                </a:lnTo>
                <a:lnTo>
                  <a:pt x="2182595" y="1477677"/>
                </a:lnTo>
                <a:lnTo>
                  <a:pt x="2184114" y="1476811"/>
                </a:lnTo>
                <a:lnTo>
                  <a:pt x="2186501" y="1476811"/>
                </a:lnTo>
                <a:lnTo>
                  <a:pt x="2187369" y="1483956"/>
                </a:lnTo>
                <a:lnTo>
                  <a:pt x="2181184" y="1495542"/>
                </a:lnTo>
                <a:lnTo>
                  <a:pt x="2180858" y="1499656"/>
                </a:lnTo>
                <a:lnTo>
                  <a:pt x="2177603" y="1504203"/>
                </a:lnTo>
                <a:lnTo>
                  <a:pt x="2174130" y="1510483"/>
                </a:lnTo>
                <a:lnTo>
                  <a:pt x="2174998" y="1515896"/>
                </a:lnTo>
                <a:lnTo>
                  <a:pt x="2176518" y="1517196"/>
                </a:lnTo>
                <a:lnTo>
                  <a:pt x="2176844" y="1527590"/>
                </a:lnTo>
                <a:lnTo>
                  <a:pt x="2170658" y="1537117"/>
                </a:lnTo>
                <a:lnTo>
                  <a:pt x="2170658" y="1541340"/>
                </a:lnTo>
                <a:lnTo>
                  <a:pt x="2168813" y="1547511"/>
                </a:lnTo>
                <a:lnTo>
                  <a:pt x="2164146" y="1551409"/>
                </a:lnTo>
                <a:lnTo>
                  <a:pt x="2161542" y="1560937"/>
                </a:lnTo>
                <a:lnTo>
                  <a:pt x="2163605" y="1564835"/>
                </a:lnTo>
                <a:lnTo>
                  <a:pt x="2168488" y="1568624"/>
                </a:lnTo>
                <a:lnTo>
                  <a:pt x="2168488" y="1574471"/>
                </a:lnTo>
                <a:lnTo>
                  <a:pt x="2172069" y="1576420"/>
                </a:lnTo>
                <a:lnTo>
                  <a:pt x="2174782" y="1580318"/>
                </a:lnTo>
                <a:lnTo>
                  <a:pt x="2173805" y="1584324"/>
                </a:lnTo>
                <a:lnTo>
                  <a:pt x="2174456" y="1586381"/>
                </a:lnTo>
                <a:lnTo>
                  <a:pt x="2174130" y="1589737"/>
                </a:lnTo>
                <a:lnTo>
                  <a:pt x="2178580" y="1591469"/>
                </a:lnTo>
                <a:lnTo>
                  <a:pt x="2184331" y="1594392"/>
                </a:lnTo>
                <a:lnTo>
                  <a:pt x="2185524" y="1594392"/>
                </a:lnTo>
                <a:lnTo>
                  <a:pt x="2186176" y="1597641"/>
                </a:lnTo>
                <a:lnTo>
                  <a:pt x="2189106" y="1601647"/>
                </a:lnTo>
                <a:lnTo>
                  <a:pt x="2189974" y="1609226"/>
                </a:lnTo>
                <a:lnTo>
                  <a:pt x="2191167" y="1612257"/>
                </a:lnTo>
                <a:lnTo>
                  <a:pt x="2189323" y="1618970"/>
                </a:lnTo>
                <a:lnTo>
                  <a:pt x="2180207" y="1627091"/>
                </a:lnTo>
                <a:lnTo>
                  <a:pt x="2187044" y="1623626"/>
                </a:lnTo>
                <a:lnTo>
                  <a:pt x="2192904" y="1619295"/>
                </a:lnTo>
                <a:lnTo>
                  <a:pt x="2199306" y="1621569"/>
                </a:lnTo>
                <a:lnTo>
                  <a:pt x="2203430" y="1625575"/>
                </a:lnTo>
                <a:lnTo>
                  <a:pt x="2207445" y="1625899"/>
                </a:lnTo>
                <a:lnTo>
                  <a:pt x="2208747" y="1621893"/>
                </a:lnTo>
                <a:lnTo>
                  <a:pt x="2208747" y="1617779"/>
                </a:lnTo>
                <a:lnTo>
                  <a:pt x="2216886" y="1607818"/>
                </a:lnTo>
                <a:lnTo>
                  <a:pt x="2218730" y="1607710"/>
                </a:lnTo>
                <a:lnTo>
                  <a:pt x="2217754" y="1611608"/>
                </a:lnTo>
                <a:lnTo>
                  <a:pt x="2218405" y="1614206"/>
                </a:lnTo>
                <a:lnTo>
                  <a:pt x="2221227" y="1614856"/>
                </a:lnTo>
                <a:lnTo>
                  <a:pt x="2222854" y="1623301"/>
                </a:lnTo>
                <a:lnTo>
                  <a:pt x="2221986" y="1629797"/>
                </a:lnTo>
                <a:lnTo>
                  <a:pt x="2227521" y="1634128"/>
                </a:lnTo>
                <a:lnTo>
                  <a:pt x="2235659" y="1634994"/>
                </a:lnTo>
                <a:lnTo>
                  <a:pt x="2231102" y="1632937"/>
                </a:lnTo>
                <a:lnTo>
                  <a:pt x="2226544" y="1627740"/>
                </a:lnTo>
                <a:lnTo>
                  <a:pt x="2225676" y="1622110"/>
                </a:lnTo>
                <a:lnTo>
                  <a:pt x="2226653" y="1614748"/>
                </a:lnTo>
                <a:lnTo>
                  <a:pt x="2229039" y="1611499"/>
                </a:lnTo>
                <a:lnTo>
                  <a:pt x="2226653" y="1608467"/>
                </a:lnTo>
                <a:lnTo>
                  <a:pt x="2226327" y="1603920"/>
                </a:lnTo>
                <a:lnTo>
                  <a:pt x="2228172" y="1604895"/>
                </a:lnTo>
                <a:lnTo>
                  <a:pt x="2230776" y="1604028"/>
                </a:lnTo>
                <a:lnTo>
                  <a:pt x="2233055" y="1597208"/>
                </a:lnTo>
                <a:lnTo>
                  <a:pt x="2238698" y="1591686"/>
                </a:lnTo>
                <a:lnTo>
                  <a:pt x="2237070" y="1589737"/>
                </a:lnTo>
                <a:lnTo>
                  <a:pt x="2236310" y="1582699"/>
                </a:lnTo>
                <a:lnTo>
                  <a:pt x="2233597" y="1581184"/>
                </a:lnTo>
                <a:lnTo>
                  <a:pt x="2233706" y="1576203"/>
                </a:lnTo>
                <a:lnTo>
                  <a:pt x="2238263" y="1570681"/>
                </a:lnTo>
                <a:lnTo>
                  <a:pt x="2236310" y="1568083"/>
                </a:lnTo>
                <a:lnTo>
                  <a:pt x="2236527" y="1565376"/>
                </a:lnTo>
                <a:lnTo>
                  <a:pt x="2234140" y="1564510"/>
                </a:lnTo>
                <a:lnTo>
                  <a:pt x="2233380" y="1561370"/>
                </a:lnTo>
                <a:lnTo>
                  <a:pt x="2237178" y="1549677"/>
                </a:lnTo>
                <a:lnTo>
                  <a:pt x="2235985" y="1545129"/>
                </a:lnTo>
                <a:lnTo>
                  <a:pt x="2237178" y="1537117"/>
                </a:lnTo>
                <a:lnTo>
                  <a:pt x="2239783" y="1534627"/>
                </a:lnTo>
                <a:lnTo>
                  <a:pt x="2238698" y="1530080"/>
                </a:lnTo>
                <a:lnTo>
                  <a:pt x="2240976" y="1528564"/>
                </a:lnTo>
                <a:lnTo>
                  <a:pt x="2239240" y="1524666"/>
                </a:lnTo>
                <a:lnTo>
                  <a:pt x="2242061" y="1522609"/>
                </a:lnTo>
                <a:lnTo>
                  <a:pt x="2239457" y="1521851"/>
                </a:lnTo>
                <a:lnTo>
                  <a:pt x="2237938" y="1518819"/>
                </a:lnTo>
                <a:lnTo>
                  <a:pt x="2240325" y="1517412"/>
                </a:lnTo>
                <a:lnTo>
                  <a:pt x="2238372" y="1513839"/>
                </a:lnTo>
                <a:lnTo>
                  <a:pt x="2238589" y="1509509"/>
                </a:lnTo>
                <a:lnTo>
                  <a:pt x="2236527" y="1505719"/>
                </a:lnTo>
                <a:lnTo>
                  <a:pt x="2235985" y="1500955"/>
                </a:lnTo>
                <a:lnTo>
                  <a:pt x="2234465" y="1498356"/>
                </a:lnTo>
                <a:lnTo>
                  <a:pt x="2240868" y="1495433"/>
                </a:lnTo>
                <a:lnTo>
                  <a:pt x="2250309" y="1493809"/>
                </a:lnTo>
                <a:lnTo>
                  <a:pt x="2254975" y="1490236"/>
                </a:lnTo>
                <a:lnTo>
                  <a:pt x="2260510" y="1490453"/>
                </a:lnTo>
                <a:lnTo>
                  <a:pt x="2263006" y="1488395"/>
                </a:lnTo>
                <a:lnTo>
                  <a:pt x="2272338" y="1483740"/>
                </a:lnTo>
                <a:lnTo>
                  <a:pt x="2287204" y="1478218"/>
                </a:lnTo>
                <a:lnTo>
                  <a:pt x="2287313" y="1476486"/>
                </a:lnTo>
                <a:lnTo>
                  <a:pt x="2290460" y="1473562"/>
                </a:lnTo>
                <a:lnTo>
                  <a:pt x="2301638" y="1468799"/>
                </a:lnTo>
                <a:lnTo>
                  <a:pt x="2302288" y="1464685"/>
                </a:lnTo>
                <a:lnTo>
                  <a:pt x="2307822" y="1462086"/>
                </a:lnTo>
                <a:lnTo>
                  <a:pt x="2314442" y="1451800"/>
                </a:lnTo>
                <a:lnTo>
                  <a:pt x="2317263" y="1452125"/>
                </a:lnTo>
                <a:lnTo>
                  <a:pt x="2319543" y="1454291"/>
                </a:lnTo>
                <a:lnTo>
                  <a:pt x="2324318" y="1453965"/>
                </a:lnTo>
                <a:lnTo>
                  <a:pt x="2328007" y="1450068"/>
                </a:lnTo>
                <a:lnTo>
                  <a:pt x="2323666" y="1444546"/>
                </a:lnTo>
                <a:lnTo>
                  <a:pt x="2323341" y="1438483"/>
                </a:lnTo>
                <a:lnTo>
                  <a:pt x="2320411" y="1441081"/>
                </a:lnTo>
                <a:lnTo>
                  <a:pt x="2319435" y="1445845"/>
                </a:lnTo>
                <a:lnTo>
                  <a:pt x="2317263" y="1446387"/>
                </a:lnTo>
                <a:lnTo>
                  <a:pt x="2319000" y="1440215"/>
                </a:lnTo>
                <a:lnTo>
                  <a:pt x="2323341" y="1428738"/>
                </a:lnTo>
                <a:lnTo>
                  <a:pt x="2325077" y="1426790"/>
                </a:lnTo>
                <a:lnTo>
                  <a:pt x="2325077" y="1418561"/>
                </a:lnTo>
                <a:lnTo>
                  <a:pt x="2325728" y="1412714"/>
                </a:lnTo>
                <a:lnTo>
                  <a:pt x="2321930" y="1405461"/>
                </a:lnTo>
                <a:lnTo>
                  <a:pt x="2322689" y="1391061"/>
                </a:lnTo>
                <a:lnTo>
                  <a:pt x="2321062" y="1378392"/>
                </a:lnTo>
                <a:lnTo>
                  <a:pt x="2313900" y="1367133"/>
                </a:lnTo>
                <a:lnTo>
                  <a:pt x="2308691" y="1363776"/>
                </a:lnTo>
                <a:lnTo>
                  <a:pt x="2307280" y="1358688"/>
                </a:lnTo>
                <a:lnTo>
                  <a:pt x="2302506" y="1357280"/>
                </a:lnTo>
                <a:lnTo>
                  <a:pt x="2301095" y="1353599"/>
                </a:lnTo>
                <a:lnTo>
                  <a:pt x="2303916" y="1344288"/>
                </a:lnTo>
                <a:lnTo>
                  <a:pt x="2308582" y="1342231"/>
                </a:lnTo>
                <a:lnTo>
                  <a:pt x="2321062" y="1329130"/>
                </a:lnTo>
                <a:lnTo>
                  <a:pt x="2325077" y="1328697"/>
                </a:lnTo>
                <a:lnTo>
                  <a:pt x="2328115" y="1325123"/>
                </a:lnTo>
                <a:lnTo>
                  <a:pt x="2328007" y="1321768"/>
                </a:lnTo>
                <a:lnTo>
                  <a:pt x="2326271" y="1320793"/>
                </a:lnTo>
                <a:lnTo>
                  <a:pt x="2326054" y="1318844"/>
                </a:lnTo>
                <a:lnTo>
                  <a:pt x="2331045" y="1312348"/>
                </a:lnTo>
                <a:lnTo>
                  <a:pt x="2333650" y="1312348"/>
                </a:lnTo>
                <a:lnTo>
                  <a:pt x="2336580" y="1317978"/>
                </a:lnTo>
                <a:lnTo>
                  <a:pt x="2339726" y="1319601"/>
                </a:lnTo>
                <a:lnTo>
                  <a:pt x="2337990" y="1317003"/>
                </a:lnTo>
                <a:lnTo>
                  <a:pt x="2338316" y="1311481"/>
                </a:lnTo>
                <a:lnTo>
                  <a:pt x="2343525" y="1309208"/>
                </a:lnTo>
                <a:lnTo>
                  <a:pt x="2348517" y="1300113"/>
                </a:lnTo>
                <a:lnTo>
                  <a:pt x="2347649" y="1297081"/>
                </a:lnTo>
                <a:lnTo>
                  <a:pt x="2341138" y="1297081"/>
                </a:lnTo>
                <a:lnTo>
                  <a:pt x="2340595" y="1295024"/>
                </a:lnTo>
                <a:lnTo>
                  <a:pt x="2344827" y="1289503"/>
                </a:lnTo>
                <a:lnTo>
                  <a:pt x="2342331" y="1287446"/>
                </a:lnTo>
                <a:lnTo>
                  <a:pt x="2340703" y="1283981"/>
                </a:lnTo>
                <a:lnTo>
                  <a:pt x="2343959" y="1280191"/>
                </a:lnTo>
                <a:lnTo>
                  <a:pt x="2348625" y="1278675"/>
                </a:lnTo>
                <a:lnTo>
                  <a:pt x="2343525" y="1277809"/>
                </a:lnTo>
                <a:lnTo>
                  <a:pt x="2343199" y="1275211"/>
                </a:lnTo>
                <a:lnTo>
                  <a:pt x="2345261" y="1268498"/>
                </a:lnTo>
                <a:lnTo>
                  <a:pt x="2348842" y="1266224"/>
                </a:lnTo>
                <a:lnTo>
                  <a:pt x="2346021" y="1265791"/>
                </a:lnTo>
                <a:lnTo>
                  <a:pt x="2338208" y="1266441"/>
                </a:lnTo>
                <a:lnTo>
                  <a:pt x="2335928" y="1265467"/>
                </a:lnTo>
                <a:lnTo>
                  <a:pt x="2336254" y="1261785"/>
                </a:lnTo>
                <a:lnTo>
                  <a:pt x="2346455" y="1253773"/>
                </a:lnTo>
                <a:lnTo>
                  <a:pt x="2352749" y="1244571"/>
                </a:lnTo>
                <a:lnTo>
                  <a:pt x="2353834" y="1239049"/>
                </a:lnTo>
                <a:lnTo>
                  <a:pt x="2356873" y="1239590"/>
                </a:lnTo>
                <a:lnTo>
                  <a:pt x="2359043" y="1236991"/>
                </a:lnTo>
                <a:lnTo>
                  <a:pt x="2359043" y="1231578"/>
                </a:lnTo>
                <a:lnTo>
                  <a:pt x="2356438" y="1230495"/>
                </a:lnTo>
                <a:lnTo>
                  <a:pt x="2356113" y="1228438"/>
                </a:lnTo>
                <a:lnTo>
                  <a:pt x="2353617" y="1227896"/>
                </a:lnTo>
                <a:lnTo>
                  <a:pt x="2350687" y="1223241"/>
                </a:lnTo>
                <a:lnTo>
                  <a:pt x="2350904" y="1214147"/>
                </a:lnTo>
                <a:lnTo>
                  <a:pt x="2354160" y="1207109"/>
                </a:lnTo>
                <a:lnTo>
                  <a:pt x="2354377" y="1201154"/>
                </a:lnTo>
                <a:lnTo>
                  <a:pt x="2358175" y="1199096"/>
                </a:lnTo>
                <a:lnTo>
                  <a:pt x="2360019" y="1200396"/>
                </a:lnTo>
                <a:lnTo>
                  <a:pt x="2362841" y="1200288"/>
                </a:lnTo>
                <a:lnTo>
                  <a:pt x="2362841" y="1197364"/>
                </a:lnTo>
                <a:lnTo>
                  <a:pt x="2366096" y="1194116"/>
                </a:lnTo>
                <a:lnTo>
                  <a:pt x="2369026" y="1193683"/>
                </a:lnTo>
                <a:lnTo>
                  <a:pt x="2371956" y="1192492"/>
                </a:lnTo>
                <a:lnTo>
                  <a:pt x="2374886" y="1194441"/>
                </a:lnTo>
                <a:lnTo>
                  <a:pt x="2382808" y="1194874"/>
                </a:lnTo>
                <a:lnTo>
                  <a:pt x="2390838" y="1199313"/>
                </a:lnTo>
                <a:lnTo>
                  <a:pt x="2401473" y="1205160"/>
                </a:lnTo>
                <a:lnTo>
                  <a:pt x="2407332" y="1205160"/>
                </a:lnTo>
                <a:lnTo>
                  <a:pt x="2406031" y="1209599"/>
                </a:lnTo>
                <a:lnTo>
                  <a:pt x="2399845" y="1211981"/>
                </a:lnTo>
                <a:lnTo>
                  <a:pt x="2407767" y="1211656"/>
                </a:lnTo>
                <a:lnTo>
                  <a:pt x="2414278" y="1206892"/>
                </a:lnTo>
                <a:lnTo>
                  <a:pt x="2418727" y="1207217"/>
                </a:lnTo>
                <a:lnTo>
                  <a:pt x="2421223" y="1209924"/>
                </a:lnTo>
                <a:lnTo>
                  <a:pt x="2424587" y="1209924"/>
                </a:lnTo>
                <a:lnTo>
                  <a:pt x="2428059" y="1214796"/>
                </a:lnTo>
                <a:lnTo>
                  <a:pt x="2428059" y="1209599"/>
                </a:lnTo>
                <a:lnTo>
                  <a:pt x="2433593" y="1211981"/>
                </a:lnTo>
                <a:lnTo>
                  <a:pt x="2435981" y="1209274"/>
                </a:lnTo>
                <a:lnTo>
                  <a:pt x="2439779" y="1208949"/>
                </a:lnTo>
                <a:lnTo>
                  <a:pt x="2446073" y="1205160"/>
                </a:lnTo>
                <a:lnTo>
                  <a:pt x="2454320" y="1211656"/>
                </a:lnTo>
                <a:lnTo>
                  <a:pt x="2454320" y="1216528"/>
                </a:lnTo>
                <a:lnTo>
                  <a:pt x="2459854" y="1220967"/>
                </a:lnTo>
                <a:lnTo>
                  <a:pt x="2463979" y="1220967"/>
                </a:lnTo>
                <a:lnTo>
                  <a:pt x="2463979" y="1228546"/>
                </a:lnTo>
                <a:lnTo>
                  <a:pt x="2461266" y="1232336"/>
                </a:lnTo>
                <a:lnTo>
                  <a:pt x="2461266" y="1235800"/>
                </a:lnTo>
                <a:lnTo>
                  <a:pt x="2464304" y="1233743"/>
                </a:lnTo>
                <a:lnTo>
                  <a:pt x="2469513" y="1238507"/>
                </a:lnTo>
                <a:lnTo>
                  <a:pt x="2471900" y="1243704"/>
                </a:lnTo>
                <a:lnTo>
                  <a:pt x="2468102" y="1244787"/>
                </a:lnTo>
                <a:lnTo>
                  <a:pt x="2472225" y="1247818"/>
                </a:lnTo>
                <a:lnTo>
                  <a:pt x="2475698" y="1244787"/>
                </a:lnTo>
                <a:lnTo>
                  <a:pt x="2479822" y="1250634"/>
                </a:lnTo>
                <a:lnTo>
                  <a:pt x="2479171" y="1253340"/>
                </a:lnTo>
                <a:lnTo>
                  <a:pt x="2475047" y="1250200"/>
                </a:lnTo>
                <a:lnTo>
                  <a:pt x="2472985" y="1254748"/>
                </a:lnTo>
                <a:lnTo>
                  <a:pt x="2468753" y="1254748"/>
                </a:lnTo>
                <a:lnTo>
                  <a:pt x="2474613" y="1260594"/>
                </a:lnTo>
                <a:lnTo>
                  <a:pt x="2474613" y="1265034"/>
                </a:lnTo>
                <a:lnTo>
                  <a:pt x="2478845" y="1261244"/>
                </a:lnTo>
                <a:lnTo>
                  <a:pt x="2478845" y="1265034"/>
                </a:lnTo>
                <a:lnTo>
                  <a:pt x="2482643" y="1262652"/>
                </a:lnTo>
                <a:lnTo>
                  <a:pt x="2490240" y="1269148"/>
                </a:lnTo>
                <a:lnTo>
                  <a:pt x="2492952" y="1268173"/>
                </a:lnTo>
                <a:lnTo>
                  <a:pt x="2494688" y="1270555"/>
                </a:lnTo>
                <a:lnTo>
                  <a:pt x="2499897" y="1268173"/>
                </a:lnTo>
                <a:lnTo>
                  <a:pt x="2506083" y="1270230"/>
                </a:lnTo>
                <a:lnTo>
                  <a:pt x="2504997" y="1278784"/>
                </a:lnTo>
                <a:lnTo>
                  <a:pt x="2507494" y="1282573"/>
                </a:lnTo>
                <a:lnTo>
                  <a:pt x="2512920" y="1278459"/>
                </a:lnTo>
                <a:lnTo>
                  <a:pt x="2514005" y="1271313"/>
                </a:lnTo>
                <a:lnTo>
                  <a:pt x="2517803" y="1270880"/>
                </a:lnTo>
                <a:lnTo>
                  <a:pt x="2518128" y="1279217"/>
                </a:lnTo>
                <a:lnTo>
                  <a:pt x="2516826" y="1287120"/>
                </a:lnTo>
                <a:lnTo>
                  <a:pt x="2510532" y="1288420"/>
                </a:lnTo>
                <a:lnTo>
                  <a:pt x="2506083" y="1295350"/>
                </a:lnTo>
                <a:lnTo>
                  <a:pt x="2507060" y="1307042"/>
                </a:lnTo>
                <a:lnTo>
                  <a:pt x="2504997" y="1311156"/>
                </a:lnTo>
                <a:lnTo>
                  <a:pt x="2504021" y="1304985"/>
                </a:lnTo>
                <a:lnTo>
                  <a:pt x="2501959" y="1307801"/>
                </a:lnTo>
                <a:lnTo>
                  <a:pt x="2500549" y="1314946"/>
                </a:lnTo>
                <a:lnTo>
                  <a:pt x="2490240" y="1313647"/>
                </a:lnTo>
                <a:lnTo>
                  <a:pt x="2477760" y="1309858"/>
                </a:lnTo>
                <a:lnTo>
                  <a:pt x="2488829" y="1315704"/>
                </a:lnTo>
                <a:lnTo>
                  <a:pt x="2497836" y="1317436"/>
                </a:lnTo>
                <a:lnTo>
                  <a:pt x="2504238" y="1322850"/>
                </a:lnTo>
                <a:lnTo>
                  <a:pt x="2503696" y="1331078"/>
                </a:lnTo>
                <a:lnTo>
                  <a:pt x="2499572" y="1337142"/>
                </a:lnTo>
                <a:lnTo>
                  <a:pt x="2498921" y="1340065"/>
                </a:lnTo>
                <a:lnTo>
                  <a:pt x="2493929" y="1346345"/>
                </a:lnTo>
                <a:lnTo>
                  <a:pt x="2495231" y="1347103"/>
                </a:lnTo>
                <a:lnTo>
                  <a:pt x="2501199" y="1356305"/>
                </a:lnTo>
                <a:lnTo>
                  <a:pt x="2505106" y="1357496"/>
                </a:lnTo>
                <a:lnTo>
                  <a:pt x="2502719" y="1358579"/>
                </a:lnTo>
                <a:lnTo>
                  <a:pt x="2494471" y="1354573"/>
                </a:lnTo>
                <a:lnTo>
                  <a:pt x="2499897" y="1362910"/>
                </a:lnTo>
                <a:lnTo>
                  <a:pt x="2504238" y="1365941"/>
                </a:lnTo>
                <a:lnTo>
                  <a:pt x="2505757" y="1365833"/>
                </a:lnTo>
                <a:lnTo>
                  <a:pt x="2504238" y="1360853"/>
                </a:lnTo>
                <a:lnTo>
                  <a:pt x="2508579" y="1360637"/>
                </a:lnTo>
                <a:lnTo>
                  <a:pt x="2513353" y="1364751"/>
                </a:lnTo>
                <a:lnTo>
                  <a:pt x="2515958" y="1369623"/>
                </a:lnTo>
                <a:lnTo>
                  <a:pt x="2514873" y="1374712"/>
                </a:lnTo>
                <a:lnTo>
                  <a:pt x="2515306" y="1380125"/>
                </a:lnTo>
                <a:lnTo>
                  <a:pt x="2510098" y="1388137"/>
                </a:lnTo>
                <a:lnTo>
                  <a:pt x="2509122" y="1393334"/>
                </a:lnTo>
                <a:lnTo>
                  <a:pt x="2505649" y="1397773"/>
                </a:lnTo>
                <a:lnTo>
                  <a:pt x="2510640" y="1395175"/>
                </a:lnTo>
                <a:lnTo>
                  <a:pt x="2516826" y="1382615"/>
                </a:lnTo>
                <a:lnTo>
                  <a:pt x="2523011" y="1376444"/>
                </a:lnTo>
                <a:lnTo>
                  <a:pt x="2524422" y="1376985"/>
                </a:lnTo>
                <a:lnTo>
                  <a:pt x="2523662" y="1381641"/>
                </a:lnTo>
                <a:lnTo>
                  <a:pt x="2524205" y="1391277"/>
                </a:lnTo>
                <a:lnTo>
                  <a:pt x="2522903" y="1393118"/>
                </a:lnTo>
                <a:lnTo>
                  <a:pt x="2523229" y="1397124"/>
                </a:lnTo>
                <a:lnTo>
                  <a:pt x="2521275" y="1401779"/>
                </a:lnTo>
                <a:lnTo>
                  <a:pt x="2526592" y="1395716"/>
                </a:lnTo>
                <a:lnTo>
                  <a:pt x="2527352" y="1390194"/>
                </a:lnTo>
                <a:lnTo>
                  <a:pt x="2532453" y="1386080"/>
                </a:lnTo>
                <a:lnTo>
                  <a:pt x="2536793" y="1385539"/>
                </a:lnTo>
                <a:lnTo>
                  <a:pt x="2540917" y="1381749"/>
                </a:lnTo>
                <a:lnTo>
                  <a:pt x="2544389" y="1382290"/>
                </a:lnTo>
                <a:lnTo>
                  <a:pt x="2545040" y="1384564"/>
                </a:lnTo>
                <a:lnTo>
                  <a:pt x="2547102" y="1382182"/>
                </a:lnTo>
                <a:lnTo>
                  <a:pt x="2551443" y="1381100"/>
                </a:lnTo>
                <a:lnTo>
                  <a:pt x="2552094" y="1376661"/>
                </a:lnTo>
                <a:lnTo>
                  <a:pt x="2555241" y="1372329"/>
                </a:lnTo>
                <a:lnTo>
                  <a:pt x="2561644" y="1367674"/>
                </a:lnTo>
                <a:lnTo>
                  <a:pt x="2564682" y="1370814"/>
                </a:lnTo>
                <a:lnTo>
                  <a:pt x="2566092" y="1377635"/>
                </a:lnTo>
                <a:lnTo>
                  <a:pt x="2565224" y="1383157"/>
                </a:lnTo>
                <a:lnTo>
                  <a:pt x="2568480" y="1375794"/>
                </a:lnTo>
                <a:lnTo>
                  <a:pt x="2568155" y="1368757"/>
                </a:lnTo>
                <a:lnTo>
                  <a:pt x="2570216" y="1368215"/>
                </a:lnTo>
                <a:lnTo>
                  <a:pt x="2569673" y="1365941"/>
                </a:lnTo>
                <a:lnTo>
                  <a:pt x="2572495" y="1361502"/>
                </a:lnTo>
                <a:lnTo>
                  <a:pt x="2576401" y="1360853"/>
                </a:lnTo>
                <a:lnTo>
                  <a:pt x="2577596" y="1354573"/>
                </a:lnTo>
                <a:lnTo>
                  <a:pt x="2581285" y="1352192"/>
                </a:lnTo>
                <a:lnTo>
                  <a:pt x="2584215" y="1347752"/>
                </a:lnTo>
                <a:lnTo>
                  <a:pt x="2585734" y="1344612"/>
                </a:lnTo>
                <a:lnTo>
                  <a:pt x="2588338" y="1344504"/>
                </a:lnTo>
                <a:lnTo>
                  <a:pt x="2592245" y="1348619"/>
                </a:lnTo>
                <a:lnTo>
                  <a:pt x="2592462" y="1345695"/>
                </a:lnTo>
                <a:lnTo>
                  <a:pt x="2590400" y="1342122"/>
                </a:lnTo>
                <a:lnTo>
                  <a:pt x="2586385" y="1341906"/>
                </a:lnTo>
                <a:lnTo>
                  <a:pt x="2586277" y="1338982"/>
                </a:lnTo>
                <a:lnTo>
                  <a:pt x="2589315" y="1331728"/>
                </a:lnTo>
                <a:lnTo>
                  <a:pt x="2591811" y="1330537"/>
                </a:lnTo>
                <a:lnTo>
                  <a:pt x="2594524" y="1333460"/>
                </a:lnTo>
                <a:lnTo>
                  <a:pt x="2594198" y="1329021"/>
                </a:lnTo>
                <a:lnTo>
                  <a:pt x="2597128" y="1326964"/>
                </a:lnTo>
                <a:lnTo>
                  <a:pt x="2597671" y="1323391"/>
                </a:lnTo>
                <a:lnTo>
                  <a:pt x="2602771" y="1317653"/>
                </a:lnTo>
                <a:lnTo>
                  <a:pt x="2605050" y="1313755"/>
                </a:lnTo>
                <a:lnTo>
                  <a:pt x="2603965" y="1310399"/>
                </a:lnTo>
                <a:lnTo>
                  <a:pt x="2608088" y="1304985"/>
                </a:lnTo>
                <a:lnTo>
                  <a:pt x="2612971" y="1303361"/>
                </a:lnTo>
                <a:lnTo>
                  <a:pt x="2614816" y="1305310"/>
                </a:lnTo>
                <a:lnTo>
                  <a:pt x="2611018" y="1308558"/>
                </a:lnTo>
                <a:lnTo>
                  <a:pt x="2615251" y="1306826"/>
                </a:lnTo>
                <a:lnTo>
                  <a:pt x="2616770" y="1308883"/>
                </a:lnTo>
                <a:lnTo>
                  <a:pt x="2613840" y="1310940"/>
                </a:lnTo>
                <a:lnTo>
                  <a:pt x="2613298" y="1314188"/>
                </a:lnTo>
                <a:lnTo>
                  <a:pt x="2616444" y="1316246"/>
                </a:lnTo>
                <a:lnTo>
                  <a:pt x="2613623" y="1320035"/>
                </a:lnTo>
                <a:lnTo>
                  <a:pt x="2611018" y="1320576"/>
                </a:lnTo>
                <a:lnTo>
                  <a:pt x="2610910" y="1321659"/>
                </a:lnTo>
                <a:lnTo>
                  <a:pt x="2613840" y="1322309"/>
                </a:lnTo>
                <a:lnTo>
                  <a:pt x="2616770" y="1322850"/>
                </a:lnTo>
                <a:lnTo>
                  <a:pt x="2615359" y="1326748"/>
                </a:lnTo>
                <a:lnTo>
                  <a:pt x="2613948" y="1328697"/>
                </a:lnTo>
                <a:lnTo>
                  <a:pt x="2617421" y="1328480"/>
                </a:lnTo>
                <a:lnTo>
                  <a:pt x="2617746" y="1332594"/>
                </a:lnTo>
                <a:lnTo>
                  <a:pt x="2614708" y="1334652"/>
                </a:lnTo>
                <a:lnTo>
                  <a:pt x="2615684" y="1339307"/>
                </a:lnTo>
                <a:lnTo>
                  <a:pt x="2620134" y="1343421"/>
                </a:lnTo>
                <a:lnTo>
                  <a:pt x="2620459" y="1349376"/>
                </a:lnTo>
                <a:lnTo>
                  <a:pt x="2618614" y="1351217"/>
                </a:lnTo>
                <a:lnTo>
                  <a:pt x="2616336" y="1349160"/>
                </a:lnTo>
                <a:lnTo>
                  <a:pt x="2613189" y="1350459"/>
                </a:lnTo>
                <a:lnTo>
                  <a:pt x="2616336" y="1353274"/>
                </a:lnTo>
                <a:lnTo>
                  <a:pt x="2617313" y="1356198"/>
                </a:lnTo>
                <a:lnTo>
                  <a:pt x="2619374" y="1356198"/>
                </a:lnTo>
                <a:lnTo>
                  <a:pt x="2622412" y="1353166"/>
                </a:lnTo>
                <a:lnTo>
                  <a:pt x="2622847" y="1356414"/>
                </a:lnTo>
                <a:lnTo>
                  <a:pt x="2626211" y="1358363"/>
                </a:lnTo>
                <a:lnTo>
                  <a:pt x="2622630" y="1364318"/>
                </a:lnTo>
                <a:lnTo>
                  <a:pt x="2618397" y="1365509"/>
                </a:lnTo>
                <a:lnTo>
                  <a:pt x="2613406" y="1364643"/>
                </a:lnTo>
                <a:lnTo>
                  <a:pt x="2611018" y="1367566"/>
                </a:lnTo>
                <a:lnTo>
                  <a:pt x="2614599" y="1369731"/>
                </a:lnTo>
                <a:lnTo>
                  <a:pt x="2625560" y="1366700"/>
                </a:lnTo>
                <a:lnTo>
                  <a:pt x="2629141" y="1367457"/>
                </a:lnTo>
                <a:lnTo>
                  <a:pt x="2627838" y="1371680"/>
                </a:lnTo>
                <a:lnTo>
                  <a:pt x="2623607" y="1376444"/>
                </a:lnTo>
                <a:lnTo>
                  <a:pt x="2627079" y="1378068"/>
                </a:lnTo>
                <a:lnTo>
                  <a:pt x="2631094" y="1375578"/>
                </a:lnTo>
                <a:lnTo>
                  <a:pt x="2631094" y="1380883"/>
                </a:lnTo>
                <a:lnTo>
                  <a:pt x="2627079" y="1386622"/>
                </a:lnTo>
                <a:lnTo>
                  <a:pt x="2619700" y="1386622"/>
                </a:lnTo>
                <a:lnTo>
                  <a:pt x="2616227" y="1384023"/>
                </a:lnTo>
                <a:lnTo>
                  <a:pt x="2614383" y="1387271"/>
                </a:lnTo>
                <a:lnTo>
                  <a:pt x="2615359" y="1390519"/>
                </a:lnTo>
                <a:lnTo>
                  <a:pt x="2613623" y="1394308"/>
                </a:lnTo>
                <a:lnTo>
                  <a:pt x="2620242" y="1391385"/>
                </a:lnTo>
                <a:lnTo>
                  <a:pt x="2627622" y="1391602"/>
                </a:lnTo>
                <a:lnTo>
                  <a:pt x="2632830" y="1389328"/>
                </a:lnTo>
                <a:lnTo>
                  <a:pt x="2634133" y="1390735"/>
                </a:lnTo>
                <a:lnTo>
                  <a:pt x="2631420" y="1393767"/>
                </a:lnTo>
                <a:lnTo>
                  <a:pt x="2631420" y="1396041"/>
                </a:lnTo>
                <a:lnTo>
                  <a:pt x="2627296" y="1398639"/>
                </a:lnTo>
                <a:lnTo>
                  <a:pt x="2622739" y="1398639"/>
                </a:lnTo>
                <a:lnTo>
                  <a:pt x="2615902" y="1407085"/>
                </a:lnTo>
                <a:lnTo>
                  <a:pt x="2623498" y="1403620"/>
                </a:lnTo>
                <a:lnTo>
                  <a:pt x="2628598" y="1403620"/>
                </a:lnTo>
                <a:lnTo>
                  <a:pt x="2632071" y="1402429"/>
                </a:lnTo>
                <a:lnTo>
                  <a:pt x="2636411" y="1403295"/>
                </a:lnTo>
                <a:lnTo>
                  <a:pt x="2636411" y="1407518"/>
                </a:lnTo>
                <a:lnTo>
                  <a:pt x="2632613" y="1408059"/>
                </a:lnTo>
                <a:lnTo>
                  <a:pt x="2627622" y="1411307"/>
                </a:lnTo>
                <a:lnTo>
                  <a:pt x="2626211" y="1415963"/>
                </a:lnTo>
                <a:lnTo>
                  <a:pt x="2629141" y="1413039"/>
                </a:lnTo>
                <a:lnTo>
                  <a:pt x="2633590" y="1414447"/>
                </a:lnTo>
                <a:lnTo>
                  <a:pt x="2636194" y="1411524"/>
                </a:lnTo>
                <a:lnTo>
                  <a:pt x="2640644" y="1415638"/>
                </a:lnTo>
                <a:lnTo>
                  <a:pt x="2642922" y="1423542"/>
                </a:lnTo>
                <a:lnTo>
                  <a:pt x="2638147" y="1427548"/>
                </a:lnTo>
                <a:lnTo>
                  <a:pt x="2634892" y="1426357"/>
                </a:lnTo>
                <a:lnTo>
                  <a:pt x="2632396" y="1428414"/>
                </a:lnTo>
                <a:lnTo>
                  <a:pt x="2627730" y="1428414"/>
                </a:lnTo>
                <a:lnTo>
                  <a:pt x="2631203" y="1431446"/>
                </a:lnTo>
                <a:lnTo>
                  <a:pt x="2634458" y="1430796"/>
                </a:lnTo>
                <a:lnTo>
                  <a:pt x="2636520" y="1432095"/>
                </a:lnTo>
                <a:lnTo>
                  <a:pt x="2641729" y="1432312"/>
                </a:lnTo>
                <a:lnTo>
                  <a:pt x="2643790" y="1434369"/>
                </a:lnTo>
                <a:lnTo>
                  <a:pt x="2642380" y="1438158"/>
                </a:lnTo>
                <a:lnTo>
                  <a:pt x="2639124" y="1440432"/>
                </a:lnTo>
                <a:lnTo>
                  <a:pt x="2643465" y="1441948"/>
                </a:lnTo>
                <a:lnTo>
                  <a:pt x="2646937" y="1441298"/>
                </a:lnTo>
                <a:lnTo>
                  <a:pt x="2651386" y="1445196"/>
                </a:lnTo>
                <a:lnTo>
                  <a:pt x="2650301" y="1449310"/>
                </a:lnTo>
                <a:lnTo>
                  <a:pt x="2646720" y="1451259"/>
                </a:lnTo>
                <a:lnTo>
                  <a:pt x="2640861" y="1456022"/>
                </a:lnTo>
                <a:lnTo>
                  <a:pt x="2637279" y="1454615"/>
                </a:lnTo>
                <a:lnTo>
                  <a:pt x="2635869" y="1456781"/>
                </a:lnTo>
                <a:lnTo>
                  <a:pt x="2640209" y="1458621"/>
                </a:lnTo>
                <a:lnTo>
                  <a:pt x="2640535" y="1461544"/>
                </a:lnTo>
                <a:lnTo>
                  <a:pt x="2635543" y="1462086"/>
                </a:lnTo>
                <a:lnTo>
                  <a:pt x="2629358" y="1458513"/>
                </a:lnTo>
                <a:lnTo>
                  <a:pt x="2622630" y="1458621"/>
                </a:lnTo>
                <a:lnTo>
                  <a:pt x="2628815" y="1462086"/>
                </a:lnTo>
                <a:lnTo>
                  <a:pt x="2628923" y="1466525"/>
                </a:lnTo>
                <a:lnTo>
                  <a:pt x="2633807" y="1470964"/>
                </a:lnTo>
                <a:lnTo>
                  <a:pt x="2635869" y="1473779"/>
                </a:lnTo>
                <a:lnTo>
                  <a:pt x="2635001" y="1475944"/>
                </a:lnTo>
                <a:lnTo>
                  <a:pt x="2629792" y="1476703"/>
                </a:lnTo>
                <a:lnTo>
                  <a:pt x="2627947" y="1479409"/>
                </a:lnTo>
                <a:lnTo>
                  <a:pt x="2621436" y="1478868"/>
                </a:lnTo>
                <a:lnTo>
                  <a:pt x="2629792" y="1481358"/>
                </a:lnTo>
                <a:lnTo>
                  <a:pt x="2632939" y="1480600"/>
                </a:lnTo>
                <a:lnTo>
                  <a:pt x="2633481" y="1478868"/>
                </a:lnTo>
                <a:lnTo>
                  <a:pt x="2639992" y="1477569"/>
                </a:lnTo>
                <a:lnTo>
                  <a:pt x="2642597" y="1478001"/>
                </a:lnTo>
                <a:lnTo>
                  <a:pt x="2642597" y="1481358"/>
                </a:lnTo>
                <a:lnTo>
                  <a:pt x="2644442" y="1483523"/>
                </a:lnTo>
                <a:lnTo>
                  <a:pt x="2642271" y="1485581"/>
                </a:lnTo>
                <a:lnTo>
                  <a:pt x="2645201" y="1486014"/>
                </a:lnTo>
                <a:lnTo>
                  <a:pt x="2646070" y="1487313"/>
                </a:lnTo>
                <a:lnTo>
                  <a:pt x="2645201" y="1490994"/>
                </a:lnTo>
                <a:lnTo>
                  <a:pt x="2646503" y="1492619"/>
                </a:lnTo>
                <a:lnTo>
                  <a:pt x="2651061" y="1489695"/>
                </a:lnTo>
                <a:lnTo>
                  <a:pt x="2652580" y="1490561"/>
                </a:lnTo>
                <a:lnTo>
                  <a:pt x="2655727" y="1491427"/>
                </a:lnTo>
                <a:lnTo>
                  <a:pt x="2655293" y="1497490"/>
                </a:lnTo>
                <a:lnTo>
                  <a:pt x="2653666" y="1500197"/>
                </a:lnTo>
                <a:lnTo>
                  <a:pt x="2653666" y="1502471"/>
                </a:lnTo>
                <a:lnTo>
                  <a:pt x="2655836" y="1502146"/>
                </a:lnTo>
                <a:lnTo>
                  <a:pt x="2660502" y="1495758"/>
                </a:lnTo>
                <a:lnTo>
                  <a:pt x="2661587" y="1496408"/>
                </a:lnTo>
                <a:lnTo>
                  <a:pt x="2660827" y="1500413"/>
                </a:lnTo>
                <a:lnTo>
                  <a:pt x="2663649" y="1503445"/>
                </a:lnTo>
                <a:lnTo>
                  <a:pt x="2657897" y="1507127"/>
                </a:lnTo>
                <a:lnTo>
                  <a:pt x="2650736" y="1516546"/>
                </a:lnTo>
                <a:lnTo>
                  <a:pt x="2646503" y="1519794"/>
                </a:lnTo>
                <a:lnTo>
                  <a:pt x="2641512" y="1518495"/>
                </a:lnTo>
                <a:lnTo>
                  <a:pt x="2646178" y="1521202"/>
                </a:lnTo>
                <a:lnTo>
                  <a:pt x="2650301" y="1520011"/>
                </a:lnTo>
                <a:lnTo>
                  <a:pt x="2659091" y="1511566"/>
                </a:lnTo>
                <a:lnTo>
                  <a:pt x="2662564" y="1511566"/>
                </a:lnTo>
                <a:lnTo>
                  <a:pt x="2662781" y="1514164"/>
                </a:lnTo>
                <a:lnTo>
                  <a:pt x="2658766" y="1517087"/>
                </a:lnTo>
                <a:lnTo>
                  <a:pt x="2656596" y="1521418"/>
                </a:lnTo>
                <a:lnTo>
                  <a:pt x="2658982" y="1522176"/>
                </a:lnTo>
                <a:lnTo>
                  <a:pt x="2663757" y="1516762"/>
                </a:lnTo>
                <a:lnTo>
                  <a:pt x="2667881" y="1511890"/>
                </a:lnTo>
                <a:lnTo>
                  <a:pt x="2673090" y="1511025"/>
                </a:lnTo>
                <a:lnTo>
                  <a:pt x="2673090" y="1513082"/>
                </a:lnTo>
                <a:lnTo>
                  <a:pt x="2669509" y="1515139"/>
                </a:lnTo>
                <a:lnTo>
                  <a:pt x="2667447" y="1517196"/>
                </a:lnTo>
                <a:lnTo>
                  <a:pt x="2668966" y="1518278"/>
                </a:lnTo>
                <a:lnTo>
                  <a:pt x="2675369" y="1515572"/>
                </a:lnTo>
                <a:lnTo>
                  <a:pt x="2677431" y="1517412"/>
                </a:lnTo>
                <a:lnTo>
                  <a:pt x="2670486" y="1522609"/>
                </a:lnTo>
                <a:lnTo>
                  <a:pt x="2667556" y="1526182"/>
                </a:lnTo>
                <a:lnTo>
                  <a:pt x="2669835" y="1526723"/>
                </a:lnTo>
                <a:lnTo>
                  <a:pt x="2673633" y="1523584"/>
                </a:lnTo>
                <a:lnTo>
                  <a:pt x="2682531" y="1515896"/>
                </a:lnTo>
                <a:lnTo>
                  <a:pt x="2684267" y="1516546"/>
                </a:lnTo>
                <a:lnTo>
                  <a:pt x="2681880" y="1518603"/>
                </a:lnTo>
                <a:lnTo>
                  <a:pt x="2681337" y="1520985"/>
                </a:lnTo>
                <a:lnTo>
                  <a:pt x="2687848" y="1516546"/>
                </a:lnTo>
                <a:lnTo>
                  <a:pt x="2687197" y="1518928"/>
                </a:lnTo>
                <a:lnTo>
                  <a:pt x="2687088" y="1526507"/>
                </a:lnTo>
                <a:lnTo>
                  <a:pt x="2684267" y="1527373"/>
                </a:lnTo>
                <a:lnTo>
                  <a:pt x="2685027" y="1530296"/>
                </a:lnTo>
                <a:lnTo>
                  <a:pt x="2690127" y="1529647"/>
                </a:lnTo>
                <a:lnTo>
                  <a:pt x="2695661" y="1532895"/>
                </a:lnTo>
                <a:lnTo>
                  <a:pt x="2699242" y="1528564"/>
                </a:lnTo>
                <a:lnTo>
                  <a:pt x="2705970" y="1526831"/>
                </a:lnTo>
                <a:lnTo>
                  <a:pt x="2709118" y="1528023"/>
                </a:lnTo>
                <a:lnTo>
                  <a:pt x="2706838" y="1532570"/>
                </a:lnTo>
                <a:lnTo>
                  <a:pt x="2703908" y="1532570"/>
                </a:lnTo>
                <a:lnTo>
                  <a:pt x="2702172" y="1534411"/>
                </a:lnTo>
                <a:lnTo>
                  <a:pt x="2713567" y="1537659"/>
                </a:lnTo>
                <a:lnTo>
                  <a:pt x="2718016" y="1541665"/>
                </a:lnTo>
                <a:lnTo>
                  <a:pt x="2710528" y="1542639"/>
                </a:lnTo>
                <a:lnTo>
                  <a:pt x="2710528" y="1544372"/>
                </a:lnTo>
                <a:lnTo>
                  <a:pt x="2701195" y="1546104"/>
                </a:lnTo>
                <a:lnTo>
                  <a:pt x="2699242" y="1544372"/>
                </a:lnTo>
                <a:lnTo>
                  <a:pt x="2691863" y="1547295"/>
                </a:lnTo>
                <a:lnTo>
                  <a:pt x="2687848" y="1551626"/>
                </a:lnTo>
                <a:lnTo>
                  <a:pt x="2678733" y="1551951"/>
                </a:lnTo>
                <a:lnTo>
                  <a:pt x="2666362" y="1554224"/>
                </a:lnTo>
                <a:lnTo>
                  <a:pt x="2665711" y="1557473"/>
                </a:lnTo>
                <a:lnTo>
                  <a:pt x="2674826" y="1555415"/>
                </a:lnTo>
                <a:lnTo>
                  <a:pt x="2683942" y="1552708"/>
                </a:lnTo>
                <a:lnTo>
                  <a:pt x="2687088" y="1553466"/>
                </a:lnTo>
                <a:lnTo>
                  <a:pt x="2687740" y="1555523"/>
                </a:lnTo>
                <a:lnTo>
                  <a:pt x="2678624" y="1556931"/>
                </a:lnTo>
                <a:lnTo>
                  <a:pt x="2669835" y="1558663"/>
                </a:lnTo>
                <a:lnTo>
                  <a:pt x="2661913" y="1562778"/>
                </a:lnTo>
                <a:lnTo>
                  <a:pt x="2658766" y="1565701"/>
                </a:lnTo>
                <a:lnTo>
                  <a:pt x="2653231" y="1565918"/>
                </a:lnTo>
                <a:lnTo>
                  <a:pt x="2652580" y="1570140"/>
                </a:lnTo>
                <a:lnTo>
                  <a:pt x="2650736" y="1572630"/>
                </a:lnTo>
                <a:lnTo>
                  <a:pt x="2642271" y="1566892"/>
                </a:lnTo>
                <a:lnTo>
                  <a:pt x="2637279" y="1558339"/>
                </a:lnTo>
                <a:lnTo>
                  <a:pt x="2637605" y="1562345"/>
                </a:lnTo>
                <a:lnTo>
                  <a:pt x="2636303" y="1564726"/>
                </a:lnTo>
                <a:lnTo>
                  <a:pt x="2639775" y="1566242"/>
                </a:lnTo>
                <a:lnTo>
                  <a:pt x="2640644" y="1568300"/>
                </a:lnTo>
                <a:lnTo>
                  <a:pt x="2650193" y="1576203"/>
                </a:lnTo>
                <a:lnTo>
                  <a:pt x="2648782" y="1579126"/>
                </a:lnTo>
                <a:lnTo>
                  <a:pt x="2646070" y="1578261"/>
                </a:lnTo>
                <a:lnTo>
                  <a:pt x="2642922" y="1580967"/>
                </a:lnTo>
                <a:lnTo>
                  <a:pt x="2644875" y="1584648"/>
                </a:lnTo>
                <a:lnTo>
                  <a:pt x="2647263" y="1585190"/>
                </a:lnTo>
                <a:lnTo>
                  <a:pt x="2649000" y="1583132"/>
                </a:lnTo>
                <a:lnTo>
                  <a:pt x="2652038" y="1583241"/>
                </a:lnTo>
                <a:lnTo>
                  <a:pt x="2656053" y="1575012"/>
                </a:lnTo>
                <a:lnTo>
                  <a:pt x="2663107" y="1575337"/>
                </a:lnTo>
                <a:lnTo>
                  <a:pt x="2668098" y="1571006"/>
                </a:lnTo>
                <a:lnTo>
                  <a:pt x="2671679" y="1570681"/>
                </a:lnTo>
                <a:lnTo>
                  <a:pt x="2673633" y="1566242"/>
                </a:lnTo>
                <a:lnTo>
                  <a:pt x="2678299" y="1561045"/>
                </a:lnTo>
                <a:lnTo>
                  <a:pt x="2683725" y="1560396"/>
                </a:lnTo>
                <a:lnTo>
                  <a:pt x="2691321" y="1557147"/>
                </a:lnTo>
                <a:lnTo>
                  <a:pt x="2697506" y="1557797"/>
                </a:lnTo>
                <a:lnTo>
                  <a:pt x="2702498" y="1557473"/>
                </a:lnTo>
                <a:lnTo>
                  <a:pt x="2700436" y="1556065"/>
                </a:lnTo>
                <a:lnTo>
                  <a:pt x="2694902" y="1556065"/>
                </a:lnTo>
                <a:lnTo>
                  <a:pt x="2693383" y="1554765"/>
                </a:lnTo>
                <a:lnTo>
                  <a:pt x="2696856" y="1553358"/>
                </a:lnTo>
                <a:lnTo>
                  <a:pt x="2706838" y="1552167"/>
                </a:lnTo>
                <a:lnTo>
                  <a:pt x="2714977" y="1554224"/>
                </a:lnTo>
                <a:lnTo>
                  <a:pt x="2718342" y="1561803"/>
                </a:lnTo>
                <a:lnTo>
                  <a:pt x="2717691" y="1566026"/>
                </a:lnTo>
                <a:lnTo>
                  <a:pt x="2712373" y="1570898"/>
                </a:lnTo>
                <a:lnTo>
                  <a:pt x="2709768" y="1571006"/>
                </a:lnTo>
                <a:lnTo>
                  <a:pt x="2706296" y="1574687"/>
                </a:lnTo>
                <a:lnTo>
                  <a:pt x="2712373" y="1575012"/>
                </a:lnTo>
                <a:lnTo>
                  <a:pt x="2714109" y="1578910"/>
                </a:lnTo>
                <a:lnTo>
                  <a:pt x="2716497" y="1576745"/>
                </a:lnTo>
                <a:lnTo>
                  <a:pt x="2718016" y="1572630"/>
                </a:lnTo>
                <a:lnTo>
                  <a:pt x="2724961" y="1568949"/>
                </a:lnTo>
                <a:lnTo>
                  <a:pt x="2730170" y="1569165"/>
                </a:lnTo>
                <a:lnTo>
                  <a:pt x="2730929" y="1571006"/>
                </a:lnTo>
                <a:lnTo>
                  <a:pt x="2729193" y="1571764"/>
                </a:lnTo>
                <a:lnTo>
                  <a:pt x="2728542" y="1574687"/>
                </a:lnTo>
                <a:lnTo>
                  <a:pt x="2735161" y="1575012"/>
                </a:lnTo>
                <a:lnTo>
                  <a:pt x="2741130" y="1577719"/>
                </a:lnTo>
                <a:lnTo>
                  <a:pt x="2742215" y="1580534"/>
                </a:lnTo>
                <a:lnTo>
                  <a:pt x="2737874" y="1578261"/>
                </a:lnTo>
                <a:lnTo>
                  <a:pt x="2735596" y="1578910"/>
                </a:lnTo>
                <a:lnTo>
                  <a:pt x="2736789" y="1583241"/>
                </a:lnTo>
                <a:lnTo>
                  <a:pt x="2743408" y="1586056"/>
                </a:lnTo>
                <a:lnTo>
                  <a:pt x="2744603" y="1589412"/>
                </a:lnTo>
                <a:lnTo>
                  <a:pt x="2740804" y="1592552"/>
                </a:lnTo>
                <a:lnTo>
                  <a:pt x="2737006" y="1591361"/>
                </a:lnTo>
                <a:lnTo>
                  <a:pt x="2733208" y="1594718"/>
                </a:lnTo>
                <a:lnTo>
                  <a:pt x="2740262" y="1596991"/>
                </a:lnTo>
                <a:lnTo>
                  <a:pt x="2738417" y="1601430"/>
                </a:lnTo>
                <a:lnTo>
                  <a:pt x="2735270" y="1602512"/>
                </a:lnTo>
                <a:lnTo>
                  <a:pt x="2733859" y="1606627"/>
                </a:lnTo>
                <a:lnTo>
                  <a:pt x="2729953" y="1608576"/>
                </a:lnTo>
                <a:lnTo>
                  <a:pt x="2724310" y="1604895"/>
                </a:lnTo>
                <a:lnTo>
                  <a:pt x="2726697" y="1608685"/>
                </a:lnTo>
                <a:lnTo>
                  <a:pt x="2733317" y="1611608"/>
                </a:lnTo>
                <a:lnTo>
                  <a:pt x="2737224" y="1611283"/>
                </a:lnTo>
                <a:lnTo>
                  <a:pt x="2740587" y="1615072"/>
                </a:lnTo>
                <a:lnTo>
                  <a:pt x="2737115" y="1616263"/>
                </a:lnTo>
                <a:lnTo>
                  <a:pt x="2732883" y="1615505"/>
                </a:lnTo>
                <a:lnTo>
                  <a:pt x="2730495" y="1615722"/>
                </a:lnTo>
                <a:lnTo>
                  <a:pt x="2733859" y="1618320"/>
                </a:lnTo>
                <a:lnTo>
                  <a:pt x="2737657" y="1617238"/>
                </a:lnTo>
                <a:lnTo>
                  <a:pt x="2740587" y="1618862"/>
                </a:lnTo>
                <a:lnTo>
                  <a:pt x="2738200" y="1623301"/>
                </a:lnTo>
                <a:lnTo>
                  <a:pt x="2737549" y="1627632"/>
                </a:lnTo>
                <a:lnTo>
                  <a:pt x="2734076" y="1627740"/>
                </a:lnTo>
                <a:lnTo>
                  <a:pt x="2732340" y="1631529"/>
                </a:lnTo>
                <a:lnTo>
                  <a:pt x="2725829" y="1636401"/>
                </a:lnTo>
                <a:lnTo>
                  <a:pt x="2720404" y="1636726"/>
                </a:lnTo>
                <a:lnTo>
                  <a:pt x="2715846" y="1640624"/>
                </a:lnTo>
                <a:lnTo>
                  <a:pt x="2713784" y="1640624"/>
                </a:lnTo>
                <a:lnTo>
                  <a:pt x="2710094" y="1644413"/>
                </a:lnTo>
                <a:lnTo>
                  <a:pt x="2707381" y="1644630"/>
                </a:lnTo>
                <a:lnTo>
                  <a:pt x="2706296" y="1647229"/>
                </a:lnTo>
                <a:lnTo>
                  <a:pt x="2702172" y="1647878"/>
                </a:lnTo>
                <a:lnTo>
                  <a:pt x="2699677" y="1645280"/>
                </a:lnTo>
                <a:lnTo>
                  <a:pt x="2696204" y="1647337"/>
                </a:lnTo>
                <a:lnTo>
                  <a:pt x="2692406" y="1646795"/>
                </a:lnTo>
                <a:lnTo>
                  <a:pt x="2691213" y="1645171"/>
                </a:lnTo>
                <a:lnTo>
                  <a:pt x="2686329" y="1648528"/>
                </a:lnTo>
                <a:lnTo>
                  <a:pt x="2681012" y="1647878"/>
                </a:lnTo>
                <a:lnTo>
                  <a:pt x="2678733" y="1644413"/>
                </a:lnTo>
                <a:lnTo>
                  <a:pt x="2677214" y="1645821"/>
                </a:lnTo>
                <a:lnTo>
                  <a:pt x="2677756" y="1648744"/>
                </a:lnTo>
                <a:lnTo>
                  <a:pt x="2673198" y="1649827"/>
                </a:lnTo>
                <a:lnTo>
                  <a:pt x="2668424" y="1649394"/>
                </a:lnTo>
                <a:lnTo>
                  <a:pt x="2666905" y="1651343"/>
                </a:lnTo>
                <a:lnTo>
                  <a:pt x="2668749" y="1651993"/>
                </a:lnTo>
                <a:lnTo>
                  <a:pt x="2668098" y="1654807"/>
                </a:lnTo>
                <a:lnTo>
                  <a:pt x="2664517" y="1658164"/>
                </a:lnTo>
                <a:lnTo>
                  <a:pt x="2661695" y="1657731"/>
                </a:lnTo>
                <a:lnTo>
                  <a:pt x="2661587" y="1661845"/>
                </a:lnTo>
                <a:lnTo>
                  <a:pt x="2658332" y="1668450"/>
                </a:lnTo>
                <a:lnTo>
                  <a:pt x="2654534" y="1667800"/>
                </a:lnTo>
                <a:lnTo>
                  <a:pt x="2653123" y="1669857"/>
                </a:lnTo>
                <a:lnTo>
                  <a:pt x="2649000" y="1672131"/>
                </a:lnTo>
                <a:lnTo>
                  <a:pt x="2645852" y="1676786"/>
                </a:lnTo>
                <a:lnTo>
                  <a:pt x="2644007" y="1676137"/>
                </a:lnTo>
                <a:lnTo>
                  <a:pt x="2641186" y="1677761"/>
                </a:lnTo>
                <a:lnTo>
                  <a:pt x="2636194" y="1677652"/>
                </a:lnTo>
                <a:lnTo>
                  <a:pt x="2635218" y="1680684"/>
                </a:lnTo>
                <a:lnTo>
                  <a:pt x="2630877" y="1682633"/>
                </a:lnTo>
                <a:lnTo>
                  <a:pt x="2627730" y="1680684"/>
                </a:lnTo>
                <a:lnTo>
                  <a:pt x="2620242" y="1680576"/>
                </a:lnTo>
                <a:lnTo>
                  <a:pt x="2618289" y="1678952"/>
                </a:lnTo>
                <a:lnTo>
                  <a:pt x="2612971" y="1680684"/>
                </a:lnTo>
                <a:lnTo>
                  <a:pt x="2610367" y="1680576"/>
                </a:lnTo>
                <a:lnTo>
                  <a:pt x="2599516" y="1684366"/>
                </a:lnTo>
                <a:lnTo>
                  <a:pt x="2595066" y="1683174"/>
                </a:lnTo>
                <a:lnTo>
                  <a:pt x="2596043" y="1680576"/>
                </a:lnTo>
                <a:lnTo>
                  <a:pt x="2592679" y="1679710"/>
                </a:lnTo>
                <a:lnTo>
                  <a:pt x="2588338" y="1681442"/>
                </a:lnTo>
                <a:lnTo>
                  <a:pt x="2584757" y="1681550"/>
                </a:lnTo>
                <a:lnTo>
                  <a:pt x="2577813" y="1678519"/>
                </a:lnTo>
                <a:lnTo>
                  <a:pt x="2575533" y="1679168"/>
                </a:lnTo>
                <a:lnTo>
                  <a:pt x="2570108" y="1678519"/>
                </a:lnTo>
                <a:lnTo>
                  <a:pt x="2566092" y="1675595"/>
                </a:lnTo>
                <a:lnTo>
                  <a:pt x="2563705" y="1675595"/>
                </a:lnTo>
                <a:lnTo>
                  <a:pt x="2560449" y="1678194"/>
                </a:lnTo>
                <a:lnTo>
                  <a:pt x="2553288" y="1677436"/>
                </a:lnTo>
                <a:lnTo>
                  <a:pt x="2547645" y="1673863"/>
                </a:lnTo>
                <a:lnTo>
                  <a:pt x="2543847" y="1676245"/>
                </a:lnTo>
                <a:lnTo>
                  <a:pt x="2539614" y="1676462"/>
                </a:lnTo>
                <a:lnTo>
                  <a:pt x="2535925" y="1673539"/>
                </a:lnTo>
                <a:lnTo>
                  <a:pt x="2530608" y="1676462"/>
                </a:lnTo>
                <a:lnTo>
                  <a:pt x="2527895" y="1675595"/>
                </a:lnTo>
                <a:lnTo>
                  <a:pt x="2524747" y="1675704"/>
                </a:lnTo>
                <a:lnTo>
                  <a:pt x="2517477" y="1672780"/>
                </a:lnTo>
                <a:lnTo>
                  <a:pt x="2507710" y="1674405"/>
                </a:lnTo>
                <a:lnTo>
                  <a:pt x="2501851" y="1672672"/>
                </a:lnTo>
                <a:lnTo>
                  <a:pt x="2497510" y="1668341"/>
                </a:lnTo>
                <a:lnTo>
                  <a:pt x="2493712" y="1670182"/>
                </a:lnTo>
                <a:lnTo>
                  <a:pt x="2491325" y="1672997"/>
                </a:lnTo>
                <a:lnTo>
                  <a:pt x="2493603" y="1675162"/>
                </a:lnTo>
                <a:lnTo>
                  <a:pt x="2491542" y="1677328"/>
                </a:lnTo>
                <a:lnTo>
                  <a:pt x="2487201" y="1678194"/>
                </a:lnTo>
                <a:lnTo>
                  <a:pt x="2478628" y="1685990"/>
                </a:lnTo>
                <a:lnTo>
                  <a:pt x="2473093" y="1688588"/>
                </a:lnTo>
                <a:lnTo>
                  <a:pt x="2472768" y="1692269"/>
                </a:lnTo>
                <a:lnTo>
                  <a:pt x="2470706" y="1694759"/>
                </a:lnTo>
                <a:lnTo>
                  <a:pt x="2469947" y="1700606"/>
                </a:lnTo>
                <a:lnTo>
                  <a:pt x="2467017" y="1704612"/>
                </a:lnTo>
                <a:lnTo>
                  <a:pt x="2459854" y="1704612"/>
                </a:lnTo>
                <a:lnTo>
                  <a:pt x="2455948" y="1706453"/>
                </a:lnTo>
                <a:lnTo>
                  <a:pt x="2447700" y="1706994"/>
                </a:lnTo>
                <a:lnTo>
                  <a:pt x="2443903" y="1712408"/>
                </a:lnTo>
                <a:lnTo>
                  <a:pt x="2441190" y="1713057"/>
                </a:lnTo>
                <a:lnTo>
                  <a:pt x="2439236" y="1711108"/>
                </a:lnTo>
                <a:lnTo>
                  <a:pt x="2435330" y="1713490"/>
                </a:lnTo>
                <a:lnTo>
                  <a:pt x="2433485" y="1718363"/>
                </a:lnTo>
                <a:lnTo>
                  <a:pt x="2428819" y="1719445"/>
                </a:lnTo>
                <a:lnTo>
                  <a:pt x="2423827" y="1723126"/>
                </a:lnTo>
                <a:lnTo>
                  <a:pt x="2422634" y="1725616"/>
                </a:lnTo>
                <a:lnTo>
                  <a:pt x="2420029" y="1726483"/>
                </a:lnTo>
                <a:lnTo>
                  <a:pt x="2414278" y="1735036"/>
                </a:lnTo>
                <a:lnTo>
                  <a:pt x="2404837" y="1739800"/>
                </a:lnTo>
                <a:lnTo>
                  <a:pt x="2402449" y="1748137"/>
                </a:lnTo>
                <a:lnTo>
                  <a:pt x="2396047" y="1751385"/>
                </a:lnTo>
                <a:lnTo>
                  <a:pt x="2390730" y="1756907"/>
                </a:lnTo>
                <a:lnTo>
                  <a:pt x="2385846" y="1758098"/>
                </a:lnTo>
                <a:lnTo>
                  <a:pt x="2384219" y="1764053"/>
                </a:lnTo>
                <a:lnTo>
                  <a:pt x="2380854" y="1769033"/>
                </a:lnTo>
                <a:lnTo>
                  <a:pt x="2369894" y="1775638"/>
                </a:lnTo>
                <a:lnTo>
                  <a:pt x="2369135" y="1779318"/>
                </a:lnTo>
                <a:lnTo>
                  <a:pt x="2356547" y="1784732"/>
                </a:lnTo>
                <a:lnTo>
                  <a:pt x="2349385" y="1786465"/>
                </a:lnTo>
                <a:lnTo>
                  <a:pt x="2355136" y="1786681"/>
                </a:lnTo>
                <a:lnTo>
                  <a:pt x="2367399" y="1781267"/>
                </a:lnTo>
                <a:lnTo>
                  <a:pt x="2378141" y="1776071"/>
                </a:lnTo>
                <a:lnTo>
                  <a:pt x="2386280" y="1771090"/>
                </a:lnTo>
                <a:lnTo>
                  <a:pt x="2392575" y="1763078"/>
                </a:lnTo>
                <a:lnTo>
                  <a:pt x="2397891" y="1757340"/>
                </a:lnTo>
                <a:lnTo>
                  <a:pt x="2401907" y="1755499"/>
                </a:lnTo>
                <a:lnTo>
                  <a:pt x="2413843" y="1744455"/>
                </a:lnTo>
                <a:lnTo>
                  <a:pt x="2430013" y="1733304"/>
                </a:lnTo>
                <a:lnTo>
                  <a:pt x="2440648" y="1726483"/>
                </a:lnTo>
                <a:lnTo>
                  <a:pt x="2447592" y="1725616"/>
                </a:lnTo>
                <a:lnTo>
                  <a:pt x="2453778" y="1721935"/>
                </a:lnTo>
                <a:lnTo>
                  <a:pt x="2466040" y="1719878"/>
                </a:lnTo>
                <a:lnTo>
                  <a:pt x="2481016" y="1714790"/>
                </a:lnTo>
                <a:lnTo>
                  <a:pt x="2486007" y="1714465"/>
                </a:lnTo>
                <a:lnTo>
                  <a:pt x="2490673" y="1711866"/>
                </a:lnTo>
                <a:lnTo>
                  <a:pt x="2506842" y="1712191"/>
                </a:lnTo>
                <a:lnTo>
                  <a:pt x="2515415" y="1715439"/>
                </a:lnTo>
                <a:lnTo>
                  <a:pt x="2524965" y="1721177"/>
                </a:lnTo>
                <a:lnTo>
                  <a:pt x="2524965" y="1723343"/>
                </a:lnTo>
                <a:lnTo>
                  <a:pt x="2517694" y="1721935"/>
                </a:lnTo>
                <a:lnTo>
                  <a:pt x="2518237" y="1723018"/>
                </a:lnTo>
                <a:lnTo>
                  <a:pt x="2517477" y="1724534"/>
                </a:lnTo>
                <a:lnTo>
                  <a:pt x="2521275" y="1724209"/>
                </a:lnTo>
                <a:lnTo>
                  <a:pt x="2526484" y="1726266"/>
                </a:lnTo>
                <a:lnTo>
                  <a:pt x="2528329" y="1729190"/>
                </a:lnTo>
                <a:lnTo>
                  <a:pt x="2525399" y="1730381"/>
                </a:lnTo>
                <a:lnTo>
                  <a:pt x="2527678" y="1732113"/>
                </a:lnTo>
                <a:lnTo>
                  <a:pt x="2524097" y="1740341"/>
                </a:lnTo>
                <a:lnTo>
                  <a:pt x="2518888" y="1741532"/>
                </a:lnTo>
                <a:lnTo>
                  <a:pt x="2514113" y="1745538"/>
                </a:lnTo>
                <a:lnTo>
                  <a:pt x="2510315" y="1745863"/>
                </a:lnTo>
                <a:lnTo>
                  <a:pt x="2503912" y="1750735"/>
                </a:lnTo>
                <a:lnTo>
                  <a:pt x="2498704" y="1750518"/>
                </a:lnTo>
                <a:lnTo>
                  <a:pt x="2494797" y="1747271"/>
                </a:lnTo>
                <a:lnTo>
                  <a:pt x="2489588" y="1745322"/>
                </a:lnTo>
                <a:lnTo>
                  <a:pt x="2486116" y="1747595"/>
                </a:lnTo>
                <a:lnTo>
                  <a:pt x="2481016" y="1748570"/>
                </a:lnTo>
                <a:lnTo>
                  <a:pt x="2475806" y="1747595"/>
                </a:lnTo>
                <a:lnTo>
                  <a:pt x="2469404" y="1750518"/>
                </a:lnTo>
                <a:lnTo>
                  <a:pt x="2476132" y="1749653"/>
                </a:lnTo>
                <a:lnTo>
                  <a:pt x="2482643" y="1750302"/>
                </a:lnTo>
                <a:lnTo>
                  <a:pt x="2491976" y="1752900"/>
                </a:lnTo>
                <a:lnTo>
                  <a:pt x="2493386" y="1757340"/>
                </a:lnTo>
                <a:lnTo>
                  <a:pt x="2495123" y="1760479"/>
                </a:lnTo>
                <a:lnTo>
                  <a:pt x="2500440" y="1758098"/>
                </a:lnTo>
                <a:lnTo>
                  <a:pt x="2505106" y="1754849"/>
                </a:lnTo>
                <a:lnTo>
                  <a:pt x="2509772" y="1754849"/>
                </a:lnTo>
                <a:lnTo>
                  <a:pt x="2511183" y="1756907"/>
                </a:lnTo>
                <a:lnTo>
                  <a:pt x="2514547" y="1756582"/>
                </a:lnTo>
                <a:lnTo>
                  <a:pt x="2515633" y="1759614"/>
                </a:lnTo>
                <a:lnTo>
                  <a:pt x="2511183" y="1763403"/>
                </a:lnTo>
                <a:lnTo>
                  <a:pt x="2505106" y="1775421"/>
                </a:lnTo>
                <a:lnTo>
                  <a:pt x="2502176" y="1775962"/>
                </a:lnTo>
                <a:lnTo>
                  <a:pt x="2499029" y="1778994"/>
                </a:lnTo>
                <a:lnTo>
                  <a:pt x="2508036" y="1779210"/>
                </a:lnTo>
                <a:lnTo>
                  <a:pt x="2508036" y="1781484"/>
                </a:lnTo>
                <a:lnTo>
                  <a:pt x="2505323" y="1785382"/>
                </a:lnTo>
                <a:lnTo>
                  <a:pt x="2508579" y="1789063"/>
                </a:lnTo>
                <a:lnTo>
                  <a:pt x="2507819" y="1793285"/>
                </a:lnTo>
                <a:lnTo>
                  <a:pt x="2508362" y="1799890"/>
                </a:lnTo>
                <a:lnTo>
                  <a:pt x="2510640" y="1801514"/>
                </a:lnTo>
                <a:lnTo>
                  <a:pt x="2513245" y="1807577"/>
                </a:lnTo>
                <a:lnTo>
                  <a:pt x="2518019" y="1807577"/>
                </a:lnTo>
                <a:lnTo>
                  <a:pt x="2520081" y="1809526"/>
                </a:lnTo>
                <a:lnTo>
                  <a:pt x="2527027" y="1809851"/>
                </a:lnTo>
                <a:lnTo>
                  <a:pt x="2525724" y="1813207"/>
                </a:lnTo>
                <a:lnTo>
                  <a:pt x="2520407" y="1814940"/>
                </a:lnTo>
                <a:lnTo>
                  <a:pt x="2527027" y="1819487"/>
                </a:lnTo>
                <a:lnTo>
                  <a:pt x="2534406" y="1819487"/>
                </a:lnTo>
                <a:lnTo>
                  <a:pt x="2538855" y="1821544"/>
                </a:lnTo>
                <a:lnTo>
                  <a:pt x="2540917" y="1820137"/>
                </a:lnTo>
                <a:lnTo>
                  <a:pt x="2547428" y="1822519"/>
                </a:lnTo>
                <a:lnTo>
                  <a:pt x="2548730" y="1825117"/>
                </a:lnTo>
                <a:lnTo>
                  <a:pt x="2556760" y="1826525"/>
                </a:lnTo>
                <a:lnTo>
                  <a:pt x="2558279" y="1824251"/>
                </a:lnTo>
                <a:lnTo>
                  <a:pt x="2565224" y="1819487"/>
                </a:lnTo>
                <a:lnTo>
                  <a:pt x="2565875" y="1823385"/>
                </a:lnTo>
                <a:lnTo>
                  <a:pt x="2564682" y="1825334"/>
                </a:lnTo>
                <a:lnTo>
                  <a:pt x="2570542" y="1826092"/>
                </a:lnTo>
                <a:lnTo>
                  <a:pt x="2578681" y="1830314"/>
                </a:lnTo>
                <a:lnTo>
                  <a:pt x="2578897" y="1832696"/>
                </a:lnTo>
                <a:lnTo>
                  <a:pt x="2575533" y="1833562"/>
                </a:lnTo>
                <a:lnTo>
                  <a:pt x="2573471" y="1833995"/>
                </a:lnTo>
                <a:lnTo>
                  <a:pt x="2577921" y="1836594"/>
                </a:lnTo>
                <a:lnTo>
                  <a:pt x="2582696" y="1836269"/>
                </a:lnTo>
                <a:lnTo>
                  <a:pt x="2584866" y="1838868"/>
                </a:lnTo>
                <a:lnTo>
                  <a:pt x="2581068" y="1840600"/>
                </a:lnTo>
                <a:lnTo>
                  <a:pt x="2578138" y="1839409"/>
                </a:lnTo>
                <a:lnTo>
                  <a:pt x="2573689" y="1839842"/>
                </a:lnTo>
                <a:lnTo>
                  <a:pt x="2566744" y="1841791"/>
                </a:lnTo>
                <a:lnTo>
                  <a:pt x="2555892" y="1847854"/>
                </a:lnTo>
                <a:lnTo>
                  <a:pt x="2551660" y="1847962"/>
                </a:lnTo>
                <a:lnTo>
                  <a:pt x="2543412" y="1850236"/>
                </a:lnTo>
                <a:lnTo>
                  <a:pt x="2535925" y="1851860"/>
                </a:lnTo>
                <a:lnTo>
                  <a:pt x="2528546" y="1856082"/>
                </a:lnTo>
                <a:lnTo>
                  <a:pt x="2524747" y="1856082"/>
                </a:lnTo>
                <a:lnTo>
                  <a:pt x="2525290" y="1858248"/>
                </a:lnTo>
                <a:lnTo>
                  <a:pt x="2518888" y="1857598"/>
                </a:lnTo>
                <a:lnTo>
                  <a:pt x="2516826" y="1852618"/>
                </a:lnTo>
                <a:lnTo>
                  <a:pt x="2514547" y="1852293"/>
                </a:lnTo>
                <a:lnTo>
                  <a:pt x="2512811" y="1855000"/>
                </a:lnTo>
                <a:lnTo>
                  <a:pt x="2510098" y="1854675"/>
                </a:lnTo>
                <a:lnTo>
                  <a:pt x="2506517" y="1860197"/>
                </a:lnTo>
                <a:lnTo>
                  <a:pt x="2508253" y="1862578"/>
                </a:lnTo>
                <a:lnTo>
                  <a:pt x="2500983" y="1868425"/>
                </a:lnTo>
                <a:lnTo>
                  <a:pt x="2494580" y="1876871"/>
                </a:lnTo>
                <a:lnTo>
                  <a:pt x="2489913" y="1877737"/>
                </a:lnTo>
                <a:lnTo>
                  <a:pt x="2484597" y="1881851"/>
                </a:lnTo>
                <a:lnTo>
                  <a:pt x="2481884" y="1881526"/>
                </a:lnTo>
                <a:lnTo>
                  <a:pt x="2479931" y="1882717"/>
                </a:lnTo>
                <a:lnTo>
                  <a:pt x="2479496" y="1887048"/>
                </a:lnTo>
                <a:lnTo>
                  <a:pt x="2477326" y="1888888"/>
                </a:lnTo>
                <a:lnTo>
                  <a:pt x="2474938" y="1886615"/>
                </a:lnTo>
                <a:lnTo>
                  <a:pt x="2472334" y="1888564"/>
                </a:lnTo>
                <a:lnTo>
                  <a:pt x="2468536" y="1885857"/>
                </a:lnTo>
                <a:lnTo>
                  <a:pt x="2468102" y="1880335"/>
                </a:lnTo>
                <a:lnTo>
                  <a:pt x="2465606" y="1878711"/>
                </a:lnTo>
                <a:lnTo>
                  <a:pt x="2463219" y="1880335"/>
                </a:lnTo>
                <a:lnTo>
                  <a:pt x="2462567" y="1875463"/>
                </a:lnTo>
                <a:lnTo>
                  <a:pt x="2461048" y="1871024"/>
                </a:lnTo>
                <a:lnTo>
                  <a:pt x="2461374" y="1865502"/>
                </a:lnTo>
                <a:lnTo>
                  <a:pt x="2464738" y="1858140"/>
                </a:lnTo>
                <a:lnTo>
                  <a:pt x="2470706" y="1853484"/>
                </a:lnTo>
                <a:lnTo>
                  <a:pt x="2471466" y="1849695"/>
                </a:lnTo>
                <a:lnTo>
                  <a:pt x="2480473" y="1844714"/>
                </a:lnTo>
                <a:lnTo>
                  <a:pt x="2490673" y="1842115"/>
                </a:lnTo>
                <a:lnTo>
                  <a:pt x="2498595" y="1836594"/>
                </a:lnTo>
                <a:lnTo>
                  <a:pt x="2506083" y="1834753"/>
                </a:lnTo>
                <a:lnTo>
                  <a:pt x="2509230" y="1835944"/>
                </a:lnTo>
                <a:lnTo>
                  <a:pt x="2510098" y="1840275"/>
                </a:lnTo>
                <a:lnTo>
                  <a:pt x="2513028" y="1842440"/>
                </a:lnTo>
                <a:lnTo>
                  <a:pt x="2512485" y="1840275"/>
                </a:lnTo>
                <a:lnTo>
                  <a:pt x="2513245" y="1837460"/>
                </a:lnTo>
                <a:lnTo>
                  <a:pt x="2517803" y="1836594"/>
                </a:lnTo>
                <a:lnTo>
                  <a:pt x="2524205" y="1835836"/>
                </a:lnTo>
                <a:lnTo>
                  <a:pt x="2529522" y="1833237"/>
                </a:lnTo>
                <a:lnTo>
                  <a:pt x="2522361" y="1833670"/>
                </a:lnTo>
                <a:lnTo>
                  <a:pt x="2512377" y="1832805"/>
                </a:lnTo>
                <a:lnTo>
                  <a:pt x="2508904" y="1830639"/>
                </a:lnTo>
                <a:lnTo>
                  <a:pt x="2504455" y="1830639"/>
                </a:lnTo>
                <a:lnTo>
                  <a:pt x="2501308" y="1834537"/>
                </a:lnTo>
                <a:lnTo>
                  <a:pt x="2495774" y="1833021"/>
                </a:lnTo>
                <a:lnTo>
                  <a:pt x="2500657" y="1827066"/>
                </a:lnTo>
                <a:lnTo>
                  <a:pt x="2505323" y="1825983"/>
                </a:lnTo>
                <a:lnTo>
                  <a:pt x="2510315" y="1820786"/>
                </a:lnTo>
                <a:lnTo>
                  <a:pt x="2510423" y="1818296"/>
                </a:lnTo>
                <a:lnTo>
                  <a:pt x="2507385" y="1819920"/>
                </a:lnTo>
                <a:lnTo>
                  <a:pt x="2506842" y="1817213"/>
                </a:lnTo>
                <a:lnTo>
                  <a:pt x="2501634" y="1824468"/>
                </a:lnTo>
                <a:lnTo>
                  <a:pt x="2497727" y="1825442"/>
                </a:lnTo>
                <a:lnTo>
                  <a:pt x="2492735" y="1830639"/>
                </a:lnTo>
                <a:lnTo>
                  <a:pt x="2486658" y="1831180"/>
                </a:lnTo>
                <a:lnTo>
                  <a:pt x="2484922" y="1833995"/>
                </a:lnTo>
                <a:lnTo>
                  <a:pt x="2474288" y="1836811"/>
                </a:lnTo>
                <a:lnTo>
                  <a:pt x="2472334" y="1835619"/>
                </a:lnTo>
                <a:lnTo>
                  <a:pt x="2473419" y="1833237"/>
                </a:lnTo>
                <a:lnTo>
                  <a:pt x="2471792" y="1833021"/>
                </a:lnTo>
                <a:lnTo>
                  <a:pt x="2474830" y="1828149"/>
                </a:lnTo>
                <a:lnTo>
                  <a:pt x="2470706" y="1832696"/>
                </a:lnTo>
                <a:lnTo>
                  <a:pt x="2468210" y="1837135"/>
                </a:lnTo>
                <a:lnTo>
                  <a:pt x="2462567" y="1838543"/>
                </a:lnTo>
                <a:lnTo>
                  <a:pt x="2458878" y="1836811"/>
                </a:lnTo>
                <a:lnTo>
                  <a:pt x="2456491" y="1839842"/>
                </a:lnTo>
                <a:lnTo>
                  <a:pt x="2453778" y="1839192"/>
                </a:lnTo>
                <a:lnTo>
                  <a:pt x="2452693" y="1835836"/>
                </a:lnTo>
                <a:lnTo>
                  <a:pt x="2447375" y="1836485"/>
                </a:lnTo>
                <a:lnTo>
                  <a:pt x="2440559" y="1834998"/>
                </a:lnTo>
                <a:lnTo>
                  <a:pt x="2449329" y="1840058"/>
                </a:lnTo>
                <a:lnTo>
                  <a:pt x="2447701" y="1845364"/>
                </a:lnTo>
                <a:lnTo>
                  <a:pt x="2451066" y="1849044"/>
                </a:lnTo>
                <a:lnTo>
                  <a:pt x="2453019" y="1845688"/>
                </a:lnTo>
                <a:lnTo>
                  <a:pt x="2457577" y="1848395"/>
                </a:lnTo>
                <a:lnTo>
                  <a:pt x="2454429" y="1852401"/>
                </a:lnTo>
                <a:lnTo>
                  <a:pt x="2450197" y="1852942"/>
                </a:lnTo>
                <a:lnTo>
                  <a:pt x="2448570" y="1850127"/>
                </a:lnTo>
                <a:lnTo>
                  <a:pt x="2442710" y="1853484"/>
                </a:lnTo>
                <a:lnTo>
                  <a:pt x="2439129" y="1853159"/>
                </a:lnTo>
                <a:lnTo>
                  <a:pt x="2434788" y="1856082"/>
                </a:lnTo>
                <a:lnTo>
                  <a:pt x="2432184" y="1857382"/>
                </a:lnTo>
                <a:lnTo>
                  <a:pt x="2428603" y="1855866"/>
                </a:lnTo>
                <a:lnTo>
                  <a:pt x="2424696" y="1861171"/>
                </a:lnTo>
                <a:lnTo>
                  <a:pt x="2421332" y="1861171"/>
                </a:lnTo>
                <a:lnTo>
                  <a:pt x="2420030" y="1855866"/>
                </a:lnTo>
                <a:lnTo>
                  <a:pt x="2414604" y="1855866"/>
                </a:lnTo>
                <a:lnTo>
                  <a:pt x="2410480" y="1860413"/>
                </a:lnTo>
                <a:lnTo>
                  <a:pt x="2406031" y="1861062"/>
                </a:lnTo>
                <a:lnTo>
                  <a:pt x="2404837" y="1857273"/>
                </a:lnTo>
                <a:lnTo>
                  <a:pt x="2406248" y="1852617"/>
                </a:lnTo>
                <a:lnTo>
                  <a:pt x="2399954" y="1860413"/>
                </a:lnTo>
                <a:lnTo>
                  <a:pt x="2395505" y="1867776"/>
                </a:lnTo>
                <a:lnTo>
                  <a:pt x="2392792" y="1869616"/>
                </a:lnTo>
                <a:lnTo>
                  <a:pt x="2391381" y="1867450"/>
                </a:lnTo>
                <a:lnTo>
                  <a:pt x="2388668" y="1872756"/>
                </a:lnTo>
                <a:lnTo>
                  <a:pt x="2385847" y="1872756"/>
                </a:lnTo>
                <a:lnTo>
                  <a:pt x="2385196" y="1867776"/>
                </a:lnTo>
                <a:lnTo>
                  <a:pt x="2382592" y="1872539"/>
                </a:lnTo>
                <a:lnTo>
                  <a:pt x="2380312" y="1875462"/>
                </a:lnTo>
                <a:lnTo>
                  <a:pt x="2377057" y="1874488"/>
                </a:lnTo>
                <a:lnTo>
                  <a:pt x="2376731" y="1871348"/>
                </a:lnTo>
                <a:lnTo>
                  <a:pt x="2374019" y="1875679"/>
                </a:lnTo>
                <a:lnTo>
                  <a:pt x="2371414" y="1875679"/>
                </a:lnTo>
                <a:lnTo>
                  <a:pt x="2368485" y="1881959"/>
                </a:lnTo>
                <a:lnTo>
                  <a:pt x="2359694" y="1888888"/>
                </a:lnTo>
                <a:lnTo>
                  <a:pt x="2356548" y="1897333"/>
                </a:lnTo>
                <a:lnTo>
                  <a:pt x="2353618" y="1900906"/>
                </a:lnTo>
                <a:lnTo>
                  <a:pt x="2352641" y="1904371"/>
                </a:lnTo>
                <a:lnTo>
                  <a:pt x="2350253" y="1906212"/>
                </a:lnTo>
                <a:lnTo>
                  <a:pt x="2349711" y="1909135"/>
                </a:lnTo>
                <a:lnTo>
                  <a:pt x="2352749" y="1909135"/>
                </a:lnTo>
                <a:lnTo>
                  <a:pt x="2353183" y="1912816"/>
                </a:lnTo>
                <a:lnTo>
                  <a:pt x="2344719" y="1920394"/>
                </a:lnTo>
                <a:lnTo>
                  <a:pt x="2344719" y="1922561"/>
                </a:lnTo>
                <a:lnTo>
                  <a:pt x="2350688" y="1926025"/>
                </a:lnTo>
                <a:lnTo>
                  <a:pt x="2353292" y="1933712"/>
                </a:lnTo>
                <a:lnTo>
                  <a:pt x="2354051" y="1937718"/>
                </a:lnTo>
                <a:lnTo>
                  <a:pt x="2360888" y="1937502"/>
                </a:lnTo>
                <a:lnTo>
                  <a:pt x="2362842" y="1932196"/>
                </a:lnTo>
                <a:lnTo>
                  <a:pt x="2362299" y="1928082"/>
                </a:lnTo>
                <a:lnTo>
                  <a:pt x="2364469" y="1927432"/>
                </a:lnTo>
                <a:lnTo>
                  <a:pt x="2366748" y="1935445"/>
                </a:lnTo>
                <a:lnTo>
                  <a:pt x="2363818" y="1940425"/>
                </a:lnTo>
                <a:lnTo>
                  <a:pt x="2352641" y="1945947"/>
                </a:lnTo>
                <a:lnTo>
                  <a:pt x="2349711" y="1944864"/>
                </a:lnTo>
                <a:lnTo>
                  <a:pt x="2349819" y="1941616"/>
                </a:lnTo>
                <a:lnTo>
                  <a:pt x="2347649" y="1937177"/>
                </a:lnTo>
                <a:lnTo>
                  <a:pt x="2343200" y="1945405"/>
                </a:lnTo>
                <a:lnTo>
                  <a:pt x="2338859" y="1949953"/>
                </a:lnTo>
                <a:lnTo>
                  <a:pt x="2335713" y="1949412"/>
                </a:lnTo>
                <a:lnTo>
                  <a:pt x="2336254" y="1946163"/>
                </a:lnTo>
                <a:lnTo>
                  <a:pt x="2336254" y="1941508"/>
                </a:lnTo>
                <a:lnTo>
                  <a:pt x="2331480" y="1936310"/>
                </a:lnTo>
                <a:lnTo>
                  <a:pt x="2331480" y="1941832"/>
                </a:lnTo>
                <a:lnTo>
                  <a:pt x="2330720" y="1948220"/>
                </a:lnTo>
                <a:lnTo>
                  <a:pt x="2332674" y="1950386"/>
                </a:lnTo>
                <a:lnTo>
                  <a:pt x="2329852" y="1951469"/>
                </a:lnTo>
                <a:lnTo>
                  <a:pt x="2320086" y="1952118"/>
                </a:lnTo>
                <a:lnTo>
                  <a:pt x="2314009" y="1953526"/>
                </a:lnTo>
                <a:lnTo>
                  <a:pt x="2309560" y="1952335"/>
                </a:lnTo>
                <a:lnTo>
                  <a:pt x="2300119" y="1952985"/>
                </a:lnTo>
                <a:lnTo>
                  <a:pt x="2298166" y="1951469"/>
                </a:lnTo>
                <a:lnTo>
                  <a:pt x="2295453" y="1951577"/>
                </a:lnTo>
                <a:lnTo>
                  <a:pt x="2287857" y="1956991"/>
                </a:lnTo>
                <a:lnTo>
                  <a:pt x="2282647" y="1957099"/>
                </a:lnTo>
                <a:lnTo>
                  <a:pt x="2275268" y="1961105"/>
                </a:lnTo>
                <a:lnTo>
                  <a:pt x="2271036" y="1962404"/>
                </a:lnTo>
                <a:lnTo>
                  <a:pt x="2267130" y="1965760"/>
                </a:lnTo>
                <a:lnTo>
                  <a:pt x="2267021" y="1968901"/>
                </a:lnTo>
                <a:lnTo>
                  <a:pt x="2260619" y="1972473"/>
                </a:lnTo>
                <a:lnTo>
                  <a:pt x="2262572" y="1975721"/>
                </a:lnTo>
                <a:lnTo>
                  <a:pt x="2265502" y="1978211"/>
                </a:lnTo>
                <a:lnTo>
                  <a:pt x="2266262" y="1981134"/>
                </a:lnTo>
                <a:lnTo>
                  <a:pt x="2263549" y="1984491"/>
                </a:lnTo>
                <a:lnTo>
                  <a:pt x="2263766" y="1986115"/>
                </a:lnTo>
                <a:lnTo>
                  <a:pt x="2261704" y="1990662"/>
                </a:lnTo>
                <a:lnTo>
                  <a:pt x="2262355" y="1992828"/>
                </a:lnTo>
                <a:lnTo>
                  <a:pt x="2260510" y="1995860"/>
                </a:lnTo>
                <a:lnTo>
                  <a:pt x="2258666" y="2000840"/>
                </a:lnTo>
                <a:lnTo>
                  <a:pt x="2256603" y="2000840"/>
                </a:lnTo>
                <a:lnTo>
                  <a:pt x="2254216" y="2003546"/>
                </a:lnTo>
                <a:lnTo>
                  <a:pt x="2252155" y="2010693"/>
                </a:lnTo>
                <a:lnTo>
                  <a:pt x="2248790" y="2011667"/>
                </a:lnTo>
                <a:lnTo>
                  <a:pt x="2246945" y="2014482"/>
                </a:lnTo>
                <a:lnTo>
                  <a:pt x="2244992" y="2014374"/>
                </a:lnTo>
                <a:lnTo>
                  <a:pt x="2244450" y="2017405"/>
                </a:lnTo>
                <a:lnTo>
                  <a:pt x="2240652" y="2022170"/>
                </a:lnTo>
                <a:lnTo>
                  <a:pt x="2240218" y="2020870"/>
                </a:lnTo>
                <a:lnTo>
                  <a:pt x="2236745" y="2023468"/>
                </a:lnTo>
                <a:lnTo>
                  <a:pt x="2239349" y="2017080"/>
                </a:lnTo>
                <a:lnTo>
                  <a:pt x="2237288" y="2014915"/>
                </a:lnTo>
                <a:lnTo>
                  <a:pt x="2233815" y="2015781"/>
                </a:lnTo>
                <a:lnTo>
                  <a:pt x="2228280" y="2010260"/>
                </a:lnTo>
                <a:lnTo>
                  <a:pt x="2226327" y="2006795"/>
                </a:lnTo>
                <a:lnTo>
                  <a:pt x="2227738" y="2003222"/>
                </a:lnTo>
                <a:lnTo>
                  <a:pt x="2235443" y="1994885"/>
                </a:lnTo>
                <a:lnTo>
                  <a:pt x="2230343" y="1997484"/>
                </a:lnTo>
                <a:lnTo>
                  <a:pt x="2226002" y="2001381"/>
                </a:lnTo>
                <a:lnTo>
                  <a:pt x="2223723" y="2005929"/>
                </a:lnTo>
                <a:lnTo>
                  <a:pt x="2224374" y="2010801"/>
                </a:lnTo>
                <a:lnTo>
                  <a:pt x="2226544" y="2013074"/>
                </a:lnTo>
                <a:lnTo>
                  <a:pt x="2227195" y="2019571"/>
                </a:lnTo>
                <a:lnTo>
                  <a:pt x="2229475" y="2022061"/>
                </a:lnTo>
                <a:lnTo>
                  <a:pt x="2232513" y="2030073"/>
                </a:lnTo>
                <a:lnTo>
                  <a:pt x="2232405" y="2036028"/>
                </a:lnTo>
                <a:lnTo>
                  <a:pt x="2228389" y="2045014"/>
                </a:lnTo>
                <a:lnTo>
                  <a:pt x="2223072" y="2048046"/>
                </a:lnTo>
                <a:lnTo>
                  <a:pt x="2219274" y="2057682"/>
                </a:lnTo>
                <a:lnTo>
                  <a:pt x="2216561" y="2062337"/>
                </a:lnTo>
                <a:lnTo>
                  <a:pt x="2216561" y="2065261"/>
                </a:lnTo>
                <a:lnTo>
                  <a:pt x="2215150" y="2067210"/>
                </a:lnTo>
                <a:lnTo>
                  <a:pt x="2214825" y="2065261"/>
                </a:lnTo>
                <a:lnTo>
                  <a:pt x="2214282" y="2063529"/>
                </a:lnTo>
                <a:lnTo>
                  <a:pt x="2209399" y="2072082"/>
                </a:lnTo>
                <a:lnTo>
                  <a:pt x="2208965" y="2074356"/>
                </a:lnTo>
                <a:lnTo>
                  <a:pt x="2207771" y="2076196"/>
                </a:lnTo>
                <a:lnTo>
                  <a:pt x="2207228" y="2071649"/>
                </a:lnTo>
                <a:lnTo>
                  <a:pt x="2208422" y="2066343"/>
                </a:lnTo>
                <a:lnTo>
                  <a:pt x="2211135" y="2061796"/>
                </a:lnTo>
                <a:lnTo>
                  <a:pt x="2210484" y="2058765"/>
                </a:lnTo>
                <a:lnTo>
                  <a:pt x="2213414" y="2054975"/>
                </a:lnTo>
                <a:lnTo>
                  <a:pt x="2212655" y="2053892"/>
                </a:lnTo>
                <a:lnTo>
                  <a:pt x="2216778" y="2051619"/>
                </a:lnTo>
                <a:lnTo>
                  <a:pt x="2211027" y="2051727"/>
                </a:lnTo>
                <a:lnTo>
                  <a:pt x="2209399" y="2048371"/>
                </a:lnTo>
                <a:lnTo>
                  <a:pt x="2210918" y="2046097"/>
                </a:lnTo>
                <a:lnTo>
                  <a:pt x="2210701" y="2045123"/>
                </a:lnTo>
                <a:lnTo>
                  <a:pt x="2208530" y="2045231"/>
                </a:lnTo>
                <a:lnTo>
                  <a:pt x="2207988" y="2043282"/>
                </a:lnTo>
                <a:lnTo>
                  <a:pt x="2206360" y="2045123"/>
                </a:lnTo>
                <a:lnTo>
                  <a:pt x="2202562" y="2040251"/>
                </a:lnTo>
                <a:lnTo>
                  <a:pt x="2202454" y="2035811"/>
                </a:lnTo>
                <a:lnTo>
                  <a:pt x="2205817" y="2030831"/>
                </a:lnTo>
                <a:lnTo>
                  <a:pt x="2206903" y="2024010"/>
                </a:lnTo>
                <a:lnTo>
                  <a:pt x="2203105" y="2017730"/>
                </a:lnTo>
                <a:lnTo>
                  <a:pt x="2205817" y="2012642"/>
                </a:lnTo>
                <a:lnTo>
                  <a:pt x="2209833" y="2010260"/>
                </a:lnTo>
                <a:lnTo>
                  <a:pt x="2208530" y="2008744"/>
                </a:lnTo>
                <a:lnTo>
                  <a:pt x="2209724" y="2004197"/>
                </a:lnTo>
                <a:lnTo>
                  <a:pt x="2208422" y="2002356"/>
                </a:lnTo>
                <a:lnTo>
                  <a:pt x="2208530" y="2003764"/>
                </a:lnTo>
                <a:lnTo>
                  <a:pt x="2207337" y="2008311"/>
                </a:lnTo>
                <a:lnTo>
                  <a:pt x="2202562" y="2012100"/>
                </a:lnTo>
                <a:lnTo>
                  <a:pt x="2199415" y="2014266"/>
                </a:lnTo>
                <a:lnTo>
                  <a:pt x="2197462" y="2014049"/>
                </a:lnTo>
                <a:lnTo>
                  <a:pt x="2199741" y="2017405"/>
                </a:lnTo>
                <a:lnTo>
                  <a:pt x="2198873" y="2020112"/>
                </a:lnTo>
                <a:lnTo>
                  <a:pt x="2198113" y="2027041"/>
                </a:lnTo>
                <a:lnTo>
                  <a:pt x="2199089" y="2029856"/>
                </a:lnTo>
                <a:lnTo>
                  <a:pt x="2198439" y="2033105"/>
                </a:lnTo>
                <a:lnTo>
                  <a:pt x="2198764" y="2037760"/>
                </a:lnTo>
                <a:lnTo>
                  <a:pt x="2198221" y="2047072"/>
                </a:lnTo>
                <a:lnTo>
                  <a:pt x="2196919" y="2047396"/>
                </a:lnTo>
                <a:lnTo>
                  <a:pt x="2191168" y="2040684"/>
                </a:lnTo>
                <a:lnTo>
                  <a:pt x="2186502" y="2040034"/>
                </a:lnTo>
                <a:lnTo>
                  <a:pt x="2183572" y="2034621"/>
                </a:lnTo>
                <a:lnTo>
                  <a:pt x="2181401" y="2034512"/>
                </a:lnTo>
                <a:lnTo>
                  <a:pt x="2180533" y="2032131"/>
                </a:lnTo>
                <a:lnTo>
                  <a:pt x="2182596" y="2027041"/>
                </a:lnTo>
                <a:lnTo>
                  <a:pt x="2179123" y="2031697"/>
                </a:lnTo>
                <a:lnTo>
                  <a:pt x="2179123" y="2035811"/>
                </a:lnTo>
                <a:lnTo>
                  <a:pt x="2182596" y="2037435"/>
                </a:lnTo>
                <a:lnTo>
                  <a:pt x="2185308" y="2041874"/>
                </a:lnTo>
                <a:lnTo>
                  <a:pt x="2190625" y="2043931"/>
                </a:lnTo>
                <a:lnTo>
                  <a:pt x="2196051" y="2050428"/>
                </a:lnTo>
                <a:lnTo>
                  <a:pt x="2199415" y="2052485"/>
                </a:lnTo>
                <a:lnTo>
                  <a:pt x="2200175" y="2056708"/>
                </a:lnTo>
                <a:lnTo>
                  <a:pt x="2198764" y="2061580"/>
                </a:lnTo>
                <a:lnTo>
                  <a:pt x="2195292" y="2061255"/>
                </a:lnTo>
                <a:lnTo>
                  <a:pt x="2193773" y="2057141"/>
                </a:lnTo>
                <a:lnTo>
                  <a:pt x="2191493" y="2056166"/>
                </a:lnTo>
                <a:lnTo>
                  <a:pt x="2193664" y="2062013"/>
                </a:lnTo>
                <a:lnTo>
                  <a:pt x="2198764" y="2065261"/>
                </a:lnTo>
                <a:lnTo>
                  <a:pt x="2200175" y="2068509"/>
                </a:lnTo>
                <a:lnTo>
                  <a:pt x="2198547" y="2069917"/>
                </a:lnTo>
                <a:lnTo>
                  <a:pt x="2198221" y="2072082"/>
                </a:lnTo>
                <a:lnTo>
                  <a:pt x="2193230" y="2071108"/>
                </a:lnTo>
                <a:lnTo>
                  <a:pt x="2199307" y="2076196"/>
                </a:lnTo>
                <a:lnTo>
                  <a:pt x="2197353" y="2079553"/>
                </a:lnTo>
                <a:lnTo>
                  <a:pt x="2194423" y="2078145"/>
                </a:lnTo>
                <a:lnTo>
                  <a:pt x="2192036" y="2073814"/>
                </a:lnTo>
                <a:lnTo>
                  <a:pt x="2186176" y="2073706"/>
                </a:lnTo>
                <a:lnTo>
                  <a:pt x="2182269" y="2071757"/>
                </a:lnTo>
                <a:lnTo>
                  <a:pt x="2185525" y="2075763"/>
                </a:lnTo>
                <a:lnTo>
                  <a:pt x="2189323" y="2077063"/>
                </a:lnTo>
                <a:lnTo>
                  <a:pt x="2192253" y="2077171"/>
                </a:lnTo>
                <a:lnTo>
                  <a:pt x="2194098" y="2082909"/>
                </a:lnTo>
                <a:lnTo>
                  <a:pt x="2198221" y="2083992"/>
                </a:lnTo>
                <a:lnTo>
                  <a:pt x="2201586" y="2083125"/>
                </a:lnTo>
                <a:lnTo>
                  <a:pt x="2203756" y="2085075"/>
                </a:lnTo>
                <a:lnTo>
                  <a:pt x="2204949" y="2089514"/>
                </a:lnTo>
                <a:lnTo>
                  <a:pt x="2203105" y="2094061"/>
                </a:lnTo>
                <a:lnTo>
                  <a:pt x="2200609" y="2092870"/>
                </a:lnTo>
                <a:lnTo>
                  <a:pt x="2200501" y="2095143"/>
                </a:lnTo>
                <a:lnTo>
                  <a:pt x="2202454" y="2097200"/>
                </a:lnTo>
                <a:lnTo>
                  <a:pt x="2203322" y="2102398"/>
                </a:lnTo>
                <a:lnTo>
                  <a:pt x="2201802" y="2104888"/>
                </a:lnTo>
                <a:lnTo>
                  <a:pt x="2198764" y="2104888"/>
                </a:lnTo>
                <a:lnTo>
                  <a:pt x="2197571" y="2106187"/>
                </a:lnTo>
                <a:lnTo>
                  <a:pt x="2191277" y="2107920"/>
                </a:lnTo>
                <a:lnTo>
                  <a:pt x="2188780" y="2110085"/>
                </a:lnTo>
                <a:lnTo>
                  <a:pt x="2185742" y="2109110"/>
                </a:lnTo>
                <a:lnTo>
                  <a:pt x="2183463" y="2104130"/>
                </a:lnTo>
                <a:lnTo>
                  <a:pt x="2181836" y="2105104"/>
                </a:lnTo>
                <a:lnTo>
                  <a:pt x="2181619" y="2112251"/>
                </a:lnTo>
                <a:lnTo>
                  <a:pt x="2180751" y="2115065"/>
                </a:lnTo>
                <a:lnTo>
                  <a:pt x="2185525" y="2113550"/>
                </a:lnTo>
                <a:lnTo>
                  <a:pt x="2195183" y="2112142"/>
                </a:lnTo>
                <a:lnTo>
                  <a:pt x="2197136" y="2113008"/>
                </a:lnTo>
                <a:lnTo>
                  <a:pt x="2197788" y="2120046"/>
                </a:lnTo>
                <a:lnTo>
                  <a:pt x="2200175" y="2121020"/>
                </a:lnTo>
                <a:lnTo>
                  <a:pt x="2200392" y="2118097"/>
                </a:lnTo>
                <a:lnTo>
                  <a:pt x="2202888" y="2113333"/>
                </a:lnTo>
                <a:lnTo>
                  <a:pt x="2204082" y="2113008"/>
                </a:lnTo>
                <a:lnTo>
                  <a:pt x="2205926" y="2117014"/>
                </a:lnTo>
                <a:lnTo>
                  <a:pt x="2204732" y="2122103"/>
                </a:lnTo>
                <a:lnTo>
                  <a:pt x="2203214" y="2122211"/>
                </a:lnTo>
                <a:lnTo>
                  <a:pt x="2198221" y="2126434"/>
                </a:lnTo>
                <a:lnTo>
                  <a:pt x="2196485" y="2129899"/>
                </a:lnTo>
                <a:lnTo>
                  <a:pt x="2194423" y="2131631"/>
                </a:lnTo>
                <a:lnTo>
                  <a:pt x="2191168" y="2129573"/>
                </a:lnTo>
                <a:lnTo>
                  <a:pt x="2187912" y="2130115"/>
                </a:lnTo>
                <a:lnTo>
                  <a:pt x="2185959" y="2124918"/>
                </a:lnTo>
                <a:lnTo>
                  <a:pt x="2185525" y="2128166"/>
                </a:lnTo>
                <a:lnTo>
                  <a:pt x="2182269" y="2129573"/>
                </a:lnTo>
                <a:lnTo>
                  <a:pt x="2178906" y="2127950"/>
                </a:lnTo>
                <a:lnTo>
                  <a:pt x="2175650" y="2127842"/>
                </a:lnTo>
                <a:lnTo>
                  <a:pt x="2178254" y="2130873"/>
                </a:lnTo>
                <a:lnTo>
                  <a:pt x="2183897" y="2131956"/>
                </a:lnTo>
                <a:lnTo>
                  <a:pt x="2185525" y="2134338"/>
                </a:lnTo>
                <a:lnTo>
                  <a:pt x="2183137" y="2136395"/>
                </a:lnTo>
                <a:lnTo>
                  <a:pt x="2184114" y="2138127"/>
                </a:lnTo>
                <a:lnTo>
                  <a:pt x="2177712" y="2140834"/>
                </a:lnTo>
                <a:lnTo>
                  <a:pt x="2173480" y="2139210"/>
                </a:lnTo>
                <a:lnTo>
                  <a:pt x="2177061" y="2142566"/>
                </a:lnTo>
                <a:lnTo>
                  <a:pt x="2183137" y="2143108"/>
                </a:lnTo>
                <a:lnTo>
                  <a:pt x="2187370" y="2139210"/>
                </a:lnTo>
                <a:lnTo>
                  <a:pt x="2188455" y="2140834"/>
                </a:lnTo>
                <a:lnTo>
                  <a:pt x="2190192" y="2141592"/>
                </a:lnTo>
                <a:lnTo>
                  <a:pt x="2185634" y="2146789"/>
                </a:lnTo>
                <a:lnTo>
                  <a:pt x="2181510" y="2146897"/>
                </a:lnTo>
                <a:lnTo>
                  <a:pt x="2181076" y="2145381"/>
                </a:lnTo>
                <a:lnTo>
                  <a:pt x="2178146" y="2145706"/>
                </a:lnTo>
                <a:lnTo>
                  <a:pt x="2176518" y="2146897"/>
                </a:lnTo>
                <a:lnTo>
                  <a:pt x="2170658" y="2147438"/>
                </a:lnTo>
                <a:lnTo>
                  <a:pt x="2159481" y="2154152"/>
                </a:lnTo>
                <a:lnTo>
                  <a:pt x="2147436" y="2163895"/>
                </a:lnTo>
                <a:lnTo>
                  <a:pt x="2143529" y="2171366"/>
                </a:lnTo>
                <a:lnTo>
                  <a:pt x="2141359" y="2171691"/>
                </a:lnTo>
                <a:lnTo>
                  <a:pt x="2138971" y="2170175"/>
                </a:lnTo>
                <a:lnTo>
                  <a:pt x="2132135" y="2170933"/>
                </a:lnTo>
                <a:lnTo>
                  <a:pt x="2127469" y="2175048"/>
                </a:lnTo>
                <a:lnTo>
                  <a:pt x="2118462" y="2186957"/>
                </a:lnTo>
                <a:lnTo>
                  <a:pt x="2118462" y="2189664"/>
                </a:lnTo>
                <a:lnTo>
                  <a:pt x="2114663" y="2193021"/>
                </a:lnTo>
                <a:lnTo>
                  <a:pt x="2112277" y="2192803"/>
                </a:lnTo>
                <a:lnTo>
                  <a:pt x="2111950" y="2195835"/>
                </a:lnTo>
                <a:lnTo>
                  <a:pt x="2107827" y="2200599"/>
                </a:lnTo>
                <a:lnTo>
                  <a:pt x="2105006" y="2199300"/>
                </a:lnTo>
                <a:lnTo>
                  <a:pt x="2102510" y="2200058"/>
                </a:lnTo>
                <a:lnTo>
                  <a:pt x="2101208" y="2202223"/>
                </a:lnTo>
                <a:lnTo>
                  <a:pt x="2096216" y="2201790"/>
                </a:lnTo>
                <a:lnTo>
                  <a:pt x="2093720" y="2205147"/>
                </a:lnTo>
                <a:lnTo>
                  <a:pt x="2086449" y="2206013"/>
                </a:lnTo>
                <a:lnTo>
                  <a:pt x="2085256" y="2208611"/>
                </a:lnTo>
                <a:lnTo>
                  <a:pt x="2080589" y="2208286"/>
                </a:lnTo>
                <a:lnTo>
                  <a:pt x="2079721" y="2211209"/>
                </a:lnTo>
                <a:lnTo>
                  <a:pt x="2074079" y="2211209"/>
                </a:lnTo>
                <a:lnTo>
                  <a:pt x="2072668" y="2212401"/>
                </a:lnTo>
                <a:lnTo>
                  <a:pt x="2074404" y="2213592"/>
                </a:lnTo>
                <a:lnTo>
                  <a:pt x="2073862" y="2217598"/>
                </a:lnTo>
                <a:lnTo>
                  <a:pt x="2070606" y="2222253"/>
                </a:lnTo>
                <a:lnTo>
                  <a:pt x="2068544" y="2222578"/>
                </a:lnTo>
                <a:lnTo>
                  <a:pt x="2066482" y="2225502"/>
                </a:lnTo>
                <a:lnTo>
                  <a:pt x="2062468" y="2226476"/>
                </a:lnTo>
                <a:lnTo>
                  <a:pt x="2058343" y="2233188"/>
                </a:lnTo>
                <a:lnTo>
                  <a:pt x="2054871" y="2240118"/>
                </a:lnTo>
                <a:lnTo>
                  <a:pt x="2054871" y="2248130"/>
                </a:lnTo>
                <a:lnTo>
                  <a:pt x="2053677" y="2262963"/>
                </a:lnTo>
                <a:lnTo>
                  <a:pt x="2054437" y="2269676"/>
                </a:lnTo>
                <a:lnTo>
                  <a:pt x="2053026" y="2279961"/>
                </a:lnTo>
                <a:lnTo>
                  <a:pt x="2055630" y="2286458"/>
                </a:lnTo>
                <a:lnTo>
                  <a:pt x="2056607" y="2296852"/>
                </a:lnTo>
                <a:lnTo>
                  <a:pt x="2058669" y="2301075"/>
                </a:lnTo>
                <a:lnTo>
                  <a:pt x="2061165" y="2312659"/>
                </a:lnTo>
                <a:lnTo>
                  <a:pt x="2064203" y="2316773"/>
                </a:lnTo>
                <a:lnTo>
                  <a:pt x="2065939" y="2320996"/>
                </a:lnTo>
                <a:lnTo>
                  <a:pt x="2063878" y="2326518"/>
                </a:lnTo>
                <a:lnTo>
                  <a:pt x="2063227" y="2333772"/>
                </a:lnTo>
                <a:lnTo>
                  <a:pt x="2064854" y="2336154"/>
                </a:lnTo>
                <a:lnTo>
                  <a:pt x="2067459" y="2351529"/>
                </a:lnTo>
                <a:lnTo>
                  <a:pt x="2072342" y="2354560"/>
                </a:lnTo>
                <a:lnTo>
                  <a:pt x="2073862" y="2361597"/>
                </a:lnTo>
                <a:lnTo>
                  <a:pt x="2071149" y="2364305"/>
                </a:lnTo>
                <a:lnTo>
                  <a:pt x="2072342" y="2366145"/>
                </a:lnTo>
                <a:lnTo>
                  <a:pt x="2071474" y="2374482"/>
                </a:lnTo>
                <a:lnTo>
                  <a:pt x="2070280" y="2376756"/>
                </a:lnTo>
                <a:lnTo>
                  <a:pt x="2070714" y="2380870"/>
                </a:lnTo>
                <a:lnTo>
                  <a:pt x="2066591" y="2389315"/>
                </a:lnTo>
                <a:lnTo>
                  <a:pt x="2064421" y="2394945"/>
                </a:lnTo>
                <a:lnTo>
                  <a:pt x="2061491" y="2399276"/>
                </a:lnTo>
                <a:lnTo>
                  <a:pt x="2060731" y="2405231"/>
                </a:lnTo>
                <a:lnTo>
                  <a:pt x="2056825" y="2406639"/>
                </a:lnTo>
                <a:lnTo>
                  <a:pt x="2052375" y="2408154"/>
                </a:lnTo>
                <a:lnTo>
                  <a:pt x="2047818" y="2406963"/>
                </a:lnTo>
                <a:lnTo>
                  <a:pt x="2045647" y="2404040"/>
                </a:lnTo>
                <a:lnTo>
                  <a:pt x="2040655" y="2402741"/>
                </a:lnTo>
                <a:lnTo>
                  <a:pt x="2043368" y="2401550"/>
                </a:lnTo>
                <a:lnTo>
                  <a:pt x="2037617" y="2396786"/>
                </a:lnTo>
                <a:lnTo>
                  <a:pt x="2038160" y="2392780"/>
                </a:lnTo>
                <a:lnTo>
                  <a:pt x="2036423" y="2389640"/>
                </a:lnTo>
                <a:lnTo>
                  <a:pt x="2032408" y="2389423"/>
                </a:lnTo>
                <a:lnTo>
                  <a:pt x="2030564" y="2387799"/>
                </a:lnTo>
                <a:lnTo>
                  <a:pt x="2030889" y="2381519"/>
                </a:lnTo>
                <a:lnTo>
                  <a:pt x="2030129" y="2376647"/>
                </a:lnTo>
                <a:lnTo>
                  <a:pt x="2024269" y="2372100"/>
                </a:lnTo>
                <a:lnTo>
                  <a:pt x="2023835" y="2369285"/>
                </a:lnTo>
                <a:lnTo>
                  <a:pt x="2025789" y="2367119"/>
                </a:lnTo>
                <a:lnTo>
                  <a:pt x="2026657" y="2363113"/>
                </a:lnTo>
                <a:lnTo>
                  <a:pt x="2030129" y="2359649"/>
                </a:lnTo>
                <a:lnTo>
                  <a:pt x="2025680" y="2360840"/>
                </a:lnTo>
                <a:lnTo>
                  <a:pt x="2023726" y="2359540"/>
                </a:lnTo>
                <a:lnTo>
                  <a:pt x="2023726" y="2361489"/>
                </a:lnTo>
                <a:lnTo>
                  <a:pt x="2022208" y="2363655"/>
                </a:lnTo>
                <a:lnTo>
                  <a:pt x="2021014" y="2359216"/>
                </a:lnTo>
                <a:lnTo>
                  <a:pt x="2019060" y="2359757"/>
                </a:lnTo>
                <a:lnTo>
                  <a:pt x="2018192" y="2357375"/>
                </a:lnTo>
                <a:lnTo>
                  <a:pt x="2015262" y="2353911"/>
                </a:lnTo>
                <a:lnTo>
                  <a:pt x="2014937" y="2349364"/>
                </a:lnTo>
                <a:lnTo>
                  <a:pt x="2013526" y="2346440"/>
                </a:lnTo>
                <a:lnTo>
                  <a:pt x="2019386" y="2338103"/>
                </a:lnTo>
                <a:lnTo>
                  <a:pt x="2019169" y="2333664"/>
                </a:lnTo>
                <a:lnTo>
                  <a:pt x="2015697" y="2332256"/>
                </a:lnTo>
                <a:lnTo>
                  <a:pt x="2013960" y="2333664"/>
                </a:lnTo>
                <a:lnTo>
                  <a:pt x="2014828" y="2335721"/>
                </a:lnTo>
                <a:lnTo>
                  <a:pt x="2012007" y="2339511"/>
                </a:lnTo>
                <a:lnTo>
                  <a:pt x="2010705" y="2340810"/>
                </a:lnTo>
                <a:lnTo>
                  <a:pt x="2007883" y="2335938"/>
                </a:lnTo>
                <a:lnTo>
                  <a:pt x="2008101" y="2332365"/>
                </a:lnTo>
                <a:lnTo>
                  <a:pt x="2012767" y="2323703"/>
                </a:lnTo>
                <a:lnTo>
                  <a:pt x="2015914" y="2312551"/>
                </a:lnTo>
                <a:lnTo>
                  <a:pt x="2016348" y="2307030"/>
                </a:lnTo>
                <a:lnTo>
                  <a:pt x="2013201" y="2301075"/>
                </a:lnTo>
                <a:lnTo>
                  <a:pt x="2009728" y="2300425"/>
                </a:lnTo>
                <a:lnTo>
                  <a:pt x="2007558" y="2297069"/>
                </a:lnTo>
                <a:lnTo>
                  <a:pt x="2007666" y="2295336"/>
                </a:lnTo>
                <a:lnTo>
                  <a:pt x="2005604" y="2295336"/>
                </a:lnTo>
                <a:lnTo>
                  <a:pt x="2002240" y="2292846"/>
                </a:lnTo>
                <a:lnTo>
                  <a:pt x="2001589" y="2287865"/>
                </a:lnTo>
                <a:lnTo>
                  <a:pt x="1999962" y="2287324"/>
                </a:lnTo>
                <a:lnTo>
                  <a:pt x="1997465" y="2284834"/>
                </a:lnTo>
                <a:lnTo>
                  <a:pt x="1995079" y="2276605"/>
                </a:lnTo>
                <a:lnTo>
                  <a:pt x="1989544" y="2274657"/>
                </a:lnTo>
                <a:lnTo>
                  <a:pt x="1986506" y="2272924"/>
                </a:lnTo>
                <a:lnTo>
                  <a:pt x="1981731" y="2273790"/>
                </a:lnTo>
                <a:lnTo>
                  <a:pt x="1978584" y="2276281"/>
                </a:lnTo>
                <a:lnTo>
                  <a:pt x="1978584" y="2277363"/>
                </a:lnTo>
                <a:lnTo>
                  <a:pt x="1977715" y="2278121"/>
                </a:lnTo>
                <a:lnTo>
                  <a:pt x="1975762" y="2277255"/>
                </a:lnTo>
                <a:lnTo>
                  <a:pt x="1969686" y="2283426"/>
                </a:lnTo>
                <a:lnTo>
                  <a:pt x="1965236" y="2283967"/>
                </a:lnTo>
                <a:lnTo>
                  <a:pt x="1958400" y="2284942"/>
                </a:lnTo>
                <a:lnTo>
                  <a:pt x="1957206" y="2283210"/>
                </a:lnTo>
                <a:lnTo>
                  <a:pt x="1957857" y="2281369"/>
                </a:lnTo>
                <a:lnTo>
                  <a:pt x="1958508" y="2282993"/>
                </a:lnTo>
                <a:lnTo>
                  <a:pt x="1959593" y="2282560"/>
                </a:lnTo>
                <a:lnTo>
                  <a:pt x="1958400" y="2280286"/>
                </a:lnTo>
                <a:lnTo>
                  <a:pt x="1956121" y="2276930"/>
                </a:lnTo>
                <a:lnTo>
                  <a:pt x="1950261" y="2272924"/>
                </a:lnTo>
                <a:lnTo>
                  <a:pt x="1951021" y="2272599"/>
                </a:lnTo>
                <a:lnTo>
                  <a:pt x="1954167" y="2274115"/>
                </a:lnTo>
                <a:lnTo>
                  <a:pt x="1954927" y="2272491"/>
                </a:lnTo>
                <a:lnTo>
                  <a:pt x="1950369" y="2269351"/>
                </a:lnTo>
                <a:lnTo>
                  <a:pt x="1949501" y="2266861"/>
                </a:lnTo>
                <a:lnTo>
                  <a:pt x="1947440" y="2266536"/>
                </a:lnTo>
                <a:lnTo>
                  <a:pt x="1946897" y="2268702"/>
                </a:lnTo>
                <a:lnTo>
                  <a:pt x="1949176" y="2271949"/>
                </a:lnTo>
                <a:lnTo>
                  <a:pt x="1945594" y="2269892"/>
                </a:lnTo>
                <a:lnTo>
                  <a:pt x="1941905" y="2266536"/>
                </a:lnTo>
                <a:lnTo>
                  <a:pt x="1935720" y="2266536"/>
                </a:lnTo>
                <a:lnTo>
                  <a:pt x="1929534" y="2265670"/>
                </a:lnTo>
                <a:lnTo>
                  <a:pt x="1930402" y="2264479"/>
                </a:lnTo>
                <a:lnTo>
                  <a:pt x="1936045" y="2264912"/>
                </a:lnTo>
                <a:lnTo>
                  <a:pt x="1938867" y="2264046"/>
                </a:lnTo>
                <a:lnTo>
                  <a:pt x="1937673" y="2262530"/>
                </a:lnTo>
                <a:lnTo>
                  <a:pt x="1932572" y="2262206"/>
                </a:lnTo>
                <a:lnTo>
                  <a:pt x="1927256" y="2265886"/>
                </a:lnTo>
                <a:lnTo>
                  <a:pt x="1925085" y="2264804"/>
                </a:lnTo>
                <a:lnTo>
                  <a:pt x="1917923" y="2265670"/>
                </a:lnTo>
                <a:lnTo>
                  <a:pt x="1915210" y="2263721"/>
                </a:lnTo>
                <a:lnTo>
                  <a:pt x="1911737" y="2265129"/>
                </a:lnTo>
                <a:lnTo>
                  <a:pt x="1905010" y="2264804"/>
                </a:lnTo>
                <a:lnTo>
                  <a:pt x="1901211" y="2266428"/>
                </a:lnTo>
                <a:lnTo>
                  <a:pt x="1896545" y="2262422"/>
                </a:lnTo>
                <a:lnTo>
                  <a:pt x="1896437" y="2259715"/>
                </a:lnTo>
                <a:lnTo>
                  <a:pt x="1897088" y="2256575"/>
                </a:lnTo>
                <a:lnTo>
                  <a:pt x="1894158" y="2256033"/>
                </a:lnTo>
                <a:lnTo>
                  <a:pt x="1892096" y="2260148"/>
                </a:lnTo>
                <a:lnTo>
                  <a:pt x="1889817" y="2263938"/>
                </a:lnTo>
                <a:lnTo>
                  <a:pt x="1886453" y="2263288"/>
                </a:lnTo>
                <a:lnTo>
                  <a:pt x="1883523" y="2264371"/>
                </a:lnTo>
                <a:lnTo>
                  <a:pt x="1878097" y="2263504"/>
                </a:lnTo>
                <a:lnTo>
                  <a:pt x="1863990" y="2265994"/>
                </a:lnTo>
                <a:lnTo>
                  <a:pt x="1860084" y="2269459"/>
                </a:lnTo>
                <a:lnTo>
                  <a:pt x="1852162" y="2272708"/>
                </a:lnTo>
                <a:lnTo>
                  <a:pt x="1847821" y="2277255"/>
                </a:lnTo>
                <a:lnTo>
                  <a:pt x="1847821" y="2280503"/>
                </a:lnTo>
                <a:lnTo>
                  <a:pt x="1850968" y="2279312"/>
                </a:lnTo>
                <a:lnTo>
                  <a:pt x="1853681" y="2276497"/>
                </a:lnTo>
                <a:lnTo>
                  <a:pt x="1855201" y="2276822"/>
                </a:lnTo>
                <a:lnTo>
                  <a:pt x="1856937" y="2279096"/>
                </a:lnTo>
                <a:lnTo>
                  <a:pt x="1861060" y="2280828"/>
                </a:lnTo>
                <a:lnTo>
                  <a:pt x="1859541" y="2282560"/>
                </a:lnTo>
                <a:lnTo>
                  <a:pt x="1851945" y="2285483"/>
                </a:lnTo>
                <a:lnTo>
                  <a:pt x="1852162" y="2289598"/>
                </a:lnTo>
                <a:lnTo>
                  <a:pt x="1853464" y="2293063"/>
                </a:lnTo>
                <a:lnTo>
                  <a:pt x="1861060" y="2295553"/>
                </a:lnTo>
                <a:lnTo>
                  <a:pt x="1866811" y="2299883"/>
                </a:lnTo>
                <a:lnTo>
                  <a:pt x="1866378" y="2301399"/>
                </a:lnTo>
                <a:lnTo>
                  <a:pt x="1862797" y="2302482"/>
                </a:lnTo>
                <a:lnTo>
                  <a:pt x="1861277" y="2305405"/>
                </a:lnTo>
                <a:lnTo>
                  <a:pt x="1861060" y="2300750"/>
                </a:lnTo>
                <a:lnTo>
                  <a:pt x="1858673" y="2299234"/>
                </a:lnTo>
                <a:lnTo>
                  <a:pt x="1855960" y="2299559"/>
                </a:lnTo>
                <a:lnTo>
                  <a:pt x="1853464" y="2296310"/>
                </a:lnTo>
                <a:lnTo>
                  <a:pt x="1850100" y="2294903"/>
                </a:lnTo>
                <a:lnTo>
                  <a:pt x="1846628" y="2289706"/>
                </a:lnTo>
                <a:lnTo>
                  <a:pt x="1842287" y="2290139"/>
                </a:lnTo>
                <a:lnTo>
                  <a:pt x="1844348" y="2294037"/>
                </a:lnTo>
                <a:lnTo>
                  <a:pt x="1844240" y="2299883"/>
                </a:lnTo>
                <a:lnTo>
                  <a:pt x="1840550" y="2301940"/>
                </a:lnTo>
                <a:lnTo>
                  <a:pt x="1838706" y="2298909"/>
                </a:lnTo>
                <a:lnTo>
                  <a:pt x="1834691" y="2296094"/>
                </a:lnTo>
                <a:lnTo>
                  <a:pt x="1831218" y="2298692"/>
                </a:lnTo>
                <a:lnTo>
                  <a:pt x="1828831" y="2301399"/>
                </a:lnTo>
                <a:lnTo>
                  <a:pt x="1822862" y="2299667"/>
                </a:lnTo>
                <a:lnTo>
                  <a:pt x="1819607" y="2297610"/>
                </a:lnTo>
                <a:lnTo>
                  <a:pt x="1815592" y="2298367"/>
                </a:lnTo>
                <a:lnTo>
                  <a:pt x="1813096" y="2297177"/>
                </a:lnTo>
                <a:lnTo>
                  <a:pt x="1814941" y="2294795"/>
                </a:lnTo>
                <a:lnTo>
                  <a:pt x="1818196" y="2292304"/>
                </a:lnTo>
                <a:lnTo>
                  <a:pt x="1816569" y="2289706"/>
                </a:lnTo>
                <a:lnTo>
                  <a:pt x="1811685" y="2290247"/>
                </a:lnTo>
                <a:lnTo>
                  <a:pt x="1810275" y="2288406"/>
                </a:lnTo>
                <a:lnTo>
                  <a:pt x="1810275" y="2284834"/>
                </a:lnTo>
                <a:lnTo>
                  <a:pt x="1808646" y="2283102"/>
                </a:lnTo>
                <a:lnTo>
                  <a:pt x="1805391" y="2284401"/>
                </a:lnTo>
                <a:lnTo>
                  <a:pt x="1802787" y="2283535"/>
                </a:lnTo>
                <a:lnTo>
                  <a:pt x="1804632" y="2280720"/>
                </a:lnTo>
                <a:lnTo>
                  <a:pt x="1802027" y="2279637"/>
                </a:lnTo>
                <a:lnTo>
                  <a:pt x="1797252" y="2281369"/>
                </a:lnTo>
                <a:lnTo>
                  <a:pt x="1796819" y="2283859"/>
                </a:lnTo>
                <a:lnTo>
                  <a:pt x="1797687" y="2286783"/>
                </a:lnTo>
                <a:lnTo>
                  <a:pt x="1793346" y="2287324"/>
                </a:lnTo>
                <a:lnTo>
                  <a:pt x="1779564" y="2286025"/>
                </a:lnTo>
                <a:lnTo>
                  <a:pt x="1777719" y="2283751"/>
                </a:lnTo>
                <a:lnTo>
                  <a:pt x="1766542" y="2281044"/>
                </a:lnTo>
                <a:lnTo>
                  <a:pt x="1760249" y="2281044"/>
                </a:lnTo>
                <a:lnTo>
                  <a:pt x="1752218" y="2282669"/>
                </a:lnTo>
                <a:lnTo>
                  <a:pt x="1748963" y="2284942"/>
                </a:lnTo>
                <a:lnTo>
                  <a:pt x="1745490" y="2285267"/>
                </a:lnTo>
                <a:lnTo>
                  <a:pt x="1741475" y="2291005"/>
                </a:lnTo>
                <a:lnTo>
                  <a:pt x="1736158" y="2291655"/>
                </a:lnTo>
                <a:lnTo>
                  <a:pt x="1737026" y="2287324"/>
                </a:lnTo>
                <a:lnTo>
                  <a:pt x="1735832" y="2283751"/>
                </a:lnTo>
                <a:lnTo>
                  <a:pt x="1738545" y="2279961"/>
                </a:lnTo>
                <a:lnTo>
                  <a:pt x="1736917" y="2274981"/>
                </a:lnTo>
                <a:lnTo>
                  <a:pt x="1736483" y="2277904"/>
                </a:lnTo>
                <a:lnTo>
                  <a:pt x="1731817" y="2281802"/>
                </a:lnTo>
                <a:lnTo>
                  <a:pt x="1729430" y="2281802"/>
                </a:lnTo>
                <a:lnTo>
                  <a:pt x="1726825" y="2278446"/>
                </a:lnTo>
                <a:lnTo>
                  <a:pt x="1729646" y="2285483"/>
                </a:lnTo>
                <a:lnTo>
                  <a:pt x="1729430" y="2290247"/>
                </a:lnTo>
                <a:lnTo>
                  <a:pt x="1730515" y="2295120"/>
                </a:lnTo>
                <a:lnTo>
                  <a:pt x="1727368" y="2297718"/>
                </a:lnTo>
                <a:lnTo>
                  <a:pt x="1724329" y="2297718"/>
                </a:lnTo>
                <a:lnTo>
                  <a:pt x="1716733" y="2304539"/>
                </a:lnTo>
                <a:lnTo>
                  <a:pt x="1706532" y="2309520"/>
                </a:lnTo>
                <a:lnTo>
                  <a:pt x="1703385" y="2309303"/>
                </a:lnTo>
                <a:lnTo>
                  <a:pt x="1698936" y="2313201"/>
                </a:lnTo>
                <a:lnTo>
                  <a:pt x="1695681" y="2313526"/>
                </a:lnTo>
                <a:lnTo>
                  <a:pt x="1699804" y="2309844"/>
                </a:lnTo>
                <a:lnTo>
                  <a:pt x="1696223" y="2307246"/>
                </a:lnTo>
                <a:lnTo>
                  <a:pt x="1693945" y="2308545"/>
                </a:lnTo>
                <a:lnTo>
                  <a:pt x="1692208" y="2307246"/>
                </a:lnTo>
                <a:lnTo>
                  <a:pt x="1687759" y="2309844"/>
                </a:lnTo>
                <a:lnTo>
                  <a:pt x="1690363" y="2312226"/>
                </a:lnTo>
                <a:lnTo>
                  <a:pt x="1685372" y="2314175"/>
                </a:lnTo>
                <a:lnTo>
                  <a:pt x="1682767" y="2312118"/>
                </a:lnTo>
                <a:lnTo>
                  <a:pt x="1683093" y="2318073"/>
                </a:lnTo>
                <a:lnTo>
                  <a:pt x="1678752" y="2320130"/>
                </a:lnTo>
                <a:lnTo>
                  <a:pt x="1676365" y="2318614"/>
                </a:lnTo>
                <a:lnTo>
                  <a:pt x="1672133" y="2323920"/>
                </a:lnTo>
                <a:lnTo>
                  <a:pt x="1674846" y="2327059"/>
                </a:lnTo>
                <a:lnTo>
                  <a:pt x="1670071" y="2330849"/>
                </a:lnTo>
                <a:lnTo>
                  <a:pt x="1666598" y="2332365"/>
                </a:lnTo>
                <a:lnTo>
                  <a:pt x="1668118" y="2341459"/>
                </a:lnTo>
                <a:lnTo>
                  <a:pt x="1664862" y="2346115"/>
                </a:lnTo>
                <a:lnTo>
                  <a:pt x="1662800" y="2353044"/>
                </a:lnTo>
                <a:lnTo>
                  <a:pt x="1659979" y="2358891"/>
                </a:lnTo>
                <a:lnTo>
                  <a:pt x="1662041" y="2362464"/>
                </a:lnTo>
                <a:lnTo>
                  <a:pt x="1661607" y="2372750"/>
                </a:lnTo>
                <a:lnTo>
                  <a:pt x="1662800" y="2376106"/>
                </a:lnTo>
                <a:lnTo>
                  <a:pt x="1661281" y="2381195"/>
                </a:lnTo>
                <a:lnTo>
                  <a:pt x="1658785" y="2388233"/>
                </a:lnTo>
                <a:lnTo>
                  <a:pt x="1656723" y="2387258"/>
                </a:lnTo>
                <a:lnTo>
                  <a:pt x="1655204" y="2384335"/>
                </a:lnTo>
                <a:lnTo>
                  <a:pt x="1650863" y="2383252"/>
                </a:lnTo>
                <a:lnTo>
                  <a:pt x="1646414" y="2380978"/>
                </a:lnTo>
                <a:lnTo>
                  <a:pt x="1638601" y="2378380"/>
                </a:lnTo>
                <a:lnTo>
                  <a:pt x="1634694" y="2374590"/>
                </a:lnTo>
                <a:lnTo>
                  <a:pt x="1631656" y="2372858"/>
                </a:lnTo>
                <a:lnTo>
                  <a:pt x="1634694" y="2374590"/>
                </a:lnTo>
                <a:lnTo>
                  <a:pt x="1638600" y="2378380"/>
                </a:lnTo>
                <a:lnTo>
                  <a:pt x="1646413" y="2380978"/>
                </a:lnTo>
                <a:lnTo>
                  <a:pt x="1650863" y="2383252"/>
                </a:lnTo>
                <a:lnTo>
                  <a:pt x="1655204" y="2384335"/>
                </a:lnTo>
                <a:lnTo>
                  <a:pt x="1656722" y="2387258"/>
                </a:lnTo>
                <a:lnTo>
                  <a:pt x="1658785" y="2388233"/>
                </a:lnTo>
                <a:lnTo>
                  <a:pt x="1657591" y="2391697"/>
                </a:lnTo>
                <a:lnTo>
                  <a:pt x="1661715" y="2388990"/>
                </a:lnTo>
                <a:lnTo>
                  <a:pt x="1663125" y="2382061"/>
                </a:lnTo>
                <a:lnTo>
                  <a:pt x="1666381" y="2379354"/>
                </a:lnTo>
                <a:lnTo>
                  <a:pt x="1665730" y="2381737"/>
                </a:lnTo>
                <a:lnTo>
                  <a:pt x="1664970" y="2387908"/>
                </a:lnTo>
                <a:lnTo>
                  <a:pt x="1663125" y="2389965"/>
                </a:lnTo>
                <a:lnTo>
                  <a:pt x="1661715" y="2395270"/>
                </a:lnTo>
                <a:lnTo>
                  <a:pt x="1658134" y="2400467"/>
                </a:lnTo>
                <a:lnTo>
                  <a:pt x="1657482" y="2404581"/>
                </a:lnTo>
                <a:lnTo>
                  <a:pt x="1654661" y="2404906"/>
                </a:lnTo>
                <a:lnTo>
                  <a:pt x="1655529" y="2402524"/>
                </a:lnTo>
                <a:lnTo>
                  <a:pt x="1656289" y="2398194"/>
                </a:lnTo>
                <a:lnTo>
                  <a:pt x="1652056" y="2397869"/>
                </a:lnTo>
                <a:lnTo>
                  <a:pt x="1652056" y="2404581"/>
                </a:lnTo>
                <a:lnTo>
                  <a:pt x="1649126" y="2408155"/>
                </a:lnTo>
                <a:lnTo>
                  <a:pt x="1652274" y="2410645"/>
                </a:lnTo>
                <a:lnTo>
                  <a:pt x="1651188" y="2412810"/>
                </a:lnTo>
                <a:lnTo>
                  <a:pt x="1649669" y="2419523"/>
                </a:lnTo>
                <a:lnTo>
                  <a:pt x="1647281" y="2421904"/>
                </a:lnTo>
                <a:lnTo>
                  <a:pt x="1647281" y="2427643"/>
                </a:lnTo>
                <a:lnTo>
                  <a:pt x="1648801" y="2429700"/>
                </a:lnTo>
                <a:lnTo>
                  <a:pt x="1647065" y="2432948"/>
                </a:lnTo>
                <a:lnTo>
                  <a:pt x="1647390" y="2436413"/>
                </a:lnTo>
                <a:lnTo>
                  <a:pt x="1644895" y="2448214"/>
                </a:lnTo>
                <a:lnTo>
                  <a:pt x="1646088" y="2455685"/>
                </a:lnTo>
                <a:lnTo>
                  <a:pt x="1644895" y="2466946"/>
                </a:lnTo>
                <a:lnTo>
                  <a:pt x="1641097" y="2471926"/>
                </a:lnTo>
                <a:lnTo>
                  <a:pt x="1642290" y="2475715"/>
                </a:lnTo>
                <a:lnTo>
                  <a:pt x="1643809" y="2484810"/>
                </a:lnTo>
                <a:lnTo>
                  <a:pt x="1643158" y="2490007"/>
                </a:lnTo>
                <a:lnTo>
                  <a:pt x="1649344" y="2499860"/>
                </a:lnTo>
                <a:lnTo>
                  <a:pt x="1649452" y="2506897"/>
                </a:lnTo>
                <a:lnTo>
                  <a:pt x="1647933" y="2508196"/>
                </a:lnTo>
                <a:lnTo>
                  <a:pt x="1647281" y="2499860"/>
                </a:lnTo>
                <a:lnTo>
                  <a:pt x="1641965" y="2492930"/>
                </a:lnTo>
                <a:lnTo>
                  <a:pt x="1641205" y="2498127"/>
                </a:lnTo>
                <a:lnTo>
                  <a:pt x="1644895" y="2501375"/>
                </a:lnTo>
                <a:lnTo>
                  <a:pt x="1647608" y="2511119"/>
                </a:lnTo>
                <a:lnTo>
                  <a:pt x="1648801" y="2514476"/>
                </a:lnTo>
                <a:lnTo>
                  <a:pt x="1647065" y="2517724"/>
                </a:lnTo>
                <a:lnTo>
                  <a:pt x="1649886" y="2521838"/>
                </a:lnTo>
                <a:lnTo>
                  <a:pt x="1650863" y="2526494"/>
                </a:lnTo>
                <a:lnTo>
                  <a:pt x="1663993" y="2540569"/>
                </a:lnTo>
                <a:lnTo>
                  <a:pt x="1666163" y="2545874"/>
                </a:lnTo>
                <a:lnTo>
                  <a:pt x="1670613" y="2552371"/>
                </a:lnTo>
                <a:lnTo>
                  <a:pt x="1670179" y="2555943"/>
                </a:lnTo>
                <a:lnTo>
                  <a:pt x="1671481" y="2559841"/>
                </a:lnTo>
                <a:lnTo>
                  <a:pt x="1681465" y="2571643"/>
                </a:lnTo>
                <a:lnTo>
                  <a:pt x="1684611" y="2575000"/>
                </a:lnTo>
                <a:lnTo>
                  <a:pt x="1686890" y="2574458"/>
                </a:lnTo>
                <a:lnTo>
                  <a:pt x="1693510" y="2574566"/>
                </a:lnTo>
                <a:lnTo>
                  <a:pt x="1695029" y="2576407"/>
                </a:lnTo>
                <a:lnTo>
                  <a:pt x="1701974" y="2579330"/>
                </a:lnTo>
                <a:lnTo>
                  <a:pt x="1707400" y="2586909"/>
                </a:lnTo>
                <a:lnTo>
                  <a:pt x="1709244" y="2592864"/>
                </a:lnTo>
                <a:lnTo>
                  <a:pt x="1714996" y="2590265"/>
                </a:lnTo>
                <a:lnTo>
                  <a:pt x="1723026" y="2588533"/>
                </a:lnTo>
                <a:lnTo>
                  <a:pt x="1725088" y="2590915"/>
                </a:lnTo>
                <a:lnTo>
                  <a:pt x="1727909" y="2590915"/>
                </a:lnTo>
                <a:lnTo>
                  <a:pt x="1737893" y="2585285"/>
                </a:lnTo>
                <a:lnTo>
                  <a:pt x="1739304" y="2583228"/>
                </a:lnTo>
                <a:lnTo>
                  <a:pt x="1747768" y="2582470"/>
                </a:lnTo>
                <a:lnTo>
                  <a:pt x="1753194" y="2582362"/>
                </a:lnTo>
                <a:lnTo>
                  <a:pt x="1757535" y="2578680"/>
                </a:lnTo>
                <a:lnTo>
                  <a:pt x="1763937" y="2578572"/>
                </a:lnTo>
                <a:lnTo>
                  <a:pt x="1769038" y="2580088"/>
                </a:lnTo>
                <a:lnTo>
                  <a:pt x="1771099" y="2577381"/>
                </a:lnTo>
                <a:lnTo>
                  <a:pt x="1777827" y="2579222"/>
                </a:lnTo>
                <a:lnTo>
                  <a:pt x="1773269" y="2581604"/>
                </a:lnTo>
                <a:lnTo>
                  <a:pt x="1771967" y="2584527"/>
                </a:lnTo>
                <a:lnTo>
                  <a:pt x="1777502" y="2587018"/>
                </a:lnTo>
                <a:lnTo>
                  <a:pt x="1780323" y="2589724"/>
                </a:lnTo>
                <a:lnTo>
                  <a:pt x="1781300" y="2587126"/>
                </a:lnTo>
                <a:lnTo>
                  <a:pt x="1784121" y="2587018"/>
                </a:lnTo>
                <a:lnTo>
                  <a:pt x="1788679" y="2581496"/>
                </a:lnTo>
                <a:lnTo>
                  <a:pt x="1788896" y="2574566"/>
                </a:lnTo>
                <a:lnTo>
                  <a:pt x="1790089" y="2570452"/>
                </a:lnTo>
                <a:lnTo>
                  <a:pt x="1785423" y="2573592"/>
                </a:lnTo>
                <a:lnTo>
                  <a:pt x="1784555" y="2572725"/>
                </a:lnTo>
                <a:lnTo>
                  <a:pt x="1795299" y="2566987"/>
                </a:lnTo>
                <a:lnTo>
                  <a:pt x="1798880" y="2566229"/>
                </a:lnTo>
                <a:lnTo>
                  <a:pt x="1803437" y="2560707"/>
                </a:lnTo>
                <a:lnTo>
                  <a:pt x="1803437" y="2552371"/>
                </a:lnTo>
                <a:lnTo>
                  <a:pt x="1812119" y="2543060"/>
                </a:lnTo>
                <a:lnTo>
                  <a:pt x="1811467" y="2541327"/>
                </a:lnTo>
                <a:lnTo>
                  <a:pt x="1812119" y="2526602"/>
                </a:lnTo>
                <a:lnTo>
                  <a:pt x="1821125" y="2516641"/>
                </a:lnTo>
                <a:lnTo>
                  <a:pt x="1817327" y="2516209"/>
                </a:lnTo>
                <a:lnTo>
                  <a:pt x="1817327" y="2512852"/>
                </a:lnTo>
                <a:lnTo>
                  <a:pt x="1832845" y="2509062"/>
                </a:lnTo>
                <a:lnTo>
                  <a:pt x="1853138" y="2509387"/>
                </a:lnTo>
                <a:lnTo>
                  <a:pt x="1856610" y="2504515"/>
                </a:lnTo>
                <a:lnTo>
                  <a:pt x="1862470" y="2503866"/>
                </a:lnTo>
                <a:lnTo>
                  <a:pt x="1864532" y="2505923"/>
                </a:lnTo>
                <a:lnTo>
                  <a:pt x="1870392" y="2503216"/>
                </a:lnTo>
                <a:lnTo>
                  <a:pt x="1870066" y="2500726"/>
                </a:lnTo>
                <a:lnTo>
                  <a:pt x="1879399" y="2500401"/>
                </a:lnTo>
                <a:lnTo>
                  <a:pt x="1890467" y="2503216"/>
                </a:lnTo>
                <a:lnTo>
                  <a:pt x="1893180" y="2502133"/>
                </a:lnTo>
                <a:lnTo>
                  <a:pt x="1892204" y="2499427"/>
                </a:lnTo>
                <a:lnTo>
                  <a:pt x="1896653" y="2498993"/>
                </a:lnTo>
                <a:lnTo>
                  <a:pt x="1903598" y="2507763"/>
                </a:lnTo>
                <a:lnTo>
                  <a:pt x="1904032" y="2513068"/>
                </a:lnTo>
                <a:lnTo>
                  <a:pt x="1900234" y="2519023"/>
                </a:lnTo>
                <a:lnTo>
                  <a:pt x="1894808" y="2528010"/>
                </a:lnTo>
                <a:lnTo>
                  <a:pt x="1884391" y="2537429"/>
                </a:lnTo>
                <a:lnTo>
                  <a:pt x="1882329" y="2540894"/>
                </a:lnTo>
                <a:lnTo>
                  <a:pt x="1881786" y="2547282"/>
                </a:lnTo>
                <a:lnTo>
                  <a:pt x="1877120" y="2550205"/>
                </a:lnTo>
                <a:lnTo>
                  <a:pt x="1875600" y="2551937"/>
                </a:lnTo>
                <a:lnTo>
                  <a:pt x="1878639" y="2554536"/>
                </a:lnTo>
                <a:lnTo>
                  <a:pt x="1882654" y="2554536"/>
                </a:lnTo>
                <a:lnTo>
                  <a:pt x="1881786" y="2557892"/>
                </a:lnTo>
                <a:lnTo>
                  <a:pt x="1876468" y="2563631"/>
                </a:lnTo>
                <a:lnTo>
                  <a:pt x="1876468" y="2565472"/>
                </a:lnTo>
                <a:lnTo>
                  <a:pt x="1878531" y="2566554"/>
                </a:lnTo>
                <a:lnTo>
                  <a:pt x="1880918" y="2564064"/>
                </a:lnTo>
                <a:lnTo>
                  <a:pt x="1883088" y="2563739"/>
                </a:lnTo>
                <a:lnTo>
                  <a:pt x="1880701" y="2567745"/>
                </a:lnTo>
                <a:lnTo>
                  <a:pt x="1876903" y="2582686"/>
                </a:lnTo>
                <a:lnTo>
                  <a:pt x="1872454" y="2590374"/>
                </a:lnTo>
                <a:lnTo>
                  <a:pt x="1871477" y="2591457"/>
                </a:lnTo>
                <a:lnTo>
                  <a:pt x="1869524" y="2587018"/>
                </a:lnTo>
                <a:lnTo>
                  <a:pt x="1864206" y="2583661"/>
                </a:lnTo>
                <a:lnTo>
                  <a:pt x="1863989" y="2582362"/>
                </a:lnTo>
                <a:lnTo>
                  <a:pt x="1866268" y="2580088"/>
                </a:lnTo>
                <a:lnTo>
                  <a:pt x="1866811" y="2575324"/>
                </a:lnTo>
                <a:lnTo>
                  <a:pt x="1863989" y="2576190"/>
                </a:lnTo>
                <a:lnTo>
                  <a:pt x="1858781" y="2582145"/>
                </a:lnTo>
                <a:lnTo>
                  <a:pt x="1854657" y="2585718"/>
                </a:lnTo>
                <a:lnTo>
                  <a:pt x="1854765" y="2585826"/>
                </a:lnTo>
                <a:lnTo>
                  <a:pt x="1854766" y="2585826"/>
                </a:lnTo>
                <a:lnTo>
                  <a:pt x="1855959" y="2587991"/>
                </a:lnTo>
                <a:lnTo>
                  <a:pt x="1858347" y="2585718"/>
                </a:lnTo>
                <a:lnTo>
                  <a:pt x="1861385" y="2585718"/>
                </a:lnTo>
                <a:lnTo>
                  <a:pt x="1861928" y="2588316"/>
                </a:lnTo>
                <a:lnTo>
                  <a:pt x="1861277" y="2590914"/>
                </a:lnTo>
                <a:lnTo>
                  <a:pt x="1860626" y="2602608"/>
                </a:lnTo>
                <a:lnTo>
                  <a:pt x="1858021" y="2606939"/>
                </a:lnTo>
                <a:lnTo>
                  <a:pt x="1856936" y="2613977"/>
                </a:lnTo>
                <a:lnTo>
                  <a:pt x="1859541" y="2616575"/>
                </a:lnTo>
                <a:lnTo>
                  <a:pt x="1859324" y="2624479"/>
                </a:lnTo>
                <a:lnTo>
                  <a:pt x="1856936" y="2630975"/>
                </a:lnTo>
                <a:lnTo>
                  <a:pt x="1850208" y="2640286"/>
                </a:lnTo>
                <a:lnTo>
                  <a:pt x="1847603" y="2638013"/>
                </a:lnTo>
                <a:lnTo>
                  <a:pt x="1843155" y="2642668"/>
                </a:lnTo>
                <a:lnTo>
                  <a:pt x="1841310" y="2646673"/>
                </a:lnTo>
                <a:lnTo>
                  <a:pt x="1842830" y="2649380"/>
                </a:lnTo>
                <a:lnTo>
                  <a:pt x="1846302" y="2649380"/>
                </a:lnTo>
                <a:lnTo>
                  <a:pt x="1850100" y="2651978"/>
                </a:lnTo>
                <a:lnTo>
                  <a:pt x="1851294" y="2649055"/>
                </a:lnTo>
                <a:lnTo>
                  <a:pt x="1855526" y="2649597"/>
                </a:lnTo>
                <a:lnTo>
                  <a:pt x="1857479" y="2651113"/>
                </a:lnTo>
                <a:lnTo>
                  <a:pt x="1857479" y="2651113"/>
                </a:lnTo>
                <a:lnTo>
                  <a:pt x="1860409" y="2653495"/>
                </a:lnTo>
                <a:lnTo>
                  <a:pt x="1866594" y="2650030"/>
                </a:lnTo>
                <a:lnTo>
                  <a:pt x="1880701" y="2649706"/>
                </a:lnTo>
                <a:lnTo>
                  <a:pt x="1890902" y="2650571"/>
                </a:lnTo>
                <a:lnTo>
                  <a:pt x="1898823" y="2648514"/>
                </a:lnTo>
                <a:lnTo>
                  <a:pt x="1902730" y="2649922"/>
                </a:lnTo>
                <a:lnTo>
                  <a:pt x="1905226" y="2648190"/>
                </a:lnTo>
                <a:lnTo>
                  <a:pt x="1908916" y="2646674"/>
                </a:lnTo>
                <a:lnTo>
                  <a:pt x="1907071" y="2645267"/>
                </a:lnTo>
                <a:lnTo>
                  <a:pt x="1908156" y="2642343"/>
                </a:lnTo>
                <a:lnTo>
                  <a:pt x="1913147" y="2644725"/>
                </a:lnTo>
                <a:lnTo>
                  <a:pt x="1918682" y="2649380"/>
                </a:lnTo>
                <a:lnTo>
                  <a:pt x="1928774" y="2649922"/>
                </a:lnTo>
                <a:lnTo>
                  <a:pt x="1939300" y="2650896"/>
                </a:lnTo>
                <a:lnTo>
                  <a:pt x="1942447" y="2653170"/>
                </a:lnTo>
                <a:lnTo>
                  <a:pt x="1943424" y="2650247"/>
                </a:lnTo>
                <a:lnTo>
                  <a:pt x="1946028" y="2651437"/>
                </a:lnTo>
                <a:lnTo>
                  <a:pt x="1949935" y="2650571"/>
                </a:lnTo>
                <a:lnTo>
                  <a:pt x="1954167" y="2650896"/>
                </a:lnTo>
                <a:lnTo>
                  <a:pt x="1960027" y="2654145"/>
                </a:lnTo>
                <a:lnTo>
                  <a:pt x="1964259" y="2657610"/>
                </a:lnTo>
                <a:lnTo>
                  <a:pt x="1963391" y="2658259"/>
                </a:lnTo>
                <a:lnTo>
                  <a:pt x="1957097" y="2656418"/>
                </a:lnTo>
                <a:lnTo>
                  <a:pt x="1953299" y="2655552"/>
                </a:lnTo>
                <a:lnTo>
                  <a:pt x="1951237" y="2656094"/>
                </a:lnTo>
                <a:lnTo>
                  <a:pt x="1951562" y="2658259"/>
                </a:lnTo>
                <a:lnTo>
                  <a:pt x="1948416" y="2659125"/>
                </a:lnTo>
                <a:lnTo>
                  <a:pt x="1947439" y="2661074"/>
                </a:lnTo>
                <a:lnTo>
                  <a:pt x="1951346" y="2661074"/>
                </a:lnTo>
                <a:lnTo>
                  <a:pt x="1955795" y="2661615"/>
                </a:lnTo>
                <a:lnTo>
                  <a:pt x="1958291" y="2663456"/>
                </a:lnTo>
                <a:lnTo>
                  <a:pt x="1964476" y="2664106"/>
                </a:lnTo>
                <a:lnTo>
                  <a:pt x="1969576" y="2664322"/>
                </a:lnTo>
                <a:lnTo>
                  <a:pt x="1967514" y="2660424"/>
                </a:lnTo>
                <a:lnTo>
                  <a:pt x="1967840" y="2659558"/>
                </a:lnTo>
                <a:lnTo>
                  <a:pt x="1973049" y="2661723"/>
                </a:lnTo>
                <a:lnTo>
                  <a:pt x="1978583" y="2666271"/>
                </a:lnTo>
                <a:lnTo>
                  <a:pt x="1979994" y="2668653"/>
                </a:lnTo>
                <a:lnTo>
                  <a:pt x="1978475" y="2670169"/>
                </a:lnTo>
                <a:lnTo>
                  <a:pt x="1976305" y="2670602"/>
                </a:lnTo>
                <a:lnTo>
                  <a:pt x="1977823" y="2670602"/>
                </a:lnTo>
                <a:lnTo>
                  <a:pt x="1976412" y="2672118"/>
                </a:lnTo>
                <a:lnTo>
                  <a:pt x="1975002" y="2674716"/>
                </a:lnTo>
                <a:lnTo>
                  <a:pt x="1975002" y="2681104"/>
                </a:lnTo>
                <a:lnTo>
                  <a:pt x="1975653" y="2685110"/>
                </a:lnTo>
                <a:lnTo>
                  <a:pt x="1974242" y="2688141"/>
                </a:lnTo>
                <a:lnTo>
                  <a:pt x="1974242" y="2690198"/>
                </a:lnTo>
                <a:lnTo>
                  <a:pt x="1976521" y="2691823"/>
                </a:lnTo>
                <a:lnTo>
                  <a:pt x="1976521" y="2694205"/>
                </a:lnTo>
                <a:lnTo>
                  <a:pt x="1974676" y="2697453"/>
                </a:lnTo>
                <a:lnTo>
                  <a:pt x="1970769" y="2702325"/>
                </a:lnTo>
                <a:lnTo>
                  <a:pt x="1969250" y="2708280"/>
                </a:lnTo>
                <a:lnTo>
                  <a:pt x="1968382" y="2706764"/>
                </a:lnTo>
                <a:lnTo>
                  <a:pt x="1966863" y="2706764"/>
                </a:lnTo>
                <a:lnTo>
                  <a:pt x="1965235" y="2708496"/>
                </a:lnTo>
                <a:lnTo>
                  <a:pt x="1965235" y="2710879"/>
                </a:lnTo>
                <a:lnTo>
                  <a:pt x="1966755" y="2711528"/>
                </a:lnTo>
                <a:lnTo>
                  <a:pt x="1968600" y="2714235"/>
                </a:lnTo>
                <a:lnTo>
                  <a:pt x="1967731" y="2716617"/>
                </a:lnTo>
                <a:lnTo>
                  <a:pt x="1967731" y="2727444"/>
                </a:lnTo>
                <a:lnTo>
                  <a:pt x="1966646" y="2736647"/>
                </a:lnTo>
                <a:lnTo>
                  <a:pt x="1964802" y="2739787"/>
                </a:lnTo>
                <a:lnTo>
                  <a:pt x="1963499" y="2739787"/>
                </a:lnTo>
                <a:lnTo>
                  <a:pt x="1963499" y="2734807"/>
                </a:lnTo>
                <a:cubicBezTo>
                  <a:pt x="1963499" y="2733940"/>
                  <a:pt x="1963499" y="2731017"/>
                  <a:pt x="1963499" y="2731017"/>
                </a:cubicBezTo>
                <a:lnTo>
                  <a:pt x="1964367" y="2729177"/>
                </a:lnTo>
                <a:lnTo>
                  <a:pt x="1962305" y="2729177"/>
                </a:lnTo>
                <a:lnTo>
                  <a:pt x="1959592" y="2736214"/>
                </a:lnTo>
                <a:lnTo>
                  <a:pt x="1959592" y="2739462"/>
                </a:lnTo>
                <a:lnTo>
                  <a:pt x="1960244" y="2742602"/>
                </a:lnTo>
                <a:lnTo>
                  <a:pt x="1957965" y="2747799"/>
                </a:lnTo>
                <a:lnTo>
                  <a:pt x="1956771" y="2751588"/>
                </a:lnTo>
                <a:lnTo>
                  <a:pt x="1956771" y="2755053"/>
                </a:lnTo>
                <a:lnTo>
                  <a:pt x="1959159" y="2753646"/>
                </a:lnTo>
                <a:lnTo>
                  <a:pt x="1959809" y="2751372"/>
                </a:lnTo>
                <a:lnTo>
                  <a:pt x="1961220" y="2748665"/>
                </a:lnTo>
                <a:lnTo>
                  <a:pt x="1961220" y="2753646"/>
                </a:lnTo>
                <a:lnTo>
                  <a:pt x="1959701" y="2757435"/>
                </a:lnTo>
                <a:lnTo>
                  <a:pt x="1956771" y="2763065"/>
                </a:lnTo>
                <a:lnTo>
                  <a:pt x="1957965" y="2768046"/>
                </a:lnTo>
                <a:lnTo>
                  <a:pt x="1960569" y="2771185"/>
                </a:lnTo>
                <a:lnTo>
                  <a:pt x="1961220" y="2774758"/>
                </a:lnTo>
                <a:lnTo>
                  <a:pt x="1958941" y="2776166"/>
                </a:lnTo>
                <a:lnTo>
                  <a:pt x="1958562" y="2776166"/>
                </a:lnTo>
                <a:lnTo>
                  <a:pt x="1957749" y="2777464"/>
                </a:lnTo>
                <a:lnTo>
                  <a:pt x="1962740" y="2777464"/>
                </a:lnTo>
                <a:lnTo>
                  <a:pt x="1963392" y="2775191"/>
                </a:lnTo>
                <a:lnTo>
                  <a:pt x="1965670" y="2774758"/>
                </a:lnTo>
                <a:lnTo>
                  <a:pt x="1967298" y="2778980"/>
                </a:lnTo>
                <a:lnTo>
                  <a:pt x="1968058" y="2784068"/>
                </a:lnTo>
                <a:lnTo>
                  <a:pt x="1970988" y="2788725"/>
                </a:lnTo>
                <a:lnTo>
                  <a:pt x="1975762" y="2793596"/>
                </a:lnTo>
                <a:lnTo>
                  <a:pt x="1977282" y="2797494"/>
                </a:lnTo>
                <a:lnTo>
                  <a:pt x="1979886" y="2800634"/>
                </a:lnTo>
                <a:lnTo>
                  <a:pt x="1983684" y="2801825"/>
                </a:lnTo>
                <a:lnTo>
                  <a:pt x="1987048" y="2804315"/>
                </a:lnTo>
                <a:lnTo>
                  <a:pt x="1987482" y="2805506"/>
                </a:lnTo>
                <a:lnTo>
                  <a:pt x="1983358" y="2805290"/>
                </a:lnTo>
                <a:lnTo>
                  <a:pt x="1981080" y="2806805"/>
                </a:lnTo>
                <a:lnTo>
                  <a:pt x="1981080" y="2806806"/>
                </a:lnTo>
                <a:lnTo>
                  <a:pt x="1983358" y="2805291"/>
                </a:lnTo>
                <a:lnTo>
                  <a:pt x="1987481" y="2805507"/>
                </a:lnTo>
                <a:lnTo>
                  <a:pt x="1988458" y="2808106"/>
                </a:lnTo>
                <a:lnTo>
                  <a:pt x="1991063" y="2810812"/>
                </a:lnTo>
                <a:lnTo>
                  <a:pt x="1993992" y="2811787"/>
                </a:lnTo>
                <a:lnTo>
                  <a:pt x="1995946" y="2811679"/>
                </a:lnTo>
                <a:lnTo>
                  <a:pt x="1997140" y="2813086"/>
                </a:lnTo>
                <a:lnTo>
                  <a:pt x="1995512" y="2813628"/>
                </a:lnTo>
                <a:lnTo>
                  <a:pt x="1994644" y="2814602"/>
                </a:lnTo>
                <a:lnTo>
                  <a:pt x="1995837" y="2816442"/>
                </a:lnTo>
                <a:lnTo>
                  <a:pt x="1999744" y="2818499"/>
                </a:lnTo>
                <a:lnTo>
                  <a:pt x="2003542" y="2817850"/>
                </a:lnTo>
                <a:lnTo>
                  <a:pt x="2003542" y="2815468"/>
                </a:lnTo>
                <a:lnTo>
                  <a:pt x="2000829" y="2813736"/>
                </a:lnTo>
                <a:lnTo>
                  <a:pt x="2002240" y="2812545"/>
                </a:lnTo>
                <a:lnTo>
                  <a:pt x="2007666" y="2815035"/>
                </a:lnTo>
                <a:lnTo>
                  <a:pt x="2016022" y="2820773"/>
                </a:lnTo>
                <a:lnTo>
                  <a:pt x="2023726" y="2821098"/>
                </a:lnTo>
                <a:lnTo>
                  <a:pt x="2027850" y="2820557"/>
                </a:lnTo>
                <a:lnTo>
                  <a:pt x="2032191" y="2816442"/>
                </a:lnTo>
                <a:lnTo>
                  <a:pt x="2046840" y="2809080"/>
                </a:lnTo>
                <a:lnTo>
                  <a:pt x="2054002" y="2807348"/>
                </a:lnTo>
                <a:lnTo>
                  <a:pt x="2060730" y="2802584"/>
                </a:lnTo>
                <a:lnTo>
                  <a:pt x="2063226" y="2802151"/>
                </a:lnTo>
                <a:lnTo>
                  <a:pt x="2066807" y="2803775"/>
                </a:lnTo>
                <a:lnTo>
                  <a:pt x="2068218" y="2806049"/>
                </a:lnTo>
                <a:lnTo>
                  <a:pt x="2071582" y="2806806"/>
                </a:lnTo>
                <a:lnTo>
                  <a:pt x="2082108" y="2806806"/>
                </a:lnTo>
                <a:lnTo>
                  <a:pt x="2087968" y="2808214"/>
                </a:lnTo>
                <a:lnTo>
                  <a:pt x="2097951" y="2814061"/>
                </a:lnTo>
                <a:lnTo>
                  <a:pt x="2102292" y="2819041"/>
                </a:lnTo>
                <a:lnTo>
                  <a:pt x="2103160" y="2821639"/>
                </a:lnTo>
                <a:lnTo>
                  <a:pt x="2106415" y="2823480"/>
                </a:lnTo>
                <a:lnTo>
                  <a:pt x="2108369" y="2825212"/>
                </a:lnTo>
                <a:lnTo>
                  <a:pt x="2107392" y="2829434"/>
                </a:lnTo>
                <a:lnTo>
                  <a:pt x="2108151" y="2832466"/>
                </a:lnTo>
                <a:lnTo>
                  <a:pt x="2110322" y="2838421"/>
                </a:lnTo>
                <a:lnTo>
                  <a:pt x="2107939" y="2842657"/>
                </a:lnTo>
                <a:lnTo>
                  <a:pt x="2110323" y="2838421"/>
                </a:lnTo>
                <a:lnTo>
                  <a:pt x="2108152" y="2832466"/>
                </a:lnTo>
                <a:lnTo>
                  <a:pt x="2107393" y="2829434"/>
                </a:lnTo>
                <a:lnTo>
                  <a:pt x="2108369" y="2825211"/>
                </a:lnTo>
                <a:lnTo>
                  <a:pt x="2113687" y="2829867"/>
                </a:lnTo>
                <a:lnTo>
                  <a:pt x="2115206" y="2834415"/>
                </a:lnTo>
                <a:lnTo>
                  <a:pt x="2118787" y="2835931"/>
                </a:lnTo>
                <a:lnTo>
                  <a:pt x="2117268" y="2838637"/>
                </a:lnTo>
                <a:lnTo>
                  <a:pt x="2116725" y="2840370"/>
                </a:lnTo>
                <a:lnTo>
                  <a:pt x="2121066" y="2843943"/>
                </a:lnTo>
                <a:lnTo>
                  <a:pt x="2123670" y="2844159"/>
                </a:lnTo>
                <a:lnTo>
                  <a:pt x="2126057" y="2838962"/>
                </a:lnTo>
                <a:lnTo>
                  <a:pt x="2126057" y="2833115"/>
                </a:lnTo>
                <a:lnTo>
                  <a:pt x="2121934" y="2828460"/>
                </a:lnTo>
                <a:lnTo>
                  <a:pt x="2120523" y="2824021"/>
                </a:lnTo>
                <a:lnTo>
                  <a:pt x="2124539" y="2823804"/>
                </a:lnTo>
                <a:lnTo>
                  <a:pt x="2127252" y="2823479"/>
                </a:lnTo>
                <a:lnTo>
                  <a:pt x="2131918" y="2816658"/>
                </a:lnTo>
                <a:lnTo>
                  <a:pt x="2134522" y="2815250"/>
                </a:lnTo>
                <a:lnTo>
                  <a:pt x="2140707" y="2809296"/>
                </a:lnTo>
                <a:lnTo>
                  <a:pt x="2144180" y="2807347"/>
                </a:lnTo>
                <a:lnTo>
                  <a:pt x="2148629" y="2807023"/>
                </a:lnTo>
                <a:lnTo>
                  <a:pt x="2152102" y="2805290"/>
                </a:lnTo>
                <a:lnTo>
                  <a:pt x="2153404" y="2800959"/>
                </a:lnTo>
                <a:lnTo>
                  <a:pt x="2152753" y="2797061"/>
                </a:lnTo>
                <a:lnTo>
                  <a:pt x="2151017" y="2795113"/>
                </a:lnTo>
                <a:lnTo>
                  <a:pt x="2149172" y="2795979"/>
                </a:lnTo>
                <a:lnTo>
                  <a:pt x="2150040" y="2792622"/>
                </a:lnTo>
                <a:lnTo>
                  <a:pt x="2156443" y="2780496"/>
                </a:lnTo>
                <a:lnTo>
                  <a:pt x="2161759" y="2774324"/>
                </a:lnTo>
                <a:lnTo>
                  <a:pt x="2163604" y="2771076"/>
                </a:lnTo>
                <a:lnTo>
                  <a:pt x="2171526" y="2766204"/>
                </a:lnTo>
                <a:lnTo>
                  <a:pt x="2174673" y="2766096"/>
                </a:lnTo>
                <a:lnTo>
                  <a:pt x="2180642" y="2768695"/>
                </a:lnTo>
                <a:lnTo>
                  <a:pt x="2185634" y="2769128"/>
                </a:lnTo>
                <a:lnTo>
                  <a:pt x="2182269" y="2770426"/>
                </a:lnTo>
                <a:lnTo>
                  <a:pt x="2182704" y="2771618"/>
                </a:lnTo>
                <a:lnTo>
                  <a:pt x="2181835" y="2775407"/>
                </a:lnTo>
                <a:lnTo>
                  <a:pt x="2184331" y="2776381"/>
                </a:lnTo>
                <a:lnTo>
                  <a:pt x="2187912" y="2773134"/>
                </a:lnTo>
                <a:lnTo>
                  <a:pt x="2188455" y="2769344"/>
                </a:lnTo>
                <a:lnTo>
                  <a:pt x="2186935" y="2765554"/>
                </a:lnTo>
                <a:lnTo>
                  <a:pt x="2186502" y="2762631"/>
                </a:lnTo>
                <a:lnTo>
                  <a:pt x="2191385" y="2760032"/>
                </a:lnTo>
                <a:lnTo>
                  <a:pt x="2199089" y="2760899"/>
                </a:lnTo>
                <a:lnTo>
                  <a:pt x="2206143" y="2760357"/>
                </a:lnTo>
                <a:lnTo>
                  <a:pt x="2212546" y="2759058"/>
                </a:lnTo>
                <a:lnTo>
                  <a:pt x="2218080" y="2755052"/>
                </a:lnTo>
                <a:lnTo>
                  <a:pt x="2226327" y="2750071"/>
                </a:lnTo>
                <a:lnTo>
                  <a:pt x="2232513" y="2747040"/>
                </a:lnTo>
                <a:lnTo>
                  <a:pt x="2234141" y="2744767"/>
                </a:lnTo>
                <a:lnTo>
                  <a:pt x="2232078" y="2742385"/>
                </a:lnTo>
                <a:lnTo>
                  <a:pt x="2233923" y="2740111"/>
                </a:lnTo>
                <a:lnTo>
                  <a:pt x="2237396" y="2738704"/>
                </a:lnTo>
                <a:lnTo>
                  <a:pt x="2241302" y="2739245"/>
                </a:lnTo>
                <a:lnTo>
                  <a:pt x="2243255" y="2737729"/>
                </a:lnTo>
                <a:lnTo>
                  <a:pt x="2246837" y="2737188"/>
                </a:lnTo>
                <a:lnTo>
                  <a:pt x="2247162" y="2735022"/>
                </a:lnTo>
                <a:lnTo>
                  <a:pt x="2248356" y="2732857"/>
                </a:lnTo>
                <a:lnTo>
                  <a:pt x="2251828" y="2733073"/>
                </a:lnTo>
                <a:lnTo>
                  <a:pt x="2260510" y="2737729"/>
                </a:lnTo>
                <a:lnTo>
                  <a:pt x="2263223" y="2741302"/>
                </a:lnTo>
                <a:lnTo>
                  <a:pt x="2262138" y="2744117"/>
                </a:lnTo>
                <a:lnTo>
                  <a:pt x="2259425" y="2746174"/>
                </a:lnTo>
                <a:lnTo>
                  <a:pt x="2258774" y="2746932"/>
                </a:lnTo>
                <a:lnTo>
                  <a:pt x="2253782" y="2752670"/>
                </a:lnTo>
                <a:lnTo>
                  <a:pt x="2248031" y="2754078"/>
                </a:lnTo>
                <a:lnTo>
                  <a:pt x="2242496" y="2756460"/>
                </a:lnTo>
                <a:lnTo>
                  <a:pt x="2241303" y="2759708"/>
                </a:lnTo>
                <a:lnTo>
                  <a:pt x="2243256" y="2763714"/>
                </a:lnTo>
                <a:lnTo>
                  <a:pt x="2247054" y="2766421"/>
                </a:lnTo>
                <a:lnTo>
                  <a:pt x="2247163" y="2769344"/>
                </a:lnTo>
                <a:lnTo>
                  <a:pt x="2246837" y="2771618"/>
                </a:lnTo>
                <a:lnTo>
                  <a:pt x="2249659" y="2776490"/>
                </a:lnTo>
                <a:lnTo>
                  <a:pt x="2249659" y="2784069"/>
                </a:lnTo>
                <a:lnTo>
                  <a:pt x="2240651" y="2793055"/>
                </a:lnTo>
                <a:lnTo>
                  <a:pt x="2240326" y="2795871"/>
                </a:lnTo>
                <a:lnTo>
                  <a:pt x="2235877" y="2799660"/>
                </a:lnTo>
                <a:lnTo>
                  <a:pt x="2237287" y="2804423"/>
                </a:lnTo>
                <a:lnTo>
                  <a:pt x="2242062" y="2809945"/>
                </a:lnTo>
                <a:lnTo>
                  <a:pt x="2242062" y="2816875"/>
                </a:lnTo>
                <a:lnTo>
                  <a:pt x="2246186" y="2817524"/>
                </a:lnTo>
                <a:lnTo>
                  <a:pt x="2254542" y="2812652"/>
                </a:lnTo>
                <a:lnTo>
                  <a:pt x="2257906" y="2805506"/>
                </a:lnTo>
                <a:lnTo>
                  <a:pt x="2255844" y="2799984"/>
                </a:lnTo>
                <a:lnTo>
                  <a:pt x="2254867" y="2793380"/>
                </a:lnTo>
                <a:lnTo>
                  <a:pt x="2254867" y="2783744"/>
                </a:lnTo>
                <a:lnTo>
                  <a:pt x="2252154" y="2778872"/>
                </a:lnTo>
                <a:lnTo>
                  <a:pt x="2252154" y="2774866"/>
                </a:lnTo>
                <a:lnTo>
                  <a:pt x="2255410" y="2770751"/>
                </a:lnTo>
                <a:lnTo>
                  <a:pt x="2265936" y="2766204"/>
                </a:lnTo>
                <a:lnTo>
                  <a:pt x="2276462" y="2764364"/>
                </a:lnTo>
                <a:lnTo>
                  <a:pt x="2281996" y="2761441"/>
                </a:lnTo>
                <a:lnTo>
                  <a:pt x="2282213" y="2759600"/>
                </a:lnTo>
                <a:lnTo>
                  <a:pt x="2283190" y="2758192"/>
                </a:lnTo>
                <a:lnTo>
                  <a:pt x="2285469" y="2759708"/>
                </a:lnTo>
                <a:lnTo>
                  <a:pt x="2290244" y="2761982"/>
                </a:lnTo>
                <a:lnTo>
                  <a:pt x="2294367" y="2760790"/>
                </a:lnTo>
                <a:lnTo>
                  <a:pt x="2295127" y="2757867"/>
                </a:lnTo>
                <a:lnTo>
                  <a:pt x="2291329" y="2753753"/>
                </a:lnTo>
                <a:lnTo>
                  <a:pt x="2286988" y="2753428"/>
                </a:lnTo>
                <a:lnTo>
                  <a:pt x="2282539" y="2755810"/>
                </a:lnTo>
                <a:lnTo>
                  <a:pt x="2280260" y="2753753"/>
                </a:lnTo>
                <a:lnTo>
                  <a:pt x="2278741" y="2748556"/>
                </a:lnTo>
                <a:lnTo>
                  <a:pt x="2285252" y="2740869"/>
                </a:lnTo>
                <a:lnTo>
                  <a:pt x="2291980" y="2738054"/>
                </a:lnTo>
                <a:lnTo>
                  <a:pt x="2294259" y="2738920"/>
                </a:lnTo>
                <a:lnTo>
                  <a:pt x="2295887" y="2746823"/>
                </a:lnTo>
                <a:lnTo>
                  <a:pt x="2295887" y="2753211"/>
                </a:lnTo>
                <a:lnTo>
                  <a:pt x="2299901" y="2759600"/>
                </a:lnTo>
                <a:lnTo>
                  <a:pt x="2303049" y="2758517"/>
                </a:lnTo>
                <a:lnTo>
                  <a:pt x="2306738" y="2758733"/>
                </a:lnTo>
                <a:lnTo>
                  <a:pt x="2311947" y="2761657"/>
                </a:lnTo>
                <a:lnTo>
                  <a:pt x="2323341" y="2760790"/>
                </a:lnTo>
                <a:lnTo>
                  <a:pt x="2327790" y="2761982"/>
                </a:lnTo>
                <a:lnTo>
                  <a:pt x="2332674" y="2768478"/>
                </a:lnTo>
                <a:lnTo>
                  <a:pt x="2333108" y="2773350"/>
                </a:lnTo>
                <a:lnTo>
                  <a:pt x="2330395" y="2773458"/>
                </a:lnTo>
                <a:lnTo>
                  <a:pt x="2330395" y="2777573"/>
                </a:lnTo>
                <a:lnTo>
                  <a:pt x="2332131" y="2781037"/>
                </a:lnTo>
                <a:lnTo>
                  <a:pt x="2336472" y="2783311"/>
                </a:lnTo>
                <a:lnTo>
                  <a:pt x="2347432" y="2783311"/>
                </a:lnTo>
                <a:lnTo>
                  <a:pt x="2370003" y="2779521"/>
                </a:lnTo>
                <a:lnTo>
                  <a:pt x="2381723" y="2778655"/>
                </a:lnTo>
                <a:lnTo>
                  <a:pt x="2384871" y="2779196"/>
                </a:lnTo>
                <a:lnTo>
                  <a:pt x="2386932" y="2783419"/>
                </a:lnTo>
                <a:lnTo>
                  <a:pt x="2397458" y="2790457"/>
                </a:lnTo>
                <a:lnTo>
                  <a:pt x="2401039" y="2791756"/>
                </a:lnTo>
                <a:lnTo>
                  <a:pt x="2403318" y="2790349"/>
                </a:lnTo>
                <a:lnTo>
                  <a:pt x="2410372" y="2789483"/>
                </a:lnTo>
                <a:lnTo>
                  <a:pt x="2412433" y="2786884"/>
                </a:lnTo>
                <a:lnTo>
                  <a:pt x="2417751" y="2784177"/>
                </a:lnTo>
                <a:lnTo>
                  <a:pt x="2422200" y="2783094"/>
                </a:lnTo>
                <a:lnTo>
                  <a:pt x="2430990" y="2776923"/>
                </a:lnTo>
                <a:lnTo>
                  <a:pt x="2435331" y="2776382"/>
                </a:lnTo>
                <a:lnTo>
                  <a:pt x="2438911" y="2777898"/>
                </a:lnTo>
                <a:lnTo>
                  <a:pt x="2449438" y="2774216"/>
                </a:lnTo>
                <a:lnTo>
                  <a:pt x="2454646" y="2774541"/>
                </a:lnTo>
                <a:lnTo>
                  <a:pt x="2462351" y="2773458"/>
                </a:lnTo>
                <a:lnTo>
                  <a:pt x="2473094" y="2775732"/>
                </a:lnTo>
                <a:lnTo>
                  <a:pt x="2479279" y="2774541"/>
                </a:lnTo>
                <a:lnTo>
                  <a:pt x="2478629" y="2778439"/>
                </a:lnTo>
                <a:lnTo>
                  <a:pt x="2471792" y="2779196"/>
                </a:lnTo>
                <a:lnTo>
                  <a:pt x="2467885" y="2781795"/>
                </a:lnTo>
                <a:lnTo>
                  <a:pt x="2457251" y="2781363"/>
                </a:lnTo>
                <a:lnTo>
                  <a:pt x="2454646" y="2783419"/>
                </a:lnTo>
                <a:lnTo>
                  <a:pt x="2455949" y="2786018"/>
                </a:lnTo>
                <a:lnTo>
                  <a:pt x="2460832" y="2788400"/>
                </a:lnTo>
                <a:lnTo>
                  <a:pt x="2462677" y="2793055"/>
                </a:lnTo>
                <a:lnTo>
                  <a:pt x="2465824" y="2797169"/>
                </a:lnTo>
                <a:lnTo>
                  <a:pt x="2465607" y="2793272"/>
                </a:lnTo>
                <a:lnTo>
                  <a:pt x="2468211" y="2793055"/>
                </a:lnTo>
                <a:lnTo>
                  <a:pt x="2473094" y="2795112"/>
                </a:lnTo>
                <a:lnTo>
                  <a:pt x="2474613" y="2797386"/>
                </a:lnTo>
                <a:lnTo>
                  <a:pt x="2479279" y="2797603"/>
                </a:lnTo>
                <a:lnTo>
                  <a:pt x="2482210" y="2799443"/>
                </a:lnTo>
                <a:lnTo>
                  <a:pt x="2484597" y="2801825"/>
                </a:lnTo>
                <a:lnTo>
                  <a:pt x="2492519" y="2803882"/>
                </a:lnTo>
                <a:lnTo>
                  <a:pt x="2499030" y="2807347"/>
                </a:lnTo>
                <a:lnTo>
                  <a:pt x="2500441" y="2811136"/>
                </a:lnTo>
                <a:lnTo>
                  <a:pt x="2500115" y="2812652"/>
                </a:lnTo>
                <a:lnTo>
                  <a:pt x="2503370" y="2814926"/>
                </a:lnTo>
                <a:lnTo>
                  <a:pt x="2502394" y="2817308"/>
                </a:lnTo>
                <a:lnTo>
                  <a:pt x="2497402" y="2821097"/>
                </a:lnTo>
                <a:lnTo>
                  <a:pt x="2495231" y="2824887"/>
                </a:lnTo>
                <a:lnTo>
                  <a:pt x="2491868" y="2827161"/>
                </a:lnTo>
                <a:lnTo>
                  <a:pt x="2489046" y="2826727"/>
                </a:lnTo>
                <a:lnTo>
                  <a:pt x="2484054" y="2827702"/>
                </a:lnTo>
                <a:lnTo>
                  <a:pt x="2486985" y="2828027"/>
                </a:lnTo>
                <a:lnTo>
                  <a:pt x="2492519" y="2828677"/>
                </a:lnTo>
                <a:lnTo>
                  <a:pt x="2500224" y="2827377"/>
                </a:lnTo>
                <a:lnTo>
                  <a:pt x="2504130" y="2825645"/>
                </a:lnTo>
                <a:lnTo>
                  <a:pt x="2506735" y="2825645"/>
                </a:lnTo>
                <a:lnTo>
                  <a:pt x="2511618" y="2826619"/>
                </a:lnTo>
                <a:lnTo>
                  <a:pt x="2514873" y="2825320"/>
                </a:lnTo>
                <a:lnTo>
                  <a:pt x="2518129" y="2825428"/>
                </a:lnTo>
                <a:lnTo>
                  <a:pt x="2527244" y="2829542"/>
                </a:lnTo>
                <a:lnTo>
                  <a:pt x="2528437" y="2830409"/>
                </a:lnTo>
                <a:lnTo>
                  <a:pt x="2529848" y="2831166"/>
                </a:lnTo>
                <a:lnTo>
                  <a:pt x="2534188" y="2832140"/>
                </a:lnTo>
                <a:lnTo>
                  <a:pt x="2538855" y="2836580"/>
                </a:lnTo>
                <a:lnTo>
                  <a:pt x="2539397" y="2840370"/>
                </a:lnTo>
                <a:lnTo>
                  <a:pt x="2545692" y="2847407"/>
                </a:lnTo>
                <a:lnTo>
                  <a:pt x="2555133" y="2853254"/>
                </a:lnTo>
                <a:lnTo>
                  <a:pt x="2558714" y="2855960"/>
                </a:lnTo>
                <a:lnTo>
                  <a:pt x="2561209" y="2863864"/>
                </a:lnTo>
                <a:lnTo>
                  <a:pt x="2559582" y="2868086"/>
                </a:lnTo>
                <a:lnTo>
                  <a:pt x="2558605" y="2875557"/>
                </a:lnTo>
                <a:lnTo>
                  <a:pt x="2559473" y="2881188"/>
                </a:lnTo>
                <a:lnTo>
                  <a:pt x="2560450" y="2876749"/>
                </a:lnTo>
                <a:lnTo>
                  <a:pt x="2563705" y="2873067"/>
                </a:lnTo>
                <a:lnTo>
                  <a:pt x="2568588" y="2871443"/>
                </a:lnTo>
                <a:lnTo>
                  <a:pt x="2571518" y="2869927"/>
                </a:lnTo>
                <a:lnTo>
                  <a:pt x="2575968" y="2873392"/>
                </a:lnTo>
                <a:lnTo>
                  <a:pt x="2583672" y="2881404"/>
                </a:lnTo>
                <a:lnTo>
                  <a:pt x="2592679" y="2883894"/>
                </a:lnTo>
                <a:lnTo>
                  <a:pt x="2594199" y="2887467"/>
                </a:lnTo>
                <a:lnTo>
                  <a:pt x="2594199" y="2893314"/>
                </a:lnTo>
                <a:lnTo>
                  <a:pt x="2595609" y="2898077"/>
                </a:lnTo>
                <a:lnTo>
                  <a:pt x="2595609" y="2898078"/>
                </a:lnTo>
                <a:lnTo>
                  <a:pt x="2596586" y="2892556"/>
                </a:lnTo>
                <a:lnTo>
                  <a:pt x="2602663" y="2890390"/>
                </a:lnTo>
                <a:lnTo>
                  <a:pt x="2613189" y="2890174"/>
                </a:lnTo>
                <a:lnTo>
                  <a:pt x="2620894" y="2892448"/>
                </a:lnTo>
                <a:lnTo>
                  <a:pt x="2630226" y="2890499"/>
                </a:lnTo>
                <a:lnTo>
                  <a:pt x="2637605" y="2891256"/>
                </a:lnTo>
                <a:lnTo>
                  <a:pt x="2641946" y="2889307"/>
                </a:lnTo>
                <a:lnTo>
                  <a:pt x="2644985" y="2888983"/>
                </a:lnTo>
                <a:lnTo>
                  <a:pt x="2654534" y="2892556"/>
                </a:lnTo>
                <a:lnTo>
                  <a:pt x="2662781" y="2893964"/>
                </a:lnTo>
                <a:lnTo>
                  <a:pt x="2667773" y="2896237"/>
                </a:lnTo>
                <a:lnTo>
                  <a:pt x="2668099" y="2899485"/>
                </a:lnTo>
                <a:lnTo>
                  <a:pt x="2663433" y="2905115"/>
                </a:lnTo>
                <a:lnTo>
                  <a:pt x="2663215" y="2905332"/>
                </a:lnTo>
                <a:lnTo>
                  <a:pt x="2661370" y="2907389"/>
                </a:lnTo>
                <a:lnTo>
                  <a:pt x="2658570" y="2911141"/>
                </a:lnTo>
                <a:lnTo>
                  <a:pt x="2661370" y="2907390"/>
                </a:lnTo>
                <a:lnTo>
                  <a:pt x="2663215" y="2905333"/>
                </a:lnTo>
                <a:lnTo>
                  <a:pt x="2663432" y="2905117"/>
                </a:lnTo>
                <a:lnTo>
                  <a:pt x="2667773" y="2902734"/>
                </a:lnTo>
                <a:lnTo>
                  <a:pt x="2672113" y="2899703"/>
                </a:lnTo>
                <a:lnTo>
                  <a:pt x="2679059" y="2900352"/>
                </a:lnTo>
                <a:lnTo>
                  <a:pt x="2685135" y="2903925"/>
                </a:lnTo>
                <a:lnTo>
                  <a:pt x="2698591" y="2907390"/>
                </a:lnTo>
                <a:lnTo>
                  <a:pt x="2704125" y="2912695"/>
                </a:lnTo>
                <a:lnTo>
                  <a:pt x="2706296" y="2913561"/>
                </a:lnTo>
                <a:lnTo>
                  <a:pt x="2714760" y="2922331"/>
                </a:lnTo>
                <a:lnTo>
                  <a:pt x="2715303" y="2926121"/>
                </a:lnTo>
                <a:lnTo>
                  <a:pt x="2718233" y="2928719"/>
                </a:lnTo>
                <a:lnTo>
                  <a:pt x="2720295" y="2926445"/>
                </a:lnTo>
                <a:lnTo>
                  <a:pt x="2724635" y="2931317"/>
                </a:lnTo>
                <a:lnTo>
                  <a:pt x="2724948" y="2937044"/>
                </a:lnTo>
                <a:lnTo>
                  <a:pt x="2725829" y="2935648"/>
                </a:lnTo>
                <a:lnTo>
                  <a:pt x="2725829" y="2931858"/>
                </a:lnTo>
                <a:lnTo>
                  <a:pt x="2727023" y="2931209"/>
                </a:lnTo>
                <a:lnTo>
                  <a:pt x="2729953" y="2936839"/>
                </a:lnTo>
                <a:lnTo>
                  <a:pt x="2730712" y="2941494"/>
                </a:lnTo>
                <a:lnTo>
                  <a:pt x="2732666" y="2943335"/>
                </a:lnTo>
                <a:lnTo>
                  <a:pt x="2733860" y="2948316"/>
                </a:lnTo>
                <a:lnTo>
                  <a:pt x="2733860" y="2953296"/>
                </a:lnTo>
                <a:lnTo>
                  <a:pt x="2737332" y="2962390"/>
                </a:lnTo>
                <a:lnTo>
                  <a:pt x="2742215" y="2969212"/>
                </a:lnTo>
                <a:lnTo>
                  <a:pt x="2747532" y="2982421"/>
                </a:lnTo>
                <a:lnTo>
                  <a:pt x="2750680" y="2991407"/>
                </a:lnTo>
                <a:lnTo>
                  <a:pt x="2752958" y="2995197"/>
                </a:lnTo>
                <a:lnTo>
                  <a:pt x="2754478" y="2993465"/>
                </a:lnTo>
                <a:lnTo>
                  <a:pt x="2759469" y="2993465"/>
                </a:lnTo>
                <a:lnTo>
                  <a:pt x="2763919" y="2996712"/>
                </a:lnTo>
                <a:lnTo>
                  <a:pt x="2763919" y="3001368"/>
                </a:lnTo>
                <a:lnTo>
                  <a:pt x="2762399" y="3002667"/>
                </a:lnTo>
                <a:lnTo>
                  <a:pt x="2761531" y="3005916"/>
                </a:lnTo>
                <a:lnTo>
                  <a:pt x="2763919" y="3009055"/>
                </a:lnTo>
                <a:lnTo>
                  <a:pt x="2761639" y="3010787"/>
                </a:lnTo>
                <a:lnTo>
                  <a:pt x="2760989" y="3013495"/>
                </a:lnTo>
                <a:lnTo>
                  <a:pt x="2750137" y="3024322"/>
                </a:lnTo>
                <a:lnTo>
                  <a:pt x="2745687" y="3031034"/>
                </a:lnTo>
                <a:lnTo>
                  <a:pt x="2742107" y="3032550"/>
                </a:lnTo>
                <a:lnTo>
                  <a:pt x="2737114" y="3036123"/>
                </a:lnTo>
                <a:lnTo>
                  <a:pt x="2732448" y="3038721"/>
                </a:lnTo>
                <a:lnTo>
                  <a:pt x="2729302" y="3043052"/>
                </a:lnTo>
                <a:lnTo>
                  <a:pt x="2727240" y="3050090"/>
                </a:lnTo>
                <a:lnTo>
                  <a:pt x="2718776" y="3060917"/>
                </a:lnTo>
                <a:lnTo>
                  <a:pt x="2718124" y="3066547"/>
                </a:lnTo>
                <a:lnTo>
                  <a:pt x="2714327" y="3073801"/>
                </a:lnTo>
                <a:lnTo>
                  <a:pt x="2718233" y="3071203"/>
                </a:lnTo>
                <a:lnTo>
                  <a:pt x="2720621" y="3065031"/>
                </a:lnTo>
                <a:lnTo>
                  <a:pt x="2723008" y="3059509"/>
                </a:lnTo>
                <a:lnTo>
                  <a:pt x="2727782" y="3055611"/>
                </a:lnTo>
                <a:lnTo>
                  <a:pt x="2730170" y="3055611"/>
                </a:lnTo>
                <a:lnTo>
                  <a:pt x="2730170" y="3059076"/>
                </a:lnTo>
                <a:lnTo>
                  <a:pt x="2728976" y="3061891"/>
                </a:lnTo>
                <a:lnTo>
                  <a:pt x="2728976" y="3066872"/>
                </a:lnTo>
                <a:lnTo>
                  <a:pt x="2723442" y="3074559"/>
                </a:lnTo>
                <a:lnTo>
                  <a:pt x="2730821" y="3066114"/>
                </a:lnTo>
                <a:lnTo>
                  <a:pt x="2736355" y="3058427"/>
                </a:lnTo>
                <a:lnTo>
                  <a:pt x="2741564" y="3056369"/>
                </a:lnTo>
                <a:lnTo>
                  <a:pt x="2743843" y="3057236"/>
                </a:lnTo>
                <a:lnTo>
                  <a:pt x="2745037" y="3060809"/>
                </a:lnTo>
                <a:lnTo>
                  <a:pt x="2746773" y="3056695"/>
                </a:lnTo>
                <a:lnTo>
                  <a:pt x="2748726" y="3055720"/>
                </a:lnTo>
                <a:lnTo>
                  <a:pt x="2751873" y="3055720"/>
                </a:lnTo>
                <a:lnTo>
                  <a:pt x="2750462" y="3053446"/>
                </a:lnTo>
                <a:lnTo>
                  <a:pt x="2748292" y="3051823"/>
                </a:lnTo>
                <a:lnTo>
                  <a:pt x="2748292" y="3049115"/>
                </a:lnTo>
                <a:lnTo>
                  <a:pt x="2754803" y="3042186"/>
                </a:lnTo>
                <a:lnTo>
                  <a:pt x="2763810" y="3042836"/>
                </a:lnTo>
                <a:lnTo>
                  <a:pt x="2772057" y="3046301"/>
                </a:lnTo>
                <a:lnTo>
                  <a:pt x="2777917" y="3046301"/>
                </a:lnTo>
                <a:lnTo>
                  <a:pt x="2784862" y="3042186"/>
                </a:lnTo>
                <a:lnTo>
                  <a:pt x="2789637" y="3042186"/>
                </a:lnTo>
                <a:lnTo>
                  <a:pt x="2794846" y="3046301"/>
                </a:lnTo>
                <a:lnTo>
                  <a:pt x="2801357" y="3047708"/>
                </a:lnTo>
                <a:lnTo>
                  <a:pt x="2801357" y="3051823"/>
                </a:lnTo>
                <a:lnTo>
                  <a:pt x="2798969" y="3055287"/>
                </a:lnTo>
                <a:lnTo>
                  <a:pt x="2798969" y="3060484"/>
                </a:lnTo>
                <a:lnTo>
                  <a:pt x="2793001" y="3064815"/>
                </a:lnTo>
                <a:lnTo>
                  <a:pt x="2793001" y="3070336"/>
                </a:lnTo>
                <a:lnTo>
                  <a:pt x="2786055" y="3072719"/>
                </a:lnTo>
                <a:lnTo>
                  <a:pt x="2781932" y="3075100"/>
                </a:lnTo>
                <a:lnTo>
                  <a:pt x="2779544" y="3075858"/>
                </a:lnTo>
                <a:lnTo>
                  <a:pt x="2777266" y="3074126"/>
                </a:lnTo>
                <a:lnTo>
                  <a:pt x="2775313" y="3074126"/>
                </a:lnTo>
                <a:lnTo>
                  <a:pt x="2771515" y="3078890"/>
                </a:lnTo>
                <a:lnTo>
                  <a:pt x="2767391" y="3079864"/>
                </a:lnTo>
                <a:lnTo>
                  <a:pt x="2760229" y="3078565"/>
                </a:lnTo>
                <a:lnTo>
                  <a:pt x="2755997" y="3079539"/>
                </a:lnTo>
                <a:lnTo>
                  <a:pt x="2751982" y="3082571"/>
                </a:lnTo>
                <a:lnTo>
                  <a:pt x="2748509" y="3082571"/>
                </a:lnTo>
                <a:lnTo>
                  <a:pt x="2751548" y="3085170"/>
                </a:lnTo>
                <a:lnTo>
                  <a:pt x="2755888" y="3084087"/>
                </a:lnTo>
                <a:lnTo>
                  <a:pt x="2761206" y="3084087"/>
                </a:lnTo>
                <a:lnTo>
                  <a:pt x="2767391" y="3085927"/>
                </a:lnTo>
                <a:lnTo>
                  <a:pt x="2773034" y="3083978"/>
                </a:lnTo>
                <a:lnTo>
                  <a:pt x="2775855" y="3083978"/>
                </a:lnTo>
                <a:lnTo>
                  <a:pt x="2775855" y="3086902"/>
                </a:lnTo>
                <a:lnTo>
                  <a:pt x="2773902" y="3092423"/>
                </a:lnTo>
                <a:lnTo>
                  <a:pt x="2774553" y="3099028"/>
                </a:lnTo>
                <a:lnTo>
                  <a:pt x="2770647" y="3102168"/>
                </a:lnTo>
                <a:lnTo>
                  <a:pt x="2767391" y="3106282"/>
                </a:lnTo>
                <a:lnTo>
                  <a:pt x="2767391" y="3110288"/>
                </a:lnTo>
                <a:lnTo>
                  <a:pt x="2770647" y="3115594"/>
                </a:lnTo>
                <a:lnTo>
                  <a:pt x="2772166" y="3121007"/>
                </a:lnTo>
                <a:lnTo>
                  <a:pt x="2773034" y="3112021"/>
                </a:lnTo>
                <a:lnTo>
                  <a:pt x="2772274" y="3107149"/>
                </a:lnTo>
                <a:lnTo>
                  <a:pt x="2772274" y="3104333"/>
                </a:lnTo>
                <a:lnTo>
                  <a:pt x="2776181" y="3100219"/>
                </a:lnTo>
                <a:lnTo>
                  <a:pt x="2778459" y="3096755"/>
                </a:lnTo>
                <a:lnTo>
                  <a:pt x="2779436" y="3090258"/>
                </a:lnTo>
                <a:lnTo>
                  <a:pt x="2782041" y="3083545"/>
                </a:lnTo>
                <a:lnTo>
                  <a:pt x="2786164" y="3078348"/>
                </a:lnTo>
                <a:lnTo>
                  <a:pt x="2794737" y="3073368"/>
                </a:lnTo>
                <a:lnTo>
                  <a:pt x="2801466" y="3069362"/>
                </a:lnTo>
                <a:lnTo>
                  <a:pt x="2806674" y="3064165"/>
                </a:lnTo>
                <a:lnTo>
                  <a:pt x="2806674" y="3061458"/>
                </a:lnTo>
                <a:lnTo>
                  <a:pt x="2809279" y="3056803"/>
                </a:lnTo>
                <a:lnTo>
                  <a:pt x="2813945" y="3054204"/>
                </a:lnTo>
                <a:lnTo>
                  <a:pt x="2819479" y="3054204"/>
                </a:lnTo>
                <a:lnTo>
                  <a:pt x="2820672" y="3057452"/>
                </a:lnTo>
                <a:lnTo>
                  <a:pt x="2822952" y="3057452"/>
                </a:lnTo>
                <a:lnTo>
                  <a:pt x="2823602" y="3054529"/>
                </a:lnTo>
                <a:lnTo>
                  <a:pt x="2826750" y="3054529"/>
                </a:lnTo>
                <a:lnTo>
                  <a:pt x="2831090" y="3057452"/>
                </a:lnTo>
                <a:lnTo>
                  <a:pt x="2832284" y="3055395"/>
                </a:lnTo>
                <a:lnTo>
                  <a:pt x="2834346" y="3055395"/>
                </a:lnTo>
                <a:lnTo>
                  <a:pt x="2841399" y="3059509"/>
                </a:lnTo>
                <a:lnTo>
                  <a:pt x="2846717" y="3061025"/>
                </a:lnTo>
                <a:lnTo>
                  <a:pt x="2849647" y="3059834"/>
                </a:lnTo>
                <a:lnTo>
                  <a:pt x="2851383" y="3063299"/>
                </a:lnTo>
                <a:lnTo>
                  <a:pt x="2853987" y="3064815"/>
                </a:lnTo>
                <a:lnTo>
                  <a:pt x="2853987" y="3066872"/>
                </a:lnTo>
                <a:lnTo>
                  <a:pt x="2855832" y="3064489"/>
                </a:lnTo>
                <a:lnTo>
                  <a:pt x="2859088" y="3065681"/>
                </a:lnTo>
                <a:lnTo>
                  <a:pt x="2860932" y="3068063"/>
                </a:lnTo>
                <a:lnTo>
                  <a:pt x="2864730" y="3068063"/>
                </a:lnTo>
                <a:lnTo>
                  <a:pt x="2867443" y="3070228"/>
                </a:lnTo>
                <a:lnTo>
                  <a:pt x="2868420" y="3073693"/>
                </a:lnTo>
                <a:lnTo>
                  <a:pt x="2870698" y="3075100"/>
                </a:lnTo>
                <a:lnTo>
                  <a:pt x="2872218" y="3078673"/>
                </a:lnTo>
                <a:lnTo>
                  <a:pt x="2875256" y="3077158"/>
                </a:lnTo>
                <a:lnTo>
                  <a:pt x="2878404" y="3073152"/>
                </a:lnTo>
                <a:lnTo>
                  <a:pt x="2883720" y="3074017"/>
                </a:lnTo>
                <a:lnTo>
                  <a:pt x="2887302" y="3074017"/>
                </a:lnTo>
                <a:lnTo>
                  <a:pt x="2891100" y="3079972"/>
                </a:lnTo>
                <a:lnTo>
                  <a:pt x="2897611" y="3087010"/>
                </a:lnTo>
                <a:lnTo>
                  <a:pt x="2892619" y="3092640"/>
                </a:lnTo>
                <a:lnTo>
                  <a:pt x="2896418" y="3092640"/>
                </a:lnTo>
                <a:lnTo>
                  <a:pt x="2898154" y="3094156"/>
                </a:lnTo>
                <a:lnTo>
                  <a:pt x="2896091" y="3096105"/>
                </a:lnTo>
                <a:lnTo>
                  <a:pt x="2893705" y="3103792"/>
                </a:lnTo>
                <a:lnTo>
                  <a:pt x="2894573" y="3109097"/>
                </a:lnTo>
                <a:lnTo>
                  <a:pt x="2893053" y="3115160"/>
                </a:lnTo>
                <a:lnTo>
                  <a:pt x="2894464" y="3121115"/>
                </a:lnTo>
                <a:lnTo>
                  <a:pt x="2894464" y="3114727"/>
                </a:lnTo>
                <a:lnTo>
                  <a:pt x="2898371" y="3107149"/>
                </a:lnTo>
                <a:lnTo>
                  <a:pt x="2898371" y="3102709"/>
                </a:lnTo>
                <a:lnTo>
                  <a:pt x="2900758" y="3101735"/>
                </a:lnTo>
                <a:lnTo>
                  <a:pt x="2902169" y="3105308"/>
                </a:lnTo>
                <a:lnTo>
                  <a:pt x="2904556" y="3109422"/>
                </a:lnTo>
                <a:lnTo>
                  <a:pt x="2905207" y="3103792"/>
                </a:lnTo>
                <a:lnTo>
                  <a:pt x="2906835" y="3101410"/>
                </a:lnTo>
                <a:lnTo>
                  <a:pt x="2911393" y="3099244"/>
                </a:lnTo>
                <a:lnTo>
                  <a:pt x="2912152" y="3097296"/>
                </a:lnTo>
                <a:lnTo>
                  <a:pt x="2913346" y="3096646"/>
                </a:lnTo>
                <a:lnTo>
                  <a:pt x="2916059" y="3098162"/>
                </a:lnTo>
                <a:lnTo>
                  <a:pt x="2917144" y="3096862"/>
                </a:lnTo>
                <a:lnTo>
                  <a:pt x="2916059" y="3094156"/>
                </a:lnTo>
                <a:lnTo>
                  <a:pt x="2916059" y="3092749"/>
                </a:lnTo>
                <a:lnTo>
                  <a:pt x="2921050" y="3092749"/>
                </a:lnTo>
                <a:lnTo>
                  <a:pt x="2934181" y="3098920"/>
                </a:lnTo>
                <a:lnTo>
                  <a:pt x="2940149" y="3100003"/>
                </a:lnTo>
                <a:lnTo>
                  <a:pt x="2942429" y="3100003"/>
                </a:lnTo>
                <a:lnTo>
                  <a:pt x="2949482" y="3102709"/>
                </a:lnTo>
                <a:lnTo>
                  <a:pt x="2950893" y="3101735"/>
                </a:lnTo>
                <a:lnTo>
                  <a:pt x="2950025" y="3099353"/>
                </a:lnTo>
                <a:lnTo>
                  <a:pt x="2952846" y="3100111"/>
                </a:lnTo>
                <a:lnTo>
                  <a:pt x="2953497" y="3102493"/>
                </a:lnTo>
                <a:lnTo>
                  <a:pt x="2957295" y="3105633"/>
                </a:lnTo>
                <a:lnTo>
                  <a:pt x="2957295" y="3103251"/>
                </a:lnTo>
                <a:lnTo>
                  <a:pt x="2958381" y="3100111"/>
                </a:lnTo>
                <a:lnTo>
                  <a:pt x="2961093" y="3102493"/>
                </a:lnTo>
                <a:lnTo>
                  <a:pt x="2962179" y="3100435"/>
                </a:lnTo>
                <a:lnTo>
                  <a:pt x="2968690" y="3105308"/>
                </a:lnTo>
                <a:lnTo>
                  <a:pt x="2971402" y="3108015"/>
                </a:lnTo>
                <a:lnTo>
                  <a:pt x="2973464" y="3104875"/>
                </a:lnTo>
                <a:lnTo>
                  <a:pt x="2977913" y="3102817"/>
                </a:lnTo>
                <a:lnTo>
                  <a:pt x="2982037" y="3104875"/>
                </a:lnTo>
                <a:lnTo>
                  <a:pt x="2988982" y="3104875"/>
                </a:lnTo>
                <a:lnTo>
                  <a:pt x="2993431" y="3102493"/>
                </a:lnTo>
                <a:lnTo>
                  <a:pt x="3000702" y="3105633"/>
                </a:lnTo>
                <a:lnTo>
                  <a:pt x="3007213" y="3105633"/>
                </a:lnTo>
                <a:lnTo>
                  <a:pt x="3021754" y="3116460"/>
                </a:lnTo>
                <a:lnTo>
                  <a:pt x="3026963" y="3116460"/>
                </a:lnTo>
                <a:lnTo>
                  <a:pt x="3032822" y="3121982"/>
                </a:lnTo>
                <a:lnTo>
                  <a:pt x="3036946" y="3123064"/>
                </a:lnTo>
                <a:lnTo>
                  <a:pt x="3045519" y="3135082"/>
                </a:lnTo>
                <a:lnTo>
                  <a:pt x="3056371" y="3146451"/>
                </a:lnTo>
                <a:lnTo>
                  <a:pt x="3061254" y="3147100"/>
                </a:lnTo>
                <a:lnTo>
                  <a:pt x="3068199" y="3150565"/>
                </a:lnTo>
                <a:lnTo>
                  <a:pt x="3073408" y="3156412"/>
                </a:lnTo>
                <a:lnTo>
                  <a:pt x="3078617" y="3157386"/>
                </a:lnTo>
                <a:lnTo>
                  <a:pt x="3083066" y="3163557"/>
                </a:lnTo>
                <a:lnTo>
                  <a:pt x="3089576" y="3160742"/>
                </a:lnTo>
                <a:lnTo>
                  <a:pt x="3098583" y="3160742"/>
                </a:lnTo>
                <a:lnTo>
                  <a:pt x="3114101" y="3167671"/>
                </a:lnTo>
                <a:lnTo>
                  <a:pt x="3115512" y="3175251"/>
                </a:lnTo>
                <a:lnTo>
                  <a:pt x="3115512" y="3181422"/>
                </a:lnTo>
                <a:lnTo>
                  <a:pt x="3123760" y="3199720"/>
                </a:lnTo>
                <a:lnTo>
                  <a:pt x="3124845" y="3205566"/>
                </a:lnTo>
                <a:lnTo>
                  <a:pt x="3127558" y="3207299"/>
                </a:lnTo>
                <a:lnTo>
                  <a:pt x="3128317" y="3219100"/>
                </a:lnTo>
                <a:lnTo>
                  <a:pt x="3125713" y="3221373"/>
                </a:lnTo>
                <a:lnTo>
                  <a:pt x="3124519" y="3226138"/>
                </a:lnTo>
                <a:lnTo>
                  <a:pt x="3127666" y="3230793"/>
                </a:lnTo>
                <a:lnTo>
                  <a:pt x="3127666" y="3234908"/>
                </a:lnTo>
                <a:lnTo>
                  <a:pt x="3124736" y="3239022"/>
                </a:lnTo>
                <a:lnTo>
                  <a:pt x="3123217" y="3244652"/>
                </a:lnTo>
                <a:lnTo>
                  <a:pt x="3117357" y="3257537"/>
                </a:lnTo>
                <a:lnTo>
                  <a:pt x="3114969" y="3261001"/>
                </a:lnTo>
                <a:lnTo>
                  <a:pt x="3105528" y="3273777"/>
                </a:lnTo>
                <a:lnTo>
                  <a:pt x="3094677" y="3283413"/>
                </a:lnTo>
                <a:lnTo>
                  <a:pt x="3091964" y="3287852"/>
                </a:lnTo>
                <a:lnTo>
                  <a:pt x="3087841" y="3289801"/>
                </a:lnTo>
                <a:lnTo>
                  <a:pt x="3086322" y="3293915"/>
                </a:lnTo>
                <a:lnTo>
                  <a:pt x="3073733" y="3302469"/>
                </a:lnTo>
                <a:lnTo>
                  <a:pt x="3070261" y="3309506"/>
                </a:lnTo>
                <a:lnTo>
                  <a:pt x="3067223" y="3316761"/>
                </a:lnTo>
                <a:lnTo>
                  <a:pt x="3064075" y="3319467"/>
                </a:lnTo>
                <a:lnTo>
                  <a:pt x="3062882" y="3324989"/>
                </a:lnTo>
                <a:lnTo>
                  <a:pt x="3059300" y="3334084"/>
                </a:lnTo>
                <a:lnTo>
                  <a:pt x="3051162" y="3346426"/>
                </a:lnTo>
                <a:lnTo>
                  <a:pt x="3044760" y="3349675"/>
                </a:lnTo>
                <a:lnTo>
                  <a:pt x="3040094" y="3354005"/>
                </a:lnTo>
                <a:lnTo>
                  <a:pt x="3037706" y="3354005"/>
                </a:lnTo>
                <a:lnTo>
                  <a:pt x="3038574" y="3351082"/>
                </a:lnTo>
                <a:lnTo>
                  <a:pt x="3042047" y="3348483"/>
                </a:lnTo>
                <a:lnTo>
                  <a:pt x="3044651" y="3344910"/>
                </a:lnTo>
                <a:lnTo>
                  <a:pt x="3042264" y="3343720"/>
                </a:lnTo>
                <a:lnTo>
                  <a:pt x="3040853" y="3340797"/>
                </a:lnTo>
                <a:lnTo>
                  <a:pt x="3037597" y="3340797"/>
                </a:lnTo>
                <a:lnTo>
                  <a:pt x="3036187" y="3345993"/>
                </a:lnTo>
                <a:lnTo>
                  <a:pt x="3032714" y="3344803"/>
                </a:lnTo>
                <a:lnTo>
                  <a:pt x="3028916" y="3342529"/>
                </a:lnTo>
                <a:lnTo>
                  <a:pt x="3027722" y="3339930"/>
                </a:lnTo>
                <a:lnTo>
                  <a:pt x="3026854" y="3341987"/>
                </a:lnTo>
                <a:lnTo>
                  <a:pt x="3025010" y="3343503"/>
                </a:lnTo>
                <a:lnTo>
                  <a:pt x="3031412" y="3346426"/>
                </a:lnTo>
                <a:lnTo>
                  <a:pt x="3034667" y="3351732"/>
                </a:lnTo>
                <a:lnTo>
                  <a:pt x="3034016" y="3357362"/>
                </a:lnTo>
                <a:lnTo>
                  <a:pt x="3030869" y="3358228"/>
                </a:lnTo>
                <a:lnTo>
                  <a:pt x="3030001" y="3361801"/>
                </a:lnTo>
                <a:lnTo>
                  <a:pt x="3030869" y="3367106"/>
                </a:lnTo>
                <a:lnTo>
                  <a:pt x="3027396" y="3372411"/>
                </a:lnTo>
                <a:lnTo>
                  <a:pt x="3027396" y="3375118"/>
                </a:lnTo>
                <a:lnTo>
                  <a:pt x="3031195" y="3377825"/>
                </a:lnTo>
                <a:lnTo>
                  <a:pt x="3033256" y="3375552"/>
                </a:lnTo>
                <a:lnTo>
                  <a:pt x="3033256" y="3379882"/>
                </a:lnTo>
                <a:lnTo>
                  <a:pt x="3031303" y="3384430"/>
                </a:lnTo>
                <a:lnTo>
                  <a:pt x="3031303" y="3390384"/>
                </a:lnTo>
                <a:lnTo>
                  <a:pt x="3033691" y="3422866"/>
                </a:lnTo>
                <a:lnTo>
                  <a:pt x="3031629" y="3431852"/>
                </a:lnTo>
                <a:lnTo>
                  <a:pt x="3031629" y="3435317"/>
                </a:lnTo>
                <a:lnTo>
                  <a:pt x="3030218" y="3441488"/>
                </a:lnTo>
                <a:lnTo>
                  <a:pt x="3031303" y="3449717"/>
                </a:lnTo>
                <a:lnTo>
                  <a:pt x="3027505" y="3460544"/>
                </a:lnTo>
                <a:lnTo>
                  <a:pt x="3029350" y="3469421"/>
                </a:lnTo>
                <a:lnTo>
                  <a:pt x="3028373" y="3472129"/>
                </a:lnTo>
                <a:lnTo>
                  <a:pt x="3021320" y="3477759"/>
                </a:lnTo>
                <a:lnTo>
                  <a:pt x="3021320" y="3480898"/>
                </a:lnTo>
                <a:lnTo>
                  <a:pt x="3018932" y="3484471"/>
                </a:lnTo>
                <a:lnTo>
                  <a:pt x="3016002" y="3493566"/>
                </a:lnTo>
                <a:lnTo>
                  <a:pt x="3017088" y="3495839"/>
                </a:lnTo>
                <a:lnTo>
                  <a:pt x="3018932" y="3510998"/>
                </a:lnTo>
                <a:lnTo>
                  <a:pt x="3018932" y="3515761"/>
                </a:lnTo>
                <a:lnTo>
                  <a:pt x="3009817" y="3526589"/>
                </a:lnTo>
                <a:lnTo>
                  <a:pt x="3003089" y="3537416"/>
                </a:lnTo>
                <a:lnTo>
                  <a:pt x="3004283" y="3538065"/>
                </a:lnTo>
                <a:lnTo>
                  <a:pt x="3003415" y="3542830"/>
                </a:lnTo>
                <a:lnTo>
                  <a:pt x="2999399" y="3545644"/>
                </a:lnTo>
                <a:lnTo>
                  <a:pt x="2997121" y="3547485"/>
                </a:lnTo>
                <a:lnTo>
                  <a:pt x="2997121" y="3552140"/>
                </a:lnTo>
                <a:lnTo>
                  <a:pt x="2993756" y="3556255"/>
                </a:lnTo>
                <a:lnTo>
                  <a:pt x="2990826" y="3562426"/>
                </a:lnTo>
                <a:lnTo>
                  <a:pt x="2994842" y="3571521"/>
                </a:lnTo>
                <a:lnTo>
                  <a:pt x="2996144" y="3573362"/>
                </a:lnTo>
                <a:lnTo>
                  <a:pt x="2994733" y="3576285"/>
                </a:lnTo>
                <a:lnTo>
                  <a:pt x="2990067" y="3579100"/>
                </a:lnTo>
                <a:lnTo>
                  <a:pt x="2981060" y="3582348"/>
                </a:lnTo>
                <a:lnTo>
                  <a:pt x="2970208" y="3589711"/>
                </a:lnTo>
                <a:lnTo>
                  <a:pt x="2969558" y="3592093"/>
                </a:lnTo>
                <a:lnTo>
                  <a:pt x="2970751" y="3593283"/>
                </a:lnTo>
                <a:lnTo>
                  <a:pt x="2970751" y="3595666"/>
                </a:lnTo>
                <a:lnTo>
                  <a:pt x="2965977" y="3598913"/>
                </a:lnTo>
                <a:lnTo>
                  <a:pt x="2958054" y="3598047"/>
                </a:lnTo>
                <a:lnTo>
                  <a:pt x="2951543" y="3598047"/>
                </a:lnTo>
                <a:lnTo>
                  <a:pt x="2947637" y="3600213"/>
                </a:lnTo>
                <a:lnTo>
                  <a:pt x="2940692" y="3599239"/>
                </a:lnTo>
                <a:cubicBezTo>
                  <a:pt x="2940041" y="3599130"/>
                  <a:pt x="2940041" y="3595124"/>
                  <a:pt x="2940041" y="3595124"/>
                </a:cubicBezTo>
                <a:lnTo>
                  <a:pt x="2941017" y="3592417"/>
                </a:lnTo>
                <a:lnTo>
                  <a:pt x="2938304" y="3592417"/>
                </a:lnTo>
                <a:lnTo>
                  <a:pt x="2935375" y="3594907"/>
                </a:lnTo>
                <a:lnTo>
                  <a:pt x="2936351" y="3596748"/>
                </a:lnTo>
                <a:lnTo>
                  <a:pt x="2925500" y="3601187"/>
                </a:lnTo>
                <a:lnTo>
                  <a:pt x="2916276" y="3604652"/>
                </a:lnTo>
                <a:lnTo>
                  <a:pt x="2914323" y="3603136"/>
                </a:lnTo>
                <a:lnTo>
                  <a:pt x="2915516" y="3601729"/>
                </a:lnTo>
                <a:lnTo>
                  <a:pt x="2921593" y="3600538"/>
                </a:lnTo>
                <a:lnTo>
                  <a:pt x="2927345" y="3597289"/>
                </a:lnTo>
                <a:lnTo>
                  <a:pt x="2927345" y="3595340"/>
                </a:lnTo>
                <a:lnTo>
                  <a:pt x="2923329" y="3595340"/>
                </a:lnTo>
                <a:lnTo>
                  <a:pt x="2920399" y="3597614"/>
                </a:lnTo>
                <a:lnTo>
                  <a:pt x="2916384" y="3597614"/>
                </a:lnTo>
                <a:lnTo>
                  <a:pt x="2912803" y="3596640"/>
                </a:lnTo>
                <a:lnTo>
                  <a:pt x="2906618" y="3600429"/>
                </a:lnTo>
                <a:lnTo>
                  <a:pt x="2903037" y="3601296"/>
                </a:lnTo>
                <a:lnTo>
                  <a:pt x="2904556" y="3604218"/>
                </a:lnTo>
                <a:lnTo>
                  <a:pt x="2907812" y="3604869"/>
                </a:lnTo>
                <a:lnTo>
                  <a:pt x="2910199" y="3606384"/>
                </a:lnTo>
                <a:lnTo>
                  <a:pt x="2910199" y="3608225"/>
                </a:lnTo>
                <a:lnTo>
                  <a:pt x="2906292" y="3609416"/>
                </a:lnTo>
                <a:lnTo>
                  <a:pt x="2896091" y="3615803"/>
                </a:lnTo>
                <a:lnTo>
                  <a:pt x="2892511" y="3622192"/>
                </a:lnTo>
                <a:lnTo>
                  <a:pt x="2892511" y="3625657"/>
                </a:lnTo>
                <a:lnTo>
                  <a:pt x="2888930" y="3624790"/>
                </a:lnTo>
                <a:lnTo>
                  <a:pt x="2885782" y="3622192"/>
                </a:lnTo>
                <a:lnTo>
                  <a:pt x="2879706" y="3622192"/>
                </a:lnTo>
                <a:lnTo>
                  <a:pt x="2874497" y="3626306"/>
                </a:lnTo>
                <a:lnTo>
                  <a:pt x="2869831" y="3630745"/>
                </a:lnTo>
                <a:lnTo>
                  <a:pt x="2861257" y="3631828"/>
                </a:lnTo>
                <a:lnTo>
                  <a:pt x="2851491" y="3642655"/>
                </a:lnTo>
                <a:lnTo>
                  <a:pt x="2844112" y="3647419"/>
                </a:lnTo>
                <a:lnTo>
                  <a:pt x="2837710" y="3652940"/>
                </a:lnTo>
                <a:lnTo>
                  <a:pt x="2837710" y="3655322"/>
                </a:lnTo>
                <a:lnTo>
                  <a:pt x="2833261" y="3658246"/>
                </a:lnTo>
                <a:lnTo>
                  <a:pt x="2825664" y="3665283"/>
                </a:lnTo>
                <a:lnTo>
                  <a:pt x="2823277" y="3663443"/>
                </a:lnTo>
                <a:lnTo>
                  <a:pt x="2820130" y="3667882"/>
                </a:lnTo>
                <a:lnTo>
                  <a:pt x="2815355" y="3669289"/>
                </a:lnTo>
                <a:lnTo>
                  <a:pt x="2821215" y="3671888"/>
                </a:lnTo>
                <a:lnTo>
                  <a:pt x="2821215" y="3676544"/>
                </a:lnTo>
                <a:lnTo>
                  <a:pt x="2815573" y="3677952"/>
                </a:lnTo>
                <a:lnTo>
                  <a:pt x="2818502" y="3679683"/>
                </a:lnTo>
                <a:lnTo>
                  <a:pt x="2820021" y="3683689"/>
                </a:lnTo>
                <a:lnTo>
                  <a:pt x="2813945" y="3684880"/>
                </a:lnTo>
                <a:lnTo>
                  <a:pt x="2812100" y="3686613"/>
                </a:lnTo>
                <a:lnTo>
                  <a:pt x="2814487" y="3693867"/>
                </a:lnTo>
                <a:lnTo>
                  <a:pt x="2816006" y="3700688"/>
                </a:lnTo>
                <a:lnTo>
                  <a:pt x="2816874" y="3703828"/>
                </a:lnTo>
                <a:lnTo>
                  <a:pt x="2816006" y="3706751"/>
                </a:lnTo>
                <a:lnTo>
                  <a:pt x="2816006" y="3709675"/>
                </a:lnTo>
                <a:lnTo>
                  <a:pt x="2820672" y="3716171"/>
                </a:lnTo>
                <a:lnTo>
                  <a:pt x="2820672" y="3720934"/>
                </a:lnTo>
                <a:lnTo>
                  <a:pt x="2821758" y="3722558"/>
                </a:lnTo>
                <a:lnTo>
                  <a:pt x="2822843" y="3723966"/>
                </a:lnTo>
                <a:lnTo>
                  <a:pt x="2821758" y="3727106"/>
                </a:lnTo>
                <a:lnTo>
                  <a:pt x="2822843" y="3731436"/>
                </a:lnTo>
                <a:lnTo>
                  <a:pt x="2819696" y="3733278"/>
                </a:lnTo>
                <a:lnTo>
                  <a:pt x="2817959" y="3738583"/>
                </a:lnTo>
                <a:lnTo>
                  <a:pt x="2815681" y="3739232"/>
                </a:lnTo>
                <a:lnTo>
                  <a:pt x="2815681" y="3742480"/>
                </a:lnTo>
                <a:lnTo>
                  <a:pt x="2816766" y="3743779"/>
                </a:lnTo>
                <a:lnTo>
                  <a:pt x="2815030" y="3747569"/>
                </a:lnTo>
                <a:lnTo>
                  <a:pt x="2804178" y="3760237"/>
                </a:lnTo>
                <a:lnTo>
                  <a:pt x="2793327" y="3780916"/>
                </a:lnTo>
                <a:lnTo>
                  <a:pt x="2788986" y="3793259"/>
                </a:lnTo>
                <a:lnTo>
                  <a:pt x="2784645" y="3802896"/>
                </a:lnTo>
                <a:lnTo>
                  <a:pt x="2773793" y="3821951"/>
                </a:lnTo>
                <a:lnTo>
                  <a:pt x="2766089" y="3830721"/>
                </a:lnTo>
                <a:lnTo>
                  <a:pt x="2750897" y="3842522"/>
                </a:lnTo>
                <a:lnTo>
                  <a:pt x="2746231" y="3841115"/>
                </a:lnTo>
                <a:lnTo>
                  <a:pt x="2746231" y="3838516"/>
                </a:lnTo>
                <a:lnTo>
                  <a:pt x="2748184" y="3836676"/>
                </a:lnTo>
                <a:lnTo>
                  <a:pt x="2752090" y="3836026"/>
                </a:lnTo>
                <a:lnTo>
                  <a:pt x="2752090" y="3833428"/>
                </a:lnTo>
                <a:lnTo>
                  <a:pt x="2755671" y="3830288"/>
                </a:lnTo>
                <a:lnTo>
                  <a:pt x="2760663" y="3827581"/>
                </a:lnTo>
                <a:lnTo>
                  <a:pt x="2762182" y="3827581"/>
                </a:lnTo>
                <a:lnTo>
                  <a:pt x="2763919" y="3824333"/>
                </a:lnTo>
                <a:lnTo>
                  <a:pt x="2764569" y="3818270"/>
                </a:lnTo>
                <a:lnTo>
                  <a:pt x="2769562" y="3818270"/>
                </a:lnTo>
                <a:lnTo>
                  <a:pt x="2775096" y="3808742"/>
                </a:lnTo>
                <a:lnTo>
                  <a:pt x="2777375" y="3800513"/>
                </a:lnTo>
                <a:lnTo>
                  <a:pt x="2779219" y="3800513"/>
                </a:lnTo>
                <a:lnTo>
                  <a:pt x="2779219" y="3796399"/>
                </a:lnTo>
                <a:lnTo>
                  <a:pt x="2777700" y="3794884"/>
                </a:lnTo>
                <a:lnTo>
                  <a:pt x="2775313" y="3796291"/>
                </a:lnTo>
                <a:lnTo>
                  <a:pt x="2773034" y="3796291"/>
                </a:lnTo>
                <a:lnTo>
                  <a:pt x="2767391" y="3790120"/>
                </a:lnTo>
                <a:lnTo>
                  <a:pt x="2764678" y="3784489"/>
                </a:lnTo>
                <a:lnTo>
                  <a:pt x="2762291" y="3783840"/>
                </a:lnTo>
                <a:lnTo>
                  <a:pt x="2764352" y="3785680"/>
                </a:lnTo>
                <a:lnTo>
                  <a:pt x="2764352" y="3792935"/>
                </a:lnTo>
                <a:lnTo>
                  <a:pt x="2766957" y="3795641"/>
                </a:lnTo>
                <a:lnTo>
                  <a:pt x="2768150" y="3799105"/>
                </a:lnTo>
                <a:lnTo>
                  <a:pt x="2766414" y="3803761"/>
                </a:lnTo>
                <a:lnTo>
                  <a:pt x="2762616" y="3803761"/>
                </a:lnTo>
                <a:lnTo>
                  <a:pt x="2760880" y="3806035"/>
                </a:lnTo>
                <a:lnTo>
                  <a:pt x="2760880" y="3811557"/>
                </a:lnTo>
                <a:lnTo>
                  <a:pt x="2759361" y="3813181"/>
                </a:lnTo>
                <a:lnTo>
                  <a:pt x="2759361" y="3817945"/>
                </a:lnTo>
                <a:lnTo>
                  <a:pt x="2755346" y="3822600"/>
                </a:lnTo>
                <a:lnTo>
                  <a:pt x="2752090" y="3822600"/>
                </a:lnTo>
                <a:lnTo>
                  <a:pt x="2749703" y="3820652"/>
                </a:lnTo>
                <a:lnTo>
                  <a:pt x="2749703" y="3824116"/>
                </a:lnTo>
                <a:lnTo>
                  <a:pt x="2745687" y="3828555"/>
                </a:lnTo>
                <a:lnTo>
                  <a:pt x="2745687" y="3831587"/>
                </a:lnTo>
                <a:lnTo>
                  <a:pt x="2742215" y="3833320"/>
                </a:lnTo>
                <a:lnTo>
                  <a:pt x="2740479" y="3838083"/>
                </a:lnTo>
                <a:lnTo>
                  <a:pt x="2743951" y="3843714"/>
                </a:lnTo>
                <a:lnTo>
                  <a:pt x="2746013" y="3846312"/>
                </a:lnTo>
                <a:lnTo>
                  <a:pt x="2744494" y="3848585"/>
                </a:lnTo>
                <a:lnTo>
                  <a:pt x="2740913" y="3859412"/>
                </a:lnTo>
                <a:lnTo>
                  <a:pt x="2736898" y="3876087"/>
                </a:lnTo>
                <a:lnTo>
                  <a:pt x="2733860" y="3883340"/>
                </a:lnTo>
                <a:lnTo>
                  <a:pt x="2725178" y="3890486"/>
                </a:lnTo>
                <a:lnTo>
                  <a:pt x="2723876" y="3889403"/>
                </a:lnTo>
                <a:lnTo>
                  <a:pt x="2721054" y="3885722"/>
                </a:lnTo>
                <a:lnTo>
                  <a:pt x="2720403" y="3884531"/>
                </a:lnTo>
                <a:lnTo>
                  <a:pt x="2719535" y="3882799"/>
                </a:lnTo>
                <a:lnTo>
                  <a:pt x="2717256" y="3875545"/>
                </a:lnTo>
                <a:lnTo>
                  <a:pt x="2721706" y="3869374"/>
                </a:lnTo>
                <a:lnTo>
                  <a:pt x="2722672" y="3862727"/>
                </a:lnTo>
                <a:lnTo>
                  <a:pt x="2721598" y="3869373"/>
                </a:lnTo>
                <a:lnTo>
                  <a:pt x="2717148" y="3875546"/>
                </a:lnTo>
                <a:lnTo>
                  <a:pt x="2719427" y="3882799"/>
                </a:lnTo>
                <a:lnTo>
                  <a:pt x="2720295" y="3884532"/>
                </a:lnTo>
                <a:lnTo>
                  <a:pt x="2720946" y="3885723"/>
                </a:lnTo>
                <a:lnTo>
                  <a:pt x="2723659" y="3889512"/>
                </a:lnTo>
                <a:lnTo>
                  <a:pt x="2725070" y="3890595"/>
                </a:lnTo>
                <a:lnTo>
                  <a:pt x="2723008" y="3892218"/>
                </a:lnTo>
                <a:lnTo>
                  <a:pt x="2719210" y="3896658"/>
                </a:lnTo>
                <a:lnTo>
                  <a:pt x="2719210" y="3903371"/>
                </a:lnTo>
                <a:lnTo>
                  <a:pt x="2714652" y="3907701"/>
                </a:lnTo>
                <a:lnTo>
                  <a:pt x="2712265" y="3911383"/>
                </a:lnTo>
                <a:lnTo>
                  <a:pt x="2713134" y="3912140"/>
                </a:lnTo>
                <a:lnTo>
                  <a:pt x="2711614" y="3914631"/>
                </a:lnTo>
                <a:lnTo>
                  <a:pt x="2705863" y="3921344"/>
                </a:lnTo>
                <a:lnTo>
                  <a:pt x="2696965" y="3924592"/>
                </a:lnTo>
                <a:lnTo>
                  <a:pt x="2694902" y="3922860"/>
                </a:lnTo>
                <a:lnTo>
                  <a:pt x="2693709" y="3923726"/>
                </a:lnTo>
                <a:lnTo>
                  <a:pt x="2693166" y="3926540"/>
                </a:lnTo>
                <a:lnTo>
                  <a:pt x="2690779" y="3928273"/>
                </a:lnTo>
                <a:lnTo>
                  <a:pt x="2687306" y="3927948"/>
                </a:lnTo>
                <a:lnTo>
                  <a:pt x="2683725" y="3926540"/>
                </a:lnTo>
                <a:lnTo>
                  <a:pt x="2681230" y="3927082"/>
                </a:lnTo>
                <a:lnTo>
                  <a:pt x="2678191" y="3925350"/>
                </a:lnTo>
                <a:lnTo>
                  <a:pt x="2673525" y="3923617"/>
                </a:lnTo>
                <a:lnTo>
                  <a:pt x="2666796" y="3924809"/>
                </a:lnTo>
                <a:lnTo>
                  <a:pt x="2661588" y="3928056"/>
                </a:lnTo>
                <a:lnTo>
                  <a:pt x="2656705" y="3927840"/>
                </a:lnTo>
                <a:lnTo>
                  <a:pt x="2656813" y="3925350"/>
                </a:lnTo>
                <a:lnTo>
                  <a:pt x="2657464" y="3923509"/>
                </a:lnTo>
                <a:lnTo>
                  <a:pt x="2656270" y="3922318"/>
                </a:lnTo>
                <a:lnTo>
                  <a:pt x="2652581" y="3922101"/>
                </a:lnTo>
                <a:lnTo>
                  <a:pt x="2648891" y="3921452"/>
                </a:lnTo>
                <a:lnTo>
                  <a:pt x="2643248" y="3917554"/>
                </a:lnTo>
                <a:lnTo>
                  <a:pt x="2637063" y="3917121"/>
                </a:lnTo>
                <a:lnTo>
                  <a:pt x="2626537" y="3918095"/>
                </a:lnTo>
                <a:lnTo>
                  <a:pt x="2622956" y="3917229"/>
                </a:lnTo>
                <a:lnTo>
                  <a:pt x="2616336" y="3910625"/>
                </a:lnTo>
                <a:lnTo>
                  <a:pt x="2613949" y="3910084"/>
                </a:lnTo>
                <a:lnTo>
                  <a:pt x="2606895" y="3900339"/>
                </a:lnTo>
                <a:lnTo>
                  <a:pt x="2603640" y="3891894"/>
                </a:lnTo>
                <a:lnTo>
                  <a:pt x="2603423" y="3881283"/>
                </a:lnTo>
                <a:lnTo>
                  <a:pt x="2603531" y="3880850"/>
                </a:lnTo>
                <a:lnTo>
                  <a:pt x="2604400" y="3879226"/>
                </a:lnTo>
                <a:lnTo>
                  <a:pt x="2607981" y="3875978"/>
                </a:lnTo>
                <a:lnTo>
                  <a:pt x="2609499" y="3872514"/>
                </a:lnTo>
                <a:lnTo>
                  <a:pt x="2609499" y="3872513"/>
                </a:lnTo>
                <a:lnTo>
                  <a:pt x="2607981" y="3875977"/>
                </a:lnTo>
                <a:lnTo>
                  <a:pt x="2604399" y="3879226"/>
                </a:lnTo>
                <a:lnTo>
                  <a:pt x="2603531" y="3880850"/>
                </a:lnTo>
                <a:lnTo>
                  <a:pt x="2603423" y="3881283"/>
                </a:lnTo>
                <a:lnTo>
                  <a:pt x="2602229" y="3891027"/>
                </a:lnTo>
                <a:lnTo>
                  <a:pt x="2603965" y="3899689"/>
                </a:lnTo>
                <a:lnTo>
                  <a:pt x="2602988" y="3902287"/>
                </a:lnTo>
                <a:lnTo>
                  <a:pt x="2606027" y="3905427"/>
                </a:lnTo>
                <a:lnTo>
                  <a:pt x="2606244" y="3909542"/>
                </a:lnTo>
                <a:lnTo>
                  <a:pt x="2604724" y="3911058"/>
                </a:lnTo>
                <a:lnTo>
                  <a:pt x="2607112" y="3915388"/>
                </a:lnTo>
                <a:lnTo>
                  <a:pt x="2617095" y="3923184"/>
                </a:lnTo>
                <a:lnTo>
                  <a:pt x="2627079" y="3926974"/>
                </a:lnTo>
                <a:lnTo>
                  <a:pt x="2639450" y="3936501"/>
                </a:lnTo>
                <a:lnTo>
                  <a:pt x="2642271" y="3939966"/>
                </a:lnTo>
                <a:lnTo>
                  <a:pt x="2641946" y="3944838"/>
                </a:lnTo>
                <a:lnTo>
                  <a:pt x="2636086" y="3956531"/>
                </a:lnTo>
                <a:lnTo>
                  <a:pt x="2635652" y="3959996"/>
                </a:lnTo>
                <a:lnTo>
                  <a:pt x="2639341" y="3966817"/>
                </a:lnTo>
                <a:lnTo>
                  <a:pt x="2645527" y="3970931"/>
                </a:lnTo>
                <a:lnTo>
                  <a:pt x="2650736" y="3971147"/>
                </a:lnTo>
                <a:lnTo>
                  <a:pt x="2653774" y="3967900"/>
                </a:lnTo>
                <a:lnTo>
                  <a:pt x="2654968" y="3968007"/>
                </a:lnTo>
                <a:lnTo>
                  <a:pt x="2656053" y="3972013"/>
                </a:lnTo>
                <a:lnTo>
                  <a:pt x="2656053" y="3982083"/>
                </a:lnTo>
                <a:lnTo>
                  <a:pt x="2654968" y="3986739"/>
                </a:lnTo>
                <a:lnTo>
                  <a:pt x="2650302" y="3994318"/>
                </a:lnTo>
                <a:lnTo>
                  <a:pt x="2648674" y="4001896"/>
                </a:lnTo>
                <a:lnTo>
                  <a:pt x="2646937" y="4004278"/>
                </a:lnTo>
                <a:lnTo>
                  <a:pt x="2646178" y="4001680"/>
                </a:lnTo>
                <a:lnTo>
                  <a:pt x="2644442" y="4003304"/>
                </a:lnTo>
                <a:lnTo>
                  <a:pt x="2642054" y="4010666"/>
                </a:lnTo>
                <a:lnTo>
                  <a:pt x="2643465" y="4016188"/>
                </a:lnTo>
                <a:lnTo>
                  <a:pt x="2641512" y="4020843"/>
                </a:lnTo>
                <a:lnTo>
                  <a:pt x="2628490" y="4028855"/>
                </a:lnTo>
                <a:lnTo>
                  <a:pt x="2618290" y="4032320"/>
                </a:lnTo>
                <a:lnTo>
                  <a:pt x="2616445" y="4029722"/>
                </a:lnTo>
                <a:lnTo>
                  <a:pt x="2615685" y="4032862"/>
                </a:lnTo>
                <a:lnTo>
                  <a:pt x="2601035" y="4038816"/>
                </a:lnTo>
                <a:lnTo>
                  <a:pt x="2584324" y="4043147"/>
                </a:lnTo>
                <a:lnTo>
                  <a:pt x="2574340" y="4043689"/>
                </a:lnTo>
                <a:lnTo>
                  <a:pt x="2566418" y="4042498"/>
                </a:lnTo>
                <a:lnTo>
                  <a:pt x="2559039" y="4043797"/>
                </a:lnTo>
                <a:lnTo>
                  <a:pt x="2554373" y="4043797"/>
                </a:lnTo>
                <a:lnTo>
                  <a:pt x="2549056" y="4040441"/>
                </a:lnTo>
                <a:lnTo>
                  <a:pt x="2542328" y="4038167"/>
                </a:lnTo>
                <a:lnTo>
                  <a:pt x="2539072" y="4038167"/>
                </a:lnTo>
                <a:lnTo>
                  <a:pt x="2537010" y="4035352"/>
                </a:lnTo>
                <a:lnTo>
                  <a:pt x="2535382" y="4036976"/>
                </a:lnTo>
                <a:lnTo>
                  <a:pt x="2535382" y="4040874"/>
                </a:lnTo>
                <a:lnTo>
                  <a:pt x="2536685" y="4043689"/>
                </a:lnTo>
                <a:lnTo>
                  <a:pt x="2536685" y="4052026"/>
                </a:lnTo>
                <a:lnTo>
                  <a:pt x="2538855" y="4055382"/>
                </a:lnTo>
                <a:lnTo>
                  <a:pt x="2538312" y="4057873"/>
                </a:lnTo>
                <a:lnTo>
                  <a:pt x="2542328" y="4058305"/>
                </a:lnTo>
                <a:lnTo>
                  <a:pt x="2543196" y="4062420"/>
                </a:lnTo>
                <a:lnTo>
                  <a:pt x="2542436" y="4065451"/>
                </a:lnTo>
                <a:lnTo>
                  <a:pt x="2540808" y="4065993"/>
                </a:lnTo>
                <a:lnTo>
                  <a:pt x="2540917" y="4067617"/>
                </a:lnTo>
                <a:lnTo>
                  <a:pt x="2536685" y="4071839"/>
                </a:lnTo>
                <a:lnTo>
                  <a:pt x="2537662" y="4074113"/>
                </a:lnTo>
                <a:lnTo>
                  <a:pt x="2535925" y="4077361"/>
                </a:lnTo>
                <a:lnTo>
                  <a:pt x="2535925" y="4081692"/>
                </a:lnTo>
                <a:lnTo>
                  <a:pt x="2538855" y="4086672"/>
                </a:lnTo>
                <a:lnTo>
                  <a:pt x="2542979" y="4087863"/>
                </a:lnTo>
                <a:lnTo>
                  <a:pt x="2541676" y="4091761"/>
                </a:lnTo>
                <a:lnTo>
                  <a:pt x="2540266" y="4094360"/>
                </a:lnTo>
                <a:lnTo>
                  <a:pt x="2541460" y="4097825"/>
                </a:lnTo>
                <a:lnTo>
                  <a:pt x="2540375" y="4102264"/>
                </a:lnTo>
                <a:lnTo>
                  <a:pt x="2534949" y="4106270"/>
                </a:lnTo>
                <a:lnTo>
                  <a:pt x="2535600" y="4107785"/>
                </a:lnTo>
                <a:lnTo>
                  <a:pt x="2527461" y="4113307"/>
                </a:lnTo>
                <a:lnTo>
                  <a:pt x="2514113" y="4113415"/>
                </a:lnTo>
                <a:lnTo>
                  <a:pt x="2506843" y="4111683"/>
                </a:lnTo>
                <a:lnTo>
                  <a:pt x="2498378" y="4104645"/>
                </a:lnTo>
                <a:lnTo>
                  <a:pt x="2489263" y="4101722"/>
                </a:lnTo>
                <a:lnTo>
                  <a:pt x="2483946" y="4102264"/>
                </a:lnTo>
                <a:lnTo>
                  <a:pt x="2482535" y="4101397"/>
                </a:lnTo>
                <a:lnTo>
                  <a:pt x="2484054" y="4098691"/>
                </a:lnTo>
                <a:lnTo>
                  <a:pt x="2480473" y="4098799"/>
                </a:lnTo>
                <a:lnTo>
                  <a:pt x="2475590" y="4103671"/>
                </a:lnTo>
                <a:lnTo>
                  <a:pt x="2475481" y="4112116"/>
                </a:lnTo>
                <a:lnTo>
                  <a:pt x="2480690" y="4116772"/>
                </a:lnTo>
                <a:lnTo>
                  <a:pt x="2482535" y="4125325"/>
                </a:lnTo>
                <a:lnTo>
                  <a:pt x="2482318" y="4136585"/>
                </a:lnTo>
                <a:lnTo>
                  <a:pt x="2483946" y="4140916"/>
                </a:lnTo>
                <a:lnTo>
                  <a:pt x="2489480" y="4144056"/>
                </a:lnTo>
                <a:lnTo>
                  <a:pt x="2496642" y="4143515"/>
                </a:lnTo>
                <a:lnTo>
                  <a:pt x="2499247" y="4144922"/>
                </a:lnTo>
                <a:lnTo>
                  <a:pt x="2496534" y="4146438"/>
                </a:lnTo>
                <a:lnTo>
                  <a:pt x="2494255" y="4148711"/>
                </a:lnTo>
                <a:lnTo>
                  <a:pt x="2497835" y="4150011"/>
                </a:lnTo>
                <a:lnTo>
                  <a:pt x="2505974" y="4147629"/>
                </a:lnTo>
                <a:lnTo>
                  <a:pt x="2506300" y="4145030"/>
                </a:lnTo>
                <a:lnTo>
                  <a:pt x="2502393" y="4144056"/>
                </a:lnTo>
                <a:lnTo>
                  <a:pt x="2500983" y="4142973"/>
                </a:lnTo>
                <a:lnTo>
                  <a:pt x="2503261" y="4141133"/>
                </a:lnTo>
                <a:lnTo>
                  <a:pt x="2506843" y="4140916"/>
                </a:lnTo>
                <a:lnTo>
                  <a:pt x="2511509" y="4137884"/>
                </a:lnTo>
                <a:lnTo>
                  <a:pt x="2515090" y="4138209"/>
                </a:lnTo>
                <a:lnTo>
                  <a:pt x="2518345" y="4143731"/>
                </a:lnTo>
                <a:lnTo>
                  <a:pt x="2517369" y="4147954"/>
                </a:lnTo>
                <a:lnTo>
                  <a:pt x="2515415" y="4148819"/>
                </a:lnTo>
                <a:lnTo>
                  <a:pt x="2518562" y="4152609"/>
                </a:lnTo>
                <a:lnTo>
                  <a:pt x="2520733" y="4157590"/>
                </a:lnTo>
                <a:lnTo>
                  <a:pt x="2519430" y="4162245"/>
                </a:lnTo>
                <a:lnTo>
                  <a:pt x="2510098" y="4167551"/>
                </a:lnTo>
                <a:lnTo>
                  <a:pt x="2506626" y="4166359"/>
                </a:lnTo>
                <a:lnTo>
                  <a:pt x="2504781" y="4161704"/>
                </a:lnTo>
                <a:lnTo>
                  <a:pt x="2505649" y="4159647"/>
                </a:lnTo>
                <a:lnTo>
                  <a:pt x="2505649" y="4156940"/>
                </a:lnTo>
                <a:lnTo>
                  <a:pt x="2499789" y="4153800"/>
                </a:lnTo>
                <a:lnTo>
                  <a:pt x="2493387" y="4156290"/>
                </a:lnTo>
                <a:lnTo>
                  <a:pt x="2489046" y="4159539"/>
                </a:lnTo>
                <a:lnTo>
                  <a:pt x="2488178" y="4162137"/>
                </a:lnTo>
                <a:lnTo>
                  <a:pt x="2490239" y="4165494"/>
                </a:lnTo>
                <a:lnTo>
                  <a:pt x="2495123" y="4165710"/>
                </a:lnTo>
                <a:lnTo>
                  <a:pt x="2502176" y="4167767"/>
                </a:lnTo>
                <a:lnTo>
                  <a:pt x="2502393" y="4170149"/>
                </a:lnTo>
                <a:lnTo>
                  <a:pt x="2497185" y="4175021"/>
                </a:lnTo>
                <a:lnTo>
                  <a:pt x="2489806" y="4177727"/>
                </a:lnTo>
                <a:lnTo>
                  <a:pt x="2486984" y="4180868"/>
                </a:lnTo>
                <a:lnTo>
                  <a:pt x="2488721" y="4182708"/>
                </a:lnTo>
                <a:lnTo>
                  <a:pt x="2486876" y="4187364"/>
                </a:lnTo>
                <a:lnTo>
                  <a:pt x="2483078" y="4191262"/>
                </a:lnTo>
                <a:lnTo>
                  <a:pt x="2484597" y="4197325"/>
                </a:lnTo>
                <a:lnTo>
                  <a:pt x="2486333" y="4199924"/>
                </a:lnTo>
                <a:lnTo>
                  <a:pt x="2486333" y="4203171"/>
                </a:lnTo>
                <a:lnTo>
                  <a:pt x="2485465" y="4206095"/>
                </a:lnTo>
                <a:lnTo>
                  <a:pt x="2491107" y="4212266"/>
                </a:lnTo>
                <a:lnTo>
                  <a:pt x="2490999" y="4214540"/>
                </a:lnTo>
                <a:lnTo>
                  <a:pt x="2488721" y="4217788"/>
                </a:lnTo>
                <a:lnTo>
                  <a:pt x="2489914" y="4219196"/>
                </a:lnTo>
                <a:lnTo>
                  <a:pt x="2483403" y="4223418"/>
                </a:lnTo>
                <a:lnTo>
                  <a:pt x="2482535" y="4227099"/>
                </a:lnTo>
                <a:lnTo>
                  <a:pt x="2481884" y="4229157"/>
                </a:lnTo>
                <a:lnTo>
                  <a:pt x="2486441" y="4230889"/>
                </a:lnTo>
                <a:lnTo>
                  <a:pt x="2488721" y="4233054"/>
                </a:lnTo>
                <a:lnTo>
                  <a:pt x="2488394" y="4235111"/>
                </a:lnTo>
                <a:lnTo>
                  <a:pt x="2480798" y="4236519"/>
                </a:lnTo>
                <a:lnTo>
                  <a:pt x="2476567" y="4235869"/>
                </a:lnTo>
                <a:lnTo>
                  <a:pt x="2469621" y="4236844"/>
                </a:lnTo>
                <a:lnTo>
                  <a:pt x="2465172" y="4241716"/>
                </a:lnTo>
                <a:lnTo>
                  <a:pt x="2459855" y="4242365"/>
                </a:lnTo>
                <a:lnTo>
                  <a:pt x="2455840" y="4247021"/>
                </a:lnTo>
                <a:lnTo>
                  <a:pt x="2452693" y="4247671"/>
                </a:lnTo>
                <a:lnTo>
                  <a:pt x="2451065" y="4253409"/>
                </a:lnTo>
                <a:lnTo>
                  <a:pt x="2449112" y="4257524"/>
                </a:lnTo>
                <a:lnTo>
                  <a:pt x="2443795" y="4261312"/>
                </a:lnTo>
                <a:lnTo>
                  <a:pt x="2443469" y="4264236"/>
                </a:lnTo>
                <a:lnTo>
                  <a:pt x="2446399" y="4268134"/>
                </a:lnTo>
                <a:lnTo>
                  <a:pt x="2446399" y="4273331"/>
                </a:lnTo>
                <a:lnTo>
                  <a:pt x="2451499" y="4281884"/>
                </a:lnTo>
                <a:lnTo>
                  <a:pt x="2456382" y="4285890"/>
                </a:lnTo>
                <a:lnTo>
                  <a:pt x="2459638" y="4286865"/>
                </a:lnTo>
                <a:lnTo>
                  <a:pt x="2466040" y="4292387"/>
                </a:lnTo>
                <a:lnTo>
                  <a:pt x="2475481" y="4301156"/>
                </a:lnTo>
                <a:lnTo>
                  <a:pt x="2483403" y="4300507"/>
                </a:lnTo>
                <a:lnTo>
                  <a:pt x="2487744" y="4300615"/>
                </a:lnTo>
                <a:lnTo>
                  <a:pt x="2489806" y="4299640"/>
                </a:lnTo>
                <a:lnTo>
                  <a:pt x="2493604" y="4300832"/>
                </a:lnTo>
                <a:lnTo>
                  <a:pt x="2495123" y="4303430"/>
                </a:lnTo>
                <a:lnTo>
                  <a:pt x="2493387" y="4305271"/>
                </a:lnTo>
                <a:lnTo>
                  <a:pt x="2493387" y="4307870"/>
                </a:lnTo>
                <a:lnTo>
                  <a:pt x="2496208" y="4313499"/>
                </a:lnTo>
                <a:lnTo>
                  <a:pt x="2496208" y="4317289"/>
                </a:lnTo>
                <a:lnTo>
                  <a:pt x="2491976" y="4321295"/>
                </a:lnTo>
                <a:lnTo>
                  <a:pt x="2494797" y="4321295"/>
                </a:lnTo>
                <a:lnTo>
                  <a:pt x="2499030" y="4325192"/>
                </a:lnTo>
                <a:lnTo>
                  <a:pt x="2496208" y="4327250"/>
                </a:lnTo>
                <a:lnTo>
                  <a:pt x="2495665" y="4330390"/>
                </a:lnTo>
                <a:lnTo>
                  <a:pt x="2496534" y="4332122"/>
                </a:lnTo>
                <a:lnTo>
                  <a:pt x="2492736" y="4336452"/>
                </a:lnTo>
                <a:lnTo>
                  <a:pt x="2488937" y="4338294"/>
                </a:lnTo>
                <a:lnTo>
                  <a:pt x="2488069" y="4342083"/>
                </a:lnTo>
                <a:lnTo>
                  <a:pt x="2485682" y="4342949"/>
                </a:lnTo>
                <a:lnTo>
                  <a:pt x="2482210" y="4347604"/>
                </a:lnTo>
                <a:lnTo>
                  <a:pt x="2480473" y="4353126"/>
                </a:lnTo>
                <a:lnTo>
                  <a:pt x="2475807" y="4353451"/>
                </a:lnTo>
                <a:lnTo>
                  <a:pt x="2470272" y="4358756"/>
                </a:lnTo>
                <a:lnTo>
                  <a:pt x="2469296" y="4364062"/>
                </a:lnTo>
                <a:lnTo>
                  <a:pt x="2467559" y="4369259"/>
                </a:lnTo>
                <a:lnTo>
                  <a:pt x="2463436" y="4373157"/>
                </a:lnTo>
                <a:lnTo>
                  <a:pt x="2462351" y="4376296"/>
                </a:lnTo>
                <a:lnTo>
                  <a:pt x="2464630" y="4374564"/>
                </a:lnTo>
                <a:lnTo>
                  <a:pt x="2468211" y="4375430"/>
                </a:lnTo>
                <a:lnTo>
                  <a:pt x="2469838" y="4382685"/>
                </a:lnTo>
                <a:lnTo>
                  <a:pt x="2468428" y="4386474"/>
                </a:lnTo>
                <a:lnTo>
                  <a:pt x="2464087" y="4391454"/>
                </a:lnTo>
                <a:lnTo>
                  <a:pt x="2463436" y="4395136"/>
                </a:lnTo>
                <a:lnTo>
                  <a:pt x="2458444" y="4399358"/>
                </a:lnTo>
                <a:lnTo>
                  <a:pt x="2454754" y="4398059"/>
                </a:lnTo>
                <a:lnTo>
                  <a:pt x="2451716" y="4394594"/>
                </a:lnTo>
                <a:lnTo>
                  <a:pt x="2448569" y="4392970"/>
                </a:lnTo>
                <a:lnTo>
                  <a:pt x="2450848" y="4395893"/>
                </a:lnTo>
                <a:lnTo>
                  <a:pt x="2450848" y="4400224"/>
                </a:lnTo>
                <a:lnTo>
                  <a:pt x="2452584" y="4402065"/>
                </a:lnTo>
                <a:lnTo>
                  <a:pt x="2450523" y="4405854"/>
                </a:lnTo>
                <a:lnTo>
                  <a:pt x="2444663" y="4410618"/>
                </a:lnTo>
                <a:lnTo>
                  <a:pt x="2441841" y="4418630"/>
                </a:lnTo>
                <a:lnTo>
                  <a:pt x="2442709" y="4425668"/>
                </a:lnTo>
                <a:lnTo>
                  <a:pt x="2447376" y="4432814"/>
                </a:lnTo>
                <a:lnTo>
                  <a:pt x="2451391" y="4443857"/>
                </a:lnTo>
                <a:lnTo>
                  <a:pt x="2451391" y="4447214"/>
                </a:lnTo>
                <a:lnTo>
                  <a:pt x="2452693" y="4447972"/>
                </a:lnTo>
                <a:lnTo>
                  <a:pt x="2451824" y="4451111"/>
                </a:lnTo>
                <a:lnTo>
                  <a:pt x="2448244" y="4453168"/>
                </a:lnTo>
                <a:lnTo>
                  <a:pt x="2450848" y="4455659"/>
                </a:lnTo>
                <a:lnTo>
                  <a:pt x="2453561" y="4454793"/>
                </a:lnTo>
                <a:lnTo>
                  <a:pt x="2457685" y="4458799"/>
                </a:lnTo>
                <a:lnTo>
                  <a:pt x="2458553" y="4463454"/>
                </a:lnTo>
                <a:lnTo>
                  <a:pt x="2466691" y="4468434"/>
                </a:lnTo>
                <a:lnTo>
                  <a:pt x="2471466" y="4472224"/>
                </a:lnTo>
                <a:lnTo>
                  <a:pt x="2472009" y="4476663"/>
                </a:lnTo>
                <a:lnTo>
                  <a:pt x="2469947" y="4476555"/>
                </a:lnTo>
                <a:lnTo>
                  <a:pt x="2464413" y="4473956"/>
                </a:lnTo>
                <a:lnTo>
                  <a:pt x="2460504" y="4470440"/>
                </a:lnTo>
                <a:lnTo>
                  <a:pt x="2464413" y="4473957"/>
                </a:lnTo>
                <a:lnTo>
                  <a:pt x="2463545" y="4473632"/>
                </a:lnTo>
                <a:lnTo>
                  <a:pt x="2460615" y="4475256"/>
                </a:lnTo>
                <a:lnTo>
                  <a:pt x="2454430" y="4471684"/>
                </a:lnTo>
                <a:lnTo>
                  <a:pt x="2449112" y="4473091"/>
                </a:lnTo>
                <a:lnTo>
                  <a:pt x="2446399" y="4475690"/>
                </a:lnTo>
                <a:lnTo>
                  <a:pt x="2446834" y="4481644"/>
                </a:lnTo>
                <a:lnTo>
                  <a:pt x="2444989" y="4483593"/>
                </a:lnTo>
                <a:lnTo>
                  <a:pt x="2440106" y="4483593"/>
                </a:lnTo>
                <a:lnTo>
                  <a:pt x="2436850" y="4484892"/>
                </a:lnTo>
                <a:lnTo>
                  <a:pt x="2431424" y="4491388"/>
                </a:lnTo>
                <a:lnTo>
                  <a:pt x="2425456" y="4494854"/>
                </a:lnTo>
                <a:lnTo>
                  <a:pt x="2424804" y="4498210"/>
                </a:lnTo>
                <a:lnTo>
                  <a:pt x="2425999" y="4502974"/>
                </a:lnTo>
                <a:lnTo>
                  <a:pt x="2425564" y="4510119"/>
                </a:lnTo>
                <a:lnTo>
                  <a:pt x="2424804" y="4516400"/>
                </a:lnTo>
                <a:lnTo>
                  <a:pt x="2425130" y="4519539"/>
                </a:lnTo>
                <a:lnTo>
                  <a:pt x="2424479" y="4523004"/>
                </a:lnTo>
                <a:lnTo>
                  <a:pt x="2426867" y="4530258"/>
                </a:lnTo>
                <a:lnTo>
                  <a:pt x="2424045" y="4535563"/>
                </a:lnTo>
                <a:lnTo>
                  <a:pt x="2421874" y="4537837"/>
                </a:lnTo>
                <a:lnTo>
                  <a:pt x="2418728" y="4536213"/>
                </a:lnTo>
                <a:lnTo>
                  <a:pt x="2415798" y="4536429"/>
                </a:lnTo>
                <a:lnTo>
                  <a:pt x="2411349" y="4533939"/>
                </a:lnTo>
                <a:lnTo>
                  <a:pt x="2404512" y="4532748"/>
                </a:lnTo>
                <a:lnTo>
                  <a:pt x="2396807" y="4525386"/>
                </a:lnTo>
                <a:lnTo>
                  <a:pt x="2394420" y="4521380"/>
                </a:lnTo>
                <a:lnTo>
                  <a:pt x="2396265" y="4519106"/>
                </a:lnTo>
                <a:lnTo>
                  <a:pt x="2398869" y="4518890"/>
                </a:lnTo>
                <a:lnTo>
                  <a:pt x="2400606" y="4519539"/>
                </a:lnTo>
                <a:lnTo>
                  <a:pt x="2401365" y="4516400"/>
                </a:lnTo>
                <a:lnTo>
                  <a:pt x="2403536" y="4514776"/>
                </a:lnTo>
                <a:lnTo>
                  <a:pt x="2405163" y="4515641"/>
                </a:lnTo>
                <a:lnTo>
                  <a:pt x="2405054" y="4521596"/>
                </a:lnTo>
                <a:lnTo>
                  <a:pt x="2402993" y="4523004"/>
                </a:lnTo>
                <a:lnTo>
                  <a:pt x="2402884" y="4525061"/>
                </a:lnTo>
                <a:lnTo>
                  <a:pt x="2406682" y="4523329"/>
                </a:lnTo>
                <a:lnTo>
                  <a:pt x="2409070" y="4520622"/>
                </a:lnTo>
                <a:lnTo>
                  <a:pt x="2407767" y="4517374"/>
                </a:lnTo>
                <a:lnTo>
                  <a:pt x="2407767" y="4512502"/>
                </a:lnTo>
                <a:lnTo>
                  <a:pt x="2411783" y="4508387"/>
                </a:lnTo>
                <a:lnTo>
                  <a:pt x="2412651" y="4505572"/>
                </a:lnTo>
                <a:lnTo>
                  <a:pt x="2414930" y="4501674"/>
                </a:lnTo>
                <a:lnTo>
                  <a:pt x="2418185" y="4500376"/>
                </a:lnTo>
                <a:lnTo>
                  <a:pt x="2417643" y="4499184"/>
                </a:lnTo>
                <a:lnTo>
                  <a:pt x="2414930" y="4499184"/>
                </a:lnTo>
                <a:lnTo>
                  <a:pt x="2411674" y="4497452"/>
                </a:lnTo>
                <a:lnTo>
                  <a:pt x="2410915" y="4496152"/>
                </a:lnTo>
                <a:lnTo>
                  <a:pt x="2407984" y="4497993"/>
                </a:lnTo>
                <a:lnTo>
                  <a:pt x="2403861" y="4503948"/>
                </a:lnTo>
                <a:lnTo>
                  <a:pt x="2400063" y="4507413"/>
                </a:lnTo>
                <a:lnTo>
                  <a:pt x="2393768" y="4508712"/>
                </a:lnTo>
                <a:lnTo>
                  <a:pt x="2397458" y="4512827"/>
                </a:lnTo>
                <a:lnTo>
                  <a:pt x="2397025" y="4514776"/>
                </a:lnTo>
                <a:lnTo>
                  <a:pt x="2393877" y="4515533"/>
                </a:lnTo>
                <a:lnTo>
                  <a:pt x="2391164" y="4518890"/>
                </a:lnTo>
                <a:lnTo>
                  <a:pt x="2392141" y="4522463"/>
                </a:lnTo>
                <a:lnTo>
                  <a:pt x="2391164" y="4524628"/>
                </a:lnTo>
                <a:lnTo>
                  <a:pt x="2389645" y="4524520"/>
                </a:lnTo>
                <a:lnTo>
                  <a:pt x="2384654" y="4520189"/>
                </a:lnTo>
                <a:lnTo>
                  <a:pt x="2377708" y="4517807"/>
                </a:lnTo>
                <a:lnTo>
                  <a:pt x="2377708" y="4515966"/>
                </a:lnTo>
                <a:lnTo>
                  <a:pt x="2379445" y="4513801"/>
                </a:lnTo>
                <a:lnTo>
                  <a:pt x="2377383" y="4512502"/>
                </a:lnTo>
                <a:lnTo>
                  <a:pt x="2377275" y="4510661"/>
                </a:lnTo>
                <a:lnTo>
                  <a:pt x="2378576" y="4508821"/>
                </a:lnTo>
                <a:lnTo>
                  <a:pt x="2380096" y="4505789"/>
                </a:lnTo>
                <a:lnTo>
                  <a:pt x="2379445" y="4502866"/>
                </a:lnTo>
                <a:lnTo>
                  <a:pt x="2382266" y="4499834"/>
                </a:lnTo>
                <a:lnTo>
                  <a:pt x="2384436" y="4500267"/>
                </a:lnTo>
                <a:lnTo>
                  <a:pt x="2386172" y="4499942"/>
                </a:lnTo>
                <a:lnTo>
                  <a:pt x="2393552" y="4493446"/>
                </a:lnTo>
                <a:lnTo>
                  <a:pt x="2396699" y="4492580"/>
                </a:lnTo>
                <a:lnTo>
                  <a:pt x="2399629" y="4494854"/>
                </a:lnTo>
                <a:lnTo>
                  <a:pt x="2402341" y="4495611"/>
                </a:lnTo>
                <a:lnTo>
                  <a:pt x="2404404" y="4492580"/>
                </a:lnTo>
                <a:lnTo>
                  <a:pt x="2407008" y="4491388"/>
                </a:lnTo>
                <a:lnTo>
                  <a:pt x="2406574" y="4489657"/>
                </a:lnTo>
                <a:lnTo>
                  <a:pt x="2402559" y="4489331"/>
                </a:lnTo>
                <a:lnTo>
                  <a:pt x="2397893" y="4489764"/>
                </a:lnTo>
                <a:lnTo>
                  <a:pt x="2393768" y="4488465"/>
                </a:lnTo>
                <a:lnTo>
                  <a:pt x="2389102" y="4489548"/>
                </a:lnTo>
                <a:lnTo>
                  <a:pt x="2387909" y="4491930"/>
                </a:lnTo>
                <a:lnTo>
                  <a:pt x="2385522" y="4490847"/>
                </a:lnTo>
                <a:lnTo>
                  <a:pt x="2384654" y="4488356"/>
                </a:lnTo>
                <a:lnTo>
                  <a:pt x="2382374" y="4489764"/>
                </a:lnTo>
                <a:lnTo>
                  <a:pt x="2377057" y="4488032"/>
                </a:lnTo>
                <a:lnTo>
                  <a:pt x="2374995" y="4489115"/>
                </a:lnTo>
                <a:lnTo>
                  <a:pt x="2375104" y="4491930"/>
                </a:lnTo>
                <a:lnTo>
                  <a:pt x="2372391" y="4493771"/>
                </a:lnTo>
                <a:lnTo>
                  <a:pt x="2371197" y="4495070"/>
                </a:lnTo>
                <a:lnTo>
                  <a:pt x="2374670" y="4495611"/>
                </a:lnTo>
                <a:lnTo>
                  <a:pt x="2376515" y="4494529"/>
                </a:lnTo>
                <a:lnTo>
                  <a:pt x="2377816" y="4498318"/>
                </a:lnTo>
                <a:lnTo>
                  <a:pt x="2376623" y="4501891"/>
                </a:lnTo>
                <a:lnTo>
                  <a:pt x="2378576" y="4506763"/>
                </a:lnTo>
                <a:lnTo>
                  <a:pt x="2376515" y="4509686"/>
                </a:lnTo>
                <a:lnTo>
                  <a:pt x="2374236" y="4510553"/>
                </a:lnTo>
                <a:lnTo>
                  <a:pt x="2367616" y="4506872"/>
                </a:lnTo>
                <a:lnTo>
                  <a:pt x="2361973" y="4506330"/>
                </a:lnTo>
                <a:lnTo>
                  <a:pt x="2360996" y="4503840"/>
                </a:lnTo>
                <a:lnTo>
                  <a:pt x="2364361" y="4500917"/>
                </a:lnTo>
                <a:lnTo>
                  <a:pt x="2367725" y="4499617"/>
                </a:lnTo>
                <a:lnTo>
                  <a:pt x="2367725" y="4498318"/>
                </a:lnTo>
                <a:lnTo>
                  <a:pt x="2364144" y="4497019"/>
                </a:lnTo>
                <a:lnTo>
                  <a:pt x="2361973" y="4495719"/>
                </a:lnTo>
                <a:lnTo>
                  <a:pt x="2360128" y="4499293"/>
                </a:lnTo>
                <a:lnTo>
                  <a:pt x="2356981" y="4498751"/>
                </a:lnTo>
                <a:lnTo>
                  <a:pt x="2356222" y="4497127"/>
                </a:lnTo>
                <a:lnTo>
                  <a:pt x="2357633" y="4494637"/>
                </a:lnTo>
                <a:lnTo>
                  <a:pt x="2356873" y="4491821"/>
                </a:lnTo>
                <a:lnTo>
                  <a:pt x="2354811" y="4488249"/>
                </a:lnTo>
                <a:lnTo>
                  <a:pt x="2354486" y="4482510"/>
                </a:lnTo>
                <a:lnTo>
                  <a:pt x="2350362" y="4479478"/>
                </a:lnTo>
                <a:lnTo>
                  <a:pt x="2354811" y="4477638"/>
                </a:lnTo>
                <a:lnTo>
                  <a:pt x="2360237" y="4477638"/>
                </a:lnTo>
                <a:lnTo>
                  <a:pt x="2363818" y="4475148"/>
                </a:lnTo>
                <a:lnTo>
                  <a:pt x="2366423" y="4475148"/>
                </a:lnTo>
                <a:lnTo>
                  <a:pt x="2367399" y="4479045"/>
                </a:lnTo>
                <a:lnTo>
                  <a:pt x="2369027" y="4480994"/>
                </a:lnTo>
                <a:lnTo>
                  <a:pt x="2370872" y="4477313"/>
                </a:lnTo>
                <a:lnTo>
                  <a:pt x="2368810" y="4474498"/>
                </a:lnTo>
                <a:lnTo>
                  <a:pt x="2369136" y="4470600"/>
                </a:lnTo>
                <a:lnTo>
                  <a:pt x="2371089" y="4467677"/>
                </a:lnTo>
                <a:lnTo>
                  <a:pt x="2374345" y="4470492"/>
                </a:lnTo>
                <a:lnTo>
                  <a:pt x="2377600" y="4478179"/>
                </a:lnTo>
                <a:lnTo>
                  <a:pt x="2375863" y="4483701"/>
                </a:lnTo>
                <a:lnTo>
                  <a:pt x="2379336" y="4481103"/>
                </a:lnTo>
                <a:lnTo>
                  <a:pt x="2379661" y="4477638"/>
                </a:lnTo>
                <a:lnTo>
                  <a:pt x="2376515" y="4471358"/>
                </a:lnTo>
                <a:lnTo>
                  <a:pt x="2376732" y="4467677"/>
                </a:lnTo>
                <a:lnTo>
                  <a:pt x="2379879" y="4464321"/>
                </a:lnTo>
                <a:lnTo>
                  <a:pt x="2378685" y="4458582"/>
                </a:lnTo>
                <a:lnTo>
                  <a:pt x="2371089" y="4454360"/>
                </a:lnTo>
                <a:lnTo>
                  <a:pt x="2363601" y="4451544"/>
                </a:lnTo>
                <a:lnTo>
                  <a:pt x="2361105" y="4452627"/>
                </a:lnTo>
                <a:lnTo>
                  <a:pt x="2361431" y="4454685"/>
                </a:lnTo>
                <a:lnTo>
                  <a:pt x="2369895" y="4455226"/>
                </a:lnTo>
                <a:lnTo>
                  <a:pt x="2374453" y="4457608"/>
                </a:lnTo>
                <a:lnTo>
                  <a:pt x="2375755" y="4461506"/>
                </a:lnTo>
                <a:lnTo>
                  <a:pt x="2370872" y="4461397"/>
                </a:lnTo>
                <a:lnTo>
                  <a:pt x="2369678" y="4459665"/>
                </a:lnTo>
                <a:lnTo>
                  <a:pt x="2362082" y="4457391"/>
                </a:lnTo>
                <a:lnTo>
                  <a:pt x="2358501" y="4457391"/>
                </a:lnTo>
                <a:lnTo>
                  <a:pt x="2358501" y="4459340"/>
                </a:lnTo>
                <a:lnTo>
                  <a:pt x="2364144" y="4460207"/>
                </a:lnTo>
                <a:lnTo>
                  <a:pt x="2367291" y="4461181"/>
                </a:lnTo>
                <a:lnTo>
                  <a:pt x="2367399" y="4464321"/>
                </a:lnTo>
                <a:lnTo>
                  <a:pt x="2364469" y="4467244"/>
                </a:lnTo>
                <a:lnTo>
                  <a:pt x="2362841" y="4471900"/>
                </a:lnTo>
                <a:lnTo>
                  <a:pt x="2360020" y="4468110"/>
                </a:lnTo>
                <a:lnTo>
                  <a:pt x="2359369" y="4464321"/>
                </a:lnTo>
                <a:lnTo>
                  <a:pt x="2355354" y="4461506"/>
                </a:lnTo>
                <a:lnTo>
                  <a:pt x="2356548" y="4465187"/>
                </a:lnTo>
                <a:lnTo>
                  <a:pt x="2355571" y="4467894"/>
                </a:lnTo>
                <a:lnTo>
                  <a:pt x="2357850" y="4474282"/>
                </a:lnTo>
                <a:lnTo>
                  <a:pt x="2354486" y="4474823"/>
                </a:lnTo>
                <a:lnTo>
                  <a:pt x="2350362" y="4471033"/>
                </a:lnTo>
                <a:lnTo>
                  <a:pt x="2348300" y="4468219"/>
                </a:lnTo>
                <a:lnTo>
                  <a:pt x="2346781" y="4463238"/>
                </a:lnTo>
                <a:lnTo>
                  <a:pt x="2345262" y="4462805"/>
                </a:lnTo>
                <a:lnTo>
                  <a:pt x="2340921" y="4457500"/>
                </a:lnTo>
                <a:lnTo>
                  <a:pt x="2341898" y="4454793"/>
                </a:lnTo>
                <a:lnTo>
                  <a:pt x="2344177" y="4454468"/>
                </a:lnTo>
                <a:lnTo>
                  <a:pt x="2346239" y="4455984"/>
                </a:lnTo>
                <a:lnTo>
                  <a:pt x="2348517" y="4456092"/>
                </a:lnTo>
                <a:lnTo>
                  <a:pt x="2347107" y="4451544"/>
                </a:lnTo>
                <a:lnTo>
                  <a:pt x="2347541" y="4446998"/>
                </a:lnTo>
                <a:lnTo>
                  <a:pt x="2344828" y="4449704"/>
                </a:lnTo>
                <a:lnTo>
                  <a:pt x="2342658" y="4449813"/>
                </a:lnTo>
                <a:lnTo>
                  <a:pt x="2338968" y="4445590"/>
                </a:lnTo>
                <a:lnTo>
                  <a:pt x="2338968" y="4442666"/>
                </a:lnTo>
                <a:lnTo>
                  <a:pt x="2335603" y="4442666"/>
                </a:lnTo>
                <a:lnTo>
                  <a:pt x="2333108" y="4441042"/>
                </a:lnTo>
                <a:lnTo>
                  <a:pt x="2335930" y="4437253"/>
                </a:lnTo>
                <a:lnTo>
                  <a:pt x="2339728" y="4435954"/>
                </a:lnTo>
                <a:lnTo>
                  <a:pt x="2340704" y="4433031"/>
                </a:lnTo>
                <a:lnTo>
                  <a:pt x="2340921" y="4429457"/>
                </a:lnTo>
                <a:lnTo>
                  <a:pt x="2337123" y="4433680"/>
                </a:lnTo>
                <a:lnTo>
                  <a:pt x="2335387" y="4431299"/>
                </a:lnTo>
                <a:lnTo>
                  <a:pt x="2333976" y="4426859"/>
                </a:lnTo>
                <a:lnTo>
                  <a:pt x="2336146" y="4426642"/>
                </a:lnTo>
                <a:lnTo>
                  <a:pt x="2336798" y="4424369"/>
                </a:lnTo>
                <a:lnTo>
                  <a:pt x="2333108" y="4421662"/>
                </a:lnTo>
                <a:lnTo>
                  <a:pt x="2323993" y="4419713"/>
                </a:lnTo>
                <a:lnTo>
                  <a:pt x="2317481" y="4414949"/>
                </a:lnTo>
                <a:lnTo>
                  <a:pt x="2317156" y="4411809"/>
                </a:lnTo>
                <a:lnTo>
                  <a:pt x="2319001" y="4407695"/>
                </a:lnTo>
                <a:lnTo>
                  <a:pt x="2321496" y="4406071"/>
                </a:lnTo>
                <a:lnTo>
                  <a:pt x="2321496" y="4401849"/>
                </a:lnTo>
                <a:lnTo>
                  <a:pt x="2322473" y="4397626"/>
                </a:lnTo>
                <a:lnTo>
                  <a:pt x="2321822" y="4395136"/>
                </a:lnTo>
                <a:lnTo>
                  <a:pt x="2325946" y="4391455"/>
                </a:lnTo>
                <a:lnTo>
                  <a:pt x="2331480" y="4390156"/>
                </a:lnTo>
                <a:lnTo>
                  <a:pt x="2332674" y="4388965"/>
                </a:lnTo>
                <a:lnTo>
                  <a:pt x="2329527" y="4389181"/>
                </a:lnTo>
                <a:lnTo>
                  <a:pt x="2325946" y="4386799"/>
                </a:lnTo>
                <a:lnTo>
                  <a:pt x="2325621" y="4384200"/>
                </a:lnTo>
                <a:lnTo>
                  <a:pt x="2328333" y="4374240"/>
                </a:lnTo>
                <a:lnTo>
                  <a:pt x="2330612" y="4374023"/>
                </a:lnTo>
                <a:lnTo>
                  <a:pt x="2329419" y="4371966"/>
                </a:lnTo>
                <a:lnTo>
                  <a:pt x="2326054" y="4374240"/>
                </a:lnTo>
                <a:lnTo>
                  <a:pt x="2323667" y="4383118"/>
                </a:lnTo>
                <a:lnTo>
                  <a:pt x="2323667" y="4391022"/>
                </a:lnTo>
                <a:lnTo>
                  <a:pt x="2319869" y="4389506"/>
                </a:lnTo>
                <a:lnTo>
                  <a:pt x="2317156" y="4384850"/>
                </a:lnTo>
                <a:lnTo>
                  <a:pt x="2317265" y="4379545"/>
                </a:lnTo>
                <a:lnTo>
                  <a:pt x="2314768" y="4376297"/>
                </a:lnTo>
                <a:lnTo>
                  <a:pt x="2311947" y="4364712"/>
                </a:lnTo>
                <a:lnTo>
                  <a:pt x="2312273" y="4361681"/>
                </a:lnTo>
                <a:lnTo>
                  <a:pt x="2314877" y="4361464"/>
                </a:lnTo>
                <a:lnTo>
                  <a:pt x="2316288" y="4358757"/>
                </a:lnTo>
                <a:lnTo>
                  <a:pt x="2315528" y="4356700"/>
                </a:lnTo>
                <a:lnTo>
                  <a:pt x="2315420" y="4354318"/>
                </a:lnTo>
                <a:lnTo>
                  <a:pt x="2319001" y="4350853"/>
                </a:lnTo>
                <a:lnTo>
                  <a:pt x="2319543" y="4348255"/>
                </a:lnTo>
                <a:lnTo>
                  <a:pt x="2316071" y="4350204"/>
                </a:lnTo>
                <a:lnTo>
                  <a:pt x="2311947" y="4349121"/>
                </a:lnTo>
                <a:lnTo>
                  <a:pt x="2311079" y="4345115"/>
                </a:lnTo>
                <a:lnTo>
                  <a:pt x="2306413" y="4342300"/>
                </a:lnTo>
                <a:lnTo>
                  <a:pt x="2305653" y="4339809"/>
                </a:lnTo>
                <a:lnTo>
                  <a:pt x="2307281" y="4336453"/>
                </a:lnTo>
                <a:lnTo>
                  <a:pt x="2314552" y="4334504"/>
                </a:lnTo>
                <a:lnTo>
                  <a:pt x="2317807" y="4337103"/>
                </a:lnTo>
                <a:lnTo>
                  <a:pt x="2319001" y="4335371"/>
                </a:lnTo>
                <a:lnTo>
                  <a:pt x="2323341" y="4335154"/>
                </a:lnTo>
                <a:lnTo>
                  <a:pt x="2324861" y="4334180"/>
                </a:lnTo>
                <a:lnTo>
                  <a:pt x="2323993" y="4332447"/>
                </a:lnTo>
                <a:lnTo>
                  <a:pt x="2325729" y="4329307"/>
                </a:lnTo>
                <a:lnTo>
                  <a:pt x="2321822" y="4331039"/>
                </a:lnTo>
                <a:lnTo>
                  <a:pt x="2319435" y="4331257"/>
                </a:lnTo>
                <a:lnTo>
                  <a:pt x="2316830" y="4328658"/>
                </a:lnTo>
                <a:lnTo>
                  <a:pt x="2310428" y="4331906"/>
                </a:lnTo>
                <a:lnTo>
                  <a:pt x="2304026" y="4330931"/>
                </a:lnTo>
                <a:lnTo>
                  <a:pt x="2302506" y="4327575"/>
                </a:lnTo>
                <a:lnTo>
                  <a:pt x="2298925" y="4324327"/>
                </a:lnTo>
                <a:lnTo>
                  <a:pt x="2299251" y="4320646"/>
                </a:lnTo>
                <a:lnTo>
                  <a:pt x="2301855" y="4320213"/>
                </a:lnTo>
                <a:lnTo>
                  <a:pt x="2303374" y="4322486"/>
                </a:lnTo>
                <a:lnTo>
                  <a:pt x="2307715" y="4324327"/>
                </a:lnTo>
                <a:lnTo>
                  <a:pt x="2308366" y="4323027"/>
                </a:lnTo>
                <a:lnTo>
                  <a:pt x="2304026" y="4320213"/>
                </a:lnTo>
                <a:lnTo>
                  <a:pt x="2302181" y="4317506"/>
                </a:lnTo>
                <a:lnTo>
                  <a:pt x="2304243" y="4314258"/>
                </a:lnTo>
                <a:lnTo>
                  <a:pt x="2306956" y="4312201"/>
                </a:lnTo>
                <a:lnTo>
                  <a:pt x="2304894" y="4309386"/>
                </a:lnTo>
                <a:lnTo>
                  <a:pt x="2306087" y="4307003"/>
                </a:lnTo>
                <a:lnTo>
                  <a:pt x="2308692" y="4306462"/>
                </a:lnTo>
                <a:lnTo>
                  <a:pt x="2306304" y="4303756"/>
                </a:lnTo>
                <a:lnTo>
                  <a:pt x="2300119" y="4300615"/>
                </a:lnTo>
                <a:lnTo>
                  <a:pt x="2298383" y="4297909"/>
                </a:lnTo>
                <a:lnTo>
                  <a:pt x="2295453" y="4296718"/>
                </a:lnTo>
                <a:lnTo>
                  <a:pt x="2293174" y="4299100"/>
                </a:lnTo>
                <a:lnTo>
                  <a:pt x="2287856" y="4299317"/>
                </a:lnTo>
                <a:lnTo>
                  <a:pt x="2283408" y="4296285"/>
                </a:lnTo>
                <a:lnTo>
                  <a:pt x="2282322" y="4290872"/>
                </a:lnTo>
                <a:lnTo>
                  <a:pt x="2281128" y="4292388"/>
                </a:lnTo>
                <a:lnTo>
                  <a:pt x="2275052" y="4292929"/>
                </a:lnTo>
                <a:lnTo>
                  <a:pt x="2272881" y="4297368"/>
                </a:lnTo>
                <a:lnTo>
                  <a:pt x="2273424" y="4299750"/>
                </a:lnTo>
                <a:lnTo>
                  <a:pt x="2277656" y="4301049"/>
                </a:lnTo>
                <a:lnTo>
                  <a:pt x="2277982" y="4303972"/>
                </a:lnTo>
                <a:lnTo>
                  <a:pt x="2275811" y="4306354"/>
                </a:lnTo>
                <a:lnTo>
                  <a:pt x="2272122" y="4305813"/>
                </a:lnTo>
                <a:lnTo>
                  <a:pt x="2265611" y="4298558"/>
                </a:lnTo>
                <a:lnTo>
                  <a:pt x="2265936" y="4294986"/>
                </a:lnTo>
                <a:lnTo>
                  <a:pt x="2272122" y="4291521"/>
                </a:lnTo>
                <a:lnTo>
                  <a:pt x="2273858" y="4287515"/>
                </a:lnTo>
                <a:lnTo>
                  <a:pt x="2277113" y="4285133"/>
                </a:lnTo>
                <a:lnTo>
                  <a:pt x="2278741" y="4280694"/>
                </a:lnTo>
                <a:lnTo>
                  <a:pt x="2281671" y="4280152"/>
                </a:lnTo>
                <a:lnTo>
                  <a:pt x="2280586" y="4276472"/>
                </a:lnTo>
                <a:lnTo>
                  <a:pt x="2278850" y="4276254"/>
                </a:lnTo>
                <a:lnTo>
                  <a:pt x="2276462" y="4271274"/>
                </a:lnTo>
                <a:lnTo>
                  <a:pt x="2276679" y="4268568"/>
                </a:lnTo>
                <a:lnTo>
                  <a:pt x="2279935" y="4267701"/>
                </a:lnTo>
                <a:lnTo>
                  <a:pt x="2282648" y="4268568"/>
                </a:lnTo>
                <a:lnTo>
                  <a:pt x="2291112" y="4268134"/>
                </a:lnTo>
                <a:lnTo>
                  <a:pt x="2295887" y="4266402"/>
                </a:lnTo>
                <a:lnTo>
                  <a:pt x="2297732" y="4267701"/>
                </a:lnTo>
                <a:lnTo>
                  <a:pt x="2297732" y="4274197"/>
                </a:lnTo>
                <a:lnTo>
                  <a:pt x="2294910" y="4276254"/>
                </a:lnTo>
                <a:lnTo>
                  <a:pt x="2290569" y="4277770"/>
                </a:lnTo>
                <a:lnTo>
                  <a:pt x="2290461" y="4279828"/>
                </a:lnTo>
                <a:lnTo>
                  <a:pt x="2293065" y="4280152"/>
                </a:lnTo>
                <a:lnTo>
                  <a:pt x="2297515" y="4277121"/>
                </a:lnTo>
                <a:lnTo>
                  <a:pt x="2303699" y="4275064"/>
                </a:lnTo>
                <a:lnTo>
                  <a:pt x="2305762" y="4275713"/>
                </a:lnTo>
                <a:lnTo>
                  <a:pt x="2304894" y="4278095"/>
                </a:lnTo>
                <a:lnTo>
                  <a:pt x="2305653" y="4282101"/>
                </a:lnTo>
                <a:lnTo>
                  <a:pt x="2304243" y="4289680"/>
                </a:lnTo>
                <a:lnTo>
                  <a:pt x="2302506" y="4291846"/>
                </a:lnTo>
                <a:lnTo>
                  <a:pt x="2304243" y="4294661"/>
                </a:lnTo>
                <a:lnTo>
                  <a:pt x="2305111" y="4290005"/>
                </a:lnTo>
                <a:lnTo>
                  <a:pt x="2308366" y="4288273"/>
                </a:lnTo>
                <a:lnTo>
                  <a:pt x="2308692" y="4279395"/>
                </a:lnTo>
                <a:lnTo>
                  <a:pt x="2309885" y="4276579"/>
                </a:lnTo>
                <a:lnTo>
                  <a:pt x="2307281" y="4275389"/>
                </a:lnTo>
                <a:lnTo>
                  <a:pt x="2307498" y="4270084"/>
                </a:lnTo>
                <a:lnTo>
                  <a:pt x="2310102" y="4262613"/>
                </a:lnTo>
                <a:lnTo>
                  <a:pt x="2313467" y="4258499"/>
                </a:lnTo>
                <a:lnTo>
                  <a:pt x="2311622" y="4257307"/>
                </a:lnTo>
                <a:lnTo>
                  <a:pt x="2311405" y="4254384"/>
                </a:lnTo>
                <a:lnTo>
                  <a:pt x="2313141" y="4252111"/>
                </a:lnTo>
                <a:lnTo>
                  <a:pt x="2311296" y="4247022"/>
                </a:lnTo>
                <a:lnTo>
                  <a:pt x="2311839" y="4242366"/>
                </a:lnTo>
                <a:lnTo>
                  <a:pt x="2314552" y="4242366"/>
                </a:lnTo>
                <a:lnTo>
                  <a:pt x="2320737" y="4238577"/>
                </a:lnTo>
                <a:lnTo>
                  <a:pt x="2324209" y="4233379"/>
                </a:lnTo>
                <a:lnTo>
                  <a:pt x="2324752" y="4225909"/>
                </a:lnTo>
                <a:lnTo>
                  <a:pt x="2322799" y="4222985"/>
                </a:lnTo>
                <a:lnTo>
                  <a:pt x="2318675" y="4222228"/>
                </a:lnTo>
                <a:lnTo>
                  <a:pt x="2318133" y="4218655"/>
                </a:lnTo>
                <a:lnTo>
                  <a:pt x="2315203" y="4215732"/>
                </a:lnTo>
                <a:lnTo>
                  <a:pt x="2310645" y="4215515"/>
                </a:lnTo>
                <a:lnTo>
                  <a:pt x="2308149" y="4213133"/>
                </a:lnTo>
                <a:lnTo>
                  <a:pt x="2308366" y="4210210"/>
                </a:lnTo>
                <a:lnTo>
                  <a:pt x="2311296" y="4206637"/>
                </a:lnTo>
                <a:lnTo>
                  <a:pt x="2312164" y="4200790"/>
                </a:lnTo>
                <a:lnTo>
                  <a:pt x="2313467" y="4196784"/>
                </a:lnTo>
                <a:lnTo>
                  <a:pt x="2308366" y="4193536"/>
                </a:lnTo>
                <a:lnTo>
                  <a:pt x="2307715" y="4191154"/>
                </a:lnTo>
                <a:lnTo>
                  <a:pt x="2311839" y="4186715"/>
                </a:lnTo>
                <a:lnTo>
                  <a:pt x="2310102" y="4185308"/>
                </a:lnTo>
                <a:lnTo>
                  <a:pt x="2310428" y="4182059"/>
                </a:lnTo>
                <a:lnTo>
                  <a:pt x="2314009" y="4177945"/>
                </a:lnTo>
                <a:lnTo>
                  <a:pt x="2310102" y="4174155"/>
                </a:lnTo>
                <a:lnTo>
                  <a:pt x="2309669" y="4168309"/>
                </a:lnTo>
                <a:lnTo>
                  <a:pt x="2311839" y="4166576"/>
                </a:lnTo>
                <a:lnTo>
                  <a:pt x="2314877" y="4165494"/>
                </a:lnTo>
                <a:lnTo>
                  <a:pt x="2314009" y="4163112"/>
                </a:lnTo>
                <a:lnTo>
                  <a:pt x="2309560" y="4159864"/>
                </a:lnTo>
                <a:lnTo>
                  <a:pt x="2309234" y="4157482"/>
                </a:lnTo>
                <a:lnTo>
                  <a:pt x="2310645" y="4155100"/>
                </a:lnTo>
                <a:lnTo>
                  <a:pt x="2313358" y="4156291"/>
                </a:lnTo>
                <a:lnTo>
                  <a:pt x="2315094" y="4160188"/>
                </a:lnTo>
                <a:lnTo>
                  <a:pt x="2317265" y="4162570"/>
                </a:lnTo>
                <a:lnTo>
                  <a:pt x="2318567" y="4161380"/>
                </a:lnTo>
                <a:lnTo>
                  <a:pt x="2316288" y="4158673"/>
                </a:lnTo>
                <a:lnTo>
                  <a:pt x="2315745" y="4150336"/>
                </a:lnTo>
                <a:lnTo>
                  <a:pt x="2315203" y="4146763"/>
                </a:lnTo>
                <a:lnTo>
                  <a:pt x="2312490" y="4148496"/>
                </a:lnTo>
                <a:lnTo>
                  <a:pt x="2308583" y="4146763"/>
                </a:lnTo>
                <a:lnTo>
                  <a:pt x="2308583" y="4143731"/>
                </a:lnTo>
                <a:lnTo>
                  <a:pt x="2313684" y="4139076"/>
                </a:lnTo>
                <a:lnTo>
                  <a:pt x="2316071" y="4135503"/>
                </a:lnTo>
                <a:lnTo>
                  <a:pt x="2313032" y="4135936"/>
                </a:lnTo>
                <a:lnTo>
                  <a:pt x="2311405" y="4137019"/>
                </a:lnTo>
                <a:lnTo>
                  <a:pt x="2307824" y="4132688"/>
                </a:lnTo>
                <a:lnTo>
                  <a:pt x="2303483" y="4132580"/>
                </a:lnTo>
                <a:lnTo>
                  <a:pt x="2302506" y="4133879"/>
                </a:lnTo>
                <a:lnTo>
                  <a:pt x="2302181" y="4140592"/>
                </a:lnTo>
                <a:lnTo>
                  <a:pt x="2295453" y="4142324"/>
                </a:lnTo>
                <a:lnTo>
                  <a:pt x="2288507" y="4139401"/>
                </a:lnTo>
                <a:lnTo>
                  <a:pt x="2286771" y="4135828"/>
                </a:lnTo>
                <a:lnTo>
                  <a:pt x="2284601" y="4133554"/>
                </a:lnTo>
                <a:lnTo>
                  <a:pt x="2277113" y="4122078"/>
                </a:lnTo>
                <a:lnTo>
                  <a:pt x="2275594" y="4119587"/>
                </a:lnTo>
                <a:lnTo>
                  <a:pt x="2276679" y="4118072"/>
                </a:lnTo>
                <a:lnTo>
                  <a:pt x="2277656" y="4114823"/>
                </a:lnTo>
                <a:lnTo>
                  <a:pt x="2275052" y="4112550"/>
                </a:lnTo>
                <a:lnTo>
                  <a:pt x="2277330" y="4109843"/>
                </a:lnTo>
                <a:lnTo>
                  <a:pt x="2276462" y="4105512"/>
                </a:lnTo>
                <a:lnTo>
                  <a:pt x="2279067" y="4095768"/>
                </a:lnTo>
                <a:lnTo>
                  <a:pt x="2275920" y="4093169"/>
                </a:lnTo>
                <a:lnTo>
                  <a:pt x="2274726" y="4088730"/>
                </a:lnTo>
                <a:lnTo>
                  <a:pt x="2276354" y="4084399"/>
                </a:lnTo>
                <a:lnTo>
                  <a:pt x="2278850" y="4084075"/>
                </a:lnTo>
                <a:lnTo>
                  <a:pt x="2280586" y="4085049"/>
                </a:lnTo>
                <a:lnTo>
                  <a:pt x="2281454" y="4082017"/>
                </a:lnTo>
                <a:lnTo>
                  <a:pt x="2280586" y="4078661"/>
                </a:lnTo>
                <a:lnTo>
                  <a:pt x="2282539" y="4077145"/>
                </a:lnTo>
                <a:lnTo>
                  <a:pt x="2284601" y="4066643"/>
                </a:lnTo>
                <a:lnTo>
                  <a:pt x="2284601" y="4058631"/>
                </a:lnTo>
                <a:lnTo>
                  <a:pt x="2281671" y="4055924"/>
                </a:lnTo>
                <a:lnTo>
                  <a:pt x="2280477" y="4052460"/>
                </a:lnTo>
                <a:lnTo>
                  <a:pt x="2272990" y="4039900"/>
                </a:lnTo>
                <a:lnTo>
                  <a:pt x="2273858" y="4033512"/>
                </a:lnTo>
                <a:lnTo>
                  <a:pt x="2273207" y="4028531"/>
                </a:lnTo>
                <a:lnTo>
                  <a:pt x="2267998" y="4024200"/>
                </a:lnTo>
                <a:lnTo>
                  <a:pt x="2264743" y="4019437"/>
                </a:lnTo>
                <a:lnTo>
                  <a:pt x="2264634" y="4012183"/>
                </a:lnTo>
                <a:lnTo>
                  <a:pt x="2263766" y="4006986"/>
                </a:lnTo>
                <a:lnTo>
                  <a:pt x="2264200" y="4004063"/>
                </a:lnTo>
                <a:lnTo>
                  <a:pt x="2267672" y="4003304"/>
                </a:lnTo>
                <a:lnTo>
                  <a:pt x="2270602" y="4005470"/>
                </a:lnTo>
                <a:lnTo>
                  <a:pt x="2273424" y="4005145"/>
                </a:lnTo>
                <a:lnTo>
                  <a:pt x="2276137" y="4001247"/>
                </a:lnTo>
                <a:lnTo>
                  <a:pt x="2275920" y="3996375"/>
                </a:lnTo>
                <a:lnTo>
                  <a:pt x="2274400" y="3992478"/>
                </a:lnTo>
                <a:lnTo>
                  <a:pt x="2274726" y="3989013"/>
                </a:lnTo>
                <a:lnTo>
                  <a:pt x="2276354" y="3986090"/>
                </a:lnTo>
                <a:lnTo>
                  <a:pt x="2276354" y="3981651"/>
                </a:lnTo>
                <a:lnTo>
                  <a:pt x="2279610" y="3979377"/>
                </a:lnTo>
                <a:lnTo>
                  <a:pt x="2280151" y="3975371"/>
                </a:lnTo>
                <a:lnTo>
                  <a:pt x="2280260" y="3968874"/>
                </a:lnTo>
                <a:lnTo>
                  <a:pt x="2283190" y="3964544"/>
                </a:lnTo>
                <a:lnTo>
                  <a:pt x="2281454" y="3961837"/>
                </a:lnTo>
                <a:lnTo>
                  <a:pt x="2281128" y="3959238"/>
                </a:lnTo>
                <a:lnTo>
                  <a:pt x="2283841" y="3956315"/>
                </a:lnTo>
                <a:lnTo>
                  <a:pt x="2284384" y="3950468"/>
                </a:lnTo>
                <a:lnTo>
                  <a:pt x="2285578" y="3948411"/>
                </a:lnTo>
                <a:lnTo>
                  <a:pt x="2285252" y="3944081"/>
                </a:lnTo>
                <a:lnTo>
                  <a:pt x="2287314" y="3940183"/>
                </a:lnTo>
                <a:lnTo>
                  <a:pt x="2287965" y="3932929"/>
                </a:lnTo>
                <a:lnTo>
                  <a:pt x="2287965" y="3929031"/>
                </a:lnTo>
                <a:lnTo>
                  <a:pt x="2290787" y="3925891"/>
                </a:lnTo>
                <a:lnTo>
                  <a:pt x="2292522" y="3920261"/>
                </a:lnTo>
                <a:lnTo>
                  <a:pt x="2290569" y="3917987"/>
                </a:lnTo>
                <a:lnTo>
                  <a:pt x="2290569" y="3915930"/>
                </a:lnTo>
                <a:lnTo>
                  <a:pt x="2293825" y="3909217"/>
                </a:lnTo>
                <a:lnTo>
                  <a:pt x="2297515" y="3907052"/>
                </a:lnTo>
                <a:lnTo>
                  <a:pt x="2300119" y="3902830"/>
                </a:lnTo>
                <a:lnTo>
                  <a:pt x="2299360" y="3898715"/>
                </a:lnTo>
                <a:lnTo>
                  <a:pt x="2294042" y="3891353"/>
                </a:lnTo>
                <a:lnTo>
                  <a:pt x="2292631" y="3888971"/>
                </a:lnTo>
                <a:lnTo>
                  <a:pt x="2293825" y="3884857"/>
                </a:lnTo>
                <a:lnTo>
                  <a:pt x="2294585" y="3881175"/>
                </a:lnTo>
                <a:lnTo>
                  <a:pt x="2293390" y="3877061"/>
                </a:lnTo>
                <a:lnTo>
                  <a:pt x="2293174" y="3874679"/>
                </a:lnTo>
                <a:lnTo>
                  <a:pt x="2294802" y="3868832"/>
                </a:lnTo>
                <a:lnTo>
                  <a:pt x="2294367" y="3860387"/>
                </a:lnTo>
                <a:lnTo>
                  <a:pt x="2289376" y="3853133"/>
                </a:lnTo>
                <a:lnTo>
                  <a:pt x="2288833" y="3848911"/>
                </a:lnTo>
                <a:lnTo>
                  <a:pt x="2291112" y="3846312"/>
                </a:lnTo>
                <a:lnTo>
                  <a:pt x="2291112" y="3838408"/>
                </a:lnTo>
                <a:lnTo>
                  <a:pt x="2285578" y="3824117"/>
                </a:lnTo>
                <a:lnTo>
                  <a:pt x="2285144" y="3819137"/>
                </a:lnTo>
                <a:lnTo>
                  <a:pt x="2284058" y="3813831"/>
                </a:lnTo>
                <a:lnTo>
                  <a:pt x="2284276" y="3807660"/>
                </a:lnTo>
                <a:lnTo>
                  <a:pt x="2287531" y="3806252"/>
                </a:lnTo>
                <a:lnTo>
                  <a:pt x="2291004" y="3802138"/>
                </a:lnTo>
                <a:lnTo>
                  <a:pt x="2287639" y="3798023"/>
                </a:lnTo>
                <a:lnTo>
                  <a:pt x="2289701" y="3792719"/>
                </a:lnTo>
                <a:lnTo>
                  <a:pt x="2293174" y="3790228"/>
                </a:lnTo>
                <a:lnTo>
                  <a:pt x="2290461" y="3786005"/>
                </a:lnTo>
                <a:lnTo>
                  <a:pt x="2289593" y="3779076"/>
                </a:lnTo>
                <a:lnTo>
                  <a:pt x="2285252" y="3772364"/>
                </a:lnTo>
                <a:lnTo>
                  <a:pt x="2285252" y="3768574"/>
                </a:lnTo>
                <a:lnTo>
                  <a:pt x="2289267" y="3759695"/>
                </a:lnTo>
                <a:lnTo>
                  <a:pt x="2290135" y="3756340"/>
                </a:lnTo>
                <a:lnTo>
                  <a:pt x="2288724" y="3748869"/>
                </a:lnTo>
                <a:lnTo>
                  <a:pt x="2291112" y="3744863"/>
                </a:lnTo>
                <a:lnTo>
                  <a:pt x="2291437" y="3738691"/>
                </a:lnTo>
                <a:lnTo>
                  <a:pt x="2295453" y="3732628"/>
                </a:lnTo>
                <a:lnTo>
                  <a:pt x="2295453" y="3729813"/>
                </a:lnTo>
                <a:lnTo>
                  <a:pt x="2294259" y="3726348"/>
                </a:lnTo>
                <a:lnTo>
                  <a:pt x="2294259" y="3719744"/>
                </a:lnTo>
                <a:lnTo>
                  <a:pt x="2296863" y="3715305"/>
                </a:lnTo>
                <a:lnTo>
                  <a:pt x="2297297" y="3703287"/>
                </a:lnTo>
                <a:lnTo>
                  <a:pt x="2298383" y="3698306"/>
                </a:lnTo>
                <a:lnTo>
                  <a:pt x="2293825" y="3690186"/>
                </a:lnTo>
                <a:lnTo>
                  <a:pt x="2293825" y="3684014"/>
                </a:lnTo>
                <a:lnTo>
                  <a:pt x="2297840" y="3677627"/>
                </a:lnTo>
                <a:lnTo>
                  <a:pt x="2298708" y="3671455"/>
                </a:lnTo>
                <a:lnTo>
                  <a:pt x="2297948" y="3664093"/>
                </a:lnTo>
                <a:lnTo>
                  <a:pt x="2294585" y="3654673"/>
                </a:lnTo>
                <a:lnTo>
                  <a:pt x="2294367" y="3629662"/>
                </a:lnTo>
                <a:lnTo>
                  <a:pt x="2297297" y="3626956"/>
                </a:lnTo>
                <a:lnTo>
                  <a:pt x="2295453" y="3625223"/>
                </a:lnTo>
                <a:lnTo>
                  <a:pt x="2292306" y="3627498"/>
                </a:lnTo>
                <a:lnTo>
                  <a:pt x="2290787" y="3625115"/>
                </a:lnTo>
                <a:lnTo>
                  <a:pt x="2290244" y="3615588"/>
                </a:lnTo>
                <a:lnTo>
                  <a:pt x="2293499" y="3613422"/>
                </a:lnTo>
                <a:lnTo>
                  <a:pt x="2296972" y="3611365"/>
                </a:lnTo>
                <a:lnTo>
                  <a:pt x="2296972" y="3607251"/>
                </a:lnTo>
                <a:lnTo>
                  <a:pt x="2296103" y="3590360"/>
                </a:lnTo>
                <a:lnTo>
                  <a:pt x="2297189" y="3588087"/>
                </a:lnTo>
                <a:lnTo>
                  <a:pt x="2298491" y="3584730"/>
                </a:lnTo>
                <a:lnTo>
                  <a:pt x="2298491" y="3572279"/>
                </a:lnTo>
                <a:lnTo>
                  <a:pt x="2295453" y="3564700"/>
                </a:lnTo>
                <a:lnTo>
                  <a:pt x="2292522" y="3555822"/>
                </a:lnTo>
                <a:lnTo>
                  <a:pt x="2290569" y="3546728"/>
                </a:lnTo>
                <a:lnTo>
                  <a:pt x="2293174" y="3543912"/>
                </a:lnTo>
                <a:lnTo>
                  <a:pt x="2294585" y="3539149"/>
                </a:lnTo>
                <a:lnTo>
                  <a:pt x="2294585" y="3532436"/>
                </a:lnTo>
                <a:lnTo>
                  <a:pt x="2290787" y="3514571"/>
                </a:lnTo>
                <a:lnTo>
                  <a:pt x="2289593" y="3507859"/>
                </a:lnTo>
                <a:lnTo>
                  <a:pt x="2290244" y="3502878"/>
                </a:lnTo>
                <a:lnTo>
                  <a:pt x="2289701" y="3496165"/>
                </a:lnTo>
                <a:lnTo>
                  <a:pt x="2287639" y="3494216"/>
                </a:lnTo>
                <a:lnTo>
                  <a:pt x="2293608" y="3491402"/>
                </a:lnTo>
                <a:lnTo>
                  <a:pt x="2298816" y="3487937"/>
                </a:lnTo>
                <a:lnTo>
                  <a:pt x="2301964" y="3488586"/>
                </a:lnTo>
                <a:lnTo>
                  <a:pt x="2306521" y="3485663"/>
                </a:lnTo>
                <a:lnTo>
                  <a:pt x="2308258" y="3481765"/>
                </a:lnTo>
                <a:lnTo>
                  <a:pt x="2308257" y="3481765"/>
                </a:lnTo>
                <a:lnTo>
                  <a:pt x="2306521" y="3485663"/>
                </a:lnTo>
                <a:lnTo>
                  <a:pt x="2301963" y="3488586"/>
                </a:lnTo>
                <a:lnTo>
                  <a:pt x="2298816" y="3487936"/>
                </a:lnTo>
                <a:lnTo>
                  <a:pt x="2293608" y="3491401"/>
                </a:lnTo>
                <a:lnTo>
                  <a:pt x="2287639" y="3494216"/>
                </a:lnTo>
                <a:lnTo>
                  <a:pt x="2286771" y="3493350"/>
                </a:lnTo>
                <a:lnTo>
                  <a:pt x="2282648" y="3492050"/>
                </a:lnTo>
                <a:lnTo>
                  <a:pt x="2276462" y="3486420"/>
                </a:lnTo>
                <a:lnTo>
                  <a:pt x="2269950" y="3479708"/>
                </a:lnTo>
                <a:lnTo>
                  <a:pt x="2264525" y="3477434"/>
                </a:lnTo>
                <a:lnTo>
                  <a:pt x="2259099" y="3476351"/>
                </a:lnTo>
                <a:lnTo>
                  <a:pt x="2258991" y="3472995"/>
                </a:lnTo>
                <a:lnTo>
                  <a:pt x="2259316" y="3470505"/>
                </a:lnTo>
                <a:lnTo>
                  <a:pt x="2257797" y="3467473"/>
                </a:lnTo>
                <a:lnTo>
                  <a:pt x="2254541" y="3466174"/>
                </a:lnTo>
                <a:lnTo>
                  <a:pt x="2249441" y="3461302"/>
                </a:lnTo>
                <a:lnTo>
                  <a:pt x="2245751" y="3459028"/>
                </a:lnTo>
                <a:lnTo>
                  <a:pt x="2239241" y="3454264"/>
                </a:lnTo>
                <a:lnTo>
                  <a:pt x="2237938" y="3451124"/>
                </a:lnTo>
                <a:lnTo>
                  <a:pt x="2235768" y="3449934"/>
                </a:lnTo>
                <a:lnTo>
                  <a:pt x="2231319" y="3449717"/>
                </a:lnTo>
                <a:lnTo>
                  <a:pt x="2225024" y="3447335"/>
                </a:lnTo>
                <a:lnTo>
                  <a:pt x="2215801" y="3441704"/>
                </a:lnTo>
                <a:lnTo>
                  <a:pt x="2211677" y="3440622"/>
                </a:lnTo>
                <a:lnTo>
                  <a:pt x="2209615" y="3441380"/>
                </a:lnTo>
                <a:lnTo>
                  <a:pt x="2203864" y="3439323"/>
                </a:lnTo>
                <a:lnTo>
                  <a:pt x="2200175" y="3436941"/>
                </a:lnTo>
                <a:lnTo>
                  <a:pt x="2199632" y="3433368"/>
                </a:lnTo>
                <a:lnTo>
                  <a:pt x="2196160" y="3430120"/>
                </a:lnTo>
                <a:lnTo>
                  <a:pt x="2188454" y="3426114"/>
                </a:lnTo>
                <a:lnTo>
                  <a:pt x="2184331" y="3421458"/>
                </a:lnTo>
                <a:lnTo>
                  <a:pt x="2185742" y="3417344"/>
                </a:lnTo>
                <a:lnTo>
                  <a:pt x="2183463" y="3420159"/>
                </a:lnTo>
                <a:lnTo>
                  <a:pt x="2176192" y="3420484"/>
                </a:lnTo>
                <a:lnTo>
                  <a:pt x="2173154" y="3418535"/>
                </a:lnTo>
                <a:lnTo>
                  <a:pt x="2171417" y="3414529"/>
                </a:lnTo>
                <a:lnTo>
                  <a:pt x="2169681" y="3412255"/>
                </a:lnTo>
                <a:lnTo>
                  <a:pt x="2165123" y="3411713"/>
                </a:lnTo>
                <a:lnTo>
                  <a:pt x="2161543" y="3407275"/>
                </a:lnTo>
                <a:lnTo>
                  <a:pt x="2161217" y="3404027"/>
                </a:lnTo>
                <a:lnTo>
                  <a:pt x="2153621" y="3400237"/>
                </a:lnTo>
                <a:lnTo>
                  <a:pt x="2145699" y="3394715"/>
                </a:lnTo>
                <a:lnTo>
                  <a:pt x="2146784" y="3392333"/>
                </a:lnTo>
                <a:lnTo>
                  <a:pt x="2146024" y="3389193"/>
                </a:lnTo>
                <a:lnTo>
                  <a:pt x="2142986" y="3387136"/>
                </a:lnTo>
                <a:lnTo>
                  <a:pt x="2140165" y="3387678"/>
                </a:lnTo>
                <a:lnTo>
                  <a:pt x="2140165" y="3384105"/>
                </a:lnTo>
                <a:lnTo>
                  <a:pt x="2139297" y="3380099"/>
                </a:lnTo>
                <a:lnTo>
                  <a:pt x="2139513" y="3377717"/>
                </a:lnTo>
                <a:lnTo>
                  <a:pt x="2141793" y="3379232"/>
                </a:lnTo>
                <a:lnTo>
                  <a:pt x="2143854" y="3378366"/>
                </a:lnTo>
                <a:lnTo>
                  <a:pt x="2143637" y="3373927"/>
                </a:lnTo>
                <a:lnTo>
                  <a:pt x="2135715" y="3362775"/>
                </a:lnTo>
                <a:lnTo>
                  <a:pt x="2133979" y="3357254"/>
                </a:lnTo>
                <a:lnTo>
                  <a:pt x="2127143" y="3346210"/>
                </a:lnTo>
                <a:lnTo>
                  <a:pt x="2125841" y="3340580"/>
                </a:lnTo>
                <a:lnTo>
                  <a:pt x="2119655" y="3338306"/>
                </a:lnTo>
                <a:lnTo>
                  <a:pt x="2117485" y="3335383"/>
                </a:lnTo>
                <a:lnTo>
                  <a:pt x="2116617" y="3328671"/>
                </a:lnTo>
                <a:lnTo>
                  <a:pt x="2114555" y="3324447"/>
                </a:lnTo>
                <a:lnTo>
                  <a:pt x="2106416" y="3317194"/>
                </a:lnTo>
                <a:lnTo>
                  <a:pt x="2103269" y="3316220"/>
                </a:lnTo>
                <a:lnTo>
                  <a:pt x="2102510" y="3312863"/>
                </a:lnTo>
                <a:lnTo>
                  <a:pt x="2103703" y="3308965"/>
                </a:lnTo>
                <a:lnTo>
                  <a:pt x="2100773" y="3303985"/>
                </a:lnTo>
                <a:lnTo>
                  <a:pt x="2093177" y="3294457"/>
                </a:lnTo>
                <a:lnTo>
                  <a:pt x="2089379" y="3286228"/>
                </a:lnTo>
                <a:lnTo>
                  <a:pt x="2090789" y="3284388"/>
                </a:lnTo>
                <a:lnTo>
                  <a:pt x="2089921" y="3278649"/>
                </a:lnTo>
                <a:lnTo>
                  <a:pt x="2085581" y="3270962"/>
                </a:lnTo>
                <a:lnTo>
                  <a:pt x="2081783" y="3268688"/>
                </a:lnTo>
                <a:lnTo>
                  <a:pt x="2078527" y="3263384"/>
                </a:lnTo>
                <a:lnTo>
                  <a:pt x="2077659" y="3255588"/>
                </a:lnTo>
                <a:lnTo>
                  <a:pt x="2074946" y="3251040"/>
                </a:lnTo>
                <a:lnTo>
                  <a:pt x="2073536" y="3244111"/>
                </a:lnTo>
                <a:lnTo>
                  <a:pt x="2069194" y="3237074"/>
                </a:lnTo>
                <a:lnTo>
                  <a:pt x="2059537" y="3232093"/>
                </a:lnTo>
                <a:lnTo>
                  <a:pt x="2056824" y="3227329"/>
                </a:lnTo>
                <a:lnTo>
                  <a:pt x="2056064" y="3220725"/>
                </a:lnTo>
                <a:lnTo>
                  <a:pt x="2050747" y="3213254"/>
                </a:lnTo>
                <a:lnTo>
                  <a:pt x="2049553" y="3209248"/>
                </a:lnTo>
                <a:lnTo>
                  <a:pt x="2044778" y="3208057"/>
                </a:lnTo>
                <a:lnTo>
                  <a:pt x="2034903" y="3201561"/>
                </a:lnTo>
                <a:lnTo>
                  <a:pt x="2028393" y="3200695"/>
                </a:lnTo>
                <a:lnTo>
                  <a:pt x="2021339" y="3194632"/>
                </a:lnTo>
                <a:lnTo>
                  <a:pt x="2016456" y="3192791"/>
                </a:lnTo>
                <a:lnTo>
                  <a:pt x="2012549" y="3189001"/>
                </a:lnTo>
                <a:lnTo>
                  <a:pt x="2013959" y="3185320"/>
                </a:lnTo>
                <a:lnTo>
                  <a:pt x="2017757" y="3183696"/>
                </a:lnTo>
                <a:lnTo>
                  <a:pt x="2021339" y="3183479"/>
                </a:lnTo>
                <a:lnTo>
                  <a:pt x="2021773" y="3178824"/>
                </a:lnTo>
                <a:lnTo>
                  <a:pt x="2018192" y="3172111"/>
                </a:lnTo>
                <a:lnTo>
                  <a:pt x="2013526" y="3167997"/>
                </a:lnTo>
                <a:lnTo>
                  <a:pt x="2013526" y="3165398"/>
                </a:lnTo>
                <a:lnTo>
                  <a:pt x="2016456" y="3163342"/>
                </a:lnTo>
                <a:lnTo>
                  <a:pt x="2016021" y="3159877"/>
                </a:lnTo>
                <a:lnTo>
                  <a:pt x="2012223" y="3156845"/>
                </a:lnTo>
                <a:lnTo>
                  <a:pt x="2011681" y="3154571"/>
                </a:lnTo>
                <a:lnTo>
                  <a:pt x="2013526" y="3149916"/>
                </a:lnTo>
                <a:lnTo>
                  <a:pt x="2015262" y="3143961"/>
                </a:lnTo>
                <a:lnTo>
                  <a:pt x="2023509" y="3135841"/>
                </a:lnTo>
                <a:lnTo>
                  <a:pt x="2027850" y="3131835"/>
                </a:lnTo>
                <a:lnTo>
                  <a:pt x="2039570" y="3126746"/>
                </a:lnTo>
                <a:lnTo>
                  <a:pt x="2039895" y="3126421"/>
                </a:lnTo>
                <a:lnTo>
                  <a:pt x="2042065" y="3127612"/>
                </a:lnTo>
                <a:lnTo>
                  <a:pt x="2044127" y="3134108"/>
                </a:lnTo>
                <a:lnTo>
                  <a:pt x="2039135" y="3136707"/>
                </a:lnTo>
                <a:lnTo>
                  <a:pt x="2035120" y="3141146"/>
                </a:lnTo>
                <a:lnTo>
                  <a:pt x="2035880" y="3145802"/>
                </a:lnTo>
                <a:lnTo>
                  <a:pt x="2040655" y="3146018"/>
                </a:lnTo>
                <a:lnTo>
                  <a:pt x="2035881" y="3145801"/>
                </a:lnTo>
                <a:lnTo>
                  <a:pt x="2035121" y="3141145"/>
                </a:lnTo>
                <a:lnTo>
                  <a:pt x="2039136" y="3136706"/>
                </a:lnTo>
                <a:lnTo>
                  <a:pt x="2044128" y="3134108"/>
                </a:lnTo>
                <a:lnTo>
                  <a:pt x="2042066" y="3127612"/>
                </a:lnTo>
                <a:lnTo>
                  <a:pt x="2039896" y="3126421"/>
                </a:lnTo>
                <a:lnTo>
                  <a:pt x="2046081" y="3121224"/>
                </a:lnTo>
                <a:lnTo>
                  <a:pt x="2048577" y="3115160"/>
                </a:lnTo>
                <a:lnTo>
                  <a:pt x="2047817" y="3111588"/>
                </a:lnTo>
                <a:lnTo>
                  <a:pt x="2049012" y="3104875"/>
                </a:lnTo>
                <a:lnTo>
                  <a:pt x="2047492" y="3098704"/>
                </a:lnTo>
                <a:lnTo>
                  <a:pt x="2045973" y="3098379"/>
                </a:lnTo>
                <a:lnTo>
                  <a:pt x="2046299" y="3102168"/>
                </a:lnTo>
                <a:lnTo>
                  <a:pt x="2045431" y="3104442"/>
                </a:lnTo>
                <a:lnTo>
                  <a:pt x="2044888" y="3100761"/>
                </a:lnTo>
                <a:lnTo>
                  <a:pt x="2044779" y="3096647"/>
                </a:lnTo>
                <a:lnTo>
                  <a:pt x="2041306" y="3100111"/>
                </a:lnTo>
                <a:lnTo>
                  <a:pt x="2039788" y="3103035"/>
                </a:lnTo>
                <a:lnTo>
                  <a:pt x="2037726" y="3108664"/>
                </a:lnTo>
                <a:lnTo>
                  <a:pt x="2035772" y="3110072"/>
                </a:lnTo>
                <a:lnTo>
                  <a:pt x="2031865" y="3107474"/>
                </a:lnTo>
                <a:lnTo>
                  <a:pt x="2026982" y="3102493"/>
                </a:lnTo>
                <a:lnTo>
                  <a:pt x="2021774" y="3100436"/>
                </a:lnTo>
                <a:lnTo>
                  <a:pt x="2019061" y="3096863"/>
                </a:lnTo>
                <a:lnTo>
                  <a:pt x="2021448" y="3094589"/>
                </a:lnTo>
                <a:lnTo>
                  <a:pt x="2024053" y="3090150"/>
                </a:lnTo>
                <a:lnTo>
                  <a:pt x="2023184" y="3083113"/>
                </a:lnTo>
                <a:lnTo>
                  <a:pt x="2023727" y="3079323"/>
                </a:lnTo>
                <a:lnTo>
                  <a:pt x="2021883" y="3074343"/>
                </a:lnTo>
                <a:lnTo>
                  <a:pt x="2020146" y="3070554"/>
                </a:lnTo>
                <a:lnTo>
                  <a:pt x="2024378" y="3064707"/>
                </a:lnTo>
                <a:lnTo>
                  <a:pt x="2029479" y="3064057"/>
                </a:lnTo>
                <a:lnTo>
                  <a:pt x="2034036" y="3057452"/>
                </a:lnTo>
                <a:lnTo>
                  <a:pt x="2031974" y="3054746"/>
                </a:lnTo>
                <a:lnTo>
                  <a:pt x="2032625" y="3050632"/>
                </a:lnTo>
                <a:lnTo>
                  <a:pt x="2041632" y="3040995"/>
                </a:lnTo>
                <a:lnTo>
                  <a:pt x="2042934" y="3034391"/>
                </a:lnTo>
                <a:lnTo>
                  <a:pt x="2040873" y="3030926"/>
                </a:lnTo>
                <a:lnTo>
                  <a:pt x="2040547" y="3027570"/>
                </a:lnTo>
                <a:lnTo>
                  <a:pt x="2037400" y="3022048"/>
                </a:lnTo>
                <a:lnTo>
                  <a:pt x="2043694" y="3018908"/>
                </a:lnTo>
                <a:lnTo>
                  <a:pt x="2049554" y="3018583"/>
                </a:lnTo>
                <a:lnTo>
                  <a:pt x="2060948" y="3010680"/>
                </a:lnTo>
                <a:lnTo>
                  <a:pt x="2067785" y="3010355"/>
                </a:lnTo>
                <a:lnTo>
                  <a:pt x="2069195" y="3004725"/>
                </a:lnTo>
                <a:lnTo>
                  <a:pt x="2076140" y="3007324"/>
                </a:lnTo>
                <a:lnTo>
                  <a:pt x="2081966" y="3011359"/>
                </a:lnTo>
                <a:lnTo>
                  <a:pt x="2076140" y="3007323"/>
                </a:lnTo>
                <a:lnTo>
                  <a:pt x="2069195" y="3004724"/>
                </a:lnTo>
                <a:lnTo>
                  <a:pt x="2070280" y="3000393"/>
                </a:lnTo>
                <a:lnTo>
                  <a:pt x="2071257" y="2992382"/>
                </a:lnTo>
                <a:lnTo>
                  <a:pt x="2077876" y="2982421"/>
                </a:lnTo>
                <a:lnTo>
                  <a:pt x="2084712" y="2977224"/>
                </a:lnTo>
                <a:lnTo>
                  <a:pt x="2093720" y="2975275"/>
                </a:lnTo>
                <a:lnTo>
                  <a:pt x="2100448" y="2968779"/>
                </a:lnTo>
                <a:lnTo>
                  <a:pt x="2102835" y="2963798"/>
                </a:lnTo>
                <a:lnTo>
                  <a:pt x="2111733" y="2954812"/>
                </a:lnTo>
                <a:lnTo>
                  <a:pt x="2113795" y="2949507"/>
                </a:lnTo>
                <a:lnTo>
                  <a:pt x="2116291" y="2946475"/>
                </a:lnTo>
                <a:lnTo>
                  <a:pt x="2116074" y="2944201"/>
                </a:lnTo>
                <a:lnTo>
                  <a:pt x="2113578" y="2944418"/>
                </a:lnTo>
                <a:lnTo>
                  <a:pt x="2111082" y="2940953"/>
                </a:lnTo>
                <a:lnTo>
                  <a:pt x="2111733" y="2938354"/>
                </a:lnTo>
                <a:lnTo>
                  <a:pt x="2107501" y="2940195"/>
                </a:lnTo>
                <a:lnTo>
                  <a:pt x="2104680" y="2936189"/>
                </a:lnTo>
                <a:lnTo>
                  <a:pt x="2105222" y="2932832"/>
                </a:lnTo>
                <a:lnTo>
                  <a:pt x="2108587" y="2928935"/>
                </a:lnTo>
                <a:lnTo>
                  <a:pt x="2108152" y="2917783"/>
                </a:lnTo>
                <a:lnTo>
                  <a:pt x="2108695" y="2909771"/>
                </a:lnTo>
                <a:lnTo>
                  <a:pt x="2106850" y="2905440"/>
                </a:lnTo>
                <a:lnTo>
                  <a:pt x="2104897" y="2904574"/>
                </a:lnTo>
                <a:lnTo>
                  <a:pt x="2106850" y="2901110"/>
                </a:lnTo>
                <a:lnTo>
                  <a:pt x="2109888" y="2898835"/>
                </a:lnTo>
                <a:lnTo>
                  <a:pt x="2109888" y="2892231"/>
                </a:lnTo>
                <a:lnTo>
                  <a:pt x="2107067" y="2889091"/>
                </a:lnTo>
                <a:lnTo>
                  <a:pt x="2107175" y="2887034"/>
                </a:lnTo>
                <a:lnTo>
                  <a:pt x="2110105" y="2883786"/>
                </a:lnTo>
                <a:lnTo>
                  <a:pt x="2109455" y="2878480"/>
                </a:lnTo>
                <a:lnTo>
                  <a:pt x="2108152" y="2876316"/>
                </a:lnTo>
                <a:lnTo>
                  <a:pt x="2105874" y="2877506"/>
                </a:lnTo>
                <a:lnTo>
                  <a:pt x="2104029" y="2877723"/>
                </a:lnTo>
                <a:lnTo>
                  <a:pt x="2099363" y="2871876"/>
                </a:lnTo>
                <a:lnTo>
                  <a:pt x="2098820" y="2866463"/>
                </a:lnTo>
                <a:lnTo>
                  <a:pt x="2097843" y="2860941"/>
                </a:lnTo>
                <a:lnTo>
                  <a:pt x="2096866" y="2860075"/>
                </a:lnTo>
                <a:lnTo>
                  <a:pt x="2099905" y="2852821"/>
                </a:lnTo>
                <a:lnTo>
                  <a:pt x="2099905" y="2852821"/>
                </a:lnTo>
                <a:lnTo>
                  <a:pt x="2096866" y="2860075"/>
                </a:lnTo>
                <a:lnTo>
                  <a:pt x="2091874" y="2855636"/>
                </a:lnTo>
                <a:lnTo>
                  <a:pt x="2086557" y="2848166"/>
                </a:lnTo>
                <a:lnTo>
                  <a:pt x="2084495" y="2841994"/>
                </a:lnTo>
                <a:lnTo>
                  <a:pt x="2086448" y="2840154"/>
                </a:lnTo>
                <a:lnTo>
                  <a:pt x="2090355" y="2834199"/>
                </a:lnTo>
                <a:lnTo>
                  <a:pt x="2092851" y="2833873"/>
                </a:lnTo>
                <a:lnTo>
                  <a:pt x="2094804" y="2831816"/>
                </a:lnTo>
                <a:lnTo>
                  <a:pt x="2093719" y="2828569"/>
                </a:lnTo>
                <a:lnTo>
                  <a:pt x="2091114" y="2828677"/>
                </a:lnTo>
                <a:lnTo>
                  <a:pt x="2087968" y="2832250"/>
                </a:lnTo>
                <a:lnTo>
                  <a:pt x="2086557" y="2833441"/>
                </a:lnTo>
                <a:lnTo>
                  <a:pt x="2084061" y="2831492"/>
                </a:lnTo>
                <a:lnTo>
                  <a:pt x="2082433" y="2827053"/>
                </a:lnTo>
                <a:lnTo>
                  <a:pt x="2078201" y="2821531"/>
                </a:lnTo>
                <a:lnTo>
                  <a:pt x="2075054" y="2820989"/>
                </a:lnTo>
                <a:lnTo>
                  <a:pt x="2070714" y="2816659"/>
                </a:lnTo>
                <a:lnTo>
                  <a:pt x="2067675" y="2815035"/>
                </a:lnTo>
                <a:lnTo>
                  <a:pt x="2061923" y="2815576"/>
                </a:lnTo>
                <a:lnTo>
                  <a:pt x="2054762" y="2819365"/>
                </a:lnTo>
                <a:lnTo>
                  <a:pt x="2054219" y="2824021"/>
                </a:lnTo>
                <a:lnTo>
                  <a:pt x="2055630" y="2825104"/>
                </a:lnTo>
                <a:lnTo>
                  <a:pt x="2055847" y="2827269"/>
                </a:lnTo>
                <a:lnTo>
                  <a:pt x="2049119" y="2833441"/>
                </a:lnTo>
                <a:lnTo>
                  <a:pt x="2041632" y="2835065"/>
                </a:lnTo>
                <a:lnTo>
                  <a:pt x="2037725" y="2837122"/>
                </a:lnTo>
                <a:lnTo>
                  <a:pt x="2036857" y="2839829"/>
                </a:lnTo>
                <a:lnTo>
                  <a:pt x="2038702" y="2843726"/>
                </a:lnTo>
                <a:lnTo>
                  <a:pt x="2042717" y="2846541"/>
                </a:lnTo>
                <a:lnTo>
                  <a:pt x="2046406" y="2849789"/>
                </a:lnTo>
                <a:lnTo>
                  <a:pt x="2046080" y="2854662"/>
                </a:lnTo>
                <a:lnTo>
                  <a:pt x="2043585" y="2855419"/>
                </a:lnTo>
                <a:lnTo>
                  <a:pt x="2039352" y="2854770"/>
                </a:lnTo>
                <a:lnTo>
                  <a:pt x="2036097" y="2858127"/>
                </a:lnTo>
                <a:lnTo>
                  <a:pt x="2033167" y="2862565"/>
                </a:lnTo>
                <a:lnTo>
                  <a:pt x="2026439" y="2861591"/>
                </a:lnTo>
                <a:lnTo>
                  <a:pt x="2024920" y="2858884"/>
                </a:lnTo>
                <a:lnTo>
                  <a:pt x="2025788" y="2855419"/>
                </a:lnTo>
                <a:lnTo>
                  <a:pt x="2024595" y="2850656"/>
                </a:lnTo>
                <a:lnTo>
                  <a:pt x="2025463" y="2848057"/>
                </a:lnTo>
                <a:lnTo>
                  <a:pt x="2023943" y="2846000"/>
                </a:lnTo>
                <a:lnTo>
                  <a:pt x="2020796" y="2845458"/>
                </a:lnTo>
                <a:lnTo>
                  <a:pt x="2019169" y="2848057"/>
                </a:lnTo>
                <a:lnTo>
                  <a:pt x="2020796" y="2849789"/>
                </a:lnTo>
                <a:lnTo>
                  <a:pt x="2019385" y="2852713"/>
                </a:lnTo>
                <a:lnTo>
                  <a:pt x="2015371" y="2852821"/>
                </a:lnTo>
                <a:lnTo>
                  <a:pt x="2011572" y="2850656"/>
                </a:lnTo>
                <a:lnTo>
                  <a:pt x="2008534" y="2844484"/>
                </a:lnTo>
                <a:lnTo>
                  <a:pt x="2007449" y="2838313"/>
                </a:lnTo>
                <a:lnTo>
                  <a:pt x="1998767" y="2837122"/>
                </a:lnTo>
                <a:lnTo>
                  <a:pt x="1996054" y="2836364"/>
                </a:lnTo>
                <a:lnTo>
                  <a:pt x="1996380" y="2834632"/>
                </a:lnTo>
                <a:lnTo>
                  <a:pt x="1994209" y="2832466"/>
                </a:lnTo>
                <a:lnTo>
                  <a:pt x="1992039" y="2834091"/>
                </a:lnTo>
                <a:lnTo>
                  <a:pt x="1987590" y="2834848"/>
                </a:lnTo>
                <a:lnTo>
                  <a:pt x="1983575" y="2834199"/>
                </a:lnTo>
                <a:lnTo>
                  <a:pt x="1980211" y="2834523"/>
                </a:lnTo>
                <a:lnTo>
                  <a:pt x="1980210" y="2834522"/>
                </a:lnTo>
                <a:lnTo>
                  <a:pt x="1979452" y="2834522"/>
                </a:lnTo>
                <a:lnTo>
                  <a:pt x="1979777" y="2837337"/>
                </a:lnTo>
                <a:lnTo>
                  <a:pt x="1979018" y="2839611"/>
                </a:lnTo>
                <a:lnTo>
                  <a:pt x="1975979" y="2839503"/>
                </a:lnTo>
                <a:lnTo>
                  <a:pt x="1974243" y="2837554"/>
                </a:lnTo>
                <a:lnTo>
                  <a:pt x="1972941" y="2836796"/>
                </a:lnTo>
                <a:lnTo>
                  <a:pt x="1971313" y="2835930"/>
                </a:lnTo>
                <a:lnTo>
                  <a:pt x="1971530" y="2831599"/>
                </a:lnTo>
                <a:lnTo>
                  <a:pt x="1967407" y="2826619"/>
                </a:lnTo>
                <a:lnTo>
                  <a:pt x="1964802" y="2824670"/>
                </a:lnTo>
                <a:lnTo>
                  <a:pt x="1963066" y="2825969"/>
                </a:lnTo>
                <a:lnTo>
                  <a:pt x="1963066" y="2826727"/>
                </a:lnTo>
                <a:lnTo>
                  <a:pt x="1967190" y="2828784"/>
                </a:lnTo>
                <a:lnTo>
                  <a:pt x="1969468" y="2831708"/>
                </a:lnTo>
                <a:lnTo>
                  <a:pt x="1968926" y="2835714"/>
                </a:lnTo>
                <a:lnTo>
                  <a:pt x="1967081" y="2836796"/>
                </a:lnTo>
                <a:lnTo>
                  <a:pt x="1963283" y="2834414"/>
                </a:lnTo>
                <a:lnTo>
                  <a:pt x="1957532" y="2832249"/>
                </a:lnTo>
                <a:lnTo>
                  <a:pt x="1955470" y="2829000"/>
                </a:lnTo>
                <a:lnTo>
                  <a:pt x="1955470" y="2825753"/>
                </a:lnTo>
                <a:lnTo>
                  <a:pt x="1958617" y="2821855"/>
                </a:lnTo>
                <a:lnTo>
                  <a:pt x="1957749" y="2819581"/>
                </a:lnTo>
                <a:lnTo>
                  <a:pt x="1952539" y="2813518"/>
                </a:lnTo>
                <a:lnTo>
                  <a:pt x="1949501" y="2811678"/>
                </a:lnTo>
                <a:lnTo>
                  <a:pt x="1945378" y="2807888"/>
                </a:lnTo>
                <a:lnTo>
                  <a:pt x="1939844" y="2804748"/>
                </a:lnTo>
                <a:lnTo>
                  <a:pt x="1938324" y="2799984"/>
                </a:lnTo>
                <a:lnTo>
                  <a:pt x="1933658" y="2796736"/>
                </a:lnTo>
                <a:lnTo>
                  <a:pt x="1933333" y="2792730"/>
                </a:lnTo>
                <a:lnTo>
                  <a:pt x="1928775" y="2790457"/>
                </a:lnTo>
                <a:lnTo>
                  <a:pt x="1924651" y="2787209"/>
                </a:lnTo>
                <a:lnTo>
                  <a:pt x="1922589" y="2788941"/>
                </a:lnTo>
                <a:lnTo>
                  <a:pt x="1924108" y="2791539"/>
                </a:lnTo>
                <a:lnTo>
                  <a:pt x="1930511" y="2796195"/>
                </a:lnTo>
                <a:lnTo>
                  <a:pt x="1931704" y="2800309"/>
                </a:lnTo>
                <a:lnTo>
                  <a:pt x="1928991" y="2805073"/>
                </a:lnTo>
                <a:lnTo>
                  <a:pt x="1926713" y="2805073"/>
                </a:lnTo>
                <a:lnTo>
                  <a:pt x="1924434" y="2801176"/>
                </a:lnTo>
                <a:lnTo>
                  <a:pt x="1920744" y="2798793"/>
                </a:lnTo>
                <a:lnTo>
                  <a:pt x="1914342" y="2798577"/>
                </a:lnTo>
                <a:lnTo>
                  <a:pt x="1907940" y="2793055"/>
                </a:lnTo>
                <a:lnTo>
                  <a:pt x="1906963" y="2788399"/>
                </a:lnTo>
                <a:lnTo>
                  <a:pt x="1909133" y="2782986"/>
                </a:lnTo>
                <a:lnTo>
                  <a:pt x="1913257" y="2780495"/>
                </a:lnTo>
                <a:lnTo>
                  <a:pt x="1912280" y="2775732"/>
                </a:lnTo>
                <a:lnTo>
                  <a:pt x="1908590" y="2774866"/>
                </a:lnTo>
                <a:lnTo>
                  <a:pt x="1907288" y="2773675"/>
                </a:lnTo>
                <a:lnTo>
                  <a:pt x="1908808" y="2772267"/>
                </a:lnTo>
                <a:lnTo>
                  <a:pt x="1910218" y="2766962"/>
                </a:lnTo>
                <a:lnTo>
                  <a:pt x="1909676" y="2766637"/>
                </a:lnTo>
                <a:lnTo>
                  <a:pt x="1911303" y="2765879"/>
                </a:lnTo>
                <a:lnTo>
                  <a:pt x="1911303" y="2764581"/>
                </a:lnTo>
                <a:lnTo>
                  <a:pt x="1911303" y="2764581"/>
                </a:lnTo>
                <a:lnTo>
                  <a:pt x="1910543" y="2763715"/>
                </a:lnTo>
                <a:lnTo>
                  <a:pt x="1908915" y="2764364"/>
                </a:lnTo>
                <a:lnTo>
                  <a:pt x="1907179" y="2763174"/>
                </a:lnTo>
                <a:lnTo>
                  <a:pt x="1904249" y="2763174"/>
                </a:lnTo>
                <a:lnTo>
                  <a:pt x="1893398" y="2751155"/>
                </a:lnTo>
                <a:lnTo>
                  <a:pt x="1887321" y="2742927"/>
                </a:lnTo>
                <a:lnTo>
                  <a:pt x="1880484" y="2736756"/>
                </a:lnTo>
                <a:lnTo>
                  <a:pt x="1880484" y="2733832"/>
                </a:lnTo>
                <a:lnTo>
                  <a:pt x="1876361" y="2731125"/>
                </a:lnTo>
                <a:lnTo>
                  <a:pt x="1867788" y="2720298"/>
                </a:lnTo>
                <a:lnTo>
                  <a:pt x="1868656" y="2718783"/>
                </a:lnTo>
                <a:lnTo>
                  <a:pt x="1872996" y="2720298"/>
                </a:lnTo>
                <a:lnTo>
                  <a:pt x="1874841" y="2720298"/>
                </a:lnTo>
                <a:lnTo>
                  <a:pt x="1874841" y="2717700"/>
                </a:lnTo>
                <a:lnTo>
                  <a:pt x="1874918" y="2717687"/>
                </a:lnTo>
                <a:lnTo>
                  <a:pt x="1874516" y="2716725"/>
                </a:lnTo>
                <a:lnTo>
                  <a:pt x="1874516" y="2713802"/>
                </a:lnTo>
                <a:lnTo>
                  <a:pt x="1872671" y="2712828"/>
                </a:lnTo>
                <a:lnTo>
                  <a:pt x="1871586" y="2714343"/>
                </a:lnTo>
                <a:lnTo>
                  <a:pt x="1869524" y="2714560"/>
                </a:lnTo>
                <a:lnTo>
                  <a:pt x="1868330" y="2712828"/>
                </a:lnTo>
                <a:lnTo>
                  <a:pt x="1865726" y="2711420"/>
                </a:lnTo>
                <a:lnTo>
                  <a:pt x="1865618" y="2711636"/>
                </a:lnTo>
                <a:lnTo>
                  <a:pt x="1865618" y="2711636"/>
                </a:lnTo>
                <a:lnTo>
                  <a:pt x="1865617" y="2711636"/>
                </a:lnTo>
                <a:lnTo>
                  <a:pt x="1865617" y="2711637"/>
                </a:lnTo>
                <a:lnTo>
                  <a:pt x="1864207" y="2712936"/>
                </a:lnTo>
                <a:lnTo>
                  <a:pt x="1865401" y="2715209"/>
                </a:lnTo>
                <a:lnTo>
                  <a:pt x="1862254" y="2719540"/>
                </a:lnTo>
                <a:lnTo>
                  <a:pt x="1851402" y="2719323"/>
                </a:lnTo>
                <a:lnTo>
                  <a:pt x="1848906" y="2717158"/>
                </a:lnTo>
                <a:lnTo>
                  <a:pt x="1845217" y="2712286"/>
                </a:lnTo>
                <a:lnTo>
                  <a:pt x="1840876" y="2712070"/>
                </a:lnTo>
                <a:lnTo>
                  <a:pt x="1839248" y="2713152"/>
                </a:lnTo>
                <a:lnTo>
                  <a:pt x="1842613" y="2715101"/>
                </a:lnTo>
                <a:lnTo>
                  <a:pt x="1841636" y="2717158"/>
                </a:lnTo>
                <a:lnTo>
                  <a:pt x="1834040" y="2712936"/>
                </a:lnTo>
                <a:lnTo>
                  <a:pt x="1825901" y="2709363"/>
                </a:lnTo>
                <a:lnTo>
                  <a:pt x="1823948" y="2709471"/>
                </a:lnTo>
                <a:lnTo>
                  <a:pt x="1823188" y="2709579"/>
                </a:lnTo>
                <a:lnTo>
                  <a:pt x="1817653" y="2708389"/>
                </a:lnTo>
                <a:lnTo>
                  <a:pt x="1813855" y="2704707"/>
                </a:lnTo>
                <a:lnTo>
                  <a:pt x="1809189" y="2704707"/>
                </a:lnTo>
                <a:lnTo>
                  <a:pt x="1807019" y="2703950"/>
                </a:lnTo>
                <a:lnTo>
                  <a:pt x="1808755" y="2701242"/>
                </a:lnTo>
                <a:lnTo>
                  <a:pt x="1807019" y="2703949"/>
                </a:lnTo>
                <a:lnTo>
                  <a:pt x="1797903" y="2700808"/>
                </a:lnTo>
                <a:lnTo>
                  <a:pt x="1792152" y="2701458"/>
                </a:lnTo>
                <a:lnTo>
                  <a:pt x="1784773" y="2701350"/>
                </a:lnTo>
                <a:lnTo>
                  <a:pt x="1772185" y="2696478"/>
                </a:lnTo>
                <a:lnTo>
                  <a:pt x="1768929" y="2692580"/>
                </a:lnTo>
                <a:lnTo>
                  <a:pt x="1765240" y="2692147"/>
                </a:lnTo>
                <a:lnTo>
                  <a:pt x="1762418" y="2687383"/>
                </a:lnTo>
                <a:lnTo>
                  <a:pt x="1758513" y="2682620"/>
                </a:lnTo>
                <a:lnTo>
                  <a:pt x="1758512" y="2682621"/>
                </a:lnTo>
                <a:lnTo>
                  <a:pt x="1754822" y="2678073"/>
                </a:lnTo>
                <a:lnTo>
                  <a:pt x="1748094" y="2672876"/>
                </a:lnTo>
                <a:lnTo>
                  <a:pt x="1747334" y="2670169"/>
                </a:lnTo>
                <a:lnTo>
                  <a:pt x="1742234" y="2668654"/>
                </a:lnTo>
                <a:lnTo>
                  <a:pt x="1725631" y="2654903"/>
                </a:lnTo>
                <a:lnTo>
                  <a:pt x="1723569" y="2652088"/>
                </a:lnTo>
                <a:lnTo>
                  <a:pt x="1723569" y="2650030"/>
                </a:lnTo>
                <a:lnTo>
                  <a:pt x="1719445" y="2644834"/>
                </a:lnTo>
                <a:lnTo>
                  <a:pt x="1715322" y="2641261"/>
                </a:lnTo>
                <a:lnTo>
                  <a:pt x="1710656" y="2640395"/>
                </a:lnTo>
                <a:lnTo>
                  <a:pt x="1709787" y="2639528"/>
                </a:lnTo>
                <a:lnTo>
                  <a:pt x="1708051" y="2639745"/>
                </a:lnTo>
                <a:lnTo>
                  <a:pt x="1708485" y="2641152"/>
                </a:lnTo>
                <a:lnTo>
                  <a:pt x="1716190" y="2644509"/>
                </a:lnTo>
                <a:lnTo>
                  <a:pt x="1721724" y="2650030"/>
                </a:lnTo>
                <a:lnTo>
                  <a:pt x="1721724" y="2651438"/>
                </a:lnTo>
                <a:lnTo>
                  <a:pt x="1718360" y="2648515"/>
                </a:lnTo>
                <a:lnTo>
                  <a:pt x="1711198" y="2643859"/>
                </a:lnTo>
                <a:lnTo>
                  <a:pt x="1706858" y="2642344"/>
                </a:lnTo>
                <a:lnTo>
                  <a:pt x="1703385" y="2642452"/>
                </a:lnTo>
                <a:lnTo>
                  <a:pt x="1701757" y="2641694"/>
                </a:lnTo>
                <a:lnTo>
                  <a:pt x="1702733" y="2640611"/>
                </a:lnTo>
                <a:lnTo>
                  <a:pt x="1705121" y="2640395"/>
                </a:lnTo>
                <a:lnTo>
                  <a:pt x="1705121" y="2638446"/>
                </a:lnTo>
                <a:lnTo>
                  <a:pt x="1702083" y="2638446"/>
                </a:lnTo>
                <a:lnTo>
                  <a:pt x="1699153" y="2639962"/>
                </a:lnTo>
                <a:lnTo>
                  <a:pt x="1699153" y="2637363"/>
                </a:lnTo>
                <a:lnTo>
                  <a:pt x="1697417" y="2636497"/>
                </a:lnTo>
                <a:lnTo>
                  <a:pt x="1692099" y="2639528"/>
                </a:lnTo>
                <a:lnTo>
                  <a:pt x="1691882" y="2641802"/>
                </a:lnTo>
                <a:lnTo>
                  <a:pt x="1695897" y="2641802"/>
                </a:lnTo>
                <a:lnTo>
                  <a:pt x="1700563" y="2642452"/>
                </a:lnTo>
                <a:lnTo>
                  <a:pt x="1700563" y="2643859"/>
                </a:lnTo>
                <a:lnTo>
                  <a:pt x="1698067" y="2643534"/>
                </a:lnTo>
                <a:lnTo>
                  <a:pt x="1692099" y="2644076"/>
                </a:lnTo>
                <a:lnTo>
                  <a:pt x="1687216" y="2644834"/>
                </a:lnTo>
                <a:lnTo>
                  <a:pt x="1680705" y="2649165"/>
                </a:lnTo>
                <a:lnTo>
                  <a:pt x="1675496" y="2649597"/>
                </a:lnTo>
                <a:lnTo>
                  <a:pt x="1663342" y="2654687"/>
                </a:lnTo>
                <a:lnTo>
                  <a:pt x="1658459" y="2655011"/>
                </a:lnTo>
                <a:lnTo>
                  <a:pt x="1646631" y="2650789"/>
                </a:lnTo>
                <a:lnTo>
                  <a:pt x="1640228" y="2647324"/>
                </a:lnTo>
                <a:lnTo>
                  <a:pt x="1631873" y="2647324"/>
                </a:lnTo>
                <a:lnTo>
                  <a:pt x="1623191" y="2643859"/>
                </a:lnTo>
                <a:lnTo>
                  <a:pt x="1618634" y="2641152"/>
                </a:lnTo>
                <a:lnTo>
                  <a:pt x="1616789" y="2641694"/>
                </a:lnTo>
                <a:lnTo>
                  <a:pt x="1612774" y="2641261"/>
                </a:lnTo>
                <a:lnTo>
                  <a:pt x="1606805" y="2638554"/>
                </a:lnTo>
                <a:lnTo>
                  <a:pt x="1603550" y="2633249"/>
                </a:lnTo>
                <a:lnTo>
                  <a:pt x="1602139" y="2632166"/>
                </a:lnTo>
                <a:lnTo>
                  <a:pt x="1598666" y="2633573"/>
                </a:lnTo>
                <a:lnTo>
                  <a:pt x="1592481" y="2630650"/>
                </a:lnTo>
                <a:lnTo>
                  <a:pt x="1585753" y="2630109"/>
                </a:lnTo>
                <a:lnTo>
                  <a:pt x="1582823" y="2625345"/>
                </a:lnTo>
                <a:lnTo>
                  <a:pt x="1577180" y="2622422"/>
                </a:lnTo>
                <a:lnTo>
                  <a:pt x="1565243" y="2620689"/>
                </a:lnTo>
                <a:lnTo>
                  <a:pt x="1554934" y="2616575"/>
                </a:lnTo>
                <a:lnTo>
                  <a:pt x="1547989" y="2609538"/>
                </a:lnTo>
                <a:lnTo>
                  <a:pt x="1544950" y="2608996"/>
                </a:lnTo>
                <a:lnTo>
                  <a:pt x="1533231" y="2597628"/>
                </a:lnTo>
                <a:lnTo>
                  <a:pt x="1531061" y="2594813"/>
                </a:lnTo>
                <a:lnTo>
                  <a:pt x="1528456" y="2595029"/>
                </a:lnTo>
                <a:lnTo>
                  <a:pt x="1527154" y="2596870"/>
                </a:lnTo>
                <a:lnTo>
                  <a:pt x="1523573" y="2596653"/>
                </a:lnTo>
                <a:lnTo>
                  <a:pt x="1514349" y="2593080"/>
                </a:lnTo>
                <a:lnTo>
                  <a:pt x="1511311" y="2592755"/>
                </a:lnTo>
                <a:lnTo>
                  <a:pt x="1506536" y="2590806"/>
                </a:lnTo>
                <a:lnTo>
                  <a:pt x="1504582" y="2591457"/>
                </a:lnTo>
                <a:lnTo>
                  <a:pt x="1499807" y="2589724"/>
                </a:lnTo>
                <a:lnTo>
                  <a:pt x="1496335" y="2584419"/>
                </a:lnTo>
                <a:lnTo>
                  <a:pt x="1492211" y="2577814"/>
                </a:lnTo>
                <a:lnTo>
                  <a:pt x="1486135" y="2572184"/>
                </a:lnTo>
                <a:lnTo>
                  <a:pt x="1480275" y="2570127"/>
                </a:lnTo>
                <a:lnTo>
                  <a:pt x="1480275" y="2568070"/>
                </a:lnTo>
                <a:lnTo>
                  <a:pt x="1482554" y="2565147"/>
                </a:lnTo>
                <a:lnTo>
                  <a:pt x="1479624" y="2564605"/>
                </a:lnTo>
                <a:lnTo>
                  <a:pt x="1474414" y="2565688"/>
                </a:lnTo>
                <a:lnTo>
                  <a:pt x="1466927" y="2563739"/>
                </a:lnTo>
                <a:lnTo>
                  <a:pt x="1465517" y="2561033"/>
                </a:lnTo>
                <a:lnTo>
                  <a:pt x="1461935" y="2561033"/>
                </a:lnTo>
                <a:lnTo>
                  <a:pt x="1459657" y="2559084"/>
                </a:lnTo>
                <a:lnTo>
                  <a:pt x="1457921" y="2553237"/>
                </a:lnTo>
                <a:lnTo>
                  <a:pt x="1453471" y="2547390"/>
                </a:lnTo>
                <a:lnTo>
                  <a:pt x="1453471" y="2544034"/>
                </a:lnTo>
                <a:lnTo>
                  <a:pt x="1450324" y="2540894"/>
                </a:lnTo>
                <a:lnTo>
                  <a:pt x="1447069" y="2532449"/>
                </a:lnTo>
                <a:lnTo>
                  <a:pt x="1447069" y="2530176"/>
                </a:lnTo>
                <a:lnTo>
                  <a:pt x="1449998" y="2528551"/>
                </a:lnTo>
                <a:lnTo>
                  <a:pt x="1455533" y="2528660"/>
                </a:lnTo>
                <a:lnTo>
                  <a:pt x="1457594" y="2526278"/>
                </a:lnTo>
                <a:lnTo>
                  <a:pt x="1454773" y="2523679"/>
                </a:lnTo>
                <a:lnTo>
                  <a:pt x="1452386" y="2523354"/>
                </a:lnTo>
                <a:lnTo>
                  <a:pt x="1453146" y="2520648"/>
                </a:lnTo>
                <a:lnTo>
                  <a:pt x="1458571" y="2515775"/>
                </a:lnTo>
                <a:lnTo>
                  <a:pt x="1461175" y="2511552"/>
                </a:lnTo>
                <a:lnTo>
                  <a:pt x="1460850" y="2506139"/>
                </a:lnTo>
                <a:lnTo>
                  <a:pt x="1455641" y="2493146"/>
                </a:lnTo>
                <a:lnTo>
                  <a:pt x="1453146" y="2486217"/>
                </a:lnTo>
                <a:lnTo>
                  <a:pt x="1451409" y="2482969"/>
                </a:lnTo>
                <a:lnTo>
                  <a:pt x="1453146" y="2478530"/>
                </a:lnTo>
                <a:lnTo>
                  <a:pt x="1452278" y="2473875"/>
                </a:lnTo>
                <a:lnTo>
                  <a:pt x="1443487" y="2462831"/>
                </a:lnTo>
                <a:lnTo>
                  <a:pt x="1443270" y="2458067"/>
                </a:lnTo>
                <a:lnTo>
                  <a:pt x="1435566" y="2450163"/>
                </a:lnTo>
                <a:lnTo>
                  <a:pt x="1430140" y="2440310"/>
                </a:lnTo>
                <a:lnTo>
                  <a:pt x="1422978" y="2430891"/>
                </a:lnTo>
                <a:lnTo>
                  <a:pt x="1416576" y="2425369"/>
                </a:lnTo>
                <a:lnTo>
                  <a:pt x="1414296" y="2423853"/>
                </a:lnTo>
                <a:lnTo>
                  <a:pt x="1413971" y="2420930"/>
                </a:lnTo>
                <a:lnTo>
                  <a:pt x="1406917" y="2418007"/>
                </a:lnTo>
                <a:lnTo>
                  <a:pt x="1403010" y="2415733"/>
                </a:lnTo>
                <a:lnTo>
                  <a:pt x="1402577" y="2414001"/>
                </a:lnTo>
                <a:lnTo>
                  <a:pt x="1405507" y="2412810"/>
                </a:lnTo>
                <a:lnTo>
                  <a:pt x="1407460" y="2408696"/>
                </a:lnTo>
                <a:lnTo>
                  <a:pt x="1405507" y="2405772"/>
                </a:lnTo>
                <a:lnTo>
                  <a:pt x="1403770" y="2401333"/>
                </a:lnTo>
                <a:lnTo>
                  <a:pt x="1402577" y="2398518"/>
                </a:lnTo>
                <a:lnTo>
                  <a:pt x="1399647" y="2398518"/>
                </a:lnTo>
                <a:lnTo>
                  <a:pt x="1394221" y="2397219"/>
                </a:lnTo>
                <a:lnTo>
                  <a:pt x="1384672" y="2389749"/>
                </a:lnTo>
                <a:lnTo>
                  <a:pt x="1381959" y="2387366"/>
                </a:lnTo>
                <a:lnTo>
                  <a:pt x="1377618" y="2387041"/>
                </a:lnTo>
                <a:lnTo>
                  <a:pt x="1373711" y="2384335"/>
                </a:lnTo>
                <a:lnTo>
                  <a:pt x="1372951" y="2379463"/>
                </a:lnTo>
                <a:lnTo>
                  <a:pt x="1375448" y="2372750"/>
                </a:lnTo>
                <a:lnTo>
                  <a:pt x="1379571" y="2368311"/>
                </a:lnTo>
                <a:lnTo>
                  <a:pt x="1382610" y="2367336"/>
                </a:lnTo>
                <a:lnTo>
                  <a:pt x="1384997" y="2369827"/>
                </a:lnTo>
                <a:lnTo>
                  <a:pt x="1386950" y="2367661"/>
                </a:lnTo>
                <a:lnTo>
                  <a:pt x="1386299" y="2364521"/>
                </a:lnTo>
                <a:lnTo>
                  <a:pt x="1384997" y="2363005"/>
                </a:lnTo>
                <a:lnTo>
                  <a:pt x="1383478" y="2364521"/>
                </a:lnTo>
                <a:lnTo>
                  <a:pt x="1380222" y="2362789"/>
                </a:lnTo>
                <a:lnTo>
                  <a:pt x="1379571" y="2359216"/>
                </a:lnTo>
                <a:lnTo>
                  <a:pt x="1375448" y="2354019"/>
                </a:lnTo>
                <a:lnTo>
                  <a:pt x="1371650" y="2354560"/>
                </a:lnTo>
                <a:lnTo>
                  <a:pt x="1367526" y="2353478"/>
                </a:lnTo>
                <a:lnTo>
                  <a:pt x="1365355" y="2349580"/>
                </a:lnTo>
                <a:lnTo>
                  <a:pt x="1366440" y="2345249"/>
                </a:lnTo>
                <a:lnTo>
                  <a:pt x="1363511" y="2344275"/>
                </a:lnTo>
                <a:lnTo>
                  <a:pt x="1360581" y="2344599"/>
                </a:lnTo>
                <a:lnTo>
                  <a:pt x="1352333" y="2337237"/>
                </a:lnTo>
                <a:lnTo>
                  <a:pt x="1351465" y="2330632"/>
                </a:lnTo>
                <a:lnTo>
                  <a:pt x="1353310" y="2327709"/>
                </a:lnTo>
                <a:lnTo>
                  <a:pt x="1353527" y="2322295"/>
                </a:lnTo>
                <a:lnTo>
                  <a:pt x="1350923" y="2320130"/>
                </a:lnTo>
                <a:lnTo>
                  <a:pt x="1347667" y="2321538"/>
                </a:lnTo>
                <a:lnTo>
                  <a:pt x="1345931" y="2320130"/>
                </a:lnTo>
                <a:lnTo>
                  <a:pt x="1342784" y="2320022"/>
                </a:lnTo>
                <a:lnTo>
                  <a:pt x="1341807" y="2317748"/>
                </a:lnTo>
                <a:lnTo>
                  <a:pt x="1338661" y="2315258"/>
                </a:lnTo>
                <a:lnTo>
                  <a:pt x="1337358" y="2311144"/>
                </a:lnTo>
                <a:lnTo>
                  <a:pt x="1334754" y="2305514"/>
                </a:lnTo>
                <a:lnTo>
                  <a:pt x="1331607" y="2304756"/>
                </a:lnTo>
                <a:lnTo>
                  <a:pt x="1329762" y="2302699"/>
                </a:lnTo>
                <a:lnTo>
                  <a:pt x="1329220" y="2297177"/>
                </a:lnTo>
                <a:lnTo>
                  <a:pt x="1327809" y="2293387"/>
                </a:lnTo>
                <a:lnTo>
                  <a:pt x="1324554" y="2291871"/>
                </a:lnTo>
                <a:lnTo>
                  <a:pt x="1321949" y="2284077"/>
                </a:lnTo>
                <a:lnTo>
                  <a:pt x="1320321" y="2281477"/>
                </a:lnTo>
                <a:lnTo>
                  <a:pt x="1318368" y="2281477"/>
                </a:lnTo>
                <a:lnTo>
                  <a:pt x="1316849" y="2278230"/>
                </a:lnTo>
                <a:lnTo>
                  <a:pt x="1318151" y="2276064"/>
                </a:lnTo>
                <a:lnTo>
                  <a:pt x="1318585" y="2273574"/>
                </a:lnTo>
                <a:lnTo>
                  <a:pt x="1312725" y="2265345"/>
                </a:lnTo>
                <a:lnTo>
                  <a:pt x="1310988" y="2261231"/>
                </a:lnTo>
                <a:lnTo>
                  <a:pt x="1311965" y="2258091"/>
                </a:lnTo>
                <a:lnTo>
                  <a:pt x="1311315" y="2252461"/>
                </a:lnTo>
                <a:lnTo>
                  <a:pt x="1309252" y="2248672"/>
                </a:lnTo>
                <a:lnTo>
                  <a:pt x="1308059" y="2240443"/>
                </a:lnTo>
                <a:lnTo>
                  <a:pt x="1305563" y="2234705"/>
                </a:lnTo>
                <a:lnTo>
                  <a:pt x="1305237" y="2230590"/>
                </a:lnTo>
                <a:lnTo>
                  <a:pt x="1308493" y="2226801"/>
                </a:lnTo>
                <a:lnTo>
                  <a:pt x="1308493" y="2224419"/>
                </a:lnTo>
                <a:lnTo>
                  <a:pt x="1303609" y="2221712"/>
                </a:lnTo>
                <a:lnTo>
                  <a:pt x="1298943" y="2221496"/>
                </a:lnTo>
                <a:lnTo>
                  <a:pt x="1297533" y="2218789"/>
                </a:lnTo>
                <a:lnTo>
                  <a:pt x="1293518" y="2215000"/>
                </a:lnTo>
                <a:lnTo>
                  <a:pt x="1291347" y="2216732"/>
                </a:lnTo>
                <a:lnTo>
                  <a:pt x="1287332" y="2217382"/>
                </a:lnTo>
                <a:lnTo>
                  <a:pt x="1284619" y="2215000"/>
                </a:lnTo>
                <a:lnTo>
                  <a:pt x="1280279" y="2208287"/>
                </a:lnTo>
                <a:lnTo>
                  <a:pt x="1273876" y="2205364"/>
                </a:lnTo>
                <a:lnTo>
                  <a:pt x="1270838" y="2199842"/>
                </a:lnTo>
                <a:lnTo>
                  <a:pt x="1272574" y="2205364"/>
                </a:lnTo>
                <a:lnTo>
                  <a:pt x="1273442" y="2209803"/>
                </a:lnTo>
                <a:lnTo>
                  <a:pt x="1271163" y="2218031"/>
                </a:lnTo>
                <a:lnTo>
                  <a:pt x="1269102" y="2223445"/>
                </a:lnTo>
                <a:lnTo>
                  <a:pt x="1270295" y="2233514"/>
                </a:lnTo>
                <a:lnTo>
                  <a:pt x="1270946" y="2250188"/>
                </a:lnTo>
                <a:lnTo>
                  <a:pt x="1268884" y="2254194"/>
                </a:lnTo>
                <a:lnTo>
                  <a:pt x="1271488" y="2256900"/>
                </a:lnTo>
                <a:lnTo>
                  <a:pt x="1274745" y="2263830"/>
                </a:lnTo>
                <a:lnTo>
                  <a:pt x="1274636" y="2268485"/>
                </a:lnTo>
                <a:lnTo>
                  <a:pt x="1277240" y="2268594"/>
                </a:lnTo>
                <a:lnTo>
                  <a:pt x="1279411" y="2272058"/>
                </a:lnTo>
                <a:lnTo>
                  <a:pt x="1285922" y="2276497"/>
                </a:lnTo>
                <a:lnTo>
                  <a:pt x="1287332" y="2282885"/>
                </a:lnTo>
                <a:lnTo>
                  <a:pt x="1286464" y="2286025"/>
                </a:lnTo>
                <a:lnTo>
                  <a:pt x="1287658" y="2290248"/>
                </a:lnTo>
                <a:lnTo>
                  <a:pt x="1291673" y="2292197"/>
                </a:lnTo>
                <a:lnTo>
                  <a:pt x="1294711" y="2295444"/>
                </a:lnTo>
                <a:lnTo>
                  <a:pt x="1295254" y="2300534"/>
                </a:lnTo>
                <a:lnTo>
                  <a:pt x="1297207" y="2302699"/>
                </a:lnTo>
                <a:lnTo>
                  <a:pt x="1300246" y="2303348"/>
                </a:lnTo>
                <a:lnTo>
                  <a:pt x="1304261" y="2309520"/>
                </a:lnTo>
                <a:lnTo>
                  <a:pt x="1303718" y="2314501"/>
                </a:lnTo>
                <a:lnTo>
                  <a:pt x="1303935" y="2320130"/>
                </a:lnTo>
                <a:lnTo>
                  <a:pt x="1308384" y="2324353"/>
                </a:lnTo>
                <a:lnTo>
                  <a:pt x="1310229" y="2325003"/>
                </a:lnTo>
                <a:lnTo>
                  <a:pt x="1314245" y="2331391"/>
                </a:lnTo>
                <a:lnTo>
                  <a:pt x="1315655" y="2341027"/>
                </a:lnTo>
                <a:lnTo>
                  <a:pt x="1317717" y="2341135"/>
                </a:lnTo>
                <a:lnTo>
                  <a:pt x="1319019" y="2343625"/>
                </a:lnTo>
                <a:lnTo>
                  <a:pt x="1317500" y="2346982"/>
                </a:lnTo>
                <a:lnTo>
                  <a:pt x="1317825" y="2350121"/>
                </a:lnTo>
                <a:lnTo>
                  <a:pt x="1322166" y="2356617"/>
                </a:lnTo>
                <a:lnTo>
                  <a:pt x="1323902" y="2355102"/>
                </a:lnTo>
                <a:lnTo>
                  <a:pt x="1323685" y="2352287"/>
                </a:lnTo>
                <a:lnTo>
                  <a:pt x="1323902" y="2350446"/>
                </a:lnTo>
                <a:lnTo>
                  <a:pt x="1325639" y="2350771"/>
                </a:lnTo>
                <a:lnTo>
                  <a:pt x="1326940" y="2354019"/>
                </a:lnTo>
                <a:lnTo>
                  <a:pt x="1329870" y="2358891"/>
                </a:lnTo>
                <a:lnTo>
                  <a:pt x="1331281" y="2367770"/>
                </a:lnTo>
                <a:lnTo>
                  <a:pt x="1330196" y="2371234"/>
                </a:lnTo>
                <a:lnTo>
                  <a:pt x="1330738" y="2377298"/>
                </a:lnTo>
                <a:lnTo>
                  <a:pt x="1332150" y="2379463"/>
                </a:lnTo>
                <a:lnTo>
                  <a:pt x="1332150" y="2384118"/>
                </a:lnTo>
                <a:lnTo>
                  <a:pt x="1334863" y="2387258"/>
                </a:lnTo>
                <a:lnTo>
                  <a:pt x="1334754" y="2390614"/>
                </a:lnTo>
                <a:lnTo>
                  <a:pt x="1337033" y="2393321"/>
                </a:lnTo>
                <a:lnTo>
                  <a:pt x="1337141" y="2396245"/>
                </a:lnTo>
                <a:lnTo>
                  <a:pt x="1336164" y="2399492"/>
                </a:lnTo>
                <a:lnTo>
                  <a:pt x="1339746" y="2404473"/>
                </a:lnTo>
                <a:lnTo>
                  <a:pt x="1339854" y="2409453"/>
                </a:lnTo>
                <a:lnTo>
                  <a:pt x="1337467" y="2414434"/>
                </a:lnTo>
                <a:lnTo>
                  <a:pt x="1338009" y="2417249"/>
                </a:lnTo>
                <a:lnTo>
                  <a:pt x="1342133" y="2422337"/>
                </a:lnTo>
                <a:lnTo>
                  <a:pt x="1345822" y="2425261"/>
                </a:lnTo>
                <a:lnTo>
                  <a:pt x="1346474" y="2427968"/>
                </a:lnTo>
                <a:lnTo>
                  <a:pt x="1348535" y="2427102"/>
                </a:lnTo>
                <a:lnTo>
                  <a:pt x="1348318" y="2423853"/>
                </a:lnTo>
                <a:lnTo>
                  <a:pt x="1349729" y="2422771"/>
                </a:lnTo>
                <a:lnTo>
                  <a:pt x="1352008" y="2423962"/>
                </a:lnTo>
                <a:lnTo>
                  <a:pt x="1354395" y="2427102"/>
                </a:lnTo>
                <a:lnTo>
                  <a:pt x="1355914" y="2430242"/>
                </a:lnTo>
                <a:lnTo>
                  <a:pt x="1359496" y="2432298"/>
                </a:lnTo>
                <a:lnTo>
                  <a:pt x="1360906" y="2436738"/>
                </a:lnTo>
                <a:lnTo>
                  <a:pt x="1363185" y="2439012"/>
                </a:lnTo>
                <a:lnTo>
                  <a:pt x="1364596" y="2443234"/>
                </a:lnTo>
                <a:lnTo>
                  <a:pt x="1367526" y="2445183"/>
                </a:lnTo>
                <a:lnTo>
                  <a:pt x="1367092" y="2451138"/>
                </a:lnTo>
                <a:lnTo>
                  <a:pt x="1362751" y="2457742"/>
                </a:lnTo>
                <a:lnTo>
                  <a:pt x="1355589" y="2460991"/>
                </a:lnTo>
                <a:lnTo>
                  <a:pt x="1352659" y="2460124"/>
                </a:lnTo>
                <a:lnTo>
                  <a:pt x="1350597" y="2455144"/>
                </a:lnTo>
                <a:lnTo>
                  <a:pt x="1350272" y="2451571"/>
                </a:lnTo>
                <a:lnTo>
                  <a:pt x="1347450" y="2449297"/>
                </a:lnTo>
                <a:lnTo>
                  <a:pt x="1347017" y="2442909"/>
                </a:lnTo>
                <a:lnTo>
                  <a:pt x="1344737" y="2439877"/>
                </a:lnTo>
                <a:lnTo>
                  <a:pt x="1339746" y="2439336"/>
                </a:lnTo>
                <a:lnTo>
                  <a:pt x="1336164" y="2435006"/>
                </a:lnTo>
                <a:lnTo>
                  <a:pt x="1334428" y="2431757"/>
                </a:lnTo>
                <a:lnTo>
                  <a:pt x="1330738" y="2430242"/>
                </a:lnTo>
                <a:lnTo>
                  <a:pt x="1320647" y="2419198"/>
                </a:lnTo>
                <a:lnTo>
                  <a:pt x="1318368" y="2414542"/>
                </a:lnTo>
                <a:lnTo>
                  <a:pt x="1313701" y="2413568"/>
                </a:lnTo>
                <a:lnTo>
                  <a:pt x="1312508" y="2410320"/>
                </a:lnTo>
                <a:lnTo>
                  <a:pt x="1310446" y="2410753"/>
                </a:lnTo>
                <a:lnTo>
                  <a:pt x="1305780" y="2406963"/>
                </a:lnTo>
                <a:lnTo>
                  <a:pt x="1305129" y="2403174"/>
                </a:lnTo>
                <a:lnTo>
                  <a:pt x="1309035" y="2396461"/>
                </a:lnTo>
                <a:lnTo>
                  <a:pt x="1310663" y="2388774"/>
                </a:lnTo>
                <a:lnTo>
                  <a:pt x="1309903" y="2379029"/>
                </a:lnTo>
                <a:lnTo>
                  <a:pt x="1306974" y="2369827"/>
                </a:lnTo>
                <a:lnTo>
                  <a:pt x="1304586" y="2366254"/>
                </a:lnTo>
                <a:lnTo>
                  <a:pt x="1302199" y="2366903"/>
                </a:lnTo>
                <a:lnTo>
                  <a:pt x="1298726" y="2365388"/>
                </a:lnTo>
                <a:lnTo>
                  <a:pt x="1290479" y="2357484"/>
                </a:lnTo>
                <a:lnTo>
                  <a:pt x="1289285" y="2349905"/>
                </a:lnTo>
                <a:lnTo>
                  <a:pt x="1290805" y="2346007"/>
                </a:lnTo>
                <a:lnTo>
                  <a:pt x="1288960" y="2345466"/>
                </a:lnTo>
                <a:lnTo>
                  <a:pt x="1284727" y="2350229"/>
                </a:lnTo>
                <a:lnTo>
                  <a:pt x="1281689" y="2350446"/>
                </a:lnTo>
                <a:lnTo>
                  <a:pt x="1278543" y="2351854"/>
                </a:lnTo>
                <a:lnTo>
                  <a:pt x="1276806" y="2348389"/>
                </a:lnTo>
                <a:lnTo>
                  <a:pt x="1277566" y="2346656"/>
                </a:lnTo>
                <a:lnTo>
                  <a:pt x="1274418" y="2345466"/>
                </a:lnTo>
                <a:lnTo>
                  <a:pt x="1271380" y="2345574"/>
                </a:lnTo>
                <a:lnTo>
                  <a:pt x="1271380" y="2343192"/>
                </a:lnTo>
                <a:lnTo>
                  <a:pt x="1265846" y="2340701"/>
                </a:lnTo>
                <a:lnTo>
                  <a:pt x="1261722" y="2339294"/>
                </a:lnTo>
                <a:lnTo>
                  <a:pt x="1259226" y="2334964"/>
                </a:lnTo>
                <a:lnTo>
                  <a:pt x="1258901" y="2330308"/>
                </a:lnTo>
                <a:lnTo>
                  <a:pt x="1254560" y="2328467"/>
                </a:lnTo>
                <a:lnTo>
                  <a:pt x="1249785" y="2322079"/>
                </a:lnTo>
                <a:lnTo>
                  <a:pt x="1250979" y="2320671"/>
                </a:lnTo>
                <a:lnTo>
                  <a:pt x="1257165" y="2320130"/>
                </a:lnTo>
                <a:lnTo>
                  <a:pt x="1260854" y="2321538"/>
                </a:lnTo>
                <a:lnTo>
                  <a:pt x="1266714" y="2322621"/>
                </a:lnTo>
                <a:lnTo>
                  <a:pt x="1269970" y="2324678"/>
                </a:lnTo>
                <a:lnTo>
                  <a:pt x="1271706" y="2322295"/>
                </a:lnTo>
                <a:lnTo>
                  <a:pt x="1272357" y="2319372"/>
                </a:lnTo>
                <a:lnTo>
                  <a:pt x="1268450" y="2318614"/>
                </a:lnTo>
                <a:lnTo>
                  <a:pt x="1267907" y="2317424"/>
                </a:lnTo>
                <a:lnTo>
                  <a:pt x="1270295" y="2314825"/>
                </a:lnTo>
                <a:lnTo>
                  <a:pt x="1273008" y="2316016"/>
                </a:lnTo>
                <a:lnTo>
                  <a:pt x="1274310" y="2312226"/>
                </a:lnTo>
                <a:lnTo>
                  <a:pt x="1272574" y="2309520"/>
                </a:lnTo>
                <a:lnTo>
                  <a:pt x="1272682" y="2306921"/>
                </a:lnTo>
                <a:lnTo>
                  <a:pt x="1275504" y="2303348"/>
                </a:lnTo>
                <a:lnTo>
                  <a:pt x="1272357" y="2298151"/>
                </a:lnTo>
                <a:lnTo>
                  <a:pt x="1270295" y="2297285"/>
                </a:lnTo>
                <a:lnTo>
                  <a:pt x="1267907" y="2290140"/>
                </a:lnTo>
                <a:lnTo>
                  <a:pt x="1262048" y="2284293"/>
                </a:lnTo>
                <a:lnTo>
                  <a:pt x="1260963" y="2280503"/>
                </a:lnTo>
                <a:lnTo>
                  <a:pt x="1257598" y="2275631"/>
                </a:lnTo>
                <a:lnTo>
                  <a:pt x="1250870" y="2268918"/>
                </a:lnTo>
                <a:lnTo>
                  <a:pt x="1248049" y="2269135"/>
                </a:lnTo>
                <a:lnTo>
                  <a:pt x="1243926" y="2265129"/>
                </a:lnTo>
                <a:lnTo>
                  <a:pt x="1241646" y="2258633"/>
                </a:lnTo>
                <a:lnTo>
                  <a:pt x="1241538" y="2250620"/>
                </a:lnTo>
                <a:lnTo>
                  <a:pt x="1240128" y="2247806"/>
                </a:lnTo>
                <a:lnTo>
                  <a:pt x="1237198" y="2245207"/>
                </a:lnTo>
                <a:lnTo>
                  <a:pt x="1237523" y="2240443"/>
                </a:lnTo>
                <a:lnTo>
                  <a:pt x="1239151" y="2238169"/>
                </a:lnTo>
                <a:lnTo>
                  <a:pt x="1238391" y="2233514"/>
                </a:lnTo>
                <a:lnTo>
                  <a:pt x="1233400" y="2229075"/>
                </a:lnTo>
                <a:lnTo>
                  <a:pt x="1232423" y="2226151"/>
                </a:lnTo>
                <a:lnTo>
                  <a:pt x="1233942" y="2224635"/>
                </a:lnTo>
                <a:lnTo>
                  <a:pt x="1234159" y="2222037"/>
                </a:lnTo>
                <a:lnTo>
                  <a:pt x="1227757" y="2214242"/>
                </a:lnTo>
                <a:lnTo>
                  <a:pt x="1226237" y="2209803"/>
                </a:lnTo>
                <a:lnTo>
                  <a:pt x="1226889" y="2206013"/>
                </a:lnTo>
                <a:lnTo>
                  <a:pt x="1228734" y="2204605"/>
                </a:lnTo>
                <a:lnTo>
                  <a:pt x="1226237" y="2201249"/>
                </a:lnTo>
                <a:lnTo>
                  <a:pt x="1223416" y="2196052"/>
                </a:lnTo>
                <a:lnTo>
                  <a:pt x="1220161" y="2183926"/>
                </a:lnTo>
                <a:lnTo>
                  <a:pt x="1219401" y="2178079"/>
                </a:lnTo>
                <a:lnTo>
                  <a:pt x="1219401" y="2178079"/>
                </a:lnTo>
                <a:lnTo>
                  <a:pt x="1218967" y="2174289"/>
                </a:lnTo>
                <a:lnTo>
                  <a:pt x="1220160" y="2168443"/>
                </a:lnTo>
                <a:lnTo>
                  <a:pt x="1219075" y="2161189"/>
                </a:lnTo>
                <a:lnTo>
                  <a:pt x="1210828" y="2148630"/>
                </a:lnTo>
                <a:lnTo>
                  <a:pt x="1205511" y="2143108"/>
                </a:lnTo>
                <a:lnTo>
                  <a:pt x="1202473" y="2143757"/>
                </a:lnTo>
                <a:lnTo>
                  <a:pt x="1199977" y="2143974"/>
                </a:lnTo>
                <a:lnTo>
                  <a:pt x="1198457" y="2143108"/>
                </a:lnTo>
                <a:lnTo>
                  <a:pt x="1198674" y="2138993"/>
                </a:lnTo>
                <a:lnTo>
                  <a:pt x="1197589" y="2136395"/>
                </a:lnTo>
                <a:lnTo>
                  <a:pt x="1191729" y="2134663"/>
                </a:lnTo>
                <a:lnTo>
                  <a:pt x="1187823" y="2134554"/>
                </a:lnTo>
                <a:lnTo>
                  <a:pt x="1181420" y="2131089"/>
                </a:lnTo>
                <a:lnTo>
                  <a:pt x="1181420" y="2126975"/>
                </a:lnTo>
                <a:lnTo>
                  <a:pt x="1178490" y="2123727"/>
                </a:lnTo>
                <a:lnTo>
                  <a:pt x="1172088" y="2123727"/>
                </a:lnTo>
                <a:lnTo>
                  <a:pt x="1168615" y="2123077"/>
                </a:lnTo>
                <a:lnTo>
                  <a:pt x="1164817" y="2120696"/>
                </a:lnTo>
                <a:lnTo>
                  <a:pt x="1159934" y="2119396"/>
                </a:lnTo>
                <a:lnTo>
                  <a:pt x="1151795" y="2119396"/>
                </a:lnTo>
                <a:lnTo>
                  <a:pt x="1149299" y="2117664"/>
                </a:lnTo>
                <a:lnTo>
                  <a:pt x="1147997" y="2113766"/>
                </a:lnTo>
                <a:lnTo>
                  <a:pt x="1149083" y="2113008"/>
                </a:lnTo>
                <a:lnTo>
                  <a:pt x="1150276" y="2109219"/>
                </a:lnTo>
                <a:lnTo>
                  <a:pt x="1152012" y="2101965"/>
                </a:lnTo>
                <a:lnTo>
                  <a:pt x="1150493" y="2096984"/>
                </a:lnTo>
                <a:lnTo>
                  <a:pt x="1146695" y="2092653"/>
                </a:lnTo>
                <a:lnTo>
                  <a:pt x="1146261" y="2091354"/>
                </a:lnTo>
                <a:lnTo>
                  <a:pt x="1147238" y="2089622"/>
                </a:lnTo>
                <a:lnTo>
                  <a:pt x="1145176" y="2088106"/>
                </a:lnTo>
                <a:lnTo>
                  <a:pt x="1141595" y="2083125"/>
                </a:lnTo>
                <a:lnTo>
                  <a:pt x="1136603" y="2072515"/>
                </a:lnTo>
                <a:lnTo>
                  <a:pt x="1135517" y="2064178"/>
                </a:lnTo>
                <a:lnTo>
                  <a:pt x="1131828" y="2061472"/>
                </a:lnTo>
                <a:lnTo>
                  <a:pt x="1131068" y="2058549"/>
                </a:lnTo>
                <a:lnTo>
                  <a:pt x="1131394" y="2054109"/>
                </a:lnTo>
                <a:lnTo>
                  <a:pt x="1130200" y="2049129"/>
                </a:lnTo>
                <a:lnTo>
                  <a:pt x="1130418" y="2047072"/>
                </a:lnTo>
                <a:lnTo>
                  <a:pt x="1132479" y="2047396"/>
                </a:lnTo>
                <a:lnTo>
                  <a:pt x="1135517" y="2043931"/>
                </a:lnTo>
                <a:lnTo>
                  <a:pt x="1135409" y="2040142"/>
                </a:lnTo>
                <a:lnTo>
                  <a:pt x="1132804" y="2037544"/>
                </a:lnTo>
                <a:lnTo>
                  <a:pt x="1129224" y="2035378"/>
                </a:lnTo>
                <a:lnTo>
                  <a:pt x="1128138" y="2030723"/>
                </a:lnTo>
                <a:lnTo>
                  <a:pt x="1125860" y="2029532"/>
                </a:lnTo>
                <a:lnTo>
                  <a:pt x="1125426" y="2025742"/>
                </a:lnTo>
                <a:lnTo>
                  <a:pt x="1126620" y="2021411"/>
                </a:lnTo>
                <a:lnTo>
                  <a:pt x="1126077" y="2019246"/>
                </a:lnTo>
                <a:lnTo>
                  <a:pt x="1128356" y="2016972"/>
                </a:lnTo>
                <a:lnTo>
                  <a:pt x="1127813" y="2014049"/>
                </a:lnTo>
                <a:lnTo>
                  <a:pt x="1129549" y="2011558"/>
                </a:lnTo>
                <a:lnTo>
                  <a:pt x="1131611" y="2012966"/>
                </a:lnTo>
                <a:lnTo>
                  <a:pt x="1133673" y="2017297"/>
                </a:lnTo>
                <a:lnTo>
                  <a:pt x="1137579" y="2019354"/>
                </a:lnTo>
                <a:lnTo>
                  <a:pt x="1136061" y="2017297"/>
                </a:lnTo>
                <a:lnTo>
                  <a:pt x="1134541" y="2013725"/>
                </a:lnTo>
                <a:lnTo>
                  <a:pt x="1133781" y="2007444"/>
                </a:lnTo>
                <a:lnTo>
                  <a:pt x="1131936" y="2006145"/>
                </a:lnTo>
                <a:lnTo>
                  <a:pt x="1132262" y="2002897"/>
                </a:lnTo>
                <a:lnTo>
                  <a:pt x="1134324" y="2002897"/>
                </a:lnTo>
                <a:lnTo>
                  <a:pt x="1136061" y="2004413"/>
                </a:lnTo>
                <a:lnTo>
                  <a:pt x="1140184" y="2003222"/>
                </a:lnTo>
                <a:lnTo>
                  <a:pt x="1144525" y="2002139"/>
                </a:lnTo>
                <a:lnTo>
                  <a:pt x="1138556" y="2001489"/>
                </a:lnTo>
                <a:lnTo>
                  <a:pt x="1137254" y="1999758"/>
                </a:lnTo>
                <a:lnTo>
                  <a:pt x="1133456" y="1999649"/>
                </a:lnTo>
                <a:lnTo>
                  <a:pt x="1133022" y="1997700"/>
                </a:lnTo>
                <a:lnTo>
                  <a:pt x="1131828" y="1998675"/>
                </a:lnTo>
                <a:lnTo>
                  <a:pt x="1128681" y="1996834"/>
                </a:lnTo>
                <a:lnTo>
                  <a:pt x="1128464" y="2002139"/>
                </a:lnTo>
                <a:lnTo>
                  <a:pt x="1128464" y="2007336"/>
                </a:lnTo>
                <a:lnTo>
                  <a:pt x="1127270" y="2006687"/>
                </a:lnTo>
                <a:lnTo>
                  <a:pt x="1125426" y="2006795"/>
                </a:lnTo>
                <a:lnTo>
                  <a:pt x="1124558" y="2004413"/>
                </a:lnTo>
                <a:lnTo>
                  <a:pt x="1119023" y="1999216"/>
                </a:lnTo>
                <a:lnTo>
                  <a:pt x="1117829" y="1995860"/>
                </a:lnTo>
                <a:lnTo>
                  <a:pt x="1119240" y="1992828"/>
                </a:lnTo>
                <a:lnTo>
                  <a:pt x="1118480" y="1988281"/>
                </a:lnTo>
                <a:lnTo>
                  <a:pt x="1108497" y="1972906"/>
                </a:lnTo>
                <a:lnTo>
                  <a:pt x="1107520" y="1970199"/>
                </a:lnTo>
                <a:lnTo>
                  <a:pt x="1108388" y="1967059"/>
                </a:lnTo>
                <a:lnTo>
                  <a:pt x="1110450" y="1963487"/>
                </a:lnTo>
                <a:lnTo>
                  <a:pt x="1109908" y="1958722"/>
                </a:lnTo>
                <a:lnTo>
                  <a:pt x="1107846" y="1954608"/>
                </a:lnTo>
                <a:lnTo>
                  <a:pt x="1107846" y="1952335"/>
                </a:lnTo>
                <a:lnTo>
                  <a:pt x="1110559" y="1948004"/>
                </a:lnTo>
                <a:lnTo>
                  <a:pt x="1111427" y="1942698"/>
                </a:lnTo>
                <a:lnTo>
                  <a:pt x="1111101" y="1933063"/>
                </a:lnTo>
                <a:lnTo>
                  <a:pt x="1107303" y="1924292"/>
                </a:lnTo>
                <a:lnTo>
                  <a:pt x="1103180" y="1918663"/>
                </a:lnTo>
                <a:lnTo>
                  <a:pt x="1103180" y="1913249"/>
                </a:lnTo>
                <a:lnTo>
                  <a:pt x="1105784" y="1907835"/>
                </a:lnTo>
                <a:lnTo>
                  <a:pt x="1112838" y="1902963"/>
                </a:lnTo>
                <a:lnTo>
                  <a:pt x="1115225" y="1896684"/>
                </a:lnTo>
                <a:lnTo>
                  <a:pt x="1113706" y="1895601"/>
                </a:lnTo>
                <a:lnTo>
                  <a:pt x="1112946" y="1892461"/>
                </a:lnTo>
                <a:lnTo>
                  <a:pt x="1115551" y="1889971"/>
                </a:lnTo>
                <a:lnTo>
                  <a:pt x="1118155" y="1884557"/>
                </a:lnTo>
                <a:lnTo>
                  <a:pt x="1119240" y="1874813"/>
                </a:lnTo>
                <a:lnTo>
                  <a:pt x="1117504" y="1868966"/>
                </a:lnTo>
                <a:lnTo>
                  <a:pt x="1117612" y="1865177"/>
                </a:lnTo>
                <a:lnTo>
                  <a:pt x="1119674" y="1862362"/>
                </a:lnTo>
                <a:lnTo>
                  <a:pt x="1116419" y="1857273"/>
                </a:lnTo>
                <a:lnTo>
                  <a:pt x="1116744" y="1851102"/>
                </a:lnTo>
                <a:lnTo>
                  <a:pt x="1119240" y="1842007"/>
                </a:lnTo>
                <a:lnTo>
                  <a:pt x="1118480" y="1832804"/>
                </a:lnTo>
                <a:lnTo>
                  <a:pt x="1120217" y="1828689"/>
                </a:lnTo>
                <a:lnTo>
                  <a:pt x="1126402" y="1820786"/>
                </a:lnTo>
                <a:lnTo>
                  <a:pt x="1127813" y="1815914"/>
                </a:lnTo>
                <a:lnTo>
                  <a:pt x="1130200" y="1813532"/>
                </a:lnTo>
                <a:lnTo>
                  <a:pt x="1133022" y="1805628"/>
                </a:lnTo>
                <a:lnTo>
                  <a:pt x="1137471" y="1800431"/>
                </a:lnTo>
                <a:lnTo>
                  <a:pt x="1140618" y="1794260"/>
                </a:lnTo>
                <a:lnTo>
                  <a:pt x="1142354" y="1781483"/>
                </a:lnTo>
                <a:lnTo>
                  <a:pt x="1148214" y="1770115"/>
                </a:lnTo>
                <a:lnTo>
                  <a:pt x="1149191" y="1759504"/>
                </a:lnTo>
                <a:lnTo>
                  <a:pt x="1155702" y="1744996"/>
                </a:lnTo>
                <a:lnTo>
                  <a:pt x="1158197" y="1739800"/>
                </a:lnTo>
                <a:lnTo>
                  <a:pt x="1161887" y="1733303"/>
                </a:lnTo>
                <a:lnTo>
                  <a:pt x="1161453" y="1729839"/>
                </a:lnTo>
                <a:lnTo>
                  <a:pt x="1161453" y="1726266"/>
                </a:lnTo>
                <a:lnTo>
                  <a:pt x="1166228" y="1720094"/>
                </a:lnTo>
                <a:lnTo>
                  <a:pt x="1166011" y="1716305"/>
                </a:lnTo>
                <a:lnTo>
                  <a:pt x="1167638" y="1715114"/>
                </a:lnTo>
                <a:lnTo>
                  <a:pt x="1170351" y="1717171"/>
                </a:lnTo>
                <a:lnTo>
                  <a:pt x="1178490" y="1717496"/>
                </a:lnTo>
                <a:lnTo>
                  <a:pt x="1181963" y="1719878"/>
                </a:lnTo>
                <a:lnTo>
                  <a:pt x="1184893" y="1719445"/>
                </a:lnTo>
                <a:lnTo>
                  <a:pt x="1189125" y="1721935"/>
                </a:lnTo>
                <a:lnTo>
                  <a:pt x="1191404" y="1727349"/>
                </a:lnTo>
                <a:lnTo>
                  <a:pt x="1190536" y="1721502"/>
                </a:lnTo>
                <a:lnTo>
                  <a:pt x="1188148" y="1718362"/>
                </a:lnTo>
                <a:lnTo>
                  <a:pt x="1183157" y="1717496"/>
                </a:lnTo>
                <a:lnTo>
                  <a:pt x="1179142" y="1714247"/>
                </a:lnTo>
                <a:lnTo>
                  <a:pt x="1172631" y="1713706"/>
                </a:lnTo>
                <a:lnTo>
                  <a:pt x="1166011" y="1711974"/>
                </a:lnTo>
                <a:lnTo>
                  <a:pt x="1165577" y="1709376"/>
                </a:lnTo>
                <a:lnTo>
                  <a:pt x="1167205" y="1707535"/>
                </a:lnTo>
                <a:lnTo>
                  <a:pt x="1168833" y="1708184"/>
                </a:lnTo>
                <a:lnTo>
                  <a:pt x="1171545" y="1704937"/>
                </a:lnTo>
                <a:lnTo>
                  <a:pt x="1171762" y="1700280"/>
                </a:lnTo>
                <a:lnTo>
                  <a:pt x="1173173" y="1696708"/>
                </a:lnTo>
                <a:lnTo>
                  <a:pt x="1169375" y="1695192"/>
                </a:lnTo>
                <a:lnTo>
                  <a:pt x="1167638" y="1693135"/>
                </a:lnTo>
                <a:lnTo>
                  <a:pt x="1168833" y="1689345"/>
                </a:lnTo>
                <a:lnTo>
                  <a:pt x="1171219" y="1689345"/>
                </a:lnTo>
                <a:lnTo>
                  <a:pt x="1173173" y="1686531"/>
                </a:lnTo>
                <a:lnTo>
                  <a:pt x="1172739" y="1684798"/>
                </a:lnTo>
                <a:lnTo>
                  <a:pt x="1169701" y="1683932"/>
                </a:lnTo>
                <a:lnTo>
                  <a:pt x="1169375" y="1680900"/>
                </a:lnTo>
                <a:lnTo>
                  <a:pt x="1170351" y="1674837"/>
                </a:lnTo>
                <a:lnTo>
                  <a:pt x="1169158" y="1668666"/>
                </a:lnTo>
                <a:lnTo>
                  <a:pt x="1171545" y="1656539"/>
                </a:lnTo>
                <a:lnTo>
                  <a:pt x="1168941" y="1647661"/>
                </a:lnTo>
                <a:lnTo>
                  <a:pt x="1168833" y="1643438"/>
                </a:lnTo>
                <a:lnTo>
                  <a:pt x="1172631" y="1634669"/>
                </a:lnTo>
                <a:lnTo>
                  <a:pt x="1173281" y="1629797"/>
                </a:lnTo>
                <a:lnTo>
                  <a:pt x="1175017" y="1629364"/>
                </a:lnTo>
                <a:lnTo>
                  <a:pt x="1186086" y="1638999"/>
                </a:lnTo>
                <a:lnTo>
                  <a:pt x="1191946" y="1642681"/>
                </a:lnTo>
                <a:lnTo>
                  <a:pt x="1202581" y="1643438"/>
                </a:lnTo>
                <a:lnTo>
                  <a:pt x="1206379" y="1645279"/>
                </a:lnTo>
                <a:lnTo>
                  <a:pt x="1208658" y="1649610"/>
                </a:lnTo>
                <a:lnTo>
                  <a:pt x="1210828" y="1648527"/>
                </a:lnTo>
                <a:lnTo>
                  <a:pt x="1213107" y="1648744"/>
                </a:lnTo>
                <a:lnTo>
                  <a:pt x="1214626" y="1651668"/>
                </a:lnTo>
                <a:lnTo>
                  <a:pt x="1213324" y="1654374"/>
                </a:lnTo>
                <a:lnTo>
                  <a:pt x="1208224" y="1656323"/>
                </a:lnTo>
                <a:lnTo>
                  <a:pt x="1203775" y="1660762"/>
                </a:lnTo>
                <a:lnTo>
                  <a:pt x="1203666" y="1663144"/>
                </a:lnTo>
                <a:lnTo>
                  <a:pt x="1207464" y="1663144"/>
                </a:lnTo>
                <a:lnTo>
                  <a:pt x="1209092" y="1660221"/>
                </a:lnTo>
                <a:lnTo>
                  <a:pt x="1214084" y="1656106"/>
                </a:lnTo>
                <a:lnTo>
                  <a:pt x="1216580" y="1655565"/>
                </a:lnTo>
                <a:lnTo>
                  <a:pt x="1217014" y="1659354"/>
                </a:lnTo>
                <a:lnTo>
                  <a:pt x="1213432" y="1662494"/>
                </a:lnTo>
                <a:lnTo>
                  <a:pt x="1210719" y="1668125"/>
                </a:lnTo>
                <a:lnTo>
                  <a:pt x="1210503" y="1673971"/>
                </a:lnTo>
                <a:lnTo>
                  <a:pt x="1208983" y="1675703"/>
                </a:lnTo>
                <a:lnTo>
                  <a:pt x="1208224" y="1672131"/>
                </a:lnTo>
                <a:lnTo>
                  <a:pt x="1205185" y="1674729"/>
                </a:lnTo>
                <a:lnTo>
                  <a:pt x="1204100" y="1672780"/>
                </a:lnTo>
                <a:lnTo>
                  <a:pt x="1200737" y="1677111"/>
                </a:lnTo>
                <a:lnTo>
                  <a:pt x="1202038" y="1679493"/>
                </a:lnTo>
                <a:lnTo>
                  <a:pt x="1206053" y="1681550"/>
                </a:lnTo>
                <a:lnTo>
                  <a:pt x="1211154" y="1678193"/>
                </a:lnTo>
                <a:lnTo>
                  <a:pt x="1212782" y="1673971"/>
                </a:lnTo>
                <a:lnTo>
                  <a:pt x="1215386" y="1671048"/>
                </a:lnTo>
                <a:lnTo>
                  <a:pt x="1215494" y="1665742"/>
                </a:lnTo>
                <a:lnTo>
                  <a:pt x="1218316" y="1663360"/>
                </a:lnTo>
                <a:lnTo>
                  <a:pt x="1219618" y="1657297"/>
                </a:lnTo>
                <a:lnTo>
                  <a:pt x="1223633" y="1654807"/>
                </a:lnTo>
                <a:lnTo>
                  <a:pt x="1227540" y="1649935"/>
                </a:lnTo>
                <a:lnTo>
                  <a:pt x="1225370" y="1647228"/>
                </a:lnTo>
                <a:lnTo>
                  <a:pt x="1224935" y="1643872"/>
                </a:lnTo>
                <a:lnTo>
                  <a:pt x="1223416" y="1642572"/>
                </a:lnTo>
                <a:lnTo>
                  <a:pt x="1226238" y="1638783"/>
                </a:lnTo>
                <a:lnTo>
                  <a:pt x="1227757" y="1636834"/>
                </a:lnTo>
                <a:lnTo>
                  <a:pt x="1224285" y="1634452"/>
                </a:lnTo>
                <a:lnTo>
                  <a:pt x="1223633" y="1630554"/>
                </a:lnTo>
                <a:lnTo>
                  <a:pt x="1227757" y="1627414"/>
                </a:lnTo>
                <a:lnTo>
                  <a:pt x="1228299" y="1624166"/>
                </a:lnTo>
                <a:lnTo>
                  <a:pt x="1223091" y="1620377"/>
                </a:lnTo>
                <a:lnTo>
                  <a:pt x="1221246" y="1611933"/>
                </a:lnTo>
                <a:lnTo>
                  <a:pt x="1221245" y="1611932"/>
                </a:lnTo>
                <a:lnTo>
                  <a:pt x="1221245" y="1611824"/>
                </a:lnTo>
                <a:lnTo>
                  <a:pt x="1217556" y="1611066"/>
                </a:lnTo>
                <a:lnTo>
                  <a:pt x="1216036" y="1603054"/>
                </a:lnTo>
                <a:lnTo>
                  <a:pt x="1220486" y="1593418"/>
                </a:lnTo>
                <a:lnTo>
                  <a:pt x="1221897" y="1587355"/>
                </a:lnTo>
                <a:lnTo>
                  <a:pt x="1218966" y="1590170"/>
                </a:lnTo>
                <a:lnTo>
                  <a:pt x="1213432" y="1592010"/>
                </a:lnTo>
                <a:lnTo>
                  <a:pt x="1207572" y="1595259"/>
                </a:lnTo>
                <a:lnTo>
                  <a:pt x="1203232" y="1589087"/>
                </a:lnTo>
                <a:lnTo>
                  <a:pt x="1203449" y="1584324"/>
                </a:lnTo>
                <a:lnTo>
                  <a:pt x="1206053" y="1584757"/>
                </a:lnTo>
                <a:lnTo>
                  <a:pt x="1207789" y="1588763"/>
                </a:lnTo>
                <a:lnTo>
                  <a:pt x="1209960" y="1589304"/>
                </a:lnTo>
                <a:lnTo>
                  <a:pt x="1210393" y="1586489"/>
                </a:lnTo>
                <a:lnTo>
                  <a:pt x="1208115" y="1582591"/>
                </a:lnTo>
                <a:lnTo>
                  <a:pt x="1206921" y="1578585"/>
                </a:lnTo>
                <a:lnTo>
                  <a:pt x="1203449" y="1578585"/>
                </a:lnTo>
                <a:lnTo>
                  <a:pt x="1200302" y="1580642"/>
                </a:lnTo>
                <a:lnTo>
                  <a:pt x="1195310" y="1578261"/>
                </a:lnTo>
                <a:lnTo>
                  <a:pt x="1191946" y="1572089"/>
                </a:lnTo>
                <a:lnTo>
                  <a:pt x="1192055" y="1569816"/>
                </a:lnTo>
                <a:lnTo>
                  <a:pt x="1198131" y="1565701"/>
                </a:lnTo>
                <a:lnTo>
                  <a:pt x="1200736" y="1560071"/>
                </a:lnTo>
                <a:lnTo>
                  <a:pt x="1203774" y="1556931"/>
                </a:lnTo>
                <a:lnTo>
                  <a:pt x="1202472" y="1555523"/>
                </a:lnTo>
                <a:lnTo>
                  <a:pt x="1197914" y="1556931"/>
                </a:lnTo>
                <a:lnTo>
                  <a:pt x="1192814" y="1556931"/>
                </a:lnTo>
                <a:lnTo>
                  <a:pt x="1191512" y="1555090"/>
                </a:lnTo>
                <a:lnTo>
                  <a:pt x="1194984" y="1551409"/>
                </a:lnTo>
                <a:lnTo>
                  <a:pt x="1199108" y="1545129"/>
                </a:lnTo>
                <a:lnTo>
                  <a:pt x="1199325" y="1538417"/>
                </a:lnTo>
                <a:lnTo>
                  <a:pt x="1201170" y="1535927"/>
                </a:lnTo>
                <a:lnTo>
                  <a:pt x="1201170" y="1533112"/>
                </a:lnTo>
                <a:lnTo>
                  <a:pt x="1198239" y="1533869"/>
                </a:lnTo>
                <a:lnTo>
                  <a:pt x="1196395" y="1537875"/>
                </a:lnTo>
                <a:lnTo>
                  <a:pt x="1195744" y="1546212"/>
                </a:lnTo>
                <a:lnTo>
                  <a:pt x="1190535" y="1553358"/>
                </a:lnTo>
                <a:lnTo>
                  <a:pt x="1187605" y="1553900"/>
                </a:lnTo>
                <a:lnTo>
                  <a:pt x="1184784" y="1551951"/>
                </a:lnTo>
                <a:lnTo>
                  <a:pt x="1182179" y="1550976"/>
                </a:lnTo>
                <a:lnTo>
                  <a:pt x="1182179" y="1548594"/>
                </a:lnTo>
                <a:lnTo>
                  <a:pt x="1183699" y="1546537"/>
                </a:lnTo>
                <a:lnTo>
                  <a:pt x="1183699" y="1544372"/>
                </a:lnTo>
                <a:lnTo>
                  <a:pt x="1179901" y="1546862"/>
                </a:lnTo>
                <a:lnTo>
                  <a:pt x="1177730" y="1549785"/>
                </a:lnTo>
                <a:lnTo>
                  <a:pt x="1176211" y="1549894"/>
                </a:lnTo>
                <a:lnTo>
                  <a:pt x="1175018" y="1547186"/>
                </a:lnTo>
                <a:lnTo>
                  <a:pt x="1172413" y="1547945"/>
                </a:lnTo>
                <a:lnTo>
                  <a:pt x="1169917" y="1550002"/>
                </a:lnTo>
                <a:lnTo>
                  <a:pt x="1166662" y="1548161"/>
                </a:lnTo>
                <a:lnTo>
                  <a:pt x="1166553" y="1546429"/>
                </a:lnTo>
                <a:lnTo>
                  <a:pt x="1169917" y="1542747"/>
                </a:lnTo>
                <a:lnTo>
                  <a:pt x="1173823" y="1542531"/>
                </a:lnTo>
                <a:lnTo>
                  <a:pt x="1179466" y="1541015"/>
                </a:lnTo>
                <a:lnTo>
                  <a:pt x="1185760" y="1536468"/>
                </a:lnTo>
                <a:lnTo>
                  <a:pt x="1187930" y="1532029"/>
                </a:lnTo>
                <a:lnTo>
                  <a:pt x="1187822" y="1527048"/>
                </a:lnTo>
                <a:lnTo>
                  <a:pt x="1187062" y="1531162"/>
                </a:lnTo>
                <a:lnTo>
                  <a:pt x="1182830" y="1534086"/>
                </a:lnTo>
                <a:lnTo>
                  <a:pt x="1180009" y="1539066"/>
                </a:lnTo>
                <a:lnTo>
                  <a:pt x="1177404" y="1540798"/>
                </a:lnTo>
                <a:lnTo>
                  <a:pt x="1170893" y="1538525"/>
                </a:lnTo>
                <a:lnTo>
                  <a:pt x="1169483" y="1535168"/>
                </a:lnTo>
                <a:lnTo>
                  <a:pt x="1165359" y="1534735"/>
                </a:lnTo>
                <a:lnTo>
                  <a:pt x="1165359" y="1533112"/>
                </a:lnTo>
                <a:lnTo>
                  <a:pt x="1168832" y="1531704"/>
                </a:lnTo>
                <a:lnTo>
                  <a:pt x="1166879" y="1529972"/>
                </a:lnTo>
                <a:lnTo>
                  <a:pt x="1160910" y="1531162"/>
                </a:lnTo>
                <a:lnTo>
                  <a:pt x="1157112" y="1529105"/>
                </a:lnTo>
                <a:lnTo>
                  <a:pt x="1153856" y="1529430"/>
                </a:lnTo>
                <a:lnTo>
                  <a:pt x="1152988" y="1533112"/>
                </a:lnTo>
                <a:lnTo>
                  <a:pt x="1147454" y="1529322"/>
                </a:lnTo>
                <a:lnTo>
                  <a:pt x="1145175" y="1524666"/>
                </a:lnTo>
                <a:lnTo>
                  <a:pt x="1146912" y="1522934"/>
                </a:lnTo>
                <a:lnTo>
                  <a:pt x="1149842" y="1525100"/>
                </a:lnTo>
                <a:lnTo>
                  <a:pt x="1155376" y="1526507"/>
                </a:lnTo>
                <a:lnTo>
                  <a:pt x="1160910" y="1525533"/>
                </a:lnTo>
                <a:lnTo>
                  <a:pt x="1161236" y="1523150"/>
                </a:lnTo>
                <a:lnTo>
                  <a:pt x="1158631" y="1523476"/>
                </a:lnTo>
                <a:lnTo>
                  <a:pt x="1152228" y="1523259"/>
                </a:lnTo>
                <a:lnTo>
                  <a:pt x="1150710" y="1522068"/>
                </a:lnTo>
                <a:lnTo>
                  <a:pt x="1151578" y="1520877"/>
                </a:lnTo>
                <a:lnTo>
                  <a:pt x="1155701" y="1521851"/>
                </a:lnTo>
                <a:lnTo>
                  <a:pt x="1160367" y="1520877"/>
                </a:lnTo>
                <a:lnTo>
                  <a:pt x="1161127" y="1518819"/>
                </a:lnTo>
                <a:lnTo>
                  <a:pt x="1155050" y="1518928"/>
                </a:lnTo>
                <a:lnTo>
                  <a:pt x="1151903" y="1517087"/>
                </a:lnTo>
                <a:lnTo>
                  <a:pt x="1146803" y="1518278"/>
                </a:lnTo>
                <a:lnTo>
                  <a:pt x="1143547" y="1518278"/>
                </a:lnTo>
                <a:lnTo>
                  <a:pt x="1141269" y="1516438"/>
                </a:lnTo>
                <a:lnTo>
                  <a:pt x="1142246" y="1512215"/>
                </a:lnTo>
                <a:lnTo>
                  <a:pt x="1146586" y="1511241"/>
                </a:lnTo>
                <a:lnTo>
                  <a:pt x="1149516" y="1513298"/>
                </a:lnTo>
                <a:lnTo>
                  <a:pt x="1154182" y="1513623"/>
                </a:lnTo>
                <a:lnTo>
                  <a:pt x="1156895" y="1511025"/>
                </a:lnTo>
                <a:lnTo>
                  <a:pt x="1152228" y="1511025"/>
                </a:lnTo>
                <a:lnTo>
                  <a:pt x="1148865" y="1509184"/>
                </a:lnTo>
                <a:lnTo>
                  <a:pt x="1143114" y="1508967"/>
                </a:lnTo>
                <a:lnTo>
                  <a:pt x="1143656" y="1507235"/>
                </a:lnTo>
                <a:lnTo>
                  <a:pt x="1150384" y="1505503"/>
                </a:lnTo>
                <a:lnTo>
                  <a:pt x="1152988" y="1506801"/>
                </a:lnTo>
                <a:lnTo>
                  <a:pt x="1155918" y="1505935"/>
                </a:lnTo>
                <a:lnTo>
                  <a:pt x="1155050" y="1503662"/>
                </a:lnTo>
                <a:lnTo>
                  <a:pt x="1155050" y="1501280"/>
                </a:lnTo>
                <a:lnTo>
                  <a:pt x="1157763" y="1498681"/>
                </a:lnTo>
                <a:lnTo>
                  <a:pt x="1163840" y="1498681"/>
                </a:lnTo>
                <a:lnTo>
                  <a:pt x="1167963" y="1499548"/>
                </a:lnTo>
                <a:lnTo>
                  <a:pt x="1169375" y="1498140"/>
                </a:lnTo>
                <a:lnTo>
                  <a:pt x="1161887" y="1497166"/>
                </a:lnTo>
                <a:lnTo>
                  <a:pt x="1159716" y="1494784"/>
                </a:lnTo>
                <a:lnTo>
                  <a:pt x="1157438" y="1494026"/>
                </a:lnTo>
                <a:lnTo>
                  <a:pt x="1155050" y="1497815"/>
                </a:lnTo>
                <a:lnTo>
                  <a:pt x="1150710" y="1499872"/>
                </a:lnTo>
                <a:lnTo>
                  <a:pt x="1147562" y="1502146"/>
                </a:lnTo>
                <a:lnTo>
                  <a:pt x="1146044" y="1500739"/>
                </a:lnTo>
                <a:lnTo>
                  <a:pt x="1146369" y="1497274"/>
                </a:lnTo>
                <a:lnTo>
                  <a:pt x="1145718" y="1493809"/>
                </a:lnTo>
                <a:lnTo>
                  <a:pt x="1147454" y="1490128"/>
                </a:lnTo>
                <a:lnTo>
                  <a:pt x="1153531" y="1487097"/>
                </a:lnTo>
                <a:lnTo>
                  <a:pt x="1156027" y="1483956"/>
                </a:lnTo>
                <a:lnTo>
                  <a:pt x="1167095" y="1475836"/>
                </a:lnTo>
                <a:lnTo>
                  <a:pt x="1170568" y="1474104"/>
                </a:lnTo>
                <a:lnTo>
                  <a:pt x="1172413" y="1477027"/>
                </a:lnTo>
                <a:lnTo>
                  <a:pt x="1172630" y="1483523"/>
                </a:lnTo>
                <a:lnTo>
                  <a:pt x="1175234" y="1487313"/>
                </a:lnTo>
                <a:lnTo>
                  <a:pt x="1176753" y="1486122"/>
                </a:lnTo>
                <a:lnTo>
                  <a:pt x="1175234" y="1480275"/>
                </a:lnTo>
                <a:lnTo>
                  <a:pt x="1175234" y="1473454"/>
                </a:lnTo>
                <a:lnTo>
                  <a:pt x="1179684" y="1471505"/>
                </a:lnTo>
                <a:lnTo>
                  <a:pt x="1185000" y="1471505"/>
                </a:lnTo>
                <a:lnTo>
                  <a:pt x="1180660" y="1470098"/>
                </a:lnTo>
                <a:lnTo>
                  <a:pt x="1175234" y="1470098"/>
                </a:lnTo>
                <a:lnTo>
                  <a:pt x="1171978" y="1471181"/>
                </a:lnTo>
                <a:lnTo>
                  <a:pt x="1169700" y="1468474"/>
                </a:lnTo>
                <a:lnTo>
                  <a:pt x="1170893" y="1465334"/>
                </a:lnTo>
                <a:lnTo>
                  <a:pt x="1175668" y="1463385"/>
                </a:lnTo>
                <a:lnTo>
                  <a:pt x="1180552" y="1460029"/>
                </a:lnTo>
                <a:lnTo>
                  <a:pt x="1184132" y="1453965"/>
                </a:lnTo>
                <a:lnTo>
                  <a:pt x="1182939" y="1450501"/>
                </a:lnTo>
                <a:lnTo>
                  <a:pt x="1181420" y="1451367"/>
                </a:lnTo>
                <a:lnTo>
                  <a:pt x="1180226" y="1455481"/>
                </a:lnTo>
                <a:lnTo>
                  <a:pt x="1176211" y="1459163"/>
                </a:lnTo>
                <a:lnTo>
                  <a:pt x="1171436" y="1459487"/>
                </a:lnTo>
                <a:lnTo>
                  <a:pt x="1166879" y="1465442"/>
                </a:lnTo>
                <a:lnTo>
                  <a:pt x="1160259" y="1470423"/>
                </a:lnTo>
                <a:lnTo>
                  <a:pt x="1153531" y="1472913"/>
                </a:lnTo>
                <a:lnTo>
                  <a:pt x="1150167" y="1468799"/>
                </a:lnTo>
                <a:lnTo>
                  <a:pt x="1151252" y="1466525"/>
                </a:lnTo>
                <a:lnTo>
                  <a:pt x="1155050" y="1465442"/>
                </a:lnTo>
                <a:lnTo>
                  <a:pt x="1151469" y="1464685"/>
                </a:lnTo>
                <a:lnTo>
                  <a:pt x="1144741" y="1467066"/>
                </a:lnTo>
                <a:lnTo>
                  <a:pt x="1142246" y="1464793"/>
                </a:lnTo>
                <a:lnTo>
                  <a:pt x="1143331" y="1462627"/>
                </a:lnTo>
                <a:lnTo>
                  <a:pt x="1149190" y="1458621"/>
                </a:lnTo>
                <a:lnTo>
                  <a:pt x="1153097" y="1456781"/>
                </a:lnTo>
                <a:lnTo>
                  <a:pt x="1157112" y="1457430"/>
                </a:lnTo>
                <a:lnTo>
                  <a:pt x="1158631" y="1455481"/>
                </a:lnTo>
                <a:lnTo>
                  <a:pt x="1158848" y="1453316"/>
                </a:lnTo>
                <a:lnTo>
                  <a:pt x="1156027" y="1451259"/>
                </a:lnTo>
                <a:lnTo>
                  <a:pt x="1156895" y="1449310"/>
                </a:lnTo>
                <a:lnTo>
                  <a:pt x="1159174" y="1447253"/>
                </a:lnTo>
                <a:lnTo>
                  <a:pt x="1157221" y="1445412"/>
                </a:lnTo>
                <a:lnTo>
                  <a:pt x="1153531" y="1447469"/>
                </a:lnTo>
                <a:lnTo>
                  <a:pt x="1151252" y="1447469"/>
                </a:lnTo>
                <a:lnTo>
                  <a:pt x="1149516" y="1443680"/>
                </a:lnTo>
                <a:lnTo>
                  <a:pt x="1148865" y="1433719"/>
                </a:lnTo>
                <a:lnTo>
                  <a:pt x="1146586" y="1430471"/>
                </a:lnTo>
                <a:lnTo>
                  <a:pt x="1146260" y="1426681"/>
                </a:lnTo>
                <a:lnTo>
                  <a:pt x="1147997" y="1423216"/>
                </a:lnTo>
                <a:lnTo>
                  <a:pt x="1153965" y="1423758"/>
                </a:lnTo>
                <a:lnTo>
                  <a:pt x="1158523" y="1425815"/>
                </a:lnTo>
                <a:lnTo>
                  <a:pt x="1164382" y="1425491"/>
                </a:lnTo>
                <a:lnTo>
                  <a:pt x="1169483" y="1427981"/>
                </a:lnTo>
                <a:lnTo>
                  <a:pt x="1167747" y="1425491"/>
                </a:lnTo>
                <a:lnTo>
                  <a:pt x="1163949" y="1424191"/>
                </a:lnTo>
                <a:lnTo>
                  <a:pt x="1159499" y="1424191"/>
                </a:lnTo>
                <a:lnTo>
                  <a:pt x="1156244" y="1420835"/>
                </a:lnTo>
                <a:lnTo>
                  <a:pt x="1152228" y="1417695"/>
                </a:lnTo>
                <a:lnTo>
                  <a:pt x="1152120" y="1415530"/>
                </a:lnTo>
                <a:lnTo>
                  <a:pt x="1155050" y="1410657"/>
                </a:lnTo>
                <a:lnTo>
                  <a:pt x="1157654" y="1409683"/>
                </a:lnTo>
                <a:lnTo>
                  <a:pt x="1159825" y="1405352"/>
                </a:lnTo>
                <a:lnTo>
                  <a:pt x="1159499" y="1400372"/>
                </a:lnTo>
                <a:lnTo>
                  <a:pt x="1157654" y="1400804"/>
                </a:lnTo>
                <a:lnTo>
                  <a:pt x="1153314" y="1406002"/>
                </a:lnTo>
                <a:lnTo>
                  <a:pt x="1149190" y="1408925"/>
                </a:lnTo>
                <a:lnTo>
                  <a:pt x="1141919" y="1411198"/>
                </a:lnTo>
                <a:lnTo>
                  <a:pt x="1138339" y="1414988"/>
                </a:lnTo>
                <a:lnTo>
                  <a:pt x="1137471" y="1418561"/>
                </a:lnTo>
                <a:lnTo>
                  <a:pt x="1134649" y="1417912"/>
                </a:lnTo>
                <a:lnTo>
                  <a:pt x="1131285" y="1410983"/>
                </a:lnTo>
                <a:lnTo>
                  <a:pt x="1129223" y="1403945"/>
                </a:lnTo>
                <a:lnTo>
                  <a:pt x="1130200" y="1391710"/>
                </a:lnTo>
                <a:lnTo>
                  <a:pt x="1131936" y="1384023"/>
                </a:lnTo>
                <a:lnTo>
                  <a:pt x="1131285" y="1380883"/>
                </a:lnTo>
                <a:lnTo>
                  <a:pt x="1127162" y="1380450"/>
                </a:lnTo>
                <a:lnTo>
                  <a:pt x="1126944" y="1373737"/>
                </a:lnTo>
                <a:lnTo>
                  <a:pt x="1130417" y="1371463"/>
                </a:lnTo>
                <a:lnTo>
                  <a:pt x="1132696" y="1373521"/>
                </a:lnTo>
                <a:lnTo>
                  <a:pt x="1135191" y="1374604"/>
                </a:lnTo>
                <a:lnTo>
                  <a:pt x="1134215" y="1369623"/>
                </a:lnTo>
                <a:lnTo>
                  <a:pt x="1138881" y="1365833"/>
                </a:lnTo>
                <a:lnTo>
                  <a:pt x="1141269" y="1359445"/>
                </a:lnTo>
                <a:lnTo>
                  <a:pt x="1145067" y="1358579"/>
                </a:lnTo>
                <a:lnTo>
                  <a:pt x="1150167" y="1359445"/>
                </a:lnTo>
                <a:lnTo>
                  <a:pt x="1152771" y="1357172"/>
                </a:lnTo>
                <a:lnTo>
                  <a:pt x="1149733" y="1356847"/>
                </a:lnTo>
                <a:lnTo>
                  <a:pt x="1149190" y="1355331"/>
                </a:lnTo>
                <a:lnTo>
                  <a:pt x="1155701" y="1347968"/>
                </a:lnTo>
                <a:lnTo>
                  <a:pt x="1158306" y="1343746"/>
                </a:lnTo>
                <a:lnTo>
                  <a:pt x="1164817" y="1340065"/>
                </a:lnTo>
                <a:lnTo>
                  <a:pt x="1165359" y="1337791"/>
                </a:lnTo>
                <a:lnTo>
                  <a:pt x="1162321" y="1337142"/>
                </a:lnTo>
                <a:lnTo>
                  <a:pt x="1161452" y="1334652"/>
                </a:lnTo>
                <a:lnTo>
                  <a:pt x="1155593" y="1339523"/>
                </a:lnTo>
                <a:lnTo>
                  <a:pt x="1154725" y="1344612"/>
                </a:lnTo>
                <a:lnTo>
                  <a:pt x="1146803" y="1353599"/>
                </a:lnTo>
                <a:lnTo>
                  <a:pt x="1145175" y="1353599"/>
                </a:lnTo>
                <a:lnTo>
                  <a:pt x="1145718" y="1350351"/>
                </a:lnTo>
                <a:lnTo>
                  <a:pt x="1150710" y="1343638"/>
                </a:lnTo>
                <a:lnTo>
                  <a:pt x="1151578" y="1335842"/>
                </a:lnTo>
                <a:lnTo>
                  <a:pt x="1157763" y="1324149"/>
                </a:lnTo>
                <a:lnTo>
                  <a:pt x="1160042" y="1319060"/>
                </a:lnTo>
                <a:lnTo>
                  <a:pt x="1158739" y="1318411"/>
                </a:lnTo>
                <a:lnTo>
                  <a:pt x="1158632" y="1318411"/>
                </a:lnTo>
                <a:lnTo>
                  <a:pt x="1156787" y="1319927"/>
                </a:lnTo>
                <a:lnTo>
                  <a:pt x="1151469" y="1331079"/>
                </a:lnTo>
                <a:lnTo>
                  <a:pt x="1149516" y="1340823"/>
                </a:lnTo>
                <a:lnTo>
                  <a:pt x="1144525" y="1348185"/>
                </a:lnTo>
                <a:lnTo>
                  <a:pt x="1138665" y="1355006"/>
                </a:lnTo>
                <a:lnTo>
                  <a:pt x="1134324" y="1356847"/>
                </a:lnTo>
                <a:lnTo>
                  <a:pt x="1131177" y="1356306"/>
                </a:lnTo>
                <a:lnTo>
                  <a:pt x="1130526" y="1359662"/>
                </a:lnTo>
                <a:lnTo>
                  <a:pt x="1127488" y="1361287"/>
                </a:lnTo>
                <a:lnTo>
                  <a:pt x="1125208" y="1356522"/>
                </a:lnTo>
                <a:lnTo>
                  <a:pt x="1126294" y="1351000"/>
                </a:lnTo>
                <a:lnTo>
                  <a:pt x="1128681" y="1349051"/>
                </a:lnTo>
                <a:lnTo>
                  <a:pt x="1131069" y="1348943"/>
                </a:lnTo>
                <a:lnTo>
                  <a:pt x="1134324" y="1349377"/>
                </a:lnTo>
                <a:lnTo>
                  <a:pt x="1138231" y="1345912"/>
                </a:lnTo>
                <a:lnTo>
                  <a:pt x="1137797" y="1344612"/>
                </a:lnTo>
                <a:lnTo>
                  <a:pt x="1133131" y="1344396"/>
                </a:lnTo>
                <a:lnTo>
                  <a:pt x="1130960" y="1345479"/>
                </a:lnTo>
                <a:lnTo>
                  <a:pt x="1127379" y="1344937"/>
                </a:lnTo>
                <a:lnTo>
                  <a:pt x="1127270" y="1343097"/>
                </a:lnTo>
                <a:lnTo>
                  <a:pt x="1130526" y="1339416"/>
                </a:lnTo>
                <a:lnTo>
                  <a:pt x="1134867" y="1339091"/>
                </a:lnTo>
                <a:lnTo>
                  <a:pt x="1138231" y="1339524"/>
                </a:lnTo>
                <a:lnTo>
                  <a:pt x="1137146" y="1337250"/>
                </a:lnTo>
                <a:lnTo>
                  <a:pt x="1135952" y="1334760"/>
                </a:lnTo>
                <a:lnTo>
                  <a:pt x="1137471" y="1331404"/>
                </a:lnTo>
                <a:lnTo>
                  <a:pt x="1140727" y="1325882"/>
                </a:lnTo>
                <a:lnTo>
                  <a:pt x="1139859" y="1322850"/>
                </a:lnTo>
                <a:lnTo>
                  <a:pt x="1139859" y="1318736"/>
                </a:lnTo>
                <a:lnTo>
                  <a:pt x="1144742" y="1314188"/>
                </a:lnTo>
                <a:lnTo>
                  <a:pt x="1144742" y="1312348"/>
                </a:lnTo>
                <a:lnTo>
                  <a:pt x="1139207" y="1312131"/>
                </a:lnTo>
                <a:lnTo>
                  <a:pt x="1138556" y="1310616"/>
                </a:lnTo>
                <a:lnTo>
                  <a:pt x="1142137" y="1306502"/>
                </a:lnTo>
                <a:lnTo>
                  <a:pt x="1136277" y="1307043"/>
                </a:lnTo>
                <a:lnTo>
                  <a:pt x="1132696" y="1307367"/>
                </a:lnTo>
                <a:lnTo>
                  <a:pt x="1131611" y="1305419"/>
                </a:lnTo>
                <a:lnTo>
                  <a:pt x="1126077" y="1310941"/>
                </a:lnTo>
                <a:lnTo>
                  <a:pt x="1122279" y="1311806"/>
                </a:lnTo>
                <a:lnTo>
                  <a:pt x="1121953" y="1313864"/>
                </a:lnTo>
                <a:lnTo>
                  <a:pt x="1119024" y="1320576"/>
                </a:lnTo>
                <a:lnTo>
                  <a:pt x="1114031" y="1324908"/>
                </a:lnTo>
                <a:lnTo>
                  <a:pt x="1112078" y="1320468"/>
                </a:lnTo>
                <a:lnTo>
                  <a:pt x="1112078" y="1315812"/>
                </a:lnTo>
                <a:lnTo>
                  <a:pt x="1117504" y="1311482"/>
                </a:lnTo>
                <a:lnTo>
                  <a:pt x="1124666" y="1303794"/>
                </a:lnTo>
                <a:lnTo>
                  <a:pt x="1127596" y="1297515"/>
                </a:lnTo>
                <a:lnTo>
                  <a:pt x="1130960" y="1296757"/>
                </a:lnTo>
                <a:lnTo>
                  <a:pt x="1136061" y="1297731"/>
                </a:lnTo>
                <a:lnTo>
                  <a:pt x="1141052" y="1295025"/>
                </a:lnTo>
                <a:lnTo>
                  <a:pt x="1138339" y="1293942"/>
                </a:lnTo>
                <a:lnTo>
                  <a:pt x="1133131" y="1294158"/>
                </a:lnTo>
                <a:lnTo>
                  <a:pt x="1129549" y="1291668"/>
                </a:lnTo>
                <a:lnTo>
                  <a:pt x="1125534" y="1284739"/>
                </a:lnTo>
                <a:lnTo>
                  <a:pt x="1124883" y="1279542"/>
                </a:lnTo>
                <a:lnTo>
                  <a:pt x="1127705" y="1275752"/>
                </a:lnTo>
                <a:lnTo>
                  <a:pt x="1130635" y="1275319"/>
                </a:lnTo>
                <a:lnTo>
                  <a:pt x="1133456" y="1274129"/>
                </a:lnTo>
                <a:lnTo>
                  <a:pt x="1131069" y="1274020"/>
                </a:lnTo>
                <a:lnTo>
                  <a:pt x="1127270" y="1270664"/>
                </a:lnTo>
                <a:lnTo>
                  <a:pt x="1125643" y="1266658"/>
                </a:lnTo>
                <a:lnTo>
                  <a:pt x="1122279" y="1264384"/>
                </a:lnTo>
                <a:lnTo>
                  <a:pt x="1121302" y="1261786"/>
                </a:lnTo>
                <a:lnTo>
                  <a:pt x="1122930" y="1260378"/>
                </a:lnTo>
                <a:lnTo>
                  <a:pt x="1126836" y="1260811"/>
                </a:lnTo>
                <a:lnTo>
                  <a:pt x="1126620" y="1259187"/>
                </a:lnTo>
                <a:lnTo>
                  <a:pt x="1124232" y="1257346"/>
                </a:lnTo>
                <a:lnTo>
                  <a:pt x="1121410" y="1257780"/>
                </a:lnTo>
                <a:lnTo>
                  <a:pt x="1118264" y="1254748"/>
                </a:lnTo>
                <a:lnTo>
                  <a:pt x="1116961" y="1250742"/>
                </a:lnTo>
                <a:lnTo>
                  <a:pt x="1114249" y="1251066"/>
                </a:lnTo>
                <a:lnTo>
                  <a:pt x="1111536" y="1250742"/>
                </a:lnTo>
                <a:lnTo>
                  <a:pt x="1110776" y="1248901"/>
                </a:lnTo>
                <a:lnTo>
                  <a:pt x="1112946" y="1245220"/>
                </a:lnTo>
                <a:lnTo>
                  <a:pt x="1116093" y="1244679"/>
                </a:lnTo>
                <a:lnTo>
                  <a:pt x="1117721" y="1242405"/>
                </a:lnTo>
                <a:lnTo>
                  <a:pt x="1116419" y="1240781"/>
                </a:lnTo>
                <a:lnTo>
                  <a:pt x="1116202" y="1235584"/>
                </a:lnTo>
                <a:lnTo>
                  <a:pt x="1118697" y="1231903"/>
                </a:lnTo>
                <a:lnTo>
                  <a:pt x="1117504" y="1228979"/>
                </a:lnTo>
                <a:lnTo>
                  <a:pt x="1118806" y="1227356"/>
                </a:lnTo>
                <a:lnTo>
                  <a:pt x="1120434" y="1231036"/>
                </a:lnTo>
                <a:lnTo>
                  <a:pt x="1124015" y="1233744"/>
                </a:lnTo>
                <a:lnTo>
                  <a:pt x="1125860" y="1232985"/>
                </a:lnTo>
                <a:lnTo>
                  <a:pt x="1125860" y="1228330"/>
                </a:lnTo>
                <a:lnTo>
                  <a:pt x="1122604" y="1222916"/>
                </a:lnTo>
                <a:lnTo>
                  <a:pt x="1122279" y="1220426"/>
                </a:lnTo>
                <a:lnTo>
                  <a:pt x="1125860" y="1219885"/>
                </a:lnTo>
                <a:lnTo>
                  <a:pt x="1128030" y="1218152"/>
                </a:lnTo>
                <a:lnTo>
                  <a:pt x="1124883" y="1215770"/>
                </a:lnTo>
                <a:lnTo>
                  <a:pt x="1124883" y="1213713"/>
                </a:lnTo>
                <a:lnTo>
                  <a:pt x="1127270" y="1212630"/>
                </a:lnTo>
                <a:lnTo>
                  <a:pt x="1133673" y="1208516"/>
                </a:lnTo>
                <a:lnTo>
                  <a:pt x="1133781" y="1207109"/>
                </a:lnTo>
                <a:lnTo>
                  <a:pt x="1128030" y="1207434"/>
                </a:lnTo>
                <a:lnTo>
                  <a:pt x="1124015" y="1209166"/>
                </a:lnTo>
                <a:lnTo>
                  <a:pt x="1121410" y="1207650"/>
                </a:lnTo>
                <a:lnTo>
                  <a:pt x="1118915" y="1209491"/>
                </a:lnTo>
                <a:lnTo>
                  <a:pt x="1115442" y="1206567"/>
                </a:lnTo>
                <a:lnTo>
                  <a:pt x="1115008" y="1201479"/>
                </a:lnTo>
                <a:lnTo>
                  <a:pt x="1112838" y="1201479"/>
                </a:lnTo>
                <a:lnTo>
                  <a:pt x="1112078" y="1195957"/>
                </a:lnTo>
                <a:lnTo>
                  <a:pt x="1107955" y="1192059"/>
                </a:lnTo>
                <a:lnTo>
                  <a:pt x="1106978" y="1187187"/>
                </a:lnTo>
                <a:lnTo>
                  <a:pt x="1106110" y="1183181"/>
                </a:lnTo>
                <a:lnTo>
                  <a:pt x="1106435" y="1176252"/>
                </a:lnTo>
                <a:lnTo>
                  <a:pt x="1109583" y="1173437"/>
                </a:lnTo>
                <a:lnTo>
                  <a:pt x="1107955" y="1170514"/>
                </a:lnTo>
                <a:lnTo>
                  <a:pt x="1108497" y="1164883"/>
                </a:lnTo>
                <a:lnTo>
                  <a:pt x="1112946" y="1156114"/>
                </a:lnTo>
                <a:lnTo>
                  <a:pt x="1111644" y="1149400"/>
                </a:lnTo>
                <a:lnTo>
                  <a:pt x="1113489" y="1141172"/>
                </a:lnTo>
                <a:lnTo>
                  <a:pt x="1116744" y="1134567"/>
                </a:lnTo>
                <a:lnTo>
                  <a:pt x="1111753" y="1138249"/>
                </a:lnTo>
                <a:lnTo>
                  <a:pt x="1109365" y="1144095"/>
                </a:lnTo>
                <a:lnTo>
                  <a:pt x="1106761" y="1143012"/>
                </a:lnTo>
                <a:lnTo>
                  <a:pt x="1104590" y="1137166"/>
                </a:lnTo>
                <a:lnTo>
                  <a:pt x="1102854" y="1136300"/>
                </a:lnTo>
                <a:lnTo>
                  <a:pt x="1102529" y="1137166"/>
                </a:lnTo>
                <a:lnTo>
                  <a:pt x="1104157" y="1140631"/>
                </a:lnTo>
                <a:lnTo>
                  <a:pt x="1105458" y="1147451"/>
                </a:lnTo>
                <a:lnTo>
                  <a:pt x="1105458" y="1157412"/>
                </a:lnTo>
                <a:lnTo>
                  <a:pt x="1101986" y="1167590"/>
                </a:lnTo>
                <a:lnTo>
                  <a:pt x="1101118" y="1179067"/>
                </a:lnTo>
                <a:lnTo>
                  <a:pt x="1099382" y="1182532"/>
                </a:lnTo>
                <a:lnTo>
                  <a:pt x="1098839" y="1188595"/>
                </a:lnTo>
                <a:lnTo>
                  <a:pt x="1094716" y="1196499"/>
                </a:lnTo>
                <a:lnTo>
                  <a:pt x="1091677" y="1194224"/>
                </a:lnTo>
                <a:lnTo>
                  <a:pt x="1090049" y="1188269"/>
                </a:lnTo>
                <a:lnTo>
                  <a:pt x="1091460" y="1186538"/>
                </a:lnTo>
                <a:lnTo>
                  <a:pt x="1090918" y="1183073"/>
                </a:lnTo>
                <a:lnTo>
                  <a:pt x="1088530" y="1186862"/>
                </a:lnTo>
                <a:lnTo>
                  <a:pt x="1087879" y="1188919"/>
                </a:lnTo>
                <a:lnTo>
                  <a:pt x="1082887" y="1187512"/>
                </a:lnTo>
                <a:lnTo>
                  <a:pt x="1081477" y="1185130"/>
                </a:lnTo>
                <a:lnTo>
                  <a:pt x="1083213" y="1180149"/>
                </a:lnTo>
                <a:lnTo>
                  <a:pt x="1082019" y="1175818"/>
                </a:lnTo>
                <a:lnTo>
                  <a:pt x="1081802" y="1172246"/>
                </a:lnTo>
                <a:lnTo>
                  <a:pt x="1085275" y="1169106"/>
                </a:lnTo>
                <a:lnTo>
                  <a:pt x="1086685" y="1165424"/>
                </a:lnTo>
                <a:lnTo>
                  <a:pt x="1084515" y="1165749"/>
                </a:lnTo>
                <a:lnTo>
                  <a:pt x="1080391" y="1169647"/>
                </a:lnTo>
                <a:lnTo>
                  <a:pt x="1077896" y="1168998"/>
                </a:lnTo>
                <a:lnTo>
                  <a:pt x="1076811" y="1165424"/>
                </a:lnTo>
                <a:lnTo>
                  <a:pt x="1078547" y="1160661"/>
                </a:lnTo>
                <a:lnTo>
                  <a:pt x="1076811" y="1157412"/>
                </a:lnTo>
                <a:lnTo>
                  <a:pt x="1075399" y="1154706"/>
                </a:lnTo>
                <a:lnTo>
                  <a:pt x="1072686" y="1159145"/>
                </a:lnTo>
                <a:lnTo>
                  <a:pt x="1071168" y="1156222"/>
                </a:lnTo>
                <a:lnTo>
                  <a:pt x="1070841" y="1151457"/>
                </a:lnTo>
                <a:lnTo>
                  <a:pt x="1068020" y="1151133"/>
                </a:lnTo>
                <a:lnTo>
                  <a:pt x="1067370" y="1156438"/>
                </a:lnTo>
                <a:lnTo>
                  <a:pt x="1065633" y="1158712"/>
                </a:lnTo>
                <a:lnTo>
                  <a:pt x="1065742" y="1161094"/>
                </a:lnTo>
                <a:lnTo>
                  <a:pt x="1068997" y="1162501"/>
                </a:lnTo>
                <a:lnTo>
                  <a:pt x="1070408" y="1165749"/>
                </a:lnTo>
                <a:lnTo>
                  <a:pt x="1070841" y="1168781"/>
                </a:lnTo>
                <a:lnTo>
                  <a:pt x="1067478" y="1173112"/>
                </a:lnTo>
                <a:lnTo>
                  <a:pt x="1069106" y="1174628"/>
                </a:lnTo>
                <a:lnTo>
                  <a:pt x="1070841" y="1173653"/>
                </a:lnTo>
                <a:lnTo>
                  <a:pt x="1073338" y="1173437"/>
                </a:lnTo>
                <a:lnTo>
                  <a:pt x="1076159" y="1180149"/>
                </a:lnTo>
                <a:lnTo>
                  <a:pt x="1074423" y="1183939"/>
                </a:lnTo>
                <a:lnTo>
                  <a:pt x="1071601" y="1183181"/>
                </a:lnTo>
                <a:lnTo>
                  <a:pt x="1069756" y="1181016"/>
                </a:lnTo>
                <a:lnTo>
                  <a:pt x="1068346" y="1183073"/>
                </a:lnTo>
                <a:lnTo>
                  <a:pt x="1069865" y="1185130"/>
                </a:lnTo>
                <a:lnTo>
                  <a:pt x="1066501" y="1186320"/>
                </a:lnTo>
                <a:lnTo>
                  <a:pt x="1063897" y="1183073"/>
                </a:lnTo>
                <a:lnTo>
                  <a:pt x="1061292" y="1185130"/>
                </a:lnTo>
                <a:lnTo>
                  <a:pt x="1060750" y="1182532"/>
                </a:lnTo>
                <a:lnTo>
                  <a:pt x="1058254" y="1181340"/>
                </a:lnTo>
                <a:lnTo>
                  <a:pt x="1051091" y="1173220"/>
                </a:lnTo>
                <a:lnTo>
                  <a:pt x="1049790" y="1169106"/>
                </a:lnTo>
                <a:lnTo>
                  <a:pt x="1050983" y="1165208"/>
                </a:lnTo>
                <a:lnTo>
                  <a:pt x="1047728" y="1164991"/>
                </a:lnTo>
                <a:lnTo>
                  <a:pt x="1045340" y="1162610"/>
                </a:lnTo>
                <a:lnTo>
                  <a:pt x="1045449" y="1151782"/>
                </a:lnTo>
                <a:lnTo>
                  <a:pt x="1047185" y="1149184"/>
                </a:lnTo>
                <a:lnTo>
                  <a:pt x="1043604" y="1146586"/>
                </a:lnTo>
                <a:lnTo>
                  <a:pt x="1042845" y="1143879"/>
                </a:lnTo>
                <a:lnTo>
                  <a:pt x="1046208" y="1139981"/>
                </a:lnTo>
                <a:lnTo>
                  <a:pt x="1048705" y="1138573"/>
                </a:lnTo>
                <a:lnTo>
                  <a:pt x="1049898" y="1135325"/>
                </a:lnTo>
                <a:lnTo>
                  <a:pt x="1049898" y="1129912"/>
                </a:lnTo>
                <a:lnTo>
                  <a:pt x="1052503" y="1122225"/>
                </a:lnTo>
                <a:lnTo>
                  <a:pt x="1046968" y="1132186"/>
                </a:lnTo>
                <a:lnTo>
                  <a:pt x="1044798" y="1136841"/>
                </a:lnTo>
                <a:lnTo>
                  <a:pt x="1039372" y="1136192"/>
                </a:lnTo>
                <a:lnTo>
                  <a:pt x="1037202" y="1137490"/>
                </a:lnTo>
                <a:lnTo>
                  <a:pt x="1030257" y="1130778"/>
                </a:lnTo>
                <a:lnTo>
                  <a:pt x="1030257" y="1129045"/>
                </a:lnTo>
                <a:lnTo>
                  <a:pt x="1033078" y="1129045"/>
                </a:lnTo>
                <a:lnTo>
                  <a:pt x="1034380" y="1126122"/>
                </a:lnTo>
                <a:lnTo>
                  <a:pt x="1031668" y="1124606"/>
                </a:lnTo>
                <a:lnTo>
                  <a:pt x="1027761" y="1125798"/>
                </a:lnTo>
                <a:lnTo>
                  <a:pt x="1024830" y="1123416"/>
                </a:lnTo>
                <a:lnTo>
                  <a:pt x="1023529" y="1118868"/>
                </a:lnTo>
                <a:lnTo>
                  <a:pt x="1020273" y="1113238"/>
                </a:lnTo>
                <a:lnTo>
                  <a:pt x="1022009" y="1112588"/>
                </a:lnTo>
                <a:lnTo>
                  <a:pt x="1027001" y="1115404"/>
                </a:lnTo>
                <a:lnTo>
                  <a:pt x="1030148" y="1114862"/>
                </a:lnTo>
                <a:lnTo>
                  <a:pt x="1032210" y="1109882"/>
                </a:lnTo>
                <a:lnTo>
                  <a:pt x="1033078" y="1101545"/>
                </a:lnTo>
                <a:lnTo>
                  <a:pt x="1037527" y="1098188"/>
                </a:lnTo>
                <a:lnTo>
                  <a:pt x="1039372" y="1095265"/>
                </a:lnTo>
                <a:lnTo>
                  <a:pt x="1036984" y="1095049"/>
                </a:lnTo>
                <a:lnTo>
                  <a:pt x="1030799" y="1099488"/>
                </a:lnTo>
                <a:lnTo>
                  <a:pt x="1028086" y="1103169"/>
                </a:lnTo>
                <a:lnTo>
                  <a:pt x="1026893" y="1100678"/>
                </a:lnTo>
                <a:lnTo>
                  <a:pt x="1023094" y="1102086"/>
                </a:lnTo>
                <a:lnTo>
                  <a:pt x="1014305" y="1104143"/>
                </a:lnTo>
                <a:lnTo>
                  <a:pt x="1007143" y="1101870"/>
                </a:lnTo>
                <a:lnTo>
                  <a:pt x="1004321" y="1099163"/>
                </a:lnTo>
                <a:lnTo>
                  <a:pt x="1003127" y="1094940"/>
                </a:lnTo>
                <a:lnTo>
                  <a:pt x="996183" y="1093208"/>
                </a:lnTo>
                <a:lnTo>
                  <a:pt x="995314" y="1090935"/>
                </a:lnTo>
                <a:lnTo>
                  <a:pt x="999764" y="1089743"/>
                </a:lnTo>
                <a:lnTo>
                  <a:pt x="1003236" y="1086929"/>
                </a:lnTo>
                <a:lnTo>
                  <a:pt x="1003562" y="1083356"/>
                </a:lnTo>
                <a:lnTo>
                  <a:pt x="1001174" y="1082164"/>
                </a:lnTo>
                <a:lnTo>
                  <a:pt x="999764" y="1083680"/>
                </a:lnTo>
                <a:lnTo>
                  <a:pt x="993253" y="1086929"/>
                </a:lnTo>
                <a:lnTo>
                  <a:pt x="989128" y="1087145"/>
                </a:lnTo>
                <a:lnTo>
                  <a:pt x="987935" y="1083897"/>
                </a:lnTo>
                <a:lnTo>
                  <a:pt x="984788" y="1081623"/>
                </a:lnTo>
                <a:lnTo>
                  <a:pt x="981751" y="1077834"/>
                </a:lnTo>
                <a:lnTo>
                  <a:pt x="978496" y="1077509"/>
                </a:lnTo>
                <a:lnTo>
                  <a:pt x="978604" y="1074044"/>
                </a:lnTo>
                <a:lnTo>
                  <a:pt x="976216" y="1073286"/>
                </a:lnTo>
                <a:lnTo>
                  <a:pt x="970898" y="1074260"/>
                </a:lnTo>
                <a:lnTo>
                  <a:pt x="964931" y="1073719"/>
                </a:lnTo>
                <a:lnTo>
                  <a:pt x="960156" y="1074260"/>
                </a:lnTo>
                <a:lnTo>
                  <a:pt x="956576" y="1073395"/>
                </a:lnTo>
                <a:lnTo>
                  <a:pt x="953210" y="1074802"/>
                </a:lnTo>
                <a:lnTo>
                  <a:pt x="941816" y="1072528"/>
                </a:lnTo>
                <a:lnTo>
                  <a:pt x="940298" y="1069713"/>
                </a:lnTo>
                <a:lnTo>
                  <a:pt x="943227" y="1068631"/>
                </a:lnTo>
                <a:lnTo>
                  <a:pt x="945723" y="1069605"/>
                </a:lnTo>
                <a:lnTo>
                  <a:pt x="947785" y="1068414"/>
                </a:lnTo>
                <a:lnTo>
                  <a:pt x="943118" y="1064083"/>
                </a:lnTo>
                <a:lnTo>
                  <a:pt x="949195" y="1058128"/>
                </a:lnTo>
                <a:lnTo>
                  <a:pt x="948760" y="1055205"/>
                </a:lnTo>
                <a:lnTo>
                  <a:pt x="952235" y="1050766"/>
                </a:lnTo>
                <a:lnTo>
                  <a:pt x="946374" y="1050550"/>
                </a:lnTo>
                <a:lnTo>
                  <a:pt x="945180" y="1052607"/>
                </a:lnTo>
                <a:lnTo>
                  <a:pt x="946590" y="1054664"/>
                </a:lnTo>
                <a:lnTo>
                  <a:pt x="943444" y="1059428"/>
                </a:lnTo>
                <a:lnTo>
                  <a:pt x="939647" y="1058128"/>
                </a:lnTo>
                <a:lnTo>
                  <a:pt x="938996" y="1055205"/>
                </a:lnTo>
                <a:lnTo>
                  <a:pt x="936932" y="1054339"/>
                </a:lnTo>
                <a:lnTo>
                  <a:pt x="936173" y="1051632"/>
                </a:lnTo>
                <a:lnTo>
                  <a:pt x="939104" y="1049575"/>
                </a:lnTo>
                <a:lnTo>
                  <a:pt x="939104" y="1047301"/>
                </a:lnTo>
                <a:lnTo>
                  <a:pt x="937042" y="1044486"/>
                </a:lnTo>
                <a:lnTo>
                  <a:pt x="930313" y="1047085"/>
                </a:lnTo>
                <a:lnTo>
                  <a:pt x="926189" y="1045244"/>
                </a:lnTo>
                <a:lnTo>
                  <a:pt x="922067" y="1041563"/>
                </a:lnTo>
                <a:lnTo>
                  <a:pt x="917292" y="1043620"/>
                </a:lnTo>
                <a:lnTo>
                  <a:pt x="912627" y="1043620"/>
                </a:lnTo>
                <a:lnTo>
                  <a:pt x="912084" y="1041130"/>
                </a:lnTo>
                <a:lnTo>
                  <a:pt x="915882" y="1039722"/>
                </a:lnTo>
                <a:lnTo>
                  <a:pt x="919462" y="1038531"/>
                </a:lnTo>
                <a:lnTo>
                  <a:pt x="917292" y="1035391"/>
                </a:lnTo>
                <a:lnTo>
                  <a:pt x="910673" y="1033659"/>
                </a:lnTo>
                <a:lnTo>
                  <a:pt x="910238" y="1030303"/>
                </a:lnTo>
                <a:lnTo>
                  <a:pt x="915229" y="1030086"/>
                </a:lnTo>
                <a:lnTo>
                  <a:pt x="917400" y="1028895"/>
                </a:lnTo>
                <a:lnTo>
                  <a:pt x="913602" y="1026080"/>
                </a:lnTo>
                <a:lnTo>
                  <a:pt x="909695" y="1028354"/>
                </a:lnTo>
                <a:lnTo>
                  <a:pt x="906223" y="1027163"/>
                </a:lnTo>
                <a:lnTo>
                  <a:pt x="906765" y="1023157"/>
                </a:lnTo>
                <a:lnTo>
                  <a:pt x="910673" y="1021316"/>
                </a:lnTo>
                <a:lnTo>
                  <a:pt x="917074" y="1021966"/>
                </a:lnTo>
                <a:lnTo>
                  <a:pt x="922283" y="1026297"/>
                </a:lnTo>
                <a:lnTo>
                  <a:pt x="922826" y="1023915"/>
                </a:lnTo>
                <a:lnTo>
                  <a:pt x="919678" y="1020775"/>
                </a:lnTo>
                <a:lnTo>
                  <a:pt x="910673" y="1018934"/>
                </a:lnTo>
                <a:lnTo>
                  <a:pt x="908828" y="1016336"/>
                </a:lnTo>
                <a:lnTo>
                  <a:pt x="911215" y="1013088"/>
                </a:lnTo>
                <a:lnTo>
                  <a:pt x="914472" y="1013088"/>
                </a:lnTo>
                <a:lnTo>
                  <a:pt x="919462" y="1007891"/>
                </a:lnTo>
                <a:lnTo>
                  <a:pt x="924455" y="1007783"/>
                </a:lnTo>
                <a:lnTo>
                  <a:pt x="925323" y="1006050"/>
                </a:lnTo>
                <a:lnTo>
                  <a:pt x="921415" y="1004643"/>
                </a:lnTo>
                <a:lnTo>
                  <a:pt x="916098" y="1005726"/>
                </a:lnTo>
                <a:lnTo>
                  <a:pt x="911432" y="1008973"/>
                </a:lnTo>
                <a:lnTo>
                  <a:pt x="909479" y="1009082"/>
                </a:lnTo>
                <a:lnTo>
                  <a:pt x="904921" y="1012546"/>
                </a:lnTo>
                <a:lnTo>
                  <a:pt x="901231" y="1009840"/>
                </a:lnTo>
                <a:lnTo>
                  <a:pt x="900037" y="1012546"/>
                </a:lnTo>
                <a:lnTo>
                  <a:pt x="894395" y="1016661"/>
                </a:lnTo>
                <a:lnTo>
                  <a:pt x="893526" y="1013629"/>
                </a:lnTo>
                <a:lnTo>
                  <a:pt x="895913" y="1009948"/>
                </a:lnTo>
                <a:lnTo>
                  <a:pt x="897433" y="1007024"/>
                </a:lnTo>
                <a:lnTo>
                  <a:pt x="895262" y="1007024"/>
                </a:lnTo>
                <a:lnTo>
                  <a:pt x="891574" y="1009407"/>
                </a:lnTo>
                <a:lnTo>
                  <a:pt x="888643" y="1018610"/>
                </a:lnTo>
                <a:lnTo>
                  <a:pt x="886581" y="1019042"/>
                </a:lnTo>
                <a:lnTo>
                  <a:pt x="885063" y="1011139"/>
                </a:lnTo>
                <a:lnTo>
                  <a:pt x="884520" y="1007241"/>
                </a:lnTo>
                <a:lnTo>
                  <a:pt x="893309" y="1001178"/>
                </a:lnTo>
                <a:lnTo>
                  <a:pt x="887449" y="1001178"/>
                </a:lnTo>
                <a:lnTo>
                  <a:pt x="884194" y="1002044"/>
                </a:lnTo>
                <a:lnTo>
                  <a:pt x="879744" y="998796"/>
                </a:lnTo>
                <a:lnTo>
                  <a:pt x="871931" y="1002044"/>
                </a:lnTo>
                <a:lnTo>
                  <a:pt x="873667" y="1007566"/>
                </a:lnTo>
                <a:lnTo>
                  <a:pt x="873016" y="1009840"/>
                </a:lnTo>
                <a:lnTo>
                  <a:pt x="870954" y="1008432"/>
                </a:lnTo>
                <a:lnTo>
                  <a:pt x="868134" y="1009840"/>
                </a:lnTo>
                <a:lnTo>
                  <a:pt x="861947" y="1010489"/>
                </a:lnTo>
                <a:lnTo>
                  <a:pt x="862166" y="1014279"/>
                </a:lnTo>
                <a:lnTo>
                  <a:pt x="866940" y="1018177"/>
                </a:lnTo>
                <a:lnTo>
                  <a:pt x="871065" y="1016552"/>
                </a:lnTo>
                <a:lnTo>
                  <a:pt x="871065" y="1020450"/>
                </a:lnTo>
                <a:lnTo>
                  <a:pt x="869001" y="1023157"/>
                </a:lnTo>
                <a:lnTo>
                  <a:pt x="865421" y="1021858"/>
                </a:lnTo>
                <a:lnTo>
                  <a:pt x="861298" y="1021966"/>
                </a:lnTo>
                <a:lnTo>
                  <a:pt x="859343" y="1024889"/>
                </a:lnTo>
                <a:lnTo>
                  <a:pt x="864770" y="1025648"/>
                </a:lnTo>
                <a:lnTo>
                  <a:pt x="867810" y="1027704"/>
                </a:lnTo>
                <a:lnTo>
                  <a:pt x="872149" y="1026946"/>
                </a:lnTo>
                <a:lnTo>
                  <a:pt x="871931" y="1031602"/>
                </a:lnTo>
                <a:lnTo>
                  <a:pt x="870412" y="1034850"/>
                </a:lnTo>
                <a:lnTo>
                  <a:pt x="861623" y="1037990"/>
                </a:lnTo>
                <a:lnTo>
                  <a:pt x="860104" y="1042970"/>
                </a:lnTo>
                <a:lnTo>
                  <a:pt x="863033" y="1044486"/>
                </a:lnTo>
                <a:lnTo>
                  <a:pt x="859018" y="1047301"/>
                </a:lnTo>
                <a:lnTo>
                  <a:pt x="852615" y="1047951"/>
                </a:lnTo>
                <a:lnTo>
                  <a:pt x="850554" y="1053256"/>
                </a:lnTo>
                <a:lnTo>
                  <a:pt x="846756" y="1056396"/>
                </a:lnTo>
                <a:lnTo>
                  <a:pt x="844693" y="1054664"/>
                </a:lnTo>
                <a:lnTo>
                  <a:pt x="839593" y="1054014"/>
                </a:lnTo>
                <a:lnTo>
                  <a:pt x="839919" y="1050874"/>
                </a:lnTo>
                <a:lnTo>
                  <a:pt x="838291" y="1048060"/>
                </a:lnTo>
                <a:lnTo>
                  <a:pt x="832322" y="1053797"/>
                </a:lnTo>
                <a:lnTo>
                  <a:pt x="831998" y="1051848"/>
                </a:lnTo>
                <a:lnTo>
                  <a:pt x="835145" y="1046219"/>
                </a:lnTo>
                <a:lnTo>
                  <a:pt x="835253" y="1042754"/>
                </a:lnTo>
                <a:lnTo>
                  <a:pt x="831890" y="1044703"/>
                </a:lnTo>
                <a:lnTo>
                  <a:pt x="828850" y="1052607"/>
                </a:lnTo>
                <a:lnTo>
                  <a:pt x="823860" y="1059319"/>
                </a:lnTo>
                <a:lnTo>
                  <a:pt x="820928" y="1061376"/>
                </a:lnTo>
                <a:lnTo>
                  <a:pt x="820820" y="1057587"/>
                </a:lnTo>
                <a:lnTo>
                  <a:pt x="826463" y="1051524"/>
                </a:lnTo>
                <a:lnTo>
                  <a:pt x="824076" y="1051091"/>
                </a:lnTo>
                <a:lnTo>
                  <a:pt x="818759" y="1054664"/>
                </a:lnTo>
                <a:lnTo>
                  <a:pt x="816696" y="1063109"/>
                </a:lnTo>
                <a:lnTo>
                  <a:pt x="813766" y="1065166"/>
                </a:lnTo>
                <a:lnTo>
                  <a:pt x="812572" y="1062351"/>
                </a:lnTo>
                <a:lnTo>
                  <a:pt x="807364" y="1062568"/>
                </a:lnTo>
                <a:lnTo>
                  <a:pt x="800094" y="1068414"/>
                </a:lnTo>
                <a:lnTo>
                  <a:pt x="794775" y="1068631"/>
                </a:lnTo>
                <a:lnTo>
                  <a:pt x="792714" y="1065815"/>
                </a:lnTo>
                <a:lnTo>
                  <a:pt x="794451" y="1063434"/>
                </a:lnTo>
                <a:lnTo>
                  <a:pt x="793908" y="1061052"/>
                </a:lnTo>
                <a:lnTo>
                  <a:pt x="790653" y="1064083"/>
                </a:lnTo>
                <a:lnTo>
                  <a:pt x="790110" y="1069280"/>
                </a:lnTo>
                <a:lnTo>
                  <a:pt x="785443" y="1072745"/>
                </a:lnTo>
                <a:lnTo>
                  <a:pt x="781862" y="1074369"/>
                </a:lnTo>
                <a:lnTo>
                  <a:pt x="780997" y="1077184"/>
                </a:lnTo>
                <a:lnTo>
                  <a:pt x="778065" y="1079025"/>
                </a:lnTo>
                <a:lnTo>
                  <a:pt x="778282" y="1075127"/>
                </a:lnTo>
                <a:lnTo>
                  <a:pt x="774809" y="1074911"/>
                </a:lnTo>
                <a:lnTo>
                  <a:pt x="773072" y="1080324"/>
                </a:lnTo>
                <a:lnTo>
                  <a:pt x="770468" y="1077509"/>
                </a:lnTo>
                <a:lnTo>
                  <a:pt x="768299" y="1080757"/>
                </a:lnTo>
                <a:lnTo>
                  <a:pt x="766237" y="1081840"/>
                </a:lnTo>
                <a:lnTo>
                  <a:pt x="759617" y="1074586"/>
                </a:lnTo>
                <a:lnTo>
                  <a:pt x="759401" y="1068739"/>
                </a:lnTo>
                <a:lnTo>
                  <a:pt x="763197" y="1067873"/>
                </a:lnTo>
                <a:lnTo>
                  <a:pt x="766345" y="1068739"/>
                </a:lnTo>
                <a:lnTo>
                  <a:pt x="766345" y="1064625"/>
                </a:lnTo>
                <a:lnTo>
                  <a:pt x="769927" y="1063217"/>
                </a:lnTo>
                <a:lnTo>
                  <a:pt x="773615" y="1063109"/>
                </a:lnTo>
                <a:lnTo>
                  <a:pt x="778065" y="1065166"/>
                </a:lnTo>
                <a:lnTo>
                  <a:pt x="780343" y="1060835"/>
                </a:lnTo>
                <a:lnTo>
                  <a:pt x="784033" y="1060727"/>
                </a:lnTo>
                <a:lnTo>
                  <a:pt x="792388" y="1054122"/>
                </a:lnTo>
                <a:lnTo>
                  <a:pt x="792388" y="1051524"/>
                </a:lnTo>
                <a:lnTo>
                  <a:pt x="788808" y="1050874"/>
                </a:lnTo>
                <a:lnTo>
                  <a:pt x="784468" y="1053797"/>
                </a:lnTo>
                <a:lnTo>
                  <a:pt x="781972" y="1054014"/>
                </a:lnTo>
                <a:lnTo>
                  <a:pt x="779475" y="1057695"/>
                </a:lnTo>
                <a:lnTo>
                  <a:pt x="774809" y="1051091"/>
                </a:lnTo>
                <a:lnTo>
                  <a:pt x="774266" y="1047626"/>
                </a:lnTo>
                <a:lnTo>
                  <a:pt x="777849" y="1042754"/>
                </a:lnTo>
                <a:lnTo>
                  <a:pt x="791628" y="1030952"/>
                </a:lnTo>
                <a:lnTo>
                  <a:pt x="793908" y="1024348"/>
                </a:lnTo>
                <a:lnTo>
                  <a:pt x="799441" y="1021100"/>
                </a:lnTo>
                <a:lnTo>
                  <a:pt x="803240" y="1013738"/>
                </a:lnTo>
                <a:lnTo>
                  <a:pt x="802373" y="1011356"/>
                </a:lnTo>
                <a:lnTo>
                  <a:pt x="802697" y="1006700"/>
                </a:lnTo>
                <a:lnTo>
                  <a:pt x="807582" y="1002261"/>
                </a:lnTo>
                <a:lnTo>
                  <a:pt x="813875" y="1002261"/>
                </a:lnTo>
                <a:lnTo>
                  <a:pt x="820820" y="997389"/>
                </a:lnTo>
                <a:lnTo>
                  <a:pt x="824619" y="997063"/>
                </a:lnTo>
                <a:lnTo>
                  <a:pt x="832215" y="993599"/>
                </a:lnTo>
                <a:lnTo>
                  <a:pt x="833408" y="999662"/>
                </a:lnTo>
                <a:lnTo>
                  <a:pt x="838185" y="1002910"/>
                </a:lnTo>
                <a:lnTo>
                  <a:pt x="841764" y="1002910"/>
                </a:lnTo>
                <a:lnTo>
                  <a:pt x="844043" y="1001828"/>
                </a:lnTo>
                <a:lnTo>
                  <a:pt x="847841" y="1002261"/>
                </a:lnTo>
                <a:lnTo>
                  <a:pt x="852834" y="1006050"/>
                </a:lnTo>
                <a:lnTo>
                  <a:pt x="851421" y="1000637"/>
                </a:lnTo>
                <a:lnTo>
                  <a:pt x="846322" y="993166"/>
                </a:lnTo>
                <a:lnTo>
                  <a:pt x="847190" y="988943"/>
                </a:lnTo>
                <a:lnTo>
                  <a:pt x="857500" y="978333"/>
                </a:lnTo>
                <a:lnTo>
                  <a:pt x="863141" y="977792"/>
                </a:lnTo>
                <a:lnTo>
                  <a:pt x="870630" y="973353"/>
                </a:lnTo>
                <a:lnTo>
                  <a:pt x="872473" y="968372"/>
                </a:lnTo>
                <a:lnTo>
                  <a:pt x="869328" y="971837"/>
                </a:lnTo>
                <a:lnTo>
                  <a:pt x="859561" y="974760"/>
                </a:lnTo>
                <a:lnTo>
                  <a:pt x="854895" y="976492"/>
                </a:lnTo>
                <a:lnTo>
                  <a:pt x="848927" y="982989"/>
                </a:lnTo>
                <a:lnTo>
                  <a:pt x="847515" y="981256"/>
                </a:lnTo>
                <a:lnTo>
                  <a:pt x="843934" y="980606"/>
                </a:lnTo>
                <a:lnTo>
                  <a:pt x="841438" y="979199"/>
                </a:lnTo>
                <a:lnTo>
                  <a:pt x="841113" y="973894"/>
                </a:lnTo>
                <a:lnTo>
                  <a:pt x="843934" y="967722"/>
                </a:lnTo>
                <a:lnTo>
                  <a:pt x="835796" y="977792"/>
                </a:lnTo>
                <a:lnTo>
                  <a:pt x="828526" y="978549"/>
                </a:lnTo>
                <a:lnTo>
                  <a:pt x="818759" y="987320"/>
                </a:lnTo>
                <a:lnTo>
                  <a:pt x="810294" y="988077"/>
                </a:lnTo>
                <a:lnTo>
                  <a:pt x="800094" y="995656"/>
                </a:lnTo>
                <a:lnTo>
                  <a:pt x="800094" y="998471"/>
                </a:lnTo>
                <a:lnTo>
                  <a:pt x="798031" y="1000637"/>
                </a:lnTo>
                <a:lnTo>
                  <a:pt x="793041" y="1001069"/>
                </a:lnTo>
                <a:lnTo>
                  <a:pt x="787181" y="1006050"/>
                </a:lnTo>
                <a:lnTo>
                  <a:pt x="776328" y="1011463"/>
                </a:lnTo>
                <a:lnTo>
                  <a:pt x="776545" y="1014279"/>
                </a:lnTo>
                <a:lnTo>
                  <a:pt x="771878" y="1018610"/>
                </a:lnTo>
                <a:lnTo>
                  <a:pt x="765477" y="1019042"/>
                </a:lnTo>
                <a:lnTo>
                  <a:pt x="762004" y="1016011"/>
                </a:lnTo>
                <a:lnTo>
                  <a:pt x="756035" y="1016552"/>
                </a:lnTo>
                <a:lnTo>
                  <a:pt x="752780" y="1019042"/>
                </a:lnTo>
                <a:lnTo>
                  <a:pt x="752780" y="1020234"/>
                </a:lnTo>
                <a:lnTo>
                  <a:pt x="755387" y="1018177"/>
                </a:lnTo>
                <a:lnTo>
                  <a:pt x="758099" y="1017852"/>
                </a:lnTo>
                <a:lnTo>
                  <a:pt x="764934" y="1022507"/>
                </a:lnTo>
                <a:lnTo>
                  <a:pt x="766888" y="1027813"/>
                </a:lnTo>
                <a:lnTo>
                  <a:pt x="765151" y="1034201"/>
                </a:lnTo>
                <a:lnTo>
                  <a:pt x="756905" y="1036799"/>
                </a:lnTo>
                <a:lnTo>
                  <a:pt x="752347" y="1035067"/>
                </a:lnTo>
                <a:lnTo>
                  <a:pt x="749958" y="1035933"/>
                </a:lnTo>
                <a:lnTo>
                  <a:pt x="750829" y="1038315"/>
                </a:lnTo>
                <a:lnTo>
                  <a:pt x="753215" y="1039181"/>
                </a:lnTo>
                <a:lnTo>
                  <a:pt x="754625" y="1041238"/>
                </a:lnTo>
                <a:lnTo>
                  <a:pt x="749417" y="1046760"/>
                </a:lnTo>
                <a:lnTo>
                  <a:pt x="746704" y="1047085"/>
                </a:lnTo>
                <a:lnTo>
                  <a:pt x="745509" y="1044486"/>
                </a:lnTo>
                <a:lnTo>
                  <a:pt x="746161" y="1041130"/>
                </a:lnTo>
                <a:lnTo>
                  <a:pt x="740300" y="1044378"/>
                </a:lnTo>
                <a:lnTo>
                  <a:pt x="736069" y="1040589"/>
                </a:lnTo>
                <a:lnTo>
                  <a:pt x="729992" y="1044811"/>
                </a:lnTo>
                <a:lnTo>
                  <a:pt x="725216" y="1043836"/>
                </a:lnTo>
                <a:lnTo>
                  <a:pt x="722612" y="1045677"/>
                </a:lnTo>
                <a:lnTo>
                  <a:pt x="723808" y="1046219"/>
                </a:lnTo>
                <a:lnTo>
                  <a:pt x="722612" y="1049142"/>
                </a:lnTo>
                <a:lnTo>
                  <a:pt x="719356" y="1049791"/>
                </a:lnTo>
                <a:lnTo>
                  <a:pt x="718056" y="1052282"/>
                </a:lnTo>
                <a:lnTo>
                  <a:pt x="711761" y="1054772"/>
                </a:lnTo>
                <a:lnTo>
                  <a:pt x="712086" y="1059319"/>
                </a:lnTo>
                <a:lnTo>
                  <a:pt x="711110" y="1063758"/>
                </a:lnTo>
                <a:lnTo>
                  <a:pt x="717403" y="1063542"/>
                </a:lnTo>
                <a:lnTo>
                  <a:pt x="719791" y="1065166"/>
                </a:lnTo>
                <a:lnTo>
                  <a:pt x="721528" y="1070363"/>
                </a:lnTo>
                <a:lnTo>
                  <a:pt x="722938" y="1070363"/>
                </a:lnTo>
                <a:lnTo>
                  <a:pt x="724783" y="1071987"/>
                </a:lnTo>
                <a:lnTo>
                  <a:pt x="724783" y="1079025"/>
                </a:lnTo>
                <a:lnTo>
                  <a:pt x="719140" y="1084438"/>
                </a:lnTo>
                <a:lnTo>
                  <a:pt x="715668" y="1085088"/>
                </a:lnTo>
                <a:lnTo>
                  <a:pt x="710894" y="1088986"/>
                </a:lnTo>
                <a:lnTo>
                  <a:pt x="705141" y="1088986"/>
                </a:lnTo>
                <a:lnTo>
                  <a:pt x="700149" y="1094074"/>
                </a:lnTo>
                <a:lnTo>
                  <a:pt x="695918" y="1092450"/>
                </a:lnTo>
                <a:lnTo>
                  <a:pt x="693421" y="1093641"/>
                </a:lnTo>
                <a:lnTo>
                  <a:pt x="696243" y="1095049"/>
                </a:lnTo>
                <a:lnTo>
                  <a:pt x="697979" y="1097755"/>
                </a:lnTo>
                <a:lnTo>
                  <a:pt x="697112" y="1099163"/>
                </a:lnTo>
                <a:lnTo>
                  <a:pt x="695374" y="1097755"/>
                </a:lnTo>
                <a:lnTo>
                  <a:pt x="692987" y="1097755"/>
                </a:lnTo>
                <a:lnTo>
                  <a:pt x="688321" y="1101545"/>
                </a:lnTo>
                <a:lnTo>
                  <a:pt x="686802" y="1105009"/>
                </a:lnTo>
                <a:lnTo>
                  <a:pt x="689190" y="1104035"/>
                </a:lnTo>
                <a:lnTo>
                  <a:pt x="691252" y="1104035"/>
                </a:lnTo>
                <a:lnTo>
                  <a:pt x="688973" y="1110639"/>
                </a:lnTo>
                <a:lnTo>
                  <a:pt x="687237" y="1111939"/>
                </a:lnTo>
                <a:lnTo>
                  <a:pt x="685176" y="1109990"/>
                </a:lnTo>
                <a:lnTo>
                  <a:pt x="682787" y="1112047"/>
                </a:lnTo>
                <a:lnTo>
                  <a:pt x="681050" y="1112264"/>
                </a:lnTo>
                <a:lnTo>
                  <a:pt x="680726" y="1109882"/>
                </a:lnTo>
                <a:lnTo>
                  <a:pt x="678664" y="1109990"/>
                </a:lnTo>
                <a:lnTo>
                  <a:pt x="677252" y="1114104"/>
                </a:lnTo>
                <a:lnTo>
                  <a:pt x="670415" y="1113455"/>
                </a:lnTo>
                <a:lnTo>
                  <a:pt x="669222" y="1112264"/>
                </a:lnTo>
                <a:lnTo>
                  <a:pt x="667811" y="1114104"/>
                </a:lnTo>
                <a:lnTo>
                  <a:pt x="663689" y="1115187"/>
                </a:lnTo>
                <a:lnTo>
                  <a:pt x="663796" y="1118110"/>
                </a:lnTo>
                <a:lnTo>
                  <a:pt x="661951" y="1119626"/>
                </a:lnTo>
                <a:lnTo>
                  <a:pt x="657937" y="1119626"/>
                </a:lnTo>
                <a:lnTo>
                  <a:pt x="656742" y="1123090"/>
                </a:lnTo>
                <a:lnTo>
                  <a:pt x="654681" y="1121900"/>
                </a:lnTo>
                <a:lnTo>
                  <a:pt x="653163" y="1119084"/>
                </a:lnTo>
                <a:lnTo>
                  <a:pt x="649907" y="1119626"/>
                </a:lnTo>
                <a:lnTo>
                  <a:pt x="648280" y="1121900"/>
                </a:lnTo>
                <a:lnTo>
                  <a:pt x="645568" y="1122874"/>
                </a:lnTo>
                <a:lnTo>
                  <a:pt x="644155" y="1126555"/>
                </a:lnTo>
                <a:lnTo>
                  <a:pt x="639924" y="1128396"/>
                </a:lnTo>
                <a:lnTo>
                  <a:pt x="634930" y="1133593"/>
                </a:lnTo>
                <a:lnTo>
                  <a:pt x="633304" y="1131861"/>
                </a:lnTo>
                <a:lnTo>
                  <a:pt x="631568" y="1131427"/>
                </a:lnTo>
                <a:lnTo>
                  <a:pt x="628203" y="1135434"/>
                </a:lnTo>
                <a:lnTo>
                  <a:pt x="623861" y="1137057"/>
                </a:lnTo>
                <a:lnTo>
                  <a:pt x="617351" y="1141822"/>
                </a:lnTo>
                <a:lnTo>
                  <a:pt x="618220" y="1142471"/>
                </a:lnTo>
                <a:lnTo>
                  <a:pt x="621476" y="1142363"/>
                </a:lnTo>
                <a:lnTo>
                  <a:pt x="622886" y="1142471"/>
                </a:lnTo>
                <a:lnTo>
                  <a:pt x="622670" y="1146261"/>
                </a:lnTo>
                <a:lnTo>
                  <a:pt x="617677" y="1152324"/>
                </a:lnTo>
                <a:lnTo>
                  <a:pt x="613662" y="1153190"/>
                </a:lnTo>
                <a:lnTo>
                  <a:pt x="611491" y="1150700"/>
                </a:lnTo>
                <a:lnTo>
                  <a:pt x="609864" y="1151782"/>
                </a:lnTo>
                <a:lnTo>
                  <a:pt x="607367" y="1155788"/>
                </a:lnTo>
                <a:lnTo>
                  <a:pt x="603895" y="1155572"/>
                </a:lnTo>
                <a:lnTo>
                  <a:pt x="601834" y="1159037"/>
                </a:lnTo>
                <a:lnTo>
                  <a:pt x="595974" y="1162718"/>
                </a:lnTo>
                <a:lnTo>
                  <a:pt x="593586" y="1161094"/>
                </a:lnTo>
                <a:lnTo>
                  <a:pt x="593586" y="1157954"/>
                </a:lnTo>
                <a:lnTo>
                  <a:pt x="591851" y="1155897"/>
                </a:lnTo>
                <a:lnTo>
                  <a:pt x="589898" y="1157629"/>
                </a:lnTo>
                <a:lnTo>
                  <a:pt x="589787" y="1161743"/>
                </a:lnTo>
                <a:lnTo>
                  <a:pt x="586315" y="1164559"/>
                </a:lnTo>
                <a:lnTo>
                  <a:pt x="587183" y="1166074"/>
                </a:lnTo>
                <a:lnTo>
                  <a:pt x="585448" y="1169106"/>
                </a:lnTo>
                <a:lnTo>
                  <a:pt x="583168" y="1169106"/>
                </a:lnTo>
                <a:lnTo>
                  <a:pt x="581976" y="1165208"/>
                </a:lnTo>
                <a:lnTo>
                  <a:pt x="579588" y="1164991"/>
                </a:lnTo>
                <a:lnTo>
                  <a:pt x="576657" y="1167049"/>
                </a:lnTo>
                <a:lnTo>
                  <a:pt x="573076" y="1167806"/>
                </a:lnTo>
                <a:lnTo>
                  <a:pt x="570799" y="1169106"/>
                </a:lnTo>
                <a:lnTo>
                  <a:pt x="572642" y="1169647"/>
                </a:lnTo>
                <a:lnTo>
                  <a:pt x="573184" y="1172787"/>
                </a:lnTo>
                <a:lnTo>
                  <a:pt x="571015" y="1174844"/>
                </a:lnTo>
                <a:lnTo>
                  <a:pt x="561683" y="1175169"/>
                </a:lnTo>
                <a:lnTo>
                  <a:pt x="554303" y="1179067"/>
                </a:lnTo>
                <a:lnTo>
                  <a:pt x="548334" y="1180691"/>
                </a:lnTo>
                <a:lnTo>
                  <a:pt x="549855" y="1182098"/>
                </a:lnTo>
                <a:lnTo>
                  <a:pt x="557233" y="1182206"/>
                </a:lnTo>
                <a:lnTo>
                  <a:pt x="557450" y="1184263"/>
                </a:lnTo>
                <a:lnTo>
                  <a:pt x="553762" y="1186971"/>
                </a:lnTo>
                <a:lnTo>
                  <a:pt x="555605" y="1188053"/>
                </a:lnTo>
                <a:lnTo>
                  <a:pt x="551916" y="1192059"/>
                </a:lnTo>
                <a:lnTo>
                  <a:pt x="549312" y="1193250"/>
                </a:lnTo>
                <a:lnTo>
                  <a:pt x="549096" y="1189028"/>
                </a:lnTo>
                <a:lnTo>
                  <a:pt x="549855" y="1185779"/>
                </a:lnTo>
                <a:lnTo>
                  <a:pt x="548988" y="1184372"/>
                </a:lnTo>
                <a:lnTo>
                  <a:pt x="546273" y="1186646"/>
                </a:lnTo>
                <a:lnTo>
                  <a:pt x="543887" y="1192059"/>
                </a:lnTo>
                <a:lnTo>
                  <a:pt x="542801" y="1190760"/>
                </a:lnTo>
                <a:lnTo>
                  <a:pt x="541282" y="1191193"/>
                </a:lnTo>
                <a:lnTo>
                  <a:pt x="537049" y="1196281"/>
                </a:lnTo>
                <a:lnTo>
                  <a:pt x="532166" y="1196499"/>
                </a:lnTo>
                <a:lnTo>
                  <a:pt x="528803" y="1195632"/>
                </a:lnTo>
                <a:lnTo>
                  <a:pt x="525871" y="1197364"/>
                </a:lnTo>
                <a:lnTo>
                  <a:pt x="523267" y="1194441"/>
                </a:lnTo>
                <a:lnTo>
                  <a:pt x="522507" y="1195957"/>
                </a:lnTo>
                <a:lnTo>
                  <a:pt x="522183" y="1203211"/>
                </a:lnTo>
                <a:lnTo>
                  <a:pt x="515672" y="1210032"/>
                </a:lnTo>
                <a:lnTo>
                  <a:pt x="513393" y="1209924"/>
                </a:lnTo>
                <a:lnTo>
                  <a:pt x="513284" y="1207975"/>
                </a:lnTo>
                <a:lnTo>
                  <a:pt x="516215" y="1202886"/>
                </a:lnTo>
                <a:lnTo>
                  <a:pt x="519471" y="1198555"/>
                </a:lnTo>
                <a:lnTo>
                  <a:pt x="519471" y="1195740"/>
                </a:lnTo>
                <a:lnTo>
                  <a:pt x="516323" y="1194550"/>
                </a:lnTo>
                <a:lnTo>
                  <a:pt x="512089" y="1197040"/>
                </a:lnTo>
                <a:lnTo>
                  <a:pt x="507532" y="1203536"/>
                </a:lnTo>
                <a:lnTo>
                  <a:pt x="503409" y="1203536"/>
                </a:lnTo>
                <a:lnTo>
                  <a:pt x="499829" y="1206459"/>
                </a:lnTo>
                <a:lnTo>
                  <a:pt x="496246" y="1205918"/>
                </a:lnTo>
                <a:lnTo>
                  <a:pt x="492883" y="1210790"/>
                </a:lnTo>
                <a:lnTo>
                  <a:pt x="491256" y="1210357"/>
                </a:lnTo>
                <a:lnTo>
                  <a:pt x="492774" y="1207325"/>
                </a:lnTo>
                <a:lnTo>
                  <a:pt x="491689" y="1204402"/>
                </a:lnTo>
                <a:lnTo>
                  <a:pt x="489303" y="1204185"/>
                </a:lnTo>
                <a:lnTo>
                  <a:pt x="488216" y="1206784"/>
                </a:lnTo>
                <a:lnTo>
                  <a:pt x="487025" y="1204510"/>
                </a:lnTo>
                <a:lnTo>
                  <a:pt x="484311" y="1205701"/>
                </a:lnTo>
                <a:lnTo>
                  <a:pt x="483227" y="1209166"/>
                </a:lnTo>
                <a:lnTo>
                  <a:pt x="476388" y="1213822"/>
                </a:lnTo>
                <a:lnTo>
                  <a:pt x="474870" y="1212847"/>
                </a:lnTo>
                <a:lnTo>
                  <a:pt x="474870" y="1208732"/>
                </a:lnTo>
                <a:lnTo>
                  <a:pt x="477583" y="1204726"/>
                </a:lnTo>
                <a:lnTo>
                  <a:pt x="481162" y="1204077"/>
                </a:lnTo>
                <a:lnTo>
                  <a:pt x="482573" y="1202020"/>
                </a:lnTo>
                <a:lnTo>
                  <a:pt x="477799" y="1198230"/>
                </a:lnTo>
                <a:lnTo>
                  <a:pt x="475303" y="1198339"/>
                </a:lnTo>
                <a:lnTo>
                  <a:pt x="471396" y="1202886"/>
                </a:lnTo>
                <a:lnTo>
                  <a:pt x="467599" y="1205052"/>
                </a:lnTo>
                <a:lnTo>
                  <a:pt x="468249" y="1209058"/>
                </a:lnTo>
                <a:lnTo>
                  <a:pt x="465536" y="1214363"/>
                </a:lnTo>
                <a:lnTo>
                  <a:pt x="461088" y="1217070"/>
                </a:lnTo>
                <a:lnTo>
                  <a:pt x="456422" y="1216853"/>
                </a:lnTo>
                <a:lnTo>
                  <a:pt x="453491" y="1218802"/>
                </a:lnTo>
                <a:lnTo>
                  <a:pt x="452623" y="1222158"/>
                </a:lnTo>
                <a:lnTo>
                  <a:pt x="451105" y="1221725"/>
                </a:lnTo>
                <a:lnTo>
                  <a:pt x="450562" y="1218802"/>
                </a:lnTo>
                <a:lnTo>
                  <a:pt x="447958" y="1223133"/>
                </a:lnTo>
                <a:lnTo>
                  <a:pt x="443943" y="1223350"/>
                </a:lnTo>
                <a:lnTo>
                  <a:pt x="443292" y="1221401"/>
                </a:lnTo>
                <a:lnTo>
                  <a:pt x="444159" y="1218802"/>
                </a:lnTo>
                <a:lnTo>
                  <a:pt x="442313" y="1215554"/>
                </a:lnTo>
                <a:lnTo>
                  <a:pt x="440252" y="1216745"/>
                </a:lnTo>
                <a:lnTo>
                  <a:pt x="436345" y="1224107"/>
                </a:lnTo>
                <a:lnTo>
                  <a:pt x="432004" y="1224324"/>
                </a:lnTo>
                <a:lnTo>
                  <a:pt x="431680" y="1222808"/>
                </a:lnTo>
                <a:lnTo>
                  <a:pt x="432004" y="1219560"/>
                </a:lnTo>
                <a:lnTo>
                  <a:pt x="430812" y="1217828"/>
                </a:lnTo>
                <a:lnTo>
                  <a:pt x="427557" y="1219560"/>
                </a:lnTo>
                <a:lnTo>
                  <a:pt x="428100" y="1222483"/>
                </a:lnTo>
                <a:lnTo>
                  <a:pt x="426687" y="1225515"/>
                </a:lnTo>
                <a:lnTo>
                  <a:pt x="423542" y="1226814"/>
                </a:lnTo>
                <a:lnTo>
                  <a:pt x="422455" y="1223891"/>
                </a:lnTo>
                <a:lnTo>
                  <a:pt x="423434" y="1218802"/>
                </a:lnTo>
                <a:lnTo>
                  <a:pt x="424952" y="1215770"/>
                </a:lnTo>
                <a:lnTo>
                  <a:pt x="429618" y="1214471"/>
                </a:lnTo>
                <a:lnTo>
                  <a:pt x="433741" y="1215662"/>
                </a:lnTo>
                <a:lnTo>
                  <a:pt x="435802" y="1215229"/>
                </a:lnTo>
                <a:lnTo>
                  <a:pt x="436237" y="1212414"/>
                </a:lnTo>
                <a:lnTo>
                  <a:pt x="439493" y="1209924"/>
                </a:lnTo>
                <a:lnTo>
                  <a:pt x="445245" y="1207867"/>
                </a:lnTo>
                <a:lnTo>
                  <a:pt x="447522" y="1208408"/>
                </a:lnTo>
                <a:lnTo>
                  <a:pt x="449368" y="1206134"/>
                </a:lnTo>
                <a:lnTo>
                  <a:pt x="448175" y="1204185"/>
                </a:lnTo>
                <a:lnTo>
                  <a:pt x="454034" y="1198014"/>
                </a:lnTo>
                <a:lnTo>
                  <a:pt x="459460" y="1194550"/>
                </a:lnTo>
                <a:lnTo>
                  <a:pt x="465646" y="1192059"/>
                </a:lnTo>
                <a:lnTo>
                  <a:pt x="468575" y="1188053"/>
                </a:lnTo>
                <a:lnTo>
                  <a:pt x="472917" y="1186212"/>
                </a:lnTo>
                <a:lnTo>
                  <a:pt x="479971" y="1185346"/>
                </a:lnTo>
                <a:lnTo>
                  <a:pt x="484637" y="1184047"/>
                </a:lnTo>
                <a:lnTo>
                  <a:pt x="486914" y="1185130"/>
                </a:lnTo>
                <a:lnTo>
                  <a:pt x="491580" y="1184697"/>
                </a:lnTo>
                <a:lnTo>
                  <a:pt x="494944" y="1186429"/>
                </a:lnTo>
                <a:lnTo>
                  <a:pt x="493210" y="1189569"/>
                </a:lnTo>
                <a:lnTo>
                  <a:pt x="493210" y="1193791"/>
                </a:lnTo>
                <a:lnTo>
                  <a:pt x="495814" y="1197148"/>
                </a:lnTo>
                <a:lnTo>
                  <a:pt x="498092" y="1195849"/>
                </a:lnTo>
                <a:lnTo>
                  <a:pt x="497440" y="1192384"/>
                </a:lnTo>
                <a:lnTo>
                  <a:pt x="498200" y="1190110"/>
                </a:lnTo>
                <a:lnTo>
                  <a:pt x="500696" y="1190110"/>
                </a:lnTo>
                <a:lnTo>
                  <a:pt x="503409" y="1194116"/>
                </a:lnTo>
                <a:lnTo>
                  <a:pt x="504928" y="1193034"/>
                </a:lnTo>
                <a:lnTo>
                  <a:pt x="505254" y="1189677"/>
                </a:lnTo>
                <a:lnTo>
                  <a:pt x="503300" y="1185888"/>
                </a:lnTo>
                <a:lnTo>
                  <a:pt x="503734" y="1183397"/>
                </a:lnTo>
                <a:lnTo>
                  <a:pt x="506665" y="1176793"/>
                </a:lnTo>
                <a:lnTo>
                  <a:pt x="514260" y="1170730"/>
                </a:lnTo>
                <a:lnTo>
                  <a:pt x="525329" y="1166724"/>
                </a:lnTo>
                <a:lnTo>
                  <a:pt x="531839" y="1160661"/>
                </a:lnTo>
                <a:lnTo>
                  <a:pt x="538568" y="1160661"/>
                </a:lnTo>
                <a:lnTo>
                  <a:pt x="542476" y="1158928"/>
                </a:lnTo>
                <a:lnTo>
                  <a:pt x="543125" y="1155463"/>
                </a:lnTo>
                <a:lnTo>
                  <a:pt x="547466" y="1153731"/>
                </a:lnTo>
                <a:lnTo>
                  <a:pt x="552784" y="1150050"/>
                </a:lnTo>
                <a:lnTo>
                  <a:pt x="559730" y="1146910"/>
                </a:lnTo>
                <a:lnTo>
                  <a:pt x="559730" y="1151674"/>
                </a:lnTo>
                <a:lnTo>
                  <a:pt x="563418" y="1153190"/>
                </a:lnTo>
                <a:lnTo>
                  <a:pt x="565047" y="1151133"/>
                </a:lnTo>
                <a:lnTo>
                  <a:pt x="564396" y="1148318"/>
                </a:lnTo>
                <a:lnTo>
                  <a:pt x="567109" y="1143445"/>
                </a:lnTo>
                <a:lnTo>
                  <a:pt x="577635" y="1135109"/>
                </a:lnTo>
                <a:lnTo>
                  <a:pt x="580348" y="1133376"/>
                </a:lnTo>
                <a:lnTo>
                  <a:pt x="581325" y="1135867"/>
                </a:lnTo>
                <a:lnTo>
                  <a:pt x="584689" y="1136516"/>
                </a:lnTo>
                <a:lnTo>
                  <a:pt x="586642" y="1133160"/>
                </a:lnTo>
                <a:lnTo>
                  <a:pt x="584689" y="1130237"/>
                </a:lnTo>
                <a:lnTo>
                  <a:pt x="591200" y="1126555"/>
                </a:lnTo>
                <a:lnTo>
                  <a:pt x="594672" y="1121900"/>
                </a:lnTo>
                <a:lnTo>
                  <a:pt x="597819" y="1122441"/>
                </a:lnTo>
                <a:lnTo>
                  <a:pt x="599122" y="1125581"/>
                </a:lnTo>
                <a:lnTo>
                  <a:pt x="602267" y="1126664"/>
                </a:lnTo>
                <a:lnTo>
                  <a:pt x="603026" y="1123199"/>
                </a:lnTo>
                <a:lnTo>
                  <a:pt x="601399" y="1121359"/>
                </a:lnTo>
                <a:lnTo>
                  <a:pt x="599989" y="1118868"/>
                </a:lnTo>
                <a:lnTo>
                  <a:pt x="602810" y="1114429"/>
                </a:lnTo>
                <a:lnTo>
                  <a:pt x="608888" y="1107500"/>
                </a:lnTo>
                <a:lnTo>
                  <a:pt x="610515" y="1101653"/>
                </a:lnTo>
                <a:lnTo>
                  <a:pt x="614747" y="1096131"/>
                </a:lnTo>
                <a:lnTo>
                  <a:pt x="617786" y="1094940"/>
                </a:lnTo>
                <a:lnTo>
                  <a:pt x="625707" y="1096348"/>
                </a:lnTo>
                <a:lnTo>
                  <a:pt x="621258" y="1093425"/>
                </a:lnTo>
                <a:lnTo>
                  <a:pt x="619415" y="1089419"/>
                </a:lnTo>
                <a:lnTo>
                  <a:pt x="620174" y="1084871"/>
                </a:lnTo>
                <a:lnTo>
                  <a:pt x="624079" y="1077509"/>
                </a:lnTo>
                <a:lnTo>
                  <a:pt x="630049" y="1072528"/>
                </a:lnTo>
                <a:lnTo>
                  <a:pt x="643287" y="1065382"/>
                </a:lnTo>
                <a:lnTo>
                  <a:pt x="646543" y="1062242"/>
                </a:lnTo>
                <a:lnTo>
                  <a:pt x="646435" y="1059644"/>
                </a:lnTo>
                <a:lnTo>
                  <a:pt x="651642" y="1053581"/>
                </a:lnTo>
                <a:lnTo>
                  <a:pt x="654681" y="1052174"/>
                </a:lnTo>
                <a:lnTo>
                  <a:pt x="651860" y="1052174"/>
                </a:lnTo>
                <a:lnTo>
                  <a:pt x="643503" y="1056287"/>
                </a:lnTo>
                <a:lnTo>
                  <a:pt x="640575" y="1056396"/>
                </a:lnTo>
                <a:lnTo>
                  <a:pt x="636125" y="1059860"/>
                </a:lnTo>
                <a:lnTo>
                  <a:pt x="626685" y="1061268"/>
                </a:lnTo>
                <a:lnTo>
                  <a:pt x="619847" y="1064733"/>
                </a:lnTo>
                <a:lnTo>
                  <a:pt x="616808" y="1063975"/>
                </a:lnTo>
                <a:lnTo>
                  <a:pt x="610950" y="1057154"/>
                </a:lnTo>
                <a:lnTo>
                  <a:pt x="611166" y="1054556"/>
                </a:lnTo>
                <a:lnTo>
                  <a:pt x="617786" y="1047518"/>
                </a:lnTo>
                <a:lnTo>
                  <a:pt x="623861" y="1044595"/>
                </a:lnTo>
                <a:lnTo>
                  <a:pt x="616918" y="1044919"/>
                </a:lnTo>
                <a:lnTo>
                  <a:pt x="612144" y="1048384"/>
                </a:lnTo>
                <a:lnTo>
                  <a:pt x="610623" y="1048601"/>
                </a:lnTo>
                <a:lnTo>
                  <a:pt x="605414" y="1052823"/>
                </a:lnTo>
                <a:lnTo>
                  <a:pt x="604654" y="1056721"/>
                </a:lnTo>
                <a:lnTo>
                  <a:pt x="600313" y="1063650"/>
                </a:lnTo>
                <a:lnTo>
                  <a:pt x="600856" y="1068414"/>
                </a:lnTo>
                <a:lnTo>
                  <a:pt x="598686" y="1074152"/>
                </a:lnTo>
                <a:lnTo>
                  <a:pt x="595974" y="1073719"/>
                </a:lnTo>
                <a:lnTo>
                  <a:pt x="593694" y="1067656"/>
                </a:lnTo>
                <a:lnTo>
                  <a:pt x="594780" y="1063325"/>
                </a:lnTo>
                <a:lnTo>
                  <a:pt x="593261" y="1055854"/>
                </a:lnTo>
                <a:lnTo>
                  <a:pt x="590222" y="1050333"/>
                </a:lnTo>
                <a:lnTo>
                  <a:pt x="591851" y="1047951"/>
                </a:lnTo>
                <a:lnTo>
                  <a:pt x="590114" y="1045785"/>
                </a:lnTo>
                <a:lnTo>
                  <a:pt x="587836" y="1049358"/>
                </a:lnTo>
                <a:lnTo>
                  <a:pt x="583819" y="1052282"/>
                </a:lnTo>
                <a:lnTo>
                  <a:pt x="580455" y="1050441"/>
                </a:lnTo>
                <a:lnTo>
                  <a:pt x="581215" y="1047842"/>
                </a:lnTo>
                <a:lnTo>
                  <a:pt x="580239" y="1043295"/>
                </a:lnTo>
                <a:lnTo>
                  <a:pt x="576657" y="1041779"/>
                </a:lnTo>
                <a:lnTo>
                  <a:pt x="576657" y="1040047"/>
                </a:lnTo>
                <a:lnTo>
                  <a:pt x="580023" y="1037990"/>
                </a:lnTo>
                <a:lnTo>
                  <a:pt x="580998" y="1034742"/>
                </a:lnTo>
                <a:lnTo>
                  <a:pt x="573295" y="1037665"/>
                </a:lnTo>
                <a:lnTo>
                  <a:pt x="569929" y="1041238"/>
                </a:lnTo>
                <a:lnTo>
                  <a:pt x="566241" y="1040697"/>
                </a:lnTo>
                <a:lnTo>
                  <a:pt x="564288" y="1040264"/>
                </a:lnTo>
                <a:lnTo>
                  <a:pt x="554413" y="1046544"/>
                </a:lnTo>
                <a:lnTo>
                  <a:pt x="549204" y="1051632"/>
                </a:lnTo>
                <a:lnTo>
                  <a:pt x="546273" y="1049250"/>
                </a:lnTo>
                <a:lnTo>
                  <a:pt x="541823" y="1048709"/>
                </a:lnTo>
                <a:lnTo>
                  <a:pt x="538893" y="1046327"/>
                </a:lnTo>
                <a:lnTo>
                  <a:pt x="540847" y="1045352"/>
                </a:lnTo>
                <a:lnTo>
                  <a:pt x="543887" y="1046219"/>
                </a:lnTo>
                <a:lnTo>
                  <a:pt x="548229" y="1043512"/>
                </a:lnTo>
                <a:lnTo>
                  <a:pt x="552025" y="1042754"/>
                </a:lnTo>
                <a:lnTo>
                  <a:pt x="554737" y="1040589"/>
                </a:lnTo>
                <a:lnTo>
                  <a:pt x="553543" y="1037124"/>
                </a:lnTo>
                <a:lnTo>
                  <a:pt x="554194" y="1035175"/>
                </a:lnTo>
                <a:lnTo>
                  <a:pt x="553110" y="1032577"/>
                </a:lnTo>
                <a:lnTo>
                  <a:pt x="555064" y="1030411"/>
                </a:lnTo>
                <a:lnTo>
                  <a:pt x="560489" y="1030519"/>
                </a:lnTo>
                <a:lnTo>
                  <a:pt x="562985" y="1027596"/>
                </a:lnTo>
                <a:lnTo>
                  <a:pt x="562226" y="1024997"/>
                </a:lnTo>
                <a:lnTo>
                  <a:pt x="558860" y="1025106"/>
                </a:lnTo>
                <a:lnTo>
                  <a:pt x="554521" y="1026513"/>
                </a:lnTo>
                <a:lnTo>
                  <a:pt x="552349" y="1025648"/>
                </a:lnTo>
                <a:lnTo>
                  <a:pt x="552132" y="1020775"/>
                </a:lnTo>
                <a:lnTo>
                  <a:pt x="550506" y="1016011"/>
                </a:lnTo>
                <a:lnTo>
                  <a:pt x="552459" y="1014604"/>
                </a:lnTo>
                <a:lnTo>
                  <a:pt x="554737" y="1015469"/>
                </a:lnTo>
                <a:lnTo>
                  <a:pt x="555931" y="1011789"/>
                </a:lnTo>
                <a:lnTo>
                  <a:pt x="558755" y="1009407"/>
                </a:lnTo>
                <a:lnTo>
                  <a:pt x="565263" y="1007349"/>
                </a:lnTo>
                <a:lnTo>
                  <a:pt x="564504" y="1002044"/>
                </a:lnTo>
                <a:lnTo>
                  <a:pt x="564829" y="998038"/>
                </a:lnTo>
                <a:lnTo>
                  <a:pt x="564504" y="995656"/>
                </a:lnTo>
                <a:lnTo>
                  <a:pt x="566025" y="991109"/>
                </a:lnTo>
                <a:lnTo>
                  <a:pt x="564829" y="985046"/>
                </a:lnTo>
                <a:lnTo>
                  <a:pt x="565482" y="979957"/>
                </a:lnTo>
                <a:lnTo>
                  <a:pt x="570689" y="976709"/>
                </a:lnTo>
                <a:lnTo>
                  <a:pt x="574596" y="969888"/>
                </a:lnTo>
                <a:lnTo>
                  <a:pt x="574704" y="967073"/>
                </a:lnTo>
                <a:lnTo>
                  <a:pt x="570799" y="963716"/>
                </a:lnTo>
                <a:lnTo>
                  <a:pt x="571124" y="961010"/>
                </a:lnTo>
                <a:lnTo>
                  <a:pt x="577200" y="957328"/>
                </a:lnTo>
                <a:lnTo>
                  <a:pt x="587183" y="947476"/>
                </a:lnTo>
                <a:lnTo>
                  <a:pt x="591959" y="947043"/>
                </a:lnTo>
                <a:lnTo>
                  <a:pt x="587509" y="946068"/>
                </a:lnTo>
                <a:lnTo>
                  <a:pt x="576875" y="952998"/>
                </a:lnTo>
                <a:lnTo>
                  <a:pt x="569929" y="958303"/>
                </a:lnTo>
                <a:lnTo>
                  <a:pt x="563744" y="961551"/>
                </a:lnTo>
                <a:lnTo>
                  <a:pt x="563636" y="963608"/>
                </a:lnTo>
                <a:lnTo>
                  <a:pt x="566131" y="967073"/>
                </a:lnTo>
                <a:lnTo>
                  <a:pt x="566025" y="971187"/>
                </a:lnTo>
                <a:lnTo>
                  <a:pt x="559622" y="979740"/>
                </a:lnTo>
                <a:lnTo>
                  <a:pt x="556799" y="979957"/>
                </a:lnTo>
                <a:lnTo>
                  <a:pt x="554086" y="978333"/>
                </a:lnTo>
                <a:lnTo>
                  <a:pt x="550288" y="979957"/>
                </a:lnTo>
                <a:lnTo>
                  <a:pt x="543235" y="982880"/>
                </a:lnTo>
                <a:lnTo>
                  <a:pt x="537159" y="982880"/>
                </a:lnTo>
                <a:lnTo>
                  <a:pt x="521422" y="975734"/>
                </a:lnTo>
                <a:lnTo>
                  <a:pt x="522834" y="973136"/>
                </a:lnTo>
                <a:lnTo>
                  <a:pt x="528151" y="972378"/>
                </a:lnTo>
                <a:lnTo>
                  <a:pt x="528041" y="970645"/>
                </a:lnTo>
                <a:lnTo>
                  <a:pt x="523594" y="966856"/>
                </a:lnTo>
                <a:lnTo>
                  <a:pt x="523702" y="963175"/>
                </a:lnTo>
                <a:lnTo>
                  <a:pt x="522942" y="960577"/>
                </a:lnTo>
                <a:lnTo>
                  <a:pt x="522507" y="952457"/>
                </a:lnTo>
                <a:lnTo>
                  <a:pt x="519252" y="952131"/>
                </a:lnTo>
                <a:lnTo>
                  <a:pt x="517841" y="947909"/>
                </a:lnTo>
                <a:lnTo>
                  <a:pt x="518820" y="941629"/>
                </a:lnTo>
                <a:lnTo>
                  <a:pt x="521640" y="937948"/>
                </a:lnTo>
                <a:lnTo>
                  <a:pt x="519252" y="937623"/>
                </a:lnTo>
                <a:lnTo>
                  <a:pt x="516866" y="933833"/>
                </a:lnTo>
                <a:lnTo>
                  <a:pt x="517734" y="930586"/>
                </a:lnTo>
                <a:lnTo>
                  <a:pt x="522726" y="931776"/>
                </a:lnTo>
                <a:lnTo>
                  <a:pt x="526306" y="929286"/>
                </a:lnTo>
                <a:lnTo>
                  <a:pt x="527500" y="925388"/>
                </a:lnTo>
                <a:lnTo>
                  <a:pt x="531515" y="924523"/>
                </a:lnTo>
                <a:lnTo>
                  <a:pt x="535206" y="921707"/>
                </a:lnTo>
                <a:lnTo>
                  <a:pt x="537483" y="924955"/>
                </a:lnTo>
                <a:lnTo>
                  <a:pt x="544103" y="926147"/>
                </a:lnTo>
                <a:lnTo>
                  <a:pt x="546381" y="929936"/>
                </a:lnTo>
                <a:lnTo>
                  <a:pt x="550722" y="929611"/>
                </a:lnTo>
                <a:lnTo>
                  <a:pt x="552784" y="932101"/>
                </a:lnTo>
                <a:lnTo>
                  <a:pt x="552784" y="935025"/>
                </a:lnTo>
                <a:lnTo>
                  <a:pt x="554956" y="936974"/>
                </a:lnTo>
                <a:lnTo>
                  <a:pt x="561140" y="935349"/>
                </a:lnTo>
                <a:lnTo>
                  <a:pt x="560814" y="931993"/>
                </a:lnTo>
                <a:lnTo>
                  <a:pt x="556366" y="927121"/>
                </a:lnTo>
                <a:lnTo>
                  <a:pt x="559403" y="923981"/>
                </a:lnTo>
                <a:lnTo>
                  <a:pt x="560273" y="919433"/>
                </a:lnTo>
                <a:lnTo>
                  <a:pt x="567868" y="911963"/>
                </a:lnTo>
                <a:lnTo>
                  <a:pt x="571666" y="911421"/>
                </a:lnTo>
                <a:lnTo>
                  <a:pt x="575898" y="906549"/>
                </a:lnTo>
                <a:lnTo>
                  <a:pt x="572317" y="909148"/>
                </a:lnTo>
                <a:lnTo>
                  <a:pt x="563636" y="909148"/>
                </a:lnTo>
                <a:lnTo>
                  <a:pt x="560597" y="912504"/>
                </a:lnTo>
                <a:lnTo>
                  <a:pt x="558643" y="921274"/>
                </a:lnTo>
                <a:lnTo>
                  <a:pt x="554845" y="924631"/>
                </a:lnTo>
                <a:lnTo>
                  <a:pt x="549855" y="924955"/>
                </a:lnTo>
                <a:lnTo>
                  <a:pt x="545948" y="922357"/>
                </a:lnTo>
                <a:lnTo>
                  <a:pt x="540847" y="921707"/>
                </a:lnTo>
                <a:lnTo>
                  <a:pt x="540412" y="919109"/>
                </a:lnTo>
                <a:lnTo>
                  <a:pt x="538893" y="917376"/>
                </a:lnTo>
                <a:lnTo>
                  <a:pt x="536073" y="917485"/>
                </a:lnTo>
                <a:lnTo>
                  <a:pt x="533904" y="919433"/>
                </a:lnTo>
                <a:lnTo>
                  <a:pt x="530756" y="919975"/>
                </a:lnTo>
                <a:lnTo>
                  <a:pt x="529346" y="918135"/>
                </a:lnTo>
                <a:lnTo>
                  <a:pt x="531080" y="915752"/>
                </a:lnTo>
                <a:lnTo>
                  <a:pt x="533361" y="914453"/>
                </a:lnTo>
                <a:lnTo>
                  <a:pt x="532599" y="907849"/>
                </a:lnTo>
                <a:lnTo>
                  <a:pt x="531515" y="905250"/>
                </a:lnTo>
                <a:lnTo>
                  <a:pt x="528803" y="908931"/>
                </a:lnTo>
                <a:lnTo>
                  <a:pt x="525871" y="909581"/>
                </a:lnTo>
                <a:lnTo>
                  <a:pt x="524896" y="905684"/>
                </a:lnTo>
                <a:lnTo>
                  <a:pt x="527065" y="901460"/>
                </a:lnTo>
                <a:lnTo>
                  <a:pt x="528041" y="897563"/>
                </a:lnTo>
                <a:lnTo>
                  <a:pt x="527282" y="891608"/>
                </a:lnTo>
                <a:lnTo>
                  <a:pt x="523158" y="885437"/>
                </a:lnTo>
                <a:lnTo>
                  <a:pt x="523158" y="882513"/>
                </a:lnTo>
                <a:lnTo>
                  <a:pt x="528803" y="875801"/>
                </a:lnTo>
                <a:lnTo>
                  <a:pt x="531080" y="871362"/>
                </a:lnTo>
                <a:lnTo>
                  <a:pt x="533142" y="871036"/>
                </a:lnTo>
                <a:lnTo>
                  <a:pt x="535530" y="875151"/>
                </a:lnTo>
                <a:lnTo>
                  <a:pt x="538350" y="874826"/>
                </a:lnTo>
                <a:lnTo>
                  <a:pt x="539545" y="871470"/>
                </a:lnTo>
                <a:lnTo>
                  <a:pt x="534663" y="866056"/>
                </a:lnTo>
                <a:lnTo>
                  <a:pt x="535747" y="864865"/>
                </a:lnTo>
                <a:lnTo>
                  <a:pt x="540412" y="866489"/>
                </a:lnTo>
                <a:lnTo>
                  <a:pt x="545514" y="865299"/>
                </a:lnTo>
                <a:lnTo>
                  <a:pt x="547575" y="863783"/>
                </a:lnTo>
                <a:lnTo>
                  <a:pt x="549529" y="856528"/>
                </a:lnTo>
                <a:lnTo>
                  <a:pt x="560055" y="847001"/>
                </a:lnTo>
                <a:lnTo>
                  <a:pt x="562769" y="846784"/>
                </a:lnTo>
                <a:lnTo>
                  <a:pt x="565698" y="845485"/>
                </a:lnTo>
                <a:lnTo>
                  <a:pt x="568302" y="839638"/>
                </a:lnTo>
                <a:lnTo>
                  <a:pt x="575247" y="832817"/>
                </a:lnTo>
                <a:lnTo>
                  <a:pt x="577310" y="832709"/>
                </a:lnTo>
                <a:lnTo>
                  <a:pt x="581325" y="837473"/>
                </a:lnTo>
                <a:lnTo>
                  <a:pt x="583062" y="841804"/>
                </a:lnTo>
                <a:lnTo>
                  <a:pt x="585448" y="841804"/>
                </a:lnTo>
                <a:lnTo>
                  <a:pt x="587617" y="838014"/>
                </a:lnTo>
                <a:lnTo>
                  <a:pt x="584689" y="835416"/>
                </a:lnTo>
                <a:lnTo>
                  <a:pt x="583711" y="831951"/>
                </a:lnTo>
                <a:lnTo>
                  <a:pt x="586750" y="830327"/>
                </a:lnTo>
                <a:lnTo>
                  <a:pt x="593586" y="830652"/>
                </a:lnTo>
                <a:lnTo>
                  <a:pt x="599122" y="836606"/>
                </a:lnTo>
                <a:lnTo>
                  <a:pt x="599663" y="839746"/>
                </a:lnTo>
                <a:lnTo>
                  <a:pt x="603136" y="836282"/>
                </a:lnTo>
                <a:lnTo>
                  <a:pt x="606392" y="828053"/>
                </a:lnTo>
                <a:lnTo>
                  <a:pt x="606608" y="822098"/>
                </a:lnTo>
                <a:lnTo>
                  <a:pt x="609648" y="819716"/>
                </a:lnTo>
                <a:lnTo>
                  <a:pt x="615181" y="819283"/>
                </a:lnTo>
                <a:lnTo>
                  <a:pt x="621041" y="814953"/>
                </a:lnTo>
                <a:lnTo>
                  <a:pt x="628419" y="814953"/>
                </a:lnTo>
                <a:lnTo>
                  <a:pt x="632869" y="816252"/>
                </a:lnTo>
                <a:lnTo>
                  <a:pt x="637101" y="816035"/>
                </a:lnTo>
                <a:lnTo>
                  <a:pt x="639924" y="813545"/>
                </a:lnTo>
                <a:lnTo>
                  <a:pt x="649583" y="810189"/>
                </a:lnTo>
                <a:lnTo>
                  <a:pt x="653054" y="805425"/>
                </a:lnTo>
                <a:lnTo>
                  <a:pt x="658587" y="801851"/>
                </a:lnTo>
                <a:lnTo>
                  <a:pt x="663146" y="795680"/>
                </a:lnTo>
                <a:lnTo>
                  <a:pt x="664664" y="795031"/>
                </a:lnTo>
                <a:lnTo>
                  <a:pt x="668354" y="799253"/>
                </a:lnTo>
                <a:lnTo>
                  <a:pt x="670308" y="801635"/>
                </a:lnTo>
                <a:lnTo>
                  <a:pt x="672478" y="800661"/>
                </a:lnTo>
                <a:lnTo>
                  <a:pt x="679532" y="804775"/>
                </a:lnTo>
                <a:lnTo>
                  <a:pt x="684524" y="805533"/>
                </a:lnTo>
                <a:lnTo>
                  <a:pt x="688212" y="804234"/>
                </a:lnTo>
                <a:lnTo>
                  <a:pt x="693095" y="799794"/>
                </a:lnTo>
                <a:lnTo>
                  <a:pt x="696134" y="798171"/>
                </a:lnTo>
                <a:lnTo>
                  <a:pt x="700691" y="798604"/>
                </a:lnTo>
                <a:lnTo>
                  <a:pt x="704707" y="795572"/>
                </a:lnTo>
                <a:lnTo>
                  <a:pt x="709156" y="789834"/>
                </a:lnTo>
                <a:lnTo>
                  <a:pt x="710675" y="785070"/>
                </a:lnTo>
                <a:lnTo>
                  <a:pt x="709915" y="781388"/>
                </a:lnTo>
                <a:lnTo>
                  <a:pt x="708724" y="779223"/>
                </a:lnTo>
                <a:lnTo>
                  <a:pt x="709915" y="776408"/>
                </a:lnTo>
                <a:lnTo>
                  <a:pt x="712196" y="772835"/>
                </a:lnTo>
                <a:lnTo>
                  <a:pt x="713498" y="767205"/>
                </a:lnTo>
                <a:lnTo>
                  <a:pt x="720985" y="758760"/>
                </a:lnTo>
                <a:lnTo>
                  <a:pt x="721528" y="752264"/>
                </a:lnTo>
                <a:lnTo>
                  <a:pt x="718597" y="749015"/>
                </a:lnTo>
                <a:lnTo>
                  <a:pt x="713498" y="748366"/>
                </a:lnTo>
                <a:lnTo>
                  <a:pt x="712955" y="747175"/>
                </a:lnTo>
                <a:lnTo>
                  <a:pt x="719356" y="742195"/>
                </a:lnTo>
                <a:lnTo>
                  <a:pt x="722287" y="742519"/>
                </a:lnTo>
                <a:lnTo>
                  <a:pt x="724457" y="744685"/>
                </a:lnTo>
                <a:lnTo>
                  <a:pt x="731403" y="743710"/>
                </a:lnTo>
                <a:lnTo>
                  <a:pt x="735635" y="735807"/>
                </a:lnTo>
                <a:lnTo>
                  <a:pt x="733138" y="734399"/>
                </a:lnTo>
                <a:lnTo>
                  <a:pt x="732922" y="732558"/>
                </a:lnTo>
                <a:lnTo>
                  <a:pt x="738238" y="728769"/>
                </a:lnTo>
                <a:lnTo>
                  <a:pt x="740300" y="725304"/>
                </a:lnTo>
                <a:lnTo>
                  <a:pt x="737914" y="727037"/>
                </a:lnTo>
                <a:lnTo>
                  <a:pt x="731727" y="727362"/>
                </a:lnTo>
                <a:lnTo>
                  <a:pt x="723589" y="732342"/>
                </a:lnTo>
                <a:lnTo>
                  <a:pt x="721201" y="731476"/>
                </a:lnTo>
                <a:lnTo>
                  <a:pt x="720225" y="728552"/>
                </a:lnTo>
                <a:lnTo>
                  <a:pt x="718272" y="728552"/>
                </a:lnTo>
                <a:lnTo>
                  <a:pt x="715233" y="733317"/>
                </a:lnTo>
                <a:lnTo>
                  <a:pt x="708287" y="734074"/>
                </a:lnTo>
                <a:lnTo>
                  <a:pt x="698414" y="740029"/>
                </a:lnTo>
                <a:lnTo>
                  <a:pt x="690709" y="741762"/>
                </a:lnTo>
                <a:lnTo>
                  <a:pt x="688973" y="744576"/>
                </a:lnTo>
                <a:lnTo>
                  <a:pt x="682787" y="749882"/>
                </a:lnTo>
                <a:lnTo>
                  <a:pt x="680399" y="749665"/>
                </a:lnTo>
                <a:lnTo>
                  <a:pt x="680182" y="745226"/>
                </a:lnTo>
                <a:lnTo>
                  <a:pt x="685065" y="739380"/>
                </a:lnTo>
                <a:lnTo>
                  <a:pt x="685176" y="736672"/>
                </a:lnTo>
                <a:lnTo>
                  <a:pt x="680399" y="734941"/>
                </a:lnTo>
                <a:lnTo>
                  <a:pt x="678772" y="736998"/>
                </a:lnTo>
                <a:lnTo>
                  <a:pt x="679205" y="743494"/>
                </a:lnTo>
                <a:lnTo>
                  <a:pt x="677143" y="745876"/>
                </a:lnTo>
                <a:lnTo>
                  <a:pt x="674539" y="744576"/>
                </a:lnTo>
                <a:lnTo>
                  <a:pt x="673020" y="738838"/>
                </a:lnTo>
                <a:lnTo>
                  <a:pt x="669005" y="736131"/>
                </a:lnTo>
                <a:lnTo>
                  <a:pt x="658371" y="734724"/>
                </a:lnTo>
                <a:lnTo>
                  <a:pt x="652838" y="731692"/>
                </a:lnTo>
                <a:lnTo>
                  <a:pt x="646109" y="733858"/>
                </a:lnTo>
                <a:lnTo>
                  <a:pt x="639924" y="738297"/>
                </a:lnTo>
                <a:lnTo>
                  <a:pt x="636776" y="738188"/>
                </a:lnTo>
                <a:lnTo>
                  <a:pt x="631568" y="732558"/>
                </a:lnTo>
                <a:lnTo>
                  <a:pt x="623755" y="729419"/>
                </a:lnTo>
                <a:lnTo>
                  <a:pt x="615397" y="720107"/>
                </a:lnTo>
                <a:lnTo>
                  <a:pt x="614747" y="713828"/>
                </a:lnTo>
                <a:lnTo>
                  <a:pt x="615940" y="707115"/>
                </a:lnTo>
                <a:lnTo>
                  <a:pt x="619738" y="701052"/>
                </a:lnTo>
                <a:lnTo>
                  <a:pt x="624948" y="696288"/>
                </a:lnTo>
                <a:lnTo>
                  <a:pt x="624732" y="692607"/>
                </a:lnTo>
                <a:lnTo>
                  <a:pt x="623319" y="690874"/>
                </a:lnTo>
                <a:lnTo>
                  <a:pt x="622343" y="681238"/>
                </a:lnTo>
                <a:lnTo>
                  <a:pt x="625924" y="676366"/>
                </a:lnTo>
                <a:lnTo>
                  <a:pt x="629722" y="675933"/>
                </a:lnTo>
                <a:lnTo>
                  <a:pt x="629722" y="677882"/>
                </a:lnTo>
                <a:lnTo>
                  <a:pt x="625599" y="682321"/>
                </a:lnTo>
                <a:lnTo>
                  <a:pt x="628855" y="686977"/>
                </a:lnTo>
                <a:lnTo>
                  <a:pt x="631784" y="686977"/>
                </a:lnTo>
                <a:lnTo>
                  <a:pt x="637101" y="681455"/>
                </a:lnTo>
                <a:lnTo>
                  <a:pt x="639381" y="681130"/>
                </a:lnTo>
                <a:lnTo>
                  <a:pt x="642636" y="683728"/>
                </a:lnTo>
                <a:lnTo>
                  <a:pt x="648170" y="687518"/>
                </a:lnTo>
                <a:lnTo>
                  <a:pt x="649039" y="692282"/>
                </a:lnTo>
                <a:lnTo>
                  <a:pt x="657069" y="692065"/>
                </a:lnTo>
                <a:lnTo>
                  <a:pt x="658806" y="690766"/>
                </a:lnTo>
                <a:lnTo>
                  <a:pt x="653270" y="687842"/>
                </a:lnTo>
                <a:lnTo>
                  <a:pt x="648496" y="686652"/>
                </a:lnTo>
                <a:lnTo>
                  <a:pt x="646435" y="680913"/>
                </a:lnTo>
                <a:lnTo>
                  <a:pt x="641226" y="678207"/>
                </a:lnTo>
                <a:lnTo>
                  <a:pt x="636233" y="671277"/>
                </a:lnTo>
                <a:lnTo>
                  <a:pt x="629505" y="669545"/>
                </a:lnTo>
                <a:lnTo>
                  <a:pt x="623319" y="660017"/>
                </a:lnTo>
                <a:lnTo>
                  <a:pt x="616808" y="651897"/>
                </a:lnTo>
                <a:lnTo>
                  <a:pt x="616918" y="650165"/>
                </a:lnTo>
                <a:lnTo>
                  <a:pt x="620717" y="644534"/>
                </a:lnTo>
                <a:lnTo>
                  <a:pt x="624732" y="642802"/>
                </a:lnTo>
                <a:lnTo>
                  <a:pt x="623537" y="645726"/>
                </a:lnTo>
                <a:lnTo>
                  <a:pt x="622343" y="647458"/>
                </a:lnTo>
                <a:lnTo>
                  <a:pt x="625273" y="646916"/>
                </a:lnTo>
                <a:lnTo>
                  <a:pt x="630265" y="643669"/>
                </a:lnTo>
                <a:lnTo>
                  <a:pt x="637427" y="640422"/>
                </a:lnTo>
                <a:lnTo>
                  <a:pt x="641116" y="639014"/>
                </a:lnTo>
                <a:lnTo>
                  <a:pt x="641116" y="636418"/>
                </a:lnTo>
                <a:lnTo>
                  <a:pt x="647845" y="632518"/>
                </a:lnTo>
                <a:lnTo>
                  <a:pt x="651425" y="632518"/>
                </a:lnTo>
                <a:lnTo>
                  <a:pt x="652511" y="634036"/>
                </a:lnTo>
                <a:lnTo>
                  <a:pt x="657285" y="633819"/>
                </a:lnTo>
                <a:lnTo>
                  <a:pt x="657610" y="631436"/>
                </a:lnTo>
                <a:lnTo>
                  <a:pt x="660758" y="628836"/>
                </a:lnTo>
                <a:lnTo>
                  <a:pt x="669873" y="627430"/>
                </a:lnTo>
                <a:lnTo>
                  <a:pt x="678337" y="628836"/>
                </a:lnTo>
                <a:lnTo>
                  <a:pt x="682787" y="630461"/>
                </a:lnTo>
                <a:lnTo>
                  <a:pt x="684524" y="632844"/>
                </a:lnTo>
                <a:lnTo>
                  <a:pt x="688647" y="632844"/>
                </a:lnTo>
                <a:lnTo>
                  <a:pt x="692662" y="633494"/>
                </a:lnTo>
                <a:lnTo>
                  <a:pt x="693421" y="631978"/>
                </a:lnTo>
                <a:lnTo>
                  <a:pt x="688104" y="627106"/>
                </a:lnTo>
                <a:lnTo>
                  <a:pt x="685935" y="624725"/>
                </a:lnTo>
                <a:lnTo>
                  <a:pt x="686910" y="622343"/>
                </a:lnTo>
                <a:lnTo>
                  <a:pt x="701235" y="616495"/>
                </a:lnTo>
                <a:lnTo>
                  <a:pt x="705358" y="616278"/>
                </a:lnTo>
                <a:lnTo>
                  <a:pt x="709264" y="619093"/>
                </a:lnTo>
                <a:lnTo>
                  <a:pt x="713606" y="618877"/>
                </a:lnTo>
                <a:lnTo>
                  <a:pt x="721201" y="614764"/>
                </a:lnTo>
                <a:lnTo>
                  <a:pt x="725868" y="614982"/>
                </a:lnTo>
                <a:lnTo>
                  <a:pt x="729666" y="616603"/>
                </a:lnTo>
                <a:lnTo>
                  <a:pt x="735853" y="623210"/>
                </a:lnTo>
                <a:lnTo>
                  <a:pt x="736177" y="626133"/>
                </a:lnTo>
                <a:lnTo>
                  <a:pt x="733248" y="629596"/>
                </a:lnTo>
                <a:lnTo>
                  <a:pt x="730536" y="630029"/>
                </a:lnTo>
                <a:lnTo>
                  <a:pt x="725542" y="637285"/>
                </a:lnTo>
                <a:lnTo>
                  <a:pt x="721201" y="638797"/>
                </a:lnTo>
                <a:lnTo>
                  <a:pt x="720985" y="641614"/>
                </a:lnTo>
                <a:lnTo>
                  <a:pt x="722938" y="645292"/>
                </a:lnTo>
                <a:lnTo>
                  <a:pt x="723265" y="650489"/>
                </a:lnTo>
                <a:lnTo>
                  <a:pt x="725326" y="650814"/>
                </a:lnTo>
                <a:lnTo>
                  <a:pt x="728582" y="648973"/>
                </a:lnTo>
                <a:lnTo>
                  <a:pt x="731838" y="651247"/>
                </a:lnTo>
                <a:lnTo>
                  <a:pt x="732379" y="654928"/>
                </a:lnTo>
                <a:lnTo>
                  <a:pt x="736504" y="655145"/>
                </a:lnTo>
                <a:lnTo>
                  <a:pt x="739108" y="654171"/>
                </a:lnTo>
                <a:lnTo>
                  <a:pt x="742364" y="654928"/>
                </a:lnTo>
                <a:lnTo>
                  <a:pt x="743123" y="660017"/>
                </a:lnTo>
                <a:lnTo>
                  <a:pt x="746161" y="661533"/>
                </a:lnTo>
                <a:lnTo>
                  <a:pt x="752237" y="660991"/>
                </a:lnTo>
                <a:lnTo>
                  <a:pt x="754082" y="662074"/>
                </a:lnTo>
                <a:lnTo>
                  <a:pt x="755387" y="666513"/>
                </a:lnTo>
                <a:lnTo>
                  <a:pt x="759617" y="664456"/>
                </a:lnTo>
                <a:lnTo>
                  <a:pt x="763959" y="662940"/>
                </a:lnTo>
                <a:lnTo>
                  <a:pt x="764500" y="658718"/>
                </a:lnTo>
                <a:lnTo>
                  <a:pt x="771662" y="653088"/>
                </a:lnTo>
                <a:lnTo>
                  <a:pt x="774485" y="650706"/>
                </a:lnTo>
                <a:lnTo>
                  <a:pt x="776328" y="652438"/>
                </a:lnTo>
                <a:lnTo>
                  <a:pt x="779475" y="653954"/>
                </a:lnTo>
                <a:lnTo>
                  <a:pt x="779800" y="656661"/>
                </a:lnTo>
                <a:lnTo>
                  <a:pt x="773615" y="664565"/>
                </a:lnTo>
                <a:lnTo>
                  <a:pt x="780451" y="662074"/>
                </a:lnTo>
                <a:lnTo>
                  <a:pt x="785335" y="656661"/>
                </a:lnTo>
                <a:lnTo>
                  <a:pt x="785660" y="648324"/>
                </a:lnTo>
                <a:lnTo>
                  <a:pt x="783274" y="642802"/>
                </a:lnTo>
                <a:lnTo>
                  <a:pt x="777414" y="642802"/>
                </a:lnTo>
                <a:lnTo>
                  <a:pt x="775134" y="640529"/>
                </a:lnTo>
                <a:lnTo>
                  <a:pt x="771878" y="640529"/>
                </a:lnTo>
                <a:lnTo>
                  <a:pt x="768733" y="645509"/>
                </a:lnTo>
                <a:lnTo>
                  <a:pt x="768733" y="641721"/>
                </a:lnTo>
                <a:lnTo>
                  <a:pt x="773072" y="636959"/>
                </a:lnTo>
                <a:lnTo>
                  <a:pt x="775352" y="627863"/>
                </a:lnTo>
                <a:lnTo>
                  <a:pt x="775786" y="613897"/>
                </a:lnTo>
                <a:lnTo>
                  <a:pt x="779910" y="609457"/>
                </a:lnTo>
                <a:lnTo>
                  <a:pt x="781862" y="609565"/>
                </a:lnTo>
                <a:lnTo>
                  <a:pt x="782515" y="614115"/>
                </a:lnTo>
                <a:lnTo>
                  <a:pt x="777414" y="628189"/>
                </a:lnTo>
                <a:lnTo>
                  <a:pt x="776655" y="635444"/>
                </a:lnTo>
                <a:lnTo>
                  <a:pt x="782404" y="639881"/>
                </a:lnTo>
                <a:lnTo>
                  <a:pt x="784576" y="639556"/>
                </a:lnTo>
                <a:lnTo>
                  <a:pt x="788808" y="641071"/>
                </a:lnTo>
                <a:lnTo>
                  <a:pt x="790977" y="647783"/>
                </a:lnTo>
                <a:lnTo>
                  <a:pt x="793582" y="650381"/>
                </a:lnTo>
                <a:lnTo>
                  <a:pt x="799768" y="651030"/>
                </a:lnTo>
                <a:lnTo>
                  <a:pt x="802697" y="649298"/>
                </a:lnTo>
                <a:lnTo>
                  <a:pt x="807582" y="652114"/>
                </a:lnTo>
                <a:lnTo>
                  <a:pt x="806823" y="655361"/>
                </a:lnTo>
                <a:lnTo>
                  <a:pt x="814744" y="654495"/>
                </a:lnTo>
                <a:lnTo>
                  <a:pt x="816263" y="649623"/>
                </a:lnTo>
                <a:lnTo>
                  <a:pt x="814961" y="644318"/>
                </a:lnTo>
                <a:lnTo>
                  <a:pt x="821148" y="641071"/>
                </a:lnTo>
                <a:lnTo>
                  <a:pt x="814744" y="637609"/>
                </a:lnTo>
                <a:lnTo>
                  <a:pt x="807364" y="635444"/>
                </a:lnTo>
                <a:lnTo>
                  <a:pt x="801179" y="637285"/>
                </a:lnTo>
                <a:lnTo>
                  <a:pt x="799441" y="634146"/>
                </a:lnTo>
                <a:lnTo>
                  <a:pt x="795643" y="632518"/>
                </a:lnTo>
                <a:lnTo>
                  <a:pt x="790218" y="634036"/>
                </a:lnTo>
                <a:lnTo>
                  <a:pt x="786746" y="636959"/>
                </a:lnTo>
                <a:lnTo>
                  <a:pt x="784358" y="635011"/>
                </a:lnTo>
                <a:lnTo>
                  <a:pt x="783817" y="629596"/>
                </a:lnTo>
                <a:lnTo>
                  <a:pt x="784468" y="617254"/>
                </a:lnTo>
                <a:lnTo>
                  <a:pt x="785878" y="613897"/>
                </a:lnTo>
                <a:lnTo>
                  <a:pt x="790869" y="614546"/>
                </a:lnTo>
                <a:lnTo>
                  <a:pt x="793690" y="612599"/>
                </a:lnTo>
                <a:lnTo>
                  <a:pt x="781972" y="603287"/>
                </a:lnTo>
                <a:lnTo>
                  <a:pt x="782404" y="600147"/>
                </a:lnTo>
                <a:lnTo>
                  <a:pt x="785878" y="597223"/>
                </a:lnTo>
                <a:lnTo>
                  <a:pt x="782404" y="597223"/>
                </a:lnTo>
                <a:lnTo>
                  <a:pt x="778606" y="599607"/>
                </a:lnTo>
                <a:lnTo>
                  <a:pt x="776220" y="597441"/>
                </a:lnTo>
                <a:lnTo>
                  <a:pt x="776328" y="602529"/>
                </a:lnTo>
                <a:lnTo>
                  <a:pt x="771338" y="600363"/>
                </a:lnTo>
                <a:lnTo>
                  <a:pt x="762330" y="589536"/>
                </a:lnTo>
                <a:lnTo>
                  <a:pt x="762330" y="586936"/>
                </a:lnTo>
                <a:lnTo>
                  <a:pt x="766561" y="580875"/>
                </a:lnTo>
                <a:lnTo>
                  <a:pt x="771989" y="570914"/>
                </a:lnTo>
                <a:lnTo>
                  <a:pt x="773399" y="557921"/>
                </a:lnTo>
                <a:lnTo>
                  <a:pt x="771010" y="543412"/>
                </a:lnTo>
                <a:lnTo>
                  <a:pt x="765151" y="527172"/>
                </a:lnTo>
                <a:lnTo>
                  <a:pt x="759291" y="506167"/>
                </a:lnTo>
                <a:lnTo>
                  <a:pt x="754951" y="496205"/>
                </a:lnTo>
                <a:lnTo>
                  <a:pt x="757772" y="494258"/>
                </a:lnTo>
                <a:lnTo>
                  <a:pt x="760812" y="496532"/>
                </a:lnTo>
                <a:lnTo>
                  <a:pt x="764500" y="496963"/>
                </a:lnTo>
                <a:lnTo>
                  <a:pt x="766888" y="491227"/>
                </a:lnTo>
                <a:lnTo>
                  <a:pt x="771554" y="486680"/>
                </a:lnTo>
                <a:lnTo>
                  <a:pt x="773723" y="481267"/>
                </a:lnTo>
                <a:lnTo>
                  <a:pt x="782188" y="472060"/>
                </a:lnTo>
                <a:lnTo>
                  <a:pt x="787940" y="466542"/>
                </a:lnTo>
                <a:lnTo>
                  <a:pt x="790653" y="465892"/>
                </a:lnTo>
                <a:lnTo>
                  <a:pt x="797923" y="469573"/>
                </a:lnTo>
                <a:lnTo>
                  <a:pt x="802697" y="472060"/>
                </a:lnTo>
                <a:lnTo>
                  <a:pt x="809208" y="476068"/>
                </a:lnTo>
                <a:lnTo>
                  <a:pt x="816263" y="476718"/>
                </a:lnTo>
                <a:lnTo>
                  <a:pt x="819951" y="479426"/>
                </a:lnTo>
                <a:lnTo>
                  <a:pt x="827005" y="479317"/>
                </a:lnTo>
                <a:lnTo>
                  <a:pt x="835145" y="474335"/>
                </a:lnTo>
                <a:lnTo>
                  <a:pt x="840462" y="474011"/>
                </a:lnTo>
                <a:lnTo>
                  <a:pt x="847190" y="470006"/>
                </a:lnTo>
                <a:lnTo>
                  <a:pt x="851313" y="469357"/>
                </a:lnTo>
                <a:lnTo>
                  <a:pt x="859234" y="466107"/>
                </a:lnTo>
                <a:lnTo>
                  <a:pt x="871281" y="455281"/>
                </a:lnTo>
                <a:lnTo>
                  <a:pt x="881264" y="446294"/>
                </a:lnTo>
                <a:lnTo>
                  <a:pt x="890705" y="439256"/>
                </a:lnTo>
                <a:lnTo>
                  <a:pt x="904487" y="432760"/>
                </a:lnTo>
                <a:lnTo>
                  <a:pt x="916966" y="422368"/>
                </a:lnTo>
                <a:lnTo>
                  <a:pt x="926732" y="417603"/>
                </a:lnTo>
                <a:lnTo>
                  <a:pt x="934871" y="418792"/>
                </a:lnTo>
                <a:lnTo>
                  <a:pt x="941708" y="420525"/>
                </a:lnTo>
                <a:lnTo>
                  <a:pt x="944095" y="419116"/>
                </a:lnTo>
                <a:lnTo>
                  <a:pt x="941599" y="416086"/>
                </a:lnTo>
                <a:lnTo>
                  <a:pt x="934546" y="412946"/>
                </a:lnTo>
                <a:lnTo>
                  <a:pt x="934003" y="411216"/>
                </a:lnTo>
                <a:lnTo>
                  <a:pt x="936932" y="411108"/>
                </a:lnTo>
                <a:lnTo>
                  <a:pt x="942575" y="412405"/>
                </a:lnTo>
                <a:lnTo>
                  <a:pt x="946266" y="417276"/>
                </a:lnTo>
                <a:lnTo>
                  <a:pt x="949303" y="418792"/>
                </a:lnTo>
                <a:lnTo>
                  <a:pt x="954296" y="418792"/>
                </a:lnTo>
                <a:lnTo>
                  <a:pt x="966340" y="413598"/>
                </a:lnTo>
                <a:lnTo>
                  <a:pt x="968837" y="413813"/>
                </a:lnTo>
                <a:lnTo>
                  <a:pt x="968405" y="416952"/>
                </a:lnTo>
                <a:lnTo>
                  <a:pt x="961350" y="427563"/>
                </a:lnTo>
                <a:lnTo>
                  <a:pt x="959829" y="435684"/>
                </a:lnTo>
                <a:lnTo>
                  <a:pt x="960915" y="437417"/>
                </a:lnTo>
                <a:lnTo>
                  <a:pt x="963085" y="436983"/>
                </a:lnTo>
                <a:lnTo>
                  <a:pt x="965690" y="428971"/>
                </a:lnTo>
                <a:lnTo>
                  <a:pt x="970355" y="418468"/>
                </a:lnTo>
                <a:lnTo>
                  <a:pt x="976324" y="413272"/>
                </a:lnTo>
                <a:lnTo>
                  <a:pt x="982618" y="413272"/>
                </a:lnTo>
                <a:lnTo>
                  <a:pt x="985874" y="410564"/>
                </a:lnTo>
                <a:lnTo>
                  <a:pt x="980122" y="409155"/>
                </a:lnTo>
                <a:lnTo>
                  <a:pt x="979147" y="405042"/>
                </a:lnTo>
                <a:lnTo>
                  <a:pt x="981533" y="400063"/>
                </a:lnTo>
                <a:lnTo>
                  <a:pt x="988043" y="396813"/>
                </a:lnTo>
                <a:lnTo>
                  <a:pt x="997051" y="391944"/>
                </a:lnTo>
                <a:lnTo>
                  <a:pt x="1002694" y="390319"/>
                </a:lnTo>
                <a:lnTo>
                  <a:pt x="1004972" y="392267"/>
                </a:lnTo>
                <a:lnTo>
                  <a:pt x="1000849" y="393999"/>
                </a:lnTo>
                <a:lnTo>
                  <a:pt x="999764" y="396922"/>
                </a:lnTo>
                <a:lnTo>
                  <a:pt x="1001066" y="400063"/>
                </a:lnTo>
                <a:lnTo>
                  <a:pt x="1003453" y="399846"/>
                </a:lnTo>
                <a:lnTo>
                  <a:pt x="1004755" y="396163"/>
                </a:lnTo>
                <a:lnTo>
                  <a:pt x="1008770" y="394216"/>
                </a:lnTo>
                <a:lnTo>
                  <a:pt x="1013545" y="398329"/>
                </a:lnTo>
                <a:lnTo>
                  <a:pt x="1017018" y="398872"/>
                </a:lnTo>
                <a:lnTo>
                  <a:pt x="1017560" y="396272"/>
                </a:lnTo>
                <a:lnTo>
                  <a:pt x="1020164" y="398222"/>
                </a:lnTo>
                <a:lnTo>
                  <a:pt x="1026350" y="402120"/>
                </a:lnTo>
                <a:lnTo>
                  <a:pt x="1037527" y="402230"/>
                </a:lnTo>
                <a:lnTo>
                  <a:pt x="1043604" y="399955"/>
                </a:lnTo>
                <a:lnTo>
                  <a:pt x="1053805" y="391727"/>
                </a:lnTo>
                <a:lnTo>
                  <a:pt x="1058797" y="388696"/>
                </a:lnTo>
                <a:lnTo>
                  <a:pt x="1064982" y="388152"/>
                </a:lnTo>
                <a:lnTo>
                  <a:pt x="1067152" y="386203"/>
                </a:lnTo>
                <a:close/>
                <a:moveTo>
                  <a:pt x="6871382" y="378407"/>
                </a:moveTo>
                <a:lnTo>
                  <a:pt x="6874963" y="379490"/>
                </a:lnTo>
                <a:lnTo>
                  <a:pt x="6875940" y="383605"/>
                </a:lnTo>
                <a:lnTo>
                  <a:pt x="6874312" y="385228"/>
                </a:lnTo>
                <a:lnTo>
                  <a:pt x="6872250" y="385337"/>
                </a:lnTo>
                <a:lnTo>
                  <a:pt x="6869320" y="381656"/>
                </a:lnTo>
                <a:close/>
                <a:moveTo>
                  <a:pt x="6908820" y="377215"/>
                </a:moveTo>
                <a:lnTo>
                  <a:pt x="6911317" y="379273"/>
                </a:lnTo>
                <a:lnTo>
                  <a:pt x="6910231" y="382087"/>
                </a:lnTo>
                <a:lnTo>
                  <a:pt x="6908495" y="382629"/>
                </a:lnTo>
                <a:lnTo>
                  <a:pt x="6907084" y="379273"/>
                </a:lnTo>
                <a:close/>
                <a:moveTo>
                  <a:pt x="2272771" y="376674"/>
                </a:moveTo>
                <a:lnTo>
                  <a:pt x="2275918" y="376674"/>
                </a:lnTo>
                <a:lnTo>
                  <a:pt x="2277112" y="380031"/>
                </a:lnTo>
                <a:lnTo>
                  <a:pt x="2280693" y="381872"/>
                </a:lnTo>
                <a:lnTo>
                  <a:pt x="2283840" y="380788"/>
                </a:lnTo>
                <a:lnTo>
                  <a:pt x="2286119" y="383279"/>
                </a:lnTo>
                <a:lnTo>
                  <a:pt x="2284708" y="392807"/>
                </a:lnTo>
                <a:lnTo>
                  <a:pt x="2281669" y="396380"/>
                </a:lnTo>
                <a:lnTo>
                  <a:pt x="2281669" y="399736"/>
                </a:lnTo>
                <a:lnTo>
                  <a:pt x="2284165" y="399736"/>
                </a:lnTo>
                <a:lnTo>
                  <a:pt x="2286010" y="397245"/>
                </a:lnTo>
                <a:lnTo>
                  <a:pt x="2288289" y="397245"/>
                </a:lnTo>
                <a:lnTo>
                  <a:pt x="2290677" y="394972"/>
                </a:lnTo>
                <a:lnTo>
                  <a:pt x="2290677" y="387935"/>
                </a:lnTo>
                <a:lnTo>
                  <a:pt x="2294040" y="385011"/>
                </a:lnTo>
                <a:lnTo>
                  <a:pt x="2297621" y="387718"/>
                </a:lnTo>
                <a:lnTo>
                  <a:pt x="2301202" y="386635"/>
                </a:lnTo>
                <a:lnTo>
                  <a:pt x="2301202" y="382412"/>
                </a:lnTo>
                <a:lnTo>
                  <a:pt x="2300226" y="380681"/>
                </a:lnTo>
                <a:lnTo>
                  <a:pt x="2303590" y="380681"/>
                </a:lnTo>
                <a:lnTo>
                  <a:pt x="2305109" y="384145"/>
                </a:lnTo>
                <a:lnTo>
                  <a:pt x="2304349" y="387284"/>
                </a:lnTo>
                <a:lnTo>
                  <a:pt x="2305326" y="389234"/>
                </a:lnTo>
                <a:lnTo>
                  <a:pt x="2304241" y="391399"/>
                </a:lnTo>
                <a:lnTo>
                  <a:pt x="2301745" y="391399"/>
                </a:lnTo>
                <a:lnTo>
                  <a:pt x="2304024" y="395513"/>
                </a:lnTo>
                <a:lnTo>
                  <a:pt x="2308473" y="397029"/>
                </a:lnTo>
                <a:lnTo>
                  <a:pt x="2310318" y="401252"/>
                </a:lnTo>
                <a:lnTo>
                  <a:pt x="2309124" y="405799"/>
                </a:lnTo>
                <a:lnTo>
                  <a:pt x="2304675" y="408831"/>
                </a:lnTo>
                <a:lnTo>
                  <a:pt x="2300660" y="416085"/>
                </a:lnTo>
                <a:lnTo>
                  <a:pt x="2301311" y="421282"/>
                </a:lnTo>
                <a:lnTo>
                  <a:pt x="2300009" y="424422"/>
                </a:lnTo>
                <a:lnTo>
                  <a:pt x="2295776" y="426804"/>
                </a:lnTo>
                <a:lnTo>
                  <a:pt x="2290568" y="432650"/>
                </a:lnTo>
                <a:lnTo>
                  <a:pt x="2289157" y="435357"/>
                </a:lnTo>
                <a:lnTo>
                  <a:pt x="2284600" y="440338"/>
                </a:lnTo>
                <a:lnTo>
                  <a:pt x="2284600" y="442178"/>
                </a:lnTo>
                <a:lnTo>
                  <a:pt x="2283189" y="446076"/>
                </a:lnTo>
                <a:lnTo>
                  <a:pt x="2279934" y="446076"/>
                </a:lnTo>
                <a:lnTo>
                  <a:pt x="2277329" y="445426"/>
                </a:lnTo>
                <a:lnTo>
                  <a:pt x="2274941" y="447268"/>
                </a:lnTo>
                <a:lnTo>
                  <a:pt x="2274941" y="449324"/>
                </a:lnTo>
                <a:lnTo>
                  <a:pt x="2280584" y="452356"/>
                </a:lnTo>
                <a:lnTo>
                  <a:pt x="2280584" y="454738"/>
                </a:lnTo>
                <a:lnTo>
                  <a:pt x="2274941" y="462858"/>
                </a:lnTo>
                <a:lnTo>
                  <a:pt x="2273205" y="465457"/>
                </a:lnTo>
                <a:lnTo>
                  <a:pt x="2273205" y="462425"/>
                </a:lnTo>
                <a:lnTo>
                  <a:pt x="2273205" y="459611"/>
                </a:lnTo>
                <a:lnTo>
                  <a:pt x="2270275" y="458419"/>
                </a:lnTo>
                <a:lnTo>
                  <a:pt x="2267888" y="459718"/>
                </a:lnTo>
                <a:lnTo>
                  <a:pt x="2267888" y="462858"/>
                </a:lnTo>
                <a:lnTo>
                  <a:pt x="2265067" y="464590"/>
                </a:lnTo>
                <a:lnTo>
                  <a:pt x="2262679" y="467730"/>
                </a:lnTo>
                <a:lnTo>
                  <a:pt x="2258013" y="468596"/>
                </a:lnTo>
                <a:lnTo>
                  <a:pt x="2256386" y="472819"/>
                </a:lnTo>
                <a:lnTo>
                  <a:pt x="2259316" y="474443"/>
                </a:lnTo>
                <a:lnTo>
                  <a:pt x="2263439" y="473794"/>
                </a:lnTo>
                <a:lnTo>
                  <a:pt x="2262788" y="476392"/>
                </a:lnTo>
                <a:lnTo>
                  <a:pt x="2260726" y="479207"/>
                </a:lnTo>
                <a:lnTo>
                  <a:pt x="2260726" y="481264"/>
                </a:lnTo>
                <a:lnTo>
                  <a:pt x="2260726" y="485595"/>
                </a:lnTo>
                <a:lnTo>
                  <a:pt x="2259207" y="487544"/>
                </a:lnTo>
                <a:lnTo>
                  <a:pt x="2256494" y="482997"/>
                </a:lnTo>
                <a:lnTo>
                  <a:pt x="2256494" y="478449"/>
                </a:lnTo>
                <a:lnTo>
                  <a:pt x="2255409" y="475850"/>
                </a:lnTo>
                <a:lnTo>
                  <a:pt x="2253781" y="478125"/>
                </a:lnTo>
                <a:lnTo>
                  <a:pt x="2253130" y="481914"/>
                </a:lnTo>
                <a:lnTo>
                  <a:pt x="2254215" y="484946"/>
                </a:lnTo>
                <a:lnTo>
                  <a:pt x="2250851" y="489493"/>
                </a:lnTo>
                <a:lnTo>
                  <a:pt x="2238372" y="488843"/>
                </a:lnTo>
                <a:lnTo>
                  <a:pt x="2237721" y="484946"/>
                </a:lnTo>
                <a:lnTo>
                  <a:pt x="2236201" y="482780"/>
                </a:lnTo>
                <a:lnTo>
                  <a:pt x="2232946" y="486353"/>
                </a:lnTo>
                <a:lnTo>
                  <a:pt x="2229365" y="486353"/>
                </a:lnTo>
                <a:lnTo>
                  <a:pt x="2228714" y="483538"/>
                </a:lnTo>
                <a:lnTo>
                  <a:pt x="2232186" y="479207"/>
                </a:lnTo>
                <a:lnTo>
                  <a:pt x="2226327" y="481698"/>
                </a:lnTo>
                <a:lnTo>
                  <a:pt x="2224590" y="484946"/>
                </a:lnTo>
                <a:lnTo>
                  <a:pt x="2222745" y="484946"/>
                </a:lnTo>
                <a:lnTo>
                  <a:pt x="2220358" y="482563"/>
                </a:lnTo>
                <a:lnTo>
                  <a:pt x="2216018" y="482563"/>
                </a:lnTo>
                <a:lnTo>
                  <a:pt x="2213304" y="479965"/>
                </a:lnTo>
                <a:lnTo>
                  <a:pt x="2213304" y="475310"/>
                </a:lnTo>
                <a:lnTo>
                  <a:pt x="2214716" y="473469"/>
                </a:lnTo>
                <a:lnTo>
                  <a:pt x="2214716" y="471086"/>
                </a:lnTo>
                <a:lnTo>
                  <a:pt x="2216777" y="466431"/>
                </a:lnTo>
                <a:lnTo>
                  <a:pt x="2218514" y="466431"/>
                </a:lnTo>
                <a:lnTo>
                  <a:pt x="2220792" y="469463"/>
                </a:lnTo>
                <a:lnTo>
                  <a:pt x="2222854" y="469463"/>
                </a:lnTo>
                <a:lnTo>
                  <a:pt x="2220250" y="465998"/>
                </a:lnTo>
                <a:lnTo>
                  <a:pt x="2221444" y="463292"/>
                </a:lnTo>
                <a:lnTo>
                  <a:pt x="2217971" y="462425"/>
                </a:lnTo>
                <a:lnTo>
                  <a:pt x="2215366" y="460043"/>
                </a:lnTo>
                <a:lnTo>
                  <a:pt x="2215366" y="457661"/>
                </a:lnTo>
                <a:lnTo>
                  <a:pt x="2214716" y="455929"/>
                </a:lnTo>
                <a:lnTo>
                  <a:pt x="2216451" y="455929"/>
                </a:lnTo>
                <a:lnTo>
                  <a:pt x="2218839" y="458310"/>
                </a:lnTo>
                <a:lnTo>
                  <a:pt x="2220250" y="456578"/>
                </a:lnTo>
                <a:lnTo>
                  <a:pt x="2219599" y="454304"/>
                </a:lnTo>
                <a:lnTo>
                  <a:pt x="2222312" y="452572"/>
                </a:lnTo>
                <a:lnTo>
                  <a:pt x="2225892" y="453980"/>
                </a:lnTo>
                <a:lnTo>
                  <a:pt x="2233271" y="455712"/>
                </a:lnTo>
                <a:lnTo>
                  <a:pt x="2235551" y="454304"/>
                </a:lnTo>
                <a:lnTo>
                  <a:pt x="2232946" y="452031"/>
                </a:lnTo>
                <a:lnTo>
                  <a:pt x="2231535" y="452031"/>
                </a:lnTo>
                <a:lnTo>
                  <a:pt x="2238806" y="450949"/>
                </a:lnTo>
                <a:lnTo>
                  <a:pt x="2243472" y="448350"/>
                </a:lnTo>
                <a:lnTo>
                  <a:pt x="2249332" y="448350"/>
                </a:lnTo>
                <a:lnTo>
                  <a:pt x="2254541" y="449000"/>
                </a:lnTo>
                <a:lnTo>
                  <a:pt x="2258013" y="446617"/>
                </a:lnTo>
                <a:lnTo>
                  <a:pt x="2255409" y="444560"/>
                </a:lnTo>
                <a:lnTo>
                  <a:pt x="2236093" y="441096"/>
                </a:lnTo>
                <a:lnTo>
                  <a:pt x="2231318" y="441096"/>
                </a:lnTo>
                <a:lnTo>
                  <a:pt x="2227737" y="439364"/>
                </a:lnTo>
                <a:lnTo>
                  <a:pt x="2221335" y="440229"/>
                </a:lnTo>
                <a:lnTo>
                  <a:pt x="2216343" y="437631"/>
                </a:lnTo>
                <a:lnTo>
                  <a:pt x="2213413" y="438281"/>
                </a:lnTo>
                <a:lnTo>
                  <a:pt x="2210266" y="436873"/>
                </a:lnTo>
                <a:lnTo>
                  <a:pt x="2205925" y="436873"/>
                </a:lnTo>
                <a:lnTo>
                  <a:pt x="2203864" y="438389"/>
                </a:lnTo>
                <a:lnTo>
                  <a:pt x="2201477" y="437306"/>
                </a:lnTo>
                <a:lnTo>
                  <a:pt x="2198764" y="437306"/>
                </a:lnTo>
                <a:lnTo>
                  <a:pt x="2196919" y="435466"/>
                </a:lnTo>
                <a:lnTo>
                  <a:pt x="2196919" y="430160"/>
                </a:lnTo>
                <a:lnTo>
                  <a:pt x="2200500" y="430810"/>
                </a:lnTo>
                <a:lnTo>
                  <a:pt x="2203212" y="428211"/>
                </a:lnTo>
                <a:lnTo>
                  <a:pt x="2205925" y="429944"/>
                </a:lnTo>
                <a:lnTo>
                  <a:pt x="2208638" y="428861"/>
                </a:lnTo>
                <a:lnTo>
                  <a:pt x="2206793" y="426263"/>
                </a:lnTo>
                <a:lnTo>
                  <a:pt x="2208205" y="423122"/>
                </a:lnTo>
                <a:lnTo>
                  <a:pt x="2210809" y="421066"/>
                </a:lnTo>
                <a:lnTo>
                  <a:pt x="2215475" y="421066"/>
                </a:lnTo>
                <a:lnTo>
                  <a:pt x="2217754" y="419982"/>
                </a:lnTo>
                <a:lnTo>
                  <a:pt x="2217754" y="424097"/>
                </a:lnTo>
                <a:lnTo>
                  <a:pt x="2220141" y="425505"/>
                </a:lnTo>
                <a:lnTo>
                  <a:pt x="2220141" y="432001"/>
                </a:lnTo>
                <a:lnTo>
                  <a:pt x="2221877" y="432976"/>
                </a:lnTo>
                <a:lnTo>
                  <a:pt x="2223939" y="430377"/>
                </a:lnTo>
                <a:lnTo>
                  <a:pt x="2223288" y="425721"/>
                </a:lnTo>
                <a:lnTo>
                  <a:pt x="2220901" y="422473"/>
                </a:lnTo>
                <a:lnTo>
                  <a:pt x="2222420" y="418575"/>
                </a:lnTo>
                <a:lnTo>
                  <a:pt x="2227412" y="416843"/>
                </a:lnTo>
                <a:lnTo>
                  <a:pt x="2227412" y="414244"/>
                </a:lnTo>
                <a:lnTo>
                  <a:pt x="2223397" y="412728"/>
                </a:lnTo>
                <a:lnTo>
                  <a:pt x="2224807" y="406557"/>
                </a:lnTo>
                <a:lnTo>
                  <a:pt x="2229473" y="404825"/>
                </a:lnTo>
                <a:lnTo>
                  <a:pt x="2230450" y="401901"/>
                </a:lnTo>
                <a:lnTo>
                  <a:pt x="2235225" y="400386"/>
                </a:lnTo>
                <a:lnTo>
                  <a:pt x="2232621" y="397138"/>
                </a:lnTo>
                <a:lnTo>
                  <a:pt x="2230233" y="397138"/>
                </a:lnTo>
                <a:lnTo>
                  <a:pt x="2227846" y="396272"/>
                </a:lnTo>
                <a:lnTo>
                  <a:pt x="2228497" y="393564"/>
                </a:lnTo>
                <a:lnTo>
                  <a:pt x="2232838" y="389884"/>
                </a:lnTo>
                <a:lnTo>
                  <a:pt x="2233923" y="387935"/>
                </a:lnTo>
                <a:lnTo>
                  <a:pt x="2239240" y="387935"/>
                </a:lnTo>
                <a:lnTo>
                  <a:pt x="2241302" y="389559"/>
                </a:lnTo>
                <a:lnTo>
                  <a:pt x="2241953" y="393673"/>
                </a:lnTo>
                <a:lnTo>
                  <a:pt x="2244232" y="395946"/>
                </a:lnTo>
                <a:lnTo>
                  <a:pt x="2244232" y="399736"/>
                </a:lnTo>
                <a:lnTo>
                  <a:pt x="2243038" y="401468"/>
                </a:lnTo>
                <a:lnTo>
                  <a:pt x="2244232" y="404933"/>
                </a:lnTo>
                <a:lnTo>
                  <a:pt x="2246945" y="408074"/>
                </a:lnTo>
                <a:lnTo>
                  <a:pt x="2248355" y="421066"/>
                </a:lnTo>
                <a:lnTo>
                  <a:pt x="2247270" y="425288"/>
                </a:lnTo>
                <a:lnTo>
                  <a:pt x="2247270" y="427670"/>
                </a:lnTo>
                <a:lnTo>
                  <a:pt x="2251393" y="430269"/>
                </a:lnTo>
                <a:lnTo>
                  <a:pt x="2256168" y="426696"/>
                </a:lnTo>
                <a:lnTo>
                  <a:pt x="2253890" y="423447"/>
                </a:lnTo>
                <a:lnTo>
                  <a:pt x="2255192" y="416410"/>
                </a:lnTo>
                <a:lnTo>
                  <a:pt x="2259098" y="415543"/>
                </a:lnTo>
                <a:lnTo>
                  <a:pt x="2259098" y="411754"/>
                </a:lnTo>
                <a:lnTo>
                  <a:pt x="2251720" y="406666"/>
                </a:lnTo>
                <a:lnTo>
                  <a:pt x="2252696" y="404500"/>
                </a:lnTo>
                <a:lnTo>
                  <a:pt x="2256386" y="404500"/>
                </a:lnTo>
                <a:lnTo>
                  <a:pt x="2260617" y="406991"/>
                </a:lnTo>
                <a:lnTo>
                  <a:pt x="2259749" y="403525"/>
                </a:lnTo>
                <a:lnTo>
                  <a:pt x="2255409" y="398762"/>
                </a:lnTo>
                <a:lnTo>
                  <a:pt x="2254106" y="392807"/>
                </a:lnTo>
                <a:lnTo>
                  <a:pt x="2255192" y="390209"/>
                </a:lnTo>
                <a:lnTo>
                  <a:pt x="2255192" y="383929"/>
                </a:lnTo>
                <a:lnTo>
                  <a:pt x="2257904" y="381980"/>
                </a:lnTo>
                <a:lnTo>
                  <a:pt x="2261920" y="381980"/>
                </a:lnTo>
                <a:lnTo>
                  <a:pt x="2263656" y="379598"/>
                </a:lnTo>
                <a:lnTo>
                  <a:pt x="2267780" y="379598"/>
                </a:lnTo>
                <a:cubicBezTo>
                  <a:pt x="2269388" y="378532"/>
                  <a:pt x="2271054" y="377555"/>
                  <a:pt x="2272771" y="376674"/>
                </a:cubicBezTo>
                <a:close/>
                <a:moveTo>
                  <a:pt x="3644531" y="376456"/>
                </a:moveTo>
                <a:lnTo>
                  <a:pt x="3647895" y="379813"/>
                </a:lnTo>
                <a:lnTo>
                  <a:pt x="3647678" y="385118"/>
                </a:lnTo>
                <a:lnTo>
                  <a:pt x="3644422" y="388799"/>
                </a:lnTo>
                <a:lnTo>
                  <a:pt x="3638671" y="388366"/>
                </a:lnTo>
                <a:lnTo>
                  <a:pt x="3637043" y="390315"/>
                </a:lnTo>
                <a:lnTo>
                  <a:pt x="3635198" y="390423"/>
                </a:lnTo>
                <a:lnTo>
                  <a:pt x="3634873" y="386201"/>
                </a:lnTo>
                <a:lnTo>
                  <a:pt x="3636718" y="379705"/>
                </a:lnTo>
                <a:close/>
                <a:moveTo>
                  <a:pt x="6889177" y="374293"/>
                </a:moveTo>
                <a:lnTo>
                  <a:pt x="6894929" y="375916"/>
                </a:lnTo>
                <a:lnTo>
                  <a:pt x="6893301" y="378515"/>
                </a:lnTo>
                <a:lnTo>
                  <a:pt x="6890371" y="378948"/>
                </a:lnTo>
                <a:lnTo>
                  <a:pt x="6887984" y="376566"/>
                </a:lnTo>
                <a:close/>
                <a:moveTo>
                  <a:pt x="4347719" y="373751"/>
                </a:moveTo>
                <a:lnTo>
                  <a:pt x="4350866" y="375592"/>
                </a:lnTo>
                <a:lnTo>
                  <a:pt x="4352385" y="379382"/>
                </a:lnTo>
                <a:lnTo>
                  <a:pt x="4350432" y="381655"/>
                </a:lnTo>
                <a:lnTo>
                  <a:pt x="4347611" y="381546"/>
                </a:lnTo>
                <a:lnTo>
                  <a:pt x="4345224" y="377216"/>
                </a:lnTo>
                <a:lnTo>
                  <a:pt x="4345874" y="374835"/>
                </a:lnTo>
                <a:close/>
                <a:moveTo>
                  <a:pt x="4207081" y="371802"/>
                </a:moveTo>
                <a:lnTo>
                  <a:pt x="4209577" y="372777"/>
                </a:lnTo>
                <a:lnTo>
                  <a:pt x="4211856" y="376674"/>
                </a:lnTo>
                <a:lnTo>
                  <a:pt x="4211530" y="379165"/>
                </a:lnTo>
                <a:lnTo>
                  <a:pt x="4209685" y="381330"/>
                </a:lnTo>
                <a:lnTo>
                  <a:pt x="4208167" y="381655"/>
                </a:lnTo>
                <a:lnTo>
                  <a:pt x="4204260" y="379165"/>
                </a:lnTo>
                <a:lnTo>
                  <a:pt x="4203500" y="376891"/>
                </a:lnTo>
                <a:lnTo>
                  <a:pt x="4204260" y="373969"/>
                </a:lnTo>
                <a:close/>
                <a:moveTo>
                  <a:pt x="2356005" y="371584"/>
                </a:moveTo>
                <a:lnTo>
                  <a:pt x="2361105" y="374183"/>
                </a:lnTo>
                <a:lnTo>
                  <a:pt x="2365771" y="374183"/>
                </a:lnTo>
                <a:lnTo>
                  <a:pt x="2369786" y="378513"/>
                </a:lnTo>
                <a:lnTo>
                  <a:pt x="2377491" y="381004"/>
                </a:lnTo>
                <a:lnTo>
                  <a:pt x="2378250" y="383927"/>
                </a:lnTo>
                <a:lnTo>
                  <a:pt x="2378359" y="388258"/>
                </a:lnTo>
                <a:lnTo>
                  <a:pt x="2380746" y="390640"/>
                </a:lnTo>
                <a:lnTo>
                  <a:pt x="2385955" y="390965"/>
                </a:lnTo>
                <a:lnTo>
                  <a:pt x="2388017" y="388583"/>
                </a:lnTo>
                <a:lnTo>
                  <a:pt x="2391489" y="392697"/>
                </a:lnTo>
                <a:lnTo>
                  <a:pt x="2390079" y="394105"/>
                </a:lnTo>
                <a:lnTo>
                  <a:pt x="2389862" y="404607"/>
                </a:lnTo>
                <a:lnTo>
                  <a:pt x="2392140" y="409262"/>
                </a:lnTo>
                <a:lnTo>
                  <a:pt x="2391272" y="412186"/>
                </a:lnTo>
                <a:lnTo>
                  <a:pt x="2381506" y="421388"/>
                </a:lnTo>
                <a:lnTo>
                  <a:pt x="2378901" y="422471"/>
                </a:lnTo>
                <a:lnTo>
                  <a:pt x="2375646" y="426803"/>
                </a:lnTo>
                <a:lnTo>
                  <a:pt x="2375755" y="430051"/>
                </a:lnTo>
                <a:lnTo>
                  <a:pt x="2379227" y="427994"/>
                </a:lnTo>
                <a:lnTo>
                  <a:pt x="2380421" y="424313"/>
                </a:lnTo>
                <a:lnTo>
                  <a:pt x="2387041" y="420956"/>
                </a:lnTo>
                <a:lnTo>
                  <a:pt x="2391815" y="413702"/>
                </a:lnTo>
                <a:lnTo>
                  <a:pt x="2394745" y="417491"/>
                </a:lnTo>
                <a:lnTo>
                  <a:pt x="2398000" y="416841"/>
                </a:lnTo>
                <a:lnTo>
                  <a:pt x="2402124" y="419873"/>
                </a:lnTo>
                <a:lnTo>
                  <a:pt x="2406464" y="419873"/>
                </a:lnTo>
                <a:lnTo>
                  <a:pt x="2411782" y="416624"/>
                </a:lnTo>
                <a:lnTo>
                  <a:pt x="2416557" y="416409"/>
                </a:lnTo>
                <a:lnTo>
                  <a:pt x="2417859" y="417491"/>
                </a:lnTo>
                <a:lnTo>
                  <a:pt x="2421766" y="417274"/>
                </a:lnTo>
                <a:lnTo>
                  <a:pt x="2427083" y="424205"/>
                </a:lnTo>
                <a:lnTo>
                  <a:pt x="2429036" y="431892"/>
                </a:lnTo>
                <a:lnTo>
                  <a:pt x="2427300" y="435248"/>
                </a:lnTo>
                <a:lnTo>
                  <a:pt x="2424587" y="434814"/>
                </a:lnTo>
                <a:lnTo>
                  <a:pt x="2423502" y="430700"/>
                </a:lnTo>
                <a:lnTo>
                  <a:pt x="2420246" y="430700"/>
                </a:lnTo>
                <a:lnTo>
                  <a:pt x="2416991" y="426803"/>
                </a:lnTo>
                <a:lnTo>
                  <a:pt x="2413518" y="425612"/>
                </a:lnTo>
                <a:lnTo>
                  <a:pt x="2411999" y="428318"/>
                </a:lnTo>
                <a:lnTo>
                  <a:pt x="2414061" y="430700"/>
                </a:lnTo>
                <a:lnTo>
                  <a:pt x="2416231" y="430916"/>
                </a:lnTo>
                <a:lnTo>
                  <a:pt x="2420572" y="435248"/>
                </a:lnTo>
                <a:lnTo>
                  <a:pt x="2421657" y="439361"/>
                </a:lnTo>
                <a:lnTo>
                  <a:pt x="2424587" y="438821"/>
                </a:lnTo>
                <a:lnTo>
                  <a:pt x="2428710" y="443259"/>
                </a:lnTo>
                <a:lnTo>
                  <a:pt x="2438260" y="450514"/>
                </a:lnTo>
                <a:lnTo>
                  <a:pt x="2439888" y="455818"/>
                </a:lnTo>
                <a:lnTo>
                  <a:pt x="2438151" y="459825"/>
                </a:lnTo>
                <a:lnTo>
                  <a:pt x="2433160" y="459825"/>
                </a:lnTo>
                <a:lnTo>
                  <a:pt x="2425781" y="458093"/>
                </a:lnTo>
                <a:lnTo>
                  <a:pt x="2422959" y="454736"/>
                </a:lnTo>
                <a:lnTo>
                  <a:pt x="2420572" y="457551"/>
                </a:lnTo>
                <a:lnTo>
                  <a:pt x="2416557" y="453545"/>
                </a:lnTo>
                <a:lnTo>
                  <a:pt x="2410914" y="452030"/>
                </a:lnTo>
                <a:lnTo>
                  <a:pt x="2406248" y="447265"/>
                </a:lnTo>
                <a:lnTo>
                  <a:pt x="2404077" y="442610"/>
                </a:lnTo>
                <a:lnTo>
                  <a:pt x="2401581" y="442610"/>
                </a:lnTo>
                <a:lnTo>
                  <a:pt x="2401148" y="445641"/>
                </a:lnTo>
                <a:lnTo>
                  <a:pt x="2398543" y="446400"/>
                </a:lnTo>
                <a:lnTo>
                  <a:pt x="2403209" y="448890"/>
                </a:lnTo>
                <a:lnTo>
                  <a:pt x="2408852" y="454736"/>
                </a:lnTo>
                <a:lnTo>
                  <a:pt x="2406464" y="456360"/>
                </a:lnTo>
                <a:lnTo>
                  <a:pt x="2410805" y="456901"/>
                </a:lnTo>
                <a:lnTo>
                  <a:pt x="2414929" y="461449"/>
                </a:lnTo>
                <a:lnTo>
                  <a:pt x="2415580" y="464264"/>
                </a:lnTo>
                <a:lnTo>
                  <a:pt x="2409069" y="464264"/>
                </a:lnTo>
                <a:lnTo>
                  <a:pt x="2405054" y="460150"/>
                </a:lnTo>
                <a:lnTo>
                  <a:pt x="2401907" y="459933"/>
                </a:lnTo>
                <a:lnTo>
                  <a:pt x="2400930" y="463506"/>
                </a:lnTo>
                <a:lnTo>
                  <a:pt x="2398651" y="467296"/>
                </a:lnTo>
                <a:lnTo>
                  <a:pt x="2395830" y="468920"/>
                </a:lnTo>
                <a:lnTo>
                  <a:pt x="2395830" y="471301"/>
                </a:lnTo>
                <a:lnTo>
                  <a:pt x="2401473" y="470219"/>
                </a:lnTo>
                <a:lnTo>
                  <a:pt x="2404403" y="467296"/>
                </a:lnTo>
                <a:lnTo>
                  <a:pt x="2408201" y="467296"/>
                </a:lnTo>
                <a:lnTo>
                  <a:pt x="2408852" y="469569"/>
                </a:lnTo>
                <a:lnTo>
                  <a:pt x="2406248" y="471627"/>
                </a:lnTo>
                <a:lnTo>
                  <a:pt x="2410371" y="471518"/>
                </a:lnTo>
                <a:lnTo>
                  <a:pt x="2412107" y="470111"/>
                </a:lnTo>
                <a:lnTo>
                  <a:pt x="2416231" y="471301"/>
                </a:lnTo>
                <a:lnTo>
                  <a:pt x="2419595" y="469894"/>
                </a:lnTo>
                <a:lnTo>
                  <a:pt x="2420029" y="473467"/>
                </a:lnTo>
                <a:lnTo>
                  <a:pt x="2417641" y="478881"/>
                </a:lnTo>
                <a:lnTo>
                  <a:pt x="2414061" y="480396"/>
                </a:lnTo>
                <a:lnTo>
                  <a:pt x="2414061" y="482995"/>
                </a:lnTo>
                <a:lnTo>
                  <a:pt x="2419595" y="480722"/>
                </a:lnTo>
                <a:lnTo>
                  <a:pt x="2422851" y="484186"/>
                </a:lnTo>
                <a:lnTo>
                  <a:pt x="2420029" y="491224"/>
                </a:lnTo>
                <a:lnTo>
                  <a:pt x="2420029" y="494363"/>
                </a:lnTo>
                <a:lnTo>
                  <a:pt x="2418185" y="498153"/>
                </a:lnTo>
                <a:lnTo>
                  <a:pt x="2420029" y="502376"/>
                </a:lnTo>
                <a:lnTo>
                  <a:pt x="2423176" y="502268"/>
                </a:lnTo>
                <a:lnTo>
                  <a:pt x="2422634" y="496529"/>
                </a:lnTo>
                <a:lnTo>
                  <a:pt x="2427517" y="491007"/>
                </a:lnTo>
                <a:lnTo>
                  <a:pt x="2432617" y="489708"/>
                </a:lnTo>
                <a:lnTo>
                  <a:pt x="2432834" y="494797"/>
                </a:lnTo>
                <a:lnTo>
                  <a:pt x="2433377" y="497070"/>
                </a:lnTo>
                <a:lnTo>
                  <a:pt x="2431966" y="501401"/>
                </a:lnTo>
                <a:lnTo>
                  <a:pt x="2435222" y="501401"/>
                </a:lnTo>
                <a:lnTo>
                  <a:pt x="2437935" y="499344"/>
                </a:lnTo>
                <a:lnTo>
                  <a:pt x="2442492" y="500534"/>
                </a:lnTo>
                <a:lnTo>
                  <a:pt x="2442926" y="503459"/>
                </a:lnTo>
                <a:lnTo>
                  <a:pt x="2441298" y="506381"/>
                </a:lnTo>
                <a:lnTo>
                  <a:pt x="2445205" y="507681"/>
                </a:lnTo>
                <a:lnTo>
                  <a:pt x="2446399" y="504974"/>
                </a:lnTo>
                <a:lnTo>
                  <a:pt x="2445422" y="501726"/>
                </a:lnTo>
                <a:lnTo>
                  <a:pt x="2451065" y="498477"/>
                </a:lnTo>
                <a:lnTo>
                  <a:pt x="2452584" y="500968"/>
                </a:lnTo>
                <a:lnTo>
                  <a:pt x="2452150" y="504000"/>
                </a:lnTo>
                <a:lnTo>
                  <a:pt x="2457142" y="509629"/>
                </a:lnTo>
                <a:lnTo>
                  <a:pt x="2456925" y="513203"/>
                </a:lnTo>
                <a:lnTo>
                  <a:pt x="2451933" y="515152"/>
                </a:lnTo>
                <a:lnTo>
                  <a:pt x="2454646" y="516667"/>
                </a:lnTo>
                <a:lnTo>
                  <a:pt x="2460940" y="515152"/>
                </a:lnTo>
                <a:lnTo>
                  <a:pt x="2464196" y="516018"/>
                </a:lnTo>
                <a:lnTo>
                  <a:pt x="2466040" y="519049"/>
                </a:lnTo>
                <a:lnTo>
                  <a:pt x="2471032" y="520132"/>
                </a:lnTo>
                <a:lnTo>
                  <a:pt x="2467234" y="516884"/>
                </a:lnTo>
                <a:lnTo>
                  <a:pt x="2467451" y="513203"/>
                </a:lnTo>
                <a:lnTo>
                  <a:pt x="2464196" y="509954"/>
                </a:lnTo>
                <a:lnTo>
                  <a:pt x="2465497" y="508546"/>
                </a:lnTo>
                <a:lnTo>
                  <a:pt x="2475915" y="510171"/>
                </a:lnTo>
                <a:lnTo>
                  <a:pt x="2480365" y="508763"/>
                </a:lnTo>
                <a:lnTo>
                  <a:pt x="2482426" y="510820"/>
                </a:lnTo>
                <a:lnTo>
                  <a:pt x="2482426" y="513960"/>
                </a:lnTo>
                <a:lnTo>
                  <a:pt x="2484379" y="512228"/>
                </a:lnTo>
                <a:lnTo>
                  <a:pt x="2484162" y="509305"/>
                </a:lnTo>
                <a:lnTo>
                  <a:pt x="2489697" y="508439"/>
                </a:lnTo>
                <a:lnTo>
                  <a:pt x="2494146" y="506706"/>
                </a:lnTo>
                <a:lnTo>
                  <a:pt x="2497944" y="509089"/>
                </a:lnTo>
                <a:lnTo>
                  <a:pt x="2500331" y="512012"/>
                </a:lnTo>
                <a:lnTo>
                  <a:pt x="2502285" y="507572"/>
                </a:lnTo>
                <a:lnTo>
                  <a:pt x="2507602" y="507356"/>
                </a:lnTo>
                <a:lnTo>
                  <a:pt x="2510207" y="506165"/>
                </a:lnTo>
                <a:lnTo>
                  <a:pt x="2513462" y="506489"/>
                </a:lnTo>
                <a:lnTo>
                  <a:pt x="2517694" y="503783"/>
                </a:lnTo>
                <a:lnTo>
                  <a:pt x="2520299" y="505191"/>
                </a:lnTo>
                <a:lnTo>
                  <a:pt x="2521492" y="508763"/>
                </a:lnTo>
                <a:lnTo>
                  <a:pt x="2529631" y="514393"/>
                </a:lnTo>
                <a:lnTo>
                  <a:pt x="2536901" y="512336"/>
                </a:lnTo>
                <a:lnTo>
                  <a:pt x="2543087" y="512336"/>
                </a:lnTo>
                <a:lnTo>
                  <a:pt x="2546668" y="510171"/>
                </a:lnTo>
                <a:lnTo>
                  <a:pt x="2550467" y="510171"/>
                </a:lnTo>
                <a:lnTo>
                  <a:pt x="2558063" y="516343"/>
                </a:lnTo>
                <a:lnTo>
                  <a:pt x="2559582" y="520673"/>
                </a:lnTo>
                <a:lnTo>
                  <a:pt x="2557194" y="521648"/>
                </a:lnTo>
                <a:lnTo>
                  <a:pt x="2556651" y="524462"/>
                </a:lnTo>
                <a:lnTo>
                  <a:pt x="2558605" y="527278"/>
                </a:lnTo>
                <a:lnTo>
                  <a:pt x="2567829" y="527169"/>
                </a:lnTo>
                <a:lnTo>
                  <a:pt x="2572061" y="529876"/>
                </a:lnTo>
                <a:lnTo>
                  <a:pt x="2571627" y="534315"/>
                </a:lnTo>
                <a:lnTo>
                  <a:pt x="2568914" y="535398"/>
                </a:lnTo>
                <a:lnTo>
                  <a:pt x="2567178" y="539187"/>
                </a:lnTo>
                <a:lnTo>
                  <a:pt x="2571627" y="538213"/>
                </a:lnTo>
                <a:lnTo>
                  <a:pt x="2577378" y="539729"/>
                </a:lnTo>
                <a:lnTo>
                  <a:pt x="2576619" y="541894"/>
                </a:lnTo>
                <a:lnTo>
                  <a:pt x="2573906" y="542652"/>
                </a:lnTo>
                <a:lnTo>
                  <a:pt x="2574991" y="545576"/>
                </a:lnTo>
                <a:lnTo>
                  <a:pt x="2572495" y="550231"/>
                </a:lnTo>
                <a:lnTo>
                  <a:pt x="2573255" y="552938"/>
                </a:lnTo>
                <a:lnTo>
                  <a:pt x="2570650" y="557377"/>
                </a:lnTo>
                <a:lnTo>
                  <a:pt x="2567720" y="557918"/>
                </a:lnTo>
                <a:lnTo>
                  <a:pt x="2565116" y="555537"/>
                </a:lnTo>
                <a:lnTo>
                  <a:pt x="2562403" y="559650"/>
                </a:lnTo>
                <a:lnTo>
                  <a:pt x="2557411" y="561383"/>
                </a:lnTo>
                <a:lnTo>
                  <a:pt x="2554481" y="560192"/>
                </a:lnTo>
                <a:lnTo>
                  <a:pt x="2552203" y="561599"/>
                </a:lnTo>
                <a:lnTo>
                  <a:pt x="2553396" y="565497"/>
                </a:lnTo>
                <a:lnTo>
                  <a:pt x="2558931" y="565173"/>
                </a:lnTo>
                <a:lnTo>
                  <a:pt x="2564139" y="563440"/>
                </a:lnTo>
                <a:lnTo>
                  <a:pt x="2567069" y="565605"/>
                </a:lnTo>
                <a:lnTo>
                  <a:pt x="2566527" y="568745"/>
                </a:lnTo>
                <a:lnTo>
                  <a:pt x="2567829" y="573942"/>
                </a:lnTo>
                <a:lnTo>
                  <a:pt x="2567069" y="576541"/>
                </a:lnTo>
                <a:lnTo>
                  <a:pt x="2564791" y="575242"/>
                </a:lnTo>
                <a:lnTo>
                  <a:pt x="2561644" y="575999"/>
                </a:lnTo>
                <a:lnTo>
                  <a:pt x="2558714" y="575458"/>
                </a:lnTo>
                <a:lnTo>
                  <a:pt x="2556651" y="578706"/>
                </a:lnTo>
                <a:lnTo>
                  <a:pt x="2552745" y="573077"/>
                </a:lnTo>
                <a:lnTo>
                  <a:pt x="2552853" y="570153"/>
                </a:lnTo>
                <a:lnTo>
                  <a:pt x="2550141" y="567230"/>
                </a:lnTo>
                <a:lnTo>
                  <a:pt x="2550141" y="572535"/>
                </a:lnTo>
                <a:lnTo>
                  <a:pt x="2552528" y="577732"/>
                </a:lnTo>
                <a:lnTo>
                  <a:pt x="2552420" y="580439"/>
                </a:lnTo>
                <a:lnTo>
                  <a:pt x="2549490" y="580656"/>
                </a:lnTo>
                <a:lnTo>
                  <a:pt x="2546342" y="586610"/>
                </a:lnTo>
                <a:lnTo>
                  <a:pt x="2546560" y="588992"/>
                </a:lnTo>
                <a:lnTo>
                  <a:pt x="2543847" y="591482"/>
                </a:lnTo>
                <a:lnTo>
                  <a:pt x="2541134" y="589966"/>
                </a:lnTo>
                <a:lnTo>
                  <a:pt x="2536901" y="590508"/>
                </a:lnTo>
                <a:lnTo>
                  <a:pt x="2529631" y="587043"/>
                </a:lnTo>
                <a:lnTo>
                  <a:pt x="2525507" y="587476"/>
                </a:lnTo>
                <a:lnTo>
                  <a:pt x="2517151" y="592998"/>
                </a:lnTo>
                <a:lnTo>
                  <a:pt x="2512703" y="592782"/>
                </a:lnTo>
                <a:lnTo>
                  <a:pt x="2511835" y="590832"/>
                </a:lnTo>
                <a:lnTo>
                  <a:pt x="2507385" y="590832"/>
                </a:lnTo>
                <a:lnTo>
                  <a:pt x="2506517" y="586068"/>
                </a:lnTo>
                <a:lnTo>
                  <a:pt x="2501851" y="588125"/>
                </a:lnTo>
                <a:lnTo>
                  <a:pt x="2497076" y="586610"/>
                </a:lnTo>
                <a:lnTo>
                  <a:pt x="2496208" y="576649"/>
                </a:lnTo>
                <a:lnTo>
                  <a:pt x="2498595" y="570261"/>
                </a:lnTo>
                <a:lnTo>
                  <a:pt x="2502068" y="567230"/>
                </a:lnTo>
                <a:lnTo>
                  <a:pt x="2501742" y="564847"/>
                </a:lnTo>
                <a:lnTo>
                  <a:pt x="2498921" y="564306"/>
                </a:lnTo>
                <a:lnTo>
                  <a:pt x="2498595" y="558568"/>
                </a:lnTo>
                <a:lnTo>
                  <a:pt x="2496751" y="557918"/>
                </a:lnTo>
                <a:lnTo>
                  <a:pt x="2494688" y="561925"/>
                </a:lnTo>
                <a:lnTo>
                  <a:pt x="2496859" y="566580"/>
                </a:lnTo>
                <a:lnTo>
                  <a:pt x="2495231" y="569611"/>
                </a:lnTo>
                <a:lnTo>
                  <a:pt x="2490674" y="573726"/>
                </a:lnTo>
                <a:lnTo>
                  <a:pt x="2490674" y="578706"/>
                </a:lnTo>
                <a:lnTo>
                  <a:pt x="2487418" y="580656"/>
                </a:lnTo>
                <a:lnTo>
                  <a:pt x="2481884" y="582171"/>
                </a:lnTo>
                <a:lnTo>
                  <a:pt x="2480690" y="579464"/>
                </a:lnTo>
                <a:lnTo>
                  <a:pt x="2477543" y="580439"/>
                </a:lnTo>
                <a:lnTo>
                  <a:pt x="2473528" y="581954"/>
                </a:lnTo>
                <a:lnTo>
                  <a:pt x="2466909" y="578166"/>
                </a:lnTo>
                <a:lnTo>
                  <a:pt x="2462459" y="578057"/>
                </a:lnTo>
                <a:lnTo>
                  <a:pt x="2461591" y="574809"/>
                </a:lnTo>
                <a:lnTo>
                  <a:pt x="2462785" y="564956"/>
                </a:lnTo>
                <a:lnTo>
                  <a:pt x="2460940" y="567771"/>
                </a:lnTo>
                <a:lnTo>
                  <a:pt x="2458987" y="574268"/>
                </a:lnTo>
                <a:lnTo>
                  <a:pt x="2453452" y="575242"/>
                </a:lnTo>
                <a:lnTo>
                  <a:pt x="2453452" y="571884"/>
                </a:lnTo>
                <a:lnTo>
                  <a:pt x="2455515" y="568962"/>
                </a:lnTo>
                <a:lnTo>
                  <a:pt x="2454863" y="565173"/>
                </a:lnTo>
                <a:lnTo>
                  <a:pt x="2451608" y="572318"/>
                </a:lnTo>
                <a:lnTo>
                  <a:pt x="2447918" y="574917"/>
                </a:lnTo>
                <a:lnTo>
                  <a:pt x="2441733" y="574809"/>
                </a:lnTo>
                <a:lnTo>
                  <a:pt x="2441624" y="571019"/>
                </a:lnTo>
                <a:lnTo>
                  <a:pt x="2443794" y="569070"/>
                </a:lnTo>
                <a:lnTo>
                  <a:pt x="2444011" y="566364"/>
                </a:lnTo>
                <a:lnTo>
                  <a:pt x="2440539" y="566905"/>
                </a:lnTo>
                <a:lnTo>
                  <a:pt x="2439020" y="569395"/>
                </a:lnTo>
                <a:lnTo>
                  <a:pt x="2437826" y="574051"/>
                </a:lnTo>
                <a:lnTo>
                  <a:pt x="2434570" y="574268"/>
                </a:lnTo>
                <a:lnTo>
                  <a:pt x="2433485" y="569286"/>
                </a:lnTo>
                <a:lnTo>
                  <a:pt x="2434679" y="565173"/>
                </a:lnTo>
                <a:lnTo>
                  <a:pt x="2433485" y="561707"/>
                </a:lnTo>
                <a:lnTo>
                  <a:pt x="2430555" y="565822"/>
                </a:lnTo>
                <a:lnTo>
                  <a:pt x="2430772" y="569611"/>
                </a:lnTo>
                <a:lnTo>
                  <a:pt x="2431749" y="572318"/>
                </a:lnTo>
                <a:lnTo>
                  <a:pt x="2428819" y="574268"/>
                </a:lnTo>
                <a:lnTo>
                  <a:pt x="2425564" y="571884"/>
                </a:lnTo>
                <a:lnTo>
                  <a:pt x="2422091" y="570802"/>
                </a:lnTo>
                <a:lnTo>
                  <a:pt x="2421657" y="568420"/>
                </a:lnTo>
                <a:lnTo>
                  <a:pt x="2423176" y="566148"/>
                </a:lnTo>
                <a:lnTo>
                  <a:pt x="2418293" y="565605"/>
                </a:lnTo>
                <a:lnTo>
                  <a:pt x="2416991" y="569070"/>
                </a:lnTo>
                <a:lnTo>
                  <a:pt x="2411999" y="568637"/>
                </a:lnTo>
                <a:lnTo>
                  <a:pt x="2410589" y="567013"/>
                </a:lnTo>
                <a:lnTo>
                  <a:pt x="2406464" y="567338"/>
                </a:lnTo>
                <a:lnTo>
                  <a:pt x="2402449" y="564090"/>
                </a:lnTo>
                <a:lnTo>
                  <a:pt x="2397350" y="562358"/>
                </a:lnTo>
                <a:lnTo>
                  <a:pt x="2397458" y="558785"/>
                </a:lnTo>
                <a:lnTo>
                  <a:pt x="2400279" y="555861"/>
                </a:lnTo>
                <a:lnTo>
                  <a:pt x="2406464" y="547741"/>
                </a:lnTo>
                <a:lnTo>
                  <a:pt x="2407659" y="542652"/>
                </a:lnTo>
                <a:lnTo>
                  <a:pt x="2406248" y="540378"/>
                </a:lnTo>
                <a:lnTo>
                  <a:pt x="2403535" y="541570"/>
                </a:lnTo>
                <a:lnTo>
                  <a:pt x="2400713" y="548499"/>
                </a:lnTo>
                <a:lnTo>
                  <a:pt x="2398326" y="549473"/>
                </a:lnTo>
                <a:lnTo>
                  <a:pt x="2398000" y="545684"/>
                </a:lnTo>
                <a:lnTo>
                  <a:pt x="2399086" y="544168"/>
                </a:lnTo>
                <a:lnTo>
                  <a:pt x="2398218" y="541461"/>
                </a:lnTo>
                <a:lnTo>
                  <a:pt x="2396155" y="543519"/>
                </a:lnTo>
                <a:lnTo>
                  <a:pt x="2393334" y="543627"/>
                </a:lnTo>
                <a:lnTo>
                  <a:pt x="2393660" y="549148"/>
                </a:lnTo>
                <a:lnTo>
                  <a:pt x="2388126" y="551206"/>
                </a:lnTo>
                <a:lnTo>
                  <a:pt x="2385413" y="553804"/>
                </a:lnTo>
                <a:lnTo>
                  <a:pt x="2379553" y="553154"/>
                </a:lnTo>
                <a:lnTo>
                  <a:pt x="2378359" y="551206"/>
                </a:lnTo>
                <a:lnTo>
                  <a:pt x="2373910" y="552613"/>
                </a:lnTo>
                <a:lnTo>
                  <a:pt x="2369352" y="547091"/>
                </a:lnTo>
                <a:lnTo>
                  <a:pt x="2368918" y="544492"/>
                </a:lnTo>
                <a:lnTo>
                  <a:pt x="2367182" y="542327"/>
                </a:lnTo>
                <a:lnTo>
                  <a:pt x="2367832" y="540054"/>
                </a:lnTo>
                <a:lnTo>
                  <a:pt x="2371957" y="538971"/>
                </a:lnTo>
                <a:lnTo>
                  <a:pt x="2374452" y="532799"/>
                </a:lnTo>
                <a:lnTo>
                  <a:pt x="2372825" y="530958"/>
                </a:lnTo>
                <a:lnTo>
                  <a:pt x="2368592" y="536589"/>
                </a:lnTo>
                <a:lnTo>
                  <a:pt x="2366422" y="536805"/>
                </a:lnTo>
                <a:lnTo>
                  <a:pt x="2364251" y="535073"/>
                </a:lnTo>
                <a:lnTo>
                  <a:pt x="2362733" y="537455"/>
                </a:lnTo>
                <a:lnTo>
                  <a:pt x="2362190" y="541787"/>
                </a:lnTo>
                <a:lnTo>
                  <a:pt x="2359585" y="542327"/>
                </a:lnTo>
                <a:lnTo>
                  <a:pt x="2355787" y="538862"/>
                </a:lnTo>
                <a:lnTo>
                  <a:pt x="2355787" y="535723"/>
                </a:lnTo>
                <a:lnTo>
                  <a:pt x="2352857" y="534857"/>
                </a:lnTo>
                <a:lnTo>
                  <a:pt x="2350796" y="529876"/>
                </a:lnTo>
                <a:lnTo>
                  <a:pt x="2351989" y="525654"/>
                </a:lnTo>
                <a:lnTo>
                  <a:pt x="2355462" y="521107"/>
                </a:lnTo>
                <a:lnTo>
                  <a:pt x="2353183" y="518940"/>
                </a:lnTo>
                <a:lnTo>
                  <a:pt x="2354051" y="515476"/>
                </a:lnTo>
                <a:lnTo>
                  <a:pt x="2358392" y="513636"/>
                </a:lnTo>
                <a:lnTo>
                  <a:pt x="2358392" y="510495"/>
                </a:lnTo>
                <a:lnTo>
                  <a:pt x="2355137" y="509413"/>
                </a:lnTo>
                <a:lnTo>
                  <a:pt x="2354810" y="504324"/>
                </a:lnTo>
                <a:lnTo>
                  <a:pt x="2357307" y="500318"/>
                </a:lnTo>
                <a:lnTo>
                  <a:pt x="2361539" y="497611"/>
                </a:lnTo>
                <a:lnTo>
                  <a:pt x="2361322" y="494472"/>
                </a:lnTo>
                <a:lnTo>
                  <a:pt x="2366314" y="488300"/>
                </a:lnTo>
                <a:lnTo>
                  <a:pt x="2367182" y="484294"/>
                </a:lnTo>
                <a:lnTo>
                  <a:pt x="2373042" y="482995"/>
                </a:lnTo>
                <a:lnTo>
                  <a:pt x="2379553" y="478339"/>
                </a:lnTo>
                <a:lnTo>
                  <a:pt x="2381506" y="472818"/>
                </a:lnTo>
                <a:lnTo>
                  <a:pt x="2381506" y="469569"/>
                </a:lnTo>
                <a:lnTo>
                  <a:pt x="2383025" y="463939"/>
                </a:lnTo>
                <a:lnTo>
                  <a:pt x="2379878" y="459284"/>
                </a:lnTo>
                <a:lnTo>
                  <a:pt x="2379878" y="455169"/>
                </a:lnTo>
                <a:lnTo>
                  <a:pt x="2381831" y="449323"/>
                </a:lnTo>
                <a:lnTo>
                  <a:pt x="2381831" y="440878"/>
                </a:lnTo>
                <a:lnTo>
                  <a:pt x="2383676" y="436547"/>
                </a:lnTo>
                <a:lnTo>
                  <a:pt x="2382700" y="433515"/>
                </a:lnTo>
                <a:lnTo>
                  <a:pt x="2379444" y="432758"/>
                </a:lnTo>
                <a:lnTo>
                  <a:pt x="2374887" y="435356"/>
                </a:lnTo>
                <a:lnTo>
                  <a:pt x="2373042" y="433515"/>
                </a:lnTo>
                <a:lnTo>
                  <a:pt x="2372716" y="436547"/>
                </a:lnTo>
                <a:lnTo>
                  <a:pt x="2370220" y="436763"/>
                </a:lnTo>
                <a:lnTo>
                  <a:pt x="2363926" y="431567"/>
                </a:lnTo>
                <a:lnTo>
                  <a:pt x="2363166" y="428535"/>
                </a:lnTo>
                <a:lnTo>
                  <a:pt x="2358066" y="427452"/>
                </a:lnTo>
                <a:lnTo>
                  <a:pt x="2357307" y="424313"/>
                </a:lnTo>
                <a:lnTo>
                  <a:pt x="2349711" y="427127"/>
                </a:lnTo>
                <a:lnTo>
                  <a:pt x="2346672" y="424528"/>
                </a:lnTo>
                <a:lnTo>
                  <a:pt x="2340270" y="427127"/>
                </a:lnTo>
                <a:lnTo>
                  <a:pt x="2341680" y="423555"/>
                </a:lnTo>
                <a:lnTo>
                  <a:pt x="2344284" y="421606"/>
                </a:lnTo>
                <a:lnTo>
                  <a:pt x="2344284" y="419223"/>
                </a:lnTo>
                <a:lnTo>
                  <a:pt x="2351664" y="419765"/>
                </a:lnTo>
                <a:lnTo>
                  <a:pt x="2353400" y="421606"/>
                </a:lnTo>
                <a:lnTo>
                  <a:pt x="2353509" y="418357"/>
                </a:lnTo>
                <a:lnTo>
                  <a:pt x="2348951" y="416409"/>
                </a:lnTo>
                <a:lnTo>
                  <a:pt x="2343091" y="408721"/>
                </a:lnTo>
                <a:lnTo>
                  <a:pt x="2343959" y="404066"/>
                </a:lnTo>
                <a:lnTo>
                  <a:pt x="2347866" y="404282"/>
                </a:lnTo>
                <a:lnTo>
                  <a:pt x="2350687" y="401684"/>
                </a:lnTo>
                <a:lnTo>
                  <a:pt x="2346346" y="401684"/>
                </a:lnTo>
                <a:lnTo>
                  <a:pt x="2341897" y="393564"/>
                </a:lnTo>
                <a:lnTo>
                  <a:pt x="2337014" y="391506"/>
                </a:lnTo>
                <a:lnTo>
                  <a:pt x="2335495" y="387067"/>
                </a:lnTo>
                <a:lnTo>
                  <a:pt x="2336472" y="382087"/>
                </a:lnTo>
                <a:lnTo>
                  <a:pt x="2341897" y="389666"/>
                </a:lnTo>
                <a:lnTo>
                  <a:pt x="2345153" y="389774"/>
                </a:lnTo>
                <a:lnTo>
                  <a:pt x="2343091" y="385334"/>
                </a:lnTo>
                <a:lnTo>
                  <a:pt x="2339944" y="381004"/>
                </a:lnTo>
                <a:lnTo>
                  <a:pt x="2341897" y="376781"/>
                </a:lnTo>
                <a:lnTo>
                  <a:pt x="2344284" y="376565"/>
                </a:lnTo>
                <a:lnTo>
                  <a:pt x="2345261" y="374833"/>
                </a:lnTo>
                <a:lnTo>
                  <a:pt x="2353942" y="373858"/>
                </a:lnTo>
                <a:close/>
                <a:moveTo>
                  <a:pt x="2284493" y="368879"/>
                </a:moveTo>
                <a:lnTo>
                  <a:pt x="2286446" y="369095"/>
                </a:lnTo>
                <a:lnTo>
                  <a:pt x="2289376" y="372235"/>
                </a:lnTo>
                <a:lnTo>
                  <a:pt x="2290352" y="376459"/>
                </a:lnTo>
                <a:lnTo>
                  <a:pt x="2287964" y="377432"/>
                </a:lnTo>
                <a:lnTo>
                  <a:pt x="2287096" y="374942"/>
                </a:lnTo>
                <a:lnTo>
                  <a:pt x="2284384" y="371044"/>
                </a:lnTo>
                <a:close/>
                <a:moveTo>
                  <a:pt x="2456057" y="367470"/>
                </a:moveTo>
                <a:lnTo>
                  <a:pt x="2459530" y="367579"/>
                </a:lnTo>
                <a:lnTo>
                  <a:pt x="2461917" y="372450"/>
                </a:lnTo>
                <a:lnTo>
                  <a:pt x="2465607" y="372667"/>
                </a:lnTo>
                <a:lnTo>
                  <a:pt x="2467994" y="376240"/>
                </a:lnTo>
                <a:lnTo>
                  <a:pt x="2467343" y="378297"/>
                </a:lnTo>
                <a:lnTo>
                  <a:pt x="2469296" y="380137"/>
                </a:lnTo>
                <a:lnTo>
                  <a:pt x="2468754" y="382953"/>
                </a:lnTo>
                <a:lnTo>
                  <a:pt x="2463979" y="391072"/>
                </a:lnTo>
                <a:lnTo>
                  <a:pt x="2458662" y="393238"/>
                </a:lnTo>
                <a:lnTo>
                  <a:pt x="2453344" y="393130"/>
                </a:lnTo>
                <a:lnTo>
                  <a:pt x="2450089" y="389665"/>
                </a:lnTo>
                <a:lnTo>
                  <a:pt x="2449980" y="385768"/>
                </a:lnTo>
                <a:lnTo>
                  <a:pt x="2448461" y="380679"/>
                </a:lnTo>
                <a:lnTo>
                  <a:pt x="2450414" y="376023"/>
                </a:lnTo>
                <a:lnTo>
                  <a:pt x="2450957" y="371044"/>
                </a:lnTo>
                <a:close/>
                <a:moveTo>
                  <a:pt x="5506242" y="366824"/>
                </a:moveTo>
                <a:lnTo>
                  <a:pt x="5507870" y="368339"/>
                </a:lnTo>
                <a:lnTo>
                  <a:pt x="5508087" y="373751"/>
                </a:lnTo>
                <a:lnTo>
                  <a:pt x="5505374" y="375592"/>
                </a:lnTo>
                <a:lnTo>
                  <a:pt x="5505049" y="379707"/>
                </a:lnTo>
                <a:lnTo>
                  <a:pt x="5500925" y="384471"/>
                </a:lnTo>
                <a:lnTo>
                  <a:pt x="5495933" y="387829"/>
                </a:lnTo>
                <a:lnTo>
                  <a:pt x="5497453" y="385229"/>
                </a:lnTo>
                <a:lnTo>
                  <a:pt x="5497127" y="383064"/>
                </a:lnTo>
                <a:lnTo>
                  <a:pt x="5494957" y="383496"/>
                </a:lnTo>
                <a:lnTo>
                  <a:pt x="5491810" y="387071"/>
                </a:lnTo>
                <a:lnTo>
                  <a:pt x="5487469" y="388586"/>
                </a:lnTo>
                <a:lnTo>
                  <a:pt x="5485082" y="388586"/>
                </a:lnTo>
                <a:lnTo>
                  <a:pt x="5487252" y="383172"/>
                </a:lnTo>
                <a:lnTo>
                  <a:pt x="5491918" y="376784"/>
                </a:lnTo>
                <a:lnTo>
                  <a:pt x="5497778" y="373751"/>
                </a:lnTo>
                <a:lnTo>
                  <a:pt x="5502119" y="370072"/>
                </a:lnTo>
                <a:lnTo>
                  <a:pt x="5503746" y="367907"/>
                </a:lnTo>
                <a:close/>
                <a:moveTo>
                  <a:pt x="2333541" y="366822"/>
                </a:moveTo>
                <a:lnTo>
                  <a:pt x="2336580" y="367795"/>
                </a:lnTo>
                <a:lnTo>
                  <a:pt x="2336580" y="369961"/>
                </a:lnTo>
                <a:lnTo>
                  <a:pt x="2333325" y="370827"/>
                </a:lnTo>
                <a:lnTo>
                  <a:pt x="2331263" y="368879"/>
                </a:lnTo>
                <a:close/>
                <a:moveTo>
                  <a:pt x="2268431" y="364764"/>
                </a:moveTo>
                <a:lnTo>
                  <a:pt x="2275376" y="365630"/>
                </a:lnTo>
                <a:lnTo>
                  <a:pt x="2276896" y="367146"/>
                </a:lnTo>
                <a:lnTo>
                  <a:pt x="2272663" y="368987"/>
                </a:lnTo>
                <a:lnTo>
                  <a:pt x="2268974" y="368987"/>
                </a:lnTo>
                <a:lnTo>
                  <a:pt x="2262029" y="373101"/>
                </a:lnTo>
                <a:lnTo>
                  <a:pt x="2258665" y="372126"/>
                </a:lnTo>
                <a:lnTo>
                  <a:pt x="2253781" y="373209"/>
                </a:lnTo>
                <a:lnTo>
                  <a:pt x="2250526" y="375482"/>
                </a:lnTo>
                <a:lnTo>
                  <a:pt x="2248464" y="373317"/>
                </a:lnTo>
                <a:lnTo>
                  <a:pt x="2248464" y="370611"/>
                </a:lnTo>
                <a:lnTo>
                  <a:pt x="2251068" y="368987"/>
                </a:lnTo>
                <a:lnTo>
                  <a:pt x="2255517" y="367579"/>
                </a:lnTo>
                <a:cubicBezTo>
                  <a:pt x="2256656" y="367909"/>
                  <a:pt x="2257817" y="368162"/>
                  <a:pt x="2258990" y="368337"/>
                </a:cubicBezTo>
                <a:cubicBezTo>
                  <a:pt x="2260453" y="367663"/>
                  <a:pt x="2261836" y="366827"/>
                  <a:pt x="2263114" y="365847"/>
                </a:cubicBezTo>
                <a:close/>
                <a:moveTo>
                  <a:pt x="4424874" y="358269"/>
                </a:moveTo>
                <a:lnTo>
                  <a:pt x="4429214" y="358269"/>
                </a:lnTo>
                <a:lnTo>
                  <a:pt x="4430516" y="360001"/>
                </a:lnTo>
                <a:lnTo>
                  <a:pt x="4430516" y="362167"/>
                </a:lnTo>
                <a:lnTo>
                  <a:pt x="4423788" y="366929"/>
                </a:lnTo>
                <a:lnTo>
                  <a:pt x="4420316" y="368662"/>
                </a:lnTo>
                <a:lnTo>
                  <a:pt x="4414130" y="373967"/>
                </a:lnTo>
                <a:lnTo>
                  <a:pt x="4408814" y="375375"/>
                </a:lnTo>
                <a:lnTo>
                  <a:pt x="4406209" y="374726"/>
                </a:lnTo>
                <a:lnTo>
                  <a:pt x="4405124" y="372777"/>
                </a:lnTo>
                <a:cubicBezTo>
                  <a:pt x="4405557" y="372451"/>
                  <a:pt x="4407837" y="369852"/>
                  <a:pt x="4407837" y="369852"/>
                </a:cubicBezTo>
                <a:lnTo>
                  <a:pt x="4412503" y="368554"/>
                </a:lnTo>
                <a:lnTo>
                  <a:pt x="4416083" y="365847"/>
                </a:lnTo>
                <a:lnTo>
                  <a:pt x="4420208" y="360867"/>
                </a:lnTo>
                <a:close/>
                <a:moveTo>
                  <a:pt x="2203214" y="355669"/>
                </a:moveTo>
                <a:lnTo>
                  <a:pt x="2209507" y="355669"/>
                </a:lnTo>
                <a:lnTo>
                  <a:pt x="2211352" y="357076"/>
                </a:lnTo>
                <a:lnTo>
                  <a:pt x="2213197" y="358266"/>
                </a:lnTo>
                <a:lnTo>
                  <a:pt x="2214173" y="360541"/>
                </a:lnTo>
                <a:lnTo>
                  <a:pt x="2211244" y="362056"/>
                </a:lnTo>
                <a:lnTo>
                  <a:pt x="2210158" y="364654"/>
                </a:lnTo>
                <a:lnTo>
                  <a:pt x="2212112" y="365305"/>
                </a:lnTo>
                <a:lnTo>
                  <a:pt x="2216452" y="365196"/>
                </a:lnTo>
                <a:lnTo>
                  <a:pt x="2216344" y="367361"/>
                </a:lnTo>
                <a:lnTo>
                  <a:pt x="2214608" y="370068"/>
                </a:lnTo>
                <a:lnTo>
                  <a:pt x="2216344" y="373425"/>
                </a:lnTo>
                <a:lnTo>
                  <a:pt x="2216344" y="378080"/>
                </a:lnTo>
                <a:lnTo>
                  <a:pt x="2214716" y="381869"/>
                </a:lnTo>
                <a:lnTo>
                  <a:pt x="2211678" y="383169"/>
                </a:lnTo>
                <a:lnTo>
                  <a:pt x="2209182" y="380354"/>
                </a:lnTo>
                <a:lnTo>
                  <a:pt x="2202454" y="379704"/>
                </a:lnTo>
                <a:lnTo>
                  <a:pt x="2197788" y="378297"/>
                </a:lnTo>
                <a:lnTo>
                  <a:pt x="2196486" y="371909"/>
                </a:lnTo>
                <a:lnTo>
                  <a:pt x="2200175" y="368444"/>
                </a:lnTo>
                <a:lnTo>
                  <a:pt x="2200826" y="365088"/>
                </a:lnTo>
                <a:lnTo>
                  <a:pt x="2199741" y="362489"/>
                </a:lnTo>
                <a:lnTo>
                  <a:pt x="2200392" y="357834"/>
                </a:lnTo>
                <a:close/>
                <a:moveTo>
                  <a:pt x="4268502" y="355344"/>
                </a:moveTo>
                <a:lnTo>
                  <a:pt x="4270021" y="355344"/>
                </a:lnTo>
                <a:lnTo>
                  <a:pt x="4272299" y="358593"/>
                </a:lnTo>
                <a:lnTo>
                  <a:pt x="4277074" y="361299"/>
                </a:lnTo>
                <a:lnTo>
                  <a:pt x="4277943" y="364547"/>
                </a:lnTo>
                <a:lnTo>
                  <a:pt x="4277943" y="373858"/>
                </a:lnTo>
                <a:lnTo>
                  <a:pt x="4276749" y="378838"/>
                </a:lnTo>
                <a:lnTo>
                  <a:pt x="4276749" y="382304"/>
                </a:lnTo>
                <a:lnTo>
                  <a:pt x="4278159" y="384902"/>
                </a:lnTo>
                <a:lnTo>
                  <a:pt x="4279244" y="382195"/>
                </a:lnTo>
                <a:lnTo>
                  <a:pt x="4279244" y="379489"/>
                </a:lnTo>
                <a:lnTo>
                  <a:pt x="4280438" y="379489"/>
                </a:lnTo>
                <a:lnTo>
                  <a:pt x="4281957" y="382195"/>
                </a:lnTo>
                <a:lnTo>
                  <a:pt x="4285213" y="383711"/>
                </a:lnTo>
                <a:lnTo>
                  <a:pt x="4286081" y="380572"/>
                </a:lnTo>
                <a:lnTo>
                  <a:pt x="4286081" y="376458"/>
                </a:lnTo>
                <a:lnTo>
                  <a:pt x="4289011" y="373209"/>
                </a:lnTo>
                <a:lnTo>
                  <a:pt x="4289880" y="370937"/>
                </a:lnTo>
                <a:lnTo>
                  <a:pt x="4288794" y="369204"/>
                </a:lnTo>
                <a:lnTo>
                  <a:pt x="4290856" y="366929"/>
                </a:lnTo>
                <a:lnTo>
                  <a:pt x="4291941" y="366929"/>
                </a:lnTo>
                <a:lnTo>
                  <a:pt x="4292809" y="372235"/>
                </a:lnTo>
                <a:lnTo>
                  <a:pt x="4294871" y="371152"/>
                </a:lnTo>
                <a:lnTo>
                  <a:pt x="4296282" y="367146"/>
                </a:lnTo>
                <a:lnTo>
                  <a:pt x="4298994" y="365198"/>
                </a:lnTo>
                <a:lnTo>
                  <a:pt x="4298994" y="367687"/>
                </a:lnTo>
                <a:lnTo>
                  <a:pt x="4298994" y="370937"/>
                </a:lnTo>
                <a:lnTo>
                  <a:pt x="4298994" y="372992"/>
                </a:lnTo>
                <a:lnTo>
                  <a:pt x="4303010" y="370393"/>
                </a:lnTo>
                <a:lnTo>
                  <a:pt x="4304529" y="371801"/>
                </a:lnTo>
                <a:lnTo>
                  <a:pt x="4304529" y="373967"/>
                </a:lnTo>
                <a:lnTo>
                  <a:pt x="4307893" y="376023"/>
                </a:lnTo>
                <a:lnTo>
                  <a:pt x="4312125" y="376023"/>
                </a:lnTo>
                <a:lnTo>
                  <a:pt x="4315489" y="378189"/>
                </a:lnTo>
                <a:lnTo>
                  <a:pt x="4319939" y="378838"/>
                </a:lnTo>
                <a:lnTo>
                  <a:pt x="4328077" y="378189"/>
                </a:lnTo>
                <a:lnTo>
                  <a:pt x="4330573" y="378189"/>
                </a:lnTo>
                <a:lnTo>
                  <a:pt x="4334371" y="381438"/>
                </a:lnTo>
                <a:lnTo>
                  <a:pt x="4340882" y="381438"/>
                </a:lnTo>
                <a:lnTo>
                  <a:pt x="4342510" y="382521"/>
                </a:lnTo>
                <a:lnTo>
                  <a:pt x="4342510" y="385227"/>
                </a:lnTo>
                <a:lnTo>
                  <a:pt x="4341099" y="387826"/>
                </a:lnTo>
                <a:lnTo>
                  <a:pt x="4341750" y="391290"/>
                </a:lnTo>
                <a:lnTo>
                  <a:pt x="4343269" y="395187"/>
                </a:lnTo>
                <a:lnTo>
                  <a:pt x="4343269" y="398652"/>
                </a:lnTo>
                <a:lnTo>
                  <a:pt x="4341967" y="402442"/>
                </a:lnTo>
                <a:lnTo>
                  <a:pt x="4336976" y="408289"/>
                </a:lnTo>
                <a:lnTo>
                  <a:pt x="4333937" y="412294"/>
                </a:lnTo>
                <a:lnTo>
                  <a:pt x="4330356" y="419765"/>
                </a:lnTo>
                <a:lnTo>
                  <a:pt x="4326992" y="422905"/>
                </a:lnTo>
                <a:lnTo>
                  <a:pt x="4324387" y="425828"/>
                </a:lnTo>
                <a:lnTo>
                  <a:pt x="4325473" y="429509"/>
                </a:lnTo>
                <a:lnTo>
                  <a:pt x="4326558" y="435789"/>
                </a:lnTo>
                <a:lnTo>
                  <a:pt x="4325039" y="437955"/>
                </a:lnTo>
                <a:lnTo>
                  <a:pt x="4320047" y="441527"/>
                </a:lnTo>
                <a:lnTo>
                  <a:pt x="4315598" y="441527"/>
                </a:lnTo>
                <a:lnTo>
                  <a:pt x="4311908" y="439146"/>
                </a:lnTo>
                <a:lnTo>
                  <a:pt x="4308870" y="436547"/>
                </a:lnTo>
                <a:lnTo>
                  <a:pt x="4305940" y="437088"/>
                </a:lnTo>
                <a:lnTo>
                  <a:pt x="4301599" y="441311"/>
                </a:lnTo>
                <a:lnTo>
                  <a:pt x="4299754" y="444452"/>
                </a:lnTo>
                <a:lnTo>
                  <a:pt x="4299754" y="447049"/>
                </a:lnTo>
                <a:lnTo>
                  <a:pt x="4300297" y="449107"/>
                </a:lnTo>
                <a:lnTo>
                  <a:pt x="4298777" y="451379"/>
                </a:lnTo>
                <a:lnTo>
                  <a:pt x="4291615" y="453546"/>
                </a:lnTo>
                <a:lnTo>
                  <a:pt x="4286298" y="452896"/>
                </a:lnTo>
                <a:lnTo>
                  <a:pt x="4281306" y="449323"/>
                </a:lnTo>
                <a:lnTo>
                  <a:pt x="4280330" y="444884"/>
                </a:lnTo>
                <a:lnTo>
                  <a:pt x="4281089" y="440878"/>
                </a:lnTo>
                <a:lnTo>
                  <a:pt x="4281089" y="438389"/>
                </a:lnTo>
                <a:lnTo>
                  <a:pt x="4275012" y="439578"/>
                </a:lnTo>
                <a:lnTo>
                  <a:pt x="4270238" y="439578"/>
                </a:lnTo>
                <a:lnTo>
                  <a:pt x="4263727" y="442068"/>
                </a:lnTo>
                <a:lnTo>
                  <a:pt x="4257216" y="442068"/>
                </a:lnTo>
                <a:lnTo>
                  <a:pt x="4252875" y="443476"/>
                </a:lnTo>
                <a:lnTo>
                  <a:pt x="4249620" y="442393"/>
                </a:lnTo>
                <a:lnTo>
                  <a:pt x="4249620" y="438711"/>
                </a:lnTo>
                <a:lnTo>
                  <a:pt x="4247666" y="434166"/>
                </a:lnTo>
                <a:lnTo>
                  <a:pt x="4245279" y="433407"/>
                </a:lnTo>
                <a:lnTo>
                  <a:pt x="4241372" y="435465"/>
                </a:lnTo>
                <a:lnTo>
                  <a:pt x="4238551" y="434814"/>
                </a:lnTo>
                <a:lnTo>
                  <a:pt x="4229978" y="427235"/>
                </a:lnTo>
                <a:lnTo>
                  <a:pt x="4227156" y="425721"/>
                </a:lnTo>
                <a:lnTo>
                  <a:pt x="4227156" y="423229"/>
                </a:lnTo>
                <a:lnTo>
                  <a:pt x="4233016" y="421498"/>
                </a:lnTo>
                <a:lnTo>
                  <a:pt x="4237574" y="422364"/>
                </a:lnTo>
                <a:lnTo>
                  <a:pt x="4242240" y="425937"/>
                </a:lnTo>
                <a:lnTo>
                  <a:pt x="4244845" y="425937"/>
                </a:lnTo>
                <a:lnTo>
                  <a:pt x="4246039" y="424312"/>
                </a:lnTo>
                <a:lnTo>
                  <a:pt x="4250921" y="426262"/>
                </a:lnTo>
                <a:lnTo>
                  <a:pt x="4253309" y="426262"/>
                </a:lnTo>
                <a:lnTo>
                  <a:pt x="4253309" y="424095"/>
                </a:lnTo>
                <a:lnTo>
                  <a:pt x="4250921" y="422255"/>
                </a:lnTo>
                <a:lnTo>
                  <a:pt x="4243868" y="420416"/>
                </a:lnTo>
                <a:lnTo>
                  <a:pt x="4241915" y="419008"/>
                </a:lnTo>
                <a:lnTo>
                  <a:pt x="4242892" y="417274"/>
                </a:lnTo>
                <a:lnTo>
                  <a:pt x="4247232" y="418249"/>
                </a:lnTo>
                <a:lnTo>
                  <a:pt x="4252875" y="418249"/>
                </a:lnTo>
                <a:lnTo>
                  <a:pt x="4257867" y="419333"/>
                </a:lnTo>
                <a:lnTo>
                  <a:pt x="4260471" y="417817"/>
                </a:lnTo>
                <a:lnTo>
                  <a:pt x="4261991" y="415001"/>
                </a:lnTo>
                <a:lnTo>
                  <a:pt x="4263510" y="413269"/>
                </a:lnTo>
                <a:lnTo>
                  <a:pt x="4263510" y="411320"/>
                </a:lnTo>
                <a:lnTo>
                  <a:pt x="4261556" y="409913"/>
                </a:lnTo>
                <a:lnTo>
                  <a:pt x="4258952" y="409913"/>
                </a:lnTo>
                <a:lnTo>
                  <a:pt x="4255371" y="412510"/>
                </a:lnTo>
                <a:lnTo>
                  <a:pt x="4248752" y="412510"/>
                </a:lnTo>
                <a:lnTo>
                  <a:pt x="4240287" y="413269"/>
                </a:lnTo>
                <a:lnTo>
                  <a:pt x="4237574" y="414352"/>
                </a:lnTo>
                <a:lnTo>
                  <a:pt x="4232256" y="418140"/>
                </a:lnTo>
                <a:lnTo>
                  <a:pt x="4230303" y="418140"/>
                </a:lnTo>
                <a:lnTo>
                  <a:pt x="4227374" y="415867"/>
                </a:lnTo>
                <a:lnTo>
                  <a:pt x="4223575" y="417383"/>
                </a:lnTo>
                <a:lnTo>
                  <a:pt x="4217716" y="417383"/>
                </a:lnTo>
                <a:lnTo>
                  <a:pt x="4213592" y="414785"/>
                </a:lnTo>
                <a:lnTo>
                  <a:pt x="4210120" y="413377"/>
                </a:lnTo>
                <a:lnTo>
                  <a:pt x="4205128" y="405690"/>
                </a:lnTo>
                <a:lnTo>
                  <a:pt x="4205128" y="403092"/>
                </a:lnTo>
                <a:lnTo>
                  <a:pt x="4211530" y="398976"/>
                </a:lnTo>
                <a:lnTo>
                  <a:pt x="4210336" y="397245"/>
                </a:lnTo>
                <a:lnTo>
                  <a:pt x="4206213" y="397245"/>
                </a:lnTo>
                <a:lnTo>
                  <a:pt x="4205019" y="395513"/>
                </a:lnTo>
                <a:lnTo>
                  <a:pt x="4206538" y="392913"/>
                </a:lnTo>
                <a:lnTo>
                  <a:pt x="4203934" y="390315"/>
                </a:lnTo>
                <a:lnTo>
                  <a:pt x="4200570" y="390858"/>
                </a:lnTo>
                <a:lnTo>
                  <a:pt x="4198834" y="386202"/>
                </a:lnTo>
                <a:lnTo>
                  <a:pt x="4202524" y="383170"/>
                </a:lnTo>
                <a:lnTo>
                  <a:pt x="4205779" y="385552"/>
                </a:lnTo>
                <a:lnTo>
                  <a:pt x="4214026" y="384469"/>
                </a:lnTo>
                <a:lnTo>
                  <a:pt x="4215763" y="386526"/>
                </a:lnTo>
                <a:lnTo>
                  <a:pt x="4217824" y="392048"/>
                </a:lnTo>
                <a:lnTo>
                  <a:pt x="4219344" y="392913"/>
                </a:lnTo>
                <a:lnTo>
                  <a:pt x="4220537" y="389449"/>
                </a:lnTo>
                <a:lnTo>
                  <a:pt x="4220537" y="385985"/>
                </a:lnTo>
                <a:lnTo>
                  <a:pt x="4218149" y="382521"/>
                </a:lnTo>
                <a:lnTo>
                  <a:pt x="4217173" y="377323"/>
                </a:lnTo>
                <a:lnTo>
                  <a:pt x="4217173" y="373317"/>
                </a:lnTo>
                <a:lnTo>
                  <a:pt x="4218692" y="374833"/>
                </a:lnTo>
                <a:lnTo>
                  <a:pt x="4220103" y="378948"/>
                </a:lnTo>
                <a:lnTo>
                  <a:pt x="4222816" y="382087"/>
                </a:lnTo>
                <a:lnTo>
                  <a:pt x="4224878" y="380896"/>
                </a:lnTo>
                <a:lnTo>
                  <a:pt x="4223467" y="374726"/>
                </a:lnTo>
                <a:lnTo>
                  <a:pt x="4220754" y="369744"/>
                </a:lnTo>
                <a:lnTo>
                  <a:pt x="4219886" y="364764"/>
                </a:lnTo>
                <a:lnTo>
                  <a:pt x="4220537" y="358269"/>
                </a:lnTo>
                <a:lnTo>
                  <a:pt x="4222924" y="355560"/>
                </a:lnTo>
                <a:lnTo>
                  <a:pt x="4224878" y="356427"/>
                </a:lnTo>
                <a:lnTo>
                  <a:pt x="4226397" y="360325"/>
                </a:lnTo>
                <a:lnTo>
                  <a:pt x="4225312" y="363898"/>
                </a:lnTo>
                <a:lnTo>
                  <a:pt x="4228025" y="366821"/>
                </a:lnTo>
                <a:lnTo>
                  <a:pt x="4229869" y="365954"/>
                </a:lnTo>
                <a:lnTo>
                  <a:pt x="4233125" y="367362"/>
                </a:lnTo>
                <a:lnTo>
                  <a:pt x="4234536" y="371693"/>
                </a:lnTo>
                <a:lnTo>
                  <a:pt x="4237249" y="375483"/>
                </a:lnTo>
                <a:lnTo>
                  <a:pt x="4239853" y="375483"/>
                </a:lnTo>
                <a:lnTo>
                  <a:pt x="4239853" y="377540"/>
                </a:lnTo>
                <a:lnTo>
                  <a:pt x="4239853" y="379922"/>
                </a:lnTo>
                <a:lnTo>
                  <a:pt x="4243108" y="381438"/>
                </a:lnTo>
                <a:lnTo>
                  <a:pt x="4246907" y="378838"/>
                </a:lnTo>
                <a:lnTo>
                  <a:pt x="4248100" y="377107"/>
                </a:lnTo>
                <a:lnTo>
                  <a:pt x="4249945" y="377107"/>
                </a:lnTo>
                <a:lnTo>
                  <a:pt x="4254286" y="374508"/>
                </a:lnTo>
                <a:lnTo>
                  <a:pt x="4256999" y="376023"/>
                </a:lnTo>
                <a:lnTo>
                  <a:pt x="4256999" y="378297"/>
                </a:lnTo>
                <a:lnTo>
                  <a:pt x="4255154" y="381546"/>
                </a:lnTo>
                <a:lnTo>
                  <a:pt x="4255805" y="384686"/>
                </a:lnTo>
                <a:lnTo>
                  <a:pt x="4260146" y="387284"/>
                </a:lnTo>
                <a:lnTo>
                  <a:pt x="4264269" y="390858"/>
                </a:lnTo>
                <a:lnTo>
                  <a:pt x="4265789" y="395295"/>
                </a:lnTo>
                <a:lnTo>
                  <a:pt x="4267633" y="395295"/>
                </a:lnTo>
                <a:lnTo>
                  <a:pt x="4269153" y="391398"/>
                </a:lnTo>
                <a:lnTo>
                  <a:pt x="4266548" y="384902"/>
                </a:lnTo>
                <a:lnTo>
                  <a:pt x="4266548" y="379380"/>
                </a:lnTo>
                <a:lnTo>
                  <a:pt x="4267417" y="375267"/>
                </a:lnTo>
                <a:lnTo>
                  <a:pt x="4267417" y="370827"/>
                </a:lnTo>
                <a:lnTo>
                  <a:pt x="4263944" y="367037"/>
                </a:lnTo>
                <a:lnTo>
                  <a:pt x="4263944" y="362382"/>
                </a:lnTo>
                <a:lnTo>
                  <a:pt x="4266005" y="360866"/>
                </a:lnTo>
                <a:lnTo>
                  <a:pt x="4267958" y="363248"/>
                </a:lnTo>
                <a:lnTo>
                  <a:pt x="4271431" y="364115"/>
                </a:lnTo>
                <a:lnTo>
                  <a:pt x="4270238" y="361190"/>
                </a:lnTo>
                <a:lnTo>
                  <a:pt x="4267633" y="358484"/>
                </a:lnTo>
                <a:close/>
                <a:moveTo>
                  <a:pt x="5404454" y="350365"/>
                </a:moveTo>
                <a:lnTo>
                  <a:pt x="5407819" y="351664"/>
                </a:lnTo>
                <a:lnTo>
                  <a:pt x="5407927" y="354912"/>
                </a:lnTo>
                <a:lnTo>
                  <a:pt x="5405757" y="355455"/>
                </a:lnTo>
                <a:lnTo>
                  <a:pt x="5402501" y="351664"/>
                </a:lnTo>
                <a:close/>
                <a:moveTo>
                  <a:pt x="2763485" y="345925"/>
                </a:moveTo>
                <a:lnTo>
                  <a:pt x="2765655" y="345925"/>
                </a:lnTo>
                <a:lnTo>
                  <a:pt x="2768693" y="347658"/>
                </a:lnTo>
                <a:lnTo>
                  <a:pt x="2768476" y="350580"/>
                </a:lnTo>
                <a:lnTo>
                  <a:pt x="2763810" y="350580"/>
                </a:lnTo>
                <a:lnTo>
                  <a:pt x="2761640" y="347766"/>
                </a:lnTo>
                <a:close/>
                <a:moveTo>
                  <a:pt x="6275083" y="345816"/>
                </a:moveTo>
                <a:lnTo>
                  <a:pt x="6278556" y="346682"/>
                </a:lnTo>
                <a:lnTo>
                  <a:pt x="6284415" y="351772"/>
                </a:lnTo>
                <a:lnTo>
                  <a:pt x="6289950" y="351988"/>
                </a:lnTo>
                <a:lnTo>
                  <a:pt x="6294942" y="353720"/>
                </a:lnTo>
                <a:lnTo>
                  <a:pt x="6301669" y="360216"/>
                </a:lnTo>
                <a:lnTo>
                  <a:pt x="6301344" y="363464"/>
                </a:lnTo>
                <a:lnTo>
                  <a:pt x="6298414" y="363248"/>
                </a:lnTo>
                <a:lnTo>
                  <a:pt x="6293530" y="358808"/>
                </a:lnTo>
                <a:lnTo>
                  <a:pt x="6288105" y="358267"/>
                </a:lnTo>
                <a:lnTo>
                  <a:pt x="6283547" y="354911"/>
                </a:lnTo>
                <a:lnTo>
                  <a:pt x="6278556" y="355019"/>
                </a:lnTo>
                <a:lnTo>
                  <a:pt x="6275843" y="351447"/>
                </a:lnTo>
                <a:lnTo>
                  <a:pt x="6274106" y="347116"/>
                </a:lnTo>
                <a:close/>
                <a:moveTo>
                  <a:pt x="4230087" y="337697"/>
                </a:moveTo>
                <a:lnTo>
                  <a:pt x="4233669" y="338888"/>
                </a:lnTo>
                <a:lnTo>
                  <a:pt x="4238768" y="341811"/>
                </a:lnTo>
                <a:lnTo>
                  <a:pt x="4243760" y="341054"/>
                </a:lnTo>
                <a:lnTo>
                  <a:pt x="4245822" y="342894"/>
                </a:lnTo>
                <a:lnTo>
                  <a:pt x="4243869" y="346250"/>
                </a:lnTo>
                <a:lnTo>
                  <a:pt x="4241807" y="347658"/>
                </a:lnTo>
                <a:lnTo>
                  <a:pt x="4238335" y="346901"/>
                </a:lnTo>
                <a:lnTo>
                  <a:pt x="4230847" y="341054"/>
                </a:lnTo>
                <a:lnTo>
                  <a:pt x="4229002" y="339322"/>
                </a:lnTo>
                <a:close/>
                <a:moveTo>
                  <a:pt x="4693670" y="334665"/>
                </a:moveTo>
                <a:lnTo>
                  <a:pt x="4698879" y="342353"/>
                </a:lnTo>
                <a:lnTo>
                  <a:pt x="4698879" y="347116"/>
                </a:lnTo>
                <a:lnTo>
                  <a:pt x="4704196" y="347982"/>
                </a:lnTo>
                <a:lnTo>
                  <a:pt x="4705390" y="351447"/>
                </a:lnTo>
                <a:lnTo>
                  <a:pt x="4703546" y="354263"/>
                </a:lnTo>
                <a:lnTo>
                  <a:pt x="4696491" y="354263"/>
                </a:lnTo>
                <a:lnTo>
                  <a:pt x="4692910" y="356536"/>
                </a:lnTo>
                <a:lnTo>
                  <a:pt x="4688787" y="356536"/>
                </a:lnTo>
                <a:lnTo>
                  <a:pt x="4687702" y="352422"/>
                </a:lnTo>
                <a:lnTo>
                  <a:pt x="4682927" y="348849"/>
                </a:lnTo>
                <a:lnTo>
                  <a:pt x="4685314" y="347766"/>
                </a:lnTo>
                <a:lnTo>
                  <a:pt x="4690957" y="347766"/>
                </a:lnTo>
                <a:lnTo>
                  <a:pt x="4692476" y="344844"/>
                </a:lnTo>
                <a:lnTo>
                  <a:pt x="4692476" y="336940"/>
                </a:lnTo>
                <a:close/>
                <a:moveTo>
                  <a:pt x="4812495" y="332717"/>
                </a:moveTo>
                <a:lnTo>
                  <a:pt x="4816728" y="332717"/>
                </a:lnTo>
                <a:lnTo>
                  <a:pt x="4821068" y="337155"/>
                </a:lnTo>
                <a:lnTo>
                  <a:pt x="4819006" y="338779"/>
                </a:lnTo>
                <a:lnTo>
                  <a:pt x="4816728" y="337479"/>
                </a:lnTo>
                <a:lnTo>
                  <a:pt x="4811953" y="335965"/>
                </a:lnTo>
                <a:close/>
                <a:moveTo>
                  <a:pt x="2387148" y="331741"/>
                </a:moveTo>
                <a:lnTo>
                  <a:pt x="2390730" y="332932"/>
                </a:lnTo>
                <a:lnTo>
                  <a:pt x="2394203" y="332175"/>
                </a:lnTo>
                <a:lnTo>
                  <a:pt x="2396807" y="332932"/>
                </a:lnTo>
                <a:lnTo>
                  <a:pt x="2397349" y="335531"/>
                </a:lnTo>
                <a:lnTo>
                  <a:pt x="2401473" y="335964"/>
                </a:lnTo>
                <a:lnTo>
                  <a:pt x="2403209" y="334664"/>
                </a:lnTo>
                <a:lnTo>
                  <a:pt x="2406790" y="336722"/>
                </a:lnTo>
                <a:lnTo>
                  <a:pt x="2410371" y="337155"/>
                </a:lnTo>
                <a:lnTo>
                  <a:pt x="2415255" y="343001"/>
                </a:lnTo>
                <a:lnTo>
                  <a:pt x="2418619" y="344951"/>
                </a:lnTo>
                <a:lnTo>
                  <a:pt x="2416774" y="346791"/>
                </a:lnTo>
                <a:lnTo>
                  <a:pt x="2418185" y="349065"/>
                </a:lnTo>
                <a:lnTo>
                  <a:pt x="2421440" y="349065"/>
                </a:lnTo>
                <a:lnTo>
                  <a:pt x="2424913" y="347224"/>
                </a:lnTo>
                <a:lnTo>
                  <a:pt x="2427843" y="351122"/>
                </a:lnTo>
                <a:lnTo>
                  <a:pt x="2430773" y="353504"/>
                </a:lnTo>
                <a:lnTo>
                  <a:pt x="2430231" y="356426"/>
                </a:lnTo>
                <a:lnTo>
                  <a:pt x="2431207" y="358700"/>
                </a:lnTo>
                <a:lnTo>
                  <a:pt x="2429145" y="360541"/>
                </a:lnTo>
                <a:lnTo>
                  <a:pt x="2424045" y="359242"/>
                </a:lnTo>
                <a:lnTo>
                  <a:pt x="2417968" y="364655"/>
                </a:lnTo>
                <a:lnTo>
                  <a:pt x="2413844" y="365738"/>
                </a:lnTo>
                <a:lnTo>
                  <a:pt x="2407984" y="361949"/>
                </a:lnTo>
                <a:lnTo>
                  <a:pt x="2400930" y="361840"/>
                </a:lnTo>
                <a:lnTo>
                  <a:pt x="2394419" y="357185"/>
                </a:lnTo>
                <a:lnTo>
                  <a:pt x="2389102" y="357185"/>
                </a:lnTo>
                <a:lnTo>
                  <a:pt x="2384435" y="354694"/>
                </a:lnTo>
                <a:lnTo>
                  <a:pt x="2381289" y="350580"/>
                </a:lnTo>
                <a:lnTo>
                  <a:pt x="2376297" y="351122"/>
                </a:lnTo>
                <a:lnTo>
                  <a:pt x="2373367" y="350580"/>
                </a:lnTo>
                <a:lnTo>
                  <a:pt x="2372716" y="343543"/>
                </a:lnTo>
                <a:lnTo>
                  <a:pt x="2375212" y="336180"/>
                </a:lnTo>
                <a:lnTo>
                  <a:pt x="2378901" y="332175"/>
                </a:lnTo>
                <a:lnTo>
                  <a:pt x="2383676" y="332390"/>
                </a:lnTo>
                <a:close/>
                <a:moveTo>
                  <a:pt x="2227086" y="327518"/>
                </a:moveTo>
                <a:lnTo>
                  <a:pt x="2234031" y="327518"/>
                </a:lnTo>
                <a:lnTo>
                  <a:pt x="2232295" y="331201"/>
                </a:lnTo>
                <a:lnTo>
                  <a:pt x="2226761" y="332607"/>
                </a:lnTo>
                <a:lnTo>
                  <a:pt x="2223614" y="330334"/>
                </a:lnTo>
                <a:close/>
                <a:moveTo>
                  <a:pt x="4675331" y="327410"/>
                </a:moveTo>
                <a:lnTo>
                  <a:pt x="4679455" y="329793"/>
                </a:lnTo>
                <a:lnTo>
                  <a:pt x="4684772" y="331524"/>
                </a:lnTo>
                <a:lnTo>
                  <a:pt x="4684989" y="335965"/>
                </a:lnTo>
                <a:lnTo>
                  <a:pt x="4682710" y="339862"/>
                </a:lnTo>
                <a:lnTo>
                  <a:pt x="4681733" y="344084"/>
                </a:lnTo>
                <a:lnTo>
                  <a:pt x="4674788" y="340294"/>
                </a:lnTo>
                <a:lnTo>
                  <a:pt x="4673269" y="336180"/>
                </a:lnTo>
                <a:lnTo>
                  <a:pt x="4674246" y="333366"/>
                </a:lnTo>
                <a:close/>
                <a:moveTo>
                  <a:pt x="1962305" y="324162"/>
                </a:moveTo>
                <a:lnTo>
                  <a:pt x="1964367" y="324596"/>
                </a:lnTo>
                <a:lnTo>
                  <a:pt x="1962956" y="328060"/>
                </a:lnTo>
                <a:lnTo>
                  <a:pt x="1955903" y="333474"/>
                </a:lnTo>
                <a:lnTo>
                  <a:pt x="1948524" y="338237"/>
                </a:lnTo>
                <a:lnTo>
                  <a:pt x="1934308" y="348956"/>
                </a:lnTo>
                <a:lnTo>
                  <a:pt x="1929751" y="354694"/>
                </a:lnTo>
                <a:lnTo>
                  <a:pt x="1925953" y="355994"/>
                </a:lnTo>
                <a:lnTo>
                  <a:pt x="1923131" y="355994"/>
                </a:lnTo>
                <a:lnTo>
                  <a:pt x="1920960" y="359025"/>
                </a:lnTo>
                <a:lnTo>
                  <a:pt x="1918899" y="359241"/>
                </a:lnTo>
                <a:lnTo>
                  <a:pt x="1916945" y="354044"/>
                </a:lnTo>
                <a:lnTo>
                  <a:pt x="1913907" y="353179"/>
                </a:lnTo>
                <a:lnTo>
                  <a:pt x="1911303" y="353936"/>
                </a:lnTo>
                <a:lnTo>
                  <a:pt x="1909241" y="352312"/>
                </a:lnTo>
                <a:lnTo>
                  <a:pt x="1911845" y="347007"/>
                </a:lnTo>
                <a:lnTo>
                  <a:pt x="1921286" y="339103"/>
                </a:lnTo>
                <a:lnTo>
                  <a:pt x="1927797" y="337047"/>
                </a:lnTo>
                <a:lnTo>
                  <a:pt x="1931812" y="333798"/>
                </a:lnTo>
                <a:lnTo>
                  <a:pt x="1934742" y="333474"/>
                </a:lnTo>
                <a:lnTo>
                  <a:pt x="1941145" y="328926"/>
                </a:lnTo>
                <a:lnTo>
                  <a:pt x="1948198" y="327735"/>
                </a:lnTo>
                <a:lnTo>
                  <a:pt x="1951779" y="325895"/>
                </a:lnTo>
                <a:lnTo>
                  <a:pt x="1954167" y="326219"/>
                </a:lnTo>
                <a:close/>
                <a:moveTo>
                  <a:pt x="2534405" y="323839"/>
                </a:moveTo>
                <a:lnTo>
                  <a:pt x="2536141" y="325138"/>
                </a:lnTo>
                <a:lnTo>
                  <a:pt x="2534405" y="328169"/>
                </a:lnTo>
                <a:lnTo>
                  <a:pt x="2533862" y="330876"/>
                </a:lnTo>
                <a:lnTo>
                  <a:pt x="2528979" y="335315"/>
                </a:lnTo>
                <a:lnTo>
                  <a:pt x="2527026" y="335748"/>
                </a:lnTo>
                <a:lnTo>
                  <a:pt x="2527786" y="331526"/>
                </a:lnTo>
                <a:lnTo>
                  <a:pt x="2530932" y="328386"/>
                </a:lnTo>
                <a:lnTo>
                  <a:pt x="2531366" y="325246"/>
                </a:lnTo>
                <a:close/>
                <a:moveTo>
                  <a:pt x="6400746" y="322755"/>
                </a:moveTo>
                <a:lnTo>
                  <a:pt x="6404327" y="322755"/>
                </a:lnTo>
                <a:lnTo>
                  <a:pt x="6411054" y="325462"/>
                </a:lnTo>
                <a:lnTo>
                  <a:pt x="6414202" y="323405"/>
                </a:lnTo>
                <a:lnTo>
                  <a:pt x="6418434" y="323405"/>
                </a:lnTo>
                <a:lnTo>
                  <a:pt x="6423101" y="328061"/>
                </a:lnTo>
                <a:lnTo>
                  <a:pt x="6429720" y="329793"/>
                </a:lnTo>
                <a:lnTo>
                  <a:pt x="6436014" y="330334"/>
                </a:lnTo>
                <a:lnTo>
                  <a:pt x="6445671" y="338021"/>
                </a:lnTo>
                <a:lnTo>
                  <a:pt x="6451423" y="345383"/>
                </a:lnTo>
                <a:lnTo>
                  <a:pt x="6453485" y="349931"/>
                </a:lnTo>
                <a:lnTo>
                  <a:pt x="6457718" y="353505"/>
                </a:lnTo>
                <a:lnTo>
                  <a:pt x="6453485" y="357293"/>
                </a:lnTo>
                <a:lnTo>
                  <a:pt x="6448601" y="356101"/>
                </a:lnTo>
                <a:lnTo>
                  <a:pt x="6441005" y="356752"/>
                </a:lnTo>
                <a:lnTo>
                  <a:pt x="6436556" y="359675"/>
                </a:lnTo>
                <a:lnTo>
                  <a:pt x="6425596" y="359567"/>
                </a:lnTo>
                <a:lnTo>
                  <a:pt x="6418977" y="360867"/>
                </a:lnTo>
                <a:lnTo>
                  <a:pt x="6409318" y="360758"/>
                </a:lnTo>
                <a:lnTo>
                  <a:pt x="6402156" y="359135"/>
                </a:lnTo>
                <a:lnTo>
                  <a:pt x="6394886" y="363465"/>
                </a:lnTo>
                <a:lnTo>
                  <a:pt x="6391304" y="368987"/>
                </a:lnTo>
                <a:lnTo>
                  <a:pt x="6388158" y="370719"/>
                </a:lnTo>
                <a:lnTo>
                  <a:pt x="6384685" y="370176"/>
                </a:lnTo>
                <a:lnTo>
                  <a:pt x="6385011" y="366063"/>
                </a:lnTo>
                <a:lnTo>
                  <a:pt x="6389894" y="361948"/>
                </a:lnTo>
                <a:lnTo>
                  <a:pt x="6393041" y="350580"/>
                </a:lnTo>
                <a:lnTo>
                  <a:pt x="6393150" y="340620"/>
                </a:lnTo>
                <a:lnTo>
                  <a:pt x="6391630" y="335423"/>
                </a:lnTo>
                <a:lnTo>
                  <a:pt x="6396947" y="327953"/>
                </a:lnTo>
                <a:close/>
                <a:moveTo>
                  <a:pt x="1896437" y="318748"/>
                </a:moveTo>
                <a:lnTo>
                  <a:pt x="1896437" y="320913"/>
                </a:lnTo>
                <a:lnTo>
                  <a:pt x="1891554" y="324486"/>
                </a:lnTo>
                <a:lnTo>
                  <a:pt x="1891554" y="322646"/>
                </a:lnTo>
                <a:close/>
                <a:moveTo>
                  <a:pt x="4826710" y="316910"/>
                </a:moveTo>
                <a:lnTo>
                  <a:pt x="4830943" y="319183"/>
                </a:lnTo>
                <a:lnTo>
                  <a:pt x="4832787" y="326221"/>
                </a:lnTo>
                <a:lnTo>
                  <a:pt x="4828881" y="333257"/>
                </a:lnTo>
                <a:lnTo>
                  <a:pt x="4823021" y="332717"/>
                </a:lnTo>
                <a:lnTo>
                  <a:pt x="4819006" y="328603"/>
                </a:lnTo>
                <a:lnTo>
                  <a:pt x="4813689" y="325679"/>
                </a:lnTo>
                <a:lnTo>
                  <a:pt x="4814014" y="322756"/>
                </a:lnTo>
                <a:lnTo>
                  <a:pt x="4820742" y="318425"/>
                </a:lnTo>
                <a:close/>
                <a:moveTo>
                  <a:pt x="4737836" y="316585"/>
                </a:moveTo>
                <a:lnTo>
                  <a:pt x="4740657" y="317558"/>
                </a:lnTo>
                <a:lnTo>
                  <a:pt x="4742718" y="321131"/>
                </a:lnTo>
                <a:lnTo>
                  <a:pt x="4742501" y="325787"/>
                </a:lnTo>
                <a:lnTo>
                  <a:pt x="4739572" y="324596"/>
                </a:lnTo>
                <a:lnTo>
                  <a:pt x="4738053" y="320483"/>
                </a:lnTo>
                <a:close/>
                <a:moveTo>
                  <a:pt x="4726009" y="316151"/>
                </a:moveTo>
                <a:lnTo>
                  <a:pt x="4729807" y="320483"/>
                </a:lnTo>
                <a:lnTo>
                  <a:pt x="4733171" y="320374"/>
                </a:lnTo>
                <a:lnTo>
                  <a:pt x="4734256" y="324489"/>
                </a:lnTo>
                <a:lnTo>
                  <a:pt x="4731977" y="330011"/>
                </a:lnTo>
                <a:lnTo>
                  <a:pt x="4727203" y="333366"/>
                </a:lnTo>
                <a:lnTo>
                  <a:pt x="4720149" y="331634"/>
                </a:lnTo>
                <a:lnTo>
                  <a:pt x="4718087" y="328929"/>
                </a:lnTo>
                <a:lnTo>
                  <a:pt x="4722210" y="325790"/>
                </a:lnTo>
                <a:lnTo>
                  <a:pt x="4722210" y="322432"/>
                </a:lnTo>
                <a:lnTo>
                  <a:pt x="4719823" y="318641"/>
                </a:lnTo>
                <a:lnTo>
                  <a:pt x="4723187" y="316369"/>
                </a:lnTo>
                <a:close/>
                <a:moveTo>
                  <a:pt x="2014611" y="313876"/>
                </a:moveTo>
                <a:lnTo>
                  <a:pt x="2018735" y="314850"/>
                </a:lnTo>
                <a:lnTo>
                  <a:pt x="2026331" y="314525"/>
                </a:lnTo>
                <a:lnTo>
                  <a:pt x="2031214" y="318640"/>
                </a:lnTo>
                <a:lnTo>
                  <a:pt x="2033276" y="325895"/>
                </a:lnTo>
                <a:lnTo>
                  <a:pt x="2029478" y="327952"/>
                </a:lnTo>
                <a:lnTo>
                  <a:pt x="2025680" y="333798"/>
                </a:lnTo>
                <a:lnTo>
                  <a:pt x="2026982" y="337912"/>
                </a:lnTo>
                <a:lnTo>
                  <a:pt x="2036206" y="337371"/>
                </a:lnTo>
                <a:lnTo>
                  <a:pt x="2039136" y="335531"/>
                </a:lnTo>
                <a:lnTo>
                  <a:pt x="2042065" y="337371"/>
                </a:lnTo>
                <a:lnTo>
                  <a:pt x="2044996" y="337371"/>
                </a:lnTo>
                <a:lnTo>
                  <a:pt x="2046515" y="340511"/>
                </a:lnTo>
                <a:lnTo>
                  <a:pt x="2047275" y="343218"/>
                </a:lnTo>
                <a:lnTo>
                  <a:pt x="2049988" y="345925"/>
                </a:lnTo>
                <a:lnTo>
                  <a:pt x="2049662" y="349281"/>
                </a:lnTo>
                <a:lnTo>
                  <a:pt x="2046732" y="350796"/>
                </a:lnTo>
                <a:lnTo>
                  <a:pt x="2044996" y="354044"/>
                </a:lnTo>
                <a:lnTo>
                  <a:pt x="2049120" y="359350"/>
                </a:lnTo>
                <a:lnTo>
                  <a:pt x="2049771" y="369202"/>
                </a:lnTo>
                <a:lnTo>
                  <a:pt x="2048143" y="372451"/>
                </a:lnTo>
                <a:lnTo>
                  <a:pt x="2043260" y="370935"/>
                </a:lnTo>
                <a:lnTo>
                  <a:pt x="2038919" y="372667"/>
                </a:lnTo>
                <a:lnTo>
                  <a:pt x="2040112" y="375590"/>
                </a:lnTo>
                <a:lnTo>
                  <a:pt x="2044453" y="374616"/>
                </a:lnTo>
                <a:lnTo>
                  <a:pt x="2049771" y="376890"/>
                </a:lnTo>
                <a:lnTo>
                  <a:pt x="2053026" y="376890"/>
                </a:lnTo>
                <a:lnTo>
                  <a:pt x="2049771" y="386742"/>
                </a:lnTo>
                <a:lnTo>
                  <a:pt x="2046190" y="389774"/>
                </a:lnTo>
                <a:lnTo>
                  <a:pt x="2045864" y="398436"/>
                </a:lnTo>
                <a:lnTo>
                  <a:pt x="2048468" y="399735"/>
                </a:lnTo>
                <a:lnTo>
                  <a:pt x="2053786" y="398436"/>
                </a:lnTo>
                <a:lnTo>
                  <a:pt x="2056499" y="395188"/>
                </a:lnTo>
                <a:lnTo>
                  <a:pt x="2058560" y="397245"/>
                </a:lnTo>
                <a:lnTo>
                  <a:pt x="2059645" y="400601"/>
                </a:lnTo>
                <a:lnTo>
                  <a:pt x="2064963" y="401359"/>
                </a:lnTo>
                <a:lnTo>
                  <a:pt x="2067676" y="400601"/>
                </a:lnTo>
                <a:lnTo>
                  <a:pt x="2076357" y="402874"/>
                </a:lnTo>
                <a:lnTo>
                  <a:pt x="2079830" y="408180"/>
                </a:lnTo>
                <a:lnTo>
                  <a:pt x="2082868" y="407206"/>
                </a:lnTo>
                <a:lnTo>
                  <a:pt x="2082217" y="404066"/>
                </a:lnTo>
                <a:lnTo>
                  <a:pt x="2080698" y="402659"/>
                </a:lnTo>
                <a:lnTo>
                  <a:pt x="2087860" y="399085"/>
                </a:lnTo>
                <a:lnTo>
                  <a:pt x="2086015" y="391181"/>
                </a:lnTo>
                <a:lnTo>
                  <a:pt x="2081675" y="386418"/>
                </a:lnTo>
                <a:lnTo>
                  <a:pt x="2082000" y="382953"/>
                </a:lnTo>
                <a:lnTo>
                  <a:pt x="2079287" y="378947"/>
                </a:lnTo>
                <a:lnTo>
                  <a:pt x="2081457" y="376565"/>
                </a:lnTo>
                <a:lnTo>
                  <a:pt x="2084387" y="376565"/>
                </a:lnTo>
                <a:lnTo>
                  <a:pt x="2091333" y="373858"/>
                </a:lnTo>
                <a:lnTo>
                  <a:pt x="2096324" y="374292"/>
                </a:lnTo>
                <a:lnTo>
                  <a:pt x="2098712" y="367578"/>
                </a:lnTo>
                <a:lnTo>
                  <a:pt x="2095673" y="360541"/>
                </a:lnTo>
                <a:lnTo>
                  <a:pt x="2093394" y="358159"/>
                </a:lnTo>
                <a:lnTo>
                  <a:pt x="2093720" y="352854"/>
                </a:lnTo>
                <a:lnTo>
                  <a:pt x="2091549" y="347223"/>
                </a:lnTo>
                <a:lnTo>
                  <a:pt x="2095782" y="341160"/>
                </a:lnTo>
                <a:lnTo>
                  <a:pt x="2099580" y="338778"/>
                </a:lnTo>
                <a:lnTo>
                  <a:pt x="2101967" y="339645"/>
                </a:lnTo>
                <a:lnTo>
                  <a:pt x="2106850" y="339754"/>
                </a:lnTo>
                <a:lnTo>
                  <a:pt x="2105656" y="337047"/>
                </a:lnTo>
                <a:lnTo>
                  <a:pt x="2107718" y="332932"/>
                </a:lnTo>
                <a:lnTo>
                  <a:pt x="2113253" y="330983"/>
                </a:lnTo>
                <a:lnTo>
                  <a:pt x="2123888" y="321023"/>
                </a:lnTo>
                <a:lnTo>
                  <a:pt x="2127034" y="321347"/>
                </a:lnTo>
                <a:lnTo>
                  <a:pt x="2133762" y="324595"/>
                </a:lnTo>
                <a:lnTo>
                  <a:pt x="2132677" y="327411"/>
                </a:lnTo>
                <a:lnTo>
                  <a:pt x="2134631" y="331201"/>
                </a:lnTo>
                <a:lnTo>
                  <a:pt x="2133220" y="334123"/>
                </a:lnTo>
                <a:lnTo>
                  <a:pt x="2128879" y="334231"/>
                </a:lnTo>
                <a:lnTo>
                  <a:pt x="2126166" y="337047"/>
                </a:lnTo>
                <a:lnTo>
                  <a:pt x="2126166" y="340836"/>
                </a:lnTo>
                <a:lnTo>
                  <a:pt x="2124755" y="345492"/>
                </a:lnTo>
                <a:lnTo>
                  <a:pt x="2124755" y="351338"/>
                </a:lnTo>
                <a:lnTo>
                  <a:pt x="2126166" y="353070"/>
                </a:lnTo>
                <a:lnTo>
                  <a:pt x="2126166" y="364547"/>
                </a:lnTo>
                <a:lnTo>
                  <a:pt x="2123888" y="366604"/>
                </a:lnTo>
                <a:lnTo>
                  <a:pt x="2121500" y="366604"/>
                </a:lnTo>
                <a:lnTo>
                  <a:pt x="2114772" y="372667"/>
                </a:lnTo>
                <a:lnTo>
                  <a:pt x="2110974" y="375374"/>
                </a:lnTo>
                <a:lnTo>
                  <a:pt x="2110974" y="377106"/>
                </a:lnTo>
                <a:lnTo>
                  <a:pt x="2113361" y="377215"/>
                </a:lnTo>
                <a:lnTo>
                  <a:pt x="2117485" y="376024"/>
                </a:lnTo>
                <a:lnTo>
                  <a:pt x="2124430" y="376457"/>
                </a:lnTo>
                <a:lnTo>
                  <a:pt x="2125623" y="378838"/>
                </a:lnTo>
                <a:lnTo>
                  <a:pt x="2122151" y="384144"/>
                </a:lnTo>
                <a:lnTo>
                  <a:pt x="2114555" y="388475"/>
                </a:lnTo>
                <a:lnTo>
                  <a:pt x="2108044" y="394322"/>
                </a:lnTo>
                <a:lnTo>
                  <a:pt x="2106525" y="398544"/>
                </a:lnTo>
                <a:lnTo>
                  <a:pt x="2108369" y="400926"/>
                </a:lnTo>
                <a:lnTo>
                  <a:pt x="2110648" y="396487"/>
                </a:lnTo>
                <a:lnTo>
                  <a:pt x="2118895" y="392698"/>
                </a:lnTo>
                <a:lnTo>
                  <a:pt x="2121934" y="389666"/>
                </a:lnTo>
                <a:lnTo>
                  <a:pt x="2124864" y="388475"/>
                </a:lnTo>
                <a:lnTo>
                  <a:pt x="2131266" y="391506"/>
                </a:lnTo>
                <a:lnTo>
                  <a:pt x="2130616" y="397569"/>
                </a:lnTo>
                <a:lnTo>
                  <a:pt x="2127034" y="404390"/>
                </a:lnTo>
                <a:lnTo>
                  <a:pt x="2128011" y="406989"/>
                </a:lnTo>
                <a:lnTo>
                  <a:pt x="2132460" y="402225"/>
                </a:lnTo>
                <a:lnTo>
                  <a:pt x="2136259" y="402659"/>
                </a:lnTo>
                <a:lnTo>
                  <a:pt x="2137127" y="399952"/>
                </a:lnTo>
                <a:lnTo>
                  <a:pt x="2136150" y="398761"/>
                </a:lnTo>
                <a:lnTo>
                  <a:pt x="2138863" y="394322"/>
                </a:lnTo>
                <a:lnTo>
                  <a:pt x="2139622" y="389449"/>
                </a:lnTo>
                <a:lnTo>
                  <a:pt x="2147001" y="384144"/>
                </a:lnTo>
                <a:lnTo>
                  <a:pt x="2149931" y="383927"/>
                </a:lnTo>
                <a:lnTo>
                  <a:pt x="2155791" y="387717"/>
                </a:lnTo>
                <a:lnTo>
                  <a:pt x="2158504" y="395295"/>
                </a:lnTo>
                <a:lnTo>
                  <a:pt x="2160566" y="398869"/>
                </a:lnTo>
                <a:lnTo>
                  <a:pt x="2159264" y="405581"/>
                </a:lnTo>
                <a:lnTo>
                  <a:pt x="2153187" y="416841"/>
                </a:lnTo>
                <a:lnTo>
                  <a:pt x="2147653" y="421606"/>
                </a:lnTo>
                <a:lnTo>
                  <a:pt x="2143203" y="423663"/>
                </a:lnTo>
                <a:lnTo>
                  <a:pt x="2139948" y="423988"/>
                </a:lnTo>
                <a:lnTo>
                  <a:pt x="2138754" y="426045"/>
                </a:lnTo>
                <a:lnTo>
                  <a:pt x="2139405" y="429726"/>
                </a:lnTo>
                <a:lnTo>
                  <a:pt x="2134414" y="436547"/>
                </a:lnTo>
                <a:lnTo>
                  <a:pt x="2130616" y="436763"/>
                </a:lnTo>
                <a:lnTo>
                  <a:pt x="2126166" y="440012"/>
                </a:lnTo>
                <a:lnTo>
                  <a:pt x="2126275" y="443909"/>
                </a:lnTo>
                <a:lnTo>
                  <a:pt x="2124538" y="446400"/>
                </a:lnTo>
                <a:lnTo>
                  <a:pt x="2121825" y="446507"/>
                </a:lnTo>
                <a:lnTo>
                  <a:pt x="2119655" y="447807"/>
                </a:lnTo>
                <a:lnTo>
                  <a:pt x="2119655" y="450406"/>
                </a:lnTo>
                <a:lnTo>
                  <a:pt x="2117485" y="451597"/>
                </a:lnTo>
                <a:lnTo>
                  <a:pt x="2114121" y="448781"/>
                </a:lnTo>
                <a:lnTo>
                  <a:pt x="2109998" y="450622"/>
                </a:lnTo>
                <a:lnTo>
                  <a:pt x="2106633" y="449864"/>
                </a:lnTo>
                <a:lnTo>
                  <a:pt x="2098820" y="453762"/>
                </a:lnTo>
                <a:lnTo>
                  <a:pt x="2091766" y="454845"/>
                </a:lnTo>
                <a:lnTo>
                  <a:pt x="2086123" y="452354"/>
                </a:lnTo>
                <a:lnTo>
                  <a:pt x="2084821" y="449215"/>
                </a:lnTo>
                <a:lnTo>
                  <a:pt x="2087643" y="445317"/>
                </a:lnTo>
                <a:lnTo>
                  <a:pt x="2087209" y="442502"/>
                </a:lnTo>
                <a:lnTo>
                  <a:pt x="2085690" y="442177"/>
                </a:lnTo>
                <a:lnTo>
                  <a:pt x="2080698" y="444450"/>
                </a:lnTo>
                <a:lnTo>
                  <a:pt x="2079612" y="447374"/>
                </a:lnTo>
                <a:lnTo>
                  <a:pt x="2075923" y="448781"/>
                </a:lnTo>
                <a:lnTo>
                  <a:pt x="2069955" y="446940"/>
                </a:lnTo>
                <a:lnTo>
                  <a:pt x="2069955" y="444126"/>
                </a:lnTo>
                <a:lnTo>
                  <a:pt x="2071908" y="441636"/>
                </a:lnTo>
                <a:lnTo>
                  <a:pt x="2070606" y="438171"/>
                </a:lnTo>
                <a:lnTo>
                  <a:pt x="2067459" y="437089"/>
                </a:lnTo>
                <a:lnTo>
                  <a:pt x="2067133" y="439903"/>
                </a:lnTo>
                <a:lnTo>
                  <a:pt x="2064312" y="441744"/>
                </a:lnTo>
                <a:lnTo>
                  <a:pt x="2060839" y="441744"/>
                </a:lnTo>
                <a:lnTo>
                  <a:pt x="2053243" y="445101"/>
                </a:lnTo>
                <a:lnTo>
                  <a:pt x="2050964" y="446940"/>
                </a:lnTo>
                <a:lnTo>
                  <a:pt x="2045972" y="446832"/>
                </a:lnTo>
                <a:lnTo>
                  <a:pt x="2044237" y="445209"/>
                </a:lnTo>
                <a:lnTo>
                  <a:pt x="2038159" y="445966"/>
                </a:lnTo>
                <a:lnTo>
                  <a:pt x="2035229" y="443801"/>
                </a:lnTo>
                <a:lnTo>
                  <a:pt x="2033276" y="446616"/>
                </a:lnTo>
                <a:lnTo>
                  <a:pt x="2029803" y="446400"/>
                </a:lnTo>
                <a:lnTo>
                  <a:pt x="2026440" y="448024"/>
                </a:lnTo>
                <a:lnTo>
                  <a:pt x="2025680" y="451813"/>
                </a:lnTo>
                <a:lnTo>
                  <a:pt x="2023292" y="453762"/>
                </a:lnTo>
                <a:lnTo>
                  <a:pt x="2017649" y="453870"/>
                </a:lnTo>
                <a:lnTo>
                  <a:pt x="2016564" y="456360"/>
                </a:lnTo>
                <a:lnTo>
                  <a:pt x="2011681" y="457877"/>
                </a:lnTo>
                <a:lnTo>
                  <a:pt x="2010053" y="457118"/>
                </a:lnTo>
                <a:lnTo>
                  <a:pt x="2005062" y="459283"/>
                </a:lnTo>
                <a:lnTo>
                  <a:pt x="1999744" y="459283"/>
                </a:lnTo>
                <a:lnTo>
                  <a:pt x="1998117" y="456685"/>
                </a:lnTo>
                <a:lnTo>
                  <a:pt x="1991606" y="456794"/>
                </a:lnTo>
                <a:lnTo>
                  <a:pt x="1985312" y="458742"/>
                </a:lnTo>
                <a:lnTo>
                  <a:pt x="1978258" y="458742"/>
                </a:lnTo>
                <a:lnTo>
                  <a:pt x="1971204" y="455278"/>
                </a:lnTo>
                <a:lnTo>
                  <a:pt x="1965019" y="454087"/>
                </a:lnTo>
                <a:lnTo>
                  <a:pt x="1961981" y="449648"/>
                </a:lnTo>
                <a:lnTo>
                  <a:pt x="1957314" y="444667"/>
                </a:lnTo>
                <a:lnTo>
                  <a:pt x="1958725" y="439470"/>
                </a:lnTo>
                <a:lnTo>
                  <a:pt x="1958074" y="435789"/>
                </a:lnTo>
                <a:lnTo>
                  <a:pt x="1958725" y="428210"/>
                </a:lnTo>
                <a:lnTo>
                  <a:pt x="1965887" y="426802"/>
                </a:lnTo>
                <a:lnTo>
                  <a:pt x="1973158" y="428860"/>
                </a:lnTo>
                <a:lnTo>
                  <a:pt x="1976631" y="426478"/>
                </a:lnTo>
                <a:lnTo>
                  <a:pt x="1982165" y="427777"/>
                </a:lnTo>
                <a:lnTo>
                  <a:pt x="1986614" y="427128"/>
                </a:lnTo>
                <a:lnTo>
                  <a:pt x="1992908" y="423663"/>
                </a:lnTo>
                <a:lnTo>
                  <a:pt x="2000395" y="423663"/>
                </a:lnTo>
                <a:lnTo>
                  <a:pt x="2007666" y="426478"/>
                </a:lnTo>
                <a:lnTo>
                  <a:pt x="2013526" y="426478"/>
                </a:lnTo>
                <a:lnTo>
                  <a:pt x="2016673" y="427777"/>
                </a:lnTo>
                <a:lnTo>
                  <a:pt x="2020471" y="424420"/>
                </a:lnTo>
                <a:lnTo>
                  <a:pt x="2032191" y="423988"/>
                </a:lnTo>
                <a:lnTo>
                  <a:pt x="2033276" y="420956"/>
                </a:lnTo>
                <a:lnTo>
                  <a:pt x="2035989" y="418574"/>
                </a:lnTo>
                <a:lnTo>
                  <a:pt x="2034253" y="416084"/>
                </a:lnTo>
                <a:lnTo>
                  <a:pt x="2031214" y="419549"/>
                </a:lnTo>
                <a:lnTo>
                  <a:pt x="2024595" y="419549"/>
                </a:lnTo>
                <a:lnTo>
                  <a:pt x="2024269" y="416841"/>
                </a:lnTo>
                <a:lnTo>
                  <a:pt x="2017324" y="419873"/>
                </a:lnTo>
                <a:lnTo>
                  <a:pt x="2011464" y="419873"/>
                </a:lnTo>
                <a:lnTo>
                  <a:pt x="2011464" y="416084"/>
                </a:lnTo>
                <a:lnTo>
                  <a:pt x="2008426" y="413702"/>
                </a:lnTo>
                <a:lnTo>
                  <a:pt x="2004953" y="416517"/>
                </a:lnTo>
                <a:lnTo>
                  <a:pt x="1999744" y="417166"/>
                </a:lnTo>
                <a:lnTo>
                  <a:pt x="1995946" y="418141"/>
                </a:lnTo>
                <a:lnTo>
                  <a:pt x="1993559" y="416517"/>
                </a:lnTo>
                <a:lnTo>
                  <a:pt x="1989110" y="417491"/>
                </a:lnTo>
                <a:lnTo>
                  <a:pt x="1983141" y="415759"/>
                </a:lnTo>
                <a:lnTo>
                  <a:pt x="1983141" y="411645"/>
                </a:lnTo>
                <a:lnTo>
                  <a:pt x="1988350" y="407855"/>
                </a:lnTo>
                <a:lnTo>
                  <a:pt x="1993884" y="403741"/>
                </a:lnTo>
                <a:lnTo>
                  <a:pt x="1990846" y="403416"/>
                </a:lnTo>
                <a:lnTo>
                  <a:pt x="1985637" y="404390"/>
                </a:lnTo>
                <a:lnTo>
                  <a:pt x="1982490" y="408180"/>
                </a:lnTo>
                <a:lnTo>
                  <a:pt x="1980102" y="403092"/>
                </a:lnTo>
                <a:lnTo>
                  <a:pt x="1978366" y="405040"/>
                </a:lnTo>
                <a:lnTo>
                  <a:pt x="1977716" y="409587"/>
                </a:lnTo>
                <a:lnTo>
                  <a:pt x="1969685" y="413702"/>
                </a:lnTo>
                <a:lnTo>
                  <a:pt x="1968383" y="416841"/>
                </a:lnTo>
                <a:lnTo>
                  <a:pt x="1964259" y="417816"/>
                </a:lnTo>
                <a:lnTo>
                  <a:pt x="1958725" y="414026"/>
                </a:lnTo>
                <a:lnTo>
                  <a:pt x="1959051" y="410237"/>
                </a:lnTo>
                <a:lnTo>
                  <a:pt x="1961438" y="406773"/>
                </a:lnTo>
                <a:lnTo>
                  <a:pt x="1957314" y="407206"/>
                </a:lnTo>
                <a:lnTo>
                  <a:pt x="1955252" y="405473"/>
                </a:lnTo>
                <a:lnTo>
                  <a:pt x="1954601" y="411645"/>
                </a:lnTo>
                <a:lnTo>
                  <a:pt x="1951455" y="414026"/>
                </a:lnTo>
                <a:lnTo>
                  <a:pt x="1947005" y="411969"/>
                </a:lnTo>
                <a:lnTo>
                  <a:pt x="1947331" y="406448"/>
                </a:lnTo>
                <a:lnTo>
                  <a:pt x="1942122" y="402659"/>
                </a:lnTo>
                <a:lnTo>
                  <a:pt x="1943532" y="398869"/>
                </a:lnTo>
                <a:lnTo>
                  <a:pt x="1940711" y="397894"/>
                </a:lnTo>
                <a:lnTo>
                  <a:pt x="1940060" y="402659"/>
                </a:lnTo>
                <a:lnTo>
                  <a:pt x="1937347" y="402333"/>
                </a:lnTo>
                <a:lnTo>
                  <a:pt x="1932464" y="395404"/>
                </a:lnTo>
                <a:lnTo>
                  <a:pt x="1924217" y="390316"/>
                </a:lnTo>
                <a:lnTo>
                  <a:pt x="1924217" y="388259"/>
                </a:lnTo>
                <a:lnTo>
                  <a:pt x="1929751" y="387933"/>
                </a:lnTo>
                <a:lnTo>
                  <a:pt x="1929751" y="383386"/>
                </a:lnTo>
                <a:lnTo>
                  <a:pt x="1927580" y="380355"/>
                </a:lnTo>
                <a:lnTo>
                  <a:pt x="1936913" y="374075"/>
                </a:lnTo>
                <a:lnTo>
                  <a:pt x="1942122" y="372776"/>
                </a:lnTo>
                <a:lnTo>
                  <a:pt x="1944509" y="374075"/>
                </a:lnTo>
                <a:lnTo>
                  <a:pt x="1953191" y="373749"/>
                </a:lnTo>
                <a:lnTo>
                  <a:pt x="1959051" y="377540"/>
                </a:lnTo>
                <a:lnTo>
                  <a:pt x="1964910" y="378297"/>
                </a:lnTo>
                <a:lnTo>
                  <a:pt x="1968383" y="375482"/>
                </a:lnTo>
                <a:lnTo>
                  <a:pt x="1974243" y="375157"/>
                </a:lnTo>
                <a:lnTo>
                  <a:pt x="1979777" y="371367"/>
                </a:lnTo>
                <a:lnTo>
                  <a:pt x="1976304" y="368987"/>
                </a:lnTo>
                <a:lnTo>
                  <a:pt x="1973917" y="366929"/>
                </a:lnTo>
                <a:lnTo>
                  <a:pt x="1968708" y="366929"/>
                </a:lnTo>
                <a:lnTo>
                  <a:pt x="1963825" y="368228"/>
                </a:lnTo>
                <a:lnTo>
                  <a:pt x="1955904" y="365197"/>
                </a:lnTo>
                <a:lnTo>
                  <a:pt x="1950803" y="365197"/>
                </a:lnTo>
                <a:lnTo>
                  <a:pt x="1949393" y="363464"/>
                </a:lnTo>
                <a:lnTo>
                  <a:pt x="1956229" y="356860"/>
                </a:lnTo>
                <a:lnTo>
                  <a:pt x="1961764" y="350364"/>
                </a:lnTo>
                <a:lnTo>
                  <a:pt x="1966647" y="349714"/>
                </a:lnTo>
                <a:lnTo>
                  <a:pt x="1969685" y="350688"/>
                </a:lnTo>
                <a:lnTo>
                  <a:pt x="1978692" y="348956"/>
                </a:lnTo>
                <a:lnTo>
                  <a:pt x="1989110" y="350039"/>
                </a:lnTo>
                <a:lnTo>
                  <a:pt x="1994969" y="351771"/>
                </a:lnTo>
                <a:lnTo>
                  <a:pt x="1997357" y="350688"/>
                </a:lnTo>
                <a:lnTo>
                  <a:pt x="1995946" y="347982"/>
                </a:lnTo>
                <a:lnTo>
                  <a:pt x="1993233" y="347982"/>
                </a:lnTo>
                <a:lnTo>
                  <a:pt x="1988350" y="345492"/>
                </a:lnTo>
                <a:lnTo>
                  <a:pt x="1983575" y="345492"/>
                </a:lnTo>
                <a:lnTo>
                  <a:pt x="1973917" y="342784"/>
                </a:lnTo>
                <a:lnTo>
                  <a:pt x="1970770" y="338671"/>
                </a:lnTo>
                <a:lnTo>
                  <a:pt x="1976304" y="334556"/>
                </a:lnTo>
                <a:lnTo>
                  <a:pt x="1979017" y="330334"/>
                </a:lnTo>
                <a:lnTo>
                  <a:pt x="1982165" y="327952"/>
                </a:lnTo>
                <a:lnTo>
                  <a:pt x="1985312" y="327952"/>
                </a:lnTo>
                <a:lnTo>
                  <a:pt x="1990846" y="325246"/>
                </a:lnTo>
                <a:lnTo>
                  <a:pt x="1994969" y="325246"/>
                </a:lnTo>
                <a:lnTo>
                  <a:pt x="1996706" y="327627"/>
                </a:lnTo>
                <a:lnTo>
                  <a:pt x="2000829" y="327627"/>
                </a:lnTo>
                <a:lnTo>
                  <a:pt x="2005930" y="332065"/>
                </a:lnTo>
                <a:lnTo>
                  <a:pt x="2009077" y="333473"/>
                </a:lnTo>
                <a:lnTo>
                  <a:pt x="2007015" y="329034"/>
                </a:lnTo>
                <a:lnTo>
                  <a:pt x="2001806" y="325246"/>
                </a:lnTo>
                <a:lnTo>
                  <a:pt x="2001155" y="321455"/>
                </a:lnTo>
                <a:lnTo>
                  <a:pt x="1999093" y="319399"/>
                </a:lnTo>
                <a:lnTo>
                  <a:pt x="2001806" y="316583"/>
                </a:lnTo>
                <a:close/>
                <a:moveTo>
                  <a:pt x="4755850" y="309763"/>
                </a:moveTo>
                <a:lnTo>
                  <a:pt x="4757912" y="312470"/>
                </a:lnTo>
                <a:lnTo>
                  <a:pt x="4758563" y="316151"/>
                </a:lnTo>
                <a:lnTo>
                  <a:pt x="4757043" y="318858"/>
                </a:lnTo>
                <a:lnTo>
                  <a:pt x="4753680" y="319618"/>
                </a:lnTo>
                <a:lnTo>
                  <a:pt x="4748688" y="318208"/>
                </a:lnTo>
                <a:lnTo>
                  <a:pt x="4747386" y="315177"/>
                </a:lnTo>
                <a:lnTo>
                  <a:pt x="4750749" y="314094"/>
                </a:lnTo>
                <a:lnTo>
                  <a:pt x="4753462" y="310630"/>
                </a:lnTo>
                <a:close/>
                <a:moveTo>
                  <a:pt x="6366671" y="305325"/>
                </a:moveTo>
                <a:lnTo>
                  <a:pt x="6370035" y="306081"/>
                </a:lnTo>
                <a:lnTo>
                  <a:pt x="6372313" y="311712"/>
                </a:lnTo>
                <a:lnTo>
                  <a:pt x="6378716" y="318208"/>
                </a:lnTo>
                <a:lnTo>
                  <a:pt x="6379694" y="322864"/>
                </a:lnTo>
                <a:lnTo>
                  <a:pt x="6377088" y="326871"/>
                </a:lnTo>
                <a:lnTo>
                  <a:pt x="6375352" y="331525"/>
                </a:lnTo>
                <a:lnTo>
                  <a:pt x="6376437" y="333259"/>
                </a:lnTo>
                <a:lnTo>
                  <a:pt x="6374159" y="335099"/>
                </a:lnTo>
                <a:lnTo>
                  <a:pt x="6369709" y="333042"/>
                </a:lnTo>
                <a:lnTo>
                  <a:pt x="6365369" y="327196"/>
                </a:lnTo>
                <a:lnTo>
                  <a:pt x="6361462" y="326005"/>
                </a:lnTo>
                <a:lnTo>
                  <a:pt x="6359726" y="323081"/>
                </a:lnTo>
                <a:lnTo>
                  <a:pt x="6360485" y="320483"/>
                </a:lnTo>
                <a:lnTo>
                  <a:pt x="6357122" y="315393"/>
                </a:lnTo>
                <a:lnTo>
                  <a:pt x="6356579" y="311279"/>
                </a:lnTo>
                <a:lnTo>
                  <a:pt x="6361137" y="306732"/>
                </a:lnTo>
                <a:close/>
                <a:moveTo>
                  <a:pt x="4739356" y="301642"/>
                </a:moveTo>
                <a:lnTo>
                  <a:pt x="4743154" y="303160"/>
                </a:lnTo>
                <a:lnTo>
                  <a:pt x="4743588" y="305866"/>
                </a:lnTo>
                <a:lnTo>
                  <a:pt x="4742177" y="310847"/>
                </a:lnTo>
                <a:lnTo>
                  <a:pt x="4740224" y="312254"/>
                </a:lnTo>
                <a:lnTo>
                  <a:pt x="4737294" y="309548"/>
                </a:lnTo>
                <a:lnTo>
                  <a:pt x="4738704" y="306190"/>
                </a:lnTo>
                <a:lnTo>
                  <a:pt x="4738379" y="303700"/>
                </a:lnTo>
                <a:close/>
                <a:moveTo>
                  <a:pt x="2434353" y="301425"/>
                </a:moveTo>
                <a:lnTo>
                  <a:pt x="2435330" y="309438"/>
                </a:lnTo>
                <a:lnTo>
                  <a:pt x="2434136" y="313119"/>
                </a:lnTo>
                <a:lnTo>
                  <a:pt x="2431966" y="313444"/>
                </a:lnTo>
                <a:lnTo>
                  <a:pt x="2430664" y="309655"/>
                </a:lnTo>
                <a:lnTo>
                  <a:pt x="2430555" y="304132"/>
                </a:lnTo>
                <a:lnTo>
                  <a:pt x="2431748" y="301534"/>
                </a:lnTo>
                <a:close/>
                <a:moveTo>
                  <a:pt x="4777010" y="301102"/>
                </a:moveTo>
                <a:lnTo>
                  <a:pt x="4780375" y="303807"/>
                </a:lnTo>
                <a:lnTo>
                  <a:pt x="4784064" y="309871"/>
                </a:lnTo>
                <a:lnTo>
                  <a:pt x="4783305" y="313769"/>
                </a:lnTo>
                <a:lnTo>
                  <a:pt x="4784064" y="319290"/>
                </a:lnTo>
                <a:lnTo>
                  <a:pt x="4786994" y="323406"/>
                </a:lnTo>
                <a:lnTo>
                  <a:pt x="4786668" y="326545"/>
                </a:lnTo>
                <a:lnTo>
                  <a:pt x="4780917" y="326219"/>
                </a:lnTo>
                <a:lnTo>
                  <a:pt x="4774081" y="328926"/>
                </a:lnTo>
                <a:lnTo>
                  <a:pt x="4770717" y="327736"/>
                </a:lnTo>
                <a:lnTo>
                  <a:pt x="4767678" y="324813"/>
                </a:lnTo>
                <a:lnTo>
                  <a:pt x="4766268" y="316909"/>
                </a:lnTo>
                <a:lnTo>
                  <a:pt x="4762361" y="311279"/>
                </a:lnTo>
                <a:lnTo>
                  <a:pt x="4763555" y="307489"/>
                </a:lnTo>
                <a:lnTo>
                  <a:pt x="4768872" y="304024"/>
                </a:lnTo>
                <a:lnTo>
                  <a:pt x="4774732" y="303267"/>
                </a:lnTo>
                <a:close/>
                <a:moveTo>
                  <a:pt x="4753680" y="299910"/>
                </a:moveTo>
                <a:lnTo>
                  <a:pt x="4753463" y="303160"/>
                </a:lnTo>
                <a:lnTo>
                  <a:pt x="4751618" y="305864"/>
                </a:lnTo>
                <a:lnTo>
                  <a:pt x="4749882" y="306407"/>
                </a:lnTo>
                <a:lnTo>
                  <a:pt x="4750859" y="301535"/>
                </a:lnTo>
                <a:close/>
                <a:moveTo>
                  <a:pt x="4763663" y="299586"/>
                </a:moveTo>
                <a:lnTo>
                  <a:pt x="4765182" y="301425"/>
                </a:lnTo>
                <a:lnTo>
                  <a:pt x="4763771" y="304024"/>
                </a:lnTo>
                <a:lnTo>
                  <a:pt x="4760299" y="305107"/>
                </a:lnTo>
                <a:lnTo>
                  <a:pt x="4757260" y="304240"/>
                </a:lnTo>
                <a:lnTo>
                  <a:pt x="4756718" y="302508"/>
                </a:lnTo>
                <a:lnTo>
                  <a:pt x="4759540" y="301425"/>
                </a:lnTo>
                <a:lnTo>
                  <a:pt x="4760516" y="299693"/>
                </a:lnTo>
                <a:close/>
                <a:moveTo>
                  <a:pt x="5669452" y="297854"/>
                </a:moveTo>
                <a:lnTo>
                  <a:pt x="5674335" y="298503"/>
                </a:lnTo>
                <a:lnTo>
                  <a:pt x="5677374" y="305324"/>
                </a:lnTo>
                <a:lnTo>
                  <a:pt x="5675854" y="310304"/>
                </a:lnTo>
                <a:lnTo>
                  <a:pt x="5671405" y="312252"/>
                </a:lnTo>
                <a:lnTo>
                  <a:pt x="5670863" y="310196"/>
                </a:lnTo>
                <a:lnTo>
                  <a:pt x="5671839" y="308354"/>
                </a:lnTo>
                <a:lnTo>
                  <a:pt x="5667390" y="302618"/>
                </a:lnTo>
                <a:lnTo>
                  <a:pt x="5667390" y="298827"/>
                </a:lnTo>
                <a:close/>
                <a:moveTo>
                  <a:pt x="4721884" y="295039"/>
                </a:moveTo>
                <a:lnTo>
                  <a:pt x="4724379" y="296122"/>
                </a:lnTo>
                <a:lnTo>
                  <a:pt x="4724706" y="302835"/>
                </a:lnTo>
                <a:lnTo>
                  <a:pt x="4727527" y="306949"/>
                </a:lnTo>
                <a:lnTo>
                  <a:pt x="4725465" y="308465"/>
                </a:lnTo>
                <a:lnTo>
                  <a:pt x="4721125" y="306624"/>
                </a:lnTo>
                <a:lnTo>
                  <a:pt x="4719280" y="303700"/>
                </a:lnTo>
                <a:lnTo>
                  <a:pt x="4720799" y="302077"/>
                </a:lnTo>
                <a:close/>
                <a:moveTo>
                  <a:pt x="4739790" y="294714"/>
                </a:moveTo>
                <a:lnTo>
                  <a:pt x="4743805" y="295579"/>
                </a:lnTo>
                <a:lnTo>
                  <a:pt x="4746843" y="299586"/>
                </a:lnTo>
                <a:lnTo>
                  <a:pt x="4746301" y="301751"/>
                </a:lnTo>
                <a:cubicBezTo>
                  <a:pt x="4746301" y="301751"/>
                  <a:pt x="4741851" y="300344"/>
                  <a:pt x="4741851" y="300344"/>
                </a:cubicBezTo>
                <a:lnTo>
                  <a:pt x="4738271" y="296230"/>
                </a:lnTo>
                <a:close/>
                <a:moveTo>
                  <a:pt x="1869958" y="293955"/>
                </a:moveTo>
                <a:lnTo>
                  <a:pt x="1874733" y="295471"/>
                </a:lnTo>
                <a:lnTo>
                  <a:pt x="1875492" y="298178"/>
                </a:lnTo>
                <a:lnTo>
                  <a:pt x="1873648" y="299261"/>
                </a:lnTo>
                <a:lnTo>
                  <a:pt x="1869415" y="297421"/>
                </a:lnTo>
                <a:lnTo>
                  <a:pt x="1868222" y="295471"/>
                </a:lnTo>
                <a:close/>
                <a:moveTo>
                  <a:pt x="4730458" y="293524"/>
                </a:moveTo>
                <a:lnTo>
                  <a:pt x="4733930" y="298505"/>
                </a:lnTo>
                <a:lnTo>
                  <a:pt x="4735666" y="302836"/>
                </a:lnTo>
                <a:lnTo>
                  <a:pt x="4734364" y="305542"/>
                </a:lnTo>
                <a:lnTo>
                  <a:pt x="4732194" y="305218"/>
                </a:lnTo>
                <a:lnTo>
                  <a:pt x="4727853" y="298505"/>
                </a:lnTo>
                <a:lnTo>
                  <a:pt x="4727853" y="294064"/>
                </a:lnTo>
                <a:close/>
                <a:moveTo>
                  <a:pt x="5097026" y="292873"/>
                </a:moveTo>
                <a:lnTo>
                  <a:pt x="5099847" y="294822"/>
                </a:lnTo>
                <a:lnTo>
                  <a:pt x="5103754" y="296121"/>
                </a:lnTo>
                <a:lnTo>
                  <a:pt x="5109940" y="294497"/>
                </a:lnTo>
                <a:lnTo>
                  <a:pt x="5112544" y="295688"/>
                </a:lnTo>
                <a:lnTo>
                  <a:pt x="5112001" y="298286"/>
                </a:lnTo>
                <a:lnTo>
                  <a:pt x="5105165" y="301317"/>
                </a:lnTo>
                <a:lnTo>
                  <a:pt x="5102777" y="301428"/>
                </a:lnTo>
                <a:lnTo>
                  <a:pt x="5099304" y="298395"/>
                </a:lnTo>
                <a:lnTo>
                  <a:pt x="5094421" y="297528"/>
                </a:lnTo>
                <a:lnTo>
                  <a:pt x="5093228" y="296121"/>
                </a:lnTo>
                <a:lnTo>
                  <a:pt x="5094096" y="293522"/>
                </a:lnTo>
                <a:close/>
                <a:moveTo>
                  <a:pt x="5605860" y="289191"/>
                </a:moveTo>
                <a:lnTo>
                  <a:pt x="5609117" y="289191"/>
                </a:lnTo>
                <a:lnTo>
                  <a:pt x="5614868" y="295904"/>
                </a:lnTo>
                <a:lnTo>
                  <a:pt x="5619426" y="291356"/>
                </a:lnTo>
                <a:lnTo>
                  <a:pt x="5623549" y="291356"/>
                </a:lnTo>
                <a:lnTo>
                  <a:pt x="5626046" y="298177"/>
                </a:lnTo>
                <a:lnTo>
                  <a:pt x="5632556" y="299260"/>
                </a:lnTo>
                <a:lnTo>
                  <a:pt x="5638958" y="293846"/>
                </a:lnTo>
                <a:lnTo>
                  <a:pt x="5641129" y="294605"/>
                </a:lnTo>
                <a:lnTo>
                  <a:pt x="5641129" y="301426"/>
                </a:lnTo>
                <a:lnTo>
                  <a:pt x="5642974" y="303591"/>
                </a:lnTo>
                <a:lnTo>
                  <a:pt x="5650244" y="305432"/>
                </a:lnTo>
                <a:lnTo>
                  <a:pt x="5650244" y="307381"/>
                </a:lnTo>
                <a:lnTo>
                  <a:pt x="5645578" y="310304"/>
                </a:lnTo>
                <a:lnTo>
                  <a:pt x="5645578" y="312470"/>
                </a:lnTo>
                <a:lnTo>
                  <a:pt x="5643190" y="316584"/>
                </a:lnTo>
                <a:lnTo>
                  <a:pt x="5644601" y="321672"/>
                </a:lnTo>
                <a:lnTo>
                  <a:pt x="5639501" y="329468"/>
                </a:lnTo>
                <a:lnTo>
                  <a:pt x="5634292" y="330550"/>
                </a:lnTo>
                <a:lnTo>
                  <a:pt x="5630494" y="336830"/>
                </a:lnTo>
                <a:lnTo>
                  <a:pt x="5634292" y="337913"/>
                </a:lnTo>
                <a:lnTo>
                  <a:pt x="5645144" y="333582"/>
                </a:lnTo>
                <a:lnTo>
                  <a:pt x="5652957" y="321997"/>
                </a:lnTo>
                <a:lnTo>
                  <a:pt x="5656430" y="322755"/>
                </a:lnTo>
                <a:lnTo>
                  <a:pt x="5656430" y="326219"/>
                </a:lnTo>
                <a:lnTo>
                  <a:pt x="5652957" y="331092"/>
                </a:lnTo>
                <a:lnTo>
                  <a:pt x="5652957" y="334556"/>
                </a:lnTo>
                <a:lnTo>
                  <a:pt x="5656430" y="334556"/>
                </a:lnTo>
                <a:lnTo>
                  <a:pt x="5660553" y="328277"/>
                </a:lnTo>
                <a:lnTo>
                  <a:pt x="5665219" y="325787"/>
                </a:lnTo>
                <a:lnTo>
                  <a:pt x="5667499" y="327952"/>
                </a:lnTo>
                <a:lnTo>
                  <a:pt x="5673467" y="327411"/>
                </a:lnTo>
                <a:lnTo>
                  <a:pt x="5674769" y="321997"/>
                </a:lnTo>
                <a:lnTo>
                  <a:pt x="5677265" y="321997"/>
                </a:lnTo>
                <a:lnTo>
                  <a:pt x="5680520" y="324162"/>
                </a:lnTo>
                <a:lnTo>
                  <a:pt x="5684319" y="321997"/>
                </a:lnTo>
                <a:lnTo>
                  <a:pt x="5690612" y="328277"/>
                </a:lnTo>
                <a:lnTo>
                  <a:pt x="5690612" y="332933"/>
                </a:lnTo>
                <a:lnTo>
                  <a:pt x="5693434" y="340186"/>
                </a:lnTo>
                <a:lnTo>
                  <a:pt x="5691698" y="343110"/>
                </a:lnTo>
                <a:lnTo>
                  <a:pt x="5691698" y="347657"/>
                </a:lnTo>
                <a:lnTo>
                  <a:pt x="5688442" y="354478"/>
                </a:lnTo>
                <a:lnTo>
                  <a:pt x="5694193" y="364006"/>
                </a:lnTo>
                <a:lnTo>
                  <a:pt x="5693651" y="369419"/>
                </a:lnTo>
                <a:lnTo>
                  <a:pt x="5689853" y="370827"/>
                </a:lnTo>
                <a:lnTo>
                  <a:pt x="5685838" y="374076"/>
                </a:lnTo>
                <a:lnTo>
                  <a:pt x="5689094" y="374833"/>
                </a:lnTo>
                <a:lnTo>
                  <a:pt x="5698317" y="372668"/>
                </a:lnTo>
                <a:lnTo>
                  <a:pt x="5703960" y="367037"/>
                </a:lnTo>
                <a:lnTo>
                  <a:pt x="5711230" y="367037"/>
                </a:lnTo>
                <a:lnTo>
                  <a:pt x="5714486" y="360325"/>
                </a:lnTo>
                <a:lnTo>
                  <a:pt x="5713726" y="351772"/>
                </a:lnTo>
                <a:lnTo>
                  <a:pt x="5711339" y="345276"/>
                </a:lnTo>
                <a:lnTo>
                  <a:pt x="5708735" y="345276"/>
                </a:lnTo>
                <a:lnTo>
                  <a:pt x="5705154" y="343868"/>
                </a:lnTo>
                <a:lnTo>
                  <a:pt x="5705154" y="338996"/>
                </a:lnTo>
                <a:lnTo>
                  <a:pt x="5707215" y="337264"/>
                </a:lnTo>
                <a:lnTo>
                  <a:pt x="5710797" y="337264"/>
                </a:lnTo>
                <a:lnTo>
                  <a:pt x="5713075" y="338996"/>
                </a:lnTo>
                <a:lnTo>
                  <a:pt x="5716332" y="337805"/>
                </a:lnTo>
                <a:lnTo>
                  <a:pt x="5724470" y="335747"/>
                </a:lnTo>
                <a:lnTo>
                  <a:pt x="5730438" y="329468"/>
                </a:lnTo>
                <a:lnTo>
                  <a:pt x="5733910" y="330225"/>
                </a:lnTo>
                <a:lnTo>
                  <a:pt x="5740422" y="330225"/>
                </a:lnTo>
                <a:lnTo>
                  <a:pt x="5742158" y="325570"/>
                </a:lnTo>
                <a:lnTo>
                  <a:pt x="5746499" y="321564"/>
                </a:lnTo>
                <a:lnTo>
                  <a:pt x="5748235" y="322647"/>
                </a:lnTo>
                <a:lnTo>
                  <a:pt x="5751925" y="319074"/>
                </a:lnTo>
                <a:lnTo>
                  <a:pt x="5756808" y="317991"/>
                </a:lnTo>
                <a:lnTo>
                  <a:pt x="5758761" y="319832"/>
                </a:lnTo>
                <a:lnTo>
                  <a:pt x="5763753" y="318749"/>
                </a:lnTo>
                <a:lnTo>
                  <a:pt x="5764620" y="321780"/>
                </a:lnTo>
                <a:lnTo>
                  <a:pt x="5762993" y="324271"/>
                </a:lnTo>
                <a:lnTo>
                  <a:pt x="5763861" y="328169"/>
                </a:lnTo>
                <a:lnTo>
                  <a:pt x="5774712" y="327303"/>
                </a:lnTo>
                <a:lnTo>
                  <a:pt x="5776015" y="328710"/>
                </a:lnTo>
                <a:lnTo>
                  <a:pt x="5780790" y="330442"/>
                </a:lnTo>
                <a:lnTo>
                  <a:pt x="5798695" y="341270"/>
                </a:lnTo>
                <a:lnTo>
                  <a:pt x="5802819" y="342136"/>
                </a:lnTo>
                <a:lnTo>
                  <a:pt x="5805423" y="347224"/>
                </a:lnTo>
                <a:lnTo>
                  <a:pt x="5805423" y="350689"/>
                </a:lnTo>
                <a:lnTo>
                  <a:pt x="5813670" y="360325"/>
                </a:lnTo>
                <a:lnTo>
                  <a:pt x="5815732" y="359242"/>
                </a:lnTo>
                <a:lnTo>
                  <a:pt x="5815732" y="355778"/>
                </a:lnTo>
                <a:lnTo>
                  <a:pt x="5818445" y="353937"/>
                </a:lnTo>
                <a:lnTo>
                  <a:pt x="5819204" y="351447"/>
                </a:lnTo>
                <a:lnTo>
                  <a:pt x="5816166" y="349282"/>
                </a:lnTo>
                <a:lnTo>
                  <a:pt x="5811826" y="349282"/>
                </a:lnTo>
                <a:lnTo>
                  <a:pt x="5811826" y="344734"/>
                </a:lnTo>
                <a:lnTo>
                  <a:pt x="5815732" y="342027"/>
                </a:lnTo>
                <a:lnTo>
                  <a:pt x="5819747" y="342027"/>
                </a:lnTo>
                <a:lnTo>
                  <a:pt x="5822243" y="345817"/>
                </a:lnTo>
                <a:lnTo>
                  <a:pt x="5825824" y="348956"/>
                </a:lnTo>
                <a:lnTo>
                  <a:pt x="5825824" y="352962"/>
                </a:lnTo>
                <a:lnTo>
                  <a:pt x="5832661" y="359242"/>
                </a:lnTo>
                <a:lnTo>
                  <a:pt x="5833638" y="364439"/>
                </a:lnTo>
                <a:lnTo>
                  <a:pt x="5836784" y="365739"/>
                </a:lnTo>
                <a:lnTo>
                  <a:pt x="5839389" y="364114"/>
                </a:lnTo>
                <a:lnTo>
                  <a:pt x="5841233" y="364114"/>
                </a:lnTo>
                <a:lnTo>
                  <a:pt x="5844272" y="366063"/>
                </a:lnTo>
                <a:lnTo>
                  <a:pt x="5847419" y="370610"/>
                </a:lnTo>
                <a:lnTo>
                  <a:pt x="5847419" y="375158"/>
                </a:lnTo>
                <a:lnTo>
                  <a:pt x="5851326" y="380139"/>
                </a:lnTo>
                <a:lnTo>
                  <a:pt x="5851326" y="383712"/>
                </a:lnTo>
                <a:lnTo>
                  <a:pt x="5849481" y="383712"/>
                </a:lnTo>
                <a:lnTo>
                  <a:pt x="5848830" y="381113"/>
                </a:lnTo>
                <a:lnTo>
                  <a:pt x="5846877" y="378298"/>
                </a:lnTo>
                <a:lnTo>
                  <a:pt x="5845032" y="378298"/>
                </a:lnTo>
                <a:lnTo>
                  <a:pt x="5842862" y="380788"/>
                </a:lnTo>
                <a:lnTo>
                  <a:pt x="5839063" y="377323"/>
                </a:lnTo>
                <a:lnTo>
                  <a:pt x="5830816" y="374076"/>
                </a:lnTo>
                <a:lnTo>
                  <a:pt x="5824413" y="374076"/>
                </a:lnTo>
                <a:lnTo>
                  <a:pt x="5823437" y="375482"/>
                </a:lnTo>
                <a:lnTo>
                  <a:pt x="5826692" y="379814"/>
                </a:lnTo>
                <a:lnTo>
                  <a:pt x="5832878" y="380572"/>
                </a:lnTo>
                <a:lnTo>
                  <a:pt x="5835156" y="382196"/>
                </a:lnTo>
                <a:lnTo>
                  <a:pt x="5834180" y="383495"/>
                </a:lnTo>
                <a:lnTo>
                  <a:pt x="5837110" y="389125"/>
                </a:lnTo>
                <a:lnTo>
                  <a:pt x="5839714" y="390965"/>
                </a:lnTo>
                <a:lnTo>
                  <a:pt x="5841668" y="389233"/>
                </a:lnTo>
                <a:lnTo>
                  <a:pt x="5844272" y="383820"/>
                </a:lnTo>
                <a:lnTo>
                  <a:pt x="5845683" y="383820"/>
                </a:lnTo>
                <a:lnTo>
                  <a:pt x="5847961" y="387501"/>
                </a:lnTo>
                <a:lnTo>
                  <a:pt x="5851326" y="389449"/>
                </a:lnTo>
                <a:lnTo>
                  <a:pt x="5853713" y="388043"/>
                </a:lnTo>
                <a:lnTo>
                  <a:pt x="5856426" y="388909"/>
                </a:lnTo>
                <a:lnTo>
                  <a:pt x="5857511" y="392265"/>
                </a:lnTo>
                <a:lnTo>
                  <a:pt x="5856100" y="394863"/>
                </a:lnTo>
                <a:lnTo>
                  <a:pt x="5860441" y="402334"/>
                </a:lnTo>
                <a:lnTo>
                  <a:pt x="5862069" y="410563"/>
                </a:lnTo>
                <a:lnTo>
                  <a:pt x="5862069" y="419765"/>
                </a:lnTo>
                <a:lnTo>
                  <a:pt x="5858705" y="427453"/>
                </a:lnTo>
                <a:lnTo>
                  <a:pt x="5856752" y="428211"/>
                </a:lnTo>
                <a:lnTo>
                  <a:pt x="5854798" y="432108"/>
                </a:lnTo>
                <a:lnTo>
                  <a:pt x="5855992" y="436656"/>
                </a:lnTo>
                <a:lnTo>
                  <a:pt x="5852411" y="442611"/>
                </a:lnTo>
                <a:lnTo>
                  <a:pt x="5852411" y="444885"/>
                </a:lnTo>
                <a:lnTo>
                  <a:pt x="5855449" y="448132"/>
                </a:lnTo>
                <a:lnTo>
                  <a:pt x="5855449" y="452030"/>
                </a:lnTo>
                <a:lnTo>
                  <a:pt x="5849372" y="454954"/>
                </a:lnTo>
                <a:lnTo>
                  <a:pt x="5847419" y="459718"/>
                </a:lnTo>
                <a:lnTo>
                  <a:pt x="5848721" y="462099"/>
                </a:lnTo>
                <a:lnTo>
                  <a:pt x="5845141" y="469787"/>
                </a:lnTo>
                <a:lnTo>
                  <a:pt x="5842428" y="472926"/>
                </a:lnTo>
                <a:lnTo>
                  <a:pt x="5843187" y="475525"/>
                </a:lnTo>
                <a:lnTo>
                  <a:pt x="5841016" y="480289"/>
                </a:lnTo>
                <a:lnTo>
                  <a:pt x="5836784" y="482346"/>
                </a:lnTo>
                <a:lnTo>
                  <a:pt x="5831250" y="487001"/>
                </a:lnTo>
                <a:lnTo>
                  <a:pt x="5826258" y="487001"/>
                </a:lnTo>
                <a:lnTo>
                  <a:pt x="5831684" y="488734"/>
                </a:lnTo>
                <a:lnTo>
                  <a:pt x="5835482" y="488734"/>
                </a:lnTo>
                <a:lnTo>
                  <a:pt x="5838413" y="485486"/>
                </a:lnTo>
                <a:lnTo>
                  <a:pt x="5839931" y="485486"/>
                </a:lnTo>
                <a:lnTo>
                  <a:pt x="5842428" y="492307"/>
                </a:lnTo>
                <a:lnTo>
                  <a:pt x="5838520" y="500427"/>
                </a:lnTo>
                <a:lnTo>
                  <a:pt x="5834831" y="505516"/>
                </a:lnTo>
                <a:lnTo>
                  <a:pt x="5832010" y="516992"/>
                </a:lnTo>
                <a:lnTo>
                  <a:pt x="5834614" y="522082"/>
                </a:lnTo>
                <a:lnTo>
                  <a:pt x="5835374" y="526087"/>
                </a:lnTo>
                <a:lnTo>
                  <a:pt x="5831141" y="536914"/>
                </a:lnTo>
                <a:lnTo>
                  <a:pt x="5824739" y="539188"/>
                </a:lnTo>
                <a:lnTo>
                  <a:pt x="5822786" y="538430"/>
                </a:lnTo>
                <a:lnTo>
                  <a:pt x="5819639" y="538430"/>
                </a:lnTo>
                <a:lnTo>
                  <a:pt x="5817903" y="541353"/>
                </a:lnTo>
                <a:lnTo>
                  <a:pt x="5819313" y="544060"/>
                </a:lnTo>
                <a:lnTo>
                  <a:pt x="5822026" y="553480"/>
                </a:lnTo>
                <a:lnTo>
                  <a:pt x="5820181" y="557702"/>
                </a:lnTo>
                <a:lnTo>
                  <a:pt x="5815515" y="560626"/>
                </a:lnTo>
                <a:lnTo>
                  <a:pt x="5813237" y="567014"/>
                </a:lnTo>
                <a:lnTo>
                  <a:pt x="5815515" y="573726"/>
                </a:lnTo>
                <a:lnTo>
                  <a:pt x="5815515" y="579465"/>
                </a:lnTo>
                <a:lnTo>
                  <a:pt x="5813453" y="581955"/>
                </a:lnTo>
                <a:lnTo>
                  <a:pt x="5813453" y="585853"/>
                </a:lnTo>
                <a:lnTo>
                  <a:pt x="5816709" y="588126"/>
                </a:lnTo>
                <a:lnTo>
                  <a:pt x="5813453" y="600686"/>
                </a:lnTo>
                <a:lnTo>
                  <a:pt x="5809547" y="603718"/>
                </a:lnTo>
                <a:lnTo>
                  <a:pt x="5808462" y="608156"/>
                </a:lnTo>
                <a:lnTo>
                  <a:pt x="5810089" y="605124"/>
                </a:lnTo>
                <a:lnTo>
                  <a:pt x="5814647" y="605124"/>
                </a:lnTo>
                <a:lnTo>
                  <a:pt x="5819204" y="600577"/>
                </a:lnTo>
                <a:lnTo>
                  <a:pt x="5821376" y="596138"/>
                </a:lnTo>
                <a:lnTo>
                  <a:pt x="5820290" y="594189"/>
                </a:lnTo>
                <a:lnTo>
                  <a:pt x="5821917" y="590941"/>
                </a:lnTo>
                <a:lnTo>
                  <a:pt x="5828212" y="590941"/>
                </a:lnTo>
                <a:lnTo>
                  <a:pt x="5831684" y="589859"/>
                </a:lnTo>
                <a:lnTo>
                  <a:pt x="5828103" y="588884"/>
                </a:lnTo>
                <a:lnTo>
                  <a:pt x="5820073" y="580547"/>
                </a:lnTo>
                <a:lnTo>
                  <a:pt x="5817686" y="574268"/>
                </a:lnTo>
                <a:lnTo>
                  <a:pt x="5820398" y="569071"/>
                </a:lnTo>
                <a:lnTo>
                  <a:pt x="5828537" y="568313"/>
                </a:lnTo>
                <a:lnTo>
                  <a:pt x="5837110" y="567230"/>
                </a:lnTo>
                <a:lnTo>
                  <a:pt x="5844164" y="561059"/>
                </a:lnTo>
                <a:lnTo>
                  <a:pt x="5847745" y="561059"/>
                </a:lnTo>
                <a:lnTo>
                  <a:pt x="5850458" y="558676"/>
                </a:lnTo>
                <a:lnTo>
                  <a:pt x="5847745" y="554671"/>
                </a:lnTo>
                <a:lnTo>
                  <a:pt x="5854798" y="549041"/>
                </a:lnTo>
                <a:lnTo>
                  <a:pt x="5858270" y="543410"/>
                </a:lnTo>
                <a:lnTo>
                  <a:pt x="5855775" y="538322"/>
                </a:lnTo>
                <a:lnTo>
                  <a:pt x="5855775" y="536481"/>
                </a:lnTo>
                <a:lnTo>
                  <a:pt x="5860875" y="539405"/>
                </a:lnTo>
                <a:lnTo>
                  <a:pt x="5866627" y="537564"/>
                </a:lnTo>
                <a:lnTo>
                  <a:pt x="5870099" y="532367"/>
                </a:lnTo>
                <a:lnTo>
                  <a:pt x="5867386" y="528794"/>
                </a:lnTo>
                <a:lnTo>
                  <a:pt x="5876285" y="522082"/>
                </a:lnTo>
                <a:lnTo>
                  <a:pt x="5876827" y="516884"/>
                </a:lnTo>
                <a:lnTo>
                  <a:pt x="5874874" y="513311"/>
                </a:lnTo>
                <a:lnTo>
                  <a:pt x="5865975" y="518400"/>
                </a:lnTo>
                <a:lnTo>
                  <a:pt x="5865216" y="521648"/>
                </a:lnTo>
                <a:lnTo>
                  <a:pt x="5858162" y="526845"/>
                </a:lnTo>
                <a:lnTo>
                  <a:pt x="5852953" y="524355"/>
                </a:lnTo>
                <a:lnTo>
                  <a:pt x="5849481" y="518184"/>
                </a:lnTo>
                <a:lnTo>
                  <a:pt x="5853279" y="512770"/>
                </a:lnTo>
                <a:lnTo>
                  <a:pt x="5852194" y="504866"/>
                </a:lnTo>
                <a:lnTo>
                  <a:pt x="5856860" y="500860"/>
                </a:lnTo>
                <a:lnTo>
                  <a:pt x="5863697" y="500860"/>
                </a:lnTo>
                <a:lnTo>
                  <a:pt x="5871835" y="506274"/>
                </a:lnTo>
                <a:lnTo>
                  <a:pt x="5875090" y="502484"/>
                </a:lnTo>
                <a:lnTo>
                  <a:pt x="5875090" y="497070"/>
                </a:lnTo>
                <a:lnTo>
                  <a:pt x="5881602" y="494364"/>
                </a:lnTo>
                <a:lnTo>
                  <a:pt x="5882362" y="498153"/>
                </a:lnTo>
                <a:lnTo>
                  <a:pt x="5879649" y="501185"/>
                </a:lnTo>
                <a:lnTo>
                  <a:pt x="5879649" y="505841"/>
                </a:lnTo>
                <a:lnTo>
                  <a:pt x="5892670" y="516668"/>
                </a:lnTo>
                <a:lnTo>
                  <a:pt x="5899072" y="516668"/>
                </a:lnTo>
                <a:lnTo>
                  <a:pt x="5902328" y="514719"/>
                </a:lnTo>
                <a:lnTo>
                  <a:pt x="5911335" y="513094"/>
                </a:lnTo>
                <a:lnTo>
                  <a:pt x="5915351" y="508764"/>
                </a:lnTo>
                <a:lnTo>
                  <a:pt x="5914591" y="503675"/>
                </a:lnTo>
                <a:lnTo>
                  <a:pt x="5907211" y="495231"/>
                </a:lnTo>
                <a:lnTo>
                  <a:pt x="5907211" y="492307"/>
                </a:lnTo>
                <a:lnTo>
                  <a:pt x="5909707" y="492307"/>
                </a:lnTo>
                <a:lnTo>
                  <a:pt x="5918932" y="501293"/>
                </a:lnTo>
                <a:lnTo>
                  <a:pt x="5922187" y="501293"/>
                </a:lnTo>
                <a:lnTo>
                  <a:pt x="5927287" y="505841"/>
                </a:lnTo>
                <a:lnTo>
                  <a:pt x="5926202" y="509413"/>
                </a:lnTo>
                <a:lnTo>
                  <a:pt x="5927287" y="512878"/>
                </a:lnTo>
                <a:lnTo>
                  <a:pt x="5933581" y="517967"/>
                </a:lnTo>
                <a:lnTo>
                  <a:pt x="5934449" y="526953"/>
                </a:lnTo>
                <a:lnTo>
                  <a:pt x="5936294" y="528577"/>
                </a:lnTo>
                <a:lnTo>
                  <a:pt x="5936294" y="526087"/>
                </a:lnTo>
                <a:lnTo>
                  <a:pt x="5940635" y="521432"/>
                </a:lnTo>
                <a:lnTo>
                  <a:pt x="5943130" y="520890"/>
                </a:lnTo>
                <a:lnTo>
                  <a:pt x="5945519" y="517317"/>
                </a:lnTo>
                <a:lnTo>
                  <a:pt x="5943565" y="515909"/>
                </a:lnTo>
                <a:lnTo>
                  <a:pt x="5939767" y="517750"/>
                </a:lnTo>
                <a:lnTo>
                  <a:pt x="5936294" y="516668"/>
                </a:lnTo>
                <a:lnTo>
                  <a:pt x="5933256" y="510713"/>
                </a:lnTo>
                <a:lnTo>
                  <a:pt x="5939441" y="504975"/>
                </a:lnTo>
                <a:lnTo>
                  <a:pt x="5944542" y="502051"/>
                </a:lnTo>
                <a:lnTo>
                  <a:pt x="5946929" y="498803"/>
                </a:lnTo>
                <a:lnTo>
                  <a:pt x="5949968" y="498803"/>
                </a:lnTo>
                <a:lnTo>
                  <a:pt x="5951921" y="495338"/>
                </a:lnTo>
                <a:lnTo>
                  <a:pt x="5961904" y="493498"/>
                </a:lnTo>
                <a:lnTo>
                  <a:pt x="5977639" y="489384"/>
                </a:lnTo>
                <a:lnTo>
                  <a:pt x="5996629" y="488626"/>
                </a:lnTo>
                <a:lnTo>
                  <a:pt x="6011280" y="482129"/>
                </a:lnTo>
                <a:lnTo>
                  <a:pt x="6018550" y="482129"/>
                </a:lnTo>
                <a:lnTo>
                  <a:pt x="6025278" y="484620"/>
                </a:lnTo>
                <a:lnTo>
                  <a:pt x="6025278" y="488409"/>
                </a:lnTo>
                <a:lnTo>
                  <a:pt x="6023433" y="489276"/>
                </a:lnTo>
                <a:lnTo>
                  <a:pt x="6020395" y="494905"/>
                </a:lnTo>
                <a:lnTo>
                  <a:pt x="6023108" y="503892"/>
                </a:lnTo>
                <a:lnTo>
                  <a:pt x="6029401" y="508980"/>
                </a:lnTo>
                <a:lnTo>
                  <a:pt x="6051105" y="509847"/>
                </a:lnTo>
                <a:lnTo>
                  <a:pt x="6055229" y="511146"/>
                </a:lnTo>
                <a:lnTo>
                  <a:pt x="6056856" y="510280"/>
                </a:lnTo>
                <a:lnTo>
                  <a:pt x="6064561" y="510280"/>
                </a:lnTo>
                <a:lnTo>
                  <a:pt x="6070313" y="512120"/>
                </a:lnTo>
                <a:lnTo>
                  <a:pt x="6085070" y="509739"/>
                </a:lnTo>
                <a:lnTo>
                  <a:pt x="6095922" y="504109"/>
                </a:lnTo>
                <a:lnTo>
                  <a:pt x="6099611" y="505407"/>
                </a:lnTo>
                <a:lnTo>
                  <a:pt x="6104603" y="505407"/>
                </a:lnTo>
                <a:lnTo>
                  <a:pt x="6107425" y="500752"/>
                </a:lnTo>
                <a:lnTo>
                  <a:pt x="6105580" y="497396"/>
                </a:lnTo>
                <a:lnTo>
                  <a:pt x="6110029" y="496313"/>
                </a:lnTo>
                <a:lnTo>
                  <a:pt x="6114262" y="497504"/>
                </a:lnTo>
                <a:lnTo>
                  <a:pt x="6120772" y="495663"/>
                </a:lnTo>
                <a:lnTo>
                  <a:pt x="6122292" y="499344"/>
                </a:lnTo>
                <a:lnTo>
                  <a:pt x="6124679" y="500103"/>
                </a:lnTo>
                <a:lnTo>
                  <a:pt x="6127718" y="495446"/>
                </a:lnTo>
                <a:lnTo>
                  <a:pt x="6126198" y="491874"/>
                </a:lnTo>
                <a:lnTo>
                  <a:pt x="6122183" y="488084"/>
                </a:lnTo>
                <a:lnTo>
                  <a:pt x="6122183" y="483429"/>
                </a:lnTo>
                <a:lnTo>
                  <a:pt x="6119796" y="479856"/>
                </a:lnTo>
                <a:lnTo>
                  <a:pt x="6114479" y="478773"/>
                </a:lnTo>
                <a:lnTo>
                  <a:pt x="6113719" y="472601"/>
                </a:lnTo>
                <a:lnTo>
                  <a:pt x="6111222" y="471519"/>
                </a:lnTo>
                <a:lnTo>
                  <a:pt x="6110029" y="466755"/>
                </a:lnTo>
                <a:lnTo>
                  <a:pt x="6106774" y="463074"/>
                </a:lnTo>
                <a:lnTo>
                  <a:pt x="6106014" y="457010"/>
                </a:lnTo>
                <a:lnTo>
                  <a:pt x="6108510" y="452571"/>
                </a:lnTo>
                <a:lnTo>
                  <a:pt x="6109269" y="455387"/>
                </a:lnTo>
                <a:lnTo>
                  <a:pt x="6111549" y="456794"/>
                </a:lnTo>
                <a:lnTo>
                  <a:pt x="6116866" y="452463"/>
                </a:lnTo>
                <a:lnTo>
                  <a:pt x="6115781" y="450623"/>
                </a:lnTo>
                <a:lnTo>
                  <a:pt x="6114695" y="446509"/>
                </a:lnTo>
                <a:lnTo>
                  <a:pt x="6118494" y="446509"/>
                </a:lnTo>
                <a:lnTo>
                  <a:pt x="6124136" y="450948"/>
                </a:lnTo>
                <a:lnTo>
                  <a:pt x="6126958" y="448891"/>
                </a:lnTo>
                <a:lnTo>
                  <a:pt x="6127935" y="444885"/>
                </a:lnTo>
                <a:lnTo>
                  <a:pt x="6129779" y="447699"/>
                </a:lnTo>
                <a:lnTo>
                  <a:pt x="6135965" y="447699"/>
                </a:lnTo>
                <a:lnTo>
                  <a:pt x="6139546" y="446942"/>
                </a:lnTo>
                <a:lnTo>
                  <a:pt x="6141065" y="444018"/>
                </a:lnTo>
                <a:lnTo>
                  <a:pt x="6145406" y="448565"/>
                </a:lnTo>
                <a:lnTo>
                  <a:pt x="6149421" y="449865"/>
                </a:lnTo>
                <a:lnTo>
                  <a:pt x="6152351" y="453762"/>
                </a:lnTo>
                <a:lnTo>
                  <a:pt x="6155280" y="451489"/>
                </a:lnTo>
                <a:lnTo>
                  <a:pt x="6155280" y="447050"/>
                </a:lnTo>
                <a:lnTo>
                  <a:pt x="6159513" y="447916"/>
                </a:lnTo>
                <a:lnTo>
                  <a:pt x="6162226" y="452463"/>
                </a:lnTo>
                <a:lnTo>
                  <a:pt x="6159296" y="454954"/>
                </a:lnTo>
                <a:lnTo>
                  <a:pt x="6157234" y="458960"/>
                </a:lnTo>
                <a:lnTo>
                  <a:pt x="6158862" y="460367"/>
                </a:lnTo>
                <a:lnTo>
                  <a:pt x="6164179" y="459176"/>
                </a:lnTo>
                <a:lnTo>
                  <a:pt x="6165589" y="459934"/>
                </a:lnTo>
                <a:lnTo>
                  <a:pt x="6165589" y="456361"/>
                </a:lnTo>
                <a:lnTo>
                  <a:pt x="6167760" y="455170"/>
                </a:lnTo>
                <a:lnTo>
                  <a:pt x="6170907" y="455928"/>
                </a:lnTo>
                <a:lnTo>
                  <a:pt x="6169280" y="450948"/>
                </a:lnTo>
                <a:lnTo>
                  <a:pt x="6166675" y="448782"/>
                </a:lnTo>
                <a:lnTo>
                  <a:pt x="6167760" y="446617"/>
                </a:lnTo>
                <a:lnTo>
                  <a:pt x="6172101" y="446617"/>
                </a:lnTo>
                <a:lnTo>
                  <a:pt x="6179154" y="444559"/>
                </a:lnTo>
                <a:lnTo>
                  <a:pt x="6181433" y="446725"/>
                </a:lnTo>
                <a:lnTo>
                  <a:pt x="6184255" y="445209"/>
                </a:lnTo>
                <a:lnTo>
                  <a:pt x="6190766" y="445209"/>
                </a:lnTo>
                <a:lnTo>
                  <a:pt x="6190766" y="448565"/>
                </a:lnTo>
                <a:lnTo>
                  <a:pt x="6192176" y="454845"/>
                </a:lnTo>
                <a:lnTo>
                  <a:pt x="6193370" y="451922"/>
                </a:lnTo>
                <a:lnTo>
                  <a:pt x="6195649" y="451922"/>
                </a:lnTo>
                <a:lnTo>
                  <a:pt x="6199773" y="448024"/>
                </a:lnTo>
                <a:lnTo>
                  <a:pt x="6201618" y="454629"/>
                </a:lnTo>
                <a:lnTo>
                  <a:pt x="6204439" y="454629"/>
                </a:lnTo>
                <a:lnTo>
                  <a:pt x="6208888" y="451273"/>
                </a:lnTo>
                <a:lnTo>
                  <a:pt x="6213446" y="455062"/>
                </a:lnTo>
                <a:lnTo>
                  <a:pt x="6214965" y="464264"/>
                </a:lnTo>
                <a:lnTo>
                  <a:pt x="6218112" y="458526"/>
                </a:lnTo>
                <a:lnTo>
                  <a:pt x="6220934" y="456144"/>
                </a:lnTo>
                <a:lnTo>
                  <a:pt x="6223104" y="458202"/>
                </a:lnTo>
                <a:lnTo>
                  <a:pt x="6220499" y="464373"/>
                </a:lnTo>
                <a:lnTo>
                  <a:pt x="6224080" y="467297"/>
                </a:lnTo>
                <a:lnTo>
                  <a:pt x="6225708" y="469354"/>
                </a:lnTo>
                <a:lnTo>
                  <a:pt x="6230157" y="469354"/>
                </a:lnTo>
                <a:lnTo>
                  <a:pt x="6231459" y="473901"/>
                </a:lnTo>
                <a:lnTo>
                  <a:pt x="6233412" y="472060"/>
                </a:lnTo>
                <a:lnTo>
                  <a:pt x="6235257" y="471519"/>
                </a:lnTo>
                <a:lnTo>
                  <a:pt x="6236885" y="476715"/>
                </a:lnTo>
                <a:lnTo>
                  <a:pt x="6233304" y="480722"/>
                </a:lnTo>
                <a:lnTo>
                  <a:pt x="6233847" y="486244"/>
                </a:lnTo>
                <a:lnTo>
                  <a:pt x="6240358" y="479748"/>
                </a:lnTo>
                <a:lnTo>
                  <a:pt x="6244264" y="479748"/>
                </a:lnTo>
                <a:lnTo>
                  <a:pt x="6245024" y="483321"/>
                </a:lnTo>
                <a:lnTo>
                  <a:pt x="6236017" y="491441"/>
                </a:lnTo>
                <a:lnTo>
                  <a:pt x="6236668" y="497937"/>
                </a:lnTo>
                <a:lnTo>
                  <a:pt x="6244373" y="499019"/>
                </a:lnTo>
                <a:lnTo>
                  <a:pt x="6246434" y="496421"/>
                </a:lnTo>
                <a:lnTo>
                  <a:pt x="6249690" y="494364"/>
                </a:lnTo>
                <a:lnTo>
                  <a:pt x="6252512" y="495880"/>
                </a:lnTo>
                <a:lnTo>
                  <a:pt x="6253489" y="499886"/>
                </a:lnTo>
                <a:lnTo>
                  <a:pt x="6256961" y="497829"/>
                </a:lnTo>
                <a:lnTo>
                  <a:pt x="6262278" y="503567"/>
                </a:lnTo>
                <a:lnTo>
                  <a:pt x="6260650" y="510713"/>
                </a:lnTo>
                <a:lnTo>
                  <a:pt x="6265208" y="509955"/>
                </a:lnTo>
                <a:lnTo>
                  <a:pt x="6266293" y="513528"/>
                </a:lnTo>
                <a:lnTo>
                  <a:pt x="6270091" y="511904"/>
                </a:lnTo>
                <a:lnTo>
                  <a:pt x="6270091" y="515476"/>
                </a:lnTo>
                <a:lnTo>
                  <a:pt x="6265967" y="522839"/>
                </a:lnTo>
                <a:lnTo>
                  <a:pt x="6260759" y="525004"/>
                </a:lnTo>
                <a:lnTo>
                  <a:pt x="6256418" y="521757"/>
                </a:lnTo>
                <a:lnTo>
                  <a:pt x="6247194" y="519374"/>
                </a:lnTo>
                <a:lnTo>
                  <a:pt x="6236343" y="519374"/>
                </a:lnTo>
                <a:lnTo>
                  <a:pt x="6240467" y="522082"/>
                </a:lnTo>
                <a:lnTo>
                  <a:pt x="6242311" y="527170"/>
                </a:lnTo>
                <a:lnTo>
                  <a:pt x="6251535" y="528253"/>
                </a:lnTo>
                <a:lnTo>
                  <a:pt x="6253380" y="531825"/>
                </a:lnTo>
                <a:lnTo>
                  <a:pt x="6262278" y="538539"/>
                </a:lnTo>
                <a:lnTo>
                  <a:pt x="6271176" y="540920"/>
                </a:lnTo>
                <a:lnTo>
                  <a:pt x="6276820" y="537131"/>
                </a:lnTo>
                <a:lnTo>
                  <a:pt x="6276820" y="532259"/>
                </a:lnTo>
                <a:lnTo>
                  <a:pt x="6272262" y="527928"/>
                </a:lnTo>
                <a:lnTo>
                  <a:pt x="6270851" y="524896"/>
                </a:lnTo>
                <a:lnTo>
                  <a:pt x="6272262" y="524896"/>
                </a:lnTo>
                <a:lnTo>
                  <a:pt x="6277688" y="530310"/>
                </a:lnTo>
                <a:lnTo>
                  <a:pt x="6283330" y="533017"/>
                </a:lnTo>
                <a:lnTo>
                  <a:pt x="6286586" y="535182"/>
                </a:lnTo>
                <a:lnTo>
                  <a:pt x="6282462" y="535182"/>
                </a:lnTo>
                <a:lnTo>
                  <a:pt x="6273022" y="544060"/>
                </a:lnTo>
                <a:lnTo>
                  <a:pt x="6275192" y="546984"/>
                </a:lnTo>
                <a:lnTo>
                  <a:pt x="6279315" y="546984"/>
                </a:lnTo>
                <a:lnTo>
                  <a:pt x="6282354" y="544602"/>
                </a:lnTo>
                <a:lnTo>
                  <a:pt x="6289191" y="544602"/>
                </a:lnTo>
                <a:lnTo>
                  <a:pt x="6304708" y="558893"/>
                </a:lnTo>
                <a:lnTo>
                  <a:pt x="6308724" y="560517"/>
                </a:lnTo>
                <a:lnTo>
                  <a:pt x="6313607" y="566797"/>
                </a:lnTo>
                <a:lnTo>
                  <a:pt x="6324458" y="567880"/>
                </a:lnTo>
                <a:lnTo>
                  <a:pt x="6331295" y="575784"/>
                </a:lnTo>
                <a:lnTo>
                  <a:pt x="6338348" y="577408"/>
                </a:lnTo>
                <a:lnTo>
                  <a:pt x="6339976" y="574376"/>
                </a:lnTo>
                <a:lnTo>
                  <a:pt x="6338132" y="571128"/>
                </a:lnTo>
                <a:lnTo>
                  <a:pt x="6340628" y="569287"/>
                </a:lnTo>
                <a:lnTo>
                  <a:pt x="6344751" y="573618"/>
                </a:lnTo>
                <a:lnTo>
                  <a:pt x="6345835" y="577408"/>
                </a:lnTo>
                <a:lnTo>
                  <a:pt x="6348766" y="581738"/>
                </a:lnTo>
                <a:lnTo>
                  <a:pt x="6351696" y="581738"/>
                </a:lnTo>
                <a:lnTo>
                  <a:pt x="6352998" y="576324"/>
                </a:lnTo>
                <a:lnTo>
                  <a:pt x="6348115" y="551098"/>
                </a:lnTo>
                <a:lnTo>
                  <a:pt x="6343015" y="540271"/>
                </a:lnTo>
                <a:lnTo>
                  <a:pt x="6336286" y="525979"/>
                </a:lnTo>
                <a:lnTo>
                  <a:pt x="6334876" y="513311"/>
                </a:lnTo>
                <a:lnTo>
                  <a:pt x="6331295" y="505516"/>
                </a:lnTo>
                <a:lnTo>
                  <a:pt x="6331295" y="501943"/>
                </a:lnTo>
                <a:lnTo>
                  <a:pt x="6335635" y="503784"/>
                </a:lnTo>
                <a:lnTo>
                  <a:pt x="6338565" y="509955"/>
                </a:lnTo>
                <a:lnTo>
                  <a:pt x="6343774" y="515585"/>
                </a:lnTo>
                <a:lnTo>
                  <a:pt x="6349526" y="516992"/>
                </a:lnTo>
                <a:lnTo>
                  <a:pt x="6354626" y="522731"/>
                </a:lnTo>
                <a:lnTo>
                  <a:pt x="6363524" y="523597"/>
                </a:lnTo>
                <a:lnTo>
                  <a:pt x="6382298" y="521432"/>
                </a:lnTo>
                <a:lnTo>
                  <a:pt x="6386421" y="523056"/>
                </a:lnTo>
                <a:lnTo>
                  <a:pt x="6390002" y="521215"/>
                </a:lnTo>
                <a:lnTo>
                  <a:pt x="6394668" y="525221"/>
                </a:lnTo>
                <a:lnTo>
                  <a:pt x="6395536" y="523922"/>
                </a:lnTo>
                <a:lnTo>
                  <a:pt x="6391955" y="518508"/>
                </a:lnTo>
                <a:lnTo>
                  <a:pt x="6393040" y="515476"/>
                </a:lnTo>
                <a:lnTo>
                  <a:pt x="6389460" y="512012"/>
                </a:lnTo>
                <a:lnTo>
                  <a:pt x="6391413" y="509630"/>
                </a:lnTo>
                <a:lnTo>
                  <a:pt x="6392172" y="505083"/>
                </a:lnTo>
                <a:lnTo>
                  <a:pt x="6408233" y="498370"/>
                </a:lnTo>
                <a:lnTo>
                  <a:pt x="6410729" y="499669"/>
                </a:lnTo>
                <a:lnTo>
                  <a:pt x="6414744" y="498911"/>
                </a:lnTo>
                <a:lnTo>
                  <a:pt x="6419844" y="501835"/>
                </a:lnTo>
                <a:lnTo>
                  <a:pt x="6427223" y="501835"/>
                </a:lnTo>
                <a:lnTo>
                  <a:pt x="6432866" y="507465"/>
                </a:lnTo>
                <a:lnTo>
                  <a:pt x="6438510" y="509089"/>
                </a:lnTo>
                <a:lnTo>
                  <a:pt x="6441547" y="514178"/>
                </a:lnTo>
                <a:lnTo>
                  <a:pt x="6449469" y="514178"/>
                </a:lnTo>
                <a:lnTo>
                  <a:pt x="6451965" y="518833"/>
                </a:lnTo>
                <a:lnTo>
                  <a:pt x="6462817" y="518833"/>
                </a:lnTo>
                <a:lnTo>
                  <a:pt x="6456089" y="515044"/>
                </a:lnTo>
                <a:lnTo>
                  <a:pt x="6456089" y="512662"/>
                </a:lnTo>
                <a:lnTo>
                  <a:pt x="6462600" y="514502"/>
                </a:lnTo>
                <a:lnTo>
                  <a:pt x="6466941" y="511037"/>
                </a:lnTo>
                <a:lnTo>
                  <a:pt x="6461732" y="508331"/>
                </a:lnTo>
                <a:lnTo>
                  <a:pt x="6465530" y="505083"/>
                </a:lnTo>
                <a:lnTo>
                  <a:pt x="6461406" y="500752"/>
                </a:lnTo>
                <a:lnTo>
                  <a:pt x="6455221" y="504000"/>
                </a:lnTo>
                <a:lnTo>
                  <a:pt x="6449795" y="502593"/>
                </a:lnTo>
                <a:lnTo>
                  <a:pt x="6449035" y="495013"/>
                </a:lnTo>
                <a:lnTo>
                  <a:pt x="6446865" y="489600"/>
                </a:lnTo>
                <a:lnTo>
                  <a:pt x="6449795" y="487218"/>
                </a:lnTo>
                <a:lnTo>
                  <a:pt x="6452725" y="489708"/>
                </a:lnTo>
                <a:lnTo>
                  <a:pt x="6456848" y="487001"/>
                </a:lnTo>
                <a:lnTo>
                  <a:pt x="6454353" y="483212"/>
                </a:lnTo>
                <a:lnTo>
                  <a:pt x="6457934" y="481913"/>
                </a:lnTo>
                <a:lnTo>
                  <a:pt x="6465312" y="487543"/>
                </a:lnTo>
                <a:lnTo>
                  <a:pt x="6467266" y="492740"/>
                </a:lnTo>
                <a:lnTo>
                  <a:pt x="6470305" y="491658"/>
                </a:lnTo>
                <a:lnTo>
                  <a:pt x="6473018" y="494040"/>
                </a:lnTo>
                <a:lnTo>
                  <a:pt x="6475948" y="492415"/>
                </a:lnTo>
                <a:lnTo>
                  <a:pt x="6474320" y="486785"/>
                </a:lnTo>
                <a:lnTo>
                  <a:pt x="6479420" y="484836"/>
                </a:lnTo>
                <a:lnTo>
                  <a:pt x="6483001" y="487326"/>
                </a:lnTo>
                <a:lnTo>
                  <a:pt x="6484303" y="482995"/>
                </a:lnTo>
                <a:lnTo>
                  <a:pt x="6476924" y="474334"/>
                </a:lnTo>
                <a:lnTo>
                  <a:pt x="6471064" y="473793"/>
                </a:lnTo>
                <a:lnTo>
                  <a:pt x="6465312" y="467838"/>
                </a:lnTo>
                <a:lnTo>
                  <a:pt x="6466398" y="462424"/>
                </a:lnTo>
                <a:lnTo>
                  <a:pt x="6463902" y="458634"/>
                </a:lnTo>
                <a:lnTo>
                  <a:pt x="6458910" y="460800"/>
                </a:lnTo>
                <a:lnTo>
                  <a:pt x="6454027" y="459501"/>
                </a:lnTo>
                <a:lnTo>
                  <a:pt x="6459996" y="456036"/>
                </a:lnTo>
                <a:lnTo>
                  <a:pt x="6457825" y="451922"/>
                </a:lnTo>
                <a:lnTo>
                  <a:pt x="6458910" y="450623"/>
                </a:lnTo>
                <a:lnTo>
                  <a:pt x="6455112" y="444885"/>
                </a:lnTo>
                <a:lnTo>
                  <a:pt x="6463251" y="444885"/>
                </a:lnTo>
                <a:lnTo>
                  <a:pt x="6464879" y="436222"/>
                </a:lnTo>
                <a:lnTo>
                  <a:pt x="6455980" y="438929"/>
                </a:lnTo>
                <a:lnTo>
                  <a:pt x="6450881" y="444018"/>
                </a:lnTo>
                <a:lnTo>
                  <a:pt x="6450012" y="449215"/>
                </a:lnTo>
                <a:lnTo>
                  <a:pt x="6441547" y="446833"/>
                </a:lnTo>
                <a:lnTo>
                  <a:pt x="6436448" y="437630"/>
                </a:lnTo>
                <a:lnTo>
                  <a:pt x="6439160" y="433083"/>
                </a:lnTo>
                <a:lnTo>
                  <a:pt x="6440028" y="426370"/>
                </a:lnTo>
                <a:lnTo>
                  <a:pt x="6448167" y="423338"/>
                </a:lnTo>
                <a:lnTo>
                  <a:pt x="6453268" y="424096"/>
                </a:lnTo>
                <a:lnTo>
                  <a:pt x="6461623" y="416301"/>
                </a:lnTo>
                <a:lnTo>
                  <a:pt x="6461623" y="412836"/>
                </a:lnTo>
                <a:lnTo>
                  <a:pt x="6456740" y="407098"/>
                </a:lnTo>
                <a:lnTo>
                  <a:pt x="6452182" y="407856"/>
                </a:lnTo>
                <a:lnTo>
                  <a:pt x="6447624" y="406015"/>
                </a:lnTo>
                <a:lnTo>
                  <a:pt x="6439486" y="406015"/>
                </a:lnTo>
                <a:lnTo>
                  <a:pt x="6434277" y="399735"/>
                </a:lnTo>
                <a:lnTo>
                  <a:pt x="6441114" y="397028"/>
                </a:lnTo>
                <a:lnTo>
                  <a:pt x="6450555" y="395621"/>
                </a:lnTo>
                <a:lnTo>
                  <a:pt x="6461406" y="400277"/>
                </a:lnTo>
                <a:lnTo>
                  <a:pt x="6471390" y="398328"/>
                </a:lnTo>
                <a:lnTo>
                  <a:pt x="6487451" y="398328"/>
                </a:lnTo>
                <a:lnTo>
                  <a:pt x="6515122" y="396379"/>
                </a:lnTo>
                <a:lnTo>
                  <a:pt x="6519679" y="393673"/>
                </a:lnTo>
                <a:lnTo>
                  <a:pt x="6540081" y="393673"/>
                </a:lnTo>
                <a:lnTo>
                  <a:pt x="6549304" y="394755"/>
                </a:lnTo>
                <a:lnTo>
                  <a:pt x="6556141" y="393673"/>
                </a:lnTo>
                <a:lnTo>
                  <a:pt x="6567752" y="393673"/>
                </a:lnTo>
                <a:lnTo>
                  <a:pt x="6561567" y="395621"/>
                </a:lnTo>
                <a:lnTo>
                  <a:pt x="6545615" y="402659"/>
                </a:lnTo>
                <a:lnTo>
                  <a:pt x="6540298" y="399952"/>
                </a:lnTo>
                <a:lnTo>
                  <a:pt x="6537802" y="400818"/>
                </a:lnTo>
                <a:lnTo>
                  <a:pt x="6532702" y="398869"/>
                </a:lnTo>
                <a:lnTo>
                  <a:pt x="6529663" y="408938"/>
                </a:lnTo>
                <a:lnTo>
                  <a:pt x="6534546" y="414352"/>
                </a:lnTo>
                <a:lnTo>
                  <a:pt x="6530531" y="415976"/>
                </a:lnTo>
                <a:lnTo>
                  <a:pt x="6529446" y="419549"/>
                </a:lnTo>
                <a:lnTo>
                  <a:pt x="6534112" y="422473"/>
                </a:lnTo>
                <a:lnTo>
                  <a:pt x="6541165" y="417383"/>
                </a:lnTo>
                <a:lnTo>
                  <a:pt x="6541165" y="412295"/>
                </a:lnTo>
                <a:lnTo>
                  <a:pt x="6553645" y="403850"/>
                </a:lnTo>
                <a:lnTo>
                  <a:pt x="6569706" y="397570"/>
                </a:lnTo>
                <a:lnTo>
                  <a:pt x="6572093" y="406232"/>
                </a:lnTo>
                <a:lnTo>
                  <a:pt x="6572853" y="418467"/>
                </a:lnTo>
                <a:lnTo>
                  <a:pt x="6571442" y="421173"/>
                </a:lnTo>
                <a:lnTo>
                  <a:pt x="6568512" y="413377"/>
                </a:lnTo>
                <a:lnTo>
                  <a:pt x="6563846" y="408830"/>
                </a:lnTo>
                <a:lnTo>
                  <a:pt x="6563846" y="403741"/>
                </a:lnTo>
                <a:lnTo>
                  <a:pt x="6558962" y="408073"/>
                </a:lnTo>
                <a:lnTo>
                  <a:pt x="6555708" y="406773"/>
                </a:lnTo>
                <a:lnTo>
                  <a:pt x="6558854" y="415218"/>
                </a:lnTo>
                <a:lnTo>
                  <a:pt x="6563737" y="417167"/>
                </a:lnTo>
                <a:lnTo>
                  <a:pt x="6565582" y="426695"/>
                </a:lnTo>
                <a:lnTo>
                  <a:pt x="6562110" y="434274"/>
                </a:lnTo>
                <a:lnTo>
                  <a:pt x="6558854" y="432866"/>
                </a:lnTo>
                <a:lnTo>
                  <a:pt x="6555381" y="435790"/>
                </a:lnTo>
                <a:lnTo>
                  <a:pt x="6561024" y="439579"/>
                </a:lnTo>
                <a:lnTo>
                  <a:pt x="6561024" y="442827"/>
                </a:lnTo>
                <a:lnTo>
                  <a:pt x="6563195" y="445209"/>
                </a:lnTo>
                <a:lnTo>
                  <a:pt x="6567210" y="445209"/>
                </a:lnTo>
                <a:lnTo>
                  <a:pt x="6573396" y="440337"/>
                </a:lnTo>
                <a:lnTo>
                  <a:pt x="6573396" y="433191"/>
                </a:lnTo>
                <a:lnTo>
                  <a:pt x="6578062" y="426153"/>
                </a:lnTo>
                <a:lnTo>
                  <a:pt x="6576217" y="421606"/>
                </a:lnTo>
                <a:lnTo>
                  <a:pt x="6576759" y="415110"/>
                </a:lnTo>
                <a:lnTo>
                  <a:pt x="6574915" y="390749"/>
                </a:lnTo>
                <a:lnTo>
                  <a:pt x="6583270" y="384037"/>
                </a:lnTo>
                <a:lnTo>
                  <a:pt x="6595967" y="381329"/>
                </a:lnTo>
                <a:lnTo>
                  <a:pt x="6609857" y="377757"/>
                </a:lnTo>
                <a:lnTo>
                  <a:pt x="6622662" y="379380"/>
                </a:lnTo>
                <a:lnTo>
                  <a:pt x="6638614" y="385119"/>
                </a:lnTo>
                <a:lnTo>
                  <a:pt x="6646536" y="395946"/>
                </a:lnTo>
                <a:lnTo>
                  <a:pt x="6645776" y="401359"/>
                </a:lnTo>
                <a:lnTo>
                  <a:pt x="6641760" y="404283"/>
                </a:lnTo>
                <a:lnTo>
                  <a:pt x="6633080" y="397570"/>
                </a:lnTo>
                <a:lnTo>
                  <a:pt x="6632211" y="398978"/>
                </a:lnTo>
                <a:lnTo>
                  <a:pt x="6633840" y="404066"/>
                </a:lnTo>
                <a:lnTo>
                  <a:pt x="6633840" y="408722"/>
                </a:lnTo>
                <a:lnTo>
                  <a:pt x="6634924" y="413269"/>
                </a:lnTo>
                <a:lnTo>
                  <a:pt x="6630800" y="416734"/>
                </a:lnTo>
                <a:lnTo>
                  <a:pt x="6634273" y="418141"/>
                </a:lnTo>
                <a:lnTo>
                  <a:pt x="6639482" y="414893"/>
                </a:lnTo>
                <a:lnTo>
                  <a:pt x="6647620" y="414352"/>
                </a:lnTo>
                <a:lnTo>
                  <a:pt x="6652504" y="409479"/>
                </a:lnTo>
                <a:lnTo>
                  <a:pt x="6654674" y="416517"/>
                </a:lnTo>
                <a:lnTo>
                  <a:pt x="6657387" y="421606"/>
                </a:lnTo>
                <a:lnTo>
                  <a:pt x="6658147" y="427561"/>
                </a:lnTo>
                <a:lnTo>
                  <a:pt x="6661077" y="430593"/>
                </a:lnTo>
                <a:lnTo>
                  <a:pt x="6664115" y="425179"/>
                </a:lnTo>
                <a:lnTo>
                  <a:pt x="6663247" y="421931"/>
                </a:lnTo>
                <a:lnTo>
                  <a:pt x="6668998" y="416734"/>
                </a:lnTo>
                <a:lnTo>
                  <a:pt x="6674750" y="419657"/>
                </a:lnTo>
                <a:lnTo>
                  <a:pt x="6676920" y="425612"/>
                </a:lnTo>
                <a:lnTo>
                  <a:pt x="6674750" y="428860"/>
                </a:lnTo>
                <a:lnTo>
                  <a:pt x="6672905" y="435573"/>
                </a:lnTo>
                <a:lnTo>
                  <a:pt x="6674316" y="437955"/>
                </a:lnTo>
                <a:lnTo>
                  <a:pt x="6677788" y="436114"/>
                </a:lnTo>
                <a:lnTo>
                  <a:pt x="6680284" y="430159"/>
                </a:lnTo>
                <a:lnTo>
                  <a:pt x="6682781" y="429077"/>
                </a:lnTo>
                <a:lnTo>
                  <a:pt x="6684734" y="432650"/>
                </a:lnTo>
                <a:lnTo>
                  <a:pt x="6684734" y="427236"/>
                </a:lnTo>
                <a:lnTo>
                  <a:pt x="6689400" y="417708"/>
                </a:lnTo>
                <a:lnTo>
                  <a:pt x="6691353" y="415759"/>
                </a:lnTo>
                <a:lnTo>
                  <a:pt x="6694934" y="417600"/>
                </a:lnTo>
                <a:lnTo>
                  <a:pt x="6705786" y="425179"/>
                </a:lnTo>
                <a:lnTo>
                  <a:pt x="6717940" y="428102"/>
                </a:lnTo>
                <a:lnTo>
                  <a:pt x="6724668" y="436006"/>
                </a:lnTo>
                <a:lnTo>
                  <a:pt x="6723582" y="440120"/>
                </a:lnTo>
                <a:lnTo>
                  <a:pt x="6715769" y="444777"/>
                </a:lnTo>
                <a:lnTo>
                  <a:pt x="6710560" y="450189"/>
                </a:lnTo>
                <a:lnTo>
                  <a:pt x="6717398" y="446725"/>
                </a:lnTo>
                <a:lnTo>
                  <a:pt x="6727489" y="444559"/>
                </a:lnTo>
                <a:lnTo>
                  <a:pt x="6734218" y="446942"/>
                </a:lnTo>
                <a:lnTo>
                  <a:pt x="6742138" y="444993"/>
                </a:lnTo>
                <a:lnTo>
                  <a:pt x="6747890" y="439795"/>
                </a:lnTo>
                <a:lnTo>
                  <a:pt x="6753316" y="437306"/>
                </a:lnTo>
                <a:lnTo>
                  <a:pt x="6762866" y="429402"/>
                </a:lnTo>
                <a:lnTo>
                  <a:pt x="6767532" y="427561"/>
                </a:lnTo>
                <a:lnTo>
                  <a:pt x="6775344" y="419765"/>
                </a:lnTo>
                <a:lnTo>
                  <a:pt x="6782073" y="418141"/>
                </a:lnTo>
                <a:lnTo>
                  <a:pt x="6799978" y="409155"/>
                </a:lnTo>
                <a:lnTo>
                  <a:pt x="6808877" y="406124"/>
                </a:lnTo>
                <a:lnTo>
                  <a:pt x="6814085" y="407206"/>
                </a:lnTo>
                <a:lnTo>
                  <a:pt x="6814085" y="405257"/>
                </a:lnTo>
                <a:lnTo>
                  <a:pt x="6824178" y="398544"/>
                </a:lnTo>
                <a:lnTo>
                  <a:pt x="6829820" y="397462"/>
                </a:lnTo>
                <a:lnTo>
                  <a:pt x="6842082" y="397462"/>
                </a:lnTo>
                <a:lnTo>
                  <a:pt x="6865414" y="405257"/>
                </a:lnTo>
                <a:lnTo>
                  <a:pt x="6875397" y="416084"/>
                </a:lnTo>
                <a:lnTo>
                  <a:pt x="6885490" y="421281"/>
                </a:lnTo>
                <a:lnTo>
                  <a:pt x="6893953" y="431026"/>
                </a:lnTo>
                <a:lnTo>
                  <a:pt x="6898512" y="439471"/>
                </a:lnTo>
                <a:lnTo>
                  <a:pt x="6898512" y="444018"/>
                </a:lnTo>
                <a:lnTo>
                  <a:pt x="6900681" y="446509"/>
                </a:lnTo>
                <a:lnTo>
                  <a:pt x="6900681" y="453330"/>
                </a:lnTo>
                <a:lnTo>
                  <a:pt x="6905564" y="462749"/>
                </a:lnTo>
                <a:lnTo>
                  <a:pt x="6905564" y="467297"/>
                </a:lnTo>
                <a:lnTo>
                  <a:pt x="6902092" y="472385"/>
                </a:lnTo>
                <a:lnTo>
                  <a:pt x="6907518" y="471085"/>
                </a:lnTo>
                <a:lnTo>
                  <a:pt x="6913161" y="464373"/>
                </a:lnTo>
                <a:lnTo>
                  <a:pt x="6919672" y="464373"/>
                </a:lnTo>
                <a:lnTo>
                  <a:pt x="6922710" y="467405"/>
                </a:lnTo>
                <a:lnTo>
                  <a:pt x="6922710" y="463940"/>
                </a:lnTo>
                <a:lnTo>
                  <a:pt x="6929221" y="463074"/>
                </a:lnTo>
                <a:lnTo>
                  <a:pt x="6934431" y="466106"/>
                </a:lnTo>
                <a:lnTo>
                  <a:pt x="6936600" y="471844"/>
                </a:lnTo>
                <a:lnTo>
                  <a:pt x="6937686" y="467297"/>
                </a:lnTo>
                <a:lnTo>
                  <a:pt x="6935732" y="459934"/>
                </a:lnTo>
                <a:lnTo>
                  <a:pt x="6939856" y="459934"/>
                </a:lnTo>
                <a:lnTo>
                  <a:pt x="6943437" y="466213"/>
                </a:lnTo>
                <a:lnTo>
                  <a:pt x="6951359" y="473793"/>
                </a:lnTo>
                <a:lnTo>
                  <a:pt x="6952770" y="482454"/>
                </a:lnTo>
                <a:lnTo>
                  <a:pt x="6957110" y="482454"/>
                </a:lnTo>
                <a:lnTo>
                  <a:pt x="6964164" y="491333"/>
                </a:lnTo>
                <a:lnTo>
                  <a:pt x="6964164" y="488626"/>
                </a:lnTo>
                <a:lnTo>
                  <a:pt x="6961776" y="481046"/>
                </a:lnTo>
                <a:lnTo>
                  <a:pt x="6957110" y="478881"/>
                </a:lnTo>
                <a:lnTo>
                  <a:pt x="6956242" y="474550"/>
                </a:lnTo>
                <a:lnTo>
                  <a:pt x="6961342" y="477474"/>
                </a:lnTo>
                <a:lnTo>
                  <a:pt x="6965358" y="476932"/>
                </a:lnTo>
                <a:lnTo>
                  <a:pt x="6970241" y="481805"/>
                </a:lnTo>
                <a:lnTo>
                  <a:pt x="6976752" y="490791"/>
                </a:lnTo>
                <a:lnTo>
                  <a:pt x="6975450" y="483537"/>
                </a:lnTo>
                <a:lnTo>
                  <a:pt x="6966551" y="471085"/>
                </a:lnTo>
                <a:lnTo>
                  <a:pt x="6966551" y="460258"/>
                </a:lnTo>
                <a:lnTo>
                  <a:pt x="6966551" y="451164"/>
                </a:lnTo>
                <a:lnTo>
                  <a:pt x="6972303" y="444559"/>
                </a:lnTo>
                <a:lnTo>
                  <a:pt x="6981852" y="443585"/>
                </a:lnTo>
                <a:lnTo>
                  <a:pt x="6986301" y="440120"/>
                </a:lnTo>
                <a:lnTo>
                  <a:pt x="6994549" y="436764"/>
                </a:lnTo>
                <a:lnTo>
                  <a:pt x="6994006" y="433191"/>
                </a:lnTo>
                <a:lnTo>
                  <a:pt x="6995633" y="431350"/>
                </a:lnTo>
                <a:lnTo>
                  <a:pt x="6998890" y="431350"/>
                </a:lnTo>
                <a:lnTo>
                  <a:pt x="7003664" y="435898"/>
                </a:lnTo>
                <a:lnTo>
                  <a:pt x="7007679" y="437197"/>
                </a:lnTo>
                <a:lnTo>
                  <a:pt x="7014624" y="435790"/>
                </a:lnTo>
                <a:lnTo>
                  <a:pt x="7021026" y="430810"/>
                </a:lnTo>
                <a:lnTo>
                  <a:pt x="7024499" y="432000"/>
                </a:lnTo>
                <a:lnTo>
                  <a:pt x="7033072" y="428860"/>
                </a:lnTo>
                <a:lnTo>
                  <a:pt x="7043055" y="429618"/>
                </a:lnTo>
                <a:lnTo>
                  <a:pt x="7047504" y="426695"/>
                </a:lnTo>
                <a:lnTo>
                  <a:pt x="7049783" y="426695"/>
                </a:lnTo>
                <a:lnTo>
                  <a:pt x="7050434" y="429618"/>
                </a:lnTo>
                <a:lnTo>
                  <a:pt x="7053473" y="432758"/>
                </a:lnTo>
                <a:lnTo>
                  <a:pt x="7055535" y="427669"/>
                </a:lnTo>
                <a:lnTo>
                  <a:pt x="7061069" y="419982"/>
                </a:lnTo>
                <a:lnTo>
                  <a:pt x="7060201" y="416517"/>
                </a:lnTo>
                <a:lnTo>
                  <a:pt x="7060201" y="410130"/>
                </a:lnTo>
                <a:lnTo>
                  <a:pt x="7060201" y="404824"/>
                </a:lnTo>
                <a:lnTo>
                  <a:pt x="7062696" y="402550"/>
                </a:lnTo>
                <a:lnTo>
                  <a:pt x="7070293" y="404392"/>
                </a:lnTo>
                <a:lnTo>
                  <a:pt x="7072789" y="409804"/>
                </a:lnTo>
                <a:lnTo>
                  <a:pt x="7073874" y="412728"/>
                </a:lnTo>
                <a:lnTo>
                  <a:pt x="7080060" y="413486"/>
                </a:lnTo>
                <a:lnTo>
                  <a:pt x="7084400" y="416951"/>
                </a:lnTo>
                <a:lnTo>
                  <a:pt x="7084400" y="422689"/>
                </a:lnTo>
                <a:lnTo>
                  <a:pt x="7091237" y="430268"/>
                </a:lnTo>
                <a:lnTo>
                  <a:pt x="7094709" y="432650"/>
                </a:lnTo>
                <a:lnTo>
                  <a:pt x="7101980" y="431567"/>
                </a:lnTo>
                <a:lnTo>
                  <a:pt x="7112832" y="434057"/>
                </a:lnTo>
                <a:lnTo>
                  <a:pt x="7114460" y="432650"/>
                </a:lnTo>
                <a:lnTo>
                  <a:pt x="7117932" y="432650"/>
                </a:lnTo>
                <a:lnTo>
                  <a:pt x="7125853" y="443477"/>
                </a:lnTo>
                <a:lnTo>
                  <a:pt x="7125853" y="448674"/>
                </a:lnTo>
                <a:lnTo>
                  <a:pt x="7128892" y="451597"/>
                </a:lnTo>
                <a:lnTo>
                  <a:pt x="7136814" y="452679"/>
                </a:lnTo>
                <a:lnTo>
                  <a:pt x="7140612" y="449973"/>
                </a:lnTo>
                <a:lnTo>
                  <a:pt x="7146581" y="449215"/>
                </a:lnTo>
                <a:lnTo>
                  <a:pt x="7145821" y="445426"/>
                </a:lnTo>
                <a:lnTo>
                  <a:pt x="7151464" y="441853"/>
                </a:lnTo>
                <a:lnTo>
                  <a:pt x="7154719" y="442935"/>
                </a:lnTo>
                <a:lnTo>
                  <a:pt x="7156672" y="440987"/>
                </a:lnTo>
                <a:lnTo>
                  <a:pt x="7153417" y="436439"/>
                </a:lnTo>
                <a:lnTo>
                  <a:pt x="7155586" y="434491"/>
                </a:lnTo>
                <a:lnTo>
                  <a:pt x="7154177" y="431567"/>
                </a:lnTo>
                <a:lnTo>
                  <a:pt x="7154177" y="428319"/>
                </a:lnTo>
                <a:lnTo>
                  <a:pt x="7149510" y="422364"/>
                </a:lnTo>
                <a:lnTo>
                  <a:pt x="7142674" y="419982"/>
                </a:lnTo>
                <a:lnTo>
                  <a:pt x="7141046" y="412403"/>
                </a:lnTo>
                <a:lnTo>
                  <a:pt x="7132365" y="403958"/>
                </a:lnTo>
                <a:lnTo>
                  <a:pt x="7128892" y="403092"/>
                </a:lnTo>
                <a:lnTo>
                  <a:pt x="7126722" y="399519"/>
                </a:lnTo>
                <a:lnTo>
                  <a:pt x="7118258" y="395512"/>
                </a:lnTo>
                <a:lnTo>
                  <a:pt x="7113917" y="399302"/>
                </a:lnTo>
                <a:lnTo>
                  <a:pt x="7111204" y="399302"/>
                </a:lnTo>
                <a:lnTo>
                  <a:pt x="7111204" y="393131"/>
                </a:lnTo>
                <a:lnTo>
                  <a:pt x="7113157" y="390208"/>
                </a:lnTo>
                <a:lnTo>
                  <a:pt x="7109576" y="382953"/>
                </a:lnTo>
                <a:lnTo>
                  <a:pt x="7108165" y="378081"/>
                </a:lnTo>
                <a:lnTo>
                  <a:pt x="7105236" y="375916"/>
                </a:lnTo>
                <a:lnTo>
                  <a:pt x="7102197" y="368120"/>
                </a:lnTo>
                <a:lnTo>
                  <a:pt x="7095578" y="363248"/>
                </a:lnTo>
                <a:lnTo>
                  <a:pt x="7096662" y="361949"/>
                </a:lnTo>
                <a:lnTo>
                  <a:pt x="7107514" y="360217"/>
                </a:lnTo>
                <a:lnTo>
                  <a:pt x="7110662" y="362165"/>
                </a:lnTo>
                <a:lnTo>
                  <a:pt x="7123683" y="360866"/>
                </a:lnTo>
                <a:lnTo>
                  <a:pt x="7134535" y="360866"/>
                </a:lnTo>
                <a:lnTo>
                  <a:pt x="7134535" y="357402"/>
                </a:lnTo>
                <a:lnTo>
                  <a:pt x="7140178" y="355453"/>
                </a:lnTo>
                <a:lnTo>
                  <a:pt x="7146472" y="359567"/>
                </a:lnTo>
                <a:lnTo>
                  <a:pt x="7150487" y="357727"/>
                </a:lnTo>
                <a:lnTo>
                  <a:pt x="7153742" y="357727"/>
                </a:lnTo>
                <a:lnTo>
                  <a:pt x="7153742" y="353179"/>
                </a:lnTo>
                <a:lnTo>
                  <a:pt x="7160470" y="352421"/>
                </a:lnTo>
                <a:lnTo>
                  <a:pt x="7162316" y="355669"/>
                </a:lnTo>
                <a:lnTo>
                  <a:pt x="7164160" y="355669"/>
                </a:lnTo>
                <a:lnTo>
                  <a:pt x="7166655" y="350256"/>
                </a:lnTo>
                <a:lnTo>
                  <a:pt x="7171213" y="351880"/>
                </a:lnTo>
                <a:lnTo>
                  <a:pt x="7171213" y="347224"/>
                </a:lnTo>
                <a:lnTo>
                  <a:pt x="7190420" y="342136"/>
                </a:lnTo>
                <a:lnTo>
                  <a:pt x="7192809" y="346682"/>
                </a:lnTo>
                <a:lnTo>
                  <a:pt x="7193893" y="342894"/>
                </a:lnTo>
                <a:lnTo>
                  <a:pt x="7195955" y="340511"/>
                </a:lnTo>
                <a:lnTo>
                  <a:pt x="7197800" y="341811"/>
                </a:lnTo>
                <a:lnTo>
                  <a:pt x="7204528" y="340945"/>
                </a:lnTo>
                <a:lnTo>
                  <a:pt x="7207784" y="340403"/>
                </a:lnTo>
                <a:lnTo>
                  <a:pt x="7211906" y="343976"/>
                </a:lnTo>
                <a:lnTo>
                  <a:pt x="7220805" y="343976"/>
                </a:lnTo>
                <a:lnTo>
                  <a:pt x="7225364" y="341919"/>
                </a:lnTo>
                <a:lnTo>
                  <a:pt x="7227750" y="344951"/>
                </a:lnTo>
                <a:lnTo>
                  <a:pt x="7231223" y="346250"/>
                </a:lnTo>
                <a:lnTo>
                  <a:pt x="7233936" y="343001"/>
                </a:lnTo>
                <a:lnTo>
                  <a:pt x="7241749" y="342136"/>
                </a:lnTo>
                <a:lnTo>
                  <a:pt x="7256617" y="346791"/>
                </a:lnTo>
                <a:lnTo>
                  <a:pt x="7262042" y="349282"/>
                </a:lnTo>
                <a:lnTo>
                  <a:pt x="7265514" y="348198"/>
                </a:lnTo>
                <a:lnTo>
                  <a:pt x="7263887" y="346791"/>
                </a:lnTo>
                <a:lnTo>
                  <a:pt x="7268987" y="345492"/>
                </a:lnTo>
                <a:lnTo>
                  <a:pt x="7272785" y="348198"/>
                </a:lnTo>
                <a:lnTo>
                  <a:pt x="7270072" y="350689"/>
                </a:lnTo>
                <a:lnTo>
                  <a:pt x="7272459" y="352313"/>
                </a:lnTo>
                <a:lnTo>
                  <a:pt x="7279513" y="350472"/>
                </a:lnTo>
                <a:lnTo>
                  <a:pt x="7296007" y="352313"/>
                </a:lnTo>
                <a:lnTo>
                  <a:pt x="7309898" y="361733"/>
                </a:lnTo>
                <a:lnTo>
                  <a:pt x="7309138" y="363898"/>
                </a:lnTo>
                <a:lnTo>
                  <a:pt x="7304797" y="361733"/>
                </a:lnTo>
                <a:lnTo>
                  <a:pt x="7296442" y="358701"/>
                </a:lnTo>
                <a:lnTo>
                  <a:pt x="7295900" y="360541"/>
                </a:lnTo>
                <a:lnTo>
                  <a:pt x="7310223" y="365630"/>
                </a:lnTo>
                <a:lnTo>
                  <a:pt x="7317494" y="365630"/>
                </a:lnTo>
                <a:lnTo>
                  <a:pt x="7319122" y="361841"/>
                </a:lnTo>
                <a:lnTo>
                  <a:pt x="7325307" y="361300"/>
                </a:lnTo>
                <a:lnTo>
                  <a:pt x="7332144" y="361300"/>
                </a:lnTo>
                <a:lnTo>
                  <a:pt x="7330841" y="357294"/>
                </a:lnTo>
                <a:lnTo>
                  <a:pt x="7333771" y="355886"/>
                </a:lnTo>
                <a:lnTo>
                  <a:pt x="7338112" y="359351"/>
                </a:lnTo>
                <a:lnTo>
                  <a:pt x="7342670" y="360758"/>
                </a:lnTo>
                <a:lnTo>
                  <a:pt x="7345166" y="362382"/>
                </a:lnTo>
                <a:lnTo>
                  <a:pt x="7345166" y="359892"/>
                </a:lnTo>
                <a:lnTo>
                  <a:pt x="7345925" y="358593"/>
                </a:lnTo>
                <a:lnTo>
                  <a:pt x="7352979" y="360433"/>
                </a:lnTo>
                <a:lnTo>
                  <a:pt x="7352979" y="363465"/>
                </a:lnTo>
                <a:lnTo>
                  <a:pt x="7360792" y="366172"/>
                </a:lnTo>
                <a:lnTo>
                  <a:pt x="7366435" y="364006"/>
                </a:lnTo>
                <a:lnTo>
                  <a:pt x="7386836" y="368012"/>
                </a:lnTo>
                <a:lnTo>
                  <a:pt x="7384666" y="364223"/>
                </a:lnTo>
                <a:lnTo>
                  <a:pt x="7391502" y="364223"/>
                </a:lnTo>
                <a:lnTo>
                  <a:pt x="7393456" y="368337"/>
                </a:lnTo>
                <a:lnTo>
                  <a:pt x="7397471" y="369636"/>
                </a:lnTo>
                <a:lnTo>
                  <a:pt x="7396602" y="365089"/>
                </a:lnTo>
                <a:lnTo>
                  <a:pt x="7398447" y="364331"/>
                </a:lnTo>
                <a:lnTo>
                  <a:pt x="7406260" y="365739"/>
                </a:lnTo>
                <a:lnTo>
                  <a:pt x="7404850" y="368120"/>
                </a:lnTo>
                <a:lnTo>
                  <a:pt x="7408648" y="372776"/>
                </a:lnTo>
                <a:lnTo>
                  <a:pt x="7415375" y="370935"/>
                </a:lnTo>
                <a:lnTo>
                  <a:pt x="7415375" y="368445"/>
                </a:lnTo>
                <a:lnTo>
                  <a:pt x="7412880" y="366821"/>
                </a:lnTo>
                <a:lnTo>
                  <a:pt x="7420476" y="366821"/>
                </a:lnTo>
                <a:lnTo>
                  <a:pt x="7422863" y="368445"/>
                </a:lnTo>
                <a:lnTo>
                  <a:pt x="7421779" y="371910"/>
                </a:lnTo>
                <a:lnTo>
                  <a:pt x="7426119" y="376241"/>
                </a:lnTo>
                <a:lnTo>
                  <a:pt x="7434474" y="379706"/>
                </a:lnTo>
                <a:lnTo>
                  <a:pt x="7440986" y="377215"/>
                </a:lnTo>
                <a:lnTo>
                  <a:pt x="7431979" y="373967"/>
                </a:lnTo>
                <a:lnTo>
                  <a:pt x="7427855" y="371586"/>
                </a:lnTo>
                <a:lnTo>
                  <a:pt x="7426878" y="368445"/>
                </a:lnTo>
                <a:lnTo>
                  <a:pt x="7431762" y="367362"/>
                </a:lnTo>
                <a:lnTo>
                  <a:pt x="7437404" y="368012"/>
                </a:lnTo>
                <a:lnTo>
                  <a:pt x="7446846" y="373209"/>
                </a:lnTo>
                <a:lnTo>
                  <a:pt x="7449016" y="378406"/>
                </a:lnTo>
                <a:lnTo>
                  <a:pt x="7451078" y="379814"/>
                </a:lnTo>
                <a:lnTo>
                  <a:pt x="7452488" y="375808"/>
                </a:lnTo>
                <a:lnTo>
                  <a:pt x="7451187" y="373967"/>
                </a:lnTo>
                <a:lnTo>
                  <a:pt x="7455093" y="374833"/>
                </a:lnTo>
                <a:lnTo>
                  <a:pt x="7458132" y="377649"/>
                </a:lnTo>
                <a:lnTo>
                  <a:pt x="7457372" y="379706"/>
                </a:lnTo>
                <a:lnTo>
                  <a:pt x="7462255" y="385227"/>
                </a:lnTo>
                <a:lnTo>
                  <a:pt x="7469851" y="398869"/>
                </a:lnTo>
                <a:lnTo>
                  <a:pt x="7478099" y="401576"/>
                </a:lnTo>
                <a:lnTo>
                  <a:pt x="7479509" y="406773"/>
                </a:lnTo>
                <a:lnTo>
                  <a:pt x="7483850" y="410563"/>
                </a:lnTo>
                <a:lnTo>
                  <a:pt x="7486780" y="415543"/>
                </a:lnTo>
                <a:lnTo>
                  <a:pt x="7484610" y="417925"/>
                </a:lnTo>
                <a:lnTo>
                  <a:pt x="7486128" y="423014"/>
                </a:lnTo>
                <a:lnTo>
                  <a:pt x="7489818" y="424530"/>
                </a:lnTo>
                <a:lnTo>
                  <a:pt x="7494593" y="420198"/>
                </a:lnTo>
                <a:lnTo>
                  <a:pt x="7500779" y="421065"/>
                </a:lnTo>
                <a:lnTo>
                  <a:pt x="7504685" y="427777"/>
                </a:lnTo>
                <a:lnTo>
                  <a:pt x="7508809" y="428860"/>
                </a:lnTo>
                <a:lnTo>
                  <a:pt x="7509676" y="427344"/>
                </a:lnTo>
                <a:lnTo>
                  <a:pt x="7507507" y="425828"/>
                </a:lnTo>
                <a:lnTo>
                  <a:pt x="7506096" y="421389"/>
                </a:lnTo>
                <a:lnTo>
                  <a:pt x="7508809" y="417383"/>
                </a:lnTo>
                <a:lnTo>
                  <a:pt x="7511739" y="418683"/>
                </a:lnTo>
                <a:lnTo>
                  <a:pt x="7514452" y="424746"/>
                </a:lnTo>
                <a:lnTo>
                  <a:pt x="7518792" y="429293"/>
                </a:lnTo>
                <a:lnTo>
                  <a:pt x="7518792" y="427236"/>
                </a:lnTo>
                <a:lnTo>
                  <a:pt x="7515646" y="419549"/>
                </a:lnTo>
                <a:lnTo>
                  <a:pt x="7515646" y="415326"/>
                </a:lnTo>
                <a:lnTo>
                  <a:pt x="7512173" y="411320"/>
                </a:lnTo>
                <a:lnTo>
                  <a:pt x="7506096" y="414569"/>
                </a:lnTo>
                <a:lnTo>
                  <a:pt x="7499802" y="415759"/>
                </a:lnTo>
                <a:lnTo>
                  <a:pt x="7498825" y="411861"/>
                </a:lnTo>
                <a:lnTo>
                  <a:pt x="7502081" y="408181"/>
                </a:lnTo>
                <a:lnTo>
                  <a:pt x="7500670" y="402659"/>
                </a:lnTo>
                <a:lnTo>
                  <a:pt x="7492097" y="396596"/>
                </a:lnTo>
                <a:lnTo>
                  <a:pt x="7487540" y="392590"/>
                </a:lnTo>
                <a:lnTo>
                  <a:pt x="7485369" y="387718"/>
                </a:lnTo>
                <a:lnTo>
                  <a:pt x="7482331" y="387718"/>
                </a:lnTo>
                <a:lnTo>
                  <a:pt x="7476146" y="392698"/>
                </a:lnTo>
                <a:lnTo>
                  <a:pt x="7475277" y="390208"/>
                </a:lnTo>
                <a:lnTo>
                  <a:pt x="7480161" y="386202"/>
                </a:lnTo>
                <a:lnTo>
                  <a:pt x="7483633" y="379164"/>
                </a:lnTo>
                <a:lnTo>
                  <a:pt x="7489818" y="370394"/>
                </a:lnTo>
                <a:lnTo>
                  <a:pt x="7492966" y="369636"/>
                </a:lnTo>
                <a:lnTo>
                  <a:pt x="7492314" y="372343"/>
                </a:lnTo>
                <a:lnTo>
                  <a:pt x="7496004" y="381221"/>
                </a:lnTo>
                <a:lnTo>
                  <a:pt x="7500887" y="382520"/>
                </a:lnTo>
                <a:lnTo>
                  <a:pt x="7502189" y="380572"/>
                </a:lnTo>
                <a:lnTo>
                  <a:pt x="7497849" y="376998"/>
                </a:lnTo>
                <a:lnTo>
                  <a:pt x="7496221" y="372776"/>
                </a:lnTo>
                <a:lnTo>
                  <a:pt x="7498608" y="372776"/>
                </a:lnTo>
                <a:lnTo>
                  <a:pt x="7504142" y="369312"/>
                </a:lnTo>
                <a:lnTo>
                  <a:pt x="7505878" y="365847"/>
                </a:lnTo>
                <a:lnTo>
                  <a:pt x="7499911" y="365847"/>
                </a:lnTo>
                <a:lnTo>
                  <a:pt x="7502406" y="363790"/>
                </a:lnTo>
                <a:lnTo>
                  <a:pt x="7504685" y="362490"/>
                </a:lnTo>
                <a:lnTo>
                  <a:pt x="7509351" y="361408"/>
                </a:lnTo>
                <a:lnTo>
                  <a:pt x="7513475" y="354586"/>
                </a:lnTo>
                <a:lnTo>
                  <a:pt x="7517599" y="354586"/>
                </a:lnTo>
                <a:lnTo>
                  <a:pt x="7519444" y="357402"/>
                </a:lnTo>
                <a:lnTo>
                  <a:pt x="7521830" y="356535"/>
                </a:lnTo>
                <a:lnTo>
                  <a:pt x="7526063" y="357619"/>
                </a:lnTo>
                <a:lnTo>
                  <a:pt x="7526714" y="359892"/>
                </a:lnTo>
                <a:lnTo>
                  <a:pt x="7530838" y="363898"/>
                </a:lnTo>
                <a:lnTo>
                  <a:pt x="7537782" y="365197"/>
                </a:lnTo>
                <a:lnTo>
                  <a:pt x="7541038" y="363465"/>
                </a:lnTo>
                <a:lnTo>
                  <a:pt x="7555796" y="366063"/>
                </a:lnTo>
                <a:lnTo>
                  <a:pt x="7554711" y="371152"/>
                </a:lnTo>
                <a:lnTo>
                  <a:pt x="7556014" y="373426"/>
                </a:lnTo>
                <a:lnTo>
                  <a:pt x="7558944" y="372235"/>
                </a:lnTo>
                <a:lnTo>
                  <a:pt x="7558944" y="368770"/>
                </a:lnTo>
                <a:lnTo>
                  <a:pt x="7563176" y="368770"/>
                </a:lnTo>
                <a:lnTo>
                  <a:pt x="7563176" y="374833"/>
                </a:lnTo>
                <a:lnTo>
                  <a:pt x="7567191" y="371910"/>
                </a:lnTo>
                <a:lnTo>
                  <a:pt x="7571748" y="366713"/>
                </a:lnTo>
                <a:lnTo>
                  <a:pt x="7576306" y="368337"/>
                </a:lnTo>
                <a:lnTo>
                  <a:pt x="7576306" y="371802"/>
                </a:lnTo>
                <a:lnTo>
                  <a:pt x="7573702" y="375374"/>
                </a:lnTo>
                <a:lnTo>
                  <a:pt x="7573268" y="377540"/>
                </a:lnTo>
                <a:lnTo>
                  <a:pt x="7577283" y="390316"/>
                </a:lnTo>
                <a:lnTo>
                  <a:pt x="7575546" y="396487"/>
                </a:lnTo>
                <a:lnTo>
                  <a:pt x="7576089" y="399302"/>
                </a:lnTo>
                <a:lnTo>
                  <a:pt x="7580539" y="398220"/>
                </a:lnTo>
                <a:lnTo>
                  <a:pt x="7583469" y="403200"/>
                </a:lnTo>
                <a:lnTo>
                  <a:pt x="7588678" y="405582"/>
                </a:lnTo>
                <a:lnTo>
                  <a:pt x="7590522" y="410563"/>
                </a:lnTo>
                <a:lnTo>
                  <a:pt x="7587918" y="413486"/>
                </a:lnTo>
                <a:lnTo>
                  <a:pt x="7580321" y="413486"/>
                </a:lnTo>
                <a:lnTo>
                  <a:pt x="7572291" y="414893"/>
                </a:lnTo>
                <a:lnTo>
                  <a:pt x="7583143" y="417275"/>
                </a:lnTo>
                <a:lnTo>
                  <a:pt x="7586073" y="421498"/>
                </a:lnTo>
                <a:lnTo>
                  <a:pt x="7584879" y="425504"/>
                </a:lnTo>
                <a:lnTo>
                  <a:pt x="7579454" y="426803"/>
                </a:lnTo>
                <a:lnTo>
                  <a:pt x="7574895" y="434815"/>
                </a:lnTo>
                <a:lnTo>
                  <a:pt x="7573268" y="432216"/>
                </a:lnTo>
                <a:lnTo>
                  <a:pt x="7567516" y="436872"/>
                </a:lnTo>
                <a:lnTo>
                  <a:pt x="7561114" y="436872"/>
                </a:lnTo>
                <a:lnTo>
                  <a:pt x="7556122" y="441420"/>
                </a:lnTo>
                <a:lnTo>
                  <a:pt x="7562850" y="440337"/>
                </a:lnTo>
                <a:lnTo>
                  <a:pt x="7566540" y="441528"/>
                </a:lnTo>
                <a:lnTo>
                  <a:pt x="7569036" y="445209"/>
                </a:lnTo>
                <a:lnTo>
                  <a:pt x="7572725" y="441420"/>
                </a:lnTo>
                <a:lnTo>
                  <a:pt x="7575004" y="441420"/>
                </a:lnTo>
                <a:lnTo>
                  <a:pt x="7575004" y="445534"/>
                </a:lnTo>
                <a:lnTo>
                  <a:pt x="7579561" y="451597"/>
                </a:lnTo>
                <a:lnTo>
                  <a:pt x="7575546" y="454087"/>
                </a:lnTo>
                <a:lnTo>
                  <a:pt x="7574462" y="461558"/>
                </a:lnTo>
                <a:lnTo>
                  <a:pt x="7580104" y="455711"/>
                </a:lnTo>
                <a:lnTo>
                  <a:pt x="7586073" y="455062"/>
                </a:lnTo>
                <a:lnTo>
                  <a:pt x="7592475" y="460475"/>
                </a:lnTo>
                <a:lnTo>
                  <a:pt x="7591715" y="463940"/>
                </a:lnTo>
                <a:lnTo>
                  <a:pt x="7595296" y="470111"/>
                </a:lnTo>
                <a:lnTo>
                  <a:pt x="7589654" y="474117"/>
                </a:lnTo>
                <a:lnTo>
                  <a:pt x="7592584" y="475525"/>
                </a:lnTo>
                <a:lnTo>
                  <a:pt x="7593886" y="482779"/>
                </a:lnTo>
                <a:lnTo>
                  <a:pt x="7588678" y="485160"/>
                </a:lnTo>
                <a:lnTo>
                  <a:pt x="7588678" y="488626"/>
                </a:lnTo>
                <a:lnTo>
                  <a:pt x="7590630" y="491658"/>
                </a:lnTo>
                <a:lnTo>
                  <a:pt x="7590630" y="487868"/>
                </a:lnTo>
                <a:lnTo>
                  <a:pt x="7594754" y="486785"/>
                </a:lnTo>
                <a:lnTo>
                  <a:pt x="7597684" y="490033"/>
                </a:lnTo>
                <a:lnTo>
                  <a:pt x="7596816" y="496205"/>
                </a:lnTo>
                <a:lnTo>
                  <a:pt x="7602242" y="494905"/>
                </a:lnTo>
                <a:lnTo>
                  <a:pt x="7603978" y="498370"/>
                </a:lnTo>
                <a:lnTo>
                  <a:pt x="7603978" y="494364"/>
                </a:lnTo>
                <a:lnTo>
                  <a:pt x="7606908" y="491874"/>
                </a:lnTo>
                <a:lnTo>
                  <a:pt x="7610380" y="493715"/>
                </a:lnTo>
                <a:lnTo>
                  <a:pt x="7615264" y="494472"/>
                </a:lnTo>
                <a:lnTo>
                  <a:pt x="7615264" y="500968"/>
                </a:lnTo>
                <a:lnTo>
                  <a:pt x="7611683" y="502593"/>
                </a:lnTo>
                <a:lnTo>
                  <a:pt x="7607342" y="499886"/>
                </a:lnTo>
                <a:lnTo>
                  <a:pt x="7604303" y="504000"/>
                </a:lnTo>
                <a:lnTo>
                  <a:pt x="7609729" y="507248"/>
                </a:lnTo>
                <a:lnTo>
                  <a:pt x="7613744" y="506491"/>
                </a:lnTo>
                <a:lnTo>
                  <a:pt x="7617109" y="512878"/>
                </a:lnTo>
                <a:lnTo>
                  <a:pt x="7617109" y="516126"/>
                </a:lnTo>
                <a:lnTo>
                  <a:pt x="7607885" y="521215"/>
                </a:lnTo>
                <a:lnTo>
                  <a:pt x="7602676" y="513419"/>
                </a:lnTo>
                <a:lnTo>
                  <a:pt x="7601048" y="512337"/>
                </a:lnTo>
                <a:lnTo>
                  <a:pt x="7603544" y="521215"/>
                </a:lnTo>
                <a:lnTo>
                  <a:pt x="7599963" y="524680"/>
                </a:lnTo>
                <a:lnTo>
                  <a:pt x="7597576" y="524680"/>
                </a:lnTo>
                <a:lnTo>
                  <a:pt x="7596274" y="522731"/>
                </a:lnTo>
                <a:lnTo>
                  <a:pt x="7592475" y="522731"/>
                </a:lnTo>
                <a:lnTo>
                  <a:pt x="7589437" y="520782"/>
                </a:lnTo>
                <a:lnTo>
                  <a:pt x="7578585" y="519916"/>
                </a:lnTo>
                <a:lnTo>
                  <a:pt x="7574462" y="522298"/>
                </a:lnTo>
                <a:lnTo>
                  <a:pt x="7569795" y="522298"/>
                </a:lnTo>
                <a:lnTo>
                  <a:pt x="7571098" y="518833"/>
                </a:lnTo>
                <a:lnTo>
                  <a:pt x="7569253" y="515585"/>
                </a:lnTo>
                <a:lnTo>
                  <a:pt x="7565672" y="514935"/>
                </a:lnTo>
                <a:lnTo>
                  <a:pt x="7566756" y="521107"/>
                </a:lnTo>
                <a:lnTo>
                  <a:pt x="7563827" y="521107"/>
                </a:lnTo>
                <a:lnTo>
                  <a:pt x="7562959" y="522514"/>
                </a:lnTo>
                <a:lnTo>
                  <a:pt x="7565237" y="526412"/>
                </a:lnTo>
                <a:lnTo>
                  <a:pt x="7561440" y="530959"/>
                </a:lnTo>
                <a:lnTo>
                  <a:pt x="7560028" y="530959"/>
                </a:lnTo>
                <a:lnTo>
                  <a:pt x="7560028" y="528577"/>
                </a:lnTo>
                <a:lnTo>
                  <a:pt x="7558184" y="527278"/>
                </a:lnTo>
                <a:lnTo>
                  <a:pt x="7548200" y="529768"/>
                </a:lnTo>
                <a:lnTo>
                  <a:pt x="7545596" y="528361"/>
                </a:lnTo>
                <a:lnTo>
                  <a:pt x="7545596" y="525654"/>
                </a:lnTo>
                <a:lnTo>
                  <a:pt x="7543642" y="519591"/>
                </a:lnTo>
                <a:lnTo>
                  <a:pt x="7541907" y="518400"/>
                </a:lnTo>
                <a:lnTo>
                  <a:pt x="7530404" y="509955"/>
                </a:lnTo>
                <a:lnTo>
                  <a:pt x="7528993" y="508115"/>
                </a:lnTo>
                <a:lnTo>
                  <a:pt x="7530186" y="506382"/>
                </a:lnTo>
                <a:lnTo>
                  <a:pt x="7522048" y="503675"/>
                </a:lnTo>
                <a:lnTo>
                  <a:pt x="7520962" y="508656"/>
                </a:lnTo>
                <a:lnTo>
                  <a:pt x="7512824" y="510821"/>
                </a:lnTo>
                <a:lnTo>
                  <a:pt x="7508700" y="514935"/>
                </a:lnTo>
                <a:lnTo>
                  <a:pt x="7505878" y="514935"/>
                </a:lnTo>
                <a:lnTo>
                  <a:pt x="7505878" y="508872"/>
                </a:lnTo>
                <a:lnTo>
                  <a:pt x="7503384" y="504217"/>
                </a:lnTo>
                <a:lnTo>
                  <a:pt x="7504685" y="508764"/>
                </a:lnTo>
                <a:lnTo>
                  <a:pt x="7503708" y="518292"/>
                </a:lnTo>
                <a:lnTo>
                  <a:pt x="7505770" y="523597"/>
                </a:lnTo>
                <a:lnTo>
                  <a:pt x="7504034" y="529227"/>
                </a:lnTo>
                <a:lnTo>
                  <a:pt x="7495244" y="541570"/>
                </a:lnTo>
                <a:lnTo>
                  <a:pt x="7490795" y="541570"/>
                </a:lnTo>
                <a:lnTo>
                  <a:pt x="7490795" y="533017"/>
                </a:lnTo>
                <a:lnTo>
                  <a:pt x="7485695" y="531068"/>
                </a:lnTo>
                <a:lnTo>
                  <a:pt x="7481354" y="533666"/>
                </a:lnTo>
                <a:lnTo>
                  <a:pt x="7469634" y="524788"/>
                </a:lnTo>
                <a:lnTo>
                  <a:pt x="7470394" y="520998"/>
                </a:lnTo>
                <a:lnTo>
                  <a:pt x="7468658" y="509521"/>
                </a:lnTo>
                <a:lnTo>
                  <a:pt x="7464208" y="507898"/>
                </a:lnTo>
                <a:lnTo>
                  <a:pt x="7462581" y="504649"/>
                </a:lnTo>
                <a:lnTo>
                  <a:pt x="7459976" y="501727"/>
                </a:lnTo>
                <a:lnTo>
                  <a:pt x="7457589" y="504109"/>
                </a:lnTo>
                <a:lnTo>
                  <a:pt x="7459217" y="507790"/>
                </a:lnTo>
                <a:lnTo>
                  <a:pt x="7459217" y="511796"/>
                </a:lnTo>
                <a:lnTo>
                  <a:pt x="7462146" y="515152"/>
                </a:lnTo>
                <a:lnTo>
                  <a:pt x="7460844" y="518508"/>
                </a:lnTo>
                <a:lnTo>
                  <a:pt x="7453356" y="514286"/>
                </a:lnTo>
                <a:lnTo>
                  <a:pt x="7448039" y="507790"/>
                </a:lnTo>
                <a:lnTo>
                  <a:pt x="7447063" y="508331"/>
                </a:lnTo>
                <a:lnTo>
                  <a:pt x="7449776" y="514502"/>
                </a:lnTo>
                <a:lnTo>
                  <a:pt x="7446737" y="516884"/>
                </a:lnTo>
                <a:lnTo>
                  <a:pt x="7448908" y="518725"/>
                </a:lnTo>
                <a:lnTo>
                  <a:pt x="7454551" y="518725"/>
                </a:lnTo>
                <a:lnTo>
                  <a:pt x="7457697" y="522514"/>
                </a:lnTo>
                <a:lnTo>
                  <a:pt x="7455853" y="527603"/>
                </a:lnTo>
                <a:lnTo>
                  <a:pt x="7448799" y="527603"/>
                </a:lnTo>
                <a:lnTo>
                  <a:pt x="7448039" y="530635"/>
                </a:lnTo>
                <a:lnTo>
                  <a:pt x="7451187" y="532259"/>
                </a:lnTo>
                <a:lnTo>
                  <a:pt x="7464425" y="547958"/>
                </a:lnTo>
                <a:lnTo>
                  <a:pt x="7474084" y="550556"/>
                </a:lnTo>
                <a:lnTo>
                  <a:pt x="7479618" y="548282"/>
                </a:lnTo>
                <a:lnTo>
                  <a:pt x="7485695" y="551314"/>
                </a:lnTo>
                <a:lnTo>
                  <a:pt x="7487431" y="558027"/>
                </a:lnTo>
                <a:lnTo>
                  <a:pt x="7486454" y="558027"/>
                </a:lnTo>
                <a:lnTo>
                  <a:pt x="7482114" y="552288"/>
                </a:lnTo>
                <a:lnTo>
                  <a:pt x="7479835" y="552288"/>
                </a:lnTo>
                <a:lnTo>
                  <a:pt x="7482874" y="559435"/>
                </a:lnTo>
                <a:lnTo>
                  <a:pt x="7489710" y="564631"/>
                </a:lnTo>
                <a:lnTo>
                  <a:pt x="7491554" y="570586"/>
                </a:lnTo>
                <a:lnTo>
                  <a:pt x="7496004" y="575892"/>
                </a:lnTo>
                <a:lnTo>
                  <a:pt x="7496004" y="586069"/>
                </a:lnTo>
                <a:lnTo>
                  <a:pt x="7492097" y="601768"/>
                </a:lnTo>
                <a:lnTo>
                  <a:pt x="7494485" y="610971"/>
                </a:lnTo>
                <a:lnTo>
                  <a:pt x="7494485" y="617467"/>
                </a:lnTo>
                <a:lnTo>
                  <a:pt x="7495896" y="620716"/>
                </a:lnTo>
                <a:lnTo>
                  <a:pt x="7490144" y="629594"/>
                </a:lnTo>
                <a:lnTo>
                  <a:pt x="7490144" y="635332"/>
                </a:lnTo>
                <a:lnTo>
                  <a:pt x="7486020" y="638364"/>
                </a:lnTo>
                <a:lnTo>
                  <a:pt x="7487322" y="633925"/>
                </a:lnTo>
                <a:lnTo>
                  <a:pt x="7486020" y="632084"/>
                </a:lnTo>
                <a:lnTo>
                  <a:pt x="7475169" y="640421"/>
                </a:lnTo>
                <a:lnTo>
                  <a:pt x="7472456" y="637173"/>
                </a:lnTo>
                <a:lnTo>
                  <a:pt x="7467356" y="640746"/>
                </a:lnTo>
                <a:lnTo>
                  <a:pt x="7463774" y="639880"/>
                </a:lnTo>
                <a:lnTo>
                  <a:pt x="7461170" y="635332"/>
                </a:lnTo>
                <a:lnTo>
                  <a:pt x="7456070" y="635332"/>
                </a:lnTo>
                <a:lnTo>
                  <a:pt x="7449234" y="628078"/>
                </a:lnTo>
                <a:lnTo>
                  <a:pt x="7443699" y="624181"/>
                </a:lnTo>
                <a:lnTo>
                  <a:pt x="7437514" y="623422"/>
                </a:lnTo>
                <a:lnTo>
                  <a:pt x="7433607" y="620824"/>
                </a:lnTo>
                <a:lnTo>
                  <a:pt x="7429483" y="621907"/>
                </a:lnTo>
                <a:lnTo>
                  <a:pt x="7425142" y="627645"/>
                </a:lnTo>
                <a:lnTo>
                  <a:pt x="7419934" y="627645"/>
                </a:lnTo>
                <a:lnTo>
                  <a:pt x="7425251" y="630027"/>
                </a:lnTo>
                <a:lnTo>
                  <a:pt x="7431979" y="630027"/>
                </a:lnTo>
                <a:lnTo>
                  <a:pt x="7435126" y="625155"/>
                </a:lnTo>
                <a:lnTo>
                  <a:pt x="7447822" y="630460"/>
                </a:lnTo>
                <a:lnTo>
                  <a:pt x="7450210" y="634791"/>
                </a:lnTo>
                <a:lnTo>
                  <a:pt x="7443916" y="639122"/>
                </a:lnTo>
                <a:lnTo>
                  <a:pt x="7439792" y="636415"/>
                </a:lnTo>
                <a:lnTo>
                  <a:pt x="7434366" y="636415"/>
                </a:lnTo>
                <a:lnTo>
                  <a:pt x="7434366" y="641287"/>
                </a:lnTo>
                <a:lnTo>
                  <a:pt x="7429808" y="636090"/>
                </a:lnTo>
                <a:lnTo>
                  <a:pt x="7425468" y="636632"/>
                </a:lnTo>
                <a:lnTo>
                  <a:pt x="7427638" y="636632"/>
                </a:lnTo>
                <a:lnTo>
                  <a:pt x="7430026" y="642911"/>
                </a:lnTo>
                <a:lnTo>
                  <a:pt x="7437296" y="646701"/>
                </a:lnTo>
                <a:lnTo>
                  <a:pt x="7435452" y="653521"/>
                </a:lnTo>
                <a:lnTo>
                  <a:pt x="7438382" y="661858"/>
                </a:lnTo>
                <a:lnTo>
                  <a:pt x="7442939" y="664240"/>
                </a:lnTo>
                <a:lnTo>
                  <a:pt x="7440226" y="661533"/>
                </a:lnTo>
                <a:lnTo>
                  <a:pt x="7440226" y="651572"/>
                </a:lnTo>
                <a:lnTo>
                  <a:pt x="7443482" y="649624"/>
                </a:lnTo>
                <a:lnTo>
                  <a:pt x="7447605" y="650707"/>
                </a:lnTo>
                <a:lnTo>
                  <a:pt x="7447605" y="647999"/>
                </a:lnTo>
                <a:lnTo>
                  <a:pt x="7454984" y="641287"/>
                </a:lnTo>
                <a:lnTo>
                  <a:pt x="7459000" y="640205"/>
                </a:lnTo>
                <a:lnTo>
                  <a:pt x="7462038" y="642695"/>
                </a:lnTo>
                <a:lnTo>
                  <a:pt x="7462038" y="645726"/>
                </a:lnTo>
                <a:lnTo>
                  <a:pt x="7468007" y="654929"/>
                </a:lnTo>
                <a:lnTo>
                  <a:pt x="7473975" y="656553"/>
                </a:lnTo>
                <a:lnTo>
                  <a:pt x="7479726" y="662184"/>
                </a:lnTo>
                <a:lnTo>
                  <a:pt x="7486454" y="661209"/>
                </a:lnTo>
                <a:lnTo>
                  <a:pt x="7488408" y="657203"/>
                </a:lnTo>
                <a:lnTo>
                  <a:pt x="7487106" y="653738"/>
                </a:lnTo>
                <a:lnTo>
                  <a:pt x="7489276" y="653738"/>
                </a:lnTo>
                <a:lnTo>
                  <a:pt x="7501755" y="663807"/>
                </a:lnTo>
                <a:lnTo>
                  <a:pt x="7503926" y="667813"/>
                </a:lnTo>
                <a:lnTo>
                  <a:pt x="7499259" y="667055"/>
                </a:lnTo>
                <a:lnTo>
                  <a:pt x="7499259" y="671603"/>
                </a:lnTo>
                <a:lnTo>
                  <a:pt x="7507940" y="680048"/>
                </a:lnTo>
                <a:lnTo>
                  <a:pt x="7511196" y="680048"/>
                </a:lnTo>
                <a:lnTo>
                  <a:pt x="7511196" y="678099"/>
                </a:lnTo>
                <a:lnTo>
                  <a:pt x="7511196" y="671061"/>
                </a:lnTo>
                <a:lnTo>
                  <a:pt x="7518032" y="676258"/>
                </a:lnTo>
                <a:lnTo>
                  <a:pt x="7527582" y="691200"/>
                </a:lnTo>
                <a:lnTo>
                  <a:pt x="7524001" y="687951"/>
                </a:lnTo>
                <a:lnTo>
                  <a:pt x="7520962" y="687951"/>
                </a:lnTo>
                <a:lnTo>
                  <a:pt x="7519877" y="689576"/>
                </a:lnTo>
                <a:lnTo>
                  <a:pt x="7523567" y="694448"/>
                </a:lnTo>
                <a:lnTo>
                  <a:pt x="7518684" y="697912"/>
                </a:lnTo>
                <a:lnTo>
                  <a:pt x="7518684" y="703110"/>
                </a:lnTo>
                <a:lnTo>
                  <a:pt x="7520421" y="706141"/>
                </a:lnTo>
                <a:lnTo>
                  <a:pt x="7525303" y="704517"/>
                </a:lnTo>
                <a:lnTo>
                  <a:pt x="7526171" y="699104"/>
                </a:lnTo>
                <a:lnTo>
                  <a:pt x="7528016" y="697696"/>
                </a:lnTo>
                <a:lnTo>
                  <a:pt x="7531489" y="699104"/>
                </a:lnTo>
                <a:lnTo>
                  <a:pt x="7532791" y="694556"/>
                </a:lnTo>
                <a:lnTo>
                  <a:pt x="7536806" y="701594"/>
                </a:lnTo>
                <a:lnTo>
                  <a:pt x="7547658" y="708631"/>
                </a:lnTo>
                <a:lnTo>
                  <a:pt x="7558510" y="711121"/>
                </a:lnTo>
                <a:lnTo>
                  <a:pt x="7564803" y="716751"/>
                </a:lnTo>
                <a:lnTo>
                  <a:pt x="7561440" y="720324"/>
                </a:lnTo>
                <a:lnTo>
                  <a:pt x="7567625" y="728986"/>
                </a:lnTo>
                <a:lnTo>
                  <a:pt x="7572834" y="730285"/>
                </a:lnTo>
                <a:lnTo>
                  <a:pt x="7579128" y="740030"/>
                </a:lnTo>
                <a:lnTo>
                  <a:pt x="7579128" y="754322"/>
                </a:lnTo>
                <a:lnTo>
                  <a:pt x="7575872" y="755404"/>
                </a:lnTo>
                <a:lnTo>
                  <a:pt x="7575872" y="757786"/>
                </a:lnTo>
                <a:lnTo>
                  <a:pt x="7580647" y="760709"/>
                </a:lnTo>
                <a:lnTo>
                  <a:pt x="7583143" y="766881"/>
                </a:lnTo>
                <a:lnTo>
                  <a:pt x="7580756" y="767747"/>
                </a:lnTo>
                <a:lnTo>
                  <a:pt x="7577717" y="765040"/>
                </a:lnTo>
                <a:lnTo>
                  <a:pt x="7560137" y="765040"/>
                </a:lnTo>
                <a:lnTo>
                  <a:pt x="7554928" y="761792"/>
                </a:lnTo>
                <a:lnTo>
                  <a:pt x="7551456" y="763957"/>
                </a:lnTo>
                <a:lnTo>
                  <a:pt x="7547115" y="762550"/>
                </a:lnTo>
                <a:lnTo>
                  <a:pt x="7546246" y="758436"/>
                </a:lnTo>
                <a:lnTo>
                  <a:pt x="7543534" y="756812"/>
                </a:lnTo>
                <a:lnTo>
                  <a:pt x="7542231" y="758761"/>
                </a:lnTo>
                <a:lnTo>
                  <a:pt x="7544402" y="762334"/>
                </a:lnTo>
                <a:lnTo>
                  <a:pt x="7536806" y="766989"/>
                </a:lnTo>
                <a:lnTo>
                  <a:pt x="7530838" y="766989"/>
                </a:lnTo>
                <a:lnTo>
                  <a:pt x="7528993" y="768938"/>
                </a:lnTo>
                <a:lnTo>
                  <a:pt x="7532466" y="771103"/>
                </a:lnTo>
                <a:lnTo>
                  <a:pt x="7524327" y="778466"/>
                </a:lnTo>
                <a:lnTo>
                  <a:pt x="7519986" y="778466"/>
                </a:lnTo>
                <a:lnTo>
                  <a:pt x="7519986" y="782797"/>
                </a:lnTo>
                <a:lnTo>
                  <a:pt x="7523024" y="783879"/>
                </a:lnTo>
                <a:lnTo>
                  <a:pt x="7515754" y="793082"/>
                </a:lnTo>
                <a:lnTo>
                  <a:pt x="7513041" y="795789"/>
                </a:lnTo>
                <a:lnTo>
                  <a:pt x="7512282" y="794490"/>
                </a:lnTo>
                <a:lnTo>
                  <a:pt x="7508266" y="794490"/>
                </a:lnTo>
                <a:lnTo>
                  <a:pt x="7508266" y="801311"/>
                </a:lnTo>
                <a:lnTo>
                  <a:pt x="7511305" y="808132"/>
                </a:lnTo>
                <a:lnTo>
                  <a:pt x="7506421" y="812787"/>
                </a:lnTo>
                <a:lnTo>
                  <a:pt x="7503708" y="809864"/>
                </a:lnTo>
                <a:lnTo>
                  <a:pt x="7502840" y="814736"/>
                </a:lnTo>
                <a:lnTo>
                  <a:pt x="7505010" y="818201"/>
                </a:lnTo>
                <a:lnTo>
                  <a:pt x="7499585" y="823831"/>
                </a:lnTo>
                <a:lnTo>
                  <a:pt x="7495570" y="824914"/>
                </a:lnTo>
                <a:lnTo>
                  <a:pt x="7498066" y="827296"/>
                </a:lnTo>
                <a:lnTo>
                  <a:pt x="7496763" y="829786"/>
                </a:lnTo>
                <a:lnTo>
                  <a:pt x="7494919" y="833900"/>
                </a:lnTo>
                <a:lnTo>
                  <a:pt x="7491989" y="832493"/>
                </a:lnTo>
                <a:lnTo>
                  <a:pt x="7488408" y="834333"/>
                </a:lnTo>
                <a:lnTo>
                  <a:pt x="7491337" y="837798"/>
                </a:lnTo>
                <a:lnTo>
                  <a:pt x="7491337" y="841588"/>
                </a:lnTo>
                <a:lnTo>
                  <a:pt x="7486454" y="845377"/>
                </a:lnTo>
                <a:lnTo>
                  <a:pt x="7488842" y="848842"/>
                </a:lnTo>
                <a:lnTo>
                  <a:pt x="7487757" y="852631"/>
                </a:lnTo>
                <a:lnTo>
                  <a:pt x="7484502" y="853389"/>
                </a:lnTo>
                <a:lnTo>
                  <a:pt x="7482005" y="850899"/>
                </a:lnTo>
                <a:lnTo>
                  <a:pt x="7478967" y="851982"/>
                </a:lnTo>
                <a:lnTo>
                  <a:pt x="7481462" y="855771"/>
                </a:lnTo>
                <a:lnTo>
                  <a:pt x="7488517" y="859019"/>
                </a:lnTo>
                <a:lnTo>
                  <a:pt x="7486128" y="864216"/>
                </a:lnTo>
                <a:lnTo>
                  <a:pt x="7479401" y="864216"/>
                </a:lnTo>
                <a:lnTo>
                  <a:pt x="7479401" y="866706"/>
                </a:lnTo>
                <a:lnTo>
                  <a:pt x="7482656" y="868547"/>
                </a:lnTo>
                <a:lnTo>
                  <a:pt x="7486128" y="876343"/>
                </a:lnTo>
                <a:lnTo>
                  <a:pt x="7483198" y="878724"/>
                </a:lnTo>
                <a:lnTo>
                  <a:pt x="7485044" y="881973"/>
                </a:lnTo>
                <a:lnTo>
                  <a:pt x="7479943" y="889227"/>
                </a:lnTo>
                <a:lnTo>
                  <a:pt x="7481245" y="893016"/>
                </a:lnTo>
                <a:lnTo>
                  <a:pt x="7477990" y="901353"/>
                </a:lnTo>
                <a:lnTo>
                  <a:pt x="7476146" y="912180"/>
                </a:lnTo>
                <a:lnTo>
                  <a:pt x="7473433" y="916294"/>
                </a:lnTo>
                <a:lnTo>
                  <a:pt x="7473433" y="920625"/>
                </a:lnTo>
                <a:lnTo>
                  <a:pt x="7476470" y="921708"/>
                </a:lnTo>
                <a:lnTo>
                  <a:pt x="7477882" y="924631"/>
                </a:lnTo>
                <a:lnTo>
                  <a:pt x="7476037" y="927554"/>
                </a:lnTo>
                <a:lnTo>
                  <a:pt x="7481245" y="937840"/>
                </a:lnTo>
                <a:lnTo>
                  <a:pt x="7481245" y="941846"/>
                </a:lnTo>
                <a:lnTo>
                  <a:pt x="7477447" y="940547"/>
                </a:lnTo>
                <a:lnTo>
                  <a:pt x="7471804" y="941413"/>
                </a:lnTo>
                <a:lnTo>
                  <a:pt x="7467681" y="937299"/>
                </a:lnTo>
                <a:lnTo>
                  <a:pt x="7465185" y="939681"/>
                </a:lnTo>
                <a:lnTo>
                  <a:pt x="7458349" y="931885"/>
                </a:lnTo>
                <a:lnTo>
                  <a:pt x="7460519" y="930261"/>
                </a:lnTo>
                <a:lnTo>
                  <a:pt x="7458132" y="928962"/>
                </a:lnTo>
                <a:lnTo>
                  <a:pt x="7454007" y="929828"/>
                </a:lnTo>
                <a:lnTo>
                  <a:pt x="7450318" y="929287"/>
                </a:lnTo>
                <a:lnTo>
                  <a:pt x="7449450" y="925173"/>
                </a:lnTo>
                <a:lnTo>
                  <a:pt x="7436754" y="917810"/>
                </a:lnTo>
                <a:lnTo>
                  <a:pt x="7430026" y="916511"/>
                </a:lnTo>
                <a:lnTo>
                  <a:pt x="7422104" y="921600"/>
                </a:lnTo>
                <a:lnTo>
                  <a:pt x="7419608" y="919651"/>
                </a:lnTo>
                <a:lnTo>
                  <a:pt x="7414508" y="921058"/>
                </a:lnTo>
                <a:lnTo>
                  <a:pt x="7409408" y="927554"/>
                </a:lnTo>
                <a:lnTo>
                  <a:pt x="7404741" y="927554"/>
                </a:lnTo>
                <a:lnTo>
                  <a:pt x="7402354" y="936432"/>
                </a:lnTo>
                <a:lnTo>
                  <a:pt x="7399098" y="939464"/>
                </a:lnTo>
                <a:lnTo>
                  <a:pt x="7394432" y="936974"/>
                </a:lnTo>
                <a:lnTo>
                  <a:pt x="7398122" y="943470"/>
                </a:lnTo>
                <a:lnTo>
                  <a:pt x="7395409" y="947476"/>
                </a:lnTo>
                <a:lnTo>
                  <a:pt x="7396494" y="952889"/>
                </a:lnTo>
                <a:lnTo>
                  <a:pt x="7394866" y="957004"/>
                </a:lnTo>
                <a:lnTo>
                  <a:pt x="7393238" y="969672"/>
                </a:lnTo>
                <a:lnTo>
                  <a:pt x="7390852" y="971621"/>
                </a:lnTo>
                <a:lnTo>
                  <a:pt x="7387813" y="967831"/>
                </a:lnTo>
                <a:lnTo>
                  <a:pt x="7382062" y="952457"/>
                </a:lnTo>
                <a:lnTo>
                  <a:pt x="7382062" y="947260"/>
                </a:lnTo>
                <a:lnTo>
                  <a:pt x="7377721" y="944878"/>
                </a:lnTo>
                <a:lnTo>
                  <a:pt x="7374139" y="940222"/>
                </a:lnTo>
                <a:lnTo>
                  <a:pt x="7374139" y="945636"/>
                </a:lnTo>
                <a:lnTo>
                  <a:pt x="7368280" y="955705"/>
                </a:lnTo>
                <a:lnTo>
                  <a:pt x="7364481" y="958087"/>
                </a:lnTo>
                <a:lnTo>
                  <a:pt x="7363614" y="962742"/>
                </a:lnTo>
                <a:lnTo>
                  <a:pt x="7368822" y="964691"/>
                </a:lnTo>
                <a:lnTo>
                  <a:pt x="7363830" y="975518"/>
                </a:lnTo>
                <a:lnTo>
                  <a:pt x="7360249" y="970321"/>
                </a:lnTo>
                <a:lnTo>
                  <a:pt x="7357754" y="970321"/>
                </a:lnTo>
                <a:lnTo>
                  <a:pt x="7355366" y="966856"/>
                </a:lnTo>
                <a:lnTo>
                  <a:pt x="7351785" y="966856"/>
                </a:lnTo>
                <a:lnTo>
                  <a:pt x="7349832" y="973678"/>
                </a:lnTo>
                <a:lnTo>
                  <a:pt x="7347119" y="974544"/>
                </a:lnTo>
                <a:lnTo>
                  <a:pt x="7342344" y="971837"/>
                </a:lnTo>
                <a:lnTo>
                  <a:pt x="7338872" y="971837"/>
                </a:lnTo>
                <a:lnTo>
                  <a:pt x="7338221" y="974869"/>
                </a:lnTo>
                <a:lnTo>
                  <a:pt x="7341368" y="979416"/>
                </a:lnTo>
                <a:lnTo>
                  <a:pt x="7338980" y="981256"/>
                </a:lnTo>
                <a:lnTo>
                  <a:pt x="7337461" y="985371"/>
                </a:lnTo>
                <a:lnTo>
                  <a:pt x="7336810" y="989377"/>
                </a:lnTo>
                <a:lnTo>
                  <a:pt x="7341151" y="994249"/>
                </a:lnTo>
                <a:lnTo>
                  <a:pt x="7342344" y="999879"/>
                </a:lnTo>
                <a:lnTo>
                  <a:pt x="7339957" y="1000745"/>
                </a:lnTo>
                <a:lnTo>
                  <a:pt x="7341151" y="1003993"/>
                </a:lnTo>
                <a:lnTo>
                  <a:pt x="7346142" y="1005509"/>
                </a:lnTo>
                <a:lnTo>
                  <a:pt x="7349723" y="1009299"/>
                </a:lnTo>
                <a:lnTo>
                  <a:pt x="7350591" y="1012330"/>
                </a:lnTo>
                <a:lnTo>
                  <a:pt x="7348747" y="1012330"/>
                </a:lnTo>
                <a:lnTo>
                  <a:pt x="7347228" y="1015578"/>
                </a:lnTo>
                <a:lnTo>
                  <a:pt x="7351026" y="1019043"/>
                </a:lnTo>
                <a:lnTo>
                  <a:pt x="7354606" y="1021966"/>
                </a:lnTo>
                <a:lnTo>
                  <a:pt x="7354606" y="1023915"/>
                </a:lnTo>
                <a:lnTo>
                  <a:pt x="7350266" y="1020992"/>
                </a:lnTo>
                <a:lnTo>
                  <a:pt x="7346901" y="1022183"/>
                </a:lnTo>
                <a:lnTo>
                  <a:pt x="7346250" y="1024023"/>
                </a:lnTo>
                <a:lnTo>
                  <a:pt x="7350916" y="1029112"/>
                </a:lnTo>
                <a:lnTo>
                  <a:pt x="7353413" y="1027596"/>
                </a:lnTo>
                <a:lnTo>
                  <a:pt x="7353413" y="1032577"/>
                </a:lnTo>
                <a:lnTo>
                  <a:pt x="7352002" y="1037990"/>
                </a:lnTo>
                <a:lnTo>
                  <a:pt x="7352002" y="1042213"/>
                </a:lnTo>
                <a:lnTo>
                  <a:pt x="7349072" y="1046111"/>
                </a:lnTo>
                <a:lnTo>
                  <a:pt x="7351460" y="1053257"/>
                </a:lnTo>
                <a:lnTo>
                  <a:pt x="7349723" y="1056613"/>
                </a:lnTo>
                <a:lnTo>
                  <a:pt x="7352111" y="1061485"/>
                </a:lnTo>
                <a:lnTo>
                  <a:pt x="7352111" y="1064300"/>
                </a:lnTo>
                <a:lnTo>
                  <a:pt x="7352111" y="1069389"/>
                </a:lnTo>
                <a:lnTo>
                  <a:pt x="7356018" y="1077942"/>
                </a:lnTo>
                <a:lnTo>
                  <a:pt x="7354173" y="1080324"/>
                </a:lnTo>
                <a:lnTo>
                  <a:pt x="7357862" y="1082814"/>
                </a:lnTo>
                <a:lnTo>
                  <a:pt x="7362202" y="1087253"/>
                </a:lnTo>
                <a:lnTo>
                  <a:pt x="7368605" y="1095699"/>
                </a:lnTo>
                <a:lnTo>
                  <a:pt x="7374466" y="1098405"/>
                </a:lnTo>
                <a:lnTo>
                  <a:pt x="7376418" y="1096781"/>
                </a:lnTo>
                <a:lnTo>
                  <a:pt x="7377178" y="1092559"/>
                </a:lnTo>
                <a:lnTo>
                  <a:pt x="7371210" y="1085846"/>
                </a:lnTo>
                <a:lnTo>
                  <a:pt x="7371210" y="1082490"/>
                </a:lnTo>
                <a:lnTo>
                  <a:pt x="7374682" y="1079675"/>
                </a:lnTo>
                <a:lnTo>
                  <a:pt x="7379674" y="1079675"/>
                </a:lnTo>
                <a:lnTo>
                  <a:pt x="7387813" y="1085846"/>
                </a:lnTo>
                <a:lnTo>
                  <a:pt x="7391828" y="1085088"/>
                </a:lnTo>
                <a:lnTo>
                  <a:pt x="7395192" y="1086820"/>
                </a:lnTo>
                <a:lnTo>
                  <a:pt x="7395192" y="1091043"/>
                </a:lnTo>
                <a:lnTo>
                  <a:pt x="7393998" y="1093858"/>
                </a:lnTo>
                <a:lnTo>
                  <a:pt x="7397036" y="1097431"/>
                </a:lnTo>
                <a:lnTo>
                  <a:pt x="7394106" y="1101870"/>
                </a:lnTo>
                <a:lnTo>
                  <a:pt x="7395409" y="1105767"/>
                </a:lnTo>
                <a:lnTo>
                  <a:pt x="7393672" y="1107175"/>
                </a:lnTo>
                <a:lnTo>
                  <a:pt x="7390200" y="1111289"/>
                </a:lnTo>
                <a:lnTo>
                  <a:pt x="7394649" y="1120168"/>
                </a:lnTo>
                <a:lnTo>
                  <a:pt x="7398122" y="1125365"/>
                </a:lnTo>
                <a:lnTo>
                  <a:pt x="7398122" y="1133810"/>
                </a:lnTo>
                <a:lnTo>
                  <a:pt x="7403222" y="1137383"/>
                </a:lnTo>
                <a:lnTo>
                  <a:pt x="7405718" y="1135542"/>
                </a:lnTo>
                <a:lnTo>
                  <a:pt x="7405718" y="1133052"/>
                </a:lnTo>
                <a:lnTo>
                  <a:pt x="7409516" y="1130128"/>
                </a:lnTo>
                <a:lnTo>
                  <a:pt x="7410926" y="1128180"/>
                </a:lnTo>
                <a:lnTo>
                  <a:pt x="7412229" y="1129479"/>
                </a:lnTo>
                <a:lnTo>
                  <a:pt x="7417329" y="1131970"/>
                </a:lnTo>
                <a:lnTo>
                  <a:pt x="7417329" y="1142797"/>
                </a:lnTo>
                <a:lnTo>
                  <a:pt x="7428182" y="1152216"/>
                </a:lnTo>
                <a:lnTo>
                  <a:pt x="7431979" y="1159795"/>
                </a:lnTo>
                <a:lnTo>
                  <a:pt x="7429808" y="1162827"/>
                </a:lnTo>
                <a:lnTo>
                  <a:pt x="7429808" y="1169323"/>
                </a:lnTo>
                <a:lnTo>
                  <a:pt x="7426553" y="1170622"/>
                </a:lnTo>
                <a:lnTo>
                  <a:pt x="7420368" y="1166074"/>
                </a:lnTo>
                <a:lnTo>
                  <a:pt x="7413098" y="1163368"/>
                </a:lnTo>
                <a:lnTo>
                  <a:pt x="7413098" y="1156546"/>
                </a:lnTo>
                <a:lnTo>
                  <a:pt x="7415268" y="1151674"/>
                </a:lnTo>
                <a:lnTo>
                  <a:pt x="7415268" y="1145720"/>
                </a:lnTo>
                <a:lnTo>
                  <a:pt x="7413966" y="1141172"/>
                </a:lnTo>
                <a:lnTo>
                  <a:pt x="7410926" y="1144095"/>
                </a:lnTo>
                <a:lnTo>
                  <a:pt x="7411795" y="1146152"/>
                </a:lnTo>
                <a:lnTo>
                  <a:pt x="7411795" y="1149726"/>
                </a:lnTo>
                <a:lnTo>
                  <a:pt x="7407129" y="1150592"/>
                </a:lnTo>
                <a:lnTo>
                  <a:pt x="7402570" y="1157305"/>
                </a:lnTo>
                <a:lnTo>
                  <a:pt x="7403873" y="1160228"/>
                </a:lnTo>
                <a:lnTo>
                  <a:pt x="7409516" y="1158929"/>
                </a:lnTo>
                <a:lnTo>
                  <a:pt x="7409516" y="1163801"/>
                </a:lnTo>
                <a:lnTo>
                  <a:pt x="7406043" y="1169215"/>
                </a:lnTo>
                <a:lnTo>
                  <a:pt x="7407996" y="1176793"/>
                </a:lnTo>
                <a:lnTo>
                  <a:pt x="7406912" y="1178959"/>
                </a:lnTo>
                <a:lnTo>
                  <a:pt x="7407454" y="1195741"/>
                </a:lnTo>
                <a:lnTo>
                  <a:pt x="7410926" y="1199205"/>
                </a:lnTo>
                <a:lnTo>
                  <a:pt x="7410926" y="1203211"/>
                </a:lnTo>
                <a:lnTo>
                  <a:pt x="7423623" y="1221076"/>
                </a:lnTo>
                <a:lnTo>
                  <a:pt x="7427204" y="1221076"/>
                </a:lnTo>
                <a:lnTo>
                  <a:pt x="7435343" y="1232445"/>
                </a:lnTo>
                <a:lnTo>
                  <a:pt x="7440769" y="1235476"/>
                </a:lnTo>
                <a:lnTo>
                  <a:pt x="7437514" y="1239265"/>
                </a:lnTo>
                <a:lnTo>
                  <a:pt x="7437514" y="1245437"/>
                </a:lnTo>
                <a:lnTo>
                  <a:pt x="7423406" y="1250851"/>
                </a:lnTo>
                <a:lnTo>
                  <a:pt x="7422320" y="1248360"/>
                </a:lnTo>
                <a:lnTo>
                  <a:pt x="7414508" y="1253232"/>
                </a:lnTo>
                <a:lnTo>
                  <a:pt x="7410926" y="1252367"/>
                </a:lnTo>
                <a:lnTo>
                  <a:pt x="7411252" y="1251500"/>
                </a:lnTo>
                <a:lnTo>
                  <a:pt x="7406912" y="1260703"/>
                </a:lnTo>
                <a:lnTo>
                  <a:pt x="7406043" y="1266983"/>
                </a:lnTo>
                <a:lnTo>
                  <a:pt x="7403005" y="1269906"/>
                </a:lnTo>
                <a:lnTo>
                  <a:pt x="7406912" y="1274020"/>
                </a:lnTo>
                <a:lnTo>
                  <a:pt x="7403982" y="1286147"/>
                </a:lnTo>
                <a:lnTo>
                  <a:pt x="7408540" y="1299897"/>
                </a:lnTo>
                <a:lnTo>
                  <a:pt x="7415050" y="1303470"/>
                </a:lnTo>
                <a:lnTo>
                  <a:pt x="7415050" y="1309424"/>
                </a:lnTo>
                <a:lnTo>
                  <a:pt x="7421887" y="1312889"/>
                </a:lnTo>
                <a:lnTo>
                  <a:pt x="7425360" y="1317545"/>
                </a:lnTo>
                <a:lnTo>
                  <a:pt x="7419934" y="1317004"/>
                </a:lnTo>
                <a:lnTo>
                  <a:pt x="7418306" y="1315380"/>
                </a:lnTo>
                <a:lnTo>
                  <a:pt x="7413748" y="1318303"/>
                </a:lnTo>
                <a:lnTo>
                  <a:pt x="7409733" y="1322093"/>
                </a:lnTo>
                <a:lnTo>
                  <a:pt x="7406152" y="1321334"/>
                </a:lnTo>
                <a:lnTo>
                  <a:pt x="7399098" y="1327831"/>
                </a:lnTo>
                <a:lnTo>
                  <a:pt x="7394432" y="1324041"/>
                </a:lnTo>
                <a:lnTo>
                  <a:pt x="7391936" y="1328697"/>
                </a:lnTo>
                <a:lnTo>
                  <a:pt x="7394866" y="1331187"/>
                </a:lnTo>
                <a:lnTo>
                  <a:pt x="7399966" y="1331187"/>
                </a:lnTo>
                <a:lnTo>
                  <a:pt x="7398773" y="1336384"/>
                </a:lnTo>
                <a:lnTo>
                  <a:pt x="7397688" y="1339524"/>
                </a:lnTo>
                <a:lnTo>
                  <a:pt x="7402354" y="1344180"/>
                </a:lnTo>
                <a:lnTo>
                  <a:pt x="7400509" y="1346562"/>
                </a:lnTo>
                <a:lnTo>
                  <a:pt x="7397796" y="1345695"/>
                </a:lnTo>
                <a:lnTo>
                  <a:pt x="7401052" y="1352517"/>
                </a:lnTo>
                <a:lnTo>
                  <a:pt x="7399424" y="1356089"/>
                </a:lnTo>
                <a:lnTo>
                  <a:pt x="7402462" y="1356847"/>
                </a:lnTo>
                <a:lnTo>
                  <a:pt x="7405175" y="1355440"/>
                </a:lnTo>
                <a:lnTo>
                  <a:pt x="7409516" y="1359988"/>
                </a:lnTo>
                <a:lnTo>
                  <a:pt x="7405610" y="1363560"/>
                </a:lnTo>
                <a:lnTo>
                  <a:pt x="7405067" y="1370598"/>
                </a:lnTo>
                <a:lnTo>
                  <a:pt x="7407780" y="1374929"/>
                </a:lnTo>
                <a:lnTo>
                  <a:pt x="7406152" y="1385755"/>
                </a:lnTo>
                <a:lnTo>
                  <a:pt x="7404199" y="1389761"/>
                </a:lnTo>
                <a:lnTo>
                  <a:pt x="7405284" y="1391927"/>
                </a:lnTo>
                <a:lnTo>
                  <a:pt x="7404199" y="1396258"/>
                </a:lnTo>
                <a:lnTo>
                  <a:pt x="7398447" y="1401347"/>
                </a:lnTo>
                <a:lnTo>
                  <a:pt x="7398447" y="1406219"/>
                </a:lnTo>
                <a:lnTo>
                  <a:pt x="7397036" y="1407085"/>
                </a:lnTo>
                <a:lnTo>
                  <a:pt x="7394541" y="1417912"/>
                </a:lnTo>
                <a:lnTo>
                  <a:pt x="7389440" y="1428739"/>
                </a:lnTo>
                <a:lnTo>
                  <a:pt x="7390308" y="1423650"/>
                </a:lnTo>
                <a:lnTo>
                  <a:pt x="7389006" y="1420077"/>
                </a:lnTo>
                <a:lnTo>
                  <a:pt x="7389006" y="1415205"/>
                </a:lnTo>
                <a:lnTo>
                  <a:pt x="7387596" y="1411957"/>
                </a:lnTo>
                <a:lnTo>
                  <a:pt x="7378154" y="1410875"/>
                </a:lnTo>
                <a:lnTo>
                  <a:pt x="7373055" y="1403512"/>
                </a:lnTo>
                <a:lnTo>
                  <a:pt x="7371969" y="1395067"/>
                </a:lnTo>
                <a:lnTo>
                  <a:pt x="7362745" y="1374712"/>
                </a:lnTo>
                <a:lnTo>
                  <a:pt x="7356560" y="1364968"/>
                </a:lnTo>
                <a:lnTo>
                  <a:pt x="7360032" y="1364968"/>
                </a:lnTo>
                <a:lnTo>
                  <a:pt x="7364048" y="1362802"/>
                </a:lnTo>
                <a:lnTo>
                  <a:pt x="7365892" y="1358796"/>
                </a:lnTo>
                <a:lnTo>
                  <a:pt x="7362094" y="1360637"/>
                </a:lnTo>
                <a:lnTo>
                  <a:pt x="7355800" y="1360637"/>
                </a:lnTo>
                <a:lnTo>
                  <a:pt x="7347336" y="1356306"/>
                </a:lnTo>
                <a:lnTo>
                  <a:pt x="7328888" y="1322958"/>
                </a:lnTo>
                <a:lnTo>
                  <a:pt x="7312068" y="1303254"/>
                </a:lnTo>
                <a:lnTo>
                  <a:pt x="7312068" y="1295999"/>
                </a:lnTo>
                <a:lnTo>
                  <a:pt x="7305882" y="1289178"/>
                </a:lnTo>
                <a:lnTo>
                  <a:pt x="7292644" y="1268391"/>
                </a:lnTo>
                <a:lnTo>
                  <a:pt x="7279947" y="1243055"/>
                </a:lnTo>
                <a:lnTo>
                  <a:pt x="7269095" y="1219235"/>
                </a:lnTo>
                <a:lnTo>
                  <a:pt x="7269095" y="1210898"/>
                </a:lnTo>
                <a:lnTo>
                  <a:pt x="7262584" y="1200072"/>
                </a:lnTo>
                <a:lnTo>
                  <a:pt x="7260414" y="1183398"/>
                </a:lnTo>
                <a:lnTo>
                  <a:pt x="7256399" y="1175061"/>
                </a:lnTo>
                <a:lnTo>
                  <a:pt x="7257484" y="1165209"/>
                </a:lnTo>
                <a:lnTo>
                  <a:pt x="7262802" y="1158820"/>
                </a:lnTo>
                <a:lnTo>
                  <a:pt x="7264103" y="1150700"/>
                </a:lnTo>
                <a:lnTo>
                  <a:pt x="7267902" y="1149293"/>
                </a:lnTo>
                <a:lnTo>
                  <a:pt x="7265189" y="1146044"/>
                </a:lnTo>
                <a:lnTo>
                  <a:pt x="7267142" y="1143121"/>
                </a:lnTo>
                <a:lnTo>
                  <a:pt x="7267142" y="1131428"/>
                </a:lnTo>
                <a:lnTo>
                  <a:pt x="7258135" y="1118977"/>
                </a:lnTo>
                <a:lnTo>
                  <a:pt x="7251949" y="1118977"/>
                </a:lnTo>
                <a:lnTo>
                  <a:pt x="7251949" y="1115512"/>
                </a:lnTo>
                <a:lnTo>
                  <a:pt x="7256617" y="1111181"/>
                </a:lnTo>
                <a:lnTo>
                  <a:pt x="7266057" y="1115729"/>
                </a:lnTo>
                <a:lnTo>
                  <a:pt x="7271266" y="1109991"/>
                </a:lnTo>
                <a:lnTo>
                  <a:pt x="7269964" y="1106201"/>
                </a:lnTo>
                <a:lnTo>
                  <a:pt x="7269964" y="1096998"/>
                </a:lnTo>
                <a:lnTo>
                  <a:pt x="7278103" y="1095915"/>
                </a:lnTo>
                <a:lnTo>
                  <a:pt x="7282660" y="1097215"/>
                </a:lnTo>
                <a:lnTo>
                  <a:pt x="7278644" y="1091584"/>
                </a:lnTo>
                <a:lnTo>
                  <a:pt x="7286024" y="1077292"/>
                </a:lnTo>
                <a:lnTo>
                  <a:pt x="7282986" y="1068414"/>
                </a:lnTo>
                <a:lnTo>
                  <a:pt x="7282986" y="1058995"/>
                </a:lnTo>
                <a:lnTo>
                  <a:pt x="7280056" y="1053906"/>
                </a:lnTo>
                <a:lnTo>
                  <a:pt x="7284071" y="1049575"/>
                </a:lnTo>
                <a:lnTo>
                  <a:pt x="7284071" y="1043621"/>
                </a:lnTo>
                <a:lnTo>
                  <a:pt x="7282443" y="1040914"/>
                </a:lnTo>
                <a:lnTo>
                  <a:pt x="7283962" y="1032902"/>
                </a:lnTo>
                <a:lnTo>
                  <a:pt x="7287652" y="1032902"/>
                </a:lnTo>
                <a:lnTo>
                  <a:pt x="7283202" y="1028463"/>
                </a:lnTo>
                <a:lnTo>
                  <a:pt x="7282226" y="1024673"/>
                </a:lnTo>
                <a:lnTo>
                  <a:pt x="7283746" y="1022507"/>
                </a:lnTo>
                <a:lnTo>
                  <a:pt x="7284939" y="1013305"/>
                </a:lnTo>
                <a:lnTo>
                  <a:pt x="7282877" y="1011464"/>
                </a:lnTo>
                <a:lnTo>
                  <a:pt x="7283637" y="1006700"/>
                </a:lnTo>
                <a:lnTo>
                  <a:pt x="7289062" y="1004643"/>
                </a:lnTo>
                <a:lnTo>
                  <a:pt x="7291341" y="1001287"/>
                </a:lnTo>
                <a:lnTo>
                  <a:pt x="7289822" y="993599"/>
                </a:lnTo>
                <a:lnTo>
                  <a:pt x="7291450" y="983422"/>
                </a:lnTo>
                <a:lnTo>
                  <a:pt x="7288954" y="981906"/>
                </a:lnTo>
                <a:lnTo>
                  <a:pt x="7288086" y="978875"/>
                </a:lnTo>
                <a:lnTo>
                  <a:pt x="7292210" y="971404"/>
                </a:lnTo>
                <a:lnTo>
                  <a:pt x="7292210" y="964799"/>
                </a:lnTo>
                <a:lnTo>
                  <a:pt x="7288737" y="965991"/>
                </a:lnTo>
                <a:lnTo>
                  <a:pt x="7286892" y="960036"/>
                </a:lnTo>
                <a:lnTo>
                  <a:pt x="7289388" y="956354"/>
                </a:lnTo>
                <a:lnTo>
                  <a:pt x="7289388" y="951699"/>
                </a:lnTo>
                <a:lnTo>
                  <a:pt x="7293078" y="950399"/>
                </a:lnTo>
                <a:lnTo>
                  <a:pt x="7294054" y="948018"/>
                </a:lnTo>
                <a:lnTo>
                  <a:pt x="7299480" y="944661"/>
                </a:lnTo>
                <a:lnTo>
                  <a:pt x="7300023" y="940114"/>
                </a:lnTo>
                <a:lnTo>
                  <a:pt x="7305992" y="934484"/>
                </a:lnTo>
                <a:lnTo>
                  <a:pt x="7307510" y="934484"/>
                </a:lnTo>
                <a:lnTo>
                  <a:pt x="7311960" y="931127"/>
                </a:lnTo>
                <a:lnTo>
                  <a:pt x="7314781" y="931127"/>
                </a:lnTo>
                <a:lnTo>
                  <a:pt x="7315757" y="928096"/>
                </a:lnTo>
                <a:lnTo>
                  <a:pt x="7314564" y="926255"/>
                </a:lnTo>
                <a:lnTo>
                  <a:pt x="7310007" y="925606"/>
                </a:lnTo>
                <a:lnTo>
                  <a:pt x="7306968" y="927554"/>
                </a:lnTo>
                <a:lnTo>
                  <a:pt x="7303278" y="924739"/>
                </a:lnTo>
                <a:lnTo>
                  <a:pt x="7303278" y="915536"/>
                </a:lnTo>
                <a:lnTo>
                  <a:pt x="7306100" y="908282"/>
                </a:lnTo>
                <a:lnTo>
                  <a:pt x="7304363" y="905359"/>
                </a:lnTo>
                <a:lnTo>
                  <a:pt x="7301650" y="900487"/>
                </a:lnTo>
                <a:lnTo>
                  <a:pt x="7299914" y="900487"/>
                </a:lnTo>
                <a:lnTo>
                  <a:pt x="7298178" y="903735"/>
                </a:lnTo>
                <a:lnTo>
                  <a:pt x="7296442" y="903085"/>
                </a:lnTo>
                <a:lnTo>
                  <a:pt x="7295356" y="892258"/>
                </a:lnTo>
                <a:lnTo>
                  <a:pt x="7297310" y="889768"/>
                </a:lnTo>
                <a:lnTo>
                  <a:pt x="7297310" y="887061"/>
                </a:lnTo>
                <a:lnTo>
                  <a:pt x="7296007" y="881431"/>
                </a:lnTo>
                <a:lnTo>
                  <a:pt x="7291016" y="879374"/>
                </a:lnTo>
                <a:lnTo>
                  <a:pt x="7292210" y="877425"/>
                </a:lnTo>
                <a:lnTo>
                  <a:pt x="7291558" y="877425"/>
                </a:lnTo>
                <a:lnTo>
                  <a:pt x="7291558" y="874935"/>
                </a:lnTo>
                <a:lnTo>
                  <a:pt x="7286242" y="868763"/>
                </a:lnTo>
                <a:lnTo>
                  <a:pt x="7285482" y="865190"/>
                </a:lnTo>
                <a:lnTo>
                  <a:pt x="7282552" y="862484"/>
                </a:lnTo>
                <a:lnTo>
                  <a:pt x="7282552" y="857503"/>
                </a:lnTo>
                <a:lnTo>
                  <a:pt x="7279947" y="851549"/>
                </a:lnTo>
                <a:lnTo>
                  <a:pt x="7279947" y="847976"/>
                </a:lnTo>
                <a:lnTo>
                  <a:pt x="7286350" y="841371"/>
                </a:lnTo>
                <a:lnTo>
                  <a:pt x="7291884" y="842670"/>
                </a:lnTo>
                <a:lnTo>
                  <a:pt x="7296767" y="840938"/>
                </a:lnTo>
                <a:lnTo>
                  <a:pt x="7293838" y="838556"/>
                </a:lnTo>
                <a:lnTo>
                  <a:pt x="7299914" y="835091"/>
                </a:lnTo>
                <a:lnTo>
                  <a:pt x="7297093" y="835849"/>
                </a:lnTo>
                <a:lnTo>
                  <a:pt x="7292210" y="835308"/>
                </a:lnTo>
                <a:lnTo>
                  <a:pt x="7289605" y="834009"/>
                </a:lnTo>
                <a:lnTo>
                  <a:pt x="7282986" y="834009"/>
                </a:lnTo>
                <a:lnTo>
                  <a:pt x="7276041" y="828378"/>
                </a:lnTo>
                <a:lnTo>
                  <a:pt x="7274196" y="830111"/>
                </a:lnTo>
                <a:lnTo>
                  <a:pt x="7268010" y="830111"/>
                </a:lnTo>
                <a:lnTo>
                  <a:pt x="7263670" y="835200"/>
                </a:lnTo>
                <a:lnTo>
                  <a:pt x="7258678" y="835200"/>
                </a:lnTo>
                <a:lnTo>
                  <a:pt x="7252384" y="841154"/>
                </a:lnTo>
                <a:lnTo>
                  <a:pt x="7254555" y="843536"/>
                </a:lnTo>
                <a:lnTo>
                  <a:pt x="7253904" y="847542"/>
                </a:lnTo>
                <a:lnTo>
                  <a:pt x="7259221" y="851765"/>
                </a:lnTo>
                <a:lnTo>
                  <a:pt x="7260306" y="856745"/>
                </a:lnTo>
                <a:lnTo>
                  <a:pt x="7258461" y="858694"/>
                </a:lnTo>
                <a:lnTo>
                  <a:pt x="7259980" y="865623"/>
                </a:lnTo>
                <a:lnTo>
                  <a:pt x="7264429" y="869088"/>
                </a:lnTo>
                <a:lnTo>
                  <a:pt x="7264429" y="871686"/>
                </a:lnTo>
                <a:lnTo>
                  <a:pt x="7267576" y="873528"/>
                </a:lnTo>
                <a:lnTo>
                  <a:pt x="7269964" y="883380"/>
                </a:lnTo>
                <a:lnTo>
                  <a:pt x="7277017" y="886845"/>
                </a:lnTo>
                <a:lnTo>
                  <a:pt x="7276150" y="891826"/>
                </a:lnTo>
                <a:lnTo>
                  <a:pt x="7279187" y="895290"/>
                </a:lnTo>
                <a:lnTo>
                  <a:pt x="7277343" y="898213"/>
                </a:lnTo>
                <a:lnTo>
                  <a:pt x="7273762" y="895290"/>
                </a:lnTo>
                <a:lnTo>
                  <a:pt x="7272026" y="891500"/>
                </a:lnTo>
                <a:lnTo>
                  <a:pt x="7265514" y="893016"/>
                </a:lnTo>
                <a:lnTo>
                  <a:pt x="7261825" y="895831"/>
                </a:lnTo>
                <a:lnTo>
                  <a:pt x="7259221" y="903085"/>
                </a:lnTo>
                <a:lnTo>
                  <a:pt x="7262042" y="906008"/>
                </a:lnTo>
                <a:lnTo>
                  <a:pt x="7260740" y="913155"/>
                </a:lnTo>
                <a:lnTo>
                  <a:pt x="7259004" y="914454"/>
                </a:lnTo>
                <a:lnTo>
                  <a:pt x="7259004" y="916078"/>
                </a:lnTo>
                <a:lnTo>
                  <a:pt x="7260740" y="917269"/>
                </a:lnTo>
                <a:lnTo>
                  <a:pt x="7260740" y="921058"/>
                </a:lnTo>
                <a:lnTo>
                  <a:pt x="7256724" y="924848"/>
                </a:lnTo>
                <a:lnTo>
                  <a:pt x="7260089" y="927879"/>
                </a:lnTo>
                <a:lnTo>
                  <a:pt x="7256942" y="931236"/>
                </a:lnTo>
                <a:lnTo>
                  <a:pt x="7256942" y="943254"/>
                </a:lnTo>
                <a:lnTo>
                  <a:pt x="7255097" y="946177"/>
                </a:lnTo>
                <a:lnTo>
                  <a:pt x="7255097" y="949100"/>
                </a:lnTo>
                <a:lnTo>
                  <a:pt x="7251624" y="951266"/>
                </a:lnTo>
                <a:lnTo>
                  <a:pt x="7248803" y="958411"/>
                </a:lnTo>
                <a:lnTo>
                  <a:pt x="7247283" y="953106"/>
                </a:lnTo>
                <a:lnTo>
                  <a:pt x="7243052" y="949317"/>
                </a:lnTo>
                <a:lnTo>
                  <a:pt x="7246958" y="942279"/>
                </a:lnTo>
                <a:lnTo>
                  <a:pt x="7244896" y="939681"/>
                </a:lnTo>
                <a:lnTo>
                  <a:pt x="7241641" y="939681"/>
                </a:lnTo>
                <a:lnTo>
                  <a:pt x="7237408" y="943579"/>
                </a:lnTo>
                <a:lnTo>
                  <a:pt x="7237408" y="947260"/>
                </a:lnTo>
                <a:lnTo>
                  <a:pt x="7235021" y="949100"/>
                </a:lnTo>
                <a:lnTo>
                  <a:pt x="7234261" y="940655"/>
                </a:lnTo>
                <a:lnTo>
                  <a:pt x="7229487" y="939464"/>
                </a:lnTo>
                <a:lnTo>
                  <a:pt x="7227859" y="936108"/>
                </a:lnTo>
                <a:lnTo>
                  <a:pt x="7223736" y="940006"/>
                </a:lnTo>
                <a:lnTo>
                  <a:pt x="7222216" y="937624"/>
                </a:lnTo>
                <a:lnTo>
                  <a:pt x="7223627" y="935783"/>
                </a:lnTo>
                <a:lnTo>
                  <a:pt x="7225689" y="932752"/>
                </a:lnTo>
                <a:lnTo>
                  <a:pt x="7224278" y="930802"/>
                </a:lnTo>
                <a:lnTo>
                  <a:pt x="7224278" y="927122"/>
                </a:lnTo>
                <a:lnTo>
                  <a:pt x="7225689" y="927122"/>
                </a:lnTo>
                <a:lnTo>
                  <a:pt x="7224278" y="922032"/>
                </a:lnTo>
                <a:lnTo>
                  <a:pt x="7222108" y="920625"/>
                </a:lnTo>
                <a:lnTo>
                  <a:pt x="7225255" y="917161"/>
                </a:lnTo>
                <a:lnTo>
                  <a:pt x="7223736" y="912830"/>
                </a:lnTo>
                <a:lnTo>
                  <a:pt x="7221674" y="910340"/>
                </a:lnTo>
                <a:lnTo>
                  <a:pt x="7223084" y="908282"/>
                </a:lnTo>
                <a:lnTo>
                  <a:pt x="7223084" y="902544"/>
                </a:lnTo>
                <a:lnTo>
                  <a:pt x="7218092" y="898971"/>
                </a:lnTo>
                <a:lnTo>
                  <a:pt x="7216682" y="894965"/>
                </a:lnTo>
                <a:lnTo>
                  <a:pt x="7214620" y="894965"/>
                </a:lnTo>
                <a:lnTo>
                  <a:pt x="7213643" y="900703"/>
                </a:lnTo>
                <a:lnTo>
                  <a:pt x="7210497" y="901569"/>
                </a:lnTo>
                <a:lnTo>
                  <a:pt x="7210497" y="907524"/>
                </a:lnTo>
                <a:lnTo>
                  <a:pt x="7206481" y="912504"/>
                </a:lnTo>
                <a:lnTo>
                  <a:pt x="7204636" y="912504"/>
                </a:lnTo>
                <a:lnTo>
                  <a:pt x="7201815" y="906658"/>
                </a:lnTo>
                <a:lnTo>
                  <a:pt x="7199970" y="906658"/>
                </a:lnTo>
                <a:lnTo>
                  <a:pt x="7197800" y="908174"/>
                </a:lnTo>
                <a:lnTo>
                  <a:pt x="7196823" y="903626"/>
                </a:lnTo>
                <a:lnTo>
                  <a:pt x="7191289" y="903626"/>
                </a:lnTo>
                <a:lnTo>
                  <a:pt x="7189661" y="905251"/>
                </a:lnTo>
                <a:lnTo>
                  <a:pt x="7187600" y="905251"/>
                </a:lnTo>
                <a:lnTo>
                  <a:pt x="7186623" y="909798"/>
                </a:lnTo>
                <a:lnTo>
                  <a:pt x="7183042" y="910773"/>
                </a:lnTo>
                <a:lnTo>
                  <a:pt x="7182391" y="913046"/>
                </a:lnTo>
                <a:lnTo>
                  <a:pt x="7173710" y="913046"/>
                </a:lnTo>
                <a:lnTo>
                  <a:pt x="7171213" y="916619"/>
                </a:lnTo>
                <a:lnTo>
                  <a:pt x="7167850" y="915428"/>
                </a:lnTo>
                <a:lnTo>
                  <a:pt x="7165028" y="917485"/>
                </a:lnTo>
                <a:lnTo>
                  <a:pt x="7159385" y="916728"/>
                </a:lnTo>
                <a:lnTo>
                  <a:pt x="7154177" y="925173"/>
                </a:lnTo>
                <a:lnTo>
                  <a:pt x="7151247" y="926905"/>
                </a:lnTo>
                <a:lnTo>
                  <a:pt x="7151898" y="933401"/>
                </a:lnTo>
                <a:lnTo>
                  <a:pt x="7147665" y="936649"/>
                </a:lnTo>
                <a:lnTo>
                  <a:pt x="7147665" y="939031"/>
                </a:lnTo>
                <a:lnTo>
                  <a:pt x="7150920" y="941413"/>
                </a:lnTo>
                <a:lnTo>
                  <a:pt x="7151789" y="947585"/>
                </a:lnTo>
                <a:lnTo>
                  <a:pt x="7156672" y="954297"/>
                </a:lnTo>
                <a:lnTo>
                  <a:pt x="7152766" y="957654"/>
                </a:lnTo>
                <a:lnTo>
                  <a:pt x="7150270" y="974436"/>
                </a:lnTo>
                <a:lnTo>
                  <a:pt x="7156239" y="981148"/>
                </a:lnTo>
                <a:lnTo>
                  <a:pt x="7151355" y="982989"/>
                </a:lnTo>
                <a:lnTo>
                  <a:pt x="7152766" y="983855"/>
                </a:lnTo>
                <a:lnTo>
                  <a:pt x="7152766" y="989160"/>
                </a:lnTo>
                <a:lnTo>
                  <a:pt x="7148208" y="994033"/>
                </a:lnTo>
                <a:lnTo>
                  <a:pt x="7148208" y="1001287"/>
                </a:lnTo>
                <a:lnTo>
                  <a:pt x="7144735" y="1005617"/>
                </a:lnTo>
                <a:lnTo>
                  <a:pt x="7144735" y="1010923"/>
                </a:lnTo>
                <a:lnTo>
                  <a:pt x="7142456" y="1019260"/>
                </a:lnTo>
                <a:lnTo>
                  <a:pt x="7146905" y="1025323"/>
                </a:lnTo>
                <a:lnTo>
                  <a:pt x="7143108" y="1028246"/>
                </a:lnTo>
                <a:lnTo>
                  <a:pt x="7149510" y="1037016"/>
                </a:lnTo>
                <a:lnTo>
                  <a:pt x="7147232" y="1038316"/>
                </a:lnTo>
                <a:lnTo>
                  <a:pt x="7145929" y="1042429"/>
                </a:lnTo>
                <a:lnTo>
                  <a:pt x="7149727" y="1044486"/>
                </a:lnTo>
                <a:lnTo>
                  <a:pt x="7151571" y="1042755"/>
                </a:lnTo>
                <a:lnTo>
                  <a:pt x="7156130" y="1042755"/>
                </a:lnTo>
                <a:lnTo>
                  <a:pt x="7156130" y="1040373"/>
                </a:lnTo>
                <a:lnTo>
                  <a:pt x="7157432" y="1039614"/>
                </a:lnTo>
                <a:lnTo>
                  <a:pt x="7161664" y="1041888"/>
                </a:lnTo>
                <a:lnTo>
                  <a:pt x="7164378" y="1041888"/>
                </a:lnTo>
                <a:lnTo>
                  <a:pt x="7164378" y="1039939"/>
                </a:lnTo>
                <a:lnTo>
                  <a:pt x="7164378" y="1038965"/>
                </a:lnTo>
                <a:lnTo>
                  <a:pt x="7167090" y="1040805"/>
                </a:lnTo>
                <a:lnTo>
                  <a:pt x="7171973" y="1042755"/>
                </a:lnTo>
                <a:lnTo>
                  <a:pt x="7171973" y="1045245"/>
                </a:lnTo>
                <a:lnTo>
                  <a:pt x="7171105" y="1046977"/>
                </a:lnTo>
                <a:lnTo>
                  <a:pt x="7175229" y="1051416"/>
                </a:lnTo>
                <a:lnTo>
                  <a:pt x="7174360" y="1053798"/>
                </a:lnTo>
                <a:lnTo>
                  <a:pt x="7171213" y="1053798"/>
                </a:lnTo>
                <a:lnTo>
                  <a:pt x="7168284" y="1055747"/>
                </a:lnTo>
                <a:lnTo>
                  <a:pt x="7164920" y="1054339"/>
                </a:lnTo>
                <a:lnTo>
                  <a:pt x="7161230" y="1056721"/>
                </a:lnTo>
                <a:lnTo>
                  <a:pt x="7161230" y="1058237"/>
                </a:lnTo>
                <a:lnTo>
                  <a:pt x="7164160" y="1060835"/>
                </a:lnTo>
                <a:lnTo>
                  <a:pt x="7157866" y="1066898"/>
                </a:lnTo>
                <a:lnTo>
                  <a:pt x="7154610" y="1065166"/>
                </a:lnTo>
                <a:lnTo>
                  <a:pt x="7153960" y="1061485"/>
                </a:lnTo>
                <a:lnTo>
                  <a:pt x="7151464" y="1059212"/>
                </a:lnTo>
                <a:lnTo>
                  <a:pt x="7148100" y="1061161"/>
                </a:lnTo>
                <a:lnTo>
                  <a:pt x="7145278" y="1059103"/>
                </a:lnTo>
                <a:lnTo>
                  <a:pt x="7142022" y="1060402"/>
                </a:lnTo>
                <a:lnTo>
                  <a:pt x="7142782" y="1063542"/>
                </a:lnTo>
                <a:lnTo>
                  <a:pt x="7142782" y="1067657"/>
                </a:lnTo>
                <a:lnTo>
                  <a:pt x="7141371" y="1067657"/>
                </a:lnTo>
                <a:lnTo>
                  <a:pt x="7139093" y="1070797"/>
                </a:lnTo>
                <a:lnTo>
                  <a:pt x="7135946" y="1073070"/>
                </a:lnTo>
                <a:lnTo>
                  <a:pt x="7138116" y="1075236"/>
                </a:lnTo>
                <a:lnTo>
                  <a:pt x="7135946" y="1078267"/>
                </a:lnTo>
                <a:lnTo>
                  <a:pt x="7132474" y="1077726"/>
                </a:lnTo>
                <a:lnTo>
                  <a:pt x="7126504" y="1071555"/>
                </a:lnTo>
                <a:lnTo>
                  <a:pt x="7123575" y="1071555"/>
                </a:lnTo>
                <a:lnTo>
                  <a:pt x="7127155" y="1076643"/>
                </a:lnTo>
                <a:lnTo>
                  <a:pt x="7122273" y="1079025"/>
                </a:lnTo>
                <a:lnTo>
                  <a:pt x="7123358" y="1080865"/>
                </a:lnTo>
                <a:lnTo>
                  <a:pt x="7120319" y="1084871"/>
                </a:lnTo>
                <a:lnTo>
                  <a:pt x="7113048" y="1087037"/>
                </a:lnTo>
                <a:lnTo>
                  <a:pt x="7111095" y="1089419"/>
                </a:lnTo>
                <a:lnTo>
                  <a:pt x="7104801" y="1080757"/>
                </a:lnTo>
                <a:lnTo>
                  <a:pt x="7101003" y="1080757"/>
                </a:lnTo>
                <a:lnTo>
                  <a:pt x="7099050" y="1079458"/>
                </a:lnTo>
                <a:lnTo>
                  <a:pt x="7100352" y="1077076"/>
                </a:lnTo>
                <a:lnTo>
                  <a:pt x="7104367" y="1077076"/>
                </a:lnTo>
                <a:lnTo>
                  <a:pt x="7104367" y="1072204"/>
                </a:lnTo>
                <a:lnTo>
                  <a:pt x="7106212" y="1069714"/>
                </a:lnTo>
                <a:lnTo>
                  <a:pt x="7113591" y="1069714"/>
                </a:lnTo>
                <a:lnTo>
                  <a:pt x="7121947" y="1063542"/>
                </a:lnTo>
                <a:lnTo>
                  <a:pt x="7120862" y="1060619"/>
                </a:lnTo>
                <a:lnTo>
                  <a:pt x="7117064" y="1059861"/>
                </a:lnTo>
                <a:lnTo>
                  <a:pt x="7112940" y="1063867"/>
                </a:lnTo>
                <a:lnTo>
                  <a:pt x="7106972" y="1062784"/>
                </a:lnTo>
                <a:lnTo>
                  <a:pt x="7106972" y="1060619"/>
                </a:lnTo>
                <a:lnTo>
                  <a:pt x="7102414" y="1057155"/>
                </a:lnTo>
                <a:lnTo>
                  <a:pt x="7098073" y="1057155"/>
                </a:lnTo>
                <a:lnTo>
                  <a:pt x="7091237" y="1055855"/>
                </a:lnTo>
                <a:lnTo>
                  <a:pt x="7084183" y="1055855"/>
                </a:lnTo>
                <a:lnTo>
                  <a:pt x="7086136" y="1059320"/>
                </a:lnTo>
                <a:lnTo>
                  <a:pt x="7083098" y="1060186"/>
                </a:lnTo>
                <a:lnTo>
                  <a:pt x="7080060" y="1058020"/>
                </a:lnTo>
                <a:lnTo>
                  <a:pt x="7080060" y="1055639"/>
                </a:lnTo>
                <a:lnTo>
                  <a:pt x="7073548" y="1055639"/>
                </a:lnTo>
                <a:lnTo>
                  <a:pt x="7065084" y="1053473"/>
                </a:lnTo>
                <a:lnTo>
                  <a:pt x="7061287" y="1055422"/>
                </a:lnTo>
                <a:lnTo>
                  <a:pt x="7057705" y="1052715"/>
                </a:lnTo>
                <a:lnTo>
                  <a:pt x="7050869" y="1052715"/>
                </a:lnTo>
                <a:lnTo>
                  <a:pt x="7044574" y="1060294"/>
                </a:lnTo>
                <a:lnTo>
                  <a:pt x="7041536" y="1060294"/>
                </a:lnTo>
                <a:lnTo>
                  <a:pt x="7041536" y="1063326"/>
                </a:lnTo>
                <a:lnTo>
                  <a:pt x="7047830" y="1067332"/>
                </a:lnTo>
                <a:lnTo>
                  <a:pt x="7040994" y="1070039"/>
                </a:lnTo>
                <a:lnTo>
                  <a:pt x="7039908" y="1066574"/>
                </a:lnTo>
                <a:lnTo>
                  <a:pt x="7036327" y="1072204"/>
                </a:lnTo>
                <a:lnTo>
                  <a:pt x="7042078" y="1075236"/>
                </a:lnTo>
                <a:lnTo>
                  <a:pt x="7044032" y="1073612"/>
                </a:lnTo>
                <a:lnTo>
                  <a:pt x="7046962" y="1075236"/>
                </a:lnTo>
                <a:lnTo>
                  <a:pt x="7046962" y="1078808"/>
                </a:lnTo>
                <a:lnTo>
                  <a:pt x="7037738" y="1082381"/>
                </a:lnTo>
                <a:lnTo>
                  <a:pt x="7034482" y="1078375"/>
                </a:lnTo>
                <a:lnTo>
                  <a:pt x="7026670" y="1078375"/>
                </a:lnTo>
                <a:lnTo>
                  <a:pt x="7023739" y="1080541"/>
                </a:lnTo>
                <a:lnTo>
                  <a:pt x="7025042" y="1084547"/>
                </a:lnTo>
                <a:lnTo>
                  <a:pt x="7021460" y="1084547"/>
                </a:lnTo>
                <a:lnTo>
                  <a:pt x="7018748" y="1087470"/>
                </a:lnTo>
                <a:lnTo>
                  <a:pt x="7016360" y="1087470"/>
                </a:lnTo>
                <a:lnTo>
                  <a:pt x="7014732" y="1084006"/>
                </a:lnTo>
                <a:lnTo>
                  <a:pt x="7004966" y="1084006"/>
                </a:lnTo>
                <a:lnTo>
                  <a:pt x="7000951" y="1086387"/>
                </a:lnTo>
                <a:lnTo>
                  <a:pt x="6991727" y="1085088"/>
                </a:lnTo>
                <a:lnTo>
                  <a:pt x="6986301" y="1088012"/>
                </a:lnTo>
                <a:lnTo>
                  <a:pt x="6986301" y="1090393"/>
                </a:lnTo>
                <a:lnTo>
                  <a:pt x="6993138" y="1095590"/>
                </a:lnTo>
                <a:lnTo>
                  <a:pt x="6989340" y="1098838"/>
                </a:lnTo>
                <a:lnTo>
                  <a:pt x="6986952" y="1103494"/>
                </a:lnTo>
                <a:lnTo>
                  <a:pt x="6982612" y="1099380"/>
                </a:lnTo>
                <a:lnTo>
                  <a:pt x="6979139" y="1098081"/>
                </a:lnTo>
                <a:lnTo>
                  <a:pt x="6981092" y="1092883"/>
                </a:lnTo>
                <a:lnTo>
                  <a:pt x="6976969" y="1090177"/>
                </a:lnTo>
                <a:lnTo>
                  <a:pt x="6974798" y="1093750"/>
                </a:lnTo>
                <a:lnTo>
                  <a:pt x="6970674" y="1094291"/>
                </a:lnTo>
                <a:lnTo>
                  <a:pt x="6966551" y="1094291"/>
                </a:lnTo>
                <a:lnTo>
                  <a:pt x="6961668" y="1097756"/>
                </a:lnTo>
                <a:lnTo>
                  <a:pt x="6956785" y="1097756"/>
                </a:lnTo>
                <a:lnTo>
                  <a:pt x="6949731" y="1102087"/>
                </a:lnTo>
                <a:lnTo>
                  <a:pt x="6942677" y="1102087"/>
                </a:lnTo>
                <a:lnTo>
                  <a:pt x="6934322" y="1108799"/>
                </a:lnTo>
                <a:lnTo>
                  <a:pt x="6929330" y="1109666"/>
                </a:lnTo>
                <a:lnTo>
                  <a:pt x="6926075" y="1106201"/>
                </a:lnTo>
                <a:lnTo>
                  <a:pt x="6923036" y="1106201"/>
                </a:lnTo>
                <a:lnTo>
                  <a:pt x="6921734" y="1110857"/>
                </a:lnTo>
                <a:lnTo>
                  <a:pt x="6913052" y="1117353"/>
                </a:lnTo>
                <a:lnTo>
                  <a:pt x="6911750" y="1122442"/>
                </a:lnTo>
                <a:lnTo>
                  <a:pt x="6902743" y="1126772"/>
                </a:lnTo>
                <a:lnTo>
                  <a:pt x="6901875" y="1132185"/>
                </a:lnTo>
                <a:lnTo>
                  <a:pt x="6908060" y="1141714"/>
                </a:lnTo>
                <a:lnTo>
                  <a:pt x="6906433" y="1150917"/>
                </a:lnTo>
                <a:lnTo>
                  <a:pt x="6899380" y="1158820"/>
                </a:lnTo>
                <a:lnTo>
                  <a:pt x="6895907" y="1166399"/>
                </a:lnTo>
                <a:lnTo>
                  <a:pt x="6897318" y="1172354"/>
                </a:lnTo>
                <a:lnTo>
                  <a:pt x="6897318" y="1181774"/>
                </a:lnTo>
                <a:lnTo>
                  <a:pt x="6899488" y="1185347"/>
                </a:lnTo>
                <a:lnTo>
                  <a:pt x="6899488" y="1190544"/>
                </a:lnTo>
                <a:lnTo>
                  <a:pt x="6897318" y="1190544"/>
                </a:lnTo>
                <a:lnTo>
                  <a:pt x="6894279" y="1192384"/>
                </a:lnTo>
                <a:lnTo>
                  <a:pt x="6894279" y="1198014"/>
                </a:lnTo>
                <a:lnTo>
                  <a:pt x="6891892" y="1199855"/>
                </a:lnTo>
                <a:lnTo>
                  <a:pt x="6894604" y="1207975"/>
                </a:lnTo>
                <a:lnTo>
                  <a:pt x="6889938" y="1211440"/>
                </a:lnTo>
                <a:lnTo>
                  <a:pt x="6889179" y="1217612"/>
                </a:lnTo>
                <a:lnTo>
                  <a:pt x="6882668" y="1225515"/>
                </a:lnTo>
                <a:lnTo>
                  <a:pt x="6883753" y="1230712"/>
                </a:lnTo>
                <a:lnTo>
                  <a:pt x="6879955" y="1232661"/>
                </a:lnTo>
                <a:lnTo>
                  <a:pt x="6878652" y="1241539"/>
                </a:lnTo>
                <a:lnTo>
                  <a:pt x="6876808" y="1241539"/>
                </a:lnTo>
                <a:lnTo>
                  <a:pt x="6874096" y="1253124"/>
                </a:lnTo>
                <a:lnTo>
                  <a:pt x="6874096" y="1261786"/>
                </a:lnTo>
                <a:lnTo>
                  <a:pt x="6872467" y="1264709"/>
                </a:lnTo>
                <a:lnTo>
                  <a:pt x="6874420" y="1270123"/>
                </a:lnTo>
                <a:lnTo>
                  <a:pt x="6870948" y="1275320"/>
                </a:lnTo>
                <a:lnTo>
                  <a:pt x="6870080" y="1280733"/>
                </a:lnTo>
                <a:lnTo>
                  <a:pt x="6865522" y="1287771"/>
                </a:lnTo>
                <a:lnTo>
                  <a:pt x="6865522" y="1290261"/>
                </a:lnTo>
                <a:lnTo>
                  <a:pt x="6863135" y="1291127"/>
                </a:lnTo>
                <a:lnTo>
                  <a:pt x="6863135" y="1297299"/>
                </a:lnTo>
                <a:lnTo>
                  <a:pt x="6855864" y="1303254"/>
                </a:lnTo>
                <a:lnTo>
                  <a:pt x="6855864" y="1311157"/>
                </a:lnTo>
                <a:lnTo>
                  <a:pt x="6849136" y="1317329"/>
                </a:lnTo>
                <a:lnTo>
                  <a:pt x="6849136" y="1321551"/>
                </a:lnTo>
                <a:lnTo>
                  <a:pt x="6844470" y="1328805"/>
                </a:lnTo>
                <a:lnTo>
                  <a:pt x="6843168" y="1333785"/>
                </a:lnTo>
                <a:lnTo>
                  <a:pt x="6840780" y="1338008"/>
                </a:lnTo>
                <a:lnTo>
                  <a:pt x="6843385" y="1342447"/>
                </a:lnTo>
                <a:lnTo>
                  <a:pt x="6847834" y="1345479"/>
                </a:lnTo>
                <a:lnTo>
                  <a:pt x="6852392" y="1343747"/>
                </a:lnTo>
                <a:lnTo>
                  <a:pt x="6856407" y="1347319"/>
                </a:lnTo>
                <a:lnTo>
                  <a:pt x="6861073" y="1347319"/>
                </a:lnTo>
                <a:lnTo>
                  <a:pt x="6867041" y="1342989"/>
                </a:lnTo>
                <a:lnTo>
                  <a:pt x="6870730" y="1341690"/>
                </a:lnTo>
                <a:lnTo>
                  <a:pt x="6874746" y="1338983"/>
                </a:lnTo>
                <a:lnTo>
                  <a:pt x="6876916" y="1338983"/>
                </a:lnTo>
                <a:lnTo>
                  <a:pt x="6882125" y="1337575"/>
                </a:lnTo>
                <a:lnTo>
                  <a:pt x="6882125" y="1349810"/>
                </a:lnTo>
                <a:lnTo>
                  <a:pt x="6887551" y="1357064"/>
                </a:lnTo>
                <a:lnTo>
                  <a:pt x="6889504" y="1364426"/>
                </a:lnTo>
                <a:lnTo>
                  <a:pt x="6888636" y="1370598"/>
                </a:lnTo>
                <a:lnTo>
                  <a:pt x="6894822" y="1375794"/>
                </a:lnTo>
                <a:lnTo>
                  <a:pt x="6898077" y="1371788"/>
                </a:lnTo>
                <a:lnTo>
                  <a:pt x="6899380" y="1371788"/>
                </a:lnTo>
                <a:lnTo>
                  <a:pt x="6902310" y="1369840"/>
                </a:lnTo>
                <a:lnTo>
                  <a:pt x="6904480" y="1365184"/>
                </a:lnTo>
                <a:lnTo>
                  <a:pt x="6905401" y="1364817"/>
                </a:lnTo>
                <a:lnTo>
                  <a:pt x="6901985" y="1362260"/>
                </a:lnTo>
                <a:lnTo>
                  <a:pt x="6901442" y="1358795"/>
                </a:lnTo>
                <a:lnTo>
                  <a:pt x="6905457" y="1353381"/>
                </a:lnTo>
                <a:lnTo>
                  <a:pt x="6912510" y="1351649"/>
                </a:lnTo>
                <a:lnTo>
                  <a:pt x="6911208" y="1354573"/>
                </a:lnTo>
                <a:lnTo>
                  <a:pt x="6912293" y="1355871"/>
                </a:lnTo>
                <a:lnTo>
                  <a:pt x="6910774" y="1359661"/>
                </a:lnTo>
                <a:lnTo>
                  <a:pt x="6908170" y="1360419"/>
                </a:lnTo>
                <a:lnTo>
                  <a:pt x="6905509" y="1364774"/>
                </a:lnTo>
                <a:lnTo>
                  <a:pt x="6907735" y="1363885"/>
                </a:lnTo>
                <a:lnTo>
                  <a:pt x="6909580" y="1366592"/>
                </a:lnTo>
                <a:lnTo>
                  <a:pt x="6912292" y="1364102"/>
                </a:lnTo>
                <a:lnTo>
                  <a:pt x="6917502" y="1364102"/>
                </a:lnTo>
                <a:lnTo>
                  <a:pt x="6915548" y="1366050"/>
                </a:lnTo>
                <a:lnTo>
                  <a:pt x="6913378" y="1369623"/>
                </a:lnTo>
                <a:lnTo>
                  <a:pt x="6913378" y="1376444"/>
                </a:lnTo>
                <a:lnTo>
                  <a:pt x="6910666" y="1376444"/>
                </a:lnTo>
                <a:lnTo>
                  <a:pt x="6906867" y="1380017"/>
                </a:lnTo>
                <a:lnTo>
                  <a:pt x="6908278" y="1382182"/>
                </a:lnTo>
                <a:lnTo>
                  <a:pt x="6919130" y="1380559"/>
                </a:lnTo>
                <a:lnTo>
                  <a:pt x="6924772" y="1377094"/>
                </a:lnTo>
                <a:lnTo>
                  <a:pt x="6926726" y="1369840"/>
                </a:lnTo>
                <a:lnTo>
                  <a:pt x="6925857" y="1365184"/>
                </a:lnTo>
                <a:lnTo>
                  <a:pt x="6927702" y="1361719"/>
                </a:lnTo>
                <a:lnTo>
                  <a:pt x="6930632" y="1368216"/>
                </a:lnTo>
                <a:lnTo>
                  <a:pt x="6929764" y="1374170"/>
                </a:lnTo>
                <a:lnTo>
                  <a:pt x="6929764" y="1380125"/>
                </a:lnTo>
                <a:lnTo>
                  <a:pt x="6932802" y="1378176"/>
                </a:lnTo>
                <a:lnTo>
                  <a:pt x="6934647" y="1371680"/>
                </a:lnTo>
                <a:lnTo>
                  <a:pt x="6932042" y="1363668"/>
                </a:lnTo>
                <a:lnTo>
                  <a:pt x="6933996" y="1359554"/>
                </a:lnTo>
                <a:lnTo>
                  <a:pt x="6929872" y="1355115"/>
                </a:lnTo>
                <a:lnTo>
                  <a:pt x="6927594" y="1346995"/>
                </a:lnTo>
                <a:lnTo>
                  <a:pt x="6932260" y="1346995"/>
                </a:lnTo>
                <a:lnTo>
                  <a:pt x="6936818" y="1349594"/>
                </a:lnTo>
                <a:lnTo>
                  <a:pt x="6936818" y="1351758"/>
                </a:lnTo>
                <a:lnTo>
                  <a:pt x="6938554" y="1353924"/>
                </a:lnTo>
                <a:lnTo>
                  <a:pt x="6941266" y="1353924"/>
                </a:lnTo>
                <a:lnTo>
                  <a:pt x="6943220" y="1350892"/>
                </a:lnTo>
                <a:lnTo>
                  <a:pt x="6947778" y="1350892"/>
                </a:lnTo>
                <a:lnTo>
                  <a:pt x="6953312" y="1346670"/>
                </a:lnTo>
                <a:lnTo>
                  <a:pt x="6958738" y="1351109"/>
                </a:lnTo>
                <a:lnTo>
                  <a:pt x="6964272" y="1351109"/>
                </a:lnTo>
                <a:lnTo>
                  <a:pt x="6967744" y="1354249"/>
                </a:lnTo>
                <a:lnTo>
                  <a:pt x="6970458" y="1359988"/>
                </a:lnTo>
                <a:lnTo>
                  <a:pt x="6973388" y="1361936"/>
                </a:lnTo>
                <a:lnTo>
                  <a:pt x="6980007" y="1362802"/>
                </a:lnTo>
                <a:lnTo>
                  <a:pt x="6982503" y="1366050"/>
                </a:lnTo>
                <a:lnTo>
                  <a:pt x="6993355" y="1369840"/>
                </a:lnTo>
                <a:lnTo>
                  <a:pt x="6994657" y="1372980"/>
                </a:lnTo>
                <a:lnTo>
                  <a:pt x="6998563" y="1373629"/>
                </a:lnTo>
                <a:lnTo>
                  <a:pt x="7001602" y="1377419"/>
                </a:lnTo>
                <a:lnTo>
                  <a:pt x="7004424" y="1377419"/>
                </a:lnTo>
                <a:lnTo>
                  <a:pt x="7008438" y="1384998"/>
                </a:lnTo>
                <a:lnTo>
                  <a:pt x="7005942" y="1389004"/>
                </a:lnTo>
                <a:lnTo>
                  <a:pt x="7005942" y="1393010"/>
                </a:lnTo>
                <a:lnTo>
                  <a:pt x="7002688" y="1394959"/>
                </a:lnTo>
                <a:lnTo>
                  <a:pt x="7007354" y="1400155"/>
                </a:lnTo>
                <a:lnTo>
                  <a:pt x="7010826" y="1400155"/>
                </a:lnTo>
                <a:lnTo>
                  <a:pt x="7017120" y="1408276"/>
                </a:lnTo>
                <a:lnTo>
                  <a:pt x="7017120" y="1412606"/>
                </a:lnTo>
                <a:lnTo>
                  <a:pt x="7014407" y="1415855"/>
                </a:lnTo>
                <a:lnTo>
                  <a:pt x="7014407" y="1421051"/>
                </a:lnTo>
                <a:lnTo>
                  <a:pt x="7019290" y="1425166"/>
                </a:lnTo>
                <a:lnTo>
                  <a:pt x="7023306" y="1426249"/>
                </a:lnTo>
                <a:lnTo>
                  <a:pt x="7026344" y="1423542"/>
                </a:lnTo>
                <a:lnTo>
                  <a:pt x="7027212" y="1427656"/>
                </a:lnTo>
                <a:lnTo>
                  <a:pt x="7025042" y="1430363"/>
                </a:lnTo>
                <a:lnTo>
                  <a:pt x="7025801" y="1436101"/>
                </a:lnTo>
                <a:lnTo>
                  <a:pt x="7029816" y="1439674"/>
                </a:lnTo>
                <a:lnTo>
                  <a:pt x="7026886" y="1442056"/>
                </a:lnTo>
                <a:lnTo>
                  <a:pt x="7026886" y="1445521"/>
                </a:lnTo>
                <a:lnTo>
                  <a:pt x="7028840" y="1449636"/>
                </a:lnTo>
                <a:lnTo>
                  <a:pt x="7026344" y="1454507"/>
                </a:lnTo>
                <a:lnTo>
                  <a:pt x="7028297" y="1456132"/>
                </a:lnTo>
                <a:lnTo>
                  <a:pt x="7028297" y="1459379"/>
                </a:lnTo>
                <a:lnTo>
                  <a:pt x="7027212" y="1461761"/>
                </a:lnTo>
                <a:lnTo>
                  <a:pt x="7029708" y="1463385"/>
                </a:lnTo>
                <a:lnTo>
                  <a:pt x="7026778" y="1466850"/>
                </a:lnTo>
                <a:lnTo>
                  <a:pt x="7030576" y="1478218"/>
                </a:lnTo>
                <a:lnTo>
                  <a:pt x="7028948" y="1481467"/>
                </a:lnTo>
                <a:lnTo>
                  <a:pt x="7029816" y="1490345"/>
                </a:lnTo>
                <a:lnTo>
                  <a:pt x="7030576" y="1493809"/>
                </a:lnTo>
                <a:lnTo>
                  <a:pt x="7030576" y="1497815"/>
                </a:lnTo>
                <a:lnTo>
                  <a:pt x="7035460" y="1513515"/>
                </a:lnTo>
                <a:lnTo>
                  <a:pt x="7039258" y="1514273"/>
                </a:lnTo>
                <a:lnTo>
                  <a:pt x="7043598" y="1511241"/>
                </a:lnTo>
                <a:lnTo>
                  <a:pt x="7043598" y="1513407"/>
                </a:lnTo>
                <a:lnTo>
                  <a:pt x="7040017" y="1519578"/>
                </a:lnTo>
                <a:lnTo>
                  <a:pt x="7038064" y="1521743"/>
                </a:lnTo>
                <a:lnTo>
                  <a:pt x="7040451" y="1525858"/>
                </a:lnTo>
                <a:lnTo>
                  <a:pt x="7042621" y="1525858"/>
                </a:lnTo>
                <a:lnTo>
                  <a:pt x="7049349" y="1533220"/>
                </a:lnTo>
                <a:lnTo>
                  <a:pt x="7049349" y="1542207"/>
                </a:lnTo>
                <a:lnTo>
                  <a:pt x="7050977" y="1545455"/>
                </a:lnTo>
                <a:lnTo>
                  <a:pt x="7050977" y="1548486"/>
                </a:lnTo>
                <a:lnTo>
                  <a:pt x="7052605" y="1560071"/>
                </a:lnTo>
                <a:lnTo>
                  <a:pt x="7056186" y="1560071"/>
                </a:lnTo>
                <a:lnTo>
                  <a:pt x="7056186" y="1565702"/>
                </a:lnTo>
                <a:lnTo>
                  <a:pt x="7054558" y="1567542"/>
                </a:lnTo>
                <a:lnTo>
                  <a:pt x="7054558" y="1574796"/>
                </a:lnTo>
                <a:lnTo>
                  <a:pt x="7056946" y="1579344"/>
                </a:lnTo>
                <a:lnTo>
                  <a:pt x="7056946" y="1585623"/>
                </a:lnTo>
                <a:lnTo>
                  <a:pt x="7050109" y="1592877"/>
                </a:lnTo>
                <a:lnTo>
                  <a:pt x="7050109" y="1599698"/>
                </a:lnTo>
                <a:lnTo>
                  <a:pt x="7047070" y="1607277"/>
                </a:lnTo>
                <a:lnTo>
                  <a:pt x="7047939" y="1615181"/>
                </a:lnTo>
                <a:lnTo>
                  <a:pt x="7049240" y="1615939"/>
                </a:lnTo>
                <a:lnTo>
                  <a:pt x="7049240" y="1622977"/>
                </a:lnTo>
                <a:lnTo>
                  <a:pt x="7044683" y="1627307"/>
                </a:lnTo>
                <a:lnTo>
                  <a:pt x="7044683" y="1633479"/>
                </a:lnTo>
                <a:lnTo>
                  <a:pt x="7041210" y="1641274"/>
                </a:lnTo>
                <a:lnTo>
                  <a:pt x="7043164" y="1641274"/>
                </a:lnTo>
                <a:lnTo>
                  <a:pt x="7043164" y="1644847"/>
                </a:lnTo>
                <a:lnTo>
                  <a:pt x="7039040" y="1649936"/>
                </a:lnTo>
                <a:lnTo>
                  <a:pt x="7041536" y="1660763"/>
                </a:lnTo>
                <a:lnTo>
                  <a:pt x="7036436" y="1665852"/>
                </a:lnTo>
                <a:lnTo>
                  <a:pt x="7038064" y="1672131"/>
                </a:lnTo>
                <a:lnTo>
                  <a:pt x="7040451" y="1672889"/>
                </a:lnTo>
                <a:lnTo>
                  <a:pt x="7040451" y="1677762"/>
                </a:lnTo>
                <a:lnTo>
                  <a:pt x="7034700" y="1684799"/>
                </a:lnTo>
                <a:lnTo>
                  <a:pt x="7033614" y="1690429"/>
                </a:lnTo>
                <a:lnTo>
                  <a:pt x="7028731" y="1694760"/>
                </a:lnTo>
                <a:lnTo>
                  <a:pt x="7028731" y="1699091"/>
                </a:lnTo>
                <a:lnTo>
                  <a:pt x="7023848" y="1705370"/>
                </a:lnTo>
                <a:lnTo>
                  <a:pt x="7019290" y="1725725"/>
                </a:lnTo>
                <a:lnTo>
                  <a:pt x="7016577" y="1727349"/>
                </a:lnTo>
                <a:lnTo>
                  <a:pt x="7015709" y="1732980"/>
                </a:lnTo>
                <a:lnTo>
                  <a:pt x="7017662" y="1734820"/>
                </a:lnTo>
                <a:lnTo>
                  <a:pt x="7016794" y="1737202"/>
                </a:lnTo>
                <a:lnTo>
                  <a:pt x="7010284" y="1741533"/>
                </a:lnTo>
                <a:lnTo>
                  <a:pt x="7010284" y="1746405"/>
                </a:lnTo>
                <a:lnTo>
                  <a:pt x="7005942" y="1748787"/>
                </a:lnTo>
                <a:lnTo>
                  <a:pt x="7005942" y="1756149"/>
                </a:lnTo>
                <a:lnTo>
                  <a:pt x="7003447" y="1756907"/>
                </a:lnTo>
                <a:lnTo>
                  <a:pt x="7005834" y="1761455"/>
                </a:lnTo>
                <a:lnTo>
                  <a:pt x="7000192" y="1769359"/>
                </a:lnTo>
                <a:lnTo>
                  <a:pt x="7000192" y="1768059"/>
                </a:lnTo>
                <a:lnTo>
                  <a:pt x="6996610" y="1766977"/>
                </a:lnTo>
                <a:lnTo>
                  <a:pt x="6998455" y="1772065"/>
                </a:lnTo>
                <a:lnTo>
                  <a:pt x="6998455" y="1778995"/>
                </a:lnTo>
                <a:lnTo>
                  <a:pt x="6992812" y="1781485"/>
                </a:lnTo>
                <a:lnTo>
                  <a:pt x="6994223" y="1783975"/>
                </a:lnTo>
                <a:lnTo>
                  <a:pt x="6986301" y="1793719"/>
                </a:lnTo>
                <a:lnTo>
                  <a:pt x="6982720" y="1799891"/>
                </a:lnTo>
                <a:lnTo>
                  <a:pt x="6979247" y="1799891"/>
                </a:lnTo>
                <a:lnTo>
                  <a:pt x="6978380" y="1803139"/>
                </a:lnTo>
                <a:lnTo>
                  <a:pt x="6971652" y="1804222"/>
                </a:lnTo>
                <a:lnTo>
                  <a:pt x="6966226" y="1809852"/>
                </a:lnTo>
                <a:lnTo>
                  <a:pt x="6963296" y="1806820"/>
                </a:lnTo>
                <a:lnTo>
                  <a:pt x="6960583" y="1809526"/>
                </a:lnTo>
                <a:lnTo>
                  <a:pt x="6953204" y="1804871"/>
                </a:lnTo>
                <a:lnTo>
                  <a:pt x="6945825" y="1802922"/>
                </a:lnTo>
                <a:lnTo>
                  <a:pt x="6945825" y="1794477"/>
                </a:lnTo>
                <a:lnTo>
                  <a:pt x="6943112" y="1792095"/>
                </a:lnTo>
                <a:lnTo>
                  <a:pt x="6937360" y="1794585"/>
                </a:lnTo>
                <a:lnTo>
                  <a:pt x="6932260" y="1791338"/>
                </a:lnTo>
                <a:lnTo>
                  <a:pt x="6930849" y="1793828"/>
                </a:lnTo>
                <a:lnTo>
                  <a:pt x="6930849" y="1798158"/>
                </a:lnTo>
                <a:lnTo>
                  <a:pt x="6926508" y="1801623"/>
                </a:lnTo>
                <a:lnTo>
                  <a:pt x="6926508" y="1810285"/>
                </a:lnTo>
                <a:lnTo>
                  <a:pt x="6923470" y="1812450"/>
                </a:lnTo>
                <a:lnTo>
                  <a:pt x="6921517" y="1820354"/>
                </a:lnTo>
                <a:lnTo>
                  <a:pt x="6919563" y="1818189"/>
                </a:lnTo>
                <a:lnTo>
                  <a:pt x="6913378" y="1819271"/>
                </a:lnTo>
                <a:lnTo>
                  <a:pt x="6911750" y="1826309"/>
                </a:lnTo>
                <a:lnTo>
                  <a:pt x="6910122" y="1826309"/>
                </a:lnTo>
                <a:lnTo>
                  <a:pt x="6909492" y="1825432"/>
                </a:lnTo>
                <a:lnTo>
                  <a:pt x="6901768" y="1833995"/>
                </a:lnTo>
                <a:lnTo>
                  <a:pt x="6898838" y="1833454"/>
                </a:lnTo>
                <a:lnTo>
                  <a:pt x="6898729" y="1839193"/>
                </a:lnTo>
                <a:lnTo>
                  <a:pt x="6895474" y="1851102"/>
                </a:lnTo>
                <a:lnTo>
                  <a:pt x="6895799" y="1857923"/>
                </a:lnTo>
                <a:lnTo>
                  <a:pt x="6900683" y="1861821"/>
                </a:lnTo>
                <a:lnTo>
                  <a:pt x="6900791" y="1874164"/>
                </a:lnTo>
                <a:lnTo>
                  <a:pt x="6904698" y="1877087"/>
                </a:lnTo>
                <a:lnTo>
                  <a:pt x="6902636" y="1882717"/>
                </a:lnTo>
                <a:lnTo>
                  <a:pt x="6896559" y="1887914"/>
                </a:lnTo>
                <a:lnTo>
                  <a:pt x="6897753" y="1889754"/>
                </a:lnTo>
                <a:lnTo>
                  <a:pt x="6885816" y="1902206"/>
                </a:lnTo>
                <a:lnTo>
                  <a:pt x="6887335" y="1905778"/>
                </a:lnTo>
                <a:lnTo>
                  <a:pt x="6883863" y="1908810"/>
                </a:lnTo>
                <a:lnTo>
                  <a:pt x="6882778" y="1911409"/>
                </a:lnTo>
                <a:lnTo>
                  <a:pt x="6877894" y="1911192"/>
                </a:lnTo>
                <a:lnTo>
                  <a:pt x="6873228" y="1914224"/>
                </a:lnTo>
                <a:lnTo>
                  <a:pt x="6871166" y="1919529"/>
                </a:lnTo>
                <a:lnTo>
                  <a:pt x="6864872" y="1923427"/>
                </a:lnTo>
                <a:lnTo>
                  <a:pt x="6864872" y="1929382"/>
                </a:lnTo>
                <a:lnTo>
                  <a:pt x="6866717" y="1934904"/>
                </a:lnTo>
                <a:lnTo>
                  <a:pt x="6864330" y="1937394"/>
                </a:lnTo>
                <a:lnTo>
                  <a:pt x="6865740" y="1943673"/>
                </a:lnTo>
                <a:lnTo>
                  <a:pt x="6874530" y="1945298"/>
                </a:lnTo>
                <a:lnTo>
                  <a:pt x="6877026" y="1949304"/>
                </a:lnTo>
                <a:lnTo>
                  <a:pt x="6894498" y="1959373"/>
                </a:lnTo>
                <a:lnTo>
                  <a:pt x="6897318" y="1964569"/>
                </a:lnTo>
                <a:lnTo>
                  <a:pt x="6897317" y="1964570"/>
                </a:lnTo>
                <a:lnTo>
                  <a:pt x="6906107" y="1980701"/>
                </a:lnTo>
                <a:lnTo>
                  <a:pt x="6918912" y="1994018"/>
                </a:lnTo>
                <a:lnTo>
                  <a:pt x="6933019" y="2011666"/>
                </a:lnTo>
                <a:lnTo>
                  <a:pt x="6933453" y="2022385"/>
                </a:lnTo>
                <a:lnTo>
                  <a:pt x="6937034" y="2026174"/>
                </a:lnTo>
                <a:lnTo>
                  <a:pt x="6940289" y="2042957"/>
                </a:lnTo>
                <a:lnTo>
                  <a:pt x="6940507" y="2048478"/>
                </a:lnTo>
                <a:lnTo>
                  <a:pt x="6942134" y="2046746"/>
                </a:lnTo>
                <a:lnTo>
                  <a:pt x="6943762" y="2046746"/>
                </a:lnTo>
                <a:lnTo>
                  <a:pt x="6944956" y="2064935"/>
                </a:lnTo>
                <a:lnTo>
                  <a:pt x="6941700" y="2067426"/>
                </a:lnTo>
                <a:lnTo>
                  <a:pt x="6943220" y="2070024"/>
                </a:lnTo>
                <a:lnTo>
                  <a:pt x="6936708" y="2078253"/>
                </a:lnTo>
                <a:lnTo>
                  <a:pt x="6931282" y="2078253"/>
                </a:lnTo>
                <a:lnTo>
                  <a:pt x="6925423" y="2081934"/>
                </a:lnTo>
                <a:lnTo>
                  <a:pt x="6927267" y="2085290"/>
                </a:lnTo>
                <a:lnTo>
                  <a:pt x="6924880" y="2086914"/>
                </a:lnTo>
                <a:lnTo>
                  <a:pt x="6923144" y="2084749"/>
                </a:lnTo>
                <a:lnTo>
                  <a:pt x="6918586" y="2086589"/>
                </a:lnTo>
                <a:lnTo>
                  <a:pt x="6916199" y="2081934"/>
                </a:lnTo>
                <a:lnTo>
                  <a:pt x="6913703" y="2081501"/>
                </a:lnTo>
                <a:lnTo>
                  <a:pt x="6910447" y="2085506"/>
                </a:lnTo>
                <a:lnTo>
                  <a:pt x="6909687" y="2083016"/>
                </a:lnTo>
                <a:lnTo>
                  <a:pt x="6905347" y="2083883"/>
                </a:lnTo>
                <a:lnTo>
                  <a:pt x="6894712" y="2093086"/>
                </a:lnTo>
                <a:lnTo>
                  <a:pt x="6891240" y="2097958"/>
                </a:lnTo>
                <a:lnTo>
                  <a:pt x="6889070" y="2095034"/>
                </a:lnTo>
                <a:lnTo>
                  <a:pt x="6888744" y="2101206"/>
                </a:lnTo>
                <a:lnTo>
                  <a:pt x="6885271" y="2103696"/>
                </a:lnTo>
                <a:lnTo>
                  <a:pt x="6885489" y="2099582"/>
                </a:lnTo>
                <a:lnTo>
                  <a:pt x="6883644" y="2098175"/>
                </a:lnTo>
                <a:lnTo>
                  <a:pt x="6882558" y="2092653"/>
                </a:lnTo>
                <a:lnTo>
                  <a:pt x="6879195" y="2092328"/>
                </a:lnTo>
                <a:lnTo>
                  <a:pt x="6873335" y="2081176"/>
                </a:lnTo>
                <a:lnTo>
                  <a:pt x="6876481" y="2080959"/>
                </a:lnTo>
                <a:lnTo>
                  <a:pt x="6873986" y="2076520"/>
                </a:lnTo>
                <a:lnTo>
                  <a:pt x="6873986" y="2071973"/>
                </a:lnTo>
                <a:lnTo>
                  <a:pt x="6876807" y="2070349"/>
                </a:lnTo>
                <a:lnTo>
                  <a:pt x="6876590" y="2066235"/>
                </a:lnTo>
                <a:lnTo>
                  <a:pt x="6873335" y="2063636"/>
                </a:lnTo>
                <a:lnTo>
                  <a:pt x="6873551" y="2060930"/>
                </a:lnTo>
                <a:lnTo>
                  <a:pt x="6881365" y="2055733"/>
                </a:lnTo>
                <a:lnTo>
                  <a:pt x="6877133" y="2047612"/>
                </a:lnTo>
                <a:lnTo>
                  <a:pt x="6875397" y="2049236"/>
                </a:lnTo>
                <a:lnTo>
                  <a:pt x="6872684" y="2047396"/>
                </a:lnTo>
                <a:lnTo>
                  <a:pt x="6872467" y="2037543"/>
                </a:lnTo>
                <a:lnTo>
                  <a:pt x="6870079" y="2032238"/>
                </a:lnTo>
                <a:lnTo>
                  <a:pt x="6867366" y="2033212"/>
                </a:lnTo>
                <a:lnTo>
                  <a:pt x="6856948" y="2028340"/>
                </a:lnTo>
                <a:lnTo>
                  <a:pt x="6861832" y="2021411"/>
                </a:lnTo>
                <a:lnTo>
                  <a:pt x="6865196" y="2022385"/>
                </a:lnTo>
                <a:lnTo>
                  <a:pt x="6866824" y="2018162"/>
                </a:lnTo>
                <a:lnTo>
                  <a:pt x="6868451" y="2020544"/>
                </a:lnTo>
                <a:lnTo>
                  <a:pt x="6876481" y="2023251"/>
                </a:lnTo>
                <a:lnTo>
                  <a:pt x="6874528" y="2019137"/>
                </a:lnTo>
                <a:lnTo>
                  <a:pt x="6871055" y="2014265"/>
                </a:lnTo>
                <a:lnTo>
                  <a:pt x="6872684" y="2011666"/>
                </a:lnTo>
                <a:lnTo>
                  <a:pt x="6869428" y="2011017"/>
                </a:lnTo>
                <a:lnTo>
                  <a:pt x="6863243" y="2002138"/>
                </a:lnTo>
                <a:lnTo>
                  <a:pt x="6853802" y="1994235"/>
                </a:lnTo>
                <a:lnTo>
                  <a:pt x="6857274" y="1992395"/>
                </a:lnTo>
                <a:lnTo>
                  <a:pt x="6850112" y="1992178"/>
                </a:lnTo>
                <a:lnTo>
                  <a:pt x="6846097" y="1995101"/>
                </a:lnTo>
                <a:lnTo>
                  <a:pt x="6845446" y="1994452"/>
                </a:lnTo>
                <a:lnTo>
                  <a:pt x="6845446" y="1994451"/>
                </a:lnTo>
                <a:lnTo>
                  <a:pt x="6840130" y="1988606"/>
                </a:lnTo>
                <a:lnTo>
                  <a:pt x="6837417" y="1990446"/>
                </a:lnTo>
                <a:lnTo>
                  <a:pt x="6838611" y="1992936"/>
                </a:lnTo>
                <a:lnTo>
                  <a:pt x="6834270" y="1998567"/>
                </a:lnTo>
                <a:lnTo>
                  <a:pt x="6831450" y="1996510"/>
                </a:lnTo>
                <a:lnTo>
                  <a:pt x="6826566" y="2000516"/>
                </a:lnTo>
                <a:lnTo>
                  <a:pt x="6824504" y="1997267"/>
                </a:lnTo>
                <a:lnTo>
                  <a:pt x="6828844" y="1990446"/>
                </a:lnTo>
                <a:lnTo>
                  <a:pt x="6823853" y="1988606"/>
                </a:lnTo>
                <a:lnTo>
                  <a:pt x="6819621" y="1990988"/>
                </a:lnTo>
                <a:lnTo>
                  <a:pt x="6817559" y="1990446"/>
                </a:lnTo>
                <a:lnTo>
                  <a:pt x="6818753" y="1986116"/>
                </a:lnTo>
                <a:lnTo>
                  <a:pt x="6819079" y="1976155"/>
                </a:lnTo>
                <a:lnTo>
                  <a:pt x="6822333" y="1969442"/>
                </a:lnTo>
                <a:lnTo>
                  <a:pt x="6828519" y="1968900"/>
                </a:lnTo>
                <a:lnTo>
                  <a:pt x="6833619" y="1964245"/>
                </a:lnTo>
                <a:lnTo>
                  <a:pt x="6828844" y="1966627"/>
                </a:lnTo>
                <a:lnTo>
                  <a:pt x="6820055" y="1966410"/>
                </a:lnTo>
                <a:lnTo>
                  <a:pt x="6818427" y="1964461"/>
                </a:lnTo>
                <a:lnTo>
                  <a:pt x="6817993" y="1953093"/>
                </a:lnTo>
                <a:lnTo>
                  <a:pt x="6823853" y="1943673"/>
                </a:lnTo>
                <a:lnTo>
                  <a:pt x="6820706" y="1939126"/>
                </a:lnTo>
                <a:lnTo>
                  <a:pt x="6823962" y="1936961"/>
                </a:lnTo>
                <a:lnTo>
                  <a:pt x="6825264" y="1932847"/>
                </a:lnTo>
                <a:lnTo>
                  <a:pt x="6822225" y="1933171"/>
                </a:lnTo>
                <a:lnTo>
                  <a:pt x="6819621" y="1936419"/>
                </a:lnTo>
                <a:lnTo>
                  <a:pt x="6811916" y="1937502"/>
                </a:lnTo>
                <a:lnTo>
                  <a:pt x="6809746" y="1934470"/>
                </a:lnTo>
                <a:lnTo>
                  <a:pt x="6804428" y="1931547"/>
                </a:lnTo>
                <a:lnTo>
                  <a:pt x="6804103" y="1935228"/>
                </a:lnTo>
                <a:lnTo>
                  <a:pt x="6800739" y="1937502"/>
                </a:lnTo>
                <a:lnTo>
                  <a:pt x="6798460" y="1929057"/>
                </a:lnTo>
                <a:lnTo>
                  <a:pt x="6797375" y="1929598"/>
                </a:lnTo>
                <a:lnTo>
                  <a:pt x="6796724" y="1927974"/>
                </a:lnTo>
                <a:lnTo>
                  <a:pt x="6796724" y="1927649"/>
                </a:lnTo>
                <a:lnTo>
                  <a:pt x="6796724" y="1914224"/>
                </a:lnTo>
                <a:lnTo>
                  <a:pt x="6803018" y="1909027"/>
                </a:lnTo>
                <a:lnTo>
                  <a:pt x="6805731" y="1902855"/>
                </a:lnTo>
                <a:lnTo>
                  <a:pt x="6805731" y="1898741"/>
                </a:lnTo>
                <a:lnTo>
                  <a:pt x="6811916" y="1894627"/>
                </a:lnTo>
                <a:lnTo>
                  <a:pt x="6816148" y="1886723"/>
                </a:lnTo>
                <a:lnTo>
                  <a:pt x="6820597" y="1884666"/>
                </a:lnTo>
                <a:lnTo>
                  <a:pt x="6824395" y="1872973"/>
                </a:lnTo>
                <a:lnTo>
                  <a:pt x="6826458" y="1868750"/>
                </a:lnTo>
                <a:lnTo>
                  <a:pt x="6826131" y="1866368"/>
                </a:lnTo>
                <a:lnTo>
                  <a:pt x="6826458" y="1858464"/>
                </a:lnTo>
                <a:lnTo>
                  <a:pt x="6830906" y="1852943"/>
                </a:lnTo>
                <a:lnTo>
                  <a:pt x="6830905" y="1852941"/>
                </a:lnTo>
                <a:lnTo>
                  <a:pt x="6826456" y="1858463"/>
                </a:lnTo>
                <a:lnTo>
                  <a:pt x="6826130" y="1866367"/>
                </a:lnTo>
                <a:lnTo>
                  <a:pt x="6826456" y="1868749"/>
                </a:lnTo>
                <a:lnTo>
                  <a:pt x="6824394" y="1872972"/>
                </a:lnTo>
                <a:lnTo>
                  <a:pt x="6820597" y="1884665"/>
                </a:lnTo>
                <a:lnTo>
                  <a:pt x="6816147" y="1886722"/>
                </a:lnTo>
                <a:lnTo>
                  <a:pt x="6811915" y="1894626"/>
                </a:lnTo>
                <a:lnTo>
                  <a:pt x="6805729" y="1898740"/>
                </a:lnTo>
                <a:lnTo>
                  <a:pt x="6805729" y="1902855"/>
                </a:lnTo>
                <a:lnTo>
                  <a:pt x="6803016" y="1909026"/>
                </a:lnTo>
                <a:lnTo>
                  <a:pt x="6796722" y="1914223"/>
                </a:lnTo>
                <a:lnTo>
                  <a:pt x="6796722" y="1927648"/>
                </a:lnTo>
                <a:lnTo>
                  <a:pt x="6795204" y="1923534"/>
                </a:lnTo>
                <a:lnTo>
                  <a:pt x="6788258" y="1931546"/>
                </a:lnTo>
                <a:lnTo>
                  <a:pt x="6783050" y="1931871"/>
                </a:lnTo>
                <a:lnTo>
                  <a:pt x="6780337" y="1932737"/>
                </a:lnTo>
                <a:lnTo>
                  <a:pt x="6777841" y="1930571"/>
                </a:lnTo>
                <a:lnTo>
                  <a:pt x="6771438" y="1935119"/>
                </a:lnTo>
                <a:lnTo>
                  <a:pt x="6766013" y="1935119"/>
                </a:lnTo>
                <a:lnTo>
                  <a:pt x="6765144" y="1939991"/>
                </a:lnTo>
                <a:lnTo>
                  <a:pt x="6762106" y="1939667"/>
                </a:lnTo>
                <a:lnTo>
                  <a:pt x="6751580" y="1947570"/>
                </a:lnTo>
                <a:lnTo>
                  <a:pt x="6745611" y="1952009"/>
                </a:lnTo>
                <a:lnTo>
                  <a:pt x="6747564" y="1956773"/>
                </a:lnTo>
                <a:lnTo>
                  <a:pt x="6746913" y="1958614"/>
                </a:lnTo>
                <a:lnTo>
                  <a:pt x="6740077" y="1961537"/>
                </a:lnTo>
                <a:lnTo>
                  <a:pt x="6736279" y="1967384"/>
                </a:lnTo>
                <a:lnTo>
                  <a:pt x="6733457" y="1967275"/>
                </a:lnTo>
                <a:lnTo>
                  <a:pt x="6730636" y="1970956"/>
                </a:lnTo>
                <a:lnTo>
                  <a:pt x="6727598" y="1971498"/>
                </a:lnTo>
                <a:lnTo>
                  <a:pt x="6726947" y="1967709"/>
                </a:lnTo>
                <a:lnTo>
                  <a:pt x="6723257" y="1965110"/>
                </a:lnTo>
                <a:lnTo>
                  <a:pt x="6725210" y="1961537"/>
                </a:lnTo>
                <a:lnTo>
                  <a:pt x="6729116" y="1961320"/>
                </a:lnTo>
                <a:lnTo>
                  <a:pt x="6731504" y="1957964"/>
                </a:lnTo>
                <a:lnTo>
                  <a:pt x="6736930" y="1958722"/>
                </a:lnTo>
                <a:lnTo>
                  <a:pt x="6738883" y="1957315"/>
                </a:lnTo>
                <a:lnTo>
                  <a:pt x="6739426" y="1954608"/>
                </a:lnTo>
                <a:lnTo>
                  <a:pt x="6736713" y="1954066"/>
                </a:lnTo>
                <a:lnTo>
                  <a:pt x="6736170" y="1951685"/>
                </a:lnTo>
                <a:lnTo>
                  <a:pt x="6740728" y="1948653"/>
                </a:lnTo>
                <a:lnTo>
                  <a:pt x="6742898" y="1944322"/>
                </a:lnTo>
                <a:lnTo>
                  <a:pt x="6737255" y="1948653"/>
                </a:lnTo>
                <a:lnTo>
                  <a:pt x="6732047" y="1950385"/>
                </a:lnTo>
                <a:lnTo>
                  <a:pt x="6729876" y="1947895"/>
                </a:lnTo>
                <a:lnTo>
                  <a:pt x="6729876" y="1945080"/>
                </a:lnTo>
                <a:lnTo>
                  <a:pt x="6731829" y="1944105"/>
                </a:lnTo>
                <a:lnTo>
                  <a:pt x="6732264" y="1940857"/>
                </a:lnTo>
                <a:lnTo>
                  <a:pt x="6726947" y="1935660"/>
                </a:lnTo>
                <a:lnTo>
                  <a:pt x="6728031" y="1929489"/>
                </a:lnTo>
                <a:lnTo>
                  <a:pt x="6727489" y="1927648"/>
                </a:lnTo>
                <a:lnTo>
                  <a:pt x="6732047" y="1927540"/>
                </a:lnTo>
                <a:lnTo>
                  <a:pt x="6732589" y="1921585"/>
                </a:lnTo>
                <a:lnTo>
                  <a:pt x="6737690" y="1915089"/>
                </a:lnTo>
                <a:lnTo>
                  <a:pt x="6738775" y="1911841"/>
                </a:lnTo>
                <a:lnTo>
                  <a:pt x="6741596" y="1910217"/>
                </a:lnTo>
                <a:lnTo>
                  <a:pt x="6741054" y="1906211"/>
                </a:lnTo>
                <a:lnTo>
                  <a:pt x="6730419" y="1899931"/>
                </a:lnTo>
                <a:lnTo>
                  <a:pt x="6723039" y="1891053"/>
                </a:lnTo>
                <a:lnTo>
                  <a:pt x="6721412" y="1895708"/>
                </a:lnTo>
                <a:lnTo>
                  <a:pt x="6717180" y="1895708"/>
                </a:lnTo>
                <a:lnTo>
                  <a:pt x="6715010" y="1894301"/>
                </a:lnTo>
                <a:lnTo>
                  <a:pt x="6709584" y="1894518"/>
                </a:lnTo>
                <a:lnTo>
                  <a:pt x="6706545" y="1899714"/>
                </a:lnTo>
                <a:lnTo>
                  <a:pt x="6704592" y="1900797"/>
                </a:lnTo>
                <a:lnTo>
                  <a:pt x="6703615" y="1906211"/>
                </a:lnTo>
                <a:lnTo>
                  <a:pt x="6698732" y="1911624"/>
                </a:lnTo>
                <a:lnTo>
                  <a:pt x="6698190" y="1921044"/>
                </a:lnTo>
                <a:lnTo>
                  <a:pt x="6695694" y="1921585"/>
                </a:lnTo>
                <a:lnTo>
                  <a:pt x="6691895" y="1928081"/>
                </a:lnTo>
                <a:lnTo>
                  <a:pt x="6686795" y="1928190"/>
                </a:lnTo>
                <a:lnTo>
                  <a:pt x="6678330" y="1932954"/>
                </a:lnTo>
                <a:lnTo>
                  <a:pt x="6675835" y="1945080"/>
                </a:lnTo>
                <a:lnTo>
                  <a:pt x="6673991" y="1947787"/>
                </a:lnTo>
                <a:lnTo>
                  <a:pt x="6675401" y="1948977"/>
                </a:lnTo>
                <a:lnTo>
                  <a:pt x="6676377" y="1954716"/>
                </a:lnTo>
                <a:lnTo>
                  <a:pt x="6672905" y="1954716"/>
                </a:lnTo>
                <a:lnTo>
                  <a:pt x="6674315" y="1957098"/>
                </a:lnTo>
                <a:lnTo>
                  <a:pt x="6672038" y="1962187"/>
                </a:lnTo>
                <a:lnTo>
                  <a:pt x="6665852" y="1962403"/>
                </a:lnTo>
                <a:lnTo>
                  <a:pt x="6658038" y="1962511"/>
                </a:lnTo>
                <a:lnTo>
                  <a:pt x="6649031" y="1959264"/>
                </a:lnTo>
                <a:lnTo>
                  <a:pt x="6648489" y="1961970"/>
                </a:lnTo>
                <a:lnTo>
                  <a:pt x="6645559" y="1964136"/>
                </a:lnTo>
                <a:lnTo>
                  <a:pt x="6645016" y="1969008"/>
                </a:lnTo>
                <a:lnTo>
                  <a:pt x="6644365" y="1971607"/>
                </a:lnTo>
                <a:lnTo>
                  <a:pt x="6644473" y="1973880"/>
                </a:lnTo>
                <a:lnTo>
                  <a:pt x="6642303" y="1975937"/>
                </a:lnTo>
                <a:lnTo>
                  <a:pt x="6644908" y="1981459"/>
                </a:lnTo>
                <a:lnTo>
                  <a:pt x="6645450" y="1986764"/>
                </a:lnTo>
                <a:lnTo>
                  <a:pt x="6650442" y="1989579"/>
                </a:lnTo>
                <a:lnTo>
                  <a:pt x="6658473" y="1994993"/>
                </a:lnTo>
                <a:lnTo>
                  <a:pt x="6659340" y="1997916"/>
                </a:lnTo>
                <a:lnTo>
                  <a:pt x="6662922" y="2004088"/>
                </a:lnTo>
                <a:lnTo>
                  <a:pt x="6663139" y="2001813"/>
                </a:lnTo>
                <a:lnTo>
                  <a:pt x="6664766" y="2004412"/>
                </a:lnTo>
                <a:lnTo>
                  <a:pt x="6666719" y="2001489"/>
                </a:lnTo>
                <a:lnTo>
                  <a:pt x="6669432" y="2001489"/>
                </a:lnTo>
                <a:lnTo>
                  <a:pt x="6669866" y="2003871"/>
                </a:lnTo>
                <a:lnTo>
                  <a:pt x="6672362" y="2002355"/>
                </a:lnTo>
                <a:lnTo>
                  <a:pt x="6678657" y="2002247"/>
                </a:lnTo>
                <a:lnTo>
                  <a:pt x="6679742" y="2006686"/>
                </a:lnTo>
                <a:lnTo>
                  <a:pt x="6679742" y="2013182"/>
                </a:lnTo>
                <a:lnTo>
                  <a:pt x="6686253" y="2025850"/>
                </a:lnTo>
                <a:lnTo>
                  <a:pt x="6692655" y="2026066"/>
                </a:lnTo>
                <a:lnTo>
                  <a:pt x="6697104" y="2023360"/>
                </a:lnTo>
                <a:lnTo>
                  <a:pt x="6701879" y="2025092"/>
                </a:lnTo>
                <a:lnTo>
                  <a:pt x="6704049" y="2023143"/>
                </a:lnTo>
                <a:lnTo>
                  <a:pt x="6706545" y="2018704"/>
                </a:lnTo>
                <a:lnTo>
                  <a:pt x="6704375" y="2015780"/>
                </a:lnTo>
                <a:lnTo>
                  <a:pt x="6703289" y="2015023"/>
                </a:lnTo>
                <a:lnTo>
                  <a:pt x="6709801" y="2012533"/>
                </a:lnTo>
                <a:lnTo>
                  <a:pt x="6713056" y="2009826"/>
                </a:lnTo>
                <a:lnTo>
                  <a:pt x="6713056" y="2005495"/>
                </a:lnTo>
                <a:lnTo>
                  <a:pt x="6711103" y="2003871"/>
                </a:lnTo>
                <a:lnTo>
                  <a:pt x="6716854" y="2003654"/>
                </a:lnTo>
                <a:lnTo>
                  <a:pt x="6727706" y="1998566"/>
                </a:lnTo>
                <a:lnTo>
                  <a:pt x="6729116" y="2000623"/>
                </a:lnTo>
                <a:lnTo>
                  <a:pt x="6731829" y="2001706"/>
                </a:lnTo>
                <a:lnTo>
                  <a:pt x="6734542" y="2005819"/>
                </a:lnTo>
                <a:lnTo>
                  <a:pt x="6737472" y="2007119"/>
                </a:lnTo>
                <a:lnTo>
                  <a:pt x="6740511" y="2009826"/>
                </a:lnTo>
                <a:lnTo>
                  <a:pt x="6755703" y="2009284"/>
                </a:lnTo>
                <a:lnTo>
                  <a:pt x="6757765" y="2007119"/>
                </a:lnTo>
                <a:lnTo>
                  <a:pt x="6762974" y="2006903"/>
                </a:lnTo>
                <a:lnTo>
                  <a:pt x="6762648" y="2008851"/>
                </a:lnTo>
                <a:lnTo>
                  <a:pt x="6769267" y="2008743"/>
                </a:lnTo>
                <a:lnTo>
                  <a:pt x="6774911" y="2007660"/>
                </a:lnTo>
                <a:lnTo>
                  <a:pt x="6777949" y="2009068"/>
                </a:lnTo>
                <a:lnTo>
                  <a:pt x="6772740" y="2010692"/>
                </a:lnTo>
                <a:lnTo>
                  <a:pt x="6772415" y="2013399"/>
                </a:lnTo>
                <a:lnTo>
                  <a:pt x="6776322" y="2019029"/>
                </a:lnTo>
                <a:lnTo>
                  <a:pt x="6773825" y="2019029"/>
                </a:lnTo>
                <a:lnTo>
                  <a:pt x="6770787" y="2020653"/>
                </a:lnTo>
                <a:lnTo>
                  <a:pt x="6771330" y="2025633"/>
                </a:lnTo>
                <a:lnTo>
                  <a:pt x="6775128" y="2026392"/>
                </a:lnTo>
                <a:lnTo>
                  <a:pt x="6775128" y="2028557"/>
                </a:lnTo>
                <a:lnTo>
                  <a:pt x="6769159" y="2033645"/>
                </a:lnTo>
                <a:lnTo>
                  <a:pt x="6763300" y="2029639"/>
                </a:lnTo>
                <a:lnTo>
                  <a:pt x="6762757" y="2027149"/>
                </a:lnTo>
                <a:lnTo>
                  <a:pt x="6760587" y="2029856"/>
                </a:lnTo>
                <a:lnTo>
                  <a:pt x="6758851" y="2026933"/>
                </a:lnTo>
                <a:lnTo>
                  <a:pt x="6753750" y="2033645"/>
                </a:lnTo>
                <a:lnTo>
                  <a:pt x="6750712" y="2033645"/>
                </a:lnTo>
                <a:lnTo>
                  <a:pt x="6746371" y="2037218"/>
                </a:lnTo>
                <a:lnTo>
                  <a:pt x="6742030" y="2037110"/>
                </a:lnTo>
                <a:lnTo>
                  <a:pt x="6740945" y="2039925"/>
                </a:lnTo>
                <a:lnTo>
                  <a:pt x="6736930" y="2036894"/>
                </a:lnTo>
                <a:lnTo>
                  <a:pt x="6731504" y="2037543"/>
                </a:lnTo>
                <a:lnTo>
                  <a:pt x="6736930" y="2041008"/>
                </a:lnTo>
                <a:lnTo>
                  <a:pt x="6737472" y="2044798"/>
                </a:lnTo>
                <a:lnTo>
                  <a:pt x="6731504" y="2045880"/>
                </a:lnTo>
                <a:lnTo>
                  <a:pt x="6731287" y="2050969"/>
                </a:lnTo>
                <a:lnTo>
                  <a:pt x="6724125" y="2050535"/>
                </a:lnTo>
                <a:lnTo>
                  <a:pt x="6720326" y="2054758"/>
                </a:lnTo>
                <a:lnTo>
                  <a:pt x="6722497" y="2057573"/>
                </a:lnTo>
                <a:lnTo>
                  <a:pt x="6726947" y="2060388"/>
                </a:lnTo>
                <a:lnTo>
                  <a:pt x="6722606" y="2065369"/>
                </a:lnTo>
                <a:lnTo>
                  <a:pt x="6720326" y="2063961"/>
                </a:lnTo>
                <a:lnTo>
                  <a:pt x="6715986" y="2070998"/>
                </a:lnTo>
                <a:lnTo>
                  <a:pt x="6712514" y="2072081"/>
                </a:lnTo>
                <a:lnTo>
                  <a:pt x="6710886" y="2070998"/>
                </a:lnTo>
                <a:lnTo>
                  <a:pt x="6709584" y="2077820"/>
                </a:lnTo>
                <a:lnTo>
                  <a:pt x="6711645" y="2083234"/>
                </a:lnTo>
                <a:lnTo>
                  <a:pt x="6709584" y="2091354"/>
                </a:lnTo>
                <a:lnTo>
                  <a:pt x="6709801" y="2103263"/>
                </a:lnTo>
                <a:lnTo>
                  <a:pt x="6711645" y="2103155"/>
                </a:lnTo>
                <a:lnTo>
                  <a:pt x="6723908" y="2108893"/>
                </a:lnTo>
                <a:lnTo>
                  <a:pt x="6723908" y="2112358"/>
                </a:lnTo>
                <a:lnTo>
                  <a:pt x="6727380" y="2110301"/>
                </a:lnTo>
                <a:lnTo>
                  <a:pt x="6740511" y="2117014"/>
                </a:lnTo>
                <a:lnTo>
                  <a:pt x="6747781" y="2131955"/>
                </a:lnTo>
                <a:lnTo>
                  <a:pt x="6749409" y="2132388"/>
                </a:lnTo>
                <a:lnTo>
                  <a:pt x="6747022" y="2137910"/>
                </a:lnTo>
                <a:lnTo>
                  <a:pt x="6751797" y="2139534"/>
                </a:lnTo>
                <a:lnTo>
                  <a:pt x="6752339" y="2146572"/>
                </a:lnTo>
                <a:lnTo>
                  <a:pt x="6761129" y="2153068"/>
                </a:lnTo>
                <a:lnTo>
                  <a:pt x="6761346" y="2160105"/>
                </a:lnTo>
                <a:lnTo>
                  <a:pt x="6767640" y="2169092"/>
                </a:lnTo>
                <a:lnTo>
                  <a:pt x="6772415" y="2171149"/>
                </a:lnTo>
                <a:lnTo>
                  <a:pt x="6777298" y="2170825"/>
                </a:lnTo>
                <a:lnTo>
                  <a:pt x="6779794" y="2172773"/>
                </a:lnTo>
                <a:lnTo>
                  <a:pt x="6779794" y="2174505"/>
                </a:lnTo>
                <a:lnTo>
                  <a:pt x="6785436" y="2181435"/>
                </a:lnTo>
                <a:lnTo>
                  <a:pt x="6788476" y="2182625"/>
                </a:lnTo>
                <a:lnTo>
                  <a:pt x="6791948" y="2189555"/>
                </a:lnTo>
                <a:lnTo>
                  <a:pt x="6789235" y="2191179"/>
                </a:lnTo>
                <a:lnTo>
                  <a:pt x="6779468" y="2187498"/>
                </a:lnTo>
                <a:lnTo>
                  <a:pt x="6772523" y="2191504"/>
                </a:lnTo>
                <a:lnTo>
                  <a:pt x="6767857" y="2186632"/>
                </a:lnTo>
                <a:lnTo>
                  <a:pt x="6764277" y="2186415"/>
                </a:lnTo>
                <a:lnTo>
                  <a:pt x="6758958" y="2182843"/>
                </a:lnTo>
                <a:lnTo>
                  <a:pt x="6751363" y="2181760"/>
                </a:lnTo>
                <a:lnTo>
                  <a:pt x="6748324" y="2185874"/>
                </a:lnTo>
                <a:lnTo>
                  <a:pt x="6743658" y="2185874"/>
                </a:lnTo>
                <a:lnTo>
                  <a:pt x="6740511" y="2183384"/>
                </a:lnTo>
                <a:lnTo>
                  <a:pt x="6737690" y="2176129"/>
                </a:lnTo>
                <a:lnTo>
                  <a:pt x="6731287" y="2178728"/>
                </a:lnTo>
                <a:lnTo>
                  <a:pt x="6727706" y="2177212"/>
                </a:lnTo>
                <a:lnTo>
                  <a:pt x="6726404" y="2178728"/>
                </a:lnTo>
                <a:lnTo>
                  <a:pt x="6723365" y="2178728"/>
                </a:lnTo>
                <a:lnTo>
                  <a:pt x="6720435" y="2177862"/>
                </a:lnTo>
                <a:lnTo>
                  <a:pt x="6716095" y="2179919"/>
                </a:lnTo>
                <a:lnTo>
                  <a:pt x="6710561" y="2190855"/>
                </a:lnTo>
                <a:lnTo>
                  <a:pt x="6717180" y="2182625"/>
                </a:lnTo>
                <a:lnTo>
                  <a:pt x="6722497" y="2180893"/>
                </a:lnTo>
                <a:lnTo>
                  <a:pt x="6728574" y="2181651"/>
                </a:lnTo>
                <a:lnTo>
                  <a:pt x="6734000" y="2179378"/>
                </a:lnTo>
                <a:lnTo>
                  <a:pt x="6736604" y="2180568"/>
                </a:lnTo>
                <a:lnTo>
                  <a:pt x="6736713" y="2183059"/>
                </a:lnTo>
                <a:lnTo>
                  <a:pt x="6742898" y="2188580"/>
                </a:lnTo>
                <a:lnTo>
                  <a:pt x="6746696" y="2189555"/>
                </a:lnTo>
                <a:lnTo>
                  <a:pt x="6754510" y="2184141"/>
                </a:lnTo>
                <a:lnTo>
                  <a:pt x="6759176" y="2184358"/>
                </a:lnTo>
                <a:lnTo>
                  <a:pt x="6768726" y="2193669"/>
                </a:lnTo>
                <a:lnTo>
                  <a:pt x="6776755" y="2198217"/>
                </a:lnTo>
                <a:lnTo>
                  <a:pt x="6789018" y="2205796"/>
                </a:lnTo>
                <a:lnTo>
                  <a:pt x="6794769" y="2215216"/>
                </a:lnTo>
                <a:lnTo>
                  <a:pt x="6794661" y="2218572"/>
                </a:lnTo>
                <a:lnTo>
                  <a:pt x="6788150" y="2219329"/>
                </a:lnTo>
                <a:lnTo>
                  <a:pt x="6782507" y="2225826"/>
                </a:lnTo>
                <a:lnTo>
                  <a:pt x="6779577" y="2225392"/>
                </a:lnTo>
                <a:lnTo>
                  <a:pt x="6777298" y="2227667"/>
                </a:lnTo>
                <a:lnTo>
                  <a:pt x="6776864" y="2231781"/>
                </a:lnTo>
                <a:lnTo>
                  <a:pt x="6772740" y="2233729"/>
                </a:lnTo>
                <a:lnTo>
                  <a:pt x="6766990" y="2230806"/>
                </a:lnTo>
                <a:lnTo>
                  <a:pt x="6763733" y="2233188"/>
                </a:lnTo>
                <a:lnTo>
                  <a:pt x="6760587" y="2233080"/>
                </a:lnTo>
                <a:lnTo>
                  <a:pt x="6755160" y="2237519"/>
                </a:lnTo>
                <a:lnTo>
                  <a:pt x="6754618" y="2243149"/>
                </a:lnTo>
                <a:lnTo>
                  <a:pt x="6756137" y="2239035"/>
                </a:lnTo>
                <a:lnTo>
                  <a:pt x="6761020" y="2235029"/>
                </a:lnTo>
                <a:lnTo>
                  <a:pt x="6765904" y="2233946"/>
                </a:lnTo>
                <a:lnTo>
                  <a:pt x="6770787" y="2240984"/>
                </a:lnTo>
                <a:lnTo>
                  <a:pt x="6774585" y="2242283"/>
                </a:lnTo>
                <a:lnTo>
                  <a:pt x="6781964" y="2235895"/>
                </a:lnTo>
                <a:lnTo>
                  <a:pt x="6787607" y="2236761"/>
                </a:lnTo>
                <a:lnTo>
                  <a:pt x="6795312" y="2246722"/>
                </a:lnTo>
                <a:lnTo>
                  <a:pt x="6796614" y="2244557"/>
                </a:lnTo>
                <a:lnTo>
                  <a:pt x="6798567" y="2247047"/>
                </a:lnTo>
                <a:lnTo>
                  <a:pt x="6803342" y="2247047"/>
                </a:lnTo>
                <a:lnTo>
                  <a:pt x="6803993" y="2248563"/>
                </a:lnTo>
                <a:lnTo>
                  <a:pt x="6793359" y="2258524"/>
                </a:lnTo>
                <a:lnTo>
                  <a:pt x="6786847" y="2259714"/>
                </a:lnTo>
                <a:lnTo>
                  <a:pt x="6786847" y="2264045"/>
                </a:lnTo>
                <a:lnTo>
                  <a:pt x="6790103" y="2264587"/>
                </a:lnTo>
                <a:lnTo>
                  <a:pt x="6796288" y="2259390"/>
                </a:lnTo>
                <a:lnTo>
                  <a:pt x="6801280" y="2260473"/>
                </a:lnTo>
                <a:lnTo>
                  <a:pt x="6801280" y="2258307"/>
                </a:lnTo>
                <a:lnTo>
                  <a:pt x="6800412" y="2257008"/>
                </a:lnTo>
                <a:lnTo>
                  <a:pt x="6803342" y="2254193"/>
                </a:lnTo>
                <a:lnTo>
                  <a:pt x="6805838" y="2255816"/>
                </a:lnTo>
                <a:lnTo>
                  <a:pt x="6806489" y="2262854"/>
                </a:lnTo>
                <a:lnTo>
                  <a:pt x="6807900" y="2265777"/>
                </a:lnTo>
                <a:lnTo>
                  <a:pt x="6804970" y="2268160"/>
                </a:lnTo>
                <a:lnTo>
                  <a:pt x="6804644" y="2266428"/>
                </a:lnTo>
                <a:lnTo>
                  <a:pt x="6801823" y="2264912"/>
                </a:lnTo>
                <a:lnTo>
                  <a:pt x="6801171" y="2267293"/>
                </a:lnTo>
                <a:lnTo>
                  <a:pt x="6799761" y="2268376"/>
                </a:lnTo>
                <a:lnTo>
                  <a:pt x="6795095" y="2267293"/>
                </a:lnTo>
                <a:lnTo>
                  <a:pt x="6790103" y="2271516"/>
                </a:lnTo>
                <a:lnTo>
                  <a:pt x="6789669" y="2273681"/>
                </a:lnTo>
                <a:lnTo>
                  <a:pt x="6797482" y="2273357"/>
                </a:lnTo>
                <a:lnTo>
                  <a:pt x="6800087" y="2275847"/>
                </a:lnTo>
                <a:lnTo>
                  <a:pt x="6799435" y="2277796"/>
                </a:lnTo>
                <a:lnTo>
                  <a:pt x="6797808" y="2277363"/>
                </a:lnTo>
                <a:lnTo>
                  <a:pt x="6794552" y="2280394"/>
                </a:lnTo>
                <a:lnTo>
                  <a:pt x="6797590" y="2281910"/>
                </a:lnTo>
                <a:lnTo>
                  <a:pt x="6799761" y="2284292"/>
                </a:lnTo>
                <a:lnTo>
                  <a:pt x="6797048" y="2286782"/>
                </a:lnTo>
                <a:lnTo>
                  <a:pt x="6793792" y="2286132"/>
                </a:lnTo>
                <a:lnTo>
                  <a:pt x="6791839" y="2287756"/>
                </a:lnTo>
                <a:lnTo>
                  <a:pt x="6793901" y="2289705"/>
                </a:lnTo>
                <a:lnTo>
                  <a:pt x="6798350" y="2290138"/>
                </a:lnTo>
                <a:lnTo>
                  <a:pt x="6800954" y="2294577"/>
                </a:lnTo>
                <a:lnTo>
                  <a:pt x="6797699" y="2296634"/>
                </a:lnTo>
                <a:lnTo>
                  <a:pt x="6796722" y="2301399"/>
                </a:lnTo>
                <a:lnTo>
                  <a:pt x="6795528" y="2299775"/>
                </a:lnTo>
                <a:lnTo>
                  <a:pt x="6794661" y="2295877"/>
                </a:lnTo>
                <a:lnTo>
                  <a:pt x="6790754" y="2296418"/>
                </a:lnTo>
                <a:lnTo>
                  <a:pt x="6787173" y="2304864"/>
                </a:lnTo>
                <a:lnTo>
                  <a:pt x="6784460" y="2307029"/>
                </a:lnTo>
                <a:lnTo>
                  <a:pt x="6777949" y="2304972"/>
                </a:lnTo>
                <a:lnTo>
                  <a:pt x="6782507" y="2307570"/>
                </a:lnTo>
                <a:lnTo>
                  <a:pt x="6782507" y="2310060"/>
                </a:lnTo>
                <a:lnTo>
                  <a:pt x="6784351" y="2312984"/>
                </a:lnTo>
                <a:lnTo>
                  <a:pt x="6781638" y="2314824"/>
                </a:lnTo>
                <a:lnTo>
                  <a:pt x="6781205" y="2318072"/>
                </a:lnTo>
                <a:lnTo>
                  <a:pt x="6783267" y="2320779"/>
                </a:lnTo>
                <a:lnTo>
                  <a:pt x="6781638" y="2322511"/>
                </a:lnTo>
                <a:lnTo>
                  <a:pt x="6781747" y="2326734"/>
                </a:lnTo>
                <a:lnTo>
                  <a:pt x="6777841" y="2328683"/>
                </a:lnTo>
                <a:lnTo>
                  <a:pt x="6774585" y="2325218"/>
                </a:lnTo>
                <a:lnTo>
                  <a:pt x="6773500" y="2329440"/>
                </a:lnTo>
                <a:lnTo>
                  <a:pt x="6777081" y="2329766"/>
                </a:lnTo>
                <a:lnTo>
                  <a:pt x="6780337" y="2333772"/>
                </a:lnTo>
                <a:lnTo>
                  <a:pt x="6774911" y="2333338"/>
                </a:lnTo>
                <a:lnTo>
                  <a:pt x="6774585" y="2336262"/>
                </a:lnTo>
                <a:lnTo>
                  <a:pt x="6768617" y="2342541"/>
                </a:lnTo>
                <a:lnTo>
                  <a:pt x="6765470" y="2342541"/>
                </a:lnTo>
                <a:lnTo>
                  <a:pt x="6765904" y="2337886"/>
                </a:lnTo>
                <a:lnTo>
                  <a:pt x="6763300" y="2338211"/>
                </a:lnTo>
                <a:lnTo>
                  <a:pt x="6761888" y="2337886"/>
                </a:lnTo>
                <a:lnTo>
                  <a:pt x="6761020" y="2341892"/>
                </a:lnTo>
                <a:lnTo>
                  <a:pt x="6757874" y="2341134"/>
                </a:lnTo>
                <a:lnTo>
                  <a:pt x="6759935" y="2343624"/>
                </a:lnTo>
                <a:lnTo>
                  <a:pt x="6757331" y="2345790"/>
                </a:lnTo>
                <a:lnTo>
                  <a:pt x="6761129" y="2346223"/>
                </a:lnTo>
                <a:lnTo>
                  <a:pt x="6764384" y="2350554"/>
                </a:lnTo>
                <a:lnTo>
                  <a:pt x="6759393" y="2350554"/>
                </a:lnTo>
                <a:lnTo>
                  <a:pt x="6765144" y="2355534"/>
                </a:lnTo>
                <a:lnTo>
                  <a:pt x="6768074" y="2352827"/>
                </a:lnTo>
                <a:lnTo>
                  <a:pt x="6770570" y="2355534"/>
                </a:lnTo>
                <a:lnTo>
                  <a:pt x="6762648" y="2358999"/>
                </a:lnTo>
                <a:lnTo>
                  <a:pt x="6757765" y="2362463"/>
                </a:lnTo>
                <a:lnTo>
                  <a:pt x="6756896" y="2366145"/>
                </a:lnTo>
                <a:lnTo>
                  <a:pt x="6758742" y="2364304"/>
                </a:lnTo>
                <a:lnTo>
                  <a:pt x="6762431" y="2364088"/>
                </a:lnTo>
                <a:lnTo>
                  <a:pt x="6765144" y="2366794"/>
                </a:lnTo>
                <a:lnTo>
                  <a:pt x="6759610" y="2371341"/>
                </a:lnTo>
                <a:lnTo>
                  <a:pt x="6763517" y="2372641"/>
                </a:lnTo>
                <a:lnTo>
                  <a:pt x="6762974" y="2375780"/>
                </a:lnTo>
                <a:lnTo>
                  <a:pt x="6759718" y="2376647"/>
                </a:lnTo>
                <a:lnTo>
                  <a:pt x="6760587" y="2379353"/>
                </a:lnTo>
                <a:lnTo>
                  <a:pt x="6762974" y="2379353"/>
                </a:lnTo>
                <a:lnTo>
                  <a:pt x="6764818" y="2382818"/>
                </a:lnTo>
                <a:lnTo>
                  <a:pt x="6764384" y="2388557"/>
                </a:lnTo>
                <a:lnTo>
                  <a:pt x="6761888" y="2384659"/>
                </a:lnTo>
                <a:lnTo>
                  <a:pt x="6759393" y="2384659"/>
                </a:lnTo>
                <a:lnTo>
                  <a:pt x="6759393" y="2381411"/>
                </a:lnTo>
                <a:lnTo>
                  <a:pt x="6755703" y="2378162"/>
                </a:lnTo>
                <a:lnTo>
                  <a:pt x="6754076" y="2380978"/>
                </a:lnTo>
                <a:lnTo>
                  <a:pt x="6751580" y="2380978"/>
                </a:lnTo>
                <a:lnTo>
                  <a:pt x="6751146" y="2384767"/>
                </a:lnTo>
                <a:lnTo>
                  <a:pt x="6755378" y="2387907"/>
                </a:lnTo>
                <a:lnTo>
                  <a:pt x="6755160" y="2391804"/>
                </a:lnTo>
                <a:lnTo>
                  <a:pt x="6753533" y="2389531"/>
                </a:lnTo>
                <a:lnTo>
                  <a:pt x="6751146" y="2389531"/>
                </a:lnTo>
                <a:lnTo>
                  <a:pt x="6749409" y="2387149"/>
                </a:lnTo>
                <a:lnTo>
                  <a:pt x="6745937" y="2388015"/>
                </a:lnTo>
                <a:lnTo>
                  <a:pt x="6748541" y="2390072"/>
                </a:lnTo>
                <a:lnTo>
                  <a:pt x="6749193" y="2394403"/>
                </a:lnTo>
                <a:lnTo>
                  <a:pt x="6752447" y="2394403"/>
                </a:lnTo>
                <a:lnTo>
                  <a:pt x="6752990" y="2395594"/>
                </a:lnTo>
                <a:lnTo>
                  <a:pt x="6750277" y="2398842"/>
                </a:lnTo>
                <a:lnTo>
                  <a:pt x="6745394" y="2395486"/>
                </a:lnTo>
                <a:lnTo>
                  <a:pt x="6744743" y="2398518"/>
                </a:lnTo>
                <a:lnTo>
                  <a:pt x="6746371" y="2400900"/>
                </a:lnTo>
                <a:lnTo>
                  <a:pt x="6750277" y="2402090"/>
                </a:lnTo>
                <a:lnTo>
                  <a:pt x="6748541" y="2407179"/>
                </a:lnTo>
                <a:lnTo>
                  <a:pt x="6742030" y="2403173"/>
                </a:lnTo>
                <a:lnTo>
                  <a:pt x="6739426" y="2405555"/>
                </a:lnTo>
                <a:lnTo>
                  <a:pt x="6737690" y="2403714"/>
                </a:lnTo>
                <a:lnTo>
                  <a:pt x="6734000" y="2408803"/>
                </a:lnTo>
                <a:lnTo>
                  <a:pt x="6726078" y="2409128"/>
                </a:lnTo>
                <a:lnTo>
                  <a:pt x="6732047" y="2413675"/>
                </a:lnTo>
                <a:lnTo>
                  <a:pt x="6735519" y="2412376"/>
                </a:lnTo>
                <a:lnTo>
                  <a:pt x="6739643" y="2413351"/>
                </a:lnTo>
                <a:lnTo>
                  <a:pt x="6737798" y="2417140"/>
                </a:lnTo>
                <a:lnTo>
                  <a:pt x="6735086" y="2417465"/>
                </a:lnTo>
                <a:lnTo>
                  <a:pt x="6734434" y="2422337"/>
                </a:lnTo>
                <a:lnTo>
                  <a:pt x="6731721" y="2419089"/>
                </a:lnTo>
                <a:lnTo>
                  <a:pt x="6728791" y="2423420"/>
                </a:lnTo>
                <a:lnTo>
                  <a:pt x="6727380" y="2424286"/>
                </a:lnTo>
                <a:lnTo>
                  <a:pt x="6726947" y="2422337"/>
                </a:lnTo>
                <a:lnTo>
                  <a:pt x="6724776" y="2422553"/>
                </a:lnTo>
                <a:lnTo>
                  <a:pt x="6724125" y="2426343"/>
                </a:lnTo>
                <a:lnTo>
                  <a:pt x="6721738" y="2426343"/>
                </a:lnTo>
                <a:lnTo>
                  <a:pt x="6720652" y="2431865"/>
                </a:lnTo>
                <a:lnTo>
                  <a:pt x="6716095" y="2431865"/>
                </a:lnTo>
                <a:lnTo>
                  <a:pt x="6715552" y="2429699"/>
                </a:lnTo>
                <a:lnTo>
                  <a:pt x="6709584" y="2430674"/>
                </a:lnTo>
                <a:lnTo>
                  <a:pt x="6707956" y="2433164"/>
                </a:lnTo>
                <a:lnTo>
                  <a:pt x="6705677" y="2432406"/>
                </a:lnTo>
                <a:lnTo>
                  <a:pt x="6707848" y="2437279"/>
                </a:lnTo>
                <a:lnTo>
                  <a:pt x="6706219" y="2442367"/>
                </a:lnTo>
                <a:lnTo>
                  <a:pt x="6704158" y="2445182"/>
                </a:lnTo>
                <a:lnTo>
                  <a:pt x="6706002" y="2448322"/>
                </a:lnTo>
                <a:lnTo>
                  <a:pt x="6701988" y="2450163"/>
                </a:lnTo>
                <a:lnTo>
                  <a:pt x="6699492" y="2449404"/>
                </a:lnTo>
                <a:lnTo>
                  <a:pt x="6697863" y="2451570"/>
                </a:lnTo>
                <a:lnTo>
                  <a:pt x="6697321" y="2448863"/>
                </a:lnTo>
                <a:lnTo>
                  <a:pt x="6695150" y="2450812"/>
                </a:lnTo>
                <a:lnTo>
                  <a:pt x="6692221" y="2453736"/>
                </a:lnTo>
                <a:lnTo>
                  <a:pt x="6686795" y="2454385"/>
                </a:lnTo>
                <a:lnTo>
                  <a:pt x="6686253" y="2456767"/>
                </a:lnTo>
                <a:lnTo>
                  <a:pt x="6682346" y="2456767"/>
                </a:lnTo>
                <a:lnTo>
                  <a:pt x="6681912" y="2455359"/>
                </a:lnTo>
                <a:lnTo>
                  <a:pt x="6679416" y="2455359"/>
                </a:lnTo>
                <a:lnTo>
                  <a:pt x="6678657" y="2459474"/>
                </a:lnTo>
                <a:lnTo>
                  <a:pt x="6676377" y="2461531"/>
                </a:lnTo>
                <a:lnTo>
                  <a:pt x="6672688" y="2457524"/>
                </a:lnTo>
                <a:lnTo>
                  <a:pt x="6670952" y="2454601"/>
                </a:lnTo>
                <a:lnTo>
                  <a:pt x="6669866" y="2456983"/>
                </a:lnTo>
                <a:lnTo>
                  <a:pt x="6665960" y="2457850"/>
                </a:lnTo>
                <a:lnTo>
                  <a:pt x="6665635" y="2461098"/>
                </a:lnTo>
                <a:lnTo>
                  <a:pt x="6661837" y="2462072"/>
                </a:lnTo>
                <a:lnTo>
                  <a:pt x="6658038" y="2459799"/>
                </a:lnTo>
                <a:lnTo>
                  <a:pt x="6655868" y="2461856"/>
                </a:lnTo>
                <a:lnTo>
                  <a:pt x="6651528" y="2463263"/>
                </a:lnTo>
                <a:lnTo>
                  <a:pt x="6650985" y="2468027"/>
                </a:lnTo>
                <a:lnTo>
                  <a:pt x="6642520" y="2472142"/>
                </a:lnTo>
                <a:lnTo>
                  <a:pt x="6641978" y="2470193"/>
                </a:lnTo>
                <a:lnTo>
                  <a:pt x="6645016" y="2468677"/>
                </a:lnTo>
                <a:lnTo>
                  <a:pt x="6647404" y="2465320"/>
                </a:lnTo>
                <a:lnTo>
                  <a:pt x="6644257" y="2466078"/>
                </a:lnTo>
                <a:lnTo>
                  <a:pt x="6639374" y="2461314"/>
                </a:lnTo>
                <a:lnTo>
                  <a:pt x="6638614" y="2458283"/>
                </a:lnTo>
                <a:lnTo>
                  <a:pt x="6632754" y="2455251"/>
                </a:lnTo>
                <a:lnTo>
                  <a:pt x="6630366" y="2453302"/>
                </a:lnTo>
                <a:lnTo>
                  <a:pt x="6631452" y="2455793"/>
                </a:lnTo>
                <a:lnTo>
                  <a:pt x="6631126" y="2459257"/>
                </a:lnTo>
                <a:lnTo>
                  <a:pt x="6632211" y="2463479"/>
                </a:lnTo>
                <a:lnTo>
                  <a:pt x="6632971" y="2469218"/>
                </a:lnTo>
                <a:lnTo>
                  <a:pt x="6629173" y="2471275"/>
                </a:lnTo>
                <a:lnTo>
                  <a:pt x="6627003" y="2474848"/>
                </a:lnTo>
                <a:lnTo>
                  <a:pt x="6624832" y="2476581"/>
                </a:lnTo>
                <a:lnTo>
                  <a:pt x="6622770" y="2474956"/>
                </a:lnTo>
                <a:lnTo>
                  <a:pt x="6621468" y="2473765"/>
                </a:lnTo>
                <a:lnTo>
                  <a:pt x="6621034" y="2475606"/>
                </a:lnTo>
                <a:lnTo>
                  <a:pt x="6617995" y="2479720"/>
                </a:lnTo>
                <a:lnTo>
                  <a:pt x="6613438" y="2484268"/>
                </a:lnTo>
                <a:lnTo>
                  <a:pt x="6608230" y="2486866"/>
                </a:lnTo>
                <a:lnTo>
                  <a:pt x="6605408" y="2487732"/>
                </a:lnTo>
                <a:lnTo>
                  <a:pt x="6600742" y="2486109"/>
                </a:lnTo>
                <a:lnTo>
                  <a:pt x="6596076" y="2487407"/>
                </a:lnTo>
                <a:lnTo>
                  <a:pt x="6592060" y="2487299"/>
                </a:lnTo>
                <a:lnTo>
                  <a:pt x="6593796" y="2490439"/>
                </a:lnTo>
                <a:lnTo>
                  <a:pt x="6588696" y="2493254"/>
                </a:lnTo>
                <a:lnTo>
                  <a:pt x="6584355" y="2494770"/>
                </a:lnTo>
                <a:lnTo>
                  <a:pt x="6580449" y="2493362"/>
                </a:lnTo>
                <a:lnTo>
                  <a:pt x="6578712" y="2496827"/>
                </a:lnTo>
                <a:lnTo>
                  <a:pt x="6574046" y="2497585"/>
                </a:lnTo>
                <a:lnTo>
                  <a:pt x="6571551" y="2500183"/>
                </a:lnTo>
                <a:lnTo>
                  <a:pt x="6570356" y="2499967"/>
                </a:lnTo>
                <a:lnTo>
                  <a:pt x="6571334" y="2498776"/>
                </a:lnTo>
                <a:lnTo>
                  <a:pt x="6569163" y="2498343"/>
                </a:lnTo>
                <a:lnTo>
                  <a:pt x="6568838" y="2497368"/>
                </a:lnTo>
                <a:lnTo>
                  <a:pt x="6569706" y="2496611"/>
                </a:lnTo>
                <a:lnTo>
                  <a:pt x="6568403" y="2496611"/>
                </a:lnTo>
                <a:lnTo>
                  <a:pt x="6567318" y="2494770"/>
                </a:lnTo>
                <a:lnTo>
                  <a:pt x="6566885" y="2493579"/>
                </a:lnTo>
                <a:lnTo>
                  <a:pt x="6565257" y="2495311"/>
                </a:lnTo>
                <a:lnTo>
                  <a:pt x="6564063" y="2495419"/>
                </a:lnTo>
                <a:lnTo>
                  <a:pt x="6564822" y="2497910"/>
                </a:lnTo>
                <a:lnTo>
                  <a:pt x="6563954" y="2501050"/>
                </a:lnTo>
                <a:lnTo>
                  <a:pt x="6560699" y="2503756"/>
                </a:lnTo>
                <a:lnTo>
                  <a:pt x="6559613" y="2505705"/>
                </a:lnTo>
                <a:lnTo>
                  <a:pt x="6561350" y="2510144"/>
                </a:lnTo>
                <a:lnTo>
                  <a:pt x="6564172" y="2510144"/>
                </a:lnTo>
                <a:lnTo>
                  <a:pt x="6566667" y="2514908"/>
                </a:lnTo>
                <a:lnTo>
                  <a:pt x="6566667" y="2516207"/>
                </a:lnTo>
                <a:lnTo>
                  <a:pt x="6568620" y="2516641"/>
                </a:lnTo>
                <a:lnTo>
                  <a:pt x="6569814" y="2518698"/>
                </a:lnTo>
                <a:lnTo>
                  <a:pt x="6565582" y="2523895"/>
                </a:lnTo>
                <a:lnTo>
                  <a:pt x="6562869" y="2523895"/>
                </a:lnTo>
                <a:lnTo>
                  <a:pt x="6562869" y="2522596"/>
                </a:lnTo>
                <a:lnTo>
                  <a:pt x="6557552" y="2521621"/>
                </a:lnTo>
                <a:lnTo>
                  <a:pt x="6555707" y="2524869"/>
                </a:lnTo>
                <a:lnTo>
                  <a:pt x="6554731" y="2525844"/>
                </a:lnTo>
                <a:lnTo>
                  <a:pt x="6553971" y="2520755"/>
                </a:lnTo>
                <a:lnTo>
                  <a:pt x="6554187" y="2518482"/>
                </a:lnTo>
                <a:lnTo>
                  <a:pt x="6550715" y="2516424"/>
                </a:lnTo>
                <a:lnTo>
                  <a:pt x="6544964" y="2508521"/>
                </a:lnTo>
                <a:lnTo>
                  <a:pt x="6545072" y="2505705"/>
                </a:lnTo>
                <a:lnTo>
                  <a:pt x="6548437" y="2501483"/>
                </a:lnTo>
                <a:lnTo>
                  <a:pt x="6549197" y="2497368"/>
                </a:lnTo>
                <a:lnTo>
                  <a:pt x="6552669" y="2496827"/>
                </a:lnTo>
                <a:lnTo>
                  <a:pt x="6552451" y="2495311"/>
                </a:lnTo>
                <a:lnTo>
                  <a:pt x="6549956" y="2494121"/>
                </a:lnTo>
                <a:lnTo>
                  <a:pt x="6546484" y="2495311"/>
                </a:lnTo>
                <a:lnTo>
                  <a:pt x="6543119" y="2492171"/>
                </a:lnTo>
                <a:lnTo>
                  <a:pt x="6540623" y="2496286"/>
                </a:lnTo>
                <a:lnTo>
                  <a:pt x="6537367" y="2495961"/>
                </a:lnTo>
                <a:lnTo>
                  <a:pt x="6534872" y="2496827"/>
                </a:lnTo>
                <a:lnTo>
                  <a:pt x="6529012" y="2491955"/>
                </a:lnTo>
                <a:lnTo>
                  <a:pt x="6526625" y="2492713"/>
                </a:lnTo>
                <a:lnTo>
                  <a:pt x="6522283" y="2488274"/>
                </a:lnTo>
                <a:lnTo>
                  <a:pt x="6519897" y="2483943"/>
                </a:lnTo>
                <a:lnTo>
                  <a:pt x="6518811" y="2488599"/>
                </a:lnTo>
                <a:lnTo>
                  <a:pt x="6519029" y="2491089"/>
                </a:lnTo>
                <a:lnTo>
                  <a:pt x="6515122" y="2492713"/>
                </a:lnTo>
                <a:lnTo>
                  <a:pt x="6512192" y="2491413"/>
                </a:lnTo>
                <a:lnTo>
                  <a:pt x="6510456" y="2492496"/>
                </a:lnTo>
                <a:lnTo>
                  <a:pt x="6509045" y="2492171"/>
                </a:lnTo>
                <a:lnTo>
                  <a:pt x="6504922" y="2490006"/>
                </a:lnTo>
                <a:lnTo>
                  <a:pt x="6503286" y="2490489"/>
                </a:lnTo>
                <a:lnTo>
                  <a:pt x="6504922" y="2490006"/>
                </a:lnTo>
                <a:lnTo>
                  <a:pt x="6509045" y="2492171"/>
                </a:lnTo>
                <a:lnTo>
                  <a:pt x="6509154" y="2492280"/>
                </a:lnTo>
                <a:lnTo>
                  <a:pt x="6508938" y="2492172"/>
                </a:lnTo>
                <a:lnTo>
                  <a:pt x="6508938" y="2492281"/>
                </a:lnTo>
                <a:lnTo>
                  <a:pt x="6508828" y="2492172"/>
                </a:lnTo>
                <a:lnTo>
                  <a:pt x="6509696" y="2494012"/>
                </a:lnTo>
                <a:lnTo>
                  <a:pt x="6508068" y="2496719"/>
                </a:lnTo>
                <a:lnTo>
                  <a:pt x="6505573" y="2497802"/>
                </a:lnTo>
                <a:lnTo>
                  <a:pt x="6503619" y="2497693"/>
                </a:lnTo>
                <a:lnTo>
                  <a:pt x="6499387" y="2500400"/>
                </a:lnTo>
                <a:lnTo>
                  <a:pt x="6495264" y="2500075"/>
                </a:lnTo>
                <a:lnTo>
                  <a:pt x="6490923" y="2500833"/>
                </a:lnTo>
                <a:lnTo>
                  <a:pt x="6489729" y="2503107"/>
                </a:lnTo>
                <a:lnTo>
                  <a:pt x="6490706" y="2506463"/>
                </a:lnTo>
                <a:lnTo>
                  <a:pt x="6488318" y="2508087"/>
                </a:lnTo>
                <a:lnTo>
                  <a:pt x="6487450" y="2509712"/>
                </a:lnTo>
                <a:lnTo>
                  <a:pt x="6485172" y="2508412"/>
                </a:lnTo>
                <a:lnTo>
                  <a:pt x="6481590" y="2509170"/>
                </a:lnTo>
                <a:lnTo>
                  <a:pt x="6479312" y="2511335"/>
                </a:lnTo>
                <a:lnTo>
                  <a:pt x="6477684" y="2511985"/>
                </a:lnTo>
                <a:lnTo>
                  <a:pt x="6476164" y="2509712"/>
                </a:lnTo>
                <a:lnTo>
                  <a:pt x="6474537" y="2509170"/>
                </a:lnTo>
                <a:lnTo>
                  <a:pt x="6474211" y="2512526"/>
                </a:lnTo>
                <a:lnTo>
                  <a:pt x="6472366" y="2515016"/>
                </a:lnTo>
                <a:lnTo>
                  <a:pt x="6473669" y="2516424"/>
                </a:lnTo>
                <a:lnTo>
                  <a:pt x="6473018" y="2519997"/>
                </a:lnTo>
                <a:lnTo>
                  <a:pt x="6473235" y="2523787"/>
                </a:lnTo>
                <a:lnTo>
                  <a:pt x="6472583" y="2524761"/>
                </a:lnTo>
                <a:lnTo>
                  <a:pt x="6473886" y="2527468"/>
                </a:lnTo>
                <a:lnTo>
                  <a:pt x="6472692" y="2529634"/>
                </a:lnTo>
                <a:lnTo>
                  <a:pt x="6470847" y="2530175"/>
                </a:lnTo>
                <a:lnTo>
                  <a:pt x="6467375" y="2535805"/>
                </a:lnTo>
                <a:lnTo>
                  <a:pt x="6464228" y="2535913"/>
                </a:lnTo>
                <a:lnTo>
                  <a:pt x="6463034" y="2534289"/>
                </a:lnTo>
                <a:lnTo>
                  <a:pt x="6462926" y="2536238"/>
                </a:lnTo>
                <a:lnTo>
                  <a:pt x="6460755" y="2537861"/>
                </a:lnTo>
                <a:lnTo>
                  <a:pt x="6459453" y="2541976"/>
                </a:lnTo>
                <a:lnTo>
                  <a:pt x="6457391" y="2543709"/>
                </a:lnTo>
                <a:lnTo>
                  <a:pt x="6457174" y="2547931"/>
                </a:lnTo>
                <a:lnTo>
                  <a:pt x="6459019" y="2548364"/>
                </a:lnTo>
                <a:lnTo>
                  <a:pt x="6460864" y="2550746"/>
                </a:lnTo>
                <a:lnTo>
                  <a:pt x="6458476" y="2558650"/>
                </a:lnTo>
                <a:lnTo>
                  <a:pt x="6455763" y="2562656"/>
                </a:lnTo>
                <a:lnTo>
                  <a:pt x="6460864" y="2566987"/>
                </a:lnTo>
                <a:lnTo>
                  <a:pt x="6460321" y="2569477"/>
                </a:lnTo>
                <a:lnTo>
                  <a:pt x="6456306" y="2570560"/>
                </a:lnTo>
                <a:lnTo>
                  <a:pt x="6460430" y="2571750"/>
                </a:lnTo>
                <a:lnTo>
                  <a:pt x="6467592" y="2575973"/>
                </a:lnTo>
                <a:lnTo>
                  <a:pt x="6473886" y="2582144"/>
                </a:lnTo>
                <a:lnTo>
                  <a:pt x="6476164" y="2581928"/>
                </a:lnTo>
                <a:lnTo>
                  <a:pt x="6479312" y="2587342"/>
                </a:lnTo>
                <a:lnTo>
                  <a:pt x="6479312" y="2590048"/>
                </a:lnTo>
                <a:lnTo>
                  <a:pt x="6478335" y="2591672"/>
                </a:lnTo>
                <a:lnTo>
                  <a:pt x="6480397" y="2597086"/>
                </a:lnTo>
                <a:lnTo>
                  <a:pt x="6481265" y="2600009"/>
                </a:lnTo>
                <a:lnTo>
                  <a:pt x="6490706" y="2607588"/>
                </a:lnTo>
                <a:lnTo>
                  <a:pt x="6495914" y="2610619"/>
                </a:lnTo>
                <a:lnTo>
                  <a:pt x="6496457" y="2612244"/>
                </a:lnTo>
                <a:lnTo>
                  <a:pt x="6509262" y="2619282"/>
                </a:lnTo>
                <a:lnTo>
                  <a:pt x="6520873" y="2627727"/>
                </a:lnTo>
                <a:lnTo>
                  <a:pt x="6523369" y="2632274"/>
                </a:lnTo>
                <a:lnTo>
                  <a:pt x="6534113" y="2640178"/>
                </a:lnTo>
                <a:lnTo>
                  <a:pt x="6537476" y="2646349"/>
                </a:lnTo>
                <a:lnTo>
                  <a:pt x="6538236" y="2650139"/>
                </a:lnTo>
                <a:lnTo>
                  <a:pt x="6539647" y="2650139"/>
                </a:lnTo>
                <a:lnTo>
                  <a:pt x="6539539" y="2653386"/>
                </a:lnTo>
                <a:lnTo>
                  <a:pt x="6544964" y="2658908"/>
                </a:lnTo>
                <a:lnTo>
                  <a:pt x="6544964" y="2661507"/>
                </a:lnTo>
                <a:lnTo>
                  <a:pt x="6546158" y="2663455"/>
                </a:lnTo>
                <a:lnTo>
                  <a:pt x="6545073" y="2665404"/>
                </a:lnTo>
                <a:lnTo>
                  <a:pt x="6549305" y="2670493"/>
                </a:lnTo>
                <a:lnTo>
                  <a:pt x="6550390" y="2679263"/>
                </a:lnTo>
                <a:lnTo>
                  <a:pt x="6552126" y="2680671"/>
                </a:lnTo>
                <a:lnTo>
                  <a:pt x="6554079" y="2688249"/>
                </a:lnTo>
                <a:lnTo>
                  <a:pt x="6555599" y="2689873"/>
                </a:lnTo>
                <a:lnTo>
                  <a:pt x="6555816" y="2694096"/>
                </a:lnTo>
                <a:lnTo>
                  <a:pt x="6554947" y="2696803"/>
                </a:lnTo>
                <a:lnTo>
                  <a:pt x="6556576" y="2700809"/>
                </a:lnTo>
                <a:lnTo>
                  <a:pt x="6555382" y="2702433"/>
                </a:lnTo>
                <a:lnTo>
                  <a:pt x="6557118" y="2708497"/>
                </a:lnTo>
                <a:lnTo>
                  <a:pt x="6557335" y="2710770"/>
                </a:lnTo>
                <a:lnTo>
                  <a:pt x="6559505" y="2711744"/>
                </a:lnTo>
                <a:lnTo>
                  <a:pt x="6560590" y="2715101"/>
                </a:lnTo>
                <a:lnTo>
                  <a:pt x="6563412" y="2720622"/>
                </a:lnTo>
                <a:lnTo>
                  <a:pt x="6562869" y="2724195"/>
                </a:lnTo>
                <a:lnTo>
                  <a:pt x="6561675" y="2724087"/>
                </a:lnTo>
                <a:lnTo>
                  <a:pt x="6561675" y="2722355"/>
                </a:lnTo>
                <a:lnTo>
                  <a:pt x="6560157" y="2720514"/>
                </a:lnTo>
                <a:lnTo>
                  <a:pt x="6558095" y="2721705"/>
                </a:lnTo>
                <a:lnTo>
                  <a:pt x="6558420" y="2725387"/>
                </a:lnTo>
                <a:lnTo>
                  <a:pt x="6560699" y="2727768"/>
                </a:lnTo>
                <a:lnTo>
                  <a:pt x="6560157" y="2729826"/>
                </a:lnTo>
                <a:lnTo>
                  <a:pt x="6557769" y="2731775"/>
                </a:lnTo>
                <a:lnTo>
                  <a:pt x="6557552" y="2734481"/>
                </a:lnTo>
                <a:lnTo>
                  <a:pt x="6553863" y="2737297"/>
                </a:lnTo>
                <a:lnTo>
                  <a:pt x="6557118" y="2742385"/>
                </a:lnTo>
                <a:lnTo>
                  <a:pt x="6555382" y="2746607"/>
                </a:lnTo>
                <a:lnTo>
                  <a:pt x="6556900" y="2748556"/>
                </a:lnTo>
                <a:lnTo>
                  <a:pt x="6553754" y="2751588"/>
                </a:lnTo>
                <a:lnTo>
                  <a:pt x="6551150" y="2752562"/>
                </a:lnTo>
                <a:lnTo>
                  <a:pt x="6550390" y="2758409"/>
                </a:lnTo>
                <a:lnTo>
                  <a:pt x="6547894" y="2759383"/>
                </a:lnTo>
                <a:lnTo>
                  <a:pt x="6542469" y="2764905"/>
                </a:lnTo>
                <a:lnTo>
                  <a:pt x="6538887" y="2766746"/>
                </a:lnTo>
                <a:lnTo>
                  <a:pt x="6534113" y="2770102"/>
                </a:lnTo>
                <a:lnTo>
                  <a:pt x="6533570" y="2774108"/>
                </a:lnTo>
                <a:lnTo>
                  <a:pt x="6529229" y="2774108"/>
                </a:lnTo>
                <a:lnTo>
                  <a:pt x="6526516" y="2777248"/>
                </a:lnTo>
                <a:lnTo>
                  <a:pt x="6516098" y="2783311"/>
                </a:lnTo>
                <a:lnTo>
                  <a:pt x="6509913" y="2783961"/>
                </a:lnTo>
                <a:lnTo>
                  <a:pt x="6507200" y="2782553"/>
                </a:lnTo>
                <a:lnTo>
                  <a:pt x="6502642" y="2783744"/>
                </a:lnTo>
                <a:lnTo>
                  <a:pt x="6501774" y="2782878"/>
                </a:lnTo>
                <a:lnTo>
                  <a:pt x="6502426" y="2779847"/>
                </a:lnTo>
                <a:lnTo>
                  <a:pt x="6502209" y="2777031"/>
                </a:lnTo>
                <a:lnTo>
                  <a:pt x="6501124" y="2779847"/>
                </a:lnTo>
                <a:lnTo>
                  <a:pt x="6500364" y="2780929"/>
                </a:lnTo>
                <a:lnTo>
                  <a:pt x="6496349" y="2779847"/>
                </a:lnTo>
                <a:lnTo>
                  <a:pt x="6499062" y="2782012"/>
                </a:lnTo>
                <a:lnTo>
                  <a:pt x="6498953" y="2783744"/>
                </a:lnTo>
                <a:lnTo>
                  <a:pt x="6497760" y="2784610"/>
                </a:lnTo>
                <a:lnTo>
                  <a:pt x="6493852" y="2783961"/>
                </a:lnTo>
                <a:lnTo>
                  <a:pt x="6500364" y="2786992"/>
                </a:lnTo>
                <a:lnTo>
                  <a:pt x="6498844" y="2789158"/>
                </a:lnTo>
                <a:lnTo>
                  <a:pt x="6500689" y="2792947"/>
                </a:lnTo>
                <a:lnTo>
                  <a:pt x="6497217" y="2794788"/>
                </a:lnTo>
                <a:lnTo>
                  <a:pt x="6492008" y="2790890"/>
                </a:lnTo>
                <a:lnTo>
                  <a:pt x="6496349" y="2795654"/>
                </a:lnTo>
                <a:lnTo>
                  <a:pt x="6495914" y="2797928"/>
                </a:lnTo>
                <a:lnTo>
                  <a:pt x="6493961" y="2800635"/>
                </a:lnTo>
                <a:lnTo>
                  <a:pt x="6491899" y="2799876"/>
                </a:lnTo>
                <a:lnTo>
                  <a:pt x="6489946" y="2797062"/>
                </a:lnTo>
                <a:lnTo>
                  <a:pt x="6487233" y="2797494"/>
                </a:lnTo>
                <a:lnTo>
                  <a:pt x="6488535" y="2801068"/>
                </a:lnTo>
                <a:lnTo>
                  <a:pt x="6488318" y="2802259"/>
                </a:lnTo>
                <a:lnTo>
                  <a:pt x="6489295" y="2803558"/>
                </a:lnTo>
                <a:lnTo>
                  <a:pt x="6487450" y="2804857"/>
                </a:lnTo>
                <a:lnTo>
                  <a:pt x="6486149" y="2806698"/>
                </a:lnTo>
                <a:lnTo>
                  <a:pt x="6483760" y="2806914"/>
                </a:lnTo>
                <a:lnTo>
                  <a:pt x="6479203" y="2810920"/>
                </a:lnTo>
                <a:lnTo>
                  <a:pt x="6477141" y="2812328"/>
                </a:lnTo>
                <a:lnTo>
                  <a:pt x="6473995" y="2811894"/>
                </a:lnTo>
                <a:lnTo>
                  <a:pt x="6472909" y="2814493"/>
                </a:lnTo>
                <a:lnTo>
                  <a:pt x="6472258" y="2819582"/>
                </a:lnTo>
                <a:lnTo>
                  <a:pt x="6469328" y="2822289"/>
                </a:lnTo>
                <a:lnTo>
                  <a:pt x="6468134" y="2822180"/>
                </a:lnTo>
                <a:lnTo>
                  <a:pt x="6468460" y="2823263"/>
                </a:lnTo>
                <a:lnTo>
                  <a:pt x="6457825" y="2828027"/>
                </a:lnTo>
                <a:lnTo>
                  <a:pt x="6452183" y="2827161"/>
                </a:lnTo>
                <a:lnTo>
                  <a:pt x="6455763" y="2824996"/>
                </a:lnTo>
                <a:lnTo>
                  <a:pt x="6460104" y="2823047"/>
                </a:lnTo>
                <a:lnTo>
                  <a:pt x="6462492" y="2820339"/>
                </a:lnTo>
                <a:lnTo>
                  <a:pt x="6459995" y="2821314"/>
                </a:lnTo>
                <a:lnTo>
                  <a:pt x="6456740" y="2819582"/>
                </a:lnTo>
                <a:lnTo>
                  <a:pt x="6457174" y="2812328"/>
                </a:lnTo>
                <a:lnTo>
                  <a:pt x="6457825" y="2811570"/>
                </a:lnTo>
                <a:lnTo>
                  <a:pt x="6456414" y="2811137"/>
                </a:lnTo>
                <a:lnTo>
                  <a:pt x="6457282" y="2808105"/>
                </a:lnTo>
                <a:lnTo>
                  <a:pt x="6456849" y="2800526"/>
                </a:lnTo>
                <a:lnTo>
                  <a:pt x="6460430" y="2794788"/>
                </a:lnTo>
                <a:lnTo>
                  <a:pt x="6467049" y="2789483"/>
                </a:lnTo>
                <a:lnTo>
                  <a:pt x="6469111" y="2787101"/>
                </a:lnTo>
                <a:lnTo>
                  <a:pt x="6465747" y="2788617"/>
                </a:lnTo>
                <a:lnTo>
                  <a:pt x="6460647" y="2787858"/>
                </a:lnTo>
                <a:lnTo>
                  <a:pt x="6457066" y="2789049"/>
                </a:lnTo>
                <a:lnTo>
                  <a:pt x="6454787" y="2787642"/>
                </a:lnTo>
                <a:lnTo>
                  <a:pt x="6452508" y="2788508"/>
                </a:lnTo>
                <a:lnTo>
                  <a:pt x="6447950" y="2787317"/>
                </a:lnTo>
                <a:lnTo>
                  <a:pt x="6448601" y="2786126"/>
                </a:lnTo>
                <a:lnTo>
                  <a:pt x="6448493" y="2782120"/>
                </a:lnTo>
                <a:lnTo>
                  <a:pt x="6447299" y="2781254"/>
                </a:lnTo>
                <a:lnTo>
                  <a:pt x="6451748" y="2775841"/>
                </a:lnTo>
                <a:lnTo>
                  <a:pt x="6456958" y="2774974"/>
                </a:lnTo>
                <a:lnTo>
                  <a:pt x="6459670" y="2768153"/>
                </a:lnTo>
                <a:lnTo>
                  <a:pt x="6456957" y="2774974"/>
                </a:lnTo>
                <a:lnTo>
                  <a:pt x="6451747" y="2775841"/>
                </a:lnTo>
                <a:lnTo>
                  <a:pt x="6447298" y="2781254"/>
                </a:lnTo>
                <a:lnTo>
                  <a:pt x="6442958" y="2778114"/>
                </a:lnTo>
                <a:lnTo>
                  <a:pt x="6441547" y="2778980"/>
                </a:lnTo>
                <a:lnTo>
                  <a:pt x="6436772" y="2777464"/>
                </a:lnTo>
                <a:lnTo>
                  <a:pt x="6434168" y="2775515"/>
                </a:lnTo>
                <a:lnTo>
                  <a:pt x="6433734" y="2776815"/>
                </a:lnTo>
                <a:lnTo>
                  <a:pt x="6429936" y="2780388"/>
                </a:lnTo>
                <a:lnTo>
                  <a:pt x="6427331" y="2780280"/>
                </a:lnTo>
                <a:lnTo>
                  <a:pt x="6426680" y="2778439"/>
                </a:lnTo>
                <a:lnTo>
                  <a:pt x="6425162" y="2776165"/>
                </a:lnTo>
                <a:lnTo>
                  <a:pt x="6428091" y="2772809"/>
                </a:lnTo>
                <a:lnTo>
                  <a:pt x="6428416" y="2769669"/>
                </a:lnTo>
                <a:lnTo>
                  <a:pt x="6426789" y="2765988"/>
                </a:lnTo>
                <a:lnTo>
                  <a:pt x="6426789" y="2763173"/>
                </a:lnTo>
                <a:lnTo>
                  <a:pt x="6424836" y="2764472"/>
                </a:lnTo>
                <a:lnTo>
                  <a:pt x="6421906" y="2766962"/>
                </a:lnTo>
                <a:lnTo>
                  <a:pt x="6421906" y="2771076"/>
                </a:lnTo>
                <a:lnTo>
                  <a:pt x="6418867" y="2771509"/>
                </a:lnTo>
                <a:lnTo>
                  <a:pt x="6415177" y="2771076"/>
                </a:lnTo>
                <a:lnTo>
                  <a:pt x="6414527" y="2767503"/>
                </a:lnTo>
                <a:lnTo>
                  <a:pt x="6413007" y="2764797"/>
                </a:lnTo>
                <a:lnTo>
                  <a:pt x="6413333" y="2761007"/>
                </a:lnTo>
                <a:lnTo>
                  <a:pt x="6411488" y="2757543"/>
                </a:lnTo>
                <a:lnTo>
                  <a:pt x="6409643" y="2758192"/>
                </a:lnTo>
                <a:lnTo>
                  <a:pt x="6406279" y="2753428"/>
                </a:lnTo>
                <a:lnTo>
                  <a:pt x="6406063" y="2748881"/>
                </a:lnTo>
                <a:lnTo>
                  <a:pt x="6402915" y="2746066"/>
                </a:lnTo>
                <a:lnTo>
                  <a:pt x="6402807" y="2741519"/>
                </a:lnTo>
                <a:lnTo>
                  <a:pt x="6399551" y="2737729"/>
                </a:lnTo>
                <a:lnTo>
                  <a:pt x="6399443" y="2737729"/>
                </a:lnTo>
                <a:lnTo>
                  <a:pt x="6399768" y="2735889"/>
                </a:lnTo>
                <a:lnTo>
                  <a:pt x="6399443" y="2737729"/>
                </a:lnTo>
                <a:lnTo>
                  <a:pt x="6397382" y="2737513"/>
                </a:lnTo>
                <a:lnTo>
                  <a:pt x="6397055" y="2740869"/>
                </a:lnTo>
                <a:lnTo>
                  <a:pt x="6396187" y="2741194"/>
                </a:lnTo>
                <a:lnTo>
                  <a:pt x="6395428" y="2740003"/>
                </a:lnTo>
                <a:lnTo>
                  <a:pt x="6390436" y="2735889"/>
                </a:lnTo>
                <a:lnTo>
                  <a:pt x="6388591" y="2735780"/>
                </a:lnTo>
                <a:lnTo>
                  <a:pt x="6388700" y="2733615"/>
                </a:lnTo>
                <a:lnTo>
                  <a:pt x="6385770" y="2732099"/>
                </a:lnTo>
                <a:lnTo>
                  <a:pt x="6379476" y="2726036"/>
                </a:lnTo>
                <a:lnTo>
                  <a:pt x="6376003" y="2724737"/>
                </a:lnTo>
                <a:lnTo>
                  <a:pt x="6373290" y="2727010"/>
                </a:lnTo>
                <a:lnTo>
                  <a:pt x="6373833" y="2728093"/>
                </a:lnTo>
                <a:lnTo>
                  <a:pt x="6373399" y="2728959"/>
                </a:lnTo>
                <a:lnTo>
                  <a:pt x="6371337" y="2727552"/>
                </a:lnTo>
                <a:lnTo>
                  <a:pt x="6366128" y="2726253"/>
                </a:lnTo>
                <a:lnTo>
                  <a:pt x="6361354" y="2727443"/>
                </a:lnTo>
                <a:lnTo>
                  <a:pt x="6357990" y="2726253"/>
                </a:lnTo>
                <a:lnTo>
                  <a:pt x="6354409" y="2726577"/>
                </a:lnTo>
                <a:lnTo>
                  <a:pt x="6355711" y="2722896"/>
                </a:lnTo>
                <a:lnTo>
                  <a:pt x="6357230" y="2721272"/>
                </a:lnTo>
                <a:lnTo>
                  <a:pt x="6355060" y="2717483"/>
                </a:lnTo>
                <a:lnTo>
                  <a:pt x="6355385" y="2711203"/>
                </a:lnTo>
                <a:lnTo>
                  <a:pt x="6356796" y="2709688"/>
                </a:lnTo>
                <a:lnTo>
                  <a:pt x="6355493" y="2706547"/>
                </a:lnTo>
                <a:lnTo>
                  <a:pt x="6351370" y="2705790"/>
                </a:lnTo>
                <a:lnTo>
                  <a:pt x="6350610" y="2705140"/>
                </a:lnTo>
                <a:lnTo>
                  <a:pt x="6348983" y="2705573"/>
                </a:lnTo>
                <a:lnTo>
                  <a:pt x="6347246" y="2704274"/>
                </a:lnTo>
                <a:lnTo>
                  <a:pt x="6343557" y="2706006"/>
                </a:lnTo>
                <a:lnTo>
                  <a:pt x="6340735" y="2706331"/>
                </a:lnTo>
                <a:lnTo>
                  <a:pt x="6339000" y="2704815"/>
                </a:lnTo>
                <a:lnTo>
                  <a:pt x="6337480" y="2706764"/>
                </a:lnTo>
                <a:lnTo>
                  <a:pt x="6334767" y="2706764"/>
                </a:lnTo>
                <a:lnTo>
                  <a:pt x="6333357" y="2706114"/>
                </a:lnTo>
                <a:lnTo>
                  <a:pt x="6333357" y="2707089"/>
                </a:lnTo>
                <a:lnTo>
                  <a:pt x="6332271" y="2710445"/>
                </a:lnTo>
                <a:lnTo>
                  <a:pt x="6336287" y="2712394"/>
                </a:lnTo>
                <a:lnTo>
                  <a:pt x="6336937" y="2716725"/>
                </a:lnTo>
                <a:lnTo>
                  <a:pt x="6334442" y="2720839"/>
                </a:lnTo>
                <a:lnTo>
                  <a:pt x="6334659" y="2726036"/>
                </a:lnTo>
                <a:lnTo>
                  <a:pt x="6333682" y="2728959"/>
                </a:lnTo>
                <a:lnTo>
                  <a:pt x="6335527" y="2730475"/>
                </a:lnTo>
                <a:lnTo>
                  <a:pt x="6334767" y="2737080"/>
                </a:lnTo>
                <a:lnTo>
                  <a:pt x="6331403" y="2741410"/>
                </a:lnTo>
                <a:lnTo>
                  <a:pt x="6330644" y="2746283"/>
                </a:lnTo>
                <a:lnTo>
                  <a:pt x="6327171" y="2751371"/>
                </a:lnTo>
                <a:lnTo>
                  <a:pt x="6325978" y="2769452"/>
                </a:lnTo>
                <a:lnTo>
                  <a:pt x="6320226" y="2776706"/>
                </a:lnTo>
                <a:lnTo>
                  <a:pt x="6320226" y="2781795"/>
                </a:lnTo>
                <a:lnTo>
                  <a:pt x="6317947" y="2786559"/>
                </a:lnTo>
                <a:lnTo>
                  <a:pt x="6320443" y="2786992"/>
                </a:lnTo>
                <a:lnTo>
                  <a:pt x="6321094" y="2788183"/>
                </a:lnTo>
                <a:lnTo>
                  <a:pt x="6318923" y="2790999"/>
                </a:lnTo>
                <a:lnTo>
                  <a:pt x="6319250" y="2793164"/>
                </a:lnTo>
                <a:lnTo>
                  <a:pt x="6320443" y="2798144"/>
                </a:lnTo>
                <a:lnTo>
                  <a:pt x="6320443" y="2801284"/>
                </a:lnTo>
                <a:lnTo>
                  <a:pt x="6325109" y="2808105"/>
                </a:lnTo>
                <a:lnTo>
                  <a:pt x="6322722" y="2812760"/>
                </a:lnTo>
                <a:lnTo>
                  <a:pt x="6324241" y="2814493"/>
                </a:lnTo>
                <a:lnTo>
                  <a:pt x="6326846" y="2813735"/>
                </a:lnTo>
                <a:lnTo>
                  <a:pt x="6327497" y="2811786"/>
                </a:lnTo>
                <a:lnTo>
                  <a:pt x="6329775" y="2809187"/>
                </a:lnTo>
                <a:lnTo>
                  <a:pt x="6330969" y="2810054"/>
                </a:lnTo>
                <a:lnTo>
                  <a:pt x="6334550" y="2810703"/>
                </a:lnTo>
                <a:lnTo>
                  <a:pt x="6336612" y="2812760"/>
                </a:lnTo>
                <a:lnTo>
                  <a:pt x="6337155" y="2817633"/>
                </a:lnTo>
                <a:lnTo>
                  <a:pt x="6339325" y="2820556"/>
                </a:lnTo>
                <a:lnTo>
                  <a:pt x="6338891" y="2825645"/>
                </a:lnTo>
                <a:lnTo>
                  <a:pt x="6341495" y="2826619"/>
                </a:lnTo>
                <a:lnTo>
                  <a:pt x="6343882" y="2831925"/>
                </a:lnTo>
                <a:lnTo>
                  <a:pt x="6346487" y="2831816"/>
                </a:lnTo>
                <a:lnTo>
                  <a:pt x="6346378" y="2829217"/>
                </a:lnTo>
                <a:lnTo>
                  <a:pt x="6346813" y="2827160"/>
                </a:lnTo>
                <a:lnTo>
                  <a:pt x="6347897" y="2830950"/>
                </a:lnTo>
                <a:lnTo>
                  <a:pt x="6350610" y="2834848"/>
                </a:lnTo>
                <a:lnTo>
                  <a:pt x="6350719" y="2838854"/>
                </a:lnTo>
                <a:lnTo>
                  <a:pt x="6352998" y="2840045"/>
                </a:lnTo>
                <a:lnTo>
                  <a:pt x="6354843" y="2849898"/>
                </a:lnTo>
                <a:lnTo>
                  <a:pt x="6353975" y="2851196"/>
                </a:lnTo>
                <a:lnTo>
                  <a:pt x="6353215" y="2852929"/>
                </a:lnTo>
                <a:lnTo>
                  <a:pt x="6352021" y="2851305"/>
                </a:lnTo>
                <a:lnTo>
                  <a:pt x="6348223" y="2853795"/>
                </a:lnTo>
                <a:lnTo>
                  <a:pt x="6347572" y="2857260"/>
                </a:lnTo>
                <a:lnTo>
                  <a:pt x="6354517" y="2859859"/>
                </a:lnTo>
                <a:lnTo>
                  <a:pt x="6355385" y="2856286"/>
                </a:lnTo>
                <a:lnTo>
                  <a:pt x="6356796" y="2857368"/>
                </a:lnTo>
                <a:lnTo>
                  <a:pt x="6357230" y="2861590"/>
                </a:lnTo>
                <a:lnTo>
                  <a:pt x="6360377" y="2864189"/>
                </a:lnTo>
                <a:lnTo>
                  <a:pt x="6367214" y="2870902"/>
                </a:lnTo>
                <a:lnTo>
                  <a:pt x="6370035" y="2873175"/>
                </a:lnTo>
                <a:lnTo>
                  <a:pt x="6372097" y="2871768"/>
                </a:lnTo>
                <a:lnTo>
                  <a:pt x="6376872" y="2872310"/>
                </a:lnTo>
                <a:lnTo>
                  <a:pt x="6381321" y="2873933"/>
                </a:lnTo>
                <a:lnTo>
                  <a:pt x="6384468" y="2880863"/>
                </a:lnTo>
                <a:lnTo>
                  <a:pt x="6387073" y="2884219"/>
                </a:lnTo>
                <a:lnTo>
                  <a:pt x="6391412" y="2887034"/>
                </a:lnTo>
                <a:lnTo>
                  <a:pt x="6391956" y="2889308"/>
                </a:lnTo>
                <a:lnTo>
                  <a:pt x="6390762" y="2890499"/>
                </a:lnTo>
                <a:lnTo>
                  <a:pt x="6390762" y="2890500"/>
                </a:lnTo>
                <a:lnTo>
                  <a:pt x="6391956" y="2889308"/>
                </a:lnTo>
                <a:lnTo>
                  <a:pt x="6391956" y="2889417"/>
                </a:lnTo>
                <a:lnTo>
                  <a:pt x="6395428" y="2889200"/>
                </a:lnTo>
                <a:lnTo>
                  <a:pt x="6397490" y="2886818"/>
                </a:lnTo>
                <a:lnTo>
                  <a:pt x="6399552" y="2886276"/>
                </a:lnTo>
                <a:lnTo>
                  <a:pt x="6403133" y="2892881"/>
                </a:lnTo>
                <a:lnTo>
                  <a:pt x="6420495" y="2910530"/>
                </a:lnTo>
                <a:lnTo>
                  <a:pt x="6425705" y="2918867"/>
                </a:lnTo>
                <a:lnTo>
                  <a:pt x="6428092" y="2928503"/>
                </a:lnTo>
                <a:lnTo>
                  <a:pt x="6426138" y="2931101"/>
                </a:lnTo>
                <a:lnTo>
                  <a:pt x="6426790" y="2942794"/>
                </a:lnTo>
                <a:lnTo>
                  <a:pt x="6425596" y="2944851"/>
                </a:lnTo>
                <a:lnTo>
                  <a:pt x="6425596" y="2949074"/>
                </a:lnTo>
                <a:lnTo>
                  <a:pt x="6427332" y="2952214"/>
                </a:lnTo>
                <a:lnTo>
                  <a:pt x="6427332" y="2964016"/>
                </a:lnTo>
                <a:lnTo>
                  <a:pt x="6430480" y="2970295"/>
                </a:lnTo>
                <a:lnTo>
                  <a:pt x="6435906" y="2975275"/>
                </a:lnTo>
                <a:lnTo>
                  <a:pt x="6439703" y="2975275"/>
                </a:lnTo>
                <a:lnTo>
                  <a:pt x="6440789" y="2977332"/>
                </a:lnTo>
                <a:lnTo>
                  <a:pt x="6440137" y="2979173"/>
                </a:lnTo>
                <a:lnTo>
                  <a:pt x="6441114" y="2986319"/>
                </a:lnTo>
                <a:lnTo>
                  <a:pt x="6442742" y="2987727"/>
                </a:lnTo>
                <a:lnTo>
                  <a:pt x="6443718" y="2989567"/>
                </a:lnTo>
                <a:lnTo>
                  <a:pt x="6443610" y="2990975"/>
                </a:lnTo>
                <a:lnTo>
                  <a:pt x="6445020" y="2991624"/>
                </a:lnTo>
                <a:lnTo>
                  <a:pt x="6450121" y="3001585"/>
                </a:lnTo>
                <a:lnTo>
                  <a:pt x="6450230" y="3007540"/>
                </a:lnTo>
                <a:lnTo>
                  <a:pt x="6446540" y="3006891"/>
                </a:lnTo>
                <a:lnTo>
                  <a:pt x="6445671" y="3005050"/>
                </a:lnTo>
                <a:lnTo>
                  <a:pt x="6445888" y="3002452"/>
                </a:lnTo>
                <a:lnTo>
                  <a:pt x="6443284" y="3000503"/>
                </a:lnTo>
                <a:lnTo>
                  <a:pt x="6444695" y="3002343"/>
                </a:lnTo>
                <a:lnTo>
                  <a:pt x="6444369" y="3004942"/>
                </a:lnTo>
                <a:lnTo>
                  <a:pt x="6442850" y="3005483"/>
                </a:lnTo>
                <a:lnTo>
                  <a:pt x="6445020" y="3005808"/>
                </a:lnTo>
                <a:lnTo>
                  <a:pt x="6445020" y="3006891"/>
                </a:lnTo>
                <a:lnTo>
                  <a:pt x="6440245" y="3009814"/>
                </a:lnTo>
                <a:lnTo>
                  <a:pt x="6438618" y="3007324"/>
                </a:lnTo>
                <a:lnTo>
                  <a:pt x="6436990" y="3008948"/>
                </a:lnTo>
                <a:lnTo>
                  <a:pt x="6432324" y="3006674"/>
                </a:lnTo>
                <a:lnTo>
                  <a:pt x="6429285" y="3003101"/>
                </a:lnTo>
                <a:lnTo>
                  <a:pt x="6421472" y="3001585"/>
                </a:lnTo>
                <a:lnTo>
                  <a:pt x="6414202" y="2997796"/>
                </a:lnTo>
                <a:lnTo>
                  <a:pt x="6410621" y="2993898"/>
                </a:lnTo>
                <a:lnTo>
                  <a:pt x="6408016" y="2991733"/>
                </a:lnTo>
                <a:lnTo>
                  <a:pt x="6404652" y="2992599"/>
                </a:lnTo>
                <a:lnTo>
                  <a:pt x="6401180" y="2992383"/>
                </a:lnTo>
                <a:lnTo>
                  <a:pt x="6395428" y="2986319"/>
                </a:lnTo>
                <a:lnTo>
                  <a:pt x="6395863" y="2981880"/>
                </a:lnTo>
                <a:lnTo>
                  <a:pt x="6388592" y="2976142"/>
                </a:lnTo>
                <a:lnTo>
                  <a:pt x="6380019" y="2972785"/>
                </a:lnTo>
                <a:lnTo>
                  <a:pt x="6377089" y="2970079"/>
                </a:lnTo>
                <a:lnTo>
                  <a:pt x="6377632" y="2966830"/>
                </a:lnTo>
                <a:lnTo>
                  <a:pt x="6381213" y="2963366"/>
                </a:lnTo>
                <a:lnTo>
                  <a:pt x="6378391" y="2959035"/>
                </a:lnTo>
                <a:lnTo>
                  <a:pt x="6374051" y="2956545"/>
                </a:lnTo>
                <a:lnTo>
                  <a:pt x="6369927" y="2950048"/>
                </a:lnTo>
                <a:lnTo>
                  <a:pt x="6363416" y="2946259"/>
                </a:lnTo>
                <a:lnTo>
                  <a:pt x="6360486" y="2942036"/>
                </a:lnTo>
                <a:lnTo>
                  <a:pt x="6361788" y="2939871"/>
                </a:lnTo>
                <a:lnTo>
                  <a:pt x="6358098" y="2936514"/>
                </a:lnTo>
                <a:lnTo>
                  <a:pt x="6357556" y="2931209"/>
                </a:lnTo>
                <a:lnTo>
                  <a:pt x="6359075" y="2930018"/>
                </a:lnTo>
                <a:lnTo>
                  <a:pt x="6359944" y="2922223"/>
                </a:lnTo>
                <a:lnTo>
                  <a:pt x="6357014" y="2916268"/>
                </a:lnTo>
                <a:lnTo>
                  <a:pt x="6354301" y="2909772"/>
                </a:lnTo>
                <a:lnTo>
                  <a:pt x="6351805" y="2890066"/>
                </a:lnTo>
                <a:lnTo>
                  <a:pt x="6346813" y="2882055"/>
                </a:lnTo>
                <a:lnTo>
                  <a:pt x="6348441" y="2876641"/>
                </a:lnTo>
                <a:lnTo>
                  <a:pt x="6351479" y="2872635"/>
                </a:lnTo>
                <a:lnTo>
                  <a:pt x="6354188" y="2875016"/>
                </a:lnTo>
                <a:lnTo>
                  <a:pt x="6351479" y="2872634"/>
                </a:lnTo>
                <a:lnTo>
                  <a:pt x="6348441" y="2876640"/>
                </a:lnTo>
                <a:lnTo>
                  <a:pt x="6346813" y="2882053"/>
                </a:lnTo>
                <a:lnTo>
                  <a:pt x="6344859" y="2878806"/>
                </a:lnTo>
                <a:lnTo>
                  <a:pt x="6334550" y="2871443"/>
                </a:lnTo>
                <a:lnTo>
                  <a:pt x="6334225" y="2869494"/>
                </a:lnTo>
                <a:lnTo>
                  <a:pt x="6336287" y="2867221"/>
                </a:lnTo>
                <a:lnTo>
                  <a:pt x="6336395" y="2864622"/>
                </a:lnTo>
                <a:lnTo>
                  <a:pt x="6333899" y="2864297"/>
                </a:lnTo>
                <a:lnTo>
                  <a:pt x="6332271" y="2860400"/>
                </a:lnTo>
                <a:lnTo>
                  <a:pt x="6327605" y="2859641"/>
                </a:lnTo>
                <a:lnTo>
                  <a:pt x="6327605" y="2856394"/>
                </a:lnTo>
                <a:lnTo>
                  <a:pt x="6322179" y="2849139"/>
                </a:lnTo>
                <a:lnTo>
                  <a:pt x="6318707" y="2849139"/>
                </a:lnTo>
                <a:lnTo>
                  <a:pt x="6315994" y="2840478"/>
                </a:lnTo>
                <a:lnTo>
                  <a:pt x="6311653" y="2839720"/>
                </a:lnTo>
                <a:lnTo>
                  <a:pt x="6311653" y="2836147"/>
                </a:lnTo>
                <a:lnTo>
                  <a:pt x="6308941" y="2834198"/>
                </a:lnTo>
                <a:lnTo>
                  <a:pt x="6309049" y="2831816"/>
                </a:lnTo>
                <a:lnTo>
                  <a:pt x="6304599" y="2833982"/>
                </a:lnTo>
                <a:lnTo>
                  <a:pt x="6304708" y="2838529"/>
                </a:lnTo>
                <a:lnTo>
                  <a:pt x="6301670" y="2838096"/>
                </a:lnTo>
                <a:lnTo>
                  <a:pt x="6299500" y="2834848"/>
                </a:lnTo>
                <a:lnTo>
                  <a:pt x="6298197" y="2826727"/>
                </a:lnTo>
                <a:lnTo>
                  <a:pt x="6299391" y="2824562"/>
                </a:lnTo>
                <a:lnTo>
                  <a:pt x="6298631" y="2817741"/>
                </a:lnTo>
                <a:lnTo>
                  <a:pt x="6301670" y="2816333"/>
                </a:lnTo>
                <a:lnTo>
                  <a:pt x="6301562" y="2807130"/>
                </a:lnTo>
                <a:lnTo>
                  <a:pt x="6304057" y="2807672"/>
                </a:lnTo>
                <a:lnTo>
                  <a:pt x="6305902" y="2803991"/>
                </a:lnTo>
                <a:lnTo>
                  <a:pt x="6303189" y="2803450"/>
                </a:lnTo>
                <a:lnTo>
                  <a:pt x="6306552" y="2798578"/>
                </a:lnTo>
                <a:lnTo>
                  <a:pt x="6305468" y="2796628"/>
                </a:lnTo>
                <a:lnTo>
                  <a:pt x="6308614" y="2792081"/>
                </a:lnTo>
                <a:lnTo>
                  <a:pt x="6305902" y="2791756"/>
                </a:lnTo>
                <a:lnTo>
                  <a:pt x="6306878" y="2783961"/>
                </a:lnTo>
                <a:lnTo>
                  <a:pt x="6306880" y="2783956"/>
                </a:lnTo>
                <a:lnTo>
                  <a:pt x="6306988" y="2783095"/>
                </a:lnTo>
                <a:lnTo>
                  <a:pt x="6304708" y="2787967"/>
                </a:lnTo>
                <a:lnTo>
                  <a:pt x="6304166" y="2795005"/>
                </a:lnTo>
                <a:lnTo>
                  <a:pt x="6301886" y="2787643"/>
                </a:lnTo>
                <a:lnTo>
                  <a:pt x="6301670" y="2780713"/>
                </a:lnTo>
                <a:lnTo>
                  <a:pt x="6300042" y="2777898"/>
                </a:lnTo>
                <a:lnTo>
                  <a:pt x="6299825" y="2775516"/>
                </a:lnTo>
                <a:lnTo>
                  <a:pt x="6301670" y="2776275"/>
                </a:lnTo>
                <a:lnTo>
                  <a:pt x="6303515" y="2774650"/>
                </a:lnTo>
                <a:lnTo>
                  <a:pt x="6306336" y="2769886"/>
                </a:lnTo>
                <a:lnTo>
                  <a:pt x="6306336" y="2765988"/>
                </a:lnTo>
                <a:lnTo>
                  <a:pt x="6304925" y="2764690"/>
                </a:lnTo>
                <a:lnTo>
                  <a:pt x="6305685" y="2758410"/>
                </a:lnTo>
                <a:lnTo>
                  <a:pt x="6307312" y="2757652"/>
                </a:lnTo>
                <a:lnTo>
                  <a:pt x="6308507" y="2754837"/>
                </a:lnTo>
                <a:lnTo>
                  <a:pt x="6306228" y="2748341"/>
                </a:lnTo>
                <a:lnTo>
                  <a:pt x="6309592" y="2745742"/>
                </a:lnTo>
                <a:lnTo>
                  <a:pt x="6306011" y="2741952"/>
                </a:lnTo>
                <a:lnTo>
                  <a:pt x="6303732" y="2738596"/>
                </a:lnTo>
                <a:lnTo>
                  <a:pt x="6303515" y="2732425"/>
                </a:lnTo>
                <a:lnTo>
                  <a:pt x="6305143" y="2730042"/>
                </a:lnTo>
                <a:lnTo>
                  <a:pt x="6303732" y="2725712"/>
                </a:lnTo>
                <a:lnTo>
                  <a:pt x="6301345" y="2723980"/>
                </a:lnTo>
                <a:lnTo>
                  <a:pt x="6299717" y="2709363"/>
                </a:lnTo>
                <a:lnTo>
                  <a:pt x="6296461" y="2706440"/>
                </a:lnTo>
                <a:lnTo>
                  <a:pt x="6295376" y="2701351"/>
                </a:lnTo>
                <a:lnTo>
                  <a:pt x="6291904" y="2695613"/>
                </a:lnTo>
                <a:lnTo>
                  <a:pt x="6291035" y="2703191"/>
                </a:lnTo>
                <a:lnTo>
                  <a:pt x="6289624" y="2704274"/>
                </a:lnTo>
                <a:lnTo>
                  <a:pt x="6289733" y="2700052"/>
                </a:lnTo>
                <a:lnTo>
                  <a:pt x="6287562" y="2695721"/>
                </a:lnTo>
                <a:lnTo>
                  <a:pt x="6287997" y="2685327"/>
                </a:lnTo>
                <a:lnTo>
                  <a:pt x="6284525" y="2681105"/>
                </a:lnTo>
                <a:lnTo>
                  <a:pt x="6284198" y="2676340"/>
                </a:lnTo>
                <a:lnTo>
                  <a:pt x="6285935" y="2674500"/>
                </a:lnTo>
                <a:lnTo>
                  <a:pt x="6279967" y="2671036"/>
                </a:lnTo>
                <a:lnTo>
                  <a:pt x="6279858" y="2662807"/>
                </a:lnTo>
                <a:lnTo>
                  <a:pt x="6278121" y="2662590"/>
                </a:lnTo>
                <a:lnTo>
                  <a:pt x="6276168" y="2644834"/>
                </a:lnTo>
                <a:lnTo>
                  <a:pt x="6273347" y="2642885"/>
                </a:lnTo>
                <a:lnTo>
                  <a:pt x="6272371" y="2638446"/>
                </a:lnTo>
                <a:lnTo>
                  <a:pt x="6274215" y="2637688"/>
                </a:lnTo>
                <a:lnTo>
                  <a:pt x="6274215" y="2634765"/>
                </a:lnTo>
                <a:lnTo>
                  <a:pt x="6271285" y="2629243"/>
                </a:lnTo>
                <a:lnTo>
                  <a:pt x="6272588" y="2627077"/>
                </a:lnTo>
                <a:lnTo>
                  <a:pt x="6272695" y="2624371"/>
                </a:lnTo>
                <a:lnTo>
                  <a:pt x="6271177" y="2627186"/>
                </a:lnTo>
                <a:lnTo>
                  <a:pt x="6267921" y="2628485"/>
                </a:lnTo>
                <a:lnTo>
                  <a:pt x="6263689" y="2628485"/>
                </a:lnTo>
                <a:lnTo>
                  <a:pt x="6262495" y="2622747"/>
                </a:lnTo>
                <a:lnTo>
                  <a:pt x="6260433" y="2620148"/>
                </a:lnTo>
                <a:lnTo>
                  <a:pt x="6255767" y="2610945"/>
                </a:lnTo>
                <a:lnTo>
                  <a:pt x="6254791" y="2608455"/>
                </a:lnTo>
                <a:lnTo>
                  <a:pt x="6252512" y="2608238"/>
                </a:lnTo>
                <a:lnTo>
                  <a:pt x="6252512" y="2605531"/>
                </a:lnTo>
                <a:lnTo>
                  <a:pt x="6248172" y="2603041"/>
                </a:lnTo>
                <a:lnTo>
                  <a:pt x="6250885" y="2606073"/>
                </a:lnTo>
                <a:lnTo>
                  <a:pt x="6250016" y="2607697"/>
                </a:lnTo>
                <a:lnTo>
                  <a:pt x="6249582" y="2610404"/>
                </a:lnTo>
                <a:lnTo>
                  <a:pt x="6252295" y="2612461"/>
                </a:lnTo>
                <a:lnTo>
                  <a:pt x="6251752" y="2617333"/>
                </a:lnTo>
                <a:lnTo>
                  <a:pt x="6249582" y="2619606"/>
                </a:lnTo>
                <a:lnTo>
                  <a:pt x="6250559" y="2622530"/>
                </a:lnTo>
                <a:lnTo>
                  <a:pt x="6244373" y="2627618"/>
                </a:lnTo>
                <a:lnTo>
                  <a:pt x="6240358" y="2626861"/>
                </a:lnTo>
                <a:lnTo>
                  <a:pt x="6237645" y="2623396"/>
                </a:lnTo>
                <a:lnTo>
                  <a:pt x="6236017" y="2623396"/>
                </a:lnTo>
                <a:lnTo>
                  <a:pt x="6237862" y="2627186"/>
                </a:lnTo>
                <a:lnTo>
                  <a:pt x="6237428" y="2628810"/>
                </a:lnTo>
                <a:lnTo>
                  <a:pt x="6241226" y="2629892"/>
                </a:lnTo>
                <a:lnTo>
                  <a:pt x="6236017" y="2633032"/>
                </a:lnTo>
                <a:lnTo>
                  <a:pt x="6232653" y="2633032"/>
                </a:lnTo>
                <a:lnTo>
                  <a:pt x="6230266" y="2631408"/>
                </a:lnTo>
                <a:lnTo>
                  <a:pt x="6228964" y="2635522"/>
                </a:lnTo>
                <a:lnTo>
                  <a:pt x="6219414" y="2642018"/>
                </a:lnTo>
                <a:lnTo>
                  <a:pt x="6214748" y="2641477"/>
                </a:lnTo>
                <a:lnTo>
                  <a:pt x="6213989" y="2642560"/>
                </a:lnTo>
                <a:lnTo>
                  <a:pt x="6211493" y="2642560"/>
                </a:lnTo>
                <a:lnTo>
                  <a:pt x="6211276" y="2641261"/>
                </a:lnTo>
                <a:lnTo>
                  <a:pt x="6210733" y="2643643"/>
                </a:lnTo>
                <a:lnTo>
                  <a:pt x="6208346" y="2644184"/>
                </a:lnTo>
                <a:lnTo>
                  <a:pt x="6205633" y="2640720"/>
                </a:lnTo>
                <a:lnTo>
                  <a:pt x="6199122" y="2644184"/>
                </a:lnTo>
                <a:lnTo>
                  <a:pt x="6198471" y="2647432"/>
                </a:lnTo>
                <a:lnTo>
                  <a:pt x="6195758" y="2647540"/>
                </a:lnTo>
                <a:lnTo>
                  <a:pt x="6195758" y="2641153"/>
                </a:lnTo>
                <a:lnTo>
                  <a:pt x="6202052" y="2635089"/>
                </a:lnTo>
                <a:lnTo>
                  <a:pt x="6202377" y="2627402"/>
                </a:lnTo>
                <a:lnTo>
                  <a:pt x="6199447" y="2634440"/>
                </a:lnTo>
                <a:lnTo>
                  <a:pt x="6194456" y="2638771"/>
                </a:lnTo>
                <a:lnTo>
                  <a:pt x="6190874" y="2644509"/>
                </a:lnTo>
                <a:lnTo>
                  <a:pt x="6190332" y="2642344"/>
                </a:lnTo>
                <a:lnTo>
                  <a:pt x="6190983" y="2640611"/>
                </a:lnTo>
                <a:lnTo>
                  <a:pt x="6189572" y="2635522"/>
                </a:lnTo>
                <a:lnTo>
                  <a:pt x="6193479" y="2611811"/>
                </a:lnTo>
                <a:lnTo>
                  <a:pt x="6198905" y="2608455"/>
                </a:lnTo>
                <a:lnTo>
                  <a:pt x="6196734" y="2606289"/>
                </a:lnTo>
                <a:lnTo>
                  <a:pt x="6192394" y="2595787"/>
                </a:lnTo>
                <a:lnTo>
                  <a:pt x="6191959" y="2586476"/>
                </a:lnTo>
                <a:lnTo>
                  <a:pt x="6189572" y="2585284"/>
                </a:lnTo>
                <a:lnTo>
                  <a:pt x="6188161" y="2582794"/>
                </a:lnTo>
                <a:lnTo>
                  <a:pt x="6189572" y="2581929"/>
                </a:lnTo>
                <a:lnTo>
                  <a:pt x="6186100" y="2579221"/>
                </a:lnTo>
                <a:lnTo>
                  <a:pt x="6184364" y="2572401"/>
                </a:lnTo>
                <a:lnTo>
                  <a:pt x="6181542" y="2568719"/>
                </a:lnTo>
                <a:lnTo>
                  <a:pt x="6179805" y="2564930"/>
                </a:lnTo>
                <a:lnTo>
                  <a:pt x="6179805" y="2560815"/>
                </a:lnTo>
                <a:lnTo>
                  <a:pt x="6174054" y="2557243"/>
                </a:lnTo>
                <a:lnTo>
                  <a:pt x="6176007" y="2561141"/>
                </a:lnTo>
                <a:lnTo>
                  <a:pt x="6177092" y="2569478"/>
                </a:lnTo>
                <a:lnTo>
                  <a:pt x="6168194" y="2566987"/>
                </a:lnTo>
                <a:lnTo>
                  <a:pt x="6164071" y="2561898"/>
                </a:lnTo>
                <a:lnTo>
                  <a:pt x="6163745" y="2559192"/>
                </a:lnTo>
                <a:lnTo>
                  <a:pt x="6159187" y="2555186"/>
                </a:lnTo>
                <a:lnTo>
                  <a:pt x="6158645" y="2552695"/>
                </a:lnTo>
                <a:lnTo>
                  <a:pt x="6162985" y="2553020"/>
                </a:lnTo>
                <a:lnTo>
                  <a:pt x="6164614" y="2556593"/>
                </a:lnTo>
                <a:lnTo>
                  <a:pt x="6168194" y="2558434"/>
                </a:lnTo>
                <a:lnTo>
                  <a:pt x="6169605" y="2556809"/>
                </a:lnTo>
                <a:lnTo>
                  <a:pt x="6168194" y="2556160"/>
                </a:lnTo>
                <a:lnTo>
                  <a:pt x="6164830" y="2552803"/>
                </a:lnTo>
                <a:lnTo>
                  <a:pt x="6168411" y="2550746"/>
                </a:lnTo>
                <a:lnTo>
                  <a:pt x="6171124" y="2553453"/>
                </a:lnTo>
                <a:lnTo>
                  <a:pt x="6174054" y="2552370"/>
                </a:lnTo>
                <a:lnTo>
                  <a:pt x="6173837" y="2548364"/>
                </a:lnTo>
                <a:lnTo>
                  <a:pt x="6169171" y="2541435"/>
                </a:lnTo>
                <a:lnTo>
                  <a:pt x="6161683" y="2540028"/>
                </a:lnTo>
                <a:lnTo>
                  <a:pt x="6159730" y="2536996"/>
                </a:lnTo>
                <a:lnTo>
                  <a:pt x="6155606" y="2536238"/>
                </a:lnTo>
                <a:lnTo>
                  <a:pt x="6154413" y="2533207"/>
                </a:lnTo>
                <a:lnTo>
                  <a:pt x="6153979" y="2536238"/>
                </a:lnTo>
                <a:lnTo>
                  <a:pt x="6149638" y="2536780"/>
                </a:lnTo>
                <a:lnTo>
                  <a:pt x="6149204" y="2534831"/>
                </a:lnTo>
                <a:lnTo>
                  <a:pt x="6152894" y="2530608"/>
                </a:lnTo>
                <a:lnTo>
                  <a:pt x="6148336" y="2531041"/>
                </a:lnTo>
                <a:lnTo>
                  <a:pt x="6144538" y="2527901"/>
                </a:lnTo>
                <a:lnTo>
                  <a:pt x="6144538" y="2530175"/>
                </a:lnTo>
                <a:lnTo>
                  <a:pt x="6146925" y="2534289"/>
                </a:lnTo>
                <a:lnTo>
                  <a:pt x="6136290" y="2524762"/>
                </a:lnTo>
                <a:lnTo>
                  <a:pt x="6134446" y="2518482"/>
                </a:lnTo>
                <a:lnTo>
                  <a:pt x="6132058" y="2513501"/>
                </a:lnTo>
                <a:lnTo>
                  <a:pt x="6131951" y="2513609"/>
                </a:lnTo>
                <a:lnTo>
                  <a:pt x="6131951" y="2513609"/>
                </a:lnTo>
                <a:lnTo>
                  <a:pt x="6131517" y="2514150"/>
                </a:lnTo>
                <a:lnTo>
                  <a:pt x="6132602" y="2519997"/>
                </a:lnTo>
                <a:lnTo>
                  <a:pt x="6131842" y="2520430"/>
                </a:lnTo>
                <a:lnTo>
                  <a:pt x="6128479" y="2511985"/>
                </a:lnTo>
                <a:lnTo>
                  <a:pt x="6124137" y="2505813"/>
                </a:lnTo>
                <a:lnTo>
                  <a:pt x="6122075" y="2503215"/>
                </a:lnTo>
                <a:lnTo>
                  <a:pt x="6123378" y="2500400"/>
                </a:lnTo>
                <a:lnTo>
                  <a:pt x="6123595" y="2496503"/>
                </a:lnTo>
                <a:lnTo>
                  <a:pt x="6122835" y="2498560"/>
                </a:lnTo>
                <a:lnTo>
                  <a:pt x="6119906" y="2501266"/>
                </a:lnTo>
                <a:lnTo>
                  <a:pt x="6119038" y="2499750"/>
                </a:lnTo>
                <a:lnTo>
                  <a:pt x="6120339" y="2492713"/>
                </a:lnTo>
                <a:lnTo>
                  <a:pt x="6118712" y="2491630"/>
                </a:lnTo>
                <a:lnTo>
                  <a:pt x="6119797" y="2486217"/>
                </a:lnTo>
                <a:lnTo>
                  <a:pt x="6119906" y="2482968"/>
                </a:lnTo>
                <a:lnTo>
                  <a:pt x="6116867" y="2480911"/>
                </a:lnTo>
                <a:lnTo>
                  <a:pt x="6109488" y="2464454"/>
                </a:lnTo>
                <a:lnTo>
                  <a:pt x="6107426" y="2464454"/>
                </a:lnTo>
                <a:lnTo>
                  <a:pt x="6107643" y="2465862"/>
                </a:lnTo>
                <a:lnTo>
                  <a:pt x="6106015" y="2465212"/>
                </a:lnTo>
                <a:lnTo>
                  <a:pt x="6101458" y="2467919"/>
                </a:lnTo>
                <a:lnTo>
                  <a:pt x="6092993" y="2463913"/>
                </a:lnTo>
                <a:lnTo>
                  <a:pt x="6092126" y="2462289"/>
                </a:lnTo>
                <a:lnTo>
                  <a:pt x="6089304" y="2462505"/>
                </a:lnTo>
                <a:lnTo>
                  <a:pt x="6085072" y="2458499"/>
                </a:lnTo>
                <a:lnTo>
                  <a:pt x="6083009" y="2451461"/>
                </a:lnTo>
                <a:lnTo>
                  <a:pt x="6083878" y="2459799"/>
                </a:lnTo>
                <a:lnTo>
                  <a:pt x="6087242" y="2464671"/>
                </a:lnTo>
                <a:lnTo>
                  <a:pt x="6086482" y="2467161"/>
                </a:lnTo>
                <a:lnTo>
                  <a:pt x="6081599" y="2469001"/>
                </a:lnTo>
                <a:lnTo>
                  <a:pt x="6084638" y="2470193"/>
                </a:lnTo>
                <a:lnTo>
                  <a:pt x="6087893" y="2475498"/>
                </a:lnTo>
                <a:lnTo>
                  <a:pt x="6087458" y="2481885"/>
                </a:lnTo>
                <a:lnTo>
                  <a:pt x="6082792" y="2483726"/>
                </a:lnTo>
                <a:lnTo>
                  <a:pt x="6078995" y="2490872"/>
                </a:lnTo>
                <a:lnTo>
                  <a:pt x="6075197" y="2488274"/>
                </a:lnTo>
                <a:lnTo>
                  <a:pt x="6077475" y="2484160"/>
                </a:lnTo>
                <a:lnTo>
                  <a:pt x="6079537" y="2483293"/>
                </a:lnTo>
                <a:lnTo>
                  <a:pt x="6080514" y="2481128"/>
                </a:lnTo>
                <a:lnTo>
                  <a:pt x="6077150" y="2482752"/>
                </a:lnTo>
                <a:lnTo>
                  <a:pt x="6074220" y="2487624"/>
                </a:lnTo>
                <a:lnTo>
                  <a:pt x="6071073" y="2483185"/>
                </a:lnTo>
                <a:lnTo>
                  <a:pt x="6073460" y="2475173"/>
                </a:lnTo>
                <a:lnTo>
                  <a:pt x="6073460" y="2473657"/>
                </a:lnTo>
                <a:lnTo>
                  <a:pt x="6071724" y="2471600"/>
                </a:lnTo>
                <a:lnTo>
                  <a:pt x="6072809" y="2473765"/>
                </a:lnTo>
                <a:lnTo>
                  <a:pt x="6070964" y="2476797"/>
                </a:lnTo>
                <a:lnTo>
                  <a:pt x="6070422" y="2481669"/>
                </a:lnTo>
                <a:lnTo>
                  <a:pt x="6069120" y="2481777"/>
                </a:lnTo>
                <a:lnTo>
                  <a:pt x="6071616" y="2487407"/>
                </a:lnTo>
                <a:lnTo>
                  <a:pt x="6071290" y="2491630"/>
                </a:lnTo>
                <a:lnTo>
                  <a:pt x="6068903" y="2492929"/>
                </a:lnTo>
                <a:lnTo>
                  <a:pt x="6068577" y="2492280"/>
                </a:lnTo>
                <a:lnTo>
                  <a:pt x="6065430" y="2490223"/>
                </a:lnTo>
                <a:lnTo>
                  <a:pt x="6063368" y="2491089"/>
                </a:lnTo>
                <a:lnTo>
                  <a:pt x="6062283" y="2494554"/>
                </a:lnTo>
                <a:lnTo>
                  <a:pt x="6059462" y="2494554"/>
                </a:lnTo>
                <a:lnTo>
                  <a:pt x="6058485" y="2492388"/>
                </a:lnTo>
                <a:lnTo>
                  <a:pt x="6056640" y="2487732"/>
                </a:lnTo>
                <a:lnTo>
                  <a:pt x="6054253" y="2488490"/>
                </a:lnTo>
                <a:lnTo>
                  <a:pt x="6053631" y="2481466"/>
                </a:lnTo>
                <a:lnTo>
                  <a:pt x="6054252" y="2488489"/>
                </a:lnTo>
                <a:lnTo>
                  <a:pt x="6053167" y="2488923"/>
                </a:lnTo>
                <a:lnTo>
                  <a:pt x="6055880" y="2494336"/>
                </a:lnTo>
                <a:lnTo>
                  <a:pt x="6053385" y="2498667"/>
                </a:lnTo>
                <a:lnTo>
                  <a:pt x="6049586" y="2494661"/>
                </a:lnTo>
                <a:lnTo>
                  <a:pt x="6049586" y="2497260"/>
                </a:lnTo>
                <a:lnTo>
                  <a:pt x="6046981" y="2495852"/>
                </a:lnTo>
                <a:lnTo>
                  <a:pt x="6045354" y="2490439"/>
                </a:lnTo>
                <a:lnTo>
                  <a:pt x="6044377" y="2487732"/>
                </a:lnTo>
                <a:lnTo>
                  <a:pt x="6043726" y="2489680"/>
                </a:lnTo>
                <a:lnTo>
                  <a:pt x="6043075" y="2492496"/>
                </a:lnTo>
                <a:lnTo>
                  <a:pt x="6042532" y="2491305"/>
                </a:lnTo>
                <a:lnTo>
                  <a:pt x="6041664" y="2492929"/>
                </a:lnTo>
                <a:lnTo>
                  <a:pt x="6037866" y="2492929"/>
                </a:lnTo>
                <a:lnTo>
                  <a:pt x="6037432" y="2493686"/>
                </a:lnTo>
                <a:lnTo>
                  <a:pt x="6033526" y="2492387"/>
                </a:lnTo>
                <a:lnTo>
                  <a:pt x="6032223" y="2486432"/>
                </a:lnTo>
                <a:lnTo>
                  <a:pt x="6033200" y="2482751"/>
                </a:lnTo>
                <a:lnTo>
                  <a:pt x="6029619" y="2479611"/>
                </a:lnTo>
                <a:lnTo>
                  <a:pt x="6025495" y="2479611"/>
                </a:lnTo>
                <a:lnTo>
                  <a:pt x="6025821" y="2480911"/>
                </a:lnTo>
                <a:lnTo>
                  <a:pt x="6028643" y="2481668"/>
                </a:lnTo>
                <a:lnTo>
                  <a:pt x="6030487" y="2483834"/>
                </a:lnTo>
                <a:lnTo>
                  <a:pt x="6029077" y="2485241"/>
                </a:lnTo>
                <a:lnTo>
                  <a:pt x="6027666" y="2488598"/>
                </a:lnTo>
                <a:lnTo>
                  <a:pt x="6027231" y="2491954"/>
                </a:lnTo>
                <a:lnTo>
                  <a:pt x="6023759" y="2495960"/>
                </a:lnTo>
                <a:lnTo>
                  <a:pt x="6008892" y="2501374"/>
                </a:lnTo>
                <a:lnTo>
                  <a:pt x="6006397" y="2503539"/>
                </a:lnTo>
                <a:lnTo>
                  <a:pt x="6005312" y="2507112"/>
                </a:lnTo>
                <a:lnTo>
                  <a:pt x="6003032" y="2511768"/>
                </a:lnTo>
                <a:lnTo>
                  <a:pt x="6003792" y="2514691"/>
                </a:lnTo>
                <a:lnTo>
                  <a:pt x="6006397" y="2519672"/>
                </a:lnTo>
                <a:lnTo>
                  <a:pt x="6006071" y="2521188"/>
                </a:lnTo>
                <a:lnTo>
                  <a:pt x="6007590" y="2521945"/>
                </a:lnTo>
                <a:lnTo>
                  <a:pt x="6002164" y="2526601"/>
                </a:lnTo>
                <a:lnTo>
                  <a:pt x="6000971" y="2530931"/>
                </a:lnTo>
                <a:lnTo>
                  <a:pt x="5998366" y="2531148"/>
                </a:lnTo>
                <a:lnTo>
                  <a:pt x="5999451" y="2534180"/>
                </a:lnTo>
                <a:lnTo>
                  <a:pt x="5990661" y="2540351"/>
                </a:lnTo>
                <a:lnTo>
                  <a:pt x="5990228" y="2543383"/>
                </a:lnTo>
                <a:lnTo>
                  <a:pt x="5977206" y="2550096"/>
                </a:lnTo>
                <a:lnTo>
                  <a:pt x="5975794" y="2548255"/>
                </a:lnTo>
                <a:lnTo>
                  <a:pt x="5975686" y="2545873"/>
                </a:lnTo>
                <a:lnTo>
                  <a:pt x="5974710" y="2544682"/>
                </a:lnTo>
                <a:lnTo>
                  <a:pt x="5972864" y="2544682"/>
                </a:lnTo>
                <a:lnTo>
                  <a:pt x="5968849" y="2547930"/>
                </a:lnTo>
                <a:lnTo>
                  <a:pt x="5966245" y="2548255"/>
                </a:lnTo>
                <a:lnTo>
                  <a:pt x="5965269" y="2554643"/>
                </a:lnTo>
                <a:lnTo>
                  <a:pt x="5969067" y="2553127"/>
                </a:lnTo>
                <a:lnTo>
                  <a:pt x="5970369" y="2551503"/>
                </a:lnTo>
                <a:lnTo>
                  <a:pt x="5972540" y="2552477"/>
                </a:lnTo>
                <a:lnTo>
                  <a:pt x="5956262" y="2566986"/>
                </a:lnTo>
                <a:lnTo>
                  <a:pt x="5952138" y="2578246"/>
                </a:lnTo>
                <a:lnTo>
                  <a:pt x="5930760" y="2595461"/>
                </a:lnTo>
                <a:lnTo>
                  <a:pt x="5927505" y="2601524"/>
                </a:lnTo>
                <a:lnTo>
                  <a:pt x="5922622" y="2606505"/>
                </a:lnTo>
                <a:lnTo>
                  <a:pt x="5913615" y="2609536"/>
                </a:lnTo>
                <a:lnTo>
                  <a:pt x="5906887" y="2615166"/>
                </a:lnTo>
                <a:lnTo>
                  <a:pt x="5906127" y="2620146"/>
                </a:lnTo>
                <a:lnTo>
                  <a:pt x="5907103" y="2625777"/>
                </a:lnTo>
                <a:lnTo>
                  <a:pt x="5903088" y="2631515"/>
                </a:lnTo>
                <a:lnTo>
                  <a:pt x="5897446" y="2635088"/>
                </a:lnTo>
                <a:lnTo>
                  <a:pt x="5886811" y="2633464"/>
                </a:lnTo>
                <a:lnTo>
                  <a:pt x="5882145" y="2637470"/>
                </a:lnTo>
                <a:lnTo>
                  <a:pt x="5882145" y="2642558"/>
                </a:lnTo>
                <a:lnTo>
                  <a:pt x="5875634" y="2650895"/>
                </a:lnTo>
                <a:lnTo>
                  <a:pt x="5871944" y="2650462"/>
                </a:lnTo>
                <a:lnTo>
                  <a:pt x="5869448" y="2646889"/>
                </a:lnTo>
                <a:lnTo>
                  <a:pt x="5867495" y="2646889"/>
                </a:lnTo>
                <a:lnTo>
                  <a:pt x="5859465" y="2654793"/>
                </a:lnTo>
                <a:lnTo>
                  <a:pt x="5857186" y="2659124"/>
                </a:lnTo>
                <a:lnTo>
                  <a:pt x="5857295" y="2667569"/>
                </a:lnTo>
                <a:lnTo>
                  <a:pt x="5861309" y="2679370"/>
                </a:lnTo>
                <a:lnTo>
                  <a:pt x="5857512" y="2683701"/>
                </a:lnTo>
                <a:lnTo>
                  <a:pt x="5858271" y="2690198"/>
                </a:lnTo>
                <a:lnTo>
                  <a:pt x="5858271" y="2708604"/>
                </a:lnTo>
                <a:lnTo>
                  <a:pt x="5864240" y="2710553"/>
                </a:lnTo>
                <a:lnTo>
                  <a:pt x="5865108" y="2722354"/>
                </a:lnTo>
                <a:lnTo>
                  <a:pt x="5859682" y="2738053"/>
                </a:lnTo>
                <a:lnTo>
                  <a:pt x="5853496" y="2748988"/>
                </a:lnTo>
                <a:lnTo>
                  <a:pt x="5853496" y="2758191"/>
                </a:lnTo>
                <a:lnTo>
                  <a:pt x="5855884" y="2761873"/>
                </a:lnTo>
                <a:lnTo>
                  <a:pt x="5857729" y="2781686"/>
                </a:lnTo>
                <a:lnTo>
                  <a:pt x="5857729" y="2787100"/>
                </a:lnTo>
                <a:lnTo>
                  <a:pt x="5853171" y="2788832"/>
                </a:lnTo>
                <a:lnTo>
                  <a:pt x="5850675" y="2787641"/>
                </a:lnTo>
                <a:lnTo>
                  <a:pt x="5844381" y="2788615"/>
                </a:lnTo>
                <a:lnTo>
                  <a:pt x="5841668" y="2793379"/>
                </a:lnTo>
                <a:lnTo>
                  <a:pt x="5842862" y="2795328"/>
                </a:lnTo>
                <a:lnTo>
                  <a:pt x="5836676" y="2803448"/>
                </a:lnTo>
                <a:lnTo>
                  <a:pt x="5834506" y="2806156"/>
                </a:lnTo>
                <a:lnTo>
                  <a:pt x="5835266" y="2809295"/>
                </a:lnTo>
                <a:lnTo>
                  <a:pt x="5843079" y="2813193"/>
                </a:lnTo>
                <a:lnTo>
                  <a:pt x="5843948" y="2814601"/>
                </a:lnTo>
                <a:lnTo>
                  <a:pt x="5844055" y="2816333"/>
                </a:lnTo>
                <a:lnTo>
                  <a:pt x="5843079" y="2814168"/>
                </a:lnTo>
                <a:lnTo>
                  <a:pt x="5839389" y="2812760"/>
                </a:lnTo>
                <a:lnTo>
                  <a:pt x="5829080" y="2816333"/>
                </a:lnTo>
                <a:lnTo>
                  <a:pt x="5827452" y="2816117"/>
                </a:lnTo>
                <a:lnTo>
                  <a:pt x="5819205" y="2819797"/>
                </a:lnTo>
                <a:lnTo>
                  <a:pt x="5816493" y="2824020"/>
                </a:lnTo>
                <a:lnTo>
                  <a:pt x="5816058" y="2826619"/>
                </a:lnTo>
                <a:lnTo>
                  <a:pt x="5814973" y="2827701"/>
                </a:lnTo>
                <a:lnTo>
                  <a:pt x="5816058" y="2829433"/>
                </a:lnTo>
                <a:lnTo>
                  <a:pt x="5813888" y="2835821"/>
                </a:lnTo>
                <a:lnTo>
                  <a:pt x="5804556" y="2841560"/>
                </a:lnTo>
                <a:lnTo>
                  <a:pt x="5796742" y="2840802"/>
                </a:lnTo>
                <a:lnTo>
                  <a:pt x="5789472" y="2835821"/>
                </a:lnTo>
                <a:lnTo>
                  <a:pt x="5782418" y="2827485"/>
                </a:lnTo>
                <a:lnTo>
                  <a:pt x="5773954" y="2809836"/>
                </a:lnTo>
                <a:lnTo>
                  <a:pt x="5773412" y="2799876"/>
                </a:lnTo>
                <a:lnTo>
                  <a:pt x="5770915" y="2790889"/>
                </a:lnTo>
                <a:lnTo>
                  <a:pt x="5765489" y="2780928"/>
                </a:lnTo>
                <a:lnTo>
                  <a:pt x="5765489" y="2776489"/>
                </a:lnTo>
                <a:lnTo>
                  <a:pt x="5763427" y="2776273"/>
                </a:lnTo>
                <a:lnTo>
                  <a:pt x="5761149" y="2769560"/>
                </a:lnTo>
                <a:lnTo>
                  <a:pt x="5758978" y="2761440"/>
                </a:lnTo>
                <a:lnTo>
                  <a:pt x="5751925" y="2753320"/>
                </a:lnTo>
                <a:lnTo>
                  <a:pt x="5747692" y="2746714"/>
                </a:lnTo>
                <a:lnTo>
                  <a:pt x="5745956" y="2746498"/>
                </a:lnTo>
                <a:lnTo>
                  <a:pt x="5739446" y="2739569"/>
                </a:lnTo>
                <a:lnTo>
                  <a:pt x="5736515" y="2733506"/>
                </a:lnTo>
                <a:lnTo>
                  <a:pt x="5734345" y="2731449"/>
                </a:lnTo>
                <a:lnTo>
                  <a:pt x="5733585" y="2721596"/>
                </a:lnTo>
                <a:lnTo>
                  <a:pt x="5730872" y="2717482"/>
                </a:lnTo>
                <a:lnTo>
                  <a:pt x="5726749" y="2706547"/>
                </a:lnTo>
                <a:lnTo>
                  <a:pt x="5725555" y="2699184"/>
                </a:lnTo>
                <a:lnTo>
                  <a:pt x="5722951" y="2693987"/>
                </a:lnTo>
                <a:lnTo>
                  <a:pt x="5720455" y="2690198"/>
                </a:lnTo>
                <a:lnTo>
                  <a:pt x="5719912" y="2681536"/>
                </a:lnTo>
                <a:lnTo>
                  <a:pt x="5718393" y="2681103"/>
                </a:lnTo>
                <a:lnTo>
                  <a:pt x="5712317" y="2674066"/>
                </a:lnTo>
                <a:lnTo>
                  <a:pt x="5712317" y="2671358"/>
                </a:lnTo>
                <a:lnTo>
                  <a:pt x="5710689" y="2671034"/>
                </a:lnTo>
                <a:lnTo>
                  <a:pt x="5705045" y="2660964"/>
                </a:lnTo>
                <a:lnTo>
                  <a:pt x="5704829" y="2657825"/>
                </a:lnTo>
                <a:lnTo>
                  <a:pt x="5701790" y="2656092"/>
                </a:lnTo>
                <a:lnTo>
                  <a:pt x="5699945" y="2649055"/>
                </a:lnTo>
                <a:lnTo>
                  <a:pt x="5696039" y="2646456"/>
                </a:lnTo>
                <a:lnTo>
                  <a:pt x="5692240" y="2636279"/>
                </a:lnTo>
                <a:lnTo>
                  <a:pt x="5692024" y="2622854"/>
                </a:lnTo>
                <a:lnTo>
                  <a:pt x="5681931" y="2603256"/>
                </a:lnTo>
                <a:lnTo>
                  <a:pt x="5681931" y="2596760"/>
                </a:lnTo>
                <a:lnTo>
                  <a:pt x="5677374" y="2589831"/>
                </a:lnTo>
                <a:lnTo>
                  <a:pt x="5682582" y="2589506"/>
                </a:lnTo>
                <a:lnTo>
                  <a:pt x="5675529" y="2580520"/>
                </a:lnTo>
                <a:lnTo>
                  <a:pt x="5675747" y="2575431"/>
                </a:lnTo>
                <a:lnTo>
                  <a:pt x="5679002" y="2574673"/>
                </a:lnTo>
                <a:lnTo>
                  <a:pt x="5676506" y="2571208"/>
                </a:lnTo>
                <a:lnTo>
                  <a:pt x="5676072" y="2566986"/>
                </a:lnTo>
                <a:lnTo>
                  <a:pt x="5668910" y="2553993"/>
                </a:lnTo>
                <a:lnTo>
                  <a:pt x="5667824" y="2545765"/>
                </a:lnTo>
                <a:lnTo>
                  <a:pt x="5672165" y="2543708"/>
                </a:lnTo>
                <a:lnTo>
                  <a:pt x="5668367" y="2541433"/>
                </a:lnTo>
                <a:lnTo>
                  <a:pt x="5668150" y="2537320"/>
                </a:lnTo>
                <a:lnTo>
                  <a:pt x="5670754" y="2531906"/>
                </a:lnTo>
                <a:lnTo>
                  <a:pt x="5670212" y="2525085"/>
                </a:lnTo>
                <a:lnTo>
                  <a:pt x="5667933" y="2518156"/>
                </a:lnTo>
                <a:lnTo>
                  <a:pt x="5665220" y="2516423"/>
                </a:lnTo>
                <a:lnTo>
                  <a:pt x="5663158" y="2505163"/>
                </a:lnTo>
                <a:lnTo>
                  <a:pt x="5668259" y="2501915"/>
                </a:lnTo>
                <a:lnTo>
                  <a:pt x="5670104" y="2499317"/>
                </a:lnTo>
                <a:lnTo>
                  <a:pt x="5674010" y="2499317"/>
                </a:lnTo>
                <a:lnTo>
                  <a:pt x="5669886" y="2498342"/>
                </a:lnTo>
                <a:lnTo>
                  <a:pt x="5664243" y="2499208"/>
                </a:lnTo>
                <a:lnTo>
                  <a:pt x="5661205" y="2498992"/>
                </a:lnTo>
                <a:lnTo>
                  <a:pt x="5661856" y="2494444"/>
                </a:lnTo>
                <a:lnTo>
                  <a:pt x="5659577" y="2490546"/>
                </a:lnTo>
                <a:lnTo>
                  <a:pt x="5660336" y="2485891"/>
                </a:lnTo>
                <a:lnTo>
                  <a:pt x="5661639" y="2484917"/>
                </a:lnTo>
                <a:lnTo>
                  <a:pt x="5664786" y="2485566"/>
                </a:lnTo>
                <a:lnTo>
                  <a:pt x="5668692" y="2481668"/>
                </a:lnTo>
                <a:lnTo>
                  <a:pt x="5670646" y="2478637"/>
                </a:lnTo>
                <a:lnTo>
                  <a:pt x="5666414" y="2481127"/>
                </a:lnTo>
                <a:lnTo>
                  <a:pt x="5663484" y="2479828"/>
                </a:lnTo>
                <a:lnTo>
                  <a:pt x="5657732" y="2480586"/>
                </a:lnTo>
                <a:lnTo>
                  <a:pt x="5655997" y="2476688"/>
                </a:lnTo>
                <a:lnTo>
                  <a:pt x="5655345" y="2479611"/>
                </a:lnTo>
                <a:lnTo>
                  <a:pt x="5655020" y="2484484"/>
                </a:lnTo>
                <a:lnTo>
                  <a:pt x="5651547" y="2493578"/>
                </a:lnTo>
                <a:lnTo>
                  <a:pt x="5655128" y="2498017"/>
                </a:lnTo>
                <a:lnTo>
                  <a:pt x="5654260" y="2506462"/>
                </a:lnTo>
                <a:lnTo>
                  <a:pt x="5650571" y="2510252"/>
                </a:lnTo>
                <a:lnTo>
                  <a:pt x="5650462" y="2512850"/>
                </a:lnTo>
                <a:lnTo>
                  <a:pt x="5642323" y="2516965"/>
                </a:lnTo>
                <a:lnTo>
                  <a:pt x="5629952" y="2524652"/>
                </a:lnTo>
                <a:lnTo>
                  <a:pt x="5624201" y="2526601"/>
                </a:lnTo>
                <a:lnTo>
                  <a:pt x="5615520" y="2524760"/>
                </a:lnTo>
                <a:lnTo>
                  <a:pt x="5597180" y="2509927"/>
                </a:lnTo>
                <a:lnTo>
                  <a:pt x="5589584" y="2500074"/>
                </a:lnTo>
                <a:lnTo>
                  <a:pt x="5589476" y="2498342"/>
                </a:lnTo>
                <a:lnTo>
                  <a:pt x="5587196" y="2498559"/>
                </a:lnTo>
                <a:lnTo>
                  <a:pt x="5584050" y="2496827"/>
                </a:lnTo>
                <a:lnTo>
                  <a:pt x="5573523" y="2486324"/>
                </a:lnTo>
                <a:lnTo>
                  <a:pt x="5572656" y="2483076"/>
                </a:lnTo>
                <a:lnTo>
                  <a:pt x="5573523" y="2480478"/>
                </a:lnTo>
                <a:lnTo>
                  <a:pt x="5576454" y="2480153"/>
                </a:lnTo>
                <a:lnTo>
                  <a:pt x="5577322" y="2481668"/>
                </a:lnTo>
                <a:lnTo>
                  <a:pt x="5580143" y="2480803"/>
                </a:lnTo>
                <a:lnTo>
                  <a:pt x="5580143" y="2486107"/>
                </a:lnTo>
                <a:lnTo>
                  <a:pt x="5584050" y="2486541"/>
                </a:lnTo>
                <a:lnTo>
                  <a:pt x="5586654" y="2484267"/>
                </a:lnTo>
                <a:lnTo>
                  <a:pt x="5588173" y="2484050"/>
                </a:lnTo>
                <a:lnTo>
                  <a:pt x="5590886" y="2485674"/>
                </a:lnTo>
                <a:lnTo>
                  <a:pt x="5591320" y="2483834"/>
                </a:lnTo>
                <a:lnTo>
                  <a:pt x="5601195" y="2476146"/>
                </a:lnTo>
                <a:lnTo>
                  <a:pt x="5604125" y="2476038"/>
                </a:lnTo>
                <a:lnTo>
                  <a:pt x="5608791" y="2469001"/>
                </a:lnTo>
                <a:lnTo>
                  <a:pt x="5610202" y="2469326"/>
                </a:lnTo>
                <a:lnTo>
                  <a:pt x="5612047" y="2464670"/>
                </a:lnTo>
                <a:lnTo>
                  <a:pt x="5607272" y="2464345"/>
                </a:lnTo>
                <a:lnTo>
                  <a:pt x="5605753" y="2463587"/>
                </a:lnTo>
                <a:lnTo>
                  <a:pt x="5606513" y="2465103"/>
                </a:lnTo>
                <a:lnTo>
                  <a:pt x="5606078" y="2467160"/>
                </a:lnTo>
                <a:lnTo>
                  <a:pt x="5596204" y="2471383"/>
                </a:lnTo>
                <a:lnTo>
                  <a:pt x="5590343" y="2471383"/>
                </a:lnTo>
                <a:lnTo>
                  <a:pt x="5585894" y="2472899"/>
                </a:lnTo>
                <a:lnTo>
                  <a:pt x="5570268" y="2467485"/>
                </a:lnTo>
                <a:lnTo>
                  <a:pt x="5562889" y="2459798"/>
                </a:lnTo>
                <a:lnTo>
                  <a:pt x="5559850" y="2458282"/>
                </a:lnTo>
                <a:lnTo>
                  <a:pt x="5560176" y="2453410"/>
                </a:lnTo>
                <a:lnTo>
                  <a:pt x="5564842" y="2447347"/>
                </a:lnTo>
                <a:lnTo>
                  <a:pt x="5570159" y="2444424"/>
                </a:lnTo>
                <a:lnTo>
                  <a:pt x="5563431" y="2445506"/>
                </a:lnTo>
                <a:lnTo>
                  <a:pt x="5556812" y="2449728"/>
                </a:lnTo>
                <a:lnTo>
                  <a:pt x="5556812" y="2449729"/>
                </a:lnTo>
                <a:lnTo>
                  <a:pt x="5552905" y="2452219"/>
                </a:lnTo>
                <a:lnTo>
                  <a:pt x="5553449" y="2449296"/>
                </a:lnTo>
                <a:lnTo>
                  <a:pt x="5544984" y="2445182"/>
                </a:lnTo>
                <a:lnTo>
                  <a:pt x="5538147" y="2445290"/>
                </a:lnTo>
                <a:lnTo>
                  <a:pt x="5533807" y="2445723"/>
                </a:lnTo>
                <a:lnTo>
                  <a:pt x="5532179" y="2440634"/>
                </a:lnTo>
                <a:lnTo>
                  <a:pt x="5530225" y="2440634"/>
                </a:lnTo>
                <a:lnTo>
                  <a:pt x="5528706" y="2440093"/>
                </a:lnTo>
                <a:lnTo>
                  <a:pt x="5530551" y="2438794"/>
                </a:lnTo>
                <a:lnTo>
                  <a:pt x="5530768" y="2435545"/>
                </a:lnTo>
                <a:lnTo>
                  <a:pt x="5529792" y="2434679"/>
                </a:lnTo>
                <a:lnTo>
                  <a:pt x="5528489" y="2426234"/>
                </a:lnTo>
                <a:lnTo>
                  <a:pt x="5523172" y="2420171"/>
                </a:lnTo>
                <a:lnTo>
                  <a:pt x="5523281" y="2415299"/>
                </a:lnTo>
                <a:lnTo>
                  <a:pt x="5516227" y="2418439"/>
                </a:lnTo>
                <a:lnTo>
                  <a:pt x="5512212" y="2418439"/>
                </a:lnTo>
                <a:lnTo>
                  <a:pt x="5512212" y="2416706"/>
                </a:lnTo>
                <a:lnTo>
                  <a:pt x="5513405" y="2416165"/>
                </a:lnTo>
                <a:lnTo>
                  <a:pt x="5512646" y="2415407"/>
                </a:lnTo>
                <a:lnTo>
                  <a:pt x="5513405" y="2411509"/>
                </a:lnTo>
                <a:lnTo>
                  <a:pt x="5511344" y="2406204"/>
                </a:lnTo>
                <a:lnTo>
                  <a:pt x="5506352" y="2402198"/>
                </a:lnTo>
                <a:lnTo>
                  <a:pt x="5499190" y="2402415"/>
                </a:lnTo>
                <a:lnTo>
                  <a:pt x="5493439" y="2404580"/>
                </a:lnTo>
                <a:lnTo>
                  <a:pt x="5486602" y="2403606"/>
                </a:lnTo>
                <a:lnTo>
                  <a:pt x="5484757" y="2402198"/>
                </a:lnTo>
                <a:lnTo>
                  <a:pt x="5483997" y="2403931"/>
                </a:lnTo>
                <a:lnTo>
                  <a:pt x="5480200" y="2403931"/>
                </a:lnTo>
                <a:lnTo>
                  <a:pt x="5476618" y="2406313"/>
                </a:lnTo>
                <a:lnTo>
                  <a:pt x="5472820" y="2405230"/>
                </a:lnTo>
                <a:lnTo>
                  <a:pt x="5466526" y="2405230"/>
                </a:lnTo>
                <a:lnTo>
                  <a:pt x="5461100" y="2410427"/>
                </a:lnTo>
                <a:lnTo>
                  <a:pt x="5457302" y="2410427"/>
                </a:lnTo>
                <a:lnTo>
                  <a:pt x="5454047" y="2408153"/>
                </a:lnTo>
                <a:lnTo>
                  <a:pt x="5450249" y="2408153"/>
                </a:lnTo>
                <a:lnTo>
                  <a:pt x="5448838" y="2405446"/>
                </a:lnTo>
                <a:lnTo>
                  <a:pt x="5446234" y="2404905"/>
                </a:lnTo>
                <a:lnTo>
                  <a:pt x="5445691" y="2406854"/>
                </a:lnTo>
                <a:lnTo>
                  <a:pt x="5442435" y="2406854"/>
                </a:lnTo>
                <a:lnTo>
                  <a:pt x="5437769" y="2403822"/>
                </a:lnTo>
                <a:lnTo>
                  <a:pt x="5435816" y="2406313"/>
                </a:lnTo>
                <a:lnTo>
                  <a:pt x="5435274" y="2408911"/>
                </a:lnTo>
                <a:lnTo>
                  <a:pt x="5432560" y="2408911"/>
                </a:lnTo>
                <a:lnTo>
                  <a:pt x="5429631" y="2408478"/>
                </a:lnTo>
                <a:lnTo>
                  <a:pt x="5425615" y="2409560"/>
                </a:lnTo>
                <a:lnTo>
                  <a:pt x="5423228" y="2408911"/>
                </a:lnTo>
                <a:lnTo>
                  <a:pt x="5418019" y="2408478"/>
                </a:lnTo>
                <a:lnTo>
                  <a:pt x="5414547" y="2411401"/>
                </a:lnTo>
                <a:lnTo>
                  <a:pt x="5412594" y="2412051"/>
                </a:lnTo>
                <a:lnTo>
                  <a:pt x="5412268" y="2409994"/>
                </a:lnTo>
                <a:lnTo>
                  <a:pt x="5406842" y="2410319"/>
                </a:lnTo>
                <a:lnTo>
                  <a:pt x="5399897" y="2414433"/>
                </a:lnTo>
                <a:lnTo>
                  <a:pt x="5397727" y="2413566"/>
                </a:lnTo>
                <a:lnTo>
                  <a:pt x="5397944" y="2410102"/>
                </a:lnTo>
                <a:lnTo>
                  <a:pt x="5395122" y="2410102"/>
                </a:lnTo>
                <a:lnTo>
                  <a:pt x="5395122" y="2406313"/>
                </a:lnTo>
                <a:lnTo>
                  <a:pt x="5396099" y="2397868"/>
                </a:lnTo>
                <a:lnTo>
                  <a:pt x="5393820" y="2392021"/>
                </a:lnTo>
                <a:lnTo>
                  <a:pt x="5397494" y="2387062"/>
                </a:lnTo>
                <a:lnTo>
                  <a:pt x="5393819" y="2392022"/>
                </a:lnTo>
                <a:lnTo>
                  <a:pt x="5396098" y="2397868"/>
                </a:lnTo>
                <a:lnTo>
                  <a:pt x="5395121" y="2406314"/>
                </a:lnTo>
                <a:lnTo>
                  <a:pt x="5395121" y="2410103"/>
                </a:lnTo>
                <a:lnTo>
                  <a:pt x="5393819" y="2410103"/>
                </a:lnTo>
                <a:lnTo>
                  <a:pt x="5392735" y="2412052"/>
                </a:lnTo>
                <a:lnTo>
                  <a:pt x="5389153" y="2414109"/>
                </a:lnTo>
                <a:lnTo>
                  <a:pt x="5381123" y="2411186"/>
                </a:lnTo>
                <a:lnTo>
                  <a:pt x="5375154" y="2409020"/>
                </a:lnTo>
                <a:lnTo>
                  <a:pt x="5372876" y="2404906"/>
                </a:lnTo>
                <a:lnTo>
                  <a:pt x="5369728" y="2405447"/>
                </a:lnTo>
                <a:lnTo>
                  <a:pt x="5368643" y="2409562"/>
                </a:lnTo>
                <a:lnTo>
                  <a:pt x="5367233" y="2409778"/>
                </a:lnTo>
                <a:lnTo>
                  <a:pt x="5363760" y="2406855"/>
                </a:lnTo>
                <a:lnTo>
                  <a:pt x="5361590" y="2407613"/>
                </a:lnTo>
                <a:lnTo>
                  <a:pt x="5357466" y="2406206"/>
                </a:lnTo>
                <a:lnTo>
                  <a:pt x="5346940" y="2405772"/>
                </a:lnTo>
                <a:lnTo>
                  <a:pt x="5339561" y="2402524"/>
                </a:lnTo>
                <a:lnTo>
                  <a:pt x="5326322" y="2403498"/>
                </a:lnTo>
                <a:lnTo>
                  <a:pt x="5320028" y="2397544"/>
                </a:lnTo>
                <a:lnTo>
                  <a:pt x="5318075" y="2397327"/>
                </a:lnTo>
                <a:lnTo>
                  <a:pt x="5312431" y="2401983"/>
                </a:lnTo>
                <a:lnTo>
                  <a:pt x="5307874" y="2398518"/>
                </a:lnTo>
                <a:lnTo>
                  <a:pt x="5302665" y="2398735"/>
                </a:lnTo>
                <a:lnTo>
                  <a:pt x="5289969" y="2398951"/>
                </a:lnTo>
                <a:lnTo>
                  <a:pt x="5289100" y="2396461"/>
                </a:lnTo>
                <a:lnTo>
                  <a:pt x="5286388" y="2394621"/>
                </a:lnTo>
                <a:lnTo>
                  <a:pt x="5286062" y="2388233"/>
                </a:lnTo>
                <a:lnTo>
                  <a:pt x="5281287" y="2379246"/>
                </a:lnTo>
                <a:lnTo>
                  <a:pt x="5278791" y="2370584"/>
                </a:lnTo>
                <a:lnTo>
                  <a:pt x="5274451" y="2364521"/>
                </a:lnTo>
                <a:lnTo>
                  <a:pt x="5273908" y="2361923"/>
                </a:lnTo>
                <a:lnTo>
                  <a:pt x="5271738" y="2362139"/>
                </a:lnTo>
                <a:lnTo>
                  <a:pt x="5271738" y="2360515"/>
                </a:lnTo>
                <a:lnTo>
                  <a:pt x="5263599" y="2359432"/>
                </a:lnTo>
                <a:lnTo>
                  <a:pt x="5258716" y="2360840"/>
                </a:lnTo>
                <a:lnTo>
                  <a:pt x="5252313" y="2365604"/>
                </a:lnTo>
                <a:lnTo>
                  <a:pt x="5247430" y="2365712"/>
                </a:lnTo>
                <a:lnTo>
                  <a:pt x="5246887" y="2363547"/>
                </a:lnTo>
                <a:lnTo>
                  <a:pt x="5246779" y="2366254"/>
                </a:lnTo>
                <a:lnTo>
                  <a:pt x="5236796" y="2372425"/>
                </a:lnTo>
                <a:lnTo>
                  <a:pt x="5228440" y="2379246"/>
                </a:lnTo>
                <a:lnTo>
                  <a:pt x="5219108" y="2372966"/>
                </a:lnTo>
                <a:lnTo>
                  <a:pt x="5211077" y="2371017"/>
                </a:lnTo>
                <a:lnTo>
                  <a:pt x="5205326" y="2371884"/>
                </a:lnTo>
                <a:lnTo>
                  <a:pt x="5202938" y="2373183"/>
                </a:lnTo>
                <a:lnTo>
                  <a:pt x="5194692" y="2365712"/>
                </a:lnTo>
                <a:lnTo>
                  <a:pt x="5190676" y="2365171"/>
                </a:lnTo>
                <a:lnTo>
                  <a:pt x="5186878" y="2362681"/>
                </a:lnTo>
                <a:lnTo>
                  <a:pt x="5181234" y="2361382"/>
                </a:lnTo>
                <a:lnTo>
                  <a:pt x="5174182" y="2354019"/>
                </a:lnTo>
                <a:lnTo>
                  <a:pt x="5177111" y="2351529"/>
                </a:lnTo>
                <a:lnTo>
                  <a:pt x="5176352" y="2349364"/>
                </a:lnTo>
                <a:lnTo>
                  <a:pt x="5171902" y="2348930"/>
                </a:lnTo>
                <a:lnTo>
                  <a:pt x="5170817" y="2347307"/>
                </a:lnTo>
                <a:lnTo>
                  <a:pt x="5163221" y="2346981"/>
                </a:lnTo>
                <a:lnTo>
                  <a:pt x="5160725" y="2344275"/>
                </a:lnTo>
                <a:lnTo>
                  <a:pt x="5154540" y="2342326"/>
                </a:lnTo>
                <a:lnTo>
                  <a:pt x="5145858" y="2343192"/>
                </a:lnTo>
                <a:lnTo>
                  <a:pt x="5140975" y="2340269"/>
                </a:lnTo>
                <a:lnTo>
                  <a:pt x="5133705" y="2324244"/>
                </a:lnTo>
                <a:lnTo>
                  <a:pt x="5132837" y="2320455"/>
                </a:lnTo>
                <a:lnTo>
                  <a:pt x="5130666" y="2321213"/>
                </a:lnTo>
                <a:lnTo>
                  <a:pt x="5126326" y="2317532"/>
                </a:lnTo>
                <a:lnTo>
                  <a:pt x="5127411" y="2316341"/>
                </a:lnTo>
                <a:lnTo>
                  <a:pt x="5129038" y="2317424"/>
                </a:lnTo>
                <a:lnTo>
                  <a:pt x="5130883" y="2317424"/>
                </a:lnTo>
                <a:lnTo>
                  <a:pt x="5128279" y="2313093"/>
                </a:lnTo>
                <a:lnTo>
                  <a:pt x="5124698" y="2313634"/>
                </a:lnTo>
                <a:lnTo>
                  <a:pt x="5122201" y="2312010"/>
                </a:lnTo>
                <a:lnTo>
                  <a:pt x="5121442" y="2304540"/>
                </a:lnTo>
                <a:lnTo>
                  <a:pt x="5112760" y="2294145"/>
                </a:lnTo>
                <a:lnTo>
                  <a:pt x="5112218" y="2289598"/>
                </a:lnTo>
                <a:lnTo>
                  <a:pt x="5107118" y="2282885"/>
                </a:lnTo>
                <a:lnTo>
                  <a:pt x="5104622" y="2281694"/>
                </a:lnTo>
                <a:lnTo>
                  <a:pt x="5097134" y="2287757"/>
                </a:lnTo>
                <a:lnTo>
                  <a:pt x="5094855" y="2287649"/>
                </a:lnTo>
                <a:lnTo>
                  <a:pt x="5092468" y="2283318"/>
                </a:lnTo>
                <a:lnTo>
                  <a:pt x="5090297" y="2284184"/>
                </a:lnTo>
                <a:lnTo>
                  <a:pt x="5084872" y="2281694"/>
                </a:lnTo>
                <a:lnTo>
                  <a:pt x="5085631" y="2278987"/>
                </a:lnTo>
                <a:lnTo>
                  <a:pt x="5086500" y="2276281"/>
                </a:lnTo>
                <a:lnTo>
                  <a:pt x="5085306" y="2277688"/>
                </a:lnTo>
                <a:lnTo>
                  <a:pt x="5082051" y="2277904"/>
                </a:lnTo>
                <a:lnTo>
                  <a:pt x="5079120" y="2277472"/>
                </a:lnTo>
                <a:lnTo>
                  <a:pt x="5082702" y="2280395"/>
                </a:lnTo>
                <a:lnTo>
                  <a:pt x="5082593" y="2284942"/>
                </a:lnTo>
                <a:lnTo>
                  <a:pt x="5079880" y="2287216"/>
                </a:lnTo>
                <a:lnTo>
                  <a:pt x="5076950" y="2287432"/>
                </a:lnTo>
                <a:lnTo>
                  <a:pt x="5073369" y="2282777"/>
                </a:lnTo>
                <a:lnTo>
                  <a:pt x="5073477" y="2281261"/>
                </a:lnTo>
                <a:lnTo>
                  <a:pt x="5071307" y="2282235"/>
                </a:lnTo>
                <a:lnTo>
                  <a:pt x="5069571" y="2280720"/>
                </a:lnTo>
                <a:lnTo>
                  <a:pt x="5066280" y="2279393"/>
                </a:lnTo>
                <a:lnTo>
                  <a:pt x="5069571" y="2280720"/>
                </a:lnTo>
                <a:lnTo>
                  <a:pt x="5071307" y="2282236"/>
                </a:lnTo>
                <a:lnTo>
                  <a:pt x="5068812" y="2283318"/>
                </a:lnTo>
                <a:lnTo>
                  <a:pt x="5066316" y="2288839"/>
                </a:lnTo>
                <a:lnTo>
                  <a:pt x="5066317" y="2288840"/>
                </a:lnTo>
                <a:lnTo>
                  <a:pt x="5065774" y="2290139"/>
                </a:lnTo>
                <a:lnTo>
                  <a:pt x="5068053" y="2300750"/>
                </a:lnTo>
                <a:lnTo>
                  <a:pt x="5054272" y="2303456"/>
                </a:lnTo>
                <a:lnTo>
                  <a:pt x="5063713" y="2309628"/>
                </a:lnTo>
                <a:lnTo>
                  <a:pt x="5064798" y="2307462"/>
                </a:lnTo>
                <a:lnTo>
                  <a:pt x="5066426" y="2311035"/>
                </a:lnTo>
                <a:lnTo>
                  <a:pt x="5066642" y="2315041"/>
                </a:lnTo>
                <a:lnTo>
                  <a:pt x="5069355" y="2318073"/>
                </a:lnTo>
                <a:lnTo>
                  <a:pt x="5068487" y="2318073"/>
                </a:lnTo>
                <a:lnTo>
                  <a:pt x="5067511" y="2318615"/>
                </a:lnTo>
                <a:lnTo>
                  <a:pt x="5070006" y="2321755"/>
                </a:lnTo>
                <a:lnTo>
                  <a:pt x="5070006" y="2321755"/>
                </a:lnTo>
                <a:lnTo>
                  <a:pt x="5071850" y="2324027"/>
                </a:lnTo>
                <a:lnTo>
                  <a:pt x="5073478" y="2323162"/>
                </a:lnTo>
                <a:lnTo>
                  <a:pt x="5073478" y="2327168"/>
                </a:lnTo>
                <a:lnTo>
                  <a:pt x="5076625" y="2328791"/>
                </a:lnTo>
                <a:lnTo>
                  <a:pt x="5079121" y="2334530"/>
                </a:lnTo>
                <a:lnTo>
                  <a:pt x="5083679" y="2346656"/>
                </a:lnTo>
                <a:lnTo>
                  <a:pt x="5091708" y="2348605"/>
                </a:lnTo>
                <a:lnTo>
                  <a:pt x="5095724" y="2349363"/>
                </a:lnTo>
                <a:lnTo>
                  <a:pt x="5097786" y="2352178"/>
                </a:lnTo>
                <a:lnTo>
                  <a:pt x="5095724" y="2350987"/>
                </a:lnTo>
                <a:lnTo>
                  <a:pt x="5094313" y="2351312"/>
                </a:lnTo>
                <a:lnTo>
                  <a:pt x="5093988" y="2352935"/>
                </a:lnTo>
                <a:lnTo>
                  <a:pt x="5097352" y="2356725"/>
                </a:lnTo>
                <a:lnTo>
                  <a:pt x="5100281" y="2356942"/>
                </a:lnTo>
                <a:lnTo>
                  <a:pt x="5107986" y="2368094"/>
                </a:lnTo>
                <a:lnTo>
                  <a:pt x="5110265" y="2368094"/>
                </a:lnTo>
                <a:lnTo>
                  <a:pt x="5113304" y="2372749"/>
                </a:lnTo>
                <a:lnTo>
                  <a:pt x="5113304" y="2375456"/>
                </a:lnTo>
                <a:lnTo>
                  <a:pt x="5117644" y="2387041"/>
                </a:lnTo>
                <a:lnTo>
                  <a:pt x="5117644" y="2389747"/>
                </a:lnTo>
                <a:lnTo>
                  <a:pt x="5114931" y="2388990"/>
                </a:lnTo>
                <a:lnTo>
                  <a:pt x="5117970" y="2394836"/>
                </a:lnTo>
                <a:lnTo>
                  <a:pt x="5130124" y="2409994"/>
                </a:lnTo>
                <a:lnTo>
                  <a:pt x="5131209" y="2416057"/>
                </a:lnTo>
                <a:lnTo>
                  <a:pt x="5135224" y="2421687"/>
                </a:lnTo>
                <a:lnTo>
                  <a:pt x="5136526" y="2420822"/>
                </a:lnTo>
                <a:lnTo>
                  <a:pt x="5136526" y="2420822"/>
                </a:lnTo>
                <a:lnTo>
                  <a:pt x="5137720" y="2420063"/>
                </a:lnTo>
                <a:lnTo>
                  <a:pt x="5137720" y="2415192"/>
                </a:lnTo>
                <a:lnTo>
                  <a:pt x="5136092" y="2413243"/>
                </a:lnTo>
                <a:lnTo>
                  <a:pt x="5135007" y="2409778"/>
                </a:lnTo>
                <a:lnTo>
                  <a:pt x="5135766" y="2402524"/>
                </a:lnTo>
                <a:lnTo>
                  <a:pt x="5137720" y="2402524"/>
                </a:lnTo>
                <a:lnTo>
                  <a:pt x="5138913" y="2403498"/>
                </a:lnTo>
                <a:lnTo>
                  <a:pt x="5137720" y="2396245"/>
                </a:lnTo>
                <a:lnTo>
                  <a:pt x="5138805" y="2396245"/>
                </a:lnTo>
                <a:lnTo>
                  <a:pt x="5137937" y="2392455"/>
                </a:lnTo>
                <a:lnTo>
                  <a:pt x="5139565" y="2391156"/>
                </a:lnTo>
                <a:lnTo>
                  <a:pt x="5139565" y="2389207"/>
                </a:lnTo>
                <a:lnTo>
                  <a:pt x="5141301" y="2388990"/>
                </a:lnTo>
                <a:lnTo>
                  <a:pt x="5142060" y="2386825"/>
                </a:lnTo>
                <a:lnTo>
                  <a:pt x="5143905" y="2386825"/>
                </a:lnTo>
                <a:lnTo>
                  <a:pt x="5148029" y="2390073"/>
                </a:lnTo>
                <a:lnTo>
                  <a:pt x="5148354" y="2392672"/>
                </a:lnTo>
                <a:lnTo>
                  <a:pt x="5150416" y="2392672"/>
                </a:lnTo>
                <a:lnTo>
                  <a:pt x="5151284" y="2394187"/>
                </a:lnTo>
                <a:lnTo>
                  <a:pt x="5149656" y="2401983"/>
                </a:lnTo>
                <a:lnTo>
                  <a:pt x="5148571" y="2401983"/>
                </a:lnTo>
                <a:lnTo>
                  <a:pt x="5149439" y="2410103"/>
                </a:lnTo>
                <a:lnTo>
                  <a:pt x="5151067" y="2410103"/>
                </a:lnTo>
                <a:lnTo>
                  <a:pt x="5153672" y="2414867"/>
                </a:lnTo>
                <a:lnTo>
                  <a:pt x="5151827" y="2426560"/>
                </a:lnTo>
                <a:lnTo>
                  <a:pt x="5149114" y="2427101"/>
                </a:lnTo>
                <a:lnTo>
                  <a:pt x="5149223" y="2427210"/>
                </a:lnTo>
                <a:lnTo>
                  <a:pt x="5149222" y="2427210"/>
                </a:lnTo>
                <a:lnTo>
                  <a:pt x="5149874" y="2428400"/>
                </a:lnTo>
                <a:lnTo>
                  <a:pt x="5153780" y="2427967"/>
                </a:lnTo>
                <a:lnTo>
                  <a:pt x="5151610" y="2430674"/>
                </a:lnTo>
                <a:lnTo>
                  <a:pt x="5151502" y="2433056"/>
                </a:lnTo>
                <a:lnTo>
                  <a:pt x="5153672" y="2436846"/>
                </a:lnTo>
                <a:lnTo>
                  <a:pt x="5154865" y="2436304"/>
                </a:lnTo>
                <a:lnTo>
                  <a:pt x="5155083" y="2436412"/>
                </a:lnTo>
                <a:lnTo>
                  <a:pt x="5155083" y="2436412"/>
                </a:lnTo>
                <a:lnTo>
                  <a:pt x="5156928" y="2437602"/>
                </a:lnTo>
                <a:lnTo>
                  <a:pt x="5158881" y="2435437"/>
                </a:lnTo>
                <a:lnTo>
                  <a:pt x="5160292" y="2446265"/>
                </a:lnTo>
                <a:lnTo>
                  <a:pt x="5164090" y="2444532"/>
                </a:lnTo>
                <a:lnTo>
                  <a:pt x="5167670" y="2444965"/>
                </a:lnTo>
                <a:lnTo>
                  <a:pt x="5171468" y="2446047"/>
                </a:lnTo>
                <a:lnTo>
                  <a:pt x="5181235" y="2438469"/>
                </a:lnTo>
                <a:lnTo>
                  <a:pt x="5189374" y="2440310"/>
                </a:lnTo>
                <a:lnTo>
                  <a:pt x="5192846" y="2439551"/>
                </a:lnTo>
                <a:lnTo>
                  <a:pt x="5194909" y="2440634"/>
                </a:lnTo>
                <a:lnTo>
                  <a:pt x="5199575" y="2440310"/>
                </a:lnTo>
                <a:lnTo>
                  <a:pt x="5201745" y="2443016"/>
                </a:lnTo>
                <a:lnTo>
                  <a:pt x="5206845" y="2442475"/>
                </a:lnTo>
                <a:lnTo>
                  <a:pt x="5213790" y="2441176"/>
                </a:lnTo>
                <a:lnTo>
                  <a:pt x="5214984" y="2439010"/>
                </a:lnTo>
                <a:lnTo>
                  <a:pt x="5216395" y="2438685"/>
                </a:lnTo>
                <a:lnTo>
                  <a:pt x="5216069" y="2434896"/>
                </a:lnTo>
                <a:lnTo>
                  <a:pt x="5219108" y="2434896"/>
                </a:lnTo>
                <a:lnTo>
                  <a:pt x="5221061" y="2433380"/>
                </a:lnTo>
                <a:lnTo>
                  <a:pt x="5223231" y="2436412"/>
                </a:lnTo>
                <a:lnTo>
                  <a:pt x="5229416" y="2430024"/>
                </a:lnTo>
                <a:lnTo>
                  <a:pt x="5228115" y="2427100"/>
                </a:lnTo>
                <a:lnTo>
                  <a:pt x="5226162" y="2426343"/>
                </a:lnTo>
                <a:lnTo>
                  <a:pt x="5228331" y="2422878"/>
                </a:lnTo>
                <a:lnTo>
                  <a:pt x="5242113" y="2411185"/>
                </a:lnTo>
                <a:lnTo>
                  <a:pt x="5242113" y="2404688"/>
                </a:lnTo>
                <a:lnTo>
                  <a:pt x="5256871" y="2395811"/>
                </a:lnTo>
                <a:lnTo>
                  <a:pt x="5258282" y="2393429"/>
                </a:lnTo>
                <a:lnTo>
                  <a:pt x="5258282" y="2389964"/>
                </a:lnTo>
                <a:lnTo>
                  <a:pt x="5258391" y="2387907"/>
                </a:lnTo>
                <a:lnTo>
                  <a:pt x="5259150" y="2385633"/>
                </a:lnTo>
                <a:lnTo>
                  <a:pt x="5260452" y="2387149"/>
                </a:lnTo>
                <a:lnTo>
                  <a:pt x="5261646" y="2385633"/>
                </a:lnTo>
                <a:lnTo>
                  <a:pt x="5262732" y="2379137"/>
                </a:lnTo>
                <a:lnTo>
                  <a:pt x="5264793" y="2379354"/>
                </a:lnTo>
                <a:lnTo>
                  <a:pt x="5266421" y="2378921"/>
                </a:lnTo>
                <a:lnTo>
                  <a:pt x="5267506" y="2380653"/>
                </a:lnTo>
                <a:lnTo>
                  <a:pt x="5266530" y="2380545"/>
                </a:lnTo>
                <a:lnTo>
                  <a:pt x="5265553" y="2381303"/>
                </a:lnTo>
                <a:lnTo>
                  <a:pt x="5266746" y="2382710"/>
                </a:lnTo>
                <a:lnTo>
                  <a:pt x="5265770" y="2385417"/>
                </a:lnTo>
                <a:lnTo>
                  <a:pt x="5266963" y="2386067"/>
                </a:lnTo>
                <a:lnTo>
                  <a:pt x="5266313" y="2392779"/>
                </a:lnTo>
                <a:lnTo>
                  <a:pt x="5264359" y="2396569"/>
                </a:lnTo>
                <a:lnTo>
                  <a:pt x="5264142" y="2399492"/>
                </a:lnTo>
                <a:lnTo>
                  <a:pt x="5264142" y="2400250"/>
                </a:lnTo>
                <a:lnTo>
                  <a:pt x="5265335" y="2401332"/>
                </a:lnTo>
                <a:lnTo>
                  <a:pt x="5267615" y="2400574"/>
                </a:lnTo>
                <a:lnTo>
                  <a:pt x="5268265" y="2403823"/>
                </a:lnTo>
                <a:lnTo>
                  <a:pt x="5268808" y="2409778"/>
                </a:lnTo>
                <a:lnTo>
                  <a:pt x="5264142" y="2410427"/>
                </a:lnTo>
                <a:lnTo>
                  <a:pt x="5263491" y="2412441"/>
                </a:lnTo>
                <a:lnTo>
                  <a:pt x="5264143" y="2410427"/>
                </a:lnTo>
                <a:lnTo>
                  <a:pt x="5268809" y="2409778"/>
                </a:lnTo>
                <a:lnTo>
                  <a:pt x="5270111" y="2424070"/>
                </a:lnTo>
                <a:lnTo>
                  <a:pt x="5278033" y="2433706"/>
                </a:lnTo>
                <a:lnTo>
                  <a:pt x="5278793" y="2437062"/>
                </a:lnTo>
                <a:lnTo>
                  <a:pt x="5292140" y="2448214"/>
                </a:lnTo>
                <a:lnTo>
                  <a:pt x="5298109" y="2449838"/>
                </a:lnTo>
                <a:lnTo>
                  <a:pt x="5301255" y="2448430"/>
                </a:lnTo>
                <a:lnTo>
                  <a:pt x="5305705" y="2448214"/>
                </a:lnTo>
                <a:lnTo>
                  <a:pt x="5316448" y="2450163"/>
                </a:lnTo>
                <a:lnTo>
                  <a:pt x="5322308" y="2448972"/>
                </a:lnTo>
                <a:lnTo>
                  <a:pt x="5325563" y="2449080"/>
                </a:lnTo>
                <a:lnTo>
                  <a:pt x="5332291" y="2457958"/>
                </a:lnTo>
                <a:lnTo>
                  <a:pt x="5334136" y="2464130"/>
                </a:lnTo>
                <a:lnTo>
                  <a:pt x="5338260" y="2467919"/>
                </a:lnTo>
                <a:lnTo>
                  <a:pt x="5340430" y="2472250"/>
                </a:lnTo>
                <a:lnTo>
                  <a:pt x="5349329" y="2479396"/>
                </a:lnTo>
                <a:lnTo>
                  <a:pt x="5353669" y="2480154"/>
                </a:lnTo>
                <a:lnTo>
                  <a:pt x="5355189" y="2481886"/>
                </a:lnTo>
                <a:lnTo>
                  <a:pt x="5354972" y="2486542"/>
                </a:lnTo>
                <a:lnTo>
                  <a:pt x="5352041" y="2491738"/>
                </a:lnTo>
                <a:lnTo>
                  <a:pt x="5352476" y="2494770"/>
                </a:lnTo>
                <a:lnTo>
                  <a:pt x="5351608" y="2498343"/>
                </a:lnTo>
                <a:lnTo>
                  <a:pt x="5342818" y="2512418"/>
                </a:lnTo>
                <a:lnTo>
                  <a:pt x="5336957" y="2517615"/>
                </a:lnTo>
                <a:lnTo>
                  <a:pt x="5334353" y="2523245"/>
                </a:lnTo>
                <a:lnTo>
                  <a:pt x="5331532" y="2525627"/>
                </a:lnTo>
                <a:lnTo>
                  <a:pt x="5328819" y="2534722"/>
                </a:lnTo>
                <a:lnTo>
                  <a:pt x="5326106" y="2534505"/>
                </a:lnTo>
                <a:lnTo>
                  <a:pt x="5323502" y="2533098"/>
                </a:lnTo>
                <a:lnTo>
                  <a:pt x="5324044" y="2530499"/>
                </a:lnTo>
                <a:lnTo>
                  <a:pt x="5325130" y="2528117"/>
                </a:lnTo>
                <a:lnTo>
                  <a:pt x="5322959" y="2527360"/>
                </a:lnTo>
                <a:lnTo>
                  <a:pt x="5320680" y="2529200"/>
                </a:lnTo>
                <a:lnTo>
                  <a:pt x="5317751" y="2534505"/>
                </a:lnTo>
                <a:lnTo>
                  <a:pt x="5316665" y="2534722"/>
                </a:lnTo>
                <a:lnTo>
                  <a:pt x="5318401" y="2537754"/>
                </a:lnTo>
                <a:lnTo>
                  <a:pt x="5315580" y="2538511"/>
                </a:lnTo>
                <a:lnTo>
                  <a:pt x="5311565" y="2546199"/>
                </a:lnTo>
                <a:lnTo>
                  <a:pt x="5311565" y="2550313"/>
                </a:lnTo>
                <a:lnTo>
                  <a:pt x="5310046" y="2554102"/>
                </a:lnTo>
                <a:lnTo>
                  <a:pt x="5311022" y="2554427"/>
                </a:lnTo>
                <a:lnTo>
                  <a:pt x="5313301" y="2558758"/>
                </a:lnTo>
                <a:lnTo>
                  <a:pt x="5311890" y="2558974"/>
                </a:lnTo>
                <a:lnTo>
                  <a:pt x="5314929" y="2567528"/>
                </a:lnTo>
                <a:lnTo>
                  <a:pt x="5316882" y="2569368"/>
                </a:lnTo>
                <a:lnTo>
                  <a:pt x="5316014" y="2571750"/>
                </a:lnTo>
                <a:lnTo>
                  <a:pt x="5304077" y="2572725"/>
                </a:lnTo>
                <a:lnTo>
                  <a:pt x="5301581" y="2574349"/>
                </a:lnTo>
                <a:lnTo>
                  <a:pt x="5298326" y="2572833"/>
                </a:lnTo>
                <a:lnTo>
                  <a:pt x="5292900" y="2574241"/>
                </a:lnTo>
                <a:lnTo>
                  <a:pt x="5284110" y="2584851"/>
                </a:lnTo>
                <a:lnTo>
                  <a:pt x="5284110" y="2592214"/>
                </a:lnTo>
                <a:lnTo>
                  <a:pt x="5281940" y="2594163"/>
                </a:lnTo>
                <a:lnTo>
                  <a:pt x="5277490" y="2598818"/>
                </a:lnTo>
                <a:lnTo>
                  <a:pt x="5274561" y="2597627"/>
                </a:lnTo>
                <a:lnTo>
                  <a:pt x="5268592" y="2598602"/>
                </a:lnTo>
                <a:lnTo>
                  <a:pt x="5260345" y="2598385"/>
                </a:lnTo>
                <a:lnTo>
                  <a:pt x="5258174" y="2600659"/>
                </a:lnTo>
                <a:lnTo>
                  <a:pt x="5254811" y="2604015"/>
                </a:lnTo>
                <a:lnTo>
                  <a:pt x="5255461" y="2606289"/>
                </a:lnTo>
                <a:lnTo>
                  <a:pt x="5255028" y="2609320"/>
                </a:lnTo>
                <a:lnTo>
                  <a:pt x="5257306" y="2610512"/>
                </a:lnTo>
                <a:lnTo>
                  <a:pt x="5256981" y="2613326"/>
                </a:lnTo>
                <a:lnTo>
                  <a:pt x="5255787" y="2613651"/>
                </a:lnTo>
                <a:lnTo>
                  <a:pt x="5256112" y="2614626"/>
                </a:lnTo>
                <a:lnTo>
                  <a:pt x="5250361" y="2623179"/>
                </a:lnTo>
                <a:lnTo>
                  <a:pt x="5247431" y="2623395"/>
                </a:lnTo>
                <a:lnTo>
                  <a:pt x="5243633" y="2621122"/>
                </a:lnTo>
                <a:lnTo>
                  <a:pt x="5239618" y="2621879"/>
                </a:lnTo>
                <a:lnTo>
                  <a:pt x="5234843" y="2621555"/>
                </a:lnTo>
                <a:lnTo>
                  <a:pt x="5226379" y="2626102"/>
                </a:lnTo>
                <a:lnTo>
                  <a:pt x="5221062" y="2625994"/>
                </a:lnTo>
                <a:lnTo>
                  <a:pt x="5218023" y="2630975"/>
                </a:lnTo>
                <a:lnTo>
                  <a:pt x="5213357" y="2630975"/>
                </a:lnTo>
                <a:lnTo>
                  <a:pt x="5212055" y="2630108"/>
                </a:lnTo>
                <a:lnTo>
                  <a:pt x="5208799" y="2630866"/>
                </a:lnTo>
                <a:lnTo>
                  <a:pt x="5203482" y="2632273"/>
                </a:lnTo>
                <a:lnTo>
                  <a:pt x="5194367" y="2634222"/>
                </a:lnTo>
                <a:lnTo>
                  <a:pt x="5186228" y="2644183"/>
                </a:lnTo>
                <a:lnTo>
                  <a:pt x="5185468" y="2650138"/>
                </a:lnTo>
                <a:lnTo>
                  <a:pt x="5187422" y="2652087"/>
                </a:lnTo>
                <a:lnTo>
                  <a:pt x="5186662" y="2653495"/>
                </a:lnTo>
                <a:lnTo>
                  <a:pt x="5187638" y="2656201"/>
                </a:lnTo>
                <a:lnTo>
                  <a:pt x="5177329" y="2658367"/>
                </a:lnTo>
                <a:lnTo>
                  <a:pt x="5172663" y="2662806"/>
                </a:lnTo>
                <a:lnTo>
                  <a:pt x="5163222" y="2667461"/>
                </a:lnTo>
                <a:lnTo>
                  <a:pt x="5148355" y="2670168"/>
                </a:lnTo>
                <a:lnTo>
                  <a:pt x="5146077" y="2672658"/>
                </a:lnTo>
                <a:lnTo>
                  <a:pt x="5119707" y="2680454"/>
                </a:lnTo>
                <a:lnTo>
                  <a:pt x="5117102" y="2680129"/>
                </a:lnTo>
                <a:lnTo>
                  <a:pt x="5112653" y="2682403"/>
                </a:lnTo>
                <a:lnTo>
                  <a:pt x="5107770" y="2690415"/>
                </a:lnTo>
                <a:lnTo>
                  <a:pt x="5100825" y="2696262"/>
                </a:lnTo>
                <a:lnTo>
                  <a:pt x="5097461" y="2696262"/>
                </a:lnTo>
                <a:lnTo>
                  <a:pt x="5096050" y="2694854"/>
                </a:lnTo>
                <a:lnTo>
                  <a:pt x="5093771" y="2697019"/>
                </a:lnTo>
                <a:lnTo>
                  <a:pt x="5090298" y="2697669"/>
                </a:lnTo>
                <a:lnTo>
                  <a:pt x="5087369" y="2695395"/>
                </a:lnTo>
                <a:lnTo>
                  <a:pt x="5083679" y="2695287"/>
                </a:lnTo>
                <a:lnTo>
                  <a:pt x="5075106" y="2701891"/>
                </a:lnTo>
                <a:lnTo>
                  <a:pt x="5074564" y="2704815"/>
                </a:lnTo>
                <a:lnTo>
                  <a:pt x="5071525" y="2707305"/>
                </a:lnTo>
                <a:lnTo>
                  <a:pt x="5062519" y="2708172"/>
                </a:lnTo>
                <a:lnTo>
                  <a:pt x="5051233" y="2712502"/>
                </a:lnTo>
                <a:lnTo>
                  <a:pt x="5046567" y="2711527"/>
                </a:lnTo>
                <a:lnTo>
                  <a:pt x="5045156" y="2709687"/>
                </a:lnTo>
                <a:lnTo>
                  <a:pt x="5038211" y="2710011"/>
                </a:lnTo>
                <a:lnTo>
                  <a:pt x="5037343" y="2708604"/>
                </a:lnTo>
                <a:lnTo>
                  <a:pt x="5033545" y="2708388"/>
                </a:lnTo>
                <a:lnTo>
                  <a:pt x="5030506" y="2709362"/>
                </a:lnTo>
                <a:lnTo>
                  <a:pt x="5024429" y="2713152"/>
                </a:lnTo>
                <a:lnTo>
                  <a:pt x="5021824" y="2719431"/>
                </a:lnTo>
                <a:lnTo>
                  <a:pt x="5019437" y="2719756"/>
                </a:lnTo>
                <a:lnTo>
                  <a:pt x="5014880" y="2726036"/>
                </a:lnTo>
                <a:lnTo>
                  <a:pt x="5010430" y="2727876"/>
                </a:lnTo>
                <a:lnTo>
                  <a:pt x="5007826" y="2725386"/>
                </a:lnTo>
                <a:lnTo>
                  <a:pt x="5003160" y="2725386"/>
                </a:lnTo>
                <a:lnTo>
                  <a:pt x="4998277" y="2729501"/>
                </a:lnTo>
                <a:lnTo>
                  <a:pt x="4994262" y="2730475"/>
                </a:lnTo>
                <a:lnTo>
                  <a:pt x="4987642" y="2728309"/>
                </a:lnTo>
                <a:lnTo>
                  <a:pt x="4986340" y="2729825"/>
                </a:lnTo>
                <a:lnTo>
                  <a:pt x="4981456" y="2730583"/>
                </a:lnTo>
                <a:lnTo>
                  <a:pt x="4979503" y="2726578"/>
                </a:lnTo>
                <a:lnTo>
                  <a:pt x="4978526" y="2720623"/>
                </a:lnTo>
                <a:lnTo>
                  <a:pt x="4973535" y="2715209"/>
                </a:lnTo>
                <a:lnTo>
                  <a:pt x="4970930" y="2708821"/>
                </a:lnTo>
                <a:lnTo>
                  <a:pt x="4973535" y="2707088"/>
                </a:lnTo>
                <a:lnTo>
                  <a:pt x="4973100" y="2700484"/>
                </a:lnTo>
                <a:lnTo>
                  <a:pt x="4966915" y="2694854"/>
                </a:lnTo>
                <a:lnTo>
                  <a:pt x="4963877" y="2672658"/>
                </a:lnTo>
                <a:lnTo>
                  <a:pt x="4958125" y="2665296"/>
                </a:lnTo>
                <a:lnTo>
                  <a:pt x="4957908" y="2661723"/>
                </a:lnTo>
                <a:lnTo>
                  <a:pt x="4955412" y="2661723"/>
                </a:lnTo>
                <a:lnTo>
                  <a:pt x="4953785" y="2658258"/>
                </a:lnTo>
                <a:lnTo>
                  <a:pt x="4957583" y="2659341"/>
                </a:lnTo>
                <a:lnTo>
                  <a:pt x="4957583" y="2656742"/>
                </a:lnTo>
                <a:lnTo>
                  <a:pt x="4960296" y="2656742"/>
                </a:lnTo>
                <a:lnTo>
                  <a:pt x="4960621" y="2649597"/>
                </a:lnTo>
                <a:lnTo>
                  <a:pt x="4958451" y="2637471"/>
                </a:lnTo>
                <a:lnTo>
                  <a:pt x="4956932" y="2633140"/>
                </a:lnTo>
                <a:lnTo>
                  <a:pt x="4960646" y="2633425"/>
                </a:lnTo>
                <a:lnTo>
                  <a:pt x="4956932" y="2633140"/>
                </a:lnTo>
                <a:lnTo>
                  <a:pt x="4952699" y="2620905"/>
                </a:lnTo>
                <a:lnTo>
                  <a:pt x="4945103" y="2618740"/>
                </a:lnTo>
                <a:lnTo>
                  <a:pt x="4943475" y="2608454"/>
                </a:lnTo>
                <a:lnTo>
                  <a:pt x="4940762" y="2608454"/>
                </a:lnTo>
                <a:lnTo>
                  <a:pt x="4922640" y="2590265"/>
                </a:lnTo>
                <a:lnTo>
                  <a:pt x="4922315" y="2584093"/>
                </a:lnTo>
                <a:lnTo>
                  <a:pt x="4917215" y="2581061"/>
                </a:lnTo>
                <a:lnTo>
                  <a:pt x="4911680" y="2560490"/>
                </a:lnTo>
                <a:lnTo>
                  <a:pt x="4908533" y="2559191"/>
                </a:lnTo>
                <a:lnTo>
                  <a:pt x="4909292" y="2555726"/>
                </a:lnTo>
                <a:lnTo>
                  <a:pt x="4903324" y="2554643"/>
                </a:lnTo>
                <a:lnTo>
                  <a:pt x="4903107" y="2551071"/>
                </a:lnTo>
                <a:lnTo>
                  <a:pt x="4896053" y="2545116"/>
                </a:lnTo>
                <a:lnTo>
                  <a:pt x="4893775" y="2545116"/>
                </a:lnTo>
                <a:lnTo>
                  <a:pt x="4890519" y="2540461"/>
                </a:lnTo>
                <a:lnTo>
                  <a:pt x="4885636" y="2540027"/>
                </a:lnTo>
                <a:lnTo>
                  <a:pt x="4881621" y="2538295"/>
                </a:lnTo>
                <a:lnTo>
                  <a:pt x="4869467" y="2525411"/>
                </a:lnTo>
                <a:lnTo>
                  <a:pt x="4868707" y="2522055"/>
                </a:lnTo>
                <a:lnTo>
                  <a:pt x="4864367" y="2518265"/>
                </a:lnTo>
                <a:lnTo>
                  <a:pt x="4863390" y="2509170"/>
                </a:lnTo>
                <a:lnTo>
                  <a:pt x="4861003" y="2500508"/>
                </a:lnTo>
                <a:lnTo>
                  <a:pt x="4859267" y="2496719"/>
                </a:lnTo>
                <a:lnTo>
                  <a:pt x="4861003" y="2495095"/>
                </a:lnTo>
                <a:lnTo>
                  <a:pt x="4862848" y="2487299"/>
                </a:lnTo>
                <a:lnTo>
                  <a:pt x="4861437" y="2484701"/>
                </a:lnTo>
                <a:lnTo>
                  <a:pt x="4859918" y="2476364"/>
                </a:lnTo>
                <a:lnTo>
                  <a:pt x="4855252" y="2472250"/>
                </a:lnTo>
                <a:lnTo>
                  <a:pt x="4853190" y="2464130"/>
                </a:lnTo>
                <a:lnTo>
                  <a:pt x="4850910" y="2462072"/>
                </a:lnTo>
                <a:lnTo>
                  <a:pt x="4850151" y="2456117"/>
                </a:lnTo>
                <a:lnTo>
                  <a:pt x="4848306" y="2455793"/>
                </a:lnTo>
                <a:lnTo>
                  <a:pt x="4846570" y="2450595"/>
                </a:lnTo>
                <a:lnTo>
                  <a:pt x="4840602" y="2444424"/>
                </a:lnTo>
                <a:lnTo>
                  <a:pt x="4833005" y="2440960"/>
                </a:lnTo>
                <a:lnTo>
                  <a:pt x="4827905" y="2436846"/>
                </a:lnTo>
                <a:lnTo>
                  <a:pt x="4824324" y="2440418"/>
                </a:lnTo>
                <a:lnTo>
                  <a:pt x="4821069" y="2438469"/>
                </a:lnTo>
                <a:lnTo>
                  <a:pt x="4820851" y="2434464"/>
                </a:lnTo>
                <a:lnTo>
                  <a:pt x="4815752" y="2430891"/>
                </a:lnTo>
                <a:lnTo>
                  <a:pt x="4815752" y="2427426"/>
                </a:lnTo>
                <a:lnTo>
                  <a:pt x="4817271" y="2424394"/>
                </a:lnTo>
                <a:lnTo>
                  <a:pt x="4815752" y="2417140"/>
                </a:lnTo>
                <a:lnTo>
                  <a:pt x="4812387" y="2414867"/>
                </a:lnTo>
                <a:lnTo>
                  <a:pt x="4808047" y="2403498"/>
                </a:lnTo>
                <a:lnTo>
                  <a:pt x="4802621" y="2401116"/>
                </a:lnTo>
                <a:lnTo>
                  <a:pt x="4800233" y="2397868"/>
                </a:lnTo>
                <a:lnTo>
                  <a:pt x="4799148" y="2391913"/>
                </a:lnTo>
                <a:lnTo>
                  <a:pt x="4795350" y="2391155"/>
                </a:lnTo>
                <a:lnTo>
                  <a:pt x="4793506" y="2387041"/>
                </a:lnTo>
                <a:lnTo>
                  <a:pt x="4793397" y="2383251"/>
                </a:lnTo>
                <a:lnTo>
                  <a:pt x="4786452" y="2371450"/>
                </a:lnTo>
                <a:lnTo>
                  <a:pt x="4783956" y="2371341"/>
                </a:lnTo>
                <a:lnTo>
                  <a:pt x="4778747" y="2366686"/>
                </a:lnTo>
                <a:lnTo>
                  <a:pt x="4777771" y="2361706"/>
                </a:lnTo>
                <a:lnTo>
                  <a:pt x="4775492" y="2360731"/>
                </a:lnTo>
                <a:lnTo>
                  <a:pt x="4774407" y="2355643"/>
                </a:lnTo>
                <a:lnTo>
                  <a:pt x="4763881" y="2343949"/>
                </a:lnTo>
                <a:lnTo>
                  <a:pt x="4765291" y="2342975"/>
                </a:lnTo>
                <a:lnTo>
                  <a:pt x="4759865" y="2339943"/>
                </a:lnTo>
                <a:lnTo>
                  <a:pt x="4756827" y="2342109"/>
                </a:lnTo>
                <a:lnTo>
                  <a:pt x="4755742" y="2340268"/>
                </a:lnTo>
                <a:lnTo>
                  <a:pt x="4752269" y="2341567"/>
                </a:lnTo>
                <a:lnTo>
                  <a:pt x="4751727" y="2338968"/>
                </a:lnTo>
                <a:lnTo>
                  <a:pt x="4754331" y="2332148"/>
                </a:lnTo>
                <a:lnTo>
                  <a:pt x="4753897" y="2322078"/>
                </a:lnTo>
                <a:lnTo>
                  <a:pt x="4754549" y="2313309"/>
                </a:lnTo>
                <a:lnTo>
                  <a:pt x="4762035" y="2312984"/>
                </a:lnTo>
                <a:lnTo>
                  <a:pt x="4754548" y="2313309"/>
                </a:lnTo>
                <a:lnTo>
                  <a:pt x="4754656" y="2312335"/>
                </a:lnTo>
                <a:lnTo>
                  <a:pt x="4756718" y="2306380"/>
                </a:lnTo>
                <a:lnTo>
                  <a:pt x="4756501" y="2304106"/>
                </a:lnTo>
                <a:lnTo>
                  <a:pt x="4756393" y="2304323"/>
                </a:lnTo>
                <a:lnTo>
                  <a:pt x="4756501" y="2303673"/>
                </a:lnTo>
                <a:lnTo>
                  <a:pt x="4756501" y="2303673"/>
                </a:lnTo>
                <a:lnTo>
                  <a:pt x="4756392" y="2304323"/>
                </a:lnTo>
                <a:lnTo>
                  <a:pt x="4753570" y="2308762"/>
                </a:lnTo>
                <a:lnTo>
                  <a:pt x="4753570" y="2308761"/>
                </a:lnTo>
                <a:lnTo>
                  <a:pt x="4752702" y="2310169"/>
                </a:lnTo>
                <a:lnTo>
                  <a:pt x="4749013" y="2323378"/>
                </a:lnTo>
                <a:lnTo>
                  <a:pt x="4748470" y="2328359"/>
                </a:lnTo>
                <a:lnTo>
                  <a:pt x="4745649" y="2335612"/>
                </a:lnTo>
                <a:lnTo>
                  <a:pt x="4747819" y="2337778"/>
                </a:lnTo>
                <a:lnTo>
                  <a:pt x="4745974" y="2346223"/>
                </a:lnTo>
                <a:lnTo>
                  <a:pt x="4742719" y="2349363"/>
                </a:lnTo>
                <a:lnTo>
                  <a:pt x="4741851" y="2352178"/>
                </a:lnTo>
                <a:lnTo>
                  <a:pt x="4741091" y="2350771"/>
                </a:lnTo>
                <a:lnTo>
                  <a:pt x="4734797" y="2347306"/>
                </a:lnTo>
                <a:lnTo>
                  <a:pt x="4723403" y="2335288"/>
                </a:lnTo>
                <a:lnTo>
                  <a:pt x="4721884" y="2330740"/>
                </a:lnTo>
                <a:lnTo>
                  <a:pt x="4715590" y="2327817"/>
                </a:lnTo>
                <a:lnTo>
                  <a:pt x="4713202" y="2323161"/>
                </a:lnTo>
                <a:lnTo>
                  <a:pt x="4713202" y="2318506"/>
                </a:lnTo>
                <a:lnTo>
                  <a:pt x="4703979" y="2310710"/>
                </a:lnTo>
                <a:lnTo>
                  <a:pt x="4703436" y="2307679"/>
                </a:lnTo>
                <a:lnTo>
                  <a:pt x="4701266" y="2305080"/>
                </a:lnTo>
                <a:lnTo>
                  <a:pt x="4699638" y="2299017"/>
                </a:lnTo>
                <a:lnTo>
                  <a:pt x="4697359" y="2299017"/>
                </a:lnTo>
                <a:lnTo>
                  <a:pt x="4696382" y="2297502"/>
                </a:lnTo>
                <a:lnTo>
                  <a:pt x="4695406" y="2299125"/>
                </a:lnTo>
                <a:lnTo>
                  <a:pt x="4695732" y="2302373"/>
                </a:lnTo>
                <a:lnTo>
                  <a:pt x="4695189" y="2305622"/>
                </a:lnTo>
                <a:lnTo>
                  <a:pt x="4700180" y="2312118"/>
                </a:lnTo>
                <a:lnTo>
                  <a:pt x="4700180" y="2317531"/>
                </a:lnTo>
                <a:lnTo>
                  <a:pt x="4709079" y="2328034"/>
                </a:lnTo>
                <a:lnTo>
                  <a:pt x="4710164" y="2331823"/>
                </a:lnTo>
                <a:lnTo>
                  <a:pt x="4724054" y="2343516"/>
                </a:lnTo>
                <a:lnTo>
                  <a:pt x="4726116" y="2347306"/>
                </a:lnTo>
                <a:lnTo>
                  <a:pt x="4725139" y="2351095"/>
                </a:lnTo>
                <a:lnTo>
                  <a:pt x="4725573" y="2354560"/>
                </a:lnTo>
                <a:lnTo>
                  <a:pt x="4733712" y="2363330"/>
                </a:lnTo>
                <a:lnTo>
                  <a:pt x="4733712" y="2366145"/>
                </a:lnTo>
                <a:lnTo>
                  <a:pt x="4736208" y="2369177"/>
                </a:lnTo>
                <a:lnTo>
                  <a:pt x="4737076" y="2378379"/>
                </a:lnTo>
                <a:lnTo>
                  <a:pt x="4739680" y="2382277"/>
                </a:lnTo>
                <a:lnTo>
                  <a:pt x="4739463" y="2387366"/>
                </a:lnTo>
                <a:lnTo>
                  <a:pt x="4754439" y="2409345"/>
                </a:lnTo>
                <a:lnTo>
                  <a:pt x="4755524" y="2416058"/>
                </a:lnTo>
                <a:lnTo>
                  <a:pt x="4759539" y="2418656"/>
                </a:lnTo>
                <a:lnTo>
                  <a:pt x="4769089" y="2432515"/>
                </a:lnTo>
                <a:lnTo>
                  <a:pt x="4771151" y="2438903"/>
                </a:lnTo>
                <a:lnTo>
                  <a:pt x="4773864" y="2442151"/>
                </a:lnTo>
                <a:lnTo>
                  <a:pt x="4774080" y="2440527"/>
                </a:lnTo>
                <a:lnTo>
                  <a:pt x="4775708" y="2441718"/>
                </a:lnTo>
                <a:lnTo>
                  <a:pt x="4779615" y="2447673"/>
                </a:lnTo>
                <a:lnTo>
                  <a:pt x="4781893" y="2448106"/>
                </a:lnTo>
                <a:lnTo>
                  <a:pt x="4784606" y="2451029"/>
                </a:lnTo>
                <a:lnTo>
                  <a:pt x="4777553" y="2450596"/>
                </a:lnTo>
                <a:lnTo>
                  <a:pt x="4775708" y="2449080"/>
                </a:lnTo>
                <a:lnTo>
                  <a:pt x="4775274" y="2451245"/>
                </a:lnTo>
                <a:lnTo>
                  <a:pt x="4776793" y="2454386"/>
                </a:lnTo>
                <a:lnTo>
                  <a:pt x="4777118" y="2460340"/>
                </a:lnTo>
                <a:lnTo>
                  <a:pt x="4776250" y="2463588"/>
                </a:lnTo>
                <a:lnTo>
                  <a:pt x="4779940" y="2476039"/>
                </a:lnTo>
                <a:lnTo>
                  <a:pt x="4787319" y="2480804"/>
                </a:lnTo>
                <a:lnTo>
                  <a:pt x="4791877" y="2481020"/>
                </a:lnTo>
                <a:lnTo>
                  <a:pt x="4794807" y="2479612"/>
                </a:lnTo>
                <a:lnTo>
                  <a:pt x="4797845" y="2486000"/>
                </a:lnTo>
                <a:lnTo>
                  <a:pt x="4802729" y="2487408"/>
                </a:lnTo>
                <a:lnTo>
                  <a:pt x="4804248" y="2490331"/>
                </a:lnTo>
                <a:lnTo>
                  <a:pt x="4809782" y="2496069"/>
                </a:lnTo>
                <a:lnTo>
                  <a:pt x="4814014" y="2497694"/>
                </a:lnTo>
                <a:lnTo>
                  <a:pt x="4813906" y="2498127"/>
                </a:lnTo>
                <a:lnTo>
                  <a:pt x="4813580" y="2500183"/>
                </a:lnTo>
                <a:lnTo>
                  <a:pt x="4813038" y="2502348"/>
                </a:lnTo>
                <a:lnTo>
                  <a:pt x="4814340" y="2504081"/>
                </a:lnTo>
                <a:lnTo>
                  <a:pt x="4813689" y="2505380"/>
                </a:lnTo>
                <a:lnTo>
                  <a:pt x="4814557" y="2506463"/>
                </a:lnTo>
                <a:lnTo>
                  <a:pt x="4814557" y="2507437"/>
                </a:lnTo>
                <a:lnTo>
                  <a:pt x="4815534" y="2508844"/>
                </a:lnTo>
                <a:lnTo>
                  <a:pt x="4817053" y="2515450"/>
                </a:lnTo>
                <a:lnTo>
                  <a:pt x="4821719" y="2520863"/>
                </a:lnTo>
                <a:lnTo>
                  <a:pt x="4821611" y="2523244"/>
                </a:lnTo>
                <a:lnTo>
                  <a:pt x="4820417" y="2523244"/>
                </a:lnTo>
                <a:lnTo>
                  <a:pt x="4819874" y="2521729"/>
                </a:lnTo>
                <a:lnTo>
                  <a:pt x="4817921" y="2519347"/>
                </a:lnTo>
                <a:lnTo>
                  <a:pt x="4817161" y="2520213"/>
                </a:lnTo>
                <a:lnTo>
                  <a:pt x="4817813" y="2524544"/>
                </a:lnTo>
                <a:lnTo>
                  <a:pt x="4823564" y="2541650"/>
                </a:lnTo>
                <a:lnTo>
                  <a:pt x="4824866" y="2551070"/>
                </a:lnTo>
                <a:lnTo>
                  <a:pt x="4823456" y="2559948"/>
                </a:lnTo>
                <a:lnTo>
                  <a:pt x="4826711" y="2570126"/>
                </a:lnTo>
                <a:lnTo>
                  <a:pt x="4830943" y="2578247"/>
                </a:lnTo>
                <a:lnTo>
                  <a:pt x="4834958" y="2579221"/>
                </a:lnTo>
                <a:lnTo>
                  <a:pt x="4845376" y="2586258"/>
                </a:lnTo>
                <a:lnTo>
                  <a:pt x="4845376" y="2590806"/>
                </a:lnTo>
                <a:lnTo>
                  <a:pt x="4850367" y="2590914"/>
                </a:lnTo>
                <a:lnTo>
                  <a:pt x="4855577" y="2593621"/>
                </a:lnTo>
                <a:lnTo>
                  <a:pt x="4855577" y="2596869"/>
                </a:lnTo>
                <a:lnTo>
                  <a:pt x="4857204" y="2596869"/>
                </a:lnTo>
                <a:lnTo>
                  <a:pt x="4854057" y="2601741"/>
                </a:lnTo>
                <a:lnTo>
                  <a:pt x="4850042" y="2603798"/>
                </a:lnTo>
                <a:lnTo>
                  <a:pt x="4850043" y="2603798"/>
                </a:lnTo>
                <a:lnTo>
                  <a:pt x="4854058" y="2601741"/>
                </a:lnTo>
                <a:lnTo>
                  <a:pt x="4857205" y="2596869"/>
                </a:lnTo>
                <a:lnTo>
                  <a:pt x="4857421" y="2596869"/>
                </a:lnTo>
                <a:lnTo>
                  <a:pt x="4862956" y="2602824"/>
                </a:lnTo>
                <a:lnTo>
                  <a:pt x="4872939" y="2629025"/>
                </a:lnTo>
                <a:lnTo>
                  <a:pt x="4876195" y="2646132"/>
                </a:lnTo>
                <a:lnTo>
                  <a:pt x="4878040" y="2646673"/>
                </a:lnTo>
                <a:lnTo>
                  <a:pt x="4879234" y="2652953"/>
                </a:lnTo>
                <a:lnTo>
                  <a:pt x="4879234" y="2655118"/>
                </a:lnTo>
                <a:lnTo>
                  <a:pt x="4882489" y="2656201"/>
                </a:lnTo>
                <a:lnTo>
                  <a:pt x="4884551" y="2661290"/>
                </a:lnTo>
                <a:lnTo>
                  <a:pt x="4885745" y="2668652"/>
                </a:lnTo>
                <a:lnTo>
                  <a:pt x="4889977" y="2669735"/>
                </a:lnTo>
                <a:lnTo>
                  <a:pt x="4889543" y="2663130"/>
                </a:lnTo>
                <a:lnTo>
                  <a:pt x="4888458" y="2663238"/>
                </a:lnTo>
                <a:lnTo>
                  <a:pt x="4888891" y="2658366"/>
                </a:lnTo>
                <a:lnTo>
                  <a:pt x="4890628" y="2657717"/>
                </a:lnTo>
                <a:lnTo>
                  <a:pt x="4894969" y="2663780"/>
                </a:lnTo>
                <a:lnTo>
                  <a:pt x="4893341" y="2665621"/>
                </a:lnTo>
                <a:lnTo>
                  <a:pt x="4897356" y="2671684"/>
                </a:lnTo>
                <a:lnTo>
                  <a:pt x="4900177" y="2674391"/>
                </a:lnTo>
                <a:lnTo>
                  <a:pt x="4902456" y="2672875"/>
                </a:lnTo>
                <a:lnTo>
                  <a:pt x="4906037" y="2672333"/>
                </a:lnTo>
                <a:lnTo>
                  <a:pt x="4907556" y="2673308"/>
                </a:lnTo>
                <a:lnTo>
                  <a:pt x="4910595" y="2672225"/>
                </a:lnTo>
                <a:lnTo>
                  <a:pt x="4915044" y="2677097"/>
                </a:lnTo>
                <a:lnTo>
                  <a:pt x="4917323" y="2679913"/>
                </a:lnTo>
                <a:lnTo>
                  <a:pt x="4923943" y="2681429"/>
                </a:lnTo>
                <a:lnTo>
                  <a:pt x="4925462" y="2684027"/>
                </a:lnTo>
                <a:lnTo>
                  <a:pt x="4933493" y="2693013"/>
                </a:lnTo>
                <a:lnTo>
                  <a:pt x="4936964" y="2698968"/>
                </a:lnTo>
                <a:lnTo>
                  <a:pt x="4941957" y="2701025"/>
                </a:lnTo>
                <a:lnTo>
                  <a:pt x="4945320" y="2705356"/>
                </a:lnTo>
                <a:lnTo>
                  <a:pt x="4947274" y="2705356"/>
                </a:lnTo>
                <a:lnTo>
                  <a:pt x="4947491" y="2703840"/>
                </a:lnTo>
                <a:lnTo>
                  <a:pt x="4949118" y="2706114"/>
                </a:lnTo>
                <a:lnTo>
                  <a:pt x="4953134" y="2715967"/>
                </a:lnTo>
                <a:lnTo>
                  <a:pt x="4956064" y="2716833"/>
                </a:lnTo>
                <a:lnTo>
                  <a:pt x="4959536" y="2721272"/>
                </a:lnTo>
                <a:lnTo>
                  <a:pt x="4958559" y="2722679"/>
                </a:lnTo>
                <a:lnTo>
                  <a:pt x="4960730" y="2727335"/>
                </a:lnTo>
                <a:lnTo>
                  <a:pt x="4963334" y="2727335"/>
                </a:lnTo>
                <a:lnTo>
                  <a:pt x="4965938" y="2728743"/>
                </a:lnTo>
                <a:lnTo>
                  <a:pt x="4967783" y="2727010"/>
                </a:lnTo>
                <a:lnTo>
                  <a:pt x="4968651" y="2728310"/>
                </a:lnTo>
                <a:lnTo>
                  <a:pt x="4969845" y="2728959"/>
                </a:lnTo>
                <a:lnTo>
                  <a:pt x="4969845" y="2728960"/>
                </a:lnTo>
                <a:lnTo>
                  <a:pt x="4969952" y="2728960"/>
                </a:lnTo>
                <a:lnTo>
                  <a:pt x="4969844" y="2730801"/>
                </a:lnTo>
                <a:lnTo>
                  <a:pt x="4975378" y="2736106"/>
                </a:lnTo>
                <a:lnTo>
                  <a:pt x="4976898" y="2736106"/>
                </a:lnTo>
                <a:lnTo>
                  <a:pt x="4976138" y="2738380"/>
                </a:lnTo>
                <a:lnTo>
                  <a:pt x="4977006" y="2745742"/>
                </a:lnTo>
                <a:lnTo>
                  <a:pt x="4974619" y="2746716"/>
                </a:lnTo>
                <a:lnTo>
                  <a:pt x="4970169" y="2751697"/>
                </a:lnTo>
                <a:lnTo>
                  <a:pt x="4966806" y="2751805"/>
                </a:lnTo>
                <a:lnTo>
                  <a:pt x="4964418" y="2755378"/>
                </a:lnTo>
                <a:lnTo>
                  <a:pt x="4959210" y="2755378"/>
                </a:lnTo>
                <a:lnTo>
                  <a:pt x="4961814" y="2758626"/>
                </a:lnTo>
                <a:lnTo>
                  <a:pt x="4963441" y="2758951"/>
                </a:lnTo>
                <a:lnTo>
                  <a:pt x="4967131" y="2757543"/>
                </a:lnTo>
                <a:lnTo>
                  <a:pt x="4973425" y="2757435"/>
                </a:lnTo>
                <a:lnTo>
                  <a:pt x="4974185" y="2759059"/>
                </a:lnTo>
                <a:lnTo>
                  <a:pt x="4968650" y="2769345"/>
                </a:lnTo>
                <a:lnTo>
                  <a:pt x="4968000" y="2770318"/>
                </a:lnTo>
                <a:lnTo>
                  <a:pt x="4968001" y="2770318"/>
                </a:lnTo>
                <a:lnTo>
                  <a:pt x="4968651" y="2769345"/>
                </a:lnTo>
                <a:lnTo>
                  <a:pt x="4974185" y="2759059"/>
                </a:lnTo>
                <a:lnTo>
                  <a:pt x="4975596" y="2762090"/>
                </a:lnTo>
                <a:lnTo>
                  <a:pt x="4977223" y="2762307"/>
                </a:lnTo>
                <a:lnTo>
                  <a:pt x="4991657" y="2778331"/>
                </a:lnTo>
                <a:lnTo>
                  <a:pt x="4993393" y="2781904"/>
                </a:lnTo>
                <a:lnTo>
                  <a:pt x="4995780" y="2782553"/>
                </a:lnTo>
                <a:lnTo>
                  <a:pt x="5001748" y="2787859"/>
                </a:lnTo>
                <a:lnTo>
                  <a:pt x="5007609" y="2789375"/>
                </a:lnTo>
                <a:lnTo>
                  <a:pt x="5014553" y="2788400"/>
                </a:lnTo>
                <a:lnTo>
                  <a:pt x="5016723" y="2785802"/>
                </a:lnTo>
                <a:lnTo>
                  <a:pt x="5022909" y="2782012"/>
                </a:lnTo>
                <a:lnTo>
                  <a:pt x="5026816" y="2781904"/>
                </a:lnTo>
                <a:lnTo>
                  <a:pt x="5034846" y="2775624"/>
                </a:lnTo>
                <a:lnTo>
                  <a:pt x="5037125" y="2775516"/>
                </a:lnTo>
                <a:lnTo>
                  <a:pt x="5038536" y="2776816"/>
                </a:lnTo>
                <a:lnTo>
                  <a:pt x="5045047" y="2776490"/>
                </a:lnTo>
                <a:lnTo>
                  <a:pt x="5047325" y="2775733"/>
                </a:lnTo>
                <a:lnTo>
                  <a:pt x="5052100" y="2778006"/>
                </a:lnTo>
                <a:lnTo>
                  <a:pt x="5059045" y="2777249"/>
                </a:lnTo>
                <a:lnTo>
                  <a:pt x="5073587" y="2768153"/>
                </a:lnTo>
                <a:lnTo>
                  <a:pt x="5078253" y="2767288"/>
                </a:lnTo>
                <a:lnTo>
                  <a:pt x="5082919" y="2769345"/>
                </a:lnTo>
                <a:lnTo>
                  <a:pt x="5086609" y="2768153"/>
                </a:lnTo>
                <a:lnTo>
                  <a:pt x="5093011" y="2768478"/>
                </a:lnTo>
                <a:lnTo>
                  <a:pt x="5099739" y="2765122"/>
                </a:lnTo>
                <a:lnTo>
                  <a:pt x="5107227" y="2764581"/>
                </a:lnTo>
                <a:lnTo>
                  <a:pt x="5109505" y="2765988"/>
                </a:lnTo>
                <a:lnTo>
                  <a:pt x="5112001" y="2765988"/>
                </a:lnTo>
                <a:lnTo>
                  <a:pt x="5123612" y="2763823"/>
                </a:lnTo>
                <a:lnTo>
                  <a:pt x="5128062" y="2760250"/>
                </a:lnTo>
                <a:lnTo>
                  <a:pt x="5135115" y="2759276"/>
                </a:lnTo>
                <a:lnTo>
                  <a:pt x="5137068" y="2761116"/>
                </a:lnTo>
                <a:lnTo>
                  <a:pt x="5137720" y="2759167"/>
                </a:lnTo>
                <a:lnTo>
                  <a:pt x="5145099" y="2758192"/>
                </a:lnTo>
                <a:lnTo>
                  <a:pt x="5149331" y="2753970"/>
                </a:lnTo>
                <a:lnTo>
                  <a:pt x="5150199" y="2754620"/>
                </a:lnTo>
                <a:lnTo>
                  <a:pt x="5152043" y="2751155"/>
                </a:lnTo>
                <a:lnTo>
                  <a:pt x="5151393" y="2750614"/>
                </a:lnTo>
                <a:lnTo>
                  <a:pt x="5154323" y="2747799"/>
                </a:lnTo>
                <a:lnTo>
                  <a:pt x="5156385" y="2748015"/>
                </a:lnTo>
                <a:lnTo>
                  <a:pt x="5156059" y="2746933"/>
                </a:lnTo>
                <a:lnTo>
                  <a:pt x="5158989" y="2748990"/>
                </a:lnTo>
                <a:lnTo>
                  <a:pt x="5165066" y="2751047"/>
                </a:lnTo>
                <a:lnTo>
                  <a:pt x="5167887" y="2750831"/>
                </a:lnTo>
                <a:lnTo>
                  <a:pt x="5168972" y="2751480"/>
                </a:lnTo>
                <a:lnTo>
                  <a:pt x="5166477" y="2755161"/>
                </a:lnTo>
                <a:lnTo>
                  <a:pt x="5164957" y="2758951"/>
                </a:lnTo>
                <a:lnTo>
                  <a:pt x="5164632" y="2762849"/>
                </a:lnTo>
                <a:lnTo>
                  <a:pt x="5163221" y="2765230"/>
                </a:lnTo>
                <a:lnTo>
                  <a:pt x="5164415" y="2767288"/>
                </a:lnTo>
                <a:lnTo>
                  <a:pt x="5167562" y="2767396"/>
                </a:lnTo>
                <a:lnTo>
                  <a:pt x="5167779" y="2768804"/>
                </a:lnTo>
                <a:lnTo>
                  <a:pt x="5165282" y="2770969"/>
                </a:lnTo>
                <a:lnTo>
                  <a:pt x="5163113" y="2775949"/>
                </a:lnTo>
                <a:lnTo>
                  <a:pt x="5165282" y="2778873"/>
                </a:lnTo>
                <a:lnTo>
                  <a:pt x="5166042" y="2782770"/>
                </a:lnTo>
                <a:lnTo>
                  <a:pt x="5164306" y="2786559"/>
                </a:lnTo>
                <a:lnTo>
                  <a:pt x="5167454" y="2786126"/>
                </a:lnTo>
                <a:lnTo>
                  <a:pt x="5167127" y="2785044"/>
                </a:lnTo>
                <a:lnTo>
                  <a:pt x="5168647" y="2785369"/>
                </a:lnTo>
                <a:lnTo>
                  <a:pt x="5170057" y="2788184"/>
                </a:lnTo>
                <a:lnTo>
                  <a:pt x="5168430" y="2789050"/>
                </a:lnTo>
                <a:lnTo>
                  <a:pt x="5167995" y="2788075"/>
                </a:lnTo>
                <a:lnTo>
                  <a:pt x="5164957" y="2788184"/>
                </a:lnTo>
                <a:lnTo>
                  <a:pt x="5162787" y="2788725"/>
                </a:lnTo>
                <a:lnTo>
                  <a:pt x="5159314" y="2794680"/>
                </a:lnTo>
                <a:lnTo>
                  <a:pt x="5161268" y="2797820"/>
                </a:lnTo>
                <a:lnTo>
                  <a:pt x="5160291" y="2803450"/>
                </a:lnTo>
                <a:lnTo>
                  <a:pt x="5158772" y="2806048"/>
                </a:lnTo>
                <a:lnTo>
                  <a:pt x="5159206" y="2812220"/>
                </a:lnTo>
                <a:lnTo>
                  <a:pt x="5150959" y="2823696"/>
                </a:lnTo>
                <a:lnTo>
                  <a:pt x="5145207" y="2835606"/>
                </a:lnTo>
                <a:lnTo>
                  <a:pt x="5141843" y="2839829"/>
                </a:lnTo>
                <a:lnTo>
                  <a:pt x="5139890" y="2839504"/>
                </a:lnTo>
                <a:lnTo>
                  <a:pt x="5134682" y="2845242"/>
                </a:lnTo>
                <a:lnTo>
                  <a:pt x="5134247" y="2847840"/>
                </a:lnTo>
                <a:lnTo>
                  <a:pt x="5136635" y="2851305"/>
                </a:lnTo>
                <a:lnTo>
                  <a:pt x="5133596" y="2854012"/>
                </a:lnTo>
                <a:lnTo>
                  <a:pt x="5120031" y="2879780"/>
                </a:lnTo>
                <a:lnTo>
                  <a:pt x="5119489" y="2887360"/>
                </a:lnTo>
                <a:lnTo>
                  <a:pt x="5110699" y="2899486"/>
                </a:lnTo>
                <a:lnTo>
                  <a:pt x="5110373" y="2903492"/>
                </a:lnTo>
                <a:lnTo>
                  <a:pt x="5094096" y="2925471"/>
                </a:lnTo>
                <a:lnTo>
                  <a:pt x="5092468" y="2930559"/>
                </a:lnTo>
                <a:lnTo>
                  <a:pt x="5085306" y="2937922"/>
                </a:lnTo>
                <a:lnTo>
                  <a:pt x="5072610" y="2953296"/>
                </a:lnTo>
                <a:lnTo>
                  <a:pt x="5046023" y="2976683"/>
                </a:lnTo>
                <a:lnTo>
                  <a:pt x="5034629" y="2986426"/>
                </a:lnTo>
                <a:lnTo>
                  <a:pt x="5026707" y="2987942"/>
                </a:lnTo>
                <a:lnTo>
                  <a:pt x="5019980" y="2992599"/>
                </a:lnTo>
                <a:lnTo>
                  <a:pt x="5011515" y="2999095"/>
                </a:lnTo>
                <a:lnTo>
                  <a:pt x="4995238" y="3016201"/>
                </a:lnTo>
                <a:lnTo>
                  <a:pt x="4991548" y="3017284"/>
                </a:lnTo>
                <a:lnTo>
                  <a:pt x="4978200" y="3032117"/>
                </a:lnTo>
                <a:lnTo>
                  <a:pt x="4975813" y="3032984"/>
                </a:lnTo>
                <a:lnTo>
                  <a:pt x="4973860" y="3036664"/>
                </a:lnTo>
                <a:lnTo>
                  <a:pt x="4968977" y="3038072"/>
                </a:lnTo>
                <a:lnTo>
                  <a:pt x="4963876" y="3042944"/>
                </a:lnTo>
                <a:lnTo>
                  <a:pt x="4961706" y="3048033"/>
                </a:lnTo>
                <a:lnTo>
                  <a:pt x="4941956" y="3069795"/>
                </a:lnTo>
                <a:lnTo>
                  <a:pt x="4941739" y="3070877"/>
                </a:lnTo>
                <a:lnTo>
                  <a:pt x="4941739" y="3070878"/>
                </a:lnTo>
                <a:lnTo>
                  <a:pt x="4941413" y="3072394"/>
                </a:lnTo>
                <a:lnTo>
                  <a:pt x="4933491" y="3081921"/>
                </a:lnTo>
                <a:lnTo>
                  <a:pt x="4931647" y="3082571"/>
                </a:lnTo>
                <a:lnTo>
                  <a:pt x="4928825" y="3085602"/>
                </a:lnTo>
                <a:lnTo>
                  <a:pt x="4930236" y="3087984"/>
                </a:lnTo>
                <a:lnTo>
                  <a:pt x="4922097" y="3090800"/>
                </a:lnTo>
                <a:lnTo>
                  <a:pt x="4917757" y="3096863"/>
                </a:lnTo>
                <a:lnTo>
                  <a:pt x="4910703" y="3096863"/>
                </a:lnTo>
                <a:lnTo>
                  <a:pt x="4907773" y="3097837"/>
                </a:lnTo>
                <a:lnTo>
                  <a:pt x="4907231" y="3099570"/>
                </a:lnTo>
                <a:lnTo>
                  <a:pt x="4903866" y="3103467"/>
                </a:lnTo>
                <a:lnTo>
                  <a:pt x="4903650" y="3106390"/>
                </a:lnTo>
                <a:lnTo>
                  <a:pt x="4905168" y="3107582"/>
                </a:lnTo>
                <a:lnTo>
                  <a:pt x="4901262" y="3113645"/>
                </a:lnTo>
                <a:lnTo>
                  <a:pt x="4897355" y="3118408"/>
                </a:lnTo>
                <a:lnTo>
                  <a:pt x="4897355" y="3123822"/>
                </a:lnTo>
                <a:lnTo>
                  <a:pt x="4893883" y="3131401"/>
                </a:lnTo>
                <a:lnTo>
                  <a:pt x="4885201" y="3143961"/>
                </a:lnTo>
                <a:lnTo>
                  <a:pt x="4880101" y="3146018"/>
                </a:lnTo>
                <a:lnTo>
                  <a:pt x="4878040" y="3146018"/>
                </a:lnTo>
                <a:lnTo>
                  <a:pt x="4848306" y="3125122"/>
                </a:lnTo>
                <a:lnTo>
                  <a:pt x="4848307" y="3125122"/>
                </a:lnTo>
                <a:lnTo>
                  <a:pt x="4878040" y="3146018"/>
                </a:lnTo>
                <a:lnTo>
                  <a:pt x="4877172" y="3146018"/>
                </a:lnTo>
                <a:lnTo>
                  <a:pt x="4878365" y="3147318"/>
                </a:lnTo>
                <a:lnTo>
                  <a:pt x="4878799" y="3150999"/>
                </a:lnTo>
                <a:lnTo>
                  <a:pt x="4877172" y="3153381"/>
                </a:lnTo>
                <a:lnTo>
                  <a:pt x="4872071" y="3169188"/>
                </a:lnTo>
                <a:lnTo>
                  <a:pt x="4868057" y="3179149"/>
                </a:lnTo>
                <a:lnTo>
                  <a:pt x="4868382" y="3184671"/>
                </a:lnTo>
                <a:lnTo>
                  <a:pt x="4875110" y="3190518"/>
                </a:lnTo>
                <a:lnTo>
                  <a:pt x="4880102" y="3196148"/>
                </a:lnTo>
                <a:lnTo>
                  <a:pt x="4883249" y="3195715"/>
                </a:lnTo>
                <a:lnTo>
                  <a:pt x="4886504" y="3204593"/>
                </a:lnTo>
                <a:lnTo>
                  <a:pt x="4885094" y="3207300"/>
                </a:lnTo>
                <a:lnTo>
                  <a:pt x="4883140" y="3206758"/>
                </a:lnTo>
                <a:lnTo>
                  <a:pt x="4880210" y="3208599"/>
                </a:lnTo>
                <a:lnTo>
                  <a:pt x="4878799" y="3214338"/>
                </a:lnTo>
                <a:lnTo>
                  <a:pt x="4879234" y="3223215"/>
                </a:lnTo>
                <a:lnTo>
                  <a:pt x="4882815" y="3226680"/>
                </a:lnTo>
                <a:lnTo>
                  <a:pt x="4882164" y="3232311"/>
                </a:lnTo>
                <a:lnTo>
                  <a:pt x="4879017" y="3234909"/>
                </a:lnTo>
                <a:lnTo>
                  <a:pt x="4879776" y="3240214"/>
                </a:lnTo>
                <a:lnTo>
                  <a:pt x="4882381" y="3246602"/>
                </a:lnTo>
                <a:lnTo>
                  <a:pt x="4881078" y="3246927"/>
                </a:lnTo>
                <a:lnTo>
                  <a:pt x="4882489" y="3249850"/>
                </a:lnTo>
                <a:lnTo>
                  <a:pt x="4883465" y="3254505"/>
                </a:lnTo>
                <a:lnTo>
                  <a:pt x="4886287" y="3256888"/>
                </a:lnTo>
                <a:lnTo>
                  <a:pt x="4883900" y="3260786"/>
                </a:lnTo>
                <a:lnTo>
                  <a:pt x="4886178" y="3263492"/>
                </a:lnTo>
                <a:lnTo>
                  <a:pt x="4888566" y="3270638"/>
                </a:lnTo>
                <a:lnTo>
                  <a:pt x="4887807" y="3274211"/>
                </a:lnTo>
                <a:lnTo>
                  <a:pt x="4896271" y="3282439"/>
                </a:lnTo>
                <a:lnTo>
                  <a:pt x="4902456" y="3283306"/>
                </a:lnTo>
                <a:lnTo>
                  <a:pt x="4907665" y="3287637"/>
                </a:lnTo>
                <a:lnTo>
                  <a:pt x="4907665" y="3290019"/>
                </a:lnTo>
                <a:lnTo>
                  <a:pt x="4908315" y="3290343"/>
                </a:lnTo>
                <a:lnTo>
                  <a:pt x="4908316" y="3290343"/>
                </a:lnTo>
                <a:lnTo>
                  <a:pt x="4910052" y="3291426"/>
                </a:lnTo>
                <a:lnTo>
                  <a:pt x="4909075" y="3297055"/>
                </a:lnTo>
                <a:lnTo>
                  <a:pt x="4907881" y="3299871"/>
                </a:lnTo>
                <a:lnTo>
                  <a:pt x="4909075" y="3300953"/>
                </a:lnTo>
                <a:lnTo>
                  <a:pt x="4904192" y="3307991"/>
                </a:lnTo>
                <a:lnTo>
                  <a:pt x="4903649" y="3310589"/>
                </a:lnTo>
                <a:lnTo>
                  <a:pt x="4904626" y="3312322"/>
                </a:lnTo>
                <a:lnTo>
                  <a:pt x="4904951" y="3313838"/>
                </a:lnTo>
                <a:lnTo>
                  <a:pt x="4903106" y="3315570"/>
                </a:lnTo>
                <a:lnTo>
                  <a:pt x="4904192" y="3324123"/>
                </a:lnTo>
                <a:lnTo>
                  <a:pt x="4906905" y="3329104"/>
                </a:lnTo>
                <a:lnTo>
                  <a:pt x="4905494" y="3330620"/>
                </a:lnTo>
                <a:lnTo>
                  <a:pt x="4905494" y="3336683"/>
                </a:lnTo>
                <a:lnTo>
                  <a:pt x="4906905" y="3338199"/>
                </a:lnTo>
                <a:lnTo>
                  <a:pt x="4907013" y="3344153"/>
                </a:lnTo>
                <a:lnTo>
                  <a:pt x="4904517" y="3346644"/>
                </a:lnTo>
                <a:lnTo>
                  <a:pt x="4905386" y="3352923"/>
                </a:lnTo>
                <a:lnTo>
                  <a:pt x="4903649" y="3364724"/>
                </a:lnTo>
                <a:lnTo>
                  <a:pt x="4902673" y="3364724"/>
                </a:lnTo>
                <a:lnTo>
                  <a:pt x="4904083" y="3366782"/>
                </a:lnTo>
                <a:lnTo>
                  <a:pt x="4904083" y="3377501"/>
                </a:lnTo>
                <a:lnTo>
                  <a:pt x="4900502" y="3378042"/>
                </a:lnTo>
                <a:lnTo>
                  <a:pt x="4900394" y="3379341"/>
                </a:lnTo>
                <a:lnTo>
                  <a:pt x="4901588" y="3381074"/>
                </a:lnTo>
                <a:lnTo>
                  <a:pt x="4906362" y="3381290"/>
                </a:lnTo>
                <a:lnTo>
                  <a:pt x="4907664" y="3382265"/>
                </a:lnTo>
                <a:lnTo>
                  <a:pt x="4908749" y="3391468"/>
                </a:lnTo>
                <a:lnTo>
                  <a:pt x="4906362" y="3395041"/>
                </a:lnTo>
                <a:lnTo>
                  <a:pt x="4903758" y="3396231"/>
                </a:lnTo>
                <a:lnTo>
                  <a:pt x="4905386" y="3398397"/>
                </a:lnTo>
                <a:lnTo>
                  <a:pt x="4904626" y="3400779"/>
                </a:lnTo>
                <a:lnTo>
                  <a:pt x="4901479" y="3400779"/>
                </a:lnTo>
                <a:lnTo>
                  <a:pt x="4898115" y="3404243"/>
                </a:lnTo>
                <a:lnTo>
                  <a:pt x="4898983" y="3405435"/>
                </a:lnTo>
                <a:lnTo>
                  <a:pt x="4900068" y="3404568"/>
                </a:lnTo>
                <a:lnTo>
                  <a:pt x="4903106" y="3404894"/>
                </a:lnTo>
                <a:lnTo>
                  <a:pt x="4900936" y="3408033"/>
                </a:lnTo>
                <a:lnTo>
                  <a:pt x="4900394" y="3412905"/>
                </a:lnTo>
                <a:lnTo>
                  <a:pt x="4897355" y="3413446"/>
                </a:lnTo>
                <a:lnTo>
                  <a:pt x="4892147" y="3420051"/>
                </a:lnTo>
                <a:lnTo>
                  <a:pt x="4892147" y="3422974"/>
                </a:lnTo>
                <a:lnTo>
                  <a:pt x="4887372" y="3429470"/>
                </a:lnTo>
                <a:lnTo>
                  <a:pt x="4883465" y="3430012"/>
                </a:lnTo>
                <a:lnTo>
                  <a:pt x="4883791" y="3434559"/>
                </a:lnTo>
                <a:lnTo>
                  <a:pt x="4867839" y="3443221"/>
                </a:lnTo>
                <a:lnTo>
                  <a:pt x="4865560" y="3443329"/>
                </a:lnTo>
                <a:lnTo>
                  <a:pt x="4864258" y="3446794"/>
                </a:lnTo>
                <a:lnTo>
                  <a:pt x="4849066" y="3454806"/>
                </a:lnTo>
                <a:lnTo>
                  <a:pt x="4843206" y="3454157"/>
                </a:lnTo>
                <a:lnTo>
                  <a:pt x="4842880" y="3455347"/>
                </a:lnTo>
                <a:lnTo>
                  <a:pt x="4835935" y="3458595"/>
                </a:lnTo>
                <a:lnTo>
                  <a:pt x="4826277" y="3464875"/>
                </a:lnTo>
                <a:lnTo>
                  <a:pt x="4823998" y="3463359"/>
                </a:lnTo>
                <a:lnTo>
                  <a:pt x="4823890" y="3466391"/>
                </a:lnTo>
                <a:lnTo>
                  <a:pt x="4818030" y="3473428"/>
                </a:lnTo>
                <a:lnTo>
                  <a:pt x="4815100" y="3474728"/>
                </a:lnTo>
                <a:lnTo>
                  <a:pt x="4813364" y="3470938"/>
                </a:lnTo>
                <a:lnTo>
                  <a:pt x="4812387" y="3477110"/>
                </a:lnTo>
                <a:lnTo>
                  <a:pt x="4809565" y="3477867"/>
                </a:lnTo>
                <a:lnTo>
                  <a:pt x="4808697" y="3481549"/>
                </a:lnTo>
                <a:lnTo>
                  <a:pt x="4799039" y="3487179"/>
                </a:lnTo>
                <a:lnTo>
                  <a:pt x="4798930" y="3489561"/>
                </a:lnTo>
                <a:lnTo>
                  <a:pt x="4796326" y="3491726"/>
                </a:lnTo>
                <a:lnTo>
                  <a:pt x="4794156" y="3492484"/>
                </a:lnTo>
                <a:lnTo>
                  <a:pt x="4794373" y="3495732"/>
                </a:lnTo>
                <a:lnTo>
                  <a:pt x="4788839" y="3495949"/>
                </a:lnTo>
                <a:lnTo>
                  <a:pt x="4776034" y="3504502"/>
                </a:lnTo>
                <a:lnTo>
                  <a:pt x="4776685" y="3509916"/>
                </a:lnTo>
                <a:lnTo>
                  <a:pt x="4772561" y="3512947"/>
                </a:lnTo>
                <a:lnTo>
                  <a:pt x="4766809" y="3512947"/>
                </a:lnTo>
                <a:lnTo>
                  <a:pt x="4764423" y="3516087"/>
                </a:lnTo>
                <a:lnTo>
                  <a:pt x="4759865" y="3513164"/>
                </a:lnTo>
                <a:lnTo>
                  <a:pt x="4757369" y="3513489"/>
                </a:lnTo>
                <a:lnTo>
                  <a:pt x="4757369" y="3515546"/>
                </a:lnTo>
                <a:lnTo>
                  <a:pt x="4759756" y="3518252"/>
                </a:lnTo>
                <a:lnTo>
                  <a:pt x="4759539" y="3522042"/>
                </a:lnTo>
                <a:lnTo>
                  <a:pt x="4757803" y="3524424"/>
                </a:lnTo>
                <a:lnTo>
                  <a:pt x="4758454" y="3527997"/>
                </a:lnTo>
                <a:lnTo>
                  <a:pt x="4755958" y="3531786"/>
                </a:lnTo>
                <a:lnTo>
                  <a:pt x="4762795" y="3540989"/>
                </a:lnTo>
                <a:lnTo>
                  <a:pt x="4763012" y="3544237"/>
                </a:lnTo>
                <a:lnTo>
                  <a:pt x="4759865" y="3546728"/>
                </a:lnTo>
                <a:lnTo>
                  <a:pt x="4762252" y="3547811"/>
                </a:lnTo>
                <a:lnTo>
                  <a:pt x="4764748" y="3552033"/>
                </a:lnTo>
                <a:lnTo>
                  <a:pt x="4764965" y="3557554"/>
                </a:lnTo>
                <a:lnTo>
                  <a:pt x="4767786" y="3562860"/>
                </a:lnTo>
                <a:lnTo>
                  <a:pt x="4766593" y="3577693"/>
                </a:lnTo>
                <a:lnTo>
                  <a:pt x="4768003" y="3582998"/>
                </a:lnTo>
                <a:lnTo>
                  <a:pt x="4769740" y="3582674"/>
                </a:lnTo>
                <a:lnTo>
                  <a:pt x="4769740" y="3578559"/>
                </a:lnTo>
                <a:lnTo>
                  <a:pt x="4772453" y="3572821"/>
                </a:lnTo>
                <a:lnTo>
                  <a:pt x="4772778" y="3577802"/>
                </a:lnTo>
                <a:lnTo>
                  <a:pt x="4773972" y="3577693"/>
                </a:lnTo>
                <a:lnTo>
                  <a:pt x="4773646" y="3584190"/>
                </a:lnTo>
                <a:lnTo>
                  <a:pt x="4771693" y="3586680"/>
                </a:lnTo>
                <a:lnTo>
                  <a:pt x="4771259" y="3593176"/>
                </a:lnTo>
                <a:lnTo>
                  <a:pt x="4772344" y="3594042"/>
                </a:lnTo>
                <a:lnTo>
                  <a:pt x="4769522" y="3601621"/>
                </a:lnTo>
                <a:lnTo>
                  <a:pt x="4769522" y="3605519"/>
                </a:lnTo>
                <a:lnTo>
                  <a:pt x="4767353" y="3608333"/>
                </a:lnTo>
                <a:lnTo>
                  <a:pt x="4767027" y="3613206"/>
                </a:lnTo>
                <a:lnTo>
                  <a:pt x="4765725" y="3613206"/>
                </a:lnTo>
                <a:lnTo>
                  <a:pt x="4766593" y="3617320"/>
                </a:lnTo>
                <a:lnTo>
                  <a:pt x="4770174" y="3615155"/>
                </a:lnTo>
                <a:lnTo>
                  <a:pt x="4771042" y="3617861"/>
                </a:lnTo>
                <a:lnTo>
                  <a:pt x="4768003" y="3622409"/>
                </a:lnTo>
                <a:lnTo>
                  <a:pt x="4766593" y="3628472"/>
                </a:lnTo>
                <a:lnTo>
                  <a:pt x="4757912" y="3637783"/>
                </a:lnTo>
                <a:lnTo>
                  <a:pt x="4742393" y="3644821"/>
                </a:lnTo>
                <a:lnTo>
                  <a:pt x="4721341" y="3648935"/>
                </a:lnTo>
                <a:lnTo>
                  <a:pt x="4713311" y="3656514"/>
                </a:lnTo>
                <a:lnTo>
                  <a:pt x="4707234" y="3658138"/>
                </a:lnTo>
                <a:lnTo>
                  <a:pt x="4705389" y="3660953"/>
                </a:lnTo>
                <a:lnTo>
                  <a:pt x="4702351" y="3663443"/>
                </a:lnTo>
                <a:lnTo>
                  <a:pt x="4700615" y="3669182"/>
                </a:lnTo>
                <a:lnTo>
                  <a:pt x="4698119" y="3669182"/>
                </a:lnTo>
                <a:lnTo>
                  <a:pt x="4695949" y="3670697"/>
                </a:lnTo>
                <a:lnTo>
                  <a:pt x="4696925" y="3671997"/>
                </a:lnTo>
                <a:lnTo>
                  <a:pt x="4699204" y="3676328"/>
                </a:lnTo>
                <a:lnTo>
                  <a:pt x="4698987" y="3680550"/>
                </a:lnTo>
                <a:lnTo>
                  <a:pt x="4701157" y="3677844"/>
                </a:lnTo>
                <a:lnTo>
                  <a:pt x="4704630" y="3678818"/>
                </a:lnTo>
                <a:lnTo>
                  <a:pt x="4705606" y="3674812"/>
                </a:lnTo>
                <a:lnTo>
                  <a:pt x="4707234" y="3674595"/>
                </a:lnTo>
                <a:lnTo>
                  <a:pt x="4707343" y="3676869"/>
                </a:lnTo>
                <a:lnTo>
                  <a:pt x="4706366" y="3683473"/>
                </a:lnTo>
                <a:lnTo>
                  <a:pt x="4703979" y="3687479"/>
                </a:lnTo>
                <a:lnTo>
                  <a:pt x="4703870" y="3691161"/>
                </a:lnTo>
                <a:lnTo>
                  <a:pt x="4699095" y="3691269"/>
                </a:lnTo>
                <a:lnTo>
                  <a:pt x="4690851" y="3689320"/>
                </a:lnTo>
                <a:lnTo>
                  <a:pt x="4696491" y="3692568"/>
                </a:lnTo>
                <a:lnTo>
                  <a:pt x="4701266" y="3692568"/>
                </a:lnTo>
                <a:lnTo>
                  <a:pt x="4701266" y="3693758"/>
                </a:lnTo>
                <a:lnTo>
                  <a:pt x="4698336" y="3697549"/>
                </a:lnTo>
                <a:lnTo>
                  <a:pt x="4699747" y="3697549"/>
                </a:lnTo>
                <a:lnTo>
                  <a:pt x="4696818" y="3706210"/>
                </a:lnTo>
                <a:lnTo>
                  <a:pt x="4696058" y="3713680"/>
                </a:lnTo>
                <a:lnTo>
                  <a:pt x="4692476" y="3720826"/>
                </a:lnTo>
                <a:lnTo>
                  <a:pt x="4690089" y="3730030"/>
                </a:lnTo>
                <a:lnTo>
                  <a:pt x="4686617" y="3734143"/>
                </a:lnTo>
                <a:lnTo>
                  <a:pt x="4685532" y="3738366"/>
                </a:lnTo>
                <a:lnTo>
                  <a:pt x="4678912" y="3746053"/>
                </a:lnTo>
                <a:lnTo>
                  <a:pt x="4676850" y="3746053"/>
                </a:lnTo>
                <a:lnTo>
                  <a:pt x="4675440" y="3748110"/>
                </a:lnTo>
                <a:lnTo>
                  <a:pt x="4670556" y="3750384"/>
                </a:lnTo>
                <a:lnTo>
                  <a:pt x="4668277" y="3753199"/>
                </a:lnTo>
                <a:lnTo>
                  <a:pt x="4662526" y="3756880"/>
                </a:lnTo>
                <a:lnTo>
                  <a:pt x="4659596" y="3762510"/>
                </a:lnTo>
                <a:lnTo>
                  <a:pt x="4654930" y="3767924"/>
                </a:lnTo>
                <a:lnTo>
                  <a:pt x="4654930" y="3770306"/>
                </a:lnTo>
                <a:lnTo>
                  <a:pt x="4652217" y="3775395"/>
                </a:lnTo>
                <a:lnTo>
                  <a:pt x="4647659" y="3775395"/>
                </a:lnTo>
                <a:lnTo>
                  <a:pt x="4644078" y="3782432"/>
                </a:lnTo>
                <a:lnTo>
                  <a:pt x="4634094" y="3798997"/>
                </a:lnTo>
                <a:lnTo>
                  <a:pt x="4626499" y="3806252"/>
                </a:lnTo>
                <a:lnTo>
                  <a:pt x="4625196" y="3812856"/>
                </a:lnTo>
                <a:lnTo>
                  <a:pt x="4620747" y="3814805"/>
                </a:lnTo>
                <a:lnTo>
                  <a:pt x="4616514" y="3819785"/>
                </a:lnTo>
                <a:lnTo>
                  <a:pt x="4614128" y="3819785"/>
                </a:lnTo>
                <a:lnTo>
                  <a:pt x="4613042" y="3821734"/>
                </a:lnTo>
                <a:lnTo>
                  <a:pt x="4588083" y="3846312"/>
                </a:lnTo>
                <a:lnTo>
                  <a:pt x="4585045" y="3846312"/>
                </a:lnTo>
                <a:lnTo>
                  <a:pt x="4585045" y="3847611"/>
                </a:lnTo>
                <a:lnTo>
                  <a:pt x="4581030" y="3852158"/>
                </a:lnTo>
                <a:lnTo>
                  <a:pt x="4564644" y="3862985"/>
                </a:lnTo>
                <a:lnTo>
                  <a:pt x="4561171" y="3866883"/>
                </a:lnTo>
                <a:lnTo>
                  <a:pt x="4555420" y="3868615"/>
                </a:lnTo>
                <a:lnTo>
                  <a:pt x="4555420" y="3870131"/>
                </a:lnTo>
                <a:lnTo>
                  <a:pt x="4546305" y="3872513"/>
                </a:lnTo>
                <a:lnTo>
                  <a:pt x="4541096" y="3875761"/>
                </a:lnTo>
                <a:lnTo>
                  <a:pt x="4535670" y="3875761"/>
                </a:lnTo>
                <a:lnTo>
                  <a:pt x="4533065" y="3873812"/>
                </a:lnTo>
                <a:lnTo>
                  <a:pt x="4525795" y="3873812"/>
                </a:lnTo>
                <a:lnTo>
                  <a:pt x="4519718" y="3875652"/>
                </a:lnTo>
                <a:lnTo>
                  <a:pt x="4517222" y="3879984"/>
                </a:lnTo>
                <a:lnTo>
                  <a:pt x="4520803" y="3883015"/>
                </a:lnTo>
                <a:lnTo>
                  <a:pt x="4520803" y="3884314"/>
                </a:lnTo>
                <a:lnTo>
                  <a:pt x="4512447" y="3884314"/>
                </a:lnTo>
                <a:lnTo>
                  <a:pt x="4507564" y="3881824"/>
                </a:lnTo>
                <a:lnTo>
                  <a:pt x="4503657" y="3881824"/>
                </a:lnTo>
                <a:lnTo>
                  <a:pt x="4500293" y="3885180"/>
                </a:lnTo>
                <a:lnTo>
                  <a:pt x="4501704" y="3888212"/>
                </a:lnTo>
                <a:lnTo>
                  <a:pt x="4500185" y="3889728"/>
                </a:lnTo>
                <a:lnTo>
                  <a:pt x="4488682" y="3887237"/>
                </a:lnTo>
                <a:lnTo>
                  <a:pt x="4485427" y="3884747"/>
                </a:lnTo>
                <a:lnTo>
                  <a:pt x="4474575" y="3881933"/>
                </a:lnTo>
                <a:lnTo>
                  <a:pt x="4467304" y="3883340"/>
                </a:lnTo>
                <a:lnTo>
                  <a:pt x="4467304" y="3883123"/>
                </a:lnTo>
                <a:lnTo>
                  <a:pt x="4463506" y="3884531"/>
                </a:lnTo>
                <a:lnTo>
                  <a:pt x="4457863" y="3881500"/>
                </a:lnTo>
                <a:lnTo>
                  <a:pt x="4445059" y="3881500"/>
                </a:lnTo>
                <a:lnTo>
                  <a:pt x="4441261" y="3883231"/>
                </a:lnTo>
                <a:lnTo>
                  <a:pt x="4440067" y="3887129"/>
                </a:lnTo>
                <a:lnTo>
                  <a:pt x="4437571" y="3885939"/>
                </a:lnTo>
                <a:lnTo>
                  <a:pt x="4434641" y="3886804"/>
                </a:lnTo>
                <a:lnTo>
                  <a:pt x="4432037" y="3888971"/>
                </a:lnTo>
                <a:lnTo>
                  <a:pt x="4430625" y="3890919"/>
                </a:lnTo>
                <a:lnTo>
                  <a:pt x="4424983" y="3890919"/>
                </a:lnTo>
                <a:lnTo>
                  <a:pt x="4421293" y="3892543"/>
                </a:lnTo>
                <a:lnTo>
                  <a:pt x="4414240" y="3890053"/>
                </a:lnTo>
                <a:lnTo>
                  <a:pt x="4408271" y="3890053"/>
                </a:lnTo>
                <a:lnTo>
                  <a:pt x="4407078" y="3891785"/>
                </a:lnTo>
                <a:lnTo>
                  <a:pt x="4401326" y="3890486"/>
                </a:lnTo>
                <a:lnTo>
                  <a:pt x="4396226" y="3896333"/>
                </a:lnTo>
                <a:lnTo>
                  <a:pt x="4391886" y="3897091"/>
                </a:lnTo>
                <a:lnTo>
                  <a:pt x="4390366" y="3900555"/>
                </a:lnTo>
                <a:lnTo>
                  <a:pt x="4387871" y="3899689"/>
                </a:lnTo>
                <a:lnTo>
                  <a:pt x="4385591" y="3900771"/>
                </a:lnTo>
                <a:lnTo>
                  <a:pt x="4373655" y="3895142"/>
                </a:lnTo>
                <a:lnTo>
                  <a:pt x="4371267" y="3896549"/>
                </a:lnTo>
                <a:lnTo>
                  <a:pt x="4371267" y="3890811"/>
                </a:lnTo>
                <a:lnTo>
                  <a:pt x="4366709" y="3888537"/>
                </a:lnTo>
                <a:lnTo>
                  <a:pt x="4363237" y="3890269"/>
                </a:lnTo>
                <a:lnTo>
                  <a:pt x="4360958" y="3889295"/>
                </a:lnTo>
                <a:lnTo>
                  <a:pt x="4362911" y="3887671"/>
                </a:lnTo>
                <a:lnTo>
                  <a:pt x="4361609" y="3882690"/>
                </a:lnTo>
                <a:lnTo>
                  <a:pt x="4356075" y="3881715"/>
                </a:lnTo>
                <a:lnTo>
                  <a:pt x="4352060" y="3885289"/>
                </a:lnTo>
                <a:lnTo>
                  <a:pt x="4352060" y="3889728"/>
                </a:lnTo>
                <a:lnTo>
                  <a:pt x="4349021" y="3887455"/>
                </a:lnTo>
                <a:lnTo>
                  <a:pt x="4349021" y="3882582"/>
                </a:lnTo>
                <a:lnTo>
                  <a:pt x="4350757" y="3878468"/>
                </a:lnTo>
                <a:lnTo>
                  <a:pt x="4349672" y="3872513"/>
                </a:lnTo>
                <a:lnTo>
                  <a:pt x="4352928" y="3867208"/>
                </a:lnTo>
                <a:lnTo>
                  <a:pt x="4348696" y="3859521"/>
                </a:lnTo>
                <a:lnTo>
                  <a:pt x="4344464" y="3855731"/>
                </a:lnTo>
                <a:lnTo>
                  <a:pt x="4340883" y="3849560"/>
                </a:lnTo>
                <a:lnTo>
                  <a:pt x="4340883" y="3843388"/>
                </a:lnTo>
                <a:lnTo>
                  <a:pt x="4343378" y="3841006"/>
                </a:lnTo>
                <a:lnTo>
                  <a:pt x="4345766" y="3843388"/>
                </a:lnTo>
                <a:lnTo>
                  <a:pt x="4347936" y="3843388"/>
                </a:lnTo>
                <a:lnTo>
                  <a:pt x="4350757" y="3840357"/>
                </a:lnTo>
                <a:lnTo>
                  <a:pt x="4352169" y="3832994"/>
                </a:lnTo>
                <a:lnTo>
                  <a:pt x="4349564" y="3824982"/>
                </a:lnTo>
                <a:lnTo>
                  <a:pt x="4349564" y="3821409"/>
                </a:lnTo>
                <a:lnTo>
                  <a:pt x="4342728" y="3810582"/>
                </a:lnTo>
                <a:lnTo>
                  <a:pt x="4342728" y="3805385"/>
                </a:lnTo>
                <a:lnTo>
                  <a:pt x="4335999" y="3796724"/>
                </a:lnTo>
                <a:lnTo>
                  <a:pt x="4332960" y="3782865"/>
                </a:lnTo>
                <a:lnTo>
                  <a:pt x="4327861" y="3769656"/>
                </a:lnTo>
                <a:lnTo>
                  <a:pt x="4327861" y="3762943"/>
                </a:lnTo>
                <a:lnTo>
                  <a:pt x="4322760" y="3748327"/>
                </a:lnTo>
                <a:lnTo>
                  <a:pt x="4314947" y="3742696"/>
                </a:lnTo>
                <a:lnTo>
                  <a:pt x="4313704" y="3735256"/>
                </a:lnTo>
                <a:lnTo>
                  <a:pt x="4307784" y="3731003"/>
                </a:lnTo>
                <a:lnTo>
                  <a:pt x="4306483" y="3727755"/>
                </a:lnTo>
                <a:lnTo>
                  <a:pt x="4300731" y="3722016"/>
                </a:lnTo>
                <a:lnTo>
                  <a:pt x="4294980" y="3710648"/>
                </a:lnTo>
                <a:lnTo>
                  <a:pt x="4290531" y="3704693"/>
                </a:lnTo>
                <a:lnTo>
                  <a:pt x="4290096" y="3695382"/>
                </a:lnTo>
                <a:lnTo>
                  <a:pt x="4286407" y="3691268"/>
                </a:lnTo>
                <a:lnTo>
                  <a:pt x="4286407" y="3686396"/>
                </a:lnTo>
                <a:lnTo>
                  <a:pt x="4288903" y="3684447"/>
                </a:lnTo>
                <a:lnTo>
                  <a:pt x="4286732" y="3680224"/>
                </a:lnTo>
                <a:lnTo>
                  <a:pt x="4283477" y="3678492"/>
                </a:lnTo>
                <a:lnTo>
                  <a:pt x="4281741" y="3666041"/>
                </a:lnTo>
                <a:lnTo>
                  <a:pt x="4278811" y="3662359"/>
                </a:lnTo>
                <a:lnTo>
                  <a:pt x="4282283" y="3660194"/>
                </a:lnTo>
                <a:lnTo>
                  <a:pt x="4280113" y="3653373"/>
                </a:lnTo>
                <a:lnTo>
                  <a:pt x="4280873" y="3643304"/>
                </a:lnTo>
                <a:lnTo>
                  <a:pt x="4273710" y="3624573"/>
                </a:lnTo>
                <a:lnTo>
                  <a:pt x="4273059" y="3606059"/>
                </a:lnTo>
                <a:lnTo>
                  <a:pt x="4269587" y="3593824"/>
                </a:lnTo>
                <a:lnTo>
                  <a:pt x="4272734" y="3592525"/>
                </a:lnTo>
                <a:lnTo>
                  <a:pt x="4272734" y="3582672"/>
                </a:lnTo>
                <a:lnTo>
                  <a:pt x="4260037" y="3564375"/>
                </a:lnTo>
                <a:lnTo>
                  <a:pt x="4260037" y="3557770"/>
                </a:lnTo>
                <a:lnTo>
                  <a:pt x="4248101" y="3540772"/>
                </a:lnTo>
                <a:lnTo>
                  <a:pt x="4246256" y="3530161"/>
                </a:lnTo>
                <a:lnTo>
                  <a:pt x="4234427" y="3503635"/>
                </a:lnTo>
                <a:lnTo>
                  <a:pt x="4226831" y="3490643"/>
                </a:lnTo>
                <a:lnTo>
                  <a:pt x="4212724" y="3476135"/>
                </a:lnTo>
                <a:lnTo>
                  <a:pt x="4211422" y="3455888"/>
                </a:lnTo>
                <a:lnTo>
                  <a:pt x="4211423" y="3455888"/>
                </a:lnTo>
                <a:lnTo>
                  <a:pt x="4211314" y="3453398"/>
                </a:lnTo>
                <a:lnTo>
                  <a:pt x="4212291" y="3445820"/>
                </a:lnTo>
                <a:lnTo>
                  <a:pt x="4211965" y="3434235"/>
                </a:lnTo>
                <a:lnTo>
                  <a:pt x="4213050" y="3426656"/>
                </a:lnTo>
                <a:lnTo>
                  <a:pt x="4213050" y="3417994"/>
                </a:lnTo>
                <a:lnTo>
                  <a:pt x="4219561" y="3410090"/>
                </a:lnTo>
                <a:lnTo>
                  <a:pt x="4221080" y="3400996"/>
                </a:lnTo>
                <a:lnTo>
                  <a:pt x="4226832" y="3393417"/>
                </a:lnTo>
                <a:lnTo>
                  <a:pt x="4226832" y="3374252"/>
                </a:lnTo>
                <a:lnTo>
                  <a:pt x="4229002" y="3372413"/>
                </a:lnTo>
                <a:lnTo>
                  <a:pt x="4229328" y="3364509"/>
                </a:lnTo>
                <a:lnTo>
                  <a:pt x="4242350" y="3352923"/>
                </a:lnTo>
                <a:lnTo>
                  <a:pt x="4242784" y="3347185"/>
                </a:lnTo>
                <a:lnTo>
                  <a:pt x="4253310" y="3339173"/>
                </a:lnTo>
                <a:lnTo>
                  <a:pt x="4256131" y="3339173"/>
                </a:lnTo>
                <a:lnTo>
                  <a:pt x="4265572" y="3321525"/>
                </a:lnTo>
                <a:lnTo>
                  <a:pt x="4265572" y="3300520"/>
                </a:lnTo>
                <a:lnTo>
                  <a:pt x="4262642" y="3296948"/>
                </a:lnTo>
                <a:lnTo>
                  <a:pt x="4263077" y="3292942"/>
                </a:lnTo>
                <a:lnTo>
                  <a:pt x="4253961" y="3278108"/>
                </a:lnTo>
                <a:lnTo>
                  <a:pt x="4253961" y="3271937"/>
                </a:lnTo>
                <a:lnTo>
                  <a:pt x="4250379" y="3266199"/>
                </a:lnTo>
                <a:lnTo>
                  <a:pt x="4250379" y="3257537"/>
                </a:lnTo>
                <a:lnTo>
                  <a:pt x="4246040" y="3255372"/>
                </a:lnTo>
                <a:lnTo>
                  <a:pt x="4253636" y="3245627"/>
                </a:lnTo>
                <a:lnTo>
                  <a:pt x="4254720" y="3236208"/>
                </a:lnTo>
                <a:lnTo>
                  <a:pt x="4247450" y="3226139"/>
                </a:lnTo>
                <a:lnTo>
                  <a:pt x="4247016" y="3207516"/>
                </a:lnTo>
                <a:lnTo>
                  <a:pt x="4233777" y="3192683"/>
                </a:lnTo>
                <a:lnTo>
                  <a:pt x="4233777" y="3189219"/>
                </a:lnTo>
                <a:lnTo>
                  <a:pt x="4231281" y="3186187"/>
                </a:lnTo>
                <a:lnTo>
                  <a:pt x="4238117" y="3182397"/>
                </a:lnTo>
                <a:lnTo>
                  <a:pt x="4238552" y="3182397"/>
                </a:lnTo>
                <a:lnTo>
                  <a:pt x="4238986" y="3182181"/>
                </a:lnTo>
                <a:lnTo>
                  <a:pt x="4239854" y="3181098"/>
                </a:lnTo>
                <a:lnTo>
                  <a:pt x="4241699" y="3181098"/>
                </a:lnTo>
                <a:lnTo>
                  <a:pt x="4243218" y="3180340"/>
                </a:lnTo>
                <a:lnTo>
                  <a:pt x="4247341" y="3179149"/>
                </a:lnTo>
                <a:lnTo>
                  <a:pt x="4251139" y="3178283"/>
                </a:lnTo>
                <a:lnTo>
                  <a:pt x="4254720" y="3178716"/>
                </a:lnTo>
                <a:lnTo>
                  <a:pt x="4258084" y="3179040"/>
                </a:lnTo>
                <a:lnTo>
                  <a:pt x="4262859" y="3179040"/>
                </a:lnTo>
                <a:lnTo>
                  <a:pt x="4268393" y="3178825"/>
                </a:lnTo>
                <a:lnTo>
                  <a:pt x="4275447" y="3178499"/>
                </a:lnTo>
                <a:lnTo>
                  <a:pt x="4279245" y="3178825"/>
                </a:lnTo>
                <a:lnTo>
                  <a:pt x="4286841" y="3179149"/>
                </a:lnTo>
                <a:lnTo>
                  <a:pt x="4295089" y="3178499"/>
                </a:lnTo>
                <a:lnTo>
                  <a:pt x="4312017" y="3178499"/>
                </a:lnTo>
                <a:lnTo>
                  <a:pt x="4336976" y="3178607"/>
                </a:lnTo>
                <a:lnTo>
                  <a:pt x="4336976" y="3178607"/>
                </a:lnTo>
                <a:lnTo>
                  <a:pt x="4312016" y="3178498"/>
                </a:lnTo>
                <a:lnTo>
                  <a:pt x="4295088" y="3178498"/>
                </a:lnTo>
                <a:lnTo>
                  <a:pt x="4286841" y="3179148"/>
                </a:lnTo>
                <a:lnTo>
                  <a:pt x="4279244" y="3178824"/>
                </a:lnTo>
                <a:lnTo>
                  <a:pt x="4275446" y="3178498"/>
                </a:lnTo>
                <a:lnTo>
                  <a:pt x="4268393" y="3178824"/>
                </a:lnTo>
                <a:lnTo>
                  <a:pt x="4262859" y="3179039"/>
                </a:lnTo>
                <a:lnTo>
                  <a:pt x="4258084" y="3179039"/>
                </a:lnTo>
                <a:lnTo>
                  <a:pt x="4254720" y="3178715"/>
                </a:lnTo>
                <a:lnTo>
                  <a:pt x="4251139" y="3178282"/>
                </a:lnTo>
                <a:lnTo>
                  <a:pt x="4247340" y="3179148"/>
                </a:lnTo>
                <a:lnTo>
                  <a:pt x="4243217" y="3180339"/>
                </a:lnTo>
                <a:lnTo>
                  <a:pt x="4241698" y="3181097"/>
                </a:lnTo>
                <a:lnTo>
                  <a:pt x="4239853" y="3181097"/>
                </a:lnTo>
                <a:lnTo>
                  <a:pt x="4238985" y="3182180"/>
                </a:lnTo>
                <a:lnTo>
                  <a:pt x="4238551" y="3182396"/>
                </a:lnTo>
                <a:lnTo>
                  <a:pt x="4238117" y="3182396"/>
                </a:lnTo>
                <a:lnTo>
                  <a:pt x="4235295" y="3180231"/>
                </a:lnTo>
                <a:lnTo>
                  <a:pt x="4228350" y="3180122"/>
                </a:lnTo>
                <a:lnTo>
                  <a:pt x="4227157" y="3177309"/>
                </a:lnTo>
                <a:lnTo>
                  <a:pt x="4227157" y="3177309"/>
                </a:lnTo>
                <a:lnTo>
                  <a:pt x="4225855" y="3174494"/>
                </a:lnTo>
                <a:lnTo>
                  <a:pt x="4228567" y="3169406"/>
                </a:lnTo>
                <a:lnTo>
                  <a:pt x="4226940" y="3162584"/>
                </a:lnTo>
                <a:lnTo>
                  <a:pt x="4224010" y="3159445"/>
                </a:lnTo>
                <a:lnTo>
                  <a:pt x="4226397" y="3158037"/>
                </a:lnTo>
                <a:lnTo>
                  <a:pt x="4228676" y="3152406"/>
                </a:lnTo>
                <a:lnTo>
                  <a:pt x="4230303" y="3152406"/>
                </a:lnTo>
                <a:lnTo>
                  <a:pt x="4234101" y="3150349"/>
                </a:lnTo>
                <a:lnTo>
                  <a:pt x="4235121" y="3147297"/>
                </a:lnTo>
                <a:lnTo>
                  <a:pt x="4234101" y="3150348"/>
                </a:lnTo>
                <a:lnTo>
                  <a:pt x="4230303" y="3152405"/>
                </a:lnTo>
                <a:lnTo>
                  <a:pt x="4228675" y="3152405"/>
                </a:lnTo>
                <a:lnTo>
                  <a:pt x="4226397" y="3158036"/>
                </a:lnTo>
                <a:lnTo>
                  <a:pt x="4224009" y="3159443"/>
                </a:lnTo>
                <a:lnTo>
                  <a:pt x="4221296" y="3156412"/>
                </a:lnTo>
                <a:lnTo>
                  <a:pt x="4221513" y="3151756"/>
                </a:lnTo>
                <a:lnTo>
                  <a:pt x="4217715" y="3147642"/>
                </a:lnTo>
                <a:lnTo>
                  <a:pt x="4217498" y="3143311"/>
                </a:lnTo>
                <a:lnTo>
                  <a:pt x="4210336" y="3138763"/>
                </a:lnTo>
                <a:lnTo>
                  <a:pt x="4208600" y="3135732"/>
                </a:lnTo>
                <a:lnTo>
                  <a:pt x="4203934" y="3131076"/>
                </a:lnTo>
                <a:lnTo>
                  <a:pt x="4207406" y="3126204"/>
                </a:lnTo>
                <a:lnTo>
                  <a:pt x="4207841" y="3122956"/>
                </a:lnTo>
                <a:lnTo>
                  <a:pt x="4210119" y="3121873"/>
                </a:lnTo>
                <a:lnTo>
                  <a:pt x="4214460" y="3121657"/>
                </a:lnTo>
                <a:lnTo>
                  <a:pt x="4210119" y="3121873"/>
                </a:lnTo>
                <a:lnTo>
                  <a:pt x="4207840" y="3122956"/>
                </a:lnTo>
                <a:lnTo>
                  <a:pt x="4207406" y="3126204"/>
                </a:lnTo>
                <a:lnTo>
                  <a:pt x="4203933" y="3131076"/>
                </a:lnTo>
                <a:lnTo>
                  <a:pt x="4202848" y="3130102"/>
                </a:lnTo>
                <a:lnTo>
                  <a:pt x="4198725" y="3128478"/>
                </a:lnTo>
                <a:lnTo>
                  <a:pt x="4197966" y="3124471"/>
                </a:lnTo>
                <a:lnTo>
                  <a:pt x="4189284" y="3120358"/>
                </a:lnTo>
                <a:lnTo>
                  <a:pt x="4187113" y="3115161"/>
                </a:lnTo>
                <a:lnTo>
                  <a:pt x="4176262" y="3106499"/>
                </a:lnTo>
                <a:lnTo>
                  <a:pt x="4169751" y="3099569"/>
                </a:lnTo>
                <a:lnTo>
                  <a:pt x="4171596" y="3098379"/>
                </a:lnTo>
                <a:lnTo>
                  <a:pt x="4165410" y="3093290"/>
                </a:lnTo>
                <a:lnTo>
                  <a:pt x="4162915" y="3087660"/>
                </a:lnTo>
                <a:lnTo>
                  <a:pt x="4159334" y="3084087"/>
                </a:lnTo>
                <a:lnTo>
                  <a:pt x="4159334" y="3076941"/>
                </a:lnTo>
                <a:lnTo>
                  <a:pt x="4154993" y="3071311"/>
                </a:lnTo>
                <a:lnTo>
                  <a:pt x="4154993" y="3067522"/>
                </a:lnTo>
                <a:lnTo>
                  <a:pt x="4152171" y="3065356"/>
                </a:lnTo>
                <a:lnTo>
                  <a:pt x="4147180" y="3054854"/>
                </a:lnTo>
                <a:lnTo>
                  <a:pt x="4147505" y="3052364"/>
                </a:lnTo>
                <a:lnTo>
                  <a:pt x="4153365" y="3054313"/>
                </a:lnTo>
                <a:lnTo>
                  <a:pt x="4157814" y="3050523"/>
                </a:lnTo>
                <a:lnTo>
                  <a:pt x="4158899" y="3037314"/>
                </a:lnTo>
                <a:lnTo>
                  <a:pt x="4159659" y="3030710"/>
                </a:lnTo>
                <a:lnTo>
                  <a:pt x="4162372" y="3033417"/>
                </a:lnTo>
                <a:lnTo>
                  <a:pt x="4172898" y="3030818"/>
                </a:lnTo>
                <a:lnTo>
                  <a:pt x="4165410" y="3029085"/>
                </a:lnTo>
                <a:lnTo>
                  <a:pt x="4160744" y="3021507"/>
                </a:lnTo>
                <a:lnTo>
                  <a:pt x="4165845" y="3020749"/>
                </a:lnTo>
                <a:lnTo>
                  <a:pt x="4166062" y="3015119"/>
                </a:lnTo>
                <a:lnTo>
                  <a:pt x="4168991" y="3015660"/>
                </a:lnTo>
                <a:lnTo>
                  <a:pt x="4170686" y="3014470"/>
                </a:lnTo>
                <a:lnTo>
                  <a:pt x="4168991" y="3015660"/>
                </a:lnTo>
                <a:lnTo>
                  <a:pt x="4166062" y="3015119"/>
                </a:lnTo>
                <a:lnTo>
                  <a:pt x="4166170" y="3013711"/>
                </a:lnTo>
                <a:lnTo>
                  <a:pt x="4160202" y="3010680"/>
                </a:lnTo>
                <a:lnTo>
                  <a:pt x="4166170" y="2999311"/>
                </a:lnTo>
                <a:lnTo>
                  <a:pt x="4173766" y="2990758"/>
                </a:lnTo>
                <a:lnTo>
                  <a:pt x="4171922" y="2986644"/>
                </a:lnTo>
                <a:lnTo>
                  <a:pt x="4172898" y="2985670"/>
                </a:lnTo>
                <a:lnTo>
                  <a:pt x="4174172" y="2985443"/>
                </a:lnTo>
                <a:lnTo>
                  <a:pt x="4172899" y="2985669"/>
                </a:lnTo>
                <a:lnTo>
                  <a:pt x="4176697" y="2981989"/>
                </a:lnTo>
                <a:lnTo>
                  <a:pt x="4173224" y="2978307"/>
                </a:lnTo>
                <a:lnTo>
                  <a:pt x="4176479" y="2970079"/>
                </a:lnTo>
                <a:lnTo>
                  <a:pt x="4175611" y="2960875"/>
                </a:lnTo>
                <a:lnTo>
                  <a:pt x="4171163" y="2954704"/>
                </a:lnTo>
                <a:lnTo>
                  <a:pt x="4171163" y="2947991"/>
                </a:lnTo>
                <a:lnTo>
                  <a:pt x="4172899" y="2944959"/>
                </a:lnTo>
                <a:lnTo>
                  <a:pt x="4169209" y="2939221"/>
                </a:lnTo>
                <a:lnTo>
                  <a:pt x="4162155" y="2942253"/>
                </a:lnTo>
                <a:lnTo>
                  <a:pt x="4159985" y="2939763"/>
                </a:lnTo>
                <a:lnTo>
                  <a:pt x="4155861" y="2939221"/>
                </a:lnTo>
                <a:lnTo>
                  <a:pt x="4152931" y="2924605"/>
                </a:lnTo>
                <a:lnTo>
                  <a:pt x="4149133" y="2926554"/>
                </a:lnTo>
                <a:lnTo>
                  <a:pt x="4145878" y="2925038"/>
                </a:lnTo>
                <a:lnTo>
                  <a:pt x="4145910" y="2924589"/>
                </a:lnTo>
                <a:lnTo>
                  <a:pt x="4145878" y="2925037"/>
                </a:lnTo>
                <a:lnTo>
                  <a:pt x="4145770" y="2924929"/>
                </a:lnTo>
                <a:lnTo>
                  <a:pt x="4143925" y="2926012"/>
                </a:lnTo>
                <a:lnTo>
                  <a:pt x="4139584" y="2921464"/>
                </a:lnTo>
                <a:lnTo>
                  <a:pt x="4137197" y="2928177"/>
                </a:lnTo>
                <a:lnTo>
                  <a:pt x="4131119" y="2929476"/>
                </a:lnTo>
                <a:lnTo>
                  <a:pt x="4127430" y="2927852"/>
                </a:lnTo>
                <a:lnTo>
                  <a:pt x="4116470" y="2931750"/>
                </a:lnTo>
                <a:lnTo>
                  <a:pt x="4112997" y="2930342"/>
                </a:lnTo>
                <a:lnTo>
                  <a:pt x="4108331" y="2933266"/>
                </a:lnTo>
                <a:lnTo>
                  <a:pt x="4085109" y="2934565"/>
                </a:lnTo>
                <a:lnTo>
                  <a:pt x="4076427" y="2932075"/>
                </a:lnTo>
                <a:lnTo>
                  <a:pt x="4070351" y="2926553"/>
                </a:lnTo>
                <a:lnTo>
                  <a:pt x="4067529" y="2918325"/>
                </a:lnTo>
                <a:lnTo>
                  <a:pt x="4064382" y="2916592"/>
                </a:lnTo>
                <a:lnTo>
                  <a:pt x="4064490" y="2909122"/>
                </a:lnTo>
                <a:lnTo>
                  <a:pt x="4058522" y="2897536"/>
                </a:lnTo>
                <a:lnTo>
                  <a:pt x="4048756" y="2888008"/>
                </a:lnTo>
                <a:lnTo>
                  <a:pt x="4031284" y="2878697"/>
                </a:lnTo>
                <a:lnTo>
                  <a:pt x="4023688" y="2881838"/>
                </a:lnTo>
                <a:lnTo>
                  <a:pt x="4014356" y="2879888"/>
                </a:lnTo>
                <a:lnTo>
                  <a:pt x="4013379" y="2875124"/>
                </a:lnTo>
                <a:lnTo>
                  <a:pt x="4014356" y="2863106"/>
                </a:lnTo>
                <a:lnTo>
                  <a:pt x="4013705" y="2859209"/>
                </a:lnTo>
                <a:lnTo>
                  <a:pt x="4013922" y="2855744"/>
                </a:lnTo>
                <a:lnTo>
                  <a:pt x="4012837" y="2845567"/>
                </a:lnTo>
                <a:lnTo>
                  <a:pt x="4013705" y="2841994"/>
                </a:lnTo>
                <a:lnTo>
                  <a:pt x="4013488" y="2839287"/>
                </a:lnTo>
                <a:lnTo>
                  <a:pt x="4012511" y="2837663"/>
                </a:lnTo>
                <a:lnTo>
                  <a:pt x="4013163" y="2835822"/>
                </a:lnTo>
                <a:lnTo>
                  <a:pt x="4012511" y="2831816"/>
                </a:lnTo>
                <a:lnTo>
                  <a:pt x="4012186" y="2830084"/>
                </a:lnTo>
                <a:lnTo>
                  <a:pt x="4012619" y="2824887"/>
                </a:lnTo>
                <a:lnTo>
                  <a:pt x="4013163" y="2821422"/>
                </a:lnTo>
                <a:lnTo>
                  <a:pt x="4012837" y="2817092"/>
                </a:lnTo>
                <a:lnTo>
                  <a:pt x="4014200" y="2815010"/>
                </a:lnTo>
                <a:lnTo>
                  <a:pt x="4012836" y="2817092"/>
                </a:lnTo>
                <a:lnTo>
                  <a:pt x="4013162" y="2821423"/>
                </a:lnTo>
                <a:lnTo>
                  <a:pt x="4012619" y="2824887"/>
                </a:lnTo>
                <a:lnTo>
                  <a:pt x="4012185" y="2830085"/>
                </a:lnTo>
                <a:lnTo>
                  <a:pt x="4012511" y="2831816"/>
                </a:lnTo>
                <a:lnTo>
                  <a:pt x="4013162" y="2835823"/>
                </a:lnTo>
                <a:lnTo>
                  <a:pt x="4012511" y="2837663"/>
                </a:lnTo>
                <a:lnTo>
                  <a:pt x="4013487" y="2839287"/>
                </a:lnTo>
                <a:lnTo>
                  <a:pt x="4013704" y="2841994"/>
                </a:lnTo>
                <a:lnTo>
                  <a:pt x="4012836" y="2845567"/>
                </a:lnTo>
                <a:lnTo>
                  <a:pt x="4013922" y="2855744"/>
                </a:lnTo>
                <a:lnTo>
                  <a:pt x="4013704" y="2859209"/>
                </a:lnTo>
                <a:lnTo>
                  <a:pt x="4014355" y="2863107"/>
                </a:lnTo>
                <a:lnTo>
                  <a:pt x="4013379" y="2875125"/>
                </a:lnTo>
                <a:lnTo>
                  <a:pt x="4014355" y="2879889"/>
                </a:lnTo>
                <a:lnTo>
                  <a:pt x="4013379" y="2879672"/>
                </a:lnTo>
                <a:lnTo>
                  <a:pt x="3996884" y="2885194"/>
                </a:lnTo>
                <a:lnTo>
                  <a:pt x="3988311" y="2884111"/>
                </a:lnTo>
                <a:lnTo>
                  <a:pt x="3989179" y="2879564"/>
                </a:lnTo>
                <a:lnTo>
                  <a:pt x="3985924" y="2874042"/>
                </a:lnTo>
                <a:lnTo>
                  <a:pt x="3985707" y="2867438"/>
                </a:lnTo>
                <a:lnTo>
                  <a:pt x="3984080" y="2861483"/>
                </a:lnTo>
                <a:lnTo>
                  <a:pt x="3984730" y="2832791"/>
                </a:lnTo>
                <a:lnTo>
                  <a:pt x="3985056" y="2828677"/>
                </a:lnTo>
                <a:lnTo>
                  <a:pt x="3987552" y="2825537"/>
                </a:lnTo>
                <a:lnTo>
                  <a:pt x="3987552" y="2819799"/>
                </a:lnTo>
                <a:lnTo>
                  <a:pt x="3987551" y="2819798"/>
                </a:lnTo>
                <a:lnTo>
                  <a:pt x="3987551" y="2825537"/>
                </a:lnTo>
                <a:lnTo>
                  <a:pt x="3985055" y="2828677"/>
                </a:lnTo>
                <a:lnTo>
                  <a:pt x="3984730" y="2832791"/>
                </a:lnTo>
                <a:lnTo>
                  <a:pt x="3984079" y="2861483"/>
                </a:lnTo>
                <a:lnTo>
                  <a:pt x="3985707" y="2867438"/>
                </a:lnTo>
                <a:lnTo>
                  <a:pt x="3985923" y="2874042"/>
                </a:lnTo>
                <a:lnTo>
                  <a:pt x="3989179" y="2879564"/>
                </a:lnTo>
                <a:lnTo>
                  <a:pt x="3988311" y="2884112"/>
                </a:lnTo>
                <a:lnTo>
                  <a:pt x="3985815" y="2883787"/>
                </a:lnTo>
                <a:lnTo>
                  <a:pt x="3973010" y="2891690"/>
                </a:lnTo>
                <a:lnTo>
                  <a:pt x="3970948" y="2892015"/>
                </a:lnTo>
                <a:lnTo>
                  <a:pt x="3970948" y="2892015"/>
                </a:lnTo>
                <a:lnTo>
                  <a:pt x="3958036" y="2893747"/>
                </a:lnTo>
                <a:lnTo>
                  <a:pt x="3946641" y="2899161"/>
                </a:lnTo>
                <a:lnTo>
                  <a:pt x="3934162" y="2909663"/>
                </a:lnTo>
                <a:lnTo>
                  <a:pt x="3919621" y="2910855"/>
                </a:lnTo>
                <a:lnTo>
                  <a:pt x="3899002" y="2920815"/>
                </a:lnTo>
                <a:lnTo>
                  <a:pt x="3889670" y="2916593"/>
                </a:lnTo>
                <a:lnTo>
                  <a:pt x="3876756" y="2914861"/>
                </a:lnTo>
                <a:lnTo>
                  <a:pt x="3875563" y="2912587"/>
                </a:lnTo>
                <a:lnTo>
                  <a:pt x="3875563" y="2912586"/>
                </a:lnTo>
                <a:lnTo>
                  <a:pt x="3872090" y="2906415"/>
                </a:lnTo>
                <a:lnTo>
                  <a:pt x="3867533" y="2907498"/>
                </a:lnTo>
                <a:lnTo>
                  <a:pt x="3866447" y="2913344"/>
                </a:lnTo>
                <a:lnTo>
                  <a:pt x="3855488" y="2908148"/>
                </a:lnTo>
                <a:lnTo>
                  <a:pt x="3843550" y="2911937"/>
                </a:lnTo>
                <a:lnTo>
                  <a:pt x="3811863" y="2912154"/>
                </a:lnTo>
                <a:lnTo>
                  <a:pt x="3802857" y="2913344"/>
                </a:lnTo>
                <a:lnTo>
                  <a:pt x="3802640" y="2915727"/>
                </a:lnTo>
                <a:lnTo>
                  <a:pt x="3786145" y="2921898"/>
                </a:lnTo>
                <a:lnTo>
                  <a:pt x="3784409" y="2924172"/>
                </a:lnTo>
                <a:lnTo>
                  <a:pt x="3779091" y="2924172"/>
                </a:lnTo>
                <a:lnTo>
                  <a:pt x="3770844" y="2931426"/>
                </a:lnTo>
                <a:lnTo>
                  <a:pt x="3768565" y="2930560"/>
                </a:lnTo>
                <a:lnTo>
                  <a:pt x="3768348" y="2924930"/>
                </a:lnTo>
                <a:lnTo>
                  <a:pt x="3766070" y="2921140"/>
                </a:lnTo>
                <a:lnTo>
                  <a:pt x="3768131" y="2915619"/>
                </a:lnTo>
                <a:lnTo>
                  <a:pt x="3766503" y="2911937"/>
                </a:lnTo>
                <a:lnTo>
                  <a:pt x="3767697" y="2907823"/>
                </a:lnTo>
                <a:lnTo>
                  <a:pt x="3769759" y="2904792"/>
                </a:lnTo>
                <a:lnTo>
                  <a:pt x="3768131" y="2901868"/>
                </a:lnTo>
                <a:lnTo>
                  <a:pt x="3771387" y="2899270"/>
                </a:lnTo>
                <a:lnTo>
                  <a:pt x="3769976" y="2894505"/>
                </a:lnTo>
                <a:lnTo>
                  <a:pt x="3766720" y="2894289"/>
                </a:lnTo>
                <a:lnTo>
                  <a:pt x="3763357" y="2892015"/>
                </a:lnTo>
                <a:lnTo>
                  <a:pt x="3761729" y="2887143"/>
                </a:lnTo>
                <a:lnTo>
                  <a:pt x="3758691" y="2885844"/>
                </a:lnTo>
                <a:lnTo>
                  <a:pt x="3757563" y="2886094"/>
                </a:lnTo>
                <a:lnTo>
                  <a:pt x="3758690" y="2885844"/>
                </a:lnTo>
                <a:lnTo>
                  <a:pt x="3761728" y="2887144"/>
                </a:lnTo>
                <a:lnTo>
                  <a:pt x="3763356" y="2892015"/>
                </a:lnTo>
                <a:lnTo>
                  <a:pt x="3766720" y="2894289"/>
                </a:lnTo>
                <a:lnTo>
                  <a:pt x="3769975" y="2894506"/>
                </a:lnTo>
                <a:lnTo>
                  <a:pt x="3771386" y="2899270"/>
                </a:lnTo>
                <a:lnTo>
                  <a:pt x="3768130" y="2901868"/>
                </a:lnTo>
                <a:lnTo>
                  <a:pt x="3769759" y="2904792"/>
                </a:lnTo>
                <a:lnTo>
                  <a:pt x="3767697" y="2907823"/>
                </a:lnTo>
                <a:lnTo>
                  <a:pt x="3766503" y="2911937"/>
                </a:lnTo>
                <a:lnTo>
                  <a:pt x="3768130" y="2915619"/>
                </a:lnTo>
                <a:lnTo>
                  <a:pt x="3766069" y="2921140"/>
                </a:lnTo>
                <a:lnTo>
                  <a:pt x="3768347" y="2924930"/>
                </a:lnTo>
                <a:lnTo>
                  <a:pt x="3768565" y="2930560"/>
                </a:lnTo>
                <a:lnTo>
                  <a:pt x="3744909" y="2922007"/>
                </a:lnTo>
                <a:lnTo>
                  <a:pt x="3726678" y="2908473"/>
                </a:lnTo>
                <a:lnTo>
                  <a:pt x="3721578" y="2907931"/>
                </a:lnTo>
                <a:lnTo>
                  <a:pt x="3706819" y="2893207"/>
                </a:lnTo>
                <a:lnTo>
                  <a:pt x="3705734" y="2892448"/>
                </a:lnTo>
                <a:lnTo>
                  <a:pt x="3696836" y="2886493"/>
                </a:lnTo>
                <a:lnTo>
                  <a:pt x="3693255" y="2886277"/>
                </a:lnTo>
                <a:lnTo>
                  <a:pt x="3687069" y="2877616"/>
                </a:lnTo>
                <a:lnTo>
                  <a:pt x="3683054" y="2875883"/>
                </a:lnTo>
                <a:lnTo>
                  <a:pt x="3684899" y="2872418"/>
                </a:lnTo>
                <a:lnTo>
                  <a:pt x="3684139" y="2871985"/>
                </a:lnTo>
                <a:lnTo>
                  <a:pt x="3681318" y="2870469"/>
                </a:lnTo>
                <a:lnTo>
                  <a:pt x="3675133" y="2870469"/>
                </a:lnTo>
                <a:lnTo>
                  <a:pt x="3675133" y="2870470"/>
                </a:lnTo>
                <a:lnTo>
                  <a:pt x="3672203" y="2870470"/>
                </a:lnTo>
                <a:lnTo>
                  <a:pt x="3659507" y="2863865"/>
                </a:lnTo>
                <a:lnTo>
                  <a:pt x="3654082" y="2862458"/>
                </a:lnTo>
                <a:lnTo>
                  <a:pt x="3655383" y="2859643"/>
                </a:lnTo>
                <a:lnTo>
                  <a:pt x="3652020" y="2855745"/>
                </a:lnTo>
                <a:lnTo>
                  <a:pt x="3648981" y="2852821"/>
                </a:lnTo>
                <a:lnTo>
                  <a:pt x="3650934" y="2848707"/>
                </a:lnTo>
                <a:lnTo>
                  <a:pt x="3650825" y="2847625"/>
                </a:lnTo>
                <a:lnTo>
                  <a:pt x="3646051" y="2849465"/>
                </a:lnTo>
                <a:lnTo>
                  <a:pt x="3640734" y="2843727"/>
                </a:lnTo>
                <a:lnTo>
                  <a:pt x="3640734" y="2838313"/>
                </a:lnTo>
                <a:lnTo>
                  <a:pt x="3638238" y="2830735"/>
                </a:lnTo>
                <a:lnTo>
                  <a:pt x="3633680" y="2829976"/>
                </a:lnTo>
                <a:lnTo>
                  <a:pt x="3631944" y="2826187"/>
                </a:lnTo>
                <a:lnTo>
                  <a:pt x="3635199" y="2820124"/>
                </a:lnTo>
                <a:lnTo>
                  <a:pt x="3631727" y="2818283"/>
                </a:lnTo>
                <a:lnTo>
                  <a:pt x="3632052" y="2814710"/>
                </a:lnTo>
                <a:lnTo>
                  <a:pt x="3634657" y="2810162"/>
                </a:lnTo>
                <a:lnTo>
                  <a:pt x="3634331" y="2809947"/>
                </a:lnTo>
                <a:lnTo>
                  <a:pt x="3638130" y="2809621"/>
                </a:lnTo>
                <a:lnTo>
                  <a:pt x="3645509" y="2805832"/>
                </a:lnTo>
                <a:lnTo>
                  <a:pt x="3645509" y="2802584"/>
                </a:lnTo>
                <a:lnTo>
                  <a:pt x="3652128" y="2796845"/>
                </a:lnTo>
                <a:lnTo>
                  <a:pt x="3655818" y="2792731"/>
                </a:lnTo>
                <a:lnTo>
                  <a:pt x="3662003" y="2790133"/>
                </a:lnTo>
                <a:lnTo>
                  <a:pt x="3682187" y="2790133"/>
                </a:lnTo>
                <a:lnTo>
                  <a:pt x="3682187" y="2790132"/>
                </a:lnTo>
                <a:lnTo>
                  <a:pt x="3662002" y="2790132"/>
                </a:lnTo>
                <a:lnTo>
                  <a:pt x="3655817" y="2792731"/>
                </a:lnTo>
                <a:lnTo>
                  <a:pt x="3652127" y="2796845"/>
                </a:lnTo>
                <a:lnTo>
                  <a:pt x="3645508" y="2802583"/>
                </a:lnTo>
                <a:lnTo>
                  <a:pt x="3645508" y="2805831"/>
                </a:lnTo>
                <a:lnTo>
                  <a:pt x="3638129" y="2809621"/>
                </a:lnTo>
                <a:lnTo>
                  <a:pt x="3634331" y="2809946"/>
                </a:lnTo>
                <a:lnTo>
                  <a:pt x="3630858" y="2807131"/>
                </a:lnTo>
                <a:lnTo>
                  <a:pt x="3624347" y="2803666"/>
                </a:lnTo>
                <a:lnTo>
                  <a:pt x="3622502" y="2796412"/>
                </a:lnTo>
                <a:lnTo>
                  <a:pt x="3617402" y="2796304"/>
                </a:lnTo>
                <a:lnTo>
                  <a:pt x="3615232" y="2794138"/>
                </a:lnTo>
                <a:lnTo>
                  <a:pt x="3615449" y="2790349"/>
                </a:lnTo>
                <a:lnTo>
                  <a:pt x="3617294" y="2788508"/>
                </a:lnTo>
                <a:lnTo>
                  <a:pt x="3613279" y="2786668"/>
                </a:lnTo>
                <a:lnTo>
                  <a:pt x="3611108" y="2789808"/>
                </a:lnTo>
                <a:lnTo>
                  <a:pt x="3607527" y="2788400"/>
                </a:lnTo>
                <a:lnTo>
                  <a:pt x="3602102" y="2787967"/>
                </a:lnTo>
                <a:lnTo>
                  <a:pt x="3596676" y="2780604"/>
                </a:lnTo>
                <a:lnTo>
                  <a:pt x="3598846" y="2771727"/>
                </a:lnTo>
                <a:lnTo>
                  <a:pt x="3595048" y="2767612"/>
                </a:lnTo>
                <a:lnTo>
                  <a:pt x="3594614" y="2767721"/>
                </a:lnTo>
                <a:lnTo>
                  <a:pt x="3594614" y="2767720"/>
                </a:lnTo>
                <a:lnTo>
                  <a:pt x="3588862" y="2769344"/>
                </a:lnTo>
                <a:lnTo>
                  <a:pt x="3587777" y="2767937"/>
                </a:lnTo>
                <a:lnTo>
                  <a:pt x="3588103" y="2763931"/>
                </a:lnTo>
                <a:lnTo>
                  <a:pt x="3578011" y="2765014"/>
                </a:lnTo>
                <a:lnTo>
                  <a:pt x="3583654" y="2758950"/>
                </a:lnTo>
                <a:lnTo>
                  <a:pt x="3580941" y="2758734"/>
                </a:lnTo>
                <a:lnTo>
                  <a:pt x="3582351" y="2756569"/>
                </a:lnTo>
                <a:lnTo>
                  <a:pt x="3580182" y="2754187"/>
                </a:lnTo>
                <a:lnTo>
                  <a:pt x="3576166" y="2753753"/>
                </a:lnTo>
                <a:lnTo>
                  <a:pt x="3574755" y="2751696"/>
                </a:lnTo>
                <a:lnTo>
                  <a:pt x="3586692" y="2751479"/>
                </a:lnTo>
                <a:lnTo>
                  <a:pt x="3588646" y="2750072"/>
                </a:lnTo>
                <a:lnTo>
                  <a:pt x="3582135" y="2746499"/>
                </a:lnTo>
                <a:lnTo>
                  <a:pt x="3576383" y="2747690"/>
                </a:lnTo>
                <a:lnTo>
                  <a:pt x="3570197" y="2749964"/>
                </a:lnTo>
                <a:lnTo>
                  <a:pt x="3567484" y="2749422"/>
                </a:lnTo>
                <a:lnTo>
                  <a:pt x="3566291" y="2746824"/>
                </a:lnTo>
                <a:lnTo>
                  <a:pt x="3561408" y="2746499"/>
                </a:lnTo>
                <a:lnTo>
                  <a:pt x="3557067" y="2742169"/>
                </a:lnTo>
                <a:lnTo>
                  <a:pt x="3561408" y="2738920"/>
                </a:lnTo>
                <a:lnTo>
                  <a:pt x="3558152" y="2738595"/>
                </a:lnTo>
                <a:lnTo>
                  <a:pt x="3550122" y="2738163"/>
                </a:lnTo>
                <a:lnTo>
                  <a:pt x="3548169" y="2734589"/>
                </a:lnTo>
                <a:lnTo>
                  <a:pt x="3548169" y="2734481"/>
                </a:lnTo>
                <a:lnTo>
                  <a:pt x="3554029" y="2736322"/>
                </a:lnTo>
                <a:lnTo>
                  <a:pt x="3554029" y="2736322"/>
                </a:lnTo>
                <a:lnTo>
                  <a:pt x="3548169" y="2734481"/>
                </a:lnTo>
                <a:lnTo>
                  <a:pt x="3548386" y="2729826"/>
                </a:lnTo>
                <a:lnTo>
                  <a:pt x="3546541" y="2728310"/>
                </a:lnTo>
                <a:lnTo>
                  <a:pt x="3550556" y="2729393"/>
                </a:lnTo>
                <a:lnTo>
                  <a:pt x="3553052" y="2730259"/>
                </a:lnTo>
                <a:lnTo>
                  <a:pt x="3558261" y="2727010"/>
                </a:lnTo>
                <a:lnTo>
                  <a:pt x="3550122" y="2724087"/>
                </a:lnTo>
                <a:lnTo>
                  <a:pt x="3544696" y="2727010"/>
                </a:lnTo>
                <a:lnTo>
                  <a:pt x="3543503" y="2725170"/>
                </a:lnTo>
                <a:lnTo>
                  <a:pt x="3545781" y="2722679"/>
                </a:lnTo>
                <a:lnTo>
                  <a:pt x="3545781" y="2717266"/>
                </a:lnTo>
                <a:lnTo>
                  <a:pt x="3548278" y="2714776"/>
                </a:lnTo>
                <a:lnTo>
                  <a:pt x="3562927" y="2714776"/>
                </a:lnTo>
                <a:lnTo>
                  <a:pt x="3567051" y="2710120"/>
                </a:lnTo>
                <a:lnTo>
                  <a:pt x="3571500" y="2708930"/>
                </a:lnTo>
                <a:lnTo>
                  <a:pt x="3576709" y="2705465"/>
                </a:lnTo>
                <a:lnTo>
                  <a:pt x="3577143" y="2705577"/>
                </a:lnTo>
                <a:lnTo>
                  <a:pt x="3576708" y="2705464"/>
                </a:lnTo>
                <a:lnTo>
                  <a:pt x="3571499" y="2708929"/>
                </a:lnTo>
                <a:lnTo>
                  <a:pt x="3567050" y="2710120"/>
                </a:lnTo>
                <a:lnTo>
                  <a:pt x="3562926" y="2714776"/>
                </a:lnTo>
                <a:lnTo>
                  <a:pt x="3548276" y="2714776"/>
                </a:lnTo>
                <a:lnTo>
                  <a:pt x="3545781" y="2717266"/>
                </a:lnTo>
                <a:lnTo>
                  <a:pt x="3545781" y="2715425"/>
                </a:lnTo>
                <a:lnTo>
                  <a:pt x="3543068" y="2712069"/>
                </a:lnTo>
                <a:lnTo>
                  <a:pt x="3547300" y="2707847"/>
                </a:lnTo>
                <a:lnTo>
                  <a:pt x="3552183" y="2714018"/>
                </a:lnTo>
                <a:lnTo>
                  <a:pt x="3558694" y="2713801"/>
                </a:lnTo>
                <a:lnTo>
                  <a:pt x="3562275" y="2710445"/>
                </a:lnTo>
                <a:lnTo>
                  <a:pt x="3556849" y="2711852"/>
                </a:lnTo>
                <a:lnTo>
                  <a:pt x="3550664" y="2708821"/>
                </a:lnTo>
                <a:lnTo>
                  <a:pt x="3549579" y="2705140"/>
                </a:lnTo>
                <a:lnTo>
                  <a:pt x="3549579" y="2705140"/>
                </a:lnTo>
                <a:lnTo>
                  <a:pt x="3548929" y="2703191"/>
                </a:lnTo>
                <a:lnTo>
                  <a:pt x="3552184" y="2700809"/>
                </a:lnTo>
                <a:lnTo>
                  <a:pt x="3546216" y="2697020"/>
                </a:lnTo>
                <a:lnTo>
                  <a:pt x="3548169" y="2696695"/>
                </a:lnTo>
                <a:lnTo>
                  <a:pt x="3548169" y="2691823"/>
                </a:lnTo>
                <a:lnTo>
                  <a:pt x="3543720" y="2691065"/>
                </a:lnTo>
                <a:lnTo>
                  <a:pt x="3538402" y="2681862"/>
                </a:lnTo>
                <a:lnTo>
                  <a:pt x="3530264" y="2675366"/>
                </a:lnTo>
                <a:lnTo>
                  <a:pt x="3545239" y="2661723"/>
                </a:lnTo>
                <a:lnTo>
                  <a:pt x="3551424" y="2650464"/>
                </a:lnTo>
                <a:lnTo>
                  <a:pt x="3552510" y="2642668"/>
                </a:lnTo>
                <a:lnTo>
                  <a:pt x="3556525" y="2639637"/>
                </a:lnTo>
                <a:lnTo>
                  <a:pt x="3559997" y="2639637"/>
                </a:lnTo>
                <a:lnTo>
                  <a:pt x="3564772" y="2634981"/>
                </a:lnTo>
                <a:lnTo>
                  <a:pt x="3577685" y="2632924"/>
                </a:lnTo>
                <a:lnTo>
                  <a:pt x="3590056" y="2628160"/>
                </a:lnTo>
                <a:lnTo>
                  <a:pt x="3590056" y="2628160"/>
                </a:lnTo>
                <a:lnTo>
                  <a:pt x="3577685" y="2632923"/>
                </a:lnTo>
                <a:lnTo>
                  <a:pt x="3564772" y="2634981"/>
                </a:lnTo>
                <a:lnTo>
                  <a:pt x="3559997" y="2639636"/>
                </a:lnTo>
                <a:lnTo>
                  <a:pt x="3556524" y="2639636"/>
                </a:lnTo>
                <a:lnTo>
                  <a:pt x="3552509" y="2642668"/>
                </a:lnTo>
                <a:lnTo>
                  <a:pt x="3553811" y="2633032"/>
                </a:lnTo>
                <a:lnTo>
                  <a:pt x="3557609" y="2618199"/>
                </a:lnTo>
                <a:lnTo>
                  <a:pt x="3563361" y="2610079"/>
                </a:lnTo>
                <a:lnTo>
                  <a:pt x="3564988" y="2592971"/>
                </a:lnTo>
                <a:lnTo>
                  <a:pt x="3560322" y="2568178"/>
                </a:lnTo>
                <a:lnTo>
                  <a:pt x="3553378" y="2557675"/>
                </a:lnTo>
                <a:lnTo>
                  <a:pt x="3556091" y="2555727"/>
                </a:lnTo>
                <a:lnTo>
                  <a:pt x="3559346" y="2555727"/>
                </a:lnTo>
                <a:lnTo>
                  <a:pt x="3560974" y="2547606"/>
                </a:lnTo>
                <a:lnTo>
                  <a:pt x="3559237" y="2542518"/>
                </a:lnTo>
                <a:lnTo>
                  <a:pt x="3562275" y="2539486"/>
                </a:lnTo>
                <a:lnTo>
                  <a:pt x="3555439" y="2529200"/>
                </a:lnTo>
                <a:lnTo>
                  <a:pt x="3552509" y="2531582"/>
                </a:lnTo>
                <a:lnTo>
                  <a:pt x="3550556" y="2530500"/>
                </a:lnTo>
                <a:lnTo>
                  <a:pt x="3548494" y="2524761"/>
                </a:lnTo>
                <a:lnTo>
                  <a:pt x="3543285" y="2530608"/>
                </a:lnTo>
                <a:lnTo>
                  <a:pt x="3542960" y="2521405"/>
                </a:lnTo>
                <a:lnTo>
                  <a:pt x="3545239" y="2516207"/>
                </a:lnTo>
                <a:lnTo>
                  <a:pt x="3545239" y="2515233"/>
                </a:lnTo>
                <a:lnTo>
                  <a:pt x="3640950" y="2514367"/>
                </a:lnTo>
                <a:lnTo>
                  <a:pt x="3640950" y="2514366"/>
                </a:lnTo>
                <a:lnTo>
                  <a:pt x="3545238" y="2515233"/>
                </a:lnTo>
                <a:lnTo>
                  <a:pt x="3544696" y="2507329"/>
                </a:lnTo>
                <a:lnTo>
                  <a:pt x="3547300" y="2502349"/>
                </a:lnTo>
                <a:lnTo>
                  <a:pt x="3546866" y="2496394"/>
                </a:lnTo>
                <a:lnTo>
                  <a:pt x="3550339" y="2492712"/>
                </a:lnTo>
                <a:lnTo>
                  <a:pt x="3553269" y="2492063"/>
                </a:lnTo>
                <a:lnTo>
                  <a:pt x="3560865" y="2478204"/>
                </a:lnTo>
                <a:lnTo>
                  <a:pt x="3564988" y="2476580"/>
                </a:lnTo>
                <a:lnTo>
                  <a:pt x="3562058" y="2474415"/>
                </a:lnTo>
                <a:lnTo>
                  <a:pt x="3562493" y="2472033"/>
                </a:lnTo>
                <a:lnTo>
                  <a:pt x="3572042" y="2459365"/>
                </a:lnTo>
                <a:lnTo>
                  <a:pt x="3571499" y="2455792"/>
                </a:lnTo>
                <a:lnTo>
                  <a:pt x="3577468" y="2442800"/>
                </a:lnTo>
                <a:lnTo>
                  <a:pt x="3580940" y="2440959"/>
                </a:lnTo>
                <a:lnTo>
                  <a:pt x="3592117" y="2430565"/>
                </a:lnTo>
                <a:lnTo>
                  <a:pt x="3592986" y="2423636"/>
                </a:lnTo>
                <a:lnTo>
                  <a:pt x="3607636" y="2402415"/>
                </a:lnTo>
                <a:lnTo>
                  <a:pt x="3605682" y="2396244"/>
                </a:lnTo>
                <a:lnTo>
                  <a:pt x="3612193" y="2392455"/>
                </a:lnTo>
                <a:lnTo>
                  <a:pt x="3613821" y="2387690"/>
                </a:lnTo>
                <a:lnTo>
                  <a:pt x="3630424" y="2379137"/>
                </a:lnTo>
                <a:lnTo>
                  <a:pt x="3634765" y="2378921"/>
                </a:lnTo>
                <a:lnTo>
                  <a:pt x="3634765" y="2369501"/>
                </a:lnTo>
                <a:lnTo>
                  <a:pt x="3644097" y="2356617"/>
                </a:lnTo>
                <a:lnTo>
                  <a:pt x="3644097" y="2356617"/>
                </a:lnTo>
                <a:lnTo>
                  <a:pt x="3649848" y="2348605"/>
                </a:lnTo>
                <a:lnTo>
                  <a:pt x="3673179" y="2344274"/>
                </a:lnTo>
                <a:lnTo>
                  <a:pt x="3689782" y="2329333"/>
                </a:lnTo>
                <a:lnTo>
                  <a:pt x="3697378" y="2328575"/>
                </a:lnTo>
                <a:lnTo>
                  <a:pt x="3704215" y="2321213"/>
                </a:lnTo>
                <a:lnTo>
                  <a:pt x="3705843" y="2314500"/>
                </a:lnTo>
                <a:lnTo>
                  <a:pt x="3720927" y="2297501"/>
                </a:lnTo>
                <a:lnTo>
                  <a:pt x="3722554" y="2290681"/>
                </a:lnTo>
                <a:lnTo>
                  <a:pt x="3719841" y="2287216"/>
                </a:lnTo>
                <a:lnTo>
                  <a:pt x="3717779" y="2285267"/>
                </a:lnTo>
                <a:lnTo>
                  <a:pt x="3720927" y="2276389"/>
                </a:lnTo>
                <a:lnTo>
                  <a:pt x="3716911" y="2268485"/>
                </a:lnTo>
                <a:lnTo>
                  <a:pt x="3717237" y="2263179"/>
                </a:lnTo>
                <a:lnTo>
                  <a:pt x="3723422" y="2250620"/>
                </a:lnTo>
                <a:lnTo>
                  <a:pt x="3732972" y="2241959"/>
                </a:lnTo>
                <a:lnTo>
                  <a:pt x="3733623" y="2236220"/>
                </a:lnTo>
                <a:lnTo>
                  <a:pt x="3729825" y="2227884"/>
                </a:lnTo>
                <a:lnTo>
                  <a:pt x="3740785" y="2220088"/>
                </a:lnTo>
                <a:lnTo>
                  <a:pt x="3744149" y="2214999"/>
                </a:lnTo>
                <a:lnTo>
                  <a:pt x="3750009" y="2213050"/>
                </a:lnTo>
                <a:lnTo>
                  <a:pt x="3759450" y="2206770"/>
                </a:lnTo>
                <a:lnTo>
                  <a:pt x="3761946" y="2206662"/>
                </a:lnTo>
                <a:lnTo>
                  <a:pt x="3768565" y="2199625"/>
                </a:lnTo>
                <a:lnTo>
                  <a:pt x="3777355" y="2196701"/>
                </a:lnTo>
                <a:lnTo>
                  <a:pt x="3782672" y="2193020"/>
                </a:lnTo>
                <a:lnTo>
                  <a:pt x="3785168" y="2192803"/>
                </a:lnTo>
                <a:lnTo>
                  <a:pt x="3796020" y="2182735"/>
                </a:lnTo>
                <a:lnTo>
                  <a:pt x="3799167" y="2176563"/>
                </a:lnTo>
                <a:lnTo>
                  <a:pt x="3800252" y="2166711"/>
                </a:lnTo>
                <a:lnTo>
                  <a:pt x="3805461" y="2159997"/>
                </a:lnTo>
                <a:lnTo>
                  <a:pt x="3806438" y="2147005"/>
                </a:lnTo>
                <a:lnTo>
                  <a:pt x="3810995" y="2142024"/>
                </a:lnTo>
                <a:lnTo>
                  <a:pt x="3814793" y="2142350"/>
                </a:lnTo>
                <a:lnTo>
                  <a:pt x="3816747" y="2140509"/>
                </a:lnTo>
                <a:lnTo>
                  <a:pt x="3821413" y="2138885"/>
                </a:lnTo>
                <a:lnTo>
                  <a:pt x="3822824" y="2140726"/>
                </a:lnTo>
                <a:lnTo>
                  <a:pt x="3821956" y="2142024"/>
                </a:lnTo>
                <a:lnTo>
                  <a:pt x="3821956" y="2144732"/>
                </a:lnTo>
                <a:lnTo>
                  <a:pt x="3823040" y="2148521"/>
                </a:lnTo>
                <a:lnTo>
                  <a:pt x="3825645" y="2150470"/>
                </a:lnTo>
                <a:lnTo>
                  <a:pt x="3832156" y="2157507"/>
                </a:lnTo>
                <a:lnTo>
                  <a:pt x="3837474" y="2158590"/>
                </a:lnTo>
                <a:lnTo>
                  <a:pt x="3844635" y="2157507"/>
                </a:lnTo>
                <a:lnTo>
                  <a:pt x="3849627" y="2154909"/>
                </a:lnTo>
                <a:lnTo>
                  <a:pt x="3853642" y="2155234"/>
                </a:lnTo>
                <a:lnTo>
                  <a:pt x="3861347" y="2157291"/>
                </a:lnTo>
                <a:lnTo>
                  <a:pt x="3868943" y="2155775"/>
                </a:lnTo>
                <a:lnTo>
                  <a:pt x="3873176" y="2151119"/>
                </a:lnTo>
                <a:lnTo>
                  <a:pt x="3873393" y="2151119"/>
                </a:lnTo>
                <a:lnTo>
                  <a:pt x="3875020" y="2151661"/>
                </a:lnTo>
                <a:lnTo>
                  <a:pt x="3876322" y="2156208"/>
                </a:lnTo>
                <a:lnTo>
                  <a:pt x="3879360" y="2159240"/>
                </a:lnTo>
                <a:lnTo>
                  <a:pt x="3892926" y="2160322"/>
                </a:lnTo>
                <a:lnTo>
                  <a:pt x="3896289" y="2160215"/>
                </a:lnTo>
                <a:lnTo>
                  <a:pt x="3897917" y="2162596"/>
                </a:lnTo>
                <a:lnTo>
                  <a:pt x="3899111" y="2165519"/>
                </a:lnTo>
                <a:lnTo>
                  <a:pt x="3901932" y="2168984"/>
                </a:lnTo>
                <a:lnTo>
                  <a:pt x="3902475" y="2173315"/>
                </a:lnTo>
                <a:lnTo>
                  <a:pt x="3901933" y="2168984"/>
                </a:lnTo>
                <a:lnTo>
                  <a:pt x="3899111" y="2165519"/>
                </a:lnTo>
                <a:lnTo>
                  <a:pt x="3897918" y="2162596"/>
                </a:lnTo>
                <a:lnTo>
                  <a:pt x="3896289" y="2160214"/>
                </a:lnTo>
                <a:lnTo>
                  <a:pt x="3902692" y="2159890"/>
                </a:lnTo>
                <a:lnTo>
                  <a:pt x="3909963" y="2157508"/>
                </a:lnTo>
                <a:lnTo>
                  <a:pt x="3914629" y="2152527"/>
                </a:lnTo>
                <a:lnTo>
                  <a:pt x="3915389" y="2149712"/>
                </a:lnTo>
                <a:lnTo>
                  <a:pt x="3918427" y="2147005"/>
                </a:lnTo>
                <a:lnTo>
                  <a:pt x="3924070" y="2144082"/>
                </a:lnTo>
                <a:lnTo>
                  <a:pt x="3930798" y="2143649"/>
                </a:lnTo>
                <a:lnTo>
                  <a:pt x="3932209" y="2141808"/>
                </a:lnTo>
                <a:lnTo>
                  <a:pt x="3934704" y="2139968"/>
                </a:lnTo>
                <a:lnTo>
                  <a:pt x="3938177" y="2139860"/>
                </a:lnTo>
                <a:lnTo>
                  <a:pt x="3939697" y="2141376"/>
                </a:lnTo>
                <a:lnTo>
                  <a:pt x="3942301" y="2141376"/>
                </a:lnTo>
                <a:lnTo>
                  <a:pt x="3945231" y="2137478"/>
                </a:lnTo>
                <a:lnTo>
                  <a:pt x="3945557" y="2133796"/>
                </a:lnTo>
                <a:lnTo>
                  <a:pt x="3951199" y="2130223"/>
                </a:lnTo>
                <a:lnTo>
                  <a:pt x="3954563" y="2130223"/>
                </a:lnTo>
                <a:lnTo>
                  <a:pt x="3961292" y="2129249"/>
                </a:lnTo>
                <a:lnTo>
                  <a:pt x="3972902" y="2120371"/>
                </a:lnTo>
                <a:lnTo>
                  <a:pt x="3978112" y="2121129"/>
                </a:lnTo>
                <a:lnTo>
                  <a:pt x="3987335" y="2120695"/>
                </a:lnTo>
                <a:lnTo>
                  <a:pt x="3992327" y="2118964"/>
                </a:lnTo>
                <a:lnTo>
                  <a:pt x="3997971" y="2121995"/>
                </a:lnTo>
                <a:lnTo>
                  <a:pt x="4001551" y="2122211"/>
                </a:lnTo>
                <a:lnTo>
                  <a:pt x="4007737" y="2116256"/>
                </a:lnTo>
                <a:lnTo>
                  <a:pt x="4012294" y="2118097"/>
                </a:lnTo>
                <a:lnTo>
                  <a:pt x="4017286" y="2118097"/>
                </a:lnTo>
                <a:lnTo>
                  <a:pt x="4019674" y="2113225"/>
                </a:lnTo>
                <a:lnTo>
                  <a:pt x="4022712" y="2112467"/>
                </a:lnTo>
                <a:lnTo>
                  <a:pt x="4027161" y="2113875"/>
                </a:lnTo>
                <a:lnTo>
                  <a:pt x="4029440" y="2113333"/>
                </a:lnTo>
                <a:lnTo>
                  <a:pt x="4034541" y="2114091"/>
                </a:lnTo>
                <a:lnTo>
                  <a:pt x="4040834" y="2113009"/>
                </a:lnTo>
                <a:lnTo>
                  <a:pt x="4043764" y="2113875"/>
                </a:lnTo>
                <a:lnTo>
                  <a:pt x="4050275" y="2114307"/>
                </a:lnTo>
                <a:lnTo>
                  <a:pt x="4053314" y="2119180"/>
                </a:lnTo>
                <a:lnTo>
                  <a:pt x="4058740" y="2119180"/>
                </a:lnTo>
                <a:lnTo>
                  <a:pt x="4063623" y="2115390"/>
                </a:lnTo>
                <a:lnTo>
                  <a:pt x="4067421" y="2115390"/>
                </a:lnTo>
                <a:lnTo>
                  <a:pt x="4070567" y="2116581"/>
                </a:lnTo>
                <a:lnTo>
                  <a:pt x="4072629" y="2113009"/>
                </a:lnTo>
                <a:lnTo>
                  <a:pt x="4077513" y="2112142"/>
                </a:lnTo>
                <a:lnTo>
                  <a:pt x="4077947" y="2108786"/>
                </a:lnTo>
                <a:lnTo>
                  <a:pt x="4083590" y="2107595"/>
                </a:lnTo>
                <a:lnTo>
                  <a:pt x="4086954" y="2110085"/>
                </a:lnTo>
                <a:lnTo>
                  <a:pt x="4087496" y="2113875"/>
                </a:lnTo>
                <a:lnTo>
                  <a:pt x="4095636" y="2114849"/>
                </a:lnTo>
                <a:lnTo>
                  <a:pt x="4099867" y="2110843"/>
                </a:lnTo>
                <a:lnTo>
                  <a:pt x="4099976" y="2108353"/>
                </a:lnTo>
                <a:lnTo>
                  <a:pt x="4106487" y="2110626"/>
                </a:lnTo>
                <a:lnTo>
                  <a:pt x="4111696" y="2115174"/>
                </a:lnTo>
                <a:lnTo>
                  <a:pt x="4121896" y="2112250"/>
                </a:lnTo>
                <a:lnTo>
                  <a:pt x="4125478" y="2113009"/>
                </a:lnTo>
                <a:lnTo>
                  <a:pt x="4132206" y="2111709"/>
                </a:lnTo>
                <a:lnTo>
                  <a:pt x="4133398" y="2113224"/>
                </a:lnTo>
                <a:lnTo>
                  <a:pt x="4139584" y="2107811"/>
                </a:lnTo>
                <a:lnTo>
                  <a:pt x="4148265" y="2103480"/>
                </a:lnTo>
                <a:lnTo>
                  <a:pt x="4154559" y="2102181"/>
                </a:lnTo>
                <a:lnTo>
                  <a:pt x="4157164" y="2105537"/>
                </a:lnTo>
                <a:lnTo>
                  <a:pt x="4157380" y="2102506"/>
                </a:lnTo>
                <a:lnTo>
                  <a:pt x="4162589" y="2101423"/>
                </a:lnTo>
                <a:lnTo>
                  <a:pt x="4165628" y="2104129"/>
                </a:lnTo>
                <a:lnTo>
                  <a:pt x="4165085" y="2108352"/>
                </a:lnTo>
                <a:lnTo>
                  <a:pt x="4167473" y="2109218"/>
                </a:lnTo>
                <a:lnTo>
                  <a:pt x="4171053" y="2117339"/>
                </a:lnTo>
                <a:lnTo>
                  <a:pt x="4173441" y="2118746"/>
                </a:lnTo>
                <a:lnTo>
                  <a:pt x="4176263" y="2115715"/>
                </a:lnTo>
                <a:lnTo>
                  <a:pt x="4184835" y="2107919"/>
                </a:lnTo>
                <a:lnTo>
                  <a:pt x="4187005" y="2109543"/>
                </a:lnTo>
                <a:lnTo>
                  <a:pt x="4187005" y="2114307"/>
                </a:lnTo>
                <a:lnTo>
                  <a:pt x="4182230" y="2121345"/>
                </a:lnTo>
                <a:lnTo>
                  <a:pt x="4181905" y="2125567"/>
                </a:lnTo>
                <a:lnTo>
                  <a:pt x="4176154" y="2129573"/>
                </a:lnTo>
                <a:lnTo>
                  <a:pt x="4175069" y="2135961"/>
                </a:lnTo>
                <a:lnTo>
                  <a:pt x="4180820" y="2143649"/>
                </a:lnTo>
                <a:lnTo>
                  <a:pt x="4187874" y="2146355"/>
                </a:lnTo>
                <a:lnTo>
                  <a:pt x="4187656" y="2154151"/>
                </a:lnTo>
                <a:lnTo>
                  <a:pt x="4189501" y="2155342"/>
                </a:lnTo>
                <a:lnTo>
                  <a:pt x="4190369" y="2158806"/>
                </a:lnTo>
                <a:lnTo>
                  <a:pt x="4187874" y="2161513"/>
                </a:lnTo>
                <a:lnTo>
                  <a:pt x="4189827" y="2164220"/>
                </a:lnTo>
                <a:lnTo>
                  <a:pt x="4188091" y="2166385"/>
                </a:lnTo>
                <a:lnTo>
                  <a:pt x="4181145" y="2173314"/>
                </a:lnTo>
                <a:lnTo>
                  <a:pt x="4169209" y="2181543"/>
                </a:lnTo>
                <a:lnTo>
                  <a:pt x="4166930" y="2188581"/>
                </a:lnTo>
                <a:lnTo>
                  <a:pt x="4170728" y="2195510"/>
                </a:lnTo>
                <a:lnTo>
                  <a:pt x="4178324" y="2200707"/>
                </a:lnTo>
                <a:lnTo>
                  <a:pt x="4181797" y="2199949"/>
                </a:lnTo>
                <a:lnTo>
                  <a:pt x="4182774" y="2203630"/>
                </a:lnTo>
                <a:lnTo>
                  <a:pt x="4186029" y="2205038"/>
                </a:lnTo>
                <a:lnTo>
                  <a:pt x="4187874" y="2203630"/>
                </a:lnTo>
                <a:lnTo>
                  <a:pt x="4187548" y="2201789"/>
                </a:lnTo>
                <a:lnTo>
                  <a:pt x="4188959" y="2200707"/>
                </a:lnTo>
                <a:lnTo>
                  <a:pt x="4192540" y="2202656"/>
                </a:lnTo>
                <a:lnTo>
                  <a:pt x="4192757" y="2206120"/>
                </a:lnTo>
                <a:lnTo>
                  <a:pt x="4193516" y="2208611"/>
                </a:lnTo>
                <a:lnTo>
                  <a:pt x="4200570" y="2212942"/>
                </a:lnTo>
                <a:lnTo>
                  <a:pt x="4203392" y="2213483"/>
                </a:lnTo>
                <a:lnTo>
                  <a:pt x="4202523" y="2215540"/>
                </a:lnTo>
                <a:lnTo>
                  <a:pt x="4203373" y="2220344"/>
                </a:lnTo>
                <a:lnTo>
                  <a:pt x="4202524" y="2215540"/>
                </a:lnTo>
                <a:lnTo>
                  <a:pt x="4203392" y="2213483"/>
                </a:lnTo>
                <a:lnTo>
                  <a:pt x="4208817" y="2214565"/>
                </a:lnTo>
                <a:lnTo>
                  <a:pt x="4213375" y="2218897"/>
                </a:lnTo>
                <a:lnTo>
                  <a:pt x="4225095" y="2221495"/>
                </a:lnTo>
                <a:lnTo>
                  <a:pt x="4241915" y="2218355"/>
                </a:lnTo>
                <a:lnTo>
                  <a:pt x="4249403" y="2221278"/>
                </a:lnTo>
                <a:lnTo>
                  <a:pt x="4262533" y="2221603"/>
                </a:lnTo>
                <a:lnTo>
                  <a:pt x="4270672" y="2226908"/>
                </a:lnTo>
                <a:lnTo>
                  <a:pt x="4286082" y="2229074"/>
                </a:lnTo>
                <a:lnTo>
                  <a:pt x="4292050" y="2236978"/>
                </a:lnTo>
                <a:lnTo>
                  <a:pt x="4291833" y="2244340"/>
                </a:lnTo>
                <a:lnTo>
                  <a:pt x="4299321" y="2258632"/>
                </a:lnTo>
                <a:lnTo>
                  <a:pt x="4307242" y="2262529"/>
                </a:lnTo>
                <a:lnTo>
                  <a:pt x="4316466" y="2262529"/>
                </a:lnTo>
                <a:lnTo>
                  <a:pt x="4318962" y="2261122"/>
                </a:lnTo>
                <a:lnTo>
                  <a:pt x="4326775" y="2262096"/>
                </a:lnTo>
                <a:lnTo>
                  <a:pt x="4344464" y="2269458"/>
                </a:lnTo>
                <a:lnTo>
                  <a:pt x="4355641" y="2275089"/>
                </a:lnTo>
                <a:lnTo>
                  <a:pt x="4362803" y="2280935"/>
                </a:lnTo>
                <a:lnTo>
                  <a:pt x="4371918" y="2288514"/>
                </a:lnTo>
                <a:lnTo>
                  <a:pt x="4382444" y="2292629"/>
                </a:lnTo>
                <a:lnTo>
                  <a:pt x="4387436" y="2290788"/>
                </a:lnTo>
                <a:lnTo>
                  <a:pt x="4395574" y="2283967"/>
                </a:lnTo>
                <a:lnTo>
                  <a:pt x="4396334" y="2281694"/>
                </a:lnTo>
                <a:lnTo>
                  <a:pt x="4402520" y="2275413"/>
                </a:lnTo>
                <a:lnTo>
                  <a:pt x="4404582" y="2270000"/>
                </a:lnTo>
                <a:lnTo>
                  <a:pt x="4401652" y="2260472"/>
                </a:lnTo>
                <a:lnTo>
                  <a:pt x="4397311" y="2253760"/>
                </a:lnTo>
                <a:lnTo>
                  <a:pt x="4398071" y="2241525"/>
                </a:lnTo>
                <a:lnTo>
                  <a:pt x="4401109" y="2239143"/>
                </a:lnTo>
                <a:lnTo>
                  <a:pt x="4402520" y="2232646"/>
                </a:lnTo>
                <a:lnTo>
                  <a:pt x="4408380" y="2227017"/>
                </a:lnTo>
                <a:lnTo>
                  <a:pt x="4418472" y="2222144"/>
                </a:lnTo>
                <a:lnTo>
                  <a:pt x="4430191" y="2221062"/>
                </a:lnTo>
                <a:lnTo>
                  <a:pt x="4437679" y="2217272"/>
                </a:lnTo>
                <a:lnTo>
                  <a:pt x="4439416" y="2217272"/>
                </a:lnTo>
                <a:lnTo>
                  <a:pt x="4444516" y="2219871"/>
                </a:lnTo>
                <a:lnTo>
                  <a:pt x="4447011" y="2217597"/>
                </a:lnTo>
                <a:lnTo>
                  <a:pt x="4449073" y="2218788"/>
                </a:lnTo>
                <a:lnTo>
                  <a:pt x="4457321" y="2220954"/>
                </a:lnTo>
                <a:lnTo>
                  <a:pt x="4462638" y="2220954"/>
                </a:lnTo>
                <a:lnTo>
                  <a:pt x="4472730" y="2226475"/>
                </a:lnTo>
                <a:lnTo>
                  <a:pt x="4472947" y="2229399"/>
                </a:lnTo>
                <a:lnTo>
                  <a:pt x="4471102" y="2230048"/>
                </a:lnTo>
                <a:lnTo>
                  <a:pt x="4472947" y="2232863"/>
                </a:lnTo>
                <a:lnTo>
                  <a:pt x="4481412" y="2235137"/>
                </a:lnTo>
                <a:lnTo>
                  <a:pt x="4487705" y="2235678"/>
                </a:lnTo>
                <a:lnTo>
                  <a:pt x="4490961" y="2238601"/>
                </a:lnTo>
                <a:lnTo>
                  <a:pt x="4507130" y="2240550"/>
                </a:lnTo>
                <a:lnTo>
                  <a:pt x="4511471" y="2239901"/>
                </a:lnTo>
                <a:lnTo>
                  <a:pt x="4515811" y="2240550"/>
                </a:lnTo>
                <a:lnTo>
                  <a:pt x="4519176" y="2244340"/>
                </a:lnTo>
                <a:lnTo>
                  <a:pt x="4521345" y="2251052"/>
                </a:lnTo>
                <a:lnTo>
                  <a:pt x="4519826" y="2254950"/>
                </a:lnTo>
                <a:lnTo>
                  <a:pt x="4517764" y="2265019"/>
                </a:lnTo>
                <a:lnTo>
                  <a:pt x="4517764" y="2265020"/>
                </a:lnTo>
                <a:lnTo>
                  <a:pt x="4519826" y="2254951"/>
                </a:lnTo>
                <a:lnTo>
                  <a:pt x="4521345" y="2251053"/>
                </a:lnTo>
                <a:lnTo>
                  <a:pt x="4523733" y="2250295"/>
                </a:lnTo>
                <a:lnTo>
                  <a:pt x="4535669" y="2249754"/>
                </a:lnTo>
                <a:lnTo>
                  <a:pt x="4544893" y="2252786"/>
                </a:lnTo>
                <a:lnTo>
                  <a:pt x="4563558" y="2254301"/>
                </a:lnTo>
                <a:lnTo>
                  <a:pt x="4571263" y="2255925"/>
                </a:lnTo>
                <a:lnTo>
                  <a:pt x="4577991" y="2260581"/>
                </a:lnTo>
                <a:lnTo>
                  <a:pt x="4580812" y="2258849"/>
                </a:lnTo>
                <a:lnTo>
                  <a:pt x="4583634" y="2258849"/>
                </a:lnTo>
                <a:lnTo>
                  <a:pt x="4590470" y="2263180"/>
                </a:lnTo>
                <a:lnTo>
                  <a:pt x="4598609" y="2262530"/>
                </a:lnTo>
                <a:lnTo>
                  <a:pt x="4604252" y="2263180"/>
                </a:lnTo>
                <a:lnTo>
                  <a:pt x="4612934" y="2268593"/>
                </a:lnTo>
                <a:lnTo>
                  <a:pt x="4620855" y="2268593"/>
                </a:lnTo>
                <a:lnTo>
                  <a:pt x="4621723" y="2266319"/>
                </a:lnTo>
                <a:lnTo>
                  <a:pt x="4626823" y="2261556"/>
                </a:lnTo>
                <a:lnTo>
                  <a:pt x="4633009" y="2259498"/>
                </a:lnTo>
                <a:lnTo>
                  <a:pt x="4636047" y="2257874"/>
                </a:lnTo>
                <a:lnTo>
                  <a:pt x="4642450" y="2254409"/>
                </a:lnTo>
                <a:lnTo>
                  <a:pt x="4645271" y="2252352"/>
                </a:lnTo>
                <a:lnTo>
                  <a:pt x="4651999" y="2252136"/>
                </a:lnTo>
                <a:lnTo>
                  <a:pt x="4656882" y="2251595"/>
                </a:lnTo>
                <a:lnTo>
                  <a:pt x="4653084" y="2253111"/>
                </a:lnTo>
                <a:lnTo>
                  <a:pt x="4648418" y="2253760"/>
                </a:lnTo>
                <a:lnTo>
                  <a:pt x="4648309" y="2254843"/>
                </a:lnTo>
                <a:lnTo>
                  <a:pt x="4649937" y="2256466"/>
                </a:lnTo>
                <a:lnTo>
                  <a:pt x="4655255" y="2254301"/>
                </a:lnTo>
                <a:lnTo>
                  <a:pt x="4659704" y="2254843"/>
                </a:lnTo>
                <a:lnTo>
                  <a:pt x="4664261" y="2254301"/>
                </a:lnTo>
                <a:lnTo>
                  <a:pt x="4663502" y="2252678"/>
                </a:lnTo>
                <a:lnTo>
                  <a:pt x="4660138" y="2251919"/>
                </a:lnTo>
                <a:lnTo>
                  <a:pt x="4661331" y="2250512"/>
                </a:lnTo>
                <a:lnTo>
                  <a:pt x="4669470" y="2252678"/>
                </a:lnTo>
                <a:lnTo>
                  <a:pt x="4674354" y="2254301"/>
                </a:lnTo>
                <a:lnTo>
                  <a:pt x="4678368" y="2253760"/>
                </a:lnTo>
                <a:lnTo>
                  <a:pt x="4680322" y="2255709"/>
                </a:lnTo>
                <a:lnTo>
                  <a:pt x="4677935" y="2256792"/>
                </a:lnTo>
                <a:lnTo>
                  <a:pt x="4679128" y="2260906"/>
                </a:lnTo>
                <a:lnTo>
                  <a:pt x="4684012" y="2263613"/>
                </a:lnTo>
                <a:lnTo>
                  <a:pt x="4687267" y="2268593"/>
                </a:lnTo>
                <a:lnTo>
                  <a:pt x="4687376" y="2265453"/>
                </a:lnTo>
                <a:lnTo>
                  <a:pt x="4684120" y="2260581"/>
                </a:lnTo>
                <a:lnTo>
                  <a:pt x="4685205" y="2256466"/>
                </a:lnTo>
                <a:lnTo>
                  <a:pt x="4693887" y="2262638"/>
                </a:lnTo>
                <a:lnTo>
                  <a:pt x="4705932" y="2259390"/>
                </a:lnTo>
                <a:lnTo>
                  <a:pt x="4721124" y="2261880"/>
                </a:lnTo>
                <a:lnTo>
                  <a:pt x="4727636" y="2259390"/>
                </a:lnTo>
                <a:lnTo>
                  <a:pt x="4730674" y="2255276"/>
                </a:lnTo>
                <a:lnTo>
                  <a:pt x="4732482" y="2256070"/>
                </a:lnTo>
                <a:lnTo>
                  <a:pt x="4730674" y="2255275"/>
                </a:lnTo>
                <a:lnTo>
                  <a:pt x="4738162" y="2245315"/>
                </a:lnTo>
                <a:lnTo>
                  <a:pt x="4744998" y="2231565"/>
                </a:lnTo>
                <a:lnTo>
                  <a:pt x="4746843" y="2214241"/>
                </a:lnTo>
                <a:lnTo>
                  <a:pt x="4751942" y="2208503"/>
                </a:lnTo>
                <a:lnTo>
                  <a:pt x="4754764" y="2209044"/>
                </a:lnTo>
                <a:lnTo>
                  <a:pt x="4762360" y="2208936"/>
                </a:lnTo>
                <a:lnTo>
                  <a:pt x="4762360" y="2208936"/>
                </a:lnTo>
                <a:lnTo>
                  <a:pt x="4754766" y="2209044"/>
                </a:lnTo>
                <a:lnTo>
                  <a:pt x="4751944" y="2208503"/>
                </a:lnTo>
                <a:lnTo>
                  <a:pt x="4752595" y="2207745"/>
                </a:lnTo>
                <a:lnTo>
                  <a:pt x="4752595" y="2201248"/>
                </a:lnTo>
                <a:lnTo>
                  <a:pt x="4756935" y="2195077"/>
                </a:lnTo>
                <a:lnTo>
                  <a:pt x="4760951" y="2188905"/>
                </a:lnTo>
                <a:lnTo>
                  <a:pt x="4762036" y="2171907"/>
                </a:lnTo>
                <a:lnTo>
                  <a:pt x="4765292" y="2171257"/>
                </a:lnTo>
                <a:lnTo>
                  <a:pt x="4765400" y="2169958"/>
                </a:lnTo>
                <a:lnTo>
                  <a:pt x="4765399" y="2169958"/>
                </a:lnTo>
                <a:lnTo>
                  <a:pt x="4766051" y="2160755"/>
                </a:lnTo>
                <a:lnTo>
                  <a:pt x="4767135" y="2155666"/>
                </a:lnTo>
                <a:lnTo>
                  <a:pt x="4765507" y="2149495"/>
                </a:lnTo>
                <a:lnTo>
                  <a:pt x="4761601" y="2141483"/>
                </a:lnTo>
                <a:lnTo>
                  <a:pt x="4760516" y="2134336"/>
                </a:lnTo>
                <a:lnTo>
                  <a:pt x="4763771" y="2133038"/>
                </a:lnTo>
                <a:lnTo>
                  <a:pt x="4763879" y="2132497"/>
                </a:lnTo>
                <a:lnTo>
                  <a:pt x="4763881" y="2132497"/>
                </a:lnTo>
                <a:lnTo>
                  <a:pt x="4764749" y="2129249"/>
                </a:lnTo>
                <a:lnTo>
                  <a:pt x="4760516" y="2124161"/>
                </a:lnTo>
                <a:lnTo>
                  <a:pt x="4760299" y="2121887"/>
                </a:lnTo>
                <a:lnTo>
                  <a:pt x="4764966" y="2118098"/>
                </a:lnTo>
                <a:lnTo>
                  <a:pt x="4768655" y="2112251"/>
                </a:lnTo>
                <a:lnTo>
                  <a:pt x="4768112" y="2108786"/>
                </a:lnTo>
                <a:lnTo>
                  <a:pt x="4764097" y="2107596"/>
                </a:lnTo>
                <a:lnTo>
                  <a:pt x="4758888" y="2111385"/>
                </a:lnTo>
                <a:lnTo>
                  <a:pt x="4758346" y="2113551"/>
                </a:lnTo>
                <a:lnTo>
                  <a:pt x="4750858" y="2114958"/>
                </a:lnTo>
                <a:lnTo>
                  <a:pt x="4744890" y="2112251"/>
                </a:lnTo>
                <a:lnTo>
                  <a:pt x="4735123" y="2108786"/>
                </a:lnTo>
                <a:lnTo>
                  <a:pt x="4732627" y="2109436"/>
                </a:lnTo>
                <a:lnTo>
                  <a:pt x="4722318" y="2121129"/>
                </a:lnTo>
                <a:lnTo>
                  <a:pt x="4721233" y="2125135"/>
                </a:lnTo>
                <a:lnTo>
                  <a:pt x="4718195" y="2127192"/>
                </a:lnTo>
                <a:lnTo>
                  <a:pt x="4717110" y="2126218"/>
                </a:lnTo>
                <a:lnTo>
                  <a:pt x="4714939" y="2126218"/>
                </a:lnTo>
                <a:lnTo>
                  <a:pt x="4708429" y="2128925"/>
                </a:lnTo>
                <a:lnTo>
                  <a:pt x="4686725" y="2131631"/>
                </a:lnTo>
                <a:lnTo>
                  <a:pt x="4680214" y="2127409"/>
                </a:lnTo>
                <a:lnTo>
                  <a:pt x="4672618" y="2117340"/>
                </a:lnTo>
                <a:lnTo>
                  <a:pt x="4668386" y="2117340"/>
                </a:lnTo>
                <a:lnTo>
                  <a:pt x="4656883" y="2111385"/>
                </a:lnTo>
                <a:lnTo>
                  <a:pt x="4648093" y="2110627"/>
                </a:lnTo>
                <a:lnTo>
                  <a:pt x="4638001" y="2111602"/>
                </a:lnTo>
                <a:lnTo>
                  <a:pt x="4638978" y="2116798"/>
                </a:lnTo>
                <a:lnTo>
                  <a:pt x="4638001" y="2119722"/>
                </a:lnTo>
                <a:lnTo>
                  <a:pt x="4638543" y="2125243"/>
                </a:lnTo>
                <a:lnTo>
                  <a:pt x="4635722" y="2126868"/>
                </a:lnTo>
                <a:lnTo>
                  <a:pt x="4631490" y="2124702"/>
                </a:lnTo>
                <a:lnTo>
                  <a:pt x="4628777" y="2127084"/>
                </a:lnTo>
                <a:lnTo>
                  <a:pt x="4624111" y="2127084"/>
                </a:lnTo>
                <a:lnTo>
                  <a:pt x="4621398" y="2129249"/>
                </a:lnTo>
                <a:lnTo>
                  <a:pt x="4615647" y="2130116"/>
                </a:lnTo>
                <a:lnTo>
                  <a:pt x="4610221" y="2127951"/>
                </a:lnTo>
                <a:lnTo>
                  <a:pt x="4608376" y="2128925"/>
                </a:lnTo>
                <a:lnTo>
                  <a:pt x="4603276" y="2124702"/>
                </a:lnTo>
                <a:lnTo>
                  <a:pt x="4602733" y="2121454"/>
                </a:lnTo>
                <a:lnTo>
                  <a:pt x="4600563" y="2118206"/>
                </a:lnTo>
                <a:lnTo>
                  <a:pt x="4602408" y="2117340"/>
                </a:lnTo>
                <a:lnTo>
                  <a:pt x="4602950" y="2114849"/>
                </a:lnTo>
                <a:lnTo>
                  <a:pt x="4599369" y="2114308"/>
                </a:lnTo>
                <a:lnTo>
                  <a:pt x="4597199" y="2117340"/>
                </a:lnTo>
                <a:lnTo>
                  <a:pt x="4592641" y="2114633"/>
                </a:lnTo>
                <a:lnTo>
                  <a:pt x="4589602" y="2114633"/>
                </a:lnTo>
                <a:lnTo>
                  <a:pt x="4587215" y="2111710"/>
                </a:lnTo>
                <a:lnTo>
                  <a:pt x="4583743" y="2111926"/>
                </a:lnTo>
                <a:lnTo>
                  <a:pt x="4580487" y="2115932"/>
                </a:lnTo>
                <a:lnTo>
                  <a:pt x="4577774" y="2119288"/>
                </a:lnTo>
                <a:lnTo>
                  <a:pt x="4576363" y="2118098"/>
                </a:lnTo>
                <a:lnTo>
                  <a:pt x="4576363" y="2114633"/>
                </a:lnTo>
                <a:lnTo>
                  <a:pt x="4573759" y="2115932"/>
                </a:lnTo>
                <a:lnTo>
                  <a:pt x="4568442" y="2115932"/>
                </a:lnTo>
                <a:lnTo>
                  <a:pt x="4564535" y="2117231"/>
                </a:lnTo>
                <a:lnTo>
                  <a:pt x="4561605" y="2116474"/>
                </a:lnTo>
                <a:lnTo>
                  <a:pt x="4563450" y="2113767"/>
                </a:lnTo>
                <a:lnTo>
                  <a:pt x="4571154" y="2114092"/>
                </a:lnTo>
                <a:lnTo>
                  <a:pt x="4576363" y="2111818"/>
                </a:lnTo>
                <a:lnTo>
                  <a:pt x="4578751" y="2109436"/>
                </a:lnTo>
                <a:lnTo>
                  <a:pt x="4579402" y="2107379"/>
                </a:lnTo>
                <a:lnTo>
                  <a:pt x="4569309" y="2107379"/>
                </a:lnTo>
                <a:lnTo>
                  <a:pt x="4562039" y="2109219"/>
                </a:lnTo>
                <a:lnTo>
                  <a:pt x="4559000" y="2107920"/>
                </a:lnTo>
                <a:lnTo>
                  <a:pt x="4559869" y="2105213"/>
                </a:lnTo>
                <a:lnTo>
                  <a:pt x="4563667" y="2106296"/>
                </a:lnTo>
                <a:lnTo>
                  <a:pt x="4565838" y="2102507"/>
                </a:lnTo>
                <a:lnTo>
                  <a:pt x="4559869" y="2096768"/>
                </a:lnTo>
                <a:lnTo>
                  <a:pt x="4556830" y="2096552"/>
                </a:lnTo>
                <a:lnTo>
                  <a:pt x="4556613" y="2093737"/>
                </a:lnTo>
                <a:lnTo>
                  <a:pt x="4553575" y="2090813"/>
                </a:lnTo>
                <a:lnTo>
                  <a:pt x="4557373" y="2087024"/>
                </a:lnTo>
                <a:lnTo>
                  <a:pt x="4555853" y="2081394"/>
                </a:lnTo>
                <a:lnTo>
                  <a:pt x="4550536" y="2078146"/>
                </a:lnTo>
                <a:lnTo>
                  <a:pt x="4546847" y="2078903"/>
                </a:lnTo>
                <a:lnTo>
                  <a:pt x="4542181" y="2074898"/>
                </a:lnTo>
                <a:lnTo>
                  <a:pt x="4541313" y="2076955"/>
                </a:lnTo>
                <a:lnTo>
                  <a:pt x="4537297" y="2074356"/>
                </a:lnTo>
                <a:lnTo>
                  <a:pt x="4536538" y="2071000"/>
                </a:lnTo>
                <a:lnTo>
                  <a:pt x="4538600" y="2068618"/>
                </a:lnTo>
                <a:lnTo>
                  <a:pt x="4536972" y="2064179"/>
                </a:lnTo>
                <a:lnTo>
                  <a:pt x="4537840" y="2060281"/>
                </a:lnTo>
                <a:lnTo>
                  <a:pt x="4539576" y="2061148"/>
                </a:lnTo>
                <a:lnTo>
                  <a:pt x="4542181" y="2067427"/>
                </a:lnTo>
                <a:lnTo>
                  <a:pt x="4544785" y="2067427"/>
                </a:lnTo>
                <a:lnTo>
                  <a:pt x="4546847" y="2063313"/>
                </a:lnTo>
                <a:lnTo>
                  <a:pt x="4550211" y="2061039"/>
                </a:lnTo>
                <a:lnTo>
                  <a:pt x="4546847" y="2060715"/>
                </a:lnTo>
                <a:lnTo>
                  <a:pt x="4544785" y="2059307"/>
                </a:lnTo>
                <a:lnTo>
                  <a:pt x="4550754" y="2055626"/>
                </a:lnTo>
                <a:lnTo>
                  <a:pt x="4553575" y="2052594"/>
                </a:lnTo>
                <a:lnTo>
                  <a:pt x="4553249" y="2050212"/>
                </a:lnTo>
                <a:lnTo>
                  <a:pt x="4548909" y="2053027"/>
                </a:lnTo>
                <a:lnTo>
                  <a:pt x="4547389" y="2051944"/>
                </a:lnTo>
                <a:lnTo>
                  <a:pt x="4547823" y="2049779"/>
                </a:lnTo>
                <a:lnTo>
                  <a:pt x="4547932" y="2046964"/>
                </a:lnTo>
                <a:lnTo>
                  <a:pt x="4545653" y="2043174"/>
                </a:lnTo>
                <a:lnTo>
                  <a:pt x="4544893" y="2039601"/>
                </a:lnTo>
                <a:lnTo>
                  <a:pt x="4550536" y="2034297"/>
                </a:lnTo>
                <a:lnTo>
                  <a:pt x="4544676" y="2034188"/>
                </a:lnTo>
                <a:lnTo>
                  <a:pt x="4540010" y="2035271"/>
                </a:lnTo>
                <a:lnTo>
                  <a:pt x="4538165" y="2034513"/>
                </a:lnTo>
                <a:lnTo>
                  <a:pt x="4531871" y="2036678"/>
                </a:lnTo>
                <a:lnTo>
                  <a:pt x="4530244" y="2033755"/>
                </a:lnTo>
                <a:lnTo>
                  <a:pt x="4531871" y="2031806"/>
                </a:lnTo>
                <a:lnTo>
                  <a:pt x="4532089" y="2026934"/>
                </a:lnTo>
                <a:lnTo>
                  <a:pt x="4530244" y="2023902"/>
                </a:lnTo>
                <a:lnTo>
                  <a:pt x="4532089" y="2019679"/>
                </a:lnTo>
                <a:lnTo>
                  <a:pt x="4533716" y="2015349"/>
                </a:lnTo>
                <a:lnTo>
                  <a:pt x="4544568" y="2007120"/>
                </a:lnTo>
                <a:lnTo>
                  <a:pt x="4550102" y="2007120"/>
                </a:lnTo>
                <a:lnTo>
                  <a:pt x="4555853" y="2011559"/>
                </a:lnTo>
                <a:lnTo>
                  <a:pt x="4559869" y="2011776"/>
                </a:lnTo>
                <a:lnTo>
                  <a:pt x="4564101" y="2007120"/>
                </a:lnTo>
                <a:lnTo>
                  <a:pt x="4567139" y="2006904"/>
                </a:lnTo>
                <a:lnTo>
                  <a:pt x="4569852" y="2010910"/>
                </a:lnTo>
                <a:lnTo>
                  <a:pt x="4575495" y="2008311"/>
                </a:lnTo>
                <a:lnTo>
                  <a:pt x="4580162" y="2010910"/>
                </a:lnTo>
                <a:lnTo>
                  <a:pt x="4591230" y="2010693"/>
                </a:lnTo>
                <a:lnTo>
                  <a:pt x="4594811" y="2009394"/>
                </a:lnTo>
                <a:lnTo>
                  <a:pt x="4592967" y="2006687"/>
                </a:lnTo>
                <a:lnTo>
                  <a:pt x="4588517" y="2008203"/>
                </a:lnTo>
                <a:lnTo>
                  <a:pt x="4586889" y="2005821"/>
                </a:lnTo>
                <a:lnTo>
                  <a:pt x="4589928" y="2001815"/>
                </a:lnTo>
                <a:lnTo>
                  <a:pt x="4598392" y="1999325"/>
                </a:lnTo>
                <a:lnTo>
                  <a:pt x="4608159" y="1999108"/>
                </a:lnTo>
                <a:lnTo>
                  <a:pt x="4609135" y="1996618"/>
                </a:lnTo>
                <a:lnTo>
                  <a:pt x="4603493" y="1995752"/>
                </a:lnTo>
                <a:lnTo>
                  <a:pt x="4596765" y="1995535"/>
                </a:lnTo>
                <a:lnTo>
                  <a:pt x="4592424" y="1988281"/>
                </a:lnTo>
                <a:lnTo>
                  <a:pt x="4593509" y="1985033"/>
                </a:lnTo>
                <a:lnTo>
                  <a:pt x="4599478" y="1983409"/>
                </a:lnTo>
                <a:lnTo>
                  <a:pt x="4603167" y="1984708"/>
                </a:lnTo>
                <a:lnTo>
                  <a:pt x="4610329" y="1982868"/>
                </a:lnTo>
                <a:lnTo>
                  <a:pt x="4615647" y="1983951"/>
                </a:lnTo>
                <a:lnTo>
                  <a:pt x="4618468" y="1981785"/>
                </a:lnTo>
                <a:lnTo>
                  <a:pt x="4622483" y="1981785"/>
                </a:lnTo>
                <a:lnTo>
                  <a:pt x="4635180" y="1986441"/>
                </a:lnTo>
                <a:lnTo>
                  <a:pt x="4643644" y="1986008"/>
                </a:lnTo>
                <a:lnTo>
                  <a:pt x="4643210" y="1983409"/>
                </a:lnTo>
                <a:lnTo>
                  <a:pt x="4645489" y="1982002"/>
                </a:lnTo>
                <a:lnTo>
                  <a:pt x="4647767" y="1976263"/>
                </a:lnTo>
                <a:lnTo>
                  <a:pt x="4649937" y="1974964"/>
                </a:lnTo>
                <a:lnTo>
                  <a:pt x="4653953" y="1970849"/>
                </a:lnTo>
                <a:lnTo>
                  <a:pt x="4658076" y="1969767"/>
                </a:lnTo>
                <a:lnTo>
                  <a:pt x="4660681" y="1966302"/>
                </a:lnTo>
                <a:lnTo>
                  <a:pt x="4669470" y="1964678"/>
                </a:lnTo>
                <a:lnTo>
                  <a:pt x="4674571" y="1964137"/>
                </a:lnTo>
                <a:lnTo>
                  <a:pt x="4685639" y="1959265"/>
                </a:lnTo>
                <a:lnTo>
                  <a:pt x="4691391" y="1957965"/>
                </a:lnTo>
                <a:lnTo>
                  <a:pt x="4703111" y="1958507"/>
                </a:lnTo>
                <a:lnTo>
                  <a:pt x="4707885" y="1957316"/>
                </a:lnTo>
                <a:lnTo>
                  <a:pt x="4711467" y="1958507"/>
                </a:lnTo>
                <a:lnTo>
                  <a:pt x="4719063" y="1958507"/>
                </a:lnTo>
                <a:lnTo>
                  <a:pt x="4724814" y="1955692"/>
                </a:lnTo>
                <a:lnTo>
                  <a:pt x="4726334" y="1956233"/>
                </a:lnTo>
                <a:lnTo>
                  <a:pt x="4726984" y="1960888"/>
                </a:lnTo>
                <a:lnTo>
                  <a:pt x="4735666" y="1968792"/>
                </a:lnTo>
                <a:lnTo>
                  <a:pt x="4737836" y="1967385"/>
                </a:lnTo>
                <a:lnTo>
                  <a:pt x="4739898" y="1968251"/>
                </a:lnTo>
                <a:lnTo>
                  <a:pt x="4745649" y="1962513"/>
                </a:lnTo>
                <a:lnTo>
                  <a:pt x="4748362" y="1961972"/>
                </a:lnTo>
                <a:lnTo>
                  <a:pt x="4752160" y="1965220"/>
                </a:lnTo>
                <a:lnTo>
                  <a:pt x="4753245" y="1970958"/>
                </a:lnTo>
                <a:lnTo>
                  <a:pt x="4757369" y="1976588"/>
                </a:lnTo>
                <a:lnTo>
                  <a:pt x="4761384" y="1977454"/>
                </a:lnTo>
                <a:lnTo>
                  <a:pt x="4763554" y="1974423"/>
                </a:lnTo>
                <a:lnTo>
                  <a:pt x="4766051" y="1974423"/>
                </a:lnTo>
                <a:lnTo>
                  <a:pt x="4774406" y="1980053"/>
                </a:lnTo>
                <a:lnTo>
                  <a:pt x="4779073" y="1980702"/>
                </a:lnTo>
                <a:lnTo>
                  <a:pt x="4788297" y="1985249"/>
                </a:lnTo>
                <a:lnTo>
                  <a:pt x="4791226" y="1983300"/>
                </a:lnTo>
                <a:lnTo>
                  <a:pt x="4796652" y="1987090"/>
                </a:lnTo>
                <a:lnTo>
                  <a:pt x="4804791" y="1988714"/>
                </a:lnTo>
                <a:lnTo>
                  <a:pt x="4814883" y="1984492"/>
                </a:lnTo>
                <a:lnTo>
                  <a:pt x="4823564" y="1983951"/>
                </a:lnTo>
                <a:lnTo>
                  <a:pt x="4828339" y="1982543"/>
                </a:lnTo>
                <a:lnTo>
                  <a:pt x="4829750" y="1983409"/>
                </a:lnTo>
                <a:lnTo>
                  <a:pt x="4833114" y="1983409"/>
                </a:lnTo>
                <a:lnTo>
                  <a:pt x="4836044" y="1985249"/>
                </a:lnTo>
                <a:lnTo>
                  <a:pt x="4845810" y="1987415"/>
                </a:lnTo>
                <a:lnTo>
                  <a:pt x="4848740" y="1985033"/>
                </a:lnTo>
                <a:lnTo>
                  <a:pt x="4856119" y="1984492"/>
                </a:lnTo>
                <a:lnTo>
                  <a:pt x="4857530" y="1980919"/>
                </a:lnTo>
                <a:lnTo>
                  <a:pt x="4865560" y="1976913"/>
                </a:lnTo>
                <a:lnTo>
                  <a:pt x="4871529" y="1973340"/>
                </a:lnTo>
                <a:lnTo>
                  <a:pt x="4874459" y="1967169"/>
                </a:lnTo>
                <a:lnTo>
                  <a:pt x="4875544" y="1965653"/>
                </a:lnTo>
                <a:lnTo>
                  <a:pt x="4878447" y="1965975"/>
                </a:lnTo>
                <a:lnTo>
                  <a:pt x="4878366" y="1965652"/>
                </a:lnTo>
                <a:lnTo>
                  <a:pt x="4875436" y="1965652"/>
                </a:lnTo>
                <a:lnTo>
                  <a:pt x="4876087" y="1964677"/>
                </a:lnTo>
                <a:lnTo>
                  <a:pt x="4876087" y="1963920"/>
                </a:lnTo>
                <a:cubicBezTo>
                  <a:pt x="4884877" y="1964028"/>
                  <a:pt x="4907123" y="1963595"/>
                  <a:pt x="4906580" y="1958506"/>
                </a:cubicBezTo>
                <a:lnTo>
                  <a:pt x="4905820" y="1952118"/>
                </a:lnTo>
                <a:lnTo>
                  <a:pt x="4931101" y="1951202"/>
                </a:lnTo>
                <a:lnTo>
                  <a:pt x="4929694" y="1950387"/>
                </a:lnTo>
                <a:lnTo>
                  <a:pt x="4902781" y="1951361"/>
                </a:lnTo>
                <a:lnTo>
                  <a:pt x="4903541" y="1957749"/>
                </a:lnTo>
                <a:cubicBezTo>
                  <a:pt x="4904084" y="1963163"/>
                  <a:pt x="4881946" y="1963163"/>
                  <a:pt x="4873048" y="1963163"/>
                </a:cubicBezTo>
                <a:lnTo>
                  <a:pt x="4872180" y="1959698"/>
                </a:lnTo>
                <a:lnTo>
                  <a:pt x="4873807" y="1956991"/>
                </a:lnTo>
                <a:lnTo>
                  <a:pt x="4869684" y="1949412"/>
                </a:lnTo>
                <a:lnTo>
                  <a:pt x="4868382" y="1939451"/>
                </a:lnTo>
                <a:lnTo>
                  <a:pt x="4865452" y="1935879"/>
                </a:lnTo>
                <a:lnTo>
                  <a:pt x="4860351" y="1927975"/>
                </a:lnTo>
                <a:lnTo>
                  <a:pt x="4854600" y="1927217"/>
                </a:lnTo>
                <a:lnTo>
                  <a:pt x="4854600" y="1924185"/>
                </a:lnTo>
                <a:lnTo>
                  <a:pt x="4848414" y="1918988"/>
                </a:lnTo>
                <a:lnTo>
                  <a:pt x="4845919" y="1920612"/>
                </a:lnTo>
                <a:lnTo>
                  <a:pt x="4843531" y="1919314"/>
                </a:lnTo>
                <a:lnTo>
                  <a:pt x="4838865" y="1918555"/>
                </a:lnTo>
                <a:lnTo>
                  <a:pt x="4835067" y="1912926"/>
                </a:lnTo>
                <a:lnTo>
                  <a:pt x="4832571" y="1912926"/>
                </a:lnTo>
                <a:lnTo>
                  <a:pt x="4828014" y="1911084"/>
                </a:lnTo>
                <a:lnTo>
                  <a:pt x="4826603" y="1907837"/>
                </a:lnTo>
                <a:lnTo>
                  <a:pt x="4822805" y="1907837"/>
                </a:lnTo>
                <a:lnTo>
                  <a:pt x="4819006" y="1904588"/>
                </a:lnTo>
                <a:lnTo>
                  <a:pt x="4817596" y="1901665"/>
                </a:lnTo>
                <a:lnTo>
                  <a:pt x="4813255" y="1900257"/>
                </a:lnTo>
                <a:lnTo>
                  <a:pt x="4810108" y="1894519"/>
                </a:lnTo>
                <a:lnTo>
                  <a:pt x="4794699" y="1883692"/>
                </a:lnTo>
                <a:lnTo>
                  <a:pt x="4788405" y="1882068"/>
                </a:lnTo>
                <a:lnTo>
                  <a:pt x="4779181" y="1876438"/>
                </a:lnTo>
                <a:lnTo>
                  <a:pt x="4770283" y="1877196"/>
                </a:lnTo>
                <a:lnTo>
                  <a:pt x="4765074" y="1871782"/>
                </a:lnTo>
                <a:lnTo>
                  <a:pt x="4765074" y="1868209"/>
                </a:lnTo>
                <a:lnTo>
                  <a:pt x="4758563" y="1862796"/>
                </a:lnTo>
                <a:lnTo>
                  <a:pt x="4755850" y="1862796"/>
                </a:lnTo>
                <a:lnTo>
                  <a:pt x="4750207" y="1862038"/>
                </a:lnTo>
                <a:lnTo>
                  <a:pt x="4753462" y="1859331"/>
                </a:lnTo>
                <a:lnTo>
                  <a:pt x="4757044" y="1857707"/>
                </a:lnTo>
                <a:lnTo>
                  <a:pt x="4755199" y="1854242"/>
                </a:lnTo>
                <a:lnTo>
                  <a:pt x="4755199" y="1852078"/>
                </a:lnTo>
                <a:lnTo>
                  <a:pt x="4760408" y="1853376"/>
                </a:lnTo>
                <a:lnTo>
                  <a:pt x="4764206" y="1856300"/>
                </a:lnTo>
                <a:lnTo>
                  <a:pt x="4765291" y="1855542"/>
                </a:lnTo>
                <a:lnTo>
                  <a:pt x="4769957" y="1856300"/>
                </a:lnTo>
                <a:lnTo>
                  <a:pt x="4771042" y="1849478"/>
                </a:lnTo>
                <a:lnTo>
                  <a:pt x="4768655" y="1847854"/>
                </a:lnTo>
                <a:lnTo>
                  <a:pt x="4768655" y="1843524"/>
                </a:lnTo>
                <a:lnTo>
                  <a:pt x="4773755" y="1838435"/>
                </a:lnTo>
                <a:lnTo>
                  <a:pt x="4773755" y="1836595"/>
                </a:lnTo>
                <a:lnTo>
                  <a:pt x="4775709" y="1834754"/>
                </a:lnTo>
                <a:lnTo>
                  <a:pt x="4778964" y="1834754"/>
                </a:lnTo>
                <a:lnTo>
                  <a:pt x="4780917" y="1831830"/>
                </a:lnTo>
                <a:lnTo>
                  <a:pt x="4783956" y="1831073"/>
                </a:lnTo>
                <a:lnTo>
                  <a:pt x="4783956" y="1829124"/>
                </a:lnTo>
                <a:lnTo>
                  <a:pt x="4779072" y="1827717"/>
                </a:lnTo>
                <a:lnTo>
                  <a:pt x="4777770" y="1825226"/>
                </a:lnTo>
                <a:lnTo>
                  <a:pt x="4775274" y="1827391"/>
                </a:lnTo>
                <a:lnTo>
                  <a:pt x="4771802" y="1823927"/>
                </a:lnTo>
                <a:lnTo>
                  <a:pt x="4768546" y="1816889"/>
                </a:lnTo>
                <a:lnTo>
                  <a:pt x="4776685" y="1815807"/>
                </a:lnTo>
                <a:lnTo>
                  <a:pt x="4782545" y="1816889"/>
                </a:lnTo>
                <a:lnTo>
                  <a:pt x="4785583" y="1813425"/>
                </a:lnTo>
                <a:lnTo>
                  <a:pt x="4782545" y="1813425"/>
                </a:lnTo>
                <a:lnTo>
                  <a:pt x="4780158" y="1811151"/>
                </a:lnTo>
                <a:lnTo>
                  <a:pt x="4785366" y="1807578"/>
                </a:lnTo>
                <a:lnTo>
                  <a:pt x="4797846" y="1800865"/>
                </a:lnTo>
                <a:lnTo>
                  <a:pt x="4799148" y="1797292"/>
                </a:lnTo>
                <a:lnTo>
                  <a:pt x="4797737" y="1794802"/>
                </a:lnTo>
                <a:lnTo>
                  <a:pt x="4791443" y="1795668"/>
                </a:lnTo>
                <a:lnTo>
                  <a:pt x="4786234" y="1799241"/>
                </a:lnTo>
                <a:lnTo>
                  <a:pt x="4782892" y="1798648"/>
                </a:lnTo>
                <a:lnTo>
                  <a:pt x="4782871" y="1798808"/>
                </a:lnTo>
                <a:lnTo>
                  <a:pt x="4782871" y="1799241"/>
                </a:lnTo>
                <a:lnTo>
                  <a:pt x="4778313" y="1800865"/>
                </a:lnTo>
                <a:lnTo>
                  <a:pt x="4777879" y="1798266"/>
                </a:lnTo>
                <a:lnTo>
                  <a:pt x="4775274" y="1797942"/>
                </a:lnTo>
                <a:lnTo>
                  <a:pt x="4769306" y="1800432"/>
                </a:lnTo>
                <a:lnTo>
                  <a:pt x="4763338" y="1799891"/>
                </a:lnTo>
                <a:lnTo>
                  <a:pt x="4760299" y="1802272"/>
                </a:lnTo>
                <a:lnTo>
                  <a:pt x="4758346" y="1806387"/>
                </a:lnTo>
                <a:lnTo>
                  <a:pt x="4753029" y="1806820"/>
                </a:lnTo>
                <a:lnTo>
                  <a:pt x="4750533" y="1810393"/>
                </a:lnTo>
                <a:lnTo>
                  <a:pt x="4745433" y="1815807"/>
                </a:lnTo>
                <a:lnTo>
                  <a:pt x="4743697" y="1815265"/>
                </a:lnTo>
                <a:lnTo>
                  <a:pt x="4738813" y="1815807"/>
                </a:lnTo>
                <a:lnTo>
                  <a:pt x="4734798" y="1818838"/>
                </a:lnTo>
                <a:lnTo>
                  <a:pt x="4728504" y="1817430"/>
                </a:lnTo>
                <a:lnTo>
                  <a:pt x="4723621" y="1820462"/>
                </a:lnTo>
                <a:lnTo>
                  <a:pt x="4720474" y="1819920"/>
                </a:lnTo>
                <a:lnTo>
                  <a:pt x="4717435" y="1814724"/>
                </a:lnTo>
                <a:lnTo>
                  <a:pt x="4715265" y="1814940"/>
                </a:lnTo>
                <a:lnTo>
                  <a:pt x="4716676" y="1817755"/>
                </a:lnTo>
                <a:lnTo>
                  <a:pt x="4719389" y="1821220"/>
                </a:lnTo>
                <a:lnTo>
                  <a:pt x="4718303" y="1824252"/>
                </a:lnTo>
                <a:lnTo>
                  <a:pt x="4713203" y="1831505"/>
                </a:lnTo>
                <a:lnTo>
                  <a:pt x="4710382" y="1833130"/>
                </a:lnTo>
                <a:lnTo>
                  <a:pt x="4709296" y="1830964"/>
                </a:lnTo>
                <a:lnTo>
                  <a:pt x="4711141" y="1829881"/>
                </a:lnTo>
                <a:lnTo>
                  <a:pt x="4715808" y="1824252"/>
                </a:lnTo>
                <a:lnTo>
                  <a:pt x="4715048" y="1822303"/>
                </a:lnTo>
                <a:lnTo>
                  <a:pt x="4712552" y="1820678"/>
                </a:lnTo>
                <a:lnTo>
                  <a:pt x="4711684" y="1823385"/>
                </a:lnTo>
                <a:lnTo>
                  <a:pt x="4704413" y="1830964"/>
                </a:lnTo>
                <a:lnTo>
                  <a:pt x="4700073" y="1831722"/>
                </a:lnTo>
                <a:lnTo>
                  <a:pt x="4699313" y="1834537"/>
                </a:lnTo>
                <a:lnTo>
                  <a:pt x="4694321" y="1834537"/>
                </a:lnTo>
                <a:lnTo>
                  <a:pt x="4690849" y="1832047"/>
                </a:lnTo>
                <a:lnTo>
                  <a:pt x="4687919" y="1834754"/>
                </a:lnTo>
                <a:lnTo>
                  <a:pt x="4682710" y="1833887"/>
                </a:lnTo>
                <a:lnTo>
                  <a:pt x="4681950" y="1835836"/>
                </a:lnTo>
                <a:lnTo>
                  <a:pt x="4685098" y="1837785"/>
                </a:lnTo>
                <a:lnTo>
                  <a:pt x="4692694" y="1837244"/>
                </a:lnTo>
                <a:lnTo>
                  <a:pt x="4695515" y="1840709"/>
                </a:lnTo>
                <a:lnTo>
                  <a:pt x="4698445" y="1842874"/>
                </a:lnTo>
                <a:lnTo>
                  <a:pt x="4701158" y="1841466"/>
                </a:lnTo>
                <a:lnTo>
                  <a:pt x="4702785" y="1843740"/>
                </a:lnTo>
                <a:lnTo>
                  <a:pt x="4700398" y="1846664"/>
                </a:lnTo>
                <a:lnTo>
                  <a:pt x="4700615" y="1848829"/>
                </a:lnTo>
                <a:lnTo>
                  <a:pt x="4702785" y="1847421"/>
                </a:lnTo>
                <a:lnTo>
                  <a:pt x="4704956" y="1847421"/>
                </a:lnTo>
                <a:lnTo>
                  <a:pt x="4704196" y="1851211"/>
                </a:lnTo>
                <a:lnTo>
                  <a:pt x="4707126" y="1848504"/>
                </a:lnTo>
                <a:lnTo>
                  <a:pt x="4709622" y="1850128"/>
                </a:lnTo>
                <a:lnTo>
                  <a:pt x="4710708" y="1855542"/>
                </a:lnTo>
                <a:lnTo>
                  <a:pt x="4713421" y="1858356"/>
                </a:lnTo>
                <a:lnTo>
                  <a:pt x="4718846" y="1859980"/>
                </a:lnTo>
                <a:lnTo>
                  <a:pt x="4721234" y="1858789"/>
                </a:lnTo>
                <a:lnTo>
                  <a:pt x="4713203" y="1851211"/>
                </a:lnTo>
                <a:lnTo>
                  <a:pt x="4704956" y="1841033"/>
                </a:lnTo>
                <a:lnTo>
                  <a:pt x="4702569" y="1834970"/>
                </a:lnTo>
                <a:lnTo>
                  <a:pt x="4704630" y="1833671"/>
                </a:lnTo>
                <a:lnTo>
                  <a:pt x="4708211" y="1838760"/>
                </a:lnTo>
                <a:lnTo>
                  <a:pt x="4710056" y="1845039"/>
                </a:lnTo>
                <a:lnTo>
                  <a:pt x="4721559" y="1857707"/>
                </a:lnTo>
                <a:lnTo>
                  <a:pt x="4724272" y="1858789"/>
                </a:lnTo>
                <a:lnTo>
                  <a:pt x="4728287" y="1854567"/>
                </a:lnTo>
                <a:lnTo>
                  <a:pt x="4731000" y="1854458"/>
                </a:lnTo>
                <a:lnTo>
                  <a:pt x="4735449" y="1857274"/>
                </a:lnTo>
                <a:lnTo>
                  <a:pt x="4737294" y="1852401"/>
                </a:lnTo>
                <a:lnTo>
                  <a:pt x="4744890" y="1851535"/>
                </a:lnTo>
                <a:lnTo>
                  <a:pt x="4751184" y="1851860"/>
                </a:lnTo>
                <a:lnTo>
                  <a:pt x="4749448" y="1855000"/>
                </a:lnTo>
                <a:lnTo>
                  <a:pt x="4747060" y="1856949"/>
                </a:lnTo>
                <a:lnTo>
                  <a:pt x="4749231" y="1861280"/>
                </a:lnTo>
                <a:lnTo>
                  <a:pt x="4746410" y="1864744"/>
                </a:lnTo>
                <a:lnTo>
                  <a:pt x="4738162" y="1865394"/>
                </a:lnTo>
                <a:lnTo>
                  <a:pt x="4728829" y="1863770"/>
                </a:lnTo>
                <a:lnTo>
                  <a:pt x="4723187" y="1866910"/>
                </a:lnTo>
                <a:lnTo>
                  <a:pt x="4719063" y="1872649"/>
                </a:lnTo>
                <a:lnTo>
                  <a:pt x="4711467" y="1872432"/>
                </a:lnTo>
                <a:lnTo>
                  <a:pt x="4700398" y="1880768"/>
                </a:lnTo>
                <a:lnTo>
                  <a:pt x="4692151" y="1884558"/>
                </a:lnTo>
                <a:lnTo>
                  <a:pt x="4683470" y="1884233"/>
                </a:lnTo>
                <a:lnTo>
                  <a:pt x="4679237" y="1880985"/>
                </a:lnTo>
                <a:lnTo>
                  <a:pt x="4680540" y="1879145"/>
                </a:lnTo>
                <a:lnTo>
                  <a:pt x="4683470" y="1870483"/>
                </a:lnTo>
                <a:lnTo>
                  <a:pt x="4683035" y="1867018"/>
                </a:lnTo>
                <a:lnTo>
                  <a:pt x="4675439" y="1861064"/>
                </a:lnTo>
                <a:lnTo>
                  <a:pt x="4672726" y="1861496"/>
                </a:lnTo>
                <a:lnTo>
                  <a:pt x="4667518" y="1858898"/>
                </a:lnTo>
                <a:lnTo>
                  <a:pt x="4664262" y="1861605"/>
                </a:lnTo>
                <a:lnTo>
                  <a:pt x="4660139" y="1859872"/>
                </a:lnTo>
                <a:lnTo>
                  <a:pt x="4664913" y="1852401"/>
                </a:lnTo>
                <a:lnTo>
                  <a:pt x="4673486" y="1847421"/>
                </a:lnTo>
                <a:lnTo>
                  <a:pt x="4680540" y="1846122"/>
                </a:lnTo>
                <a:lnTo>
                  <a:pt x="4682493" y="1844823"/>
                </a:lnTo>
                <a:lnTo>
                  <a:pt x="4679780" y="1841575"/>
                </a:lnTo>
                <a:lnTo>
                  <a:pt x="4678695" y="1835620"/>
                </a:lnTo>
                <a:lnTo>
                  <a:pt x="4676524" y="1834645"/>
                </a:lnTo>
                <a:lnTo>
                  <a:pt x="4674680" y="1838001"/>
                </a:lnTo>
                <a:lnTo>
                  <a:pt x="4670882" y="1835836"/>
                </a:lnTo>
                <a:lnTo>
                  <a:pt x="4665456" y="1833562"/>
                </a:lnTo>
                <a:lnTo>
                  <a:pt x="4659705" y="1834537"/>
                </a:lnTo>
                <a:lnTo>
                  <a:pt x="4654713" y="1837136"/>
                </a:lnTo>
                <a:lnTo>
                  <a:pt x="4650372" y="1834645"/>
                </a:lnTo>
                <a:lnTo>
                  <a:pt x="4647008" y="1834321"/>
                </a:lnTo>
                <a:lnTo>
                  <a:pt x="4643535" y="1831289"/>
                </a:lnTo>
                <a:lnTo>
                  <a:pt x="4646140" y="1829665"/>
                </a:lnTo>
                <a:lnTo>
                  <a:pt x="4647116" y="1827824"/>
                </a:lnTo>
                <a:lnTo>
                  <a:pt x="4640063" y="1825550"/>
                </a:lnTo>
                <a:lnTo>
                  <a:pt x="4631382" y="1825550"/>
                </a:lnTo>
                <a:lnTo>
                  <a:pt x="4629320" y="1822519"/>
                </a:lnTo>
                <a:lnTo>
                  <a:pt x="4634637" y="1822519"/>
                </a:lnTo>
                <a:lnTo>
                  <a:pt x="4642993" y="1821436"/>
                </a:lnTo>
                <a:lnTo>
                  <a:pt x="4647333" y="1822844"/>
                </a:lnTo>
                <a:lnTo>
                  <a:pt x="4650372" y="1821220"/>
                </a:lnTo>
                <a:lnTo>
                  <a:pt x="4655364" y="1818188"/>
                </a:lnTo>
                <a:lnTo>
                  <a:pt x="4648201" y="1819920"/>
                </a:lnTo>
                <a:lnTo>
                  <a:pt x="4644512" y="1818730"/>
                </a:lnTo>
                <a:lnTo>
                  <a:pt x="4641691" y="1816564"/>
                </a:lnTo>
                <a:lnTo>
                  <a:pt x="4640063" y="1813857"/>
                </a:lnTo>
                <a:lnTo>
                  <a:pt x="4638001" y="1817105"/>
                </a:lnTo>
                <a:lnTo>
                  <a:pt x="4636048" y="1819812"/>
                </a:lnTo>
                <a:lnTo>
                  <a:pt x="4631708" y="1819812"/>
                </a:lnTo>
                <a:lnTo>
                  <a:pt x="4631816" y="1818513"/>
                </a:lnTo>
                <a:lnTo>
                  <a:pt x="4629211" y="1816022"/>
                </a:lnTo>
                <a:lnTo>
                  <a:pt x="4624437" y="1821977"/>
                </a:lnTo>
                <a:lnTo>
                  <a:pt x="4618902" y="1822303"/>
                </a:lnTo>
                <a:lnTo>
                  <a:pt x="4615430" y="1825009"/>
                </a:lnTo>
                <a:lnTo>
                  <a:pt x="4615430" y="1830964"/>
                </a:lnTo>
                <a:lnTo>
                  <a:pt x="4610546" y="1837244"/>
                </a:lnTo>
                <a:lnTo>
                  <a:pt x="4608051" y="1837244"/>
                </a:lnTo>
                <a:lnTo>
                  <a:pt x="4609461" y="1840383"/>
                </a:lnTo>
                <a:lnTo>
                  <a:pt x="4600455" y="1851211"/>
                </a:lnTo>
                <a:lnTo>
                  <a:pt x="4597307" y="1851211"/>
                </a:lnTo>
                <a:lnTo>
                  <a:pt x="4595354" y="1848071"/>
                </a:lnTo>
                <a:lnTo>
                  <a:pt x="4595138" y="1851535"/>
                </a:lnTo>
                <a:lnTo>
                  <a:pt x="4594594" y="1854458"/>
                </a:lnTo>
                <a:lnTo>
                  <a:pt x="4596982" y="1857274"/>
                </a:lnTo>
                <a:lnTo>
                  <a:pt x="4596114" y="1861496"/>
                </a:lnTo>
                <a:lnTo>
                  <a:pt x="4596006" y="1861496"/>
                </a:lnTo>
                <a:lnTo>
                  <a:pt x="4596005" y="1861495"/>
                </a:lnTo>
                <a:lnTo>
                  <a:pt x="4593509" y="1863985"/>
                </a:lnTo>
                <a:lnTo>
                  <a:pt x="4596113" y="1865934"/>
                </a:lnTo>
                <a:lnTo>
                  <a:pt x="4596113" y="1869616"/>
                </a:lnTo>
                <a:lnTo>
                  <a:pt x="4592641" y="1875679"/>
                </a:lnTo>
                <a:lnTo>
                  <a:pt x="4587540" y="1876761"/>
                </a:lnTo>
                <a:lnTo>
                  <a:pt x="4579293" y="1877303"/>
                </a:lnTo>
                <a:lnTo>
                  <a:pt x="4577991" y="1882391"/>
                </a:lnTo>
                <a:lnTo>
                  <a:pt x="4574952" y="1885640"/>
                </a:lnTo>
                <a:lnTo>
                  <a:pt x="4576906" y="1889104"/>
                </a:lnTo>
                <a:lnTo>
                  <a:pt x="4576580" y="1896142"/>
                </a:lnTo>
                <a:lnTo>
                  <a:pt x="4573976" y="1900473"/>
                </a:lnTo>
                <a:lnTo>
                  <a:pt x="4575712" y="1906211"/>
                </a:lnTo>
                <a:lnTo>
                  <a:pt x="4575713" y="1906211"/>
                </a:lnTo>
                <a:lnTo>
                  <a:pt x="4576038" y="1907294"/>
                </a:lnTo>
                <a:lnTo>
                  <a:pt x="4575062" y="1916280"/>
                </a:lnTo>
                <a:lnTo>
                  <a:pt x="4572023" y="1919204"/>
                </a:lnTo>
                <a:lnTo>
                  <a:pt x="4567683" y="1918662"/>
                </a:lnTo>
                <a:lnTo>
                  <a:pt x="4561172" y="1924400"/>
                </a:lnTo>
                <a:lnTo>
                  <a:pt x="4562257" y="1934903"/>
                </a:lnTo>
                <a:lnTo>
                  <a:pt x="4560629" y="1939559"/>
                </a:lnTo>
                <a:lnTo>
                  <a:pt x="4553901" y="1944647"/>
                </a:lnTo>
                <a:lnTo>
                  <a:pt x="4554878" y="1947137"/>
                </a:lnTo>
                <a:lnTo>
                  <a:pt x="4558784" y="1947679"/>
                </a:lnTo>
                <a:lnTo>
                  <a:pt x="4563559" y="1954608"/>
                </a:lnTo>
                <a:lnTo>
                  <a:pt x="4567140" y="1960347"/>
                </a:lnTo>
                <a:lnTo>
                  <a:pt x="4567140" y="1960671"/>
                </a:lnTo>
                <a:lnTo>
                  <a:pt x="4567899" y="1969224"/>
                </a:lnTo>
                <a:lnTo>
                  <a:pt x="4575061" y="1975504"/>
                </a:lnTo>
                <a:lnTo>
                  <a:pt x="4580270" y="1976262"/>
                </a:lnTo>
                <a:lnTo>
                  <a:pt x="4585805" y="1981783"/>
                </a:lnTo>
                <a:lnTo>
                  <a:pt x="4590688" y="1984490"/>
                </a:lnTo>
                <a:lnTo>
                  <a:pt x="4590688" y="1987522"/>
                </a:lnTo>
                <a:lnTo>
                  <a:pt x="4586455" y="1991744"/>
                </a:lnTo>
                <a:lnTo>
                  <a:pt x="4580487" y="1991203"/>
                </a:lnTo>
                <a:lnTo>
                  <a:pt x="4577232" y="1989363"/>
                </a:lnTo>
                <a:lnTo>
                  <a:pt x="4571806" y="1989363"/>
                </a:lnTo>
                <a:lnTo>
                  <a:pt x="4569635" y="1991420"/>
                </a:lnTo>
                <a:lnTo>
                  <a:pt x="4561497" y="1991203"/>
                </a:lnTo>
                <a:lnTo>
                  <a:pt x="4556614" y="1993152"/>
                </a:lnTo>
                <a:lnTo>
                  <a:pt x="4554118" y="1999648"/>
                </a:lnTo>
                <a:lnTo>
                  <a:pt x="4541638" y="2006036"/>
                </a:lnTo>
                <a:lnTo>
                  <a:pt x="4531655" y="2014481"/>
                </a:lnTo>
                <a:lnTo>
                  <a:pt x="4531329" y="2011233"/>
                </a:lnTo>
                <a:lnTo>
                  <a:pt x="4533716" y="2004195"/>
                </a:lnTo>
                <a:lnTo>
                  <a:pt x="4536429" y="2003979"/>
                </a:lnTo>
                <a:lnTo>
                  <a:pt x="4541096" y="2000948"/>
                </a:lnTo>
                <a:lnTo>
                  <a:pt x="4536538" y="2001489"/>
                </a:lnTo>
                <a:lnTo>
                  <a:pt x="4533716" y="2000622"/>
                </a:lnTo>
                <a:lnTo>
                  <a:pt x="4531003" y="2001272"/>
                </a:lnTo>
                <a:lnTo>
                  <a:pt x="4527205" y="1998999"/>
                </a:lnTo>
                <a:lnTo>
                  <a:pt x="4525144" y="1994776"/>
                </a:lnTo>
                <a:lnTo>
                  <a:pt x="4524927" y="1994776"/>
                </a:lnTo>
                <a:lnTo>
                  <a:pt x="4530135" y="1993477"/>
                </a:lnTo>
                <a:lnTo>
                  <a:pt x="4532848" y="1987955"/>
                </a:lnTo>
                <a:lnTo>
                  <a:pt x="4531871" y="1982758"/>
                </a:lnTo>
                <a:lnTo>
                  <a:pt x="4538057" y="1978969"/>
                </a:lnTo>
                <a:lnTo>
                  <a:pt x="4538383" y="1973122"/>
                </a:lnTo>
                <a:lnTo>
                  <a:pt x="4538382" y="1973122"/>
                </a:lnTo>
                <a:lnTo>
                  <a:pt x="4538056" y="1978968"/>
                </a:lnTo>
                <a:lnTo>
                  <a:pt x="4531871" y="1982758"/>
                </a:lnTo>
                <a:lnTo>
                  <a:pt x="4532848" y="1987954"/>
                </a:lnTo>
                <a:lnTo>
                  <a:pt x="4530135" y="1993476"/>
                </a:lnTo>
                <a:lnTo>
                  <a:pt x="4524926" y="1994776"/>
                </a:lnTo>
                <a:lnTo>
                  <a:pt x="4517547" y="1992827"/>
                </a:lnTo>
                <a:lnTo>
                  <a:pt x="4507780" y="1992827"/>
                </a:lnTo>
                <a:lnTo>
                  <a:pt x="4504525" y="1989038"/>
                </a:lnTo>
                <a:lnTo>
                  <a:pt x="4502572" y="1989038"/>
                </a:lnTo>
                <a:lnTo>
                  <a:pt x="4502354" y="1991419"/>
                </a:lnTo>
                <a:lnTo>
                  <a:pt x="4498014" y="1995858"/>
                </a:lnTo>
                <a:lnTo>
                  <a:pt x="4494108" y="1995534"/>
                </a:lnTo>
                <a:lnTo>
                  <a:pt x="4488790" y="1991528"/>
                </a:lnTo>
                <a:lnTo>
                  <a:pt x="4485426" y="1992827"/>
                </a:lnTo>
                <a:lnTo>
                  <a:pt x="4483581" y="1999107"/>
                </a:lnTo>
                <a:lnTo>
                  <a:pt x="4479783" y="2001272"/>
                </a:lnTo>
                <a:lnTo>
                  <a:pt x="4475117" y="1999864"/>
                </a:lnTo>
                <a:lnTo>
                  <a:pt x="4472513" y="2002788"/>
                </a:lnTo>
                <a:lnTo>
                  <a:pt x="4476853" y="2007768"/>
                </a:lnTo>
                <a:lnTo>
                  <a:pt x="4482171" y="2008526"/>
                </a:lnTo>
                <a:lnTo>
                  <a:pt x="4487162" y="2013182"/>
                </a:lnTo>
                <a:lnTo>
                  <a:pt x="4485752" y="2014806"/>
                </a:lnTo>
                <a:lnTo>
                  <a:pt x="4482496" y="2011558"/>
                </a:lnTo>
                <a:lnTo>
                  <a:pt x="4473598" y="2011233"/>
                </a:lnTo>
                <a:lnTo>
                  <a:pt x="4473490" y="2013940"/>
                </a:lnTo>
                <a:lnTo>
                  <a:pt x="4476745" y="2015239"/>
                </a:lnTo>
                <a:lnTo>
                  <a:pt x="4480326" y="2017946"/>
                </a:lnTo>
                <a:lnTo>
                  <a:pt x="4478481" y="2020978"/>
                </a:lnTo>
                <a:lnTo>
                  <a:pt x="4475226" y="2019678"/>
                </a:lnTo>
                <a:lnTo>
                  <a:pt x="4471428" y="2014481"/>
                </a:lnTo>
                <a:lnTo>
                  <a:pt x="4466544" y="2012857"/>
                </a:lnTo>
                <a:lnTo>
                  <a:pt x="4465894" y="2016105"/>
                </a:lnTo>
                <a:lnTo>
                  <a:pt x="4467847" y="2019678"/>
                </a:lnTo>
                <a:lnTo>
                  <a:pt x="4471645" y="2022276"/>
                </a:lnTo>
                <a:lnTo>
                  <a:pt x="4466436" y="2022385"/>
                </a:lnTo>
                <a:lnTo>
                  <a:pt x="4461661" y="2018595"/>
                </a:lnTo>
                <a:lnTo>
                  <a:pt x="4461010" y="2012857"/>
                </a:lnTo>
                <a:lnTo>
                  <a:pt x="4453523" y="2009392"/>
                </a:lnTo>
                <a:lnTo>
                  <a:pt x="4452980" y="2006902"/>
                </a:lnTo>
                <a:lnTo>
                  <a:pt x="4455693" y="2006902"/>
                </a:lnTo>
                <a:lnTo>
                  <a:pt x="4455042" y="2002246"/>
                </a:lnTo>
                <a:lnTo>
                  <a:pt x="4449182" y="2003437"/>
                </a:lnTo>
                <a:lnTo>
                  <a:pt x="4446144" y="2008309"/>
                </a:lnTo>
                <a:lnTo>
                  <a:pt x="4447012" y="2017729"/>
                </a:lnTo>
                <a:lnTo>
                  <a:pt x="4445058" y="2020219"/>
                </a:lnTo>
                <a:lnTo>
                  <a:pt x="4450701" y="2024984"/>
                </a:lnTo>
                <a:lnTo>
                  <a:pt x="4451352" y="2028231"/>
                </a:lnTo>
                <a:lnTo>
                  <a:pt x="4454499" y="2030505"/>
                </a:lnTo>
                <a:lnTo>
                  <a:pt x="4461661" y="2039383"/>
                </a:lnTo>
                <a:lnTo>
                  <a:pt x="4464808" y="2043173"/>
                </a:lnTo>
                <a:lnTo>
                  <a:pt x="4463289" y="2048694"/>
                </a:lnTo>
                <a:lnTo>
                  <a:pt x="4460684" y="2049344"/>
                </a:lnTo>
                <a:lnTo>
                  <a:pt x="4460251" y="2046854"/>
                </a:lnTo>
                <a:lnTo>
                  <a:pt x="4461444" y="2044255"/>
                </a:lnTo>
                <a:lnTo>
                  <a:pt x="4458514" y="2041874"/>
                </a:lnTo>
                <a:lnTo>
                  <a:pt x="4454825" y="2040466"/>
                </a:lnTo>
                <a:lnTo>
                  <a:pt x="4455042" y="2043173"/>
                </a:lnTo>
                <a:lnTo>
                  <a:pt x="4452437" y="2046421"/>
                </a:lnTo>
                <a:lnTo>
                  <a:pt x="4457212" y="2047720"/>
                </a:lnTo>
                <a:lnTo>
                  <a:pt x="4457321" y="2050210"/>
                </a:lnTo>
                <a:lnTo>
                  <a:pt x="4454499" y="2053675"/>
                </a:lnTo>
                <a:lnTo>
                  <a:pt x="4449399" y="2054325"/>
                </a:lnTo>
                <a:lnTo>
                  <a:pt x="4454065" y="2058547"/>
                </a:lnTo>
                <a:lnTo>
                  <a:pt x="4458840" y="2059088"/>
                </a:lnTo>
                <a:lnTo>
                  <a:pt x="4460793" y="2061579"/>
                </a:lnTo>
                <a:lnTo>
                  <a:pt x="4463831" y="2061362"/>
                </a:lnTo>
                <a:lnTo>
                  <a:pt x="4465459" y="2064069"/>
                </a:lnTo>
                <a:lnTo>
                  <a:pt x="4468932" y="2064935"/>
                </a:lnTo>
                <a:lnTo>
                  <a:pt x="4480001" y="2071865"/>
                </a:lnTo>
                <a:lnTo>
                  <a:pt x="4481628" y="2074896"/>
                </a:lnTo>
                <a:lnTo>
                  <a:pt x="4480543" y="2080310"/>
                </a:lnTo>
                <a:lnTo>
                  <a:pt x="4484449" y="2086156"/>
                </a:lnTo>
                <a:lnTo>
                  <a:pt x="4483256" y="2088863"/>
                </a:lnTo>
                <a:lnTo>
                  <a:pt x="4478698" y="2088322"/>
                </a:lnTo>
                <a:lnTo>
                  <a:pt x="4477939" y="2086265"/>
                </a:lnTo>
                <a:lnTo>
                  <a:pt x="4471428" y="2081826"/>
                </a:lnTo>
                <a:lnTo>
                  <a:pt x="4468932" y="2083991"/>
                </a:lnTo>
                <a:lnTo>
                  <a:pt x="4464808" y="2083774"/>
                </a:lnTo>
                <a:lnTo>
                  <a:pt x="4460251" y="2085723"/>
                </a:lnTo>
                <a:lnTo>
                  <a:pt x="4464917" y="2089404"/>
                </a:lnTo>
                <a:lnTo>
                  <a:pt x="4464591" y="2091678"/>
                </a:lnTo>
                <a:lnTo>
                  <a:pt x="4468606" y="2094277"/>
                </a:lnTo>
                <a:lnTo>
                  <a:pt x="4470451" y="2094710"/>
                </a:lnTo>
                <a:lnTo>
                  <a:pt x="4470885" y="2096767"/>
                </a:lnTo>
                <a:lnTo>
                  <a:pt x="4473055" y="2098391"/>
                </a:lnTo>
                <a:lnTo>
                  <a:pt x="4472947" y="2100232"/>
                </a:lnTo>
                <a:lnTo>
                  <a:pt x="4467521" y="2098391"/>
                </a:lnTo>
                <a:lnTo>
                  <a:pt x="4464808" y="2101314"/>
                </a:lnTo>
                <a:lnTo>
                  <a:pt x="4463181" y="2099473"/>
                </a:lnTo>
                <a:lnTo>
                  <a:pt x="4464808" y="2097524"/>
                </a:lnTo>
                <a:lnTo>
                  <a:pt x="4459491" y="2094818"/>
                </a:lnTo>
                <a:lnTo>
                  <a:pt x="4456670" y="2095142"/>
                </a:lnTo>
                <a:lnTo>
                  <a:pt x="4456453" y="2096983"/>
                </a:lnTo>
                <a:lnTo>
                  <a:pt x="4459383" y="2101422"/>
                </a:lnTo>
                <a:lnTo>
                  <a:pt x="4462638" y="2109218"/>
                </a:lnTo>
                <a:lnTo>
                  <a:pt x="4465134" y="2113873"/>
                </a:lnTo>
                <a:lnTo>
                  <a:pt x="4464374" y="2117122"/>
                </a:lnTo>
                <a:lnTo>
                  <a:pt x="4467304" y="2121993"/>
                </a:lnTo>
                <a:lnTo>
                  <a:pt x="4460251" y="2117338"/>
                </a:lnTo>
                <a:lnTo>
                  <a:pt x="4458406" y="2113007"/>
                </a:lnTo>
                <a:lnTo>
                  <a:pt x="4454499" y="2113007"/>
                </a:lnTo>
                <a:lnTo>
                  <a:pt x="4452112" y="2118421"/>
                </a:lnTo>
                <a:lnTo>
                  <a:pt x="4452112" y="2125134"/>
                </a:lnTo>
                <a:lnTo>
                  <a:pt x="4449399" y="2121885"/>
                </a:lnTo>
                <a:lnTo>
                  <a:pt x="4450267" y="2117879"/>
                </a:lnTo>
                <a:lnTo>
                  <a:pt x="4448856" y="2114414"/>
                </a:lnTo>
                <a:lnTo>
                  <a:pt x="4442563" y="2111708"/>
                </a:lnTo>
                <a:lnTo>
                  <a:pt x="4440934" y="2106511"/>
                </a:lnTo>
                <a:lnTo>
                  <a:pt x="4439090" y="2110625"/>
                </a:lnTo>
                <a:lnTo>
                  <a:pt x="4440175" y="2113007"/>
                </a:lnTo>
                <a:lnTo>
                  <a:pt x="4438873" y="2116038"/>
                </a:lnTo>
                <a:lnTo>
                  <a:pt x="4436052" y="2112791"/>
                </a:lnTo>
                <a:lnTo>
                  <a:pt x="4431711" y="2107269"/>
                </a:lnTo>
                <a:lnTo>
                  <a:pt x="4431277" y="2102722"/>
                </a:lnTo>
                <a:lnTo>
                  <a:pt x="4433339" y="2100340"/>
                </a:lnTo>
                <a:lnTo>
                  <a:pt x="4432796" y="2096983"/>
                </a:lnTo>
                <a:lnTo>
                  <a:pt x="4427695" y="2092219"/>
                </a:lnTo>
                <a:lnTo>
                  <a:pt x="4422487" y="2089729"/>
                </a:lnTo>
                <a:lnTo>
                  <a:pt x="4417387" y="2083991"/>
                </a:lnTo>
                <a:lnTo>
                  <a:pt x="4419014" y="2079768"/>
                </a:lnTo>
                <a:lnTo>
                  <a:pt x="4421510" y="2079118"/>
                </a:lnTo>
                <a:lnTo>
                  <a:pt x="4424982" y="2074788"/>
                </a:lnTo>
                <a:lnTo>
                  <a:pt x="4429107" y="2076737"/>
                </a:lnTo>
                <a:lnTo>
                  <a:pt x="4433121" y="2074355"/>
                </a:lnTo>
                <a:lnTo>
                  <a:pt x="4437245" y="2072947"/>
                </a:lnTo>
                <a:lnTo>
                  <a:pt x="4446686" y="2079118"/>
                </a:lnTo>
                <a:lnTo>
                  <a:pt x="4451027" y="2080201"/>
                </a:lnTo>
                <a:lnTo>
                  <a:pt x="4454282" y="2082800"/>
                </a:lnTo>
                <a:lnTo>
                  <a:pt x="4457538" y="2079660"/>
                </a:lnTo>
                <a:lnTo>
                  <a:pt x="4461119" y="2077494"/>
                </a:lnTo>
                <a:lnTo>
                  <a:pt x="4456127" y="2076520"/>
                </a:lnTo>
                <a:lnTo>
                  <a:pt x="4453523" y="2074571"/>
                </a:lnTo>
                <a:lnTo>
                  <a:pt x="4450484" y="2074788"/>
                </a:lnTo>
                <a:lnTo>
                  <a:pt x="4449724" y="2071539"/>
                </a:lnTo>
                <a:lnTo>
                  <a:pt x="4445926" y="2073272"/>
                </a:lnTo>
                <a:lnTo>
                  <a:pt x="4439633" y="2069482"/>
                </a:lnTo>
                <a:lnTo>
                  <a:pt x="4435617" y="2069157"/>
                </a:lnTo>
                <a:lnTo>
                  <a:pt x="4433339" y="2072730"/>
                </a:lnTo>
                <a:lnTo>
                  <a:pt x="4427695" y="2072081"/>
                </a:lnTo>
                <a:lnTo>
                  <a:pt x="4424114" y="2067534"/>
                </a:lnTo>
                <a:lnTo>
                  <a:pt x="4420100" y="2072406"/>
                </a:lnTo>
                <a:lnTo>
                  <a:pt x="4417061" y="2071106"/>
                </a:lnTo>
                <a:lnTo>
                  <a:pt x="4415433" y="2064610"/>
                </a:lnTo>
                <a:lnTo>
                  <a:pt x="4408705" y="2055299"/>
                </a:lnTo>
                <a:lnTo>
                  <a:pt x="4409248" y="2053133"/>
                </a:lnTo>
                <a:lnTo>
                  <a:pt x="4406861" y="2052592"/>
                </a:lnTo>
                <a:lnTo>
                  <a:pt x="4401977" y="2045447"/>
                </a:lnTo>
                <a:lnTo>
                  <a:pt x="4393296" y="2038951"/>
                </a:lnTo>
                <a:lnTo>
                  <a:pt x="4392970" y="2032129"/>
                </a:lnTo>
                <a:lnTo>
                  <a:pt x="4392429" y="2031697"/>
                </a:lnTo>
                <a:lnTo>
                  <a:pt x="4392428" y="2031698"/>
                </a:lnTo>
                <a:lnTo>
                  <a:pt x="4388196" y="2028882"/>
                </a:lnTo>
                <a:lnTo>
                  <a:pt x="4383855" y="2017622"/>
                </a:lnTo>
                <a:lnTo>
                  <a:pt x="4375174" y="2017298"/>
                </a:lnTo>
                <a:lnTo>
                  <a:pt x="4372678" y="2014374"/>
                </a:lnTo>
                <a:lnTo>
                  <a:pt x="4374414" y="2008961"/>
                </a:lnTo>
                <a:lnTo>
                  <a:pt x="4371919" y="2004629"/>
                </a:lnTo>
                <a:lnTo>
                  <a:pt x="4371919" y="1998891"/>
                </a:lnTo>
                <a:lnTo>
                  <a:pt x="4374089" y="1993803"/>
                </a:lnTo>
                <a:lnTo>
                  <a:pt x="4371159" y="1986224"/>
                </a:lnTo>
                <a:lnTo>
                  <a:pt x="4373329" y="1975721"/>
                </a:lnTo>
                <a:lnTo>
                  <a:pt x="4375500" y="1974639"/>
                </a:lnTo>
                <a:lnTo>
                  <a:pt x="4376259" y="1970958"/>
                </a:lnTo>
                <a:lnTo>
                  <a:pt x="4369206" y="1967493"/>
                </a:lnTo>
                <a:lnTo>
                  <a:pt x="4363997" y="1964895"/>
                </a:lnTo>
                <a:lnTo>
                  <a:pt x="4363237" y="1961213"/>
                </a:lnTo>
                <a:lnTo>
                  <a:pt x="4354231" y="1950062"/>
                </a:lnTo>
                <a:lnTo>
                  <a:pt x="4349564" y="1948113"/>
                </a:lnTo>
                <a:lnTo>
                  <a:pt x="4347937" y="1945947"/>
                </a:lnTo>
                <a:lnTo>
                  <a:pt x="4350215" y="1944648"/>
                </a:lnTo>
                <a:lnTo>
                  <a:pt x="4353037" y="1939559"/>
                </a:lnTo>
                <a:lnTo>
                  <a:pt x="4353145" y="1933171"/>
                </a:lnTo>
                <a:lnTo>
                  <a:pt x="4355099" y="1928299"/>
                </a:lnTo>
                <a:lnTo>
                  <a:pt x="4358463" y="1927974"/>
                </a:lnTo>
                <a:lnTo>
                  <a:pt x="4362153" y="1926134"/>
                </a:lnTo>
                <a:lnTo>
                  <a:pt x="4360524" y="1922669"/>
                </a:lnTo>
                <a:lnTo>
                  <a:pt x="4362152" y="1926133"/>
                </a:lnTo>
                <a:lnTo>
                  <a:pt x="4358462" y="1927973"/>
                </a:lnTo>
                <a:lnTo>
                  <a:pt x="4355098" y="1928298"/>
                </a:lnTo>
                <a:lnTo>
                  <a:pt x="4353145" y="1933171"/>
                </a:lnTo>
                <a:lnTo>
                  <a:pt x="4353037" y="1939559"/>
                </a:lnTo>
                <a:lnTo>
                  <a:pt x="4350215" y="1944647"/>
                </a:lnTo>
                <a:lnTo>
                  <a:pt x="4347936" y="1945947"/>
                </a:lnTo>
                <a:lnTo>
                  <a:pt x="4342836" y="1939017"/>
                </a:lnTo>
                <a:lnTo>
                  <a:pt x="4340339" y="1940316"/>
                </a:lnTo>
                <a:lnTo>
                  <a:pt x="4331333" y="1938800"/>
                </a:lnTo>
                <a:lnTo>
                  <a:pt x="4328403" y="1938151"/>
                </a:lnTo>
                <a:lnTo>
                  <a:pt x="4328294" y="1938151"/>
                </a:lnTo>
                <a:lnTo>
                  <a:pt x="4328294" y="1938151"/>
                </a:lnTo>
                <a:lnTo>
                  <a:pt x="4328294" y="1938151"/>
                </a:lnTo>
                <a:lnTo>
                  <a:pt x="4328303" y="1938129"/>
                </a:lnTo>
                <a:lnTo>
                  <a:pt x="4328303" y="1938129"/>
                </a:lnTo>
                <a:lnTo>
                  <a:pt x="4329437" y="1935442"/>
                </a:lnTo>
                <a:lnTo>
                  <a:pt x="4328303" y="1938129"/>
                </a:lnTo>
                <a:lnTo>
                  <a:pt x="4323411" y="1937068"/>
                </a:lnTo>
                <a:lnTo>
                  <a:pt x="4320481" y="1933387"/>
                </a:lnTo>
                <a:lnTo>
                  <a:pt x="4325907" y="1936310"/>
                </a:lnTo>
                <a:lnTo>
                  <a:pt x="4329163" y="1935985"/>
                </a:lnTo>
                <a:lnTo>
                  <a:pt x="4317551" y="1924075"/>
                </a:lnTo>
                <a:lnTo>
                  <a:pt x="4311799" y="1921152"/>
                </a:lnTo>
                <a:lnTo>
                  <a:pt x="4301274" y="1920286"/>
                </a:lnTo>
                <a:lnTo>
                  <a:pt x="4295848" y="1921369"/>
                </a:lnTo>
                <a:lnTo>
                  <a:pt x="4293352" y="1918445"/>
                </a:lnTo>
                <a:lnTo>
                  <a:pt x="4291507" y="1914331"/>
                </a:lnTo>
                <a:lnTo>
                  <a:pt x="4286298" y="1912490"/>
                </a:lnTo>
                <a:lnTo>
                  <a:pt x="4280981" y="1907510"/>
                </a:lnTo>
                <a:lnTo>
                  <a:pt x="4275772" y="1907510"/>
                </a:lnTo>
                <a:lnTo>
                  <a:pt x="4273602" y="1903287"/>
                </a:lnTo>
                <a:lnTo>
                  <a:pt x="4275446" y="1899390"/>
                </a:lnTo>
                <a:lnTo>
                  <a:pt x="4279570" y="1898848"/>
                </a:lnTo>
                <a:lnTo>
                  <a:pt x="4283151" y="1900039"/>
                </a:lnTo>
                <a:lnTo>
                  <a:pt x="4279028" y="1895600"/>
                </a:lnTo>
                <a:lnTo>
                  <a:pt x="4277183" y="1895167"/>
                </a:lnTo>
                <a:lnTo>
                  <a:pt x="4270021" y="1888562"/>
                </a:lnTo>
                <a:lnTo>
                  <a:pt x="4266549" y="1881850"/>
                </a:lnTo>
                <a:lnTo>
                  <a:pt x="4265137" y="1874813"/>
                </a:lnTo>
                <a:lnTo>
                  <a:pt x="4260471" y="1871023"/>
                </a:lnTo>
                <a:lnTo>
                  <a:pt x="4259169" y="1866368"/>
                </a:lnTo>
                <a:lnTo>
                  <a:pt x="4253310" y="1866475"/>
                </a:lnTo>
                <a:lnTo>
                  <a:pt x="4249728" y="1870698"/>
                </a:lnTo>
                <a:lnTo>
                  <a:pt x="4248860" y="1875678"/>
                </a:lnTo>
                <a:lnTo>
                  <a:pt x="4243000" y="1885098"/>
                </a:lnTo>
                <a:lnTo>
                  <a:pt x="4240830" y="1883258"/>
                </a:lnTo>
                <a:lnTo>
                  <a:pt x="4241372" y="1881525"/>
                </a:lnTo>
                <a:lnTo>
                  <a:pt x="4236055" y="1876436"/>
                </a:lnTo>
                <a:lnTo>
                  <a:pt x="4234536" y="1867017"/>
                </a:lnTo>
                <a:lnTo>
                  <a:pt x="4234536" y="1866477"/>
                </a:lnTo>
                <a:lnTo>
                  <a:pt x="4234536" y="1866475"/>
                </a:lnTo>
                <a:lnTo>
                  <a:pt x="4234753" y="1862146"/>
                </a:lnTo>
                <a:lnTo>
                  <a:pt x="4238768" y="1861063"/>
                </a:lnTo>
                <a:lnTo>
                  <a:pt x="4238877" y="1857814"/>
                </a:lnTo>
                <a:lnTo>
                  <a:pt x="4234210" y="1855649"/>
                </a:lnTo>
                <a:lnTo>
                  <a:pt x="4233776" y="1855541"/>
                </a:lnTo>
                <a:lnTo>
                  <a:pt x="4232583" y="1847421"/>
                </a:lnTo>
                <a:lnTo>
                  <a:pt x="4232582" y="1847421"/>
                </a:lnTo>
                <a:lnTo>
                  <a:pt x="4233776" y="1855542"/>
                </a:lnTo>
                <a:lnTo>
                  <a:pt x="4228351" y="1854242"/>
                </a:lnTo>
                <a:lnTo>
                  <a:pt x="4225095" y="1855866"/>
                </a:lnTo>
                <a:lnTo>
                  <a:pt x="4221731" y="1859331"/>
                </a:lnTo>
                <a:lnTo>
                  <a:pt x="4216413" y="1859331"/>
                </a:lnTo>
                <a:lnTo>
                  <a:pt x="4211531" y="1863662"/>
                </a:lnTo>
                <a:lnTo>
                  <a:pt x="4206321" y="1864311"/>
                </a:lnTo>
                <a:lnTo>
                  <a:pt x="4204477" y="1867993"/>
                </a:lnTo>
                <a:lnTo>
                  <a:pt x="4207081" y="1872973"/>
                </a:lnTo>
                <a:lnTo>
                  <a:pt x="4210337" y="1877196"/>
                </a:lnTo>
                <a:lnTo>
                  <a:pt x="4206647" y="1882609"/>
                </a:lnTo>
                <a:lnTo>
                  <a:pt x="4204477" y="1884342"/>
                </a:lnTo>
                <a:lnTo>
                  <a:pt x="4207190" y="1890297"/>
                </a:lnTo>
                <a:lnTo>
                  <a:pt x="4207949" y="1897226"/>
                </a:lnTo>
                <a:lnTo>
                  <a:pt x="4210445" y="1900799"/>
                </a:lnTo>
                <a:lnTo>
                  <a:pt x="4220971" y="1906429"/>
                </a:lnTo>
                <a:lnTo>
                  <a:pt x="4226723" y="1909460"/>
                </a:lnTo>
                <a:lnTo>
                  <a:pt x="4229652" y="1913466"/>
                </a:lnTo>
                <a:lnTo>
                  <a:pt x="4245171" y="1929166"/>
                </a:lnTo>
                <a:lnTo>
                  <a:pt x="4245604" y="1933280"/>
                </a:lnTo>
                <a:lnTo>
                  <a:pt x="4247558" y="1934363"/>
                </a:lnTo>
                <a:lnTo>
                  <a:pt x="4247775" y="1939235"/>
                </a:lnTo>
                <a:lnTo>
                  <a:pt x="4251030" y="1943890"/>
                </a:lnTo>
                <a:lnTo>
                  <a:pt x="4255371" y="1948329"/>
                </a:lnTo>
                <a:lnTo>
                  <a:pt x="4258735" y="1953635"/>
                </a:lnTo>
                <a:lnTo>
                  <a:pt x="4265789" y="1959049"/>
                </a:lnTo>
                <a:lnTo>
                  <a:pt x="4269153" y="1962513"/>
                </a:lnTo>
                <a:lnTo>
                  <a:pt x="4273602" y="1963379"/>
                </a:lnTo>
                <a:lnTo>
                  <a:pt x="4276640" y="1965220"/>
                </a:lnTo>
                <a:lnTo>
                  <a:pt x="4285756" y="1965220"/>
                </a:lnTo>
                <a:lnTo>
                  <a:pt x="4289554" y="1966302"/>
                </a:lnTo>
                <a:lnTo>
                  <a:pt x="4295305" y="1965437"/>
                </a:lnTo>
                <a:lnTo>
                  <a:pt x="4299429" y="1967602"/>
                </a:lnTo>
                <a:lnTo>
                  <a:pt x="4298560" y="1970850"/>
                </a:lnTo>
                <a:lnTo>
                  <a:pt x="4292592" y="1974965"/>
                </a:lnTo>
                <a:lnTo>
                  <a:pt x="4292375" y="1977130"/>
                </a:lnTo>
                <a:lnTo>
                  <a:pt x="4294762" y="1980920"/>
                </a:lnTo>
                <a:lnTo>
                  <a:pt x="4299646" y="1980920"/>
                </a:lnTo>
                <a:lnTo>
                  <a:pt x="4308652" y="1983085"/>
                </a:lnTo>
                <a:lnTo>
                  <a:pt x="4327534" y="1993153"/>
                </a:lnTo>
                <a:lnTo>
                  <a:pt x="4334805" y="1998675"/>
                </a:lnTo>
                <a:lnTo>
                  <a:pt x="4339580" y="2003656"/>
                </a:lnTo>
                <a:lnTo>
                  <a:pt x="4347393" y="2005605"/>
                </a:lnTo>
                <a:lnTo>
                  <a:pt x="4351408" y="2008420"/>
                </a:lnTo>
                <a:lnTo>
                  <a:pt x="4353144" y="2011559"/>
                </a:lnTo>
                <a:lnTo>
                  <a:pt x="4352493" y="2017732"/>
                </a:lnTo>
                <a:lnTo>
                  <a:pt x="4350432" y="2020655"/>
                </a:lnTo>
                <a:lnTo>
                  <a:pt x="4350974" y="2024552"/>
                </a:lnTo>
                <a:lnTo>
                  <a:pt x="4349672" y="2025526"/>
                </a:lnTo>
                <a:lnTo>
                  <a:pt x="4349564" y="2026934"/>
                </a:lnTo>
                <a:lnTo>
                  <a:pt x="4345331" y="2025202"/>
                </a:lnTo>
                <a:lnTo>
                  <a:pt x="4341967" y="2020979"/>
                </a:lnTo>
                <a:lnTo>
                  <a:pt x="4340014" y="2016648"/>
                </a:lnTo>
                <a:lnTo>
                  <a:pt x="4340556" y="2013075"/>
                </a:lnTo>
                <a:lnTo>
                  <a:pt x="4337952" y="2011559"/>
                </a:lnTo>
                <a:lnTo>
                  <a:pt x="4330573" y="2011451"/>
                </a:lnTo>
                <a:lnTo>
                  <a:pt x="4329162" y="2009286"/>
                </a:lnTo>
                <a:lnTo>
                  <a:pt x="4324279" y="2006904"/>
                </a:lnTo>
                <a:lnTo>
                  <a:pt x="4321023" y="2007337"/>
                </a:lnTo>
                <a:lnTo>
                  <a:pt x="4318853" y="2008745"/>
                </a:lnTo>
                <a:lnTo>
                  <a:pt x="4317225" y="2014483"/>
                </a:lnTo>
                <a:lnTo>
                  <a:pt x="4314512" y="2017406"/>
                </a:lnTo>
                <a:lnTo>
                  <a:pt x="4314730" y="2020438"/>
                </a:lnTo>
                <a:lnTo>
                  <a:pt x="4313970" y="2024011"/>
                </a:lnTo>
                <a:lnTo>
                  <a:pt x="4310497" y="2026393"/>
                </a:lnTo>
                <a:lnTo>
                  <a:pt x="4310497" y="2029966"/>
                </a:lnTo>
                <a:lnTo>
                  <a:pt x="4312125" y="2032348"/>
                </a:lnTo>
                <a:lnTo>
                  <a:pt x="4315923" y="2032889"/>
                </a:lnTo>
                <a:lnTo>
                  <a:pt x="4322651" y="2039169"/>
                </a:lnTo>
                <a:lnTo>
                  <a:pt x="4323953" y="2041875"/>
                </a:lnTo>
                <a:lnTo>
                  <a:pt x="4323194" y="2048047"/>
                </a:lnTo>
                <a:lnTo>
                  <a:pt x="4324388" y="2050213"/>
                </a:lnTo>
                <a:lnTo>
                  <a:pt x="4322760" y="2053677"/>
                </a:lnTo>
                <a:lnTo>
                  <a:pt x="4318636" y="2054760"/>
                </a:lnTo>
                <a:lnTo>
                  <a:pt x="4314730" y="2058874"/>
                </a:lnTo>
                <a:lnTo>
                  <a:pt x="4314078" y="2069918"/>
                </a:lnTo>
                <a:lnTo>
                  <a:pt x="4307568" y="2075115"/>
                </a:lnTo>
                <a:lnTo>
                  <a:pt x="4306699" y="2080203"/>
                </a:lnTo>
                <a:lnTo>
                  <a:pt x="4303227" y="2084859"/>
                </a:lnTo>
                <a:lnTo>
                  <a:pt x="4296390" y="2085401"/>
                </a:lnTo>
                <a:lnTo>
                  <a:pt x="4291182" y="2080203"/>
                </a:lnTo>
                <a:lnTo>
                  <a:pt x="4290964" y="2076522"/>
                </a:lnTo>
                <a:lnTo>
                  <a:pt x="4292158" y="2074681"/>
                </a:lnTo>
                <a:lnTo>
                  <a:pt x="4294980" y="2073166"/>
                </a:lnTo>
                <a:lnTo>
                  <a:pt x="4297801" y="2069918"/>
                </a:lnTo>
                <a:lnTo>
                  <a:pt x="4298452" y="2065370"/>
                </a:lnTo>
                <a:lnTo>
                  <a:pt x="4297801" y="2060607"/>
                </a:lnTo>
                <a:lnTo>
                  <a:pt x="4299211" y="2059848"/>
                </a:lnTo>
                <a:lnTo>
                  <a:pt x="4301165" y="2059740"/>
                </a:lnTo>
                <a:lnTo>
                  <a:pt x="4303661" y="2056709"/>
                </a:lnTo>
                <a:lnTo>
                  <a:pt x="4303770" y="2052378"/>
                </a:lnTo>
                <a:lnTo>
                  <a:pt x="4301165" y="2048372"/>
                </a:lnTo>
                <a:lnTo>
                  <a:pt x="4299103" y="2039927"/>
                </a:lnTo>
                <a:lnTo>
                  <a:pt x="4296607" y="2036679"/>
                </a:lnTo>
                <a:lnTo>
                  <a:pt x="4295522" y="2029424"/>
                </a:lnTo>
                <a:lnTo>
                  <a:pt x="4293352" y="2021846"/>
                </a:lnTo>
                <a:lnTo>
                  <a:pt x="4289879" y="2019680"/>
                </a:lnTo>
                <a:lnTo>
                  <a:pt x="4287166" y="2021304"/>
                </a:lnTo>
                <a:lnTo>
                  <a:pt x="4280981" y="2019897"/>
                </a:lnTo>
                <a:lnTo>
                  <a:pt x="4279028" y="2015891"/>
                </a:lnTo>
                <a:lnTo>
                  <a:pt x="4274144" y="2015566"/>
                </a:lnTo>
                <a:lnTo>
                  <a:pt x="4271757" y="2013184"/>
                </a:lnTo>
                <a:lnTo>
                  <a:pt x="4272842" y="2011235"/>
                </a:lnTo>
                <a:lnTo>
                  <a:pt x="4273385" y="2006579"/>
                </a:lnTo>
                <a:lnTo>
                  <a:pt x="4270346" y="2002573"/>
                </a:lnTo>
                <a:lnTo>
                  <a:pt x="4266006" y="2002249"/>
                </a:lnTo>
                <a:lnTo>
                  <a:pt x="4261882" y="2002357"/>
                </a:lnTo>
                <a:lnTo>
                  <a:pt x="4262208" y="1999108"/>
                </a:lnTo>
                <a:lnTo>
                  <a:pt x="4258192" y="1997701"/>
                </a:lnTo>
                <a:lnTo>
                  <a:pt x="4255480" y="1998784"/>
                </a:lnTo>
                <a:lnTo>
                  <a:pt x="4252441" y="1996835"/>
                </a:lnTo>
                <a:lnTo>
                  <a:pt x="4247341" y="1987416"/>
                </a:lnTo>
                <a:lnTo>
                  <a:pt x="4242675" y="1987090"/>
                </a:lnTo>
                <a:lnTo>
                  <a:pt x="4237791" y="1985033"/>
                </a:lnTo>
                <a:lnTo>
                  <a:pt x="4234753" y="1987957"/>
                </a:lnTo>
                <a:lnTo>
                  <a:pt x="4230412" y="1987957"/>
                </a:lnTo>
                <a:lnTo>
                  <a:pt x="4229436" y="1983951"/>
                </a:lnTo>
                <a:lnTo>
                  <a:pt x="4225529" y="1981244"/>
                </a:lnTo>
                <a:lnTo>
                  <a:pt x="4220971" y="1980594"/>
                </a:lnTo>
                <a:lnTo>
                  <a:pt x="4211531" y="1973557"/>
                </a:lnTo>
                <a:lnTo>
                  <a:pt x="4201764" y="1961106"/>
                </a:lnTo>
                <a:lnTo>
                  <a:pt x="4198725" y="1960023"/>
                </a:lnTo>
                <a:lnTo>
                  <a:pt x="4197857" y="1956233"/>
                </a:lnTo>
                <a:lnTo>
                  <a:pt x="4193517" y="1950386"/>
                </a:lnTo>
                <a:lnTo>
                  <a:pt x="4186571" y="1950278"/>
                </a:lnTo>
                <a:lnTo>
                  <a:pt x="4185921" y="1945947"/>
                </a:lnTo>
                <a:lnTo>
                  <a:pt x="4179410" y="1939776"/>
                </a:lnTo>
                <a:lnTo>
                  <a:pt x="4175720" y="1935229"/>
                </a:lnTo>
                <a:lnTo>
                  <a:pt x="4170186" y="1932522"/>
                </a:lnTo>
                <a:lnTo>
                  <a:pt x="4170294" y="1925917"/>
                </a:lnTo>
                <a:lnTo>
                  <a:pt x="4166604" y="1923535"/>
                </a:lnTo>
                <a:lnTo>
                  <a:pt x="4166388" y="1919421"/>
                </a:lnTo>
                <a:lnTo>
                  <a:pt x="4162047" y="1912384"/>
                </a:lnTo>
                <a:lnTo>
                  <a:pt x="4160093" y="1908703"/>
                </a:lnTo>
                <a:lnTo>
                  <a:pt x="4158791" y="1906104"/>
                </a:lnTo>
                <a:lnTo>
                  <a:pt x="4156730" y="1902315"/>
                </a:lnTo>
                <a:lnTo>
                  <a:pt x="4149676" y="1900258"/>
                </a:lnTo>
                <a:lnTo>
                  <a:pt x="4145010" y="1897226"/>
                </a:lnTo>
                <a:lnTo>
                  <a:pt x="4129058" y="1893003"/>
                </a:lnTo>
                <a:lnTo>
                  <a:pt x="4116795" y="1899933"/>
                </a:lnTo>
                <a:lnTo>
                  <a:pt x="4116687" y="1903831"/>
                </a:lnTo>
                <a:lnTo>
                  <a:pt x="4112454" y="1909135"/>
                </a:lnTo>
                <a:lnTo>
                  <a:pt x="4101060" y="1911084"/>
                </a:lnTo>
                <a:lnTo>
                  <a:pt x="4101060" y="1911084"/>
                </a:lnTo>
                <a:lnTo>
                  <a:pt x="4100193" y="1911301"/>
                </a:lnTo>
                <a:lnTo>
                  <a:pt x="4085109" y="1922452"/>
                </a:lnTo>
                <a:lnTo>
                  <a:pt x="4080985" y="1927649"/>
                </a:lnTo>
                <a:lnTo>
                  <a:pt x="4081853" y="1930031"/>
                </a:lnTo>
                <a:lnTo>
                  <a:pt x="4077404" y="1933821"/>
                </a:lnTo>
                <a:lnTo>
                  <a:pt x="4066661" y="1933279"/>
                </a:lnTo>
                <a:lnTo>
                  <a:pt x="4062755" y="1929815"/>
                </a:lnTo>
                <a:lnTo>
                  <a:pt x="4048321" y="1920828"/>
                </a:lnTo>
                <a:lnTo>
                  <a:pt x="4044849" y="1921153"/>
                </a:lnTo>
                <a:lnTo>
                  <a:pt x="4041160" y="1924077"/>
                </a:lnTo>
                <a:lnTo>
                  <a:pt x="4037253" y="1924077"/>
                </a:lnTo>
                <a:lnTo>
                  <a:pt x="4031393" y="1920612"/>
                </a:lnTo>
                <a:lnTo>
                  <a:pt x="4025967" y="1919854"/>
                </a:lnTo>
                <a:lnTo>
                  <a:pt x="4023255" y="1917905"/>
                </a:lnTo>
                <a:lnTo>
                  <a:pt x="4020541" y="1918122"/>
                </a:lnTo>
                <a:lnTo>
                  <a:pt x="4012294" y="1927000"/>
                </a:lnTo>
                <a:lnTo>
                  <a:pt x="4006868" y="1931872"/>
                </a:lnTo>
                <a:lnTo>
                  <a:pt x="4006326" y="1935769"/>
                </a:lnTo>
                <a:lnTo>
                  <a:pt x="4004481" y="1943890"/>
                </a:lnTo>
                <a:lnTo>
                  <a:pt x="4006326" y="1950819"/>
                </a:lnTo>
                <a:lnTo>
                  <a:pt x="4006543" y="1953093"/>
                </a:lnTo>
                <a:lnTo>
                  <a:pt x="4006108" y="1952932"/>
                </a:lnTo>
                <a:lnTo>
                  <a:pt x="4006108" y="1955149"/>
                </a:lnTo>
                <a:lnTo>
                  <a:pt x="4002310" y="1957640"/>
                </a:lnTo>
                <a:lnTo>
                  <a:pt x="4003613" y="1965218"/>
                </a:lnTo>
                <a:lnTo>
                  <a:pt x="4002962" y="1971065"/>
                </a:lnTo>
                <a:lnTo>
                  <a:pt x="4000574" y="1975612"/>
                </a:lnTo>
                <a:lnTo>
                  <a:pt x="3991567" y="1981026"/>
                </a:lnTo>
                <a:cubicBezTo>
                  <a:pt x="3990325" y="1982795"/>
                  <a:pt x="3988984" y="1984494"/>
                  <a:pt x="3987553" y="1986114"/>
                </a:cubicBezTo>
                <a:lnTo>
                  <a:pt x="3979956" y="1989146"/>
                </a:lnTo>
                <a:lnTo>
                  <a:pt x="3970733" y="1989146"/>
                </a:lnTo>
                <a:lnTo>
                  <a:pt x="3964763" y="1993369"/>
                </a:lnTo>
                <a:lnTo>
                  <a:pt x="3959338" y="1996292"/>
                </a:lnTo>
                <a:lnTo>
                  <a:pt x="3961834" y="1998457"/>
                </a:lnTo>
                <a:lnTo>
                  <a:pt x="3960640" y="2004087"/>
                </a:lnTo>
                <a:lnTo>
                  <a:pt x="3957276" y="2006144"/>
                </a:lnTo>
                <a:lnTo>
                  <a:pt x="3957276" y="2005603"/>
                </a:lnTo>
                <a:lnTo>
                  <a:pt x="3958144" y="2004845"/>
                </a:lnTo>
                <a:lnTo>
                  <a:pt x="3955649" y="2003979"/>
                </a:lnTo>
                <a:lnTo>
                  <a:pt x="3948811" y="2015672"/>
                </a:lnTo>
                <a:lnTo>
                  <a:pt x="3943928" y="2018054"/>
                </a:lnTo>
                <a:lnTo>
                  <a:pt x="3934704" y="2033429"/>
                </a:lnTo>
                <a:lnTo>
                  <a:pt x="3931991" y="2036893"/>
                </a:lnTo>
                <a:lnTo>
                  <a:pt x="3936007" y="2043715"/>
                </a:lnTo>
                <a:lnTo>
                  <a:pt x="3937092" y="2048370"/>
                </a:lnTo>
                <a:lnTo>
                  <a:pt x="3940673" y="2050319"/>
                </a:lnTo>
                <a:lnTo>
                  <a:pt x="3946641" y="2058439"/>
                </a:lnTo>
                <a:lnTo>
                  <a:pt x="3941433" y="2063528"/>
                </a:lnTo>
                <a:lnTo>
                  <a:pt x="3933511" y="2065476"/>
                </a:lnTo>
                <a:lnTo>
                  <a:pt x="3933511" y="2071107"/>
                </a:lnTo>
                <a:lnTo>
                  <a:pt x="3925915" y="2081933"/>
                </a:lnTo>
                <a:lnTo>
                  <a:pt x="3925046" y="2088971"/>
                </a:lnTo>
                <a:lnTo>
                  <a:pt x="3927000" y="2090920"/>
                </a:lnTo>
                <a:lnTo>
                  <a:pt x="3925046" y="2093951"/>
                </a:lnTo>
                <a:lnTo>
                  <a:pt x="3916907" y="2093951"/>
                </a:lnTo>
                <a:lnTo>
                  <a:pt x="3902475" y="2100772"/>
                </a:lnTo>
                <a:lnTo>
                  <a:pt x="3902475" y="2105645"/>
                </a:lnTo>
                <a:lnTo>
                  <a:pt x="3896832" y="2114632"/>
                </a:lnTo>
                <a:lnTo>
                  <a:pt x="3891732" y="2112250"/>
                </a:lnTo>
                <a:lnTo>
                  <a:pt x="3887175" y="2108243"/>
                </a:lnTo>
                <a:lnTo>
                  <a:pt x="3884787" y="2112357"/>
                </a:lnTo>
                <a:lnTo>
                  <a:pt x="3880989" y="2115606"/>
                </a:lnTo>
                <a:lnTo>
                  <a:pt x="3876974" y="2112575"/>
                </a:lnTo>
                <a:lnTo>
                  <a:pt x="3872850" y="2112575"/>
                </a:lnTo>
                <a:lnTo>
                  <a:pt x="3871223" y="2114523"/>
                </a:lnTo>
                <a:lnTo>
                  <a:pt x="3864711" y="2113765"/>
                </a:lnTo>
                <a:lnTo>
                  <a:pt x="3854944" y="2111059"/>
                </a:lnTo>
                <a:lnTo>
                  <a:pt x="3851038" y="2113224"/>
                </a:lnTo>
                <a:lnTo>
                  <a:pt x="3842465" y="2114306"/>
                </a:lnTo>
                <a:lnTo>
                  <a:pt x="3834978" y="2121777"/>
                </a:lnTo>
                <a:lnTo>
                  <a:pt x="3826079" y="2122860"/>
                </a:lnTo>
                <a:lnTo>
                  <a:pt x="3822715" y="2125783"/>
                </a:lnTo>
                <a:lnTo>
                  <a:pt x="3822715" y="2129681"/>
                </a:lnTo>
                <a:lnTo>
                  <a:pt x="3815662" y="2133471"/>
                </a:lnTo>
                <a:lnTo>
                  <a:pt x="3807957" y="2132171"/>
                </a:lnTo>
                <a:lnTo>
                  <a:pt x="3800035" y="2124375"/>
                </a:lnTo>
                <a:lnTo>
                  <a:pt x="3795477" y="2113549"/>
                </a:lnTo>
                <a:lnTo>
                  <a:pt x="3796454" y="2112033"/>
                </a:lnTo>
                <a:lnTo>
                  <a:pt x="3786688" y="2102722"/>
                </a:lnTo>
                <a:lnTo>
                  <a:pt x="3779634" y="2101855"/>
                </a:lnTo>
                <a:lnTo>
                  <a:pt x="3775834" y="2100802"/>
                </a:lnTo>
                <a:lnTo>
                  <a:pt x="3775837" y="2100990"/>
                </a:lnTo>
                <a:lnTo>
                  <a:pt x="3775728" y="2100881"/>
                </a:lnTo>
                <a:lnTo>
                  <a:pt x="3774643" y="2102938"/>
                </a:lnTo>
                <a:lnTo>
                  <a:pt x="3768349" y="2103480"/>
                </a:lnTo>
                <a:lnTo>
                  <a:pt x="3761296" y="2107378"/>
                </a:lnTo>
                <a:lnTo>
                  <a:pt x="3756738" y="2104670"/>
                </a:lnTo>
                <a:lnTo>
                  <a:pt x="3746754" y="2100773"/>
                </a:lnTo>
                <a:lnTo>
                  <a:pt x="3739701" y="2105537"/>
                </a:lnTo>
                <a:lnTo>
                  <a:pt x="3737964" y="2104129"/>
                </a:lnTo>
                <a:lnTo>
                  <a:pt x="3739701" y="2101423"/>
                </a:lnTo>
                <a:lnTo>
                  <a:pt x="3742088" y="2092436"/>
                </a:lnTo>
                <a:lnTo>
                  <a:pt x="3741763" y="2079768"/>
                </a:lnTo>
                <a:lnTo>
                  <a:pt x="3744041" y="2074246"/>
                </a:lnTo>
                <a:lnTo>
                  <a:pt x="3742414" y="2067859"/>
                </a:lnTo>
                <a:lnTo>
                  <a:pt x="3745018" y="2064611"/>
                </a:lnTo>
                <a:lnTo>
                  <a:pt x="3738833" y="2064503"/>
                </a:lnTo>
                <a:lnTo>
                  <a:pt x="3735251" y="2067859"/>
                </a:lnTo>
                <a:lnTo>
                  <a:pt x="3733082" y="2065585"/>
                </a:lnTo>
                <a:lnTo>
                  <a:pt x="3733407" y="2060497"/>
                </a:lnTo>
                <a:lnTo>
                  <a:pt x="3740461" y="2057032"/>
                </a:lnTo>
                <a:lnTo>
                  <a:pt x="3739158" y="2054542"/>
                </a:lnTo>
                <a:lnTo>
                  <a:pt x="3739918" y="2051510"/>
                </a:lnTo>
                <a:lnTo>
                  <a:pt x="3735035" y="2054542"/>
                </a:lnTo>
                <a:lnTo>
                  <a:pt x="3732647" y="2057898"/>
                </a:lnTo>
                <a:lnTo>
                  <a:pt x="3727764" y="2057898"/>
                </a:lnTo>
                <a:lnTo>
                  <a:pt x="3727547" y="2054542"/>
                </a:lnTo>
                <a:lnTo>
                  <a:pt x="3730910" y="2040683"/>
                </a:lnTo>
                <a:lnTo>
                  <a:pt x="3737205" y="2031588"/>
                </a:lnTo>
                <a:lnTo>
                  <a:pt x="3737205" y="2027041"/>
                </a:lnTo>
                <a:lnTo>
                  <a:pt x="3742631" y="2019353"/>
                </a:lnTo>
                <a:lnTo>
                  <a:pt x="3742956" y="2011559"/>
                </a:lnTo>
                <a:lnTo>
                  <a:pt x="3745886" y="2005387"/>
                </a:lnTo>
                <a:lnTo>
                  <a:pt x="3748382" y="2002031"/>
                </a:lnTo>
                <a:lnTo>
                  <a:pt x="3745018" y="1998025"/>
                </a:lnTo>
                <a:lnTo>
                  <a:pt x="3746754" y="1991420"/>
                </a:lnTo>
                <a:lnTo>
                  <a:pt x="3745886" y="1989038"/>
                </a:lnTo>
                <a:lnTo>
                  <a:pt x="3747514" y="1973988"/>
                </a:lnTo>
                <a:lnTo>
                  <a:pt x="3743933" y="1965976"/>
                </a:lnTo>
                <a:lnTo>
                  <a:pt x="3743499" y="1960996"/>
                </a:lnTo>
                <a:lnTo>
                  <a:pt x="3754025" y="1959264"/>
                </a:lnTo>
                <a:lnTo>
                  <a:pt x="3757987" y="1960332"/>
                </a:lnTo>
                <a:lnTo>
                  <a:pt x="3758039" y="1959913"/>
                </a:lnTo>
                <a:lnTo>
                  <a:pt x="3754025" y="1958830"/>
                </a:lnTo>
                <a:lnTo>
                  <a:pt x="3743172" y="1960455"/>
                </a:lnTo>
                <a:lnTo>
                  <a:pt x="3743172" y="1959155"/>
                </a:lnTo>
                <a:lnTo>
                  <a:pt x="3748815" y="1954283"/>
                </a:lnTo>
                <a:lnTo>
                  <a:pt x="3744800" y="1953525"/>
                </a:lnTo>
                <a:lnTo>
                  <a:pt x="3747513" y="1950602"/>
                </a:lnTo>
                <a:lnTo>
                  <a:pt x="3745668" y="1948761"/>
                </a:lnTo>
                <a:lnTo>
                  <a:pt x="3746753" y="1943673"/>
                </a:lnTo>
                <a:lnTo>
                  <a:pt x="3742955" y="1947245"/>
                </a:lnTo>
                <a:lnTo>
                  <a:pt x="3741111" y="1946488"/>
                </a:lnTo>
                <a:lnTo>
                  <a:pt x="3742413" y="1939774"/>
                </a:lnTo>
                <a:lnTo>
                  <a:pt x="3740459" y="1938909"/>
                </a:lnTo>
                <a:lnTo>
                  <a:pt x="3740459" y="1936202"/>
                </a:lnTo>
                <a:lnTo>
                  <a:pt x="3737421" y="1937284"/>
                </a:lnTo>
                <a:lnTo>
                  <a:pt x="3735251" y="1932196"/>
                </a:lnTo>
                <a:lnTo>
                  <a:pt x="3737746" y="1926999"/>
                </a:lnTo>
                <a:lnTo>
                  <a:pt x="3746753" y="1923751"/>
                </a:lnTo>
                <a:lnTo>
                  <a:pt x="3749792" y="1925159"/>
                </a:lnTo>
                <a:lnTo>
                  <a:pt x="3757388" y="1924292"/>
                </a:lnTo>
                <a:lnTo>
                  <a:pt x="3760969" y="1921586"/>
                </a:lnTo>
                <a:lnTo>
                  <a:pt x="3758039" y="1919637"/>
                </a:lnTo>
                <a:lnTo>
                  <a:pt x="3757497" y="1916388"/>
                </a:lnTo>
                <a:lnTo>
                  <a:pt x="3766178" y="1911516"/>
                </a:lnTo>
                <a:lnTo>
                  <a:pt x="3767480" y="1913140"/>
                </a:lnTo>
                <a:lnTo>
                  <a:pt x="3771061" y="1910650"/>
                </a:lnTo>
                <a:lnTo>
                  <a:pt x="3777030" y="1911949"/>
                </a:lnTo>
                <a:lnTo>
                  <a:pt x="3782130" y="1918229"/>
                </a:lnTo>
                <a:lnTo>
                  <a:pt x="3786470" y="1914656"/>
                </a:lnTo>
                <a:lnTo>
                  <a:pt x="3792548" y="1914656"/>
                </a:lnTo>
                <a:lnTo>
                  <a:pt x="3798190" y="1917038"/>
                </a:lnTo>
                <a:lnTo>
                  <a:pt x="3804376" y="1914548"/>
                </a:lnTo>
                <a:lnTo>
                  <a:pt x="3811972" y="1912382"/>
                </a:lnTo>
                <a:lnTo>
                  <a:pt x="3813600" y="1914548"/>
                </a:lnTo>
                <a:lnTo>
                  <a:pt x="3819786" y="1918013"/>
                </a:lnTo>
                <a:lnTo>
                  <a:pt x="3836823" y="1920719"/>
                </a:lnTo>
                <a:lnTo>
                  <a:pt x="3844635" y="1922560"/>
                </a:lnTo>
                <a:lnTo>
                  <a:pt x="3856247" y="1917688"/>
                </a:lnTo>
                <a:lnTo>
                  <a:pt x="3864928" y="1918445"/>
                </a:lnTo>
                <a:lnTo>
                  <a:pt x="3866556" y="1922235"/>
                </a:lnTo>
                <a:lnTo>
                  <a:pt x="3875021" y="1923859"/>
                </a:lnTo>
                <a:lnTo>
                  <a:pt x="3879361" y="1919528"/>
                </a:lnTo>
                <a:lnTo>
                  <a:pt x="3883485" y="1919528"/>
                </a:lnTo>
                <a:lnTo>
                  <a:pt x="3896181" y="1926890"/>
                </a:lnTo>
                <a:lnTo>
                  <a:pt x="3898568" y="1923426"/>
                </a:lnTo>
                <a:lnTo>
                  <a:pt x="3902041" y="1923426"/>
                </a:lnTo>
                <a:lnTo>
                  <a:pt x="3903625" y="1922511"/>
                </a:lnTo>
                <a:lnTo>
                  <a:pt x="3903126" y="1922236"/>
                </a:lnTo>
                <a:lnTo>
                  <a:pt x="3908660" y="1918987"/>
                </a:lnTo>
                <a:lnTo>
                  <a:pt x="3913001" y="1904912"/>
                </a:lnTo>
                <a:lnTo>
                  <a:pt x="3914195" y="1888672"/>
                </a:lnTo>
                <a:lnTo>
                  <a:pt x="3917342" y="1886398"/>
                </a:lnTo>
                <a:lnTo>
                  <a:pt x="3913544" y="1883800"/>
                </a:lnTo>
                <a:lnTo>
                  <a:pt x="3913326" y="1875138"/>
                </a:lnTo>
                <a:lnTo>
                  <a:pt x="3915714" y="1863228"/>
                </a:lnTo>
                <a:lnTo>
                  <a:pt x="3918101" y="1861604"/>
                </a:lnTo>
                <a:lnTo>
                  <a:pt x="3922876" y="1864202"/>
                </a:lnTo>
                <a:lnTo>
                  <a:pt x="3924504" y="1869941"/>
                </a:lnTo>
                <a:lnTo>
                  <a:pt x="3930689" y="1875896"/>
                </a:lnTo>
                <a:lnTo>
                  <a:pt x="3925047" y="1862362"/>
                </a:lnTo>
                <a:lnTo>
                  <a:pt x="3917884" y="1856732"/>
                </a:lnTo>
                <a:lnTo>
                  <a:pt x="3913869" y="1855866"/>
                </a:lnTo>
                <a:lnTo>
                  <a:pt x="3914954" y="1851751"/>
                </a:lnTo>
                <a:lnTo>
                  <a:pt x="3916039" y="1851210"/>
                </a:lnTo>
                <a:lnTo>
                  <a:pt x="3917884" y="1846447"/>
                </a:lnTo>
                <a:lnTo>
                  <a:pt x="3915714" y="1843090"/>
                </a:lnTo>
                <a:lnTo>
                  <a:pt x="3915931" y="1838867"/>
                </a:lnTo>
                <a:lnTo>
                  <a:pt x="3910288" y="1835619"/>
                </a:lnTo>
                <a:lnTo>
                  <a:pt x="3904537" y="1834753"/>
                </a:lnTo>
                <a:lnTo>
                  <a:pt x="3898460" y="1827390"/>
                </a:lnTo>
                <a:lnTo>
                  <a:pt x="3894553" y="1826849"/>
                </a:lnTo>
                <a:lnTo>
                  <a:pt x="3893685" y="1823709"/>
                </a:lnTo>
                <a:lnTo>
                  <a:pt x="3895747" y="1819812"/>
                </a:lnTo>
                <a:lnTo>
                  <a:pt x="3894879" y="1815048"/>
                </a:lnTo>
                <a:lnTo>
                  <a:pt x="3892383" y="1813965"/>
                </a:lnTo>
                <a:lnTo>
                  <a:pt x="3895096" y="1810176"/>
                </a:lnTo>
                <a:lnTo>
                  <a:pt x="3899437" y="1810068"/>
                </a:lnTo>
                <a:lnTo>
                  <a:pt x="3903235" y="1812233"/>
                </a:lnTo>
                <a:lnTo>
                  <a:pt x="3900087" y="1808010"/>
                </a:lnTo>
                <a:lnTo>
                  <a:pt x="3895312" y="1807469"/>
                </a:lnTo>
                <a:lnTo>
                  <a:pt x="3890755" y="1810392"/>
                </a:lnTo>
                <a:lnTo>
                  <a:pt x="3887825" y="1810176"/>
                </a:lnTo>
                <a:lnTo>
                  <a:pt x="3885655" y="1806819"/>
                </a:lnTo>
                <a:lnTo>
                  <a:pt x="3887500" y="1802055"/>
                </a:lnTo>
                <a:lnTo>
                  <a:pt x="3885112" y="1799782"/>
                </a:lnTo>
                <a:lnTo>
                  <a:pt x="3881206" y="1802055"/>
                </a:lnTo>
                <a:lnTo>
                  <a:pt x="3879904" y="1800431"/>
                </a:lnTo>
                <a:lnTo>
                  <a:pt x="3880772" y="1797725"/>
                </a:lnTo>
                <a:lnTo>
                  <a:pt x="3878384" y="1797184"/>
                </a:lnTo>
                <a:lnTo>
                  <a:pt x="3874694" y="1800648"/>
                </a:lnTo>
                <a:lnTo>
                  <a:pt x="3869378" y="1797184"/>
                </a:lnTo>
                <a:lnTo>
                  <a:pt x="3866339" y="1797184"/>
                </a:lnTo>
                <a:lnTo>
                  <a:pt x="3864711" y="1794476"/>
                </a:lnTo>
                <a:lnTo>
                  <a:pt x="3857115" y="1791445"/>
                </a:lnTo>
                <a:lnTo>
                  <a:pt x="3854185" y="1791986"/>
                </a:lnTo>
                <a:lnTo>
                  <a:pt x="3850821" y="1791120"/>
                </a:lnTo>
                <a:lnTo>
                  <a:pt x="3845938" y="1794368"/>
                </a:lnTo>
                <a:lnTo>
                  <a:pt x="3846372" y="1791445"/>
                </a:lnTo>
                <a:lnTo>
                  <a:pt x="3844635" y="1786356"/>
                </a:lnTo>
                <a:lnTo>
                  <a:pt x="3840404" y="1786356"/>
                </a:lnTo>
                <a:lnTo>
                  <a:pt x="3840295" y="1785165"/>
                </a:lnTo>
                <a:lnTo>
                  <a:pt x="3844635" y="1783541"/>
                </a:lnTo>
                <a:lnTo>
                  <a:pt x="3847348" y="1782458"/>
                </a:lnTo>
                <a:lnTo>
                  <a:pt x="3846589" y="1779319"/>
                </a:lnTo>
                <a:lnTo>
                  <a:pt x="3843659" y="1778236"/>
                </a:lnTo>
                <a:lnTo>
                  <a:pt x="3842248" y="1781701"/>
                </a:lnTo>
                <a:lnTo>
                  <a:pt x="3840621" y="1777153"/>
                </a:lnTo>
                <a:lnTo>
                  <a:pt x="3843334" y="1776828"/>
                </a:lnTo>
                <a:lnTo>
                  <a:pt x="3847891" y="1777695"/>
                </a:lnTo>
                <a:lnTo>
                  <a:pt x="3846806" y="1776070"/>
                </a:lnTo>
                <a:lnTo>
                  <a:pt x="3842682" y="1774879"/>
                </a:lnTo>
                <a:lnTo>
                  <a:pt x="3838450" y="1776287"/>
                </a:lnTo>
                <a:lnTo>
                  <a:pt x="3836714" y="1773256"/>
                </a:lnTo>
                <a:lnTo>
                  <a:pt x="3839969" y="1769466"/>
                </a:lnTo>
                <a:lnTo>
                  <a:pt x="3847131" y="1768925"/>
                </a:lnTo>
                <a:lnTo>
                  <a:pt x="3850278" y="1765785"/>
                </a:lnTo>
                <a:lnTo>
                  <a:pt x="3855053" y="1765243"/>
                </a:lnTo>
                <a:lnTo>
                  <a:pt x="3857441" y="1766868"/>
                </a:lnTo>
                <a:lnTo>
                  <a:pt x="3860154" y="1764377"/>
                </a:lnTo>
                <a:lnTo>
                  <a:pt x="3862541" y="1765676"/>
                </a:lnTo>
                <a:lnTo>
                  <a:pt x="3866990" y="1761454"/>
                </a:lnTo>
                <a:lnTo>
                  <a:pt x="3872633" y="1760263"/>
                </a:lnTo>
                <a:lnTo>
                  <a:pt x="3876431" y="1761454"/>
                </a:lnTo>
                <a:lnTo>
                  <a:pt x="3883159" y="1770332"/>
                </a:lnTo>
                <a:lnTo>
                  <a:pt x="3888368" y="1766001"/>
                </a:lnTo>
                <a:lnTo>
                  <a:pt x="3889996" y="1767625"/>
                </a:lnTo>
                <a:lnTo>
                  <a:pt x="3894227" y="1766542"/>
                </a:lnTo>
                <a:lnTo>
                  <a:pt x="3897592" y="1767409"/>
                </a:lnTo>
                <a:lnTo>
                  <a:pt x="3901173" y="1766218"/>
                </a:lnTo>
                <a:lnTo>
                  <a:pt x="3909528" y="1767301"/>
                </a:lnTo>
                <a:lnTo>
                  <a:pt x="3908986" y="1763078"/>
                </a:lnTo>
                <a:lnTo>
                  <a:pt x="3906490" y="1759830"/>
                </a:lnTo>
                <a:lnTo>
                  <a:pt x="3907358" y="1756257"/>
                </a:lnTo>
                <a:lnTo>
                  <a:pt x="3906273" y="1752684"/>
                </a:lnTo>
                <a:lnTo>
                  <a:pt x="3907792" y="1750302"/>
                </a:lnTo>
                <a:lnTo>
                  <a:pt x="3899762" y="1742940"/>
                </a:lnTo>
                <a:lnTo>
                  <a:pt x="3900630" y="1740557"/>
                </a:lnTo>
                <a:lnTo>
                  <a:pt x="3899111" y="1735144"/>
                </a:lnTo>
                <a:lnTo>
                  <a:pt x="3901607" y="1736226"/>
                </a:lnTo>
                <a:lnTo>
                  <a:pt x="3907250" y="1736444"/>
                </a:lnTo>
                <a:lnTo>
                  <a:pt x="3911156" y="1734928"/>
                </a:lnTo>
                <a:lnTo>
                  <a:pt x="3914954" y="1736768"/>
                </a:lnTo>
                <a:lnTo>
                  <a:pt x="3913544" y="1740557"/>
                </a:lnTo>
                <a:lnTo>
                  <a:pt x="3916582" y="1742940"/>
                </a:lnTo>
                <a:lnTo>
                  <a:pt x="3918101" y="1746187"/>
                </a:lnTo>
                <a:lnTo>
                  <a:pt x="3921465" y="1744130"/>
                </a:lnTo>
                <a:lnTo>
                  <a:pt x="3925589" y="1746296"/>
                </a:lnTo>
                <a:lnTo>
                  <a:pt x="3935030" y="1747595"/>
                </a:lnTo>
                <a:lnTo>
                  <a:pt x="3941867" y="1746187"/>
                </a:lnTo>
                <a:lnTo>
                  <a:pt x="3947509" y="1742181"/>
                </a:lnTo>
                <a:lnTo>
                  <a:pt x="3943386" y="1740774"/>
                </a:lnTo>
                <a:lnTo>
                  <a:pt x="3941758" y="1737851"/>
                </a:lnTo>
                <a:lnTo>
                  <a:pt x="3943928" y="1733736"/>
                </a:lnTo>
                <a:lnTo>
                  <a:pt x="3952935" y="1728864"/>
                </a:lnTo>
                <a:lnTo>
                  <a:pt x="3957276" y="1730271"/>
                </a:lnTo>
                <a:lnTo>
                  <a:pt x="3961291" y="1730055"/>
                </a:lnTo>
                <a:lnTo>
                  <a:pt x="3968887" y="1727890"/>
                </a:lnTo>
                <a:lnTo>
                  <a:pt x="3968887" y="1725075"/>
                </a:lnTo>
                <a:lnTo>
                  <a:pt x="3975724" y="1718362"/>
                </a:lnTo>
                <a:lnTo>
                  <a:pt x="3977134" y="1709484"/>
                </a:lnTo>
                <a:lnTo>
                  <a:pt x="3976049" y="1703962"/>
                </a:lnTo>
                <a:lnTo>
                  <a:pt x="3977785" y="1699198"/>
                </a:lnTo>
                <a:lnTo>
                  <a:pt x="3984622" y="1695300"/>
                </a:lnTo>
                <a:lnTo>
                  <a:pt x="3986576" y="1696924"/>
                </a:lnTo>
                <a:lnTo>
                  <a:pt x="3995040" y="1694001"/>
                </a:lnTo>
                <a:lnTo>
                  <a:pt x="3995799" y="1692702"/>
                </a:lnTo>
                <a:lnTo>
                  <a:pt x="3995799" y="1692702"/>
                </a:lnTo>
                <a:lnTo>
                  <a:pt x="3999054" y="1686747"/>
                </a:lnTo>
                <a:lnTo>
                  <a:pt x="4003937" y="1682958"/>
                </a:lnTo>
                <a:lnTo>
                  <a:pt x="4005750" y="1683826"/>
                </a:lnTo>
                <a:lnTo>
                  <a:pt x="4003938" y="1682958"/>
                </a:lnTo>
                <a:lnTo>
                  <a:pt x="4004155" y="1682850"/>
                </a:lnTo>
                <a:lnTo>
                  <a:pt x="4008278" y="1682850"/>
                </a:lnTo>
                <a:lnTo>
                  <a:pt x="4014789" y="1685015"/>
                </a:lnTo>
                <a:lnTo>
                  <a:pt x="4017502" y="1684798"/>
                </a:lnTo>
                <a:lnTo>
                  <a:pt x="4021843" y="1686423"/>
                </a:lnTo>
                <a:lnTo>
                  <a:pt x="4017286" y="1683391"/>
                </a:lnTo>
                <a:lnTo>
                  <a:pt x="4016092" y="1683933"/>
                </a:lnTo>
                <a:lnTo>
                  <a:pt x="4012619" y="1680684"/>
                </a:lnTo>
                <a:lnTo>
                  <a:pt x="4008821" y="1680251"/>
                </a:lnTo>
                <a:lnTo>
                  <a:pt x="4007410" y="1678086"/>
                </a:lnTo>
                <a:lnTo>
                  <a:pt x="4011317" y="1676462"/>
                </a:lnTo>
                <a:lnTo>
                  <a:pt x="4015549" y="1678519"/>
                </a:lnTo>
                <a:lnTo>
                  <a:pt x="4019455" y="1682633"/>
                </a:lnTo>
                <a:lnTo>
                  <a:pt x="4023796" y="1682417"/>
                </a:lnTo>
                <a:lnTo>
                  <a:pt x="4023688" y="1680143"/>
                </a:lnTo>
                <a:lnTo>
                  <a:pt x="4020975" y="1679710"/>
                </a:lnTo>
                <a:lnTo>
                  <a:pt x="4018804" y="1677003"/>
                </a:lnTo>
                <a:lnTo>
                  <a:pt x="4020432" y="1675596"/>
                </a:lnTo>
                <a:lnTo>
                  <a:pt x="4022928" y="1673430"/>
                </a:lnTo>
                <a:lnTo>
                  <a:pt x="4028354" y="1673430"/>
                </a:lnTo>
                <a:lnTo>
                  <a:pt x="4023470" y="1672023"/>
                </a:lnTo>
                <a:lnTo>
                  <a:pt x="4018045" y="1667150"/>
                </a:lnTo>
                <a:lnTo>
                  <a:pt x="4017828" y="1663470"/>
                </a:lnTo>
                <a:lnTo>
                  <a:pt x="4021517" y="1660762"/>
                </a:lnTo>
                <a:lnTo>
                  <a:pt x="4023145" y="1657948"/>
                </a:lnTo>
                <a:lnTo>
                  <a:pt x="4025098" y="1653725"/>
                </a:lnTo>
                <a:lnTo>
                  <a:pt x="4026183" y="1648744"/>
                </a:lnTo>
                <a:lnTo>
                  <a:pt x="4024773" y="1643115"/>
                </a:lnTo>
                <a:lnTo>
                  <a:pt x="4029439" y="1639542"/>
                </a:lnTo>
                <a:lnTo>
                  <a:pt x="4029656" y="1633695"/>
                </a:lnTo>
                <a:lnTo>
                  <a:pt x="4034756" y="1631746"/>
                </a:lnTo>
                <a:lnTo>
                  <a:pt x="4036492" y="1633046"/>
                </a:lnTo>
                <a:lnTo>
                  <a:pt x="4045173" y="1628282"/>
                </a:lnTo>
                <a:lnTo>
                  <a:pt x="4050599" y="1622327"/>
                </a:lnTo>
                <a:lnTo>
                  <a:pt x="4056459" y="1622218"/>
                </a:lnTo>
                <a:lnTo>
                  <a:pt x="4058955" y="1620594"/>
                </a:lnTo>
                <a:lnTo>
                  <a:pt x="4062862" y="1622218"/>
                </a:lnTo>
                <a:lnTo>
                  <a:pt x="4067094" y="1618538"/>
                </a:lnTo>
                <a:lnTo>
                  <a:pt x="4074148" y="1617455"/>
                </a:lnTo>
                <a:lnTo>
                  <a:pt x="4080875" y="1620920"/>
                </a:lnTo>
                <a:lnTo>
                  <a:pt x="4084457" y="1624167"/>
                </a:lnTo>
                <a:lnTo>
                  <a:pt x="4089014" y="1625683"/>
                </a:lnTo>
                <a:lnTo>
                  <a:pt x="4088906" y="1626658"/>
                </a:lnTo>
                <a:lnTo>
                  <a:pt x="4088907" y="1626656"/>
                </a:lnTo>
                <a:lnTo>
                  <a:pt x="4089015" y="1625682"/>
                </a:lnTo>
                <a:lnTo>
                  <a:pt x="4089450" y="1625790"/>
                </a:lnTo>
                <a:lnTo>
                  <a:pt x="4088365" y="1621243"/>
                </a:lnTo>
                <a:lnTo>
                  <a:pt x="4083156" y="1620377"/>
                </a:lnTo>
                <a:lnTo>
                  <a:pt x="4080986" y="1616262"/>
                </a:lnTo>
                <a:lnTo>
                  <a:pt x="4081854" y="1611499"/>
                </a:lnTo>
                <a:lnTo>
                  <a:pt x="4092597" y="1608683"/>
                </a:lnTo>
                <a:lnTo>
                  <a:pt x="4095635" y="1607168"/>
                </a:lnTo>
                <a:lnTo>
                  <a:pt x="4100844" y="1610957"/>
                </a:lnTo>
                <a:lnTo>
                  <a:pt x="4100844" y="1616371"/>
                </a:lnTo>
                <a:lnTo>
                  <a:pt x="4104859" y="1621134"/>
                </a:lnTo>
                <a:lnTo>
                  <a:pt x="4107247" y="1618536"/>
                </a:lnTo>
                <a:lnTo>
                  <a:pt x="4105076" y="1614422"/>
                </a:lnTo>
                <a:lnTo>
                  <a:pt x="4105076" y="1610957"/>
                </a:lnTo>
                <a:lnTo>
                  <a:pt x="4107247" y="1610091"/>
                </a:lnTo>
                <a:lnTo>
                  <a:pt x="4110719" y="1613122"/>
                </a:lnTo>
                <a:lnTo>
                  <a:pt x="4110285" y="1618536"/>
                </a:lnTo>
                <a:lnTo>
                  <a:pt x="4115494" y="1624491"/>
                </a:lnTo>
                <a:lnTo>
                  <a:pt x="4113432" y="1620052"/>
                </a:lnTo>
                <a:lnTo>
                  <a:pt x="4113215" y="1613122"/>
                </a:lnTo>
                <a:lnTo>
                  <a:pt x="4112238" y="1609225"/>
                </a:lnTo>
                <a:lnTo>
                  <a:pt x="4115168" y="1604461"/>
                </a:lnTo>
                <a:lnTo>
                  <a:pt x="4118966" y="1603811"/>
                </a:lnTo>
                <a:lnTo>
                  <a:pt x="4122764" y="1605760"/>
                </a:lnTo>
                <a:lnTo>
                  <a:pt x="4127865" y="1603811"/>
                </a:lnTo>
                <a:lnTo>
                  <a:pt x="4135352" y="1612040"/>
                </a:lnTo>
                <a:lnTo>
                  <a:pt x="4145770" y="1614097"/>
                </a:lnTo>
                <a:lnTo>
                  <a:pt x="4135895" y="1609983"/>
                </a:lnTo>
                <a:lnTo>
                  <a:pt x="4128407" y="1602187"/>
                </a:lnTo>
                <a:lnTo>
                  <a:pt x="4122547" y="1601754"/>
                </a:lnTo>
                <a:lnTo>
                  <a:pt x="4119400" y="1599805"/>
                </a:lnTo>
                <a:lnTo>
                  <a:pt x="4119400" y="1596340"/>
                </a:lnTo>
                <a:lnTo>
                  <a:pt x="4123090" y="1593526"/>
                </a:lnTo>
                <a:lnTo>
                  <a:pt x="4118749" y="1590818"/>
                </a:lnTo>
                <a:lnTo>
                  <a:pt x="4118749" y="1585189"/>
                </a:lnTo>
                <a:lnTo>
                  <a:pt x="4114626" y="1587030"/>
                </a:lnTo>
                <a:lnTo>
                  <a:pt x="4114408" y="1582807"/>
                </a:lnTo>
                <a:lnTo>
                  <a:pt x="4118424" y="1582807"/>
                </a:lnTo>
                <a:lnTo>
                  <a:pt x="4122764" y="1581183"/>
                </a:lnTo>
                <a:lnTo>
                  <a:pt x="4117556" y="1576310"/>
                </a:lnTo>
                <a:lnTo>
                  <a:pt x="4117881" y="1572954"/>
                </a:lnTo>
                <a:lnTo>
                  <a:pt x="4115385" y="1572737"/>
                </a:lnTo>
                <a:lnTo>
                  <a:pt x="4112130" y="1570572"/>
                </a:lnTo>
                <a:lnTo>
                  <a:pt x="4112455" y="1566566"/>
                </a:lnTo>
                <a:lnTo>
                  <a:pt x="4112238" y="1565592"/>
                </a:lnTo>
                <a:lnTo>
                  <a:pt x="4112237" y="1565592"/>
                </a:lnTo>
                <a:lnTo>
                  <a:pt x="4111152" y="1561911"/>
                </a:lnTo>
                <a:lnTo>
                  <a:pt x="4113214" y="1560611"/>
                </a:lnTo>
                <a:lnTo>
                  <a:pt x="4112129" y="1553466"/>
                </a:lnTo>
                <a:lnTo>
                  <a:pt x="4106703" y="1548593"/>
                </a:lnTo>
                <a:lnTo>
                  <a:pt x="4102688" y="1550759"/>
                </a:lnTo>
                <a:lnTo>
                  <a:pt x="4099975" y="1548593"/>
                </a:lnTo>
                <a:lnTo>
                  <a:pt x="4102688" y="1541664"/>
                </a:lnTo>
                <a:lnTo>
                  <a:pt x="4109199" y="1538632"/>
                </a:lnTo>
                <a:lnTo>
                  <a:pt x="4106486" y="1535926"/>
                </a:lnTo>
                <a:lnTo>
                  <a:pt x="4106486" y="1530512"/>
                </a:lnTo>
                <a:lnTo>
                  <a:pt x="4103230" y="1528671"/>
                </a:lnTo>
                <a:lnTo>
                  <a:pt x="4102362" y="1522716"/>
                </a:lnTo>
                <a:lnTo>
                  <a:pt x="4104315" y="1522175"/>
                </a:lnTo>
                <a:lnTo>
                  <a:pt x="4107354" y="1524557"/>
                </a:lnTo>
                <a:lnTo>
                  <a:pt x="4107354" y="1520010"/>
                </a:lnTo>
                <a:lnTo>
                  <a:pt x="4102362" y="1516220"/>
                </a:lnTo>
                <a:lnTo>
                  <a:pt x="4105618" y="1512864"/>
                </a:lnTo>
                <a:lnTo>
                  <a:pt x="4108331" y="1514271"/>
                </a:lnTo>
                <a:lnTo>
                  <a:pt x="4112237" y="1514271"/>
                </a:lnTo>
                <a:lnTo>
                  <a:pt x="4114950" y="1517303"/>
                </a:lnTo>
                <a:lnTo>
                  <a:pt x="4119508" y="1514055"/>
                </a:lnTo>
                <a:lnTo>
                  <a:pt x="4117337" y="1511024"/>
                </a:lnTo>
                <a:lnTo>
                  <a:pt x="4121135" y="1505826"/>
                </a:lnTo>
                <a:lnTo>
                  <a:pt x="4122438" y="1505826"/>
                </a:lnTo>
                <a:lnTo>
                  <a:pt x="4124933" y="1510265"/>
                </a:lnTo>
                <a:lnTo>
                  <a:pt x="4122438" y="1512973"/>
                </a:lnTo>
                <a:lnTo>
                  <a:pt x="4123089" y="1515138"/>
                </a:lnTo>
                <a:lnTo>
                  <a:pt x="4127104" y="1514271"/>
                </a:lnTo>
                <a:lnTo>
                  <a:pt x="4130684" y="1515787"/>
                </a:lnTo>
                <a:lnTo>
                  <a:pt x="4131119" y="1514271"/>
                </a:lnTo>
                <a:lnTo>
                  <a:pt x="4127321" y="1509616"/>
                </a:lnTo>
                <a:lnTo>
                  <a:pt x="4128406" y="1507775"/>
                </a:lnTo>
                <a:lnTo>
                  <a:pt x="4124391" y="1502362"/>
                </a:lnTo>
                <a:lnTo>
                  <a:pt x="4126236" y="1500738"/>
                </a:lnTo>
                <a:lnTo>
                  <a:pt x="4130034" y="1501279"/>
                </a:lnTo>
                <a:lnTo>
                  <a:pt x="4133397" y="1499655"/>
                </a:lnTo>
                <a:lnTo>
                  <a:pt x="4140560" y="1499114"/>
                </a:lnTo>
                <a:lnTo>
                  <a:pt x="4145009" y="1502145"/>
                </a:lnTo>
                <a:lnTo>
                  <a:pt x="4145009" y="1507018"/>
                </a:lnTo>
                <a:lnTo>
                  <a:pt x="4143056" y="1509616"/>
                </a:lnTo>
                <a:lnTo>
                  <a:pt x="4145335" y="1510157"/>
                </a:lnTo>
                <a:lnTo>
                  <a:pt x="4147939" y="1513947"/>
                </a:lnTo>
                <a:lnTo>
                  <a:pt x="4150652" y="1516762"/>
                </a:lnTo>
                <a:lnTo>
                  <a:pt x="4156186" y="1516979"/>
                </a:lnTo>
                <a:lnTo>
                  <a:pt x="4158573" y="1515138"/>
                </a:lnTo>
                <a:lnTo>
                  <a:pt x="4162805" y="1519685"/>
                </a:lnTo>
                <a:lnTo>
                  <a:pt x="4161287" y="1523691"/>
                </a:lnTo>
                <a:lnTo>
                  <a:pt x="4159659" y="1525965"/>
                </a:lnTo>
                <a:lnTo>
                  <a:pt x="4157814" y="1525315"/>
                </a:lnTo>
                <a:lnTo>
                  <a:pt x="4156186" y="1526506"/>
                </a:lnTo>
                <a:lnTo>
                  <a:pt x="4153364" y="1523258"/>
                </a:lnTo>
                <a:lnTo>
                  <a:pt x="4149133" y="1523908"/>
                </a:lnTo>
                <a:lnTo>
                  <a:pt x="4146311" y="1526722"/>
                </a:lnTo>
                <a:lnTo>
                  <a:pt x="4148481" y="1531054"/>
                </a:lnTo>
                <a:lnTo>
                  <a:pt x="4148698" y="1537550"/>
                </a:lnTo>
                <a:lnTo>
                  <a:pt x="4143707" y="1539391"/>
                </a:lnTo>
                <a:lnTo>
                  <a:pt x="4141754" y="1538091"/>
                </a:lnTo>
                <a:lnTo>
                  <a:pt x="4138281" y="1541881"/>
                </a:lnTo>
                <a:lnTo>
                  <a:pt x="4140343" y="1543505"/>
                </a:lnTo>
                <a:lnTo>
                  <a:pt x="4131119" y="1548160"/>
                </a:lnTo>
                <a:lnTo>
                  <a:pt x="4130902" y="1551409"/>
                </a:lnTo>
                <a:lnTo>
                  <a:pt x="4133289" y="1552491"/>
                </a:lnTo>
                <a:lnTo>
                  <a:pt x="4132855" y="1556172"/>
                </a:lnTo>
                <a:lnTo>
                  <a:pt x="4130142" y="1558446"/>
                </a:lnTo>
                <a:lnTo>
                  <a:pt x="4130034" y="1561694"/>
                </a:lnTo>
                <a:lnTo>
                  <a:pt x="4131770" y="1561694"/>
                </a:lnTo>
                <a:lnTo>
                  <a:pt x="4135134" y="1564942"/>
                </a:lnTo>
                <a:lnTo>
                  <a:pt x="4133832" y="1567866"/>
                </a:lnTo>
                <a:lnTo>
                  <a:pt x="4134049" y="1568190"/>
                </a:lnTo>
                <a:lnTo>
                  <a:pt x="4134050" y="1568190"/>
                </a:lnTo>
                <a:lnTo>
                  <a:pt x="4138716" y="1573062"/>
                </a:lnTo>
                <a:lnTo>
                  <a:pt x="4143382" y="1573604"/>
                </a:lnTo>
                <a:lnTo>
                  <a:pt x="4140887" y="1579017"/>
                </a:lnTo>
                <a:lnTo>
                  <a:pt x="4138499" y="1581399"/>
                </a:lnTo>
                <a:lnTo>
                  <a:pt x="4139801" y="1584106"/>
                </a:lnTo>
                <a:lnTo>
                  <a:pt x="4143599" y="1585189"/>
                </a:lnTo>
                <a:lnTo>
                  <a:pt x="4145010" y="1589195"/>
                </a:lnTo>
                <a:lnTo>
                  <a:pt x="4148700" y="1586488"/>
                </a:lnTo>
                <a:lnTo>
                  <a:pt x="4150002" y="1583998"/>
                </a:lnTo>
                <a:lnTo>
                  <a:pt x="4152173" y="1582590"/>
                </a:lnTo>
                <a:lnTo>
                  <a:pt x="4154017" y="1585081"/>
                </a:lnTo>
                <a:lnTo>
                  <a:pt x="4160094" y="1589411"/>
                </a:lnTo>
                <a:lnTo>
                  <a:pt x="4161288" y="1587787"/>
                </a:lnTo>
                <a:lnTo>
                  <a:pt x="4165086" y="1584755"/>
                </a:lnTo>
                <a:lnTo>
                  <a:pt x="4167039" y="1585838"/>
                </a:lnTo>
                <a:lnTo>
                  <a:pt x="4167148" y="1589844"/>
                </a:lnTo>
                <a:lnTo>
                  <a:pt x="4163892" y="1593634"/>
                </a:lnTo>
                <a:lnTo>
                  <a:pt x="4161071" y="1593201"/>
                </a:lnTo>
                <a:lnTo>
                  <a:pt x="4156839" y="1596124"/>
                </a:lnTo>
                <a:lnTo>
                  <a:pt x="4162915" y="1597965"/>
                </a:lnTo>
                <a:lnTo>
                  <a:pt x="4164977" y="1596882"/>
                </a:lnTo>
                <a:lnTo>
                  <a:pt x="4169318" y="1597315"/>
                </a:lnTo>
                <a:lnTo>
                  <a:pt x="4170837" y="1600022"/>
                </a:lnTo>
                <a:lnTo>
                  <a:pt x="4175829" y="1599481"/>
                </a:lnTo>
                <a:lnTo>
                  <a:pt x="4176697" y="1596124"/>
                </a:lnTo>
                <a:lnTo>
                  <a:pt x="4179953" y="1591577"/>
                </a:lnTo>
                <a:lnTo>
                  <a:pt x="4188742" y="1590169"/>
                </a:lnTo>
                <a:lnTo>
                  <a:pt x="4188960" y="1588004"/>
                </a:lnTo>
                <a:lnTo>
                  <a:pt x="4193734" y="1585622"/>
                </a:lnTo>
                <a:lnTo>
                  <a:pt x="4194277" y="1583132"/>
                </a:lnTo>
                <a:lnTo>
                  <a:pt x="4196447" y="1582049"/>
                </a:lnTo>
                <a:lnTo>
                  <a:pt x="4202632" y="1582698"/>
                </a:lnTo>
                <a:lnTo>
                  <a:pt x="4197641" y="1584647"/>
                </a:lnTo>
                <a:lnTo>
                  <a:pt x="4195904" y="1586596"/>
                </a:lnTo>
                <a:lnTo>
                  <a:pt x="4195036" y="1585946"/>
                </a:lnTo>
                <a:lnTo>
                  <a:pt x="4192541" y="1588437"/>
                </a:lnTo>
                <a:lnTo>
                  <a:pt x="4194385" y="1590277"/>
                </a:lnTo>
                <a:lnTo>
                  <a:pt x="4199269" y="1586812"/>
                </a:lnTo>
                <a:lnTo>
                  <a:pt x="4204477" y="1586271"/>
                </a:lnTo>
                <a:lnTo>
                  <a:pt x="4206648" y="1585189"/>
                </a:lnTo>
                <a:lnTo>
                  <a:pt x="4208275" y="1587679"/>
                </a:lnTo>
                <a:lnTo>
                  <a:pt x="4212508" y="1588437"/>
                </a:lnTo>
                <a:lnTo>
                  <a:pt x="4218476" y="1594392"/>
                </a:lnTo>
                <a:lnTo>
                  <a:pt x="4223359" y="1593526"/>
                </a:lnTo>
                <a:lnTo>
                  <a:pt x="4226072" y="1597640"/>
                </a:lnTo>
                <a:lnTo>
                  <a:pt x="4225095" y="1602187"/>
                </a:lnTo>
                <a:lnTo>
                  <a:pt x="4229436" y="1605544"/>
                </a:lnTo>
                <a:lnTo>
                  <a:pt x="4233451" y="1605003"/>
                </a:lnTo>
                <a:lnTo>
                  <a:pt x="4236381" y="1607601"/>
                </a:lnTo>
                <a:lnTo>
                  <a:pt x="4240722" y="1607384"/>
                </a:lnTo>
                <a:lnTo>
                  <a:pt x="4240722" y="1607385"/>
                </a:lnTo>
                <a:lnTo>
                  <a:pt x="4243000" y="1607168"/>
                </a:lnTo>
                <a:lnTo>
                  <a:pt x="4242674" y="1604894"/>
                </a:lnTo>
                <a:lnTo>
                  <a:pt x="4244302" y="1603920"/>
                </a:lnTo>
                <a:lnTo>
                  <a:pt x="4246147" y="1598182"/>
                </a:lnTo>
                <a:lnTo>
                  <a:pt x="4248860" y="1592443"/>
                </a:lnTo>
                <a:lnTo>
                  <a:pt x="4256456" y="1591902"/>
                </a:lnTo>
                <a:lnTo>
                  <a:pt x="4267633" y="1585731"/>
                </a:lnTo>
                <a:lnTo>
                  <a:pt x="4275012" y="1585514"/>
                </a:lnTo>
                <a:lnTo>
                  <a:pt x="4275012" y="1581725"/>
                </a:lnTo>
                <a:lnTo>
                  <a:pt x="4279353" y="1576853"/>
                </a:lnTo>
                <a:lnTo>
                  <a:pt x="4286298" y="1576745"/>
                </a:lnTo>
                <a:lnTo>
                  <a:pt x="4290639" y="1570790"/>
                </a:lnTo>
                <a:lnTo>
                  <a:pt x="4297692" y="1568083"/>
                </a:lnTo>
                <a:lnTo>
                  <a:pt x="4304529" y="1568624"/>
                </a:lnTo>
                <a:lnTo>
                  <a:pt x="4313970" y="1563752"/>
                </a:lnTo>
                <a:lnTo>
                  <a:pt x="4326015" y="1566784"/>
                </a:lnTo>
                <a:lnTo>
                  <a:pt x="4332743" y="1570031"/>
                </a:lnTo>
                <a:lnTo>
                  <a:pt x="4332526" y="1571656"/>
                </a:lnTo>
                <a:lnTo>
                  <a:pt x="4330030" y="1570031"/>
                </a:lnTo>
                <a:lnTo>
                  <a:pt x="4324604" y="1569274"/>
                </a:lnTo>
                <a:lnTo>
                  <a:pt x="4322977" y="1573280"/>
                </a:lnTo>
                <a:lnTo>
                  <a:pt x="4325147" y="1578910"/>
                </a:lnTo>
                <a:lnTo>
                  <a:pt x="4335456" y="1581725"/>
                </a:lnTo>
                <a:lnTo>
                  <a:pt x="4344354" y="1577611"/>
                </a:lnTo>
                <a:lnTo>
                  <a:pt x="4349346" y="1572522"/>
                </a:lnTo>
                <a:lnTo>
                  <a:pt x="4351517" y="1572413"/>
                </a:lnTo>
                <a:lnTo>
                  <a:pt x="4345223" y="1578910"/>
                </a:lnTo>
                <a:lnTo>
                  <a:pt x="4338386" y="1582699"/>
                </a:lnTo>
                <a:lnTo>
                  <a:pt x="4340123" y="1584323"/>
                </a:lnTo>
                <a:lnTo>
                  <a:pt x="4347067" y="1582699"/>
                </a:lnTo>
                <a:lnTo>
                  <a:pt x="4355206" y="1575445"/>
                </a:lnTo>
                <a:lnTo>
                  <a:pt x="4357919" y="1574362"/>
                </a:lnTo>
                <a:lnTo>
                  <a:pt x="4388304" y="1576095"/>
                </a:lnTo>
                <a:lnTo>
                  <a:pt x="4415107" y="1573496"/>
                </a:lnTo>
                <a:lnTo>
                  <a:pt x="4414348" y="1565051"/>
                </a:lnTo>
                <a:lnTo>
                  <a:pt x="4417061" y="1561370"/>
                </a:lnTo>
                <a:lnTo>
                  <a:pt x="4414673" y="1558772"/>
                </a:lnTo>
                <a:lnTo>
                  <a:pt x="4411743" y="1558013"/>
                </a:lnTo>
                <a:lnTo>
                  <a:pt x="4410875" y="1553358"/>
                </a:lnTo>
                <a:lnTo>
                  <a:pt x="4407620" y="1551625"/>
                </a:lnTo>
                <a:lnTo>
                  <a:pt x="4398829" y="1553791"/>
                </a:lnTo>
                <a:lnTo>
                  <a:pt x="4392645" y="1550651"/>
                </a:lnTo>
                <a:lnTo>
                  <a:pt x="4386025" y="1541664"/>
                </a:lnTo>
                <a:lnTo>
                  <a:pt x="4377886" y="1543505"/>
                </a:lnTo>
                <a:lnTo>
                  <a:pt x="4376693" y="1542856"/>
                </a:lnTo>
                <a:lnTo>
                  <a:pt x="4378646" y="1539391"/>
                </a:lnTo>
                <a:lnTo>
                  <a:pt x="4377018" y="1533436"/>
                </a:lnTo>
                <a:lnTo>
                  <a:pt x="4376584" y="1526290"/>
                </a:lnTo>
                <a:lnTo>
                  <a:pt x="4376585" y="1526290"/>
                </a:lnTo>
                <a:lnTo>
                  <a:pt x="4376477" y="1525424"/>
                </a:lnTo>
                <a:lnTo>
                  <a:pt x="4373764" y="1522718"/>
                </a:lnTo>
                <a:lnTo>
                  <a:pt x="4371051" y="1511349"/>
                </a:lnTo>
                <a:lnTo>
                  <a:pt x="4374523" y="1508101"/>
                </a:lnTo>
                <a:lnTo>
                  <a:pt x="4374198" y="1503662"/>
                </a:lnTo>
                <a:lnTo>
                  <a:pt x="4374741" y="1498898"/>
                </a:lnTo>
                <a:lnTo>
                  <a:pt x="4381034" y="1491535"/>
                </a:lnTo>
                <a:lnTo>
                  <a:pt x="4380817" y="1483307"/>
                </a:lnTo>
                <a:lnTo>
                  <a:pt x="4382879" y="1483957"/>
                </a:lnTo>
                <a:lnTo>
                  <a:pt x="4382337" y="1479084"/>
                </a:lnTo>
                <a:lnTo>
                  <a:pt x="4385918" y="1473671"/>
                </a:lnTo>
                <a:lnTo>
                  <a:pt x="4390801" y="1473346"/>
                </a:lnTo>
                <a:lnTo>
                  <a:pt x="4393188" y="1471180"/>
                </a:lnTo>
                <a:lnTo>
                  <a:pt x="4399808" y="1469557"/>
                </a:lnTo>
                <a:lnTo>
                  <a:pt x="4404040" y="1465333"/>
                </a:lnTo>
                <a:lnTo>
                  <a:pt x="4405993" y="1465225"/>
                </a:lnTo>
                <a:lnTo>
                  <a:pt x="4406318" y="1472263"/>
                </a:lnTo>
                <a:lnTo>
                  <a:pt x="4417496" y="1484173"/>
                </a:lnTo>
                <a:lnTo>
                  <a:pt x="4418256" y="1488287"/>
                </a:lnTo>
                <a:lnTo>
                  <a:pt x="4423899" y="1493701"/>
                </a:lnTo>
                <a:lnTo>
                  <a:pt x="4429541" y="1493701"/>
                </a:lnTo>
                <a:lnTo>
                  <a:pt x="4437138" y="1485581"/>
                </a:lnTo>
                <a:lnTo>
                  <a:pt x="4439851" y="1477243"/>
                </a:lnTo>
                <a:lnTo>
                  <a:pt x="4437680" y="1466849"/>
                </a:lnTo>
                <a:lnTo>
                  <a:pt x="4437680" y="1460894"/>
                </a:lnTo>
                <a:lnTo>
                  <a:pt x="4440176" y="1459920"/>
                </a:lnTo>
                <a:lnTo>
                  <a:pt x="4447555" y="1455590"/>
                </a:lnTo>
                <a:lnTo>
                  <a:pt x="4453306" y="1454182"/>
                </a:lnTo>
                <a:lnTo>
                  <a:pt x="4453305" y="1454181"/>
                </a:lnTo>
                <a:lnTo>
                  <a:pt x="4447554" y="1455589"/>
                </a:lnTo>
                <a:lnTo>
                  <a:pt x="4440174" y="1459920"/>
                </a:lnTo>
                <a:lnTo>
                  <a:pt x="4437679" y="1460894"/>
                </a:lnTo>
                <a:lnTo>
                  <a:pt x="4437679" y="1458187"/>
                </a:lnTo>
                <a:lnTo>
                  <a:pt x="4440174" y="1445736"/>
                </a:lnTo>
                <a:lnTo>
                  <a:pt x="4438329" y="1442271"/>
                </a:lnTo>
                <a:lnTo>
                  <a:pt x="4433663" y="1446061"/>
                </a:lnTo>
                <a:lnTo>
                  <a:pt x="4433338" y="1450067"/>
                </a:lnTo>
                <a:lnTo>
                  <a:pt x="4430950" y="1450608"/>
                </a:lnTo>
                <a:lnTo>
                  <a:pt x="4424222" y="1444437"/>
                </a:lnTo>
                <a:lnTo>
                  <a:pt x="4420316" y="1438265"/>
                </a:lnTo>
                <a:lnTo>
                  <a:pt x="4419882" y="1432202"/>
                </a:lnTo>
                <a:lnTo>
                  <a:pt x="4423354" y="1431769"/>
                </a:lnTo>
                <a:lnTo>
                  <a:pt x="4425525" y="1428413"/>
                </a:lnTo>
                <a:lnTo>
                  <a:pt x="4421184" y="1427980"/>
                </a:lnTo>
                <a:lnTo>
                  <a:pt x="4419556" y="1429279"/>
                </a:lnTo>
                <a:lnTo>
                  <a:pt x="4416518" y="1428738"/>
                </a:lnTo>
                <a:lnTo>
                  <a:pt x="4416301" y="1413580"/>
                </a:lnTo>
                <a:lnTo>
                  <a:pt x="4419014" y="1409033"/>
                </a:lnTo>
                <a:lnTo>
                  <a:pt x="4426610" y="1405784"/>
                </a:lnTo>
                <a:lnTo>
                  <a:pt x="4429649" y="1406543"/>
                </a:lnTo>
                <a:lnTo>
                  <a:pt x="4430408" y="1402537"/>
                </a:lnTo>
                <a:lnTo>
                  <a:pt x="4435075" y="1401129"/>
                </a:lnTo>
                <a:lnTo>
                  <a:pt x="4439415" y="1401670"/>
                </a:lnTo>
                <a:lnTo>
                  <a:pt x="4440717" y="1397015"/>
                </a:lnTo>
                <a:lnTo>
                  <a:pt x="4442345" y="1399180"/>
                </a:lnTo>
                <a:lnTo>
                  <a:pt x="4450809" y="1399505"/>
                </a:lnTo>
                <a:lnTo>
                  <a:pt x="4452980" y="1400913"/>
                </a:lnTo>
                <a:lnTo>
                  <a:pt x="4457320" y="1398098"/>
                </a:lnTo>
                <a:lnTo>
                  <a:pt x="4454607" y="1395715"/>
                </a:lnTo>
                <a:lnTo>
                  <a:pt x="4454607" y="1393766"/>
                </a:lnTo>
                <a:lnTo>
                  <a:pt x="4457754" y="1394308"/>
                </a:lnTo>
                <a:lnTo>
                  <a:pt x="4458080" y="1391060"/>
                </a:lnTo>
                <a:lnTo>
                  <a:pt x="4462963" y="1395391"/>
                </a:lnTo>
                <a:lnTo>
                  <a:pt x="4466979" y="1394308"/>
                </a:lnTo>
                <a:lnTo>
                  <a:pt x="4471645" y="1396690"/>
                </a:lnTo>
                <a:lnTo>
                  <a:pt x="4480543" y="1396474"/>
                </a:lnTo>
                <a:lnTo>
                  <a:pt x="4489007" y="1401887"/>
                </a:lnTo>
                <a:lnTo>
                  <a:pt x="4508156" y="1402427"/>
                </a:lnTo>
                <a:lnTo>
                  <a:pt x="4506370" y="1399398"/>
                </a:lnTo>
                <a:lnTo>
                  <a:pt x="4507890" y="1394200"/>
                </a:lnTo>
                <a:lnTo>
                  <a:pt x="4505719" y="1390627"/>
                </a:lnTo>
                <a:lnTo>
                  <a:pt x="4505719" y="1387921"/>
                </a:lnTo>
                <a:lnTo>
                  <a:pt x="4507890" y="1387163"/>
                </a:lnTo>
                <a:lnTo>
                  <a:pt x="4509843" y="1391169"/>
                </a:lnTo>
                <a:lnTo>
                  <a:pt x="4514183" y="1389761"/>
                </a:lnTo>
                <a:lnTo>
                  <a:pt x="4514183" y="1385106"/>
                </a:lnTo>
                <a:lnTo>
                  <a:pt x="4516896" y="1382941"/>
                </a:lnTo>
                <a:lnTo>
                  <a:pt x="4521562" y="1385864"/>
                </a:lnTo>
                <a:lnTo>
                  <a:pt x="4527314" y="1381533"/>
                </a:lnTo>
                <a:lnTo>
                  <a:pt x="4528616" y="1377419"/>
                </a:lnTo>
                <a:lnTo>
                  <a:pt x="4531546" y="1376336"/>
                </a:lnTo>
                <a:lnTo>
                  <a:pt x="4538599" y="1378718"/>
                </a:lnTo>
                <a:lnTo>
                  <a:pt x="4541530" y="1375145"/>
                </a:lnTo>
                <a:lnTo>
                  <a:pt x="4537406" y="1369190"/>
                </a:lnTo>
                <a:lnTo>
                  <a:pt x="4533608" y="1369190"/>
                </a:lnTo>
                <a:lnTo>
                  <a:pt x="4531438" y="1370056"/>
                </a:lnTo>
                <a:lnTo>
                  <a:pt x="4526012" y="1370056"/>
                </a:lnTo>
                <a:lnTo>
                  <a:pt x="4522973" y="1365509"/>
                </a:lnTo>
                <a:lnTo>
                  <a:pt x="4517331" y="1365509"/>
                </a:lnTo>
                <a:lnTo>
                  <a:pt x="4511687" y="1359337"/>
                </a:lnTo>
                <a:lnTo>
                  <a:pt x="4512556" y="1356306"/>
                </a:lnTo>
                <a:lnTo>
                  <a:pt x="4517764" y="1360637"/>
                </a:lnTo>
                <a:lnTo>
                  <a:pt x="4517764" y="1353924"/>
                </a:lnTo>
                <a:lnTo>
                  <a:pt x="4516137" y="1350892"/>
                </a:lnTo>
                <a:lnTo>
                  <a:pt x="4519609" y="1347969"/>
                </a:lnTo>
                <a:lnTo>
                  <a:pt x="4514400" y="1348835"/>
                </a:lnTo>
                <a:cubicBezTo>
                  <a:pt x="4514400" y="1348835"/>
                  <a:pt x="4508758" y="1352408"/>
                  <a:pt x="4507672" y="1352408"/>
                </a:cubicBezTo>
                <a:cubicBezTo>
                  <a:pt x="4507201" y="1352738"/>
                  <a:pt x="4506827" y="1353187"/>
                  <a:pt x="4506587" y="1353707"/>
                </a:cubicBezTo>
                <a:lnTo>
                  <a:pt x="4506408" y="1352346"/>
                </a:lnTo>
                <a:lnTo>
                  <a:pt x="4507022" y="1357170"/>
                </a:lnTo>
                <a:cubicBezTo>
                  <a:pt x="4506326" y="1358467"/>
                  <a:pt x="4505710" y="1359805"/>
                  <a:pt x="4505177" y="1361177"/>
                </a:cubicBezTo>
                <a:lnTo>
                  <a:pt x="4500510" y="1359877"/>
                </a:lnTo>
                <a:lnTo>
                  <a:pt x="4499751" y="1356954"/>
                </a:lnTo>
                <a:lnTo>
                  <a:pt x="4496496" y="1355872"/>
                </a:lnTo>
                <a:lnTo>
                  <a:pt x="4494326" y="1357170"/>
                </a:lnTo>
                <a:lnTo>
                  <a:pt x="4496279" y="1359119"/>
                </a:lnTo>
                <a:lnTo>
                  <a:pt x="4496279" y="1361609"/>
                </a:lnTo>
                <a:lnTo>
                  <a:pt x="4488900" y="1362692"/>
                </a:lnTo>
                <a:lnTo>
                  <a:pt x="4485427" y="1359661"/>
                </a:lnTo>
                <a:lnTo>
                  <a:pt x="4479242" y="1360960"/>
                </a:lnTo>
                <a:lnTo>
                  <a:pt x="4476203" y="1363883"/>
                </a:lnTo>
                <a:lnTo>
                  <a:pt x="4475118" y="1361393"/>
                </a:lnTo>
                <a:lnTo>
                  <a:pt x="4472405" y="1360635"/>
                </a:lnTo>
                <a:lnTo>
                  <a:pt x="4472405" y="1363883"/>
                </a:lnTo>
                <a:lnTo>
                  <a:pt x="4469366" y="1364966"/>
                </a:lnTo>
                <a:lnTo>
                  <a:pt x="4466979" y="1359769"/>
                </a:lnTo>
                <a:lnTo>
                  <a:pt x="4465894" y="1363234"/>
                </a:lnTo>
                <a:lnTo>
                  <a:pt x="4463181" y="1363234"/>
                </a:lnTo>
                <a:lnTo>
                  <a:pt x="4460794" y="1358578"/>
                </a:lnTo>
                <a:lnTo>
                  <a:pt x="4458840" y="1360527"/>
                </a:lnTo>
                <a:lnTo>
                  <a:pt x="4460794" y="1365399"/>
                </a:lnTo>
                <a:lnTo>
                  <a:pt x="4458624" y="1364858"/>
                </a:lnTo>
                <a:lnTo>
                  <a:pt x="4456127" y="1370596"/>
                </a:lnTo>
                <a:lnTo>
                  <a:pt x="4453631" y="1369513"/>
                </a:lnTo>
                <a:lnTo>
                  <a:pt x="4455585" y="1365508"/>
                </a:lnTo>
                <a:lnTo>
                  <a:pt x="4454717" y="1363558"/>
                </a:lnTo>
                <a:lnTo>
                  <a:pt x="4450919" y="1369297"/>
                </a:lnTo>
                <a:lnTo>
                  <a:pt x="4446795" y="1370055"/>
                </a:lnTo>
                <a:lnTo>
                  <a:pt x="4440610" y="1368214"/>
                </a:lnTo>
                <a:lnTo>
                  <a:pt x="4440067" y="1370705"/>
                </a:lnTo>
                <a:lnTo>
                  <a:pt x="4430626" y="1376876"/>
                </a:lnTo>
                <a:lnTo>
                  <a:pt x="4426285" y="1376876"/>
                </a:lnTo>
                <a:lnTo>
                  <a:pt x="4418472" y="1382506"/>
                </a:lnTo>
                <a:lnTo>
                  <a:pt x="4415000" y="1382506"/>
                </a:lnTo>
                <a:lnTo>
                  <a:pt x="4410876" y="1384347"/>
                </a:lnTo>
                <a:lnTo>
                  <a:pt x="4410333" y="1381315"/>
                </a:lnTo>
                <a:lnTo>
                  <a:pt x="4407403" y="1382723"/>
                </a:lnTo>
                <a:lnTo>
                  <a:pt x="4404908" y="1389760"/>
                </a:lnTo>
                <a:lnTo>
                  <a:pt x="4403280" y="1388894"/>
                </a:lnTo>
                <a:lnTo>
                  <a:pt x="4404908" y="1384022"/>
                </a:lnTo>
                <a:lnTo>
                  <a:pt x="4403605" y="1381098"/>
                </a:lnTo>
                <a:lnTo>
                  <a:pt x="4397637" y="1372653"/>
                </a:lnTo>
                <a:lnTo>
                  <a:pt x="4400567" y="1368647"/>
                </a:lnTo>
                <a:lnTo>
                  <a:pt x="4400567" y="1365399"/>
                </a:lnTo>
                <a:lnTo>
                  <a:pt x="4394816" y="1369405"/>
                </a:lnTo>
                <a:lnTo>
                  <a:pt x="4392319" y="1369405"/>
                </a:lnTo>
                <a:lnTo>
                  <a:pt x="4394164" y="1365940"/>
                </a:lnTo>
                <a:lnTo>
                  <a:pt x="4392211" y="1365074"/>
                </a:lnTo>
                <a:lnTo>
                  <a:pt x="4385375" y="1365833"/>
                </a:lnTo>
                <a:lnTo>
                  <a:pt x="4382119" y="1362909"/>
                </a:lnTo>
                <a:lnTo>
                  <a:pt x="4378864" y="1363451"/>
                </a:lnTo>
                <a:lnTo>
                  <a:pt x="4373438" y="1357712"/>
                </a:lnTo>
                <a:lnTo>
                  <a:pt x="4372353" y="1360635"/>
                </a:lnTo>
                <a:lnTo>
                  <a:pt x="4369965" y="1358795"/>
                </a:lnTo>
                <a:lnTo>
                  <a:pt x="4363672" y="1361718"/>
                </a:lnTo>
                <a:lnTo>
                  <a:pt x="4361827" y="1359228"/>
                </a:lnTo>
                <a:lnTo>
                  <a:pt x="4361827" y="1355655"/>
                </a:lnTo>
                <a:lnTo>
                  <a:pt x="4364322" y="1350458"/>
                </a:lnTo>
                <a:lnTo>
                  <a:pt x="4361610" y="1346993"/>
                </a:lnTo>
                <a:lnTo>
                  <a:pt x="4361610" y="1337249"/>
                </a:lnTo>
                <a:lnTo>
                  <a:pt x="4363237" y="1334326"/>
                </a:lnTo>
                <a:lnTo>
                  <a:pt x="4362477" y="1326964"/>
                </a:lnTo>
                <a:lnTo>
                  <a:pt x="4365950" y="1325556"/>
                </a:lnTo>
                <a:lnTo>
                  <a:pt x="4362369" y="1319926"/>
                </a:lnTo>
                <a:lnTo>
                  <a:pt x="4363997" y="1317003"/>
                </a:lnTo>
                <a:lnTo>
                  <a:pt x="4361610" y="1315054"/>
                </a:lnTo>
                <a:lnTo>
                  <a:pt x="4356943" y="1307366"/>
                </a:lnTo>
                <a:lnTo>
                  <a:pt x="4357920" y="1305309"/>
                </a:lnTo>
                <a:lnTo>
                  <a:pt x="4356293" y="1300762"/>
                </a:lnTo>
                <a:lnTo>
                  <a:pt x="4357594" y="1298271"/>
                </a:lnTo>
                <a:lnTo>
                  <a:pt x="4358462" y="1293183"/>
                </a:lnTo>
                <a:lnTo>
                  <a:pt x="4355967" y="1290476"/>
                </a:lnTo>
                <a:lnTo>
                  <a:pt x="4352928" y="1291884"/>
                </a:lnTo>
                <a:lnTo>
                  <a:pt x="4352060" y="1288743"/>
                </a:lnTo>
                <a:lnTo>
                  <a:pt x="4353471" y="1284088"/>
                </a:lnTo>
                <a:lnTo>
                  <a:pt x="4352168" y="1283114"/>
                </a:lnTo>
                <a:lnTo>
                  <a:pt x="4350324" y="1278349"/>
                </a:lnTo>
                <a:lnTo>
                  <a:pt x="4352711" y="1274344"/>
                </a:lnTo>
                <a:lnTo>
                  <a:pt x="4354990" y="1273802"/>
                </a:lnTo>
                <a:lnTo>
                  <a:pt x="4356835" y="1269363"/>
                </a:lnTo>
                <a:lnTo>
                  <a:pt x="4354990" y="1264816"/>
                </a:lnTo>
                <a:lnTo>
                  <a:pt x="4357703" y="1262543"/>
                </a:lnTo>
                <a:lnTo>
                  <a:pt x="4356509" y="1258212"/>
                </a:lnTo>
                <a:lnTo>
                  <a:pt x="4359765" y="1257021"/>
                </a:lnTo>
                <a:lnTo>
                  <a:pt x="4362912" y="1257995"/>
                </a:lnTo>
                <a:lnTo>
                  <a:pt x="4363454" y="1259727"/>
                </a:lnTo>
                <a:lnTo>
                  <a:pt x="4365733" y="1261351"/>
                </a:lnTo>
                <a:lnTo>
                  <a:pt x="4369965" y="1258645"/>
                </a:lnTo>
                <a:lnTo>
                  <a:pt x="4371268" y="1255938"/>
                </a:lnTo>
                <a:lnTo>
                  <a:pt x="4374198" y="1252906"/>
                </a:lnTo>
                <a:lnTo>
                  <a:pt x="4374198" y="1250633"/>
                </a:lnTo>
                <a:lnTo>
                  <a:pt x="4370942" y="1247384"/>
                </a:lnTo>
                <a:lnTo>
                  <a:pt x="4372245" y="1245544"/>
                </a:lnTo>
                <a:lnTo>
                  <a:pt x="4375499" y="1246951"/>
                </a:lnTo>
                <a:lnTo>
                  <a:pt x="4374740" y="1244678"/>
                </a:lnTo>
                <a:lnTo>
                  <a:pt x="4376585" y="1239589"/>
                </a:lnTo>
                <a:lnTo>
                  <a:pt x="4379840" y="1238398"/>
                </a:lnTo>
                <a:lnTo>
                  <a:pt x="4381468" y="1240564"/>
                </a:lnTo>
                <a:lnTo>
                  <a:pt x="4387220" y="1242404"/>
                </a:lnTo>
                <a:lnTo>
                  <a:pt x="4383964" y="1240022"/>
                </a:lnTo>
                <a:lnTo>
                  <a:pt x="4382662" y="1234067"/>
                </a:lnTo>
                <a:lnTo>
                  <a:pt x="4385592" y="1230061"/>
                </a:lnTo>
                <a:lnTo>
                  <a:pt x="4390475" y="1230061"/>
                </a:lnTo>
                <a:lnTo>
                  <a:pt x="4391560" y="1226272"/>
                </a:lnTo>
                <a:lnTo>
                  <a:pt x="4389933" y="1221616"/>
                </a:lnTo>
                <a:lnTo>
                  <a:pt x="4392103" y="1221616"/>
                </a:lnTo>
                <a:lnTo>
                  <a:pt x="4393405" y="1223998"/>
                </a:lnTo>
                <a:lnTo>
                  <a:pt x="4395250" y="1223456"/>
                </a:lnTo>
                <a:lnTo>
                  <a:pt x="4396335" y="1215661"/>
                </a:lnTo>
                <a:lnTo>
                  <a:pt x="4403714" y="1207866"/>
                </a:lnTo>
                <a:lnTo>
                  <a:pt x="4405667" y="1206458"/>
                </a:lnTo>
                <a:lnTo>
                  <a:pt x="4405667" y="1203210"/>
                </a:lnTo>
                <a:lnTo>
                  <a:pt x="4410008" y="1198663"/>
                </a:lnTo>
                <a:lnTo>
                  <a:pt x="4410008" y="1194874"/>
                </a:lnTo>
                <a:lnTo>
                  <a:pt x="4416302" y="1190759"/>
                </a:lnTo>
                <a:lnTo>
                  <a:pt x="4422270" y="1190759"/>
                </a:lnTo>
                <a:lnTo>
                  <a:pt x="4429541" y="1194765"/>
                </a:lnTo>
                <a:lnTo>
                  <a:pt x="4429541" y="1191842"/>
                </a:lnTo>
                <a:lnTo>
                  <a:pt x="4423355" y="1186753"/>
                </a:lnTo>
                <a:lnTo>
                  <a:pt x="4425309" y="1185995"/>
                </a:lnTo>
                <a:lnTo>
                  <a:pt x="4430518" y="1187078"/>
                </a:lnTo>
                <a:lnTo>
                  <a:pt x="4423247" y="1180365"/>
                </a:lnTo>
                <a:lnTo>
                  <a:pt x="4424875" y="1178958"/>
                </a:lnTo>
                <a:lnTo>
                  <a:pt x="4424875" y="1171703"/>
                </a:lnTo>
                <a:lnTo>
                  <a:pt x="4422487" y="1168455"/>
                </a:lnTo>
                <a:lnTo>
                  <a:pt x="4425960" y="1166832"/>
                </a:lnTo>
                <a:lnTo>
                  <a:pt x="4419774" y="1160877"/>
                </a:lnTo>
                <a:lnTo>
                  <a:pt x="4410768" y="1160877"/>
                </a:lnTo>
                <a:lnTo>
                  <a:pt x="4406427" y="1156329"/>
                </a:lnTo>
                <a:lnTo>
                  <a:pt x="4401869" y="1156329"/>
                </a:lnTo>
                <a:lnTo>
                  <a:pt x="4400242" y="1154597"/>
                </a:lnTo>
                <a:lnTo>
                  <a:pt x="4400242" y="1152287"/>
                </a:lnTo>
                <a:lnTo>
                  <a:pt x="4400240" y="1152324"/>
                </a:lnTo>
                <a:lnTo>
                  <a:pt x="4400023" y="1152107"/>
                </a:lnTo>
                <a:lnTo>
                  <a:pt x="4396985" y="1154273"/>
                </a:lnTo>
                <a:lnTo>
                  <a:pt x="4392427" y="1153948"/>
                </a:lnTo>
                <a:lnTo>
                  <a:pt x="4389714" y="1150699"/>
                </a:lnTo>
                <a:lnTo>
                  <a:pt x="4384071" y="1154273"/>
                </a:lnTo>
                <a:lnTo>
                  <a:pt x="4380273" y="1152107"/>
                </a:lnTo>
                <a:lnTo>
                  <a:pt x="4378320" y="1156113"/>
                </a:lnTo>
                <a:lnTo>
                  <a:pt x="4374305" y="1154489"/>
                </a:lnTo>
                <a:lnTo>
                  <a:pt x="4372569" y="1150483"/>
                </a:lnTo>
                <a:lnTo>
                  <a:pt x="4368771" y="1155247"/>
                </a:lnTo>
                <a:lnTo>
                  <a:pt x="4365841" y="1149942"/>
                </a:lnTo>
                <a:lnTo>
                  <a:pt x="4363345" y="1151891"/>
                </a:lnTo>
                <a:lnTo>
                  <a:pt x="4362802" y="1156546"/>
                </a:lnTo>
                <a:lnTo>
                  <a:pt x="4361175" y="1160336"/>
                </a:lnTo>
                <a:lnTo>
                  <a:pt x="4357593" y="1161093"/>
                </a:lnTo>
                <a:lnTo>
                  <a:pt x="4355532" y="1158495"/>
                </a:lnTo>
                <a:lnTo>
                  <a:pt x="4352276" y="1157413"/>
                </a:lnTo>
                <a:lnTo>
                  <a:pt x="4355315" y="1163151"/>
                </a:lnTo>
                <a:lnTo>
                  <a:pt x="4358462" y="1165316"/>
                </a:lnTo>
                <a:lnTo>
                  <a:pt x="4354447" y="1168889"/>
                </a:lnTo>
                <a:lnTo>
                  <a:pt x="4350431" y="1168672"/>
                </a:lnTo>
                <a:lnTo>
                  <a:pt x="4346850" y="1170621"/>
                </a:lnTo>
                <a:lnTo>
                  <a:pt x="4351191" y="1172679"/>
                </a:lnTo>
                <a:lnTo>
                  <a:pt x="4350974" y="1175385"/>
                </a:lnTo>
                <a:lnTo>
                  <a:pt x="4349129" y="1175927"/>
                </a:lnTo>
                <a:lnTo>
                  <a:pt x="4348153" y="1174303"/>
                </a:lnTo>
                <a:lnTo>
                  <a:pt x="4345331" y="1172895"/>
                </a:lnTo>
                <a:lnTo>
                  <a:pt x="4343812" y="1174627"/>
                </a:lnTo>
                <a:lnTo>
                  <a:pt x="4345874" y="1177984"/>
                </a:lnTo>
                <a:lnTo>
                  <a:pt x="4348695" y="1178092"/>
                </a:lnTo>
                <a:lnTo>
                  <a:pt x="4350974" y="1181015"/>
                </a:lnTo>
                <a:lnTo>
                  <a:pt x="4349563" y="1183723"/>
                </a:lnTo>
                <a:lnTo>
                  <a:pt x="4346633" y="1192059"/>
                </a:lnTo>
                <a:lnTo>
                  <a:pt x="4347718" y="1195415"/>
                </a:lnTo>
                <a:lnTo>
                  <a:pt x="4341967" y="1196498"/>
                </a:lnTo>
                <a:lnTo>
                  <a:pt x="4346633" y="1200180"/>
                </a:lnTo>
                <a:lnTo>
                  <a:pt x="4350431" y="1200829"/>
                </a:lnTo>
                <a:lnTo>
                  <a:pt x="4351951" y="1203860"/>
                </a:lnTo>
                <a:lnTo>
                  <a:pt x="4349021" y="1204943"/>
                </a:lnTo>
                <a:lnTo>
                  <a:pt x="4351734" y="1208733"/>
                </a:lnTo>
                <a:lnTo>
                  <a:pt x="4355206" y="1208733"/>
                </a:lnTo>
                <a:lnTo>
                  <a:pt x="4350431" y="1214688"/>
                </a:lnTo>
                <a:lnTo>
                  <a:pt x="4347393" y="1214904"/>
                </a:lnTo>
                <a:lnTo>
                  <a:pt x="4343920" y="1219127"/>
                </a:lnTo>
                <a:lnTo>
                  <a:pt x="4344680" y="1226814"/>
                </a:lnTo>
                <a:lnTo>
                  <a:pt x="4340013" y="1234826"/>
                </a:lnTo>
                <a:lnTo>
                  <a:pt x="4336867" y="1234609"/>
                </a:lnTo>
                <a:lnTo>
                  <a:pt x="4331984" y="1239265"/>
                </a:lnTo>
                <a:lnTo>
                  <a:pt x="4329487" y="1236017"/>
                </a:lnTo>
                <a:lnTo>
                  <a:pt x="4328728" y="1240239"/>
                </a:lnTo>
                <a:lnTo>
                  <a:pt x="4330573" y="1244462"/>
                </a:lnTo>
                <a:lnTo>
                  <a:pt x="4324821" y="1247818"/>
                </a:lnTo>
                <a:lnTo>
                  <a:pt x="4322434" y="1252582"/>
                </a:lnTo>
                <a:lnTo>
                  <a:pt x="4319504" y="1252474"/>
                </a:lnTo>
                <a:lnTo>
                  <a:pt x="4318962" y="1249010"/>
                </a:lnTo>
                <a:lnTo>
                  <a:pt x="4315381" y="1249010"/>
                </a:lnTo>
                <a:lnTo>
                  <a:pt x="4313210" y="1253881"/>
                </a:lnTo>
                <a:lnTo>
                  <a:pt x="4313210" y="1259295"/>
                </a:lnTo>
                <a:lnTo>
                  <a:pt x="4309954" y="1262218"/>
                </a:lnTo>
                <a:lnTo>
                  <a:pt x="4308001" y="1259079"/>
                </a:lnTo>
                <a:lnTo>
                  <a:pt x="4305939" y="1259079"/>
                </a:lnTo>
                <a:lnTo>
                  <a:pt x="4304746" y="1264167"/>
                </a:lnTo>
                <a:lnTo>
                  <a:pt x="4302576" y="1264708"/>
                </a:lnTo>
                <a:lnTo>
                  <a:pt x="4300513" y="1262218"/>
                </a:lnTo>
                <a:lnTo>
                  <a:pt x="4297258" y="1265467"/>
                </a:lnTo>
                <a:lnTo>
                  <a:pt x="4295847" y="1269473"/>
                </a:lnTo>
                <a:lnTo>
                  <a:pt x="4299103" y="1270122"/>
                </a:lnTo>
                <a:lnTo>
                  <a:pt x="4298777" y="1272829"/>
                </a:lnTo>
                <a:lnTo>
                  <a:pt x="4292267" y="1278459"/>
                </a:lnTo>
                <a:lnTo>
                  <a:pt x="4288034" y="1277376"/>
                </a:lnTo>
                <a:lnTo>
                  <a:pt x="4286841" y="1279867"/>
                </a:lnTo>
                <a:lnTo>
                  <a:pt x="4288794" y="1283981"/>
                </a:lnTo>
                <a:lnTo>
                  <a:pt x="4284887" y="1289719"/>
                </a:lnTo>
                <a:lnTo>
                  <a:pt x="4277942" y="1290910"/>
                </a:lnTo>
                <a:lnTo>
                  <a:pt x="4274144" y="1289611"/>
                </a:lnTo>
                <a:lnTo>
                  <a:pt x="4279678" y="1296540"/>
                </a:lnTo>
                <a:lnTo>
                  <a:pt x="4280330" y="1302495"/>
                </a:lnTo>
                <a:lnTo>
                  <a:pt x="4279027" y="1304227"/>
                </a:lnTo>
                <a:lnTo>
                  <a:pt x="4279895" y="1309640"/>
                </a:lnTo>
                <a:lnTo>
                  <a:pt x="4278702" y="1316678"/>
                </a:lnTo>
                <a:lnTo>
                  <a:pt x="4282283" y="1320468"/>
                </a:lnTo>
                <a:lnTo>
                  <a:pt x="4281740" y="1325123"/>
                </a:lnTo>
                <a:lnTo>
                  <a:pt x="4278702" y="1322417"/>
                </a:lnTo>
                <a:lnTo>
                  <a:pt x="4277617" y="1323932"/>
                </a:lnTo>
                <a:lnTo>
                  <a:pt x="4279027" y="1330970"/>
                </a:lnTo>
                <a:lnTo>
                  <a:pt x="4275447" y="1335409"/>
                </a:lnTo>
                <a:lnTo>
                  <a:pt x="4279027" y="1336925"/>
                </a:lnTo>
                <a:lnTo>
                  <a:pt x="4279027" y="1339740"/>
                </a:lnTo>
                <a:lnTo>
                  <a:pt x="4276857" y="1341039"/>
                </a:lnTo>
                <a:lnTo>
                  <a:pt x="4279353" y="1346236"/>
                </a:lnTo>
                <a:lnTo>
                  <a:pt x="4276097" y="1350458"/>
                </a:lnTo>
                <a:lnTo>
                  <a:pt x="4278810" y="1353274"/>
                </a:lnTo>
                <a:lnTo>
                  <a:pt x="4281198" y="1356955"/>
                </a:lnTo>
                <a:lnTo>
                  <a:pt x="4284453" y="1357605"/>
                </a:lnTo>
                <a:lnTo>
                  <a:pt x="4284453" y="1362152"/>
                </a:lnTo>
                <a:lnTo>
                  <a:pt x="4286841" y="1360745"/>
                </a:lnTo>
                <a:lnTo>
                  <a:pt x="4289336" y="1365075"/>
                </a:lnTo>
                <a:lnTo>
                  <a:pt x="4293460" y="1359986"/>
                </a:lnTo>
                <a:lnTo>
                  <a:pt x="4296716" y="1362693"/>
                </a:lnTo>
                <a:lnTo>
                  <a:pt x="4297801" y="1366807"/>
                </a:lnTo>
                <a:lnTo>
                  <a:pt x="4306374" y="1373304"/>
                </a:lnTo>
                <a:lnTo>
                  <a:pt x="4305071" y="1376011"/>
                </a:lnTo>
                <a:lnTo>
                  <a:pt x="4312125" y="1380233"/>
                </a:lnTo>
                <a:lnTo>
                  <a:pt x="4312125" y="1383806"/>
                </a:lnTo>
                <a:lnTo>
                  <a:pt x="4316791" y="1388353"/>
                </a:lnTo>
                <a:lnTo>
                  <a:pt x="4313752" y="1395608"/>
                </a:lnTo>
                <a:lnTo>
                  <a:pt x="4307784" y="1401996"/>
                </a:lnTo>
                <a:lnTo>
                  <a:pt x="4306156" y="1406868"/>
                </a:lnTo>
                <a:lnTo>
                  <a:pt x="4299645" y="1408492"/>
                </a:lnTo>
                <a:lnTo>
                  <a:pt x="4295739" y="1406326"/>
                </a:lnTo>
                <a:lnTo>
                  <a:pt x="4296173" y="1403294"/>
                </a:lnTo>
                <a:lnTo>
                  <a:pt x="4290747" y="1401346"/>
                </a:lnTo>
                <a:lnTo>
                  <a:pt x="4288468" y="1398964"/>
                </a:lnTo>
                <a:lnTo>
                  <a:pt x="4288251" y="1401887"/>
                </a:lnTo>
                <a:lnTo>
                  <a:pt x="4285321" y="1401996"/>
                </a:lnTo>
                <a:lnTo>
                  <a:pt x="4283368" y="1399830"/>
                </a:lnTo>
                <a:lnTo>
                  <a:pt x="4279245" y="1398964"/>
                </a:lnTo>
                <a:lnTo>
                  <a:pt x="4277617" y="1401996"/>
                </a:lnTo>
                <a:lnTo>
                  <a:pt x="4273927" y="1403078"/>
                </a:lnTo>
                <a:lnTo>
                  <a:pt x="4271974" y="1401129"/>
                </a:lnTo>
                <a:lnTo>
                  <a:pt x="4268501" y="1405677"/>
                </a:lnTo>
                <a:lnTo>
                  <a:pt x="4264594" y="1403620"/>
                </a:lnTo>
                <a:lnTo>
                  <a:pt x="4261122" y="1405135"/>
                </a:lnTo>
                <a:lnTo>
                  <a:pt x="4261340" y="1406868"/>
                </a:lnTo>
                <a:lnTo>
                  <a:pt x="4268501" y="1407625"/>
                </a:lnTo>
                <a:lnTo>
                  <a:pt x="4270346" y="1409033"/>
                </a:lnTo>
                <a:lnTo>
                  <a:pt x="4270889" y="1406759"/>
                </a:lnTo>
                <a:lnTo>
                  <a:pt x="4277183" y="1406543"/>
                </a:lnTo>
                <a:lnTo>
                  <a:pt x="4280330" y="1408492"/>
                </a:lnTo>
                <a:lnTo>
                  <a:pt x="4285321" y="1409466"/>
                </a:lnTo>
                <a:lnTo>
                  <a:pt x="4288468" y="1413580"/>
                </a:lnTo>
                <a:lnTo>
                  <a:pt x="4292267" y="1411415"/>
                </a:lnTo>
                <a:lnTo>
                  <a:pt x="4294545" y="1412498"/>
                </a:lnTo>
                <a:lnTo>
                  <a:pt x="4298777" y="1410224"/>
                </a:lnTo>
                <a:lnTo>
                  <a:pt x="4304529" y="1411740"/>
                </a:lnTo>
                <a:lnTo>
                  <a:pt x="4307459" y="1414338"/>
                </a:lnTo>
                <a:lnTo>
                  <a:pt x="4308001" y="1418777"/>
                </a:lnTo>
                <a:lnTo>
                  <a:pt x="4304746" y="1421484"/>
                </a:lnTo>
                <a:lnTo>
                  <a:pt x="4301490" y="1421484"/>
                </a:lnTo>
                <a:lnTo>
                  <a:pt x="4297258" y="1427872"/>
                </a:lnTo>
                <a:lnTo>
                  <a:pt x="4294545" y="1427655"/>
                </a:lnTo>
                <a:lnTo>
                  <a:pt x="4295522" y="1423325"/>
                </a:lnTo>
                <a:lnTo>
                  <a:pt x="4293894" y="1421159"/>
                </a:lnTo>
                <a:lnTo>
                  <a:pt x="4292049" y="1423650"/>
                </a:lnTo>
                <a:lnTo>
                  <a:pt x="4292809" y="1426789"/>
                </a:lnTo>
                <a:lnTo>
                  <a:pt x="4289554" y="1427114"/>
                </a:lnTo>
                <a:lnTo>
                  <a:pt x="4286298" y="1430687"/>
                </a:lnTo>
                <a:lnTo>
                  <a:pt x="4285756" y="1435559"/>
                </a:lnTo>
                <a:lnTo>
                  <a:pt x="4281740" y="1432528"/>
                </a:lnTo>
                <a:lnTo>
                  <a:pt x="4281958" y="1435559"/>
                </a:lnTo>
                <a:lnTo>
                  <a:pt x="4279245" y="1438158"/>
                </a:lnTo>
                <a:lnTo>
                  <a:pt x="4278485" y="1437075"/>
                </a:lnTo>
                <a:lnTo>
                  <a:pt x="4275989" y="1437075"/>
                </a:lnTo>
                <a:lnTo>
                  <a:pt x="4273276" y="1440323"/>
                </a:lnTo>
                <a:lnTo>
                  <a:pt x="4277183" y="1440865"/>
                </a:lnTo>
                <a:lnTo>
                  <a:pt x="4281958" y="1445737"/>
                </a:lnTo>
                <a:lnTo>
                  <a:pt x="4273059" y="1446061"/>
                </a:lnTo>
                <a:lnTo>
                  <a:pt x="4280113" y="1448552"/>
                </a:lnTo>
                <a:lnTo>
                  <a:pt x="4280438" y="1451475"/>
                </a:lnTo>
                <a:lnTo>
                  <a:pt x="4277942" y="1456889"/>
                </a:lnTo>
                <a:lnTo>
                  <a:pt x="4283043" y="1461544"/>
                </a:lnTo>
                <a:lnTo>
                  <a:pt x="4277400" y="1462627"/>
                </a:lnTo>
                <a:lnTo>
                  <a:pt x="4272191" y="1460678"/>
                </a:lnTo>
                <a:lnTo>
                  <a:pt x="4275012" y="1465226"/>
                </a:lnTo>
                <a:lnTo>
                  <a:pt x="4272734" y="1469340"/>
                </a:lnTo>
                <a:lnTo>
                  <a:pt x="4277942" y="1472587"/>
                </a:lnTo>
                <a:lnTo>
                  <a:pt x="4273819" y="1476377"/>
                </a:lnTo>
                <a:lnTo>
                  <a:pt x="4277617" y="1481250"/>
                </a:lnTo>
                <a:lnTo>
                  <a:pt x="4273602" y="1485797"/>
                </a:lnTo>
                <a:lnTo>
                  <a:pt x="4273059" y="1490669"/>
                </a:lnTo>
                <a:lnTo>
                  <a:pt x="4277183" y="1494242"/>
                </a:lnTo>
                <a:lnTo>
                  <a:pt x="4275012" y="1498031"/>
                </a:lnTo>
                <a:lnTo>
                  <a:pt x="4274144" y="1509725"/>
                </a:lnTo>
                <a:lnTo>
                  <a:pt x="4270346" y="1513731"/>
                </a:lnTo>
                <a:lnTo>
                  <a:pt x="4268719" y="1523150"/>
                </a:lnTo>
                <a:lnTo>
                  <a:pt x="4263510" y="1529430"/>
                </a:lnTo>
                <a:lnTo>
                  <a:pt x="4260905" y="1526182"/>
                </a:lnTo>
                <a:lnTo>
                  <a:pt x="4256565" y="1524233"/>
                </a:lnTo>
                <a:lnTo>
                  <a:pt x="4251356" y="1527048"/>
                </a:lnTo>
                <a:lnTo>
                  <a:pt x="4242675" y="1525641"/>
                </a:lnTo>
                <a:lnTo>
                  <a:pt x="4241372" y="1522176"/>
                </a:lnTo>
                <a:lnTo>
                  <a:pt x="4239745" y="1529754"/>
                </a:lnTo>
                <a:lnTo>
                  <a:pt x="4232365" y="1530729"/>
                </a:lnTo>
                <a:lnTo>
                  <a:pt x="4229110" y="1538416"/>
                </a:lnTo>
                <a:lnTo>
                  <a:pt x="4231823" y="1540798"/>
                </a:lnTo>
                <a:lnTo>
                  <a:pt x="4232149" y="1544588"/>
                </a:lnTo>
                <a:lnTo>
                  <a:pt x="4227483" y="1548919"/>
                </a:lnTo>
                <a:lnTo>
                  <a:pt x="4221514" y="1546753"/>
                </a:lnTo>
                <a:lnTo>
                  <a:pt x="4209360" y="1550002"/>
                </a:lnTo>
                <a:lnTo>
                  <a:pt x="4204694" y="1550002"/>
                </a:lnTo>
                <a:lnTo>
                  <a:pt x="4202198" y="1547619"/>
                </a:lnTo>
                <a:lnTo>
                  <a:pt x="4204911" y="1543288"/>
                </a:lnTo>
                <a:lnTo>
                  <a:pt x="4202740" y="1532137"/>
                </a:lnTo>
                <a:lnTo>
                  <a:pt x="4197857" y="1530729"/>
                </a:lnTo>
                <a:lnTo>
                  <a:pt x="4197097" y="1526398"/>
                </a:lnTo>
                <a:lnTo>
                  <a:pt x="4193842" y="1524341"/>
                </a:lnTo>
                <a:lnTo>
                  <a:pt x="4194710" y="1521851"/>
                </a:lnTo>
                <a:lnTo>
                  <a:pt x="4200678" y="1521093"/>
                </a:lnTo>
                <a:lnTo>
                  <a:pt x="4204151" y="1514597"/>
                </a:lnTo>
                <a:lnTo>
                  <a:pt x="4202740" y="1508858"/>
                </a:lnTo>
                <a:lnTo>
                  <a:pt x="4197640" y="1511782"/>
                </a:lnTo>
                <a:lnTo>
                  <a:pt x="4193082" y="1507235"/>
                </a:lnTo>
                <a:lnTo>
                  <a:pt x="4191889" y="1502687"/>
                </a:lnTo>
                <a:lnTo>
                  <a:pt x="4187006" y="1500738"/>
                </a:lnTo>
                <a:lnTo>
                  <a:pt x="4186463" y="1494025"/>
                </a:lnTo>
                <a:lnTo>
                  <a:pt x="4182122" y="1485256"/>
                </a:lnTo>
                <a:lnTo>
                  <a:pt x="4179952" y="1483415"/>
                </a:lnTo>
                <a:lnTo>
                  <a:pt x="4177565" y="1477244"/>
                </a:lnTo>
                <a:lnTo>
                  <a:pt x="4173549" y="1476269"/>
                </a:lnTo>
                <a:lnTo>
                  <a:pt x="4170837" y="1472371"/>
                </a:lnTo>
                <a:lnTo>
                  <a:pt x="4173115" y="1470097"/>
                </a:lnTo>
                <a:lnTo>
                  <a:pt x="4173658" y="1464901"/>
                </a:lnTo>
                <a:lnTo>
                  <a:pt x="4172247" y="1461220"/>
                </a:lnTo>
                <a:lnTo>
                  <a:pt x="4173115" y="1457430"/>
                </a:lnTo>
                <a:lnTo>
                  <a:pt x="4177890" y="1453532"/>
                </a:lnTo>
                <a:lnTo>
                  <a:pt x="4176588" y="1450934"/>
                </a:lnTo>
                <a:lnTo>
                  <a:pt x="4172573" y="1448660"/>
                </a:lnTo>
                <a:lnTo>
                  <a:pt x="4173658" y="1446278"/>
                </a:lnTo>
                <a:lnTo>
                  <a:pt x="4171379" y="1446170"/>
                </a:lnTo>
                <a:lnTo>
                  <a:pt x="4170837" y="1449851"/>
                </a:lnTo>
                <a:lnTo>
                  <a:pt x="4174092" y="1453316"/>
                </a:lnTo>
                <a:lnTo>
                  <a:pt x="4168775" y="1455589"/>
                </a:lnTo>
                <a:lnTo>
                  <a:pt x="4169534" y="1450501"/>
                </a:lnTo>
                <a:lnTo>
                  <a:pt x="4168232" y="1448768"/>
                </a:lnTo>
                <a:lnTo>
                  <a:pt x="4164868" y="1446928"/>
                </a:lnTo>
                <a:lnTo>
                  <a:pt x="4164435" y="1439240"/>
                </a:lnTo>
                <a:lnTo>
                  <a:pt x="4162481" y="1436426"/>
                </a:lnTo>
                <a:lnTo>
                  <a:pt x="4161613" y="1426140"/>
                </a:lnTo>
                <a:lnTo>
                  <a:pt x="4165303" y="1423975"/>
                </a:lnTo>
                <a:lnTo>
                  <a:pt x="4165736" y="1423541"/>
                </a:lnTo>
                <a:lnTo>
                  <a:pt x="4168666" y="1425490"/>
                </a:lnTo>
                <a:lnTo>
                  <a:pt x="4171379" y="1430363"/>
                </a:lnTo>
                <a:lnTo>
                  <a:pt x="4173984" y="1425490"/>
                </a:lnTo>
                <a:lnTo>
                  <a:pt x="4173984" y="1425489"/>
                </a:lnTo>
                <a:lnTo>
                  <a:pt x="4171379" y="1430362"/>
                </a:lnTo>
                <a:lnTo>
                  <a:pt x="4168666" y="1425489"/>
                </a:lnTo>
                <a:lnTo>
                  <a:pt x="4165736" y="1423540"/>
                </a:lnTo>
                <a:lnTo>
                  <a:pt x="4167147" y="1421700"/>
                </a:lnTo>
                <a:lnTo>
                  <a:pt x="4164760" y="1419642"/>
                </a:lnTo>
                <a:lnTo>
                  <a:pt x="4159117" y="1420184"/>
                </a:lnTo>
                <a:lnTo>
                  <a:pt x="4154125" y="1415095"/>
                </a:lnTo>
                <a:lnTo>
                  <a:pt x="4153365" y="1411956"/>
                </a:lnTo>
                <a:lnTo>
                  <a:pt x="4150652" y="1407624"/>
                </a:lnTo>
                <a:lnTo>
                  <a:pt x="4151629" y="1403727"/>
                </a:lnTo>
                <a:lnTo>
                  <a:pt x="4150761" y="1398097"/>
                </a:lnTo>
                <a:lnTo>
                  <a:pt x="4153474" y="1393766"/>
                </a:lnTo>
                <a:lnTo>
                  <a:pt x="4150110" y="1390410"/>
                </a:lnTo>
                <a:lnTo>
                  <a:pt x="4146529" y="1393116"/>
                </a:lnTo>
                <a:lnTo>
                  <a:pt x="4146311" y="1397556"/>
                </a:lnTo>
                <a:lnTo>
                  <a:pt x="4148808" y="1400371"/>
                </a:lnTo>
                <a:lnTo>
                  <a:pt x="4146963" y="1402536"/>
                </a:lnTo>
                <a:lnTo>
                  <a:pt x="4144684" y="1402752"/>
                </a:lnTo>
                <a:lnTo>
                  <a:pt x="4144250" y="1404810"/>
                </a:lnTo>
                <a:lnTo>
                  <a:pt x="4142080" y="1406217"/>
                </a:lnTo>
                <a:lnTo>
                  <a:pt x="4143707" y="1408924"/>
                </a:lnTo>
                <a:lnTo>
                  <a:pt x="4146855" y="1410223"/>
                </a:lnTo>
                <a:lnTo>
                  <a:pt x="4148374" y="1414771"/>
                </a:lnTo>
                <a:lnTo>
                  <a:pt x="4146746" y="1419968"/>
                </a:lnTo>
                <a:lnTo>
                  <a:pt x="4140886" y="1425489"/>
                </a:lnTo>
                <a:lnTo>
                  <a:pt x="4140669" y="1423757"/>
                </a:lnTo>
                <a:lnTo>
                  <a:pt x="4136762" y="1420401"/>
                </a:lnTo>
                <a:lnTo>
                  <a:pt x="4135134" y="1423324"/>
                </a:lnTo>
                <a:lnTo>
                  <a:pt x="4137197" y="1424948"/>
                </a:lnTo>
                <a:lnTo>
                  <a:pt x="4138390" y="1427546"/>
                </a:lnTo>
                <a:lnTo>
                  <a:pt x="4133832" y="1429603"/>
                </a:lnTo>
                <a:lnTo>
                  <a:pt x="4131662" y="1426789"/>
                </a:lnTo>
                <a:lnTo>
                  <a:pt x="4132313" y="1424190"/>
                </a:lnTo>
                <a:lnTo>
                  <a:pt x="4129383" y="1423757"/>
                </a:lnTo>
                <a:lnTo>
                  <a:pt x="4127756" y="1421917"/>
                </a:lnTo>
                <a:lnTo>
                  <a:pt x="4126019" y="1415312"/>
                </a:lnTo>
                <a:lnTo>
                  <a:pt x="4121461" y="1410332"/>
                </a:lnTo>
                <a:lnTo>
                  <a:pt x="4119074" y="1408924"/>
                </a:lnTo>
                <a:lnTo>
                  <a:pt x="4118965" y="1412822"/>
                </a:lnTo>
                <a:lnTo>
                  <a:pt x="4122981" y="1415854"/>
                </a:lnTo>
                <a:lnTo>
                  <a:pt x="4126345" y="1420293"/>
                </a:lnTo>
                <a:lnTo>
                  <a:pt x="4125043" y="1423432"/>
                </a:lnTo>
                <a:lnTo>
                  <a:pt x="4128732" y="1428196"/>
                </a:lnTo>
                <a:lnTo>
                  <a:pt x="4127756" y="1431119"/>
                </a:lnTo>
                <a:lnTo>
                  <a:pt x="4123849" y="1431877"/>
                </a:lnTo>
                <a:lnTo>
                  <a:pt x="4120159" y="1434260"/>
                </a:lnTo>
                <a:lnTo>
                  <a:pt x="4120702" y="1437507"/>
                </a:lnTo>
                <a:lnTo>
                  <a:pt x="4117664" y="1439564"/>
                </a:lnTo>
                <a:lnTo>
                  <a:pt x="4119074" y="1441297"/>
                </a:lnTo>
                <a:lnTo>
                  <a:pt x="4113974" y="1446278"/>
                </a:lnTo>
                <a:lnTo>
                  <a:pt x="4107680" y="1442380"/>
                </a:lnTo>
                <a:lnTo>
                  <a:pt x="4111261" y="1446819"/>
                </a:lnTo>
                <a:lnTo>
                  <a:pt x="4111695" y="1449742"/>
                </a:lnTo>
                <a:lnTo>
                  <a:pt x="4103448" y="1457970"/>
                </a:lnTo>
                <a:lnTo>
                  <a:pt x="4100518" y="1457754"/>
                </a:lnTo>
                <a:lnTo>
                  <a:pt x="4099324" y="1454290"/>
                </a:lnTo>
                <a:lnTo>
                  <a:pt x="4098347" y="1454073"/>
                </a:lnTo>
                <a:lnTo>
                  <a:pt x="4096286" y="1456238"/>
                </a:lnTo>
                <a:lnTo>
                  <a:pt x="4094115" y="1456780"/>
                </a:lnTo>
                <a:lnTo>
                  <a:pt x="4089232" y="1461543"/>
                </a:lnTo>
                <a:lnTo>
                  <a:pt x="4085108" y="1463384"/>
                </a:lnTo>
                <a:lnTo>
                  <a:pt x="4083263" y="1462410"/>
                </a:lnTo>
                <a:lnTo>
                  <a:pt x="4081093" y="1465117"/>
                </a:lnTo>
                <a:lnTo>
                  <a:pt x="4076319" y="1459162"/>
                </a:lnTo>
                <a:lnTo>
                  <a:pt x="4076861" y="1457862"/>
                </a:lnTo>
                <a:lnTo>
                  <a:pt x="4073823" y="1455372"/>
                </a:lnTo>
                <a:lnTo>
                  <a:pt x="4071001" y="1455480"/>
                </a:lnTo>
                <a:lnTo>
                  <a:pt x="4072412" y="1460027"/>
                </a:lnTo>
                <a:lnTo>
                  <a:pt x="4069264" y="1461652"/>
                </a:lnTo>
                <a:lnTo>
                  <a:pt x="4065793" y="1458295"/>
                </a:lnTo>
                <a:lnTo>
                  <a:pt x="4067963" y="1457213"/>
                </a:lnTo>
                <a:lnTo>
                  <a:pt x="4066878" y="1454398"/>
                </a:lnTo>
                <a:lnTo>
                  <a:pt x="4057871" y="1450933"/>
                </a:lnTo>
                <a:lnTo>
                  <a:pt x="4051359" y="1445411"/>
                </a:lnTo>
                <a:lnTo>
                  <a:pt x="4046477" y="1444437"/>
                </a:lnTo>
                <a:lnTo>
                  <a:pt x="4040508" y="1434368"/>
                </a:lnTo>
                <a:lnTo>
                  <a:pt x="4043004" y="1431661"/>
                </a:lnTo>
                <a:lnTo>
                  <a:pt x="4043004" y="1427980"/>
                </a:lnTo>
                <a:lnTo>
                  <a:pt x="4046585" y="1427872"/>
                </a:lnTo>
                <a:lnTo>
                  <a:pt x="4049298" y="1430037"/>
                </a:lnTo>
                <a:lnTo>
                  <a:pt x="4052228" y="1428954"/>
                </a:lnTo>
                <a:lnTo>
                  <a:pt x="4060692" y="1435017"/>
                </a:lnTo>
                <a:lnTo>
                  <a:pt x="4061235" y="1433393"/>
                </a:lnTo>
                <a:lnTo>
                  <a:pt x="4058739" y="1429495"/>
                </a:lnTo>
                <a:lnTo>
                  <a:pt x="4061126" y="1427655"/>
                </a:lnTo>
                <a:lnTo>
                  <a:pt x="4066010" y="1427330"/>
                </a:lnTo>
                <a:lnTo>
                  <a:pt x="4063622" y="1424082"/>
                </a:lnTo>
                <a:lnTo>
                  <a:pt x="4057871" y="1425706"/>
                </a:lnTo>
                <a:lnTo>
                  <a:pt x="4055700" y="1428196"/>
                </a:lnTo>
                <a:lnTo>
                  <a:pt x="4052987" y="1421483"/>
                </a:lnTo>
                <a:lnTo>
                  <a:pt x="4056026" y="1419318"/>
                </a:lnTo>
                <a:lnTo>
                  <a:pt x="4057111" y="1415420"/>
                </a:lnTo>
                <a:lnTo>
                  <a:pt x="4054181" y="1412281"/>
                </a:lnTo>
                <a:lnTo>
                  <a:pt x="4056569" y="1410873"/>
                </a:lnTo>
                <a:lnTo>
                  <a:pt x="4051468" y="1407083"/>
                </a:lnTo>
                <a:lnTo>
                  <a:pt x="4049515" y="1411631"/>
                </a:lnTo>
                <a:lnTo>
                  <a:pt x="4050383" y="1413579"/>
                </a:lnTo>
                <a:lnTo>
                  <a:pt x="4047019" y="1415204"/>
                </a:lnTo>
                <a:lnTo>
                  <a:pt x="4045392" y="1413796"/>
                </a:lnTo>
                <a:lnTo>
                  <a:pt x="4044089" y="1417585"/>
                </a:lnTo>
                <a:lnTo>
                  <a:pt x="4037795" y="1410873"/>
                </a:lnTo>
                <a:lnTo>
                  <a:pt x="4036167" y="1406542"/>
                </a:lnTo>
                <a:lnTo>
                  <a:pt x="4040291" y="1400912"/>
                </a:lnTo>
                <a:lnTo>
                  <a:pt x="4043438" y="1398963"/>
                </a:lnTo>
                <a:lnTo>
                  <a:pt x="4044415" y="1403619"/>
                </a:lnTo>
                <a:lnTo>
                  <a:pt x="4045392" y="1399721"/>
                </a:lnTo>
                <a:lnTo>
                  <a:pt x="4047670" y="1398638"/>
                </a:lnTo>
                <a:lnTo>
                  <a:pt x="4052771" y="1401995"/>
                </a:lnTo>
                <a:lnTo>
                  <a:pt x="4053096" y="1398746"/>
                </a:lnTo>
                <a:lnTo>
                  <a:pt x="4054724" y="1396040"/>
                </a:lnTo>
                <a:lnTo>
                  <a:pt x="4059498" y="1395715"/>
                </a:lnTo>
                <a:lnTo>
                  <a:pt x="4057871" y="1393008"/>
                </a:lnTo>
                <a:lnTo>
                  <a:pt x="4051359" y="1393008"/>
                </a:lnTo>
                <a:lnTo>
                  <a:pt x="4048973" y="1391926"/>
                </a:lnTo>
                <a:lnTo>
                  <a:pt x="4050383" y="1388677"/>
                </a:lnTo>
                <a:lnTo>
                  <a:pt x="4053530" y="1388677"/>
                </a:lnTo>
                <a:lnTo>
                  <a:pt x="4057328" y="1383589"/>
                </a:lnTo>
                <a:lnTo>
                  <a:pt x="4052987" y="1381965"/>
                </a:lnTo>
                <a:lnTo>
                  <a:pt x="4055484" y="1381098"/>
                </a:lnTo>
                <a:lnTo>
                  <a:pt x="4058522" y="1375577"/>
                </a:lnTo>
                <a:lnTo>
                  <a:pt x="4061126" y="1375685"/>
                </a:lnTo>
                <a:lnTo>
                  <a:pt x="4061777" y="1380773"/>
                </a:lnTo>
                <a:lnTo>
                  <a:pt x="4065250" y="1383589"/>
                </a:lnTo>
                <a:lnTo>
                  <a:pt x="4063839" y="1380232"/>
                </a:lnTo>
                <a:lnTo>
                  <a:pt x="4063839" y="1374602"/>
                </a:lnTo>
                <a:lnTo>
                  <a:pt x="4068288" y="1371138"/>
                </a:lnTo>
                <a:lnTo>
                  <a:pt x="4070893" y="1369622"/>
                </a:lnTo>
                <a:lnTo>
                  <a:pt x="4067311" y="1370596"/>
                </a:lnTo>
                <a:lnTo>
                  <a:pt x="4062862" y="1370271"/>
                </a:lnTo>
                <a:lnTo>
                  <a:pt x="4054181" y="1373844"/>
                </a:lnTo>
                <a:lnTo>
                  <a:pt x="4053530" y="1378608"/>
                </a:lnTo>
                <a:lnTo>
                  <a:pt x="4050274" y="1380449"/>
                </a:lnTo>
                <a:lnTo>
                  <a:pt x="4046585" y="1385971"/>
                </a:lnTo>
                <a:lnTo>
                  <a:pt x="4045174" y="1385863"/>
                </a:lnTo>
                <a:lnTo>
                  <a:pt x="4046802" y="1381315"/>
                </a:lnTo>
                <a:lnTo>
                  <a:pt x="4044306" y="1377526"/>
                </a:lnTo>
                <a:lnTo>
                  <a:pt x="4046151" y="1374602"/>
                </a:lnTo>
                <a:lnTo>
                  <a:pt x="4042679" y="1374061"/>
                </a:lnTo>
                <a:lnTo>
                  <a:pt x="4041702" y="1372437"/>
                </a:lnTo>
                <a:lnTo>
                  <a:pt x="4047345" y="1369405"/>
                </a:lnTo>
                <a:lnTo>
                  <a:pt x="4046802" y="1365616"/>
                </a:lnTo>
                <a:lnTo>
                  <a:pt x="4048755" y="1363559"/>
                </a:lnTo>
                <a:lnTo>
                  <a:pt x="4044089" y="1361610"/>
                </a:lnTo>
                <a:lnTo>
                  <a:pt x="4037469" y="1368973"/>
                </a:lnTo>
                <a:lnTo>
                  <a:pt x="4034757" y="1366698"/>
                </a:lnTo>
                <a:lnTo>
                  <a:pt x="4033238" y="1361502"/>
                </a:lnTo>
                <a:lnTo>
                  <a:pt x="4036493" y="1363342"/>
                </a:lnTo>
                <a:lnTo>
                  <a:pt x="4038446" y="1361718"/>
                </a:lnTo>
                <a:lnTo>
                  <a:pt x="4038012" y="1357820"/>
                </a:lnTo>
                <a:lnTo>
                  <a:pt x="4041159" y="1354572"/>
                </a:lnTo>
                <a:lnTo>
                  <a:pt x="4038446" y="1354464"/>
                </a:lnTo>
                <a:lnTo>
                  <a:pt x="4036493" y="1356737"/>
                </a:lnTo>
                <a:lnTo>
                  <a:pt x="4033129" y="1357496"/>
                </a:lnTo>
                <a:lnTo>
                  <a:pt x="4030958" y="1355655"/>
                </a:lnTo>
                <a:lnTo>
                  <a:pt x="4032153" y="1353273"/>
                </a:lnTo>
                <a:lnTo>
                  <a:pt x="4030199" y="1348834"/>
                </a:lnTo>
                <a:lnTo>
                  <a:pt x="4031501" y="1348400"/>
                </a:lnTo>
                <a:lnTo>
                  <a:pt x="4034865" y="1350675"/>
                </a:lnTo>
                <a:lnTo>
                  <a:pt x="4037795" y="1350675"/>
                </a:lnTo>
                <a:lnTo>
                  <a:pt x="4043655" y="1347751"/>
                </a:lnTo>
                <a:lnTo>
                  <a:pt x="4046585" y="1348726"/>
                </a:lnTo>
                <a:lnTo>
                  <a:pt x="4051794" y="1347751"/>
                </a:lnTo>
                <a:lnTo>
                  <a:pt x="4055809" y="1348726"/>
                </a:lnTo>
                <a:lnTo>
                  <a:pt x="4059173" y="1353057"/>
                </a:lnTo>
                <a:lnTo>
                  <a:pt x="4059932" y="1350458"/>
                </a:lnTo>
                <a:lnTo>
                  <a:pt x="4064707" y="1345694"/>
                </a:lnTo>
                <a:lnTo>
                  <a:pt x="4069156" y="1346343"/>
                </a:lnTo>
                <a:lnTo>
                  <a:pt x="4069808" y="1350675"/>
                </a:lnTo>
                <a:lnTo>
                  <a:pt x="4067095" y="1352840"/>
                </a:lnTo>
                <a:lnTo>
                  <a:pt x="4067311" y="1355006"/>
                </a:lnTo>
                <a:lnTo>
                  <a:pt x="4072737" y="1354789"/>
                </a:lnTo>
                <a:lnTo>
                  <a:pt x="4074799" y="1351216"/>
                </a:lnTo>
                <a:lnTo>
                  <a:pt x="4073171" y="1349808"/>
                </a:lnTo>
                <a:lnTo>
                  <a:pt x="4076210" y="1347426"/>
                </a:lnTo>
                <a:lnTo>
                  <a:pt x="4082504" y="1345910"/>
                </a:lnTo>
                <a:lnTo>
                  <a:pt x="4085325" y="1342337"/>
                </a:lnTo>
                <a:lnTo>
                  <a:pt x="4081636" y="1338007"/>
                </a:lnTo>
                <a:lnTo>
                  <a:pt x="4082504" y="1334109"/>
                </a:lnTo>
                <a:lnTo>
                  <a:pt x="4079032" y="1339198"/>
                </a:lnTo>
                <a:lnTo>
                  <a:pt x="4080009" y="1341796"/>
                </a:lnTo>
                <a:lnTo>
                  <a:pt x="4077837" y="1343962"/>
                </a:lnTo>
                <a:lnTo>
                  <a:pt x="4073280" y="1342771"/>
                </a:lnTo>
                <a:lnTo>
                  <a:pt x="4075776" y="1340822"/>
                </a:lnTo>
                <a:lnTo>
                  <a:pt x="4076752" y="1338873"/>
                </a:lnTo>
                <a:lnTo>
                  <a:pt x="4074365" y="1338223"/>
                </a:lnTo>
                <a:lnTo>
                  <a:pt x="4069264" y="1342013"/>
                </a:lnTo>
                <a:lnTo>
                  <a:pt x="4065793" y="1342013"/>
                </a:lnTo>
                <a:lnTo>
                  <a:pt x="4064598" y="1339414"/>
                </a:lnTo>
                <a:lnTo>
                  <a:pt x="4061344" y="1340280"/>
                </a:lnTo>
                <a:lnTo>
                  <a:pt x="4061235" y="1343420"/>
                </a:lnTo>
                <a:lnTo>
                  <a:pt x="4057979" y="1345586"/>
                </a:lnTo>
                <a:lnTo>
                  <a:pt x="4056243" y="1344286"/>
                </a:lnTo>
                <a:lnTo>
                  <a:pt x="4051251" y="1342987"/>
                </a:lnTo>
                <a:lnTo>
                  <a:pt x="4044089" y="1343962"/>
                </a:lnTo>
                <a:lnTo>
                  <a:pt x="4041267" y="1346127"/>
                </a:lnTo>
                <a:lnTo>
                  <a:pt x="4035842" y="1346343"/>
                </a:lnTo>
                <a:lnTo>
                  <a:pt x="4034214" y="1343637"/>
                </a:lnTo>
                <a:lnTo>
                  <a:pt x="4032044" y="1342121"/>
                </a:lnTo>
                <a:lnTo>
                  <a:pt x="4031501" y="1339955"/>
                </a:lnTo>
                <a:lnTo>
                  <a:pt x="4033454" y="1339414"/>
                </a:lnTo>
                <a:lnTo>
                  <a:pt x="4037469" y="1337141"/>
                </a:lnTo>
                <a:lnTo>
                  <a:pt x="4034865" y="1337141"/>
                </a:lnTo>
                <a:lnTo>
                  <a:pt x="4031393" y="1335625"/>
                </a:lnTo>
                <a:lnTo>
                  <a:pt x="4031609" y="1334218"/>
                </a:lnTo>
                <a:lnTo>
                  <a:pt x="4033563" y="1334759"/>
                </a:lnTo>
                <a:lnTo>
                  <a:pt x="4035407" y="1333784"/>
                </a:lnTo>
                <a:lnTo>
                  <a:pt x="4042135" y="1333784"/>
                </a:lnTo>
                <a:lnTo>
                  <a:pt x="4046802" y="1330536"/>
                </a:lnTo>
                <a:lnTo>
                  <a:pt x="4040508" y="1330536"/>
                </a:lnTo>
                <a:lnTo>
                  <a:pt x="4037904" y="1332269"/>
                </a:lnTo>
                <a:lnTo>
                  <a:pt x="4034106" y="1331510"/>
                </a:lnTo>
                <a:lnTo>
                  <a:pt x="4037035" y="1328263"/>
                </a:lnTo>
                <a:lnTo>
                  <a:pt x="4029331" y="1324798"/>
                </a:lnTo>
                <a:lnTo>
                  <a:pt x="4029656" y="1322849"/>
                </a:lnTo>
                <a:lnTo>
                  <a:pt x="4034757" y="1322091"/>
                </a:lnTo>
                <a:lnTo>
                  <a:pt x="4038338" y="1319059"/>
                </a:lnTo>
                <a:lnTo>
                  <a:pt x="4040508" y="1319925"/>
                </a:lnTo>
                <a:lnTo>
                  <a:pt x="4045174" y="1318627"/>
                </a:lnTo>
                <a:lnTo>
                  <a:pt x="4052553" y="1322416"/>
                </a:lnTo>
                <a:lnTo>
                  <a:pt x="4054941" y="1321225"/>
                </a:lnTo>
                <a:lnTo>
                  <a:pt x="4061126" y="1322091"/>
                </a:lnTo>
                <a:lnTo>
                  <a:pt x="4065575" y="1317543"/>
                </a:lnTo>
                <a:lnTo>
                  <a:pt x="4062212" y="1317543"/>
                </a:lnTo>
                <a:lnTo>
                  <a:pt x="4060041" y="1319168"/>
                </a:lnTo>
                <a:lnTo>
                  <a:pt x="4053096" y="1319168"/>
                </a:lnTo>
                <a:lnTo>
                  <a:pt x="4048646" y="1316353"/>
                </a:lnTo>
                <a:lnTo>
                  <a:pt x="4041593" y="1314837"/>
                </a:lnTo>
                <a:lnTo>
                  <a:pt x="4036276" y="1316461"/>
                </a:lnTo>
                <a:lnTo>
                  <a:pt x="4034322" y="1314512"/>
                </a:lnTo>
                <a:lnTo>
                  <a:pt x="4036276" y="1311805"/>
                </a:lnTo>
                <a:lnTo>
                  <a:pt x="4031826" y="1307691"/>
                </a:lnTo>
                <a:lnTo>
                  <a:pt x="4031284" y="1305092"/>
                </a:lnTo>
                <a:lnTo>
                  <a:pt x="4033454" y="1304443"/>
                </a:lnTo>
                <a:lnTo>
                  <a:pt x="4037469" y="1308016"/>
                </a:lnTo>
                <a:lnTo>
                  <a:pt x="4038664" y="1312347"/>
                </a:lnTo>
                <a:lnTo>
                  <a:pt x="4041593" y="1310398"/>
                </a:lnTo>
                <a:lnTo>
                  <a:pt x="4039423" y="1305851"/>
                </a:lnTo>
                <a:lnTo>
                  <a:pt x="4046260" y="1306067"/>
                </a:lnTo>
                <a:lnTo>
                  <a:pt x="4047561" y="1310506"/>
                </a:lnTo>
                <a:lnTo>
                  <a:pt x="4050058" y="1309423"/>
                </a:lnTo>
                <a:lnTo>
                  <a:pt x="4053747" y="1309099"/>
                </a:lnTo>
                <a:lnTo>
                  <a:pt x="4049190" y="1306067"/>
                </a:lnTo>
                <a:lnTo>
                  <a:pt x="4053747" y="1301303"/>
                </a:lnTo>
                <a:lnTo>
                  <a:pt x="4058956" y="1304660"/>
                </a:lnTo>
                <a:lnTo>
                  <a:pt x="4059607" y="1302278"/>
                </a:lnTo>
                <a:lnTo>
                  <a:pt x="4057979" y="1299246"/>
                </a:lnTo>
                <a:lnTo>
                  <a:pt x="4062320" y="1298488"/>
                </a:lnTo>
                <a:lnTo>
                  <a:pt x="4066335" y="1299896"/>
                </a:lnTo>
                <a:lnTo>
                  <a:pt x="4066552" y="1306067"/>
                </a:lnTo>
                <a:lnTo>
                  <a:pt x="4067963" y="1307908"/>
                </a:lnTo>
                <a:lnTo>
                  <a:pt x="4071435" y="1306067"/>
                </a:lnTo>
                <a:lnTo>
                  <a:pt x="4069373" y="1302927"/>
                </a:lnTo>
                <a:lnTo>
                  <a:pt x="4071001" y="1299246"/>
                </a:lnTo>
                <a:lnTo>
                  <a:pt x="4065250" y="1296106"/>
                </a:lnTo>
                <a:lnTo>
                  <a:pt x="4060584" y="1293074"/>
                </a:lnTo>
                <a:lnTo>
                  <a:pt x="4053096" y="1291992"/>
                </a:lnTo>
                <a:lnTo>
                  <a:pt x="4052011" y="1290151"/>
                </a:lnTo>
                <a:lnTo>
                  <a:pt x="4055700" y="1287986"/>
                </a:lnTo>
                <a:lnTo>
                  <a:pt x="4057654" y="1289285"/>
                </a:lnTo>
                <a:lnTo>
                  <a:pt x="4060584" y="1287445"/>
                </a:lnTo>
                <a:lnTo>
                  <a:pt x="4063948" y="1290476"/>
                </a:lnTo>
                <a:lnTo>
                  <a:pt x="4066335" y="1288527"/>
                </a:lnTo>
                <a:lnTo>
                  <a:pt x="4068288" y="1288527"/>
                </a:lnTo>
                <a:lnTo>
                  <a:pt x="4072303" y="1293724"/>
                </a:lnTo>
                <a:lnTo>
                  <a:pt x="4076970" y="1295023"/>
                </a:lnTo>
                <a:lnTo>
                  <a:pt x="4079682" y="1291125"/>
                </a:lnTo>
                <a:lnTo>
                  <a:pt x="4086628" y="1288202"/>
                </a:lnTo>
                <a:lnTo>
                  <a:pt x="4088038" y="1285712"/>
                </a:lnTo>
                <a:lnTo>
                  <a:pt x="4085325" y="1285712"/>
                </a:lnTo>
                <a:lnTo>
                  <a:pt x="4079357" y="1288527"/>
                </a:lnTo>
                <a:lnTo>
                  <a:pt x="4077512" y="1287445"/>
                </a:lnTo>
                <a:lnTo>
                  <a:pt x="4080985" y="1285062"/>
                </a:lnTo>
                <a:lnTo>
                  <a:pt x="4079682" y="1283547"/>
                </a:lnTo>
                <a:lnTo>
                  <a:pt x="4071978" y="1285821"/>
                </a:lnTo>
                <a:lnTo>
                  <a:pt x="4068288" y="1282031"/>
                </a:lnTo>
                <a:lnTo>
                  <a:pt x="4070893" y="1279649"/>
                </a:lnTo>
                <a:lnTo>
                  <a:pt x="4070133" y="1276076"/>
                </a:lnTo>
                <a:lnTo>
                  <a:pt x="4071978" y="1273911"/>
                </a:lnTo>
                <a:lnTo>
                  <a:pt x="4074257" y="1275860"/>
                </a:lnTo>
                <a:lnTo>
                  <a:pt x="4079032" y="1275860"/>
                </a:lnTo>
                <a:lnTo>
                  <a:pt x="4082830" y="1278783"/>
                </a:lnTo>
                <a:lnTo>
                  <a:pt x="4085651" y="1276942"/>
                </a:lnTo>
                <a:lnTo>
                  <a:pt x="4091836" y="1283872"/>
                </a:lnTo>
                <a:lnTo>
                  <a:pt x="4098347" y="1286362"/>
                </a:lnTo>
                <a:lnTo>
                  <a:pt x="4102363" y="1286254"/>
                </a:lnTo>
                <a:lnTo>
                  <a:pt x="4100300" y="1283980"/>
                </a:lnTo>
                <a:lnTo>
                  <a:pt x="4096502" y="1283547"/>
                </a:lnTo>
                <a:lnTo>
                  <a:pt x="4092162" y="1280190"/>
                </a:lnTo>
                <a:lnTo>
                  <a:pt x="4088038" y="1274668"/>
                </a:lnTo>
                <a:lnTo>
                  <a:pt x="4088798" y="1271095"/>
                </a:lnTo>
                <a:lnTo>
                  <a:pt x="4090426" y="1270879"/>
                </a:lnTo>
                <a:lnTo>
                  <a:pt x="4091294" y="1273694"/>
                </a:lnTo>
                <a:lnTo>
                  <a:pt x="4095417" y="1277376"/>
                </a:lnTo>
                <a:lnTo>
                  <a:pt x="4099650" y="1277376"/>
                </a:lnTo>
                <a:lnTo>
                  <a:pt x="4100518" y="1280623"/>
                </a:lnTo>
                <a:lnTo>
                  <a:pt x="4105943" y="1282248"/>
                </a:lnTo>
                <a:lnTo>
                  <a:pt x="4106161" y="1279325"/>
                </a:lnTo>
                <a:lnTo>
                  <a:pt x="4103448" y="1278242"/>
                </a:lnTo>
                <a:lnTo>
                  <a:pt x="4104641" y="1274993"/>
                </a:lnTo>
                <a:lnTo>
                  <a:pt x="4098564" y="1274993"/>
                </a:lnTo>
                <a:lnTo>
                  <a:pt x="4093247" y="1271962"/>
                </a:lnTo>
                <a:lnTo>
                  <a:pt x="4093789" y="1269797"/>
                </a:lnTo>
                <a:lnTo>
                  <a:pt x="4097045" y="1269797"/>
                </a:lnTo>
                <a:lnTo>
                  <a:pt x="4099215" y="1271962"/>
                </a:lnTo>
                <a:lnTo>
                  <a:pt x="4101386" y="1269255"/>
                </a:lnTo>
                <a:lnTo>
                  <a:pt x="4106269" y="1266115"/>
                </a:lnTo>
                <a:lnTo>
                  <a:pt x="4105075" y="1264924"/>
                </a:lnTo>
                <a:lnTo>
                  <a:pt x="4102688" y="1266007"/>
                </a:lnTo>
                <a:lnTo>
                  <a:pt x="4100192" y="1265466"/>
                </a:lnTo>
                <a:lnTo>
                  <a:pt x="4104641" y="1261243"/>
                </a:lnTo>
                <a:lnTo>
                  <a:pt x="4108114" y="1260810"/>
                </a:lnTo>
                <a:lnTo>
                  <a:pt x="4112129" y="1262542"/>
                </a:lnTo>
                <a:lnTo>
                  <a:pt x="4118097" y="1257129"/>
                </a:lnTo>
                <a:lnTo>
                  <a:pt x="4112238" y="1257129"/>
                </a:lnTo>
                <a:lnTo>
                  <a:pt x="4112238" y="1254964"/>
                </a:lnTo>
                <a:lnTo>
                  <a:pt x="4116795" y="1254422"/>
                </a:lnTo>
                <a:lnTo>
                  <a:pt x="4118640" y="1251174"/>
                </a:lnTo>
                <a:lnTo>
                  <a:pt x="4121895" y="1251174"/>
                </a:lnTo>
                <a:lnTo>
                  <a:pt x="4125151" y="1255938"/>
                </a:lnTo>
                <a:lnTo>
                  <a:pt x="4125151" y="1260160"/>
                </a:lnTo>
                <a:lnTo>
                  <a:pt x="4127973" y="1263950"/>
                </a:lnTo>
                <a:lnTo>
                  <a:pt x="4126019" y="1265466"/>
                </a:lnTo>
                <a:lnTo>
                  <a:pt x="4123306" y="1268497"/>
                </a:lnTo>
                <a:lnTo>
                  <a:pt x="4126996" y="1266548"/>
                </a:lnTo>
                <a:lnTo>
                  <a:pt x="4130686" y="1264383"/>
                </a:lnTo>
                <a:lnTo>
                  <a:pt x="4130903" y="1260377"/>
                </a:lnTo>
                <a:lnTo>
                  <a:pt x="4133832" y="1257995"/>
                </a:lnTo>
                <a:lnTo>
                  <a:pt x="4138716" y="1257887"/>
                </a:lnTo>
                <a:lnTo>
                  <a:pt x="4142080" y="1261243"/>
                </a:lnTo>
                <a:lnTo>
                  <a:pt x="4146311" y="1261676"/>
                </a:lnTo>
                <a:lnTo>
                  <a:pt x="4146095" y="1257345"/>
                </a:lnTo>
                <a:lnTo>
                  <a:pt x="4148482" y="1254205"/>
                </a:lnTo>
                <a:lnTo>
                  <a:pt x="4144250" y="1252040"/>
                </a:lnTo>
                <a:lnTo>
                  <a:pt x="4150977" y="1245111"/>
                </a:lnTo>
                <a:lnTo>
                  <a:pt x="4154450" y="1244677"/>
                </a:lnTo>
                <a:lnTo>
                  <a:pt x="4156621" y="1241754"/>
                </a:lnTo>
                <a:lnTo>
                  <a:pt x="4150110" y="1239805"/>
                </a:lnTo>
                <a:lnTo>
                  <a:pt x="4150218" y="1236774"/>
                </a:lnTo>
                <a:lnTo>
                  <a:pt x="4156947" y="1232443"/>
                </a:lnTo>
                <a:lnTo>
                  <a:pt x="4154450" y="1232659"/>
                </a:lnTo>
                <a:lnTo>
                  <a:pt x="4150218" y="1231902"/>
                </a:lnTo>
                <a:lnTo>
                  <a:pt x="4148048" y="1233850"/>
                </a:lnTo>
                <a:lnTo>
                  <a:pt x="4146420" y="1234283"/>
                </a:lnTo>
                <a:lnTo>
                  <a:pt x="4145552" y="1239264"/>
                </a:lnTo>
                <a:lnTo>
                  <a:pt x="4142297" y="1243595"/>
                </a:lnTo>
                <a:lnTo>
                  <a:pt x="4146095" y="1242512"/>
                </a:lnTo>
                <a:lnTo>
                  <a:pt x="4146095" y="1245760"/>
                </a:lnTo>
                <a:lnTo>
                  <a:pt x="4138824" y="1252798"/>
                </a:lnTo>
                <a:lnTo>
                  <a:pt x="4133398" y="1253556"/>
                </a:lnTo>
                <a:lnTo>
                  <a:pt x="4128406" y="1256479"/>
                </a:lnTo>
                <a:lnTo>
                  <a:pt x="4125693" y="1252798"/>
                </a:lnTo>
                <a:lnTo>
                  <a:pt x="4126019" y="1248142"/>
                </a:lnTo>
                <a:lnTo>
                  <a:pt x="4129058" y="1246843"/>
                </a:lnTo>
                <a:lnTo>
                  <a:pt x="4129491" y="1244136"/>
                </a:lnTo>
                <a:lnTo>
                  <a:pt x="4126996" y="1243920"/>
                </a:lnTo>
                <a:lnTo>
                  <a:pt x="4122221" y="1247060"/>
                </a:lnTo>
                <a:lnTo>
                  <a:pt x="4120919" y="1245219"/>
                </a:lnTo>
                <a:lnTo>
                  <a:pt x="4125151" y="1241213"/>
                </a:lnTo>
                <a:lnTo>
                  <a:pt x="4128190" y="1238723"/>
                </a:lnTo>
                <a:lnTo>
                  <a:pt x="4128949" y="1233850"/>
                </a:lnTo>
                <a:lnTo>
                  <a:pt x="4128406" y="1232226"/>
                </a:lnTo>
                <a:lnTo>
                  <a:pt x="4132531" y="1229520"/>
                </a:lnTo>
                <a:lnTo>
                  <a:pt x="4132204" y="1224648"/>
                </a:lnTo>
                <a:lnTo>
                  <a:pt x="4134484" y="1223457"/>
                </a:lnTo>
                <a:lnTo>
                  <a:pt x="4139909" y="1223457"/>
                </a:lnTo>
                <a:lnTo>
                  <a:pt x="4138716" y="1221075"/>
                </a:lnTo>
                <a:lnTo>
                  <a:pt x="4139258" y="1218368"/>
                </a:lnTo>
                <a:lnTo>
                  <a:pt x="4141429" y="1216310"/>
                </a:lnTo>
                <a:lnTo>
                  <a:pt x="4140343" y="1213604"/>
                </a:lnTo>
                <a:lnTo>
                  <a:pt x="4143382" y="1213604"/>
                </a:lnTo>
                <a:lnTo>
                  <a:pt x="4144793" y="1211438"/>
                </a:lnTo>
                <a:lnTo>
                  <a:pt x="4147180" y="1212954"/>
                </a:lnTo>
                <a:lnTo>
                  <a:pt x="4147939" y="1216528"/>
                </a:lnTo>
                <a:lnTo>
                  <a:pt x="4151521" y="1216310"/>
                </a:lnTo>
                <a:lnTo>
                  <a:pt x="4153365" y="1212413"/>
                </a:lnTo>
                <a:lnTo>
                  <a:pt x="4156947" y="1210573"/>
                </a:lnTo>
                <a:lnTo>
                  <a:pt x="4152281" y="1209165"/>
                </a:lnTo>
                <a:lnTo>
                  <a:pt x="4151954" y="1207324"/>
                </a:lnTo>
                <a:lnTo>
                  <a:pt x="4154559" y="1203535"/>
                </a:lnTo>
                <a:lnTo>
                  <a:pt x="4160527" y="1202993"/>
                </a:lnTo>
                <a:lnTo>
                  <a:pt x="4161613" y="1201045"/>
                </a:lnTo>
                <a:lnTo>
                  <a:pt x="4158357" y="1199420"/>
                </a:lnTo>
                <a:lnTo>
                  <a:pt x="4161504" y="1196714"/>
                </a:lnTo>
                <a:lnTo>
                  <a:pt x="4165302" y="1195090"/>
                </a:lnTo>
                <a:lnTo>
                  <a:pt x="4165411" y="1192924"/>
                </a:lnTo>
                <a:lnTo>
                  <a:pt x="4168341" y="1191625"/>
                </a:lnTo>
                <a:lnTo>
                  <a:pt x="4171813" y="1191625"/>
                </a:lnTo>
                <a:lnTo>
                  <a:pt x="4175720" y="1187294"/>
                </a:lnTo>
                <a:lnTo>
                  <a:pt x="4178650" y="1186753"/>
                </a:lnTo>
                <a:lnTo>
                  <a:pt x="4180603" y="1181339"/>
                </a:lnTo>
                <a:lnTo>
                  <a:pt x="4178541" y="1181339"/>
                </a:lnTo>
                <a:lnTo>
                  <a:pt x="4176479" y="1184912"/>
                </a:lnTo>
                <a:lnTo>
                  <a:pt x="4173767" y="1185129"/>
                </a:lnTo>
                <a:lnTo>
                  <a:pt x="4172030" y="1181123"/>
                </a:lnTo>
                <a:lnTo>
                  <a:pt x="4172139" y="1177008"/>
                </a:lnTo>
                <a:lnTo>
                  <a:pt x="4170728" y="1176684"/>
                </a:lnTo>
                <a:lnTo>
                  <a:pt x="4170836" y="1172894"/>
                </a:lnTo>
                <a:lnTo>
                  <a:pt x="4173115" y="1171595"/>
                </a:lnTo>
                <a:lnTo>
                  <a:pt x="4178324" y="1175059"/>
                </a:lnTo>
                <a:lnTo>
                  <a:pt x="4178650" y="1172461"/>
                </a:lnTo>
                <a:lnTo>
                  <a:pt x="4177890" y="1170512"/>
                </a:lnTo>
                <a:lnTo>
                  <a:pt x="4173984" y="1169429"/>
                </a:lnTo>
                <a:lnTo>
                  <a:pt x="4173767" y="1165640"/>
                </a:lnTo>
                <a:lnTo>
                  <a:pt x="4175394" y="1164341"/>
                </a:lnTo>
                <a:lnTo>
                  <a:pt x="4177890" y="1166723"/>
                </a:lnTo>
                <a:lnTo>
                  <a:pt x="4179952" y="1166723"/>
                </a:lnTo>
                <a:lnTo>
                  <a:pt x="4179410" y="1163692"/>
                </a:lnTo>
                <a:lnTo>
                  <a:pt x="4177239" y="1161201"/>
                </a:lnTo>
                <a:lnTo>
                  <a:pt x="4178541" y="1160443"/>
                </a:lnTo>
                <a:lnTo>
                  <a:pt x="4178324" y="1157303"/>
                </a:lnTo>
                <a:lnTo>
                  <a:pt x="4180495" y="1154596"/>
                </a:lnTo>
                <a:lnTo>
                  <a:pt x="4182665" y="1154596"/>
                </a:lnTo>
                <a:lnTo>
                  <a:pt x="4185378" y="1157520"/>
                </a:lnTo>
                <a:lnTo>
                  <a:pt x="4185486" y="1153947"/>
                </a:lnTo>
                <a:lnTo>
                  <a:pt x="4183208" y="1151782"/>
                </a:lnTo>
                <a:lnTo>
                  <a:pt x="4182773" y="1148641"/>
                </a:lnTo>
                <a:lnTo>
                  <a:pt x="4178107" y="1148533"/>
                </a:lnTo>
                <a:lnTo>
                  <a:pt x="4176697" y="1147017"/>
                </a:lnTo>
                <a:lnTo>
                  <a:pt x="4181145" y="1142903"/>
                </a:lnTo>
                <a:lnTo>
                  <a:pt x="4187656" y="1142795"/>
                </a:lnTo>
                <a:lnTo>
                  <a:pt x="4189501" y="1144527"/>
                </a:lnTo>
                <a:lnTo>
                  <a:pt x="4193517" y="1144527"/>
                </a:lnTo>
                <a:lnTo>
                  <a:pt x="4193517" y="1142362"/>
                </a:lnTo>
                <a:lnTo>
                  <a:pt x="4196338" y="1139655"/>
                </a:lnTo>
                <a:lnTo>
                  <a:pt x="4192757" y="1141280"/>
                </a:lnTo>
                <a:lnTo>
                  <a:pt x="4190261" y="1140521"/>
                </a:lnTo>
                <a:lnTo>
                  <a:pt x="4189284" y="1137706"/>
                </a:lnTo>
                <a:lnTo>
                  <a:pt x="4182990" y="1135541"/>
                </a:lnTo>
                <a:lnTo>
                  <a:pt x="4180495" y="1134458"/>
                </a:lnTo>
                <a:lnTo>
                  <a:pt x="4181905" y="1131860"/>
                </a:lnTo>
                <a:lnTo>
                  <a:pt x="4181905" y="1129261"/>
                </a:lnTo>
                <a:lnTo>
                  <a:pt x="4183533" y="1130777"/>
                </a:lnTo>
                <a:lnTo>
                  <a:pt x="4186463" y="1130344"/>
                </a:lnTo>
                <a:lnTo>
                  <a:pt x="4188959" y="1128720"/>
                </a:lnTo>
                <a:lnTo>
                  <a:pt x="4186463" y="1128720"/>
                </a:lnTo>
                <a:lnTo>
                  <a:pt x="4185920" y="1126013"/>
                </a:lnTo>
                <a:lnTo>
                  <a:pt x="4187874" y="1124281"/>
                </a:lnTo>
                <a:lnTo>
                  <a:pt x="4184835" y="1121791"/>
                </a:lnTo>
                <a:lnTo>
                  <a:pt x="4186246" y="1120383"/>
                </a:lnTo>
                <a:lnTo>
                  <a:pt x="4186788" y="1121574"/>
                </a:lnTo>
                <a:lnTo>
                  <a:pt x="4191129" y="1122332"/>
                </a:lnTo>
                <a:lnTo>
                  <a:pt x="4192214" y="1120599"/>
                </a:lnTo>
                <a:lnTo>
                  <a:pt x="4189284" y="1117893"/>
                </a:lnTo>
                <a:lnTo>
                  <a:pt x="4190587" y="1116702"/>
                </a:lnTo>
                <a:lnTo>
                  <a:pt x="4192431" y="1117676"/>
                </a:lnTo>
                <a:lnTo>
                  <a:pt x="4195579" y="1116485"/>
                </a:lnTo>
                <a:lnTo>
                  <a:pt x="4192866" y="1113129"/>
                </a:lnTo>
                <a:lnTo>
                  <a:pt x="4189284" y="1111613"/>
                </a:lnTo>
                <a:lnTo>
                  <a:pt x="4189827" y="1109340"/>
                </a:lnTo>
                <a:lnTo>
                  <a:pt x="4193082" y="1109123"/>
                </a:lnTo>
                <a:lnTo>
                  <a:pt x="4198942" y="1106091"/>
                </a:lnTo>
                <a:lnTo>
                  <a:pt x="4200570" y="1107607"/>
                </a:lnTo>
                <a:lnTo>
                  <a:pt x="4204368" y="1105550"/>
                </a:lnTo>
                <a:lnTo>
                  <a:pt x="4204368" y="1101977"/>
                </a:lnTo>
                <a:lnTo>
                  <a:pt x="4210987" y="1100895"/>
                </a:lnTo>
                <a:lnTo>
                  <a:pt x="4213375" y="1099487"/>
                </a:lnTo>
                <a:lnTo>
                  <a:pt x="4218258" y="1099487"/>
                </a:lnTo>
                <a:lnTo>
                  <a:pt x="4224444" y="1103385"/>
                </a:lnTo>
                <a:lnTo>
                  <a:pt x="4224444" y="1100678"/>
                </a:lnTo>
                <a:lnTo>
                  <a:pt x="4221514" y="1099054"/>
                </a:lnTo>
                <a:lnTo>
                  <a:pt x="4220211" y="1095264"/>
                </a:lnTo>
                <a:lnTo>
                  <a:pt x="4216305" y="1096564"/>
                </a:lnTo>
                <a:lnTo>
                  <a:pt x="4213700" y="1094073"/>
                </a:lnTo>
                <a:lnTo>
                  <a:pt x="4209903" y="1096564"/>
                </a:lnTo>
                <a:lnTo>
                  <a:pt x="4205453" y="1094507"/>
                </a:lnTo>
                <a:lnTo>
                  <a:pt x="4205453" y="1091691"/>
                </a:lnTo>
                <a:lnTo>
                  <a:pt x="4209577" y="1088660"/>
                </a:lnTo>
                <a:lnTo>
                  <a:pt x="4213917" y="1088227"/>
                </a:lnTo>
                <a:lnTo>
                  <a:pt x="4210662" y="1085736"/>
                </a:lnTo>
                <a:lnTo>
                  <a:pt x="4213592" y="1082705"/>
                </a:lnTo>
                <a:lnTo>
                  <a:pt x="4215762" y="1082272"/>
                </a:lnTo>
                <a:lnTo>
                  <a:pt x="4219343" y="1086928"/>
                </a:lnTo>
                <a:lnTo>
                  <a:pt x="4222273" y="1086603"/>
                </a:lnTo>
                <a:lnTo>
                  <a:pt x="4225638" y="1089309"/>
                </a:lnTo>
                <a:lnTo>
                  <a:pt x="4225855" y="1085736"/>
                </a:lnTo>
                <a:lnTo>
                  <a:pt x="4220754" y="1082705"/>
                </a:lnTo>
                <a:lnTo>
                  <a:pt x="4218475" y="1079240"/>
                </a:lnTo>
                <a:lnTo>
                  <a:pt x="4219343" y="1074585"/>
                </a:lnTo>
                <a:lnTo>
                  <a:pt x="4225638" y="1073826"/>
                </a:lnTo>
                <a:lnTo>
                  <a:pt x="4223576" y="1070795"/>
                </a:lnTo>
                <a:lnTo>
                  <a:pt x="4219669" y="1070579"/>
                </a:lnTo>
                <a:lnTo>
                  <a:pt x="4215329" y="1075559"/>
                </a:lnTo>
                <a:lnTo>
                  <a:pt x="4211964" y="1076317"/>
                </a:lnTo>
                <a:lnTo>
                  <a:pt x="4214785" y="1072419"/>
                </a:lnTo>
                <a:lnTo>
                  <a:pt x="4211964" y="1069712"/>
                </a:lnTo>
                <a:lnTo>
                  <a:pt x="4213700" y="1065273"/>
                </a:lnTo>
                <a:lnTo>
                  <a:pt x="4217173" y="1065165"/>
                </a:lnTo>
                <a:lnTo>
                  <a:pt x="4219018" y="1066789"/>
                </a:lnTo>
                <a:lnTo>
                  <a:pt x="4227699" y="1065490"/>
                </a:lnTo>
                <a:lnTo>
                  <a:pt x="4229978" y="1061917"/>
                </a:lnTo>
                <a:lnTo>
                  <a:pt x="4225855" y="1059426"/>
                </a:lnTo>
                <a:lnTo>
                  <a:pt x="4220754" y="1059535"/>
                </a:lnTo>
                <a:lnTo>
                  <a:pt x="4217498" y="1056179"/>
                </a:lnTo>
                <a:lnTo>
                  <a:pt x="4221297" y="1051956"/>
                </a:lnTo>
                <a:lnTo>
                  <a:pt x="4224010" y="1052281"/>
                </a:lnTo>
                <a:lnTo>
                  <a:pt x="4222816" y="1054338"/>
                </a:lnTo>
                <a:lnTo>
                  <a:pt x="4224444" y="1057045"/>
                </a:lnTo>
                <a:lnTo>
                  <a:pt x="4227808" y="1056179"/>
                </a:lnTo>
                <a:lnTo>
                  <a:pt x="4231064" y="1052714"/>
                </a:lnTo>
                <a:lnTo>
                  <a:pt x="4234319" y="1056936"/>
                </a:lnTo>
                <a:lnTo>
                  <a:pt x="4234210" y="1061159"/>
                </a:lnTo>
                <a:lnTo>
                  <a:pt x="4236163" y="1064516"/>
                </a:lnTo>
                <a:lnTo>
                  <a:pt x="4237032" y="1062025"/>
                </a:lnTo>
                <a:lnTo>
                  <a:pt x="4236381" y="1058669"/>
                </a:lnTo>
                <a:lnTo>
                  <a:pt x="4237791" y="1055962"/>
                </a:lnTo>
                <a:lnTo>
                  <a:pt x="4239962" y="1055854"/>
                </a:lnTo>
                <a:lnTo>
                  <a:pt x="4238551" y="1052173"/>
                </a:lnTo>
                <a:lnTo>
                  <a:pt x="4234970" y="1049574"/>
                </a:lnTo>
                <a:lnTo>
                  <a:pt x="4237574" y="1049249"/>
                </a:lnTo>
                <a:lnTo>
                  <a:pt x="4241155" y="1051306"/>
                </a:lnTo>
                <a:lnTo>
                  <a:pt x="4242566" y="1048600"/>
                </a:lnTo>
                <a:lnTo>
                  <a:pt x="4241047" y="1046975"/>
                </a:lnTo>
                <a:lnTo>
                  <a:pt x="4245821" y="1046975"/>
                </a:lnTo>
                <a:lnTo>
                  <a:pt x="4247558" y="1049033"/>
                </a:lnTo>
                <a:lnTo>
                  <a:pt x="4251464" y="1048058"/>
                </a:lnTo>
                <a:lnTo>
                  <a:pt x="4252007" y="1051198"/>
                </a:lnTo>
                <a:lnTo>
                  <a:pt x="4253852" y="1053472"/>
                </a:lnTo>
                <a:lnTo>
                  <a:pt x="4254937" y="1052173"/>
                </a:lnTo>
                <a:lnTo>
                  <a:pt x="4255805" y="1045785"/>
                </a:lnTo>
                <a:lnTo>
                  <a:pt x="4258843" y="1042320"/>
                </a:lnTo>
                <a:lnTo>
                  <a:pt x="4258735" y="1039288"/>
                </a:lnTo>
                <a:lnTo>
                  <a:pt x="4256130" y="1039397"/>
                </a:lnTo>
                <a:lnTo>
                  <a:pt x="4251790" y="1041562"/>
                </a:lnTo>
                <a:lnTo>
                  <a:pt x="4249294" y="1040046"/>
                </a:lnTo>
                <a:lnTo>
                  <a:pt x="4238985" y="1042969"/>
                </a:lnTo>
                <a:lnTo>
                  <a:pt x="4235078" y="1041671"/>
                </a:lnTo>
                <a:lnTo>
                  <a:pt x="4237466" y="1037339"/>
                </a:lnTo>
                <a:lnTo>
                  <a:pt x="4242132" y="1036906"/>
                </a:lnTo>
                <a:lnTo>
                  <a:pt x="4243543" y="1035499"/>
                </a:lnTo>
                <a:lnTo>
                  <a:pt x="4242349" y="1033225"/>
                </a:lnTo>
                <a:lnTo>
                  <a:pt x="4245388" y="1029328"/>
                </a:lnTo>
                <a:lnTo>
                  <a:pt x="4248860" y="1028353"/>
                </a:lnTo>
                <a:lnTo>
                  <a:pt x="4250814" y="1030843"/>
                </a:lnTo>
                <a:lnTo>
                  <a:pt x="4253635" y="1030194"/>
                </a:lnTo>
                <a:lnTo>
                  <a:pt x="4252332" y="1029111"/>
                </a:lnTo>
                <a:lnTo>
                  <a:pt x="4252441" y="1026729"/>
                </a:lnTo>
                <a:lnTo>
                  <a:pt x="4255805" y="1026512"/>
                </a:lnTo>
                <a:lnTo>
                  <a:pt x="4257650" y="1024347"/>
                </a:lnTo>
                <a:lnTo>
                  <a:pt x="4255045" y="1022506"/>
                </a:lnTo>
                <a:lnTo>
                  <a:pt x="4257867" y="1020666"/>
                </a:lnTo>
                <a:lnTo>
                  <a:pt x="4261665" y="1020233"/>
                </a:lnTo>
                <a:lnTo>
                  <a:pt x="4258735" y="1016660"/>
                </a:lnTo>
                <a:lnTo>
                  <a:pt x="4255697" y="1017093"/>
                </a:lnTo>
                <a:lnTo>
                  <a:pt x="4254612" y="1016551"/>
                </a:lnTo>
                <a:lnTo>
                  <a:pt x="4259060" y="1011247"/>
                </a:lnTo>
                <a:lnTo>
                  <a:pt x="4262425" y="1010164"/>
                </a:lnTo>
                <a:lnTo>
                  <a:pt x="4266223" y="1012112"/>
                </a:lnTo>
                <a:lnTo>
                  <a:pt x="4266982" y="1006807"/>
                </a:lnTo>
                <a:lnTo>
                  <a:pt x="4264812" y="1004100"/>
                </a:lnTo>
                <a:lnTo>
                  <a:pt x="4265897" y="998145"/>
                </a:lnTo>
                <a:lnTo>
                  <a:pt x="4268610" y="996088"/>
                </a:lnTo>
                <a:lnTo>
                  <a:pt x="4269587" y="999770"/>
                </a:lnTo>
                <a:lnTo>
                  <a:pt x="4271432" y="1000853"/>
                </a:lnTo>
                <a:lnTo>
                  <a:pt x="4271974" y="1006374"/>
                </a:lnTo>
                <a:lnTo>
                  <a:pt x="4276532" y="1009622"/>
                </a:lnTo>
                <a:lnTo>
                  <a:pt x="4273819" y="1005075"/>
                </a:lnTo>
                <a:lnTo>
                  <a:pt x="4277943" y="1003776"/>
                </a:lnTo>
                <a:lnTo>
                  <a:pt x="4281958" y="1004317"/>
                </a:lnTo>
                <a:lnTo>
                  <a:pt x="4280438" y="1002584"/>
                </a:lnTo>
                <a:lnTo>
                  <a:pt x="4277617" y="1002151"/>
                </a:lnTo>
                <a:lnTo>
                  <a:pt x="4271432" y="997496"/>
                </a:lnTo>
                <a:lnTo>
                  <a:pt x="4272191" y="994464"/>
                </a:lnTo>
                <a:lnTo>
                  <a:pt x="4278377" y="992407"/>
                </a:lnTo>
                <a:lnTo>
                  <a:pt x="4279787" y="993274"/>
                </a:lnTo>
                <a:lnTo>
                  <a:pt x="4282934" y="1001719"/>
                </a:lnTo>
                <a:lnTo>
                  <a:pt x="4287817" y="1003776"/>
                </a:lnTo>
                <a:lnTo>
                  <a:pt x="4289879" y="1010272"/>
                </a:lnTo>
                <a:lnTo>
                  <a:pt x="4292484" y="1005183"/>
                </a:lnTo>
                <a:lnTo>
                  <a:pt x="4290639" y="1001935"/>
                </a:lnTo>
                <a:lnTo>
                  <a:pt x="4284128" y="997280"/>
                </a:lnTo>
                <a:lnTo>
                  <a:pt x="4284453" y="993165"/>
                </a:lnTo>
                <a:lnTo>
                  <a:pt x="4282391" y="988510"/>
                </a:lnTo>
                <a:lnTo>
                  <a:pt x="4285539" y="982555"/>
                </a:lnTo>
                <a:lnTo>
                  <a:pt x="4290096" y="979631"/>
                </a:lnTo>
                <a:lnTo>
                  <a:pt x="4292484" y="980172"/>
                </a:lnTo>
                <a:lnTo>
                  <a:pt x="4294220" y="986669"/>
                </a:lnTo>
                <a:lnTo>
                  <a:pt x="4291941" y="991541"/>
                </a:lnTo>
                <a:lnTo>
                  <a:pt x="4292484" y="996088"/>
                </a:lnTo>
                <a:lnTo>
                  <a:pt x="4296173" y="991433"/>
                </a:lnTo>
                <a:lnTo>
                  <a:pt x="4295305" y="989051"/>
                </a:lnTo>
                <a:lnTo>
                  <a:pt x="4295413" y="983313"/>
                </a:lnTo>
                <a:lnTo>
                  <a:pt x="4300839" y="974651"/>
                </a:lnTo>
                <a:lnTo>
                  <a:pt x="4304204" y="972486"/>
                </a:lnTo>
                <a:lnTo>
                  <a:pt x="4306916" y="985911"/>
                </a:lnTo>
                <a:lnTo>
                  <a:pt x="4303552" y="992624"/>
                </a:lnTo>
                <a:lnTo>
                  <a:pt x="4304746" y="995872"/>
                </a:lnTo>
                <a:lnTo>
                  <a:pt x="4301165" y="998470"/>
                </a:lnTo>
                <a:lnTo>
                  <a:pt x="4301273" y="1000961"/>
                </a:lnTo>
                <a:lnTo>
                  <a:pt x="4306483" y="996847"/>
                </a:lnTo>
                <a:lnTo>
                  <a:pt x="4307568" y="993165"/>
                </a:lnTo>
                <a:lnTo>
                  <a:pt x="4310823" y="988401"/>
                </a:lnTo>
                <a:lnTo>
                  <a:pt x="4312885" y="990459"/>
                </a:lnTo>
                <a:lnTo>
                  <a:pt x="4316683" y="991000"/>
                </a:lnTo>
                <a:lnTo>
                  <a:pt x="4314621" y="986669"/>
                </a:lnTo>
                <a:lnTo>
                  <a:pt x="4309629" y="984395"/>
                </a:lnTo>
                <a:lnTo>
                  <a:pt x="4309412" y="980606"/>
                </a:lnTo>
                <a:lnTo>
                  <a:pt x="4313536" y="977033"/>
                </a:lnTo>
                <a:lnTo>
                  <a:pt x="4313645" y="974543"/>
                </a:lnTo>
                <a:lnTo>
                  <a:pt x="4317117" y="971619"/>
                </a:lnTo>
                <a:lnTo>
                  <a:pt x="4317985" y="977249"/>
                </a:lnTo>
                <a:lnTo>
                  <a:pt x="4321458" y="974326"/>
                </a:lnTo>
                <a:lnTo>
                  <a:pt x="4322760" y="970320"/>
                </a:lnTo>
                <a:lnTo>
                  <a:pt x="4325148" y="973243"/>
                </a:lnTo>
                <a:lnTo>
                  <a:pt x="4329271" y="974976"/>
                </a:lnTo>
                <a:lnTo>
                  <a:pt x="4332527" y="980281"/>
                </a:lnTo>
                <a:lnTo>
                  <a:pt x="4335673" y="982555"/>
                </a:lnTo>
                <a:lnTo>
                  <a:pt x="4336107" y="979307"/>
                </a:lnTo>
                <a:lnTo>
                  <a:pt x="4332527" y="974435"/>
                </a:lnTo>
                <a:lnTo>
                  <a:pt x="4332309" y="970320"/>
                </a:lnTo>
                <a:lnTo>
                  <a:pt x="4334697" y="965881"/>
                </a:lnTo>
                <a:lnTo>
                  <a:pt x="4329271" y="965448"/>
                </a:lnTo>
                <a:lnTo>
                  <a:pt x="4327209" y="963066"/>
                </a:lnTo>
                <a:lnTo>
                  <a:pt x="4323520" y="963174"/>
                </a:lnTo>
                <a:lnTo>
                  <a:pt x="4318311" y="957003"/>
                </a:lnTo>
                <a:lnTo>
                  <a:pt x="4318528" y="955054"/>
                </a:lnTo>
                <a:lnTo>
                  <a:pt x="4322868" y="954080"/>
                </a:lnTo>
                <a:lnTo>
                  <a:pt x="4326558" y="950723"/>
                </a:lnTo>
                <a:lnTo>
                  <a:pt x="4328186" y="953863"/>
                </a:lnTo>
                <a:lnTo>
                  <a:pt x="4330573" y="950940"/>
                </a:lnTo>
                <a:lnTo>
                  <a:pt x="4332743" y="951048"/>
                </a:lnTo>
                <a:lnTo>
                  <a:pt x="4340014" y="956786"/>
                </a:lnTo>
                <a:lnTo>
                  <a:pt x="4345331" y="957111"/>
                </a:lnTo>
                <a:lnTo>
                  <a:pt x="4349347" y="956678"/>
                </a:lnTo>
                <a:lnTo>
                  <a:pt x="4353036" y="958627"/>
                </a:lnTo>
                <a:lnTo>
                  <a:pt x="4350432" y="961550"/>
                </a:lnTo>
                <a:lnTo>
                  <a:pt x="4353253" y="962308"/>
                </a:lnTo>
                <a:lnTo>
                  <a:pt x="4354772" y="968588"/>
                </a:lnTo>
                <a:lnTo>
                  <a:pt x="4360632" y="969129"/>
                </a:lnTo>
                <a:lnTo>
                  <a:pt x="4362586" y="967072"/>
                </a:lnTo>
                <a:lnTo>
                  <a:pt x="4360958" y="965340"/>
                </a:lnTo>
                <a:lnTo>
                  <a:pt x="4357377" y="963607"/>
                </a:lnTo>
                <a:lnTo>
                  <a:pt x="4360090" y="960901"/>
                </a:lnTo>
                <a:lnTo>
                  <a:pt x="4356508" y="957111"/>
                </a:lnTo>
                <a:lnTo>
                  <a:pt x="4357485" y="953646"/>
                </a:lnTo>
                <a:lnTo>
                  <a:pt x="4361934" y="950723"/>
                </a:lnTo>
                <a:lnTo>
                  <a:pt x="4359981" y="949424"/>
                </a:lnTo>
                <a:lnTo>
                  <a:pt x="4359981" y="947583"/>
                </a:lnTo>
                <a:lnTo>
                  <a:pt x="4363128" y="946284"/>
                </a:lnTo>
                <a:lnTo>
                  <a:pt x="4365624" y="941303"/>
                </a:lnTo>
                <a:lnTo>
                  <a:pt x="4367794" y="941087"/>
                </a:lnTo>
                <a:lnTo>
                  <a:pt x="4372027" y="943902"/>
                </a:lnTo>
                <a:lnTo>
                  <a:pt x="4373545" y="942386"/>
                </a:lnTo>
                <a:lnTo>
                  <a:pt x="4372135" y="940546"/>
                </a:lnTo>
                <a:lnTo>
                  <a:pt x="4372460" y="938056"/>
                </a:lnTo>
                <a:lnTo>
                  <a:pt x="4375282" y="935457"/>
                </a:lnTo>
                <a:lnTo>
                  <a:pt x="4377670" y="937839"/>
                </a:lnTo>
                <a:lnTo>
                  <a:pt x="4378971" y="936431"/>
                </a:lnTo>
                <a:lnTo>
                  <a:pt x="4377670" y="932425"/>
                </a:lnTo>
                <a:lnTo>
                  <a:pt x="4372244" y="928744"/>
                </a:lnTo>
                <a:lnTo>
                  <a:pt x="4371592" y="927012"/>
                </a:lnTo>
                <a:lnTo>
                  <a:pt x="4373654" y="925063"/>
                </a:lnTo>
                <a:lnTo>
                  <a:pt x="4376258" y="926579"/>
                </a:lnTo>
                <a:lnTo>
                  <a:pt x="4378211" y="928961"/>
                </a:lnTo>
                <a:lnTo>
                  <a:pt x="4379623" y="926146"/>
                </a:lnTo>
                <a:lnTo>
                  <a:pt x="4379080" y="920407"/>
                </a:lnTo>
                <a:lnTo>
                  <a:pt x="4381901" y="918891"/>
                </a:lnTo>
                <a:lnTo>
                  <a:pt x="4385808" y="919650"/>
                </a:lnTo>
                <a:lnTo>
                  <a:pt x="4388955" y="922789"/>
                </a:lnTo>
                <a:lnTo>
                  <a:pt x="4389063" y="926903"/>
                </a:lnTo>
                <a:lnTo>
                  <a:pt x="4391777" y="923872"/>
                </a:lnTo>
                <a:lnTo>
                  <a:pt x="4391125" y="919650"/>
                </a:lnTo>
                <a:lnTo>
                  <a:pt x="4393078" y="919000"/>
                </a:lnTo>
                <a:lnTo>
                  <a:pt x="4396876" y="922897"/>
                </a:lnTo>
                <a:lnTo>
                  <a:pt x="4400566" y="923222"/>
                </a:lnTo>
                <a:lnTo>
                  <a:pt x="4401001" y="925821"/>
                </a:lnTo>
                <a:lnTo>
                  <a:pt x="4399915" y="926579"/>
                </a:lnTo>
                <a:lnTo>
                  <a:pt x="4398721" y="931234"/>
                </a:lnTo>
                <a:lnTo>
                  <a:pt x="4391777" y="938922"/>
                </a:lnTo>
                <a:lnTo>
                  <a:pt x="4393730" y="943036"/>
                </a:lnTo>
                <a:lnTo>
                  <a:pt x="4392102" y="946176"/>
                </a:lnTo>
                <a:lnTo>
                  <a:pt x="4392862" y="950290"/>
                </a:lnTo>
                <a:lnTo>
                  <a:pt x="4388955" y="956570"/>
                </a:lnTo>
                <a:lnTo>
                  <a:pt x="4390365" y="959601"/>
                </a:lnTo>
                <a:lnTo>
                  <a:pt x="4390365" y="963715"/>
                </a:lnTo>
                <a:lnTo>
                  <a:pt x="4393513" y="962308"/>
                </a:lnTo>
                <a:lnTo>
                  <a:pt x="4399698" y="955487"/>
                </a:lnTo>
                <a:lnTo>
                  <a:pt x="4400349" y="950723"/>
                </a:lnTo>
                <a:lnTo>
                  <a:pt x="4399047" y="948233"/>
                </a:lnTo>
                <a:lnTo>
                  <a:pt x="4400458" y="942386"/>
                </a:lnTo>
                <a:lnTo>
                  <a:pt x="4406535" y="934158"/>
                </a:lnTo>
                <a:lnTo>
                  <a:pt x="4406643" y="928636"/>
                </a:lnTo>
                <a:lnTo>
                  <a:pt x="4412612" y="918783"/>
                </a:lnTo>
                <a:lnTo>
                  <a:pt x="4414890" y="918675"/>
                </a:lnTo>
                <a:lnTo>
                  <a:pt x="4416301" y="921057"/>
                </a:lnTo>
                <a:lnTo>
                  <a:pt x="4416301" y="928203"/>
                </a:lnTo>
                <a:lnTo>
                  <a:pt x="4413588" y="930909"/>
                </a:lnTo>
                <a:lnTo>
                  <a:pt x="4413154" y="933075"/>
                </a:lnTo>
                <a:lnTo>
                  <a:pt x="4416953" y="934483"/>
                </a:lnTo>
                <a:lnTo>
                  <a:pt x="4413046" y="942819"/>
                </a:lnTo>
                <a:lnTo>
                  <a:pt x="4413372" y="947367"/>
                </a:lnTo>
                <a:lnTo>
                  <a:pt x="4416410" y="945201"/>
                </a:lnTo>
                <a:lnTo>
                  <a:pt x="4417061" y="943360"/>
                </a:lnTo>
                <a:lnTo>
                  <a:pt x="4419882" y="941195"/>
                </a:lnTo>
                <a:lnTo>
                  <a:pt x="4422921" y="943360"/>
                </a:lnTo>
                <a:lnTo>
                  <a:pt x="4424223" y="941845"/>
                </a:lnTo>
                <a:lnTo>
                  <a:pt x="4422704" y="937189"/>
                </a:lnTo>
                <a:lnTo>
                  <a:pt x="4425417" y="935457"/>
                </a:lnTo>
                <a:lnTo>
                  <a:pt x="4424549" y="934050"/>
                </a:lnTo>
                <a:lnTo>
                  <a:pt x="4424549" y="930909"/>
                </a:lnTo>
                <a:lnTo>
                  <a:pt x="4427370" y="929393"/>
                </a:lnTo>
                <a:lnTo>
                  <a:pt x="4427370" y="926146"/>
                </a:lnTo>
                <a:lnTo>
                  <a:pt x="4430192" y="924846"/>
                </a:lnTo>
                <a:lnTo>
                  <a:pt x="4430625" y="922897"/>
                </a:lnTo>
                <a:lnTo>
                  <a:pt x="4428889" y="921273"/>
                </a:lnTo>
                <a:lnTo>
                  <a:pt x="4425308" y="921165"/>
                </a:lnTo>
                <a:lnTo>
                  <a:pt x="4424223" y="919433"/>
                </a:lnTo>
                <a:lnTo>
                  <a:pt x="4425417" y="915427"/>
                </a:lnTo>
                <a:lnTo>
                  <a:pt x="4427912" y="913153"/>
                </a:lnTo>
                <a:lnTo>
                  <a:pt x="4431277" y="917917"/>
                </a:lnTo>
                <a:lnTo>
                  <a:pt x="4433338" y="917917"/>
                </a:lnTo>
                <a:lnTo>
                  <a:pt x="4435183" y="915319"/>
                </a:lnTo>
                <a:lnTo>
                  <a:pt x="4432362" y="911746"/>
                </a:lnTo>
                <a:lnTo>
                  <a:pt x="4432253" y="909581"/>
                </a:lnTo>
                <a:lnTo>
                  <a:pt x="4435617" y="906332"/>
                </a:lnTo>
                <a:lnTo>
                  <a:pt x="4438330" y="908606"/>
                </a:lnTo>
                <a:lnTo>
                  <a:pt x="4440934" y="908930"/>
                </a:lnTo>
                <a:lnTo>
                  <a:pt x="4443973" y="906224"/>
                </a:lnTo>
                <a:lnTo>
                  <a:pt x="4445167" y="909364"/>
                </a:lnTo>
                <a:lnTo>
                  <a:pt x="4444299" y="912828"/>
                </a:lnTo>
                <a:lnTo>
                  <a:pt x="4446469" y="914236"/>
                </a:lnTo>
                <a:lnTo>
                  <a:pt x="4451135" y="913045"/>
                </a:lnTo>
                <a:lnTo>
                  <a:pt x="4451895" y="916077"/>
                </a:lnTo>
                <a:lnTo>
                  <a:pt x="4449073" y="923548"/>
                </a:lnTo>
                <a:lnTo>
                  <a:pt x="4443973" y="923548"/>
                </a:lnTo>
                <a:lnTo>
                  <a:pt x="4442563" y="922140"/>
                </a:lnTo>
                <a:lnTo>
                  <a:pt x="4439198" y="923222"/>
                </a:lnTo>
                <a:lnTo>
                  <a:pt x="4439958" y="925063"/>
                </a:lnTo>
                <a:lnTo>
                  <a:pt x="4444081" y="926038"/>
                </a:lnTo>
                <a:lnTo>
                  <a:pt x="4443864" y="927986"/>
                </a:lnTo>
                <a:lnTo>
                  <a:pt x="4440826" y="930477"/>
                </a:lnTo>
                <a:lnTo>
                  <a:pt x="4440175" y="932534"/>
                </a:lnTo>
                <a:lnTo>
                  <a:pt x="4442888" y="933400"/>
                </a:lnTo>
                <a:lnTo>
                  <a:pt x="4447554" y="929827"/>
                </a:lnTo>
                <a:lnTo>
                  <a:pt x="4449290" y="929611"/>
                </a:lnTo>
                <a:lnTo>
                  <a:pt x="4449833" y="931884"/>
                </a:lnTo>
                <a:lnTo>
                  <a:pt x="4447662" y="936323"/>
                </a:lnTo>
                <a:lnTo>
                  <a:pt x="4444081" y="937297"/>
                </a:lnTo>
                <a:lnTo>
                  <a:pt x="4439632" y="943577"/>
                </a:lnTo>
                <a:lnTo>
                  <a:pt x="4445384" y="940979"/>
                </a:lnTo>
                <a:lnTo>
                  <a:pt x="4449290" y="941628"/>
                </a:lnTo>
                <a:lnTo>
                  <a:pt x="4449942" y="940113"/>
                </a:lnTo>
                <a:lnTo>
                  <a:pt x="4452871" y="940437"/>
                </a:lnTo>
                <a:lnTo>
                  <a:pt x="4454825" y="944552"/>
                </a:lnTo>
                <a:lnTo>
                  <a:pt x="4457321" y="942278"/>
                </a:lnTo>
                <a:lnTo>
                  <a:pt x="4457646" y="939354"/>
                </a:lnTo>
                <a:lnTo>
                  <a:pt x="4454933" y="932534"/>
                </a:lnTo>
                <a:lnTo>
                  <a:pt x="4455258" y="930260"/>
                </a:lnTo>
                <a:lnTo>
                  <a:pt x="4458514" y="928961"/>
                </a:lnTo>
                <a:lnTo>
                  <a:pt x="4459165" y="922356"/>
                </a:lnTo>
                <a:lnTo>
                  <a:pt x="4461987" y="920732"/>
                </a:lnTo>
                <a:lnTo>
                  <a:pt x="4466436" y="920840"/>
                </a:lnTo>
                <a:lnTo>
                  <a:pt x="4470994" y="923548"/>
                </a:lnTo>
                <a:lnTo>
                  <a:pt x="4470994" y="926362"/>
                </a:lnTo>
                <a:lnTo>
                  <a:pt x="4467955" y="928528"/>
                </a:lnTo>
                <a:lnTo>
                  <a:pt x="4468715" y="930909"/>
                </a:lnTo>
                <a:lnTo>
                  <a:pt x="4470885" y="931126"/>
                </a:lnTo>
                <a:lnTo>
                  <a:pt x="4472730" y="928311"/>
                </a:lnTo>
                <a:lnTo>
                  <a:pt x="4474791" y="927986"/>
                </a:lnTo>
                <a:lnTo>
                  <a:pt x="4474358" y="931776"/>
                </a:lnTo>
                <a:lnTo>
                  <a:pt x="4476094" y="931776"/>
                </a:lnTo>
                <a:lnTo>
                  <a:pt x="4479241" y="926470"/>
                </a:lnTo>
                <a:lnTo>
                  <a:pt x="4482496" y="926254"/>
                </a:lnTo>
                <a:lnTo>
                  <a:pt x="4483473" y="927554"/>
                </a:lnTo>
                <a:lnTo>
                  <a:pt x="4488030" y="929285"/>
                </a:lnTo>
                <a:lnTo>
                  <a:pt x="4487380" y="932534"/>
                </a:lnTo>
                <a:lnTo>
                  <a:pt x="4483582" y="935024"/>
                </a:lnTo>
                <a:lnTo>
                  <a:pt x="4484341" y="936648"/>
                </a:lnTo>
                <a:lnTo>
                  <a:pt x="4486728" y="936648"/>
                </a:lnTo>
                <a:lnTo>
                  <a:pt x="4490527" y="932425"/>
                </a:lnTo>
                <a:lnTo>
                  <a:pt x="4493782" y="932425"/>
                </a:lnTo>
                <a:lnTo>
                  <a:pt x="4499534" y="937297"/>
                </a:lnTo>
                <a:lnTo>
                  <a:pt x="4503766" y="936540"/>
                </a:lnTo>
                <a:lnTo>
                  <a:pt x="4507021" y="937622"/>
                </a:lnTo>
                <a:lnTo>
                  <a:pt x="4507998" y="939463"/>
                </a:lnTo>
                <a:lnTo>
                  <a:pt x="4510819" y="940437"/>
                </a:lnTo>
                <a:lnTo>
                  <a:pt x="4510819" y="941845"/>
                </a:lnTo>
                <a:lnTo>
                  <a:pt x="4507021" y="945093"/>
                </a:lnTo>
                <a:lnTo>
                  <a:pt x="4498014" y="947367"/>
                </a:lnTo>
                <a:lnTo>
                  <a:pt x="4493782" y="955920"/>
                </a:lnTo>
                <a:lnTo>
                  <a:pt x="4487162" y="958086"/>
                </a:lnTo>
                <a:lnTo>
                  <a:pt x="4477830" y="956895"/>
                </a:lnTo>
                <a:lnTo>
                  <a:pt x="4472947" y="955920"/>
                </a:lnTo>
                <a:lnTo>
                  <a:pt x="4467087" y="956678"/>
                </a:lnTo>
                <a:lnTo>
                  <a:pt x="4460033" y="954837"/>
                </a:lnTo>
                <a:lnTo>
                  <a:pt x="4459057" y="955703"/>
                </a:lnTo>
                <a:lnTo>
                  <a:pt x="4461878" y="959385"/>
                </a:lnTo>
                <a:lnTo>
                  <a:pt x="4467521" y="960034"/>
                </a:lnTo>
                <a:lnTo>
                  <a:pt x="4470885" y="961442"/>
                </a:lnTo>
                <a:lnTo>
                  <a:pt x="4474900" y="960901"/>
                </a:lnTo>
                <a:lnTo>
                  <a:pt x="4476745" y="961983"/>
                </a:lnTo>
                <a:lnTo>
                  <a:pt x="4478698" y="967180"/>
                </a:lnTo>
                <a:lnTo>
                  <a:pt x="4480434" y="967505"/>
                </a:lnTo>
                <a:lnTo>
                  <a:pt x="4481628" y="972594"/>
                </a:lnTo>
                <a:lnTo>
                  <a:pt x="4482822" y="976384"/>
                </a:lnTo>
                <a:lnTo>
                  <a:pt x="4484015" y="973785"/>
                </a:lnTo>
                <a:lnTo>
                  <a:pt x="4487488" y="971511"/>
                </a:lnTo>
                <a:lnTo>
                  <a:pt x="4489550" y="974868"/>
                </a:lnTo>
                <a:lnTo>
                  <a:pt x="4491287" y="975950"/>
                </a:lnTo>
                <a:lnTo>
                  <a:pt x="4491937" y="970862"/>
                </a:lnTo>
                <a:lnTo>
                  <a:pt x="4491395" y="968263"/>
                </a:lnTo>
                <a:lnTo>
                  <a:pt x="4494000" y="968371"/>
                </a:lnTo>
                <a:lnTo>
                  <a:pt x="4495193" y="971078"/>
                </a:lnTo>
                <a:lnTo>
                  <a:pt x="4497038" y="972919"/>
                </a:lnTo>
                <a:lnTo>
                  <a:pt x="4497254" y="970212"/>
                </a:lnTo>
                <a:lnTo>
                  <a:pt x="4498882" y="969237"/>
                </a:lnTo>
                <a:lnTo>
                  <a:pt x="4500727" y="969237"/>
                </a:lnTo>
                <a:lnTo>
                  <a:pt x="4504200" y="971944"/>
                </a:lnTo>
                <a:lnTo>
                  <a:pt x="4504417" y="971962"/>
                </a:lnTo>
                <a:lnTo>
                  <a:pt x="4504417" y="971837"/>
                </a:lnTo>
                <a:lnTo>
                  <a:pt x="4509517" y="972487"/>
                </a:lnTo>
                <a:lnTo>
                  <a:pt x="4511471" y="974327"/>
                </a:lnTo>
                <a:lnTo>
                  <a:pt x="4511471" y="978983"/>
                </a:lnTo>
                <a:lnTo>
                  <a:pt x="4513532" y="982015"/>
                </a:lnTo>
                <a:lnTo>
                  <a:pt x="4514183" y="976060"/>
                </a:lnTo>
                <a:lnTo>
                  <a:pt x="4516137" y="972920"/>
                </a:lnTo>
                <a:lnTo>
                  <a:pt x="4519284" y="972920"/>
                </a:lnTo>
                <a:lnTo>
                  <a:pt x="4521345" y="971837"/>
                </a:lnTo>
                <a:lnTo>
                  <a:pt x="4517331" y="969022"/>
                </a:lnTo>
                <a:lnTo>
                  <a:pt x="4517331" y="967181"/>
                </a:lnTo>
                <a:lnTo>
                  <a:pt x="4520044" y="967181"/>
                </a:lnTo>
                <a:lnTo>
                  <a:pt x="4522973" y="966532"/>
                </a:lnTo>
                <a:lnTo>
                  <a:pt x="4522973" y="964691"/>
                </a:lnTo>
                <a:lnTo>
                  <a:pt x="4521562" y="964691"/>
                </a:lnTo>
                <a:lnTo>
                  <a:pt x="4519935" y="961985"/>
                </a:lnTo>
                <a:lnTo>
                  <a:pt x="4520912" y="960469"/>
                </a:lnTo>
                <a:lnTo>
                  <a:pt x="4525469" y="960469"/>
                </a:lnTo>
                <a:lnTo>
                  <a:pt x="4530244" y="962742"/>
                </a:lnTo>
                <a:lnTo>
                  <a:pt x="4532739" y="966207"/>
                </a:lnTo>
                <a:lnTo>
                  <a:pt x="4535236" y="968372"/>
                </a:lnTo>
                <a:lnTo>
                  <a:pt x="4537081" y="966532"/>
                </a:lnTo>
                <a:lnTo>
                  <a:pt x="4540662" y="968048"/>
                </a:lnTo>
                <a:lnTo>
                  <a:pt x="4541855" y="969672"/>
                </a:lnTo>
                <a:lnTo>
                  <a:pt x="4544785" y="971512"/>
                </a:lnTo>
                <a:lnTo>
                  <a:pt x="4544785" y="974003"/>
                </a:lnTo>
                <a:lnTo>
                  <a:pt x="4540662" y="977250"/>
                </a:lnTo>
                <a:lnTo>
                  <a:pt x="4537081" y="975627"/>
                </a:lnTo>
                <a:lnTo>
                  <a:pt x="4531438" y="976385"/>
                </a:lnTo>
                <a:lnTo>
                  <a:pt x="4527857" y="972703"/>
                </a:lnTo>
                <a:lnTo>
                  <a:pt x="4527857" y="969780"/>
                </a:lnTo>
                <a:lnTo>
                  <a:pt x="4525360" y="973136"/>
                </a:lnTo>
                <a:lnTo>
                  <a:pt x="4525360" y="978333"/>
                </a:lnTo>
                <a:lnTo>
                  <a:pt x="4526663" y="982556"/>
                </a:lnTo>
                <a:lnTo>
                  <a:pt x="4529918" y="979416"/>
                </a:lnTo>
                <a:lnTo>
                  <a:pt x="4531763" y="980823"/>
                </a:lnTo>
                <a:lnTo>
                  <a:pt x="4532957" y="985046"/>
                </a:lnTo>
                <a:lnTo>
                  <a:pt x="4536755" y="981798"/>
                </a:lnTo>
                <a:lnTo>
                  <a:pt x="4540662" y="983097"/>
                </a:lnTo>
                <a:lnTo>
                  <a:pt x="4540662" y="986562"/>
                </a:lnTo>
                <a:lnTo>
                  <a:pt x="4541963" y="986562"/>
                </a:lnTo>
                <a:lnTo>
                  <a:pt x="4544134" y="983638"/>
                </a:lnTo>
                <a:lnTo>
                  <a:pt x="4545436" y="985046"/>
                </a:lnTo>
                <a:lnTo>
                  <a:pt x="4545436" y="986887"/>
                </a:lnTo>
                <a:lnTo>
                  <a:pt x="4545436" y="989919"/>
                </a:lnTo>
                <a:lnTo>
                  <a:pt x="4549451" y="984830"/>
                </a:lnTo>
                <a:lnTo>
                  <a:pt x="4551621" y="982664"/>
                </a:lnTo>
                <a:lnTo>
                  <a:pt x="4553575" y="983747"/>
                </a:lnTo>
                <a:lnTo>
                  <a:pt x="4552273" y="985587"/>
                </a:lnTo>
                <a:lnTo>
                  <a:pt x="4551404" y="988294"/>
                </a:lnTo>
                <a:lnTo>
                  <a:pt x="4554986" y="988294"/>
                </a:lnTo>
                <a:lnTo>
                  <a:pt x="4556614" y="990243"/>
                </a:lnTo>
                <a:lnTo>
                  <a:pt x="4553683" y="992084"/>
                </a:lnTo>
                <a:lnTo>
                  <a:pt x="4550753" y="996631"/>
                </a:lnTo>
                <a:lnTo>
                  <a:pt x="4555854" y="996631"/>
                </a:lnTo>
                <a:lnTo>
                  <a:pt x="4558892" y="990893"/>
                </a:lnTo>
                <a:lnTo>
                  <a:pt x="4558024" y="987861"/>
                </a:lnTo>
                <a:lnTo>
                  <a:pt x="4559869" y="986021"/>
                </a:lnTo>
                <a:lnTo>
                  <a:pt x="4564752" y="985479"/>
                </a:lnTo>
                <a:lnTo>
                  <a:pt x="4568008" y="987861"/>
                </a:lnTo>
                <a:lnTo>
                  <a:pt x="4568767" y="985695"/>
                </a:lnTo>
                <a:lnTo>
                  <a:pt x="4566271" y="982231"/>
                </a:lnTo>
                <a:lnTo>
                  <a:pt x="4566271" y="980932"/>
                </a:lnTo>
                <a:lnTo>
                  <a:pt x="4570829" y="982881"/>
                </a:lnTo>
                <a:lnTo>
                  <a:pt x="4573867" y="986995"/>
                </a:lnTo>
                <a:lnTo>
                  <a:pt x="4580704" y="986995"/>
                </a:lnTo>
                <a:lnTo>
                  <a:pt x="4585370" y="988836"/>
                </a:lnTo>
                <a:lnTo>
                  <a:pt x="4588951" y="986887"/>
                </a:lnTo>
                <a:lnTo>
                  <a:pt x="4588951" y="984505"/>
                </a:lnTo>
                <a:lnTo>
                  <a:pt x="4594703" y="985804"/>
                </a:lnTo>
                <a:lnTo>
                  <a:pt x="4599803" y="988836"/>
                </a:lnTo>
                <a:lnTo>
                  <a:pt x="4600562" y="986887"/>
                </a:lnTo>
                <a:lnTo>
                  <a:pt x="4606205" y="989268"/>
                </a:lnTo>
                <a:lnTo>
                  <a:pt x="4630622" y="1002261"/>
                </a:lnTo>
                <a:lnTo>
                  <a:pt x="4647116" y="1013088"/>
                </a:lnTo>
                <a:lnTo>
                  <a:pt x="4650589" y="1017094"/>
                </a:lnTo>
                <a:lnTo>
                  <a:pt x="4655147" y="1018502"/>
                </a:lnTo>
                <a:lnTo>
                  <a:pt x="4660789" y="1026839"/>
                </a:lnTo>
                <a:lnTo>
                  <a:pt x="4664370" y="1027705"/>
                </a:lnTo>
                <a:lnTo>
                  <a:pt x="4663502" y="1024998"/>
                </a:lnTo>
                <a:lnTo>
                  <a:pt x="4663502" y="1023807"/>
                </a:lnTo>
                <a:lnTo>
                  <a:pt x="4665890" y="1023807"/>
                </a:lnTo>
                <a:lnTo>
                  <a:pt x="4672726" y="1030086"/>
                </a:lnTo>
                <a:lnTo>
                  <a:pt x="4676524" y="1030086"/>
                </a:lnTo>
                <a:lnTo>
                  <a:pt x="4682493" y="1035500"/>
                </a:lnTo>
                <a:lnTo>
                  <a:pt x="4685965" y="1034092"/>
                </a:lnTo>
                <a:lnTo>
                  <a:pt x="4682167" y="1028463"/>
                </a:lnTo>
                <a:lnTo>
                  <a:pt x="4681082" y="1026080"/>
                </a:lnTo>
                <a:lnTo>
                  <a:pt x="4683578" y="1026080"/>
                </a:lnTo>
                <a:lnTo>
                  <a:pt x="4688678" y="1031169"/>
                </a:lnTo>
                <a:lnTo>
                  <a:pt x="4688678" y="1035717"/>
                </a:lnTo>
                <a:lnTo>
                  <a:pt x="4698227" y="1042429"/>
                </a:lnTo>
                <a:lnTo>
                  <a:pt x="4698227" y="1045461"/>
                </a:lnTo>
                <a:lnTo>
                  <a:pt x="4703653" y="1047951"/>
                </a:lnTo>
                <a:lnTo>
                  <a:pt x="4704738" y="1045786"/>
                </a:lnTo>
                <a:lnTo>
                  <a:pt x="4708862" y="1046652"/>
                </a:lnTo>
                <a:lnTo>
                  <a:pt x="4714071" y="1050658"/>
                </a:lnTo>
                <a:lnTo>
                  <a:pt x="4715699" y="1056613"/>
                </a:lnTo>
                <a:lnTo>
                  <a:pt x="4718628" y="1058453"/>
                </a:lnTo>
                <a:lnTo>
                  <a:pt x="4722427" y="1064408"/>
                </a:lnTo>
                <a:lnTo>
                  <a:pt x="4724272" y="1064408"/>
                </a:lnTo>
                <a:lnTo>
                  <a:pt x="4726116" y="1066249"/>
                </a:lnTo>
                <a:lnTo>
                  <a:pt x="4726116" y="1072204"/>
                </a:lnTo>
                <a:lnTo>
                  <a:pt x="4726116" y="1077834"/>
                </a:lnTo>
                <a:lnTo>
                  <a:pt x="4725031" y="1084871"/>
                </a:lnTo>
                <a:lnTo>
                  <a:pt x="4723403" y="1088445"/>
                </a:lnTo>
                <a:lnTo>
                  <a:pt x="4723403" y="1091693"/>
                </a:lnTo>
                <a:lnTo>
                  <a:pt x="4718195" y="1098405"/>
                </a:lnTo>
                <a:lnTo>
                  <a:pt x="4717327" y="1101653"/>
                </a:lnTo>
                <a:lnTo>
                  <a:pt x="4708320" y="1113888"/>
                </a:lnTo>
                <a:lnTo>
                  <a:pt x="4701808" y="1117353"/>
                </a:lnTo>
                <a:lnTo>
                  <a:pt x="4693996" y="1118760"/>
                </a:lnTo>
                <a:lnTo>
                  <a:pt x="4690523" y="1121467"/>
                </a:lnTo>
                <a:lnTo>
                  <a:pt x="4683470" y="1121467"/>
                </a:lnTo>
                <a:lnTo>
                  <a:pt x="4682058" y="1123416"/>
                </a:lnTo>
                <a:lnTo>
                  <a:pt x="4671207" y="1124715"/>
                </a:lnTo>
                <a:lnTo>
                  <a:pt x="4657317" y="1123958"/>
                </a:lnTo>
                <a:lnTo>
                  <a:pt x="4649504" y="1121683"/>
                </a:lnTo>
                <a:lnTo>
                  <a:pt x="4643861" y="1117677"/>
                </a:lnTo>
                <a:lnTo>
                  <a:pt x="4640388" y="1120168"/>
                </a:lnTo>
                <a:lnTo>
                  <a:pt x="4636373" y="1118977"/>
                </a:lnTo>
                <a:lnTo>
                  <a:pt x="4629754" y="1118977"/>
                </a:lnTo>
                <a:lnTo>
                  <a:pt x="4628886" y="1116595"/>
                </a:lnTo>
                <a:lnTo>
                  <a:pt x="4624870" y="1115295"/>
                </a:lnTo>
                <a:lnTo>
                  <a:pt x="4621289" y="1117786"/>
                </a:lnTo>
                <a:lnTo>
                  <a:pt x="4615321" y="1112048"/>
                </a:lnTo>
                <a:lnTo>
                  <a:pt x="4615321" y="1109124"/>
                </a:lnTo>
                <a:lnTo>
                  <a:pt x="4610655" y="1109882"/>
                </a:lnTo>
                <a:lnTo>
                  <a:pt x="4606531" y="1109882"/>
                </a:lnTo>
                <a:lnTo>
                  <a:pt x="4608484" y="1108799"/>
                </a:lnTo>
                <a:lnTo>
                  <a:pt x="4600888" y="1108799"/>
                </a:lnTo>
                <a:lnTo>
                  <a:pt x="4598718" y="1111181"/>
                </a:lnTo>
                <a:lnTo>
                  <a:pt x="4594052" y="1111181"/>
                </a:lnTo>
                <a:lnTo>
                  <a:pt x="4594052" y="1108475"/>
                </a:lnTo>
                <a:lnTo>
                  <a:pt x="4592207" y="1107067"/>
                </a:lnTo>
                <a:lnTo>
                  <a:pt x="4595137" y="1105118"/>
                </a:lnTo>
                <a:lnTo>
                  <a:pt x="4592098" y="1101653"/>
                </a:lnTo>
                <a:lnTo>
                  <a:pt x="4591230" y="1103603"/>
                </a:lnTo>
                <a:lnTo>
                  <a:pt x="4583417" y="1103603"/>
                </a:lnTo>
                <a:lnTo>
                  <a:pt x="4578534" y="1100138"/>
                </a:lnTo>
                <a:lnTo>
                  <a:pt x="4577666" y="1101762"/>
                </a:lnTo>
                <a:lnTo>
                  <a:pt x="4574410" y="1101762"/>
                </a:lnTo>
                <a:lnTo>
                  <a:pt x="4564101" y="1093316"/>
                </a:lnTo>
                <a:lnTo>
                  <a:pt x="4563233" y="1088769"/>
                </a:lnTo>
                <a:lnTo>
                  <a:pt x="4557047" y="1088228"/>
                </a:lnTo>
                <a:lnTo>
                  <a:pt x="4555746" y="1086820"/>
                </a:lnTo>
                <a:lnTo>
                  <a:pt x="4551404" y="1086820"/>
                </a:lnTo>
                <a:lnTo>
                  <a:pt x="4550320" y="1088228"/>
                </a:lnTo>
                <a:lnTo>
                  <a:pt x="4555419" y="1091693"/>
                </a:lnTo>
                <a:lnTo>
                  <a:pt x="4556505" y="1098514"/>
                </a:lnTo>
                <a:lnTo>
                  <a:pt x="4562148" y="1102087"/>
                </a:lnTo>
                <a:lnTo>
                  <a:pt x="4563450" y="1105660"/>
                </a:lnTo>
                <a:lnTo>
                  <a:pt x="4570503" y="1107283"/>
                </a:lnTo>
                <a:lnTo>
                  <a:pt x="4571914" y="1108908"/>
                </a:lnTo>
                <a:lnTo>
                  <a:pt x="4567248" y="1111289"/>
                </a:lnTo>
                <a:lnTo>
                  <a:pt x="4565078" y="1114213"/>
                </a:lnTo>
                <a:lnTo>
                  <a:pt x="4566163" y="1115512"/>
                </a:lnTo>
                <a:lnTo>
                  <a:pt x="4573976" y="1113563"/>
                </a:lnTo>
                <a:lnTo>
                  <a:pt x="4577232" y="1111398"/>
                </a:lnTo>
                <a:lnTo>
                  <a:pt x="4580487" y="1113780"/>
                </a:lnTo>
                <a:lnTo>
                  <a:pt x="4577014" y="1115187"/>
                </a:lnTo>
                <a:lnTo>
                  <a:pt x="4577014" y="1116595"/>
                </a:lnTo>
                <a:lnTo>
                  <a:pt x="4582223" y="1117136"/>
                </a:lnTo>
                <a:lnTo>
                  <a:pt x="4580921" y="1120709"/>
                </a:lnTo>
                <a:lnTo>
                  <a:pt x="4576255" y="1121467"/>
                </a:lnTo>
                <a:lnTo>
                  <a:pt x="4574301" y="1124174"/>
                </a:lnTo>
                <a:lnTo>
                  <a:pt x="4579944" y="1125040"/>
                </a:lnTo>
                <a:lnTo>
                  <a:pt x="4581898" y="1123632"/>
                </a:lnTo>
                <a:lnTo>
                  <a:pt x="4585696" y="1123632"/>
                </a:lnTo>
                <a:lnTo>
                  <a:pt x="4588083" y="1126122"/>
                </a:lnTo>
                <a:lnTo>
                  <a:pt x="4591013" y="1123958"/>
                </a:lnTo>
                <a:lnTo>
                  <a:pt x="4601865" y="1128505"/>
                </a:lnTo>
                <a:lnTo>
                  <a:pt x="4607073" y="1135759"/>
                </a:lnTo>
                <a:lnTo>
                  <a:pt x="4609570" y="1136300"/>
                </a:lnTo>
                <a:lnTo>
                  <a:pt x="4607942" y="1139223"/>
                </a:lnTo>
                <a:lnTo>
                  <a:pt x="4607942" y="1142472"/>
                </a:lnTo>
                <a:lnTo>
                  <a:pt x="4609570" y="1143013"/>
                </a:lnTo>
                <a:lnTo>
                  <a:pt x="4609570" y="1147668"/>
                </a:lnTo>
                <a:lnTo>
                  <a:pt x="4608810" y="1155248"/>
                </a:lnTo>
                <a:lnTo>
                  <a:pt x="4605229" y="1156546"/>
                </a:lnTo>
                <a:lnTo>
                  <a:pt x="4604361" y="1160661"/>
                </a:lnTo>
                <a:lnTo>
                  <a:pt x="4608159" y="1161744"/>
                </a:lnTo>
                <a:lnTo>
                  <a:pt x="4608159" y="1167157"/>
                </a:lnTo>
                <a:lnTo>
                  <a:pt x="4614670" y="1173437"/>
                </a:lnTo>
                <a:lnTo>
                  <a:pt x="4614670" y="1177443"/>
                </a:lnTo>
                <a:lnTo>
                  <a:pt x="4619336" y="1180907"/>
                </a:lnTo>
                <a:lnTo>
                  <a:pt x="4619336" y="1185455"/>
                </a:lnTo>
                <a:lnTo>
                  <a:pt x="4620204" y="1190977"/>
                </a:lnTo>
                <a:lnTo>
                  <a:pt x="4618250" y="1194766"/>
                </a:lnTo>
                <a:lnTo>
                  <a:pt x="4620530" y="1197148"/>
                </a:lnTo>
                <a:lnTo>
                  <a:pt x="4622700" y="1201046"/>
                </a:lnTo>
                <a:lnTo>
                  <a:pt x="4632249" y="1204511"/>
                </a:lnTo>
                <a:lnTo>
                  <a:pt x="4636699" y="1200937"/>
                </a:lnTo>
                <a:lnTo>
                  <a:pt x="4638543" y="1200937"/>
                </a:lnTo>
                <a:lnTo>
                  <a:pt x="4641799" y="1205377"/>
                </a:lnTo>
                <a:lnTo>
                  <a:pt x="4645923" y="1207975"/>
                </a:lnTo>
                <a:lnTo>
                  <a:pt x="4645923" y="1213822"/>
                </a:lnTo>
                <a:lnTo>
                  <a:pt x="4648093" y="1215555"/>
                </a:lnTo>
                <a:lnTo>
                  <a:pt x="4655580" y="1215555"/>
                </a:lnTo>
                <a:lnTo>
                  <a:pt x="4658619" y="1218153"/>
                </a:lnTo>
                <a:lnTo>
                  <a:pt x="4665456" y="1218153"/>
                </a:lnTo>
                <a:lnTo>
                  <a:pt x="4669688" y="1222159"/>
                </a:lnTo>
                <a:lnTo>
                  <a:pt x="4672292" y="1222159"/>
                </a:lnTo>
                <a:lnTo>
                  <a:pt x="4677392" y="1216529"/>
                </a:lnTo>
                <a:lnTo>
                  <a:pt x="4681407" y="1216529"/>
                </a:lnTo>
                <a:lnTo>
                  <a:pt x="4684338" y="1215229"/>
                </a:lnTo>
                <a:lnTo>
                  <a:pt x="4684338" y="1207759"/>
                </a:lnTo>
                <a:lnTo>
                  <a:pt x="4680757" y="1204619"/>
                </a:lnTo>
                <a:lnTo>
                  <a:pt x="4682384" y="1202237"/>
                </a:lnTo>
                <a:lnTo>
                  <a:pt x="4682384" y="1200396"/>
                </a:lnTo>
                <a:lnTo>
                  <a:pt x="4677067" y="1198339"/>
                </a:lnTo>
                <a:lnTo>
                  <a:pt x="4676524" y="1194550"/>
                </a:lnTo>
                <a:lnTo>
                  <a:pt x="4672726" y="1197257"/>
                </a:lnTo>
                <a:lnTo>
                  <a:pt x="4670013" y="1197257"/>
                </a:lnTo>
                <a:lnTo>
                  <a:pt x="4665456" y="1199205"/>
                </a:lnTo>
                <a:lnTo>
                  <a:pt x="4659704" y="1196282"/>
                </a:lnTo>
                <a:lnTo>
                  <a:pt x="4655580" y="1190652"/>
                </a:lnTo>
                <a:lnTo>
                  <a:pt x="4649069" y="1187621"/>
                </a:lnTo>
                <a:lnTo>
                  <a:pt x="4647768" y="1182423"/>
                </a:lnTo>
                <a:lnTo>
                  <a:pt x="4644295" y="1175927"/>
                </a:lnTo>
                <a:lnTo>
                  <a:pt x="4648961" y="1175927"/>
                </a:lnTo>
                <a:lnTo>
                  <a:pt x="4651999" y="1172896"/>
                </a:lnTo>
                <a:lnTo>
                  <a:pt x="4650372" y="1170405"/>
                </a:lnTo>
                <a:lnTo>
                  <a:pt x="4651457" y="1167699"/>
                </a:lnTo>
                <a:lnTo>
                  <a:pt x="4650046" y="1164667"/>
                </a:lnTo>
                <a:lnTo>
                  <a:pt x="4651131" y="1161635"/>
                </a:lnTo>
                <a:lnTo>
                  <a:pt x="4656557" y="1161635"/>
                </a:lnTo>
                <a:lnTo>
                  <a:pt x="4661983" y="1165209"/>
                </a:lnTo>
                <a:lnTo>
                  <a:pt x="4668711" y="1166508"/>
                </a:lnTo>
                <a:lnTo>
                  <a:pt x="4671966" y="1171596"/>
                </a:lnTo>
                <a:lnTo>
                  <a:pt x="4676307" y="1175170"/>
                </a:lnTo>
                <a:lnTo>
                  <a:pt x="4684663" y="1175170"/>
                </a:lnTo>
                <a:lnTo>
                  <a:pt x="4686291" y="1178201"/>
                </a:lnTo>
                <a:lnTo>
                  <a:pt x="4691499" y="1178201"/>
                </a:lnTo>
                <a:lnTo>
                  <a:pt x="4706692" y="1185455"/>
                </a:lnTo>
                <a:lnTo>
                  <a:pt x="4712986" y="1191627"/>
                </a:lnTo>
                <a:lnTo>
                  <a:pt x="4715482" y="1187621"/>
                </a:lnTo>
                <a:lnTo>
                  <a:pt x="4719605" y="1184156"/>
                </a:lnTo>
                <a:lnTo>
                  <a:pt x="4719605" y="1179067"/>
                </a:lnTo>
                <a:lnTo>
                  <a:pt x="4723187" y="1179067"/>
                </a:lnTo>
                <a:lnTo>
                  <a:pt x="4726768" y="1174953"/>
                </a:lnTo>
                <a:lnTo>
                  <a:pt x="4720473" y="1165533"/>
                </a:lnTo>
                <a:lnTo>
                  <a:pt x="4709622" y="1154706"/>
                </a:lnTo>
                <a:lnTo>
                  <a:pt x="4707126" y="1147668"/>
                </a:lnTo>
                <a:lnTo>
                  <a:pt x="4707126" y="1143554"/>
                </a:lnTo>
                <a:lnTo>
                  <a:pt x="4713637" y="1138358"/>
                </a:lnTo>
                <a:lnTo>
                  <a:pt x="4718846" y="1131320"/>
                </a:lnTo>
                <a:lnTo>
                  <a:pt x="4720256" y="1125148"/>
                </a:lnTo>
                <a:lnTo>
                  <a:pt x="4724272" y="1121359"/>
                </a:lnTo>
                <a:lnTo>
                  <a:pt x="4729914" y="1120276"/>
                </a:lnTo>
                <a:lnTo>
                  <a:pt x="4737728" y="1113997"/>
                </a:lnTo>
                <a:lnTo>
                  <a:pt x="4743153" y="1102412"/>
                </a:lnTo>
                <a:lnTo>
                  <a:pt x="4746409" y="1099921"/>
                </a:lnTo>
                <a:lnTo>
                  <a:pt x="4752377" y="1100787"/>
                </a:lnTo>
                <a:lnTo>
                  <a:pt x="4757044" y="1104577"/>
                </a:lnTo>
                <a:lnTo>
                  <a:pt x="4763880" y="1103710"/>
                </a:lnTo>
                <a:lnTo>
                  <a:pt x="4771259" y="1104577"/>
                </a:lnTo>
                <a:lnTo>
                  <a:pt x="4773755" y="1107825"/>
                </a:lnTo>
                <a:lnTo>
                  <a:pt x="4772996" y="1112914"/>
                </a:lnTo>
                <a:lnTo>
                  <a:pt x="4778747" y="1107500"/>
                </a:lnTo>
                <a:lnTo>
                  <a:pt x="4784715" y="1112048"/>
                </a:lnTo>
                <a:lnTo>
                  <a:pt x="4786560" y="1118003"/>
                </a:lnTo>
                <a:lnTo>
                  <a:pt x="4789599" y="1120709"/>
                </a:lnTo>
                <a:lnTo>
                  <a:pt x="4788839" y="1112048"/>
                </a:lnTo>
                <a:lnTo>
                  <a:pt x="4785583" y="1105767"/>
                </a:lnTo>
                <a:lnTo>
                  <a:pt x="4787537" y="1103061"/>
                </a:lnTo>
                <a:lnTo>
                  <a:pt x="4787537" y="1092234"/>
                </a:lnTo>
                <a:lnTo>
                  <a:pt x="4789164" y="1088769"/>
                </a:lnTo>
                <a:lnTo>
                  <a:pt x="4786994" y="1087145"/>
                </a:lnTo>
                <a:lnTo>
                  <a:pt x="4786994" y="1084438"/>
                </a:lnTo>
                <a:lnTo>
                  <a:pt x="4787862" y="1082057"/>
                </a:lnTo>
                <a:lnTo>
                  <a:pt x="4786994" y="1078808"/>
                </a:lnTo>
                <a:lnTo>
                  <a:pt x="4787862" y="1076426"/>
                </a:lnTo>
                <a:lnTo>
                  <a:pt x="4784389" y="1072637"/>
                </a:lnTo>
                <a:lnTo>
                  <a:pt x="4779181" y="1069606"/>
                </a:lnTo>
                <a:lnTo>
                  <a:pt x="4772127" y="1069606"/>
                </a:lnTo>
                <a:lnTo>
                  <a:pt x="4770174" y="1063651"/>
                </a:lnTo>
                <a:lnTo>
                  <a:pt x="4772019" y="1057479"/>
                </a:lnTo>
                <a:lnTo>
                  <a:pt x="4772019" y="1046652"/>
                </a:lnTo>
                <a:lnTo>
                  <a:pt x="4773864" y="1045245"/>
                </a:lnTo>
                <a:lnTo>
                  <a:pt x="4772779" y="1041780"/>
                </a:lnTo>
                <a:lnTo>
                  <a:pt x="4772779" y="1037233"/>
                </a:lnTo>
                <a:lnTo>
                  <a:pt x="4774732" y="1035608"/>
                </a:lnTo>
                <a:lnTo>
                  <a:pt x="4772236" y="1032360"/>
                </a:lnTo>
                <a:lnTo>
                  <a:pt x="4772236" y="1026947"/>
                </a:lnTo>
                <a:lnTo>
                  <a:pt x="4768655" y="1016878"/>
                </a:lnTo>
                <a:lnTo>
                  <a:pt x="4761818" y="1012005"/>
                </a:lnTo>
                <a:lnTo>
                  <a:pt x="4750099" y="1002478"/>
                </a:lnTo>
                <a:lnTo>
                  <a:pt x="4750099" y="999988"/>
                </a:lnTo>
                <a:lnTo>
                  <a:pt x="4755524" y="999988"/>
                </a:lnTo>
                <a:lnTo>
                  <a:pt x="4765291" y="1006484"/>
                </a:lnTo>
                <a:lnTo>
                  <a:pt x="4771042" y="1006484"/>
                </a:lnTo>
                <a:lnTo>
                  <a:pt x="4774840" y="1004535"/>
                </a:lnTo>
                <a:lnTo>
                  <a:pt x="4783739" y="1003777"/>
                </a:lnTo>
                <a:lnTo>
                  <a:pt x="4796543" y="1005076"/>
                </a:lnTo>
                <a:lnTo>
                  <a:pt x="4802512" y="1008866"/>
                </a:lnTo>
                <a:lnTo>
                  <a:pt x="4802512" y="1013196"/>
                </a:lnTo>
                <a:lnTo>
                  <a:pt x="4807613" y="1019151"/>
                </a:lnTo>
                <a:lnTo>
                  <a:pt x="4813039" y="1019909"/>
                </a:lnTo>
                <a:lnTo>
                  <a:pt x="4813907" y="1023699"/>
                </a:lnTo>
                <a:lnTo>
                  <a:pt x="4820634" y="1032144"/>
                </a:lnTo>
                <a:lnTo>
                  <a:pt x="4819766" y="1035717"/>
                </a:lnTo>
                <a:lnTo>
                  <a:pt x="4811302" y="1035717"/>
                </a:lnTo>
                <a:lnTo>
                  <a:pt x="4809132" y="1038965"/>
                </a:lnTo>
                <a:lnTo>
                  <a:pt x="4801753" y="1038965"/>
                </a:lnTo>
                <a:lnTo>
                  <a:pt x="4799365" y="1041455"/>
                </a:lnTo>
                <a:lnTo>
                  <a:pt x="4800125" y="1044162"/>
                </a:lnTo>
                <a:lnTo>
                  <a:pt x="4798172" y="1047627"/>
                </a:lnTo>
                <a:lnTo>
                  <a:pt x="4795675" y="1046219"/>
                </a:lnTo>
                <a:lnTo>
                  <a:pt x="4794374" y="1048925"/>
                </a:lnTo>
                <a:lnTo>
                  <a:pt x="4794374" y="1055963"/>
                </a:lnTo>
                <a:lnTo>
                  <a:pt x="4797846" y="1057804"/>
                </a:lnTo>
                <a:lnTo>
                  <a:pt x="4807829" y="1066141"/>
                </a:lnTo>
                <a:lnTo>
                  <a:pt x="4817379" y="1078592"/>
                </a:lnTo>
                <a:lnTo>
                  <a:pt x="4822479" y="1078592"/>
                </a:lnTo>
                <a:lnTo>
                  <a:pt x="4828773" y="1074045"/>
                </a:lnTo>
                <a:lnTo>
                  <a:pt x="4831703" y="1079242"/>
                </a:lnTo>
                <a:lnTo>
                  <a:pt x="4833873" y="1076318"/>
                </a:lnTo>
                <a:lnTo>
                  <a:pt x="4838973" y="1076318"/>
                </a:lnTo>
                <a:lnTo>
                  <a:pt x="4840276" y="1073828"/>
                </a:lnTo>
                <a:lnTo>
                  <a:pt x="4848741" y="1070039"/>
                </a:lnTo>
                <a:lnTo>
                  <a:pt x="4850368" y="1064950"/>
                </a:lnTo>
                <a:lnTo>
                  <a:pt x="4848197" y="1057696"/>
                </a:lnTo>
                <a:lnTo>
                  <a:pt x="4851236" y="1052282"/>
                </a:lnTo>
                <a:lnTo>
                  <a:pt x="4851236" y="1047951"/>
                </a:lnTo>
                <a:lnTo>
                  <a:pt x="4847655" y="1043404"/>
                </a:lnTo>
                <a:lnTo>
                  <a:pt x="4850150" y="1041563"/>
                </a:lnTo>
                <a:lnTo>
                  <a:pt x="4862956" y="1039939"/>
                </a:lnTo>
                <a:lnTo>
                  <a:pt x="4864909" y="1037233"/>
                </a:lnTo>
                <a:lnTo>
                  <a:pt x="4872722" y="1040156"/>
                </a:lnTo>
                <a:lnTo>
                  <a:pt x="4871637" y="1036583"/>
                </a:lnTo>
                <a:lnTo>
                  <a:pt x="4865343" y="1031927"/>
                </a:lnTo>
                <a:lnTo>
                  <a:pt x="4863389" y="1027272"/>
                </a:lnTo>
                <a:lnTo>
                  <a:pt x="4865669" y="1027272"/>
                </a:lnTo>
                <a:lnTo>
                  <a:pt x="4869250" y="1030737"/>
                </a:lnTo>
                <a:lnTo>
                  <a:pt x="4873265" y="1028570"/>
                </a:lnTo>
                <a:lnTo>
                  <a:pt x="4882163" y="1017744"/>
                </a:lnTo>
                <a:lnTo>
                  <a:pt x="4884876" y="1016986"/>
                </a:lnTo>
                <a:lnTo>
                  <a:pt x="4894643" y="1005076"/>
                </a:lnTo>
                <a:lnTo>
                  <a:pt x="4894643" y="1002370"/>
                </a:lnTo>
                <a:lnTo>
                  <a:pt x="4897464" y="1000854"/>
                </a:lnTo>
                <a:lnTo>
                  <a:pt x="4902673" y="1001828"/>
                </a:lnTo>
                <a:lnTo>
                  <a:pt x="4909184" y="998797"/>
                </a:lnTo>
                <a:lnTo>
                  <a:pt x="4910377" y="995765"/>
                </a:lnTo>
                <a:lnTo>
                  <a:pt x="4919710" y="992842"/>
                </a:lnTo>
                <a:lnTo>
                  <a:pt x="4919710" y="996415"/>
                </a:lnTo>
                <a:lnTo>
                  <a:pt x="4921446" y="996415"/>
                </a:lnTo>
                <a:lnTo>
                  <a:pt x="4922315" y="1000096"/>
                </a:lnTo>
                <a:lnTo>
                  <a:pt x="4920578" y="1002911"/>
                </a:lnTo>
                <a:lnTo>
                  <a:pt x="4923183" y="1004751"/>
                </a:lnTo>
                <a:lnTo>
                  <a:pt x="4928717" y="999338"/>
                </a:lnTo>
                <a:lnTo>
                  <a:pt x="4928717" y="995873"/>
                </a:lnTo>
                <a:lnTo>
                  <a:pt x="4925896" y="994574"/>
                </a:lnTo>
                <a:lnTo>
                  <a:pt x="4922315" y="990893"/>
                </a:lnTo>
                <a:lnTo>
                  <a:pt x="4922315" y="988727"/>
                </a:lnTo>
                <a:lnTo>
                  <a:pt x="4931104" y="980066"/>
                </a:lnTo>
                <a:lnTo>
                  <a:pt x="4932623" y="980066"/>
                </a:lnTo>
                <a:lnTo>
                  <a:pt x="4933383" y="983097"/>
                </a:lnTo>
                <a:lnTo>
                  <a:pt x="4931755" y="984072"/>
                </a:lnTo>
                <a:lnTo>
                  <a:pt x="4930127" y="986345"/>
                </a:lnTo>
                <a:lnTo>
                  <a:pt x="4934577" y="991217"/>
                </a:lnTo>
                <a:lnTo>
                  <a:pt x="4937507" y="990352"/>
                </a:lnTo>
                <a:lnTo>
                  <a:pt x="4940111" y="986887"/>
                </a:lnTo>
                <a:lnTo>
                  <a:pt x="4938375" y="984072"/>
                </a:lnTo>
                <a:lnTo>
                  <a:pt x="4936964" y="979632"/>
                </a:lnTo>
                <a:lnTo>
                  <a:pt x="4935228" y="977467"/>
                </a:lnTo>
                <a:lnTo>
                  <a:pt x="4939026" y="974436"/>
                </a:lnTo>
                <a:lnTo>
                  <a:pt x="4951614" y="969022"/>
                </a:lnTo>
                <a:lnTo>
                  <a:pt x="4960186" y="967723"/>
                </a:lnTo>
                <a:lnTo>
                  <a:pt x="4961054" y="969672"/>
                </a:lnTo>
                <a:lnTo>
                  <a:pt x="4956280" y="972054"/>
                </a:lnTo>
                <a:lnTo>
                  <a:pt x="4952699" y="972054"/>
                </a:lnTo>
                <a:lnTo>
                  <a:pt x="4943801" y="976168"/>
                </a:lnTo>
                <a:lnTo>
                  <a:pt x="4945429" y="978442"/>
                </a:lnTo>
                <a:lnTo>
                  <a:pt x="4948684" y="979199"/>
                </a:lnTo>
                <a:lnTo>
                  <a:pt x="4951397" y="977792"/>
                </a:lnTo>
                <a:lnTo>
                  <a:pt x="4956931" y="982881"/>
                </a:lnTo>
                <a:lnTo>
                  <a:pt x="4953893" y="984613"/>
                </a:lnTo>
                <a:lnTo>
                  <a:pt x="4952808" y="986454"/>
                </a:lnTo>
                <a:lnTo>
                  <a:pt x="4956063" y="991542"/>
                </a:lnTo>
                <a:lnTo>
                  <a:pt x="4954110" y="995007"/>
                </a:lnTo>
                <a:lnTo>
                  <a:pt x="4949335" y="995007"/>
                </a:lnTo>
                <a:lnTo>
                  <a:pt x="4944452" y="999662"/>
                </a:lnTo>
                <a:lnTo>
                  <a:pt x="4945429" y="1003560"/>
                </a:lnTo>
                <a:lnTo>
                  <a:pt x="4949444" y="1004427"/>
                </a:lnTo>
                <a:lnTo>
                  <a:pt x="4952590" y="1003560"/>
                </a:lnTo>
                <a:lnTo>
                  <a:pt x="4955738" y="1003560"/>
                </a:lnTo>
                <a:lnTo>
                  <a:pt x="4959101" y="1001395"/>
                </a:lnTo>
                <a:lnTo>
                  <a:pt x="4964093" y="1003344"/>
                </a:lnTo>
                <a:lnTo>
                  <a:pt x="4964093" y="1008974"/>
                </a:lnTo>
                <a:lnTo>
                  <a:pt x="4966480" y="1003127"/>
                </a:lnTo>
                <a:lnTo>
                  <a:pt x="4971472" y="997389"/>
                </a:lnTo>
                <a:lnTo>
                  <a:pt x="4973860" y="997389"/>
                </a:lnTo>
                <a:lnTo>
                  <a:pt x="4975921" y="1000637"/>
                </a:lnTo>
                <a:lnTo>
                  <a:pt x="4979828" y="1003560"/>
                </a:lnTo>
                <a:lnTo>
                  <a:pt x="4981347" y="1001611"/>
                </a:lnTo>
                <a:lnTo>
                  <a:pt x="4980371" y="998797"/>
                </a:lnTo>
                <a:lnTo>
                  <a:pt x="4981564" y="995873"/>
                </a:lnTo>
                <a:lnTo>
                  <a:pt x="4978092" y="993383"/>
                </a:lnTo>
                <a:lnTo>
                  <a:pt x="4978092" y="991217"/>
                </a:lnTo>
                <a:lnTo>
                  <a:pt x="4982107" y="986778"/>
                </a:lnTo>
                <a:lnTo>
                  <a:pt x="4986991" y="986021"/>
                </a:lnTo>
                <a:lnTo>
                  <a:pt x="4988401" y="983531"/>
                </a:lnTo>
                <a:lnTo>
                  <a:pt x="4994695" y="979524"/>
                </a:lnTo>
                <a:lnTo>
                  <a:pt x="4997516" y="981690"/>
                </a:lnTo>
                <a:lnTo>
                  <a:pt x="5000663" y="981690"/>
                </a:lnTo>
                <a:lnTo>
                  <a:pt x="5002834" y="980499"/>
                </a:lnTo>
                <a:lnTo>
                  <a:pt x="5006306" y="981798"/>
                </a:lnTo>
                <a:lnTo>
                  <a:pt x="5017158" y="981798"/>
                </a:lnTo>
                <a:lnTo>
                  <a:pt x="5020848" y="979091"/>
                </a:lnTo>
                <a:lnTo>
                  <a:pt x="5020848" y="976060"/>
                </a:lnTo>
                <a:lnTo>
                  <a:pt x="5023344" y="973244"/>
                </a:lnTo>
                <a:lnTo>
                  <a:pt x="5029312" y="973244"/>
                </a:lnTo>
                <a:lnTo>
                  <a:pt x="5029312" y="970646"/>
                </a:lnTo>
                <a:lnTo>
                  <a:pt x="5033761" y="966748"/>
                </a:lnTo>
                <a:lnTo>
                  <a:pt x="5037451" y="965991"/>
                </a:lnTo>
                <a:lnTo>
                  <a:pt x="5043744" y="959819"/>
                </a:lnTo>
                <a:lnTo>
                  <a:pt x="5046240" y="959819"/>
                </a:lnTo>
                <a:lnTo>
                  <a:pt x="5049822" y="957979"/>
                </a:lnTo>
                <a:lnTo>
                  <a:pt x="5050690" y="959603"/>
                </a:lnTo>
                <a:lnTo>
                  <a:pt x="5047109" y="963717"/>
                </a:lnTo>
                <a:lnTo>
                  <a:pt x="5050798" y="965124"/>
                </a:lnTo>
                <a:lnTo>
                  <a:pt x="5055573" y="969780"/>
                </a:lnTo>
                <a:lnTo>
                  <a:pt x="5055573" y="972378"/>
                </a:lnTo>
                <a:lnTo>
                  <a:pt x="5051666" y="975952"/>
                </a:lnTo>
                <a:lnTo>
                  <a:pt x="5053945" y="980715"/>
                </a:lnTo>
                <a:lnTo>
                  <a:pt x="5052968" y="984397"/>
                </a:lnTo>
                <a:lnTo>
                  <a:pt x="5055790" y="987861"/>
                </a:lnTo>
                <a:lnTo>
                  <a:pt x="5067835" y="987861"/>
                </a:lnTo>
                <a:lnTo>
                  <a:pt x="5070331" y="985046"/>
                </a:lnTo>
                <a:lnTo>
                  <a:pt x="5070331" y="982123"/>
                </a:lnTo>
                <a:lnTo>
                  <a:pt x="5068487" y="980391"/>
                </a:lnTo>
                <a:lnTo>
                  <a:pt x="5063386" y="974327"/>
                </a:lnTo>
                <a:lnTo>
                  <a:pt x="5063386" y="971621"/>
                </a:lnTo>
                <a:lnTo>
                  <a:pt x="5066750" y="968914"/>
                </a:lnTo>
                <a:lnTo>
                  <a:pt x="5073261" y="971837"/>
                </a:lnTo>
                <a:lnTo>
                  <a:pt x="5077819" y="968805"/>
                </a:lnTo>
                <a:lnTo>
                  <a:pt x="5079772" y="960902"/>
                </a:lnTo>
                <a:lnTo>
                  <a:pt x="5083353" y="960902"/>
                </a:lnTo>
                <a:lnTo>
                  <a:pt x="5085523" y="962850"/>
                </a:lnTo>
                <a:lnTo>
                  <a:pt x="5091818" y="963933"/>
                </a:lnTo>
                <a:lnTo>
                  <a:pt x="5085307" y="956896"/>
                </a:lnTo>
                <a:lnTo>
                  <a:pt x="5079881" y="955488"/>
                </a:lnTo>
                <a:lnTo>
                  <a:pt x="5079881" y="951157"/>
                </a:lnTo>
                <a:lnTo>
                  <a:pt x="5075866" y="943362"/>
                </a:lnTo>
                <a:lnTo>
                  <a:pt x="5072935" y="943362"/>
                </a:lnTo>
                <a:lnTo>
                  <a:pt x="5072067" y="947476"/>
                </a:lnTo>
                <a:lnTo>
                  <a:pt x="5069680" y="943470"/>
                </a:lnTo>
                <a:lnTo>
                  <a:pt x="5067184" y="934809"/>
                </a:lnTo>
                <a:lnTo>
                  <a:pt x="5063929" y="932968"/>
                </a:lnTo>
                <a:lnTo>
                  <a:pt x="5060456" y="927554"/>
                </a:lnTo>
                <a:lnTo>
                  <a:pt x="5060456" y="926147"/>
                </a:lnTo>
                <a:lnTo>
                  <a:pt x="5065557" y="924307"/>
                </a:lnTo>
                <a:lnTo>
                  <a:pt x="5065557" y="920300"/>
                </a:lnTo>
                <a:lnTo>
                  <a:pt x="5063277" y="915212"/>
                </a:lnTo>
                <a:lnTo>
                  <a:pt x="5066099" y="912504"/>
                </a:lnTo>
                <a:lnTo>
                  <a:pt x="5070114" y="913371"/>
                </a:lnTo>
                <a:lnTo>
                  <a:pt x="5072067" y="912288"/>
                </a:lnTo>
                <a:lnTo>
                  <a:pt x="5076083" y="914995"/>
                </a:lnTo>
                <a:lnTo>
                  <a:pt x="5080749" y="914237"/>
                </a:lnTo>
                <a:lnTo>
                  <a:pt x="5085307" y="915645"/>
                </a:lnTo>
                <a:lnTo>
                  <a:pt x="5103429" y="913155"/>
                </a:lnTo>
                <a:lnTo>
                  <a:pt x="5126434" y="914454"/>
                </a:lnTo>
                <a:lnTo>
                  <a:pt x="5133271" y="919109"/>
                </a:lnTo>
                <a:lnTo>
                  <a:pt x="5148463" y="924739"/>
                </a:lnTo>
                <a:lnTo>
                  <a:pt x="5149765" y="927987"/>
                </a:lnTo>
                <a:lnTo>
                  <a:pt x="5148138" y="930477"/>
                </a:lnTo>
                <a:lnTo>
                  <a:pt x="5150525" y="935675"/>
                </a:lnTo>
                <a:lnTo>
                  <a:pt x="5155083" y="931669"/>
                </a:lnTo>
                <a:lnTo>
                  <a:pt x="5161919" y="929179"/>
                </a:lnTo>
                <a:lnTo>
                  <a:pt x="5165934" y="932752"/>
                </a:lnTo>
                <a:lnTo>
                  <a:pt x="5169515" y="932752"/>
                </a:lnTo>
                <a:lnTo>
                  <a:pt x="5170383" y="937299"/>
                </a:lnTo>
                <a:lnTo>
                  <a:pt x="5178306" y="938381"/>
                </a:lnTo>
                <a:lnTo>
                  <a:pt x="5191545" y="945960"/>
                </a:lnTo>
                <a:lnTo>
                  <a:pt x="5204241" y="947043"/>
                </a:lnTo>
                <a:lnTo>
                  <a:pt x="5209341" y="951157"/>
                </a:lnTo>
                <a:lnTo>
                  <a:pt x="5212379" y="957870"/>
                </a:lnTo>
                <a:lnTo>
                  <a:pt x="5219759" y="959277"/>
                </a:lnTo>
                <a:lnTo>
                  <a:pt x="5226270" y="964150"/>
                </a:lnTo>
                <a:lnTo>
                  <a:pt x="5231913" y="974977"/>
                </a:lnTo>
                <a:lnTo>
                  <a:pt x="5237013" y="976060"/>
                </a:lnTo>
                <a:lnTo>
                  <a:pt x="5237013" y="973028"/>
                </a:lnTo>
                <a:lnTo>
                  <a:pt x="5235711" y="966315"/>
                </a:lnTo>
                <a:lnTo>
                  <a:pt x="5238641" y="966315"/>
                </a:lnTo>
                <a:lnTo>
                  <a:pt x="5239726" y="963825"/>
                </a:lnTo>
                <a:lnTo>
                  <a:pt x="5236470" y="958736"/>
                </a:lnTo>
                <a:lnTo>
                  <a:pt x="5237881" y="955488"/>
                </a:lnTo>
                <a:lnTo>
                  <a:pt x="5237881" y="942712"/>
                </a:lnTo>
                <a:lnTo>
                  <a:pt x="5242222" y="939247"/>
                </a:lnTo>
                <a:lnTo>
                  <a:pt x="5237881" y="939247"/>
                </a:lnTo>
                <a:lnTo>
                  <a:pt x="5237122" y="937299"/>
                </a:lnTo>
                <a:lnTo>
                  <a:pt x="5232564" y="937299"/>
                </a:lnTo>
                <a:lnTo>
                  <a:pt x="5228983" y="939681"/>
                </a:lnTo>
                <a:lnTo>
                  <a:pt x="5224100" y="938273"/>
                </a:lnTo>
                <a:lnTo>
                  <a:pt x="5214333" y="926689"/>
                </a:lnTo>
                <a:lnTo>
                  <a:pt x="5211620" y="926147"/>
                </a:lnTo>
                <a:lnTo>
                  <a:pt x="5208039" y="921600"/>
                </a:lnTo>
                <a:lnTo>
                  <a:pt x="5208039" y="913155"/>
                </a:lnTo>
                <a:lnTo>
                  <a:pt x="5205543" y="910773"/>
                </a:lnTo>
                <a:lnTo>
                  <a:pt x="5200985" y="917052"/>
                </a:lnTo>
                <a:lnTo>
                  <a:pt x="5195885" y="913587"/>
                </a:lnTo>
                <a:lnTo>
                  <a:pt x="5190242" y="913587"/>
                </a:lnTo>
                <a:lnTo>
                  <a:pt x="5185901" y="910664"/>
                </a:lnTo>
                <a:lnTo>
                  <a:pt x="5183623" y="914454"/>
                </a:lnTo>
                <a:lnTo>
                  <a:pt x="5181995" y="906334"/>
                </a:lnTo>
                <a:lnTo>
                  <a:pt x="5178414" y="903085"/>
                </a:lnTo>
                <a:lnTo>
                  <a:pt x="5174399" y="892258"/>
                </a:lnTo>
                <a:lnTo>
                  <a:pt x="5174399" y="888685"/>
                </a:lnTo>
                <a:lnTo>
                  <a:pt x="5177654" y="891175"/>
                </a:lnTo>
                <a:lnTo>
                  <a:pt x="5181452" y="887711"/>
                </a:lnTo>
                <a:lnTo>
                  <a:pt x="5181452" y="882298"/>
                </a:lnTo>
                <a:lnTo>
                  <a:pt x="5174181" y="877100"/>
                </a:lnTo>
                <a:lnTo>
                  <a:pt x="5174181" y="871145"/>
                </a:lnTo>
                <a:lnTo>
                  <a:pt x="5177654" y="866598"/>
                </a:lnTo>
                <a:lnTo>
                  <a:pt x="5181127" y="867465"/>
                </a:lnTo>
                <a:lnTo>
                  <a:pt x="5176786" y="863458"/>
                </a:lnTo>
                <a:lnTo>
                  <a:pt x="5171360" y="863458"/>
                </a:lnTo>
                <a:lnTo>
                  <a:pt x="5167888" y="854796"/>
                </a:lnTo>
                <a:lnTo>
                  <a:pt x="5164632" y="851765"/>
                </a:lnTo>
                <a:lnTo>
                  <a:pt x="5160834" y="854688"/>
                </a:lnTo>
                <a:lnTo>
                  <a:pt x="5155083" y="849274"/>
                </a:lnTo>
                <a:lnTo>
                  <a:pt x="5155843" y="841371"/>
                </a:lnTo>
                <a:lnTo>
                  <a:pt x="5158555" y="837257"/>
                </a:lnTo>
                <a:lnTo>
                  <a:pt x="5155516" y="832601"/>
                </a:lnTo>
                <a:lnTo>
                  <a:pt x="5154648" y="828595"/>
                </a:lnTo>
                <a:lnTo>
                  <a:pt x="5157904" y="826430"/>
                </a:lnTo>
                <a:lnTo>
                  <a:pt x="5166260" y="813437"/>
                </a:lnTo>
                <a:lnTo>
                  <a:pt x="5171468" y="809864"/>
                </a:lnTo>
                <a:lnTo>
                  <a:pt x="5172880" y="806941"/>
                </a:lnTo>
                <a:lnTo>
                  <a:pt x="5170709" y="800986"/>
                </a:lnTo>
                <a:lnTo>
                  <a:pt x="5170709" y="796438"/>
                </a:lnTo>
                <a:lnTo>
                  <a:pt x="5173964" y="790483"/>
                </a:lnTo>
                <a:lnTo>
                  <a:pt x="5170383" y="784854"/>
                </a:lnTo>
                <a:lnTo>
                  <a:pt x="5170383" y="777599"/>
                </a:lnTo>
                <a:lnTo>
                  <a:pt x="5172228" y="773810"/>
                </a:lnTo>
                <a:lnTo>
                  <a:pt x="5170600" y="770238"/>
                </a:lnTo>
                <a:lnTo>
                  <a:pt x="5170600" y="764607"/>
                </a:lnTo>
                <a:lnTo>
                  <a:pt x="5167670" y="761684"/>
                </a:lnTo>
                <a:lnTo>
                  <a:pt x="5170058" y="752806"/>
                </a:lnTo>
                <a:lnTo>
                  <a:pt x="5171686" y="750965"/>
                </a:lnTo>
                <a:lnTo>
                  <a:pt x="5167562" y="745551"/>
                </a:lnTo>
                <a:lnTo>
                  <a:pt x="5168973" y="737432"/>
                </a:lnTo>
                <a:lnTo>
                  <a:pt x="5168213" y="727471"/>
                </a:lnTo>
                <a:lnTo>
                  <a:pt x="5172011" y="726388"/>
                </a:lnTo>
                <a:lnTo>
                  <a:pt x="5175918" y="728337"/>
                </a:lnTo>
                <a:lnTo>
                  <a:pt x="5174290" y="730502"/>
                </a:lnTo>
                <a:lnTo>
                  <a:pt x="5175918" y="732451"/>
                </a:lnTo>
                <a:lnTo>
                  <a:pt x="5181344" y="730069"/>
                </a:lnTo>
                <a:lnTo>
                  <a:pt x="5188072" y="730069"/>
                </a:lnTo>
                <a:lnTo>
                  <a:pt x="5194041" y="727037"/>
                </a:lnTo>
                <a:lnTo>
                  <a:pt x="5198164" y="727037"/>
                </a:lnTo>
                <a:lnTo>
                  <a:pt x="5202287" y="728986"/>
                </a:lnTo>
                <a:lnTo>
                  <a:pt x="5205000" y="726604"/>
                </a:lnTo>
                <a:lnTo>
                  <a:pt x="5210643" y="726604"/>
                </a:lnTo>
                <a:lnTo>
                  <a:pt x="5224968" y="732343"/>
                </a:lnTo>
                <a:lnTo>
                  <a:pt x="5231696" y="732343"/>
                </a:lnTo>
                <a:lnTo>
                  <a:pt x="5236579" y="733426"/>
                </a:lnTo>
                <a:lnTo>
                  <a:pt x="5238424" y="737756"/>
                </a:lnTo>
                <a:lnTo>
                  <a:pt x="5234626" y="739380"/>
                </a:lnTo>
                <a:lnTo>
                  <a:pt x="5237664" y="744794"/>
                </a:lnTo>
                <a:lnTo>
                  <a:pt x="5237664" y="750532"/>
                </a:lnTo>
                <a:lnTo>
                  <a:pt x="5240160" y="753239"/>
                </a:lnTo>
                <a:lnTo>
                  <a:pt x="5240160" y="761684"/>
                </a:lnTo>
                <a:lnTo>
                  <a:pt x="5243198" y="769046"/>
                </a:lnTo>
                <a:lnTo>
                  <a:pt x="5241028" y="782038"/>
                </a:lnTo>
                <a:lnTo>
                  <a:pt x="5243524" y="785828"/>
                </a:lnTo>
                <a:lnTo>
                  <a:pt x="5242439" y="789076"/>
                </a:lnTo>
                <a:lnTo>
                  <a:pt x="5244609" y="793082"/>
                </a:lnTo>
                <a:lnTo>
                  <a:pt x="5243307" y="797630"/>
                </a:lnTo>
                <a:lnTo>
                  <a:pt x="5240377" y="799254"/>
                </a:lnTo>
                <a:lnTo>
                  <a:pt x="5242222" y="804884"/>
                </a:lnTo>
                <a:lnTo>
                  <a:pt x="5247322" y="809540"/>
                </a:lnTo>
                <a:lnTo>
                  <a:pt x="5250578" y="815711"/>
                </a:lnTo>
                <a:lnTo>
                  <a:pt x="5256221" y="817335"/>
                </a:lnTo>
                <a:lnTo>
                  <a:pt x="5256221" y="818634"/>
                </a:lnTo>
                <a:lnTo>
                  <a:pt x="5259802" y="817227"/>
                </a:lnTo>
                <a:lnTo>
                  <a:pt x="5262297" y="819284"/>
                </a:lnTo>
                <a:lnTo>
                  <a:pt x="5264142" y="827513"/>
                </a:lnTo>
                <a:lnTo>
                  <a:pt x="5269893" y="831519"/>
                </a:lnTo>
                <a:lnTo>
                  <a:pt x="5272932" y="836390"/>
                </a:lnTo>
                <a:lnTo>
                  <a:pt x="5274777" y="851007"/>
                </a:lnTo>
                <a:lnTo>
                  <a:pt x="5278792" y="855121"/>
                </a:lnTo>
                <a:lnTo>
                  <a:pt x="5278792" y="858370"/>
                </a:lnTo>
                <a:lnTo>
                  <a:pt x="5277381" y="861834"/>
                </a:lnTo>
                <a:lnTo>
                  <a:pt x="5282481" y="867465"/>
                </a:lnTo>
                <a:lnTo>
                  <a:pt x="5282481" y="874718"/>
                </a:lnTo>
                <a:lnTo>
                  <a:pt x="5289861" y="885545"/>
                </a:lnTo>
                <a:lnTo>
                  <a:pt x="5288016" y="891826"/>
                </a:lnTo>
                <a:lnTo>
                  <a:pt x="5290946" y="897022"/>
                </a:lnTo>
                <a:lnTo>
                  <a:pt x="5296046" y="900053"/>
                </a:lnTo>
                <a:lnTo>
                  <a:pt x="5293550" y="904168"/>
                </a:lnTo>
                <a:lnTo>
                  <a:pt x="5296263" y="906658"/>
                </a:lnTo>
                <a:lnTo>
                  <a:pt x="5298216" y="916728"/>
                </a:lnTo>
                <a:lnTo>
                  <a:pt x="5307766" y="928962"/>
                </a:lnTo>
                <a:lnTo>
                  <a:pt x="5315362" y="931452"/>
                </a:lnTo>
                <a:lnTo>
                  <a:pt x="5318617" y="935458"/>
                </a:lnTo>
                <a:lnTo>
                  <a:pt x="5322090" y="936216"/>
                </a:lnTo>
                <a:lnTo>
                  <a:pt x="5329361" y="943254"/>
                </a:lnTo>
                <a:lnTo>
                  <a:pt x="5329361" y="947043"/>
                </a:lnTo>
                <a:lnTo>
                  <a:pt x="5326973" y="946177"/>
                </a:lnTo>
                <a:lnTo>
                  <a:pt x="5326973" y="951374"/>
                </a:lnTo>
                <a:lnTo>
                  <a:pt x="5325671" y="957870"/>
                </a:lnTo>
                <a:lnTo>
                  <a:pt x="5328709" y="966856"/>
                </a:lnTo>
                <a:lnTo>
                  <a:pt x="5334135" y="972270"/>
                </a:lnTo>
                <a:lnTo>
                  <a:pt x="5334895" y="979632"/>
                </a:lnTo>
                <a:lnTo>
                  <a:pt x="5330554" y="983422"/>
                </a:lnTo>
                <a:lnTo>
                  <a:pt x="5330554" y="985804"/>
                </a:lnTo>
                <a:lnTo>
                  <a:pt x="5327299" y="989810"/>
                </a:lnTo>
                <a:lnTo>
                  <a:pt x="5329252" y="992517"/>
                </a:lnTo>
                <a:lnTo>
                  <a:pt x="5329252" y="1002803"/>
                </a:lnTo>
                <a:lnTo>
                  <a:pt x="5324043" y="1005509"/>
                </a:lnTo>
                <a:lnTo>
                  <a:pt x="5325128" y="1007458"/>
                </a:lnTo>
                <a:lnTo>
                  <a:pt x="5328709" y="1006592"/>
                </a:lnTo>
                <a:lnTo>
                  <a:pt x="5329469" y="1009299"/>
                </a:lnTo>
                <a:lnTo>
                  <a:pt x="5323827" y="1012547"/>
                </a:lnTo>
                <a:lnTo>
                  <a:pt x="5323827" y="1022507"/>
                </a:lnTo>
                <a:lnTo>
                  <a:pt x="5321656" y="1025539"/>
                </a:lnTo>
                <a:lnTo>
                  <a:pt x="5315688" y="1022616"/>
                </a:lnTo>
                <a:lnTo>
                  <a:pt x="5315688" y="1025864"/>
                </a:lnTo>
                <a:lnTo>
                  <a:pt x="5320570" y="1031278"/>
                </a:lnTo>
                <a:lnTo>
                  <a:pt x="5320570" y="1034851"/>
                </a:lnTo>
                <a:lnTo>
                  <a:pt x="5315470" y="1037233"/>
                </a:lnTo>
                <a:lnTo>
                  <a:pt x="5311889" y="1041888"/>
                </a:lnTo>
                <a:lnTo>
                  <a:pt x="5302991" y="1042429"/>
                </a:lnTo>
                <a:lnTo>
                  <a:pt x="5298433" y="1038640"/>
                </a:lnTo>
                <a:lnTo>
                  <a:pt x="5305704" y="1034634"/>
                </a:lnTo>
                <a:lnTo>
                  <a:pt x="5305704" y="1031061"/>
                </a:lnTo>
                <a:lnTo>
                  <a:pt x="5301363" y="1031061"/>
                </a:lnTo>
                <a:lnTo>
                  <a:pt x="5300170" y="1034092"/>
                </a:lnTo>
                <a:lnTo>
                  <a:pt x="5296697" y="1034092"/>
                </a:lnTo>
                <a:lnTo>
                  <a:pt x="5285845" y="1027921"/>
                </a:lnTo>
                <a:lnTo>
                  <a:pt x="5283458" y="1030953"/>
                </a:lnTo>
                <a:lnTo>
                  <a:pt x="5269893" y="1032794"/>
                </a:lnTo>
                <a:lnTo>
                  <a:pt x="5262840" y="1033335"/>
                </a:lnTo>
                <a:lnTo>
                  <a:pt x="5259367" y="1039614"/>
                </a:lnTo>
                <a:lnTo>
                  <a:pt x="5262623" y="1040156"/>
                </a:lnTo>
                <a:lnTo>
                  <a:pt x="5264250" y="1041996"/>
                </a:lnTo>
                <a:lnTo>
                  <a:pt x="5266963" y="1037449"/>
                </a:lnTo>
                <a:lnTo>
                  <a:pt x="5274342" y="1036041"/>
                </a:lnTo>
                <a:lnTo>
                  <a:pt x="5276513" y="1040698"/>
                </a:lnTo>
                <a:lnTo>
                  <a:pt x="5282807" y="1046652"/>
                </a:lnTo>
                <a:lnTo>
                  <a:pt x="5300495" y="1049575"/>
                </a:lnTo>
                <a:lnTo>
                  <a:pt x="5308091" y="1051741"/>
                </a:lnTo>
                <a:lnTo>
                  <a:pt x="5316990" y="1050333"/>
                </a:lnTo>
                <a:lnTo>
                  <a:pt x="5325345" y="1050333"/>
                </a:lnTo>
                <a:lnTo>
                  <a:pt x="5326973" y="1052824"/>
                </a:lnTo>
                <a:lnTo>
                  <a:pt x="5336197" y="1054772"/>
                </a:lnTo>
                <a:lnTo>
                  <a:pt x="5343468" y="1050658"/>
                </a:lnTo>
                <a:lnTo>
                  <a:pt x="5343468" y="1046002"/>
                </a:lnTo>
                <a:lnTo>
                  <a:pt x="5340538" y="1042537"/>
                </a:lnTo>
                <a:lnTo>
                  <a:pt x="5340538" y="1036583"/>
                </a:lnTo>
                <a:lnTo>
                  <a:pt x="5343576" y="1032469"/>
                </a:lnTo>
                <a:lnTo>
                  <a:pt x="5348134" y="1030303"/>
                </a:lnTo>
                <a:lnTo>
                  <a:pt x="5348134" y="1026839"/>
                </a:lnTo>
                <a:lnTo>
                  <a:pt x="5354863" y="1020125"/>
                </a:lnTo>
                <a:lnTo>
                  <a:pt x="5354863" y="1015795"/>
                </a:lnTo>
                <a:lnTo>
                  <a:pt x="5358985" y="1004968"/>
                </a:lnTo>
                <a:lnTo>
                  <a:pt x="5354863" y="997931"/>
                </a:lnTo>
                <a:lnTo>
                  <a:pt x="5356164" y="990026"/>
                </a:lnTo>
                <a:lnTo>
                  <a:pt x="5363543" y="977034"/>
                </a:lnTo>
                <a:lnTo>
                  <a:pt x="5364303" y="972703"/>
                </a:lnTo>
                <a:lnTo>
                  <a:pt x="5357032" y="955163"/>
                </a:lnTo>
                <a:lnTo>
                  <a:pt x="5347049" y="949425"/>
                </a:lnTo>
                <a:lnTo>
                  <a:pt x="5344119" y="945311"/>
                </a:lnTo>
                <a:lnTo>
                  <a:pt x="5343360" y="931561"/>
                </a:lnTo>
                <a:lnTo>
                  <a:pt x="5350738" y="925822"/>
                </a:lnTo>
                <a:lnTo>
                  <a:pt x="5354536" y="920192"/>
                </a:lnTo>
                <a:lnTo>
                  <a:pt x="5360830" y="919326"/>
                </a:lnTo>
                <a:lnTo>
                  <a:pt x="5370597" y="909906"/>
                </a:lnTo>
                <a:lnTo>
                  <a:pt x="5377108" y="909906"/>
                </a:lnTo>
                <a:lnTo>
                  <a:pt x="5384704" y="917269"/>
                </a:lnTo>
                <a:lnTo>
                  <a:pt x="5384704" y="923765"/>
                </a:lnTo>
                <a:lnTo>
                  <a:pt x="5392517" y="927554"/>
                </a:lnTo>
                <a:lnTo>
                  <a:pt x="5394362" y="930911"/>
                </a:lnTo>
                <a:lnTo>
                  <a:pt x="5396532" y="930911"/>
                </a:lnTo>
                <a:lnTo>
                  <a:pt x="5402501" y="938273"/>
                </a:lnTo>
                <a:lnTo>
                  <a:pt x="5401633" y="944012"/>
                </a:lnTo>
                <a:lnTo>
                  <a:pt x="5405756" y="946718"/>
                </a:lnTo>
                <a:lnTo>
                  <a:pt x="5407058" y="952132"/>
                </a:lnTo>
                <a:lnTo>
                  <a:pt x="5411507" y="957762"/>
                </a:lnTo>
                <a:lnTo>
                  <a:pt x="5412376" y="963717"/>
                </a:lnTo>
                <a:lnTo>
                  <a:pt x="5409989" y="965882"/>
                </a:lnTo>
                <a:lnTo>
                  <a:pt x="5413569" y="971296"/>
                </a:lnTo>
                <a:lnTo>
                  <a:pt x="5419321" y="971296"/>
                </a:lnTo>
                <a:lnTo>
                  <a:pt x="5425614" y="975843"/>
                </a:lnTo>
                <a:lnTo>
                  <a:pt x="5432126" y="974436"/>
                </a:lnTo>
                <a:lnTo>
                  <a:pt x="5436141" y="973136"/>
                </a:lnTo>
                <a:lnTo>
                  <a:pt x="5443411" y="972378"/>
                </a:lnTo>
                <a:lnTo>
                  <a:pt x="5445040" y="969672"/>
                </a:lnTo>
                <a:lnTo>
                  <a:pt x="5447753" y="968048"/>
                </a:lnTo>
                <a:lnTo>
                  <a:pt x="5444496" y="966748"/>
                </a:lnTo>
                <a:lnTo>
                  <a:pt x="5439830" y="968048"/>
                </a:lnTo>
                <a:lnTo>
                  <a:pt x="5438203" y="964475"/>
                </a:lnTo>
                <a:lnTo>
                  <a:pt x="5434622" y="970646"/>
                </a:lnTo>
                <a:lnTo>
                  <a:pt x="5427785" y="970646"/>
                </a:lnTo>
                <a:lnTo>
                  <a:pt x="5424746" y="966315"/>
                </a:lnTo>
                <a:lnTo>
                  <a:pt x="5419321" y="966315"/>
                </a:lnTo>
                <a:lnTo>
                  <a:pt x="5416391" y="961985"/>
                </a:lnTo>
                <a:lnTo>
                  <a:pt x="5418018" y="957979"/>
                </a:lnTo>
                <a:lnTo>
                  <a:pt x="5415089" y="956138"/>
                </a:lnTo>
                <a:lnTo>
                  <a:pt x="5411616" y="949317"/>
                </a:lnTo>
                <a:lnTo>
                  <a:pt x="5411616" y="941413"/>
                </a:lnTo>
                <a:lnTo>
                  <a:pt x="5416282" y="940114"/>
                </a:lnTo>
                <a:lnTo>
                  <a:pt x="5420080" y="936865"/>
                </a:lnTo>
                <a:lnTo>
                  <a:pt x="5416608" y="934159"/>
                </a:lnTo>
                <a:lnTo>
                  <a:pt x="5415523" y="930369"/>
                </a:lnTo>
                <a:lnTo>
                  <a:pt x="5414112" y="929503"/>
                </a:lnTo>
                <a:lnTo>
                  <a:pt x="5412485" y="925714"/>
                </a:lnTo>
                <a:lnTo>
                  <a:pt x="5405214" y="921600"/>
                </a:lnTo>
                <a:lnTo>
                  <a:pt x="5405214" y="917810"/>
                </a:lnTo>
                <a:lnTo>
                  <a:pt x="5399788" y="910556"/>
                </a:lnTo>
                <a:lnTo>
                  <a:pt x="5391649" y="910556"/>
                </a:lnTo>
                <a:lnTo>
                  <a:pt x="5380798" y="905900"/>
                </a:lnTo>
                <a:lnTo>
                  <a:pt x="5377868" y="900487"/>
                </a:lnTo>
                <a:lnTo>
                  <a:pt x="5372767" y="902328"/>
                </a:lnTo>
                <a:lnTo>
                  <a:pt x="5364086" y="897239"/>
                </a:lnTo>
                <a:lnTo>
                  <a:pt x="5359962" y="898646"/>
                </a:lnTo>
                <a:lnTo>
                  <a:pt x="5353994" y="896806"/>
                </a:lnTo>
                <a:lnTo>
                  <a:pt x="5348243" y="902761"/>
                </a:lnTo>
                <a:lnTo>
                  <a:pt x="5346614" y="909257"/>
                </a:lnTo>
                <a:lnTo>
                  <a:pt x="5343360" y="911963"/>
                </a:lnTo>
                <a:lnTo>
                  <a:pt x="5334895" y="909257"/>
                </a:lnTo>
                <a:lnTo>
                  <a:pt x="5327841" y="913587"/>
                </a:lnTo>
                <a:lnTo>
                  <a:pt x="5321114" y="911639"/>
                </a:lnTo>
                <a:lnTo>
                  <a:pt x="5318617" y="908391"/>
                </a:lnTo>
                <a:lnTo>
                  <a:pt x="5319377" y="902219"/>
                </a:lnTo>
                <a:lnTo>
                  <a:pt x="5318617" y="897130"/>
                </a:lnTo>
                <a:lnTo>
                  <a:pt x="5309611" y="887711"/>
                </a:lnTo>
                <a:lnTo>
                  <a:pt x="5306681" y="882080"/>
                </a:lnTo>
                <a:lnTo>
                  <a:pt x="5307549" y="871254"/>
                </a:lnTo>
                <a:lnTo>
                  <a:pt x="5302123" y="862809"/>
                </a:lnTo>
                <a:lnTo>
                  <a:pt x="5303425" y="856854"/>
                </a:lnTo>
                <a:lnTo>
                  <a:pt x="5304836" y="841371"/>
                </a:lnTo>
                <a:lnTo>
                  <a:pt x="5300495" y="831627"/>
                </a:lnTo>
                <a:lnTo>
                  <a:pt x="5295286" y="825997"/>
                </a:lnTo>
                <a:lnTo>
                  <a:pt x="5289101" y="825997"/>
                </a:lnTo>
                <a:lnTo>
                  <a:pt x="5286713" y="819284"/>
                </a:lnTo>
                <a:lnTo>
                  <a:pt x="5275862" y="809864"/>
                </a:lnTo>
                <a:lnTo>
                  <a:pt x="5266855" y="804776"/>
                </a:lnTo>
                <a:lnTo>
                  <a:pt x="5266855" y="798821"/>
                </a:lnTo>
                <a:lnTo>
                  <a:pt x="5270111" y="789618"/>
                </a:lnTo>
                <a:lnTo>
                  <a:pt x="5268700" y="782256"/>
                </a:lnTo>
                <a:lnTo>
                  <a:pt x="5265119" y="778791"/>
                </a:lnTo>
                <a:lnTo>
                  <a:pt x="5265119" y="776084"/>
                </a:lnTo>
                <a:lnTo>
                  <a:pt x="5270219" y="770995"/>
                </a:lnTo>
                <a:lnTo>
                  <a:pt x="5278140" y="761792"/>
                </a:lnTo>
                <a:lnTo>
                  <a:pt x="5280637" y="750965"/>
                </a:lnTo>
                <a:lnTo>
                  <a:pt x="5277598" y="738189"/>
                </a:lnTo>
                <a:lnTo>
                  <a:pt x="5267506" y="718917"/>
                </a:lnTo>
                <a:lnTo>
                  <a:pt x="5270545" y="717076"/>
                </a:lnTo>
                <a:lnTo>
                  <a:pt x="5277381" y="721949"/>
                </a:lnTo>
                <a:lnTo>
                  <a:pt x="5278466" y="728228"/>
                </a:lnTo>
                <a:lnTo>
                  <a:pt x="5281722" y="729094"/>
                </a:lnTo>
                <a:lnTo>
                  <a:pt x="5283892" y="731584"/>
                </a:lnTo>
                <a:lnTo>
                  <a:pt x="5283892" y="739163"/>
                </a:lnTo>
                <a:lnTo>
                  <a:pt x="5289101" y="744252"/>
                </a:lnTo>
                <a:lnTo>
                  <a:pt x="5289101" y="755079"/>
                </a:lnTo>
                <a:lnTo>
                  <a:pt x="5292899" y="761575"/>
                </a:lnTo>
                <a:lnTo>
                  <a:pt x="5290729" y="767530"/>
                </a:lnTo>
                <a:lnTo>
                  <a:pt x="5293550" y="772728"/>
                </a:lnTo>
                <a:lnTo>
                  <a:pt x="5300820" y="779007"/>
                </a:lnTo>
                <a:lnTo>
                  <a:pt x="5300820" y="783013"/>
                </a:lnTo>
                <a:lnTo>
                  <a:pt x="5304945" y="786478"/>
                </a:lnTo>
                <a:lnTo>
                  <a:pt x="5304945" y="789942"/>
                </a:lnTo>
                <a:lnTo>
                  <a:pt x="5300820" y="792866"/>
                </a:lnTo>
                <a:lnTo>
                  <a:pt x="5303208" y="796656"/>
                </a:lnTo>
                <a:lnTo>
                  <a:pt x="5308959" y="795573"/>
                </a:lnTo>
                <a:lnTo>
                  <a:pt x="5315470" y="799687"/>
                </a:lnTo>
                <a:lnTo>
                  <a:pt x="5323935" y="799687"/>
                </a:lnTo>
                <a:lnTo>
                  <a:pt x="5328493" y="797738"/>
                </a:lnTo>
                <a:lnTo>
                  <a:pt x="5332833" y="800769"/>
                </a:lnTo>
                <a:lnTo>
                  <a:pt x="5334461" y="804559"/>
                </a:lnTo>
                <a:lnTo>
                  <a:pt x="5338802" y="799362"/>
                </a:lnTo>
                <a:lnTo>
                  <a:pt x="5344228" y="799362"/>
                </a:lnTo>
                <a:lnTo>
                  <a:pt x="5348785" y="796980"/>
                </a:lnTo>
                <a:lnTo>
                  <a:pt x="5352909" y="798063"/>
                </a:lnTo>
                <a:lnTo>
                  <a:pt x="5359420" y="805317"/>
                </a:lnTo>
                <a:lnTo>
                  <a:pt x="5363978" y="805858"/>
                </a:lnTo>
                <a:lnTo>
                  <a:pt x="5370271" y="809431"/>
                </a:lnTo>
                <a:lnTo>
                  <a:pt x="5380255" y="807807"/>
                </a:lnTo>
                <a:lnTo>
                  <a:pt x="5383728" y="803260"/>
                </a:lnTo>
                <a:lnTo>
                  <a:pt x="5379604" y="806183"/>
                </a:lnTo>
                <a:lnTo>
                  <a:pt x="5369837" y="805317"/>
                </a:lnTo>
                <a:lnTo>
                  <a:pt x="5368535" y="800662"/>
                </a:lnTo>
                <a:lnTo>
                  <a:pt x="5365497" y="799579"/>
                </a:lnTo>
                <a:lnTo>
                  <a:pt x="5362784" y="792541"/>
                </a:lnTo>
                <a:lnTo>
                  <a:pt x="5354645" y="792541"/>
                </a:lnTo>
                <a:lnTo>
                  <a:pt x="5353777" y="788752"/>
                </a:lnTo>
                <a:lnTo>
                  <a:pt x="5351606" y="788752"/>
                </a:lnTo>
                <a:lnTo>
                  <a:pt x="5348676" y="791999"/>
                </a:lnTo>
                <a:lnTo>
                  <a:pt x="5336957" y="791134"/>
                </a:lnTo>
                <a:lnTo>
                  <a:pt x="5332508" y="787560"/>
                </a:lnTo>
                <a:lnTo>
                  <a:pt x="5324586" y="787560"/>
                </a:lnTo>
                <a:lnTo>
                  <a:pt x="5316230" y="780306"/>
                </a:lnTo>
                <a:lnTo>
                  <a:pt x="5314385" y="774352"/>
                </a:lnTo>
                <a:lnTo>
                  <a:pt x="5311456" y="774352"/>
                </a:lnTo>
                <a:lnTo>
                  <a:pt x="5304185" y="763524"/>
                </a:lnTo>
                <a:lnTo>
                  <a:pt x="5307658" y="762225"/>
                </a:lnTo>
                <a:lnTo>
                  <a:pt x="5309828" y="759518"/>
                </a:lnTo>
                <a:lnTo>
                  <a:pt x="5316556" y="754646"/>
                </a:lnTo>
                <a:lnTo>
                  <a:pt x="5319485" y="754646"/>
                </a:lnTo>
                <a:lnTo>
                  <a:pt x="5325996" y="762225"/>
                </a:lnTo>
                <a:lnTo>
                  <a:pt x="5336848" y="766773"/>
                </a:lnTo>
                <a:lnTo>
                  <a:pt x="5343576" y="765365"/>
                </a:lnTo>
                <a:lnTo>
                  <a:pt x="5348785" y="755838"/>
                </a:lnTo>
                <a:lnTo>
                  <a:pt x="5344445" y="747175"/>
                </a:lnTo>
                <a:lnTo>
                  <a:pt x="5335546" y="745010"/>
                </a:lnTo>
                <a:lnTo>
                  <a:pt x="5327624" y="750099"/>
                </a:lnTo>
                <a:lnTo>
                  <a:pt x="5324586" y="746634"/>
                </a:lnTo>
                <a:lnTo>
                  <a:pt x="5325780" y="743711"/>
                </a:lnTo>
                <a:lnTo>
                  <a:pt x="5328167" y="745335"/>
                </a:lnTo>
                <a:lnTo>
                  <a:pt x="5330880" y="743494"/>
                </a:lnTo>
                <a:lnTo>
                  <a:pt x="5331422" y="738081"/>
                </a:lnTo>
                <a:lnTo>
                  <a:pt x="5337174" y="729094"/>
                </a:lnTo>
                <a:lnTo>
                  <a:pt x="5342600" y="725846"/>
                </a:lnTo>
                <a:lnTo>
                  <a:pt x="5347266" y="728012"/>
                </a:lnTo>
                <a:lnTo>
                  <a:pt x="5363869" y="728012"/>
                </a:lnTo>
                <a:lnTo>
                  <a:pt x="5369620" y="734183"/>
                </a:lnTo>
                <a:lnTo>
                  <a:pt x="5375589" y="738189"/>
                </a:lnTo>
                <a:lnTo>
                  <a:pt x="5389479" y="739813"/>
                </a:lnTo>
                <a:lnTo>
                  <a:pt x="5390564" y="744469"/>
                </a:lnTo>
                <a:lnTo>
                  <a:pt x="5395990" y="747392"/>
                </a:lnTo>
                <a:lnTo>
                  <a:pt x="5405973" y="757461"/>
                </a:lnTo>
                <a:lnTo>
                  <a:pt x="5412810" y="757461"/>
                </a:lnTo>
                <a:lnTo>
                  <a:pt x="5425506" y="755620"/>
                </a:lnTo>
                <a:lnTo>
                  <a:pt x="5435598" y="749449"/>
                </a:lnTo>
                <a:lnTo>
                  <a:pt x="5439180" y="753022"/>
                </a:lnTo>
                <a:lnTo>
                  <a:pt x="5441133" y="752481"/>
                </a:lnTo>
                <a:lnTo>
                  <a:pt x="5446776" y="753022"/>
                </a:lnTo>
                <a:lnTo>
                  <a:pt x="5445473" y="761467"/>
                </a:lnTo>
                <a:lnTo>
                  <a:pt x="5446342" y="766123"/>
                </a:lnTo>
                <a:lnTo>
                  <a:pt x="5446342" y="769696"/>
                </a:lnTo>
                <a:lnTo>
                  <a:pt x="5439288" y="773810"/>
                </a:lnTo>
                <a:lnTo>
                  <a:pt x="5439288" y="780090"/>
                </a:lnTo>
                <a:lnTo>
                  <a:pt x="5442327" y="785503"/>
                </a:lnTo>
                <a:lnTo>
                  <a:pt x="5442327" y="793407"/>
                </a:lnTo>
                <a:lnTo>
                  <a:pt x="5450031" y="799579"/>
                </a:lnTo>
                <a:lnTo>
                  <a:pt x="5450573" y="804992"/>
                </a:lnTo>
                <a:lnTo>
                  <a:pt x="5447318" y="809107"/>
                </a:lnTo>
                <a:lnTo>
                  <a:pt x="5449489" y="824048"/>
                </a:lnTo>
                <a:lnTo>
                  <a:pt x="5452528" y="824048"/>
                </a:lnTo>
                <a:lnTo>
                  <a:pt x="5453937" y="819176"/>
                </a:lnTo>
                <a:lnTo>
                  <a:pt x="5452528" y="815927"/>
                </a:lnTo>
                <a:lnTo>
                  <a:pt x="5455457" y="812354"/>
                </a:lnTo>
                <a:lnTo>
                  <a:pt x="5454697" y="806399"/>
                </a:lnTo>
                <a:lnTo>
                  <a:pt x="5458278" y="804992"/>
                </a:lnTo>
                <a:lnTo>
                  <a:pt x="5460991" y="797413"/>
                </a:lnTo>
                <a:lnTo>
                  <a:pt x="5464789" y="800120"/>
                </a:lnTo>
                <a:lnTo>
                  <a:pt x="5467719" y="808456"/>
                </a:lnTo>
                <a:lnTo>
                  <a:pt x="5468479" y="819284"/>
                </a:lnTo>
                <a:lnTo>
                  <a:pt x="5469889" y="822749"/>
                </a:lnTo>
                <a:lnTo>
                  <a:pt x="5466634" y="824914"/>
                </a:lnTo>
                <a:lnTo>
                  <a:pt x="5466634" y="830544"/>
                </a:lnTo>
                <a:lnTo>
                  <a:pt x="5464464" y="832384"/>
                </a:lnTo>
                <a:lnTo>
                  <a:pt x="5473145" y="838123"/>
                </a:lnTo>
                <a:lnTo>
                  <a:pt x="5480741" y="838123"/>
                </a:lnTo>
                <a:lnTo>
                  <a:pt x="5488229" y="839964"/>
                </a:lnTo>
                <a:lnTo>
                  <a:pt x="5492787" y="846135"/>
                </a:lnTo>
                <a:lnTo>
                  <a:pt x="5492787" y="851224"/>
                </a:lnTo>
                <a:lnTo>
                  <a:pt x="5497995" y="855229"/>
                </a:lnTo>
                <a:lnTo>
                  <a:pt x="5507762" y="855229"/>
                </a:lnTo>
                <a:lnTo>
                  <a:pt x="5517420" y="865190"/>
                </a:lnTo>
                <a:lnTo>
                  <a:pt x="5516443" y="861726"/>
                </a:lnTo>
                <a:lnTo>
                  <a:pt x="5516443" y="855013"/>
                </a:lnTo>
                <a:lnTo>
                  <a:pt x="5523714" y="847434"/>
                </a:lnTo>
                <a:lnTo>
                  <a:pt x="5528923" y="847434"/>
                </a:lnTo>
                <a:lnTo>
                  <a:pt x="5539232" y="855555"/>
                </a:lnTo>
                <a:lnTo>
                  <a:pt x="5546502" y="855555"/>
                </a:lnTo>
                <a:lnTo>
                  <a:pt x="5550300" y="860210"/>
                </a:lnTo>
                <a:lnTo>
                  <a:pt x="5552688" y="869088"/>
                </a:lnTo>
                <a:lnTo>
                  <a:pt x="5551602" y="859561"/>
                </a:lnTo>
                <a:lnTo>
                  <a:pt x="5548673" y="853389"/>
                </a:lnTo>
                <a:lnTo>
                  <a:pt x="5544332" y="853389"/>
                </a:lnTo>
                <a:lnTo>
                  <a:pt x="5537822" y="851007"/>
                </a:lnTo>
                <a:lnTo>
                  <a:pt x="5528705" y="845052"/>
                </a:lnTo>
                <a:lnTo>
                  <a:pt x="5521002" y="846460"/>
                </a:lnTo>
                <a:lnTo>
                  <a:pt x="5513188" y="852631"/>
                </a:lnTo>
                <a:lnTo>
                  <a:pt x="5509607" y="851332"/>
                </a:lnTo>
                <a:lnTo>
                  <a:pt x="5508739" y="852198"/>
                </a:lnTo>
                <a:lnTo>
                  <a:pt x="5500492" y="848733"/>
                </a:lnTo>
                <a:lnTo>
                  <a:pt x="5491593" y="839205"/>
                </a:lnTo>
                <a:lnTo>
                  <a:pt x="5486927" y="835741"/>
                </a:lnTo>
                <a:lnTo>
                  <a:pt x="5478788" y="834983"/>
                </a:lnTo>
                <a:lnTo>
                  <a:pt x="5474231" y="827945"/>
                </a:lnTo>
                <a:lnTo>
                  <a:pt x="5478028" y="829353"/>
                </a:lnTo>
                <a:lnTo>
                  <a:pt x="5480959" y="828811"/>
                </a:lnTo>
                <a:lnTo>
                  <a:pt x="5486385" y="817985"/>
                </a:lnTo>
                <a:lnTo>
                  <a:pt x="5484539" y="813113"/>
                </a:lnTo>
                <a:lnTo>
                  <a:pt x="5478028" y="807374"/>
                </a:lnTo>
                <a:lnTo>
                  <a:pt x="5475098" y="796547"/>
                </a:lnTo>
                <a:lnTo>
                  <a:pt x="5467502" y="785720"/>
                </a:lnTo>
                <a:lnTo>
                  <a:pt x="5462836" y="782472"/>
                </a:lnTo>
                <a:lnTo>
                  <a:pt x="5457627" y="775975"/>
                </a:lnTo>
                <a:lnTo>
                  <a:pt x="5459255" y="770238"/>
                </a:lnTo>
                <a:lnTo>
                  <a:pt x="5457627" y="765148"/>
                </a:lnTo>
                <a:lnTo>
                  <a:pt x="5458930" y="752697"/>
                </a:lnTo>
                <a:lnTo>
                  <a:pt x="5454046" y="746959"/>
                </a:lnTo>
                <a:lnTo>
                  <a:pt x="5450791" y="746959"/>
                </a:lnTo>
                <a:lnTo>
                  <a:pt x="5442434" y="741546"/>
                </a:lnTo>
                <a:lnTo>
                  <a:pt x="5429956" y="741546"/>
                </a:lnTo>
                <a:lnTo>
                  <a:pt x="5426157" y="734833"/>
                </a:lnTo>
                <a:lnTo>
                  <a:pt x="5418887" y="731043"/>
                </a:lnTo>
                <a:lnTo>
                  <a:pt x="5418887" y="724872"/>
                </a:lnTo>
                <a:lnTo>
                  <a:pt x="5416716" y="720866"/>
                </a:lnTo>
                <a:lnTo>
                  <a:pt x="5416716" y="717293"/>
                </a:lnTo>
                <a:lnTo>
                  <a:pt x="5410965" y="720866"/>
                </a:lnTo>
                <a:lnTo>
                  <a:pt x="5394470" y="720108"/>
                </a:lnTo>
                <a:lnTo>
                  <a:pt x="5388827" y="720649"/>
                </a:lnTo>
                <a:lnTo>
                  <a:pt x="5381992" y="716102"/>
                </a:lnTo>
                <a:lnTo>
                  <a:pt x="5381123" y="709606"/>
                </a:lnTo>
                <a:lnTo>
                  <a:pt x="5378953" y="709606"/>
                </a:lnTo>
                <a:lnTo>
                  <a:pt x="5376999" y="705600"/>
                </a:lnTo>
                <a:lnTo>
                  <a:pt x="5376999" y="697155"/>
                </a:lnTo>
                <a:lnTo>
                  <a:pt x="5370814" y="686327"/>
                </a:lnTo>
                <a:lnTo>
                  <a:pt x="5362349" y="681239"/>
                </a:lnTo>
                <a:lnTo>
                  <a:pt x="5364195" y="677666"/>
                </a:lnTo>
                <a:lnTo>
                  <a:pt x="5363109" y="674743"/>
                </a:lnTo>
                <a:lnTo>
                  <a:pt x="5359312" y="674743"/>
                </a:lnTo>
                <a:lnTo>
                  <a:pt x="5356381" y="671711"/>
                </a:lnTo>
                <a:lnTo>
                  <a:pt x="5357792" y="666839"/>
                </a:lnTo>
                <a:lnTo>
                  <a:pt x="5357792" y="661642"/>
                </a:lnTo>
                <a:lnTo>
                  <a:pt x="5352150" y="657311"/>
                </a:lnTo>
                <a:lnTo>
                  <a:pt x="5355730" y="654388"/>
                </a:lnTo>
                <a:lnTo>
                  <a:pt x="5362458" y="654388"/>
                </a:lnTo>
                <a:lnTo>
                  <a:pt x="5368427" y="648433"/>
                </a:lnTo>
                <a:lnTo>
                  <a:pt x="5374178" y="648433"/>
                </a:lnTo>
                <a:lnTo>
                  <a:pt x="5387200" y="645509"/>
                </a:lnTo>
                <a:lnTo>
                  <a:pt x="5405431" y="638797"/>
                </a:lnTo>
                <a:lnTo>
                  <a:pt x="5412267" y="632842"/>
                </a:lnTo>
                <a:lnTo>
                  <a:pt x="5418018" y="631543"/>
                </a:lnTo>
                <a:lnTo>
                  <a:pt x="5422685" y="633383"/>
                </a:lnTo>
                <a:lnTo>
                  <a:pt x="5428436" y="631001"/>
                </a:lnTo>
                <a:lnTo>
                  <a:pt x="5430932" y="625263"/>
                </a:lnTo>
                <a:lnTo>
                  <a:pt x="5439614" y="622015"/>
                </a:lnTo>
                <a:lnTo>
                  <a:pt x="5456217" y="614977"/>
                </a:lnTo>
                <a:lnTo>
                  <a:pt x="5457844" y="616926"/>
                </a:lnTo>
                <a:lnTo>
                  <a:pt x="5455132" y="622015"/>
                </a:lnTo>
                <a:lnTo>
                  <a:pt x="5455132" y="625587"/>
                </a:lnTo>
                <a:lnTo>
                  <a:pt x="5451551" y="628078"/>
                </a:lnTo>
                <a:lnTo>
                  <a:pt x="5446993" y="637823"/>
                </a:lnTo>
                <a:lnTo>
                  <a:pt x="5446993" y="643019"/>
                </a:lnTo>
                <a:lnTo>
                  <a:pt x="5456976" y="650923"/>
                </a:lnTo>
                <a:lnTo>
                  <a:pt x="5465875" y="650923"/>
                </a:lnTo>
                <a:lnTo>
                  <a:pt x="5460666" y="648541"/>
                </a:lnTo>
                <a:lnTo>
                  <a:pt x="5452310" y="640205"/>
                </a:lnTo>
                <a:lnTo>
                  <a:pt x="5452310" y="636956"/>
                </a:lnTo>
                <a:lnTo>
                  <a:pt x="5456108" y="631759"/>
                </a:lnTo>
                <a:lnTo>
                  <a:pt x="5465657" y="626021"/>
                </a:lnTo>
                <a:lnTo>
                  <a:pt x="5469130" y="617360"/>
                </a:lnTo>
                <a:lnTo>
                  <a:pt x="5465657" y="610538"/>
                </a:lnTo>
                <a:lnTo>
                  <a:pt x="5459907" y="610538"/>
                </a:lnTo>
                <a:lnTo>
                  <a:pt x="5453070" y="605883"/>
                </a:lnTo>
                <a:lnTo>
                  <a:pt x="5454481" y="601768"/>
                </a:lnTo>
                <a:lnTo>
                  <a:pt x="5447101" y="601768"/>
                </a:lnTo>
                <a:lnTo>
                  <a:pt x="5444714" y="604692"/>
                </a:lnTo>
                <a:lnTo>
                  <a:pt x="5441784" y="602310"/>
                </a:lnTo>
                <a:lnTo>
                  <a:pt x="5439397" y="595814"/>
                </a:lnTo>
                <a:lnTo>
                  <a:pt x="5431475" y="595814"/>
                </a:lnTo>
                <a:lnTo>
                  <a:pt x="5427676" y="597438"/>
                </a:lnTo>
                <a:lnTo>
                  <a:pt x="5422034" y="590725"/>
                </a:lnTo>
                <a:lnTo>
                  <a:pt x="5424421" y="589101"/>
                </a:lnTo>
                <a:lnTo>
                  <a:pt x="5425181" y="585311"/>
                </a:lnTo>
                <a:lnTo>
                  <a:pt x="5427894" y="583904"/>
                </a:lnTo>
                <a:lnTo>
                  <a:pt x="5432451" y="588018"/>
                </a:lnTo>
                <a:lnTo>
                  <a:pt x="5438203" y="588018"/>
                </a:lnTo>
                <a:lnTo>
                  <a:pt x="5443086" y="585528"/>
                </a:lnTo>
                <a:lnTo>
                  <a:pt x="5441241" y="582604"/>
                </a:lnTo>
                <a:lnTo>
                  <a:pt x="5438745" y="583904"/>
                </a:lnTo>
                <a:lnTo>
                  <a:pt x="5434188" y="585203"/>
                </a:lnTo>
                <a:lnTo>
                  <a:pt x="5429521" y="581630"/>
                </a:lnTo>
                <a:lnTo>
                  <a:pt x="5428653" y="577083"/>
                </a:lnTo>
                <a:lnTo>
                  <a:pt x="5423228" y="576324"/>
                </a:lnTo>
                <a:lnTo>
                  <a:pt x="5415632" y="573943"/>
                </a:lnTo>
                <a:lnTo>
                  <a:pt x="5410965" y="576108"/>
                </a:lnTo>
                <a:lnTo>
                  <a:pt x="5407926" y="571236"/>
                </a:lnTo>
                <a:lnTo>
                  <a:pt x="5410639" y="568204"/>
                </a:lnTo>
                <a:lnTo>
                  <a:pt x="5410639" y="563873"/>
                </a:lnTo>
                <a:lnTo>
                  <a:pt x="5407601" y="560951"/>
                </a:lnTo>
                <a:lnTo>
                  <a:pt x="5408686" y="559110"/>
                </a:lnTo>
                <a:lnTo>
                  <a:pt x="5412159" y="559867"/>
                </a:lnTo>
                <a:lnTo>
                  <a:pt x="5417259" y="566905"/>
                </a:lnTo>
                <a:lnTo>
                  <a:pt x="5421600" y="565606"/>
                </a:lnTo>
                <a:lnTo>
                  <a:pt x="5426808" y="572969"/>
                </a:lnTo>
                <a:lnTo>
                  <a:pt x="5427568" y="568421"/>
                </a:lnTo>
                <a:lnTo>
                  <a:pt x="5426700" y="564957"/>
                </a:lnTo>
                <a:lnTo>
                  <a:pt x="5431040" y="561925"/>
                </a:lnTo>
                <a:lnTo>
                  <a:pt x="5431909" y="552397"/>
                </a:lnTo>
                <a:lnTo>
                  <a:pt x="5428327" y="549474"/>
                </a:lnTo>
                <a:lnTo>
                  <a:pt x="5429413" y="547633"/>
                </a:lnTo>
                <a:lnTo>
                  <a:pt x="5434296" y="548500"/>
                </a:lnTo>
                <a:lnTo>
                  <a:pt x="5436792" y="544926"/>
                </a:lnTo>
                <a:lnTo>
                  <a:pt x="5425940" y="542220"/>
                </a:lnTo>
                <a:lnTo>
                  <a:pt x="5423553" y="545468"/>
                </a:lnTo>
                <a:lnTo>
                  <a:pt x="5419972" y="545468"/>
                </a:lnTo>
                <a:lnTo>
                  <a:pt x="5419972" y="540812"/>
                </a:lnTo>
                <a:lnTo>
                  <a:pt x="5424530" y="537023"/>
                </a:lnTo>
                <a:lnTo>
                  <a:pt x="5432669" y="537023"/>
                </a:lnTo>
                <a:lnTo>
                  <a:pt x="5438637" y="535074"/>
                </a:lnTo>
                <a:lnTo>
                  <a:pt x="5437877" y="530743"/>
                </a:lnTo>
                <a:lnTo>
                  <a:pt x="5442543" y="525546"/>
                </a:lnTo>
                <a:lnTo>
                  <a:pt x="5442543" y="520998"/>
                </a:lnTo>
                <a:lnTo>
                  <a:pt x="5444171" y="519158"/>
                </a:lnTo>
                <a:lnTo>
                  <a:pt x="5443411" y="516776"/>
                </a:lnTo>
                <a:lnTo>
                  <a:pt x="5447969" y="510280"/>
                </a:lnTo>
                <a:lnTo>
                  <a:pt x="5449815" y="510280"/>
                </a:lnTo>
                <a:lnTo>
                  <a:pt x="5451984" y="513528"/>
                </a:lnTo>
                <a:lnTo>
                  <a:pt x="5454481" y="512229"/>
                </a:lnTo>
                <a:lnTo>
                  <a:pt x="5455891" y="507898"/>
                </a:lnTo>
                <a:lnTo>
                  <a:pt x="5457844" y="507898"/>
                </a:lnTo>
                <a:lnTo>
                  <a:pt x="5454914" y="503784"/>
                </a:lnTo>
                <a:lnTo>
                  <a:pt x="5456759" y="501077"/>
                </a:lnTo>
                <a:lnTo>
                  <a:pt x="5462944" y="499127"/>
                </a:lnTo>
                <a:lnTo>
                  <a:pt x="5465657" y="497829"/>
                </a:lnTo>
                <a:lnTo>
                  <a:pt x="5466959" y="493498"/>
                </a:lnTo>
                <a:lnTo>
                  <a:pt x="5469456" y="492956"/>
                </a:lnTo>
                <a:lnTo>
                  <a:pt x="5473796" y="494797"/>
                </a:lnTo>
                <a:lnTo>
                  <a:pt x="5481935" y="492956"/>
                </a:lnTo>
                <a:lnTo>
                  <a:pt x="5480090" y="490033"/>
                </a:lnTo>
                <a:lnTo>
                  <a:pt x="5480850" y="486244"/>
                </a:lnTo>
                <a:lnTo>
                  <a:pt x="5491702" y="484620"/>
                </a:lnTo>
                <a:lnTo>
                  <a:pt x="5497561" y="481155"/>
                </a:lnTo>
                <a:lnTo>
                  <a:pt x="5499949" y="476066"/>
                </a:lnTo>
                <a:lnTo>
                  <a:pt x="5513296" y="470436"/>
                </a:lnTo>
                <a:lnTo>
                  <a:pt x="5514381" y="465781"/>
                </a:lnTo>
                <a:lnTo>
                  <a:pt x="5511452" y="465023"/>
                </a:lnTo>
                <a:lnTo>
                  <a:pt x="5503313" y="470111"/>
                </a:lnTo>
                <a:lnTo>
                  <a:pt x="5500600" y="467405"/>
                </a:lnTo>
                <a:lnTo>
                  <a:pt x="5495174" y="472818"/>
                </a:lnTo>
                <a:lnTo>
                  <a:pt x="5492244" y="469895"/>
                </a:lnTo>
                <a:lnTo>
                  <a:pt x="5492244" y="459068"/>
                </a:lnTo>
                <a:lnTo>
                  <a:pt x="5494957" y="457227"/>
                </a:lnTo>
                <a:lnTo>
                  <a:pt x="5496910" y="452896"/>
                </a:lnTo>
                <a:lnTo>
                  <a:pt x="5498755" y="453654"/>
                </a:lnTo>
                <a:lnTo>
                  <a:pt x="5499515" y="456036"/>
                </a:lnTo>
                <a:lnTo>
                  <a:pt x="5501143" y="456902"/>
                </a:lnTo>
                <a:lnTo>
                  <a:pt x="5504723" y="453330"/>
                </a:lnTo>
                <a:lnTo>
                  <a:pt x="5499298" y="448241"/>
                </a:lnTo>
                <a:lnTo>
                  <a:pt x="5505482" y="447375"/>
                </a:lnTo>
                <a:lnTo>
                  <a:pt x="5509607" y="450081"/>
                </a:lnTo>
                <a:lnTo>
                  <a:pt x="5513730" y="450948"/>
                </a:lnTo>
                <a:lnTo>
                  <a:pt x="5520566" y="445859"/>
                </a:lnTo>
                <a:lnTo>
                  <a:pt x="5525233" y="447483"/>
                </a:lnTo>
                <a:lnTo>
                  <a:pt x="5537930" y="442935"/>
                </a:lnTo>
                <a:lnTo>
                  <a:pt x="5543138" y="443801"/>
                </a:lnTo>
                <a:lnTo>
                  <a:pt x="5545092" y="447591"/>
                </a:lnTo>
                <a:lnTo>
                  <a:pt x="5540208" y="458418"/>
                </a:lnTo>
                <a:lnTo>
                  <a:pt x="5540208" y="461342"/>
                </a:lnTo>
                <a:lnTo>
                  <a:pt x="5545309" y="464915"/>
                </a:lnTo>
                <a:lnTo>
                  <a:pt x="5547154" y="458093"/>
                </a:lnTo>
                <a:lnTo>
                  <a:pt x="5551494" y="450839"/>
                </a:lnTo>
                <a:lnTo>
                  <a:pt x="5550409" y="446291"/>
                </a:lnTo>
                <a:lnTo>
                  <a:pt x="5551494" y="444343"/>
                </a:lnTo>
                <a:lnTo>
                  <a:pt x="5555292" y="448891"/>
                </a:lnTo>
                <a:lnTo>
                  <a:pt x="5556160" y="456252"/>
                </a:lnTo>
                <a:lnTo>
                  <a:pt x="5560176" y="456252"/>
                </a:lnTo>
                <a:lnTo>
                  <a:pt x="5562020" y="451056"/>
                </a:lnTo>
                <a:lnTo>
                  <a:pt x="5560176" y="445967"/>
                </a:lnTo>
                <a:lnTo>
                  <a:pt x="5563648" y="443260"/>
                </a:lnTo>
                <a:lnTo>
                  <a:pt x="5565601" y="443260"/>
                </a:lnTo>
                <a:lnTo>
                  <a:pt x="5566470" y="448349"/>
                </a:lnTo>
                <a:lnTo>
                  <a:pt x="5573523" y="443152"/>
                </a:lnTo>
                <a:lnTo>
                  <a:pt x="5574392" y="440228"/>
                </a:lnTo>
                <a:lnTo>
                  <a:pt x="5571136" y="436222"/>
                </a:lnTo>
                <a:lnTo>
                  <a:pt x="5576345" y="436222"/>
                </a:lnTo>
                <a:lnTo>
                  <a:pt x="5579058" y="433300"/>
                </a:lnTo>
                <a:lnTo>
                  <a:pt x="5573956" y="431459"/>
                </a:lnTo>
                <a:lnTo>
                  <a:pt x="5579382" y="426261"/>
                </a:lnTo>
                <a:lnTo>
                  <a:pt x="5585568" y="426261"/>
                </a:lnTo>
                <a:lnTo>
                  <a:pt x="5590017" y="423555"/>
                </a:lnTo>
                <a:lnTo>
                  <a:pt x="5592730" y="424638"/>
                </a:lnTo>
                <a:lnTo>
                  <a:pt x="5592730" y="427669"/>
                </a:lnTo>
                <a:lnTo>
                  <a:pt x="5594575" y="428968"/>
                </a:lnTo>
                <a:lnTo>
                  <a:pt x="5601954" y="429510"/>
                </a:lnTo>
                <a:lnTo>
                  <a:pt x="5601954" y="436222"/>
                </a:lnTo>
                <a:lnTo>
                  <a:pt x="5604667" y="439146"/>
                </a:lnTo>
                <a:lnTo>
                  <a:pt x="5600652" y="449973"/>
                </a:lnTo>
                <a:lnTo>
                  <a:pt x="5607380" y="446725"/>
                </a:lnTo>
                <a:lnTo>
                  <a:pt x="5612046" y="436764"/>
                </a:lnTo>
                <a:lnTo>
                  <a:pt x="5606620" y="427020"/>
                </a:lnTo>
                <a:lnTo>
                  <a:pt x="5600435" y="423230"/>
                </a:lnTo>
                <a:lnTo>
                  <a:pt x="5595878" y="416951"/>
                </a:lnTo>
                <a:lnTo>
                  <a:pt x="5590777" y="420198"/>
                </a:lnTo>
                <a:lnTo>
                  <a:pt x="5587847" y="418033"/>
                </a:lnTo>
                <a:lnTo>
                  <a:pt x="5582204" y="419116"/>
                </a:lnTo>
                <a:lnTo>
                  <a:pt x="5581119" y="415110"/>
                </a:lnTo>
                <a:lnTo>
                  <a:pt x="5576236" y="413486"/>
                </a:lnTo>
                <a:lnTo>
                  <a:pt x="5575368" y="411645"/>
                </a:lnTo>
                <a:lnTo>
                  <a:pt x="5578840" y="407856"/>
                </a:lnTo>
                <a:lnTo>
                  <a:pt x="5588607" y="407856"/>
                </a:lnTo>
                <a:lnTo>
                  <a:pt x="5591862" y="404283"/>
                </a:lnTo>
                <a:lnTo>
                  <a:pt x="5596203" y="404283"/>
                </a:lnTo>
                <a:lnTo>
                  <a:pt x="5600870" y="405366"/>
                </a:lnTo>
                <a:lnTo>
                  <a:pt x="5605536" y="403416"/>
                </a:lnTo>
                <a:lnTo>
                  <a:pt x="5608791" y="405582"/>
                </a:lnTo>
                <a:lnTo>
                  <a:pt x="5619643" y="401034"/>
                </a:lnTo>
                <a:lnTo>
                  <a:pt x="5625394" y="403958"/>
                </a:lnTo>
                <a:lnTo>
                  <a:pt x="5629083" y="403416"/>
                </a:lnTo>
                <a:lnTo>
                  <a:pt x="5633207" y="404283"/>
                </a:lnTo>
                <a:lnTo>
                  <a:pt x="5637222" y="401359"/>
                </a:lnTo>
                <a:lnTo>
                  <a:pt x="5635378" y="398436"/>
                </a:lnTo>
                <a:lnTo>
                  <a:pt x="5627782" y="398436"/>
                </a:lnTo>
                <a:lnTo>
                  <a:pt x="5620402" y="395404"/>
                </a:lnTo>
                <a:lnTo>
                  <a:pt x="5614434" y="397787"/>
                </a:lnTo>
                <a:lnTo>
                  <a:pt x="5605753" y="397028"/>
                </a:lnTo>
                <a:lnTo>
                  <a:pt x="5605753" y="391940"/>
                </a:lnTo>
                <a:lnTo>
                  <a:pt x="5603582" y="386202"/>
                </a:lnTo>
                <a:lnTo>
                  <a:pt x="5610419" y="381655"/>
                </a:lnTo>
                <a:lnTo>
                  <a:pt x="5603907" y="380247"/>
                </a:lnTo>
                <a:lnTo>
                  <a:pt x="5598482" y="373209"/>
                </a:lnTo>
                <a:lnTo>
                  <a:pt x="5593815" y="373209"/>
                </a:lnTo>
                <a:lnTo>
                  <a:pt x="5589258" y="367471"/>
                </a:lnTo>
                <a:lnTo>
                  <a:pt x="5588499" y="361733"/>
                </a:lnTo>
                <a:lnTo>
                  <a:pt x="5592839" y="361733"/>
                </a:lnTo>
                <a:lnTo>
                  <a:pt x="5592839" y="356103"/>
                </a:lnTo>
                <a:lnTo>
                  <a:pt x="5587087" y="350906"/>
                </a:lnTo>
                <a:lnTo>
                  <a:pt x="5587847" y="329251"/>
                </a:lnTo>
                <a:lnTo>
                  <a:pt x="5592947" y="323297"/>
                </a:lnTo>
                <a:lnTo>
                  <a:pt x="5591102" y="317558"/>
                </a:lnTo>
                <a:lnTo>
                  <a:pt x="5592188" y="309654"/>
                </a:lnTo>
                <a:lnTo>
                  <a:pt x="5596746" y="305107"/>
                </a:lnTo>
                <a:lnTo>
                  <a:pt x="5593707" y="300235"/>
                </a:lnTo>
                <a:lnTo>
                  <a:pt x="5598048" y="298935"/>
                </a:lnTo>
                <a:lnTo>
                  <a:pt x="5599133" y="294929"/>
                </a:lnTo>
                <a:close/>
                <a:moveTo>
                  <a:pt x="4790359" y="289083"/>
                </a:moveTo>
                <a:lnTo>
                  <a:pt x="4795785" y="293738"/>
                </a:lnTo>
                <a:lnTo>
                  <a:pt x="4804683" y="299045"/>
                </a:lnTo>
                <a:lnTo>
                  <a:pt x="4808481" y="297853"/>
                </a:lnTo>
                <a:lnTo>
                  <a:pt x="4812062" y="299152"/>
                </a:lnTo>
                <a:lnTo>
                  <a:pt x="4811086" y="301101"/>
                </a:lnTo>
                <a:lnTo>
                  <a:pt x="4808156" y="301425"/>
                </a:lnTo>
                <a:lnTo>
                  <a:pt x="4801970" y="304892"/>
                </a:lnTo>
                <a:lnTo>
                  <a:pt x="4801102" y="307922"/>
                </a:lnTo>
                <a:lnTo>
                  <a:pt x="4799148" y="312795"/>
                </a:lnTo>
                <a:lnTo>
                  <a:pt x="4795785" y="314852"/>
                </a:lnTo>
                <a:lnTo>
                  <a:pt x="4795785" y="317125"/>
                </a:lnTo>
                <a:lnTo>
                  <a:pt x="4799040" y="319941"/>
                </a:lnTo>
                <a:lnTo>
                  <a:pt x="4798823" y="322539"/>
                </a:lnTo>
                <a:lnTo>
                  <a:pt x="4795025" y="322864"/>
                </a:lnTo>
                <a:lnTo>
                  <a:pt x="4789708" y="319941"/>
                </a:lnTo>
                <a:lnTo>
                  <a:pt x="4786452" y="312253"/>
                </a:lnTo>
                <a:lnTo>
                  <a:pt x="4786669" y="305540"/>
                </a:lnTo>
                <a:lnTo>
                  <a:pt x="4781461" y="295796"/>
                </a:lnTo>
                <a:lnTo>
                  <a:pt x="4781786" y="291574"/>
                </a:lnTo>
                <a:lnTo>
                  <a:pt x="4783197" y="292007"/>
                </a:lnTo>
                <a:lnTo>
                  <a:pt x="4787429" y="290816"/>
                </a:lnTo>
                <a:close/>
                <a:moveTo>
                  <a:pt x="2047926" y="286700"/>
                </a:moveTo>
                <a:lnTo>
                  <a:pt x="2054654" y="289732"/>
                </a:lnTo>
                <a:lnTo>
                  <a:pt x="2058127" y="289082"/>
                </a:lnTo>
                <a:lnTo>
                  <a:pt x="2061274" y="290490"/>
                </a:lnTo>
                <a:lnTo>
                  <a:pt x="2061925" y="293630"/>
                </a:lnTo>
                <a:lnTo>
                  <a:pt x="2063770" y="296012"/>
                </a:lnTo>
                <a:lnTo>
                  <a:pt x="2061057" y="299585"/>
                </a:lnTo>
                <a:lnTo>
                  <a:pt x="2056716" y="301859"/>
                </a:lnTo>
                <a:lnTo>
                  <a:pt x="2052918" y="300018"/>
                </a:lnTo>
                <a:lnTo>
                  <a:pt x="2049554" y="300018"/>
                </a:lnTo>
                <a:lnTo>
                  <a:pt x="2047817" y="295470"/>
                </a:lnTo>
                <a:lnTo>
                  <a:pt x="2044671" y="291897"/>
                </a:lnTo>
                <a:lnTo>
                  <a:pt x="2041849" y="290923"/>
                </a:lnTo>
                <a:cubicBezTo>
                  <a:pt x="2041849" y="290923"/>
                  <a:pt x="2041849" y="289624"/>
                  <a:pt x="2041849" y="289624"/>
                </a:cubicBezTo>
                <a:lnTo>
                  <a:pt x="2045539" y="288758"/>
                </a:lnTo>
                <a:close/>
                <a:moveTo>
                  <a:pt x="4618793" y="285402"/>
                </a:moveTo>
                <a:lnTo>
                  <a:pt x="4629320" y="287135"/>
                </a:lnTo>
                <a:lnTo>
                  <a:pt x="4641583" y="294497"/>
                </a:lnTo>
                <a:lnTo>
                  <a:pt x="4647008" y="295797"/>
                </a:lnTo>
                <a:lnTo>
                  <a:pt x="4649938" y="299045"/>
                </a:lnTo>
                <a:lnTo>
                  <a:pt x="4647442" y="300451"/>
                </a:lnTo>
                <a:lnTo>
                  <a:pt x="4646574" y="302076"/>
                </a:lnTo>
                <a:lnTo>
                  <a:pt x="4641148" y="302833"/>
                </a:lnTo>
                <a:lnTo>
                  <a:pt x="4635831" y="300451"/>
                </a:lnTo>
                <a:lnTo>
                  <a:pt x="4633227" y="295363"/>
                </a:lnTo>
                <a:lnTo>
                  <a:pt x="4630188" y="294063"/>
                </a:lnTo>
                <a:lnTo>
                  <a:pt x="4627366" y="296772"/>
                </a:lnTo>
                <a:lnTo>
                  <a:pt x="4620530" y="297528"/>
                </a:lnTo>
                <a:lnTo>
                  <a:pt x="4616732" y="302293"/>
                </a:lnTo>
                <a:lnTo>
                  <a:pt x="4611740" y="306732"/>
                </a:lnTo>
                <a:lnTo>
                  <a:pt x="4613802" y="311387"/>
                </a:lnTo>
                <a:lnTo>
                  <a:pt x="4616515" y="312469"/>
                </a:lnTo>
                <a:lnTo>
                  <a:pt x="4619119" y="315502"/>
                </a:lnTo>
                <a:lnTo>
                  <a:pt x="4619879" y="322431"/>
                </a:lnTo>
                <a:lnTo>
                  <a:pt x="4622917" y="327520"/>
                </a:lnTo>
                <a:lnTo>
                  <a:pt x="4622049" y="330768"/>
                </a:lnTo>
                <a:lnTo>
                  <a:pt x="4618142" y="328278"/>
                </a:lnTo>
                <a:lnTo>
                  <a:pt x="4615647" y="321132"/>
                </a:lnTo>
                <a:lnTo>
                  <a:pt x="4612608" y="317883"/>
                </a:lnTo>
                <a:lnTo>
                  <a:pt x="4609787" y="320483"/>
                </a:lnTo>
                <a:lnTo>
                  <a:pt x="4609787" y="323081"/>
                </a:lnTo>
                <a:lnTo>
                  <a:pt x="4607724" y="326654"/>
                </a:lnTo>
                <a:lnTo>
                  <a:pt x="4605012" y="325138"/>
                </a:lnTo>
                <a:lnTo>
                  <a:pt x="4602733" y="321998"/>
                </a:lnTo>
                <a:lnTo>
                  <a:pt x="4598392" y="318750"/>
                </a:lnTo>
                <a:lnTo>
                  <a:pt x="4592641" y="322214"/>
                </a:lnTo>
                <a:lnTo>
                  <a:pt x="4588951" y="319618"/>
                </a:lnTo>
                <a:lnTo>
                  <a:pt x="4588626" y="307273"/>
                </a:lnTo>
                <a:lnTo>
                  <a:pt x="4594486" y="302076"/>
                </a:lnTo>
                <a:lnTo>
                  <a:pt x="4599803" y="300560"/>
                </a:lnTo>
                <a:lnTo>
                  <a:pt x="4603167" y="293846"/>
                </a:lnTo>
                <a:lnTo>
                  <a:pt x="4612066" y="285944"/>
                </a:lnTo>
                <a:close/>
                <a:moveTo>
                  <a:pt x="2294257" y="284643"/>
                </a:moveTo>
                <a:lnTo>
                  <a:pt x="2300660" y="286484"/>
                </a:lnTo>
                <a:lnTo>
                  <a:pt x="2307713" y="294929"/>
                </a:lnTo>
                <a:lnTo>
                  <a:pt x="2307171" y="299368"/>
                </a:lnTo>
                <a:lnTo>
                  <a:pt x="2307930" y="307163"/>
                </a:lnTo>
                <a:lnTo>
                  <a:pt x="2304675" y="307812"/>
                </a:lnTo>
                <a:lnTo>
                  <a:pt x="2299792" y="304890"/>
                </a:lnTo>
                <a:lnTo>
                  <a:pt x="2295451" y="306621"/>
                </a:lnTo>
                <a:lnTo>
                  <a:pt x="2292196" y="306621"/>
                </a:lnTo>
                <a:lnTo>
                  <a:pt x="2288723" y="300775"/>
                </a:lnTo>
                <a:lnTo>
                  <a:pt x="2283298" y="296445"/>
                </a:lnTo>
                <a:lnTo>
                  <a:pt x="2283949" y="290165"/>
                </a:lnTo>
                <a:lnTo>
                  <a:pt x="2286011" y="285509"/>
                </a:lnTo>
                <a:close/>
                <a:moveTo>
                  <a:pt x="2590075" y="279989"/>
                </a:moveTo>
                <a:lnTo>
                  <a:pt x="2594307" y="281829"/>
                </a:lnTo>
                <a:lnTo>
                  <a:pt x="2599190" y="286268"/>
                </a:lnTo>
                <a:lnTo>
                  <a:pt x="2597562" y="289409"/>
                </a:lnTo>
                <a:lnTo>
                  <a:pt x="2591160" y="289193"/>
                </a:lnTo>
                <a:lnTo>
                  <a:pt x="2587470" y="293090"/>
                </a:lnTo>
                <a:lnTo>
                  <a:pt x="2581068" y="293848"/>
                </a:lnTo>
                <a:lnTo>
                  <a:pt x="2577487" y="292765"/>
                </a:lnTo>
                <a:lnTo>
                  <a:pt x="2576619" y="290383"/>
                </a:lnTo>
                <a:lnTo>
                  <a:pt x="2582370" y="282803"/>
                </a:lnTo>
                <a:lnTo>
                  <a:pt x="2585408" y="282803"/>
                </a:lnTo>
                <a:close/>
                <a:moveTo>
                  <a:pt x="4784715" y="277498"/>
                </a:moveTo>
                <a:lnTo>
                  <a:pt x="4786994" y="279989"/>
                </a:lnTo>
                <a:lnTo>
                  <a:pt x="4786451" y="282912"/>
                </a:lnTo>
                <a:lnTo>
                  <a:pt x="4782762" y="285402"/>
                </a:lnTo>
                <a:lnTo>
                  <a:pt x="4779398" y="284753"/>
                </a:lnTo>
                <a:lnTo>
                  <a:pt x="4775926" y="281288"/>
                </a:lnTo>
                <a:lnTo>
                  <a:pt x="4779724" y="281288"/>
                </a:lnTo>
                <a:lnTo>
                  <a:pt x="4782003" y="278364"/>
                </a:lnTo>
                <a:close/>
                <a:moveTo>
                  <a:pt x="2233598" y="277065"/>
                </a:moveTo>
                <a:lnTo>
                  <a:pt x="2237071" y="279771"/>
                </a:lnTo>
                <a:lnTo>
                  <a:pt x="2237939" y="286160"/>
                </a:lnTo>
                <a:lnTo>
                  <a:pt x="2239350" y="289083"/>
                </a:lnTo>
                <a:lnTo>
                  <a:pt x="2235552" y="298178"/>
                </a:lnTo>
                <a:lnTo>
                  <a:pt x="2236203" y="302183"/>
                </a:lnTo>
                <a:lnTo>
                  <a:pt x="2233164" y="307273"/>
                </a:lnTo>
                <a:lnTo>
                  <a:pt x="2235552" y="310412"/>
                </a:lnTo>
                <a:lnTo>
                  <a:pt x="2231971" y="321889"/>
                </a:lnTo>
                <a:lnTo>
                  <a:pt x="2226219" y="325029"/>
                </a:lnTo>
                <a:lnTo>
                  <a:pt x="2220576" y="324162"/>
                </a:lnTo>
                <a:lnTo>
                  <a:pt x="2217429" y="317775"/>
                </a:lnTo>
                <a:lnTo>
                  <a:pt x="2219491" y="313444"/>
                </a:lnTo>
                <a:lnTo>
                  <a:pt x="2220902" y="307164"/>
                </a:lnTo>
                <a:lnTo>
                  <a:pt x="2221119" y="302292"/>
                </a:lnTo>
                <a:lnTo>
                  <a:pt x="2226219" y="298394"/>
                </a:lnTo>
                <a:lnTo>
                  <a:pt x="2226436" y="295254"/>
                </a:lnTo>
                <a:lnTo>
                  <a:pt x="2227738" y="293738"/>
                </a:lnTo>
                <a:lnTo>
                  <a:pt x="2227738" y="290600"/>
                </a:lnTo>
                <a:lnTo>
                  <a:pt x="2231211" y="283886"/>
                </a:lnTo>
                <a:lnTo>
                  <a:pt x="2231211" y="279231"/>
                </a:lnTo>
                <a:close/>
                <a:moveTo>
                  <a:pt x="4758130" y="273493"/>
                </a:moveTo>
                <a:lnTo>
                  <a:pt x="4761711" y="274467"/>
                </a:lnTo>
                <a:lnTo>
                  <a:pt x="4763881" y="277066"/>
                </a:lnTo>
                <a:lnTo>
                  <a:pt x="4768222" y="278797"/>
                </a:lnTo>
                <a:lnTo>
                  <a:pt x="4768222" y="282478"/>
                </a:lnTo>
                <a:lnTo>
                  <a:pt x="4765943" y="284645"/>
                </a:lnTo>
                <a:lnTo>
                  <a:pt x="4760843" y="284645"/>
                </a:lnTo>
                <a:lnTo>
                  <a:pt x="4757804" y="283345"/>
                </a:lnTo>
                <a:lnTo>
                  <a:pt x="4755200" y="286592"/>
                </a:lnTo>
                <a:lnTo>
                  <a:pt x="4751727" y="286810"/>
                </a:lnTo>
                <a:lnTo>
                  <a:pt x="4749123" y="284969"/>
                </a:lnTo>
                <a:lnTo>
                  <a:pt x="4748689" y="279880"/>
                </a:lnTo>
                <a:lnTo>
                  <a:pt x="4752704" y="275009"/>
                </a:lnTo>
                <a:close/>
                <a:moveTo>
                  <a:pt x="2078962" y="271109"/>
                </a:moveTo>
                <a:lnTo>
                  <a:pt x="2076683" y="274574"/>
                </a:lnTo>
                <a:lnTo>
                  <a:pt x="2073861" y="275873"/>
                </a:lnTo>
                <a:lnTo>
                  <a:pt x="2071908" y="274574"/>
                </a:lnTo>
                <a:lnTo>
                  <a:pt x="2073427" y="271651"/>
                </a:lnTo>
                <a:close/>
                <a:moveTo>
                  <a:pt x="4739138" y="268514"/>
                </a:moveTo>
                <a:lnTo>
                  <a:pt x="4741416" y="273060"/>
                </a:lnTo>
                <a:lnTo>
                  <a:pt x="4743912" y="273060"/>
                </a:lnTo>
                <a:lnTo>
                  <a:pt x="4745106" y="271760"/>
                </a:lnTo>
                <a:lnTo>
                  <a:pt x="4747710" y="272519"/>
                </a:lnTo>
                <a:lnTo>
                  <a:pt x="4748795" y="275009"/>
                </a:lnTo>
                <a:lnTo>
                  <a:pt x="4747601" y="277714"/>
                </a:lnTo>
                <a:lnTo>
                  <a:pt x="4737727" y="281938"/>
                </a:lnTo>
                <a:cubicBezTo>
                  <a:pt x="4736735" y="281535"/>
                  <a:pt x="4735789" y="281026"/>
                  <a:pt x="4734905" y="280422"/>
                </a:cubicBezTo>
                <a:lnTo>
                  <a:pt x="4732084" y="278473"/>
                </a:lnTo>
                <a:lnTo>
                  <a:pt x="4727092" y="278473"/>
                </a:lnTo>
                <a:lnTo>
                  <a:pt x="4723946" y="274792"/>
                </a:lnTo>
                <a:lnTo>
                  <a:pt x="4723946" y="272519"/>
                </a:lnTo>
                <a:lnTo>
                  <a:pt x="4726659" y="270895"/>
                </a:lnTo>
                <a:lnTo>
                  <a:pt x="4731650" y="269378"/>
                </a:lnTo>
                <a:lnTo>
                  <a:pt x="4737184" y="270029"/>
                </a:lnTo>
                <a:close/>
                <a:moveTo>
                  <a:pt x="2318784" y="267753"/>
                </a:moveTo>
                <a:lnTo>
                  <a:pt x="2320086" y="269161"/>
                </a:lnTo>
                <a:lnTo>
                  <a:pt x="2318784" y="272517"/>
                </a:lnTo>
                <a:lnTo>
                  <a:pt x="2316504" y="272625"/>
                </a:lnTo>
                <a:lnTo>
                  <a:pt x="2315311" y="271327"/>
                </a:lnTo>
                <a:lnTo>
                  <a:pt x="2316179" y="269378"/>
                </a:lnTo>
                <a:close/>
                <a:moveTo>
                  <a:pt x="4674138" y="267538"/>
                </a:moveTo>
                <a:lnTo>
                  <a:pt x="4674789" y="269270"/>
                </a:lnTo>
                <a:lnTo>
                  <a:pt x="4674246" y="275117"/>
                </a:lnTo>
                <a:lnTo>
                  <a:pt x="4672184" y="280747"/>
                </a:lnTo>
                <a:lnTo>
                  <a:pt x="4668820" y="283777"/>
                </a:lnTo>
                <a:lnTo>
                  <a:pt x="4667627" y="288217"/>
                </a:lnTo>
                <a:lnTo>
                  <a:pt x="4667952" y="290599"/>
                </a:lnTo>
                <a:lnTo>
                  <a:pt x="4670448" y="289192"/>
                </a:lnTo>
                <a:lnTo>
                  <a:pt x="4673595" y="284319"/>
                </a:lnTo>
                <a:lnTo>
                  <a:pt x="4678804" y="281722"/>
                </a:lnTo>
                <a:lnTo>
                  <a:pt x="4680865" y="282046"/>
                </a:lnTo>
                <a:lnTo>
                  <a:pt x="4681951" y="286269"/>
                </a:lnTo>
                <a:lnTo>
                  <a:pt x="4686617" y="289409"/>
                </a:lnTo>
                <a:lnTo>
                  <a:pt x="4686943" y="291683"/>
                </a:lnTo>
                <a:lnTo>
                  <a:pt x="4689547" y="296446"/>
                </a:lnTo>
                <a:lnTo>
                  <a:pt x="4689113" y="298286"/>
                </a:lnTo>
                <a:lnTo>
                  <a:pt x="4685858" y="300451"/>
                </a:lnTo>
                <a:lnTo>
                  <a:pt x="4681517" y="305107"/>
                </a:lnTo>
                <a:lnTo>
                  <a:pt x="4678479" y="306190"/>
                </a:lnTo>
                <a:lnTo>
                  <a:pt x="4675874" y="305433"/>
                </a:lnTo>
                <a:lnTo>
                  <a:pt x="4675114" y="303700"/>
                </a:lnTo>
                <a:lnTo>
                  <a:pt x="4672619" y="303267"/>
                </a:lnTo>
                <a:lnTo>
                  <a:pt x="4670665" y="304998"/>
                </a:lnTo>
                <a:lnTo>
                  <a:pt x="4670556" y="309980"/>
                </a:lnTo>
                <a:lnTo>
                  <a:pt x="4671533" y="311387"/>
                </a:lnTo>
                <a:lnTo>
                  <a:pt x="4674355" y="311605"/>
                </a:lnTo>
                <a:lnTo>
                  <a:pt x="4675874" y="314636"/>
                </a:lnTo>
                <a:lnTo>
                  <a:pt x="4677285" y="315935"/>
                </a:lnTo>
                <a:lnTo>
                  <a:pt x="4677285" y="317883"/>
                </a:lnTo>
                <a:lnTo>
                  <a:pt x="4675440" y="319074"/>
                </a:lnTo>
                <a:lnTo>
                  <a:pt x="4668278" y="320698"/>
                </a:lnTo>
                <a:lnTo>
                  <a:pt x="4664263" y="320373"/>
                </a:lnTo>
                <a:lnTo>
                  <a:pt x="4659379" y="322646"/>
                </a:lnTo>
                <a:lnTo>
                  <a:pt x="4660030" y="324596"/>
                </a:lnTo>
                <a:lnTo>
                  <a:pt x="4663828" y="328386"/>
                </a:lnTo>
                <a:lnTo>
                  <a:pt x="4664696" y="334773"/>
                </a:lnTo>
                <a:lnTo>
                  <a:pt x="4663612" y="341161"/>
                </a:lnTo>
                <a:lnTo>
                  <a:pt x="4660247" y="343111"/>
                </a:lnTo>
                <a:lnTo>
                  <a:pt x="4658186" y="341594"/>
                </a:lnTo>
                <a:lnTo>
                  <a:pt x="4657317" y="343760"/>
                </a:lnTo>
                <a:lnTo>
                  <a:pt x="4657643" y="347224"/>
                </a:lnTo>
                <a:lnTo>
                  <a:pt x="4655364" y="351121"/>
                </a:lnTo>
                <a:lnTo>
                  <a:pt x="4652651" y="352963"/>
                </a:lnTo>
                <a:lnTo>
                  <a:pt x="4650481" y="352855"/>
                </a:lnTo>
                <a:lnTo>
                  <a:pt x="4650156" y="343868"/>
                </a:lnTo>
                <a:lnTo>
                  <a:pt x="4646575" y="339755"/>
                </a:lnTo>
                <a:lnTo>
                  <a:pt x="4643970" y="339755"/>
                </a:lnTo>
                <a:lnTo>
                  <a:pt x="4643645" y="344734"/>
                </a:lnTo>
                <a:lnTo>
                  <a:pt x="4641583" y="348199"/>
                </a:lnTo>
                <a:lnTo>
                  <a:pt x="4637567" y="347984"/>
                </a:lnTo>
                <a:lnTo>
                  <a:pt x="4634312" y="349498"/>
                </a:lnTo>
                <a:lnTo>
                  <a:pt x="4633118" y="346791"/>
                </a:lnTo>
                <a:lnTo>
                  <a:pt x="4634095" y="344086"/>
                </a:lnTo>
                <a:lnTo>
                  <a:pt x="4631816" y="340296"/>
                </a:lnTo>
                <a:lnTo>
                  <a:pt x="4630188" y="328711"/>
                </a:lnTo>
                <a:lnTo>
                  <a:pt x="4634312" y="325353"/>
                </a:lnTo>
                <a:lnTo>
                  <a:pt x="4639847" y="325353"/>
                </a:lnTo>
                <a:lnTo>
                  <a:pt x="4642885" y="323731"/>
                </a:lnTo>
                <a:lnTo>
                  <a:pt x="4641040" y="321998"/>
                </a:lnTo>
                <a:lnTo>
                  <a:pt x="4637025" y="321347"/>
                </a:lnTo>
                <a:lnTo>
                  <a:pt x="4636049" y="315827"/>
                </a:lnTo>
                <a:lnTo>
                  <a:pt x="4632250" y="313227"/>
                </a:lnTo>
                <a:lnTo>
                  <a:pt x="4628995" y="316368"/>
                </a:lnTo>
                <a:lnTo>
                  <a:pt x="4624980" y="315502"/>
                </a:lnTo>
                <a:lnTo>
                  <a:pt x="4625197" y="311605"/>
                </a:lnTo>
                <a:lnTo>
                  <a:pt x="4626173" y="309113"/>
                </a:lnTo>
                <a:lnTo>
                  <a:pt x="4626390" y="305864"/>
                </a:lnTo>
                <a:lnTo>
                  <a:pt x="4628778" y="303809"/>
                </a:lnTo>
                <a:lnTo>
                  <a:pt x="4631165" y="306623"/>
                </a:lnTo>
                <a:lnTo>
                  <a:pt x="4636157" y="308789"/>
                </a:lnTo>
                <a:lnTo>
                  <a:pt x="4639955" y="308139"/>
                </a:lnTo>
                <a:lnTo>
                  <a:pt x="4644513" y="310305"/>
                </a:lnTo>
                <a:lnTo>
                  <a:pt x="4648419" y="307922"/>
                </a:lnTo>
                <a:lnTo>
                  <a:pt x="4651892" y="302941"/>
                </a:lnTo>
                <a:lnTo>
                  <a:pt x="4655364" y="302076"/>
                </a:lnTo>
                <a:lnTo>
                  <a:pt x="4656992" y="298827"/>
                </a:lnTo>
                <a:lnTo>
                  <a:pt x="4656341" y="293739"/>
                </a:lnTo>
                <a:lnTo>
                  <a:pt x="4659814" y="290383"/>
                </a:lnTo>
                <a:lnTo>
                  <a:pt x="4663395" y="289083"/>
                </a:lnTo>
                <a:lnTo>
                  <a:pt x="4663612" y="286161"/>
                </a:lnTo>
                <a:lnTo>
                  <a:pt x="4661333" y="285185"/>
                </a:lnTo>
                <a:lnTo>
                  <a:pt x="4657643" y="285944"/>
                </a:lnTo>
                <a:lnTo>
                  <a:pt x="4656015" y="284645"/>
                </a:lnTo>
                <a:lnTo>
                  <a:pt x="4656015" y="280313"/>
                </a:lnTo>
                <a:lnTo>
                  <a:pt x="4659814" y="278797"/>
                </a:lnTo>
                <a:lnTo>
                  <a:pt x="4662092" y="273060"/>
                </a:lnTo>
                <a:lnTo>
                  <a:pt x="4663720" y="271110"/>
                </a:lnTo>
                <a:lnTo>
                  <a:pt x="4664913" y="273601"/>
                </a:lnTo>
                <a:lnTo>
                  <a:pt x="4663937" y="278256"/>
                </a:lnTo>
                <a:lnTo>
                  <a:pt x="4664371" y="280421"/>
                </a:lnTo>
                <a:lnTo>
                  <a:pt x="4665999" y="279880"/>
                </a:lnTo>
                <a:lnTo>
                  <a:pt x="4668820" y="273384"/>
                </a:lnTo>
                <a:close/>
                <a:moveTo>
                  <a:pt x="3671009" y="261257"/>
                </a:moveTo>
                <a:lnTo>
                  <a:pt x="3672637" y="263207"/>
                </a:lnTo>
                <a:lnTo>
                  <a:pt x="3672637" y="271218"/>
                </a:lnTo>
                <a:lnTo>
                  <a:pt x="3671552" y="274575"/>
                </a:lnTo>
                <a:cubicBezTo>
                  <a:pt x="3670920" y="274306"/>
                  <a:pt x="3670266" y="274088"/>
                  <a:pt x="3669598" y="273925"/>
                </a:cubicBezTo>
                <a:lnTo>
                  <a:pt x="3667103" y="268078"/>
                </a:lnTo>
                <a:lnTo>
                  <a:pt x="3668188" y="263531"/>
                </a:lnTo>
                <a:close/>
                <a:moveTo>
                  <a:pt x="2300878" y="256275"/>
                </a:moveTo>
                <a:lnTo>
                  <a:pt x="2305001" y="256384"/>
                </a:lnTo>
                <a:lnTo>
                  <a:pt x="2302180" y="258332"/>
                </a:lnTo>
                <a:lnTo>
                  <a:pt x="2301312" y="261364"/>
                </a:lnTo>
                <a:lnTo>
                  <a:pt x="2296320" y="264505"/>
                </a:lnTo>
                <a:lnTo>
                  <a:pt x="2293933" y="263855"/>
                </a:lnTo>
                <a:lnTo>
                  <a:pt x="2294801" y="259308"/>
                </a:lnTo>
                <a:close/>
                <a:moveTo>
                  <a:pt x="4781894" y="250756"/>
                </a:moveTo>
                <a:lnTo>
                  <a:pt x="4783955" y="251188"/>
                </a:lnTo>
                <a:lnTo>
                  <a:pt x="4786451" y="255194"/>
                </a:lnTo>
                <a:lnTo>
                  <a:pt x="4786994" y="258443"/>
                </a:lnTo>
                <a:lnTo>
                  <a:pt x="4785150" y="259633"/>
                </a:lnTo>
                <a:lnTo>
                  <a:pt x="4784498" y="262882"/>
                </a:lnTo>
                <a:lnTo>
                  <a:pt x="4782110" y="264722"/>
                </a:lnTo>
                <a:lnTo>
                  <a:pt x="4777879" y="264722"/>
                </a:lnTo>
                <a:lnTo>
                  <a:pt x="4776034" y="263314"/>
                </a:lnTo>
                <a:lnTo>
                  <a:pt x="4776143" y="260067"/>
                </a:lnTo>
                <a:lnTo>
                  <a:pt x="4777879" y="258118"/>
                </a:lnTo>
                <a:lnTo>
                  <a:pt x="4779506" y="252813"/>
                </a:lnTo>
                <a:close/>
                <a:moveTo>
                  <a:pt x="4725139" y="249456"/>
                </a:moveTo>
                <a:lnTo>
                  <a:pt x="4736316" y="249674"/>
                </a:lnTo>
                <a:lnTo>
                  <a:pt x="4740223" y="251730"/>
                </a:lnTo>
                <a:lnTo>
                  <a:pt x="4746300" y="251514"/>
                </a:lnTo>
                <a:lnTo>
                  <a:pt x="4749230" y="253788"/>
                </a:lnTo>
                <a:lnTo>
                  <a:pt x="4751617" y="254004"/>
                </a:lnTo>
                <a:lnTo>
                  <a:pt x="4758996" y="259525"/>
                </a:lnTo>
                <a:lnTo>
                  <a:pt x="4766484" y="261908"/>
                </a:lnTo>
                <a:lnTo>
                  <a:pt x="4770607" y="261908"/>
                </a:lnTo>
                <a:lnTo>
                  <a:pt x="4773863" y="266563"/>
                </a:lnTo>
                <a:lnTo>
                  <a:pt x="4772778" y="273168"/>
                </a:lnTo>
                <a:lnTo>
                  <a:pt x="4770607" y="274467"/>
                </a:lnTo>
                <a:lnTo>
                  <a:pt x="4765941" y="272843"/>
                </a:lnTo>
                <a:lnTo>
                  <a:pt x="4759756" y="270136"/>
                </a:lnTo>
                <a:lnTo>
                  <a:pt x="4754221" y="271219"/>
                </a:lnTo>
                <a:lnTo>
                  <a:pt x="4748470" y="269810"/>
                </a:lnTo>
                <a:lnTo>
                  <a:pt x="4745974" y="264614"/>
                </a:lnTo>
                <a:lnTo>
                  <a:pt x="4743370" y="265697"/>
                </a:lnTo>
                <a:lnTo>
                  <a:pt x="4740766" y="265480"/>
                </a:lnTo>
                <a:lnTo>
                  <a:pt x="4738921" y="261366"/>
                </a:lnTo>
                <a:lnTo>
                  <a:pt x="4735123" y="257901"/>
                </a:lnTo>
                <a:lnTo>
                  <a:pt x="4732844" y="258226"/>
                </a:lnTo>
                <a:lnTo>
                  <a:pt x="4730240" y="261582"/>
                </a:lnTo>
                <a:lnTo>
                  <a:pt x="4723512" y="259092"/>
                </a:lnTo>
                <a:lnTo>
                  <a:pt x="4720473" y="257252"/>
                </a:lnTo>
                <a:lnTo>
                  <a:pt x="4721016" y="255194"/>
                </a:lnTo>
                <a:lnTo>
                  <a:pt x="4719931" y="251081"/>
                </a:lnTo>
                <a:close/>
                <a:moveTo>
                  <a:pt x="4665238" y="248266"/>
                </a:moveTo>
                <a:lnTo>
                  <a:pt x="4667191" y="248266"/>
                </a:lnTo>
                <a:lnTo>
                  <a:pt x="4667191" y="252705"/>
                </a:lnTo>
                <a:lnTo>
                  <a:pt x="4669362" y="255412"/>
                </a:lnTo>
                <a:lnTo>
                  <a:pt x="4668386" y="258876"/>
                </a:lnTo>
                <a:lnTo>
                  <a:pt x="4662200" y="258876"/>
                </a:lnTo>
                <a:cubicBezTo>
                  <a:pt x="4661809" y="258468"/>
                  <a:pt x="4661447" y="258034"/>
                  <a:pt x="4661115" y="257578"/>
                </a:cubicBezTo>
                <a:lnTo>
                  <a:pt x="4662092" y="252271"/>
                </a:lnTo>
                <a:close/>
                <a:moveTo>
                  <a:pt x="5635919" y="245018"/>
                </a:moveTo>
                <a:lnTo>
                  <a:pt x="5639174" y="245884"/>
                </a:lnTo>
                <a:lnTo>
                  <a:pt x="5641020" y="251405"/>
                </a:lnTo>
                <a:lnTo>
                  <a:pt x="5638415" y="256060"/>
                </a:lnTo>
                <a:lnTo>
                  <a:pt x="5635160" y="253138"/>
                </a:lnTo>
                <a:lnTo>
                  <a:pt x="5632664" y="256060"/>
                </a:lnTo>
                <a:lnTo>
                  <a:pt x="5626262" y="256927"/>
                </a:lnTo>
                <a:lnTo>
                  <a:pt x="5619208" y="256385"/>
                </a:lnTo>
                <a:lnTo>
                  <a:pt x="5618991" y="253678"/>
                </a:lnTo>
                <a:lnTo>
                  <a:pt x="5621270" y="250214"/>
                </a:lnTo>
                <a:lnTo>
                  <a:pt x="5627456" y="250864"/>
                </a:lnTo>
                <a:lnTo>
                  <a:pt x="5630168" y="246209"/>
                </a:lnTo>
                <a:lnTo>
                  <a:pt x="5634292" y="246425"/>
                </a:lnTo>
                <a:close/>
                <a:moveTo>
                  <a:pt x="3666778" y="245017"/>
                </a:moveTo>
                <a:lnTo>
                  <a:pt x="3668731" y="247074"/>
                </a:lnTo>
                <a:lnTo>
                  <a:pt x="3668405" y="251512"/>
                </a:lnTo>
                <a:lnTo>
                  <a:pt x="3667103" y="253137"/>
                </a:lnTo>
                <a:lnTo>
                  <a:pt x="3666560" y="258550"/>
                </a:lnTo>
                <a:lnTo>
                  <a:pt x="3662979" y="261798"/>
                </a:lnTo>
                <a:lnTo>
                  <a:pt x="3661460" y="260174"/>
                </a:lnTo>
                <a:lnTo>
                  <a:pt x="3661677" y="254652"/>
                </a:lnTo>
                <a:lnTo>
                  <a:pt x="3660592" y="251080"/>
                </a:lnTo>
                <a:lnTo>
                  <a:pt x="3663522" y="246099"/>
                </a:lnTo>
                <a:close/>
                <a:moveTo>
                  <a:pt x="2402124" y="242851"/>
                </a:moveTo>
                <a:lnTo>
                  <a:pt x="2406790" y="242959"/>
                </a:lnTo>
                <a:lnTo>
                  <a:pt x="2412650" y="250429"/>
                </a:lnTo>
                <a:lnTo>
                  <a:pt x="2414712" y="255734"/>
                </a:lnTo>
                <a:lnTo>
                  <a:pt x="2414170" y="259308"/>
                </a:lnTo>
                <a:lnTo>
                  <a:pt x="2415580" y="262448"/>
                </a:lnTo>
                <a:lnTo>
                  <a:pt x="2418293" y="263422"/>
                </a:lnTo>
                <a:lnTo>
                  <a:pt x="2418618" y="268619"/>
                </a:lnTo>
                <a:lnTo>
                  <a:pt x="2421440" y="270026"/>
                </a:lnTo>
                <a:lnTo>
                  <a:pt x="2421766" y="272625"/>
                </a:lnTo>
                <a:lnTo>
                  <a:pt x="2424044" y="277930"/>
                </a:lnTo>
                <a:lnTo>
                  <a:pt x="2428710" y="278363"/>
                </a:lnTo>
                <a:lnTo>
                  <a:pt x="2428710" y="280638"/>
                </a:lnTo>
                <a:lnTo>
                  <a:pt x="2430772" y="284752"/>
                </a:lnTo>
                <a:lnTo>
                  <a:pt x="2432834" y="293846"/>
                </a:lnTo>
                <a:lnTo>
                  <a:pt x="2427951" y="297528"/>
                </a:lnTo>
                <a:lnTo>
                  <a:pt x="2425238" y="300235"/>
                </a:lnTo>
                <a:lnTo>
                  <a:pt x="2420898" y="300018"/>
                </a:lnTo>
                <a:lnTo>
                  <a:pt x="2418185" y="301425"/>
                </a:lnTo>
                <a:lnTo>
                  <a:pt x="2420246" y="303483"/>
                </a:lnTo>
                <a:lnTo>
                  <a:pt x="2422851" y="303699"/>
                </a:lnTo>
                <a:lnTo>
                  <a:pt x="2424044" y="311061"/>
                </a:lnTo>
                <a:lnTo>
                  <a:pt x="2423176" y="315501"/>
                </a:lnTo>
                <a:lnTo>
                  <a:pt x="2414929" y="321022"/>
                </a:lnTo>
                <a:lnTo>
                  <a:pt x="2412433" y="323513"/>
                </a:lnTo>
                <a:lnTo>
                  <a:pt x="2409503" y="322971"/>
                </a:lnTo>
                <a:lnTo>
                  <a:pt x="2409177" y="319183"/>
                </a:lnTo>
                <a:lnTo>
                  <a:pt x="2407007" y="317450"/>
                </a:lnTo>
                <a:lnTo>
                  <a:pt x="2401473" y="321348"/>
                </a:lnTo>
                <a:lnTo>
                  <a:pt x="2397675" y="319615"/>
                </a:lnTo>
                <a:lnTo>
                  <a:pt x="2390947" y="321781"/>
                </a:lnTo>
                <a:lnTo>
                  <a:pt x="2387474" y="321348"/>
                </a:lnTo>
                <a:lnTo>
                  <a:pt x="2386824" y="316043"/>
                </a:lnTo>
                <a:lnTo>
                  <a:pt x="2383026" y="315718"/>
                </a:lnTo>
                <a:lnTo>
                  <a:pt x="2382158" y="318965"/>
                </a:lnTo>
                <a:lnTo>
                  <a:pt x="2377274" y="320698"/>
                </a:lnTo>
                <a:lnTo>
                  <a:pt x="2377165" y="315501"/>
                </a:lnTo>
                <a:lnTo>
                  <a:pt x="2379878" y="311928"/>
                </a:lnTo>
                <a:lnTo>
                  <a:pt x="2377491" y="309330"/>
                </a:lnTo>
                <a:lnTo>
                  <a:pt x="2377165" y="303916"/>
                </a:lnTo>
                <a:lnTo>
                  <a:pt x="2372825" y="301317"/>
                </a:lnTo>
                <a:lnTo>
                  <a:pt x="2374452" y="298178"/>
                </a:lnTo>
                <a:lnTo>
                  <a:pt x="2375972" y="294712"/>
                </a:lnTo>
                <a:lnTo>
                  <a:pt x="2381506" y="295471"/>
                </a:lnTo>
                <a:lnTo>
                  <a:pt x="2386281" y="299368"/>
                </a:lnTo>
                <a:lnTo>
                  <a:pt x="2388126" y="299585"/>
                </a:lnTo>
                <a:lnTo>
                  <a:pt x="2388668" y="295579"/>
                </a:lnTo>
                <a:lnTo>
                  <a:pt x="2383893" y="288432"/>
                </a:lnTo>
                <a:lnTo>
                  <a:pt x="2379227" y="285618"/>
                </a:lnTo>
                <a:lnTo>
                  <a:pt x="2378359" y="283020"/>
                </a:lnTo>
                <a:lnTo>
                  <a:pt x="2383026" y="282911"/>
                </a:lnTo>
                <a:lnTo>
                  <a:pt x="2380204" y="278255"/>
                </a:lnTo>
                <a:lnTo>
                  <a:pt x="2383242" y="273817"/>
                </a:lnTo>
                <a:lnTo>
                  <a:pt x="2383568" y="266237"/>
                </a:lnTo>
                <a:lnTo>
                  <a:pt x="2386064" y="259849"/>
                </a:lnTo>
                <a:lnTo>
                  <a:pt x="2389428" y="260174"/>
                </a:lnTo>
                <a:lnTo>
                  <a:pt x="2392683" y="257900"/>
                </a:lnTo>
                <a:lnTo>
                  <a:pt x="2393226" y="251079"/>
                </a:lnTo>
                <a:lnTo>
                  <a:pt x="2396265" y="247830"/>
                </a:lnTo>
                <a:close/>
                <a:moveTo>
                  <a:pt x="4747168" y="240688"/>
                </a:moveTo>
                <a:lnTo>
                  <a:pt x="4753571" y="241120"/>
                </a:lnTo>
                <a:lnTo>
                  <a:pt x="4761276" y="244694"/>
                </a:lnTo>
                <a:lnTo>
                  <a:pt x="4768329" y="251081"/>
                </a:lnTo>
                <a:lnTo>
                  <a:pt x="4771150" y="251081"/>
                </a:lnTo>
                <a:lnTo>
                  <a:pt x="4774080" y="248483"/>
                </a:lnTo>
                <a:lnTo>
                  <a:pt x="4775274" y="249999"/>
                </a:lnTo>
                <a:lnTo>
                  <a:pt x="4774189" y="253463"/>
                </a:lnTo>
                <a:lnTo>
                  <a:pt x="4772778" y="258984"/>
                </a:lnTo>
                <a:lnTo>
                  <a:pt x="4769414" y="260718"/>
                </a:lnTo>
                <a:lnTo>
                  <a:pt x="4765725" y="255736"/>
                </a:lnTo>
                <a:lnTo>
                  <a:pt x="4756501" y="249024"/>
                </a:lnTo>
                <a:lnTo>
                  <a:pt x="4748688" y="245885"/>
                </a:lnTo>
                <a:lnTo>
                  <a:pt x="4744022" y="245885"/>
                </a:lnTo>
                <a:lnTo>
                  <a:pt x="4741309" y="244044"/>
                </a:lnTo>
                <a:lnTo>
                  <a:pt x="4742502" y="242312"/>
                </a:lnTo>
                <a:close/>
                <a:moveTo>
                  <a:pt x="5618123" y="240036"/>
                </a:moveTo>
                <a:lnTo>
                  <a:pt x="5619317" y="242851"/>
                </a:lnTo>
                <a:lnTo>
                  <a:pt x="5616929" y="243611"/>
                </a:lnTo>
                <a:lnTo>
                  <a:pt x="5615194" y="246100"/>
                </a:lnTo>
                <a:lnTo>
                  <a:pt x="5617147" y="247399"/>
                </a:lnTo>
                <a:lnTo>
                  <a:pt x="5616929" y="249674"/>
                </a:lnTo>
                <a:lnTo>
                  <a:pt x="5613023" y="253246"/>
                </a:lnTo>
                <a:lnTo>
                  <a:pt x="5610419" y="254112"/>
                </a:lnTo>
                <a:lnTo>
                  <a:pt x="5608031" y="252271"/>
                </a:lnTo>
                <a:lnTo>
                  <a:pt x="5608899" y="248481"/>
                </a:lnTo>
                <a:lnTo>
                  <a:pt x="5611612" y="247616"/>
                </a:lnTo>
                <a:lnTo>
                  <a:pt x="5611070" y="245018"/>
                </a:lnTo>
                <a:lnTo>
                  <a:pt x="5614543" y="240577"/>
                </a:lnTo>
                <a:close/>
                <a:moveTo>
                  <a:pt x="4834308" y="238629"/>
                </a:moveTo>
                <a:lnTo>
                  <a:pt x="4836912" y="244692"/>
                </a:lnTo>
                <a:lnTo>
                  <a:pt x="4841361" y="247399"/>
                </a:lnTo>
                <a:lnTo>
                  <a:pt x="4845593" y="252596"/>
                </a:lnTo>
                <a:lnTo>
                  <a:pt x="4845593" y="255735"/>
                </a:lnTo>
                <a:lnTo>
                  <a:pt x="4841252" y="258226"/>
                </a:lnTo>
                <a:lnTo>
                  <a:pt x="4835718" y="258443"/>
                </a:lnTo>
                <a:lnTo>
                  <a:pt x="4831703" y="261150"/>
                </a:lnTo>
                <a:lnTo>
                  <a:pt x="4831268" y="264506"/>
                </a:lnTo>
                <a:lnTo>
                  <a:pt x="4834199" y="270354"/>
                </a:lnTo>
                <a:lnTo>
                  <a:pt x="4839299" y="272410"/>
                </a:lnTo>
                <a:lnTo>
                  <a:pt x="4842229" y="276957"/>
                </a:lnTo>
                <a:lnTo>
                  <a:pt x="4846027" y="280638"/>
                </a:lnTo>
                <a:lnTo>
                  <a:pt x="4846353" y="283886"/>
                </a:lnTo>
                <a:lnTo>
                  <a:pt x="4839299" y="285293"/>
                </a:lnTo>
                <a:lnTo>
                  <a:pt x="4834850" y="288325"/>
                </a:lnTo>
                <a:lnTo>
                  <a:pt x="4828990" y="288866"/>
                </a:lnTo>
                <a:lnTo>
                  <a:pt x="4821394" y="291790"/>
                </a:lnTo>
                <a:lnTo>
                  <a:pt x="4816945" y="292007"/>
                </a:lnTo>
                <a:lnTo>
                  <a:pt x="4811084" y="283886"/>
                </a:lnTo>
                <a:lnTo>
                  <a:pt x="4808154" y="276632"/>
                </a:lnTo>
                <a:lnTo>
                  <a:pt x="4808480" y="263424"/>
                </a:lnTo>
                <a:lnTo>
                  <a:pt x="4806744" y="258226"/>
                </a:lnTo>
                <a:lnTo>
                  <a:pt x="4806744" y="254112"/>
                </a:lnTo>
                <a:lnTo>
                  <a:pt x="4809890" y="252596"/>
                </a:lnTo>
                <a:lnTo>
                  <a:pt x="4812820" y="255194"/>
                </a:lnTo>
                <a:lnTo>
                  <a:pt x="4817270" y="254978"/>
                </a:lnTo>
                <a:lnTo>
                  <a:pt x="4823781" y="249456"/>
                </a:lnTo>
                <a:lnTo>
                  <a:pt x="4827145" y="249132"/>
                </a:lnTo>
                <a:lnTo>
                  <a:pt x="4828447" y="250539"/>
                </a:lnTo>
                <a:lnTo>
                  <a:pt x="4832788" y="247075"/>
                </a:lnTo>
                <a:lnTo>
                  <a:pt x="4832788" y="241770"/>
                </a:lnTo>
                <a:close/>
                <a:moveTo>
                  <a:pt x="2941017" y="237980"/>
                </a:moveTo>
                <a:lnTo>
                  <a:pt x="2944381" y="241335"/>
                </a:lnTo>
                <a:lnTo>
                  <a:pt x="2943839" y="246315"/>
                </a:lnTo>
                <a:lnTo>
                  <a:pt x="2940040" y="244583"/>
                </a:lnTo>
                <a:lnTo>
                  <a:pt x="2939389" y="241119"/>
                </a:lnTo>
                <a:lnTo>
                  <a:pt x="2936785" y="238736"/>
                </a:lnTo>
                <a:close/>
                <a:moveTo>
                  <a:pt x="3686311" y="236897"/>
                </a:moveTo>
                <a:lnTo>
                  <a:pt x="3687070" y="241444"/>
                </a:lnTo>
                <a:lnTo>
                  <a:pt x="3686311" y="244151"/>
                </a:lnTo>
                <a:lnTo>
                  <a:pt x="3687070" y="251730"/>
                </a:lnTo>
                <a:lnTo>
                  <a:pt x="3686202" y="256710"/>
                </a:lnTo>
                <a:lnTo>
                  <a:pt x="3683923" y="258552"/>
                </a:lnTo>
                <a:lnTo>
                  <a:pt x="3681536" y="251730"/>
                </a:lnTo>
                <a:lnTo>
                  <a:pt x="3683272" y="247399"/>
                </a:lnTo>
                <a:lnTo>
                  <a:pt x="3683163" y="243176"/>
                </a:lnTo>
                <a:lnTo>
                  <a:pt x="3682078" y="241553"/>
                </a:lnTo>
                <a:lnTo>
                  <a:pt x="3682513" y="238629"/>
                </a:lnTo>
                <a:close/>
                <a:moveTo>
                  <a:pt x="4768872" y="234516"/>
                </a:moveTo>
                <a:lnTo>
                  <a:pt x="4770717" y="234516"/>
                </a:lnTo>
                <a:lnTo>
                  <a:pt x="4772453" y="237981"/>
                </a:lnTo>
                <a:lnTo>
                  <a:pt x="4777879" y="237765"/>
                </a:lnTo>
                <a:lnTo>
                  <a:pt x="4781243" y="240688"/>
                </a:lnTo>
                <a:lnTo>
                  <a:pt x="4780809" y="245235"/>
                </a:lnTo>
                <a:lnTo>
                  <a:pt x="4776143" y="246534"/>
                </a:lnTo>
                <a:lnTo>
                  <a:pt x="4768872" y="242095"/>
                </a:lnTo>
                <a:lnTo>
                  <a:pt x="4767136" y="237656"/>
                </a:lnTo>
                <a:close/>
                <a:moveTo>
                  <a:pt x="6190549" y="233218"/>
                </a:moveTo>
                <a:lnTo>
                  <a:pt x="6193262" y="234191"/>
                </a:lnTo>
                <a:lnTo>
                  <a:pt x="6197385" y="237439"/>
                </a:lnTo>
                <a:lnTo>
                  <a:pt x="6201401" y="243611"/>
                </a:lnTo>
                <a:lnTo>
                  <a:pt x="6209865" y="244368"/>
                </a:lnTo>
                <a:lnTo>
                  <a:pt x="6213989" y="247399"/>
                </a:lnTo>
                <a:lnTo>
                  <a:pt x="6215182" y="253246"/>
                </a:lnTo>
                <a:lnTo>
                  <a:pt x="6220174" y="264831"/>
                </a:lnTo>
                <a:lnTo>
                  <a:pt x="6220500" y="270354"/>
                </a:lnTo>
                <a:lnTo>
                  <a:pt x="6217787" y="272193"/>
                </a:lnTo>
                <a:lnTo>
                  <a:pt x="6213229" y="269920"/>
                </a:lnTo>
                <a:lnTo>
                  <a:pt x="6209539" y="260175"/>
                </a:lnTo>
                <a:lnTo>
                  <a:pt x="6202811" y="250324"/>
                </a:lnTo>
                <a:lnTo>
                  <a:pt x="6196084" y="244043"/>
                </a:lnTo>
                <a:lnTo>
                  <a:pt x="6191526" y="237006"/>
                </a:lnTo>
                <a:close/>
                <a:moveTo>
                  <a:pt x="4817813" y="229969"/>
                </a:moveTo>
                <a:lnTo>
                  <a:pt x="4822154" y="230401"/>
                </a:lnTo>
                <a:lnTo>
                  <a:pt x="4824216" y="233975"/>
                </a:lnTo>
                <a:lnTo>
                  <a:pt x="4827688" y="236573"/>
                </a:lnTo>
                <a:lnTo>
                  <a:pt x="4827580" y="238847"/>
                </a:lnTo>
                <a:lnTo>
                  <a:pt x="4825084" y="241012"/>
                </a:lnTo>
                <a:lnTo>
                  <a:pt x="4822588" y="246751"/>
                </a:lnTo>
                <a:lnTo>
                  <a:pt x="4817379" y="248699"/>
                </a:lnTo>
                <a:lnTo>
                  <a:pt x="4812387" y="247508"/>
                </a:lnTo>
                <a:lnTo>
                  <a:pt x="4804357" y="241878"/>
                </a:lnTo>
                <a:lnTo>
                  <a:pt x="4803489" y="239171"/>
                </a:lnTo>
                <a:lnTo>
                  <a:pt x="4805225" y="235923"/>
                </a:lnTo>
                <a:lnTo>
                  <a:pt x="4811410" y="232134"/>
                </a:lnTo>
                <a:close/>
                <a:moveTo>
                  <a:pt x="4759864" y="226829"/>
                </a:moveTo>
                <a:lnTo>
                  <a:pt x="4763879" y="230943"/>
                </a:lnTo>
                <a:lnTo>
                  <a:pt x="4762685" y="233325"/>
                </a:lnTo>
                <a:lnTo>
                  <a:pt x="4761926" y="237439"/>
                </a:lnTo>
                <a:lnTo>
                  <a:pt x="4757368" y="237114"/>
                </a:lnTo>
                <a:lnTo>
                  <a:pt x="4754872" y="239064"/>
                </a:lnTo>
                <a:lnTo>
                  <a:pt x="4751617" y="237331"/>
                </a:lnTo>
                <a:lnTo>
                  <a:pt x="4754221" y="233218"/>
                </a:lnTo>
                <a:lnTo>
                  <a:pt x="4758670" y="230077"/>
                </a:lnTo>
                <a:close/>
                <a:moveTo>
                  <a:pt x="2049444" y="225960"/>
                </a:moveTo>
                <a:lnTo>
                  <a:pt x="2051831" y="227152"/>
                </a:lnTo>
                <a:lnTo>
                  <a:pt x="2052916" y="232997"/>
                </a:lnTo>
                <a:lnTo>
                  <a:pt x="2053893" y="235272"/>
                </a:lnTo>
                <a:lnTo>
                  <a:pt x="2052374" y="237653"/>
                </a:lnTo>
                <a:lnTo>
                  <a:pt x="2053242" y="247181"/>
                </a:lnTo>
                <a:lnTo>
                  <a:pt x="2054110" y="250863"/>
                </a:lnTo>
                <a:lnTo>
                  <a:pt x="2050095" y="256060"/>
                </a:lnTo>
                <a:lnTo>
                  <a:pt x="2047056" y="256601"/>
                </a:lnTo>
                <a:lnTo>
                  <a:pt x="2044127" y="255085"/>
                </a:lnTo>
                <a:lnTo>
                  <a:pt x="2039352" y="257576"/>
                </a:lnTo>
                <a:lnTo>
                  <a:pt x="2034686" y="257900"/>
                </a:lnTo>
                <a:lnTo>
                  <a:pt x="2029694" y="262448"/>
                </a:lnTo>
                <a:lnTo>
                  <a:pt x="2029477" y="265479"/>
                </a:lnTo>
                <a:lnTo>
                  <a:pt x="2033926" y="272625"/>
                </a:lnTo>
                <a:lnTo>
                  <a:pt x="2034252" y="275656"/>
                </a:lnTo>
                <a:lnTo>
                  <a:pt x="2032624" y="277713"/>
                </a:lnTo>
                <a:lnTo>
                  <a:pt x="2028934" y="276847"/>
                </a:lnTo>
                <a:lnTo>
                  <a:pt x="2024811" y="271325"/>
                </a:lnTo>
                <a:lnTo>
                  <a:pt x="2024160" y="273275"/>
                </a:lnTo>
                <a:lnTo>
                  <a:pt x="2023943" y="277931"/>
                </a:lnTo>
                <a:lnTo>
                  <a:pt x="2019710" y="284968"/>
                </a:lnTo>
                <a:lnTo>
                  <a:pt x="2017432" y="292980"/>
                </a:lnTo>
                <a:lnTo>
                  <a:pt x="2014610" y="297094"/>
                </a:lnTo>
                <a:lnTo>
                  <a:pt x="2007231" y="297202"/>
                </a:lnTo>
                <a:lnTo>
                  <a:pt x="2004410" y="300017"/>
                </a:lnTo>
                <a:lnTo>
                  <a:pt x="1999852" y="300017"/>
                </a:lnTo>
                <a:lnTo>
                  <a:pt x="1997573" y="297528"/>
                </a:lnTo>
                <a:lnTo>
                  <a:pt x="1995403" y="298935"/>
                </a:lnTo>
                <a:lnTo>
                  <a:pt x="1991713" y="298935"/>
                </a:lnTo>
                <a:lnTo>
                  <a:pt x="1989326" y="303049"/>
                </a:lnTo>
                <a:lnTo>
                  <a:pt x="1985745" y="305972"/>
                </a:lnTo>
                <a:lnTo>
                  <a:pt x="1986287" y="310628"/>
                </a:lnTo>
                <a:lnTo>
                  <a:pt x="1985093" y="314526"/>
                </a:lnTo>
                <a:lnTo>
                  <a:pt x="1980427" y="316800"/>
                </a:lnTo>
                <a:lnTo>
                  <a:pt x="1977932" y="319614"/>
                </a:lnTo>
                <a:lnTo>
                  <a:pt x="1973591" y="317774"/>
                </a:lnTo>
                <a:lnTo>
                  <a:pt x="1969793" y="316692"/>
                </a:lnTo>
                <a:lnTo>
                  <a:pt x="1970661" y="312577"/>
                </a:lnTo>
                <a:lnTo>
                  <a:pt x="1968600" y="308679"/>
                </a:lnTo>
                <a:lnTo>
                  <a:pt x="1968491" y="305755"/>
                </a:lnTo>
                <a:lnTo>
                  <a:pt x="1974784" y="296770"/>
                </a:lnTo>
                <a:lnTo>
                  <a:pt x="1978366" y="294604"/>
                </a:lnTo>
                <a:lnTo>
                  <a:pt x="1979017" y="292330"/>
                </a:lnTo>
                <a:lnTo>
                  <a:pt x="1982055" y="289298"/>
                </a:lnTo>
                <a:lnTo>
                  <a:pt x="1983140" y="283993"/>
                </a:lnTo>
                <a:lnTo>
                  <a:pt x="1989109" y="277605"/>
                </a:lnTo>
                <a:lnTo>
                  <a:pt x="1991279" y="269268"/>
                </a:lnTo>
                <a:lnTo>
                  <a:pt x="1989109" y="267645"/>
                </a:lnTo>
                <a:lnTo>
                  <a:pt x="1985093" y="271542"/>
                </a:lnTo>
                <a:lnTo>
                  <a:pt x="1982055" y="269052"/>
                </a:lnTo>
                <a:lnTo>
                  <a:pt x="1979559" y="270893"/>
                </a:lnTo>
                <a:lnTo>
                  <a:pt x="1975002" y="271542"/>
                </a:lnTo>
                <a:lnTo>
                  <a:pt x="1974568" y="275982"/>
                </a:lnTo>
                <a:lnTo>
                  <a:pt x="1971963" y="282261"/>
                </a:lnTo>
                <a:lnTo>
                  <a:pt x="1963825" y="287458"/>
                </a:lnTo>
                <a:lnTo>
                  <a:pt x="1961003" y="282695"/>
                </a:lnTo>
                <a:lnTo>
                  <a:pt x="1958941" y="286809"/>
                </a:lnTo>
                <a:lnTo>
                  <a:pt x="1959809" y="291464"/>
                </a:lnTo>
                <a:lnTo>
                  <a:pt x="1958724" y="296553"/>
                </a:lnTo>
                <a:lnTo>
                  <a:pt x="1953624" y="303157"/>
                </a:lnTo>
                <a:lnTo>
                  <a:pt x="1950151" y="304239"/>
                </a:lnTo>
                <a:lnTo>
                  <a:pt x="1948958" y="306514"/>
                </a:lnTo>
                <a:lnTo>
                  <a:pt x="1948741" y="311494"/>
                </a:lnTo>
                <a:lnTo>
                  <a:pt x="1944292" y="316474"/>
                </a:lnTo>
                <a:lnTo>
                  <a:pt x="1942230" y="316474"/>
                </a:lnTo>
                <a:lnTo>
                  <a:pt x="1940385" y="311927"/>
                </a:lnTo>
                <a:lnTo>
                  <a:pt x="1941687" y="306296"/>
                </a:lnTo>
                <a:lnTo>
                  <a:pt x="1940819" y="303266"/>
                </a:lnTo>
                <a:lnTo>
                  <a:pt x="1942121" y="299151"/>
                </a:lnTo>
                <a:lnTo>
                  <a:pt x="1940385" y="297743"/>
                </a:lnTo>
                <a:lnTo>
                  <a:pt x="1938323" y="299368"/>
                </a:lnTo>
                <a:lnTo>
                  <a:pt x="1937889" y="305107"/>
                </a:lnTo>
                <a:lnTo>
                  <a:pt x="1934851" y="309004"/>
                </a:lnTo>
                <a:lnTo>
                  <a:pt x="1932029" y="309112"/>
                </a:lnTo>
                <a:lnTo>
                  <a:pt x="1932355" y="314417"/>
                </a:lnTo>
                <a:lnTo>
                  <a:pt x="1929425" y="318749"/>
                </a:lnTo>
                <a:lnTo>
                  <a:pt x="1926495" y="318315"/>
                </a:lnTo>
                <a:lnTo>
                  <a:pt x="1923457" y="322321"/>
                </a:lnTo>
                <a:lnTo>
                  <a:pt x="1915643" y="326977"/>
                </a:lnTo>
                <a:lnTo>
                  <a:pt x="1914016" y="326761"/>
                </a:lnTo>
                <a:lnTo>
                  <a:pt x="1913690" y="323296"/>
                </a:lnTo>
                <a:lnTo>
                  <a:pt x="1910651" y="322863"/>
                </a:lnTo>
                <a:lnTo>
                  <a:pt x="1908264" y="325461"/>
                </a:lnTo>
                <a:lnTo>
                  <a:pt x="1906202" y="322538"/>
                </a:lnTo>
                <a:lnTo>
                  <a:pt x="1907830" y="318532"/>
                </a:lnTo>
                <a:lnTo>
                  <a:pt x="1910868" y="315825"/>
                </a:lnTo>
                <a:lnTo>
                  <a:pt x="1909023" y="312252"/>
                </a:lnTo>
                <a:lnTo>
                  <a:pt x="1911845" y="306514"/>
                </a:lnTo>
                <a:lnTo>
                  <a:pt x="1916186" y="303915"/>
                </a:lnTo>
                <a:lnTo>
                  <a:pt x="1916403" y="300233"/>
                </a:lnTo>
                <a:lnTo>
                  <a:pt x="1913907" y="299151"/>
                </a:lnTo>
                <a:lnTo>
                  <a:pt x="1908481" y="301641"/>
                </a:lnTo>
                <a:lnTo>
                  <a:pt x="1905877" y="302074"/>
                </a:lnTo>
                <a:lnTo>
                  <a:pt x="1903815" y="308354"/>
                </a:lnTo>
                <a:lnTo>
                  <a:pt x="1902621" y="309004"/>
                </a:lnTo>
                <a:lnTo>
                  <a:pt x="1902295" y="313660"/>
                </a:lnTo>
                <a:lnTo>
                  <a:pt x="1900234" y="315500"/>
                </a:lnTo>
                <a:lnTo>
                  <a:pt x="1896002" y="313443"/>
                </a:lnTo>
                <a:lnTo>
                  <a:pt x="1895567" y="308463"/>
                </a:lnTo>
                <a:lnTo>
                  <a:pt x="1892204" y="302616"/>
                </a:lnTo>
                <a:lnTo>
                  <a:pt x="1887863" y="300233"/>
                </a:lnTo>
                <a:lnTo>
                  <a:pt x="1884390" y="301425"/>
                </a:lnTo>
                <a:lnTo>
                  <a:pt x="1882545" y="305432"/>
                </a:lnTo>
                <a:lnTo>
                  <a:pt x="1877662" y="306296"/>
                </a:lnTo>
                <a:lnTo>
                  <a:pt x="1872671" y="304673"/>
                </a:lnTo>
                <a:lnTo>
                  <a:pt x="1872671" y="302508"/>
                </a:lnTo>
                <a:lnTo>
                  <a:pt x="1879399" y="300017"/>
                </a:lnTo>
                <a:lnTo>
                  <a:pt x="1880592" y="296986"/>
                </a:lnTo>
                <a:lnTo>
                  <a:pt x="1877662" y="294280"/>
                </a:lnTo>
                <a:lnTo>
                  <a:pt x="1878856" y="292005"/>
                </a:lnTo>
                <a:lnTo>
                  <a:pt x="1882654" y="291464"/>
                </a:lnTo>
                <a:lnTo>
                  <a:pt x="1880809" y="289407"/>
                </a:lnTo>
                <a:lnTo>
                  <a:pt x="1876361" y="289623"/>
                </a:lnTo>
                <a:lnTo>
                  <a:pt x="1878856" y="284643"/>
                </a:lnTo>
                <a:lnTo>
                  <a:pt x="1885258" y="283019"/>
                </a:lnTo>
                <a:lnTo>
                  <a:pt x="1889056" y="282910"/>
                </a:lnTo>
                <a:lnTo>
                  <a:pt x="1893723" y="275656"/>
                </a:lnTo>
                <a:lnTo>
                  <a:pt x="1904792" y="273817"/>
                </a:lnTo>
                <a:lnTo>
                  <a:pt x="1909241" y="271542"/>
                </a:lnTo>
                <a:lnTo>
                  <a:pt x="1914666" y="273382"/>
                </a:lnTo>
                <a:lnTo>
                  <a:pt x="1919875" y="270352"/>
                </a:lnTo>
                <a:lnTo>
                  <a:pt x="1927797" y="264180"/>
                </a:lnTo>
                <a:lnTo>
                  <a:pt x="1931053" y="264180"/>
                </a:lnTo>
                <a:lnTo>
                  <a:pt x="1933548" y="262123"/>
                </a:lnTo>
                <a:lnTo>
                  <a:pt x="1938106" y="262989"/>
                </a:lnTo>
                <a:lnTo>
                  <a:pt x="1940385" y="261257"/>
                </a:lnTo>
                <a:lnTo>
                  <a:pt x="1948306" y="261257"/>
                </a:lnTo>
                <a:lnTo>
                  <a:pt x="1948958" y="258117"/>
                </a:lnTo>
                <a:lnTo>
                  <a:pt x="1952864" y="255085"/>
                </a:lnTo>
                <a:lnTo>
                  <a:pt x="1956988" y="254219"/>
                </a:lnTo>
                <a:lnTo>
                  <a:pt x="1962957" y="249888"/>
                </a:lnTo>
                <a:lnTo>
                  <a:pt x="1966971" y="249564"/>
                </a:lnTo>
                <a:lnTo>
                  <a:pt x="1970336" y="246640"/>
                </a:lnTo>
                <a:lnTo>
                  <a:pt x="1981730" y="237870"/>
                </a:lnTo>
                <a:lnTo>
                  <a:pt x="1984551" y="237870"/>
                </a:lnTo>
                <a:lnTo>
                  <a:pt x="1986396" y="238736"/>
                </a:lnTo>
                <a:lnTo>
                  <a:pt x="1988783" y="235813"/>
                </a:lnTo>
                <a:lnTo>
                  <a:pt x="1990194" y="231158"/>
                </a:lnTo>
                <a:lnTo>
                  <a:pt x="1995511" y="228559"/>
                </a:lnTo>
                <a:lnTo>
                  <a:pt x="2005820" y="229642"/>
                </a:lnTo>
                <a:lnTo>
                  <a:pt x="2008968" y="228884"/>
                </a:lnTo>
                <a:lnTo>
                  <a:pt x="2013959" y="230940"/>
                </a:lnTo>
                <a:lnTo>
                  <a:pt x="2019277" y="231158"/>
                </a:lnTo>
                <a:lnTo>
                  <a:pt x="2021012" y="229101"/>
                </a:lnTo>
                <a:lnTo>
                  <a:pt x="2023400" y="229101"/>
                </a:lnTo>
                <a:lnTo>
                  <a:pt x="2027958" y="233864"/>
                </a:lnTo>
                <a:lnTo>
                  <a:pt x="2028826" y="240794"/>
                </a:lnTo>
                <a:lnTo>
                  <a:pt x="2031213" y="244041"/>
                </a:lnTo>
                <a:lnTo>
                  <a:pt x="2032733" y="242093"/>
                </a:lnTo>
                <a:lnTo>
                  <a:pt x="2033384" y="239169"/>
                </a:lnTo>
                <a:lnTo>
                  <a:pt x="2034794" y="239061"/>
                </a:lnTo>
                <a:lnTo>
                  <a:pt x="2036205" y="243500"/>
                </a:lnTo>
                <a:lnTo>
                  <a:pt x="2040329" y="242634"/>
                </a:lnTo>
                <a:lnTo>
                  <a:pt x="2039460" y="239711"/>
                </a:lnTo>
                <a:lnTo>
                  <a:pt x="2040003" y="236462"/>
                </a:lnTo>
                <a:lnTo>
                  <a:pt x="2040329" y="230291"/>
                </a:lnTo>
                <a:lnTo>
                  <a:pt x="2045863" y="227693"/>
                </a:lnTo>
                <a:close/>
                <a:moveTo>
                  <a:pt x="2133762" y="225853"/>
                </a:moveTo>
                <a:lnTo>
                  <a:pt x="2136259" y="227694"/>
                </a:lnTo>
                <a:lnTo>
                  <a:pt x="2140599" y="227694"/>
                </a:lnTo>
                <a:lnTo>
                  <a:pt x="2144072" y="229427"/>
                </a:lnTo>
                <a:lnTo>
                  <a:pt x="2149171" y="229427"/>
                </a:lnTo>
                <a:lnTo>
                  <a:pt x="2151993" y="228344"/>
                </a:lnTo>
                <a:lnTo>
                  <a:pt x="2159264" y="229968"/>
                </a:lnTo>
                <a:lnTo>
                  <a:pt x="2159698" y="231700"/>
                </a:lnTo>
                <a:lnTo>
                  <a:pt x="2166643" y="231267"/>
                </a:lnTo>
                <a:lnTo>
                  <a:pt x="2171960" y="232674"/>
                </a:lnTo>
                <a:lnTo>
                  <a:pt x="2173479" y="234623"/>
                </a:lnTo>
                <a:lnTo>
                  <a:pt x="2179339" y="235490"/>
                </a:lnTo>
                <a:lnTo>
                  <a:pt x="2180533" y="237655"/>
                </a:lnTo>
                <a:lnTo>
                  <a:pt x="2176084" y="245559"/>
                </a:lnTo>
                <a:lnTo>
                  <a:pt x="2172286" y="244584"/>
                </a:lnTo>
                <a:lnTo>
                  <a:pt x="2160783" y="248374"/>
                </a:lnTo>
                <a:lnTo>
                  <a:pt x="2156442" y="248698"/>
                </a:lnTo>
                <a:lnTo>
                  <a:pt x="2150799" y="254005"/>
                </a:lnTo>
                <a:lnTo>
                  <a:pt x="2150799" y="256710"/>
                </a:lnTo>
                <a:lnTo>
                  <a:pt x="2155900" y="257144"/>
                </a:lnTo>
                <a:lnTo>
                  <a:pt x="2157636" y="256278"/>
                </a:lnTo>
                <a:lnTo>
                  <a:pt x="2158504" y="259852"/>
                </a:lnTo>
                <a:lnTo>
                  <a:pt x="2152644" y="266888"/>
                </a:lnTo>
                <a:lnTo>
                  <a:pt x="2151125" y="270137"/>
                </a:lnTo>
                <a:lnTo>
                  <a:pt x="2147001" y="271219"/>
                </a:lnTo>
                <a:lnTo>
                  <a:pt x="2147110" y="273818"/>
                </a:lnTo>
                <a:lnTo>
                  <a:pt x="2144180" y="277716"/>
                </a:lnTo>
                <a:lnTo>
                  <a:pt x="2139405" y="277716"/>
                </a:lnTo>
                <a:lnTo>
                  <a:pt x="2134414" y="280098"/>
                </a:lnTo>
                <a:lnTo>
                  <a:pt x="2128879" y="280098"/>
                </a:lnTo>
                <a:lnTo>
                  <a:pt x="2124213" y="276525"/>
                </a:lnTo>
                <a:lnTo>
                  <a:pt x="2121500" y="277933"/>
                </a:lnTo>
                <a:lnTo>
                  <a:pt x="2116617" y="277066"/>
                </a:lnTo>
                <a:lnTo>
                  <a:pt x="2111516" y="277391"/>
                </a:lnTo>
                <a:lnTo>
                  <a:pt x="2110106" y="275550"/>
                </a:lnTo>
                <a:lnTo>
                  <a:pt x="2112819" y="272410"/>
                </a:lnTo>
                <a:lnTo>
                  <a:pt x="2109455" y="266564"/>
                </a:lnTo>
                <a:lnTo>
                  <a:pt x="2104788" y="263315"/>
                </a:lnTo>
                <a:lnTo>
                  <a:pt x="2101642" y="262774"/>
                </a:lnTo>
                <a:lnTo>
                  <a:pt x="2100773" y="256927"/>
                </a:lnTo>
                <a:lnTo>
                  <a:pt x="2099580" y="251731"/>
                </a:lnTo>
                <a:lnTo>
                  <a:pt x="2103595" y="247183"/>
                </a:lnTo>
                <a:lnTo>
                  <a:pt x="2103920" y="243719"/>
                </a:lnTo>
                <a:lnTo>
                  <a:pt x="2109021" y="238521"/>
                </a:lnTo>
                <a:lnTo>
                  <a:pt x="2109455" y="233432"/>
                </a:lnTo>
                <a:lnTo>
                  <a:pt x="2114772" y="231267"/>
                </a:lnTo>
                <a:lnTo>
                  <a:pt x="2118679" y="228235"/>
                </a:lnTo>
                <a:lnTo>
                  <a:pt x="2122368" y="228235"/>
                </a:lnTo>
                <a:close/>
                <a:moveTo>
                  <a:pt x="4756718" y="216217"/>
                </a:moveTo>
                <a:lnTo>
                  <a:pt x="4760299" y="218167"/>
                </a:lnTo>
                <a:lnTo>
                  <a:pt x="4760299" y="220007"/>
                </a:lnTo>
                <a:lnTo>
                  <a:pt x="4756175" y="223579"/>
                </a:lnTo>
                <a:lnTo>
                  <a:pt x="4753245" y="229751"/>
                </a:lnTo>
                <a:lnTo>
                  <a:pt x="4748471" y="237006"/>
                </a:lnTo>
                <a:cubicBezTo>
                  <a:pt x="4746373" y="237652"/>
                  <a:pt x="4744234" y="238158"/>
                  <a:pt x="4742068" y="238522"/>
                </a:cubicBezTo>
                <a:lnTo>
                  <a:pt x="4737185" y="242636"/>
                </a:lnTo>
                <a:lnTo>
                  <a:pt x="4732193" y="242852"/>
                </a:lnTo>
                <a:lnTo>
                  <a:pt x="4730457" y="240146"/>
                </a:lnTo>
                <a:lnTo>
                  <a:pt x="4731867" y="237547"/>
                </a:lnTo>
                <a:lnTo>
                  <a:pt x="4739790" y="234407"/>
                </a:lnTo>
                <a:lnTo>
                  <a:pt x="4745432" y="233541"/>
                </a:lnTo>
                <a:lnTo>
                  <a:pt x="4744238" y="231810"/>
                </a:lnTo>
                <a:lnTo>
                  <a:pt x="4742502" y="225963"/>
                </a:lnTo>
                <a:lnTo>
                  <a:pt x="4738921" y="225963"/>
                </a:lnTo>
                <a:lnTo>
                  <a:pt x="4737402" y="224987"/>
                </a:lnTo>
                <a:lnTo>
                  <a:pt x="4739681" y="221414"/>
                </a:lnTo>
                <a:lnTo>
                  <a:pt x="4740875" y="217408"/>
                </a:lnTo>
                <a:lnTo>
                  <a:pt x="4746518" y="217408"/>
                </a:lnTo>
                <a:lnTo>
                  <a:pt x="4751184" y="219683"/>
                </a:lnTo>
                <a:close/>
                <a:moveTo>
                  <a:pt x="3274272" y="214593"/>
                </a:moveTo>
                <a:lnTo>
                  <a:pt x="3277311" y="215567"/>
                </a:lnTo>
                <a:lnTo>
                  <a:pt x="3280566" y="219682"/>
                </a:lnTo>
                <a:lnTo>
                  <a:pt x="3281109" y="230401"/>
                </a:lnTo>
                <a:lnTo>
                  <a:pt x="3278396" y="232891"/>
                </a:lnTo>
                <a:lnTo>
                  <a:pt x="3271234" y="227802"/>
                </a:lnTo>
                <a:lnTo>
                  <a:pt x="3271885" y="223038"/>
                </a:lnTo>
                <a:lnTo>
                  <a:pt x="3271017" y="219899"/>
                </a:lnTo>
                <a:lnTo>
                  <a:pt x="3271451" y="215676"/>
                </a:lnTo>
                <a:close/>
                <a:moveTo>
                  <a:pt x="2098712" y="210153"/>
                </a:moveTo>
                <a:lnTo>
                  <a:pt x="2102510" y="212211"/>
                </a:lnTo>
                <a:lnTo>
                  <a:pt x="2105331" y="212102"/>
                </a:lnTo>
                <a:lnTo>
                  <a:pt x="2109237" y="210694"/>
                </a:lnTo>
                <a:lnTo>
                  <a:pt x="2107718" y="216866"/>
                </a:lnTo>
                <a:lnTo>
                  <a:pt x="2108043" y="220439"/>
                </a:lnTo>
                <a:lnTo>
                  <a:pt x="2107175" y="223795"/>
                </a:lnTo>
                <a:lnTo>
                  <a:pt x="2106958" y="229425"/>
                </a:lnTo>
                <a:lnTo>
                  <a:pt x="2103160" y="234623"/>
                </a:lnTo>
                <a:lnTo>
                  <a:pt x="2096975" y="236463"/>
                </a:lnTo>
                <a:lnTo>
                  <a:pt x="2093720" y="234730"/>
                </a:lnTo>
                <a:lnTo>
                  <a:pt x="2090139" y="227910"/>
                </a:lnTo>
                <a:lnTo>
                  <a:pt x="2091116" y="223037"/>
                </a:lnTo>
                <a:lnTo>
                  <a:pt x="2091007" y="217516"/>
                </a:lnTo>
                <a:lnTo>
                  <a:pt x="2092743" y="213293"/>
                </a:lnTo>
                <a:lnTo>
                  <a:pt x="2095673" y="212968"/>
                </a:lnTo>
                <a:close/>
                <a:moveTo>
                  <a:pt x="4771477" y="203116"/>
                </a:moveTo>
                <a:lnTo>
                  <a:pt x="4774406" y="205173"/>
                </a:lnTo>
                <a:lnTo>
                  <a:pt x="4775600" y="208205"/>
                </a:lnTo>
                <a:lnTo>
                  <a:pt x="4774624" y="211453"/>
                </a:lnTo>
                <a:lnTo>
                  <a:pt x="4771260" y="213078"/>
                </a:lnTo>
                <a:lnTo>
                  <a:pt x="4767679" y="212102"/>
                </a:lnTo>
                <a:lnTo>
                  <a:pt x="4766811" y="206582"/>
                </a:lnTo>
                <a:lnTo>
                  <a:pt x="4768873" y="203549"/>
                </a:lnTo>
                <a:close/>
                <a:moveTo>
                  <a:pt x="4747495" y="199326"/>
                </a:moveTo>
                <a:lnTo>
                  <a:pt x="4750967" y="199759"/>
                </a:lnTo>
                <a:lnTo>
                  <a:pt x="4753897" y="201925"/>
                </a:lnTo>
                <a:lnTo>
                  <a:pt x="4758454" y="201925"/>
                </a:lnTo>
                <a:lnTo>
                  <a:pt x="4760516" y="201384"/>
                </a:lnTo>
                <a:lnTo>
                  <a:pt x="4762687" y="203008"/>
                </a:lnTo>
                <a:lnTo>
                  <a:pt x="4761276" y="205714"/>
                </a:lnTo>
                <a:lnTo>
                  <a:pt x="4758780" y="207338"/>
                </a:lnTo>
                <a:lnTo>
                  <a:pt x="4756610" y="211127"/>
                </a:lnTo>
                <a:lnTo>
                  <a:pt x="4753789" y="213509"/>
                </a:lnTo>
                <a:lnTo>
                  <a:pt x="4750967" y="213184"/>
                </a:lnTo>
                <a:lnTo>
                  <a:pt x="4748688" y="210370"/>
                </a:lnTo>
                <a:lnTo>
                  <a:pt x="4744131" y="212968"/>
                </a:lnTo>
                <a:lnTo>
                  <a:pt x="4740007" y="211127"/>
                </a:lnTo>
                <a:lnTo>
                  <a:pt x="4738597" y="208420"/>
                </a:lnTo>
                <a:lnTo>
                  <a:pt x="4738922" y="205714"/>
                </a:lnTo>
                <a:lnTo>
                  <a:pt x="4743480" y="201817"/>
                </a:lnTo>
                <a:close/>
                <a:moveTo>
                  <a:pt x="3273513" y="195972"/>
                </a:moveTo>
                <a:lnTo>
                  <a:pt x="3275683" y="197595"/>
                </a:lnTo>
                <a:lnTo>
                  <a:pt x="3275792" y="201168"/>
                </a:lnTo>
                <a:lnTo>
                  <a:pt x="3279047" y="203117"/>
                </a:lnTo>
                <a:lnTo>
                  <a:pt x="3279590" y="207339"/>
                </a:lnTo>
                <a:lnTo>
                  <a:pt x="3278070" y="209722"/>
                </a:lnTo>
                <a:lnTo>
                  <a:pt x="3271668" y="210263"/>
                </a:lnTo>
                <a:lnTo>
                  <a:pt x="3269931" y="209505"/>
                </a:lnTo>
                <a:lnTo>
                  <a:pt x="3267110" y="204741"/>
                </a:lnTo>
                <a:lnTo>
                  <a:pt x="3266785" y="201493"/>
                </a:lnTo>
                <a:lnTo>
                  <a:pt x="3269172" y="196945"/>
                </a:lnTo>
                <a:close/>
                <a:moveTo>
                  <a:pt x="4852972" y="194672"/>
                </a:moveTo>
                <a:lnTo>
                  <a:pt x="4856229" y="196404"/>
                </a:lnTo>
                <a:lnTo>
                  <a:pt x="4860569" y="197594"/>
                </a:lnTo>
                <a:lnTo>
                  <a:pt x="4862196" y="202250"/>
                </a:lnTo>
                <a:lnTo>
                  <a:pt x="4861871" y="209938"/>
                </a:lnTo>
                <a:lnTo>
                  <a:pt x="4863282" y="212320"/>
                </a:lnTo>
                <a:lnTo>
                  <a:pt x="4867405" y="214052"/>
                </a:lnTo>
                <a:lnTo>
                  <a:pt x="4872939" y="219790"/>
                </a:lnTo>
                <a:lnTo>
                  <a:pt x="4875978" y="219790"/>
                </a:lnTo>
                <a:lnTo>
                  <a:pt x="4875978" y="222389"/>
                </a:lnTo>
                <a:lnTo>
                  <a:pt x="4868491" y="226828"/>
                </a:lnTo>
                <a:lnTo>
                  <a:pt x="4861003" y="229859"/>
                </a:lnTo>
                <a:lnTo>
                  <a:pt x="4859483" y="233216"/>
                </a:lnTo>
                <a:lnTo>
                  <a:pt x="4860895" y="237438"/>
                </a:lnTo>
                <a:lnTo>
                  <a:pt x="4860243" y="243177"/>
                </a:lnTo>
                <a:lnTo>
                  <a:pt x="4856770" y="248266"/>
                </a:lnTo>
                <a:lnTo>
                  <a:pt x="4852756" y="245559"/>
                </a:lnTo>
                <a:lnTo>
                  <a:pt x="4852213" y="241985"/>
                </a:lnTo>
                <a:lnTo>
                  <a:pt x="4849174" y="238630"/>
                </a:lnTo>
                <a:lnTo>
                  <a:pt x="4844291" y="239170"/>
                </a:lnTo>
                <a:lnTo>
                  <a:pt x="4840385" y="235381"/>
                </a:lnTo>
                <a:lnTo>
                  <a:pt x="4840168" y="232024"/>
                </a:lnTo>
                <a:lnTo>
                  <a:pt x="4842121" y="228344"/>
                </a:lnTo>
                <a:lnTo>
                  <a:pt x="4839517" y="221955"/>
                </a:lnTo>
                <a:lnTo>
                  <a:pt x="4838323" y="216326"/>
                </a:lnTo>
                <a:lnTo>
                  <a:pt x="4839842" y="209938"/>
                </a:lnTo>
                <a:lnTo>
                  <a:pt x="4843966" y="207231"/>
                </a:lnTo>
                <a:lnTo>
                  <a:pt x="4848306" y="201492"/>
                </a:lnTo>
                <a:lnTo>
                  <a:pt x="4848306" y="198569"/>
                </a:lnTo>
                <a:lnTo>
                  <a:pt x="4849717" y="195213"/>
                </a:lnTo>
                <a:close/>
                <a:moveTo>
                  <a:pt x="5325020" y="191316"/>
                </a:moveTo>
                <a:lnTo>
                  <a:pt x="5333484" y="192616"/>
                </a:lnTo>
                <a:lnTo>
                  <a:pt x="5343576" y="198029"/>
                </a:lnTo>
                <a:lnTo>
                  <a:pt x="5344553" y="201276"/>
                </a:lnTo>
                <a:lnTo>
                  <a:pt x="5341840" y="208316"/>
                </a:lnTo>
                <a:lnTo>
                  <a:pt x="5339778" y="214919"/>
                </a:lnTo>
                <a:lnTo>
                  <a:pt x="5336414" y="216760"/>
                </a:lnTo>
                <a:lnTo>
                  <a:pt x="5330989" y="221416"/>
                </a:lnTo>
                <a:lnTo>
                  <a:pt x="5326322" y="224988"/>
                </a:lnTo>
                <a:lnTo>
                  <a:pt x="5321330" y="224555"/>
                </a:lnTo>
                <a:lnTo>
                  <a:pt x="5316881" y="221957"/>
                </a:lnTo>
                <a:lnTo>
                  <a:pt x="5316555" y="219899"/>
                </a:lnTo>
                <a:lnTo>
                  <a:pt x="5322198" y="219791"/>
                </a:lnTo>
                <a:lnTo>
                  <a:pt x="5328926" y="217950"/>
                </a:lnTo>
                <a:lnTo>
                  <a:pt x="5330989" y="216434"/>
                </a:lnTo>
                <a:lnTo>
                  <a:pt x="5327733" y="215352"/>
                </a:lnTo>
                <a:lnTo>
                  <a:pt x="5318943" y="215570"/>
                </a:lnTo>
                <a:lnTo>
                  <a:pt x="5312866" y="213405"/>
                </a:lnTo>
                <a:lnTo>
                  <a:pt x="5309936" y="208748"/>
                </a:lnTo>
                <a:lnTo>
                  <a:pt x="5304836" y="206366"/>
                </a:lnTo>
                <a:lnTo>
                  <a:pt x="5302448" y="202359"/>
                </a:lnTo>
                <a:lnTo>
                  <a:pt x="5296480" y="201061"/>
                </a:lnTo>
                <a:lnTo>
                  <a:pt x="5294744" y="197920"/>
                </a:lnTo>
                <a:lnTo>
                  <a:pt x="5296046" y="196621"/>
                </a:lnTo>
                <a:lnTo>
                  <a:pt x="5301906" y="196514"/>
                </a:lnTo>
                <a:lnTo>
                  <a:pt x="5306138" y="193049"/>
                </a:lnTo>
                <a:lnTo>
                  <a:pt x="5309176" y="193049"/>
                </a:lnTo>
                <a:lnTo>
                  <a:pt x="5313517" y="194781"/>
                </a:lnTo>
                <a:lnTo>
                  <a:pt x="5317749" y="192724"/>
                </a:lnTo>
                <a:close/>
                <a:moveTo>
                  <a:pt x="4756827" y="190882"/>
                </a:moveTo>
                <a:lnTo>
                  <a:pt x="4757912" y="193806"/>
                </a:lnTo>
                <a:lnTo>
                  <a:pt x="4755307" y="195972"/>
                </a:lnTo>
                <a:lnTo>
                  <a:pt x="4754874" y="192614"/>
                </a:lnTo>
                <a:close/>
                <a:moveTo>
                  <a:pt x="5496586" y="188392"/>
                </a:moveTo>
                <a:lnTo>
                  <a:pt x="5499841" y="188392"/>
                </a:lnTo>
                <a:lnTo>
                  <a:pt x="5506027" y="191316"/>
                </a:lnTo>
                <a:lnTo>
                  <a:pt x="5510693" y="192398"/>
                </a:lnTo>
                <a:lnTo>
                  <a:pt x="5515468" y="194455"/>
                </a:lnTo>
                <a:lnTo>
                  <a:pt x="5516336" y="210047"/>
                </a:lnTo>
                <a:lnTo>
                  <a:pt x="5518181" y="213295"/>
                </a:lnTo>
                <a:lnTo>
                  <a:pt x="5520785" y="213295"/>
                </a:lnTo>
                <a:lnTo>
                  <a:pt x="5520785" y="208855"/>
                </a:lnTo>
                <a:lnTo>
                  <a:pt x="5524040" y="206257"/>
                </a:lnTo>
                <a:lnTo>
                  <a:pt x="5524040" y="203117"/>
                </a:lnTo>
                <a:lnTo>
                  <a:pt x="5520567" y="199004"/>
                </a:lnTo>
                <a:lnTo>
                  <a:pt x="5520567" y="196621"/>
                </a:lnTo>
                <a:lnTo>
                  <a:pt x="5523280" y="198570"/>
                </a:lnTo>
                <a:lnTo>
                  <a:pt x="5528055" y="204525"/>
                </a:lnTo>
                <a:lnTo>
                  <a:pt x="5530334" y="204525"/>
                </a:lnTo>
                <a:lnTo>
                  <a:pt x="5531202" y="200194"/>
                </a:lnTo>
                <a:lnTo>
                  <a:pt x="5534241" y="200194"/>
                </a:lnTo>
                <a:lnTo>
                  <a:pt x="5537822" y="204308"/>
                </a:lnTo>
                <a:lnTo>
                  <a:pt x="5539016" y="207774"/>
                </a:lnTo>
                <a:lnTo>
                  <a:pt x="5542488" y="208964"/>
                </a:lnTo>
                <a:lnTo>
                  <a:pt x="5543682" y="206907"/>
                </a:lnTo>
                <a:lnTo>
                  <a:pt x="5546286" y="207557"/>
                </a:lnTo>
                <a:lnTo>
                  <a:pt x="5552147" y="213186"/>
                </a:lnTo>
                <a:lnTo>
                  <a:pt x="5557789" y="215460"/>
                </a:lnTo>
                <a:lnTo>
                  <a:pt x="5561370" y="217735"/>
                </a:lnTo>
                <a:lnTo>
                  <a:pt x="5563432" y="216327"/>
                </a:lnTo>
                <a:lnTo>
                  <a:pt x="5568098" y="216327"/>
                </a:lnTo>
                <a:lnTo>
                  <a:pt x="5575694" y="221306"/>
                </a:lnTo>
                <a:lnTo>
                  <a:pt x="5575694" y="225638"/>
                </a:lnTo>
                <a:lnTo>
                  <a:pt x="5578408" y="231376"/>
                </a:lnTo>
                <a:lnTo>
                  <a:pt x="5584592" y="238739"/>
                </a:lnTo>
                <a:lnTo>
                  <a:pt x="5586004" y="243935"/>
                </a:lnTo>
                <a:lnTo>
                  <a:pt x="5581880" y="253247"/>
                </a:lnTo>
                <a:lnTo>
                  <a:pt x="5578625" y="255521"/>
                </a:lnTo>
                <a:lnTo>
                  <a:pt x="5577430" y="259527"/>
                </a:lnTo>
                <a:lnTo>
                  <a:pt x="5569726" y="265698"/>
                </a:lnTo>
                <a:lnTo>
                  <a:pt x="5564409" y="267538"/>
                </a:lnTo>
                <a:lnTo>
                  <a:pt x="5562347" y="271112"/>
                </a:lnTo>
                <a:lnTo>
                  <a:pt x="5560068" y="275551"/>
                </a:lnTo>
                <a:lnTo>
                  <a:pt x="5556595" y="275551"/>
                </a:lnTo>
                <a:lnTo>
                  <a:pt x="5553883" y="273169"/>
                </a:lnTo>
                <a:lnTo>
                  <a:pt x="5549867" y="273818"/>
                </a:lnTo>
                <a:lnTo>
                  <a:pt x="5539016" y="280856"/>
                </a:lnTo>
                <a:lnTo>
                  <a:pt x="5538364" y="284753"/>
                </a:lnTo>
                <a:lnTo>
                  <a:pt x="5539233" y="287677"/>
                </a:lnTo>
                <a:lnTo>
                  <a:pt x="5535651" y="289735"/>
                </a:lnTo>
                <a:lnTo>
                  <a:pt x="5530551" y="296987"/>
                </a:lnTo>
                <a:lnTo>
                  <a:pt x="5527404" y="303376"/>
                </a:lnTo>
                <a:cubicBezTo>
                  <a:pt x="5527404" y="303376"/>
                  <a:pt x="5521219" y="305435"/>
                  <a:pt x="5521219" y="305435"/>
                </a:cubicBezTo>
                <a:lnTo>
                  <a:pt x="5518289" y="302725"/>
                </a:lnTo>
                <a:lnTo>
                  <a:pt x="5518289" y="298070"/>
                </a:lnTo>
                <a:lnTo>
                  <a:pt x="5514165" y="294281"/>
                </a:lnTo>
                <a:lnTo>
                  <a:pt x="5511561" y="286919"/>
                </a:lnTo>
                <a:lnTo>
                  <a:pt x="5508414" y="279881"/>
                </a:lnTo>
                <a:lnTo>
                  <a:pt x="5510151" y="277282"/>
                </a:lnTo>
                <a:lnTo>
                  <a:pt x="5509499" y="272844"/>
                </a:lnTo>
                <a:lnTo>
                  <a:pt x="5506895" y="270786"/>
                </a:lnTo>
                <a:lnTo>
                  <a:pt x="5506895" y="264940"/>
                </a:lnTo>
                <a:lnTo>
                  <a:pt x="5505159" y="258769"/>
                </a:lnTo>
                <a:lnTo>
                  <a:pt x="5501034" y="250324"/>
                </a:lnTo>
                <a:lnTo>
                  <a:pt x="5503422" y="242203"/>
                </a:lnTo>
                <a:lnTo>
                  <a:pt x="5507872" y="241336"/>
                </a:lnTo>
                <a:lnTo>
                  <a:pt x="5510802" y="238630"/>
                </a:lnTo>
                <a:lnTo>
                  <a:pt x="5506461" y="238630"/>
                </a:lnTo>
                <a:lnTo>
                  <a:pt x="5502879" y="235058"/>
                </a:lnTo>
                <a:lnTo>
                  <a:pt x="5497671" y="223039"/>
                </a:lnTo>
                <a:lnTo>
                  <a:pt x="5498539" y="219141"/>
                </a:lnTo>
                <a:lnTo>
                  <a:pt x="5496586" y="216435"/>
                </a:lnTo>
                <a:lnTo>
                  <a:pt x="5493005" y="215570"/>
                </a:lnTo>
                <a:lnTo>
                  <a:pt x="5490617" y="212970"/>
                </a:lnTo>
                <a:lnTo>
                  <a:pt x="5490617" y="208098"/>
                </a:lnTo>
                <a:lnTo>
                  <a:pt x="5492028" y="206691"/>
                </a:lnTo>
                <a:lnTo>
                  <a:pt x="5491377" y="203876"/>
                </a:lnTo>
                <a:lnTo>
                  <a:pt x="5490509" y="200627"/>
                </a:lnTo>
                <a:lnTo>
                  <a:pt x="5492462" y="200627"/>
                </a:lnTo>
                <a:lnTo>
                  <a:pt x="5495718" y="203226"/>
                </a:lnTo>
                <a:lnTo>
                  <a:pt x="5497454" y="206149"/>
                </a:lnTo>
                <a:lnTo>
                  <a:pt x="5501252" y="206149"/>
                </a:lnTo>
                <a:lnTo>
                  <a:pt x="5503314" y="204092"/>
                </a:lnTo>
                <a:lnTo>
                  <a:pt x="5499841" y="199761"/>
                </a:lnTo>
                <a:lnTo>
                  <a:pt x="5494958" y="196621"/>
                </a:lnTo>
                <a:lnTo>
                  <a:pt x="5493873" y="192182"/>
                </a:lnTo>
                <a:close/>
                <a:moveTo>
                  <a:pt x="5087586" y="184818"/>
                </a:moveTo>
                <a:lnTo>
                  <a:pt x="5095508" y="184818"/>
                </a:lnTo>
                <a:lnTo>
                  <a:pt x="5102127" y="186552"/>
                </a:lnTo>
                <a:lnTo>
                  <a:pt x="5104189" y="191315"/>
                </a:lnTo>
                <a:lnTo>
                  <a:pt x="5101476" y="194996"/>
                </a:lnTo>
                <a:lnTo>
                  <a:pt x="5095508" y="196838"/>
                </a:lnTo>
                <a:lnTo>
                  <a:pt x="5086609" y="196838"/>
                </a:lnTo>
                <a:lnTo>
                  <a:pt x="5083245" y="195429"/>
                </a:lnTo>
                <a:lnTo>
                  <a:pt x="5081509" y="193372"/>
                </a:lnTo>
                <a:lnTo>
                  <a:pt x="5081509" y="189908"/>
                </a:lnTo>
                <a:close/>
                <a:moveTo>
                  <a:pt x="6482241" y="182330"/>
                </a:moveTo>
                <a:lnTo>
                  <a:pt x="6484629" y="185036"/>
                </a:lnTo>
                <a:lnTo>
                  <a:pt x="6484303" y="187743"/>
                </a:lnTo>
                <a:lnTo>
                  <a:pt x="6485713" y="191424"/>
                </a:lnTo>
                <a:lnTo>
                  <a:pt x="6488969" y="190882"/>
                </a:lnTo>
                <a:lnTo>
                  <a:pt x="6493092" y="192616"/>
                </a:lnTo>
                <a:lnTo>
                  <a:pt x="6494938" y="199327"/>
                </a:lnTo>
                <a:lnTo>
                  <a:pt x="6491356" y="204525"/>
                </a:lnTo>
                <a:lnTo>
                  <a:pt x="6489512" y="210696"/>
                </a:lnTo>
                <a:lnTo>
                  <a:pt x="6480179" y="216542"/>
                </a:lnTo>
                <a:lnTo>
                  <a:pt x="6475839" y="218274"/>
                </a:lnTo>
                <a:lnTo>
                  <a:pt x="6468785" y="216002"/>
                </a:lnTo>
                <a:lnTo>
                  <a:pt x="6462600" y="218058"/>
                </a:lnTo>
                <a:lnTo>
                  <a:pt x="6454461" y="217733"/>
                </a:lnTo>
                <a:lnTo>
                  <a:pt x="6445997" y="213727"/>
                </a:lnTo>
                <a:lnTo>
                  <a:pt x="6433843" y="212537"/>
                </a:lnTo>
                <a:lnTo>
                  <a:pt x="6417457" y="206907"/>
                </a:lnTo>
                <a:lnTo>
                  <a:pt x="6415069" y="202252"/>
                </a:lnTo>
                <a:lnTo>
                  <a:pt x="6406714" y="191534"/>
                </a:lnTo>
                <a:lnTo>
                  <a:pt x="6404652" y="182761"/>
                </a:lnTo>
                <a:lnTo>
                  <a:pt x="6408667" y="183521"/>
                </a:lnTo>
                <a:lnTo>
                  <a:pt x="6409210" y="186769"/>
                </a:lnTo>
                <a:lnTo>
                  <a:pt x="6412465" y="190016"/>
                </a:lnTo>
                <a:lnTo>
                  <a:pt x="6421255" y="192074"/>
                </a:lnTo>
                <a:lnTo>
                  <a:pt x="6424511" y="188608"/>
                </a:lnTo>
                <a:lnTo>
                  <a:pt x="6424511" y="184711"/>
                </a:lnTo>
                <a:lnTo>
                  <a:pt x="6428200" y="186119"/>
                </a:lnTo>
                <a:lnTo>
                  <a:pt x="6435905" y="186119"/>
                </a:lnTo>
                <a:lnTo>
                  <a:pt x="6441222" y="184819"/>
                </a:lnTo>
                <a:lnTo>
                  <a:pt x="6444477" y="184711"/>
                </a:lnTo>
                <a:lnTo>
                  <a:pt x="6445671" y="188608"/>
                </a:lnTo>
                <a:lnTo>
                  <a:pt x="6447407" y="191424"/>
                </a:lnTo>
                <a:lnTo>
                  <a:pt x="6452291" y="190234"/>
                </a:lnTo>
                <a:lnTo>
                  <a:pt x="6459452" y="185036"/>
                </a:lnTo>
                <a:lnTo>
                  <a:pt x="6471064" y="182761"/>
                </a:lnTo>
                <a:lnTo>
                  <a:pt x="6478334" y="184711"/>
                </a:lnTo>
                <a:close/>
                <a:moveTo>
                  <a:pt x="6330645" y="182113"/>
                </a:moveTo>
                <a:lnTo>
                  <a:pt x="6335637" y="182761"/>
                </a:lnTo>
                <a:lnTo>
                  <a:pt x="6347140" y="188607"/>
                </a:lnTo>
                <a:lnTo>
                  <a:pt x="6352674" y="189148"/>
                </a:lnTo>
                <a:lnTo>
                  <a:pt x="6356797" y="188174"/>
                </a:lnTo>
                <a:lnTo>
                  <a:pt x="6368192" y="189473"/>
                </a:lnTo>
                <a:lnTo>
                  <a:pt x="6380237" y="193154"/>
                </a:lnTo>
                <a:lnTo>
                  <a:pt x="6380454" y="195537"/>
                </a:lnTo>
                <a:lnTo>
                  <a:pt x="6375028" y="196945"/>
                </a:lnTo>
                <a:lnTo>
                  <a:pt x="6371990" y="200301"/>
                </a:lnTo>
                <a:lnTo>
                  <a:pt x="6371990" y="205172"/>
                </a:lnTo>
                <a:lnTo>
                  <a:pt x="6376765" y="210695"/>
                </a:lnTo>
                <a:lnTo>
                  <a:pt x="6382516" y="212211"/>
                </a:lnTo>
                <a:lnTo>
                  <a:pt x="6382625" y="218166"/>
                </a:lnTo>
                <a:lnTo>
                  <a:pt x="6383602" y="221846"/>
                </a:lnTo>
                <a:lnTo>
                  <a:pt x="6381213" y="225962"/>
                </a:lnTo>
                <a:lnTo>
                  <a:pt x="6380129" y="232349"/>
                </a:lnTo>
                <a:lnTo>
                  <a:pt x="6376005" y="236247"/>
                </a:lnTo>
                <a:lnTo>
                  <a:pt x="6374377" y="239495"/>
                </a:lnTo>
                <a:lnTo>
                  <a:pt x="6369819" y="235920"/>
                </a:lnTo>
                <a:lnTo>
                  <a:pt x="6367215" y="236247"/>
                </a:lnTo>
                <a:lnTo>
                  <a:pt x="6362007" y="239927"/>
                </a:lnTo>
                <a:lnTo>
                  <a:pt x="6357014" y="240144"/>
                </a:lnTo>
                <a:lnTo>
                  <a:pt x="6346380" y="234948"/>
                </a:lnTo>
                <a:lnTo>
                  <a:pt x="6340628" y="229858"/>
                </a:lnTo>
                <a:lnTo>
                  <a:pt x="6329993" y="220980"/>
                </a:lnTo>
                <a:lnTo>
                  <a:pt x="6328366" y="214484"/>
                </a:lnTo>
                <a:lnTo>
                  <a:pt x="6329776" y="210261"/>
                </a:lnTo>
                <a:lnTo>
                  <a:pt x="6330211" y="205823"/>
                </a:lnTo>
                <a:lnTo>
                  <a:pt x="6331405" y="203331"/>
                </a:lnTo>
                <a:lnTo>
                  <a:pt x="6328908" y="199110"/>
                </a:lnTo>
                <a:lnTo>
                  <a:pt x="6326195" y="197487"/>
                </a:lnTo>
                <a:lnTo>
                  <a:pt x="6325327" y="192722"/>
                </a:lnTo>
                <a:lnTo>
                  <a:pt x="6322397" y="191315"/>
                </a:lnTo>
                <a:lnTo>
                  <a:pt x="6319251" y="187309"/>
                </a:lnTo>
                <a:lnTo>
                  <a:pt x="6315995" y="182544"/>
                </a:lnTo>
                <a:lnTo>
                  <a:pt x="6323049" y="182436"/>
                </a:lnTo>
                <a:close/>
                <a:moveTo>
                  <a:pt x="2204841" y="182003"/>
                </a:moveTo>
                <a:lnTo>
                  <a:pt x="2208314" y="183303"/>
                </a:lnTo>
                <a:lnTo>
                  <a:pt x="2207988" y="186659"/>
                </a:lnTo>
                <a:lnTo>
                  <a:pt x="2210701" y="191964"/>
                </a:lnTo>
                <a:lnTo>
                  <a:pt x="2210701" y="195754"/>
                </a:lnTo>
                <a:lnTo>
                  <a:pt x="2206794" y="201926"/>
                </a:lnTo>
                <a:lnTo>
                  <a:pt x="2209725" y="208421"/>
                </a:lnTo>
                <a:lnTo>
                  <a:pt x="2206035" y="218058"/>
                </a:lnTo>
                <a:lnTo>
                  <a:pt x="2200718" y="220872"/>
                </a:lnTo>
                <a:lnTo>
                  <a:pt x="2196376" y="225312"/>
                </a:lnTo>
                <a:lnTo>
                  <a:pt x="2192470" y="224445"/>
                </a:lnTo>
                <a:lnTo>
                  <a:pt x="2188130" y="224662"/>
                </a:lnTo>
                <a:lnTo>
                  <a:pt x="2186067" y="221522"/>
                </a:lnTo>
                <a:lnTo>
                  <a:pt x="2181293" y="222930"/>
                </a:lnTo>
                <a:lnTo>
                  <a:pt x="2175216" y="216217"/>
                </a:lnTo>
                <a:lnTo>
                  <a:pt x="2175541" y="210479"/>
                </a:lnTo>
                <a:lnTo>
                  <a:pt x="2171960" y="205173"/>
                </a:lnTo>
                <a:lnTo>
                  <a:pt x="2169899" y="207447"/>
                </a:lnTo>
                <a:lnTo>
                  <a:pt x="2170115" y="211236"/>
                </a:lnTo>
                <a:lnTo>
                  <a:pt x="2166101" y="214593"/>
                </a:lnTo>
                <a:lnTo>
                  <a:pt x="2162628" y="210370"/>
                </a:lnTo>
                <a:lnTo>
                  <a:pt x="2161434" y="205173"/>
                </a:lnTo>
                <a:lnTo>
                  <a:pt x="2163822" y="202250"/>
                </a:lnTo>
                <a:lnTo>
                  <a:pt x="2160566" y="199543"/>
                </a:lnTo>
                <a:lnTo>
                  <a:pt x="2156335" y="200193"/>
                </a:lnTo>
                <a:lnTo>
                  <a:pt x="2153404" y="199001"/>
                </a:lnTo>
                <a:lnTo>
                  <a:pt x="2150257" y="200409"/>
                </a:lnTo>
                <a:lnTo>
                  <a:pt x="2145049" y="199868"/>
                </a:lnTo>
                <a:lnTo>
                  <a:pt x="2140599" y="201275"/>
                </a:lnTo>
                <a:lnTo>
                  <a:pt x="2140491" y="197161"/>
                </a:lnTo>
                <a:lnTo>
                  <a:pt x="2144614" y="192613"/>
                </a:lnTo>
                <a:lnTo>
                  <a:pt x="2145591" y="189366"/>
                </a:lnTo>
                <a:lnTo>
                  <a:pt x="2150800" y="189040"/>
                </a:lnTo>
                <a:lnTo>
                  <a:pt x="2155792" y="189040"/>
                </a:lnTo>
                <a:lnTo>
                  <a:pt x="2169573" y="185035"/>
                </a:lnTo>
                <a:lnTo>
                  <a:pt x="2173805" y="185901"/>
                </a:lnTo>
                <a:lnTo>
                  <a:pt x="2178146" y="188824"/>
                </a:lnTo>
                <a:lnTo>
                  <a:pt x="2180968" y="188391"/>
                </a:lnTo>
                <a:lnTo>
                  <a:pt x="2186394" y="188175"/>
                </a:lnTo>
                <a:lnTo>
                  <a:pt x="2192253" y="183844"/>
                </a:lnTo>
                <a:lnTo>
                  <a:pt x="2200066" y="183519"/>
                </a:lnTo>
                <a:lnTo>
                  <a:pt x="2202454" y="184277"/>
                </a:lnTo>
                <a:close/>
                <a:moveTo>
                  <a:pt x="6278772" y="176483"/>
                </a:moveTo>
                <a:lnTo>
                  <a:pt x="6283764" y="178322"/>
                </a:lnTo>
                <a:lnTo>
                  <a:pt x="6288865" y="178322"/>
                </a:lnTo>
                <a:lnTo>
                  <a:pt x="6293205" y="182330"/>
                </a:lnTo>
                <a:lnTo>
                  <a:pt x="6298957" y="183629"/>
                </a:lnTo>
                <a:lnTo>
                  <a:pt x="6307638" y="183521"/>
                </a:lnTo>
                <a:lnTo>
                  <a:pt x="6311653" y="186227"/>
                </a:lnTo>
                <a:lnTo>
                  <a:pt x="6313932" y="187743"/>
                </a:lnTo>
                <a:lnTo>
                  <a:pt x="6314149" y="191207"/>
                </a:lnTo>
                <a:lnTo>
                  <a:pt x="6312629" y="192291"/>
                </a:lnTo>
                <a:lnTo>
                  <a:pt x="6310025" y="194348"/>
                </a:lnTo>
                <a:lnTo>
                  <a:pt x="6312413" y="197595"/>
                </a:lnTo>
                <a:lnTo>
                  <a:pt x="6309699" y="198786"/>
                </a:lnTo>
                <a:lnTo>
                  <a:pt x="6309699" y="201059"/>
                </a:lnTo>
                <a:lnTo>
                  <a:pt x="6314800" y="203658"/>
                </a:lnTo>
                <a:lnTo>
                  <a:pt x="6315885" y="208640"/>
                </a:lnTo>
                <a:lnTo>
                  <a:pt x="6319466" y="212861"/>
                </a:lnTo>
                <a:lnTo>
                  <a:pt x="6320334" y="216542"/>
                </a:lnTo>
                <a:lnTo>
                  <a:pt x="6322396" y="224445"/>
                </a:lnTo>
                <a:lnTo>
                  <a:pt x="6326086" y="226612"/>
                </a:lnTo>
                <a:lnTo>
                  <a:pt x="6333573" y="233865"/>
                </a:lnTo>
                <a:lnTo>
                  <a:pt x="6334441" y="236247"/>
                </a:lnTo>
                <a:lnTo>
                  <a:pt x="6340302" y="236789"/>
                </a:lnTo>
                <a:lnTo>
                  <a:pt x="6342797" y="240037"/>
                </a:lnTo>
                <a:lnTo>
                  <a:pt x="6350936" y="242095"/>
                </a:lnTo>
                <a:lnTo>
                  <a:pt x="6357339" y="246208"/>
                </a:lnTo>
                <a:lnTo>
                  <a:pt x="6364718" y="242961"/>
                </a:lnTo>
                <a:lnTo>
                  <a:pt x="6370903" y="242419"/>
                </a:lnTo>
                <a:lnTo>
                  <a:pt x="6373182" y="244368"/>
                </a:lnTo>
                <a:lnTo>
                  <a:pt x="6369384" y="248481"/>
                </a:lnTo>
                <a:lnTo>
                  <a:pt x="6362113" y="252271"/>
                </a:lnTo>
                <a:lnTo>
                  <a:pt x="6362005" y="256385"/>
                </a:lnTo>
                <a:lnTo>
                  <a:pt x="6358206" y="258443"/>
                </a:lnTo>
                <a:lnTo>
                  <a:pt x="6354517" y="256385"/>
                </a:lnTo>
                <a:lnTo>
                  <a:pt x="6349743" y="255736"/>
                </a:lnTo>
                <a:lnTo>
                  <a:pt x="6351696" y="252271"/>
                </a:lnTo>
                <a:lnTo>
                  <a:pt x="6349634" y="251081"/>
                </a:lnTo>
                <a:lnTo>
                  <a:pt x="6345293" y="254330"/>
                </a:lnTo>
                <a:lnTo>
                  <a:pt x="6339542" y="255303"/>
                </a:lnTo>
                <a:lnTo>
                  <a:pt x="6331620" y="263424"/>
                </a:lnTo>
                <a:lnTo>
                  <a:pt x="6327171" y="272410"/>
                </a:lnTo>
                <a:lnTo>
                  <a:pt x="6323047" y="278797"/>
                </a:lnTo>
                <a:lnTo>
                  <a:pt x="6319249" y="279339"/>
                </a:lnTo>
                <a:lnTo>
                  <a:pt x="6319466" y="277174"/>
                </a:lnTo>
                <a:lnTo>
                  <a:pt x="6317621" y="273818"/>
                </a:lnTo>
                <a:lnTo>
                  <a:pt x="6312955" y="272193"/>
                </a:lnTo>
                <a:lnTo>
                  <a:pt x="6311002" y="269270"/>
                </a:lnTo>
                <a:lnTo>
                  <a:pt x="6308398" y="267538"/>
                </a:lnTo>
                <a:lnTo>
                  <a:pt x="6307312" y="270027"/>
                </a:lnTo>
                <a:lnTo>
                  <a:pt x="6307746" y="273493"/>
                </a:lnTo>
                <a:lnTo>
                  <a:pt x="6310568" y="275766"/>
                </a:lnTo>
                <a:lnTo>
                  <a:pt x="6313715" y="275334"/>
                </a:lnTo>
                <a:lnTo>
                  <a:pt x="6313389" y="279232"/>
                </a:lnTo>
                <a:lnTo>
                  <a:pt x="6316102" y="284753"/>
                </a:lnTo>
                <a:lnTo>
                  <a:pt x="6316102" y="289083"/>
                </a:lnTo>
                <a:lnTo>
                  <a:pt x="6314040" y="293305"/>
                </a:lnTo>
                <a:lnTo>
                  <a:pt x="6309808" y="294172"/>
                </a:lnTo>
                <a:lnTo>
                  <a:pt x="6305142" y="291249"/>
                </a:lnTo>
                <a:lnTo>
                  <a:pt x="6298957" y="290816"/>
                </a:lnTo>
                <a:lnTo>
                  <a:pt x="6291685" y="293305"/>
                </a:lnTo>
                <a:lnTo>
                  <a:pt x="6285175" y="293524"/>
                </a:lnTo>
                <a:lnTo>
                  <a:pt x="6280617" y="289409"/>
                </a:lnTo>
                <a:lnTo>
                  <a:pt x="6279098" y="284753"/>
                </a:lnTo>
                <a:lnTo>
                  <a:pt x="6274757" y="281829"/>
                </a:lnTo>
                <a:lnTo>
                  <a:pt x="6270634" y="278582"/>
                </a:lnTo>
                <a:lnTo>
                  <a:pt x="6263797" y="279232"/>
                </a:lnTo>
                <a:lnTo>
                  <a:pt x="6255984" y="276198"/>
                </a:lnTo>
                <a:lnTo>
                  <a:pt x="6241660" y="266563"/>
                </a:lnTo>
                <a:lnTo>
                  <a:pt x="6239924" y="262232"/>
                </a:lnTo>
                <a:lnTo>
                  <a:pt x="6241334" y="259633"/>
                </a:lnTo>
                <a:lnTo>
                  <a:pt x="6244806" y="259633"/>
                </a:lnTo>
                <a:lnTo>
                  <a:pt x="6246326" y="260717"/>
                </a:lnTo>
                <a:lnTo>
                  <a:pt x="6249581" y="258226"/>
                </a:lnTo>
                <a:lnTo>
                  <a:pt x="6247736" y="255736"/>
                </a:lnTo>
                <a:lnTo>
                  <a:pt x="6244481" y="255196"/>
                </a:lnTo>
                <a:lnTo>
                  <a:pt x="6242202" y="256385"/>
                </a:lnTo>
                <a:lnTo>
                  <a:pt x="6239924" y="254112"/>
                </a:lnTo>
                <a:lnTo>
                  <a:pt x="6241008" y="252271"/>
                </a:lnTo>
                <a:lnTo>
                  <a:pt x="6239272" y="249456"/>
                </a:lnTo>
                <a:lnTo>
                  <a:pt x="6233847" y="247832"/>
                </a:lnTo>
                <a:lnTo>
                  <a:pt x="6231025" y="245234"/>
                </a:lnTo>
                <a:lnTo>
                  <a:pt x="6231242" y="242095"/>
                </a:lnTo>
                <a:lnTo>
                  <a:pt x="6229072" y="237765"/>
                </a:lnTo>
                <a:lnTo>
                  <a:pt x="6225491" y="236789"/>
                </a:lnTo>
                <a:lnTo>
                  <a:pt x="6224623" y="232024"/>
                </a:lnTo>
                <a:lnTo>
                  <a:pt x="6227770" y="231483"/>
                </a:lnTo>
                <a:lnTo>
                  <a:pt x="6229614" y="229751"/>
                </a:lnTo>
                <a:lnTo>
                  <a:pt x="6226359" y="227152"/>
                </a:lnTo>
                <a:lnTo>
                  <a:pt x="6223320" y="226829"/>
                </a:lnTo>
                <a:lnTo>
                  <a:pt x="6217352" y="218600"/>
                </a:lnTo>
                <a:lnTo>
                  <a:pt x="6217895" y="215677"/>
                </a:lnTo>
                <a:lnTo>
                  <a:pt x="6223320" y="211345"/>
                </a:lnTo>
                <a:lnTo>
                  <a:pt x="6224948" y="205715"/>
                </a:lnTo>
                <a:lnTo>
                  <a:pt x="6224514" y="199111"/>
                </a:lnTo>
                <a:lnTo>
                  <a:pt x="6226033" y="197812"/>
                </a:lnTo>
                <a:lnTo>
                  <a:pt x="6225708" y="190666"/>
                </a:lnTo>
                <a:lnTo>
                  <a:pt x="6229506" y="187634"/>
                </a:lnTo>
                <a:lnTo>
                  <a:pt x="6234823" y="185578"/>
                </a:lnTo>
                <a:lnTo>
                  <a:pt x="6236885" y="189908"/>
                </a:lnTo>
                <a:lnTo>
                  <a:pt x="6239598" y="191531"/>
                </a:lnTo>
                <a:lnTo>
                  <a:pt x="6246543" y="192291"/>
                </a:lnTo>
                <a:lnTo>
                  <a:pt x="6251535" y="196729"/>
                </a:lnTo>
                <a:lnTo>
                  <a:pt x="6256309" y="197380"/>
                </a:lnTo>
                <a:lnTo>
                  <a:pt x="6257937" y="201168"/>
                </a:lnTo>
                <a:lnTo>
                  <a:pt x="6258263" y="206149"/>
                </a:lnTo>
                <a:lnTo>
                  <a:pt x="6262712" y="207232"/>
                </a:lnTo>
                <a:lnTo>
                  <a:pt x="6264556" y="208747"/>
                </a:lnTo>
                <a:lnTo>
                  <a:pt x="6267053" y="207232"/>
                </a:lnTo>
                <a:lnTo>
                  <a:pt x="6271828" y="206040"/>
                </a:lnTo>
                <a:lnTo>
                  <a:pt x="6275517" y="208098"/>
                </a:lnTo>
                <a:lnTo>
                  <a:pt x="6277904" y="214918"/>
                </a:lnTo>
                <a:lnTo>
                  <a:pt x="6283222" y="220657"/>
                </a:lnTo>
                <a:lnTo>
                  <a:pt x="6288756" y="219791"/>
                </a:lnTo>
                <a:lnTo>
                  <a:pt x="6290926" y="218058"/>
                </a:lnTo>
                <a:lnTo>
                  <a:pt x="6289407" y="214918"/>
                </a:lnTo>
                <a:lnTo>
                  <a:pt x="6281811" y="207339"/>
                </a:lnTo>
                <a:lnTo>
                  <a:pt x="6280291" y="200735"/>
                </a:lnTo>
                <a:lnTo>
                  <a:pt x="6277578" y="195647"/>
                </a:lnTo>
                <a:lnTo>
                  <a:pt x="6276385" y="190341"/>
                </a:lnTo>
                <a:lnTo>
                  <a:pt x="6278989" y="186769"/>
                </a:lnTo>
                <a:lnTo>
                  <a:pt x="6282896" y="186769"/>
                </a:lnTo>
                <a:lnTo>
                  <a:pt x="6284415" y="187743"/>
                </a:lnTo>
                <a:lnTo>
                  <a:pt x="6290275" y="187743"/>
                </a:lnTo>
                <a:lnTo>
                  <a:pt x="6288213" y="185252"/>
                </a:lnTo>
                <a:lnTo>
                  <a:pt x="6284415" y="184170"/>
                </a:lnTo>
                <a:lnTo>
                  <a:pt x="6277254" y="177783"/>
                </a:lnTo>
                <a:close/>
                <a:moveTo>
                  <a:pt x="4822698" y="174534"/>
                </a:moveTo>
                <a:lnTo>
                  <a:pt x="4826061" y="174750"/>
                </a:lnTo>
                <a:lnTo>
                  <a:pt x="4827689" y="176483"/>
                </a:lnTo>
                <a:lnTo>
                  <a:pt x="4831595" y="176807"/>
                </a:lnTo>
                <a:lnTo>
                  <a:pt x="4832030" y="179948"/>
                </a:lnTo>
                <a:lnTo>
                  <a:pt x="4827906" y="183845"/>
                </a:lnTo>
                <a:lnTo>
                  <a:pt x="4824867" y="184170"/>
                </a:lnTo>
                <a:lnTo>
                  <a:pt x="4821721" y="182329"/>
                </a:lnTo>
                <a:lnTo>
                  <a:pt x="4814775" y="181789"/>
                </a:lnTo>
                <a:lnTo>
                  <a:pt x="4813365" y="179839"/>
                </a:lnTo>
                <a:lnTo>
                  <a:pt x="4815752" y="178322"/>
                </a:lnTo>
                <a:lnTo>
                  <a:pt x="4818900" y="178214"/>
                </a:lnTo>
                <a:close/>
                <a:moveTo>
                  <a:pt x="4757586" y="170852"/>
                </a:moveTo>
                <a:lnTo>
                  <a:pt x="4760624" y="172693"/>
                </a:lnTo>
                <a:lnTo>
                  <a:pt x="4761709" y="177997"/>
                </a:lnTo>
                <a:lnTo>
                  <a:pt x="4763120" y="180488"/>
                </a:lnTo>
                <a:lnTo>
                  <a:pt x="4760949" y="182003"/>
                </a:lnTo>
                <a:lnTo>
                  <a:pt x="4759540" y="183952"/>
                </a:lnTo>
                <a:lnTo>
                  <a:pt x="4755198" y="183952"/>
                </a:lnTo>
                <a:lnTo>
                  <a:pt x="4750641" y="187633"/>
                </a:lnTo>
                <a:cubicBezTo>
                  <a:pt x="4749638" y="186674"/>
                  <a:pt x="4748729" y="185624"/>
                  <a:pt x="4747929" y="184494"/>
                </a:cubicBezTo>
                <a:lnTo>
                  <a:pt x="4746734" y="180704"/>
                </a:lnTo>
                <a:lnTo>
                  <a:pt x="4744239" y="178646"/>
                </a:lnTo>
                <a:lnTo>
                  <a:pt x="4744239" y="176914"/>
                </a:lnTo>
                <a:lnTo>
                  <a:pt x="4748362" y="174533"/>
                </a:lnTo>
                <a:lnTo>
                  <a:pt x="4754439" y="173016"/>
                </a:lnTo>
                <a:close/>
                <a:moveTo>
                  <a:pt x="2316830" y="164897"/>
                </a:moveTo>
                <a:lnTo>
                  <a:pt x="2317915" y="166846"/>
                </a:lnTo>
                <a:lnTo>
                  <a:pt x="2318567" y="173884"/>
                </a:lnTo>
                <a:lnTo>
                  <a:pt x="2321822" y="174967"/>
                </a:lnTo>
                <a:lnTo>
                  <a:pt x="2327899" y="169769"/>
                </a:lnTo>
                <a:lnTo>
                  <a:pt x="2333542" y="171501"/>
                </a:lnTo>
                <a:lnTo>
                  <a:pt x="2337665" y="169769"/>
                </a:lnTo>
                <a:lnTo>
                  <a:pt x="2343742" y="173234"/>
                </a:lnTo>
                <a:lnTo>
                  <a:pt x="2345153" y="177132"/>
                </a:lnTo>
                <a:lnTo>
                  <a:pt x="2348083" y="180055"/>
                </a:lnTo>
                <a:lnTo>
                  <a:pt x="2349603" y="184927"/>
                </a:lnTo>
                <a:lnTo>
                  <a:pt x="2347649" y="193156"/>
                </a:lnTo>
                <a:lnTo>
                  <a:pt x="2347649" y="199544"/>
                </a:lnTo>
                <a:lnTo>
                  <a:pt x="2344936" y="202901"/>
                </a:lnTo>
                <a:lnTo>
                  <a:pt x="2340161" y="205715"/>
                </a:lnTo>
                <a:lnTo>
                  <a:pt x="2341030" y="210046"/>
                </a:lnTo>
                <a:lnTo>
                  <a:pt x="2344393" y="210370"/>
                </a:lnTo>
                <a:lnTo>
                  <a:pt x="2348083" y="206581"/>
                </a:lnTo>
                <a:lnTo>
                  <a:pt x="2348951" y="202792"/>
                </a:lnTo>
                <a:lnTo>
                  <a:pt x="2355787" y="201601"/>
                </a:lnTo>
                <a:lnTo>
                  <a:pt x="2361539" y="197811"/>
                </a:lnTo>
                <a:lnTo>
                  <a:pt x="2364795" y="197595"/>
                </a:lnTo>
                <a:lnTo>
                  <a:pt x="2369026" y="202251"/>
                </a:lnTo>
                <a:lnTo>
                  <a:pt x="2367833" y="206256"/>
                </a:lnTo>
                <a:lnTo>
                  <a:pt x="2367833" y="212103"/>
                </a:lnTo>
                <a:lnTo>
                  <a:pt x="2370438" y="215351"/>
                </a:lnTo>
                <a:lnTo>
                  <a:pt x="2370221" y="217950"/>
                </a:lnTo>
                <a:lnTo>
                  <a:pt x="2363384" y="221847"/>
                </a:lnTo>
                <a:lnTo>
                  <a:pt x="2361322" y="225421"/>
                </a:lnTo>
                <a:lnTo>
                  <a:pt x="2362841" y="228019"/>
                </a:lnTo>
                <a:lnTo>
                  <a:pt x="2367833" y="228019"/>
                </a:lnTo>
                <a:lnTo>
                  <a:pt x="2372174" y="229968"/>
                </a:lnTo>
                <a:lnTo>
                  <a:pt x="2374887" y="229751"/>
                </a:lnTo>
                <a:lnTo>
                  <a:pt x="2376080" y="235490"/>
                </a:lnTo>
                <a:lnTo>
                  <a:pt x="2377708" y="239604"/>
                </a:lnTo>
                <a:lnTo>
                  <a:pt x="2377491" y="242635"/>
                </a:lnTo>
                <a:lnTo>
                  <a:pt x="2373367" y="245884"/>
                </a:lnTo>
                <a:lnTo>
                  <a:pt x="2373693" y="249565"/>
                </a:lnTo>
                <a:lnTo>
                  <a:pt x="2372716" y="256061"/>
                </a:lnTo>
                <a:lnTo>
                  <a:pt x="2367182" y="259851"/>
                </a:lnTo>
                <a:lnTo>
                  <a:pt x="2363601" y="263640"/>
                </a:lnTo>
                <a:lnTo>
                  <a:pt x="2360237" y="264181"/>
                </a:lnTo>
                <a:lnTo>
                  <a:pt x="2357199" y="270352"/>
                </a:lnTo>
                <a:lnTo>
                  <a:pt x="2354377" y="272951"/>
                </a:lnTo>
                <a:lnTo>
                  <a:pt x="2354377" y="275549"/>
                </a:lnTo>
                <a:lnTo>
                  <a:pt x="2356873" y="277390"/>
                </a:lnTo>
                <a:lnTo>
                  <a:pt x="2353400" y="283453"/>
                </a:lnTo>
                <a:lnTo>
                  <a:pt x="2351447" y="290816"/>
                </a:lnTo>
                <a:lnTo>
                  <a:pt x="2351121" y="296662"/>
                </a:lnTo>
                <a:lnTo>
                  <a:pt x="2347215" y="301751"/>
                </a:lnTo>
                <a:lnTo>
                  <a:pt x="2343525" y="304241"/>
                </a:lnTo>
                <a:lnTo>
                  <a:pt x="2343525" y="306732"/>
                </a:lnTo>
                <a:lnTo>
                  <a:pt x="2336364" y="311604"/>
                </a:lnTo>
                <a:lnTo>
                  <a:pt x="2333216" y="311604"/>
                </a:lnTo>
                <a:lnTo>
                  <a:pt x="2330829" y="309546"/>
                </a:lnTo>
                <a:lnTo>
                  <a:pt x="2326488" y="310087"/>
                </a:lnTo>
                <a:lnTo>
                  <a:pt x="2323883" y="310196"/>
                </a:lnTo>
                <a:lnTo>
                  <a:pt x="2321388" y="305865"/>
                </a:lnTo>
                <a:lnTo>
                  <a:pt x="2318892" y="298828"/>
                </a:lnTo>
                <a:lnTo>
                  <a:pt x="2327031" y="284103"/>
                </a:lnTo>
                <a:lnTo>
                  <a:pt x="2327031" y="278797"/>
                </a:lnTo>
                <a:lnTo>
                  <a:pt x="2328767" y="275657"/>
                </a:lnTo>
                <a:lnTo>
                  <a:pt x="2326705" y="273601"/>
                </a:lnTo>
                <a:lnTo>
                  <a:pt x="2323558" y="273601"/>
                </a:lnTo>
                <a:lnTo>
                  <a:pt x="2320520" y="266022"/>
                </a:lnTo>
                <a:lnTo>
                  <a:pt x="2315528" y="261908"/>
                </a:lnTo>
                <a:lnTo>
                  <a:pt x="2308583" y="262773"/>
                </a:lnTo>
                <a:lnTo>
                  <a:pt x="2307932" y="257902"/>
                </a:lnTo>
                <a:lnTo>
                  <a:pt x="2309451" y="255412"/>
                </a:lnTo>
                <a:lnTo>
                  <a:pt x="2313574" y="254329"/>
                </a:lnTo>
                <a:lnTo>
                  <a:pt x="2313900" y="250756"/>
                </a:lnTo>
                <a:lnTo>
                  <a:pt x="2306521" y="252596"/>
                </a:lnTo>
                <a:lnTo>
                  <a:pt x="2305110" y="250864"/>
                </a:lnTo>
                <a:lnTo>
                  <a:pt x="2297731" y="251080"/>
                </a:lnTo>
                <a:lnTo>
                  <a:pt x="2290352" y="248481"/>
                </a:lnTo>
                <a:lnTo>
                  <a:pt x="2286337" y="248698"/>
                </a:lnTo>
                <a:lnTo>
                  <a:pt x="2282865" y="252163"/>
                </a:lnTo>
                <a:lnTo>
                  <a:pt x="2279283" y="250431"/>
                </a:lnTo>
                <a:lnTo>
                  <a:pt x="2279283" y="245884"/>
                </a:lnTo>
                <a:lnTo>
                  <a:pt x="2275377" y="239928"/>
                </a:lnTo>
                <a:lnTo>
                  <a:pt x="2280152" y="231809"/>
                </a:lnTo>
                <a:lnTo>
                  <a:pt x="2280152" y="229102"/>
                </a:lnTo>
                <a:lnTo>
                  <a:pt x="2289484" y="224662"/>
                </a:lnTo>
                <a:lnTo>
                  <a:pt x="2293282" y="230076"/>
                </a:lnTo>
                <a:lnTo>
                  <a:pt x="2297406" y="232134"/>
                </a:lnTo>
                <a:lnTo>
                  <a:pt x="2299793" y="238521"/>
                </a:lnTo>
                <a:lnTo>
                  <a:pt x="2301855" y="238521"/>
                </a:lnTo>
                <a:lnTo>
                  <a:pt x="2309126" y="231809"/>
                </a:lnTo>
                <a:lnTo>
                  <a:pt x="2309126" y="228776"/>
                </a:lnTo>
                <a:lnTo>
                  <a:pt x="2304133" y="227153"/>
                </a:lnTo>
                <a:lnTo>
                  <a:pt x="2304460" y="224230"/>
                </a:lnTo>
                <a:lnTo>
                  <a:pt x="2308258" y="225421"/>
                </a:lnTo>
                <a:lnTo>
                  <a:pt x="2314986" y="223039"/>
                </a:lnTo>
                <a:lnTo>
                  <a:pt x="2319977" y="219466"/>
                </a:lnTo>
                <a:lnTo>
                  <a:pt x="2316179" y="217192"/>
                </a:lnTo>
                <a:lnTo>
                  <a:pt x="2309776" y="218599"/>
                </a:lnTo>
                <a:lnTo>
                  <a:pt x="2307932" y="215677"/>
                </a:lnTo>
                <a:lnTo>
                  <a:pt x="2309451" y="211562"/>
                </a:lnTo>
                <a:lnTo>
                  <a:pt x="2315094" y="206907"/>
                </a:lnTo>
                <a:lnTo>
                  <a:pt x="2317915" y="206690"/>
                </a:lnTo>
                <a:lnTo>
                  <a:pt x="2319652" y="201601"/>
                </a:lnTo>
                <a:lnTo>
                  <a:pt x="2316830" y="197811"/>
                </a:lnTo>
                <a:lnTo>
                  <a:pt x="2313466" y="199652"/>
                </a:lnTo>
                <a:lnTo>
                  <a:pt x="2311187" y="199652"/>
                </a:lnTo>
                <a:lnTo>
                  <a:pt x="2304676" y="205391"/>
                </a:lnTo>
                <a:lnTo>
                  <a:pt x="2298057" y="208422"/>
                </a:lnTo>
                <a:lnTo>
                  <a:pt x="2297189" y="206581"/>
                </a:lnTo>
                <a:lnTo>
                  <a:pt x="2301529" y="199544"/>
                </a:lnTo>
                <a:lnTo>
                  <a:pt x="2307932" y="196729"/>
                </a:lnTo>
                <a:lnTo>
                  <a:pt x="2313249" y="191640"/>
                </a:lnTo>
                <a:lnTo>
                  <a:pt x="2311838" y="189583"/>
                </a:lnTo>
                <a:lnTo>
                  <a:pt x="2306304" y="190774"/>
                </a:lnTo>
                <a:lnTo>
                  <a:pt x="2304133" y="192615"/>
                </a:lnTo>
                <a:lnTo>
                  <a:pt x="2300335" y="190016"/>
                </a:lnTo>
                <a:lnTo>
                  <a:pt x="2300119" y="186118"/>
                </a:lnTo>
                <a:lnTo>
                  <a:pt x="2305002" y="179947"/>
                </a:lnTo>
                <a:lnTo>
                  <a:pt x="2306630" y="174967"/>
                </a:lnTo>
                <a:lnTo>
                  <a:pt x="2311730" y="172151"/>
                </a:lnTo>
                <a:lnTo>
                  <a:pt x="2312924" y="168362"/>
                </a:lnTo>
                <a:close/>
                <a:moveTo>
                  <a:pt x="3203953" y="161108"/>
                </a:moveTo>
                <a:lnTo>
                  <a:pt x="3204930" y="163381"/>
                </a:lnTo>
                <a:lnTo>
                  <a:pt x="3204930" y="166846"/>
                </a:lnTo>
                <a:lnTo>
                  <a:pt x="3206232" y="168253"/>
                </a:lnTo>
                <a:lnTo>
                  <a:pt x="3205038" y="170311"/>
                </a:lnTo>
                <a:lnTo>
                  <a:pt x="3201675" y="166087"/>
                </a:lnTo>
                <a:lnTo>
                  <a:pt x="3201892" y="162516"/>
                </a:lnTo>
                <a:close/>
                <a:moveTo>
                  <a:pt x="5383076" y="155693"/>
                </a:moveTo>
                <a:lnTo>
                  <a:pt x="5392300" y="156559"/>
                </a:lnTo>
                <a:lnTo>
                  <a:pt x="5398594" y="161108"/>
                </a:lnTo>
                <a:lnTo>
                  <a:pt x="5406732" y="171934"/>
                </a:lnTo>
                <a:lnTo>
                  <a:pt x="5408795" y="176590"/>
                </a:lnTo>
                <a:lnTo>
                  <a:pt x="5406191" y="184168"/>
                </a:lnTo>
                <a:lnTo>
                  <a:pt x="5408686" y="186227"/>
                </a:lnTo>
                <a:lnTo>
                  <a:pt x="5407276" y="190558"/>
                </a:lnTo>
                <a:lnTo>
                  <a:pt x="5404779" y="194455"/>
                </a:lnTo>
                <a:lnTo>
                  <a:pt x="5405539" y="198136"/>
                </a:lnTo>
                <a:lnTo>
                  <a:pt x="5407927" y="196187"/>
                </a:lnTo>
                <a:lnTo>
                  <a:pt x="5410857" y="189907"/>
                </a:lnTo>
                <a:lnTo>
                  <a:pt x="5411833" y="184060"/>
                </a:lnTo>
                <a:lnTo>
                  <a:pt x="5412050" y="179838"/>
                </a:lnTo>
                <a:lnTo>
                  <a:pt x="5414004" y="176049"/>
                </a:lnTo>
                <a:lnTo>
                  <a:pt x="5413461" y="173018"/>
                </a:lnTo>
                <a:lnTo>
                  <a:pt x="5407276" y="165764"/>
                </a:lnTo>
                <a:lnTo>
                  <a:pt x="5406407" y="162515"/>
                </a:lnTo>
                <a:lnTo>
                  <a:pt x="5407276" y="159375"/>
                </a:lnTo>
                <a:lnTo>
                  <a:pt x="5415305" y="158184"/>
                </a:lnTo>
                <a:lnTo>
                  <a:pt x="5424529" y="159267"/>
                </a:lnTo>
                <a:lnTo>
                  <a:pt x="5439180" y="171609"/>
                </a:lnTo>
                <a:lnTo>
                  <a:pt x="5441567" y="172151"/>
                </a:lnTo>
                <a:lnTo>
                  <a:pt x="5444171" y="173992"/>
                </a:lnTo>
                <a:lnTo>
                  <a:pt x="5444496" y="179513"/>
                </a:lnTo>
                <a:lnTo>
                  <a:pt x="5448403" y="182113"/>
                </a:lnTo>
                <a:lnTo>
                  <a:pt x="5449597" y="188608"/>
                </a:lnTo>
                <a:lnTo>
                  <a:pt x="5449597" y="194995"/>
                </a:lnTo>
                <a:lnTo>
                  <a:pt x="5456759" y="202250"/>
                </a:lnTo>
                <a:lnTo>
                  <a:pt x="5461860" y="209286"/>
                </a:lnTo>
                <a:lnTo>
                  <a:pt x="5461534" y="211994"/>
                </a:lnTo>
                <a:lnTo>
                  <a:pt x="5457085" y="212211"/>
                </a:lnTo>
                <a:lnTo>
                  <a:pt x="5453938" y="210154"/>
                </a:lnTo>
                <a:lnTo>
                  <a:pt x="5451116" y="210263"/>
                </a:lnTo>
                <a:lnTo>
                  <a:pt x="5451875" y="216001"/>
                </a:lnTo>
                <a:lnTo>
                  <a:pt x="5457193" y="219573"/>
                </a:lnTo>
                <a:lnTo>
                  <a:pt x="5463596" y="220656"/>
                </a:lnTo>
                <a:lnTo>
                  <a:pt x="5469239" y="226828"/>
                </a:lnTo>
                <a:lnTo>
                  <a:pt x="5472711" y="227909"/>
                </a:lnTo>
                <a:lnTo>
                  <a:pt x="5478571" y="234407"/>
                </a:lnTo>
                <a:lnTo>
                  <a:pt x="5478571" y="238306"/>
                </a:lnTo>
                <a:lnTo>
                  <a:pt x="5472928" y="245883"/>
                </a:lnTo>
                <a:lnTo>
                  <a:pt x="5465983" y="247832"/>
                </a:lnTo>
                <a:lnTo>
                  <a:pt x="5460340" y="253246"/>
                </a:lnTo>
                <a:lnTo>
                  <a:pt x="5455891" y="256712"/>
                </a:lnTo>
                <a:lnTo>
                  <a:pt x="5451550" y="257252"/>
                </a:lnTo>
                <a:lnTo>
                  <a:pt x="5446667" y="253246"/>
                </a:lnTo>
                <a:lnTo>
                  <a:pt x="5443737" y="250539"/>
                </a:lnTo>
                <a:lnTo>
                  <a:pt x="5439288" y="251081"/>
                </a:lnTo>
                <a:lnTo>
                  <a:pt x="5435490" y="249674"/>
                </a:lnTo>
                <a:lnTo>
                  <a:pt x="5430715" y="251081"/>
                </a:lnTo>
                <a:lnTo>
                  <a:pt x="5419104" y="250213"/>
                </a:lnTo>
                <a:lnTo>
                  <a:pt x="5413135" y="246751"/>
                </a:lnTo>
                <a:lnTo>
                  <a:pt x="5410205" y="244476"/>
                </a:lnTo>
                <a:lnTo>
                  <a:pt x="5403586" y="246751"/>
                </a:lnTo>
                <a:lnTo>
                  <a:pt x="5397943" y="249674"/>
                </a:lnTo>
                <a:lnTo>
                  <a:pt x="5393602" y="248483"/>
                </a:lnTo>
                <a:lnTo>
                  <a:pt x="5388502" y="245234"/>
                </a:lnTo>
                <a:lnTo>
                  <a:pt x="5382642" y="244476"/>
                </a:lnTo>
                <a:lnTo>
                  <a:pt x="5379278" y="241119"/>
                </a:lnTo>
                <a:lnTo>
                  <a:pt x="5376240" y="232024"/>
                </a:lnTo>
                <a:lnTo>
                  <a:pt x="5372767" y="227369"/>
                </a:lnTo>
                <a:lnTo>
                  <a:pt x="5369621" y="226828"/>
                </a:lnTo>
                <a:lnTo>
                  <a:pt x="5365605" y="229101"/>
                </a:lnTo>
                <a:lnTo>
                  <a:pt x="5361373" y="225744"/>
                </a:lnTo>
                <a:lnTo>
                  <a:pt x="5357467" y="223905"/>
                </a:lnTo>
                <a:lnTo>
                  <a:pt x="5356273" y="226288"/>
                </a:lnTo>
                <a:lnTo>
                  <a:pt x="5357467" y="229751"/>
                </a:lnTo>
                <a:lnTo>
                  <a:pt x="5354862" y="230726"/>
                </a:lnTo>
                <a:lnTo>
                  <a:pt x="5353125" y="228885"/>
                </a:lnTo>
                <a:lnTo>
                  <a:pt x="5348134" y="225744"/>
                </a:lnTo>
                <a:lnTo>
                  <a:pt x="5349002" y="223362"/>
                </a:lnTo>
                <a:lnTo>
                  <a:pt x="5354320" y="219898"/>
                </a:lnTo>
                <a:lnTo>
                  <a:pt x="5355188" y="216866"/>
                </a:lnTo>
                <a:lnTo>
                  <a:pt x="5353343" y="209396"/>
                </a:lnTo>
                <a:lnTo>
                  <a:pt x="5354537" y="204956"/>
                </a:lnTo>
                <a:lnTo>
                  <a:pt x="5360180" y="199977"/>
                </a:lnTo>
                <a:lnTo>
                  <a:pt x="5358335" y="196945"/>
                </a:lnTo>
                <a:lnTo>
                  <a:pt x="5355188" y="196945"/>
                </a:lnTo>
                <a:lnTo>
                  <a:pt x="5350521" y="194132"/>
                </a:lnTo>
                <a:lnTo>
                  <a:pt x="5350087" y="190232"/>
                </a:lnTo>
                <a:lnTo>
                  <a:pt x="5352475" y="182761"/>
                </a:lnTo>
                <a:lnTo>
                  <a:pt x="5356598" y="179082"/>
                </a:lnTo>
                <a:lnTo>
                  <a:pt x="5363001" y="177455"/>
                </a:lnTo>
                <a:lnTo>
                  <a:pt x="5363435" y="173669"/>
                </a:lnTo>
                <a:lnTo>
                  <a:pt x="5365605" y="170311"/>
                </a:lnTo>
                <a:lnTo>
                  <a:pt x="5371574" y="167820"/>
                </a:lnTo>
                <a:lnTo>
                  <a:pt x="5379278" y="162732"/>
                </a:lnTo>
                <a:lnTo>
                  <a:pt x="5381232" y="156994"/>
                </a:lnTo>
                <a:close/>
                <a:moveTo>
                  <a:pt x="3263420" y="148007"/>
                </a:moveTo>
                <a:lnTo>
                  <a:pt x="3266784" y="151363"/>
                </a:lnTo>
                <a:lnTo>
                  <a:pt x="3268628" y="156885"/>
                </a:lnTo>
                <a:lnTo>
                  <a:pt x="3271124" y="161215"/>
                </a:lnTo>
                <a:lnTo>
                  <a:pt x="3270148" y="164464"/>
                </a:lnTo>
                <a:lnTo>
                  <a:pt x="3267218" y="165438"/>
                </a:lnTo>
                <a:lnTo>
                  <a:pt x="3265047" y="164680"/>
                </a:lnTo>
                <a:lnTo>
                  <a:pt x="3262877" y="161974"/>
                </a:lnTo>
                <a:lnTo>
                  <a:pt x="3262769" y="156127"/>
                </a:lnTo>
                <a:lnTo>
                  <a:pt x="3260490" y="152446"/>
                </a:lnTo>
                <a:lnTo>
                  <a:pt x="3260924" y="148439"/>
                </a:lnTo>
                <a:close/>
                <a:moveTo>
                  <a:pt x="3191908" y="147789"/>
                </a:moveTo>
                <a:lnTo>
                  <a:pt x="3193319" y="151038"/>
                </a:lnTo>
                <a:lnTo>
                  <a:pt x="3193319" y="158292"/>
                </a:lnTo>
                <a:lnTo>
                  <a:pt x="3195706" y="163273"/>
                </a:lnTo>
                <a:lnTo>
                  <a:pt x="3195055" y="170418"/>
                </a:lnTo>
                <a:lnTo>
                  <a:pt x="3192776" y="177131"/>
                </a:lnTo>
                <a:lnTo>
                  <a:pt x="3193102" y="184926"/>
                </a:lnTo>
                <a:lnTo>
                  <a:pt x="3198636" y="190773"/>
                </a:lnTo>
                <a:lnTo>
                  <a:pt x="3199179" y="196404"/>
                </a:lnTo>
                <a:lnTo>
                  <a:pt x="3197226" y="201600"/>
                </a:lnTo>
                <a:lnTo>
                  <a:pt x="3195055" y="199651"/>
                </a:lnTo>
                <a:lnTo>
                  <a:pt x="3190931" y="192181"/>
                </a:lnTo>
                <a:lnTo>
                  <a:pt x="3189847" y="184926"/>
                </a:lnTo>
                <a:lnTo>
                  <a:pt x="3184855" y="174749"/>
                </a:lnTo>
                <a:lnTo>
                  <a:pt x="3184855" y="168902"/>
                </a:lnTo>
                <a:lnTo>
                  <a:pt x="3187134" y="164463"/>
                </a:lnTo>
                <a:lnTo>
                  <a:pt x="3186917" y="152446"/>
                </a:lnTo>
                <a:close/>
                <a:moveTo>
                  <a:pt x="2448028" y="142267"/>
                </a:moveTo>
                <a:lnTo>
                  <a:pt x="2445965" y="147031"/>
                </a:lnTo>
                <a:lnTo>
                  <a:pt x="2449546" y="148330"/>
                </a:lnTo>
                <a:lnTo>
                  <a:pt x="2455189" y="148655"/>
                </a:lnTo>
                <a:lnTo>
                  <a:pt x="2456492" y="151903"/>
                </a:lnTo>
                <a:lnTo>
                  <a:pt x="2453562" y="158183"/>
                </a:lnTo>
                <a:lnTo>
                  <a:pt x="2447593" y="162731"/>
                </a:lnTo>
                <a:lnTo>
                  <a:pt x="2447160" y="166196"/>
                </a:lnTo>
                <a:lnTo>
                  <a:pt x="2444120" y="172800"/>
                </a:lnTo>
                <a:lnTo>
                  <a:pt x="2439021" y="177889"/>
                </a:lnTo>
                <a:lnTo>
                  <a:pt x="2437609" y="174099"/>
                </a:lnTo>
                <a:lnTo>
                  <a:pt x="2435439" y="171934"/>
                </a:lnTo>
                <a:lnTo>
                  <a:pt x="2435548" y="168253"/>
                </a:lnTo>
                <a:lnTo>
                  <a:pt x="2439780" y="164247"/>
                </a:lnTo>
                <a:lnTo>
                  <a:pt x="2439780" y="159916"/>
                </a:lnTo>
                <a:lnTo>
                  <a:pt x="2435548" y="161431"/>
                </a:lnTo>
                <a:lnTo>
                  <a:pt x="2429797" y="159700"/>
                </a:lnTo>
                <a:lnTo>
                  <a:pt x="2429688" y="156018"/>
                </a:lnTo>
                <a:lnTo>
                  <a:pt x="2432510" y="153311"/>
                </a:lnTo>
                <a:lnTo>
                  <a:pt x="2433378" y="149630"/>
                </a:lnTo>
                <a:lnTo>
                  <a:pt x="2440431" y="147465"/>
                </a:lnTo>
                <a:lnTo>
                  <a:pt x="2446183" y="142484"/>
                </a:lnTo>
                <a:close/>
                <a:moveTo>
                  <a:pt x="2525182" y="126352"/>
                </a:moveTo>
                <a:lnTo>
                  <a:pt x="2528112" y="126352"/>
                </a:lnTo>
                <a:lnTo>
                  <a:pt x="2530065" y="127652"/>
                </a:lnTo>
                <a:lnTo>
                  <a:pt x="2533863" y="127652"/>
                </a:lnTo>
                <a:lnTo>
                  <a:pt x="2534297" y="131767"/>
                </a:lnTo>
                <a:lnTo>
                  <a:pt x="2531801" y="131983"/>
                </a:lnTo>
                <a:lnTo>
                  <a:pt x="2529739" y="130467"/>
                </a:lnTo>
                <a:lnTo>
                  <a:pt x="2525073" y="129601"/>
                </a:lnTo>
                <a:lnTo>
                  <a:pt x="2523663" y="127544"/>
                </a:lnTo>
                <a:close/>
                <a:moveTo>
                  <a:pt x="3304006" y="119964"/>
                </a:moveTo>
                <a:lnTo>
                  <a:pt x="3307804" y="122886"/>
                </a:lnTo>
                <a:lnTo>
                  <a:pt x="3307479" y="128625"/>
                </a:lnTo>
                <a:lnTo>
                  <a:pt x="3305417" y="127975"/>
                </a:lnTo>
                <a:lnTo>
                  <a:pt x="3302487" y="121047"/>
                </a:lnTo>
                <a:close/>
                <a:moveTo>
                  <a:pt x="3282846" y="114984"/>
                </a:moveTo>
                <a:lnTo>
                  <a:pt x="3285776" y="116716"/>
                </a:lnTo>
                <a:lnTo>
                  <a:pt x="3286209" y="120614"/>
                </a:lnTo>
                <a:lnTo>
                  <a:pt x="3288706" y="121480"/>
                </a:lnTo>
                <a:lnTo>
                  <a:pt x="3291310" y="123970"/>
                </a:lnTo>
                <a:lnTo>
                  <a:pt x="3291310" y="126352"/>
                </a:lnTo>
                <a:lnTo>
                  <a:pt x="3287729" y="126135"/>
                </a:lnTo>
                <a:lnTo>
                  <a:pt x="3285776" y="124187"/>
                </a:lnTo>
                <a:lnTo>
                  <a:pt x="3280133" y="123538"/>
                </a:lnTo>
                <a:lnTo>
                  <a:pt x="3279265" y="120181"/>
                </a:lnTo>
                <a:lnTo>
                  <a:pt x="3279482" y="117907"/>
                </a:lnTo>
                <a:close/>
                <a:moveTo>
                  <a:pt x="5245912" y="110113"/>
                </a:moveTo>
                <a:lnTo>
                  <a:pt x="5251664" y="111628"/>
                </a:lnTo>
                <a:lnTo>
                  <a:pt x="5249602" y="114660"/>
                </a:lnTo>
                <a:lnTo>
                  <a:pt x="5249059" y="117908"/>
                </a:lnTo>
                <a:lnTo>
                  <a:pt x="5244935" y="121807"/>
                </a:lnTo>
                <a:lnTo>
                  <a:pt x="5239183" y="122996"/>
                </a:lnTo>
                <a:lnTo>
                  <a:pt x="5234408" y="121807"/>
                </a:lnTo>
                <a:lnTo>
                  <a:pt x="5231804" y="119532"/>
                </a:lnTo>
                <a:lnTo>
                  <a:pt x="5236254" y="114769"/>
                </a:lnTo>
                <a:lnTo>
                  <a:pt x="5238967" y="110653"/>
                </a:lnTo>
                <a:close/>
                <a:moveTo>
                  <a:pt x="3314640" y="108595"/>
                </a:moveTo>
                <a:lnTo>
                  <a:pt x="3317679" y="109137"/>
                </a:lnTo>
                <a:lnTo>
                  <a:pt x="3321694" y="114984"/>
                </a:lnTo>
                <a:lnTo>
                  <a:pt x="3324841" y="115525"/>
                </a:lnTo>
                <a:lnTo>
                  <a:pt x="3325058" y="118665"/>
                </a:lnTo>
                <a:lnTo>
                  <a:pt x="3323756" y="119964"/>
                </a:lnTo>
                <a:lnTo>
                  <a:pt x="3323647" y="125053"/>
                </a:lnTo>
                <a:lnTo>
                  <a:pt x="3322019" y="130360"/>
                </a:lnTo>
                <a:lnTo>
                  <a:pt x="3318221" y="129384"/>
                </a:lnTo>
                <a:lnTo>
                  <a:pt x="3312687" y="123537"/>
                </a:lnTo>
                <a:lnTo>
                  <a:pt x="3308563" y="121588"/>
                </a:lnTo>
                <a:lnTo>
                  <a:pt x="3307044" y="117257"/>
                </a:lnTo>
                <a:lnTo>
                  <a:pt x="3309757" y="116824"/>
                </a:lnTo>
                <a:lnTo>
                  <a:pt x="3312253" y="119747"/>
                </a:lnTo>
                <a:lnTo>
                  <a:pt x="3314206" y="117365"/>
                </a:lnTo>
                <a:lnTo>
                  <a:pt x="3313121" y="115092"/>
                </a:lnTo>
                <a:lnTo>
                  <a:pt x="3312470" y="110870"/>
                </a:lnTo>
                <a:close/>
                <a:moveTo>
                  <a:pt x="3379750" y="97228"/>
                </a:moveTo>
                <a:lnTo>
                  <a:pt x="3383114" y="99392"/>
                </a:lnTo>
                <a:lnTo>
                  <a:pt x="3383222" y="101558"/>
                </a:lnTo>
                <a:lnTo>
                  <a:pt x="3380943" y="102533"/>
                </a:lnTo>
                <a:lnTo>
                  <a:pt x="3378773" y="101450"/>
                </a:lnTo>
                <a:lnTo>
                  <a:pt x="3378665" y="98527"/>
                </a:lnTo>
                <a:close/>
                <a:moveTo>
                  <a:pt x="3414801" y="87591"/>
                </a:moveTo>
                <a:lnTo>
                  <a:pt x="3417731" y="87591"/>
                </a:lnTo>
                <a:lnTo>
                  <a:pt x="3417731" y="91381"/>
                </a:lnTo>
                <a:lnTo>
                  <a:pt x="3415343" y="94739"/>
                </a:lnTo>
                <a:lnTo>
                  <a:pt x="3412088" y="94846"/>
                </a:lnTo>
                <a:lnTo>
                  <a:pt x="3411003" y="93114"/>
                </a:lnTo>
                <a:lnTo>
                  <a:pt x="3411112" y="89974"/>
                </a:lnTo>
                <a:close/>
                <a:moveTo>
                  <a:pt x="6362004" y="85535"/>
                </a:moveTo>
                <a:lnTo>
                  <a:pt x="6363523" y="86836"/>
                </a:lnTo>
                <a:lnTo>
                  <a:pt x="6363849" y="90950"/>
                </a:lnTo>
                <a:lnTo>
                  <a:pt x="6365369" y="92898"/>
                </a:lnTo>
                <a:lnTo>
                  <a:pt x="6361679" y="95497"/>
                </a:lnTo>
                <a:lnTo>
                  <a:pt x="6358641" y="99070"/>
                </a:lnTo>
                <a:lnTo>
                  <a:pt x="6353215" y="101127"/>
                </a:lnTo>
                <a:lnTo>
                  <a:pt x="6355385" y="92032"/>
                </a:lnTo>
                <a:close/>
                <a:moveTo>
                  <a:pt x="3393750" y="84992"/>
                </a:moveTo>
                <a:lnTo>
                  <a:pt x="3396138" y="87591"/>
                </a:lnTo>
                <a:lnTo>
                  <a:pt x="3396897" y="91272"/>
                </a:lnTo>
                <a:lnTo>
                  <a:pt x="3403300" y="97119"/>
                </a:lnTo>
                <a:lnTo>
                  <a:pt x="3400912" y="98634"/>
                </a:lnTo>
                <a:lnTo>
                  <a:pt x="3398416" y="101991"/>
                </a:lnTo>
                <a:lnTo>
                  <a:pt x="3395270" y="102099"/>
                </a:lnTo>
                <a:lnTo>
                  <a:pt x="3394075" y="98851"/>
                </a:lnTo>
                <a:lnTo>
                  <a:pt x="3391145" y="93762"/>
                </a:lnTo>
                <a:lnTo>
                  <a:pt x="3389952" y="91164"/>
                </a:lnTo>
                <a:lnTo>
                  <a:pt x="3391362" y="90081"/>
                </a:lnTo>
                <a:lnTo>
                  <a:pt x="3392230" y="86725"/>
                </a:lnTo>
                <a:close/>
                <a:moveTo>
                  <a:pt x="5299953" y="84453"/>
                </a:moveTo>
                <a:lnTo>
                  <a:pt x="5303316" y="84777"/>
                </a:lnTo>
                <a:lnTo>
                  <a:pt x="5311239" y="88783"/>
                </a:lnTo>
                <a:lnTo>
                  <a:pt x="5318292" y="94305"/>
                </a:lnTo>
                <a:lnTo>
                  <a:pt x="5327950" y="105999"/>
                </a:lnTo>
                <a:lnTo>
                  <a:pt x="5334244" y="110438"/>
                </a:lnTo>
                <a:lnTo>
                  <a:pt x="5343143" y="113144"/>
                </a:lnTo>
                <a:lnTo>
                  <a:pt x="5355079" y="113036"/>
                </a:lnTo>
                <a:lnTo>
                  <a:pt x="5357250" y="114335"/>
                </a:lnTo>
                <a:lnTo>
                  <a:pt x="5357141" y="118341"/>
                </a:lnTo>
                <a:lnTo>
                  <a:pt x="5354537" y="123321"/>
                </a:lnTo>
                <a:lnTo>
                  <a:pt x="5354211" y="128519"/>
                </a:lnTo>
                <a:lnTo>
                  <a:pt x="5358443" y="136205"/>
                </a:lnTo>
                <a:lnTo>
                  <a:pt x="5365714" y="143135"/>
                </a:lnTo>
                <a:lnTo>
                  <a:pt x="5373852" y="147573"/>
                </a:lnTo>
                <a:lnTo>
                  <a:pt x="5374287" y="152553"/>
                </a:lnTo>
                <a:lnTo>
                  <a:pt x="5372116" y="156669"/>
                </a:lnTo>
                <a:lnTo>
                  <a:pt x="5365714" y="160241"/>
                </a:lnTo>
                <a:lnTo>
                  <a:pt x="5356382" y="166955"/>
                </a:lnTo>
                <a:lnTo>
                  <a:pt x="5350521" y="172693"/>
                </a:lnTo>
                <a:lnTo>
                  <a:pt x="5350087" y="177348"/>
                </a:lnTo>
                <a:lnTo>
                  <a:pt x="5346723" y="182113"/>
                </a:lnTo>
                <a:lnTo>
                  <a:pt x="5338693" y="186768"/>
                </a:lnTo>
                <a:lnTo>
                  <a:pt x="5333267" y="187526"/>
                </a:lnTo>
                <a:lnTo>
                  <a:pt x="5327299" y="186552"/>
                </a:lnTo>
                <a:lnTo>
                  <a:pt x="5321005" y="182870"/>
                </a:lnTo>
                <a:lnTo>
                  <a:pt x="5317099" y="182113"/>
                </a:lnTo>
                <a:lnTo>
                  <a:pt x="5314820" y="184494"/>
                </a:lnTo>
                <a:lnTo>
                  <a:pt x="5311022" y="184494"/>
                </a:lnTo>
                <a:lnTo>
                  <a:pt x="5303968" y="179406"/>
                </a:lnTo>
                <a:lnTo>
                  <a:pt x="5302666" y="174750"/>
                </a:lnTo>
                <a:lnTo>
                  <a:pt x="5300604" y="173127"/>
                </a:lnTo>
                <a:lnTo>
                  <a:pt x="5294310" y="175507"/>
                </a:lnTo>
                <a:lnTo>
                  <a:pt x="5291489" y="180272"/>
                </a:lnTo>
                <a:lnTo>
                  <a:pt x="5289101" y="181138"/>
                </a:lnTo>
                <a:lnTo>
                  <a:pt x="5287690" y="177781"/>
                </a:lnTo>
                <a:lnTo>
                  <a:pt x="5289209" y="173668"/>
                </a:lnTo>
                <a:lnTo>
                  <a:pt x="5291597" y="168578"/>
                </a:lnTo>
                <a:lnTo>
                  <a:pt x="5293225" y="155478"/>
                </a:lnTo>
                <a:lnTo>
                  <a:pt x="5292574" y="150822"/>
                </a:lnTo>
                <a:lnTo>
                  <a:pt x="5288341" y="148223"/>
                </a:lnTo>
                <a:lnTo>
                  <a:pt x="5285086" y="143460"/>
                </a:lnTo>
                <a:lnTo>
                  <a:pt x="5284218" y="124513"/>
                </a:lnTo>
                <a:lnTo>
                  <a:pt x="5285086" y="119640"/>
                </a:lnTo>
                <a:lnTo>
                  <a:pt x="5290077" y="113469"/>
                </a:lnTo>
                <a:lnTo>
                  <a:pt x="5294310" y="106323"/>
                </a:lnTo>
                <a:lnTo>
                  <a:pt x="5298325" y="100585"/>
                </a:lnTo>
                <a:lnTo>
                  <a:pt x="5298434" y="94197"/>
                </a:lnTo>
                <a:lnTo>
                  <a:pt x="5297457" y="90515"/>
                </a:lnTo>
                <a:lnTo>
                  <a:pt x="5298542" y="86618"/>
                </a:lnTo>
                <a:close/>
                <a:moveTo>
                  <a:pt x="3409917" y="76439"/>
                </a:moveTo>
                <a:lnTo>
                  <a:pt x="3412522" y="76439"/>
                </a:lnTo>
                <a:lnTo>
                  <a:pt x="3414366" y="79254"/>
                </a:lnTo>
                <a:lnTo>
                  <a:pt x="3413390" y="83477"/>
                </a:lnTo>
                <a:lnTo>
                  <a:pt x="3411979" y="85100"/>
                </a:lnTo>
                <a:lnTo>
                  <a:pt x="3410352" y="84560"/>
                </a:lnTo>
                <a:lnTo>
                  <a:pt x="3408507" y="80337"/>
                </a:lnTo>
                <a:close/>
                <a:moveTo>
                  <a:pt x="2566637" y="73841"/>
                </a:moveTo>
                <a:lnTo>
                  <a:pt x="2573040" y="79579"/>
                </a:lnTo>
                <a:lnTo>
                  <a:pt x="2574775" y="78712"/>
                </a:lnTo>
                <a:lnTo>
                  <a:pt x="2574775" y="75898"/>
                </a:lnTo>
                <a:lnTo>
                  <a:pt x="2576838" y="74165"/>
                </a:lnTo>
                <a:lnTo>
                  <a:pt x="2583566" y="77305"/>
                </a:lnTo>
                <a:lnTo>
                  <a:pt x="2584976" y="81420"/>
                </a:lnTo>
                <a:lnTo>
                  <a:pt x="2592030" y="86399"/>
                </a:lnTo>
                <a:lnTo>
                  <a:pt x="2593223" y="91381"/>
                </a:lnTo>
                <a:lnTo>
                  <a:pt x="2597347" y="96577"/>
                </a:lnTo>
                <a:lnTo>
                  <a:pt x="2597021" y="102857"/>
                </a:lnTo>
                <a:lnTo>
                  <a:pt x="2593223" y="110436"/>
                </a:lnTo>
                <a:lnTo>
                  <a:pt x="2593766" y="116174"/>
                </a:lnTo>
                <a:lnTo>
                  <a:pt x="2593006" y="123862"/>
                </a:lnTo>
                <a:lnTo>
                  <a:pt x="2590510" y="129491"/>
                </a:lnTo>
                <a:lnTo>
                  <a:pt x="2590836" y="136854"/>
                </a:lnTo>
                <a:lnTo>
                  <a:pt x="2589751" y="146923"/>
                </a:lnTo>
                <a:lnTo>
                  <a:pt x="2592355" y="153311"/>
                </a:lnTo>
                <a:lnTo>
                  <a:pt x="2591704" y="160349"/>
                </a:lnTo>
                <a:lnTo>
                  <a:pt x="2593223" y="161648"/>
                </a:lnTo>
                <a:lnTo>
                  <a:pt x="2594200" y="164354"/>
                </a:lnTo>
                <a:lnTo>
                  <a:pt x="2596479" y="160132"/>
                </a:lnTo>
                <a:lnTo>
                  <a:pt x="2601688" y="158508"/>
                </a:lnTo>
                <a:lnTo>
                  <a:pt x="2605920" y="158508"/>
                </a:lnTo>
                <a:lnTo>
                  <a:pt x="2608742" y="163488"/>
                </a:lnTo>
                <a:lnTo>
                  <a:pt x="2610369" y="169335"/>
                </a:lnTo>
                <a:lnTo>
                  <a:pt x="2607330" y="171176"/>
                </a:lnTo>
                <a:lnTo>
                  <a:pt x="2605269" y="169551"/>
                </a:lnTo>
                <a:lnTo>
                  <a:pt x="2604509" y="172150"/>
                </a:lnTo>
                <a:lnTo>
                  <a:pt x="2606029" y="176480"/>
                </a:lnTo>
                <a:lnTo>
                  <a:pt x="2601471" y="184709"/>
                </a:lnTo>
                <a:lnTo>
                  <a:pt x="2601579" y="188932"/>
                </a:lnTo>
                <a:lnTo>
                  <a:pt x="2603207" y="190990"/>
                </a:lnTo>
                <a:lnTo>
                  <a:pt x="2603099" y="193588"/>
                </a:lnTo>
                <a:lnTo>
                  <a:pt x="2604401" y="194561"/>
                </a:lnTo>
                <a:lnTo>
                  <a:pt x="2606788" y="192722"/>
                </a:lnTo>
                <a:lnTo>
                  <a:pt x="2610044" y="188607"/>
                </a:lnTo>
                <a:lnTo>
                  <a:pt x="2607439" y="185575"/>
                </a:lnTo>
                <a:lnTo>
                  <a:pt x="2608525" y="180379"/>
                </a:lnTo>
                <a:lnTo>
                  <a:pt x="2613733" y="170092"/>
                </a:lnTo>
                <a:lnTo>
                  <a:pt x="2617857" y="168144"/>
                </a:lnTo>
                <a:lnTo>
                  <a:pt x="2622089" y="169443"/>
                </a:lnTo>
                <a:lnTo>
                  <a:pt x="2621980" y="173232"/>
                </a:lnTo>
                <a:lnTo>
                  <a:pt x="2623283" y="174965"/>
                </a:lnTo>
                <a:lnTo>
                  <a:pt x="2623391" y="180486"/>
                </a:lnTo>
                <a:lnTo>
                  <a:pt x="2618834" y="185143"/>
                </a:lnTo>
                <a:lnTo>
                  <a:pt x="2619051" y="190123"/>
                </a:lnTo>
                <a:lnTo>
                  <a:pt x="2616989" y="193263"/>
                </a:lnTo>
                <a:lnTo>
                  <a:pt x="2613625" y="192938"/>
                </a:lnTo>
                <a:lnTo>
                  <a:pt x="2610803" y="194453"/>
                </a:lnTo>
                <a:lnTo>
                  <a:pt x="2609067" y="197161"/>
                </a:lnTo>
                <a:lnTo>
                  <a:pt x="2610803" y="199543"/>
                </a:lnTo>
                <a:lnTo>
                  <a:pt x="2613300" y="197810"/>
                </a:lnTo>
                <a:lnTo>
                  <a:pt x="2617097" y="196836"/>
                </a:lnTo>
                <a:lnTo>
                  <a:pt x="2618725" y="198134"/>
                </a:lnTo>
                <a:lnTo>
                  <a:pt x="2616446" y="205930"/>
                </a:lnTo>
                <a:lnTo>
                  <a:pt x="2611237" y="215241"/>
                </a:lnTo>
                <a:lnTo>
                  <a:pt x="2608742" y="217190"/>
                </a:lnTo>
                <a:lnTo>
                  <a:pt x="2600928" y="225744"/>
                </a:lnTo>
                <a:lnTo>
                  <a:pt x="2595936" y="226610"/>
                </a:lnTo>
                <a:lnTo>
                  <a:pt x="2584759" y="231699"/>
                </a:lnTo>
                <a:lnTo>
                  <a:pt x="2583349" y="233972"/>
                </a:lnTo>
                <a:lnTo>
                  <a:pt x="2586821" y="234622"/>
                </a:lnTo>
                <a:lnTo>
                  <a:pt x="2590836" y="231915"/>
                </a:lnTo>
                <a:lnTo>
                  <a:pt x="2595068" y="231699"/>
                </a:lnTo>
                <a:lnTo>
                  <a:pt x="2597998" y="233864"/>
                </a:lnTo>
                <a:lnTo>
                  <a:pt x="2598975" y="230832"/>
                </a:lnTo>
                <a:lnTo>
                  <a:pt x="2601471" y="229208"/>
                </a:lnTo>
                <a:lnTo>
                  <a:pt x="2603750" y="229534"/>
                </a:lnTo>
                <a:lnTo>
                  <a:pt x="2604726" y="232998"/>
                </a:lnTo>
                <a:lnTo>
                  <a:pt x="2610044" y="237870"/>
                </a:lnTo>
                <a:lnTo>
                  <a:pt x="2609501" y="241551"/>
                </a:lnTo>
                <a:lnTo>
                  <a:pt x="2604726" y="244475"/>
                </a:lnTo>
                <a:lnTo>
                  <a:pt x="2601037" y="249022"/>
                </a:lnTo>
                <a:lnTo>
                  <a:pt x="2601037" y="252162"/>
                </a:lnTo>
                <a:lnTo>
                  <a:pt x="2603641" y="252162"/>
                </a:lnTo>
                <a:lnTo>
                  <a:pt x="2609501" y="245774"/>
                </a:lnTo>
                <a:lnTo>
                  <a:pt x="2612431" y="238953"/>
                </a:lnTo>
                <a:lnTo>
                  <a:pt x="2614168" y="238736"/>
                </a:lnTo>
                <a:lnTo>
                  <a:pt x="2614493" y="249997"/>
                </a:lnTo>
                <a:lnTo>
                  <a:pt x="2612540" y="255952"/>
                </a:lnTo>
                <a:lnTo>
                  <a:pt x="2615578" y="259199"/>
                </a:lnTo>
                <a:lnTo>
                  <a:pt x="2614818" y="262664"/>
                </a:lnTo>
                <a:lnTo>
                  <a:pt x="2614818" y="265696"/>
                </a:lnTo>
                <a:lnTo>
                  <a:pt x="2612865" y="269918"/>
                </a:lnTo>
                <a:lnTo>
                  <a:pt x="2608307" y="271650"/>
                </a:lnTo>
                <a:lnTo>
                  <a:pt x="2604944" y="275006"/>
                </a:lnTo>
                <a:lnTo>
                  <a:pt x="2600819" y="275331"/>
                </a:lnTo>
                <a:lnTo>
                  <a:pt x="2593006" y="277930"/>
                </a:lnTo>
                <a:lnTo>
                  <a:pt x="2586279" y="277064"/>
                </a:lnTo>
                <a:lnTo>
                  <a:pt x="2581829" y="277172"/>
                </a:lnTo>
                <a:lnTo>
                  <a:pt x="2576838" y="283885"/>
                </a:lnTo>
                <a:lnTo>
                  <a:pt x="2573040" y="285509"/>
                </a:lnTo>
                <a:lnTo>
                  <a:pt x="2573040" y="279770"/>
                </a:lnTo>
                <a:lnTo>
                  <a:pt x="2574450" y="278256"/>
                </a:lnTo>
                <a:lnTo>
                  <a:pt x="2573907" y="275331"/>
                </a:lnTo>
                <a:lnTo>
                  <a:pt x="2570869" y="276523"/>
                </a:lnTo>
                <a:lnTo>
                  <a:pt x="2567831" y="281286"/>
                </a:lnTo>
                <a:lnTo>
                  <a:pt x="2567722" y="287349"/>
                </a:lnTo>
                <a:lnTo>
                  <a:pt x="2564792" y="292656"/>
                </a:lnTo>
                <a:lnTo>
                  <a:pt x="2555676" y="300233"/>
                </a:lnTo>
                <a:lnTo>
                  <a:pt x="2552095" y="308029"/>
                </a:lnTo>
                <a:lnTo>
                  <a:pt x="2549491" y="310736"/>
                </a:lnTo>
                <a:lnTo>
                  <a:pt x="2547864" y="305214"/>
                </a:lnTo>
                <a:lnTo>
                  <a:pt x="2545801" y="301100"/>
                </a:lnTo>
                <a:lnTo>
                  <a:pt x="2546669" y="294279"/>
                </a:lnTo>
                <a:lnTo>
                  <a:pt x="2550793" y="288866"/>
                </a:lnTo>
                <a:lnTo>
                  <a:pt x="2554157" y="281178"/>
                </a:lnTo>
                <a:lnTo>
                  <a:pt x="2557413" y="279988"/>
                </a:lnTo>
                <a:lnTo>
                  <a:pt x="2556545" y="277605"/>
                </a:lnTo>
                <a:lnTo>
                  <a:pt x="2556870" y="273275"/>
                </a:lnTo>
                <a:lnTo>
                  <a:pt x="2554592" y="277064"/>
                </a:lnTo>
                <a:lnTo>
                  <a:pt x="2549925" y="278580"/>
                </a:lnTo>
                <a:lnTo>
                  <a:pt x="2547864" y="286484"/>
                </a:lnTo>
                <a:lnTo>
                  <a:pt x="2541895" y="291356"/>
                </a:lnTo>
                <a:lnTo>
                  <a:pt x="2541895" y="295795"/>
                </a:lnTo>
                <a:lnTo>
                  <a:pt x="2543414" y="298393"/>
                </a:lnTo>
                <a:lnTo>
                  <a:pt x="2543414" y="304890"/>
                </a:lnTo>
                <a:lnTo>
                  <a:pt x="2538314" y="306946"/>
                </a:lnTo>
                <a:lnTo>
                  <a:pt x="2538314" y="308354"/>
                </a:lnTo>
                <a:lnTo>
                  <a:pt x="2542871" y="309329"/>
                </a:lnTo>
                <a:lnTo>
                  <a:pt x="2543414" y="314200"/>
                </a:lnTo>
                <a:lnTo>
                  <a:pt x="2539290" y="317125"/>
                </a:lnTo>
                <a:lnTo>
                  <a:pt x="2534298" y="321888"/>
                </a:lnTo>
                <a:lnTo>
                  <a:pt x="2530284" y="321022"/>
                </a:lnTo>
                <a:lnTo>
                  <a:pt x="2530284" y="318098"/>
                </a:lnTo>
                <a:lnTo>
                  <a:pt x="2532562" y="312468"/>
                </a:lnTo>
                <a:lnTo>
                  <a:pt x="2531694" y="308462"/>
                </a:lnTo>
                <a:lnTo>
                  <a:pt x="2528981" y="310195"/>
                </a:lnTo>
                <a:lnTo>
                  <a:pt x="2525509" y="322104"/>
                </a:lnTo>
                <a:lnTo>
                  <a:pt x="2517913" y="330008"/>
                </a:lnTo>
                <a:lnTo>
                  <a:pt x="2515200" y="335096"/>
                </a:lnTo>
                <a:lnTo>
                  <a:pt x="2512052" y="337912"/>
                </a:lnTo>
                <a:lnTo>
                  <a:pt x="2510859" y="336180"/>
                </a:lnTo>
                <a:lnTo>
                  <a:pt x="2511510" y="333257"/>
                </a:lnTo>
                <a:lnTo>
                  <a:pt x="2509339" y="328601"/>
                </a:lnTo>
                <a:lnTo>
                  <a:pt x="2511184" y="319831"/>
                </a:lnTo>
                <a:lnTo>
                  <a:pt x="2509774" y="315933"/>
                </a:lnTo>
                <a:lnTo>
                  <a:pt x="2511076" y="309329"/>
                </a:lnTo>
                <a:lnTo>
                  <a:pt x="2516502" y="300233"/>
                </a:lnTo>
                <a:lnTo>
                  <a:pt x="2516502" y="294062"/>
                </a:lnTo>
                <a:lnTo>
                  <a:pt x="2514332" y="299260"/>
                </a:lnTo>
                <a:lnTo>
                  <a:pt x="2509014" y="304565"/>
                </a:lnTo>
                <a:lnTo>
                  <a:pt x="2507061" y="311061"/>
                </a:lnTo>
                <a:lnTo>
                  <a:pt x="2507603" y="320913"/>
                </a:lnTo>
                <a:lnTo>
                  <a:pt x="2503480" y="332173"/>
                </a:lnTo>
                <a:lnTo>
                  <a:pt x="2501526" y="333473"/>
                </a:lnTo>
                <a:lnTo>
                  <a:pt x="2500550" y="328492"/>
                </a:lnTo>
                <a:lnTo>
                  <a:pt x="2501743" y="324270"/>
                </a:lnTo>
                <a:lnTo>
                  <a:pt x="2500550" y="320155"/>
                </a:lnTo>
                <a:lnTo>
                  <a:pt x="2493930" y="319614"/>
                </a:lnTo>
                <a:lnTo>
                  <a:pt x="2495015" y="323837"/>
                </a:lnTo>
                <a:lnTo>
                  <a:pt x="2493062" y="328275"/>
                </a:lnTo>
                <a:lnTo>
                  <a:pt x="2488830" y="330008"/>
                </a:lnTo>
                <a:lnTo>
                  <a:pt x="2479172" y="323296"/>
                </a:lnTo>
                <a:lnTo>
                  <a:pt x="2472769" y="321239"/>
                </a:lnTo>
                <a:lnTo>
                  <a:pt x="2472769" y="314200"/>
                </a:lnTo>
                <a:lnTo>
                  <a:pt x="2469188" y="313011"/>
                </a:lnTo>
                <a:lnTo>
                  <a:pt x="2466258" y="315500"/>
                </a:lnTo>
                <a:lnTo>
                  <a:pt x="2465933" y="304890"/>
                </a:lnTo>
                <a:lnTo>
                  <a:pt x="2467994" y="301641"/>
                </a:lnTo>
                <a:lnTo>
                  <a:pt x="2464848" y="303374"/>
                </a:lnTo>
                <a:lnTo>
                  <a:pt x="2463003" y="300450"/>
                </a:lnTo>
                <a:lnTo>
                  <a:pt x="2463654" y="292005"/>
                </a:lnTo>
                <a:lnTo>
                  <a:pt x="2469839" y="291140"/>
                </a:lnTo>
                <a:lnTo>
                  <a:pt x="2473854" y="295578"/>
                </a:lnTo>
                <a:lnTo>
                  <a:pt x="2476350" y="293737"/>
                </a:lnTo>
                <a:lnTo>
                  <a:pt x="2480148" y="292872"/>
                </a:lnTo>
                <a:lnTo>
                  <a:pt x="2476784" y="291789"/>
                </a:lnTo>
                <a:lnTo>
                  <a:pt x="2473529" y="286484"/>
                </a:lnTo>
                <a:lnTo>
                  <a:pt x="2470707" y="286158"/>
                </a:lnTo>
                <a:lnTo>
                  <a:pt x="2469188" y="287999"/>
                </a:lnTo>
                <a:lnTo>
                  <a:pt x="2465716" y="287025"/>
                </a:lnTo>
                <a:lnTo>
                  <a:pt x="2465065" y="280962"/>
                </a:lnTo>
                <a:lnTo>
                  <a:pt x="2467778" y="270460"/>
                </a:lnTo>
                <a:lnTo>
                  <a:pt x="2470707" y="270893"/>
                </a:lnTo>
                <a:lnTo>
                  <a:pt x="2473529" y="278364"/>
                </a:lnTo>
                <a:lnTo>
                  <a:pt x="2475157" y="276198"/>
                </a:lnTo>
                <a:lnTo>
                  <a:pt x="2475374" y="270893"/>
                </a:lnTo>
                <a:lnTo>
                  <a:pt x="2470056" y="266020"/>
                </a:lnTo>
                <a:lnTo>
                  <a:pt x="2471359" y="257575"/>
                </a:lnTo>
                <a:lnTo>
                  <a:pt x="2474614" y="254869"/>
                </a:lnTo>
                <a:lnTo>
                  <a:pt x="2481885" y="254544"/>
                </a:lnTo>
                <a:lnTo>
                  <a:pt x="2485140" y="251079"/>
                </a:lnTo>
                <a:lnTo>
                  <a:pt x="2487962" y="249022"/>
                </a:lnTo>
                <a:lnTo>
                  <a:pt x="2494473" y="254869"/>
                </a:lnTo>
                <a:lnTo>
                  <a:pt x="2499139" y="256384"/>
                </a:lnTo>
                <a:lnTo>
                  <a:pt x="2501852" y="259849"/>
                </a:lnTo>
                <a:lnTo>
                  <a:pt x="2508254" y="260174"/>
                </a:lnTo>
                <a:lnTo>
                  <a:pt x="2517587" y="261364"/>
                </a:lnTo>
                <a:lnTo>
                  <a:pt x="2520734" y="262989"/>
                </a:lnTo>
                <a:lnTo>
                  <a:pt x="2531043" y="261040"/>
                </a:lnTo>
                <a:lnTo>
                  <a:pt x="2527787" y="258874"/>
                </a:lnTo>
                <a:lnTo>
                  <a:pt x="2518238" y="258874"/>
                </a:lnTo>
                <a:lnTo>
                  <a:pt x="2508797" y="257575"/>
                </a:lnTo>
                <a:lnTo>
                  <a:pt x="2502611" y="254652"/>
                </a:lnTo>
                <a:lnTo>
                  <a:pt x="2502937" y="251945"/>
                </a:lnTo>
                <a:lnTo>
                  <a:pt x="2508797" y="249671"/>
                </a:lnTo>
                <a:lnTo>
                  <a:pt x="2515308" y="254002"/>
                </a:lnTo>
                <a:lnTo>
                  <a:pt x="2520191" y="253461"/>
                </a:lnTo>
                <a:lnTo>
                  <a:pt x="2529958" y="253895"/>
                </a:lnTo>
                <a:lnTo>
                  <a:pt x="2528547" y="251729"/>
                </a:lnTo>
                <a:lnTo>
                  <a:pt x="2517262" y="249022"/>
                </a:lnTo>
                <a:lnTo>
                  <a:pt x="2511727" y="245124"/>
                </a:lnTo>
                <a:lnTo>
                  <a:pt x="2506518" y="246316"/>
                </a:lnTo>
                <a:lnTo>
                  <a:pt x="2502937" y="245774"/>
                </a:lnTo>
                <a:lnTo>
                  <a:pt x="2502937" y="241768"/>
                </a:lnTo>
                <a:lnTo>
                  <a:pt x="2507278" y="241443"/>
                </a:lnTo>
                <a:lnTo>
                  <a:pt x="2505541" y="238736"/>
                </a:lnTo>
                <a:lnTo>
                  <a:pt x="2498813" y="238844"/>
                </a:lnTo>
                <a:lnTo>
                  <a:pt x="2495884" y="237545"/>
                </a:lnTo>
                <a:lnTo>
                  <a:pt x="2498271" y="234946"/>
                </a:lnTo>
                <a:lnTo>
                  <a:pt x="2498162" y="232132"/>
                </a:lnTo>
                <a:lnTo>
                  <a:pt x="2493605" y="235488"/>
                </a:lnTo>
                <a:lnTo>
                  <a:pt x="2490892" y="235271"/>
                </a:lnTo>
                <a:lnTo>
                  <a:pt x="2486876" y="239061"/>
                </a:lnTo>
                <a:lnTo>
                  <a:pt x="2483404" y="239061"/>
                </a:lnTo>
                <a:lnTo>
                  <a:pt x="2481559" y="236788"/>
                </a:lnTo>
                <a:lnTo>
                  <a:pt x="2484163" y="232024"/>
                </a:lnTo>
                <a:lnTo>
                  <a:pt x="2488396" y="231807"/>
                </a:lnTo>
                <a:lnTo>
                  <a:pt x="2489156" y="227909"/>
                </a:lnTo>
                <a:lnTo>
                  <a:pt x="2486876" y="225419"/>
                </a:lnTo>
                <a:lnTo>
                  <a:pt x="2482970" y="229642"/>
                </a:lnTo>
                <a:lnTo>
                  <a:pt x="2477110" y="229208"/>
                </a:lnTo>
                <a:lnTo>
                  <a:pt x="2473963" y="231157"/>
                </a:lnTo>
                <a:lnTo>
                  <a:pt x="2471359" y="228776"/>
                </a:lnTo>
                <a:lnTo>
                  <a:pt x="2471792" y="224986"/>
                </a:lnTo>
                <a:lnTo>
                  <a:pt x="2474505" y="223795"/>
                </a:lnTo>
                <a:lnTo>
                  <a:pt x="2475157" y="221196"/>
                </a:lnTo>
                <a:lnTo>
                  <a:pt x="2472552" y="217948"/>
                </a:lnTo>
                <a:lnTo>
                  <a:pt x="2473312" y="214267"/>
                </a:lnTo>
                <a:lnTo>
                  <a:pt x="2479497" y="206038"/>
                </a:lnTo>
                <a:lnTo>
                  <a:pt x="2483946" y="205714"/>
                </a:lnTo>
                <a:lnTo>
                  <a:pt x="2486443" y="206904"/>
                </a:lnTo>
                <a:lnTo>
                  <a:pt x="2493605" y="206688"/>
                </a:lnTo>
                <a:lnTo>
                  <a:pt x="2498597" y="208420"/>
                </a:lnTo>
                <a:lnTo>
                  <a:pt x="2501852" y="206580"/>
                </a:lnTo>
                <a:lnTo>
                  <a:pt x="2501852" y="204522"/>
                </a:lnTo>
                <a:lnTo>
                  <a:pt x="2497620" y="205930"/>
                </a:lnTo>
                <a:lnTo>
                  <a:pt x="2493496" y="203657"/>
                </a:lnTo>
                <a:lnTo>
                  <a:pt x="2486226" y="203115"/>
                </a:lnTo>
                <a:lnTo>
                  <a:pt x="2483078" y="200408"/>
                </a:lnTo>
                <a:lnTo>
                  <a:pt x="2482970" y="190231"/>
                </a:lnTo>
                <a:lnTo>
                  <a:pt x="2485683" y="188715"/>
                </a:lnTo>
                <a:lnTo>
                  <a:pt x="2485683" y="182327"/>
                </a:lnTo>
                <a:lnTo>
                  <a:pt x="2488613" y="183843"/>
                </a:lnTo>
                <a:lnTo>
                  <a:pt x="2492302" y="181677"/>
                </a:lnTo>
                <a:lnTo>
                  <a:pt x="2490024" y="174423"/>
                </a:lnTo>
                <a:lnTo>
                  <a:pt x="2492302" y="171825"/>
                </a:lnTo>
                <a:lnTo>
                  <a:pt x="2491543" y="169551"/>
                </a:lnTo>
                <a:lnTo>
                  <a:pt x="2493605" y="164463"/>
                </a:lnTo>
                <a:lnTo>
                  <a:pt x="2495341" y="164463"/>
                </a:lnTo>
                <a:lnTo>
                  <a:pt x="2496860" y="167061"/>
                </a:lnTo>
                <a:lnTo>
                  <a:pt x="2500333" y="168360"/>
                </a:lnTo>
                <a:lnTo>
                  <a:pt x="2504782" y="174965"/>
                </a:lnTo>
                <a:lnTo>
                  <a:pt x="2517913" y="177672"/>
                </a:lnTo>
                <a:lnTo>
                  <a:pt x="2524098" y="182869"/>
                </a:lnTo>
                <a:lnTo>
                  <a:pt x="2526919" y="182111"/>
                </a:lnTo>
                <a:lnTo>
                  <a:pt x="2528547" y="174965"/>
                </a:lnTo>
                <a:lnTo>
                  <a:pt x="2532562" y="172041"/>
                </a:lnTo>
                <a:lnTo>
                  <a:pt x="2532020" y="168794"/>
                </a:lnTo>
                <a:lnTo>
                  <a:pt x="2529632" y="168577"/>
                </a:lnTo>
                <a:lnTo>
                  <a:pt x="2527028" y="171608"/>
                </a:lnTo>
                <a:lnTo>
                  <a:pt x="2520734" y="171825"/>
                </a:lnTo>
                <a:lnTo>
                  <a:pt x="2516610" y="169010"/>
                </a:lnTo>
                <a:lnTo>
                  <a:pt x="2514657" y="165221"/>
                </a:lnTo>
                <a:lnTo>
                  <a:pt x="2508797" y="161756"/>
                </a:lnTo>
                <a:lnTo>
                  <a:pt x="2514332" y="161864"/>
                </a:lnTo>
                <a:lnTo>
                  <a:pt x="2515850" y="161215"/>
                </a:lnTo>
                <a:lnTo>
                  <a:pt x="2513789" y="158725"/>
                </a:lnTo>
                <a:lnTo>
                  <a:pt x="2508037" y="157858"/>
                </a:lnTo>
                <a:lnTo>
                  <a:pt x="2504348" y="155043"/>
                </a:lnTo>
                <a:lnTo>
                  <a:pt x="2502286" y="148980"/>
                </a:lnTo>
                <a:lnTo>
                  <a:pt x="2503263" y="143891"/>
                </a:lnTo>
                <a:lnTo>
                  <a:pt x="2500658" y="137828"/>
                </a:lnTo>
                <a:lnTo>
                  <a:pt x="2501960" y="135338"/>
                </a:lnTo>
                <a:lnTo>
                  <a:pt x="2504999" y="135988"/>
                </a:lnTo>
                <a:lnTo>
                  <a:pt x="2508254" y="139777"/>
                </a:lnTo>
                <a:lnTo>
                  <a:pt x="2509991" y="139235"/>
                </a:lnTo>
                <a:lnTo>
                  <a:pt x="2515308" y="141076"/>
                </a:lnTo>
                <a:lnTo>
                  <a:pt x="2518781" y="143458"/>
                </a:lnTo>
                <a:lnTo>
                  <a:pt x="2518781" y="146598"/>
                </a:lnTo>
                <a:lnTo>
                  <a:pt x="2520843" y="148114"/>
                </a:lnTo>
                <a:lnTo>
                  <a:pt x="2522904" y="144109"/>
                </a:lnTo>
                <a:lnTo>
                  <a:pt x="2520300" y="139886"/>
                </a:lnTo>
                <a:lnTo>
                  <a:pt x="2520843" y="135554"/>
                </a:lnTo>
                <a:lnTo>
                  <a:pt x="2525292" y="133172"/>
                </a:lnTo>
                <a:lnTo>
                  <a:pt x="2528547" y="133821"/>
                </a:lnTo>
                <a:lnTo>
                  <a:pt x="2533647" y="137503"/>
                </a:lnTo>
                <a:lnTo>
                  <a:pt x="2538314" y="138153"/>
                </a:lnTo>
                <a:lnTo>
                  <a:pt x="2541678" y="140860"/>
                </a:lnTo>
                <a:lnTo>
                  <a:pt x="2544825" y="141076"/>
                </a:lnTo>
                <a:lnTo>
                  <a:pt x="2544933" y="137828"/>
                </a:lnTo>
                <a:lnTo>
                  <a:pt x="2542329" y="135229"/>
                </a:lnTo>
                <a:lnTo>
                  <a:pt x="2543306" y="131440"/>
                </a:lnTo>
                <a:lnTo>
                  <a:pt x="2546887" y="131765"/>
                </a:lnTo>
                <a:lnTo>
                  <a:pt x="2546887" y="129383"/>
                </a:lnTo>
                <a:lnTo>
                  <a:pt x="2541569" y="126243"/>
                </a:lnTo>
                <a:lnTo>
                  <a:pt x="2540267" y="120830"/>
                </a:lnTo>
                <a:lnTo>
                  <a:pt x="2536360" y="119422"/>
                </a:lnTo>
                <a:lnTo>
                  <a:pt x="2535818" y="116499"/>
                </a:lnTo>
                <a:lnTo>
                  <a:pt x="2539073" y="113576"/>
                </a:lnTo>
                <a:lnTo>
                  <a:pt x="2541353" y="107187"/>
                </a:lnTo>
                <a:lnTo>
                  <a:pt x="2548406" y="103615"/>
                </a:lnTo>
                <a:lnTo>
                  <a:pt x="2554917" y="110436"/>
                </a:lnTo>
                <a:lnTo>
                  <a:pt x="2558715" y="109136"/>
                </a:lnTo>
                <a:lnTo>
                  <a:pt x="2562513" y="105456"/>
                </a:lnTo>
                <a:lnTo>
                  <a:pt x="2559258" y="105022"/>
                </a:lnTo>
                <a:lnTo>
                  <a:pt x="2556870" y="100799"/>
                </a:lnTo>
                <a:lnTo>
                  <a:pt x="2561645" y="101883"/>
                </a:lnTo>
                <a:lnTo>
                  <a:pt x="2565986" y="101341"/>
                </a:lnTo>
                <a:lnTo>
                  <a:pt x="2570652" y="105130"/>
                </a:lnTo>
                <a:lnTo>
                  <a:pt x="2574233" y="105130"/>
                </a:lnTo>
                <a:lnTo>
                  <a:pt x="2581504" y="98093"/>
                </a:lnTo>
                <a:lnTo>
                  <a:pt x="2581721" y="94952"/>
                </a:lnTo>
                <a:lnTo>
                  <a:pt x="2577706" y="94303"/>
                </a:lnTo>
                <a:lnTo>
                  <a:pt x="2575970" y="90514"/>
                </a:lnTo>
                <a:lnTo>
                  <a:pt x="2570327" y="87807"/>
                </a:lnTo>
                <a:lnTo>
                  <a:pt x="2566202" y="89106"/>
                </a:lnTo>
                <a:lnTo>
                  <a:pt x="2560994" y="89323"/>
                </a:lnTo>
                <a:lnTo>
                  <a:pt x="2558064" y="86183"/>
                </a:lnTo>
                <a:lnTo>
                  <a:pt x="2561319" y="79903"/>
                </a:lnTo>
                <a:lnTo>
                  <a:pt x="2561536" y="74924"/>
                </a:lnTo>
                <a:close/>
                <a:moveTo>
                  <a:pt x="3453868" y="68318"/>
                </a:moveTo>
                <a:lnTo>
                  <a:pt x="3459185" y="69619"/>
                </a:lnTo>
                <a:lnTo>
                  <a:pt x="3466781" y="68968"/>
                </a:lnTo>
                <a:lnTo>
                  <a:pt x="3470362" y="70808"/>
                </a:lnTo>
                <a:lnTo>
                  <a:pt x="3471339" y="72324"/>
                </a:lnTo>
                <a:lnTo>
                  <a:pt x="3473292" y="72324"/>
                </a:lnTo>
                <a:lnTo>
                  <a:pt x="3476222" y="70159"/>
                </a:lnTo>
                <a:lnTo>
                  <a:pt x="3480671" y="72000"/>
                </a:lnTo>
                <a:lnTo>
                  <a:pt x="3489136" y="72000"/>
                </a:lnTo>
                <a:lnTo>
                  <a:pt x="3491414" y="74057"/>
                </a:lnTo>
                <a:lnTo>
                  <a:pt x="3494345" y="74057"/>
                </a:lnTo>
                <a:lnTo>
                  <a:pt x="3497491" y="72758"/>
                </a:lnTo>
                <a:lnTo>
                  <a:pt x="3500096" y="74706"/>
                </a:lnTo>
                <a:lnTo>
                  <a:pt x="3501398" y="77522"/>
                </a:lnTo>
                <a:lnTo>
                  <a:pt x="3507801" y="81961"/>
                </a:lnTo>
                <a:lnTo>
                  <a:pt x="3510514" y="80770"/>
                </a:lnTo>
                <a:lnTo>
                  <a:pt x="3510514" y="79254"/>
                </a:lnTo>
                <a:lnTo>
                  <a:pt x="3512901" y="79254"/>
                </a:lnTo>
                <a:lnTo>
                  <a:pt x="3520388" y="84018"/>
                </a:lnTo>
                <a:lnTo>
                  <a:pt x="3523318" y="84018"/>
                </a:lnTo>
                <a:lnTo>
                  <a:pt x="3528419" y="88890"/>
                </a:lnTo>
                <a:lnTo>
                  <a:pt x="3537751" y="89540"/>
                </a:lnTo>
                <a:lnTo>
                  <a:pt x="3540356" y="91163"/>
                </a:lnTo>
                <a:lnTo>
                  <a:pt x="3545564" y="90081"/>
                </a:lnTo>
                <a:lnTo>
                  <a:pt x="3547192" y="91705"/>
                </a:lnTo>
                <a:lnTo>
                  <a:pt x="3549037" y="94195"/>
                </a:lnTo>
                <a:lnTo>
                  <a:pt x="3553595" y="92679"/>
                </a:lnTo>
                <a:lnTo>
                  <a:pt x="3557501" y="93545"/>
                </a:lnTo>
                <a:lnTo>
                  <a:pt x="3561083" y="97010"/>
                </a:lnTo>
                <a:lnTo>
                  <a:pt x="3568570" y="99176"/>
                </a:lnTo>
                <a:lnTo>
                  <a:pt x="3573453" y="102748"/>
                </a:lnTo>
                <a:lnTo>
                  <a:pt x="3575515" y="107187"/>
                </a:lnTo>
                <a:lnTo>
                  <a:pt x="3579096" y="109136"/>
                </a:lnTo>
                <a:lnTo>
                  <a:pt x="3585716" y="113359"/>
                </a:lnTo>
                <a:lnTo>
                  <a:pt x="3585716" y="115957"/>
                </a:lnTo>
                <a:lnTo>
                  <a:pt x="3583111" y="119639"/>
                </a:lnTo>
                <a:lnTo>
                  <a:pt x="3579096" y="119639"/>
                </a:lnTo>
                <a:lnTo>
                  <a:pt x="3575190" y="118882"/>
                </a:lnTo>
                <a:lnTo>
                  <a:pt x="3572042" y="120830"/>
                </a:lnTo>
                <a:lnTo>
                  <a:pt x="3569438" y="123645"/>
                </a:lnTo>
                <a:lnTo>
                  <a:pt x="3565206" y="123645"/>
                </a:lnTo>
                <a:lnTo>
                  <a:pt x="3563578" y="123645"/>
                </a:lnTo>
                <a:lnTo>
                  <a:pt x="3559129" y="124945"/>
                </a:lnTo>
                <a:lnTo>
                  <a:pt x="3554028" y="124945"/>
                </a:lnTo>
                <a:lnTo>
                  <a:pt x="3544913" y="120613"/>
                </a:lnTo>
                <a:lnTo>
                  <a:pt x="3540464" y="119206"/>
                </a:lnTo>
                <a:lnTo>
                  <a:pt x="3537643" y="119206"/>
                </a:lnTo>
                <a:lnTo>
                  <a:pt x="3533627" y="117474"/>
                </a:lnTo>
                <a:lnTo>
                  <a:pt x="3528419" y="117474"/>
                </a:lnTo>
                <a:lnTo>
                  <a:pt x="3526031" y="119422"/>
                </a:lnTo>
                <a:lnTo>
                  <a:pt x="3521908" y="119422"/>
                </a:lnTo>
                <a:lnTo>
                  <a:pt x="3520280" y="117689"/>
                </a:lnTo>
                <a:lnTo>
                  <a:pt x="3515397" y="117689"/>
                </a:lnTo>
                <a:lnTo>
                  <a:pt x="3508343" y="121154"/>
                </a:lnTo>
                <a:lnTo>
                  <a:pt x="3505088" y="122454"/>
                </a:lnTo>
                <a:lnTo>
                  <a:pt x="3501073" y="120938"/>
                </a:lnTo>
                <a:lnTo>
                  <a:pt x="3497383" y="120938"/>
                </a:lnTo>
                <a:lnTo>
                  <a:pt x="3491740" y="123536"/>
                </a:lnTo>
                <a:lnTo>
                  <a:pt x="3485229" y="123536"/>
                </a:lnTo>
                <a:lnTo>
                  <a:pt x="3482625" y="120180"/>
                </a:lnTo>
                <a:lnTo>
                  <a:pt x="3482625" y="115524"/>
                </a:lnTo>
                <a:lnTo>
                  <a:pt x="3487942" y="113901"/>
                </a:lnTo>
                <a:lnTo>
                  <a:pt x="3490221" y="113901"/>
                </a:lnTo>
                <a:lnTo>
                  <a:pt x="3491089" y="111302"/>
                </a:lnTo>
                <a:lnTo>
                  <a:pt x="3489679" y="109677"/>
                </a:lnTo>
                <a:lnTo>
                  <a:pt x="3486206" y="109677"/>
                </a:lnTo>
                <a:lnTo>
                  <a:pt x="3482625" y="110544"/>
                </a:lnTo>
                <a:lnTo>
                  <a:pt x="3478393" y="114225"/>
                </a:lnTo>
                <a:lnTo>
                  <a:pt x="3478393" y="118231"/>
                </a:lnTo>
                <a:lnTo>
                  <a:pt x="3481105" y="121804"/>
                </a:lnTo>
                <a:lnTo>
                  <a:pt x="3483818" y="121804"/>
                </a:lnTo>
                <a:lnTo>
                  <a:pt x="3482733" y="124619"/>
                </a:lnTo>
                <a:lnTo>
                  <a:pt x="3479478" y="127001"/>
                </a:lnTo>
                <a:lnTo>
                  <a:pt x="3476982" y="127001"/>
                </a:lnTo>
                <a:lnTo>
                  <a:pt x="3473400" y="127001"/>
                </a:lnTo>
                <a:lnTo>
                  <a:pt x="3468192" y="127001"/>
                </a:lnTo>
                <a:lnTo>
                  <a:pt x="3466781" y="128409"/>
                </a:lnTo>
                <a:lnTo>
                  <a:pt x="3462006" y="128409"/>
                </a:lnTo>
                <a:lnTo>
                  <a:pt x="3457015" y="127001"/>
                </a:lnTo>
                <a:lnTo>
                  <a:pt x="3450937" y="127001"/>
                </a:lnTo>
                <a:lnTo>
                  <a:pt x="3444969" y="130032"/>
                </a:lnTo>
                <a:lnTo>
                  <a:pt x="3436180" y="135554"/>
                </a:lnTo>
                <a:lnTo>
                  <a:pt x="3435420" y="139128"/>
                </a:lnTo>
                <a:lnTo>
                  <a:pt x="3435420" y="145299"/>
                </a:lnTo>
                <a:lnTo>
                  <a:pt x="3433467" y="148872"/>
                </a:lnTo>
                <a:lnTo>
                  <a:pt x="3433467" y="151579"/>
                </a:lnTo>
                <a:lnTo>
                  <a:pt x="3434769" y="153203"/>
                </a:lnTo>
                <a:lnTo>
                  <a:pt x="3438350" y="151903"/>
                </a:lnTo>
                <a:lnTo>
                  <a:pt x="3438350" y="147464"/>
                </a:lnTo>
                <a:lnTo>
                  <a:pt x="3439435" y="144758"/>
                </a:lnTo>
                <a:lnTo>
                  <a:pt x="3439435" y="142918"/>
                </a:lnTo>
                <a:lnTo>
                  <a:pt x="3441823" y="140860"/>
                </a:lnTo>
                <a:lnTo>
                  <a:pt x="3446706" y="140860"/>
                </a:lnTo>
                <a:lnTo>
                  <a:pt x="3449635" y="140318"/>
                </a:lnTo>
                <a:lnTo>
                  <a:pt x="3450504" y="141835"/>
                </a:lnTo>
                <a:lnTo>
                  <a:pt x="3449419" y="144866"/>
                </a:lnTo>
                <a:lnTo>
                  <a:pt x="3447682" y="148872"/>
                </a:lnTo>
                <a:lnTo>
                  <a:pt x="3447682" y="150496"/>
                </a:lnTo>
                <a:lnTo>
                  <a:pt x="3449093" y="150496"/>
                </a:lnTo>
                <a:lnTo>
                  <a:pt x="3451372" y="147573"/>
                </a:lnTo>
                <a:lnTo>
                  <a:pt x="3453000" y="140752"/>
                </a:lnTo>
                <a:lnTo>
                  <a:pt x="3456147" y="136312"/>
                </a:lnTo>
                <a:cubicBezTo>
                  <a:pt x="3457749" y="135333"/>
                  <a:pt x="3459416" y="134465"/>
                  <a:pt x="3461138" y="133713"/>
                </a:cubicBezTo>
                <a:lnTo>
                  <a:pt x="3464068" y="133713"/>
                </a:lnTo>
                <a:lnTo>
                  <a:pt x="3469928" y="133713"/>
                </a:lnTo>
                <a:lnTo>
                  <a:pt x="3474160" y="133713"/>
                </a:lnTo>
                <a:lnTo>
                  <a:pt x="3477525" y="132523"/>
                </a:lnTo>
                <a:lnTo>
                  <a:pt x="3479261" y="133172"/>
                </a:lnTo>
                <a:lnTo>
                  <a:pt x="3480671" y="136096"/>
                </a:lnTo>
                <a:lnTo>
                  <a:pt x="3483384" y="141942"/>
                </a:lnTo>
                <a:lnTo>
                  <a:pt x="3485446" y="143458"/>
                </a:lnTo>
                <a:lnTo>
                  <a:pt x="3487291" y="143458"/>
                </a:lnTo>
                <a:lnTo>
                  <a:pt x="3487291" y="140643"/>
                </a:lnTo>
                <a:lnTo>
                  <a:pt x="3485772" y="134905"/>
                </a:lnTo>
                <a:lnTo>
                  <a:pt x="3487291" y="133713"/>
                </a:lnTo>
                <a:lnTo>
                  <a:pt x="3492500" y="132848"/>
                </a:lnTo>
                <a:lnTo>
                  <a:pt x="3496406" y="133606"/>
                </a:lnTo>
                <a:lnTo>
                  <a:pt x="3502049" y="132523"/>
                </a:lnTo>
                <a:lnTo>
                  <a:pt x="3507909" y="131982"/>
                </a:lnTo>
                <a:lnTo>
                  <a:pt x="3514637" y="129491"/>
                </a:lnTo>
                <a:lnTo>
                  <a:pt x="3519195" y="127975"/>
                </a:lnTo>
                <a:lnTo>
                  <a:pt x="3527659" y="127218"/>
                </a:lnTo>
                <a:lnTo>
                  <a:pt x="3534062" y="128517"/>
                </a:lnTo>
                <a:lnTo>
                  <a:pt x="3538836" y="131223"/>
                </a:lnTo>
                <a:lnTo>
                  <a:pt x="3543068" y="132307"/>
                </a:lnTo>
                <a:lnTo>
                  <a:pt x="3546324" y="134038"/>
                </a:lnTo>
                <a:lnTo>
                  <a:pt x="3550773" y="135121"/>
                </a:lnTo>
                <a:lnTo>
                  <a:pt x="3554245" y="137720"/>
                </a:lnTo>
                <a:lnTo>
                  <a:pt x="3557067" y="138803"/>
                </a:lnTo>
                <a:lnTo>
                  <a:pt x="3559780" y="137503"/>
                </a:lnTo>
                <a:lnTo>
                  <a:pt x="3563361" y="136638"/>
                </a:lnTo>
                <a:lnTo>
                  <a:pt x="3565423" y="137828"/>
                </a:lnTo>
                <a:lnTo>
                  <a:pt x="3567051" y="140318"/>
                </a:lnTo>
                <a:lnTo>
                  <a:pt x="3569329" y="140318"/>
                </a:lnTo>
                <a:lnTo>
                  <a:pt x="3573345" y="136854"/>
                </a:lnTo>
                <a:lnTo>
                  <a:pt x="3576383" y="136854"/>
                </a:lnTo>
                <a:lnTo>
                  <a:pt x="3580615" y="136854"/>
                </a:lnTo>
                <a:lnTo>
                  <a:pt x="3586909" y="133389"/>
                </a:lnTo>
                <a:lnTo>
                  <a:pt x="3590382" y="129816"/>
                </a:lnTo>
                <a:lnTo>
                  <a:pt x="3592878" y="129167"/>
                </a:lnTo>
                <a:lnTo>
                  <a:pt x="3594831" y="130249"/>
                </a:lnTo>
                <a:lnTo>
                  <a:pt x="3597978" y="134147"/>
                </a:lnTo>
                <a:lnTo>
                  <a:pt x="3601993" y="136854"/>
                </a:lnTo>
                <a:lnTo>
                  <a:pt x="3601993" y="138261"/>
                </a:lnTo>
                <a:lnTo>
                  <a:pt x="3599823" y="140752"/>
                </a:lnTo>
                <a:lnTo>
                  <a:pt x="3599823" y="142918"/>
                </a:lnTo>
                <a:lnTo>
                  <a:pt x="3602101" y="144432"/>
                </a:lnTo>
                <a:lnTo>
                  <a:pt x="3603187" y="146273"/>
                </a:lnTo>
                <a:lnTo>
                  <a:pt x="3603187" y="149305"/>
                </a:lnTo>
                <a:lnTo>
                  <a:pt x="3596784" y="154827"/>
                </a:lnTo>
                <a:lnTo>
                  <a:pt x="3589839" y="156885"/>
                </a:lnTo>
                <a:lnTo>
                  <a:pt x="3586258" y="155801"/>
                </a:lnTo>
                <a:lnTo>
                  <a:pt x="3582351" y="153528"/>
                </a:lnTo>
                <a:lnTo>
                  <a:pt x="3579747" y="150713"/>
                </a:lnTo>
                <a:lnTo>
                  <a:pt x="3578228" y="152011"/>
                </a:lnTo>
                <a:lnTo>
                  <a:pt x="3578228" y="155043"/>
                </a:lnTo>
                <a:lnTo>
                  <a:pt x="3582243" y="158616"/>
                </a:lnTo>
                <a:lnTo>
                  <a:pt x="3582243" y="160457"/>
                </a:lnTo>
                <a:lnTo>
                  <a:pt x="3581592" y="161540"/>
                </a:lnTo>
                <a:lnTo>
                  <a:pt x="3577143" y="160024"/>
                </a:lnTo>
                <a:lnTo>
                  <a:pt x="3574647" y="157425"/>
                </a:lnTo>
                <a:lnTo>
                  <a:pt x="3572151" y="157425"/>
                </a:lnTo>
                <a:lnTo>
                  <a:pt x="3572151" y="160132"/>
                </a:lnTo>
                <a:lnTo>
                  <a:pt x="3573995" y="162947"/>
                </a:lnTo>
                <a:lnTo>
                  <a:pt x="3577468" y="164354"/>
                </a:lnTo>
                <a:lnTo>
                  <a:pt x="3582135" y="164354"/>
                </a:lnTo>
                <a:lnTo>
                  <a:pt x="3587017" y="166519"/>
                </a:lnTo>
                <a:lnTo>
                  <a:pt x="3590599" y="165871"/>
                </a:lnTo>
                <a:lnTo>
                  <a:pt x="3597544" y="162514"/>
                </a:lnTo>
                <a:lnTo>
                  <a:pt x="3600148" y="162514"/>
                </a:lnTo>
                <a:lnTo>
                  <a:pt x="3601993" y="164354"/>
                </a:lnTo>
                <a:lnTo>
                  <a:pt x="3601993" y="162514"/>
                </a:lnTo>
                <a:lnTo>
                  <a:pt x="3601993" y="159374"/>
                </a:lnTo>
                <a:lnTo>
                  <a:pt x="3605682" y="158725"/>
                </a:lnTo>
                <a:lnTo>
                  <a:pt x="3615558" y="158725"/>
                </a:lnTo>
                <a:lnTo>
                  <a:pt x="3617945" y="160348"/>
                </a:lnTo>
                <a:lnTo>
                  <a:pt x="3618596" y="163056"/>
                </a:lnTo>
                <a:lnTo>
                  <a:pt x="3620874" y="164462"/>
                </a:lnTo>
                <a:lnTo>
                  <a:pt x="3623587" y="163705"/>
                </a:lnTo>
                <a:lnTo>
                  <a:pt x="3624781" y="162297"/>
                </a:lnTo>
                <a:lnTo>
                  <a:pt x="3627060" y="163272"/>
                </a:lnTo>
                <a:lnTo>
                  <a:pt x="3628145" y="166412"/>
                </a:lnTo>
                <a:lnTo>
                  <a:pt x="3630967" y="169227"/>
                </a:lnTo>
                <a:lnTo>
                  <a:pt x="3637478" y="170309"/>
                </a:lnTo>
                <a:lnTo>
                  <a:pt x="3639974" y="172583"/>
                </a:lnTo>
                <a:lnTo>
                  <a:pt x="3640625" y="175290"/>
                </a:lnTo>
                <a:lnTo>
                  <a:pt x="3645183" y="179188"/>
                </a:lnTo>
                <a:lnTo>
                  <a:pt x="3650825" y="181462"/>
                </a:lnTo>
                <a:lnTo>
                  <a:pt x="3655383" y="185143"/>
                </a:lnTo>
                <a:lnTo>
                  <a:pt x="3656035" y="187308"/>
                </a:lnTo>
                <a:lnTo>
                  <a:pt x="3656035" y="191747"/>
                </a:lnTo>
                <a:lnTo>
                  <a:pt x="3654081" y="193046"/>
                </a:lnTo>
                <a:lnTo>
                  <a:pt x="3653430" y="195537"/>
                </a:lnTo>
                <a:lnTo>
                  <a:pt x="3653430" y="198676"/>
                </a:lnTo>
                <a:lnTo>
                  <a:pt x="3650717" y="200192"/>
                </a:lnTo>
                <a:lnTo>
                  <a:pt x="3646267" y="203549"/>
                </a:lnTo>
                <a:lnTo>
                  <a:pt x="3642796" y="204522"/>
                </a:lnTo>
                <a:lnTo>
                  <a:pt x="3640842" y="203657"/>
                </a:lnTo>
                <a:lnTo>
                  <a:pt x="3639214" y="204522"/>
                </a:lnTo>
                <a:lnTo>
                  <a:pt x="3639214" y="206905"/>
                </a:lnTo>
                <a:lnTo>
                  <a:pt x="3637803" y="208637"/>
                </a:lnTo>
                <a:lnTo>
                  <a:pt x="3633788" y="211235"/>
                </a:lnTo>
                <a:lnTo>
                  <a:pt x="3625541" y="214700"/>
                </a:lnTo>
                <a:lnTo>
                  <a:pt x="3619464" y="214700"/>
                </a:lnTo>
                <a:lnTo>
                  <a:pt x="3617620" y="215566"/>
                </a:lnTo>
                <a:lnTo>
                  <a:pt x="3614038" y="215566"/>
                </a:lnTo>
                <a:lnTo>
                  <a:pt x="3611651" y="212860"/>
                </a:lnTo>
                <a:lnTo>
                  <a:pt x="3609806" y="211127"/>
                </a:lnTo>
                <a:lnTo>
                  <a:pt x="3608287" y="211777"/>
                </a:lnTo>
                <a:lnTo>
                  <a:pt x="3608287" y="214267"/>
                </a:lnTo>
                <a:lnTo>
                  <a:pt x="3610674" y="215674"/>
                </a:lnTo>
                <a:lnTo>
                  <a:pt x="3610674" y="217407"/>
                </a:lnTo>
                <a:lnTo>
                  <a:pt x="3606334" y="217407"/>
                </a:lnTo>
                <a:lnTo>
                  <a:pt x="3602101" y="216216"/>
                </a:lnTo>
                <a:lnTo>
                  <a:pt x="3598412" y="218382"/>
                </a:lnTo>
                <a:lnTo>
                  <a:pt x="3596458" y="218382"/>
                </a:lnTo>
                <a:lnTo>
                  <a:pt x="3593528" y="216433"/>
                </a:lnTo>
                <a:lnTo>
                  <a:pt x="3588862" y="216433"/>
                </a:lnTo>
                <a:lnTo>
                  <a:pt x="3585716" y="218814"/>
                </a:lnTo>
                <a:lnTo>
                  <a:pt x="3579638" y="221413"/>
                </a:lnTo>
                <a:lnTo>
                  <a:pt x="3576058" y="221413"/>
                </a:lnTo>
                <a:lnTo>
                  <a:pt x="3573778" y="219897"/>
                </a:lnTo>
                <a:lnTo>
                  <a:pt x="3570197" y="219897"/>
                </a:lnTo>
                <a:lnTo>
                  <a:pt x="3566399" y="218489"/>
                </a:lnTo>
                <a:lnTo>
                  <a:pt x="3563252" y="218489"/>
                </a:lnTo>
                <a:lnTo>
                  <a:pt x="3561299" y="220114"/>
                </a:lnTo>
                <a:lnTo>
                  <a:pt x="3556416" y="221088"/>
                </a:lnTo>
                <a:lnTo>
                  <a:pt x="3553269" y="220005"/>
                </a:lnTo>
                <a:lnTo>
                  <a:pt x="3547626" y="215892"/>
                </a:lnTo>
                <a:lnTo>
                  <a:pt x="3545347" y="215892"/>
                </a:lnTo>
                <a:lnTo>
                  <a:pt x="3544045" y="215025"/>
                </a:lnTo>
                <a:lnTo>
                  <a:pt x="3537534" y="215025"/>
                </a:lnTo>
                <a:lnTo>
                  <a:pt x="3533953" y="213292"/>
                </a:lnTo>
                <a:lnTo>
                  <a:pt x="3531132" y="212643"/>
                </a:lnTo>
                <a:lnTo>
                  <a:pt x="3526574" y="213727"/>
                </a:lnTo>
                <a:lnTo>
                  <a:pt x="3522559" y="213727"/>
                </a:lnTo>
                <a:lnTo>
                  <a:pt x="3518327" y="212211"/>
                </a:lnTo>
                <a:lnTo>
                  <a:pt x="3515180" y="212968"/>
                </a:lnTo>
                <a:lnTo>
                  <a:pt x="3511816" y="217731"/>
                </a:lnTo>
                <a:lnTo>
                  <a:pt x="3508126" y="218814"/>
                </a:lnTo>
                <a:lnTo>
                  <a:pt x="3502917" y="218165"/>
                </a:lnTo>
                <a:lnTo>
                  <a:pt x="3498902" y="220439"/>
                </a:lnTo>
                <a:lnTo>
                  <a:pt x="3498251" y="221846"/>
                </a:lnTo>
                <a:lnTo>
                  <a:pt x="3496731" y="221846"/>
                </a:lnTo>
                <a:lnTo>
                  <a:pt x="3496707" y="221728"/>
                </a:lnTo>
                <a:lnTo>
                  <a:pt x="3496840" y="221413"/>
                </a:lnTo>
                <a:lnTo>
                  <a:pt x="3496479" y="220620"/>
                </a:lnTo>
                <a:lnTo>
                  <a:pt x="3495863" y="217623"/>
                </a:lnTo>
                <a:lnTo>
                  <a:pt x="3493477" y="216433"/>
                </a:lnTo>
                <a:lnTo>
                  <a:pt x="3492065" y="216433"/>
                </a:lnTo>
                <a:lnTo>
                  <a:pt x="3490546" y="215566"/>
                </a:lnTo>
                <a:lnTo>
                  <a:pt x="3487183" y="215566"/>
                </a:lnTo>
                <a:lnTo>
                  <a:pt x="3487183" y="217298"/>
                </a:lnTo>
                <a:lnTo>
                  <a:pt x="3488702" y="217298"/>
                </a:lnTo>
                <a:lnTo>
                  <a:pt x="3493585" y="217298"/>
                </a:lnTo>
                <a:lnTo>
                  <a:pt x="3495755" y="219031"/>
                </a:lnTo>
                <a:lnTo>
                  <a:pt x="3496479" y="220620"/>
                </a:lnTo>
                <a:lnTo>
                  <a:pt x="3496707" y="221728"/>
                </a:lnTo>
                <a:lnTo>
                  <a:pt x="3495647" y="224229"/>
                </a:lnTo>
                <a:lnTo>
                  <a:pt x="3492500" y="226069"/>
                </a:lnTo>
                <a:lnTo>
                  <a:pt x="3490221" y="226069"/>
                </a:lnTo>
                <a:lnTo>
                  <a:pt x="3486639" y="226069"/>
                </a:lnTo>
                <a:lnTo>
                  <a:pt x="3483059" y="228235"/>
                </a:lnTo>
                <a:lnTo>
                  <a:pt x="3478393" y="230183"/>
                </a:lnTo>
                <a:lnTo>
                  <a:pt x="3471773" y="230833"/>
                </a:lnTo>
                <a:lnTo>
                  <a:pt x="3468409" y="232349"/>
                </a:lnTo>
                <a:lnTo>
                  <a:pt x="3466673" y="234730"/>
                </a:lnTo>
                <a:lnTo>
                  <a:pt x="3463309" y="235488"/>
                </a:lnTo>
                <a:lnTo>
                  <a:pt x="3458968" y="235488"/>
                </a:lnTo>
                <a:lnTo>
                  <a:pt x="3454085" y="238087"/>
                </a:lnTo>
                <a:lnTo>
                  <a:pt x="3450721" y="238087"/>
                </a:lnTo>
                <a:lnTo>
                  <a:pt x="3448442" y="240902"/>
                </a:lnTo>
                <a:lnTo>
                  <a:pt x="3448442" y="244583"/>
                </a:lnTo>
                <a:lnTo>
                  <a:pt x="3450829" y="246965"/>
                </a:lnTo>
                <a:lnTo>
                  <a:pt x="3451481" y="249887"/>
                </a:lnTo>
                <a:lnTo>
                  <a:pt x="3451481" y="253569"/>
                </a:lnTo>
                <a:lnTo>
                  <a:pt x="3453325" y="256709"/>
                </a:lnTo>
                <a:lnTo>
                  <a:pt x="3455821" y="256709"/>
                </a:lnTo>
                <a:lnTo>
                  <a:pt x="3457775" y="254002"/>
                </a:lnTo>
                <a:lnTo>
                  <a:pt x="3457775" y="250538"/>
                </a:lnTo>
                <a:lnTo>
                  <a:pt x="3460813" y="247723"/>
                </a:lnTo>
                <a:lnTo>
                  <a:pt x="3464828" y="246965"/>
                </a:lnTo>
                <a:lnTo>
                  <a:pt x="3468084" y="245017"/>
                </a:lnTo>
                <a:lnTo>
                  <a:pt x="3472207" y="244366"/>
                </a:lnTo>
                <a:lnTo>
                  <a:pt x="3476222" y="244366"/>
                </a:lnTo>
                <a:lnTo>
                  <a:pt x="3478066" y="242092"/>
                </a:lnTo>
                <a:lnTo>
                  <a:pt x="3480888" y="239277"/>
                </a:lnTo>
                <a:lnTo>
                  <a:pt x="3486965" y="237653"/>
                </a:lnTo>
                <a:lnTo>
                  <a:pt x="3496623" y="234081"/>
                </a:lnTo>
                <a:lnTo>
                  <a:pt x="3499770" y="234081"/>
                </a:lnTo>
                <a:lnTo>
                  <a:pt x="3499770" y="235163"/>
                </a:lnTo>
                <a:lnTo>
                  <a:pt x="3499119" y="238412"/>
                </a:lnTo>
                <a:lnTo>
                  <a:pt x="3500313" y="238412"/>
                </a:lnTo>
                <a:lnTo>
                  <a:pt x="3503677" y="235705"/>
                </a:lnTo>
                <a:lnTo>
                  <a:pt x="3503677" y="231915"/>
                </a:lnTo>
                <a:lnTo>
                  <a:pt x="3506390" y="227368"/>
                </a:lnTo>
                <a:lnTo>
                  <a:pt x="3509102" y="227368"/>
                </a:lnTo>
                <a:lnTo>
                  <a:pt x="3513552" y="228126"/>
                </a:lnTo>
                <a:lnTo>
                  <a:pt x="3516265" y="228992"/>
                </a:lnTo>
                <a:lnTo>
                  <a:pt x="3521365" y="227909"/>
                </a:lnTo>
                <a:lnTo>
                  <a:pt x="3527442" y="227909"/>
                </a:lnTo>
                <a:lnTo>
                  <a:pt x="3531674" y="230183"/>
                </a:lnTo>
                <a:lnTo>
                  <a:pt x="3536992" y="230941"/>
                </a:lnTo>
                <a:lnTo>
                  <a:pt x="3547843" y="229749"/>
                </a:lnTo>
                <a:lnTo>
                  <a:pt x="3551424" y="230616"/>
                </a:lnTo>
                <a:lnTo>
                  <a:pt x="3556199" y="232890"/>
                </a:lnTo>
                <a:lnTo>
                  <a:pt x="3563578" y="234623"/>
                </a:lnTo>
                <a:lnTo>
                  <a:pt x="3572477" y="234623"/>
                </a:lnTo>
                <a:lnTo>
                  <a:pt x="3576383" y="234623"/>
                </a:lnTo>
                <a:lnTo>
                  <a:pt x="3576383" y="237004"/>
                </a:lnTo>
                <a:lnTo>
                  <a:pt x="3578011" y="238737"/>
                </a:lnTo>
                <a:lnTo>
                  <a:pt x="3577360" y="241226"/>
                </a:lnTo>
                <a:lnTo>
                  <a:pt x="3574213" y="243500"/>
                </a:lnTo>
                <a:lnTo>
                  <a:pt x="3573562" y="247073"/>
                </a:lnTo>
                <a:lnTo>
                  <a:pt x="3570957" y="251837"/>
                </a:lnTo>
                <a:lnTo>
                  <a:pt x="3568244" y="252920"/>
                </a:lnTo>
                <a:lnTo>
                  <a:pt x="3556850" y="254436"/>
                </a:lnTo>
                <a:lnTo>
                  <a:pt x="3551533" y="256601"/>
                </a:lnTo>
                <a:lnTo>
                  <a:pt x="3549362" y="256601"/>
                </a:lnTo>
                <a:lnTo>
                  <a:pt x="3547518" y="255627"/>
                </a:lnTo>
                <a:lnTo>
                  <a:pt x="3546432" y="255627"/>
                </a:lnTo>
                <a:lnTo>
                  <a:pt x="3545131" y="259091"/>
                </a:lnTo>
                <a:lnTo>
                  <a:pt x="3545131" y="262123"/>
                </a:lnTo>
                <a:lnTo>
                  <a:pt x="3544045" y="265696"/>
                </a:lnTo>
                <a:lnTo>
                  <a:pt x="3544045" y="268403"/>
                </a:lnTo>
                <a:lnTo>
                  <a:pt x="3545890" y="269053"/>
                </a:lnTo>
                <a:lnTo>
                  <a:pt x="3551099" y="267103"/>
                </a:lnTo>
                <a:lnTo>
                  <a:pt x="3557718" y="265587"/>
                </a:lnTo>
                <a:lnTo>
                  <a:pt x="3562167" y="263530"/>
                </a:lnTo>
                <a:lnTo>
                  <a:pt x="3570415" y="263530"/>
                </a:lnTo>
                <a:lnTo>
                  <a:pt x="3578445" y="266237"/>
                </a:lnTo>
                <a:lnTo>
                  <a:pt x="3581158" y="266237"/>
                </a:lnTo>
                <a:lnTo>
                  <a:pt x="3584739" y="268511"/>
                </a:lnTo>
                <a:lnTo>
                  <a:pt x="3586584" y="266995"/>
                </a:lnTo>
                <a:lnTo>
                  <a:pt x="3588429" y="264613"/>
                </a:lnTo>
                <a:lnTo>
                  <a:pt x="3589730" y="264613"/>
                </a:lnTo>
                <a:lnTo>
                  <a:pt x="3592443" y="265371"/>
                </a:lnTo>
                <a:lnTo>
                  <a:pt x="3594831" y="267428"/>
                </a:lnTo>
                <a:lnTo>
                  <a:pt x="3598955" y="262231"/>
                </a:lnTo>
                <a:lnTo>
                  <a:pt x="3600800" y="255627"/>
                </a:lnTo>
                <a:lnTo>
                  <a:pt x="3600800" y="249022"/>
                </a:lnTo>
                <a:lnTo>
                  <a:pt x="3602101" y="246424"/>
                </a:lnTo>
                <a:lnTo>
                  <a:pt x="3601233" y="244475"/>
                </a:lnTo>
                <a:lnTo>
                  <a:pt x="3601884" y="240902"/>
                </a:lnTo>
                <a:lnTo>
                  <a:pt x="3605357" y="238737"/>
                </a:lnTo>
                <a:lnTo>
                  <a:pt x="3610566" y="238737"/>
                </a:lnTo>
                <a:lnTo>
                  <a:pt x="3615992" y="240361"/>
                </a:lnTo>
                <a:lnTo>
                  <a:pt x="3622069" y="240361"/>
                </a:lnTo>
                <a:lnTo>
                  <a:pt x="3627169" y="239277"/>
                </a:lnTo>
                <a:lnTo>
                  <a:pt x="3630316" y="240143"/>
                </a:lnTo>
                <a:lnTo>
                  <a:pt x="3631292" y="244583"/>
                </a:lnTo>
                <a:lnTo>
                  <a:pt x="3631292" y="252486"/>
                </a:lnTo>
                <a:lnTo>
                  <a:pt x="3631292" y="258117"/>
                </a:lnTo>
                <a:lnTo>
                  <a:pt x="3627060" y="263422"/>
                </a:lnTo>
                <a:lnTo>
                  <a:pt x="3623479" y="270893"/>
                </a:lnTo>
                <a:lnTo>
                  <a:pt x="3622503" y="276523"/>
                </a:lnTo>
                <a:lnTo>
                  <a:pt x="3620441" y="280637"/>
                </a:lnTo>
                <a:lnTo>
                  <a:pt x="3606985" y="292655"/>
                </a:lnTo>
                <a:lnTo>
                  <a:pt x="3604272" y="292655"/>
                </a:lnTo>
                <a:lnTo>
                  <a:pt x="3603078" y="291789"/>
                </a:lnTo>
                <a:lnTo>
                  <a:pt x="3599280" y="293305"/>
                </a:lnTo>
                <a:lnTo>
                  <a:pt x="3596350" y="296552"/>
                </a:lnTo>
                <a:lnTo>
                  <a:pt x="3593420" y="295146"/>
                </a:lnTo>
                <a:lnTo>
                  <a:pt x="3591683" y="295795"/>
                </a:lnTo>
                <a:lnTo>
                  <a:pt x="3588429" y="300992"/>
                </a:lnTo>
                <a:lnTo>
                  <a:pt x="3588429" y="304240"/>
                </a:lnTo>
                <a:lnTo>
                  <a:pt x="3584522" y="306081"/>
                </a:lnTo>
                <a:lnTo>
                  <a:pt x="3581592" y="309546"/>
                </a:lnTo>
                <a:lnTo>
                  <a:pt x="3578988" y="308895"/>
                </a:lnTo>
                <a:lnTo>
                  <a:pt x="3578119" y="307380"/>
                </a:lnTo>
                <a:lnTo>
                  <a:pt x="3576709" y="309654"/>
                </a:lnTo>
                <a:lnTo>
                  <a:pt x="3577360" y="312577"/>
                </a:lnTo>
                <a:lnTo>
                  <a:pt x="3575623" y="316042"/>
                </a:lnTo>
                <a:lnTo>
                  <a:pt x="3571500" y="322104"/>
                </a:lnTo>
                <a:lnTo>
                  <a:pt x="3567376" y="324486"/>
                </a:lnTo>
                <a:lnTo>
                  <a:pt x="3565640" y="327626"/>
                </a:lnTo>
                <a:lnTo>
                  <a:pt x="3559238" y="333148"/>
                </a:lnTo>
                <a:lnTo>
                  <a:pt x="3554572" y="337479"/>
                </a:lnTo>
                <a:lnTo>
                  <a:pt x="3551099" y="338346"/>
                </a:lnTo>
                <a:lnTo>
                  <a:pt x="3545239" y="342784"/>
                </a:lnTo>
                <a:lnTo>
                  <a:pt x="3544262" y="345058"/>
                </a:lnTo>
                <a:lnTo>
                  <a:pt x="3540464" y="345058"/>
                </a:lnTo>
                <a:lnTo>
                  <a:pt x="3540464" y="349172"/>
                </a:lnTo>
                <a:lnTo>
                  <a:pt x="3540464" y="353070"/>
                </a:lnTo>
                <a:lnTo>
                  <a:pt x="3538402" y="358268"/>
                </a:lnTo>
                <a:lnTo>
                  <a:pt x="3539488" y="360541"/>
                </a:lnTo>
                <a:lnTo>
                  <a:pt x="3540898" y="358159"/>
                </a:lnTo>
                <a:lnTo>
                  <a:pt x="3541766" y="354694"/>
                </a:lnTo>
                <a:lnTo>
                  <a:pt x="3546215" y="349497"/>
                </a:lnTo>
                <a:lnTo>
                  <a:pt x="3549471" y="344517"/>
                </a:lnTo>
                <a:lnTo>
                  <a:pt x="3554137" y="341377"/>
                </a:lnTo>
                <a:lnTo>
                  <a:pt x="3555657" y="341377"/>
                </a:lnTo>
                <a:lnTo>
                  <a:pt x="3556850" y="343218"/>
                </a:lnTo>
                <a:lnTo>
                  <a:pt x="3560648" y="338778"/>
                </a:lnTo>
                <a:lnTo>
                  <a:pt x="3568896" y="332390"/>
                </a:lnTo>
                <a:lnTo>
                  <a:pt x="3571500" y="331741"/>
                </a:lnTo>
                <a:lnTo>
                  <a:pt x="3572151" y="327735"/>
                </a:lnTo>
                <a:lnTo>
                  <a:pt x="3580290" y="321239"/>
                </a:lnTo>
                <a:lnTo>
                  <a:pt x="3587017" y="315608"/>
                </a:lnTo>
                <a:lnTo>
                  <a:pt x="3590490" y="313876"/>
                </a:lnTo>
                <a:lnTo>
                  <a:pt x="3593203" y="314525"/>
                </a:lnTo>
                <a:lnTo>
                  <a:pt x="3597544" y="314525"/>
                </a:lnTo>
                <a:lnTo>
                  <a:pt x="3600474" y="311927"/>
                </a:lnTo>
                <a:lnTo>
                  <a:pt x="3600474" y="309654"/>
                </a:lnTo>
                <a:lnTo>
                  <a:pt x="3605249" y="309654"/>
                </a:lnTo>
                <a:lnTo>
                  <a:pt x="3611760" y="309654"/>
                </a:lnTo>
                <a:lnTo>
                  <a:pt x="3618162" y="306189"/>
                </a:lnTo>
                <a:lnTo>
                  <a:pt x="3622286" y="301858"/>
                </a:lnTo>
                <a:lnTo>
                  <a:pt x="3626300" y="301858"/>
                </a:lnTo>
                <a:lnTo>
                  <a:pt x="3630207" y="298935"/>
                </a:lnTo>
                <a:lnTo>
                  <a:pt x="3632812" y="296552"/>
                </a:lnTo>
                <a:lnTo>
                  <a:pt x="3636067" y="296552"/>
                </a:lnTo>
                <a:lnTo>
                  <a:pt x="3639323" y="293088"/>
                </a:lnTo>
                <a:lnTo>
                  <a:pt x="3645725" y="287024"/>
                </a:lnTo>
                <a:lnTo>
                  <a:pt x="3647244" y="282261"/>
                </a:lnTo>
                <a:lnTo>
                  <a:pt x="3647244" y="279121"/>
                </a:lnTo>
                <a:lnTo>
                  <a:pt x="3649957" y="275982"/>
                </a:lnTo>
                <a:lnTo>
                  <a:pt x="3651477" y="273599"/>
                </a:lnTo>
                <a:lnTo>
                  <a:pt x="3653864" y="272084"/>
                </a:lnTo>
                <a:lnTo>
                  <a:pt x="3653864" y="274899"/>
                </a:lnTo>
                <a:lnTo>
                  <a:pt x="3655709" y="278147"/>
                </a:lnTo>
                <a:lnTo>
                  <a:pt x="3655709" y="281396"/>
                </a:lnTo>
                <a:lnTo>
                  <a:pt x="3654732" y="284643"/>
                </a:lnTo>
                <a:lnTo>
                  <a:pt x="3656576" y="287675"/>
                </a:lnTo>
                <a:lnTo>
                  <a:pt x="3657444" y="292871"/>
                </a:lnTo>
                <a:lnTo>
                  <a:pt x="3656360" y="294929"/>
                </a:lnTo>
                <a:lnTo>
                  <a:pt x="3656360" y="297853"/>
                </a:lnTo>
                <a:lnTo>
                  <a:pt x="3657771" y="295470"/>
                </a:lnTo>
                <a:lnTo>
                  <a:pt x="3659181" y="291572"/>
                </a:lnTo>
                <a:lnTo>
                  <a:pt x="3661026" y="288324"/>
                </a:lnTo>
                <a:lnTo>
                  <a:pt x="3659941" y="286809"/>
                </a:lnTo>
                <a:lnTo>
                  <a:pt x="3659941" y="282911"/>
                </a:lnTo>
                <a:lnTo>
                  <a:pt x="3661786" y="280854"/>
                </a:lnTo>
                <a:lnTo>
                  <a:pt x="3663739" y="281936"/>
                </a:lnTo>
                <a:lnTo>
                  <a:pt x="3663739" y="285185"/>
                </a:lnTo>
                <a:lnTo>
                  <a:pt x="3666343" y="287891"/>
                </a:lnTo>
                <a:lnTo>
                  <a:pt x="3670467" y="287891"/>
                </a:lnTo>
                <a:lnTo>
                  <a:pt x="3675133" y="285834"/>
                </a:lnTo>
                <a:lnTo>
                  <a:pt x="3676218" y="283127"/>
                </a:lnTo>
                <a:lnTo>
                  <a:pt x="3674808" y="281179"/>
                </a:lnTo>
                <a:lnTo>
                  <a:pt x="3674808" y="278797"/>
                </a:lnTo>
                <a:lnTo>
                  <a:pt x="3677195" y="278797"/>
                </a:lnTo>
                <a:lnTo>
                  <a:pt x="3678931" y="275656"/>
                </a:lnTo>
                <a:lnTo>
                  <a:pt x="3678931" y="271001"/>
                </a:lnTo>
                <a:lnTo>
                  <a:pt x="3678280" y="267428"/>
                </a:lnTo>
                <a:lnTo>
                  <a:pt x="3679691" y="264613"/>
                </a:lnTo>
                <a:lnTo>
                  <a:pt x="3682404" y="263855"/>
                </a:lnTo>
                <a:lnTo>
                  <a:pt x="3683489" y="265804"/>
                </a:lnTo>
                <a:lnTo>
                  <a:pt x="3687830" y="267861"/>
                </a:lnTo>
                <a:lnTo>
                  <a:pt x="3692496" y="265912"/>
                </a:lnTo>
                <a:lnTo>
                  <a:pt x="3694774" y="263206"/>
                </a:lnTo>
                <a:lnTo>
                  <a:pt x="3701178" y="261040"/>
                </a:lnTo>
                <a:lnTo>
                  <a:pt x="3706820" y="261040"/>
                </a:lnTo>
                <a:lnTo>
                  <a:pt x="3709533" y="260066"/>
                </a:lnTo>
                <a:lnTo>
                  <a:pt x="3715176" y="261474"/>
                </a:lnTo>
                <a:lnTo>
                  <a:pt x="3721361" y="264505"/>
                </a:lnTo>
                <a:lnTo>
                  <a:pt x="3727981" y="266670"/>
                </a:lnTo>
                <a:lnTo>
                  <a:pt x="3732864" y="266670"/>
                </a:lnTo>
                <a:lnTo>
                  <a:pt x="3736879" y="268618"/>
                </a:lnTo>
                <a:lnTo>
                  <a:pt x="3739592" y="271651"/>
                </a:lnTo>
                <a:lnTo>
                  <a:pt x="3742197" y="271651"/>
                </a:lnTo>
                <a:lnTo>
                  <a:pt x="3746863" y="273708"/>
                </a:lnTo>
                <a:lnTo>
                  <a:pt x="3748599" y="277389"/>
                </a:lnTo>
                <a:lnTo>
                  <a:pt x="3748599" y="279879"/>
                </a:lnTo>
                <a:lnTo>
                  <a:pt x="3755544" y="285726"/>
                </a:lnTo>
                <a:lnTo>
                  <a:pt x="3756738" y="288541"/>
                </a:lnTo>
                <a:lnTo>
                  <a:pt x="3759993" y="291789"/>
                </a:lnTo>
                <a:lnTo>
                  <a:pt x="3762055" y="298502"/>
                </a:lnTo>
                <a:lnTo>
                  <a:pt x="3762055" y="303590"/>
                </a:lnTo>
                <a:lnTo>
                  <a:pt x="3760210" y="306621"/>
                </a:lnTo>
                <a:lnTo>
                  <a:pt x="3755653" y="308354"/>
                </a:lnTo>
                <a:lnTo>
                  <a:pt x="3751746" y="311385"/>
                </a:lnTo>
                <a:lnTo>
                  <a:pt x="3750443" y="313660"/>
                </a:lnTo>
                <a:lnTo>
                  <a:pt x="3747731" y="314742"/>
                </a:lnTo>
                <a:lnTo>
                  <a:pt x="3743716" y="317558"/>
                </a:lnTo>
                <a:lnTo>
                  <a:pt x="3738832" y="324379"/>
                </a:lnTo>
                <a:lnTo>
                  <a:pt x="3736554" y="327626"/>
                </a:lnTo>
                <a:lnTo>
                  <a:pt x="3734709" y="328385"/>
                </a:lnTo>
                <a:lnTo>
                  <a:pt x="3731345" y="327301"/>
                </a:lnTo>
                <a:lnTo>
                  <a:pt x="3724834" y="323295"/>
                </a:lnTo>
                <a:lnTo>
                  <a:pt x="3722229" y="323295"/>
                </a:lnTo>
                <a:lnTo>
                  <a:pt x="3718866" y="325894"/>
                </a:lnTo>
                <a:lnTo>
                  <a:pt x="3716478" y="330008"/>
                </a:lnTo>
                <a:lnTo>
                  <a:pt x="3716478" y="331849"/>
                </a:lnTo>
                <a:lnTo>
                  <a:pt x="3717998" y="333148"/>
                </a:lnTo>
                <a:lnTo>
                  <a:pt x="3717998" y="335639"/>
                </a:lnTo>
                <a:lnTo>
                  <a:pt x="3720602" y="339320"/>
                </a:lnTo>
                <a:lnTo>
                  <a:pt x="3722229" y="340619"/>
                </a:lnTo>
                <a:lnTo>
                  <a:pt x="3722229" y="343325"/>
                </a:lnTo>
                <a:lnTo>
                  <a:pt x="3720711" y="346141"/>
                </a:lnTo>
                <a:lnTo>
                  <a:pt x="3717238" y="346141"/>
                </a:lnTo>
                <a:lnTo>
                  <a:pt x="3714416" y="346141"/>
                </a:lnTo>
                <a:lnTo>
                  <a:pt x="3707254" y="349821"/>
                </a:lnTo>
                <a:lnTo>
                  <a:pt x="3702914" y="353070"/>
                </a:lnTo>
                <a:lnTo>
                  <a:pt x="3699007" y="353070"/>
                </a:lnTo>
                <a:lnTo>
                  <a:pt x="3695860" y="353070"/>
                </a:lnTo>
                <a:lnTo>
                  <a:pt x="3693147" y="351121"/>
                </a:lnTo>
                <a:lnTo>
                  <a:pt x="3689348" y="349605"/>
                </a:lnTo>
                <a:lnTo>
                  <a:pt x="3685334" y="349605"/>
                </a:lnTo>
                <a:lnTo>
                  <a:pt x="3683381" y="348306"/>
                </a:lnTo>
                <a:lnTo>
                  <a:pt x="3680668" y="347656"/>
                </a:lnTo>
                <a:lnTo>
                  <a:pt x="3680016" y="346682"/>
                </a:lnTo>
                <a:lnTo>
                  <a:pt x="3677846" y="346682"/>
                </a:lnTo>
                <a:lnTo>
                  <a:pt x="3676327" y="347332"/>
                </a:lnTo>
                <a:lnTo>
                  <a:pt x="3675459" y="349281"/>
                </a:lnTo>
                <a:lnTo>
                  <a:pt x="3673614" y="349281"/>
                </a:lnTo>
                <a:lnTo>
                  <a:pt x="3670793" y="348739"/>
                </a:lnTo>
                <a:lnTo>
                  <a:pt x="3669165" y="349713"/>
                </a:lnTo>
                <a:lnTo>
                  <a:pt x="3667103" y="352312"/>
                </a:lnTo>
                <a:lnTo>
                  <a:pt x="3665584" y="352312"/>
                </a:lnTo>
                <a:lnTo>
                  <a:pt x="3663196" y="352312"/>
                </a:lnTo>
                <a:lnTo>
                  <a:pt x="3660809" y="353936"/>
                </a:lnTo>
                <a:lnTo>
                  <a:pt x="3658460" y="354752"/>
                </a:lnTo>
                <a:lnTo>
                  <a:pt x="3656794" y="353828"/>
                </a:lnTo>
                <a:lnTo>
                  <a:pt x="3653484" y="353828"/>
                </a:lnTo>
                <a:lnTo>
                  <a:pt x="3650500" y="352637"/>
                </a:lnTo>
                <a:lnTo>
                  <a:pt x="3645400" y="353719"/>
                </a:lnTo>
                <a:lnTo>
                  <a:pt x="3641384" y="354586"/>
                </a:lnTo>
                <a:lnTo>
                  <a:pt x="3637370" y="353719"/>
                </a:lnTo>
                <a:lnTo>
                  <a:pt x="3633463" y="353719"/>
                </a:lnTo>
                <a:lnTo>
                  <a:pt x="3637478" y="355344"/>
                </a:lnTo>
                <a:lnTo>
                  <a:pt x="3640951" y="355344"/>
                </a:lnTo>
                <a:lnTo>
                  <a:pt x="3650283" y="355344"/>
                </a:lnTo>
                <a:lnTo>
                  <a:pt x="3653213" y="353828"/>
                </a:lnTo>
                <a:lnTo>
                  <a:pt x="3653484" y="353828"/>
                </a:lnTo>
                <a:lnTo>
                  <a:pt x="3654298" y="354152"/>
                </a:lnTo>
                <a:lnTo>
                  <a:pt x="3658313" y="354802"/>
                </a:lnTo>
                <a:lnTo>
                  <a:pt x="3658460" y="354752"/>
                </a:lnTo>
                <a:lnTo>
                  <a:pt x="3660701" y="355994"/>
                </a:lnTo>
                <a:lnTo>
                  <a:pt x="3666018" y="357184"/>
                </a:lnTo>
                <a:lnTo>
                  <a:pt x="3675676" y="357184"/>
                </a:lnTo>
                <a:lnTo>
                  <a:pt x="3678931" y="359891"/>
                </a:lnTo>
                <a:lnTo>
                  <a:pt x="3680776" y="359891"/>
                </a:lnTo>
                <a:lnTo>
                  <a:pt x="3683489" y="357076"/>
                </a:lnTo>
                <a:lnTo>
                  <a:pt x="3687179" y="357076"/>
                </a:lnTo>
                <a:lnTo>
                  <a:pt x="3689783" y="358159"/>
                </a:lnTo>
                <a:lnTo>
                  <a:pt x="3691411" y="360649"/>
                </a:lnTo>
                <a:lnTo>
                  <a:pt x="3695752" y="362057"/>
                </a:lnTo>
                <a:lnTo>
                  <a:pt x="3698030" y="365196"/>
                </a:lnTo>
                <a:lnTo>
                  <a:pt x="3698030" y="368337"/>
                </a:lnTo>
                <a:lnTo>
                  <a:pt x="3694449" y="371909"/>
                </a:lnTo>
                <a:lnTo>
                  <a:pt x="3690760" y="372559"/>
                </a:lnTo>
                <a:lnTo>
                  <a:pt x="3688915" y="372559"/>
                </a:lnTo>
                <a:lnTo>
                  <a:pt x="3689892" y="374832"/>
                </a:lnTo>
                <a:lnTo>
                  <a:pt x="3689892" y="378405"/>
                </a:lnTo>
                <a:lnTo>
                  <a:pt x="3685876" y="380896"/>
                </a:lnTo>
                <a:lnTo>
                  <a:pt x="3677195" y="383169"/>
                </a:lnTo>
                <a:lnTo>
                  <a:pt x="3673180" y="382194"/>
                </a:lnTo>
                <a:lnTo>
                  <a:pt x="3668730" y="383495"/>
                </a:lnTo>
                <a:lnTo>
                  <a:pt x="3660158" y="383495"/>
                </a:lnTo>
                <a:lnTo>
                  <a:pt x="3657336" y="380788"/>
                </a:lnTo>
                <a:lnTo>
                  <a:pt x="3648112" y="373749"/>
                </a:lnTo>
                <a:lnTo>
                  <a:pt x="3642144" y="373100"/>
                </a:lnTo>
                <a:lnTo>
                  <a:pt x="3638671" y="373100"/>
                </a:lnTo>
                <a:lnTo>
                  <a:pt x="3634657" y="376240"/>
                </a:lnTo>
                <a:lnTo>
                  <a:pt x="3631727" y="381979"/>
                </a:lnTo>
                <a:lnTo>
                  <a:pt x="3626952" y="384794"/>
                </a:lnTo>
                <a:lnTo>
                  <a:pt x="3624999" y="387284"/>
                </a:lnTo>
                <a:lnTo>
                  <a:pt x="3621743" y="387933"/>
                </a:lnTo>
                <a:lnTo>
                  <a:pt x="3624131" y="389232"/>
                </a:lnTo>
                <a:lnTo>
                  <a:pt x="3627386" y="389232"/>
                </a:lnTo>
                <a:lnTo>
                  <a:pt x="3628362" y="391722"/>
                </a:lnTo>
                <a:lnTo>
                  <a:pt x="3628362" y="395620"/>
                </a:lnTo>
                <a:lnTo>
                  <a:pt x="3626626" y="397028"/>
                </a:lnTo>
                <a:lnTo>
                  <a:pt x="3623587" y="397028"/>
                </a:lnTo>
                <a:lnTo>
                  <a:pt x="3623587" y="400384"/>
                </a:lnTo>
                <a:lnTo>
                  <a:pt x="3625432" y="402766"/>
                </a:lnTo>
                <a:lnTo>
                  <a:pt x="3629665" y="404498"/>
                </a:lnTo>
                <a:lnTo>
                  <a:pt x="3632052" y="403741"/>
                </a:lnTo>
                <a:lnTo>
                  <a:pt x="3633246" y="401467"/>
                </a:lnTo>
                <a:lnTo>
                  <a:pt x="3638129" y="398761"/>
                </a:lnTo>
                <a:lnTo>
                  <a:pt x="3641276" y="394754"/>
                </a:lnTo>
                <a:lnTo>
                  <a:pt x="3646593" y="392372"/>
                </a:lnTo>
                <a:lnTo>
                  <a:pt x="3653430" y="390531"/>
                </a:lnTo>
                <a:lnTo>
                  <a:pt x="3659616" y="388474"/>
                </a:lnTo>
                <a:lnTo>
                  <a:pt x="3663196" y="387825"/>
                </a:lnTo>
                <a:lnTo>
                  <a:pt x="3665258" y="389557"/>
                </a:lnTo>
                <a:lnTo>
                  <a:pt x="3667212" y="391181"/>
                </a:lnTo>
                <a:lnTo>
                  <a:pt x="3671660" y="392372"/>
                </a:lnTo>
                <a:lnTo>
                  <a:pt x="3674591" y="394863"/>
                </a:lnTo>
                <a:lnTo>
                  <a:pt x="3675133" y="396702"/>
                </a:lnTo>
                <a:lnTo>
                  <a:pt x="3673723" y="398219"/>
                </a:lnTo>
                <a:lnTo>
                  <a:pt x="3668405" y="402874"/>
                </a:lnTo>
                <a:lnTo>
                  <a:pt x="3665801" y="408396"/>
                </a:lnTo>
                <a:lnTo>
                  <a:pt x="3662437" y="412077"/>
                </a:lnTo>
                <a:lnTo>
                  <a:pt x="3660809" y="416084"/>
                </a:lnTo>
                <a:lnTo>
                  <a:pt x="3654081" y="421172"/>
                </a:lnTo>
                <a:lnTo>
                  <a:pt x="3650283" y="427344"/>
                </a:lnTo>
                <a:lnTo>
                  <a:pt x="3642687" y="438170"/>
                </a:lnTo>
                <a:lnTo>
                  <a:pt x="3639539" y="443151"/>
                </a:lnTo>
                <a:lnTo>
                  <a:pt x="3636285" y="446291"/>
                </a:lnTo>
                <a:lnTo>
                  <a:pt x="3636285" y="452462"/>
                </a:lnTo>
                <a:lnTo>
                  <a:pt x="3634765" y="457443"/>
                </a:lnTo>
                <a:lnTo>
                  <a:pt x="3634765" y="460475"/>
                </a:lnTo>
                <a:lnTo>
                  <a:pt x="3631618" y="463939"/>
                </a:lnTo>
                <a:lnTo>
                  <a:pt x="3631618" y="470111"/>
                </a:lnTo>
                <a:lnTo>
                  <a:pt x="3629556" y="476823"/>
                </a:lnTo>
                <a:lnTo>
                  <a:pt x="3627277" y="485052"/>
                </a:lnTo>
                <a:lnTo>
                  <a:pt x="3629339" y="488083"/>
                </a:lnTo>
                <a:lnTo>
                  <a:pt x="3629990" y="492847"/>
                </a:lnTo>
                <a:lnTo>
                  <a:pt x="3628797" y="499561"/>
                </a:lnTo>
                <a:lnTo>
                  <a:pt x="3625324" y="501942"/>
                </a:lnTo>
                <a:lnTo>
                  <a:pt x="3622611" y="504866"/>
                </a:lnTo>
                <a:lnTo>
                  <a:pt x="3623696" y="510279"/>
                </a:lnTo>
                <a:lnTo>
                  <a:pt x="3622937" y="512769"/>
                </a:lnTo>
                <a:lnTo>
                  <a:pt x="3620549" y="516125"/>
                </a:lnTo>
                <a:lnTo>
                  <a:pt x="3619898" y="521647"/>
                </a:lnTo>
                <a:lnTo>
                  <a:pt x="3618053" y="526952"/>
                </a:lnTo>
                <a:lnTo>
                  <a:pt x="3614038" y="530417"/>
                </a:lnTo>
                <a:lnTo>
                  <a:pt x="3610892" y="529768"/>
                </a:lnTo>
                <a:lnTo>
                  <a:pt x="3609915" y="526952"/>
                </a:lnTo>
                <a:lnTo>
                  <a:pt x="3609915" y="523812"/>
                </a:lnTo>
                <a:lnTo>
                  <a:pt x="3607094" y="521864"/>
                </a:lnTo>
                <a:lnTo>
                  <a:pt x="3605249" y="521864"/>
                </a:lnTo>
                <a:lnTo>
                  <a:pt x="3608721" y="519482"/>
                </a:lnTo>
                <a:lnTo>
                  <a:pt x="3606985" y="517425"/>
                </a:lnTo>
                <a:lnTo>
                  <a:pt x="3604055" y="516342"/>
                </a:lnTo>
                <a:lnTo>
                  <a:pt x="3601776" y="517750"/>
                </a:lnTo>
                <a:lnTo>
                  <a:pt x="3599171" y="517750"/>
                </a:lnTo>
                <a:lnTo>
                  <a:pt x="3597327" y="519699"/>
                </a:lnTo>
                <a:lnTo>
                  <a:pt x="3597327" y="521647"/>
                </a:lnTo>
                <a:lnTo>
                  <a:pt x="3598846" y="522730"/>
                </a:lnTo>
                <a:lnTo>
                  <a:pt x="3598846" y="525329"/>
                </a:lnTo>
                <a:lnTo>
                  <a:pt x="3596893" y="526952"/>
                </a:lnTo>
                <a:lnTo>
                  <a:pt x="3596893" y="528684"/>
                </a:lnTo>
                <a:lnTo>
                  <a:pt x="3599606" y="531392"/>
                </a:lnTo>
                <a:lnTo>
                  <a:pt x="3602753" y="532799"/>
                </a:lnTo>
                <a:lnTo>
                  <a:pt x="3605249" y="536047"/>
                </a:lnTo>
                <a:lnTo>
                  <a:pt x="3607635" y="538970"/>
                </a:lnTo>
                <a:lnTo>
                  <a:pt x="3609047" y="544384"/>
                </a:lnTo>
                <a:lnTo>
                  <a:pt x="3613387" y="545900"/>
                </a:lnTo>
                <a:lnTo>
                  <a:pt x="3617185" y="547740"/>
                </a:lnTo>
                <a:lnTo>
                  <a:pt x="3621960" y="552180"/>
                </a:lnTo>
                <a:lnTo>
                  <a:pt x="3624131" y="558027"/>
                </a:lnTo>
                <a:lnTo>
                  <a:pt x="3622503" y="560516"/>
                </a:lnTo>
                <a:lnTo>
                  <a:pt x="3619790" y="561166"/>
                </a:lnTo>
                <a:lnTo>
                  <a:pt x="3616208" y="558784"/>
                </a:lnTo>
                <a:lnTo>
                  <a:pt x="3611217" y="553587"/>
                </a:lnTo>
                <a:lnTo>
                  <a:pt x="3610566" y="551097"/>
                </a:lnTo>
                <a:lnTo>
                  <a:pt x="3607962" y="550230"/>
                </a:lnTo>
                <a:lnTo>
                  <a:pt x="3606442" y="548715"/>
                </a:lnTo>
                <a:lnTo>
                  <a:pt x="3604597" y="550230"/>
                </a:lnTo>
                <a:lnTo>
                  <a:pt x="3603838" y="552071"/>
                </a:lnTo>
                <a:lnTo>
                  <a:pt x="3604814" y="555211"/>
                </a:lnTo>
                <a:lnTo>
                  <a:pt x="3606876" y="558351"/>
                </a:lnTo>
                <a:lnTo>
                  <a:pt x="3606876" y="560516"/>
                </a:lnTo>
                <a:lnTo>
                  <a:pt x="3603621" y="559867"/>
                </a:lnTo>
                <a:lnTo>
                  <a:pt x="3602536" y="559217"/>
                </a:lnTo>
                <a:lnTo>
                  <a:pt x="3601451" y="560733"/>
                </a:lnTo>
                <a:lnTo>
                  <a:pt x="3602753" y="562573"/>
                </a:lnTo>
                <a:lnTo>
                  <a:pt x="3605899" y="564631"/>
                </a:lnTo>
                <a:lnTo>
                  <a:pt x="3605899" y="566147"/>
                </a:lnTo>
                <a:lnTo>
                  <a:pt x="3604163" y="567121"/>
                </a:lnTo>
                <a:lnTo>
                  <a:pt x="3605682" y="568745"/>
                </a:lnTo>
                <a:lnTo>
                  <a:pt x="3608504" y="568745"/>
                </a:lnTo>
                <a:lnTo>
                  <a:pt x="3612845" y="570261"/>
                </a:lnTo>
                <a:lnTo>
                  <a:pt x="3613713" y="572210"/>
                </a:lnTo>
                <a:lnTo>
                  <a:pt x="3613713" y="575674"/>
                </a:lnTo>
                <a:lnTo>
                  <a:pt x="3613062" y="577406"/>
                </a:lnTo>
                <a:lnTo>
                  <a:pt x="3614798" y="579030"/>
                </a:lnTo>
                <a:lnTo>
                  <a:pt x="3617511" y="577948"/>
                </a:lnTo>
                <a:lnTo>
                  <a:pt x="3621743" y="573400"/>
                </a:lnTo>
                <a:lnTo>
                  <a:pt x="3623696" y="570261"/>
                </a:lnTo>
                <a:lnTo>
                  <a:pt x="3626735" y="569719"/>
                </a:lnTo>
                <a:lnTo>
                  <a:pt x="3626735" y="571559"/>
                </a:lnTo>
                <a:lnTo>
                  <a:pt x="3628037" y="573509"/>
                </a:lnTo>
                <a:lnTo>
                  <a:pt x="3629882" y="573509"/>
                </a:lnTo>
                <a:lnTo>
                  <a:pt x="3632595" y="575782"/>
                </a:lnTo>
                <a:lnTo>
                  <a:pt x="3636285" y="577406"/>
                </a:lnTo>
                <a:lnTo>
                  <a:pt x="3637478" y="581196"/>
                </a:lnTo>
                <a:lnTo>
                  <a:pt x="3637478" y="584444"/>
                </a:lnTo>
                <a:lnTo>
                  <a:pt x="3635958" y="586285"/>
                </a:lnTo>
                <a:lnTo>
                  <a:pt x="3635416" y="592565"/>
                </a:lnTo>
                <a:lnTo>
                  <a:pt x="3634223" y="598087"/>
                </a:lnTo>
                <a:lnTo>
                  <a:pt x="3634223" y="600360"/>
                </a:lnTo>
                <a:lnTo>
                  <a:pt x="3632378" y="606532"/>
                </a:lnTo>
                <a:lnTo>
                  <a:pt x="3630099" y="609455"/>
                </a:lnTo>
                <a:lnTo>
                  <a:pt x="3629448" y="613569"/>
                </a:lnTo>
                <a:lnTo>
                  <a:pt x="3628471" y="615626"/>
                </a:lnTo>
                <a:lnTo>
                  <a:pt x="3626952" y="614543"/>
                </a:lnTo>
                <a:lnTo>
                  <a:pt x="3624673" y="610970"/>
                </a:lnTo>
                <a:lnTo>
                  <a:pt x="3619790" y="609238"/>
                </a:lnTo>
                <a:lnTo>
                  <a:pt x="3617511" y="606207"/>
                </a:lnTo>
                <a:lnTo>
                  <a:pt x="3615340" y="605449"/>
                </a:lnTo>
                <a:lnTo>
                  <a:pt x="3613821" y="606098"/>
                </a:lnTo>
                <a:lnTo>
                  <a:pt x="3610132" y="605232"/>
                </a:lnTo>
                <a:lnTo>
                  <a:pt x="3609264" y="603283"/>
                </a:lnTo>
                <a:lnTo>
                  <a:pt x="3610023" y="600143"/>
                </a:lnTo>
                <a:lnTo>
                  <a:pt x="3607527" y="597112"/>
                </a:lnTo>
                <a:lnTo>
                  <a:pt x="3605357" y="596463"/>
                </a:lnTo>
                <a:lnTo>
                  <a:pt x="3603621" y="597545"/>
                </a:lnTo>
                <a:lnTo>
                  <a:pt x="3601342" y="596679"/>
                </a:lnTo>
                <a:lnTo>
                  <a:pt x="3598303" y="593322"/>
                </a:lnTo>
                <a:lnTo>
                  <a:pt x="3593963" y="593322"/>
                </a:lnTo>
                <a:lnTo>
                  <a:pt x="3590599" y="594730"/>
                </a:lnTo>
                <a:lnTo>
                  <a:pt x="3591792" y="596245"/>
                </a:lnTo>
                <a:lnTo>
                  <a:pt x="3591792" y="598628"/>
                </a:lnTo>
                <a:lnTo>
                  <a:pt x="3589514" y="598628"/>
                </a:lnTo>
                <a:lnTo>
                  <a:pt x="3587669" y="597545"/>
                </a:lnTo>
                <a:lnTo>
                  <a:pt x="3583219" y="597545"/>
                </a:lnTo>
                <a:lnTo>
                  <a:pt x="3580181" y="598736"/>
                </a:lnTo>
                <a:lnTo>
                  <a:pt x="3581266" y="599818"/>
                </a:lnTo>
                <a:lnTo>
                  <a:pt x="3584413" y="599818"/>
                </a:lnTo>
                <a:lnTo>
                  <a:pt x="3588429" y="600901"/>
                </a:lnTo>
                <a:lnTo>
                  <a:pt x="3589622" y="602309"/>
                </a:lnTo>
                <a:lnTo>
                  <a:pt x="3589622" y="603716"/>
                </a:lnTo>
                <a:lnTo>
                  <a:pt x="3586476" y="604691"/>
                </a:lnTo>
                <a:lnTo>
                  <a:pt x="3580832" y="609779"/>
                </a:lnTo>
                <a:lnTo>
                  <a:pt x="3577251" y="612595"/>
                </a:lnTo>
                <a:lnTo>
                  <a:pt x="3574647" y="612053"/>
                </a:lnTo>
                <a:lnTo>
                  <a:pt x="3573019" y="609671"/>
                </a:lnTo>
                <a:lnTo>
                  <a:pt x="3573019" y="606640"/>
                </a:lnTo>
                <a:lnTo>
                  <a:pt x="3571934" y="605449"/>
                </a:lnTo>
                <a:lnTo>
                  <a:pt x="3569438" y="606532"/>
                </a:lnTo>
                <a:lnTo>
                  <a:pt x="3569438" y="609779"/>
                </a:lnTo>
                <a:lnTo>
                  <a:pt x="3570415" y="612595"/>
                </a:lnTo>
                <a:lnTo>
                  <a:pt x="3568787" y="614652"/>
                </a:lnTo>
                <a:lnTo>
                  <a:pt x="3569980" y="616708"/>
                </a:lnTo>
                <a:lnTo>
                  <a:pt x="3570524" y="619415"/>
                </a:lnTo>
                <a:lnTo>
                  <a:pt x="3568896" y="621581"/>
                </a:lnTo>
                <a:lnTo>
                  <a:pt x="3570306" y="623097"/>
                </a:lnTo>
                <a:lnTo>
                  <a:pt x="3570306" y="625696"/>
                </a:lnTo>
                <a:lnTo>
                  <a:pt x="3568570" y="626670"/>
                </a:lnTo>
                <a:lnTo>
                  <a:pt x="3564012" y="625154"/>
                </a:lnTo>
                <a:lnTo>
                  <a:pt x="3561516" y="625154"/>
                </a:lnTo>
                <a:lnTo>
                  <a:pt x="3560323" y="627428"/>
                </a:lnTo>
                <a:lnTo>
                  <a:pt x="3563144" y="629377"/>
                </a:lnTo>
                <a:lnTo>
                  <a:pt x="3565965" y="629377"/>
                </a:lnTo>
                <a:lnTo>
                  <a:pt x="3571934" y="629377"/>
                </a:lnTo>
                <a:lnTo>
                  <a:pt x="3572693" y="631001"/>
                </a:lnTo>
                <a:lnTo>
                  <a:pt x="3572693" y="634032"/>
                </a:lnTo>
                <a:lnTo>
                  <a:pt x="3572693" y="638254"/>
                </a:lnTo>
                <a:lnTo>
                  <a:pt x="3573995" y="638254"/>
                </a:lnTo>
                <a:lnTo>
                  <a:pt x="3575515" y="636089"/>
                </a:lnTo>
                <a:lnTo>
                  <a:pt x="3580290" y="635223"/>
                </a:lnTo>
                <a:lnTo>
                  <a:pt x="3584739" y="637064"/>
                </a:lnTo>
                <a:lnTo>
                  <a:pt x="3586801" y="638904"/>
                </a:lnTo>
                <a:lnTo>
                  <a:pt x="3591901" y="638904"/>
                </a:lnTo>
                <a:lnTo>
                  <a:pt x="3595482" y="639878"/>
                </a:lnTo>
                <a:lnTo>
                  <a:pt x="3598195" y="638904"/>
                </a:lnTo>
                <a:lnTo>
                  <a:pt x="3600148" y="637389"/>
                </a:lnTo>
                <a:lnTo>
                  <a:pt x="3601884" y="638254"/>
                </a:lnTo>
                <a:lnTo>
                  <a:pt x="3601884" y="640854"/>
                </a:lnTo>
                <a:lnTo>
                  <a:pt x="3601884" y="645292"/>
                </a:lnTo>
                <a:lnTo>
                  <a:pt x="3601884" y="647890"/>
                </a:lnTo>
                <a:lnTo>
                  <a:pt x="3600908" y="649406"/>
                </a:lnTo>
                <a:lnTo>
                  <a:pt x="3598303" y="650813"/>
                </a:lnTo>
                <a:lnTo>
                  <a:pt x="3596350" y="649406"/>
                </a:lnTo>
                <a:lnTo>
                  <a:pt x="3593203" y="648323"/>
                </a:lnTo>
                <a:lnTo>
                  <a:pt x="3590165" y="649839"/>
                </a:lnTo>
                <a:lnTo>
                  <a:pt x="3587561" y="650813"/>
                </a:lnTo>
                <a:lnTo>
                  <a:pt x="3585281" y="648864"/>
                </a:lnTo>
                <a:lnTo>
                  <a:pt x="3579096" y="649731"/>
                </a:lnTo>
                <a:lnTo>
                  <a:pt x="3573995" y="650813"/>
                </a:lnTo>
                <a:lnTo>
                  <a:pt x="3571500" y="650164"/>
                </a:lnTo>
                <a:lnTo>
                  <a:pt x="3570524" y="648431"/>
                </a:lnTo>
                <a:lnTo>
                  <a:pt x="3569764" y="650597"/>
                </a:lnTo>
                <a:lnTo>
                  <a:pt x="3570740" y="651680"/>
                </a:lnTo>
                <a:lnTo>
                  <a:pt x="3571717" y="653520"/>
                </a:lnTo>
                <a:lnTo>
                  <a:pt x="3574430" y="653520"/>
                </a:lnTo>
                <a:lnTo>
                  <a:pt x="3577902" y="652546"/>
                </a:lnTo>
                <a:lnTo>
                  <a:pt x="3585499" y="652546"/>
                </a:lnTo>
                <a:lnTo>
                  <a:pt x="3588645" y="654386"/>
                </a:lnTo>
                <a:lnTo>
                  <a:pt x="3591142" y="657093"/>
                </a:lnTo>
                <a:lnTo>
                  <a:pt x="3593746" y="657093"/>
                </a:lnTo>
                <a:lnTo>
                  <a:pt x="3597001" y="658176"/>
                </a:lnTo>
                <a:lnTo>
                  <a:pt x="3599497" y="660882"/>
                </a:lnTo>
                <a:lnTo>
                  <a:pt x="3601993" y="664888"/>
                </a:lnTo>
                <a:lnTo>
                  <a:pt x="3605574" y="668461"/>
                </a:lnTo>
                <a:lnTo>
                  <a:pt x="3606334" y="670519"/>
                </a:lnTo>
                <a:lnTo>
                  <a:pt x="3605249" y="670519"/>
                </a:lnTo>
                <a:lnTo>
                  <a:pt x="3602427" y="669761"/>
                </a:lnTo>
                <a:lnTo>
                  <a:pt x="3600800" y="668678"/>
                </a:lnTo>
                <a:lnTo>
                  <a:pt x="3600800" y="670194"/>
                </a:lnTo>
                <a:lnTo>
                  <a:pt x="3600800" y="672576"/>
                </a:lnTo>
                <a:lnTo>
                  <a:pt x="3602644" y="676149"/>
                </a:lnTo>
                <a:lnTo>
                  <a:pt x="3602644" y="681670"/>
                </a:lnTo>
                <a:lnTo>
                  <a:pt x="3602644" y="683727"/>
                </a:lnTo>
                <a:lnTo>
                  <a:pt x="3603621" y="687842"/>
                </a:lnTo>
                <a:lnTo>
                  <a:pt x="3602969" y="690441"/>
                </a:lnTo>
                <a:lnTo>
                  <a:pt x="3601559" y="693039"/>
                </a:lnTo>
                <a:lnTo>
                  <a:pt x="3599063" y="700726"/>
                </a:lnTo>
                <a:lnTo>
                  <a:pt x="3596350" y="703541"/>
                </a:lnTo>
                <a:lnTo>
                  <a:pt x="3593854" y="703541"/>
                </a:lnTo>
                <a:lnTo>
                  <a:pt x="3591575" y="701592"/>
                </a:lnTo>
                <a:lnTo>
                  <a:pt x="3589622" y="697802"/>
                </a:lnTo>
                <a:lnTo>
                  <a:pt x="3592443" y="695312"/>
                </a:lnTo>
                <a:lnTo>
                  <a:pt x="3591467" y="693147"/>
                </a:lnTo>
                <a:lnTo>
                  <a:pt x="3588971" y="692498"/>
                </a:lnTo>
                <a:lnTo>
                  <a:pt x="3587126" y="693580"/>
                </a:lnTo>
                <a:lnTo>
                  <a:pt x="3584413" y="692931"/>
                </a:lnTo>
                <a:lnTo>
                  <a:pt x="3579096" y="686651"/>
                </a:lnTo>
                <a:lnTo>
                  <a:pt x="3574647" y="683403"/>
                </a:lnTo>
                <a:lnTo>
                  <a:pt x="3570632" y="679722"/>
                </a:lnTo>
                <a:lnTo>
                  <a:pt x="3570632" y="677123"/>
                </a:lnTo>
                <a:lnTo>
                  <a:pt x="3569004" y="673333"/>
                </a:lnTo>
                <a:lnTo>
                  <a:pt x="3563578" y="667271"/>
                </a:lnTo>
                <a:lnTo>
                  <a:pt x="3561299" y="665863"/>
                </a:lnTo>
                <a:lnTo>
                  <a:pt x="3560431" y="665863"/>
                </a:lnTo>
                <a:lnTo>
                  <a:pt x="3560431" y="667379"/>
                </a:lnTo>
                <a:lnTo>
                  <a:pt x="3561516" y="669219"/>
                </a:lnTo>
                <a:lnTo>
                  <a:pt x="3565531" y="673659"/>
                </a:lnTo>
                <a:lnTo>
                  <a:pt x="3565531" y="676149"/>
                </a:lnTo>
                <a:lnTo>
                  <a:pt x="3564338" y="677990"/>
                </a:lnTo>
                <a:lnTo>
                  <a:pt x="3558803" y="677990"/>
                </a:lnTo>
                <a:lnTo>
                  <a:pt x="3555982" y="675607"/>
                </a:lnTo>
                <a:lnTo>
                  <a:pt x="3553703" y="671384"/>
                </a:lnTo>
                <a:lnTo>
                  <a:pt x="3551750" y="668894"/>
                </a:lnTo>
                <a:lnTo>
                  <a:pt x="3551750" y="671602"/>
                </a:lnTo>
                <a:lnTo>
                  <a:pt x="3551750" y="674416"/>
                </a:lnTo>
                <a:lnTo>
                  <a:pt x="3555440" y="678855"/>
                </a:lnTo>
                <a:lnTo>
                  <a:pt x="3562384" y="681670"/>
                </a:lnTo>
                <a:lnTo>
                  <a:pt x="3568461" y="681670"/>
                </a:lnTo>
                <a:lnTo>
                  <a:pt x="3574972" y="686651"/>
                </a:lnTo>
                <a:lnTo>
                  <a:pt x="3583545" y="695529"/>
                </a:lnTo>
                <a:lnTo>
                  <a:pt x="3584522" y="698128"/>
                </a:lnTo>
                <a:lnTo>
                  <a:pt x="3583219" y="700293"/>
                </a:lnTo>
                <a:lnTo>
                  <a:pt x="3581158" y="700293"/>
                </a:lnTo>
                <a:lnTo>
                  <a:pt x="3578445" y="698453"/>
                </a:lnTo>
                <a:lnTo>
                  <a:pt x="3574322" y="698453"/>
                </a:lnTo>
                <a:lnTo>
                  <a:pt x="3571392" y="699968"/>
                </a:lnTo>
                <a:lnTo>
                  <a:pt x="3567159" y="704083"/>
                </a:lnTo>
                <a:lnTo>
                  <a:pt x="3564229" y="704083"/>
                </a:lnTo>
                <a:lnTo>
                  <a:pt x="3560648" y="702459"/>
                </a:lnTo>
                <a:lnTo>
                  <a:pt x="3559454" y="699427"/>
                </a:lnTo>
                <a:lnTo>
                  <a:pt x="3560323" y="697694"/>
                </a:lnTo>
                <a:lnTo>
                  <a:pt x="3559454" y="695963"/>
                </a:lnTo>
                <a:lnTo>
                  <a:pt x="3556308" y="693688"/>
                </a:lnTo>
                <a:lnTo>
                  <a:pt x="3556308" y="696504"/>
                </a:lnTo>
                <a:lnTo>
                  <a:pt x="3557718" y="698886"/>
                </a:lnTo>
                <a:lnTo>
                  <a:pt x="3558586" y="703541"/>
                </a:lnTo>
                <a:lnTo>
                  <a:pt x="3559888" y="706248"/>
                </a:lnTo>
                <a:lnTo>
                  <a:pt x="3564121" y="707114"/>
                </a:lnTo>
                <a:lnTo>
                  <a:pt x="3568787" y="706140"/>
                </a:lnTo>
                <a:lnTo>
                  <a:pt x="3572693" y="701376"/>
                </a:lnTo>
                <a:lnTo>
                  <a:pt x="3575190" y="701376"/>
                </a:lnTo>
                <a:lnTo>
                  <a:pt x="3580724" y="704083"/>
                </a:lnTo>
                <a:lnTo>
                  <a:pt x="3580724" y="707222"/>
                </a:lnTo>
                <a:lnTo>
                  <a:pt x="3579747" y="708630"/>
                </a:lnTo>
                <a:lnTo>
                  <a:pt x="3578662" y="716534"/>
                </a:lnTo>
                <a:lnTo>
                  <a:pt x="3576926" y="719240"/>
                </a:lnTo>
                <a:lnTo>
                  <a:pt x="3574647" y="719240"/>
                </a:lnTo>
                <a:lnTo>
                  <a:pt x="3574647" y="721189"/>
                </a:lnTo>
                <a:lnTo>
                  <a:pt x="3576600" y="723030"/>
                </a:lnTo>
                <a:lnTo>
                  <a:pt x="3578988" y="721514"/>
                </a:lnTo>
                <a:lnTo>
                  <a:pt x="3583979" y="722597"/>
                </a:lnTo>
                <a:lnTo>
                  <a:pt x="3587561" y="726820"/>
                </a:lnTo>
                <a:lnTo>
                  <a:pt x="3592878" y="729526"/>
                </a:lnTo>
                <a:lnTo>
                  <a:pt x="3594397" y="727794"/>
                </a:lnTo>
                <a:lnTo>
                  <a:pt x="3597544" y="725953"/>
                </a:lnTo>
                <a:lnTo>
                  <a:pt x="3601884" y="726494"/>
                </a:lnTo>
                <a:lnTo>
                  <a:pt x="3601884" y="728335"/>
                </a:lnTo>
                <a:lnTo>
                  <a:pt x="3600256" y="731042"/>
                </a:lnTo>
                <a:lnTo>
                  <a:pt x="3600908" y="734832"/>
                </a:lnTo>
                <a:lnTo>
                  <a:pt x="3602861" y="737538"/>
                </a:lnTo>
                <a:lnTo>
                  <a:pt x="3601233" y="741436"/>
                </a:lnTo>
                <a:lnTo>
                  <a:pt x="3597001" y="748148"/>
                </a:lnTo>
                <a:lnTo>
                  <a:pt x="3591683" y="750964"/>
                </a:lnTo>
                <a:lnTo>
                  <a:pt x="3589405" y="750097"/>
                </a:lnTo>
                <a:lnTo>
                  <a:pt x="3588754" y="747174"/>
                </a:lnTo>
                <a:lnTo>
                  <a:pt x="3586149" y="745442"/>
                </a:lnTo>
                <a:lnTo>
                  <a:pt x="3584630" y="741977"/>
                </a:lnTo>
                <a:lnTo>
                  <a:pt x="3584630" y="738512"/>
                </a:lnTo>
                <a:lnTo>
                  <a:pt x="3579422" y="734723"/>
                </a:lnTo>
                <a:lnTo>
                  <a:pt x="3575515" y="733532"/>
                </a:lnTo>
                <a:lnTo>
                  <a:pt x="3571825" y="731042"/>
                </a:lnTo>
                <a:lnTo>
                  <a:pt x="3568570" y="730501"/>
                </a:lnTo>
                <a:lnTo>
                  <a:pt x="3565423" y="732558"/>
                </a:lnTo>
                <a:lnTo>
                  <a:pt x="3562276" y="732558"/>
                </a:lnTo>
                <a:lnTo>
                  <a:pt x="3560539" y="731150"/>
                </a:lnTo>
                <a:lnTo>
                  <a:pt x="3558912" y="727902"/>
                </a:lnTo>
                <a:lnTo>
                  <a:pt x="3556525" y="725195"/>
                </a:lnTo>
                <a:lnTo>
                  <a:pt x="3554897" y="725195"/>
                </a:lnTo>
                <a:lnTo>
                  <a:pt x="3554897" y="727036"/>
                </a:lnTo>
                <a:lnTo>
                  <a:pt x="3556308" y="729743"/>
                </a:lnTo>
                <a:lnTo>
                  <a:pt x="3556308" y="734723"/>
                </a:lnTo>
                <a:lnTo>
                  <a:pt x="3554788" y="737863"/>
                </a:lnTo>
                <a:lnTo>
                  <a:pt x="3552075" y="739487"/>
                </a:lnTo>
                <a:lnTo>
                  <a:pt x="3548602" y="739487"/>
                </a:lnTo>
                <a:lnTo>
                  <a:pt x="3546541" y="740678"/>
                </a:lnTo>
                <a:lnTo>
                  <a:pt x="3549037" y="741544"/>
                </a:lnTo>
                <a:lnTo>
                  <a:pt x="3550556" y="743493"/>
                </a:lnTo>
                <a:lnTo>
                  <a:pt x="3550556" y="746200"/>
                </a:lnTo>
                <a:lnTo>
                  <a:pt x="3546975" y="751180"/>
                </a:lnTo>
                <a:lnTo>
                  <a:pt x="3544587" y="752587"/>
                </a:lnTo>
                <a:lnTo>
                  <a:pt x="3544587" y="753887"/>
                </a:lnTo>
                <a:lnTo>
                  <a:pt x="3545673" y="755728"/>
                </a:lnTo>
                <a:lnTo>
                  <a:pt x="3547952" y="757244"/>
                </a:lnTo>
                <a:lnTo>
                  <a:pt x="3549471" y="762224"/>
                </a:lnTo>
                <a:lnTo>
                  <a:pt x="3552075" y="763523"/>
                </a:lnTo>
                <a:lnTo>
                  <a:pt x="3553052" y="768070"/>
                </a:lnTo>
                <a:lnTo>
                  <a:pt x="3551967" y="773484"/>
                </a:lnTo>
                <a:lnTo>
                  <a:pt x="3552618" y="775216"/>
                </a:lnTo>
                <a:lnTo>
                  <a:pt x="3554028" y="771427"/>
                </a:lnTo>
                <a:lnTo>
                  <a:pt x="3555657" y="768612"/>
                </a:lnTo>
                <a:lnTo>
                  <a:pt x="3555657" y="765364"/>
                </a:lnTo>
                <a:lnTo>
                  <a:pt x="3554028" y="763848"/>
                </a:lnTo>
                <a:lnTo>
                  <a:pt x="3554028" y="759625"/>
                </a:lnTo>
                <a:lnTo>
                  <a:pt x="3555548" y="756377"/>
                </a:lnTo>
                <a:lnTo>
                  <a:pt x="3557067" y="756377"/>
                </a:lnTo>
                <a:lnTo>
                  <a:pt x="3558478" y="759301"/>
                </a:lnTo>
                <a:lnTo>
                  <a:pt x="3560648" y="761141"/>
                </a:lnTo>
                <a:lnTo>
                  <a:pt x="3562493" y="764281"/>
                </a:lnTo>
                <a:lnTo>
                  <a:pt x="3565640" y="766663"/>
                </a:lnTo>
                <a:lnTo>
                  <a:pt x="3567159" y="765580"/>
                </a:lnTo>
                <a:lnTo>
                  <a:pt x="3569112" y="765580"/>
                </a:lnTo>
                <a:lnTo>
                  <a:pt x="3570632" y="766771"/>
                </a:lnTo>
                <a:lnTo>
                  <a:pt x="3571934" y="765364"/>
                </a:lnTo>
                <a:lnTo>
                  <a:pt x="3575840" y="763956"/>
                </a:lnTo>
                <a:lnTo>
                  <a:pt x="3579096" y="764606"/>
                </a:lnTo>
                <a:lnTo>
                  <a:pt x="3580181" y="766554"/>
                </a:lnTo>
                <a:lnTo>
                  <a:pt x="3580181" y="769695"/>
                </a:lnTo>
                <a:lnTo>
                  <a:pt x="3577034" y="775216"/>
                </a:lnTo>
                <a:lnTo>
                  <a:pt x="3575298" y="778464"/>
                </a:lnTo>
                <a:lnTo>
                  <a:pt x="3575298" y="782795"/>
                </a:lnTo>
                <a:lnTo>
                  <a:pt x="3574647" y="788317"/>
                </a:lnTo>
                <a:lnTo>
                  <a:pt x="3573453" y="789941"/>
                </a:lnTo>
                <a:lnTo>
                  <a:pt x="3569221" y="789941"/>
                </a:lnTo>
                <a:lnTo>
                  <a:pt x="3564772" y="791240"/>
                </a:lnTo>
                <a:lnTo>
                  <a:pt x="3561408" y="790374"/>
                </a:lnTo>
                <a:lnTo>
                  <a:pt x="3558586" y="789075"/>
                </a:lnTo>
                <a:lnTo>
                  <a:pt x="3556090" y="789075"/>
                </a:lnTo>
                <a:lnTo>
                  <a:pt x="3553269" y="791132"/>
                </a:lnTo>
                <a:lnTo>
                  <a:pt x="3553269" y="793947"/>
                </a:lnTo>
                <a:lnTo>
                  <a:pt x="3550990" y="795896"/>
                </a:lnTo>
                <a:lnTo>
                  <a:pt x="3547952" y="795896"/>
                </a:lnTo>
                <a:lnTo>
                  <a:pt x="3545999" y="795896"/>
                </a:lnTo>
                <a:lnTo>
                  <a:pt x="3544045" y="799036"/>
                </a:lnTo>
                <a:lnTo>
                  <a:pt x="3543394" y="800985"/>
                </a:lnTo>
                <a:lnTo>
                  <a:pt x="3540247" y="801743"/>
                </a:lnTo>
                <a:lnTo>
                  <a:pt x="3537751" y="801093"/>
                </a:lnTo>
                <a:lnTo>
                  <a:pt x="3533845" y="798278"/>
                </a:lnTo>
                <a:lnTo>
                  <a:pt x="3527334" y="794597"/>
                </a:lnTo>
                <a:lnTo>
                  <a:pt x="3523318" y="790374"/>
                </a:lnTo>
                <a:lnTo>
                  <a:pt x="3513769" y="781388"/>
                </a:lnTo>
                <a:lnTo>
                  <a:pt x="3512141" y="777707"/>
                </a:lnTo>
                <a:lnTo>
                  <a:pt x="3512141" y="775108"/>
                </a:lnTo>
                <a:lnTo>
                  <a:pt x="3513660" y="773701"/>
                </a:lnTo>
                <a:lnTo>
                  <a:pt x="3516156" y="773701"/>
                </a:lnTo>
                <a:lnTo>
                  <a:pt x="3517242" y="774675"/>
                </a:lnTo>
                <a:lnTo>
                  <a:pt x="3519629" y="776082"/>
                </a:lnTo>
                <a:lnTo>
                  <a:pt x="3527767" y="779980"/>
                </a:lnTo>
                <a:lnTo>
                  <a:pt x="3532217" y="783986"/>
                </a:lnTo>
                <a:lnTo>
                  <a:pt x="3533736" y="783336"/>
                </a:lnTo>
                <a:lnTo>
                  <a:pt x="3539921" y="782254"/>
                </a:lnTo>
                <a:lnTo>
                  <a:pt x="3539921" y="780197"/>
                </a:lnTo>
                <a:lnTo>
                  <a:pt x="3538076" y="778681"/>
                </a:lnTo>
                <a:lnTo>
                  <a:pt x="3536123" y="778681"/>
                </a:lnTo>
                <a:lnTo>
                  <a:pt x="3533845" y="780089"/>
                </a:lnTo>
                <a:lnTo>
                  <a:pt x="3530047" y="778573"/>
                </a:lnTo>
                <a:lnTo>
                  <a:pt x="3523101" y="773701"/>
                </a:lnTo>
                <a:lnTo>
                  <a:pt x="3515505" y="770560"/>
                </a:lnTo>
                <a:lnTo>
                  <a:pt x="3512792" y="770560"/>
                </a:lnTo>
                <a:lnTo>
                  <a:pt x="3511707" y="768720"/>
                </a:lnTo>
                <a:lnTo>
                  <a:pt x="3511707" y="766013"/>
                </a:lnTo>
                <a:lnTo>
                  <a:pt x="3509754" y="765147"/>
                </a:lnTo>
                <a:lnTo>
                  <a:pt x="3507801" y="765147"/>
                </a:lnTo>
                <a:lnTo>
                  <a:pt x="3505848" y="767421"/>
                </a:lnTo>
                <a:lnTo>
                  <a:pt x="3505848" y="771427"/>
                </a:lnTo>
                <a:lnTo>
                  <a:pt x="3504979" y="778573"/>
                </a:lnTo>
                <a:lnTo>
                  <a:pt x="3504979" y="781713"/>
                </a:lnTo>
                <a:lnTo>
                  <a:pt x="3504219" y="783553"/>
                </a:lnTo>
                <a:lnTo>
                  <a:pt x="3503135" y="782687"/>
                </a:lnTo>
                <a:lnTo>
                  <a:pt x="3495538" y="774025"/>
                </a:lnTo>
                <a:lnTo>
                  <a:pt x="3490764" y="765689"/>
                </a:lnTo>
                <a:lnTo>
                  <a:pt x="3488811" y="763090"/>
                </a:lnTo>
                <a:lnTo>
                  <a:pt x="3488811" y="760924"/>
                </a:lnTo>
                <a:lnTo>
                  <a:pt x="3487183" y="759084"/>
                </a:lnTo>
                <a:lnTo>
                  <a:pt x="3485446" y="759084"/>
                </a:lnTo>
                <a:lnTo>
                  <a:pt x="3484795" y="760275"/>
                </a:lnTo>
                <a:lnTo>
                  <a:pt x="3484795" y="762548"/>
                </a:lnTo>
                <a:lnTo>
                  <a:pt x="3488376" y="764822"/>
                </a:lnTo>
                <a:lnTo>
                  <a:pt x="3493477" y="773592"/>
                </a:lnTo>
                <a:lnTo>
                  <a:pt x="3493477" y="775974"/>
                </a:lnTo>
                <a:lnTo>
                  <a:pt x="3496515" y="780305"/>
                </a:lnTo>
                <a:lnTo>
                  <a:pt x="3497600" y="782579"/>
                </a:lnTo>
                <a:lnTo>
                  <a:pt x="3497600" y="785069"/>
                </a:lnTo>
                <a:lnTo>
                  <a:pt x="3495213" y="785069"/>
                </a:lnTo>
                <a:lnTo>
                  <a:pt x="3491632" y="786585"/>
                </a:lnTo>
                <a:lnTo>
                  <a:pt x="3488811" y="789075"/>
                </a:lnTo>
                <a:lnTo>
                  <a:pt x="3486965" y="791565"/>
                </a:lnTo>
                <a:lnTo>
                  <a:pt x="3483384" y="792540"/>
                </a:lnTo>
                <a:lnTo>
                  <a:pt x="3480563" y="794488"/>
                </a:lnTo>
                <a:lnTo>
                  <a:pt x="3476657" y="795680"/>
                </a:lnTo>
                <a:lnTo>
                  <a:pt x="3473184" y="795680"/>
                </a:lnTo>
                <a:lnTo>
                  <a:pt x="3470146" y="792540"/>
                </a:lnTo>
                <a:lnTo>
                  <a:pt x="3467975" y="792540"/>
                </a:lnTo>
                <a:lnTo>
                  <a:pt x="3465479" y="791240"/>
                </a:lnTo>
                <a:lnTo>
                  <a:pt x="3464611" y="789291"/>
                </a:lnTo>
                <a:lnTo>
                  <a:pt x="3459511" y="785285"/>
                </a:lnTo>
                <a:lnTo>
                  <a:pt x="3456689" y="783553"/>
                </a:lnTo>
                <a:lnTo>
                  <a:pt x="3456689" y="781063"/>
                </a:lnTo>
                <a:lnTo>
                  <a:pt x="3455821" y="778681"/>
                </a:lnTo>
                <a:lnTo>
                  <a:pt x="3454194" y="777923"/>
                </a:lnTo>
                <a:lnTo>
                  <a:pt x="3453325" y="779114"/>
                </a:lnTo>
                <a:lnTo>
                  <a:pt x="3453325" y="782903"/>
                </a:lnTo>
                <a:lnTo>
                  <a:pt x="3454953" y="785827"/>
                </a:lnTo>
                <a:lnTo>
                  <a:pt x="3458860" y="787884"/>
                </a:lnTo>
                <a:lnTo>
                  <a:pt x="3462983" y="791240"/>
                </a:lnTo>
                <a:lnTo>
                  <a:pt x="3465479" y="795246"/>
                </a:lnTo>
                <a:lnTo>
                  <a:pt x="3465479" y="797411"/>
                </a:lnTo>
                <a:lnTo>
                  <a:pt x="3462983" y="799144"/>
                </a:lnTo>
                <a:lnTo>
                  <a:pt x="3455930" y="799144"/>
                </a:lnTo>
                <a:lnTo>
                  <a:pt x="3450937" y="798278"/>
                </a:lnTo>
                <a:lnTo>
                  <a:pt x="3447140" y="799469"/>
                </a:lnTo>
                <a:lnTo>
                  <a:pt x="3444427" y="801851"/>
                </a:lnTo>
                <a:lnTo>
                  <a:pt x="3445403" y="803475"/>
                </a:lnTo>
                <a:lnTo>
                  <a:pt x="3446922" y="803475"/>
                </a:lnTo>
                <a:lnTo>
                  <a:pt x="3448550" y="805965"/>
                </a:lnTo>
                <a:lnTo>
                  <a:pt x="3450395" y="806831"/>
                </a:lnTo>
                <a:lnTo>
                  <a:pt x="3451589" y="804666"/>
                </a:lnTo>
                <a:lnTo>
                  <a:pt x="3452349" y="801959"/>
                </a:lnTo>
                <a:lnTo>
                  <a:pt x="3456580" y="801959"/>
                </a:lnTo>
                <a:lnTo>
                  <a:pt x="3459945" y="803042"/>
                </a:lnTo>
                <a:lnTo>
                  <a:pt x="3463309" y="804341"/>
                </a:lnTo>
                <a:lnTo>
                  <a:pt x="3466347" y="802609"/>
                </a:lnTo>
                <a:lnTo>
                  <a:pt x="3466889" y="799902"/>
                </a:lnTo>
                <a:lnTo>
                  <a:pt x="3469711" y="799036"/>
                </a:lnTo>
                <a:lnTo>
                  <a:pt x="3474052" y="799577"/>
                </a:lnTo>
                <a:lnTo>
                  <a:pt x="3478284" y="799577"/>
                </a:lnTo>
                <a:lnTo>
                  <a:pt x="3480020" y="801201"/>
                </a:lnTo>
                <a:lnTo>
                  <a:pt x="3483059" y="803150"/>
                </a:lnTo>
                <a:lnTo>
                  <a:pt x="3488267" y="804341"/>
                </a:lnTo>
                <a:lnTo>
                  <a:pt x="3491414" y="806290"/>
                </a:lnTo>
                <a:lnTo>
                  <a:pt x="3492500" y="809321"/>
                </a:lnTo>
                <a:lnTo>
                  <a:pt x="3491523" y="811920"/>
                </a:lnTo>
                <a:lnTo>
                  <a:pt x="3489461" y="812461"/>
                </a:lnTo>
                <a:lnTo>
                  <a:pt x="3487183" y="815601"/>
                </a:lnTo>
                <a:lnTo>
                  <a:pt x="3483167" y="815601"/>
                </a:lnTo>
                <a:lnTo>
                  <a:pt x="3479912" y="815601"/>
                </a:lnTo>
                <a:lnTo>
                  <a:pt x="3475897" y="818741"/>
                </a:lnTo>
                <a:lnTo>
                  <a:pt x="3472641" y="820257"/>
                </a:lnTo>
                <a:lnTo>
                  <a:pt x="3469060" y="819607"/>
                </a:lnTo>
                <a:lnTo>
                  <a:pt x="3464828" y="815168"/>
                </a:lnTo>
                <a:lnTo>
                  <a:pt x="3462332" y="813977"/>
                </a:lnTo>
                <a:lnTo>
                  <a:pt x="3460161" y="813977"/>
                </a:lnTo>
                <a:lnTo>
                  <a:pt x="3458208" y="816143"/>
                </a:lnTo>
                <a:lnTo>
                  <a:pt x="3455495" y="816143"/>
                </a:lnTo>
                <a:lnTo>
                  <a:pt x="3454194" y="815384"/>
                </a:lnTo>
                <a:lnTo>
                  <a:pt x="3451806" y="815384"/>
                </a:lnTo>
                <a:lnTo>
                  <a:pt x="3451806" y="816900"/>
                </a:lnTo>
                <a:lnTo>
                  <a:pt x="3454410" y="816900"/>
                </a:lnTo>
                <a:lnTo>
                  <a:pt x="3458751" y="816900"/>
                </a:lnTo>
                <a:lnTo>
                  <a:pt x="3460813" y="815709"/>
                </a:lnTo>
                <a:lnTo>
                  <a:pt x="3463309" y="816467"/>
                </a:lnTo>
                <a:lnTo>
                  <a:pt x="3464394" y="818308"/>
                </a:lnTo>
                <a:lnTo>
                  <a:pt x="3463200" y="820149"/>
                </a:lnTo>
                <a:lnTo>
                  <a:pt x="3459076" y="820906"/>
                </a:lnTo>
                <a:lnTo>
                  <a:pt x="3454844" y="822964"/>
                </a:lnTo>
                <a:lnTo>
                  <a:pt x="3454085" y="824371"/>
                </a:lnTo>
                <a:lnTo>
                  <a:pt x="3456038" y="824371"/>
                </a:lnTo>
                <a:lnTo>
                  <a:pt x="3458317" y="822964"/>
                </a:lnTo>
                <a:lnTo>
                  <a:pt x="3463526" y="821664"/>
                </a:lnTo>
                <a:lnTo>
                  <a:pt x="3465371" y="821664"/>
                </a:lnTo>
                <a:lnTo>
                  <a:pt x="3466673" y="823721"/>
                </a:lnTo>
                <a:lnTo>
                  <a:pt x="3466673" y="826645"/>
                </a:lnTo>
                <a:lnTo>
                  <a:pt x="3467758" y="826645"/>
                </a:lnTo>
                <a:lnTo>
                  <a:pt x="3470254" y="822964"/>
                </a:lnTo>
                <a:lnTo>
                  <a:pt x="3473400" y="822314"/>
                </a:lnTo>
                <a:lnTo>
                  <a:pt x="3475463" y="822314"/>
                </a:lnTo>
                <a:lnTo>
                  <a:pt x="3479478" y="818849"/>
                </a:lnTo>
                <a:lnTo>
                  <a:pt x="3481105" y="818849"/>
                </a:lnTo>
                <a:lnTo>
                  <a:pt x="3483167" y="819932"/>
                </a:lnTo>
                <a:lnTo>
                  <a:pt x="3488919" y="824047"/>
                </a:lnTo>
                <a:lnTo>
                  <a:pt x="3490980" y="824047"/>
                </a:lnTo>
                <a:lnTo>
                  <a:pt x="3492391" y="824804"/>
                </a:lnTo>
                <a:lnTo>
                  <a:pt x="3493042" y="827944"/>
                </a:lnTo>
                <a:lnTo>
                  <a:pt x="3492065" y="835198"/>
                </a:lnTo>
                <a:lnTo>
                  <a:pt x="3489570" y="838014"/>
                </a:lnTo>
                <a:lnTo>
                  <a:pt x="3484686" y="838771"/>
                </a:lnTo>
                <a:lnTo>
                  <a:pt x="3480780" y="838771"/>
                </a:lnTo>
                <a:lnTo>
                  <a:pt x="3477416" y="837255"/>
                </a:lnTo>
                <a:lnTo>
                  <a:pt x="3469602" y="837255"/>
                </a:lnTo>
                <a:lnTo>
                  <a:pt x="3467866" y="836606"/>
                </a:lnTo>
                <a:lnTo>
                  <a:pt x="3464611" y="839529"/>
                </a:lnTo>
                <a:lnTo>
                  <a:pt x="3466021" y="840287"/>
                </a:lnTo>
                <a:lnTo>
                  <a:pt x="3470579" y="839204"/>
                </a:lnTo>
                <a:lnTo>
                  <a:pt x="3475245" y="839204"/>
                </a:lnTo>
                <a:lnTo>
                  <a:pt x="3481865" y="841478"/>
                </a:lnTo>
                <a:lnTo>
                  <a:pt x="3482950" y="844293"/>
                </a:lnTo>
                <a:lnTo>
                  <a:pt x="3482950" y="846459"/>
                </a:lnTo>
                <a:lnTo>
                  <a:pt x="3486531" y="842453"/>
                </a:lnTo>
                <a:lnTo>
                  <a:pt x="3490546" y="841586"/>
                </a:lnTo>
                <a:lnTo>
                  <a:pt x="3494995" y="841586"/>
                </a:lnTo>
                <a:lnTo>
                  <a:pt x="3499119" y="843860"/>
                </a:lnTo>
                <a:lnTo>
                  <a:pt x="3500422" y="845809"/>
                </a:lnTo>
                <a:lnTo>
                  <a:pt x="3507584" y="851331"/>
                </a:lnTo>
                <a:lnTo>
                  <a:pt x="3508561" y="853063"/>
                </a:lnTo>
                <a:lnTo>
                  <a:pt x="3508561" y="855228"/>
                </a:lnTo>
                <a:lnTo>
                  <a:pt x="3511165" y="855228"/>
                </a:lnTo>
                <a:lnTo>
                  <a:pt x="3512684" y="856636"/>
                </a:lnTo>
                <a:lnTo>
                  <a:pt x="3514420" y="856636"/>
                </a:lnTo>
                <a:lnTo>
                  <a:pt x="3517784" y="859884"/>
                </a:lnTo>
                <a:lnTo>
                  <a:pt x="3520280" y="860967"/>
                </a:lnTo>
                <a:lnTo>
                  <a:pt x="3521365" y="863890"/>
                </a:lnTo>
                <a:lnTo>
                  <a:pt x="3523318" y="866055"/>
                </a:lnTo>
                <a:lnTo>
                  <a:pt x="3525054" y="866055"/>
                </a:lnTo>
                <a:lnTo>
                  <a:pt x="3526574" y="868545"/>
                </a:lnTo>
                <a:lnTo>
                  <a:pt x="3528527" y="870278"/>
                </a:lnTo>
                <a:lnTo>
                  <a:pt x="3528527" y="871577"/>
                </a:lnTo>
                <a:lnTo>
                  <a:pt x="3526466" y="876233"/>
                </a:lnTo>
                <a:lnTo>
                  <a:pt x="3523861" y="877857"/>
                </a:lnTo>
                <a:lnTo>
                  <a:pt x="3522016" y="880780"/>
                </a:lnTo>
                <a:lnTo>
                  <a:pt x="3521148" y="883920"/>
                </a:lnTo>
                <a:lnTo>
                  <a:pt x="3521148" y="885003"/>
                </a:lnTo>
                <a:lnTo>
                  <a:pt x="3524295" y="881538"/>
                </a:lnTo>
                <a:lnTo>
                  <a:pt x="3528093" y="878398"/>
                </a:lnTo>
                <a:lnTo>
                  <a:pt x="3530589" y="877316"/>
                </a:lnTo>
                <a:lnTo>
                  <a:pt x="3531891" y="877965"/>
                </a:lnTo>
                <a:lnTo>
                  <a:pt x="3530481" y="880563"/>
                </a:lnTo>
                <a:lnTo>
                  <a:pt x="3529070" y="884461"/>
                </a:lnTo>
                <a:lnTo>
                  <a:pt x="3530481" y="883271"/>
                </a:lnTo>
                <a:lnTo>
                  <a:pt x="3531674" y="880889"/>
                </a:lnTo>
                <a:lnTo>
                  <a:pt x="3533302" y="878940"/>
                </a:lnTo>
                <a:lnTo>
                  <a:pt x="3536123" y="878940"/>
                </a:lnTo>
                <a:lnTo>
                  <a:pt x="3538402" y="881213"/>
                </a:lnTo>
                <a:lnTo>
                  <a:pt x="3536883" y="884245"/>
                </a:lnTo>
                <a:lnTo>
                  <a:pt x="3532651" y="886410"/>
                </a:lnTo>
                <a:lnTo>
                  <a:pt x="3529179" y="889334"/>
                </a:lnTo>
                <a:lnTo>
                  <a:pt x="3528093" y="892365"/>
                </a:lnTo>
                <a:lnTo>
                  <a:pt x="3528093" y="895071"/>
                </a:lnTo>
                <a:lnTo>
                  <a:pt x="3529179" y="896696"/>
                </a:lnTo>
                <a:lnTo>
                  <a:pt x="3529179" y="899077"/>
                </a:lnTo>
                <a:lnTo>
                  <a:pt x="3527984" y="904167"/>
                </a:lnTo>
                <a:lnTo>
                  <a:pt x="3527984" y="905791"/>
                </a:lnTo>
                <a:lnTo>
                  <a:pt x="3530047" y="905141"/>
                </a:lnTo>
                <a:lnTo>
                  <a:pt x="3531023" y="899295"/>
                </a:lnTo>
                <a:lnTo>
                  <a:pt x="3534170" y="894422"/>
                </a:lnTo>
                <a:lnTo>
                  <a:pt x="3537751" y="892473"/>
                </a:lnTo>
                <a:lnTo>
                  <a:pt x="3539488" y="892473"/>
                </a:lnTo>
                <a:lnTo>
                  <a:pt x="3539488" y="894314"/>
                </a:lnTo>
                <a:lnTo>
                  <a:pt x="3537208" y="898536"/>
                </a:lnTo>
                <a:lnTo>
                  <a:pt x="3535581" y="902109"/>
                </a:lnTo>
                <a:lnTo>
                  <a:pt x="3536232" y="903950"/>
                </a:lnTo>
                <a:lnTo>
                  <a:pt x="3538620" y="902867"/>
                </a:lnTo>
                <a:lnTo>
                  <a:pt x="3540030" y="904599"/>
                </a:lnTo>
                <a:lnTo>
                  <a:pt x="3540030" y="908930"/>
                </a:lnTo>
                <a:lnTo>
                  <a:pt x="3537968" y="910987"/>
                </a:lnTo>
                <a:lnTo>
                  <a:pt x="3533845" y="911637"/>
                </a:lnTo>
                <a:lnTo>
                  <a:pt x="3532759" y="913586"/>
                </a:lnTo>
                <a:lnTo>
                  <a:pt x="3532759" y="915535"/>
                </a:lnTo>
                <a:lnTo>
                  <a:pt x="3537425" y="913803"/>
                </a:lnTo>
                <a:lnTo>
                  <a:pt x="3538511" y="915210"/>
                </a:lnTo>
                <a:lnTo>
                  <a:pt x="3537860" y="917592"/>
                </a:lnTo>
                <a:lnTo>
                  <a:pt x="3536558" y="920299"/>
                </a:lnTo>
                <a:lnTo>
                  <a:pt x="3538511" y="920299"/>
                </a:lnTo>
                <a:lnTo>
                  <a:pt x="3540030" y="922789"/>
                </a:lnTo>
                <a:lnTo>
                  <a:pt x="3539161" y="924521"/>
                </a:lnTo>
                <a:lnTo>
                  <a:pt x="3539161" y="929069"/>
                </a:lnTo>
                <a:lnTo>
                  <a:pt x="3538076" y="931776"/>
                </a:lnTo>
                <a:lnTo>
                  <a:pt x="3538076" y="939138"/>
                </a:lnTo>
                <a:lnTo>
                  <a:pt x="3538728" y="942277"/>
                </a:lnTo>
                <a:lnTo>
                  <a:pt x="3538728" y="945526"/>
                </a:lnTo>
                <a:lnTo>
                  <a:pt x="3536449" y="947150"/>
                </a:lnTo>
                <a:lnTo>
                  <a:pt x="3533845" y="947150"/>
                </a:lnTo>
                <a:lnTo>
                  <a:pt x="3532217" y="947150"/>
                </a:lnTo>
                <a:lnTo>
                  <a:pt x="3531240" y="945850"/>
                </a:lnTo>
                <a:lnTo>
                  <a:pt x="3532325" y="943577"/>
                </a:lnTo>
                <a:lnTo>
                  <a:pt x="3531132" y="941411"/>
                </a:lnTo>
                <a:lnTo>
                  <a:pt x="3529070" y="939896"/>
                </a:lnTo>
                <a:lnTo>
                  <a:pt x="3526357" y="940978"/>
                </a:lnTo>
                <a:lnTo>
                  <a:pt x="3524729" y="942494"/>
                </a:lnTo>
                <a:lnTo>
                  <a:pt x="3522450" y="941520"/>
                </a:lnTo>
                <a:lnTo>
                  <a:pt x="3522450" y="938488"/>
                </a:lnTo>
                <a:lnTo>
                  <a:pt x="3524512" y="934807"/>
                </a:lnTo>
                <a:lnTo>
                  <a:pt x="3522884" y="930476"/>
                </a:lnTo>
                <a:lnTo>
                  <a:pt x="3522884" y="927120"/>
                </a:lnTo>
                <a:lnTo>
                  <a:pt x="3523969" y="923547"/>
                </a:lnTo>
                <a:lnTo>
                  <a:pt x="3522559" y="921598"/>
                </a:lnTo>
                <a:lnTo>
                  <a:pt x="3521148" y="921598"/>
                </a:lnTo>
                <a:lnTo>
                  <a:pt x="3519955" y="924305"/>
                </a:lnTo>
                <a:lnTo>
                  <a:pt x="3518978" y="928852"/>
                </a:lnTo>
                <a:lnTo>
                  <a:pt x="3518978" y="934807"/>
                </a:lnTo>
                <a:lnTo>
                  <a:pt x="3518978" y="940221"/>
                </a:lnTo>
                <a:lnTo>
                  <a:pt x="3518978" y="943036"/>
                </a:lnTo>
                <a:lnTo>
                  <a:pt x="3517458" y="944119"/>
                </a:lnTo>
                <a:lnTo>
                  <a:pt x="3514637" y="944119"/>
                </a:lnTo>
                <a:lnTo>
                  <a:pt x="3511599" y="944768"/>
                </a:lnTo>
                <a:lnTo>
                  <a:pt x="3508561" y="945850"/>
                </a:lnTo>
                <a:lnTo>
                  <a:pt x="3506064" y="943469"/>
                </a:lnTo>
                <a:lnTo>
                  <a:pt x="3500422" y="939030"/>
                </a:lnTo>
                <a:lnTo>
                  <a:pt x="3496731" y="931992"/>
                </a:lnTo>
                <a:lnTo>
                  <a:pt x="3493585" y="928419"/>
                </a:lnTo>
                <a:lnTo>
                  <a:pt x="3491414" y="925821"/>
                </a:lnTo>
                <a:lnTo>
                  <a:pt x="3490221" y="918025"/>
                </a:lnTo>
                <a:lnTo>
                  <a:pt x="3488051" y="914236"/>
                </a:lnTo>
                <a:lnTo>
                  <a:pt x="3485446" y="911096"/>
                </a:lnTo>
                <a:lnTo>
                  <a:pt x="3484578" y="905683"/>
                </a:lnTo>
                <a:lnTo>
                  <a:pt x="3485338" y="901026"/>
                </a:lnTo>
                <a:lnTo>
                  <a:pt x="3486965" y="897887"/>
                </a:lnTo>
                <a:lnTo>
                  <a:pt x="3485772" y="895613"/>
                </a:lnTo>
                <a:lnTo>
                  <a:pt x="3484361" y="895613"/>
                </a:lnTo>
                <a:lnTo>
                  <a:pt x="3479695" y="896804"/>
                </a:lnTo>
                <a:lnTo>
                  <a:pt x="3478175" y="898645"/>
                </a:lnTo>
                <a:lnTo>
                  <a:pt x="3475028" y="896263"/>
                </a:lnTo>
                <a:lnTo>
                  <a:pt x="3467215" y="886085"/>
                </a:lnTo>
                <a:lnTo>
                  <a:pt x="3467215" y="882512"/>
                </a:lnTo>
                <a:lnTo>
                  <a:pt x="3465479" y="880672"/>
                </a:lnTo>
                <a:lnTo>
                  <a:pt x="3462549" y="882187"/>
                </a:lnTo>
                <a:lnTo>
                  <a:pt x="3458100" y="882837"/>
                </a:lnTo>
                <a:lnTo>
                  <a:pt x="3454302" y="881104"/>
                </a:lnTo>
                <a:lnTo>
                  <a:pt x="3452566" y="882187"/>
                </a:lnTo>
                <a:lnTo>
                  <a:pt x="3449853" y="883595"/>
                </a:lnTo>
                <a:lnTo>
                  <a:pt x="3447791" y="882404"/>
                </a:lnTo>
                <a:lnTo>
                  <a:pt x="3444644" y="878831"/>
                </a:lnTo>
                <a:lnTo>
                  <a:pt x="3444644" y="876557"/>
                </a:lnTo>
                <a:lnTo>
                  <a:pt x="3439110" y="871577"/>
                </a:lnTo>
                <a:lnTo>
                  <a:pt x="3439110" y="869195"/>
                </a:lnTo>
                <a:lnTo>
                  <a:pt x="3437048" y="866596"/>
                </a:lnTo>
                <a:lnTo>
                  <a:pt x="3435529" y="861400"/>
                </a:lnTo>
                <a:lnTo>
                  <a:pt x="3433250" y="858693"/>
                </a:lnTo>
                <a:lnTo>
                  <a:pt x="3431839" y="860967"/>
                </a:lnTo>
                <a:lnTo>
                  <a:pt x="3431839" y="864973"/>
                </a:lnTo>
                <a:lnTo>
                  <a:pt x="3431839" y="866813"/>
                </a:lnTo>
                <a:lnTo>
                  <a:pt x="3427389" y="869087"/>
                </a:lnTo>
                <a:lnTo>
                  <a:pt x="3425871" y="870602"/>
                </a:lnTo>
                <a:lnTo>
                  <a:pt x="3429994" y="870602"/>
                </a:lnTo>
                <a:lnTo>
                  <a:pt x="3432382" y="872118"/>
                </a:lnTo>
                <a:lnTo>
                  <a:pt x="3435312" y="876449"/>
                </a:lnTo>
                <a:lnTo>
                  <a:pt x="3437698" y="880022"/>
                </a:lnTo>
                <a:lnTo>
                  <a:pt x="3436614" y="882079"/>
                </a:lnTo>
                <a:lnTo>
                  <a:pt x="3431622" y="882079"/>
                </a:lnTo>
                <a:lnTo>
                  <a:pt x="3429343" y="884136"/>
                </a:lnTo>
                <a:lnTo>
                  <a:pt x="3426088" y="885977"/>
                </a:lnTo>
                <a:lnTo>
                  <a:pt x="3423375" y="883595"/>
                </a:lnTo>
                <a:lnTo>
                  <a:pt x="3423375" y="886302"/>
                </a:lnTo>
                <a:lnTo>
                  <a:pt x="3426304" y="888359"/>
                </a:lnTo>
                <a:lnTo>
                  <a:pt x="3429451" y="888359"/>
                </a:lnTo>
                <a:lnTo>
                  <a:pt x="3433901" y="884569"/>
                </a:lnTo>
                <a:lnTo>
                  <a:pt x="3436614" y="884569"/>
                </a:lnTo>
                <a:lnTo>
                  <a:pt x="3441496" y="882729"/>
                </a:lnTo>
                <a:lnTo>
                  <a:pt x="3442691" y="884245"/>
                </a:lnTo>
                <a:lnTo>
                  <a:pt x="3442691" y="886843"/>
                </a:lnTo>
                <a:lnTo>
                  <a:pt x="3444427" y="888900"/>
                </a:lnTo>
                <a:lnTo>
                  <a:pt x="3449202" y="886626"/>
                </a:lnTo>
                <a:lnTo>
                  <a:pt x="3451046" y="886626"/>
                </a:lnTo>
                <a:lnTo>
                  <a:pt x="3461898" y="889875"/>
                </a:lnTo>
                <a:lnTo>
                  <a:pt x="3466021" y="891932"/>
                </a:lnTo>
                <a:lnTo>
                  <a:pt x="3468300" y="891932"/>
                </a:lnTo>
                <a:lnTo>
                  <a:pt x="3469494" y="895180"/>
                </a:lnTo>
                <a:lnTo>
                  <a:pt x="3471773" y="900052"/>
                </a:lnTo>
                <a:lnTo>
                  <a:pt x="3469928" y="904058"/>
                </a:lnTo>
                <a:lnTo>
                  <a:pt x="3466781" y="905358"/>
                </a:lnTo>
                <a:lnTo>
                  <a:pt x="3464286" y="908173"/>
                </a:lnTo>
                <a:lnTo>
                  <a:pt x="3461464" y="909580"/>
                </a:lnTo>
                <a:lnTo>
                  <a:pt x="3458100" y="909580"/>
                </a:lnTo>
                <a:lnTo>
                  <a:pt x="3446489" y="915318"/>
                </a:lnTo>
                <a:lnTo>
                  <a:pt x="3440520" y="915318"/>
                </a:lnTo>
                <a:lnTo>
                  <a:pt x="3436397" y="916834"/>
                </a:lnTo>
                <a:lnTo>
                  <a:pt x="3433467" y="914777"/>
                </a:lnTo>
                <a:lnTo>
                  <a:pt x="3430970" y="910446"/>
                </a:lnTo>
                <a:lnTo>
                  <a:pt x="3430970" y="907522"/>
                </a:lnTo>
                <a:lnTo>
                  <a:pt x="3429451" y="905683"/>
                </a:lnTo>
                <a:lnTo>
                  <a:pt x="3426847" y="904708"/>
                </a:lnTo>
                <a:lnTo>
                  <a:pt x="3426847" y="909147"/>
                </a:lnTo>
                <a:lnTo>
                  <a:pt x="3428149" y="910663"/>
                </a:lnTo>
                <a:lnTo>
                  <a:pt x="3428801" y="913044"/>
                </a:lnTo>
                <a:lnTo>
                  <a:pt x="3427389" y="914344"/>
                </a:lnTo>
                <a:lnTo>
                  <a:pt x="3423809" y="913586"/>
                </a:lnTo>
                <a:lnTo>
                  <a:pt x="3423809" y="912503"/>
                </a:lnTo>
                <a:lnTo>
                  <a:pt x="3422181" y="912503"/>
                </a:lnTo>
                <a:lnTo>
                  <a:pt x="3418817" y="914669"/>
                </a:lnTo>
                <a:lnTo>
                  <a:pt x="3419793" y="916185"/>
                </a:lnTo>
                <a:lnTo>
                  <a:pt x="3423591" y="917159"/>
                </a:lnTo>
                <a:lnTo>
                  <a:pt x="3425544" y="919216"/>
                </a:lnTo>
                <a:lnTo>
                  <a:pt x="3426196" y="921815"/>
                </a:lnTo>
                <a:lnTo>
                  <a:pt x="3424134" y="924521"/>
                </a:lnTo>
                <a:lnTo>
                  <a:pt x="3422181" y="925712"/>
                </a:lnTo>
                <a:lnTo>
                  <a:pt x="3419360" y="925712"/>
                </a:lnTo>
                <a:lnTo>
                  <a:pt x="3418057" y="927553"/>
                </a:lnTo>
                <a:lnTo>
                  <a:pt x="3418057" y="932425"/>
                </a:lnTo>
                <a:lnTo>
                  <a:pt x="3415127" y="934482"/>
                </a:lnTo>
                <a:lnTo>
                  <a:pt x="3406880" y="938272"/>
                </a:lnTo>
                <a:lnTo>
                  <a:pt x="3402865" y="938272"/>
                </a:lnTo>
                <a:lnTo>
                  <a:pt x="3400152" y="938272"/>
                </a:lnTo>
                <a:lnTo>
                  <a:pt x="3396354" y="941953"/>
                </a:lnTo>
                <a:lnTo>
                  <a:pt x="3394835" y="944876"/>
                </a:lnTo>
                <a:lnTo>
                  <a:pt x="3395920" y="946067"/>
                </a:lnTo>
                <a:lnTo>
                  <a:pt x="3403733" y="942277"/>
                </a:lnTo>
                <a:lnTo>
                  <a:pt x="3409159" y="942277"/>
                </a:lnTo>
                <a:lnTo>
                  <a:pt x="3412957" y="940978"/>
                </a:lnTo>
                <a:lnTo>
                  <a:pt x="3415344" y="942062"/>
                </a:lnTo>
                <a:lnTo>
                  <a:pt x="3416864" y="944010"/>
                </a:lnTo>
                <a:lnTo>
                  <a:pt x="3421964" y="945093"/>
                </a:lnTo>
                <a:lnTo>
                  <a:pt x="3425871" y="945093"/>
                </a:lnTo>
                <a:lnTo>
                  <a:pt x="3430537" y="943577"/>
                </a:lnTo>
                <a:lnTo>
                  <a:pt x="3437590" y="943577"/>
                </a:lnTo>
                <a:lnTo>
                  <a:pt x="3440955" y="945093"/>
                </a:lnTo>
                <a:lnTo>
                  <a:pt x="3444969" y="944227"/>
                </a:lnTo>
                <a:lnTo>
                  <a:pt x="3446922" y="944227"/>
                </a:lnTo>
                <a:lnTo>
                  <a:pt x="3448225" y="945850"/>
                </a:lnTo>
                <a:lnTo>
                  <a:pt x="3450395" y="945850"/>
                </a:lnTo>
                <a:lnTo>
                  <a:pt x="3451589" y="948124"/>
                </a:lnTo>
                <a:lnTo>
                  <a:pt x="3450178" y="950290"/>
                </a:lnTo>
                <a:lnTo>
                  <a:pt x="3446271" y="951372"/>
                </a:lnTo>
                <a:lnTo>
                  <a:pt x="3441496" y="950073"/>
                </a:lnTo>
                <a:lnTo>
                  <a:pt x="3437698" y="950073"/>
                </a:lnTo>
                <a:lnTo>
                  <a:pt x="3434226" y="953321"/>
                </a:lnTo>
                <a:lnTo>
                  <a:pt x="3428692" y="953862"/>
                </a:lnTo>
                <a:lnTo>
                  <a:pt x="3425003" y="955811"/>
                </a:lnTo>
                <a:lnTo>
                  <a:pt x="3421855" y="954621"/>
                </a:lnTo>
                <a:lnTo>
                  <a:pt x="3419251" y="952239"/>
                </a:lnTo>
                <a:lnTo>
                  <a:pt x="3414910" y="952239"/>
                </a:lnTo>
                <a:lnTo>
                  <a:pt x="3412305" y="955054"/>
                </a:lnTo>
                <a:lnTo>
                  <a:pt x="3414151" y="956894"/>
                </a:lnTo>
                <a:lnTo>
                  <a:pt x="3416647" y="955811"/>
                </a:lnTo>
                <a:lnTo>
                  <a:pt x="3419577" y="957327"/>
                </a:lnTo>
                <a:lnTo>
                  <a:pt x="3427389" y="957327"/>
                </a:lnTo>
                <a:lnTo>
                  <a:pt x="3429451" y="958843"/>
                </a:lnTo>
                <a:lnTo>
                  <a:pt x="3431622" y="961550"/>
                </a:lnTo>
                <a:lnTo>
                  <a:pt x="3433250" y="958410"/>
                </a:lnTo>
                <a:lnTo>
                  <a:pt x="3439218" y="953105"/>
                </a:lnTo>
                <a:lnTo>
                  <a:pt x="3442582" y="953105"/>
                </a:lnTo>
                <a:cubicBezTo>
                  <a:pt x="3443597" y="952720"/>
                  <a:pt x="3444577" y="952249"/>
                  <a:pt x="3445512" y="951697"/>
                </a:cubicBezTo>
                <a:lnTo>
                  <a:pt x="3448225" y="952780"/>
                </a:lnTo>
                <a:lnTo>
                  <a:pt x="3450178" y="954296"/>
                </a:lnTo>
                <a:lnTo>
                  <a:pt x="3452891" y="953213"/>
                </a:lnTo>
                <a:lnTo>
                  <a:pt x="3459402" y="953213"/>
                </a:lnTo>
                <a:lnTo>
                  <a:pt x="3462549" y="951481"/>
                </a:lnTo>
                <a:lnTo>
                  <a:pt x="3469060" y="946717"/>
                </a:lnTo>
                <a:lnTo>
                  <a:pt x="3471339" y="944552"/>
                </a:lnTo>
                <a:lnTo>
                  <a:pt x="3471339" y="945959"/>
                </a:lnTo>
                <a:lnTo>
                  <a:pt x="3470688" y="948341"/>
                </a:lnTo>
                <a:lnTo>
                  <a:pt x="3471773" y="949207"/>
                </a:lnTo>
                <a:lnTo>
                  <a:pt x="3475137" y="947366"/>
                </a:lnTo>
                <a:lnTo>
                  <a:pt x="3476765" y="947366"/>
                </a:lnTo>
                <a:lnTo>
                  <a:pt x="3478393" y="949423"/>
                </a:lnTo>
                <a:lnTo>
                  <a:pt x="3484578" y="954404"/>
                </a:lnTo>
                <a:lnTo>
                  <a:pt x="3491306" y="955378"/>
                </a:lnTo>
                <a:lnTo>
                  <a:pt x="3496623" y="957868"/>
                </a:lnTo>
                <a:lnTo>
                  <a:pt x="3502591" y="959276"/>
                </a:lnTo>
                <a:lnTo>
                  <a:pt x="3505956" y="959276"/>
                </a:lnTo>
                <a:lnTo>
                  <a:pt x="3512467" y="959276"/>
                </a:lnTo>
                <a:lnTo>
                  <a:pt x="3514095" y="960250"/>
                </a:lnTo>
                <a:lnTo>
                  <a:pt x="3519629" y="960250"/>
                </a:lnTo>
                <a:lnTo>
                  <a:pt x="3525597" y="958193"/>
                </a:lnTo>
                <a:lnTo>
                  <a:pt x="3525597" y="959384"/>
                </a:lnTo>
                <a:lnTo>
                  <a:pt x="3523318" y="963499"/>
                </a:lnTo>
                <a:lnTo>
                  <a:pt x="3518869" y="966313"/>
                </a:lnTo>
                <a:lnTo>
                  <a:pt x="3513877" y="967180"/>
                </a:lnTo>
                <a:lnTo>
                  <a:pt x="3511816" y="966422"/>
                </a:lnTo>
                <a:lnTo>
                  <a:pt x="3508234" y="969021"/>
                </a:lnTo>
                <a:lnTo>
                  <a:pt x="3508234" y="970970"/>
                </a:lnTo>
                <a:lnTo>
                  <a:pt x="3510622" y="972702"/>
                </a:lnTo>
                <a:lnTo>
                  <a:pt x="3510622" y="974867"/>
                </a:lnTo>
                <a:lnTo>
                  <a:pt x="3509102" y="975950"/>
                </a:lnTo>
                <a:lnTo>
                  <a:pt x="3506824" y="975300"/>
                </a:lnTo>
                <a:lnTo>
                  <a:pt x="3505088" y="973460"/>
                </a:lnTo>
                <a:lnTo>
                  <a:pt x="3503135" y="972702"/>
                </a:lnTo>
                <a:lnTo>
                  <a:pt x="3502049" y="975300"/>
                </a:lnTo>
                <a:lnTo>
                  <a:pt x="3501398" y="977249"/>
                </a:lnTo>
                <a:lnTo>
                  <a:pt x="3499336" y="975841"/>
                </a:lnTo>
                <a:lnTo>
                  <a:pt x="3494995" y="975841"/>
                </a:lnTo>
                <a:lnTo>
                  <a:pt x="3494127" y="977033"/>
                </a:lnTo>
                <a:lnTo>
                  <a:pt x="3494127" y="979306"/>
                </a:lnTo>
                <a:lnTo>
                  <a:pt x="3495430" y="980280"/>
                </a:lnTo>
                <a:lnTo>
                  <a:pt x="3495430" y="983096"/>
                </a:lnTo>
                <a:lnTo>
                  <a:pt x="3492934" y="984936"/>
                </a:lnTo>
                <a:lnTo>
                  <a:pt x="3489787" y="985911"/>
                </a:lnTo>
                <a:lnTo>
                  <a:pt x="3488051" y="984286"/>
                </a:lnTo>
                <a:lnTo>
                  <a:pt x="3486423" y="982988"/>
                </a:lnTo>
                <a:lnTo>
                  <a:pt x="3485338" y="984178"/>
                </a:lnTo>
                <a:lnTo>
                  <a:pt x="3485989" y="986344"/>
                </a:lnTo>
                <a:lnTo>
                  <a:pt x="3485989" y="989700"/>
                </a:lnTo>
                <a:lnTo>
                  <a:pt x="3483384" y="989700"/>
                </a:lnTo>
                <a:lnTo>
                  <a:pt x="3481431" y="990674"/>
                </a:lnTo>
                <a:lnTo>
                  <a:pt x="3479152" y="992949"/>
                </a:lnTo>
                <a:lnTo>
                  <a:pt x="3476005" y="991433"/>
                </a:lnTo>
                <a:lnTo>
                  <a:pt x="3475354" y="989592"/>
                </a:lnTo>
                <a:lnTo>
                  <a:pt x="3473509" y="989592"/>
                </a:lnTo>
                <a:lnTo>
                  <a:pt x="3473509" y="992949"/>
                </a:lnTo>
                <a:lnTo>
                  <a:pt x="3474486" y="996088"/>
                </a:lnTo>
                <a:lnTo>
                  <a:pt x="3472207" y="999878"/>
                </a:lnTo>
                <a:lnTo>
                  <a:pt x="3469386" y="998362"/>
                </a:lnTo>
                <a:lnTo>
                  <a:pt x="3468518" y="995980"/>
                </a:lnTo>
                <a:lnTo>
                  <a:pt x="3465696" y="997279"/>
                </a:lnTo>
                <a:lnTo>
                  <a:pt x="3465696" y="999228"/>
                </a:lnTo>
                <a:lnTo>
                  <a:pt x="3467541" y="1000744"/>
                </a:lnTo>
                <a:lnTo>
                  <a:pt x="3467541" y="1003775"/>
                </a:lnTo>
                <a:lnTo>
                  <a:pt x="3462766" y="1006915"/>
                </a:lnTo>
                <a:lnTo>
                  <a:pt x="3460921" y="1006266"/>
                </a:lnTo>
                <a:lnTo>
                  <a:pt x="3459836" y="1004100"/>
                </a:lnTo>
                <a:lnTo>
                  <a:pt x="3457015" y="1002476"/>
                </a:lnTo>
                <a:lnTo>
                  <a:pt x="3451263" y="1003559"/>
                </a:lnTo>
                <a:lnTo>
                  <a:pt x="3451263" y="1005833"/>
                </a:lnTo>
                <a:lnTo>
                  <a:pt x="3452891" y="1009080"/>
                </a:lnTo>
                <a:lnTo>
                  <a:pt x="3452891" y="1011246"/>
                </a:lnTo>
                <a:lnTo>
                  <a:pt x="3450612" y="1012653"/>
                </a:lnTo>
                <a:lnTo>
                  <a:pt x="3446489" y="1013736"/>
                </a:lnTo>
                <a:lnTo>
                  <a:pt x="3445186" y="1015685"/>
                </a:lnTo>
                <a:lnTo>
                  <a:pt x="3440520" y="1015685"/>
                </a:lnTo>
                <a:lnTo>
                  <a:pt x="3437807" y="1018392"/>
                </a:lnTo>
                <a:lnTo>
                  <a:pt x="3436397" y="1021532"/>
                </a:lnTo>
                <a:lnTo>
                  <a:pt x="3434552" y="1021532"/>
                </a:lnTo>
                <a:lnTo>
                  <a:pt x="3433032" y="1018825"/>
                </a:lnTo>
                <a:lnTo>
                  <a:pt x="3430319" y="1018825"/>
                </a:lnTo>
                <a:lnTo>
                  <a:pt x="3426196" y="1021316"/>
                </a:lnTo>
                <a:lnTo>
                  <a:pt x="3422832" y="1021316"/>
                </a:lnTo>
                <a:lnTo>
                  <a:pt x="3421096" y="1022398"/>
                </a:lnTo>
                <a:lnTo>
                  <a:pt x="3419577" y="1025213"/>
                </a:lnTo>
                <a:lnTo>
                  <a:pt x="3416864" y="1025213"/>
                </a:lnTo>
                <a:lnTo>
                  <a:pt x="3414367" y="1024130"/>
                </a:lnTo>
                <a:lnTo>
                  <a:pt x="3413174" y="1022398"/>
                </a:lnTo>
                <a:lnTo>
                  <a:pt x="3411764" y="1022398"/>
                </a:lnTo>
                <a:lnTo>
                  <a:pt x="3409376" y="1026945"/>
                </a:lnTo>
                <a:lnTo>
                  <a:pt x="3407748" y="1025863"/>
                </a:lnTo>
                <a:lnTo>
                  <a:pt x="3405578" y="1022723"/>
                </a:lnTo>
                <a:lnTo>
                  <a:pt x="3404167" y="1022723"/>
                </a:lnTo>
                <a:lnTo>
                  <a:pt x="3403191" y="1026079"/>
                </a:lnTo>
                <a:lnTo>
                  <a:pt x="3401128" y="1028136"/>
                </a:lnTo>
                <a:lnTo>
                  <a:pt x="3398850" y="1026837"/>
                </a:lnTo>
                <a:lnTo>
                  <a:pt x="3398850" y="1024996"/>
                </a:lnTo>
                <a:lnTo>
                  <a:pt x="3397439" y="1024996"/>
                </a:lnTo>
                <a:lnTo>
                  <a:pt x="3397439" y="1028894"/>
                </a:lnTo>
                <a:lnTo>
                  <a:pt x="3395920" y="1029761"/>
                </a:lnTo>
                <a:lnTo>
                  <a:pt x="3392339" y="1029761"/>
                </a:lnTo>
                <a:lnTo>
                  <a:pt x="3389734" y="1030518"/>
                </a:lnTo>
                <a:lnTo>
                  <a:pt x="3389734" y="1032684"/>
                </a:lnTo>
                <a:lnTo>
                  <a:pt x="3389083" y="1034849"/>
                </a:lnTo>
                <a:lnTo>
                  <a:pt x="3386153" y="1034849"/>
                </a:lnTo>
                <a:lnTo>
                  <a:pt x="3384960" y="1033767"/>
                </a:lnTo>
                <a:lnTo>
                  <a:pt x="3383006" y="1033767"/>
                </a:lnTo>
                <a:lnTo>
                  <a:pt x="3383006" y="1036148"/>
                </a:lnTo>
                <a:lnTo>
                  <a:pt x="3381270" y="1036148"/>
                </a:lnTo>
                <a:lnTo>
                  <a:pt x="3380076" y="1034632"/>
                </a:lnTo>
                <a:lnTo>
                  <a:pt x="3378774" y="1034632"/>
                </a:lnTo>
                <a:lnTo>
                  <a:pt x="3378774" y="1038639"/>
                </a:lnTo>
                <a:lnTo>
                  <a:pt x="3376279" y="1039504"/>
                </a:lnTo>
                <a:lnTo>
                  <a:pt x="3374542" y="1041453"/>
                </a:lnTo>
                <a:lnTo>
                  <a:pt x="3372263" y="1041453"/>
                </a:lnTo>
                <a:lnTo>
                  <a:pt x="3371069" y="1039071"/>
                </a:lnTo>
                <a:lnTo>
                  <a:pt x="3366403" y="1033658"/>
                </a:lnTo>
                <a:lnTo>
                  <a:pt x="3364558" y="1032792"/>
                </a:lnTo>
                <a:lnTo>
                  <a:pt x="3362063" y="1033983"/>
                </a:lnTo>
                <a:lnTo>
                  <a:pt x="3362063" y="1035715"/>
                </a:lnTo>
                <a:lnTo>
                  <a:pt x="3360001" y="1035715"/>
                </a:lnTo>
                <a:lnTo>
                  <a:pt x="3359133" y="1038747"/>
                </a:lnTo>
                <a:lnTo>
                  <a:pt x="3356094" y="1040912"/>
                </a:lnTo>
                <a:lnTo>
                  <a:pt x="3353490" y="1040912"/>
                </a:lnTo>
                <a:lnTo>
                  <a:pt x="3352079" y="1039830"/>
                </a:lnTo>
                <a:lnTo>
                  <a:pt x="3350451" y="1042320"/>
                </a:lnTo>
                <a:lnTo>
                  <a:pt x="3346653" y="1042320"/>
                </a:lnTo>
                <a:lnTo>
                  <a:pt x="3343072" y="1042320"/>
                </a:lnTo>
                <a:lnTo>
                  <a:pt x="3340902" y="1039288"/>
                </a:lnTo>
                <a:lnTo>
                  <a:pt x="3338840" y="1039288"/>
                </a:lnTo>
                <a:lnTo>
                  <a:pt x="3337429" y="1041778"/>
                </a:lnTo>
                <a:lnTo>
                  <a:pt x="3337429" y="1043619"/>
                </a:lnTo>
                <a:lnTo>
                  <a:pt x="3334934" y="1043619"/>
                </a:lnTo>
                <a:lnTo>
                  <a:pt x="3331569" y="1041453"/>
                </a:lnTo>
                <a:lnTo>
                  <a:pt x="3330051" y="1037772"/>
                </a:lnTo>
                <a:lnTo>
                  <a:pt x="3331136" y="1034416"/>
                </a:lnTo>
                <a:lnTo>
                  <a:pt x="3329182" y="1032684"/>
                </a:lnTo>
                <a:lnTo>
                  <a:pt x="3326686" y="1031926"/>
                </a:lnTo>
                <a:lnTo>
                  <a:pt x="3324408" y="1027379"/>
                </a:lnTo>
                <a:lnTo>
                  <a:pt x="3324408" y="1024022"/>
                </a:lnTo>
                <a:lnTo>
                  <a:pt x="3322454" y="1020882"/>
                </a:lnTo>
                <a:lnTo>
                  <a:pt x="3321043" y="1016443"/>
                </a:lnTo>
                <a:lnTo>
                  <a:pt x="3319415" y="1014927"/>
                </a:lnTo>
                <a:lnTo>
                  <a:pt x="3317354" y="1014927"/>
                </a:lnTo>
                <a:lnTo>
                  <a:pt x="3317354" y="1018500"/>
                </a:lnTo>
                <a:lnTo>
                  <a:pt x="3318439" y="1020449"/>
                </a:lnTo>
                <a:lnTo>
                  <a:pt x="3319958" y="1024347"/>
                </a:lnTo>
                <a:lnTo>
                  <a:pt x="3322128" y="1026296"/>
                </a:lnTo>
                <a:lnTo>
                  <a:pt x="3323322" y="1029327"/>
                </a:lnTo>
                <a:lnTo>
                  <a:pt x="3323322" y="1033767"/>
                </a:lnTo>
                <a:lnTo>
                  <a:pt x="3322020" y="1036906"/>
                </a:lnTo>
                <a:lnTo>
                  <a:pt x="3323105" y="1037772"/>
                </a:lnTo>
                <a:lnTo>
                  <a:pt x="3325601" y="1037772"/>
                </a:lnTo>
                <a:lnTo>
                  <a:pt x="3326578" y="1042753"/>
                </a:lnTo>
                <a:lnTo>
                  <a:pt x="3325601" y="1048491"/>
                </a:lnTo>
                <a:lnTo>
                  <a:pt x="3323213" y="1051523"/>
                </a:lnTo>
                <a:lnTo>
                  <a:pt x="3320392" y="1052714"/>
                </a:lnTo>
                <a:lnTo>
                  <a:pt x="3319090" y="1051198"/>
                </a:lnTo>
                <a:lnTo>
                  <a:pt x="3317245" y="1051198"/>
                </a:lnTo>
                <a:lnTo>
                  <a:pt x="3313773" y="1052930"/>
                </a:lnTo>
                <a:lnTo>
                  <a:pt x="3310409" y="1057369"/>
                </a:lnTo>
                <a:lnTo>
                  <a:pt x="3308564" y="1058236"/>
                </a:lnTo>
                <a:lnTo>
                  <a:pt x="3305417" y="1058236"/>
                </a:lnTo>
                <a:lnTo>
                  <a:pt x="3304332" y="1059859"/>
                </a:lnTo>
                <a:lnTo>
                  <a:pt x="3304332" y="1060942"/>
                </a:lnTo>
                <a:lnTo>
                  <a:pt x="3304332" y="1063649"/>
                </a:lnTo>
                <a:lnTo>
                  <a:pt x="3301402" y="1065489"/>
                </a:lnTo>
                <a:lnTo>
                  <a:pt x="3298363" y="1065489"/>
                </a:lnTo>
                <a:lnTo>
                  <a:pt x="3297712" y="1068305"/>
                </a:lnTo>
                <a:lnTo>
                  <a:pt x="3297712" y="1069821"/>
                </a:lnTo>
                <a:lnTo>
                  <a:pt x="3297712" y="1072311"/>
                </a:lnTo>
                <a:lnTo>
                  <a:pt x="3295325" y="1069821"/>
                </a:lnTo>
                <a:lnTo>
                  <a:pt x="3293154" y="1069171"/>
                </a:lnTo>
                <a:lnTo>
                  <a:pt x="3294999" y="1071336"/>
                </a:lnTo>
                <a:lnTo>
                  <a:pt x="3295650" y="1073177"/>
                </a:lnTo>
                <a:lnTo>
                  <a:pt x="3294782" y="1076100"/>
                </a:lnTo>
                <a:lnTo>
                  <a:pt x="3293046" y="1076100"/>
                </a:lnTo>
                <a:lnTo>
                  <a:pt x="3291093" y="1075017"/>
                </a:lnTo>
                <a:lnTo>
                  <a:pt x="3288814" y="1074152"/>
                </a:lnTo>
                <a:lnTo>
                  <a:pt x="3288814" y="1075234"/>
                </a:lnTo>
                <a:lnTo>
                  <a:pt x="3289574" y="1077075"/>
                </a:lnTo>
                <a:lnTo>
                  <a:pt x="3290333" y="1079348"/>
                </a:lnTo>
                <a:lnTo>
                  <a:pt x="3288271" y="1082055"/>
                </a:lnTo>
                <a:lnTo>
                  <a:pt x="3284473" y="1083246"/>
                </a:lnTo>
                <a:lnTo>
                  <a:pt x="3279156" y="1088984"/>
                </a:lnTo>
                <a:lnTo>
                  <a:pt x="3279156" y="1092016"/>
                </a:lnTo>
                <a:lnTo>
                  <a:pt x="3279807" y="1095156"/>
                </a:lnTo>
                <a:lnTo>
                  <a:pt x="3278614" y="1098513"/>
                </a:lnTo>
                <a:lnTo>
                  <a:pt x="3275358" y="1102518"/>
                </a:lnTo>
                <a:lnTo>
                  <a:pt x="3272971" y="1104034"/>
                </a:lnTo>
                <a:lnTo>
                  <a:pt x="3271777" y="1103060"/>
                </a:lnTo>
                <a:lnTo>
                  <a:pt x="3270691" y="1101219"/>
                </a:lnTo>
                <a:lnTo>
                  <a:pt x="3271559" y="1099270"/>
                </a:lnTo>
                <a:lnTo>
                  <a:pt x="3269498" y="1100352"/>
                </a:lnTo>
                <a:lnTo>
                  <a:pt x="3267979" y="1102193"/>
                </a:lnTo>
                <a:lnTo>
                  <a:pt x="3267436" y="1105442"/>
                </a:lnTo>
                <a:lnTo>
                  <a:pt x="3267436" y="1106740"/>
                </a:lnTo>
                <a:lnTo>
                  <a:pt x="3266676" y="1108256"/>
                </a:lnTo>
                <a:lnTo>
                  <a:pt x="3260708" y="1113778"/>
                </a:lnTo>
                <a:lnTo>
                  <a:pt x="3258320" y="1114970"/>
                </a:lnTo>
                <a:lnTo>
                  <a:pt x="3257019" y="1114103"/>
                </a:lnTo>
                <a:lnTo>
                  <a:pt x="3257019" y="1111396"/>
                </a:lnTo>
                <a:lnTo>
                  <a:pt x="3255607" y="1109664"/>
                </a:lnTo>
                <a:lnTo>
                  <a:pt x="3253546" y="1109664"/>
                </a:lnTo>
                <a:lnTo>
                  <a:pt x="3253546" y="1112479"/>
                </a:lnTo>
                <a:lnTo>
                  <a:pt x="3251701" y="1112479"/>
                </a:lnTo>
                <a:lnTo>
                  <a:pt x="3247252" y="1110205"/>
                </a:lnTo>
                <a:lnTo>
                  <a:pt x="3245841" y="1108040"/>
                </a:lnTo>
                <a:lnTo>
                  <a:pt x="3243997" y="1108040"/>
                </a:lnTo>
                <a:lnTo>
                  <a:pt x="3243020" y="1108797"/>
                </a:lnTo>
                <a:lnTo>
                  <a:pt x="3244648" y="1111288"/>
                </a:lnTo>
                <a:lnTo>
                  <a:pt x="3246601" y="1112262"/>
                </a:lnTo>
                <a:lnTo>
                  <a:pt x="3248663" y="1115835"/>
                </a:lnTo>
                <a:lnTo>
                  <a:pt x="3248663" y="1118867"/>
                </a:lnTo>
                <a:lnTo>
                  <a:pt x="3246384" y="1120383"/>
                </a:lnTo>
                <a:lnTo>
                  <a:pt x="3244539" y="1120383"/>
                </a:lnTo>
                <a:lnTo>
                  <a:pt x="3238462" y="1124280"/>
                </a:lnTo>
                <a:lnTo>
                  <a:pt x="3234881" y="1128178"/>
                </a:lnTo>
                <a:lnTo>
                  <a:pt x="3231626" y="1128178"/>
                </a:lnTo>
                <a:lnTo>
                  <a:pt x="3229238" y="1126554"/>
                </a:lnTo>
                <a:lnTo>
                  <a:pt x="3229238" y="1124280"/>
                </a:lnTo>
                <a:lnTo>
                  <a:pt x="3230106" y="1122115"/>
                </a:lnTo>
                <a:lnTo>
                  <a:pt x="3228804" y="1121141"/>
                </a:lnTo>
                <a:lnTo>
                  <a:pt x="3227285" y="1121141"/>
                </a:lnTo>
                <a:lnTo>
                  <a:pt x="3225875" y="1123847"/>
                </a:lnTo>
                <a:lnTo>
                  <a:pt x="3225875" y="1126013"/>
                </a:lnTo>
                <a:lnTo>
                  <a:pt x="3225223" y="1128286"/>
                </a:lnTo>
                <a:lnTo>
                  <a:pt x="3222510" y="1128286"/>
                </a:lnTo>
                <a:lnTo>
                  <a:pt x="3218929" y="1130019"/>
                </a:lnTo>
                <a:lnTo>
                  <a:pt x="3215674" y="1128828"/>
                </a:lnTo>
                <a:lnTo>
                  <a:pt x="3213503" y="1124713"/>
                </a:lnTo>
                <a:lnTo>
                  <a:pt x="3213503" y="1122007"/>
                </a:lnTo>
                <a:lnTo>
                  <a:pt x="3214806" y="1118867"/>
                </a:lnTo>
                <a:lnTo>
                  <a:pt x="3213721" y="1116593"/>
                </a:lnTo>
                <a:lnTo>
                  <a:pt x="3212527" y="1116593"/>
                </a:lnTo>
                <a:lnTo>
                  <a:pt x="3211659" y="1121357"/>
                </a:lnTo>
                <a:lnTo>
                  <a:pt x="3210573" y="1125038"/>
                </a:lnTo>
                <a:lnTo>
                  <a:pt x="3210573" y="1127529"/>
                </a:lnTo>
                <a:lnTo>
                  <a:pt x="3209488" y="1130235"/>
                </a:lnTo>
                <a:lnTo>
                  <a:pt x="3207643" y="1129261"/>
                </a:lnTo>
                <a:lnTo>
                  <a:pt x="3202326" y="1122873"/>
                </a:lnTo>
                <a:lnTo>
                  <a:pt x="3202326" y="1119409"/>
                </a:lnTo>
                <a:lnTo>
                  <a:pt x="3204171" y="1114861"/>
                </a:lnTo>
                <a:lnTo>
                  <a:pt x="3207318" y="1112154"/>
                </a:lnTo>
                <a:lnTo>
                  <a:pt x="3210031" y="1110097"/>
                </a:lnTo>
                <a:lnTo>
                  <a:pt x="3208186" y="1108581"/>
                </a:lnTo>
                <a:lnTo>
                  <a:pt x="3204388" y="1107715"/>
                </a:lnTo>
                <a:lnTo>
                  <a:pt x="3201783" y="1104576"/>
                </a:lnTo>
                <a:lnTo>
                  <a:pt x="3201783" y="1103384"/>
                </a:lnTo>
                <a:lnTo>
                  <a:pt x="3200698" y="1102843"/>
                </a:lnTo>
                <a:lnTo>
                  <a:pt x="3198528" y="1103709"/>
                </a:lnTo>
                <a:lnTo>
                  <a:pt x="3196901" y="1106307"/>
                </a:lnTo>
                <a:lnTo>
                  <a:pt x="3196901" y="1108256"/>
                </a:lnTo>
                <a:lnTo>
                  <a:pt x="3199830" y="1111396"/>
                </a:lnTo>
                <a:lnTo>
                  <a:pt x="3199070" y="1113887"/>
                </a:lnTo>
                <a:lnTo>
                  <a:pt x="3197226" y="1116810"/>
                </a:lnTo>
                <a:lnTo>
                  <a:pt x="3196466" y="1120058"/>
                </a:lnTo>
                <a:lnTo>
                  <a:pt x="3193103" y="1123523"/>
                </a:lnTo>
                <a:lnTo>
                  <a:pt x="3190932" y="1123523"/>
                </a:lnTo>
                <a:lnTo>
                  <a:pt x="3190281" y="1119625"/>
                </a:lnTo>
                <a:lnTo>
                  <a:pt x="3188762" y="1118650"/>
                </a:lnTo>
                <a:lnTo>
                  <a:pt x="3186591" y="1121032"/>
                </a:lnTo>
                <a:lnTo>
                  <a:pt x="3187242" y="1123847"/>
                </a:lnTo>
                <a:lnTo>
                  <a:pt x="3189630" y="1128828"/>
                </a:lnTo>
                <a:lnTo>
                  <a:pt x="3191909" y="1131751"/>
                </a:lnTo>
                <a:lnTo>
                  <a:pt x="3191909" y="1133592"/>
                </a:lnTo>
                <a:lnTo>
                  <a:pt x="3190498" y="1134241"/>
                </a:lnTo>
                <a:lnTo>
                  <a:pt x="3189521" y="1137056"/>
                </a:lnTo>
                <a:lnTo>
                  <a:pt x="3186374" y="1139114"/>
                </a:lnTo>
                <a:lnTo>
                  <a:pt x="3183118" y="1139114"/>
                </a:lnTo>
                <a:lnTo>
                  <a:pt x="3181382" y="1137273"/>
                </a:lnTo>
                <a:lnTo>
                  <a:pt x="3179537" y="1138031"/>
                </a:lnTo>
                <a:lnTo>
                  <a:pt x="3177584" y="1140521"/>
                </a:lnTo>
                <a:lnTo>
                  <a:pt x="3173894" y="1142145"/>
                </a:lnTo>
                <a:lnTo>
                  <a:pt x="3172376" y="1140629"/>
                </a:lnTo>
                <a:lnTo>
                  <a:pt x="3170856" y="1136623"/>
                </a:lnTo>
                <a:lnTo>
                  <a:pt x="3169554" y="1134133"/>
                </a:lnTo>
                <a:lnTo>
                  <a:pt x="3168143" y="1134133"/>
                </a:lnTo>
                <a:lnTo>
                  <a:pt x="3168143" y="1136190"/>
                </a:lnTo>
                <a:lnTo>
                  <a:pt x="3168143" y="1138356"/>
                </a:lnTo>
                <a:lnTo>
                  <a:pt x="3165865" y="1140954"/>
                </a:lnTo>
                <a:lnTo>
                  <a:pt x="3162935" y="1140954"/>
                </a:lnTo>
                <a:lnTo>
                  <a:pt x="3161307" y="1137382"/>
                </a:lnTo>
                <a:lnTo>
                  <a:pt x="3159787" y="1134891"/>
                </a:lnTo>
                <a:lnTo>
                  <a:pt x="3158268" y="1135541"/>
                </a:lnTo>
                <a:lnTo>
                  <a:pt x="3157074" y="1137490"/>
                </a:lnTo>
                <a:lnTo>
                  <a:pt x="3154796" y="1137490"/>
                </a:lnTo>
                <a:lnTo>
                  <a:pt x="3152951" y="1139005"/>
                </a:lnTo>
                <a:lnTo>
                  <a:pt x="3152951" y="1140737"/>
                </a:lnTo>
                <a:lnTo>
                  <a:pt x="3154036" y="1144094"/>
                </a:lnTo>
                <a:lnTo>
                  <a:pt x="3154036" y="1152431"/>
                </a:lnTo>
                <a:lnTo>
                  <a:pt x="3151758" y="1157736"/>
                </a:lnTo>
                <a:lnTo>
                  <a:pt x="3147416" y="1162825"/>
                </a:lnTo>
                <a:lnTo>
                  <a:pt x="3144595" y="1162825"/>
                </a:lnTo>
                <a:lnTo>
                  <a:pt x="3142750" y="1161309"/>
                </a:lnTo>
                <a:lnTo>
                  <a:pt x="3141231" y="1156329"/>
                </a:lnTo>
                <a:lnTo>
                  <a:pt x="3138844" y="1155029"/>
                </a:lnTo>
                <a:lnTo>
                  <a:pt x="3136782" y="1156112"/>
                </a:lnTo>
                <a:lnTo>
                  <a:pt x="3136782" y="1158169"/>
                </a:lnTo>
                <a:lnTo>
                  <a:pt x="3132984" y="1156653"/>
                </a:lnTo>
                <a:lnTo>
                  <a:pt x="3131899" y="1153947"/>
                </a:lnTo>
                <a:lnTo>
                  <a:pt x="3130380" y="1153188"/>
                </a:lnTo>
                <a:lnTo>
                  <a:pt x="3129728" y="1155137"/>
                </a:lnTo>
                <a:lnTo>
                  <a:pt x="3129728" y="1156978"/>
                </a:lnTo>
                <a:lnTo>
                  <a:pt x="3130922" y="1160984"/>
                </a:lnTo>
                <a:lnTo>
                  <a:pt x="3129078" y="1163258"/>
                </a:lnTo>
                <a:lnTo>
                  <a:pt x="3129078" y="1165207"/>
                </a:lnTo>
                <a:lnTo>
                  <a:pt x="3130271" y="1168455"/>
                </a:lnTo>
                <a:lnTo>
                  <a:pt x="3132767" y="1170729"/>
                </a:lnTo>
                <a:lnTo>
                  <a:pt x="3134178" y="1175600"/>
                </a:lnTo>
                <a:lnTo>
                  <a:pt x="3135154" y="1182205"/>
                </a:lnTo>
                <a:lnTo>
                  <a:pt x="3134178" y="1186103"/>
                </a:lnTo>
                <a:lnTo>
                  <a:pt x="3131031" y="1184046"/>
                </a:lnTo>
                <a:lnTo>
                  <a:pt x="3129186" y="1184046"/>
                </a:lnTo>
                <a:lnTo>
                  <a:pt x="3127992" y="1186428"/>
                </a:lnTo>
                <a:lnTo>
                  <a:pt x="3124303" y="1186428"/>
                </a:lnTo>
                <a:lnTo>
                  <a:pt x="3119745" y="1185237"/>
                </a:lnTo>
                <a:lnTo>
                  <a:pt x="3115513" y="1185237"/>
                </a:lnTo>
                <a:lnTo>
                  <a:pt x="3113668" y="1187510"/>
                </a:lnTo>
                <a:lnTo>
                  <a:pt x="3114644" y="1189026"/>
                </a:lnTo>
                <a:lnTo>
                  <a:pt x="3119854" y="1192166"/>
                </a:lnTo>
                <a:lnTo>
                  <a:pt x="3123435" y="1192166"/>
                </a:lnTo>
                <a:lnTo>
                  <a:pt x="3125930" y="1194115"/>
                </a:lnTo>
                <a:lnTo>
                  <a:pt x="3127558" y="1195739"/>
                </a:lnTo>
                <a:lnTo>
                  <a:pt x="3129403" y="1194873"/>
                </a:lnTo>
                <a:lnTo>
                  <a:pt x="3132008" y="1194873"/>
                </a:lnTo>
                <a:lnTo>
                  <a:pt x="3132008" y="1196930"/>
                </a:lnTo>
                <a:lnTo>
                  <a:pt x="3130922" y="1200287"/>
                </a:lnTo>
                <a:lnTo>
                  <a:pt x="3128535" y="1200287"/>
                </a:lnTo>
                <a:lnTo>
                  <a:pt x="3126147" y="1200287"/>
                </a:lnTo>
                <a:lnTo>
                  <a:pt x="3126147" y="1201694"/>
                </a:lnTo>
                <a:lnTo>
                  <a:pt x="3128210" y="1202777"/>
                </a:lnTo>
                <a:lnTo>
                  <a:pt x="3129295" y="1205159"/>
                </a:lnTo>
                <a:lnTo>
                  <a:pt x="3129295" y="1207432"/>
                </a:lnTo>
                <a:lnTo>
                  <a:pt x="3128426" y="1209056"/>
                </a:lnTo>
                <a:lnTo>
                  <a:pt x="3126690" y="1209814"/>
                </a:lnTo>
                <a:lnTo>
                  <a:pt x="3123869" y="1208732"/>
                </a:lnTo>
                <a:lnTo>
                  <a:pt x="3120722" y="1204401"/>
                </a:lnTo>
                <a:lnTo>
                  <a:pt x="3118443" y="1204401"/>
                </a:lnTo>
                <a:lnTo>
                  <a:pt x="3116489" y="1203426"/>
                </a:lnTo>
                <a:lnTo>
                  <a:pt x="3113668" y="1200503"/>
                </a:lnTo>
                <a:lnTo>
                  <a:pt x="3109870" y="1200503"/>
                </a:lnTo>
                <a:lnTo>
                  <a:pt x="3108893" y="1202019"/>
                </a:lnTo>
                <a:lnTo>
                  <a:pt x="3108242" y="1204401"/>
                </a:lnTo>
                <a:lnTo>
                  <a:pt x="3112040" y="1204942"/>
                </a:lnTo>
                <a:lnTo>
                  <a:pt x="3114102" y="1204942"/>
                </a:lnTo>
                <a:lnTo>
                  <a:pt x="3118443" y="1207541"/>
                </a:lnTo>
                <a:lnTo>
                  <a:pt x="3121807" y="1209598"/>
                </a:lnTo>
                <a:lnTo>
                  <a:pt x="3124737" y="1210789"/>
                </a:lnTo>
                <a:lnTo>
                  <a:pt x="3125605" y="1212088"/>
                </a:lnTo>
                <a:lnTo>
                  <a:pt x="3124303" y="1215661"/>
                </a:lnTo>
                <a:lnTo>
                  <a:pt x="3120722" y="1217177"/>
                </a:lnTo>
                <a:lnTo>
                  <a:pt x="3117792" y="1217177"/>
                </a:lnTo>
                <a:lnTo>
                  <a:pt x="3115947" y="1218585"/>
                </a:lnTo>
                <a:lnTo>
                  <a:pt x="3113126" y="1218585"/>
                </a:lnTo>
                <a:lnTo>
                  <a:pt x="3108242" y="1214361"/>
                </a:lnTo>
                <a:lnTo>
                  <a:pt x="3106723" y="1212088"/>
                </a:lnTo>
                <a:lnTo>
                  <a:pt x="3104336" y="1212088"/>
                </a:lnTo>
                <a:lnTo>
                  <a:pt x="3102925" y="1213712"/>
                </a:lnTo>
                <a:lnTo>
                  <a:pt x="3101189" y="1215661"/>
                </a:lnTo>
                <a:lnTo>
                  <a:pt x="3101189" y="1219342"/>
                </a:lnTo>
                <a:lnTo>
                  <a:pt x="3104118" y="1221940"/>
                </a:lnTo>
                <a:lnTo>
                  <a:pt x="3107745" y="1223876"/>
                </a:lnTo>
                <a:lnTo>
                  <a:pt x="3104987" y="1220967"/>
                </a:lnTo>
                <a:lnTo>
                  <a:pt x="3105096" y="1219451"/>
                </a:lnTo>
                <a:lnTo>
                  <a:pt x="3106832" y="1219451"/>
                </a:lnTo>
                <a:lnTo>
                  <a:pt x="3108893" y="1222266"/>
                </a:lnTo>
                <a:lnTo>
                  <a:pt x="3113994" y="1224215"/>
                </a:lnTo>
                <a:lnTo>
                  <a:pt x="3115730" y="1227463"/>
                </a:lnTo>
                <a:lnTo>
                  <a:pt x="3114211" y="1228547"/>
                </a:lnTo>
                <a:lnTo>
                  <a:pt x="3113451" y="1227463"/>
                </a:lnTo>
                <a:lnTo>
                  <a:pt x="3109107" y="1225145"/>
                </a:lnTo>
                <a:lnTo>
                  <a:pt x="3109762" y="1226596"/>
                </a:lnTo>
                <a:lnTo>
                  <a:pt x="3109762" y="1228762"/>
                </a:lnTo>
                <a:lnTo>
                  <a:pt x="3108459" y="1230277"/>
                </a:lnTo>
                <a:lnTo>
                  <a:pt x="3105529" y="1227354"/>
                </a:lnTo>
                <a:lnTo>
                  <a:pt x="3102817" y="1226705"/>
                </a:lnTo>
                <a:lnTo>
                  <a:pt x="3098801" y="1224214"/>
                </a:lnTo>
                <a:lnTo>
                  <a:pt x="3096631" y="1221616"/>
                </a:lnTo>
                <a:lnTo>
                  <a:pt x="3095438" y="1221616"/>
                </a:lnTo>
                <a:lnTo>
                  <a:pt x="3096197" y="1225622"/>
                </a:lnTo>
                <a:lnTo>
                  <a:pt x="3099344" y="1228112"/>
                </a:lnTo>
                <a:lnTo>
                  <a:pt x="3104227" y="1230494"/>
                </a:lnTo>
                <a:lnTo>
                  <a:pt x="3105095" y="1232334"/>
                </a:lnTo>
                <a:lnTo>
                  <a:pt x="3105095" y="1234175"/>
                </a:lnTo>
                <a:lnTo>
                  <a:pt x="3103359" y="1235366"/>
                </a:lnTo>
                <a:lnTo>
                  <a:pt x="3098476" y="1235366"/>
                </a:lnTo>
                <a:lnTo>
                  <a:pt x="3096088" y="1232659"/>
                </a:lnTo>
                <a:lnTo>
                  <a:pt x="3096088" y="1229628"/>
                </a:lnTo>
                <a:lnTo>
                  <a:pt x="3093810" y="1227571"/>
                </a:lnTo>
                <a:lnTo>
                  <a:pt x="3092399" y="1227571"/>
                </a:lnTo>
                <a:lnTo>
                  <a:pt x="3090445" y="1229736"/>
                </a:lnTo>
                <a:lnTo>
                  <a:pt x="3090445" y="1231793"/>
                </a:lnTo>
                <a:lnTo>
                  <a:pt x="3092507" y="1234391"/>
                </a:lnTo>
                <a:lnTo>
                  <a:pt x="3092507" y="1237099"/>
                </a:lnTo>
                <a:lnTo>
                  <a:pt x="3092507" y="1238073"/>
                </a:lnTo>
                <a:lnTo>
                  <a:pt x="3093810" y="1239156"/>
                </a:lnTo>
                <a:lnTo>
                  <a:pt x="3100429" y="1239156"/>
                </a:lnTo>
                <a:lnTo>
                  <a:pt x="3103359" y="1240238"/>
                </a:lnTo>
                <a:lnTo>
                  <a:pt x="3104227" y="1242836"/>
                </a:lnTo>
                <a:lnTo>
                  <a:pt x="3103142" y="1243703"/>
                </a:lnTo>
                <a:lnTo>
                  <a:pt x="3101189" y="1245760"/>
                </a:lnTo>
                <a:lnTo>
                  <a:pt x="3099669" y="1247817"/>
                </a:lnTo>
                <a:lnTo>
                  <a:pt x="3097065" y="1247817"/>
                </a:lnTo>
                <a:lnTo>
                  <a:pt x="3094678" y="1246193"/>
                </a:lnTo>
                <a:lnTo>
                  <a:pt x="3092181" y="1246193"/>
                </a:lnTo>
                <a:lnTo>
                  <a:pt x="3087841" y="1244461"/>
                </a:lnTo>
                <a:lnTo>
                  <a:pt x="3087841" y="1242187"/>
                </a:lnTo>
                <a:lnTo>
                  <a:pt x="3087841" y="1240888"/>
                </a:lnTo>
                <a:lnTo>
                  <a:pt x="3085345" y="1239372"/>
                </a:lnTo>
                <a:lnTo>
                  <a:pt x="3084043" y="1239372"/>
                </a:lnTo>
                <a:lnTo>
                  <a:pt x="3084043" y="1242945"/>
                </a:lnTo>
                <a:lnTo>
                  <a:pt x="3083175" y="1245327"/>
                </a:lnTo>
                <a:lnTo>
                  <a:pt x="3081222" y="1248250"/>
                </a:lnTo>
                <a:lnTo>
                  <a:pt x="3077424" y="1248250"/>
                </a:lnTo>
                <a:lnTo>
                  <a:pt x="3075253" y="1246518"/>
                </a:lnTo>
                <a:lnTo>
                  <a:pt x="3072866" y="1245003"/>
                </a:lnTo>
                <a:lnTo>
                  <a:pt x="3070587" y="1245003"/>
                </a:lnTo>
                <a:lnTo>
                  <a:pt x="3070587" y="1247493"/>
                </a:lnTo>
                <a:lnTo>
                  <a:pt x="3072432" y="1249008"/>
                </a:lnTo>
                <a:lnTo>
                  <a:pt x="3079268" y="1252040"/>
                </a:lnTo>
                <a:lnTo>
                  <a:pt x="3084694" y="1253339"/>
                </a:lnTo>
                <a:lnTo>
                  <a:pt x="3086865" y="1257345"/>
                </a:lnTo>
                <a:lnTo>
                  <a:pt x="3088384" y="1262758"/>
                </a:lnTo>
                <a:lnTo>
                  <a:pt x="3086973" y="1263408"/>
                </a:lnTo>
                <a:lnTo>
                  <a:pt x="3083935" y="1263408"/>
                </a:lnTo>
                <a:lnTo>
                  <a:pt x="3080896" y="1260485"/>
                </a:lnTo>
                <a:lnTo>
                  <a:pt x="3075579" y="1256262"/>
                </a:lnTo>
                <a:lnTo>
                  <a:pt x="3073191" y="1254855"/>
                </a:lnTo>
                <a:lnTo>
                  <a:pt x="3070478" y="1254855"/>
                </a:lnTo>
                <a:lnTo>
                  <a:pt x="3070478" y="1256262"/>
                </a:lnTo>
                <a:lnTo>
                  <a:pt x="3072758" y="1258211"/>
                </a:lnTo>
                <a:lnTo>
                  <a:pt x="3076664" y="1259294"/>
                </a:lnTo>
                <a:lnTo>
                  <a:pt x="3081764" y="1263732"/>
                </a:lnTo>
                <a:lnTo>
                  <a:pt x="3084694" y="1267522"/>
                </a:lnTo>
                <a:lnTo>
                  <a:pt x="3084694" y="1269905"/>
                </a:lnTo>
                <a:lnTo>
                  <a:pt x="3083609" y="1274019"/>
                </a:lnTo>
                <a:lnTo>
                  <a:pt x="3084694" y="1275968"/>
                </a:lnTo>
                <a:lnTo>
                  <a:pt x="3084694" y="1277808"/>
                </a:lnTo>
                <a:lnTo>
                  <a:pt x="3082415" y="1279866"/>
                </a:lnTo>
                <a:lnTo>
                  <a:pt x="3082415" y="1281923"/>
                </a:lnTo>
                <a:lnTo>
                  <a:pt x="3081113" y="1285604"/>
                </a:lnTo>
                <a:lnTo>
                  <a:pt x="3077315" y="1285604"/>
                </a:lnTo>
                <a:lnTo>
                  <a:pt x="3074711" y="1283980"/>
                </a:lnTo>
                <a:lnTo>
                  <a:pt x="3071129" y="1283980"/>
                </a:lnTo>
                <a:lnTo>
                  <a:pt x="3068416" y="1282031"/>
                </a:lnTo>
                <a:lnTo>
                  <a:pt x="3066355" y="1282031"/>
                </a:lnTo>
                <a:lnTo>
                  <a:pt x="3067440" y="1283980"/>
                </a:lnTo>
                <a:lnTo>
                  <a:pt x="3071021" y="1286036"/>
                </a:lnTo>
                <a:lnTo>
                  <a:pt x="3075687" y="1286795"/>
                </a:lnTo>
                <a:lnTo>
                  <a:pt x="3075687" y="1287878"/>
                </a:lnTo>
                <a:lnTo>
                  <a:pt x="3072974" y="1291558"/>
                </a:lnTo>
                <a:lnTo>
                  <a:pt x="3070261" y="1290909"/>
                </a:lnTo>
                <a:lnTo>
                  <a:pt x="3068742" y="1289176"/>
                </a:lnTo>
                <a:lnTo>
                  <a:pt x="3067115" y="1289826"/>
                </a:lnTo>
                <a:lnTo>
                  <a:pt x="3067115" y="1291125"/>
                </a:lnTo>
                <a:lnTo>
                  <a:pt x="3070370" y="1292858"/>
                </a:lnTo>
                <a:lnTo>
                  <a:pt x="3071998" y="1293940"/>
                </a:lnTo>
                <a:lnTo>
                  <a:pt x="3071998" y="1296106"/>
                </a:lnTo>
                <a:lnTo>
                  <a:pt x="3069827" y="1298488"/>
                </a:lnTo>
                <a:lnTo>
                  <a:pt x="3066680" y="1299896"/>
                </a:lnTo>
                <a:lnTo>
                  <a:pt x="3065270" y="1297946"/>
                </a:lnTo>
                <a:lnTo>
                  <a:pt x="3063099" y="1296647"/>
                </a:lnTo>
                <a:lnTo>
                  <a:pt x="3060495" y="1296647"/>
                </a:lnTo>
                <a:lnTo>
                  <a:pt x="3061363" y="1298813"/>
                </a:lnTo>
                <a:lnTo>
                  <a:pt x="3064293" y="1300112"/>
                </a:lnTo>
                <a:lnTo>
                  <a:pt x="3067332" y="1302169"/>
                </a:lnTo>
                <a:lnTo>
                  <a:pt x="3067332" y="1305633"/>
                </a:lnTo>
                <a:lnTo>
                  <a:pt x="3064510" y="1307474"/>
                </a:lnTo>
                <a:lnTo>
                  <a:pt x="3058433" y="1307474"/>
                </a:lnTo>
                <a:lnTo>
                  <a:pt x="3055611" y="1305959"/>
                </a:lnTo>
                <a:lnTo>
                  <a:pt x="3053875" y="1305959"/>
                </a:lnTo>
                <a:lnTo>
                  <a:pt x="3053875" y="1307149"/>
                </a:lnTo>
                <a:lnTo>
                  <a:pt x="3057456" y="1308774"/>
                </a:lnTo>
                <a:lnTo>
                  <a:pt x="3065487" y="1309531"/>
                </a:lnTo>
                <a:lnTo>
                  <a:pt x="3069285" y="1311047"/>
                </a:lnTo>
                <a:lnTo>
                  <a:pt x="3070261" y="1313213"/>
                </a:lnTo>
                <a:lnTo>
                  <a:pt x="3069719" y="1314837"/>
                </a:lnTo>
                <a:lnTo>
                  <a:pt x="3066029" y="1316461"/>
                </a:lnTo>
                <a:lnTo>
                  <a:pt x="3059952" y="1317652"/>
                </a:lnTo>
                <a:lnTo>
                  <a:pt x="3055503" y="1316461"/>
                </a:lnTo>
                <a:lnTo>
                  <a:pt x="3051813" y="1314945"/>
                </a:lnTo>
                <a:lnTo>
                  <a:pt x="3050837" y="1315703"/>
                </a:lnTo>
                <a:lnTo>
                  <a:pt x="3052573" y="1318301"/>
                </a:lnTo>
                <a:lnTo>
                  <a:pt x="3057348" y="1319276"/>
                </a:lnTo>
                <a:lnTo>
                  <a:pt x="3058216" y="1320683"/>
                </a:lnTo>
                <a:lnTo>
                  <a:pt x="3057674" y="1321658"/>
                </a:lnTo>
                <a:lnTo>
                  <a:pt x="3055829" y="1321658"/>
                </a:lnTo>
                <a:lnTo>
                  <a:pt x="3055829" y="1322524"/>
                </a:lnTo>
                <a:lnTo>
                  <a:pt x="3059518" y="1323606"/>
                </a:lnTo>
                <a:lnTo>
                  <a:pt x="3063208" y="1325231"/>
                </a:lnTo>
                <a:lnTo>
                  <a:pt x="3063208" y="1326747"/>
                </a:lnTo>
                <a:lnTo>
                  <a:pt x="3060386" y="1328478"/>
                </a:lnTo>
                <a:lnTo>
                  <a:pt x="3057022" y="1328478"/>
                </a:lnTo>
                <a:lnTo>
                  <a:pt x="3054961" y="1328478"/>
                </a:lnTo>
                <a:lnTo>
                  <a:pt x="3054961" y="1330211"/>
                </a:lnTo>
                <a:lnTo>
                  <a:pt x="3057456" y="1331186"/>
                </a:lnTo>
                <a:lnTo>
                  <a:pt x="3061689" y="1331186"/>
                </a:lnTo>
                <a:lnTo>
                  <a:pt x="3064727" y="1331727"/>
                </a:lnTo>
                <a:lnTo>
                  <a:pt x="3063967" y="1333459"/>
                </a:lnTo>
                <a:lnTo>
                  <a:pt x="3060929" y="1335625"/>
                </a:lnTo>
                <a:lnTo>
                  <a:pt x="3056697" y="1337357"/>
                </a:lnTo>
                <a:lnTo>
                  <a:pt x="3053984" y="1337357"/>
                </a:lnTo>
                <a:lnTo>
                  <a:pt x="3050945" y="1335083"/>
                </a:lnTo>
                <a:lnTo>
                  <a:pt x="3047365" y="1331727"/>
                </a:lnTo>
                <a:lnTo>
                  <a:pt x="3046279" y="1329453"/>
                </a:lnTo>
                <a:lnTo>
                  <a:pt x="3044869" y="1329453"/>
                </a:lnTo>
                <a:lnTo>
                  <a:pt x="3043132" y="1330427"/>
                </a:lnTo>
                <a:lnTo>
                  <a:pt x="3039443" y="1329561"/>
                </a:lnTo>
                <a:lnTo>
                  <a:pt x="3038249" y="1330644"/>
                </a:lnTo>
                <a:lnTo>
                  <a:pt x="3039443" y="1332484"/>
                </a:lnTo>
                <a:lnTo>
                  <a:pt x="3046822" y="1335733"/>
                </a:lnTo>
                <a:lnTo>
                  <a:pt x="3050837" y="1338331"/>
                </a:lnTo>
                <a:lnTo>
                  <a:pt x="3050837" y="1340388"/>
                </a:lnTo>
                <a:lnTo>
                  <a:pt x="3049318" y="1341904"/>
                </a:lnTo>
                <a:lnTo>
                  <a:pt x="3049318" y="1343853"/>
                </a:lnTo>
                <a:lnTo>
                  <a:pt x="3050837" y="1343095"/>
                </a:lnTo>
                <a:lnTo>
                  <a:pt x="3053984" y="1343095"/>
                </a:lnTo>
                <a:lnTo>
                  <a:pt x="3055286" y="1344178"/>
                </a:lnTo>
                <a:lnTo>
                  <a:pt x="3057239" y="1345044"/>
                </a:lnTo>
                <a:lnTo>
                  <a:pt x="3057239" y="1346668"/>
                </a:lnTo>
                <a:lnTo>
                  <a:pt x="3054961" y="1347318"/>
                </a:lnTo>
                <a:lnTo>
                  <a:pt x="3052248" y="1349483"/>
                </a:lnTo>
                <a:lnTo>
                  <a:pt x="3052248" y="1351108"/>
                </a:lnTo>
                <a:lnTo>
                  <a:pt x="3050837" y="1351108"/>
                </a:lnTo>
                <a:lnTo>
                  <a:pt x="3039985" y="1345477"/>
                </a:lnTo>
                <a:lnTo>
                  <a:pt x="3033908" y="1345477"/>
                </a:lnTo>
                <a:lnTo>
                  <a:pt x="3033908" y="1343637"/>
                </a:lnTo>
                <a:lnTo>
                  <a:pt x="3034559" y="1339847"/>
                </a:lnTo>
                <a:lnTo>
                  <a:pt x="3035970" y="1339847"/>
                </a:lnTo>
                <a:lnTo>
                  <a:pt x="3035970" y="1337790"/>
                </a:lnTo>
                <a:lnTo>
                  <a:pt x="3033908" y="1337790"/>
                </a:lnTo>
                <a:lnTo>
                  <a:pt x="3031738" y="1340497"/>
                </a:lnTo>
                <a:lnTo>
                  <a:pt x="3030002" y="1340497"/>
                </a:lnTo>
                <a:lnTo>
                  <a:pt x="3030002" y="1346668"/>
                </a:lnTo>
                <a:lnTo>
                  <a:pt x="3026855" y="1345153"/>
                </a:lnTo>
                <a:lnTo>
                  <a:pt x="3024033" y="1345153"/>
                </a:lnTo>
                <a:lnTo>
                  <a:pt x="3023165" y="1347426"/>
                </a:lnTo>
                <a:lnTo>
                  <a:pt x="3023165" y="1350782"/>
                </a:lnTo>
                <a:lnTo>
                  <a:pt x="3021429" y="1352624"/>
                </a:lnTo>
                <a:lnTo>
                  <a:pt x="3018933" y="1351432"/>
                </a:lnTo>
                <a:lnTo>
                  <a:pt x="3020236" y="1347210"/>
                </a:lnTo>
                <a:lnTo>
                  <a:pt x="3021863" y="1344286"/>
                </a:lnTo>
                <a:lnTo>
                  <a:pt x="3021863" y="1340714"/>
                </a:lnTo>
                <a:lnTo>
                  <a:pt x="3026312" y="1334542"/>
                </a:lnTo>
                <a:lnTo>
                  <a:pt x="3025552" y="1333567"/>
                </a:lnTo>
                <a:lnTo>
                  <a:pt x="3022405" y="1335733"/>
                </a:lnTo>
                <a:lnTo>
                  <a:pt x="3019259" y="1343961"/>
                </a:lnTo>
                <a:lnTo>
                  <a:pt x="3015352" y="1347210"/>
                </a:lnTo>
                <a:lnTo>
                  <a:pt x="3013833" y="1346235"/>
                </a:lnTo>
                <a:lnTo>
                  <a:pt x="3013833" y="1343095"/>
                </a:lnTo>
                <a:lnTo>
                  <a:pt x="3018173" y="1339522"/>
                </a:lnTo>
                <a:lnTo>
                  <a:pt x="3018933" y="1334867"/>
                </a:lnTo>
                <a:lnTo>
                  <a:pt x="3021646" y="1330427"/>
                </a:lnTo>
                <a:lnTo>
                  <a:pt x="3018716" y="1331294"/>
                </a:lnTo>
                <a:lnTo>
                  <a:pt x="3016763" y="1331294"/>
                </a:lnTo>
                <a:lnTo>
                  <a:pt x="3014918" y="1334975"/>
                </a:lnTo>
                <a:lnTo>
                  <a:pt x="3011554" y="1335841"/>
                </a:lnTo>
                <a:lnTo>
                  <a:pt x="3010686" y="1334325"/>
                </a:lnTo>
                <a:lnTo>
                  <a:pt x="3011988" y="1330752"/>
                </a:lnTo>
                <a:lnTo>
                  <a:pt x="3015135" y="1327829"/>
                </a:lnTo>
                <a:lnTo>
                  <a:pt x="3014158" y="1326747"/>
                </a:lnTo>
                <a:lnTo>
                  <a:pt x="3011988" y="1326747"/>
                </a:lnTo>
                <a:lnTo>
                  <a:pt x="3010468" y="1329237"/>
                </a:lnTo>
                <a:lnTo>
                  <a:pt x="3007755" y="1330969"/>
                </a:lnTo>
                <a:lnTo>
                  <a:pt x="3006671" y="1334000"/>
                </a:lnTo>
                <a:lnTo>
                  <a:pt x="3005152" y="1329886"/>
                </a:lnTo>
                <a:lnTo>
                  <a:pt x="3005152" y="1328370"/>
                </a:lnTo>
                <a:lnTo>
                  <a:pt x="3004066" y="1328370"/>
                </a:lnTo>
                <a:lnTo>
                  <a:pt x="3001571" y="1330752"/>
                </a:lnTo>
                <a:lnTo>
                  <a:pt x="2999726" y="1330752"/>
                </a:lnTo>
                <a:lnTo>
                  <a:pt x="3000377" y="1328695"/>
                </a:lnTo>
                <a:lnTo>
                  <a:pt x="3006996" y="1323931"/>
                </a:lnTo>
                <a:lnTo>
                  <a:pt x="3006996" y="1319925"/>
                </a:lnTo>
                <a:lnTo>
                  <a:pt x="3009926" y="1318951"/>
                </a:lnTo>
                <a:lnTo>
                  <a:pt x="3014701" y="1315161"/>
                </a:lnTo>
                <a:lnTo>
                  <a:pt x="3014050" y="1314079"/>
                </a:lnTo>
                <a:lnTo>
                  <a:pt x="3009058" y="1317543"/>
                </a:lnTo>
                <a:lnTo>
                  <a:pt x="3005043" y="1318951"/>
                </a:lnTo>
                <a:lnTo>
                  <a:pt x="3004066" y="1317868"/>
                </a:lnTo>
                <a:lnTo>
                  <a:pt x="3005368" y="1316677"/>
                </a:lnTo>
                <a:lnTo>
                  <a:pt x="3009275" y="1315594"/>
                </a:lnTo>
                <a:lnTo>
                  <a:pt x="3012965" y="1312671"/>
                </a:lnTo>
                <a:lnTo>
                  <a:pt x="3016654" y="1310506"/>
                </a:lnTo>
                <a:lnTo>
                  <a:pt x="3019909" y="1309423"/>
                </a:lnTo>
                <a:lnTo>
                  <a:pt x="3019909" y="1305525"/>
                </a:lnTo>
                <a:lnTo>
                  <a:pt x="3018391" y="1302494"/>
                </a:lnTo>
                <a:lnTo>
                  <a:pt x="3016437" y="1302494"/>
                </a:lnTo>
                <a:lnTo>
                  <a:pt x="3011988" y="1308557"/>
                </a:lnTo>
                <a:lnTo>
                  <a:pt x="3004826" y="1313104"/>
                </a:lnTo>
                <a:lnTo>
                  <a:pt x="2999726" y="1314729"/>
                </a:lnTo>
                <a:lnTo>
                  <a:pt x="2999074" y="1313104"/>
                </a:lnTo>
                <a:lnTo>
                  <a:pt x="3001353" y="1311372"/>
                </a:lnTo>
                <a:lnTo>
                  <a:pt x="3004066" y="1310506"/>
                </a:lnTo>
                <a:lnTo>
                  <a:pt x="3007647" y="1307041"/>
                </a:lnTo>
                <a:lnTo>
                  <a:pt x="3007647" y="1302494"/>
                </a:lnTo>
                <a:lnTo>
                  <a:pt x="3005694" y="1298813"/>
                </a:lnTo>
                <a:lnTo>
                  <a:pt x="3003524" y="1297730"/>
                </a:lnTo>
                <a:lnTo>
                  <a:pt x="3001353" y="1299029"/>
                </a:lnTo>
                <a:lnTo>
                  <a:pt x="3001353" y="1301627"/>
                </a:lnTo>
                <a:lnTo>
                  <a:pt x="3003089" y="1303576"/>
                </a:lnTo>
                <a:lnTo>
                  <a:pt x="3003089" y="1305742"/>
                </a:lnTo>
                <a:lnTo>
                  <a:pt x="3000485" y="1308016"/>
                </a:lnTo>
                <a:lnTo>
                  <a:pt x="2997446" y="1306608"/>
                </a:lnTo>
                <a:lnTo>
                  <a:pt x="2994300" y="1307366"/>
                </a:lnTo>
                <a:lnTo>
                  <a:pt x="2991044" y="1307366"/>
                </a:lnTo>
                <a:lnTo>
                  <a:pt x="2988440" y="1308990"/>
                </a:lnTo>
                <a:lnTo>
                  <a:pt x="2986595" y="1312347"/>
                </a:lnTo>
                <a:lnTo>
                  <a:pt x="2984316" y="1313213"/>
                </a:lnTo>
                <a:lnTo>
                  <a:pt x="2981603" y="1312454"/>
                </a:lnTo>
                <a:lnTo>
                  <a:pt x="2979541" y="1310506"/>
                </a:lnTo>
                <a:lnTo>
                  <a:pt x="2975960" y="1311047"/>
                </a:lnTo>
                <a:lnTo>
                  <a:pt x="2973248" y="1313646"/>
                </a:lnTo>
                <a:lnTo>
                  <a:pt x="2970535" y="1312130"/>
                </a:lnTo>
                <a:lnTo>
                  <a:pt x="2968364" y="1313321"/>
                </a:lnTo>
                <a:lnTo>
                  <a:pt x="2968364" y="1315270"/>
                </a:lnTo>
                <a:lnTo>
                  <a:pt x="2969450" y="1317327"/>
                </a:lnTo>
                <a:lnTo>
                  <a:pt x="2967605" y="1318410"/>
                </a:lnTo>
                <a:lnTo>
                  <a:pt x="2960768" y="1316894"/>
                </a:lnTo>
                <a:lnTo>
                  <a:pt x="2960117" y="1314511"/>
                </a:lnTo>
                <a:lnTo>
                  <a:pt x="2962179" y="1311480"/>
                </a:lnTo>
                <a:lnTo>
                  <a:pt x="2965760" y="1311480"/>
                </a:lnTo>
                <a:lnTo>
                  <a:pt x="2968364" y="1309098"/>
                </a:lnTo>
                <a:lnTo>
                  <a:pt x="2968364" y="1307691"/>
                </a:lnTo>
                <a:lnTo>
                  <a:pt x="2964675" y="1305959"/>
                </a:lnTo>
                <a:lnTo>
                  <a:pt x="2964675" y="1301303"/>
                </a:lnTo>
                <a:lnTo>
                  <a:pt x="2961203" y="1298488"/>
                </a:lnTo>
                <a:lnTo>
                  <a:pt x="2960117" y="1297080"/>
                </a:lnTo>
                <a:lnTo>
                  <a:pt x="2957621" y="1298055"/>
                </a:lnTo>
                <a:lnTo>
                  <a:pt x="2951870" y="1302386"/>
                </a:lnTo>
                <a:lnTo>
                  <a:pt x="2948505" y="1300978"/>
                </a:lnTo>
                <a:lnTo>
                  <a:pt x="2947529" y="1297730"/>
                </a:lnTo>
                <a:lnTo>
                  <a:pt x="2951110" y="1294590"/>
                </a:lnTo>
                <a:lnTo>
                  <a:pt x="2949591" y="1292641"/>
                </a:lnTo>
                <a:lnTo>
                  <a:pt x="2946444" y="1292641"/>
                </a:lnTo>
                <a:lnTo>
                  <a:pt x="2946444" y="1291125"/>
                </a:lnTo>
                <a:lnTo>
                  <a:pt x="2951435" y="1288743"/>
                </a:lnTo>
                <a:lnTo>
                  <a:pt x="2954583" y="1288743"/>
                </a:lnTo>
                <a:lnTo>
                  <a:pt x="2956102" y="1286903"/>
                </a:lnTo>
                <a:lnTo>
                  <a:pt x="2955125" y="1284629"/>
                </a:lnTo>
                <a:lnTo>
                  <a:pt x="2952304" y="1284629"/>
                </a:lnTo>
                <a:lnTo>
                  <a:pt x="2947855" y="1286036"/>
                </a:lnTo>
                <a:lnTo>
                  <a:pt x="2944599" y="1288419"/>
                </a:lnTo>
                <a:lnTo>
                  <a:pt x="2939065" y="1289935"/>
                </a:lnTo>
                <a:lnTo>
                  <a:pt x="2935809" y="1287769"/>
                </a:lnTo>
                <a:lnTo>
                  <a:pt x="2936460" y="1285495"/>
                </a:lnTo>
                <a:lnTo>
                  <a:pt x="2940041" y="1284413"/>
                </a:lnTo>
                <a:lnTo>
                  <a:pt x="2942429" y="1282464"/>
                </a:lnTo>
                <a:lnTo>
                  <a:pt x="2942429" y="1278566"/>
                </a:lnTo>
                <a:lnTo>
                  <a:pt x="2947529" y="1276401"/>
                </a:lnTo>
                <a:lnTo>
                  <a:pt x="2949373" y="1274452"/>
                </a:lnTo>
                <a:lnTo>
                  <a:pt x="2948505" y="1273153"/>
                </a:lnTo>
                <a:lnTo>
                  <a:pt x="2944057" y="1272178"/>
                </a:lnTo>
                <a:lnTo>
                  <a:pt x="2941561" y="1274235"/>
                </a:lnTo>
                <a:lnTo>
                  <a:pt x="2938088" y="1275860"/>
                </a:lnTo>
                <a:lnTo>
                  <a:pt x="2935375" y="1273478"/>
                </a:lnTo>
                <a:lnTo>
                  <a:pt x="2937437" y="1271095"/>
                </a:lnTo>
                <a:lnTo>
                  <a:pt x="2940476" y="1270446"/>
                </a:lnTo>
                <a:lnTo>
                  <a:pt x="2943297" y="1270446"/>
                </a:lnTo>
                <a:lnTo>
                  <a:pt x="2945142" y="1268064"/>
                </a:lnTo>
                <a:lnTo>
                  <a:pt x="2948180" y="1265790"/>
                </a:lnTo>
                <a:lnTo>
                  <a:pt x="2947529" y="1263517"/>
                </a:lnTo>
                <a:lnTo>
                  <a:pt x="2949265" y="1261351"/>
                </a:lnTo>
                <a:lnTo>
                  <a:pt x="2947746" y="1259944"/>
                </a:lnTo>
                <a:lnTo>
                  <a:pt x="2941994" y="1262001"/>
                </a:lnTo>
                <a:lnTo>
                  <a:pt x="2940692" y="1263950"/>
                </a:lnTo>
                <a:lnTo>
                  <a:pt x="2938848" y="1266007"/>
                </a:lnTo>
                <a:lnTo>
                  <a:pt x="2934616" y="1266007"/>
                </a:lnTo>
                <a:lnTo>
                  <a:pt x="2936026" y="1264058"/>
                </a:lnTo>
                <a:lnTo>
                  <a:pt x="2939173" y="1262217"/>
                </a:lnTo>
                <a:lnTo>
                  <a:pt x="2939824" y="1259186"/>
                </a:lnTo>
                <a:lnTo>
                  <a:pt x="2937979" y="1257454"/>
                </a:lnTo>
                <a:lnTo>
                  <a:pt x="2940367" y="1255612"/>
                </a:lnTo>
                <a:lnTo>
                  <a:pt x="2940367" y="1253664"/>
                </a:lnTo>
                <a:lnTo>
                  <a:pt x="2938414" y="1252473"/>
                </a:lnTo>
                <a:lnTo>
                  <a:pt x="2934941" y="1252473"/>
                </a:lnTo>
                <a:lnTo>
                  <a:pt x="2934941" y="1251390"/>
                </a:lnTo>
                <a:lnTo>
                  <a:pt x="2936678" y="1249441"/>
                </a:lnTo>
                <a:lnTo>
                  <a:pt x="2936026" y="1246301"/>
                </a:lnTo>
                <a:lnTo>
                  <a:pt x="2933205" y="1245544"/>
                </a:lnTo>
                <a:lnTo>
                  <a:pt x="2931577" y="1247060"/>
                </a:lnTo>
                <a:lnTo>
                  <a:pt x="2927996" y="1247060"/>
                </a:lnTo>
                <a:lnTo>
                  <a:pt x="2927996" y="1245652"/>
                </a:lnTo>
                <a:lnTo>
                  <a:pt x="2930167" y="1242079"/>
                </a:lnTo>
                <a:lnTo>
                  <a:pt x="2932662" y="1239264"/>
                </a:lnTo>
                <a:lnTo>
                  <a:pt x="2934181" y="1239264"/>
                </a:lnTo>
                <a:lnTo>
                  <a:pt x="2938414" y="1233959"/>
                </a:lnTo>
                <a:lnTo>
                  <a:pt x="2936243" y="1231685"/>
                </a:lnTo>
                <a:lnTo>
                  <a:pt x="2936894" y="1229303"/>
                </a:lnTo>
                <a:lnTo>
                  <a:pt x="2938414" y="1227138"/>
                </a:lnTo>
                <a:lnTo>
                  <a:pt x="2936786" y="1225730"/>
                </a:lnTo>
                <a:lnTo>
                  <a:pt x="2935266" y="1226488"/>
                </a:lnTo>
                <a:lnTo>
                  <a:pt x="2934507" y="1228437"/>
                </a:lnTo>
                <a:lnTo>
                  <a:pt x="2932445" y="1225189"/>
                </a:lnTo>
                <a:lnTo>
                  <a:pt x="2929299" y="1225189"/>
                </a:lnTo>
                <a:lnTo>
                  <a:pt x="2928213" y="1226705"/>
                </a:lnTo>
                <a:lnTo>
                  <a:pt x="2926368" y="1226705"/>
                </a:lnTo>
                <a:lnTo>
                  <a:pt x="2924415" y="1222049"/>
                </a:lnTo>
                <a:lnTo>
                  <a:pt x="2925283" y="1219559"/>
                </a:lnTo>
                <a:lnTo>
                  <a:pt x="2931468" y="1217393"/>
                </a:lnTo>
                <a:lnTo>
                  <a:pt x="2931468" y="1215769"/>
                </a:lnTo>
                <a:lnTo>
                  <a:pt x="2927996" y="1213928"/>
                </a:lnTo>
                <a:lnTo>
                  <a:pt x="2924524" y="1213928"/>
                </a:lnTo>
                <a:lnTo>
                  <a:pt x="2920942" y="1215986"/>
                </a:lnTo>
                <a:lnTo>
                  <a:pt x="2918555" y="1215986"/>
                </a:lnTo>
                <a:lnTo>
                  <a:pt x="2917145" y="1213712"/>
                </a:lnTo>
                <a:lnTo>
                  <a:pt x="2918121" y="1211114"/>
                </a:lnTo>
                <a:lnTo>
                  <a:pt x="2921376" y="1210139"/>
                </a:lnTo>
                <a:lnTo>
                  <a:pt x="2925066" y="1211222"/>
                </a:lnTo>
                <a:lnTo>
                  <a:pt x="2931035" y="1210139"/>
                </a:lnTo>
                <a:lnTo>
                  <a:pt x="2932880" y="1208298"/>
                </a:lnTo>
                <a:lnTo>
                  <a:pt x="2930817" y="1208298"/>
                </a:lnTo>
                <a:lnTo>
                  <a:pt x="2928647" y="1207216"/>
                </a:lnTo>
                <a:lnTo>
                  <a:pt x="2923330" y="1207216"/>
                </a:lnTo>
                <a:lnTo>
                  <a:pt x="2921376" y="1208515"/>
                </a:lnTo>
                <a:lnTo>
                  <a:pt x="2918881" y="1208515"/>
                </a:lnTo>
                <a:lnTo>
                  <a:pt x="2916276" y="1206241"/>
                </a:lnTo>
                <a:lnTo>
                  <a:pt x="2920834" y="1203318"/>
                </a:lnTo>
                <a:lnTo>
                  <a:pt x="2926477" y="1203318"/>
                </a:lnTo>
                <a:lnTo>
                  <a:pt x="2928539" y="1202127"/>
                </a:lnTo>
                <a:lnTo>
                  <a:pt x="2926694" y="1201369"/>
                </a:lnTo>
                <a:lnTo>
                  <a:pt x="2923764" y="1201369"/>
                </a:lnTo>
                <a:lnTo>
                  <a:pt x="2921051" y="1199204"/>
                </a:lnTo>
                <a:lnTo>
                  <a:pt x="2922679" y="1199204"/>
                </a:lnTo>
                <a:lnTo>
                  <a:pt x="2925934" y="1199853"/>
                </a:lnTo>
                <a:lnTo>
                  <a:pt x="2928105" y="1200936"/>
                </a:lnTo>
                <a:lnTo>
                  <a:pt x="2933205" y="1198771"/>
                </a:lnTo>
                <a:lnTo>
                  <a:pt x="2935375" y="1196822"/>
                </a:lnTo>
                <a:lnTo>
                  <a:pt x="2934290" y="1195631"/>
                </a:lnTo>
                <a:lnTo>
                  <a:pt x="2932012" y="1196281"/>
                </a:lnTo>
                <a:lnTo>
                  <a:pt x="2929299" y="1197363"/>
                </a:lnTo>
                <a:lnTo>
                  <a:pt x="2926586" y="1197363"/>
                </a:lnTo>
                <a:lnTo>
                  <a:pt x="2924741" y="1196388"/>
                </a:lnTo>
                <a:lnTo>
                  <a:pt x="2921051" y="1196388"/>
                </a:lnTo>
                <a:lnTo>
                  <a:pt x="2919532" y="1199096"/>
                </a:lnTo>
                <a:lnTo>
                  <a:pt x="2916928" y="1200720"/>
                </a:lnTo>
                <a:lnTo>
                  <a:pt x="2913672" y="1198338"/>
                </a:lnTo>
                <a:lnTo>
                  <a:pt x="2913021" y="1195522"/>
                </a:lnTo>
                <a:lnTo>
                  <a:pt x="2915408" y="1192058"/>
                </a:lnTo>
                <a:lnTo>
                  <a:pt x="2920183" y="1192058"/>
                </a:lnTo>
                <a:lnTo>
                  <a:pt x="2923981" y="1189676"/>
                </a:lnTo>
                <a:lnTo>
                  <a:pt x="2922896" y="1188810"/>
                </a:lnTo>
                <a:lnTo>
                  <a:pt x="2918446" y="1189567"/>
                </a:lnTo>
                <a:lnTo>
                  <a:pt x="2914323" y="1188918"/>
                </a:lnTo>
                <a:lnTo>
                  <a:pt x="2913347" y="1185561"/>
                </a:lnTo>
                <a:lnTo>
                  <a:pt x="2914432" y="1182314"/>
                </a:lnTo>
                <a:lnTo>
                  <a:pt x="2918446" y="1181339"/>
                </a:lnTo>
                <a:lnTo>
                  <a:pt x="2927562" y="1181339"/>
                </a:lnTo>
                <a:lnTo>
                  <a:pt x="2932771" y="1179823"/>
                </a:lnTo>
                <a:lnTo>
                  <a:pt x="2938522" y="1179823"/>
                </a:lnTo>
                <a:lnTo>
                  <a:pt x="2942103" y="1176900"/>
                </a:lnTo>
                <a:lnTo>
                  <a:pt x="2942754" y="1175817"/>
                </a:lnTo>
                <a:lnTo>
                  <a:pt x="2938956" y="1175817"/>
                </a:lnTo>
                <a:lnTo>
                  <a:pt x="2935375" y="1174735"/>
                </a:lnTo>
                <a:lnTo>
                  <a:pt x="2931252" y="1177333"/>
                </a:lnTo>
                <a:lnTo>
                  <a:pt x="2924632" y="1178416"/>
                </a:lnTo>
                <a:lnTo>
                  <a:pt x="2921268" y="1179823"/>
                </a:lnTo>
                <a:lnTo>
                  <a:pt x="2917145" y="1179823"/>
                </a:lnTo>
                <a:lnTo>
                  <a:pt x="2915083" y="1178308"/>
                </a:lnTo>
                <a:lnTo>
                  <a:pt x="2915951" y="1177225"/>
                </a:lnTo>
                <a:lnTo>
                  <a:pt x="2923547" y="1177225"/>
                </a:lnTo>
                <a:lnTo>
                  <a:pt x="2926911" y="1175276"/>
                </a:lnTo>
                <a:lnTo>
                  <a:pt x="2931035" y="1169537"/>
                </a:lnTo>
                <a:lnTo>
                  <a:pt x="2934833" y="1169537"/>
                </a:lnTo>
                <a:lnTo>
                  <a:pt x="2936569" y="1170404"/>
                </a:lnTo>
                <a:lnTo>
                  <a:pt x="2940041" y="1173110"/>
                </a:lnTo>
                <a:lnTo>
                  <a:pt x="2943406" y="1173110"/>
                </a:lnTo>
                <a:lnTo>
                  <a:pt x="2944382" y="1171378"/>
                </a:lnTo>
                <a:lnTo>
                  <a:pt x="2942320" y="1170729"/>
                </a:lnTo>
                <a:lnTo>
                  <a:pt x="2938631" y="1166614"/>
                </a:lnTo>
                <a:lnTo>
                  <a:pt x="2936678" y="1166614"/>
                </a:lnTo>
                <a:lnTo>
                  <a:pt x="2934833" y="1164774"/>
                </a:lnTo>
                <a:lnTo>
                  <a:pt x="2935483" y="1162933"/>
                </a:lnTo>
                <a:lnTo>
                  <a:pt x="2938305" y="1162933"/>
                </a:lnTo>
                <a:lnTo>
                  <a:pt x="2939933" y="1161417"/>
                </a:lnTo>
                <a:lnTo>
                  <a:pt x="2941669" y="1161417"/>
                </a:lnTo>
                <a:lnTo>
                  <a:pt x="2943622" y="1164665"/>
                </a:lnTo>
                <a:lnTo>
                  <a:pt x="2947529" y="1169213"/>
                </a:lnTo>
                <a:lnTo>
                  <a:pt x="2950242" y="1170729"/>
                </a:lnTo>
                <a:lnTo>
                  <a:pt x="2951544" y="1170187"/>
                </a:lnTo>
                <a:lnTo>
                  <a:pt x="2949700" y="1166506"/>
                </a:lnTo>
                <a:lnTo>
                  <a:pt x="2947420" y="1164990"/>
                </a:lnTo>
                <a:lnTo>
                  <a:pt x="2947420" y="1157412"/>
                </a:lnTo>
                <a:lnTo>
                  <a:pt x="2950350" y="1154596"/>
                </a:lnTo>
                <a:lnTo>
                  <a:pt x="2950350" y="1153080"/>
                </a:lnTo>
                <a:lnTo>
                  <a:pt x="2947529" y="1153080"/>
                </a:lnTo>
                <a:lnTo>
                  <a:pt x="2945033" y="1155570"/>
                </a:lnTo>
                <a:lnTo>
                  <a:pt x="2942863" y="1155570"/>
                </a:lnTo>
                <a:lnTo>
                  <a:pt x="2940476" y="1152431"/>
                </a:lnTo>
                <a:lnTo>
                  <a:pt x="2939390" y="1154380"/>
                </a:lnTo>
                <a:lnTo>
                  <a:pt x="2933965" y="1159902"/>
                </a:lnTo>
                <a:lnTo>
                  <a:pt x="2930600" y="1161309"/>
                </a:lnTo>
                <a:lnTo>
                  <a:pt x="2929190" y="1160226"/>
                </a:lnTo>
                <a:lnTo>
                  <a:pt x="2929190" y="1157953"/>
                </a:lnTo>
                <a:lnTo>
                  <a:pt x="2931360" y="1156220"/>
                </a:lnTo>
                <a:lnTo>
                  <a:pt x="2931360" y="1155570"/>
                </a:lnTo>
                <a:lnTo>
                  <a:pt x="2928539" y="1156978"/>
                </a:lnTo>
                <a:lnTo>
                  <a:pt x="2926260" y="1160118"/>
                </a:lnTo>
                <a:lnTo>
                  <a:pt x="2924524" y="1160118"/>
                </a:lnTo>
                <a:lnTo>
                  <a:pt x="2919206" y="1165098"/>
                </a:lnTo>
                <a:lnTo>
                  <a:pt x="2916819" y="1165964"/>
                </a:lnTo>
                <a:lnTo>
                  <a:pt x="2913238" y="1172353"/>
                </a:lnTo>
                <a:lnTo>
                  <a:pt x="2911502" y="1172353"/>
                </a:lnTo>
                <a:lnTo>
                  <a:pt x="2910090" y="1166939"/>
                </a:lnTo>
                <a:lnTo>
                  <a:pt x="2910742" y="1162717"/>
                </a:lnTo>
                <a:lnTo>
                  <a:pt x="2912587" y="1160335"/>
                </a:lnTo>
                <a:lnTo>
                  <a:pt x="2909765" y="1157736"/>
                </a:lnTo>
                <a:lnTo>
                  <a:pt x="2910416" y="1154488"/>
                </a:lnTo>
                <a:lnTo>
                  <a:pt x="2910416" y="1151781"/>
                </a:lnTo>
                <a:lnTo>
                  <a:pt x="2913780" y="1150157"/>
                </a:lnTo>
                <a:lnTo>
                  <a:pt x="2920400" y="1147884"/>
                </a:lnTo>
                <a:lnTo>
                  <a:pt x="2923547" y="1147884"/>
                </a:lnTo>
                <a:lnTo>
                  <a:pt x="2927345" y="1144311"/>
                </a:lnTo>
                <a:lnTo>
                  <a:pt x="2928755" y="1143445"/>
                </a:lnTo>
                <a:lnTo>
                  <a:pt x="2927128" y="1141496"/>
                </a:lnTo>
                <a:lnTo>
                  <a:pt x="2924632" y="1141496"/>
                </a:lnTo>
                <a:lnTo>
                  <a:pt x="2922244" y="1143661"/>
                </a:lnTo>
                <a:lnTo>
                  <a:pt x="2919532" y="1142904"/>
                </a:lnTo>
                <a:lnTo>
                  <a:pt x="2918338" y="1145827"/>
                </a:lnTo>
                <a:lnTo>
                  <a:pt x="2915625" y="1147775"/>
                </a:lnTo>
                <a:lnTo>
                  <a:pt x="2912261" y="1147775"/>
                </a:lnTo>
                <a:lnTo>
                  <a:pt x="2910308" y="1144635"/>
                </a:lnTo>
                <a:lnTo>
                  <a:pt x="2910308" y="1138464"/>
                </a:lnTo>
                <a:lnTo>
                  <a:pt x="2913238" y="1136298"/>
                </a:lnTo>
                <a:lnTo>
                  <a:pt x="2913238" y="1133158"/>
                </a:lnTo>
                <a:lnTo>
                  <a:pt x="2911719" y="1129152"/>
                </a:lnTo>
                <a:lnTo>
                  <a:pt x="2910308" y="1129152"/>
                </a:lnTo>
                <a:lnTo>
                  <a:pt x="2908029" y="1131643"/>
                </a:lnTo>
                <a:lnTo>
                  <a:pt x="2905424" y="1131643"/>
                </a:lnTo>
                <a:lnTo>
                  <a:pt x="2904774" y="1128828"/>
                </a:lnTo>
                <a:lnTo>
                  <a:pt x="2907703" y="1125905"/>
                </a:lnTo>
                <a:lnTo>
                  <a:pt x="2912370" y="1125905"/>
                </a:lnTo>
                <a:lnTo>
                  <a:pt x="2915191" y="1123415"/>
                </a:lnTo>
                <a:lnTo>
                  <a:pt x="2920834" y="1122223"/>
                </a:lnTo>
                <a:lnTo>
                  <a:pt x="2923113" y="1119950"/>
                </a:lnTo>
                <a:lnTo>
                  <a:pt x="2925717" y="1118867"/>
                </a:lnTo>
                <a:lnTo>
                  <a:pt x="2926802" y="1114753"/>
                </a:lnTo>
                <a:lnTo>
                  <a:pt x="2928539" y="1114103"/>
                </a:lnTo>
                <a:lnTo>
                  <a:pt x="2930058" y="1115835"/>
                </a:lnTo>
                <a:lnTo>
                  <a:pt x="2931903" y="1113887"/>
                </a:lnTo>
                <a:lnTo>
                  <a:pt x="2939499" y="1113887"/>
                </a:lnTo>
                <a:lnTo>
                  <a:pt x="2941561" y="1115403"/>
                </a:lnTo>
                <a:lnTo>
                  <a:pt x="2944816" y="1115403"/>
                </a:lnTo>
                <a:lnTo>
                  <a:pt x="2943731" y="1112804"/>
                </a:lnTo>
                <a:lnTo>
                  <a:pt x="2939716" y="1111721"/>
                </a:lnTo>
                <a:lnTo>
                  <a:pt x="2938631" y="1108797"/>
                </a:lnTo>
                <a:lnTo>
                  <a:pt x="2936135" y="1108797"/>
                </a:lnTo>
                <a:lnTo>
                  <a:pt x="2927019" y="1113778"/>
                </a:lnTo>
                <a:lnTo>
                  <a:pt x="2924307" y="1113778"/>
                </a:lnTo>
                <a:lnTo>
                  <a:pt x="2922027" y="1115403"/>
                </a:lnTo>
                <a:lnTo>
                  <a:pt x="2921051" y="1118867"/>
                </a:lnTo>
                <a:lnTo>
                  <a:pt x="2918555" y="1120599"/>
                </a:lnTo>
                <a:lnTo>
                  <a:pt x="2914540" y="1121574"/>
                </a:lnTo>
                <a:lnTo>
                  <a:pt x="2911502" y="1125147"/>
                </a:lnTo>
                <a:lnTo>
                  <a:pt x="2909657" y="1125147"/>
                </a:lnTo>
                <a:lnTo>
                  <a:pt x="2908572" y="1123198"/>
                </a:lnTo>
                <a:lnTo>
                  <a:pt x="2909331" y="1120707"/>
                </a:lnTo>
                <a:lnTo>
                  <a:pt x="2906401" y="1120058"/>
                </a:lnTo>
                <a:lnTo>
                  <a:pt x="2906401" y="1118217"/>
                </a:lnTo>
                <a:lnTo>
                  <a:pt x="2909331" y="1114861"/>
                </a:lnTo>
                <a:lnTo>
                  <a:pt x="2905424" y="1112479"/>
                </a:lnTo>
                <a:lnTo>
                  <a:pt x="2903471" y="1112479"/>
                </a:lnTo>
                <a:lnTo>
                  <a:pt x="2900108" y="1109989"/>
                </a:lnTo>
                <a:lnTo>
                  <a:pt x="2900758" y="1108581"/>
                </a:lnTo>
                <a:lnTo>
                  <a:pt x="2906293" y="1106307"/>
                </a:lnTo>
                <a:lnTo>
                  <a:pt x="2908789" y="1103601"/>
                </a:lnTo>
                <a:lnTo>
                  <a:pt x="2911067" y="1102951"/>
                </a:lnTo>
                <a:lnTo>
                  <a:pt x="2912695" y="1104791"/>
                </a:lnTo>
                <a:lnTo>
                  <a:pt x="2916601" y="1104791"/>
                </a:lnTo>
                <a:lnTo>
                  <a:pt x="2920291" y="1103384"/>
                </a:lnTo>
                <a:lnTo>
                  <a:pt x="2923873" y="1100570"/>
                </a:lnTo>
                <a:lnTo>
                  <a:pt x="2927019" y="1100570"/>
                </a:lnTo>
                <a:lnTo>
                  <a:pt x="2928105" y="1097862"/>
                </a:lnTo>
                <a:lnTo>
                  <a:pt x="2927128" y="1096671"/>
                </a:lnTo>
                <a:lnTo>
                  <a:pt x="2923873" y="1096671"/>
                </a:lnTo>
                <a:lnTo>
                  <a:pt x="2919423" y="1099487"/>
                </a:lnTo>
                <a:lnTo>
                  <a:pt x="2916276" y="1101760"/>
                </a:lnTo>
                <a:lnTo>
                  <a:pt x="2914323" y="1101760"/>
                </a:lnTo>
                <a:lnTo>
                  <a:pt x="2911285" y="1098513"/>
                </a:lnTo>
                <a:lnTo>
                  <a:pt x="2909440" y="1098513"/>
                </a:lnTo>
                <a:lnTo>
                  <a:pt x="2907487" y="1100786"/>
                </a:lnTo>
                <a:lnTo>
                  <a:pt x="2904556" y="1102951"/>
                </a:lnTo>
                <a:lnTo>
                  <a:pt x="2904556" y="1101003"/>
                </a:lnTo>
                <a:lnTo>
                  <a:pt x="2902061" y="1100352"/>
                </a:lnTo>
                <a:lnTo>
                  <a:pt x="2899999" y="1101219"/>
                </a:lnTo>
                <a:lnTo>
                  <a:pt x="2896743" y="1101219"/>
                </a:lnTo>
                <a:lnTo>
                  <a:pt x="2897828" y="1099595"/>
                </a:lnTo>
                <a:lnTo>
                  <a:pt x="2900649" y="1098729"/>
                </a:lnTo>
                <a:lnTo>
                  <a:pt x="2907161" y="1096455"/>
                </a:lnTo>
                <a:lnTo>
                  <a:pt x="2913672" y="1092449"/>
                </a:lnTo>
                <a:lnTo>
                  <a:pt x="2917036" y="1091150"/>
                </a:lnTo>
                <a:lnTo>
                  <a:pt x="2923873" y="1089850"/>
                </a:lnTo>
                <a:lnTo>
                  <a:pt x="2927454" y="1085520"/>
                </a:lnTo>
                <a:lnTo>
                  <a:pt x="2935158" y="1077183"/>
                </a:lnTo>
                <a:lnTo>
                  <a:pt x="2942646" y="1073502"/>
                </a:lnTo>
                <a:lnTo>
                  <a:pt x="2948723" y="1071336"/>
                </a:lnTo>
                <a:lnTo>
                  <a:pt x="2952086" y="1071336"/>
                </a:lnTo>
                <a:lnTo>
                  <a:pt x="2954040" y="1069821"/>
                </a:lnTo>
                <a:lnTo>
                  <a:pt x="2954040" y="1068088"/>
                </a:lnTo>
                <a:lnTo>
                  <a:pt x="2950785" y="1067005"/>
                </a:lnTo>
                <a:lnTo>
                  <a:pt x="2945142" y="1068630"/>
                </a:lnTo>
                <a:lnTo>
                  <a:pt x="2933096" y="1074368"/>
                </a:lnTo>
                <a:lnTo>
                  <a:pt x="2927779" y="1079781"/>
                </a:lnTo>
                <a:lnTo>
                  <a:pt x="2924089" y="1085303"/>
                </a:lnTo>
                <a:lnTo>
                  <a:pt x="2919640" y="1087469"/>
                </a:lnTo>
                <a:lnTo>
                  <a:pt x="2911719" y="1089309"/>
                </a:lnTo>
                <a:lnTo>
                  <a:pt x="2909223" y="1090933"/>
                </a:lnTo>
                <a:lnTo>
                  <a:pt x="2899890" y="1094939"/>
                </a:lnTo>
                <a:lnTo>
                  <a:pt x="2896526" y="1094939"/>
                </a:lnTo>
                <a:lnTo>
                  <a:pt x="2895767" y="1092774"/>
                </a:lnTo>
                <a:lnTo>
                  <a:pt x="2897178" y="1090824"/>
                </a:lnTo>
                <a:lnTo>
                  <a:pt x="2897178" y="1082597"/>
                </a:lnTo>
                <a:lnTo>
                  <a:pt x="2899781" y="1079456"/>
                </a:lnTo>
                <a:lnTo>
                  <a:pt x="2902169" y="1079456"/>
                </a:lnTo>
                <a:lnTo>
                  <a:pt x="2905859" y="1081838"/>
                </a:lnTo>
                <a:lnTo>
                  <a:pt x="2908572" y="1080972"/>
                </a:lnTo>
                <a:lnTo>
                  <a:pt x="2913889" y="1080972"/>
                </a:lnTo>
                <a:lnTo>
                  <a:pt x="2918121" y="1080972"/>
                </a:lnTo>
                <a:lnTo>
                  <a:pt x="2916928" y="1079240"/>
                </a:lnTo>
                <a:lnTo>
                  <a:pt x="2913780" y="1077291"/>
                </a:lnTo>
                <a:lnTo>
                  <a:pt x="2909657" y="1077291"/>
                </a:lnTo>
                <a:lnTo>
                  <a:pt x="2906944" y="1078807"/>
                </a:lnTo>
                <a:lnTo>
                  <a:pt x="2904231" y="1078266"/>
                </a:lnTo>
                <a:lnTo>
                  <a:pt x="2902929" y="1075017"/>
                </a:lnTo>
                <a:lnTo>
                  <a:pt x="2902929" y="1072852"/>
                </a:lnTo>
                <a:lnTo>
                  <a:pt x="2907161" y="1072202"/>
                </a:lnTo>
                <a:lnTo>
                  <a:pt x="2911285" y="1074693"/>
                </a:lnTo>
                <a:lnTo>
                  <a:pt x="2914865" y="1074693"/>
                </a:lnTo>
                <a:lnTo>
                  <a:pt x="2919423" y="1072852"/>
                </a:lnTo>
                <a:lnTo>
                  <a:pt x="2918772" y="1071444"/>
                </a:lnTo>
                <a:lnTo>
                  <a:pt x="2915625" y="1070362"/>
                </a:lnTo>
                <a:lnTo>
                  <a:pt x="2913997" y="1070362"/>
                </a:lnTo>
                <a:lnTo>
                  <a:pt x="2912695" y="1069387"/>
                </a:lnTo>
                <a:lnTo>
                  <a:pt x="2912695" y="1067114"/>
                </a:lnTo>
                <a:lnTo>
                  <a:pt x="2916710" y="1065922"/>
                </a:lnTo>
                <a:lnTo>
                  <a:pt x="2918121" y="1066789"/>
                </a:lnTo>
                <a:lnTo>
                  <a:pt x="2919640" y="1065814"/>
                </a:lnTo>
                <a:lnTo>
                  <a:pt x="2923221" y="1067222"/>
                </a:lnTo>
                <a:lnTo>
                  <a:pt x="2925066" y="1066139"/>
                </a:lnTo>
                <a:lnTo>
                  <a:pt x="2924307" y="1062999"/>
                </a:lnTo>
                <a:lnTo>
                  <a:pt x="2924307" y="1060185"/>
                </a:lnTo>
                <a:lnTo>
                  <a:pt x="2923547" y="1059318"/>
                </a:lnTo>
                <a:lnTo>
                  <a:pt x="2920834" y="1059318"/>
                </a:lnTo>
                <a:lnTo>
                  <a:pt x="2919206" y="1060834"/>
                </a:lnTo>
                <a:lnTo>
                  <a:pt x="2915625" y="1060834"/>
                </a:lnTo>
                <a:lnTo>
                  <a:pt x="2904774" y="1057586"/>
                </a:lnTo>
                <a:lnTo>
                  <a:pt x="2900324" y="1057586"/>
                </a:lnTo>
                <a:lnTo>
                  <a:pt x="2898046" y="1055637"/>
                </a:lnTo>
                <a:lnTo>
                  <a:pt x="2898046" y="1054121"/>
                </a:lnTo>
                <a:lnTo>
                  <a:pt x="2902603" y="1054121"/>
                </a:lnTo>
                <a:lnTo>
                  <a:pt x="2905642" y="1055096"/>
                </a:lnTo>
                <a:lnTo>
                  <a:pt x="2907487" y="1054013"/>
                </a:lnTo>
                <a:lnTo>
                  <a:pt x="2906184" y="1052930"/>
                </a:lnTo>
                <a:lnTo>
                  <a:pt x="2902386" y="1052930"/>
                </a:lnTo>
                <a:lnTo>
                  <a:pt x="2900867" y="1051414"/>
                </a:lnTo>
                <a:lnTo>
                  <a:pt x="2900867" y="1049141"/>
                </a:lnTo>
                <a:lnTo>
                  <a:pt x="2907378" y="1049141"/>
                </a:lnTo>
                <a:lnTo>
                  <a:pt x="2908789" y="1047734"/>
                </a:lnTo>
                <a:lnTo>
                  <a:pt x="2913455" y="1047734"/>
                </a:lnTo>
                <a:lnTo>
                  <a:pt x="2928864" y="1048599"/>
                </a:lnTo>
                <a:lnTo>
                  <a:pt x="2932012" y="1047625"/>
                </a:lnTo>
                <a:lnTo>
                  <a:pt x="2937654" y="1048383"/>
                </a:lnTo>
                <a:lnTo>
                  <a:pt x="2939933" y="1047516"/>
                </a:lnTo>
                <a:lnTo>
                  <a:pt x="2939933" y="1045568"/>
                </a:lnTo>
                <a:lnTo>
                  <a:pt x="2934181" y="1043186"/>
                </a:lnTo>
                <a:lnTo>
                  <a:pt x="2927237" y="1043186"/>
                </a:lnTo>
                <a:lnTo>
                  <a:pt x="2919098" y="1045135"/>
                </a:lnTo>
                <a:lnTo>
                  <a:pt x="2914540" y="1045135"/>
                </a:lnTo>
                <a:lnTo>
                  <a:pt x="2913563" y="1044052"/>
                </a:lnTo>
                <a:lnTo>
                  <a:pt x="2911067" y="1043403"/>
                </a:lnTo>
                <a:lnTo>
                  <a:pt x="2906293" y="1044593"/>
                </a:lnTo>
                <a:lnTo>
                  <a:pt x="2903146" y="1046867"/>
                </a:lnTo>
                <a:lnTo>
                  <a:pt x="2902061" y="1046001"/>
                </a:lnTo>
                <a:lnTo>
                  <a:pt x="2902061" y="1042645"/>
                </a:lnTo>
                <a:lnTo>
                  <a:pt x="2904556" y="1038747"/>
                </a:lnTo>
                <a:lnTo>
                  <a:pt x="2908572" y="1036798"/>
                </a:lnTo>
                <a:lnTo>
                  <a:pt x="2911719" y="1034632"/>
                </a:lnTo>
                <a:lnTo>
                  <a:pt x="2916168" y="1032575"/>
                </a:lnTo>
                <a:lnTo>
                  <a:pt x="2917904" y="1028678"/>
                </a:lnTo>
                <a:lnTo>
                  <a:pt x="2921919" y="1025863"/>
                </a:lnTo>
                <a:lnTo>
                  <a:pt x="2924307" y="1025863"/>
                </a:lnTo>
                <a:lnTo>
                  <a:pt x="2925500" y="1027379"/>
                </a:lnTo>
                <a:lnTo>
                  <a:pt x="2929515" y="1027379"/>
                </a:lnTo>
                <a:lnTo>
                  <a:pt x="2932337" y="1026296"/>
                </a:lnTo>
                <a:lnTo>
                  <a:pt x="2935050" y="1026296"/>
                </a:lnTo>
                <a:lnTo>
                  <a:pt x="2936243" y="1027595"/>
                </a:lnTo>
                <a:lnTo>
                  <a:pt x="2941235" y="1029436"/>
                </a:lnTo>
                <a:lnTo>
                  <a:pt x="2945576" y="1033550"/>
                </a:lnTo>
                <a:lnTo>
                  <a:pt x="2949917" y="1033550"/>
                </a:lnTo>
                <a:lnTo>
                  <a:pt x="2954691" y="1035390"/>
                </a:lnTo>
                <a:lnTo>
                  <a:pt x="2959574" y="1040479"/>
                </a:lnTo>
                <a:lnTo>
                  <a:pt x="2964457" y="1043186"/>
                </a:lnTo>
                <a:lnTo>
                  <a:pt x="2970969" y="1045351"/>
                </a:lnTo>
                <a:lnTo>
                  <a:pt x="2973682" y="1043835"/>
                </a:lnTo>
                <a:lnTo>
                  <a:pt x="2975852" y="1043835"/>
                </a:lnTo>
                <a:lnTo>
                  <a:pt x="2976720" y="1042645"/>
                </a:lnTo>
                <a:lnTo>
                  <a:pt x="2975960" y="1040371"/>
                </a:lnTo>
                <a:lnTo>
                  <a:pt x="2971945" y="1041237"/>
                </a:lnTo>
                <a:lnTo>
                  <a:pt x="2970426" y="1042753"/>
                </a:lnTo>
                <a:lnTo>
                  <a:pt x="2967062" y="1042103"/>
                </a:lnTo>
                <a:lnTo>
                  <a:pt x="2961853" y="1038639"/>
                </a:lnTo>
                <a:lnTo>
                  <a:pt x="2957404" y="1032251"/>
                </a:lnTo>
                <a:lnTo>
                  <a:pt x="2957404" y="1030410"/>
                </a:lnTo>
                <a:lnTo>
                  <a:pt x="2959791" y="1030410"/>
                </a:lnTo>
                <a:lnTo>
                  <a:pt x="2966737" y="1030410"/>
                </a:lnTo>
                <a:lnTo>
                  <a:pt x="2972813" y="1028028"/>
                </a:lnTo>
                <a:lnTo>
                  <a:pt x="2974984" y="1025646"/>
                </a:lnTo>
                <a:lnTo>
                  <a:pt x="2973898" y="1023373"/>
                </a:lnTo>
                <a:lnTo>
                  <a:pt x="2968256" y="1022073"/>
                </a:lnTo>
                <a:lnTo>
                  <a:pt x="2965977" y="1022723"/>
                </a:lnTo>
                <a:lnTo>
                  <a:pt x="2965977" y="1024563"/>
                </a:lnTo>
                <a:lnTo>
                  <a:pt x="2967387" y="1026296"/>
                </a:lnTo>
                <a:lnTo>
                  <a:pt x="2966085" y="1026945"/>
                </a:lnTo>
                <a:lnTo>
                  <a:pt x="2960009" y="1026945"/>
                </a:lnTo>
                <a:lnTo>
                  <a:pt x="2957296" y="1025213"/>
                </a:lnTo>
                <a:lnTo>
                  <a:pt x="2956536" y="1022073"/>
                </a:lnTo>
                <a:lnTo>
                  <a:pt x="2959032" y="1021099"/>
                </a:lnTo>
                <a:lnTo>
                  <a:pt x="2961311" y="1021099"/>
                </a:lnTo>
                <a:lnTo>
                  <a:pt x="2962396" y="1019258"/>
                </a:lnTo>
                <a:lnTo>
                  <a:pt x="2960443" y="1016659"/>
                </a:lnTo>
                <a:lnTo>
                  <a:pt x="2957838" y="1016659"/>
                </a:lnTo>
                <a:lnTo>
                  <a:pt x="2956861" y="1017634"/>
                </a:lnTo>
                <a:lnTo>
                  <a:pt x="2954257" y="1017634"/>
                </a:lnTo>
                <a:lnTo>
                  <a:pt x="2952086" y="1017634"/>
                </a:lnTo>
                <a:lnTo>
                  <a:pt x="2952086" y="1019474"/>
                </a:lnTo>
                <a:lnTo>
                  <a:pt x="2953172" y="1021965"/>
                </a:lnTo>
                <a:lnTo>
                  <a:pt x="2953172" y="1025105"/>
                </a:lnTo>
                <a:lnTo>
                  <a:pt x="2950459" y="1027920"/>
                </a:lnTo>
                <a:lnTo>
                  <a:pt x="2946987" y="1029869"/>
                </a:lnTo>
                <a:lnTo>
                  <a:pt x="2944599" y="1028786"/>
                </a:lnTo>
                <a:lnTo>
                  <a:pt x="2940041" y="1023373"/>
                </a:lnTo>
                <a:lnTo>
                  <a:pt x="2936569" y="1023373"/>
                </a:lnTo>
                <a:lnTo>
                  <a:pt x="2934181" y="1021857"/>
                </a:lnTo>
                <a:lnTo>
                  <a:pt x="2934181" y="1019583"/>
                </a:lnTo>
                <a:lnTo>
                  <a:pt x="2932662" y="1019583"/>
                </a:lnTo>
                <a:lnTo>
                  <a:pt x="2930817" y="1021640"/>
                </a:lnTo>
                <a:lnTo>
                  <a:pt x="2925066" y="1022506"/>
                </a:lnTo>
                <a:lnTo>
                  <a:pt x="2921485" y="1022506"/>
                </a:lnTo>
                <a:lnTo>
                  <a:pt x="2918338" y="1024996"/>
                </a:lnTo>
                <a:lnTo>
                  <a:pt x="2913889" y="1029110"/>
                </a:lnTo>
                <a:lnTo>
                  <a:pt x="2910634" y="1030194"/>
                </a:lnTo>
                <a:lnTo>
                  <a:pt x="2909006" y="1029219"/>
                </a:lnTo>
                <a:lnTo>
                  <a:pt x="2909006" y="1027270"/>
                </a:lnTo>
                <a:lnTo>
                  <a:pt x="2914215" y="1020882"/>
                </a:lnTo>
                <a:lnTo>
                  <a:pt x="2916385" y="1020124"/>
                </a:lnTo>
                <a:lnTo>
                  <a:pt x="2918013" y="1018284"/>
                </a:lnTo>
                <a:lnTo>
                  <a:pt x="2918013" y="1016443"/>
                </a:lnTo>
                <a:lnTo>
                  <a:pt x="2919423" y="1016443"/>
                </a:lnTo>
                <a:lnTo>
                  <a:pt x="2922027" y="1014169"/>
                </a:lnTo>
                <a:lnTo>
                  <a:pt x="2922027" y="1013195"/>
                </a:lnTo>
                <a:lnTo>
                  <a:pt x="2923547" y="1010380"/>
                </a:lnTo>
                <a:lnTo>
                  <a:pt x="2925392" y="1010380"/>
                </a:lnTo>
                <a:lnTo>
                  <a:pt x="2928973" y="1013086"/>
                </a:lnTo>
                <a:lnTo>
                  <a:pt x="2933530" y="1015035"/>
                </a:lnTo>
                <a:lnTo>
                  <a:pt x="2940258" y="1015035"/>
                </a:lnTo>
                <a:lnTo>
                  <a:pt x="2939607" y="1013412"/>
                </a:lnTo>
                <a:lnTo>
                  <a:pt x="2936569" y="1012653"/>
                </a:lnTo>
                <a:lnTo>
                  <a:pt x="2934290" y="1012653"/>
                </a:lnTo>
                <a:lnTo>
                  <a:pt x="2931685" y="1010705"/>
                </a:lnTo>
                <a:lnTo>
                  <a:pt x="2925717" y="1005400"/>
                </a:lnTo>
                <a:lnTo>
                  <a:pt x="2924741" y="1001935"/>
                </a:lnTo>
                <a:lnTo>
                  <a:pt x="2922027" y="1000744"/>
                </a:lnTo>
                <a:lnTo>
                  <a:pt x="2921376" y="998795"/>
                </a:lnTo>
                <a:lnTo>
                  <a:pt x="2923330" y="997821"/>
                </a:lnTo>
                <a:lnTo>
                  <a:pt x="2928647" y="999445"/>
                </a:lnTo>
                <a:lnTo>
                  <a:pt x="2932988" y="1005291"/>
                </a:lnTo>
                <a:lnTo>
                  <a:pt x="2937437" y="1009189"/>
                </a:lnTo>
                <a:lnTo>
                  <a:pt x="2938088" y="1007998"/>
                </a:lnTo>
                <a:lnTo>
                  <a:pt x="2936569" y="1004966"/>
                </a:lnTo>
                <a:lnTo>
                  <a:pt x="2935483" y="1000960"/>
                </a:lnTo>
                <a:lnTo>
                  <a:pt x="2936894" y="1000960"/>
                </a:lnTo>
                <a:lnTo>
                  <a:pt x="2939390" y="1003884"/>
                </a:lnTo>
                <a:lnTo>
                  <a:pt x="2940584" y="1006807"/>
                </a:lnTo>
                <a:lnTo>
                  <a:pt x="2948832" y="1011679"/>
                </a:lnTo>
                <a:lnTo>
                  <a:pt x="2951978" y="1011029"/>
                </a:lnTo>
                <a:lnTo>
                  <a:pt x="2953823" y="1009947"/>
                </a:lnTo>
                <a:lnTo>
                  <a:pt x="2958272" y="1009947"/>
                </a:lnTo>
                <a:lnTo>
                  <a:pt x="2960443" y="1012112"/>
                </a:lnTo>
                <a:lnTo>
                  <a:pt x="2965325" y="1015143"/>
                </a:lnTo>
                <a:lnTo>
                  <a:pt x="2969341" y="1016985"/>
                </a:lnTo>
                <a:lnTo>
                  <a:pt x="2970100" y="1018067"/>
                </a:lnTo>
                <a:lnTo>
                  <a:pt x="2973464" y="1018067"/>
                </a:lnTo>
                <a:lnTo>
                  <a:pt x="2973464" y="1016551"/>
                </a:lnTo>
                <a:lnTo>
                  <a:pt x="2969558" y="1012870"/>
                </a:lnTo>
                <a:lnTo>
                  <a:pt x="2960009" y="1005183"/>
                </a:lnTo>
                <a:lnTo>
                  <a:pt x="2959032" y="1003018"/>
                </a:lnTo>
                <a:lnTo>
                  <a:pt x="2959032" y="1001285"/>
                </a:lnTo>
                <a:lnTo>
                  <a:pt x="2964566" y="999337"/>
                </a:lnTo>
                <a:lnTo>
                  <a:pt x="2964566" y="996629"/>
                </a:lnTo>
                <a:lnTo>
                  <a:pt x="2966085" y="993490"/>
                </a:lnTo>
                <a:lnTo>
                  <a:pt x="2967930" y="992515"/>
                </a:lnTo>
                <a:lnTo>
                  <a:pt x="2967930" y="990241"/>
                </a:lnTo>
                <a:lnTo>
                  <a:pt x="2964783" y="990241"/>
                </a:lnTo>
                <a:lnTo>
                  <a:pt x="2961744" y="991433"/>
                </a:lnTo>
                <a:lnTo>
                  <a:pt x="2956102" y="991433"/>
                </a:lnTo>
                <a:lnTo>
                  <a:pt x="2954474" y="993273"/>
                </a:lnTo>
                <a:lnTo>
                  <a:pt x="2955559" y="994681"/>
                </a:lnTo>
                <a:lnTo>
                  <a:pt x="2959032" y="997388"/>
                </a:lnTo>
                <a:lnTo>
                  <a:pt x="2957512" y="998903"/>
                </a:lnTo>
                <a:lnTo>
                  <a:pt x="2952086" y="998903"/>
                </a:lnTo>
                <a:lnTo>
                  <a:pt x="2950242" y="999661"/>
                </a:lnTo>
                <a:lnTo>
                  <a:pt x="2946660" y="998795"/>
                </a:lnTo>
                <a:lnTo>
                  <a:pt x="2942429" y="999986"/>
                </a:lnTo>
                <a:lnTo>
                  <a:pt x="2940258" y="996955"/>
                </a:lnTo>
                <a:lnTo>
                  <a:pt x="2936678" y="995439"/>
                </a:lnTo>
                <a:lnTo>
                  <a:pt x="2935809" y="993490"/>
                </a:lnTo>
                <a:lnTo>
                  <a:pt x="2938196" y="991974"/>
                </a:lnTo>
                <a:lnTo>
                  <a:pt x="2940041" y="990133"/>
                </a:lnTo>
                <a:lnTo>
                  <a:pt x="2937871" y="990133"/>
                </a:lnTo>
                <a:lnTo>
                  <a:pt x="2933313" y="991108"/>
                </a:lnTo>
                <a:lnTo>
                  <a:pt x="2932337" y="990133"/>
                </a:lnTo>
                <a:lnTo>
                  <a:pt x="2938088" y="988618"/>
                </a:lnTo>
                <a:lnTo>
                  <a:pt x="2944382" y="985802"/>
                </a:lnTo>
                <a:lnTo>
                  <a:pt x="2947095" y="984286"/>
                </a:lnTo>
                <a:lnTo>
                  <a:pt x="2952412" y="984286"/>
                </a:lnTo>
                <a:lnTo>
                  <a:pt x="2953931" y="985478"/>
                </a:lnTo>
                <a:lnTo>
                  <a:pt x="2957946" y="984828"/>
                </a:lnTo>
                <a:lnTo>
                  <a:pt x="2962071" y="984828"/>
                </a:lnTo>
                <a:lnTo>
                  <a:pt x="2967279" y="985478"/>
                </a:lnTo>
                <a:lnTo>
                  <a:pt x="2967279" y="982988"/>
                </a:lnTo>
                <a:lnTo>
                  <a:pt x="2969667" y="981796"/>
                </a:lnTo>
                <a:lnTo>
                  <a:pt x="2971403" y="979848"/>
                </a:lnTo>
                <a:lnTo>
                  <a:pt x="2974441" y="977899"/>
                </a:lnTo>
                <a:lnTo>
                  <a:pt x="2975743" y="975517"/>
                </a:lnTo>
                <a:lnTo>
                  <a:pt x="2974658" y="975517"/>
                </a:lnTo>
                <a:lnTo>
                  <a:pt x="2971077" y="978115"/>
                </a:lnTo>
                <a:lnTo>
                  <a:pt x="2969015" y="978115"/>
                </a:lnTo>
                <a:lnTo>
                  <a:pt x="2967930" y="976166"/>
                </a:lnTo>
                <a:lnTo>
                  <a:pt x="2970209" y="972485"/>
                </a:lnTo>
                <a:lnTo>
                  <a:pt x="2972922" y="963607"/>
                </a:lnTo>
                <a:lnTo>
                  <a:pt x="2972922" y="959384"/>
                </a:lnTo>
                <a:lnTo>
                  <a:pt x="2974767" y="958518"/>
                </a:lnTo>
                <a:lnTo>
                  <a:pt x="2976286" y="959601"/>
                </a:lnTo>
                <a:lnTo>
                  <a:pt x="2978564" y="963932"/>
                </a:lnTo>
                <a:lnTo>
                  <a:pt x="2977588" y="965339"/>
                </a:lnTo>
                <a:lnTo>
                  <a:pt x="2977588" y="967505"/>
                </a:lnTo>
                <a:lnTo>
                  <a:pt x="2981495" y="968263"/>
                </a:lnTo>
                <a:lnTo>
                  <a:pt x="2984534" y="968263"/>
                </a:lnTo>
                <a:lnTo>
                  <a:pt x="2986269" y="970103"/>
                </a:lnTo>
                <a:lnTo>
                  <a:pt x="2988982" y="970103"/>
                </a:lnTo>
                <a:lnTo>
                  <a:pt x="2989634" y="969021"/>
                </a:lnTo>
                <a:lnTo>
                  <a:pt x="2991587" y="969778"/>
                </a:lnTo>
                <a:lnTo>
                  <a:pt x="2993757" y="969778"/>
                </a:lnTo>
                <a:lnTo>
                  <a:pt x="2993757" y="967180"/>
                </a:lnTo>
                <a:lnTo>
                  <a:pt x="2991044" y="965556"/>
                </a:lnTo>
                <a:lnTo>
                  <a:pt x="2985184" y="965556"/>
                </a:lnTo>
                <a:lnTo>
                  <a:pt x="2985184" y="964148"/>
                </a:lnTo>
                <a:lnTo>
                  <a:pt x="2988874" y="963499"/>
                </a:lnTo>
                <a:lnTo>
                  <a:pt x="2993540" y="962633"/>
                </a:lnTo>
                <a:lnTo>
                  <a:pt x="2993540" y="960792"/>
                </a:lnTo>
                <a:lnTo>
                  <a:pt x="2991370" y="959601"/>
                </a:lnTo>
                <a:lnTo>
                  <a:pt x="2988982" y="959601"/>
                </a:lnTo>
                <a:lnTo>
                  <a:pt x="2987789" y="957436"/>
                </a:lnTo>
                <a:lnTo>
                  <a:pt x="2986269" y="956678"/>
                </a:lnTo>
                <a:lnTo>
                  <a:pt x="2984425" y="957868"/>
                </a:lnTo>
                <a:lnTo>
                  <a:pt x="2982254" y="957868"/>
                </a:lnTo>
                <a:lnTo>
                  <a:pt x="2978456" y="957219"/>
                </a:lnTo>
                <a:lnTo>
                  <a:pt x="2978456" y="955162"/>
                </a:lnTo>
                <a:lnTo>
                  <a:pt x="2980518" y="952672"/>
                </a:lnTo>
                <a:lnTo>
                  <a:pt x="2982689" y="952672"/>
                </a:lnTo>
                <a:lnTo>
                  <a:pt x="2986161" y="947475"/>
                </a:lnTo>
                <a:lnTo>
                  <a:pt x="2988657" y="945526"/>
                </a:lnTo>
                <a:lnTo>
                  <a:pt x="2989742" y="946176"/>
                </a:lnTo>
                <a:lnTo>
                  <a:pt x="2992455" y="945526"/>
                </a:lnTo>
                <a:lnTo>
                  <a:pt x="2995276" y="945526"/>
                </a:lnTo>
                <a:lnTo>
                  <a:pt x="2994625" y="943360"/>
                </a:lnTo>
                <a:lnTo>
                  <a:pt x="2991912" y="942386"/>
                </a:lnTo>
                <a:lnTo>
                  <a:pt x="2988006" y="942386"/>
                </a:lnTo>
                <a:lnTo>
                  <a:pt x="2986812" y="940978"/>
                </a:lnTo>
                <a:lnTo>
                  <a:pt x="2988332" y="939246"/>
                </a:lnTo>
                <a:lnTo>
                  <a:pt x="2992780" y="937297"/>
                </a:lnTo>
                <a:lnTo>
                  <a:pt x="2994842" y="934807"/>
                </a:lnTo>
                <a:lnTo>
                  <a:pt x="2998098" y="933616"/>
                </a:lnTo>
                <a:lnTo>
                  <a:pt x="2998098" y="932101"/>
                </a:lnTo>
                <a:lnTo>
                  <a:pt x="3001136" y="930260"/>
                </a:lnTo>
                <a:lnTo>
                  <a:pt x="2998858" y="927553"/>
                </a:lnTo>
                <a:lnTo>
                  <a:pt x="2996145" y="927553"/>
                </a:lnTo>
                <a:lnTo>
                  <a:pt x="2996145" y="924413"/>
                </a:lnTo>
                <a:lnTo>
                  <a:pt x="2999291" y="923330"/>
                </a:lnTo>
                <a:lnTo>
                  <a:pt x="3002439" y="923330"/>
                </a:lnTo>
                <a:lnTo>
                  <a:pt x="3002439" y="920082"/>
                </a:lnTo>
                <a:lnTo>
                  <a:pt x="3000051" y="918999"/>
                </a:lnTo>
                <a:lnTo>
                  <a:pt x="2995928" y="918999"/>
                </a:lnTo>
                <a:lnTo>
                  <a:pt x="2992129" y="921923"/>
                </a:lnTo>
                <a:lnTo>
                  <a:pt x="2988006" y="921923"/>
                </a:lnTo>
                <a:lnTo>
                  <a:pt x="2985402" y="919216"/>
                </a:lnTo>
                <a:lnTo>
                  <a:pt x="2982797" y="920732"/>
                </a:lnTo>
                <a:lnTo>
                  <a:pt x="2978999" y="920732"/>
                </a:lnTo>
                <a:lnTo>
                  <a:pt x="2976720" y="918134"/>
                </a:lnTo>
                <a:lnTo>
                  <a:pt x="2974441" y="919216"/>
                </a:lnTo>
                <a:lnTo>
                  <a:pt x="2970643" y="918566"/>
                </a:lnTo>
                <a:lnTo>
                  <a:pt x="2967713" y="915102"/>
                </a:lnTo>
                <a:lnTo>
                  <a:pt x="2963916" y="915102"/>
                </a:lnTo>
                <a:lnTo>
                  <a:pt x="2961203" y="913586"/>
                </a:lnTo>
                <a:lnTo>
                  <a:pt x="2961203" y="911312"/>
                </a:lnTo>
                <a:lnTo>
                  <a:pt x="2959466" y="906873"/>
                </a:lnTo>
                <a:lnTo>
                  <a:pt x="2954257" y="903625"/>
                </a:lnTo>
                <a:lnTo>
                  <a:pt x="2945793" y="899836"/>
                </a:lnTo>
                <a:lnTo>
                  <a:pt x="2939282" y="897562"/>
                </a:lnTo>
                <a:lnTo>
                  <a:pt x="2934833" y="893123"/>
                </a:lnTo>
                <a:lnTo>
                  <a:pt x="2934833" y="890416"/>
                </a:lnTo>
                <a:lnTo>
                  <a:pt x="2932880" y="884894"/>
                </a:lnTo>
                <a:lnTo>
                  <a:pt x="2930167" y="881322"/>
                </a:lnTo>
                <a:lnTo>
                  <a:pt x="2927887" y="879373"/>
                </a:lnTo>
                <a:lnTo>
                  <a:pt x="2927887" y="876990"/>
                </a:lnTo>
                <a:lnTo>
                  <a:pt x="2932988" y="872659"/>
                </a:lnTo>
                <a:lnTo>
                  <a:pt x="2937437" y="872659"/>
                </a:lnTo>
                <a:lnTo>
                  <a:pt x="2939607" y="871577"/>
                </a:lnTo>
                <a:lnTo>
                  <a:pt x="2942538" y="872768"/>
                </a:lnTo>
                <a:lnTo>
                  <a:pt x="2946878" y="872768"/>
                </a:lnTo>
                <a:lnTo>
                  <a:pt x="2951110" y="876557"/>
                </a:lnTo>
                <a:lnTo>
                  <a:pt x="2955885" y="877316"/>
                </a:lnTo>
                <a:lnTo>
                  <a:pt x="2959032" y="877316"/>
                </a:lnTo>
                <a:lnTo>
                  <a:pt x="2960876" y="878831"/>
                </a:lnTo>
                <a:lnTo>
                  <a:pt x="2965217" y="878831"/>
                </a:lnTo>
                <a:lnTo>
                  <a:pt x="2969015" y="880347"/>
                </a:lnTo>
                <a:lnTo>
                  <a:pt x="2971728" y="881971"/>
                </a:lnTo>
                <a:lnTo>
                  <a:pt x="2974767" y="882620"/>
                </a:lnTo>
                <a:lnTo>
                  <a:pt x="2977046" y="885544"/>
                </a:lnTo>
                <a:lnTo>
                  <a:pt x="2979867" y="894639"/>
                </a:lnTo>
                <a:lnTo>
                  <a:pt x="2983122" y="898536"/>
                </a:lnTo>
                <a:lnTo>
                  <a:pt x="2987355" y="901351"/>
                </a:lnTo>
                <a:lnTo>
                  <a:pt x="2990936" y="904491"/>
                </a:lnTo>
                <a:lnTo>
                  <a:pt x="2995385" y="906224"/>
                </a:lnTo>
                <a:lnTo>
                  <a:pt x="2997664" y="905249"/>
                </a:lnTo>
                <a:lnTo>
                  <a:pt x="3000051" y="901676"/>
                </a:lnTo>
                <a:lnTo>
                  <a:pt x="2998858" y="900702"/>
                </a:lnTo>
                <a:lnTo>
                  <a:pt x="2996361" y="902001"/>
                </a:lnTo>
                <a:lnTo>
                  <a:pt x="2994300" y="902001"/>
                </a:lnTo>
                <a:lnTo>
                  <a:pt x="2991587" y="899728"/>
                </a:lnTo>
                <a:lnTo>
                  <a:pt x="2986812" y="894097"/>
                </a:lnTo>
                <a:lnTo>
                  <a:pt x="2986812" y="892148"/>
                </a:lnTo>
                <a:lnTo>
                  <a:pt x="2987789" y="892148"/>
                </a:lnTo>
                <a:lnTo>
                  <a:pt x="2992129" y="896479"/>
                </a:lnTo>
                <a:lnTo>
                  <a:pt x="2994408" y="896479"/>
                </a:lnTo>
                <a:lnTo>
                  <a:pt x="2994408" y="894530"/>
                </a:lnTo>
                <a:lnTo>
                  <a:pt x="2997121" y="894530"/>
                </a:lnTo>
                <a:lnTo>
                  <a:pt x="2997121" y="892581"/>
                </a:lnTo>
                <a:lnTo>
                  <a:pt x="2991261" y="888684"/>
                </a:lnTo>
                <a:lnTo>
                  <a:pt x="2985944" y="884245"/>
                </a:lnTo>
                <a:lnTo>
                  <a:pt x="2984642" y="881322"/>
                </a:lnTo>
                <a:lnTo>
                  <a:pt x="2985402" y="879589"/>
                </a:lnTo>
                <a:lnTo>
                  <a:pt x="2986921" y="879589"/>
                </a:lnTo>
                <a:lnTo>
                  <a:pt x="2989959" y="883703"/>
                </a:lnTo>
                <a:lnTo>
                  <a:pt x="2992672" y="883703"/>
                </a:lnTo>
                <a:lnTo>
                  <a:pt x="2990719" y="879373"/>
                </a:lnTo>
                <a:lnTo>
                  <a:pt x="2985944" y="874500"/>
                </a:lnTo>
                <a:lnTo>
                  <a:pt x="2981929" y="871577"/>
                </a:lnTo>
                <a:lnTo>
                  <a:pt x="2980735" y="868762"/>
                </a:lnTo>
                <a:lnTo>
                  <a:pt x="2981712" y="867138"/>
                </a:lnTo>
                <a:lnTo>
                  <a:pt x="2986269" y="868870"/>
                </a:lnTo>
                <a:lnTo>
                  <a:pt x="2995168" y="871794"/>
                </a:lnTo>
                <a:lnTo>
                  <a:pt x="2997773" y="870711"/>
                </a:lnTo>
                <a:lnTo>
                  <a:pt x="2997773" y="868004"/>
                </a:lnTo>
                <a:lnTo>
                  <a:pt x="2994191" y="863457"/>
                </a:lnTo>
                <a:lnTo>
                  <a:pt x="2992129" y="863457"/>
                </a:lnTo>
                <a:lnTo>
                  <a:pt x="2989200" y="865081"/>
                </a:lnTo>
                <a:lnTo>
                  <a:pt x="2985944" y="865081"/>
                </a:lnTo>
                <a:lnTo>
                  <a:pt x="2981386" y="865081"/>
                </a:lnTo>
                <a:lnTo>
                  <a:pt x="2980409" y="862916"/>
                </a:lnTo>
                <a:lnTo>
                  <a:pt x="2981929" y="860642"/>
                </a:lnTo>
                <a:lnTo>
                  <a:pt x="2987246" y="857935"/>
                </a:lnTo>
                <a:lnTo>
                  <a:pt x="2989200" y="858585"/>
                </a:lnTo>
                <a:lnTo>
                  <a:pt x="2992672" y="860750"/>
                </a:lnTo>
                <a:lnTo>
                  <a:pt x="2993323" y="858801"/>
                </a:lnTo>
                <a:lnTo>
                  <a:pt x="2993323" y="856311"/>
                </a:lnTo>
                <a:lnTo>
                  <a:pt x="2990610" y="853063"/>
                </a:lnTo>
                <a:lnTo>
                  <a:pt x="2988765" y="853063"/>
                </a:lnTo>
                <a:lnTo>
                  <a:pt x="2987355" y="854471"/>
                </a:lnTo>
                <a:lnTo>
                  <a:pt x="2984316" y="854471"/>
                </a:lnTo>
                <a:lnTo>
                  <a:pt x="2982471" y="855986"/>
                </a:lnTo>
                <a:lnTo>
                  <a:pt x="2976069" y="861291"/>
                </a:lnTo>
                <a:lnTo>
                  <a:pt x="2974007" y="861291"/>
                </a:lnTo>
                <a:lnTo>
                  <a:pt x="2974007" y="859343"/>
                </a:lnTo>
                <a:lnTo>
                  <a:pt x="2976611" y="857177"/>
                </a:lnTo>
                <a:lnTo>
                  <a:pt x="2977914" y="853821"/>
                </a:lnTo>
                <a:lnTo>
                  <a:pt x="2980627" y="850031"/>
                </a:lnTo>
                <a:lnTo>
                  <a:pt x="2982689" y="850031"/>
                </a:lnTo>
                <a:lnTo>
                  <a:pt x="2985402" y="850031"/>
                </a:lnTo>
                <a:lnTo>
                  <a:pt x="2988548" y="847541"/>
                </a:lnTo>
                <a:lnTo>
                  <a:pt x="2991695" y="846892"/>
                </a:lnTo>
                <a:lnTo>
                  <a:pt x="2993215" y="845267"/>
                </a:lnTo>
                <a:lnTo>
                  <a:pt x="2992238" y="844401"/>
                </a:lnTo>
                <a:lnTo>
                  <a:pt x="2986703" y="844401"/>
                </a:lnTo>
                <a:lnTo>
                  <a:pt x="2983448" y="847000"/>
                </a:lnTo>
                <a:lnTo>
                  <a:pt x="2980844" y="847649"/>
                </a:lnTo>
                <a:lnTo>
                  <a:pt x="2978239" y="846783"/>
                </a:lnTo>
                <a:lnTo>
                  <a:pt x="2973030" y="847433"/>
                </a:lnTo>
                <a:lnTo>
                  <a:pt x="2971511" y="846350"/>
                </a:lnTo>
                <a:lnTo>
                  <a:pt x="2971511" y="843643"/>
                </a:lnTo>
                <a:lnTo>
                  <a:pt x="2974116" y="841911"/>
                </a:lnTo>
                <a:lnTo>
                  <a:pt x="2976937" y="839529"/>
                </a:lnTo>
                <a:lnTo>
                  <a:pt x="2982797" y="839529"/>
                </a:lnTo>
                <a:lnTo>
                  <a:pt x="2990502" y="837688"/>
                </a:lnTo>
                <a:lnTo>
                  <a:pt x="2995819" y="834765"/>
                </a:lnTo>
                <a:lnTo>
                  <a:pt x="2995819" y="832816"/>
                </a:lnTo>
                <a:lnTo>
                  <a:pt x="2994300" y="831842"/>
                </a:lnTo>
                <a:lnTo>
                  <a:pt x="2992455" y="831842"/>
                </a:lnTo>
                <a:lnTo>
                  <a:pt x="2988982" y="834007"/>
                </a:lnTo>
                <a:lnTo>
                  <a:pt x="2984967" y="835415"/>
                </a:lnTo>
                <a:lnTo>
                  <a:pt x="2982037" y="834441"/>
                </a:lnTo>
                <a:lnTo>
                  <a:pt x="2980084" y="831409"/>
                </a:lnTo>
                <a:lnTo>
                  <a:pt x="2978131" y="830326"/>
                </a:lnTo>
                <a:lnTo>
                  <a:pt x="2974550" y="830326"/>
                </a:lnTo>
                <a:lnTo>
                  <a:pt x="2972813" y="829243"/>
                </a:lnTo>
                <a:lnTo>
                  <a:pt x="2972813" y="827511"/>
                </a:lnTo>
                <a:lnTo>
                  <a:pt x="2975960" y="824588"/>
                </a:lnTo>
                <a:lnTo>
                  <a:pt x="2977914" y="819499"/>
                </a:lnTo>
                <a:lnTo>
                  <a:pt x="2980084" y="817550"/>
                </a:lnTo>
                <a:lnTo>
                  <a:pt x="2983448" y="815709"/>
                </a:lnTo>
                <a:lnTo>
                  <a:pt x="2983448" y="814410"/>
                </a:lnTo>
                <a:lnTo>
                  <a:pt x="2981712" y="814410"/>
                </a:lnTo>
                <a:lnTo>
                  <a:pt x="2977805" y="816035"/>
                </a:lnTo>
                <a:lnTo>
                  <a:pt x="2973573" y="821772"/>
                </a:lnTo>
                <a:lnTo>
                  <a:pt x="2973573" y="823829"/>
                </a:lnTo>
                <a:lnTo>
                  <a:pt x="2969992" y="826212"/>
                </a:lnTo>
                <a:lnTo>
                  <a:pt x="2968907" y="827511"/>
                </a:lnTo>
                <a:lnTo>
                  <a:pt x="2967062" y="827511"/>
                </a:lnTo>
                <a:lnTo>
                  <a:pt x="2967062" y="823721"/>
                </a:lnTo>
                <a:lnTo>
                  <a:pt x="2968256" y="818092"/>
                </a:lnTo>
                <a:lnTo>
                  <a:pt x="2968256" y="812461"/>
                </a:lnTo>
                <a:lnTo>
                  <a:pt x="2965977" y="807589"/>
                </a:lnTo>
                <a:lnTo>
                  <a:pt x="2965325" y="802825"/>
                </a:lnTo>
                <a:lnTo>
                  <a:pt x="2966845" y="799252"/>
                </a:lnTo>
                <a:lnTo>
                  <a:pt x="2966845" y="795788"/>
                </a:lnTo>
                <a:lnTo>
                  <a:pt x="2965651" y="795788"/>
                </a:lnTo>
                <a:lnTo>
                  <a:pt x="2964783" y="797629"/>
                </a:lnTo>
                <a:lnTo>
                  <a:pt x="2963264" y="805856"/>
                </a:lnTo>
                <a:lnTo>
                  <a:pt x="2964675" y="809430"/>
                </a:lnTo>
                <a:lnTo>
                  <a:pt x="2966302" y="813652"/>
                </a:lnTo>
                <a:lnTo>
                  <a:pt x="2966302" y="818092"/>
                </a:lnTo>
                <a:lnTo>
                  <a:pt x="2966302" y="824696"/>
                </a:lnTo>
                <a:lnTo>
                  <a:pt x="2964566" y="827727"/>
                </a:lnTo>
                <a:lnTo>
                  <a:pt x="2962396" y="827727"/>
                </a:lnTo>
                <a:lnTo>
                  <a:pt x="2959683" y="825021"/>
                </a:lnTo>
                <a:lnTo>
                  <a:pt x="2957730" y="822098"/>
                </a:lnTo>
                <a:lnTo>
                  <a:pt x="2957078" y="828486"/>
                </a:lnTo>
                <a:lnTo>
                  <a:pt x="2957078" y="830218"/>
                </a:lnTo>
                <a:lnTo>
                  <a:pt x="2955017" y="830218"/>
                </a:lnTo>
                <a:lnTo>
                  <a:pt x="2952738" y="830218"/>
                </a:lnTo>
                <a:lnTo>
                  <a:pt x="2954799" y="831842"/>
                </a:lnTo>
                <a:lnTo>
                  <a:pt x="2955668" y="834873"/>
                </a:lnTo>
                <a:lnTo>
                  <a:pt x="2954583" y="838879"/>
                </a:lnTo>
                <a:lnTo>
                  <a:pt x="2952630" y="841586"/>
                </a:lnTo>
                <a:lnTo>
                  <a:pt x="2948832" y="842235"/>
                </a:lnTo>
                <a:lnTo>
                  <a:pt x="2946769" y="842235"/>
                </a:lnTo>
                <a:lnTo>
                  <a:pt x="2945467" y="843643"/>
                </a:lnTo>
                <a:lnTo>
                  <a:pt x="2942212" y="846025"/>
                </a:lnTo>
                <a:lnTo>
                  <a:pt x="2936243" y="846025"/>
                </a:lnTo>
                <a:lnTo>
                  <a:pt x="2933965" y="843751"/>
                </a:lnTo>
                <a:lnTo>
                  <a:pt x="2933965" y="840504"/>
                </a:lnTo>
                <a:lnTo>
                  <a:pt x="2932880" y="838014"/>
                </a:lnTo>
                <a:lnTo>
                  <a:pt x="2931035" y="836281"/>
                </a:lnTo>
                <a:lnTo>
                  <a:pt x="2928973" y="836281"/>
                </a:lnTo>
                <a:lnTo>
                  <a:pt x="2928213" y="839204"/>
                </a:lnTo>
                <a:lnTo>
                  <a:pt x="2926802" y="839204"/>
                </a:lnTo>
                <a:lnTo>
                  <a:pt x="2925174" y="833574"/>
                </a:lnTo>
                <a:lnTo>
                  <a:pt x="2926260" y="830110"/>
                </a:lnTo>
                <a:lnTo>
                  <a:pt x="2925283" y="827619"/>
                </a:lnTo>
                <a:lnTo>
                  <a:pt x="2923764" y="826104"/>
                </a:lnTo>
                <a:lnTo>
                  <a:pt x="2923764" y="823505"/>
                </a:lnTo>
                <a:lnTo>
                  <a:pt x="2928213" y="820906"/>
                </a:lnTo>
                <a:lnTo>
                  <a:pt x="2932120" y="820906"/>
                </a:lnTo>
                <a:lnTo>
                  <a:pt x="2933530" y="821989"/>
                </a:lnTo>
                <a:lnTo>
                  <a:pt x="2935701" y="818416"/>
                </a:lnTo>
                <a:lnTo>
                  <a:pt x="2938088" y="817442"/>
                </a:lnTo>
                <a:lnTo>
                  <a:pt x="2944925" y="816684"/>
                </a:lnTo>
                <a:lnTo>
                  <a:pt x="2947204" y="817333"/>
                </a:lnTo>
                <a:lnTo>
                  <a:pt x="2952521" y="811595"/>
                </a:lnTo>
                <a:lnTo>
                  <a:pt x="2956319" y="804882"/>
                </a:lnTo>
                <a:lnTo>
                  <a:pt x="2956319" y="802933"/>
                </a:lnTo>
                <a:lnTo>
                  <a:pt x="2955125" y="802933"/>
                </a:lnTo>
                <a:lnTo>
                  <a:pt x="2952630" y="804666"/>
                </a:lnTo>
                <a:lnTo>
                  <a:pt x="2950350" y="808672"/>
                </a:lnTo>
                <a:lnTo>
                  <a:pt x="2946552" y="813111"/>
                </a:lnTo>
                <a:lnTo>
                  <a:pt x="2941669" y="814627"/>
                </a:lnTo>
                <a:lnTo>
                  <a:pt x="2936135" y="813436"/>
                </a:lnTo>
                <a:lnTo>
                  <a:pt x="2932880" y="810513"/>
                </a:lnTo>
                <a:lnTo>
                  <a:pt x="2932880" y="807914"/>
                </a:lnTo>
                <a:lnTo>
                  <a:pt x="2937003" y="805532"/>
                </a:lnTo>
                <a:lnTo>
                  <a:pt x="2941886" y="801093"/>
                </a:lnTo>
                <a:lnTo>
                  <a:pt x="2945033" y="801093"/>
                </a:lnTo>
                <a:lnTo>
                  <a:pt x="2945901" y="799577"/>
                </a:lnTo>
                <a:lnTo>
                  <a:pt x="2945901" y="796654"/>
                </a:lnTo>
                <a:lnTo>
                  <a:pt x="2946987" y="795138"/>
                </a:lnTo>
                <a:lnTo>
                  <a:pt x="2949373" y="795138"/>
                </a:lnTo>
                <a:lnTo>
                  <a:pt x="2951218" y="793514"/>
                </a:lnTo>
                <a:lnTo>
                  <a:pt x="2949917" y="792107"/>
                </a:lnTo>
                <a:lnTo>
                  <a:pt x="2949917" y="790158"/>
                </a:lnTo>
                <a:lnTo>
                  <a:pt x="2948940" y="789183"/>
                </a:lnTo>
                <a:lnTo>
                  <a:pt x="2947529" y="789833"/>
                </a:lnTo>
                <a:lnTo>
                  <a:pt x="2945359" y="791782"/>
                </a:lnTo>
                <a:lnTo>
                  <a:pt x="2939065" y="791024"/>
                </a:lnTo>
                <a:lnTo>
                  <a:pt x="2937328" y="791024"/>
                </a:lnTo>
                <a:lnTo>
                  <a:pt x="2936243" y="789508"/>
                </a:lnTo>
                <a:lnTo>
                  <a:pt x="2937328" y="786693"/>
                </a:lnTo>
                <a:lnTo>
                  <a:pt x="2942212" y="783662"/>
                </a:lnTo>
                <a:lnTo>
                  <a:pt x="2944599" y="783662"/>
                </a:lnTo>
                <a:lnTo>
                  <a:pt x="2947312" y="785935"/>
                </a:lnTo>
                <a:lnTo>
                  <a:pt x="2950350" y="785935"/>
                </a:lnTo>
                <a:lnTo>
                  <a:pt x="2954908" y="783986"/>
                </a:lnTo>
                <a:lnTo>
                  <a:pt x="2957730" y="777598"/>
                </a:lnTo>
                <a:lnTo>
                  <a:pt x="2955993" y="775541"/>
                </a:lnTo>
                <a:lnTo>
                  <a:pt x="2956536" y="772185"/>
                </a:lnTo>
                <a:lnTo>
                  <a:pt x="2961203" y="767746"/>
                </a:lnTo>
                <a:lnTo>
                  <a:pt x="2959791" y="762873"/>
                </a:lnTo>
                <a:lnTo>
                  <a:pt x="2959791" y="758001"/>
                </a:lnTo>
                <a:lnTo>
                  <a:pt x="2958923" y="755836"/>
                </a:lnTo>
                <a:lnTo>
                  <a:pt x="2956102" y="754753"/>
                </a:lnTo>
                <a:lnTo>
                  <a:pt x="2953715" y="754753"/>
                </a:lnTo>
                <a:lnTo>
                  <a:pt x="2951327" y="752155"/>
                </a:lnTo>
                <a:lnTo>
                  <a:pt x="2947964" y="752155"/>
                </a:lnTo>
                <a:lnTo>
                  <a:pt x="2945142" y="751072"/>
                </a:lnTo>
                <a:lnTo>
                  <a:pt x="2945142" y="749015"/>
                </a:lnTo>
                <a:lnTo>
                  <a:pt x="2947095" y="748257"/>
                </a:lnTo>
                <a:lnTo>
                  <a:pt x="2950676" y="748907"/>
                </a:lnTo>
                <a:lnTo>
                  <a:pt x="2952630" y="747607"/>
                </a:lnTo>
                <a:lnTo>
                  <a:pt x="2955668" y="744467"/>
                </a:lnTo>
                <a:lnTo>
                  <a:pt x="2955668" y="741111"/>
                </a:lnTo>
                <a:lnTo>
                  <a:pt x="2958164" y="738404"/>
                </a:lnTo>
                <a:lnTo>
                  <a:pt x="2958164" y="735697"/>
                </a:lnTo>
                <a:lnTo>
                  <a:pt x="2956428" y="733749"/>
                </a:lnTo>
                <a:lnTo>
                  <a:pt x="2953389" y="733749"/>
                </a:lnTo>
                <a:lnTo>
                  <a:pt x="2952086" y="731800"/>
                </a:lnTo>
                <a:lnTo>
                  <a:pt x="2951435" y="728877"/>
                </a:lnTo>
                <a:lnTo>
                  <a:pt x="2953823" y="726928"/>
                </a:lnTo>
                <a:lnTo>
                  <a:pt x="2954691" y="726928"/>
                </a:lnTo>
                <a:lnTo>
                  <a:pt x="2954691" y="724979"/>
                </a:lnTo>
                <a:lnTo>
                  <a:pt x="2952086" y="720973"/>
                </a:lnTo>
                <a:lnTo>
                  <a:pt x="2951110" y="715993"/>
                </a:lnTo>
                <a:lnTo>
                  <a:pt x="2952955" y="715126"/>
                </a:lnTo>
                <a:lnTo>
                  <a:pt x="2955125" y="717833"/>
                </a:lnTo>
                <a:lnTo>
                  <a:pt x="2955125" y="716426"/>
                </a:lnTo>
                <a:lnTo>
                  <a:pt x="2953823" y="713610"/>
                </a:lnTo>
                <a:lnTo>
                  <a:pt x="2953823" y="711337"/>
                </a:lnTo>
                <a:lnTo>
                  <a:pt x="2955885" y="707222"/>
                </a:lnTo>
                <a:lnTo>
                  <a:pt x="2955017" y="702892"/>
                </a:lnTo>
                <a:lnTo>
                  <a:pt x="2952846" y="699102"/>
                </a:lnTo>
                <a:lnTo>
                  <a:pt x="2952846" y="696395"/>
                </a:lnTo>
                <a:lnTo>
                  <a:pt x="2951761" y="693580"/>
                </a:lnTo>
                <a:lnTo>
                  <a:pt x="2953280" y="690982"/>
                </a:lnTo>
                <a:lnTo>
                  <a:pt x="2954799" y="685785"/>
                </a:lnTo>
                <a:lnTo>
                  <a:pt x="2953063" y="685785"/>
                </a:lnTo>
                <a:lnTo>
                  <a:pt x="2950785" y="685785"/>
                </a:lnTo>
                <a:lnTo>
                  <a:pt x="2946660" y="689790"/>
                </a:lnTo>
                <a:lnTo>
                  <a:pt x="2944165" y="689790"/>
                </a:lnTo>
                <a:lnTo>
                  <a:pt x="2942212" y="691632"/>
                </a:lnTo>
                <a:lnTo>
                  <a:pt x="2939933" y="692606"/>
                </a:lnTo>
                <a:lnTo>
                  <a:pt x="2937871" y="691523"/>
                </a:lnTo>
                <a:lnTo>
                  <a:pt x="2939282" y="689466"/>
                </a:lnTo>
                <a:lnTo>
                  <a:pt x="2943514" y="686326"/>
                </a:lnTo>
                <a:lnTo>
                  <a:pt x="2945901" y="686326"/>
                </a:lnTo>
                <a:lnTo>
                  <a:pt x="2948289" y="683294"/>
                </a:lnTo>
                <a:lnTo>
                  <a:pt x="2949373" y="679614"/>
                </a:lnTo>
                <a:lnTo>
                  <a:pt x="2952955" y="676690"/>
                </a:lnTo>
                <a:lnTo>
                  <a:pt x="2956753" y="675174"/>
                </a:lnTo>
                <a:lnTo>
                  <a:pt x="2958055" y="671926"/>
                </a:lnTo>
                <a:lnTo>
                  <a:pt x="2958055" y="668786"/>
                </a:lnTo>
                <a:lnTo>
                  <a:pt x="2955885" y="666080"/>
                </a:lnTo>
                <a:lnTo>
                  <a:pt x="2953063" y="662290"/>
                </a:lnTo>
                <a:lnTo>
                  <a:pt x="2951978" y="658501"/>
                </a:lnTo>
                <a:lnTo>
                  <a:pt x="2950893" y="657526"/>
                </a:lnTo>
                <a:lnTo>
                  <a:pt x="2945467" y="657526"/>
                </a:lnTo>
                <a:lnTo>
                  <a:pt x="2942971" y="654278"/>
                </a:lnTo>
                <a:lnTo>
                  <a:pt x="2942971" y="650921"/>
                </a:lnTo>
                <a:lnTo>
                  <a:pt x="2944382" y="649298"/>
                </a:lnTo>
                <a:lnTo>
                  <a:pt x="2943406" y="647241"/>
                </a:lnTo>
                <a:lnTo>
                  <a:pt x="2943406" y="642910"/>
                </a:lnTo>
                <a:lnTo>
                  <a:pt x="2941561" y="639229"/>
                </a:lnTo>
                <a:lnTo>
                  <a:pt x="2933422" y="632408"/>
                </a:lnTo>
                <a:lnTo>
                  <a:pt x="2933422" y="630783"/>
                </a:lnTo>
                <a:lnTo>
                  <a:pt x="2931577" y="627644"/>
                </a:lnTo>
                <a:lnTo>
                  <a:pt x="2929732" y="625803"/>
                </a:lnTo>
                <a:lnTo>
                  <a:pt x="2929732" y="623854"/>
                </a:lnTo>
                <a:lnTo>
                  <a:pt x="2931252" y="622989"/>
                </a:lnTo>
                <a:lnTo>
                  <a:pt x="2936026" y="618874"/>
                </a:lnTo>
                <a:lnTo>
                  <a:pt x="2938739" y="617358"/>
                </a:lnTo>
                <a:lnTo>
                  <a:pt x="2940150" y="614760"/>
                </a:lnTo>
                <a:lnTo>
                  <a:pt x="2939065" y="613569"/>
                </a:lnTo>
                <a:lnTo>
                  <a:pt x="2935266" y="613569"/>
                </a:lnTo>
                <a:lnTo>
                  <a:pt x="2935266" y="611945"/>
                </a:lnTo>
                <a:lnTo>
                  <a:pt x="2937979" y="609779"/>
                </a:lnTo>
                <a:lnTo>
                  <a:pt x="2940150" y="605341"/>
                </a:lnTo>
                <a:lnTo>
                  <a:pt x="2941658" y="603621"/>
                </a:lnTo>
                <a:lnTo>
                  <a:pt x="2942429" y="604582"/>
                </a:lnTo>
                <a:lnTo>
                  <a:pt x="2942429" y="602742"/>
                </a:lnTo>
                <a:lnTo>
                  <a:pt x="2941658" y="603621"/>
                </a:lnTo>
                <a:lnTo>
                  <a:pt x="2941561" y="603499"/>
                </a:lnTo>
                <a:lnTo>
                  <a:pt x="2943080" y="600468"/>
                </a:lnTo>
                <a:lnTo>
                  <a:pt x="2941126" y="598195"/>
                </a:lnTo>
                <a:lnTo>
                  <a:pt x="2938848" y="597437"/>
                </a:lnTo>
                <a:lnTo>
                  <a:pt x="2935158" y="592889"/>
                </a:lnTo>
                <a:lnTo>
                  <a:pt x="2929949" y="588884"/>
                </a:lnTo>
                <a:lnTo>
                  <a:pt x="2928539" y="585310"/>
                </a:lnTo>
                <a:lnTo>
                  <a:pt x="2926368" y="583902"/>
                </a:lnTo>
                <a:lnTo>
                  <a:pt x="2924632" y="583902"/>
                </a:lnTo>
                <a:lnTo>
                  <a:pt x="2924632" y="586068"/>
                </a:lnTo>
                <a:lnTo>
                  <a:pt x="2922679" y="586068"/>
                </a:lnTo>
                <a:lnTo>
                  <a:pt x="2921485" y="584985"/>
                </a:lnTo>
                <a:lnTo>
                  <a:pt x="2920617" y="581413"/>
                </a:lnTo>
                <a:lnTo>
                  <a:pt x="2918121" y="579138"/>
                </a:lnTo>
                <a:lnTo>
                  <a:pt x="2914865" y="576865"/>
                </a:lnTo>
                <a:lnTo>
                  <a:pt x="2912587" y="574050"/>
                </a:lnTo>
                <a:lnTo>
                  <a:pt x="2910634" y="573292"/>
                </a:lnTo>
                <a:lnTo>
                  <a:pt x="2909548" y="574375"/>
                </a:lnTo>
                <a:lnTo>
                  <a:pt x="2907595" y="574375"/>
                </a:lnTo>
                <a:lnTo>
                  <a:pt x="2907595" y="572859"/>
                </a:lnTo>
                <a:lnTo>
                  <a:pt x="2908463" y="568745"/>
                </a:lnTo>
                <a:lnTo>
                  <a:pt x="2902929" y="564414"/>
                </a:lnTo>
                <a:lnTo>
                  <a:pt x="2898588" y="559975"/>
                </a:lnTo>
                <a:lnTo>
                  <a:pt x="2896851" y="559975"/>
                </a:lnTo>
                <a:lnTo>
                  <a:pt x="2894464" y="562573"/>
                </a:lnTo>
                <a:lnTo>
                  <a:pt x="2890667" y="561058"/>
                </a:lnTo>
                <a:lnTo>
                  <a:pt x="2884156" y="555428"/>
                </a:lnTo>
                <a:lnTo>
                  <a:pt x="2878838" y="553695"/>
                </a:lnTo>
                <a:lnTo>
                  <a:pt x="2875583" y="550230"/>
                </a:lnTo>
                <a:lnTo>
                  <a:pt x="2871459" y="548715"/>
                </a:lnTo>
                <a:lnTo>
                  <a:pt x="2866467" y="549365"/>
                </a:lnTo>
                <a:lnTo>
                  <a:pt x="2863320" y="552288"/>
                </a:lnTo>
                <a:lnTo>
                  <a:pt x="2860716" y="557052"/>
                </a:lnTo>
                <a:lnTo>
                  <a:pt x="2856375" y="560192"/>
                </a:lnTo>
                <a:lnTo>
                  <a:pt x="2854530" y="562573"/>
                </a:lnTo>
                <a:lnTo>
                  <a:pt x="2854530" y="558243"/>
                </a:lnTo>
                <a:lnTo>
                  <a:pt x="2856809" y="554236"/>
                </a:lnTo>
                <a:lnTo>
                  <a:pt x="2856809" y="549906"/>
                </a:lnTo>
                <a:lnTo>
                  <a:pt x="2855398" y="548390"/>
                </a:lnTo>
                <a:lnTo>
                  <a:pt x="2850949" y="548390"/>
                </a:lnTo>
                <a:lnTo>
                  <a:pt x="2848562" y="551530"/>
                </a:lnTo>
                <a:lnTo>
                  <a:pt x="2848562" y="554453"/>
                </a:lnTo>
                <a:lnTo>
                  <a:pt x="2845306" y="556510"/>
                </a:lnTo>
                <a:lnTo>
                  <a:pt x="2842919" y="554995"/>
                </a:lnTo>
                <a:lnTo>
                  <a:pt x="2840206" y="549148"/>
                </a:lnTo>
                <a:lnTo>
                  <a:pt x="2837493" y="548065"/>
                </a:lnTo>
                <a:lnTo>
                  <a:pt x="2836842" y="550988"/>
                </a:lnTo>
                <a:lnTo>
                  <a:pt x="2834563" y="559109"/>
                </a:lnTo>
                <a:lnTo>
                  <a:pt x="2832827" y="560300"/>
                </a:lnTo>
                <a:lnTo>
                  <a:pt x="2829572" y="559109"/>
                </a:lnTo>
                <a:lnTo>
                  <a:pt x="2829572" y="554453"/>
                </a:lnTo>
                <a:lnTo>
                  <a:pt x="2831634" y="550123"/>
                </a:lnTo>
                <a:lnTo>
                  <a:pt x="2835215" y="547416"/>
                </a:lnTo>
                <a:lnTo>
                  <a:pt x="2834347" y="545467"/>
                </a:lnTo>
                <a:lnTo>
                  <a:pt x="2831199" y="545467"/>
                </a:lnTo>
                <a:lnTo>
                  <a:pt x="2829789" y="544059"/>
                </a:lnTo>
                <a:lnTo>
                  <a:pt x="2825339" y="546983"/>
                </a:lnTo>
                <a:lnTo>
                  <a:pt x="2822084" y="546983"/>
                </a:lnTo>
                <a:lnTo>
                  <a:pt x="2820890" y="549581"/>
                </a:lnTo>
                <a:lnTo>
                  <a:pt x="2819480" y="550664"/>
                </a:lnTo>
                <a:lnTo>
                  <a:pt x="2818611" y="548282"/>
                </a:lnTo>
                <a:lnTo>
                  <a:pt x="2818611" y="545575"/>
                </a:lnTo>
                <a:lnTo>
                  <a:pt x="2816875" y="541135"/>
                </a:lnTo>
                <a:lnTo>
                  <a:pt x="2815790" y="537238"/>
                </a:lnTo>
                <a:lnTo>
                  <a:pt x="2814270" y="537238"/>
                </a:lnTo>
                <a:lnTo>
                  <a:pt x="2811992" y="538104"/>
                </a:lnTo>
                <a:lnTo>
                  <a:pt x="2811992" y="541028"/>
                </a:lnTo>
                <a:lnTo>
                  <a:pt x="2810798" y="545792"/>
                </a:lnTo>
                <a:lnTo>
                  <a:pt x="2808736" y="547633"/>
                </a:lnTo>
                <a:lnTo>
                  <a:pt x="2808736" y="551097"/>
                </a:lnTo>
                <a:lnTo>
                  <a:pt x="2809604" y="557485"/>
                </a:lnTo>
                <a:lnTo>
                  <a:pt x="2809604" y="560408"/>
                </a:lnTo>
                <a:lnTo>
                  <a:pt x="2808519" y="561924"/>
                </a:lnTo>
                <a:lnTo>
                  <a:pt x="2805047" y="559867"/>
                </a:lnTo>
                <a:lnTo>
                  <a:pt x="2801031" y="555752"/>
                </a:lnTo>
                <a:lnTo>
                  <a:pt x="2796257" y="553695"/>
                </a:lnTo>
                <a:lnTo>
                  <a:pt x="2791807" y="550447"/>
                </a:lnTo>
                <a:lnTo>
                  <a:pt x="2788009" y="546333"/>
                </a:lnTo>
                <a:lnTo>
                  <a:pt x="2785079" y="544601"/>
                </a:lnTo>
                <a:lnTo>
                  <a:pt x="2785079" y="543410"/>
                </a:lnTo>
                <a:lnTo>
                  <a:pt x="2786924" y="542002"/>
                </a:lnTo>
                <a:lnTo>
                  <a:pt x="2781933" y="540269"/>
                </a:lnTo>
                <a:lnTo>
                  <a:pt x="2778677" y="533016"/>
                </a:lnTo>
                <a:lnTo>
                  <a:pt x="2776290" y="529768"/>
                </a:lnTo>
                <a:lnTo>
                  <a:pt x="2772492" y="525437"/>
                </a:lnTo>
                <a:lnTo>
                  <a:pt x="2772492" y="520240"/>
                </a:lnTo>
                <a:lnTo>
                  <a:pt x="2774553" y="517641"/>
                </a:lnTo>
                <a:lnTo>
                  <a:pt x="2780956" y="517641"/>
                </a:lnTo>
                <a:lnTo>
                  <a:pt x="2783561" y="514935"/>
                </a:lnTo>
                <a:lnTo>
                  <a:pt x="2787359" y="513852"/>
                </a:lnTo>
                <a:lnTo>
                  <a:pt x="2793544" y="513852"/>
                </a:lnTo>
                <a:lnTo>
                  <a:pt x="2795064" y="515367"/>
                </a:lnTo>
                <a:lnTo>
                  <a:pt x="2798210" y="513094"/>
                </a:lnTo>
                <a:lnTo>
                  <a:pt x="2800163" y="510171"/>
                </a:lnTo>
                <a:lnTo>
                  <a:pt x="2800163" y="507897"/>
                </a:lnTo>
                <a:lnTo>
                  <a:pt x="2795389" y="507897"/>
                </a:lnTo>
                <a:lnTo>
                  <a:pt x="2789204" y="504649"/>
                </a:lnTo>
                <a:lnTo>
                  <a:pt x="2786924" y="504649"/>
                </a:lnTo>
                <a:lnTo>
                  <a:pt x="2785188" y="506923"/>
                </a:lnTo>
                <a:lnTo>
                  <a:pt x="2778135" y="500101"/>
                </a:lnTo>
                <a:lnTo>
                  <a:pt x="2777483" y="493930"/>
                </a:lnTo>
                <a:lnTo>
                  <a:pt x="2780196" y="491548"/>
                </a:lnTo>
                <a:lnTo>
                  <a:pt x="2783669" y="489707"/>
                </a:lnTo>
                <a:lnTo>
                  <a:pt x="2785622" y="484186"/>
                </a:lnTo>
                <a:lnTo>
                  <a:pt x="2787467" y="481803"/>
                </a:lnTo>
                <a:lnTo>
                  <a:pt x="2784320" y="481803"/>
                </a:lnTo>
                <a:lnTo>
                  <a:pt x="2782041" y="483320"/>
                </a:lnTo>
                <a:lnTo>
                  <a:pt x="2779112" y="488841"/>
                </a:lnTo>
                <a:lnTo>
                  <a:pt x="2776507" y="488841"/>
                </a:lnTo>
                <a:lnTo>
                  <a:pt x="2774662" y="490249"/>
                </a:lnTo>
                <a:lnTo>
                  <a:pt x="2771949" y="493496"/>
                </a:lnTo>
                <a:lnTo>
                  <a:pt x="2766957" y="491440"/>
                </a:lnTo>
                <a:lnTo>
                  <a:pt x="2765546" y="487109"/>
                </a:lnTo>
                <a:lnTo>
                  <a:pt x="2766741" y="483536"/>
                </a:lnTo>
                <a:lnTo>
                  <a:pt x="2769670" y="481587"/>
                </a:lnTo>
                <a:lnTo>
                  <a:pt x="2768259" y="480071"/>
                </a:lnTo>
                <a:lnTo>
                  <a:pt x="2765655" y="480071"/>
                </a:lnTo>
                <a:lnTo>
                  <a:pt x="2763919" y="481046"/>
                </a:lnTo>
                <a:lnTo>
                  <a:pt x="2763919" y="474225"/>
                </a:lnTo>
                <a:lnTo>
                  <a:pt x="2765764" y="471301"/>
                </a:lnTo>
                <a:lnTo>
                  <a:pt x="2767609" y="471301"/>
                </a:lnTo>
                <a:lnTo>
                  <a:pt x="2769345" y="469244"/>
                </a:lnTo>
                <a:lnTo>
                  <a:pt x="2772492" y="469244"/>
                </a:lnTo>
                <a:lnTo>
                  <a:pt x="2774879" y="471301"/>
                </a:lnTo>
                <a:lnTo>
                  <a:pt x="2774879" y="465996"/>
                </a:lnTo>
                <a:lnTo>
                  <a:pt x="2782801" y="463073"/>
                </a:lnTo>
                <a:lnTo>
                  <a:pt x="2790722" y="464914"/>
                </a:lnTo>
                <a:lnTo>
                  <a:pt x="2796040" y="468703"/>
                </a:lnTo>
                <a:lnTo>
                  <a:pt x="2804504" y="468703"/>
                </a:lnTo>
                <a:lnTo>
                  <a:pt x="2812751" y="472817"/>
                </a:lnTo>
                <a:lnTo>
                  <a:pt x="2819480" y="472817"/>
                </a:lnTo>
                <a:lnTo>
                  <a:pt x="2822952" y="474550"/>
                </a:lnTo>
                <a:lnTo>
                  <a:pt x="2831525" y="479530"/>
                </a:lnTo>
                <a:lnTo>
                  <a:pt x="2835215" y="479530"/>
                </a:lnTo>
                <a:lnTo>
                  <a:pt x="2837818" y="479530"/>
                </a:lnTo>
                <a:lnTo>
                  <a:pt x="2843353" y="477473"/>
                </a:lnTo>
                <a:lnTo>
                  <a:pt x="2839555" y="476607"/>
                </a:lnTo>
                <a:lnTo>
                  <a:pt x="2835431" y="476607"/>
                </a:lnTo>
                <a:lnTo>
                  <a:pt x="2828052" y="473142"/>
                </a:lnTo>
                <a:lnTo>
                  <a:pt x="2821975" y="468378"/>
                </a:lnTo>
                <a:lnTo>
                  <a:pt x="2816983" y="467728"/>
                </a:lnTo>
                <a:lnTo>
                  <a:pt x="2810256" y="466754"/>
                </a:lnTo>
                <a:lnTo>
                  <a:pt x="2805806" y="463181"/>
                </a:lnTo>
                <a:lnTo>
                  <a:pt x="2805806" y="460907"/>
                </a:lnTo>
                <a:lnTo>
                  <a:pt x="2814270" y="459067"/>
                </a:lnTo>
                <a:lnTo>
                  <a:pt x="2820456" y="459716"/>
                </a:lnTo>
                <a:lnTo>
                  <a:pt x="2830222" y="459716"/>
                </a:lnTo>
                <a:lnTo>
                  <a:pt x="2837601" y="462640"/>
                </a:lnTo>
                <a:lnTo>
                  <a:pt x="2840857" y="466213"/>
                </a:lnTo>
                <a:lnTo>
                  <a:pt x="2843679" y="467187"/>
                </a:lnTo>
                <a:lnTo>
                  <a:pt x="2845198" y="468703"/>
                </a:lnTo>
                <a:lnTo>
                  <a:pt x="2848887" y="470761"/>
                </a:lnTo>
                <a:lnTo>
                  <a:pt x="2848887" y="468378"/>
                </a:lnTo>
                <a:lnTo>
                  <a:pt x="2847477" y="466321"/>
                </a:lnTo>
                <a:lnTo>
                  <a:pt x="2847477" y="463073"/>
                </a:lnTo>
                <a:lnTo>
                  <a:pt x="2852794" y="459608"/>
                </a:lnTo>
                <a:lnTo>
                  <a:pt x="2854421" y="459608"/>
                </a:lnTo>
                <a:lnTo>
                  <a:pt x="2853770" y="453004"/>
                </a:lnTo>
                <a:lnTo>
                  <a:pt x="2851058" y="451921"/>
                </a:lnTo>
                <a:lnTo>
                  <a:pt x="2848779" y="451921"/>
                </a:lnTo>
                <a:lnTo>
                  <a:pt x="2846826" y="450081"/>
                </a:lnTo>
                <a:lnTo>
                  <a:pt x="2846826" y="447049"/>
                </a:lnTo>
                <a:lnTo>
                  <a:pt x="2843679" y="445966"/>
                </a:lnTo>
                <a:lnTo>
                  <a:pt x="2841074" y="446616"/>
                </a:lnTo>
                <a:lnTo>
                  <a:pt x="2836842" y="449972"/>
                </a:lnTo>
                <a:lnTo>
                  <a:pt x="2831959" y="449972"/>
                </a:lnTo>
                <a:lnTo>
                  <a:pt x="2824906" y="448565"/>
                </a:lnTo>
                <a:lnTo>
                  <a:pt x="2820890" y="446291"/>
                </a:lnTo>
                <a:lnTo>
                  <a:pt x="2820890" y="444342"/>
                </a:lnTo>
                <a:lnTo>
                  <a:pt x="2819805" y="443043"/>
                </a:lnTo>
                <a:lnTo>
                  <a:pt x="2816332" y="438279"/>
                </a:lnTo>
                <a:lnTo>
                  <a:pt x="2814054" y="438279"/>
                </a:lnTo>
                <a:lnTo>
                  <a:pt x="2812751" y="439795"/>
                </a:lnTo>
                <a:lnTo>
                  <a:pt x="2813511" y="441744"/>
                </a:lnTo>
                <a:lnTo>
                  <a:pt x="2815682" y="443909"/>
                </a:lnTo>
                <a:lnTo>
                  <a:pt x="2814705" y="449106"/>
                </a:lnTo>
                <a:lnTo>
                  <a:pt x="2812969" y="451271"/>
                </a:lnTo>
                <a:lnTo>
                  <a:pt x="2806349" y="451271"/>
                </a:lnTo>
                <a:lnTo>
                  <a:pt x="2800706" y="449431"/>
                </a:lnTo>
                <a:lnTo>
                  <a:pt x="2793110" y="441852"/>
                </a:lnTo>
                <a:lnTo>
                  <a:pt x="2793978" y="440120"/>
                </a:lnTo>
                <a:lnTo>
                  <a:pt x="2798861" y="438170"/>
                </a:lnTo>
                <a:lnTo>
                  <a:pt x="2806457" y="434923"/>
                </a:lnTo>
                <a:lnTo>
                  <a:pt x="2806457" y="433406"/>
                </a:lnTo>
                <a:lnTo>
                  <a:pt x="2804612" y="432649"/>
                </a:lnTo>
                <a:lnTo>
                  <a:pt x="2798970" y="434489"/>
                </a:lnTo>
                <a:lnTo>
                  <a:pt x="2795389" y="436547"/>
                </a:lnTo>
                <a:lnTo>
                  <a:pt x="2791265" y="435247"/>
                </a:lnTo>
                <a:lnTo>
                  <a:pt x="2790397" y="432216"/>
                </a:lnTo>
                <a:lnTo>
                  <a:pt x="2791916" y="430375"/>
                </a:lnTo>
                <a:lnTo>
                  <a:pt x="2796474" y="428859"/>
                </a:lnTo>
                <a:lnTo>
                  <a:pt x="2800489" y="426369"/>
                </a:lnTo>
                <a:lnTo>
                  <a:pt x="2803528" y="421172"/>
                </a:lnTo>
                <a:lnTo>
                  <a:pt x="2802768" y="418574"/>
                </a:lnTo>
                <a:lnTo>
                  <a:pt x="2800272" y="417600"/>
                </a:lnTo>
                <a:lnTo>
                  <a:pt x="2798970" y="418682"/>
                </a:lnTo>
                <a:lnTo>
                  <a:pt x="2796908" y="422147"/>
                </a:lnTo>
                <a:lnTo>
                  <a:pt x="2792350" y="425287"/>
                </a:lnTo>
                <a:lnTo>
                  <a:pt x="2786816" y="426261"/>
                </a:lnTo>
                <a:lnTo>
                  <a:pt x="2782909" y="425612"/>
                </a:lnTo>
                <a:lnTo>
                  <a:pt x="2781065" y="422471"/>
                </a:lnTo>
                <a:lnTo>
                  <a:pt x="2782041" y="419873"/>
                </a:lnTo>
                <a:lnTo>
                  <a:pt x="2784537" y="417600"/>
                </a:lnTo>
                <a:lnTo>
                  <a:pt x="2786707" y="415759"/>
                </a:lnTo>
                <a:lnTo>
                  <a:pt x="2785514" y="413918"/>
                </a:lnTo>
                <a:lnTo>
                  <a:pt x="2783669" y="412835"/>
                </a:lnTo>
                <a:lnTo>
                  <a:pt x="2779762" y="412835"/>
                </a:lnTo>
                <a:lnTo>
                  <a:pt x="2777700" y="410887"/>
                </a:lnTo>
                <a:lnTo>
                  <a:pt x="2773143" y="401467"/>
                </a:lnTo>
                <a:lnTo>
                  <a:pt x="2770430" y="398868"/>
                </a:lnTo>
                <a:lnTo>
                  <a:pt x="2766198" y="396702"/>
                </a:lnTo>
                <a:lnTo>
                  <a:pt x="2764461" y="394105"/>
                </a:lnTo>
                <a:lnTo>
                  <a:pt x="2767282" y="393130"/>
                </a:lnTo>
                <a:lnTo>
                  <a:pt x="2771407" y="390856"/>
                </a:lnTo>
                <a:lnTo>
                  <a:pt x="2773794" y="387717"/>
                </a:lnTo>
                <a:lnTo>
                  <a:pt x="2775205" y="386201"/>
                </a:lnTo>
                <a:lnTo>
                  <a:pt x="2776507" y="387176"/>
                </a:lnTo>
                <a:lnTo>
                  <a:pt x="2779328" y="387176"/>
                </a:lnTo>
                <a:lnTo>
                  <a:pt x="2779328" y="385010"/>
                </a:lnTo>
                <a:lnTo>
                  <a:pt x="2776724" y="383711"/>
                </a:lnTo>
                <a:lnTo>
                  <a:pt x="2772926" y="383711"/>
                </a:lnTo>
                <a:lnTo>
                  <a:pt x="2771298" y="380896"/>
                </a:lnTo>
                <a:lnTo>
                  <a:pt x="2772817" y="379055"/>
                </a:lnTo>
                <a:lnTo>
                  <a:pt x="2776724" y="379055"/>
                </a:lnTo>
                <a:lnTo>
                  <a:pt x="2784103" y="376131"/>
                </a:lnTo>
                <a:lnTo>
                  <a:pt x="2784103" y="373749"/>
                </a:lnTo>
                <a:lnTo>
                  <a:pt x="2784103" y="371151"/>
                </a:lnTo>
                <a:lnTo>
                  <a:pt x="2787792" y="370068"/>
                </a:lnTo>
                <a:lnTo>
                  <a:pt x="2790505" y="368227"/>
                </a:lnTo>
                <a:lnTo>
                  <a:pt x="2793652" y="368227"/>
                </a:lnTo>
                <a:lnTo>
                  <a:pt x="2795714" y="369094"/>
                </a:lnTo>
                <a:lnTo>
                  <a:pt x="2799186" y="369094"/>
                </a:lnTo>
                <a:lnTo>
                  <a:pt x="2802334" y="367145"/>
                </a:lnTo>
                <a:lnTo>
                  <a:pt x="2805047" y="367145"/>
                </a:lnTo>
                <a:lnTo>
                  <a:pt x="2808302" y="368011"/>
                </a:lnTo>
                <a:lnTo>
                  <a:pt x="2808302" y="369528"/>
                </a:lnTo>
                <a:lnTo>
                  <a:pt x="2809822" y="370176"/>
                </a:lnTo>
                <a:lnTo>
                  <a:pt x="2812969" y="369528"/>
                </a:lnTo>
                <a:lnTo>
                  <a:pt x="2814379" y="366929"/>
                </a:lnTo>
                <a:lnTo>
                  <a:pt x="2817526" y="364872"/>
                </a:lnTo>
                <a:lnTo>
                  <a:pt x="2820039" y="365391"/>
                </a:lnTo>
                <a:lnTo>
                  <a:pt x="2819805" y="365521"/>
                </a:lnTo>
                <a:lnTo>
                  <a:pt x="2820673" y="365521"/>
                </a:lnTo>
                <a:lnTo>
                  <a:pt x="2820039" y="365391"/>
                </a:lnTo>
                <a:lnTo>
                  <a:pt x="2822518" y="364005"/>
                </a:lnTo>
                <a:lnTo>
                  <a:pt x="2827835" y="364005"/>
                </a:lnTo>
                <a:lnTo>
                  <a:pt x="2845524" y="359350"/>
                </a:lnTo>
                <a:lnTo>
                  <a:pt x="2849213" y="359350"/>
                </a:lnTo>
                <a:lnTo>
                  <a:pt x="2850624" y="361407"/>
                </a:lnTo>
                <a:lnTo>
                  <a:pt x="2851926" y="358917"/>
                </a:lnTo>
                <a:lnTo>
                  <a:pt x="2849972" y="356751"/>
                </a:lnTo>
                <a:lnTo>
                  <a:pt x="2851383" y="354044"/>
                </a:lnTo>
                <a:lnTo>
                  <a:pt x="2857460" y="351121"/>
                </a:lnTo>
                <a:lnTo>
                  <a:pt x="2864839" y="351121"/>
                </a:lnTo>
                <a:lnTo>
                  <a:pt x="2869722" y="350254"/>
                </a:lnTo>
                <a:lnTo>
                  <a:pt x="2872435" y="351771"/>
                </a:lnTo>
                <a:lnTo>
                  <a:pt x="2876777" y="352637"/>
                </a:lnTo>
                <a:lnTo>
                  <a:pt x="2881008" y="350039"/>
                </a:lnTo>
                <a:lnTo>
                  <a:pt x="2886217" y="349281"/>
                </a:lnTo>
                <a:lnTo>
                  <a:pt x="2891969" y="350363"/>
                </a:lnTo>
                <a:lnTo>
                  <a:pt x="2893596" y="352637"/>
                </a:lnTo>
                <a:lnTo>
                  <a:pt x="2897720" y="353287"/>
                </a:lnTo>
                <a:lnTo>
                  <a:pt x="2899999" y="355127"/>
                </a:lnTo>
                <a:lnTo>
                  <a:pt x="2904882" y="358483"/>
                </a:lnTo>
                <a:lnTo>
                  <a:pt x="2908463" y="358483"/>
                </a:lnTo>
                <a:lnTo>
                  <a:pt x="2911285" y="357292"/>
                </a:lnTo>
                <a:lnTo>
                  <a:pt x="2911285" y="355560"/>
                </a:lnTo>
                <a:lnTo>
                  <a:pt x="2915300" y="351446"/>
                </a:lnTo>
                <a:lnTo>
                  <a:pt x="2918338" y="346574"/>
                </a:lnTo>
                <a:lnTo>
                  <a:pt x="2922136" y="341052"/>
                </a:lnTo>
                <a:lnTo>
                  <a:pt x="2927670" y="339211"/>
                </a:lnTo>
                <a:lnTo>
                  <a:pt x="2929407" y="336072"/>
                </a:lnTo>
                <a:lnTo>
                  <a:pt x="2933530" y="329575"/>
                </a:lnTo>
                <a:lnTo>
                  <a:pt x="2937328" y="328492"/>
                </a:lnTo>
                <a:lnTo>
                  <a:pt x="2938848" y="323837"/>
                </a:lnTo>
                <a:lnTo>
                  <a:pt x="2935592" y="322104"/>
                </a:lnTo>
                <a:lnTo>
                  <a:pt x="2935592" y="318099"/>
                </a:lnTo>
                <a:lnTo>
                  <a:pt x="2939173" y="313660"/>
                </a:lnTo>
                <a:lnTo>
                  <a:pt x="2943514" y="313660"/>
                </a:lnTo>
                <a:lnTo>
                  <a:pt x="2949157" y="313660"/>
                </a:lnTo>
                <a:lnTo>
                  <a:pt x="2954148" y="310412"/>
                </a:lnTo>
                <a:lnTo>
                  <a:pt x="2955342" y="306946"/>
                </a:lnTo>
                <a:lnTo>
                  <a:pt x="2954148" y="305756"/>
                </a:lnTo>
                <a:lnTo>
                  <a:pt x="2948940" y="305756"/>
                </a:lnTo>
                <a:lnTo>
                  <a:pt x="2945033" y="303049"/>
                </a:lnTo>
                <a:lnTo>
                  <a:pt x="2945033" y="300451"/>
                </a:lnTo>
                <a:lnTo>
                  <a:pt x="2945901" y="297853"/>
                </a:lnTo>
                <a:lnTo>
                  <a:pt x="2949808" y="296769"/>
                </a:lnTo>
                <a:lnTo>
                  <a:pt x="2955885" y="297960"/>
                </a:lnTo>
                <a:lnTo>
                  <a:pt x="2960659" y="295037"/>
                </a:lnTo>
                <a:lnTo>
                  <a:pt x="2966519" y="292655"/>
                </a:lnTo>
                <a:lnTo>
                  <a:pt x="2967170" y="290057"/>
                </a:lnTo>
                <a:lnTo>
                  <a:pt x="2966302" y="289082"/>
                </a:lnTo>
                <a:lnTo>
                  <a:pt x="2966302" y="284751"/>
                </a:lnTo>
                <a:lnTo>
                  <a:pt x="2964783" y="284751"/>
                </a:lnTo>
                <a:lnTo>
                  <a:pt x="2961636" y="287458"/>
                </a:lnTo>
                <a:lnTo>
                  <a:pt x="2961636" y="291572"/>
                </a:lnTo>
                <a:lnTo>
                  <a:pt x="2959032" y="292980"/>
                </a:lnTo>
                <a:lnTo>
                  <a:pt x="2951761" y="292980"/>
                </a:lnTo>
                <a:lnTo>
                  <a:pt x="2947855" y="291465"/>
                </a:lnTo>
                <a:lnTo>
                  <a:pt x="2945576" y="291465"/>
                </a:lnTo>
                <a:lnTo>
                  <a:pt x="2941126" y="295037"/>
                </a:lnTo>
                <a:lnTo>
                  <a:pt x="2937546" y="295037"/>
                </a:lnTo>
                <a:lnTo>
                  <a:pt x="2936026" y="292330"/>
                </a:lnTo>
                <a:lnTo>
                  <a:pt x="2931685" y="289082"/>
                </a:lnTo>
                <a:lnTo>
                  <a:pt x="2929081" y="289082"/>
                </a:lnTo>
                <a:lnTo>
                  <a:pt x="2926694" y="291356"/>
                </a:lnTo>
                <a:lnTo>
                  <a:pt x="2924415" y="291356"/>
                </a:lnTo>
                <a:lnTo>
                  <a:pt x="2921702" y="289407"/>
                </a:lnTo>
                <a:lnTo>
                  <a:pt x="2918989" y="289407"/>
                </a:lnTo>
                <a:lnTo>
                  <a:pt x="2916928" y="288757"/>
                </a:lnTo>
                <a:lnTo>
                  <a:pt x="2916928" y="283127"/>
                </a:lnTo>
                <a:lnTo>
                  <a:pt x="2916928" y="280420"/>
                </a:lnTo>
                <a:lnTo>
                  <a:pt x="2915733" y="279555"/>
                </a:lnTo>
                <a:lnTo>
                  <a:pt x="2915733" y="276956"/>
                </a:lnTo>
                <a:lnTo>
                  <a:pt x="2916710" y="274032"/>
                </a:lnTo>
                <a:lnTo>
                  <a:pt x="2919966" y="272516"/>
                </a:lnTo>
                <a:lnTo>
                  <a:pt x="2922571" y="269268"/>
                </a:lnTo>
                <a:lnTo>
                  <a:pt x="2924307" y="266888"/>
                </a:lnTo>
                <a:lnTo>
                  <a:pt x="2926694" y="265804"/>
                </a:lnTo>
                <a:lnTo>
                  <a:pt x="2927345" y="263314"/>
                </a:lnTo>
                <a:lnTo>
                  <a:pt x="2925717" y="261474"/>
                </a:lnTo>
                <a:lnTo>
                  <a:pt x="2925717" y="258658"/>
                </a:lnTo>
                <a:lnTo>
                  <a:pt x="2927237" y="256709"/>
                </a:lnTo>
                <a:lnTo>
                  <a:pt x="2930709" y="256709"/>
                </a:lnTo>
                <a:lnTo>
                  <a:pt x="2935050" y="254544"/>
                </a:lnTo>
                <a:lnTo>
                  <a:pt x="2937546" y="252271"/>
                </a:lnTo>
                <a:lnTo>
                  <a:pt x="2937546" y="249563"/>
                </a:lnTo>
                <a:lnTo>
                  <a:pt x="2944816" y="247182"/>
                </a:lnTo>
                <a:lnTo>
                  <a:pt x="2947312" y="243825"/>
                </a:lnTo>
                <a:lnTo>
                  <a:pt x="2950459" y="242309"/>
                </a:lnTo>
                <a:lnTo>
                  <a:pt x="2957296" y="242309"/>
                </a:lnTo>
                <a:lnTo>
                  <a:pt x="2960226" y="241335"/>
                </a:lnTo>
                <a:lnTo>
                  <a:pt x="2959358" y="240252"/>
                </a:lnTo>
                <a:lnTo>
                  <a:pt x="2956644" y="239277"/>
                </a:lnTo>
                <a:lnTo>
                  <a:pt x="2956644" y="236896"/>
                </a:lnTo>
                <a:lnTo>
                  <a:pt x="2959141" y="235921"/>
                </a:lnTo>
                <a:lnTo>
                  <a:pt x="2963589" y="235921"/>
                </a:lnTo>
                <a:lnTo>
                  <a:pt x="2964241" y="237762"/>
                </a:lnTo>
                <a:lnTo>
                  <a:pt x="2966194" y="237004"/>
                </a:lnTo>
                <a:lnTo>
                  <a:pt x="2971620" y="230941"/>
                </a:lnTo>
                <a:lnTo>
                  <a:pt x="2971620" y="227909"/>
                </a:lnTo>
                <a:lnTo>
                  <a:pt x="2973139" y="224229"/>
                </a:lnTo>
                <a:lnTo>
                  <a:pt x="2977805" y="221305"/>
                </a:lnTo>
                <a:lnTo>
                  <a:pt x="2981386" y="220330"/>
                </a:lnTo>
                <a:lnTo>
                  <a:pt x="2984642" y="216433"/>
                </a:lnTo>
                <a:lnTo>
                  <a:pt x="2987897" y="216433"/>
                </a:lnTo>
                <a:lnTo>
                  <a:pt x="2990176" y="215350"/>
                </a:lnTo>
                <a:lnTo>
                  <a:pt x="2991587" y="216866"/>
                </a:lnTo>
                <a:lnTo>
                  <a:pt x="2992780" y="221630"/>
                </a:lnTo>
                <a:lnTo>
                  <a:pt x="2992780" y="229858"/>
                </a:lnTo>
                <a:lnTo>
                  <a:pt x="2994083" y="233323"/>
                </a:lnTo>
                <a:lnTo>
                  <a:pt x="2994083" y="239819"/>
                </a:lnTo>
                <a:lnTo>
                  <a:pt x="2992998" y="248914"/>
                </a:lnTo>
                <a:lnTo>
                  <a:pt x="2994842" y="248914"/>
                </a:lnTo>
                <a:lnTo>
                  <a:pt x="2996687" y="245990"/>
                </a:lnTo>
                <a:lnTo>
                  <a:pt x="2997664" y="238412"/>
                </a:lnTo>
                <a:lnTo>
                  <a:pt x="2995819" y="231698"/>
                </a:lnTo>
                <a:lnTo>
                  <a:pt x="2995819" y="227368"/>
                </a:lnTo>
                <a:lnTo>
                  <a:pt x="2996579" y="224012"/>
                </a:lnTo>
                <a:lnTo>
                  <a:pt x="2996579" y="217949"/>
                </a:lnTo>
                <a:lnTo>
                  <a:pt x="2999074" y="216433"/>
                </a:lnTo>
                <a:lnTo>
                  <a:pt x="3001787" y="216433"/>
                </a:lnTo>
                <a:lnTo>
                  <a:pt x="3002872" y="214267"/>
                </a:lnTo>
                <a:lnTo>
                  <a:pt x="3005152" y="212426"/>
                </a:lnTo>
                <a:lnTo>
                  <a:pt x="3006996" y="212426"/>
                </a:lnTo>
                <a:lnTo>
                  <a:pt x="3007647" y="215350"/>
                </a:lnTo>
                <a:lnTo>
                  <a:pt x="3009058" y="217407"/>
                </a:lnTo>
                <a:lnTo>
                  <a:pt x="3011120" y="217407"/>
                </a:lnTo>
                <a:lnTo>
                  <a:pt x="3012856" y="218706"/>
                </a:lnTo>
                <a:lnTo>
                  <a:pt x="3012856" y="221955"/>
                </a:lnTo>
                <a:lnTo>
                  <a:pt x="3013833" y="224445"/>
                </a:lnTo>
                <a:lnTo>
                  <a:pt x="3017631" y="226610"/>
                </a:lnTo>
                <a:lnTo>
                  <a:pt x="3024576" y="225852"/>
                </a:lnTo>
                <a:lnTo>
                  <a:pt x="3026095" y="224769"/>
                </a:lnTo>
                <a:lnTo>
                  <a:pt x="3029677" y="224769"/>
                </a:lnTo>
                <a:lnTo>
                  <a:pt x="3030327" y="222280"/>
                </a:lnTo>
                <a:lnTo>
                  <a:pt x="3029025" y="219465"/>
                </a:lnTo>
                <a:lnTo>
                  <a:pt x="3030327" y="216758"/>
                </a:lnTo>
                <a:lnTo>
                  <a:pt x="3032606" y="214916"/>
                </a:lnTo>
                <a:lnTo>
                  <a:pt x="3033583" y="210478"/>
                </a:lnTo>
                <a:lnTo>
                  <a:pt x="3034668" y="208854"/>
                </a:lnTo>
                <a:lnTo>
                  <a:pt x="3039009" y="208854"/>
                </a:lnTo>
                <a:lnTo>
                  <a:pt x="3045520" y="205064"/>
                </a:lnTo>
                <a:lnTo>
                  <a:pt x="3047690" y="201166"/>
                </a:lnTo>
                <a:lnTo>
                  <a:pt x="3047690" y="195429"/>
                </a:lnTo>
                <a:lnTo>
                  <a:pt x="3045302" y="194561"/>
                </a:lnTo>
                <a:lnTo>
                  <a:pt x="3043458" y="194561"/>
                </a:lnTo>
                <a:lnTo>
                  <a:pt x="3042807" y="192722"/>
                </a:lnTo>
                <a:lnTo>
                  <a:pt x="3043566" y="190340"/>
                </a:lnTo>
                <a:lnTo>
                  <a:pt x="3046930" y="186117"/>
                </a:lnTo>
                <a:lnTo>
                  <a:pt x="3047582" y="181136"/>
                </a:lnTo>
                <a:lnTo>
                  <a:pt x="3046822" y="177239"/>
                </a:lnTo>
                <a:lnTo>
                  <a:pt x="3048341" y="171500"/>
                </a:lnTo>
                <a:lnTo>
                  <a:pt x="3051380" y="168901"/>
                </a:lnTo>
                <a:lnTo>
                  <a:pt x="3057782" y="167603"/>
                </a:lnTo>
                <a:lnTo>
                  <a:pt x="3063425" y="164788"/>
                </a:lnTo>
                <a:lnTo>
                  <a:pt x="3069068" y="162838"/>
                </a:lnTo>
                <a:lnTo>
                  <a:pt x="3070804" y="163921"/>
                </a:lnTo>
                <a:lnTo>
                  <a:pt x="3071455" y="166519"/>
                </a:lnTo>
                <a:lnTo>
                  <a:pt x="3071455" y="170526"/>
                </a:lnTo>
                <a:lnTo>
                  <a:pt x="3076229" y="177022"/>
                </a:lnTo>
                <a:lnTo>
                  <a:pt x="3076229" y="181028"/>
                </a:lnTo>
                <a:lnTo>
                  <a:pt x="3075470" y="189473"/>
                </a:lnTo>
                <a:lnTo>
                  <a:pt x="3075470" y="198351"/>
                </a:lnTo>
                <a:lnTo>
                  <a:pt x="3077966" y="200192"/>
                </a:lnTo>
                <a:lnTo>
                  <a:pt x="3083609" y="205930"/>
                </a:lnTo>
                <a:lnTo>
                  <a:pt x="3085888" y="210045"/>
                </a:lnTo>
                <a:lnTo>
                  <a:pt x="3088058" y="211884"/>
                </a:lnTo>
                <a:lnTo>
                  <a:pt x="3088926" y="210370"/>
                </a:lnTo>
                <a:lnTo>
                  <a:pt x="3087841" y="202141"/>
                </a:lnTo>
                <a:lnTo>
                  <a:pt x="3087841" y="197811"/>
                </a:lnTo>
                <a:lnTo>
                  <a:pt x="3082415" y="190015"/>
                </a:lnTo>
                <a:lnTo>
                  <a:pt x="3081764" y="183519"/>
                </a:lnTo>
                <a:lnTo>
                  <a:pt x="3084477" y="177022"/>
                </a:lnTo>
                <a:lnTo>
                  <a:pt x="3085128" y="173233"/>
                </a:lnTo>
                <a:lnTo>
                  <a:pt x="3083826" y="171068"/>
                </a:lnTo>
                <a:lnTo>
                  <a:pt x="3081872" y="166845"/>
                </a:lnTo>
                <a:lnTo>
                  <a:pt x="3081872" y="163164"/>
                </a:lnTo>
                <a:lnTo>
                  <a:pt x="3079919" y="159916"/>
                </a:lnTo>
                <a:lnTo>
                  <a:pt x="3081004" y="157642"/>
                </a:lnTo>
                <a:lnTo>
                  <a:pt x="3085345" y="154285"/>
                </a:lnTo>
                <a:lnTo>
                  <a:pt x="3089903" y="154285"/>
                </a:lnTo>
                <a:lnTo>
                  <a:pt x="3093050" y="155368"/>
                </a:lnTo>
                <a:lnTo>
                  <a:pt x="3096523" y="153853"/>
                </a:lnTo>
                <a:lnTo>
                  <a:pt x="3100104" y="153853"/>
                </a:lnTo>
                <a:lnTo>
                  <a:pt x="3106289" y="155801"/>
                </a:lnTo>
                <a:lnTo>
                  <a:pt x="3116164" y="155801"/>
                </a:lnTo>
                <a:lnTo>
                  <a:pt x="3124845" y="152228"/>
                </a:lnTo>
                <a:lnTo>
                  <a:pt x="3133744" y="152228"/>
                </a:lnTo>
                <a:lnTo>
                  <a:pt x="3136456" y="154827"/>
                </a:lnTo>
                <a:lnTo>
                  <a:pt x="3137324" y="159158"/>
                </a:lnTo>
                <a:lnTo>
                  <a:pt x="3137324" y="163056"/>
                </a:lnTo>
                <a:lnTo>
                  <a:pt x="3137324" y="164788"/>
                </a:lnTo>
                <a:lnTo>
                  <a:pt x="3141231" y="164788"/>
                </a:lnTo>
                <a:lnTo>
                  <a:pt x="3143294" y="160998"/>
                </a:lnTo>
                <a:lnTo>
                  <a:pt x="3140906" y="158291"/>
                </a:lnTo>
                <a:lnTo>
                  <a:pt x="3140906" y="154177"/>
                </a:lnTo>
                <a:lnTo>
                  <a:pt x="3147416" y="148654"/>
                </a:lnTo>
                <a:lnTo>
                  <a:pt x="3150998" y="150171"/>
                </a:lnTo>
                <a:lnTo>
                  <a:pt x="3154145" y="153095"/>
                </a:lnTo>
                <a:lnTo>
                  <a:pt x="3155230" y="158725"/>
                </a:lnTo>
                <a:lnTo>
                  <a:pt x="3157509" y="160998"/>
                </a:lnTo>
                <a:lnTo>
                  <a:pt x="3158377" y="157425"/>
                </a:lnTo>
                <a:lnTo>
                  <a:pt x="3158377" y="151037"/>
                </a:lnTo>
                <a:lnTo>
                  <a:pt x="3154904" y="147897"/>
                </a:lnTo>
                <a:lnTo>
                  <a:pt x="3153819" y="144758"/>
                </a:lnTo>
                <a:lnTo>
                  <a:pt x="3155555" y="143242"/>
                </a:lnTo>
                <a:lnTo>
                  <a:pt x="3159354" y="143891"/>
                </a:lnTo>
                <a:lnTo>
                  <a:pt x="3163477" y="145623"/>
                </a:lnTo>
                <a:lnTo>
                  <a:pt x="3167384" y="142918"/>
                </a:lnTo>
                <a:lnTo>
                  <a:pt x="3171725" y="141942"/>
                </a:lnTo>
                <a:lnTo>
                  <a:pt x="3178561" y="142809"/>
                </a:lnTo>
                <a:lnTo>
                  <a:pt x="3179755" y="145732"/>
                </a:lnTo>
                <a:lnTo>
                  <a:pt x="3179104" y="156558"/>
                </a:lnTo>
                <a:lnTo>
                  <a:pt x="3177042" y="162947"/>
                </a:lnTo>
                <a:lnTo>
                  <a:pt x="3177042" y="167278"/>
                </a:lnTo>
                <a:lnTo>
                  <a:pt x="3173786" y="174857"/>
                </a:lnTo>
                <a:lnTo>
                  <a:pt x="3171725" y="179297"/>
                </a:lnTo>
                <a:lnTo>
                  <a:pt x="3171725" y="182544"/>
                </a:lnTo>
                <a:lnTo>
                  <a:pt x="3170314" y="185684"/>
                </a:lnTo>
                <a:lnTo>
                  <a:pt x="3167166" y="186766"/>
                </a:lnTo>
                <a:lnTo>
                  <a:pt x="3165756" y="189040"/>
                </a:lnTo>
                <a:lnTo>
                  <a:pt x="3168360" y="191314"/>
                </a:lnTo>
                <a:lnTo>
                  <a:pt x="3168360" y="193912"/>
                </a:lnTo>
                <a:lnTo>
                  <a:pt x="3166841" y="197702"/>
                </a:lnTo>
                <a:lnTo>
                  <a:pt x="3163260" y="201275"/>
                </a:lnTo>
                <a:lnTo>
                  <a:pt x="3160981" y="206797"/>
                </a:lnTo>
                <a:lnTo>
                  <a:pt x="3156641" y="209286"/>
                </a:lnTo>
                <a:lnTo>
                  <a:pt x="3155013" y="211777"/>
                </a:lnTo>
                <a:lnTo>
                  <a:pt x="3154253" y="216433"/>
                </a:lnTo>
                <a:lnTo>
                  <a:pt x="3151540" y="220980"/>
                </a:lnTo>
                <a:lnTo>
                  <a:pt x="3150455" y="225419"/>
                </a:lnTo>
                <a:lnTo>
                  <a:pt x="3151323" y="227044"/>
                </a:lnTo>
                <a:lnTo>
                  <a:pt x="3154036" y="227044"/>
                </a:lnTo>
                <a:lnTo>
                  <a:pt x="3157400" y="221846"/>
                </a:lnTo>
                <a:lnTo>
                  <a:pt x="3159896" y="219680"/>
                </a:lnTo>
                <a:lnTo>
                  <a:pt x="3159896" y="217082"/>
                </a:lnTo>
                <a:lnTo>
                  <a:pt x="3163477" y="213401"/>
                </a:lnTo>
                <a:lnTo>
                  <a:pt x="3167818" y="206905"/>
                </a:lnTo>
                <a:lnTo>
                  <a:pt x="3169771" y="202899"/>
                </a:lnTo>
                <a:lnTo>
                  <a:pt x="3172593" y="201708"/>
                </a:lnTo>
                <a:lnTo>
                  <a:pt x="3174654" y="199867"/>
                </a:lnTo>
                <a:lnTo>
                  <a:pt x="3176174" y="196619"/>
                </a:lnTo>
                <a:lnTo>
                  <a:pt x="3176174" y="193372"/>
                </a:lnTo>
                <a:lnTo>
                  <a:pt x="3178778" y="191314"/>
                </a:lnTo>
                <a:lnTo>
                  <a:pt x="3181057" y="187849"/>
                </a:lnTo>
                <a:lnTo>
                  <a:pt x="3183987" y="184817"/>
                </a:lnTo>
                <a:lnTo>
                  <a:pt x="3185615" y="188066"/>
                </a:lnTo>
                <a:lnTo>
                  <a:pt x="3185615" y="191747"/>
                </a:lnTo>
                <a:lnTo>
                  <a:pt x="3188328" y="194670"/>
                </a:lnTo>
                <a:lnTo>
                  <a:pt x="3189630" y="198459"/>
                </a:lnTo>
                <a:lnTo>
                  <a:pt x="3190606" y="204090"/>
                </a:lnTo>
                <a:lnTo>
                  <a:pt x="3194296" y="208962"/>
                </a:lnTo>
                <a:lnTo>
                  <a:pt x="3194296" y="215133"/>
                </a:lnTo>
                <a:lnTo>
                  <a:pt x="3196792" y="217082"/>
                </a:lnTo>
                <a:lnTo>
                  <a:pt x="3199939" y="217082"/>
                </a:lnTo>
                <a:lnTo>
                  <a:pt x="3201458" y="218489"/>
                </a:lnTo>
                <a:lnTo>
                  <a:pt x="3203411" y="218489"/>
                </a:lnTo>
                <a:lnTo>
                  <a:pt x="3204171" y="216866"/>
                </a:lnTo>
                <a:lnTo>
                  <a:pt x="3205256" y="214809"/>
                </a:lnTo>
                <a:lnTo>
                  <a:pt x="3205256" y="212535"/>
                </a:lnTo>
                <a:lnTo>
                  <a:pt x="3202109" y="209719"/>
                </a:lnTo>
                <a:lnTo>
                  <a:pt x="3201241" y="206580"/>
                </a:lnTo>
                <a:lnTo>
                  <a:pt x="3202001" y="205497"/>
                </a:lnTo>
                <a:lnTo>
                  <a:pt x="3204171" y="205497"/>
                </a:lnTo>
                <a:lnTo>
                  <a:pt x="3207427" y="208312"/>
                </a:lnTo>
                <a:lnTo>
                  <a:pt x="3212418" y="208962"/>
                </a:lnTo>
                <a:lnTo>
                  <a:pt x="3215239" y="210370"/>
                </a:lnTo>
                <a:lnTo>
                  <a:pt x="3215891" y="211777"/>
                </a:lnTo>
                <a:lnTo>
                  <a:pt x="3219363" y="212535"/>
                </a:lnTo>
                <a:lnTo>
                  <a:pt x="3221208" y="210586"/>
                </a:lnTo>
                <a:lnTo>
                  <a:pt x="3222836" y="211235"/>
                </a:lnTo>
                <a:lnTo>
                  <a:pt x="3224463" y="212968"/>
                </a:lnTo>
                <a:lnTo>
                  <a:pt x="3226417" y="211777"/>
                </a:lnTo>
                <a:lnTo>
                  <a:pt x="3226417" y="203549"/>
                </a:lnTo>
                <a:lnTo>
                  <a:pt x="3225548" y="199542"/>
                </a:lnTo>
                <a:lnTo>
                  <a:pt x="3227285" y="193046"/>
                </a:lnTo>
                <a:lnTo>
                  <a:pt x="3228153" y="186442"/>
                </a:lnTo>
                <a:lnTo>
                  <a:pt x="3225983" y="183735"/>
                </a:lnTo>
                <a:lnTo>
                  <a:pt x="3224572" y="177455"/>
                </a:lnTo>
                <a:lnTo>
                  <a:pt x="3224572" y="172150"/>
                </a:lnTo>
                <a:lnTo>
                  <a:pt x="3228153" y="163705"/>
                </a:lnTo>
                <a:lnTo>
                  <a:pt x="3228804" y="160673"/>
                </a:lnTo>
                <a:lnTo>
                  <a:pt x="3227828" y="157966"/>
                </a:lnTo>
                <a:lnTo>
                  <a:pt x="3229021" y="155692"/>
                </a:lnTo>
                <a:lnTo>
                  <a:pt x="3229021" y="149738"/>
                </a:lnTo>
                <a:lnTo>
                  <a:pt x="3231626" y="147356"/>
                </a:lnTo>
                <a:lnTo>
                  <a:pt x="3235532" y="146707"/>
                </a:lnTo>
                <a:lnTo>
                  <a:pt x="3238245" y="148872"/>
                </a:lnTo>
                <a:lnTo>
                  <a:pt x="3242152" y="149521"/>
                </a:lnTo>
                <a:lnTo>
                  <a:pt x="3245298" y="150496"/>
                </a:lnTo>
                <a:lnTo>
                  <a:pt x="3246601" y="153528"/>
                </a:lnTo>
                <a:lnTo>
                  <a:pt x="3250073" y="155476"/>
                </a:lnTo>
                <a:lnTo>
                  <a:pt x="3252244" y="159699"/>
                </a:lnTo>
                <a:lnTo>
                  <a:pt x="3256151" y="169119"/>
                </a:lnTo>
                <a:lnTo>
                  <a:pt x="3256151" y="173449"/>
                </a:lnTo>
                <a:lnTo>
                  <a:pt x="3260600" y="180379"/>
                </a:lnTo>
                <a:lnTo>
                  <a:pt x="3263313" y="185684"/>
                </a:lnTo>
                <a:lnTo>
                  <a:pt x="3264181" y="196511"/>
                </a:lnTo>
                <a:lnTo>
                  <a:pt x="3263530" y="198784"/>
                </a:lnTo>
                <a:lnTo>
                  <a:pt x="3261142" y="201383"/>
                </a:lnTo>
                <a:lnTo>
                  <a:pt x="3261142" y="205064"/>
                </a:lnTo>
                <a:lnTo>
                  <a:pt x="3262010" y="209937"/>
                </a:lnTo>
                <a:lnTo>
                  <a:pt x="3264289" y="212101"/>
                </a:lnTo>
                <a:lnTo>
                  <a:pt x="3267328" y="219897"/>
                </a:lnTo>
                <a:lnTo>
                  <a:pt x="3266459" y="225094"/>
                </a:lnTo>
                <a:lnTo>
                  <a:pt x="3266459" y="229317"/>
                </a:lnTo>
                <a:lnTo>
                  <a:pt x="3268413" y="232781"/>
                </a:lnTo>
                <a:lnTo>
                  <a:pt x="3272428" y="232781"/>
                </a:lnTo>
                <a:lnTo>
                  <a:pt x="3277529" y="236571"/>
                </a:lnTo>
                <a:lnTo>
                  <a:pt x="3281327" y="236571"/>
                </a:lnTo>
                <a:lnTo>
                  <a:pt x="3286427" y="234623"/>
                </a:lnTo>
                <a:lnTo>
                  <a:pt x="3289899" y="228451"/>
                </a:lnTo>
                <a:lnTo>
                  <a:pt x="3291961" y="226069"/>
                </a:lnTo>
                <a:lnTo>
                  <a:pt x="3292721" y="226935"/>
                </a:lnTo>
                <a:lnTo>
                  <a:pt x="3292721" y="230941"/>
                </a:lnTo>
                <a:lnTo>
                  <a:pt x="3293697" y="233323"/>
                </a:lnTo>
                <a:lnTo>
                  <a:pt x="3295650" y="233323"/>
                </a:lnTo>
                <a:lnTo>
                  <a:pt x="3298363" y="232132"/>
                </a:lnTo>
                <a:lnTo>
                  <a:pt x="3301510" y="233647"/>
                </a:lnTo>
                <a:lnTo>
                  <a:pt x="3302813" y="236030"/>
                </a:lnTo>
                <a:lnTo>
                  <a:pt x="3302813" y="239169"/>
                </a:lnTo>
                <a:lnTo>
                  <a:pt x="3304766" y="241768"/>
                </a:lnTo>
                <a:lnTo>
                  <a:pt x="3308130" y="241768"/>
                </a:lnTo>
                <a:lnTo>
                  <a:pt x="3310734" y="242851"/>
                </a:lnTo>
                <a:lnTo>
                  <a:pt x="3315509" y="242851"/>
                </a:lnTo>
                <a:lnTo>
                  <a:pt x="3316702" y="241443"/>
                </a:lnTo>
                <a:lnTo>
                  <a:pt x="3315184" y="240361"/>
                </a:lnTo>
                <a:lnTo>
                  <a:pt x="3310734" y="237762"/>
                </a:lnTo>
                <a:lnTo>
                  <a:pt x="3309215" y="234623"/>
                </a:lnTo>
                <a:lnTo>
                  <a:pt x="3309215" y="230616"/>
                </a:lnTo>
                <a:lnTo>
                  <a:pt x="3306068" y="230616"/>
                </a:lnTo>
                <a:lnTo>
                  <a:pt x="3304332" y="228667"/>
                </a:lnTo>
                <a:lnTo>
                  <a:pt x="3304332" y="224012"/>
                </a:lnTo>
                <a:lnTo>
                  <a:pt x="3302270" y="220439"/>
                </a:lnTo>
                <a:lnTo>
                  <a:pt x="3297387" y="216541"/>
                </a:lnTo>
                <a:lnTo>
                  <a:pt x="3297387" y="213727"/>
                </a:lnTo>
                <a:lnTo>
                  <a:pt x="3295867" y="207771"/>
                </a:lnTo>
                <a:lnTo>
                  <a:pt x="3293154" y="203765"/>
                </a:lnTo>
                <a:lnTo>
                  <a:pt x="3293154" y="200949"/>
                </a:lnTo>
                <a:lnTo>
                  <a:pt x="3294240" y="194778"/>
                </a:lnTo>
                <a:lnTo>
                  <a:pt x="3293154" y="190555"/>
                </a:lnTo>
                <a:lnTo>
                  <a:pt x="3289682" y="184493"/>
                </a:lnTo>
                <a:lnTo>
                  <a:pt x="3289682" y="180271"/>
                </a:lnTo>
                <a:lnTo>
                  <a:pt x="3290550" y="178213"/>
                </a:lnTo>
                <a:lnTo>
                  <a:pt x="3289248" y="172042"/>
                </a:lnTo>
                <a:lnTo>
                  <a:pt x="3287729" y="169768"/>
                </a:lnTo>
                <a:lnTo>
                  <a:pt x="3288380" y="164788"/>
                </a:lnTo>
                <a:lnTo>
                  <a:pt x="3285775" y="158725"/>
                </a:lnTo>
                <a:lnTo>
                  <a:pt x="3283496" y="154069"/>
                </a:lnTo>
                <a:lnTo>
                  <a:pt x="3285341" y="150496"/>
                </a:lnTo>
                <a:lnTo>
                  <a:pt x="3283063" y="145515"/>
                </a:lnTo>
                <a:lnTo>
                  <a:pt x="3283063" y="140860"/>
                </a:lnTo>
                <a:lnTo>
                  <a:pt x="3284799" y="138586"/>
                </a:lnTo>
                <a:lnTo>
                  <a:pt x="3292721" y="139993"/>
                </a:lnTo>
                <a:lnTo>
                  <a:pt x="3294457" y="143133"/>
                </a:lnTo>
                <a:lnTo>
                  <a:pt x="3296735" y="143133"/>
                </a:lnTo>
                <a:lnTo>
                  <a:pt x="3298472" y="140752"/>
                </a:lnTo>
                <a:lnTo>
                  <a:pt x="3300751" y="140752"/>
                </a:lnTo>
                <a:lnTo>
                  <a:pt x="3308130" y="149196"/>
                </a:lnTo>
                <a:lnTo>
                  <a:pt x="3314641" y="152661"/>
                </a:lnTo>
                <a:lnTo>
                  <a:pt x="3317245" y="150820"/>
                </a:lnTo>
                <a:lnTo>
                  <a:pt x="3317245" y="146057"/>
                </a:lnTo>
                <a:lnTo>
                  <a:pt x="3315184" y="144000"/>
                </a:lnTo>
                <a:lnTo>
                  <a:pt x="3317462" y="136963"/>
                </a:lnTo>
                <a:lnTo>
                  <a:pt x="3320067" y="136963"/>
                </a:lnTo>
                <a:lnTo>
                  <a:pt x="3323865" y="138369"/>
                </a:lnTo>
                <a:lnTo>
                  <a:pt x="3329074" y="137287"/>
                </a:lnTo>
                <a:lnTo>
                  <a:pt x="3333197" y="134689"/>
                </a:lnTo>
                <a:lnTo>
                  <a:pt x="3337647" y="135663"/>
                </a:lnTo>
                <a:lnTo>
                  <a:pt x="3340902" y="138044"/>
                </a:lnTo>
                <a:lnTo>
                  <a:pt x="3344483" y="139020"/>
                </a:lnTo>
                <a:lnTo>
                  <a:pt x="3346762" y="141076"/>
                </a:lnTo>
                <a:lnTo>
                  <a:pt x="3349149" y="147897"/>
                </a:lnTo>
                <a:lnTo>
                  <a:pt x="3349149" y="150820"/>
                </a:lnTo>
                <a:lnTo>
                  <a:pt x="3353490" y="155584"/>
                </a:lnTo>
                <a:lnTo>
                  <a:pt x="3353490" y="160024"/>
                </a:lnTo>
                <a:lnTo>
                  <a:pt x="3351754" y="163813"/>
                </a:lnTo>
                <a:lnTo>
                  <a:pt x="3354358" y="172583"/>
                </a:lnTo>
                <a:lnTo>
                  <a:pt x="3354358" y="177780"/>
                </a:lnTo>
                <a:lnTo>
                  <a:pt x="3355769" y="180920"/>
                </a:lnTo>
                <a:lnTo>
                  <a:pt x="3359350" y="183301"/>
                </a:lnTo>
                <a:lnTo>
                  <a:pt x="3365535" y="183301"/>
                </a:lnTo>
                <a:lnTo>
                  <a:pt x="3371504" y="186874"/>
                </a:lnTo>
                <a:lnTo>
                  <a:pt x="3377038" y="190989"/>
                </a:lnTo>
                <a:lnTo>
                  <a:pt x="3375844" y="187524"/>
                </a:lnTo>
                <a:lnTo>
                  <a:pt x="3375844" y="185792"/>
                </a:lnTo>
                <a:lnTo>
                  <a:pt x="3370636" y="182869"/>
                </a:lnTo>
                <a:lnTo>
                  <a:pt x="3367922" y="179404"/>
                </a:lnTo>
                <a:lnTo>
                  <a:pt x="3364341" y="179404"/>
                </a:lnTo>
                <a:lnTo>
                  <a:pt x="3359675" y="176481"/>
                </a:lnTo>
                <a:lnTo>
                  <a:pt x="3359024" y="173557"/>
                </a:lnTo>
                <a:lnTo>
                  <a:pt x="3359024" y="168252"/>
                </a:lnTo>
                <a:lnTo>
                  <a:pt x="3356094" y="163488"/>
                </a:lnTo>
                <a:lnTo>
                  <a:pt x="3356094" y="160240"/>
                </a:lnTo>
                <a:lnTo>
                  <a:pt x="3358373" y="153744"/>
                </a:lnTo>
                <a:lnTo>
                  <a:pt x="3357722" y="148764"/>
                </a:lnTo>
                <a:lnTo>
                  <a:pt x="3357722" y="145515"/>
                </a:lnTo>
                <a:lnTo>
                  <a:pt x="3358698" y="143458"/>
                </a:lnTo>
                <a:lnTo>
                  <a:pt x="3356420" y="140210"/>
                </a:lnTo>
                <a:lnTo>
                  <a:pt x="3352405" y="138369"/>
                </a:lnTo>
                <a:lnTo>
                  <a:pt x="3347196" y="131440"/>
                </a:lnTo>
                <a:lnTo>
                  <a:pt x="3344266" y="131440"/>
                </a:lnTo>
                <a:lnTo>
                  <a:pt x="3339817" y="131440"/>
                </a:lnTo>
                <a:lnTo>
                  <a:pt x="3336236" y="133389"/>
                </a:lnTo>
                <a:lnTo>
                  <a:pt x="3333306" y="134255"/>
                </a:lnTo>
                <a:lnTo>
                  <a:pt x="3328314" y="131007"/>
                </a:lnTo>
                <a:lnTo>
                  <a:pt x="3328314" y="125485"/>
                </a:lnTo>
                <a:lnTo>
                  <a:pt x="3330592" y="120505"/>
                </a:lnTo>
                <a:lnTo>
                  <a:pt x="3334391" y="120505"/>
                </a:lnTo>
                <a:lnTo>
                  <a:pt x="3334391" y="118231"/>
                </a:lnTo>
                <a:lnTo>
                  <a:pt x="3327988" y="113467"/>
                </a:lnTo>
                <a:lnTo>
                  <a:pt x="3327012" y="108487"/>
                </a:lnTo>
                <a:lnTo>
                  <a:pt x="3327988" y="104698"/>
                </a:lnTo>
                <a:lnTo>
                  <a:pt x="3329074" y="100908"/>
                </a:lnTo>
                <a:lnTo>
                  <a:pt x="3331136" y="100908"/>
                </a:lnTo>
                <a:lnTo>
                  <a:pt x="3334717" y="104373"/>
                </a:lnTo>
                <a:lnTo>
                  <a:pt x="3337321" y="109136"/>
                </a:lnTo>
                <a:lnTo>
                  <a:pt x="3338840" y="109136"/>
                </a:lnTo>
                <a:lnTo>
                  <a:pt x="3343290" y="102207"/>
                </a:lnTo>
                <a:lnTo>
                  <a:pt x="3346870" y="100800"/>
                </a:lnTo>
                <a:lnTo>
                  <a:pt x="3351319" y="98526"/>
                </a:lnTo>
                <a:lnTo>
                  <a:pt x="3352405" y="95494"/>
                </a:lnTo>
                <a:lnTo>
                  <a:pt x="3356420" y="91055"/>
                </a:lnTo>
                <a:lnTo>
                  <a:pt x="3361086" y="90406"/>
                </a:lnTo>
                <a:lnTo>
                  <a:pt x="3357614" y="93113"/>
                </a:lnTo>
                <a:lnTo>
                  <a:pt x="3356420" y="96360"/>
                </a:lnTo>
                <a:lnTo>
                  <a:pt x="3357288" y="97876"/>
                </a:lnTo>
                <a:lnTo>
                  <a:pt x="3360869" y="96036"/>
                </a:lnTo>
                <a:lnTo>
                  <a:pt x="3365209" y="96036"/>
                </a:lnTo>
                <a:lnTo>
                  <a:pt x="3366729" y="97876"/>
                </a:lnTo>
                <a:lnTo>
                  <a:pt x="3367380" y="101449"/>
                </a:lnTo>
                <a:lnTo>
                  <a:pt x="3370527" y="103831"/>
                </a:lnTo>
                <a:lnTo>
                  <a:pt x="3370527" y="106214"/>
                </a:lnTo>
                <a:lnTo>
                  <a:pt x="3368248" y="109677"/>
                </a:lnTo>
                <a:lnTo>
                  <a:pt x="3369984" y="112601"/>
                </a:lnTo>
                <a:lnTo>
                  <a:pt x="3371937" y="109461"/>
                </a:lnTo>
                <a:lnTo>
                  <a:pt x="3375194" y="104156"/>
                </a:lnTo>
                <a:lnTo>
                  <a:pt x="3379968" y="106214"/>
                </a:lnTo>
                <a:lnTo>
                  <a:pt x="3383549" y="110111"/>
                </a:lnTo>
                <a:lnTo>
                  <a:pt x="3383549" y="113575"/>
                </a:lnTo>
                <a:lnTo>
                  <a:pt x="3386696" y="119639"/>
                </a:lnTo>
                <a:lnTo>
                  <a:pt x="3388433" y="125485"/>
                </a:lnTo>
                <a:lnTo>
                  <a:pt x="3388433" y="132198"/>
                </a:lnTo>
                <a:lnTo>
                  <a:pt x="3391362" y="128734"/>
                </a:lnTo>
                <a:lnTo>
                  <a:pt x="3391362" y="122887"/>
                </a:lnTo>
                <a:lnTo>
                  <a:pt x="3389518" y="119422"/>
                </a:lnTo>
                <a:lnTo>
                  <a:pt x="3388107" y="116715"/>
                </a:lnTo>
                <a:lnTo>
                  <a:pt x="3388107" y="112277"/>
                </a:lnTo>
                <a:lnTo>
                  <a:pt x="3387021" y="110220"/>
                </a:lnTo>
                <a:lnTo>
                  <a:pt x="3388107" y="108487"/>
                </a:lnTo>
                <a:lnTo>
                  <a:pt x="3390819" y="110760"/>
                </a:lnTo>
                <a:lnTo>
                  <a:pt x="3397873" y="116283"/>
                </a:lnTo>
                <a:lnTo>
                  <a:pt x="3402539" y="123536"/>
                </a:lnTo>
                <a:lnTo>
                  <a:pt x="3408183" y="126461"/>
                </a:lnTo>
                <a:lnTo>
                  <a:pt x="3413608" y="127434"/>
                </a:lnTo>
                <a:lnTo>
                  <a:pt x="3413608" y="125702"/>
                </a:lnTo>
                <a:lnTo>
                  <a:pt x="3410896" y="123320"/>
                </a:lnTo>
                <a:lnTo>
                  <a:pt x="3405578" y="121154"/>
                </a:lnTo>
                <a:lnTo>
                  <a:pt x="3401888" y="114550"/>
                </a:lnTo>
                <a:lnTo>
                  <a:pt x="3401020" y="108271"/>
                </a:lnTo>
                <a:lnTo>
                  <a:pt x="3402323" y="101991"/>
                </a:lnTo>
                <a:lnTo>
                  <a:pt x="3406771" y="101991"/>
                </a:lnTo>
                <a:lnTo>
                  <a:pt x="3411221" y="101991"/>
                </a:lnTo>
                <a:lnTo>
                  <a:pt x="3417515" y="105672"/>
                </a:lnTo>
                <a:lnTo>
                  <a:pt x="3422290" y="105672"/>
                </a:lnTo>
                <a:lnTo>
                  <a:pt x="3424026" y="103723"/>
                </a:lnTo>
                <a:lnTo>
                  <a:pt x="3422506" y="101341"/>
                </a:lnTo>
                <a:lnTo>
                  <a:pt x="3419360" y="100258"/>
                </a:lnTo>
                <a:lnTo>
                  <a:pt x="3419360" y="97876"/>
                </a:lnTo>
                <a:lnTo>
                  <a:pt x="3423375" y="92679"/>
                </a:lnTo>
                <a:lnTo>
                  <a:pt x="3426956" y="89540"/>
                </a:lnTo>
                <a:lnTo>
                  <a:pt x="3425653" y="87482"/>
                </a:lnTo>
                <a:lnTo>
                  <a:pt x="3423917" y="84667"/>
                </a:lnTo>
                <a:lnTo>
                  <a:pt x="3425219" y="80337"/>
                </a:lnTo>
                <a:lnTo>
                  <a:pt x="3428041" y="79688"/>
                </a:lnTo>
                <a:lnTo>
                  <a:pt x="3431079" y="80662"/>
                </a:lnTo>
                <a:lnTo>
                  <a:pt x="3433141" y="78063"/>
                </a:lnTo>
                <a:lnTo>
                  <a:pt x="3434009" y="73407"/>
                </a:lnTo>
                <a:lnTo>
                  <a:pt x="3435529" y="71567"/>
                </a:lnTo>
                <a:lnTo>
                  <a:pt x="3438242" y="72433"/>
                </a:lnTo>
                <a:lnTo>
                  <a:pt x="3440195" y="74166"/>
                </a:lnTo>
                <a:lnTo>
                  <a:pt x="3441931" y="74166"/>
                </a:lnTo>
                <a:lnTo>
                  <a:pt x="3444101" y="77522"/>
                </a:lnTo>
                <a:lnTo>
                  <a:pt x="3445621" y="82935"/>
                </a:lnTo>
                <a:lnTo>
                  <a:pt x="3448008" y="84667"/>
                </a:lnTo>
                <a:lnTo>
                  <a:pt x="3450504" y="83043"/>
                </a:lnTo>
                <a:lnTo>
                  <a:pt x="3450504" y="78063"/>
                </a:lnTo>
                <a:lnTo>
                  <a:pt x="3448984" y="74166"/>
                </a:lnTo>
                <a:lnTo>
                  <a:pt x="3448984" y="71025"/>
                </a:lnTo>
                <a:lnTo>
                  <a:pt x="3450829" y="68968"/>
                </a:lnTo>
                <a:close/>
                <a:moveTo>
                  <a:pt x="2941342" y="4872"/>
                </a:moveTo>
                <a:lnTo>
                  <a:pt x="2943621" y="8986"/>
                </a:lnTo>
                <a:lnTo>
                  <a:pt x="2939389" y="10610"/>
                </a:lnTo>
                <a:lnTo>
                  <a:pt x="2936677" y="9311"/>
                </a:lnTo>
                <a:lnTo>
                  <a:pt x="2938522" y="5197"/>
                </a:lnTo>
                <a:close/>
                <a:moveTo>
                  <a:pt x="2891317" y="0"/>
                </a:moveTo>
                <a:lnTo>
                  <a:pt x="2894573" y="2274"/>
                </a:lnTo>
                <a:lnTo>
                  <a:pt x="2897936" y="2382"/>
                </a:lnTo>
                <a:lnTo>
                  <a:pt x="2902386" y="4006"/>
                </a:lnTo>
                <a:lnTo>
                  <a:pt x="2908245" y="1516"/>
                </a:lnTo>
                <a:lnTo>
                  <a:pt x="2913780" y="3031"/>
                </a:lnTo>
                <a:lnTo>
                  <a:pt x="2915733" y="6821"/>
                </a:lnTo>
                <a:lnTo>
                  <a:pt x="2921810" y="8878"/>
                </a:lnTo>
                <a:lnTo>
                  <a:pt x="2927562" y="6929"/>
                </a:lnTo>
                <a:lnTo>
                  <a:pt x="2933313" y="11044"/>
                </a:lnTo>
                <a:lnTo>
                  <a:pt x="2934507" y="14833"/>
                </a:lnTo>
                <a:lnTo>
                  <a:pt x="2936351" y="17215"/>
                </a:lnTo>
                <a:lnTo>
                  <a:pt x="2937003" y="23061"/>
                </a:lnTo>
                <a:lnTo>
                  <a:pt x="2934507" y="28583"/>
                </a:lnTo>
                <a:lnTo>
                  <a:pt x="2935591" y="31182"/>
                </a:lnTo>
                <a:lnTo>
                  <a:pt x="2939390" y="30316"/>
                </a:lnTo>
                <a:lnTo>
                  <a:pt x="2944599" y="24361"/>
                </a:lnTo>
                <a:lnTo>
                  <a:pt x="2951869" y="19164"/>
                </a:lnTo>
                <a:lnTo>
                  <a:pt x="2955016" y="15267"/>
                </a:lnTo>
                <a:lnTo>
                  <a:pt x="2959682" y="15049"/>
                </a:lnTo>
                <a:lnTo>
                  <a:pt x="2965217" y="18298"/>
                </a:lnTo>
                <a:lnTo>
                  <a:pt x="2971185" y="18514"/>
                </a:lnTo>
                <a:lnTo>
                  <a:pt x="2970534" y="21655"/>
                </a:lnTo>
                <a:lnTo>
                  <a:pt x="2965325" y="26743"/>
                </a:lnTo>
                <a:lnTo>
                  <a:pt x="2968147" y="31182"/>
                </a:lnTo>
                <a:lnTo>
                  <a:pt x="2970317" y="29883"/>
                </a:lnTo>
                <a:lnTo>
                  <a:pt x="2971511" y="25552"/>
                </a:lnTo>
                <a:lnTo>
                  <a:pt x="2976719" y="21655"/>
                </a:lnTo>
                <a:lnTo>
                  <a:pt x="2981386" y="19814"/>
                </a:lnTo>
                <a:lnTo>
                  <a:pt x="2988765" y="23170"/>
                </a:lnTo>
                <a:lnTo>
                  <a:pt x="2997772" y="24902"/>
                </a:lnTo>
                <a:lnTo>
                  <a:pt x="3000702" y="28150"/>
                </a:lnTo>
                <a:lnTo>
                  <a:pt x="2998314" y="30641"/>
                </a:lnTo>
                <a:lnTo>
                  <a:pt x="2995819" y="31073"/>
                </a:lnTo>
                <a:lnTo>
                  <a:pt x="2997229" y="34646"/>
                </a:lnTo>
                <a:lnTo>
                  <a:pt x="2993756" y="37570"/>
                </a:lnTo>
                <a:lnTo>
                  <a:pt x="2996144" y="40710"/>
                </a:lnTo>
                <a:lnTo>
                  <a:pt x="2999183" y="38220"/>
                </a:lnTo>
                <a:lnTo>
                  <a:pt x="3003632" y="36271"/>
                </a:lnTo>
                <a:lnTo>
                  <a:pt x="3004500" y="41359"/>
                </a:lnTo>
                <a:lnTo>
                  <a:pt x="3007430" y="42550"/>
                </a:lnTo>
                <a:lnTo>
                  <a:pt x="3010143" y="38652"/>
                </a:lnTo>
                <a:lnTo>
                  <a:pt x="3017413" y="37570"/>
                </a:lnTo>
                <a:lnTo>
                  <a:pt x="3017739" y="41251"/>
                </a:lnTo>
                <a:lnTo>
                  <a:pt x="3015135" y="44066"/>
                </a:lnTo>
                <a:lnTo>
                  <a:pt x="3016220" y="47747"/>
                </a:lnTo>
                <a:lnTo>
                  <a:pt x="3019475" y="48613"/>
                </a:lnTo>
                <a:lnTo>
                  <a:pt x="3021320" y="46340"/>
                </a:lnTo>
                <a:lnTo>
                  <a:pt x="3025443" y="43633"/>
                </a:lnTo>
                <a:lnTo>
                  <a:pt x="3027505" y="43633"/>
                </a:lnTo>
                <a:lnTo>
                  <a:pt x="3029241" y="47422"/>
                </a:lnTo>
                <a:lnTo>
                  <a:pt x="3037489" y="52295"/>
                </a:lnTo>
                <a:lnTo>
                  <a:pt x="3042155" y="52295"/>
                </a:lnTo>
                <a:lnTo>
                  <a:pt x="3043566" y="54461"/>
                </a:lnTo>
                <a:lnTo>
                  <a:pt x="3041179" y="57275"/>
                </a:lnTo>
                <a:lnTo>
                  <a:pt x="3032172" y="61064"/>
                </a:lnTo>
                <a:lnTo>
                  <a:pt x="3027614" y="66912"/>
                </a:lnTo>
                <a:lnTo>
                  <a:pt x="3022079" y="67669"/>
                </a:lnTo>
                <a:lnTo>
                  <a:pt x="3015460" y="71242"/>
                </a:lnTo>
                <a:lnTo>
                  <a:pt x="3011879" y="71458"/>
                </a:lnTo>
                <a:lnTo>
                  <a:pt x="3008081" y="69726"/>
                </a:lnTo>
                <a:lnTo>
                  <a:pt x="3006019" y="72433"/>
                </a:lnTo>
                <a:lnTo>
                  <a:pt x="2999074" y="74491"/>
                </a:lnTo>
                <a:lnTo>
                  <a:pt x="3009166" y="73949"/>
                </a:lnTo>
                <a:lnTo>
                  <a:pt x="3018499" y="75248"/>
                </a:lnTo>
                <a:lnTo>
                  <a:pt x="3022079" y="77305"/>
                </a:lnTo>
                <a:lnTo>
                  <a:pt x="3025552" y="77305"/>
                </a:lnTo>
                <a:lnTo>
                  <a:pt x="3028265" y="73083"/>
                </a:lnTo>
                <a:lnTo>
                  <a:pt x="3030544" y="71350"/>
                </a:lnTo>
                <a:lnTo>
                  <a:pt x="3035427" y="71458"/>
                </a:lnTo>
                <a:lnTo>
                  <a:pt x="3038031" y="66803"/>
                </a:lnTo>
                <a:lnTo>
                  <a:pt x="3044651" y="63446"/>
                </a:lnTo>
                <a:lnTo>
                  <a:pt x="3050077" y="63014"/>
                </a:lnTo>
                <a:lnTo>
                  <a:pt x="3051271" y="66586"/>
                </a:lnTo>
                <a:lnTo>
                  <a:pt x="3048775" y="71783"/>
                </a:lnTo>
                <a:lnTo>
                  <a:pt x="3050728" y="74274"/>
                </a:lnTo>
                <a:lnTo>
                  <a:pt x="3052898" y="73083"/>
                </a:lnTo>
                <a:lnTo>
                  <a:pt x="3055394" y="67886"/>
                </a:lnTo>
                <a:lnTo>
                  <a:pt x="3060169" y="64421"/>
                </a:lnTo>
                <a:lnTo>
                  <a:pt x="3062122" y="66370"/>
                </a:lnTo>
                <a:lnTo>
                  <a:pt x="3059735" y="70593"/>
                </a:lnTo>
                <a:lnTo>
                  <a:pt x="3059626" y="73083"/>
                </a:lnTo>
                <a:lnTo>
                  <a:pt x="3057239" y="76222"/>
                </a:lnTo>
                <a:lnTo>
                  <a:pt x="3059192" y="78605"/>
                </a:lnTo>
                <a:lnTo>
                  <a:pt x="3062665" y="77305"/>
                </a:lnTo>
                <a:lnTo>
                  <a:pt x="3065160" y="74923"/>
                </a:lnTo>
                <a:lnTo>
                  <a:pt x="3065920" y="70809"/>
                </a:lnTo>
                <a:lnTo>
                  <a:pt x="3071238" y="69618"/>
                </a:lnTo>
                <a:lnTo>
                  <a:pt x="3075144" y="70809"/>
                </a:lnTo>
                <a:lnTo>
                  <a:pt x="3072540" y="80770"/>
                </a:lnTo>
                <a:lnTo>
                  <a:pt x="3069393" y="82503"/>
                </a:lnTo>
                <a:lnTo>
                  <a:pt x="3071455" y="83801"/>
                </a:lnTo>
                <a:lnTo>
                  <a:pt x="3073083" y="88890"/>
                </a:lnTo>
                <a:lnTo>
                  <a:pt x="3072323" y="95170"/>
                </a:lnTo>
                <a:lnTo>
                  <a:pt x="3068308" y="97876"/>
                </a:lnTo>
                <a:lnTo>
                  <a:pt x="3067114" y="101449"/>
                </a:lnTo>
                <a:lnTo>
                  <a:pt x="3061580" y="109029"/>
                </a:lnTo>
                <a:lnTo>
                  <a:pt x="3063424" y="110761"/>
                </a:lnTo>
                <a:lnTo>
                  <a:pt x="3066680" y="109461"/>
                </a:lnTo>
                <a:lnTo>
                  <a:pt x="3069610" y="104806"/>
                </a:lnTo>
                <a:lnTo>
                  <a:pt x="3073951" y="104589"/>
                </a:lnTo>
                <a:lnTo>
                  <a:pt x="3074927" y="103399"/>
                </a:lnTo>
                <a:lnTo>
                  <a:pt x="3078291" y="103399"/>
                </a:lnTo>
                <a:lnTo>
                  <a:pt x="3084042" y="107080"/>
                </a:lnTo>
                <a:lnTo>
                  <a:pt x="3086430" y="112601"/>
                </a:lnTo>
                <a:lnTo>
                  <a:pt x="3087081" y="119856"/>
                </a:lnTo>
                <a:lnTo>
                  <a:pt x="3085345" y="131007"/>
                </a:lnTo>
                <a:lnTo>
                  <a:pt x="3079594" y="141618"/>
                </a:lnTo>
                <a:lnTo>
                  <a:pt x="3070586" y="146598"/>
                </a:lnTo>
                <a:lnTo>
                  <a:pt x="3068416" y="148764"/>
                </a:lnTo>
                <a:lnTo>
                  <a:pt x="3063750" y="147681"/>
                </a:lnTo>
                <a:lnTo>
                  <a:pt x="3059517" y="149196"/>
                </a:lnTo>
                <a:lnTo>
                  <a:pt x="3059626" y="151688"/>
                </a:lnTo>
                <a:lnTo>
                  <a:pt x="3056696" y="154286"/>
                </a:lnTo>
                <a:lnTo>
                  <a:pt x="3042264" y="161323"/>
                </a:lnTo>
                <a:lnTo>
                  <a:pt x="3036838" y="165221"/>
                </a:lnTo>
                <a:lnTo>
                  <a:pt x="3032172" y="166304"/>
                </a:lnTo>
                <a:lnTo>
                  <a:pt x="3025660" y="168902"/>
                </a:lnTo>
                <a:lnTo>
                  <a:pt x="3018716" y="169010"/>
                </a:lnTo>
                <a:lnTo>
                  <a:pt x="3015351" y="165653"/>
                </a:lnTo>
                <a:lnTo>
                  <a:pt x="3013181" y="170418"/>
                </a:lnTo>
                <a:lnTo>
                  <a:pt x="3010685" y="171825"/>
                </a:lnTo>
                <a:lnTo>
                  <a:pt x="3005260" y="167819"/>
                </a:lnTo>
                <a:lnTo>
                  <a:pt x="2999834" y="165329"/>
                </a:lnTo>
                <a:lnTo>
                  <a:pt x="2992455" y="163922"/>
                </a:lnTo>
                <a:lnTo>
                  <a:pt x="2992455" y="167278"/>
                </a:lnTo>
                <a:lnTo>
                  <a:pt x="2998097" y="168469"/>
                </a:lnTo>
                <a:lnTo>
                  <a:pt x="3001244" y="170093"/>
                </a:lnTo>
                <a:lnTo>
                  <a:pt x="2997555" y="172150"/>
                </a:lnTo>
                <a:lnTo>
                  <a:pt x="2991261" y="170634"/>
                </a:lnTo>
                <a:lnTo>
                  <a:pt x="2988005" y="171176"/>
                </a:lnTo>
                <a:lnTo>
                  <a:pt x="2984967" y="168794"/>
                </a:lnTo>
                <a:lnTo>
                  <a:pt x="2976177" y="168253"/>
                </a:lnTo>
                <a:lnTo>
                  <a:pt x="2973573" y="165545"/>
                </a:lnTo>
                <a:lnTo>
                  <a:pt x="2970752" y="167061"/>
                </a:lnTo>
                <a:lnTo>
                  <a:pt x="2968147" y="167278"/>
                </a:lnTo>
                <a:lnTo>
                  <a:pt x="2960984" y="158616"/>
                </a:lnTo>
                <a:lnTo>
                  <a:pt x="2956210" y="153636"/>
                </a:lnTo>
                <a:lnTo>
                  <a:pt x="2957186" y="158941"/>
                </a:lnTo>
                <a:lnTo>
                  <a:pt x="2962287" y="163922"/>
                </a:lnTo>
                <a:lnTo>
                  <a:pt x="2963155" y="166953"/>
                </a:lnTo>
                <a:lnTo>
                  <a:pt x="2958923" y="167278"/>
                </a:lnTo>
                <a:lnTo>
                  <a:pt x="2952195" y="164679"/>
                </a:lnTo>
                <a:lnTo>
                  <a:pt x="2954800" y="168577"/>
                </a:lnTo>
                <a:lnTo>
                  <a:pt x="2970317" y="170959"/>
                </a:lnTo>
                <a:lnTo>
                  <a:pt x="2979649" y="172908"/>
                </a:lnTo>
                <a:lnTo>
                  <a:pt x="2982362" y="175723"/>
                </a:lnTo>
                <a:lnTo>
                  <a:pt x="2979324" y="178538"/>
                </a:lnTo>
                <a:lnTo>
                  <a:pt x="2958163" y="186875"/>
                </a:lnTo>
                <a:lnTo>
                  <a:pt x="2944924" y="189040"/>
                </a:lnTo>
                <a:lnTo>
                  <a:pt x="2939498" y="188932"/>
                </a:lnTo>
                <a:lnTo>
                  <a:pt x="2932228" y="190665"/>
                </a:lnTo>
                <a:lnTo>
                  <a:pt x="2926042" y="189690"/>
                </a:lnTo>
                <a:lnTo>
                  <a:pt x="2925065" y="186767"/>
                </a:lnTo>
                <a:lnTo>
                  <a:pt x="2920508" y="188607"/>
                </a:lnTo>
                <a:lnTo>
                  <a:pt x="2917036" y="187633"/>
                </a:lnTo>
                <a:lnTo>
                  <a:pt x="2912261" y="188499"/>
                </a:lnTo>
                <a:lnTo>
                  <a:pt x="2909873" y="192830"/>
                </a:lnTo>
                <a:lnTo>
                  <a:pt x="2914539" y="192397"/>
                </a:lnTo>
                <a:lnTo>
                  <a:pt x="2915408" y="196944"/>
                </a:lnTo>
                <a:lnTo>
                  <a:pt x="2922136" y="193155"/>
                </a:lnTo>
                <a:lnTo>
                  <a:pt x="2935483" y="193155"/>
                </a:lnTo>
                <a:lnTo>
                  <a:pt x="2941561" y="194238"/>
                </a:lnTo>
                <a:lnTo>
                  <a:pt x="2959357" y="192830"/>
                </a:lnTo>
                <a:lnTo>
                  <a:pt x="2971402" y="190881"/>
                </a:lnTo>
                <a:lnTo>
                  <a:pt x="2978999" y="183302"/>
                </a:lnTo>
                <a:lnTo>
                  <a:pt x="2984207" y="183085"/>
                </a:lnTo>
                <a:lnTo>
                  <a:pt x="2988005" y="184493"/>
                </a:lnTo>
                <a:lnTo>
                  <a:pt x="2993539" y="183410"/>
                </a:lnTo>
                <a:lnTo>
                  <a:pt x="3001136" y="183518"/>
                </a:lnTo>
                <a:lnTo>
                  <a:pt x="2998206" y="190231"/>
                </a:lnTo>
                <a:lnTo>
                  <a:pt x="2994624" y="197052"/>
                </a:lnTo>
                <a:lnTo>
                  <a:pt x="2986486" y="201166"/>
                </a:lnTo>
                <a:lnTo>
                  <a:pt x="2983990" y="203116"/>
                </a:lnTo>
                <a:lnTo>
                  <a:pt x="2974766" y="204848"/>
                </a:lnTo>
                <a:lnTo>
                  <a:pt x="2971077" y="209936"/>
                </a:lnTo>
                <a:lnTo>
                  <a:pt x="2967604" y="210478"/>
                </a:lnTo>
                <a:lnTo>
                  <a:pt x="2962179" y="215675"/>
                </a:lnTo>
                <a:lnTo>
                  <a:pt x="2954800" y="219031"/>
                </a:lnTo>
                <a:lnTo>
                  <a:pt x="2949916" y="219465"/>
                </a:lnTo>
                <a:lnTo>
                  <a:pt x="2946552" y="220872"/>
                </a:lnTo>
                <a:lnTo>
                  <a:pt x="2941452" y="220005"/>
                </a:lnTo>
                <a:lnTo>
                  <a:pt x="2936786" y="224228"/>
                </a:lnTo>
                <a:lnTo>
                  <a:pt x="2927995" y="226069"/>
                </a:lnTo>
                <a:lnTo>
                  <a:pt x="2925065" y="230941"/>
                </a:lnTo>
                <a:lnTo>
                  <a:pt x="2915516" y="232673"/>
                </a:lnTo>
                <a:lnTo>
                  <a:pt x="2911393" y="234948"/>
                </a:lnTo>
                <a:lnTo>
                  <a:pt x="2907920" y="233972"/>
                </a:lnTo>
                <a:lnTo>
                  <a:pt x="2903905" y="237762"/>
                </a:lnTo>
                <a:lnTo>
                  <a:pt x="2899890" y="237329"/>
                </a:lnTo>
                <a:lnTo>
                  <a:pt x="2898154" y="239278"/>
                </a:lnTo>
                <a:lnTo>
                  <a:pt x="2898371" y="244475"/>
                </a:lnTo>
                <a:lnTo>
                  <a:pt x="2893596" y="248264"/>
                </a:lnTo>
                <a:lnTo>
                  <a:pt x="2890775" y="252270"/>
                </a:lnTo>
                <a:lnTo>
                  <a:pt x="2879489" y="252486"/>
                </a:lnTo>
                <a:lnTo>
                  <a:pt x="2876341" y="254868"/>
                </a:lnTo>
                <a:lnTo>
                  <a:pt x="2872761" y="253678"/>
                </a:lnTo>
                <a:lnTo>
                  <a:pt x="2871893" y="250863"/>
                </a:lnTo>
                <a:lnTo>
                  <a:pt x="2873955" y="247831"/>
                </a:lnTo>
                <a:lnTo>
                  <a:pt x="2873955" y="243717"/>
                </a:lnTo>
                <a:lnTo>
                  <a:pt x="2870807" y="241119"/>
                </a:lnTo>
                <a:lnTo>
                  <a:pt x="2871675" y="247615"/>
                </a:lnTo>
                <a:lnTo>
                  <a:pt x="2869397" y="250105"/>
                </a:lnTo>
                <a:lnTo>
                  <a:pt x="2867769" y="253678"/>
                </a:lnTo>
                <a:lnTo>
                  <a:pt x="2873195" y="257142"/>
                </a:lnTo>
                <a:lnTo>
                  <a:pt x="2874388" y="260715"/>
                </a:lnTo>
                <a:lnTo>
                  <a:pt x="2869614" y="265696"/>
                </a:lnTo>
                <a:lnTo>
                  <a:pt x="2867443" y="266129"/>
                </a:lnTo>
                <a:lnTo>
                  <a:pt x="2862560" y="262664"/>
                </a:lnTo>
                <a:lnTo>
                  <a:pt x="2859521" y="264505"/>
                </a:lnTo>
                <a:lnTo>
                  <a:pt x="2851275" y="261690"/>
                </a:lnTo>
                <a:lnTo>
                  <a:pt x="2848562" y="263639"/>
                </a:lnTo>
                <a:lnTo>
                  <a:pt x="2845414" y="263964"/>
                </a:lnTo>
                <a:lnTo>
                  <a:pt x="2844872" y="259850"/>
                </a:lnTo>
                <a:lnTo>
                  <a:pt x="2842919" y="258225"/>
                </a:lnTo>
                <a:lnTo>
                  <a:pt x="2841074" y="262448"/>
                </a:lnTo>
                <a:lnTo>
                  <a:pt x="2836950" y="262772"/>
                </a:lnTo>
                <a:lnTo>
                  <a:pt x="2836082" y="265370"/>
                </a:lnTo>
                <a:lnTo>
                  <a:pt x="2845197" y="267319"/>
                </a:lnTo>
                <a:lnTo>
                  <a:pt x="2857785" y="267537"/>
                </a:lnTo>
                <a:lnTo>
                  <a:pt x="2860607" y="271325"/>
                </a:lnTo>
                <a:lnTo>
                  <a:pt x="2859630" y="275440"/>
                </a:lnTo>
                <a:lnTo>
                  <a:pt x="2854855" y="278363"/>
                </a:lnTo>
                <a:lnTo>
                  <a:pt x="2848670" y="277281"/>
                </a:lnTo>
                <a:lnTo>
                  <a:pt x="2842376" y="278797"/>
                </a:lnTo>
                <a:lnTo>
                  <a:pt x="2840639" y="280529"/>
                </a:lnTo>
                <a:lnTo>
                  <a:pt x="2842810" y="282370"/>
                </a:lnTo>
                <a:lnTo>
                  <a:pt x="2845089" y="281070"/>
                </a:lnTo>
                <a:lnTo>
                  <a:pt x="2848344" y="283127"/>
                </a:lnTo>
                <a:lnTo>
                  <a:pt x="2847802" y="286917"/>
                </a:lnTo>
                <a:lnTo>
                  <a:pt x="2840097" y="294279"/>
                </a:lnTo>
                <a:lnTo>
                  <a:pt x="2833478" y="293846"/>
                </a:lnTo>
                <a:lnTo>
                  <a:pt x="2821649" y="293629"/>
                </a:lnTo>
                <a:lnTo>
                  <a:pt x="2820021" y="291139"/>
                </a:lnTo>
                <a:lnTo>
                  <a:pt x="2815138" y="290598"/>
                </a:lnTo>
                <a:lnTo>
                  <a:pt x="2813619" y="288216"/>
                </a:lnTo>
                <a:lnTo>
                  <a:pt x="2812968" y="280312"/>
                </a:lnTo>
                <a:lnTo>
                  <a:pt x="2806349" y="279121"/>
                </a:lnTo>
                <a:lnTo>
                  <a:pt x="2804287" y="276847"/>
                </a:lnTo>
                <a:lnTo>
                  <a:pt x="2804612" y="272517"/>
                </a:lnTo>
                <a:lnTo>
                  <a:pt x="2801574" y="269919"/>
                </a:lnTo>
                <a:lnTo>
                  <a:pt x="2798861" y="271217"/>
                </a:lnTo>
                <a:lnTo>
                  <a:pt x="2795605" y="270027"/>
                </a:lnTo>
                <a:lnTo>
                  <a:pt x="2787901" y="271001"/>
                </a:lnTo>
                <a:lnTo>
                  <a:pt x="2787467" y="273383"/>
                </a:lnTo>
                <a:lnTo>
                  <a:pt x="2790505" y="275007"/>
                </a:lnTo>
                <a:lnTo>
                  <a:pt x="2792133" y="273708"/>
                </a:lnTo>
                <a:lnTo>
                  <a:pt x="2795931" y="274141"/>
                </a:lnTo>
                <a:lnTo>
                  <a:pt x="2806349" y="284318"/>
                </a:lnTo>
                <a:lnTo>
                  <a:pt x="2806023" y="297635"/>
                </a:lnTo>
                <a:lnTo>
                  <a:pt x="2804395" y="299909"/>
                </a:lnTo>
                <a:lnTo>
                  <a:pt x="2799295" y="299259"/>
                </a:lnTo>
                <a:lnTo>
                  <a:pt x="2795063" y="295362"/>
                </a:lnTo>
                <a:lnTo>
                  <a:pt x="2792350" y="295795"/>
                </a:lnTo>
                <a:lnTo>
                  <a:pt x="2792133" y="299584"/>
                </a:lnTo>
                <a:lnTo>
                  <a:pt x="2790288" y="300992"/>
                </a:lnTo>
                <a:lnTo>
                  <a:pt x="2785839" y="296337"/>
                </a:lnTo>
                <a:lnTo>
                  <a:pt x="2781932" y="296661"/>
                </a:lnTo>
                <a:lnTo>
                  <a:pt x="2778676" y="300451"/>
                </a:lnTo>
                <a:lnTo>
                  <a:pt x="2776506" y="300017"/>
                </a:lnTo>
                <a:lnTo>
                  <a:pt x="2774336" y="297094"/>
                </a:lnTo>
                <a:lnTo>
                  <a:pt x="2769453" y="295795"/>
                </a:lnTo>
                <a:lnTo>
                  <a:pt x="2766414" y="290814"/>
                </a:lnTo>
                <a:lnTo>
                  <a:pt x="2763810" y="292439"/>
                </a:lnTo>
                <a:lnTo>
                  <a:pt x="2762616" y="287350"/>
                </a:lnTo>
                <a:lnTo>
                  <a:pt x="2760120" y="285726"/>
                </a:lnTo>
                <a:lnTo>
                  <a:pt x="2753067" y="285076"/>
                </a:lnTo>
                <a:lnTo>
                  <a:pt x="2750354" y="281178"/>
                </a:lnTo>
                <a:lnTo>
                  <a:pt x="2748617" y="282802"/>
                </a:lnTo>
                <a:lnTo>
                  <a:pt x="2749160" y="286159"/>
                </a:lnTo>
                <a:lnTo>
                  <a:pt x="2753610" y="289082"/>
                </a:lnTo>
                <a:lnTo>
                  <a:pt x="2759469" y="290490"/>
                </a:lnTo>
                <a:lnTo>
                  <a:pt x="2764787" y="299368"/>
                </a:lnTo>
                <a:lnTo>
                  <a:pt x="2762833" y="301858"/>
                </a:lnTo>
                <a:lnTo>
                  <a:pt x="2749920" y="299043"/>
                </a:lnTo>
                <a:lnTo>
                  <a:pt x="2746339" y="296012"/>
                </a:lnTo>
                <a:lnTo>
                  <a:pt x="2746013" y="291139"/>
                </a:lnTo>
                <a:lnTo>
                  <a:pt x="2742866" y="287892"/>
                </a:lnTo>
                <a:lnTo>
                  <a:pt x="2741238" y="290273"/>
                </a:lnTo>
                <a:lnTo>
                  <a:pt x="2742215" y="292439"/>
                </a:lnTo>
                <a:lnTo>
                  <a:pt x="2740696" y="295686"/>
                </a:lnTo>
                <a:lnTo>
                  <a:pt x="2736463" y="294496"/>
                </a:lnTo>
                <a:lnTo>
                  <a:pt x="2733968" y="291680"/>
                </a:lnTo>
                <a:lnTo>
                  <a:pt x="2729736" y="292872"/>
                </a:lnTo>
                <a:lnTo>
                  <a:pt x="2730170" y="295903"/>
                </a:lnTo>
                <a:lnTo>
                  <a:pt x="2736572" y="298393"/>
                </a:lnTo>
                <a:lnTo>
                  <a:pt x="2736355" y="302616"/>
                </a:lnTo>
                <a:lnTo>
                  <a:pt x="2739068" y="302616"/>
                </a:lnTo>
                <a:lnTo>
                  <a:pt x="2741021" y="300992"/>
                </a:lnTo>
                <a:lnTo>
                  <a:pt x="2744602" y="300992"/>
                </a:lnTo>
                <a:lnTo>
                  <a:pt x="2748292" y="304457"/>
                </a:lnTo>
                <a:lnTo>
                  <a:pt x="2753392" y="306297"/>
                </a:lnTo>
                <a:lnTo>
                  <a:pt x="2757625" y="310304"/>
                </a:lnTo>
                <a:lnTo>
                  <a:pt x="2760338" y="310304"/>
                </a:lnTo>
                <a:lnTo>
                  <a:pt x="2764244" y="309112"/>
                </a:lnTo>
                <a:lnTo>
                  <a:pt x="2777483" y="312035"/>
                </a:lnTo>
                <a:lnTo>
                  <a:pt x="2780088" y="314850"/>
                </a:lnTo>
                <a:lnTo>
                  <a:pt x="2775747" y="317990"/>
                </a:lnTo>
                <a:lnTo>
                  <a:pt x="2777158" y="320481"/>
                </a:lnTo>
                <a:lnTo>
                  <a:pt x="2776615" y="324811"/>
                </a:lnTo>
                <a:lnTo>
                  <a:pt x="2777700" y="329359"/>
                </a:lnTo>
                <a:lnTo>
                  <a:pt x="2774445" y="332390"/>
                </a:lnTo>
                <a:lnTo>
                  <a:pt x="2772492" y="331957"/>
                </a:lnTo>
                <a:lnTo>
                  <a:pt x="2769344" y="328926"/>
                </a:lnTo>
                <a:lnTo>
                  <a:pt x="2762942" y="327193"/>
                </a:lnTo>
                <a:lnTo>
                  <a:pt x="2756756" y="322321"/>
                </a:lnTo>
                <a:lnTo>
                  <a:pt x="2755128" y="319181"/>
                </a:lnTo>
                <a:lnTo>
                  <a:pt x="2755888" y="313226"/>
                </a:lnTo>
                <a:lnTo>
                  <a:pt x="2753392" y="309112"/>
                </a:lnTo>
                <a:lnTo>
                  <a:pt x="2746231" y="308896"/>
                </a:lnTo>
                <a:lnTo>
                  <a:pt x="2735595" y="307272"/>
                </a:lnTo>
                <a:lnTo>
                  <a:pt x="2731689" y="304349"/>
                </a:lnTo>
                <a:lnTo>
                  <a:pt x="2727131" y="304998"/>
                </a:lnTo>
                <a:lnTo>
                  <a:pt x="2726372" y="307163"/>
                </a:lnTo>
                <a:lnTo>
                  <a:pt x="2732557" y="309545"/>
                </a:lnTo>
                <a:lnTo>
                  <a:pt x="2741998" y="310304"/>
                </a:lnTo>
                <a:lnTo>
                  <a:pt x="2751873" y="313984"/>
                </a:lnTo>
                <a:lnTo>
                  <a:pt x="2751656" y="319073"/>
                </a:lnTo>
                <a:lnTo>
                  <a:pt x="2749920" y="319614"/>
                </a:lnTo>
                <a:lnTo>
                  <a:pt x="2744819" y="316041"/>
                </a:lnTo>
                <a:lnTo>
                  <a:pt x="2736030" y="315825"/>
                </a:lnTo>
                <a:lnTo>
                  <a:pt x="2728867" y="317774"/>
                </a:lnTo>
                <a:lnTo>
                  <a:pt x="2728976" y="315176"/>
                </a:lnTo>
                <a:lnTo>
                  <a:pt x="2726372" y="312360"/>
                </a:lnTo>
                <a:lnTo>
                  <a:pt x="2718341" y="311169"/>
                </a:lnTo>
                <a:lnTo>
                  <a:pt x="2714543" y="309004"/>
                </a:lnTo>
                <a:lnTo>
                  <a:pt x="2715412" y="311494"/>
                </a:lnTo>
                <a:lnTo>
                  <a:pt x="2724201" y="315500"/>
                </a:lnTo>
                <a:lnTo>
                  <a:pt x="2723008" y="317666"/>
                </a:lnTo>
                <a:lnTo>
                  <a:pt x="2723008" y="321022"/>
                </a:lnTo>
                <a:lnTo>
                  <a:pt x="2726914" y="321239"/>
                </a:lnTo>
                <a:lnTo>
                  <a:pt x="2727999" y="320481"/>
                </a:lnTo>
                <a:lnTo>
                  <a:pt x="2729736" y="321671"/>
                </a:lnTo>
                <a:lnTo>
                  <a:pt x="2733534" y="320264"/>
                </a:lnTo>
                <a:lnTo>
                  <a:pt x="2734727" y="319073"/>
                </a:lnTo>
                <a:lnTo>
                  <a:pt x="2737223" y="320264"/>
                </a:lnTo>
                <a:lnTo>
                  <a:pt x="2741456" y="319831"/>
                </a:lnTo>
                <a:lnTo>
                  <a:pt x="2744819" y="321130"/>
                </a:lnTo>
                <a:lnTo>
                  <a:pt x="2751765" y="327518"/>
                </a:lnTo>
                <a:lnTo>
                  <a:pt x="2751547" y="329792"/>
                </a:lnTo>
                <a:lnTo>
                  <a:pt x="2745688" y="330117"/>
                </a:lnTo>
                <a:lnTo>
                  <a:pt x="2740805" y="332282"/>
                </a:lnTo>
                <a:lnTo>
                  <a:pt x="2740045" y="334881"/>
                </a:lnTo>
                <a:lnTo>
                  <a:pt x="2744494" y="333581"/>
                </a:lnTo>
                <a:lnTo>
                  <a:pt x="2748835" y="333581"/>
                </a:lnTo>
                <a:lnTo>
                  <a:pt x="2752850" y="332824"/>
                </a:lnTo>
                <a:lnTo>
                  <a:pt x="2757190" y="337046"/>
                </a:lnTo>
                <a:lnTo>
                  <a:pt x="2761423" y="339536"/>
                </a:lnTo>
                <a:lnTo>
                  <a:pt x="2761531" y="343759"/>
                </a:lnTo>
                <a:lnTo>
                  <a:pt x="2755888" y="352637"/>
                </a:lnTo>
                <a:lnTo>
                  <a:pt x="2754043" y="359891"/>
                </a:lnTo>
                <a:lnTo>
                  <a:pt x="2751873" y="360432"/>
                </a:lnTo>
                <a:lnTo>
                  <a:pt x="2745254" y="365521"/>
                </a:lnTo>
                <a:lnTo>
                  <a:pt x="2742106" y="363789"/>
                </a:lnTo>
                <a:lnTo>
                  <a:pt x="2738092" y="363897"/>
                </a:lnTo>
                <a:lnTo>
                  <a:pt x="2734510" y="362057"/>
                </a:lnTo>
                <a:lnTo>
                  <a:pt x="2733860" y="359566"/>
                </a:lnTo>
                <a:lnTo>
                  <a:pt x="2730279" y="357509"/>
                </a:lnTo>
                <a:lnTo>
                  <a:pt x="2724744" y="357293"/>
                </a:lnTo>
                <a:lnTo>
                  <a:pt x="2725395" y="359566"/>
                </a:lnTo>
                <a:lnTo>
                  <a:pt x="2730604" y="361732"/>
                </a:lnTo>
                <a:lnTo>
                  <a:pt x="2731255" y="364114"/>
                </a:lnTo>
                <a:lnTo>
                  <a:pt x="2734619" y="364979"/>
                </a:lnTo>
                <a:lnTo>
                  <a:pt x="2740588" y="368769"/>
                </a:lnTo>
                <a:lnTo>
                  <a:pt x="2741456" y="374832"/>
                </a:lnTo>
                <a:lnTo>
                  <a:pt x="2739502" y="377539"/>
                </a:lnTo>
                <a:lnTo>
                  <a:pt x="2735595" y="378297"/>
                </a:lnTo>
                <a:lnTo>
                  <a:pt x="2730495" y="382844"/>
                </a:lnTo>
                <a:lnTo>
                  <a:pt x="2727457" y="383603"/>
                </a:lnTo>
                <a:lnTo>
                  <a:pt x="2720078" y="377214"/>
                </a:lnTo>
                <a:lnTo>
                  <a:pt x="2715845" y="378622"/>
                </a:lnTo>
                <a:lnTo>
                  <a:pt x="2713567" y="376023"/>
                </a:lnTo>
                <a:lnTo>
                  <a:pt x="2708901" y="375590"/>
                </a:lnTo>
                <a:lnTo>
                  <a:pt x="2705862" y="377322"/>
                </a:lnTo>
                <a:lnTo>
                  <a:pt x="2706839" y="380571"/>
                </a:lnTo>
                <a:lnTo>
                  <a:pt x="2721054" y="388150"/>
                </a:lnTo>
                <a:lnTo>
                  <a:pt x="2726481" y="388691"/>
                </a:lnTo>
                <a:lnTo>
                  <a:pt x="2726481" y="391614"/>
                </a:lnTo>
                <a:lnTo>
                  <a:pt x="2722574" y="393455"/>
                </a:lnTo>
                <a:lnTo>
                  <a:pt x="2718667" y="397894"/>
                </a:lnTo>
                <a:lnTo>
                  <a:pt x="2714543" y="398868"/>
                </a:lnTo>
                <a:lnTo>
                  <a:pt x="2710745" y="394646"/>
                </a:lnTo>
                <a:lnTo>
                  <a:pt x="2707164" y="394862"/>
                </a:lnTo>
                <a:lnTo>
                  <a:pt x="2702715" y="398219"/>
                </a:lnTo>
                <a:lnTo>
                  <a:pt x="2695445" y="397894"/>
                </a:lnTo>
                <a:lnTo>
                  <a:pt x="2692406" y="394429"/>
                </a:lnTo>
                <a:lnTo>
                  <a:pt x="2682748" y="392156"/>
                </a:lnTo>
                <a:lnTo>
                  <a:pt x="2676671" y="393780"/>
                </a:lnTo>
                <a:lnTo>
                  <a:pt x="2675477" y="402441"/>
                </a:lnTo>
                <a:lnTo>
                  <a:pt x="2670920" y="406772"/>
                </a:lnTo>
                <a:lnTo>
                  <a:pt x="2675260" y="406555"/>
                </a:lnTo>
                <a:lnTo>
                  <a:pt x="2676671" y="407854"/>
                </a:lnTo>
                <a:lnTo>
                  <a:pt x="2676888" y="412619"/>
                </a:lnTo>
                <a:lnTo>
                  <a:pt x="2670052" y="416300"/>
                </a:lnTo>
                <a:lnTo>
                  <a:pt x="2669834" y="421388"/>
                </a:lnTo>
                <a:lnTo>
                  <a:pt x="2664300" y="424420"/>
                </a:lnTo>
                <a:lnTo>
                  <a:pt x="2662238" y="422472"/>
                </a:lnTo>
                <a:lnTo>
                  <a:pt x="2660936" y="423987"/>
                </a:lnTo>
                <a:lnTo>
                  <a:pt x="2660176" y="427235"/>
                </a:lnTo>
                <a:lnTo>
                  <a:pt x="2655510" y="429184"/>
                </a:lnTo>
                <a:lnTo>
                  <a:pt x="2652146" y="428210"/>
                </a:lnTo>
                <a:lnTo>
                  <a:pt x="2654317" y="425611"/>
                </a:lnTo>
                <a:lnTo>
                  <a:pt x="2652038" y="425611"/>
                </a:lnTo>
                <a:lnTo>
                  <a:pt x="2649216" y="428210"/>
                </a:lnTo>
                <a:lnTo>
                  <a:pt x="2645961" y="434706"/>
                </a:lnTo>
                <a:lnTo>
                  <a:pt x="2643465" y="436329"/>
                </a:lnTo>
                <a:lnTo>
                  <a:pt x="2632396" y="430375"/>
                </a:lnTo>
                <a:lnTo>
                  <a:pt x="2625994" y="430267"/>
                </a:lnTo>
                <a:lnTo>
                  <a:pt x="2625126" y="432107"/>
                </a:lnTo>
                <a:lnTo>
                  <a:pt x="2619157" y="430916"/>
                </a:lnTo>
                <a:lnTo>
                  <a:pt x="2609065" y="418790"/>
                </a:lnTo>
                <a:lnTo>
                  <a:pt x="2606895" y="408396"/>
                </a:lnTo>
                <a:lnTo>
                  <a:pt x="2609499" y="406447"/>
                </a:lnTo>
                <a:lnTo>
                  <a:pt x="2610259" y="402550"/>
                </a:lnTo>
                <a:lnTo>
                  <a:pt x="2608848" y="399734"/>
                </a:lnTo>
                <a:lnTo>
                  <a:pt x="2609282" y="396595"/>
                </a:lnTo>
                <a:lnTo>
                  <a:pt x="2604833" y="401900"/>
                </a:lnTo>
                <a:lnTo>
                  <a:pt x="2604941" y="405148"/>
                </a:lnTo>
                <a:lnTo>
                  <a:pt x="2602988" y="411969"/>
                </a:lnTo>
                <a:lnTo>
                  <a:pt x="2600818" y="415650"/>
                </a:lnTo>
                <a:lnTo>
                  <a:pt x="2604724" y="420739"/>
                </a:lnTo>
                <a:lnTo>
                  <a:pt x="2603965" y="423229"/>
                </a:lnTo>
                <a:lnTo>
                  <a:pt x="2601469" y="422580"/>
                </a:lnTo>
                <a:lnTo>
                  <a:pt x="2594958" y="423554"/>
                </a:lnTo>
                <a:lnTo>
                  <a:pt x="2593873" y="422796"/>
                </a:lnTo>
                <a:lnTo>
                  <a:pt x="2589424" y="423554"/>
                </a:lnTo>
                <a:lnTo>
                  <a:pt x="2593547" y="427127"/>
                </a:lnTo>
                <a:lnTo>
                  <a:pt x="2591160" y="434489"/>
                </a:lnTo>
                <a:lnTo>
                  <a:pt x="2594524" y="434489"/>
                </a:lnTo>
                <a:lnTo>
                  <a:pt x="2599841" y="428101"/>
                </a:lnTo>
                <a:lnTo>
                  <a:pt x="2602446" y="428210"/>
                </a:lnTo>
                <a:lnTo>
                  <a:pt x="2604508" y="426261"/>
                </a:lnTo>
                <a:lnTo>
                  <a:pt x="2607763" y="425070"/>
                </a:lnTo>
                <a:lnTo>
                  <a:pt x="2613189" y="428968"/>
                </a:lnTo>
                <a:lnTo>
                  <a:pt x="2616662" y="434273"/>
                </a:lnTo>
                <a:lnTo>
                  <a:pt x="2614600" y="439145"/>
                </a:lnTo>
                <a:lnTo>
                  <a:pt x="2620025" y="435139"/>
                </a:lnTo>
                <a:lnTo>
                  <a:pt x="2628707" y="432865"/>
                </a:lnTo>
                <a:lnTo>
                  <a:pt x="2634567" y="435680"/>
                </a:lnTo>
                <a:lnTo>
                  <a:pt x="2635543" y="440335"/>
                </a:lnTo>
                <a:lnTo>
                  <a:pt x="2633156" y="443151"/>
                </a:lnTo>
                <a:lnTo>
                  <a:pt x="2630226" y="450838"/>
                </a:lnTo>
                <a:lnTo>
                  <a:pt x="2627621" y="451488"/>
                </a:lnTo>
                <a:lnTo>
                  <a:pt x="2626211" y="454736"/>
                </a:lnTo>
                <a:lnTo>
                  <a:pt x="2627621" y="456143"/>
                </a:lnTo>
                <a:lnTo>
                  <a:pt x="2631962" y="455710"/>
                </a:lnTo>
                <a:lnTo>
                  <a:pt x="2631311" y="459067"/>
                </a:lnTo>
                <a:lnTo>
                  <a:pt x="2627404" y="463398"/>
                </a:lnTo>
                <a:lnTo>
                  <a:pt x="2631854" y="463073"/>
                </a:lnTo>
                <a:lnTo>
                  <a:pt x="2634024" y="459933"/>
                </a:lnTo>
                <a:lnTo>
                  <a:pt x="2639884" y="456576"/>
                </a:lnTo>
                <a:lnTo>
                  <a:pt x="2643031" y="456360"/>
                </a:lnTo>
                <a:lnTo>
                  <a:pt x="2645201" y="455277"/>
                </a:lnTo>
                <a:lnTo>
                  <a:pt x="2647697" y="456576"/>
                </a:lnTo>
                <a:lnTo>
                  <a:pt x="2646612" y="461232"/>
                </a:lnTo>
                <a:lnTo>
                  <a:pt x="2647914" y="464372"/>
                </a:lnTo>
                <a:lnTo>
                  <a:pt x="2646178" y="472276"/>
                </a:lnTo>
                <a:lnTo>
                  <a:pt x="2641078" y="481696"/>
                </a:lnTo>
                <a:lnTo>
                  <a:pt x="2636520" y="481804"/>
                </a:lnTo>
                <a:lnTo>
                  <a:pt x="2631745" y="484835"/>
                </a:lnTo>
                <a:lnTo>
                  <a:pt x="2628816" y="489924"/>
                </a:lnTo>
                <a:lnTo>
                  <a:pt x="2624366" y="493281"/>
                </a:lnTo>
                <a:lnTo>
                  <a:pt x="2622738" y="491765"/>
                </a:lnTo>
                <a:lnTo>
                  <a:pt x="2624366" y="486351"/>
                </a:lnTo>
                <a:lnTo>
                  <a:pt x="2625126" y="480720"/>
                </a:lnTo>
                <a:lnTo>
                  <a:pt x="2623932" y="479638"/>
                </a:lnTo>
                <a:lnTo>
                  <a:pt x="2620568" y="481804"/>
                </a:lnTo>
                <a:lnTo>
                  <a:pt x="2617204" y="488191"/>
                </a:lnTo>
                <a:lnTo>
                  <a:pt x="2613189" y="489275"/>
                </a:lnTo>
                <a:lnTo>
                  <a:pt x="2606678" y="495338"/>
                </a:lnTo>
                <a:lnTo>
                  <a:pt x="2604724" y="493930"/>
                </a:lnTo>
                <a:lnTo>
                  <a:pt x="2600167" y="493822"/>
                </a:lnTo>
                <a:lnTo>
                  <a:pt x="2592679" y="499668"/>
                </a:lnTo>
                <a:lnTo>
                  <a:pt x="2590509" y="498477"/>
                </a:lnTo>
                <a:lnTo>
                  <a:pt x="2586277" y="500318"/>
                </a:lnTo>
                <a:lnTo>
                  <a:pt x="2581610" y="500101"/>
                </a:lnTo>
                <a:lnTo>
                  <a:pt x="2580091" y="496745"/>
                </a:lnTo>
                <a:lnTo>
                  <a:pt x="2578030" y="495229"/>
                </a:lnTo>
                <a:lnTo>
                  <a:pt x="2582153" y="492089"/>
                </a:lnTo>
                <a:lnTo>
                  <a:pt x="2585300" y="487650"/>
                </a:lnTo>
                <a:lnTo>
                  <a:pt x="2585409" y="483861"/>
                </a:lnTo>
                <a:lnTo>
                  <a:pt x="2580417" y="476714"/>
                </a:lnTo>
                <a:lnTo>
                  <a:pt x="2577270" y="479855"/>
                </a:lnTo>
                <a:lnTo>
                  <a:pt x="2570651" y="477364"/>
                </a:lnTo>
                <a:lnTo>
                  <a:pt x="2569782" y="474441"/>
                </a:lnTo>
                <a:lnTo>
                  <a:pt x="2572278" y="468811"/>
                </a:lnTo>
                <a:lnTo>
                  <a:pt x="2575750" y="467837"/>
                </a:lnTo>
                <a:lnTo>
                  <a:pt x="2572929" y="466429"/>
                </a:lnTo>
                <a:lnTo>
                  <a:pt x="2569565" y="465455"/>
                </a:lnTo>
                <a:lnTo>
                  <a:pt x="2566852" y="458959"/>
                </a:lnTo>
                <a:lnTo>
                  <a:pt x="2568263" y="455169"/>
                </a:lnTo>
                <a:lnTo>
                  <a:pt x="2568480" y="450838"/>
                </a:lnTo>
                <a:lnTo>
                  <a:pt x="2566418" y="447049"/>
                </a:lnTo>
                <a:lnTo>
                  <a:pt x="2566418" y="452137"/>
                </a:lnTo>
                <a:lnTo>
                  <a:pt x="2563055" y="459716"/>
                </a:lnTo>
                <a:lnTo>
                  <a:pt x="2566961" y="466753"/>
                </a:lnTo>
                <a:lnTo>
                  <a:pt x="2567503" y="470110"/>
                </a:lnTo>
                <a:lnTo>
                  <a:pt x="2565008" y="472709"/>
                </a:lnTo>
                <a:lnTo>
                  <a:pt x="2564791" y="477906"/>
                </a:lnTo>
                <a:lnTo>
                  <a:pt x="2561752" y="479855"/>
                </a:lnTo>
                <a:lnTo>
                  <a:pt x="2557954" y="478230"/>
                </a:lnTo>
                <a:lnTo>
                  <a:pt x="2553939" y="479422"/>
                </a:lnTo>
                <a:lnTo>
                  <a:pt x="2550575" y="476065"/>
                </a:lnTo>
                <a:lnTo>
                  <a:pt x="2550032" y="473034"/>
                </a:lnTo>
                <a:lnTo>
                  <a:pt x="2553287" y="464480"/>
                </a:lnTo>
                <a:lnTo>
                  <a:pt x="2551660" y="460149"/>
                </a:lnTo>
                <a:lnTo>
                  <a:pt x="2552528" y="455818"/>
                </a:lnTo>
                <a:lnTo>
                  <a:pt x="2557085" y="451055"/>
                </a:lnTo>
                <a:lnTo>
                  <a:pt x="2552094" y="452029"/>
                </a:lnTo>
                <a:lnTo>
                  <a:pt x="2548730" y="455818"/>
                </a:lnTo>
                <a:lnTo>
                  <a:pt x="2547753" y="461557"/>
                </a:lnTo>
                <a:lnTo>
                  <a:pt x="2549598" y="466104"/>
                </a:lnTo>
                <a:lnTo>
                  <a:pt x="2545583" y="473358"/>
                </a:lnTo>
                <a:lnTo>
                  <a:pt x="2541568" y="474657"/>
                </a:lnTo>
                <a:lnTo>
                  <a:pt x="2537227" y="472059"/>
                </a:lnTo>
                <a:lnTo>
                  <a:pt x="2537444" y="468053"/>
                </a:lnTo>
                <a:lnTo>
                  <a:pt x="2535817" y="466213"/>
                </a:lnTo>
                <a:lnTo>
                  <a:pt x="2536142" y="462965"/>
                </a:lnTo>
                <a:lnTo>
                  <a:pt x="2538204" y="459175"/>
                </a:lnTo>
                <a:lnTo>
                  <a:pt x="2539072" y="456576"/>
                </a:lnTo>
                <a:lnTo>
                  <a:pt x="2537770" y="451596"/>
                </a:lnTo>
                <a:lnTo>
                  <a:pt x="2536142" y="451163"/>
                </a:lnTo>
                <a:lnTo>
                  <a:pt x="2535165" y="453328"/>
                </a:lnTo>
                <a:lnTo>
                  <a:pt x="2534406" y="458417"/>
                </a:lnTo>
                <a:lnTo>
                  <a:pt x="2531584" y="461016"/>
                </a:lnTo>
                <a:lnTo>
                  <a:pt x="2531476" y="464480"/>
                </a:lnTo>
                <a:lnTo>
                  <a:pt x="2530065" y="466429"/>
                </a:lnTo>
                <a:lnTo>
                  <a:pt x="2526267" y="466645"/>
                </a:lnTo>
                <a:lnTo>
                  <a:pt x="2525399" y="468053"/>
                </a:lnTo>
                <a:lnTo>
                  <a:pt x="2522252" y="468486"/>
                </a:lnTo>
                <a:lnTo>
                  <a:pt x="2521275" y="466104"/>
                </a:lnTo>
                <a:lnTo>
                  <a:pt x="2521384" y="462206"/>
                </a:lnTo>
                <a:lnTo>
                  <a:pt x="2519647" y="456143"/>
                </a:lnTo>
                <a:lnTo>
                  <a:pt x="2518454" y="454844"/>
                </a:lnTo>
                <a:lnTo>
                  <a:pt x="2516935" y="456252"/>
                </a:lnTo>
                <a:lnTo>
                  <a:pt x="2515090" y="461882"/>
                </a:lnTo>
                <a:lnTo>
                  <a:pt x="2516392" y="469677"/>
                </a:lnTo>
                <a:lnTo>
                  <a:pt x="2519647" y="475091"/>
                </a:lnTo>
                <a:lnTo>
                  <a:pt x="2518345" y="478555"/>
                </a:lnTo>
                <a:lnTo>
                  <a:pt x="2516284" y="478772"/>
                </a:lnTo>
                <a:lnTo>
                  <a:pt x="2512811" y="477256"/>
                </a:lnTo>
                <a:lnTo>
                  <a:pt x="2503913" y="476931"/>
                </a:lnTo>
                <a:lnTo>
                  <a:pt x="2503478" y="473142"/>
                </a:lnTo>
                <a:lnTo>
                  <a:pt x="2501308" y="472709"/>
                </a:lnTo>
                <a:lnTo>
                  <a:pt x="2494363" y="468053"/>
                </a:lnTo>
                <a:lnTo>
                  <a:pt x="2491324" y="468269"/>
                </a:lnTo>
                <a:lnTo>
                  <a:pt x="2490456" y="466645"/>
                </a:lnTo>
                <a:lnTo>
                  <a:pt x="2488503" y="465130"/>
                </a:lnTo>
                <a:lnTo>
                  <a:pt x="2486008" y="465130"/>
                </a:lnTo>
                <a:lnTo>
                  <a:pt x="2485465" y="462639"/>
                </a:lnTo>
                <a:lnTo>
                  <a:pt x="2487961" y="458851"/>
                </a:lnTo>
                <a:lnTo>
                  <a:pt x="2490023" y="458525"/>
                </a:lnTo>
                <a:lnTo>
                  <a:pt x="2492301" y="454519"/>
                </a:lnTo>
                <a:lnTo>
                  <a:pt x="2492084" y="451272"/>
                </a:lnTo>
                <a:lnTo>
                  <a:pt x="2488720" y="445100"/>
                </a:lnTo>
                <a:lnTo>
                  <a:pt x="2486876" y="443584"/>
                </a:lnTo>
                <a:lnTo>
                  <a:pt x="2486984" y="447157"/>
                </a:lnTo>
                <a:lnTo>
                  <a:pt x="2489046" y="449106"/>
                </a:lnTo>
                <a:lnTo>
                  <a:pt x="2489371" y="452896"/>
                </a:lnTo>
                <a:lnTo>
                  <a:pt x="2487961" y="455386"/>
                </a:lnTo>
                <a:lnTo>
                  <a:pt x="2484163" y="455277"/>
                </a:lnTo>
                <a:lnTo>
                  <a:pt x="2482860" y="456685"/>
                </a:lnTo>
                <a:lnTo>
                  <a:pt x="2483512" y="457551"/>
                </a:lnTo>
                <a:lnTo>
                  <a:pt x="2484054" y="460690"/>
                </a:lnTo>
                <a:lnTo>
                  <a:pt x="2481233" y="463722"/>
                </a:lnTo>
                <a:lnTo>
                  <a:pt x="2478954" y="463289"/>
                </a:lnTo>
                <a:lnTo>
                  <a:pt x="2475915" y="458309"/>
                </a:lnTo>
                <a:lnTo>
                  <a:pt x="2476024" y="455494"/>
                </a:lnTo>
                <a:lnTo>
                  <a:pt x="2475047" y="452570"/>
                </a:lnTo>
                <a:lnTo>
                  <a:pt x="2477435" y="446832"/>
                </a:lnTo>
                <a:lnTo>
                  <a:pt x="2476675" y="444775"/>
                </a:lnTo>
                <a:lnTo>
                  <a:pt x="2477000" y="441743"/>
                </a:lnTo>
                <a:lnTo>
                  <a:pt x="2474830" y="443909"/>
                </a:lnTo>
                <a:lnTo>
                  <a:pt x="2473636" y="447915"/>
                </a:lnTo>
                <a:lnTo>
                  <a:pt x="2471358" y="451812"/>
                </a:lnTo>
                <a:lnTo>
                  <a:pt x="2471900" y="453653"/>
                </a:lnTo>
                <a:lnTo>
                  <a:pt x="2471249" y="457443"/>
                </a:lnTo>
                <a:lnTo>
                  <a:pt x="2466474" y="457118"/>
                </a:lnTo>
                <a:lnTo>
                  <a:pt x="2463653" y="454736"/>
                </a:lnTo>
                <a:lnTo>
                  <a:pt x="2460940" y="454519"/>
                </a:lnTo>
                <a:lnTo>
                  <a:pt x="2459747" y="452354"/>
                </a:lnTo>
                <a:lnTo>
                  <a:pt x="2461700" y="448456"/>
                </a:lnTo>
                <a:lnTo>
                  <a:pt x="2462242" y="442935"/>
                </a:lnTo>
                <a:lnTo>
                  <a:pt x="2463653" y="441202"/>
                </a:lnTo>
                <a:lnTo>
                  <a:pt x="2463761" y="436980"/>
                </a:lnTo>
                <a:lnTo>
                  <a:pt x="2468645" y="427668"/>
                </a:lnTo>
                <a:lnTo>
                  <a:pt x="2465606" y="429509"/>
                </a:lnTo>
                <a:lnTo>
                  <a:pt x="2462242" y="430916"/>
                </a:lnTo>
                <a:lnTo>
                  <a:pt x="2460180" y="440227"/>
                </a:lnTo>
                <a:lnTo>
                  <a:pt x="2459855" y="446724"/>
                </a:lnTo>
                <a:lnTo>
                  <a:pt x="2456708" y="450296"/>
                </a:lnTo>
                <a:lnTo>
                  <a:pt x="2455081" y="448998"/>
                </a:lnTo>
                <a:lnTo>
                  <a:pt x="2457467" y="444667"/>
                </a:lnTo>
                <a:lnTo>
                  <a:pt x="2457793" y="443476"/>
                </a:lnTo>
                <a:lnTo>
                  <a:pt x="2456382" y="443043"/>
                </a:lnTo>
                <a:lnTo>
                  <a:pt x="2453561" y="449431"/>
                </a:lnTo>
                <a:lnTo>
                  <a:pt x="2448243" y="449431"/>
                </a:lnTo>
                <a:lnTo>
                  <a:pt x="2446941" y="446399"/>
                </a:lnTo>
                <a:lnTo>
                  <a:pt x="2447050" y="440661"/>
                </a:lnTo>
                <a:lnTo>
                  <a:pt x="2445748" y="438062"/>
                </a:lnTo>
                <a:lnTo>
                  <a:pt x="2446616" y="434814"/>
                </a:lnTo>
                <a:lnTo>
                  <a:pt x="2451933" y="431458"/>
                </a:lnTo>
                <a:lnTo>
                  <a:pt x="2453127" y="428101"/>
                </a:lnTo>
                <a:lnTo>
                  <a:pt x="2452693" y="425719"/>
                </a:lnTo>
                <a:lnTo>
                  <a:pt x="2454212" y="421930"/>
                </a:lnTo>
                <a:lnTo>
                  <a:pt x="2457576" y="418574"/>
                </a:lnTo>
                <a:lnTo>
                  <a:pt x="2460940" y="417815"/>
                </a:lnTo>
                <a:lnTo>
                  <a:pt x="2463327" y="415975"/>
                </a:lnTo>
                <a:lnTo>
                  <a:pt x="2469947" y="415542"/>
                </a:lnTo>
                <a:lnTo>
                  <a:pt x="2472443" y="412294"/>
                </a:lnTo>
                <a:lnTo>
                  <a:pt x="2476675" y="410778"/>
                </a:lnTo>
                <a:lnTo>
                  <a:pt x="2479713" y="409803"/>
                </a:lnTo>
                <a:lnTo>
                  <a:pt x="2479822" y="406989"/>
                </a:lnTo>
                <a:lnTo>
                  <a:pt x="2481884" y="405040"/>
                </a:lnTo>
                <a:lnTo>
                  <a:pt x="2486008" y="404931"/>
                </a:lnTo>
                <a:lnTo>
                  <a:pt x="2492193" y="407530"/>
                </a:lnTo>
                <a:lnTo>
                  <a:pt x="2499789" y="407854"/>
                </a:lnTo>
                <a:lnTo>
                  <a:pt x="2502828" y="405906"/>
                </a:lnTo>
                <a:lnTo>
                  <a:pt x="2506517" y="406989"/>
                </a:lnTo>
                <a:lnTo>
                  <a:pt x="2508362" y="411536"/>
                </a:lnTo>
                <a:lnTo>
                  <a:pt x="2511834" y="411319"/>
                </a:lnTo>
                <a:lnTo>
                  <a:pt x="2512269" y="408613"/>
                </a:lnTo>
                <a:lnTo>
                  <a:pt x="2515090" y="408288"/>
                </a:lnTo>
                <a:lnTo>
                  <a:pt x="2519647" y="411969"/>
                </a:lnTo>
                <a:lnTo>
                  <a:pt x="2521710" y="410778"/>
                </a:lnTo>
                <a:lnTo>
                  <a:pt x="2525941" y="411211"/>
                </a:lnTo>
                <a:lnTo>
                  <a:pt x="2528003" y="409046"/>
                </a:lnTo>
                <a:lnTo>
                  <a:pt x="2526050" y="407422"/>
                </a:lnTo>
                <a:lnTo>
                  <a:pt x="2522578" y="408180"/>
                </a:lnTo>
                <a:lnTo>
                  <a:pt x="2519756" y="405256"/>
                </a:lnTo>
                <a:lnTo>
                  <a:pt x="2517369" y="405040"/>
                </a:lnTo>
                <a:lnTo>
                  <a:pt x="2517803" y="403308"/>
                </a:lnTo>
                <a:lnTo>
                  <a:pt x="2520842" y="401142"/>
                </a:lnTo>
                <a:lnTo>
                  <a:pt x="2521167" y="398760"/>
                </a:lnTo>
                <a:lnTo>
                  <a:pt x="2517477" y="397244"/>
                </a:lnTo>
                <a:lnTo>
                  <a:pt x="2518237" y="396054"/>
                </a:lnTo>
                <a:lnTo>
                  <a:pt x="2522903" y="396270"/>
                </a:lnTo>
                <a:lnTo>
                  <a:pt x="2523880" y="394862"/>
                </a:lnTo>
                <a:lnTo>
                  <a:pt x="2518779" y="393022"/>
                </a:lnTo>
                <a:lnTo>
                  <a:pt x="2517694" y="394429"/>
                </a:lnTo>
                <a:lnTo>
                  <a:pt x="2514439" y="394862"/>
                </a:lnTo>
                <a:lnTo>
                  <a:pt x="2511617" y="390856"/>
                </a:lnTo>
                <a:lnTo>
                  <a:pt x="2512486" y="388150"/>
                </a:lnTo>
                <a:lnTo>
                  <a:pt x="2516609" y="384901"/>
                </a:lnTo>
                <a:lnTo>
                  <a:pt x="2516717" y="382303"/>
                </a:lnTo>
                <a:lnTo>
                  <a:pt x="2514656" y="382195"/>
                </a:lnTo>
                <a:lnTo>
                  <a:pt x="2512919" y="378730"/>
                </a:lnTo>
                <a:lnTo>
                  <a:pt x="2513137" y="370718"/>
                </a:lnTo>
                <a:lnTo>
                  <a:pt x="2514439" y="369094"/>
                </a:lnTo>
                <a:lnTo>
                  <a:pt x="2513354" y="364979"/>
                </a:lnTo>
                <a:lnTo>
                  <a:pt x="2513896" y="360757"/>
                </a:lnTo>
                <a:lnTo>
                  <a:pt x="2517585" y="360432"/>
                </a:lnTo>
                <a:lnTo>
                  <a:pt x="2521710" y="359025"/>
                </a:lnTo>
                <a:lnTo>
                  <a:pt x="2526918" y="359242"/>
                </a:lnTo>
                <a:lnTo>
                  <a:pt x="2530174" y="358483"/>
                </a:lnTo>
                <a:lnTo>
                  <a:pt x="2534949" y="360216"/>
                </a:lnTo>
                <a:lnTo>
                  <a:pt x="2538963" y="360216"/>
                </a:lnTo>
                <a:lnTo>
                  <a:pt x="2543630" y="366279"/>
                </a:lnTo>
                <a:lnTo>
                  <a:pt x="2545800" y="375699"/>
                </a:lnTo>
                <a:lnTo>
                  <a:pt x="2546017" y="389124"/>
                </a:lnTo>
                <a:lnTo>
                  <a:pt x="2544064" y="395295"/>
                </a:lnTo>
                <a:lnTo>
                  <a:pt x="2546126" y="397352"/>
                </a:lnTo>
                <a:lnTo>
                  <a:pt x="2549164" y="395837"/>
                </a:lnTo>
                <a:lnTo>
                  <a:pt x="2557737" y="400492"/>
                </a:lnTo>
                <a:lnTo>
                  <a:pt x="2560884" y="406123"/>
                </a:lnTo>
                <a:lnTo>
                  <a:pt x="2563705" y="406989"/>
                </a:lnTo>
                <a:lnTo>
                  <a:pt x="2563705" y="403849"/>
                </a:lnTo>
                <a:lnTo>
                  <a:pt x="2573580" y="403741"/>
                </a:lnTo>
                <a:lnTo>
                  <a:pt x="2579766" y="409371"/>
                </a:lnTo>
                <a:lnTo>
                  <a:pt x="2582045" y="407530"/>
                </a:lnTo>
                <a:lnTo>
                  <a:pt x="2579223" y="404715"/>
                </a:lnTo>
                <a:lnTo>
                  <a:pt x="2582913" y="401683"/>
                </a:lnTo>
                <a:lnTo>
                  <a:pt x="2589966" y="398436"/>
                </a:lnTo>
                <a:lnTo>
                  <a:pt x="2594741" y="391506"/>
                </a:lnTo>
                <a:lnTo>
                  <a:pt x="2603748" y="385984"/>
                </a:lnTo>
                <a:lnTo>
                  <a:pt x="2611670" y="377647"/>
                </a:lnTo>
                <a:lnTo>
                  <a:pt x="2611995" y="373100"/>
                </a:lnTo>
                <a:lnTo>
                  <a:pt x="2615250" y="370393"/>
                </a:lnTo>
                <a:lnTo>
                  <a:pt x="2611778" y="370177"/>
                </a:lnTo>
                <a:lnTo>
                  <a:pt x="2608848" y="373100"/>
                </a:lnTo>
                <a:lnTo>
                  <a:pt x="2608523" y="376890"/>
                </a:lnTo>
                <a:lnTo>
                  <a:pt x="2600818" y="385009"/>
                </a:lnTo>
                <a:lnTo>
                  <a:pt x="2595609" y="388150"/>
                </a:lnTo>
                <a:lnTo>
                  <a:pt x="2595609" y="389666"/>
                </a:lnTo>
                <a:lnTo>
                  <a:pt x="2588447" y="395837"/>
                </a:lnTo>
                <a:lnTo>
                  <a:pt x="2580417" y="398868"/>
                </a:lnTo>
                <a:lnTo>
                  <a:pt x="2577704" y="396920"/>
                </a:lnTo>
                <a:lnTo>
                  <a:pt x="2574991" y="396703"/>
                </a:lnTo>
                <a:lnTo>
                  <a:pt x="2574449" y="398111"/>
                </a:lnTo>
                <a:lnTo>
                  <a:pt x="2569023" y="398111"/>
                </a:lnTo>
                <a:lnTo>
                  <a:pt x="2562620" y="394538"/>
                </a:lnTo>
                <a:lnTo>
                  <a:pt x="2563055" y="391614"/>
                </a:lnTo>
                <a:lnTo>
                  <a:pt x="2566852" y="388475"/>
                </a:lnTo>
                <a:lnTo>
                  <a:pt x="2571193" y="385551"/>
                </a:lnTo>
                <a:lnTo>
                  <a:pt x="2571736" y="381220"/>
                </a:lnTo>
                <a:lnTo>
                  <a:pt x="2566526" y="385118"/>
                </a:lnTo>
                <a:lnTo>
                  <a:pt x="2564682" y="388150"/>
                </a:lnTo>
                <a:lnTo>
                  <a:pt x="2560884" y="387933"/>
                </a:lnTo>
                <a:lnTo>
                  <a:pt x="2557954" y="382303"/>
                </a:lnTo>
                <a:lnTo>
                  <a:pt x="2557954" y="380138"/>
                </a:lnTo>
                <a:lnTo>
                  <a:pt x="2560992" y="379705"/>
                </a:lnTo>
                <a:lnTo>
                  <a:pt x="2565008" y="377647"/>
                </a:lnTo>
                <a:lnTo>
                  <a:pt x="2565550" y="376023"/>
                </a:lnTo>
                <a:lnTo>
                  <a:pt x="2561426" y="375915"/>
                </a:lnTo>
                <a:lnTo>
                  <a:pt x="2561426" y="373750"/>
                </a:lnTo>
                <a:lnTo>
                  <a:pt x="2563923" y="371909"/>
                </a:lnTo>
                <a:lnTo>
                  <a:pt x="2567286" y="373317"/>
                </a:lnTo>
                <a:lnTo>
                  <a:pt x="2570651" y="372992"/>
                </a:lnTo>
                <a:lnTo>
                  <a:pt x="2571084" y="370177"/>
                </a:lnTo>
                <a:lnTo>
                  <a:pt x="2567178" y="370177"/>
                </a:lnTo>
                <a:lnTo>
                  <a:pt x="2564465" y="368444"/>
                </a:lnTo>
                <a:lnTo>
                  <a:pt x="2562620" y="370934"/>
                </a:lnTo>
                <a:lnTo>
                  <a:pt x="2558930" y="370610"/>
                </a:lnTo>
                <a:lnTo>
                  <a:pt x="2557194" y="367145"/>
                </a:lnTo>
                <a:lnTo>
                  <a:pt x="2558713" y="364546"/>
                </a:lnTo>
                <a:lnTo>
                  <a:pt x="2562620" y="363572"/>
                </a:lnTo>
                <a:lnTo>
                  <a:pt x="2565658" y="361407"/>
                </a:lnTo>
                <a:lnTo>
                  <a:pt x="2570433" y="361840"/>
                </a:lnTo>
                <a:lnTo>
                  <a:pt x="2575317" y="363680"/>
                </a:lnTo>
                <a:lnTo>
                  <a:pt x="2578898" y="361407"/>
                </a:lnTo>
                <a:lnTo>
                  <a:pt x="2573580" y="361407"/>
                </a:lnTo>
                <a:lnTo>
                  <a:pt x="2572712" y="358916"/>
                </a:lnTo>
                <a:lnTo>
                  <a:pt x="2576836" y="354585"/>
                </a:lnTo>
                <a:lnTo>
                  <a:pt x="2580308" y="354369"/>
                </a:lnTo>
                <a:lnTo>
                  <a:pt x="2581828" y="352312"/>
                </a:lnTo>
                <a:lnTo>
                  <a:pt x="2578247" y="352312"/>
                </a:lnTo>
                <a:lnTo>
                  <a:pt x="2578030" y="349930"/>
                </a:lnTo>
                <a:lnTo>
                  <a:pt x="2580960" y="345491"/>
                </a:lnTo>
                <a:lnTo>
                  <a:pt x="2585083" y="344733"/>
                </a:lnTo>
                <a:lnTo>
                  <a:pt x="2583238" y="340944"/>
                </a:lnTo>
                <a:lnTo>
                  <a:pt x="2589098" y="332173"/>
                </a:lnTo>
                <a:lnTo>
                  <a:pt x="2593005" y="329792"/>
                </a:lnTo>
                <a:lnTo>
                  <a:pt x="2594090" y="326761"/>
                </a:lnTo>
                <a:lnTo>
                  <a:pt x="2589966" y="327410"/>
                </a:lnTo>
                <a:lnTo>
                  <a:pt x="2583346" y="335530"/>
                </a:lnTo>
                <a:lnTo>
                  <a:pt x="2578247" y="345275"/>
                </a:lnTo>
                <a:lnTo>
                  <a:pt x="2571193" y="350904"/>
                </a:lnTo>
                <a:lnTo>
                  <a:pt x="2565441" y="356751"/>
                </a:lnTo>
                <a:lnTo>
                  <a:pt x="2561643" y="355561"/>
                </a:lnTo>
                <a:lnTo>
                  <a:pt x="2554590" y="355777"/>
                </a:lnTo>
                <a:lnTo>
                  <a:pt x="2554481" y="352637"/>
                </a:lnTo>
                <a:lnTo>
                  <a:pt x="2558062" y="347548"/>
                </a:lnTo>
                <a:lnTo>
                  <a:pt x="2563055" y="345275"/>
                </a:lnTo>
                <a:lnTo>
                  <a:pt x="2563055" y="340618"/>
                </a:lnTo>
                <a:lnTo>
                  <a:pt x="2556000" y="345816"/>
                </a:lnTo>
                <a:lnTo>
                  <a:pt x="2549815" y="345166"/>
                </a:lnTo>
                <a:lnTo>
                  <a:pt x="2549924" y="348522"/>
                </a:lnTo>
                <a:lnTo>
                  <a:pt x="2546017" y="351338"/>
                </a:lnTo>
                <a:lnTo>
                  <a:pt x="2539615" y="350796"/>
                </a:lnTo>
                <a:lnTo>
                  <a:pt x="2533646" y="345275"/>
                </a:lnTo>
                <a:lnTo>
                  <a:pt x="2536685" y="342893"/>
                </a:lnTo>
                <a:lnTo>
                  <a:pt x="2541025" y="342351"/>
                </a:lnTo>
                <a:lnTo>
                  <a:pt x="2539506" y="339969"/>
                </a:lnTo>
                <a:lnTo>
                  <a:pt x="2536685" y="339753"/>
                </a:lnTo>
                <a:lnTo>
                  <a:pt x="2537553" y="334664"/>
                </a:lnTo>
                <a:lnTo>
                  <a:pt x="2543304" y="330008"/>
                </a:lnTo>
                <a:lnTo>
                  <a:pt x="2543955" y="326327"/>
                </a:lnTo>
                <a:lnTo>
                  <a:pt x="2549164" y="324270"/>
                </a:lnTo>
                <a:lnTo>
                  <a:pt x="2553396" y="321239"/>
                </a:lnTo>
                <a:lnTo>
                  <a:pt x="2558280" y="320589"/>
                </a:lnTo>
                <a:lnTo>
                  <a:pt x="2558605" y="314850"/>
                </a:lnTo>
                <a:lnTo>
                  <a:pt x="2561860" y="308679"/>
                </a:lnTo>
                <a:lnTo>
                  <a:pt x="2568371" y="300775"/>
                </a:lnTo>
                <a:lnTo>
                  <a:pt x="2572169" y="302183"/>
                </a:lnTo>
                <a:lnTo>
                  <a:pt x="2581502" y="300017"/>
                </a:lnTo>
                <a:lnTo>
                  <a:pt x="2588339" y="301749"/>
                </a:lnTo>
                <a:lnTo>
                  <a:pt x="2592028" y="299693"/>
                </a:lnTo>
                <a:lnTo>
                  <a:pt x="2595826" y="299909"/>
                </a:lnTo>
                <a:lnTo>
                  <a:pt x="2600601" y="296661"/>
                </a:lnTo>
                <a:lnTo>
                  <a:pt x="2604291" y="296120"/>
                </a:lnTo>
                <a:lnTo>
                  <a:pt x="2604941" y="297852"/>
                </a:lnTo>
                <a:lnTo>
                  <a:pt x="2610802" y="304023"/>
                </a:lnTo>
                <a:lnTo>
                  <a:pt x="2613840" y="304240"/>
                </a:lnTo>
                <a:lnTo>
                  <a:pt x="2624366" y="311278"/>
                </a:lnTo>
                <a:lnTo>
                  <a:pt x="2626103" y="315067"/>
                </a:lnTo>
                <a:lnTo>
                  <a:pt x="2628816" y="318965"/>
                </a:lnTo>
                <a:lnTo>
                  <a:pt x="2631637" y="318857"/>
                </a:lnTo>
                <a:lnTo>
                  <a:pt x="2638039" y="328601"/>
                </a:lnTo>
                <a:lnTo>
                  <a:pt x="2637822" y="321780"/>
                </a:lnTo>
                <a:lnTo>
                  <a:pt x="2642488" y="321347"/>
                </a:lnTo>
                <a:lnTo>
                  <a:pt x="2641620" y="318315"/>
                </a:lnTo>
                <a:lnTo>
                  <a:pt x="2635977" y="317774"/>
                </a:lnTo>
                <a:lnTo>
                  <a:pt x="2633699" y="316908"/>
                </a:lnTo>
                <a:lnTo>
                  <a:pt x="2633590" y="313010"/>
                </a:lnTo>
                <a:lnTo>
                  <a:pt x="2638039" y="311386"/>
                </a:lnTo>
                <a:lnTo>
                  <a:pt x="2648023" y="311386"/>
                </a:lnTo>
                <a:lnTo>
                  <a:pt x="2652689" y="313768"/>
                </a:lnTo>
                <a:lnTo>
                  <a:pt x="2654208" y="311819"/>
                </a:lnTo>
                <a:lnTo>
                  <a:pt x="2654534" y="306297"/>
                </a:lnTo>
                <a:lnTo>
                  <a:pt x="2656921" y="301641"/>
                </a:lnTo>
                <a:lnTo>
                  <a:pt x="2656595" y="298393"/>
                </a:lnTo>
                <a:lnTo>
                  <a:pt x="2653882" y="299584"/>
                </a:lnTo>
                <a:lnTo>
                  <a:pt x="2653123" y="303374"/>
                </a:lnTo>
                <a:lnTo>
                  <a:pt x="2648348" y="306622"/>
                </a:lnTo>
                <a:lnTo>
                  <a:pt x="2644876" y="309870"/>
                </a:lnTo>
                <a:lnTo>
                  <a:pt x="2635977" y="306622"/>
                </a:lnTo>
                <a:lnTo>
                  <a:pt x="2628816" y="306406"/>
                </a:lnTo>
                <a:lnTo>
                  <a:pt x="2625994" y="302833"/>
                </a:lnTo>
                <a:lnTo>
                  <a:pt x="2622304" y="300775"/>
                </a:lnTo>
                <a:lnTo>
                  <a:pt x="2615250" y="301641"/>
                </a:lnTo>
                <a:lnTo>
                  <a:pt x="2609607" y="290923"/>
                </a:lnTo>
                <a:lnTo>
                  <a:pt x="2609391" y="282911"/>
                </a:lnTo>
                <a:lnTo>
                  <a:pt x="2611995" y="280529"/>
                </a:lnTo>
                <a:lnTo>
                  <a:pt x="2616770" y="283019"/>
                </a:lnTo>
                <a:lnTo>
                  <a:pt x="2617855" y="287674"/>
                </a:lnTo>
                <a:lnTo>
                  <a:pt x="2619917" y="290923"/>
                </a:lnTo>
                <a:lnTo>
                  <a:pt x="2623173" y="285509"/>
                </a:lnTo>
                <a:lnTo>
                  <a:pt x="2624691" y="279121"/>
                </a:lnTo>
                <a:lnTo>
                  <a:pt x="2621328" y="279988"/>
                </a:lnTo>
                <a:lnTo>
                  <a:pt x="2619700" y="278580"/>
                </a:lnTo>
                <a:lnTo>
                  <a:pt x="2619375" y="273817"/>
                </a:lnTo>
                <a:lnTo>
                  <a:pt x="2623389" y="266237"/>
                </a:lnTo>
                <a:lnTo>
                  <a:pt x="2623173" y="259850"/>
                </a:lnTo>
                <a:lnTo>
                  <a:pt x="2626428" y="252595"/>
                </a:lnTo>
                <a:lnTo>
                  <a:pt x="2625126" y="239927"/>
                </a:lnTo>
                <a:lnTo>
                  <a:pt x="2622846" y="233215"/>
                </a:lnTo>
                <a:lnTo>
                  <a:pt x="2620243" y="230941"/>
                </a:lnTo>
                <a:lnTo>
                  <a:pt x="2618289" y="226069"/>
                </a:lnTo>
                <a:lnTo>
                  <a:pt x="2619157" y="222495"/>
                </a:lnTo>
                <a:lnTo>
                  <a:pt x="2621979" y="221413"/>
                </a:lnTo>
                <a:lnTo>
                  <a:pt x="2624475" y="220222"/>
                </a:lnTo>
                <a:lnTo>
                  <a:pt x="2627079" y="222821"/>
                </a:lnTo>
                <a:lnTo>
                  <a:pt x="2630769" y="223687"/>
                </a:lnTo>
                <a:lnTo>
                  <a:pt x="2633590" y="228992"/>
                </a:lnTo>
                <a:lnTo>
                  <a:pt x="2635218" y="228342"/>
                </a:lnTo>
                <a:lnTo>
                  <a:pt x="2635109" y="224661"/>
                </a:lnTo>
                <a:lnTo>
                  <a:pt x="2632722" y="219031"/>
                </a:lnTo>
                <a:lnTo>
                  <a:pt x="2627730" y="217515"/>
                </a:lnTo>
                <a:lnTo>
                  <a:pt x="2624800" y="215025"/>
                </a:lnTo>
                <a:lnTo>
                  <a:pt x="2624583" y="210695"/>
                </a:lnTo>
                <a:lnTo>
                  <a:pt x="2626319" y="205172"/>
                </a:lnTo>
                <a:lnTo>
                  <a:pt x="2641078" y="189040"/>
                </a:lnTo>
                <a:lnTo>
                  <a:pt x="2647806" y="187524"/>
                </a:lnTo>
                <a:lnTo>
                  <a:pt x="2652255" y="189365"/>
                </a:lnTo>
                <a:lnTo>
                  <a:pt x="2653991" y="193804"/>
                </a:lnTo>
                <a:lnTo>
                  <a:pt x="2659525" y="198135"/>
                </a:lnTo>
                <a:lnTo>
                  <a:pt x="2663649" y="198135"/>
                </a:lnTo>
                <a:lnTo>
                  <a:pt x="2673958" y="205064"/>
                </a:lnTo>
                <a:lnTo>
                  <a:pt x="2673958" y="210153"/>
                </a:lnTo>
                <a:lnTo>
                  <a:pt x="2679493" y="216541"/>
                </a:lnTo>
                <a:lnTo>
                  <a:pt x="2682097" y="228018"/>
                </a:lnTo>
                <a:lnTo>
                  <a:pt x="2681446" y="236462"/>
                </a:lnTo>
                <a:lnTo>
                  <a:pt x="2682423" y="244583"/>
                </a:lnTo>
                <a:lnTo>
                  <a:pt x="2685895" y="249239"/>
                </a:lnTo>
                <a:lnTo>
                  <a:pt x="2687414" y="246748"/>
                </a:lnTo>
                <a:lnTo>
                  <a:pt x="2689367" y="246423"/>
                </a:lnTo>
                <a:lnTo>
                  <a:pt x="2693817" y="250538"/>
                </a:lnTo>
                <a:lnTo>
                  <a:pt x="2694685" y="254868"/>
                </a:lnTo>
                <a:lnTo>
                  <a:pt x="2695878" y="251729"/>
                </a:lnTo>
                <a:lnTo>
                  <a:pt x="2699134" y="249888"/>
                </a:lnTo>
                <a:lnTo>
                  <a:pt x="2704343" y="250429"/>
                </a:lnTo>
                <a:lnTo>
                  <a:pt x="2700545" y="248048"/>
                </a:lnTo>
                <a:lnTo>
                  <a:pt x="2694685" y="247182"/>
                </a:lnTo>
                <a:lnTo>
                  <a:pt x="2691429" y="242850"/>
                </a:lnTo>
                <a:lnTo>
                  <a:pt x="2687957" y="240577"/>
                </a:lnTo>
                <a:lnTo>
                  <a:pt x="2687848" y="237870"/>
                </a:lnTo>
                <a:lnTo>
                  <a:pt x="2692406" y="232890"/>
                </a:lnTo>
                <a:lnTo>
                  <a:pt x="2691972" y="229750"/>
                </a:lnTo>
                <a:lnTo>
                  <a:pt x="2691429" y="212752"/>
                </a:lnTo>
                <a:lnTo>
                  <a:pt x="2689910" y="208096"/>
                </a:lnTo>
                <a:lnTo>
                  <a:pt x="2691429" y="202791"/>
                </a:lnTo>
                <a:lnTo>
                  <a:pt x="2700328" y="202249"/>
                </a:lnTo>
                <a:lnTo>
                  <a:pt x="2703475" y="204306"/>
                </a:lnTo>
                <a:lnTo>
                  <a:pt x="2710311" y="206147"/>
                </a:lnTo>
                <a:lnTo>
                  <a:pt x="2717040" y="206689"/>
                </a:lnTo>
                <a:lnTo>
                  <a:pt x="2724636" y="209395"/>
                </a:lnTo>
                <a:lnTo>
                  <a:pt x="2733642" y="209179"/>
                </a:lnTo>
                <a:lnTo>
                  <a:pt x="2741021" y="205714"/>
                </a:lnTo>
                <a:lnTo>
                  <a:pt x="2745362" y="206363"/>
                </a:lnTo>
                <a:lnTo>
                  <a:pt x="2749811" y="210153"/>
                </a:lnTo>
                <a:lnTo>
                  <a:pt x="2759253" y="211127"/>
                </a:lnTo>
                <a:lnTo>
                  <a:pt x="2763701" y="214051"/>
                </a:lnTo>
                <a:lnTo>
                  <a:pt x="2768694" y="212535"/>
                </a:lnTo>
                <a:lnTo>
                  <a:pt x="2768585" y="210153"/>
                </a:lnTo>
                <a:lnTo>
                  <a:pt x="2764353" y="207230"/>
                </a:lnTo>
                <a:lnTo>
                  <a:pt x="2757950" y="207230"/>
                </a:lnTo>
                <a:lnTo>
                  <a:pt x="2750679" y="205714"/>
                </a:lnTo>
                <a:lnTo>
                  <a:pt x="2748726" y="203007"/>
                </a:lnTo>
                <a:lnTo>
                  <a:pt x="2749485" y="201491"/>
                </a:lnTo>
                <a:lnTo>
                  <a:pt x="2753067" y="201383"/>
                </a:lnTo>
                <a:lnTo>
                  <a:pt x="2760012" y="198676"/>
                </a:lnTo>
                <a:lnTo>
                  <a:pt x="2776398" y="196944"/>
                </a:lnTo>
                <a:lnTo>
                  <a:pt x="2787358" y="196077"/>
                </a:lnTo>
                <a:lnTo>
                  <a:pt x="2796148" y="199218"/>
                </a:lnTo>
                <a:lnTo>
                  <a:pt x="2801574" y="203657"/>
                </a:lnTo>
                <a:lnTo>
                  <a:pt x="2805480" y="201600"/>
                </a:lnTo>
                <a:lnTo>
                  <a:pt x="2811340" y="200409"/>
                </a:lnTo>
                <a:lnTo>
                  <a:pt x="2808410" y="197485"/>
                </a:lnTo>
                <a:lnTo>
                  <a:pt x="2805806" y="197594"/>
                </a:lnTo>
                <a:lnTo>
                  <a:pt x="2801682" y="195536"/>
                </a:lnTo>
                <a:lnTo>
                  <a:pt x="2801791" y="192938"/>
                </a:lnTo>
                <a:lnTo>
                  <a:pt x="2797233" y="190231"/>
                </a:lnTo>
                <a:lnTo>
                  <a:pt x="2791374" y="190015"/>
                </a:lnTo>
                <a:lnTo>
                  <a:pt x="2788226" y="187957"/>
                </a:lnTo>
                <a:lnTo>
                  <a:pt x="2775855" y="189257"/>
                </a:lnTo>
                <a:lnTo>
                  <a:pt x="2775638" y="187308"/>
                </a:lnTo>
                <a:lnTo>
                  <a:pt x="2778026" y="185034"/>
                </a:lnTo>
                <a:lnTo>
                  <a:pt x="2780956" y="178755"/>
                </a:lnTo>
                <a:lnTo>
                  <a:pt x="2786381" y="177997"/>
                </a:lnTo>
                <a:lnTo>
                  <a:pt x="2791374" y="173774"/>
                </a:lnTo>
                <a:lnTo>
                  <a:pt x="2793760" y="167494"/>
                </a:lnTo>
                <a:lnTo>
                  <a:pt x="2806349" y="160024"/>
                </a:lnTo>
                <a:lnTo>
                  <a:pt x="2813402" y="159590"/>
                </a:lnTo>
                <a:lnTo>
                  <a:pt x="2824796" y="154177"/>
                </a:lnTo>
                <a:lnTo>
                  <a:pt x="2824905" y="151254"/>
                </a:lnTo>
                <a:lnTo>
                  <a:pt x="2811340" y="156667"/>
                </a:lnTo>
                <a:lnTo>
                  <a:pt x="2802333" y="157533"/>
                </a:lnTo>
                <a:lnTo>
                  <a:pt x="2789637" y="167061"/>
                </a:lnTo>
                <a:lnTo>
                  <a:pt x="2789420" y="172042"/>
                </a:lnTo>
                <a:lnTo>
                  <a:pt x="2787032" y="172042"/>
                </a:lnTo>
                <a:lnTo>
                  <a:pt x="2785296" y="167169"/>
                </a:lnTo>
                <a:lnTo>
                  <a:pt x="2783451" y="166845"/>
                </a:lnTo>
                <a:lnTo>
                  <a:pt x="2780304" y="171500"/>
                </a:lnTo>
                <a:lnTo>
                  <a:pt x="2775964" y="172042"/>
                </a:lnTo>
                <a:lnTo>
                  <a:pt x="2769779" y="179404"/>
                </a:lnTo>
                <a:lnTo>
                  <a:pt x="2772383" y="179620"/>
                </a:lnTo>
                <a:lnTo>
                  <a:pt x="2773251" y="181786"/>
                </a:lnTo>
                <a:lnTo>
                  <a:pt x="2764678" y="188391"/>
                </a:lnTo>
                <a:lnTo>
                  <a:pt x="2759686" y="189257"/>
                </a:lnTo>
                <a:lnTo>
                  <a:pt x="2742541" y="196077"/>
                </a:lnTo>
                <a:lnTo>
                  <a:pt x="2737440" y="197160"/>
                </a:lnTo>
                <a:lnTo>
                  <a:pt x="2732883" y="196294"/>
                </a:lnTo>
                <a:lnTo>
                  <a:pt x="2718993" y="196619"/>
                </a:lnTo>
                <a:lnTo>
                  <a:pt x="2712807" y="190448"/>
                </a:lnTo>
                <a:lnTo>
                  <a:pt x="2706079" y="191206"/>
                </a:lnTo>
                <a:lnTo>
                  <a:pt x="2702281" y="190557"/>
                </a:lnTo>
                <a:lnTo>
                  <a:pt x="2701738" y="186659"/>
                </a:lnTo>
                <a:lnTo>
                  <a:pt x="2708141" y="180812"/>
                </a:lnTo>
                <a:lnTo>
                  <a:pt x="2714327" y="180595"/>
                </a:lnTo>
                <a:lnTo>
                  <a:pt x="2718450" y="178863"/>
                </a:lnTo>
                <a:lnTo>
                  <a:pt x="2727131" y="177888"/>
                </a:lnTo>
                <a:lnTo>
                  <a:pt x="2731255" y="173774"/>
                </a:lnTo>
                <a:lnTo>
                  <a:pt x="2727782" y="173449"/>
                </a:lnTo>
                <a:lnTo>
                  <a:pt x="2721923" y="175614"/>
                </a:lnTo>
                <a:lnTo>
                  <a:pt x="2716605" y="174965"/>
                </a:lnTo>
                <a:lnTo>
                  <a:pt x="2710202" y="177455"/>
                </a:lnTo>
                <a:lnTo>
                  <a:pt x="2705754" y="176264"/>
                </a:lnTo>
                <a:lnTo>
                  <a:pt x="2705754" y="172367"/>
                </a:lnTo>
                <a:lnTo>
                  <a:pt x="2711397" y="169443"/>
                </a:lnTo>
                <a:lnTo>
                  <a:pt x="2707272" y="168902"/>
                </a:lnTo>
                <a:lnTo>
                  <a:pt x="2699676" y="170959"/>
                </a:lnTo>
                <a:lnTo>
                  <a:pt x="2699025" y="177888"/>
                </a:lnTo>
                <a:lnTo>
                  <a:pt x="2692080" y="184709"/>
                </a:lnTo>
                <a:lnTo>
                  <a:pt x="2684701" y="185034"/>
                </a:lnTo>
                <a:lnTo>
                  <a:pt x="2674392" y="181786"/>
                </a:lnTo>
                <a:lnTo>
                  <a:pt x="2665168" y="181461"/>
                </a:lnTo>
                <a:lnTo>
                  <a:pt x="2661045" y="176806"/>
                </a:lnTo>
                <a:lnTo>
                  <a:pt x="2661153" y="173991"/>
                </a:lnTo>
                <a:lnTo>
                  <a:pt x="2655510" y="173666"/>
                </a:lnTo>
                <a:lnTo>
                  <a:pt x="2650410" y="169551"/>
                </a:lnTo>
                <a:lnTo>
                  <a:pt x="2650844" y="166953"/>
                </a:lnTo>
                <a:lnTo>
                  <a:pt x="2654859" y="163705"/>
                </a:lnTo>
                <a:lnTo>
                  <a:pt x="2658115" y="157967"/>
                </a:lnTo>
                <a:lnTo>
                  <a:pt x="2665277" y="153853"/>
                </a:lnTo>
                <a:lnTo>
                  <a:pt x="2669617" y="148439"/>
                </a:lnTo>
                <a:lnTo>
                  <a:pt x="2676237" y="144758"/>
                </a:lnTo>
                <a:lnTo>
                  <a:pt x="2678950" y="141618"/>
                </a:lnTo>
                <a:lnTo>
                  <a:pt x="2683833" y="142917"/>
                </a:lnTo>
                <a:lnTo>
                  <a:pt x="2693491" y="143675"/>
                </a:lnTo>
                <a:lnTo>
                  <a:pt x="2696421" y="142051"/>
                </a:lnTo>
                <a:lnTo>
                  <a:pt x="2701088" y="142376"/>
                </a:lnTo>
                <a:lnTo>
                  <a:pt x="2709877" y="147464"/>
                </a:lnTo>
                <a:lnTo>
                  <a:pt x="2718016" y="147681"/>
                </a:lnTo>
                <a:lnTo>
                  <a:pt x="2722248" y="149088"/>
                </a:lnTo>
                <a:lnTo>
                  <a:pt x="2729953" y="148114"/>
                </a:lnTo>
                <a:lnTo>
                  <a:pt x="2731038" y="146706"/>
                </a:lnTo>
                <a:lnTo>
                  <a:pt x="2727566" y="144433"/>
                </a:lnTo>
                <a:lnTo>
                  <a:pt x="2718341" y="145082"/>
                </a:lnTo>
                <a:lnTo>
                  <a:pt x="2708358" y="143133"/>
                </a:lnTo>
                <a:lnTo>
                  <a:pt x="2702281" y="139561"/>
                </a:lnTo>
                <a:lnTo>
                  <a:pt x="2695987" y="139344"/>
                </a:lnTo>
                <a:lnTo>
                  <a:pt x="2686872" y="140319"/>
                </a:lnTo>
                <a:lnTo>
                  <a:pt x="2676671" y="138153"/>
                </a:lnTo>
                <a:lnTo>
                  <a:pt x="2673958" y="137937"/>
                </a:lnTo>
                <a:lnTo>
                  <a:pt x="2671571" y="141076"/>
                </a:lnTo>
                <a:lnTo>
                  <a:pt x="2666579" y="146382"/>
                </a:lnTo>
                <a:lnTo>
                  <a:pt x="2658440" y="151470"/>
                </a:lnTo>
                <a:lnTo>
                  <a:pt x="2649542" y="155584"/>
                </a:lnTo>
                <a:lnTo>
                  <a:pt x="2644008" y="162947"/>
                </a:lnTo>
                <a:lnTo>
                  <a:pt x="2642163" y="163813"/>
                </a:lnTo>
                <a:lnTo>
                  <a:pt x="2638148" y="162081"/>
                </a:lnTo>
                <a:lnTo>
                  <a:pt x="2631854" y="153636"/>
                </a:lnTo>
                <a:lnTo>
                  <a:pt x="2628816" y="152878"/>
                </a:lnTo>
                <a:lnTo>
                  <a:pt x="2626103" y="150280"/>
                </a:lnTo>
                <a:lnTo>
                  <a:pt x="2624258" y="144324"/>
                </a:lnTo>
                <a:lnTo>
                  <a:pt x="2624041" y="137504"/>
                </a:lnTo>
                <a:lnTo>
                  <a:pt x="2621653" y="134797"/>
                </a:lnTo>
                <a:lnTo>
                  <a:pt x="2621111" y="128517"/>
                </a:lnTo>
                <a:lnTo>
                  <a:pt x="2623064" y="126568"/>
                </a:lnTo>
                <a:lnTo>
                  <a:pt x="2627621" y="127651"/>
                </a:lnTo>
                <a:lnTo>
                  <a:pt x="2632505" y="126568"/>
                </a:lnTo>
                <a:lnTo>
                  <a:pt x="2635435" y="128625"/>
                </a:lnTo>
                <a:lnTo>
                  <a:pt x="2649542" y="128409"/>
                </a:lnTo>
                <a:lnTo>
                  <a:pt x="2656704" y="133281"/>
                </a:lnTo>
                <a:lnTo>
                  <a:pt x="2660936" y="133389"/>
                </a:lnTo>
                <a:lnTo>
                  <a:pt x="2663432" y="135013"/>
                </a:lnTo>
                <a:lnTo>
                  <a:pt x="2667772" y="135339"/>
                </a:lnTo>
                <a:lnTo>
                  <a:pt x="2673524" y="132415"/>
                </a:lnTo>
                <a:lnTo>
                  <a:pt x="2679384" y="134255"/>
                </a:lnTo>
                <a:lnTo>
                  <a:pt x="2680795" y="132848"/>
                </a:lnTo>
                <a:lnTo>
                  <a:pt x="2685461" y="131657"/>
                </a:lnTo>
                <a:lnTo>
                  <a:pt x="2688174" y="129708"/>
                </a:lnTo>
                <a:lnTo>
                  <a:pt x="2697832" y="127543"/>
                </a:lnTo>
                <a:lnTo>
                  <a:pt x="2706730" y="126027"/>
                </a:lnTo>
                <a:lnTo>
                  <a:pt x="2707924" y="123320"/>
                </a:lnTo>
                <a:lnTo>
                  <a:pt x="2707599" y="120397"/>
                </a:lnTo>
                <a:lnTo>
                  <a:pt x="2704777" y="121372"/>
                </a:lnTo>
                <a:lnTo>
                  <a:pt x="2702173" y="122129"/>
                </a:lnTo>
                <a:lnTo>
                  <a:pt x="2698917" y="124078"/>
                </a:lnTo>
                <a:lnTo>
                  <a:pt x="2692949" y="125486"/>
                </a:lnTo>
                <a:lnTo>
                  <a:pt x="2683291" y="124836"/>
                </a:lnTo>
                <a:lnTo>
                  <a:pt x="2676020" y="129275"/>
                </a:lnTo>
                <a:lnTo>
                  <a:pt x="2672656" y="129925"/>
                </a:lnTo>
                <a:lnTo>
                  <a:pt x="2666145" y="128842"/>
                </a:lnTo>
                <a:lnTo>
                  <a:pt x="2663758" y="130033"/>
                </a:lnTo>
                <a:lnTo>
                  <a:pt x="2659634" y="129925"/>
                </a:lnTo>
                <a:lnTo>
                  <a:pt x="2654208" y="125052"/>
                </a:lnTo>
                <a:lnTo>
                  <a:pt x="2650844" y="124944"/>
                </a:lnTo>
                <a:lnTo>
                  <a:pt x="2648674" y="123537"/>
                </a:lnTo>
                <a:lnTo>
                  <a:pt x="2643140" y="123754"/>
                </a:lnTo>
                <a:lnTo>
                  <a:pt x="2635543" y="119639"/>
                </a:lnTo>
                <a:lnTo>
                  <a:pt x="2630117" y="122021"/>
                </a:lnTo>
                <a:lnTo>
                  <a:pt x="2625234" y="119422"/>
                </a:lnTo>
                <a:lnTo>
                  <a:pt x="2623823" y="116066"/>
                </a:lnTo>
                <a:lnTo>
                  <a:pt x="2626103" y="113792"/>
                </a:lnTo>
                <a:lnTo>
                  <a:pt x="2625994" y="107837"/>
                </a:lnTo>
                <a:lnTo>
                  <a:pt x="2629466" y="105347"/>
                </a:lnTo>
                <a:lnTo>
                  <a:pt x="2632071" y="105455"/>
                </a:lnTo>
                <a:lnTo>
                  <a:pt x="2635327" y="109353"/>
                </a:lnTo>
                <a:lnTo>
                  <a:pt x="2642488" y="108921"/>
                </a:lnTo>
                <a:lnTo>
                  <a:pt x="2645418" y="107621"/>
                </a:lnTo>
                <a:lnTo>
                  <a:pt x="2641295" y="104481"/>
                </a:lnTo>
                <a:lnTo>
                  <a:pt x="2637280" y="104264"/>
                </a:lnTo>
                <a:lnTo>
                  <a:pt x="2633915" y="100150"/>
                </a:lnTo>
                <a:lnTo>
                  <a:pt x="2635327" y="97985"/>
                </a:lnTo>
                <a:lnTo>
                  <a:pt x="2641946" y="98093"/>
                </a:lnTo>
                <a:lnTo>
                  <a:pt x="2648131" y="92896"/>
                </a:lnTo>
                <a:lnTo>
                  <a:pt x="2656270" y="93004"/>
                </a:lnTo>
                <a:lnTo>
                  <a:pt x="2659634" y="90081"/>
                </a:lnTo>
                <a:lnTo>
                  <a:pt x="2664300" y="89864"/>
                </a:lnTo>
                <a:lnTo>
                  <a:pt x="2667230" y="91488"/>
                </a:lnTo>
                <a:lnTo>
                  <a:pt x="2671245" y="90623"/>
                </a:lnTo>
                <a:lnTo>
                  <a:pt x="2671354" y="87807"/>
                </a:lnTo>
                <a:lnTo>
                  <a:pt x="2668858" y="85750"/>
                </a:lnTo>
                <a:lnTo>
                  <a:pt x="2658766" y="87266"/>
                </a:lnTo>
                <a:lnTo>
                  <a:pt x="2650519" y="88024"/>
                </a:lnTo>
                <a:lnTo>
                  <a:pt x="2644116" y="90514"/>
                </a:lnTo>
                <a:lnTo>
                  <a:pt x="2639667" y="91164"/>
                </a:lnTo>
                <a:lnTo>
                  <a:pt x="2636737" y="94304"/>
                </a:lnTo>
                <a:lnTo>
                  <a:pt x="2632722" y="94195"/>
                </a:lnTo>
                <a:lnTo>
                  <a:pt x="2632830" y="90731"/>
                </a:lnTo>
                <a:lnTo>
                  <a:pt x="2631637" y="86075"/>
                </a:lnTo>
                <a:lnTo>
                  <a:pt x="2637280" y="83801"/>
                </a:lnTo>
                <a:lnTo>
                  <a:pt x="2644224" y="78388"/>
                </a:lnTo>
                <a:lnTo>
                  <a:pt x="2651604" y="77846"/>
                </a:lnTo>
                <a:lnTo>
                  <a:pt x="2655402" y="75897"/>
                </a:lnTo>
                <a:lnTo>
                  <a:pt x="2650302" y="75681"/>
                </a:lnTo>
                <a:lnTo>
                  <a:pt x="2648131" y="73407"/>
                </a:lnTo>
                <a:lnTo>
                  <a:pt x="2648891" y="66803"/>
                </a:lnTo>
                <a:lnTo>
                  <a:pt x="2646721" y="67777"/>
                </a:lnTo>
                <a:lnTo>
                  <a:pt x="2645744" y="72433"/>
                </a:lnTo>
                <a:lnTo>
                  <a:pt x="2643248" y="73949"/>
                </a:lnTo>
                <a:lnTo>
                  <a:pt x="2641837" y="69402"/>
                </a:lnTo>
                <a:lnTo>
                  <a:pt x="2639125" y="69834"/>
                </a:lnTo>
                <a:lnTo>
                  <a:pt x="2636954" y="72217"/>
                </a:lnTo>
                <a:lnTo>
                  <a:pt x="2632071" y="72758"/>
                </a:lnTo>
                <a:lnTo>
                  <a:pt x="2631962" y="76764"/>
                </a:lnTo>
                <a:lnTo>
                  <a:pt x="2630226" y="79687"/>
                </a:lnTo>
                <a:lnTo>
                  <a:pt x="2624041" y="81419"/>
                </a:lnTo>
                <a:lnTo>
                  <a:pt x="2623498" y="76981"/>
                </a:lnTo>
                <a:lnTo>
                  <a:pt x="2624041" y="72000"/>
                </a:lnTo>
                <a:lnTo>
                  <a:pt x="2622087" y="71458"/>
                </a:lnTo>
                <a:lnTo>
                  <a:pt x="2621002" y="67236"/>
                </a:lnTo>
                <a:lnTo>
                  <a:pt x="2622413" y="65828"/>
                </a:lnTo>
                <a:lnTo>
                  <a:pt x="2625886" y="67561"/>
                </a:lnTo>
                <a:lnTo>
                  <a:pt x="2626536" y="62039"/>
                </a:lnTo>
                <a:lnTo>
                  <a:pt x="2630443" y="60199"/>
                </a:lnTo>
                <a:lnTo>
                  <a:pt x="2635977" y="60415"/>
                </a:lnTo>
                <a:lnTo>
                  <a:pt x="2638148" y="55976"/>
                </a:lnTo>
                <a:lnTo>
                  <a:pt x="2644008" y="53161"/>
                </a:lnTo>
                <a:lnTo>
                  <a:pt x="2647806" y="53810"/>
                </a:lnTo>
                <a:lnTo>
                  <a:pt x="2654968" y="50021"/>
                </a:lnTo>
                <a:lnTo>
                  <a:pt x="2664843" y="49371"/>
                </a:lnTo>
                <a:lnTo>
                  <a:pt x="2667230" y="47422"/>
                </a:lnTo>
                <a:lnTo>
                  <a:pt x="2670920" y="48830"/>
                </a:lnTo>
                <a:lnTo>
                  <a:pt x="2671462" y="52187"/>
                </a:lnTo>
                <a:lnTo>
                  <a:pt x="2669726" y="54677"/>
                </a:lnTo>
                <a:lnTo>
                  <a:pt x="2669401" y="65828"/>
                </a:lnTo>
                <a:lnTo>
                  <a:pt x="2672765" y="64746"/>
                </a:lnTo>
                <a:lnTo>
                  <a:pt x="2675043" y="57708"/>
                </a:lnTo>
                <a:lnTo>
                  <a:pt x="2678190" y="54893"/>
                </a:lnTo>
                <a:lnTo>
                  <a:pt x="2679710" y="57167"/>
                </a:lnTo>
                <a:lnTo>
                  <a:pt x="2678190" y="59116"/>
                </a:lnTo>
                <a:lnTo>
                  <a:pt x="2678733" y="62580"/>
                </a:lnTo>
                <a:lnTo>
                  <a:pt x="2681554" y="60740"/>
                </a:lnTo>
                <a:lnTo>
                  <a:pt x="2681554" y="56950"/>
                </a:lnTo>
                <a:lnTo>
                  <a:pt x="2682965" y="54677"/>
                </a:lnTo>
                <a:lnTo>
                  <a:pt x="2682314" y="51320"/>
                </a:lnTo>
                <a:lnTo>
                  <a:pt x="2683291" y="45690"/>
                </a:lnTo>
                <a:lnTo>
                  <a:pt x="2686221" y="45149"/>
                </a:lnTo>
                <a:lnTo>
                  <a:pt x="2692297" y="39736"/>
                </a:lnTo>
                <a:lnTo>
                  <a:pt x="2694685" y="40277"/>
                </a:lnTo>
                <a:lnTo>
                  <a:pt x="2695227" y="44391"/>
                </a:lnTo>
                <a:lnTo>
                  <a:pt x="2695227" y="50129"/>
                </a:lnTo>
                <a:lnTo>
                  <a:pt x="2699460" y="52511"/>
                </a:lnTo>
                <a:lnTo>
                  <a:pt x="2700436" y="58575"/>
                </a:lnTo>
                <a:lnTo>
                  <a:pt x="2699243" y="62148"/>
                </a:lnTo>
                <a:lnTo>
                  <a:pt x="2700870" y="65720"/>
                </a:lnTo>
                <a:lnTo>
                  <a:pt x="2700219" y="69402"/>
                </a:lnTo>
                <a:lnTo>
                  <a:pt x="2703475" y="71892"/>
                </a:lnTo>
                <a:lnTo>
                  <a:pt x="2705428" y="70268"/>
                </a:lnTo>
                <a:lnTo>
                  <a:pt x="2703475" y="66912"/>
                </a:lnTo>
                <a:lnTo>
                  <a:pt x="2703149" y="61389"/>
                </a:lnTo>
                <a:lnTo>
                  <a:pt x="2706079" y="59982"/>
                </a:lnTo>
                <a:lnTo>
                  <a:pt x="2710962" y="52295"/>
                </a:lnTo>
                <a:lnTo>
                  <a:pt x="2713567" y="52295"/>
                </a:lnTo>
                <a:lnTo>
                  <a:pt x="2717690" y="58683"/>
                </a:lnTo>
                <a:lnTo>
                  <a:pt x="2717908" y="64638"/>
                </a:lnTo>
                <a:lnTo>
                  <a:pt x="2716605" y="69402"/>
                </a:lnTo>
                <a:lnTo>
                  <a:pt x="2719101" y="71892"/>
                </a:lnTo>
                <a:lnTo>
                  <a:pt x="2720186" y="75248"/>
                </a:lnTo>
                <a:lnTo>
                  <a:pt x="2722465" y="72325"/>
                </a:lnTo>
                <a:lnTo>
                  <a:pt x="2722140" y="65936"/>
                </a:lnTo>
                <a:lnTo>
                  <a:pt x="2725069" y="65504"/>
                </a:lnTo>
                <a:lnTo>
                  <a:pt x="2727782" y="63446"/>
                </a:lnTo>
                <a:lnTo>
                  <a:pt x="2728867" y="66370"/>
                </a:lnTo>
                <a:lnTo>
                  <a:pt x="2727349" y="68102"/>
                </a:lnTo>
                <a:lnTo>
                  <a:pt x="2727891" y="72433"/>
                </a:lnTo>
                <a:lnTo>
                  <a:pt x="2730061" y="74923"/>
                </a:lnTo>
                <a:lnTo>
                  <a:pt x="2733534" y="70376"/>
                </a:lnTo>
                <a:lnTo>
                  <a:pt x="2735704" y="70268"/>
                </a:lnTo>
                <a:lnTo>
                  <a:pt x="2735053" y="75573"/>
                </a:lnTo>
                <a:lnTo>
                  <a:pt x="2737549" y="72758"/>
                </a:lnTo>
                <a:lnTo>
                  <a:pt x="2737332" y="67236"/>
                </a:lnTo>
                <a:lnTo>
                  <a:pt x="2733317" y="60523"/>
                </a:lnTo>
                <a:lnTo>
                  <a:pt x="2731038" y="60632"/>
                </a:lnTo>
                <a:lnTo>
                  <a:pt x="2728759" y="57059"/>
                </a:lnTo>
                <a:lnTo>
                  <a:pt x="2728542" y="52079"/>
                </a:lnTo>
                <a:lnTo>
                  <a:pt x="2725612" y="48613"/>
                </a:lnTo>
                <a:lnTo>
                  <a:pt x="2723442" y="44391"/>
                </a:lnTo>
                <a:lnTo>
                  <a:pt x="2721054" y="42009"/>
                </a:lnTo>
                <a:lnTo>
                  <a:pt x="2722140" y="36704"/>
                </a:lnTo>
                <a:lnTo>
                  <a:pt x="2726806" y="37028"/>
                </a:lnTo>
                <a:lnTo>
                  <a:pt x="2730170" y="40060"/>
                </a:lnTo>
                <a:lnTo>
                  <a:pt x="2735270" y="38436"/>
                </a:lnTo>
                <a:lnTo>
                  <a:pt x="2739285" y="39844"/>
                </a:lnTo>
                <a:lnTo>
                  <a:pt x="2741130" y="37461"/>
                </a:lnTo>
                <a:lnTo>
                  <a:pt x="2741564" y="28908"/>
                </a:lnTo>
                <a:lnTo>
                  <a:pt x="2738092" y="25335"/>
                </a:lnTo>
                <a:lnTo>
                  <a:pt x="2739611" y="21113"/>
                </a:lnTo>
                <a:lnTo>
                  <a:pt x="2745471" y="19597"/>
                </a:lnTo>
                <a:lnTo>
                  <a:pt x="2747207" y="20896"/>
                </a:lnTo>
                <a:lnTo>
                  <a:pt x="2755780" y="22087"/>
                </a:lnTo>
                <a:lnTo>
                  <a:pt x="2759469" y="24685"/>
                </a:lnTo>
                <a:lnTo>
                  <a:pt x="2759035" y="28150"/>
                </a:lnTo>
                <a:lnTo>
                  <a:pt x="2755671" y="31398"/>
                </a:lnTo>
                <a:lnTo>
                  <a:pt x="2756756" y="33997"/>
                </a:lnTo>
                <a:lnTo>
                  <a:pt x="2765546" y="37137"/>
                </a:lnTo>
                <a:lnTo>
                  <a:pt x="2765763" y="40060"/>
                </a:lnTo>
                <a:lnTo>
                  <a:pt x="2764353" y="46556"/>
                </a:lnTo>
                <a:lnTo>
                  <a:pt x="2765221" y="56842"/>
                </a:lnTo>
                <a:lnTo>
                  <a:pt x="2769127" y="55435"/>
                </a:lnTo>
                <a:lnTo>
                  <a:pt x="2771840" y="49804"/>
                </a:lnTo>
                <a:lnTo>
                  <a:pt x="2773685" y="49913"/>
                </a:lnTo>
                <a:lnTo>
                  <a:pt x="2774010" y="54135"/>
                </a:lnTo>
                <a:lnTo>
                  <a:pt x="2775855" y="56842"/>
                </a:lnTo>
                <a:lnTo>
                  <a:pt x="2779653" y="54677"/>
                </a:lnTo>
                <a:lnTo>
                  <a:pt x="2781715" y="51103"/>
                </a:lnTo>
                <a:lnTo>
                  <a:pt x="2786707" y="48830"/>
                </a:lnTo>
                <a:lnTo>
                  <a:pt x="2788009" y="46232"/>
                </a:lnTo>
                <a:lnTo>
                  <a:pt x="2784971" y="37353"/>
                </a:lnTo>
                <a:lnTo>
                  <a:pt x="2787792" y="33889"/>
                </a:lnTo>
                <a:lnTo>
                  <a:pt x="2791265" y="33781"/>
                </a:lnTo>
                <a:lnTo>
                  <a:pt x="2793327" y="35404"/>
                </a:lnTo>
                <a:lnTo>
                  <a:pt x="2801357" y="36271"/>
                </a:lnTo>
                <a:lnTo>
                  <a:pt x="2801031" y="32806"/>
                </a:lnTo>
                <a:lnTo>
                  <a:pt x="2793435" y="27392"/>
                </a:lnTo>
                <a:lnTo>
                  <a:pt x="2792133" y="21329"/>
                </a:lnTo>
                <a:lnTo>
                  <a:pt x="2793652" y="18947"/>
                </a:lnTo>
                <a:lnTo>
                  <a:pt x="2794955" y="14184"/>
                </a:lnTo>
                <a:lnTo>
                  <a:pt x="2797993" y="13859"/>
                </a:lnTo>
                <a:lnTo>
                  <a:pt x="2806999" y="18839"/>
                </a:lnTo>
                <a:lnTo>
                  <a:pt x="2807976" y="25877"/>
                </a:lnTo>
                <a:lnTo>
                  <a:pt x="2809170" y="30749"/>
                </a:lnTo>
                <a:lnTo>
                  <a:pt x="2808627" y="36596"/>
                </a:lnTo>
                <a:lnTo>
                  <a:pt x="2810906" y="40060"/>
                </a:lnTo>
                <a:lnTo>
                  <a:pt x="2812208" y="46340"/>
                </a:lnTo>
                <a:lnTo>
                  <a:pt x="2814378" y="50346"/>
                </a:lnTo>
                <a:lnTo>
                  <a:pt x="2816441" y="48505"/>
                </a:lnTo>
                <a:lnTo>
                  <a:pt x="2816658" y="42983"/>
                </a:lnTo>
                <a:lnTo>
                  <a:pt x="2815790" y="39194"/>
                </a:lnTo>
                <a:lnTo>
                  <a:pt x="2815247" y="33130"/>
                </a:lnTo>
                <a:lnTo>
                  <a:pt x="2812751" y="26201"/>
                </a:lnTo>
                <a:lnTo>
                  <a:pt x="2813728" y="18081"/>
                </a:lnTo>
                <a:lnTo>
                  <a:pt x="2813077" y="9528"/>
                </a:lnTo>
                <a:lnTo>
                  <a:pt x="2814705" y="4439"/>
                </a:lnTo>
                <a:lnTo>
                  <a:pt x="2817851" y="4764"/>
                </a:lnTo>
                <a:lnTo>
                  <a:pt x="2822409" y="8986"/>
                </a:lnTo>
                <a:lnTo>
                  <a:pt x="2825447" y="8878"/>
                </a:lnTo>
                <a:lnTo>
                  <a:pt x="2827184" y="10394"/>
                </a:lnTo>
                <a:lnTo>
                  <a:pt x="2827400" y="17106"/>
                </a:lnTo>
                <a:lnTo>
                  <a:pt x="2830113" y="21979"/>
                </a:lnTo>
                <a:lnTo>
                  <a:pt x="2829354" y="27718"/>
                </a:lnTo>
                <a:lnTo>
                  <a:pt x="2830113" y="35296"/>
                </a:lnTo>
                <a:lnTo>
                  <a:pt x="2832392" y="36271"/>
                </a:lnTo>
                <a:lnTo>
                  <a:pt x="2832175" y="32265"/>
                </a:lnTo>
                <a:lnTo>
                  <a:pt x="2833912" y="29016"/>
                </a:lnTo>
                <a:lnTo>
                  <a:pt x="2835648" y="28692"/>
                </a:lnTo>
                <a:lnTo>
                  <a:pt x="2844004" y="38328"/>
                </a:lnTo>
                <a:lnTo>
                  <a:pt x="2844872" y="36704"/>
                </a:lnTo>
                <a:lnTo>
                  <a:pt x="2848670" y="35622"/>
                </a:lnTo>
                <a:lnTo>
                  <a:pt x="2848887" y="33455"/>
                </a:lnTo>
                <a:lnTo>
                  <a:pt x="2845523" y="32589"/>
                </a:lnTo>
                <a:lnTo>
                  <a:pt x="2841508" y="27392"/>
                </a:lnTo>
                <a:lnTo>
                  <a:pt x="2842810" y="25661"/>
                </a:lnTo>
                <a:lnTo>
                  <a:pt x="2843352" y="22845"/>
                </a:lnTo>
                <a:lnTo>
                  <a:pt x="2837927" y="18298"/>
                </a:lnTo>
                <a:lnTo>
                  <a:pt x="2836408" y="14833"/>
                </a:lnTo>
                <a:lnTo>
                  <a:pt x="2837710" y="12884"/>
                </a:lnTo>
                <a:lnTo>
                  <a:pt x="2843136" y="12451"/>
                </a:lnTo>
                <a:lnTo>
                  <a:pt x="2840748" y="10178"/>
                </a:lnTo>
                <a:lnTo>
                  <a:pt x="2837059" y="9528"/>
                </a:lnTo>
                <a:lnTo>
                  <a:pt x="2834237" y="5847"/>
                </a:lnTo>
                <a:lnTo>
                  <a:pt x="2836950" y="4439"/>
                </a:lnTo>
                <a:lnTo>
                  <a:pt x="2841074" y="4439"/>
                </a:lnTo>
                <a:lnTo>
                  <a:pt x="2846065" y="109"/>
                </a:lnTo>
                <a:lnTo>
                  <a:pt x="2856158" y="1732"/>
                </a:lnTo>
                <a:lnTo>
                  <a:pt x="2858003" y="4223"/>
                </a:lnTo>
                <a:lnTo>
                  <a:pt x="2857894" y="9312"/>
                </a:lnTo>
                <a:lnTo>
                  <a:pt x="2855181" y="13642"/>
                </a:lnTo>
                <a:lnTo>
                  <a:pt x="2856375" y="15916"/>
                </a:lnTo>
                <a:lnTo>
                  <a:pt x="2859521" y="15591"/>
                </a:lnTo>
                <a:lnTo>
                  <a:pt x="2862886" y="9636"/>
                </a:lnTo>
                <a:lnTo>
                  <a:pt x="2865164" y="7904"/>
                </a:lnTo>
                <a:lnTo>
                  <a:pt x="2866901" y="10502"/>
                </a:lnTo>
                <a:lnTo>
                  <a:pt x="2864730" y="17432"/>
                </a:lnTo>
                <a:lnTo>
                  <a:pt x="2867226" y="18947"/>
                </a:lnTo>
                <a:lnTo>
                  <a:pt x="2870156" y="18406"/>
                </a:lnTo>
                <a:lnTo>
                  <a:pt x="2871025" y="16132"/>
                </a:lnTo>
                <a:lnTo>
                  <a:pt x="2876993" y="10502"/>
                </a:lnTo>
                <a:lnTo>
                  <a:pt x="2878838" y="12776"/>
                </a:lnTo>
                <a:lnTo>
                  <a:pt x="2878186" y="18406"/>
                </a:lnTo>
                <a:lnTo>
                  <a:pt x="2876125" y="22304"/>
                </a:lnTo>
                <a:lnTo>
                  <a:pt x="2877753" y="30208"/>
                </a:lnTo>
                <a:lnTo>
                  <a:pt x="2875148" y="33672"/>
                </a:lnTo>
                <a:lnTo>
                  <a:pt x="2877318" y="35730"/>
                </a:lnTo>
                <a:lnTo>
                  <a:pt x="2882527" y="34646"/>
                </a:lnTo>
                <a:lnTo>
                  <a:pt x="2885674" y="35512"/>
                </a:lnTo>
                <a:lnTo>
                  <a:pt x="2887736" y="33672"/>
                </a:lnTo>
                <a:lnTo>
                  <a:pt x="2887953" y="26743"/>
                </a:lnTo>
                <a:lnTo>
                  <a:pt x="2890775" y="18514"/>
                </a:lnTo>
                <a:lnTo>
                  <a:pt x="2887085" y="8120"/>
                </a:lnTo>
                <a:lnTo>
                  <a:pt x="2888062" y="1732"/>
                </a:lnTo>
                <a:close/>
              </a:path>
            </a:pathLst>
          </a:custGeom>
          <a:solidFill>
            <a:schemeClr val="bg2">
              <a:lumMod val="40000"/>
              <a:lumOff val="60000"/>
            </a:schemeClr>
          </a:solidFill>
          <a:ln w="15328" cap="flat">
            <a:noFill/>
            <a:prstDash val="solid"/>
            <a:miter/>
          </a:ln>
        </p:spPr>
        <p:txBody>
          <a:bodyPr wrap="square" lIns="274320" tIns="0" rIns="274320" bIns="0" rtlCol="0" anchor="ctr">
            <a:noAutofit/>
          </a:bodyPr>
          <a:lstStyle/>
          <a:p>
            <a:endParaRPr lang="en-US" sz="2400" dirty="0"/>
          </a:p>
        </p:txBody>
      </p:sp>
    </p:spTree>
    <p:extLst>
      <p:ext uri="{BB962C8B-B14F-4D97-AF65-F5344CB8AC3E}">
        <p14:creationId xmlns:p14="http://schemas.microsoft.com/office/powerpoint/2010/main" val="3862272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40139848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8560361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778524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96951035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ontent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bg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1959902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76008192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Slide + Image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34375" r="-34375"/>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68C1C284-BE90-81FA-43D1-CCC7F8CA51DE}"/>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02271660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Slide + Image Right - 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0000" r="-48816"/>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9346779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Slide + Image Lef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15000" r="-54400"/>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6D716C71-F9D5-2F3E-AB87-CA052EB34DF7}"/>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01504946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Content Slide + Image Left - Dar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dirty="0"/>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5869" r="-43517"/>
            </a:stretch>
          </a:blipFill>
        </p:spPr>
        <p:txBody>
          <a:bodyPr anchor="ctr"/>
          <a:lstStyle>
            <a:lvl1pPr marL="0" indent="0" algn="ctr">
              <a:buNone/>
              <a:defRPr b="0" i="1">
                <a:solidFill>
                  <a:schemeClr val="bg2"/>
                </a:solidFill>
                <a:latin typeface="GT Walsheim" pitchFamily="2" charset="77"/>
              </a:defRPr>
            </a:lvl1pPr>
          </a:lstStyle>
          <a:p>
            <a:r>
              <a:rPr lang="en-US" dirty="0"/>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73421432-5ACF-5E59-45FF-A30B76110000}"/>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09775138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Galler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B283EB-B931-E9ED-DD88-4147DBE5704E}"/>
              </a:ext>
            </a:extLst>
          </p:cNvPr>
          <p:cNvSpPr/>
          <p:nvPr userDrawn="1"/>
        </p:nvSpPr>
        <p:spPr>
          <a:xfrm>
            <a:off x="0" y="0"/>
            <a:ext cx="12192000" cy="6867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BC1488D-8F6A-287A-0FBE-4610D4B63277}"/>
              </a:ext>
            </a:extLst>
          </p:cNvPr>
          <p:cNvSpPr>
            <a:spLocks noGrp="1"/>
          </p:cNvSpPr>
          <p:nvPr>
            <p:ph type="title" hasCustomPrompt="1"/>
          </p:nvPr>
        </p:nvSpPr>
        <p:spPr>
          <a:xfrm>
            <a:off x="457201" y="685800"/>
            <a:ext cx="2438400" cy="2743200"/>
          </a:xfrm>
          <a:prstGeom prst="rect">
            <a:avLst/>
          </a:prstGeom>
        </p:spPr>
        <p:txBody>
          <a:bodyPr/>
          <a:lstStyle>
            <a:lvl1pPr>
              <a:defRPr>
                <a:solidFill>
                  <a:schemeClr val="bg1"/>
                </a:solidFill>
              </a:defRPr>
            </a:lvl1pPr>
          </a:lstStyle>
          <a:p>
            <a:r>
              <a:rPr lang="en-US"/>
              <a:t>Highlights Gallery</a:t>
            </a:r>
          </a:p>
        </p:txBody>
      </p:sp>
      <p:sp>
        <p:nvSpPr>
          <p:cNvPr id="3" name="Slide Number Placeholder 2">
            <a:extLst>
              <a:ext uri="{FF2B5EF4-FFF2-40B4-BE49-F238E27FC236}">
                <a16:creationId xmlns:a16="http://schemas.microsoft.com/office/drawing/2014/main" id="{6BDD0F41-27C5-CB1D-0173-664D1C326F4A}"/>
              </a:ext>
            </a:extLst>
          </p:cNvPr>
          <p:cNvSpPr>
            <a:spLocks noGrp="1"/>
          </p:cNvSpPr>
          <p:nvPr>
            <p:ph type="sldNum" sz="quarter" idx="10"/>
          </p:nvPr>
        </p:nvSpPr>
        <p:spPr>
          <a:ln>
            <a:noFill/>
          </a:ln>
        </p:spPr>
        <p:txBody>
          <a:bodyPr/>
          <a:lstStyle/>
          <a:p>
            <a:fld id="{4755468B-C2BA-8B42-ABD6-597061763577}" type="slidenum">
              <a:rPr lang="en-US" smtClean="0"/>
              <a:pPr/>
              <a:t>‹#›</a:t>
            </a:fld>
            <a:endParaRPr lang="en-US" dirty="0"/>
          </a:p>
        </p:txBody>
      </p:sp>
      <p:sp>
        <p:nvSpPr>
          <p:cNvPr id="4" name="Picture Placeholder 3">
            <a:extLst>
              <a:ext uri="{FF2B5EF4-FFF2-40B4-BE49-F238E27FC236}">
                <a16:creationId xmlns:a16="http://schemas.microsoft.com/office/drawing/2014/main" id="{4A082173-483D-FD56-572C-BE0ADCB5177A}"/>
              </a:ext>
            </a:extLst>
          </p:cNvPr>
          <p:cNvSpPr>
            <a:spLocks noGrp="1"/>
          </p:cNvSpPr>
          <p:nvPr>
            <p:ph type="pic" sz="quarter" idx="13"/>
          </p:nvPr>
        </p:nvSpPr>
        <p:spPr>
          <a:xfrm>
            <a:off x="3428999" y="0"/>
            <a:ext cx="3241181" cy="4557013"/>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5" name="Picture Placeholder 3">
            <a:extLst>
              <a:ext uri="{FF2B5EF4-FFF2-40B4-BE49-F238E27FC236}">
                <a16:creationId xmlns:a16="http://schemas.microsoft.com/office/drawing/2014/main" id="{D6180A4A-374D-C1A2-A83C-5EA92DC771BB}"/>
              </a:ext>
            </a:extLst>
          </p:cNvPr>
          <p:cNvSpPr>
            <a:spLocks noGrp="1"/>
          </p:cNvSpPr>
          <p:nvPr>
            <p:ph type="pic" sz="quarter" idx="14"/>
          </p:nvPr>
        </p:nvSpPr>
        <p:spPr>
          <a:xfrm>
            <a:off x="3428999" y="4664989"/>
            <a:ext cx="3241181"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6" name="Picture Placeholder 3">
            <a:extLst>
              <a:ext uri="{FF2B5EF4-FFF2-40B4-BE49-F238E27FC236}">
                <a16:creationId xmlns:a16="http://schemas.microsoft.com/office/drawing/2014/main" id="{40E0920E-A1F2-1BBD-C37D-74B237F0785C}"/>
              </a:ext>
            </a:extLst>
          </p:cNvPr>
          <p:cNvSpPr>
            <a:spLocks noGrp="1"/>
          </p:cNvSpPr>
          <p:nvPr>
            <p:ph type="pic" sz="quarter" idx="15"/>
          </p:nvPr>
        </p:nvSpPr>
        <p:spPr>
          <a:xfrm>
            <a:off x="6758288" y="1"/>
            <a:ext cx="5433712" cy="2642436"/>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7" name="Picture Placeholder 3">
            <a:extLst>
              <a:ext uri="{FF2B5EF4-FFF2-40B4-BE49-F238E27FC236}">
                <a16:creationId xmlns:a16="http://schemas.microsoft.com/office/drawing/2014/main" id="{2DD44070-F306-B47B-70A6-8C4CA6C48E78}"/>
              </a:ext>
            </a:extLst>
          </p:cNvPr>
          <p:cNvSpPr>
            <a:spLocks noGrp="1"/>
          </p:cNvSpPr>
          <p:nvPr>
            <p:ph type="pic" sz="quarter" idx="16"/>
          </p:nvPr>
        </p:nvSpPr>
        <p:spPr>
          <a:xfrm>
            <a:off x="6758288" y="2734961"/>
            <a:ext cx="2672802" cy="4132500"/>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8" name="Picture Placeholder 3">
            <a:extLst>
              <a:ext uri="{FF2B5EF4-FFF2-40B4-BE49-F238E27FC236}">
                <a16:creationId xmlns:a16="http://schemas.microsoft.com/office/drawing/2014/main" id="{0FAD81EF-A883-B40A-8558-1B969EA797ED}"/>
              </a:ext>
            </a:extLst>
          </p:cNvPr>
          <p:cNvSpPr>
            <a:spLocks noGrp="1"/>
          </p:cNvSpPr>
          <p:nvPr>
            <p:ph type="pic" sz="quarter" idx="17"/>
          </p:nvPr>
        </p:nvSpPr>
        <p:spPr>
          <a:xfrm>
            <a:off x="9550194" y="2734961"/>
            <a:ext cx="2641805" cy="1822052"/>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
        <p:nvSpPr>
          <p:cNvPr id="9" name="Picture Placeholder 3">
            <a:extLst>
              <a:ext uri="{FF2B5EF4-FFF2-40B4-BE49-F238E27FC236}">
                <a16:creationId xmlns:a16="http://schemas.microsoft.com/office/drawing/2014/main" id="{672BA0ED-4C48-294F-23C3-01D30C37BAD6}"/>
              </a:ext>
            </a:extLst>
          </p:cNvPr>
          <p:cNvSpPr>
            <a:spLocks noGrp="1"/>
          </p:cNvSpPr>
          <p:nvPr>
            <p:ph type="pic" sz="quarter" idx="18"/>
          </p:nvPr>
        </p:nvSpPr>
        <p:spPr>
          <a:xfrm>
            <a:off x="9550194" y="4664989"/>
            <a:ext cx="2641805"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dirty="0"/>
          </a:p>
        </p:txBody>
      </p:sp>
    </p:spTree>
    <p:extLst>
      <p:ext uri="{BB962C8B-B14F-4D97-AF65-F5344CB8AC3E}">
        <p14:creationId xmlns:p14="http://schemas.microsoft.com/office/powerpoint/2010/main" val="14151095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280901" y="657131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82676274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23459514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03151903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81161415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1022847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75153380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56031188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21411951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398823756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C0F110B9-1517-3066-42E8-A472B162F41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9899866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2716209515"/>
      </p:ext>
    </p:extLst>
  </p:cSld>
  <p:clrMapOvr>
    <a:overrideClrMapping bg1="lt1" tx1="dk1" bg2="lt2" tx2="dk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dirty="0"/>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2062248097"/>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886139468"/>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109590946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895579278"/>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 name="Slide Number Placeholder 6">
            <a:extLst>
              <a:ext uri="{FF2B5EF4-FFF2-40B4-BE49-F238E27FC236}">
                <a16:creationId xmlns:a16="http://schemas.microsoft.com/office/drawing/2014/main" id="{788DF416-2BBB-0EC9-06AA-579A068F3BA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694462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53711605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328497414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2" name="Slide Number Placeholder 6">
            <a:extLst>
              <a:ext uri="{FF2B5EF4-FFF2-40B4-BE49-F238E27FC236}">
                <a16:creationId xmlns:a16="http://schemas.microsoft.com/office/drawing/2014/main" id="{C569694C-4498-F00D-D009-A18EDA58CE00}"/>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85620243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369367839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6554699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6">
            <a:extLst>
              <a:ext uri="{FF2B5EF4-FFF2-40B4-BE49-F238E27FC236}">
                <a16:creationId xmlns:a16="http://schemas.microsoft.com/office/drawing/2014/main" id="{882F6CEE-E618-85AE-2D08-00D61589D93C}"/>
              </a:ext>
            </a:extLst>
          </p:cNvPr>
          <p:cNvSpPr>
            <a:spLocks noGrp="1"/>
          </p:cNvSpPr>
          <p:nvPr>
            <p:ph type="sldNum" sz="quarter" idx="10"/>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54182961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94703609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23147323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115394111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41769272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33754596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249932675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 name="Slide Number Placeholder 6">
            <a:extLst>
              <a:ext uri="{FF2B5EF4-FFF2-40B4-BE49-F238E27FC236}">
                <a16:creationId xmlns:a16="http://schemas.microsoft.com/office/drawing/2014/main" id="{788DF416-2BBB-0EC9-06AA-579A068F3BA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8646506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663313135"/>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matchingName="Title Slide - Insert Photo">
  <p:cSld name="Title Slide - Insert Photo">
    <p:bg>
      <p:bgPr>
        <a:solidFill>
          <a:schemeClr val="lt1"/>
        </a:solidFill>
        <a:effectLst/>
      </p:bgPr>
    </p:bg>
    <p:spTree>
      <p:nvGrpSpPr>
        <p:cNvPr id="1" name="Shape 37"/>
        <p:cNvGrpSpPr/>
        <p:nvPr/>
      </p:nvGrpSpPr>
      <p:grpSpPr>
        <a:xfrm>
          <a:off x="0" y="0"/>
          <a:ext cx="0" cy="0"/>
          <a:chOff x="0" y="0"/>
          <a:chExt cx="0" cy="0"/>
        </a:xfrm>
      </p:grpSpPr>
      <p:sp>
        <p:nvSpPr>
          <p:cNvPr id="38" name="Google Shape;38;p64"/>
          <p:cNvSpPr>
            <a:spLocks noGrp="1"/>
          </p:cNvSpPr>
          <p:nvPr>
            <p:ph type="pic" idx="2"/>
          </p:nvPr>
        </p:nvSpPr>
        <p:spPr>
          <a:xfrm>
            <a:off x="10118" y="914400"/>
            <a:ext cx="12198394" cy="3644901"/>
          </a:xfrm>
          <a:prstGeom prst="rect">
            <a:avLst/>
          </a:prstGeom>
          <a:solidFill>
            <a:schemeClr val="dk2"/>
          </a:solidFill>
          <a:ln>
            <a:noFill/>
          </a:ln>
        </p:spPr>
      </p:sp>
      <p:sp>
        <p:nvSpPr>
          <p:cNvPr id="39" name="Google Shape;39;p64"/>
          <p:cNvSpPr/>
          <p:nvPr/>
        </p:nvSpPr>
        <p:spPr>
          <a:xfrm>
            <a:off x="0" y="4559301"/>
            <a:ext cx="12198394" cy="2298699"/>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Gill Sans"/>
              <a:ea typeface="Gill Sans"/>
              <a:cs typeface="Gill Sans"/>
              <a:sym typeface="Gill Sans"/>
            </a:endParaRPr>
          </a:p>
        </p:txBody>
      </p:sp>
      <p:sp>
        <p:nvSpPr>
          <p:cNvPr id="40" name="Google Shape;40;p64"/>
          <p:cNvSpPr/>
          <p:nvPr/>
        </p:nvSpPr>
        <p:spPr>
          <a:xfrm>
            <a:off x="335280" y="1223305"/>
            <a:ext cx="11521440" cy="3080046"/>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Gill Sans"/>
              <a:ea typeface="Gill Sans"/>
              <a:cs typeface="Gill Sans"/>
              <a:sym typeface="Gill Sans"/>
            </a:endParaRPr>
          </a:p>
        </p:txBody>
      </p:sp>
      <p:pic>
        <p:nvPicPr>
          <p:cNvPr id="41" name="Google Shape;41;p64"/>
          <p:cNvPicPr preferRelativeResize="0"/>
          <p:nvPr/>
        </p:nvPicPr>
        <p:blipFill rotWithShape="1">
          <a:blip r:embed="rId2">
            <a:alphaModFix/>
          </a:blip>
          <a:srcRect/>
          <a:stretch/>
        </p:blipFill>
        <p:spPr>
          <a:xfrm>
            <a:off x="335280" y="222895"/>
            <a:ext cx="1607174" cy="482254"/>
          </a:xfrm>
          <a:prstGeom prst="rect">
            <a:avLst/>
          </a:prstGeom>
          <a:noFill/>
          <a:ln>
            <a:noFill/>
          </a:ln>
        </p:spPr>
      </p:pic>
      <p:pic>
        <p:nvPicPr>
          <p:cNvPr id="42" name="Google Shape;42;p64" descr="Logo, company name&#10;&#10;Description automatically generated"/>
          <p:cNvPicPr preferRelativeResize="0"/>
          <p:nvPr/>
        </p:nvPicPr>
        <p:blipFill rotWithShape="1">
          <a:blip r:embed="rId3">
            <a:alphaModFix/>
          </a:blip>
          <a:srcRect t="32604" b="34780"/>
          <a:stretch/>
        </p:blipFill>
        <p:spPr>
          <a:xfrm>
            <a:off x="9343687" y="222894"/>
            <a:ext cx="2751858" cy="482255"/>
          </a:xfrm>
          <a:prstGeom prst="rect">
            <a:avLst/>
          </a:prstGeom>
          <a:noFill/>
          <a:ln>
            <a:noFill/>
          </a:ln>
        </p:spPr>
      </p:pic>
      <p:sp>
        <p:nvSpPr>
          <p:cNvPr id="43" name="Google Shape;43;p64"/>
          <p:cNvSpPr txBox="1">
            <a:spLocks noGrp="1"/>
          </p:cNvSpPr>
          <p:nvPr>
            <p:ph type="ctrTitle"/>
          </p:nvPr>
        </p:nvSpPr>
        <p:spPr>
          <a:xfrm>
            <a:off x="762000" y="4612255"/>
            <a:ext cx="10591800" cy="676547"/>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dk2"/>
              </a:buClr>
              <a:buSzPts val="3600"/>
              <a:buFont typeface="Gill Sans"/>
              <a:buNone/>
              <a:defRPr sz="3600" b="1" i="0" u="none" strike="noStrike" cap="none">
                <a:solidFill>
                  <a:schemeClr val="dk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4" name="Google Shape;44;p64"/>
          <p:cNvSpPr txBox="1">
            <a:spLocks noGrp="1"/>
          </p:cNvSpPr>
          <p:nvPr>
            <p:ph type="subTitle" idx="1"/>
          </p:nvPr>
        </p:nvSpPr>
        <p:spPr>
          <a:xfrm>
            <a:off x="762000" y="5334000"/>
            <a:ext cx="10591800" cy="493351"/>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1000"/>
              </a:spcBef>
              <a:spcAft>
                <a:spcPts val="0"/>
              </a:spcAft>
              <a:buClr>
                <a:schemeClr val="lt1"/>
              </a:buClr>
              <a:buSzPts val="3200"/>
              <a:buFont typeface="Arial"/>
              <a:buNone/>
              <a:defRPr sz="3200" b="0" i="0" u="none" strike="noStrike" cap="none">
                <a:solidFill>
                  <a:schemeClr val="lt1"/>
                </a:solidFill>
                <a:latin typeface="Gill Sans"/>
                <a:ea typeface="Gill Sans"/>
                <a:cs typeface="Gill Sans"/>
                <a:sym typeface="Gill Sans"/>
              </a:defRPr>
            </a:lvl1pPr>
            <a:lvl2pPr marR="0" lvl="1" algn="ctr" rtl="0">
              <a:lnSpc>
                <a:spcPct val="100000"/>
              </a:lnSpc>
              <a:spcBef>
                <a:spcPts val="400"/>
              </a:spcBef>
              <a:spcAft>
                <a:spcPts val="0"/>
              </a:spcAft>
              <a:buClr>
                <a:schemeClr val="dk2"/>
              </a:buClr>
              <a:buSzPts val="2000"/>
              <a:buFont typeface="Arial"/>
              <a:buNone/>
              <a:defRPr sz="2000" b="0" i="0" u="none" strike="noStrike" cap="none">
                <a:solidFill>
                  <a:schemeClr val="dk2"/>
                </a:solidFill>
                <a:latin typeface="Gill Sans"/>
                <a:ea typeface="Gill Sans"/>
                <a:cs typeface="Gill Sans"/>
                <a:sym typeface="Gill Sans"/>
              </a:defRPr>
            </a:lvl2pPr>
            <a:lvl3pPr marR="0" lvl="2" algn="ctr"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R="0" lvl="3" algn="ctr" rtl="0">
              <a:lnSpc>
                <a:spcPct val="10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4pPr>
            <a:lvl5pPr marR="0" lvl="4" algn="ctr"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9pPr>
          </a:lstStyle>
          <a:p>
            <a:endParaRPr/>
          </a:p>
        </p:txBody>
      </p:sp>
      <p:sp>
        <p:nvSpPr>
          <p:cNvPr id="45" name="Google Shape;45;p64"/>
          <p:cNvSpPr txBox="1">
            <a:spLocks noGrp="1"/>
          </p:cNvSpPr>
          <p:nvPr>
            <p:ph type="ftr" idx="11"/>
          </p:nvPr>
        </p:nvSpPr>
        <p:spPr>
          <a:xfrm>
            <a:off x="762000" y="6018305"/>
            <a:ext cx="2468880" cy="18288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600" b="0" i="0" u="none" strike="noStrike" cap="none">
                <a:solidFill>
                  <a:schemeClr val="dk2"/>
                </a:solidFill>
                <a:latin typeface="Gill Sans"/>
                <a:ea typeface="Gill Sans"/>
                <a:cs typeface="Gill Sans"/>
                <a:sym typeface="Gill Sans"/>
              </a:defRPr>
            </a:lvl1pPr>
            <a:lvl2pPr marR="0" lvl="1"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2pPr>
            <a:lvl3pPr marR="0" lvl="2"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3pPr>
            <a:lvl4pPr marR="0" lvl="3"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4pPr>
            <a:lvl5pPr marR="0" lvl="4"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5pPr>
            <a:lvl6pPr marR="0" lvl="5"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6pPr>
            <a:lvl7pPr marR="0" lvl="6"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7pPr>
            <a:lvl8pPr marR="0" lvl="7"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8pPr>
            <a:lvl9pPr marR="0" lvl="8" algn="l" rtl="0">
              <a:spcBef>
                <a:spcPts val="0"/>
              </a:spcBef>
              <a:spcAft>
                <a:spcPts val="0"/>
              </a:spcAft>
              <a:buSzPts val="1400"/>
              <a:buNone/>
              <a:defRPr sz="1800" b="0" i="0" u="none" strike="noStrike" cap="none">
                <a:solidFill>
                  <a:schemeClr val="dk1"/>
                </a:solidFill>
                <a:latin typeface="Gill Sans"/>
                <a:ea typeface="Gill Sans"/>
                <a:cs typeface="Gill Sans"/>
                <a:sym typeface="Gill Sans"/>
              </a:defRPr>
            </a:lvl9pPr>
          </a:lstStyle>
          <a:p>
            <a:endParaRPr/>
          </a:p>
        </p:txBody>
      </p:sp>
      <p:sp>
        <p:nvSpPr>
          <p:cNvPr id="46" name="Google Shape;46;p64"/>
          <p:cNvSpPr txBox="1">
            <a:spLocks noGrp="1"/>
          </p:cNvSpPr>
          <p:nvPr>
            <p:ph type="body" idx="3"/>
          </p:nvPr>
        </p:nvSpPr>
        <p:spPr>
          <a:xfrm rot="-5400000">
            <a:off x="10340976" y="2545017"/>
            <a:ext cx="3383280" cy="215444"/>
          </a:xfrm>
          <a:prstGeom prst="rect">
            <a:avLst/>
          </a:prstGeom>
          <a:noFill/>
          <a:ln>
            <a:noFill/>
          </a:ln>
        </p:spPr>
        <p:txBody>
          <a:bodyPr spcFirstLastPara="1" wrap="square" lIns="91425" tIns="45700" rIns="91425" bIns="45700" anchor="t" anchorCtr="0">
            <a:spAutoFit/>
          </a:bodyPr>
          <a:lstStyle>
            <a:lvl1pPr marL="457200" marR="0" lvl="0" indent="-228600" algn="r" rtl="0">
              <a:lnSpc>
                <a:spcPct val="100000"/>
              </a:lnSpc>
              <a:spcBef>
                <a:spcPts val="1000"/>
              </a:spcBef>
              <a:spcAft>
                <a:spcPts val="0"/>
              </a:spcAft>
              <a:buClr>
                <a:schemeClr val="lt1"/>
              </a:buClr>
              <a:buSzPts val="800"/>
              <a:buFont typeface="Arial"/>
              <a:buNone/>
              <a:defRPr sz="800" b="0" i="0" u="none" strike="noStrike" cap="none">
                <a:solidFill>
                  <a:schemeClr val="lt1"/>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lt1"/>
              </a:buClr>
              <a:buSzPts val="1800"/>
              <a:buFont typeface="Arial"/>
              <a:buNone/>
              <a:defRPr sz="1800" b="0" i="0" u="none" strike="noStrike" cap="none">
                <a:solidFill>
                  <a:schemeClr val="lt1"/>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lt1"/>
              </a:buClr>
              <a:buSzPts val="1600"/>
              <a:buFont typeface="Courier New"/>
              <a:buNone/>
              <a:defRPr sz="1600" b="0" i="0" u="none" strike="noStrike" cap="none">
                <a:solidFill>
                  <a:schemeClr val="lt1"/>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lt1"/>
              </a:buClr>
              <a:buSzPts val="1400"/>
              <a:buFont typeface="Arial"/>
              <a:buNone/>
              <a:defRPr sz="1400" b="0" i="0" u="none" strike="noStrike" cap="none">
                <a:solidFill>
                  <a:schemeClr val="lt1"/>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lt1"/>
              </a:buClr>
              <a:buSzPts val="1200"/>
              <a:buFont typeface="Arial"/>
              <a:buNone/>
              <a:defRPr sz="1200" b="0" i="0" u="none" strike="noStrike" cap="none">
                <a:solidFill>
                  <a:schemeClr val="lt1"/>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119664831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47"/>
        <p:cNvGrpSpPr/>
        <p:nvPr/>
      </p:nvGrpSpPr>
      <p:grpSpPr>
        <a:xfrm>
          <a:off x="0" y="0"/>
          <a:ext cx="0" cy="0"/>
          <a:chOff x="0" y="0"/>
          <a:chExt cx="0" cy="0"/>
        </a:xfrm>
      </p:grpSpPr>
      <p:sp>
        <p:nvSpPr>
          <p:cNvPr id="48" name="Google Shape;48;p65"/>
          <p:cNvSpPr/>
          <p:nvPr/>
        </p:nvSpPr>
        <p:spPr>
          <a:xfrm>
            <a:off x="0" y="-2"/>
            <a:ext cx="3429000" cy="6858001"/>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49" name="Google Shape;49;p65"/>
          <p:cNvSpPr txBox="1">
            <a:spLocks noGrp="1"/>
          </p:cNvSpPr>
          <p:nvPr>
            <p:ph type="title"/>
          </p:nvPr>
        </p:nvSpPr>
        <p:spPr>
          <a:xfrm>
            <a:off x="462501" y="1219200"/>
            <a:ext cx="2509299" cy="845485"/>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Gill Sans"/>
              <a:buNone/>
              <a:defRPr sz="2800" b="1"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0" name="Google Shape;50;p65"/>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100">
                <a:solidFill>
                  <a:schemeClr val="dk2"/>
                </a:solidFill>
                <a:latin typeface="Gill Sans"/>
                <a:ea typeface="Gill Sans"/>
                <a:cs typeface="Gill Sans"/>
                <a:sym typeface="Gill Sans"/>
              </a:defRPr>
            </a:lvl1pPr>
            <a:lvl2pPr marL="0" lvl="1" indent="0" algn="r">
              <a:spcBef>
                <a:spcPts val="0"/>
              </a:spcBef>
              <a:buNone/>
              <a:defRPr sz="1100">
                <a:solidFill>
                  <a:schemeClr val="dk2"/>
                </a:solidFill>
                <a:latin typeface="Gill Sans"/>
                <a:ea typeface="Gill Sans"/>
                <a:cs typeface="Gill Sans"/>
                <a:sym typeface="Gill Sans"/>
              </a:defRPr>
            </a:lvl2pPr>
            <a:lvl3pPr marL="0" lvl="2" indent="0" algn="r">
              <a:spcBef>
                <a:spcPts val="0"/>
              </a:spcBef>
              <a:buNone/>
              <a:defRPr sz="1100">
                <a:solidFill>
                  <a:schemeClr val="dk2"/>
                </a:solidFill>
                <a:latin typeface="Gill Sans"/>
                <a:ea typeface="Gill Sans"/>
                <a:cs typeface="Gill Sans"/>
                <a:sym typeface="Gill Sans"/>
              </a:defRPr>
            </a:lvl3pPr>
            <a:lvl4pPr marL="0" lvl="3" indent="0" algn="r">
              <a:spcBef>
                <a:spcPts val="0"/>
              </a:spcBef>
              <a:buNone/>
              <a:defRPr sz="1100">
                <a:solidFill>
                  <a:schemeClr val="dk2"/>
                </a:solidFill>
                <a:latin typeface="Gill Sans"/>
                <a:ea typeface="Gill Sans"/>
                <a:cs typeface="Gill Sans"/>
                <a:sym typeface="Gill Sans"/>
              </a:defRPr>
            </a:lvl4pPr>
            <a:lvl5pPr marL="0" lvl="4" indent="0" algn="r">
              <a:spcBef>
                <a:spcPts val="0"/>
              </a:spcBef>
              <a:buNone/>
              <a:defRPr sz="1100">
                <a:solidFill>
                  <a:schemeClr val="dk2"/>
                </a:solidFill>
                <a:latin typeface="Gill Sans"/>
                <a:ea typeface="Gill Sans"/>
                <a:cs typeface="Gill Sans"/>
                <a:sym typeface="Gill Sans"/>
              </a:defRPr>
            </a:lvl5pPr>
            <a:lvl6pPr marL="0" lvl="5" indent="0" algn="r">
              <a:spcBef>
                <a:spcPts val="0"/>
              </a:spcBef>
              <a:buNone/>
              <a:defRPr sz="1100">
                <a:solidFill>
                  <a:schemeClr val="dk2"/>
                </a:solidFill>
                <a:latin typeface="Gill Sans"/>
                <a:ea typeface="Gill Sans"/>
                <a:cs typeface="Gill Sans"/>
                <a:sym typeface="Gill Sans"/>
              </a:defRPr>
            </a:lvl6pPr>
            <a:lvl7pPr marL="0" lvl="6" indent="0" algn="r">
              <a:spcBef>
                <a:spcPts val="0"/>
              </a:spcBef>
              <a:buNone/>
              <a:defRPr sz="1100">
                <a:solidFill>
                  <a:schemeClr val="dk2"/>
                </a:solidFill>
                <a:latin typeface="Gill Sans"/>
                <a:ea typeface="Gill Sans"/>
                <a:cs typeface="Gill Sans"/>
                <a:sym typeface="Gill Sans"/>
              </a:defRPr>
            </a:lvl7pPr>
            <a:lvl8pPr marL="0" lvl="7" indent="0" algn="r">
              <a:spcBef>
                <a:spcPts val="0"/>
              </a:spcBef>
              <a:buNone/>
              <a:defRPr sz="1100">
                <a:solidFill>
                  <a:schemeClr val="dk2"/>
                </a:solidFill>
                <a:latin typeface="Gill Sans"/>
                <a:ea typeface="Gill Sans"/>
                <a:cs typeface="Gill Sans"/>
                <a:sym typeface="Gill Sans"/>
              </a:defRPr>
            </a:lvl8pPr>
            <a:lvl9pPr marL="0" lvl="8" indent="0" algn="r">
              <a:spcBef>
                <a:spcPts val="0"/>
              </a:spcBef>
              <a:buNone/>
              <a:defRPr sz="11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
        <p:nvSpPr>
          <p:cNvPr id="51" name="Google Shape;51;p65"/>
          <p:cNvSpPr txBox="1">
            <a:spLocks noGrp="1"/>
          </p:cNvSpPr>
          <p:nvPr>
            <p:ph type="body" idx="1"/>
          </p:nvPr>
        </p:nvSpPr>
        <p:spPr>
          <a:xfrm>
            <a:off x="461963" y="2209800"/>
            <a:ext cx="2509837" cy="10747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1000"/>
              </a:spcBef>
              <a:spcAft>
                <a:spcPts val="0"/>
              </a:spcAft>
              <a:buClr>
                <a:schemeClr val="dk2"/>
              </a:buClr>
              <a:buSzPts val="2133"/>
              <a:buFont typeface="Arial"/>
              <a:buNone/>
              <a:defRPr sz="2133" b="0" i="0" u="none" strike="noStrike" cap="none">
                <a:solidFill>
                  <a:schemeClr val="dk2"/>
                </a:solidFill>
                <a:latin typeface="Gill Sans"/>
                <a:ea typeface="Gill Sans"/>
                <a:cs typeface="Gill Sans"/>
                <a:sym typeface="Gill Sans"/>
              </a:defRPr>
            </a:lvl1pPr>
            <a:lvl2pPr marL="914400" marR="0" lvl="1" indent="-228600" algn="l" rtl="0">
              <a:lnSpc>
                <a:spcPct val="100000"/>
              </a:lnSpc>
              <a:spcBef>
                <a:spcPts val="400"/>
              </a:spcBef>
              <a:spcAft>
                <a:spcPts val="0"/>
              </a:spcAft>
              <a:buClr>
                <a:schemeClr val="dk2"/>
              </a:buClr>
              <a:buSzPts val="2133"/>
              <a:buFont typeface="Arial"/>
              <a:buNone/>
              <a:defRPr sz="2133" b="0" i="0" u="none" strike="noStrike" cap="none">
                <a:solidFill>
                  <a:schemeClr val="dk2"/>
                </a:solidFill>
                <a:latin typeface="Gill Sans"/>
                <a:ea typeface="Gill Sans"/>
                <a:cs typeface="Gill Sans"/>
                <a:sym typeface="Gill Sans"/>
              </a:defRPr>
            </a:lvl2pPr>
            <a:lvl3pPr marL="1371600" marR="0" lvl="2" indent="-228600" algn="l"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L="1828800" marR="0" lvl="3" indent="-228600" algn="l" rtl="0">
              <a:lnSpc>
                <a:spcPct val="100000"/>
              </a:lnSpc>
              <a:spcBef>
                <a:spcPts val="400"/>
              </a:spcBef>
              <a:spcAft>
                <a:spcPts val="0"/>
              </a:spcAft>
              <a:buClr>
                <a:schemeClr val="dk2"/>
              </a:buClr>
              <a:buSzPts val="1867"/>
              <a:buFont typeface="Arial"/>
              <a:buNone/>
              <a:defRPr sz="1867" b="0" i="0" u="none" strike="noStrike" cap="none">
                <a:solidFill>
                  <a:schemeClr val="dk2"/>
                </a:solidFill>
                <a:latin typeface="Gill Sans"/>
                <a:ea typeface="Gill Sans"/>
                <a:cs typeface="Gill Sans"/>
                <a:sym typeface="Gill Sans"/>
              </a:defRPr>
            </a:lvl4pPr>
            <a:lvl5pPr marL="2286000" marR="0" lvl="4" indent="-228600" algn="l"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279606381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itle + Open Space">
  <p:cSld name="Title + Open Space">
    <p:spTree>
      <p:nvGrpSpPr>
        <p:cNvPr id="1" name="Shape 52"/>
        <p:cNvGrpSpPr/>
        <p:nvPr/>
      </p:nvGrpSpPr>
      <p:grpSpPr>
        <a:xfrm>
          <a:off x="0" y="0"/>
          <a:ext cx="0" cy="0"/>
          <a:chOff x="0" y="0"/>
          <a:chExt cx="0" cy="0"/>
        </a:xfrm>
      </p:grpSpPr>
      <p:sp>
        <p:nvSpPr>
          <p:cNvPr id="53" name="Google Shape;53;p66"/>
          <p:cNvSpPr/>
          <p:nvPr/>
        </p:nvSpPr>
        <p:spPr>
          <a:xfrm>
            <a:off x="0" y="-1"/>
            <a:ext cx="12192000" cy="1143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54" name="Google Shape;54;p66"/>
          <p:cNvSpPr txBox="1">
            <a:spLocks noGrp="1"/>
          </p:cNvSpPr>
          <p:nvPr>
            <p:ph type="title"/>
          </p:nvPr>
        </p:nvSpPr>
        <p:spPr>
          <a:xfrm>
            <a:off x="462501" y="297515"/>
            <a:ext cx="11270299" cy="769286"/>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chemeClr val="lt1"/>
              </a:buClr>
              <a:buSzPts val="2800"/>
              <a:buFont typeface="Gill Sans"/>
              <a:buNone/>
              <a:defRPr sz="2800" b="1"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5" name="Google Shape;55;p66"/>
          <p:cNvSpPr txBox="1">
            <a:spLocks noGrp="1"/>
          </p:cNvSpPr>
          <p:nvPr>
            <p:ph type="sldNum" idx="12"/>
          </p:nvPr>
        </p:nvSpPr>
        <p:spPr>
          <a:xfrm>
            <a:off x="11623801" y="656048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sz="1100">
                <a:solidFill>
                  <a:schemeClr val="dk2"/>
                </a:solidFill>
                <a:latin typeface="Gill Sans"/>
                <a:ea typeface="Gill Sans"/>
                <a:cs typeface="Gill Sans"/>
                <a:sym typeface="Gill Sans"/>
              </a:defRPr>
            </a:lvl1pPr>
            <a:lvl2pPr marL="0" lvl="1" indent="0" algn="r">
              <a:spcBef>
                <a:spcPts val="0"/>
              </a:spcBef>
              <a:buNone/>
              <a:defRPr sz="1100">
                <a:solidFill>
                  <a:schemeClr val="dk2"/>
                </a:solidFill>
                <a:latin typeface="Gill Sans"/>
                <a:ea typeface="Gill Sans"/>
                <a:cs typeface="Gill Sans"/>
                <a:sym typeface="Gill Sans"/>
              </a:defRPr>
            </a:lvl2pPr>
            <a:lvl3pPr marL="0" lvl="2" indent="0" algn="r">
              <a:spcBef>
                <a:spcPts val="0"/>
              </a:spcBef>
              <a:buNone/>
              <a:defRPr sz="1100">
                <a:solidFill>
                  <a:schemeClr val="dk2"/>
                </a:solidFill>
                <a:latin typeface="Gill Sans"/>
                <a:ea typeface="Gill Sans"/>
                <a:cs typeface="Gill Sans"/>
                <a:sym typeface="Gill Sans"/>
              </a:defRPr>
            </a:lvl3pPr>
            <a:lvl4pPr marL="0" lvl="3" indent="0" algn="r">
              <a:spcBef>
                <a:spcPts val="0"/>
              </a:spcBef>
              <a:buNone/>
              <a:defRPr sz="1100">
                <a:solidFill>
                  <a:schemeClr val="dk2"/>
                </a:solidFill>
                <a:latin typeface="Gill Sans"/>
                <a:ea typeface="Gill Sans"/>
                <a:cs typeface="Gill Sans"/>
                <a:sym typeface="Gill Sans"/>
              </a:defRPr>
            </a:lvl4pPr>
            <a:lvl5pPr marL="0" lvl="4" indent="0" algn="r">
              <a:spcBef>
                <a:spcPts val="0"/>
              </a:spcBef>
              <a:buNone/>
              <a:defRPr sz="1100">
                <a:solidFill>
                  <a:schemeClr val="dk2"/>
                </a:solidFill>
                <a:latin typeface="Gill Sans"/>
                <a:ea typeface="Gill Sans"/>
                <a:cs typeface="Gill Sans"/>
                <a:sym typeface="Gill Sans"/>
              </a:defRPr>
            </a:lvl5pPr>
            <a:lvl6pPr marL="0" lvl="5" indent="0" algn="r">
              <a:spcBef>
                <a:spcPts val="0"/>
              </a:spcBef>
              <a:buNone/>
              <a:defRPr sz="1100">
                <a:solidFill>
                  <a:schemeClr val="dk2"/>
                </a:solidFill>
                <a:latin typeface="Gill Sans"/>
                <a:ea typeface="Gill Sans"/>
                <a:cs typeface="Gill Sans"/>
                <a:sym typeface="Gill Sans"/>
              </a:defRPr>
            </a:lvl6pPr>
            <a:lvl7pPr marL="0" lvl="6" indent="0" algn="r">
              <a:spcBef>
                <a:spcPts val="0"/>
              </a:spcBef>
              <a:buNone/>
              <a:defRPr sz="1100">
                <a:solidFill>
                  <a:schemeClr val="dk2"/>
                </a:solidFill>
                <a:latin typeface="Gill Sans"/>
                <a:ea typeface="Gill Sans"/>
                <a:cs typeface="Gill Sans"/>
                <a:sym typeface="Gill Sans"/>
              </a:defRPr>
            </a:lvl7pPr>
            <a:lvl8pPr marL="0" lvl="7" indent="0" algn="r">
              <a:spcBef>
                <a:spcPts val="0"/>
              </a:spcBef>
              <a:buNone/>
              <a:defRPr sz="1100">
                <a:solidFill>
                  <a:schemeClr val="dk2"/>
                </a:solidFill>
                <a:latin typeface="Gill Sans"/>
                <a:ea typeface="Gill Sans"/>
                <a:cs typeface="Gill Sans"/>
                <a:sym typeface="Gill Sans"/>
              </a:defRPr>
            </a:lvl8pPr>
            <a:lvl9pPr marL="0" lvl="8" indent="0" algn="r">
              <a:spcBef>
                <a:spcPts val="0"/>
              </a:spcBef>
              <a:buNone/>
              <a:defRPr sz="1100">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8337412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56"/>
        <p:cNvGrpSpPr/>
        <p:nvPr/>
      </p:nvGrpSpPr>
      <p:grpSpPr>
        <a:xfrm>
          <a:off x="0" y="0"/>
          <a:ext cx="0" cy="0"/>
          <a:chOff x="0" y="0"/>
          <a:chExt cx="0" cy="0"/>
        </a:xfrm>
      </p:grpSpPr>
      <p:sp>
        <p:nvSpPr>
          <p:cNvPr id="57" name="Google Shape;57;p67"/>
          <p:cNvSpPr/>
          <p:nvPr/>
        </p:nvSpPr>
        <p:spPr>
          <a:xfrm>
            <a:off x="0" y="0"/>
            <a:ext cx="12192000" cy="6858000"/>
          </a:xfrm>
          <a:prstGeom prst="rect">
            <a:avLst/>
          </a:prstGeom>
          <a:solidFill>
            <a:srgbClr val="8DCAC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58" name="Google Shape;58;p67"/>
          <p:cNvSpPr txBox="1">
            <a:spLocks noGrp="1"/>
          </p:cNvSpPr>
          <p:nvPr>
            <p:ph type="title"/>
          </p:nvPr>
        </p:nvSpPr>
        <p:spPr>
          <a:xfrm>
            <a:off x="2971800" y="1295400"/>
            <a:ext cx="8001000" cy="4191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2"/>
              </a:buClr>
              <a:buSzPts val="4000"/>
              <a:buFont typeface="Gill Sans"/>
              <a:buNone/>
              <a:defRPr sz="4000" b="0" i="0" u="none" strike="noStrike" cap="none">
                <a:solidFill>
                  <a:schemeClr val="dk2"/>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9" name="Google Shape;59;p67"/>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grpSp>
        <p:nvGrpSpPr>
          <p:cNvPr id="60" name="Google Shape;60;p67"/>
          <p:cNvGrpSpPr/>
          <p:nvPr/>
        </p:nvGrpSpPr>
        <p:grpSpPr>
          <a:xfrm>
            <a:off x="1836520" y="1053602"/>
            <a:ext cx="904875" cy="683147"/>
            <a:chOff x="1836520" y="1053602"/>
            <a:chExt cx="904875" cy="683147"/>
          </a:xfrm>
        </p:grpSpPr>
        <p:sp>
          <p:nvSpPr>
            <p:cNvPr id="61" name="Google Shape;61;p67"/>
            <p:cNvSpPr/>
            <p:nvPr/>
          </p:nvSpPr>
          <p:spPr>
            <a:xfrm>
              <a:off x="2341345" y="1053602"/>
              <a:ext cx="400050" cy="683147"/>
            </a:xfrm>
            <a:custGeom>
              <a:avLst/>
              <a:gdLst/>
              <a:ahLst/>
              <a:cxnLst/>
              <a:rect l="l" t="t" r="r" b="b"/>
              <a:pathLst>
                <a:path w="400050" h="683147" extrusionOk="0">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Gill Sans"/>
                <a:ea typeface="Gill Sans"/>
                <a:cs typeface="Gill Sans"/>
                <a:sym typeface="Gill Sans"/>
              </a:endParaRPr>
            </a:p>
          </p:txBody>
        </p:sp>
        <p:sp>
          <p:nvSpPr>
            <p:cNvPr id="62" name="Google Shape;62;p67"/>
            <p:cNvSpPr/>
            <p:nvPr/>
          </p:nvSpPr>
          <p:spPr>
            <a:xfrm>
              <a:off x="1836520" y="1053602"/>
              <a:ext cx="400050" cy="683147"/>
            </a:xfrm>
            <a:custGeom>
              <a:avLst/>
              <a:gdLst/>
              <a:ahLst/>
              <a:cxnLst/>
              <a:rect l="l" t="t" r="r" b="b"/>
              <a:pathLst>
                <a:path w="400050" h="683147" extrusionOk="0">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Gill Sans"/>
                <a:ea typeface="Gill Sans"/>
                <a:cs typeface="Gill Sans"/>
                <a:sym typeface="Gill Sans"/>
              </a:endParaRPr>
            </a:p>
          </p:txBody>
        </p:sp>
      </p:grpSp>
      <p:sp>
        <p:nvSpPr>
          <p:cNvPr id="63" name="Google Shape;63;p67"/>
          <p:cNvSpPr txBox="1">
            <a:spLocks noGrp="1"/>
          </p:cNvSpPr>
          <p:nvPr>
            <p:ph type="body" idx="1"/>
          </p:nvPr>
        </p:nvSpPr>
        <p:spPr>
          <a:xfrm>
            <a:off x="4038600" y="5638800"/>
            <a:ext cx="6934200" cy="457200"/>
          </a:xfrm>
          <a:prstGeom prst="rect">
            <a:avLst/>
          </a:prstGeom>
          <a:noFill/>
          <a:ln>
            <a:noFill/>
          </a:ln>
        </p:spPr>
        <p:txBody>
          <a:bodyPr spcFirstLastPara="1" wrap="square" lIns="91425" tIns="45700" rIns="91425" bIns="45700" anchor="t" anchorCtr="0">
            <a:noAutofit/>
          </a:bodyPr>
          <a:lstStyle>
            <a:lvl1pPr marL="457200" marR="0" lvl="0" indent="-228600" algn="r" rtl="0">
              <a:lnSpc>
                <a:spcPct val="100000"/>
              </a:lnSpc>
              <a:spcBef>
                <a:spcPts val="1000"/>
              </a:spcBef>
              <a:spcAft>
                <a:spcPts val="0"/>
              </a:spcAft>
              <a:buClr>
                <a:schemeClr val="lt1"/>
              </a:buClr>
              <a:buSzPts val="1600"/>
              <a:buFont typeface="Arial"/>
              <a:buNone/>
              <a:defRPr sz="1600" b="1" i="0" u="none" strike="noStrike" cap="none">
                <a:solidFill>
                  <a:schemeClr val="lt1"/>
                </a:solidFill>
                <a:latin typeface="Gill Sans"/>
                <a:ea typeface="Gill Sans"/>
                <a:cs typeface="Gill Sans"/>
                <a:sym typeface="Gill Sans"/>
              </a:defRPr>
            </a:lvl1pPr>
            <a:lvl2pPr marL="914400" marR="0" lvl="1" indent="-228600" algn="r" rtl="0">
              <a:lnSpc>
                <a:spcPct val="100000"/>
              </a:lnSpc>
              <a:spcBef>
                <a:spcPts val="400"/>
              </a:spcBef>
              <a:spcAft>
                <a:spcPts val="0"/>
              </a:spcAft>
              <a:buClr>
                <a:schemeClr val="lt2"/>
              </a:buClr>
              <a:buSzPts val="1600"/>
              <a:buFont typeface="Arial"/>
              <a:buNone/>
              <a:defRPr sz="1600" b="1" i="0" u="none" strike="noStrike" cap="none">
                <a:solidFill>
                  <a:schemeClr val="lt2"/>
                </a:solidFill>
                <a:latin typeface="Gill Sans"/>
                <a:ea typeface="Gill Sans"/>
                <a:cs typeface="Gill Sans"/>
                <a:sym typeface="Gill Sans"/>
              </a:defRPr>
            </a:lvl2pPr>
            <a:lvl3pPr marL="1371600" marR="0" lvl="2" indent="-228600" algn="r" rtl="0">
              <a:lnSpc>
                <a:spcPct val="100000"/>
              </a:lnSpc>
              <a:spcBef>
                <a:spcPts val="400"/>
              </a:spcBef>
              <a:spcAft>
                <a:spcPts val="0"/>
              </a:spcAft>
              <a:buClr>
                <a:schemeClr val="lt2"/>
              </a:buClr>
              <a:buSzPts val="1600"/>
              <a:buFont typeface="Courier New"/>
              <a:buNone/>
              <a:defRPr sz="1600" b="1" i="0" u="none" strike="noStrike" cap="none">
                <a:solidFill>
                  <a:schemeClr val="lt2"/>
                </a:solidFill>
                <a:latin typeface="Gill Sans"/>
                <a:ea typeface="Gill Sans"/>
                <a:cs typeface="Gill Sans"/>
                <a:sym typeface="Gill Sans"/>
              </a:defRPr>
            </a:lvl3pPr>
            <a:lvl4pPr marL="1828800" marR="0" lvl="3" indent="-228600" algn="r" rtl="0">
              <a:lnSpc>
                <a:spcPct val="100000"/>
              </a:lnSpc>
              <a:spcBef>
                <a:spcPts val="400"/>
              </a:spcBef>
              <a:spcAft>
                <a:spcPts val="0"/>
              </a:spcAft>
              <a:buClr>
                <a:schemeClr val="lt2"/>
              </a:buClr>
              <a:buSzPts val="1600"/>
              <a:buFont typeface="Arial"/>
              <a:buNone/>
              <a:defRPr sz="1600" b="1" i="0" u="none" strike="noStrike" cap="none">
                <a:solidFill>
                  <a:schemeClr val="lt2"/>
                </a:solidFill>
                <a:latin typeface="Gill Sans"/>
                <a:ea typeface="Gill Sans"/>
                <a:cs typeface="Gill Sans"/>
                <a:sym typeface="Gill Sans"/>
              </a:defRPr>
            </a:lvl4pPr>
            <a:lvl5pPr marL="2286000" marR="0" lvl="4" indent="-228600" algn="r" rtl="0">
              <a:lnSpc>
                <a:spcPct val="90000"/>
              </a:lnSpc>
              <a:spcBef>
                <a:spcPts val="400"/>
              </a:spcBef>
              <a:spcAft>
                <a:spcPts val="0"/>
              </a:spcAft>
              <a:buClr>
                <a:schemeClr val="lt2"/>
              </a:buClr>
              <a:buSzPts val="1600"/>
              <a:buFont typeface="Arial"/>
              <a:buNone/>
              <a:defRPr sz="1600" b="1" i="0" u="none" strike="noStrike" cap="none">
                <a:solidFill>
                  <a:schemeClr val="lt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142297763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matchingName="Divider Slide - Numbered Section">
  <p:cSld name="Divider Slide - Numbered Section">
    <p:spTree>
      <p:nvGrpSpPr>
        <p:cNvPr id="1" name="Shape 64"/>
        <p:cNvGrpSpPr/>
        <p:nvPr/>
      </p:nvGrpSpPr>
      <p:grpSpPr>
        <a:xfrm>
          <a:off x="0" y="0"/>
          <a:ext cx="0" cy="0"/>
          <a:chOff x="0" y="0"/>
          <a:chExt cx="0" cy="0"/>
        </a:xfrm>
      </p:grpSpPr>
      <p:sp>
        <p:nvSpPr>
          <p:cNvPr id="65" name="Google Shape;65;p68"/>
          <p:cNvSpPr/>
          <p:nvPr/>
        </p:nvSpPr>
        <p:spPr>
          <a:xfrm>
            <a:off x="0" y="0"/>
            <a:ext cx="2006029" cy="6858000"/>
          </a:xfrm>
          <a:prstGeom prst="rect">
            <a:avLst/>
          </a:prstGeom>
          <a:solidFill>
            <a:schemeClr val="dk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Century Gothic"/>
              <a:ea typeface="Century Gothic"/>
              <a:cs typeface="Century Gothic"/>
              <a:sym typeface="Century Gothic"/>
            </a:endParaRPr>
          </a:p>
        </p:txBody>
      </p:sp>
      <p:sp>
        <p:nvSpPr>
          <p:cNvPr id="66" name="Google Shape;66;p68"/>
          <p:cNvSpPr/>
          <p:nvPr/>
        </p:nvSpPr>
        <p:spPr>
          <a:xfrm>
            <a:off x="2006029" y="0"/>
            <a:ext cx="10185972" cy="68580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Century Gothic"/>
              <a:ea typeface="Century Gothic"/>
              <a:cs typeface="Century Gothic"/>
              <a:sym typeface="Century Gothic"/>
            </a:endParaRPr>
          </a:p>
        </p:txBody>
      </p:sp>
      <p:sp>
        <p:nvSpPr>
          <p:cNvPr id="67" name="Google Shape;67;p68"/>
          <p:cNvSpPr txBox="1">
            <a:spLocks noGrp="1"/>
          </p:cNvSpPr>
          <p:nvPr>
            <p:ph type="ctrTitle"/>
          </p:nvPr>
        </p:nvSpPr>
        <p:spPr>
          <a:xfrm>
            <a:off x="2769171" y="1173321"/>
            <a:ext cx="7416800" cy="2366963"/>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chemeClr val="lt1"/>
              </a:buClr>
              <a:buSzPts val="5333"/>
              <a:buFont typeface="Gill Sans"/>
              <a:buNone/>
              <a:defRPr sz="5333" b="0" i="0" u="none" strike="noStrike" cap="none">
                <a:solidFill>
                  <a:schemeClr val="lt1"/>
                </a:solidFill>
                <a:latin typeface="Gill Sans"/>
                <a:ea typeface="Gill Sans"/>
                <a:cs typeface="Gill Sans"/>
                <a:sym typeface="Gill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68" name="Google Shape;68;p68"/>
          <p:cNvSpPr txBox="1">
            <a:spLocks noGrp="1"/>
          </p:cNvSpPr>
          <p:nvPr>
            <p:ph type="subTitle" idx="1"/>
          </p:nvPr>
        </p:nvSpPr>
        <p:spPr>
          <a:xfrm>
            <a:off x="2769171" y="3632358"/>
            <a:ext cx="7416800" cy="185896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chemeClr val="dk2"/>
              </a:buClr>
              <a:buSzPts val="2400"/>
              <a:buFont typeface="Arial"/>
              <a:buNone/>
              <a:defRPr sz="2400" b="0" i="0" u="none" strike="noStrike" cap="none">
                <a:solidFill>
                  <a:schemeClr val="dk2"/>
                </a:solidFill>
                <a:latin typeface="Gill Sans"/>
                <a:ea typeface="Gill Sans"/>
                <a:cs typeface="Gill Sans"/>
                <a:sym typeface="Gill Sans"/>
              </a:defRPr>
            </a:lvl1pPr>
            <a:lvl2pPr marR="0" lvl="1" algn="ctr" rtl="0">
              <a:lnSpc>
                <a:spcPct val="100000"/>
              </a:lnSpc>
              <a:spcBef>
                <a:spcPts val="400"/>
              </a:spcBef>
              <a:spcAft>
                <a:spcPts val="0"/>
              </a:spcAft>
              <a:buClr>
                <a:schemeClr val="dk2"/>
              </a:buClr>
              <a:buSzPts val="2000"/>
              <a:buFont typeface="Arial"/>
              <a:buNone/>
              <a:defRPr sz="2000" b="0" i="0" u="none" strike="noStrike" cap="none">
                <a:solidFill>
                  <a:schemeClr val="dk2"/>
                </a:solidFill>
                <a:latin typeface="Gill Sans"/>
                <a:ea typeface="Gill Sans"/>
                <a:cs typeface="Gill Sans"/>
                <a:sym typeface="Gill Sans"/>
              </a:defRPr>
            </a:lvl2pPr>
            <a:lvl3pPr marR="0" lvl="2" algn="ctr" rtl="0">
              <a:lnSpc>
                <a:spcPct val="100000"/>
              </a:lnSpc>
              <a:spcBef>
                <a:spcPts val="400"/>
              </a:spcBef>
              <a:spcAft>
                <a:spcPts val="0"/>
              </a:spcAft>
              <a:buClr>
                <a:schemeClr val="dk2"/>
              </a:buClr>
              <a:buSzPts val="1867"/>
              <a:buFont typeface="Courier New"/>
              <a:buNone/>
              <a:defRPr sz="1867" b="0" i="0" u="none" strike="noStrike" cap="none">
                <a:solidFill>
                  <a:schemeClr val="dk2"/>
                </a:solidFill>
                <a:latin typeface="Gill Sans"/>
                <a:ea typeface="Gill Sans"/>
                <a:cs typeface="Gill Sans"/>
                <a:sym typeface="Gill Sans"/>
              </a:defRPr>
            </a:lvl3pPr>
            <a:lvl4pPr marR="0" lvl="3" algn="ctr" rtl="0">
              <a:lnSpc>
                <a:spcPct val="10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4pPr>
            <a:lvl5pPr marR="0" lvl="4" algn="ctr" rtl="0">
              <a:lnSpc>
                <a:spcPct val="90000"/>
              </a:lnSpc>
              <a:spcBef>
                <a:spcPts val="400"/>
              </a:spcBef>
              <a:spcAft>
                <a:spcPts val="0"/>
              </a:spcAft>
              <a:buClr>
                <a:schemeClr val="dk2"/>
              </a:buClr>
              <a:buSzPts val="1600"/>
              <a:buFont typeface="Arial"/>
              <a:buNone/>
              <a:defRPr sz="1600" b="0" i="0" u="none" strike="noStrike" cap="none">
                <a:solidFill>
                  <a:schemeClr val="dk2"/>
                </a:solidFill>
                <a:latin typeface="Gill Sans"/>
                <a:ea typeface="Gill Sans"/>
                <a:cs typeface="Gill Sans"/>
                <a:sym typeface="Gill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Gill Sans"/>
                <a:ea typeface="Gill Sans"/>
                <a:cs typeface="Gill Sans"/>
                <a:sym typeface="Gill Sans"/>
              </a:defRPr>
            </a:lvl9pPr>
          </a:lstStyle>
          <a:p>
            <a:endParaRPr/>
          </a:p>
        </p:txBody>
      </p:sp>
      <p:sp>
        <p:nvSpPr>
          <p:cNvPr id="69" name="Google Shape;69;p68"/>
          <p:cNvSpPr/>
          <p:nvPr/>
        </p:nvSpPr>
        <p:spPr>
          <a:xfrm>
            <a:off x="2286000" y="274320"/>
            <a:ext cx="9641840" cy="630936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
        <p:nvSpPr>
          <p:cNvPr id="70" name="Google Shape;70;p68"/>
          <p:cNvSpPr txBox="1">
            <a:spLocks noGrp="1"/>
          </p:cNvSpPr>
          <p:nvPr>
            <p:ph type="body" idx="2"/>
          </p:nvPr>
        </p:nvSpPr>
        <p:spPr>
          <a:xfrm>
            <a:off x="341502" y="2895600"/>
            <a:ext cx="1371600" cy="1066800"/>
          </a:xfrm>
          <a:prstGeom prst="rect">
            <a:avLst/>
          </a:prstGeom>
          <a:noFill/>
          <a:ln>
            <a:noFill/>
          </a:ln>
        </p:spPr>
        <p:txBody>
          <a:bodyPr spcFirstLastPara="1" wrap="square" lIns="91425" tIns="45700" rIns="91425" bIns="45700" anchor="ctr" anchorCtr="0">
            <a:noAutofit/>
          </a:bodyPr>
          <a:lstStyle>
            <a:lvl1pPr marL="457200" marR="0" lvl="0" indent="-228600" algn="ctr" rtl="0">
              <a:lnSpc>
                <a:spcPct val="100000"/>
              </a:lnSpc>
              <a:spcBef>
                <a:spcPts val="1000"/>
              </a:spcBef>
              <a:spcAft>
                <a:spcPts val="0"/>
              </a:spcAft>
              <a:buClr>
                <a:schemeClr val="lt1"/>
              </a:buClr>
              <a:buSzPts val="8000"/>
              <a:buFont typeface="Arial"/>
              <a:buNone/>
              <a:defRPr sz="8000" b="0" i="0" u="none" strike="noStrike" cap="none">
                <a:solidFill>
                  <a:schemeClr val="lt1"/>
                </a:solidFill>
                <a:latin typeface="Gill Sans"/>
                <a:ea typeface="Gill Sans"/>
                <a:cs typeface="Gill Sans"/>
                <a:sym typeface="Gill Sans"/>
              </a:defRPr>
            </a:lvl1pPr>
            <a:lvl2pPr marL="914400" marR="0" lvl="1" indent="-364045" algn="l" rtl="0">
              <a:lnSpc>
                <a:spcPct val="100000"/>
              </a:lnSpc>
              <a:spcBef>
                <a:spcPts val="400"/>
              </a:spcBef>
              <a:spcAft>
                <a:spcPts val="0"/>
              </a:spcAft>
              <a:buClr>
                <a:schemeClr val="dk2"/>
              </a:buClr>
              <a:buSzPts val="2133"/>
              <a:buFont typeface="Arial"/>
              <a:buChar char="•"/>
              <a:defRPr sz="2133" b="0" i="0" u="none" strike="noStrike" cap="none">
                <a:solidFill>
                  <a:schemeClr val="dk2"/>
                </a:solidFill>
                <a:latin typeface="Gill Sans"/>
                <a:ea typeface="Gill Sans"/>
                <a:cs typeface="Gill Sans"/>
                <a:sym typeface="Gill Sans"/>
              </a:defRPr>
            </a:lvl2pPr>
            <a:lvl3pPr marL="1371600" marR="0" lvl="2" indent="-347154" algn="l" rtl="0">
              <a:lnSpc>
                <a:spcPct val="100000"/>
              </a:lnSpc>
              <a:spcBef>
                <a:spcPts val="400"/>
              </a:spcBef>
              <a:spcAft>
                <a:spcPts val="0"/>
              </a:spcAft>
              <a:buClr>
                <a:schemeClr val="dk2"/>
              </a:buClr>
              <a:buSzPts val="1867"/>
              <a:buFont typeface="Courier New"/>
              <a:buChar char="o"/>
              <a:defRPr sz="1867" b="0" i="0" u="none" strike="noStrike" cap="none">
                <a:solidFill>
                  <a:schemeClr val="dk2"/>
                </a:solidFill>
                <a:latin typeface="Gill Sans"/>
                <a:ea typeface="Gill Sans"/>
                <a:cs typeface="Gill Sans"/>
                <a:sym typeface="Gill Sans"/>
              </a:defRPr>
            </a:lvl3pPr>
            <a:lvl4pPr marL="1828800" marR="0" lvl="3" indent="-347154" algn="l" rtl="0">
              <a:lnSpc>
                <a:spcPct val="100000"/>
              </a:lnSpc>
              <a:spcBef>
                <a:spcPts val="400"/>
              </a:spcBef>
              <a:spcAft>
                <a:spcPts val="0"/>
              </a:spcAft>
              <a:buClr>
                <a:schemeClr val="dk2"/>
              </a:buClr>
              <a:buSzPts val="1867"/>
              <a:buFont typeface="Arial"/>
              <a:buChar char="–"/>
              <a:defRPr sz="1867" b="0" i="0" u="none" strike="noStrike" cap="none">
                <a:solidFill>
                  <a:schemeClr val="dk2"/>
                </a:solidFill>
                <a:latin typeface="Gill Sans"/>
                <a:ea typeface="Gill Sans"/>
                <a:cs typeface="Gill Sans"/>
                <a:sym typeface="Gill Sans"/>
              </a:defRPr>
            </a:lvl4pPr>
            <a:lvl5pPr marL="2286000" marR="0" lvl="4" indent="-330200" algn="l" rtl="0">
              <a:lnSpc>
                <a:spcPct val="90000"/>
              </a:lnSpc>
              <a:spcBef>
                <a:spcPts val="400"/>
              </a:spcBef>
              <a:spcAft>
                <a:spcPts val="0"/>
              </a:spcAft>
              <a:buClr>
                <a:schemeClr val="dk2"/>
              </a:buClr>
              <a:buSzPts val="1600"/>
              <a:buFont typeface="Arial"/>
              <a:buChar char="•"/>
              <a:defRPr sz="1600" b="0" i="0" u="none" strike="noStrike" cap="none">
                <a:solidFill>
                  <a:schemeClr val="dk2"/>
                </a:solidFill>
                <a:latin typeface="Gill Sans"/>
                <a:ea typeface="Gill Sans"/>
                <a:cs typeface="Gill Sans"/>
                <a:sym typeface="Gill Sans"/>
              </a:defRPr>
            </a:lvl5pPr>
            <a:lvl6pPr marL="2743200" marR="0" lvl="5"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6pPr>
            <a:lvl7pPr marL="3200400" marR="0" lvl="6"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7pPr>
            <a:lvl8pPr marL="3657600" marR="0" lvl="7"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8pPr>
            <a:lvl9pPr marL="4114800" marR="0" lvl="8" indent="-347154" algn="l" rtl="0">
              <a:lnSpc>
                <a:spcPct val="90000"/>
              </a:lnSpc>
              <a:spcBef>
                <a:spcPts val="500"/>
              </a:spcBef>
              <a:spcAft>
                <a:spcPts val="0"/>
              </a:spcAft>
              <a:buClr>
                <a:schemeClr val="dk1"/>
              </a:buClr>
              <a:buSzPts val="1867"/>
              <a:buFont typeface="Arial"/>
              <a:buChar char="•"/>
              <a:defRPr sz="1867" b="0" i="0" u="none" strike="noStrike" cap="none">
                <a:solidFill>
                  <a:schemeClr val="dk1"/>
                </a:solidFill>
                <a:latin typeface="Gill Sans"/>
                <a:ea typeface="Gill Sans"/>
                <a:cs typeface="Gill Sans"/>
                <a:sym typeface="Gill Sans"/>
              </a:defRPr>
            </a:lvl9pPr>
          </a:lstStyle>
          <a:p>
            <a:endParaRPr/>
          </a:p>
        </p:txBody>
      </p:sp>
    </p:spTree>
    <p:extLst>
      <p:ext uri="{BB962C8B-B14F-4D97-AF65-F5344CB8AC3E}">
        <p14:creationId xmlns:p14="http://schemas.microsoft.com/office/powerpoint/2010/main" val="107331032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Closing Slide - Teal">
  <p:cSld name="Closing Slide - Teal">
    <p:spTree>
      <p:nvGrpSpPr>
        <p:cNvPr id="1" name="Shape 71"/>
        <p:cNvGrpSpPr/>
        <p:nvPr/>
      </p:nvGrpSpPr>
      <p:grpSpPr>
        <a:xfrm>
          <a:off x="0" y="0"/>
          <a:ext cx="0" cy="0"/>
          <a:chOff x="0" y="0"/>
          <a:chExt cx="0" cy="0"/>
        </a:xfrm>
      </p:grpSpPr>
      <p:sp>
        <p:nvSpPr>
          <p:cNvPr id="72" name="Google Shape;72;p71"/>
          <p:cNvSpPr/>
          <p:nvPr/>
        </p:nvSpPr>
        <p:spPr>
          <a:xfrm>
            <a:off x="0" y="0"/>
            <a:ext cx="12192000" cy="68580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spcBef>
                <a:spcPts val="0"/>
              </a:spcBef>
              <a:spcAft>
                <a:spcPts val="0"/>
              </a:spcAft>
              <a:buNone/>
            </a:pPr>
            <a:endParaRPr sz="1333">
              <a:solidFill>
                <a:schemeClr val="lt1"/>
              </a:solidFill>
              <a:latin typeface="Gill Sans"/>
              <a:ea typeface="Gill Sans"/>
              <a:cs typeface="Gill Sans"/>
              <a:sym typeface="Gill Sans"/>
            </a:endParaRPr>
          </a:p>
        </p:txBody>
      </p:sp>
      <p:pic>
        <p:nvPicPr>
          <p:cNvPr id="73" name="Google Shape;73;p71" descr="Logo, company name&#10;&#10;Description automatically generated"/>
          <p:cNvPicPr preferRelativeResize="0"/>
          <p:nvPr/>
        </p:nvPicPr>
        <p:blipFill rotWithShape="1">
          <a:blip r:embed="rId2">
            <a:alphaModFix/>
          </a:blip>
          <a:srcRect/>
          <a:stretch/>
        </p:blipFill>
        <p:spPr>
          <a:xfrm>
            <a:off x="2202563" y="1364779"/>
            <a:ext cx="7786874" cy="4128441"/>
          </a:xfrm>
          <a:prstGeom prst="rect">
            <a:avLst/>
          </a:prstGeom>
          <a:noFill/>
          <a:ln>
            <a:noFill/>
          </a:ln>
        </p:spPr>
      </p:pic>
      <p:sp>
        <p:nvSpPr>
          <p:cNvPr id="74" name="Google Shape;74;p71"/>
          <p:cNvSpPr/>
          <p:nvPr/>
        </p:nvSpPr>
        <p:spPr>
          <a:xfrm>
            <a:off x="381000" y="352410"/>
            <a:ext cx="11400168" cy="6153150"/>
          </a:xfrm>
          <a:prstGeom prst="rect">
            <a:avLst/>
          </a:prstGeom>
          <a:noFill/>
          <a:ln w="76200" cap="flat" cmpd="dbl">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Gill Sans"/>
              <a:ea typeface="Gill Sans"/>
              <a:cs typeface="Gill Sans"/>
              <a:sym typeface="Gill Sans"/>
            </a:endParaRPr>
          </a:p>
        </p:txBody>
      </p:sp>
    </p:spTree>
    <p:extLst>
      <p:ext uri="{BB962C8B-B14F-4D97-AF65-F5344CB8AC3E}">
        <p14:creationId xmlns:p14="http://schemas.microsoft.com/office/powerpoint/2010/main" val="427391953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13971471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22344028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C0F110B9-1517-3066-42E8-A472B162F41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53470892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264329268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6071598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 name="Slide Number Placeholder 6">
            <a:extLst>
              <a:ext uri="{FF2B5EF4-FFF2-40B4-BE49-F238E27FC236}">
                <a16:creationId xmlns:a16="http://schemas.microsoft.com/office/drawing/2014/main" id="{788DF416-2BBB-0EC9-06AA-579A068F3BA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2145685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617272674"/>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7B012F-1451-ABBF-0E50-3329868DF237}"/>
              </a:ext>
            </a:extLst>
          </p:cNvPr>
          <p:cNvSpPr>
            <a:spLocks noGrp="1"/>
          </p:cNvSpPr>
          <p:nvPr>
            <p:ph type="dt" sz="half" idx="10"/>
          </p:nvPr>
        </p:nvSpPr>
        <p:spPr/>
        <p:txBody>
          <a:bodyPr/>
          <a:lstStyle/>
          <a:p>
            <a:fld id="{9B44E061-4B50-4794-B917-480E1A186465}" type="datetimeFigureOut">
              <a:rPr lang="fr-FR" smtClean="0"/>
              <a:t>06/07/2023</a:t>
            </a:fld>
            <a:endParaRPr lang="fr-FR" dirty="0"/>
          </a:p>
        </p:txBody>
      </p:sp>
      <p:sp>
        <p:nvSpPr>
          <p:cNvPr id="3" name="Footer Placeholder 2">
            <a:extLst>
              <a:ext uri="{FF2B5EF4-FFF2-40B4-BE49-F238E27FC236}">
                <a16:creationId xmlns:a16="http://schemas.microsoft.com/office/drawing/2014/main" id="{30102997-3F28-4684-1BFE-C2834B841F0F}"/>
              </a:ext>
            </a:extLst>
          </p:cNvPr>
          <p:cNvSpPr>
            <a:spLocks noGrp="1"/>
          </p:cNvSpPr>
          <p:nvPr>
            <p:ph type="ftr" sz="quarter" idx="11"/>
          </p:nvPr>
        </p:nvSpPr>
        <p:spPr/>
        <p:txBody>
          <a:bodyPr/>
          <a:lstStyle/>
          <a:p>
            <a:endParaRPr lang="fr-FR" dirty="0"/>
          </a:p>
        </p:txBody>
      </p:sp>
      <p:sp>
        <p:nvSpPr>
          <p:cNvPr id="4" name="Slide Number Placeholder 3">
            <a:extLst>
              <a:ext uri="{FF2B5EF4-FFF2-40B4-BE49-F238E27FC236}">
                <a16:creationId xmlns:a16="http://schemas.microsoft.com/office/drawing/2014/main" id="{C01BE2B1-DB0B-553A-8D60-459D0167CD3F}"/>
              </a:ext>
            </a:extLst>
          </p:cNvPr>
          <p:cNvSpPr>
            <a:spLocks noGrp="1"/>
          </p:cNvSpPr>
          <p:nvPr>
            <p:ph type="sldNum" sz="quarter" idx="12"/>
          </p:nvPr>
        </p:nvSpPr>
        <p:spPr/>
        <p:txBody>
          <a:bodyPr/>
          <a:lstStyle/>
          <a:p>
            <a:fld id="{4C086D7A-CAF7-4F02-A15A-30814B9E00AC}" type="slidenum">
              <a:rPr lang="fr-FR" smtClean="0"/>
              <a:t>‹#›</a:t>
            </a:fld>
            <a:endParaRPr lang="fr-FR" dirty="0"/>
          </a:p>
        </p:txBody>
      </p:sp>
    </p:spTree>
    <p:extLst>
      <p:ext uri="{BB962C8B-B14F-4D97-AF65-F5344CB8AC3E}">
        <p14:creationId xmlns:p14="http://schemas.microsoft.com/office/powerpoint/2010/main" val="394639262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47383045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2398502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326857381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endParaRPr lang="en-US" dirty="0"/>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957794322"/>
      </p:ext>
    </p:extLst>
  </p:cSld>
  <p:clrMapOvr>
    <a:overrideClrMapping bg1="lt1" tx1="dk1" bg2="lt2" tx2="dk2" accent1="accent1" accent2="accent2" accent3="accent3" accent4="accent4" accent5="accent5" accent6="accent6" hlink="hlink" folHlink="folHlink"/>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Title &amp; Single Text Box (Plum)">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889" t="13056" r="6668" b="72082"/>
          <a:stretch/>
        </p:blipFill>
        <p:spPr>
          <a:xfrm>
            <a:off x="0" y="1"/>
            <a:ext cx="12192000" cy="804613"/>
          </a:xfrm>
          <a:prstGeom prst="rect">
            <a:avLst/>
          </a:prstGeom>
        </p:spPr>
      </p:pic>
      <p:sp>
        <p:nvSpPr>
          <p:cNvPr id="20" name="Title 1"/>
          <p:cNvSpPr>
            <a:spLocks noGrp="1"/>
          </p:cNvSpPr>
          <p:nvPr>
            <p:ph type="title" hasCustomPrompt="1"/>
          </p:nvPr>
        </p:nvSpPr>
        <p:spPr>
          <a:xfrm>
            <a:off x="891732" y="979487"/>
            <a:ext cx="10429411" cy="505690"/>
          </a:xfrm>
        </p:spPr>
        <p:txBody>
          <a:bodyPr/>
          <a:lstStyle>
            <a:lvl1pPr>
              <a:lnSpc>
                <a:spcPct val="120000"/>
              </a:lnSpc>
              <a:spcBef>
                <a:spcPts val="1000"/>
              </a:spcBef>
              <a:spcAft>
                <a:spcPts val="0"/>
              </a:spcAft>
              <a:defRPr>
                <a:solidFill>
                  <a:schemeClr val="accent1"/>
                </a:solidFill>
              </a:defRPr>
            </a:lvl1pPr>
          </a:lstStyle>
          <a:p>
            <a:r>
              <a:rPr lang="en-US" dirty="0"/>
              <a:t>Intro/conclusion content – level 1</a:t>
            </a:r>
          </a:p>
        </p:txBody>
      </p:sp>
      <p:grpSp>
        <p:nvGrpSpPr>
          <p:cNvPr id="9" name="Group 8">
            <a:extLst>
              <a:ext uri="{FF2B5EF4-FFF2-40B4-BE49-F238E27FC236}">
                <a16:creationId xmlns:a16="http://schemas.microsoft.com/office/drawing/2014/main" id="{D6C9A266-3610-4B2F-8AF1-6A2D2D6705E5}"/>
              </a:ext>
            </a:extLst>
          </p:cNvPr>
          <p:cNvGrpSpPr/>
          <p:nvPr userDrawn="1"/>
        </p:nvGrpSpPr>
        <p:grpSpPr>
          <a:xfrm>
            <a:off x="0" y="260350"/>
            <a:ext cx="4301067" cy="268288"/>
            <a:chOff x="0" y="260350"/>
            <a:chExt cx="3225800" cy="268288"/>
          </a:xfrm>
        </p:grpSpPr>
        <p:pic>
          <p:nvPicPr>
            <p:cNvPr id="10" name="Picture 9">
              <a:extLst>
                <a:ext uri="{FF2B5EF4-FFF2-40B4-BE49-F238E27FC236}">
                  <a16:creationId xmlns:a16="http://schemas.microsoft.com/office/drawing/2014/main" id="{E182C17E-590B-4201-9030-B613EDB9C958}"/>
                </a:ext>
              </a:extLst>
            </p:cNvPr>
            <p:cNvPicPr>
              <a:picLocks noChangeAspect="1"/>
            </p:cNvPicPr>
            <p:nvPr userDrawn="1"/>
          </p:nvPicPr>
          <p:blipFill>
            <a:blip r:embed="rId3"/>
            <a:stretch>
              <a:fillRect/>
            </a:stretch>
          </p:blipFill>
          <p:spPr>
            <a:xfrm>
              <a:off x="0" y="261938"/>
              <a:ext cx="3225800" cy="266700"/>
            </a:xfrm>
            <a:prstGeom prst="rect">
              <a:avLst/>
            </a:prstGeom>
          </p:spPr>
        </p:pic>
        <p:sp>
          <p:nvSpPr>
            <p:cNvPr id="11" name="TextBox 10">
              <a:extLst>
                <a:ext uri="{FF2B5EF4-FFF2-40B4-BE49-F238E27FC236}">
                  <a16:creationId xmlns:a16="http://schemas.microsoft.com/office/drawing/2014/main" id="{FF3825A5-8508-4FEB-B44A-5F37C0A85CA1}"/>
                </a:ext>
              </a:extLst>
            </p:cNvPr>
            <p:cNvSpPr txBox="1"/>
            <p:nvPr userDrawn="1"/>
          </p:nvSpPr>
          <p:spPr>
            <a:xfrm>
              <a:off x="279397" y="318025"/>
              <a:ext cx="596317" cy="146194"/>
            </a:xfrm>
            <a:prstGeom prst="rect">
              <a:avLst/>
            </a:prstGeom>
            <a:noFill/>
          </p:spPr>
          <p:txBody>
            <a:bodyPr wrap="none" lIns="0" tIns="0" rIns="0" bIns="0" rtlCol="0">
              <a:spAutoFit/>
            </a:bodyPr>
            <a:lstStyle/>
            <a:p>
              <a:r>
                <a:rPr lang="en-US" sz="950" dirty="0">
                  <a:solidFill>
                    <a:srgbClr val="404040"/>
                  </a:solidFill>
                </a:rPr>
                <a:t>The Gallus Edge</a:t>
              </a:r>
            </a:p>
          </p:txBody>
        </p:sp>
        <p:cxnSp>
          <p:nvCxnSpPr>
            <p:cNvPr id="12" name="Straight Connector 11">
              <a:extLst>
                <a:ext uri="{FF2B5EF4-FFF2-40B4-BE49-F238E27FC236}">
                  <a16:creationId xmlns:a16="http://schemas.microsoft.com/office/drawing/2014/main" id="{CC2E3186-2729-4C6B-B252-F2B4D09A45B8}"/>
                </a:ext>
              </a:extLst>
            </p:cNvPr>
            <p:cNvCxnSpPr/>
            <p:nvPr userDrawn="1"/>
          </p:nvCxnSpPr>
          <p:spPr>
            <a:xfrm>
              <a:off x="1253053" y="260350"/>
              <a:ext cx="0" cy="266700"/>
            </a:xfrm>
            <a:prstGeom prst="line">
              <a:avLst/>
            </a:prstGeom>
            <a:ln w="12700">
              <a:solidFill>
                <a:srgbClr val="791E56"/>
              </a:solidFill>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E56CF000-936C-456A-82B7-0BD8D2E75305}"/>
                </a:ext>
              </a:extLst>
            </p:cNvPr>
            <p:cNvSpPr txBox="1"/>
            <p:nvPr userDrawn="1"/>
          </p:nvSpPr>
          <p:spPr>
            <a:xfrm>
              <a:off x="1394022" y="321294"/>
              <a:ext cx="1704180" cy="146194"/>
            </a:xfrm>
            <a:prstGeom prst="rect">
              <a:avLst/>
            </a:prstGeom>
            <a:noFill/>
          </p:spPr>
          <p:txBody>
            <a:bodyPr wrap="square" lIns="0" tIns="0" rIns="0" bIns="0" rtlCol="0">
              <a:spAutoFit/>
            </a:bodyPr>
            <a:lstStyle/>
            <a:p>
              <a:r>
                <a:rPr lang="en-US" sz="950" dirty="0">
                  <a:solidFill>
                    <a:srgbClr val="791E56"/>
                  </a:solidFill>
                </a:rPr>
                <a:t>MM4H</a:t>
              </a:r>
            </a:p>
          </p:txBody>
        </p:sp>
      </p:grpSp>
    </p:spTree>
    <p:extLst>
      <p:ext uri="{BB962C8B-B14F-4D97-AF65-F5344CB8AC3E}">
        <p14:creationId xmlns:p14="http://schemas.microsoft.com/office/powerpoint/2010/main" val="37736819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11710535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C0F110B9-1517-3066-42E8-A472B162F41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4719166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473210592"/>
      </p:ext>
    </p:extLst>
  </p:cSld>
  <p:clrMapOvr>
    <a:overrideClrMapping bg1="lt1" tx1="dk1" bg2="lt2" tx2="dk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59702313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dirty="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356950031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85379657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63"/>
        <p:cNvGrpSpPr/>
        <p:nvPr/>
      </p:nvGrpSpPr>
      <p:grpSpPr>
        <a:xfrm>
          <a:off x="0" y="0"/>
          <a:ext cx="0" cy="0"/>
          <a:chOff x="0" y="0"/>
          <a:chExt cx="0" cy="0"/>
        </a:xfrm>
      </p:grpSpPr>
      <p:sp>
        <p:nvSpPr>
          <p:cNvPr id="64" name="Google Shape;64;p122"/>
          <p:cNvSpPr txBox="1">
            <a:spLocks noGrp="1"/>
          </p:cNvSpPr>
          <p:nvPr>
            <p:ph type="subTitle" idx="1"/>
          </p:nvPr>
        </p:nvSpPr>
        <p:spPr>
          <a:xfrm>
            <a:off x="1524001" y="3602038"/>
            <a:ext cx="9144000" cy="1655762"/>
          </a:xfrm>
          <a:prstGeom prst="rect">
            <a:avLst/>
          </a:prstGeom>
          <a:noFill/>
          <a:ln>
            <a:noFill/>
          </a:ln>
        </p:spPr>
        <p:txBody>
          <a:bodyPr spcFirstLastPara="1" wrap="square" lIns="0" tIns="45700" rIns="0" bIns="45700" anchor="t" anchorCtr="0">
            <a:normAutofit/>
          </a:bodyPr>
          <a:lstStyle>
            <a:lvl1pPr lvl="0" algn="ctr">
              <a:lnSpc>
                <a:spcPct val="90000"/>
              </a:lnSpc>
              <a:spcBef>
                <a:spcPts val="1200"/>
              </a:spcBef>
              <a:spcAft>
                <a:spcPts val="0"/>
              </a:spcAft>
              <a:buSzPts val="1800"/>
              <a:buNone/>
              <a:defRPr sz="1800"/>
            </a:lvl1pPr>
            <a:lvl2pPr lvl="1" algn="ctr">
              <a:lnSpc>
                <a:spcPct val="90000"/>
              </a:lnSpc>
              <a:spcBef>
                <a:spcPts val="500"/>
              </a:spcBef>
              <a:spcAft>
                <a:spcPts val="0"/>
              </a:spcAft>
              <a:buSzPts val="1500"/>
              <a:buNone/>
              <a:defRPr sz="1500"/>
            </a:lvl2pPr>
            <a:lvl3pPr lvl="2" algn="ctr">
              <a:lnSpc>
                <a:spcPct val="90000"/>
              </a:lnSpc>
              <a:spcBef>
                <a:spcPts val="500"/>
              </a:spcBef>
              <a:spcAft>
                <a:spcPts val="0"/>
              </a:spcAft>
              <a:buSzPts val="1350"/>
              <a:buNone/>
              <a:defRPr sz="1350"/>
            </a:lvl3pPr>
            <a:lvl4pPr lvl="3" algn="ctr">
              <a:lnSpc>
                <a:spcPct val="90000"/>
              </a:lnSpc>
              <a:spcBef>
                <a:spcPts val="500"/>
              </a:spcBef>
              <a:spcAft>
                <a:spcPts val="0"/>
              </a:spcAft>
              <a:buClr>
                <a:schemeClr val="dk2"/>
              </a:buClr>
              <a:buSzPts val="1200"/>
              <a:buNone/>
              <a:defRPr sz="1200"/>
            </a:lvl4pPr>
            <a:lvl5pPr lvl="4" algn="ctr">
              <a:lnSpc>
                <a:spcPct val="90000"/>
              </a:lnSpc>
              <a:spcBef>
                <a:spcPts val="500"/>
              </a:spcBef>
              <a:spcAft>
                <a:spcPts val="0"/>
              </a:spcAft>
              <a:buClr>
                <a:schemeClr val="dk2"/>
              </a:buClr>
              <a:buSzPts val="1200"/>
              <a:buNone/>
              <a:defRPr sz="1200"/>
            </a:lvl5pPr>
            <a:lvl6pPr lvl="5" algn="ctr">
              <a:lnSpc>
                <a:spcPct val="90000"/>
              </a:lnSpc>
              <a:spcBef>
                <a:spcPts val="500"/>
              </a:spcBef>
              <a:spcAft>
                <a:spcPts val="0"/>
              </a:spcAft>
              <a:buClr>
                <a:schemeClr val="dk1"/>
              </a:buClr>
              <a:buSzPts val="1200"/>
              <a:buNone/>
              <a:defRPr sz="1200"/>
            </a:lvl6pPr>
            <a:lvl7pPr lvl="6" algn="ctr">
              <a:lnSpc>
                <a:spcPct val="90000"/>
              </a:lnSpc>
              <a:spcBef>
                <a:spcPts val="500"/>
              </a:spcBef>
              <a:spcAft>
                <a:spcPts val="0"/>
              </a:spcAft>
              <a:buClr>
                <a:schemeClr val="dk1"/>
              </a:buClr>
              <a:buSzPts val="1200"/>
              <a:buNone/>
              <a:defRPr sz="1200"/>
            </a:lvl7pPr>
            <a:lvl8pPr lvl="7" algn="ctr">
              <a:lnSpc>
                <a:spcPct val="90000"/>
              </a:lnSpc>
              <a:spcBef>
                <a:spcPts val="500"/>
              </a:spcBef>
              <a:spcAft>
                <a:spcPts val="0"/>
              </a:spcAft>
              <a:buClr>
                <a:schemeClr val="dk1"/>
              </a:buClr>
              <a:buSzPts val="1200"/>
              <a:buNone/>
              <a:defRPr sz="1200"/>
            </a:lvl8pPr>
            <a:lvl9pPr lvl="8" algn="ctr">
              <a:lnSpc>
                <a:spcPct val="90000"/>
              </a:lnSpc>
              <a:spcBef>
                <a:spcPts val="500"/>
              </a:spcBef>
              <a:spcAft>
                <a:spcPts val="0"/>
              </a:spcAft>
              <a:buClr>
                <a:schemeClr val="dk1"/>
              </a:buClr>
              <a:buSzPts val="1200"/>
              <a:buNone/>
              <a:defRPr sz="1200"/>
            </a:lvl9pPr>
          </a:lstStyle>
          <a:p>
            <a:endParaRPr/>
          </a:p>
        </p:txBody>
      </p:sp>
      <p:sp>
        <p:nvSpPr>
          <p:cNvPr id="65" name="Google Shape;65;p12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66" name="Google Shape;66;p122"/>
          <p:cNvSpPr txBox="1">
            <a:spLocks noGrp="1"/>
          </p:cNvSpPr>
          <p:nvPr>
            <p:ph type="ftr" idx="11"/>
          </p:nvPr>
        </p:nvSpPr>
        <p:spPr>
          <a:xfrm>
            <a:off x="631597" y="6299791"/>
            <a:ext cx="911442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8" name="Google Shape;68;p122"/>
          <p:cNvSpPr txBox="1">
            <a:spLocks noGrp="1"/>
          </p:cNvSpPr>
          <p:nvPr>
            <p:ph type="title"/>
          </p:nvPr>
        </p:nvSpPr>
        <p:spPr>
          <a:xfrm>
            <a:off x="631596" y="577850"/>
            <a:ext cx="10928808" cy="1112838"/>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rgbClr val="8470A9"/>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84378989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2"/>
        <p:cNvGrpSpPr/>
        <p:nvPr/>
      </p:nvGrpSpPr>
      <p:grpSpPr>
        <a:xfrm>
          <a:off x="0" y="0"/>
          <a:ext cx="0" cy="0"/>
          <a:chOff x="0" y="0"/>
          <a:chExt cx="0" cy="0"/>
        </a:xfrm>
      </p:grpSpPr>
      <p:sp>
        <p:nvSpPr>
          <p:cNvPr id="23" name="Google Shape;23;p92"/>
          <p:cNvSpPr txBox="1">
            <a:spLocks noGrp="1"/>
          </p:cNvSpPr>
          <p:nvPr>
            <p:ph type="title"/>
          </p:nvPr>
        </p:nvSpPr>
        <p:spPr>
          <a:xfrm>
            <a:off x="631596" y="577850"/>
            <a:ext cx="10928808" cy="1112838"/>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rgbClr val="8470A9"/>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92"/>
          <p:cNvSpPr txBox="1">
            <a:spLocks noGrp="1"/>
          </p:cNvSpPr>
          <p:nvPr>
            <p:ph type="body" idx="1"/>
          </p:nvPr>
        </p:nvSpPr>
        <p:spPr>
          <a:xfrm>
            <a:off x="631597" y="1905001"/>
            <a:ext cx="9114420" cy="4271963"/>
          </a:xfrm>
          <a:prstGeom prst="rect">
            <a:avLst/>
          </a:prstGeom>
          <a:noFill/>
          <a:ln>
            <a:noFill/>
          </a:ln>
        </p:spPr>
        <p:txBody>
          <a:bodyPr spcFirstLastPara="1" wrap="square" lIns="0" tIns="45700" rIns="0" bIns="45700" anchor="t" anchorCtr="0">
            <a:normAutofit/>
          </a:bodyPr>
          <a:lstStyle>
            <a:lvl1pPr marL="457200" lvl="0" indent="-342900" algn="l">
              <a:lnSpc>
                <a:spcPct val="90000"/>
              </a:lnSpc>
              <a:spcBef>
                <a:spcPts val="12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92"/>
          <p:cNvSpPr txBox="1">
            <a:spLocks noGrp="1"/>
          </p:cNvSpPr>
          <p:nvPr>
            <p:ph type="ftr" idx="11"/>
          </p:nvPr>
        </p:nvSpPr>
        <p:spPr>
          <a:xfrm>
            <a:off x="631597" y="6299791"/>
            <a:ext cx="911442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92"/>
          <p:cNvSpPr txBox="1">
            <a:spLocks noGrp="1"/>
          </p:cNvSpPr>
          <p:nvPr>
            <p:ph type="sldNum" idx="12"/>
          </p:nvPr>
        </p:nvSpPr>
        <p:spPr>
          <a:xfrm>
            <a:off x="1" y="6299791"/>
            <a:ext cx="631596"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23569977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2984" y="234954"/>
            <a:ext cx="11724216"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135590577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876171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ALL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938649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60661525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87916992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365482256"/>
      </p:ext>
    </p:extLst>
  </p:cSld>
  <p:clrMapOvr>
    <a:overrideClrMapping bg1="lt1" tx1="dk1" bg2="lt2" tx2="dk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2449362073"/>
      </p:ext>
    </p:extLst>
  </p:cSld>
  <p:clrMapOvr>
    <a:overrideClrMapping bg1="lt1" tx1="dk1" bg2="lt2" tx2="dk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949087723"/>
      </p:ext>
    </p:extLst>
  </p:cSld>
  <p:clrMapOvr>
    <a:overrideClrMapping bg1="lt1" tx1="dk1" bg2="lt2" tx2="dk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68147835"/>
      </p:ext>
    </p:extLst>
  </p:cSld>
  <p:clrMapOvr>
    <a:overrideClrMapping bg1="lt1" tx1="dk1" bg2="lt2" tx2="dk2" accent1="accent1" accent2="accent2" accent3="accent3" accent4="accent4" accent5="accent5" accent6="accent6" hlink="hlink" folHlink="folHlink"/>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64169169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953370387"/>
      </p:ext>
    </p:extLst>
  </p:cSld>
  <p:clrMapOvr>
    <a:overrideClrMapping bg1="lt1" tx1="dk1" bg2="lt2" tx2="dk2" accent1="accent1" accent2="accent2" accent3="accent3" accent4="accent4" accent5="accent5" accent6="accent6" hlink="hlink" folHlink="folHlink"/>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63050190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36147466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96660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3567420419"/>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6">
            <a:extLst>
              <a:ext uri="{FF2B5EF4-FFF2-40B4-BE49-F238E27FC236}">
                <a16:creationId xmlns:a16="http://schemas.microsoft.com/office/drawing/2014/main" id="{882F6CEE-E618-85AE-2D08-00D61589D93C}"/>
              </a:ext>
            </a:extLst>
          </p:cNvPr>
          <p:cNvSpPr>
            <a:spLocks noGrp="1"/>
          </p:cNvSpPr>
          <p:nvPr>
            <p:ph type="sldNum" sz="quarter" idx="10"/>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18849283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1D89A6-2965-894F-2659-21EE6BB35887}"/>
              </a:ext>
            </a:extLst>
          </p:cNvPr>
          <p:cNvSpPr>
            <a:spLocks noGrp="1"/>
          </p:cNvSpPr>
          <p:nvPr>
            <p:ph type="sldNum" sz="quarter" idx="10"/>
          </p:nvPr>
        </p:nvSpPr>
        <p:spPr/>
        <p:txBody>
          <a:bodyPr/>
          <a:lstStyle/>
          <a:p>
            <a:fld id="{4755468B-C2BA-8B42-ABD6-597061763577}" type="slidenum">
              <a:rPr lang="en-US" smtClean="0"/>
              <a:pPr/>
              <a:t>‹#›</a:t>
            </a:fld>
            <a:endParaRPr lang="en-US"/>
          </a:p>
        </p:txBody>
      </p:sp>
      <p:sp>
        <p:nvSpPr>
          <p:cNvPr id="4" name="Freeform 4">
            <a:extLst>
              <a:ext uri="{FF2B5EF4-FFF2-40B4-BE49-F238E27FC236}">
                <a16:creationId xmlns:a16="http://schemas.microsoft.com/office/drawing/2014/main" id="{D1AAC57B-14CE-ACB9-BA19-9F78A0AE1698}"/>
              </a:ext>
            </a:extLst>
          </p:cNvPr>
          <p:cNvSpPr/>
          <p:nvPr userDrawn="1"/>
        </p:nvSpPr>
        <p:spPr>
          <a:xfrm>
            <a:off x="2081157" y="629492"/>
            <a:ext cx="9651643" cy="5599016"/>
          </a:xfrm>
          <a:custGeom>
            <a:avLst/>
            <a:gdLst>
              <a:gd name="connsiteX0" fmla="*/ 7607668 w 8079933"/>
              <a:gd name="connsiteY0" fmla="*/ 4671984 h 4687251"/>
              <a:gd name="connsiteX1" fmla="*/ 7610056 w 8079933"/>
              <a:gd name="connsiteY1" fmla="*/ 4672092 h 4687251"/>
              <a:gd name="connsiteX2" fmla="*/ 7609404 w 8079933"/>
              <a:gd name="connsiteY2" fmla="*/ 4676423 h 4687251"/>
              <a:gd name="connsiteX3" fmla="*/ 7606474 w 8079933"/>
              <a:gd name="connsiteY3" fmla="*/ 4680213 h 4687251"/>
              <a:gd name="connsiteX4" fmla="*/ 7608536 w 8079933"/>
              <a:gd name="connsiteY4" fmla="*/ 4684544 h 4687251"/>
              <a:gd name="connsiteX5" fmla="*/ 7607450 w 8079933"/>
              <a:gd name="connsiteY5" fmla="*/ 4687251 h 4687251"/>
              <a:gd name="connsiteX6" fmla="*/ 7602676 w 8079933"/>
              <a:gd name="connsiteY6" fmla="*/ 4685194 h 4687251"/>
              <a:gd name="connsiteX7" fmla="*/ 7598335 w 8079933"/>
              <a:gd name="connsiteY7" fmla="*/ 4686926 h 4687251"/>
              <a:gd name="connsiteX8" fmla="*/ 7595948 w 8079933"/>
              <a:gd name="connsiteY8" fmla="*/ 4683678 h 4687251"/>
              <a:gd name="connsiteX9" fmla="*/ 2515090 w 8079933"/>
              <a:gd name="connsiteY9" fmla="*/ 4599009 h 4687251"/>
              <a:gd name="connsiteX10" fmla="*/ 2517477 w 8079933"/>
              <a:gd name="connsiteY10" fmla="*/ 4599009 h 4687251"/>
              <a:gd name="connsiteX11" fmla="*/ 2514221 w 8079933"/>
              <a:gd name="connsiteY11" fmla="*/ 4602258 h 4687251"/>
              <a:gd name="connsiteX12" fmla="*/ 2512160 w 8079933"/>
              <a:gd name="connsiteY12" fmla="*/ 4600742 h 4687251"/>
              <a:gd name="connsiteX13" fmla="*/ 2515090 w 8079933"/>
              <a:gd name="connsiteY13" fmla="*/ 4599009 h 4687251"/>
              <a:gd name="connsiteX14" fmla="*/ 2519647 w 8079933"/>
              <a:gd name="connsiteY14" fmla="*/ 4589589 h 4687251"/>
              <a:gd name="connsiteX15" fmla="*/ 2522795 w 8079933"/>
              <a:gd name="connsiteY15" fmla="*/ 4590781 h 4687251"/>
              <a:gd name="connsiteX16" fmla="*/ 2523446 w 8079933"/>
              <a:gd name="connsiteY16" fmla="*/ 4594353 h 4687251"/>
              <a:gd name="connsiteX17" fmla="*/ 2523229 w 8079933"/>
              <a:gd name="connsiteY17" fmla="*/ 4598359 h 4687251"/>
              <a:gd name="connsiteX18" fmla="*/ 2520516 w 8079933"/>
              <a:gd name="connsiteY18" fmla="*/ 4598143 h 4687251"/>
              <a:gd name="connsiteX19" fmla="*/ 2518237 w 8079933"/>
              <a:gd name="connsiteY19" fmla="*/ 4595653 h 4687251"/>
              <a:gd name="connsiteX20" fmla="*/ 2520950 w 8079933"/>
              <a:gd name="connsiteY20" fmla="*/ 4592188 h 4687251"/>
              <a:gd name="connsiteX21" fmla="*/ 2429470 w 8079933"/>
              <a:gd name="connsiteY21" fmla="*/ 4575623 h 4687251"/>
              <a:gd name="connsiteX22" fmla="*/ 2431423 w 8079933"/>
              <a:gd name="connsiteY22" fmla="*/ 4577247 h 4687251"/>
              <a:gd name="connsiteX23" fmla="*/ 2428711 w 8079933"/>
              <a:gd name="connsiteY23" fmla="*/ 4580279 h 4687251"/>
              <a:gd name="connsiteX24" fmla="*/ 2425564 w 8079933"/>
              <a:gd name="connsiteY24" fmla="*/ 4577464 h 4687251"/>
              <a:gd name="connsiteX25" fmla="*/ 2426757 w 8079933"/>
              <a:gd name="connsiteY25" fmla="*/ 4568693 h 4687251"/>
              <a:gd name="connsiteX26" fmla="*/ 2430121 w 8079933"/>
              <a:gd name="connsiteY26" fmla="*/ 4570318 h 4687251"/>
              <a:gd name="connsiteX27" fmla="*/ 2429796 w 8079933"/>
              <a:gd name="connsiteY27" fmla="*/ 4572916 h 4687251"/>
              <a:gd name="connsiteX28" fmla="*/ 2427083 w 8079933"/>
              <a:gd name="connsiteY28" fmla="*/ 4573024 h 4687251"/>
              <a:gd name="connsiteX29" fmla="*/ 2425564 w 8079933"/>
              <a:gd name="connsiteY29" fmla="*/ 4571509 h 4687251"/>
              <a:gd name="connsiteX30" fmla="*/ 2494254 w 8079933"/>
              <a:gd name="connsiteY30" fmla="*/ 4567611 h 4687251"/>
              <a:gd name="connsiteX31" fmla="*/ 2501634 w 8079933"/>
              <a:gd name="connsiteY31" fmla="*/ 4568261 h 4687251"/>
              <a:gd name="connsiteX32" fmla="*/ 2507493 w 8079933"/>
              <a:gd name="connsiteY32" fmla="*/ 4567828 h 4687251"/>
              <a:gd name="connsiteX33" fmla="*/ 2514438 w 8079933"/>
              <a:gd name="connsiteY33" fmla="*/ 4567611 h 4687251"/>
              <a:gd name="connsiteX34" fmla="*/ 2518887 w 8079933"/>
              <a:gd name="connsiteY34" fmla="*/ 4568803 h 4687251"/>
              <a:gd name="connsiteX35" fmla="*/ 2519755 w 8079933"/>
              <a:gd name="connsiteY35" fmla="*/ 4572916 h 4687251"/>
              <a:gd name="connsiteX36" fmla="*/ 2522143 w 8079933"/>
              <a:gd name="connsiteY36" fmla="*/ 4575299 h 4687251"/>
              <a:gd name="connsiteX37" fmla="*/ 2519755 w 8079933"/>
              <a:gd name="connsiteY37" fmla="*/ 4577789 h 4687251"/>
              <a:gd name="connsiteX38" fmla="*/ 2516174 w 8079933"/>
              <a:gd name="connsiteY38" fmla="*/ 4580171 h 4687251"/>
              <a:gd name="connsiteX39" fmla="*/ 2513896 w 8079933"/>
              <a:gd name="connsiteY39" fmla="*/ 4577248 h 4687251"/>
              <a:gd name="connsiteX40" fmla="*/ 2511291 w 8079933"/>
              <a:gd name="connsiteY40" fmla="*/ 4576056 h 4687251"/>
              <a:gd name="connsiteX41" fmla="*/ 2506842 w 8079933"/>
              <a:gd name="connsiteY41" fmla="*/ 4579197 h 4687251"/>
              <a:gd name="connsiteX42" fmla="*/ 2501308 w 8079933"/>
              <a:gd name="connsiteY42" fmla="*/ 4579413 h 4687251"/>
              <a:gd name="connsiteX43" fmla="*/ 2499246 w 8079933"/>
              <a:gd name="connsiteY43" fmla="*/ 4576598 h 4687251"/>
              <a:gd name="connsiteX44" fmla="*/ 2497184 w 8079933"/>
              <a:gd name="connsiteY44" fmla="*/ 4572050 h 4687251"/>
              <a:gd name="connsiteX45" fmla="*/ 2493603 w 8079933"/>
              <a:gd name="connsiteY45" fmla="*/ 4571942 h 4687251"/>
              <a:gd name="connsiteX46" fmla="*/ 2489914 w 8079933"/>
              <a:gd name="connsiteY46" fmla="*/ 4575732 h 4687251"/>
              <a:gd name="connsiteX47" fmla="*/ 2487201 w 8079933"/>
              <a:gd name="connsiteY47" fmla="*/ 4575732 h 4687251"/>
              <a:gd name="connsiteX48" fmla="*/ 2481558 w 8079933"/>
              <a:gd name="connsiteY48" fmla="*/ 4576598 h 4687251"/>
              <a:gd name="connsiteX49" fmla="*/ 2486007 w 8079933"/>
              <a:gd name="connsiteY49" fmla="*/ 4579954 h 4687251"/>
              <a:gd name="connsiteX50" fmla="*/ 2487201 w 8079933"/>
              <a:gd name="connsiteY50" fmla="*/ 4579413 h 4687251"/>
              <a:gd name="connsiteX51" fmla="*/ 2492844 w 8079933"/>
              <a:gd name="connsiteY51" fmla="*/ 4580712 h 4687251"/>
              <a:gd name="connsiteX52" fmla="*/ 2494906 w 8079933"/>
              <a:gd name="connsiteY52" fmla="*/ 4582336 h 4687251"/>
              <a:gd name="connsiteX53" fmla="*/ 2493386 w 8079933"/>
              <a:gd name="connsiteY53" fmla="*/ 4584068 h 4687251"/>
              <a:gd name="connsiteX54" fmla="*/ 2497293 w 8079933"/>
              <a:gd name="connsiteY54" fmla="*/ 4585693 h 4687251"/>
              <a:gd name="connsiteX55" fmla="*/ 2502393 w 8079933"/>
              <a:gd name="connsiteY55" fmla="*/ 4590023 h 4687251"/>
              <a:gd name="connsiteX56" fmla="*/ 2502393 w 8079933"/>
              <a:gd name="connsiteY56" fmla="*/ 4594246 h 4687251"/>
              <a:gd name="connsiteX57" fmla="*/ 2500440 w 8079933"/>
              <a:gd name="connsiteY57" fmla="*/ 4593921 h 4687251"/>
              <a:gd name="connsiteX58" fmla="*/ 2495122 w 8079933"/>
              <a:gd name="connsiteY58" fmla="*/ 4589157 h 4687251"/>
              <a:gd name="connsiteX59" fmla="*/ 2491650 w 8079933"/>
              <a:gd name="connsiteY59" fmla="*/ 4588183 h 4687251"/>
              <a:gd name="connsiteX60" fmla="*/ 2488069 w 8079933"/>
              <a:gd name="connsiteY60" fmla="*/ 4590132 h 4687251"/>
              <a:gd name="connsiteX61" fmla="*/ 2484597 w 8079933"/>
              <a:gd name="connsiteY61" fmla="*/ 4587750 h 4687251"/>
              <a:gd name="connsiteX62" fmla="*/ 2483077 w 8079933"/>
              <a:gd name="connsiteY62" fmla="*/ 4583419 h 4687251"/>
              <a:gd name="connsiteX63" fmla="*/ 2478086 w 8079933"/>
              <a:gd name="connsiteY63" fmla="*/ 4583960 h 4687251"/>
              <a:gd name="connsiteX64" fmla="*/ 2477543 w 8079933"/>
              <a:gd name="connsiteY64" fmla="*/ 4586126 h 4687251"/>
              <a:gd name="connsiteX65" fmla="*/ 2481124 w 8079933"/>
              <a:gd name="connsiteY65" fmla="*/ 4588183 h 4687251"/>
              <a:gd name="connsiteX66" fmla="*/ 2480690 w 8079933"/>
              <a:gd name="connsiteY66" fmla="*/ 4591864 h 4687251"/>
              <a:gd name="connsiteX67" fmla="*/ 2478628 w 8079933"/>
              <a:gd name="connsiteY67" fmla="*/ 4591972 h 4687251"/>
              <a:gd name="connsiteX68" fmla="*/ 2473094 w 8079933"/>
              <a:gd name="connsiteY68" fmla="*/ 4589482 h 4687251"/>
              <a:gd name="connsiteX69" fmla="*/ 2469947 w 8079933"/>
              <a:gd name="connsiteY69" fmla="*/ 4590782 h 4687251"/>
              <a:gd name="connsiteX70" fmla="*/ 2468753 w 8079933"/>
              <a:gd name="connsiteY70" fmla="*/ 4588399 h 4687251"/>
              <a:gd name="connsiteX71" fmla="*/ 2465498 w 8079933"/>
              <a:gd name="connsiteY71" fmla="*/ 4587209 h 4687251"/>
              <a:gd name="connsiteX72" fmla="*/ 2467017 w 8079933"/>
              <a:gd name="connsiteY72" fmla="*/ 4583636 h 4687251"/>
              <a:gd name="connsiteX73" fmla="*/ 2463545 w 8079933"/>
              <a:gd name="connsiteY73" fmla="*/ 4586559 h 4687251"/>
              <a:gd name="connsiteX74" fmla="*/ 2459855 w 8079933"/>
              <a:gd name="connsiteY74" fmla="*/ 4583744 h 4687251"/>
              <a:gd name="connsiteX75" fmla="*/ 2459964 w 8079933"/>
              <a:gd name="connsiteY75" fmla="*/ 4581687 h 4687251"/>
              <a:gd name="connsiteX76" fmla="*/ 2463761 w 8079933"/>
              <a:gd name="connsiteY76" fmla="*/ 4579846 h 4687251"/>
              <a:gd name="connsiteX77" fmla="*/ 2470706 w 8079933"/>
              <a:gd name="connsiteY77" fmla="*/ 4577248 h 4687251"/>
              <a:gd name="connsiteX78" fmla="*/ 2466800 w 8079933"/>
              <a:gd name="connsiteY78" fmla="*/ 4575299 h 4687251"/>
              <a:gd name="connsiteX79" fmla="*/ 2463978 w 8079933"/>
              <a:gd name="connsiteY79" fmla="*/ 4576706 h 4687251"/>
              <a:gd name="connsiteX80" fmla="*/ 2461374 w 8079933"/>
              <a:gd name="connsiteY80" fmla="*/ 4574324 h 4687251"/>
              <a:gd name="connsiteX81" fmla="*/ 2464738 w 8079933"/>
              <a:gd name="connsiteY81" fmla="*/ 4572591 h 4687251"/>
              <a:gd name="connsiteX82" fmla="*/ 2468536 w 8079933"/>
              <a:gd name="connsiteY82" fmla="*/ 4572591 h 4687251"/>
              <a:gd name="connsiteX83" fmla="*/ 2471032 w 8079933"/>
              <a:gd name="connsiteY83" fmla="*/ 4572050 h 4687251"/>
              <a:gd name="connsiteX84" fmla="*/ 2476566 w 8079933"/>
              <a:gd name="connsiteY84" fmla="*/ 4572916 h 4687251"/>
              <a:gd name="connsiteX85" fmla="*/ 2488069 w 8079933"/>
              <a:gd name="connsiteY85" fmla="*/ 4570318 h 4687251"/>
              <a:gd name="connsiteX86" fmla="*/ 2584759 w 8079933"/>
              <a:gd name="connsiteY86" fmla="*/ 4552236 h 4687251"/>
              <a:gd name="connsiteX87" fmla="*/ 2590293 w 8079933"/>
              <a:gd name="connsiteY87" fmla="*/ 4552561 h 4687251"/>
              <a:gd name="connsiteX88" fmla="*/ 2585952 w 8079933"/>
              <a:gd name="connsiteY88" fmla="*/ 4556567 h 4687251"/>
              <a:gd name="connsiteX89" fmla="*/ 2581069 w 8079933"/>
              <a:gd name="connsiteY89" fmla="*/ 4557758 h 4687251"/>
              <a:gd name="connsiteX90" fmla="*/ 2575860 w 8079933"/>
              <a:gd name="connsiteY90" fmla="*/ 4561114 h 4687251"/>
              <a:gd name="connsiteX91" fmla="*/ 2572062 w 8079933"/>
              <a:gd name="connsiteY91" fmla="*/ 4557758 h 4687251"/>
              <a:gd name="connsiteX92" fmla="*/ 2574992 w 8079933"/>
              <a:gd name="connsiteY92" fmla="*/ 4555918 h 4687251"/>
              <a:gd name="connsiteX93" fmla="*/ 2581503 w 8079933"/>
              <a:gd name="connsiteY93" fmla="*/ 4555593 h 4687251"/>
              <a:gd name="connsiteX94" fmla="*/ 2404619 w 8079933"/>
              <a:gd name="connsiteY94" fmla="*/ 4547040 h 4687251"/>
              <a:gd name="connsiteX95" fmla="*/ 2406790 w 8079933"/>
              <a:gd name="connsiteY95" fmla="*/ 4548014 h 4687251"/>
              <a:gd name="connsiteX96" fmla="*/ 2405922 w 8079933"/>
              <a:gd name="connsiteY96" fmla="*/ 4549314 h 4687251"/>
              <a:gd name="connsiteX97" fmla="*/ 2403643 w 8079933"/>
              <a:gd name="connsiteY97" fmla="*/ 4552887 h 4687251"/>
              <a:gd name="connsiteX98" fmla="*/ 2400496 w 8079933"/>
              <a:gd name="connsiteY98" fmla="*/ 4553861 h 4687251"/>
              <a:gd name="connsiteX99" fmla="*/ 2400496 w 8079933"/>
              <a:gd name="connsiteY99" fmla="*/ 4550722 h 4687251"/>
              <a:gd name="connsiteX100" fmla="*/ 2403209 w 8079933"/>
              <a:gd name="connsiteY100" fmla="*/ 4547581 h 4687251"/>
              <a:gd name="connsiteX101" fmla="*/ 2435656 w 8079933"/>
              <a:gd name="connsiteY101" fmla="*/ 4544766 h 4687251"/>
              <a:gd name="connsiteX102" fmla="*/ 2440105 w 8079933"/>
              <a:gd name="connsiteY102" fmla="*/ 4547148 h 4687251"/>
              <a:gd name="connsiteX103" fmla="*/ 2448135 w 8079933"/>
              <a:gd name="connsiteY103" fmla="*/ 4550396 h 4687251"/>
              <a:gd name="connsiteX104" fmla="*/ 2450196 w 8079933"/>
              <a:gd name="connsiteY104" fmla="*/ 4551262 h 4687251"/>
              <a:gd name="connsiteX105" fmla="*/ 2452041 w 8079933"/>
              <a:gd name="connsiteY105" fmla="*/ 4549746 h 4687251"/>
              <a:gd name="connsiteX106" fmla="*/ 2450523 w 8079933"/>
              <a:gd name="connsiteY106" fmla="*/ 4547689 h 4687251"/>
              <a:gd name="connsiteX107" fmla="*/ 2450848 w 8079933"/>
              <a:gd name="connsiteY107" fmla="*/ 4545740 h 4687251"/>
              <a:gd name="connsiteX108" fmla="*/ 2456382 w 8079933"/>
              <a:gd name="connsiteY108" fmla="*/ 4547689 h 4687251"/>
              <a:gd name="connsiteX109" fmla="*/ 2468428 w 8079933"/>
              <a:gd name="connsiteY109" fmla="*/ 4551262 h 4687251"/>
              <a:gd name="connsiteX110" fmla="*/ 2476675 w 8079933"/>
              <a:gd name="connsiteY110" fmla="*/ 4554402 h 4687251"/>
              <a:gd name="connsiteX111" fmla="*/ 2481124 w 8079933"/>
              <a:gd name="connsiteY111" fmla="*/ 4557325 h 4687251"/>
              <a:gd name="connsiteX112" fmla="*/ 2483837 w 8079933"/>
              <a:gd name="connsiteY112" fmla="*/ 4557217 h 4687251"/>
              <a:gd name="connsiteX113" fmla="*/ 2486116 w 8079933"/>
              <a:gd name="connsiteY113" fmla="*/ 4566203 h 4687251"/>
              <a:gd name="connsiteX114" fmla="*/ 2480690 w 8079933"/>
              <a:gd name="connsiteY114" fmla="*/ 4566203 h 4687251"/>
              <a:gd name="connsiteX115" fmla="*/ 2481124 w 8079933"/>
              <a:gd name="connsiteY115" fmla="*/ 4568802 h 4687251"/>
              <a:gd name="connsiteX116" fmla="*/ 2478737 w 8079933"/>
              <a:gd name="connsiteY116" fmla="*/ 4570318 h 4687251"/>
              <a:gd name="connsiteX117" fmla="*/ 2459855 w 8079933"/>
              <a:gd name="connsiteY117" fmla="*/ 4565554 h 4687251"/>
              <a:gd name="connsiteX118" fmla="*/ 2455622 w 8079933"/>
              <a:gd name="connsiteY118" fmla="*/ 4567611 h 4687251"/>
              <a:gd name="connsiteX119" fmla="*/ 2445530 w 8079933"/>
              <a:gd name="connsiteY119" fmla="*/ 4571509 h 4687251"/>
              <a:gd name="connsiteX120" fmla="*/ 2448135 w 8079933"/>
              <a:gd name="connsiteY120" fmla="*/ 4573241 h 4687251"/>
              <a:gd name="connsiteX121" fmla="*/ 2451282 w 8079933"/>
              <a:gd name="connsiteY121" fmla="*/ 4573999 h 4687251"/>
              <a:gd name="connsiteX122" fmla="*/ 2450631 w 8079933"/>
              <a:gd name="connsiteY122" fmla="*/ 4576056 h 4687251"/>
              <a:gd name="connsiteX123" fmla="*/ 2447810 w 8079933"/>
              <a:gd name="connsiteY123" fmla="*/ 4578005 h 4687251"/>
              <a:gd name="connsiteX124" fmla="*/ 2444337 w 8079933"/>
              <a:gd name="connsiteY124" fmla="*/ 4576489 h 4687251"/>
              <a:gd name="connsiteX125" fmla="*/ 2443143 w 8079933"/>
              <a:gd name="connsiteY125" fmla="*/ 4576705 h 4687251"/>
              <a:gd name="connsiteX126" fmla="*/ 2443794 w 8079933"/>
              <a:gd name="connsiteY126" fmla="*/ 4579196 h 4687251"/>
              <a:gd name="connsiteX127" fmla="*/ 2448461 w 8079933"/>
              <a:gd name="connsiteY127" fmla="*/ 4582011 h 4687251"/>
              <a:gd name="connsiteX128" fmla="*/ 2451391 w 8079933"/>
              <a:gd name="connsiteY128" fmla="*/ 4584068 h 4687251"/>
              <a:gd name="connsiteX129" fmla="*/ 2450739 w 8079933"/>
              <a:gd name="connsiteY129" fmla="*/ 4585692 h 4687251"/>
              <a:gd name="connsiteX130" fmla="*/ 2447918 w 8079933"/>
              <a:gd name="connsiteY130" fmla="*/ 4585692 h 4687251"/>
              <a:gd name="connsiteX131" fmla="*/ 2444012 w 8079933"/>
              <a:gd name="connsiteY131" fmla="*/ 4581686 h 4687251"/>
              <a:gd name="connsiteX132" fmla="*/ 2441190 w 8079933"/>
              <a:gd name="connsiteY132" fmla="*/ 4580495 h 4687251"/>
              <a:gd name="connsiteX133" fmla="*/ 2438151 w 8079933"/>
              <a:gd name="connsiteY133" fmla="*/ 4580604 h 4687251"/>
              <a:gd name="connsiteX134" fmla="*/ 2435439 w 8079933"/>
              <a:gd name="connsiteY134" fmla="*/ 4577572 h 4687251"/>
              <a:gd name="connsiteX135" fmla="*/ 2437500 w 8079933"/>
              <a:gd name="connsiteY135" fmla="*/ 4573241 h 4687251"/>
              <a:gd name="connsiteX136" fmla="*/ 2440973 w 8079933"/>
              <a:gd name="connsiteY136" fmla="*/ 4571617 h 4687251"/>
              <a:gd name="connsiteX137" fmla="*/ 2438043 w 8079933"/>
              <a:gd name="connsiteY137" fmla="*/ 4569776 h 4687251"/>
              <a:gd name="connsiteX138" fmla="*/ 2438043 w 8079933"/>
              <a:gd name="connsiteY138" fmla="*/ 4567070 h 4687251"/>
              <a:gd name="connsiteX139" fmla="*/ 2436632 w 8079933"/>
              <a:gd name="connsiteY139" fmla="*/ 4565337 h 4687251"/>
              <a:gd name="connsiteX140" fmla="*/ 2434245 w 8079933"/>
              <a:gd name="connsiteY140" fmla="*/ 4566421 h 4687251"/>
              <a:gd name="connsiteX141" fmla="*/ 2429687 w 8079933"/>
              <a:gd name="connsiteY141" fmla="*/ 4563389 h 4687251"/>
              <a:gd name="connsiteX142" fmla="*/ 2426866 w 8079933"/>
              <a:gd name="connsiteY142" fmla="*/ 4562089 h 4687251"/>
              <a:gd name="connsiteX143" fmla="*/ 2425563 w 8079933"/>
              <a:gd name="connsiteY143" fmla="*/ 4563064 h 4687251"/>
              <a:gd name="connsiteX144" fmla="*/ 2424262 w 8079933"/>
              <a:gd name="connsiteY144" fmla="*/ 4565229 h 4687251"/>
              <a:gd name="connsiteX145" fmla="*/ 2420029 w 8079933"/>
              <a:gd name="connsiteY145" fmla="*/ 4565446 h 4687251"/>
              <a:gd name="connsiteX146" fmla="*/ 2414821 w 8079933"/>
              <a:gd name="connsiteY146" fmla="*/ 4564471 h 4687251"/>
              <a:gd name="connsiteX147" fmla="*/ 2414061 w 8079933"/>
              <a:gd name="connsiteY147" fmla="*/ 4561764 h 4687251"/>
              <a:gd name="connsiteX148" fmla="*/ 2418619 w 8079933"/>
              <a:gd name="connsiteY148" fmla="*/ 4560682 h 4687251"/>
              <a:gd name="connsiteX149" fmla="*/ 2422417 w 8079933"/>
              <a:gd name="connsiteY149" fmla="*/ 4561440 h 4687251"/>
              <a:gd name="connsiteX150" fmla="*/ 2423176 w 8079933"/>
              <a:gd name="connsiteY150" fmla="*/ 4560140 h 4687251"/>
              <a:gd name="connsiteX151" fmla="*/ 2421440 w 8079933"/>
              <a:gd name="connsiteY151" fmla="*/ 4558408 h 4687251"/>
              <a:gd name="connsiteX152" fmla="*/ 2423176 w 8079933"/>
              <a:gd name="connsiteY152" fmla="*/ 4557325 h 4687251"/>
              <a:gd name="connsiteX153" fmla="*/ 2431098 w 8079933"/>
              <a:gd name="connsiteY153" fmla="*/ 4556784 h 4687251"/>
              <a:gd name="connsiteX154" fmla="*/ 2433919 w 8079933"/>
              <a:gd name="connsiteY154" fmla="*/ 4556243 h 4687251"/>
              <a:gd name="connsiteX155" fmla="*/ 2433485 w 8079933"/>
              <a:gd name="connsiteY155" fmla="*/ 4553103 h 4687251"/>
              <a:gd name="connsiteX156" fmla="*/ 2435113 w 8079933"/>
              <a:gd name="connsiteY156" fmla="*/ 4551803 h 4687251"/>
              <a:gd name="connsiteX157" fmla="*/ 2439996 w 8079933"/>
              <a:gd name="connsiteY157" fmla="*/ 4554835 h 4687251"/>
              <a:gd name="connsiteX158" fmla="*/ 2441407 w 8079933"/>
              <a:gd name="connsiteY158" fmla="*/ 4557542 h 4687251"/>
              <a:gd name="connsiteX159" fmla="*/ 2443143 w 8079933"/>
              <a:gd name="connsiteY159" fmla="*/ 4557217 h 4687251"/>
              <a:gd name="connsiteX160" fmla="*/ 2443360 w 8079933"/>
              <a:gd name="connsiteY160" fmla="*/ 4555268 h 4687251"/>
              <a:gd name="connsiteX161" fmla="*/ 2444337 w 8079933"/>
              <a:gd name="connsiteY161" fmla="*/ 4554835 h 4687251"/>
              <a:gd name="connsiteX162" fmla="*/ 2447375 w 8079933"/>
              <a:gd name="connsiteY162" fmla="*/ 4554835 h 4687251"/>
              <a:gd name="connsiteX163" fmla="*/ 2446725 w 8079933"/>
              <a:gd name="connsiteY163" fmla="*/ 4552995 h 4687251"/>
              <a:gd name="connsiteX164" fmla="*/ 2436416 w 8079933"/>
              <a:gd name="connsiteY164" fmla="*/ 4548123 h 4687251"/>
              <a:gd name="connsiteX165" fmla="*/ 2434571 w 8079933"/>
              <a:gd name="connsiteY165" fmla="*/ 4545849 h 4687251"/>
              <a:gd name="connsiteX166" fmla="*/ 2386606 w 8079933"/>
              <a:gd name="connsiteY166" fmla="*/ 4544332 h 4687251"/>
              <a:gd name="connsiteX167" fmla="*/ 2389102 w 8079933"/>
              <a:gd name="connsiteY167" fmla="*/ 4546714 h 4687251"/>
              <a:gd name="connsiteX168" fmla="*/ 2387366 w 8079933"/>
              <a:gd name="connsiteY168" fmla="*/ 4548338 h 4687251"/>
              <a:gd name="connsiteX169" fmla="*/ 2385303 w 8079933"/>
              <a:gd name="connsiteY169" fmla="*/ 4546930 h 4687251"/>
              <a:gd name="connsiteX170" fmla="*/ 2384110 w 8079933"/>
              <a:gd name="connsiteY170" fmla="*/ 4546173 h 4687251"/>
              <a:gd name="connsiteX171" fmla="*/ 2413192 w 8079933"/>
              <a:gd name="connsiteY171" fmla="*/ 4539568 h 4687251"/>
              <a:gd name="connsiteX172" fmla="*/ 2421656 w 8079933"/>
              <a:gd name="connsiteY172" fmla="*/ 4541842 h 4687251"/>
              <a:gd name="connsiteX173" fmla="*/ 2423609 w 8079933"/>
              <a:gd name="connsiteY173" fmla="*/ 4544873 h 4687251"/>
              <a:gd name="connsiteX174" fmla="*/ 2425779 w 8079933"/>
              <a:gd name="connsiteY174" fmla="*/ 4542816 h 4687251"/>
              <a:gd name="connsiteX175" fmla="*/ 2428058 w 8079933"/>
              <a:gd name="connsiteY175" fmla="*/ 4542384 h 4687251"/>
              <a:gd name="connsiteX176" fmla="*/ 2430011 w 8079933"/>
              <a:gd name="connsiteY176" fmla="*/ 4543574 h 4687251"/>
              <a:gd name="connsiteX177" fmla="*/ 2428167 w 8079933"/>
              <a:gd name="connsiteY177" fmla="*/ 4547147 h 4687251"/>
              <a:gd name="connsiteX178" fmla="*/ 2429360 w 8079933"/>
              <a:gd name="connsiteY178" fmla="*/ 4549854 h 4687251"/>
              <a:gd name="connsiteX179" fmla="*/ 2426539 w 8079933"/>
              <a:gd name="connsiteY179" fmla="*/ 4552019 h 4687251"/>
              <a:gd name="connsiteX180" fmla="*/ 2422633 w 8079933"/>
              <a:gd name="connsiteY180" fmla="*/ 4550829 h 4687251"/>
              <a:gd name="connsiteX181" fmla="*/ 2421113 w 8079933"/>
              <a:gd name="connsiteY181" fmla="*/ 4548554 h 4687251"/>
              <a:gd name="connsiteX182" fmla="*/ 2419051 w 8079933"/>
              <a:gd name="connsiteY182" fmla="*/ 4550395 h 4687251"/>
              <a:gd name="connsiteX183" fmla="*/ 2416338 w 8079933"/>
              <a:gd name="connsiteY183" fmla="*/ 4547905 h 4687251"/>
              <a:gd name="connsiteX184" fmla="*/ 2412107 w 8079933"/>
              <a:gd name="connsiteY184" fmla="*/ 4547256 h 4687251"/>
              <a:gd name="connsiteX185" fmla="*/ 2410045 w 8079933"/>
              <a:gd name="connsiteY185" fmla="*/ 4549313 h 4687251"/>
              <a:gd name="connsiteX186" fmla="*/ 2407875 w 8079933"/>
              <a:gd name="connsiteY186" fmla="*/ 4545523 h 4687251"/>
              <a:gd name="connsiteX187" fmla="*/ 2405162 w 8079933"/>
              <a:gd name="connsiteY187" fmla="*/ 4544007 h 4687251"/>
              <a:gd name="connsiteX188" fmla="*/ 2405162 w 8079933"/>
              <a:gd name="connsiteY188" fmla="*/ 4541625 h 4687251"/>
              <a:gd name="connsiteX189" fmla="*/ 2411564 w 8079933"/>
              <a:gd name="connsiteY189" fmla="*/ 4541084 h 4687251"/>
              <a:gd name="connsiteX190" fmla="*/ 2352424 w 8079933"/>
              <a:gd name="connsiteY190" fmla="*/ 4525385 h 4687251"/>
              <a:gd name="connsiteX191" fmla="*/ 2352424 w 8079933"/>
              <a:gd name="connsiteY191" fmla="*/ 4525386 h 4687251"/>
              <a:gd name="connsiteX192" fmla="*/ 2355461 w 8079933"/>
              <a:gd name="connsiteY192" fmla="*/ 4528525 h 4687251"/>
              <a:gd name="connsiteX193" fmla="*/ 2350362 w 8079933"/>
              <a:gd name="connsiteY193" fmla="*/ 4527009 h 4687251"/>
              <a:gd name="connsiteX194" fmla="*/ 2368810 w 8079933"/>
              <a:gd name="connsiteY194" fmla="*/ 4525060 h 4687251"/>
              <a:gd name="connsiteX195" fmla="*/ 2371306 w 8079933"/>
              <a:gd name="connsiteY195" fmla="*/ 4527442 h 4687251"/>
              <a:gd name="connsiteX196" fmla="*/ 2373585 w 8079933"/>
              <a:gd name="connsiteY196" fmla="*/ 4528525 h 4687251"/>
              <a:gd name="connsiteX197" fmla="*/ 2377817 w 8079933"/>
              <a:gd name="connsiteY197" fmla="*/ 4526793 h 4687251"/>
              <a:gd name="connsiteX198" fmla="*/ 2382917 w 8079933"/>
              <a:gd name="connsiteY198" fmla="*/ 4526576 h 4687251"/>
              <a:gd name="connsiteX199" fmla="*/ 2389537 w 8079933"/>
              <a:gd name="connsiteY199" fmla="*/ 4531340 h 4687251"/>
              <a:gd name="connsiteX200" fmla="*/ 2392467 w 8079933"/>
              <a:gd name="connsiteY200" fmla="*/ 4532639 h 4687251"/>
              <a:gd name="connsiteX201" fmla="*/ 2393661 w 8079933"/>
              <a:gd name="connsiteY201" fmla="*/ 4535238 h 4687251"/>
              <a:gd name="connsiteX202" fmla="*/ 2398544 w 8079933"/>
              <a:gd name="connsiteY202" fmla="*/ 4533722 h 4687251"/>
              <a:gd name="connsiteX203" fmla="*/ 2401908 w 8079933"/>
              <a:gd name="connsiteY203" fmla="*/ 4535129 h 4687251"/>
              <a:gd name="connsiteX204" fmla="*/ 2403536 w 8079933"/>
              <a:gd name="connsiteY204" fmla="*/ 4538594 h 4687251"/>
              <a:gd name="connsiteX205" fmla="*/ 2400063 w 8079933"/>
              <a:gd name="connsiteY205" fmla="*/ 4538378 h 4687251"/>
              <a:gd name="connsiteX206" fmla="*/ 2397676 w 8079933"/>
              <a:gd name="connsiteY206" fmla="*/ 4539460 h 4687251"/>
              <a:gd name="connsiteX207" fmla="*/ 2399629 w 8079933"/>
              <a:gd name="connsiteY207" fmla="*/ 4540868 h 4687251"/>
              <a:gd name="connsiteX208" fmla="*/ 2399846 w 8079933"/>
              <a:gd name="connsiteY208" fmla="*/ 4543358 h 4687251"/>
              <a:gd name="connsiteX209" fmla="*/ 2396265 w 8079933"/>
              <a:gd name="connsiteY209" fmla="*/ 4546715 h 4687251"/>
              <a:gd name="connsiteX210" fmla="*/ 2397567 w 8079933"/>
              <a:gd name="connsiteY210" fmla="*/ 4548988 h 4687251"/>
              <a:gd name="connsiteX211" fmla="*/ 2394204 w 8079933"/>
              <a:gd name="connsiteY211" fmla="*/ 4550395 h 4687251"/>
              <a:gd name="connsiteX212" fmla="*/ 2391164 w 8079933"/>
              <a:gd name="connsiteY212" fmla="*/ 4547472 h 4687251"/>
              <a:gd name="connsiteX213" fmla="*/ 2390731 w 8079933"/>
              <a:gd name="connsiteY213" fmla="*/ 4544224 h 4687251"/>
              <a:gd name="connsiteX214" fmla="*/ 2388235 w 8079933"/>
              <a:gd name="connsiteY214" fmla="*/ 4542709 h 4687251"/>
              <a:gd name="connsiteX215" fmla="*/ 2382917 w 8079933"/>
              <a:gd name="connsiteY215" fmla="*/ 4543683 h 4687251"/>
              <a:gd name="connsiteX216" fmla="*/ 2379445 w 8079933"/>
              <a:gd name="connsiteY216" fmla="*/ 4543142 h 4687251"/>
              <a:gd name="connsiteX217" fmla="*/ 2374670 w 8079933"/>
              <a:gd name="connsiteY217" fmla="*/ 4537511 h 4687251"/>
              <a:gd name="connsiteX218" fmla="*/ 2370221 w 8079933"/>
              <a:gd name="connsiteY218" fmla="*/ 4536428 h 4687251"/>
              <a:gd name="connsiteX219" fmla="*/ 2368484 w 8079933"/>
              <a:gd name="connsiteY219" fmla="*/ 4532206 h 4687251"/>
              <a:gd name="connsiteX220" fmla="*/ 2364035 w 8079933"/>
              <a:gd name="connsiteY220" fmla="*/ 4529824 h 4687251"/>
              <a:gd name="connsiteX221" fmla="*/ 2363710 w 8079933"/>
              <a:gd name="connsiteY221" fmla="*/ 4527334 h 4687251"/>
              <a:gd name="connsiteX222" fmla="*/ 2365120 w 8079933"/>
              <a:gd name="connsiteY222" fmla="*/ 4525385 h 4687251"/>
              <a:gd name="connsiteX223" fmla="*/ 7729206 w 8079933"/>
              <a:gd name="connsiteY223" fmla="*/ 4521163 h 4687251"/>
              <a:gd name="connsiteX224" fmla="*/ 7728663 w 8079933"/>
              <a:gd name="connsiteY224" fmla="*/ 4523220 h 4687251"/>
              <a:gd name="connsiteX225" fmla="*/ 7726493 w 8079933"/>
              <a:gd name="connsiteY225" fmla="*/ 4522787 h 4687251"/>
              <a:gd name="connsiteX226" fmla="*/ 2433051 w 8079933"/>
              <a:gd name="connsiteY226" fmla="*/ 4519322 h 4687251"/>
              <a:gd name="connsiteX227" fmla="*/ 2435872 w 8079933"/>
              <a:gd name="connsiteY227" fmla="*/ 4521055 h 4687251"/>
              <a:gd name="connsiteX228" fmla="*/ 2436740 w 8079933"/>
              <a:gd name="connsiteY228" fmla="*/ 4526035 h 4687251"/>
              <a:gd name="connsiteX229" fmla="*/ 2439780 w 8079933"/>
              <a:gd name="connsiteY229" fmla="*/ 4530583 h 4687251"/>
              <a:gd name="connsiteX230" fmla="*/ 2439237 w 8079933"/>
              <a:gd name="connsiteY230" fmla="*/ 4532315 h 4687251"/>
              <a:gd name="connsiteX231" fmla="*/ 2441298 w 8079933"/>
              <a:gd name="connsiteY231" fmla="*/ 4535021 h 4687251"/>
              <a:gd name="connsiteX232" fmla="*/ 2438151 w 8079933"/>
              <a:gd name="connsiteY232" fmla="*/ 4538161 h 4687251"/>
              <a:gd name="connsiteX233" fmla="*/ 2443360 w 8079933"/>
              <a:gd name="connsiteY233" fmla="*/ 4541951 h 4687251"/>
              <a:gd name="connsiteX234" fmla="*/ 2441624 w 8079933"/>
              <a:gd name="connsiteY234" fmla="*/ 4544116 h 4687251"/>
              <a:gd name="connsiteX235" fmla="*/ 2439997 w 8079933"/>
              <a:gd name="connsiteY235" fmla="*/ 4542600 h 4687251"/>
              <a:gd name="connsiteX236" fmla="*/ 2435438 w 8079933"/>
              <a:gd name="connsiteY236" fmla="*/ 4541410 h 4687251"/>
              <a:gd name="connsiteX237" fmla="*/ 2431206 w 8079933"/>
              <a:gd name="connsiteY237" fmla="*/ 4539028 h 4687251"/>
              <a:gd name="connsiteX238" fmla="*/ 2431206 w 8079933"/>
              <a:gd name="connsiteY238" fmla="*/ 4535455 h 4687251"/>
              <a:gd name="connsiteX239" fmla="*/ 2432834 w 8079933"/>
              <a:gd name="connsiteY239" fmla="*/ 4532640 h 4687251"/>
              <a:gd name="connsiteX240" fmla="*/ 2430664 w 8079933"/>
              <a:gd name="connsiteY240" fmla="*/ 4528526 h 4687251"/>
              <a:gd name="connsiteX241" fmla="*/ 2432292 w 8079933"/>
              <a:gd name="connsiteY241" fmla="*/ 4524086 h 4687251"/>
              <a:gd name="connsiteX242" fmla="*/ 8009722 w 8079933"/>
              <a:gd name="connsiteY242" fmla="*/ 4515155 h 4687251"/>
              <a:gd name="connsiteX243" fmla="*/ 8009506 w 8079933"/>
              <a:gd name="connsiteY243" fmla="*/ 4517645 h 4687251"/>
              <a:gd name="connsiteX244" fmla="*/ 8007335 w 8079933"/>
              <a:gd name="connsiteY244" fmla="*/ 4517212 h 4687251"/>
              <a:gd name="connsiteX245" fmla="*/ 8006358 w 8079933"/>
              <a:gd name="connsiteY245" fmla="*/ 4515480 h 4687251"/>
              <a:gd name="connsiteX246" fmla="*/ 7713255 w 8079933"/>
              <a:gd name="connsiteY246" fmla="*/ 4510986 h 4687251"/>
              <a:gd name="connsiteX247" fmla="*/ 7717379 w 8079933"/>
              <a:gd name="connsiteY247" fmla="*/ 4515100 h 4687251"/>
              <a:gd name="connsiteX248" fmla="*/ 7719440 w 8079933"/>
              <a:gd name="connsiteY248" fmla="*/ 4520189 h 4687251"/>
              <a:gd name="connsiteX249" fmla="*/ 7720200 w 8079933"/>
              <a:gd name="connsiteY249" fmla="*/ 4521705 h 4687251"/>
              <a:gd name="connsiteX250" fmla="*/ 7719983 w 8079933"/>
              <a:gd name="connsiteY250" fmla="*/ 4522788 h 4687251"/>
              <a:gd name="connsiteX251" fmla="*/ 7717270 w 8079933"/>
              <a:gd name="connsiteY251" fmla="*/ 4523220 h 4687251"/>
              <a:gd name="connsiteX252" fmla="*/ 7716294 w 8079933"/>
              <a:gd name="connsiteY252" fmla="*/ 4522137 h 4687251"/>
              <a:gd name="connsiteX253" fmla="*/ 7714123 w 8079933"/>
              <a:gd name="connsiteY253" fmla="*/ 4523004 h 4687251"/>
              <a:gd name="connsiteX254" fmla="*/ 7715643 w 8079933"/>
              <a:gd name="connsiteY254" fmla="*/ 4523329 h 4687251"/>
              <a:gd name="connsiteX255" fmla="*/ 7717487 w 8079933"/>
              <a:gd name="connsiteY255" fmla="*/ 4525169 h 4687251"/>
              <a:gd name="connsiteX256" fmla="*/ 7719658 w 8079933"/>
              <a:gd name="connsiteY256" fmla="*/ 4526252 h 4687251"/>
              <a:gd name="connsiteX257" fmla="*/ 7720092 w 8079933"/>
              <a:gd name="connsiteY257" fmla="*/ 4528092 h 4687251"/>
              <a:gd name="connsiteX258" fmla="*/ 7718573 w 8079933"/>
              <a:gd name="connsiteY258" fmla="*/ 4529933 h 4687251"/>
              <a:gd name="connsiteX259" fmla="*/ 7716836 w 8079933"/>
              <a:gd name="connsiteY259" fmla="*/ 4529283 h 4687251"/>
              <a:gd name="connsiteX260" fmla="*/ 7711736 w 8079933"/>
              <a:gd name="connsiteY260" fmla="*/ 4531015 h 4687251"/>
              <a:gd name="connsiteX261" fmla="*/ 7709240 w 8079933"/>
              <a:gd name="connsiteY261" fmla="*/ 4532856 h 4687251"/>
              <a:gd name="connsiteX262" fmla="*/ 7706744 w 8079933"/>
              <a:gd name="connsiteY262" fmla="*/ 4532640 h 4687251"/>
              <a:gd name="connsiteX263" fmla="*/ 7705334 w 8079933"/>
              <a:gd name="connsiteY263" fmla="*/ 4531773 h 4687251"/>
              <a:gd name="connsiteX264" fmla="*/ 7703814 w 8079933"/>
              <a:gd name="connsiteY264" fmla="*/ 4532098 h 4687251"/>
              <a:gd name="connsiteX265" fmla="*/ 7700341 w 8079933"/>
              <a:gd name="connsiteY265" fmla="*/ 4536212 h 4687251"/>
              <a:gd name="connsiteX266" fmla="*/ 7698063 w 8079933"/>
              <a:gd name="connsiteY266" fmla="*/ 4535996 h 4687251"/>
              <a:gd name="connsiteX267" fmla="*/ 7697303 w 8079933"/>
              <a:gd name="connsiteY267" fmla="*/ 4533939 h 4687251"/>
              <a:gd name="connsiteX268" fmla="*/ 7701969 w 8079933"/>
              <a:gd name="connsiteY268" fmla="*/ 4529175 h 4687251"/>
              <a:gd name="connsiteX269" fmla="*/ 7703922 w 8079933"/>
              <a:gd name="connsiteY269" fmla="*/ 4527984 h 4687251"/>
              <a:gd name="connsiteX270" fmla="*/ 7703922 w 8079933"/>
              <a:gd name="connsiteY270" fmla="*/ 4525061 h 4687251"/>
              <a:gd name="connsiteX271" fmla="*/ 7707395 w 8079933"/>
              <a:gd name="connsiteY271" fmla="*/ 4524303 h 4687251"/>
              <a:gd name="connsiteX272" fmla="*/ 7708697 w 8079933"/>
              <a:gd name="connsiteY272" fmla="*/ 4520080 h 4687251"/>
              <a:gd name="connsiteX273" fmla="*/ 7708372 w 8079933"/>
              <a:gd name="connsiteY273" fmla="*/ 4515425 h 4687251"/>
              <a:gd name="connsiteX274" fmla="*/ 7709131 w 8079933"/>
              <a:gd name="connsiteY274" fmla="*/ 4512177 h 4687251"/>
              <a:gd name="connsiteX275" fmla="*/ 2472009 w 8079933"/>
              <a:gd name="connsiteY275" fmla="*/ 4510119 h 4687251"/>
              <a:gd name="connsiteX276" fmla="*/ 2477217 w 8079933"/>
              <a:gd name="connsiteY276" fmla="*/ 4512068 h 4687251"/>
              <a:gd name="connsiteX277" fmla="*/ 2483077 w 8079933"/>
              <a:gd name="connsiteY277" fmla="*/ 4510986 h 4687251"/>
              <a:gd name="connsiteX278" fmla="*/ 2485681 w 8079933"/>
              <a:gd name="connsiteY278" fmla="*/ 4515749 h 4687251"/>
              <a:gd name="connsiteX279" fmla="*/ 2488394 w 8079933"/>
              <a:gd name="connsiteY279" fmla="*/ 4523653 h 4687251"/>
              <a:gd name="connsiteX280" fmla="*/ 2494580 w 8079933"/>
              <a:gd name="connsiteY280" fmla="*/ 4524411 h 4687251"/>
              <a:gd name="connsiteX281" fmla="*/ 2500657 w 8079933"/>
              <a:gd name="connsiteY281" fmla="*/ 4529500 h 4687251"/>
              <a:gd name="connsiteX282" fmla="*/ 2500983 w 8079933"/>
              <a:gd name="connsiteY282" fmla="*/ 4534913 h 4687251"/>
              <a:gd name="connsiteX283" fmla="*/ 2506083 w 8079933"/>
              <a:gd name="connsiteY283" fmla="*/ 4536645 h 4687251"/>
              <a:gd name="connsiteX284" fmla="*/ 2524748 w 8079933"/>
              <a:gd name="connsiteY284" fmla="*/ 4542708 h 4687251"/>
              <a:gd name="connsiteX285" fmla="*/ 2527026 w 8079933"/>
              <a:gd name="connsiteY285" fmla="*/ 4545307 h 4687251"/>
              <a:gd name="connsiteX286" fmla="*/ 2533863 w 8079933"/>
              <a:gd name="connsiteY286" fmla="*/ 4547364 h 4687251"/>
              <a:gd name="connsiteX287" fmla="*/ 2539723 w 8079933"/>
              <a:gd name="connsiteY287" fmla="*/ 4552669 h 4687251"/>
              <a:gd name="connsiteX288" fmla="*/ 2544715 w 8079933"/>
              <a:gd name="connsiteY288" fmla="*/ 4553210 h 4687251"/>
              <a:gd name="connsiteX289" fmla="*/ 2553504 w 8079933"/>
              <a:gd name="connsiteY289" fmla="*/ 4551153 h 4687251"/>
              <a:gd name="connsiteX290" fmla="*/ 2557628 w 8079933"/>
              <a:gd name="connsiteY290" fmla="*/ 4552669 h 4687251"/>
              <a:gd name="connsiteX291" fmla="*/ 2558496 w 8079933"/>
              <a:gd name="connsiteY291" fmla="*/ 4556783 h 4687251"/>
              <a:gd name="connsiteX292" fmla="*/ 2552528 w 8079933"/>
              <a:gd name="connsiteY292" fmla="*/ 4560248 h 4687251"/>
              <a:gd name="connsiteX293" fmla="*/ 2550249 w 8079933"/>
              <a:gd name="connsiteY293" fmla="*/ 4558299 h 4687251"/>
              <a:gd name="connsiteX294" fmla="*/ 2545040 w 8079933"/>
              <a:gd name="connsiteY294" fmla="*/ 4559815 h 4687251"/>
              <a:gd name="connsiteX295" fmla="*/ 2544063 w 8079933"/>
              <a:gd name="connsiteY295" fmla="*/ 4564038 h 4687251"/>
              <a:gd name="connsiteX296" fmla="*/ 2539723 w 8079933"/>
              <a:gd name="connsiteY296" fmla="*/ 4568260 h 4687251"/>
              <a:gd name="connsiteX297" fmla="*/ 2534406 w 8079933"/>
              <a:gd name="connsiteY297" fmla="*/ 4569667 h 4687251"/>
              <a:gd name="connsiteX298" fmla="*/ 2528871 w 8079933"/>
              <a:gd name="connsiteY298" fmla="*/ 4567827 h 4687251"/>
              <a:gd name="connsiteX299" fmla="*/ 2523554 w 8079933"/>
              <a:gd name="connsiteY299" fmla="*/ 4564904 h 4687251"/>
              <a:gd name="connsiteX300" fmla="*/ 2513679 w 8079933"/>
              <a:gd name="connsiteY300" fmla="*/ 4563821 h 4687251"/>
              <a:gd name="connsiteX301" fmla="*/ 2506843 w 8079933"/>
              <a:gd name="connsiteY301" fmla="*/ 4564362 h 4687251"/>
              <a:gd name="connsiteX302" fmla="*/ 2496859 w 8079933"/>
              <a:gd name="connsiteY302" fmla="*/ 4563496 h 4687251"/>
              <a:gd name="connsiteX303" fmla="*/ 2488720 w 8079933"/>
              <a:gd name="connsiteY303" fmla="*/ 4566202 h 4687251"/>
              <a:gd name="connsiteX304" fmla="*/ 2486116 w 8079933"/>
              <a:gd name="connsiteY304" fmla="*/ 4566202 h 4687251"/>
              <a:gd name="connsiteX305" fmla="*/ 2483837 w 8079933"/>
              <a:gd name="connsiteY305" fmla="*/ 4557216 h 4687251"/>
              <a:gd name="connsiteX306" fmla="*/ 2495231 w 8079933"/>
              <a:gd name="connsiteY306" fmla="*/ 4556783 h 4687251"/>
              <a:gd name="connsiteX307" fmla="*/ 2501633 w 8079933"/>
              <a:gd name="connsiteY307" fmla="*/ 4554510 h 4687251"/>
              <a:gd name="connsiteX308" fmla="*/ 2505540 w 8079933"/>
              <a:gd name="connsiteY308" fmla="*/ 4553752 h 4687251"/>
              <a:gd name="connsiteX309" fmla="*/ 2506408 w 8079933"/>
              <a:gd name="connsiteY309" fmla="*/ 4552128 h 4687251"/>
              <a:gd name="connsiteX310" fmla="*/ 2500006 w 8079933"/>
              <a:gd name="connsiteY310" fmla="*/ 4553427 h 4687251"/>
              <a:gd name="connsiteX311" fmla="*/ 2493386 w 8079933"/>
              <a:gd name="connsiteY311" fmla="*/ 4553427 h 4687251"/>
              <a:gd name="connsiteX312" fmla="*/ 2484922 w 8079933"/>
              <a:gd name="connsiteY312" fmla="*/ 4555051 h 4687251"/>
              <a:gd name="connsiteX313" fmla="*/ 2483186 w 8079933"/>
              <a:gd name="connsiteY313" fmla="*/ 4554618 h 4687251"/>
              <a:gd name="connsiteX314" fmla="*/ 2339184 w 8079933"/>
              <a:gd name="connsiteY314" fmla="*/ 4502540 h 4687251"/>
              <a:gd name="connsiteX315" fmla="*/ 2341897 w 8079933"/>
              <a:gd name="connsiteY315" fmla="*/ 4504273 h 4687251"/>
              <a:gd name="connsiteX316" fmla="*/ 2346997 w 8079933"/>
              <a:gd name="connsiteY316" fmla="*/ 4510228 h 4687251"/>
              <a:gd name="connsiteX317" fmla="*/ 2350253 w 8079933"/>
              <a:gd name="connsiteY317" fmla="*/ 4512177 h 4687251"/>
              <a:gd name="connsiteX318" fmla="*/ 2354159 w 8079933"/>
              <a:gd name="connsiteY318" fmla="*/ 4512285 h 4687251"/>
              <a:gd name="connsiteX319" fmla="*/ 2358282 w 8079933"/>
              <a:gd name="connsiteY319" fmla="*/ 4513909 h 4687251"/>
              <a:gd name="connsiteX320" fmla="*/ 2362080 w 8079933"/>
              <a:gd name="connsiteY320" fmla="*/ 4515967 h 4687251"/>
              <a:gd name="connsiteX321" fmla="*/ 2367615 w 8079933"/>
              <a:gd name="connsiteY321" fmla="*/ 4515967 h 4687251"/>
              <a:gd name="connsiteX322" fmla="*/ 2369676 w 8079933"/>
              <a:gd name="connsiteY322" fmla="*/ 4518240 h 4687251"/>
              <a:gd name="connsiteX323" fmla="*/ 2374234 w 8079933"/>
              <a:gd name="connsiteY323" fmla="*/ 4521597 h 4687251"/>
              <a:gd name="connsiteX324" fmla="*/ 2376296 w 8079933"/>
              <a:gd name="connsiteY324" fmla="*/ 4521813 h 4687251"/>
              <a:gd name="connsiteX325" fmla="*/ 2377598 w 8079933"/>
              <a:gd name="connsiteY325" fmla="*/ 4523654 h 4687251"/>
              <a:gd name="connsiteX326" fmla="*/ 2376839 w 8079933"/>
              <a:gd name="connsiteY326" fmla="*/ 4525061 h 4687251"/>
              <a:gd name="connsiteX327" fmla="*/ 2372173 w 8079933"/>
              <a:gd name="connsiteY327" fmla="*/ 4525061 h 4687251"/>
              <a:gd name="connsiteX328" fmla="*/ 2367832 w 8079933"/>
              <a:gd name="connsiteY328" fmla="*/ 4523329 h 4687251"/>
              <a:gd name="connsiteX329" fmla="*/ 2361430 w 8079933"/>
              <a:gd name="connsiteY329" fmla="*/ 4520947 h 4687251"/>
              <a:gd name="connsiteX330" fmla="*/ 2359585 w 8079933"/>
              <a:gd name="connsiteY330" fmla="*/ 4522030 h 4687251"/>
              <a:gd name="connsiteX331" fmla="*/ 2355896 w 8079933"/>
              <a:gd name="connsiteY331" fmla="*/ 4522030 h 4687251"/>
              <a:gd name="connsiteX332" fmla="*/ 2353616 w 8079933"/>
              <a:gd name="connsiteY332" fmla="*/ 4518673 h 4687251"/>
              <a:gd name="connsiteX333" fmla="*/ 2346997 w 8079933"/>
              <a:gd name="connsiteY333" fmla="*/ 4515750 h 4687251"/>
              <a:gd name="connsiteX334" fmla="*/ 2342005 w 8079933"/>
              <a:gd name="connsiteY334" fmla="*/ 4515100 h 4687251"/>
              <a:gd name="connsiteX335" fmla="*/ 2338967 w 8079933"/>
              <a:gd name="connsiteY335" fmla="*/ 4509361 h 4687251"/>
              <a:gd name="connsiteX336" fmla="*/ 2337882 w 8079933"/>
              <a:gd name="connsiteY336" fmla="*/ 4504706 h 4687251"/>
              <a:gd name="connsiteX337" fmla="*/ 8013846 w 8079933"/>
              <a:gd name="connsiteY337" fmla="*/ 4492743 h 4687251"/>
              <a:gd name="connsiteX338" fmla="*/ 8013086 w 8079933"/>
              <a:gd name="connsiteY338" fmla="*/ 4495125 h 4687251"/>
              <a:gd name="connsiteX339" fmla="*/ 8012110 w 8079933"/>
              <a:gd name="connsiteY339" fmla="*/ 4493610 h 4687251"/>
              <a:gd name="connsiteX340" fmla="*/ 2354486 w 8079933"/>
              <a:gd name="connsiteY340" fmla="*/ 4490955 h 4687251"/>
              <a:gd name="connsiteX341" fmla="*/ 2355896 w 8079933"/>
              <a:gd name="connsiteY341" fmla="*/ 4495502 h 4687251"/>
              <a:gd name="connsiteX342" fmla="*/ 2353509 w 8079933"/>
              <a:gd name="connsiteY342" fmla="*/ 4499400 h 4687251"/>
              <a:gd name="connsiteX343" fmla="*/ 2351447 w 8079933"/>
              <a:gd name="connsiteY343" fmla="*/ 4498318 h 4687251"/>
              <a:gd name="connsiteX344" fmla="*/ 2349060 w 8079933"/>
              <a:gd name="connsiteY344" fmla="*/ 4496152 h 4687251"/>
              <a:gd name="connsiteX345" fmla="*/ 2348191 w 8079933"/>
              <a:gd name="connsiteY345" fmla="*/ 4493662 h 4687251"/>
              <a:gd name="connsiteX346" fmla="*/ 2343634 w 8079933"/>
              <a:gd name="connsiteY346" fmla="*/ 4493986 h 4687251"/>
              <a:gd name="connsiteX347" fmla="*/ 2341898 w 8079933"/>
              <a:gd name="connsiteY347" fmla="*/ 4492471 h 4687251"/>
              <a:gd name="connsiteX348" fmla="*/ 2345479 w 8079933"/>
              <a:gd name="connsiteY348" fmla="*/ 4491063 h 4687251"/>
              <a:gd name="connsiteX349" fmla="*/ 2348734 w 8079933"/>
              <a:gd name="connsiteY349" fmla="*/ 4491821 h 4687251"/>
              <a:gd name="connsiteX350" fmla="*/ 8020899 w 8079933"/>
              <a:gd name="connsiteY350" fmla="*/ 4487113 h 4687251"/>
              <a:gd name="connsiteX351" fmla="*/ 8021224 w 8079933"/>
              <a:gd name="connsiteY351" fmla="*/ 4490902 h 4687251"/>
              <a:gd name="connsiteX352" fmla="*/ 8022744 w 8079933"/>
              <a:gd name="connsiteY352" fmla="*/ 4493068 h 4687251"/>
              <a:gd name="connsiteX353" fmla="*/ 8021224 w 8079933"/>
              <a:gd name="connsiteY353" fmla="*/ 4494042 h 4687251"/>
              <a:gd name="connsiteX354" fmla="*/ 8021875 w 8079933"/>
              <a:gd name="connsiteY354" fmla="*/ 4496317 h 4687251"/>
              <a:gd name="connsiteX355" fmla="*/ 8020899 w 8079933"/>
              <a:gd name="connsiteY355" fmla="*/ 4496966 h 4687251"/>
              <a:gd name="connsiteX356" fmla="*/ 8018186 w 8079933"/>
              <a:gd name="connsiteY356" fmla="*/ 4493501 h 4687251"/>
              <a:gd name="connsiteX357" fmla="*/ 2464846 w 8079933"/>
              <a:gd name="connsiteY357" fmla="*/ 4481861 h 4687251"/>
              <a:gd name="connsiteX358" fmla="*/ 2471683 w 8079933"/>
              <a:gd name="connsiteY358" fmla="*/ 4508929 h 4687251"/>
              <a:gd name="connsiteX359" fmla="*/ 2471358 w 8079933"/>
              <a:gd name="connsiteY359" fmla="*/ 4509903 h 4687251"/>
              <a:gd name="connsiteX360" fmla="*/ 2472009 w 8079933"/>
              <a:gd name="connsiteY360" fmla="*/ 4510120 h 4687251"/>
              <a:gd name="connsiteX361" fmla="*/ 2483186 w 8079933"/>
              <a:gd name="connsiteY361" fmla="*/ 4554619 h 4687251"/>
              <a:gd name="connsiteX362" fmla="*/ 2477760 w 8079933"/>
              <a:gd name="connsiteY362" fmla="*/ 4553319 h 4687251"/>
              <a:gd name="connsiteX363" fmla="*/ 2466366 w 8079933"/>
              <a:gd name="connsiteY363" fmla="*/ 4545740 h 4687251"/>
              <a:gd name="connsiteX364" fmla="*/ 2458227 w 8079933"/>
              <a:gd name="connsiteY364" fmla="*/ 4542817 h 4687251"/>
              <a:gd name="connsiteX365" fmla="*/ 2454320 w 8079933"/>
              <a:gd name="connsiteY365" fmla="*/ 4543250 h 4687251"/>
              <a:gd name="connsiteX366" fmla="*/ 2449111 w 8079933"/>
              <a:gd name="connsiteY366" fmla="*/ 4540003 h 4687251"/>
              <a:gd name="connsiteX367" fmla="*/ 2444771 w 8079933"/>
              <a:gd name="connsiteY367" fmla="*/ 4535671 h 4687251"/>
              <a:gd name="connsiteX368" fmla="*/ 2444120 w 8079933"/>
              <a:gd name="connsiteY368" fmla="*/ 4533614 h 4687251"/>
              <a:gd name="connsiteX369" fmla="*/ 2444120 w 8079933"/>
              <a:gd name="connsiteY369" fmla="*/ 4531557 h 4687251"/>
              <a:gd name="connsiteX370" fmla="*/ 2451499 w 8079933"/>
              <a:gd name="connsiteY370" fmla="*/ 4527876 h 4687251"/>
              <a:gd name="connsiteX371" fmla="*/ 2452367 w 8079933"/>
              <a:gd name="connsiteY371" fmla="*/ 4525494 h 4687251"/>
              <a:gd name="connsiteX372" fmla="*/ 2457033 w 8079933"/>
              <a:gd name="connsiteY372" fmla="*/ 4524194 h 4687251"/>
              <a:gd name="connsiteX373" fmla="*/ 2460289 w 8079933"/>
              <a:gd name="connsiteY373" fmla="*/ 4518673 h 4687251"/>
              <a:gd name="connsiteX374" fmla="*/ 2458878 w 8079933"/>
              <a:gd name="connsiteY374" fmla="*/ 4514667 h 4687251"/>
              <a:gd name="connsiteX375" fmla="*/ 2453777 w 8079933"/>
              <a:gd name="connsiteY375" fmla="*/ 4514451 h 4687251"/>
              <a:gd name="connsiteX376" fmla="*/ 2446833 w 8079933"/>
              <a:gd name="connsiteY376" fmla="*/ 4518240 h 4687251"/>
              <a:gd name="connsiteX377" fmla="*/ 2443468 w 8079933"/>
              <a:gd name="connsiteY377" fmla="*/ 4522246 h 4687251"/>
              <a:gd name="connsiteX378" fmla="*/ 2439996 w 8079933"/>
              <a:gd name="connsiteY378" fmla="*/ 4522354 h 4687251"/>
              <a:gd name="connsiteX379" fmla="*/ 2435330 w 8079933"/>
              <a:gd name="connsiteY379" fmla="*/ 4516508 h 4687251"/>
              <a:gd name="connsiteX380" fmla="*/ 2435004 w 8079933"/>
              <a:gd name="connsiteY380" fmla="*/ 4510986 h 4687251"/>
              <a:gd name="connsiteX381" fmla="*/ 2433594 w 8079933"/>
              <a:gd name="connsiteY381" fmla="*/ 4508171 h 4687251"/>
              <a:gd name="connsiteX382" fmla="*/ 2437609 w 8079933"/>
              <a:gd name="connsiteY382" fmla="*/ 4504165 h 4687251"/>
              <a:gd name="connsiteX383" fmla="*/ 2438260 w 8079933"/>
              <a:gd name="connsiteY383" fmla="*/ 4500700 h 4687251"/>
              <a:gd name="connsiteX384" fmla="*/ 2434679 w 8079933"/>
              <a:gd name="connsiteY384" fmla="*/ 4501241 h 4687251"/>
              <a:gd name="connsiteX385" fmla="*/ 2431749 w 8079933"/>
              <a:gd name="connsiteY385" fmla="*/ 4499076 h 4687251"/>
              <a:gd name="connsiteX386" fmla="*/ 2434679 w 8079933"/>
              <a:gd name="connsiteY386" fmla="*/ 4494853 h 4687251"/>
              <a:gd name="connsiteX387" fmla="*/ 2437609 w 8079933"/>
              <a:gd name="connsiteY387" fmla="*/ 4495720 h 4687251"/>
              <a:gd name="connsiteX388" fmla="*/ 2442383 w 8079933"/>
              <a:gd name="connsiteY388" fmla="*/ 4498535 h 4687251"/>
              <a:gd name="connsiteX389" fmla="*/ 2443577 w 8079933"/>
              <a:gd name="connsiteY389" fmla="*/ 4496478 h 4687251"/>
              <a:gd name="connsiteX390" fmla="*/ 2447701 w 8079933"/>
              <a:gd name="connsiteY390" fmla="*/ 4492471 h 4687251"/>
              <a:gd name="connsiteX391" fmla="*/ 2448461 w 8079933"/>
              <a:gd name="connsiteY391" fmla="*/ 4489332 h 4687251"/>
              <a:gd name="connsiteX392" fmla="*/ 2447375 w 8079933"/>
              <a:gd name="connsiteY392" fmla="*/ 4485650 h 4687251"/>
              <a:gd name="connsiteX393" fmla="*/ 2449329 w 8079933"/>
              <a:gd name="connsiteY393" fmla="*/ 4481969 h 4687251"/>
              <a:gd name="connsiteX394" fmla="*/ 2452693 w 8079933"/>
              <a:gd name="connsiteY394" fmla="*/ 4482835 h 4687251"/>
              <a:gd name="connsiteX395" fmla="*/ 2456382 w 8079933"/>
              <a:gd name="connsiteY395" fmla="*/ 4486300 h 4687251"/>
              <a:gd name="connsiteX396" fmla="*/ 2458444 w 8079933"/>
              <a:gd name="connsiteY396" fmla="*/ 4484567 h 4687251"/>
              <a:gd name="connsiteX397" fmla="*/ 2465824 w 8079933"/>
              <a:gd name="connsiteY397" fmla="*/ 4481536 h 4687251"/>
              <a:gd name="connsiteX398" fmla="*/ 2469405 w 8079933"/>
              <a:gd name="connsiteY398" fmla="*/ 4486841 h 4687251"/>
              <a:gd name="connsiteX399" fmla="*/ 2477218 w 8079933"/>
              <a:gd name="connsiteY399" fmla="*/ 4494528 h 4687251"/>
              <a:gd name="connsiteX400" fmla="*/ 2479605 w 8079933"/>
              <a:gd name="connsiteY400" fmla="*/ 4506222 h 4687251"/>
              <a:gd name="connsiteX401" fmla="*/ 2477001 w 8079933"/>
              <a:gd name="connsiteY401" fmla="*/ 4503623 h 4687251"/>
              <a:gd name="connsiteX402" fmla="*/ 2473420 w 8079933"/>
              <a:gd name="connsiteY402" fmla="*/ 4505247 h 4687251"/>
              <a:gd name="connsiteX403" fmla="*/ 2471683 w 8079933"/>
              <a:gd name="connsiteY403" fmla="*/ 4508928 h 4687251"/>
              <a:gd name="connsiteX404" fmla="*/ 2464847 w 8079933"/>
              <a:gd name="connsiteY404" fmla="*/ 4481860 h 4687251"/>
              <a:gd name="connsiteX405" fmla="*/ 2342548 w 8079933"/>
              <a:gd name="connsiteY405" fmla="*/ 4478287 h 4687251"/>
              <a:gd name="connsiteX406" fmla="*/ 2350252 w 8079933"/>
              <a:gd name="connsiteY406" fmla="*/ 4484241 h 4687251"/>
              <a:gd name="connsiteX407" fmla="*/ 2350035 w 8079933"/>
              <a:gd name="connsiteY407" fmla="*/ 4487706 h 4687251"/>
              <a:gd name="connsiteX408" fmla="*/ 2348191 w 8079933"/>
              <a:gd name="connsiteY408" fmla="*/ 4488464 h 4687251"/>
              <a:gd name="connsiteX409" fmla="*/ 2342982 w 8079933"/>
              <a:gd name="connsiteY409" fmla="*/ 4482834 h 4687251"/>
              <a:gd name="connsiteX410" fmla="*/ 2341246 w 8079933"/>
              <a:gd name="connsiteY410" fmla="*/ 4479911 h 4687251"/>
              <a:gd name="connsiteX411" fmla="*/ 2333974 w 8079933"/>
              <a:gd name="connsiteY411" fmla="*/ 4476664 h 4687251"/>
              <a:gd name="connsiteX412" fmla="*/ 2335167 w 8079933"/>
              <a:gd name="connsiteY412" fmla="*/ 4479046 h 4687251"/>
              <a:gd name="connsiteX413" fmla="*/ 2332997 w 8079933"/>
              <a:gd name="connsiteY413" fmla="*/ 4484351 h 4687251"/>
              <a:gd name="connsiteX414" fmla="*/ 2330827 w 8079933"/>
              <a:gd name="connsiteY414" fmla="*/ 4485542 h 4687251"/>
              <a:gd name="connsiteX415" fmla="*/ 2330068 w 8079933"/>
              <a:gd name="connsiteY415" fmla="*/ 4483918 h 4687251"/>
              <a:gd name="connsiteX416" fmla="*/ 2331803 w 8079933"/>
              <a:gd name="connsiteY416" fmla="*/ 4482186 h 4687251"/>
              <a:gd name="connsiteX417" fmla="*/ 2331695 w 8079933"/>
              <a:gd name="connsiteY417" fmla="*/ 4477530 h 4687251"/>
              <a:gd name="connsiteX418" fmla="*/ 2343742 w 8079933"/>
              <a:gd name="connsiteY418" fmla="*/ 4474498 h 4687251"/>
              <a:gd name="connsiteX419" fmla="*/ 2346998 w 8079933"/>
              <a:gd name="connsiteY419" fmla="*/ 4475255 h 4687251"/>
              <a:gd name="connsiteX420" fmla="*/ 2347865 w 8079933"/>
              <a:gd name="connsiteY420" fmla="*/ 4479045 h 4687251"/>
              <a:gd name="connsiteX421" fmla="*/ 2345912 w 8079933"/>
              <a:gd name="connsiteY421" fmla="*/ 4479262 h 4687251"/>
              <a:gd name="connsiteX422" fmla="*/ 2342223 w 8079933"/>
              <a:gd name="connsiteY422" fmla="*/ 4475689 h 4687251"/>
              <a:gd name="connsiteX423" fmla="*/ 2334952 w 8079933"/>
              <a:gd name="connsiteY423" fmla="*/ 4468543 h 4687251"/>
              <a:gd name="connsiteX424" fmla="*/ 2339726 w 8079933"/>
              <a:gd name="connsiteY424" fmla="*/ 4471033 h 4687251"/>
              <a:gd name="connsiteX425" fmla="*/ 2340811 w 8079933"/>
              <a:gd name="connsiteY425" fmla="*/ 4473632 h 4687251"/>
              <a:gd name="connsiteX426" fmla="*/ 2339509 w 8079933"/>
              <a:gd name="connsiteY426" fmla="*/ 4473848 h 4687251"/>
              <a:gd name="connsiteX427" fmla="*/ 2335929 w 8079933"/>
              <a:gd name="connsiteY427" fmla="*/ 4471249 h 4687251"/>
              <a:gd name="connsiteX428" fmla="*/ 7698714 w 8079933"/>
              <a:gd name="connsiteY428" fmla="*/ 4467136 h 4687251"/>
              <a:gd name="connsiteX429" fmla="*/ 7702729 w 8079933"/>
              <a:gd name="connsiteY429" fmla="*/ 4467352 h 4687251"/>
              <a:gd name="connsiteX430" fmla="*/ 7702729 w 8079933"/>
              <a:gd name="connsiteY430" fmla="*/ 4470167 h 4687251"/>
              <a:gd name="connsiteX431" fmla="*/ 7700885 w 8079933"/>
              <a:gd name="connsiteY431" fmla="*/ 4470600 h 4687251"/>
              <a:gd name="connsiteX432" fmla="*/ 7698606 w 8079933"/>
              <a:gd name="connsiteY432" fmla="*/ 4469301 h 4687251"/>
              <a:gd name="connsiteX433" fmla="*/ 7697846 w 8079933"/>
              <a:gd name="connsiteY433" fmla="*/ 4468760 h 4687251"/>
              <a:gd name="connsiteX434" fmla="*/ 2387751 w 8079933"/>
              <a:gd name="connsiteY434" fmla="*/ 4465107 h 4687251"/>
              <a:gd name="connsiteX435" fmla="*/ 2398869 w 8079933"/>
              <a:gd name="connsiteY435" fmla="*/ 4465945 h 4687251"/>
              <a:gd name="connsiteX436" fmla="*/ 2402884 w 8079933"/>
              <a:gd name="connsiteY436" fmla="*/ 4468219 h 4687251"/>
              <a:gd name="connsiteX437" fmla="*/ 2420138 w 8079933"/>
              <a:gd name="connsiteY437" fmla="*/ 4465296 h 4687251"/>
              <a:gd name="connsiteX438" fmla="*/ 2451065 w 8079933"/>
              <a:gd name="connsiteY438" fmla="*/ 4465296 h 4687251"/>
              <a:gd name="connsiteX439" fmla="*/ 2452693 w 8079933"/>
              <a:gd name="connsiteY439" fmla="*/ 4467244 h 4687251"/>
              <a:gd name="connsiteX440" fmla="*/ 2457793 w 8079933"/>
              <a:gd name="connsiteY440" fmla="*/ 4468002 h 4687251"/>
              <a:gd name="connsiteX441" fmla="*/ 2457793 w 8079933"/>
              <a:gd name="connsiteY441" fmla="*/ 4468002 h 4687251"/>
              <a:gd name="connsiteX442" fmla="*/ 2452693 w 8079933"/>
              <a:gd name="connsiteY442" fmla="*/ 4467244 h 4687251"/>
              <a:gd name="connsiteX443" fmla="*/ 2451065 w 8079933"/>
              <a:gd name="connsiteY443" fmla="*/ 4465295 h 4687251"/>
              <a:gd name="connsiteX444" fmla="*/ 2420138 w 8079933"/>
              <a:gd name="connsiteY444" fmla="*/ 4465295 h 4687251"/>
              <a:gd name="connsiteX445" fmla="*/ 2402883 w 8079933"/>
              <a:gd name="connsiteY445" fmla="*/ 4468218 h 4687251"/>
              <a:gd name="connsiteX446" fmla="*/ 2398869 w 8079933"/>
              <a:gd name="connsiteY446" fmla="*/ 4465944 h 4687251"/>
              <a:gd name="connsiteX447" fmla="*/ 2329309 w 8079933"/>
              <a:gd name="connsiteY447" fmla="*/ 4462913 h 4687251"/>
              <a:gd name="connsiteX448" fmla="*/ 2331371 w 8079933"/>
              <a:gd name="connsiteY448" fmla="*/ 4465078 h 4687251"/>
              <a:gd name="connsiteX449" fmla="*/ 2333758 w 8079933"/>
              <a:gd name="connsiteY449" fmla="*/ 4467460 h 4687251"/>
              <a:gd name="connsiteX450" fmla="*/ 2333866 w 8079933"/>
              <a:gd name="connsiteY450" fmla="*/ 4471682 h 4687251"/>
              <a:gd name="connsiteX451" fmla="*/ 2331045 w 8079933"/>
              <a:gd name="connsiteY451" fmla="*/ 4473631 h 4687251"/>
              <a:gd name="connsiteX452" fmla="*/ 2329092 w 8079933"/>
              <a:gd name="connsiteY452" fmla="*/ 4473090 h 4687251"/>
              <a:gd name="connsiteX453" fmla="*/ 2328658 w 8079933"/>
              <a:gd name="connsiteY453" fmla="*/ 4471033 h 4687251"/>
              <a:gd name="connsiteX454" fmla="*/ 2327790 w 8079933"/>
              <a:gd name="connsiteY454" fmla="*/ 4469733 h 4687251"/>
              <a:gd name="connsiteX455" fmla="*/ 2326922 w 8079933"/>
              <a:gd name="connsiteY455" fmla="*/ 4466269 h 4687251"/>
              <a:gd name="connsiteX456" fmla="*/ 2327899 w 8079933"/>
              <a:gd name="connsiteY456" fmla="*/ 4463887 h 4687251"/>
              <a:gd name="connsiteX457" fmla="*/ 2324427 w 8079933"/>
              <a:gd name="connsiteY457" fmla="*/ 4460964 h 4687251"/>
              <a:gd name="connsiteX458" fmla="*/ 2326163 w 8079933"/>
              <a:gd name="connsiteY458" fmla="*/ 4464104 h 4687251"/>
              <a:gd name="connsiteX459" fmla="*/ 2325946 w 8079933"/>
              <a:gd name="connsiteY459" fmla="*/ 4468651 h 4687251"/>
              <a:gd name="connsiteX460" fmla="*/ 2323558 w 8079933"/>
              <a:gd name="connsiteY460" fmla="*/ 4470383 h 4687251"/>
              <a:gd name="connsiteX461" fmla="*/ 2325946 w 8079933"/>
              <a:gd name="connsiteY461" fmla="*/ 4474064 h 4687251"/>
              <a:gd name="connsiteX462" fmla="*/ 2323124 w 8079933"/>
              <a:gd name="connsiteY462" fmla="*/ 4473523 h 4687251"/>
              <a:gd name="connsiteX463" fmla="*/ 2320845 w 8079933"/>
              <a:gd name="connsiteY463" fmla="*/ 4472007 h 4687251"/>
              <a:gd name="connsiteX464" fmla="*/ 2319543 w 8079933"/>
              <a:gd name="connsiteY464" fmla="*/ 4468434 h 4687251"/>
              <a:gd name="connsiteX465" fmla="*/ 2320736 w 8079933"/>
              <a:gd name="connsiteY465" fmla="*/ 4466053 h 4687251"/>
              <a:gd name="connsiteX466" fmla="*/ 2322690 w 8079933"/>
              <a:gd name="connsiteY466" fmla="*/ 4464320 h 4687251"/>
              <a:gd name="connsiteX467" fmla="*/ 2321605 w 8079933"/>
              <a:gd name="connsiteY467" fmla="*/ 4463346 h 4687251"/>
              <a:gd name="connsiteX468" fmla="*/ 2320628 w 8079933"/>
              <a:gd name="connsiteY468" fmla="*/ 4461397 h 4687251"/>
              <a:gd name="connsiteX469" fmla="*/ 2340270 w 8079933"/>
              <a:gd name="connsiteY469" fmla="*/ 4459232 h 4687251"/>
              <a:gd name="connsiteX470" fmla="*/ 2342766 w 8079933"/>
              <a:gd name="connsiteY470" fmla="*/ 4464862 h 4687251"/>
              <a:gd name="connsiteX471" fmla="*/ 2346889 w 8079933"/>
              <a:gd name="connsiteY471" fmla="*/ 4469301 h 4687251"/>
              <a:gd name="connsiteX472" fmla="*/ 2348083 w 8079933"/>
              <a:gd name="connsiteY472" fmla="*/ 4472008 h 4687251"/>
              <a:gd name="connsiteX473" fmla="*/ 2346672 w 8079933"/>
              <a:gd name="connsiteY473" fmla="*/ 4472116 h 4687251"/>
              <a:gd name="connsiteX474" fmla="*/ 2341029 w 8079933"/>
              <a:gd name="connsiteY474" fmla="*/ 4469409 h 4687251"/>
              <a:gd name="connsiteX475" fmla="*/ 2338316 w 8079933"/>
              <a:gd name="connsiteY475" fmla="*/ 4466378 h 4687251"/>
              <a:gd name="connsiteX476" fmla="*/ 2338208 w 8079933"/>
              <a:gd name="connsiteY476" fmla="*/ 4459340 h 4687251"/>
              <a:gd name="connsiteX477" fmla="*/ 2627296 w 8079933"/>
              <a:gd name="connsiteY477" fmla="*/ 4445048 h 4687251"/>
              <a:gd name="connsiteX478" fmla="*/ 2630334 w 8079933"/>
              <a:gd name="connsiteY478" fmla="*/ 4446997 h 4687251"/>
              <a:gd name="connsiteX479" fmla="*/ 2633264 w 8079933"/>
              <a:gd name="connsiteY479" fmla="*/ 4447538 h 4687251"/>
              <a:gd name="connsiteX480" fmla="*/ 2627079 w 8079933"/>
              <a:gd name="connsiteY480" fmla="*/ 4450028 h 4687251"/>
              <a:gd name="connsiteX481" fmla="*/ 2624909 w 8079933"/>
              <a:gd name="connsiteY481" fmla="*/ 4446997 h 4687251"/>
              <a:gd name="connsiteX482" fmla="*/ 2316396 w 8079933"/>
              <a:gd name="connsiteY482" fmla="*/ 4442233 h 4687251"/>
              <a:gd name="connsiteX483" fmla="*/ 2319651 w 8079933"/>
              <a:gd name="connsiteY483" fmla="*/ 4445156 h 4687251"/>
              <a:gd name="connsiteX484" fmla="*/ 2322690 w 8079933"/>
              <a:gd name="connsiteY484" fmla="*/ 4444939 h 4687251"/>
              <a:gd name="connsiteX485" fmla="*/ 2329418 w 8079933"/>
              <a:gd name="connsiteY485" fmla="*/ 4449379 h 4687251"/>
              <a:gd name="connsiteX486" fmla="*/ 2329201 w 8079933"/>
              <a:gd name="connsiteY486" fmla="*/ 4451978 h 4687251"/>
              <a:gd name="connsiteX487" fmla="*/ 2325511 w 8079933"/>
              <a:gd name="connsiteY487" fmla="*/ 4452194 h 4687251"/>
              <a:gd name="connsiteX488" fmla="*/ 2324969 w 8079933"/>
              <a:gd name="connsiteY488" fmla="*/ 4453710 h 4687251"/>
              <a:gd name="connsiteX489" fmla="*/ 2320194 w 8079933"/>
              <a:gd name="connsiteY489" fmla="*/ 4454143 h 4687251"/>
              <a:gd name="connsiteX490" fmla="*/ 2313574 w 8079933"/>
              <a:gd name="connsiteY490" fmla="*/ 4455442 h 4687251"/>
              <a:gd name="connsiteX491" fmla="*/ 2311404 w 8079933"/>
              <a:gd name="connsiteY491" fmla="*/ 4453818 h 4687251"/>
              <a:gd name="connsiteX492" fmla="*/ 2313466 w 8079933"/>
              <a:gd name="connsiteY492" fmla="*/ 4451761 h 4687251"/>
              <a:gd name="connsiteX493" fmla="*/ 2315745 w 8079933"/>
              <a:gd name="connsiteY493" fmla="*/ 4446997 h 4687251"/>
              <a:gd name="connsiteX494" fmla="*/ 2313357 w 8079933"/>
              <a:gd name="connsiteY494" fmla="*/ 4442990 h 4687251"/>
              <a:gd name="connsiteX495" fmla="*/ 2317806 w 8079933"/>
              <a:gd name="connsiteY495" fmla="*/ 4429999 h 4687251"/>
              <a:gd name="connsiteX496" fmla="*/ 2322907 w 8079933"/>
              <a:gd name="connsiteY496" fmla="*/ 4432814 h 4687251"/>
              <a:gd name="connsiteX497" fmla="*/ 2327790 w 8079933"/>
              <a:gd name="connsiteY497" fmla="*/ 4439851 h 4687251"/>
              <a:gd name="connsiteX498" fmla="*/ 2325837 w 8079933"/>
              <a:gd name="connsiteY498" fmla="*/ 4442991 h 4687251"/>
              <a:gd name="connsiteX499" fmla="*/ 2321821 w 8079933"/>
              <a:gd name="connsiteY499" fmla="*/ 4442774 h 4687251"/>
              <a:gd name="connsiteX500" fmla="*/ 2316721 w 8079933"/>
              <a:gd name="connsiteY500" fmla="*/ 4436711 h 4687251"/>
              <a:gd name="connsiteX501" fmla="*/ 2315528 w 8079933"/>
              <a:gd name="connsiteY501" fmla="*/ 4430648 h 4687251"/>
              <a:gd name="connsiteX502" fmla="*/ 2663758 w 8079933"/>
              <a:gd name="connsiteY502" fmla="*/ 4429457 h 4687251"/>
              <a:gd name="connsiteX503" fmla="*/ 2666036 w 8079933"/>
              <a:gd name="connsiteY503" fmla="*/ 4432922 h 4687251"/>
              <a:gd name="connsiteX504" fmla="*/ 2663649 w 8079933"/>
              <a:gd name="connsiteY504" fmla="*/ 4438444 h 4687251"/>
              <a:gd name="connsiteX505" fmla="*/ 2657572 w 8079933"/>
              <a:gd name="connsiteY505" fmla="*/ 4442883 h 4687251"/>
              <a:gd name="connsiteX506" fmla="*/ 2657463 w 8079933"/>
              <a:gd name="connsiteY506" fmla="*/ 4448079 h 4687251"/>
              <a:gd name="connsiteX507" fmla="*/ 2652255 w 8079933"/>
              <a:gd name="connsiteY507" fmla="*/ 4450570 h 4687251"/>
              <a:gd name="connsiteX508" fmla="*/ 2645201 w 8079933"/>
              <a:gd name="connsiteY508" fmla="*/ 4449920 h 4687251"/>
              <a:gd name="connsiteX509" fmla="*/ 2641077 w 8079933"/>
              <a:gd name="connsiteY509" fmla="*/ 4452302 h 4687251"/>
              <a:gd name="connsiteX510" fmla="*/ 2646178 w 8079933"/>
              <a:gd name="connsiteY510" fmla="*/ 4454684 h 4687251"/>
              <a:gd name="connsiteX511" fmla="*/ 2643465 w 8079933"/>
              <a:gd name="connsiteY511" fmla="*/ 4459231 h 4687251"/>
              <a:gd name="connsiteX512" fmla="*/ 2638798 w 8079933"/>
              <a:gd name="connsiteY512" fmla="*/ 4455767 h 4687251"/>
              <a:gd name="connsiteX513" fmla="*/ 2636194 w 8079933"/>
              <a:gd name="connsiteY513" fmla="*/ 4458581 h 4687251"/>
              <a:gd name="connsiteX514" fmla="*/ 2631094 w 8079933"/>
              <a:gd name="connsiteY514" fmla="*/ 4455767 h 4687251"/>
              <a:gd name="connsiteX515" fmla="*/ 2631202 w 8079933"/>
              <a:gd name="connsiteY515" fmla="*/ 4453493 h 4687251"/>
              <a:gd name="connsiteX516" fmla="*/ 2634566 w 8079933"/>
              <a:gd name="connsiteY516" fmla="*/ 4453709 h 4687251"/>
              <a:gd name="connsiteX517" fmla="*/ 2639233 w 8079933"/>
              <a:gd name="connsiteY517" fmla="*/ 4448838 h 4687251"/>
              <a:gd name="connsiteX518" fmla="*/ 2638365 w 8079933"/>
              <a:gd name="connsiteY518" fmla="*/ 4445914 h 4687251"/>
              <a:gd name="connsiteX519" fmla="*/ 2641620 w 8079933"/>
              <a:gd name="connsiteY519" fmla="*/ 4443857 h 4687251"/>
              <a:gd name="connsiteX520" fmla="*/ 2646937 w 8079933"/>
              <a:gd name="connsiteY520" fmla="*/ 4443857 h 4687251"/>
              <a:gd name="connsiteX521" fmla="*/ 2646937 w 8079933"/>
              <a:gd name="connsiteY521" fmla="*/ 4441691 h 4687251"/>
              <a:gd name="connsiteX522" fmla="*/ 2641620 w 8079933"/>
              <a:gd name="connsiteY522" fmla="*/ 4441042 h 4687251"/>
              <a:gd name="connsiteX523" fmla="*/ 2635868 w 8079933"/>
              <a:gd name="connsiteY523" fmla="*/ 4433246 h 4687251"/>
              <a:gd name="connsiteX524" fmla="*/ 2637605 w 8079933"/>
              <a:gd name="connsiteY524" fmla="*/ 4431189 h 4687251"/>
              <a:gd name="connsiteX525" fmla="*/ 2642271 w 8079933"/>
              <a:gd name="connsiteY525" fmla="*/ 4435087 h 4687251"/>
              <a:gd name="connsiteX526" fmla="*/ 2646937 w 8079933"/>
              <a:gd name="connsiteY526" fmla="*/ 4435845 h 4687251"/>
              <a:gd name="connsiteX527" fmla="*/ 2648674 w 8079933"/>
              <a:gd name="connsiteY527" fmla="*/ 4430864 h 4687251"/>
              <a:gd name="connsiteX528" fmla="*/ 2652906 w 8079933"/>
              <a:gd name="connsiteY528" fmla="*/ 4430323 h 4687251"/>
              <a:gd name="connsiteX529" fmla="*/ 2656270 w 8079933"/>
              <a:gd name="connsiteY529" fmla="*/ 4433571 h 4687251"/>
              <a:gd name="connsiteX530" fmla="*/ 2658766 w 8079933"/>
              <a:gd name="connsiteY530" fmla="*/ 4433463 h 4687251"/>
              <a:gd name="connsiteX531" fmla="*/ 2660502 w 8079933"/>
              <a:gd name="connsiteY531" fmla="*/ 4430540 h 4687251"/>
              <a:gd name="connsiteX532" fmla="*/ 2641838 w 8079933"/>
              <a:gd name="connsiteY532" fmla="*/ 4426317 h 4687251"/>
              <a:gd name="connsiteX533" fmla="*/ 2647589 w 8079933"/>
              <a:gd name="connsiteY533" fmla="*/ 4428590 h 4687251"/>
              <a:gd name="connsiteX534" fmla="*/ 2643900 w 8079933"/>
              <a:gd name="connsiteY534" fmla="*/ 4429781 h 4687251"/>
              <a:gd name="connsiteX535" fmla="*/ 2673958 w 8079933"/>
              <a:gd name="connsiteY535" fmla="*/ 4425668 h 4687251"/>
              <a:gd name="connsiteX536" fmla="*/ 2681012 w 8079933"/>
              <a:gd name="connsiteY536" fmla="*/ 4426967 h 4687251"/>
              <a:gd name="connsiteX537" fmla="*/ 2681121 w 8079933"/>
              <a:gd name="connsiteY537" fmla="*/ 4430431 h 4687251"/>
              <a:gd name="connsiteX538" fmla="*/ 2684484 w 8079933"/>
              <a:gd name="connsiteY538" fmla="*/ 4435088 h 4687251"/>
              <a:gd name="connsiteX539" fmla="*/ 2687414 w 8079933"/>
              <a:gd name="connsiteY539" fmla="*/ 4433572 h 4687251"/>
              <a:gd name="connsiteX540" fmla="*/ 2686004 w 8079933"/>
              <a:gd name="connsiteY540" fmla="*/ 4430973 h 4687251"/>
              <a:gd name="connsiteX541" fmla="*/ 2689476 w 8079933"/>
              <a:gd name="connsiteY541" fmla="*/ 4429674 h 4687251"/>
              <a:gd name="connsiteX542" fmla="*/ 2695228 w 8079933"/>
              <a:gd name="connsiteY542" fmla="*/ 4431298 h 4687251"/>
              <a:gd name="connsiteX543" fmla="*/ 2696964 w 8079933"/>
              <a:gd name="connsiteY543" fmla="*/ 4433788 h 4687251"/>
              <a:gd name="connsiteX544" fmla="*/ 2693600 w 8079933"/>
              <a:gd name="connsiteY544" fmla="*/ 4433572 h 4687251"/>
              <a:gd name="connsiteX545" fmla="*/ 2691212 w 8079933"/>
              <a:gd name="connsiteY545" fmla="*/ 4435521 h 4687251"/>
              <a:gd name="connsiteX546" fmla="*/ 2692298 w 8079933"/>
              <a:gd name="connsiteY546" fmla="*/ 4436603 h 4687251"/>
              <a:gd name="connsiteX547" fmla="*/ 2694685 w 8079933"/>
              <a:gd name="connsiteY547" fmla="*/ 4437577 h 4687251"/>
              <a:gd name="connsiteX548" fmla="*/ 2695336 w 8079933"/>
              <a:gd name="connsiteY548" fmla="*/ 4440392 h 4687251"/>
              <a:gd name="connsiteX549" fmla="*/ 2690887 w 8079933"/>
              <a:gd name="connsiteY549" fmla="*/ 4441584 h 4687251"/>
              <a:gd name="connsiteX550" fmla="*/ 2686655 w 8079933"/>
              <a:gd name="connsiteY550" fmla="*/ 4445265 h 4687251"/>
              <a:gd name="connsiteX551" fmla="*/ 2681012 w 8079933"/>
              <a:gd name="connsiteY551" fmla="*/ 4446239 h 4687251"/>
              <a:gd name="connsiteX552" fmla="*/ 2677214 w 8079933"/>
              <a:gd name="connsiteY552" fmla="*/ 4444940 h 4687251"/>
              <a:gd name="connsiteX553" fmla="*/ 2675043 w 8079933"/>
              <a:gd name="connsiteY553" fmla="*/ 4446456 h 4687251"/>
              <a:gd name="connsiteX554" fmla="*/ 2677540 w 8079933"/>
              <a:gd name="connsiteY554" fmla="*/ 4448513 h 4687251"/>
              <a:gd name="connsiteX555" fmla="*/ 2680903 w 8079933"/>
              <a:gd name="connsiteY555" fmla="*/ 4448621 h 4687251"/>
              <a:gd name="connsiteX556" fmla="*/ 2680686 w 8079933"/>
              <a:gd name="connsiteY556" fmla="*/ 4449812 h 4687251"/>
              <a:gd name="connsiteX557" fmla="*/ 2676345 w 8079933"/>
              <a:gd name="connsiteY557" fmla="*/ 4450786 h 4687251"/>
              <a:gd name="connsiteX558" fmla="*/ 2671679 w 8079933"/>
              <a:gd name="connsiteY558" fmla="*/ 4449920 h 4687251"/>
              <a:gd name="connsiteX559" fmla="*/ 2672005 w 8079933"/>
              <a:gd name="connsiteY559" fmla="*/ 4452952 h 4687251"/>
              <a:gd name="connsiteX560" fmla="*/ 2673958 w 8079933"/>
              <a:gd name="connsiteY560" fmla="*/ 4455550 h 4687251"/>
              <a:gd name="connsiteX561" fmla="*/ 2671788 w 8079933"/>
              <a:gd name="connsiteY561" fmla="*/ 4456417 h 4687251"/>
              <a:gd name="connsiteX562" fmla="*/ 2667664 w 8079933"/>
              <a:gd name="connsiteY562" fmla="*/ 4453818 h 4687251"/>
              <a:gd name="connsiteX563" fmla="*/ 2666145 w 8079933"/>
              <a:gd name="connsiteY563" fmla="*/ 4455443 h 4687251"/>
              <a:gd name="connsiteX564" fmla="*/ 2669184 w 8079933"/>
              <a:gd name="connsiteY564" fmla="*/ 4459664 h 4687251"/>
              <a:gd name="connsiteX565" fmla="*/ 2668966 w 8079933"/>
              <a:gd name="connsiteY565" fmla="*/ 4461397 h 4687251"/>
              <a:gd name="connsiteX566" fmla="*/ 2665711 w 8079933"/>
              <a:gd name="connsiteY566" fmla="*/ 4460856 h 4687251"/>
              <a:gd name="connsiteX567" fmla="*/ 2662346 w 8079933"/>
              <a:gd name="connsiteY567" fmla="*/ 4455117 h 4687251"/>
              <a:gd name="connsiteX568" fmla="*/ 2658983 w 8079933"/>
              <a:gd name="connsiteY568" fmla="*/ 4454143 h 4687251"/>
              <a:gd name="connsiteX569" fmla="*/ 2666796 w 8079933"/>
              <a:gd name="connsiteY569" fmla="*/ 4443208 h 4687251"/>
              <a:gd name="connsiteX570" fmla="*/ 2670485 w 8079933"/>
              <a:gd name="connsiteY570" fmla="*/ 4442450 h 4687251"/>
              <a:gd name="connsiteX571" fmla="*/ 2673307 w 8079933"/>
              <a:gd name="connsiteY571" fmla="*/ 4443966 h 4687251"/>
              <a:gd name="connsiteX572" fmla="*/ 2674284 w 8079933"/>
              <a:gd name="connsiteY572" fmla="*/ 4442125 h 4687251"/>
              <a:gd name="connsiteX573" fmla="*/ 2669834 w 8079933"/>
              <a:gd name="connsiteY573" fmla="*/ 4436278 h 4687251"/>
              <a:gd name="connsiteX574" fmla="*/ 2671245 w 8079933"/>
              <a:gd name="connsiteY574" fmla="*/ 4434113 h 4687251"/>
              <a:gd name="connsiteX575" fmla="*/ 2669943 w 8079933"/>
              <a:gd name="connsiteY575" fmla="*/ 4430973 h 4687251"/>
              <a:gd name="connsiteX576" fmla="*/ 2673307 w 8079933"/>
              <a:gd name="connsiteY576" fmla="*/ 4429457 h 4687251"/>
              <a:gd name="connsiteX577" fmla="*/ 2312163 w 8079933"/>
              <a:gd name="connsiteY577" fmla="*/ 4424910 h 4687251"/>
              <a:gd name="connsiteX578" fmla="*/ 2313465 w 8079933"/>
              <a:gd name="connsiteY578" fmla="*/ 4427508 h 4687251"/>
              <a:gd name="connsiteX579" fmla="*/ 2313465 w 8079933"/>
              <a:gd name="connsiteY579" fmla="*/ 4431622 h 4687251"/>
              <a:gd name="connsiteX580" fmla="*/ 2312272 w 8079933"/>
              <a:gd name="connsiteY580" fmla="*/ 4433355 h 4687251"/>
              <a:gd name="connsiteX581" fmla="*/ 2310970 w 8079933"/>
              <a:gd name="connsiteY581" fmla="*/ 4428375 h 4687251"/>
              <a:gd name="connsiteX582" fmla="*/ 2656052 w 8079933"/>
              <a:gd name="connsiteY582" fmla="*/ 4423610 h 4687251"/>
              <a:gd name="connsiteX583" fmla="*/ 2658982 w 8079933"/>
              <a:gd name="connsiteY583" fmla="*/ 4426966 h 4687251"/>
              <a:gd name="connsiteX584" fmla="*/ 2649867 w 8079933"/>
              <a:gd name="connsiteY584" fmla="*/ 4424476 h 4687251"/>
              <a:gd name="connsiteX585" fmla="*/ 2302831 w 8079933"/>
              <a:gd name="connsiteY585" fmla="*/ 4423503 h 4687251"/>
              <a:gd name="connsiteX586" fmla="*/ 2308365 w 8079933"/>
              <a:gd name="connsiteY586" fmla="*/ 4423503 h 4687251"/>
              <a:gd name="connsiteX587" fmla="*/ 2305218 w 8079933"/>
              <a:gd name="connsiteY587" fmla="*/ 4425776 h 4687251"/>
              <a:gd name="connsiteX588" fmla="*/ 2302831 w 8079933"/>
              <a:gd name="connsiteY588" fmla="*/ 4427508 h 4687251"/>
              <a:gd name="connsiteX589" fmla="*/ 2374452 w 8079933"/>
              <a:gd name="connsiteY589" fmla="*/ 4421878 h 4687251"/>
              <a:gd name="connsiteX590" fmla="*/ 2369461 w 8079933"/>
              <a:gd name="connsiteY590" fmla="*/ 4422095 h 4687251"/>
              <a:gd name="connsiteX591" fmla="*/ 2361864 w 8079933"/>
              <a:gd name="connsiteY591" fmla="*/ 4425776 h 4687251"/>
              <a:gd name="connsiteX592" fmla="*/ 2357741 w 8079933"/>
              <a:gd name="connsiteY592" fmla="*/ 4430432 h 4687251"/>
              <a:gd name="connsiteX593" fmla="*/ 2352750 w 8079933"/>
              <a:gd name="connsiteY593" fmla="*/ 4430323 h 4687251"/>
              <a:gd name="connsiteX594" fmla="*/ 2352750 w 8079933"/>
              <a:gd name="connsiteY594" fmla="*/ 4430324 h 4687251"/>
              <a:gd name="connsiteX595" fmla="*/ 2357741 w 8079933"/>
              <a:gd name="connsiteY595" fmla="*/ 4430432 h 4687251"/>
              <a:gd name="connsiteX596" fmla="*/ 2361864 w 8079933"/>
              <a:gd name="connsiteY596" fmla="*/ 4425776 h 4687251"/>
              <a:gd name="connsiteX597" fmla="*/ 2369461 w 8079933"/>
              <a:gd name="connsiteY597" fmla="*/ 4422095 h 4687251"/>
              <a:gd name="connsiteX598" fmla="*/ 2374452 w 8079933"/>
              <a:gd name="connsiteY598" fmla="*/ 4421879 h 4687251"/>
              <a:gd name="connsiteX599" fmla="*/ 2317914 w 8079933"/>
              <a:gd name="connsiteY599" fmla="*/ 4420688 h 4687251"/>
              <a:gd name="connsiteX600" fmla="*/ 2321170 w 8079933"/>
              <a:gd name="connsiteY600" fmla="*/ 4423287 h 4687251"/>
              <a:gd name="connsiteX601" fmla="*/ 2324208 w 8079933"/>
              <a:gd name="connsiteY601" fmla="*/ 4423503 h 4687251"/>
              <a:gd name="connsiteX602" fmla="*/ 2328223 w 8079933"/>
              <a:gd name="connsiteY602" fmla="*/ 4429999 h 4687251"/>
              <a:gd name="connsiteX603" fmla="*/ 2329851 w 8079933"/>
              <a:gd name="connsiteY603" fmla="*/ 4435087 h 4687251"/>
              <a:gd name="connsiteX604" fmla="*/ 2323991 w 8079933"/>
              <a:gd name="connsiteY604" fmla="*/ 4429890 h 4687251"/>
              <a:gd name="connsiteX605" fmla="*/ 2319650 w 8079933"/>
              <a:gd name="connsiteY605" fmla="*/ 4428266 h 4687251"/>
              <a:gd name="connsiteX606" fmla="*/ 2315744 w 8079933"/>
              <a:gd name="connsiteY606" fmla="*/ 4422528 h 4687251"/>
              <a:gd name="connsiteX607" fmla="*/ 2315961 w 8079933"/>
              <a:gd name="connsiteY607" fmla="*/ 4420796 h 4687251"/>
              <a:gd name="connsiteX608" fmla="*/ 2304676 w 8079933"/>
              <a:gd name="connsiteY608" fmla="*/ 4408560 h 4687251"/>
              <a:gd name="connsiteX609" fmla="*/ 2306846 w 8079933"/>
              <a:gd name="connsiteY609" fmla="*/ 4409643 h 4687251"/>
              <a:gd name="connsiteX610" fmla="*/ 2312272 w 8079933"/>
              <a:gd name="connsiteY610" fmla="*/ 4410400 h 4687251"/>
              <a:gd name="connsiteX611" fmla="*/ 2310210 w 8079933"/>
              <a:gd name="connsiteY611" fmla="*/ 4414407 h 4687251"/>
              <a:gd name="connsiteX612" fmla="*/ 2310427 w 8079933"/>
              <a:gd name="connsiteY612" fmla="*/ 4418521 h 4687251"/>
              <a:gd name="connsiteX613" fmla="*/ 2307714 w 8079933"/>
              <a:gd name="connsiteY613" fmla="*/ 4420686 h 4687251"/>
              <a:gd name="connsiteX614" fmla="*/ 2305652 w 8079933"/>
              <a:gd name="connsiteY614" fmla="*/ 4420578 h 4687251"/>
              <a:gd name="connsiteX615" fmla="*/ 2304351 w 8079933"/>
              <a:gd name="connsiteY615" fmla="*/ 4416897 h 4687251"/>
              <a:gd name="connsiteX616" fmla="*/ 2301529 w 8079933"/>
              <a:gd name="connsiteY616" fmla="*/ 4414731 h 4687251"/>
              <a:gd name="connsiteX617" fmla="*/ 2303374 w 8079933"/>
              <a:gd name="connsiteY617" fmla="*/ 4412349 h 4687251"/>
              <a:gd name="connsiteX618" fmla="*/ 2303482 w 8079933"/>
              <a:gd name="connsiteY618" fmla="*/ 4409534 h 4687251"/>
              <a:gd name="connsiteX619" fmla="*/ 2295670 w 8079933"/>
              <a:gd name="connsiteY619" fmla="*/ 4389830 h 4687251"/>
              <a:gd name="connsiteX620" fmla="*/ 2298491 w 8079933"/>
              <a:gd name="connsiteY620" fmla="*/ 4394485 h 4687251"/>
              <a:gd name="connsiteX621" fmla="*/ 2297406 w 8079933"/>
              <a:gd name="connsiteY621" fmla="*/ 4398491 h 4687251"/>
              <a:gd name="connsiteX622" fmla="*/ 2294367 w 8079933"/>
              <a:gd name="connsiteY622" fmla="*/ 4400657 h 4687251"/>
              <a:gd name="connsiteX623" fmla="*/ 2291871 w 8079933"/>
              <a:gd name="connsiteY623" fmla="*/ 4398058 h 4687251"/>
              <a:gd name="connsiteX624" fmla="*/ 2292739 w 8079933"/>
              <a:gd name="connsiteY624" fmla="*/ 4395351 h 4687251"/>
              <a:gd name="connsiteX625" fmla="*/ 2290461 w 8079933"/>
              <a:gd name="connsiteY625" fmla="*/ 4392645 h 4687251"/>
              <a:gd name="connsiteX626" fmla="*/ 2289592 w 8079933"/>
              <a:gd name="connsiteY626" fmla="*/ 4365145 h 4687251"/>
              <a:gd name="connsiteX627" fmla="*/ 2290460 w 8079933"/>
              <a:gd name="connsiteY627" fmla="*/ 4366552 h 4687251"/>
              <a:gd name="connsiteX628" fmla="*/ 2295994 w 8079933"/>
              <a:gd name="connsiteY628" fmla="*/ 4369043 h 4687251"/>
              <a:gd name="connsiteX629" fmla="*/ 2297839 w 8079933"/>
              <a:gd name="connsiteY629" fmla="*/ 4372940 h 4687251"/>
              <a:gd name="connsiteX630" fmla="*/ 2295126 w 8079933"/>
              <a:gd name="connsiteY630" fmla="*/ 4373915 h 4687251"/>
              <a:gd name="connsiteX631" fmla="*/ 2291003 w 8079933"/>
              <a:gd name="connsiteY631" fmla="*/ 4380411 h 4687251"/>
              <a:gd name="connsiteX632" fmla="*/ 2289158 w 8079933"/>
              <a:gd name="connsiteY632" fmla="*/ 4379328 h 4687251"/>
              <a:gd name="connsiteX633" fmla="*/ 2289483 w 8079933"/>
              <a:gd name="connsiteY633" fmla="*/ 4375647 h 4687251"/>
              <a:gd name="connsiteX634" fmla="*/ 2286988 w 8079933"/>
              <a:gd name="connsiteY634" fmla="*/ 4367635 h 4687251"/>
              <a:gd name="connsiteX635" fmla="*/ 2300445 w 8079933"/>
              <a:gd name="connsiteY635" fmla="*/ 4362330 h 4687251"/>
              <a:gd name="connsiteX636" fmla="*/ 2307172 w 8079933"/>
              <a:gd name="connsiteY636" fmla="*/ 4362330 h 4687251"/>
              <a:gd name="connsiteX637" fmla="*/ 2310211 w 8079933"/>
              <a:gd name="connsiteY637" fmla="*/ 4364603 h 4687251"/>
              <a:gd name="connsiteX638" fmla="*/ 2312706 w 8079933"/>
              <a:gd name="connsiteY638" fmla="*/ 4375106 h 4687251"/>
              <a:gd name="connsiteX639" fmla="*/ 2315419 w 8079933"/>
              <a:gd name="connsiteY639" fmla="*/ 4380195 h 4687251"/>
              <a:gd name="connsiteX640" fmla="*/ 2316070 w 8079933"/>
              <a:gd name="connsiteY640" fmla="*/ 4388964 h 4687251"/>
              <a:gd name="connsiteX641" fmla="*/ 2315094 w 8079933"/>
              <a:gd name="connsiteY641" fmla="*/ 4390697 h 4687251"/>
              <a:gd name="connsiteX642" fmla="*/ 2317698 w 8079933"/>
              <a:gd name="connsiteY642" fmla="*/ 4397301 h 4687251"/>
              <a:gd name="connsiteX643" fmla="*/ 2317481 w 8079933"/>
              <a:gd name="connsiteY643" fmla="*/ 4404447 h 4687251"/>
              <a:gd name="connsiteX644" fmla="*/ 2314225 w 8079933"/>
              <a:gd name="connsiteY644" fmla="*/ 4407046 h 4687251"/>
              <a:gd name="connsiteX645" fmla="*/ 2311621 w 8079933"/>
              <a:gd name="connsiteY645" fmla="*/ 4405530 h 4687251"/>
              <a:gd name="connsiteX646" fmla="*/ 2310753 w 8079933"/>
              <a:gd name="connsiteY646" fmla="*/ 4400333 h 4687251"/>
              <a:gd name="connsiteX647" fmla="*/ 2309342 w 8079933"/>
              <a:gd name="connsiteY647" fmla="*/ 4396219 h 4687251"/>
              <a:gd name="connsiteX648" fmla="*/ 2308149 w 8079933"/>
              <a:gd name="connsiteY648" fmla="*/ 4400983 h 4687251"/>
              <a:gd name="connsiteX649" fmla="*/ 2305979 w 8079933"/>
              <a:gd name="connsiteY649" fmla="*/ 4402607 h 4687251"/>
              <a:gd name="connsiteX650" fmla="*/ 2301855 w 8079933"/>
              <a:gd name="connsiteY650" fmla="*/ 4398817 h 4687251"/>
              <a:gd name="connsiteX651" fmla="*/ 2300228 w 8079933"/>
              <a:gd name="connsiteY651" fmla="*/ 4393079 h 4687251"/>
              <a:gd name="connsiteX652" fmla="*/ 2295453 w 8079933"/>
              <a:gd name="connsiteY652" fmla="*/ 4383660 h 4687251"/>
              <a:gd name="connsiteX653" fmla="*/ 2300228 w 8079933"/>
              <a:gd name="connsiteY653" fmla="*/ 4382793 h 4687251"/>
              <a:gd name="connsiteX654" fmla="*/ 2303699 w 8079933"/>
              <a:gd name="connsiteY654" fmla="*/ 4379870 h 4687251"/>
              <a:gd name="connsiteX655" fmla="*/ 2304025 w 8079933"/>
              <a:gd name="connsiteY655" fmla="*/ 4376622 h 4687251"/>
              <a:gd name="connsiteX656" fmla="*/ 2302181 w 8079933"/>
              <a:gd name="connsiteY656" fmla="*/ 4379328 h 4687251"/>
              <a:gd name="connsiteX657" fmla="*/ 2300119 w 8079933"/>
              <a:gd name="connsiteY657" fmla="*/ 4379545 h 4687251"/>
              <a:gd name="connsiteX658" fmla="*/ 2299359 w 8079933"/>
              <a:gd name="connsiteY658" fmla="*/ 4376946 h 4687251"/>
              <a:gd name="connsiteX659" fmla="*/ 2300770 w 8079933"/>
              <a:gd name="connsiteY659" fmla="*/ 4372832 h 4687251"/>
              <a:gd name="connsiteX660" fmla="*/ 2297948 w 8079933"/>
              <a:gd name="connsiteY660" fmla="*/ 4369908 h 4687251"/>
              <a:gd name="connsiteX661" fmla="*/ 2297840 w 8079933"/>
              <a:gd name="connsiteY661" fmla="*/ 4364603 h 4687251"/>
              <a:gd name="connsiteX662" fmla="*/ 2282105 w 8079933"/>
              <a:gd name="connsiteY662" fmla="*/ 4352152 h 4687251"/>
              <a:gd name="connsiteX663" fmla="*/ 2283950 w 8079933"/>
              <a:gd name="connsiteY663" fmla="*/ 4352693 h 4687251"/>
              <a:gd name="connsiteX664" fmla="*/ 2287313 w 8079933"/>
              <a:gd name="connsiteY664" fmla="*/ 4354101 h 4687251"/>
              <a:gd name="connsiteX665" fmla="*/ 2288832 w 8079933"/>
              <a:gd name="connsiteY665" fmla="*/ 4358756 h 4687251"/>
              <a:gd name="connsiteX666" fmla="*/ 2287965 w 8079933"/>
              <a:gd name="connsiteY666" fmla="*/ 4362221 h 4687251"/>
              <a:gd name="connsiteX667" fmla="*/ 2285252 w 8079933"/>
              <a:gd name="connsiteY667" fmla="*/ 4362654 h 4687251"/>
              <a:gd name="connsiteX668" fmla="*/ 2284926 w 8079933"/>
              <a:gd name="connsiteY668" fmla="*/ 4360597 h 4687251"/>
              <a:gd name="connsiteX669" fmla="*/ 2282322 w 8079933"/>
              <a:gd name="connsiteY669" fmla="*/ 4358648 h 4687251"/>
              <a:gd name="connsiteX670" fmla="*/ 2282864 w 8079933"/>
              <a:gd name="connsiteY670" fmla="*/ 4339594 h 4687251"/>
              <a:gd name="connsiteX671" fmla="*/ 2286879 w 8079933"/>
              <a:gd name="connsiteY671" fmla="*/ 4340785 h 4687251"/>
              <a:gd name="connsiteX672" fmla="*/ 2293065 w 8079933"/>
              <a:gd name="connsiteY672" fmla="*/ 4350421 h 4687251"/>
              <a:gd name="connsiteX673" fmla="*/ 2297188 w 8079933"/>
              <a:gd name="connsiteY673" fmla="*/ 4356592 h 4687251"/>
              <a:gd name="connsiteX674" fmla="*/ 2296971 w 8079933"/>
              <a:gd name="connsiteY674" fmla="*/ 4361681 h 4687251"/>
              <a:gd name="connsiteX675" fmla="*/ 2295452 w 8079933"/>
              <a:gd name="connsiteY675" fmla="*/ 4364280 h 4687251"/>
              <a:gd name="connsiteX676" fmla="*/ 2291653 w 8079933"/>
              <a:gd name="connsiteY676" fmla="*/ 4362006 h 4687251"/>
              <a:gd name="connsiteX677" fmla="*/ 2289700 w 8079933"/>
              <a:gd name="connsiteY677" fmla="*/ 4354969 h 4687251"/>
              <a:gd name="connsiteX678" fmla="*/ 2290243 w 8079933"/>
              <a:gd name="connsiteY678" fmla="*/ 4353128 h 4687251"/>
              <a:gd name="connsiteX679" fmla="*/ 2287204 w 8079933"/>
              <a:gd name="connsiteY679" fmla="*/ 4350637 h 4687251"/>
              <a:gd name="connsiteX680" fmla="*/ 2282321 w 8079933"/>
              <a:gd name="connsiteY680" fmla="*/ 4349771 h 4687251"/>
              <a:gd name="connsiteX681" fmla="*/ 2281236 w 8079933"/>
              <a:gd name="connsiteY681" fmla="*/ 4344141 h 4687251"/>
              <a:gd name="connsiteX682" fmla="*/ 2281453 w 8079933"/>
              <a:gd name="connsiteY682" fmla="*/ 4341326 h 4687251"/>
              <a:gd name="connsiteX683" fmla="*/ 2356335 w 8079933"/>
              <a:gd name="connsiteY683" fmla="*/ 4337271 h 4687251"/>
              <a:gd name="connsiteX684" fmla="*/ 2357198 w 8079933"/>
              <a:gd name="connsiteY684" fmla="*/ 4339918 h 4687251"/>
              <a:gd name="connsiteX685" fmla="*/ 2357863 w 8079933"/>
              <a:gd name="connsiteY685" fmla="*/ 4343415 h 4687251"/>
              <a:gd name="connsiteX686" fmla="*/ 2357198 w 8079933"/>
              <a:gd name="connsiteY686" fmla="*/ 4339917 h 4687251"/>
              <a:gd name="connsiteX687" fmla="*/ 2298165 w 8079933"/>
              <a:gd name="connsiteY687" fmla="*/ 4332664 h 4687251"/>
              <a:gd name="connsiteX688" fmla="*/ 2298708 w 8079933"/>
              <a:gd name="connsiteY688" fmla="*/ 4340134 h 4687251"/>
              <a:gd name="connsiteX689" fmla="*/ 2303157 w 8079933"/>
              <a:gd name="connsiteY689" fmla="*/ 4342083 h 4687251"/>
              <a:gd name="connsiteX690" fmla="*/ 2303483 w 8079933"/>
              <a:gd name="connsiteY690" fmla="*/ 4347280 h 4687251"/>
              <a:gd name="connsiteX691" fmla="*/ 2307281 w 8079933"/>
              <a:gd name="connsiteY691" fmla="*/ 4350636 h 4687251"/>
              <a:gd name="connsiteX692" fmla="*/ 2309668 w 8079933"/>
              <a:gd name="connsiteY692" fmla="*/ 4358540 h 4687251"/>
              <a:gd name="connsiteX693" fmla="*/ 2304676 w 8079933"/>
              <a:gd name="connsiteY693" fmla="*/ 4358107 h 4687251"/>
              <a:gd name="connsiteX694" fmla="*/ 2300118 w 8079933"/>
              <a:gd name="connsiteY694" fmla="*/ 4358540 h 4687251"/>
              <a:gd name="connsiteX695" fmla="*/ 2298925 w 8079933"/>
              <a:gd name="connsiteY695" fmla="*/ 4353235 h 4687251"/>
              <a:gd name="connsiteX696" fmla="*/ 2301855 w 8079933"/>
              <a:gd name="connsiteY696" fmla="*/ 4350636 h 4687251"/>
              <a:gd name="connsiteX697" fmla="*/ 2299576 w 8079933"/>
              <a:gd name="connsiteY697" fmla="*/ 4348796 h 4687251"/>
              <a:gd name="connsiteX698" fmla="*/ 2298491 w 8079933"/>
              <a:gd name="connsiteY698" fmla="*/ 4350528 h 4687251"/>
              <a:gd name="connsiteX699" fmla="*/ 2292848 w 8079933"/>
              <a:gd name="connsiteY699" fmla="*/ 4341866 h 4687251"/>
              <a:gd name="connsiteX700" fmla="*/ 2288399 w 8079933"/>
              <a:gd name="connsiteY700" fmla="*/ 4338077 h 4687251"/>
              <a:gd name="connsiteX701" fmla="*/ 2290244 w 8079933"/>
              <a:gd name="connsiteY701" fmla="*/ 4335370 h 4687251"/>
              <a:gd name="connsiteX702" fmla="*/ 2294367 w 8079933"/>
              <a:gd name="connsiteY702" fmla="*/ 4334829 h 4687251"/>
              <a:gd name="connsiteX703" fmla="*/ 7289172 w 8079933"/>
              <a:gd name="connsiteY703" fmla="*/ 4317831 h 4687251"/>
              <a:gd name="connsiteX704" fmla="*/ 7290257 w 8079933"/>
              <a:gd name="connsiteY704" fmla="*/ 4320430 h 4687251"/>
              <a:gd name="connsiteX705" fmla="*/ 7288086 w 8079933"/>
              <a:gd name="connsiteY705" fmla="*/ 4323461 h 4687251"/>
              <a:gd name="connsiteX706" fmla="*/ 7286459 w 8079933"/>
              <a:gd name="connsiteY706" fmla="*/ 4330282 h 4687251"/>
              <a:gd name="connsiteX707" fmla="*/ 7283420 w 8079933"/>
              <a:gd name="connsiteY707" fmla="*/ 4328550 h 4687251"/>
              <a:gd name="connsiteX708" fmla="*/ 7286784 w 8079933"/>
              <a:gd name="connsiteY708" fmla="*/ 4323136 h 4687251"/>
              <a:gd name="connsiteX709" fmla="*/ 7286784 w 8079933"/>
              <a:gd name="connsiteY709" fmla="*/ 4318914 h 4687251"/>
              <a:gd name="connsiteX710" fmla="*/ 7930395 w 8079933"/>
              <a:gd name="connsiteY710" fmla="*/ 4299641 h 4687251"/>
              <a:gd name="connsiteX711" fmla="*/ 7928551 w 8079933"/>
              <a:gd name="connsiteY711" fmla="*/ 4302347 h 4687251"/>
              <a:gd name="connsiteX712" fmla="*/ 7926272 w 8079933"/>
              <a:gd name="connsiteY712" fmla="*/ 4302455 h 4687251"/>
              <a:gd name="connsiteX713" fmla="*/ 7928334 w 8079933"/>
              <a:gd name="connsiteY713" fmla="*/ 4300182 h 4687251"/>
              <a:gd name="connsiteX714" fmla="*/ 7927359 w 8079933"/>
              <a:gd name="connsiteY714" fmla="*/ 4298991 h 4687251"/>
              <a:gd name="connsiteX715" fmla="*/ 7927142 w 8079933"/>
              <a:gd name="connsiteY715" fmla="*/ 4300182 h 4687251"/>
              <a:gd name="connsiteX716" fmla="*/ 7925079 w 8079933"/>
              <a:gd name="connsiteY716" fmla="*/ 4301264 h 4687251"/>
              <a:gd name="connsiteX717" fmla="*/ 7922583 w 8079933"/>
              <a:gd name="connsiteY717" fmla="*/ 4301481 h 4687251"/>
              <a:gd name="connsiteX718" fmla="*/ 7314021 w 8079933"/>
              <a:gd name="connsiteY718" fmla="*/ 4298125 h 4687251"/>
              <a:gd name="connsiteX719" fmla="*/ 7316625 w 8079933"/>
              <a:gd name="connsiteY719" fmla="*/ 4300723 h 4687251"/>
              <a:gd name="connsiteX720" fmla="*/ 7314021 w 8079933"/>
              <a:gd name="connsiteY720" fmla="*/ 4302130 h 4687251"/>
              <a:gd name="connsiteX721" fmla="*/ 7930722 w 8079933"/>
              <a:gd name="connsiteY721" fmla="*/ 4289031 h 4687251"/>
              <a:gd name="connsiteX722" fmla="*/ 7934520 w 8079933"/>
              <a:gd name="connsiteY722" fmla="*/ 4290005 h 4687251"/>
              <a:gd name="connsiteX723" fmla="*/ 7933651 w 8079933"/>
              <a:gd name="connsiteY723" fmla="*/ 4292278 h 4687251"/>
              <a:gd name="connsiteX724" fmla="*/ 7930613 w 8079933"/>
              <a:gd name="connsiteY724" fmla="*/ 4294011 h 4687251"/>
              <a:gd name="connsiteX725" fmla="*/ 7928442 w 8079933"/>
              <a:gd name="connsiteY725" fmla="*/ 4297259 h 4687251"/>
              <a:gd name="connsiteX726" fmla="*/ 7927249 w 8079933"/>
              <a:gd name="connsiteY726" fmla="*/ 4297476 h 4687251"/>
              <a:gd name="connsiteX727" fmla="*/ 7927792 w 8079933"/>
              <a:gd name="connsiteY727" fmla="*/ 4296176 h 4687251"/>
              <a:gd name="connsiteX728" fmla="*/ 7928009 w 8079933"/>
              <a:gd name="connsiteY728" fmla="*/ 4292712 h 4687251"/>
              <a:gd name="connsiteX729" fmla="*/ 7905763 w 8079933"/>
              <a:gd name="connsiteY729" fmla="*/ 4281668 h 4687251"/>
              <a:gd name="connsiteX730" fmla="*/ 7909669 w 8079933"/>
              <a:gd name="connsiteY730" fmla="*/ 4282210 h 4687251"/>
              <a:gd name="connsiteX731" fmla="*/ 7906848 w 8079933"/>
              <a:gd name="connsiteY731" fmla="*/ 4286215 h 4687251"/>
              <a:gd name="connsiteX732" fmla="*/ 7906306 w 8079933"/>
              <a:gd name="connsiteY732" fmla="*/ 4289247 h 4687251"/>
              <a:gd name="connsiteX733" fmla="*/ 7908259 w 8079933"/>
              <a:gd name="connsiteY733" fmla="*/ 4291629 h 4687251"/>
              <a:gd name="connsiteX734" fmla="*/ 7909995 w 8079933"/>
              <a:gd name="connsiteY734" fmla="*/ 4292604 h 4687251"/>
              <a:gd name="connsiteX735" fmla="*/ 7912491 w 8079933"/>
              <a:gd name="connsiteY735" fmla="*/ 4290762 h 4687251"/>
              <a:gd name="connsiteX736" fmla="*/ 7913902 w 8079933"/>
              <a:gd name="connsiteY736" fmla="*/ 4292170 h 4687251"/>
              <a:gd name="connsiteX737" fmla="*/ 7913685 w 8079933"/>
              <a:gd name="connsiteY737" fmla="*/ 4294119 h 4687251"/>
              <a:gd name="connsiteX738" fmla="*/ 7914987 w 8079933"/>
              <a:gd name="connsiteY738" fmla="*/ 4294661 h 4687251"/>
              <a:gd name="connsiteX739" fmla="*/ 7914118 w 8079933"/>
              <a:gd name="connsiteY739" fmla="*/ 4297042 h 4687251"/>
              <a:gd name="connsiteX740" fmla="*/ 7911840 w 8079933"/>
              <a:gd name="connsiteY740" fmla="*/ 4299749 h 4687251"/>
              <a:gd name="connsiteX741" fmla="*/ 7909886 w 8079933"/>
              <a:gd name="connsiteY741" fmla="*/ 4301265 h 4687251"/>
              <a:gd name="connsiteX742" fmla="*/ 7912057 w 8079933"/>
              <a:gd name="connsiteY742" fmla="*/ 4308086 h 4687251"/>
              <a:gd name="connsiteX743" fmla="*/ 7915204 w 8079933"/>
              <a:gd name="connsiteY743" fmla="*/ 4309602 h 4687251"/>
              <a:gd name="connsiteX744" fmla="*/ 7918351 w 8079933"/>
              <a:gd name="connsiteY744" fmla="*/ 4305163 h 4687251"/>
              <a:gd name="connsiteX745" fmla="*/ 7921389 w 8079933"/>
              <a:gd name="connsiteY745" fmla="*/ 4303214 h 4687251"/>
              <a:gd name="connsiteX746" fmla="*/ 7924319 w 8079933"/>
              <a:gd name="connsiteY746" fmla="*/ 4304080 h 4687251"/>
              <a:gd name="connsiteX747" fmla="*/ 7926381 w 8079933"/>
              <a:gd name="connsiteY747" fmla="*/ 4303972 h 4687251"/>
              <a:gd name="connsiteX748" fmla="*/ 7925839 w 8079933"/>
              <a:gd name="connsiteY748" fmla="*/ 4306786 h 4687251"/>
              <a:gd name="connsiteX749" fmla="*/ 7928225 w 8079933"/>
              <a:gd name="connsiteY749" fmla="*/ 4309169 h 4687251"/>
              <a:gd name="connsiteX750" fmla="*/ 7932567 w 8079933"/>
              <a:gd name="connsiteY750" fmla="*/ 4306137 h 4687251"/>
              <a:gd name="connsiteX751" fmla="*/ 7930614 w 8079933"/>
              <a:gd name="connsiteY751" fmla="*/ 4305596 h 4687251"/>
              <a:gd name="connsiteX752" fmla="*/ 7929419 w 8079933"/>
              <a:gd name="connsiteY752" fmla="*/ 4304404 h 4687251"/>
              <a:gd name="connsiteX753" fmla="*/ 7932350 w 8079933"/>
              <a:gd name="connsiteY753" fmla="*/ 4298882 h 4687251"/>
              <a:gd name="connsiteX754" fmla="*/ 7935822 w 8079933"/>
              <a:gd name="connsiteY754" fmla="*/ 4299641 h 4687251"/>
              <a:gd name="connsiteX755" fmla="*/ 7936039 w 8079933"/>
              <a:gd name="connsiteY755" fmla="*/ 4302347 h 4687251"/>
              <a:gd name="connsiteX756" fmla="*/ 7937341 w 8079933"/>
              <a:gd name="connsiteY756" fmla="*/ 4302347 h 4687251"/>
              <a:gd name="connsiteX757" fmla="*/ 7934520 w 8079933"/>
              <a:gd name="connsiteY757" fmla="*/ 4307436 h 4687251"/>
              <a:gd name="connsiteX758" fmla="*/ 7929528 w 8079933"/>
              <a:gd name="connsiteY758" fmla="*/ 4310359 h 4687251"/>
              <a:gd name="connsiteX759" fmla="*/ 7932892 w 8079933"/>
              <a:gd name="connsiteY759" fmla="*/ 4309818 h 4687251"/>
              <a:gd name="connsiteX760" fmla="*/ 7936473 w 8079933"/>
              <a:gd name="connsiteY760" fmla="*/ 4308844 h 4687251"/>
              <a:gd name="connsiteX761" fmla="*/ 7932024 w 8079933"/>
              <a:gd name="connsiteY761" fmla="*/ 4315016 h 4687251"/>
              <a:gd name="connsiteX762" fmla="*/ 7930505 w 8079933"/>
              <a:gd name="connsiteY762" fmla="*/ 4314582 h 4687251"/>
              <a:gd name="connsiteX763" fmla="*/ 7929311 w 8079933"/>
              <a:gd name="connsiteY763" fmla="*/ 4318480 h 4687251"/>
              <a:gd name="connsiteX764" fmla="*/ 7928877 w 8079933"/>
              <a:gd name="connsiteY764" fmla="*/ 4322702 h 4687251"/>
              <a:gd name="connsiteX765" fmla="*/ 7930938 w 8079933"/>
              <a:gd name="connsiteY765" fmla="*/ 4327358 h 4687251"/>
              <a:gd name="connsiteX766" fmla="*/ 7931373 w 8079933"/>
              <a:gd name="connsiteY766" fmla="*/ 4332014 h 4687251"/>
              <a:gd name="connsiteX767" fmla="*/ 7933868 w 8079933"/>
              <a:gd name="connsiteY767" fmla="*/ 4332771 h 4687251"/>
              <a:gd name="connsiteX768" fmla="*/ 7929528 w 8079933"/>
              <a:gd name="connsiteY768" fmla="*/ 4335370 h 4687251"/>
              <a:gd name="connsiteX769" fmla="*/ 7917157 w 8079933"/>
              <a:gd name="connsiteY769" fmla="*/ 4345981 h 4687251"/>
              <a:gd name="connsiteX770" fmla="*/ 7916398 w 8079933"/>
              <a:gd name="connsiteY770" fmla="*/ 4348796 h 4687251"/>
              <a:gd name="connsiteX771" fmla="*/ 7907933 w 8079933"/>
              <a:gd name="connsiteY771" fmla="*/ 4357350 h 4687251"/>
              <a:gd name="connsiteX772" fmla="*/ 7908476 w 8079933"/>
              <a:gd name="connsiteY772" fmla="*/ 4359298 h 4687251"/>
              <a:gd name="connsiteX773" fmla="*/ 7904677 w 8079933"/>
              <a:gd name="connsiteY773" fmla="*/ 4358973 h 4687251"/>
              <a:gd name="connsiteX774" fmla="*/ 7899686 w 8079933"/>
              <a:gd name="connsiteY774" fmla="*/ 4364062 h 4687251"/>
              <a:gd name="connsiteX775" fmla="*/ 7899034 w 8079933"/>
              <a:gd name="connsiteY775" fmla="*/ 4368501 h 4687251"/>
              <a:gd name="connsiteX776" fmla="*/ 7893717 w 8079933"/>
              <a:gd name="connsiteY776" fmla="*/ 4374889 h 4687251"/>
              <a:gd name="connsiteX777" fmla="*/ 7892632 w 8079933"/>
              <a:gd name="connsiteY777" fmla="*/ 4377704 h 4687251"/>
              <a:gd name="connsiteX778" fmla="*/ 7885579 w 8079933"/>
              <a:gd name="connsiteY778" fmla="*/ 4382143 h 4687251"/>
              <a:gd name="connsiteX779" fmla="*/ 7879068 w 8079933"/>
              <a:gd name="connsiteY779" fmla="*/ 4384200 h 4687251"/>
              <a:gd name="connsiteX780" fmla="*/ 7875595 w 8079933"/>
              <a:gd name="connsiteY780" fmla="*/ 4385608 h 4687251"/>
              <a:gd name="connsiteX781" fmla="*/ 7873859 w 8079933"/>
              <a:gd name="connsiteY781" fmla="*/ 4393078 h 4687251"/>
              <a:gd name="connsiteX782" fmla="*/ 7874402 w 8079933"/>
              <a:gd name="connsiteY782" fmla="*/ 4398600 h 4687251"/>
              <a:gd name="connsiteX783" fmla="*/ 7872991 w 8079933"/>
              <a:gd name="connsiteY783" fmla="*/ 4400658 h 4687251"/>
              <a:gd name="connsiteX784" fmla="*/ 7876246 w 8079933"/>
              <a:gd name="connsiteY784" fmla="*/ 4401415 h 4687251"/>
              <a:gd name="connsiteX785" fmla="*/ 7878308 w 8079933"/>
              <a:gd name="connsiteY785" fmla="*/ 4404664 h 4687251"/>
              <a:gd name="connsiteX786" fmla="*/ 7877657 w 8079933"/>
              <a:gd name="connsiteY786" fmla="*/ 4411051 h 4687251"/>
              <a:gd name="connsiteX787" fmla="*/ 7875378 w 8079933"/>
              <a:gd name="connsiteY787" fmla="*/ 4412675 h 4687251"/>
              <a:gd name="connsiteX788" fmla="*/ 7873859 w 8079933"/>
              <a:gd name="connsiteY788" fmla="*/ 4411484 h 4687251"/>
              <a:gd name="connsiteX789" fmla="*/ 7874402 w 8079933"/>
              <a:gd name="connsiteY789" fmla="*/ 4406721 h 4687251"/>
              <a:gd name="connsiteX790" fmla="*/ 7872991 w 8079933"/>
              <a:gd name="connsiteY790" fmla="*/ 4405529 h 4687251"/>
              <a:gd name="connsiteX791" fmla="*/ 7871797 w 8079933"/>
              <a:gd name="connsiteY791" fmla="*/ 4407045 h 4687251"/>
              <a:gd name="connsiteX792" fmla="*/ 7872014 w 8079933"/>
              <a:gd name="connsiteY792" fmla="*/ 4410510 h 4687251"/>
              <a:gd name="connsiteX793" fmla="*/ 7870603 w 8079933"/>
              <a:gd name="connsiteY793" fmla="*/ 4412675 h 4687251"/>
              <a:gd name="connsiteX794" fmla="*/ 7867023 w 8079933"/>
              <a:gd name="connsiteY794" fmla="*/ 4411376 h 4687251"/>
              <a:gd name="connsiteX795" fmla="*/ 7861922 w 8079933"/>
              <a:gd name="connsiteY795" fmla="*/ 4411160 h 4687251"/>
              <a:gd name="connsiteX796" fmla="*/ 7866263 w 8079933"/>
              <a:gd name="connsiteY796" fmla="*/ 4409427 h 4687251"/>
              <a:gd name="connsiteX797" fmla="*/ 7866263 w 8079933"/>
              <a:gd name="connsiteY797" fmla="*/ 4407587 h 4687251"/>
              <a:gd name="connsiteX798" fmla="*/ 7863008 w 8079933"/>
              <a:gd name="connsiteY798" fmla="*/ 4406396 h 4687251"/>
              <a:gd name="connsiteX799" fmla="*/ 7859860 w 8079933"/>
              <a:gd name="connsiteY799" fmla="*/ 4408561 h 4687251"/>
              <a:gd name="connsiteX800" fmla="*/ 7859751 w 8079933"/>
              <a:gd name="connsiteY800" fmla="*/ 4410618 h 4687251"/>
              <a:gd name="connsiteX801" fmla="*/ 7856822 w 8079933"/>
              <a:gd name="connsiteY801" fmla="*/ 4411701 h 4687251"/>
              <a:gd name="connsiteX802" fmla="*/ 7855085 w 8079933"/>
              <a:gd name="connsiteY802" fmla="*/ 4411160 h 4687251"/>
              <a:gd name="connsiteX803" fmla="*/ 7853349 w 8079933"/>
              <a:gd name="connsiteY803" fmla="*/ 4406396 h 4687251"/>
              <a:gd name="connsiteX804" fmla="*/ 7849334 w 8079933"/>
              <a:gd name="connsiteY804" fmla="*/ 4404664 h 4687251"/>
              <a:gd name="connsiteX805" fmla="*/ 7852481 w 8079933"/>
              <a:gd name="connsiteY805" fmla="*/ 4407911 h 4687251"/>
              <a:gd name="connsiteX806" fmla="*/ 7852807 w 8079933"/>
              <a:gd name="connsiteY806" fmla="*/ 4411484 h 4687251"/>
              <a:gd name="connsiteX807" fmla="*/ 7849877 w 8079933"/>
              <a:gd name="connsiteY807" fmla="*/ 4415490 h 4687251"/>
              <a:gd name="connsiteX808" fmla="*/ 7847381 w 8079933"/>
              <a:gd name="connsiteY808" fmla="*/ 4416140 h 4687251"/>
              <a:gd name="connsiteX809" fmla="*/ 7843366 w 8079933"/>
              <a:gd name="connsiteY809" fmla="*/ 4416356 h 4687251"/>
              <a:gd name="connsiteX810" fmla="*/ 7841955 w 8079933"/>
              <a:gd name="connsiteY810" fmla="*/ 4419929 h 4687251"/>
              <a:gd name="connsiteX811" fmla="*/ 7839242 w 8079933"/>
              <a:gd name="connsiteY811" fmla="*/ 4419929 h 4687251"/>
              <a:gd name="connsiteX812" fmla="*/ 7835986 w 8079933"/>
              <a:gd name="connsiteY812" fmla="*/ 4417331 h 4687251"/>
              <a:gd name="connsiteX813" fmla="*/ 7834902 w 8079933"/>
              <a:gd name="connsiteY813" fmla="*/ 4421662 h 4687251"/>
              <a:gd name="connsiteX814" fmla="*/ 7831320 w 8079933"/>
              <a:gd name="connsiteY814" fmla="*/ 4423394 h 4687251"/>
              <a:gd name="connsiteX815" fmla="*/ 7827197 w 8079933"/>
              <a:gd name="connsiteY815" fmla="*/ 4428158 h 4687251"/>
              <a:gd name="connsiteX816" fmla="*/ 7826980 w 8079933"/>
              <a:gd name="connsiteY816" fmla="*/ 4432272 h 4687251"/>
              <a:gd name="connsiteX817" fmla="*/ 7824376 w 8079933"/>
              <a:gd name="connsiteY817" fmla="*/ 4436062 h 4687251"/>
              <a:gd name="connsiteX818" fmla="*/ 7819818 w 8079933"/>
              <a:gd name="connsiteY818" fmla="*/ 4443857 h 4687251"/>
              <a:gd name="connsiteX819" fmla="*/ 7818842 w 8079933"/>
              <a:gd name="connsiteY819" fmla="*/ 4448838 h 4687251"/>
              <a:gd name="connsiteX820" fmla="*/ 7816453 w 8079933"/>
              <a:gd name="connsiteY820" fmla="*/ 4452952 h 4687251"/>
              <a:gd name="connsiteX821" fmla="*/ 7806144 w 8079933"/>
              <a:gd name="connsiteY821" fmla="*/ 4460314 h 4687251"/>
              <a:gd name="connsiteX822" fmla="*/ 7802672 w 8079933"/>
              <a:gd name="connsiteY822" fmla="*/ 4464320 h 4687251"/>
              <a:gd name="connsiteX823" fmla="*/ 7801045 w 8079933"/>
              <a:gd name="connsiteY823" fmla="*/ 4471358 h 4687251"/>
              <a:gd name="connsiteX824" fmla="*/ 7797247 w 8079933"/>
              <a:gd name="connsiteY824" fmla="*/ 4478179 h 4687251"/>
              <a:gd name="connsiteX825" fmla="*/ 7792146 w 8079933"/>
              <a:gd name="connsiteY825" fmla="*/ 4484134 h 4687251"/>
              <a:gd name="connsiteX826" fmla="*/ 7793123 w 8079933"/>
              <a:gd name="connsiteY826" fmla="*/ 4484892 h 4687251"/>
              <a:gd name="connsiteX827" fmla="*/ 7792363 w 8079933"/>
              <a:gd name="connsiteY827" fmla="*/ 4486408 h 4687251"/>
              <a:gd name="connsiteX828" fmla="*/ 7789867 w 8079933"/>
              <a:gd name="connsiteY828" fmla="*/ 4487924 h 4687251"/>
              <a:gd name="connsiteX829" fmla="*/ 7793882 w 8079933"/>
              <a:gd name="connsiteY829" fmla="*/ 4487165 h 4687251"/>
              <a:gd name="connsiteX830" fmla="*/ 7794425 w 8079933"/>
              <a:gd name="connsiteY830" fmla="*/ 4488465 h 4687251"/>
              <a:gd name="connsiteX831" fmla="*/ 7792254 w 8079933"/>
              <a:gd name="connsiteY831" fmla="*/ 4490088 h 4687251"/>
              <a:gd name="connsiteX832" fmla="*/ 7786069 w 8079933"/>
              <a:gd name="connsiteY832" fmla="*/ 4489873 h 4687251"/>
              <a:gd name="connsiteX833" fmla="*/ 7779124 w 8079933"/>
              <a:gd name="connsiteY833" fmla="*/ 4492904 h 4687251"/>
              <a:gd name="connsiteX834" fmla="*/ 7776086 w 8079933"/>
              <a:gd name="connsiteY834" fmla="*/ 4497452 h 4687251"/>
              <a:gd name="connsiteX835" fmla="*/ 7774349 w 8079933"/>
              <a:gd name="connsiteY835" fmla="*/ 4502649 h 4687251"/>
              <a:gd name="connsiteX836" fmla="*/ 7768815 w 8079933"/>
              <a:gd name="connsiteY836" fmla="*/ 4505031 h 4687251"/>
              <a:gd name="connsiteX837" fmla="*/ 7769683 w 8079933"/>
              <a:gd name="connsiteY837" fmla="*/ 4501782 h 4687251"/>
              <a:gd name="connsiteX838" fmla="*/ 7766752 w 8079933"/>
              <a:gd name="connsiteY838" fmla="*/ 4499400 h 4687251"/>
              <a:gd name="connsiteX839" fmla="*/ 7767838 w 8079933"/>
              <a:gd name="connsiteY839" fmla="*/ 4503298 h 4687251"/>
              <a:gd name="connsiteX840" fmla="*/ 7767405 w 8079933"/>
              <a:gd name="connsiteY840" fmla="*/ 4505680 h 4687251"/>
              <a:gd name="connsiteX841" fmla="*/ 7762955 w 8079933"/>
              <a:gd name="connsiteY841" fmla="*/ 4507521 h 4687251"/>
              <a:gd name="connsiteX842" fmla="*/ 7756118 w 8079933"/>
              <a:gd name="connsiteY842" fmla="*/ 4513584 h 4687251"/>
              <a:gd name="connsiteX843" fmla="*/ 7747871 w 8079933"/>
              <a:gd name="connsiteY843" fmla="*/ 4516941 h 4687251"/>
              <a:gd name="connsiteX844" fmla="*/ 7742011 w 8079933"/>
              <a:gd name="connsiteY844" fmla="*/ 4517698 h 4687251"/>
              <a:gd name="connsiteX845" fmla="*/ 7738105 w 8079933"/>
              <a:gd name="connsiteY845" fmla="*/ 4516616 h 4687251"/>
              <a:gd name="connsiteX846" fmla="*/ 7738105 w 8079933"/>
              <a:gd name="connsiteY846" fmla="*/ 4514125 h 4687251"/>
              <a:gd name="connsiteX847" fmla="*/ 7731811 w 8079933"/>
              <a:gd name="connsiteY847" fmla="*/ 4517157 h 4687251"/>
              <a:gd name="connsiteX848" fmla="*/ 7729423 w 8079933"/>
              <a:gd name="connsiteY848" fmla="*/ 4516616 h 4687251"/>
              <a:gd name="connsiteX849" fmla="*/ 7734089 w 8079933"/>
              <a:gd name="connsiteY849" fmla="*/ 4513909 h 4687251"/>
              <a:gd name="connsiteX850" fmla="*/ 7730942 w 8079933"/>
              <a:gd name="connsiteY850" fmla="*/ 4511527 h 4687251"/>
              <a:gd name="connsiteX851" fmla="*/ 7726385 w 8079933"/>
              <a:gd name="connsiteY851" fmla="*/ 4507521 h 4687251"/>
              <a:gd name="connsiteX852" fmla="*/ 7725734 w 8079933"/>
              <a:gd name="connsiteY852" fmla="*/ 4503190 h 4687251"/>
              <a:gd name="connsiteX853" fmla="*/ 7723998 w 8079933"/>
              <a:gd name="connsiteY853" fmla="*/ 4501241 h 4687251"/>
              <a:gd name="connsiteX854" fmla="*/ 7720091 w 8079933"/>
              <a:gd name="connsiteY854" fmla="*/ 4501241 h 4687251"/>
              <a:gd name="connsiteX855" fmla="*/ 7717595 w 8079933"/>
              <a:gd name="connsiteY855" fmla="*/ 4499076 h 4687251"/>
              <a:gd name="connsiteX856" fmla="*/ 7718897 w 8079933"/>
              <a:gd name="connsiteY856" fmla="*/ 4497452 h 4687251"/>
              <a:gd name="connsiteX857" fmla="*/ 7717487 w 8079933"/>
              <a:gd name="connsiteY857" fmla="*/ 4493662 h 4687251"/>
              <a:gd name="connsiteX858" fmla="*/ 7713797 w 8079933"/>
              <a:gd name="connsiteY858" fmla="*/ 4491930 h 4687251"/>
              <a:gd name="connsiteX859" fmla="*/ 7711409 w 8079933"/>
              <a:gd name="connsiteY859" fmla="*/ 4492255 h 4687251"/>
              <a:gd name="connsiteX860" fmla="*/ 7710867 w 8079933"/>
              <a:gd name="connsiteY860" fmla="*/ 4494962 h 4687251"/>
              <a:gd name="connsiteX861" fmla="*/ 7708914 w 8079933"/>
              <a:gd name="connsiteY861" fmla="*/ 4494745 h 4687251"/>
              <a:gd name="connsiteX862" fmla="*/ 7708371 w 8079933"/>
              <a:gd name="connsiteY862" fmla="*/ 4493446 h 4687251"/>
              <a:gd name="connsiteX863" fmla="*/ 7702294 w 8079933"/>
              <a:gd name="connsiteY863" fmla="*/ 4492904 h 4687251"/>
              <a:gd name="connsiteX864" fmla="*/ 7700232 w 8079933"/>
              <a:gd name="connsiteY864" fmla="*/ 4491821 h 4687251"/>
              <a:gd name="connsiteX865" fmla="*/ 7696869 w 8079933"/>
              <a:gd name="connsiteY865" fmla="*/ 4488357 h 4687251"/>
              <a:gd name="connsiteX866" fmla="*/ 7697628 w 8079933"/>
              <a:gd name="connsiteY866" fmla="*/ 4483918 h 4687251"/>
              <a:gd name="connsiteX867" fmla="*/ 7700232 w 8079933"/>
              <a:gd name="connsiteY867" fmla="*/ 4482402 h 4687251"/>
              <a:gd name="connsiteX868" fmla="*/ 7697954 w 8079933"/>
              <a:gd name="connsiteY868" fmla="*/ 4481752 h 4687251"/>
              <a:gd name="connsiteX869" fmla="*/ 7695132 w 8079933"/>
              <a:gd name="connsiteY869" fmla="*/ 4481319 h 4687251"/>
              <a:gd name="connsiteX870" fmla="*/ 7700667 w 8079933"/>
              <a:gd name="connsiteY870" fmla="*/ 4475039 h 4687251"/>
              <a:gd name="connsiteX871" fmla="*/ 7705658 w 8079933"/>
              <a:gd name="connsiteY871" fmla="*/ 4474390 h 4687251"/>
              <a:gd name="connsiteX872" fmla="*/ 7709565 w 8079933"/>
              <a:gd name="connsiteY872" fmla="*/ 4474498 h 4687251"/>
              <a:gd name="connsiteX873" fmla="*/ 7711301 w 8079933"/>
              <a:gd name="connsiteY873" fmla="*/ 4472982 h 4687251"/>
              <a:gd name="connsiteX874" fmla="*/ 7709565 w 8079933"/>
              <a:gd name="connsiteY874" fmla="*/ 4470708 h 4687251"/>
              <a:gd name="connsiteX875" fmla="*/ 7705984 w 8079933"/>
              <a:gd name="connsiteY875" fmla="*/ 4467352 h 4687251"/>
              <a:gd name="connsiteX876" fmla="*/ 7705658 w 8079933"/>
              <a:gd name="connsiteY876" fmla="*/ 4464320 h 4687251"/>
              <a:gd name="connsiteX877" fmla="*/ 7709782 w 8079933"/>
              <a:gd name="connsiteY877" fmla="*/ 4457500 h 4687251"/>
              <a:gd name="connsiteX878" fmla="*/ 7711409 w 8079933"/>
              <a:gd name="connsiteY878" fmla="*/ 4456308 h 4687251"/>
              <a:gd name="connsiteX879" fmla="*/ 7713146 w 8079933"/>
              <a:gd name="connsiteY879" fmla="*/ 4453385 h 4687251"/>
              <a:gd name="connsiteX880" fmla="*/ 7714991 w 8079933"/>
              <a:gd name="connsiteY880" fmla="*/ 4454360 h 4687251"/>
              <a:gd name="connsiteX881" fmla="*/ 7716835 w 8079933"/>
              <a:gd name="connsiteY881" fmla="*/ 4458474 h 4687251"/>
              <a:gd name="connsiteX882" fmla="*/ 7718680 w 8079933"/>
              <a:gd name="connsiteY882" fmla="*/ 4456200 h 4687251"/>
              <a:gd name="connsiteX883" fmla="*/ 7719114 w 8079933"/>
              <a:gd name="connsiteY883" fmla="*/ 4447972 h 4687251"/>
              <a:gd name="connsiteX884" fmla="*/ 7721285 w 8079933"/>
              <a:gd name="connsiteY884" fmla="*/ 4445048 h 4687251"/>
              <a:gd name="connsiteX885" fmla="*/ 7723238 w 8079933"/>
              <a:gd name="connsiteY885" fmla="*/ 4445048 h 4687251"/>
              <a:gd name="connsiteX886" fmla="*/ 7730182 w 8079933"/>
              <a:gd name="connsiteY886" fmla="*/ 4437252 h 4687251"/>
              <a:gd name="connsiteX887" fmla="*/ 7732353 w 8079933"/>
              <a:gd name="connsiteY887" fmla="*/ 4438877 h 4687251"/>
              <a:gd name="connsiteX888" fmla="*/ 7734415 w 8079933"/>
              <a:gd name="connsiteY888" fmla="*/ 4436495 h 4687251"/>
              <a:gd name="connsiteX889" fmla="*/ 7734415 w 8079933"/>
              <a:gd name="connsiteY889" fmla="*/ 4430757 h 4687251"/>
              <a:gd name="connsiteX890" fmla="*/ 7737237 w 8079933"/>
              <a:gd name="connsiteY890" fmla="*/ 4428916 h 4687251"/>
              <a:gd name="connsiteX891" fmla="*/ 7740275 w 8079933"/>
              <a:gd name="connsiteY891" fmla="*/ 4426209 h 4687251"/>
              <a:gd name="connsiteX892" fmla="*/ 7742336 w 8079933"/>
              <a:gd name="connsiteY892" fmla="*/ 4427833 h 4687251"/>
              <a:gd name="connsiteX893" fmla="*/ 7742988 w 8079933"/>
              <a:gd name="connsiteY893" fmla="*/ 4430757 h 4687251"/>
              <a:gd name="connsiteX894" fmla="*/ 7744073 w 8079933"/>
              <a:gd name="connsiteY894" fmla="*/ 4425235 h 4687251"/>
              <a:gd name="connsiteX895" fmla="*/ 7748197 w 8079933"/>
              <a:gd name="connsiteY895" fmla="*/ 4419929 h 4687251"/>
              <a:gd name="connsiteX896" fmla="*/ 7751886 w 8079933"/>
              <a:gd name="connsiteY896" fmla="*/ 4418847 h 4687251"/>
              <a:gd name="connsiteX897" fmla="*/ 7757638 w 8079933"/>
              <a:gd name="connsiteY897" fmla="*/ 4414191 h 4687251"/>
              <a:gd name="connsiteX898" fmla="*/ 7760459 w 8079933"/>
              <a:gd name="connsiteY898" fmla="*/ 4410618 h 4687251"/>
              <a:gd name="connsiteX899" fmla="*/ 7767947 w 8079933"/>
              <a:gd name="connsiteY899" fmla="*/ 4404122 h 4687251"/>
              <a:gd name="connsiteX900" fmla="*/ 7771527 w 8079933"/>
              <a:gd name="connsiteY900" fmla="*/ 4403905 h 4687251"/>
              <a:gd name="connsiteX901" fmla="*/ 7773698 w 8079933"/>
              <a:gd name="connsiteY901" fmla="*/ 4405638 h 4687251"/>
              <a:gd name="connsiteX902" fmla="*/ 7777930 w 8079933"/>
              <a:gd name="connsiteY902" fmla="*/ 4404555 h 4687251"/>
              <a:gd name="connsiteX903" fmla="*/ 7781836 w 8079933"/>
              <a:gd name="connsiteY903" fmla="*/ 4403364 h 4687251"/>
              <a:gd name="connsiteX904" fmla="*/ 7783682 w 8079933"/>
              <a:gd name="connsiteY904" fmla="*/ 4404122 h 4687251"/>
              <a:gd name="connsiteX905" fmla="*/ 7787697 w 8079933"/>
              <a:gd name="connsiteY905" fmla="*/ 4408020 h 4687251"/>
              <a:gd name="connsiteX906" fmla="*/ 7787154 w 8079933"/>
              <a:gd name="connsiteY906" fmla="*/ 4403148 h 4687251"/>
              <a:gd name="connsiteX907" fmla="*/ 7785526 w 8079933"/>
              <a:gd name="connsiteY907" fmla="*/ 4399358 h 4687251"/>
              <a:gd name="connsiteX908" fmla="*/ 7786286 w 8079933"/>
              <a:gd name="connsiteY908" fmla="*/ 4396651 h 4687251"/>
              <a:gd name="connsiteX909" fmla="*/ 7794642 w 8079933"/>
              <a:gd name="connsiteY909" fmla="*/ 4391454 h 4687251"/>
              <a:gd name="connsiteX910" fmla="*/ 7799308 w 8079933"/>
              <a:gd name="connsiteY910" fmla="*/ 4390480 h 4687251"/>
              <a:gd name="connsiteX911" fmla="*/ 7807012 w 8079933"/>
              <a:gd name="connsiteY911" fmla="*/ 4383117 h 4687251"/>
              <a:gd name="connsiteX912" fmla="*/ 7815911 w 8079933"/>
              <a:gd name="connsiteY912" fmla="*/ 4378678 h 4687251"/>
              <a:gd name="connsiteX913" fmla="*/ 7819818 w 8079933"/>
              <a:gd name="connsiteY913" fmla="*/ 4378895 h 4687251"/>
              <a:gd name="connsiteX914" fmla="*/ 7820469 w 8079933"/>
              <a:gd name="connsiteY914" fmla="*/ 4375430 h 4687251"/>
              <a:gd name="connsiteX915" fmla="*/ 7826437 w 8079933"/>
              <a:gd name="connsiteY915" fmla="*/ 4372290 h 4687251"/>
              <a:gd name="connsiteX916" fmla="*/ 7831429 w 8079933"/>
              <a:gd name="connsiteY916" fmla="*/ 4371641 h 4687251"/>
              <a:gd name="connsiteX917" fmla="*/ 7841087 w 8079933"/>
              <a:gd name="connsiteY917" fmla="*/ 4364711 h 4687251"/>
              <a:gd name="connsiteX918" fmla="*/ 7849769 w 8079933"/>
              <a:gd name="connsiteY918" fmla="*/ 4354642 h 4687251"/>
              <a:gd name="connsiteX919" fmla="*/ 7850202 w 8079933"/>
              <a:gd name="connsiteY919" fmla="*/ 4350853 h 4687251"/>
              <a:gd name="connsiteX920" fmla="*/ 7852481 w 8079933"/>
              <a:gd name="connsiteY920" fmla="*/ 4347929 h 4687251"/>
              <a:gd name="connsiteX921" fmla="*/ 7852699 w 8079933"/>
              <a:gd name="connsiteY921" fmla="*/ 4342732 h 4687251"/>
              <a:gd name="connsiteX922" fmla="*/ 7856496 w 8079933"/>
              <a:gd name="connsiteY922" fmla="*/ 4338510 h 4687251"/>
              <a:gd name="connsiteX923" fmla="*/ 7859101 w 8079933"/>
              <a:gd name="connsiteY923" fmla="*/ 4337210 h 4687251"/>
              <a:gd name="connsiteX924" fmla="*/ 7859318 w 8079933"/>
              <a:gd name="connsiteY924" fmla="*/ 4332447 h 4687251"/>
              <a:gd name="connsiteX925" fmla="*/ 7860620 w 8079933"/>
              <a:gd name="connsiteY925" fmla="*/ 4328224 h 4687251"/>
              <a:gd name="connsiteX926" fmla="*/ 7864526 w 8079933"/>
              <a:gd name="connsiteY926" fmla="*/ 4325301 h 4687251"/>
              <a:gd name="connsiteX927" fmla="*/ 7869410 w 8079933"/>
              <a:gd name="connsiteY927" fmla="*/ 4325734 h 4687251"/>
              <a:gd name="connsiteX928" fmla="*/ 7873425 w 8079933"/>
              <a:gd name="connsiteY928" fmla="*/ 4324110 h 4687251"/>
              <a:gd name="connsiteX929" fmla="*/ 7875053 w 8079933"/>
              <a:gd name="connsiteY929" fmla="*/ 4320537 h 4687251"/>
              <a:gd name="connsiteX930" fmla="*/ 7880478 w 8079933"/>
              <a:gd name="connsiteY930" fmla="*/ 4313933 h 4687251"/>
              <a:gd name="connsiteX931" fmla="*/ 7882540 w 8079933"/>
              <a:gd name="connsiteY931" fmla="*/ 4313175 h 4687251"/>
              <a:gd name="connsiteX932" fmla="*/ 7886880 w 8079933"/>
              <a:gd name="connsiteY932" fmla="*/ 4307436 h 4687251"/>
              <a:gd name="connsiteX933" fmla="*/ 7891222 w 8079933"/>
              <a:gd name="connsiteY933" fmla="*/ 4296609 h 4687251"/>
              <a:gd name="connsiteX934" fmla="*/ 7891982 w 8079933"/>
              <a:gd name="connsiteY934" fmla="*/ 4290655 h 4687251"/>
              <a:gd name="connsiteX935" fmla="*/ 7896214 w 8079933"/>
              <a:gd name="connsiteY935" fmla="*/ 4287190 h 4687251"/>
              <a:gd name="connsiteX936" fmla="*/ 7899360 w 8079933"/>
              <a:gd name="connsiteY936" fmla="*/ 4285890 h 4687251"/>
              <a:gd name="connsiteX937" fmla="*/ 2284276 w 8079933"/>
              <a:gd name="connsiteY937" fmla="*/ 4260772 h 4687251"/>
              <a:gd name="connsiteX938" fmla="*/ 2284927 w 8079933"/>
              <a:gd name="connsiteY938" fmla="*/ 4264886 h 4687251"/>
              <a:gd name="connsiteX939" fmla="*/ 2282323 w 8079933"/>
              <a:gd name="connsiteY939" fmla="*/ 4264669 h 4687251"/>
              <a:gd name="connsiteX940" fmla="*/ 2282214 w 8079933"/>
              <a:gd name="connsiteY940" fmla="*/ 4260988 h 4687251"/>
              <a:gd name="connsiteX941" fmla="*/ 2300769 w 8079933"/>
              <a:gd name="connsiteY941" fmla="*/ 4259256 h 4687251"/>
              <a:gd name="connsiteX942" fmla="*/ 2298164 w 8079933"/>
              <a:gd name="connsiteY942" fmla="*/ 4262288 h 4687251"/>
              <a:gd name="connsiteX943" fmla="*/ 2295886 w 8079933"/>
              <a:gd name="connsiteY943" fmla="*/ 4259364 h 4687251"/>
              <a:gd name="connsiteX944" fmla="*/ 2288182 w 8079933"/>
              <a:gd name="connsiteY944" fmla="*/ 4257957 h 4687251"/>
              <a:gd name="connsiteX945" fmla="*/ 2289593 w 8079933"/>
              <a:gd name="connsiteY945" fmla="*/ 4260122 h 4687251"/>
              <a:gd name="connsiteX946" fmla="*/ 2293716 w 8079933"/>
              <a:gd name="connsiteY946" fmla="*/ 4260988 h 4687251"/>
              <a:gd name="connsiteX947" fmla="*/ 2295561 w 8079933"/>
              <a:gd name="connsiteY947" fmla="*/ 4264670 h 4687251"/>
              <a:gd name="connsiteX948" fmla="*/ 2290787 w 8079933"/>
              <a:gd name="connsiteY948" fmla="*/ 4265752 h 4687251"/>
              <a:gd name="connsiteX949" fmla="*/ 2286337 w 8079933"/>
              <a:gd name="connsiteY949" fmla="*/ 4260772 h 4687251"/>
              <a:gd name="connsiteX950" fmla="*/ 2293716 w 8079933"/>
              <a:gd name="connsiteY950" fmla="*/ 4253409 h 4687251"/>
              <a:gd name="connsiteX951" fmla="*/ 2293499 w 8079933"/>
              <a:gd name="connsiteY951" fmla="*/ 4257848 h 4687251"/>
              <a:gd name="connsiteX952" fmla="*/ 2289701 w 8079933"/>
              <a:gd name="connsiteY952" fmla="*/ 4253733 h 4687251"/>
              <a:gd name="connsiteX953" fmla="*/ 2297188 w 8079933"/>
              <a:gd name="connsiteY953" fmla="*/ 4245614 h 4687251"/>
              <a:gd name="connsiteX954" fmla="*/ 2302288 w 8079933"/>
              <a:gd name="connsiteY954" fmla="*/ 4245614 h 4687251"/>
              <a:gd name="connsiteX955" fmla="*/ 2302831 w 8079933"/>
              <a:gd name="connsiteY955" fmla="*/ 4253192 h 4687251"/>
              <a:gd name="connsiteX956" fmla="*/ 2300227 w 8079933"/>
              <a:gd name="connsiteY956" fmla="*/ 4256873 h 4687251"/>
              <a:gd name="connsiteX957" fmla="*/ 2297188 w 8079933"/>
              <a:gd name="connsiteY957" fmla="*/ 4255249 h 4687251"/>
              <a:gd name="connsiteX958" fmla="*/ 2295560 w 8079933"/>
              <a:gd name="connsiteY958" fmla="*/ 4250161 h 4687251"/>
              <a:gd name="connsiteX959" fmla="*/ 2293065 w 8079933"/>
              <a:gd name="connsiteY959" fmla="*/ 4248104 h 4687251"/>
              <a:gd name="connsiteX960" fmla="*/ 2357250 w 8079933"/>
              <a:gd name="connsiteY960" fmla="*/ 4243263 h 4687251"/>
              <a:gd name="connsiteX961" fmla="*/ 2359911 w 8079933"/>
              <a:gd name="connsiteY961" fmla="*/ 4247996 h 4687251"/>
              <a:gd name="connsiteX962" fmla="*/ 2359914 w 8079933"/>
              <a:gd name="connsiteY962" fmla="*/ 4248105 h 4687251"/>
              <a:gd name="connsiteX963" fmla="*/ 2359911 w 8079933"/>
              <a:gd name="connsiteY963" fmla="*/ 4247995 h 4687251"/>
              <a:gd name="connsiteX964" fmla="*/ 2297732 w 8079933"/>
              <a:gd name="connsiteY964" fmla="*/ 4240633 h 4687251"/>
              <a:gd name="connsiteX965" fmla="*/ 2297297 w 8079933"/>
              <a:gd name="connsiteY965" fmla="*/ 4244638 h 4687251"/>
              <a:gd name="connsiteX966" fmla="*/ 2291112 w 8079933"/>
              <a:gd name="connsiteY966" fmla="*/ 4244746 h 4687251"/>
              <a:gd name="connsiteX967" fmla="*/ 2288833 w 8079933"/>
              <a:gd name="connsiteY967" fmla="*/ 4242690 h 4687251"/>
              <a:gd name="connsiteX968" fmla="*/ 2294259 w 8079933"/>
              <a:gd name="connsiteY968" fmla="*/ 4240957 h 4687251"/>
              <a:gd name="connsiteX969" fmla="*/ 2337448 w 8079933"/>
              <a:gd name="connsiteY969" fmla="*/ 4232189 h 4687251"/>
              <a:gd name="connsiteX970" fmla="*/ 2340487 w 8079933"/>
              <a:gd name="connsiteY970" fmla="*/ 4235004 h 4687251"/>
              <a:gd name="connsiteX971" fmla="*/ 2342006 w 8079933"/>
              <a:gd name="connsiteY971" fmla="*/ 4233596 h 4687251"/>
              <a:gd name="connsiteX972" fmla="*/ 2340487 w 8079933"/>
              <a:gd name="connsiteY972" fmla="*/ 4235003 h 4687251"/>
              <a:gd name="connsiteX973" fmla="*/ 2267129 w 8079933"/>
              <a:gd name="connsiteY973" fmla="*/ 4232188 h 4687251"/>
              <a:gd name="connsiteX974" fmla="*/ 2271686 w 8079933"/>
              <a:gd name="connsiteY974" fmla="*/ 4232188 h 4687251"/>
              <a:gd name="connsiteX975" fmla="*/ 2274182 w 8079933"/>
              <a:gd name="connsiteY975" fmla="*/ 4235002 h 4687251"/>
              <a:gd name="connsiteX976" fmla="*/ 2272663 w 8079933"/>
              <a:gd name="connsiteY976" fmla="*/ 4237925 h 4687251"/>
              <a:gd name="connsiteX977" fmla="*/ 2266695 w 8079933"/>
              <a:gd name="connsiteY977" fmla="*/ 4235327 h 4687251"/>
              <a:gd name="connsiteX978" fmla="*/ 2286878 w 8079933"/>
              <a:gd name="connsiteY978" fmla="*/ 4232081 h 4687251"/>
              <a:gd name="connsiteX979" fmla="*/ 2296862 w 8079933"/>
              <a:gd name="connsiteY979" fmla="*/ 4232081 h 4687251"/>
              <a:gd name="connsiteX980" fmla="*/ 2294583 w 8079933"/>
              <a:gd name="connsiteY980" fmla="*/ 4234462 h 4687251"/>
              <a:gd name="connsiteX981" fmla="*/ 2288507 w 8079933"/>
              <a:gd name="connsiteY981" fmla="*/ 4235653 h 4687251"/>
              <a:gd name="connsiteX982" fmla="*/ 2287638 w 8079933"/>
              <a:gd name="connsiteY982" fmla="*/ 4237601 h 4687251"/>
              <a:gd name="connsiteX983" fmla="*/ 2285685 w 8079933"/>
              <a:gd name="connsiteY983" fmla="*/ 4235869 h 4687251"/>
              <a:gd name="connsiteX984" fmla="*/ 2277655 w 8079933"/>
              <a:gd name="connsiteY984" fmla="*/ 4226991 h 4687251"/>
              <a:gd name="connsiteX985" fmla="*/ 2280151 w 8079933"/>
              <a:gd name="connsiteY985" fmla="*/ 4229481 h 4687251"/>
              <a:gd name="connsiteX986" fmla="*/ 2277113 w 8079933"/>
              <a:gd name="connsiteY986" fmla="*/ 4231755 h 4687251"/>
              <a:gd name="connsiteX987" fmla="*/ 2275268 w 8079933"/>
              <a:gd name="connsiteY987" fmla="*/ 4229914 h 4687251"/>
              <a:gd name="connsiteX988" fmla="*/ 2300444 w 8079933"/>
              <a:gd name="connsiteY988" fmla="*/ 4225476 h 4687251"/>
              <a:gd name="connsiteX989" fmla="*/ 2301854 w 8079933"/>
              <a:gd name="connsiteY989" fmla="*/ 4230889 h 4687251"/>
              <a:gd name="connsiteX990" fmla="*/ 2298382 w 8079933"/>
              <a:gd name="connsiteY990" fmla="*/ 4230457 h 4687251"/>
              <a:gd name="connsiteX991" fmla="*/ 2281779 w 8079933"/>
              <a:gd name="connsiteY991" fmla="*/ 4223311 h 4687251"/>
              <a:gd name="connsiteX992" fmla="*/ 2286662 w 8079933"/>
              <a:gd name="connsiteY992" fmla="*/ 4223419 h 4687251"/>
              <a:gd name="connsiteX993" fmla="*/ 2289049 w 8079933"/>
              <a:gd name="connsiteY993" fmla="*/ 4228075 h 4687251"/>
              <a:gd name="connsiteX994" fmla="*/ 2285469 w 8079933"/>
              <a:gd name="connsiteY994" fmla="*/ 4228832 h 4687251"/>
              <a:gd name="connsiteX995" fmla="*/ 2282539 w 8079933"/>
              <a:gd name="connsiteY995" fmla="*/ 4230024 h 4687251"/>
              <a:gd name="connsiteX996" fmla="*/ 2282864 w 8079933"/>
              <a:gd name="connsiteY996" fmla="*/ 4226234 h 4687251"/>
              <a:gd name="connsiteX997" fmla="*/ 2296862 w 8079933"/>
              <a:gd name="connsiteY997" fmla="*/ 4222119 h 4687251"/>
              <a:gd name="connsiteX998" fmla="*/ 2296862 w 8079933"/>
              <a:gd name="connsiteY998" fmla="*/ 4228291 h 4687251"/>
              <a:gd name="connsiteX999" fmla="*/ 2292196 w 8079933"/>
              <a:gd name="connsiteY999" fmla="*/ 4223851 h 4687251"/>
              <a:gd name="connsiteX1000" fmla="*/ 2312272 w 8079933"/>
              <a:gd name="connsiteY1000" fmla="*/ 4221361 h 4687251"/>
              <a:gd name="connsiteX1001" fmla="*/ 2316830 w 8079933"/>
              <a:gd name="connsiteY1001" fmla="*/ 4222227 h 4687251"/>
              <a:gd name="connsiteX1002" fmla="*/ 2317807 w 8079933"/>
              <a:gd name="connsiteY1002" fmla="*/ 4225692 h 4687251"/>
              <a:gd name="connsiteX1003" fmla="*/ 2321605 w 8079933"/>
              <a:gd name="connsiteY1003" fmla="*/ 4229806 h 4687251"/>
              <a:gd name="connsiteX1004" fmla="*/ 2319001 w 8079933"/>
              <a:gd name="connsiteY1004" fmla="*/ 4233596 h 4687251"/>
              <a:gd name="connsiteX1005" fmla="*/ 2317698 w 8079933"/>
              <a:gd name="connsiteY1005" fmla="*/ 4236843 h 4687251"/>
              <a:gd name="connsiteX1006" fmla="*/ 2314552 w 8079933"/>
              <a:gd name="connsiteY1006" fmla="*/ 4237602 h 4687251"/>
              <a:gd name="connsiteX1007" fmla="*/ 2312272 w 8079933"/>
              <a:gd name="connsiteY1007" fmla="*/ 4236302 h 4687251"/>
              <a:gd name="connsiteX1008" fmla="*/ 2309885 w 8079933"/>
              <a:gd name="connsiteY1008" fmla="*/ 4235869 h 4687251"/>
              <a:gd name="connsiteX1009" fmla="*/ 2306412 w 8079933"/>
              <a:gd name="connsiteY1009" fmla="*/ 4239442 h 4687251"/>
              <a:gd name="connsiteX1010" fmla="*/ 2306087 w 8079933"/>
              <a:gd name="connsiteY1010" fmla="*/ 4234137 h 4687251"/>
              <a:gd name="connsiteX1011" fmla="*/ 2305219 w 8079933"/>
              <a:gd name="connsiteY1011" fmla="*/ 4230347 h 4687251"/>
              <a:gd name="connsiteX1012" fmla="*/ 2307498 w 8079933"/>
              <a:gd name="connsiteY1012" fmla="*/ 4223310 h 4687251"/>
              <a:gd name="connsiteX1013" fmla="*/ 7340934 w 8079933"/>
              <a:gd name="connsiteY1013" fmla="*/ 4221254 h 4687251"/>
              <a:gd name="connsiteX1014" fmla="*/ 7339849 w 8079933"/>
              <a:gd name="connsiteY1014" fmla="*/ 4225151 h 4687251"/>
              <a:gd name="connsiteX1015" fmla="*/ 7337461 w 8079933"/>
              <a:gd name="connsiteY1015" fmla="*/ 4222444 h 4687251"/>
              <a:gd name="connsiteX1016" fmla="*/ 7255423 w 8079933"/>
              <a:gd name="connsiteY1016" fmla="*/ 4217248 h 4687251"/>
              <a:gd name="connsiteX1017" fmla="*/ 7260089 w 8079933"/>
              <a:gd name="connsiteY1017" fmla="*/ 4220604 h 4687251"/>
              <a:gd name="connsiteX1018" fmla="*/ 7264430 w 8079933"/>
              <a:gd name="connsiteY1018" fmla="*/ 4222769 h 4687251"/>
              <a:gd name="connsiteX1019" fmla="*/ 7268011 w 8079933"/>
              <a:gd name="connsiteY1019" fmla="*/ 4225693 h 4687251"/>
              <a:gd name="connsiteX1020" fmla="*/ 7268771 w 8079933"/>
              <a:gd name="connsiteY1020" fmla="*/ 4223203 h 4687251"/>
              <a:gd name="connsiteX1021" fmla="*/ 7270724 w 8079933"/>
              <a:gd name="connsiteY1021" fmla="*/ 4220820 h 4687251"/>
              <a:gd name="connsiteX1022" fmla="*/ 7270724 w 8079933"/>
              <a:gd name="connsiteY1022" fmla="*/ 4227858 h 4687251"/>
              <a:gd name="connsiteX1023" fmla="*/ 7279079 w 8079933"/>
              <a:gd name="connsiteY1023" fmla="*/ 4232405 h 4687251"/>
              <a:gd name="connsiteX1024" fmla="*/ 7285591 w 8079933"/>
              <a:gd name="connsiteY1024" fmla="*/ 4238360 h 4687251"/>
              <a:gd name="connsiteX1025" fmla="*/ 7290040 w 8079933"/>
              <a:gd name="connsiteY1025" fmla="*/ 4241609 h 4687251"/>
              <a:gd name="connsiteX1026" fmla="*/ 7293078 w 8079933"/>
              <a:gd name="connsiteY1026" fmla="*/ 4239335 h 4687251"/>
              <a:gd name="connsiteX1027" fmla="*/ 7297744 w 8079933"/>
              <a:gd name="connsiteY1027" fmla="*/ 4239335 h 4687251"/>
              <a:gd name="connsiteX1028" fmla="*/ 7301326 w 8079933"/>
              <a:gd name="connsiteY1028" fmla="*/ 4242799 h 4687251"/>
              <a:gd name="connsiteX1029" fmla="*/ 7301326 w 8079933"/>
              <a:gd name="connsiteY1029" fmla="*/ 4238468 h 4687251"/>
              <a:gd name="connsiteX1030" fmla="*/ 7304364 w 8079933"/>
              <a:gd name="connsiteY1030" fmla="*/ 4236519 h 4687251"/>
              <a:gd name="connsiteX1031" fmla="*/ 7318689 w 8079933"/>
              <a:gd name="connsiteY1031" fmla="*/ 4237386 h 4687251"/>
              <a:gd name="connsiteX1032" fmla="*/ 7321184 w 8079933"/>
              <a:gd name="connsiteY1032" fmla="*/ 4235762 h 4687251"/>
              <a:gd name="connsiteX1033" fmla="*/ 7324440 w 8079933"/>
              <a:gd name="connsiteY1033" fmla="*/ 4233272 h 4687251"/>
              <a:gd name="connsiteX1034" fmla="*/ 7327153 w 8079933"/>
              <a:gd name="connsiteY1034" fmla="*/ 4233272 h 4687251"/>
              <a:gd name="connsiteX1035" fmla="*/ 7328455 w 8079933"/>
              <a:gd name="connsiteY1035" fmla="*/ 4234138 h 4687251"/>
              <a:gd name="connsiteX1036" fmla="*/ 7331168 w 8079933"/>
              <a:gd name="connsiteY1036" fmla="*/ 4229807 h 4687251"/>
              <a:gd name="connsiteX1037" fmla="*/ 7331711 w 8079933"/>
              <a:gd name="connsiteY1037" fmla="*/ 4229049 h 4687251"/>
              <a:gd name="connsiteX1038" fmla="*/ 7337353 w 8079933"/>
              <a:gd name="connsiteY1038" fmla="*/ 4233055 h 4687251"/>
              <a:gd name="connsiteX1039" fmla="*/ 7335726 w 8079933"/>
              <a:gd name="connsiteY1039" fmla="*/ 4237169 h 4687251"/>
              <a:gd name="connsiteX1040" fmla="*/ 7333556 w 8079933"/>
              <a:gd name="connsiteY1040" fmla="*/ 4249403 h 4687251"/>
              <a:gd name="connsiteX1041" fmla="*/ 7329431 w 8079933"/>
              <a:gd name="connsiteY1041" fmla="*/ 4254384 h 4687251"/>
              <a:gd name="connsiteX1042" fmla="*/ 7329431 w 8079933"/>
              <a:gd name="connsiteY1042" fmla="*/ 4263263 h 4687251"/>
              <a:gd name="connsiteX1043" fmla="*/ 7325959 w 8079933"/>
              <a:gd name="connsiteY1043" fmla="*/ 4268351 h 4687251"/>
              <a:gd name="connsiteX1044" fmla="*/ 7327261 w 8079933"/>
              <a:gd name="connsiteY1044" fmla="*/ 4274305 h 4687251"/>
              <a:gd name="connsiteX1045" fmla="*/ 7325959 w 8079933"/>
              <a:gd name="connsiteY1045" fmla="*/ 4276471 h 4687251"/>
              <a:gd name="connsiteX1046" fmla="*/ 7325959 w 8079933"/>
              <a:gd name="connsiteY1046" fmla="*/ 4280802 h 4687251"/>
              <a:gd name="connsiteX1047" fmla="*/ 7323572 w 8079933"/>
              <a:gd name="connsiteY1047" fmla="*/ 4285999 h 4687251"/>
              <a:gd name="connsiteX1048" fmla="*/ 7322703 w 8079933"/>
              <a:gd name="connsiteY1048" fmla="*/ 4282643 h 4687251"/>
              <a:gd name="connsiteX1049" fmla="*/ 7321293 w 8079933"/>
              <a:gd name="connsiteY1049" fmla="*/ 4275713 h 4687251"/>
              <a:gd name="connsiteX1050" fmla="*/ 7318797 w 8079933"/>
              <a:gd name="connsiteY1050" fmla="*/ 4280260 h 4687251"/>
              <a:gd name="connsiteX1051" fmla="*/ 7315759 w 8079933"/>
              <a:gd name="connsiteY1051" fmla="*/ 4282426 h 4687251"/>
              <a:gd name="connsiteX1052" fmla="*/ 7315759 w 8079933"/>
              <a:gd name="connsiteY1052" fmla="*/ 4293253 h 4687251"/>
              <a:gd name="connsiteX1053" fmla="*/ 7313805 w 8079933"/>
              <a:gd name="connsiteY1053" fmla="*/ 4295202 h 4687251"/>
              <a:gd name="connsiteX1054" fmla="*/ 7310007 w 8079933"/>
              <a:gd name="connsiteY1054" fmla="*/ 4295202 h 4687251"/>
              <a:gd name="connsiteX1055" fmla="*/ 7310007 w 8079933"/>
              <a:gd name="connsiteY1055" fmla="*/ 4300615 h 4687251"/>
              <a:gd name="connsiteX1056" fmla="*/ 7306643 w 8079933"/>
              <a:gd name="connsiteY1056" fmla="*/ 4304946 h 4687251"/>
              <a:gd name="connsiteX1057" fmla="*/ 7310441 w 8079933"/>
              <a:gd name="connsiteY1057" fmla="*/ 4307437 h 4687251"/>
              <a:gd name="connsiteX1058" fmla="*/ 7310441 w 8079933"/>
              <a:gd name="connsiteY1058" fmla="*/ 4310360 h 4687251"/>
              <a:gd name="connsiteX1059" fmla="*/ 7305015 w 8079933"/>
              <a:gd name="connsiteY1059" fmla="*/ 4318155 h 4687251"/>
              <a:gd name="connsiteX1060" fmla="*/ 7303062 w 8079933"/>
              <a:gd name="connsiteY1060" fmla="*/ 4317506 h 4687251"/>
              <a:gd name="connsiteX1061" fmla="*/ 7298830 w 8079933"/>
              <a:gd name="connsiteY1061" fmla="*/ 4319563 h 4687251"/>
              <a:gd name="connsiteX1062" fmla="*/ 7298830 w 8079933"/>
              <a:gd name="connsiteY1062" fmla="*/ 4312526 h 4687251"/>
              <a:gd name="connsiteX1063" fmla="*/ 7303713 w 8079933"/>
              <a:gd name="connsiteY1063" fmla="*/ 4314583 h 4687251"/>
              <a:gd name="connsiteX1064" fmla="*/ 7304364 w 8079933"/>
              <a:gd name="connsiteY1064" fmla="*/ 4310577 h 4687251"/>
              <a:gd name="connsiteX1065" fmla="*/ 7301651 w 8079933"/>
              <a:gd name="connsiteY1065" fmla="*/ 4308194 h 4687251"/>
              <a:gd name="connsiteX1066" fmla="*/ 7297636 w 8079933"/>
              <a:gd name="connsiteY1066" fmla="*/ 4308953 h 4687251"/>
              <a:gd name="connsiteX1067" fmla="*/ 7295249 w 8079933"/>
              <a:gd name="connsiteY1067" fmla="*/ 4313067 h 4687251"/>
              <a:gd name="connsiteX1068" fmla="*/ 7292210 w 8079933"/>
              <a:gd name="connsiteY1068" fmla="*/ 4311984 h 4687251"/>
              <a:gd name="connsiteX1069" fmla="*/ 7292210 w 8079933"/>
              <a:gd name="connsiteY1069" fmla="*/ 4307004 h 4687251"/>
              <a:gd name="connsiteX1070" fmla="*/ 7290365 w 8079933"/>
              <a:gd name="connsiteY1070" fmla="*/ 4311984 h 4687251"/>
              <a:gd name="connsiteX1071" fmla="*/ 7286025 w 8079933"/>
              <a:gd name="connsiteY1071" fmla="*/ 4315448 h 4687251"/>
              <a:gd name="connsiteX1072" fmla="*/ 7284614 w 8079933"/>
              <a:gd name="connsiteY1072" fmla="*/ 4317939 h 4687251"/>
              <a:gd name="connsiteX1073" fmla="*/ 7281359 w 8079933"/>
              <a:gd name="connsiteY1073" fmla="*/ 4314907 h 4687251"/>
              <a:gd name="connsiteX1074" fmla="*/ 7279188 w 8079933"/>
              <a:gd name="connsiteY1074" fmla="*/ 4322703 h 4687251"/>
              <a:gd name="connsiteX1075" fmla="*/ 7278646 w 8079933"/>
              <a:gd name="connsiteY1075" fmla="*/ 4327033 h 4687251"/>
              <a:gd name="connsiteX1076" fmla="*/ 7274197 w 8079933"/>
              <a:gd name="connsiteY1076" fmla="*/ 4333854 h 4687251"/>
              <a:gd name="connsiteX1077" fmla="*/ 7270398 w 8079933"/>
              <a:gd name="connsiteY1077" fmla="*/ 4333854 h 4687251"/>
              <a:gd name="connsiteX1078" fmla="*/ 7268011 w 8079933"/>
              <a:gd name="connsiteY1078" fmla="*/ 4329524 h 4687251"/>
              <a:gd name="connsiteX1079" fmla="*/ 7268011 w 8079933"/>
              <a:gd name="connsiteY1079" fmla="*/ 4325518 h 4687251"/>
              <a:gd name="connsiteX1080" fmla="*/ 7264212 w 8079933"/>
              <a:gd name="connsiteY1080" fmla="*/ 4330498 h 4687251"/>
              <a:gd name="connsiteX1081" fmla="*/ 7260957 w 8079933"/>
              <a:gd name="connsiteY1081" fmla="*/ 4327250 h 4687251"/>
              <a:gd name="connsiteX1082" fmla="*/ 7256617 w 8079933"/>
              <a:gd name="connsiteY1082" fmla="*/ 4328116 h 4687251"/>
              <a:gd name="connsiteX1083" fmla="*/ 7254663 w 8079933"/>
              <a:gd name="connsiteY1083" fmla="*/ 4327250 h 4687251"/>
              <a:gd name="connsiteX1084" fmla="*/ 7254663 w 8079933"/>
              <a:gd name="connsiteY1084" fmla="*/ 4323027 h 4687251"/>
              <a:gd name="connsiteX1085" fmla="*/ 7257376 w 8079933"/>
              <a:gd name="connsiteY1085" fmla="*/ 4319996 h 4687251"/>
              <a:gd name="connsiteX1086" fmla="*/ 7252818 w 8079933"/>
              <a:gd name="connsiteY1086" fmla="*/ 4318372 h 4687251"/>
              <a:gd name="connsiteX1087" fmla="*/ 7251733 w 8079933"/>
              <a:gd name="connsiteY1087" fmla="*/ 4312200 h 4687251"/>
              <a:gd name="connsiteX1088" fmla="*/ 7252818 w 8079933"/>
              <a:gd name="connsiteY1088" fmla="*/ 4310251 h 4687251"/>
              <a:gd name="connsiteX1089" fmla="*/ 7250322 w 8079933"/>
              <a:gd name="connsiteY1089" fmla="*/ 4308302 h 4687251"/>
              <a:gd name="connsiteX1090" fmla="*/ 7250322 w 8079933"/>
              <a:gd name="connsiteY1090" fmla="*/ 4294986 h 4687251"/>
              <a:gd name="connsiteX1091" fmla="*/ 7251408 w 8079933"/>
              <a:gd name="connsiteY1091" fmla="*/ 4292495 h 4687251"/>
              <a:gd name="connsiteX1092" fmla="*/ 7248152 w 8079933"/>
              <a:gd name="connsiteY1092" fmla="*/ 4289788 h 4687251"/>
              <a:gd name="connsiteX1093" fmla="*/ 7248152 w 8079933"/>
              <a:gd name="connsiteY1093" fmla="*/ 4281452 h 4687251"/>
              <a:gd name="connsiteX1094" fmla="*/ 7250105 w 8079933"/>
              <a:gd name="connsiteY1094" fmla="*/ 4276796 h 4687251"/>
              <a:gd name="connsiteX1095" fmla="*/ 7254120 w 8079933"/>
              <a:gd name="connsiteY1095" fmla="*/ 4281235 h 4687251"/>
              <a:gd name="connsiteX1096" fmla="*/ 7259221 w 8079933"/>
              <a:gd name="connsiteY1096" fmla="*/ 4281235 h 4687251"/>
              <a:gd name="connsiteX1097" fmla="*/ 7254880 w 8079933"/>
              <a:gd name="connsiteY1097" fmla="*/ 4276904 h 4687251"/>
              <a:gd name="connsiteX1098" fmla="*/ 7254880 w 8079933"/>
              <a:gd name="connsiteY1098" fmla="*/ 4273873 h 4687251"/>
              <a:gd name="connsiteX1099" fmla="*/ 7252710 w 8079933"/>
              <a:gd name="connsiteY1099" fmla="*/ 4272465 h 4687251"/>
              <a:gd name="connsiteX1100" fmla="*/ 7254011 w 8079933"/>
              <a:gd name="connsiteY1100" fmla="*/ 4265753 h 4687251"/>
              <a:gd name="connsiteX1101" fmla="*/ 7252927 w 8079933"/>
              <a:gd name="connsiteY1101" fmla="*/ 4257307 h 4687251"/>
              <a:gd name="connsiteX1102" fmla="*/ 7252384 w 8079933"/>
              <a:gd name="connsiteY1102" fmla="*/ 4246480 h 4687251"/>
              <a:gd name="connsiteX1103" fmla="*/ 7253578 w 8079933"/>
              <a:gd name="connsiteY1103" fmla="*/ 4240417 h 4687251"/>
              <a:gd name="connsiteX1104" fmla="*/ 7252493 w 8079933"/>
              <a:gd name="connsiteY1104" fmla="*/ 4231106 h 4687251"/>
              <a:gd name="connsiteX1105" fmla="*/ 7252493 w 8079933"/>
              <a:gd name="connsiteY1105" fmla="*/ 4226126 h 4687251"/>
              <a:gd name="connsiteX1106" fmla="*/ 7253904 w 8079933"/>
              <a:gd name="connsiteY1106" fmla="*/ 4225043 h 4687251"/>
              <a:gd name="connsiteX1107" fmla="*/ 7253904 w 8079933"/>
              <a:gd name="connsiteY1107" fmla="*/ 4219521 h 4687251"/>
              <a:gd name="connsiteX1108" fmla="*/ 7264863 w 8079933"/>
              <a:gd name="connsiteY1108" fmla="*/ 4216381 h 4687251"/>
              <a:gd name="connsiteX1109" fmla="*/ 7268011 w 8079933"/>
              <a:gd name="connsiteY1109" fmla="*/ 4219304 h 4687251"/>
              <a:gd name="connsiteX1110" fmla="*/ 7265731 w 8079933"/>
              <a:gd name="connsiteY1110" fmla="*/ 4221577 h 4687251"/>
              <a:gd name="connsiteX1111" fmla="*/ 7262693 w 8079933"/>
              <a:gd name="connsiteY1111" fmla="*/ 4220603 h 4687251"/>
              <a:gd name="connsiteX1112" fmla="*/ 7261825 w 8079933"/>
              <a:gd name="connsiteY1112" fmla="*/ 4217030 h 4687251"/>
              <a:gd name="connsiteX1113" fmla="*/ 2306412 w 8079933"/>
              <a:gd name="connsiteY1113" fmla="*/ 4216381 h 4687251"/>
              <a:gd name="connsiteX1114" fmla="*/ 2310644 w 8079933"/>
              <a:gd name="connsiteY1114" fmla="*/ 4219629 h 4687251"/>
              <a:gd name="connsiteX1115" fmla="*/ 2305760 w 8079933"/>
              <a:gd name="connsiteY1115" fmla="*/ 4220062 h 4687251"/>
              <a:gd name="connsiteX1116" fmla="*/ 2304567 w 8079933"/>
              <a:gd name="connsiteY1116" fmla="*/ 4217680 h 4687251"/>
              <a:gd name="connsiteX1117" fmla="*/ 2283080 w 8079933"/>
              <a:gd name="connsiteY1117" fmla="*/ 4215839 h 4687251"/>
              <a:gd name="connsiteX1118" fmla="*/ 2286661 w 8079933"/>
              <a:gd name="connsiteY1118" fmla="*/ 4215947 h 4687251"/>
              <a:gd name="connsiteX1119" fmla="*/ 2289049 w 8079933"/>
              <a:gd name="connsiteY1119" fmla="*/ 4218546 h 4687251"/>
              <a:gd name="connsiteX1120" fmla="*/ 2288506 w 8079933"/>
              <a:gd name="connsiteY1120" fmla="*/ 4220495 h 4687251"/>
              <a:gd name="connsiteX1121" fmla="*/ 2284816 w 8079933"/>
              <a:gd name="connsiteY1121" fmla="*/ 4222011 h 4687251"/>
              <a:gd name="connsiteX1122" fmla="*/ 2282212 w 8079933"/>
              <a:gd name="connsiteY1122" fmla="*/ 4221361 h 4687251"/>
              <a:gd name="connsiteX1123" fmla="*/ 2281453 w 8079933"/>
              <a:gd name="connsiteY1123" fmla="*/ 4219087 h 4687251"/>
              <a:gd name="connsiteX1124" fmla="*/ 2351773 w 8079933"/>
              <a:gd name="connsiteY1124" fmla="*/ 4214973 h 4687251"/>
              <a:gd name="connsiteX1125" fmla="*/ 2348083 w 8079933"/>
              <a:gd name="connsiteY1125" fmla="*/ 4217463 h 4687251"/>
              <a:gd name="connsiteX1126" fmla="*/ 2343634 w 8079933"/>
              <a:gd name="connsiteY1126" fmla="*/ 4216597 h 4687251"/>
              <a:gd name="connsiteX1127" fmla="*/ 2343634 w 8079933"/>
              <a:gd name="connsiteY1127" fmla="*/ 4216598 h 4687251"/>
              <a:gd name="connsiteX1128" fmla="*/ 2348084 w 8079933"/>
              <a:gd name="connsiteY1128" fmla="*/ 4217464 h 4687251"/>
              <a:gd name="connsiteX1129" fmla="*/ 2288617 w 8079933"/>
              <a:gd name="connsiteY1129" fmla="*/ 4211833 h 4687251"/>
              <a:gd name="connsiteX1130" fmla="*/ 2290678 w 8079933"/>
              <a:gd name="connsiteY1130" fmla="*/ 4213240 h 4687251"/>
              <a:gd name="connsiteX1131" fmla="*/ 2289810 w 8079933"/>
              <a:gd name="connsiteY1131" fmla="*/ 4215838 h 4687251"/>
              <a:gd name="connsiteX1132" fmla="*/ 2287640 w 8079933"/>
              <a:gd name="connsiteY1132" fmla="*/ 4213132 h 4687251"/>
              <a:gd name="connsiteX1133" fmla="*/ 7343430 w 8079933"/>
              <a:gd name="connsiteY1133" fmla="*/ 4211401 h 4687251"/>
              <a:gd name="connsiteX1134" fmla="*/ 7348312 w 8079933"/>
              <a:gd name="connsiteY1134" fmla="*/ 4215948 h 4687251"/>
              <a:gd name="connsiteX1135" fmla="*/ 7347553 w 8079933"/>
              <a:gd name="connsiteY1135" fmla="*/ 4218655 h 4687251"/>
              <a:gd name="connsiteX1136" fmla="*/ 7343972 w 8079933"/>
              <a:gd name="connsiteY1136" fmla="*/ 4217139 h 4687251"/>
              <a:gd name="connsiteX1137" fmla="*/ 7336702 w 8079933"/>
              <a:gd name="connsiteY1137" fmla="*/ 4216815 h 4687251"/>
              <a:gd name="connsiteX1138" fmla="*/ 7335291 w 8079933"/>
              <a:gd name="connsiteY1138" fmla="*/ 4213783 h 4687251"/>
              <a:gd name="connsiteX1139" fmla="*/ 7338004 w 8079933"/>
              <a:gd name="connsiteY1139" fmla="*/ 4211942 h 4687251"/>
              <a:gd name="connsiteX1140" fmla="*/ 7266274 w 8079933"/>
              <a:gd name="connsiteY1140" fmla="*/ 4207177 h 4687251"/>
              <a:gd name="connsiteX1141" fmla="*/ 7266708 w 8079933"/>
              <a:gd name="connsiteY1141" fmla="*/ 4211508 h 4687251"/>
              <a:gd name="connsiteX1142" fmla="*/ 7263995 w 8079933"/>
              <a:gd name="connsiteY1142" fmla="*/ 4211724 h 4687251"/>
              <a:gd name="connsiteX1143" fmla="*/ 7263778 w 8079933"/>
              <a:gd name="connsiteY1143" fmla="*/ 4208260 h 4687251"/>
              <a:gd name="connsiteX1144" fmla="*/ 7261610 w 8079933"/>
              <a:gd name="connsiteY1144" fmla="*/ 4206529 h 4687251"/>
              <a:gd name="connsiteX1145" fmla="*/ 7261827 w 8079933"/>
              <a:gd name="connsiteY1145" fmla="*/ 4210643 h 4687251"/>
              <a:gd name="connsiteX1146" fmla="*/ 7260307 w 8079933"/>
              <a:gd name="connsiteY1146" fmla="*/ 4213891 h 4687251"/>
              <a:gd name="connsiteX1147" fmla="*/ 7257051 w 8079933"/>
              <a:gd name="connsiteY1147" fmla="*/ 4212051 h 4687251"/>
              <a:gd name="connsiteX1148" fmla="*/ 7258354 w 8079933"/>
              <a:gd name="connsiteY1148" fmla="*/ 4208369 h 4687251"/>
              <a:gd name="connsiteX1149" fmla="*/ 2296754 w 8079933"/>
              <a:gd name="connsiteY1149" fmla="*/ 4205338 h 4687251"/>
              <a:gd name="connsiteX1150" fmla="*/ 2300335 w 8079933"/>
              <a:gd name="connsiteY1150" fmla="*/ 4206421 h 4687251"/>
              <a:gd name="connsiteX1151" fmla="*/ 2300878 w 8079933"/>
              <a:gd name="connsiteY1151" fmla="*/ 4211076 h 4687251"/>
              <a:gd name="connsiteX1152" fmla="*/ 2297839 w 8079933"/>
              <a:gd name="connsiteY1152" fmla="*/ 4212808 h 4687251"/>
              <a:gd name="connsiteX1153" fmla="*/ 2297514 w 8079933"/>
              <a:gd name="connsiteY1153" fmla="*/ 4209993 h 4687251"/>
              <a:gd name="connsiteX1154" fmla="*/ 2294367 w 8079933"/>
              <a:gd name="connsiteY1154" fmla="*/ 4207395 h 4687251"/>
              <a:gd name="connsiteX1155" fmla="*/ 2308257 w 8079933"/>
              <a:gd name="connsiteY1155" fmla="*/ 4203171 h 4687251"/>
              <a:gd name="connsiteX1156" fmla="*/ 2308257 w 8079933"/>
              <a:gd name="connsiteY1156" fmla="*/ 4206419 h 4687251"/>
              <a:gd name="connsiteX1157" fmla="*/ 2305653 w 8079933"/>
              <a:gd name="connsiteY1157" fmla="*/ 4208908 h 4687251"/>
              <a:gd name="connsiteX1158" fmla="*/ 2304025 w 8079933"/>
              <a:gd name="connsiteY1158" fmla="*/ 4205986 h 4687251"/>
              <a:gd name="connsiteX1159" fmla="*/ 2286988 w 8079933"/>
              <a:gd name="connsiteY1159" fmla="*/ 4202414 h 4687251"/>
              <a:gd name="connsiteX1160" fmla="*/ 2293282 w 8079933"/>
              <a:gd name="connsiteY1160" fmla="*/ 4203821 h 4687251"/>
              <a:gd name="connsiteX1161" fmla="*/ 2288508 w 8079933"/>
              <a:gd name="connsiteY1161" fmla="*/ 4206961 h 4687251"/>
              <a:gd name="connsiteX1162" fmla="*/ 2285795 w 8079933"/>
              <a:gd name="connsiteY1162" fmla="*/ 4204255 h 4687251"/>
              <a:gd name="connsiteX1163" fmla="*/ 2272772 w 8079933"/>
              <a:gd name="connsiteY1163" fmla="*/ 4198841 h 4687251"/>
              <a:gd name="connsiteX1164" fmla="*/ 2276461 w 8079933"/>
              <a:gd name="connsiteY1164" fmla="*/ 4198841 h 4687251"/>
              <a:gd name="connsiteX1165" fmla="*/ 2279500 w 8079933"/>
              <a:gd name="connsiteY1165" fmla="*/ 4201114 h 4687251"/>
              <a:gd name="connsiteX1166" fmla="*/ 2273423 w 8079933"/>
              <a:gd name="connsiteY1166" fmla="*/ 4203388 h 4687251"/>
              <a:gd name="connsiteX1167" fmla="*/ 2271036 w 8079933"/>
              <a:gd name="connsiteY1167" fmla="*/ 4200898 h 4687251"/>
              <a:gd name="connsiteX1168" fmla="*/ 2336875 w 8079933"/>
              <a:gd name="connsiteY1168" fmla="*/ 4195364 h 4687251"/>
              <a:gd name="connsiteX1169" fmla="*/ 2336906 w 8079933"/>
              <a:gd name="connsiteY1169" fmla="*/ 4196026 h 4687251"/>
              <a:gd name="connsiteX1170" fmla="*/ 2341077 w 8079933"/>
              <a:gd name="connsiteY1170" fmla="*/ 4205059 h 4687251"/>
              <a:gd name="connsiteX1171" fmla="*/ 2336906 w 8079933"/>
              <a:gd name="connsiteY1171" fmla="*/ 4196025 h 4687251"/>
              <a:gd name="connsiteX1172" fmla="*/ 7340608 w 8079933"/>
              <a:gd name="connsiteY1172" fmla="*/ 4192669 h 4687251"/>
              <a:gd name="connsiteX1173" fmla="*/ 7348312 w 8079933"/>
              <a:gd name="connsiteY1173" fmla="*/ 4200356 h 4687251"/>
              <a:gd name="connsiteX1174" fmla="*/ 7348312 w 8079933"/>
              <a:gd name="connsiteY1174" fmla="*/ 4204579 h 4687251"/>
              <a:gd name="connsiteX1175" fmla="*/ 7339848 w 8079933"/>
              <a:gd name="connsiteY1175" fmla="*/ 4208368 h 4687251"/>
              <a:gd name="connsiteX1176" fmla="*/ 7338329 w 8079933"/>
              <a:gd name="connsiteY1176" fmla="*/ 4205012 h 4687251"/>
              <a:gd name="connsiteX1177" fmla="*/ 7336702 w 8079933"/>
              <a:gd name="connsiteY1177" fmla="*/ 4202197 h 4687251"/>
              <a:gd name="connsiteX1178" fmla="*/ 7338547 w 8079933"/>
              <a:gd name="connsiteY1178" fmla="*/ 4197866 h 4687251"/>
              <a:gd name="connsiteX1179" fmla="*/ 7337136 w 8079933"/>
              <a:gd name="connsiteY1179" fmla="*/ 4193860 h 4687251"/>
              <a:gd name="connsiteX1180" fmla="*/ 2329419 w 8079933"/>
              <a:gd name="connsiteY1180" fmla="*/ 4178486 h 4687251"/>
              <a:gd name="connsiteX1181" fmla="*/ 2337014 w 8079933"/>
              <a:gd name="connsiteY1181" fmla="*/ 4181085 h 4687251"/>
              <a:gd name="connsiteX1182" fmla="*/ 2337014 w 8079933"/>
              <a:gd name="connsiteY1182" fmla="*/ 4181084 h 4687251"/>
              <a:gd name="connsiteX1183" fmla="*/ 7252601 w 8079933"/>
              <a:gd name="connsiteY1183" fmla="*/ 4174806 h 4687251"/>
              <a:gd name="connsiteX1184" fmla="*/ 7255422 w 8079933"/>
              <a:gd name="connsiteY1184" fmla="*/ 4177188 h 4687251"/>
              <a:gd name="connsiteX1185" fmla="*/ 7254337 w 8079933"/>
              <a:gd name="connsiteY1185" fmla="*/ 4184117 h 4687251"/>
              <a:gd name="connsiteX1186" fmla="*/ 7255965 w 8079933"/>
              <a:gd name="connsiteY1186" fmla="*/ 4187473 h 4687251"/>
              <a:gd name="connsiteX1187" fmla="*/ 7252818 w 8079933"/>
              <a:gd name="connsiteY1187" fmla="*/ 4192454 h 4687251"/>
              <a:gd name="connsiteX1188" fmla="*/ 7251950 w 8079933"/>
              <a:gd name="connsiteY1188" fmla="*/ 4195052 h 4687251"/>
              <a:gd name="connsiteX1189" fmla="*/ 7248043 w 8079933"/>
              <a:gd name="connsiteY1189" fmla="*/ 4198192 h 4687251"/>
              <a:gd name="connsiteX1190" fmla="*/ 7244680 w 8079933"/>
              <a:gd name="connsiteY1190" fmla="*/ 4196568 h 4687251"/>
              <a:gd name="connsiteX1191" fmla="*/ 7245222 w 8079933"/>
              <a:gd name="connsiteY1191" fmla="*/ 4193103 h 4687251"/>
              <a:gd name="connsiteX1192" fmla="*/ 7244137 w 8079933"/>
              <a:gd name="connsiteY1192" fmla="*/ 4189206 h 4687251"/>
              <a:gd name="connsiteX1193" fmla="*/ 7247283 w 8079933"/>
              <a:gd name="connsiteY1193" fmla="*/ 4185091 h 4687251"/>
              <a:gd name="connsiteX1194" fmla="*/ 7246633 w 8079933"/>
              <a:gd name="connsiteY1194" fmla="*/ 4180977 h 4687251"/>
              <a:gd name="connsiteX1195" fmla="*/ 7249889 w 8079933"/>
              <a:gd name="connsiteY1195" fmla="*/ 4176971 h 4687251"/>
              <a:gd name="connsiteX1196" fmla="*/ 2302287 w 8079933"/>
              <a:gd name="connsiteY1196" fmla="*/ 4154558 h 4687251"/>
              <a:gd name="connsiteX1197" fmla="*/ 2304675 w 8079933"/>
              <a:gd name="connsiteY1197" fmla="*/ 4156940 h 4687251"/>
              <a:gd name="connsiteX1198" fmla="*/ 2303047 w 8079933"/>
              <a:gd name="connsiteY1198" fmla="*/ 4159538 h 4687251"/>
              <a:gd name="connsiteX1199" fmla="*/ 2298924 w 8079933"/>
              <a:gd name="connsiteY1199" fmla="*/ 4156074 h 4687251"/>
              <a:gd name="connsiteX1200" fmla="*/ 7323030 w 8079933"/>
              <a:gd name="connsiteY1200" fmla="*/ 4153368 h 4687251"/>
              <a:gd name="connsiteX1201" fmla="*/ 7321293 w 8079933"/>
              <a:gd name="connsiteY1201" fmla="*/ 4155425 h 4687251"/>
              <a:gd name="connsiteX1202" fmla="*/ 7318797 w 8079933"/>
              <a:gd name="connsiteY1202" fmla="*/ 4153693 h 4687251"/>
              <a:gd name="connsiteX1203" fmla="*/ 2279283 w 8079933"/>
              <a:gd name="connsiteY1203" fmla="*/ 4141133 h 4687251"/>
              <a:gd name="connsiteX1204" fmla="*/ 2284492 w 8079933"/>
              <a:gd name="connsiteY1204" fmla="*/ 4141241 h 4687251"/>
              <a:gd name="connsiteX1205" fmla="*/ 2288941 w 8079933"/>
              <a:gd name="connsiteY1205" fmla="*/ 4143190 h 4687251"/>
              <a:gd name="connsiteX1206" fmla="*/ 2293064 w 8079933"/>
              <a:gd name="connsiteY1206" fmla="*/ 4149145 h 4687251"/>
              <a:gd name="connsiteX1207" fmla="*/ 2292847 w 8079933"/>
              <a:gd name="connsiteY1207" fmla="*/ 4155533 h 4687251"/>
              <a:gd name="connsiteX1208" fmla="*/ 2293824 w 8079933"/>
              <a:gd name="connsiteY1208" fmla="*/ 4157265 h 4687251"/>
              <a:gd name="connsiteX1209" fmla="*/ 2293824 w 8079933"/>
              <a:gd name="connsiteY1209" fmla="*/ 4161920 h 4687251"/>
              <a:gd name="connsiteX1210" fmla="*/ 2288507 w 8079933"/>
              <a:gd name="connsiteY1210" fmla="*/ 4160405 h 4687251"/>
              <a:gd name="connsiteX1211" fmla="*/ 2294150 w 8079933"/>
              <a:gd name="connsiteY1211" fmla="*/ 4164411 h 4687251"/>
              <a:gd name="connsiteX1212" fmla="*/ 2295885 w 8079933"/>
              <a:gd name="connsiteY1212" fmla="*/ 4166684 h 4687251"/>
              <a:gd name="connsiteX1213" fmla="*/ 2295777 w 8079933"/>
              <a:gd name="connsiteY1213" fmla="*/ 4167767 h 4687251"/>
              <a:gd name="connsiteX1214" fmla="*/ 2291111 w 8079933"/>
              <a:gd name="connsiteY1214" fmla="*/ 4165169 h 4687251"/>
              <a:gd name="connsiteX1215" fmla="*/ 2288398 w 8079933"/>
              <a:gd name="connsiteY1215" fmla="*/ 4165385 h 4687251"/>
              <a:gd name="connsiteX1216" fmla="*/ 2288724 w 8079933"/>
              <a:gd name="connsiteY1216" fmla="*/ 4168092 h 4687251"/>
              <a:gd name="connsiteX1217" fmla="*/ 2294041 w 8079933"/>
              <a:gd name="connsiteY1217" fmla="*/ 4173397 h 4687251"/>
              <a:gd name="connsiteX1218" fmla="*/ 2291979 w 8079933"/>
              <a:gd name="connsiteY1218" fmla="*/ 4175455 h 4687251"/>
              <a:gd name="connsiteX1219" fmla="*/ 2297188 w 8079933"/>
              <a:gd name="connsiteY1219" fmla="*/ 4180326 h 4687251"/>
              <a:gd name="connsiteX1220" fmla="*/ 2296212 w 8079933"/>
              <a:gd name="connsiteY1220" fmla="*/ 4181301 h 4687251"/>
              <a:gd name="connsiteX1221" fmla="*/ 2291437 w 8079933"/>
              <a:gd name="connsiteY1221" fmla="*/ 4179677 h 4687251"/>
              <a:gd name="connsiteX1222" fmla="*/ 2289484 w 8079933"/>
              <a:gd name="connsiteY1222" fmla="*/ 4183141 h 4687251"/>
              <a:gd name="connsiteX1223" fmla="*/ 2289917 w 8079933"/>
              <a:gd name="connsiteY1223" fmla="*/ 4188122 h 4687251"/>
              <a:gd name="connsiteX1224" fmla="*/ 2289917 w 8079933"/>
              <a:gd name="connsiteY1224" fmla="*/ 4190179 h 4687251"/>
              <a:gd name="connsiteX1225" fmla="*/ 2281996 w 8079933"/>
              <a:gd name="connsiteY1225" fmla="*/ 4190937 h 4687251"/>
              <a:gd name="connsiteX1226" fmla="*/ 2276462 w 8079933"/>
              <a:gd name="connsiteY1226" fmla="*/ 4188555 h 4687251"/>
              <a:gd name="connsiteX1227" fmla="*/ 2278849 w 8079933"/>
              <a:gd name="connsiteY1227" fmla="*/ 4183358 h 4687251"/>
              <a:gd name="connsiteX1228" fmla="*/ 2277872 w 8079933"/>
              <a:gd name="connsiteY1228" fmla="*/ 4168741 h 4687251"/>
              <a:gd name="connsiteX1229" fmla="*/ 2275919 w 8079933"/>
              <a:gd name="connsiteY1229" fmla="*/ 4162787 h 4687251"/>
              <a:gd name="connsiteX1230" fmla="*/ 2274508 w 8079933"/>
              <a:gd name="connsiteY1230" fmla="*/ 4161488 h 4687251"/>
              <a:gd name="connsiteX1231" fmla="*/ 2273315 w 8079933"/>
              <a:gd name="connsiteY1231" fmla="*/ 4158564 h 4687251"/>
              <a:gd name="connsiteX1232" fmla="*/ 2274400 w 8079933"/>
              <a:gd name="connsiteY1232" fmla="*/ 4154991 h 4687251"/>
              <a:gd name="connsiteX1233" fmla="*/ 2277004 w 8079933"/>
              <a:gd name="connsiteY1233" fmla="*/ 4152934 h 4687251"/>
              <a:gd name="connsiteX1234" fmla="*/ 2277330 w 8079933"/>
              <a:gd name="connsiteY1234" fmla="*/ 4149145 h 4687251"/>
              <a:gd name="connsiteX1235" fmla="*/ 2275702 w 8079933"/>
              <a:gd name="connsiteY1235" fmla="*/ 4146871 h 4687251"/>
              <a:gd name="connsiteX1236" fmla="*/ 2275919 w 8079933"/>
              <a:gd name="connsiteY1236" fmla="*/ 4144272 h 4687251"/>
              <a:gd name="connsiteX1237" fmla="*/ 2325837 w 8079933"/>
              <a:gd name="connsiteY1237" fmla="*/ 4136585 h 4687251"/>
              <a:gd name="connsiteX1238" fmla="*/ 2325837 w 8079933"/>
              <a:gd name="connsiteY1238" fmla="*/ 4136586 h 4687251"/>
              <a:gd name="connsiteX1239" fmla="*/ 2330395 w 8079933"/>
              <a:gd name="connsiteY1239" fmla="*/ 4138751 h 4687251"/>
              <a:gd name="connsiteX1240" fmla="*/ 2331878 w 8079933"/>
              <a:gd name="connsiteY1240" fmla="*/ 4141647 h 4687251"/>
              <a:gd name="connsiteX1241" fmla="*/ 2330395 w 8079933"/>
              <a:gd name="connsiteY1241" fmla="*/ 4138751 h 4687251"/>
              <a:gd name="connsiteX1242" fmla="*/ 7297093 w 8079933"/>
              <a:gd name="connsiteY1242" fmla="*/ 4136369 h 4687251"/>
              <a:gd name="connsiteX1243" fmla="*/ 7298721 w 8079933"/>
              <a:gd name="connsiteY1243" fmla="*/ 4138534 h 4687251"/>
              <a:gd name="connsiteX1244" fmla="*/ 7297527 w 8079933"/>
              <a:gd name="connsiteY1244" fmla="*/ 4140158 h 4687251"/>
              <a:gd name="connsiteX1245" fmla="*/ 7294598 w 8079933"/>
              <a:gd name="connsiteY1245" fmla="*/ 4137343 h 4687251"/>
              <a:gd name="connsiteX1246" fmla="*/ 2323136 w 8079933"/>
              <a:gd name="connsiteY1246" fmla="*/ 4089610 h 4687251"/>
              <a:gd name="connsiteX1247" fmla="*/ 2324535 w 8079933"/>
              <a:gd name="connsiteY1247" fmla="*/ 4091869 h 4687251"/>
              <a:gd name="connsiteX1248" fmla="*/ 2324535 w 8079933"/>
              <a:gd name="connsiteY1248" fmla="*/ 4091869 h 4687251"/>
              <a:gd name="connsiteX1249" fmla="*/ 7979013 w 8079933"/>
              <a:gd name="connsiteY1249" fmla="*/ 4042173 h 4687251"/>
              <a:gd name="connsiteX1250" fmla="*/ 7981291 w 8079933"/>
              <a:gd name="connsiteY1250" fmla="*/ 4044555 h 4687251"/>
              <a:gd name="connsiteX1251" fmla="*/ 7979989 w 8079933"/>
              <a:gd name="connsiteY1251" fmla="*/ 4045096 h 4687251"/>
              <a:gd name="connsiteX1252" fmla="*/ 7979989 w 8079933"/>
              <a:gd name="connsiteY1252" fmla="*/ 4046612 h 4687251"/>
              <a:gd name="connsiteX1253" fmla="*/ 7979664 w 8079933"/>
              <a:gd name="connsiteY1253" fmla="*/ 4050726 h 4687251"/>
              <a:gd name="connsiteX1254" fmla="*/ 7980857 w 8079933"/>
              <a:gd name="connsiteY1254" fmla="*/ 4056789 h 4687251"/>
              <a:gd name="connsiteX1255" fmla="*/ 7982811 w 8079933"/>
              <a:gd name="connsiteY1255" fmla="*/ 4060038 h 4687251"/>
              <a:gd name="connsiteX1256" fmla="*/ 7981508 w 8079933"/>
              <a:gd name="connsiteY1256" fmla="*/ 4063827 h 4687251"/>
              <a:gd name="connsiteX1257" fmla="*/ 7984547 w 8079933"/>
              <a:gd name="connsiteY1257" fmla="*/ 4065126 h 4687251"/>
              <a:gd name="connsiteX1258" fmla="*/ 7986609 w 8079933"/>
              <a:gd name="connsiteY1258" fmla="*/ 4061770 h 4687251"/>
              <a:gd name="connsiteX1259" fmla="*/ 7986500 w 8079933"/>
              <a:gd name="connsiteY1259" fmla="*/ 4059280 h 4687251"/>
              <a:gd name="connsiteX1260" fmla="*/ 7988996 w 8079933"/>
              <a:gd name="connsiteY1260" fmla="*/ 4057547 h 4687251"/>
              <a:gd name="connsiteX1261" fmla="*/ 7991383 w 8079933"/>
              <a:gd name="connsiteY1261" fmla="*/ 4057872 h 4687251"/>
              <a:gd name="connsiteX1262" fmla="*/ 7989756 w 8079933"/>
              <a:gd name="connsiteY1262" fmla="*/ 4060687 h 4687251"/>
              <a:gd name="connsiteX1263" fmla="*/ 7987910 w 8079933"/>
              <a:gd name="connsiteY1263" fmla="*/ 4060687 h 4687251"/>
              <a:gd name="connsiteX1264" fmla="*/ 7988562 w 8079933"/>
              <a:gd name="connsiteY1264" fmla="*/ 4064801 h 4687251"/>
              <a:gd name="connsiteX1265" fmla="*/ 7991492 w 8079933"/>
              <a:gd name="connsiteY1265" fmla="*/ 4063611 h 4687251"/>
              <a:gd name="connsiteX1266" fmla="*/ 7994531 w 8079933"/>
              <a:gd name="connsiteY1266" fmla="*/ 4066317 h 4687251"/>
              <a:gd name="connsiteX1267" fmla="*/ 7998980 w 8079933"/>
              <a:gd name="connsiteY1267" fmla="*/ 4067400 h 4687251"/>
              <a:gd name="connsiteX1268" fmla="*/ 7999631 w 8079933"/>
              <a:gd name="connsiteY1268" fmla="*/ 4069998 h 4687251"/>
              <a:gd name="connsiteX1269" fmla="*/ 7995833 w 8079933"/>
              <a:gd name="connsiteY1269" fmla="*/ 4071622 h 4687251"/>
              <a:gd name="connsiteX1270" fmla="*/ 7994096 w 8079933"/>
              <a:gd name="connsiteY1270" fmla="*/ 4074437 h 4687251"/>
              <a:gd name="connsiteX1271" fmla="*/ 7996050 w 8079933"/>
              <a:gd name="connsiteY1271" fmla="*/ 4074762 h 4687251"/>
              <a:gd name="connsiteX1272" fmla="*/ 7998545 w 8079933"/>
              <a:gd name="connsiteY1272" fmla="*/ 4077144 h 4687251"/>
              <a:gd name="connsiteX1273" fmla="*/ 7996050 w 8079933"/>
              <a:gd name="connsiteY1273" fmla="*/ 4079418 h 4687251"/>
              <a:gd name="connsiteX1274" fmla="*/ 8000281 w 8079933"/>
              <a:gd name="connsiteY1274" fmla="*/ 4083748 h 4687251"/>
              <a:gd name="connsiteX1275" fmla="*/ 8006033 w 8079933"/>
              <a:gd name="connsiteY1275" fmla="*/ 4081258 h 4687251"/>
              <a:gd name="connsiteX1276" fmla="*/ 8008095 w 8079933"/>
              <a:gd name="connsiteY1276" fmla="*/ 4080501 h 4687251"/>
              <a:gd name="connsiteX1277" fmla="*/ 8007336 w 8079933"/>
              <a:gd name="connsiteY1277" fmla="*/ 4084398 h 4687251"/>
              <a:gd name="connsiteX1278" fmla="*/ 8009072 w 8079933"/>
              <a:gd name="connsiteY1278" fmla="*/ 4090570 h 4687251"/>
              <a:gd name="connsiteX1279" fmla="*/ 8009072 w 8079933"/>
              <a:gd name="connsiteY1279" fmla="*/ 4097282 h 4687251"/>
              <a:gd name="connsiteX1280" fmla="*/ 8007336 w 8079933"/>
              <a:gd name="connsiteY1280" fmla="*/ 4099015 h 4687251"/>
              <a:gd name="connsiteX1281" fmla="*/ 8006467 w 8079933"/>
              <a:gd name="connsiteY1281" fmla="*/ 4104212 h 4687251"/>
              <a:gd name="connsiteX1282" fmla="*/ 8002561 w 8079933"/>
              <a:gd name="connsiteY1282" fmla="*/ 4104970 h 4687251"/>
              <a:gd name="connsiteX1283" fmla="*/ 7999631 w 8079933"/>
              <a:gd name="connsiteY1283" fmla="*/ 4103345 h 4687251"/>
              <a:gd name="connsiteX1284" fmla="*/ 7999088 w 8079933"/>
              <a:gd name="connsiteY1284" fmla="*/ 4105727 h 4687251"/>
              <a:gd name="connsiteX1285" fmla="*/ 8004080 w 8079933"/>
              <a:gd name="connsiteY1285" fmla="*/ 4109300 h 4687251"/>
              <a:gd name="connsiteX1286" fmla="*/ 8003754 w 8079933"/>
              <a:gd name="connsiteY1286" fmla="*/ 4114606 h 4687251"/>
              <a:gd name="connsiteX1287" fmla="*/ 8005382 w 8079933"/>
              <a:gd name="connsiteY1287" fmla="*/ 4118612 h 4687251"/>
              <a:gd name="connsiteX1288" fmla="*/ 8004297 w 8079933"/>
              <a:gd name="connsiteY1288" fmla="*/ 4121210 h 4687251"/>
              <a:gd name="connsiteX1289" fmla="*/ 8005816 w 8079933"/>
              <a:gd name="connsiteY1289" fmla="*/ 4124783 h 4687251"/>
              <a:gd name="connsiteX1290" fmla="*/ 8004839 w 8079933"/>
              <a:gd name="connsiteY1290" fmla="*/ 4129655 h 4687251"/>
              <a:gd name="connsiteX1291" fmla="*/ 8001150 w 8079933"/>
              <a:gd name="connsiteY1291" fmla="*/ 4130521 h 4687251"/>
              <a:gd name="connsiteX1292" fmla="*/ 7998437 w 8079933"/>
              <a:gd name="connsiteY1292" fmla="*/ 4135827 h 4687251"/>
              <a:gd name="connsiteX1293" fmla="*/ 8002235 w 8079933"/>
              <a:gd name="connsiteY1293" fmla="*/ 4138858 h 4687251"/>
              <a:gd name="connsiteX1294" fmla="*/ 8000824 w 8079933"/>
              <a:gd name="connsiteY1294" fmla="*/ 4142106 h 4687251"/>
              <a:gd name="connsiteX1295" fmla="*/ 7997244 w 8079933"/>
              <a:gd name="connsiteY1295" fmla="*/ 4144272 h 4687251"/>
              <a:gd name="connsiteX1296" fmla="*/ 7997568 w 8079933"/>
              <a:gd name="connsiteY1296" fmla="*/ 4146653 h 4687251"/>
              <a:gd name="connsiteX1297" fmla="*/ 8000499 w 8079933"/>
              <a:gd name="connsiteY1297" fmla="*/ 4146112 h 4687251"/>
              <a:gd name="connsiteX1298" fmla="*/ 8004297 w 8079933"/>
              <a:gd name="connsiteY1298" fmla="*/ 4147845 h 4687251"/>
              <a:gd name="connsiteX1299" fmla="*/ 8004297 w 8079933"/>
              <a:gd name="connsiteY1299" fmla="*/ 4150010 h 4687251"/>
              <a:gd name="connsiteX1300" fmla="*/ 8009072 w 8079933"/>
              <a:gd name="connsiteY1300" fmla="*/ 4150768 h 4687251"/>
              <a:gd name="connsiteX1301" fmla="*/ 8009614 w 8079933"/>
              <a:gd name="connsiteY1301" fmla="*/ 4154666 h 4687251"/>
              <a:gd name="connsiteX1302" fmla="*/ 8012327 w 8079933"/>
              <a:gd name="connsiteY1302" fmla="*/ 4157806 h 4687251"/>
              <a:gd name="connsiteX1303" fmla="*/ 8016125 w 8079933"/>
              <a:gd name="connsiteY1303" fmla="*/ 4156614 h 4687251"/>
              <a:gd name="connsiteX1304" fmla="*/ 8016125 w 8079933"/>
              <a:gd name="connsiteY1304" fmla="*/ 4153800 h 4687251"/>
              <a:gd name="connsiteX1305" fmla="*/ 8013087 w 8079933"/>
              <a:gd name="connsiteY1305" fmla="*/ 4149902 h 4687251"/>
              <a:gd name="connsiteX1306" fmla="*/ 8012870 w 8079933"/>
              <a:gd name="connsiteY1306" fmla="*/ 4146653 h 4687251"/>
              <a:gd name="connsiteX1307" fmla="*/ 8016559 w 8079933"/>
              <a:gd name="connsiteY1307" fmla="*/ 4143189 h 4687251"/>
              <a:gd name="connsiteX1308" fmla="*/ 8015800 w 8079933"/>
              <a:gd name="connsiteY1308" fmla="*/ 4141457 h 4687251"/>
              <a:gd name="connsiteX1309" fmla="*/ 8016017 w 8079933"/>
              <a:gd name="connsiteY1309" fmla="*/ 4136801 h 4687251"/>
              <a:gd name="connsiteX1310" fmla="*/ 8012544 w 8079933"/>
              <a:gd name="connsiteY1310" fmla="*/ 4133445 h 4687251"/>
              <a:gd name="connsiteX1311" fmla="*/ 8013738 w 8079933"/>
              <a:gd name="connsiteY1311" fmla="*/ 4131496 h 4687251"/>
              <a:gd name="connsiteX1312" fmla="*/ 8017536 w 8079933"/>
              <a:gd name="connsiteY1312" fmla="*/ 4133770 h 4687251"/>
              <a:gd name="connsiteX1313" fmla="*/ 8019272 w 8079933"/>
              <a:gd name="connsiteY1313" fmla="*/ 4132579 h 4687251"/>
              <a:gd name="connsiteX1314" fmla="*/ 8020466 w 8079933"/>
              <a:gd name="connsiteY1314" fmla="*/ 4135502 h 4687251"/>
              <a:gd name="connsiteX1315" fmla="*/ 8021117 w 8079933"/>
              <a:gd name="connsiteY1315" fmla="*/ 4140807 h 4687251"/>
              <a:gd name="connsiteX1316" fmla="*/ 8023613 w 8079933"/>
              <a:gd name="connsiteY1316" fmla="*/ 4141349 h 4687251"/>
              <a:gd name="connsiteX1317" fmla="*/ 8022311 w 8079933"/>
              <a:gd name="connsiteY1317" fmla="*/ 4144596 h 4687251"/>
              <a:gd name="connsiteX1318" fmla="*/ 8021876 w 8079933"/>
              <a:gd name="connsiteY1318" fmla="*/ 4149252 h 4687251"/>
              <a:gd name="connsiteX1319" fmla="*/ 8023396 w 8079933"/>
              <a:gd name="connsiteY1319" fmla="*/ 4151743 h 4687251"/>
              <a:gd name="connsiteX1320" fmla="*/ 8023396 w 8079933"/>
              <a:gd name="connsiteY1320" fmla="*/ 4155532 h 4687251"/>
              <a:gd name="connsiteX1321" fmla="*/ 8026977 w 8079933"/>
              <a:gd name="connsiteY1321" fmla="*/ 4163002 h 4687251"/>
              <a:gd name="connsiteX1322" fmla="*/ 8026217 w 8079933"/>
              <a:gd name="connsiteY1322" fmla="*/ 4168308 h 4687251"/>
              <a:gd name="connsiteX1323" fmla="*/ 8023722 w 8079933"/>
              <a:gd name="connsiteY1323" fmla="*/ 4170907 h 4687251"/>
              <a:gd name="connsiteX1324" fmla="*/ 8025133 w 8079933"/>
              <a:gd name="connsiteY1324" fmla="*/ 4174155 h 4687251"/>
              <a:gd name="connsiteX1325" fmla="*/ 8028713 w 8079933"/>
              <a:gd name="connsiteY1325" fmla="*/ 4179243 h 4687251"/>
              <a:gd name="connsiteX1326" fmla="*/ 8031643 w 8079933"/>
              <a:gd name="connsiteY1326" fmla="*/ 4178810 h 4687251"/>
              <a:gd name="connsiteX1327" fmla="*/ 8041301 w 8079933"/>
              <a:gd name="connsiteY1327" fmla="*/ 4188771 h 4687251"/>
              <a:gd name="connsiteX1328" fmla="*/ 8045642 w 8079933"/>
              <a:gd name="connsiteY1328" fmla="*/ 4190612 h 4687251"/>
              <a:gd name="connsiteX1329" fmla="*/ 8048681 w 8079933"/>
              <a:gd name="connsiteY1329" fmla="*/ 4189096 h 4687251"/>
              <a:gd name="connsiteX1330" fmla="*/ 8054431 w 8079933"/>
              <a:gd name="connsiteY1330" fmla="*/ 4188554 h 4687251"/>
              <a:gd name="connsiteX1331" fmla="*/ 8063113 w 8079933"/>
              <a:gd name="connsiteY1331" fmla="*/ 4179459 h 4687251"/>
              <a:gd name="connsiteX1332" fmla="*/ 8068104 w 8079933"/>
              <a:gd name="connsiteY1332" fmla="*/ 4176212 h 4687251"/>
              <a:gd name="connsiteX1333" fmla="*/ 8073639 w 8079933"/>
              <a:gd name="connsiteY1333" fmla="*/ 4177186 h 4687251"/>
              <a:gd name="connsiteX1334" fmla="*/ 8073205 w 8079933"/>
              <a:gd name="connsiteY1334" fmla="*/ 4178593 h 4687251"/>
              <a:gd name="connsiteX1335" fmla="*/ 8071468 w 8079933"/>
              <a:gd name="connsiteY1335" fmla="*/ 4179243 h 4687251"/>
              <a:gd name="connsiteX1336" fmla="*/ 8073530 w 8079933"/>
              <a:gd name="connsiteY1336" fmla="*/ 4181950 h 4687251"/>
              <a:gd name="connsiteX1337" fmla="*/ 8079173 w 8079933"/>
              <a:gd name="connsiteY1337" fmla="*/ 4183899 h 4687251"/>
              <a:gd name="connsiteX1338" fmla="*/ 8079933 w 8079933"/>
              <a:gd name="connsiteY1338" fmla="*/ 4184981 h 4687251"/>
              <a:gd name="connsiteX1339" fmla="*/ 8075810 w 8079933"/>
              <a:gd name="connsiteY1339" fmla="*/ 4187580 h 4687251"/>
              <a:gd name="connsiteX1340" fmla="*/ 8072011 w 8079933"/>
              <a:gd name="connsiteY1340" fmla="*/ 4191911 h 4687251"/>
              <a:gd name="connsiteX1341" fmla="*/ 8070275 w 8079933"/>
              <a:gd name="connsiteY1341" fmla="*/ 4197541 h 4687251"/>
              <a:gd name="connsiteX1342" fmla="*/ 8070384 w 8079933"/>
              <a:gd name="connsiteY1342" fmla="*/ 4200789 h 4687251"/>
              <a:gd name="connsiteX1343" fmla="*/ 8070492 w 8079933"/>
              <a:gd name="connsiteY1343" fmla="*/ 4204037 h 4687251"/>
              <a:gd name="connsiteX1344" fmla="*/ 8064306 w 8079933"/>
              <a:gd name="connsiteY1344" fmla="*/ 4213998 h 4687251"/>
              <a:gd name="connsiteX1345" fmla="*/ 8061702 w 8079933"/>
              <a:gd name="connsiteY1345" fmla="*/ 4217679 h 4687251"/>
              <a:gd name="connsiteX1346" fmla="*/ 8059640 w 8079933"/>
              <a:gd name="connsiteY1346" fmla="*/ 4219736 h 4687251"/>
              <a:gd name="connsiteX1347" fmla="*/ 8058555 w 8079933"/>
              <a:gd name="connsiteY1347" fmla="*/ 4218112 h 4687251"/>
              <a:gd name="connsiteX1348" fmla="*/ 8054648 w 8079933"/>
              <a:gd name="connsiteY1348" fmla="*/ 4217896 h 4687251"/>
              <a:gd name="connsiteX1349" fmla="*/ 8051935 w 8079933"/>
              <a:gd name="connsiteY1349" fmla="*/ 4220927 h 4687251"/>
              <a:gd name="connsiteX1350" fmla="*/ 8048897 w 8079933"/>
              <a:gd name="connsiteY1350" fmla="*/ 4228398 h 4687251"/>
              <a:gd name="connsiteX1351" fmla="*/ 8048354 w 8079933"/>
              <a:gd name="connsiteY1351" fmla="*/ 4233054 h 4687251"/>
              <a:gd name="connsiteX1352" fmla="*/ 8053889 w 8079933"/>
              <a:gd name="connsiteY1352" fmla="*/ 4235327 h 4687251"/>
              <a:gd name="connsiteX1353" fmla="*/ 8051067 w 8079933"/>
              <a:gd name="connsiteY1353" fmla="*/ 4236951 h 4687251"/>
              <a:gd name="connsiteX1354" fmla="*/ 8047052 w 8079933"/>
              <a:gd name="connsiteY1354" fmla="*/ 4240849 h 4687251"/>
              <a:gd name="connsiteX1355" fmla="*/ 8046510 w 8079933"/>
              <a:gd name="connsiteY1355" fmla="*/ 4237493 h 4687251"/>
              <a:gd name="connsiteX1356" fmla="*/ 8047378 w 8079933"/>
              <a:gd name="connsiteY1356" fmla="*/ 4234461 h 4687251"/>
              <a:gd name="connsiteX1357" fmla="*/ 8043363 w 8079933"/>
              <a:gd name="connsiteY1357" fmla="*/ 4234137 h 4687251"/>
              <a:gd name="connsiteX1358" fmla="*/ 8035658 w 8079933"/>
              <a:gd name="connsiteY1358" fmla="*/ 4232945 h 4687251"/>
              <a:gd name="connsiteX1359" fmla="*/ 8030992 w 8079933"/>
              <a:gd name="connsiteY1359" fmla="*/ 4234678 h 4687251"/>
              <a:gd name="connsiteX1360" fmla="*/ 8020249 w 8079933"/>
              <a:gd name="connsiteY1360" fmla="*/ 4245938 h 4687251"/>
              <a:gd name="connsiteX1361" fmla="*/ 8017319 w 8079933"/>
              <a:gd name="connsiteY1361" fmla="*/ 4246804 h 4687251"/>
              <a:gd name="connsiteX1362" fmla="*/ 8014064 w 8079933"/>
              <a:gd name="connsiteY1362" fmla="*/ 4249619 h 4687251"/>
              <a:gd name="connsiteX1363" fmla="*/ 8017210 w 8079933"/>
              <a:gd name="connsiteY1363" fmla="*/ 4249078 h 4687251"/>
              <a:gd name="connsiteX1364" fmla="*/ 8021117 w 8079933"/>
              <a:gd name="connsiteY1364" fmla="*/ 4249727 h 4687251"/>
              <a:gd name="connsiteX1365" fmla="*/ 8024806 w 8079933"/>
              <a:gd name="connsiteY1365" fmla="*/ 4253192 h 4687251"/>
              <a:gd name="connsiteX1366" fmla="*/ 8022311 w 8079933"/>
              <a:gd name="connsiteY1366" fmla="*/ 4255466 h 4687251"/>
              <a:gd name="connsiteX1367" fmla="*/ 8022311 w 8079933"/>
              <a:gd name="connsiteY1367" fmla="*/ 4257523 h 4687251"/>
              <a:gd name="connsiteX1368" fmla="*/ 8017536 w 8079933"/>
              <a:gd name="connsiteY1368" fmla="*/ 4264669 h 4687251"/>
              <a:gd name="connsiteX1369" fmla="*/ 8014497 w 8079933"/>
              <a:gd name="connsiteY1369" fmla="*/ 4273980 h 4687251"/>
              <a:gd name="connsiteX1370" fmla="*/ 8009831 w 8079933"/>
              <a:gd name="connsiteY1370" fmla="*/ 4275929 h 4687251"/>
              <a:gd name="connsiteX1371" fmla="*/ 8007986 w 8079933"/>
              <a:gd name="connsiteY1371" fmla="*/ 4278311 h 4687251"/>
              <a:gd name="connsiteX1372" fmla="*/ 8007661 w 8079933"/>
              <a:gd name="connsiteY1372" fmla="*/ 4282100 h 4687251"/>
              <a:gd name="connsiteX1373" fmla="*/ 8005707 w 8079933"/>
              <a:gd name="connsiteY1373" fmla="*/ 4284590 h 4687251"/>
              <a:gd name="connsiteX1374" fmla="*/ 8002777 w 8079933"/>
              <a:gd name="connsiteY1374" fmla="*/ 4284807 h 4687251"/>
              <a:gd name="connsiteX1375" fmla="*/ 7998328 w 8079933"/>
              <a:gd name="connsiteY1375" fmla="*/ 4287730 h 4687251"/>
              <a:gd name="connsiteX1376" fmla="*/ 7990190 w 8079933"/>
              <a:gd name="connsiteY1376" fmla="*/ 4297800 h 4687251"/>
              <a:gd name="connsiteX1377" fmla="*/ 7983570 w 8079933"/>
              <a:gd name="connsiteY1377" fmla="*/ 4305378 h 4687251"/>
              <a:gd name="connsiteX1378" fmla="*/ 7976517 w 8079933"/>
              <a:gd name="connsiteY1378" fmla="*/ 4312741 h 4687251"/>
              <a:gd name="connsiteX1379" fmla="*/ 7968813 w 8079933"/>
              <a:gd name="connsiteY1379" fmla="*/ 4318912 h 4687251"/>
              <a:gd name="connsiteX1380" fmla="*/ 7960131 w 8079933"/>
              <a:gd name="connsiteY1380" fmla="*/ 4325300 h 4687251"/>
              <a:gd name="connsiteX1381" fmla="*/ 7956441 w 8079933"/>
              <a:gd name="connsiteY1381" fmla="*/ 4325733 h 4687251"/>
              <a:gd name="connsiteX1382" fmla="*/ 7955464 w 8079933"/>
              <a:gd name="connsiteY1382" fmla="*/ 4324326 h 4687251"/>
              <a:gd name="connsiteX1383" fmla="*/ 7955682 w 8079933"/>
              <a:gd name="connsiteY1383" fmla="*/ 4320536 h 4687251"/>
              <a:gd name="connsiteX1384" fmla="*/ 7954270 w 8079933"/>
              <a:gd name="connsiteY1384" fmla="*/ 4318804 h 4687251"/>
              <a:gd name="connsiteX1385" fmla="*/ 7952426 w 8079933"/>
              <a:gd name="connsiteY1385" fmla="*/ 4319454 h 4687251"/>
              <a:gd name="connsiteX1386" fmla="*/ 7951124 w 8079933"/>
              <a:gd name="connsiteY1386" fmla="*/ 4318804 h 4687251"/>
              <a:gd name="connsiteX1387" fmla="*/ 7951557 w 8079933"/>
              <a:gd name="connsiteY1387" fmla="*/ 4316422 h 4687251"/>
              <a:gd name="connsiteX1388" fmla="*/ 7951340 w 8079933"/>
              <a:gd name="connsiteY1388" fmla="*/ 4313065 h 4687251"/>
              <a:gd name="connsiteX1389" fmla="*/ 7949279 w 8079933"/>
              <a:gd name="connsiteY1389" fmla="*/ 4312957 h 4687251"/>
              <a:gd name="connsiteX1390" fmla="*/ 7948303 w 8079933"/>
              <a:gd name="connsiteY1390" fmla="*/ 4315664 h 4687251"/>
              <a:gd name="connsiteX1391" fmla="*/ 7943419 w 8079933"/>
              <a:gd name="connsiteY1391" fmla="*/ 4314581 h 4687251"/>
              <a:gd name="connsiteX1392" fmla="*/ 7942768 w 8079933"/>
              <a:gd name="connsiteY1392" fmla="*/ 4312091 h 4687251"/>
              <a:gd name="connsiteX1393" fmla="*/ 7945264 w 8079933"/>
              <a:gd name="connsiteY1393" fmla="*/ 4309059 h 4687251"/>
              <a:gd name="connsiteX1394" fmla="*/ 7952317 w 8079933"/>
              <a:gd name="connsiteY1394" fmla="*/ 4302780 h 4687251"/>
              <a:gd name="connsiteX1395" fmla="*/ 7959045 w 8079933"/>
              <a:gd name="connsiteY1395" fmla="*/ 4295742 h 4687251"/>
              <a:gd name="connsiteX1396" fmla="*/ 7968486 w 8079933"/>
              <a:gd name="connsiteY1396" fmla="*/ 4283833 h 4687251"/>
              <a:gd name="connsiteX1397" fmla="*/ 7970548 w 8079933"/>
              <a:gd name="connsiteY1397" fmla="*/ 4279394 h 4687251"/>
              <a:gd name="connsiteX1398" fmla="*/ 7970548 w 8079933"/>
              <a:gd name="connsiteY1398" fmla="*/ 4273763 h 4687251"/>
              <a:gd name="connsiteX1399" fmla="*/ 7971742 w 8079933"/>
              <a:gd name="connsiteY1399" fmla="*/ 4272680 h 4687251"/>
              <a:gd name="connsiteX1400" fmla="*/ 7971199 w 8079933"/>
              <a:gd name="connsiteY1400" fmla="*/ 4271598 h 4687251"/>
              <a:gd name="connsiteX1401" fmla="*/ 7970114 w 8079933"/>
              <a:gd name="connsiteY1401" fmla="*/ 4261312 h 4687251"/>
              <a:gd name="connsiteX1402" fmla="*/ 7967618 w 8079933"/>
              <a:gd name="connsiteY1402" fmla="*/ 4258713 h 4687251"/>
              <a:gd name="connsiteX1403" fmla="*/ 7961216 w 8079933"/>
              <a:gd name="connsiteY1403" fmla="*/ 4256656 h 4687251"/>
              <a:gd name="connsiteX1404" fmla="*/ 7957961 w 8079933"/>
              <a:gd name="connsiteY1404" fmla="*/ 4250485 h 4687251"/>
              <a:gd name="connsiteX1405" fmla="*/ 7951124 w 8079933"/>
              <a:gd name="connsiteY1405" fmla="*/ 4246262 h 4687251"/>
              <a:gd name="connsiteX1406" fmla="*/ 7947109 w 8079933"/>
              <a:gd name="connsiteY1406" fmla="*/ 4242798 h 4687251"/>
              <a:gd name="connsiteX1407" fmla="*/ 7946023 w 8079933"/>
              <a:gd name="connsiteY1407" fmla="*/ 4235327 h 4687251"/>
              <a:gd name="connsiteX1408" fmla="*/ 7947326 w 8079933"/>
              <a:gd name="connsiteY1408" fmla="*/ 4229913 h 4687251"/>
              <a:gd name="connsiteX1409" fmla="*/ 7951449 w 8079933"/>
              <a:gd name="connsiteY1409" fmla="*/ 4225366 h 4687251"/>
              <a:gd name="connsiteX1410" fmla="*/ 7960565 w 8079933"/>
              <a:gd name="connsiteY1410" fmla="*/ 4221036 h 4687251"/>
              <a:gd name="connsiteX1411" fmla="*/ 7965014 w 8079933"/>
              <a:gd name="connsiteY1411" fmla="*/ 4220494 h 4687251"/>
              <a:gd name="connsiteX1412" fmla="*/ 7969029 w 8079933"/>
              <a:gd name="connsiteY1412" fmla="*/ 4222010 h 4687251"/>
              <a:gd name="connsiteX1413" fmla="*/ 7972502 w 8079933"/>
              <a:gd name="connsiteY1413" fmla="*/ 4221686 h 4687251"/>
              <a:gd name="connsiteX1414" fmla="*/ 7975865 w 8079933"/>
              <a:gd name="connsiteY1414" fmla="*/ 4219195 h 4687251"/>
              <a:gd name="connsiteX1415" fmla="*/ 7976408 w 8079933"/>
              <a:gd name="connsiteY1415" fmla="*/ 4215189 h 4687251"/>
              <a:gd name="connsiteX1416" fmla="*/ 7979555 w 8079933"/>
              <a:gd name="connsiteY1416" fmla="*/ 4198299 h 4687251"/>
              <a:gd name="connsiteX1417" fmla="*/ 7981617 w 8079933"/>
              <a:gd name="connsiteY1417" fmla="*/ 4193102 h 4687251"/>
              <a:gd name="connsiteX1418" fmla="*/ 7984547 w 8079933"/>
              <a:gd name="connsiteY1418" fmla="*/ 4192885 h 4687251"/>
              <a:gd name="connsiteX1419" fmla="*/ 7987368 w 8079933"/>
              <a:gd name="connsiteY1419" fmla="*/ 4191369 h 4687251"/>
              <a:gd name="connsiteX1420" fmla="*/ 7984656 w 8079933"/>
              <a:gd name="connsiteY1420" fmla="*/ 4188663 h 4687251"/>
              <a:gd name="connsiteX1421" fmla="*/ 7984764 w 8079933"/>
              <a:gd name="connsiteY1421" fmla="*/ 4186389 h 4687251"/>
              <a:gd name="connsiteX1422" fmla="*/ 7986826 w 8079933"/>
              <a:gd name="connsiteY1422" fmla="*/ 4182708 h 4687251"/>
              <a:gd name="connsiteX1423" fmla="*/ 7990081 w 8079933"/>
              <a:gd name="connsiteY1423" fmla="*/ 4182383 h 4687251"/>
              <a:gd name="connsiteX1424" fmla="*/ 7991058 w 8079933"/>
              <a:gd name="connsiteY1424" fmla="*/ 4180651 h 4687251"/>
              <a:gd name="connsiteX1425" fmla="*/ 7988670 w 8079933"/>
              <a:gd name="connsiteY1425" fmla="*/ 4178161 h 4687251"/>
              <a:gd name="connsiteX1426" fmla="*/ 7989972 w 8079933"/>
              <a:gd name="connsiteY1426" fmla="*/ 4176753 h 4687251"/>
              <a:gd name="connsiteX1427" fmla="*/ 7989864 w 8079933"/>
              <a:gd name="connsiteY1427" fmla="*/ 4172530 h 4687251"/>
              <a:gd name="connsiteX1428" fmla="*/ 7992578 w 8079933"/>
              <a:gd name="connsiteY1428" fmla="*/ 4164410 h 4687251"/>
              <a:gd name="connsiteX1429" fmla="*/ 7994096 w 8079933"/>
              <a:gd name="connsiteY1429" fmla="*/ 4161054 h 4687251"/>
              <a:gd name="connsiteX1430" fmla="*/ 7992469 w 8079933"/>
              <a:gd name="connsiteY1430" fmla="*/ 4159430 h 4687251"/>
              <a:gd name="connsiteX1431" fmla="*/ 7992578 w 8079933"/>
              <a:gd name="connsiteY1431" fmla="*/ 4157697 h 4687251"/>
              <a:gd name="connsiteX1432" fmla="*/ 7997351 w 8079933"/>
              <a:gd name="connsiteY1432" fmla="*/ 4154557 h 4687251"/>
              <a:gd name="connsiteX1433" fmla="*/ 7995073 w 8079933"/>
              <a:gd name="connsiteY1433" fmla="*/ 4152934 h 4687251"/>
              <a:gd name="connsiteX1434" fmla="*/ 7994747 w 8079933"/>
              <a:gd name="connsiteY1434" fmla="*/ 4150659 h 4687251"/>
              <a:gd name="connsiteX1435" fmla="*/ 7993011 w 8079933"/>
              <a:gd name="connsiteY1435" fmla="*/ 4147520 h 4687251"/>
              <a:gd name="connsiteX1436" fmla="*/ 7991383 w 8079933"/>
              <a:gd name="connsiteY1436" fmla="*/ 4148386 h 4687251"/>
              <a:gd name="connsiteX1437" fmla="*/ 7989322 w 8079933"/>
              <a:gd name="connsiteY1437" fmla="*/ 4147737 h 4687251"/>
              <a:gd name="connsiteX1438" fmla="*/ 7986066 w 8079933"/>
              <a:gd name="connsiteY1438" fmla="*/ 4138533 h 4687251"/>
              <a:gd name="connsiteX1439" fmla="*/ 7985090 w 8079933"/>
              <a:gd name="connsiteY1439" fmla="*/ 4131279 h 4687251"/>
              <a:gd name="connsiteX1440" fmla="*/ 7987043 w 8079933"/>
              <a:gd name="connsiteY1440" fmla="*/ 4131279 h 4687251"/>
              <a:gd name="connsiteX1441" fmla="*/ 7988779 w 8079933"/>
              <a:gd name="connsiteY1441" fmla="*/ 4134094 h 4687251"/>
              <a:gd name="connsiteX1442" fmla="*/ 7990516 w 8079933"/>
              <a:gd name="connsiteY1442" fmla="*/ 4133553 h 4687251"/>
              <a:gd name="connsiteX1443" fmla="*/ 7990841 w 8079933"/>
              <a:gd name="connsiteY1443" fmla="*/ 4131279 h 4687251"/>
              <a:gd name="connsiteX1444" fmla="*/ 7992034 w 8079933"/>
              <a:gd name="connsiteY1444" fmla="*/ 4127490 h 4687251"/>
              <a:gd name="connsiteX1445" fmla="*/ 7994638 w 8079933"/>
              <a:gd name="connsiteY1445" fmla="*/ 4122834 h 4687251"/>
              <a:gd name="connsiteX1446" fmla="*/ 7994205 w 8079933"/>
              <a:gd name="connsiteY1446" fmla="*/ 4119478 h 4687251"/>
              <a:gd name="connsiteX1447" fmla="*/ 7992794 w 8079933"/>
              <a:gd name="connsiteY1447" fmla="*/ 4119911 h 4687251"/>
              <a:gd name="connsiteX1448" fmla="*/ 7993445 w 8079933"/>
              <a:gd name="connsiteY1448" fmla="*/ 4121319 h 4687251"/>
              <a:gd name="connsiteX1449" fmla="*/ 7993011 w 8079933"/>
              <a:gd name="connsiteY1449" fmla="*/ 4123267 h 4687251"/>
              <a:gd name="connsiteX1450" fmla="*/ 7990407 w 8079933"/>
              <a:gd name="connsiteY1450" fmla="*/ 4123700 h 4687251"/>
              <a:gd name="connsiteX1451" fmla="*/ 7990407 w 8079933"/>
              <a:gd name="connsiteY1451" fmla="*/ 4119586 h 4687251"/>
              <a:gd name="connsiteX1452" fmla="*/ 7988670 w 8079933"/>
              <a:gd name="connsiteY1452" fmla="*/ 4116988 h 4687251"/>
              <a:gd name="connsiteX1453" fmla="*/ 7987151 w 8079933"/>
              <a:gd name="connsiteY1453" fmla="*/ 4118178 h 4687251"/>
              <a:gd name="connsiteX1454" fmla="*/ 7988345 w 8079933"/>
              <a:gd name="connsiteY1454" fmla="*/ 4121102 h 4687251"/>
              <a:gd name="connsiteX1455" fmla="*/ 7987368 w 8079933"/>
              <a:gd name="connsiteY1455" fmla="*/ 4125325 h 4687251"/>
              <a:gd name="connsiteX1456" fmla="*/ 7984873 w 8079933"/>
              <a:gd name="connsiteY1456" fmla="*/ 4126624 h 4687251"/>
              <a:gd name="connsiteX1457" fmla="*/ 7984656 w 8079933"/>
              <a:gd name="connsiteY1457" fmla="*/ 4121643 h 4687251"/>
              <a:gd name="connsiteX1458" fmla="*/ 7984764 w 8079933"/>
              <a:gd name="connsiteY1458" fmla="*/ 4114389 h 4687251"/>
              <a:gd name="connsiteX1459" fmla="*/ 7983679 w 8079933"/>
              <a:gd name="connsiteY1459" fmla="*/ 4102263 h 4687251"/>
              <a:gd name="connsiteX1460" fmla="*/ 7980857 w 8079933"/>
              <a:gd name="connsiteY1460" fmla="*/ 4095767 h 4687251"/>
              <a:gd name="connsiteX1461" fmla="*/ 7979555 w 8079933"/>
              <a:gd name="connsiteY1461" fmla="*/ 4089920 h 4687251"/>
              <a:gd name="connsiteX1462" fmla="*/ 7982920 w 8079933"/>
              <a:gd name="connsiteY1462" fmla="*/ 4085914 h 4687251"/>
              <a:gd name="connsiteX1463" fmla="*/ 7986283 w 8079933"/>
              <a:gd name="connsiteY1463" fmla="*/ 4084831 h 4687251"/>
              <a:gd name="connsiteX1464" fmla="*/ 7981400 w 8079933"/>
              <a:gd name="connsiteY1464" fmla="*/ 4084831 h 4687251"/>
              <a:gd name="connsiteX1465" fmla="*/ 7977818 w 8079933"/>
              <a:gd name="connsiteY1465" fmla="*/ 4087430 h 4687251"/>
              <a:gd name="connsiteX1466" fmla="*/ 7976408 w 8079933"/>
              <a:gd name="connsiteY1466" fmla="*/ 4086023 h 4687251"/>
              <a:gd name="connsiteX1467" fmla="*/ 7973587 w 8079933"/>
              <a:gd name="connsiteY1467" fmla="*/ 4076170 h 4687251"/>
              <a:gd name="connsiteX1468" fmla="*/ 7974455 w 8079933"/>
              <a:gd name="connsiteY1468" fmla="*/ 4074870 h 4687251"/>
              <a:gd name="connsiteX1469" fmla="*/ 7976300 w 8079933"/>
              <a:gd name="connsiteY1469" fmla="*/ 4074870 h 4687251"/>
              <a:gd name="connsiteX1470" fmla="*/ 7978253 w 8079933"/>
              <a:gd name="connsiteY1470" fmla="*/ 4072921 h 4687251"/>
              <a:gd name="connsiteX1471" fmla="*/ 7979013 w 8079933"/>
              <a:gd name="connsiteY1471" fmla="*/ 4064909 h 4687251"/>
              <a:gd name="connsiteX1472" fmla="*/ 7978253 w 8079933"/>
              <a:gd name="connsiteY1472" fmla="*/ 4060579 h 4687251"/>
              <a:gd name="connsiteX1473" fmla="*/ 7973152 w 8079933"/>
              <a:gd name="connsiteY1473" fmla="*/ 4048128 h 4687251"/>
              <a:gd name="connsiteX1474" fmla="*/ 7970114 w 8079933"/>
              <a:gd name="connsiteY1474" fmla="*/ 4044771 h 4687251"/>
              <a:gd name="connsiteX1475" fmla="*/ 7970222 w 8079933"/>
              <a:gd name="connsiteY1475" fmla="*/ 4043364 h 4687251"/>
              <a:gd name="connsiteX1476" fmla="*/ 7976625 w 8079933"/>
              <a:gd name="connsiteY1476" fmla="*/ 4043797 h 4687251"/>
              <a:gd name="connsiteX1477" fmla="*/ 7138659 w 8079933"/>
              <a:gd name="connsiteY1477" fmla="*/ 4024092 h 4687251"/>
              <a:gd name="connsiteX1478" fmla="*/ 7137900 w 8079933"/>
              <a:gd name="connsiteY1478" fmla="*/ 4027881 h 4687251"/>
              <a:gd name="connsiteX1479" fmla="*/ 7138985 w 8079933"/>
              <a:gd name="connsiteY1479" fmla="*/ 4030263 h 4687251"/>
              <a:gd name="connsiteX1480" fmla="*/ 7141915 w 8079933"/>
              <a:gd name="connsiteY1480" fmla="*/ 4030263 h 4687251"/>
              <a:gd name="connsiteX1481" fmla="*/ 7140287 w 8079933"/>
              <a:gd name="connsiteY1481" fmla="*/ 4032212 h 4687251"/>
              <a:gd name="connsiteX1482" fmla="*/ 7144520 w 8079933"/>
              <a:gd name="connsiteY1482" fmla="*/ 4032429 h 4687251"/>
              <a:gd name="connsiteX1483" fmla="*/ 7147124 w 8079933"/>
              <a:gd name="connsiteY1483" fmla="*/ 4031345 h 4687251"/>
              <a:gd name="connsiteX1484" fmla="*/ 7150379 w 8079933"/>
              <a:gd name="connsiteY1484" fmla="*/ 4032970 h 4687251"/>
              <a:gd name="connsiteX1485" fmla="*/ 7147341 w 8079933"/>
              <a:gd name="connsiteY1485" fmla="*/ 4035676 h 4687251"/>
              <a:gd name="connsiteX1486" fmla="*/ 7138659 w 8079933"/>
              <a:gd name="connsiteY1486" fmla="*/ 4034486 h 4687251"/>
              <a:gd name="connsiteX1487" fmla="*/ 7137032 w 8079933"/>
              <a:gd name="connsiteY1487" fmla="*/ 4036759 h 4687251"/>
              <a:gd name="connsiteX1488" fmla="*/ 7134536 w 8079933"/>
              <a:gd name="connsiteY1488" fmla="*/ 4036867 h 4687251"/>
              <a:gd name="connsiteX1489" fmla="*/ 7134102 w 8079933"/>
              <a:gd name="connsiteY1489" fmla="*/ 4038275 h 4687251"/>
              <a:gd name="connsiteX1490" fmla="*/ 7131715 w 8079933"/>
              <a:gd name="connsiteY1490" fmla="*/ 4038383 h 4687251"/>
              <a:gd name="connsiteX1491" fmla="*/ 7129870 w 8079933"/>
              <a:gd name="connsiteY1491" fmla="*/ 4036001 h 4687251"/>
              <a:gd name="connsiteX1492" fmla="*/ 7126940 w 8079933"/>
              <a:gd name="connsiteY1492" fmla="*/ 4037084 h 4687251"/>
              <a:gd name="connsiteX1493" fmla="*/ 7122707 w 8079933"/>
              <a:gd name="connsiteY1493" fmla="*/ 4036435 h 4687251"/>
              <a:gd name="connsiteX1494" fmla="*/ 7120971 w 8079933"/>
              <a:gd name="connsiteY1494" fmla="*/ 4036759 h 4687251"/>
              <a:gd name="connsiteX1495" fmla="*/ 7115546 w 8079933"/>
              <a:gd name="connsiteY1495" fmla="*/ 4036543 h 4687251"/>
              <a:gd name="connsiteX1496" fmla="*/ 7112073 w 8079933"/>
              <a:gd name="connsiteY1496" fmla="*/ 4034161 h 4687251"/>
              <a:gd name="connsiteX1497" fmla="*/ 7112289 w 8079933"/>
              <a:gd name="connsiteY1497" fmla="*/ 4031345 h 4687251"/>
              <a:gd name="connsiteX1498" fmla="*/ 7117932 w 8079933"/>
              <a:gd name="connsiteY1498" fmla="*/ 4028422 h 4687251"/>
              <a:gd name="connsiteX1499" fmla="*/ 7130738 w 8079933"/>
              <a:gd name="connsiteY1499" fmla="*/ 4024958 h 4687251"/>
              <a:gd name="connsiteX1500" fmla="*/ 7134970 w 8079933"/>
              <a:gd name="connsiteY1500" fmla="*/ 4025391 h 4687251"/>
              <a:gd name="connsiteX1501" fmla="*/ 2326377 w 8079933"/>
              <a:gd name="connsiteY1501" fmla="*/ 3999863 h 4687251"/>
              <a:gd name="connsiteX1502" fmla="*/ 2326380 w 8079933"/>
              <a:gd name="connsiteY1502" fmla="*/ 4000057 h 4687251"/>
              <a:gd name="connsiteX1503" fmla="*/ 2326380 w 8079933"/>
              <a:gd name="connsiteY1503" fmla="*/ 4000056 h 4687251"/>
              <a:gd name="connsiteX1504" fmla="*/ 2333301 w 8079933"/>
              <a:gd name="connsiteY1504" fmla="*/ 3955120 h 4687251"/>
              <a:gd name="connsiteX1505" fmla="*/ 2335712 w 8079933"/>
              <a:gd name="connsiteY1505" fmla="*/ 3959130 h 4687251"/>
              <a:gd name="connsiteX1506" fmla="*/ 2335712 w 8079933"/>
              <a:gd name="connsiteY1506" fmla="*/ 3959129 h 4687251"/>
              <a:gd name="connsiteX1507" fmla="*/ 2330325 w 8079933"/>
              <a:gd name="connsiteY1507" fmla="*/ 3950591 h 4687251"/>
              <a:gd name="connsiteX1508" fmla="*/ 2330828 w 8079933"/>
              <a:gd name="connsiteY1508" fmla="*/ 3951010 h 4687251"/>
              <a:gd name="connsiteX1509" fmla="*/ 2330828 w 8079933"/>
              <a:gd name="connsiteY1509" fmla="*/ 3951009 h 4687251"/>
              <a:gd name="connsiteX1510" fmla="*/ 2331980 w 8079933"/>
              <a:gd name="connsiteY1510" fmla="*/ 3870500 h 4687251"/>
              <a:gd name="connsiteX1511" fmla="*/ 2333108 w 8079933"/>
              <a:gd name="connsiteY1511" fmla="*/ 3872622 h 4687251"/>
              <a:gd name="connsiteX1512" fmla="*/ 2333678 w 8079933"/>
              <a:gd name="connsiteY1512" fmla="*/ 3875341 h 4687251"/>
              <a:gd name="connsiteX1513" fmla="*/ 2333108 w 8079933"/>
              <a:gd name="connsiteY1513" fmla="*/ 3872621 h 4687251"/>
              <a:gd name="connsiteX1514" fmla="*/ 2606298 w 8079933"/>
              <a:gd name="connsiteY1514" fmla="*/ 3855430 h 4687251"/>
              <a:gd name="connsiteX1515" fmla="*/ 2607437 w 8079933"/>
              <a:gd name="connsiteY1515" fmla="*/ 3864718 h 4687251"/>
              <a:gd name="connsiteX1516" fmla="*/ 2609063 w 8079933"/>
              <a:gd name="connsiteY1516" fmla="*/ 3870863 h 4687251"/>
              <a:gd name="connsiteX1517" fmla="*/ 2607438 w 8079933"/>
              <a:gd name="connsiteY1517" fmla="*/ 3864718 h 4687251"/>
              <a:gd name="connsiteX1518" fmla="*/ 2608414 w 8079933"/>
              <a:gd name="connsiteY1518" fmla="*/ 3838949 h 4687251"/>
              <a:gd name="connsiteX1519" fmla="*/ 2605484 w 8079933"/>
              <a:gd name="connsiteY1519" fmla="*/ 3844146 h 4687251"/>
              <a:gd name="connsiteX1520" fmla="*/ 2607872 w 8079933"/>
              <a:gd name="connsiteY1520" fmla="*/ 3851508 h 4687251"/>
              <a:gd name="connsiteX1521" fmla="*/ 2606136 w 8079933"/>
              <a:gd name="connsiteY1521" fmla="*/ 3854107 h 4687251"/>
              <a:gd name="connsiteX1522" fmla="*/ 2606136 w 8079933"/>
              <a:gd name="connsiteY1522" fmla="*/ 3854108 h 4687251"/>
              <a:gd name="connsiteX1523" fmla="*/ 2607872 w 8079933"/>
              <a:gd name="connsiteY1523" fmla="*/ 3851509 h 4687251"/>
              <a:gd name="connsiteX1524" fmla="*/ 2605485 w 8079933"/>
              <a:gd name="connsiteY1524" fmla="*/ 3844147 h 4687251"/>
              <a:gd name="connsiteX1525" fmla="*/ 2608414 w 8079933"/>
              <a:gd name="connsiteY1525" fmla="*/ 3838949 h 4687251"/>
              <a:gd name="connsiteX1526" fmla="*/ 2610476 w 8079933"/>
              <a:gd name="connsiteY1526" fmla="*/ 3820435 h 4687251"/>
              <a:gd name="connsiteX1527" fmla="*/ 2609608 w 8079933"/>
              <a:gd name="connsiteY1527" fmla="*/ 3831045 h 4687251"/>
              <a:gd name="connsiteX1528" fmla="*/ 2607872 w 8079933"/>
              <a:gd name="connsiteY1528" fmla="*/ 3834835 h 4687251"/>
              <a:gd name="connsiteX1529" fmla="*/ 2608333 w 8079933"/>
              <a:gd name="connsiteY1529" fmla="*/ 3838332 h 4687251"/>
              <a:gd name="connsiteX1530" fmla="*/ 2607872 w 8079933"/>
              <a:gd name="connsiteY1530" fmla="*/ 3834835 h 4687251"/>
              <a:gd name="connsiteX1531" fmla="*/ 2609608 w 8079933"/>
              <a:gd name="connsiteY1531" fmla="*/ 3831045 h 4687251"/>
              <a:gd name="connsiteX1532" fmla="*/ 2667589 w 8079933"/>
              <a:gd name="connsiteY1532" fmla="*/ 3814913 h 4687251"/>
              <a:gd name="connsiteX1533" fmla="*/ 2668424 w 8079933"/>
              <a:gd name="connsiteY1533" fmla="*/ 3815021 h 4687251"/>
              <a:gd name="connsiteX1534" fmla="*/ 2673959 w 8079933"/>
              <a:gd name="connsiteY1534" fmla="*/ 3824008 h 4687251"/>
              <a:gd name="connsiteX1535" fmla="*/ 2680470 w 8079933"/>
              <a:gd name="connsiteY1535" fmla="*/ 3826931 h 4687251"/>
              <a:gd name="connsiteX1536" fmla="*/ 2686113 w 8079933"/>
              <a:gd name="connsiteY1536" fmla="*/ 3828122 h 4687251"/>
              <a:gd name="connsiteX1537" fmla="*/ 2691647 w 8079933"/>
              <a:gd name="connsiteY1537" fmla="*/ 3833644 h 4687251"/>
              <a:gd name="connsiteX1538" fmla="*/ 2691972 w 8079933"/>
              <a:gd name="connsiteY1538" fmla="*/ 3840141 h 4687251"/>
              <a:gd name="connsiteX1539" fmla="*/ 2696638 w 8079933"/>
              <a:gd name="connsiteY1539" fmla="*/ 3839166 h 4687251"/>
              <a:gd name="connsiteX1540" fmla="*/ 2705971 w 8079933"/>
              <a:gd name="connsiteY1540" fmla="*/ 3843281 h 4687251"/>
              <a:gd name="connsiteX1541" fmla="*/ 2711505 w 8079933"/>
              <a:gd name="connsiteY1541" fmla="*/ 3850210 h 4687251"/>
              <a:gd name="connsiteX1542" fmla="*/ 2717317 w 8079933"/>
              <a:gd name="connsiteY1542" fmla="*/ 3858799 h 4687251"/>
              <a:gd name="connsiteX1543" fmla="*/ 2711505 w 8079933"/>
              <a:gd name="connsiteY1543" fmla="*/ 3850101 h 4687251"/>
              <a:gd name="connsiteX1544" fmla="*/ 2705970 w 8079933"/>
              <a:gd name="connsiteY1544" fmla="*/ 3843172 h 4687251"/>
              <a:gd name="connsiteX1545" fmla="*/ 2696638 w 8079933"/>
              <a:gd name="connsiteY1545" fmla="*/ 3839057 h 4687251"/>
              <a:gd name="connsiteX1546" fmla="*/ 2691972 w 8079933"/>
              <a:gd name="connsiteY1546" fmla="*/ 3840032 h 4687251"/>
              <a:gd name="connsiteX1547" fmla="*/ 2691972 w 8079933"/>
              <a:gd name="connsiteY1547" fmla="*/ 3833536 h 4687251"/>
              <a:gd name="connsiteX1548" fmla="*/ 2686437 w 8079933"/>
              <a:gd name="connsiteY1548" fmla="*/ 3828014 h 4687251"/>
              <a:gd name="connsiteX1549" fmla="*/ 2680794 w 8079933"/>
              <a:gd name="connsiteY1549" fmla="*/ 3826824 h 4687251"/>
              <a:gd name="connsiteX1550" fmla="*/ 2674284 w 8079933"/>
              <a:gd name="connsiteY1550" fmla="*/ 3823900 h 4687251"/>
              <a:gd name="connsiteX1551" fmla="*/ 2668749 w 8079933"/>
              <a:gd name="connsiteY1551" fmla="*/ 3814913 h 4687251"/>
              <a:gd name="connsiteX1552" fmla="*/ 2611019 w 8079933"/>
              <a:gd name="connsiteY1552" fmla="*/ 3812856 h 4687251"/>
              <a:gd name="connsiteX1553" fmla="*/ 2609174 w 8079933"/>
              <a:gd name="connsiteY1553" fmla="*/ 3816429 h 4687251"/>
              <a:gd name="connsiteX1554" fmla="*/ 2609174 w 8079933"/>
              <a:gd name="connsiteY1554" fmla="*/ 3816429 h 4687251"/>
              <a:gd name="connsiteX1555" fmla="*/ 2611019 w 8079933"/>
              <a:gd name="connsiteY1555" fmla="*/ 3812857 h 4687251"/>
              <a:gd name="connsiteX1556" fmla="*/ 2649993 w 8079933"/>
              <a:gd name="connsiteY1556" fmla="*/ 3803906 h 4687251"/>
              <a:gd name="connsiteX1557" fmla="*/ 2652907 w 8079933"/>
              <a:gd name="connsiteY1557" fmla="*/ 3810474 h 4687251"/>
              <a:gd name="connsiteX1558" fmla="*/ 2658550 w 8079933"/>
              <a:gd name="connsiteY1558" fmla="*/ 3819786 h 4687251"/>
              <a:gd name="connsiteX1559" fmla="*/ 2658917 w 8079933"/>
              <a:gd name="connsiteY1559" fmla="*/ 3819786 h 4687251"/>
              <a:gd name="connsiteX1560" fmla="*/ 2653340 w 8079933"/>
              <a:gd name="connsiteY1560" fmla="*/ 3810583 h 4687251"/>
              <a:gd name="connsiteX1561" fmla="*/ 2650410 w 8079933"/>
              <a:gd name="connsiteY1561" fmla="*/ 3804086 h 4687251"/>
              <a:gd name="connsiteX1562" fmla="*/ 2620218 w 8079933"/>
              <a:gd name="connsiteY1562" fmla="*/ 3793368 h 4687251"/>
              <a:gd name="connsiteX1563" fmla="*/ 2622522 w 8079933"/>
              <a:gd name="connsiteY1563" fmla="*/ 3794667 h 4687251"/>
              <a:gd name="connsiteX1564" fmla="*/ 2622741 w 8079933"/>
              <a:gd name="connsiteY1564" fmla="*/ 3794601 h 4687251"/>
              <a:gd name="connsiteX1565" fmla="*/ 2620459 w 8079933"/>
              <a:gd name="connsiteY1565" fmla="*/ 3793368 h 4687251"/>
              <a:gd name="connsiteX1566" fmla="*/ 2635109 w 8079933"/>
              <a:gd name="connsiteY1566" fmla="*/ 3791202 h 4687251"/>
              <a:gd name="connsiteX1567" fmla="*/ 2634972 w 8079933"/>
              <a:gd name="connsiteY1567" fmla="*/ 3791243 h 4687251"/>
              <a:gd name="connsiteX1568" fmla="*/ 2639667 w 8079933"/>
              <a:gd name="connsiteY1568" fmla="*/ 3794233 h 4687251"/>
              <a:gd name="connsiteX1569" fmla="*/ 2645093 w 8079933"/>
              <a:gd name="connsiteY1569" fmla="*/ 3801813 h 4687251"/>
              <a:gd name="connsiteX1570" fmla="*/ 2646888 w 8079933"/>
              <a:gd name="connsiteY1570" fmla="*/ 3802569 h 4687251"/>
              <a:gd name="connsiteX1571" fmla="*/ 2645635 w 8079933"/>
              <a:gd name="connsiteY1571" fmla="*/ 3802029 h 4687251"/>
              <a:gd name="connsiteX1572" fmla="*/ 2640101 w 8079933"/>
              <a:gd name="connsiteY1572" fmla="*/ 3794450 h 4687251"/>
              <a:gd name="connsiteX1573" fmla="*/ 7567951 w 8079933"/>
              <a:gd name="connsiteY1573" fmla="*/ 3781566 h 4687251"/>
              <a:gd name="connsiteX1574" fmla="*/ 7569036 w 8079933"/>
              <a:gd name="connsiteY1574" fmla="*/ 3786980 h 4687251"/>
              <a:gd name="connsiteX1575" fmla="*/ 7566323 w 8079933"/>
              <a:gd name="connsiteY1575" fmla="*/ 3790336 h 4687251"/>
              <a:gd name="connsiteX1576" fmla="*/ 4571046 w 8079933"/>
              <a:gd name="connsiteY1576" fmla="*/ 3779497 h 4687251"/>
              <a:gd name="connsiteX1577" fmla="*/ 4571046 w 8079933"/>
              <a:gd name="connsiteY1577" fmla="*/ 3783081 h 4687251"/>
              <a:gd name="connsiteX1578" fmla="*/ 4574519 w 8079933"/>
              <a:gd name="connsiteY1578" fmla="*/ 3786005 h 4687251"/>
              <a:gd name="connsiteX1579" fmla="*/ 4577015 w 8079933"/>
              <a:gd name="connsiteY1579" fmla="*/ 3789470 h 4687251"/>
              <a:gd name="connsiteX1580" fmla="*/ 4582549 w 8079933"/>
              <a:gd name="connsiteY1580" fmla="*/ 3791743 h 4687251"/>
              <a:gd name="connsiteX1581" fmla="*/ 4582875 w 8079933"/>
              <a:gd name="connsiteY1581" fmla="*/ 3791743 h 4687251"/>
              <a:gd name="connsiteX1582" fmla="*/ 4586890 w 8079933"/>
              <a:gd name="connsiteY1582" fmla="*/ 3791743 h 4687251"/>
              <a:gd name="connsiteX1583" fmla="*/ 4587002 w 8079933"/>
              <a:gd name="connsiteY1583" fmla="*/ 3791537 h 4687251"/>
              <a:gd name="connsiteX1584" fmla="*/ 4582875 w 8079933"/>
              <a:gd name="connsiteY1584" fmla="*/ 3791743 h 4687251"/>
              <a:gd name="connsiteX1585" fmla="*/ 4577340 w 8079933"/>
              <a:gd name="connsiteY1585" fmla="*/ 3789469 h 4687251"/>
              <a:gd name="connsiteX1586" fmla="*/ 4574845 w 8079933"/>
              <a:gd name="connsiteY1586" fmla="*/ 3786005 h 4687251"/>
              <a:gd name="connsiteX1587" fmla="*/ 4571372 w 8079933"/>
              <a:gd name="connsiteY1587" fmla="*/ 3783081 h 4687251"/>
              <a:gd name="connsiteX1588" fmla="*/ 4610475 w 8079933"/>
              <a:gd name="connsiteY1588" fmla="*/ 3775480 h 4687251"/>
              <a:gd name="connsiteX1589" fmla="*/ 4606423 w 8079933"/>
              <a:gd name="connsiteY1589" fmla="*/ 3778210 h 4687251"/>
              <a:gd name="connsiteX1590" fmla="*/ 4603602 w 8079933"/>
              <a:gd name="connsiteY1590" fmla="*/ 3777343 h 4687251"/>
              <a:gd name="connsiteX1591" fmla="*/ 4599478 w 8079933"/>
              <a:gd name="connsiteY1591" fmla="*/ 3778101 h 4687251"/>
              <a:gd name="connsiteX1592" fmla="*/ 4596331 w 8079933"/>
              <a:gd name="connsiteY1592" fmla="*/ 3780158 h 4687251"/>
              <a:gd name="connsiteX1593" fmla="*/ 4592207 w 8079933"/>
              <a:gd name="connsiteY1593" fmla="*/ 3781349 h 4687251"/>
              <a:gd name="connsiteX1594" fmla="*/ 4592117 w 8079933"/>
              <a:gd name="connsiteY1594" fmla="*/ 3781606 h 4687251"/>
              <a:gd name="connsiteX1595" fmla="*/ 4596005 w 8079933"/>
              <a:gd name="connsiteY1595" fmla="*/ 3780483 h 4687251"/>
              <a:gd name="connsiteX1596" fmla="*/ 4599153 w 8079933"/>
              <a:gd name="connsiteY1596" fmla="*/ 3778426 h 4687251"/>
              <a:gd name="connsiteX1597" fmla="*/ 4603276 w 8079933"/>
              <a:gd name="connsiteY1597" fmla="*/ 3777668 h 4687251"/>
              <a:gd name="connsiteX1598" fmla="*/ 4606097 w 8079933"/>
              <a:gd name="connsiteY1598" fmla="*/ 3778534 h 4687251"/>
              <a:gd name="connsiteX1599" fmla="*/ 4610438 w 8079933"/>
              <a:gd name="connsiteY1599" fmla="*/ 3775611 h 4687251"/>
              <a:gd name="connsiteX1600" fmla="*/ 4615831 w 8079933"/>
              <a:gd name="connsiteY1600" fmla="*/ 3762911 h 4687251"/>
              <a:gd name="connsiteX1601" fmla="*/ 4613802 w 8079933"/>
              <a:gd name="connsiteY1601" fmla="*/ 3764676 h 4687251"/>
              <a:gd name="connsiteX1602" fmla="*/ 4609570 w 8079933"/>
              <a:gd name="connsiteY1602" fmla="*/ 3766841 h 4687251"/>
              <a:gd name="connsiteX1603" fmla="*/ 4609616 w 8079933"/>
              <a:gd name="connsiteY1603" fmla="*/ 3767252 h 4687251"/>
              <a:gd name="connsiteX1604" fmla="*/ 4613910 w 8079933"/>
              <a:gd name="connsiteY1604" fmla="*/ 3765109 h 4687251"/>
              <a:gd name="connsiteX1605" fmla="*/ 2647914 w 8079933"/>
              <a:gd name="connsiteY1605" fmla="*/ 3744645 h 4687251"/>
              <a:gd name="connsiteX1606" fmla="*/ 2640318 w 8079933"/>
              <a:gd name="connsiteY1606" fmla="*/ 3753848 h 4687251"/>
              <a:gd name="connsiteX1607" fmla="*/ 2638908 w 8079933"/>
              <a:gd name="connsiteY1607" fmla="*/ 3757529 h 4687251"/>
              <a:gd name="connsiteX1608" fmla="*/ 2639125 w 8079933"/>
              <a:gd name="connsiteY1608" fmla="*/ 3762835 h 4687251"/>
              <a:gd name="connsiteX1609" fmla="*/ 2635652 w 8079933"/>
              <a:gd name="connsiteY1609" fmla="*/ 3763809 h 4687251"/>
              <a:gd name="connsiteX1610" fmla="*/ 2633807 w 8079933"/>
              <a:gd name="connsiteY1610" fmla="*/ 3766732 h 4687251"/>
              <a:gd name="connsiteX1611" fmla="*/ 2628924 w 8079933"/>
              <a:gd name="connsiteY1611" fmla="*/ 3775503 h 4687251"/>
              <a:gd name="connsiteX1612" fmla="*/ 2625451 w 8079933"/>
              <a:gd name="connsiteY1612" fmla="*/ 3779184 h 4687251"/>
              <a:gd name="connsiteX1613" fmla="*/ 2621545 w 8079933"/>
              <a:gd name="connsiteY1613" fmla="*/ 3785680 h 4687251"/>
              <a:gd name="connsiteX1614" fmla="*/ 2621545 w 8079933"/>
              <a:gd name="connsiteY1614" fmla="*/ 3787954 h 4687251"/>
              <a:gd name="connsiteX1615" fmla="*/ 2617095 w 8079933"/>
              <a:gd name="connsiteY1615" fmla="*/ 3790986 h 4687251"/>
              <a:gd name="connsiteX1616" fmla="*/ 2616445 w 8079933"/>
              <a:gd name="connsiteY1616" fmla="*/ 3793150 h 4687251"/>
              <a:gd name="connsiteX1617" fmla="*/ 2616010 w 8079933"/>
              <a:gd name="connsiteY1617" fmla="*/ 3794450 h 4687251"/>
              <a:gd name="connsiteX1618" fmla="*/ 2613732 w 8079933"/>
              <a:gd name="connsiteY1618" fmla="*/ 3799755 h 4687251"/>
              <a:gd name="connsiteX1619" fmla="*/ 2609499 w 8079933"/>
              <a:gd name="connsiteY1619" fmla="*/ 3805277 h 4687251"/>
              <a:gd name="connsiteX1620" fmla="*/ 2609499 w 8079933"/>
              <a:gd name="connsiteY1620" fmla="*/ 3805277 h 4687251"/>
              <a:gd name="connsiteX1621" fmla="*/ 2613732 w 8079933"/>
              <a:gd name="connsiteY1621" fmla="*/ 3799755 h 4687251"/>
              <a:gd name="connsiteX1622" fmla="*/ 2616011 w 8079933"/>
              <a:gd name="connsiteY1622" fmla="*/ 3794450 h 4687251"/>
              <a:gd name="connsiteX1623" fmla="*/ 2616445 w 8079933"/>
              <a:gd name="connsiteY1623" fmla="*/ 3793151 h 4687251"/>
              <a:gd name="connsiteX1624" fmla="*/ 2616939 w 8079933"/>
              <a:gd name="connsiteY1624" fmla="*/ 3793166 h 4687251"/>
              <a:gd name="connsiteX1625" fmla="*/ 2617530 w 8079933"/>
              <a:gd name="connsiteY1625" fmla="*/ 3791202 h 4687251"/>
              <a:gd name="connsiteX1626" fmla="*/ 2621979 w 8079933"/>
              <a:gd name="connsiteY1626" fmla="*/ 3788062 h 4687251"/>
              <a:gd name="connsiteX1627" fmla="*/ 2621979 w 8079933"/>
              <a:gd name="connsiteY1627" fmla="*/ 3785788 h 4687251"/>
              <a:gd name="connsiteX1628" fmla="*/ 2625885 w 8079933"/>
              <a:gd name="connsiteY1628" fmla="*/ 3779292 h 4687251"/>
              <a:gd name="connsiteX1629" fmla="*/ 2629358 w 8079933"/>
              <a:gd name="connsiteY1629" fmla="*/ 3775719 h 4687251"/>
              <a:gd name="connsiteX1630" fmla="*/ 2634241 w 8079933"/>
              <a:gd name="connsiteY1630" fmla="*/ 3766950 h 4687251"/>
              <a:gd name="connsiteX1631" fmla="*/ 2636086 w 8079933"/>
              <a:gd name="connsiteY1631" fmla="*/ 3764026 h 4687251"/>
              <a:gd name="connsiteX1632" fmla="*/ 2639558 w 8079933"/>
              <a:gd name="connsiteY1632" fmla="*/ 3762944 h 4687251"/>
              <a:gd name="connsiteX1633" fmla="*/ 2639558 w 8079933"/>
              <a:gd name="connsiteY1633" fmla="*/ 3757639 h 4687251"/>
              <a:gd name="connsiteX1634" fmla="*/ 2640969 w 8079933"/>
              <a:gd name="connsiteY1634" fmla="*/ 3754066 h 4687251"/>
              <a:gd name="connsiteX1635" fmla="*/ 2648566 w 8079933"/>
              <a:gd name="connsiteY1635" fmla="*/ 3744754 h 4687251"/>
              <a:gd name="connsiteX1636" fmla="*/ 2648651 w 8079933"/>
              <a:gd name="connsiteY1636" fmla="*/ 3744754 h 4687251"/>
              <a:gd name="connsiteX1637" fmla="*/ 4368083 w 8079933"/>
              <a:gd name="connsiteY1637" fmla="*/ 3743671 h 4687251"/>
              <a:gd name="connsiteX1638" fmla="*/ 4368662 w 8079933"/>
              <a:gd name="connsiteY1638" fmla="*/ 3744754 h 4687251"/>
              <a:gd name="connsiteX1639" fmla="*/ 4369765 w 8079933"/>
              <a:gd name="connsiteY1639" fmla="*/ 3744754 h 4687251"/>
              <a:gd name="connsiteX1640" fmla="*/ 4369205 w 8079933"/>
              <a:gd name="connsiteY1640" fmla="*/ 3743671 h 4687251"/>
              <a:gd name="connsiteX1641" fmla="*/ 4608594 w 8079933"/>
              <a:gd name="connsiteY1641" fmla="*/ 3741831 h 4687251"/>
              <a:gd name="connsiteX1642" fmla="*/ 4604951 w 8079933"/>
              <a:gd name="connsiteY1642" fmla="*/ 3742900 h 4687251"/>
              <a:gd name="connsiteX1643" fmla="*/ 4605121 w 8079933"/>
              <a:gd name="connsiteY1643" fmla="*/ 3743021 h 4687251"/>
              <a:gd name="connsiteX1644" fmla="*/ 4608810 w 8079933"/>
              <a:gd name="connsiteY1644" fmla="*/ 3742047 h 4687251"/>
              <a:gd name="connsiteX1645" fmla="*/ 4613832 w 8079933"/>
              <a:gd name="connsiteY1645" fmla="*/ 3745909 h 4687251"/>
              <a:gd name="connsiteX1646" fmla="*/ 4613802 w 8079933"/>
              <a:gd name="connsiteY1646" fmla="*/ 3745837 h 4687251"/>
              <a:gd name="connsiteX1647" fmla="*/ 4601431 w 8079933"/>
              <a:gd name="connsiteY1647" fmla="*/ 3740423 h 4687251"/>
              <a:gd name="connsiteX1648" fmla="*/ 4600098 w 8079933"/>
              <a:gd name="connsiteY1648" fmla="*/ 3741446 h 4687251"/>
              <a:gd name="connsiteX1649" fmla="*/ 4600346 w 8079933"/>
              <a:gd name="connsiteY1649" fmla="*/ 3741614 h 4687251"/>
              <a:gd name="connsiteX1650" fmla="*/ 4601618 w 8079933"/>
              <a:gd name="connsiteY1650" fmla="*/ 3740557 h 4687251"/>
              <a:gd name="connsiteX1651" fmla="*/ 4596272 w 8079933"/>
              <a:gd name="connsiteY1651" fmla="*/ 3739882 h 4687251"/>
              <a:gd name="connsiteX1652" fmla="*/ 4597887 w 8079933"/>
              <a:gd name="connsiteY1652" fmla="*/ 3739986 h 4687251"/>
              <a:gd name="connsiteX1653" fmla="*/ 4597741 w 8079933"/>
              <a:gd name="connsiteY1653" fmla="*/ 3739882 h 4687251"/>
              <a:gd name="connsiteX1654" fmla="*/ 4594378 w 8079933"/>
              <a:gd name="connsiteY1654" fmla="*/ 3739882 h 4687251"/>
              <a:gd name="connsiteX1655" fmla="*/ 4593510 w 8079933"/>
              <a:gd name="connsiteY1655" fmla="*/ 3741722 h 4687251"/>
              <a:gd name="connsiteX1656" fmla="*/ 4590471 w 8079933"/>
              <a:gd name="connsiteY1656" fmla="*/ 3743563 h 4687251"/>
              <a:gd name="connsiteX1657" fmla="*/ 4588409 w 8079933"/>
              <a:gd name="connsiteY1657" fmla="*/ 3745837 h 4687251"/>
              <a:gd name="connsiteX1658" fmla="*/ 4579619 w 8079933"/>
              <a:gd name="connsiteY1658" fmla="*/ 3747353 h 4687251"/>
              <a:gd name="connsiteX1659" fmla="*/ 4574302 w 8079933"/>
              <a:gd name="connsiteY1659" fmla="*/ 3752008 h 4687251"/>
              <a:gd name="connsiteX1660" fmla="*/ 4572023 w 8079933"/>
              <a:gd name="connsiteY1660" fmla="*/ 3758179 h 4687251"/>
              <a:gd name="connsiteX1661" fmla="*/ 4565729 w 8079933"/>
              <a:gd name="connsiteY1661" fmla="*/ 3763052 h 4687251"/>
              <a:gd name="connsiteX1662" fmla="*/ 4562474 w 8079933"/>
              <a:gd name="connsiteY1662" fmla="*/ 3765325 h 4687251"/>
              <a:gd name="connsiteX1663" fmla="*/ 4564427 w 8079933"/>
              <a:gd name="connsiteY1663" fmla="*/ 3769873 h 4687251"/>
              <a:gd name="connsiteX1664" fmla="*/ 4567249 w 8079933"/>
              <a:gd name="connsiteY1664" fmla="*/ 3772579 h 4687251"/>
              <a:gd name="connsiteX1665" fmla="*/ 4567791 w 8079933"/>
              <a:gd name="connsiteY1665" fmla="*/ 3775069 h 4687251"/>
              <a:gd name="connsiteX1666" fmla="*/ 4570236 w 8079933"/>
              <a:gd name="connsiteY1666" fmla="*/ 3777510 h 4687251"/>
              <a:gd name="connsiteX1667" fmla="*/ 4568117 w 8079933"/>
              <a:gd name="connsiteY1667" fmla="*/ 3775070 h 4687251"/>
              <a:gd name="connsiteX1668" fmla="*/ 4567466 w 8079933"/>
              <a:gd name="connsiteY1668" fmla="*/ 3772688 h 4687251"/>
              <a:gd name="connsiteX1669" fmla="*/ 4564753 w 8079933"/>
              <a:gd name="connsiteY1669" fmla="*/ 3769873 h 4687251"/>
              <a:gd name="connsiteX1670" fmla="*/ 4562691 w 8079933"/>
              <a:gd name="connsiteY1670" fmla="*/ 3765325 h 4687251"/>
              <a:gd name="connsiteX1671" fmla="*/ 4565946 w 8079933"/>
              <a:gd name="connsiteY1671" fmla="*/ 3763051 h 4687251"/>
              <a:gd name="connsiteX1672" fmla="*/ 4572240 w 8079933"/>
              <a:gd name="connsiteY1672" fmla="*/ 3758180 h 4687251"/>
              <a:gd name="connsiteX1673" fmla="*/ 4574519 w 8079933"/>
              <a:gd name="connsiteY1673" fmla="*/ 3752008 h 4687251"/>
              <a:gd name="connsiteX1674" fmla="*/ 4579837 w 8079933"/>
              <a:gd name="connsiteY1674" fmla="*/ 3747352 h 4687251"/>
              <a:gd name="connsiteX1675" fmla="*/ 4588626 w 8079933"/>
              <a:gd name="connsiteY1675" fmla="*/ 3745837 h 4687251"/>
              <a:gd name="connsiteX1676" fmla="*/ 4590688 w 8079933"/>
              <a:gd name="connsiteY1676" fmla="*/ 3743455 h 4687251"/>
              <a:gd name="connsiteX1677" fmla="*/ 4593727 w 8079933"/>
              <a:gd name="connsiteY1677" fmla="*/ 3741723 h 4687251"/>
              <a:gd name="connsiteX1678" fmla="*/ 4594547 w 8079933"/>
              <a:gd name="connsiteY1678" fmla="*/ 3739882 h 4687251"/>
              <a:gd name="connsiteX1679" fmla="*/ 2654751 w 8079933"/>
              <a:gd name="connsiteY1679" fmla="*/ 3738137 h 4687251"/>
              <a:gd name="connsiteX1680" fmla="*/ 2654425 w 8079933"/>
              <a:gd name="connsiteY1680" fmla="*/ 3738257 h 4687251"/>
              <a:gd name="connsiteX1681" fmla="*/ 2654107 w 8079933"/>
              <a:gd name="connsiteY1681" fmla="*/ 3743972 h 4687251"/>
              <a:gd name="connsiteX1682" fmla="*/ 2654751 w 8079933"/>
              <a:gd name="connsiteY1682" fmla="*/ 3743779 h 4687251"/>
              <a:gd name="connsiteX1683" fmla="*/ 4335372 w 8079933"/>
              <a:gd name="connsiteY1683" fmla="*/ 3727934 h 4687251"/>
              <a:gd name="connsiteX1684" fmla="*/ 4334155 w 8079933"/>
              <a:gd name="connsiteY1684" fmla="*/ 3731003 h 4687251"/>
              <a:gd name="connsiteX1685" fmla="*/ 4337627 w 8079933"/>
              <a:gd name="connsiteY1685" fmla="*/ 3738041 h 4687251"/>
              <a:gd name="connsiteX1686" fmla="*/ 4338920 w 8079933"/>
              <a:gd name="connsiteY1686" fmla="*/ 3738316 h 4687251"/>
              <a:gd name="connsiteX1687" fmla="*/ 4336433 w 8079933"/>
              <a:gd name="connsiteY1687" fmla="*/ 3733277 h 4687251"/>
              <a:gd name="connsiteX1688" fmla="*/ 4338495 w 8079933"/>
              <a:gd name="connsiteY1688" fmla="*/ 3728079 h 4687251"/>
              <a:gd name="connsiteX1689" fmla="*/ 2672124 w 8079933"/>
              <a:gd name="connsiteY1689" fmla="*/ 3725617 h 4687251"/>
              <a:gd name="connsiteX1690" fmla="*/ 2672005 w 8079933"/>
              <a:gd name="connsiteY1690" fmla="*/ 3725698 h 4687251"/>
              <a:gd name="connsiteX1691" fmla="*/ 2670331 w 8079933"/>
              <a:gd name="connsiteY1691" fmla="*/ 3728449 h 4687251"/>
              <a:gd name="connsiteX1692" fmla="*/ 2670485 w 8079933"/>
              <a:gd name="connsiteY1692" fmla="*/ 3728405 h 4687251"/>
              <a:gd name="connsiteX1693" fmla="*/ 2635869 w 8079933"/>
              <a:gd name="connsiteY1693" fmla="*/ 3724832 h 4687251"/>
              <a:gd name="connsiteX1694" fmla="*/ 2637064 w 8079933"/>
              <a:gd name="connsiteY1694" fmla="*/ 3726132 h 4687251"/>
              <a:gd name="connsiteX1695" fmla="*/ 2635870 w 8079933"/>
              <a:gd name="connsiteY1695" fmla="*/ 3724832 h 4687251"/>
              <a:gd name="connsiteX1696" fmla="*/ 4331115 w 8079933"/>
              <a:gd name="connsiteY1696" fmla="*/ 3722991 h 4687251"/>
              <a:gd name="connsiteX1697" fmla="*/ 4330201 w 8079933"/>
              <a:gd name="connsiteY1697" fmla="*/ 3723329 h 4687251"/>
              <a:gd name="connsiteX1698" fmla="*/ 4331551 w 8079933"/>
              <a:gd name="connsiteY1698" fmla="*/ 3725807 h 4687251"/>
              <a:gd name="connsiteX1699" fmla="*/ 4332683 w 8079933"/>
              <a:gd name="connsiteY1699" fmla="*/ 3725807 h 4687251"/>
              <a:gd name="connsiteX1700" fmla="*/ 2687772 w 8079933"/>
              <a:gd name="connsiteY1700" fmla="*/ 3715179 h 4687251"/>
              <a:gd name="connsiteX1701" fmla="*/ 2687740 w 8079933"/>
              <a:gd name="connsiteY1701" fmla="*/ 3715196 h 4687251"/>
              <a:gd name="connsiteX1702" fmla="*/ 2686983 w 8079933"/>
              <a:gd name="connsiteY1702" fmla="*/ 3716801 h 4687251"/>
              <a:gd name="connsiteX1703" fmla="*/ 2687089 w 8079933"/>
              <a:gd name="connsiteY1703" fmla="*/ 3716712 h 4687251"/>
              <a:gd name="connsiteX1704" fmla="*/ 2351540 w 8079933"/>
              <a:gd name="connsiteY1704" fmla="*/ 3713684 h 4687251"/>
              <a:gd name="connsiteX1705" fmla="*/ 2351555 w 8079933"/>
              <a:gd name="connsiteY1705" fmla="*/ 3714006 h 4687251"/>
              <a:gd name="connsiteX1706" fmla="*/ 2353726 w 8079933"/>
              <a:gd name="connsiteY1706" fmla="*/ 3716387 h 4687251"/>
              <a:gd name="connsiteX1707" fmla="*/ 2353726 w 8079933"/>
              <a:gd name="connsiteY1707" fmla="*/ 3716387 h 4687251"/>
              <a:gd name="connsiteX1708" fmla="*/ 2351555 w 8079933"/>
              <a:gd name="connsiteY1708" fmla="*/ 3714005 h 4687251"/>
              <a:gd name="connsiteX1709" fmla="*/ 2346564 w 8079933"/>
              <a:gd name="connsiteY1709" fmla="*/ 3701445 h 4687251"/>
              <a:gd name="connsiteX1710" fmla="*/ 2346564 w 8079933"/>
              <a:gd name="connsiteY1710" fmla="*/ 3701446 h 4687251"/>
              <a:gd name="connsiteX1711" fmla="*/ 2348816 w 8079933"/>
              <a:gd name="connsiteY1711" fmla="*/ 3703277 h 4687251"/>
              <a:gd name="connsiteX1712" fmla="*/ 6608012 w 8079933"/>
              <a:gd name="connsiteY1712" fmla="*/ 3699821 h 4687251"/>
              <a:gd name="connsiteX1713" fmla="*/ 6610616 w 8079933"/>
              <a:gd name="connsiteY1713" fmla="*/ 3707725 h 4687251"/>
              <a:gd name="connsiteX1714" fmla="*/ 6608663 w 8079933"/>
              <a:gd name="connsiteY1714" fmla="*/ 3714762 h 4687251"/>
              <a:gd name="connsiteX1715" fmla="*/ 6605733 w 8079933"/>
              <a:gd name="connsiteY1715" fmla="*/ 3705343 h 4687251"/>
              <a:gd name="connsiteX1716" fmla="*/ 7574353 w 8079933"/>
              <a:gd name="connsiteY1716" fmla="*/ 3697440 h 4687251"/>
              <a:gd name="connsiteX1717" fmla="*/ 7576632 w 8079933"/>
              <a:gd name="connsiteY1717" fmla="*/ 3697764 h 4687251"/>
              <a:gd name="connsiteX1718" fmla="*/ 7577501 w 8079933"/>
              <a:gd name="connsiteY1718" fmla="*/ 3703178 h 4687251"/>
              <a:gd name="connsiteX1719" fmla="*/ 7576415 w 8079933"/>
              <a:gd name="connsiteY1719" fmla="*/ 3709891 h 4687251"/>
              <a:gd name="connsiteX1720" fmla="*/ 7571098 w 8079933"/>
              <a:gd name="connsiteY1720" fmla="*/ 3717145 h 4687251"/>
              <a:gd name="connsiteX1721" fmla="*/ 7569904 w 8079933"/>
              <a:gd name="connsiteY1721" fmla="*/ 3726780 h 4687251"/>
              <a:gd name="connsiteX1722" fmla="*/ 7571315 w 8079933"/>
              <a:gd name="connsiteY1722" fmla="*/ 3731436 h 4687251"/>
              <a:gd name="connsiteX1723" fmla="*/ 7568493 w 8079933"/>
              <a:gd name="connsiteY1723" fmla="*/ 3730570 h 4687251"/>
              <a:gd name="connsiteX1724" fmla="*/ 7566323 w 8079933"/>
              <a:gd name="connsiteY1724" fmla="*/ 3723533 h 4687251"/>
              <a:gd name="connsiteX1725" fmla="*/ 7567191 w 8079933"/>
              <a:gd name="connsiteY1725" fmla="*/ 3718660 h 4687251"/>
              <a:gd name="connsiteX1726" fmla="*/ 7567625 w 8079933"/>
              <a:gd name="connsiteY1726" fmla="*/ 3714438 h 4687251"/>
              <a:gd name="connsiteX1727" fmla="*/ 7571749 w 8079933"/>
              <a:gd name="connsiteY1727" fmla="*/ 3709566 h 4687251"/>
              <a:gd name="connsiteX1728" fmla="*/ 7574353 w 8079933"/>
              <a:gd name="connsiteY1728" fmla="*/ 3704369 h 4687251"/>
              <a:gd name="connsiteX1729" fmla="*/ 7573051 w 8079933"/>
              <a:gd name="connsiteY1729" fmla="*/ 3701121 h 4687251"/>
              <a:gd name="connsiteX1730" fmla="*/ 2593356 w 8079933"/>
              <a:gd name="connsiteY1730" fmla="*/ 3694633 h 4687251"/>
              <a:gd name="connsiteX1731" fmla="*/ 2594090 w 8079933"/>
              <a:gd name="connsiteY1731" fmla="*/ 3697440 h 4687251"/>
              <a:gd name="connsiteX1732" fmla="*/ 2590726 w 8079933"/>
              <a:gd name="connsiteY1732" fmla="*/ 3706751 h 4687251"/>
              <a:gd name="connsiteX1733" fmla="*/ 2583238 w 8079933"/>
              <a:gd name="connsiteY1733" fmla="*/ 3714330 h 4687251"/>
              <a:gd name="connsiteX1734" fmla="*/ 2581936 w 8079933"/>
              <a:gd name="connsiteY1734" fmla="*/ 3719634 h 4687251"/>
              <a:gd name="connsiteX1735" fmla="*/ 2581937 w 8079933"/>
              <a:gd name="connsiteY1735" fmla="*/ 3719634 h 4687251"/>
              <a:gd name="connsiteX1736" fmla="*/ 2583239 w 8079933"/>
              <a:gd name="connsiteY1736" fmla="*/ 3714330 h 4687251"/>
              <a:gd name="connsiteX1737" fmla="*/ 2590726 w 8079933"/>
              <a:gd name="connsiteY1737" fmla="*/ 3706751 h 4687251"/>
              <a:gd name="connsiteX1738" fmla="*/ 2594090 w 8079933"/>
              <a:gd name="connsiteY1738" fmla="*/ 3697440 h 4687251"/>
              <a:gd name="connsiteX1739" fmla="*/ 4684121 w 8079933"/>
              <a:gd name="connsiteY1739" fmla="*/ 3692134 h 4687251"/>
              <a:gd name="connsiteX1740" fmla="*/ 4684121 w 8079933"/>
              <a:gd name="connsiteY1740" fmla="*/ 3692134 h 4687251"/>
              <a:gd name="connsiteX1741" fmla="*/ 4684121 w 8079933"/>
              <a:gd name="connsiteY1741" fmla="*/ 3692138 h 4687251"/>
              <a:gd name="connsiteX1742" fmla="*/ 4659748 w 8079933"/>
              <a:gd name="connsiteY1742" fmla="*/ 3691422 h 4687251"/>
              <a:gd name="connsiteX1743" fmla="*/ 4662201 w 8079933"/>
              <a:gd name="connsiteY1743" fmla="*/ 3695924 h 4687251"/>
              <a:gd name="connsiteX1744" fmla="*/ 4662387 w 8079933"/>
              <a:gd name="connsiteY1744" fmla="*/ 3696027 h 4687251"/>
              <a:gd name="connsiteX1745" fmla="*/ 4659814 w 8079933"/>
              <a:gd name="connsiteY1745" fmla="*/ 3691484 h 4687251"/>
              <a:gd name="connsiteX1746" fmla="*/ 6611484 w 8079933"/>
              <a:gd name="connsiteY1746" fmla="*/ 3686073 h 4687251"/>
              <a:gd name="connsiteX1747" fmla="*/ 6611484 w 8079933"/>
              <a:gd name="connsiteY1747" fmla="*/ 3692569 h 4687251"/>
              <a:gd name="connsiteX1748" fmla="*/ 6609639 w 8079933"/>
              <a:gd name="connsiteY1748" fmla="*/ 3696900 h 4687251"/>
              <a:gd name="connsiteX1749" fmla="*/ 2698049 w 8079933"/>
              <a:gd name="connsiteY1749" fmla="*/ 3685541 h 4687251"/>
              <a:gd name="connsiteX1750" fmla="*/ 2697832 w 8079933"/>
              <a:gd name="connsiteY1750" fmla="*/ 3690943 h 4687251"/>
              <a:gd name="connsiteX1751" fmla="*/ 2698917 w 8079933"/>
              <a:gd name="connsiteY1751" fmla="*/ 3700254 h 4687251"/>
              <a:gd name="connsiteX1752" fmla="*/ 2699776 w 8079933"/>
              <a:gd name="connsiteY1752" fmla="*/ 3708715 h 4687251"/>
              <a:gd name="connsiteX1753" fmla="*/ 2700003 w 8079933"/>
              <a:gd name="connsiteY1753" fmla="*/ 3708159 h 4687251"/>
              <a:gd name="connsiteX1754" fmla="*/ 2699134 w 8079933"/>
              <a:gd name="connsiteY1754" fmla="*/ 3699605 h 4687251"/>
              <a:gd name="connsiteX1755" fmla="*/ 2698049 w 8079933"/>
              <a:gd name="connsiteY1755" fmla="*/ 3690294 h 4687251"/>
              <a:gd name="connsiteX1756" fmla="*/ 2346566 w 8079933"/>
              <a:gd name="connsiteY1756" fmla="*/ 3680322 h 4687251"/>
              <a:gd name="connsiteX1757" fmla="*/ 2346672 w 8079933"/>
              <a:gd name="connsiteY1757" fmla="*/ 3680983 h 4687251"/>
              <a:gd name="connsiteX1758" fmla="*/ 2351881 w 8079933"/>
              <a:gd name="connsiteY1758" fmla="*/ 3687478 h 4687251"/>
              <a:gd name="connsiteX1759" fmla="*/ 2351881 w 8079933"/>
              <a:gd name="connsiteY1759" fmla="*/ 3687478 h 4687251"/>
              <a:gd name="connsiteX1760" fmla="*/ 2346672 w 8079933"/>
              <a:gd name="connsiteY1760" fmla="*/ 3680983 h 4687251"/>
              <a:gd name="connsiteX1761" fmla="*/ 2676346 w 8079933"/>
              <a:gd name="connsiteY1761" fmla="*/ 3676651 h 4687251"/>
              <a:gd name="connsiteX1762" fmla="*/ 2676346 w 8079933"/>
              <a:gd name="connsiteY1762" fmla="*/ 3676652 h 4687251"/>
              <a:gd name="connsiteX1763" fmla="*/ 2676552 w 8079933"/>
              <a:gd name="connsiteY1763" fmla="*/ 3677243 h 4687251"/>
              <a:gd name="connsiteX1764" fmla="*/ 2604399 w 8079933"/>
              <a:gd name="connsiteY1764" fmla="*/ 3674594 h 4687251"/>
              <a:gd name="connsiteX1765" fmla="*/ 2602880 w 8079933"/>
              <a:gd name="connsiteY1765" fmla="*/ 3679791 h 4687251"/>
              <a:gd name="connsiteX1766" fmla="*/ 2599299 w 8079933"/>
              <a:gd name="connsiteY1766" fmla="*/ 3685422 h 4687251"/>
              <a:gd name="connsiteX1767" fmla="*/ 2595175 w 8079933"/>
              <a:gd name="connsiteY1767" fmla="*/ 3688561 h 4687251"/>
              <a:gd name="connsiteX1768" fmla="*/ 2592788 w 8079933"/>
              <a:gd name="connsiteY1768" fmla="*/ 3692459 h 4687251"/>
              <a:gd name="connsiteX1769" fmla="*/ 2592788 w 8079933"/>
              <a:gd name="connsiteY1769" fmla="*/ 3692459 h 4687251"/>
              <a:gd name="connsiteX1770" fmla="*/ 2595175 w 8079933"/>
              <a:gd name="connsiteY1770" fmla="*/ 3688562 h 4687251"/>
              <a:gd name="connsiteX1771" fmla="*/ 2599299 w 8079933"/>
              <a:gd name="connsiteY1771" fmla="*/ 3685422 h 4687251"/>
              <a:gd name="connsiteX1772" fmla="*/ 2602880 w 8079933"/>
              <a:gd name="connsiteY1772" fmla="*/ 3679792 h 4687251"/>
              <a:gd name="connsiteX1773" fmla="*/ 2604399 w 8079933"/>
              <a:gd name="connsiteY1773" fmla="*/ 3674596 h 4687251"/>
              <a:gd name="connsiteX1774" fmla="*/ 2693668 w 8079933"/>
              <a:gd name="connsiteY1774" fmla="*/ 3672152 h 4687251"/>
              <a:gd name="connsiteX1775" fmla="*/ 2693708 w 8079933"/>
              <a:gd name="connsiteY1775" fmla="*/ 3672753 h 4687251"/>
              <a:gd name="connsiteX1776" fmla="*/ 2698049 w 8079933"/>
              <a:gd name="connsiteY1776" fmla="*/ 3682576 h 4687251"/>
              <a:gd name="connsiteX1777" fmla="*/ 2698049 w 8079933"/>
              <a:gd name="connsiteY1777" fmla="*/ 3682173 h 4687251"/>
              <a:gd name="connsiteX1778" fmla="*/ 2678625 w 8079933"/>
              <a:gd name="connsiteY1778" fmla="*/ 3665429 h 4687251"/>
              <a:gd name="connsiteX1779" fmla="*/ 2678408 w 8079933"/>
              <a:gd name="connsiteY1779" fmla="*/ 3666258 h 4687251"/>
              <a:gd name="connsiteX1780" fmla="*/ 2678191 w 8079933"/>
              <a:gd name="connsiteY1780" fmla="*/ 3669073 h 4687251"/>
              <a:gd name="connsiteX1781" fmla="*/ 2682314 w 8079933"/>
              <a:gd name="connsiteY1781" fmla="*/ 3666365 h 4687251"/>
              <a:gd name="connsiteX1782" fmla="*/ 2693383 w 8079933"/>
              <a:gd name="connsiteY1782" fmla="*/ 3667881 h 4687251"/>
              <a:gd name="connsiteX1783" fmla="*/ 2693600 w 8079933"/>
              <a:gd name="connsiteY1783" fmla="*/ 3671128 h 4687251"/>
              <a:gd name="connsiteX1784" fmla="*/ 2693600 w 8079933"/>
              <a:gd name="connsiteY1784" fmla="*/ 3667124 h 4687251"/>
              <a:gd name="connsiteX1785" fmla="*/ 2682748 w 8079933"/>
              <a:gd name="connsiteY1785" fmla="*/ 3665608 h 4687251"/>
              <a:gd name="connsiteX1786" fmla="*/ 2678625 w 8079933"/>
              <a:gd name="connsiteY1786" fmla="*/ 3668315 h 4687251"/>
              <a:gd name="connsiteX1787" fmla="*/ 4527206 w 8079933"/>
              <a:gd name="connsiteY1787" fmla="*/ 3663768 h 4687251"/>
              <a:gd name="connsiteX1788" fmla="*/ 4526784 w 8079933"/>
              <a:gd name="connsiteY1788" fmla="*/ 3663828 h 4687251"/>
              <a:gd name="connsiteX1789" fmla="*/ 4526989 w 8079933"/>
              <a:gd name="connsiteY1789" fmla="*/ 3664093 h 4687251"/>
              <a:gd name="connsiteX1790" fmla="*/ 4527643 w 8079933"/>
              <a:gd name="connsiteY1790" fmla="*/ 3664359 h 4687251"/>
              <a:gd name="connsiteX1791" fmla="*/ 2679276 w 8079933"/>
              <a:gd name="connsiteY1791" fmla="*/ 3660390 h 4687251"/>
              <a:gd name="connsiteX1792" fmla="*/ 2679059 w 8079933"/>
              <a:gd name="connsiteY1792" fmla="*/ 3660736 h 4687251"/>
              <a:gd name="connsiteX1793" fmla="*/ 2679059 w 8079933"/>
              <a:gd name="connsiteY1793" fmla="*/ 3663732 h 4687251"/>
              <a:gd name="connsiteX1794" fmla="*/ 2679276 w 8079933"/>
              <a:gd name="connsiteY1794" fmla="*/ 3662902 h 4687251"/>
              <a:gd name="connsiteX1795" fmla="*/ 2342007 w 8079933"/>
              <a:gd name="connsiteY1795" fmla="*/ 3659328 h 4687251"/>
              <a:gd name="connsiteX1796" fmla="*/ 2342006 w 8079933"/>
              <a:gd name="connsiteY1796" fmla="*/ 3659329 h 4687251"/>
              <a:gd name="connsiteX1797" fmla="*/ 2346998 w 8079933"/>
              <a:gd name="connsiteY1797" fmla="*/ 3663443 h 4687251"/>
              <a:gd name="connsiteX1798" fmla="*/ 2346998 w 8079933"/>
              <a:gd name="connsiteY1798" fmla="*/ 3663442 h 4687251"/>
              <a:gd name="connsiteX1799" fmla="*/ 7529536 w 8079933"/>
              <a:gd name="connsiteY1799" fmla="*/ 3658571 h 4687251"/>
              <a:gd name="connsiteX1800" fmla="*/ 7531814 w 8079933"/>
              <a:gd name="connsiteY1800" fmla="*/ 3660195 h 4687251"/>
              <a:gd name="connsiteX1801" fmla="*/ 7534745 w 8079933"/>
              <a:gd name="connsiteY1801" fmla="*/ 3660520 h 4687251"/>
              <a:gd name="connsiteX1802" fmla="*/ 7534310 w 8079933"/>
              <a:gd name="connsiteY1802" fmla="*/ 3663551 h 4687251"/>
              <a:gd name="connsiteX1803" fmla="*/ 7536155 w 8079933"/>
              <a:gd name="connsiteY1803" fmla="*/ 3665717 h 4687251"/>
              <a:gd name="connsiteX1804" fmla="*/ 7535179 w 8079933"/>
              <a:gd name="connsiteY1804" fmla="*/ 3669939 h 4687251"/>
              <a:gd name="connsiteX1805" fmla="*/ 7532791 w 8079933"/>
              <a:gd name="connsiteY1805" fmla="*/ 3665717 h 4687251"/>
              <a:gd name="connsiteX1806" fmla="*/ 7528451 w 8079933"/>
              <a:gd name="connsiteY1806" fmla="*/ 3659761 h 4687251"/>
              <a:gd name="connsiteX1807" fmla="*/ 4490785 w 8079933"/>
              <a:gd name="connsiteY1807" fmla="*/ 3656504 h 4687251"/>
              <a:gd name="connsiteX1808" fmla="*/ 4491287 w 8079933"/>
              <a:gd name="connsiteY1808" fmla="*/ 3657163 h 4687251"/>
              <a:gd name="connsiteX1809" fmla="*/ 4491346 w 8079933"/>
              <a:gd name="connsiteY1809" fmla="*/ 3657163 h 4687251"/>
              <a:gd name="connsiteX1810" fmla="*/ 4490852 w 8079933"/>
              <a:gd name="connsiteY1810" fmla="*/ 3656513 h 4687251"/>
              <a:gd name="connsiteX1811" fmla="*/ 4410212 w 8079933"/>
              <a:gd name="connsiteY1811" fmla="*/ 3649570 h 4687251"/>
              <a:gd name="connsiteX1812" fmla="*/ 4412287 w 8079933"/>
              <a:gd name="connsiteY1812" fmla="*/ 3655214 h 4687251"/>
              <a:gd name="connsiteX1813" fmla="*/ 4418472 w 8079933"/>
              <a:gd name="connsiteY1813" fmla="*/ 3668640 h 4687251"/>
              <a:gd name="connsiteX1814" fmla="*/ 4418472 w 8079933"/>
              <a:gd name="connsiteY1814" fmla="*/ 3675136 h 4687251"/>
              <a:gd name="connsiteX1815" fmla="*/ 4415000 w 8079933"/>
              <a:gd name="connsiteY1815" fmla="*/ 3682823 h 4687251"/>
              <a:gd name="connsiteX1816" fmla="*/ 4415000 w 8079933"/>
              <a:gd name="connsiteY1816" fmla="*/ 3687370 h 4687251"/>
              <a:gd name="connsiteX1817" fmla="*/ 4417189 w 8079933"/>
              <a:gd name="connsiteY1817" fmla="*/ 3687074 h 4687251"/>
              <a:gd name="connsiteX1818" fmla="*/ 4417278 w 8079933"/>
              <a:gd name="connsiteY1818" fmla="*/ 3685206 h 4687251"/>
              <a:gd name="connsiteX1819" fmla="*/ 4420750 w 8079933"/>
              <a:gd name="connsiteY1819" fmla="*/ 3677518 h 4687251"/>
              <a:gd name="connsiteX1820" fmla="*/ 4420859 w 8079933"/>
              <a:gd name="connsiteY1820" fmla="*/ 3671022 h 4687251"/>
              <a:gd name="connsiteX1821" fmla="*/ 4414674 w 8079933"/>
              <a:gd name="connsiteY1821" fmla="*/ 3657596 h 4687251"/>
              <a:gd name="connsiteX1822" fmla="*/ 4412286 w 8079933"/>
              <a:gd name="connsiteY1822" fmla="*/ 3651100 h 4687251"/>
              <a:gd name="connsiteX1823" fmla="*/ 2681545 w 8079933"/>
              <a:gd name="connsiteY1823" fmla="*/ 3634320 h 4687251"/>
              <a:gd name="connsiteX1824" fmla="*/ 2681229 w 8079933"/>
              <a:gd name="connsiteY1824" fmla="*/ 3634860 h 4687251"/>
              <a:gd name="connsiteX1825" fmla="*/ 2680578 w 8079933"/>
              <a:gd name="connsiteY1825" fmla="*/ 3657269 h 4687251"/>
              <a:gd name="connsiteX1826" fmla="*/ 2680903 w 8079933"/>
              <a:gd name="connsiteY1826" fmla="*/ 3656405 h 4687251"/>
              <a:gd name="connsiteX1827" fmla="*/ 7521722 w 8079933"/>
              <a:gd name="connsiteY1827" fmla="*/ 3623274 h 4687251"/>
              <a:gd name="connsiteX1828" fmla="*/ 7522265 w 8079933"/>
              <a:gd name="connsiteY1828" fmla="*/ 3625981 h 4687251"/>
              <a:gd name="connsiteX1829" fmla="*/ 7519769 w 8079933"/>
              <a:gd name="connsiteY1829" fmla="*/ 3625331 h 4687251"/>
              <a:gd name="connsiteX1830" fmla="*/ 2444228 w 8079933"/>
              <a:gd name="connsiteY1830" fmla="*/ 3591442 h 4687251"/>
              <a:gd name="connsiteX1831" fmla="*/ 2441515 w 8079933"/>
              <a:gd name="connsiteY1831" fmla="*/ 3595990 h 4687251"/>
              <a:gd name="connsiteX1832" fmla="*/ 2444228 w 8079933"/>
              <a:gd name="connsiteY1832" fmla="*/ 3591442 h 4687251"/>
              <a:gd name="connsiteX1833" fmla="*/ 2429677 w 8079933"/>
              <a:gd name="connsiteY1833" fmla="*/ 3583645 h 4687251"/>
              <a:gd name="connsiteX1834" fmla="*/ 2433594 w 8079933"/>
              <a:gd name="connsiteY1834" fmla="*/ 3584297 h 4687251"/>
              <a:gd name="connsiteX1835" fmla="*/ 2434571 w 8079933"/>
              <a:gd name="connsiteY1835" fmla="*/ 3590468 h 4687251"/>
              <a:gd name="connsiteX1836" fmla="*/ 2433594 w 8079933"/>
              <a:gd name="connsiteY1836" fmla="*/ 3584296 h 4687251"/>
              <a:gd name="connsiteX1837" fmla="*/ 2448026 w 8079933"/>
              <a:gd name="connsiteY1837" fmla="*/ 3581482 h 4687251"/>
              <a:gd name="connsiteX1838" fmla="*/ 2444228 w 8079933"/>
              <a:gd name="connsiteY1838" fmla="*/ 3587003 h 4687251"/>
              <a:gd name="connsiteX1839" fmla="*/ 2444228 w 8079933"/>
              <a:gd name="connsiteY1839" fmla="*/ 3587003 h 4687251"/>
              <a:gd name="connsiteX1840" fmla="*/ 2398325 w 8079933"/>
              <a:gd name="connsiteY1840" fmla="*/ 3580399 h 4687251"/>
              <a:gd name="connsiteX1841" fmla="*/ 2392140 w 8079933"/>
              <a:gd name="connsiteY1841" fmla="*/ 3582456 h 4687251"/>
              <a:gd name="connsiteX1842" fmla="*/ 2382808 w 8079933"/>
              <a:gd name="connsiteY1842" fmla="*/ 3592092 h 4687251"/>
              <a:gd name="connsiteX1843" fmla="*/ 2378684 w 8079933"/>
              <a:gd name="connsiteY1843" fmla="*/ 3600753 h 4687251"/>
              <a:gd name="connsiteX1844" fmla="*/ 2375646 w 8079933"/>
              <a:gd name="connsiteY1844" fmla="*/ 3604543 h 4687251"/>
              <a:gd name="connsiteX1845" fmla="*/ 2371739 w 8079933"/>
              <a:gd name="connsiteY1845" fmla="*/ 3605192 h 4687251"/>
              <a:gd name="connsiteX1846" fmla="*/ 2370111 w 8079933"/>
              <a:gd name="connsiteY1846" fmla="*/ 3608332 h 4687251"/>
              <a:gd name="connsiteX1847" fmla="*/ 2363492 w 8079933"/>
              <a:gd name="connsiteY1847" fmla="*/ 3608332 h 4687251"/>
              <a:gd name="connsiteX1848" fmla="*/ 2363493 w 8079933"/>
              <a:gd name="connsiteY1848" fmla="*/ 3608333 h 4687251"/>
              <a:gd name="connsiteX1849" fmla="*/ 2370112 w 8079933"/>
              <a:gd name="connsiteY1849" fmla="*/ 3608333 h 4687251"/>
              <a:gd name="connsiteX1850" fmla="*/ 2371740 w 8079933"/>
              <a:gd name="connsiteY1850" fmla="*/ 3605194 h 4687251"/>
              <a:gd name="connsiteX1851" fmla="*/ 2375646 w 8079933"/>
              <a:gd name="connsiteY1851" fmla="*/ 3604544 h 4687251"/>
              <a:gd name="connsiteX1852" fmla="*/ 2376884 w 8079933"/>
              <a:gd name="connsiteY1852" fmla="*/ 3607099 h 4687251"/>
              <a:gd name="connsiteX1853" fmla="*/ 2375646 w 8079933"/>
              <a:gd name="connsiteY1853" fmla="*/ 3604543 h 4687251"/>
              <a:gd name="connsiteX1854" fmla="*/ 2378684 w 8079933"/>
              <a:gd name="connsiteY1854" fmla="*/ 3600754 h 4687251"/>
              <a:gd name="connsiteX1855" fmla="*/ 2382808 w 8079933"/>
              <a:gd name="connsiteY1855" fmla="*/ 3592092 h 4687251"/>
              <a:gd name="connsiteX1856" fmla="*/ 2392141 w 8079933"/>
              <a:gd name="connsiteY1856" fmla="*/ 3582456 h 4687251"/>
              <a:gd name="connsiteX1857" fmla="*/ 2398325 w 8079933"/>
              <a:gd name="connsiteY1857" fmla="*/ 3580399 h 4687251"/>
              <a:gd name="connsiteX1858" fmla="*/ 2404186 w 8079933"/>
              <a:gd name="connsiteY1858" fmla="*/ 3585596 h 4687251"/>
              <a:gd name="connsiteX1859" fmla="*/ 2411131 w 8079933"/>
              <a:gd name="connsiteY1859" fmla="*/ 3584946 h 4687251"/>
              <a:gd name="connsiteX1860" fmla="*/ 2415254 w 8079933"/>
              <a:gd name="connsiteY1860" fmla="*/ 3583864 h 4687251"/>
              <a:gd name="connsiteX1861" fmla="*/ 2420463 w 8079933"/>
              <a:gd name="connsiteY1861" fmla="*/ 3585271 h 4687251"/>
              <a:gd name="connsiteX1862" fmla="*/ 2429036 w 8079933"/>
              <a:gd name="connsiteY1862" fmla="*/ 3583539 h 4687251"/>
              <a:gd name="connsiteX1863" fmla="*/ 2429036 w 8079933"/>
              <a:gd name="connsiteY1863" fmla="*/ 3583539 h 4687251"/>
              <a:gd name="connsiteX1864" fmla="*/ 2420463 w 8079933"/>
              <a:gd name="connsiteY1864" fmla="*/ 3585271 h 4687251"/>
              <a:gd name="connsiteX1865" fmla="*/ 2415254 w 8079933"/>
              <a:gd name="connsiteY1865" fmla="*/ 3583863 h 4687251"/>
              <a:gd name="connsiteX1866" fmla="*/ 2411131 w 8079933"/>
              <a:gd name="connsiteY1866" fmla="*/ 3584946 h 4687251"/>
              <a:gd name="connsiteX1867" fmla="*/ 2404185 w 8079933"/>
              <a:gd name="connsiteY1867" fmla="*/ 3585596 h 4687251"/>
              <a:gd name="connsiteX1868" fmla="*/ 4664045 w 8079933"/>
              <a:gd name="connsiteY1868" fmla="*/ 3579209 h 4687251"/>
              <a:gd name="connsiteX1869" fmla="*/ 4663668 w 8079933"/>
              <a:gd name="connsiteY1869" fmla="*/ 3579265 h 4687251"/>
              <a:gd name="connsiteX1870" fmla="*/ 4670882 w 8079933"/>
              <a:gd name="connsiteY1870" fmla="*/ 3580724 h 4687251"/>
              <a:gd name="connsiteX1871" fmla="*/ 4675440 w 8079933"/>
              <a:gd name="connsiteY1871" fmla="*/ 3584513 h 4687251"/>
              <a:gd name="connsiteX1872" fmla="*/ 4676850 w 8079933"/>
              <a:gd name="connsiteY1872" fmla="*/ 3591010 h 4687251"/>
              <a:gd name="connsiteX1873" fmla="*/ 4678261 w 8079933"/>
              <a:gd name="connsiteY1873" fmla="*/ 3597181 h 4687251"/>
              <a:gd name="connsiteX1874" fmla="*/ 4681082 w 8079933"/>
              <a:gd name="connsiteY1874" fmla="*/ 3603027 h 4687251"/>
              <a:gd name="connsiteX1875" fmla="*/ 4681082 w 8079933"/>
              <a:gd name="connsiteY1875" fmla="*/ 3613855 h 4687251"/>
              <a:gd name="connsiteX1876" fmla="*/ 4681082 w 8079933"/>
              <a:gd name="connsiteY1876" fmla="*/ 3615263 h 4687251"/>
              <a:gd name="connsiteX1877" fmla="*/ 4681082 w 8079933"/>
              <a:gd name="connsiteY1877" fmla="*/ 3619809 h 4687251"/>
              <a:gd name="connsiteX1878" fmla="*/ 4682602 w 8079933"/>
              <a:gd name="connsiteY1878" fmla="*/ 3624357 h 4687251"/>
              <a:gd name="connsiteX1879" fmla="*/ 4684012 w 8079933"/>
              <a:gd name="connsiteY1879" fmla="*/ 3629771 h 4687251"/>
              <a:gd name="connsiteX1880" fmla="*/ 4684012 w 8079933"/>
              <a:gd name="connsiteY1880" fmla="*/ 3648393 h 4687251"/>
              <a:gd name="connsiteX1881" fmla="*/ 4682275 w 8079933"/>
              <a:gd name="connsiteY1881" fmla="*/ 3655755 h 4687251"/>
              <a:gd name="connsiteX1882" fmla="*/ 4682275 w 8079933"/>
              <a:gd name="connsiteY1882" fmla="*/ 3662685 h 4687251"/>
              <a:gd name="connsiteX1883" fmla="*/ 4682275 w 8079933"/>
              <a:gd name="connsiteY1883" fmla="*/ 3670805 h 4687251"/>
              <a:gd name="connsiteX1884" fmla="*/ 4678369 w 8079933"/>
              <a:gd name="connsiteY1884" fmla="*/ 3669073 h 4687251"/>
              <a:gd name="connsiteX1885" fmla="*/ 4674571 w 8079933"/>
              <a:gd name="connsiteY1885" fmla="*/ 3665824 h 4687251"/>
              <a:gd name="connsiteX1886" fmla="*/ 4668495 w 8079933"/>
              <a:gd name="connsiteY1886" fmla="*/ 3662360 h 4687251"/>
              <a:gd name="connsiteX1887" fmla="*/ 4664370 w 8079933"/>
              <a:gd name="connsiteY1887" fmla="*/ 3664417 h 4687251"/>
              <a:gd name="connsiteX1888" fmla="*/ 4663394 w 8079933"/>
              <a:gd name="connsiteY1888" fmla="*/ 3669073 h 4687251"/>
              <a:gd name="connsiteX1889" fmla="*/ 4657534 w 8079933"/>
              <a:gd name="connsiteY1889" fmla="*/ 3679900 h 4687251"/>
              <a:gd name="connsiteX1890" fmla="*/ 4655472 w 8079933"/>
              <a:gd name="connsiteY1890" fmla="*/ 3685638 h 4687251"/>
              <a:gd name="connsiteX1891" fmla="*/ 4656883 w 8079933"/>
              <a:gd name="connsiteY1891" fmla="*/ 3688562 h 4687251"/>
              <a:gd name="connsiteX1892" fmla="*/ 4657193 w 8079933"/>
              <a:gd name="connsiteY1892" fmla="*/ 3688845 h 4687251"/>
              <a:gd name="connsiteX1893" fmla="*/ 4655907 w 8079933"/>
              <a:gd name="connsiteY1893" fmla="*/ 3686178 h 4687251"/>
              <a:gd name="connsiteX1894" fmla="*/ 4657969 w 8079933"/>
              <a:gd name="connsiteY1894" fmla="*/ 3680441 h 4687251"/>
              <a:gd name="connsiteX1895" fmla="*/ 4663828 w 8079933"/>
              <a:gd name="connsiteY1895" fmla="*/ 3669613 h 4687251"/>
              <a:gd name="connsiteX1896" fmla="*/ 4664805 w 8079933"/>
              <a:gd name="connsiteY1896" fmla="*/ 3664958 h 4687251"/>
              <a:gd name="connsiteX1897" fmla="*/ 4668929 w 8079933"/>
              <a:gd name="connsiteY1897" fmla="*/ 3662901 h 4687251"/>
              <a:gd name="connsiteX1898" fmla="*/ 4675006 w 8079933"/>
              <a:gd name="connsiteY1898" fmla="*/ 3666366 h 4687251"/>
              <a:gd name="connsiteX1899" fmla="*/ 4678804 w 8079933"/>
              <a:gd name="connsiteY1899" fmla="*/ 3669613 h 4687251"/>
              <a:gd name="connsiteX1900" fmla="*/ 4682710 w 8079933"/>
              <a:gd name="connsiteY1900" fmla="*/ 3671346 h 4687251"/>
              <a:gd name="connsiteX1901" fmla="*/ 4682927 w 8079933"/>
              <a:gd name="connsiteY1901" fmla="*/ 3663335 h 4687251"/>
              <a:gd name="connsiteX1902" fmla="*/ 4682926 w 8079933"/>
              <a:gd name="connsiteY1902" fmla="*/ 3663387 h 4687251"/>
              <a:gd name="connsiteX1903" fmla="*/ 4682927 w 8079933"/>
              <a:gd name="connsiteY1903" fmla="*/ 3663335 h 4687251"/>
              <a:gd name="connsiteX1904" fmla="*/ 4683252 w 8079933"/>
              <a:gd name="connsiteY1904" fmla="*/ 3656406 h 4687251"/>
              <a:gd name="connsiteX1905" fmla="*/ 4684988 w 8079933"/>
              <a:gd name="connsiteY1905" fmla="*/ 3649043 h 4687251"/>
              <a:gd name="connsiteX1906" fmla="*/ 4685205 w 8079933"/>
              <a:gd name="connsiteY1906" fmla="*/ 3630421 h 4687251"/>
              <a:gd name="connsiteX1907" fmla="*/ 4683795 w 8079933"/>
              <a:gd name="connsiteY1907" fmla="*/ 3625008 h 4687251"/>
              <a:gd name="connsiteX1908" fmla="*/ 4682167 w 8079933"/>
              <a:gd name="connsiteY1908" fmla="*/ 3620460 h 4687251"/>
              <a:gd name="connsiteX1909" fmla="*/ 4682058 w 8079933"/>
              <a:gd name="connsiteY1909" fmla="*/ 3615804 h 4687251"/>
              <a:gd name="connsiteX1910" fmla="*/ 4682492 w 8079933"/>
              <a:gd name="connsiteY1910" fmla="*/ 3614505 h 4687251"/>
              <a:gd name="connsiteX1911" fmla="*/ 4682275 w 8079933"/>
              <a:gd name="connsiteY1911" fmla="*/ 3603353 h 4687251"/>
              <a:gd name="connsiteX1912" fmla="*/ 4679454 w 8079933"/>
              <a:gd name="connsiteY1912" fmla="*/ 3597506 h 4687251"/>
              <a:gd name="connsiteX1913" fmla="*/ 4678043 w 8079933"/>
              <a:gd name="connsiteY1913" fmla="*/ 3591227 h 4687251"/>
              <a:gd name="connsiteX1914" fmla="*/ 4676632 w 8079933"/>
              <a:gd name="connsiteY1914" fmla="*/ 3584731 h 4687251"/>
              <a:gd name="connsiteX1915" fmla="*/ 4676624 w 8079933"/>
              <a:gd name="connsiteY1915" fmla="*/ 3584723 h 4687251"/>
              <a:gd name="connsiteX1916" fmla="*/ 4672109 w 8079933"/>
              <a:gd name="connsiteY1916" fmla="*/ 3580968 h 4687251"/>
              <a:gd name="connsiteX1917" fmla="*/ 4672075 w 8079933"/>
              <a:gd name="connsiteY1917" fmla="*/ 3580941 h 4687251"/>
              <a:gd name="connsiteX1918" fmla="*/ 4647334 w 8079933"/>
              <a:gd name="connsiteY1918" fmla="*/ 3577585 h 4687251"/>
              <a:gd name="connsiteX1919" fmla="*/ 4646330 w 8079933"/>
              <a:gd name="connsiteY1919" fmla="*/ 3577673 h 4687251"/>
              <a:gd name="connsiteX1920" fmla="*/ 4651240 w 8079933"/>
              <a:gd name="connsiteY1920" fmla="*/ 3579966 h 4687251"/>
              <a:gd name="connsiteX1921" fmla="*/ 4652868 w 8079933"/>
              <a:gd name="connsiteY1921" fmla="*/ 3581482 h 4687251"/>
              <a:gd name="connsiteX1922" fmla="*/ 4653618 w 8079933"/>
              <a:gd name="connsiteY1922" fmla="*/ 3581178 h 4687251"/>
              <a:gd name="connsiteX1923" fmla="*/ 4652434 w 8079933"/>
              <a:gd name="connsiteY1923" fmla="*/ 3580075 h 4687251"/>
              <a:gd name="connsiteX1924" fmla="*/ 4640887 w 8079933"/>
              <a:gd name="connsiteY1924" fmla="*/ 3574463 h 4687251"/>
              <a:gd name="connsiteX1925" fmla="*/ 4642451 w 8079933"/>
              <a:gd name="connsiteY1925" fmla="*/ 3577584 h 4687251"/>
              <a:gd name="connsiteX1926" fmla="*/ 4643481 w 8079933"/>
              <a:gd name="connsiteY1926" fmla="*/ 3577584 h 4687251"/>
              <a:gd name="connsiteX1927" fmla="*/ 4642016 w 8079933"/>
              <a:gd name="connsiteY1927" fmla="*/ 3574662 h 4687251"/>
              <a:gd name="connsiteX1928" fmla="*/ 4625994 w 8079933"/>
              <a:gd name="connsiteY1928" fmla="*/ 3571996 h 4687251"/>
              <a:gd name="connsiteX1929" fmla="*/ 4626389 w 8079933"/>
              <a:gd name="connsiteY1929" fmla="*/ 3572496 h 4687251"/>
              <a:gd name="connsiteX1930" fmla="*/ 4626709 w 8079933"/>
              <a:gd name="connsiteY1930" fmla="*/ 3572865 h 4687251"/>
              <a:gd name="connsiteX1931" fmla="*/ 4626390 w 8079933"/>
              <a:gd name="connsiteY1931" fmla="*/ 3572496 h 4687251"/>
              <a:gd name="connsiteX1932" fmla="*/ 4429757 w 8079933"/>
              <a:gd name="connsiteY1932" fmla="*/ 3569138 h 4687251"/>
              <a:gd name="connsiteX1933" fmla="*/ 4408488 w 8079933"/>
              <a:gd name="connsiteY1933" fmla="*/ 3569464 h 4687251"/>
              <a:gd name="connsiteX1934" fmla="*/ 4406441 w 8079933"/>
              <a:gd name="connsiteY1934" fmla="*/ 3605854 h 4687251"/>
              <a:gd name="connsiteX1935" fmla="*/ 4408488 w 8079933"/>
              <a:gd name="connsiteY1935" fmla="*/ 3569464 h 4687251"/>
              <a:gd name="connsiteX1936" fmla="*/ 4429757 w 8079933"/>
              <a:gd name="connsiteY1936" fmla="*/ 3569139 h 4687251"/>
              <a:gd name="connsiteX1937" fmla="*/ 4624762 w 8079933"/>
              <a:gd name="connsiteY1937" fmla="*/ 3567840 h 4687251"/>
              <a:gd name="connsiteX1938" fmla="*/ 4624762 w 8079933"/>
              <a:gd name="connsiteY1938" fmla="*/ 3570438 h 4687251"/>
              <a:gd name="connsiteX1939" fmla="*/ 4624762 w 8079933"/>
              <a:gd name="connsiteY1939" fmla="*/ 3570439 h 4687251"/>
              <a:gd name="connsiteX1940" fmla="*/ 4624762 w 8079933"/>
              <a:gd name="connsiteY1940" fmla="*/ 3567841 h 4687251"/>
              <a:gd name="connsiteX1941" fmla="*/ 6683432 w 8079933"/>
              <a:gd name="connsiteY1941" fmla="*/ 3563833 h 4687251"/>
              <a:gd name="connsiteX1942" fmla="*/ 6682997 w 8079933"/>
              <a:gd name="connsiteY1942" fmla="*/ 3569138 h 4687251"/>
              <a:gd name="connsiteX1943" fmla="*/ 6680393 w 8079933"/>
              <a:gd name="connsiteY1943" fmla="*/ 3572387 h 4687251"/>
              <a:gd name="connsiteX1944" fmla="*/ 6678982 w 8079933"/>
              <a:gd name="connsiteY1944" fmla="*/ 3570005 h 4687251"/>
              <a:gd name="connsiteX1945" fmla="*/ 2486649 w 8079933"/>
              <a:gd name="connsiteY1945" fmla="*/ 3553611 h 4687251"/>
              <a:gd name="connsiteX1946" fmla="*/ 2487309 w 8079933"/>
              <a:gd name="connsiteY1946" fmla="*/ 3558636 h 4687251"/>
              <a:gd name="connsiteX1947" fmla="*/ 2486767 w 8079933"/>
              <a:gd name="connsiteY1947" fmla="*/ 3564916 h 4687251"/>
              <a:gd name="connsiteX1948" fmla="*/ 2480365 w 8079933"/>
              <a:gd name="connsiteY1948" fmla="*/ 3578017 h 4687251"/>
              <a:gd name="connsiteX1949" fmla="*/ 2478520 w 8079933"/>
              <a:gd name="connsiteY1949" fmla="*/ 3586029 h 4687251"/>
              <a:gd name="connsiteX1950" fmla="*/ 2478520 w 8079933"/>
              <a:gd name="connsiteY1950" fmla="*/ 3586029 h 4687251"/>
              <a:gd name="connsiteX1951" fmla="*/ 2480365 w 8079933"/>
              <a:gd name="connsiteY1951" fmla="*/ 3578018 h 4687251"/>
              <a:gd name="connsiteX1952" fmla="*/ 2486767 w 8079933"/>
              <a:gd name="connsiteY1952" fmla="*/ 3564918 h 4687251"/>
              <a:gd name="connsiteX1953" fmla="*/ 2487310 w 8079933"/>
              <a:gd name="connsiteY1953" fmla="*/ 3558637 h 4687251"/>
              <a:gd name="connsiteX1954" fmla="*/ 2331084 w 8079933"/>
              <a:gd name="connsiteY1954" fmla="*/ 3545819 h 4687251"/>
              <a:gd name="connsiteX1955" fmla="*/ 2334193 w 8079933"/>
              <a:gd name="connsiteY1955" fmla="*/ 3550084 h 4687251"/>
              <a:gd name="connsiteX1956" fmla="*/ 2345912 w 8079933"/>
              <a:gd name="connsiteY1956" fmla="*/ 3561128 h 4687251"/>
              <a:gd name="connsiteX1957" fmla="*/ 2352743 w 8079933"/>
              <a:gd name="connsiteY1957" fmla="*/ 3579470 h 4687251"/>
              <a:gd name="connsiteX1958" fmla="*/ 2345912 w 8079933"/>
              <a:gd name="connsiteY1958" fmla="*/ 3561127 h 4687251"/>
              <a:gd name="connsiteX1959" fmla="*/ 2334193 w 8079933"/>
              <a:gd name="connsiteY1959" fmla="*/ 3550083 h 4687251"/>
              <a:gd name="connsiteX1960" fmla="*/ 5253400 w 8079933"/>
              <a:gd name="connsiteY1960" fmla="*/ 3544238 h 4687251"/>
              <a:gd name="connsiteX1961" fmla="*/ 5258284 w 8079933"/>
              <a:gd name="connsiteY1961" fmla="*/ 3546403 h 4687251"/>
              <a:gd name="connsiteX1962" fmla="*/ 5261322 w 8079933"/>
              <a:gd name="connsiteY1962" fmla="*/ 3553224 h 4687251"/>
              <a:gd name="connsiteX1963" fmla="*/ 5263926 w 8079933"/>
              <a:gd name="connsiteY1963" fmla="*/ 3554523 h 4687251"/>
              <a:gd name="connsiteX1964" fmla="*/ 5257524 w 8079933"/>
              <a:gd name="connsiteY1964" fmla="*/ 3560045 h 4687251"/>
              <a:gd name="connsiteX1965" fmla="*/ 5254703 w 8079933"/>
              <a:gd name="connsiteY1965" fmla="*/ 3558746 h 4687251"/>
              <a:gd name="connsiteX1966" fmla="*/ 5250036 w 8079933"/>
              <a:gd name="connsiteY1966" fmla="*/ 3552466 h 4687251"/>
              <a:gd name="connsiteX1967" fmla="*/ 5250579 w 8079933"/>
              <a:gd name="connsiteY1967" fmla="*/ 3545428 h 4687251"/>
              <a:gd name="connsiteX1968" fmla="*/ 4704373 w 8079933"/>
              <a:gd name="connsiteY1968" fmla="*/ 3539317 h 4687251"/>
              <a:gd name="connsiteX1969" fmla="*/ 4704087 w 8079933"/>
              <a:gd name="connsiteY1969" fmla="*/ 3539798 h 4687251"/>
              <a:gd name="connsiteX1970" fmla="*/ 4704086 w 8079933"/>
              <a:gd name="connsiteY1970" fmla="*/ 3539901 h 4687251"/>
              <a:gd name="connsiteX1971" fmla="*/ 4704087 w 8079933"/>
              <a:gd name="connsiteY1971" fmla="*/ 3539799 h 4687251"/>
              <a:gd name="connsiteX1972" fmla="*/ 4588734 w 8079933"/>
              <a:gd name="connsiteY1972" fmla="*/ 3536875 h 4687251"/>
              <a:gd name="connsiteX1973" fmla="*/ 4587541 w 8079933"/>
              <a:gd name="connsiteY1973" fmla="*/ 3540014 h 4687251"/>
              <a:gd name="connsiteX1974" fmla="*/ 4588517 w 8079933"/>
              <a:gd name="connsiteY1974" fmla="*/ 3545536 h 4687251"/>
              <a:gd name="connsiteX1975" fmla="*/ 4588842 w 8079933"/>
              <a:gd name="connsiteY1975" fmla="*/ 3549326 h 4687251"/>
              <a:gd name="connsiteX1976" fmla="*/ 4590362 w 8079933"/>
              <a:gd name="connsiteY1976" fmla="*/ 3553224 h 4687251"/>
              <a:gd name="connsiteX1977" fmla="*/ 4592283 w 8079933"/>
              <a:gd name="connsiteY1977" fmla="*/ 3554684 h 4687251"/>
              <a:gd name="connsiteX1978" fmla="*/ 4590362 w 8079933"/>
              <a:gd name="connsiteY1978" fmla="*/ 3553224 h 4687251"/>
              <a:gd name="connsiteX1979" fmla="*/ 4588843 w 8079933"/>
              <a:gd name="connsiteY1979" fmla="*/ 3549327 h 4687251"/>
              <a:gd name="connsiteX1980" fmla="*/ 4588518 w 8079933"/>
              <a:gd name="connsiteY1980" fmla="*/ 3545537 h 4687251"/>
              <a:gd name="connsiteX1981" fmla="*/ 4587541 w 8079933"/>
              <a:gd name="connsiteY1981" fmla="*/ 3540015 h 4687251"/>
              <a:gd name="connsiteX1982" fmla="*/ 4588735 w 8079933"/>
              <a:gd name="connsiteY1982" fmla="*/ 3536875 h 4687251"/>
              <a:gd name="connsiteX1983" fmla="*/ 4583461 w 8079933"/>
              <a:gd name="connsiteY1983" fmla="*/ 3533587 h 4687251"/>
              <a:gd name="connsiteX1984" fmla="*/ 4584936 w 8079933"/>
              <a:gd name="connsiteY1984" fmla="*/ 3534168 h 4687251"/>
              <a:gd name="connsiteX1985" fmla="*/ 4587870 w 8079933"/>
              <a:gd name="connsiteY1985" fmla="*/ 3536259 h 4687251"/>
              <a:gd name="connsiteX1986" fmla="*/ 4584937 w 8079933"/>
              <a:gd name="connsiteY1986" fmla="*/ 3534168 h 4687251"/>
              <a:gd name="connsiteX1987" fmla="*/ 2494689 w 8079933"/>
              <a:gd name="connsiteY1987" fmla="*/ 3528212 h 4687251"/>
              <a:gd name="connsiteX1988" fmla="*/ 2491542 w 8079933"/>
              <a:gd name="connsiteY1988" fmla="*/ 3537091 h 4687251"/>
              <a:gd name="connsiteX1989" fmla="*/ 2484054 w 8079933"/>
              <a:gd name="connsiteY1989" fmla="*/ 3548242 h 4687251"/>
              <a:gd name="connsiteX1990" fmla="*/ 2484054 w 8079933"/>
              <a:gd name="connsiteY1990" fmla="*/ 3548243 h 4687251"/>
              <a:gd name="connsiteX1991" fmla="*/ 2491542 w 8079933"/>
              <a:gd name="connsiteY1991" fmla="*/ 3537092 h 4687251"/>
              <a:gd name="connsiteX1992" fmla="*/ 2494689 w 8079933"/>
              <a:gd name="connsiteY1992" fmla="*/ 3528213 h 4687251"/>
              <a:gd name="connsiteX1993" fmla="*/ 4580053 w 8079933"/>
              <a:gd name="connsiteY1993" fmla="*/ 3527347 h 4687251"/>
              <a:gd name="connsiteX1994" fmla="*/ 4580053 w 8079933"/>
              <a:gd name="connsiteY1994" fmla="*/ 3528646 h 4687251"/>
              <a:gd name="connsiteX1995" fmla="*/ 4579836 w 8079933"/>
              <a:gd name="connsiteY1995" fmla="*/ 3530162 h 4687251"/>
              <a:gd name="connsiteX1996" fmla="*/ 4580813 w 8079933"/>
              <a:gd name="connsiteY1996" fmla="*/ 3532543 h 4687251"/>
              <a:gd name="connsiteX1997" fmla="*/ 4580813 w 8079933"/>
              <a:gd name="connsiteY1997" fmla="*/ 3532543 h 4687251"/>
              <a:gd name="connsiteX1998" fmla="*/ 4579836 w 8079933"/>
              <a:gd name="connsiteY1998" fmla="*/ 3530162 h 4687251"/>
              <a:gd name="connsiteX1999" fmla="*/ 4580053 w 8079933"/>
              <a:gd name="connsiteY1999" fmla="*/ 3528646 h 4687251"/>
              <a:gd name="connsiteX2000" fmla="*/ 4580053 w 8079933"/>
              <a:gd name="connsiteY2000" fmla="*/ 3527347 h 4687251"/>
              <a:gd name="connsiteX2001" fmla="*/ 5308200 w 8079933"/>
              <a:gd name="connsiteY2001" fmla="*/ 3525289 h 4687251"/>
              <a:gd name="connsiteX2002" fmla="*/ 5311347 w 8079933"/>
              <a:gd name="connsiteY2002" fmla="*/ 3526913 h 4687251"/>
              <a:gd name="connsiteX2003" fmla="*/ 5311890 w 8079933"/>
              <a:gd name="connsiteY2003" fmla="*/ 3530702 h 4687251"/>
              <a:gd name="connsiteX2004" fmla="*/ 5309285 w 8079933"/>
              <a:gd name="connsiteY2004" fmla="*/ 3533084 h 4687251"/>
              <a:gd name="connsiteX2005" fmla="*/ 5309828 w 8079933"/>
              <a:gd name="connsiteY2005" fmla="*/ 3537740 h 4687251"/>
              <a:gd name="connsiteX2006" fmla="*/ 5304619 w 8079933"/>
              <a:gd name="connsiteY2006" fmla="*/ 3541204 h 4687251"/>
              <a:gd name="connsiteX2007" fmla="*/ 5298108 w 8079933"/>
              <a:gd name="connsiteY2007" fmla="*/ 3534924 h 4687251"/>
              <a:gd name="connsiteX2008" fmla="*/ 5301146 w 8079933"/>
              <a:gd name="connsiteY2008" fmla="*/ 3532435 h 4687251"/>
              <a:gd name="connsiteX2009" fmla="*/ 5302123 w 8079933"/>
              <a:gd name="connsiteY2009" fmla="*/ 3526696 h 4687251"/>
              <a:gd name="connsiteX2010" fmla="*/ 5305270 w 8079933"/>
              <a:gd name="connsiteY2010" fmla="*/ 3527021 h 4687251"/>
              <a:gd name="connsiteX2011" fmla="*/ 4567583 w 8079933"/>
              <a:gd name="connsiteY2011" fmla="*/ 3518505 h 4687251"/>
              <a:gd name="connsiteX2012" fmla="*/ 4570395 w 8079933"/>
              <a:gd name="connsiteY2012" fmla="*/ 3520201 h 4687251"/>
              <a:gd name="connsiteX2013" fmla="*/ 4573435 w 8079933"/>
              <a:gd name="connsiteY2013" fmla="*/ 3522516 h 4687251"/>
              <a:gd name="connsiteX2014" fmla="*/ 4570395 w 8079933"/>
              <a:gd name="connsiteY2014" fmla="*/ 3520201 h 4687251"/>
              <a:gd name="connsiteX2015" fmla="*/ 4563791 w 8079933"/>
              <a:gd name="connsiteY2015" fmla="*/ 3514410 h 4687251"/>
              <a:gd name="connsiteX2016" fmla="*/ 4565729 w 8079933"/>
              <a:gd name="connsiteY2016" fmla="*/ 3517386 h 4687251"/>
              <a:gd name="connsiteX2017" fmla="*/ 4565729 w 8079933"/>
              <a:gd name="connsiteY2017" fmla="*/ 3517386 h 4687251"/>
              <a:gd name="connsiteX2018" fmla="*/ 7434801 w 8079933"/>
              <a:gd name="connsiteY2018" fmla="*/ 3510781 h 4687251"/>
              <a:gd name="connsiteX2019" fmla="*/ 7435452 w 8079933"/>
              <a:gd name="connsiteY2019" fmla="*/ 3518576 h 4687251"/>
              <a:gd name="connsiteX2020" fmla="*/ 7433499 w 8079933"/>
              <a:gd name="connsiteY2020" fmla="*/ 3523340 h 4687251"/>
              <a:gd name="connsiteX2021" fmla="*/ 7431220 w 8079933"/>
              <a:gd name="connsiteY2021" fmla="*/ 3520525 h 4687251"/>
              <a:gd name="connsiteX2022" fmla="*/ 7432848 w 8079933"/>
              <a:gd name="connsiteY2022" fmla="*/ 3516627 h 4687251"/>
              <a:gd name="connsiteX2023" fmla="*/ 7429375 w 8079933"/>
              <a:gd name="connsiteY2023" fmla="*/ 3512621 h 4687251"/>
              <a:gd name="connsiteX2024" fmla="*/ 7433282 w 8079933"/>
              <a:gd name="connsiteY2024" fmla="*/ 3511647 h 4687251"/>
              <a:gd name="connsiteX2025" fmla="*/ 4556939 w 8079933"/>
              <a:gd name="connsiteY2025" fmla="*/ 3503636 h 4687251"/>
              <a:gd name="connsiteX2026" fmla="*/ 4558271 w 8079933"/>
              <a:gd name="connsiteY2026" fmla="*/ 3505852 h 4687251"/>
              <a:gd name="connsiteX2027" fmla="*/ 4556939 w 8079933"/>
              <a:gd name="connsiteY2027" fmla="*/ 3503636 h 4687251"/>
              <a:gd name="connsiteX2028" fmla="*/ 4549837 w 8079933"/>
              <a:gd name="connsiteY2028" fmla="*/ 3495794 h 4687251"/>
              <a:gd name="connsiteX2029" fmla="*/ 4552056 w 8079933"/>
              <a:gd name="connsiteY2029" fmla="*/ 3498114 h 4687251"/>
              <a:gd name="connsiteX2030" fmla="*/ 4553140 w 8079933"/>
              <a:gd name="connsiteY2030" fmla="*/ 3501578 h 4687251"/>
              <a:gd name="connsiteX2031" fmla="*/ 4553141 w 8079933"/>
              <a:gd name="connsiteY2031" fmla="*/ 3501579 h 4687251"/>
              <a:gd name="connsiteX2032" fmla="*/ 4552057 w 8079933"/>
              <a:gd name="connsiteY2032" fmla="*/ 3498114 h 4687251"/>
              <a:gd name="connsiteX2033" fmla="*/ 4714287 w 8079933"/>
              <a:gd name="connsiteY2033" fmla="*/ 3495299 h 4687251"/>
              <a:gd name="connsiteX2034" fmla="*/ 4711358 w 8079933"/>
              <a:gd name="connsiteY2034" fmla="*/ 3496381 h 4687251"/>
              <a:gd name="connsiteX2035" fmla="*/ 4711358 w 8079933"/>
              <a:gd name="connsiteY2035" fmla="*/ 3496382 h 4687251"/>
              <a:gd name="connsiteX2036" fmla="*/ 4714831 w 8079933"/>
              <a:gd name="connsiteY2036" fmla="*/ 3490535 h 4687251"/>
              <a:gd name="connsiteX2037" fmla="*/ 4714797 w 8079933"/>
              <a:gd name="connsiteY2037" fmla="*/ 3490834 h 4687251"/>
              <a:gd name="connsiteX2038" fmla="*/ 4714831 w 8079933"/>
              <a:gd name="connsiteY2038" fmla="*/ 3490536 h 4687251"/>
              <a:gd name="connsiteX2039" fmla="*/ 4546413 w 8079933"/>
              <a:gd name="connsiteY2039" fmla="*/ 3487720 h 4687251"/>
              <a:gd name="connsiteX2040" fmla="*/ 4548800 w 8079933"/>
              <a:gd name="connsiteY2040" fmla="*/ 3491725 h 4687251"/>
              <a:gd name="connsiteX2041" fmla="*/ 4549777 w 8079933"/>
              <a:gd name="connsiteY2041" fmla="*/ 3495731 h 4687251"/>
              <a:gd name="connsiteX2042" fmla="*/ 4549777 w 8079933"/>
              <a:gd name="connsiteY2042" fmla="*/ 3495732 h 4687251"/>
              <a:gd name="connsiteX2043" fmla="*/ 4548800 w 8079933"/>
              <a:gd name="connsiteY2043" fmla="*/ 3491726 h 4687251"/>
              <a:gd name="connsiteX2044" fmla="*/ 4433990 w 8079933"/>
              <a:gd name="connsiteY2044" fmla="*/ 3483388 h 4687251"/>
              <a:gd name="connsiteX2045" fmla="*/ 4433990 w 8079933"/>
              <a:gd name="connsiteY2045" fmla="*/ 3483389 h 4687251"/>
              <a:gd name="connsiteX2046" fmla="*/ 4451895 w 8079933"/>
              <a:gd name="connsiteY2046" fmla="*/ 3484147 h 4687251"/>
              <a:gd name="connsiteX2047" fmla="*/ 4489890 w 8079933"/>
              <a:gd name="connsiteY2047" fmla="*/ 3483008 h 4687251"/>
              <a:gd name="connsiteX2048" fmla="*/ 4489441 w 8079933"/>
              <a:gd name="connsiteY2048" fmla="*/ 3483605 h 4687251"/>
              <a:gd name="connsiteX2049" fmla="*/ 4489212 w 8079933"/>
              <a:gd name="connsiteY2049" fmla="*/ 3485322 h 4687251"/>
              <a:gd name="connsiteX2050" fmla="*/ 4489442 w 8079933"/>
              <a:gd name="connsiteY2050" fmla="*/ 3483605 h 4687251"/>
              <a:gd name="connsiteX2051" fmla="*/ 2319052 w 8079933"/>
              <a:gd name="connsiteY2051" fmla="*/ 3482087 h 4687251"/>
              <a:gd name="connsiteX2052" fmla="*/ 2320302 w 8079933"/>
              <a:gd name="connsiteY2052" fmla="*/ 3483280 h 4687251"/>
              <a:gd name="connsiteX2053" fmla="*/ 2320302 w 8079933"/>
              <a:gd name="connsiteY2053" fmla="*/ 3483280 h 4687251"/>
              <a:gd name="connsiteX2054" fmla="*/ 4720147 w 8079933"/>
              <a:gd name="connsiteY2054" fmla="*/ 3480249 h 4687251"/>
              <a:gd name="connsiteX2055" fmla="*/ 4717379 w 8079933"/>
              <a:gd name="connsiteY2055" fmla="*/ 3480710 h 4687251"/>
              <a:gd name="connsiteX2056" fmla="*/ 4720147 w 8079933"/>
              <a:gd name="connsiteY2056" fmla="*/ 3480250 h 4687251"/>
              <a:gd name="connsiteX2057" fmla="*/ 7276040 w 8079933"/>
              <a:gd name="connsiteY2057" fmla="*/ 3476352 h 4687251"/>
              <a:gd name="connsiteX2058" fmla="*/ 7276366 w 8079933"/>
              <a:gd name="connsiteY2058" fmla="*/ 3478951 h 4687251"/>
              <a:gd name="connsiteX2059" fmla="*/ 7273870 w 8079933"/>
              <a:gd name="connsiteY2059" fmla="*/ 3480250 h 4687251"/>
              <a:gd name="connsiteX2060" fmla="*/ 7272459 w 8079933"/>
              <a:gd name="connsiteY2060" fmla="*/ 3478084 h 4687251"/>
              <a:gd name="connsiteX2061" fmla="*/ 4486295 w 8079933"/>
              <a:gd name="connsiteY2061" fmla="*/ 3475810 h 4687251"/>
              <a:gd name="connsiteX2062" fmla="*/ 4485209 w 8079933"/>
              <a:gd name="connsiteY2062" fmla="*/ 3476351 h 4687251"/>
              <a:gd name="connsiteX2063" fmla="*/ 4482062 w 8079933"/>
              <a:gd name="connsiteY2063" fmla="*/ 3476676 h 4687251"/>
              <a:gd name="connsiteX2064" fmla="*/ 4475009 w 8079933"/>
              <a:gd name="connsiteY2064" fmla="*/ 3478841 h 4687251"/>
              <a:gd name="connsiteX2065" fmla="*/ 4482063 w 8079933"/>
              <a:gd name="connsiteY2065" fmla="*/ 3476676 h 4687251"/>
              <a:gd name="connsiteX2066" fmla="*/ 4485210 w 8079933"/>
              <a:gd name="connsiteY2066" fmla="*/ 3476351 h 4687251"/>
              <a:gd name="connsiteX2067" fmla="*/ 4486295 w 8079933"/>
              <a:gd name="connsiteY2067" fmla="*/ 3475810 h 4687251"/>
              <a:gd name="connsiteX2068" fmla="*/ 4487705 w 8079933"/>
              <a:gd name="connsiteY2068" fmla="*/ 3476784 h 4687251"/>
              <a:gd name="connsiteX2069" fmla="*/ 4488471 w 8079933"/>
              <a:gd name="connsiteY2069" fmla="*/ 3478758 h 4687251"/>
              <a:gd name="connsiteX2070" fmla="*/ 4487705 w 8079933"/>
              <a:gd name="connsiteY2070" fmla="*/ 3476784 h 4687251"/>
              <a:gd name="connsiteX2071" fmla="*/ 4513423 w 8079933"/>
              <a:gd name="connsiteY2071" fmla="*/ 3470504 h 4687251"/>
              <a:gd name="connsiteX2072" fmla="*/ 4508215 w 8079933"/>
              <a:gd name="connsiteY2072" fmla="*/ 3471154 h 4687251"/>
              <a:gd name="connsiteX2073" fmla="*/ 4503440 w 8079933"/>
              <a:gd name="connsiteY2073" fmla="*/ 3476026 h 4687251"/>
              <a:gd name="connsiteX2074" fmla="*/ 4498882 w 8079933"/>
              <a:gd name="connsiteY2074" fmla="*/ 3481764 h 4687251"/>
              <a:gd name="connsiteX2075" fmla="*/ 4491069 w 8079933"/>
              <a:gd name="connsiteY2075" fmla="*/ 3487286 h 4687251"/>
              <a:gd name="connsiteX2076" fmla="*/ 4491069 w 8079933"/>
              <a:gd name="connsiteY2076" fmla="*/ 3487286 h 4687251"/>
              <a:gd name="connsiteX2077" fmla="*/ 4498882 w 8079933"/>
              <a:gd name="connsiteY2077" fmla="*/ 3481764 h 4687251"/>
              <a:gd name="connsiteX2078" fmla="*/ 4503440 w 8079933"/>
              <a:gd name="connsiteY2078" fmla="*/ 3476027 h 4687251"/>
              <a:gd name="connsiteX2079" fmla="*/ 4508215 w 8079933"/>
              <a:gd name="connsiteY2079" fmla="*/ 3471154 h 4687251"/>
              <a:gd name="connsiteX2080" fmla="*/ 4513424 w 8079933"/>
              <a:gd name="connsiteY2080" fmla="*/ 3470505 h 4687251"/>
              <a:gd name="connsiteX2081" fmla="*/ 4392345 w 8079933"/>
              <a:gd name="connsiteY2081" fmla="*/ 3468615 h 4687251"/>
              <a:gd name="connsiteX2082" fmla="*/ 4392645 w 8079933"/>
              <a:gd name="connsiteY2082" fmla="*/ 3469313 h 4687251"/>
              <a:gd name="connsiteX2083" fmla="*/ 4392645 w 8079933"/>
              <a:gd name="connsiteY2083" fmla="*/ 3469314 h 4687251"/>
              <a:gd name="connsiteX2084" fmla="*/ 4559977 w 8079933"/>
              <a:gd name="connsiteY2084" fmla="*/ 3468122 h 4687251"/>
              <a:gd name="connsiteX2085" fmla="*/ 4554659 w 8079933"/>
              <a:gd name="connsiteY2085" fmla="*/ 3468772 h 4687251"/>
              <a:gd name="connsiteX2086" fmla="*/ 4550427 w 8079933"/>
              <a:gd name="connsiteY2086" fmla="*/ 3471695 h 4687251"/>
              <a:gd name="connsiteX2087" fmla="*/ 4548148 w 8079933"/>
              <a:gd name="connsiteY2087" fmla="*/ 3471586 h 4687251"/>
              <a:gd name="connsiteX2088" fmla="*/ 4546909 w 8079933"/>
              <a:gd name="connsiteY2088" fmla="*/ 3470575 h 4687251"/>
              <a:gd name="connsiteX2089" fmla="*/ 4548150 w 8079933"/>
              <a:gd name="connsiteY2089" fmla="*/ 3471588 h 4687251"/>
              <a:gd name="connsiteX2090" fmla="*/ 4550428 w 8079933"/>
              <a:gd name="connsiteY2090" fmla="*/ 3471696 h 4687251"/>
              <a:gd name="connsiteX2091" fmla="*/ 4554660 w 8079933"/>
              <a:gd name="connsiteY2091" fmla="*/ 3468773 h 4687251"/>
              <a:gd name="connsiteX2092" fmla="*/ 4559978 w 8079933"/>
              <a:gd name="connsiteY2092" fmla="*/ 3468123 h 4687251"/>
              <a:gd name="connsiteX2093" fmla="*/ 4562365 w 8079933"/>
              <a:gd name="connsiteY2093" fmla="*/ 3469206 h 4687251"/>
              <a:gd name="connsiteX2094" fmla="*/ 4563559 w 8079933"/>
              <a:gd name="connsiteY2094" fmla="*/ 3469097 h 4687251"/>
              <a:gd name="connsiteX2095" fmla="*/ 4564969 w 8079933"/>
              <a:gd name="connsiteY2095" fmla="*/ 3469638 h 4687251"/>
              <a:gd name="connsiteX2096" fmla="*/ 4565511 w 8079933"/>
              <a:gd name="connsiteY2096" fmla="*/ 3469963 h 4687251"/>
              <a:gd name="connsiteX2097" fmla="*/ 4565511 w 8079933"/>
              <a:gd name="connsiteY2097" fmla="*/ 3469962 h 4687251"/>
              <a:gd name="connsiteX2098" fmla="*/ 4564969 w 8079933"/>
              <a:gd name="connsiteY2098" fmla="*/ 3469638 h 4687251"/>
              <a:gd name="connsiteX2099" fmla="*/ 4563558 w 8079933"/>
              <a:gd name="connsiteY2099" fmla="*/ 3469096 h 4687251"/>
              <a:gd name="connsiteX2100" fmla="*/ 4562364 w 8079933"/>
              <a:gd name="connsiteY2100" fmla="*/ 3469205 h 4687251"/>
              <a:gd name="connsiteX2101" fmla="*/ 4533400 w 8079933"/>
              <a:gd name="connsiteY2101" fmla="*/ 3466625 h 4687251"/>
              <a:gd name="connsiteX2102" fmla="*/ 4534476 w 8079933"/>
              <a:gd name="connsiteY2102" fmla="*/ 3468880 h 4687251"/>
              <a:gd name="connsiteX2103" fmla="*/ 4533825 w 8079933"/>
              <a:gd name="connsiteY2103" fmla="*/ 3470937 h 4687251"/>
              <a:gd name="connsiteX2104" fmla="*/ 4534259 w 8079933"/>
              <a:gd name="connsiteY2104" fmla="*/ 3472670 h 4687251"/>
              <a:gd name="connsiteX2105" fmla="*/ 4534476 w 8079933"/>
              <a:gd name="connsiteY2105" fmla="*/ 3475269 h 4687251"/>
              <a:gd name="connsiteX2106" fmla="*/ 4537840 w 8079933"/>
              <a:gd name="connsiteY2106" fmla="*/ 3477867 h 4687251"/>
              <a:gd name="connsiteX2107" fmla="*/ 4539576 w 8079933"/>
              <a:gd name="connsiteY2107" fmla="*/ 3479708 h 4687251"/>
              <a:gd name="connsiteX2108" fmla="*/ 4542614 w 8079933"/>
              <a:gd name="connsiteY2108" fmla="*/ 3481657 h 4687251"/>
              <a:gd name="connsiteX2109" fmla="*/ 4544568 w 8079933"/>
              <a:gd name="connsiteY2109" fmla="*/ 3484363 h 4687251"/>
              <a:gd name="connsiteX2110" fmla="*/ 4545111 w 8079933"/>
              <a:gd name="connsiteY2110" fmla="*/ 3486853 h 4687251"/>
              <a:gd name="connsiteX2111" fmla="*/ 4545111 w 8079933"/>
              <a:gd name="connsiteY2111" fmla="*/ 3486854 h 4687251"/>
              <a:gd name="connsiteX2112" fmla="*/ 4544569 w 8079933"/>
              <a:gd name="connsiteY2112" fmla="*/ 3484364 h 4687251"/>
              <a:gd name="connsiteX2113" fmla="*/ 4542615 w 8079933"/>
              <a:gd name="connsiteY2113" fmla="*/ 3481657 h 4687251"/>
              <a:gd name="connsiteX2114" fmla="*/ 4539577 w 8079933"/>
              <a:gd name="connsiteY2114" fmla="*/ 3479708 h 4687251"/>
              <a:gd name="connsiteX2115" fmla="*/ 4537841 w 8079933"/>
              <a:gd name="connsiteY2115" fmla="*/ 3477867 h 4687251"/>
              <a:gd name="connsiteX2116" fmla="*/ 4534476 w 8079933"/>
              <a:gd name="connsiteY2116" fmla="*/ 3475269 h 4687251"/>
              <a:gd name="connsiteX2117" fmla="*/ 4534260 w 8079933"/>
              <a:gd name="connsiteY2117" fmla="*/ 3472670 h 4687251"/>
              <a:gd name="connsiteX2118" fmla="*/ 4533825 w 8079933"/>
              <a:gd name="connsiteY2118" fmla="*/ 3470938 h 4687251"/>
              <a:gd name="connsiteX2119" fmla="*/ 4534476 w 8079933"/>
              <a:gd name="connsiteY2119" fmla="*/ 3468881 h 4687251"/>
              <a:gd name="connsiteX2120" fmla="*/ 4533396 w 8079933"/>
              <a:gd name="connsiteY2120" fmla="*/ 3466616 h 4687251"/>
              <a:gd name="connsiteX2121" fmla="*/ 4533396 w 8079933"/>
              <a:gd name="connsiteY2121" fmla="*/ 3466617 h 4687251"/>
              <a:gd name="connsiteX2122" fmla="*/ 4535778 w 8079933"/>
              <a:gd name="connsiteY2122" fmla="*/ 3466824 h 4687251"/>
              <a:gd name="connsiteX2123" fmla="*/ 4541421 w 8079933"/>
              <a:gd name="connsiteY2123" fmla="*/ 3467473 h 4687251"/>
              <a:gd name="connsiteX2124" fmla="*/ 4544338 w 8079933"/>
              <a:gd name="connsiteY2124" fmla="*/ 3468928 h 4687251"/>
              <a:gd name="connsiteX2125" fmla="*/ 4541420 w 8079933"/>
              <a:gd name="connsiteY2125" fmla="*/ 3467472 h 4687251"/>
              <a:gd name="connsiteX2126" fmla="*/ 4535778 w 8079933"/>
              <a:gd name="connsiteY2126" fmla="*/ 3466823 h 4687251"/>
              <a:gd name="connsiteX2127" fmla="*/ 4533282 w 8079933"/>
              <a:gd name="connsiteY2127" fmla="*/ 3466606 h 4687251"/>
              <a:gd name="connsiteX2128" fmla="*/ 4533282 w 8079933"/>
              <a:gd name="connsiteY2128" fmla="*/ 3466607 h 4687251"/>
              <a:gd name="connsiteX2129" fmla="*/ 4528290 w 8079933"/>
              <a:gd name="connsiteY2129" fmla="*/ 3468014 h 4687251"/>
              <a:gd name="connsiteX2130" fmla="*/ 4520586 w 8079933"/>
              <a:gd name="connsiteY2130" fmla="*/ 3470721 h 4687251"/>
              <a:gd name="connsiteX2131" fmla="*/ 4517547 w 8079933"/>
              <a:gd name="connsiteY2131" fmla="*/ 3472778 h 4687251"/>
              <a:gd name="connsiteX2132" fmla="*/ 4514618 w 8079933"/>
              <a:gd name="connsiteY2132" fmla="*/ 3472345 h 4687251"/>
              <a:gd name="connsiteX2133" fmla="*/ 4513602 w 8079933"/>
              <a:gd name="connsiteY2133" fmla="*/ 3470780 h 4687251"/>
              <a:gd name="connsiteX2134" fmla="*/ 4514617 w 8079933"/>
              <a:gd name="connsiteY2134" fmla="*/ 3472345 h 4687251"/>
              <a:gd name="connsiteX2135" fmla="*/ 4517547 w 8079933"/>
              <a:gd name="connsiteY2135" fmla="*/ 3472778 h 4687251"/>
              <a:gd name="connsiteX2136" fmla="*/ 4520586 w 8079933"/>
              <a:gd name="connsiteY2136" fmla="*/ 3470721 h 4687251"/>
              <a:gd name="connsiteX2137" fmla="*/ 4528291 w 8079933"/>
              <a:gd name="connsiteY2137" fmla="*/ 3468014 h 4687251"/>
              <a:gd name="connsiteX2138" fmla="*/ 4533282 w 8079933"/>
              <a:gd name="connsiteY2138" fmla="*/ 3466607 h 4687251"/>
              <a:gd name="connsiteX2139" fmla="*/ 4533287 w 8079933"/>
              <a:gd name="connsiteY2139" fmla="*/ 3466607 h 4687251"/>
              <a:gd name="connsiteX2140" fmla="*/ 2306698 w 8079933"/>
              <a:gd name="connsiteY2140" fmla="*/ 3465702 h 4687251"/>
              <a:gd name="connsiteX2141" fmla="*/ 2307715 w 8079933"/>
              <a:gd name="connsiteY2141" fmla="*/ 3466824 h 4687251"/>
              <a:gd name="connsiteX2142" fmla="*/ 2310753 w 8079933"/>
              <a:gd name="connsiteY2142" fmla="*/ 3467257 h 4687251"/>
              <a:gd name="connsiteX2143" fmla="*/ 2311295 w 8079933"/>
              <a:gd name="connsiteY2143" fmla="*/ 3470288 h 4687251"/>
              <a:gd name="connsiteX2144" fmla="*/ 2307932 w 8079933"/>
              <a:gd name="connsiteY2144" fmla="*/ 3469530 h 4687251"/>
              <a:gd name="connsiteX2145" fmla="*/ 2305544 w 8079933"/>
              <a:gd name="connsiteY2145" fmla="*/ 3473428 h 4687251"/>
              <a:gd name="connsiteX2146" fmla="*/ 2303917 w 8079933"/>
              <a:gd name="connsiteY2146" fmla="*/ 3477650 h 4687251"/>
              <a:gd name="connsiteX2147" fmla="*/ 2303917 w 8079933"/>
              <a:gd name="connsiteY2147" fmla="*/ 3477651 h 4687251"/>
              <a:gd name="connsiteX2148" fmla="*/ 2305545 w 8079933"/>
              <a:gd name="connsiteY2148" fmla="*/ 3473429 h 4687251"/>
              <a:gd name="connsiteX2149" fmla="*/ 2307932 w 8079933"/>
              <a:gd name="connsiteY2149" fmla="*/ 3469531 h 4687251"/>
              <a:gd name="connsiteX2150" fmla="*/ 2311296 w 8079933"/>
              <a:gd name="connsiteY2150" fmla="*/ 3470288 h 4687251"/>
              <a:gd name="connsiteX2151" fmla="*/ 2312380 w 8079933"/>
              <a:gd name="connsiteY2151" fmla="*/ 3470613 h 4687251"/>
              <a:gd name="connsiteX2152" fmla="*/ 2312380 w 8079933"/>
              <a:gd name="connsiteY2152" fmla="*/ 3470612 h 4687251"/>
              <a:gd name="connsiteX2153" fmla="*/ 2311295 w 8079933"/>
              <a:gd name="connsiteY2153" fmla="*/ 3470288 h 4687251"/>
              <a:gd name="connsiteX2154" fmla="*/ 2310753 w 8079933"/>
              <a:gd name="connsiteY2154" fmla="*/ 3467256 h 4687251"/>
              <a:gd name="connsiteX2155" fmla="*/ 2307714 w 8079933"/>
              <a:gd name="connsiteY2155" fmla="*/ 3466823 h 4687251"/>
              <a:gd name="connsiteX2156" fmla="*/ 4529143 w 8079933"/>
              <a:gd name="connsiteY2156" fmla="*/ 3462226 h 4687251"/>
              <a:gd name="connsiteX2157" fmla="*/ 4529810 w 8079933"/>
              <a:gd name="connsiteY2157" fmla="*/ 3462492 h 4687251"/>
              <a:gd name="connsiteX2158" fmla="*/ 4529809 w 8079933"/>
              <a:gd name="connsiteY2158" fmla="*/ 3462491 h 4687251"/>
              <a:gd name="connsiteX2159" fmla="*/ 7273761 w 8079933"/>
              <a:gd name="connsiteY2159" fmla="*/ 3461194 h 4687251"/>
              <a:gd name="connsiteX2160" fmla="*/ 7279947 w 8079933"/>
              <a:gd name="connsiteY2160" fmla="*/ 3462710 h 4687251"/>
              <a:gd name="connsiteX2161" fmla="*/ 7279730 w 8079933"/>
              <a:gd name="connsiteY2161" fmla="*/ 3464550 h 4687251"/>
              <a:gd name="connsiteX2162" fmla="*/ 7274521 w 8079933"/>
              <a:gd name="connsiteY2162" fmla="*/ 3465308 h 4687251"/>
              <a:gd name="connsiteX2163" fmla="*/ 7271699 w 8079933"/>
              <a:gd name="connsiteY2163" fmla="*/ 3468881 h 4687251"/>
              <a:gd name="connsiteX2164" fmla="*/ 7268878 w 8079933"/>
              <a:gd name="connsiteY2164" fmla="*/ 3469855 h 4687251"/>
              <a:gd name="connsiteX2165" fmla="*/ 7266817 w 8079933"/>
              <a:gd name="connsiteY2165" fmla="*/ 3467690 h 4687251"/>
              <a:gd name="connsiteX2166" fmla="*/ 7267902 w 8079933"/>
              <a:gd name="connsiteY2166" fmla="*/ 3464550 h 4687251"/>
              <a:gd name="connsiteX2167" fmla="*/ 4512664 w 8079933"/>
              <a:gd name="connsiteY2167" fmla="*/ 3460327 h 4687251"/>
              <a:gd name="connsiteX2168" fmla="*/ 4490201 w 8079933"/>
              <a:gd name="connsiteY2168" fmla="*/ 3465415 h 4687251"/>
              <a:gd name="connsiteX2169" fmla="*/ 4490201 w 8079933"/>
              <a:gd name="connsiteY2169" fmla="*/ 3465416 h 4687251"/>
              <a:gd name="connsiteX2170" fmla="*/ 4512664 w 8079933"/>
              <a:gd name="connsiteY2170" fmla="*/ 3460327 h 4687251"/>
              <a:gd name="connsiteX2171" fmla="*/ 4520585 w 8079933"/>
              <a:gd name="connsiteY2171" fmla="*/ 3459135 h 4687251"/>
              <a:gd name="connsiteX2172" fmla="*/ 4515159 w 8079933"/>
              <a:gd name="connsiteY2172" fmla="*/ 3460543 h 4687251"/>
              <a:gd name="connsiteX2173" fmla="*/ 4520586 w 8079933"/>
              <a:gd name="connsiteY2173" fmla="*/ 3459136 h 4687251"/>
              <a:gd name="connsiteX2174" fmla="*/ 4522214 w 8079933"/>
              <a:gd name="connsiteY2174" fmla="*/ 3460002 h 4687251"/>
              <a:gd name="connsiteX2175" fmla="*/ 4523190 w 8079933"/>
              <a:gd name="connsiteY2175" fmla="*/ 3460002 h 4687251"/>
              <a:gd name="connsiteX2176" fmla="*/ 4524818 w 8079933"/>
              <a:gd name="connsiteY2176" fmla="*/ 3461301 h 4687251"/>
              <a:gd name="connsiteX2177" fmla="*/ 4523190 w 8079933"/>
              <a:gd name="connsiteY2177" fmla="*/ 3460001 h 4687251"/>
              <a:gd name="connsiteX2178" fmla="*/ 4522213 w 8079933"/>
              <a:gd name="connsiteY2178" fmla="*/ 3460001 h 4687251"/>
              <a:gd name="connsiteX2179" fmla="*/ 4371593 w 8079933"/>
              <a:gd name="connsiteY2179" fmla="*/ 3457729 h 4687251"/>
              <a:gd name="connsiteX2180" fmla="*/ 4373980 w 8079933"/>
              <a:gd name="connsiteY2180" fmla="*/ 3462276 h 4687251"/>
              <a:gd name="connsiteX2181" fmla="*/ 4373980 w 8079933"/>
              <a:gd name="connsiteY2181" fmla="*/ 3462276 h 4687251"/>
              <a:gd name="connsiteX2182" fmla="*/ 4371593 w 8079933"/>
              <a:gd name="connsiteY2182" fmla="*/ 3457729 h 4687251"/>
              <a:gd name="connsiteX2183" fmla="*/ 4482930 w 8079933"/>
              <a:gd name="connsiteY2183" fmla="*/ 3456754 h 4687251"/>
              <a:gd name="connsiteX2184" fmla="*/ 4482931 w 8079933"/>
              <a:gd name="connsiteY2184" fmla="*/ 3456755 h 4687251"/>
              <a:gd name="connsiteX2185" fmla="*/ 4485861 w 8079933"/>
              <a:gd name="connsiteY2185" fmla="*/ 3460220 h 4687251"/>
              <a:gd name="connsiteX2186" fmla="*/ 4488791 w 8079933"/>
              <a:gd name="connsiteY2186" fmla="*/ 3461627 h 4687251"/>
              <a:gd name="connsiteX2187" fmla="*/ 4489029 w 8079933"/>
              <a:gd name="connsiteY2187" fmla="*/ 3462268 h 4687251"/>
              <a:gd name="connsiteX2188" fmla="*/ 4488790 w 8079933"/>
              <a:gd name="connsiteY2188" fmla="*/ 3461625 h 4687251"/>
              <a:gd name="connsiteX2189" fmla="*/ 4485860 w 8079933"/>
              <a:gd name="connsiteY2189" fmla="*/ 3460218 h 4687251"/>
              <a:gd name="connsiteX2190" fmla="*/ 4257107 w 8079933"/>
              <a:gd name="connsiteY2190" fmla="*/ 3450691 h 4687251"/>
              <a:gd name="connsiteX2191" fmla="*/ 4256565 w 8079933"/>
              <a:gd name="connsiteY2191" fmla="*/ 3452856 h 4687251"/>
              <a:gd name="connsiteX2192" fmla="*/ 4257108 w 8079933"/>
              <a:gd name="connsiteY2192" fmla="*/ 3450692 h 4687251"/>
              <a:gd name="connsiteX2193" fmla="*/ 4253961 w 8079933"/>
              <a:gd name="connsiteY2193" fmla="*/ 3448093 h 4687251"/>
              <a:gd name="connsiteX2194" fmla="*/ 4254204 w 8079933"/>
              <a:gd name="connsiteY2194" fmla="*/ 3449227 h 4687251"/>
              <a:gd name="connsiteX2195" fmla="*/ 4253961 w 8079933"/>
              <a:gd name="connsiteY2195" fmla="*/ 3448094 h 4687251"/>
              <a:gd name="connsiteX2196" fmla="*/ 4471781 w 8079933"/>
              <a:gd name="connsiteY2196" fmla="*/ 3446935 h 4687251"/>
              <a:gd name="connsiteX2197" fmla="*/ 4474467 w 8079933"/>
              <a:gd name="connsiteY2197" fmla="*/ 3450151 h 4687251"/>
              <a:gd name="connsiteX2198" fmla="*/ 4477613 w 8079933"/>
              <a:gd name="connsiteY2198" fmla="*/ 3452857 h 4687251"/>
              <a:gd name="connsiteX2199" fmla="*/ 4481195 w 8079933"/>
              <a:gd name="connsiteY2199" fmla="*/ 3454265 h 4687251"/>
              <a:gd name="connsiteX2200" fmla="*/ 4482798 w 8079933"/>
              <a:gd name="connsiteY2200" fmla="*/ 3456565 h 4687251"/>
              <a:gd name="connsiteX2201" fmla="*/ 4481194 w 8079933"/>
              <a:gd name="connsiteY2201" fmla="*/ 3454264 h 4687251"/>
              <a:gd name="connsiteX2202" fmla="*/ 4477612 w 8079933"/>
              <a:gd name="connsiteY2202" fmla="*/ 3452856 h 4687251"/>
              <a:gd name="connsiteX2203" fmla="*/ 4474466 w 8079933"/>
              <a:gd name="connsiteY2203" fmla="*/ 3450149 h 4687251"/>
              <a:gd name="connsiteX2204" fmla="*/ 4718638 w 8079933"/>
              <a:gd name="connsiteY2204" fmla="*/ 3443256 h 4687251"/>
              <a:gd name="connsiteX2205" fmla="*/ 4720907 w 8079933"/>
              <a:gd name="connsiteY2205" fmla="*/ 3443438 h 4687251"/>
              <a:gd name="connsiteX2206" fmla="*/ 4720907 w 8079933"/>
              <a:gd name="connsiteY2206" fmla="*/ 3443437 h 4687251"/>
              <a:gd name="connsiteX2207" fmla="*/ 5126001 w 8079933"/>
              <a:gd name="connsiteY2207" fmla="*/ 3441055 h 4687251"/>
              <a:gd name="connsiteX2208" fmla="*/ 5124699 w 8079933"/>
              <a:gd name="connsiteY2208" fmla="*/ 3445169 h 4687251"/>
              <a:gd name="connsiteX2209" fmla="*/ 5123179 w 8079933"/>
              <a:gd name="connsiteY2209" fmla="*/ 3447984 h 4687251"/>
              <a:gd name="connsiteX2210" fmla="*/ 5121118 w 8079933"/>
              <a:gd name="connsiteY2210" fmla="*/ 3452423 h 4687251"/>
              <a:gd name="connsiteX2211" fmla="*/ 5121009 w 8079933"/>
              <a:gd name="connsiteY2211" fmla="*/ 3449283 h 4687251"/>
              <a:gd name="connsiteX2212" fmla="*/ 5121334 w 8079933"/>
              <a:gd name="connsiteY2212" fmla="*/ 3446251 h 4687251"/>
              <a:gd name="connsiteX2213" fmla="*/ 5122745 w 8079933"/>
              <a:gd name="connsiteY2213" fmla="*/ 3443870 h 4687251"/>
              <a:gd name="connsiteX2214" fmla="*/ 5124156 w 8079933"/>
              <a:gd name="connsiteY2214" fmla="*/ 3443870 h 4687251"/>
              <a:gd name="connsiteX2215" fmla="*/ 7217875 w 8079933"/>
              <a:gd name="connsiteY2215" fmla="*/ 3437807 h 4687251"/>
              <a:gd name="connsiteX2216" fmla="*/ 7220479 w 8079933"/>
              <a:gd name="connsiteY2216" fmla="*/ 3441380 h 4687251"/>
              <a:gd name="connsiteX2217" fmla="*/ 7217984 w 8079933"/>
              <a:gd name="connsiteY2217" fmla="*/ 3444628 h 4687251"/>
              <a:gd name="connsiteX2218" fmla="*/ 7216356 w 8079933"/>
              <a:gd name="connsiteY2218" fmla="*/ 3441705 h 4687251"/>
              <a:gd name="connsiteX2219" fmla="*/ 6910882 w 8079933"/>
              <a:gd name="connsiteY2219" fmla="*/ 3434992 h 4687251"/>
              <a:gd name="connsiteX2220" fmla="*/ 6913269 w 8079933"/>
              <a:gd name="connsiteY2220" fmla="*/ 3438565 h 4687251"/>
              <a:gd name="connsiteX2221" fmla="*/ 6913704 w 8079933"/>
              <a:gd name="connsiteY2221" fmla="*/ 3443653 h 4687251"/>
              <a:gd name="connsiteX2222" fmla="*/ 6911316 w 8079933"/>
              <a:gd name="connsiteY2222" fmla="*/ 3442029 h 4687251"/>
              <a:gd name="connsiteX2223" fmla="*/ 4458406 w 8079933"/>
              <a:gd name="connsiteY2223" fmla="*/ 3433476 h 4687251"/>
              <a:gd name="connsiteX2224" fmla="*/ 4458407 w 8079933"/>
              <a:gd name="connsiteY2224" fmla="*/ 3433477 h 4687251"/>
              <a:gd name="connsiteX2225" fmla="*/ 4461661 w 8079933"/>
              <a:gd name="connsiteY2225" fmla="*/ 3437375 h 4687251"/>
              <a:gd name="connsiteX2226" fmla="*/ 4464483 w 8079933"/>
              <a:gd name="connsiteY2226" fmla="*/ 3439973 h 4687251"/>
              <a:gd name="connsiteX2227" fmla="*/ 4466545 w 8079933"/>
              <a:gd name="connsiteY2227" fmla="*/ 3442572 h 4687251"/>
              <a:gd name="connsiteX2228" fmla="*/ 4469583 w 8079933"/>
              <a:gd name="connsiteY2228" fmla="*/ 3444303 h 4687251"/>
              <a:gd name="connsiteX2229" fmla="*/ 4469583 w 8079933"/>
              <a:gd name="connsiteY2229" fmla="*/ 3444303 h 4687251"/>
              <a:gd name="connsiteX2230" fmla="*/ 4466544 w 8079933"/>
              <a:gd name="connsiteY2230" fmla="*/ 3442570 h 4687251"/>
              <a:gd name="connsiteX2231" fmla="*/ 4464482 w 8079933"/>
              <a:gd name="connsiteY2231" fmla="*/ 3439972 h 4687251"/>
              <a:gd name="connsiteX2232" fmla="*/ 4461660 w 8079933"/>
              <a:gd name="connsiteY2232" fmla="*/ 3437373 h 4687251"/>
              <a:gd name="connsiteX2233" fmla="*/ 2313140 w 8079933"/>
              <a:gd name="connsiteY2233" fmla="*/ 3425356 h 4687251"/>
              <a:gd name="connsiteX2234" fmla="*/ 2319977 w 8079933"/>
              <a:gd name="connsiteY2234" fmla="*/ 3441163 h 4687251"/>
              <a:gd name="connsiteX2235" fmla="*/ 2319977 w 8079933"/>
              <a:gd name="connsiteY2235" fmla="*/ 3441163 h 4687251"/>
              <a:gd name="connsiteX2236" fmla="*/ 6914897 w 8079933"/>
              <a:gd name="connsiteY2236" fmla="*/ 3424706 h 4687251"/>
              <a:gd name="connsiteX2237" fmla="*/ 6918261 w 8079933"/>
              <a:gd name="connsiteY2237" fmla="*/ 3428928 h 4687251"/>
              <a:gd name="connsiteX2238" fmla="*/ 6914355 w 8079933"/>
              <a:gd name="connsiteY2238" fmla="*/ 3429686 h 4687251"/>
              <a:gd name="connsiteX2239" fmla="*/ 6912618 w 8079933"/>
              <a:gd name="connsiteY2239" fmla="*/ 3427304 h 4687251"/>
              <a:gd name="connsiteX2240" fmla="*/ 6914897 w 8079933"/>
              <a:gd name="connsiteY2240" fmla="*/ 3424706 h 4687251"/>
              <a:gd name="connsiteX2241" fmla="*/ 4679454 w 8079933"/>
              <a:gd name="connsiteY2241" fmla="*/ 3424165 h 4687251"/>
              <a:gd name="connsiteX2242" fmla="*/ 4677934 w 8079933"/>
              <a:gd name="connsiteY2242" fmla="*/ 3426547 h 4687251"/>
              <a:gd name="connsiteX2243" fmla="*/ 4677935 w 8079933"/>
              <a:gd name="connsiteY2243" fmla="*/ 3426547 h 4687251"/>
              <a:gd name="connsiteX2244" fmla="*/ 4789273 w 8079933"/>
              <a:gd name="connsiteY2244" fmla="*/ 3423841 h 4687251"/>
              <a:gd name="connsiteX2245" fmla="*/ 4786018 w 8079933"/>
              <a:gd name="connsiteY2245" fmla="*/ 3426547 h 4687251"/>
              <a:gd name="connsiteX2246" fmla="*/ 4783161 w 8079933"/>
              <a:gd name="connsiteY2246" fmla="*/ 3427370 h 4687251"/>
              <a:gd name="connsiteX2247" fmla="*/ 4786017 w 8079933"/>
              <a:gd name="connsiteY2247" fmla="*/ 3426547 h 4687251"/>
              <a:gd name="connsiteX2248" fmla="*/ 4643535 w 8079933"/>
              <a:gd name="connsiteY2248" fmla="*/ 3413662 h 4687251"/>
              <a:gd name="connsiteX2249" fmla="*/ 4638652 w 8079933"/>
              <a:gd name="connsiteY2249" fmla="*/ 3415502 h 4687251"/>
              <a:gd name="connsiteX2250" fmla="*/ 4635396 w 8079933"/>
              <a:gd name="connsiteY2250" fmla="*/ 3417018 h 4687251"/>
              <a:gd name="connsiteX2251" fmla="*/ 4631598 w 8079933"/>
              <a:gd name="connsiteY2251" fmla="*/ 3418101 h 4687251"/>
              <a:gd name="connsiteX2252" fmla="*/ 4624978 w 8079933"/>
              <a:gd name="connsiteY2252" fmla="*/ 3421565 h 4687251"/>
              <a:gd name="connsiteX2253" fmla="*/ 4623025 w 8079933"/>
              <a:gd name="connsiteY2253" fmla="*/ 3425138 h 4687251"/>
              <a:gd name="connsiteX2254" fmla="*/ 4623676 w 8079933"/>
              <a:gd name="connsiteY2254" fmla="*/ 3427304 h 4687251"/>
              <a:gd name="connsiteX2255" fmla="*/ 4622482 w 8079933"/>
              <a:gd name="connsiteY2255" fmla="*/ 3429686 h 4687251"/>
              <a:gd name="connsiteX2256" fmla="*/ 4623025 w 8079933"/>
              <a:gd name="connsiteY2256" fmla="*/ 3431852 h 4687251"/>
              <a:gd name="connsiteX2257" fmla="*/ 4622591 w 8079933"/>
              <a:gd name="connsiteY2257" fmla="*/ 3433583 h 4687251"/>
              <a:gd name="connsiteX2258" fmla="*/ 4620529 w 8079933"/>
              <a:gd name="connsiteY2258" fmla="*/ 3435208 h 4687251"/>
              <a:gd name="connsiteX2259" fmla="*/ 4612499 w 8079933"/>
              <a:gd name="connsiteY2259" fmla="*/ 3438023 h 4687251"/>
              <a:gd name="connsiteX2260" fmla="*/ 4598392 w 8079933"/>
              <a:gd name="connsiteY2260" fmla="*/ 3447550 h 4687251"/>
              <a:gd name="connsiteX2261" fmla="*/ 4587106 w 8079933"/>
              <a:gd name="connsiteY2261" fmla="*/ 3461517 h 4687251"/>
              <a:gd name="connsiteX2262" fmla="*/ 4580052 w 8079933"/>
              <a:gd name="connsiteY2262" fmla="*/ 3471695 h 4687251"/>
              <a:gd name="connsiteX2263" fmla="*/ 4573541 w 8079933"/>
              <a:gd name="connsiteY2263" fmla="*/ 3473752 h 4687251"/>
              <a:gd name="connsiteX2264" fmla="*/ 4569092 w 8079933"/>
              <a:gd name="connsiteY2264" fmla="*/ 3472778 h 4687251"/>
              <a:gd name="connsiteX2265" fmla="*/ 4567302 w 8079933"/>
              <a:gd name="connsiteY2265" fmla="*/ 3471371 h 4687251"/>
              <a:gd name="connsiteX2266" fmla="*/ 4569093 w 8079933"/>
              <a:gd name="connsiteY2266" fmla="*/ 3472779 h 4687251"/>
              <a:gd name="connsiteX2267" fmla="*/ 4573542 w 8079933"/>
              <a:gd name="connsiteY2267" fmla="*/ 3473753 h 4687251"/>
              <a:gd name="connsiteX2268" fmla="*/ 4580053 w 8079933"/>
              <a:gd name="connsiteY2268" fmla="*/ 3471696 h 4687251"/>
              <a:gd name="connsiteX2269" fmla="*/ 4587107 w 8079933"/>
              <a:gd name="connsiteY2269" fmla="*/ 3461518 h 4687251"/>
              <a:gd name="connsiteX2270" fmla="*/ 4598393 w 8079933"/>
              <a:gd name="connsiteY2270" fmla="*/ 3447552 h 4687251"/>
              <a:gd name="connsiteX2271" fmla="*/ 4612500 w 8079933"/>
              <a:gd name="connsiteY2271" fmla="*/ 3438024 h 4687251"/>
              <a:gd name="connsiteX2272" fmla="*/ 4620530 w 8079933"/>
              <a:gd name="connsiteY2272" fmla="*/ 3435208 h 4687251"/>
              <a:gd name="connsiteX2273" fmla="*/ 4622592 w 8079933"/>
              <a:gd name="connsiteY2273" fmla="*/ 3433585 h 4687251"/>
              <a:gd name="connsiteX2274" fmla="*/ 4623026 w 8079933"/>
              <a:gd name="connsiteY2274" fmla="*/ 3431852 h 4687251"/>
              <a:gd name="connsiteX2275" fmla="*/ 4622483 w 8079933"/>
              <a:gd name="connsiteY2275" fmla="*/ 3429687 h 4687251"/>
              <a:gd name="connsiteX2276" fmla="*/ 4623677 w 8079933"/>
              <a:gd name="connsiteY2276" fmla="*/ 3427304 h 4687251"/>
              <a:gd name="connsiteX2277" fmla="*/ 4623026 w 8079933"/>
              <a:gd name="connsiteY2277" fmla="*/ 3425140 h 4687251"/>
              <a:gd name="connsiteX2278" fmla="*/ 4624979 w 8079933"/>
              <a:gd name="connsiteY2278" fmla="*/ 3421567 h 4687251"/>
              <a:gd name="connsiteX2279" fmla="*/ 4631598 w 8079933"/>
              <a:gd name="connsiteY2279" fmla="*/ 3418102 h 4687251"/>
              <a:gd name="connsiteX2280" fmla="*/ 4635396 w 8079933"/>
              <a:gd name="connsiteY2280" fmla="*/ 3417019 h 4687251"/>
              <a:gd name="connsiteX2281" fmla="*/ 4638652 w 8079933"/>
              <a:gd name="connsiteY2281" fmla="*/ 3415503 h 4687251"/>
              <a:gd name="connsiteX2282" fmla="*/ 4643536 w 8079933"/>
              <a:gd name="connsiteY2282" fmla="*/ 3413663 h 4687251"/>
              <a:gd name="connsiteX2283" fmla="*/ 4650047 w 8079933"/>
              <a:gd name="connsiteY2283" fmla="*/ 3413771 h 4687251"/>
              <a:gd name="connsiteX2284" fmla="*/ 4650046 w 8079933"/>
              <a:gd name="connsiteY2284" fmla="*/ 3413770 h 4687251"/>
              <a:gd name="connsiteX2285" fmla="*/ 4661451 w 8079933"/>
              <a:gd name="connsiteY2285" fmla="*/ 3412829 h 4687251"/>
              <a:gd name="connsiteX2286" fmla="*/ 4661548 w 8079933"/>
              <a:gd name="connsiteY2286" fmla="*/ 3415069 h 4687251"/>
              <a:gd name="connsiteX2287" fmla="*/ 4660680 w 8079933"/>
              <a:gd name="connsiteY2287" fmla="*/ 3415177 h 4687251"/>
              <a:gd name="connsiteX2288" fmla="*/ 4658618 w 8079933"/>
              <a:gd name="connsiteY2288" fmla="*/ 3415502 h 4687251"/>
              <a:gd name="connsiteX2289" fmla="*/ 4653736 w 8079933"/>
              <a:gd name="connsiteY2289" fmla="*/ 3414853 h 4687251"/>
              <a:gd name="connsiteX2290" fmla="*/ 4651239 w 8079933"/>
              <a:gd name="connsiteY2290" fmla="*/ 3415177 h 4687251"/>
              <a:gd name="connsiteX2291" fmla="*/ 4650483 w 8079933"/>
              <a:gd name="connsiteY2291" fmla="*/ 3414286 h 4687251"/>
              <a:gd name="connsiteX2292" fmla="*/ 4651240 w 8079933"/>
              <a:gd name="connsiteY2292" fmla="*/ 3415179 h 4687251"/>
              <a:gd name="connsiteX2293" fmla="*/ 4653736 w 8079933"/>
              <a:gd name="connsiteY2293" fmla="*/ 3414853 h 4687251"/>
              <a:gd name="connsiteX2294" fmla="*/ 4658619 w 8079933"/>
              <a:gd name="connsiteY2294" fmla="*/ 3415503 h 4687251"/>
              <a:gd name="connsiteX2295" fmla="*/ 4660681 w 8079933"/>
              <a:gd name="connsiteY2295" fmla="*/ 3415179 h 4687251"/>
              <a:gd name="connsiteX2296" fmla="*/ 4661549 w 8079933"/>
              <a:gd name="connsiteY2296" fmla="*/ 3415070 h 4687251"/>
              <a:gd name="connsiteX2297" fmla="*/ 2313182 w 8079933"/>
              <a:gd name="connsiteY2297" fmla="*/ 3411169 h 4687251"/>
              <a:gd name="connsiteX2298" fmla="*/ 2313466 w 8079933"/>
              <a:gd name="connsiteY2298" fmla="*/ 3412472 h 4687251"/>
              <a:gd name="connsiteX2299" fmla="*/ 2313939 w 8079933"/>
              <a:gd name="connsiteY2299" fmla="*/ 3413415 h 4687251"/>
              <a:gd name="connsiteX2300" fmla="*/ 2313466 w 8079933"/>
              <a:gd name="connsiteY2300" fmla="*/ 3412471 h 4687251"/>
              <a:gd name="connsiteX2301" fmla="*/ 6932369 w 8079933"/>
              <a:gd name="connsiteY2301" fmla="*/ 3405759 h 4687251"/>
              <a:gd name="connsiteX2302" fmla="*/ 6934322 w 8079933"/>
              <a:gd name="connsiteY2302" fmla="*/ 3406083 h 4687251"/>
              <a:gd name="connsiteX2303" fmla="*/ 6933780 w 8079933"/>
              <a:gd name="connsiteY2303" fmla="*/ 3408573 h 4687251"/>
              <a:gd name="connsiteX2304" fmla="*/ 6930958 w 8079933"/>
              <a:gd name="connsiteY2304" fmla="*/ 3408248 h 4687251"/>
              <a:gd name="connsiteX2305" fmla="*/ 4791334 w 8079933"/>
              <a:gd name="connsiteY2305" fmla="*/ 3402294 h 4687251"/>
              <a:gd name="connsiteX2306" fmla="*/ 4788731 w 8079933"/>
              <a:gd name="connsiteY2306" fmla="*/ 3402619 h 4687251"/>
              <a:gd name="connsiteX2307" fmla="*/ 4788731 w 8079933"/>
              <a:gd name="connsiteY2307" fmla="*/ 3402619 h 4687251"/>
              <a:gd name="connsiteX2308" fmla="*/ 4791334 w 8079933"/>
              <a:gd name="connsiteY2308" fmla="*/ 3402295 h 4687251"/>
              <a:gd name="connsiteX2309" fmla="*/ 4761710 w 8079933"/>
              <a:gd name="connsiteY2309" fmla="*/ 3397205 h 4687251"/>
              <a:gd name="connsiteX2310" fmla="*/ 4761167 w 8079933"/>
              <a:gd name="connsiteY2310" fmla="*/ 3402619 h 4687251"/>
              <a:gd name="connsiteX2311" fmla="*/ 4756175 w 8079933"/>
              <a:gd name="connsiteY2311" fmla="*/ 3408033 h 4687251"/>
              <a:gd name="connsiteX2312" fmla="*/ 4754981 w 8079933"/>
              <a:gd name="connsiteY2312" fmla="*/ 3413446 h 4687251"/>
              <a:gd name="connsiteX2313" fmla="*/ 4751834 w 8079933"/>
              <a:gd name="connsiteY2313" fmla="*/ 3417778 h 4687251"/>
              <a:gd name="connsiteX2314" fmla="*/ 4752377 w 8079933"/>
              <a:gd name="connsiteY2314" fmla="*/ 3421784 h 4687251"/>
              <a:gd name="connsiteX2315" fmla="*/ 4754439 w 8079933"/>
              <a:gd name="connsiteY2315" fmla="*/ 3427088 h 4687251"/>
              <a:gd name="connsiteX2316" fmla="*/ 4754981 w 8079933"/>
              <a:gd name="connsiteY2316" fmla="*/ 3430878 h 4687251"/>
              <a:gd name="connsiteX2317" fmla="*/ 4759105 w 8079933"/>
              <a:gd name="connsiteY2317" fmla="*/ 3435859 h 4687251"/>
              <a:gd name="connsiteX2318" fmla="*/ 4763120 w 8079933"/>
              <a:gd name="connsiteY2318" fmla="*/ 3439648 h 4687251"/>
              <a:gd name="connsiteX2319" fmla="*/ 4766158 w 8079933"/>
              <a:gd name="connsiteY2319" fmla="*/ 3441380 h 4687251"/>
              <a:gd name="connsiteX2320" fmla="*/ 4768871 w 8079933"/>
              <a:gd name="connsiteY2320" fmla="*/ 3443545 h 4687251"/>
              <a:gd name="connsiteX2321" fmla="*/ 4772019 w 8079933"/>
              <a:gd name="connsiteY2321" fmla="*/ 3447877 h 4687251"/>
              <a:gd name="connsiteX2322" fmla="*/ 4770499 w 8079933"/>
              <a:gd name="connsiteY2322" fmla="*/ 3450800 h 4687251"/>
              <a:gd name="connsiteX2323" fmla="*/ 4771693 w 8079933"/>
              <a:gd name="connsiteY2323" fmla="*/ 3454265 h 4687251"/>
              <a:gd name="connsiteX2324" fmla="*/ 4776359 w 8079933"/>
              <a:gd name="connsiteY2324" fmla="*/ 3453182 h 4687251"/>
              <a:gd name="connsiteX2325" fmla="*/ 4776359 w 8079933"/>
              <a:gd name="connsiteY2325" fmla="*/ 3453181 h 4687251"/>
              <a:gd name="connsiteX2326" fmla="*/ 4771694 w 8079933"/>
              <a:gd name="connsiteY2326" fmla="*/ 3454264 h 4687251"/>
              <a:gd name="connsiteX2327" fmla="*/ 4770500 w 8079933"/>
              <a:gd name="connsiteY2327" fmla="*/ 3450800 h 4687251"/>
              <a:gd name="connsiteX2328" fmla="*/ 4772020 w 8079933"/>
              <a:gd name="connsiteY2328" fmla="*/ 3447877 h 4687251"/>
              <a:gd name="connsiteX2329" fmla="*/ 4768872 w 8079933"/>
              <a:gd name="connsiteY2329" fmla="*/ 3443545 h 4687251"/>
              <a:gd name="connsiteX2330" fmla="*/ 4766159 w 8079933"/>
              <a:gd name="connsiteY2330" fmla="*/ 3441380 h 4687251"/>
              <a:gd name="connsiteX2331" fmla="*/ 4763121 w 8079933"/>
              <a:gd name="connsiteY2331" fmla="*/ 3439648 h 4687251"/>
              <a:gd name="connsiteX2332" fmla="*/ 4759106 w 8079933"/>
              <a:gd name="connsiteY2332" fmla="*/ 3435858 h 4687251"/>
              <a:gd name="connsiteX2333" fmla="*/ 4754983 w 8079933"/>
              <a:gd name="connsiteY2333" fmla="*/ 3430878 h 4687251"/>
              <a:gd name="connsiteX2334" fmla="*/ 4754440 w 8079933"/>
              <a:gd name="connsiteY2334" fmla="*/ 3427088 h 4687251"/>
              <a:gd name="connsiteX2335" fmla="*/ 4752378 w 8079933"/>
              <a:gd name="connsiteY2335" fmla="*/ 3421783 h 4687251"/>
              <a:gd name="connsiteX2336" fmla="*/ 4751835 w 8079933"/>
              <a:gd name="connsiteY2336" fmla="*/ 3417777 h 4687251"/>
              <a:gd name="connsiteX2337" fmla="*/ 4754983 w 8079933"/>
              <a:gd name="connsiteY2337" fmla="*/ 3413446 h 4687251"/>
              <a:gd name="connsiteX2338" fmla="*/ 4756176 w 8079933"/>
              <a:gd name="connsiteY2338" fmla="*/ 3408033 h 4687251"/>
              <a:gd name="connsiteX2339" fmla="*/ 4761168 w 8079933"/>
              <a:gd name="connsiteY2339" fmla="*/ 3402619 h 4687251"/>
              <a:gd name="connsiteX2340" fmla="*/ 7214077 w 8079933"/>
              <a:gd name="connsiteY2340" fmla="*/ 3388436 h 4687251"/>
              <a:gd name="connsiteX2341" fmla="*/ 7214186 w 8079933"/>
              <a:gd name="connsiteY2341" fmla="*/ 3392225 h 4687251"/>
              <a:gd name="connsiteX2342" fmla="*/ 7218093 w 8079933"/>
              <a:gd name="connsiteY2342" fmla="*/ 3391142 h 4687251"/>
              <a:gd name="connsiteX2343" fmla="*/ 7218636 w 8079933"/>
              <a:gd name="connsiteY2343" fmla="*/ 3392117 h 4687251"/>
              <a:gd name="connsiteX2344" fmla="*/ 7214621 w 8079933"/>
              <a:gd name="connsiteY2344" fmla="*/ 3395907 h 4687251"/>
              <a:gd name="connsiteX2345" fmla="*/ 7215706 w 8079933"/>
              <a:gd name="connsiteY2345" fmla="*/ 3397206 h 4687251"/>
              <a:gd name="connsiteX2346" fmla="*/ 7217659 w 8079933"/>
              <a:gd name="connsiteY2346" fmla="*/ 3396773 h 4687251"/>
              <a:gd name="connsiteX2347" fmla="*/ 7219396 w 8079933"/>
              <a:gd name="connsiteY2347" fmla="*/ 3397530 h 4687251"/>
              <a:gd name="connsiteX2348" fmla="*/ 7217985 w 8079933"/>
              <a:gd name="connsiteY2348" fmla="*/ 3401213 h 4687251"/>
              <a:gd name="connsiteX2349" fmla="*/ 7211691 w 8079933"/>
              <a:gd name="connsiteY2349" fmla="*/ 3400238 h 4687251"/>
              <a:gd name="connsiteX2350" fmla="*/ 7207892 w 8079933"/>
              <a:gd name="connsiteY2350" fmla="*/ 3401645 h 4687251"/>
              <a:gd name="connsiteX2351" fmla="*/ 7206265 w 8079933"/>
              <a:gd name="connsiteY2351" fmla="*/ 3401320 h 4687251"/>
              <a:gd name="connsiteX2352" fmla="*/ 7208652 w 8079933"/>
              <a:gd name="connsiteY2352" fmla="*/ 3399263 h 4687251"/>
              <a:gd name="connsiteX2353" fmla="*/ 7207025 w 8079933"/>
              <a:gd name="connsiteY2353" fmla="*/ 3393958 h 4687251"/>
              <a:gd name="connsiteX2354" fmla="*/ 7207892 w 8079933"/>
              <a:gd name="connsiteY2354" fmla="*/ 3392983 h 4687251"/>
              <a:gd name="connsiteX2355" fmla="*/ 7206916 w 8079933"/>
              <a:gd name="connsiteY2355" fmla="*/ 3391684 h 4687251"/>
              <a:gd name="connsiteX2356" fmla="*/ 7210605 w 8079933"/>
              <a:gd name="connsiteY2356" fmla="*/ 3391901 h 4687251"/>
              <a:gd name="connsiteX2357" fmla="*/ 7211365 w 8079933"/>
              <a:gd name="connsiteY2357" fmla="*/ 3389735 h 4687251"/>
              <a:gd name="connsiteX2358" fmla="*/ 4743045 w 8079933"/>
              <a:gd name="connsiteY2358" fmla="*/ 3387678 h 4687251"/>
              <a:gd name="connsiteX2359" fmla="*/ 4742483 w 8079933"/>
              <a:gd name="connsiteY2359" fmla="*/ 3388008 h 4687251"/>
              <a:gd name="connsiteX2360" fmla="*/ 4743045 w 8079933"/>
              <a:gd name="connsiteY2360" fmla="*/ 3387678 h 4687251"/>
              <a:gd name="connsiteX2361" fmla="*/ 4745975 w 8079933"/>
              <a:gd name="connsiteY2361" fmla="*/ 3387678 h 4687251"/>
              <a:gd name="connsiteX2362" fmla="*/ 4745975 w 8079933"/>
              <a:gd name="connsiteY2362" fmla="*/ 3387678 h 4687251"/>
              <a:gd name="connsiteX2363" fmla="*/ 7202792 w 8079933"/>
              <a:gd name="connsiteY2363" fmla="*/ 3387353 h 4687251"/>
              <a:gd name="connsiteX2364" fmla="*/ 7205178 w 8079933"/>
              <a:gd name="connsiteY2364" fmla="*/ 3390601 h 4687251"/>
              <a:gd name="connsiteX2365" fmla="*/ 7202465 w 8079933"/>
              <a:gd name="connsiteY2365" fmla="*/ 3393632 h 4687251"/>
              <a:gd name="connsiteX2366" fmla="*/ 7201815 w 8079933"/>
              <a:gd name="connsiteY2366" fmla="*/ 3391250 h 4687251"/>
              <a:gd name="connsiteX2367" fmla="*/ 7200513 w 8079933"/>
              <a:gd name="connsiteY2367" fmla="*/ 3392116 h 4687251"/>
              <a:gd name="connsiteX2368" fmla="*/ 7200079 w 8079933"/>
              <a:gd name="connsiteY2368" fmla="*/ 3389951 h 4687251"/>
              <a:gd name="connsiteX2369" fmla="*/ 4753029 w 8079933"/>
              <a:gd name="connsiteY2369" fmla="*/ 3385296 h 4687251"/>
              <a:gd name="connsiteX2370" fmla="*/ 4748037 w 8079933"/>
              <a:gd name="connsiteY2370" fmla="*/ 3385512 h 4687251"/>
              <a:gd name="connsiteX2371" fmla="*/ 4748037 w 8079933"/>
              <a:gd name="connsiteY2371" fmla="*/ 3385513 h 4687251"/>
              <a:gd name="connsiteX2372" fmla="*/ 4753028 w 8079933"/>
              <a:gd name="connsiteY2372" fmla="*/ 3385296 h 4687251"/>
              <a:gd name="connsiteX2373" fmla="*/ 4759430 w 8079933"/>
              <a:gd name="connsiteY2373" fmla="*/ 3386812 h 4687251"/>
              <a:gd name="connsiteX2374" fmla="*/ 4761710 w 8079933"/>
              <a:gd name="connsiteY2374" fmla="*/ 3390601 h 4687251"/>
              <a:gd name="connsiteX2375" fmla="*/ 4761710 w 8079933"/>
              <a:gd name="connsiteY2375" fmla="*/ 3390601 h 4687251"/>
              <a:gd name="connsiteX2376" fmla="*/ 4759431 w 8079933"/>
              <a:gd name="connsiteY2376" fmla="*/ 3386811 h 4687251"/>
              <a:gd name="connsiteX2377" fmla="*/ 4643100 w 8079933"/>
              <a:gd name="connsiteY2377" fmla="*/ 3357903 h 4687251"/>
              <a:gd name="connsiteX2378" fmla="*/ 4643535 w 8079933"/>
              <a:gd name="connsiteY2378" fmla="*/ 3359310 h 4687251"/>
              <a:gd name="connsiteX2379" fmla="*/ 4643101 w 8079933"/>
              <a:gd name="connsiteY2379" fmla="*/ 3357903 h 4687251"/>
              <a:gd name="connsiteX2380" fmla="*/ 5096701 w 8079933"/>
              <a:gd name="connsiteY2380" fmla="*/ 3356821 h 4687251"/>
              <a:gd name="connsiteX2381" fmla="*/ 5097786 w 8079933"/>
              <a:gd name="connsiteY2381" fmla="*/ 3358770 h 4687251"/>
              <a:gd name="connsiteX2382" fmla="*/ 5096701 w 8079933"/>
              <a:gd name="connsiteY2382" fmla="*/ 3360069 h 4687251"/>
              <a:gd name="connsiteX2383" fmla="*/ 5096159 w 8079933"/>
              <a:gd name="connsiteY2383" fmla="*/ 3358120 h 4687251"/>
              <a:gd name="connsiteX2384" fmla="*/ 5089322 w 8079933"/>
              <a:gd name="connsiteY2384" fmla="*/ 3355955 h 4687251"/>
              <a:gd name="connsiteX2385" fmla="*/ 5090190 w 8079933"/>
              <a:gd name="connsiteY2385" fmla="*/ 3356929 h 4687251"/>
              <a:gd name="connsiteX2386" fmla="*/ 5092794 w 8079933"/>
              <a:gd name="connsiteY2386" fmla="*/ 3358445 h 4687251"/>
              <a:gd name="connsiteX2387" fmla="*/ 5091818 w 8079933"/>
              <a:gd name="connsiteY2387" fmla="*/ 3362992 h 4687251"/>
              <a:gd name="connsiteX2388" fmla="*/ 5089322 w 8079933"/>
              <a:gd name="connsiteY2388" fmla="*/ 3360718 h 4687251"/>
              <a:gd name="connsiteX2389" fmla="*/ 5086067 w 8079933"/>
              <a:gd name="connsiteY2389" fmla="*/ 3360611 h 4687251"/>
              <a:gd name="connsiteX2390" fmla="*/ 5088454 w 8079933"/>
              <a:gd name="connsiteY2390" fmla="*/ 3356929 h 4687251"/>
              <a:gd name="connsiteX2391" fmla="*/ 5100608 w 8079933"/>
              <a:gd name="connsiteY2391" fmla="*/ 3344694 h 4687251"/>
              <a:gd name="connsiteX2392" fmla="*/ 5100500 w 8079933"/>
              <a:gd name="connsiteY2392" fmla="*/ 3346318 h 4687251"/>
              <a:gd name="connsiteX2393" fmla="*/ 5097678 w 8079933"/>
              <a:gd name="connsiteY2393" fmla="*/ 3350648 h 4687251"/>
              <a:gd name="connsiteX2394" fmla="*/ 5096593 w 8079933"/>
              <a:gd name="connsiteY2394" fmla="*/ 3348700 h 4687251"/>
              <a:gd name="connsiteX2395" fmla="*/ 7186624 w 8079933"/>
              <a:gd name="connsiteY2395" fmla="*/ 3343287 h 4687251"/>
              <a:gd name="connsiteX2396" fmla="*/ 7186949 w 8079933"/>
              <a:gd name="connsiteY2396" fmla="*/ 3344694 h 4687251"/>
              <a:gd name="connsiteX2397" fmla="*/ 7182717 w 8079933"/>
              <a:gd name="connsiteY2397" fmla="*/ 3346426 h 4687251"/>
              <a:gd name="connsiteX2398" fmla="*/ 7180872 w 8079933"/>
              <a:gd name="connsiteY2398" fmla="*/ 3345019 h 4687251"/>
              <a:gd name="connsiteX2399" fmla="*/ 5017049 w 8079933"/>
              <a:gd name="connsiteY2399" fmla="*/ 3342530 h 4687251"/>
              <a:gd name="connsiteX2400" fmla="*/ 5019979 w 8079933"/>
              <a:gd name="connsiteY2400" fmla="*/ 3346211 h 4687251"/>
              <a:gd name="connsiteX2401" fmla="*/ 5015530 w 8079933"/>
              <a:gd name="connsiteY2401" fmla="*/ 3353465 h 4687251"/>
              <a:gd name="connsiteX2402" fmla="*/ 5014011 w 8079933"/>
              <a:gd name="connsiteY2402" fmla="*/ 3351408 h 4687251"/>
              <a:gd name="connsiteX2403" fmla="*/ 5014879 w 8079933"/>
              <a:gd name="connsiteY2403" fmla="*/ 3347077 h 4687251"/>
              <a:gd name="connsiteX2404" fmla="*/ 5014336 w 8079933"/>
              <a:gd name="connsiteY2404" fmla="*/ 3343179 h 4687251"/>
              <a:gd name="connsiteX2405" fmla="*/ 7196498 w 8079933"/>
              <a:gd name="connsiteY2405" fmla="*/ 3337657 h 4687251"/>
              <a:gd name="connsiteX2406" fmla="*/ 7195087 w 8079933"/>
              <a:gd name="connsiteY2406" fmla="*/ 3340256 h 4687251"/>
              <a:gd name="connsiteX2407" fmla="*/ 7190963 w 8079933"/>
              <a:gd name="connsiteY2407" fmla="*/ 3340797 h 4687251"/>
              <a:gd name="connsiteX2408" fmla="*/ 7188468 w 8079933"/>
              <a:gd name="connsiteY2408" fmla="*/ 3343288 h 4687251"/>
              <a:gd name="connsiteX2409" fmla="*/ 7188034 w 8079933"/>
              <a:gd name="connsiteY2409" fmla="*/ 3340473 h 4687251"/>
              <a:gd name="connsiteX2410" fmla="*/ 7192592 w 8079933"/>
              <a:gd name="connsiteY2410" fmla="*/ 3337873 h 4687251"/>
              <a:gd name="connsiteX2411" fmla="*/ 4639737 w 8079933"/>
              <a:gd name="connsiteY2411" fmla="*/ 3335058 h 4687251"/>
              <a:gd name="connsiteX2412" fmla="*/ 4641038 w 8079933"/>
              <a:gd name="connsiteY2412" fmla="*/ 3337331 h 4687251"/>
              <a:gd name="connsiteX2413" fmla="*/ 4639845 w 8079933"/>
              <a:gd name="connsiteY2413" fmla="*/ 3337981 h 4687251"/>
              <a:gd name="connsiteX2414" fmla="*/ 4630079 w 8079933"/>
              <a:gd name="connsiteY2414" fmla="*/ 3337872 h 4687251"/>
              <a:gd name="connsiteX2415" fmla="*/ 4629250 w 8079933"/>
              <a:gd name="connsiteY2415" fmla="*/ 3336809 h 4687251"/>
              <a:gd name="connsiteX2416" fmla="*/ 4630079 w 8079933"/>
              <a:gd name="connsiteY2416" fmla="*/ 3337873 h 4687251"/>
              <a:gd name="connsiteX2417" fmla="*/ 4639845 w 8079933"/>
              <a:gd name="connsiteY2417" fmla="*/ 3337981 h 4687251"/>
              <a:gd name="connsiteX2418" fmla="*/ 4641039 w 8079933"/>
              <a:gd name="connsiteY2418" fmla="*/ 3337331 h 4687251"/>
              <a:gd name="connsiteX2419" fmla="*/ 7197366 w 8079933"/>
              <a:gd name="connsiteY2419" fmla="*/ 3334300 h 4687251"/>
              <a:gd name="connsiteX2420" fmla="*/ 7197366 w 8079933"/>
              <a:gd name="connsiteY2420" fmla="*/ 3336573 h 4687251"/>
              <a:gd name="connsiteX2421" fmla="*/ 7194544 w 8079933"/>
              <a:gd name="connsiteY2421" fmla="*/ 3336356 h 4687251"/>
              <a:gd name="connsiteX2422" fmla="*/ 4976465 w 8079933"/>
              <a:gd name="connsiteY2422" fmla="*/ 3333434 h 4687251"/>
              <a:gd name="connsiteX2423" fmla="*/ 4979177 w 8079933"/>
              <a:gd name="connsiteY2423" fmla="*/ 3333650 h 4687251"/>
              <a:gd name="connsiteX2424" fmla="*/ 4981347 w 8079933"/>
              <a:gd name="connsiteY2424" fmla="*/ 3336573 h 4687251"/>
              <a:gd name="connsiteX2425" fmla="*/ 4977115 w 8079933"/>
              <a:gd name="connsiteY2425" fmla="*/ 3336140 h 4687251"/>
              <a:gd name="connsiteX2426" fmla="*/ 4975488 w 8079933"/>
              <a:gd name="connsiteY2426" fmla="*/ 3334517 h 4687251"/>
              <a:gd name="connsiteX2427" fmla="*/ 4597632 w 8079933"/>
              <a:gd name="connsiteY2427" fmla="*/ 3333001 h 4687251"/>
              <a:gd name="connsiteX2428" fmla="*/ 4606422 w 8079933"/>
              <a:gd name="connsiteY2428" fmla="*/ 3335924 h 4687251"/>
              <a:gd name="connsiteX2429" fmla="*/ 4611739 w 8079933"/>
              <a:gd name="connsiteY2429" fmla="*/ 3339388 h 4687251"/>
              <a:gd name="connsiteX2430" fmla="*/ 4606422 w 8079933"/>
              <a:gd name="connsiteY2430" fmla="*/ 3335924 h 4687251"/>
              <a:gd name="connsiteX2431" fmla="*/ 7203226 w 8079933"/>
              <a:gd name="connsiteY2431" fmla="*/ 3331810 h 4687251"/>
              <a:gd name="connsiteX2432" fmla="*/ 7206048 w 8079933"/>
              <a:gd name="connsiteY2432" fmla="*/ 3331810 h 4687251"/>
              <a:gd name="connsiteX2433" fmla="*/ 7204528 w 8079933"/>
              <a:gd name="connsiteY2433" fmla="*/ 3333650 h 4687251"/>
              <a:gd name="connsiteX2434" fmla="*/ 4644403 w 8079933"/>
              <a:gd name="connsiteY2434" fmla="*/ 3331485 h 4687251"/>
              <a:gd name="connsiteX2435" fmla="*/ 4639194 w 8079933"/>
              <a:gd name="connsiteY2435" fmla="*/ 3332351 h 4687251"/>
              <a:gd name="connsiteX2436" fmla="*/ 4644403 w 8079933"/>
              <a:gd name="connsiteY2436" fmla="*/ 3331485 h 4687251"/>
              <a:gd name="connsiteX2437" fmla="*/ 4647441 w 8079933"/>
              <a:gd name="connsiteY2437" fmla="*/ 3332676 h 4687251"/>
              <a:gd name="connsiteX2438" fmla="*/ 5001207 w 8079933"/>
              <a:gd name="connsiteY2438" fmla="*/ 3329103 h 4687251"/>
              <a:gd name="connsiteX2439" fmla="*/ 5003595 w 8079933"/>
              <a:gd name="connsiteY2439" fmla="*/ 3333975 h 4687251"/>
              <a:gd name="connsiteX2440" fmla="*/ 5001642 w 8079933"/>
              <a:gd name="connsiteY2440" fmla="*/ 3336249 h 4687251"/>
              <a:gd name="connsiteX2441" fmla="*/ 4998603 w 8079933"/>
              <a:gd name="connsiteY2441" fmla="*/ 3333434 h 4687251"/>
              <a:gd name="connsiteX2442" fmla="*/ 4995456 w 8079933"/>
              <a:gd name="connsiteY2442" fmla="*/ 3331918 h 4687251"/>
              <a:gd name="connsiteX2443" fmla="*/ 4999146 w 8079933"/>
              <a:gd name="connsiteY2443" fmla="*/ 3331052 h 4687251"/>
              <a:gd name="connsiteX2444" fmla="*/ 7209195 w 8079933"/>
              <a:gd name="connsiteY2444" fmla="*/ 3328887 h 4687251"/>
              <a:gd name="connsiteX2445" fmla="*/ 7209629 w 8079933"/>
              <a:gd name="connsiteY2445" fmla="*/ 3331485 h 4687251"/>
              <a:gd name="connsiteX2446" fmla="*/ 7206916 w 8079933"/>
              <a:gd name="connsiteY2446" fmla="*/ 3330078 h 4687251"/>
              <a:gd name="connsiteX2447" fmla="*/ 4622284 w 8079933"/>
              <a:gd name="connsiteY2447" fmla="*/ 3326641 h 4687251"/>
              <a:gd name="connsiteX2448" fmla="*/ 4626389 w 8079933"/>
              <a:gd name="connsiteY2448" fmla="*/ 3331161 h 4687251"/>
              <a:gd name="connsiteX2449" fmla="*/ 4626710 w 8079933"/>
              <a:gd name="connsiteY2449" fmla="*/ 3332023 h 4687251"/>
              <a:gd name="connsiteX2450" fmla="*/ 4626389 w 8079933"/>
              <a:gd name="connsiteY2450" fmla="*/ 3331160 h 4687251"/>
              <a:gd name="connsiteX2451" fmla="*/ 5116668 w 8079933"/>
              <a:gd name="connsiteY2451" fmla="*/ 3326180 h 4687251"/>
              <a:gd name="connsiteX2452" fmla="*/ 5118295 w 8079933"/>
              <a:gd name="connsiteY2452" fmla="*/ 3330943 h 4687251"/>
              <a:gd name="connsiteX2453" fmla="*/ 5115908 w 8079933"/>
              <a:gd name="connsiteY2453" fmla="*/ 3335816 h 4687251"/>
              <a:gd name="connsiteX2454" fmla="*/ 5120139 w 8079933"/>
              <a:gd name="connsiteY2454" fmla="*/ 3337657 h 4687251"/>
              <a:gd name="connsiteX2455" fmla="*/ 5120682 w 8079933"/>
              <a:gd name="connsiteY2455" fmla="*/ 3342420 h 4687251"/>
              <a:gd name="connsiteX2456" fmla="*/ 5124806 w 8079933"/>
              <a:gd name="connsiteY2456" fmla="*/ 3347726 h 4687251"/>
              <a:gd name="connsiteX2457" fmla="*/ 5126650 w 8079933"/>
              <a:gd name="connsiteY2457" fmla="*/ 3346968 h 4687251"/>
              <a:gd name="connsiteX2458" fmla="*/ 5128495 w 8079933"/>
              <a:gd name="connsiteY2458" fmla="*/ 3350649 h 4687251"/>
              <a:gd name="connsiteX2459" fmla="*/ 5128930 w 8079933"/>
              <a:gd name="connsiteY2459" fmla="*/ 3361260 h 4687251"/>
              <a:gd name="connsiteX2460" fmla="*/ 5132510 w 8079933"/>
              <a:gd name="connsiteY2460" fmla="*/ 3365915 h 4687251"/>
              <a:gd name="connsiteX2461" fmla="*/ 5131968 w 8079933"/>
              <a:gd name="connsiteY2461" fmla="*/ 3378150 h 4687251"/>
              <a:gd name="connsiteX2462" fmla="*/ 5130883 w 8079933"/>
              <a:gd name="connsiteY2462" fmla="*/ 3380748 h 4687251"/>
              <a:gd name="connsiteX2463" fmla="*/ 5132402 w 8079933"/>
              <a:gd name="connsiteY2463" fmla="*/ 3387244 h 4687251"/>
              <a:gd name="connsiteX2464" fmla="*/ 5132402 w 8079933"/>
              <a:gd name="connsiteY2464" fmla="*/ 3392441 h 4687251"/>
              <a:gd name="connsiteX2465" fmla="*/ 5131100 w 8079933"/>
              <a:gd name="connsiteY2465" fmla="*/ 3394607 h 4687251"/>
              <a:gd name="connsiteX2466" fmla="*/ 5132293 w 8079933"/>
              <a:gd name="connsiteY2466" fmla="*/ 3398938 h 4687251"/>
              <a:gd name="connsiteX2467" fmla="*/ 5136960 w 8079933"/>
              <a:gd name="connsiteY2467" fmla="*/ 3405217 h 4687251"/>
              <a:gd name="connsiteX2468" fmla="*/ 5137285 w 8079933"/>
              <a:gd name="connsiteY2468" fmla="*/ 3410089 h 4687251"/>
              <a:gd name="connsiteX2469" fmla="*/ 5135549 w 8079933"/>
              <a:gd name="connsiteY2469" fmla="*/ 3411714 h 4687251"/>
              <a:gd name="connsiteX2470" fmla="*/ 5135006 w 8079933"/>
              <a:gd name="connsiteY2470" fmla="*/ 3415936 h 4687251"/>
              <a:gd name="connsiteX2471" fmla="*/ 5133704 w 8079933"/>
              <a:gd name="connsiteY2471" fmla="*/ 3417452 h 4687251"/>
              <a:gd name="connsiteX2472" fmla="*/ 5133487 w 8079933"/>
              <a:gd name="connsiteY2472" fmla="*/ 3421566 h 4687251"/>
              <a:gd name="connsiteX2473" fmla="*/ 5131751 w 8079933"/>
              <a:gd name="connsiteY2473" fmla="*/ 3424598 h 4687251"/>
              <a:gd name="connsiteX2474" fmla="*/ 5128821 w 8079933"/>
              <a:gd name="connsiteY2474" fmla="*/ 3423948 h 4687251"/>
              <a:gd name="connsiteX2475" fmla="*/ 5124697 w 8079933"/>
              <a:gd name="connsiteY2475" fmla="*/ 3418534 h 4687251"/>
              <a:gd name="connsiteX2476" fmla="*/ 5123721 w 8079933"/>
              <a:gd name="connsiteY2476" fmla="*/ 3413554 h 4687251"/>
              <a:gd name="connsiteX2477" fmla="*/ 5121334 w 8079933"/>
              <a:gd name="connsiteY2477" fmla="*/ 3411714 h 4687251"/>
              <a:gd name="connsiteX2478" fmla="*/ 5118186 w 8079933"/>
              <a:gd name="connsiteY2478" fmla="*/ 3413230 h 4687251"/>
              <a:gd name="connsiteX2479" fmla="*/ 5118295 w 8079933"/>
              <a:gd name="connsiteY2479" fmla="*/ 3418968 h 4687251"/>
              <a:gd name="connsiteX2480" fmla="*/ 5120139 w 8079933"/>
              <a:gd name="connsiteY2480" fmla="*/ 3420159 h 4687251"/>
              <a:gd name="connsiteX2481" fmla="*/ 5120465 w 8079933"/>
              <a:gd name="connsiteY2481" fmla="*/ 3426005 h 4687251"/>
              <a:gd name="connsiteX2482" fmla="*/ 5118295 w 8079933"/>
              <a:gd name="connsiteY2482" fmla="*/ 3430120 h 4687251"/>
              <a:gd name="connsiteX2483" fmla="*/ 5120248 w 8079933"/>
              <a:gd name="connsiteY2483" fmla="*/ 3431960 h 4687251"/>
              <a:gd name="connsiteX2484" fmla="*/ 5121116 w 8079933"/>
              <a:gd name="connsiteY2484" fmla="*/ 3437807 h 4687251"/>
              <a:gd name="connsiteX2485" fmla="*/ 5117644 w 8079933"/>
              <a:gd name="connsiteY2485" fmla="*/ 3441813 h 4687251"/>
              <a:gd name="connsiteX2486" fmla="*/ 5118295 w 8079933"/>
              <a:gd name="connsiteY2486" fmla="*/ 3445170 h 4687251"/>
              <a:gd name="connsiteX2487" fmla="*/ 5113303 w 8079933"/>
              <a:gd name="connsiteY2487" fmla="*/ 3451990 h 4687251"/>
              <a:gd name="connsiteX2488" fmla="*/ 5112110 w 8079933"/>
              <a:gd name="connsiteY2488" fmla="*/ 3457945 h 4687251"/>
              <a:gd name="connsiteX2489" fmla="*/ 5114171 w 8079933"/>
              <a:gd name="connsiteY2489" fmla="*/ 3461518 h 4687251"/>
              <a:gd name="connsiteX2490" fmla="*/ 5112869 w 8079933"/>
              <a:gd name="connsiteY2490" fmla="*/ 3468556 h 4687251"/>
              <a:gd name="connsiteX2491" fmla="*/ 5110698 w 8079933"/>
              <a:gd name="connsiteY2491" fmla="*/ 3471046 h 4687251"/>
              <a:gd name="connsiteX2492" fmla="*/ 5108420 w 8079933"/>
              <a:gd name="connsiteY2492" fmla="*/ 3480790 h 4687251"/>
              <a:gd name="connsiteX2493" fmla="*/ 5105707 w 8079933"/>
              <a:gd name="connsiteY2493" fmla="*/ 3494108 h 4687251"/>
              <a:gd name="connsiteX2494" fmla="*/ 5100281 w 8079933"/>
              <a:gd name="connsiteY2494" fmla="*/ 3502661 h 4687251"/>
              <a:gd name="connsiteX2495" fmla="*/ 5099521 w 8079933"/>
              <a:gd name="connsiteY2495" fmla="*/ 3506018 h 4687251"/>
              <a:gd name="connsiteX2496" fmla="*/ 5094747 w 8079933"/>
              <a:gd name="connsiteY2496" fmla="*/ 3514787 h 4687251"/>
              <a:gd name="connsiteX2497" fmla="*/ 5094747 w 8079933"/>
              <a:gd name="connsiteY2497" fmla="*/ 3523557 h 4687251"/>
              <a:gd name="connsiteX2498" fmla="*/ 5090298 w 8079933"/>
              <a:gd name="connsiteY2498" fmla="*/ 3530053 h 4687251"/>
              <a:gd name="connsiteX2499" fmla="*/ 5084112 w 8079933"/>
              <a:gd name="connsiteY2499" fmla="*/ 3549434 h 4687251"/>
              <a:gd name="connsiteX2500" fmla="*/ 5077601 w 8079933"/>
              <a:gd name="connsiteY2500" fmla="*/ 3560911 h 4687251"/>
              <a:gd name="connsiteX2501" fmla="*/ 5075539 w 8079933"/>
              <a:gd name="connsiteY2501" fmla="*/ 3570547 h 4687251"/>
              <a:gd name="connsiteX2502" fmla="*/ 5071850 w 8079933"/>
              <a:gd name="connsiteY2502" fmla="*/ 3574228 h 4687251"/>
              <a:gd name="connsiteX2503" fmla="*/ 5069354 w 8079933"/>
              <a:gd name="connsiteY2503" fmla="*/ 3582998 h 4687251"/>
              <a:gd name="connsiteX2504" fmla="*/ 5065990 w 8079933"/>
              <a:gd name="connsiteY2504" fmla="*/ 3599022 h 4687251"/>
              <a:gd name="connsiteX2505" fmla="*/ 5061541 w 8079933"/>
              <a:gd name="connsiteY2505" fmla="*/ 3606060 h 4687251"/>
              <a:gd name="connsiteX2506" fmla="*/ 5059804 w 8079933"/>
              <a:gd name="connsiteY2506" fmla="*/ 3606060 h 4687251"/>
              <a:gd name="connsiteX2507" fmla="*/ 5060347 w 8079933"/>
              <a:gd name="connsiteY2507" fmla="*/ 3607359 h 4687251"/>
              <a:gd name="connsiteX2508" fmla="*/ 5058286 w 8079933"/>
              <a:gd name="connsiteY2508" fmla="*/ 3615262 h 4687251"/>
              <a:gd name="connsiteX2509" fmla="*/ 5054921 w 8079933"/>
              <a:gd name="connsiteY2509" fmla="*/ 3617753 h 4687251"/>
              <a:gd name="connsiteX2510" fmla="*/ 5056115 w 8079933"/>
              <a:gd name="connsiteY2510" fmla="*/ 3618727 h 4687251"/>
              <a:gd name="connsiteX2511" fmla="*/ 5056549 w 8079933"/>
              <a:gd name="connsiteY2511" fmla="*/ 3625981 h 4687251"/>
              <a:gd name="connsiteX2512" fmla="*/ 5051775 w 8079933"/>
              <a:gd name="connsiteY2512" fmla="*/ 3628905 h 4687251"/>
              <a:gd name="connsiteX2513" fmla="*/ 5051557 w 8079933"/>
              <a:gd name="connsiteY2513" fmla="*/ 3633127 h 4687251"/>
              <a:gd name="connsiteX2514" fmla="*/ 5047759 w 8079933"/>
              <a:gd name="connsiteY2514" fmla="*/ 3639299 h 4687251"/>
              <a:gd name="connsiteX2515" fmla="*/ 5045263 w 8079933"/>
              <a:gd name="connsiteY2515" fmla="*/ 3646769 h 4687251"/>
              <a:gd name="connsiteX2516" fmla="*/ 5041465 w 8079933"/>
              <a:gd name="connsiteY2516" fmla="*/ 3647311 h 4687251"/>
              <a:gd name="connsiteX2517" fmla="*/ 5039295 w 8079933"/>
              <a:gd name="connsiteY2517" fmla="*/ 3651533 h 4687251"/>
              <a:gd name="connsiteX2518" fmla="*/ 5031482 w 8079933"/>
              <a:gd name="connsiteY2518" fmla="*/ 3654565 h 4687251"/>
              <a:gd name="connsiteX2519" fmla="*/ 5026816 w 8079933"/>
              <a:gd name="connsiteY2519" fmla="*/ 3653482 h 4687251"/>
              <a:gd name="connsiteX2520" fmla="*/ 5011949 w 8079933"/>
              <a:gd name="connsiteY2520" fmla="*/ 3654890 h 4687251"/>
              <a:gd name="connsiteX2521" fmla="*/ 5007283 w 8079933"/>
              <a:gd name="connsiteY2521" fmla="*/ 3660303 h 4687251"/>
              <a:gd name="connsiteX2522" fmla="*/ 5001640 w 8079933"/>
              <a:gd name="connsiteY2522" fmla="*/ 3663660 h 4687251"/>
              <a:gd name="connsiteX2523" fmla="*/ 4996540 w 8079933"/>
              <a:gd name="connsiteY2523" fmla="*/ 3663227 h 4687251"/>
              <a:gd name="connsiteX2524" fmla="*/ 4993501 w 8079933"/>
              <a:gd name="connsiteY2524" fmla="*/ 3665175 h 4687251"/>
              <a:gd name="connsiteX2525" fmla="*/ 4992199 w 8079933"/>
              <a:gd name="connsiteY2525" fmla="*/ 3664092 h 4687251"/>
              <a:gd name="connsiteX2526" fmla="*/ 4992199 w 8079933"/>
              <a:gd name="connsiteY2526" fmla="*/ 3661927 h 4687251"/>
              <a:gd name="connsiteX2527" fmla="*/ 4989160 w 8079933"/>
              <a:gd name="connsiteY2527" fmla="*/ 3661278 h 4687251"/>
              <a:gd name="connsiteX2528" fmla="*/ 4985146 w 8079933"/>
              <a:gd name="connsiteY2528" fmla="*/ 3655972 h 4687251"/>
              <a:gd name="connsiteX2529" fmla="*/ 4981347 w 8079933"/>
              <a:gd name="connsiteY2529" fmla="*/ 3655106 h 4687251"/>
              <a:gd name="connsiteX2530" fmla="*/ 4980154 w 8079933"/>
              <a:gd name="connsiteY2530" fmla="*/ 3653482 h 4687251"/>
              <a:gd name="connsiteX2531" fmla="*/ 4976789 w 8079933"/>
              <a:gd name="connsiteY2531" fmla="*/ 3654673 h 4687251"/>
              <a:gd name="connsiteX2532" fmla="*/ 4973643 w 8079933"/>
              <a:gd name="connsiteY2532" fmla="*/ 3650992 h 4687251"/>
              <a:gd name="connsiteX2533" fmla="*/ 4971581 w 8079933"/>
              <a:gd name="connsiteY2533" fmla="*/ 3647744 h 4687251"/>
              <a:gd name="connsiteX2534" fmla="*/ 4968977 w 8079933"/>
              <a:gd name="connsiteY2534" fmla="*/ 3646336 h 4687251"/>
              <a:gd name="connsiteX2535" fmla="*/ 4965829 w 8079933"/>
              <a:gd name="connsiteY2535" fmla="*/ 3641464 h 4687251"/>
              <a:gd name="connsiteX2536" fmla="*/ 4963117 w 8079933"/>
              <a:gd name="connsiteY2536" fmla="*/ 3639840 h 4687251"/>
              <a:gd name="connsiteX2537" fmla="*/ 4962791 w 8079933"/>
              <a:gd name="connsiteY2537" fmla="*/ 3636592 h 4687251"/>
              <a:gd name="connsiteX2538" fmla="*/ 4961163 w 8079933"/>
              <a:gd name="connsiteY2538" fmla="*/ 3634535 h 4687251"/>
              <a:gd name="connsiteX2539" fmla="*/ 4961814 w 8079933"/>
              <a:gd name="connsiteY2539" fmla="*/ 3624574 h 4687251"/>
              <a:gd name="connsiteX2540" fmla="*/ 4961163 w 8079933"/>
              <a:gd name="connsiteY2540" fmla="*/ 3616778 h 4687251"/>
              <a:gd name="connsiteX2541" fmla="*/ 4960837 w 8079933"/>
              <a:gd name="connsiteY2541" fmla="*/ 3611797 h 4687251"/>
              <a:gd name="connsiteX2542" fmla="*/ 4965612 w 8079933"/>
              <a:gd name="connsiteY2542" fmla="*/ 3610715 h 4687251"/>
              <a:gd name="connsiteX2543" fmla="*/ 4967132 w 8079933"/>
              <a:gd name="connsiteY2543" fmla="*/ 3609199 h 4687251"/>
              <a:gd name="connsiteX2544" fmla="*/ 4965504 w 8079933"/>
              <a:gd name="connsiteY2544" fmla="*/ 3609633 h 4687251"/>
              <a:gd name="connsiteX2545" fmla="*/ 4962465 w 8079933"/>
              <a:gd name="connsiteY2545" fmla="*/ 3607792 h 4687251"/>
              <a:gd name="connsiteX2546" fmla="*/ 4961381 w 8079933"/>
              <a:gd name="connsiteY2546" fmla="*/ 3604436 h 4687251"/>
              <a:gd name="connsiteX2547" fmla="*/ 4962357 w 8079933"/>
              <a:gd name="connsiteY2547" fmla="*/ 3598914 h 4687251"/>
              <a:gd name="connsiteX2548" fmla="*/ 4956171 w 8079933"/>
              <a:gd name="connsiteY2548" fmla="*/ 3591552 h 4687251"/>
              <a:gd name="connsiteX2549" fmla="*/ 4955955 w 8079933"/>
              <a:gd name="connsiteY2549" fmla="*/ 3583972 h 4687251"/>
              <a:gd name="connsiteX2550" fmla="*/ 4954761 w 8079933"/>
              <a:gd name="connsiteY2550" fmla="*/ 3581049 h 4687251"/>
              <a:gd name="connsiteX2551" fmla="*/ 4956388 w 8079933"/>
              <a:gd name="connsiteY2551" fmla="*/ 3577259 h 4687251"/>
              <a:gd name="connsiteX2552" fmla="*/ 4955846 w 8079933"/>
              <a:gd name="connsiteY2552" fmla="*/ 3570980 h 4687251"/>
              <a:gd name="connsiteX2553" fmla="*/ 4961055 w 8079933"/>
              <a:gd name="connsiteY2553" fmla="*/ 3565458 h 4687251"/>
              <a:gd name="connsiteX2554" fmla="*/ 4960512 w 8079933"/>
              <a:gd name="connsiteY2554" fmla="*/ 3557771 h 4687251"/>
              <a:gd name="connsiteX2555" fmla="*/ 4962249 w 8079933"/>
              <a:gd name="connsiteY2555" fmla="*/ 3555497 h 4687251"/>
              <a:gd name="connsiteX2556" fmla="*/ 4969194 w 8079933"/>
              <a:gd name="connsiteY2556" fmla="*/ 3553873 h 4687251"/>
              <a:gd name="connsiteX2557" fmla="*/ 4972015 w 8079933"/>
              <a:gd name="connsiteY2557" fmla="*/ 3550625 h 4687251"/>
              <a:gd name="connsiteX2558" fmla="*/ 4972449 w 8079933"/>
              <a:gd name="connsiteY2558" fmla="*/ 3541747 h 4687251"/>
              <a:gd name="connsiteX2559" fmla="*/ 4976789 w 8079933"/>
              <a:gd name="connsiteY2559" fmla="*/ 3538282 h 4687251"/>
              <a:gd name="connsiteX2560" fmla="*/ 4978201 w 8079933"/>
              <a:gd name="connsiteY2560" fmla="*/ 3534168 h 4687251"/>
              <a:gd name="connsiteX2561" fmla="*/ 4981022 w 8079933"/>
              <a:gd name="connsiteY2561" fmla="*/ 3533626 h 4687251"/>
              <a:gd name="connsiteX2562" fmla="*/ 4982324 w 8079933"/>
              <a:gd name="connsiteY2562" fmla="*/ 3527455 h 4687251"/>
              <a:gd name="connsiteX2563" fmla="*/ 4987099 w 8079933"/>
              <a:gd name="connsiteY2563" fmla="*/ 3524423 h 4687251"/>
              <a:gd name="connsiteX2564" fmla="*/ 4989377 w 8079933"/>
              <a:gd name="connsiteY2564" fmla="*/ 3513380 h 4687251"/>
              <a:gd name="connsiteX2565" fmla="*/ 4988292 w 8079933"/>
              <a:gd name="connsiteY2565" fmla="*/ 3510132 h 4687251"/>
              <a:gd name="connsiteX2566" fmla="*/ 4991548 w 8079933"/>
              <a:gd name="connsiteY2566" fmla="*/ 3506884 h 4687251"/>
              <a:gd name="connsiteX2567" fmla="*/ 4991440 w 8079933"/>
              <a:gd name="connsiteY2567" fmla="*/ 3504826 h 4687251"/>
              <a:gd name="connsiteX2568" fmla="*/ 4987315 w 8079933"/>
              <a:gd name="connsiteY2568" fmla="*/ 3500171 h 4687251"/>
              <a:gd name="connsiteX2569" fmla="*/ 4987750 w 8079933"/>
              <a:gd name="connsiteY2569" fmla="*/ 3496706 h 4687251"/>
              <a:gd name="connsiteX2570" fmla="*/ 4981130 w 8079933"/>
              <a:gd name="connsiteY2570" fmla="*/ 3484039 h 4687251"/>
              <a:gd name="connsiteX2571" fmla="*/ 4981456 w 8079933"/>
              <a:gd name="connsiteY2571" fmla="*/ 3478192 h 4687251"/>
              <a:gd name="connsiteX2572" fmla="*/ 4979177 w 8079933"/>
              <a:gd name="connsiteY2572" fmla="*/ 3471262 h 4687251"/>
              <a:gd name="connsiteX2573" fmla="*/ 4982324 w 8079933"/>
              <a:gd name="connsiteY2573" fmla="*/ 3466823 h 4687251"/>
              <a:gd name="connsiteX2574" fmla="*/ 4978634 w 8079933"/>
              <a:gd name="connsiteY2574" fmla="*/ 3463792 h 4687251"/>
              <a:gd name="connsiteX2575" fmla="*/ 4978634 w 8079933"/>
              <a:gd name="connsiteY2575" fmla="*/ 3460111 h 4687251"/>
              <a:gd name="connsiteX2576" fmla="*/ 4985362 w 8079933"/>
              <a:gd name="connsiteY2576" fmla="*/ 3453073 h 4687251"/>
              <a:gd name="connsiteX2577" fmla="*/ 4985146 w 8079933"/>
              <a:gd name="connsiteY2577" fmla="*/ 3451016 h 4687251"/>
              <a:gd name="connsiteX2578" fmla="*/ 4992199 w 8079933"/>
              <a:gd name="connsiteY2578" fmla="*/ 3439972 h 4687251"/>
              <a:gd name="connsiteX2579" fmla="*/ 4991331 w 8079933"/>
              <a:gd name="connsiteY2579" fmla="*/ 3432610 h 4687251"/>
              <a:gd name="connsiteX2580" fmla="*/ 4993501 w 8079933"/>
              <a:gd name="connsiteY2580" fmla="*/ 3429254 h 4687251"/>
              <a:gd name="connsiteX2581" fmla="*/ 4998384 w 8079933"/>
              <a:gd name="connsiteY2581" fmla="*/ 3429362 h 4687251"/>
              <a:gd name="connsiteX2582" fmla="*/ 5000229 w 8079933"/>
              <a:gd name="connsiteY2582" fmla="*/ 3431203 h 4687251"/>
              <a:gd name="connsiteX2583" fmla="*/ 5002725 w 8079933"/>
              <a:gd name="connsiteY2583" fmla="*/ 3430878 h 4687251"/>
              <a:gd name="connsiteX2584" fmla="*/ 5012275 w 8079933"/>
              <a:gd name="connsiteY2584" fmla="*/ 3422216 h 4687251"/>
              <a:gd name="connsiteX2585" fmla="*/ 5014661 w 8079933"/>
              <a:gd name="connsiteY2585" fmla="*/ 3426005 h 4687251"/>
              <a:gd name="connsiteX2586" fmla="*/ 5017266 w 8079933"/>
              <a:gd name="connsiteY2586" fmla="*/ 3422216 h 4687251"/>
              <a:gd name="connsiteX2587" fmla="*/ 5019654 w 8079933"/>
              <a:gd name="connsiteY2587" fmla="*/ 3423407 h 4687251"/>
              <a:gd name="connsiteX2588" fmla="*/ 5019762 w 8079933"/>
              <a:gd name="connsiteY2588" fmla="*/ 3426980 h 4687251"/>
              <a:gd name="connsiteX2589" fmla="*/ 5021390 w 8079933"/>
              <a:gd name="connsiteY2589" fmla="*/ 3426438 h 4687251"/>
              <a:gd name="connsiteX2590" fmla="*/ 5023234 w 8079933"/>
              <a:gd name="connsiteY2590" fmla="*/ 3426872 h 4687251"/>
              <a:gd name="connsiteX2591" fmla="*/ 5022475 w 8079933"/>
              <a:gd name="connsiteY2591" fmla="*/ 3420050 h 4687251"/>
              <a:gd name="connsiteX2592" fmla="*/ 5024645 w 8079933"/>
              <a:gd name="connsiteY2592" fmla="*/ 3419834 h 4687251"/>
              <a:gd name="connsiteX2593" fmla="*/ 5025839 w 8079933"/>
              <a:gd name="connsiteY2593" fmla="*/ 3417993 h 4687251"/>
              <a:gd name="connsiteX2594" fmla="*/ 5032024 w 8079933"/>
              <a:gd name="connsiteY2594" fmla="*/ 3422324 h 4687251"/>
              <a:gd name="connsiteX2595" fmla="*/ 5037559 w 8079933"/>
              <a:gd name="connsiteY2595" fmla="*/ 3416477 h 4687251"/>
              <a:gd name="connsiteX2596" fmla="*/ 5039837 w 8079933"/>
              <a:gd name="connsiteY2596" fmla="*/ 3416802 h 4687251"/>
              <a:gd name="connsiteX2597" fmla="*/ 5039729 w 8079933"/>
              <a:gd name="connsiteY2597" fmla="*/ 3422974 h 4687251"/>
              <a:gd name="connsiteX2598" fmla="*/ 5041791 w 8079933"/>
              <a:gd name="connsiteY2598" fmla="*/ 3424706 h 4687251"/>
              <a:gd name="connsiteX2599" fmla="*/ 5044721 w 8079933"/>
              <a:gd name="connsiteY2599" fmla="*/ 3425681 h 4687251"/>
              <a:gd name="connsiteX2600" fmla="*/ 5046023 w 8079933"/>
              <a:gd name="connsiteY2600" fmla="*/ 3422758 h 4687251"/>
              <a:gd name="connsiteX2601" fmla="*/ 5044938 w 8079933"/>
              <a:gd name="connsiteY2601" fmla="*/ 3420050 h 4687251"/>
              <a:gd name="connsiteX2602" fmla="*/ 5046349 w 8079933"/>
              <a:gd name="connsiteY2602" fmla="*/ 3413121 h 4687251"/>
              <a:gd name="connsiteX2603" fmla="*/ 5055138 w 8079933"/>
              <a:gd name="connsiteY2603" fmla="*/ 3405759 h 4687251"/>
              <a:gd name="connsiteX2604" fmla="*/ 5057200 w 8079933"/>
              <a:gd name="connsiteY2604" fmla="*/ 3407275 h 4687251"/>
              <a:gd name="connsiteX2605" fmla="*/ 5054921 w 8079933"/>
              <a:gd name="connsiteY2605" fmla="*/ 3411064 h 4687251"/>
              <a:gd name="connsiteX2606" fmla="*/ 5057200 w 8079933"/>
              <a:gd name="connsiteY2606" fmla="*/ 3411497 h 4687251"/>
              <a:gd name="connsiteX2607" fmla="*/ 5057742 w 8079933"/>
              <a:gd name="connsiteY2607" fmla="*/ 3414528 h 4687251"/>
              <a:gd name="connsiteX2608" fmla="*/ 5061541 w 8079933"/>
              <a:gd name="connsiteY2608" fmla="*/ 3411930 h 4687251"/>
              <a:gd name="connsiteX2609" fmla="*/ 5064579 w 8079933"/>
              <a:gd name="connsiteY2609" fmla="*/ 3411172 h 4687251"/>
              <a:gd name="connsiteX2610" fmla="*/ 5064797 w 8079933"/>
              <a:gd name="connsiteY2610" fmla="*/ 3408791 h 4687251"/>
              <a:gd name="connsiteX2611" fmla="*/ 5061649 w 8079933"/>
              <a:gd name="connsiteY2611" fmla="*/ 3407816 h 4687251"/>
              <a:gd name="connsiteX2612" fmla="*/ 5059479 w 8079933"/>
              <a:gd name="connsiteY2612" fmla="*/ 3403269 h 4687251"/>
              <a:gd name="connsiteX2613" fmla="*/ 5065122 w 8079933"/>
              <a:gd name="connsiteY2613" fmla="*/ 3400020 h 4687251"/>
              <a:gd name="connsiteX2614" fmla="*/ 5066099 w 8079933"/>
              <a:gd name="connsiteY2614" fmla="*/ 3397963 h 4687251"/>
              <a:gd name="connsiteX2615" fmla="*/ 5063277 w 8079933"/>
              <a:gd name="connsiteY2615" fmla="*/ 3396448 h 4687251"/>
              <a:gd name="connsiteX2616" fmla="*/ 5067727 w 8079933"/>
              <a:gd name="connsiteY2616" fmla="*/ 3392225 h 4687251"/>
              <a:gd name="connsiteX2617" fmla="*/ 5069463 w 8079933"/>
              <a:gd name="connsiteY2617" fmla="*/ 3395040 h 4687251"/>
              <a:gd name="connsiteX2618" fmla="*/ 5068377 w 8079933"/>
              <a:gd name="connsiteY2618" fmla="*/ 3396556 h 4687251"/>
              <a:gd name="connsiteX2619" fmla="*/ 5068377 w 8079933"/>
              <a:gd name="connsiteY2619" fmla="*/ 3401753 h 4687251"/>
              <a:gd name="connsiteX2620" fmla="*/ 5074997 w 8079933"/>
              <a:gd name="connsiteY2620" fmla="*/ 3396231 h 4687251"/>
              <a:gd name="connsiteX2621" fmla="*/ 5075865 w 8079933"/>
              <a:gd name="connsiteY2621" fmla="*/ 3393416 h 4687251"/>
              <a:gd name="connsiteX2622" fmla="*/ 5079446 w 8079933"/>
              <a:gd name="connsiteY2622" fmla="*/ 3392009 h 4687251"/>
              <a:gd name="connsiteX2623" fmla="*/ 5081725 w 8079933"/>
              <a:gd name="connsiteY2623" fmla="*/ 3394607 h 4687251"/>
              <a:gd name="connsiteX2624" fmla="*/ 5083787 w 8079933"/>
              <a:gd name="connsiteY2624" fmla="*/ 3392116 h 4687251"/>
              <a:gd name="connsiteX2625" fmla="*/ 5083136 w 8079933"/>
              <a:gd name="connsiteY2625" fmla="*/ 3389302 h 4687251"/>
              <a:gd name="connsiteX2626" fmla="*/ 5078469 w 8079933"/>
              <a:gd name="connsiteY2626" fmla="*/ 3387895 h 4687251"/>
              <a:gd name="connsiteX2627" fmla="*/ 5077276 w 8079933"/>
              <a:gd name="connsiteY2627" fmla="*/ 3383347 h 4687251"/>
              <a:gd name="connsiteX2628" fmla="*/ 5082593 w 8079933"/>
              <a:gd name="connsiteY2628" fmla="*/ 3382372 h 4687251"/>
              <a:gd name="connsiteX2629" fmla="*/ 5084980 w 8079933"/>
              <a:gd name="connsiteY2629" fmla="*/ 3383022 h 4687251"/>
              <a:gd name="connsiteX2630" fmla="*/ 5086825 w 8079933"/>
              <a:gd name="connsiteY2630" fmla="*/ 3381398 h 4687251"/>
              <a:gd name="connsiteX2631" fmla="*/ 5085632 w 8079933"/>
              <a:gd name="connsiteY2631" fmla="*/ 3379232 h 4687251"/>
              <a:gd name="connsiteX2632" fmla="*/ 5080857 w 8079933"/>
              <a:gd name="connsiteY2632" fmla="*/ 3374469 h 4687251"/>
              <a:gd name="connsiteX2633" fmla="*/ 5081291 w 8079933"/>
              <a:gd name="connsiteY2633" fmla="*/ 3368838 h 4687251"/>
              <a:gd name="connsiteX2634" fmla="*/ 5084438 w 8079933"/>
              <a:gd name="connsiteY2634" fmla="*/ 3365915 h 4687251"/>
              <a:gd name="connsiteX2635" fmla="*/ 5086608 w 8079933"/>
              <a:gd name="connsiteY2635" fmla="*/ 3366998 h 4687251"/>
              <a:gd name="connsiteX2636" fmla="*/ 5087042 w 8079933"/>
              <a:gd name="connsiteY2636" fmla="*/ 3372087 h 4687251"/>
              <a:gd name="connsiteX2637" fmla="*/ 5089646 w 8079933"/>
              <a:gd name="connsiteY2637" fmla="*/ 3373711 h 4687251"/>
              <a:gd name="connsiteX2638" fmla="*/ 5092685 w 8079933"/>
              <a:gd name="connsiteY2638" fmla="*/ 3371437 h 4687251"/>
              <a:gd name="connsiteX2639" fmla="*/ 5093228 w 8079933"/>
              <a:gd name="connsiteY2639" fmla="*/ 3367431 h 4687251"/>
              <a:gd name="connsiteX2640" fmla="*/ 5097243 w 8079933"/>
              <a:gd name="connsiteY2640" fmla="*/ 3362992 h 4687251"/>
              <a:gd name="connsiteX2641" fmla="*/ 5100389 w 8079933"/>
              <a:gd name="connsiteY2641" fmla="*/ 3364075 h 4687251"/>
              <a:gd name="connsiteX2642" fmla="*/ 5103320 w 8079933"/>
              <a:gd name="connsiteY2642" fmla="*/ 3359419 h 4687251"/>
              <a:gd name="connsiteX2643" fmla="*/ 5103320 w 8079933"/>
              <a:gd name="connsiteY2643" fmla="*/ 3352273 h 4687251"/>
              <a:gd name="connsiteX2644" fmla="*/ 5108094 w 8079933"/>
              <a:gd name="connsiteY2644" fmla="*/ 3347834 h 4687251"/>
              <a:gd name="connsiteX2645" fmla="*/ 5108094 w 8079933"/>
              <a:gd name="connsiteY2645" fmla="*/ 3346426 h 4687251"/>
              <a:gd name="connsiteX2646" fmla="*/ 5105164 w 8079933"/>
              <a:gd name="connsiteY2646" fmla="*/ 3343503 h 4687251"/>
              <a:gd name="connsiteX2647" fmla="*/ 5105164 w 8079933"/>
              <a:gd name="connsiteY2647" fmla="*/ 3340363 h 4687251"/>
              <a:gd name="connsiteX2648" fmla="*/ 5101257 w 8079933"/>
              <a:gd name="connsiteY2648" fmla="*/ 3335167 h 4687251"/>
              <a:gd name="connsiteX2649" fmla="*/ 5103862 w 8079933"/>
              <a:gd name="connsiteY2649" fmla="*/ 3335058 h 4687251"/>
              <a:gd name="connsiteX2650" fmla="*/ 5107877 w 8079933"/>
              <a:gd name="connsiteY2650" fmla="*/ 3337765 h 4687251"/>
              <a:gd name="connsiteX2651" fmla="*/ 5112110 w 8079933"/>
              <a:gd name="connsiteY2651" fmla="*/ 3334949 h 4687251"/>
              <a:gd name="connsiteX2652" fmla="*/ 5110590 w 8079933"/>
              <a:gd name="connsiteY2652" fmla="*/ 3331810 h 4687251"/>
              <a:gd name="connsiteX2653" fmla="*/ 7620038 w 8079933"/>
              <a:gd name="connsiteY2653" fmla="*/ 3326072 h 4687251"/>
              <a:gd name="connsiteX2654" fmla="*/ 7625030 w 8079933"/>
              <a:gd name="connsiteY2654" fmla="*/ 3329753 h 4687251"/>
              <a:gd name="connsiteX2655" fmla="*/ 7629046 w 8079933"/>
              <a:gd name="connsiteY2655" fmla="*/ 3329536 h 4687251"/>
              <a:gd name="connsiteX2656" fmla="*/ 7630130 w 8079933"/>
              <a:gd name="connsiteY2656" fmla="*/ 3332243 h 4687251"/>
              <a:gd name="connsiteX2657" fmla="*/ 7628610 w 8079933"/>
              <a:gd name="connsiteY2657" fmla="*/ 3333326 h 4687251"/>
              <a:gd name="connsiteX2658" fmla="*/ 7625789 w 8079933"/>
              <a:gd name="connsiteY2658" fmla="*/ 3332027 h 4687251"/>
              <a:gd name="connsiteX2659" fmla="*/ 7622751 w 8079933"/>
              <a:gd name="connsiteY2659" fmla="*/ 3332135 h 4687251"/>
              <a:gd name="connsiteX2660" fmla="*/ 7617108 w 8079933"/>
              <a:gd name="connsiteY2660" fmla="*/ 3326180 h 4687251"/>
              <a:gd name="connsiteX2661" fmla="*/ 4760073 w 8079933"/>
              <a:gd name="connsiteY2661" fmla="*/ 3325973 h 4687251"/>
              <a:gd name="connsiteX2662" fmla="*/ 4757398 w 8079933"/>
              <a:gd name="connsiteY2662" fmla="*/ 3335709 h 4687251"/>
              <a:gd name="connsiteX2663" fmla="*/ 4757396 w 8079933"/>
              <a:gd name="connsiteY2663" fmla="*/ 3335718 h 4687251"/>
              <a:gd name="connsiteX2664" fmla="*/ 7065410 w 8079933"/>
              <a:gd name="connsiteY2664" fmla="*/ 3324447 h 4687251"/>
              <a:gd name="connsiteX2665" fmla="*/ 7067363 w 8079933"/>
              <a:gd name="connsiteY2665" fmla="*/ 3333000 h 4687251"/>
              <a:gd name="connsiteX2666" fmla="*/ 7071378 w 8079933"/>
              <a:gd name="connsiteY2666" fmla="*/ 3334408 h 4687251"/>
              <a:gd name="connsiteX2667" fmla="*/ 7072029 w 8079933"/>
              <a:gd name="connsiteY2667" fmla="*/ 3335815 h 4687251"/>
              <a:gd name="connsiteX2668" fmla="*/ 7066495 w 8079933"/>
              <a:gd name="connsiteY2668" fmla="*/ 3334624 h 4687251"/>
              <a:gd name="connsiteX2669" fmla="*/ 7064542 w 8079933"/>
              <a:gd name="connsiteY2669" fmla="*/ 3334732 h 4687251"/>
              <a:gd name="connsiteX2670" fmla="*/ 7059550 w 8079933"/>
              <a:gd name="connsiteY2670" fmla="*/ 3333434 h 4687251"/>
              <a:gd name="connsiteX2671" fmla="*/ 7059767 w 8079933"/>
              <a:gd name="connsiteY2671" fmla="*/ 3330835 h 4687251"/>
              <a:gd name="connsiteX2672" fmla="*/ 7061287 w 8079933"/>
              <a:gd name="connsiteY2672" fmla="*/ 3330618 h 4687251"/>
              <a:gd name="connsiteX2673" fmla="*/ 7063565 w 8079933"/>
              <a:gd name="connsiteY2673" fmla="*/ 3331268 h 4687251"/>
              <a:gd name="connsiteX2674" fmla="*/ 7063565 w 8079933"/>
              <a:gd name="connsiteY2674" fmla="*/ 3329969 h 4687251"/>
              <a:gd name="connsiteX2675" fmla="*/ 7062480 w 8079933"/>
              <a:gd name="connsiteY2675" fmla="*/ 3329428 h 4687251"/>
              <a:gd name="connsiteX2676" fmla="*/ 7062697 w 8079933"/>
              <a:gd name="connsiteY2676" fmla="*/ 3326829 h 4687251"/>
              <a:gd name="connsiteX2677" fmla="*/ 7062046 w 8079933"/>
              <a:gd name="connsiteY2677" fmla="*/ 3326071 h 4687251"/>
              <a:gd name="connsiteX2678" fmla="*/ 7640005 w 8079933"/>
              <a:gd name="connsiteY2678" fmla="*/ 3323040 h 4687251"/>
              <a:gd name="connsiteX2679" fmla="*/ 7644130 w 8079933"/>
              <a:gd name="connsiteY2679" fmla="*/ 3324014 h 4687251"/>
              <a:gd name="connsiteX2680" fmla="*/ 7643370 w 8079933"/>
              <a:gd name="connsiteY2680" fmla="*/ 3326828 h 4687251"/>
              <a:gd name="connsiteX2681" fmla="*/ 7639572 w 8079933"/>
              <a:gd name="connsiteY2681" fmla="*/ 3327478 h 4687251"/>
              <a:gd name="connsiteX2682" fmla="*/ 7637185 w 8079933"/>
              <a:gd name="connsiteY2682" fmla="*/ 3326937 h 4687251"/>
              <a:gd name="connsiteX2683" fmla="*/ 7637076 w 8079933"/>
              <a:gd name="connsiteY2683" fmla="*/ 3325638 h 4687251"/>
              <a:gd name="connsiteX2684" fmla="*/ 7066278 w 8079933"/>
              <a:gd name="connsiteY2684" fmla="*/ 3321741 h 4687251"/>
              <a:gd name="connsiteX2685" fmla="*/ 7067689 w 8079933"/>
              <a:gd name="connsiteY2685" fmla="*/ 3321741 h 4687251"/>
              <a:gd name="connsiteX2686" fmla="*/ 7070619 w 8079933"/>
              <a:gd name="connsiteY2686" fmla="*/ 3324772 h 4687251"/>
              <a:gd name="connsiteX2687" fmla="*/ 7073440 w 8079933"/>
              <a:gd name="connsiteY2687" fmla="*/ 3325206 h 4687251"/>
              <a:gd name="connsiteX2688" fmla="*/ 7074091 w 8079933"/>
              <a:gd name="connsiteY2688" fmla="*/ 3326722 h 4687251"/>
              <a:gd name="connsiteX2689" fmla="*/ 7076913 w 8079933"/>
              <a:gd name="connsiteY2689" fmla="*/ 3328237 h 4687251"/>
              <a:gd name="connsiteX2690" fmla="*/ 7079626 w 8079933"/>
              <a:gd name="connsiteY2690" fmla="*/ 3324881 h 4687251"/>
              <a:gd name="connsiteX2691" fmla="*/ 7086028 w 8079933"/>
              <a:gd name="connsiteY2691" fmla="*/ 3324772 h 4687251"/>
              <a:gd name="connsiteX2692" fmla="*/ 7088958 w 8079933"/>
              <a:gd name="connsiteY2692" fmla="*/ 3323365 h 4687251"/>
              <a:gd name="connsiteX2693" fmla="*/ 7091020 w 8079933"/>
              <a:gd name="connsiteY2693" fmla="*/ 3323365 h 4687251"/>
              <a:gd name="connsiteX2694" fmla="*/ 7092431 w 8079933"/>
              <a:gd name="connsiteY2694" fmla="*/ 3326397 h 4687251"/>
              <a:gd name="connsiteX2695" fmla="*/ 7094384 w 8079933"/>
              <a:gd name="connsiteY2695" fmla="*/ 3328020 h 4687251"/>
              <a:gd name="connsiteX2696" fmla="*/ 7092105 w 8079933"/>
              <a:gd name="connsiteY2696" fmla="*/ 3329861 h 4687251"/>
              <a:gd name="connsiteX2697" fmla="*/ 7091780 w 8079933"/>
              <a:gd name="connsiteY2697" fmla="*/ 3332351 h 4687251"/>
              <a:gd name="connsiteX2698" fmla="*/ 7089718 w 8079933"/>
              <a:gd name="connsiteY2698" fmla="*/ 3332026 h 4687251"/>
              <a:gd name="connsiteX2699" fmla="*/ 7081579 w 8079933"/>
              <a:gd name="connsiteY2699" fmla="*/ 3340580 h 4687251"/>
              <a:gd name="connsiteX2700" fmla="*/ 7074959 w 8079933"/>
              <a:gd name="connsiteY2700" fmla="*/ 3337873 h 4687251"/>
              <a:gd name="connsiteX2701" fmla="*/ 7071596 w 8079933"/>
              <a:gd name="connsiteY2701" fmla="*/ 3333434 h 4687251"/>
              <a:gd name="connsiteX2702" fmla="*/ 7067689 w 8079933"/>
              <a:gd name="connsiteY2702" fmla="*/ 3328887 h 4687251"/>
              <a:gd name="connsiteX2703" fmla="*/ 7067038 w 8079933"/>
              <a:gd name="connsiteY2703" fmla="*/ 3323257 h 4687251"/>
              <a:gd name="connsiteX2704" fmla="*/ 4806310 w 8079933"/>
              <a:gd name="connsiteY2704" fmla="*/ 3318710 h 4687251"/>
              <a:gd name="connsiteX2705" fmla="*/ 4805659 w 8079933"/>
              <a:gd name="connsiteY2705" fmla="*/ 3320767 h 4687251"/>
              <a:gd name="connsiteX2706" fmla="*/ 4805659 w 8079933"/>
              <a:gd name="connsiteY2706" fmla="*/ 3320767 h 4687251"/>
              <a:gd name="connsiteX2707" fmla="*/ 7218311 w 8079933"/>
              <a:gd name="connsiteY2707" fmla="*/ 3317843 h 4687251"/>
              <a:gd name="connsiteX2708" fmla="*/ 7220155 w 8079933"/>
              <a:gd name="connsiteY2708" fmla="*/ 3320116 h 4687251"/>
              <a:gd name="connsiteX2709" fmla="*/ 7216031 w 8079933"/>
              <a:gd name="connsiteY2709" fmla="*/ 3323906 h 4687251"/>
              <a:gd name="connsiteX2710" fmla="*/ 7215163 w 8079933"/>
              <a:gd name="connsiteY2710" fmla="*/ 3327587 h 4687251"/>
              <a:gd name="connsiteX2711" fmla="*/ 7212016 w 8079933"/>
              <a:gd name="connsiteY2711" fmla="*/ 3326071 h 4687251"/>
              <a:gd name="connsiteX2712" fmla="*/ 7213427 w 8079933"/>
              <a:gd name="connsiteY2712" fmla="*/ 3323148 h 4687251"/>
              <a:gd name="connsiteX2713" fmla="*/ 7121839 w 8079933"/>
              <a:gd name="connsiteY2713" fmla="*/ 3316977 h 4687251"/>
              <a:gd name="connsiteX2714" fmla="*/ 7120428 w 8079933"/>
              <a:gd name="connsiteY2714" fmla="*/ 3321308 h 4687251"/>
              <a:gd name="connsiteX2715" fmla="*/ 7120103 w 8079933"/>
              <a:gd name="connsiteY2715" fmla="*/ 3325747 h 4687251"/>
              <a:gd name="connsiteX2716" fmla="*/ 7117390 w 8079933"/>
              <a:gd name="connsiteY2716" fmla="*/ 3320983 h 4687251"/>
              <a:gd name="connsiteX2717" fmla="*/ 7118258 w 8079933"/>
              <a:gd name="connsiteY2717" fmla="*/ 3317627 h 4687251"/>
              <a:gd name="connsiteX2718" fmla="*/ 4584538 w 8079933"/>
              <a:gd name="connsiteY2718" fmla="*/ 3316038 h 4687251"/>
              <a:gd name="connsiteX2719" fmla="*/ 4583525 w 8079933"/>
              <a:gd name="connsiteY2719" fmla="*/ 3316543 h 4687251"/>
              <a:gd name="connsiteX2720" fmla="*/ 4580487 w 8079933"/>
              <a:gd name="connsiteY2720" fmla="*/ 3317085 h 4687251"/>
              <a:gd name="connsiteX2721" fmla="*/ 4583525 w 8079933"/>
              <a:gd name="connsiteY2721" fmla="*/ 3316544 h 4687251"/>
              <a:gd name="connsiteX2722" fmla="*/ 4587195 w 8079933"/>
              <a:gd name="connsiteY2722" fmla="*/ 3315960 h 4687251"/>
              <a:gd name="connsiteX2723" fmla="*/ 4587648 w 8079933"/>
              <a:gd name="connsiteY2723" fmla="*/ 3316111 h 4687251"/>
              <a:gd name="connsiteX2724" fmla="*/ 4587648 w 8079933"/>
              <a:gd name="connsiteY2724" fmla="*/ 3322931 h 4687251"/>
              <a:gd name="connsiteX2725" fmla="*/ 4591229 w 8079933"/>
              <a:gd name="connsiteY2725" fmla="*/ 3327154 h 4687251"/>
              <a:gd name="connsiteX2726" fmla="*/ 4587649 w 8079933"/>
              <a:gd name="connsiteY2726" fmla="*/ 3322931 h 4687251"/>
              <a:gd name="connsiteX2727" fmla="*/ 4587649 w 8079933"/>
              <a:gd name="connsiteY2727" fmla="*/ 3316111 h 4687251"/>
              <a:gd name="connsiteX2728" fmla="*/ 4825083 w 8079933"/>
              <a:gd name="connsiteY2728" fmla="*/ 3314163 h 4687251"/>
              <a:gd name="connsiteX2729" fmla="*/ 4825409 w 8079933"/>
              <a:gd name="connsiteY2729" fmla="*/ 3315678 h 4687251"/>
              <a:gd name="connsiteX2730" fmla="*/ 4825409 w 8079933"/>
              <a:gd name="connsiteY2730" fmla="*/ 3315678 h 4687251"/>
              <a:gd name="connsiteX2731" fmla="*/ 4825084 w 8079933"/>
              <a:gd name="connsiteY2731" fmla="*/ 3314163 h 4687251"/>
              <a:gd name="connsiteX2732" fmla="*/ 7358839 w 8079933"/>
              <a:gd name="connsiteY2732" fmla="*/ 3313838 h 4687251"/>
              <a:gd name="connsiteX2733" fmla="*/ 7358622 w 8079933"/>
              <a:gd name="connsiteY2733" fmla="*/ 3316977 h 4687251"/>
              <a:gd name="connsiteX2734" fmla="*/ 7363722 w 8079933"/>
              <a:gd name="connsiteY2734" fmla="*/ 3318060 h 4687251"/>
              <a:gd name="connsiteX2735" fmla="*/ 7365132 w 8079933"/>
              <a:gd name="connsiteY2735" fmla="*/ 3324665 h 4687251"/>
              <a:gd name="connsiteX2736" fmla="*/ 7366544 w 8079933"/>
              <a:gd name="connsiteY2736" fmla="*/ 3327263 h 4687251"/>
              <a:gd name="connsiteX2737" fmla="*/ 7364807 w 8079933"/>
              <a:gd name="connsiteY2737" fmla="*/ 3338632 h 4687251"/>
              <a:gd name="connsiteX2738" fmla="*/ 7367845 w 8079933"/>
              <a:gd name="connsiteY2738" fmla="*/ 3341446 h 4687251"/>
              <a:gd name="connsiteX2739" fmla="*/ 7371861 w 8079933"/>
              <a:gd name="connsiteY2739" fmla="*/ 3340580 h 4687251"/>
              <a:gd name="connsiteX2740" fmla="*/ 7375116 w 8079933"/>
              <a:gd name="connsiteY2740" fmla="*/ 3342313 h 4687251"/>
              <a:gd name="connsiteX2741" fmla="*/ 7372186 w 8079933"/>
              <a:gd name="connsiteY2741" fmla="*/ 3345236 h 4687251"/>
              <a:gd name="connsiteX2742" fmla="*/ 7371970 w 8079933"/>
              <a:gd name="connsiteY2742" fmla="*/ 3351191 h 4687251"/>
              <a:gd name="connsiteX2743" fmla="*/ 7374574 w 8079933"/>
              <a:gd name="connsiteY2743" fmla="*/ 3352815 h 4687251"/>
              <a:gd name="connsiteX2744" fmla="*/ 7374682 w 8079933"/>
              <a:gd name="connsiteY2744" fmla="*/ 3357038 h 4687251"/>
              <a:gd name="connsiteX2745" fmla="*/ 7378372 w 8079933"/>
              <a:gd name="connsiteY2745" fmla="*/ 3361910 h 4687251"/>
              <a:gd name="connsiteX2746" fmla="*/ 7376201 w 8079933"/>
              <a:gd name="connsiteY2746" fmla="*/ 3366024 h 4687251"/>
              <a:gd name="connsiteX2747" fmla="*/ 7377938 w 8079933"/>
              <a:gd name="connsiteY2747" fmla="*/ 3370355 h 4687251"/>
              <a:gd name="connsiteX2748" fmla="*/ 7379999 w 8079933"/>
              <a:gd name="connsiteY2748" fmla="*/ 3369380 h 4687251"/>
              <a:gd name="connsiteX2749" fmla="*/ 7381084 w 8079933"/>
              <a:gd name="connsiteY2749" fmla="*/ 3380099 h 4687251"/>
              <a:gd name="connsiteX2750" fmla="*/ 7379240 w 8079933"/>
              <a:gd name="connsiteY2750" fmla="*/ 3388869 h 4687251"/>
              <a:gd name="connsiteX2751" fmla="*/ 7382278 w 8079933"/>
              <a:gd name="connsiteY2751" fmla="*/ 3395582 h 4687251"/>
              <a:gd name="connsiteX2752" fmla="*/ 7381735 w 8079933"/>
              <a:gd name="connsiteY2752" fmla="*/ 3399588 h 4687251"/>
              <a:gd name="connsiteX2753" fmla="*/ 7386618 w 8079933"/>
              <a:gd name="connsiteY2753" fmla="*/ 3406951 h 4687251"/>
              <a:gd name="connsiteX2754" fmla="*/ 7390634 w 8079933"/>
              <a:gd name="connsiteY2754" fmla="*/ 3406733 h 4687251"/>
              <a:gd name="connsiteX2755" fmla="*/ 7393347 w 8079933"/>
              <a:gd name="connsiteY2755" fmla="*/ 3401537 h 4687251"/>
              <a:gd name="connsiteX2756" fmla="*/ 7395735 w 8079933"/>
              <a:gd name="connsiteY2756" fmla="*/ 3403161 h 4687251"/>
              <a:gd name="connsiteX2757" fmla="*/ 7400617 w 8079933"/>
              <a:gd name="connsiteY2757" fmla="*/ 3399913 h 4687251"/>
              <a:gd name="connsiteX2758" fmla="*/ 7406043 w 8079933"/>
              <a:gd name="connsiteY2758" fmla="*/ 3405326 h 4687251"/>
              <a:gd name="connsiteX2759" fmla="*/ 7404524 w 8079933"/>
              <a:gd name="connsiteY2759" fmla="*/ 3407492 h 4687251"/>
              <a:gd name="connsiteX2760" fmla="*/ 7409624 w 8079933"/>
              <a:gd name="connsiteY2760" fmla="*/ 3410523 h 4687251"/>
              <a:gd name="connsiteX2761" fmla="*/ 7417981 w 8079933"/>
              <a:gd name="connsiteY2761" fmla="*/ 3418535 h 4687251"/>
              <a:gd name="connsiteX2762" fmla="*/ 7417438 w 8079933"/>
              <a:gd name="connsiteY2762" fmla="*/ 3422000 h 4687251"/>
              <a:gd name="connsiteX2763" fmla="*/ 7415810 w 8079933"/>
              <a:gd name="connsiteY2763" fmla="*/ 3423408 h 4687251"/>
              <a:gd name="connsiteX2764" fmla="*/ 7417004 w 8079933"/>
              <a:gd name="connsiteY2764" fmla="*/ 3428063 h 4687251"/>
              <a:gd name="connsiteX2765" fmla="*/ 7415810 w 8079933"/>
              <a:gd name="connsiteY2765" fmla="*/ 3432069 h 4687251"/>
              <a:gd name="connsiteX2766" fmla="*/ 7416895 w 8079933"/>
              <a:gd name="connsiteY2766" fmla="*/ 3446902 h 4687251"/>
              <a:gd name="connsiteX2767" fmla="*/ 7419065 w 8079933"/>
              <a:gd name="connsiteY2767" fmla="*/ 3449501 h 4687251"/>
              <a:gd name="connsiteX2768" fmla="*/ 7418848 w 8079933"/>
              <a:gd name="connsiteY2768" fmla="*/ 3452099 h 4687251"/>
              <a:gd name="connsiteX2769" fmla="*/ 7417004 w 8079933"/>
              <a:gd name="connsiteY2769" fmla="*/ 3453507 h 4687251"/>
              <a:gd name="connsiteX2770" fmla="*/ 7417221 w 8079933"/>
              <a:gd name="connsiteY2770" fmla="*/ 3465200 h 4687251"/>
              <a:gd name="connsiteX2771" fmla="*/ 7421778 w 8079933"/>
              <a:gd name="connsiteY2771" fmla="*/ 3474620 h 4687251"/>
              <a:gd name="connsiteX2772" fmla="*/ 7425360 w 8079933"/>
              <a:gd name="connsiteY2772" fmla="*/ 3474620 h 4687251"/>
              <a:gd name="connsiteX2773" fmla="*/ 7428397 w 8079933"/>
              <a:gd name="connsiteY2773" fmla="*/ 3477543 h 4687251"/>
              <a:gd name="connsiteX2774" fmla="*/ 7425902 w 8079933"/>
              <a:gd name="connsiteY2774" fmla="*/ 3478842 h 4687251"/>
              <a:gd name="connsiteX2775" fmla="*/ 7428832 w 8079933"/>
              <a:gd name="connsiteY2775" fmla="*/ 3484581 h 4687251"/>
              <a:gd name="connsiteX2776" fmla="*/ 7431545 w 8079933"/>
              <a:gd name="connsiteY2776" fmla="*/ 3497140 h 4687251"/>
              <a:gd name="connsiteX2777" fmla="*/ 7429483 w 8079933"/>
              <a:gd name="connsiteY2777" fmla="*/ 3506776 h 4687251"/>
              <a:gd name="connsiteX2778" fmla="*/ 7427204 w 8079933"/>
              <a:gd name="connsiteY2778" fmla="*/ 3507642 h 4687251"/>
              <a:gd name="connsiteX2779" fmla="*/ 7426986 w 8079933"/>
              <a:gd name="connsiteY2779" fmla="*/ 3512190 h 4687251"/>
              <a:gd name="connsiteX2780" fmla="*/ 7429917 w 8079933"/>
              <a:gd name="connsiteY2780" fmla="*/ 3517819 h 4687251"/>
              <a:gd name="connsiteX2781" fmla="*/ 7430785 w 8079933"/>
              <a:gd name="connsiteY2781" fmla="*/ 3526373 h 4687251"/>
              <a:gd name="connsiteX2782" fmla="*/ 7435125 w 8079933"/>
              <a:gd name="connsiteY2782" fmla="*/ 3535035 h 4687251"/>
              <a:gd name="connsiteX2783" fmla="*/ 7445110 w 8079933"/>
              <a:gd name="connsiteY2783" fmla="*/ 3540664 h 4687251"/>
              <a:gd name="connsiteX2784" fmla="*/ 7447388 w 8079933"/>
              <a:gd name="connsiteY2784" fmla="*/ 3540664 h 4687251"/>
              <a:gd name="connsiteX2785" fmla="*/ 7448690 w 8079933"/>
              <a:gd name="connsiteY2785" fmla="*/ 3543588 h 4687251"/>
              <a:gd name="connsiteX2786" fmla="*/ 7452814 w 8079933"/>
              <a:gd name="connsiteY2786" fmla="*/ 3543913 h 4687251"/>
              <a:gd name="connsiteX2787" fmla="*/ 7458240 w 8079933"/>
              <a:gd name="connsiteY2787" fmla="*/ 3543372 h 4687251"/>
              <a:gd name="connsiteX2788" fmla="*/ 7459759 w 8079933"/>
              <a:gd name="connsiteY2788" fmla="*/ 3546078 h 4687251"/>
              <a:gd name="connsiteX2789" fmla="*/ 7459325 w 8079933"/>
              <a:gd name="connsiteY2789" fmla="*/ 3549543 h 4687251"/>
              <a:gd name="connsiteX2790" fmla="*/ 7454659 w 8079933"/>
              <a:gd name="connsiteY2790" fmla="*/ 3550734 h 4687251"/>
              <a:gd name="connsiteX2791" fmla="*/ 7451946 w 8079933"/>
              <a:gd name="connsiteY2791" fmla="*/ 3555065 h 4687251"/>
              <a:gd name="connsiteX2792" fmla="*/ 7455201 w 8079933"/>
              <a:gd name="connsiteY2792" fmla="*/ 3552033 h 4687251"/>
              <a:gd name="connsiteX2793" fmla="*/ 7460410 w 8079933"/>
              <a:gd name="connsiteY2793" fmla="*/ 3553874 h 4687251"/>
              <a:gd name="connsiteX2794" fmla="*/ 7462472 w 8079933"/>
              <a:gd name="connsiteY2794" fmla="*/ 3556580 h 4687251"/>
              <a:gd name="connsiteX2795" fmla="*/ 7464968 w 8079933"/>
              <a:gd name="connsiteY2795" fmla="*/ 3553874 h 4687251"/>
              <a:gd name="connsiteX2796" fmla="*/ 7469308 w 8079933"/>
              <a:gd name="connsiteY2796" fmla="*/ 3557663 h 4687251"/>
              <a:gd name="connsiteX2797" fmla="*/ 7472889 w 8079933"/>
              <a:gd name="connsiteY2797" fmla="*/ 3557771 h 4687251"/>
              <a:gd name="connsiteX2798" fmla="*/ 7477664 w 8079933"/>
              <a:gd name="connsiteY2798" fmla="*/ 3564484 h 4687251"/>
              <a:gd name="connsiteX2799" fmla="*/ 7481788 w 8079933"/>
              <a:gd name="connsiteY2799" fmla="*/ 3565025 h 4687251"/>
              <a:gd name="connsiteX2800" fmla="*/ 7483742 w 8079933"/>
              <a:gd name="connsiteY2800" fmla="*/ 3563943 h 4687251"/>
              <a:gd name="connsiteX2801" fmla="*/ 7487539 w 8079933"/>
              <a:gd name="connsiteY2801" fmla="*/ 3570764 h 4687251"/>
              <a:gd name="connsiteX2802" fmla="*/ 7487539 w 8079933"/>
              <a:gd name="connsiteY2802" fmla="*/ 3575527 h 4687251"/>
              <a:gd name="connsiteX2803" fmla="*/ 7483199 w 8079933"/>
              <a:gd name="connsiteY2803" fmla="*/ 3574445 h 4687251"/>
              <a:gd name="connsiteX2804" fmla="*/ 7483633 w 8079933"/>
              <a:gd name="connsiteY2804" fmla="*/ 3579967 h 4687251"/>
              <a:gd name="connsiteX2805" fmla="*/ 7485803 w 8079933"/>
              <a:gd name="connsiteY2805" fmla="*/ 3584731 h 4687251"/>
              <a:gd name="connsiteX2806" fmla="*/ 7493507 w 8079933"/>
              <a:gd name="connsiteY2806" fmla="*/ 3591335 h 4687251"/>
              <a:gd name="connsiteX2807" fmla="*/ 7492422 w 8079933"/>
              <a:gd name="connsiteY2807" fmla="*/ 3595558 h 4687251"/>
              <a:gd name="connsiteX2808" fmla="*/ 7495895 w 8079933"/>
              <a:gd name="connsiteY2808" fmla="*/ 3598265 h 4687251"/>
              <a:gd name="connsiteX2809" fmla="*/ 7494051 w 8079933"/>
              <a:gd name="connsiteY2809" fmla="*/ 3602163 h 4687251"/>
              <a:gd name="connsiteX2810" fmla="*/ 7498608 w 8079933"/>
              <a:gd name="connsiteY2810" fmla="*/ 3605086 h 4687251"/>
              <a:gd name="connsiteX2811" fmla="*/ 7498608 w 8079933"/>
              <a:gd name="connsiteY2811" fmla="*/ 3608333 h 4687251"/>
              <a:gd name="connsiteX2812" fmla="*/ 7497197 w 8079933"/>
              <a:gd name="connsiteY2812" fmla="*/ 3609741 h 4687251"/>
              <a:gd name="connsiteX2813" fmla="*/ 7498066 w 8079933"/>
              <a:gd name="connsiteY2813" fmla="*/ 3623167 h 4687251"/>
              <a:gd name="connsiteX2814" fmla="*/ 7500019 w 8079933"/>
              <a:gd name="connsiteY2814" fmla="*/ 3626956 h 4687251"/>
              <a:gd name="connsiteX2815" fmla="*/ 7500019 w 8079933"/>
              <a:gd name="connsiteY2815" fmla="*/ 3631395 h 4687251"/>
              <a:gd name="connsiteX2816" fmla="*/ 7502623 w 8079933"/>
              <a:gd name="connsiteY2816" fmla="*/ 3628581 h 4687251"/>
              <a:gd name="connsiteX2817" fmla="*/ 7507832 w 8079933"/>
              <a:gd name="connsiteY2817" fmla="*/ 3634860 h 4687251"/>
              <a:gd name="connsiteX2818" fmla="*/ 7505336 w 8079933"/>
              <a:gd name="connsiteY2818" fmla="*/ 3627498 h 4687251"/>
              <a:gd name="connsiteX2819" fmla="*/ 7506529 w 8079933"/>
              <a:gd name="connsiteY2819" fmla="*/ 3623816 h 4687251"/>
              <a:gd name="connsiteX2820" fmla="*/ 7506529 w 8079933"/>
              <a:gd name="connsiteY2820" fmla="*/ 3620569 h 4687251"/>
              <a:gd name="connsiteX2821" fmla="*/ 7508591 w 8079933"/>
              <a:gd name="connsiteY2821" fmla="*/ 3619594 h 4687251"/>
              <a:gd name="connsiteX2822" fmla="*/ 7510871 w 8079933"/>
              <a:gd name="connsiteY2822" fmla="*/ 3625116 h 4687251"/>
              <a:gd name="connsiteX2823" fmla="*/ 7521613 w 8079933"/>
              <a:gd name="connsiteY2823" fmla="*/ 3634860 h 4687251"/>
              <a:gd name="connsiteX2824" fmla="*/ 7523349 w 8079933"/>
              <a:gd name="connsiteY2824" fmla="*/ 3632369 h 4687251"/>
              <a:gd name="connsiteX2825" fmla="*/ 7521939 w 8079933"/>
              <a:gd name="connsiteY2825" fmla="*/ 3630205 h 4687251"/>
              <a:gd name="connsiteX2826" fmla="*/ 7522807 w 8079933"/>
              <a:gd name="connsiteY2826" fmla="*/ 3627714 h 4687251"/>
              <a:gd name="connsiteX2827" fmla="*/ 7526062 w 8079933"/>
              <a:gd name="connsiteY2827" fmla="*/ 3629446 h 4687251"/>
              <a:gd name="connsiteX2828" fmla="*/ 7525411 w 8079933"/>
              <a:gd name="connsiteY2828" fmla="*/ 3634102 h 4687251"/>
              <a:gd name="connsiteX2829" fmla="*/ 7526822 w 8079933"/>
              <a:gd name="connsiteY2829" fmla="*/ 3637567 h 4687251"/>
              <a:gd name="connsiteX2830" fmla="*/ 7525737 w 8079933"/>
              <a:gd name="connsiteY2830" fmla="*/ 3644821 h 4687251"/>
              <a:gd name="connsiteX2831" fmla="*/ 7521180 w 8079933"/>
              <a:gd name="connsiteY2831" fmla="*/ 3650560 h 4687251"/>
              <a:gd name="connsiteX2832" fmla="*/ 7524435 w 8079933"/>
              <a:gd name="connsiteY2832" fmla="*/ 3656297 h 4687251"/>
              <a:gd name="connsiteX2833" fmla="*/ 7523242 w 8079933"/>
              <a:gd name="connsiteY2833" fmla="*/ 3659979 h 4687251"/>
              <a:gd name="connsiteX2834" fmla="*/ 7525954 w 8079933"/>
              <a:gd name="connsiteY2834" fmla="*/ 3662469 h 4687251"/>
              <a:gd name="connsiteX2835" fmla="*/ 7531706 w 8079933"/>
              <a:gd name="connsiteY2835" fmla="*/ 3667558 h 4687251"/>
              <a:gd name="connsiteX2836" fmla="*/ 7532248 w 8079933"/>
              <a:gd name="connsiteY2836" fmla="*/ 3671022 h 4687251"/>
              <a:gd name="connsiteX2837" fmla="*/ 7534636 w 8079933"/>
              <a:gd name="connsiteY2837" fmla="*/ 3671997 h 4687251"/>
              <a:gd name="connsiteX2838" fmla="*/ 7535287 w 8079933"/>
              <a:gd name="connsiteY2838" fmla="*/ 3678168 h 4687251"/>
              <a:gd name="connsiteX2839" fmla="*/ 7538542 w 8079933"/>
              <a:gd name="connsiteY2839" fmla="*/ 3681199 h 4687251"/>
              <a:gd name="connsiteX2840" fmla="*/ 7542232 w 8079933"/>
              <a:gd name="connsiteY2840" fmla="*/ 3679576 h 4687251"/>
              <a:gd name="connsiteX2841" fmla="*/ 7545270 w 8079933"/>
              <a:gd name="connsiteY2841" fmla="*/ 3679792 h 4687251"/>
              <a:gd name="connsiteX2842" fmla="*/ 7548308 w 8079933"/>
              <a:gd name="connsiteY2842" fmla="*/ 3685531 h 4687251"/>
              <a:gd name="connsiteX2843" fmla="*/ 7549827 w 8079933"/>
              <a:gd name="connsiteY2843" fmla="*/ 3692243 h 4687251"/>
              <a:gd name="connsiteX2844" fmla="*/ 7553192 w 8079933"/>
              <a:gd name="connsiteY2844" fmla="*/ 3699064 h 4687251"/>
              <a:gd name="connsiteX2845" fmla="*/ 7558618 w 8079933"/>
              <a:gd name="connsiteY2845" fmla="*/ 3703829 h 4687251"/>
              <a:gd name="connsiteX2846" fmla="*/ 7558509 w 8079933"/>
              <a:gd name="connsiteY2846" fmla="*/ 3709242 h 4687251"/>
              <a:gd name="connsiteX2847" fmla="*/ 7560788 w 8079933"/>
              <a:gd name="connsiteY2847" fmla="*/ 3713897 h 4687251"/>
              <a:gd name="connsiteX2848" fmla="*/ 7565454 w 8079933"/>
              <a:gd name="connsiteY2848" fmla="*/ 3715847 h 4687251"/>
              <a:gd name="connsiteX2849" fmla="*/ 7562958 w 8079933"/>
              <a:gd name="connsiteY2849" fmla="*/ 3721152 h 4687251"/>
              <a:gd name="connsiteX2850" fmla="*/ 7565020 w 8079933"/>
              <a:gd name="connsiteY2850" fmla="*/ 3721801 h 4687251"/>
              <a:gd name="connsiteX2851" fmla="*/ 7564803 w 8079933"/>
              <a:gd name="connsiteY2851" fmla="*/ 3731221 h 4687251"/>
              <a:gd name="connsiteX2852" fmla="*/ 7566105 w 8079933"/>
              <a:gd name="connsiteY2852" fmla="*/ 3736093 h 4687251"/>
              <a:gd name="connsiteX2853" fmla="*/ 7568059 w 8079933"/>
              <a:gd name="connsiteY2853" fmla="*/ 3738800 h 4687251"/>
              <a:gd name="connsiteX2854" fmla="*/ 7565346 w 8079933"/>
              <a:gd name="connsiteY2854" fmla="*/ 3743455 h 4687251"/>
              <a:gd name="connsiteX2855" fmla="*/ 7565671 w 8079933"/>
              <a:gd name="connsiteY2855" fmla="*/ 3757422 h 4687251"/>
              <a:gd name="connsiteX2856" fmla="*/ 7566105 w 8079933"/>
              <a:gd name="connsiteY2856" fmla="*/ 3759588 h 4687251"/>
              <a:gd name="connsiteX2857" fmla="*/ 7561874 w 8079933"/>
              <a:gd name="connsiteY2857" fmla="*/ 3766733 h 4687251"/>
              <a:gd name="connsiteX2858" fmla="*/ 7561765 w 8079933"/>
              <a:gd name="connsiteY2858" fmla="*/ 3772364 h 4687251"/>
              <a:gd name="connsiteX2859" fmla="*/ 7560137 w 8079933"/>
              <a:gd name="connsiteY2859" fmla="*/ 3774529 h 4687251"/>
              <a:gd name="connsiteX2860" fmla="*/ 7560245 w 8079933"/>
              <a:gd name="connsiteY2860" fmla="*/ 3779401 h 4687251"/>
              <a:gd name="connsiteX2861" fmla="*/ 7561765 w 8079933"/>
              <a:gd name="connsiteY2861" fmla="*/ 3782324 h 4687251"/>
              <a:gd name="connsiteX2862" fmla="*/ 7565128 w 8079933"/>
              <a:gd name="connsiteY2862" fmla="*/ 3791311 h 4687251"/>
              <a:gd name="connsiteX2863" fmla="*/ 7564587 w 8079933"/>
              <a:gd name="connsiteY2863" fmla="*/ 3797050 h 4687251"/>
              <a:gd name="connsiteX2864" fmla="*/ 7568276 w 8079933"/>
              <a:gd name="connsiteY2864" fmla="*/ 3807877 h 4687251"/>
              <a:gd name="connsiteX2865" fmla="*/ 7564260 w 8079933"/>
              <a:gd name="connsiteY2865" fmla="*/ 3812748 h 4687251"/>
              <a:gd name="connsiteX2866" fmla="*/ 7566105 w 8079933"/>
              <a:gd name="connsiteY2866" fmla="*/ 3819786 h 4687251"/>
              <a:gd name="connsiteX2867" fmla="*/ 7563718 w 8079933"/>
              <a:gd name="connsiteY2867" fmla="*/ 3826283 h 4687251"/>
              <a:gd name="connsiteX2868" fmla="*/ 7557206 w 8079933"/>
              <a:gd name="connsiteY2868" fmla="*/ 3831696 h 4687251"/>
              <a:gd name="connsiteX2869" fmla="*/ 7552649 w 8079933"/>
              <a:gd name="connsiteY2869" fmla="*/ 3842956 h 4687251"/>
              <a:gd name="connsiteX2870" fmla="*/ 7553084 w 8079933"/>
              <a:gd name="connsiteY2870" fmla="*/ 3848695 h 4687251"/>
              <a:gd name="connsiteX2871" fmla="*/ 7544402 w 8079933"/>
              <a:gd name="connsiteY2871" fmla="*/ 3864177 h 4687251"/>
              <a:gd name="connsiteX2872" fmla="*/ 7542774 w 8079933"/>
              <a:gd name="connsiteY2872" fmla="*/ 3872514 h 4687251"/>
              <a:gd name="connsiteX2873" fmla="*/ 7536046 w 8079933"/>
              <a:gd name="connsiteY2873" fmla="*/ 3887997 h 4687251"/>
              <a:gd name="connsiteX2874" fmla="*/ 7535287 w 8079933"/>
              <a:gd name="connsiteY2874" fmla="*/ 3891786 h 4687251"/>
              <a:gd name="connsiteX2875" fmla="*/ 7537349 w 8079933"/>
              <a:gd name="connsiteY2875" fmla="*/ 3894168 h 4687251"/>
              <a:gd name="connsiteX2876" fmla="*/ 7534636 w 8079933"/>
              <a:gd name="connsiteY2876" fmla="*/ 3901422 h 4687251"/>
              <a:gd name="connsiteX2877" fmla="*/ 7535287 w 8079933"/>
              <a:gd name="connsiteY2877" fmla="*/ 3905861 h 4687251"/>
              <a:gd name="connsiteX2878" fmla="*/ 7530077 w 8079933"/>
              <a:gd name="connsiteY2878" fmla="*/ 3914739 h 4687251"/>
              <a:gd name="connsiteX2879" fmla="*/ 7524652 w 8079933"/>
              <a:gd name="connsiteY2879" fmla="*/ 3916905 h 4687251"/>
              <a:gd name="connsiteX2880" fmla="*/ 7524435 w 8079933"/>
              <a:gd name="connsiteY2880" fmla="*/ 3921994 h 4687251"/>
              <a:gd name="connsiteX2881" fmla="*/ 7516730 w 8079933"/>
              <a:gd name="connsiteY2881" fmla="*/ 3927949 h 4687251"/>
              <a:gd name="connsiteX2882" fmla="*/ 7515646 w 8079933"/>
              <a:gd name="connsiteY2882" fmla="*/ 3932821 h 4687251"/>
              <a:gd name="connsiteX2883" fmla="*/ 7516730 w 8079933"/>
              <a:gd name="connsiteY2883" fmla="*/ 3935636 h 4687251"/>
              <a:gd name="connsiteX2884" fmla="*/ 7515103 w 8079933"/>
              <a:gd name="connsiteY2884" fmla="*/ 3941266 h 4687251"/>
              <a:gd name="connsiteX2885" fmla="*/ 7507506 w 8079933"/>
              <a:gd name="connsiteY2885" fmla="*/ 3946679 h 4687251"/>
              <a:gd name="connsiteX2886" fmla="*/ 7498933 w 8079933"/>
              <a:gd name="connsiteY2886" fmla="*/ 3947221 h 4687251"/>
              <a:gd name="connsiteX2887" fmla="*/ 7497197 w 8079933"/>
              <a:gd name="connsiteY2887" fmla="*/ 3949603 h 4687251"/>
              <a:gd name="connsiteX2888" fmla="*/ 7504359 w 8079933"/>
              <a:gd name="connsiteY2888" fmla="*/ 3949603 h 4687251"/>
              <a:gd name="connsiteX2889" fmla="*/ 7500019 w 8079933"/>
              <a:gd name="connsiteY2889" fmla="*/ 3951768 h 4687251"/>
              <a:gd name="connsiteX2890" fmla="*/ 7492965 w 8079933"/>
              <a:gd name="connsiteY2890" fmla="*/ 3953934 h 4687251"/>
              <a:gd name="connsiteX2891" fmla="*/ 7489384 w 8079933"/>
              <a:gd name="connsiteY2891" fmla="*/ 3961620 h 4687251"/>
              <a:gd name="connsiteX2892" fmla="*/ 7486346 w 8079933"/>
              <a:gd name="connsiteY2892" fmla="*/ 3964761 h 4687251"/>
              <a:gd name="connsiteX2893" fmla="*/ 7481245 w 8079933"/>
              <a:gd name="connsiteY2893" fmla="*/ 3972232 h 4687251"/>
              <a:gd name="connsiteX2894" fmla="*/ 7473866 w 8079933"/>
              <a:gd name="connsiteY2894" fmla="*/ 3975696 h 4687251"/>
              <a:gd name="connsiteX2895" fmla="*/ 7476904 w 8079933"/>
              <a:gd name="connsiteY2895" fmla="*/ 3978619 h 4687251"/>
              <a:gd name="connsiteX2896" fmla="*/ 7473106 w 8079933"/>
              <a:gd name="connsiteY2896" fmla="*/ 3987822 h 4687251"/>
              <a:gd name="connsiteX2897" fmla="*/ 7468983 w 8079933"/>
              <a:gd name="connsiteY2897" fmla="*/ 3989987 h 4687251"/>
              <a:gd name="connsiteX2898" fmla="*/ 7469526 w 8079933"/>
              <a:gd name="connsiteY2898" fmla="*/ 3995185 h 4687251"/>
              <a:gd name="connsiteX2899" fmla="*/ 7463774 w 8079933"/>
              <a:gd name="connsiteY2899" fmla="*/ 4000923 h 4687251"/>
              <a:gd name="connsiteX2900" fmla="*/ 7460193 w 8079933"/>
              <a:gd name="connsiteY2900" fmla="*/ 4011101 h 4687251"/>
              <a:gd name="connsiteX2901" fmla="*/ 7454333 w 8079933"/>
              <a:gd name="connsiteY2901" fmla="*/ 4018680 h 4687251"/>
              <a:gd name="connsiteX2902" fmla="*/ 7451838 w 8079933"/>
              <a:gd name="connsiteY2902" fmla="*/ 4028424 h 4687251"/>
              <a:gd name="connsiteX2903" fmla="*/ 7447822 w 8079933"/>
              <a:gd name="connsiteY2903" fmla="*/ 4029182 h 4687251"/>
              <a:gd name="connsiteX2904" fmla="*/ 7433389 w 8079933"/>
              <a:gd name="connsiteY2904" fmla="*/ 4047262 h 4687251"/>
              <a:gd name="connsiteX2905" fmla="*/ 7433715 w 8079933"/>
              <a:gd name="connsiteY2905" fmla="*/ 4051919 h 4687251"/>
              <a:gd name="connsiteX2906" fmla="*/ 7429049 w 8079933"/>
              <a:gd name="connsiteY2906" fmla="*/ 4054084 h 4687251"/>
              <a:gd name="connsiteX2907" fmla="*/ 7427421 w 8079933"/>
              <a:gd name="connsiteY2907" fmla="*/ 4063612 h 4687251"/>
              <a:gd name="connsiteX2908" fmla="*/ 7423515 w 8079933"/>
              <a:gd name="connsiteY2908" fmla="*/ 4069025 h 4687251"/>
              <a:gd name="connsiteX2909" fmla="*/ 7423515 w 8079933"/>
              <a:gd name="connsiteY2909" fmla="*/ 4083100 h 4687251"/>
              <a:gd name="connsiteX2910" fmla="*/ 7415376 w 8079933"/>
              <a:gd name="connsiteY2910" fmla="*/ 4091221 h 4687251"/>
              <a:gd name="connsiteX2911" fmla="*/ 7415592 w 8079933"/>
              <a:gd name="connsiteY2911" fmla="*/ 4096201 h 4687251"/>
              <a:gd name="connsiteX2912" fmla="*/ 7417438 w 8079933"/>
              <a:gd name="connsiteY2912" fmla="*/ 4105620 h 4687251"/>
              <a:gd name="connsiteX2913" fmla="*/ 7413206 w 8079933"/>
              <a:gd name="connsiteY2913" fmla="*/ 4114174 h 4687251"/>
              <a:gd name="connsiteX2914" fmla="*/ 7408756 w 8079933"/>
              <a:gd name="connsiteY2914" fmla="*/ 4117206 h 4687251"/>
              <a:gd name="connsiteX2915" fmla="*/ 7404415 w 8079933"/>
              <a:gd name="connsiteY2915" fmla="*/ 4117206 h 4687251"/>
              <a:gd name="connsiteX2916" fmla="*/ 7404415 w 8079933"/>
              <a:gd name="connsiteY2916" fmla="*/ 4121103 h 4687251"/>
              <a:gd name="connsiteX2917" fmla="*/ 7398230 w 8079933"/>
              <a:gd name="connsiteY2917" fmla="*/ 4124785 h 4687251"/>
              <a:gd name="connsiteX2918" fmla="*/ 7383364 w 8079933"/>
              <a:gd name="connsiteY2918" fmla="*/ 4121861 h 4687251"/>
              <a:gd name="connsiteX2919" fmla="*/ 7364915 w 8079933"/>
              <a:gd name="connsiteY2919" fmla="*/ 4125542 h 4687251"/>
              <a:gd name="connsiteX2920" fmla="*/ 7355909 w 8079933"/>
              <a:gd name="connsiteY2920" fmla="*/ 4128249 h 4687251"/>
              <a:gd name="connsiteX2921" fmla="*/ 7349723 w 8079933"/>
              <a:gd name="connsiteY2921" fmla="*/ 4128249 h 4687251"/>
              <a:gd name="connsiteX2922" fmla="*/ 7345274 w 8079933"/>
              <a:gd name="connsiteY2922" fmla="*/ 4128574 h 4687251"/>
              <a:gd name="connsiteX2923" fmla="*/ 7349398 w 8079933"/>
              <a:gd name="connsiteY2923" fmla="*/ 4129981 h 4687251"/>
              <a:gd name="connsiteX2924" fmla="*/ 7348312 w 8079933"/>
              <a:gd name="connsiteY2924" fmla="*/ 4131497 h 4687251"/>
              <a:gd name="connsiteX2925" fmla="*/ 7351025 w 8079933"/>
              <a:gd name="connsiteY2925" fmla="*/ 4129873 h 4687251"/>
              <a:gd name="connsiteX2926" fmla="*/ 7354715 w 8079933"/>
              <a:gd name="connsiteY2926" fmla="*/ 4129873 h 4687251"/>
              <a:gd name="connsiteX2927" fmla="*/ 7347770 w 8079933"/>
              <a:gd name="connsiteY2927" fmla="*/ 4135936 h 4687251"/>
              <a:gd name="connsiteX2928" fmla="*/ 7335507 w 8079933"/>
              <a:gd name="connsiteY2928" fmla="*/ 4143407 h 4687251"/>
              <a:gd name="connsiteX2929" fmla="*/ 7329539 w 8079933"/>
              <a:gd name="connsiteY2929" fmla="*/ 4151528 h 4687251"/>
              <a:gd name="connsiteX2930" fmla="*/ 7327912 w 8079933"/>
              <a:gd name="connsiteY2930" fmla="*/ 4154234 h 4687251"/>
              <a:gd name="connsiteX2931" fmla="*/ 7326392 w 8079933"/>
              <a:gd name="connsiteY2931" fmla="*/ 4151852 h 4687251"/>
              <a:gd name="connsiteX2932" fmla="*/ 7314672 w 8079933"/>
              <a:gd name="connsiteY2932" fmla="*/ 4151528 h 4687251"/>
              <a:gd name="connsiteX2933" fmla="*/ 7311742 w 8079933"/>
              <a:gd name="connsiteY2933" fmla="*/ 4154775 h 4687251"/>
              <a:gd name="connsiteX2934" fmla="*/ 7312719 w 8079933"/>
              <a:gd name="connsiteY2934" fmla="*/ 4157482 h 4687251"/>
              <a:gd name="connsiteX2935" fmla="*/ 7316517 w 8079933"/>
              <a:gd name="connsiteY2935" fmla="*/ 4154559 h 4687251"/>
              <a:gd name="connsiteX2936" fmla="*/ 7316843 w 8079933"/>
              <a:gd name="connsiteY2936" fmla="*/ 4161056 h 4687251"/>
              <a:gd name="connsiteX2937" fmla="*/ 7313370 w 8079933"/>
              <a:gd name="connsiteY2937" fmla="*/ 4167010 h 4687251"/>
              <a:gd name="connsiteX2938" fmla="*/ 7310006 w 8079933"/>
              <a:gd name="connsiteY2938" fmla="*/ 4161921 h 4687251"/>
              <a:gd name="connsiteX2939" fmla="*/ 7309572 w 8079933"/>
              <a:gd name="connsiteY2939" fmla="*/ 4157050 h 4687251"/>
              <a:gd name="connsiteX2940" fmla="*/ 7306316 w 8079933"/>
              <a:gd name="connsiteY2940" fmla="*/ 4156724 h 4687251"/>
              <a:gd name="connsiteX2941" fmla="*/ 7304038 w 8079933"/>
              <a:gd name="connsiteY2941" fmla="*/ 4158132 h 4687251"/>
              <a:gd name="connsiteX2942" fmla="*/ 7302736 w 8079933"/>
              <a:gd name="connsiteY2942" fmla="*/ 4150012 h 4687251"/>
              <a:gd name="connsiteX2943" fmla="*/ 7296441 w 8079933"/>
              <a:gd name="connsiteY2943" fmla="*/ 4142649 h 4687251"/>
              <a:gd name="connsiteX2944" fmla="*/ 7300239 w 8079933"/>
              <a:gd name="connsiteY2944" fmla="*/ 4138859 h 4687251"/>
              <a:gd name="connsiteX2945" fmla="*/ 7303170 w 8079933"/>
              <a:gd name="connsiteY2945" fmla="*/ 4138968 h 4687251"/>
              <a:gd name="connsiteX2946" fmla="*/ 7303603 w 8079933"/>
              <a:gd name="connsiteY2946" fmla="*/ 4134420 h 4687251"/>
              <a:gd name="connsiteX2947" fmla="*/ 7298721 w 8079933"/>
              <a:gd name="connsiteY2947" fmla="*/ 4131714 h 4687251"/>
              <a:gd name="connsiteX2948" fmla="*/ 7294814 w 8079933"/>
              <a:gd name="connsiteY2948" fmla="*/ 4134637 h 4687251"/>
              <a:gd name="connsiteX2949" fmla="*/ 7291341 w 8079933"/>
              <a:gd name="connsiteY2949" fmla="*/ 4138318 h 4687251"/>
              <a:gd name="connsiteX2950" fmla="*/ 7288303 w 8079933"/>
              <a:gd name="connsiteY2950" fmla="*/ 4137561 h 4687251"/>
              <a:gd name="connsiteX2951" fmla="*/ 7286132 w 8079933"/>
              <a:gd name="connsiteY2951" fmla="*/ 4133122 h 4687251"/>
              <a:gd name="connsiteX2952" fmla="*/ 7295682 w 8079933"/>
              <a:gd name="connsiteY2952" fmla="*/ 4127924 h 4687251"/>
              <a:gd name="connsiteX2953" fmla="*/ 7295899 w 8079933"/>
              <a:gd name="connsiteY2953" fmla="*/ 4122619 h 4687251"/>
              <a:gd name="connsiteX2954" fmla="*/ 7288086 w 8079933"/>
              <a:gd name="connsiteY2954" fmla="*/ 4117206 h 4687251"/>
              <a:gd name="connsiteX2955" fmla="*/ 7278753 w 8079933"/>
              <a:gd name="connsiteY2955" fmla="*/ 4123377 h 4687251"/>
              <a:gd name="connsiteX2956" fmla="*/ 7277017 w 8079933"/>
              <a:gd name="connsiteY2956" fmla="*/ 4126517 h 4687251"/>
              <a:gd name="connsiteX2957" fmla="*/ 7282226 w 8079933"/>
              <a:gd name="connsiteY2957" fmla="*/ 4128032 h 4687251"/>
              <a:gd name="connsiteX2958" fmla="*/ 7283420 w 8079933"/>
              <a:gd name="connsiteY2958" fmla="*/ 4130414 h 4687251"/>
              <a:gd name="connsiteX2959" fmla="*/ 7281466 w 8079933"/>
              <a:gd name="connsiteY2959" fmla="*/ 4132689 h 4687251"/>
              <a:gd name="connsiteX2960" fmla="*/ 7277017 w 8079933"/>
              <a:gd name="connsiteY2960" fmla="*/ 4131822 h 4687251"/>
              <a:gd name="connsiteX2961" fmla="*/ 7270832 w 8079933"/>
              <a:gd name="connsiteY2961" fmla="*/ 4137993 h 4687251"/>
              <a:gd name="connsiteX2962" fmla="*/ 7265080 w 8079933"/>
              <a:gd name="connsiteY2962" fmla="*/ 4138102 h 4687251"/>
              <a:gd name="connsiteX2963" fmla="*/ 7262258 w 8079933"/>
              <a:gd name="connsiteY2963" fmla="*/ 4142216 h 4687251"/>
              <a:gd name="connsiteX2964" fmla="*/ 7253035 w 8079933"/>
              <a:gd name="connsiteY2964" fmla="*/ 4146655 h 4687251"/>
              <a:gd name="connsiteX2965" fmla="*/ 7251407 w 8079933"/>
              <a:gd name="connsiteY2965" fmla="*/ 4149903 h 4687251"/>
              <a:gd name="connsiteX2966" fmla="*/ 7247718 w 8079933"/>
              <a:gd name="connsiteY2966" fmla="*/ 4149903 h 4687251"/>
              <a:gd name="connsiteX2967" fmla="*/ 7242942 w 8079933"/>
              <a:gd name="connsiteY2967" fmla="*/ 4144057 h 4687251"/>
              <a:gd name="connsiteX2968" fmla="*/ 7238168 w 8079933"/>
              <a:gd name="connsiteY2968" fmla="*/ 4142432 h 4687251"/>
              <a:gd name="connsiteX2969" fmla="*/ 7237517 w 8079933"/>
              <a:gd name="connsiteY2969" fmla="*/ 4137561 h 4687251"/>
              <a:gd name="connsiteX2970" fmla="*/ 7231440 w 8079933"/>
              <a:gd name="connsiteY2970" fmla="*/ 4132039 h 4687251"/>
              <a:gd name="connsiteX2971" fmla="*/ 7226014 w 8079933"/>
              <a:gd name="connsiteY2971" fmla="*/ 4131497 h 4687251"/>
              <a:gd name="connsiteX2972" fmla="*/ 7221022 w 8079933"/>
              <a:gd name="connsiteY2972" fmla="*/ 4125326 h 4687251"/>
              <a:gd name="connsiteX2973" fmla="*/ 7214837 w 8079933"/>
              <a:gd name="connsiteY2973" fmla="*/ 4123377 h 4687251"/>
              <a:gd name="connsiteX2974" fmla="*/ 7211798 w 8079933"/>
              <a:gd name="connsiteY2974" fmla="*/ 4124459 h 4687251"/>
              <a:gd name="connsiteX2975" fmla="*/ 7210713 w 8079933"/>
              <a:gd name="connsiteY2975" fmla="*/ 4126517 h 4687251"/>
              <a:gd name="connsiteX2976" fmla="*/ 7205831 w 8079933"/>
              <a:gd name="connsiteY2976" fmla="*/ 4126192 h 4687251"/>
              <a:gd name="connsiteX2977" fmla="*/ 7203660 w 8079933"/>
              <a:gd name="connsiteY2977" fmla="*/ 4120454 h 4687251"/>
              <a:gd name="connsiteX2978" fmla="*/ 7199102 w 8079933"/>
              <a:gd name="connsiteY2978" fmla="*/ 4117206 h 4687251"/>
              <a:gd name="connsiteX2979" fmla="*/ 7192591 w 8079933"/>
              <a:gd name="connsiteY2979" fmla="*/ 4115581 h 4687251"/>
              <a:gd name="connsiteX2980" fmla="*/ 7184127 w 8079933"/>
              <a:gd name="connsiteY2980" fmla="*/ 4104213 h 4687251"/>
              <a:gd name="connsiteX2981" fmla="*/ 7183042 w 8079933"/>
              <a:gd name="connsiteY2981" fmla="*/ 4096418 h 4687251"/>
              <a:gd name="connsiteX2982" fmla="*/ 7179352 w 8079933"/>
              <a:gd name="connsiteY2982" fmla="*/ 4090138 h 4687251"/>
              <a:gd name="connsiteX2983" fmla="*/ 7175228 w 8079933"/>
              <a:gd name="connsiteY2983" fmla="*/ 4086565 h 4687251"/>
              <a:gd name="connsiteX2984" fmla="*/ 7176096 w 8079933"/>
              <a:gd name="connsiteY2984" fmla="*/ 4078228 h 4687251"/>
              <a:gd name="connsiteX2985" fmla="*/ 7175120 w 8079933"/>
              <a:gd name="connsiteY2985" fmla="*/ 4075196 h 4687251"/>
              <a:gd name="connsiteX2986" fmla="*/ 7180980 w 8079933"/>
              <a:gd name="connsiteY2986" fmla="*/ 4068809 h 4687251"/>
              <a:gd name="connsiteX2987" fmla="*/ 7181956 w 8079933"/>
              <a:gd name="connsiteY2987" fmla="*/ 4057873 h 4687251"/>
              <a:gd name="connsiteX2988" fmla="*/ 7181522 w 8079933"/>
              <a:gd name="connsiteY2988" fmla="*/ 4048995 h 4687251"/>
              <a:gd name="connsiteX2989" fmla="*/ 7178484 w 8079933"/>
              <a:gd name="connsiteY2989" fmla="*/ 4041416 h 4687251"/>
              <a:gd name="connsiteX2990" fmla="*/ 7176747 w 8079933"/>
              <a:gd name="connsiteY2990" fmla="*/ 4036219 h 4687251"/>
              <a:gd name="connsiteX2991" fmla="*/ 7172515 w 8079933"/>
              <a:gd name="connsiteY2991" fmla="*/ 4030048 h 4687251"/>
              <a:gd name="connsiteX2992" fmla="*/ 7173601 w 8079933"/>
              <a:gd name="connsiteY2992" fmla="*/ 4027449 h 4687251"/>
              <a:gd name="connsiteX2993" fmla="*/ 7177941 w 8079933"/>
              <a:gd name="connsiteY2993" fmla="*/ 4027774 h 4687251"/>
              <a:gd name="connsiteX2994" fmla="*/ 7180329 w 8079933"/>
              <a:gd name="connsiteY2994" fmla="*/ 4023876 h 4687251"/>
              <a:gd name="connsiteX2995" fmla="*/ 7182716 w 8079933"/>
              <a:gd name="connsiteY2995" fmla="*/ 4019762 h 4687251"/>
              <a:gd name="connsiteX2996" fmla="*/ 7179677 w 8079933"/>
              <a:gd name="connsiteY2996" fmla="*/ 4020195 h 4687251"/>
              <a:gd name="connsiteX2997" fmla="*/ 7175663 w 8079933"/>
              <a:gd name="connsiteY2997" fmla="*/ 4019004 h 4687251"/>
              <a:gd name="connsiteX2998" fmla="*/ 7170562 w 8079933"/>
              <a:gd name="connsiteY2998" fmla="*/ 4023118 h 4687251"/>
              <a:gd name="connsiteX2999" fmla="*/ 7166439 w 8079933"/>
              <a:gd name="connsiteY2999" fmla="*/ 4024201 h 4687251"/>
              <a:gd name="connsiteX3000" fmla="*/ 7163726 w 8079933"/>
              <a:gd name="connsiteY3000" fmla="*/ 4026908 h 4687251"/>
              <a:gd name="connsiteX3001" fmla="*/ 7157540 w 8079933"/>
              <a:gd name="connsiteY3001" fmla="*/ 4026800 h 4687251"/>
              <a:gd name="connsiteX3002" fmla="*/ 7151680 w 8079933"/>
              <a:gd name="connsiteY3002" fmla="*/ 4027558 h 4687251"/>
              <a:gd name="connsiteX3003" fmla="*/ 7150269 w 8079933"/>
              <a:gd name="connsiteY3003" fmla="*/ 4024309 h 4687251"/>
              <a:gd name="connsiteX3004" fmla="*/ 7159385 w 8079933"/>
              <a:gd name="connsiteY3004" fmla="*/ 4020628 h 4687251"/>
              <a:gd name="connsiteX3005" fmla="*/ 7164593 w 8079933"/>
              <a:gd name="connsiteY3005" fmla="*/ 4010884 h 4687251"/>
              <a:gd name="connsiteX3006" fmla="*/ 7163834 w 8079933"/>
              <a:gd name="connsiteY3006" fmla="*/ 3999515 h 4687251"/>
              <a:gd name="connsiteX3007" fmla="*/ 7166004 w 8079933"/>
              <a:gd name="connsiteY3007" fmla="*/ 3998866 h 4687251"/>
              <a:gd name="connsiteX3008" fmla="*/ 7163509 w 8079933"/>
              <a:gd name="connsiteY3008" fmla="*/ 3992153 h 4687251"/>
              <a:gd name="connsiteX3009" fmla="*/ 7163292 w 8079933"/>
              <a:gd name="connsiteY3009" fmla="*/ 3980785 h 4687251"/>
              <a:gd name="connsiteX3010" fmla="*/ 7161556 w 8079933"/>
              <a:gd name="connsiteY3010" fmla="*/ 3978619 h 4687251"/>
              <a:gd name="connsiteX3011" fmla="*/ 7154828 w 8079933"/>
              <a:gd name="connsiteY3011" fmla="*/ 3985440 h 4687251"/>
              <a:gd name="connsiteX3012" fmla="*/ 7152657 w 8079933"/>
              <a:gd name="connsiteY3012" fmla="*/ 3997783 h 4687251"/>
              <a:gd name="connsiteX3013" fmla="*/ 7144736 w 8079933"/>
              <a:gd name="connsiteY3013" fmla="*/ 4011101 h 4687251"/>
              <a:gd name="connsiteX3014" fmla="*/ 7136488 w 8079933"/>
              <a:gd name="connsiteY3014" fmla="*/ 4008177 h 4687251"/>
              <a:gd name="connsiteX3015" fmla="*/ 7129652 w 8079933"/>
              <a:gd name="connsiteY3015" fmla="*/ 4011317 h 4687251"/>
              <a:gd name="connsiteX3016" fmla="*/ 7122597 w 8079933"/>
              <a:gd name="connsiteY3016" fmla="*/ 4013049 h 4687251"/>
              <a:gd name="connsiteX3017" fmla="*/ 7122597 w 8079933"/>
              <a:gd name="connsiteY3017" fmla="*/ 4011317 h 4687251"/>
              <a:gd name="connsiteX3018" fmla="*/ 7125528 w 8079933"/>
              <a:gd name="connsiteY3018" fmla="*/ 4006228 h 4687251"/>
              <a:gd name="connsiteX3019" fmla="*/ 7127807 w 8079933"/>
              <a:gd name="connsiteY3019" fmla="*/ 3999948 h 4687251"/>
              <a:gd name="connsiteX3020" fmla="*/ 7139201 w 8079933"/>
              <a:gd name="connsiteY3020" fmla="*/ 4001140 h 4687251"/>
              <a:gd name="connsiteX3021" fmla="*/ 7143433 w 8079933"/>
              <a:gd name="connsiteY3021" fmla="*/ 3989663 h 4687251"/>
              <a:gd name="connsiteX3022" fmla="*/ 7141588 w 8079933"/>
              <a:gd name="connsiteY3022" fmla="*/ 3987281 h 4687251"/>
              <a:gd name="connsiteX3023" fmla="*/ 7147340 w 8079933"/>
              <a:gd name="connsiteY3023" fmla="*/ 3979161 h 4687251"/>
              <a:gd name="connsiteX3024" fmla="*/ 7147014 w 8079933"/>
              <a:gd name="connsiteY3024" fmla="*/ 3973747 h 4687251"/>
              <a:gd name="connsiteX3025" fmla="*/ 7149944 w 8079933"/>
              <a:gd name="connsiteY3025" fmla="*/ 3969958 h 4687251"/>
              <a:gd name="connsiteX3026" fmla="*/ 7151355 w 8079933"/>
              <a:gd name="connsiteY3026" fmla="*/ 3964761 h 4687251"/>
              <a:gd name="connsiteX3027" fmla="*/ 7161338 w 8079933"/>
              <a:gd name="connsiteY3027" fmla="*/ 3958265 h 4687251"/>
              <a:gd name="connsiteX3028" fmla="*/ 7162749 w 8079933"/>
              <a:gd name="connsiteY3028" fmla="*/ 3946138 h 4687251"/>
              <a:gd name="connsiteX3029" fmla="*/ 7165679 w 8079933"/>
              <a:gd name="connsiteY3029" fmla="*/ 3942349 h 4687251"/>
              <a:gd name="connsiteX3030" fmla="*/ 7165679 w 8079933"/>
              <a:gd name="connsiteY3030" fmla="*/ 3936394 h 4687251"/>
              <a:gd name="connsiteX3031" fmla="*/ 7165462 w 8079933"/>
              <a:gd name="connsiteY3031" fmla="*/ 3930222 h 4687251"/>
              <a:gd name="connsiteX3032" fmla="*/ 7162532 w 8079933"/>
              <a:gd name="connsiteY3032" fmla="*/ 3923618 h 4687251"/>
              <a:gd name="connsiteX3033" fmla="*/ 7161556 w 8079933"/>
              <a:gd name="connsiteY3033" fmla="*/ 3929356 h 4687251"/>
              <a:gd name="connsiteX3034" fmla="*/ 7163292 w 8079933"/>
              <a:gd name="connsiteY3034" fmla="*/ 3934445 h 4687251"/>
              <a:gd name="connsiteX3035" fmla="*/ 7160579 w 8079933"/>
              <a:gd name="connsiteY3035" fmla="*/ 3938343 h 4687251"/>
              <a:gd name="connsiteX3036" fmla="*/ 7153742 w 8079933"/>
              <a:gd name="connsiteY3036" fmla="*/ 3939859 h 4687251"/>
              <a:gd name="connsiteX3037" fmla="*/ 7147340 w 8079933"/>
              <a:gd name="connsiteY3037" fmla="*/ 3949603 h 4687251"/>
              <a:gd name="connsiteX3038" fmla="*/ 7145386 w 8079933"/>
              <a:gd name="connsiteY3038" fmla="*/ 3956207 h 4687251"/>
              <a:gd name="connsiteX3039" fmla="*/ 7137464 w 8079933"/>
              <a:gd name="connsiteY3039" fmla="*/ 3959997 h 4687251"/>
              <a:gd name="connsiteX3040" fmla="*/ 7135403 w 8079933"/>
              <a:gd name="connsiteY3040" fmla="*/ 3959997 h 4687251"/>
              <a:gd name="connsiteX3041" fmla="*/ 7134426 w 8079933"/>
              <a:gd name="connsiteY3041" fmla="*/ 3963136 h 4687251"/>
              <a:gd name="connsiteX3042" fmla="*/ 7124226 w 8079933"/>
              <a:gd name="connsiteY3042" fmla="*/ 3968117 h 4687251"/>
              <a:gd name="connsiteX3043" fmla="*/ 7119885 w 8079933"/>
              <a:gd name="connsiteY3043" fmla="*/ 3973747 h 4687251"/>
              <a:gd name="connsiteX3044" fmla="*/ 7118691 w 8079933"/>
              <a:gd name="connsiteY3044" fmla="*/ 3977861 h 4687251"/>
              <a:gd name="connsiteX3045" fmla="*/ 7114459 w 8079933"/>
              <a:gd name="connsiteY3045" fmla="*/ 3979702 h 4687251"/>
              <a:gd name="connsiteX3046" fmla="*/ 7112288 w 8079933"/>
              <a:gd name="connsiteY3046" fmla="*/ 3983708 h 4687251"/>
              <a:gd name="connsiteX3047" fmla="*/ 7108490 w 8079933"/>
              <a:gd name="connsiteY3047" fmla="*/ 3984358 h 4687251"/>
              <a:gd name="connsiteX3048" fmla="*/ 7106212 w 8079933"/>
              <a:gd name="connsiteY3048" fmla="*/ 3989122 h 4687251"/>
              <a:gd name="connsiteX3049" fmla="*/ 7103391 w 8079933"/>
              <a:gd name="connsiteY3049" fmla="*/ 3991936 h 4687251"/>
              <a:gd name="connsiteX3050" fmla="*/ 7105777 w 8079933"/>
              <a:gd name="connsiteY3050" fmla="*/ 3995726 h 4687251"/>
              <a:gd name="connsiteX3051" fmla="*/ 7105560 w 8079933"/>
              <a:gd name="connsiteY3051" fmla="*/ 3999948 h 4687251"/>
              <a:gd name="connsiteX3052" fmla="*/ 7101437 w 8079933"/>
              <a:gd name="connsiteY3052" fmla="*/ 3996701 h 4687251"/>
              <a:gd name="connsiteX3053" fmla="*/ 7097422 w 8079933"/>
              <a:gd name="connsiteY3053" fmla="*/ 3998108 h 4687251"/>
              <a:gd name="connsiteX3054" fmla="*/ 7095686 w 8079933"/>
              <a:gd name="connsiteY3054" fmla="*/ 3993236 h 4687251"/>
              <a:gd name="connsiteX3055" fmla="*/ 7091996 w 8079933"/>
              <a:gd name="connsiteY3055" fmla="*/ 3991287 h 4687251"/>
              <a:gd name="connsiteX3056" fmla="*/ 7088307 w 8079933"/>
              <a:gd name="connsiteY3056" fmla="*/ 3986415 h 4687251"/>
              <a:gd name="connsiteX3057" fmla="*/ 7089717 w 8079933"/>
              <a:gd name="connsiteY3057" fmla="*/ 3984899 h 4687251"/>
              <a:gd name="connsiteX3058" fmla="*/ 7092539 w 8079933"/>
              <a:gd name="connsiteY3058" fmla="*/ 3986740 h 4687251"/>
              <a:gd name="connsiteX3059" fmla="*/ 7094600 w 8079933"/>
              <a:gd name="connsiteY3059" fmla="*/ 3983167 h 4687251"/>
              <a:gd name="connsiteX3060" fmla="*/ 7095468 w 8079933"/>
              <a:gd name="connsiteY3060" fmla="*/ 3976995 h 4687251"/>
              <a:gd name="connsiteX3061" fmla="*/ 7093298 w 8079933"/>
              <a:gd name="connsiteY3061" fmla="*/ 3974071 h 4687251"/>
              <a:gd name="connsiteX3062" fmla="*/ 7095143 w 8079933"/>
              <a:gd name="connsiteY3062" fmla="*/ 3968875 h 4687251"/>
              <a:gd name="connsiteX3063" fmla="*/ 7089934 w 8079933"/>
              <a:gd name="connsiteY3063" fmla="*/ 3957290 h 4687251"/>
              <a:gd name="connsiteX3064" fmla="*/ 7090802 w 8079933"/>
              <a:gd name="connsiteY3064" fmla="*/ 3952310 h 4687251"/>
              <a:gd name="connsiteX3065" fmla="*/ 7089175 w 8079933"/>
              <a:gd name="connsiteY3065" fmla="*/ 3945597 h 4687251"/>
              <a:gd name="connsiteX3066" fmla="*/ 7084291 w 8079933"/>
              <a:gd name="connsiteY3066" fmla="*/ 3940400 h 4687251"/>
              <a:gd name="connsiteX3067" fmla="*/ 7079951 w 8079933"/>
              <a:gd name="connsiteY3067" fmla="*/ 3939967 h 4687251"/>
              <a:gd name="connsiteX3068" fmla="*/ 7075718 w 8079933"/>
              <a:gd name="connsiteY3068" fmla="*/ 3930763 h 4687251"/>
              <a:gd name="connsiteX3069" fmla="*/ 7076695 w 8079933"/>
              <a:gd name="connsiteY3069" fmla="*/ 3927516 h 4687251"/>
              <a:gd name="connsiteX3070" fmla="*/ 7080711 w 8079933"/>
              <a:gd name="connsiteY3070" fmla="*/ 3927516 h 4687251"/>
              <a:gd name="connsiteX3071" fmla="*/ 7082121 w 8079933"/>
              <a:gd name="connsiteY3071" fmla="*/ 3924159 h 4687251"/>
              <a:gd name="connsiteX3072" fmla="*/ 7078431 w 8079933"/>
              <a:gd name="connsiteY3072" fmla="*/ 3920370 h 4687251"/>
              <a:gd name="connsiteX3073" fmla="*/ 7075285 w 8079933"/>
              <a:gd name="connsiteY3073" fmla="*/ 3920153 h 4687251"/>
              <a:gd name="connsiteX3074" fmla="*/ 7076153 w 8079933"/>
              <a:gd name="connsiteY3074" fmla="*/ 3915606 h 4687251"/>
              <a:gd name="connsiteX3075" fmla="*/ 7065627 w 8079933"/>
              <a:gd name="connsiteY3075" fmla="*/ 3908243 h 4687251"/>
              <a:gd name="connsiteX3076" fmla="*/ 7063131 w 8079933"/>
              <a:gd name="connsiteY3076" fmla="*/ 3909867 h 4687251"/>
              <a:gd name="connsiteX3077" fmla="*/ 7056945 w 8079933"/>
              <a:gd name="connsiteY3077" fmla="*/ 3908784 h 4687251"/>
              <a:gd name="connsiteX3078" fmla="*/ 7052496 w 8079933"/>
              <a:gd name="connsiteY3078" fmla="*/ 3902829 h 4687251"/>
              <a:gd name="connsiteX3079" fmla="*/ 7047395 w 8079933"/>
              <a:gd name="connsiteY3079" fmla="*/ 3901531 h 4687251"/>
              <a:gd name="connsiteX3080" fmla="*/ 7044682 w 8079933"/>
              <a:gd name="connsiteY3080" fmla="*/ 3902829 h 4687251"/>
              <a:gd name="connsiteX3081" fmla="*/ 7042512 w 8079933"/>
              <a:gd name="connsiteY3081" fmla="*/ 3900448 h 4687251"/>
              <a:gd name="connsiteX3082" fmla="*/ 7039583 w 8079933"/>
              <a:gd name="connsiteY3082" fmla="*/ 3901531 h 4687251"/>
              <a:gd name="connsiteX3083" fmla="*/ 7036544 w 8079933"/>
              <a:gd name="connsiteY3083" fmla="*/ 3904129 h 4687251"/>
              <a:gd name="connsiteX3084" fmla="*/ 7032204 w 8079933"/>
              <a:gd name="connsiteY3084" fmla="*/ 3902614 h 4687251"/>
              <a:gd name="connsiteX3085" fmla="*/ 7026561 w 8079933"/>
              <a:gd name="connsiteY3085" fmla="*/ 3893086 h 4687251"/>
              <a:gd name="connsiteX3086" fmla="*/ 7019398 w 8079933"/>
              <a:gd name="connsiteY3086" fmla="*/ 3886264 h 4687251"/>
              <a:gd name="connsiteX3087" fmla="*/ 7013538 w 8079933"/>
              <a:gd name="connsiteY3087" fmla="*/ 3885507 h 4687251"/>
              <a:gd name="connsiteX3088" fmla="*/ 7006268 w 8079933"/>
              <a:gd name="connsiteY3088" fmla="*/ 3887997 h 4687251"/>
              <a:gd name="connsiteX3089" fmla="*/ 7000516 w 8079933"/>
              <a:gd name="connsiteY3089" fmla="*/ 3887888 h 4687251"/>
              <a:gd name="connsiteX3090" fmla="*/ 6992052 w 8079933"/>
              <a:gd name="connsiteY3090" fmla="*/ 3885507 h 4687251"/>
              <a:gd name="connsiteX3091" fmla="*/ 6965791 w 8079933"/>
              <a:gd name="connsiteY3091" fmla="*/ 3887455 h 4687251"/>
              <a:gd name="connsiteX3092" fmla="*/ 6955916 w 8079933"/>
              <a:gd name="connsiteY3092" fmla="*/ 3888213 h 4687251"/>
              <a:gd name="connsiteX3093" fmla="*/ 6949189 w 8079933"/>
              <a:gd name="connsiteY3093" fmla="*/ 3893086 h 4687251"/>
              <a:gd name="connsiteX3094" fmla="*/ 6945499 w 8079933"/>
              <a:gd name="connsiteY3094" fmla="*/ 3893086 h 4687251"/>
              <a:gd name="connsiteX3095" fmla="*/ 6939748 w 8079933"/>
              <a:gd name="connsiteY3095" fmla="*/ 3897200 h 4687251"/>
              <a:gd name="connsiteX3096" fmla="*/ 6931934 w 8079933"/>
              <a:gd name="connsiteY3096" fmla="*/ 3899040 h 4687251"/>
              <a:gd name="connsiteX3097" fmla="*/ 6918804 w 8079933"/>
              <a:gd name="connsiteY3097" fmla="*/ 3903696 h 4687251"/>
              <a:gd name="connsiteX3098" fmla="*/ 6909254 w 8079933"/>
              <a:gd name="connsiteY3098" fmla="*/ 3903155 h 4687251"/>
              <a:gd name="connsiteX3099" fmla="*/ 6904697 w 8079933"/>
              <a:gd name="connsiteY3099" fmla="*/ 3904778 h 4687251"/>
              <a:gd name="connsiteX3100" fmla="*/ 6898185 w 8079933"/>
              <a:gd name="connsiteY3100" fmla="*/ 3904454 h 4687251"/>
              <a:gd name="connsiteX3101" fmla="*/ 6891132 w 8079933"/>
              <a:gd name="connsiteY3101" fmla="*/ 3901422 h 4687251"/>
              <a:gd name="connsiteX3102" fmla="*/ 6886900 w 8079933"/>
              <a:gd name="connsiteY3102" fmla="*/ 3901531 h 4687251"/>
              <a:gd name="connsiteX3103" fmla="*/ 6883536 w 8079933"/>
              <a:gd name="connsiteY3103" fmla="*/ 3901422 h 4687251"/>
              <a:gd name="connsiteX3104" fmla="*/ 6879955 w 8079933"/>
              <a:gd name="connsiteY3104" fmla="*/ 3902829 h 4687251"/>
              <a:gd name="connsiteX3105" fmla="*/ 6872142 w 8079933"/>
              <a:gd name="connsiteY3105" fmla="*/ 3910084 h 4687251"/>
              <a:gd name="connsiteX3106" fmla="*/ 6859445 w 8079933"/>
              <a:gd name="connsiteY3106" fmla="*/ 3917771 h 4687251"/>
              <a:gd name="connsiteX3107" fmla="*/ 6849570 w 8079933"/>
              <a:gd name="connsiteY3107" fmla="*/ 3921236 h 4687251"/>
              <a:gd name="connsiteX3108" fmla="*/ 6846966 w 8079933"/>
              <a:gd name="connsiteY3108" fmla="*/ 3919612 h 4687251"/>
              <a:gd name="connsiteX3109" fmla="*/ 6840129 w 8079933"/>
              <a:gd name="connsiteY3109" fmla="*/ 3921561 h 4687251"/>
              <a:gd name="connsiteX3110" fmla="*/ 6834269 w 8079933"/>
              <a:gd name="connsiteY3110" fmla="*/ 3926108 h 4687251"/>
              <a:gd name="connsiteX3111" fmla="*/ 6831448 w 8079933"/>
              <a:gd name="connsiteY3111" fmla="*/ 3934553 h 4687251"/>
              <a:gd name="connsiteX3112" fmla="*/ 6826348 w 8079933"/>
              <a:gd name="connsiteY3112" fmla="*/ 3939641 h 4687251"/>
              <a:gd name="connsiteX3113" fmla="*/ 6823960 w 8079933"/>
              <a:gd name="connsiteY3113" fmla="*/ 3940400 h 4687251"/>
              <a:gd name="connsiteX3114" fmla="*/ 6821681 w 8079933"/>
              <a:gd name="connsiteY3114" fmla="*/ 3946138 h 4687251"/>
              <a:gd name="connsiteX3115" fmla="*/ 6815387 w 8079933"/>
              <a:gd name="connsiteY3115" fmla="*/ 3950469 h 4687251"/>
              <a:gd name="connsiteX3116" fmla="*/ 6810070 w 8079933"/>
              <a:gd name="connsiteY3116" fmla="*/ 3949061 h 4687251"/>
              <a:gd name="connsiteX3117" fmla="*/ 6804861 w 8079933"/>
              <a:gd name="connsiteY3117" fmla="*/ 3954042 h 4687251"/>
              <a:gd name="connsiteX3118" fmla="*/ 6803233 w 8079933"/>
              <a:gd name="connsiteY3118" fmla="*/ 3953393 h 4687251"/>
              <a:gd name="connsiteX3119" fmla="*/ 6803776 w 8079933"/>
              <a:gd name="connsiteY3119" fmla="*/ 3949386 h 4687251"/>
              <a:gd name="connsiteX3120" fmla="*/ 6794335 w 8079933"/>
              <a:gd name="connsiteY3120" fmla="*/ 3949386 h 4687251"/>
              <a:gd name="connsiteX3121" fmla="*/ 6790537 w 8079933"/>
              <a:gd name="connsiteY3121" fmla="*/ 3951877 h 4687251"/>
              <a:gd name="connsiteX3122" fmla="*/ 6788366 w 8079933"/>
              <a:gd name="connsiteY3122" fmla="*/ 3949386 h 4687251"/>
              <a:gd name="connsiteX3123" fmla="*/ 6784568 w 8079933"/>
              <a:gd name="connsiteY3123" fmla="*/ 3951335 h 4687251"/>
              <a:gd name="connsiteX3124" fmla="*/ 6781747 w 8079933"/>
              <a:gd name="connsiteY3124" fmla="*/ 3951335 h 4687251"/>
              <a:gd name="connsiteX3125" fmla="*/ 6779902 w 8079933"/>
              <a:gd name="connsiteY3125" fmla="*/ 3946355 h 4687251"/>
              <a:gd name="connsiteX3126" fmla="*/ 6775019 w 8079933"/>
              <a:gd name="connsiteY3126" fmla="*/ 3948087 h 4687251"/>
              <a:gd name="connsiteX3127" fmla="*/ 6771220 w 8079933"/>
              <a:gd name="connsiteY3127" fmla="*/ 3947762 h 4687251"/>
              <a:gd name="connsiteX3128" fmla="*/ 6768834 w 8079933"/>
              <a:gd name="connsiteY3128" fmla="*/ 3946138 h 4687251"/>
              <a:gd name="connsiteX3129" fmla="*/ 6760695 w 8079933"/>
              <a:gd name="connsiteY3129" fmla="*/ 3947979 h 4687251"/>
              <a:gd name="connsiteX3130" fmla="*/ 6759067 w 8079933"/>
              <a:gd name="connsiteY3130" fmla="*/ 3945380 h 4687251"/>
              <a:gd name="connsiteX3131" fmla="*/ 6746480 w 8079933"/>
              <a:gd name="connsiteY3131" fmla="*/ 3948087 h 4687251"/>
              <a:gd name="connsiteX3132" fmla="*/ 6742138 w 8079933"/>
              <a:gd name="connsiteY3132" fmla="*/ 3951010 h 4687251"/>
              <a:gd name="connsiteX3133" fmla="*/ 6738883 w 8079933"/>
              <a:gd name="connsiteY3133" fmla="*/ 3949061 h 4687251"/>
              <a:gd name="connsiteX3134" fmla="*/ 6733783 w 8079933"/>
              <a:gd name="connsiteY3134" fmla="*/ 3948304 h 4687251"/>
              <a:gd name="connsiteX3135" fmla="*/ 6720543 w 8079933"/>
              <a:gd name="connsiteY3135" fmla="*/ 3956424 h 4687251"/>
              <a:gd name="connsiteX3136" fmla="*/ 6719350 w 8079933"/>
              <a:gd name="connsiteY3136" fmla="*/ 3962162 h 4687251"/>
              <a:gd name="connsiteX3137" fmla="*/ 6716962 w 8079933"/>
              <a:gd name="connsiteY3137" fmla="*/ 3963461 h 4687251"/>
              <a:gd name="connsiteX3138" fmla="*/ 6715009 w 8079933"/>
              <a:gd name="connsiteY3138" fmla="*/ 3962595 h 4687251"/>
              <a:gd name="connsiteX3139" fmla="*/ 6711211 w 8079933"/>
              <a:gd name="connsiteY3139" fmla="*/ 3967792 h 4687251"/>
              <a:gd name="connsiteX3140" fmla="*/ 6707521 w 8079933"/>
              <a:gd name="connsiteY3140" fmla="*/ 3964002 h 4687251"/>
              <a:gd name="connsiteX3141" fmla="*/ 6703941 w 8079933"/>
              <a:gd name="connsiteY3141" fmla="*/ 3964002 h 4687251"/>
              <a:gd name="connsiteX3142" fmla="*/ 6699383 w 8079933"/>
              <a:gd name="connsiteY3142" fmla="*/ 3966493 h 4687251"/>
              <a:gd name="connsiteX3143" fmla="*/ 6699383 w 8079933"/>
              <a:gd name="connsiteY3143" fmla="*/ 3970716 h 4687251"/>
              <a:gd name="connsiteX3144" fmla="*/ 6692330 w 8079933"/>
              <a:gd name="connsiteY3144" fmla="*/ 3969741 h 4687251"/>
              <a:gd name="connsiteX3145" fmla="*/ 6688422 w 8079933"/>
              <a:gd name="connsiteY3145" fmla="*/ 3975696 h 4687251"/>
              <a:gd name="connsiteX3146" fmla="*/ 6684733 w 8079933"/>
              <a:gd name="connsiteY3146" fmla="*/ 3976453 h 4687251"/>
              <a:gd name="connsiteX3147" fmla="*/ 6684082 w 8079933"/>
              <a:gd name="connsiteY3147" fmla="*/ 3979377 h 4687251"/>
              <a:gd name="connsiteX3148" fmla="*/ 6678114 w 8079933"/>
              <a:gd name="connsiteY3148" fmla="*/ 3979918 h 4687251"/>
              <a:gd name="connsiteX3149" fmla="*/ 6671169 w 8079933"/>
              <a:gd name="connsiteY3149" fmla="*/ 3981109 h 4687251"/>
              <a:gd name="connsiteX3150" fmla="*/ 6669758 w 8079933"/>
              <a:gd name="connsiteY3150" fmla="*/ 3980026 h 4687251"/>
              <a:gd name="connsiteX3151" fmla="*/ 6667045 w 8079933"/>
              <a:gd name="connsiteY3151" fmla="*/ 3982192 h 4687251"/>
              <a:gd name="connsiteX3152" fmla="*/ 6665417 w 8079933"/>
              <a:gd name="connsiteY3152" fmla="*/ 3978836 h 4687251"/>
              <a:gd name="connsiteX3153" fmla="*/ 6659231 w 8079933"/>
              <a:gd name="connsiteY3153" fmla="*/ 3980026 h 4687251"/>
              <a:gd name="connsiteX3154" fmla="*/ 6654023 w 8079933"/>
              <a:gd name="connsiteY3154" fmla="*/ 3979377 h 4687251"/>
              <a:gd name="connsiteX3155" fmla="*/ 6652612 w 8079933"/>
              <a:gd name="connsiteY3155" fmla="*/ 3977320 h 4687251"/>
              <a:gd name="connsiteX3156" fmla="*/ 6649899 w 8079933"/>
              <a:gd name="connsiteY3156" fmla="*/ 3977861 h 4687251"/>
              <a:gd name="connsiteX3157" fmla="*/ 6642954 w 8079933"/>
              <a:gd name="connsiteY3157" fmla="*/ 3976779 h 4687251"/>
              <a:gd name="connsiteX3158" fmla="*/ 6640675 w 8079933"/>
              <a:gd name="connsiteY3158" fmla="*/ 3973964 h 4687251"/>
              <a:gd name="connsiteX3159" fmla="*/ 6635358 w 8079933"/>
              <a:gd name="connsiteY3159" fmla="*/ 3972989 h 4687251"/>
              <a:gd name="connsiteX3160" fmla="*/ 6633622 w 8079933"/>
              <a:gd name="connsiteY3160" fmla="*/ 3970824 h 4687251"/>
              <a:gd name="connsiteX3161" fmla="*/ 6633731 w 8079933"/>
              <a:gd name="connsiteY3161" fmla="*/ 3967034 h 4687251"/>
              <a:gd name="connsiteX3162" fmla="*/ 6623638 w 8079933"/>
              <a:gd name="connsiteY3162" fmla="*/ 3956749 h 4687251"/>
              <a:gd name="connsiteX3163" fmla="*/ 6619948 w 8079933"/>
              <a:gd name="connsiteY3163" fmla="*/ 3956640 h 4687251"/>
              <a:gd name="connsiteX3164" fmla="*/ 6616802 w 8079933"/>
              <a:gd name="connsiteY3164" fmla="*/ 3953717 h 4687251"/>
              <a:gd name="connsiteX3165" fmla="*/ 6616368 w 8079933"/>
              <a:gd name="connsiteY3165" fmla="*/ 3938884 h 4687251"/>
              <a:gd name="connsiteX3166" fmla="*/ 6622337 w 8079933"/>
              <a:gd name="connsiteY3166" fmla="*/ 3929898 h 4687251"/>
              <a:gd name="connsiteX3167" fmla="*/ 6625809 w 8079933"/>
              <a:gd name="connsiteY3167" fmla="*/ 3932929 h 4687251"/>
              <a:gd name="connsiteX3168" fmla="*/ 6633622 w 8079933"/>
              <a:gd name="connsiteY3168" fmla="*/ 3926974 h 4687251"/>
              <a:gd name="connsiteX3169" fmla="*/ 6632646 w 8079933"/>
              <a:gd name="connsiteY3169" fmla="*/ 3920802 h 4687251"/>
              <a:gd name="connsiteX3170" fmla="*/ 6636877 w 8079933"/>
              <a:gd name="connsiteY3170" fmla="*/ 3917771 h 4687251"/>
              <a:gd name="connsiteX3171" fmla="*/ 6638071 w 8079933"/>
              <a:gd name="connsiteY3171" fmla="*/ 3911492 h 4687251"/>
              <a:gd name="connsiteX3172" fmla="*/ 6636877 w 8079933"/>
              <a:gd name="connsiteY3172" fmla="*/ 3908460 h 4687251"/>
              <a:gd name="connsiteX3173" fmla="*/ 6641001 w 8079933"/>
              <a:gd name="connsiteY3173" fmla="*/ 3904671 h 4687251"/>
              <a:gd name="connsiteX3174" fmla="*/ 6641869 w 8079933"/>
              <a:gd name="connsiteY3174" fmla="*/ 3894168 h 4687251"/>
              <a:gd name="connsiteX3175" fmla="*/ 6643497 w 8079933"/>
              <a:gd name="connsiteY3175" fmla="*/ 3887888 h 4687251"/>
              <a:gd name="connsiteX3176" fmla="*/ 6641218 w 8079933"/>
              <a:gd name="connsiteY3176" fmla="*/ 3885290 h 4687251"/>
              <a:gd name="connsiteX3177" fmla="*/ 6645667 w 8079933"/>
              <a:gd name="connsiteY3177" fmla="*/ 3882042 h 4687251"/>
              <a:gd name="connsiteX3178" fmla="*/ 6645559 w 8079933"/>
              <a:gd name="connsiteY3178" fmla="*/ 3876303 h 4687251"/>
              <a:gd name="connsiteX3179" fmla="*/ 6640458 w 8079933"/>
              <a:gd name="connsiteY3179" fmla="*/ 3864610 h 4687251"/>
              <a:gd name="connsiteX3180" fmla="*/ 6640675 w 8079933"/>
              <a:gd name="connsiteY3180" fmla="*/ 3856274 h 4687251"/>
              <a:gd name="connsiteX3181" fmla="*/ 6638071 w 8079933"/>
              <a:gd name="connsiteY3181" fmla="*/ 3848911 h 4687251"/>
              <a:gd name="connsiteX3182" fmla="*/ 6639156 w 8079933"/>
              <a:gd name="connsiteY3182" fmla="*/ 3845230 h 4687251"/>
              <a:gd name="connsiteX3183" fmla="*/ 6638505 w 8079933"/>
              <a:gd name="connsiteY3183" fmla="*/ 3818595 h 4687251"/>
              <a:gd name="connsiteX3184" fmla="*/ 6641001 w 8079933"/>
              <a:gd name="connsiteY3184" fmla="*/ 3812207 h 4687251"/>
              <a:gd name="connsiteX3185" fmla="*/ 6633731 w 8079933"/>
              <a:gd name="connsiteY3185" fmla="*/ 3794343 h 4687251"/>
              <a:gd name="connsiteX3186" fmla="*/ 6631235 w 8079933"/>
              <a:gd name="connsiteY3186" fmla="*/ 3780809 h 4687251"/>
              <a:gd name="connsiteX3187" fmla="*/ 6627762 w 8079933"/>
              <a:gd name="connsiteY3187" fmla="*/ 3776369 h 4687251"/>
              <a:gd name="connsiteX3188" fmla="*/ 6628739 w 8079933"/>
              <a:gd name="connsiteY3188" fmla="*/ 3752117 h 4687251"/>
              <a:gd name="connsiteX3189" fmla="*/ 6623855 w 8079933"/>
              <a:gd name="connsiteY3189" fmla="*/ 3738583 h 4687251"/>
              <a:gd name="connsiteX3190" fmla="*/ 6615499 w 8079933"/>
              <a:gd name="connsiteY3190" fmla="*/ 3728298 h 4687251"/>
              <a:gd name="connsiteX3191" fmla="*/ 6611376 w 8079933"/>
              <a:gd name="connsiteY3191" fmla="*/ 3720394 h 4687251"/>
              <a:gd name="connsiteX3192" fmla="*/ 6614089 w 8079933"/>
              <a:gd name="connsiteY3192" fmla="*/ 3718986 h 4687251"/>
              <a:gd name="connsiteX3193" fmla="*/ 6616259 w 8079933"/>
              <a:gd name="connsiteY3193" fmla="*/ 3715305 h 4687251"/>
              <a:gd name="connsiteX3194" fmla="*/ 6617453 w 8079933"/>
              <a:gd name="connsiteY3194" fmla="*/ 3723859 h 4687251"/>
              <a:gd name="connsiteX3195" fmla="*/ 6622878 w 8079933"/>
              <a:gd name="connsiteY3195" fmla="*/ 3731004 h 4687251"/>
              <a:gd name="connsiteX3196" fmla="*/ 6629607 w 8079933"/>
              <a:gd name="connsiteY3196" fmla="*/ 3729921 h 4687251"/>
              <a:gd name="connsiteX3197" fmla="*/ 6625049 w 8079933"/>
              <a:gd name="connsiteY3197" fmla="*/ 3720935 h 4687251"/>
              <a:gd name="connsiteX3198" fmla="*/ 6618538 w 8079933"/>
              <a:gd name="connsiteY3198" fmla="*/ 3714439 h 4687251"/>
              <a:gd name="connsiteX3199" fmla="*/ 6617453 w 8079933"/>
              <a:gd name="connsiteY3199" fmla="*/ 3703937 h 4687251"/>
              <a:gd name="connsiteX3200" fmla="*/ 6620600 w 8079933"/>
              <a:gd name="connsiteY3200" fmla="*/ 3698740 h 4687251"/>
              <a:gd name="connsiteX3201" fmla="*/ 6625483 w 8079933"/>
              <a:gd name="connsiteY3201" fmla="*/ 3709242 h 4687251"/>
              <a:gd name="connsiteX3202" fmla="*/ 6625049 w 8079933"/>
              <a:gd name="connsiteY3202" fmla="*/ 3716821 h 4687251"/>
              <a:gd name="connsiteX3203" fmla="*/ 6626569 w 8079933"/>
              <a:gd name="connsiteY3203" fmla="*/ 3718445 h 4687251"/>
              <a:gd name="connsiteX3204" fmla="*/ 6629607 w 8079933"/>
              <a:gd name="connsiteY3204" fmla="*/ 3713897 h 4687251"/>
              <a:gd name="connsiteX3205" fmla="*/ 6629933 w 8079933"/>
              <a:gd name="connsiteY3205" fmla="*/ 3722235 h 4687251"/>
              <a:gd name="connsiteX3206" fmla="*/ 6632102 w 8079933"/>
              <a:gd name="connsiteY3206" fmla="*/ 3726024 h 4687251"/>
              <a:gd name="connsiteX3207" fmla="*/ 6637203 w 8079933"/>
              <a:gd name="connsiteY3207" fmla="*/ 3723967 h 4687251"/>
              <a:gd name="connsiteX3208" fmla="*/ 6635358 w 8079933"/>
              <a:gd name="connsiteY3208" fmla="*/ 3717687 h 4687251"/>
              <a:gd name="connsiteX3209" fmla="*/ 6638505 w 8079933"/>
              <a:gd name="connsiteY3209" fmla="*/ 3710649 h 4687251"/>
              <a:gd name="connsiteX3210" fmla="*/ 6635032 w 8079933"/>
              <a:gd name="connsiteY3210" fmla="*/ 3706643 h 4687251"/>
              <a:gd name="connsiteX3211" fmla="*/ 6634708 w 8079933"/>
              <a:gd name="connsiteY3211" fmla="*/ 3701230 h 4687251"/>
              <a:gd name="connsiteX3212" fmla="*/ 6626351 w 8079933"/>
              <a:gd name="connsiteY3212" fmla="*/ 3687154 h 4687251"/>
              <a:gd name="connsiteX3213" fmla="*/ 6627653 w 8079933"/>
              <a:gd name="connsiteY3213" fmla="*/ 3675786 h 4687251"/>
              <a:gd name="connsiteX3214" fmla="*/ 6625049 w 8079933"/>
              <a:gd name="connsiteY3214" fmla="*/ 3667666 h 4687251"/>
              <a:gd name="connsiteX3215" fmla="*/ 6628739 w 8079933"/>
              <a:gd name="connsiteY3215" fmla="*/ 3651967 h 4687251"/>
              <a:gd name="connsiteX3216" fmla="*/ 6637962 w 8079933"/>
              <a:gd name="connsiteY3216" fmla="*/ 3640490 h 4687251"/>
              <a:gd name="connsiteX3217" fmla="*/ 6637528 w 8079933"/>
              <a:gd name="connsiteY3217" fmla="*/ 3629446 h 4687251"/>
              <a:gd name="connsiteX3218" fmla="*/ 6640133 w 8079933"/>
              <a:gd name="connsiteY3218" fmla="*/ 3623492 h 4687251"/>
              <a:gd name="connsiteX3219" fmla="*/ 6636444 w 8079933"/>
              <a:gd name="connsiteY3219" fmla="*/ 3616238 h 4687251"/>
              <a:gd name="connsiteX3220" fmla="*/ 6641869 w 8079933"/>
              <a:gd name="connsiteY3220" fmla="*/ 3605951 h 4687251"/>
              <a:gd name="connsiteX3221" fmla="*/ 6643714 w 8079933"/>
              <a:gd name="connsiteY3221" fmla="*/ 3598914 h 4687251"/>
              <a:gd name="connsiteX3222" fmla="*/ 6651310 w 8079933"/>
              <a:gd name="connsiteY3222" fmla="*/ 3593176 h 4687251"/>
              <a:gd name="connsiteX3223" fmla="*/ 6651528 w 8079933"/>
              <a:gd name="connsiteY3223" fmla="*/ 3597506 h 4687251"/>
              <a:gd name="connsiteX3224" fmla="*/ 6648923 w 8079933"/>
              <a:gd name="connsiteY3224" fmla="*/ 3603461 h 4687251"/>
              <a:gd name="connsiteX3225" fmla="*/ 6649683 w 8079933"/>
              <a:gd name="connsiteY3225" fmla="*/ 3607251 h 4687251"/>
              <a:gd name="connsiteX3226" fmla="*/ 6647838 w 8079933"/>
              <a:gd name="connsiteY3226" fmla="*/ 3609958 h 4687251"/>
              <a:gd name="connsiteX3227" fmla="*/ 6651636 w 8079933"/>
              <a:gd name="connsiteY3227" fmla="*/ 3612448 h 4687251"/>
              <a:gd name="connsiteX3228" fmla="*/ 6657062 w 8079933"/>
              <a:gd name="connsiteY3228" fmla="*/ 3607792 h 4687251"/>
              <a:gd name="connsiteX3229" fmla="*/ 6657278 w 8079933"/>
              <a:gd name="connsiteY3229" fmla="*/ 3600214 h 4687251"/>
              <a:gd name="connsiteX3230" fmla="*/ 6663247 w 8079933"/>
              <a:gd name="connsiteY3230" fmla="*/ 3591877 h 4687251"/>
              <a:gd name="connsiteX3231" fmla="*/ 6676812 w 8079933"/>
              <a:gd name="connsiteY3231" fmla="*/ 3587762 h 4687251"/>
              <a:gd name="connsiteX3232" fmla="*/ 6687121 w 8079933"/>
              <a:gd name="connsiteY3232" fmla="*/ 3582890 h 4687251"/>
              <a:gd name="connsiteX3233" fmla="*/ 6695043 w 8079933"/>
              <a:gd name="connsiteY3233" fmla="*/ 3575853 h 4687251"/>
              <a:gd name="connsiteX3234" fmla="*/ 6697756 w 8079933"/>
              <a:gd name="connsiteY3234" fmla="*/ 3575853 h 4687251"/>
              <a:gd name="connsiteX3235" fmla="*/ 6698623 w 8079933"/>
              <a:gd name="connsiteY3235" fmla="*/ 3573687 h 4687251"/>
              <a:gd name="connsiteX3236" fmla="*/ 6708824 w 8079933"/>
              <a:gd name="connsiteY3236" fmla="*/ 3571847 h 4687251"/>
              <a:gd name="connsiteX3237" fmla="*/ 6712622 w 8079933"/>
              <a:gd name="connsiteY3237" fmla="*/ 3566108 h 4687251"/>
              <a:gd name="connsiteX3238" fmla="*/ 6716637 w 8079933"/>
              <a:gd name="connsiteY3238" fmla="*/ 3564159 h 4687251"/>
              <a:gd name="connsiteX3239" fmla="*/ 6718048 w 8079933"/>
              <a:gd name="connsiteY3239" fmla="*/ 3566866 h 4687251"/>
              <a:gd name="connsiteX3240" fmla="*/ 6721846 w 8079933"/>
              <a:gd name="connsiteY3240" fmla="*/ 3566433 h 4687251"/>
              <a:gd name="connsiteX3241" fmla="*/ 6725861 w 8079933"/>
              <a:gd name="connsiteY3241" fmla="*/ 3568057 h 4687251"/>
              <a:gd name="connsiteX3242" fmla="*/ 6733240 w 8079933"/>
              <a:gd name="connsiteY3242" fmla="*/ 3568057 h 4687251"/>
              <a:gd name="connsiteX3243" fmla="*/ 6743007 w 8079933"/>
              <a:gd name="connsiteY3243" fmla="*/ 3564159 h 4687251"/>
              <a:gd name="connsiteX3244" fmla="*/ 6744309 w 8079933"/>
              <a:gd name="connsiteY3244" fmla="*/ 3559937 h 4687251"/>
              <a:gd name="connsiteX3245" fmla="*/ 6748216 w 8079933"/>
              <a:gd name="connsiteY3245" fmla="*/ 3557663 h 4687251"/>
              <a:gd name="connsiteX3246" fmla="*/ 6763733 w 8079933"/>
              <a:gd name="connsiteY3246" fmla="*/ 3558204 h 4687251"/>
              <a:gd name="connsiteX3247" fmla="*/ 6768725 w 8079933"/>
              <a:gd name="connsiteY3247" fmla="*/ 3555823 h 4687251"/>
              <a:gd name="connsiteX3248" fmla="*/ 6769593 w 8079933"/>
              <a:gd name="connsiteY3248" fmla="*/ 3551492 h 4687251"/>
              <a:gd name="connsiteX3249" fmla="*/ 6776972 w 8079933"/>
              <a:gd name="connsiteY3249" fmla="*/ 3548568 h 4687251"/>
              <a:gd name="connsiteX3250" fmla="*/ 6782832 w 8079933"/>
              <a:gd name="connsiteY3250" fmla="*/ 3550084 h 4687251"/>
              <a:gd name="connsiteX3251" fmla="*/ 6788584 w 8079933"/>
              <a:gd name="connsiteY3251" fmla="*/ 3548568 h 4687251"/>
              <a:gd name="connsiteX3252" fmla="*/ 6795854 w 8079933"/>
              <a:gd name="connsiteY3252" fmla="*/ 3548027 h 4687251"/>
              <a:gd name="connsiteX3253" fmla="*/ 6800738 w 8079933"/>
              <a:gd name="connsiteY3253" fmla="*/ 3546295 h 4687251"/>
              <a:gd name="connsiteX3254" fmla="*/ 6813217 w 8079933"/>
              <a:gd name="connsiteY3254" fmla="*/ 3545212 h 4687251"/>
              <a:gd name="connsiteX3255" fmla="*/ 6827432 w 8079933"/>
              <a:gd name="connsiteY3255" fmla="*/ 3536658 h 4687251"/>
              <a:gd name="connsiteX3256" fmla="*/ 6834920 w 8079933"/>
              <a:gd name="connsiteY3256" fmla="*/ 3526373 h 4687251"/>
              <a:gd name="connsiteX3257" fmla="*/ 6837959 w 8079933"/>
              <a:gd name="connsiteY3257" fmla="*/ 3523558 h 4687251"/>
              <a:gd name="connsiteX3258" fmla="*/ 6837741 w 8079933"/>
              <a:gd name="connsiteY3258" fmla="*/ 3517386 h 4687251"/>
              <a:gd name="connsiteX3259" fmla="*/ 6843385 w 8079933"/>
              <a:gd name="connsiteY3259" fmla="*/ 3513813 h 4687251"/>
              <a:gd name="connsiteX3260" fmla="*/ 6842842 w 8079933"/>
              <a:gd name="connsiteY3260" fmla="*/ 3511107 h 4687251"/>
              <a:gd name="connsiteX3261" fmla="*/ 6849353 w 8079933"/>
              <a:gd name="connsiteY3261" fmla="*/ 3509266 h 4687251"/>
              <a:gd name="connsiteX3262" fmla="*/ 6851848 w 8079933"/>
              <a:gd name="connsiteY3262" fmla="*/ 3504611 h 4687251"/>
              <a:gd name="connsiteX3263" fmla="*/ 6856190 w 8079933"/>
              <a:gd name="connsiteY3263" fmla="*/ 3502229 h 4687251"/>
              <a:gd name="connsiteX3264" fmla="*/ 6856190 w 8079933"/>
              <a:gd name="connsiteY3264" fmla="*/ 3497897 h 4687251"/>
              <a:gd name="connsiteX3265" fmla="*/ 6853910 w 8079933"/>
              <a:gd name="connsiteY3265" fmla="*/ 3496707 h 4687251"/>
              <a:gd name="connsiteX3266" fmla="*/ 6853910 w 8079933"/>
              <a:gd name="connsiteY3266" fmla="*/ 3484256 h 4687251"/>
              <a:gd name="connsiteX3267" fmla="*/ 6852934 w 8079933"/>
              <a:gd name="connsiteY3267" fmla="*/ 3478084 h 4687251"/>
              <a:gd name="connsiteX3268" fmla="*/ 6856949 w 8079933"/>
              <a:gd name="connsiteY3268" fmla="*/ 3474620 h 4687251"/>
              <a:gd name="connsiteX3269" fmla="*/ 6859662 w 8079933"/>
              <a:gd name="connsiteY3269" fmla="*/ 3471046 h 4687251"/>
              <a:gd name="connsiteX3270" fmla="*/ 6864328 w 8079933"/>
              <a:gd name="connsiteY3270" fmla="*/ 3471371 h 4687251"/>
              <a:gd name="connsiteX3271" fmla="*/ 6864871 w 8079933"/>
              <a:gd name="connsiteY3271" fmla="*/ 3468665 h 4687251"/>
              <a:gd name="connsiteX3272" fmla="*/ 6868669 w 8079933"/>
              <a:gd name="connsiteY3272" fmla="*/ 3467799 h 4687251"/>
              <a:gd name="connsiteX3273" fmla="*/ 6869971 w 8079933"/>
              <a:gd name="connsiteY3273" fmla="*/ 3461411 h 4687251"/>
              <a:gd name="connsiteX3274" fmla="*/ 6875071 w 8079933"/>
              <a:gd name="connsiteY3274" fmla="*/ 3457729 h 4687251"/>
              <a:gd name="connsiteX3275" fmla="*/ 6876808 w 8079933"/>
              <a:gd name="connsiteY3275" fmla="*/ 3455022 h 4687251"/>
              <a:gd name="connsiteX3276" fmla="*/ 6875614 w 8079933"/>
              <a:gd name="connsiteY3276" fmla="*/ 3460761 h 4687251"/>
              <a:gd name="connsiteX3277" fmla="*/ 6878326 w 8079933"/>
              <a:gd name="connsiteY3277" fmla="*/ 3464550 h 4687251"/>
              <a:gd name="connsiteX3278" fmla="*/ 6883319 w 8079933"/>
              <a:gd name="connsiteY3278" fmla="*/ 3474403 h 4687251"/>
              <a:gd name="connsiteX3279" fmla="*/ 6890915 w 8079933"/>
              <a:gd name="connsiteY3279" fmla="*/ 3490644 h 4687251"/>
              <a:gd name="connsiteX3280" fmla="*/ 6891674 w 8079933"/>
              <a:gd name="connsiteY3280" fmla="*/ 3484689 h 4687251"/>
              <a:gd name="connsiteX3281" fmla="*/ 6893628 w 8079933"/>
              <a:gd name="connsiteY3281" fmla="*/ 3479383 h 4687251"/>
              <a:gd name="connsiteX3282" fmla="*/ 6892760 w 8079933"/>
              <a:gd name="connsiteY3282" fmla="*/ 3474295 h 4687251"/>
              <a:gd name="connsiteX3283" fmla="*/ 6895255 w 8079933"/>
              <a:gd name="connsiteY3283" fmla="*/ 3474295 h 4687251"/>
              <a:gd name="connsiteX3284" fmla="*/ 6897209 w 8079933"/>
              <a:gd name="connsiteY3284" fmla="*/ 3476136 h 4687251"/>
              <a:gd name="connsiteX3285" fmla="*/ 6897426 w 8079933"/>
              <a:gd name="connsiteY3285" fmla="*/ 3471696 h 4687251"/>
              <a:gd name="connsiteX3286" fmla="*/ 6899596 w 8079933"/>
              <a:gd name="connsiteY3286" fmla="*/ 3467799 h 4687251"/>
              <a:gd name="connsiteX3287" fmla="*/ 6894713 w 8079933"/>
              <a:gd name="connsiteY3287" fmla="*/ 3468015 h 4687251"/>
              <a:gd name="connsiteX3288" fmla="*/ 6889830 w 8079933"/>
              <a:gd name="connsiteY3288" fmla="*/ 3463576 h 4687251"/>
              <a:gd name="connsiteX3289" fmla="*/ 6892434 w 8079933"/>
              <a:gd name="connsiteY3289" fmla="*/ 3458920 h 4687251"/>
              <a:gd name="connsiteX3290" fmla="*/ 6894604 w 8079933"/>
              <a:gd name="connsiteY3290" fmla="*/ 3457838 h 4687251"/>
              <a:gd name="connsiteX3291" fmla="*/ 6888636 w 8079933"/>
              <a:gd name="connsiteY3291" fmla="*/ 3453724 h 4687251"/>
              <a:gd name="connsiteX3292" fmla="*/ 6891891 w 8079933"/>
              <a:gd name="connsiteY3292" fmla="*/ 3451016 h 4687251"/>
              <a:gd name="connsiteX3293" fmla="*/ 6896340 w 8079933"/>
              <a:gd name="connsiteY3293" fmla="*/ 3453832 h 4687251"/>
              <a:gd name="connsiteX3294" fmla="*/ 6897968 w 8079933"/>
              <a:gd name="connsiteY3294" fmla="*/ 3457297 h 4687251"/>
              <a:gd name="connsiteX3295" fmla="*/ 6901658 w 8079933"/>
              <a:gd name="connsiteY3295" fmla="*/ 3454265 h 4687251"/>
              <a:gd name="connsiteX3296" fmla="*/ 6905456 w 8079933"/>
              <a:gd name="connsiteY3296" fmla="*/ 3456755 h 4687251"/>
              <a:gd name="connsiteX3297" fmla="*/ 6907952 w 8079933"/>
              <a:gd name="connsiteY3297" fmla="*/ 3460220 h 4687251"/>
              <a:gd name="connsiteX3298" fmla="*/ 6912510 w 8079933"/>
              <a:gd name="connsiteY3298" fmla="*/ 3461302 h 4687251"/>
              <a:gd name="connsiteX3299" fmla="*/ 6913595 w 8079933"/>
              <a:gd name="connsiteY3299" fmla="*/ 3459137 h 4687251"/>
              <a:gd name="connsiteX3300" fmla="*/ 6918804 w 8079933"/>
              <a:gd name="connsiteY3300" fmla="*/ 3456430 h 4687251"/>
              <a:gd name="connsiteX3301" fmla="*/ 6910448 w 8079933"/>
              <a:gd name="connsiteY3301" fmla="*/ 3455022 h 4687251"/>
              <a:gd name="connsiteX3302" fmla="*/ 6912943 w 8079933"/>
              <a:gd name="connsiteY3302" fmla="*/ 3451666 h 4687251"/>
              <a:gd name="connsiteX3303" fmla="*/ 6916958 w 8079933"/>
              <a:gd name="connsiteY3303" fmla="*/ 3449717 h 4687251"/>
              <a:gd name="connsiteX3304" fmla="*/ 6914680 w 8079933"/>
              <a:gd name="connsiteY3304" fmla="*/ 3446361 h 4687251"/>
              <a:gd name="connsiteX3305" fmla="*/ 6918044 w 8079933"/>
              <a:gd name="connsiteY3305" fmla="*/ 3441597 h 4687251"/>
              <a:gd name="connsiteX3306" fmla="*/ 6915222 w 8079933"/>
              <a:gd name="connsiteY3306" fmla="*/ 3442571 h 4687251"/>
              <a:gd name="connsiteX3307" fmla="*/ 6914789 w 8079933"/>
              <a:gd name="connsiteY3307" fmla="*/ 3439540 h 4687251"/>
              <a:gd name="connsiteX3308" fmla="*/ 6913920 w 8079933"/>
              <a:gd name="connsiteY3308" fmla="*/ 3436292 h 4687251"/>
              <a:gd name="connsiteX3309" fmla="*/ 6912943 w 8079933"/>
              <a:gd name="connsiteY3309" fmla="*/ 3432827 h 4687251"/>
              <a:gd name="connsiteX3310" fmla="*/ 6917718 w 8079933"/>
              <a:gd name="connsiteY3310" fmla="*/ 3432069 h 4687251"/>
              <a:gd name="connsiteX3311" fmla="*/ 6921733 w 8079933"/>
              <a:gd name="connsiteY3311" fmla="*/ 3427522 h 4687251"/>
              <a:gd name="connsiteX3312" fmla="*/ 6926400 w 8079933"/>
              <a:gd name="connsiteY3312" fmla="*/ 3433151 h 4687251"/>
              <a:gd name="connsiteX3313" fmla="*/ 6929656 w 8079933"/>
              <a:gd name="connsiteY3313" fmla="*/ 3432394 h 4687251"/>
              <a:gd name="connsiteX3314" fmla="*/ 6931934 w 8079933"/>
              <a:gd name="connsiteY3314" fmla="*/ 3428605 h 4687251"/>
              <a:gd name="connsiteX3315" fmla="*/ 6925314 w 8079933"/>
              <a:gd name="connsiteY3315" fmla="*/ 3427738 h 4687251"/>
              <a:gd name="connsiteX3316" fmla="*/ 6924230 w 8079933"/>
              <a:gd name="connsiteY3316" fmla="*/ 3424274 h 4687251"/>
              <a:gd name="connsiteX3317" fmla="*/ 6929872 w 8079933"/>
              <a:gd name="connsiteY3317" fmla="*/ 3420485 h 4687251"/>
              <a:gd name="connsiteX3318" fmla="*/ 6934539 w 8079933"/>
              <a:gd name="connsiteY3318" fmla="*/ 3422974 h 4687251"/>
              <a:gd name="connsiteX3319" fmla="*/ 6940616 w 8079933"/>
              <a:gd name="connsiteY3319" fmla="*/ 3417886 h 4687251"/>
              <a:gd name="connsiteX3320" fmla="*/ 6933345 w 8079933"/>
              <a:gd name="connsiteY3320" fmla="*/ 3415829 h 4687251"/>
              <a:gd name="connsiteX3321" fmla="*/ 6934213 w 8079933"/>
              <a:gd name="connsiteY3321" fmla="*/ 3410523 h 4687251"/>
              <a:gd name="connsiteX3322" fmla="*/ 6936383 w 8079933"/>
              <a:gd name="connsiteY3322" fmla="*/ 3407708 h 4687251"/>
              <a:gd name="connsiteX3323" fmla="*/ 6941375 w 8079933"/>
              <a:gd name="connsiteY3323" fmla="*/ 3406409 h 4687251"/>
              <a:gd name="connsiteX3324" fmla="*/ 6943220 w 8079933"/>
              <a:gd name="connsiteY3324" fmla="*/ 3401320 h 4687251"/>
              <a:gd name="connsiteX3325" fmla="*/ 6946800 w 8079933"/>
              <a:gd name="connsiteY3325" fmla="*/ 3401212 h 4687251"/>
              <a:gd name="connsiteX3326" fmla="*/ 6943437 w 8079933"/>
              <a:gd name="connsiteY3326" fmla="*/ 3405110 h 4687251"/>
              <a:gd name="connsiteX3327" fmla="*/ 6944305 w 8079933"/>
              <a:gd name="connsiteY3327" fmla="*/ 3407708 h 4687251"/>
              <a:gd name="connsiteX3328" fmla="*/ 6947018 w 8079933"/>
              <a:gd name="connsiteY3328" fmla="*/ 3407816 h 4687251"/>
              <a:gd name="connsiteX3329" fmla="*/ 6949189 w 8079933"/>
              <a:gd name="connsiteY3329" fmla="*/ 3411281 h 4687251"/>
              <a:gd name="connsiteX3330" fmla="*/ 6954072 w 8079933"/>
              <a:gd name="connsiteY3330" fmla="*/ 3408358 h 4687251"/>
              <a:gd name="connsiteX3331" fmla="*/ 6952443 w 8079933"/>
              <a:gd name="connsiteY3331" fmla="*/ 3405543 h 4687251"/>
              <a:gd name="connsiteX3332" fmla="*/ 6954072 w 8079933"/>
              <a:gd name="connsiteY3332" fmla="*/ 3400671 h 4687251"/>
              <a:gd name="connsiteX3333" fmla="*/ 6958738 w 8079933"/>
              <a:gd name="connsiteY3333" fmla="*/ 3397206 h 4687251"/>
              <a:gd name="connsiteX3334" fmla="*/ 6955374 w 8079933"/>
              <a:gd name="connsiteY3334" fmla="*/ 3395257 h 4687251"/>
              <a:gd name="connsiteX3335" fmla="*/ 6956025 w 8079933"/>
              <a:gd name="connsiteY3335" fmla="*/ 3391251 h 4687251"/>
              <a:gd name="connsiteX3336" fmla="*/ 6958738 w 8079933"/>
              <a:gd name="connsiteY3336" fmla="*/ 3392009 h 4687251"/>
              <a:gd name="connsiteX3337" fmla="*/ 6961993 w 8079933"/>
              <a:gd name="connsiteY3337" fmla="*/ 3398830 h 4687251"/>
              <a:gd name="connsiteX3338" fmla="*/ 6963078 w 8079933"/>
              <a:gd name="connsiteY3338" fmla="*/ 3395907 h 4687251"/>
              <a:gd name="connsiteX3339" fmla="*/ 6967419 w 8079933"/>
              <a:gd name="connsiteY3339" fmla="*/ 3394716 h 4687251"/>
              <a:gd name="connsiteX3340" fmla="*/ 6966334 w 8079933"/>
              <a:gd name="connsiteY3340" fmla="*/ 3397423 h 4687251"/>
              <a:gd name="connsiteX3341" fmla="*/ 6969589 w 8079933"/>
              <a:gd name="connsiteY3341" fmla="*/ 3397964 h 4687251"/>
              <a:gd name="connsiteX3342" fmla="*/ 6972845 w 8079933"/>
              <a:gd name="connsiteY3342" fmla="*/ 3393092 h 4687251"/>
              <a:gd name="connsiteX3343" fmla="*/ 6975558 w 8079933"/>
              <a:gd name="connsiteY3343" fmla="*/ 3392117 h 4687251"/>
              <a:gd name="connsiteX3344" fmla="*/ 6973278 w 8079933"/>
              <a:gd name="connsiteY3344" fmla="*/ 3389843 h 4687251"/>
              <a:gd name="connsiteX3345" fmla="*/ 6976100 w 8079933"/>
              <a:gd name="connsiteY3345" fmla="*/ 3388003 h 4687251"/>
              <a:gd name="connsiteX3346" fmla="*/ 6980658 w 8079933"/>
              <a:gd name="connsiteY3346" fmla="*/ 3390926 h 4687251"/>
              <a:gd name="connsiteX3347" fmla="*/ 6987386 w 8079933"/>
              <a:gd name="connsiteY3347" fmla="*/ 3392551 h 4687251"/>
              <a:gd name="connsiteX3348" fmla="*/ 6990967 w 8079933"/>
              <a:gd name="connsiteY3348" fmla="*/ 3397964 h 4687251"/>
              <a:gd name="connsiteX3349" fmla="*/ 6997804 w 8079933"/>
              <a:gd name="connsiteY3349" fmla="*/ 3410415 h 4687251"/>
              <a:gd name="connsiteX3350" fmla="*/ 7001819 w 8079933"/>
              <a:gd name="connsiteY3350" fmla="*/ 3410957 h 4687251"/>
              <a:gd name="connsiteX3351" fmla="*/ 7004206 w 8079933"/>
              <a:gd name="connsiteY3351" fmla="*/ 3413988 h 4687251"/>
              <a:gd name="connsiteX3352" fmla="*/ 7000408 w 8079933"/>
              <a:gd name="connsiteY3352" fmla="*/ 3418643 h 4687251"/>
              <a:gd name="connsiteX3353" fmla="*/ 7000734 w 8079933"/>
              <a:gd name="connsiteY3353" fmla="*/ 3426114 h 4687251"/>
              <a:gd name="connsiteX3354" fmla="*/ 6997044 w 8079933"/>
              <a:gd name="connsiteY3354" fmla="*/ 3430987 h 4687251"/>
              <a:gd name="connsiteX3355" fmla="*/ 6991618 w 8079933"/>
              <a:gd name="connsiteY3355" fmla="*/ 3433477 h 4687251"/>
              <a:gd name="connsiteX3356" fmla="*/ 6998563 w 8079933"/>
              <a:gd name="connsiteY3356" fmla="*/ 3432177 h 4687251"/>
              <a:gd name="connsiteX3357" fmla="*/ 7003229 w 8079933"/>
              <a:gd name="connsiteY3357" fmla="*/ 3429471 h 4687251"/>
              <a:gd name="connsiteX3358" fmla="*/ 7003229 w 8079933"/>
              <a:gd name="connsiteY3358" fmla="*/ 3427197 h 4687251"/>
              <a:gd name="connsiteX3359" fmla="*/ 7005617 w 8079933"/>
              <a:gd name="connsiteY3359" fmla="*/ 3426655 h 4687251"/>
              <a:gd name="connsiteX3360" fmla="*/ 7006268 w 8079933"/>
              <a:gd name="connsiteY3360" fmla="*/ 3428605 h 4687251"/>
              <a:gd name="connsiteX3361" fmla="*/ 7007244 w 8079933"/>
              <a:gd name="connsiteY3361" fmla="*/ 3425898 h 4687251"/>
              <a:gd name="connsiteX3362" fmla="*/ 7003772 w 8079933"/>
              <a:gd name="connsiteY3362" fmla="*/ 3421351 h 4687251"/>
              <a:gd name="connsiteX3363" fmla="*/ 7005942 w 8079933"/>
              <a:gd name="connsiteY3363" fmla="*/ 3418535 h 4687251"/>
              <a:gd name="connsiteX3364" fmla="*/ 7007895 w 8079933"/>
              <a:gd name="connsiteY3364" fmla="*/ 3418535 h 4687251"/>
              <a:gd name="connsiteX3365" fmla="*/ 7010501 w 8079933"/>
              <a:gd name="connsiteY3365" fmla="*/ 3420700 h 4687251"/>
              <a:gd name="connsiteX3366" fmla="*/ 7012996 w 8079933"/>
              <a:gd name="connsiteY3366" fmla="*/ 3418102 h 4687251"/>
              <a:gd name="connsiteX3367" fmla="*/ 7010608 w 8079933"/>
              <a:gd name="connsiteY3367" fmla="*/ 3415396 h 4687251"/>
              <a:gd name="connsiteX3368" fmla="*/ 7018096 w 8079933"/>
              <a:gd name="connsiteY3368" fmla="*/ 3413988 h 4687251"/>
              <a:gd name="connsiteX3369" fmla="*/ 7028188 w 8079933"/>
              <a:gd name="connsiteY3369" fmla="*/ 3420485 h 4687251"/>
              <a:gd name="connsiteX3370" fmla="*/ 7028731 w 8079933"/>
              <a:gd name="connsiteY3370" fmla="*/ 3424274 h 4687251"/>
              <a:gd name="connsiteX3371" fmla="*/ 7030575 w 8079933"/>
              <a:gd name="connsiteY3371" fmla="*/ 3421026 h 4687251"/>
              <a:gd name="connsiteX3372" fmla="*/ 7030684 w 8079933"/>
              <a:gd name="connsiteY3372" fmla="*/ 3418102 h 4687251"/>
              <a:gd name="connsiteX3373" fmla="*/ 7035242 w 8079933"/>
              <a:gd name="connsiteY3373" fmla="*/ 3418643 h 4687251"/>
              <a:gd name="connsiteX3374" fmla="*/ 7039040 w 8079933"/>
              <a:gd name="connsiteY3374" fmla="*/ 3425681 h 4687251"/>
              <a:gd name="connsiteX3375" fmla="*/ 7045225 w 8079933"/>
              <a:gd name="connsiteY3375" fmla="*/ 3430661 h 4687251"/>
              <a:gd name="connsiteX3376" fmla="*/ 7041102 w 8079933"/>
              <a:gd name="connsiteY3376" fmla="*/ 3425031 h 4687251"/>
              <a:gd name="connsiteX3377" fmla="*/ 7041210 w 8079933"/>
              <a:gd name="connsiteY3377" fmla="*/ 3419835 h 4687251"/>
              <a:gd name="connsiteX3378" fmla="*/ 7037195 w 8079933"/>
              <a:gd name="connsiteY3378" fmla="*/ 3416695 h 4687251"/>
              <a:gd name="connsiteX3379" fmla="*/ 7037086 w 8079933"/>
              <a:gd name="connsiteY3379" fmla="*/ 3413771 h 4687251"/>
              <a:gd name="connsiteX3380" fmla="*/ 7039040 w 8079933"/>
              <a:gd name="connsiteY3380" fmla="*/ 3416695 h 4687251"/>
              <a:gd name="connsiteX3381" fmla="*/ 7045225 w 8079933"/>
              <a:gd name="connsiteY3381" fmla="*/ 3417453 h 4687251"/>
              <a:gd name="connsiteX3382" fmla="*/ 7049024 w 8079933"/>
              <a:gd name="connsiteY3382" fmla="*/ 3415829 h 4687251"/>
              <a:gd name="connsiteX3383" fmla="*/ 7039257 w 8079933"/>
              <a:gd name="connsiteY3383" fmla="*/ 3412580 h 4687251"/>
              <a:gd name="connsiteX3384" fmla="*/ 7041102 w 8079933"/>
              <a:gd name="connsiteY3384" fmla="*/ 3409116 h 4687251"/>
              <a:gd name="connsiteX3385" fmla="*/ 7044141 w 8079933"/>
              <a:gd name="connsiteY3385" fmla="*/ 3408249 h 4687251"/>
              <a:gd name="connsiteX3386" fmla="*/ 7036002 w 8079933"/>
              <a:gd name="connsiteY3386" fmla="*/ 3406733 h 4687251"/>
              <a:gd name="connsiteX3387" fmla="*/ 7032746 w 8079933"/>
              <a:gd name="connsiteY3387" fmla="*/ 3403378 h 4687251"/>
              <a:gd name="connsiteX3388" fmla="*/ 7036544 w 8079933"/>
              <a:gd name="connsiteY3388" fmla="*/ 3400996 h 4687251"/>
              <a:gd name="connsiteX3389" fmla="*/ 7037955 w 8079933"/>
              <a:gd name="connsiteY3389" fmla="*/ 3394716 h 4687251"/>
              <a:gd name="connsiteX3390" fmla="*/ 7041102 w 8079933"/>
              <a:gd name="connsiteY3390" fmla="*/ 3393741 h 4687251"/>
              <a:gd name="connsiteX3391" fmla="*/ 7044791 w 8079933"/>
              <a:gd name="connsiteY3391" fmla="*/ 3386162 h 4687251"/>
              <a:gd name="connsiteX3392" fmla="*/ 7049024 w 8079933"/>
              <a:gd name="connsiteY3392" fmla="*/ 3379558 h 4687251"/>
              <a:gd name="connsiteX3393" fmla="*/ 7053147 w 8079933"/>
              <a:gd name="connsiteY3393" fmla="*/ 3379558 h 4687251"/>
              <a:gd name="connsiteX3394" fmla="*/ 7056620 w 8079933"/>
              <a:gd name="connsiteY3394" fmla="*/ 3376635 h 4687251"/>
              <a:gd name="connsiteX3395" fmla="*/ 7060852 w 8079933"/>
              <a:gd name="connsiteY3395" fmla="*/ 3379017 h 4687251"/>
              <a:gd name="connsiteX3396" fmla="*/ 7059875 w 8079933"/>
              <a:gd name="connsiteY3396" fmla="*/ 3376418 h 4687251"/>
              <a:gd name="connsiteX3397" fmla="*/ 7056294 w 8079933"/>
              <a:gd name="connsiteY3397" fmla="*/ 3372629 h 4687251"/>
              <a:gd name="connsiteX3398" fmla="*/ 7055860 w 8079933"/>
              <a:gd name="connsiteY3398" fmla="*/ 3369706 h 4687251"/>
              <a:gd name="connsiteX3399" fmla="*/ 7059875 w 8079933"/>
              <a:gd name="connsiteY3399" fmla="*/ 3367431 h 4687251"/>
              <a:gd name="connsiteX3400" fmla="*/ 7062371 w 8079933"/>
              <a:gd name="connsiteY3400" fmla="*/ 3366133 h 4687251"/>
              <a:gd name="connsiteX3401" fmla="*/ 7060092 w 8079933"/>
              <a:gd name="connsiteY3401" fmla="*/ 3363643 h 4687251"/>
              <a:gd name="connsiteX3402" fmla="*/ 7063131 w 8079933"/>
              <a:gd name="connsiteY3402" fmla="*/ 3360611 h 4687251"/>
              <a:gd name="connsiteX3403" fmla="*/ 7069099 w 8079933"/>
              <a:gd name="connsiteY3403" fmla="*/ 3362451 h 4687251"/>
              <a:gd name="connsiteX3404" fmla="*/ 7069425 w 8079933"/>
              <a:gd name="connsiteY3404" fmla="*/ 3360394 h 4687251"/>
              <a:gd name="connsiteX3405" fmla="*/ 7067254 w 8079933"/>
              <a:gd name="connsiteY3405" fmla="*/ 3357362 h 4687251"/>
              <a:gd name="connsiteX3406" fmla="*/ 7069425 w 8079933"/>
              <a:gd name="connsiteY3406" fmla="*/ 3354115 h 4687251"/>
              <a:gd name="connsiteX3407" fmla="*/ 7075068 w 8079933"/>
              <a:gd name="connsiteY3407" fmla="*/ 3355847 h 4687251"/>
              <a:gd name="connsiteX3408" fmla="*/ 7076695 w 8079933"/>
              <a:gd name="connsiteY3408" fmla="*/ 3358229 h 4687251"/>
              <a:gd name="connsiteX3409" fmla="*/ 7075285 w 8079933"/>
              <a:gd name="connsiteY3409" fmla="*/ 3351949 h 4687251"/>
              <a:gd name="connsiteX3410" fmla="*/ 7079734 w 8079933"/>
              <a:gd name="connsiteY3410" fmla="*/ 3352815 h 4687251"/>
              <a:gd name="connsiteX3411" fmla="*/ 7079191 w 8079933"/>
              <a:gd name="connsiteY3411" fmla="*/ 3348376 h 4687251"/>
              <a:gd name="connsiteX3412" fmla="*/ 7084617 w 8079933"/>
              <a:gd name="connsiteY3412" fmla="*/ 3346319 h 4687251"/>
              <a:gd name="connsiteX3413" fmla="*/ 7085377 w 8079933"/>
              <a:gd name="connsiteY3413" fmla="*/ 3344370 h 4687251"/>
              <a:gd name="connsiteX3414" fmla="*/ 7090585 w 8079933"/>
              <a:gd name="connsiteY3414" fmla="*/ 3348917 h 4687251"/>
              <a:gd name="connsiteX3415" fmla="*/ 7104367 w 8079933"/>
              <a:gd name="connsiteY3415" fmla="*/ 3348160 h 4687251"/>
              <a:gd name="connsiteX3416" fmla="*/ 7108166 w 8079933"/>
              <a:gd name="connsiteY3416" fmla="*/ 3345670 h 4687251"/>
              <a:gd name="connsiteX3417" fmla="*/ 7111746 w 8079933"/>
              <a:gd name="connsiteY3417" fmla="*/ 3346752 h 4687251"/>
              <a:gd name="connsiteX3418" fmla="*/ 7113374 w 8079933"/>
              <a:gd name="connsiteY3418" fmla="*/ 3349892 h 4687251"/>
              <a:gd name="connsiteX3419" fmla="*/ 7115218 w 8079933"/>
              <a:gd name="connsiteY3419" fmla="*/ 3344587 h 4687251"/>
              <a:gd name="connsiteX3420" fmla="*/ 7120102 w 8079933"/>
              <a:gd name="connsiteY3420" fmla="*/ 3344154 h 4687251"/>
              <a:gd name="connsiteX3421" fmla="*/ 7118691 w 8079933"/>
              <a:gd name="connsiteY3421" fmla="*/ 3336574 h 4687251"/>
              <a:gd name="connsiteX3422" fmla="*/ 7119125 w 8079933"/>
              <a:gd name="connsiteY3422" fmla="*/ 3333326 h 4687251"/>
              <a:gd name="connsiteX3423" fmla="*/ 7112288 w 8079933"/>
              <a:gd name="connsiteY3423" fmla="*/ 3327588 h 4687251"/>
              <a:gd name="connsiteX3424" fmla="*/ 7108273 w 8079933"/>
              <a:gd name="connsiteY3424" fmla="*/ 3329320 h 4687251"/>
              <a:gd name="connsiteX3425" fmla="*/ 7103824 w 8079933"/>
              <a:gd name="connsiteY3425" fmla="*/ 3328238 h 4687251"/>
              <a:gd name="connsiteX3426" fmla="*/ 7105235 w 8079933"/>
              <a:gd name="connsiteY3426" fmla="*/ 3327047 h 4687251"/>
              <a:gd name="connsiteX3427" fmla="*/ 7100569 w 8079933"/>
              <a:gd name="connsiteY3427" fmla="*/ 3323366 h 4687251"/>
              <a:gd name="connsiteX3428" fmla="*/ 7104584 w 8079933"/>
              <a:gd name="connsiteY3428" fmla="*/ 3320334 h 4687251"/>
              <a:gd name="connsiteX3429" fmla="*/ 7107840 w 8079933"/>
              <a:gd name="connsiteY3429" fmla="*/ 3322716 h 4687251"/>
              <a:gd name="connsiteX3430" fmla="*/ 7108708 w 8079933"/>
              <a:gd name="connsiteY3430" fmla="*/ 3320875 h 4687251"/>
              <a:gd name="connsiteX3431" fmla="*/ 7115001 w 8079933"/>
              <a:gd name="connsiteY3431" fmla="*/ 3324556 h 4687251"/>
              <a:gd name="connsiteX3432" fmla="*/ 7119017 w 8079933"/>
              <a:gd name="connsiteY3432" fmla="*/ 3325964 h 4687251"/>
              <a:gd name="connsiteX3433" fmla="*/ 7120861 w 8079933"/>
              <a:gd name="connsiteY3433" fmla="*/ 3330295 h 4687251"/>
              <a:gd name="connsiteX3434" fmla="*/ 7128023 w 8079933"/>
              <a:gd name="connsiteY3434" fmla="*/ 3328129 h 4687251"/>
              <a:gd name="connsiteX3435" fmla="*/ 7127481 w 8079933"/>
              <a:gd name="connsiteY3435" fmla="*/ 3326072 h 4687251"/>
              <a:gd name="connsiteX3436" fmla="*/ 7129652 w 8079933"/>
              <a:gd name="connsiteY3436" fmla="*/ 3325531 h 4687251"/>
              <a:gd name="connsiteX3437" fmla="*/ 7133233 w 8079933"/>
              <a:gd name="connsiteY3437" fmla="*/ 3330078 h 4687251"/>
              <a:gd name="connsiteX3438" fmla="*/ 7132907 w 8079933"/>
              <a:gd name="connsiteY3438" fmla="*/ 3333543 h 4687251"/>
              <a:gd name="connsiteX3439" fmla="*/ 7138116 w 8079933"/>
              <a:gd name="connsiteY3439" fmla="*/ 3335925 h 4687251"/>
              <a:gd name="connsiteX3440" fmla="*/ 7143976 w 8079933"/>
              <a:gd name="connsiteY3440" fmla="*/ 3336791 h 4687251"/>
              <a:gd name="connsiteX3441" fmla="*/ 7149402 w 8079933"/>
              <a:gd name="connsiteY3441" fmla="*/ 3334193 h 4687251"/>
              <a:gd name="connsiteX3442" fmla="*/ 7152115 w 8079933"/>
              <a:gd name="connsiteY3442" fmla="*/ 3339282 h 4687251"/>
              <a:gd name="connsiteX3443" fmla="*/ 7154285 w 8079933"/>
              <a:gd name="connsiteY3443" fmla="*/ 3339823 h 4687251"/>
              <a:gd name="connsiteX3444" fmla="*/ 7156130 w 8079933"/>
              <a:gd name="connsiteY3444" fmla="*/ 3343287 h 4687251"/>
              <a:gd name="connsiteX3445" fmla="*/ 7158408 w 8079933"/>
              <a:gd name="connsiteY3445" fmla="*/ 3341772 h 4687251"/>
              <a:gd name="connsiteX3446" fmla="*/ 7162424 w 8079933"/>
              <a:gd name="connsiteY3446" fmla="*/ 3343503 h 4687251"/>
              <a:gd name="connsiteX3447" fmla="*/ 7167958 w 8079933"/>
              <a:gd name="connsiteY3447" fmla="*/ 3340364 h 4687251"/>
              <a:gd name="connsiteX3448" fmla="*/ 7170019 w 8079933"/>
              <a:gd name="connsiteY3448" fmla="*/ 3340905 h 4687251"/>
              <a:gd name="connsiteX3449" fmla="*/ 7173601 w 8079933"/>
              <a:gd name="connsiteY3449" fmla="*/ 3345994 h 4687251"/>
              <a:gd name="connsiteX3450" fmla="*/ 7173818 w 8079933"/>
              <a:gd name="connsiteY3450" fmla="*/ 3348160 h 4687251"/>
              <a:gd name="connsiteX3451" fmla="*/ 7178376 w 8079933"/>
              <a:gd name="connsiteY3451" fmla="*/ 3348484 h 4687251"/>
              <a:gd name="connsiteX3452" fmla="*/ 7179786 w 8079933"/>
              <a:gd name="connsiteY3452" fmla="*/ 3350433 h 4687251"/>
              <a:gd name="connsiteX3453" fmla="*/ 7182608 w 8079933"/>
              <a:gd name="connsiteY3453" fmla="*/ 3349892 h 4687251"/>
              <a:gd name="connsiteX3454" fmla="*/ 7183367 w 8079933"/>
              <a:gd name="connsiteY3454" fmla="*/ 3347943 h 4687251"/>
              <a:gd name="connsiteX3455" fmla="*/ 7188794 w 8079933"/>
              <a:gd name="connsiteY3455" fmla="*/ 3346211 h 4687251"/>
              <a:gd name="connsiteX3456" fmla="*/ 7191288 w 8079933"/>
              <a:gd name="connsiteY3456" fmla="*/ 3343287 h 4687251"/>
              <a:gd name="connsiteX3457" fmla="*/ 7194761 w 8079933"/>
              <a:gd name="connsiteY3457" fmla="*/ 3341772 h 4687251"/>
              <a:gd name="connsiteX3458" fmla="*/ 7193676 w 8079933"/>
              <a:gd name="connsiteY3458" fmla="*/ 3344154 h 4687251"/>
              <a:gd name="connsiteX3459" fmla="*/ 7190963 w 8079933"/>
              <a:gd name="connsiteY3459" fmla="*/ 3347077 h 4687251"/>
              <a:gd name="connsiteX3460" fmla="*/ 7190747 w 8079933"/>
              <a:gd name="connsiteY3460" fmla="*/ 3350109 h 4687251"/>
              <a:gd name="connsiteX3461" fmla="*/ 7194001 w 8079933"/>
              <a:gd name="connsiteY3461" fmla="*/ 3349242 h 4687251"/>
              <a:gd name="connsiteX3462" fmla="*/ 7195737 w 8079933"/>
              <a:gd name="connsiteY3462" fmla="*/ 3346211 h 4687251"/>
              <a:gd name="connsiteX3463" fmla="*/ 7197692 w 8079933"/>
              <a:gd name="connsiteY3463" fmla="*/ 3348917 h 4687251"/>
              <a:gd name="connsiteX3464" fmla="*/ 7198559 w 8079933"/>
              <a:gd name="connsiteY3464" fmla="*/ 3351733 h 4687251"/>
              <a:gd name="connsiteX3465" fmla="*/ 7202358 w 8079933"/>
              <a:gd name="connsiteY3465" fmla="*/ 3354115 h 4687251"/>
              <a:gd name="connsiteX3466" fmla="*/ 7206372 w 8079933"/>
              <a:gd name="connsiteY3466" fmla="*/ 3352166 h 4687251"/>
              <a:gd name="connsiteX3467" fmla="*/ 7206372 w 8079933"/>
              <a:gd name="connsiteY3467" fmla="*/ 3348917 h 4687251"/>
              <a:gd name="connsiteX3468" fmla="*/ 7203442 w 8079933"/>
              <a:gd name="connsiteY3468" fmla="*/ 3347618 h 4687251"/>
              <a:gd name="connsiteX3469" fmla="*/ 7209085 w 8079933"/>
              <a:gd name="connsiteY3469" fmla="*/ 3340905 h 4687251"/>
              <a:gd name="connsiteX3470" fmla="*/ 7213101 w 8079933"/>
              <a:gd name="connsiteY3470" fmla="*/ 3339065 h 4687251"/>
              <a:gd name="connsiteX3471" fmla="*/ 7213752 w 8079933"/>
              <a:gd name="connsiteY3471" fmla="*/ 3347185 h 4687251"/>
              <a:gd name="connsiteX3472" fmla="*/ 7216790 w 8079933"/>
              <a:gd name="connsiteY3472" fmla="*/ 3348484 h 4687251"/>
              <a:gd name="connsiteX3473" fmla="*/ 7219938 w 8079933"/>
              <a:gd name="connsiteY3473" fmla="*/ 3344911 h 4687251"/>
              <a:gd name="connsiteX3474" fmla="*/ 7224821 w 8079933"/>
              <a:gd name="connsiteY3474" fmla="*/ 3347185 h 4687251"/>
              <a:gd name="connsiteX3475" fmla="*/ 7224604 w 8079933"/>
              <a:gd name="connsiteY3475" fmla="*/ 3349567 h 4687251"/>
              <a:gd name="connsiteX3476" fmla="*/ 7221348 w 8079933"/>
              <a:gd name="connsiteY3476" fmla="*/ 3353897 h 4687251"/>
              <a:gd name="connsiteX3477" fmla="*/ 7218309 w 8079933"/>
              <a:gd name="connsiteY3477" fmla="*/ 3355522 h 4687251"/>
              <a:gd name="connsiteX3478" fmla="*/ 7215922 w 8079933"/>
              <a:gd name="connsiteY3478" fmla="*/ 3363643 h 4687251"/>
              <a:gd name="connsiteX3479" fmla="*/ 7212450 w 8079933"/>
              <a:gd name="connsiteY3479" fmla="*/ 3362776 h 4687251"/>
              <a:gd name="connsiteX3480" fmla="*/ 7209194 w 8079933"/>
              <a:gd name="connsiteY3480" fmla="*/ 3365266 h 4687251"/>
              <a:gd name="connsiteX3481" fmla="*/ 7213426 w 8079933"/>
              <a:gd name="connsiteY3481" fmla="*/ 3368731 h 4687251"/>
              <a:gd name="connsiteX3482" fmla="*/ 7211364 w 8079933"/>
              <a:gd name="connsiteY3482" fmla="*/ 3374145 h 4687251"/>
              <a:gd name="connsiteX3483" fmla="*/ 7205504 w 8079933"/>
              <a:gd name="connsiteY3483" fmla="*/ 3376851 h 4687251"/>
              <a:gd name="connsiteX3484" fmla="*/ 7201056 w 8079933"/>
              <a:gd name="connsiteY3484" fmla="*/ 3375985 h 4687251"/>
              <a:gd name="connsiteX3485" fmla="*/ 7199862 w 8079933"/>
              <a:gd name="connsiteY3485" fmla="*/ 3374145 h 4687251"/>
              <a:gd name="connsiteX3486" fmla="*/ 7196932 w 8079933"/>
              <a:gd name="connsiteY3486" fmla="*/ 3375444 h 4687251"/>
              <a:gd name="connsiteX3487" fmla="*/ 7194436 w 8079933"/>
              <a:gd name="connsiteY3487" fmla="*/ 3375227 h 4687251"/>
              <a:gd name="connsiteX3488" fmla="*/ 7195304 w 8079933"/>
              <a:gd name="connsiteY3488" fmla="*/ 3380315 h 4687251"/>
              <a:gd name="connsiteX3489" fmla="*/ 7190421 w 8079933"/>
              <a:gd name="connsiteY3489" fmla="*/ 3383564 h 4687251"/>
              <a:gd name="connsiteX3490" fmla="*/ 7193893 w 8079933"/>
              <a:gd name="connsiteY3490" fmla="*/ 3389952 h 4687251"/>
              <a:gd name="connsiteX3491" fmla="*/ 7198017 w 8079933"/>
              <a:gd name="connsiteY3491" fmla="*/ 3386920 h 4687251"/>
              <a:gd name="connsiteX3492" fmla="*/ 7196064 w 8079933"/>
              <a:gd name="connsiteY3492" fmla="*/ 3391251 h 4687251"/>
              <a:gd name="connsiteX3493" fmla="*/ 7194544 w 8079933"/>
              <a:gd name="connsiteY3493" fmla="*/ 3397964 h 4687251"/>
              <a:gd name="connsiteX3494" fmla="*/ 7189878 w 8079933"/>
              <a:gd name="connsiteY3494" fmla="*/ 3401212 h 4687251"/>
              <a:gd name="connsiteX3495" fmla="*/ 7188794 w 8079933"/>
              <a:gd name="connsiteY3495" fmla="*/ 3406951 h 4687251"/>
              <a:gd name="connsiteX3496" fmla="*/ 7184235 w 8079933"/>
              <a:gd name="connsiteY3496" fmla="*/ 3414204 h 4687251"/>
              <a:gd name="connsiteX3497" fmla="*/ 7184452 w 8079933"/>
              <a:gd name="connsiteY3497" fmla="*/ 3420159 h 4687251"/>
              <a:gd name="connsiteX3498" fmla="*/ 7189661 w 8079933"/>
              <a:gd name="connsiteY3498" fmla="*/ 3426222 h 4687251"/>
              <a:gd name="connsiteX3499" fmla="*/ 7193676 w 8079933"/>
              <a:gd name="connsiteY3499" fmla="*/ 3426764 h 4687251"/>
              <a:gd name="connsiteX3500" fmla="*/ 7199862 w 8079933"/>
              <a:gd name="connsiteY3500" fmla="*/ 3433151 h 4687251"/>
              <a:gd name="connsiteX3501" fmla="*/ 7200947 w 8079933"/>
              <a:gd name="connsiteY3501" fmla="*/ 3437808 h 4687251"/>
              <a:gd name="connsiteX3502" fmla="*/ 7206915 w 8079933"/>
              <a:gd name="connsiteY3502" fmla="*/ 3442680 h 4687251"/>
              <a:gd name="connsiteX3503" fmla="*/ 7205613 w 8079933"/>
              <a:gd name="connsiteY3503" fmla="*/ 3444628 h 4687251"/>
              <a:gd name="connsiteX3504" fmla="*/ 7209953 w 8079933"/>
              <a:gd name="connsiteY3504" fmla="*/ 3445711 h 4687251"/>
              <a:gd name="connsiteX3505" fmla="*/ 7215163 w 8079933"/>
              <a:gd name="connsiteY3505" fmla="*/ 3445603 h 4687251"/>
              <a:gd name="connsiteX3506" fmla="*/ 7217876 w 8079933"/>
              <a:gd name="connsiteY3506" fmla="*/ 3447769 h 4687251"/>
              <a:gd name="connsiteX3507" fmla="*/ 7221022 w 8079933"/>
              <a:gd name="connsiteY3507" fmla="*/ 3448093 h 4687251"/>
              <a:gd name="connsiteX3508" fmla="*/ 7221348 w 8079933"/>
              <a:gd name="connsiteY3508" fmla="*/ 3451125 h 4687251"/>
              <a:gd name="connsiteX3509" fmla="*/ 7226990 w 8079933"/>
              <a:gd name="connsiteY3509" fmla="*/ 3454806 h 4687251"/>
              <a:gd name="connsiteX3510" fmla="*/ 7233285 w 8079933"/>
              <a:gd name="connsiteY3510" fmla="*/ 3455348 h 4687251"/>
              <a:gd name="connsiteX3511" fmla="*/ 7238494 w 8079933"/>
              <a:gd name="connsiteY3511" fmla="*/ 3461952 h 4687251"/>
              <a:gd name="connsiteX3512" fmla="*/ 7239795 w 8079933"/>
              <a:gd name="connsiteY3512" fmla="*/ 3465958 h 4687251"/>
              <a:gd name="connsiteX3513" fmla="*/ 7246632 w 8079933"/>
              <a:gd name="connsiteY3513" fmla="*/ 3470289 h 4687251"/>
              <a:gd name="connsiteX3514" fmla="*/ 7254120 w 8079933"/>
              <a:gd name="connsiteY3514" fmla="*/ 3470830 h 4687251"/>
              <a:gd name="connsiteX3515" fmla="*/ 7258786 w 8079933"/>
              <a:gd name="connsiteY3515" fmla="*/ 3472779 h 4687251"/>
              <a:gd name="connsiteX3516" fmla="*/ 7264429 w 8079933"/>
              <a:gd name="connsiteY3516" fmla="*/ 3473753 h 4687251"/>
              <a:gd name="connsiteX3517" fmla="*/ 7265840 w 8079933"/>
              <a:gd name="connsiteY3517" fmla="*/ 3478950 h 4687251"/>
              <a:gd name="connsiteX3518" fmla="*/ 7267468 w 8079933"/>
              <a:gd name="connsiteY3518" fmla="*/ 3481116 h 4687251"/>
              <a:gd name="connsiteX3519" fmla="*/ 7267684 w 8079933"/>
              <a:gd name="connsiteY3519" fmla="*/ 3484039 h 4687251"/>
              <a:gd name="connsiteX3520" fmla="*/ 7273653 w 8079933"/>
              <a:gd name="connsiteY3520" fmla="*/ 3488695 h 4687251"/>
              <a:gd name="connsiteX3521" fmla="*/ 7276691 w 8079933"/>
              <a:gd name="connsiteY3521" fmla="*/ 3492917 h 4687251"/>
              <a:gd name="connsiteX3522" fmla="*/ 7282986 w 8079933"/>
              <a:gd name="connsiteY3522" fmla="*/ 3493350 h 4687251"/>
              <a:gd name="connsiteX3523" fmla="*/ 7289171 w 8079933"/>
              <a:gd name="connsiteY3523" fmla="*/ 3497789 h 4687251"/>
              <a:gd name="connsiteX3524" fmla="*/ 7304363 w 8079933"/>
              <a:gd name="connsiteY3524" fmla="*/ 3491726 h 4687251"/>
              <a:gd name="connsiteX3525" fmla="*/ 7311742 w 8079933"/>
              <a:gd name="connsiteY3525" fmla="*/ 3486204 h 4687251"/>
              <a:gd name="connsiteX3526" fmla="*/ 7312285 w 8079933"/>
              <a:gd name="connsiteY3526" fmla="*/ 3477110 h 4687251"/>
              <a:gd name="connsiteX3527" fmla="*/ 7316625 w 8079933"/>
              <a:gd name="connsiteY3527" fmla="*/ 3472779 h 4687251"/>
              <a:gd name="connsiteX3528" fmla="*/ 7319447 w 8079933"/>
              <a:gd name="connsiteY3528" fmla="*/ 3465417 h 4687251"/>
              <a:gd name="connsiteX3529" fmla="*/ 7317927 w 8079933"/>
              <a:gd name="connsiteY3529" fmla="*/ 3460544 h 4687251"/>
              <a:gd name="connsiteX3530" fmla="*/ 7322160 w 8079933"/>
              <a:gd name="connsiteY3530" fmla="*/ 3455889 h 4687251"/>
              <a:gd name="connsiteX3531" fmla="*/ 7323028 w 8079933"/>
              <a:gd name="connsiteY3531" fmla="*/ 3442355 h 4687251"/>
              <a:gd name="connsiteX3532" fmla="*/ 7327912 w 8079933"/>
              <a:gd name="connsiteY3532" fmla="*/ 3433151 h 4687251"/>
              <a:gd name="connsiteX3533" fmla="*/ 7327912 w 8079933"/>
              <a:gd name="connsiteY3533" fmla="*/ 3429146 h 4687251"/>
              <a:gd name="connsiteX3534" fmla="*/ 7332469 w 8079933"/>
              <a:gd name="connsiteY3534" fmla="*/ 3425031 h 4687251"/>
              <a:gd name="connsiteX3535" fmla="*/ 7332903 w 8079933"/>
              <a:gd name="connsiteY3535" fmla="*/ 3417994 h 4687251"/>
              <a:gd name="connsiteX3536" fmla="*/ 7330625 w 8079933"/>
              <a:gd name="connsiteY3536" fmla="*/ 3411823 h 4687251"/>
              <a:gd name="connsiteX3537" fmla="*/ 7332252 w 8079933"/>
              <a:gd name="connsiteY3537" fmla="*/ 3403161 h 4687251"/>
              <a:gd name="connsiteX3538" fmla="*/ 7330081 w 8079933"/>
              <a:gd name="connsiteY3538" fmla="*/ 3395257 h 4687251"/>
              <a:gd name="connsiteX3539" fmla="*/ 7332252 w 8079933"/>
              <a:gd name="connsiteY3539" fmla="*/ 3383564 h 4687251"/>
              <a:gd name="connsiteX3540" fmla="*/ 7334964 w 8079933"/>
              <a:gd name="connsiteY3540" fmla="*/ 3381507 h 4687251"/>
              <a:gd name="connsiteX3541" fmla="*/ 7338546 w 8079933"/>
              <a:gd name="connsiteY3541" fmla="*/ 3383023 h 4687251"/>
              <a:gd name="connsiteX3542" fmla="*/ 7338004 w 8079933"/>
              <a:gd name="connsiteY3542" fmla="*/ 3379017 h 4687251"/>
              <a:gd name="connsiteX3543" fmla="*/ 7334531 w 8079933"/>
              <a:gd name="connsiteY3543" fmla="*/ 3373386 h 4687251"/>
              <a:gd name="connsiteX3544" fmla="*/ 7337136 w 8079933"/>
              <a:gd name="connsiteY3544" fmla="*/ 3368731 h 4687251"/>
              <a:gd name="connsiteX3545" fmla="*/ 7339089 w 8079933"/>
              <a:gd name="connsiteY3545" fmla="*/ 3363967 h 4687251"/>
              <a:gd name="connsiteX3546" fmla="*/ 7342127 w 8079933"/>
              <a:gd name="connsiteY3546" fmla="*/ 3364617 h 4687251"/>
              <a:gd name="connsiteX3547" fmla="*/ 7345057 w 8079933"/>
              <a:gd name="connsiteY3547" fmla="*/ 3362560 h 4687251"/>
              <a:gd name="connsiteX3548" fmla="*/ 7340608 w 8079933"/>
              <a:gd name="connsiteY3548" fmla="*/ 3358986 h 4687251"/>
              <a:gd name="connsiteX3549" fmla="*/ 7336918 w 8079933"/>
              <a:gd name="connsiteY3549" fmla="*/ 3355522 h 4687251"/>
              <a:gd name="connsiteX3550" fmla="*/ 7341042 w 8079933"/>
              <a:gd name="connsiteY3550" fmla="*/ 3349784 h 4687251"/>
              <a:gd name="connsiteX3551" fmla="*/ 7344189 w 8079933"/>
              <a:gd name="connsiteY3551" fmla="*/ 3341988 h 4687251"/>
              <a:gd name="connsiteX3552" fmla="*/ 7346902 w 8079933"/>
              <a:gd name="connsiteY3552" fmla="*/ 3342313 h 4687251"/>
              <a:gd name="connsiteX3553" fmla="*/ 7347987 w 8079933"/>
              <a:gd name="connsiteY3553" fmla="*/ 3337549 h 4687251"/>
              <a:gd name="connsiteX3554" fmla="*/ 7347987 w 8079933"/>
              <a:gd name="connsiteY3554" fmla="*/ 3335492 h 4687251"/>
              <a:gd name="connsiteX3555" fmla="*/ 7350483 w 8079933"/>
              <a:gd name="connsiteY3555" fmla="*/ 3328238 h 4687251"/>
              <a:gd name="connsiteX3556" fmla="*/ 7350483 w 8079933"/>
              <a:gd name="connsiteY3556" fmla="*/ 3319793 h 4687251"/>
              <a:gd name="connsiteX3557" fmla="*/ 7353196 w 8079933"/>
              <a:gd name="connsiteY3557" fmla="*/ 3316003 h 4687251"/>
              <a:gd name="connsiteX3558" fmla="*/ 4796274 w 8079933"/>
              <a:gd name="connsiteY3558" fmla="*/ 3313282 h 4687251"/>
              <a:gd name="connsiteX3559" fmla="*/ 4797845 w 8079933"/>
              <a:gd name="connsiteY3559" fmla="*/ 3313730 h 4687251"/>
              <a:gd name="connsiteX3560" fmla="*/ 4800775 w 8079933"/>
              <a:gd name="connsiteY3560" fmla="*/ 3315787 h 4687251"/>
              <a:gd name="connsiteX3561" fmla="*/ 4801475 w 8079933"/>
              <a:gd name="connsiteY3561" fmla="*/ 3315883 h 4687251"/>
              <a:gd name="connsiteX3562" fmla="*/ 4800776 w 8079933"/>
              <a:gd name="connsiteY3562" fmla="*/ 3315787 h 4687251"/>
              <a:gd name="connsiteX3563" fmla="*/ 4797846 w 8079933"/>
              <a:gd name="connsiteY3563" fmla="*/ 3313729 h 4687251"/>
              <a:gd name="connsiteX3564" fmla="*/ 4540335 w 8079933"/>
              <a:gd name="connsiteY3564" fmla="*/ 3311563 h 4687251"/>
              <a:gd name="connsiteX3565" fmla="*/ 4541637 w 8079933"/>
              <a:gd name="connsiteY3565" fmla="*/ 3313728 h 4687251"/>
              <a:gd name="connsiteX3566" fmla="*/ 4542072 w 8079933"/>
              <a:gd name="connsiteY3566" fmla="*/ 3317085 h 4687251"/>
              <a:gd name="connsiteX3567" fmla="*/ 4541746 w 8079933"/>
              <a:gd name="connsiteY3567" fmla="*/ 3318817 h 4687251"/>
              <a:gd name="connsiteX3568" fmla="*/ 4543591 w 8079933"/>
              <a:gd name="connsiteY3568" fmla="*/ 3318925 h 4687251"/>
              <a:gd name="connsiteX3569" fmla="*/ 4548257 w 8079933"/>
              <a:gd name="connsiteY3569" fmla="*/ 3321091 h 4687251"/>
              <a:gd name="connsiteX3570" fmla="*/ 4543591 w 8079933"/>
              <a:gd name="connsiteY3570" fmla="*/ 3318925 h 4687251"/>
              <a:gd name="connsiteX3571" fmla="*/ 4541746 w 8079933"/>
              <a:gd name="connsiteY3571" fmla="*/ 3318817 h 4687251"/>
              <a:gd name="connsiteX3572" fmla="*/ 4542072 w 8079933"/>
              <a:gd name="connsiteY3572" fmla="*/ 3317085 h 4687251"/>
              <a:gd name="connsiteX3573" fmla="*/ 4541638 w 8079933"/>
              <a:gd name="connsiteY3573" fmla="*/ 3313729 h 4687251"/>
              <a:gd name="connsiteX3574" fmla="*/ 4794590 w 8079933"/>
              <a:gd name="connsiteY3574" fmla="*/ 3310915 h 4687251"/>
              <a:gd name="connsiteX3575" fmla="*/ 4794807 w 8079933"/>
              <a:gd name="connsiteY3575" fmla="*/ 3312863 h 4687251"/>
              <a:gd name="connsiteX3576" fmla="*/ 4794808 w 8079933"/>
              <a:gd name="connsiteY3576" fmla="*/ 3312863 h 4687251"/>
              <a:gd name="connsiteX3577" fmla="*/ 4794591 w 8079933"/>
              <a:gd name="connsiteY3577" fmla="*/ 3310915 h 4687251"/>
              <a:gd name="connsiteX3578" fmla="*/ 4971473 w 8079933"/>
              <a:gd name="connsiteY3578" fmla="*/ 3309073 h 4687251"/>
              <a:gd name="connsiteX3579" fmla="*/ 4974077 w 8079933"/>
              <a:gd name="connsiteY3579" fmla="*/ 3309397 h 4687251"/>
              <a:gd name="connsiteX3580" fmla="*/ 4976248 w 8079933"/>
              <a:gd name="connsiteY3580" fmla="*/ 3314053 h 4687251"/>
              <a:gd name="connsiteX3581" fmla="*/ 4974512 w 8079933"/>
              <a:gd name="connsiteY3581" fmla="*/ 3316435 h 4687251"/>
              <a:gd name="connsiteX3582" fmla="*/ 4976031 w 8079933"/>
              <a:gd name="connsiteY3582" fmla="*/ 3321091 h 4687251"/>
              <a:gd name="connsiteX3583" fmla="*/ 4974186 w 8079933"/>
              <a:gd name="connsiteY3583" fmla="*/ 3323797 h 4687251"/>
              <a:gd name="connsiteX3584" fmla="*/ 4971907 w 8079933"/>
              <a:gd name="connsiteY3584" fmla="*/ 3324447 h 4687251"/>
              <a:gd name="connsiteX3585" fmla="*/ 4969628 w 8079933"/>
              <a:gd name="connsiteY3585" fmla="*/ 3323473 h 4687251"/>
              <a:gd name="connsiteX3586" fmla="*/ 4968977 w 8079933"/>
              <a:gd name="connsiteY3586" fmla="*/ 3318059 h 4687251"/>
              <a:gd name="connsiteX3587" fmla="*/ 4967892 w 8079933"/>
              <a:gd name="connsiteY3587" fmla="*/ 3314919 h 4687251"/>
              <a:gd name="connsiteX3588" fmla="*/ 4532414 w 8079933"/>
              <a:gd name="connsiteY3588" fmla="*/ 3308207 h 4687251"/>
              <a:gd name="connsiteX3589" fmla="*/ 4530894 w 8079933"/>
              <a:gd name="connsiteY3589" fmla="*/ 3309831 h 4687251"/>
              <a:gd name="connsiteX3590" fmla="*/ 4529104 w 8079933"/>
              <a:gd name="connsiteY3590" fmla="*/ 3309885 h 4687251"/>
              <a:gd name="connsiteX3591" fmla="*/ 4530894 w 8079933"/>
              <a:gd name="connsiteY3591" fmla="*/ 3309831 h 4687251"/>
              <a:gd name="connsiteX3592" fmla="*/ 4852973 w 8079933"/>
              <a:gd name="connsiteY3592" fmla="*/ 3308100 h 4687251"/>
              <a:gd name="connsiteX3593" fmla="*/ 4856227 w 8079933"/>
              <a:gd name="connsiteY3593" fmla="*/ 3310481 h 4687251"/>
              <a:gd name="connsiteX3594" fmla="*/ 4856228 w 8079933"/>
              <a:gd name="connsiteY3594" fmla="*/ 3310481 h 4687251"/>
              <a:gd name="connsiteX3595" fmla="*/ 7349398 w 8079933"/>
              <a:gd name="connsiteY3595" fmla="*/ 3306259 h 4687251"/>
              <a:gd name="connsiteX3596" fmla="*/ 7352437 w 8079933"/>
              <a:gd name="connsiteY3596" fmla="*/ 3306801 h 4687251"/>
              <a:gd name="connsiteX3597" fmla="*/ 7354174 w 8079933"/>
              <a:gd name="connsiteY3597" fmla="*/ 3310590 h 4687251"/>
              <a:gd name="connsiteX3598" fmla="*/ 7351785 w 8079933"/>
              <a:gd name="connsiteY3598" fmla="*/ 3310806 h 4687251"/>
              <a:gd name="connsiteX3599" fmla="*/ 7349507 w 8079933"/>
              <a:gd name="connsiteY3599" fmla="*/ 3312106 h 4687251"/>
              <a:gd name="connsiteX3600" fmla="*/ 4467087 w 8079933"/>
              <a:gd name="connsiteY3600" fmla="*/ 3306041 h 4687251"/>
              <a:gd name="connsiteX3601" fmla="*/ 4467087 w 8079933"/>
              <a:gd name="connsiteY3601" fmla="*/ 3306042 h 4687251"/>
              <a:gd name="connsiteX3602" fmla="*/ 4467350 w 8079933"/>
              <a:gd name="connsiteY3602" fmla="*/ 3306740 h 4687251"/>
              <a:gd name="connsiteX3603" fmla="*/ 4475334 w 8079933"/>
              <a:gd name="connsiteY3603" fmla="*/ 3304201 h 4687251"/>
              <a:gd name="connsiteX3604" fmla="*/ 4474032 w 8079933"/>
              <a:gd name="connsiteY3604" fmla="*/ 3305067 h 4687251"/>
              <a:gd name="connsiteX3605" fmla="*/ 4471970 w 8079933"/>
              <a:gd name="connsiteY3605" fmla="*/ 3305717 h 4687251"/>
              <a:gd name="connsiteX3606" fmla="*/ 4470451 w 8079933"/>
              <a:gd name="connsiteY3606" fmla="*/ 3307341 h 4687251"/>
              <a:gd name="connsiteX3607" fmla="*/ 4467738 w 8079933"/>
              <a:gd name="connsiteY3607" fmla="*/ 3307774 h 4687251"/>
              <a:gd name="connsiteX3608" fmla="*/ 4467739 w 8079933"/>
              <a:gd name="connsiteY3608" fmla="*/ 3307775 h 4687251"/>
              <a:gd name="connsiteX3609" fmla="*/ 4470452 w 8079933"/>
              <a:gd name="connsiteY3609" fmla="*/ 3307342 h 4687251"/>
              <a:gd name="connsiteX3610" fmla="*/ 4471971 w 8079933"/>
              <a:gd name="connsiteY3610" fmla="*/ 3305718 h 4687251"/>
              <a:gd name="connsiteX3611" fmla="*/ 4474032 w 8079933"/>
              <a:gd name="connsiteY3611" fmla="*/ 3305068 h 4687251"/>
              <a:gd name="connsiteX3612" fmla="*/ 4475335 w 8079933"/>
              <a:gd name="connsiteY3612" fmla="*/ 3304202 h 4687251"/>
              <a:gd name="connsiteX3613" fmla="*/ 4477613 w 8079933"/>
              <a:gd name="connsiteY3613" fmla="*/ 3304202 h 4687251"/>
              <a:gd name="connsiteX3614" fmla="*/ 4480343 w 8079933"/>
              <a:gd name="connsiteY3614" fmla="*/ 3306134 h 4687251"/>
              <a:gd name="connsiteX3615" fmla="*/ 4477613 w 8079933"/>
              <a:gd name="connsiteY3615" fmla="*/ 3304201 h 4687251"/>
              <a:gd name="connsiteX3616" fmla="*/ 6896884 w 8079933"/>
              <a:gd name="connsiteY3616" fmla="*/ 3303552 h 4687251"/>
              <a:gd name="connsiteX3617" fmla="*/ 6898077 w 8079933"/>
              <a:gd name="connsiteY3617" fmla="*/ 3306258 h 4687251"/>
              <a:gd name="connsiteX3618" fmla="*/ 6896558 w 8079933"/>
              <a:gd name="connsiteY3618" fmla="*/ 3310048 h 4687251"/>
              <a:gd name="connsiteX3619" fmla="*/ 6885707 w 8079933"/>
              <a:gd name="connsiteY3619" fmla="*/ 3314595 h 4687251"/>
              <a:gd name="connsiteX3620" fmla="*/ 6882343 w 8079933"/>
              <a:gd name="connsiteY3620" fmla="*/ 3313296 h 4687251"/>
              <a:gd name="connsiteX3621" fmla="*/ 6885924 w 8079933"/>
              <a:gd name="connsiteY3621" fmla="*/ 3310048 h 4687251"/>
              <a:gd name="connsiteX3622" fmla="*/ 6893303 w 8079933"/>
              <a:gd name="connsiteY3622" fmla="*/ 3306475 h 4687251"/>
              <a:gd name="connsiteX3623" fmla="*/ 6892435 w 8079933"/>
              <a:gd name="connsiteY3623" fmla="*/ 3305609 h 4687251"/>
              <a:gd name="connsiteX3624" fmla="*/ 4509083 w 8079933"/>
              <a:gd name="connsiteY3624" fmla="*/ 3302576 h 4687251"/>
              <a:gd name="connsiteX3625" fmla="*/ 4504633 w 8079933"/>
              <a:gd name="connsiteY3625" fmla="*/ 3303118 h 4687251"/>
              <a:gd name="connsiteX3626" fmla="*/ 4500836 w 8079933"/>
              <a:gd name="connsiteY3626" fmla="*/ 3304634 h 4687251"/>
              <a:gd name="connsiteX3627" fmla="*/ 4496712 w 8079933"/>
              <a:gd name="connsiteY3627" fmla="*/ 3306583 h 4687251"/>
              <a:gd name="connsiteX3628" fmla="*/ 4494541 w 8079933"/>
              <a:gd name="connsiteY3628" fmla="*/ 3307449 h 4687251"/>
              <a:gd name="connsiteX3629" fmla="*/ 4491937 w 8079933"/>
              <a:gd name="connsiteY3629" fmla="*/ 3308098 h 4687251"/>
              <a:gd name="connsiteX3630" fmla="*/ 4489766 w 8079933"/>
              <a:gd name="connsiteY3630" fmla="*/ 3307666 h 4687251"/>
              <a:gd name="connsiteX3631" fmla="*/ 4483582 w 8079933"/>
              <a:gd name="connsiteY3631" fmla="*/ 3307449 h 4687251"/>
              <a:gd name="connsiteX3632" fmla="*/ 4480977 w 8079933"/>
              <a:gd name="connsiteY3632" fmla="*/ 3306583 h 4687251"/>
              <a:gd name="connsiteX3633" fmla="*/ 4480978 w 8079933"/>
              <a:gd name="connsiteY3633" fmla="*/ 3306583 h 4687251"/>
              <a:gd name="connsiteX3634" fmla="*/ 4483582 w 8079933"/>
              <a:gd name="connsiteY3634" fmla="*/ 3307450 h 4687251"/>
              <a:gd name="connsiteX3635" fmla="*/ 4489767 w 8079933"/>
              <a:gd name="connsiteY3635" fmla="*/ 3307667 h 4687251"/>
              <a:gd name="connsiteX3636" fmla="*/ 4491938 w 8079933"/>
              <a:gd name="connsiteY3636" fmla="*/ 3308099 h 4687251"/>
              <a:gd name="connsiteX3637" fmla="*/ 4494542 w 8079933"/>
              <a:gd name="connsiteY3637" fmla="*/ 3307450 h 4687251"/>
              <a:gd name="connsiteX3638" fmla="*/ 4496712 w 8079933"/>
              <a:gd name="connsiteY3638" fmla="*/ 3306583 h 4687251"/>
              <a:gd name="connsiteX3639" fmla="*/ 4500836 w 8079933"/>
              <a:gd name="connsiteY3639" fmla="*/ 3304635 h 4687251"/>
              <a:gd name="connsiteX3640" fmla="*/ 4504634 w 8079933"/>
              <a:gd name="connsiteY3640" fmla="*/ 3303119 h 4687251"/>
              <a:gd name="connsiteX3641" fmla="*/ 4509083 w 8079933"/>
              <a:gd name="connsiteY3641" fmla="*/ 3302577 h 4687251"/>
              <a:gd name="connsiteX3642" fmla="*/ 6861400 w 8079933"/>
              <a:gd name="connsiteY3642" fmla="*/ 3302470 h 4687251"/>
              <a:gd name="connsiteX3643" fmla="*/ 6864004 w 8079933"/>
              <a:gd name="connsiteY3643" fmla="*/ 3304202 h 4687251"/>
              <a:gd name="connsiteX3644" fmla="*/ 6864547 w 8079933"/>
              <a:gd name="connsiteY3644" fmla="*/ 3306585 h 4687251"/>
              <a:gd name="connsiteX3645" fmla="*/ 6861508 w 8079933"/>
              <a:gd name="connsiteY3645" fmla="*/ 3308101 h 4687251"/>
              <a:gd name="connsiteX3646" fmla="*/ 6857168 w 8079933"/>
              <a:gd name="connsiteY3646" fmla="*/ 3307884 h 4687251"/>
              <a:gd name="connsiteX3647" fmla="*/ 6859447 w 8079933"/>
              <a:gd name="connsiteY3647" fmla="*/ 3303986 h 4687251"/>
              <a:gd name="connsiteX3648" fmla="*/ 4616297 w 8079933"/>
              <a:gd name="connsiteY3648" fmla="*/ 3302468 h 4687251"/>
              <a:gd name="connsiteX3649" fmla="*/ 4616622 w 8079933"/>
              <a:gd name="connsiteY3649" fmla="*/ 3315678 h 4687251"/>
              <a:gd name="connsiteX3650" fmla="*/ 4616948 w 8079933"/>
              <a:gd name="connsiteY3650" fmla="*/ 3321849 h 4687251"/>
              <a:gd name="connsiteX3651" fmla="*/ 4618710 w 8079933"/>
              <a:gd name="connsiteY3651" fmla="*/ 3323182 h 4687251"/>
              <a:gd name="connsiteX3652" fmla="*/ 4616948 w 8079933"/>
              <a:gd name="connsiteY3652" fmla="*/ 3321848 h 4687251"/>
              <a:gd name="connsiteX3653" fmla="*/ 4616622 w 8079933"/>
              <a:gd name="connsiteY3653" fmla="*/ 3315677 h 4687251"/>
              <a:gd name="connsiteX3654" fmla="*/ 2397563 w 8079933"/>
              <a:gd name="connsiteY3654" fmla="*/ 3298129 h 4687251"/>
              <a:gd name="connsiteX3655" fmla="*/ 2397024 w 8079933"/>
              <a:gd name="connsiteY3655" fmla="*/ 3299112 h 4687251"/>
              <a:gd name="connsiteX3656" fmla="*/ 2400062 w 8079933"/>
              <a:gd name="connsiteY3656" fmla="*/ 3310156 h 4687251"/>
              <a:gd name="connsiteX3657" fmla="*/ 2398000 w 8079933"/>
              <a:gd name="connsiteY3657" fmla="*/ 3314920 h 4687251"/>
              <a:gd name="connsiteX3658" fmla="*/ 2402124 w 8079933"/>
              <a:gd name="connsiteY3658" fmla="*/ 3323906 h 4687251"/>
              <a:gd name="connsiteX3659" fmla="*/ 2407658 w 8079933"/>
              <a:gd name="connsiteY3659" fmla="*/ 3326288 h 4687251"/>
              <a:gd name="connsiteX3660" fmla="*/ 2409394 w 8079933"/>
              <a:gd name="connsiteY3660" fmla="*/ 3333543 h 4687251"/>
              <a:gd name="connsiteX3661" fmla="*/ 2414929 w 8079933"/>
              <a:gd name="connsiteY3661" fmla="*/ 3336249 h 4687251"/>
              <a:gd name="connsiteX3662" fmla="*/ 2422525 w 8079933"/>
              <a:gd name="connsiteY3662" fmla="*/ 3341121 h 4687251"/>
              <a:gd name="connsiteX3663" fmla="*/ 2427734 w 8079933"/>
              <a:gd name="connsiteY3663" fmla="*/ 3345994 h 4687251"/>
              <a:gd name="connsiteX3664" fmla="*/ 2429796 w 8079933"/>
              <a:gd name="connsiteY3664" fmla="*/ 3343503 h 4687251"/>
              <a:gd name="connsiteX3665" fmla="*/ 2439779 w 8079933"/>
              <a:gd name="connsiteY3665" fmla="*/ 3341121 h 4687251"/>
              <a:gd name="connsiteX3666" fmla="*/ 2448026 w 8079933"/>
              <a:gd name="connsiteY3666" fmla="*/ 3349349 h 4687251"/>
              <a:gd name="connsiteX3667" fmla="*/ 2454320 w 8079933"/>
              <a:gd name="connsiteY3667" fmla="*/ 3347618 h 4687251"/>
              <a:gd name="connsiteX3668" fmla="*/ 2462893 w 8079933"/>
              <a:gd name="connsiteY3668" fmla="*/ 3356929 h 4687251"/>
              <a:gd name="connsiteX3669" fmla="*/ 2466691 w 8079933"/>
              <a:gd name="connsiteY3669" fmla="*/ 3356604 h 4687251"/>
              <a:gd name="connsiteX3670" fmla="*/ 2477000 w 8079933"/>
              <a:gd name="connsiteY3670" fmla="*/ 3360069 h 4687251"/>
              <a:gd name="connsiteX3671" fmla="*/ 2483620 w 8079933"/>
              <a:gd name="connsiteY3671" fmla="*/ 3362451 h 4687251"/>
              <a:gd name="connsiteX3672" fmla="*/ 2485031 w 8079933"/>
              <a:gd name="connsiteY3672" fmla="*/ 3369380 h 4687251"/>
              <a:gd name="connsiteX3673" fmla="*/ 2489806 w 8079933"/>
              <a:gd name="connsiteY3673" fmla="*/ 3370679 h 4687251"/>
              <a:gd name="connsiteX3674" fmla="*/ 2495990 w 8079933"/>
              <a:gd name="connsiteY3674" fmla="*/ 3374144 h 4687251"/>
              <a:gd name="connsiteX3675" fmla="*/ 2509881 w 8079933"/>
              <a:gd name="connsiteY3675" fmla="*/ 3372844 h 4687251"/>
              <a:gd name="connsiteX3676" fmla="*/ 2519539 w 8079933"/>
              <a:gd name="connsiteY3676" fmla="*/ 3378366 h 4687251"/>
              <a:gd name="connsiteX3677" fmla="*/ 2521601 w 8079933"/>
              <a:gd name="connsiteY3677" fmla="*/ 3382481 h 4687251"/>
              <a:gd name="connsiteX3678" fmla="*/ 2520190 w 8079933"/>
              <a:gd name="connsiteY3678" fmla="*/ 3393416 h 4687251"/>
              <a:gd name="connsiteX3679" fmla="*/ 2522251 w 8079933"/>
              <a:gd name="connsiteY3679" fmla="*/ 3402402 h 4687251"/>
              <a:gd name="connsiteX3680" fmla="*/ 2519539 w 8079933"/>
              <a:gd name="connsiteY3680" fmla="*/ 3407924 h 4687251"/>
              <a:gd name="connsiteX3681" fmla="*/ 2528437 w 8079933"/>
              <a:gd name="connsiteY3681" fmla="*/ 3423082 h 4687251"/>
              <a:gd name="connsiteX3682" fmla="*/ 2527786 w 8079933"/>
              <a:gd name="connsiteY3682" fmla="*/ 3434125 h 4687251"/>
              <a:gd name="connsiteX3683" fmla="*/ 2569891 w 8079933"/>
              <a:gd name="connsiteY3683" fmla="*/ 3434775 h 4687251"/>
              <a:gd name="connsiteX3684" fmla="*/ 2571952 w 8079933"/>
              <a:gd name="connsiteY3684" fmla="*/ 3449933 h 4687251"/>
              <a:gd name="connsiteX3685" fmla="*/ 2571302 w 8079933"/>
              <a:gd name="connsiteY3685" fmla="*/ 3459569 h 4687251"/>
              <a:gd name="connsiteX3686" fmla="*/ 2583672 w 8079933"/>
              <a:gd name="connsiteY3686" fmla="*/ 3462384 h 4687251"/>
              <a:gd name="connsiteX3687" fmla="*/ 2596152 w 8079933"/>
              <a:gd name="connsiteY3687" fmla="*/ 3484363 h 4687251"/>
              <a:gd name="connsiteX3688" fmla="*/ 2596803 w 8079933"/>
              <a:gd name="connsiteY3688" fmla="*/ 3496056 h 4687251"/>
              <a:gd name="connsiteX3689" fmla="*/ 2585083 w 8079933"/>
              <a:gd name="connsiteY3689" fmla="*/ 3519442 h 4687251"/>
              <a:gd name="connsiteX3690" fmla="*/ 2585734 w 8079933"/>
              <a:gd name="connsiteY3690" fmla="*/ 3522907 h 4687251"/>
              <a:gd name="connsiteX3691" fmla="*/ 2582588 w 8079933"/>
              <a:gd name="connsiteY3691" fmla="*/ 3527346 h 4687251"/>
              <a:gd name="connsiteX3692" fmla="*/ 2584758 w 8079933"/>
              <a:gd name="connsiteY3692" fmla="*/ 3529836 h 4687251"/>
              <a:gd name="connsiteX3693" fmla="*/ 2579875 w 8079933"/>
              <a:gd name="connsiteY3693" fmla="*/ 3524315 h 4687251"/>
              <a:gd name="connsiteX3694" fmla="*/ 2576076 w 8079933"/>
              <a:gd name="connsiteY3694" fmla="*/ 3523557 h 4687251"/>
              <a:gd name="connsiteX3695" fmla="*/ 2560233 w 8079933"/>
              <a:gd name="connsiteY3695" fmla="*/ 3511971 h 4687251"/>
              <a:gd name="connsiteX3696" fmla="*/ 2532995 w 8079933"/>
              <a:gd name="connsiteY3696" fmla="*/ 3511539 h 4687251"/>
              <a:gd name="connsiteX3697" fmla="*/ 2500223 w 8079933"/>
              <a:gd name="connsiteY3697" fmla="*/ 3520634 h 4687251"/>
              <a:gd name="connsiteX3698" fmla="*/ 2494689 w 8079933"/>
              <a:gd name="connsiteY3698" fmla="*/ 3524206 h 4687251"/>
              <a:gd name="connsiteX3699" fmla="*/ 2494689 w 8079933"/>
              <a:gd name="connsiteY3699" fmla="*/ 3524207 h 4687251"/>
              <a:gd name="connsiteX3700" fmla="*/ 2500223 w 8079933"/>
              <a:gd name="connsiteY3700" fmla="*/ 3520635 h 4687251"/>
              <a:gd name="connsiteX3701" fmla="*/ 2532995 w 8079933"/>
              <a:gd name="connsiteY3701" fmla="*/ 3511540 h 4687251"/>
              <a:gd name="connsiteX3702" fmla="*/ 2560233 w 8079933"/>
              <a:gd name="connsiteY3702" fmla="*/ 3511973 h 4687251"/>
              <a:gd name="connsiteX3703" fmla="*/ 2576077 w 8079933"/>
              <a:gd name="connsiteY3703" fmla="*/ 3523558 h 4687251"/>
              <a:gd name="connsiteX3704" fmla="*/ 2579875 w 8079933"/>
              <a:gd name="connsiteY3704" fmla="*/ 3524316 h 4687251"/>
              <a:gd name="connsiteX3705" fmla="*/ 2584758 w 8079933"/>
              <a:gd name="connsiteY3705" fmla="*/ 3529837 h 4687251"/>
              <a:gd name="connsiteX3706" fmla="*/ 2583347 w 8079933"/>
              <a:gd name="connsiteY3706" fmla="*/ 3535035 h 4687251"/>
              <a:gd name="connsiteX3707" fmla="*/ 2589207 w 8079933"/>
              <a:gd name="connsiteY3707" fmla="*/ 3539474 h 4687251"/>
              <a:gd name="connsiteX3708" fmla="*/ 2589532 w 8079933"/>
              <a:gd name="connsiteY3708" fmla="*/ 3546727 h 4687251"/>
              <a:gd name="connsiteX3709" fmla="*/ 2594416 w 8079933"/>
              <a:gd name="connsiteY3709" fmla="*/ 3553874 h 4687251"/>
              <a:gd name="connsiteX3710" fmla="*/ 2591920 w 8079933"/>
              <a:gd name="connsiteY3710" fmla="*/ 3568382 h 4687251"/>
              <a:gd name="connsiteX3711" fmla="*/ 2593330 w 8079933"/>
              <a:gd name="connsiteY3711" fmla="*/ 3574228 h 4687251"/>
              <a:gd name="connsiteX3712" fmla="*/ 2591594 w 8079933"/>
              <a:gd name="connsiteY3712" fmla="*/ 3579426 h 4687251"/>
              <a:gd name="connsiteX3713" fmla="*/ 2593330 w 8079933"/>
              <a:gd name="connsiteY3713" fmla="*/ 3584622 h 4687251"/>
              <a:gd name="connsiteX3714" fmla="*/ 2602338 w 8079933"/>
              <a:gd name="connsiteY3714" fmla="*/ 3583865 h 4687251"/>
              <a:gd name="connsiteX3715" fmla="*/ 2606136 w 8079933"/>
              <a:gd name="connsiteY3715" fmla="*/ 3585597 h 4687251"/>
              <a:gd name="connsiteX3716" fmla="*/ 2617205 w 8079933"/>
              <a:gd name="connsiteY3716" fmla="*/ 3584947 h 4687251"/>
              <a:gd name="connsiteX3717" fmla="*/ 2624041 w 8079933"/>
              <a:gd name="connsiteY3717" fmla="*/ 3587329 h 4687251"/>
              <a:gd name="connsiteX3718" fmla="*/ 2635110 w 8079933"/>
              <a:gd name="connsiteY3718" fmla="*/ 3582890 h 4687251"/>
              <a:gd name="connsiteX3719" fmla="*/ 2640969 w 8079933"/>
              <a:gd name="connsiteY3719" fmla="*/ 3587004 h 4687251"/>
              <a:gd name="connsiteX3720" fmla="*/ 2645419 w 8079933"/>
              <a:gd name="connsiteY3720" fmla="*/ 3588304 h 4687251"/>
              <a:gd name="connsiteX3721" fmla="*/ 2647155 w 8079933"/>
              <a:gd name="connsiteY3721" fmla="*/ 3593826 h 4687251"/>
              <a:gd name="connsiteX3722" fmla="*/ 2653232 w 8079933"/>
              <a:gd name="connsiteY3722" fmla="*/ 3619810 h 4687251"/>
              <a:gd name="connsiteX3723" fmla="*/ 2657356 w 8079933"/>
              <a:gd name="connsiteY3723" fmla="*/ 3628905 h 4687251"/>
              <a:gd name="connsiteX3724" fmla="*/ 2661696 w 8079933"/>
              <a:gd name="connsiteY3724" fmla="*/ 3630096 h 4687251"/>
              <a:gd name="connsiteX3725" fmla="*/ 2671137 w 8079933"/>
              <a:gd name="connsiteY3725" fmla="*/ 3624899 h 4687251"/>
              <a:gd name="connsiteX3726" fmla="*/ 2676455 w 8079933"/>
              <a:gd name="connsiteY3726" fmla="*/ 3626956 h 4687251"/>
              <a:gd name="connsiteX3727" fmla="*/ 2680144 w 8079933"/>
              <a:gd name="connsiteY3727" fmla="*/ 3630312 h 4687251"/>
              <a:gd name="connsiteX3728" fmla="*/ 2683345 w 8079933"/>
              <a:gd name="connsiteY3728" fmla="*/ 3630931 h 4687251"/>
              <a:gd name="connsiteX3729" fmla="*/ 2683833 w 8079933"/>
              <a:gd name="connsiteY3729" fmla="*/ 3630095 h 4687251"/>
              <a:gd name="connsiteX3730" fmla="*/ 2680361 w 8079933"/>
              <a:gd name="connsiteY3730" fmla="*/ 3629446 h 4687251"/>
              <a:gd name="connsiteX3731" fmla="*/ 2676779 w 8079933"/>
              <a:gd name="connsiteY3731" fmla="*/ 3626198 h 4687251"/>
              <a:gd name="connsiteX3732" fmla="*/ 2671462 w 8079933"/>
              <a:gd name="connsiteY3732" fmla="*/ 3624141 h 4687251"/>
              <a:gd name="connsiteX3733" fmla="*/ 2662021 w 8079933"/>
              <a:gd name="connsiteY3733" fmla="*/ 3629337 h 4687251"/>
              <a:gd name="connsiteX3734" fmla="*/ 2657681 w 8079933"/>
              <a:gd name="connsiteY3734" fmla="*/ 3628147 h 4687251"/>
              <a:gd name="connsiteX3735" fmla="*/ 2653557 w 8079933"/>
              <a:gd name="connsiteY3735" fmla="*/ 3619052 h 4687251"/>
              <a:gd name="connsiteX3736" fmla="*/ 2647480 w 8079933"/>
              <a:gd name="connsiteY3736" fmla="*/ 3593067 h 4687251"/>
              <a:gd name="connsiteX3737" fmla="*/ 2645744 w 8079933"/>
              <a:gd name="connsiteY3737" fmla="*/ 3587545 h 4687251"/>
              <a:gd name="connsiteX3738" fmla="*/ 2641295 w 8079933"/>
              <a:gd name="connsiteY3738" fmla="*/ 3586138 h 4687251"/>
              <a:gd name="connsiteX3739" fmla="*/ 2635435 w 8079933"/>
              <a:gd name="connsiteY3739" fmla="*/ 3582023 h 4687251"/>
              <a:gd name="connsiteX3740" fmla="*/ 2624583 w 8079933"/>
              <a:gd name="connsiteY3740" fmla="*/ 3586462 h 4687251"/>
              <a:gd name="connsiteX3741" fmla="*/ 2617638 w 8079933"/>
              <a:gd name="connsiteY3741" fmla="*/ 3584080 h 4687251"/>
              <a:gd name="connsiteX3742" fmla="*/ 2606786 w 8079933"/>
              <a:gd name="connsiteY3742" fmla="*/ 3584731 h 4687251"/>
              <a:gd name="connsiteX3743" fmla="*/ 2602988 w 8079933"/>
              <a:gd name="connsiteY3743" fmla="*/ 3582998 h 4687251"/>
              <a:gd name="connsiteX3744" fmla="*/ 2593981 w 8079933"/>
              <a:gd name="connsiteY3744" fmla="*/ 3583648 h 4687251"/>
              <a:gd name="connsiteX3745" fmla="*/ 2592245 w 8079933"/>
              <a:gd name="connsiteY3745" fmla="*/ 3578450 h 4687251"/>
              <a:gd name="connsiteX3746" fmla="*/ 2593981 w 8079933"/>
              <a:gd name="connsiteY3746" fmla="*/ 3573253 h 4687251"/>
              <a:gd name="connsiteX3747" fmla="*/ 2592571 w 8079933"/>
              <a:gd name="connsiteY3747" fmla="*/ 3567407 h 4687251"/>
              <a:gd name="connsiteX3748" fmla="*/ 2594958 w 8079933"/>
              <a:gd name="connsiteY3748" fmla="*/ 3552899 h 4687251"/>
              <a:gd name="connsiteX3749" fmla="*/ 2590075 w 8079933"/>
              <a:gd name="connsiteY3749" fmla="*/ 3545753 h 4687251"/>
              <a:gd name="connsiteX3750" fmla="*/ 2590075 w 8079933"/>
              <a:gd name="connsiteY3750" fmla="*/ 3538498 h 4687251"/>
              <a:gd name="connsiteX3751" fmla="*/ 2584215 w 8079933"/>
              <a:gd name="connsiteY3751" fmla="*/ 3534059 h 4687251"/>
              <a:gd name="connsiteX3752" fmla="*/ 2585626 w 8079933"/>
              <a:gd name="connsiteY3752" fmla="*/ 3528863 h 4687251"/>
              <a:gd name="connsiteX3753" fmla="*/ 2583456 w 8079933"/>
              <a:gd name="connsiteY3753" fmla="*/ 3526372 h 4687251"/>
              <a:gd name="connsiteX3754" fmla="*/ 2586711 w 8079933"/>
              <a:gd name="connsiteY3754" fmla="*/ 3521933 h 4687251"/>
              <a:gd name="connsiteX3755" fmla="*/ 2586059 w 8079933"/>
              <a:gd name="connsiteY3755" fmla="*/ 3518469 h 4687251"/>
              <a:gd name="connsiteX3756" fmla="*/ 2597780 w 8079933"/>
              <a:gd name="connsiteY3756" fmla="*/ 3494974 h 4687251"/>
              <a:gd name="connsiteX3757" fmla="*/ 2597128 w 8079933"/>
              <a:gd name="connsiteY3757" fmla="*/ 3483280 h 4687251"/>
              <a:gd name="connsiteX3758" fmla="*/ 2584649 w 8079933"/>
              <a:gd name="connsiteY3758" fmla="*/ 3461627 h 4687251"/>
              <a:gd name="connsiteX3759" fmla="*/ 2572278 w 8079933"/>
              <a:gd name="connsiteY3759" fmla="*/ 3458919 h 4687251"/>
              <a:gd name="connsiteX3760" fmla="*/ 2572929 w 8079933"/>
              <a:gd name="connsiteY3760" fmla="*/ 3449284 h 4687251"/>
              <a:gd name="connsiteX3761" fmla="*/ 2570867 w 8079933"/>
              <a:gd name="connsiteY3761" fmla="*/ 3434125 h 4687251"/>
              <a:gd name="connsiteX3762" fmla="*/ 2528763 w 8079933"/>
              <a:gd name="connsiteY3762" fmla="*/ 3433476 h 4687251"/>
              <a:gd name="connsiteX3763" fmla="*/ 2529414 w 8079933"/>
              <a:gd name="connsiteY3763" fmla="*/ 3422649 h 4687251"/>
              <a:gd name="connsiteX3764" fmla="*/ 2520407 w 8079933"/>
              <a:gd name="connsiteY3764" fmla="*/ 3407491 h 4687251"/>
              <a:gd name="connsiteX3765" fmla="*/ 2523120 w 8079933"/>
              <a:gd name="connsiteY3765" fmla="*/ 3401970 h 4687251"/>
              <a:gd name="connsiteX3766" fmla="*/ 2521058 w 8079933"/>
              <a:gd name="connsiteY3766" fmla="*/ 3392983 h 4687251"/>
              <a:gd name="connsiteX3767" fmla="*/ 2522469 w 8079933"/>
              <a:gd name="connsiteY3767" fmla="*/ 3382156 h 4687251"/>
              <a:gd name="connsiteX3768" fmla="*/ 2520407 w 8079933"/>
              <a:gd name="connsiteY3768" fmla="*/ 3378042 h 4687251"/>
              <a:gd name="connsiteX3769" fmla="*/ 2510749 w 8079933"/>
              <a:gd name="connsiteY3769" fmla="*/ 3372520 h 4687251"/>
              <a:gd name="connsiteX3770" fmla="*/ 2496968 w 8079933"/>
              <a:gd name="connsiteY3770" fmla="*/ 3373927 h 4687251"/>
              <a:gd name="connsiteX3771" fmla="*/ 2490782 w 8079933"/>
              <a:gd name="connsiteY3771" fmla="*/ 3370463 h 4687251"/>
              <a:gd name="connsiteX3772" fmla="*/ 2485899 w 8079933"/>
              <a:gd name="connsiteY3772" fmla="*/ 3369055 h 4687251"/>
              <a:gd name="connsiteX3773" fmla="*/ 2484488 w 8079933"/>
              <a:gd name="connsiteY3773" fmla="*/ 3362126 h 4687251"/>
              <a:gd name="connsiteX3774" fmla="*/ 2477977 w 8079933"/>
              <a:gd name="connsiteY3774" fmla="*/ 3359744 h 4687251"/>
              <a:gd name="connsiteX3775" fmla="*/ 2467126 w 8079933"/>
              <a:gd name="connsiteY3775" fmla="*/ 3356279 h 4687251"/>
              <a:gd name="connsiteX3776" fmla="*/ 2463328 w 8079933"/>
              <a:gd name="connsiteY3776" fmla="*/ 3356279 h 4687251"/>
              <a:gd name="connsiteX3777" fmla="*/ 2454755 w 8079933"/>
              <a:gd name="connsiteY3777" fmla="*/ 3346968 h 4687251"/>
              <a:gd name="connsiteX3778" fmla="*/ 2448569 w 8079933"/>
              <a:gd name="connsiteY3778" fmla="*/ 3348700 h 4687251"/>
              <a:gd name="connsiteX3779" fmla="*/ 2440322 w 8079933"/>
              <a:gd name="connsiteY3779" fmla="*/ 3340471 h 4687251"/>
              <a:gd name="connsiteX3780" fmla="*/ 2430339 w 8079933"/>
              <a:gd name="connsiteY3780" fmla="*/ 3342853 h 4687251"/>
              <a:gd name="connsiteX3781" fmla="*/ 2428276 w 8079933"/>
              <a:gd name="connsiteY3781" fmla="*/ 3345235 h 4687251"/>
              <a:gd name="connsiteX3782" fmla="*/ 2423068 w 8079933"/>
              <a:gd name="connsiteY3782" fmla="*/ 3340471 h 4687251"/>
              <a:gd name="connsiteX3783" fmla="*/ 2415472 w 8079933"/>
              <a:gd name="connsiteY3783" fmla="*/ 3335600 h 4687251"/>
              <a:gd name="connsiteX3784" fmla="*/ 2409937 w 8079933"/>
              <a:gd name="connsiteY3784" fmla="*/ 3332893 h 4687251"/>
              <a:gd name="connsiteX3785" fmla="*/ 2408201 w 8079933"/>
              <a:gd name="connsiteY3785" fmla="*/ 3325639 h 4687251"/>
              <a:gd name="connsiteX3786" fmla="*/ 2402666 w 8079933"/>
              <a:gd name="connsiteY3786" fmla="*/ 3323257 h 4687251"/>
              <a:gd name="connsiteX3787" fmla="*/ 2398543 w 8079933"/>
              <a:gd name="connsiteY3787" fmla="*/ 3314270 h 4687251"/>
              <a:gd name="connsiteX3788" fmla="*/ 2400605 w 8079933"/>
              <a:gd name="connsiteY3788" fmla="*/ 3309506 h 4687251"/>
              <a:gd name="connsiteX3789" fmla="*/ 2397458 w 8079933"/>
              <a:gd name="connsiteY3789" fmla="*/ 3298679 h 4687251"/>
              <a:gd name="connsiteX3790" fmla="*/ 6896342 w 8079933"/>
              <a:gd name="connsiteY3790" fmla="*/ 3295324 h 4687251"/>
              <a:gd name="connsiteX3791" fmla="*/ 6898186 w 8079933"/>
              <a:gd name="connsiteY3791" fmla="*/ 3295324 h 4687251"/>
              <a:gd name="connsiteX3792" fmla="*/ 6896342 w 8079933"/>
              <a:gd name="connsiteY3792" fmla="*/ 3300196 h 4687251"/>
              <a:gd name="connsiteX3793" fmla="*/ 6893846 w 8079933"/>
              <a:gd name="connsiteY3793" fmla="*/ 3299222 h 4687251"/>
              <a:gd name="connsiteX3794" fmla="*/ 7352763 w 8079933"/>
              <a:gd name="connsiteY3794" fmla="*/ 3294024 h 4687251"/>
              <a:gd name="connsiteX3795" fmla="*/ 7356018 w 8079933"/>
              <a:gd name="connsiteY3795" fmla="*/ 3294457 h 4687251"/>
              <a:gd name="connsiteX3796" fmla="*/ 7354065 w 8079933"/>
              <a:gd name="connsiteY3796" fmla="*/ 3297056 h 4687251"/>
              <a:gd name="connsiteX3797" fmla="*/ 4467196 w 8079933"/>
              <a:gd name="connsiteY3797" fmla="*/ 3292833 h 4687251"/>
              <a:gd name="connsiteX3798" fmla="*/ 4467196 w 8079933"/>
              <a:gd name="connsiteY3798" fmla="*/ 3292834 h 4687251"/>
              <a:gd name="connsiteX3799" fmla="*/ 4470017 w 8079933"/>
              <a:gd name="connsiteY3799" fmla="*/ 3294998 h 4687251"/>
              <a:gd name="connsiteX3800" fmla="*/ 4470017 w 8079933"/>
              <a:gd name="connsiteY3800" fmla="*/ 3294997 h 4687251"/>
              <a:gd name="connsiteX3801" fmla="*/ 4624356 w 8079933"/>
              <a:gd name="connsiteY3801" fmla="*/ 3287585 h 4687251"/>
              <a:gd name="connsiteX3802" fmla="*/ 4624001 w 8079933"/>
              <a:gd name="connsiteY3802" fmla="*/ 3289909 h 4687251"/>
              <a:gd name="connsiteX3803" fmla="*/ 4623141 w 8079933"/>
              <a:gd name="connsiteY3803" fmla="*/ 3290364 h 4687251"/>
              <a:gd name="connsiteX3804" fmla="*/ 4624001 w 8079933"/>
              <a:gd name="connsiteY3804" fmla="*/ 3289909 h 4687251"/>
              <a:gd name="connsiteX3805" fmla="*/ 4624721 w 8079933"/>
              <a:gd name="connsiteY3805" fmla="*/ 3284652 h 4687251"/>
              <a:gd name="connsiteX3806" fmla="*/ 4624761 w 8079933"/>
              <a:gd name="connsiteY3806" fmla="*/ 3284929 h 4687251"/>
              <a:gd name="connsiteX3807" fmla="*/ 4624761 w 8079933"/>
              <a:gd name="connsiteY3807" fmla="*/ 3284928 h 4687251"/>
              <a:gd name="connsiteX3808" fmla="*/ 7560029 w 8079933"/>
              <a:gd name="connsiteY3808" fmla="*/ 3284063 h 4687251"/>
              <a:gd name="connsiteX3809" fmla="*/ 7563176 w 8079933"/>
              <a:gd name="connsiteY3809" fmla="*/ 3284604 h 4687251"/>
              <a:gd name="connsiteX3810" fmla="*/ 7565238 w 8079933"/>
              <a:gd name="connsiteY3810" fmla="*/ 3286661 h 4687251"/>
              <a:gd name="connsiteX3811" fmla="*/ 7565564 w 8079933"/>
              <a:gd name="connsiteY3811" fmla="*/ 3287852 h 4687251"/>
              <a:gd name="connsiteX3812" fmla="*/ 7567300 w 8079933"/>
              <a:gd name="connsiteY3812" fmla="*/ 3288393 h 4687251"/>
              <a:gd name="connsiteX3813" fmla="*/ 7567951 w 8079933"/>
              <a:gd name="connsiteY3813" fmla="*/ 3289909 h 4687251"/>
              <a:gd name="connsiteX3814" fmla="*/ 7570989 w 8079933"/>
              <a:gd name="connsiteY3814" fmla="*/ 3287527 h 4687251"/>
              <a:gd name="connsiteX3815" fmla="*/ 7573159 w 8079933"/>
              <a:gd name="connsiteY3815" fmla="*/ 3287419 h 4687251"/>
              <a:gd name="connsiteX3816" fmla="*/ 7573485 w 8079933"/>
              <a:gd name="connsiteY3816" fmla="*/ 3289801 h 4687251"/>
              <a:gd name="connsiteX3817" fmla="*/ 7571314 w 8079933"/>
              <a:gd name="connsiteY3817" fmla="*/ 3291425 h 4687251"/>
              <a:gd name="connsiteX3818" fmla="*/ 7570772 w 8079933"/>
              <a:gd name="connsiteY3818" fmla="*/ 3293373 h 4687251"/>
              <a:gd name="connsiteX3819" fmla="*/ 7568167 w 8079933"/>
              <a:gd name="connsiteY3819" fmla="*/ 3294240 h 4687251"/>
              <a:gd name="connsiteX3820" fmla="*/ 7564912 w 8079933"/>
              <a:gd name="connsiteY3820" fmla="*/ 3293373 h 4687251"/>
              <a:gd name="connsiteX3821" fmla="*/ 7565129 w 8079933"/>
              <a:gd name="connsiteY3821" fmla="*/ 3290450 h 4687251"/>
              <a:gd name="connsiteX3822" fmla="*/ 7563936 w 8079933"/>
              <a:gd name="connsiteY3822" fmla="*/ 3289909 h 4687251"/>
              <a:gd name="connsiteX3823" fmla="*/ 7561982 w 8079933"/>
              <a:gd name="connsiteY3823" fmla="*/ 3285903 h 4687251"/>
              <a:gd name="connsiteX3824" fmla="*/ 7560246 w 8079933"/>
              <a:gd name="connsiteY3824" fmla="*/ 3285146 h 4687251"/>
              <a:gd name="connsiteX3825" fmla="*/ 4464483 w 8079933"/>
              <a:gd name="connsiteY3825" fmla="*/ 3280924 h 4687251"/>
              <a:gd name="connsiteX3826" fmla="*/ 4467521 w 8079933"/>
              <a:gd name="connsiteY3826" fmla="*/ 3283846 h 4687251"/>
              <a:gd name="connsiteX3827" fmla="*/ 4467521 w 8079933"/>
              <a:gd name="connsiteY3827" fmla="*/ 3283846 h 4687251"/>
              <a:gd name="connsiteX3828" fmla="*/ 7556665 w 8079933"/>
              <a:gd name="connsiteY3828" fmla="*/ 3275834 h 4687251"/>
              <a:gd name="connsiteX3829" fmla="*/ 7559378 w 8079933"/>
              <a:gd name="connsiteY3829" fmla="*/ 3276375 h 4687251"/>
              <a:gd name="connsiteX3830" fmla="*/ 7561224 w 8079933"/>
              <a:gd name="connsiteY3830" fmla="*/ 3276375 h 4687251"/>
              <a:gd name="connsiteX3831" fmla="*/ 7562091 w 8079933"/>
              <a:gd name="connsiteY3831" fmla="*/ 3278324 h 4687251"/>
              <a:gd name="connsiteX3832" fmla="*/ 7561440 w 8079933"/>
              <a:gd name="connsiteY3832" fmla="*/ 3279190 h 4687251"/>
              <a:gd name="connsiteX3833" fmla="*/ 7562959 w 8079933"/>
              <a:gd name="connsiteY3833" fmla="*/ 3279190 h 4687251"/>
              <a:gd name="connsiteX3834" fmla="*/ 7564261 w 8079933"/>
              <a:gd name="connsiteY3834" fmla="*/ 3281247 h 4687251"/>
              <a:gd name="connsiteX3835" fmla="*/ 7563068 w 8079933"/>
              <a:gd name="connsiteY3835" fmla="*/ 3282871 h 4687251"/>
              <a:gd name="connsiteX3836" fmla="*/ 7562091 w 8079933"/>
              <a:gd name="connsiteY3836" fmla="*/ 3281464 h 4687251"/>
              <a:gd name="connsiteX3837" fmla="*/ 7558835 w 8079933"/>
              <a:gd name="connsiteY3837" fmla="*/ 3281788 h 4687251"/>
              <a:gd name="connsiteX3838" fmla="*/ 7556557 w 8079933"/>
              <a:gd name="connsiteY3838" fmla="*/ 3280597 h 4687251"/>
              <a:gd name="connsiteX3839" fmla="*/ 7555689 w 8079933"/>
              <a:gd name="connsiteY3839" fmla="*/ 3276483 h 4687251"/>
              <a:gd name="connsiteX3840" fmla="*/ 4737402 w 8079933"/>
              <a:gd name="connsiteY3840" fmla="*/ 3273560 h 4687251"/>
              <a:gd name="connsiteX3841" fmla="*/ 4737185 w 8079933"/>
              <a:gd name="connsiteY3841" fmla="*/ 3275293 h 4687251"/>
              <a:gd name="connsiteX3842" fmla="*/ 4734472 w 8079933"/>
              <a:gd name="connsiteY3842" fmla="*/ 3281356 h 4687251"/>
              <a:gd name="connsiteX3843" fmla="*/ 4735014 w 8079933"/>
              <a:gd name="connsiteY3843" fmla="*/ 3283630 h 4687251"/>
              <a:gd name="connsiteX3844" fmla="*/ 4739138 w 8079933"/>
              <a:gd name="connsiteY3844" fmla="*/ 3286553 h 4687251"/>
              <a:gd name="connsiteX3845" fmla="*/ 4740440 w 8079933"/>
              <a:gd name="connsiteY3845" fmla="*/ 3290126 h 4687251"/>
              <a:gd name="connsiteX3846" fmla="*/ 4740765 w 8079933"/>
              <a:gd name="connsiteY3846" fmla="*/ 3295106 h 4687251"/>
              <a:gd name="connsiteX3847" fmla="*/ 4739572 w 8079933"/>
              <a:gd name="connsiteY3847" fmla="*/ 3296730 h 4687251"/>
              <a:gd name="connsiteX3848" fmla="*/ 4739572 w 8079933"/>
              <a:gd name="connsiteY3848" fmla="*/ 3298138 h 4687251"/>
              <a:gd name="connsiteX3849" fmla="*/ 4734146 w 8079933"/>
              <a:gd name="connsiteY3849" fmla="*/ 3303660 h 4687251"/>
              <a:gd name="connsiteX3850" fmla="*/ 4733387 w 8079933"/>
              <a:gd name="connsiteY3850" fmla="*/ 3307665 h 4687251"/>
              <a:gd name="connsiteX3851" fmla="*/ 4734905 w 8079933"/>
              <a:gd name="connsiteY3851" fmla="*/ 3311780 h 4687251"/>
              <a:gd name="connsiteX3852" fmla="*/ 4735340 w 8079933"/>
              <a:gd name="connsiteY3852" fmla="*/ 3315352 h 4687251"/>
              <a:gd name="connsiteX3853" fmla="*/ 4736208 w 8079933"/>
              <a:gd name="connsiteY3853" fmla="*/ 3318276 h 4687251"/>
              <a:gd name="connsiteX3854" fmla="*/ 4734363 w 8079933"/>
              <a:gd name="connsiteY3854" fmla="*/ 3321307 h 4687251"/>
              <a:gd name="connsiteX3855" fmla="*/ 4736534 w 8079933"/>
              <a:gd name="connsiteY3855" fmla="*/ 3325097 h 4687251"/>
              <a:gd name="connsiteX3856" fmla="*/ 4735557 w 8079933"/>
              <a:gd name="connsiteY3856" fmla="*/ 3327587 h 4687251"/>
              <a:gd name="connsiteX3857" fmla="*/ 4734363 w 8079933"/>
              <a:gd name="connsiteY3857" fmla="*/ 3328670 h 4687251"/>
              <a:gd name="connsiteX3858" fmla="*/ 4735340 w 8079933"/>
              <a:gd name="connsiteY3858" fmla="*/ 3331810 h 4687251"/>
              <a:gd name="connsiteX3859" fmla="*/ 4735774 w 8079933"/>
              <a:gd name="connsiteY3859" fmla="*/ 3334084 h 4687251"/>
              <a:gd name="connsiteX3860" fmla="*/ 4738270 w 8079933"/>
              <a:gd name="connsiteY3860" fmla="*/ 3335707 h 4687251"/>
              <a:gd name="connsiteX3861" fmla="*/ 4738703 w 8079933"/>
              <a:gd name="connsiteY3861" fmla="*/ 3337440 h 4687251"/>
              <a:gd name="connsiteX3862" fmla="*/ 4736425 w 8079933"/>
              <a:gd name="connsiteY3862" fmla="*/ 3338089 h 4687251"/>
              <a:gd name="connsiteX3863" fmla="*/ 4735123 w 8079933"/>
              <a:gd name="connsiteY3863" fmla="*/ 3340471 h 4687251"/>
              <a:gd name="connsiteX3864" fmla="*/ 4731759 w 8079933"/>
              <a:gd name="connsiteY3864" fmla="*/ 3342095 h 4687251"/>
              <a:gd name="connsiteX3865" fmla="*/ 4726441 w 8079933"/>
              <a:gd name="connsiteY3865" fmla="*/ 3345993 h 4687251"/>
              <a:gd name="connsiteX3866" fmla="*/ 4725464 w 8079933"/>
              <a:gd name="connsiteY3866" fmla="*/ 3347833 h 4687251"/>
              <a:gd name="connsiteX3867" fmla="*/ 4725682 w 8079933"/>
              <a:gd name="connsiteY3867" fmla="*/ 3351190 h 4687251"/>
              <a:gd name="connsiteX3868" fmla="*/ 4726333 w 8079933"/>
              <a:gd name="connsiteY3868" fmla="*/ 3353139 h 4687251"/>
              <a:gd name="connsiteX3869" fmla="*/ 4725573 w 8079933"/>
              <a:gd name="connsiteY3869" fmla="*/ 3355737 h 4687251"/>
              <a:gd name="connsiteX3870" fmla="*/ 4725573 w 8079933"/>
              <a:gd name="connsiteY3870" fmla="*/ 3359094 h 4687251"/>
              <a:gd name="connsiteX3871" fmla="*/ 4721883 w 8079933"/>
              <a:gd name="connsiteY3871" fmla="*/ 3363316 h 4687251"/>
              <a:gd name="connsiteX3872" fmla="*/ 4719388 w 8079933"/>
              <a:gd name="connsiteY3872" fmla="*/ 3364616 h 4687251"/>
              <a:gd name="connsiteX3873" fmla="*/ 4720147 w 8079933"/>
              <a:gd name="connsiteY3873" fmla="*/ 3366780 h 4687251"/>
              <a:gd name="connsiteX3874" fmla="*/ 4723511 w 8079933"/>
              <a:gd name="connsiteY3874" fmla="*/ 3370895 h 4687251"/>
              <a:gd name="connsiteX3875" fmla="*/ 4725573 w 8079933"/>
              <a:gd name="connsiteY3875" fmla="*/ 3375443 h 4687251"/>
              <a:gd name="connsiteX3876" fmla="*/ 4726008 w 8079933"/>
              <a:gd name="connsiteY3876" fmla="*/ 3377716 h 4687251"/>
              <a:gd name="connsiteX3877" fmla="*/ 4725790 w 8079933"/>
              <a:gd name="connsiteY3877" fmla="*/ 3377716 h 4687251"/>
              <a:gd name="connsiteX3878" fmla="*/ 4718737 w 8079933"/>
              <a:gd name="connsiteY3878" fmla="*/ 3380098 h 4687251"/>
              <a:gd name="connsiteX3879" fmla="*/ 4704521 w 8079933"/>
              <a:gd name="connsiteY3879" fmla="*/ 3385836 h 4687251"/>
              <a:gd name="connsiteX3880" fmla="*/ 4700180 w 8079933"/>
              <a:gd name="connsiteY3880" fmla="*/ 3386702 h 4687251"/>
              <a:gd name="connsiteX3881" fmla="*/ 4675872 w 8079933"/>
              <a:gd name="connsiteY3881" fmla="*/ 3396772 h 4687251"/>
              <a:gd name="connsiteX3882" fmla="*/ 4670881 w 8079933"/>
              <a:gd name="connsiteY3882" fmla="*/ 3396772 h 4687251"/>
              <a:gd name="connsiteX3883" fmla="*/ 4661548 w 8079933"/>
              <a:gd name="connsiteY3883" fmla="*/ 3401644 h 4687251"/>
              <a:gd name="connsiteX3884" fmla="*/ 4659487 w 8079933"/>
              <a:gd name="connsiteY3884" fmla="*/ 3405217 h 4687251"/>
              <a:gd name="connsiteX3885" fmla="*/ 4659487 w 8079933"/>
              <a:gd name="connsiteY3885" fmla="*/ 3405218 h 4687251"/>
              <a:gd name="connsiteX3886" fmla="*/ 4661549 w 8079933"/>
              <a:gd name="connsiteY3886" fmla="*/ 3401645 h 4687251"/>
              <a:gd name="connsiteX3887" fmla="*/ 4670881 w 8079933"/>
              <a:gd name="connsiteY3887" fmla="*/ 3396773 h 4687251"/>
              <a:gd name="connsiteX3888" fmla="*/ 4675873 w 8079933"/>
              <a:gd name="connsiteY3888" fmla="*/ 3396773 h 4687251"/>
              <a:gd name="connsiteX3889" fmla="*/ 4700180 w 8079933"/>
              <a:gd name="connsiteY3889" fmla="*/ 3386703 h 4687251"/>
              <a:gd name="connsiteX3890" fmla="*/ 4704521 w 8079933"/>
              <a:gd name="connsiteY3890" fmla="*/ 3385837 h 4687251"/>
              <a:gd name="connsiteX3891" fmla="*/ 4718737 w 8079933"/>
              <a:gd name="connsiteY3891" fmla="*/ 3380099 h 4687251"/>
              <a:gd name="connsiteX3892" fmla="*/ 4725790 w 8079933"/>
              <a:gd name="connsiteY3892" fmla="*/ 3377717 h 4687251"/>
              <a:gd name="connsiteX3893" fmla="*/ 4726008 w 8079933"/>
              <a:gd name="connsiteY3893" fmla="*/ 3377717 h 4687251"/>
              <a:gd name="connsiteX3894" fmla="*/ 4732410 w 8079933"/>
              <a:gd name="connsiteY3894" fmla="*/ 3376201 h 4687251"/>
              <a:gd name="connsiteX3895" fmla="*/ 4733929 w 8079933"/>
              <a:gd name="connsiteY3895" fmla="*/ 3378691 h 4687251"/>
              <a:gd name="connsiteX3896" fmla="*/ 4734797 w 8079933"/>
              <a:gd name="connsiteY3896" fmla="*/ 3380965 h 4687251"/>
              <a:gd name="connsiteX3897" fmla="*/ 4736859 w 8079933"/>
              <a:gd name="connsiteY3897" fmla="*/ 3383456 h 4687251"/>
              <a:gd name="connsiteX3898" fmla="*/ 4737185 w 8079933"/>
              <a:gd name="connsiteY3898" fmla="*/ 3386270 h 4687251"/>
              <a:gd name="connsiteX3899" fmla="*/ 4741200 w 8079933"/>
              <a:gd name="connsiteY3899" fmla="*/ 3388760 h 4687251"/>
              <a:gd name="connsiteX3900" fmla="*/ 4741200 w 8079933"/>
              <a:gd name="connsiteY3900" fmla="*/ 3388760 h 4687251"/>
              <a:gd name="connsiteX3901" fmla="*/ 4737186 w 8079933"/>
              <a:gd name="connsiteY3901" fmla="*/ 3386270 h 4687251"/>
              <a:gd name="connsiteX3902" fmla="*/ 4736860 w 8079933"/>
              <a:gd name="connsiteY3902" fmla="*/ 3383455 h 4687251"/>
              <a:gd name="connsiteX3903" fmla="*/ 4734798 w 8079933"/>
              <a:gd name="connsiteY3903" fmla="*/ 3380965 h 4687251"/>
              <a:gd name="connsiteX3904" fmla="*/ 4733930 w 8079933"/>
              <a:gd name="connsiteY3904" fmla="*/ 3378692 h 4687251"/>
              <a:gd name="connsiteX3905" fmla="*/ 4732411 w 8079933"/>
              <a:gd name="connsiteY3905" fmla="*/ 3376201 h 4687251"/>
              <a:gd name="connsiteX3906" fmla="*/ 4726009 w 8079933"/>
              <a:gd name="connsiteY3906" fmla="*/ 3377717 h 4687251"/>
              <a:gd name="connsiteX3907" fmla="*/ 4725574 w 8079933"/>
              <a:gd name="connsiteY3907" fmla="*/ 3375443 h 4687251"/>
              <a:gd name="connsiteX3908" fmla="*/ 4723512 w 8079933"/>
              <a:gd name="connsiteY3908" fmla="*/ 3370896 h 4687251"/>
              <a:gd name="connsiteX3909" fmla="*/ 4720149 w 8079933"/>
              <a:gd name="connsiteY3909" fmla="*/ 3366782 h 4687251"/>
              <a:gd name="connsiteX3910" fmla="*/ 4719389 w 8079933"/>
              <a:gd name="connsiteY3910" fmla="*/ 3364616 h 4687251"/>
              <a:gd name="connsiteX3911" fmla="*/ 4721884 w 8079933"/>
              <a:gd name="connsiteY3911" fmla="*/ 3363317 h 4687251"/>
              <a:gd name="connsiteX3912" fmla="*/ 4725574 w 8079933"/>
              <a:gd name="connsiteY3912" fmla="*/ 3359094 h 4687251"/>
              <a:gd name="connsiteX3913" fmla="*/ 4725574 w 8079933"/>
              <a:gd name="connsiteY3913" fmla="*/ 3355738 h 4687251"/>
              <a:gd name="connsiteX3914" fmla="*/ 4726334 w 8079933"/>
              <a:gd name="connsiteY3914" fmla="*/ 3353139 h 4687251"/>
              <a:gd name="connsiteX3915" fmla="*/ 4725683 w 8079933"/>
              <a:gd name="connsiteY3915" fmla="*/ 3351191 h 4687251"/>
              <a:gd name="connsiteX3916" fmla="*/ 4725465 w 8079933"/>
              <a:gd name="connsiteY3916" fmla="*/ 3347834 h 4687251"/>
              <a:gd name="connsiteX3917" fmla="*/ 4726442 w 8079933"/>
              <a:gd name="connsiteY3917" fmla="*/ 3345994 h 4687251"/>
              <a:gd name="connsiteX3918" fmla="*/ 4731760 w 8079933"/>
              <a:gd name="connsiteY3918" fmla="*/ 3342095 h 4687251"/>
              <a:gd name="connsiteX3919" fmla="*/ 4735124 w 8079933"/>
              <a:gd name="connsiteY3919" fmla="*/ 3340472 h 4687251"/>
              <a:gd name="connsiteX3920" fmla="*/ 4736426 w 8079933"/>
              <a:gd name="connsiteY3920" fmla="*/ 3338090 h 4687251"/>
              <a:gd name="connsiteX3921" fmla="*/ 4738704 w 8079933"/>
              <a:gd name="connsiteY3921" fmla="*/ 3337440 h 4687251"/>
              <a:gd name="connsiteX3922" fmla="*/ 4738271 w 8079933"/>
              <a:gd name="connsiteY3922" fmla="*/ 3335708 h 4687251"/>
              <a:gd name="connsiteX3923" fmla="*/ 4735775 w 8079933"/>
              <a:gd name="connsiteY3923" fmla="*/ 3334084 h 4687251"/>
              <a:gd name="connsiteX3924" fmla="*/ 4735341 w 8079933"/>
              <a:gd name="connsiteY3924" fmla="*/ 3331810 h 4687251"/>
              <a:gd name="connsiteX3925" fmla="*/ 4734364 w 8079933"/>
              <a:gd name="connsiteY3925" fmla="*/ 3328670 h 4687251"/>
              <a:gd name="connsiteX3926" fmla="*/ 4735558 w 8079933"/>
              <a:gd name="connsiteY3926" fmla="*/ 3327587 h 4687251"/>
              <a:gd name="connsiteX3927" fmla="*/ 4736535 w 8079933"/>
              <a:gd name="connsiteY3927" fmla="*/ 3325097 h 4687251"/>
              <a:gd name="connsiteX3928" fmla="*/ 4734364 w 8079933"/>
              <a:gd name="connsiteY3928" fmla="*/ 3321308 h 4687251"/>
              <a:gd name="connsiteX3929" fmla="*/ 4736209 w 8079933"/>
              <a:gd name="connsiteY3929" fmla="*/ 3318276 h 4687251"/>
              <a:gd name="connsiteX3930" fmla="*/ 4735341 w 8079933"/>
              <a:gd name="connsiteY3930" fmla="*/ 3315353 h 4687251"/>
              <a:gd name="connsiteX3931" fmla="*/ 4734906 w 8079933"/>
              <a:gd name="connsiteY3931" fmla="*/ 3311780 h 4687251"/>
              <a:gd name="connsiteX3932" fmla="*/ 4733388 w 8079933"/>
              <a:gd name="connsiteY3932" fmla="*/ 3307666 h 4687251"/>
              <a:gd name="connsiteX3933" fmla="*/ 4734147 w 8079933"/>
              <a:gd name="connsiteY3933" fmla="*/ 3303660 h 4687251"/>
              <a:gd name="connsiteX3934" fmla="*/ 4739573 w 8079933"/>
              <a:gd name="connsiteY3934" fmla="*/ 3298138 h 4687251"/>
              <a:gd name="connsiteX3935" fmla="*/ 4739573 w 8079933"/>
              <a:gd name="connsiteY3935" fmla="*/ 3296730 h 4687251"/>
              <a:gd name="connsiteX3936" fmla="*/ 4740767 w 8079933"/>
              <a:gd name="connsiteY3936" fmla="*/ 3295106 h 4687251"/>
              <a:gd name="connsiteX3937" fmla="*/ 4740441 w 8079933"/>
              <a:gd name="connsiteY3937" fmla="*/ 3290126 h 4687251"/>
              <a:gd name="connsiteX3938" fmla="*/ 4739139 w 8079933"/>
              <a:gd name="connsiteY3938" fmla="*/ 3286553 h 4687251"/>
              <a:gd name="connsiteX3939" fmla="*/ 4735015 w 8079933"/>
              <a:gd name="connsiteY3939" fmla="*/ 3283630 h 4687251"/>
              <a:gd name="connsiteX3940" fmla="*/ 4734473 w 8079933"/>
              <a:gd name="connsiteY3940" fmla="*/ 3281356 h 4687251"/>
              <a:gd name="connsiteX3941" fmla="*/ 4737186 w 8079933"/>
              <a:gd name="connsiteY3941" fmla="*/ 3275293 h 4687251"/>
              <a:gd name="connsiteX3942" fmla="*/ 4737403 w 8079933"/>
              <a:gd name="connsiteY3942" fmla="*/ 3273561 h 4687251"/>
              <a:gd name="connsiteX3943" fmla="*/ 2378793 w 8079933"/>
              <a:gd name="connsiteY3943" fmla="*/ 3273127 h 4687251"/>
              <a:gd name="connsiteX3944" fmla="*/ 2371197 w 8079933"/>
              <a:gd name="connsiteY3944" fmla="*/ 3276917 h 4687251"/>
              <a:gd name="connsiteX3945" fmla="*/ 2363275 w 8079933"/>
              <a:gd name="connsiteY3945" fmla="*/ 3278324 h 4687251"/>
              <a:gd name="connsiteX3946" fmla="*/ 2352424 w 8079933"/>
              <a:gd name="connsiteY3946" fmla="*/ 3285578 h 4687251"/>
              <a:gd name="connsiteX3947" fmla="*/ 2348300 w 8079933"/>
              <a:gd name="connsiteY3947" fmla="*/ 3296406 h 4687251"/>
              <a:gd name="connsiteX3948" fmla="*/ 2341355 w 8079933"/>
              <a:gd name="connsiteY3948" fmla="*/ 3298463 h 4687251"/>
              <a:gd name="connsiteX3949" fmla="*/ 2335495 w 8079933"/>
              <a:gd name="connsiteY3949" fmla="*/ 3298463 h 4687251"/>
              <a:gd name="connsiteX3950" fmla="*/ 2330286 w 8079933"/>
              <a:gd name="connsiteY3950" fmla="*/ 3302576 h 4687251"/>
              <a:gd name="connsiteX3951" fmla="*/ 2326488 w 8079933"/>
              <a:gd name="connsiteY3951" fmla="*/ 3302576 h 4687251"/>
              <a:gd name="connsiteX3952" fmla="*/ 2319543 w 8079933"/>
              <a:gd name="connsiteY3952" fmla="*/ 3306366 h 4687251"/>
              <a:gd name="connsiteX3953" fmla="*/ 2312597 w 8079933"/>
              <a:gd name="connsiteY3953" fmla="*/ 3306366 h 4687251"/>
              <a:gd name="connsiteX3954" fmla="*/ 2297405 w 8079933"/>
              <a:gd name="connsiteY3954" fmla="*/ 3306366 h 4687251"/>
              <a:gd name="connsiteX3955" fmla="*/ 2296754 w 8079933"/>
              <a:gd name="connsiteY3955" fmla="*/ 3306366 h 4687251"/>
              <a:gd name="connsiteX3956" fmla="*/ 2294367 w 8079933"/>
              <a:gd name="connsiteY3956" fmla="*/ 3305284 h 4687251"/>
              <a:gd name="connsiteX3957" fmla="*/ 2291763 w 8079933"/>
              <a:gd name="connsiteY3957" fmla="*/ 3305284 h 4687251"/>
              <a:gd name="connsiteX3958" fmla="*/ 2286554 w 8079933"/>
              <a:gd name="connsiteY3958" fmla="*/ 3305284 h 4687251"/>
              <a:gd name="connsiteX3959" fmla="*/ 2281996 w 8079933"/>
              <a:gd name="connsiteY3959" fmla="*/ 3306583 h 4687251"/>
              <a:gd name="connsiteX3960" fmla="*/ 2277222 w 8079933"/>
              <a:gd name="connsiteY3960" fmla="*/ 3307341 h 4687251"/>
              <a:gd name="connsiteX3961" fmla="*/ 2275431 w 8079933"/>
              <a:gd name="connsiteY3961" fmla="*/ 3305621 h 4687251"/>
              <a:gd name="connsiteX3962" fmla="*/ 2275485 w 8079933"/>
              <a:gd name="connsiteY3962" fmla="*/ 3307016 h 4687251"/>
              <a:gd name="connsiteX3963" fmla="*/ 2278415 w 8079933"/>
              <a:gd name="connsiteY3963" fmla="*/ 3309832 h 4687251"/>
              <a:gd name="connsiteX3964" fmla="*/ 2283190 w 8079933"/>
              <a:gd name="connsiteY3964" fmla="*/ 3308965 h 4687251"/>
              <a:gd name="connsiteX3965" fmla="*/ 2287747 w 8079933"/>
              <a:gd name="connsiteY3965" fmla="*/ 3307775 h 4687251"/>
              <a:gd name="connsiteX3966" fmla="*/ 2292957 w 8079933"/>
              <a:gd name="connsiteY3966" fmla="*/ 3307341 h 4687251"/>
              <a:gd name="connsiteX3967" fmla="*/ 2295561 w 8079933"/>
              <a:gd name="connsiteY3967" fmla="*/ 3307016 h 4687251"/>
              <a:gd name="connsiteX3968" fmla="*/ 2297948 w 8079933"/>
              <a:gd name="connsiteY3968" fmla="*/ 3308099 h 4687251"/>
              <a:gd name="connsiteX3969" fmla="*/ 2298599 w 8079933"/>
              <a:gd name="connsiteY3969" fmla="*/ 3308423 h 4687251"/>
              <a:gd name="connsiteX3970" fmla="*/ 2313791 w 8079933"/>
              <a:gd name="connsiteY3970" fmla="*/ 3308423 h 4687251"/>
              <a:gd name="connsiteX3971" fmla="*/ 2320736 w 8079933"/>
              <a:gd name="connsiteY3971" fmla="*/ 3308749 h 4687251"/>
              <a:gd name="connsiteX3972" fmla="*/ 2327681 w 8079933"/>
              <a:gd name="connsiteY3972" fmla="*/ 3304959 h 4687251"/>
              <a:gd name="connsiteX3973" fmla="*/ 2331371 w 8079933"/>
              <a:gd name="connsiteY3973" fmla="*/ 3304959 h 4687251"/>
              <a:gd name="connsiteX3974" fmla="*/ 2336579 w 8079933"/>
              <a:gd name="connsiteY3974" fmla="*/ 3300844 h 4687251"/>
              <a:gd name="connsiteX3975" fmla="*/ 2342440 w 8079933"/>
              <a:gd name="connsiteY3975" fmla="*/ 3300844 h 4687251"/>
              <a:gd name="connsiteX3976" fmla="*/ 2349385 w 8079933"/>
              <a:gd name="connsiteY3976" fmla="*/ 3298787 h 4687251"/>
              <a:gd name="connsiteX3977" fmla="*/ 2353508 w 8079933"/>
              <a:gd name="connsiteY3977" fmla="*/ 3288069 h 4687251"/>
              <a:gd name="connsiteX3978" fmla="*/ 2364902 w 8079933"/>
              <a:gd name="connsiteY3978" fmla="*/ 3280815 h 4687251"/>
              <a:gd name="connsiteX3979" fmla="*/ 2372824 w 8079933"/>
              <a:gd name="connsiteY3979" fmla="*/ 3279515 h 4687251"/>
              <a:gd name="connsiteX3980" fmla="*/ 2380420 w 8079933"/>
              <a:gd name="connsiteY3980" fmla="*/ 3275726 h 4687251"/>
              <a:gd name="connsiteX3981" fmla="*/ 2385629 w 8079933"/>
              <a:gd name="connsiteY3981" fmla="*/ 3275726 h 4687251"/>
              <a:gd name="connsiteX3982" fmla="*/ 2390404 w 8079933"/>
              <a:gd name="connsiteY3982" fmla="*/ 3279191 h 4687251"/>
              <a:gd name="connsiteX3983" fmla="*/ 2395938 w 8079933"/>
              <a:gd name="connsiteY3983" fmla="*/ 3275726 h 4687251"/>
              <a:gd name="connsiteX3984" fmla="*/ 2397001 w 8079933"/>
              <a:gd name="connsiteY3984" fmla="*/ 3276623 h 4687251"/>
              <a:gd name="connsiteX3985" fmla="*/ 2397132 w 8079933"/>
              <a:gd name="connsiteY3985" fmla="*/ 3275509 h 4687251"/>
              <a:gd name="connsiteX3986" fmla="*/ 2394419 w 8079933"/>
              <a:gd name="connsiteY3986" fmla="*/ 3273127 h 4687251"/>
              <a:gd name="connsiteX3987" fmla="*/ 2388885 w 8079933"/>
              <a:gd name="connsiteY3987" fmla="*/ 3276592 h 4687251"/>
              <a:gd name="connsiteX3988" fmla="*/ 2384001 w 8079933"/>
              <a:gd name="connsiteY3988" fmla="*/ 3273127 h 4687251"/>
              <a:gd name="connsiteX3989" fmla="*/ 4463072 w 8079933"/>
              <a:gd name="connsiteY3989" fmla="*/ 3272044 h 4687251"/>
              <a:gd name="connsiteX3990" fmla="*/ 4463073 w 8079933"/>
              <a:gd name="connsiteY3990" fmla="*/ 3272045 h 4687251"/>
              <a:gd name="connsiteX3991" fmla="*/ 4465025 w 8079933"/>
              <a:gd name="connsiteY3991" fmla="*/ 3272370 h 4687251"/>
              <a:gd name="connsiteX3992" fmla="*/ 4465025 w 8079933"/>
              <a:gd name="connsiteY3992" fmla="*/ 3272369 h 4687251"/>
              <a:gd name="connsiteX3993" fmla="*/ 6802475 w 8079933"/>
              <a:gd name="connsiteY3993" fmla="*/ 3271721 h 4687251"/>
              <a:gd name="connsiteX3994" fmla="*/ 6808877 w 8079933"/>
              <a:gd name="connsiteY3994" fmla="*/ 3276702 h 4687251"/>
              <a:gd name="connsiteX3995" fmla="*/ 6813218 w 8079933"/>
              <a:gd name="connsiteY3995" fmla="*/ 3276702 h 4687251"/>
              <a:gd name="connsiteX3996" fmla="*/ 6817559 w 8079933"/>
              <a:gd name="connsiteY3996" fmla="*/ 3274320 h 4687251"/>
              <a:gd name="connsiteX3997" fmla="*/ 6823202 w 8079933"/>
              <a:gd name="connsiteY3997" fmla="*/ 3277135 h 4687251"/>
              <a:gd name="connsiteX3998" fmla="*/ 6824720 w 8079933"/>
              <a:gd name="connsiteY3998" fmla="*/ 3281357 h 4687251"/>
              <a:gd name="connsiteX3999" fmla="*/ 6829387 w 8079933"/>
              <a:gd name="connsiteY3999" fmla="*/ 3281357 h 4687251"/>
              <a:gd name="connsiteX4000" fmla="*/ 6833403 w 8079933"/>
              <a:gd name="connsiteY4000" fmla="*/ 3287420 h 4687251"/>
              <a:gd name="connsiteX4001" fmla="*/ 6837309 w 8079933"/>
              <a:gd name="connsiteY4001" fmla="*/ 3291210 h 4687251"/>
              <a:gd name="connsiteX4002" fmla="*/ 6837526 w 8079933"/>
              <a:gd name="connsiteY4002" fmla="*/ 3294241 h 4687251"/>
              <a:gd name="connsiteX4003" fmla="*/ 6831449 w 8079933"/>
              <a:gd name="connsiteY4003" fmla="*/ 3297381 h 4687251"/>
              <a:gd name="connsiteX4004" fmla="*/ 6824720 w 8079933"/>
              <a:gd name="connsiteY4004" fmla="*/ 3298030 h 4687251"/>
              <a:gd name="connsiteX4005" fmla="*/ 6819186 w 8079933"/>
              <a:gd name="connsiteY4005" fmla="*/ 3295649 h 4687251"/>
              <a:gd name="connsiteX4006" fmla="*/ 6815279 w 8079933"/>
              <a:gd name="connsiteY4006" fmla="*/ 3289910 h 4687251"/>
              <a:gd name="connsiteX4007" fmla="*/ 6811264 w 8079933"/>
              <a:gd name="connsiteY4007" fmla="*/ 3289153 h 4687251"/>
              <a:gd name="connsiteX4008" fmla="*/ 6807467 w 8079933"/>
              <a:gd name="connsiteY4008" fmla="*/ 3284496 h 4687251"/>
              <a:gd name="connsiteX4009" fmla="*/ 6802149 w 8079933"/>
              <a:gd name="connsiteY4009" fmla="*/ 3285363 h 4687251"/>
              <a:gd name="connsiteX4010" fmla="*/ 6795638 w 8079933"/>
              <a:gd name="connsiteY4010" fmla="*/ 3283955 h 4687251"/>
              <a:gd name="connsiteX4011" fmla="*/ 6791840 w 8079933"/>
              <a:gd name="connsiteY4011" fmla="*/ 3280490 h 4687251"/>
              <a:gd name="connsiteX4012" fmla="*/ 6792165 w 8079933"/>
              <a:gd name="connsiteY4012" fmla="*/ 3277135 h 4687251"/>
              <a:gd name="connsiteX4013" fmla="*/ 7547766 w 8079933"/>
              <a:gd name="connsiteY4013" fmla="*/ 3270637 h 4687251"/>
              <a:gd name="connsiteX4014" fmla="*/ 7550479 w 8079933"/>
              <a:gd name="connsiteY4014" fmla="*/ 3272153 h 4687251"/>
              <a:gd name="connsiteX4015" fmla="*/ 7553192 w 8079933"/>
              <a:gd name="connsiteY4015" fmla="*/ 3276050 h 4687251"/>
              <a:gd name="connsiteX4016" fmla="*/ 7552975 w 8079933"/>
              <a:gd name="connsiteY4016" fmla="*/ 3279298 h 4687251"/>
              <a:gd name="connsiteX4017" fmla="*/ 7551130 w 8079933"/>
              <a:gd name="connsiteY4017" fmla="*/ 3278757 h 4687251"/>
              <a:gd name="connsiteX4018" fmla="*/ 7549177 w 8079933"/>
              <a:gd name="connsiteY4018" fmla="*/ 3276267 h 4687251"/>
              <a:gd name="connsiteX4019" fmla="*/ 7547115 w 8079933"/>
              <a:gd name="connsiteY4019" fmla="*/ 3276483 h 4687251"/>
              <a:gd name="connsiteX4020" fmla="*/ 7545488 w 8079933"/>
              <a:gd name="connsiteY4020" fmla="*/ 3272261 h 4687251"/>
              <a:gd name="connsiteX4021" fmla="*/ 4626063 w 8079933"/>
              <a:gd name="connsiteY4021" fmla="*/ 3270420 h 4687251"/>
              <a:gd name="connsiteX4022" fmla="*/ 4625738 w 8079933"/>
              <a:gd name="connsiteY4022" fmla="*/ 3273235 h 4687251"/>
              <a:gd name="connsiteX4023" fmla="*/ 4625243 w 8079933"/>
              <a:gd name="connsiteY4023" fmla="*/ 3273729 h 4687251"/>
              <a:gd name="connsiteX4024" fmla="*/ 4625738 w 8079933"/>
              <a:gd name="connsiteY4024" fmla="*/ 3273236 h 4687251"/>
              <a:gd name="connsiteX4025" fmla="*/ 5053294 w 8079933"/>
              <a:gd name="connsiteY4025" fmla="*/ 3270096 h 4687251"/>
              <a:gd name="connsiteX4026" fmla="*/ 5052317 w 8079933"/>
              <a:gd name="connsiteY4026" fmla="*/ 3272262 h 4687251"/>
              <a:gd name="connsiteX4027" fmla="*/ 5051666 w 8079933"/>
              <a:gd name="connsiteY4027" fmla="*/ 3270312 h 4687251"/>
              <a:gd name="connsiteX4028" fmla="*/ 4460034 w 8079933"/>
              <a:gd name="connsiteY4028" fmla="*/ 3268038 h 4687251"/>
              <a:gd name="connsiteX4029" fmla="*/ 4460034 w 8079933"/>
              <a:gd name="connsiteY4029" fmla="*/ 3268039 h 4687251"/>
              <a:gd name="connsiteX4030" fmla="*/ 4461553 w 8079933"/>
              <a:gd name="connsiteY4030" fmla="*/ 3269122 h 4687251"/>
              <a:gd name="connsiteX4031" fmla="*/ 4461552 w 8079933"/>
              <a:gd name="connsiteY4031" fmla="*/ 3269121 h 4687251"/>
              <a:gd name="connsiteX4032" fmla="*/ 2273423 w 8079933"/>
              <a:gd name="connsiteY4032" fmla="*/ 3266523 h 4687251"/>
              <a:gd name="connsiteX4033" fmla="*/ 2264850 w 8079933"/>
              <a:gd name="connsiteY4033" fmla="*/ 3271503 h 4687251"/>
              <a:gd name="connsiteX4034" fmla="*/ 2254759 w 8079933"/>
              <a:gd name="connsiteY4034" fmla="*/ 3280706 h 4687251"/>
              <a:gd name="connsiteX4035" fmla="*/ 2242605 w 8079933"/>
              <a:gd name="connsiteY4035" fmla="*/ 3279948 h 4687251"/>
              <a:gd name="connsiteX4036" fmla="*/ 2232999 w 8079933"/>
              <a:gd name="connsiteY4036" fmla="*/ 3279948 h 4687251"/>
              <a:gd name="connsiteX4037" fmla="*/ 2233489 w 8079933"/>
              <a:gd name="connsiteY4037" fmla="*/ 3282114 h 4687251"/>
              <a:gd name="connsiteX4038" fmla="*/ 2243798 w 8079933"/>
              <a:gd name="connsiteY4038" fmla="*/ 3282547 h 4687251"/>
              <a:gd name="connsiteX4039" fmla="*/ 2255952 w 8079933"/>
              <a:gd name="connsiteY4039" fmla="*/ 3283305 h 4687251"/>
              <a:gd name="connsiteX4040" fmla="*/ 2266044 w 8079933"/>
              <a:gd name="connsiteY4040" fmla="*/ 3274102 h 4687251"/>
              <a:gd name="connsiteX4041" fmla="*/ 2274508 w 8079933"/>
              <a:gd name="connsiteY4041" fmla="*/ 3269121 h 4687251"/>
              <a:gd name="connsiteX4042" fmla="*/ 2275582 w 8079933"/>
              <a:gd name="connsiteY4042" fmla="*/ 3270239 h 4687251"/>
              <a:gd name="connsiteX4043" fmla="*/ 2275811 w 8079933"/>
              <a:gd name="connsiteY4043" fmla="*/ 3269121 h 4687251"/>
              <a:gd name="connsiteX4044" fmla="*/ 2218514 w 8079933"/>
              <a:gd name="connsiteY4044" fmla="*/ 3264466 h 4687251"/>
              <a:gd name="connsiteX4045" fmla="*/ 2206887 w 8079933"/>
              <a:gd name="connsiteY4045" fmla="*/ 3265397 h 4687251"/>
              <a:gd name="connsiteX4046" fmla="*/ 2204949 w 8079933"/>
              <a:gd name="connsiteY4046" fmla="*/ 3267823 h 4687251"/>
              <a:gd name="connsiteX4047" fmla="*/ 2219708 w 8079933"/>
              <a:gd name="connsiteY4047" fmla="*/ 3266631 h 4687251"/>
              <a:gd name="connsiteX4048" fmla="*/ 2226761 w 8079933"/>
              <a:gd name="connsiteY4048" fmla="*/ 3267823 h 4687251"/>
              <a:gd name="connsiteX4049" fmla="*/ 2230921 w 8079933"/>
              <a:gd name="connsiteY4049" fmla="*/ 3273875 h 4687251"/>
              <a:gd name="connsiteX4050" fmla="*/ 2230776 w 8079933"/>
              <a:gd name="connsiteY4050" fmla="*/ 3273235 h 4687251"/>
              <a:gd name="connsiteX4051" fmla="*/ 2225568 w 8079933"/>
              <a:gd name="connsiteY4051" fmla="*/ 3265657 h 4687251"/>
              <a:gd name="connsiteX4052" fmla="*/ 7605714 w 8079933"/>
              <a:gd name="connsiteY4052" fmla="*/ 3263600 h 4687251"/>
              <a:gd name="connsiteX4053" fmla="*/ 7612442 w 8079933"/>
              <a:gd name="connsiteY4053" fmla="*/ 3269879 h 4687251"/>
              <a:gd name="connsiteX4054" fmla="*/ 7612876 w 8079933"/>
              <a:gd name="connsiteY4054" fmla="*/ 3272802 h 4687251"/>
              <a:gd name="connsiteX4055" fmla="*/ 7607558 w 8079933"/>
              <a:gd name="connsiteY4055" fmla="*/ 3269230 h 4687251"/>
              <a:gd name="connsiteX4056" fmla="*/ 7605714 w 8079933"/>
              <a:gd name="connsiteY4056" fmla="*/ 3269879 h 4687251"/>
              <a:gd name="connsiteX4057" fmla="*/ 7604412 w 8079933"/>
              <a:gd name="connsiteY4057" fmla="*/ 3267281 h 4687251"/>
              <a:gd name="connsiteX4058" fmla="*/ 4458525 w 8079933"/>
              <a:gd name="connsiteY4058" fmla="*/ 3263408 h 4687251"/>
              <a:gd name="connsiteX4059" fmla="*/ 4460034 w 8079933"/>
              <a:gd name="connsiteY4059" fmla="*/ 3265441 h 4687251"/>
              <a:gd name="connsiteX4060" fmla="*/ 4460034 w 8079933"/>
              <a:gd name="connsiteY4060" fmla="*/ 3265440 h 4687251"/>
              <a:gd name="connsiteX4061" fmla="*/ 4726876 w 8079933"/>
              <a:gd name="connsiteY4061" fmla="*/ 3262193 h 4687251"/>
              <a:gd name="connsiteX4062" fmla="*/ 4726984 w 8079933"/>
              <a:gd name="connsiteY4062" fmla="*/ 3262516 h 4687251"/>
              <a:gd name="connsiteX4063" fmla="*/ 4728286 w 8079933"/>
              <a:gd name="connsiteY4063" fmla="*/ 3265981 h 4687251"/>
              <a:gd name="connsiteX4064" fmla="*/ 4729914 w 8079933"/>
              <a:gd name="connsiteY4064" fmla="*/ 3267280 h 4687251"/>
              <a:gd name="connsiteX4065" fmla="*/ 4731108 w 8079933"/>
              <a:gd name="connsiteY4065" fmla="*/ 3270637 h 4687251"/>
              <a:gd name="connsiteX4066" fmla="*/ 4733381 w 8079933"/>
              <a:gd name="connsiteY4066" fmla="*/ 3271954 h 4687251"/>
              <a:gd name="connsiteX4067" fmla="*/ 4731109 w 8079933"/>
              <a:gd name="connsiteY4067" fmla="*/ 3270637 h 4687251"/>
              <a:gd name="connsiteX4068" fmla="*/ 4729915 w 8079933"/>
              <a:gd name="connsiteY4068" fmla="*/ 3267281 h 4687251"/>
              <a:gd name="connsiteX4069" fmla="*/ 4728287 w 8079933"/>
              <a:gd name="connsiteY4069" fmla="*/ 3265981 h 4687251"/>
              <a:gd name="connsiteX4070" fmla="*/ 4726985 w 8079933"/>
              <a:gd name="connsiteY4070" fmla="*/ 3262517 h 4687251"/>
              <a:gd name="connsiteX4071" fmla="*/ 4726877 w 8079933"/>
              <a:gd name="connsiteY4071" fmla="*/ 3262193 h 4687251"/>
              <a:gd name="connsiteX4072" fmla="*/ 5048194 w 8079933"/>
              <a:gd name="connsiteY4072" fmla="*/ 3260027 h 4687251"/>
              <a:gd name="connsiteX4073" fmla="*/ 5051775 w 8079933"/>
              <a:gd name="connsiteY4073" fmla="*/ 3261543 h 4687251"/>
              <a:gd name="connsiteX4074" fmla="*/ 5053837 w 8079933"/>
              <a:gd name="connsiteY4074" fmla="*/ 3262084 h 4687251"/>
              <a:gd name="connsiteX4075" fmla="*/ 5052752 w 8079933"/>
              <a:gd name="connsiteY4075" fmla="*/ 3263492 h 4687251"/>
              <a:gd name="connsiteX4076" fmla="*/ 5048085 w 8079933"/>
              <a:gd name="connsiteY4076" fmla="*/ 3264466 h 4687251"/>
              <a:gd name="connsiteX4077" fmla="*/ 5045590 w 8079933"/>
              <a:gd name="connsiteY4077" fmla="*/ 3263274 h 4687251"/>
              <a:gd name="connsiteX4078" fmla="*/ 6810180 w 8079933"/>
              <a:gd name="connsiteY4078" fmla="*/ 3256563 h 4687251"/>
              <a:gd name="connsiteX4079" fmla="*/ 6812242 w 8079933"/>
              <a:gd name="connsiteY4079" fmla="*/ 3257862 h 4687251"/>
              <a:gd name="connsiteX4080" fmla="*/ 6811808 w 8079933"/>
              <a:gd name="connsiteY4080" fmla="*/ 3260786 h 4687251"/>
              <a:gd name="connsiteX4081" fmla="*/ 6808552 w 8079933"/>
              <a:gd name="connsiteY4081" fmla="*/ 3261327 h 4687251"/>
              <a:gd name="connsiteX4082" fmla="*/ 6712514 w 8079933"/>
              <a:gd name="connsiteY4082" fmla="*/ 3256563 h 4687251"/>
              <a:gd name="connsiteX4083" fmla="*/ 6714034 w 8079933"/>
              <a:gd name="connsiteY4083" fmla="*/ 3259161 h 4687251"/>
              <a:gd name="connsiteX4084" fmla="*/ 6711537 w 8079933"/>
              <a:gd name="connsiteY4084" fmla="*/ 3260461 h 4687251"/>
              <a:gd name="connsiteX4085" fmla="*/ 6710235 w 8079933"/>
              <a:gd name="connsiteY4085" fmla="*/ 3258945 h 4687251"/>
              <a:gd name="connsiteX4086" fmla="*/ 7390092 w 8079933"/>
              <a:gd name="connsiteY4086" fmla="*/ 3254505 h 4687251"/>
              <a:gd name="connsiteX4087" fmla="*/ 7390743 w 8079933"/>
              <a:gd name="connsiteY4087" fmla="*/ 3256671 h 4687251"/>
              <a:gd name="connsiteX4088" fmla="*/ 7388790 w 8079933"/>
              <a:gd name="connsiteY4088" fmla="*/ 3255263 h 4687251"/>
              <a:gd name="connsiteX4089" fmla="*/ 7381628 w 8079933"/>
              <a:gd name="connsiteY4089" fmla="*/ 3254505 h 4687251"/>
              <a:gd name="connsiteX4090" fmla="*/ 7388356 w 8079933"/>
              <a:gd name="connsiteY4090" fmla="*/ 3257319 h 4687251"/>
              <a:gd name="connsiteX4091" fmla="*/ 7391503 w 8079933"/>
              <a:gd name="connsiteY4091" fmla="*/ 3261000 h 4687251"/>
              <a:gd name="connsiteX4092" fmla="*/ 6895799 w 8079933"/>
              <a:gd name="connsiteY4092" fmla="*/ 3254072 h 4687251"/>
              <a:gd name="connsiteX4093" fmla="*/ 6891892 w 8079933"/>
              <a:gd name="connsiteY4093" fmla="*/ 3255912 h 4687251"/>
              <a:gd name="connsiteX4094" fmla="*/ 6889179 w 8079933"/>
              <a:gd name="connsiteY4094" fmla="*/ 3258727 h 4687251"/>
              <a:gd name="connsiteX4095" fmla="*/ 6890807 w 8079933"/>
              <a:gd name="connsiteY4095" fmla="*/ 3254938 h 4687251"/>
              <a:gd name="connsiteX4096" fmla="*/ 4719171 w 8079933"/>
              <a:gd name="connsiteY4096" fmla="*/ 3253748 h 4687251"/>
              <a:gd name="connsiteX4097" fmla="*/ 4720690 w 8079933"/>
              <a:gd name="connsiteY4097" fmla="*/ 3257536 h 4687251"/>
              <a:gd name="connsiteX4098" fmla="*/ 4725031 w 8079933"/>
              <a:gd name="connsiteY4098" fmla="*/ 3262192 h 4687251"/>
              <a:gd name="connsiteX4099" fmla="*/ 4720691 w 8079933"/>
              <a:gd name="connsiteY4099" fmla="*/ 3257537 h 4687251"/>
              <a:gd name="connsiteX4100" fmla="*/ 4719172 w 8079933"/>
              <a:gd name="connsiteY4100" fmla="*/ 3253748 h 4687251"/>
              <a:gd name="connsiteX4101" fmla="*/ 6989883 w 8079933"/>
              <a:gd name="connsiteY4101" fmla="*/ 3253531 h 4687251"/>
              <a:gd name="connsiteX4102" fmla="*/ 6992162 w 8079933"/>
              <a:gd name="connsiteY4102" fmla="*/ 3255804 h 4687251"/>
              <a:gd name="connsiteX4103" fmla="*/ 6992053 w 8079933"/>
              <a:gd name="connsiteY4103" fmla="*/ 3257753 h 4687251"/>
              <a:gd name="connsiteX4104" fmla="*/ 6987387 w 8079933"/>
              <a:gd name="connsiteY4104" fmla="*/ 3260893 h 4687251"/>
              <a:gd name="connsiteX4105" fmla="*/ 6984674 w 8079933"/>
              <a:gd name="connsiteY4105" fmla="*/ 3261218 h 4687251"/>
              <a:gd name="connsiteX4106" fmla="*/ 6982829 w 8079933"/>
              <a:gd name="connsiteY4106" fmla="*/ 3264141 h 4687251"/>
              <a:gd name="connsiteX4107" fmla="*/ 6975885 w 8079933"/>
              <a:gd name="connsiteY4107" fmla="*/ 3266090 h 4687251"/>
              <a:gd name="connsiteX4108" fmla="*/ 6969156 w 8079933"/>
              <a:gd name="connsiteY4108" fmla="*/ 3270204 h 4687251"/>
              <a:gd name="connsiteX4109" fmla="*/ 6959390 w 8079933"/>
              <a:gd name="connsiteY4109" fmla="*/ 3272045 h 4687251"/>
              <a:gd name="connsiteX4110" fmla="*/ 6954941 w 8079933"/>
              <a:gd name="connsiteY4110" fmla="*/ 3271720 h 4687251"/>
              <a:gd name="connsiteX4111" fmla="*/ 6951034 w 8079933"/>
              <a:gd name="connsiteY4111" fmla="*/ 3272912 h 4687251"/>
              <a:gd name="connsiteX4112" fmla="*/ 6946585 w 8079933"/>
              <a:gd name="connsiteY4112" fmla="*/ 3277242 h 4687251"/>
              <a:gd name="connsiteX4113" fmla="*/ 6945934 w 8079933"/>
              <a:gd name="connsiteY4113" fmla="*/ 3277567 h 4687251"/>
              <a:gd name="connsiteX4114" fmla="*/ 6943438 w 8079933"/>
              <a:gd name="connsiteY4114" fmla="*/ 3278541 h 4687251"/>
              <a:gd name="connsiteX4115" fmla="*/ 6941268 w 8079933"/>
              <a:gd name="connsiteY4115" fmla="*/ 3281465 h 4687251"/>
              <a:gd name="connsiteX4116" fmla="*/ 6932261 w 8079933"/>
              <a:gd name="connsiteY4116" fmla="*/ 3288177 h 4687251"/>
              <a:gd name="connsiteX4117" fmla="*/ 6929331 w 8079933"/>
              <a:gd name="connsiteY4117" fmla="*/ 3292616 h 4687251"/>
              <a:gd name="connsiteX4118" fmla="*/ 6924882 w 8079933"/>
              <a:gd name="connsiteY4118" fmla="*/ 3295865 h 4687251"/>
              <a:gd name="connsiteX4119" fmla="*/ 6920975 w 8079933"/>
              <a:gd name="connsiteY4119" fmla="*/ 3295540 h 4687251"/>
              <a:gd name="connsiteX4120" fmla="*/ 6916743 w 8079933"/>
              <a:gd name="connsiteY4120" fmla="*/ 3296839 h 4687251"/>
              <a:gd name="connsiteX4121" fmla="*/ 6909907 w 8079933"/>
              <a:gd name="connsiteY4121" fmla="*/ 3301279 h 4687251"/>
              <a:gd name="connsiteX4122" fmla="*/ 6902093 w 8079933"/>
              <a:gd name="connsiteY4122" fmla="*/ 3301711 h 4687251"/>
              <a:gd name="connsiteX4123" fmla="*/ 6899706 w 8079933"/>
              <a:gd name="connsiteY4123" fmla="*/ 3299871 h 4687251"/>
              <a:gd name="connsiteX4124" fmla="*/ 6901117 w 8079933"/>
              <a:gd name="connsiteY4124" fmla="*/ 3294890 h 4687251"/>
              <a:gd name="connsiteX4125" fmla="*/ 6903070 w 8079933"/>
              <a:gd name="connsiteY4125" fmla="*/ 3296298 h 4687251"/>
              <a:gd name="connsiteX4126" fmla="*/ 6905674 w 8079933"/>
              <a:gd name="connsiteY4126" fmla="*/ 3296298 h 4687251"/>
              <a:gd name="connsiteX4127" fmla="*/ 6904915 w 8079933"/>
              <a:gd name="connsiteY4127" fmla="*/ 3294241 h 4687251"/>
              <a:gd name="connsiteX4128" fmla="*/ 6902961 w 8079933"/>
              <a:gd name="connsiteY4128" fmla="*/ 3292508 h 4687251"/>
              <a:gd name="connsiteX4129" fmla="*/ 6903612 w 8079933"/>
              <a:gd name="connsiteY4129" fmla="*/ 3290451 h 4687251"/>
              <a:gd name="connsiteX4130" fmla="*/ 6908170 w 8079933"/>
              <a:gd name="connsiteY4130" fmla="*/ 3283089 h 4687251"/>
              <a:gd name="connsiteX4131" fmla="*/ 6909798 w 8079933"/>
              <a:gd name="connsiteY4131" fmla="*/ 3278108 h 4687251"/>
              <a:gd name="connsiteX4132" fmla="*/ 6914464 w 8079933"/>
              <a:gd name="connsiteY4132" fmla="*/ 3275293 h 4687251"/>
              <a:gd name="connsiteX4133" fmla="*/ 6915875 w 8079933"/>
              <a:gd name="connsiteY4133" fmla="*/ 3273994 h 4687251"/>
              <a:gd name="connsiteX4134" fmla="*/ 6919672 w 8079933"/>
              <a:gd name="connsiteY4134" fmla="*/ 3270421 h 4687251"/>
              <a:gd name="connsiteX4135" fmla="*/ 6926075 w 8079933"/>
              <a:gd name="connsiteY4135" fmla="*/ 3269663 h 4687251"/>
              <a:gd name="connsiteX4136" fmla="*/ 6929005 w 8079933"/>
              <a:gd name="connsiteY4136" fmla="*/ 3268797 h 4687251"/>
              <a:gd name="connsiteX4137" fmla="*/ 6933129 w 8079933"/>
              <a:gd name="connsiteY4137" fmla="*/ 3267606 h 4687251"/>
              <a:gd name="connsiteX4138" fmla="*/ 6935191 w 8079933"/>
              <a:gd name="connsiteY4138" fmla="*/ 3266631 h 4687251"/>
              <a:gd name="connsiteX4139" fmla="*/ 6940834 w 8079933"/>
              <a:gd name="connsiteY4139" fmla="*/ 3263816 h 4687251"/>
              <a:gd name="connsiteX4140" fmla="*/ 6948430 w 8079933"/>
              <a:gd name="connsiteY4140" fmla="*/ 3257104 h 4687251"/>
              <a:gd name="connsiteX4141" fmla="*/ 6958413 w 8079933"/>
              <a:gd name="connsiteY4141" fmla="*/ 3257645 h 4687251"/>
              <a:gd name="connsiteX4142" fmla="*/ 6965033 w 8079933"/>
              <a:gd name="connsiteY4142" fmla="*/ 3256562 h 4687251"/>
              <a:gd name="connsiteX4143" fmla="*/ 6969807 w 8079933"/>
              <a:gd name="connsiteY4143" fmla="*/ 3256562 h 4687251"/>
              <a:gd name="connsiteX4144" fmla="*/ 6975125 w 8079933"/>
              <a:gd name="connsiteY4144" fmla="*/ 3255480 h 4687251"/>
              <a:gd name="connsiteX4145" fmla="*/ 6980876 w 8079933"/>
              <a:gd name="connsiteY4145" fmla="*/ 3255696 h 4687251"/>
              <a:gd name="connsiteX4146" fmla="*/ 6803885 w 8079933"/>
              <a:gd name="connsiteY4146" fmla="*/ 3252773 h 4687251"/>
              <a:gd name="connsiteX4147" fmla="*/ 6808008 w 8079933"/>
              <a:gd name="connsiteY4147" fmla="*/ 3254072 h 4687251"/>
              <a:gd name="connsiteX4148" fmla="*/ 6806164 w 8079933"/>
              <a:gd name="connsiteY4148" fmla="*/ 3255913 h 4687251"/>
              <a:gd name="connsiteX4149" fmla="*/ 6804645 w 8079933"/>
              <a:gd name="connsiteY4149" fmla="*/ 3261651 h 4687251"/>
              <a:gd name="connsiteX4150" fmla="*/ 6802149 w 8079933"/>
              <a:gd name="connsiteY4150" fmla="*/ 3258187 h 4687251"/>
              <a:gd name="connsiteX4151" fmla="*/ 7387487 w 8079933"/>
              <a:gd name="connsiteY4151" fmla="*/ 3252448 h 4687251"/>
              <a:gd name="connsiteX4152" fmla="*/ 7386293 w 8079933"/>
              <a:gd name="connsiteY4152" fmla="*/ 3253963 h 4687251"/>
              <a:gd name="connsiteX4153" fmla="*/ 7383364 w 8079933"/>
              <a:gd name="connsiteY4153" fmla="*/ 3252556 h 4687251"/>
              <a:gd name="connsiteX4154" fmla="*/ 4714076 w 8079933"/>
              <a:gd name="connsiteY4154" fmla="*/ 3251371 h 4687251"/>
              <a:gd name="connsiteX4155" fmla="*/ 4716024 w 8079933"/>
              <a:gd name="connsiteY4155" fmla="*/ 3253314 h 4687251"/>
              <a:gd name="connsiteX4156" fmla="*/ 4716024 w 8079933"/>
              <a:gd name="connsiteY4156" fmla="*/ 3253314 h 4687251"/>
              <a:gd name="connsiteX4157" fmla="*/ 7391937 w 8079933"/>
              <a:gd name="connsiteY4157" fmla="*/ 3249741 h 4687251"/>
              <a:gd name="connsiteX4158" fmla="*/ 7395626 w 8079933"/>
              <a:gd name="connsiteY4158" fmla="*/ 3249741 h 4687251"/>
              <a:gd name="connsiteX4159" fmla="*/ 7394432 w 8079933"/>
              <a:gd name="connsiteY4159" fmla="*/ 3252448 h 4687251"/>
              <a:gd name="connsiteX4160" fmla="*/ 7389224 w 8079933"/>
              <a:gd name="connsiteY4160" fmla="*/ 3252448 h 4687251"/>
              <a:gd name="connsiteX4161" fmla="*/ 6923471 w 8079933"/>
              <a:gd name="connsiteY4161" fmla="*/ 3249634 h 4687251"/>
              <a:gd name="connsiteX4162" fmla="*/ 6923905 w 8079933"/>
              <a:gd name="connsiteY4162" fmla="*/ 3251691 h 4687251"/>
              <a:gd name="connsiteX4163" fmla="*/ 6920216 w 8079933"/>
              <a:gd name="connsiteY4163" fmla="*/ 3256671 h 4687251"/>
              <a:gd name="connsiteX4164" fmla="*/ 6917828 w 8079933"/>
              <a:gd name="connsiteY4164" fmla="*/ 3254505 h 4687251"/>
              <a:gd name="connsiteX4165" fmla="*/ 6914573 w 8079933"/>
              <a:gd name="connsiteY4165" fmla="*/ 3254505 h 4687251"/>
              <a:gd name="connsiteX4166" fmla="*/ 6916743 w 8079933"/>
              <a:gd name="connsiteY4166" fmla="*/ 3252340 h 4687251"/>
              <a:gd name="connsiteX4167" fmla="*/ 6921084 w 8079933"/>
              <a:gd name="connsiteY4167" fmla="*/ 3251799 h 4687251"/>
              <a:gd name="connsiteX4168" fmla="*/ 7572509 w 8079933"/>
              <a:gd name="connsiteY4168" fmla="*/ 3248658 h 4687251"/>
              <a:gd name="connsiteX4169" fmla="*/ 7573269 w 8079933"/>
              <a:gd name="connsiteY4169" fmla="*/ 3254937 h 4687251"/>
              <a:gd name="connsiteX4170" fmla="*/ 7572618 w 8079933"/>
              <a:gd name="connsiteY4170" fmla="*/ 3258835 h 4687251"/>
              <a:gd name="connsiteX4171" fmla="*/ 7571749 w 8079933"/>
              <a:gd name="connsiteY4171" fmla="*/ 3258835 h 4687251"/>
              <a:gd name="connsiteX4172" fmla="*/ 7572183 w 8079933"/>
              <a:gd name="connsiteY4172" fmla="*/ 3257427 h 4687251"/>
              <a:gd name="connsiteX4173" fmla="*/ 7571749 w 8079933"/>
              <a:gd name="connsiteY4173" fmla="*/ 3254180 h 4687251"/>
              <a:gd name="connsiteX4174" fmla="*/ 7570664 w 8079933"/>
              <a:gd name="connsiteY4174" fmla="*/ 3254396 h 4687251"/>
              <a:gd name="connsiteX4175" fmla="*/ 7568819 w 8079933"/>
              <a:gd name="connsiteY4175" fmla="*/ 3251039 h 4687251"/>
              <a:gd name="connsiteX4176" fmla="*/ 7569905 w 8079933"/>
              <a:gd name="connsiteY4176" fmla="*/ 3249200 h 4687251"/>
              <a:gd name="connsiteX4177" fmla="*/ 6730636 w 8079933"/>
              <a:gd name="connsiteY4177" fmla="*/ 3247793 h 4687251"/>
              <a:gd name="connsiteX4178" fmla="*/ 6738232 w 8079933"/>
              <a:gd name="connsiteY4178" fmla="*/ 3250283 h 4687251"/>
              <a:gd name="connsiteX4179" fmla="*/ 6737148 w 8079933"/>
              <a:gd name="connsiteY4179" fmla="*/ 3255913 h 4687251"/>
              <a:gd name="connsiteX4180" fmla="*/ 6734977 w 8079933"/>
              <a:gd name="connsiteY4180" fmla="*/ 3258944 h 4687251"/>
              <a:gd name="connsiteX4181" fmla="*/ 6735411 w 8079933"/>
              <a:gd name="connsiteY4181" fmla="*/ 3262951 h 4687251"/>
              <a:gd name="connsiteX4182" fmla="*/ 6732155 w 8079933"/>
              <a:gd name="connsiteY4182" fmla="*/ 3261760 h 4687251"/>
              <a:gd name="connsiteX4183" fmla="*/ 6727598 w 8079933"/>
              <a:gd name="connsiteY4183" fmla="*/ 3263492 h 4687251"/>
              <a:gd name="connsiteX4184" fmla="*/ 6719893 w 8079933"/>
              <a:gd name="connsiteY4184" fmla="*/ 3261218 h 4687251"/>
              <a:gd name="connsiteX4185" fmla="*/ 6718265 w 8079933"/>
              <a:gd name="connsiteY4185" fmla="*/ 3259053 h 4687251"/>
              <a:gd name="connsiteX4186" fmla="*/ 6720327 w 8079933"/>
              <a:gd name="connsiteY4186" fmla="*/ 3257646 h 4687251"/>
              <a:gd name="connsiteX4187" fmla="*/ 6724559 w 8079933"/>
              <a:gd name="connsiteY4187" fmla="*/ 3257862 h 4687251"/>
              <a:gd name="connsiteX4188" fmla="*/ 6725645 w 8079933"/>
              <a:gd name="connsiteY4188" fmla="*/ 3251474 h 4687251"/>
              <a:gd name="connsiteX4189" fmla="*/ 6912184 w 8079933"/>
              <a:gd name="connsiteY4189" fmla="*/ 3247684 h 4687251"/>
              <a:gd name="connsiteX4190" fmla="*/ 6914030 w 8079933"/>
              <a:gd name="connsiteY4190" fmla="*/ 3248875 h 4687251"/>
              <a:gd name="connsiteX4191" fmla="*/ 6909146 w 8079933"/>
              <a:gd name="connsiteY4191" fmla="*/ 3253422 h 4687251"/>
              <a:gd name="connsiteX4192" fmla="*/ 6906867 w 8079933"/>
              <a:gd name="connsiteY4192" fmla="*/ 3256129 h 4687251"/>
              <a:gd name="connsiteX4193" fmla="*/ 6901984 w 8079933"/>
              <a:gd name="connsiteY4193" fmla="*/ 3257103 h 4687251"/>
              <a:gd name="connsiteX4194" fmla="*/ 6899814 w 8079933"/>
              <a:gd name="connsiteY4194" fmla="*/ 3255371 h 4687251"/>
              <a:gd name="connsiteX4195" fmla="*/ 6904480 w 8079933"/>
              <a:gd name="connsiteY4195" fmla="*/ 3252014 h 4687251"/>
              <a:gd name="connsiteX4196" fmla="*/ 6903503 w 8079933"/>
              <a:gd name="connsiteY4196" fmla="*/ 3249849 h 4687251"/>
              <a:gd name="connsiteX4197" fmla="*/ 6905565 w 8079933"/>
              <a:gd name="connsiteY4197" fmla="*/ 3248983 h 4687251"/>
              <a:gd name="connsiteX4198" fmla="*/ 6908929 w 8079933"/>
              <a:gd name="connsiteY4198" fmla="*/ 3249524 h 4687251"/>
              <a:gd name="connsiteX4199" fmla="*/ 6898294 w 8079933"/>
              <a:gd name="connsiteY4199" fmla="*/ 3246927 h 4687251"/>
              <a:gd name="connsiteX4200" fmla="*/ 6899054 w 8079933"/>
              <a:gd name="connsiteY4200" fmla="*/ 3248984 h 4687251"/>
              <a:gd name="connsiteX4201" fmla="*/ 6897644 w 8079933"/>
              <a:gd name="connsiteY4201" fmla="*/ 3251040 h 4687251"/>
              <a:gd name="connsiteX4202" fmla="*/ 6895148 w 8079933"/>
              <a:gd name="connsiteY4202" fmla="*/ 3249633 h 4687251"/>
              <a:gd name="connsiteX4203" fmla="*/ 7036545 w 8079933"/>
              <a:gd name="connsiteY4203" fmla="*/ 3246819 h 4687251"/>
              <a:gd name="connsiteX4204" fmla="*/ 7038498 w 8079933"/>
              <a:gd name="connsiteY4204" fmla="*/ 3248009 h 4687251"/>
              <a:gd name="connsiteX4205" fmla="*/ 7034592 w 8079933"/>
              <a:gd name="connsiteY4205" fmla="*/ 3248334 h 4687251"/>
              <a:gd name="connsiteX4206" fmla="*/ 7032096 w 8079933"/>
              <a:gd name="connsiteY4206" fmla="*/ 3247143 h 4687251"/>
              <a:gd name="connsiteX4207" fmla="*/ 6953530 w 8079933"/>
              <a:gd name="connsiteY4207" fmla="*/ 3245736 h 4687251"/>
              <a:gd name="connsiteX4208" fmla="*/ 6954832 w 8079933"/>
              <a:gd name="connsiteY4208" fmla="*/ 3247360 h 4687251"/>
              <a:gd name="connsiteX4209" fmla="*/ 6952987 w 8079933"/>
              <a:gd name="connsiteY4209" fmla="*/ 3248768 h 4687251"/>
              <a:gd name="connsiteX4210" fmla="*/ 6952119 w 8079933"/>
              <a:gd name="connsiteY4210" fmla="*/ 3247793 h 4687251"/>
              <a:gd name="connsiteX4211" fmla="*/ 7004641 w 8079933"/>
              <a:gd name="connsiteY4211" fmla="*/ 3245195 h 4687251"/>
              <a:gd name="connsiteX4212" fmla="*/ 7004424 w 8079933"/>
              <a:gd name="connsiteY4212" fmla="*/ 3247793 h 4687251"/>
              <a:gd name="connsiteX4213" fmla="*/ 7001386 w 8079933"/>
              <a:gd name="connsiteY4213" fmla="*/ 3246169 h 4687251"/>
              <a:gd name="connsiteX4214" fmla="*/ 6931935 w 8079933"/>
              <a:gd name="connsiteY4214" fmla="*/ 3245195 h 4687251"/>
              <a:gd name="connsiteX4215" fmla="*/ 6933996 w 8079933"/>
              <a:gd name="connsiteY4215" fmla="*/ 3246385 h 4687251"/>
              <a:gd name="connsiteX4216" fmla="*/ 6940617 w 8079933"/>
              <a:gd name="connsiteY4216" fmla="*/ 3245736 h 4687251"/>
              <a:gd name="connsiteX4217" fmla="*/ 6943004 w 8079933"/>
              <a:gd name="connsiteY4217" fmla="*/ 3247360 h 4687251"/>
              <a:gd name="connsiteX4218" fmla="*/ 6940291 w 8079933"/>
              <a:gd name="connsiteY4218" fmla="*/ 3250392 h 4687251"/>
              <a:gd name="connsiteX4219" fmla="*/ 6932152 w 8079933"/>
              <a:gd name="connsiteY4219" fmla="*/ 3253207 h 4687251"/>
              <a:gd name="connsiteX4220" fmla="*/ 6927920 w 8079933"/>
              <a:gd name="connsiteY4220" fmla="*/ 3252233 h 4687251"/>
              <a:gd name="connsiteX4221" fmla="*/ 6927486 w 8079933"/>
              <a:gd name="connsiteY4221" fmla="*/ 3250392 h 4687251"/>
              <a:gd name="connsiteX4222" fmla="*/ 6929114 w 8079933"/>
              <a:gd name="connsiteY4222" fmla="*/ 3248768 h 4687251"/>
              <a:gd name="connsiteX4223" fmla="*/ 6927160 w 8079933"/>
              <a:gd name="connsiteY4223" fmla="*/ 3247360 h 4687251"/>
              <a:gd name="connsiteX4224" fmla="*/ 7018966 w 8079933"/>
              <a:gd name="connsiteY4224" fmla="*/ 3244003 h 4687251"/>
              <a:gd name="connsiteX4225" fmla="*/ 7018966 w 8079933"/>
              <a:gd name="connsiteY4225" fmla="*/ 3246493 h 4687251"/>
              <a:gd name="connsiteX4226" fmla="*/ 7013323 w 8079933"/>
              <a:gd name="connsiteY4226" fmla="*/ 3248442 h 4687251"/>
              <a:gd name="connsiteX4227" fmla="*/ 7008656 w 8079933"/>
              <a:gd name="connsiteY4227" fmla="*/ 3246168 h 4687251"/>
              <a:gd name="connsiteX4228" fmla="*/ 7008005 w 8079933"/>
              <a:gd name="connsiteY4228" fmla="*/ 3244219 h 4687251"/>
              <a:gd name="connsiteX4229" fmla="*/ 7015059 w 8079933"/>
              <a:gd name="connsiteY4229" fmla="*/ 3244760 h 4687251"/>
              <a:gd name="connsiteX4230" fmla="*/ 6993465 w 8079933"/>
              <a:gd name="connsiteY4230" fmla="*/ 3243138 h 4687251"/>
              <a:gd name="connsiteX4231" fmla="*/ 6995852 w 8079933"/>
              <a:gd name="connsiteY4231" fmla="*/ 3245087 h 4687251"/>
              <a:gd name="connsiteX4232" fmla="*/ 6992922 w 8079933"/>
              <a:gd name="connsiteY4232" fmla="*/ 3246602 h 4687251"/>
              <a:gd name="connsiteX4233" fmla="*/ 6990426 w 8079933"/>
              <a:gd name="connsiteY4233" fmla="*/ 3244654 h 4687251"/>
              <a:gd name="connsiteX4234" fmla="*/ 7388356 w 8079933"/>
              <a:gd name="connsiteY4234" fmla="*/ 3242920 h 4687251"/>
              <a:gd name="connsiteX4235" fmla="*/ 7392589 w 8079933"/>
              <a:gd name="connsiteY4235" fmla="*/ 3243786 h 4687251"/>
              <a:gd name="connsiteX4236" fmla="*/ 7391503 w 8079933"/>
              <a:gd name="connsiteY4236" fmla="*/ 3244869 h 4687251"/>
              <a:gd name="connsiteX4237" fmla="*/ 7389116 w 8079933"/>
              <a:gd name="connsiteY4237" fmla="*/ 3244328 h 4687251"/>
              <a:gd name="connsiteX4238" fmla="*/ 6769920 w 8079933"/>
              <a:gd name="connsiteY4238" fmla="*/ 3242704 h 4687251"/>
              <a:gd name="connsiteX4239" fmla="*/ 6773826 w 8079933"/>
              <a:gd name="connsiteY4239" fmla="*/ 3244436 h 4687251"/>
              <a:gd name="connsiteX4240" fmla="*/ 6778275 w 8079933"/>
              <a:gd name="connsiteY4240" fmla="*/ 3247143 h 4687251"/>
              <a:gd name="connsiteX4241" fmla="*/ 6783159 w 8079933"/>
              <a:gd name="connsiteY4241" fmla="*/ 3245410 h 4687251"/>
              <a:gd name="connsiteX4242" fmla="*/ 6787933 w 8079933"/>
              <a:gd name="connsiteY4242" fmla="*/ 3248334 h 4687251"/>
              <a:gd name="connsiteX4243" fmla="*/ 6787933 w 8079933"/>
              <a:gd name="connsiteY4243" fmla="*/ 3252448 h 4687251"/>
              <a:gd name="connsiteX4244" fmla="*/ 6790321 w 8079933"/>
              <a:gd name="connsiteY4244" fmla="*/ 3251474 h 4687251"/>
              <a:gd name="connsiteX4245" fmla="*/ 6789669 w 8079933"/>
              <a:gd name="connsiteY4245" fmla="*/ 3247685 h 4687251"/>
              <a:gd name="connsiteX4246" fmla="*/ 6794661 w 8079933"/>
              <a:gd name="connsiteY4246" fmla="*/ 3249092 h 4687251"/>
              <a:gd name="connsiteX4247" fmla="*/ 6794661 w 8079933"/>
              <a:gd name="connsiteY4247" fmla="*/ 3252665 h 4687251"/>
              <a:gd name="connsiteX4248" fmla="*/ 6796072 w 8079933"/>
              <a:gd name="connsiteY4248" fmla="*/ 3256995 h 4687251"/>
              <a:gd name="connsiteX4249" fmla="*/ 6797808 w 8079933"/>
              <a:gd name="connsiteY4249" fmla="*/ 3254938 h 4687251"/>
              <a:gd name="connsiteX4250" fmla="*/ 6797808 w 8079933"/>
              <a:gd name="connsiteY4250" fmla="*/ 3260136 h 4687251"/>
              <a:gd name="connsiteX4251" fmla="*/ 6791623 w 8079933"/>
              <a:gd name="connsiteY4251" fmla="*/ 3260136 h 4687251"/>
              <a:gd name="connsiteX4252" fmla="*/ 6794770 w 8079933"/>
              <a:gd name="connsiteY4252" fmla="*/ 3262734 h 4687251"/>
              <a:gd name="connsiteX4253" fmla="*/ 6788042 w 8079933"/>
              <a:gd name="connsiteY4253" fmla="*/ 3261868 h 4687251"/>
              <a:gd name="connsiteX4254" fmla="*/ 6783593 w 8079933"/>
              <a:gd name="connsiteY4254" fmla="*/ 3262517 h 4687251"/>
              <a:gd name="connsiteX4255" fmla="*/ 6782073 w 8079933"/>
              <a:gd name="connsiteY4255" fmla="*/ 3259269 h 4687251"/>
              <a:gd name="connsiteX4256" fmla="*/ 6776865 w 8079933"/>
              <a:gd name="connsiteY4256" fmla="*/ 3263708 h 4687251"/>
              <a:gd name="connsiteX4257" fmla="*/ 6771982 w 8079933"/>
              <a:gd name="connsiteY4257" fmla="*/ 3262842 h 4687251"/>
              <a:gd name="connsiteX4258" fmla="*/ 6766773 w 8079933"/>
              <a:gd name="connsiteY4258" fmla="*/ 3265116 h 4687251"/>
              <a:gd name="connsiteX4259" fmla="*/ 6762432 w 8079933"/>
              <a:gd name="connsiteY4259" fmla="*/ 3263600 h 4687251"/>
              <a:gd name="connsiteX4260" fmla="*/ 6760370 w 8079933"/>
              <a:gd name="connsiteY4260" fmla="*/ 3266307 h 4687251"/>
              <a:gd name="connsiteX4261" fmla="*/ 6755271 w 8079933"/>
              <a:gd name="connsiteY4261" fmla="*/ 3268039 h 4687251"/>
              <a:gd name="connsiteX4262" fmla="*/ 6751798 w 8079933"/>
              <a:gd name="connsiteY4262" fmla="*/ 3266632 h 4687251"/>
              <a:gd name="connsiteX4263" fmla="*/ 6745613 w 8079933"/>
              <a:gd name="connsiteY4263" fmla="*/ 3268039 h 4687251"/>
              <a:gd name="connsiteX4264" fmla="*/ 6741271 w 8079933"/>
              <a:gd name="connsiteY4264" fmla="*/ 3266199 h 4687251"/>
              <a:gd name="connsiteX4265" fmla="*/ 6738667 w 8079933"/>
              <a:gd name="connsiteY4265" fmla="*/ 3263492 h 4687251"/>
              <a:gd name="connsiteX4266" fmla="*/ 6740078 w 8079933"/>
              <a:gd name="connsiteY4266" fmla="*/ 3261434 h 4687251"/>
              <a:gd name="connsiteX4267" fmla="*/ 6738342 w 8079933"/>
              <a:gd name="connsiteY4267" fmla="*/ 3259702 h 4687251"/>
              <a:gd name="connsiteX4268" fmla="*/ 6738993 w 8079933"/>
              <a:gd name="connsiteY4268" fmla="*/ 3256779 h 4687251"/>
              <a:gd name="connsiteX4269" fmla="*/ 6742140 w 8079933"/>
              <a:gd name="connsiteY4269" fmla="*/ 3252989 h 4687251"/>
              <a:gd name="connsiteX4270" fmla="*/ 6748976 w 8079933"/>
              <a:gd name="connsiteY4270" fmla="*/ 3250391 h 4687251"/>
              <a:gd name="connsiteX4271" fmla="*/ 6753317 w 8079933"/>
              <a:gd name="connsiteY4271" fmla="*/ 3251474 h 4687251"/>
              <a:gd name="connsiteX4272" fmla="*/ 6757224 w 8079933"/>
              <a:gd name="connsiteY4272" fmla="*/ 3250391 h 4687251"/>
              <a:gd name="connsiteX4273" fmla="*/ 6760479 w 8079933"/>
              <a:gd name="connsiteY4273" fmla="*/ 3251041 h 4687251"/>
              <a:gd name="connsiteX4274" fmla="*/ 6761673 w 8079933"/>
              <a:gd name="connsiteY4274" fmla="*/ 3255155 h 4687251"/>
              <a:gd name="connsiteX4275" fmla="*/ 6767316 w 8079933"/>
              <a:gd name="connsiteY4275" fmla="*/ 3258836 h 4687251"/>
              <a:gd name="connsiteX4276" fmla="*/ 6771113 w 8079933"/>
              <a:gd name="connsiteY4276" fmla="*/ 3257104 h 4687251"/>
              <a:gd name="connsiteX4277" fmla="*/ 6777516 w 8079933"/>
              <a:gd name="connsiteY4277" fmla="*/ 3256238 h 4687251"/>
              <a:gd name="connsiteX4278" fmla="*/ 6773718 w 8079933"/>
              <a:gd name="connsiteY4278" fmla="*/ 3252448 h 4687251"/>
              <a:gd name="connsiteX4279" fmla="*/ 6764060 w 8079933"/>
              <a:gd name="connsiteY4279" fmla="*/ 3248875 h 4687251"/>
              <a:gd name="connsiteX4280" fmla="*/ 6764060 w 8079933"/>
              <a:gd name="connsiteY4280" fmla="*/ 3246277 h 4687251"/>
              <a:gd name="connsiteX4281" fmla="*/ 4692801 w 8079933"/>
              <a:gd name="connsiteY4281" fmla="*/ 3242595 h 4687251"/>
              <a:gd name="connsiteX4282" fmla="*/ 4693127 w 8079933"/>
              <a:gd name="connsiteY4282" fmla="*/ 3244544 h 4687251"/>
              <a:gd name="connsiteX4283" fmla="*/ 4693128 w 8079933"/>
              <a:gd name="connsiteY4283" fmla="*/ 3244545 h 4687251"/>
              <a:gd name="connsiteX4284" fmla="*/ 4692802 w 8079933"/>
              <a:gd name="connsiteY4284" fmla="*/ 3242596 h 4687251"/>
              <a:gd name="connsiteX4285" fmla="*/ 7060529 w 8079933"/>
              <a:gd name="connsiteY4285" fmla="*/ 3242487 h 4687251"/>
              <a:gd name="connsiteX4286" fmla="*/ 7058466 w 8079933"/>
              <a:gd name="connsiteY4286" fmla="*/ 3245085 h 4687251"/>
              <a:gd name="connsiteX4287" fmla="*/ 7055536 w 8079933"/>
              <a:gd name="connsiteY4287" fmla="*/ 3245085 h 4687251"/>
              <a:gd name="connsiteX4288" fmla="*/ 7272786 w 8079933"/>
              <a:gd name="connsiteY4288" fmla="*/ 3242379 h 4687251"/>
              <a:gd name="connsiteX4289" fmla="*/ 7274413 w 8079933"/>
              <a:gd name="connsiteY4289" fmla="*/ 3242812 h 4687251"/>
              <a:gd name="connsiteX4290" fmla="*/ 7276150 w 8079933"/>
              <a:gd name="connsiteY4290" fmla="*/ 3248226 h 4687251"/>
              <a:gd name="connsiteX4291" fmla="*/ 7274739 w 8079933"/>
              <a:gd name="connsiteY4291" fmla="*/ 3249633 h 4687251"/>
              <a:gd name="connsiteX4292" fmla="*/ 7270289 w 8079933"/>
              <a:gd name="connsiteY4292" fmla="*/ 3248117 h 4687251"/>
              <a:gd name="connsiteX4293" fmla="*/ 7268228 w 8079933"/>
              <a:gd name="connsiteY4293" fmla="*/ 3247684 h 4687251"/>
              <a:gd name="connsiteX4294" fmla="*/ 7270289 w 8079933"/>
              <a:gd name="connsiteY4294" fmla="*/ 3244003 h 4687251"/>
              <a:gd name="connsiteX4295" fmla="*/ 7088632 w 8079933"/>
              <a:gd name="connsiteY4295" fmla="*/ 3242055 h 4687251"/>
              <a:gd name="connsiteX4296" fmla="*/ 7091237 w 8079933"/>
              <a:gd name="connsiteY4296" fmla="*/ 3242271 h 4687251"/>
              <a:gd name="connsiteX4297" fmla="*/ 7090152 w 8079933"/>
              <a:gd name="connsiteY4297" fmla="*/ 3243787 h 4687251"/>
              <a:gd name="connsiteX4298" fmla="*/ 7087005 w 8079933"/>
              <a:gd name="connsiteY4298" fmla="*/ 3246169 h 4687251"/>
              <a:gd name="connsiteX4299" fmla="*/ 7083533 w 8079933"/>
              <a:gd name="connsiteY4299" fmla="*/ 3246819 h 4687251"/>
              <a:gd name="connsiteX4300" fmla="*/ 7084293 w 8079933"/>
              <a:gd name="connsiteY4300" fmla="*/ 3244978 h 4687251"/>
              <a:gd name="connsiteX4301" fmla="*/ 6704702 w 8079933"/>
              <a:gd name="connsiteY4301" fmla="*/ 3241838 h 4687251"/>
              <a:gd name="connsiteX4302" fmla="*/ 6710996 w 8079933"/>
              <a:gd name="connsiteY4302" fmla="*/ 3243245 h 4687251"/>
              <a:gd name="connsiteX4303" fmla="*/ 6716205 w 8079933"/>
              <a:gd name="connsiteY4303" fmla="*/ 3249416 h 4687251"/>
              <a:gd name="connsiteX4304" fmla="*/ 6715011 w 8079933"/>
              <a:gd name="connsiteY4304" fmla="*/ 3252123 h 4687251"/>
              <a:gd name="connsiteX4305" fmla="*/ 6710671 w 8079933"/>
              <a:gd name="connsiteY4305" fmla="*/ 3252989 h 4687251"/>
              <a:gd name="connsiteX4306" fmla="*/ 6709151 w 8079933"/>
              <a:gd name="connsiteY4306" fmla="*/ 3254722 h 4687251"/>
              <a:gd name="connsiteX4307" fmla="*/ 6705353 w 8079933"/>
              <a:gd name="connsiteY4307" fmla="*/ 3256562 h 4687251"/>
              <a:gd name="connsiteX4308" fmla="*/ 6703291 w 8079933"/>
              <a:gd name="connsiteY4308" fmla="*/ 3259594 h 4687251"/>
              <a:gd name="connsiteX4309" fmla="*/ 6702098 w 8079933"/>
              <a:gd name="connsiteY4309" fmla="*/ 3256779 h 4687251"/>
              <a:gd name="connsiteX4310" fmla="*/ 6696238 w 8079933"/>
              <a:gd name="connsiteY4310" fmla="*/ 3252340 h 4687251"/>
              <a:gd name="connsiteX4311" fmla="*/ 6689618 w 8079933"/>
              <a:gd name="connsiteY4311" fmla="*/ 3250932 h 4687251"/>
              <a:gd name="connsiteX4312" fmla="*/ 6687448 w 8079933"/>
              <a:gd name="connsiteY4312" fmla="*/ 3247793 h 4687251"/>
              <a:gd name="connsiteX4313" fmla="*/ 6687448 w 8079933"/>
              <a:gd name="connsiteY4313" fmla="*/ 3244220 h 4687251"/>
              <a:gd name="connsiteX4314" fmla="*/ 6692766 w 8079933"/>
              <a:gd name="connsiteY4314" fmla="*/ 3242704 h 4687251"/>
              <a:gd name="connsiteX4315" fmla="*/ 6698082 w 8079933"/>
              <a:gd name="connsiteY4315" fmla="*/ 3244111 h 4687251"/>
              <a:gd name="connsiteX4316" fmla="*/ 6888421 w 8079933"/>
              <a:gd name="connsiteY4316" fmla="*/ 3241297 h 4687251"/>
              <a:gd name="connsiteX4317" fmla="*/ 6893413 w 8079933"/>
              <a:gd name="connsiteY4317" fmla="*/ 3243354 h 4687251"/>
              <a:gd name="connsiteX4318" fmla="*/ 6893413 w 8079933"/>
              <a:gd name="connsiteY4318" fmla="*/ 3247685 h 4687251"/>
              <a:gd name="connsiteX4319" fmla="*/ 6891133 w 8079933"/>
              <a:gd name="connsiteY4319" fmla="*/ 3251691 h 4687251"/>
              <a:gd name="connsiteX4320" fmla="*/ 6887987 w 8079933"/>
              <a:gd name="connsiteY4320" fmla="*/ 3253098 h 4687251"/>
              <a:gd name="connsiteX4321" fmla="*/ 6884514 w 8079933"/>
              <a:gd name="connsiteY4321" fmla="*/ 3257754 h 4687251"/>
              <a:gd name="connsiteX4322" fmla="*/ 6879306 w 8079933"/>
              <a:gd name="connsiteY4322" fmla="*/ 3258403 h 4687251"/>
              <a:gd name="connsiteX4323" fmla="*/ 6877244 w 8079933"/>
              <a:gd name="connsiteY4323" fmla="*/ 3260677 h 4687251"/>
              <a:gd name="connsiteX4324" fmla="*/ 6873771 w 8079933"/>
              <a:gd name="connsiteY4324" fmla="*/ 3259486 h 4687251"/>
              <a:gd name="connsiteX4325" fmla="*/ 6867260 w 8079933"/>
              <a:gd name="connsiteY4325" fmla="*/ 3258620 h 4687251"/>
              <a:gd name="connsiteX4326" fmla="*/ 6860532 w 8079933"/>
              <a:gd name="connsiteY4326" fmla="*/ 3261651 h 4687251"/>
              <a:gd name="connsiteX4327" fmla="*/ 6852827 w 8079933"/>
              <a:gd name="connsiteY4327" fmla="*/ 3260244 h 4687251"/>
              <a:gd name="connsiteX4328" fmla="*/ 6847619 w 8079933"/>
              <a:gd name="connsiteY4328" fmla="*/ 3262517 h 4687251"/>
              <a:gd name="connsiteX4329" fmla="*/ 6846533 w 8079933"/>
              <a:gd name="connsiteY4329" fmla="*/ 3263817 h 4687251"/>
              <a:gd name="connsiteX4330" fmla="*/ 6843060 w 8079933"/>
              <a:gd name="connsiteY4330" fmla="*/ 3263817 h 4687251"/>
              <a:gd name="connsiteX4331" fmla="*/ 6840347 w 8079933"/>
              <a:gd name="connsiteY4331" fmla="*/ 3262409 h 4687251"/>
              <a:gd name="connsiteX4332" fmla="*/ 6836007 w 8079933"/>
              <a:gd name="connsiteY4332" fmla="*/ 3264250 h 4687251"/>
              <a:gd name="connsiteX4333" fmla="*/ 6833294 w 8079933"/>
              <a:gd name="connsiteY4333" fmla="*/ 3261976 h 4687251"/>
              <a:gd name="connsiteX4334" fmla="*/ 6829605 w 8079933"/>
              <a:gd name="connsiteY4334" fmla="*/ 3261976 h 4687251"/>
              <a:gd name="connsiteX4335" fmla="*/ 6826240 w 8079933"/>
              <a:gd name="connsiteY4335" fmla="*/ 3262626 h 4687251"/>
              <a:gd name="connsiteX4336" fmla="*/ 6822659 w 8079933"/>
              <a:gd name="connsiteY4336" fmla="*/ 3261651 h 4687251"/>
              <a:gd name="connsiteX4337" fmla="*/ 6819404 w 8079933"/>
              <a:gd name="connsiteY4337" fmla="*/ 3261651 h 4687251"/>
              <a:gd name="connsiteX4338" fmla="*/ 6815389 w 8079933"/>
              <a:gd name="connsiteY4338" fmla="*/ 3260677 h 4687251"/>
              <a:gd name="connsiteX4339" fmla="*/ 6813978 w 8079933"/>
              <a:gd name="connsiteY4339" fmla="*/ 3256671 h 4687251"/>
              <a:gd name="connsiteX4340" fmla="*/ 6815171 w 8079933"/>
              <a:gd name="connsiteY4340" fmla="*/ 3252340 h 4687251"/>
              <a:gd name="connsiteX4341" fmla="*/ 6822443 w 8079933"/>
              <a:gd name="connsiteY4341" fmla="*/ 3248334 h 4687251"/>
              <a:gd name="connsiteX4342" fmla="*/ 6834162 w 8079933"/>
              <a:gd name="connsiteY4342" fmla="*/ 3245736 h 4687251"/>
              <a:gd name="connsiteX4343" fmla="*/ 6840023 w 8079933"/>
              <a:gd name="connsiteY4343" fmla="*/ 3248659 h 4687251"/>
              <a:gd name="connsiteX4344" fmla="*/ 6843277 w 8079933"/>
              <a:gd name="connsiteY4344" fmla="*/ 3247793 h 4687251"/>
              <a:gd name="connsiteX4345" fmla="*/ 6849463 w 8079933"/>
              <a:gd name="connsiteY4345" fmla="*/ 3249309 h 4687251"/>
              <a:gd name="connsiteX4346" fmla="*/ 6855974 w 8079933"/>
              <a:gd name="connsiteY4346" fmla="*/ 3253423 h 4687251"/>
              <a:gd name="connsiteX4347" fmla="*/ 6860966 w 8079933"/>
              <a:gd name="connsiteY4347" fmla="*/ 3251366 h 4687251"/>
              <a:gd name="connsiteX4348" fmla="*/ 6867911 w 8079933"/>
              <a:gd name="connsiteY4348" fmla="*/ 3251366 h 4687251"/>
              <a:gd name="connsiteX4349" fmla="*/ 6871058 w 8079933"/>
              <a:gd name="connsiteY4349" fmla="*/ 3253748 h 4687251"/>
              <a:gd name="connsiteX4350" fmla="*/ 6876376 w 8079933"/>
              <a:gd name="connsiteY4350" fmla="*/ 3253748 h 4687251"/>
              <a:gd name="connsiteX4351" fmla="*/ 6879088 w 8079933"/>
              <a:gd name="connsiteY4351" fmla="*/ 3250499 h 4687251"/>
              <a:gd name="connsiteX4352" fmla="*/ 6883429 w 8079933"/>
              <a:gd name="connsiteY4352" fmla="*/ 3249092 h 4687251"/>
              <a:gd name="connsiteX4353" fmla="*/ 6886142 w 8079933"/>
              <a:gd name="connsiteY4353" fmla="*/ 3244978 h 4687251"/>
              <a:gd name="connsiteX4354" fmla="*/ 6884297 w 8079933"/>
              <a:gd name="connsiteY4354" fmla="*/ 3244003 h 4687251"/>
              <a:gd name="connsiteX4355" fmla="*/ 7395192 w 8079933"/>
              <a:gd name="connsiteY4355" fmla="*/ 3235017 h 4687251"/>
              <a:gd name="connsiteX4356" fmla="*/ 7396711 w 8079933"/>
              <a:gd name="connsiteY4356" fmla="*/ 3239997 h 4687251"/>
              <a:gd name="connsiteX4357" fmla="*/ 7396060 w 8079933"/>
              <a:gd name="connsiteY4357" fmla="*/ 3241946 h 4687251"/>
              <a:gd name="connsiteX4358" fmla="*/ 7394325 w 8079933"/>
              <a:gd name="connsiteY4358" fmla="*/ 3242054 h 4687251"/>
              <a:gd name="connsiteX4359" fmla="*/ 7392371 w 8079933"/>
              <a:gd name="connsiteY4359" fmla="*/ 3239672 h 4687251"/>
              <a:gd name="connsiteX4360" fmla="*/ 7392588 w 8079933"/>
              <a:gd name="connsiteY4360" fmla="*/ 3237398 h 4687251"/>
              <a:gd name="connsiteX4361" fmla="*/ 7055319 w 8079933"/>
              <a:gd name="connsiteY4361" fmla="*/ 3234151 h 4687251"/>
              <a:gd name="connsiteX4362" fmla="*/ 7058467 w 8079933"/>
              <a:gd name="connsiteY4362" fmla="*/ 3235991 h 4687251"/>
              <a:gd name="connsiteX4363" fmla="*/ 7059335 w 8079933"/>
              <a:gd name="connsiteY4363" fmla="*/ 3239781 h 4687251"/>
              <a:gd name="connsiteX4364" fmla="*/ 7055754 w 8079933"/>
              <a:gd name="connsiteY4364" fmla="*/ 3240539 h 4687251"/>
              <a:gd name="connsiteX4365" fmla="*/ 7052714 w 8079933"/>
              <a:gd name="connsiteY4365" fmla="*/ 3238049 h 4687251"/>
              <a:gd name="connsiteX4366" fmla="*/ 7052498 w 8079933"/>
              <a:gd name="connsiteY4366" fmla="*/ 3235450 h 4687251"/>
              <a:gd name="connsiteX4367" fmla="*/ 2192952 w 8079933"/>
              <a:gd name="connsiteY4367" fmla="*/ 3234089 h 4687251"/>
              <a:gd name="connsiteX4368" fmla="*/ 2192687 w 8079933"/>
              <a:gd name="connsiteY4368" fmla="*/ 3234908 h 4687251"/>
              <a:gd name="connsiteX4369" fmla="*/ 2199198 w 8079933"/>
              <a:gd name="connsiteY4369" fmla="*/ 3241405 h 4687251"/>
              <a:gd name="connsiteX4370" fmla="*/ 2209604 w 8079933"/>
              <a:gd name="connsiteY4370" fmla="*/ 3258228 h 4687251"/>
              <a:gd name="connsiteX4371" fmla="*/ 2209724 w 8079933"/>
              <a:gd name="connsiteY4371" fmla="*/ 3258078 h 4687251"/>
              <a:gd name="connsiteX4372" fmla="*/ 2198004 w 8079933"/>
              <a:gd name="connsiteY4372" fmla="*/ 3239130 h 4687251"/>
              <a:gd name="connsiteX4373" fmla="*/ 7397145 w 8079933"/>
              <a:gd name="connsiteY4373" fmla="*/ 3233284 h 4687251"/>
              <a:gd name="connsiteX4374" fmla="*/ 7399315 w 8079933"/>
              <a:gd name="connsiteY4374" fmla="*/ 3235016 h 4687251"/>
              <a:gd name="connsiteX4375" fmla="*/ 7400835 w 8079933"/>
              <a:gd name="connsiteY4375" fmla="*/ 3237723 h 4687251"/>
              <a:gd name="connsiteX4376" fmla="*/ 7399207 w 8079933"/>
              <a:gd name="connsiteY4376" fmla="*/ 3237182 h 4687251"/>
              <a:gd name="connsiteX4377" fmla="*/ 7425686 w 8079933"/>
              <a:gd name="connsiteY4377" fmla="*/ 3232418 h 4687251"/>
              <a:gd name="connsiteX4378" fmla="*/ 7425686 w 8079933"/>
              <a:gd name="connsiteY4378" fmla="*/ 3235990 h 4687251"/>
              <a:gd name="connsiteX4379" fmla="*/ 7424166 w 8079933"/>
              <a:gd name="connsiteY4379" fmla="*/ 3233717 h 4687251"/>
              <a:gd name="connsiteX4380" fmla="*/ 7408865 w 8079933"/>
              <a:gd name="connsiteY4380" fmla="*/ 3231768 h 4687251"/>
              <a:gd name="connsiteX4381" fmla="*/ 7411035 w 8079933"/>
              <a:gd name="connsiteY4381" fmla="*/ 3233392 h 4687251"/>
              <a:gd name="connsiteX4382" fmla="*/ 7411361 w 8079933"/>
              <a:gd name="connsiteY4382" fmla="*/ 3234800 h 4687251"/>
              <a:gd name="connsiteX4383" fmla="*/ 7408540 w 8079933"/>
              <a:gd name="connsiteY4383" fmla="*/ 3234367 h 4687251"/>
              <a:gd name="connsiteX4384" fmla="*/ 7417329 w 8079933"/>
              <a:gd name="connsiteY4384" fmla="*/ 3231552 h 4687251"/>
              <a:gd name="connsiteX4385" fmla="*/ 7416027 w 8079933"/>
              <a:gd name="connsiteY4385" fmla="*/ 3233718 h 4687251"/>
              <a:gd name="connsiteX4386" fmla="*/ 7415376 w 8079933"/>
              <a:gd name="connsiteY4386" fmla="*/ 3231877 h 4687251"/>
              <a:gd name="connsiteX4387" fmla="*/ 6980226 w 8079933"/>
              <a:gd name="connsiteY4387" fmla="*/ 3228954 h 4687251"/>
              <a:gd name="connsiteX4388" fmla="*/ 6984024 w 8079933"/>
              <a:gd name="connsiteY4388" fmla="*/ 3230578 h 4687251"/>
              <a:gd name="connsiteX4389" fmla="*/ 6985001 w 8079933"/>
              <a:gd name="connsiteY4389" fmla="*/ 3233176 h 4687251"/>
              <a:gd name="connsiteX4390" fmla="*/ 6981419 w 8079933"/>
              <a:gd name="connsiteY4390" fmla="*/ 3235125 h 4687251"/>
              <a:gd name="connsiteX4391" fmla="*/ 6977947 w 8079933"/>
              <a:gd name="connsiteY4391" fmla="*/ 3237723 h 4687251"/>
              <a:gd name="connsiteX4392" fmla="*/ 6976753 w 8079933"/>
              <a:gd name="connsiteY4392" fmla="*/ 3239889 h 4687251"/>
              <a:gd name="connsiteX4393" fmla="*/ 6974149 w 8079933"/>
              <a:gd name="connsiteY4393" fmla="*/ 3237832 h 4687251"/>
              <a:gd name="connsiteX4394" fmla="*/ 6966661 w 8079933"/>
              <a:gd name="connsiteY4394" fmla="*/ 3236207 h 4687251"/>
              <a:gd name="connsiteX4395" fmla="*/ 6961452 w 8079933"/>
              <a:gd name="connsiteY4395" fmla="*/ 3239239 h 4687251"/>
              <a:gd name="connsiteX4396" fmla="*/ 6960475 w 8079933"/>
              <a:gd name="connsiteY4396" fmla="*/ 3237182 h 4687251"/>
              <a:gd name="connsiteX4397" fmla="*/ 6962212 w 8079933"/>
              <a:gd name="connsiteY4397" fmla="*/ 3232093 h 4687251"/>
              <a:gd name="connsiteX4398" fmla="*/ 6965901 w 8079933"/>
              <a:gd name="connsiteY4398" fmla="*/ 3230361 h 4687251"/>
              <a:gd name="connsiteX4399" fmla="*/ 6968397 w 8079933"/>
              <a:gd name="connsiteY4399" fmla="*/ 3232418 h 4687251"/>
              <a:gd name="connsiteX4400" fmla="*/ 6976427 w 8079933"/>
              <a:gd name="connsiteY4400" fmla="*/ 3231768 h 4687251"/>
              <a:gd name="connsiteX4401" fmla="*/ 7412664 w 8079933"/>
              <a:gd name="connsiteY4401" fmla="*/ 3228196 h 4687251"/>
              <a:gd name="connsiteX4402" fmla="*/ 7415051 w 8079933"/>
              <a:gd name="connsiteY4402" fmla="*/ 3228520 h 4687251"/>
              <a:gd name="connsiteX4403" fmla="*/ 7414074 w 8079933"/>
              <a:gd name="connsiteY4403" fmla="*/ 3231877 h 4687251"/>
              <a:gd name="connsiteX4404" fmla="*/ 7414400 w 8079933"/>
              <a:gd name="connsiteY4404" fmla="*/ 3233933 h 4687251"/>
              <a:gd name="connsiteX4405" fmla="*/ 7411361 w 8079933"/>
              <a:gd name="connsiteY4405" fmla="*/ 3230685 h 4687251"/>
              <a:gd name="connsiteX4406" fmla="*/ 7084836 w 8079933"/>
              <a:gd name="connsiteY4406" fmla="*/ 3227329 h 4687251"/>
              <a:gd name="connsiteX4407" fmla="*/ 7084076 w 8079933"/>
              <a:gd name="connsiteY4407" fmla="*/ 3228736 h 4687251"/>
              <a:gd name="connsiteX4408" fmla="*/ 7082123 w 8079933"/>
              <a:gd name="connsiteY4408" fmla="*/ 3228736 h 4687251"/>
              <a:gd name="connsiteX4409" fmla="*/ 6997045 w 8079933"/>
              <a:gd name="connsiteY4409" fmla="*/ 3226139 h 4687251"/>
              <a:gd name="connsiteX4410" fmla="*/ 6999868 w 8079933"/>
              <a:gd name="connsiteY4410" fmla="*/ 3227546 h 4687251"/>
              <a:gd name="connsiteX4411" fmla="*/ 6995418 w 8079933"/>
              <a:gd name="connsiteY4411" fmla="*/ 3230686 h 4687251"/>
              <a:gd name="connsiteX4412" fmla="*/ 6995092 w 8079933"/>
              <a:gd name="connsiteY4412" fmla="*/ 3227871 h 4687251"/>
              <a:gd name="connsiteX4413" fmla="*/ 7264539 w 8079933"/>
              <a:gd name="connsiteY4413" fmla="*/ 3225165 h 4687251"/>
              <a:gd name="connsiteX4414" fmla="*/ 7273112 w 8079933"/>
              <a:gd name="connsiteY4414" fmla="*/ 3225165 h 4687251"/>
              <a:gd name="connsiteX4415" fmla="*/ 7274631 w 8079933"/>
              <a:gd name="connsiteY4415" fmla="*/ 3226573 h 4687251"/>
              <a:gd name="connsiteX4416" fmla="*/ 7278212 w 8079933"/>
              <a:gd name="connsiteY4416" fmla="*/ 3229279 h 4687251"/>
              <a:gd name="connsiteX4417" fmla="*/ 7277344 w 8079933"/>
              <a:gd name="connsiteY4417" fmla="*/ 3231012 h 4687251"/>
              <a:gd name="connsiteX4418" fmla="*/ 7276367 w 8079933"/>
              <a:gd name="connsiteY4418" fmla="*/ 3235018 h 4687251"/>
              <a:gd name="connsiteX4419" fmla="*/ 7275282 w 8079933"/>
              <a:gd name="connsiteY4419" fmla="*/ 3236209 h 4687251"/>
              <a:gd name="connsiteX4420" fmla="*/ 7275065 w 8079933"/>
              <a:gd name="connsiteY4420" fmla="*/ 3239781 h 4687251"/>
              <a:gd name="connsiteX4421" fmla="*/ 7273221 w 8079933"/>
              <a:gd name="connsiteY4421" fmla="*/ 3242163 h 4687251"/>
              <a:gd name="connsiteX4422" fmla="*/ 7269531 w 8079933"/>
              <a:gd name="connsiteY4422" fmla="*/ 3243138 h 4687251"/>
              <a:gd name="connsiteX4423" fmla="*/ 7265842 w 8079933"/>
              <a:gd name="connsiteY4423" fmla="*/ 3247469 h 4687251"/>
              <a:gd name="connsiteX4424" fmla="*/ 7261935 w 8079933"/>
              <a:gd name="connsiteY4424" fmla="*/ 3249310 h 4687251"/>
              <a:gd name="connsiteX4425" fmla="*/ 7255858 w 8079933"/>
              <a:gd name="connsiteY4425" fmla="*/ 3248336 h 4687251"/>
              <a:gd name="connsiteX4426" fmla="*/ 7252602 w 8079933"/>
              <a:gd name="connsiteY4426" fmla="*/ 3248985 h 4687251"/>
              <a:gd name="connsiteX4427" fmla="*/ 7244463 w 8079933"/>
              <a:gd name="connsiteY4427" fmla="*/ 3248985 h 4687251"/>
              <a:gd name="connsiteX4428" fmla="*/ 7254229 w 8079933"/>
              <a:gd name="connsiteY4428" fmla="*/ 3239349 h 4687251"/>
              <a:gd name="connsiteX4429" fmla="*/ 7256725 w 8079933"/>
              <a:gd name="connsiteY4429" fmla="*/ 3234477 h 4687251"/>
              <a:gd name="connsiteX4430" fmla="*/ 7259222 w 8079933"/>
              <a:gd name="connsiteY4430" fmla="*/ 3227655 h 4687251"/>
              <a:gd name="connsiteX4431" fmla="*/ 7090804 w 8079933"/>
              <a:gd name="connsiteY4431" fmla="*/ 3225056 h 4687251"/>
              <a:gd name="connsiteX4432" fmla="*/ 7090153 w 8079933"/>
              <a:gd name="connsiteY4432" fmla="*/ 3226138 h 4687251"/>
              <a:gd name="connsiteX4433" fmla="*/ 7087657 w 8079933"/>
              <a:gd name="connsiteY4433" fmla="*/ 3226787 h 4687251"/>
              <a:gd name="connsiteX4434" fmla="*/ 7084618 w 8079933"/>
              <a:gd name="connsiteY4434" fmla="*/ 3225489 h 4687251"/>
              <a:gd name="connsiteX4435" fmla="*/ 6722824 w 8079933"/>
              <a:gd name="connsiteY4435" fmla="*/ 3222241 h 4687251"/>
              <a:gd name="connsiteX4436" fmla="*/ 6722498 w 8079933"/>
              <a:gd name="connsiteY4436" fmla="*/ 3223540 h 4687251"/>
              <a:gd name="connsiteX4437" fmla="*/ 6719026 w 8079933"/>
              <a:gd name="connsiteY4437" fmla="*/ 3223540 h 4687251"/>
              <a:gd name="connsiteX4438" fmla="*/ 6718158 w 8079933"/>
              <a:gd name="connsiteY4438" fmla="*/ 3222349 h 4687251"/>
              <a:gd name="connsiteX4439" fmla="*/ 6721739 w 8079933"/>
              <a:gd name="connsiteY4439" fmla="*/ 3222457 h 4687251"/>
              <a:gd name="connsiteX4440" fmla="*/ 4349825 w 8079933"/>
              <a:gd name="connsiteY4440" fmla="*/ 3219896 h 4687251"/>
              <a:gd name="connsiteX4441" fmla="*/ 4350540 w 8079933"/>
              <a:gd name="connsiteY4441" fmla="*/ 3220941 h 4687251"/>
              <a:gd name="connsiteX4442" fmla="*/ 4350540 w 8079933"/>
              <a:gd name="connsiteY4442" fmla="*/ 3220940 h 4687251"/>
              <a:gd name="connsiteX4443" fmla="*/ 7101222 w 8079933"/>
              <a:gd name="connsiteY4443" fmla="*/ 3219209 h 4687251"/>
              <a:gd name="connsiteX4444" fmla="*/ 7103935 w 8079933"/>
              <a:gd name="connsiteY4444" fmla="*/ 3219859 h 4687251"/>
              <a:gd name="connsiteX4445" fmla="*/ 7104369 w 8079933"/>
              <a:gd name="connsiteY4445" fmla="*/ 3221591 h 4687251"/>
              <a:gd name="connsiteX4446" fmla="*/ 7103066 w 8079933"/>
              <a:gd name="connsiteY4446" fmla="*/ 3224081 h 4687251"/>
              <a:gd name="connsiteX4447" fmla="*/ 7104043 w 8079933"/>
              <a:gd name="connsiteY4447" fmla="*/ 3227437 h 4687251"/>
              <a:gd name="connsiteX4448" fmla="*/ 7102198 w 8079933"/>
              <a:gd name="connsiteY4448" fmla="*/ 3233284 h 4687251"/>
              <a:gd name="connsiteX4449" fmla="*/ 7096772 w 8079933"/>
              <a:gd name="connsiteY4449" fmla="*/ 3240106 h 4687251"/>
              <a:gd name="connsiteX4450" fmla="*/ 7093842 w 8079933"/>
              <a:gd name="connsiteY4450" fmla="*/ 3240971 h 4687251"/>
              <a:gd name="connsiteX4451" fmla="*/ 7090261 w 8079933"/>
              <a:gd name="connsiteY4451" fmla="*/ 3238048 h 4687251"/>
              <a:gd name="connsiteX4452" fmla="*/ 7090370 w 8079933"/>
              <a:gd name="connsiteY4452" fmla="*/ 3234475 h 4687251"/>
              <a:gd name="connsiteX4453" fmla="*/ 7092974 w 8079933"/>
              <a:gd name="connsiteY4453" fmla="*/ 3232310 h 4687251"/>
              <a:gd name="connsiteX4454" fmla="*/ 7092106 w 8079933"/>
              <a:gd name="connsiteY4454" fmla="*/ 3230686 h 4687251"/>
              <a:gd name="connsiteX4455" fmla="*/ 7092431 w 8079933"/>
              <a:gd name="connsiteY4455" fmla="*/ 3228412 h 4687251"/>
              <a:gd name="connsiteX4456" fmla="*/ 7098834 w 8079933"/>
              <a:gd name="connsiteY4456" fmla="*/ 3222674 h 4687251"/>
              <a:gd name="connsiteX4457" fmla="*/ 7098943 w 8079933"/>
              <a:gd name="connsiteY4457" fmla="*/ 3220833 h 4687251"/>
              <a:gd name="connsiteX4458" fmla="*/ 7105345 w 8079933"/>
              <a:gd name="connsiteY4458" fmla="*/ 3217585 h 4687251"/>
              <a:gd name="connsiteX4459" fmla="*/ 7109685 w 8079933"/>
              <a:gd name="connsiteY4459" fmla="*/ 3218342 h 4687251"/>
              <a:gd name="connsiteX4460" fmla="*/ 7111314 w 8079933"/>
              <a:gd name="connsiteY4460" fmla="*/ 3220724 h 4687251"/>
              <a:gd name="connsiteX4461" fmla="*/ 7028840 w 8079933"/>
              <a:gd name="connsiteY4461" fmla="*/ 3217477 h 4687251"/>
              <a:gd name="connsiteX4462" fmla="*/ 7031228 w 8079933"/>
              <a:gd name="connsiteY4462" fmla="*/ 3219209 h 4687251"/>
              <a:gd name="connsiteX4463" fmla="*/ 7030034 w 8079933"/>
              <a:gd name="connsiteY4463" fmla="*/ 3221158 h 4687251"/>
              <a:gd name="connsiteX4464" fmla="*/ 7027430 w 8079933"/>
              <a:gd name="connsiteY4464" fmla="*/ 3221050 h 4687251"/>
              <a:gd name="connsiteX4465" fmla="*/ 7026670 w 8079933"/>
              <a:gd name="connsiteY4465" fmla="*/ 3219209 h 4687251"/>
              <a:gd name="connsiteX4466" fmla="*/ 6835790 w 8079933"/>
              <a:gd name="connsiteY4466" fmla="*/ 3217369 h 4687251"/>
              <a:gd name="connsiteX4467" fmla="*/ 6839044 w 8079933"/>
              <a:gd name="connsiteY4467" fmla="*/ 3219101 h 4687251"/>
              <a:gd name="connsiteX4468" fmla="*/ 6836549 w 8079933"/>
              <a:gd name="connsiteY4468" fmla="*/ 3221266 h 4687251"/>
              <a:gd name="connsiteX4469" fmla="*/ 6833945 w 8079933"/>
              <a:gd name="connsiteY4469" fmla="*/ 3219101 h 4687251"/>
              <a:gd name="connsiteX4470" fmla="*/ 7111964 w 8079933"/>
              <a:gd name="connsiteY4470" fmla="*/ 3212821 h 4687251"/>
              <a:gd name="connsiteX4471" fmla="*/ 7113267 w 8079933"/>
              <a:gd name="connsiteY4471" fmla="*/ 3213578 h 4687251"/>
              <a:gd name="connsiteX4472" fmla="*/ 7109469 w 8079933"/>
              <a:gd name="connsiteY4472" fmla="*/ 3215635 h 4687251"/>
              <a:gd name="connsiteX4473" fmla="*/ 6650986 w 8079933"/>
              <a:gd name="connsiteY4473" fmla="*/ 3212389 h 4687251"/>
              <a:gd name="connsiteX4474" fmla="*/ 6653481 w 8079933"/>
              <a:gd name="connsiteY4474" fmla="*/ 3214120 h 4687251"/>
              <a:gd name="connsiteX4475" fmla="*/ 6666286 w 8079933"/>
              <a:gd name="connsiteY4475" fmla="*/ 3214554 h 4687251"/>
              <a:gd name="connsiteX4476" fmla="*/ 6669976 w 8079933"/>
              <a:gd name="connsiteY4476" fmla="*/ 3215745 h 4687251"/>
              <a:gd name="connsiteX4477" fmla="*/ 6676378 w 8079933"/>
              <a:gd name="connsiteY4477" fmla="*/ 3214771 h 4687251"/>
              <a:gd name="connsiteX4478" fmla="*/ 6678767 w 8079933"/>
              <a:gd name="connsiteY4478" fmla="*/ 3215962 h 4687251"/>
              <a:gd name="connsiteX4479" fmla="*/ 6676705 w 8079933"/>
              <a:gd name="connsiteY4479" fmla="*/ 3218777 h 4687251"/>
              <a:gd name="connsiteX4480" fmla="*/ 6671387 w 8079933"/>
              <a:gd name="connsiteY4480" fmla="*/ 3219426 h 4687251"/>
              <a:gd name="connsiteX4481" fmla="*/ 6667046 w 8079933"/>
              <a:gd name="connsiteY4481" fmla="*/ 3221375 h 4687251"/>
              <a:gd name="connsiteX4482" fmla="*/ 6658907 w 8079933"/>
              <a:gd name="connsiteY4482" fmla="*/ 3220942 h 4687251"/>
              <a:gd name="connsiteX4483" fmla="*/ 6655868 w 8079933"/>
              <a:gd name="connsiteY4483" fmla="*/ 3222674 h 4687251"/>
              <a:gd name="connsiteX4484" fmla="*/ 6652288 w 8079933"/>
              <a:gd name="connsiteY4484" fmla="*/ 3222241 h 4687251"/>
              <a:gd name="connsiteX4485" fmla="*/ 6647513 w 8079933"/>
              <a:gd name="connsiteY4485" fmla="*/ 3217261 h 4687251"/>
              <a:gd name="connsiteX4486" fmla="*/ 6706220 w 8079933"/>
              <a:gd name="connsiteY4486" fmla="*/ 3212064 h 4687251"/>
              <a:gd name="connsiteX4487" fmla="*/ 6710561 w 8079933"/>
              <a:gd name="connsiteY4487" fmla="*/ 3212605 h 4687251"/>
              <a:gd name="connsiteX4488" fmla="*/ 6713599 w 8079933"/>
              <a:gd name="connsiteY4488" fmla="*/ 3213905 h 4687251"/>
              <a:gd name="connsiteX4489" fmla="*/ 6714468 w 8079933"/>
              <a:gd name="connsiteY4489" fmla="*/ 3215203 h 4687251"/>
              <a:gd name="connsiteX4490" fmla="*/ 6712948 w 8079933"/>
              <a:gd name="connsiteY4490" fmla="*/ 3215203 h 4687251"/>
              <a:gd name="connsiteX4491" fmla="*/ 6710670 w 8079933"/>
              <a:gd name="connsiteY4491" fmla="*/ 3214879 h 4687251"/>
              <a:gd name="connsiteX4492" fmla="*/ 6707631 w 8079933"/>
              <a:gd name="connsiteY4492" fmla="*/ 3218235 h 4687251"/>
              <a:gd name="connsiteX4493" fmla="*/ 6704376 w 8079933"/>
              <a:gd name="connsiteY4493" fmla="*/ 3215095 h 4687251"/>
              <a:gd name="connsiteX4494" fmla="*/ 6704267 w 8079933"/>
              <a:gd name="connsiteY4494" fmla="*/ 3213796 h 4687251"/>
              <a:gd name="connsiteX4495" fmla="*/ 4343378 w 8079933"/>
              <a:gd name="connsiteY4495" fmla="*/ 3211847 h 4687251"/>
              <a:gd name="connsiteX4496" fmla="*/ 4343378 w 8079933"/>
              <a:gd name="connsiteY4496" fmla="*/ 3211847 h 4687251"/>
              <a:gd name="connsiteX4497" fmla="*/ 4345440 w 8079933"/>
              <a:gd name="connsiteY4497" fmla="*/ 3213362 h 4687251"/>
              <a:gd name="connsiteX4498" fmla="*/ 4430734 w 8079933"/>
              <a:gd name="connsiteY4498" fmla="*/ 3211088 h 4687251"/>
              <a:gd name="connsiteX4499" fmla="*/ 4430734 w 8079933"/>
              <a:gd name="connsiteY4499" fmla="*/ 3211089 h 4687251"/>
              <a:gd name="connsiteX4500" fmla="*/ 4458514 w 8079933"/>
              <a:gd name="connsiteY4500" fmla="*/ 3213146 h 4687251"/>
              <a:gd name="connsiteX4501" fmla="*/ 4458514 w 8079933"/>
              <a:gd name="connsiteY4501" fmla="*/ 3213145 h 4687251"/>
              <a:gd name="connsiteX4502" fmla="*/ 7051737 w 8079933"/>
              <a:gd name="connsiteY4502" fmla="*/ 3206542 h 4687251"/>
              <a:gd name="connsiteX4503" fmla="*/ 7052605 w 8079933"/>
              <a:gd name="connsiteY4503" fmla="*/ 3208599 h 4687251"/>
              <a:gd name="connsiteX4504" fmla="*/ 7049350 w 8079933"/>
              <a:gd name="connsiteY4504" fmla="*/ 3208382 h 4687251"/>
              <a:gd name="connsiteX4505" fmla="*/ 7177834 w 8079933"/>
              <a:gd name="connsiteY4505" fmla="*/ 3206109 h 4687251"/>
              <a:gd name="connsiteX4506" fmla="*/ 7178376 w 8079933"/>
              <a:gd name="connsiteY4506" fmla="*/ 3208057 h 4687251"/>
              <a:gd name="connsiteX4507" fmla="*/ 7177291 w 8079933"/>
              <a:gd name="connsiteY4507" fmla="*/ 3209248 h 4687251"/>
              <a:gd name="connsiteX4508" fmla="*/ 7175989 w 8079933"/>
              <a:gd name="connsiteY4508" fmla="*/ 3208166 h 4687251"/>
              <a:gd name="connsiteX4509" fmla="*/ 6470739 w 8079933"/>
              <a:gd name="connsiteY4509" fmla="*/ 3204593 h 4687251"/>
              <a:gd name="connsiteX4510" fmla="*/ 6473235 w 8079933"/>
              <a:gd name="connsiteY4510" fmla="*/ 3204593 h 4687251"/>
              <a:gd name="connsiteX4511" fmla="*/ 6473018 w 8079933"/>
              <a:gd name="connsiteY4511" fmla="*/ 3206757 h 4687251"/>
              <a:gd name="connsiteX4512" fmla="*/ 6471282 w 8079933"/>
              <a:gd name="connsiteY4512" fmla="*/ 3206865 h 4687251"/>
              <a:gd name="connsiteX4513" fmla="*/ 4424440 w 8079933"/>
              <a:gd name="connsiteY4513" fmla="*/ 3202751 h 4687251"/>
              <a:gd name="connsiteX4514" fmla="*/ 4424332 w 8079933"/>
              <a:gd name="connsiteY4514" fmla="*/ 3204916 h 4687251"/>
              <a:gd name="connsiteX4515" fmla="*/ 4401000 w 8079933"/>
              <a:gd name="connsiteY4515" fmla="*/ 3205349 h 4687251"/>
              <a:gd name="connsiteX4516" fmla="*/ 4400349 w 8079933"/>
              <a:gd name="connsiteY4516" fmla="*/ 3212171 h 4687251"/>
              <a:gd name="connsiteX4517" fmla="*/ 4398613 w 8079933"/>
              <a:gd name="connsiteY4517" fmla="*/ 3215960 h 4687251"/>
              <a:gd name="connsiteX4518" fmla="*/ 4396551 w 8079933"/>
              <a:gd name="connsiteY4518" fmla="*/ 3217043 h 4687251"/>
              <a:gd name="connsiteX4519" fmla="*/ 4397311 w 8079933"/>
              <a:gd name="connsiteY4519" fmla="*/ 3221698 h 4687251"/>
              <a:gd name="connsiteX4520" fmla="*/ 4397419 w 8079933"/>
              <a:gd name="connsiteY4520" fmla="*/ 3228195 h 4687251"/>
              <a:gd name="connsiteX4521" fmla="*/ 4379297 w 8079933"/>
              <a:gd name="connsiteY4521" fmla="*/ 3229385 h 4687251"/>
              <a:gd name="connsiteX4522" fmla="*/ 4376258 w 8079933"/>
              <a:gd name="connsiteY4522" fmla="*/ 3231118 h 4687251"/>
              <a:gd name="connsiteX4523" fmla="*/ 4368011 w 8079933"/>
              <a:gd name="connsiteY4523" fmla="*/ 3230577 h 4687251"/>
              <a:gd name="connsiteX4524" fmla="*/ 4365407 w 8079933"/>
              <a:gd name="connsiteY4524" fmla="*/ 3229710 h 4687251"/>
              <a:gd name="connsiteX4525" fmla="*/ 4360957 w 8079933"/>
              <a:gd name="connsiteY4525" fmla="*/ 3230577 h 4687251"/>
              <a:gd name="connsiteX4526" fmla="*/ 4354555 w 8079933"/>
              <a:gd name="connsiteY4526" fmla="*/ 3230901 h 4687251"/>
              <a:gd name="connsiteX4527" fmla="*/ 4351951 w 8079933"/>
              <a:gd name="connsiteY4527" fmla="*/ 3229494 h 4687251"/>
              <a:gd name="connsiteX4528" fmla="*/ 4351951 w 8079933"/>
              <a:gd name="connsiteY4528" fmla="*/ 3229495 h 4687251"/>
              <a:gd name="connsiteX4529" fmla="*/ 4354556 w 8079933"/>
              <a:gd name="connsiteY4529" fmla="*/ 3230902 h 4687251"/>
              <a:gd name="connsiteX4530" fmla="*/ 4360958 w 8079933"/>
              <a:gd name="connsiteY4530" fmla="*/ 3230578 h 4687251"/>
              <a:gd name="connsiteX4531" fmla="*/ 4365408 w 8079933"/>
              <a:gd name="connsiteY4531" fmla="*/ 3229711 h 4687251"/>
              <a:gd name="connsiteX4532" fmla="*/ 4368012 w 8079933"/>
              <a:gd name="connsiteY4532" fmla="*/ 3230578 h 4687251"/>
              <a:gd name="connsiteX4533" fmla="*/ 4376259 w 8079933"/>
              <a:gd name="connsiteY4533" fmla="*/ 3231119 h 4687251"/>
              <a:gd name="connsiteX4534" fmla="*/ 4379298 w 8079933"/>
              <a:gd name="connsiteY4534" fmla="*/ 3229386 h 4687251"/>
              <a:gd name="connsiteX4535" fmla="*/ 4397420 w 8079933"/>
              <a:gd name="connsiteY4535" fmla="*/ 3228196 h 4687251"/>
              <a:gd name="connsiteX4536" fmla="*/ 4397312 w 8079933"/>
              <a:gd name="connsiteY4536" fmla="*/ 3221699 h 4687251"/>
              <a:gd name="connsiteX4537" fmla="*/ 4396552 w 8079933"/>
              <a:gd name="connsiteY4537" fmla="*/ 3217044 h 4687251"/>
              <a:gd name="connsiteX4538" fmla="*/ 4398613 w 8079933"/>
              <a:gd name="connsiteY4538" fmla="*/ 3215961 h 4687251"/>
              <a:gd name="connsiteX4539" fmla="*/ 4400350 w 8079933"/>
              <a:gd name="connsiteY4539" fmla="*/ 3212172 h 4687251"/>
              <a:gd name="connsiteX4540" fmla="*/ 4401001 w 8079933"/>
              <a:gd name="connsiteY4540" fmla="*/ 3205350 h 4687251"/>
              <a:gd name="connsiteX4541" fmla="*/ 4424332 w 8079933"/>
              <a:gd name="connsiteY4541" fmla="*/ 3204917 h 4687251"/>
              <a:gd name="connsiteX4542" fmla="*/ 4424441 w 8079933"/>
              <a:gd name="connsiteY4542" fmla="*/ 3202752 h 4687251"/>
              <a:gd name="connsiteX4543" fmla="*/ 4431710 w 8079933"/>
              <a:gd name="connsiteY4543" fmla="*/ 3203401 h 4687251"/>
              <a:gd name="connsiteX4544" fmla="*/ 4431710 w 8079933"/>
              <a:gd name="connsiteY4544" fmla="*/ 3203400 h 4687251"/>
              <a:gd name="connsiteX4545" fmla="*/ 4654899 w 8079933"/>
              <a:gd name="connsiteY4545" fmla="*/ 3200766 h 4687251"/>
              <a:gd name="connsiteX4546" fmla="*/ 4666106 w 8079933"/>
              <a:gd name="connsiteY4546" fmla="*/ 3216177 h 4687251"/>
              <a:gd name="connsiteX4547" fmla="*/ 4671857 w 8079933"/>
              <a:gd name="connsiteY4547" fmla="*/ 3235016 h 4687251"/>
              <a:gd name="connsiteX4548" fmla="*/ 4668494 w 8079933"/>
              <a:gd name="connsiteY4548" fmla="*/ 3233283 h 4687251"/>
              <a:gd name="connsiteX4549" fmla="*/ 4629427 w 8079933"/>
              <a:gd name="connsiteY4549" fmla="*/ 3242811 h 4687251"/>
              <a:gd name="connsiteX4550" fmla="*/ 4619661 w 8079933"/>
              <a:gd name="connsiteY4550" fmla="*/ 3261434 h 4687251"/>
              <a:gd name="connsiteX4551" fmla="*/ 4619661 w 8079933"/>
              <a:gd name="connsiteY4551" fmla="*/ 3261434 h 4687251"/>
              <a:gd name="connsiteX4552" fmla="*/ 4629427 w 8079933"/>
              <a:gd name="connsiteY4552" fmla="*/ 3242812 h 4687251"/>
              <a:gd name="connsiteX4553" fmla="*/ 4668493 w 8079933"/>
              <a:gd name="connsiteY4553" fmla="*/ 3233284 h 4687251"/>
              <a:gd name="connsiteX4554" fmla="*/ 4671857 w 8079933"/>
              <a:gd name="connsiteY4554" fmla="*/ 3235016 h 4687251"/>
              <a:gd name="connsiteX4555" fmla="*/ 4671858 w 8079933"/>
              <a:gd name="connsiteY4555" fmla="*/ 3235017 h 4687251"/>
              <a:gd name="connsiteX4556" fmla="*/ 4666107 w 8079933"/>
              <a:gd name="connsiteY4556" fmla="*/ 3216177 h 4687251"/>
              <a:gd name="connsiteX4557" fmla="*/ 7172408 w 8079933"/>
              <a:gd name="connsiteY4557" fmla="*/ 3199288 h 4687251"/>
              <a:gd name="connsiteX4558" fmla="*/ 7174795 w 8079933"/>
              <a:gd name="connsiteY4558" fmla="*/ 3201237 h 4687251"/>
              <a:gd name="connsiteX4559" fmla="*/ 7175663 w 8079933"/>
              <a:gd name="connsiteY4559" fmla="*/ 3203619 h 4687251"/>
              <a:gd name="connsiteX4560" fmla="*/ 7172950 w 8079933"/>
              <a:gd name="connsiteY4560" fmla="*/ 3204052 h 4687251"/>
              <a:gd name="connsiteX4561" fmla="*/ 7170997 w 8079933"/>
              <a:gd name="connsiteY4561" fmla="*/ 3202536 h 4687251"/>
              <a:gd name="connsiteX4562" fmla="*/ 7170997 w 8079933"/>
              <a:gd name="connsiteY4562" fmla="*/ 3200262 h 4687251"/>
              <a:gd name="connsiteX4563" fmla="*/ 7172408 w 8079933"/>
              <a:gd name="connsiteY4563" fmla="*/ 3199288 h 4687251"/>
              <a:gd name="connsiteX4564" fmla="*/ 7161990 w 8079933"/>
              <a:gd name="connsiteY4564" fmla="*/ 3196256 h 4687251"/>
              <a:gd name="connsiteX4565" fmla="*/ 7163835 w 8079933"/>
              <a:gd name="connsiteY4565" fmla="*/ 3197663 h 4687251"/>
              <a:gd name="connsiteX4566" fmla="*/ 7168175 w 8079933"/>
              <a:gd name="connsiteY4566" fmla="*/ 3201345 h 4687251"/>
              <a:gd name="connsiteX4567" fmla="*/ 7169695 w 8079933"/>
              <a:gd name="connsiteY4567" fmla="*/ 3204592 h 4687251"/>
              <a:gd name="connsiteX4568" fmla="*/ 7171865 w 8079933"/>
              <a:gd name="connsiteY4568" fmla="*/ 3205892 h 4687251"/>
              <a:gd name="connsiteX4569" fmla="*/ 7170997 w 8079933"/>
              <a:gd name="connsiteY4569" fmla="*/ 3208057 h 4687251"/>
              <a:gd name="connsiteX4570" fmla="*/ 7166656 w 8079933"/>
              <a:gd name="connsiteY4570" fmla="*/ 3212063 h 4687251"/>
              <a:gd name="connsiteX4571" fmla="*/ 7164269 w 8079933"/>
              <a:gd name="connsiteY4571" fmla="*/ 3212388 h 4687251"/>
              <a:gd name="connsiteX4572" fmla="*/ 7161990 w 8079933"/>
              <a:gd name="connsiteY4572" fmla="*/ 3210222 h 4687251"/>
              <a:gd name="connsiteX4573" fmla="*/ 7162424 w 8079933"/>
              <a:gd name="connsiteY4573" fmla="*/ 3205784 h 4687251"/>
              <a:gd name="connsiteX4574" fmla="*/ 7163943 w 8079933"/>
              <a:gd name="connsiteY4574" fmla="*/ 3205892 h 4687251"/>
              <a:gd name="connsiteX4575" fmla="*/ 7165680 w 8079933"/>
              <a:gd name="connsiteY4575" fmla="*/ 3207516 h 4687251"/>
              <a:gd name="connsiteX4576" fmla="*/ 7164594 w 8079933"/>
              <a:gd name="connsiteY4576" fmla="*/ 3204918 h 4687251"/>
              <a:gd name="connsiteX4577" fmla="*/ 7162641 w 8079933"/>
              <a:gd name="connsiteY4577" fmla="*/ 3203185 h 4687251"/>
              <a:gd name="connsiteX4578" fmla="*/ 7162533 w 8079933"/>
              <a:gd name="connsiteY4578" fmla="*/ 3198205 h 4687251"/>
              <a:gd name="connsiteX4579" fmla="*/ 7063566 w 8079933"/>
              <a:gd name="connsiteY4579" fmla="*/ 3196148 h 4687251"/>
              <a:gd name="connsiteX4580" fmla="*/ 7066062 w 8079933"/>
              <a:gd name="connsiteY4580" fmla="*/ 3197338 h 4687251"/>
              <a:gd name="connsiteX4581" fmla="*/ 7062698 w 8079933"/>
              <a:gd name="connsiteY4581" fmla="*/ 3199396 h 4687251"/>
              <a:gd name="connsiteX4582" fmla="*/ 7163184 w 8079933"/>
              <a:gd name="connsiteY4582" fmla="*/ 3191492 h 4687251"/>
              <a:gd name="connsiteX4583" fmla="*/ 7165896 w 8079933"/>
              <a:gd name="connsiteY4583" fmla="*/ 3192141 h 4687251"/>
              <a:gd name="connsiteX4584" fmla="*/ 7166656 w 8079933"/>
              <a:gd name="connsiteY4584" fmla="*/ 3194740 h 4687251"/>
              <a:gd name="connsiteX4585" fmla="*/ 7170563 w 8079933"/>
              <a:gd name="connsiteY4585" fmla="*/ 3198530 h 4687251"/>
              <a:gd name="connsiteX4586" fmla="*/ 7169261 w 8079933"/>
              <a:gd name="connsiteY4586" fmla="*/ 3199396 h 4687251"/>
              <a:gd name="connsiteX4587" fmla="*/ 7166331 w 8079933"/>
              <a:gd name="connsiteY4587" fmla="*/ 3197880 h 4687251"/>
              <a:gd name="connsiteX4588" fmla="*/ 7162750 w 8079933"/>
              <a:gd name="connsiteY4588" fmla="*/ 3193874 h 4687251"/>
              <a:gd name="connsiteX4589" fmla="*/ 7174795 w 8079933"/>
              <a:gd name="connsiteY4589" fmla="*/ 3188569 h 4687251"/>
              <a:gd name="connsiteX4590" fmla="*/ 7176098 w 8079933"/>
              <a:gd name="connsiteY4590" fmla="*/ 3188893 h 4687251"/>
              <a:gd name="connsiteX4591" fmla="*/ 7177508 w 8079933"/>
              <a:gd name="connsiteY4591" fmla="*/ 3191059 h 4687251"/>
              <a:gd name="connsiteX4592" fmla="*/ 7177075 w 8079933"/>
              <a:gd name="connsiteY4592" fmla="*/ 3192358 h 4687251"/>
              <a:gd name="connsiteX4593" fmla="*/ 7178160 w 8079933"/>
              <a:gd name="connsiteY4593" fmla="*/ 3192899 h 4687251"/>
              <a:gd name="connsiteX4594" fmla="*/ 7177617 w 8079933"/>
              <a:gd name="connsiteY4594" fmla="*/ 3195606 h 4687251"/>
              <a:gd name="connsiteX4595" fmla="*/ 7175230 w 8079933"/>
              <a:gd name="connsiteY4595" fmla="*/ 3198530 h 4687251"/>
              <a:gd name="connsiteX4596" fmla="*/ 7173168 w 8079933"/>
              <a:gd name="connsiteY4596" fmla="*/ 3197122 h 4687251"/>
              <a:gd name="connsiteX4597" fmla="*/ 7168176 w 8079933"/>
              <a:gd name="connsiteY4597" fmla="*/ 3194415 h 4687251"/>
              <a:gd name="connsiteX4598" fmla="*/ 7167416 w 8079933"/>
              <a:gd name="connsiteY4598" fmla="*/ 3193116 h 4687251"/>
              <a:gd name="connsiteX4599" fmla="*/ 7170780 w 8079933"/>
              <a:gd name="connsiteY4599" fmla="*/ 3190085 h 4687251"/>
              <a:gd name="connsiteX4600" fmla="*/ 6492008 w 8079933"/>
              <a:gd name="connsiteY4600" fmla="*/ 3187486 h 4687251"/>
              <a:gd name="connsiteX4601" fmla="*/ 6494179 w 8079933"/>
              <a:gd name="connsiteY4601" fmla="*/ 3189651 h 4687251"/>
              <a:gd name="connsiteX4602" fmla="*/ 6499821 w 8079933"/>
              <a:gd name="connsiteY4602" fmla="*/ 3189651 h 4687251"/>
              <a:gd name="connsiteX4603" fmla="*/ 6507526 w 8079933"/>
              <a:gd name="connsiteY4603" fmla="*/ 3190842 h 4687251"/>
              <a:gd name="connsiteX4604" fmla="*/ 6511108 w 8079933"/>
              <a:gd name="connsiteY4604" fmla="*/ 3193765 h 4687251"/>
              <a:gd name="connsiteX4605" fmla="*/ 6513061 w 8079933"/>
              <a:gd name="connsiteY4605" fmla="*/ 3192033 h 4687251"/>
              <a:gd name="connsiteX4606" fmla="*/ 6515231 w 8079933"/>
              <a:gd name="connsiteY4606" fmla="*/ 3189651 h 4687251"/>
              <a:gd name="connsiteX4607" fmla="*/ 6522610 w 8079933"/>
              <a:gd name="connsiteY4607" fmla="*/ 3190085 h 4687251"/>
              <a:gd name="connsiteX4608" fmla="*/ 6527276 w 8079933"/>
              <a:gd name="connsiteY4608" fmla="*/ 3193765 h 4687251"/>
              <a:gd name="connsiteX4609" fmla="*/ 6535741 w 8079933"/>
              <a:gd name="connsiteY4609" fmla="*/ 3195823 h 4687251"/>
              <a:gd name="connsiteX4610" fmla="*/ 6546266 w 8079933"/>
              <a:gd name="connsiteY4610" fmla="*/ 3196906 h 4687251"/>
              <a:gd name="connsiteX4611" fmla="*/ 6548979 w 8079933"/>
              <a:gd name="connsiteY4611" fmla="*/ 3201886 h 4687251"/>
              <a:gd name="connsiteX4612" fmla="*/ 6548111 w 8079933"/>
              <a:gd name="connsiteY4612" fmla="*/ 3206542 h 4687251"/>
              <a:gd name="connsiteX4613" fmla="*/ 6550064 w 8079933"/>
              <a:gd name="connsiteY4613" fmla="*/ 3208599 h 4687251"/>
              <a:gd name="connsiteX4614" fmla="*/ 6558203 w 8079933"/>
              <a:gd name="connsiteY4614" fmla="*/ 3212280 h 4687251"/>
              <a:gd name="connsiteX4615" fmla="*/ 6572636 w 8079933"/>
              <a:gd name="connsiteY4615" fmla="*/ 3212063 h 4687251"/>
              <a:gd name="connsiteX4616" fmla="*/ 6585441 w 8079933"/>
              <a:gd name="connsiteY4616" fmla="*/ 3214120 h 4687251"/>
              <a:gd name="connsiteX4617" fmla="*/ 6596293 w 8079933"/>
              <a:gd name="connsiteY4617" fmla="*/ 3212280 h 4687251"/>
              <a:gd name="connsiteX4618" fmla="*/ 6599223 w 8079933"/>
              <a:gd name="connsiteY4618" fmla="*/ 3208382 h 4687251"/>
              <a:gd name="connsiteX4619" fmla="*/ 6600633 w 8079933"/>
              <a:gd name="connsiteY4619" fmla="*/ 3198963 h 4687251"/>
              <a:gd name="connsiteX4620" fmla="*/ 6605083 w 8079933"/>
              <a:gd name="connsiteY4620" fmla="*/ 3198746 h 4687251"/>
              <a:gd name="connsiteX4621" fmla="*/ 6611050 w 8079933"/>
              <a:gd name="connsiteY4621" fmla="*/ 3204918 h 4687251"/>
              <a:gd name="connsiteX4622" fmla="*/ 6614740 w 8079933"/>
              <a:gd name="connsiteY4622" fmla="*/ 3204918 h 4687251"/>
              <a:gd name="connsiteX4623" fmla="*/ 6619082 w 8079933"/>
              <a:gd name="connsiteY4623" fmla="*/ 3204051 h 4687251"/>
              <a:gd name="connsiteX4624" fmla="*/ 6622337 w 8079933"/>
              <a:gd name="connsiteY4624" fmla="*/ 3206108 h 4687251"/>
              <a:gd name="connsiteX4625" fmla="*/ 6627437 w 8079933"/>
              <a:gd name="connsiteY4625" fmla="*/ 3210439 h 4687251"/>
              <a:gd name="connsiteX4626" fmla="*/ 6631560 w 8079933"/>
              <a:gd name="connsiteY4626" fmla="*/ 3210222 h 4687251"/>
              <a:gd name="connsiteX4627" fmla="*/ 6634925 w 8079933"/>
              <a:gd name="connsiteY4627" fmla="*/ 3213904 h 4687251"/>
              <a:gd name="connsiteX4628" fmla="*/ 6637963 w 8079933"/>
              <a:gd name="connsiteY4628" fmla="*/ 3212388 h 4687251"/>
              <a:gd name="connsiteX4629" fmla="*/ 6644366 w 8079933"/>
              <a:gd name="connsiteY4629" fmla="*/ 3212496 h 4687251"/>
              <a:gd name="connsiteX4630" fmla="*/ 6644691 w 8079933"/>
              <a:gd name="connsiteY4630" fmla="*/ 3218884 h 4687251"/>
              <a:gd name="connsiteX4631" fmla="*/ 6649249 w 8079933"/>
              <a:gd name="connsiteY4631" fmla="*/ 3224947 h 4687251"/>
              <a:gd name="connsiteX4632" fmla="*/ 6649575 w 8079933"/>
              <a:gd name="connsiteY4632" fmla="*/ 3228412 h 4687251"/>
              <a:gd name="connsiteX4633" fmla="*/ 6652830 w 8079933"/>
              <a:gd name="connsiteY4633" fmla="*/ 3232093 h 4687251"/>
              <a:gd name="connsiteX4634" fmla="*/ 6658147 w 8079933"/>
              <a:gd name="connsiteY4634" fmla="*/ 3234583 h 4687251"/>
              <a:gd name="connsiteX4635" fmla="*/ 6663356 w 8079933"/>
              <a:gd name="connsiteY4635" fmla="*/ 3232743 h 4687251"/>
              <a:gd name="connsiteX4636" fmla="*/ 6667046 w 8079933"/>
              <a:gd name="connsiteY4636" fmla="*/ 3235017 h 4687251"/>
              <a:gd name="connsiteX4637" fmla="*/ 6670952 w 8079933"/>
              <a:gd name="connsiteY4637" fmla="*/ 3234800 h 4687251"/>
              <a:gd name="connsiteX4638" fmla="*/ 6674099 w 8079933"/>
              <a:gd name="connsiteY4638" fmla="*/ 3232851 h 4687251"/>
              <a:gd name="connsiteX4639" fmla="*/ 6678006 w 8079933"/>
              <a:gd name="connsiteY4639" fmla="*/ 3232743 h 4687251"/>
              <a:gd name="connsiteX4640" fmla="*/ 6679091 w 8079933"/>
              <a:gd name="connsiteY4640" fmla="*/ 3234259 h 4687251"/>
              <a:gd name="connsiteX4641" fmla="*/ 6683214 w 8079933"/>
              <a:gd name="connsiteY4641" fmla="*/ 3235017 h 4687251"/>
              <a:gd name="connsiteX4642" fmla="*/ 6685928 w 8079933"/>
              <a:gd name="connsiteY4642" fmla="*/ 3237940 h 4687251"/>
              <a:gd name="connsiteX4643" fmla="*/ 6684408 w 8079933"/>
              <a:gd name="connsiteY4643" fmla="*/ 3248334 h 4687251"/>
              <a:gd name="connsiteX4644" fmla="*/ 6682021 w 8079933"/>
              <a:gd name="connsiteY4644" fmla="*/ 3251365 h 4687251"/>
              <a:gd name="connsiteX4645" fmla="*/ 6684734 w 8079933"/>
              <a:gd name="connsiteY4645" fmla="*/ 3253206 h 4687251"/>
              <a:gd name="connsiteX4646" fmla="*/ 6686036 w 8079933"/>
              <a:gd name="connsiteY4646" fmla="*/ 3260352 h 4687251"/>
              <a:gd name="connsiteX4647" fmla="*/ 6683214 w 8079933"/>
              <a:gd name="connsiteY4647" fmla="*/ 3261218 h 4687251"/>
              <a:gd name="connsiteX4648" fmla="*/ 6679742 w 8079933"/>
              <a:gd name="connsiteY4648" fmla="*/ 3257536 h 4687251"/>
              <a:gd name="connsiteX4649" fmla="*/ 6674316 w 8079933"/>
              <a:gd name="connsiteY4649" fmla="*/ 3258187 h 4687251"/>
              <a:gd name="connsiteX4650" fmla="*/ 6668239 w 8079933"/>
              <a:gd name="connsiteY4650" fmla="*/ 3253097 h 4687251"/>
              <a:gd name="connsiteX4651" fmla="*/ 6663248 w 8079933"/>
              <a:gd name="connsiteY4651" fmla="*/ 3251799 h 4687251"/>
              <a:gd name="connsiteX4652" fmla="*/ 6658690 w 8079933"/>
              <a:gd name="connsiteY4652" fmla="*/ 3246927 h 4687251"/>
              <a:gd name="connsiteX4653" fmla="*/ 6655109 w 8079933"/>
              <a:gd name="connsiteY4653" fmla="*/ 3246818 h 4687251"/>
              <a:gd name="connsiteX4654" fmla="*/ 6648273 w 8079933"/>
              <a:gd name="connsiteY4654" fmla="*/ 3250391 h 4687251"/>
              <a:gd name="connsiteX4655" fmla="*/ 6641110 w 8079933"/>
              <a:gd name="connsiteY4655" fmla="*/ 3250716 h 4687251"/>
              <a:gd name="connsiteX4656" fmla="*/ 6635033 w 8079933"/>
              <a:gd name="connsiteY4656" fmla="*/ 3247251 h 4687251"/>
              <a:gd name="connsiteX4657" fmla="*/ 6628414 w 8079933"/>
              <a:gd name="connsiteY4657" fmla="*/ 3245844 h 4687251"/>
              <a:gd name="connsiteX4658" fmla="*/ 6622880 w 8079933"/>
              <a:gd name="connsiteY4658" fmla="*/ 3250499 h 4687251"/>
              <a:gd name="connsiteX4659" fmla="*/ 6616802 w 8079933"/>
              <a:gd name="connsiteY4659" fmla="*/ 3246168 h 4687251"/>
              <a:gd name="connsiteX4660" fmla="*/ 6608555 w 8079933"/>
              <a:gd name="connsiteY4660" fmla="*/ 3245736 h 4687251"/>
              <a:gd name="connsiteX4661" fmla="*/ 6603564 w 8079933"/>
              <a:gd name="connsiteY4661" fmla="*/ 3248442 h 4687251"/>
              <a:gd name="connsiteX4662" fmla="*/ 6590976 w 8079933"/>
              <a:gd name="connsiteY4662" fmla="*/ 3243678 h 4687251"/>
              <a:gd name="connsiteX4663" fmla="*/ 6579473 w 8079933"/>
              <a:gd name="connsiteY4663" fmla="*/ 3236424 h 4687251"/>
              <a:gd name="connsiteX4664" fmla="*/ 6571876 w 8079933"/>
              <a:gd name="connsiteY4664" fmla="*/ 3236532 h 4687251"/>
              <a:gd name="connsiteX4665" fmla="*/ 6566125 w 8079933"/>
              <a:gd name="connsiteY4665" fmla="*/ 3232634 h 4687251"/>
              <a:gd name="connsiteX4666" fmla="*/ 6562762 w 8079933"/>
              <a:gd name="connsiteY4666" fmla="*/ 3232851 h 4687251"/>
              <a:gd name="connsiteX4667" fmla="*/ 6559832 w 8079933"/>
              <a:gd name="connsiteY4667" fmla="*/ 3236207 h 4687251"/>
              <a:gd name="connsiteX4668" fmla="*/ 6555274 w 8079933"/>
              <a:gd name="connsiteY4668" fmla="*/ 3235342 h 4687251"/>
              <a:gd name="connsiteX4669" fmla="*/ 6551692 w 8079933"/>
              <a:gd name="connsiteY4669" fmla="*/ 3231552 h 4687251"/>
              <a:gd name="connsiteX4670" fmla="*/ 6548437 w 8079933"/>
              <a:gd name="connsiteY4670" fmla="*/ 3231877 h 4687251"/>
              <a:gd name="connsiteX4671" fmla="*/ 6544096 w 8079933"/>
              <a:gd name="connsiteY4671" fmla="*/ 3236857 h 4687251"/>
              <a:gd name="connsiteX4672" fmla="*/ 6533462 w 8079933"/>
              <a:gd name="connsiteY4672" fmla="*/ 3233826 h 4687251"/>
              <a:gd name="connsiteX4673" fmla="*/ 6526083 w 8079933"/>
              <a:gd name="connsiteY4673" fmla="*/ 3228195 h 4687251"/>
              <a:gd name="connsiteX4674" fmla="*/ 6518811 w 8079933"/>
              <a:gd name="connsiteY4674" fmla="*/ 3227762 h 4687251"/>
              <a:gd name="connsiteX4675" fmla="*/ 6515556 w 8079933"/>
              <a:gd name="connsiteY4675" fmla="*/ 3226030 h 4687251"/>
              <a:gd name="connsiteX4676" fmla="*/ 6511108 w 8079933"/>
              <a:gd name="connsiteY4676" fmla="*/ 3228629 h 4687251"/>
              <a:gd name="connsiteX4677" fmla="*/ 6505573 w 8079933"/>
              <a:gd name="connsiteY4677" fmla="*/ 3226571 h 4687251"/>
              <a:gd name="connsiteX4678" fmla="*/ 6499170 w 8079933"/>
              <a:gd name="connsiteY4678" fmla="*/ 3225597 h 4687251"/>
              <a:gd name="connsiteX4679" fmla="*/ 6497001 w 8079933"/>
              <a:gd name="connsiteY4679" fmla="*/ 3223540 h 4687251"/>
              <a:gd name="connsiteX4680" fmla="*/ 6500364 w 8079933"/>
              <a:gd name="connsiteY4680" fmla="*/ 3217585 h 4687251"/>
              <a:gd name="connsiteX4681" fmla="*/ 6502426 w 8079933"/>
              <a:gd name="connsiteY4681" fmla="*/ 3215528 h 4687251"/>
              <a:gd name="connsiteX4682" fmla="*/ 6499062 w 8079933"/>
              <a:gd name="connsiteY4682" fmla="*/ 3215420 h 4687251"/>
              <a:gd name="connsiteX4683" fmla="*/ 6496132 w 8079933"/>
              <a:gd name="connsiteY4683" fmla="*/ 3216935 h 4687251"/>
              <a:gd name="connsiteX4684" fmla="*/ 6492985 w 8079933"/>
              <a:gd name="connsiteY4684" fmla="*/ 3214987 h 4687251"/>
              <a:gd name="connsiteX4685" fmla="*/ 6490815 w 8079933"/>
              <a:gd name="connsiteY4685" fmla="*/ 3210873 h 4687251"/>
              <a:gd name="connsiteX4686" fmla="*/ 6485606 w 8079933"/>
              <a:gd name="connsiteY4686" fmla="*/ 3212930 h 4687251"/>
              <a:gd name="connsiteX4687" fmla="*/ 6475948 w 8079933"/>
              <a:gd name="connsiteY4687" fmla="*/ 3212713 h 4687251"/>
              <a:gd name="connsiteX4688" fmla="*/ 6472909 w 8079933"/>
              <a:gd name="connsiteY4688" fmla="*/ 3210873 h 4687251"/>
              <a:gd name="connsiteX4689" fmla="*/ 6472692 w 8079933"/>
              <a:gd name="connsiteY4689" fmla="*/ 3208165 h 4687251"/>
              <a:gd name="connsiteX4690" fmla="*/ 6474320 w 8079933"/>
              <a:gd name="connsiteY4690" fmla="*/ 3207841 h 4687251"/>
              <a:gd name="connsiteX4691" fmla="*/ 6476273 w 8079933"/>
              <a:gd name="connsiteY4691" fmla="*/ 3209898 h 4687251"/>
              <a:gd name="connsiteX4692" fmla="*/ 6479854 w 8079933"/>
              <a:gd name="connsiteY4692" fmla="*/ 3208599 h 4687251"/>
              <a:gd name="connsiteX4693" fmla="*/ 6480288 w 8079933"/>
              <a:gd name="connsiteY4693" fmla="*/ 3203726 h 4687251"/>
              <a:gd name="connsiteX4694" fmla="*/ 6485280 w 8079933"/>
              <a:gd name="connsiteY4694" fmla="*/ 3203077 h 4687251"/>
              <a:gd name="connsiteX4695" fmla="*/ 6487560 w 8079933"/>
              <a:gd name="connsiteY4695" fmla="*/ 3198096 h 4687251"/>
              <a:gd name="connsiteX4696" fmla="*/ 6487233 w 8079933"/>
              <a:gd name="connsiteY4696" fmla="*/ 3193116 h 4687251"/>
              <a:gd name="connsiteX4697" fmla="*/ 6834053 w 8079933"/>
              <a:gd name="connsiteY4697" fmla="*/ 3185971 h 4687251"/>
              <a:gd name="connsiteX4698" fmla="*/ 6837851 w 8079933"/>
              <a:gd name="connsiteY4698" fmla="*/ 3193549 h 4687251"/>
              <a:gd name="connsiteX4699" fmla="*/ 6836007 w 8079933"/>
              <a:gd name="connsiteY4699" fmla="*/ 3197123 h 4687251"/>
              <a:gd name="connsiteX4700" fmla="*/ 6834162 w 8079933"/>
              <a:gd name="connsiteY4700" fmla="*/ 3202103 h 4687251"/>
              <a:gd name="connsiteX4701" fmla="*/ 6833076 w 8079933"/>
              <a:gd name="connsiteY4701" fmla="*/ 3198530 h 4687251"/>
              <a:gd name="connsiteX4702" fmla="*/ 6831014 w 8079933"/>
              <a:gd name="connsiteY4702" fmla="*/ 3195174 h 4687251"/>
              <a:gd name="connsiteX4703" fmla="*/ 6832642 w 8079933"/>
              <a:gd name="connsiteY4703" fmla="*/ 3192251 h 4687251"/>
              <a:gd name="connsiteX4704" fmla="*/ 6832967 w 8079933"/>
              <a:gd name="connsiteY4704" fmla="*/ 3188461 h 4687251"/>
              <a:gd name="connsiteX4705" fmla="*/ 7164270 w 8079933"/>
              <a:gd name="connsiteY4705" fmla="*/ 3183372 h 4687251"/>
              <a:gd name="connsiteX4706" fmla="*/ 7165572 w 8079933"/>
              <a:gd name="connsiteY4706" fmla="*/ 3183372 h 4687251"/>
              <a:gd name="connsiteX4707" fmla="*/ 7165572 w 8079933"/>
              <a:gd name="connsiteY4707" fmla="*/ 3184996 h 4687251"/>
              <a:gd name="connsiteX4708" fmla="*/ 7163619 w 8079933"/>
              <a:gd name="connsiteY4708" fmla="*/ 3184996 h 4687251"/>
              <a:gd name="connsiteX4709" fmla="*/ 7127482 w 8079933"/>
              <a:gd name="connsiteY4709" fmla="*/ 3178824 h 4687251"/>
              <a:gd name="connsiteX4710" fmla="*/ 7130846 w 8079933"/>
              <a:gd name="connsiteY4710" fmla="*/ 3183479 h 4687251"/>
              <a:gd name="connsiteX4711" fmla="*/ 7130738 w 8079933"/>
              <a:gd name="connsiteY4711" fmla="*/ 3189001 h 4687251"/>
              <a:gd name="connsiteX4712" fmla="*/ 7129002 w 8079933"/>
              <a:gd name="connsiteY4712" fmla="*/ 3187160 h 4687251"/>
              <a:gd name="connsiteX4713" fmla="*/ 7128784 w 8079933"/>
              <a:gd name="connsiteY4713" fmla="*/ 3183371 h 4687251"/>
              <a:gd name="connsiteX4714" fmla="*/ 7169912 w 8079933"/>
              <a:gd name="connsiteY4714" fmla="*/ 3177742 h 4687251"/>
              <a:gd name="connsiteX4715" fmla="*/ 7172191 w 8079933"/>
              <a:gd name="connsiteY4715" fmla="*/ 3178066 h 4687251"/>
              <a:gd name="connsiteX4716" fmla="*/ 7175012 w 8079933"/>
              <a:gd name="connsiteY4716" fmla="*/ 3180232 h 4687251"/>
              <a:gd name="connsiteX4717" fmla="*/ 7176965 w 8079933"/>
              <a:gd name="connsiteY4717" fmla="*/ 3180448 h 4687251"/>
              <a:gd name="connsiteX4718" fmla="*/ 7177074 w 8079933"/>
              <a:gd name="connsiteY4718" fmla="*/ 3184672 h 4687251"/>
              <a:gd name="connsiteX4719" fmla="*/ 7175989 w 8079933"/>
              <a:gd name="connsiteY4719" fmla="*/ 3186837 h 4687251"/>
              <a:gd name="connsiteX4720" fmla="*/ 7173168 w 8079933"/>
              <a:gd name="connsiteY4720" fmla="*/ 3186729 h 4687251"/>
              <a:gd name="connsiteX4721" fmla="*/ 7169912 w 8079933"/>
              <a:gd name="connsiteY4721" fmla="*/ 3189111 h 4687251"/>
              <a:gd name="connsiteX4722" fmla="*/ 7168176 w 8079933"/>
              <a:gd name="connsiteY4722" fmla="*/ 3189219 h 4687251"/>
              <a:gd name="connsiteX4723" fmla="*/ 7167525 w 8079933"/>
              <a:gd name="connsiteY4723" fmla="*/ 3186404 h 4687251"/>
              <a:gd name="connsiteX4724" fmla="*/ 7170779 w 8079933"/>
              <a:gd name="connsiteY4724" fmla="*/ 3184130 h 4687251"/>
              <a:gd name="connsiteX4725" fmla="*/ 7168502 w 8079933"/>
              <a:gd name="connsiteY4725" fmla="*/ 3184563 h 4687251"/>
              <a:gd name="connsiteX4726" fmla="*/ 7168176 w 8079933"/>
              <a:gd name="connsiteY4726" fmla="*/ 3182615 h 4687251"/>
              <a:gd name="connsiteX4727" fmla="*/ 7165680 w 8079933"/>
              <a:gd name="connsiteY4727" fmla="*/ 3181965 h 4687251"/>
              <a:gd name="connsiteX4728" fmla="*/ 7167850 w 8079933"/>
              <a:gd name="connsiteY4728" fmla="*/ 3181315 h 4687251"/>
              <a:gd name="connsiteX4729" fmla="*/ 7175121 w 8079933"/>
              <a:gd name="connsiteY4729" fmla="*/ 3176334 h 4687251"/>
              <a:gd name="connsiteX4730" fmla="*/ 7177075 w 8079933"/>
              <a:gd name="connsiteY4730" fmla="*/ 3179257 h 4687251"/>
              <a:gd name="connsiteX4731" fmla="*/ 7175338 w 8079933"/>
              <a:gd name="connsiteY4731" fmla="*/ 3179149 h 4687251"/>
              <a:gd name="connsiteX4732" fmla="*/ 7173059 w 8079933"/>
              <a:gd name="connsiteY4732" fmla="*/ 3176550 h 4687251"/>
              <a:gd name="connsiteX4733" fmla="*/ 7493942 w 8079933"/>
              <a:gd name="connsiteY4733" fmla="*/ 3175793 h 4687251"/>
              <a:gd name="connsiteX4734" fmla="*/ 7497740 w 8079933"/>
              <a:gd name="connsiteY4734" fmla="*/ 3178932 h 4687251"/>
              <a:gd name="connsiteX4735" fmla="*/ 7498934 w 8079933"/>
              <a:gd name="connsiteY4735" fmla="*/ 3183264 h 4687251"/>
              <a:gd name="connsiteX4736" fmla="*/ 7497740 w 8079933"/>
              <a:gd name="connsiteY4736" fmla="*/ 3185429 h 4687251"/>
              <a:gd name="connsiteX4737" fmla="*/ 7493508 w 8079933"/>
              <a:gd name="connsiteY4737" fmla="*/ 3182939 h 4687251"/>
              <a:gd name="connsiteX4738" fmla="*/ 7491012 w 8079933"/>
              <a:gd name="connsiteY4738" fmla="*/ 3179041 h 4687251"/>
              <a:gd name="connsiteX4739" fmla="*/ 7140395 w 8079933"/>
              <a:gd name="connsiteY4739" fmla="*/ 3174169 h 4687251"/>
              <a:gd name="connsiteX4740" fmla="*/ 7138225 w 8079933"/>
              <a:gd name="connsiteY4740" fmla="*/ 3178391 h 4687251"/>
              <a:gd name="connsiteX4741" fmla="*/ 7134969 w 8079933"/>
              <a:gd name="connsiteY4741" fmla="*/ 3188244 h 4687251"/>
              <a:gd name="connsiteX4742" fmla="*/ 7131823 w 8079933"/>
              <a:gd name="connsiteY4742" fmla="*/ 3189435 h 4687251"/>
              <a:gd name="connsiteX4743" fmla="*/ 7133559 w 8079933"/>
              <a:gd name="connsiteY4743" fmla="*/ 3186620 h 4687251"/>
              <a:gd name="connsiteX4744" fmla="*/ 7135621 w 8079933"/>
              <a:gd name="connsiteY4744" fmla="*/ 3176659 h 4687251"/>
              <a:gd name="connsiteX4745" fmla="*/ 6400203 w 8079933"/>
              <a:gd name="connsiteY4745" fmla="*/ 3172545 h 4687251"/>
              <a:gd name="connsiteX4746" fmla="*/ 6403242 w 8079933"/>
              <a:gd name="connsiteY4746" fmla="*/ 3174819 h 4687251"/>
              <a:gd name="connsiteX4747" fmla="*/ 6403350 w 8079933"/>
              <a:gd name="connsiteY4747" fmla="*/ 3178176 h 4687251"/>
              <a:gd name="connsiteX4748" fmla="*/ 6397273 w 8079933"/>
              <a:gd name="connsiteY4748" fmla="*/ 3173736 h 4687251"/>
              <a:gd name="connsiteX4749" fmla="*/ 7477339 w 8079933"/>
              <a:gd name="connsiteY4749" fmla="*/ 3169621 h 4687251"/>
              <a:gd name="connsiteX4750" fmla="*/ 7480270 w 8079933"/>
              <a:gd name="connsiteY4750" fmla="*/ 3171678 h 4687251"/>
              <a:gd name="connsiteX4751" fmla="*/ 7480270 w 8079933"/>
              <a:gd name="connsiteY4751" fmla="*/ 3175792 h 4687251"/>
              <a:gd name="connsiteX4752" fmla="*/ 7477339 w 8079933"/>
              <a:gd name="connsiteY4752" fmla="*/ 3176550 h 4687251"/>
              <a:gd name="connsiteX4753" fmla="*/ 7475277 w 8079933"/>
              <a:gd name="connsiteY4753" fmla="*/ 3173627 h 4687251"/>
              <a:gd name="connsiteX4754" fmla="*/ 6868236 w 8079933"/>
              <a:gd name="connsiteY4754" fmla="*/ 3167998 h 4687251"/>
              <a:gd name="connsiteX4755" fmla="*/ 6871058 w 8079933"/>
              <a:gd name="connsiteY4755" fmla="*/ 3172112 h 4687251"/>
              <a:gd name="connsiteX4756" fmla="*/ 6872251 w 8079933"/>
              <a:gd name="connsiteY4756" fmla="*/ 3176875 h 4687251"/>
              <a:gd name="connsiteX4757" fmla="*/ 6868671 w 8079933"/>
              <a:gd name="connsiteY4757" fmla="*/ 3179257 h 4687251"/>
              <a:gd name="connsiteX4758" fmla="*/ 6866609 w 8079933"/>
              <a:gd name="connsiteY4758" fmla="*/ 3178391 h 4687251"/>
              <a:gd name="connsiteX4759" fmla="*/ 6864872 w 8079933"/>
              <a:gd name="connsiteY4759" fmla="*/ 3173195 h 4687251"/>
              <a:gd name="connsiteX4760" fmla="*/ 6866283 w 8079933"/>
              <a:gd name="connsiteY4760" fmla="*/ 3171787 h 4687251"/>
              <a:gd name="connsiteX4761" fmla="*/ 6866283 w 8079933"/>
              <a:gd name="connsiteY4761" fmla="*/ 3168755 h 4687251"/>
              <a:gd name="connsiteX4762" fmla="*/ 4238334 w 8079933"/>
              <a:gd name="connsiteY4762" fmla="*/ 3162368 h 4687251"/>
              <a:gd name="connsiteX4763" fmla="*/ 4238767 w 8079933"/>
              <a:gd name="connsiteY4763" fmla="*/ 3171029 h 4687251"/>
              <a:gd name="connsiteX4764" fmla="*/ 4238768 w 8079933"/>
              <a:gd name="connsiteY4764" fmla="*/ 3171028 h 4687251"/>
              <a:gd name="connsiteX4765" fmla="*/ 7550914 w 8079933"/>
              <a:gd name="connsiteY4765" fmla="*/ 3159985 h 4687251"/>
              <a:gd name="connsiteX4766" fmla="*/ 7554061 w 8079933"/>
              <a:gd name="connsiteY4766" fmla="*/ 3164641 h 4687251"/>
              <a:gd name="connsiteX4767" fmla="*/ 7551457 w 8079933"/>
              <a:gd name="connsiteY4767" fmla="*/ 3167563 h 4687251"/>
              <a:gd name="connsiteX4768" fmla="*/ 7546682 w 8079933"/>
              <a:gd name="connsiteY4768" fmla="*/ 3162800 h 4687251"/>
              <a:gd name="connsiteX4769" fmla="*/ 7547550 w 8079933"/>
              <a:gd name="connsiteY4769" fmla="*/ 3160310 h 4687251"/>
              <a:gd name="connsiteX4770" fmla="*/ 6886141 w 8079933"/>
              <a:gd name="connsiteY4770" fmla="*/ 3159769 h 4687251"/>
              <a:gd name="connsiteX4771" fmla="*/ 6888312 w 8079933"/>
              <a:gd name="connsiteY4771" fmla="*/ 3163775 h 4687251"/>
              <a:gd name="connsiteX4772" fmla="*/ 6888312 w 8079933"/>
              <a:gd name="connsiteY4772" fmla="*/ 3166265 h 4687251"/>
              <a:gd name="connsiteX4773" fmla="*/ 6885273 w 8079933"/>
              <a:gd name="connsiteY4773" fmla="*/ 3169405 h 4687251"/>
              <a:gd name="connsiteX4774" fmla="*/ 6885273 w 8079933"/>
              <a:gd name="connsiteY4774" fmla="*/ 3173411 h 4687251"/>
              <a:gd name="connsiteX4775" fmla="*/ 6883428 w 8079933"/>
              <a:gd name="connsiteY4775" fmla="*/ 3173411 h 4687251"/>
              <a:gd name="connsiteX4776" fmla="*/ 6882886 w 8079933"/>
              <a:gd name="connsiteY4776" fmla="*/ 3175360 h 4687251"/>
              <a:gd name="connsiteX4777" fmla="*/ 6878762 w 8079933"/>
              <a:gd name="connsiteY4777" fmla="*/ 3175360 h 4687251"/>
              <a:gd name="connsiteX4778" fmla="*/ 6876917 w 8079933"/>
              <a:gd name="connsiteY4778" fmla="*/ 3173844 h 4687251"/>
              <a:gd name="connsiteX4779" fmla="*/ 6876157 w 8079933"/>
              <a:gd name="connsiteY4779" fmla="*/ 3172653 h 4687251"/>
              <a:gd name="connsiteX4780" fmla="*/ 6880389 w 8079933"/>
              <a:gd name="connsiteY4780" fmla="*/ 3167889 h 4687251"/>
              <a:gd name="connsiteX4781" fmla="*/ 6878979 w 8079933"/>
              <a:gd name="connsiteY4781" fmla="*/ 3165074 h 4687251"/>
              <a:gd name="connsiteX4782" fmla="*/ 6882126 w 8079933"/>
              <a:gd name="connsiteY4782" fmla="*/ 3161826 h 4687251"/>
              <a:gd name="connsiteX4783" fmla="*/ 7453792 w 8079933"/>
              <a:gd name="connsiteY4783" fmla="*/ 3154355 h 4687251"/>
              <a:gd name="connsiteX4784" fmla="*/ 7453249 w 8079933"/>
              <a:gd name="connsiteY4784" fmla="*/ 3157278 h 4687251"/>
              <a:gd name="connsiteX4785" fmla="*/ 7449994 w 8079933"/>
              <a:gd name="connsiteY4785" fmla="*/ 3159876 h 4687251"/>
              <a:gd name="connsiteX4786" fmla="*/ 7448474 w 8079933"/>
              <a:gd name="connsiteY4786" fmla="*/ 3156412 h 4687251"/>
              <a:gd name="connsiteX4787" fmla="*/ 6896341 w 8079933"/>
              <a:gd name="connsiteY4787" fmla="*/ 3153056 h 4687251"/>
              <a:gd name="connsiteX4788" fmla="*/ 6899814 w 8079933"/>
              <a:gd name="connsiteY4788" fmla="*/ 3153597 h 4687251"/>
              <a:gd name="connsiteX4789" fmla="*/ 6899814 w 8079933"/>
              <a:gd name="connsiteY4789" fmla="*/ 3156629 h 4687251"/>
              <a:gd name="connsiteX4790" fmla="*/ 6901333 w 8079933"/>
              <a:gd name="connsiteY4790" fmla="*/ 3159877 h 4687251"/>
              <a:gd name="connsiteX4791" fmla="*/ 6901116 w 8079933"/>
              <a:gd name="connsiteY4791" fmla="*/ 3162042 h 4687251"/>
              <a:gd name="connsiteX4792" fmla="*/ 6899922 w 8079933"/>
              <a:gd name="connsiteY4792" fmla="*/ 3160202 h 4687251"/>
              <a:gd name="connsiteX4793" fmla="*/ 6899162 w 8079933"/>
              <a:gd name="connsiteY4793" fmla="*/ 3162259 h 4687251"/>
              <a:gd name="connsiteX4794" fmla="*/ 6896341 w 8079933"/>
              <a:gd name="connsiteY4794" fmla="*/ 3164424 h 4687251"/>
              <a:gd name="connsiteX4795" fmla="*/ 6894930 w 8079933"/>
              <a:gd name="connsiteY4795" fmla="*/ 3166266 h 4687251"/>
              <a:gd name="connsiteX4796" fmla="*/ 6896015 w 8079933"/>
              <a:gd name="connsiteY4796" fmla="*/ 3169838 h 4687251"/>
              <a:gd name="connsiteX4797" fmla="*/ 6899814 w 8079933"/>
              <a:gd name="connsiteY4797" fmla="*/ 3170812 h 4687251"/>
              <a:gd name="connsiteX4798" fmla="*/ 6900574 w 8079933"/>
              <a:gd name="connsiteY4798" fmla="*/ 3172870 h 4687251"/>
              <a:gd name="connsiteX4799" fmla="*/ 6898945 w 8079933"/>
              <a:gd name="connsiteY4799" fmla="*/ 3174927 h 4687251"/>
              <a:gd name="connsiteX4800" fmla="*/ 6896015 w 8079933"/>
              <a:gd name="connsiteY4800" fmla="*/ 3175793 h 4687251"/>
              <a:gd name="connsiteX4801" fmla="*/ 6893411 w 8079933"/>
              <a:gd name="connsiteY4801" fmla="*/ 3180449 h 4687251"/>
              <a:gd name="connsiteX4802" fmla="*/ 6890373 w 8079933"/>
              <a:gd name="connsiteY4802" fmla="*/ 3181965 h 4687251"/>
              <a:gd name="connsiteX4803" fmla="*/ 6887117 w 8079933"/>
              <a:gd name="connsiteY4803" fmla="*/ 3180233 h 4687251"/>
              <a:gd name="connsiteX4804" fmla="*/ 6887768 w 8079933"/>
              <a:gd name="connsiteY4804" fmla="*/ 3176659 h 4687251"/>
              <a:gd name="connsiteX4805" fmla="*/ 6891784 w 8079933"/>
              <a:gd name="connsiteY4805" fmla="*/ 3169730 h 4687251"/>
              <a:gd name="connsiteX4806" fmla="*/ 6893953 w 8079933"/>
              <a:gd name="connsiteY4806" fmla="*/ 3162259 h 4687251"/>
              <a:gd name="connsiteX4807" fmla="*/ 6894388 w 8079933"/>
              <a:gd name="connsiteY4807" fmla="*/ 3154788 h 4687251"/>
              <a:gd name="connsiteX4808" fmla="*/ 5268374 w 8079933"/>
              <a:gd name="connsiteY4808" fmla="*/ 3149375 h 4687251"/>
              <a:gd name="connsiteX4809" fmla="*/ 5272281 w 8079933"/>
              <a:gd name="connsiteY4809" fmla="*/ 3151215 h 4687251"/>
              <a:gd name="connsiteX4810" fmla="*/ 5273801 w 8079933"/>
              <a:gd name="connsiteY4810" fmla="*/ 3153814 h 4687251"/>
              <a:gd name="connsiteX4811" fmla="*/ 5268592 w 8079933"/>
              <a:gd name="connsiteY4811" fmla="*/ 3155654 h 4687251"/>
              <a:gd name="connsiteX4812" fmla="*/ 5265770 w 8079933"/>
              <a:gd name="connsiteY4812" fmla="*/ 3152622 h 4687251"/>
              <a:gd name="connsiteX4813" fmla="*/ 4298886 w 8079933"/>
              <a:gd name="connsiteY4813" fmla="*/ 3147858 h 4687251"/>
              <a:gd name="connsiteX4814" fmla="*/ 4298886 w 8079933"/>
              <a:gd name="connsiteY4814" fmla="*/ 3147858 h 4687251"/>
              <a:gd name="connsiteX4815" fmla="*/ 4295413 w 8079933"/>
              <a:gd name="connsiteY4815" fmla="*/ 3153055 h 4687251"/>
              <a:gd name="connsiteX4816" fmla="*/ 4291923 w 8079933"/>
              <a:gd name="connsiteY4816" fmla="*/ 3154529 h 4687251"/>
              <a:gd name="connsiteX4817" fmla="*/ 4295413 w 8079933"/>
              <a:gd name="connsiteY4817" fmla="*/ 3153055 h 4687251"/>
              <a:gd name="connsiteX4818" fmla="*/ 7600940 w 8079933"/>
              <a:gd name="connsiteY4818" fmla="*/ 3143853 h 4687251"/>
              <a:gd name="connsiteX4819" fmla="*/ 7606258 w 8079933"/>
              <a:gd name="connsiteY4819" fmla="*/ 3148508 h 4687251"/>
              <a:gd name="connsiteX4820" fmla="*/ 7606475 w 8079933"/>
              <a:gd name="connsiteY4820" fmla="*/ 3159335 h 4687251"/>
              <a:gd name="connsiteX4821" fmla="*/ 7600723 w 8079933"/>
              <a:gd name="connsiteY4821" fmla="*/ 3164641 h 4687251"/>
              <a:gd name="connsiteX4822" fmla="*/ 7598119 w 8079933"/>
              <a:gd name="connsiteY4822" fmla="*/ 3163234 h 4687251"/>
              <a:gd name="connsiteX4823" fmla="*/ 7594863 w 8079933"/>
              <a:gd name="connsiteY4823" fmla="*/ 3165182 h 4687251"/>
              <a:gd name="connsiteX4824" fmla="*/ 7595189 w 8079933"/>
              <a:gd name="connsiteY4824" fmla="*/ 3168430 h 4687251"/>
              <a:gd name="connsiteX4825" fmla="*/ 7600397 w 8079933"/>
              <a:gd name="connsiteY4825" fmla="*/ 3173194 h 4687251"/>
              <a:gd name="connsiteX4826" fmla="*/ 7597576 w 8079933"/>
              <a:gd name="connsiteY4826" fmla="*/ 3177525 h 4687251"/>
              <a:gd name="connsiteX4827" fmla="*/ 7591824 w 8079933"/>
              <a:gd name="connsiteY4827" fmla="*/ 3179258 h 4687251"/>
              <a:gd name="connsiteX4828" fmla="*/ 7588678 w 8079933"/>
              <a:gd name="connsiteY4828" fmla="*/ 3176876 h 4687251"/>
              <a:gd name="connsiteX4829" fmla="*/ 7585205 w 8079933"/>
              <a:gd name="connsiteY4829" fmla="*/ 3177742 h 4687251"/>
              <a:gd name="connsiteX4830" fmla="*/ 7585205 w 8079933"/>
              <a:gd name="connsiteY4830" fmla="*/ 3181098 h 4687251"/>
              <a:gd name="connsiteX4831" fmla="*/ 7576741 w 8079933"/>
              <a:gd name="connsiteY4831" fmla="*/ 3191600 h 4687251"/>
              <a:gd name="connsiteX4832" fmla="*/ 7570555 w 8079933"/>
              <a:gd name="connsiteY4832" fmla="*/ 3191816 h 4687251"/>
              <a:gd name="connsiteX4833" fmla="*/ 7570772 w 8079933"/>
              <a:gd name="connsiteY4833" fmla="*/ 3195281 h 4687251"/>
              <a:gd name="connsiteX4834" fmla="*/ 7568819 w 8079933"/>
              <a:gd name="connsiteY4834" fmla="*/ 3197879 h 4687251"/>
              <a:gd name="connsiteX4835" fmla="*/ 7563068 w 8079933"/>
              <a:gd name="connsiteY4835" fmla="*/ 3195389 h 4687251"/>
              <a:gd name="connsiteX4836" fmla="*/ 7559053 w 8079933"/>
              <a:gd name="connsiteY4836" fmla="*/ 3197122 h 4687251"/>
              <a:gd name="connsiteX4837" fmla="*/ 7554387 w 8079933"/>
              <a:gd name="connsiteY4837" fmla="*/ 3195715 h 4687251"/>
              <a:gd name="connsiteX4838" fmla="*/ 7545597 w 8079933"/>
              <a:gd name="connsiteY4838" fmla="*/ 3197447 h 4687251"/>
              <a:gd name="connsiteX4839" fmla="*/ 7541798 w 8079933"/>
              <a:gd name="connsiteY4839" fmla="*/ 3198205 h 4687251"/>
              <a:gd name="connsiteX4840" fmla="*/ 7536155 w 8079933"/>
              <a:gd name="connsiteY4840" fmla="*/ 3197338 h 4687251"/>
              <a:gd name="connsiteX4841" fmla="*/ 7533768 w 8079933"/>
              <a:gd name="connsiteY4841" fmla="*/ 3192791 h 4687251"/>
              <a:gd name="connsiteX4842" fmla="*/ 7525738 w 8079933"/>
              <a:gd name="connsiteY4842" fmla="*/ 3192466 h 4687251"/>
              <a:gd name="connsiteX4843" fmla="*/ 7522374 w 8079933"/>
              <a:gd name="connsiteY4843" fmla="*/ 3195065 h 4687251"/>
              <a:gd name="connsiteX4844" fmla="*/ 7521506 w 8079933"/>
              <a:gd name="connsiteY4844" fmla="*/ 3192358 h 4687251"/>
              <a:gd name="connsiteX4845" fmla="*/ 7513693 w 8079933"/>
              <a:gd name="connsiteY4845" fmla="*/ 3186078 h 4687251"/>
              <a:gd name="connsiteX4846" fmla="*/ 7508592 w 8079933"/>
              <a:gd name="connsiteY4846" fmla="*/ 3185645 h 4687251"/>
              <a:gd name="connsiteX4847" fmla="*/ 7504577 w 8079933"/>
              <a:gd name="connsiteY4847" fmla="*/ 3180665 h 4687251"/>
              <a:gd name="connsiteX4848" fmla="*/ 7508050 w 8079933"/>
              <a:gd name="connsiteY4848" fmla="*/ 3174277 h 4687251"/>
              <a:gd name="connsiteX4849" fmla="*/ 7512716 w 8079933"/>
              <a:gd name="connsiteY4849" fmla="*/ 3177092 h 4687251"/>
              <a:gd name="connsiteX4850" fmla="*/ 7518575 w 8079933"/>
              <a:gd name="connsiteY4850" fmla="*/ 3175685 h 4687251"/>
              <a:gd name="connsiteX4851" fmla="*/ 7522808 w 8079933"/>
              <a:gd name="connsiteY4851" fmla="*/ 3175685 h 4687251"/>
              <a:gd name="connsiteX4852" fmla="*/ 7526172 w 8079933"/>
              <a:gd name="connsiteY4852" fmla="*/ 3177308 h 4687251"/>
              <a:gd name="connsiteX4853" fmla="*/ 7530295 w 8079933"/>
              <a:gd name="connsiteY4853" fmla="*/ 3177525 h 4687251"/>
              <a:gd name="connsiteX4854" fmla="*/ 7535830 w 8079933"/>
              <a:gd name="connsiteY4854" fmla="*/ 3175251 h 4687251"/>
              <a:gd name="connsiteX4855" fmla="*/ 7540605 w 8079933"/>
              <a:gd name="connsiteY4855" fmla="*/ 3175793 h 4687251"/>
              <a:gd name="connsiteX4856" fmla="*/ 7544186 w 8079933"/>
              <a:gd name="connsiteY4856" fmla="*/ 3173411 h 4687251"/>
              <a:gd name="connsiteX4857" fmla="*/ 7543535 w 8079933"/>
              <a:gd name="connsiteY4857" fmla="*/ 3170163 h 4687251"/>
              <a:gd name="connsiteX4858" fmla="*/ 7545922 w 8079933"/>
              <a:gd name="connsiteY4858" fmla="*/ 3167781 h 4687251"/>
              <a:gd name="connsiteX4859" fmla="*/ 7549612 w 8079933"/>
              <a:gd name="connsiteY4859" fmla="*/ 3169621 h 4687251"/>
              <a:gd name="connsiteX4860" fmla="*/ 7548526 w 8079933"/>
              <a:gd name="connsiteY4860" fmla="*/ 3173411 h 4687251"/>
              <a:gd name="connsiteX4861" fmla="*/ 7549937 w 8079933"/>
              <a:gd name="connsiteY4861" fmla="*/ 3179365 h 4687251"/>
              <a:gd name="connsiteX4862" fmla="*/ 7552976 w 8079933"/>
              <a:gd name="connsiteY4862" fmla="*/ 3180123 h 4687251"/>
              <a:gd name="connsiteX4863" fmla="*/ 7556448 w 8079933"/>
              <a:gd name="connsiteY4863" fmla="*/ 3175793 h 4687251"/>
              <a:gd name="connsiteX4864" fmla="*/ 7559378 w 8079933"/>
              <a:gd name="connsiteY4864" fmla="*/ 3175685 h 4687251"/>
              <a:gd name="connsiteX4865" fmla="*/ 7562526 w 8079933"/>
              <a:gd name="connsiteY4865" fmla="*/ 3179040 h 4687251"/>
              <a:gd name="connsiteX4866" fmla="*/ 7565889 w 8079933"/>
              <a:gd name="connsiteY4866" fmla="*/ 3176876 h 4687251"/>
              <a:gd name="connsiteX4867" fmla="*/ 7568385 w 8079933"/>
              <a:gd name="connsiteY4867" fmla="*/ 3177850 h 4687251"/>
              <a:gd name="connsiteX4868" fmla="*/ 7571315 w 8079933"/>
              <a:gd name="connsiteY4868" fmla="*/ 3175685 h 4687251"/>
              <a:gd name="connsiteX4869" fmla="*/ 7573051 w 8079933"/>
              <a:gd name="connsiteY4869" fmla="*/ 3171029 h 4687251"/>
              <a:gd name="connsiteX4870" fmla="*/ 7582167 w 8079933"/>
              <a:gd name="connsiteY4870" fmla="*/ 3163558 h 4687251"/>
              <a:gd name="connsiteX4871" fmla="*/ 7586725 w 8079933"/>
              <a:gd name="connsiteY4871" fmla="*/ 3163775 h 4687251"/>
              <a:gd name="connsiteX4872" fmla="*/ 7589220 w 8079933"/>
              <a:gd name="connsiteY4872" fmla="*/ 3161176 h 4687251"/>
              <a:gd name="connsiteX4873" fmla="*/ 7587484 w 8079933"/>
              <a:gd name="connsiteY4873" fmla="*/ 3159335 h 4687251"/>
              <a:gd name="connsiteX4874" fmla="*/ 7585096 w 8079933"/>
              <a:gd name="connsiteY4874" fmla="*/ 3149050 h 4687251"/>
              <a:gd name="connsiteX4875" fmla="*/ 7587484 w 8079933"/>
              <a:gd name="connsiteY4875" fmla="*/ 3145369 h 4687251"/>
              <a:gd name="connsiteX4876" fmla="*/ 7593127 w 8079933"/>
              <a:gd name="connsiteY4876" fmla="*/ 3145585 h 4687251"/>
              <a:gd name="connsiteX4877" fmla="*/ 7596274 w 8079933"/>
              <a:gd name="connsiteY4877" fmla="*/ 3147967 h 4687251"/>
              <a:gd name="connsiteX4878" fmla="*/ 7598010 w 8079933"/>
              <a:gd name="connsiteY4878" fmla="*/ 3145910 h 4687251"/>
              <a:gd name="connsiteX4879" fmla="*/ 2046081 w 8079933"/>
              <a:gd name="connsiteY4879" fmla="*/ 3143636 h 4687251"/>
              <a:gd name="connsiteX4880" fmla="*/ 2046081 w 8079933"/>
              <a:gd name="connsiteY4880" fmla="*/ 3143637 h 4687251"/>
              <a:gd name="connsiteX4881" fmla="*/ 2048251 w 8079933"/>
              <a:gd name="connsiteY4881" fmla="*/ 3147209 h 4687251"/>
              <a:gd name="connsiteX4882" fmla="*/ 2055522 w 8079933"/>
              <a:gd name="connsiteY4882" fmla="*/ 3148725 h 4687251"/>
              <a:gd name="connsiteX4883" fmla="*/ 2059754 w 8079933"/>
              <a:gd name="connsiteY4883" fmla="*/ 3150457 h 4687251"/>
              <a:gd name="connsiteX4884" fmla="*/ 2066699 w 8079933"/>
              <a:gd name="connsiteY4884" fmla="*/ 3160202 h 4687251"/>
              <a:gd name="connsiteX4885" fmla="*/ 2069846 w 8079933"/>
              <a:gd name="connsiteY4885" fmla="*/ 3160202 h 4687251"/>
              <a:gd name="connsiteX4886" fmla="*/ 2069846 w 8079933"/>
              <a:gd name="connsiteY4886" fmla="*/ 3160201 h 4687251"/>
              <a:gd name="connsiteX4887" fmla="*/ 2066699 w 8079933"/>
              <a:gd name="connsiteY4887" fmla="*/ 3160201 h 4687251"/>
              <a:gd name="connsiteX4888" fmla="*/ 2059754 w 8079933"/>
              <a:gd name="connsiteY4888" fmla="*/ 3150457 h 4687251"/>
              <a:gd name="connsiteX4889" fmla="*/ 2055522 w 8079933"/>
              <a:gd name="connsiteY4889" fmla="*/ 3148725 h 4687251"/>
              <a:gd name="connsiteX4890" fmla="*/ 2048252 w 8079933"/>
              <a:gd name="connsiteY4890" fmla="*/ 3147209 h 4687251"/>
              <a:gd name="connsiteX4891" fmla="*/ 2276462 w 8079933"/>
              <a:gd name="connsiteY4891" fmla="*/ 3143550 h 4687251"/>
              <a:gd name="connsiteX4892" fmla="*/ 2276462 w 8079933"/>
              <a:gd name="connsiteY4892" fmla="*/ 3144502 h 4687251"/>
              <a:gd name="connsiteX4893" fmla="*/ 2278001 w 8079933"/>
              <a:gd name="connsiteY4893" fmla="*/ 3144918 h 4687251"/>
              <a:gd name="connsiteX4894" fmla="*/ 2278089 w 8079933"/>
              <a:gd name="connsiteY4894" fmla="*/ 3144610 h 4687251"/>
              <a:gd name="connsiteX4895" fmla="*/ 4242999 w 8079933"/>
              <a:gd name="connsiteY4895" fmla="*/ 3142120 h 4687251"/>
              <a:gd name="connsiteX4896" fmla="*/ 4238985 w 8079933"/>
              <a:gd name="connsiteY4896" fmla="*/ 3145476 h 4687251"/>
              <a:gd name="connsiteX4897" fmla="*/ 4235512 w 8079933"/>
              <a:gd name="connsiteY4897" fmla="*/ 3146126 h 4687251"/>
              <a:gd name="connsiteX4898" fmla="*/ 4235512 w 8079933"/>
              <a:gd name="connsiteY4898" fmla="*/ 3146127 h 4687251"/>
              <a:gd name="connsiteX4899" fmla="*/ 4238984 w 8079933"/>
              <a:gd name="connsiteY4899" fmla="*/ 3145477 h 4687251"/>
              <a:gd name="connsiteX4900" fmla="*/ 4243000 w 8079933"/>
              <a:gd name="connsiteY4900" fmla="*/ 3142121 h 4687251"/>
              <a:gd name="connsiteX4901" fmla="*/ 4245062 w 8079933"/>
              <a:gd name="connsiteY4901" fmla="*/ 3142121 h 4687251"/>
              <a:gd name="connsiteX4902" fmla="*/ 4247557 w 8079933"/>
              <a:gd name="connsiteY4902" fmla="*/ 3144286 h 4687251"/>
              <a:gd name="connsiteX4903" fmla="*/ 4249837 w 8079933"/>
              <a:gd name="connsiteY4903" fmla="*/ 3147426 h 4687251"/>
              <a:gd name="connsiteX4904" fmla="*/ 4249945 w 8079933"/>
              <a:gd name="connsiteY4904" fmla="*/ 3151323 h 4687251"/>
              <a:gd name="connsiteX4905" fmla="*/ 4249837 w 8079933"/>
              <a:gd name="connsiteY4905" fmla="*/ 3147425 h 4687251"/>
              <a:gd name="connsiteX4906" fmla="*/ 4247558 w 8079933"/>
              <a:gd name="connsiteY4906" fmla="*/ 3144285 h 4687251"/>
              <a:gd name="connsiteX4907" fmla="*/ 4245062 w 8079933"/>
              <a:gd name="connsiteY4907" fmla="*/ 3142120 h 4687251"/>
              <a:gd name="connsiteX4908" fmla="*/ 4284314 w 8079933"/>
              <a:gd name="connsiteY4908" fmla="*/ 3141366 h 4687251"/>
              <a:gd name="connsiteX4909" fmla="*/ 4284236 w 8079933"/>
              <a:gd name="connsiteY4909" fmla="*/ 3141795 h 4687251"/>
              <a:gd name="connsiteX4910" fmla="*/ 4283145 w 8079933"/>
              <a:gd name="connsiteY4910" fmla="*/ 3143885 h 4687251"/>
              <a:gd name="connsiteX4911" fmla="*/ 4284236 w 8079933"/>
              <a:gd name="connsiteY4911" fmla="*/ 3141795 h 4687251"/>
              <a:gd name="connsiteX4912" fmla="*/ 4310280 w 8079933"/>
              <a:gd name="connsiteY4912" fmla="*/ 3134757 h 4687251"/>
              <a:gd name="connsiteX4913" fmla="*/ 4308652 w 8079933"/>
              <a:gd name="connsiteY4913" fmla="*/ 3138438 h 4687251"/>
              <a:gd name="connsiteX4914" fmla="*/ 4299491 w 8079933"/>
              <a:gd name="connsiteY4914" fmla="*/ 3147275 h 4687251"/>
              <a:gd name="connsiteX4915" fmla="*/ 4308653 w 8079933"/>
              <a:gd name="connsiteY4915" fmla="*/ 3138439 h 4687251"/>
              <a:gd name="connsiteX4916" fmla="*/ 2279500 w 8079933"/>
              <a:gd name="connsiteY4916" fmla="*/ 3132592 h 4687251"/>
              <a:gd name="connsiteX4917" fmla="*/ 2273423 w 8079933"/>
              <a:gd name="connsiteY4917" fmla="*/ 3133134 h 4687251"/>
              <a:gd name="connsiteX4918" fmla="*/ 2268106 w 8079933"/>
              <a:gd name="connsiteY4918" fmla="*/ 3133675 h 4687251"/>
              <a:gd name="connsiteX4919" fmla="*/ 2268106 w 8079933"/>
              <a:gd name="connsiteY4919" fmla="*/ 3133675 h 4687251"/>
              <a:gd name="connsiteX4920" fmla="*/ 2273423 w 8079933"/>
              <a:gd name="connsiteY4920" fmla="*/ 3133134 h 4687251"/>
              <a:gd name="connsiteX4921" fmla="*/ 2279500 w 8079933"/>
              <a:gd name="connsiteY4921" fmla="*/ 3132592 h 4687251"/>
              <a:gd name="connsiteX4922" fmla="*/ 2283081 w 8079933"/>
              <a:gd name="connsiteY4922" fmla="*/ 3136490 h 4687251"/>
              <a:gd name="connsiteX4923" fmla="*/ 2283223 w 8079933"/>
              <a:gd name="connsiteY4923" fmla="*/ 3137107 h 4687251"/>
              <a:gd name="connsiteX4924" fmla="*/ 2283595 w 8079933"/>
              <a:gd name="connsiteY4924" fmla="*/ 3138729 h 4687251"/>
              <a:gd name="connsiteX4925" fmla="*/ 2283596 w 8079933"/>
              <a:gd name="connsiteY4925" fmla="*/ 3138728 h 4687251"/>
              <a:gd name="connsiteX4926" fmla="*/ 2283082 w 8079933"/>
              <a:gd name="connsiteY4926" fmla="*/ 3136489 h 4687251"/>
              <a:gd name="connsiteX4927" fmla="*/ 7026127 w 8079933"/>
              <a:gd name="connsiteY4927" fmla="*/ 3131944 h 4687251"/>
              <a:gd name="connsiteX4928" fmla="*/ 7028514 w 8079933"/>
              <a:gd name="connsiteY4928" fmla="*/ 3131944 h 4687251"/>
              <a:gd name="connsiteX4929" fmla="*/ 7028949 w 8079933"/>
              <a:gd name="connsiteY4929" fmla="*/ 3134217 h 4687251"/>
              <a:gd name="connsiteX4930" fmla="*/ 7026561 w 8079933"/>
              <a:gd name="connsiteY4930" fmla="*/ 3134217 h 4687251"/>
              <a:gd name="connsiteX4931" fmla="*/ 7033290 w 8079933"/>
              <a:gd name="connsiteY4931" fmla="*/ 3131185 h 4687251"/>
              <a:gd name="connsiteX4932" fmla="*/ 7033399 w 8079933"/>
              <a:gd name="connsiteY4932" fmla="*/ 3133026 h 4687251"/>
              <a:gd name="connsiteX4933" fmla="*/ 7031662 w 8079933"/>
              <a:gd name="connsiteY4933" fmla="*/ 3133567 h 4687251"/>
              <a:gd name="connsiteX4934" fmla="*/ 7030577 w 8079933"/>
              <a:gd name="connsiteY4934" fmla="*/ 3131618 h 4687251"/>
              <a:gd name="connsiteX4935" fmla="*/ 7021787 w 8079933"/>
              <a:gd name="connsiteY4935" fmla="*/ 3130968 h 4687251"/>
              <a:gd name="connsiteX4936" fmla="*/ 7024283 w 8079933"/>
              <a:gd name="connsiteY4936" fmla="*/ 3132159 h 4687251"/>
              <a:gd name="connsiteX4937" fmla="*/ 7021353 w 8079933"/>
              <a:gd name="connsiteY4937" fmla="*/ 3137247 h 4687251"/>
              <a:gd name="connsiteX4938" fmla="*/ 7020593 w 8079933"/>
              <a:gd name="connsiteY4938" fmla="*/ 3134973 h 4687251"/>
              <a:gd name="connsiteX4939" fmla="*/ 7017012 w 8079933"/>
              <a:gd name="connsiteY4939" fmla="*/ 3137139 h 4687251"/>
              <a:gd name="connsiteX4940" fmla="*/ 7013865 w 8079933"/>
              <a:gd name="connsiteY4940" fmla="*/ 3134432 h 4687251"/>
              <a:gd name="connsiteX4941" fmla="*/ 7019399 w 8079933"/>
              <a:gd name="connsiteY4941" fmla="*/ 3132700 h 4687251"/>
              <a:gd name="connsiteX4942" fmla="*/ 6735194 w 8079933"/>
              <a:gd name="connsiteY4942" fmla="*/ 3128586 h 4687251"/>
              <a:gd name="connsiteX4943" fmla="*/ 6736388 w 8079933"/>
              <a:gd name="connsiteY4943" fmla="*/ 3129669 h 4687251"/>
              <a:gd name="connsiteX4944" fmla="*/ 6735845 w 8079933"/>
              <a:gd name="connsiteY4944" fmla="*/ 3136057 h 4687251"/>
              <a:gd name="connsiteX4945" fmla="*/ 6734542 w 8079933"/>
              <a:gd name="connsiteY4945" fmla="*/ 3136490 h 4687251"/>
              <a:gd name="connsiteX4946" fmla="*/ 6734326 w 8079933"/>
              <a:gd name="connsiteY4946" fmla="*/ 3130426 h 4687251"/>
              <a:gd name="connsiteX4947" fmla="*/ 4673342 w 8079933"/>
              <a:gd name="connsiteY4947" fmla="*/ 3127733 h 4687251"/>
              <a:gd name="connsiteX4948" fmla="*/ 4670773 w 8079933"/>
              <a:gd name="connsiteY4948" fmla="*/ 3129886 h 4687251"/>
              <a:gd name="connsiteX4949" fmla="*/ 4664588 w 8079933"/>
              <a:gd name="connsiteY4949" fmla="*/ 3136707 h 4687251"/>
              <a:gd name="connsiteX4950" fmla="*/ 4660355 w 8079933"/>
              <a:gd name="connsiteY4950" fmla="*/ 3142662 h 4687251"/>
              <a:gd name="connsiteX4951" fmla="*/ 4652434 w 8079933"/>
              <a:gd name="connsiteY4951" fmla="*/ 3144827 h 4687251"/>
              <a:gd name="connsiteX4952" fmla="*/ 4652434 w 8079933"/>
              <a:gd name="connsiteY4952" fmla="*/ 3144827 h 4687251"/>
              <a:gd name="connsiteX4953" fmla="*/ 4660356 w 8079933"/>
              <a:gd name="connsiteY4953" fmla="*/ 3142662 h 4687251"/>
              <a:gd name="connsiteX4954" fmla="*/ 4664588 w 8079933"/>
              <a:gd name="connsiteY4954" fmla="*/ 3136707 h 4687251"/>
              <a:gd name="connsiteX4955" fmla="*/ 4670774 w 8079933"/>
              <a:gd name="connsiteY4955" fmla="*/ 3129886 h 4687251"/>
              <a:gd name="connsiteX4956" fmla="*/ 6731939 w 8079933"/>
              <a:gd name="connsiteY4956" fmla="*/ 3126963 h 4687251"/>
              <a:gd name="connsiteX4957" fmla="*/ 6733133 w 8079933"/>
              <a:gd name="connsiteY4957" fmla="*/ 3128803 h 4687251"/>
              <a:gd name="connsiteX4958" fmla="*/ 6733458 w 8079933"/>
              <a:gd name="connsiteY4958" fmla="*/ 3137141 h 4687251"/>
              <a:gd name="connsiteX4959" fmla="*/ 6732156 w 8079933"/>
              <a:gd name="connsiteY4959" fmla="*/ 3141904 h 4687251"/>
              <a:gd name="connsiteX4960" fmla="*/ 6728466 w 8079933"/>
              <a:gd name="connsiteY4960" fmla="*/ 3144503 h 4687251"/>
              <a:gd name="connsiteX4961" fmla="*/ 6726621 w 8079933"/>
              <a:gd name="connsiteY4961" fmla="*/ 3142121 h 4687251"/>
              <a:gd name="connsiteX4962" fmla="*/ 6727272 w 8079933"/>
              <a:gd name="connsiteY4962" fmla="*/ 3135192 h 4687251"/>
              <a:gd name="connsiteX4963" fmla="*/ 6729768 w 8079933"/>
              <a:gd name="connsiteY4963" fmla="*/ 3128371 h 4687251"/>
              <a:gd name="connsiteX4964" fmla="*/ 7012021 w 8079933"/>
              <a:gd name="connsiteY4964" fmla="*/ 3119817 h 4687251"/>
              <a:gd name="connsiteX4965" fmla="*/ 7012021 w 8079933"/>
              <a:gd name="connsiteY4965" fmla="*/ 3122849 h 4687251"/>
              <a:gd name="connsiteX4966" fmla="*/ 7009308 w 8079933"/>
              <a:gd name="connsiteY4966" fmla="*/ 3122307 h 4687251"/>
              <a:gd name="connsiteX4967" fmla="*/ 6979464 w 8079933"/>
              <a:gd name="connsiteY4967" fmla="*/ 3119493 h 4687251"/>
              <a:gd name="connsiteX4968" fmla="*/ 6988580 w 8079933"/>
              <a:gd name="connsiteY4968" fmla="*/ 3119926 h 4687251"/>
              <a:gd name="connsiteX4969" fmla="*/ 6995308 w 8079933"/>
              <a:gd name="connsiteY4969" fmla="*/ 3122741 h 4687251"/>
              <a:gd name="connsiteX4970" fmla="*/ 6995633 w 8079933"/>
              <a:gd name="connsiteY4970" fmla="*/ 3125448 h 4687251"/>
              <a:gd name="connsiteX4971" fmla="*/ 6999757 w 8079933"/>
              <a:gd name="connsiteY4971" fmla="*/ 3130212 h 4687251"/>
              <a:gd name="connsiteX4972" fmla="*/ 6999431 w 8079933"/>
              <a:gd name="connsiteY4972" fmla="*/ 3133893 h 4687251"/>
              <a:gd name="connsiteX4973" fmla="*/ 6995525 w 8079933"/>
              <a:gd name="connsiteY4973" fmla="*/ 3133677 h 4687251"/>
              <a:gd name="connsiteX4974" fmla="*/ 6990642 w 8079933"/>
              <a:gd name="connsiteY4974" fmla="*/ 3138007 h 4687251"/>
              <a:gd name="connsiteX4975" fmla="*/ 6985107 w 8079933"/>
              <a:gd name="connsiteY4975" fmla="*/ 3137466 h 4687251"/>
              <a:gd name="connsiteX4976" fmla="*/ 6979464 w 8079933"/>
              <a:gd name="connsiteY4976" fmla="*/ 3138007 h 4687251"/>
              <a:gd name="connsiteX4977" fmla="*/ 6977402 w 8079933"/>
              <a:gd name="connsiteY4977" fmla="*/ 3136059 h 4687251"/>
              <a:gd name="connsiteX4978" fmla="*/ 6970350 w 8079933"/>
              <a:gd name="connsiteY4978" fmla="*/ 3134760 h 4687251"/>
              <a:gd name="connsiteX4979" fmla="*/ 6966551 w 8079933"/>
              <a:gd name="connsiteY4979" fmla="*/ 3129562 h 4687251"/>
              <a:gd name="connsiteX4980" fmla="*/ 6967202 w 8079933"/>
              <a:gd name="connsiteY4980" fmla="*/ 3123499 h 4687251"/>
              <a:gd name="connsiteX4981" fmla="*/ 6971217 w 8079933"/>
              <a:gd name="connsiteY4981" fmla="*/ 3120792 h 4687251"/>
              <a:gd name="connsiteX4982" fmla="*/ 6975666 w 8079933"/>
              <a:gd name="connsiteY4982" fmla="*/ 3122741 h 4687251"/>
              <a:gd name="connsiteX4983" fmla="*/ 4217715 w 8079933"/>
              <a:gd name="connsiteY4983" fmla="*/ 3119058 h 4687251"/>
              <a:gd name="connsiteX4984" fmla="*/ 4219804 w 8079933"/>
              <a:gd name="connsiteY4984" fmla="*/ 3120705 h 4687251"/>
              <a:gd name="connsiteX4985" fmla="*/ 4217716 w 8079933"/>
              <a:gd name="connsiteY4985" fmla="*/ 3119058 h 4687251"/>
              <a:gd name="connsiteX4986" fmla="*/ 6512085 w 8079933"/>
              <a:gd name="connsiteY4986" fmla="*/ 3116135 h 4687251"/>
              <a:gd name="connsiteX4987" fmla="*/ 6514256 w 8079933"/>
              <a:gd name="connsiteY4987" fmla="*/ 3117651 h 4687251"/>
              <a:gd name="connsiteX4988" fmla="*/ 6511434 w 8079933"/>
              <a:gd name="connsiteY4988" fmla="*/ 3120140 h 4687251"/>
              <a:gd name="connsiteX4989" fmla="*/ 2094881 w 8079933"/>
              <a:gd name="connsiteY4989" fmla="*/ 3115317 h 4687251"/>
              <a:gd name="connsiteX4990" fmla="*/ 2092960 w 8079933"/>
              <a:gd name="connsiteY4990" fmla="*/ 3117109 h 4687251"/>
              <a:gd name="connsiteX4991" fmla="*/ 2092388 w 8079933"/>
              <a:gd name="connsiteY4991" fmla="*/ 3118292 h 4687251"/>
              <a:gd name="connsiteX4992" fmla="*/ 2092960 w 8079933"/>
              <a:gd name="connsiteY4992" fmla="*/ 3117110 h 4687251"/>
              <a:gd name="connsiteX4993" fmla="*/ 7017121 w 8079933"/>
              <a:gd name="connsiteY4993" fmla="*/ 3114945 h 4687251"/>
              <a:gd name="connsiteX4994" fmla="*/ 7016361 w 8079933"/>
              <a:gd name="connsiteY4994" fmla="*/ 3117110 h 4687251"/>
              <a:gd name="connsiteX4995" fmla="*/ 7013974 w 8079933"/>
              <a:gd name="connsiteY4995" fmla="*/ 3117327 h 4687251"/>
              <a:gd name="connsiteX4996" fmla="*/ 7012998 w 8079933"/>
              <a:gd name="connsiteY4996" fmla="*/ 3115161 h 4687251"/>
              <a:gd name="connsiteX4997" fmla="*/ 6352999 w 8079933"/>
              <a:gd name="connsiteY4997" fmla="*/ 3113646 h 4687251"/>
              <a:gd name="connsiteX4998" fmla="*/ 6357990 w 8079933"/>
              <a:gd name="connsiteY4998" fmla="*/ 3117435 h 4687251"/>
              <a:gd name="connsiteX4999" fmla="*/ 6357665 w 8079933"/>
              <a:gd name="connsiteY4999" fmla="*/ 3121441 h 4687251"/>
              <a:gd name="connsiteX5000" fmla="*/ 6358749 w 8079933"/>
              <a:gd name="connsiteY5000" fmla="*/ 3126097 h 4687251"/>
              <a:gd name="connsiteX5001" fmla="*/ 6349960 w 8079933"/>
              <a:gd name="connsiteY5001" fmla="*/ 3117977 h 4687251"/>
              <a:gd name="connsiteX5002" fmla="*/ 7051954 w 8079933"/>
              <a:gd name="connsiteY5002" fmla="*/ 3112021 h 4687251"/>
              <a:gd name="connsiteX5003" fmla="*/ 7057164 w 8079933"/>
              <a:gd name="connsiteY5003" fmla="*/ 3112563 h 4687251"/>
              <a:gd name="connsiteX5004" fmla="*/ 7061939 w 8079933"/>
              <a:gd name="connsiteY5004" fmla="*/ 3116568 h 4687251"/>
              <a:gd name="connsiteX5005" fmla="*/ 7071814 w 8079933"/>
              <a:gd name="connsiteY5005" fmla="*/ 3118409 h 4687251"/>
              <a:gd name="connsiteX5006" fmla="*/ 7083642 w 8079933"/>
              <a:gd name="connsiteY5006" fmla="*/ 3125122 h 4687251"/>
              <a:gd name="connsiteX5007" fmla="*/ 7085921 w 8079933"/>
              <a:gd name="connsiteY5007" fmla="*/ 3134108 h 4687251"/>
              <a:gd name="connsiteX5008" fmla="*/ 7084076 w 8079933"/>
              <a:gd name="connsiteY5008" fmla="*/ 3138330 h 4687251"/>
              <a:gd name="connsiteX5009" fmla="*/ 7079084 w 8079933"/>
              <a:gd name="connsiteY5009" fmla="*/ 3138330 h 4687251"/>
              <a:gd name="connsiteX5010" fmla="*/ 7073875 w 8079933"/>
              <a:gd name="connsiteY5010" fmla="*/ 3132808 h 4687251"/>
              <a:gd name="connsiteX5011" fmla="*/ 7069534 w 8079933"/>
              <a:gd name="connsiteY5011" fmla="*/ 3131943 h 4687251"/>
              <a:gd name="connsiteX5012" fmla="*/ 7060093 w 8079933"/>
              <a:gd name="connsiteY5012" fmla="*/ 3126312 h 4687251"/>
              <a:gd name="connsiteX5013" fmla="*/ 7055211 w 8079933"/>
              <a:gd name="connsiteY5013" fmla="*/ 3126312 h 4687251"/>
              <a:gd name="connsiteX5014" fmla="*/ 7053040 w 8079933"/>
              <a:gd name="connsiteY5014" fmla="*/ 3129453 h 4687251"/>
              <a:gd name="connsiteX5015" fmla="*/ 7042731 w 8079933"/>
              <a:gd name="connsiteY5015" fmla="*/ 3128153 h 4687251"/>
              <a:gd name="connsiteX5016" fmla="*/ 7040127 w 8079933"/>
              <a:gd name="connsiteY5016" fmla="*/ 3123714 h 4687251"/>
              <a:gd name="connsiteX5017" fmla="*/ 7037196 w 8079933"/>
              <a:gd name="connsiteY5017" fmla="*/ 3123714 h 4687251"/>
              <a:gd name="connsiteX5018" fmla="*/ 7032748 w 8079933"/>
              <a:gd name="connsiteY5018" fmla="*/ 3128153 h 4687251"/>
              <a:gd name="connsiteX5019" fmla="*/ 7028406 w 8079933"/>
              <a:gd name="connsiteY5019" fmla="*/ 3128586 h 4687251"/>
              <a:gd name="connsiteX5020" fmla="*/ 7026345 w 8079933"/>
              <a:gd name="connsiteY5020" fmla="*/ 3125447 h 4687251"/>
              <a:gd name="connsiteX5021" fmla="*/ 7022656 w 8079933"/>
              <a:gd name="connsiteY5021" fmla="*/ 3121549 h 4687251"/>
              <a:gd name="connsiteX5022" fmla="*/ 7018423 w 8079933"/>
              <a:gd name="connsiteY5022" fmla="*/ 3128370 h 4687251"/>
              <a:gd name="connsiteX5023" fmla="*/ 7015601 w 8079933"/>
              <a:gd name="connsiteY5023" fmla="*/ 3128370 h 4687251"/>
              <a:gd name="connsiteX5024" fmla="*/ 7014408 w 8079933"/>
              <a:gd name="connsiteY5024" fmla="*/ 3125230 h 4687251"/>
              <a:gd name="connsiteX5025" fmla="*/ 7016035 w 8079933"/>
              <a:gd name="connsiteY5025" fmla="*/ 3121115 h 4687251"/>
              <a:gd name="connsiteX5026" fmla="*/ 7019943 w 8079933"/>
              <a:gd name="connsiteY5026" fmla="*/ 3119816 h 4687251"/>
              <a:gd name="connsiteX5027" fmla="*/ 7020267 w 8079933"/>
              <a:gd name="connsiteY5027" fmla="*/ 3117002 h 4687251"/>
              <a:gd name="connsiteX5028" fmla="*/ 7022330 w 8079933"/>
              <a:gd name="connsiteY5028" fmla="*/ 3114294 h 4687251"/>
              <a:gd name="connsiteX5029" fmla="*/ 7032205 w 8079933"/>
              <a:gd name="connsiteY5029" fmla="*/ 3114403 h 4687251"/>
              <a:gd name="connsiteX5030" fmla="*/ 7039259 w 8079933"/>
              <a:gd name="connsiteY5030" fmla="*/ 3113970 h 4687251"/>
              <a:gd name="connsiteX5031" fmla="*/ 7042731 w 8079933"/>
              <a:gd name="connsiteY5031" fmla="*/ 3115377 h 4687251"/>
              <a:gd name="connsiteX5032" fmla="*/ 7047723 w 8079933"/>
              <a:gd name="connsiteY5032" fmla="*/ 3115810 h 4687251"/>
              <a:gd name="connsiteX5033" fmla="*/ 6345945 w 8079933"/>
              <a:gd name="connsiteY5033" fmla="*/ 3108990 h 4687251"/>
              <a:gd name="connsiteX5034" fmla="*/ 6350285 w 8079933"/>
              <a:gd name="connsiteY5034" fmla="*/ 3110938 h 4687251"/>
              <a:gd name="connsiteX5035" fmla="*/ 6346705 w 8079933"/>
              <a:gd name="connsiteY5035" fmla="*/ 3114186 h 4687251"/>
              <a:gd name="connsiteX5036" fmla="*/ 2042500 w 8079933"/>
              <a:gd name="connsiteY5036" fmla="*/ 3107474 h 4687251"/>
              <a:gd name="connsiteX5037" fmla="*/ 2042825 w 8079933"/>
              <a:gd name="connsiteY5037" fmla="*/ 3108664 h 4687251"/>
              <a:gd name="connsiteX5038" fmla="*/ 2041523 w 8079933"/>
              <a:gd name="connsiteY5038" fmla="*/ 3111913 h 4687251"/>
              <a:gd name="connsiteX5039" fmla="*/ 2041849 w 8079933"/>
              <a:gd name="connsiteY5039" fmla="*/ 3114837 h 4687251"/>
              <a:gd name="connsiteX5040" fmla="*/ 2040113 w 8079933"/>
              <a:gd name="connsiteY5040" fmla="*/ 3118301 h 4687251"/>
              <a:gd name="connsiteX5041" fmla="*/ 2037291 w 8079933"/>
              <a:gd name="connsiteY5041" fmla="*/ 3119167 h 4687251"/>
              <a:gd name="connsiteX5042" fmla="*/ 2035880 w 8079933"/>
              <a:gd name="connsiteY5042" fmla="*/ 3117327 h 4687251"/>
              <a:gd name="connsiteX5043" fmla="*/ 2035555 w 8079933"/>
              <a:gd name="connsiteY5043" fmla="*/ 3115594 h 4687251"/>
              <a:gd name="connsiteX5044" fmla="*/ 2038159 w 8079933"/>
              <a:gd name="connsiteY5044" fmla="*/ 3111372 h 4687251"/>
              <a:gd name="connsiteX5045" fmla="*/ 6529990 w 8079933"/>
              <a:gd name="connsiteY5045" fmla="*/ 3106391 h 4687251"/>
              <a:gd name="connsiteX5046" fmla="*/ 6538019 w 8079933"/>
              <a:gd name="connsiteY5046" fmla="*/ 3107907 h 4687251"/>
              <a:gd name="connsiteX5047" fmla="*/ 6545941 w 8079933"/>
              <a:gd name="connsiteY5047" fmla="*/ 3112995 h 4687251"/>
              <a:gd name="connsiteX5048" fmla="*/ 6548111 w 8079933"/>
              <a:gd name="connsiteY5048" fmla="*/ 3117759 h 4687251"/>
              <a:gd name="connsiteX5049" fmla="*/ 6544531 w 8079933"/>
              <a:gd name="connsiteY5049" fmla="*/ 3119491 h 4687251"/>
              <a:gd name="connsiteX5050" fmla="*/ 6543011 w 8079933"/>
              <a:gd name="connsiteY5050" fmla="*/ 3122848 h 4687251"/>
              <a:gd name="connsiteX5051" fmla="*/ 6539431 w 8079933"/>
              <a:gd name="connsiteY5051" fmla="*/ 3122090 h 4687251"/>
              <a:gd name="connsiteX5052" fmla="*/ 6536935 w 8079933"/>
              <a:gd name="connsiteY5052" fmla="*/ 3118409 h 4687251"/>
              <a:gd name="connsiteX5053" fmla="*/ 6532811 w 8079933"/>
              <a:gd name="connsiteY5053" fmla="*/ 3124689 h 4687251"/>
              <a:gd name="connsiteX5054" fmla="*/ 6529230 w 8079933"/>
              <a:gd name="connsiteY5054" fmla="*/ 3120899 h 4687251"/>
              <a:gd name="connsiteX5055" fmla="*/ 6529338 w 8079933"/>
              <a:gd name="connsiteY5055" fmla="*/ 3114186 h 4687251"/>
              <a:gd name="connsiteX5056" fmla="*/ 6526192 w 8079933"/>
              <a:gd name="connsiteY5056" fmla="*/ 3115811 h 4687251"/>
              <a:gd name="connsiteX5057" fmla="*/ 6526300 w 8079933"/>
              <a:gd name="connsiteY5057" fmla="*/ 3117327 h 4687251"/>
              <a:gd name="connsiteX5058" fmla="*/ 6522502 w 8079933"/>
              <a:gd name="connsiteY5058" fmla="*/ 3117110 h 4687251"/>
              <a:gd name="connsiteX5059" fmla="*/ 6524130 w 8079933"/>
              <a:gd name="connsiteY5059" fmla="*/ 3114728 h 4687251"/>
              <a:gd name="connsiteX5060" fmla="*/ 6529013 w 8079933"/>
              <a:gd name="connsiteY5060" fmla="*/ 3113537 h 4687251"/>
              <a:gd name="connsiteX5061" fmla="*/ 6529230 w 8079933"/>
              <a:gd name="connsiteY5061" fmla="*/ 3111263 h 4687251"/>
              <a:gd name="connsiteX5062" fmla="*/ 6527494 w 8079933"/>
              <a:gd name="connsiteY5062" fmla="*/ 3107148 h 4687251"/>
              <a:gd name="connsiteX5063" fmla="*/ 4635613 w 8079933"/>
              <a:gd name="connsiteY5063" fmla="*/ 3105091 h 4687251"/>
              <a:gd name="connsiteX5064" fmla="*/ 4636047 w 8079933"/>
              <a:gd name="connsiteY5064" fmla="*/ 3110396 h 4687251"/>
              <a:gd name="connsiteX5065" fmla="*/ 4636047 w 8079933"/>
              <a:gd name="connsiteY5065" fmla="*/ 3116568 h 4687251"/>
              <a:gd name="connsiteX5066" fmla="*/ 4640388 w 8079933"/>
              <a:gd name="connsiteY5066" fmla="*/ 3144610 h 4687251"/>
              <a:gd name="connsiteX5067" fmla="*/ 4643535 w 8079933"/>
              <a:gd name="connsiteY5067" fmla="*/ 3164748 h 4687251"/>
              <a:gd name="connsiteX5068" fmla="*/ 4648393 w 8079933"/>
              <a:gd name="connsiteY5068" fmla="*/ 3188983 h 4687251"/>
              <a:gd name="connsiteX5069" fmla="*/ 4649178 w 8079933"/>
              <a:gd name="connsiteY5069" fmla="*/ 3192899 h 4687251"/>
              <a:gd name="connsiteX5070" fmla="*/ 4649178 w 8079933"/>
              <a:gd name="connsiteY5070" fmla="*/ 3192898 h 4687251"/>
              <a:gd name="connsiteX5071" fmla="*/ 4648393 w 8079933"/>
              <a:gd name="connsiteY5071" fmla="*/ 3188983 h 4687251"/>
              <a:gd name="connsiteX5072" fmla="*/ 4643536 w 8079933"/>
              <a:gd name="connsiteY5072" fmla="*/ 3164749 h 4687251"/>
              <a:gd name="connsiteX5073" fmla="*/ 4640389 w 8079933"/>
              <a:gd name="connsiteY5073" fmla="*/ 3144611 h 4687251"/>
              <a:gd name="connsiteX5074" fmla="*/ 4640388 w 8079933"/>
              <a:gd name="connsiteY5074" fmla="*/ 3144611 h 4687251"/>
              <a:gd name="connsiteX5075" fmla="*/ 4636048 w 8079933"/>
              <a:gd name="connsiteY5075" fmla="*/ 3116568 h 4687251"/>
              <a:gd name="connsiteX5076" fmla="*/ 4636048 w 8079933"/>
              <a:gd name="connsiteY5076" fmla="*/ 3110397 h 4687251"/>
              <a:gd name="connsiteX5077" fmla="*/ 4635613 w 8079933"/>
              <a:gd name="connsiteY5077" fmla="*/ 3105092 h 4687251"/>
              <a:gd name="connsiteX5078" fmla="*/ 4673555 w 8079933"/>
              <a:gd name="connsiteY5078" fmla="*/ 3105074 h 4687251"/>
              <a:gd name="connsiteX5079" fmla="*/ 4675765 w 8079933"/>
              <a:gd name="connsiteY5079" fmla="*/ 3106283 h 4687251"/>
              <a:gd name="connsiteX5080" fmla="*/ 4676741 w 8079933"/>
              <a:gd name="connsiteY5080" fmla="*/ 3109315 h 4687251"/>
              <a:gd name="connsiteX5081" fmla="*/ 4679780 w 8079933"/>
              <a:gd name="connsiteY5081" fmla="*/ 3109748 h 4687251"/>
              <a:gd name="connsiteX5082" fmla="*/ 4681082 w 8079933"/>
              <a:gd name="connsiteY5082" fmla="*/ 3116785 h 4687251"/>
              <a:gd name="connsiteX5083" fmla="*/ 4680648 w 8079933"/>
              <a:gd name="connsiteY5083" fmla="*/ 3120250 h 4687251"/>
              <a:gd name="connsiteX5084" fmla="*/ 4676741 w 8079933"/>
              <a:gd name="connsiteY5084" fmla="*/ 3124148 h 4687251"/>
              <a:gd name="connsiteX5085" fmla="*/ 4673584 w 8079933"/>
              <a:gd name="connsiteY5085" fmla="*/ 3127509 h 4687251"/>
              <a:gd name="connsiteX5086" fmla="*/ 4673486 w 8079933"/>
              <a:gd name="connsiteY5086" fmla="*/ 3127613 h 4687251"/>
              <a:gd name="connsiteX5087" fmla="*/ 4673487 w 8079933"/>
              <a:gd name="connsiteY5087" fmla="*/ 3127612 h 4687251"/>
              <a:gd name="connsiteX5088" fmla="*/ 4673584 w 8079933"/>
              <a:gd name="connsiteY5088" fmla="*/ 3127509 h 4687251"/>
              <a:gd name="connsiteX5089" fmla="*/ 4676742 w 8079933"/>
              <a:gd name="connsiteY5089" fmla="*/ 3124148 h 4687251"/>
              <a:gd name="connsiteX5090" fmla="*/ 4680649 w 8079933"/>
              <a:gd name="connsiteY5090" fmla="*/ 3120250 h 4687251"/>
              <a:gd name="connsiteX5091" fmla="*/ 4681082 w 8079933"/>
              <a:gd name="connsiteY5091" fmla="*/ 3116786 h 4687251"/>
              <a:gd name="connsiteX5092" fmla="*/ 4679781 w 8079933"/>
              <a:gd name="connsiteY5092" fmla="*/ 3109748 h 4687251"/>
              <a:gd name="connsiteX5093" fmla="*/ 4676742 w 8079933"/>
              <a:gd name="connsiteY5093" fmla="*/ 3109315 h 4687251"/>
              <a:gd name="connsiteX5094" fmla="*/ 4675765 w 8079933"/>
              <a:gd name="connsiteY5094" fmla="*/ 3106283 h 4687251"/>
              <a:gd name="connsiteX5095" fmla="*/ 7567843 w 8079933"/>
              <a:gd name="connsiteY5095" fmla="*/ 3104983 h 4687251"/>
              <a:gd name="connsiteX5096" fmla="*/ 7578477 w 8079933"/>
              <a:gd name="connsiteY5096" fmla="*/ 3111371 h 4687251"/>
              <a:gd name="connsiteX5097" fmla="*/ 7585965 w 8079933"/>
              <a:gd name="connsiteY5097" fmla="*/ 3113428 h 4687251"/>
              <a:gd name="connsiteX5098" fmla="*/ 7594755 w 8079933"/>
              <a:gd name="connsiteY5098" fmla="*/ 3120791 h 4687251"/>
              <a:gd name="connsiteX5099" fmla="*/ 7601374 w 8079933"/>
              <a:gd name="connsiteY5099" fmla="*/ 3122198 h 4687251"/>
              <a:gd name="connsiteX5100" fmla="*/ 7605063 w 8079933"/>
              <a:gd name="connsiteY5100" fmla="*/ 3126313 h 4687251"/>
              <a:gd name="connsiteX5101" fmla="*/ 7610598 w 8079933"/>
              <a:gd name="connsiteY5101" fmla="*/ 3128911 h 4687251"/>
              <a:gd name="connsiteX5102" fmla="*/ 7614722 w 8079933"/>
              <a:gd name="connsiteY5102" fmla="*/ 3135732 h 4687251"/>
              <a:gd name="connsiteX5103" fmla="*/ 7617977 w 8079933"/>
              <a:gd name="connsiteY5103" fmla="*/ 3135948 h 4687251"/>
              <a:gd name="connsiteX5104" fmla="*/ 7619822 w 8079933"/>
              <a:gd name="connsiteY5104" fmla="*/ 3146017 h 4687251"/>
              <a:gd name="connsiteX5105" fmla="*/ 7622426 w 8079933"/>
              <a:gd name="connsiteY5105" fmla="*/ 3146884 h 4687251"/>
              <a:gd name="connsiteX5106" fmla="*/ 7622643 w 8079933"/>
              <a:gd name="connsiteY5106" fmla="*/ 3151107 h 4687251"/>
              <a:gd name="connsiteX5107" fmla="*/ 7620364 w 8079933"/>
              <a:gd name="connsiteY5107" fmla="*/ 3155654 h 4687251"/>
              <a:gd name="connsiteX5108" fmla="*/ 7618629 w 8079933"/>
              <a:gd name="connsiteY5108" fmla="*/ 3161609 h 4687251"/>
              <a:gd name="connsiteX5109" fmla="*/ 7613854 w 8079933"/>
              <a:gd name="connsiteY5109" fmla="*/ 3156195 h 4687251"/>
              <a:gd name="connsiteX5110" fmla="*/ 7612443 w 8079933"/>
              <a:gd name="connsiteY5110" fmla="*/ 3151107 h 4687251"/>
              <a:gd name="connsiteX5111" fmla="*/ 7614179 w 8079933"/>
              <a:gd name="connsiteY5111" fmla="*/ 3147100 h 4687251"/>
              <a:gd name="connsiteX5112" fmla="*/ 7610707 w 8079933"/>
              <a:gd name="connsiteY5112" fmla="*/ 3134866 h 4687251"/>
              <a:gd name="connsiteX5113" fmla="*/ 7602242 w 8079933"/>
              <a:gd name="connsiteY5113" fmla="*/ 3126204 h 4687251"/>
              <a:gd name="connsiteX5114" fmla="*/ 7596599 w 8079933"/>
              <a:gd name="connsiteY5114" fmla="*/ 3125662 h 4687251"/>
              <a:gd name="connsiteX5115" fmla="*/ 7588026 w 8079933"/>
              <a:gd name="connsiteY5115" fmla="*/ 3120791 h 4687251"/>
              <a:gd name="connsiteX5116" fmla="*/ 7571424 w 8079933"/>
              <a:gd name="connsiteY5116" fmla="*/ 3111154 h 4687251"/>
              <a:gd name="connsiteX5117" fmla="*/ 7568494 w 8079933"/>
              <a:gd name="connsiteY5117" fmla="*/ 3108230 h 4687251"/>
              <a:gd name="connsiteX5118" fmla="*/ 4218728 w 8079933"/>
              <a:gd name="connsiteY5118" fmla="*/ 3104345 h 4687251"/>
              <a:gd name="connsiteX5119" fmla="*/ 4219994 w 8079933"/>
              <a:gd name="connsiteY5119" fmla="*/ 3105308 h 4687251"/>
              <a:gd name="connsiteX5120" fmla="*/ 4224118 w 8079933"/>
              <a:gd name="connsiteY5120" fmla="*/ 3108340 h 4687251"/>
              <a:gd name="connsiteX5121" fmla="*/ 4224660 w 8079933"/>
              <a:gd name="connsiteY5121" fmla="*/ 3120250 h 4687251"/>
              <a:gd name="connsiteX5122" fmla="*/ 4224443 w 8079933"/>
              <a:gd name="connsiteY5122" fmla="*/ 3124363 h 4687251"/>
              <a:gd name="connsiteX5123" fmla="*/ 4224444 w 8079933"/>
              <a:gd name="connsiteY5123" fmla="*/ 3124363 h 4687251"/>
              <a:gd name="connsiteX5124" fmla="*/ 4224661 w 8079933"/>
              <a:gd name="connsiteY5124" fmla="*/ 3120249 h 4687251"/>
              <a:gd name="connsiteX5125" fmla="*/ 4224118 w 8079933"/>
              <a:gd name="connsiteY5125" fmla="*/ 3108339 h 4687251"/>
              <a:gd name="connsiteX5126" fmla="*/ 4219995 w 8079933"/>
              <a:gd name="connsiteY5126" fmla="*/ 3105308 h 4687251"/>
              <a:gd name="connsiteX5127" fmla="*/ 4217715 w 8079933"/>
              <a:gd name="connsiteY5127" fmla="*/ 3103575 h 4687251"/>
              <a:gd name="connsiteX5128" fmla="*/ 4214026 w 8079933"/>
              <a:gd name="connsiteY5128" fmla="*/ 3104442 h 4687251"/>
              <a:gd name="connsiteX5129" fmla="*/ 4210336 w 8079933"/>
              <a:gd name="connsiteY5129" fmla="*/ 3105632 h 4687251"/>
              <a:gd name="connsiteX5130" fmla="*/ 4210336 w 8079933"/>
              <a:gd name="connsiteY5130" fmla="*/ 3105633 h 4687251"/>
              <a:gd name="connsiteX5131" fmla="*/ 4214026 w 8079933"/>
              <a:gd name="connsiteY5131" fmla="*/ 3104442 h 4687251"/>
              <a:gd name="connsiteX5132" fmla="*/ 7554603 w 8079933"/>
              <a:gd name="connsiteY5132" fmla="*/ 3102276 h 4687251"/>
              <a:gd name="connsiteX5133" fmla="*/ 7557858 w 8079933"/>
              <a:gd name="connsiteY5133" fmla="*/ 3104333 h 4687251"/>
              <a:gd name="connsiteX5134" fmla="*/ 7557858 w 8079933"/>
              <a:gd name="connsiteY5134" fmla="*/ 3108989 h 4687251"/>
              <a:gd name="connsiteX5135" fmla="*/ 7552976 w 8079933"/>
              <a:gd name="connsiteY5135" fmla="*/ 3110288 h 4687251"/>
              <a:gd name="connsiteX5136" fmla="*/ 7549395 w 8079933"/>
              <a:gd name="connsiteY5136" fmla="*/ 3108123 h 4687251"/>
              <a:gd name="connsiteX5137" fmla="*/ 7549069 w 8079933"/>
              <a:gd name="connsiteY5137" fmla="*/ 3104333 h 4687251"/>
              <a:gd name="connsiteX5138" fmla="*/ 2282430 w 8079933"/>
              <a:gd name="connsiteY5138" fmla="*/ 3101302 h 4687251"/>
              <a:gd name="connsiteX5139" fmla="*/ 2278785 w 8079933"/>
              <a:gd name="connsiteY5139" fmla="*/ 3102486 h 4687251"/>
              <a:gd name="connsiteX5140" fmla="*/ 2282430 w 8079933"/>
              <a:gd name="connsiteY5140" fmla="*/ 3101302 h 4687251"/>
              <a:gd name="connsiteX5141" fmla="*/ 2282756 w 8079933"/>
              <a:gd name="connsiteY5141" fmla="*/ 3104550 h 4687251"/>
              <a:gd name="connsiteX5142" fmla="*/ 4650590 w 8079933"/>
              <a:gd name="connsiteY5142" fmla="*/ 3101194 h 4687251"/>
              <a:gd name="connsiteX5143" fmla="*/ 4648962 w 8079933"/>
              <a:gd name="connsiteY5143" fmla="*/ 3101735 h 4687251"/>
              <a:gd name="connsiteX5144" fmla="*/ 4648961 w 8079933"/>
              <a:gd name="connsiteY5144" fmla="*/ 3101735 h 4687251"/>
              <a:gd name="connsiteX5145" fmla="*/ 4650589 w 8079933"/>
              <a:gd name="connsiteY5145" fmla="*/ 3101194 h 4687251"/>
              <a:gd name="connsiteX5146" fmla="*/ 4652868 w 8079933"/>
              <a:gd name="connsiteY5146" fmla="*/ 3103576 h 4687251"/>
              <a:gd name="connsiteX5147" fmla="*/ 4657643 w 8079933"/>
              <a:gd name="connsiteY5147" fmla="*/ 3101952 h 4687251"/>
              <a:gd name="connsiteX5148" fmla="*/ 4657643 w 8079933"/>
              <a:gd name="connsiteY5148" fmla="*/ 3101951 h 4687251"/>
              <a:gd name="connsiteX5149" fmla="*/ 4652868 w 8079933"/>
              <a:gd name="connsiteY5149" fmla="*/ 3103575 h 4687251"/>
              <a:gd name="connsiteX5150" fmla="*/ 4639086 w 8079933"/>
              <a:gd name="connsiteY5150" fmla="*/ 3096863 h 4687251"/>
              <a:gd name="connsiteX5151" fmla="*/ 4641582 w 8079933"/>
              <a:gd name="connsiteY5151" fmla="*/ 3097838 h 4687251"/>
              <a:gd name="connsiteX5152" fmla="*/ 4643427 w 8079933"/>
              <a:gd name="connsiteY5152" fmla="*/ 3101735 h 4687251"/>
              <a:gd name="connsiteX5153" fmla="*/ 4647551 w 8079933"/>
              <a:gd name="connsiteY5153" fmla="*/ 3103251 h 4687251"/>
              <a:gd name="connsiteX5154" fmla="*/ 4648815 w 8079933"/>
              <a:gd name="connsiteY5154" fmla="*/ 3101892 h 4687251"/>
              <a:gd name="connsiteX5155" fmla="*/ 4647551 w 8079933"/>
              <a:gd name="connsiteY5155" fmla="*/ 3103251 h 4687251"/>
              <a:gd name="connsiteX5156" fmla="*/ 4643427 w 8079933"/>
              <a:gd name="connsiteY5156" fmla="*/ 3101735 h 4687251"/>
              <a:gd name="connsiteX5157" fmla="*/ 4641582 w 8079933"/>
              <a:gd name="connsiteY5157" fmla="*/ 3097837 h 4687251"/>
              <a:gd name="connsiteX5158" fmla="*/ 4639087 w 8079933"/>
              <a:gd name="connsiteY5158" fmla="*/ 3096863 h 4687251"/>
              <a:gd name="connsiteX5159" fmla="*/ 4222227 w 8079933"/>
              <a:gd name="connsiteY5159" fmla="*/ 3096456 h 4687251"/>
              <a:gd name="connsiteX5160" fmla="*/ 4221188 w 8079933"/>
              <a:gd name="connsiteY5160" fmla="*/ 3097296 h 4687251"/>
              <a:gd name="connsiteX5161" fmla="*/ 4221188 w 8079933"/>
              <a:gd name="connsiteY5161" fmla="*/ 3097296 h 4687251"/>
              <a:gd name="connsiteX5162" fmla="*/ 4210390 w 8079933"/>
              <a:gd name="connsiteY5162" fmla="*/ 3096375 h 4687251"/>
              <a:gd name="connsiteX5163" fmla="*/ 4209251 w 8079933"/>
              <a:gd name="connsiteY5163" fmla="*/ 3097512 h 4687251"/>
              <a:gd name="connsiteX5164" fmla="*/ 4211096 w 8079933"/>
              <a:gd name="connsiteY5164" fmla="*/ 3100977 h 4687251"/>
              <a:gd name="connsiteX5165" fmla="*/ 4210432 w 8079933"/>
              <a:gd name="connsiteY5165" fmla="*/ 3105047 h 4687251"/>
              <a:gd name="connsiteX5166" fmla="*/ 4211096 w 8079933"/>
              <a:gd name="connsiteY5166" fmla="*/ 3100977 h 4687251"/>
              <a:gd name="connsiteX5167" fmla="*/ 4209251 w 8079933"/>
              <a:gd name="connsiteY5167" fmla="*/ 3097512 h 4687251"/>
              <a:gd name="connsiteX5168" fmla="*/ 2240543 w 8079933"/>
              <a:gd name="connsiteY5168" fmla="*/ 3094047 h 4687251"/>
              <a:gd name="connsiteX5169" fmla="*/ 2232946 w 8079933"/>
              <a:gd name="connsiteY5169" fmla="*/ 3097512 h 4687251"/>
              <a:gd name="connsiteX5170" fmla="*/ 2230560 w 8079933"/>
              <a:gd name="connsiteY5170" fmla="*/ 3099569 h 4687251"/>
              <a:gd name="connsiteX5171" fmla="*/ 2224699 w 8079933"/>
              <a:gd name="connsiteY5171" fmla="*/ 3099786 h 4687251"/>
              <a:gd name="connsiteX5172" fmla="*/ 2220576 w 8079933"/>
              <a:gd name="connsiteY5172" fmla="*/ 3098703 h 4687251"/>
              <a:gd name="connsiteX5173" fmla="*/ 2215584 w 8079933"/>
              <a:gd name="connsiteY5173" fmla="*/ 3099894 h 4687251"/>
              <a:gd name="connsiteX5174" fmla="*/ 2211135 w 8079933"/>
              <a:gd name="connsiteY5174" fmla="*/ 3098054 h 4687251"/>
              <a:gd name="connsiteX5175" fmla="*/ 2209724 w 8079933"/>
              <a:gd name="connsiteY5175" fmla="*/ 3094589 h 4687251"/>
              <a:gd name="connsiteX5176" fmla="*/ 2209879 w 8079933"/>
              <a:gd name="connsiteY5176" fmla="*/ 3094347 h 4687251"/>
              <a:gd name="connsiteX5177" fmla="*/ 2209724 w 8079933"/>
              <a:gd name="connsiteY5177" fmla="*/ 3094590 h 4687251"/>
              <a:gd name="connsiteX5178" fmla="*/ 2211135 w 8079933"/>
              <a:gd name="connsiteY5178" fmla="*/ 3098055 h 4687251"/>
              <a:gd name="connsiteX5179" fmla="*/ 2215584 w 8079933"/>
              <a:gd name="connsiteY5179" fmla="*/ 3099895 h 4687251"/>
              <a:gd name="connsiteX5180" fmla="*/ 2220576 w 8079933"/>
              <a:gd name="connsiteY5180" fmla="*/ 3098704 h 4687251"/>
              <a:gd name="connsiteX5181" fmla="*/ 2224699 w 8079933"/>
              <a:gd name="connsiteY5181" fmla="*/ 3099787 h 4687251"/>
              <a:gd name="connsiteX5182" fmla="*/ 2230559 w 8079933"/>
              <a:gd name="connsiteY5182" fmla="*/ 3099570 h 4687251"/>
              <a:gd name="connsiteX5183" fmla="*/ 2232947 w 8079933"/>
              <a:gd name="connsiteY5183" fmla="*/ 3097513 h 4687251"/>
              <a:gd name="connsiteX5184" fmla="*/ 2240543 w 8079933"/>
              <a:gd name="connsiteY5184" fmla="*/ 3094048 h 4687251"/>
              <a:gd name="connsiteX5185" fmla="*/ 2247054 w 8079933"/>
              <a:gd name="connsiteY5185" fmla="*/ 3095239 h 4687251"/>
              <a:gd name="connsiteX5186" fmla="*/ 2252805 w 8079933"/>
              <a:gd name="connsiteY5186" fmla="*/ 3098055 h 4687251"/>
              <a:gd name="connsiteX5187" fmla="*/ 2261053 w 8079933"/>
              <a:gd name="connsiteY5187" fmla="*/ 3094482 h 4687251"/>
              <a:gd name="connsiteX5188" fmla="*/ 2265393 w 8079933"/>
              <a:gd name="connsiteY5188" fmla="*/ 3094482 h 4687251"/>
              <a:gd name="connsiteX5189" fmla="*/ 2267238 w 8079933"/>
              <a:gd name="connsiteY5189" fmla="*/ 3097188 h 4687251"/>
              <a:gd name="connsiteX5190" fmla="*/ 2270059 w 8079933"/>
              <a:gd name="connsiteY5190" fmla="*/ 3096972 h 4687251"/>
              <a:gd name="connsiteX5191" fmla="*/ 2275376 w 8079933"/>
              <a:gd name="connsiteY5191" fmla="*/ 3099570 h 4687251"/>
              <a:gd name="connsiteX5192" fmla="*/ 2277764 w 8079933"/>
              <a:gd name="connsiteY5192" fmla="*/ 3102818 h 4687251"/>
              <a:gd name="connsiteX5193" fmla="*/ 2277764 w 8079933"/>
              <a:gd name="connsiteY5193" fmla="*/ 3102818 h 4687251"/>
              <a:gd name="connsiteX5194" fmla="*/ 2275377 w 8079933"/>
              <a:gd name="connsiteY5194" fmla="*/ 3099569 h 4687251"/>
              <a:gd name="connsiteX5195" fmla="*/ 2270060 w 8079933"/>
              <a:gd name="connsiteY5195" fmla="*/ 3096971 h 4687251"/>
              <a:gd name="connsiteX5196" fmla="*/ 2267238 w 8079933"/>
              <a:gd name="connsiteY5196" fmla="*/ 3097187 h 4687251"/>
              <a:gd name="connsiteX5197" fmla="*/ 2265393 w 8079933"/>
              <a:gd name="connsiteY5197" fmla="*/ 3094481 h 4687251"/>
              <a:gd name="connsiteX5198" fmla="*/ 2261052 w 8079933"/>
              <a:gd name="connsiteY5198" fmla="*/ 3094481 h 4687251"/>
              <a:gd name="connsiteX5199" fmla="*/ 2252805 w 8079933"/>
              <a:gd name="connsiteY5199" fmla="*/ 3098054 h 4687251"/>
              <a:gd name="connsiteX5200" fmla="*/ 2247054 w 8079933"/>
              <a:gd name="connsiteY5200" fmla="*/ 3095239 h 4687251"/>
              <a:gd name="connsiteX5201" fmla="*/ 6966769 w 8079933"/>
              <a:gd name="connsiteY5201" fmla="*/ 3093940 h 4687251"/>
              <a:gd name="connsiteX5202" fmla="*/ 6966769 w 8079933"/>
              <a:gd name="connsiteY5202" fmla="*/ 3097729 h 4687251"/>
              <a:gd name="connsiteX5203" fmla="*/ 6970025 w 8079933"/>
              <a:gd name="connsiteY5203" fmla="*/ 3103034 h 4687251"/>
              <a:gd name="connsiteX5204" fmla="*/ 6969916 w 8079933"/>
              <a:gd name="connsiteY5204" fmla="*/ 3105308 h 4687251"/>
              <a:gd name="connsiteX5205" fmla="*/ 6967963 w 8079933"/>
              <a:gd name="connsiteY5205" fmla="*/ 3104442 h 4687251"/>
              <a:gd name="connsiteX5206" fmla="*/ 6965901 w 8079933"/>
              <a:gd name="connsiteY5206" fmla="*/ 3098812 h 4687251"/>
              <a:gd name="connsiteX5207" fmla="*/ 6965033 w 8079933"/>
              <a:gd name="connsiteY5207" fmla="*/ 3094914 h 4687251"/>
              <a:gd name="connsiteX5208" fmla="*/ 6337155 w 8079933"/>
              <a:gd name="connsiteY5208" fmla="*/ 3093940 h 4687251"/>
              <a:gd name="connsiteX5209" fmla="*/ 6342907 w 8079933"/>
              <a:gd name="connsiteY5209" fmla="*/ 3101952 h 4687251"/>
              <a:gd name="connsiteX5210" fmla="*/ 6337481 w 8079933"/>
              <a:gd name="connsiteY5210" fmla="*/ 3100328 h 4687251"/>
              <a:gd name="connsiteX5211" fmla="*/ 6334768 w 8079933"/>
              <a:gd name="connsiteY5211" fmla="*/ 3096646 h 4687251"/>
              <a:gd name="connsiteX5212" fmla="*/ 4272408 w 8079933"/>
              <a:gd name="connsiteY5212" fmla="*/ 3092965 h 4687251"/>
              <a:gd name="connsiteX5213" fmla="*/ 4273818 w 8079933"/>
              <a:gd name="connsiteY5213" fmla="*/ 3096213 h 4687251"/>
              <a:gd name="connsiteX5214" fmla="*/ 4273819 w 8079933"/>
              <a:gd name="connsiteY5214" fmla="*/ 3096213 h 4687251"/>
              <a:gd name="connsiteX5215" fmla="*/ 4272408 w 8079933"/>
              <a:gd name="connsiteY5215" fmla="*/ 3092965 h 4687251"/>
              <a:gd name="connsiteX5216" fmla="*/ 4667307 w 8079933"/>
              <a:gd name="connsiteY5216" fmla="*/ 3090947 h 4687251"/>
              <a:gd name="connsiteX5217" fmla="*/ 4668277 w 8079933"/>
              <a:gd name="connsiteY5217" fmla="*/ 3093940 h 4687251"/>
              <a:gd name="connsiteX5218" fmla="*/ 4670990 w 8079933"/>
              <a:gd name="connsiteY5218" fmla="*/ 3095456 h 4687251"/>
              <a:gd name="connsiteX5219" fmla="*/ 4670990 w 8079933"/>
              <a:gd name="connsiteY5219" fmla="*/ 3096863 h 4687251"/>
              <a:gd name="connsiteX5220" fmla="*/ 4670990 w 8079933"/>
              <a:gd name="connsiteY5220" fmla="*/ 3099245 h 4687251"/>
              <a:gd name="connsiteX5221" fmla="*/ 4672400 w 8079933"/>
              <a:gd name="connsiteY5221" fmla="*/ 3101194 h 4687251"/>
              <a:gd name="connsiteX5222" fmla="*/ 4672400 w 8079933"/>
              <a:gd name="connsiteY5222" fmla="*/ 3104442 h 4687251"/>
              <a:gd name="connsiteX5223" fmla="*/ 4672402 w 8079933"/>
              <a:gd name="connsiteY5223" fmla="*/ 3104443 h 4687251"/>
              <a:gd name="connsiteX5224" fmla="*/ 4672402 w 8079933"/>
              <a:gd name="connsiteY5224" fmla="*/ 3101194 h 4687251"/>
              <a:gd name="connsiteX5225" fmla="*/ 4670990 w 8079933"/>
              <a:gd name="connsiteY5225" fmla="*/ 3099245 h 4687251"/>
              <a:gd name="connsiteX5226" fmla="*/ 4670990 w 8079933"/>
              <a:gd name="connsiteY5226" fmla="*/ 3096864 h 4687251"/>
              <a:gd name="connsiteX5227" fmla="*/ 4671967 w 8079933"/>
              <a:gd name="connsiteY5227" fmla="*/ 3097946 h 4687251"/>
              <a:gd name="connsiteX5228" fmla="*/ 4674571 w 8079933"/>
              <a:gd name="connsiteY5228" fmla="*/ 3098488 h 4687251"/>
              <a:gd name="connsiteX5229" fmla="*/ 4677068 w 8079933"/>
              <a:gd name="connsiteY5229" fmla="*/ 3096972 h 4687251"/>
              <a:gd name="connsiteX5230" fmla="*/ 4679021 w 8079933"/>
              <a:gd name="connsiteY5230" fmla="*/ 3095023 h 4687251"/>
              <a:gd name="connsiteX5231" fmla="*/ 4679021 w 8079933"/>
              <a:gd name="connsiteY5231" fmla="*/ 3095022 h 4687251"/>
              <a:gd name="connsiteX5232" fmla="*/ 4677067 w 8079933"/>
              <a:gd name="connsiteY5232" fmla="*/ 3096971 h 4687251"/>
              <a:gd name="connsiteX5233" fmla="*/ 4674572 w 8079933"/>
              <a:gd name="connsiteY5233" fmla="*/ 3098486 h 4687251"/>
              <a:gd name="connsiteX5234" fmla="*/ 4671968 w 8079933"/>
              <a:gd name="connsiteY5234" fmla="*/ 3097945 h 4687251"/>
              <a:gd name="connsiteX5235" fmla="*/ 4670991 w 8079933"/>
              <a:gd name="connsiteY5235" fmla="*/ 3096863 h 4687251"/>
              <a:gd name="connsiteX5236" fmla="*/ 4670991 w 8079933"/>
              <a:gd name="connsiteY5236" fmla="*/ 3095455 h 4687251"/>
              <a:gd name="connsiteX5237" fmla="*/ 4668278 w 8079933"/>
              <a:gd name="connsiteY5237" fmla="*/ 3093939 h 4687251"/>
              <a:gd name="connsiteX5238" fmla="*/ 4267633 w 8079933"/>
              <a:gd name="connsiteY5238" fmla="*/ 3090908 h 4687251"/>
              <a:gd name="connsiteX5239" fmla="*/ 4269502 w 8079933"/>
              <a:gd name="connsiteY5239" fmla="*/ 3091713 h 4687251"/>
              <a:gd name="connsiteX5240" fmla="*/ 4267633 w 8079933"/>
              <a:gd name="connsiteY5240" fmla="*/ 3090908 h 4687251"/>
              <a:gd name="connsiteX5241" fmla="*/ 6901116 w 8079933"/>
              <a:gd name="connsiteY5241" fmla="*/ 3090259 h 4687251"/>
              <a:gd name="connsiteX5242" fmla="*/ 6900139 w 8079933"/>
              <a:gd name="connsiteY5242" fmla="*/ 3092966 h 4687251"/>
              <a:gd name="connsiteX5243" fmla="*/ 6897535 w 8079933"/>
              <a:gd name="connsiteY5243" fmla="*/ 3091775 h 4687251"/>
              <a:gd name="connsiteX5244" fmla="*/ 4681191 w 8079933"/>
              <a:gd name="connsiteY5244" fmla="*/ 3088634 h 4687251"/>
              <a:gd name="connsiteX5245" fmla="*/ 4680078 w 8079933"/>
              <a:gd name="connsiteY5245" fmla="*/ 3091504 h 4687251"/>
              <a:gd name="connsiteX5246" fmla="*/ 4681191 w 8079933"/>
              <a:gd name="connsiteY5246" fmla="*/ 3088635 h 4687251"/>
              <a:gd name="connsiteX5247" fmla="*/ 7476037 w 8079933"/>
              <a:gd name="connsiteY5247" fmla="*/ 3088201 h 4687251"/>
              <a:gd name="connsiteX5248" fmla="*/ 7478967 w 8079933"/>
              <a:gd name="connsiteY5248" fmla="*/ 3090258 h 4687251"/>
              <a:gd name="connsiteX5249" fmla="*/ 7482548 w 8079933"/>
              <a:gd name="connsiteY5249" fmla="*/ 3089392 h 4687251"/>
              <a:gd name="connsiteX5250" fmla="*/ 7485370 w 8079933"/>
              <a:gd name="connsiteY5250" fmla="*/ 3091666 h 4687251"/>
              <a:gd name="connsiteX5251" fmla="*/ 7480161 w 8079933"/>
              <a:gd name="connsiteY5251" fmla="*/ 3095996 h 4687251"/>
              <a:gd name="connsiteX5252" fmla="*/ 7474084 w 8079933"/>
              <a:gd name="connsiteY5252" fmla="*/ 3095996 h 4687251"/>
              <a:gd name="connsiteX5253" fmla="*/ 7472023 w 8079933"/>
              <a:gd name="connsiteY5253" fmla="*/ 3094048 h 4687251"/>
              <a:gd name="connsiteX5254" fmla="*/ 7468224 w 8079933"/>
              <a:gd name="connsiteY5254" fmla="*/ 3094048 h 4687251"/>
              <a:gd name="connsiteX5255" fmla="*/ 7466705 w 8079933"/>
              <a:gd name="connsiteY5255" fmla="*/ 3090583 h 4687251"/>
              <a:gd name="connsiteX5256" fmla="*/ 7468224 w 8079933"/>
              <a:gd name="connsiteY5256" fmla="*/ 3089392 h 4687251"/>
              <a:gd name="connsiteX5257" fmla="*/ 7472023 w 8079933"/>
              <a:gd name="connsiteY5257" fmla="*/ 3089392 h 4687251"/>
              <a:gd name="connsiteX5258" fmla="*/ 4660247 w 8079933"/>
              <a:gd name="connsiteY5258" fmla="*/ 3087984 h 4687251"/>
              <a:gd name="connsiteX5259" fmla="*/ 4660247 w 8079933"/>
              <a:gd name="connsiteY5259" fmla="*/ 3087985 h 4687251"/>
              <a:gd name="connsiteX5260" fmla="*/ 4662200 w 8079933"/>
              <a:gd name="connsiteY5260" fmla="*/ 3087985 h 4687251"/>
              <a:gd name="connsiteX5261" fmla="*/ 4664370 w 8079933"/>
              <a:gd name="connsiteY5261" fmla="*/ 3089825 h 4687251"/>
              <a:gd name="connsiteX5262" fmla="*/ 4665831 w 8079933"/>
              <a:gd name="connsiteY5262" fmla="*/ 3090058 h 4687251"/>
              <a:gd name="connsiteX5263" fmla="*/ 4664371 w 8079933"/>
              <a:gd name="connsiteY5263" fmla="*/ 3089825 h 4687251"/>
              <a:gd name="connsiteX5264" fmla="*/ 4662201 w 8079933"/>
              <a:gd name="connsiteY5264" fmla="*/ 3087984 h 4687251"/>
              <a:gd name="connsiteX5265" fmla="*/ 4275121 w 8079933"/>
              <a:gd name="connsiteY5265" fmla="*/ 3087552 h 4687251"/>
              <a:gd name="connsiteX5266" fmla="*/ 4275121 w 8079933"/>
              <a:gd name="connsiteY5266" fmla="*/ 3087552 h 4687251"/>
              <a:gd name="connsiteX5267" fmla="*/ 4276314 w 8079933"/>
              <a:gd name="connsiteY5267" fmla="*/ 3091883 h 4687251"/>
              <a:gd name="connsiteX5268" fmla="*/ 4276097 w 8079933"/>
              <a:gd name="connsiteY5268" fmla="*/ 3096213 h 4687251"/>
              <a:gd name="connsiteX5269" fmla="*/ 4276098 w 8079933"/>
              <a:gd name="connsiteY5269" fmla="*/ 3096213 h 4687251"/>
              <a:gd name="connsiteX5270" fmla="*/ 4276315 w 8079933"/>
              <a:gd name="connsiteY5270" fmla="*/ 3091882 h 4687251"/>
              <a:gd name="connsiteX5271" fmla="*/ 6906217 w 8079933"/>
              <a:gd name="connsiteY5271" fmla="*/ 3087335 h 4687251"/>
              <a:gd name="connsiteX5272" fmla="*/ 6907628 w 8079933"/>
              <a:gd name="connsiteY5272" fmla="*/ 3089717 h 4687251"/>
              <a:gd name="connsiteX5273" fmla="*/ 6904155 w 8079933"/>
              <a:gd name="connsiteY5273" fmla="*/ 3089176 h 4687251"/>
              <a:gd name="connsiteX5274" fmla="*/ 6963187 w 8079933"/>
              <a:gd name="connsiteY5274" fmla="*/ 3086795 h 4687251"/>
              <a:gd name="connsiteX5275" fmla="*/ 6972086 w 8079933"/>
              <a:gd name="connsiteY5275" fmla="*/ 3087985 h 4687251"/>
              <a:gd name="connsiteX5276" fmla="*/ 6976861 w 8079933"/>
              <a:gd name="connsiteY5276" fmla="*/ 3088852 h 4687251"/>
              <a:gd name="connsiteX5277" fmla="*/ 6971218 w 8079933"/>
              <a:gd name="connsiteY5277" fmla="*/ 3090260 h 4687251"/>
              <a:gd name="connsiteX5278" fmla="*/ 6960801 w 8079933"/>
              <a:gd name="connsiteY5278" fmla="*/ 3092642 h 4687251"/>
              <a:gd name="connsiteX5279" fmla="*/ 6955591 w 8079933"/>
              <a:gd name="connsiteY5279" fmla="*/ 3091234 h 4687251"/>
              <a:gd name="connsiteX5280" fmla="*/ 6955483 w 8079933"/>
              <a:gd name="connsiteY5280" fmla="*/ 3089393 h 4687251"/>
              <a:gd name="connsiteX5281" fmla="*/ 6953530 w 8079933"/>
              <a:gd name="connsiteY5281" fmla="*/ 3088203 h 4687251"/>
              <a:gd name="connsiteX5282" fmla="*/ 6956134 w 8079933"/>
              <a:gd name="connsiteY5282" fmla="*/ 3087011 h 4687251"/>
              <a:gd name="connsiteX5283" fmla="*/ 6959824 w 8079933"/>
              <a:gd name="connsiteY5283" fmla="*/ 3088311 h 4687251"/>
              <a:gd name="connsiteX5284" fmla="*/ 7071704 w 8079933"/>
              <a:gd name="connsiteY5284" fmla="*/ 3085062 h 4687251"/>
              <a:gd name="connsiteX5285" fmla="*/ 7073766 w 8079933"/>
              <a:gd name="connsiteY5285" fmla="*/ 3087119 h 4687251"/>
              <a:gd name="connsiteX5286" fmla="*/ 7074201 w 8079933"/>
              <a:gd name="connsiteY5286" fmla="*/ 3090800 h 4687251"/>
              <a:gd name="connsiteX5287" fmla="*/ 7076045 w 8079933"/>
              <a:gd name="connsiteY5287" fmla="*/ 3091775 h 4687251"/>
              <a:gd name="connsiteX5288" fmla="*/ 7069426 w 8079933"/>
              <a:gd name="connsiteY5288" fmla="*/ 3093832 h 4687251"/>
              <a:gd name="connsiteX5289" fmla="*/ 7061830 w 8079933"/>
              <a:gd name="connsiteY5289" fmla="*/ 3091233 h 4687251"/>
              <a:gd name="connsiteX5290" fmla="*/ 7059768 w 8079933"/>
              <a:gd name="connsiteY5290" fmla="*/ 3089284 h 4687251"/>
              <a:gd name="connsiteX5291" fmla="*/ 7062914 w 8079933"/>
              <a:gd name="connsiteY5291" fmla="*/ 3087227 h 4687251"/>
              <a:gd name="connsiteX5292" fmla="*/ 6938230 w 8079933"/>
              <a:gd name="connsiteY5292" fmla="*/ 3084954 h 4687251"/>
              <a:gd name="connsiteX5293" fmla="*/ 6943005 w 8079933"/>
              <a:gd name="connsiteY5293" fmla="*/ 3086145 h 4687251"/>
              <a:gd name="connsiteX5294" fmla="*/ 6946043 w 8079933"/>
              <a:gd name="connsiteY5294" fmla="*/ 3087769 h 4687251"/>
              <a:gd name="connsiteX5295" fmla="*/ 6949081 w 8079933"/>
              <a:gd name="connsiteY5295" fmla="*/ 3085496 h 4687251"/>
              <a:gd name="connsiteX5296" fmla="*/ 6952120 w 8079933"/>
              <a:gd name="connsiteY5296" fmla="*/ 3086578 h 4687251"/>
              <a:gd name="connsiteX5297" fmla="*/ 6952228 w 8079933"/>
              <a:gd name="connsiteY5297" fmla="*/ 3090692 h 4687251"/>
              <a:gd name="connsiteX5298" fmla="*/ 6948539 w 8079933"/>
              <a:gd name="connsiteY5298" fmla="*/ 3090259 h 4687251"/>
              <a:gd name="connsiteX5299" fmla="*/ 6944306 w 8079933"/>
              <a:gd name="connsiteY5299" fmla="*/ 3092208 h 4687251"/>
              <a:gd name="connsiteX5300" fmla="*/ 6940942 w 8079933"/>
              <a:gd name="connsiteY5300" fmla="*/ 3091341 h 4687251"/>
              <a:gd name="connsiteX5301" fmla="*/ 6935734 w 8079933"/>
              <a:gd name="connsiteY5301" fmla="*/ 3094481 h 4687251"/>
              <a:gd name="connsiteX5302" fmla="*/ 6931284 w 8079933"/>
              <a:gd name="connsiteY5302" fmla="*/ 3093507 h 4687251"/>
              <a:gd name="connsiteX5303" fmla="*/ 6929548 w 8079933"/>
              <a:gd name="connsiteY5303" fmla="*/ 3090908 h 4687251"/>
              <a:gd name="connsiteX5304" fmla="*/ 6929873 w 8079933"/>
              <a:gd name="connsiteY5304" fmla="*/ 3088635 h 4687251"/>
              <a:gd name="connsiteX5305" fmla="*/ 6932912 w 8079933"/>
              <a:gd name="connsiteY5305" fmla="*/ 3085496 h 4687251"/>
              <a:gd name="connsiteX5306" fmla="*/ 6935299 w 8079933"/>
              <a:gd name="connsiteY5306" fmla="*/ 3086145 h 4687251"/>
              <a:gd name="connsiteX5307" fmla="*/ 6562327 w 8079933"/>
              <a:gd name="connsiteY5307" fmla="*/ 3084846 h 4687251"/>
              <a:gd name="connsiteX5308" fmla="*/ 6564281 w 8079933"/>
              <a:gd name="connsiteY5308" fmla="*/ 3086903 h 4687251"/>
              <a:gd name="connsiteX5309" fmla="*/ 6562653 w 8079933"/>
              <a:gd name="connsiteY5309" fmla="*/ 3088959 h 4687251"/>
              <a:gd name="connsiteX5310" fmla="*/ 6559071 w 8079933"/>
              <a:gd name="connsiteY5310" fmla="*/ 3087335 h 4687251"/>
              <a:gd name="connsiteX5311" fmla="*/ 6558746 w 8079933"/>
              <a:gd name="connsiteY5311" fmla="*/ 3084954 h 4687251"/>
              <a:gd name="connsiteX5312" fmla="*/ 6912402 w 8079933"/>
              <a:gd name="connsiteY5312" fmla="*/ 3082464 h 4687251"/>
              <a:gd name="connsiteX5313" fmla="*/ 6913270 w 8079933"/>
              <a:gd name="connsiteY5313" fmla="*/ 3085712 h 4687251"/>
              <a:gd name="connsiteX5314" fmla="*/ 6909689 w 8079933"/>
              <a:gd name="connsiteY5314" fmla="*/ 3084521 h 4687251"/>
              <a:gd name="connsiteX5315" fmla="*/ 6484846 w 8079933"/>
              <a:gd name="connsiteY5315" fmla="*/ 3082247 h 4687251"/>
              <a:gd name="connsiteX5316" fmla="*/ 6487775 w 8079933"/>
              <a:gd name="connsiteY5316" fmla="*/ 3082247 h 4687251"/>
              <a:gd name="connsiteX5317" fmla="*/ 6491248 w 8079933"/>
              <a:gd name="connsiteY5317" fmla="*/ 3083871 h 4687251"/>
              <a:gd name="connsiteX5318" fmla="*/ 6491899 w 8079933"/>
              <a:gd name="connsiteY5318" fmla="*/ 3087877 h 4687251"/>
              <a:gd name="connsiteX5319" fmla="*/ 6493744 w 8079933"/>
              <a:gd name="connsiteY5319" fmla="*/ 3089609 h 4687251"/>
              <a:gd name="connsiteX5320" fmla="*/ 6495697 w 8079933"/>
              <a:gd name="connsiteY5320" fmla="*/ 3100436 h 4687251"/>
              <a:gd name="connsiteX5321" fmla="*/ 6500689 w 8079933"/>
              <a:gd name="connsiteY5321" fmla="*/ 3106066 h 4687251"/>
              <a:gd name="connsiteX5322" fmla="*/ 6508610 w 8079933"/>
              <a:gd name="connsiteY5322" fmla="*/ 3107799 h 4687251"/>
              <a:gd name="connsiteX5323" fmla="*/ 6506114 w 8079933"/>
              <a:gd name="connsiteY5323" fmla="*/ 3113645 h 4687251"/>
              <a:gd name="connsiteX5324" fmla="*/ 6507742 w 8079933"/>
              <a:gd name="connsiteY5324" fmla="*/ 3118517 h 4687251"/>
              <a:gd name="connsiteX5325" fmla="*/ 6505355 w 8079933"/>
              <a:gd name="connsiteY5325" fmla="*/ 3122090 h 4687251"/>
              <a:gd name="connsiteX5326" fmla="*/ 6503076 w 8079933"/>
              <a:gd name="connsiteY5326" fmla="*/ 3120142 h 4687251"/>
              <a:gd name="connsiteX5327" fmla="*/ 6501557 w 8079933"/>
              <a:gd name="connsiteY5327" fmla="*/ 3115485 h 4687251"/>
              <a:gd name="connsiteX5328" fmla="*/ 6496782 w 8079933"/>
              <a:gd name="connsiteY5328" fmla="*/ 3116027 h 4687251"/>
              <a:gd name="connsiteX5329" fmla="*/ 6491465 w 8079933"/>
              <a:gd name="connsiteY5329" fmla="*/ 3112562 h 4687251"/>
              <a:gd name="connsiteX5330" fmla="*/ 6489946 w 8079933"/>
              <a:gd name="connsiteY5330" fmla="*/ 3106175 h 4687251"/>
              <a:gd name="connsiteX5331" fmla="*/ 6487342 w 8079933"/>
              <a:gd name="connsiteY5331" fmla="*/ 3104442 h 4687251"/>
              <a:gd name="connsiteX5332" fmla="*/ 6487124 w 8079933"/>
              <a:gd name="connsiteY5332" fmla="*/ 3099787 h 4687251"/>
              <a:gd name="connsiteX5333" fmla="*/ 6484846 w 8079933"/>
              <a:gd name="connsiteY5333" fmla="*/ 3097404 h 4687251"/>
              <a:gd name="connsiteX5334" fmla="*/ 6476056 w 8079933"/>
              <a:gd name="connsiteY5334" fmla="*/ 3096755 h 4687251"/>
              <a:gd name="connsiteX5335" fmla="*/ 6473126 w 8079933"/>
              <a:gd name="connsiteY5335" fmla="*/ 3092857 h 4687251"/>
              <a:gd name="connsiteX5336" fmla="*/ 6477575 w 8079933"/>
              <a:gd name="connsiteY5336" fmla="*/ 3089501 h 4687251"/>
              <a:gd name="connsiteX5337" fmla="*/ 6477684 w 8079933"/>
              <a:gd name="connsiteY5337" fmla="*/ 3085603 h 4687251"/>
              <a:gd name="connsiteX5338" fmla="*/ 6479311 w 8079933"/>
              <a:gd name="connsiteY5338" fmla="*/ 3084737 h 4687251"/>
              <a:gd name="connsiteX5339" fmla="*/ 6482350 w 8079933"/>
              <a:gd name="connsiteY5339" fmla="*/ 3087985 h 4687251"/>
              <a:gd name="connsiteX5340" fmla="*/ 6486907 w 8079933"/>
              <a:gd name="connsiteY5340" fmla="*/ 3089609 h 4687251"/>
              <a:gd name="connsiteX5341" fmla="*/ 6485280 w 8079933"/>
              <a:gd name="connsiteY5341" fmla="*/ 3086469 h 4687251"/>
              <a:gd name="connsiteX5342" fmla="*/ 7196607 w 8079933"/>
              <a:gd name="connsiteY5342" fmla="*/ 3082139 h 4687251"/>
              <a:gd name="connsiteX5343" fmla="*/ 7205396 w 8079933"/>
              <a:gd name="connsiteY5343" fmla="*/ 3085279 h 4687251"/>
              <a:gd name="connsiteX5344" fmla="*/ 7210280 w 8079933"/>
              <a:gd name="connsiteY5344" fmla="*/ 3082896 h 4687251"/>
              <a:gd name="connsiteX5345" fmla="*/ 7217550 w 8079933"/>
              <a:gd name="connsiteY5345" fmla="*/ 3084954 h 4687251"/>
              <a:gd name="connsiteX5346" fmla="*/ 7221457 w 8079933"/>
              <a:gd name="connsiteY5346" fmla="*/ 3083980 h 4687251"/>
              <a:gd name="connsiteX5347" fmla="*/ 7229596 w 8079933"/>
              <a:gd name="connsiteY5347" fmla="*/ 3085712 h 4687251"/>
              <a:gd name="connsiteX5348" fmla="*/ 7226883 w 8079933"/>
              <a:gd name="connsiteY5348" fmla="*/ 3087336 h 4687251"/>
              <a:gd name="connsiteX5349" fmla="*/ 7216899 w 8079933"/>
              <a:gd name="connsiteY5349" fmla="*/ 3088852 h 4687251"/>
              <a:gd name="connsiteX5350" fmla="*/ 7206048 w 8079933"/>
              <a:gd name="connsiteY5350" fmla="*/ 3087336 h 4687251"/>
              <a:gd name="connsiteX5351" fmla="*/ 7198452 w 8079933"/>
              <a:gd name="connsiteY5351" fmla="*/ 3084196 h 4687251"/>
              <a:gd name="connsiteX5352" fmla="*/ 7196607 w 8079933"/>
              <a:gd name="connsiteY5352" fmla="*/ 3082139 h 4687251"/>
              <a:gd name="connsiteX5353" fmla="*/ 4679941 w 8079933"/>
              <a:gd name="connsiteY5353" fmla="*/ 3081747 h 4687251"/>
              <a:gd name="connsiteX5354" fmla="*/ 4680540 w 8079933"/>
              <a:gd name="connsiteY5354" fmla="*/ 3083870 h 4687251"/>
              <a:gd name="connsiteX5355" fmla="*/ 4680978 w 8079933"/>
              <a:gd name="connsiteY5355" fmla="*/ 3087074 h 4687251"/>
              <a:gd name="connsiteX5356" fmla="*/ 4680540 w 8079933"/>
              <a:gd name="connsiteY5356" fmla="*/ 3083871 h 4687251"/>
              <a:gd name="connsiteX5357" fmla="*/ 4237885 w 8079933"/>
              <a:gd name="connsiteY5357" fmla="*/ 3081625 h 4687251"/>
              <a:gd name="connsiteX5358" fmla="*/ 4237031 w 8079933"/>
              <a:gd name="connsiteY5358" fmla="*/ 3082679 h 4687251"/>
              <a:gd name="connsiteX5359" fmla="*/ 4237899 w 8079933"/>
              <a:gd name="connsiteY5359" fmla="*/ 3088418 h 4687251"/>
              <a:gd name="connsiteX5360" fmla="*/ 4236815 w 8079933"/>
              <a:gd name="connsiteY5360" fmla="*/ 3092315 h 4687251"/>
              <a:gd name="connsiteX5361" fmla="*/ 4237900 w 8079933"/>
              <a:gd name="connsiteY5361" fmla="*/ 3088418 h 4687251"/>
              <a:gd name="connsiteX5362" fmla="*/ 4237032 w 8079933"/>
              <a:gd name="connsiteY5362" fmla="*/ 3082679 h 4687251"/>
              <a:gd name="connsiteX5363" fmla="*/ 7187058 w 8079933"/>
              <a:gd name="connsiteY5363" fmla="*/ 3080731 h 4687251"/>
              <a:gd name="connsiteX5364" fmla="*/ 7193244 w 8079933"/>
              <a:gd name="connsiteY5364" fmla="*/ 3080731 h 4687251"/>
              <a:gd name="connsiteX5365" fmla="*/ 7190531 w 8079933"/>
              <a:gd name="connsiteY5365" fmla="*/ 3081922 h 4687251"/>
              <a:gd name="connsiteX5366" fmla="*/ 4243619 w 8079933"/>
              <a:gd name="connsiteY5366" fmla="*/ 3080376 h 4687251"/>
              <a:gd name="connsiteX5367" fmla="*/ 4243867 w 8079933"/>
              <a:gd name="connsiteY5367" fmla="*/ 3080406 h 4687251"/>
              <a:gd name="connsiteX5368" fmla="*/ 4247774 w 8079933"/>
              <a:gd name="connsiteY5368" fmla="*/ 3090041 h 4687251"/>
              <a:gd name="connsiteX5369" fmla="*/ 4247775 w 8079933"/>
              <a:gd name="connsiteY5369" fmla="*/ 3090042 h 4687251"/>
              <a:gd name="connsiteX5370" fmla="*/ 4243868 w 8079933"/>
              <a:gd name="connsiteY5370" fmla="*/ 3080406 h 4687251"/>
              <a:gd name="connsiteX5371" fmla="*/ 2203643 w 8079933"/>
              <a:gd name="connsiteY5371" fmla="*/ 3078344 h 4687251"/>
              <a:gd name="connsiteX5372" fmla="*/ 2203538 w 8079933"/>
              <a:gd name="connsiteY5372" fmla="*/ 3083762 h 4687251"/>
              <a:gd name="connsiteX5373" fmla="*/ 2205274 w 8079933"/>
              <a:gd name="connsiteY5373" fmla="*/ 3084304 h 4687251"/>
              <a:gd name="connsiteX5374" fmla="*/ 2209181 w 8079933"/>
              <a:gd name="connsiteY5374" fmla="*/ 3086145 h 4687251"/>
              <a:gd name="connsiteX5375" fmla="*/ 2210909 w 8079933"/>
              <a:gd name="connsiteY5375" fmla="*/ 3091223 h 4687251"/>
              <a:gd name="connsiteX5376" fmla="*/ 2209182 w 8079933"/>
              <a:gd name="connsiteY5376" fmla="*/ 3086144 h 4687251"/>
              <a:gd name="connsiteX5377" fmla="*/ 2205275 w 8079933"/>
              <a:gd name="connsiteY5377" fmla="*/ 3084303 h 4687251"/>
              <a:gd name="connsiteX5378" fmla="*/ 2203539 w 8079933"/>
              <a:gd name="connsiteY5378" fmla="*/ 3083762 h 4687251"/>
              <a:gd name="connsiteX5379" fmla="*/ 7009415 w 8079933"/>
              <a:gd name="connsiteY5379" fmla="*/ 3077916 h 4687251"/>
              <a:gd name="connsiteX5380" fmla="*/ 7015166 w 8079933"/>
              <a:gd name="connsiteY5380" fmla="*/ 3078240 h 4687251"/>
              <a:gd name="connsiteX5381" fmla="*/ 7021026 w 8079933"/>
              <a:gd name="connsiteY5381" fmla="*/ 3084087 h 4687251"/>
              <a:gd name="connsiteX5382" fmla="*/ 7019723 w 8079933"/>
              <a:gd name="connsiteY5382" fmla="*/ 3086902 h 4687251"/>
              <a:gd name="connsiteX5383" fmla="*/ 7016793 w 8079933"/>
              <a:gd name="connsiteY5383" fmla="*/ 3086902 h 4687251"/>
              <a:gd name="connsiteX5384" fmla="*/ 7012778 w 8079933"/>
              <a:gd name="connsiteY5384" fmla="*/ 3086902 h 4687251"/>
              <a:gd name="connsiteX5385" fmla="*/ 7009523 w 8079933"/>
              <a:gd name="connsiteY5385" fmla="*/ 3087552 h 4687251"/>
              <a:gd name="connsiteX5386" fmla="*/ 7005400 w 8079933"/>
              <a:gd name="connsiteY5386" fmla="*/ 3085712 h 4687251"/>
              <a:gd name="connsiteX5387" fmla="*/ 7002687 w 8079933"/>
              <a:gd name="connsiteY5387" fmla="*/ 3082896 h 4687251"/>
              <a:gd name="connsiteX5388" fmla="*/ 6897753 w 8079933"/>
              <a:gd name="connsiteY5388" fmla="*/ 3073694 h 4687251"/>
              <a:gd name="connsiteX5389" fmla="*/ 6904372 w 8079933"/>
              <a:gd name="connsiteY5389" fmla="*/ 3074235 h 4687251"/>
              <a:gd name="connsiteX5390" fmla="*/ 6904805 w 8079933"/>
              <a:gd name="connsiteY5390" fmla="*/ 3076292 h 4687251"/>
              <a:gd name="connsiteX5391" fmla="*/ 6903287 w 8079933"/>
              <a:gd name="connsiteY5391" fmla="*/ 3078999 h 4687251"/>
              <a:gd name="connsiteX5392" fmla="*/ 6906976 w 8079933"/>
              <a:gd name="connsiteY5392" fmla="*/ 3078241 h 4687251"/>
              <a:gd name="connsiteX5393" fmla="*/ 6908604 w 8079933"/>
              <a:gd name="connsiteY5393" fmla="*/ 3075318 h 4687251"/>
              <a:gd name="connsiteX5394" fmla="*/ 6912077 w 8079933"/>
              <a:gd name="connsiteY5394" fmla="*/ 3077808 h 4687251"/>
              <a:gd name="connsiteX5395" fmla="*/ 6911208 w 8079933"/>
              <a:gd name="connsiteY5395" fmla="*/ 3081489 h 4687251"/>
              <a:gd name="connsiteX5396" fmla="*/ 6906976 w 8079933"/>
              <a:gd name="connsiteY5396" fmla="*/ 3082464 h 4687251"/>
              <a:gd name="connsiteX5397" fmla="*/ 6905565 w 8079933"/>
              <a:gd name="connsiteY5397" fmla="*/ 3080732 h 4687251"/>
              <a:gd name="connsiteX5398" fmla="*/ 6903287 w 8079933"/>
              <a:gd name="connsiteY5398" fmla="*/ 3084088 h 4687251"/>
              <a:gd name="connsiteX5399" fmla="*/ 6899380 w 8079933"/>
              <a:gd name="connsiteY5399" fmla="*/ 3081057 h 4687251"/>
              <a:gd name="connsiteX5400" fmla="*/ 6896233 w 8079933"/>
              <a:gd name="connsiteY5400" fmla="*/ 3083872 h 4687251"/>
              <a:gd name="connsiteX5401" fmla="*/ 6892651 w 8079933"/>
              <a:gd name="connsiteY5401" fmla="*/ 3081273 h 4687251"/>
              <a:gd name="connsiteX5402" fmla="*/ 6892435 w 8079933"/>
              <a:gd name="connsiteY5402" fmla="*/ 3076942 h 4687251"/>
              <a:gd name="connsiteX5403" fmla="*/ 6574806 w 8079933"/>
              <a:gd name="connsiteY5403" fmla="*/ 3071311 h 4687251"/>
              <a:gd name="connsiteX5404" fmla="*/ 6580665 w 8079933"/>
              <a:gd name="connsiteY5404" fmla="*/ 3071527 h 4687251"/>
              <a:gd name="connsiteX5405" fmla="*/ 6584138 w 8079933"/>
              <a:gd name="connsiteY5405" fmla="*/ 3074017 h 4687251"/>
              <a:gd name="connsiteX5406" fmla="*/ 6579581 w 8079933"/>
              <a:gd name="connsiteY5406" fmla="*/ 3078781 h 4687251"/>
              <a:gd name="connsiteX5407" fmla="*/ 6576542 w 8079933"/>
              <a:gd name="connsiteY5407" fmla="*/ 3079647 h 4687251"/>
              <a:gd name="connsiteX5408" fmla="*/ 6574589 w 8079933"/>
              <a:gd name="connsiteY5408" fmla="*/ 3077157 h 4687251"/>
              <a:gd name="connsiteX5409" fmla="*/ 6575240 w 8079933"/>
              <a:gd name="connsiteY5409" fmla="*/ 3074125 h 4687251"/>
              <a:gd name="connsiteX5410" fmla="*/ 7534962 w 8079933"/>
              <a:gd name="connsiteY5410" fmla="*/ 3069362 h 4687251"/>
              <a:gd name="connsiteX5411" fmla="*/ 7539195 w 8079933"/>
              <a:gd name="connsiteY5411" fmla="*/ 3069578 h 4687251"/>
              <a:gd name="connsiteX5412" fmla="*/ 7542016 w 8079933"/>
              <a:gd name="connsiteY5412" fmla="*/ 3073693 h 4687251"/>
              <a:gd name="connsiteX5413" fmla="*/ 7541799 w 8079933"/>
              <a:gd name="connsiteY5413" fmla="*/ 3076616 h 4687251"/>
              <a:gd name="connsiteX5414" fmla="*/ 7535830 w 8079933"/>
              <a:gd name="connsiteY5414" fmla="*/ 3072719 h 4687251"/>
              <a:gd name="connsiteX5415" fmla="*/ 4336758 w 8079933"/>
              <a:gd name="connsiteY5415" fmla="*/ 3068820 h 4687251"/>
              <a:gd name="connsiteX5416" fmla="*/ 4332200 w 8079933"/>
              <a:gd name="connsiteY5416" fmla="*/ 3074451 h 4687251"/>
              <a:gd name="connsiteX5417" fmla="*/ 4332092 w 8079933"/>
              <a:gd name="connsiteY5417" fmla="*/ 3079647 h 4687251"/>
              <a:gd name="connsiteX5418" fmla="*/ 4324821 w 8079933"/>
              <a:gd name="connsiteY5418" fmla="*/ 3087226 h 4687251"/>
              <a:gd name="connsiteX5419" fmla="*/ 4322217 w 8079933"/>
              <a:gd name="connsiteY5419" fmla="*/ 3092315 h 4687251"/>
              <a:gd name="connsiteX5420" fmla="*/ 4323194 w 8079933"/>
              <a:gd name="connsiteY5420" fmla="*/ 3099028 h 4687251"/>
              <a:gd name="connsiteX5421" fmla="*/ 4324604 w 8079933"/>
              <a:gd name="connsiteY5421" fmla="*/ 3100977 h 4687251"/>
              <a:gd name="connsiteX5422" fmla="*/ 4323736 w 8079933"/>
              <a:gd name="connsiteY5422" fmla="*/ 3113969 h 4687251"/>
              <a:gd name="connsiteX5423" fmla="*/ 4322109 w 8079933"/>
              <a:gd name="connsiteY5423" fmla="*/ 3120574 h 4687251"/>
              <a:gd name="connsiteX5424" fmla="*/ 4323737 w 8079933"/>
              <a:gd name="connsiteY5424" fmla="*/ 3113969 h 4687251"/>
              <a:gd name="connsiteX5425" fmla="*/ 4324605 w 8079933"/>
              <a:gd name="connsiteY5425" fmla="*/ 3100977 h 4687251"/>
              <a:gd name="connsiteX5426" fmla="*/ 4323194 w 8079933"/>
              <a:gd name="connsiteY5426" fmla="*/ 3099028 h 4687251"/>
              <a:gd name="connsiteX5427" fmla="*/ 4322217 w 8079933"/>
              <a:gd name="connsiteY5427" fmla="*/ 3092315 h 4687251"/>
              <a:gd name="connsiteX5428" fmla="*/ 4324822 w 8079933"/>
              <a:gd name="connsiteY5428" fmla="*/ 3087227 h 4687251"/>
              <a:gd name="connsiteX5429" fmla="*/ 4332092 w 8079933"/>
              <a:gd name="connsiteY5429" fmla="*/ 3079648 h 4687251"/>
              <a:gd name="connsiteX5430" fmla="*/ 4332201 w 8079933"/>
              <a:gd name="connsiteY5430" fmla="*/ 3074450 h 4687251"/>
              <a:gd name="connsiteX5431" fmla="*/ 6316211 w 8079933"/>
              <a:gd name="connsiteY5431" fmla="*/ 3068281 h 4687251"/>
              <a:gd name="connsiteX5432" fmla="*/ 6321528 w 8079933"/>
              <a:gd name="connsiteY5432" fmla="*/ 3070012 h 4687251"/>
              <a:gd name="connsiteX5433" fmla="*/ 6328583 w 8079933"/>
              <a:gd name="connsiteY5433" fmla="*/ 3080190 h 4687251"/>
              <a:gd name="connsiteX5434" fmla="*/ 6328583 w 8079933"/>
              <a:gd name="connsiteY5434" fmla="*/ 3089068 h 4687251"/>
              <a:gd name="connsiteX5435" fmla="*/ 6322505 w 8079933"/>
              <a:gd name="connsiteY5435" fmla="*/ 3087228 h 4687251"/>
              <a:gd name="connsiteX5436" fmla="*/ 6316320 w 8079933"/>
              <a:gd name="connsiteY5436" fmla="*/ 3077916 h 4687251"/>
              <a:gd name="connsiteX5437" fmla="*/ 6311220 w 8079933"/>
              <a:gd name="connsiteY5437" fmla="*/ 3076076 h 4687251"/>
              <a:gd name="connsiteX5438" fmla="*/ 6311220 w 8079933"/>
              <a:gd name="connsiteY5438" fmla="*/ 3072287 h 4687251"/>
              <a:gd name="connsiteX5439" fmla="*/ 4647764 w 8079933"/>
              <a:gd name="connsiteY5439" fmla="*/ 3068173 h 4687251"/>
              <a:gd name="connsiteX5440" fmla="*/ 4641365 w 8079933"/>
              <a:gd name="connsiteY5440" fmla="*/ 3073909 h 4687251"/>
              <a:gd name="connsiteX5441" fmla="*/ 4636915 w 8079933"/>
              <a:gd name="connsiteY5441" fmla="*/ 3079323 h 4687251"/>
              <a:gd name="connsiteX5442" fmla="*/ 4633334 w 8079933"/>
              <a:gd name="connsiteY5442" fmla="*/ 3093722 h 4687251"/>
              <a:gd name="connsiteX5443" fmla="*/ 4632792 w 8079933"/>
              <a:gd name="connsiteY5443" fmla="*/ 3097403 h 4687251"/>
              <a:gd name="connsiteX5444" fmla="*/ 4632466 w 8079933"/>
              <a:gd name="connsiteY5444" fmla="*/ 3100111 h 4687251"/>
              <a:gd name="connsiteX5445" fmla="*/ 4633458 w 8079933"/>
              <a:gd name="connsiteY5445" fmla="*/ 3101680 h 4687251"/>
              <a:gd name="connsiteX5446" fmla="*/ 4632467 w 8079933"/>
              <a:gd name="connsiteY5446" fmla="*/ 3100111 h 4687251"/>
              <a:gd name="connsiteX5447" fmla="*/ 4632792 w 8079933"/>
              <a:gd name="connsiteY5447" fmla="*/ 3097405 h 4687251"/>
              <a:gd name="connsiteX5448" fmla="*/ 4634069 w 8079933"/>
              <a:gd name="connsiteY5448" fmla="*/ 3097086 h 4687251"/>
              <a:gd name="connsiteX5449" fmla="*/ 4632793 w 8079933"/>
              <a:gd name="connsiteY5449" fmla="*/ 3097404 h 4687251"/>
              <a:gd name="connsiteX5450" fmla="*/ 4633335 w 8079933"/>
              <a:gd name="connsiteY5450" fmla="*/ 3093723 h 4687251"/>
              <a:gd name="connsiteX5451" fmla="*/ 4636916 w 8079933"/>
              <a:gd name="connsiteY5451" fmla="*/ 3079323 h 4687251"/>
              <a:gd name="connsiteX5452" fmla="*/ 4641365 w 8079933"/>
              <a:gd name="connsiteY5452" fmla="*/ 3073909 h 4687251"/>
              <a:gd name="connsiteX5453" fmla="*/ 4645343 w 8079933"/>
              <a:gd name="connsiteY5453" fmla="*/ 3070354 h 4687251"/>
              <a:gd name="connsiteX5454" fmla="*/ 4641365 w 8079933"/>
              <a:gd name="connsiteY5454" fmla="*/ 3073909 h 4687251"/>
              <a:gd name="connsiteX5455" fmla="*/ 4647638 w 8079933"/>
              <a:gd name="connsiteY5455" fmla="*/ 3068288 h 4687251"/>
              <a:gd name="connsiteX5456" fmla="*/ 4655689 w 8079933"/>
              <a:gd name="connsiteY5456" fmla="*/ 3065789 h 4687251"/>
              <a:gd name="connsiteX5457" fmla="*/ 4651782 w 8079933"/>
              <a:gd name="connsiteY5457" fmla="*/ 3068929 h 4687251"/>
              <a:gd name="connsiteX5458" fmla="*/ 4647876 w 8079933"/>
              <a:gd name="connsiteY5458" fmla="*/ 3069686 h 4687251"/>
              <a:gd name="connsiteX5459" fmla="*/ 4646574 w 8079933"/>
              <a:gd name="connsiteY5459" fmla="*/ 3069254 h 4687251"/>
              <a:gd name="connsiteX5460" fmla="*/ 4647877 w 8079933"/>
              <a:gd name="connsiteY5460" fmla="*/ 3069687 h 4687251"/>
              <a:gd name="connsiteX5461" fmla="*/ 4651783 w 8079933"/>
              <a:gd name="connsiteY5461" fmla="*/ 3068929 h 4687251"/>
              <a:gd name="connsiteX5462" fmla="*/ 7182718 w 8079933"/>
              <a:gd name="connsiteY5462" fmla="*/ 3065574 h 4687251"/>
              <a:gd name="connsiteX5463" fmla="*/ 7185647 w 8079933"/>
              <a:gd name="connsiteY5463" fmla="*/ 3068713 h 4687251"/>
              <a:gd name="connsiteX5464" fmla="*/ 7182610 w 8079933"/>
              <a:gd name="connsiteY5464" fmla="*/ 3069363 h 4687251"/>
              <a:gd name="connsiteX5465" fmla="*/ 7179788 w 8079933"/>
              <a:gd name="connsiteY5465" fmla="*/ 3066548 h 4687251"/>
              <a:gd name="connsiteX5466" fmla="*/ 7089284 w 8079933"/>
              <a:gd name="connsiteY5466" fmla="*/ 3065357 h 4687251"/>
              <a:gd name="connsiteX5467" fmla="*/ 7092974 w 8079933"/>
              <a:gd name="connsiteY5467" fmla="*/ 3066764 h 4687251"/>
              <a:gd name="connsiteX5468" fmla="*/ 7091781 w 8079933"/>
              <a:gd name="connsiteY5468" fmla="*/ 3074776 h 4687251"/>
              <a:gd name="connsiteX5469" fmla="*/ 7089501 w 8079933"/>
              <a:gd name="connsiteY5469" fmla="*/ 3076400 h 4687251"/>
              <a:gd name="connsiteX5470" fmla="*/ 7084402 w 8079933"/>
              <a:gd name="connsiteY5470" fmla="*/ 3075317 h 4687251"/>
              <a:gd name="connsiteX5471" fmla="*/ 7084402 w 8079933"/>
              <a:gd name="connsiteY5471" fmla="*/ 3068930 h 4687251"/>
              <a:gd name="connsiteX5472" fmla="*/ 6569814 w 8079933"/>
              <a:gd name="connsiteY5472" fmla="*/ 3063733 h 4687251"/>
              <a:gd name="connsiteX5473" fmla="*/ 6576000 w 8079933"/>
              <a:gd name="connsiteY5473" fmla="*/ 3064816 h 4687251"/>
              <a:gd name="connsiteX5474" fmla="*/ 6578604 w 8079933"/>
              <a:gd name="connsiteY5474" fmla="*/ 3067306 h 4687251"/>
              <a:gd name="connsiteX5475" fmla="*/ 6580558 w 8079933"/>
              <a:gd name="connsiteY5475" fmla="*/ 3067955 h 4687251"/>
              <a:gd name="connsiteX5476" fmla="*/ 6580666 w 8079933"/>
              <a:gd name="connsiteY5476" fmla="*/ 3069687 h 4687251"/>
              <a:gd name="connsiteX5477" fmla="*/ 6575023 w 8079933"/>
              <a:gd name="connsiteY5477" fmla="*/ 3069363 h 4687251"/>
              <a:gd name="connsiteX5478" fmla="*/ 6572744 w 8079933"/>
              <a:gd name="connsiteY5478" fmla="*/ 3069471 h 4687251"/>
              <a:gd name="connsiteX5479" fmla="*/ 6569380 w 8079933"/>
              <a:gd name="connsiteY5479" fmla="*/ 3065573 h 4687251"/>
              <a:gd name="connsiteX5480" fmla="*/ 7081689 w 8079933"/>
              <a:gd name="connsiteY5480" fmla="*/ 3063408 h 4687251"/>
              <a:gd name="connsiteX5481" fmla="*/ 7086572 w 8079933"/>
              <a:gd name="connsiteY5481" fmla="*/ 3065248 h 4687251"/>
              <a:gd name="connsiteX5482" fmla="*/ 7080929 w 8079933"/>
              <a:gd name="connsiteY5482" fmla="*/ 3066331 h 4687251"/>
              <a:gd name="connsiteX5483" fmla="*/ 7077130 w 8079933"/>
              <a:gd name="connsiteY5483" fmla="*/ 3064382 h 4687251"/>
              <a:gd name="connsiteX5484" fmla="*/ 4669470 w 8079933"/>
              <a:gd name="connsiteY5484" fmla="*/ 3063299 h 4687251"/>
              <a:gd name="connsiteX5485" fmla="*/ 4665564 w 8079933"/>
              <a:gd name="connsiteY5485" fmla="*/ 3064056 h 4687251"/>
              <a:gd name="connsiteX5486" fmla="*/ 4665456 w 8079933"/>
              <a:gd name="connsiteY5486" fmla="*/ 3067305 h 4687251"/>
              <a:gd name="connsiteX5487" fmla="*/ 4663719 w 8079933"/>
              <a:gd name="connsiteY5487" fmla="*/ 3068929 h 4687251"/>
              <a:gd name="connsiteX5488" fmla="*/ 4663720 w 8079933"/>
              <a:gd name="connsiteY5488" fmla="*/ 3068929 h 4687251"/>
              <a:gd name="connsiteX5489" fmla="*/ 4665456 w 8079933"/>
              <a:gd name="connsiteY5489" fmla="*/ 3067305 h 4687251"/>
              <a:gd name="connsiteX5490" fmla="*/ 4665565 w 8079933"/>
              <a:gd name="connsiteY5490" fmla="*/ 3064056 h 4687251"/>
              <a:gd name="connsiteX5491" fmla="*/ 2160113 w 8079933"/>
              <a:gd name="connsiteY5491" fmla="*/ 3063149 h 4687251"/>
              <a:gd name="connsiteX5492" fmla="*/ 2159589 w 8079933"/>
              <a:gd name="connsiteY5492" fmla="*/ 3065573 h 4687251"/>
              <a:gd name="connsiteX5493" fmla="*/ 2158504 w 8079933"/>
              <a:gd name="connsiteY5493" fmla="*/ 3067738 h 4687251"/>
              <a:gd name="connsiteX5494" fmla="*/ 2159589 w 8079933"/>
              <a:gd name="connsiteY5494" fmla="*/ 3065574 h 4687251"/>
              <a:gd name="connsiteX5495" fmla="*/ 7090043 w 8079933"/>
              <a:gd name="connsiteY5495" fmla="*/ 3061784 h 4687251"/>
              <a:gd name="connsiteX5496" fmla="*/ 7088199 w 8079933"/>
              <a:gd name="connsiteY5496" fmla="*/ 3064707 h 4687251"/>
              <a:gd name="connsiteX5497" fmla="*/ 7086137 w 8079933"/>
              <a:gd name="connsiteY5497" fmla="*/ 3062433 h 4687251"/>
              <a:gd name="connsiteX5498" fmla="*/ 6998240 w 8079933"/>
              <a:gd name="connsiteY5498" fmla="*/ 3060918 h 4687251"/>
              <a:gd name="connsiteX5499" fmla="*/ 6999759 w 8079933"/>
              <a:gd name="connsiteY5499" fmla="*/ 3062109 h 4687251"/>
              <a:gd name="connsiteX5500" fmla="*/ 7001496 w 8079933"/>
              <a:gd name="connsiteY5500" fmla="*/ 3065573 h 4687251"/>
              <a:gd name="connsiteX5501" fmla="*/ 6996503 w 8079933"/>
              <a:gd name="connsiteY5501" fmla="*/ 3064166 h 4687251"/>
              <a:gd name="connsiteX5502" fmla="*/ 7196065 w 8079933"/>
              <a:gd name="connsiteY5502" fmla="*/ 3057561 h 4687251"/>
              <a:gd name="connsiteX5503" fmla="*/ 7202793 w 8079933"/>
              <a:gd name="connsiteY5503" fmla="*/ 3058752 h 4687251"/>
              <a:gd name="connsiteX5504" fmla="*/ 7206590 w 8079933"/>
              <a:gd name="connsiteY5504" fmla="*/ 3058752 h 4687251"/>
              <a:gd name="connsiteX5505" fmla="*/ 7210498 w 8079933"/>
              <a:gd name="connsiteY5505" fmla="*/ 3061350 h 4687251"/>
              <a:gd name="connsiteX5506" fmla="*/ 7213644 w 8079933"/>
              <a:gd name="connsiteY5506" fmla="*/ 3066331 h 4687251"/>
              <a:gd name="connsiteX5507" fmla="*/ 7217008 w 8079933"/>
              <a:gd name="connsiteY5507" fmla="*/ 3068063 h 4687251"/>
              <a:gd name="connsiteX5508" fmla="*/ 7219070 w 8079933"/>
              <a:gd name="connsiteY5508" fmla="*/ 3070121 h 4687251"/>
              <a:gd name="connsiteX5509" fmla="*/ 7213644 w 8079933"/>
              <a:gd name="connsiteY5509" fmla="*/ 3071095 h 4687251"/>
              <a:gd name="connsiteX5510" fmla="*/ 7211474 w 8079933"/>
              <a:gd name="connsiteY5510" fmla="*/ 3070121 h 4687251"/>
              <a:gd name="connsiteX5511" fmla="*/ 7210172 w 8079933"/>
              <a:gd name="connsiteY5511" fmla="*/ 3070121 h 4687251"/>
              <a:gd name="connsiteX5512" fmla="*/ 7206590 w 8079933"/>
              <a:gd name="connsiteY5512" fmla="*/ 3069363 h 4687251"/>
              <a:gd name="connsiteX5513" fmla="*/ 7207242 w 8079933"/>
              <a:gd name="connsiteY5513" fmla="*/ 3066331 h 4687251"/>
              <a:gd name="connsiteX5514" fmla="*/ 7203118 w 8079933"/>
              <a:gd name="connsiteY5514" fmla="*/ 3060809 h 4687251"/>
              <a:gd name="connsiteX5515" fmla="*/ 7200623 w 8079933"/>
              <a:gd name="connsiteY5515" fmla="*/ 3060701 h 4687251"/>
              <a:gd name="connsiteX5516" fmla="*/ 7200840 w 8079933"/>
              <a:gd name="connsiteY5516" fmla="*/ 3063408 h 4687251"/>
              <a:gd name="connsiteX5517" fmla="*/ 7196933 w 8079933"/>
              <a:gd name="connsiteY5517" fmla="*/ 3059402 h 4687251"/>
              <a:gd name="connsiteX5518" fmla="*/ 2180096 w 8079933"/>
              <a:gd name="connsiteY5518" fmla="*/ 3057150 h 4687251"/>
              <a:gd name="connsiteX5519" fmla="*/ 2180424 w 8079933"/>
              <a:gd name="connsiteY5519" fmla="*/ 3059834 h 4687251"/>
              <a:gd name="connsiteX5520" fmla="*/ 2184439 w 8079933"/>
              <a:gd name="connsiteY5520" fmla="*/ 3067305 h 4687251"/>
              <a:gd name="connsiteX5521" fmla="*/ 2187478 w 8079933"/>
              <a:gd name="connsiteY5521" fmla="*/ 3067305 h 4687251"/>
              <a:gd name="connsiteX5522" fmla="*/ 2198872 w 8079933"/>
              <a:gd name="connsiteY5522" fmla="*/ 3070987 h 4687251"/>
              <a:gd name="connsiteX5523" fmla="*/ 2203647 w 8079933"/>
              <a:gd name="connsiteY5523" fmla="*/ 3078132 h 4687251"/>
              <a:gd name="connsiteX5524" fmla="*/ 2203647 w 8079933"/>
              <a:gd name="connsiteY5524" fmla="*/ 3078131 h 4687251"/>
              <a:gd name="connsiteX5525" fmla="*/ 2198872 w 8079933"/>
              <a:gd name="connsiteY5525" fmla="*/ 3070986 h 4687251"/>
              <a:gd name="connsiteX5526" fmla="*/ 2187478 w 8079933"/>
              <a:gd name="connsiteY5526" fmla="*/ 3067305 h 4687251"/>
              <a:gd name="connsiteX5527" fmla="*/ 2184440 w 8079933"/>
              <a:gd name="connsiteY5527" fmla="*/ 3067305 h 4687251"/>
              <a:gd name="connsiteX5528" fmla="*/ 2180424 w 8079933"/>
              <a:gd name="connsiteY5528" fmla="*/ 3059834 h 4687251"/>
              <a:gd name="connsiteX5529" fmla="*/ 6454679 w 8079933"/>
              <a:gd name="connsiteY5529" fmla="*/ 3056262 h 4687251"/>
              <a:gd name="connsiteX5530" fmla="*/ 6458694 w 8079933"/>
              <a:gd name="connsiteY5530" fmla="*/ 3056262 h 4687251"/>
              <a:gd name="connsiteX5531" fmla="*/ 6460323 w 8079933"/>
              <a:gd name="connsiteY5531" fmla="*/ 3060701 h 4687251"/>
              <a:gd name="connsiteX5532" fmla="*/ 6456090 w 8079933"/>
              <a:gd name="connsiteY5532" fmla="*/ 3063191 h 4687251"/>
              <a:gd name="connsiteX5533" fmla="*/ 6452292 w 8079933"/>
              <a:gd name="connsiteY5533" fmla="*/ 3059402 h 4687251"/>
              <a:gd name="connsiteX5534" fmla="*/ 7006812 w 8079933"/>
              <a:gd name="connsiteY5534" fmla="*/ 3054530 h 4687251"/>
              <a:gd name="connsiteX5535" fmla="*/ 7009416 w 8079933"/>
              <a:gd name="connsiteY5535" fmla="*/ 3056479 h 4687251"/>
              <a:gd name="connsiteX5536" fmla="*/ 7009198 w 8079933"/>
              <a:gd name="connsiteY5536" fmla="*/ 3060052 h 4687251"/>
              <a:gd name="connsiteX5537" fmla="*/ 7012562 w 8079933"/>
              <a:gd name="connsiteY5537" fmla="*/ 3061460 h 4687251"/>
              <a:gd name="connsiteX5538" fmla="*/ 7013865 w 8079933"/>
              <a:gd name="connsiteY5538" fmla="*/ 3063408 h 4687251"/>
              <a:gd name="connsiteX5539" fmla="*/ 7011586 w 8079933"/>
              <a:gd name="connsiteY5539" fmla="*/ 3065682 h 4687251"/>
              <a:gd name="connsiteX5540" fmla="*/ 7009090 w 8079933"/>
              <a:gd name="connsiteY5540" fmla="*/ 3063300 h 4687251"/>
              <a:gd name="connsiteX5541" fmla="*/ 7004967 w 8079933"/>
              <a:gd name="connsiteY5541" fmla="*/ 3063408 h 4687251"/>
              <a:gd name="connsiteX5542" fmla="*/ 7002363 w 8079933"/>
              <a:gd name="connsiteY5542" fmla="*/ 3059403 h 4687251"/>
              <a:gd name="connsiteX5543" fmla="*/ 7002037 w 8079933"/>
              <a:gd name="connsiteY5543" fmla="*/ 3056587 h 4687251"/>
              <a:gd name="connsiteX5544" fmla="*/ 7003556 w 8079933"/>
              <a:gd name="connsiteY5544" fmla="*/ 3055179 h 4687251"/>
              <a:gd name="connsiteX5545" fmla="*/ 6863896 w 8079933"/>
              <a:gd name="connsiteY5545" fmla="*/ 3054530 h 4687251"/>
              <a:gd name="connsiteX5546" fmla="*/ 6866066 w 8079933"/>
              <a:gd name="connsiteY5546" fmla="*/ 3054530 h 4687251"/>
              <a:gd name="connsiteX5547" fmla="*/ 6869322 w 8079933"/>
              <a:gd name="connsiteY5547" fmla="*/ 3056479 h 4687251"/>
              <a:gd name="connsiteX5548" fmla="*/ 6865958 w 8079933"/>
              <a:gd name="connsiteY5548" fmla="*/ 3057237 h 4687251"/>
              <a:gd name="connsiteX5549" fmla="*/ 6307964 w 8079933"/>
              <a:gd name="connsiteY5549" fmla="*/ 3054530 h 4687251"/>
              <a:gd name="connsiteX5550" fmla="*/ 6311763 w 8079933"/>
              <a:gd name="connsiteY5550" fmla="*/ 3056154 h 4687251"/>
              <a:gd name="connsiteX5551" fmla="*/ 6311763 w 8079933"/>
              <a:gd name="connsiteY5551" fmla="*/ 3059619 h 4687251"/>
              <a:gd name="connsiteX5552" fmla="*/ 6308507 w 8079933"/>
              <a:gd name="connsiteY5552" fmla="*/ 3062975 h 4687251"/>
              <a:gd name="connsiteX5553" fmla="*/ 6305577 w 8079933"/>
              <a:gd name="connsiteY5553" fmla="*/ 3059727 h 4687251"/>
              <a:gd name="connsiteX5554" fmla="*/ 6567536 w 8079933"/>
              <a:gd name="connsiteY5554" fmla="*/ 3053339 h 4687251"/>
              <a:gd name="connsiteX5555" fmla="*/ 6573396 w 8079933"/>
              <a:gd name="connsiteY5555" fmla="*/ 3055071 h 4687251"/>
              <a:gd name="connsiteX5556" fmla="*/ 6574264 w 8079933"/>
              <a:gd name="connsiteY5556" fmla="*/ 3056370 h 4687251"/>
              <a:gd name="connsiteX5557" fmla="*/ 6571877 w 8079933"/>
              <a:gd name="connsiteY5557" fmla="*/ 3057778 h 4687251"/>
              <a:gd name="connsiteX5558" fmla="*/ 6567536 w 8079933"/>
              <a:gd name="connsiteY5558" fmla="*/ 3056262 h 4687251"/>
              <a:gd name="connsiteX5559" fmla="*/ 6566668 w 8079933"/>
              <a:gd name="connsiteY5559" fmla="*/ 3053988 h 4687251"/>
              <a:gd name="connsiteX5560" fmla="*/ 4281198 w 8079933"/>
              <a:gd name="connsiteY5560" fmla="*/ 3053230 h 4687251"/>
              <a:gd name="connsiteX5561" fmla="*/ 4281198 w 8079933"/>
              <a:gd name="connsiteY5561" fmla="*/ 3053230 h 4687251"/>
              <a:gd name="connsiteX5562" fmla="*/ 4283693 w 8079933"/>
              <a:gd name="connsiteY5562" fmla="*/ 3055612 h 4687251"/>
              <a:gd name="connsiteX5563" fmla="*/ 4283588 w 8079933"/>
              <a:gd name="connsiteY5563" fmla="*/ 3057987 h 4687251"/>
              <a:gd name="connsiteX5564" fmla="*/ 4283694 w 8079933"/>
              <a:gd name="connsiteY5564" fmla="*/ 3055612 h 4687251"/>
              <a:gd name="connsiteX5565" fmla="*/ 6996828 w 8079933"/>
              <a:gd name="connsiteY5565" fmla="*/ 3052472 h 4687251"/>
              <a:gd name="connsiteX5566" fmla="*/ 6999541 w 8079933"/>
              <a:gd name="connsiteY5566" fmla="*/ 3052580 h 4687251"/>
              <a:gd name="connsiteX5567" fmla="*/ 6999650 w 8079933"/>
              <a:gd name="connsiteY5567" fmla="*/ 3054961 h 4687251"/>
              <a:gd name="connsiteX5568" fmla="*/ 6998347 w 8079933"/>
              <a:gd name="connsiteY5568" fmla="*/ 3058209 h 4687251"/>
              <a:gd name="connsiteX5569" fmla="*/ 6995417 w 8079933"/>
              <a:gd name="connsiteY5569" fmla="*/ 3057127 h 4687251"/>
              <a:gd name="connsiteX5570" fmla="*/ 6871165 w 8079933"/>
              <a:gd name="connsiteY5570" fmla="*/ 3052365 h 4687251"/>
              <a:gd name="connsiteX5571" fmla="*/ 6871057 w 8079933"/>
              <a:gd name="connsiteY5571" fmla="*/ 3054963 h 4687251"/>
              <a:gd name="connsiteX5572" fmla="*/ 6867259 w 8079933"/>
              <a:gd name="connsiteY5572" fmla="*/ 3053448 h 4687251"/>
              <a:gd name="connsiteX5573" fmla="*/ 7129328 w 8079933"/>
              <a:gd name="connsiteY5573" fmla="*/ 3050308 h 4687251"/>
              <a:gd name="connsiteX5574" fmla="*/ 7141590 w 8079933"/>
              <a:gd name="connsiteY5574" fmla="*/ 3054963 h 4687251"/>
              <a:gd name="connsiteX5575" fmla="*/ 7149186 w 8079933"/>
              <a:gd name="connsiteY5575" fmla="*/ 3060160 h 4687251"/>
              <a:gd name="connsiteX5576" fmla="*/ 7156891 w 8079933"/>
              <a:gd name="connsiteY5576" fmla="*/ 3059835 h 4687251"/>
              <a:gd name="connsiteX5577" fmla="*/ 7164813 w 8079933"/>
              <a:gd name="connsiteY5577" fmla="*/ 3060485 h 4687251"/>
              <a:gd name="connsiteX5578" fmla="*/ 7166766 w 8079933"/>
              <a:gd name="connsiteY5578" fmla="*/ 3062542 h 4687251"/>
              <a:gd name="connsiteX5579" fmla="*/ 7165139 w 8079933"/>
              <a:gd name="connsiteY5579" fmla="*/ 3065141 h 4687251"/>
              <a:gd name="connsiteX5580" fmla="*/ 7165139 w 8079933"/>
              <a:gd name="connsiteY5580" fmla="*/ 3070987 h 4687251"/>
              <a:gd name="connsiteX5581" fmla="*/ 7169261 w 8079933"/>
              <a:gd name="connsiteY5581" fmla="*/ 3074344 h 4687251"/>
              <a:gd name="connsiteX5582" fmla="*/ 7170889 w 8079933"/>
              <a:gd name="connsiteY5582" fmla="*/ 3078675 h 4687251"/>
              <a:gd name="connsiteX5583" fmla="*/ 7167959 w 8079933"/>
              <a:gd name="connsiteY5583" fmla="*/ 3083005 h 4687251"/>
              <a:gd name="connsiteX5584" fmla="*/ 7165355 w 8079933"/>
              <a:gd name="connsiteY5584" fmla="*/ 3087444 h 4687251"/>
              <a:gd name="connsiteX5585" fmla="*/ 7167092 w 8079933"/>
              <a:gd name="connsiteY5585" fmla="*/ 3093832 h 4687251"/>
              <a:gd name="connsiteX5586" fmla="*/ 7167416 w 8079933"/>
              <a:gd name="connsiteY5586" fmla="*/ 3104768 h 4687251"/>
              <a:gd name="connsiteX5587" fmla="*/ 7170564 w 8079933"/>
              <a:gd name="connsiteY5587" fmla="*/ 3110181 h 4687251"/>
              <a:gd name="connsiteX5588" fmla="*/ 7173277 w 8079933"/>
              <a:gd name="connsiteY5588" fmla="*/ 3113538 h 4687251"/>
              <a:gd name="connsiteX5589" fmla="*/ 7175230 w 8079933"/>
              <a:gd name="connsiteY5589" fmla="*/ 3113754 h 4687251"/>
              <a:gd name="connsiteX5590" fmla="*/ 7174687 w 8079933"/>
              <a:gd name="connsiteY5590" fmla="*/ 3107799 h 4687251"/>
              <a:gd name="connsiteX5591" fmla="*/ 7176857 w 8079933"/>
              <a:gd name="connsiteY5591" fmla="*/ 3105309 h 4687251"/>
              <a:gd name="connsiteX5592" fmla="*/ 7179679 w 8079933"/>
              <a:gd name="connsiteY5592" fmla="*/ 3107042 h 4687251"/>
              <a:gd name="connsiteX5593" fmla="*/ 7179462 w 8079933"/>
              <a:gd name="connsiteY5593" fmla="*/ 3111914 h 4687251"/>
              <a:gd name="connsiteX5594" fmla="*/ 7181090 w 8079933"/>
              <a:gd name="connsiteY5594" fmla="*/ 3116569 h 4687251"/>
              <a:gd name="connsiteX5595" fmla="*/ 7182609 w 8079933"/>
              <a:gd name="connsiteY5595" fmla="*/ 3115487 h 4687251"/>
              <a:gd name="connsiteX5596" fmla="*/ 7184129 w 8079933"/>
              <a:gd name="connsiteY5596" fmla="*/ 3119817 h 4687251"/>
              <a:gd name="connsiteX5597" fmla="*/ 7189446 w 8079933"/>
              <a:gd name="connsiteY5597" fmla="*/ 3124040 h 4687251"/>
              <a:gd name="connsiteX5598" fmla="*/ 7192268 w 8079933"/>
              <a:gd name="connsiteY5598" fmla="*/ 3126963 h 4687251"/>
              <a:gd name="connsiteX5599" fmla="*/ 7196174 w 8079933"/>
              <a:gd name="connsiteY5599" fmla="*/ 3126963 h 4687251"/>
              <a:gd name="connsiteX5600" fmla="*/ 7200840 w 8079933"/>
              <a:gd name="connsiteY5600" fmla="*/ 3124906 h 4687251"/>
              <a:gd name="connsiteX5601" fmla="*/ 7202033 w 8079933"/>
              <a:gd name="connsiteY5601" fmla="*/ 3120684 h 4687251"/>
              <a:gd name="connsiteX5602" fmla="*/ 7204638 w 8079933"/>
              <a:gd name="connsiteY5602" fmla="*/ 3118518 h 4687251"/>
              <a:gd name="connsiteX5603" fmla="*/ 7207351 w 8079933"/>
              <a:gd name="connsiteY5603" fmla="*/ 3117544 h 4687251"/>
              <a:gd name="connsiteX5604" fmla="*/ 7207351 w 8079933"/>
              <a:gd name="connsiteY5604" fmla="*/ 3111589 h 4687251"/>
              <a:gd name="connsiteX5605" fmla="*/ 7210390 w 8079933"/>
              <a:gd name="connsiteY5605" fmla="*/ 3106717 h 4687251"/>
              <a:gd name="connsiteX5606" fmla="*/ 7215056 w 8079933"/>
              <a:gd name="connsiteY5606" fmla="*/ 3106283 h 4687251"/>
              <a:gd name="connsiteX5607" fmla="*/ 7219613 w 8079933"/>
              <a:gd name="connsiteY5607" fmla="*/ 3103577 h 4687251"/>
              <a:gd name="connsiteX5608" fmla="*/ 7220156 w 8079933"/>
              <a:gd name="connsiteY5608" fmla="*/ 3099246 h 4687251"/>
              <a:gd name="connsiteX5609" fmla="*/ 7221784 w 8079933"/>
              <a:gd name="connsiteY5609" fmla="*/ 3096755 h 4687251"/>
              <a:gd name="connsiteX5610" fmla="*/ 7223954 w 8079933"/>
              <a:gd name="connsiteY5610" fmla="*/ 3097730 h 4687251"/>
              <a:gd name="connsiteX5611" fmla="*/ 7226884 w 8079933"/>
              <a:gd name="connsiteY5611" fmla="*/ 3097514 h 4687251"/>
              <a:gd name="connsiteX5612" fmla="*/ 7231333 w 8079933"/>
              <a:gd name="connsiteY5612" fmla="*/ 3095889 h 4687251"/>
              <a:gd name="connsiteX5613" fmla="*/ 7238279 w 8079933"/>
              <a:gd name="connsiteY5613" fmla="*/ 3095024 h 4687251"/>
              <a:gd name="connsiteX5614" fmla="*/ 7239146 w 8079933"/>
              <a:gd name="connsiteY5614" fmla="*/ 3091559 h 4687251"/>
              <a:gd name="connsiteX5615" fmla="*/ 7236976 w 8079933"/>
              <a:gd name="connsiteY5615" fmla="*/ 3087336 h 4687251"/>
              <a:gd name="connsiteX5616" fmla="*/ 7237844 w 8079933"/>
              <a:gd name="connsiteY5616" fmla="*/ 3085063 h 4687251"/>
              <a:gd name="connsiteX5617" fmla="*/ 7249673 w 8079933"/>
              <a:gd name="connsiteY5617" fmla="*/ 3078025 h 4687251"/>
              <a:gd name="connsiteX5618" fmla="*/ 7255316 w 8079933"/>
              <a:gd name="connsiteY5618" fmla="*/ 3078566 h 4687251"/>
              <a:gd name="connsiteX5619" fmla="*/ 7259222 w 8079933"/>
              <a:gd name="connsiteY5619" fmla="*/ 3082140 h 4687251"/>
              <a:gd name="connsiteX5620" fmla="*/ 7266493 w 8079933"/>
              <a:gd name="connsiteY5620" fmla="*/ 3085279 h 4687251"/>
              <a:gd name="connsiteX5621" fmla="*/ 7274957 w 8079933"/>
              <a:gd name="connsiteY5621" fmla="*/ 3087228 h 4687251"/>
              <a:gd name="connsiteX5622" fmla="*/ 7279515 w 8079933"/>
              <a:gd name="connsiteY5622" fmla="*/ 3091017 h 4687251"/>
              <a:gd name="connsiteX5623" fmla="*/ 7284290 w 8079933"/>
              <a:gd name="connsiteY5623" fmla="*/ 3091450 h 4687251"/>
              <a:gd name="connsiteX5624" fmla="*/ 7290366 w 8079933"/>
              <a:gd name="connsiteY5624" fmla="*/ 3093183 h 4687251"/>
              <a:gd name="connsiteX5625" fmla="*/ 7304148 w 8079933"/>
              <a:gd name="connsiteY5625" fmla="*/ 3099462 h 4687251"/>
              <a:gd name="connsiteX5626" fmla="*/ 7307729 w 8079933"/>
              <a:gd name="connsiteY5626" fmla="*/ 3098813 h 4687251"/>
              <a:gd name="connsiteX5627" fmla="*/ 7310984 w 8079933"/>
              <a:gd name="connsiteY5627" fmla="*/ 3099354 h 4687251"/>
              <a:gd name="connsiteX5628" fmla="*/ 7316953 w 8079933"/>
              <a:gd name="connsiteY5628" fmla="*/ 3100762 h 4687251"/>
              <a:gd name="connsiteX5629" fmla="*/ 7321293 w 8079933"/>
              <a:gd name="connsiteY5629" fmla="*/ 3100654 h 4687251"/>
              <a:gd name="connsiteX5630" fmla="*/ 7324766 w 8079933"/>
              <a:gd name="connsiteY5630" fmla="*/ 3103144 h 4687251"/>
              <a:gd name="connsiteX5631" fmla="*/ 7324115 w 8079933"/>
              <a:gd name="connsiteY5631" fmla="*/ 3105201 h 4687251"/>
              <a:gd name="connsiteX5632" fmla="*/ 7324332 w 8079933"/>
              <a:gd name="connsiteY5632" fmla="*/ 3107799 h 4687251"/>
              <a:gd name="connsiteX5633" fmla="*/ 7327370 w 8079933"/>
              <a:gd name="connsiteY5633" fmla="*/ 3108774 h 4687251"/>
              <a:gd name="connsiteX5634" fmla="*/ 7331277 w 8079933"/>
              <a:gd name="connsiteY5634" fmla="*/ 3107691 h 4687251"/>
              <a:gd name="connsiteX5635" fmla="*/ 7331384 w 8079933"/>
              <a:gd name="connsiteY5635" fmla="*/ 3107691 h 4687251"/>
              <a:gd name="connsiteX5636" fmla="*/ 7331384 w 8079933"/>
              <a:gd name="connsiteY5636" fmla="*/ 3107690 h 4687251"/>
              <a:gd name="connsiteX5637" fmla="*/ 7335616 w 8079933"/>
              <a:gd name="connsiteY5637" fmla="*/ 3107906 h 4687251"/>
              <a:gd name="connsiteX5638" fmla="*/ 7343429 w 8079933"/>
              <a:gd name="connsiteY5638" fmla="*/ 3111263 h 4687251"/>
              <a:gd name="connsiteX5639" fmla="*/ 7348096 w 8079933"/>
              <a:gd name="connsiteY5639" fmla="*/ 3112995 h 4687251"/>
              <a:gd name="connsiteX5640" fmla="*/ 7350267 w 8079933"/>
              <a:gd name="connsiteY5640" fmla="*/ 3115269 h 4687251"/>
              <a:gd name="connsiteX5641" fmla="*/ 7359599 w 8079933"/>
              <a:gd name="connsiteY5641" fmla="*/ 3119058 h 4687251"/>
              <a:gd name="connsiteX5642" fmla="*/ 7361226 w 8079933"/>
              <a:gd name="connsiteY5642" fmla="*/ 3118192 h 4687251"/>
              <a:gd name="connsiteX5643" fmla="*/ 7363614 w 8079933"/>
              <a:gd name="connsiteY5643" fmla="*/ 3118192 h 4687251"/>
              <a:gd name="connsiteX5644" fmla="*/ 7366110 w 8079933"/>
              <a:gd name="connsiteY5644" fmla="*/ 3121332 h 4687251"/>
              <a:gd name="connsiteX5645" fmla="*/ 7371101 w 8079933"/>
              <a:gd name="connsiteY5645" fmla="*/ 3123389 h 4687251"/>
              <a:gd name="connsiteX5646" fmla="*/ 7384015 w 8079933"/>
              <a:gd name="connsiteY5646" fmla="*/ 3124580 h 4687251"/>
              <a:gd name="connsiteX5647" fmla="*/ 7392805 w 8079933"/>
              <a:gd name="connsiteY5647" fmla="*/ 3129885 h 4687251"/>
              <a:gd name="connsiteX5648" fmla="*/ 7398231 w 8079933"/>
              <a:gd name="connsiteY5648" fmla="*/ 3131185 h 4687251"/>
              <a:gd name="connsiteX5649" fmla="*/ 7403221 w 8079933"/>
              <a:gd name="connsiteY5649" fmla="*/ 3135082 h 4687251"/>
              <a:gd name="connsiteX5650" fmla="*/ 7408540 w 8079933"/>
              <a:gd name="connsiteY5650" fmla="*/ 3135516 h 4687251"/>
              <a:gd name="connsiteX5651" fmla="*/ 7412988 w 8079933"/>
              <a:gd name="connsiteY5651" fmla="*/ 3137789 h 4687251"/>
              <a:gd name="connsiteX5652" fmla="*/ 7414942 w 8079933"/>
              <a:gd name="connsiteY5652" fmla="*/ 3137139 h 4687251"/>
              <a:gd name="connsiteX5653" fmla="*/ 7417546 w 8079933"/>
              <a:gd name="connsiteY5653" fmla="*/ 3140604 h 4687251"/>
              <a:gd name="connsiteX5654" fmla="*/ 7422538 w 8079933"/>
              <a:gd name="connsiteY5654" fmla="*/ 3141579 h 4687251"/>
              <a:gd name="connsiteX5655" fmla="*/ 7423949 w 8079933"/>
              <a:gd name="connsiteY5655" fmla="*/ 3145044 h 4687251"/>
              <a:gd name="connsiteX5656" fmla="*/ 7428290 w 8079933"/>
              <a:gd name="connsiteY5656" fmla="*/ 3148183 h 4687251"/>
              <a:gd name="connsiteX5657" fmla="*/ 7430135 w 8079933"/>
              <a:gd name="connsiteY5657" fmla="*/ 3151864 h 4687251"/>
              <a:gd name="connsiteX5658" fmla="*/ 7432956 w 8079933"/>
              <a:gd name="connsiteY5658" fmla="*/ 3150673 h 4687251"/>
              <a:gd name="connsiteX5659" fmla="*/ 7435018 w 8079933"/>
              <a:gd name="connsiteY5659" fmla="*/ 3150348 h 4687251"/>
              <a:gd name="connsiteX5660" fmla="*/ 7443699 w 8079933"/>
              <a:gd name="connsiteY5660" fmla="*/ 3159443 h 4687251"/>
              <a:gd name="connsiteX5661" fmla="*/ 7446737 w 8079933"/>
              <a:gd name="connsiteY5661" fmla="*/ 3163341 h 4687251"/>
              <a:gd name="connsiteX5662" fmla="*/ 7446195 w 8079933"/>
              <a:gd name="connsiteY5662" fmla="*/ 3167563 h 4687251"/>
              <a:gd name="connsiteX5663" fmla="*/ 7442939 w 8079933"/>
              <a:gd name="connsiteY5663" fmla="*/ 3172977 h 4687251"/>
              <a:gd name="connsiteX5664" fmla="*/ 7444133 w 8079933"/>
              <a:gd name="connsiteY5664" fmla="*/ 3176225 h 4687251"/>
              <a:gd name="connsiteX5665" fmla="*/ 7455744 w 8079933"/>
              <a:gd name="connsiteY5665" fmla="*/ 3180339 h 4687251"/>
              <a:gd name="connsiteX5666" fmla="*/ 7460519 w 8079933"/>
              <a:gd name="connsiteY5666" fmla="*/ 3179798 h 4687251"/>
              <a:gd name="connsiteX5667" fmla="*/ 7464751 w 8079933"/>
              <a:gd name="connsiteY5667" fmla="*/ 3184345 h 4687251"/>
              <a:gd name="connsiteX5668" fmla="*/ 7473324 w 8079933"/>
              <a:gd name="connsiteY5668" fmla="*/ 3187918 h 4687251"/>
              <a:gd name="connsiteX5669" fmla="*/ 7478749 w 8079933"/>
              <a:gd name="connsiteY5669" fmla="*/ 3190517 h 4687251"/>
              <a:gd name="connsiteX5670" fmla="*/ 7480920 w 8079933"/>
              <a:gd name="connsiteY5670" fmla="*/ 3189001 h 4687251"/>
              <a:gd name="connsiteX5671" fmla="*/ 7485912 w 8079933"/>
              <a:gd name="connsiteY5671" fmla="*/ 3189976 h 4687251"/>
              <a:gd name="connsiteX5672" fmla="*/ 7492748 w 8079933"/>
              <a:gd name="connsiteY5672" fmla="*/ 3197121 h 4687251"/>
              <a:gd name="connsiteX5673" fmla="*/ 7493183 w 8079933"/>
              <a:gd name="connsiteY5673" fmla="*/ 3202101 h 4687251"/>
              <a:gd name="connsiteX5674" fmla="*/ 7490687 w 8079933"/>
              <a:gd name="connsiteY5674" fmla="*/ 3206325 h 4687251"/>
              <a:gd name="connsiteX5675" fmla="*/ 7482113 w 8079933"/>
              <a:gd name="connsiteY5675" fmla="*/ 3210764 h 4687251"/>
              <a:gd name="connsiteX5676" fmla="*/ 7472347 w 8079933"/>
              <a:gd name="connsiteY5676" fmla="*/ 3209897 h 4687251"/>
              <a:gd name="connsiteX5677" fmla="*/ 7471804 w 8079933"/>
              <a:gd name="connsiteY5677" fmla="*/ 3211846 h 4687251"/>
              <a:gd name="connsiteX5678" fmla="*/ 7474517 w 8079933"/>
              <a:gd name="connsiteY5678" fmla="*/ 3216826 h 4687251"/>
              <a:gd name="connsiteX5679" fmla="*/ 7478207 w 8079933"/>
              <a:gd name="connsiteY5679" fmla="*/ 3219858 h 4687251"/>
              <a:gd name="connsiteX5680" fmla="*/ 7479292 w 8079933"/>
              <a:gd name="connsiteY5680" fmla="*/ 3225380 h 4687251"/>
              <a:gd name="connsiteX5681" fmla="*/ 7484501 w 8079933"/>
              <a:gd name="connsiteY5681" fmla="*/ 3230793 h 4687251"/>
              <a:gd name="connsiteX5682" fmla="*/ 7487105 w 8079933"/>
              <a:gd name="connsiteY5682" fmla="*/ 3235882 h 4687251"/>
              <a:gd name="connsiteX5683" fmla="*/ 7490470 w 8079933"/>
              <a:gd name="connsiteY5683" fmla="*/ 3237723 h 4687251"/>
              <a:gd name="connsiteX5684" fmla="*/ 7495678 w 8079933"/>
              <a:gd name="connsiteY5684" fmla="*/ 3237723 h 4687251"/>
              <a:gd name="connsiteX5685" fmla="*/ 7496980 w 8079933"/>
              <a:gd name="connsiteY5685" fmla="*/ 3241296 h 4687251"/>
              <a:gd name="connsiteX5686" fmla="*/ 7499259 w 8079933"/>
              <a:gd name="connsiteY5686" fmla="*/ 3242270 h 4687251"/>
              <a:gd name="connsiteX5687" fmla="*/ 7503599 w 8079933"/>
              <a:gd name="connsiteY5687" fmla="*/ 3252880 h 4687251"/>
              <a:gd name="connsiteX5688" fmla="*/ 7507181 w 8079933"/>
              <a:gd name="connsiteY5688" fmla="*/ 3254613 h 4687251"/>
              <a:gd name="connsiteX5689" fmla="*/ 7508049 w 8079933"/>
              <a:gd name="connsiteY5689" fmla="*/ 3261217 h 4687251"/>
              <a:gd name="connsiteX5690" fmla="*/ 7512281 w 8079933"/>
              <a:gd name="connsiteY5690" fmla="*/ 3265765 h 4687251"/>
              <a:gd name="connsiteX5691" fmla="*/ 7514886 w 8079933"/>
              <a:gd name="connsiteY5691" fmla="*/ 3265657 h 4687251"/>
              <a:gd name="connsiteX5692" fmla="*/ 7518575 w 8079933"/>
              <a:gd name="connsiteY5692" fmla="*/ 3266523 h 4687251"/>
              <a:gd name="connsiteX5693" fmla="*/ 7520420 w 8079933"/>
              <a:gd name="connsiteY5693" fmla="*/ 3264898 h 4687251"/>
              <a:gd name="connsiteX5694" fmla="*/ 7523458 w 8079933"/>
              <a:gd name="connsiteY5694" fmla="*/ 3265007 h 4687251"/>
              <a:gd name="connsiteX5695" fmla="*/ 7526063 w 8079933"/>
              <a:gd name="connsiteY5695" fmla="*/ 3267714 h 4687251"/>
              <a:gd name="connsiteX5696" fmla="*/ 7524760 w 8079933"/>
              <a:gd name="connsiteY5696" fmla="*/ 3270745 h 4687251"/>
              <a:gd name="connsiteX5697" fmla="*/ 7522048 w 8079933"/>
              <a:gd name="connsiteY5697" fmla="*/ 3273777 h 4687251"/>
              <a:gd name="connsiteX5698" fmla="*/ 7522156 w 8079933"/>
              <a:gd name="connsiteY5698" fmla="*/ 3277350 h 4687251"/>
              <a:gd name="connsiteX5699" fmla="*/ 7525195 w 8079933"/>
              <a:gd name="connsiteY5699" fmla="*/ 3279948 h 4687251"/>
              <a:gd name="connsiteX5700" fmla="*/ 7533008 w 8079933"/>
              <a:gd name="connsiteY5700" fmla="*/ 3281139 h 4687251"/>
              <a:gd name="connsiteX5701" fmla="*/ 7541038 w 8079933"/>
              <a:gd name="connsiteY5701" fmla="*/ 3281139 h 4687251"/>
              <a:gd name="connsiteX5702" fmla="*/ 7544293 w 8079933"/>
              <a:gd name="connsiteY5702" fmla="*/ 3283088 h 4687251"/>
              <a:gd name="connsiteX5703" fmla="*/ 7542124 w 8079933"/>
              <a:gd name="connsiteY5703" fmla="*/ 3284820 h 4687251"/>
              <a:gd name="connsiteX5704" fmla="*/ 7538759 w 8079933"/>
              <a:gd name="connsiteY5704" fmla="*/ 3284604 h 4687251"/>
              <a:gd name="connsiteX5705" fmla="*/ 7533116 w 8079933"/>
              <a:gd name="connsiteY5705" fmla="*/ 3286986 h 4687251"/>
              <a:gd name="connsiteX5706" fmla="*/ 7535396 w 8079933"/>
              <a:gd name="connsiteY5706" fmla="*/ 3289692 h 4687251"/>
              <a:gd name="connsiteX5707" fmla="*/ 7541689 w 8079933"/>
              <a:gd name="connsiteY5707" fmla="*/ 3293049 h 4687251"/>
              <a:gd name="connsiteX5708" fmla="*/ 7551998 w 8079933"/>
              <a:gd name="connsiteY5708" fmla="*/ 3294348 h 4687251"/>
              <a:gd name="connsiteX5709" fmla="*/ 7561005 w 8079933"/>
              <a:gd name="connsiteY5709" fmla="*/ 3296081 h 4687251"/>
              <a:gd name="connsiteX5710" fmla="*/ 7556882 w 8079933"/>
              <a:gd name="connsiteY5710" fmla="*/ 3298896 h 4687251"/>
              <a:gd name="connsiteX5711" fmla="*/ 7552975 w 8079933"/>
              <a:gd name="connsiteY5711" fmla="*/ 3297271 h 4687251"/>
              <a:gd name="connsiteX5712" fmla="*/ 7548743 w 8079933"/>
              <a:gd name="connsiteY5712" fmla="*/ 3298787 h 4687251"/>
              <a:gd name="connsiteX5713" fmla="*/ 7548743 w 8079933"/>
              <a:gd name="connsiteY5713" fmla="*/ 3300844 h 4687251"/>
              <a:gd name="connsiteX5714" fmla="*/ 7550587 w 8079933"/>
              <a:gd name="connsiteY5714" fmla="*/ 3300953 h 4687251"/>
              <a:gd name="connsiteX5715" fmla="*/ 7556448 w 8079933"/>
              <a:gd name="connsiteY5715" fmla="*/ 3304418 h 4687251"/>
              <a:gd name="connsiteX5716" fmla="*/ 7555037 w 8079933"/>
              <a:gd name="connsiteY5716" fmla="*/ 3307449 h 4687251"/>
              <a:gd name="connsiteX5717" fmla="*/ 7549611 w 8079933"/>
              <a:gd name="connsiteY5717" fmla="*/ 3308856 h 4687251"/>
              <a:gd name="connsiteX5718" fmla="*/ 7544185 w 8079933"/>
              <a:gd name="connsiteY5718" fmla="*/ 3305608 h 4687251"/>
              <a:gd name="connsiteX5719" fmla="*/ 7539411 w 8079933"/>
              <a:gd name="connsiteY5719" fmla="*/ 3304418 h 4687251"/>
              <a:gd name="connsiteX5720" fmla="*/ 7542124 w 8079933"/>
              <a:gd name="connsiteY5720" fmla="*/ 3302360 h 4687251"/>
              <a:gd name="connsiteX5721" fmla="*/ 7541364 w 8079933"/>
              <a:gd name="connsiteY5721" fmla="*/ 3300844 h 4687251"/>
              <a:gd name="connsiteX5722" fmla="*/ 7536480 w 8079933"/>
              <a:gd name="connsiteY5722" fmla="*/ 3301061 h 4687251"/>
              <a:gd name="connsiteX5723" fmla="*/ 7534093 w 8079933"/>
              <a:gd name="connsiteY5723" fmla="*/ 3298138 h 4687251"/>
              <a:gd name="connsiteX5724" fmla="*/ 7528776 w 8079933"/>
              <a:gd name="connsiteY5724" fmla="*/ 3299004 h 4687251"/>
              <a:gd name="connsiteX5725" fmla="*/ 7525303 w 8079933"/>
              <a:gd name="connsiteY5725" fmla="*/ 3296947 h 4687251"/>
              <a:gd name="connsiteX5726" fmla="*/ 7517924 w 8079933"/>
              <a:gd name="connsiteY5726" fmla="*/ 3295648 h 4687251"/>
              <a:gd name="connsiteX5727" fmla="*/ 7513692 w 8079933"/>
              <a:gd name="connsiteY5727" fmla="*/ 3295973 h 4687251"/>
              <a:gd name="connsiteX5728" fmla="*/ 7508700 w 8079933"/>
              <a:gd name="connsiteY5728" fmla="*/ 3294023 h 4687251"/>
              <a:gd name="connsiteX5729" fmla="*/ 7501430 w 8079933"/>
              <a:gd name="connsiteY5729" fmla="*/ 3295106 h 4687251"/>
              <a:gd name="connsiteX5730" fmla="*/ 7497632 w 8079933"/>
              <a:gd name="connsiteY5730" fmla="*/ 3293591 h 4687251"/>
              <a:gd name="connsiteX5731" fmla="*/ 7495244 w 8079933"/>
              <a:gd name="connsiteY5731" fmla="*/ 3293591 h 4687251"/>
              <a:gd name="connsiteX5732" fmla="*/ 7492640 w 8079933"/>
              <a:gd name="connsiteY5732" fmla="*/ 3294565 h 4687251"/>
              <a:gd name="connsiteX5733" fmla="*/ 7485912 w 8079933"/>
              <a:gd name="connsiteY5733" fmla="*/ 3292291 h 4687251"/>
              <a:gd name="connsiteX5734" fmla="*/ 7481571 w 8079933"/>
              <a:gd name="connsiteY5734" fmla="*/ 3289367 h 4687251"/>
              <a:gd name="connsiteX5735" fmla="*/ 7481245 w 8079933"/>
              <a:gd name="connsiteY5735" fmla="*/ 3285795 h 4687251"/>
              <a:gd name="connsiteX5736" fmla="*/ 7470177 w 8079933"/>
              <a:gd name="connsiteY5736" fmla="*/ 3274426 h 4687251"/>
              <a:gd name="connsiteX5737" fmla="*/ 7469308 w 8079933"/>
              <a:gd name="connsiteY5737" fmla="*/ 3271720 h 4687251"/>
              <a:gd name="connsiteX5738" fmla="*/ 7466813 w 8079933"/>
              <a:gd name="connsiteY5738" fmla="*/ 3267930 h 4687251"/>
              <a:gd name="connsiteX5739" fmla="*/ 7462255 w 8079933"/>
              <a:gd name="connsiteY5739" fmla="*/ 3266739 h 4687251"/>
              <a:gd name="connsiteX5740" fmla="*/ 7461279 w 8079933"/>
              <a:gd name="connsiteY5740" fmla="*/ 3263491 h 4687251"/>
              <a:gd name="connsiteX5741" fmla="*/ 7454876 w 8079933"/>
              <a:gd name="connsiteY5741" fmla="*/ 3255371 h 4687251"/>
              <a:gd name="connsiteX5742" fmla="*/ 7452922 w 8079933"/>
              <a:gd name="connsiteY5742" fmla="*/ 3248766 h 4687251"/>
              <a:gd name="connsiteX5743" fmla="*/ 7449341 w 8079933"/>
              <a:gd name="connsiteY5743" fmla="*/ 3244435 h 4687251"/>
              <a:gd name="connsiteX5744" fmla="*/ 7445435 w 8079933"/>
              <a:gd name="connsiteY5744" fmla="*/ 3242270 h 4687251"/>
              <a:gd name="connsiteX5745" fmla="*/ 7432412 w 8079933"/>
              <a:gd name="connsiteY5745" fmla="*/ 3239239 h 4687251"/>
              <a:gd name="connsiteX5746" fmla="*/ 7429375 w 8079933"/>
              <a:gd name="connsiteY5746" fmla="*/ 3236099 h 4687251"/>
              <a:gd name="connsiteX5747" fmla="*/ 7426879 w 8079933"/>
              <a:gd name="connsiteY5747" fmla="*/ 3235449 h 4687251"/>
              <a:gd name="connsiteX5748" fmla="*/ 7426770 w 8079933"/>
              <a:gd name="connsiteY5748" fmla="*/ 3232525 h 4687251"/>
              <a:gd name="connsiteX5749" fmla="*/ 7427096 w 8079933"/>
              <a:gd name="connsiteY5749" fmla="*/ 3229278 h 4687251"/>
              <a:gd name="connsiteX5750" fmla="*/ 7424817 w 8079933"/>
              <a:gd name="connsiteY5750" fmla="*/ 3232092 h 4687251"/>
              <a:gd name="connsiteX5751" fmla="*/ 7423297 w 8079933"/>
              <a:gd name="connsiteY5751" fmla="*/ 3230793 h 4687251"/>
              <a:gd name="connsiteX5752" fmla="*/ 7420367 w 8079933"/>
              <a:gd name="connsiteY5752" fmla="*/ 3231010 h 4687251"/>
              <a:gd name="connsiteX5753" fmla="*/ 7417221 w 8079933"/>
              <a:gd name="connsiteY5753" fmla="*/ 3230360 h 4687251"/>
              <a:gd name="connsiteX5754" fmla="*/ 7415919 w 8079933"/>
              <a:gd name="connsiteY5754" fmla="*/ 3226896 h 4687251"/>
              <a:gd name="connsiteX5755" fmla="*/ 7410058 w 8079933"/>
              <a:gd name="connsiteY5755" fmla="*/ 3224946 h 4687251"/>
              <a:gd name="connsiteX5756" fmla="*/ 7407996 w 8079933"/>
              <a:gd name="connsiteY5756" fmla="*/ 3222457 h 4687251"/>
              <a:gd name="connsiteX5757" fmla="*/ 7406586 w 8079933"/>
              <a:gd name="connsiteY5757" fmla="*/ 3227437 h 4687251"/>
              <a:gd name="connsiteX5758" fmla="*/ 7407996 w 8079933"/>
              <a:gd name="connsiteY5758" fmla="*/ 3230144 h 4687251"/>
              <a:gd name="connsiteX5759" fmla="*/ 7407780 w 8079933"/>
              <a:gd name="connsiteY5759" fmla="*/ 3233392 h 4687251"/>
              <a:gd name="connsiteX5760" fmla="*/ 7405827 w 8079933"/>
              <a:gd name="connsiteY5760" fmla="*/ 3233717 h 4687251"/>
              <a:gd name="connsiteX5761" fmla="*/ 7404633 w 8079933"/>
              <a:gd name="connsiteY5761" fmla="*/ 3229494 h 4687251"/>
              <a:gd name="connsiteX5762" fmla="*/ 7403439 w 8079933"/>
              <a:gd name="connsiteY5762" fmla="*/ 3228411 h 4687251"/>
              <a:gd name="connsiteX5763" fmla="*/ 7404307 w 8079933"/>
              <a:gd name="connsiteY5763" fmla="*/ 3231660 h 4687251"/>
              <a:gd name="connsiteX5764" fmla="*/ 7404090 w 8079933"/>
              <a:gd name="connsiteY5764" fmla="*/ 3233933 h 4687251"/>
              <a:gd name="connsiteX5765" fmla="*/ 7400508 w 8079933"/>
              <a:gd name="connsiteY5765" fmla="*/ 3233067 h 4687251"/>
              <a:gd name="connsiteX5766" fmla="*/ 7395842 w 8079933"/>
              <a:gd name="connsiteY5766" fmla="*/ 3228736 h 4687251"/>
              <a:gd name="connsiteX5767" fmla="*/ 7394215 w 8079933"/>
              <a:gd name="connsiteY5767" fmla="*/ 3225813 h 4687251"/>
              <a:gd name="connsiteX5768" fmla="*/ 7390092 w 8079933"/>
              <a:gd name="connsiteY5768" fmla="*/ 3223972 h 4687251"/>
              <a:gd name="connsiteX5769" fmla="*/ 7390092 w 8079933"/>
              <a:gd name="connsiteY5769" fmla="*/ 3225596 h 4687251"/>
              <a:gd name="connsiteX5770" fmla="*/ 7393673 w 8079933"/>
              <a:gd name="connsiteY5770" fmla="*/ 3228845 h 4687251"/>
              <a:gd name="connsiteX5771" fmla="*/ 7394106 w 8079933"/>
              <a:gd name="connsiteY5771" fmla="*/ 3232525 h 4687251"/>
              <a:gd name="connsiteX5772" fmla="*/ 7393781 w 8079933"/>
              <a:gd name="connsiteY5772" fmla="*/ 3235124 h 4687251"/>
              <a:gd name="connsiteX5773" fmla="*/ 7391503 w 8079933"/>
              <a:gd name="connsiteY5773" fmla="*/ 3236749 h 4687251"/>
              <a:gd name="connsiteX5774" fmla="*/ 7391394 w 8079933"/>
              <a:gd name="connsiteY5774" fmla="*/ 3240213 h 4687251"/>
              <a:gd name="connsiteX5775" fmla="*/ 7393565 w 8079933"/>
              <a:gd name="connsiteY5775" fmla="*/ 3242812 h 4687251"/>
              <a:gd name="connsiteX5776" fmla="*/ 7389115 w 8079933"/>
              <a:gd name="connsiteY5776" fmla="*/ 3242053 h 4687251"/>
              <a:gd name="connsiteX5777" fmla="*/ 7385534 w 8079933"/>
              <a:gd name="connsiteY5777" fmla="*/ 3237939 h 4687251"/>
              <a:gd name="connsiteX5778" fmla="*/ 7380867 w 8079933"/>
              <a:gd name="connsiteY5778" fmla="*/ 3239130 h 4687251"/>
              <a:gd name="connsiteX5779" fmla="*/ 7378155 w 8079933"/>
              <a:gd name="connsiteY5779" fmla="*/ 3236640 h 4687251"/>
              <a:gd name="connsiteX5780" fmla="*/ 7379891 w 8079933"/>
              <a:gd name="connsiteY5780" fmla="*/ 3239996 h 4687251"/>
              <a:gd name="connsiteX5781" fmla="*/ 7383147 w 8079933"/>
              <a:gd name="connsiteY5781" fmla="*/ 3239563 h 4687251"/>
              <a:gd name="connsiteX5782" fmla="*/ 7384883 w 8079933"/>
              <a:gd name="connsiteY5782" fmla="*/ 3242919 h 4687251"/>
              <a:gd name="connsiteX5783" fmla="*/ 7388355 w 8079933"/>
              <a:gd name="connsiteY5783" fmla="*/ 3245085 h 4687251"/>
              <a:gd name="connsiteX5784" fmla="*/ 7389549 w 8079933"/>
              <a:gd name="connsiteY5784" fmla="*/ 3247143 h 4687251"/>
              <a:gd name="connsiteX5785" fmla="*/ 7385534 w 8079933"/>
              <a:gd name="connsiteY5785" fmla="*/ 3248333 h 4687251"/>
              <a:gd name="connsiteX5786" fmla="*/ 7380867 w 8079933"/>
              <a:gd name="connsiteY5786" fmla="*/ 3248117 h 4687251"/>
              <a:gd name="connsiteX5787" fmla="*/ 7374139 w 8079933"/>
              <a:gd name="connsiteY5787" fmla="*/ 3249741 h 4687251"/>
              <a:gd name="connsiteX5788" fmla="*/ 7368497 w 8079933"/>
              <a:gd name="connsiteY5788" fmla="*/ 3249524 h 4687251"/>
              <a:gd name="connsiteX5789" fmla="*/ 7366001 w 8079933"/>
              <a:gd name="connsiteY5789" fmla="*/ 3249957 h 4687251"/>
              <a:gd name="connsiteX5790" fmla="*/ 7362745 w 8079933"/>
              <a:gd name="connsiteY5790" fmla="*/ 3247034 h 4687251"/>
              <a:gd name="connsiteX5791" fmla="*/ 7356669 w 8079933"/>
              <a:gd name="connsiteY5791" fmla="*/ 3245302 h 4687251"/>
              <a:gd name="connsiteX5792" fmla="*/ 7354824 w 8079933"/>
              <a:gd name="connsiteY5792" fmla="*/ 3245085 h 4687251"/>
              <a:gd name="connsiteX5793" fmla="*/ 7354281 w 8079933"/>
              <a:gd name="connsiteY5793" fmla="*/ 3240321 h 4687251"/>
              <a:gd name="connsiteX5794" fmla="*/ 7353413 w 8079933"/>
              <a:gd name="connsiteY5794" fmla="*/ 3236315 h 4687251"/>
              <a:gd name="connsiteX5795" fmla="*/ 7348096 w 8079933"/>
              <a:gd name="connsiteY5795" fmla="*/ 3232850 h 4687251"/>
              <a:gd name="connsiteX5796" fmla="*/ 7345274 w 8079933"/>
              <a:gd name="connsiteY5796" fmla="*/ 3232092 h 4687251"/>
              <a:gd name="connsiteX5797" fmla="*/ 7344081 w 8079933"/>
              <a:gd name="connsiteY5797" fmla="*/ 3228628 h 4687251"/>
              <a:gd name="connsiteX5798" fmla="*/ 7340717 w 8079933"/>
              <a:gd name="connsiteY5798" fmla="*/ 3226571 h 4687251"/>
              <a:gd name="connsiteX5799" fmla="*/ 7343429 w 8079933"/>
              <a:gd name="connsiteY5799" fmla="*/ 3229278 h 4687251"/>
              <a:gd name="connsiteX5800" fmla="*/ 7344406 w 8079933"/>
              <a:gd name="connsiteY5800" fmla="*/ 3232525 h 4687251"/>
              <a:gd name="connsiteX5801" fmla="*/ 7348855 w 8079933"/>
              <a:gd name="connsiteY5801" fmla="*/ 3234583 h 4687251"/>
              <a:gd name="connsiteX5802" fmla="*/ 7352979 w 8079933"/>
              <a:gd name="connsiteY5802" fmla="*/ 3239996 h 4687251"/>
              <a:gd name="connsiteX5803" fmla="*/ 7354064 w 8079933"/>
              <a:gd name="connsiteY5803" fmla="*/ 3245735 h 4687251"/>
              <a:gd name="connsiteX5804" fmla="*/ 7356560 w 8079933"/>
              <a:gd name="connsiteY5804" fmla="*/ 3247684 h 4687251"/>
              <a:gd name="connsiteX5805" fmla="*/ 7358079 w 8079933"/>
              <a:gd name="connsiteY5805" fmla="*/ 3247575 h 4687251"/>
              <a:gd name="connsiteX5806" fmla="*/ 7361661 w 8079933"/>
              <a:gd name="connsiteY5806" fmla="*/ 3248875 h 4687251"/>
              <a:gd name="connsiteX5807" fmla="*/ 7364156 w 8079933"/>
              <a:gd name="connsiteY5807" fmla="*/ 3251040 h 4687251"/>
              <a:gd name="connsiteX5808" fmla="*/ 7370016 w 8079933"/>
              <a:gd name="connsiteY5808" fmla="*/ 3252014 h 4687251"/>
              <a:gd name="connsiteX5809" fmla="*/ 7376961 w 8079933"/>
              <a:gd name="connsiteY5809" fmla="*/ 3254937 h 4687251"/>
              <a:gd name="connsiteX5810" fmla="*/ 7383147 w 8079933"/>
              <a:gd name="connsiteY5810" fmla="*/ 3259702 h 4687251"/>
              <a:gd name="connsiteX5811" fmla="*/ 7383472 w 8079933"/>
              <a:gd name="connsiteY5811" fmla="*/ 3266414 h 4687251"/>
              <a:gd name="connsiteX5812" fmla="*/ 7381302 w 8079933"/>
              <a:gd name="connsiteY5812" fmla="*/ 3269013 h 4687251"/>
              <a:gd name="connsiteX5813" fmla="*/ 7379131 w 8079933"/>
              <a:gd name="connsiteY5813" fmla="*/ 3267280 h 4687251"/>
              <a:gd name="connsiteX5814" fmla="*/ 7378481 w 8079933"/>
              <a:gd name="connsiteY5814" fmla="*/ 3269554 h 4687251"/>
              <a:gd name="connsiteX5815" fmla="*/ 7370016 w 8079933"/>
              <a:gd name="connsiteY5815" fmla="*/ 3271936 h 4687251"/>
              <a:gd name="connsiteX5816" fmla="*/ 7364915 w 8079933"/>
              <a:gd name="connsiteY5816" fmla="*/ 3274968 h 4687251"/>
              <a:gd name="connsiteX5817" fmla="*/ 7361118 w 8079933"/>
              <a:gd name="connsiteY5817" fmla="*/ 3273993 h 4687251"/>
              <a:gd name="connsiteX5818" fmla="*/ 7358188 w 8079933"/>
              <a:gd name="connsiteY5818" fmla="*/ 3270962 h 4687251"/>
              <a:gd name="connsiteX5819" fmla="*/ 7356994 w 8079933"/>
              <a:gd name="connsiteY5819" fmla="*/ 3267930 h 4687251"/>
              <a:gd name="connsiteX5820" fmla="*/ 7353847 w 8079933"/>
              <a:gd name="connsiteY5820" fmla="*/ 3268796 h 4687251"/>
              <a:gd name="connsiteX5821" fmla="*/ 7341151 w 8079933"/>
              <a:gd name="connsiteY5821" fmla="*/ 3268363 h 4687251"/>
              <a:gd name="connsiteX5822" fmla="*/ 7336810 w 8079933"/>
              <a:gd name="connsiteY5822" fmla="*/ 3269554 h 4687251"/>
              <a:gd name="connsiteX5823" fmla="*/ 7334206 w 8079933"/>
              <a:gd name="connsiteY5823" fmla="*/ 3267930 h 4687251"/>
              <a:gd name="connsiteX5824" fmla="*/ 7325959 w 8079933"/>
              <a:gd name="connsiteY5824" fmla="*/ 3267822 h 4687251"/>
              <a:gd name="connsiteX5825" fmla="*/ 7325959 w 8079933"/>
              <a:gd name="connsiteY5825" fmla="*/ 3267823 h 4687251"/>
              <a:gd name="connsiteX5826" fmla="*/ 7324549 w 8079933"/>
              <a:gd name="connsiteY5826" fmla="*/ 3267823 h 4687251"/>
              <a:gd name="connsiteX5827" fmla="*/ 7318689 w 8079933"/>
              <a:gd name="connsiteY5827" fmla="*/ 3265766 h 4687251"/>
              <a:gd name="connsiteX5828" fmla="*/ 7312069 w 8079933"/>
              <a:gd name="connsiteY5828" fmla="*/ 3258512 h 4687251"/>
              <a:gd name="connsiteX5829" fmla="*/ 7310442 w 8079933"/>
              <a:gd name="connsiteY5829" fmla="*/ 3255048 h 4687251"/>
              <a:gd name="connsiteX5830" fmla="*/ 7310659 w 8079933"/>
              <a:gd name="connsiteY5830" fmla="*/ 3253532 h 4687251"/>
              <a:gd name="connsiteX5831" fmla="*/ 7305776 w 8079933"/>
              <a:gd name="connsiteY5831" fmla="*/ 3249201 h 4687251"/>
              <a:gd name="connsiteX5832" fmla="*/ 7303605 w 8079933"/>
              <a:gd name="connsiteY5832" fmla="*/ 3247793 h 4687251"/>
              <a:gd name="connsiteX5833" fmla="*/ 7302737 w 8079933"/>
              <a:gd name="connsiteY5833" fmla="*/ 3244112 h 4687251"/>
              <a:gd name="connsiteX5834" fmla="*/ 7304907 w 8079933"/>
              <a:gd name="connsiteY5834" fmla="*/ 3240647 h 4687251"/>
              <a:gd name="connsiteX5835" fmla="*/ 7304690 w 8079933"/>
              <a:gd name="connsiteY5835" fmla="*/ 3235342 h 4687251"/>
              <a:gd name="connsiteX5836" fmla="*/ 7303605 w 8079933"/>
              <a:gd name="connsiteY5836" fmla="*/ 3240647 h 4687251"/>
              <a:gd name="connsiteX5837" fmla="*/ 7300458 w 8079933"/>
              <a:gd name="connsiteY5837" fmla="*/ 3242596 h 4687251"/>
              <a:gd name="connsiteX5838" fmla="*/ 7293296 w 8079933"/>
              <a:gd name="connsiteY5838" fmla="*/ 3242055 h 4687251"/>
              <a:gd name="connsiteX5839" fmla="*/ 7289281 w 8079933"/>
              <a:gd name="connsiteY5839" fmla="*/ 3244220 h 4687251"/>
              <a:gd name="connsiteX5840" fmla="*/ 7285917 w 8079933"/>
              <a:gd name="connsiteY5840" fmla="*/ 3244112 h 4687251"/>
              <a:gd name="connsiteX5841" fmla="*/ 7283747 w 8079933"/>
              <a:gd name="connsiteY5841" fmla="*/ 3242055 h 4687251"/>
              <a:gd name="connsiteX5842" fmla="*/ 7278212 w 8079933"/>
              <a:gd name="connsiteY5842" fmla="*/ 3245087 h 4687251"/>
              <a:gd name="connsiteX5843" fmla="*/ 7275282 w 8079933"/>
              <a:gd name="connsiteY5843" fmla="*/ 3241730 h 4687251"/>
              <a:gd name="connsiteX5844" fmla="*/ 7277452 w 8079933"/>
              <a:gd name="connsiteY5844" fmla="*/ 3240322 h 4687251"/>
              <a:gd name="connsiteX5845" fmla="*/ 7278864 w 8079933"/>
              <a:gd name="connsiteY5845" fmla="*/ 3236641 h 4687251"/>
              <a:gd name="connsiteX5846" fmla="*/ 7278864 w 8079933"/>
              <a:gd name="connsiteY5846" fmla="*/ 3233935 h 4687251"/>
              <a:gd name="connsiteX5847" fmla="*/ 7280057 w 8079933"/>
              <a:gd name="connsiteY5847" fmla="*/ 3232310 h 4687251"/>
              <a:gd name="connsiteX5848" fmla="*/ 7280925 w 8079933"/>
              <a:gd name="connsiteY5848" fmla="*/ 3226247 h 4687251"/>
              <a:gd name="connsiteX5849" fmla="*/ 7277887 w 8079933"/>
              <a:gd name="connsiteY5849" fmla="*/ 3224948 h 4687251"/>
              <a:gd name="connsiteX5850" fmla="*/ 7275174 w 8079933"/>
              <a:gd name="connsiteY5850" fmla="*/ 3221592 h 4687251"/>
              <a:gd name="connsiteX5851" fmla="*/ 7277778 w 8079933"/>
              <a:gd name="connsiteY5851" fmla="*/ 3220942 h 4687251"/>
              <a:gd name="connsiteX5852" fmla="*/ 7279948 w 8079933"/>
              <a:gd name="connsiteY5852" fmla="*/ 3221700 h 4687251"/>
              <a:gd name="connsiteX5853" fmla="*/ 7284614 w 8079933"/>
              <a:gd name="connsiteY5853" fmla="*/ 3219751 h 4687251"/>
              <a:gd name="connsiteX5854" fmla="*/ 7287653 w 8079933"/>
              <a:gd name="connsiteY5854" fmla="*/ 3219426 h 4687251"/>
              <a:gd name="connsiteX5855" fmla="*/ 7284181 w 8079933"/>
              <a:gd name="connsiteY5855" fmla="*/ 3218452 h 4687251"/>
              <a:gd name="connsiteX5856" fmla="*/ 7278972 w 8079933"/>
              <a:gd name="connsiteY5856" fmla="*/ 3219210 h 4687251"/>
              <a:gd name="connsiteX5857" fmla="*/ 7274740 w 8079933"/>
              <a:gd name="connsiteY5857" fmla="*/ 3217261 h 4687251"/>
              <a:gd name="connsiteX5858" fmla="*/ 7270725 w 8079933"/>
              <a:gd name="connsiteY5858" fmla="*/ 3214229 h 4687251"/>
              <a:gd name="connsiteX5859" fmla="*/ 7272027 w 8079933"/>
              <a:gd name="connsiteY5859" fmla="*/ 3211090 h 4687251"/>
              <a:gd name="connsiteX5860" fmla="*/ 7274198 w 8079933"/>
              <a:gd name="connsiteY5860" fmla="*/ 3210873 h 4687251"/>
              <a:gd name="connsiteX5861" fmla="*/ 7277887 w 8079933"/>
              <a:gd name="connsiteY5861" fmla="*/ 3211306 h 4687251"/>
              <a:gd name="connsiteX5862" fmla="*/ 7275934 w 8079933"/>
              <a:gd name="connsiteY5862" fmla="*/ 3208816 h 4687251"/>
              <a:gd name="connsiteX5863" fmla="*/ 7269748 w 8079933"/>
              <a:gd name="connsiteY5863" fmla="*/ 3204376 h 4687251"/>
              <a:gd name="connsiteX5864" fmla="*/ 7265624 w 8079933"/>
              <a:gd name="connsiteY5864" fmla="*/ 3201562 h 4687251"/>
              <a:gd name="connsiteX5865" fmla="*/ 7264213 w 8079933"/>
              <a:gd name="connsiteY5865" fmla="*/ 3198530 h 4687251"/>
              <a:gd name="connsiteX5866" fmla="*/ 7265408 w 8079933"/>
              <a:gd name="connsiteY5866" fmla="*/ 3193549 h 4687251"/>
              <a:gd name="connsiteX5867" fmla="*/ 7260091 w 8079933"/>
              <a:gd name="connsiteY5867" fmla="*/ 3188028 h 4687251"/>
              <a:gd name="connsiteX5868" fmla="*/ 7260091 w 8079933"/>
              <a:gd name="connsiteY5868" fmla="*/ 3185971 h 4687251"/>
              <a:gd name="connsiteX5869" fmla="*/ 7264973 w 8079933"/>
              <a:gd name="connsiteY5869" fmla="*/ 3181965 h 4687251"/>
              <a:gd name="connsiteX5870" fmla="*/ 7260415 w 8079933"/>
              <a:gd name="connsiteY5870" fmla="*/ 3182398 h 4687251"/>
              <a:gd name="connsiteX5871" fmla="*/ 7257702 w 8079933"/>
              <a:gd name="connsiteY5871" fmla="*/ 3180449 h 4687251"/>
              <a:gd name="connsiteX5872" fmla="*/ 7258679 w 8079933"/>
              <a:gd name="connsiteY5872" fmla="*/ 3178717 h 4687251"/>
              <a:gd name="connsiteX5873" fmla="*/ 7256834 w 8079933"/>
              <a:gd name="connsiteY5873" fmla="*/ 3176551 h 4687251"/>
              <a:gd name="connsiteX5874" fmla="*/ 7260307 w 8079933"/>
              <a:gd name="connsiteY5874" fmla="*/ 3173736 h 4687251"/>
              <a:gd name="connsiteX5875" fmla="*/ 7254772 w 8079933"/>
              <a:gd name="connsiteY5875" fmla="*/ 3174819 h 4687251"/>
              <a:gd name="connsiteX5876" fmla="*/ 7253254 w 8079933"/>
              <a:gd name="connsiteY5876" fmla="*/ 3172870 h 4687251"/>
              <a:gd name="connsiteX5877" fmla="*/ 7250649 w 8079933"/>
              <a:gd name="connsiteY5877" fmla="*/ 3173953 h 4687251"/>
              <a:gd name="connsiteX5878" fmla="*/ 7248804 w 8079933"/>
              <a:gd name="connsiteY5878" fmla="*/ 3172545 h 4687251"/>
              <a:gd name="connsiteX5879" fmla="*/ 7252711 w 8079933"/>
              <a:gd name="connsiteY5879" fmla="*/ 3167890 h 4687251"/>
              <a:gd name="connsiteX5880" fmla="*/ 7249238 w 8079933"/>
              <a:gd name="connsiteY5880" fmla="*/ 3169947 h 4687251"/>
              <a:gd name="connsiteX5881" fmla="*/ 7244898 w 8079933"/>
              <a:gd name="connsiteY5881" fmla="*/ 3170163 h 4687251"/>
              <a:gd name="connsiteX5882" fmla="*/ 7238604 w 8079933"/>
              <a:gd name="connsiteY5882" fmla="*/ 3167564 h 4687251"/>
              <a:gd name="connsiteX5883" fmla="*/ 7236868 w 8079933"/>
              <a:gd name="connsiteY5883" fmla="*/ 3163125 h 4687251"/>
              <a:gd name="connsiteX5884" fmla="*/ 7230248 w 8079933"/>
              <a:gd name="connsiteY5884" fmla="*/ 3160852 h 4687251"/>
              <a:gd name="connsiteX5885" fmla="*/ 7226125 w 8079933"/>
              <a:gd name="connsiteY5885" fmla="*/ 3161610 h 4687251"/>
              <a:gd name="connsiteX5886" fmla="*/ 7212017 w 8079933"/>
              <a:gd name="connsiteY5886" fmla="*/ 3157062 h 4687251"/>
              <a:gd name="connsiteX5887" fmla="*/ 7197367 w 8079933"/>
              <a:gd name="connsiteY5887" fmla="*/ 3152623 h 4687251"/>
              <a:gd name="connsiteX5888" fmla="*/ 7190206 w 8079933"/>
              <a:gd name="connsiteY5888" fmla="*/ 3152190 h 4687251"/>
              <a:gd name="connsiteX5889" fmla="*/ 7184563 w 8079933"/>
              <a:gd name="connsiteY5889" fmla="*/ 3149484 h 4687251"/>
              <a:gd name="connsiteX5890" fmla="*/ 7183369 w 8079933"/>
              <a:gd name="connsiteY5890" fmla="*/ 3147427 h 4687251"/>
              <a:gd name="connsiteX5891" fmla="*/ 7182826 w 8079933"/>
              <a:gd name="connsiteY5891" fmla="*/ 3145477 h 4687251"/>
              <a:gd name="connsiteX5892" fmla="*/ 7177726 w 8079933"/>
              <a:gd name="connsiteY5892" fmla="*/ 3144395 h 4687251"/>
              <a:gd name="connsiteX5893" fmla="*/ 7177943 w 8079933"/>
              <a:gd name="connsiteY5893" fmla="*/ 3140930 h 4687251"/>
              <a:gd name="connsiteX5894" fmla="*/ 7181416 w 8079933"/>
              <a:gd name="connsiteY5894" fmla="*/ 3140497 h 4687251"/>
              <a:gd name="connsiteX5895" fmla="*/ 7183369 w 8079933"/>
              <a:gd name="connsiteY5895" fmla="*/ 3140930 h 4687251"/>
              <a:gd name="connsiteX5896" fmla="*/ 7183043 w 8079933"/>
              <a:gd name="connsiteY5896" fmla="*/ 3139848 h 4687251"/>
              <a:gd name="connsiteX5897" fmla="*/ 7179570 w 8079933"/>
              <a:gd name="connsiteY5897" fmla="*/ 3139198 h 4687251"/>
              <a:gd name="connsiteX5898" fmla="*/ 7175447 w 8079933"/>
              <a:gd name="connsiteY5898" fmla="*/ 3140930 h 4687251"/>
              <a:gd name="connsiteX5899" fmla="*/ 7172300 w 8079933"/>
              <a:gd name="connsiteY5899" fmla="*/ 3139631 h 4687251"/>
              <a:gd name="connsiteX5900" fmla="*/ 7170672 w 8079933"/>
              <a:gd name="connsiteY5900" fmla="*/ 3137682 h 4687251"/>
              <a:gd name="connsiteX5901" fmla="*/ 7169370 w 8079933"/>
              <a:gd name="connsiteY5901" fmla="*/ 3137249 h 4687251"/>
              <a:gd name="connsiteX5902" fmla="*/ 7167308 w 8079933"/>
              <a:gd name="connsiteY5902" fmla="*/ 3139631 h 4687251"/>
              <a:gd name="connsiteX5903" fmla="*/ 7166332 w 8079933"/>
              <a:gd name="connsiteY5903" fmla="*/ 3134975 h 4687251"/>
              <a:gd name="connsiteX5904" fmla="*/ 7164486 w 8079933"/>
              <a:gd name="connsiteY5904" fmla="*/ 3133676 h 4687251"/>
              <a:gd name="connsiteX5905" fmla="*/ 7162642 w 8079933"/>
              <a:gd name="connsiteY5905" fmla="*/ 3134542 h 4687251"/>
              <a:gd name="connsiteX5906" fmla="*/ 7161449 w 8079933"/>
              <a:gd name="connsiteY5906" fmla="*/ 3136491 h 4687251"/>
              <a:gd name="connsiteX5907" fmla="*/ 7158736 w 8079933"/>
              <a:gd name="connsiteY5907" fmla="*/ 3133568 h 4687251"/>
              <a:gd name="connsiteX5908" fmla="*/ 7157325 w 8079933"/>
              <a:gd name="connsiteY5908" fmla="*/ 3127721 h 4687251"/>
              <a:gd name="connsiteX5909" fmla="*/ 7155154 w 8079933"/>
              <a:gd name="connsiteY5909" fmla="*/ 3122741 h 4687251"/>
              <a:gd name="connsiteX5910" fmla="*/ 7158084 w 8079933"/>
              <a:gd name="connsiteY5910" fmla="*/ 3118952 h 4687251"/>
              <a:gd name="connsiteX5911" fmla="*/ 7158084 w 8079933"/>
              <a:gd name="connsiteY5911" fmla="*/ 3113213 h 4687251"/>
              <a:gd name="connsiteX5912" fmla="*/ 7155697 w 8079933"/>
              <a:gd name="connsiteY5912" fmla="*/ 3117868 h 4687251"/>
              <a:gd name="connsiteX5913" fmla="*/ 7153852 w 8079933"/>
              <a:gd name="connsiteY5913" fmla="*/ 3123066 h 4687251"/>
              <a:gd name="connsiteX5914" fmla="*/ 7153092 w 8079933"/>
              <a:gd name="connsiteY5914" fmla="*/ 3126638 h 4687251"/>
              <a:gd name="connsiteX5915" fmla="*/ 7151031 w 8079933"/>
              <a:gd name="connsiteY5915" fmla="*/ 3127721 h 4687251"/>
              <a:gd name="connsiteX5916" fmla="*/ 7147450 w 8079933"/>
              <a:gd name="connsiteY5916" fmla="*/ 3134217 h 4687251"/>
              <a:gd name="connsiteX5917" fmla="*/ 7147993 w 8079933"/>
              <a:gd name="connsiteY5917" fmla="*/ 3138223 h 4687251"/>
              <a:gd name="connsiteX5918" fmla="*/ 7143109 w 8079933"/>
              <a:gd name="connsiteY5918" fmla="*/ 3144178 h 4687251"/>
              <a:gd name="connsiteX5919" fmla="*/ 7138334 w 8079933"/>
              <a:gd name="connsiteY5919" fmla="*/ 3145261 h 4687251"/>
              <a:gd name="connsiteX5920" fmla="*/ 7133994 w 8079933"/>
              <a:gd name="connsiteY5920" fmla="*/ 3143854 h 4687251"/>
              <a:gd name="connsiteX5921" fmla="*/ 7130413 w 8079933"/>
              <a:gd name="connsiteY5921" fmla="*/ 3135733 h 4687251"/>
              <a:gd name="connsiteX5922" fmla="*/ 7130522 w 8079933"/>
              <a:gd name="connsiteY5922" fmla="*/ 3132810 h 4687251"/>
              <a:gd name="connsiteX5923" fmla="*/ 7132583 w 8079933"/>
              <a:gd name="connsiteY5923" fmla="*/ 3131944 h 4687251"/>
              <a:gd name="connsiteX5924" fmla="*/ 7133126 w 8079933"/>
              <a:gd name="connsiteY5924" fmla="*/ 3128695 h 4687251"/>
              <a:gd name="connsiteX5925" fmla="*/ 7132475 w 8079933"/>
              <a:gd name="connsiteY5925" fmla="*/ 3125448 h 4687251"/>
              <a:gd name="connsiteX5926" fmla="*/ 7129545 w 8079933"/>
              <a:gd name="connsiteY5926" fmla="*/ 3126422 h 4687251"/>
              <a:gd name="connsiteX5927" fmla="*/ 7127809 w 8079933"/>
              <a:gd name="connsiteY5927" fmla="*/ 3124797 h 4687251"/>
              <a:gd name="connsiteX5928" fmla="*/ 7125421 w 8079933"/>
              <a:gd name="connsiteY5928" fmla="*/ 3118952 h 4687251"/>
              <a:gd name="connsiteX5929" fmla="*/ 7121080 w 8079933"/>
              <a:gd name="connsiteY5929" fmla="*/ 3116677 h 4687251"/>
              <a:gd name="connsiteX5930" fmla="*/ 7115546 w 8079933"/>
              <a:gd name="connsiteY5930" fmla="*/ 3115811 h 4687251"/>
              <a:gd name="connsiteX5931" fmla="*/ 7113809 w 8079933"/>
              <a:gd name="connsiteY5931" fmla="*/ 3113429 h 4687251"/>
              <a:gd name="connsiteX5932" fmla="*/ 7116739 w 8079933"/>
              <a:gd name="connsiteY5932" fmla="*/ 3109856 h 4687251"/>
              <a:gd name="connsiteX5933" fmla="*/ 7122491 w 8079933"/>
              <a:gd name="connsiteY5933" fmla="*/ 3109315 h 4687251"/>
              <a:gd name="connsiteX5934" fmla="*/ 7124336 w 8079933"/>
              <a:gd name="connsiteY5934" fmla="*/ 3111156 h 4687251"/>
              <a:gd name="connsiteX5935" fmla="*/ 7129328 w 8079933"/>
              <a:gd name="connsiteY5935" fmla="*/ 3111697 h 4687251"/>
              <a:gd name="connsiteX5936" fmla="*/ 7133018 w 8079933"/>
              <a:gd name="connsiteY5936" fmla="*/ 3113538 h 4687251"/>
              <a:gd name="connsiteX5937" fmla="*/ 7137575 w 8079933"/>
              <a:gd name="connsiteY5937" fmla="*/ 3110831 h 4687251"/>
              <a:gd name="connsiteX5938" fmla="*/ 7139203 w 8079933"/>
              <a:gd name="connsiteY5938" fmla="*/ 3105201 h 4687251"/>
              <a:gd name="connsiteX5939" fmla="*/ 7142783 w 8079933"/>
              <a:gd name="connsiteY5939" fmla="*/ 3104010 h 4687251"/>
              <a:gd name="connsiteX5940" fmla="*/ 7150163 w 8079933"/>
              <a:gd name="connsiteY5940" fmla="*/ 3107366 h 4687251"/>
              <a:gd name="connsiteX5941" fmla="*/ 7153092 w 8079933"/>
              <a:gd name="connsiteY5941" fmla="*/ 3111697 h 4687251"/>
              <a:gd name="connsiteX5942" fmla="*/ 7155154 w 8079933"/>
              <a:gd name="connsiteY5942" fmla="*/ 3107042 h 4687251"/>
              <a:gd name="connsiteX5943" fmla="*/ 7157759 w 8079933"/>
              <a:gd name="connsiteY5943" fmla="*/ 3103577 h 4687251"/>
              <a:gd name="connsiteX5944" fmla="*/ 7160146 w 8079933"/>
              <a:gd name="connsiteY5944" fmla="*/ 3104443 h 4687251"/>
              <a:gd name="connsiteX5945" fmla="*/ 7160906 w 8079933"/>
              <a:gd name="connsiteY5945" fmla="*/ 3099354 h 4687251"/>
              <a:gd name="connsiteX5946" fmla="*/ 7159495 w 8079933"/>
              <a:gd name="connsiteY5946" fmla="*/ 3096214 h 4687251"/>
              <a:gd name="connsiteX5947" fmla="*/ 7147450 w 8079933"/>
              <a:gd name="connsiteY5947" fmla="*/ 3094807 h 4687251"/>
              <a:gd name="connsiteX5948" fmla="*/ 7149186 w 8079933"/>
              <a:gd name="connsiteY5948" fmla="*/ 3097297 h 4687251"/>
              <a:gd name="connsiteX5949" fmla="*/ 7146256 w 8079933"/>
              <a:gd name="connsiteY5949" fmla="*/ 3097947 h 4687251"/>
              <a:gd name="connsiteX5950" fmla="*/ 7143869 w 8079933"/>
              <a:gd name="connsiteY5950" fmla="*/ 3097297 h 4687251"/>
              <a:gd name="connsiteX5951" fmla="*/ 7136381 w 8079933"/>
              <a:gd name="connsiteY5951" fmla="*/ 3098813 h 4687251"/>
              <a:gd name="connsiteX5952" fmla="*/ 7133451 w 8079933"/>
              <a:gd name="connsiteY5952" fmla="*/ 3097838 h 4687251"/>
              <a:gd name="connsiteX5953" fmla="*/ 7130738 w 8079933"/>
              <a:gd name="connsiteY5953" fmla="*/ 3099138 h 4687251"/>
              <a:gd name="connsiteX5954" fmla="*/ 7127809 w 8079933"/>
              <a:gd name="connsiteY5954" fmla="*/ 3097405 h 4687251"/>
              <a:gd name="connsiteX5955" fmla="*/ 7123468 w 8079933"/>
              <a:gd name="connsiteY5955" fmla="*/ 3098488 h 4687251"/>
              <a:gd name="connsiteX5956" fmla="*/ 7119019 w 8079933"/>
              <a:gd name="connsiteY5956" fmla="*/ 3097838 h 4687251"/>
              <a:gd name="connsiteX5957" fmla="*/ 7114027 w 8079933"/>
              <a:gd name="connsiteY5957" fmla="*/ 3093616 h 4687251"/>
              <a:gd name="connsiteX5958" fmla="*/ 7112616 w 8079933"/>
              <a:gd name="connsiteY5958" fmla="*/ 3088203 h 4687251"/>
              <a:gd name="connsiteX5959" fmla="*/ 7113701 w 8079933"/>
              <a:gd name="connsiteY5959" fmla="*/ 3086795 h 4687251"/>
              <a:gd name="connsiteX5960" fmla="*/ 7111096 w 8079933"/>
              <a:gd name="connsiteY5960" fmla="*/ 3082356 h 4687251"/>
              <a:gd name="connsiteX5961" fmla="*/ 7104368 w 8079933"/>
              <a:gd name="connsiteY5961" fmla="*/ 3078566 h 4687251"/>
              <a:gd name="connsiteX5962" fmla="*/ 7101764 w 8079933"/>
              <a:gd name="connsiteY5962" fmla="*/ 3075751 h 4687251"/>
              <a:gd name="connsiteX5963" fmla="*/ 7100462 w 8079933"/>
              <a:gd name="connsiteY5963" fmla="*/ 3077700 h 4687251"/>
              <a:gd name="connsiteX5964" fmla="*/ 7096556 w 8079933"/>
              <a:gd name="connsiteY5964" fmla="*/ 3079757 h 4687251"/>
              <a:gd name="connsiteX5965" fmla="*/ 7091130 w 8079933"/>
              <a:gd name="connsiteY5965" fmla="*/ 3078891 h 4687251"/>
              <a:gd name="connsiteX5966" fmla="*/ 7091998 w 8079933"/>
              <a:gd name="connsiteY5966" fmla="*/ 3075968 h 4687251"/>
              <a:gd name="connsiteX5967" fmla="*/ 7097641 w 8079933"/>
              <a:gd name="connsiteY5967" fmla="*/ 3072287 h 4687251"/>
              <a:gd name="connsiteX5968" fmla="*/ 7098184 w 8079933"/>
              <a:gd name="connsiteY5968" fmla="*/ 3068930 h 4687251"/>
              <a:gd name="connsiteX5969" fmla="*/ 7096448 w 8079933"/>
              <a:gd name="connsiteY5969" fmla="*/ 3065790 h 4687251"/>
              <a:gd name="connsiteX5970" fmla="*/ 7100028 w 8079933"/>
              <a:gd name="connsiteY5970" fmla="*/ 3062759 h 4687251"/>
              <a:gd name="connsiteX5971" fmla="*/ 7106648 w 8079933"/>
              <a:gd name="connsiteY5971" fmla="*/ 3062542 h 4687251"/>
              <a:gd name="connsiteX5972" fmla="*/ 7109903 w 8079933"/>
              <a:gd name="connsiteY5972" fmla="*/ 3059402 h 4687251"/>
              <a:gd name="connsiteX5973" fmla="*/ 7113701 w 8079933"/>
              <a:gd name="connsiteY5973" fmla="*/ 3058428 h 4687251"/>
              <a:gd name="connsiteX5974" fmla="*/ 7119887 w 8079933"/>
              <a:gd name="connsiteY5974" fmla="*/ 3053555 h 4687251"/>
              <a:gd name="connsiteX5975" fmla="*/ 7121732 w 8079933"/>
              <a:gd name="connsiteY5975" fmla="*/ 3051932 h 4687251"/>
              <a:gd name="connsiteX5976" fmla="*/ 2175088 w 8079933"/>
              <a:gd name="connsiteY5976" fmla="*/ 3049692 h 4687251"/>
              <a:gd name="connsiteX5977" fmla="*/ 2179882 w 8079933"/>
              <a:gd name="connsiteY5977" fmla="*/ 3055396 h 4687251"/>
              <a:gd name="connsiteX5978" fmla="*/ 2179882 w 8079933"/>
              <a:gd name="connsiteY5978" fmla="*/ 3055395 h 4687251"/>
              <a:gd name="connsiteX5979" fmla="*/ 2744493 w 8079933"/>
              <a:gd name="connsiteY5979" fmla="*/ 3049549 h 4687251"/>
              <a:gd name="connsiteX5980" fmla="*/ 2745578 w 8079933"/>
              <a:gd name="connsiteY5980" fmla="*/ 3050632 h 4687251"/>
              <a:gd name="connsiteX5981" fmla="*/ 2744384 w 8079933"/>
              <a:gd name="connsiteY5981" fmla="*/ 3053663 h 4687251"/>
              <a:gd name="connsiteX5982" fmla="*/ 2740803 w 8079933"/>
              <a:gd name="connsiteY5982" fmla="*/ 3054421 h 4687251"/>
              <a:gd name="connsiteX5983" fmla="*/ 2739393 w 8079933"/>
              <a:gd name="connsiteY5983" fmla="*/ 3053988 h 4687251"/>
              <a:gd name="connsiteX5984" fmla="*/ 2741238 w 8079933"/>
              <a:gd name="connsiteY5984" fmla="*/ 3051606 h 4687251"/>
              <a:gd name="connsiteX5985" fmla="*/ 6458476 w 8079933"/>
              <a:gd name="connsiteY5985" fmla="*/ 3045868 h 4687251"/>
              <a:gd name="connsiteX5986" fmla="*/ 6462383 w 8079933"/>
              <a:gd name="connsiteY5986" fmla="*/ 3046842 h 4687251"/>
              <a:gd name="connsiteX5987" fmla="*/ 6469545 w 8079933"/>
              <a:gd name="connsiteY5987" fmla="*/ 3053555 h 4687251"/>
              <a:gd name="connsiteX5988" fmla="*/ 6467700 w 8079933"/>
              <a:gd name="connsiteY5988" fmla="*/ 3055179 h 4687251"/>
              <a:gd name="connsiteX5989" fmla="*/ 6462166 w 8079933"/>
              <a:gd name="connsiteY5989" fmla="*/ 3052147 h 4687251"/>
              <a:gd name="connsiteX5990" fmla="*/ 6458259 w 8079933"/>
              <a:gd name="connsiteY5990" fmla="*/ 3053446 h 4687251"/>
              <a:gd name="connsiteX5991" fmla="*/ 6455872 w 8079933"/>
              <a:gd name="connsiteY5991" fmla="*/ 3050523 h 4687251"/>
              <a:gd name="connsiteX5992" fmla="*/ 2283282 w 8079933"/>
              <a:gd name="connsiteY5992" fmla="*/ 3044228 h 4687251"/>
              <a:gd name="connsiteX5993" fmla="*/ 2283299 w 8079933"/>
              <a:gd name="connsiteY5993" fmla="*/ 3044568 h 4687251"/>
              <a:gd name="connsiteX5994" fmla="*/ 2287422 w 8079933"/>
              <a:gd name="connsiteY5994" fmla="*/ 3049873 h 4687251"/>
              <a:gd name="connsiteX5995" fmla="*/ 2295748 w 8079933"/>
              <a:gd name="connsiteY5995" fmla="*/ 3056279 h 4687251"/>
              <a:gd name="connsiteX5996" fmla="*/ 2294801 w 8079933"/>
              <a:gd name="connsiteY5996" fmla="*/ 3054529 h 4687251"/>
              <a:gd name="connsiteX5997" fmla="*/ 2285903 w 8079933"/>
              <a:gd name="connsiteY5997" fmla="*/ 3047599 h 4687251"/>
              <a:gd name="connsiteX5998" fmla="*/ 7086680 w 8079933"/>
              <a:gd name="connsiteY5998" fmla="*/ 3044027 h 4687251"/>
              <a:gd name="connsiteX5999" fmla="*/ 7094711 w 8079933"/>
              <a:gd name="connsiteY5999" fmla="*/ 3044027 h 4687251"/>
              <a:gd name="connsiteX6000" fmla="*/ 7100462 w 8079933"/>
              <a:gd name="connsiteY6000" fmla="*/ 3047492 h 4687251"/>
              <a:gd name="connsiteX6001" fmla="*/ 7101331 w 8079933"/>
              <a:gd name="connsiteY6001" fmla="*/ 3050739 h 4687251"/>
              <a:gd name="connsiteX6002" fmla="*/ 7097424 w 8079933"/>
              <a:gd name="connsiteY6002" fmla="*/ 3052147 h 4687251"/>
              <a:gd name="connsiteX6003" fmla="*/ 7094385 w 8079933"/>
              <a:gd name="connsiteY6003" fmla="*/ 3051064 h 4687251"/>
              <a:gd name="connsiteX6004" fmla="*/ 7087440 w 8079933"/>
              <a:gd name="connsiteY6004" fmla="*/ 3047167 h 4687251"/>
              <a:gd name="connsiteX6005" fmla="*/ 7085812 w 8079933"/>
              <a:gd name="connsiteY6005" fmla="*/ 3048141 h 4687251"/>
              <a:gd name="connsiteX6006" fmla="*/ 7086464 w 8079933"/>
              <a:gd name="connsiteY6006" fmla="*/ 3049116 h 4687251"/>
              <a:gd name="connsiteX6007" fmla="*/ 7090262 w 8079933"/>
              <a:gd name="connsiteY6007" fmla="*/ 3050739 h 4687251"/>
              <a:gd name="connsiteX6008" fmla="*/ 7090370 w 8079933"/>
              <a:gd name="connsiteY6008" fmla="*/ 3052689 h 4687251"/>
              <a:gd name="connsiteX6009" fmla="*/ 7086464 w 8079933"/>
              <a:gd name="connsiteY6009" fmla="*/ 3053338 h 4687251"/>
              <a:gd name="connsiteX6010" fmla="*/ 7082014 w 8079933"/>
              <a:gd name="connsiteY6010" fmla="*/ 3051281 h 4687251"/>
              <a:gd name="connsiteX6011" fmla="*/ 7075069 w 8079933"/>
              <a:gd name="connsiteY6011" fmla="*/ 3050306 h 4687251"/>
              <a:gd name="connsiteX6012" fmla="*/ 7078325 w 8079933"/>
              <a:gd name="connsiteY6012" fmla="*/ 3049332 h 4687251"/>
              <a:gd name="connsiteX6013" fmla="*/ 7076806 w 8079933"/>
              <a:gd name="connsiteY6013" fmla="*/ 3047708 h 4687251"/>
              <a:gd name="connsiteX6014" fmla="*/ 7078325 w 8079933"/>
              <a:gd name="connsiteY6014" fmla="*/ 3046842 h 4687251"/>
              <a:gd name="connsiteX6015" fmla="*/ 7083099 w 8079933"/>
              <a:gd name="connsiteY6015" fmla="*/ 3046733 h 4687251"/>
              <a:gd name="connsiteX6016" fmla="*/ 7046637 w 8079933"/>
              <a:gd name="connsiteY6016" fmla="*/ 3041429 h 4687251"/>
              <a:gd name="connsiteX6017" fmla="*/ 7055752 w 8079933"/>
              <a:gd name="connsiteY6017" fmla="*/ 3045976 h 4687251"/>
              <a:gd name="connsiteX6018" fmla="*/ 7056403 w 8079933"/>
              <a:gd name="connsiteY6018" fmla="*/ 3048358 h 4687251"/>
              <a:gd name="connsiteX6019" fmla="*/ 7049892 w 8079933"/>
              <a:gd name="connsiteY6019" fmla="*/ 3044894 h 4687251"/>
              <a:gd name="connsiteX6020" fmla="*/ 2748509 w 8079933"/>
              <a:gd name="connsiteY6020" fmla="*/ 3040346 h 4687251"/>
              <a:gd name="connsiteX6021" fmla="*/ 2749485 w 8079933"/>
              <a:gd name="connsiteY6021" fmla="*/ 3042187 h 4687251"/>
              <a:gd name="connsiteX6022" fmla="*/ 2745470 w 8079933"/>
              <a:gd name="connsiteY6022" fmla="*/ 3046409 h 4687251"/>
              <a:gd name="connsiteX6023" fmla="*/ 2742974 w 8079933"/>
              <a:gd name="connsiteY6023" fmla="*/ 3046626 h 4687251"/>
              <a:gd name="connsiteX6024" fmla="*/ 2737657 w 8079933"/>
              <a:gd name="connsiteY6024" fmla="*/ 3051714 h 4687251"/>
              <a:gd name="connsiteX6025" fmla="*/ 2736898 w 8079933"/>
              <a:gd name="connsiteY6025" fmla="*/ 3053447 h 4687251"/>
              <a:gd name="connsiteX6026" fmla="*/ 2735053 w 8079933"/>
              <a:gd name="connsiteY6026" fmla="*/ 3053880 h 4687251"/>
              <a:gd name="connsiteX6027" fmla="*/ 2737874 w 8079933"/>
              <a:gd name="connsiteY6027" fmla="*/ 3046193 h 4687251"/>
              <a:gd name="connsiteX6028" fmla="*/ 2742323 w 8079933"/>
              <a:gd name="connsiteY6028" fmla="*/ 3041645 h 4687251"/>
              <a:gd name="connsiteX6029" fmla="*/ 2744602 w 8079933"/>
              <a:gd name="connsiteY6029" fmla="*/ 3040670 h 4687251"/>
              <a:gd name="connsiteX6030" fmla="*/ 2746772 w 8079933"/>
              <a:gd name="connsiteY6030" fmla="*/ 3040887 h 4687251"/>
              <a:gd name="connsiteX6031" fmla="*/ 4270369 w 8079933"/>
              <a:gd name="connsiteY6031" fmla="*/ 3040178 h 4687251"/>
              <a:gd name="connsiteX6032" fmla="*/ 4271865 w 8079933"/>
              <a:gd name="connsiteY6032" fmla="*/ 3041970 h 4687251"/>
              <a:gd name="connsiteX6033" fmla="*/ 4272733 w 8079933"/>
              <a:gd name="connsiteY6033" fmla="*/ 3043919 h 4687251"/>
              <a:gd name="connsiteX6034" fmla="*/ 4275555 w 8079933"/>
              <a:gd name="connsiteY6034" fmla="*/ 3045218 h 4687251"/>
              <a:gd name="connsiteX6035" fmla="*/ 4276423 w 8079933"/>
              <a:gd name="connsiteY6035" fmla="*/ 3047384 h 4687251"/>
              <a:gd name="connsiteX6036" fmla="*/ 4280112 w 8079933"/>
              <a:gd name="connsiteY6036" fmla="*/ 3050415 h 4687251"/>
              <a:gd name="connsiteX6037" fmla="*/ 4280988 w 8079933"/>
              <a:gd name="connsiteY6037" fmla="*/ 3052685 h 4687251"/>
              <a:gd name="connsiteX6038" fmla="*/ 4280113 w 8079933"/>
              <a:gd name="connsiteY6038" fmla="*/ 3050414 h 4687251"/>
              <a:gd name="connsiteX6039" fmla="*/ 4276423 w 8079933"/>
              <a:gd name="connsiteY6039" fmla="*/ 3047382 h 4687251"/>
              <a:gd name="connsiteX6040" fmla="*/ 4275555 w 8079933"/>
              <a:gd name="connsiteY6040" fmla="*/ 3045218 h 4687251"/>
              <a:gd name="connsiteX6041" fmla="*/ 4272733 w 8079933"/>
              <a:gd name="connsiteY6041" fmla="*/ 3043918 h 4687251"/>
              <a:gd name="connsiteX6042" fmla="*/ 4271865 w 8079933"/>
              <a:gd name="connsiteY6042" fmla="*/ 3041969 h 4687251"/>
              <a:gd name="connsiteX6043" fmla="*/ 2156117 w 8079933"/>
              <a:gd name="connsiteY6043" fmla="*/ 3040129 h 4687251"/>
              <a:gd name="connsiteX6044" fmla="*/ 2154381 w 8079933"/>
              <a:gd name="connsiteY6044" fmla="*/ 3040237 h 4687251"/>
              <a:gd name="connsiteX6045" fmla="*/ 2154381 w 8079933"/>
              <a:gd name="connsiteY6045" fmla="*/ 3040238 h 4687251"/>
              <a:gd name="connsiteX6046" fmla="*/ 2156117 w 8079933"/>
              <a:gd name="connsiteY6046" fmla="*/ 3040130 h 4687251"/>
              <a:gd name="connsiteX6047" fmla="*/ 2158938 w 8079933"/>
              <a:gd name="connsiteY6047" fmla="*/ 3042836 h 4687251"/>
              <a:gd name="connsiteX6048" fmla="*/ 2167511 w 8079933"/>
              <a:gd name="connsiteY6048" fmla="*/ 3044893 h 4687251"/>
              <a:gd name="connsiteX6049" fmla="*/ 2172828 w 8079933"/>
              <a:gd name="connsiteY6049" fmla="*/ 3046085 h 4687251"/>
              <a:gd name="connsiteX6050" fmla="*/ 2173991 w 8079933"/>
              <a:gd name="connsiteY6050" fmla="*/ 3048226 h 4687251"/>
              <a:gd name="connsiteX6051" fmla="*/ 2172828 w 8079933"/>
              <a:gd name="connsiteY6051" fmla="*/ 3046084 h 4687251"/>
              <a:gd name="connsiteX6052" fmla="*/ 2167511 w 8079933"/>
              <a:gd name="connsiteY6052" fmla="*/ 3044893 h 4687251"/>
              <a:gd name="connsiteX6053" fmla="*/ 2158938 w 8079933"/>
              <a:gd name="connsiteY6053" fmla="*/ 3042835 h 4687251"/>
              <a:gd name="connsiteX6054" fmla="*/ 6313824 w 8079933"/>
              <a:gd name="connsiteY6054" fmla="*/ 3038073 h 4687251"/>
              <a:gd name="connsiteX6055" fmla="*/ 6319467 w 8079933"/>
              <a:gd name="connsiteY6055" fmla="*/ 3040022 h 4687251"/>
              <a:gd name="connsiteX6056" fmla="*/ 6318924 w 8079933"/>
              <a:gd name="connsiteY6056" fmla="*/ 3043162 h 4687251"/>
              <a:gd name="connsiteX6057" fmla="*/ 6316862 w 8079933"/>
              <a:gd name="connsiteY6057" fmla="*/ 3041646 h 4687251"/>
              <a:gd name="connsiteX6058" fmla="*/ 6311220 w 8079933"/>
              <a:gd name="connsiteY6058" fmla="*/ 3041538 h 4687251"/>
              <a:gd name="connsiteX6059" fmla="*/ 2778785 w 8079933"/>
              <a:gd name="connsiteY6059" fmla="*/ 3037098 h 4687251"/>
              <a:gd name="connsiteX6060" fmla="*/ 2781389 w 8079933"/>
              <a:gd name="connsiteY6060" fmla="*/ 3039155 h 4687251"/>
              <a:gd name="connsiteX6061" fmla="*/ 2779762 w 8079933"/>
              <a:gd name="connsiteY6061" fmla="*/ 3041862 h 4687251"/>
              <a:gd name="connsiteX6062" fmla="*/ 2774336 w 8079933"/>
              <a:gd name="connsiteY6062" fmla="*/ 3042187 h 4687251"/>
              <a:gd name="connsiteX6063" fmla="*/ 2770864 w 8079933"/>
              <a:gd name="connsiteY6063" fmla="*/ 3040887 h 4687251"/>
              <a:gd name="connsiteX6064" fmla="*/ 2774444 w 8079933"/>
              <a:gd name="connsiteY6064" fmla="*/ 3039372 h 4687251"/>
              <a:gd name="connsiteX6065" fmla="*/ 2775530 w 8079933"/>
              <a:gd name="connsiteY6065" fmla="*/ 3037314 h 4687251"/>
              <a:gd name="connsiteX6066" fmla="*/ 2752090 w 8079933"/>
              <a:gd name="connsiteY6066" fmla="*/ 3033525 h 4687251"/>
              <a:gd name="connsiteX6067" fmla="*/ 2755020 w 8079933"/>
              <a:gd name="connsiteY6067" fmla="*/ 3034933 h 4687251"/>
              <a:gd name="connsiteX6068" fmla="*/ 2755671 w 8079933"/>
              <a:gd name="connsiteY6068" fmla="*/ 3036882 h 4687251"/>
              <a:gd name="connsiteX6069" fmla="*/ 2755454 w 8079933"/>
              <a:gd name="connsiteY6069" fmla="*/ 3039156 h 4687251"/>
              <a:gd name="connsiteX6070" fmla="*/ 2753066 w 8079933"/>
              <a:gd name="connsiteY6070" fmla="*/ 3038289 h 4687251"/>
              <a:gd name="connsiteX6071" fmla="*/ 2751656 w 8079933"/>
              <a:gd name="connsiteY6071" fmla="*/ 3036232 h 4687251"/>
              <a:gd name="connsiteX6072" fmla="*/ 2104572 w 8079933"/>
              <a:gd name="connsiteY6072" fmla="*/ 3032225 h 4687251"/>
              <a:gd name="connsiteX6073" fmla="*/ 2104572 w 8079933"/>
              <a:gd name="connsiteY6073" fmla="*/ 3032226 h 4687251"/>
              <a:gd name="connsiteX6074" fmla="*/ 2111951 w 8079933"/>
              <a:gd name="connsiteY6074" fmla="*/ 3032875 h 4687251"/>
              <a:gd name="connsiteX6075" fmla="*/ 2120307 w 8079933"/>
              <a:gd name="connsiteY6075" fmla="*/ 3036989 h 4687251"/>
              <a:gd name="connsiteX6076" fmla="*/ 2121133 w 8079933"/>
              <a:gd name="connsiteY6076" fmla="*/ 3037560 h 4687251"/>
              <a:gd name="connsiteX6077" fmla="*/ 2120306 w 8079933"/>
              <a:gd name="connsiteY6077" fmla="*/ 3036989 h 4687251"/>
              <a:gd name="connsiteX6078" fmla="*/ 2111950 w 8079933"/>
              <a:gd name="connsiteY6078" fmla="*/ 3032874 h 4687251"/>
              <a:gd name="connsiteX6079" fmla="*/ 4753951 w 8079933"/>
              <a:gd name="connsiteY6079" fmla="*/ 3031900 h 4687251"/>
              <a:gd name="connsiteX6080" fmla="*/ 4753463 w 8079933"/>
              <a:gd name="connsiteY6080" fmla="*/ 3035256 h 4687251"/>
              <a:gd name="connsiteX6081" fmla="*/ 4747169 w 8079933"/>
              <a:gd name="connsiteY6081" fmla="*/ 3058534 h 4687251"/>
              <a:gd name="connsiteX6082" fmla="*/ 4714180 w 8079933"/>
              <a:gd name="connsiteY6082" fmla="*/ 3060267 h 4687251"/>
              <a:gd name="connsiteX6083" fmla="*/ 4696492 w 8079933"/>
              <a:gd name="connsiteY6083" fmla="*/ 3060809 h 4687251"/>
              <a:gd name="connsiteX6084" fmla="*/ 4696508 w 8079933"/>
              <a:gd name="connsiteY6084" fmla="*/ 3060809 h 4687251"/>
              <a:gd name="connsiteX6085" fmla="*/ 4714180 w 8079933"/>
              <a:gd name="connsiteY6085" fmla="*/ 3060268 h 4687251"/>
              <a:gd name="connsiteX6086" fmla="*/ 4704956 w 8079933"/>
              <a:gd name="connsiteY6086" fmla="*/ 3060809 h 4687251"/>
              <a:gd name="connsiteX6087" fmla="*/ 4704815 w 8079933"/>
              <a:gd name="connsiteY6087" fmla="*/ 3060809 h 4687251"/>
              <a:gd name="connsiteX6088" fmla="*/ 4675874 w 8079933"/>
              <a:gd name="connsiteY6088" fmla="*/ 3060917 h 4687251"/>
              <a:gd name="connsiteX6089" fmla="*/ 4695949 w 8079933"/>
              <a:gd name="connsiteY6089" fmla="*/ 3060809 h 4687251"/>
              <a:gd name="connsiteX6090" fmla="*/ 4695948 w 8079933"/>
              <a:gd name="connsiteY6090" fmla="*/ 3060809 h 4687251"/>
              <a:gd name="connsiteX6091" fmla="*/ 4675873 w 8079933"/>
              <a:gd name="connsiteY6091" fmla="*/ 3060916 h 4687251"/>
              <a:gd name="connsiteX6092" fmla="*/ 4673812 w 8079933"/>
              <a:gd name="connsiteY6092" fmla="*/ 3062973 h 4687251"/>
              <a:gd name="connsiteX6093" fmla="*/ 4671641 w 8079933"/>
              <a:gd name="connsiteY6093" fmla="*/ 3062540 h 4687251"/>
              <a:gd name="connsiteX6094" fmla="*/ 4670230 w 8079933"/>
              <a:gd name="connsiteY6094" fmla="*/ 3064381 h 4687251"/>
              <a:gd name="connsiteX6095" fmla="*/ 4670091 w 8079933"/>
              <a:gd name="connsiteY6095" fmla="*/ 3064183 h 4687251"/>
              <a:gd name="connsiteX6096" fmla="*/ 4670231 w 8079933"/>
              <a:gd name="connsiteY6096" fmla="*/ 3064382 h 4687251"/>
              <a:gd name="connsiteX6097" fmla="*/ 4670231 w 8079933"/>
              <a:gd name="connsiteY6097" fmla="*/ 3064382 h 4687251"/>
              <a:gd name="connsiteX6098" fmla="*/ 4671642 w 8079933"/>
              <a:gd name="connsiteY6098" fmla="*/ 3062542 h 4687251"/>
              <a:gd name="connsiteX6099" fmla="*/ 4673812 w 8079933"/>
              <a:gd name="connsiteY6099" fmla="*/ 3062975 h 4687251"/>
              <a:gd name="connsiteX6100" fmla="*/ 4675874 w 8079933"/>
              <a:gd name="connsiteY6100" fmla="*/ 3060918 h 4687251"/>
              <a:gd name="connsiteX6101" fmla="*/ 4704956 w 8079933"/>
              <a:gd name="connsiteY6101" fmla="*/ 3060809 h 4687251"/>
              <a:gd name="connsiteX6102" fmla="*/ 4714180 w 8079933"/>
              <a:gd name="connsiteY6102" fmla="*/ 3060268 h 4687251"/>
              <a:gd name="connsiteX6103" fmla="*/ 4747169 w 8079933"/>
              <a:gd name="connsiteY6103" fmla="*/ 3058536 h 4687251"/>
              <a:gd name="connsiteX6104" fmla="*/ 4753897 w 8079933"/>
              <a:gd name="connsiteY6104" fmla="*/ 3058103 h 4687251"/>
              <a:gd name="connsiteX6105" fmla="*/ 4841687 w 8079933"/>
              <a:gd name="connsiteY6105" fmla="*/ 3109315 h 4687251"/>
              <a:gd name="connsiteX6106" fmla="*/ 4843010 w 8079933"/>
              <a:gd name="connsiteY6106" fmla="*/ 3111486 h 4687251"/>
              <a:gd name="connsiteX6107" fmla="*/ 4841687 w 8079933"/>
              <a:gd name="connsiteY6107" fmla="*/ 3109314 h 4687251"/>
              <a:gd name="connsiteX6108" fmla="*/ 4753897 w 8079933"/>
              <a:gd name="connsiteY6108" fmla="*/ 3058102 h 4687251"/>
              <a:gd name="connsiteX6109" fmla="*/ 4747169 w 8079933"/>
              <a:gd name="connsiteY6109" fmla="*/ 3058535 h 4687251"/>
              <a:gd name="connsiteX6110" fmla="*/ 4753463 w 8079933"/>
              <a:gd name="connsiteY6110" fmla="*/ 3035256 h 4687251"/>
              <a:gd name="connsiteX6111" fmla="*/ 4366483 w 8079933"/>
              <a:gd name="connsiteY6111" fmla="*/ 3031789 h 4687251"/>
              <a:gd name="connsiteX6112" fmla="*/ 4363996 w 8079933"/>
              <a:gd name="connsiteY6112" fmla="*/ 3032874 h 4687251"/>
              <a:gd name="connsiteX6113" fmla="*/ 4361934 w 8079933"/>
              <a:gd name="connsiteY6113" fmla="*/ 3040778 h 4687251"/>
              <a:gd name="connsiteX6114" fmla="*/ 4361826 w 8079933"/>
              <a:gd name="connsiteY6114" fmla="*/ 3048898 h 4687251"/>
              <a:gd name="connsiteX6115" fmla="*/ 4354230 w 8079933"/>
              <a:gd name="connsiteY6115" fmla="*/ 3061349 h 4687251"/>
              <a:gd name="connsiteX6116" fmla="*/ 4349563 w 8079933"/>
              <a:gd name="connsiteY6116" fmla="*/ 3062649 h 4687251"/>
              <a:gd name="connsiteX6117" fmla="*/ 4345439 w 8079933"/>
              <a:gd name="connsiteY6117" fmla="*/ 3065897 h 4687251"/>
              <a:gd name="connsiteX6118" fmla="*/ 4345440 w 8079933"/>
              <a:gd name="connsiteY6118" fmla="*/ 3065897 h 4687251"/>
              <a:gd name="connsiteX6119" fmla="*/ 4349563 w 8079933"/>
              <a:gd name="connsiteY6119" fmla="*/ 3062649 h 4687251"/>
              <a:gd name="connsiteX6120" fmla="*/ 4354230 w 8079933"/>
              <a:gd name="connsiteY6120" fmla="*/ 3061350 h 4687251"/>
              <a:gd name="connsiteX6121" fmla="*/ 4361826 w 8079933"/>
              <a:gd name="connsiteY6121" fmla="*/ 3048899 h 4687251"/>
              <a:gd name="connsiteX6122" fmla="*/ 4361934 w 8079933"/>
              <a:gd name="connsiteY6122" fmla="*/ 3040779 h 4687251"/>
              <a:gd name="connsiteX6123" fmla="*/ 4363996 w 8079933"/>
              <a:gd name="connsiteY6123" fmla="*/ 3032875 h 4687251"/>
              <a:gd name="connsiteX6124" fmla="*/ 2768694 w 8079933"/>
              <a:gd name="connsiteY6124" fmla="*/ 3031035 h 4687251"/>
              <a:gd name="connsiteX6125" fmla="*/ 2771298 w 8079933"/>
              <a:gd name="connsiteY6125" fmla="*/ 3033200 h 4687251"/>
              <a:gd name="connsiteX6126" fmla="*/ 2770430 w 8079933"/>
              <a:gd name="connsiteY6126" fmla="*/ 3036232 h 4687251"/>
              <a:gd name="connsiteX6127" fmla="*/ 2767282 w 8079933"/>
              <a:gd name="connsiteY6127" fmla="*/ 3037748 h 4687251"/>
              <a:gd name="connsiteX6128" fmla="*/ 2765438 w 8079933"/>
              <a:gd name="connsiteY6128" fmla="*/ 3036556 h 4687251"/>
              <a:gd name="connsiteX6129" fmla="*/ 2759578 w 8079933"/>
              <a:gd name="connsiteY6129" fmla="*/ 3036449 h 4687251"/>
              <a:gd name="connsiteX6130" fmla="*/ 2757408 w 8079933"/>
              <a:gd name="connsiteY6130" fmla="*/ 3035258 h 4687251"/>
              <a:gd name="connsiteX6131" fmla="*/ 2758385 w 8079933"/>
              <a:gd name="connsiteY6131" fmla="*/ 3033200 h 4687251"/>
              <a:gd name="connsiteX6132" fmla="*/ 2761966 w 8079933"/>
              <a:gd name="connsiteY6132" fmla="*/ 3032767 h 4687251"/>
              <a:gd name="connsiteX6133" fmla="*/ 4273276 w 8079933"/>
              <a:gd name="connsiteY6133" fmla="*/ 3030817 h 4687251"/>
              <a:gd name="connsiteX6134" fmla="*/ 4273276 w 8079933"/>
              <a:gd name="connsiteY6134" fmla="*/ 3030818 h 4687251"/>
              <a:gd name="connsiteX6135" fmla="*/ 4274469 w 8079933"/>
              <a:gd name="connsiteY6135" fmla="*/ 3032225 h 4687251"/>
              <a:gd name="connsiteX6136" fmla="*/ 4275333 w 8079933"/>
              <a:gd name="connsiteY6136" fmla="*/ 3034654 h 4687251"/>
              <a:gd name="connsiteX6137" fmla="*/ 4274470 w 8079933"/>
              <a:gd name="connsiteY6137" fmla="*/ 3032225 h 4687251"/>
              <a:gd name="connsiteX6138" fmla="*/ 2137018 w 8079933"/>
              <a:gd name="connsiteY6138" fmla="*/ 3030276 h 4687251"/>
              <a:gd name="connsiteX6139" fmla="*/ 2133545 w 8079933"/>
              <a:gd name="connsiteY6139" fmla="*/ 3033092 h 4687251"/>
              <a:gd name="connsiteX6140" fmla="*/ 2133762 w 8079933"/>
              <a:gd name="connsiteY6140" fmla="*/ 3037963 h 4687251"/>
              <a:gd name="connsiteX6141" fmla="*/ 2130832 w 8079933"/>
              <a:gd name="connsiteY6141" fmla="*/ 3040670 h 4687251"/>
              <a:gd name="connsiteX6142" fmla="*/ 2123128 w 8079933"/>
              <a:gd name="connsiteY6142" fmla="*/ 3038938 h 4687251"/>
              <a:gd name="connsiteX6143" fmla="*/ 2123128 w 8079933"/>
              <a:gd name="connsiteY6143" fmla="*/ 3038938 h 4687251"/>
              <a:gd name="connsiteX6144" fmla="*/ 2130833 w 8079933"/>
              <a:gd name="connsiteY6144" fmla="*/ 3040671 h 4687251"/>
              <a:gd name="connsiteX6145" fmla="*/ 2133763 w 8079933"/>
              <a:gd name="connsiteY6145" fmla="*/ 3037964 h 4687251"/>
              <a:gd name="connsiteX6146" fmla="*/ 2133546 w 8079933"/>
              <a:gd name="connsiteY6146" fmla="*/ 3033092 h 4687251"/>
              <a:gd name="connsiteX6147" fmla="*/ 2137018 w 8079933"/>
              <a:gd name="connsiteY6147" fmla="*/ 3030277 h 4687251"/>
              <a:gd name="connsiteX6148" fmla="*/ 2138646 w 8079933"/>
              <a:gd name="connsiteY6148" fmla="*/ 3030385 h 4687251"/>
              <a:gd name="connsiteX6149" fmla="*/ 2145917 w 8079933"/>
              <a:gd name="connsiteY6149" fmla="*/ 3032875 h 4687251"/>
              <a:gd name="connsiteX6150" fmla="*/ 2149606 w 8079933"/>
              <a:gd name="connsiteY6150" fmla="*/ 3034932 h 4687251"/>
              <a:gd name="connsiteX6151" fmla="*/ 2149801 w 8079933"/>
              <a:gd name="connsiteY6151" fmla="*/ 3035497 h 4687251"/>
              <a:gd name="connsiteX6152" fmla="*/ 2149606 w 8079933"/>
              <a:gd name="connsiteY6152" fmla="*/ 3034932 h 4687251"/>
              <a:gd name="connsiteX6153" fmla="*/ 2145916 w 8079933"/>
              <a:gd name="connsiteY6153" fmla="*/ 3032874 h 4687251"/>
              <a:gd name="connsiteX6154" fmla="*/ 2138646 w 8079933"/>
              <a:gd name="connsiteY6154" fmla="*/ 3030384 h 4687251"/>
              <a:gd name="connsiteX6155" fmla="*/ 4096503 w 8079933"/>
              <a:gd name="connsiteY6155" fmla="*/ 3027787 h 4687251"/>
              <a:gd name="connsiteX6156" fmla="*/ 4100735 w 8079933"/>
              <a:gd name="connsiteY6156" fmla="*/ 3030386 h 4687251"/>
              <a:gd name="connsiteX6157" fmla="*/ 4098999 w 8079933"/>
              <a:gd name="connsiteY6157" fmla="*/ 3033850 h 4687251"/>
              <a:gd name="connsiteX6158" fmla="*/ 4096286 w 8079933"/>
              <a:gd name="connsiteY6158" fmla="*/ 3035582 h 4687251"/>
              <a:gd name="connsiteX6159" fmla="*/ 4094441 w 8079933"/>
              <a:gd name="connsiteY6159" fmla="*/ 3035258 h 4687251"/>
              <a:gd name="connsiteX6160" fmla="*/ 4093681 w 8079933"/>
              <a:gd name="connsiteY6160" fmla="*/ 3030818 h 4687251"/>
              <a:gd name="connsiteX6161" fmla="*/ 4273602 w 8079933"/>
              <a:gd name="connsiteY6161" fmla="*/ 3027461 h 4687251"/>
              <a:gd name="connsiteX6162" fmla="*/ 4273601 w 8079933"/>
              <a:gd name="connsiteY6162" fmla="*/ 3027462 h 4687251"/>
              <a:gd name="connsiteX6163" fmla="*/ 4273307 w 8079933"/>
              <a:gd name="connsiteY6163" fmla="*/ 3030504 h 4687251"/>
              <a:gd name="connsiteX6164" fmla="*/ 4367143 w 8079933"/>
              <a:gd name="connsiteY6164" fmla="*/ 3023238 h 4687251"/>
              <a:gd name="connsiteX6165" fmla="*/ 4367143 w 8079933"/>
              <a:gd name="connsiteY6165" fmla="*/ 3023239 h 4687251"/>
              <a:gd name="connsiteX6166" fmla="*/ 4368120 w 8079933"/>
              <a:gd name="connsiteY6166" fmla="*/ 3024646 h 4687251"/>
              <a:gd name="connsiteX6167" fmla="*/ 4368120 w 8079933"/>
              <a:gd name="connsiteY6167" fmla="*/ 3024645 h 4687251"/>
              <a:gd name="connsiteX6168" fmla="*/ 2303115 w 8079933"/>
              <a:gd name="connsiteY6168" fmla="*/ 3022474 h 4687251"/>
              <a:gd name="connsiteX6169" fmla="*/ 2302723 w 8079933"/>
              <a:gd name="connsiteY6169" fmla="*/ 3022914 h 4687251"/>
              <a:gd name="connsiteX6170" fmla="*/ 2303841 w 8079933"/>
              <a:gd name="connsiteY6170" fmla="*/ 3024073 h 4687251"/>
              <a:gd name="connsiteX6171" fmla="*/ 2304025 w 8079933"/>
              <a:gd name="connsiteY6171" fmla="*/ 3023455 h 4687251"/>
              <a:gd name="connsiteX6172" fmla="*/ 2763158 w 8079933"/>
              <a:gd name="connsiteY6172" fmla="*/ 3021183 h 4687251"/>
              <a:gd name="connsiteX6173" fmla="*/ 2765328 w 8079933"/>
              <a:gd name="connsiteY6173" fmla="*/ 3021507 h 4687251"/>
              <a:gd name="connsiteX6174" fmla="*/ 2763266 w 8079933"/>
              <a:gd name="connsiteY6174" fmla="*/ 3024864 h 4687251"/>
              <a:gd name="connsiteX6175" fmla="*/ 2760663 w 8079933"/>
              <a:gd name="connsiteY6175" fmla="*/ 3025730 h 4687251"/>
              <a:gd name="connsiteX6176" fmla="*/ 2758275 w 8079933"/>
              <a:gd name="connsiteY6176" fmla="*/ 3029411 h 4687251"/>
              <a:gd name="connsiteX6177" fmla="*/ 2755671 w 8079933"/>
              <a:gd name="connsiteY6177" fmla="*/ 3032010 h 4687251"/>
              <a:gd name="connsiteX6178" fmla="*/ 2754803 w 8079933"/>
              <a:gd name="connsiteY6178" fmla="*/ 3027787 h 4687251"/>
              <a:gd name="connsiteX6179" fmla="*/ 2757516 w 8079933"/>
              <a:gd name="connsiteY6179" fmla="*/ 3024756 h 4687251"/>
              <a:gd name="connsiteX6180" fmla="*/ 2759903 w 8079933"/>
              <a:gd name="connsiteY6180" fmla="*/ 3023565 h 4687251"/>
              <a:gd name="connsiteX6181" fmla="*/ 2094815 w 8079933"/>
              <a:gd name="connsiteY6181" fmla="*/ 3019669 h 4687251"/>
              <a:gd name="connsiteX6182" fmla="*/ 2098929 w 8079933"/>
              <a:gd name="connsiteY6182" fmla="*/ 3019775 h 4687251"/>
              <a:gd name="connsiteX6183" fmla="*/ 2103897 w 8079933"/>
              <a:gd name="connsiteY6183" fmla="*/ 3024922 h 4687251"/>
              <a:gd name="connsiteX6184" fmla="*/ 2098928 w 8079933"/>
              <a:gd name="connsiteY6184" fmla="*/ 3019774 h 4687251"/>
              <a:gd name="connsiteX6185" fmla="*/ 4282174 w 8079933"/>
              <a:gd name="connsiteY6185" fmla="*/ 3016743 h 4687251"/>
              <a:gd name="connsiteX6186" fmla="*/ 4283693 w 8079933"/>
              <a:gd name="connsiteY6186" fmla="*/ 3019233 h 4687251"/>
              <a:gd name="connsiteX6187" fmla="*/ 4283042 w 8079933"/>
              <a:gd name="connsiteY6187" fmla="*/ 3023672 h 4687251"/>
              <a:gd name="connsiteX6188" fmla="*/ 4283043 w 8079933"/>
              <a:gd name="connsiteY6188" fmla="*/ 3023672 h 4687251"/>
              <a:gd name="connsiteX6189" fmla="*/ 4283694 w 8079933"/>
              <a:gd name="connsiteY6189" fmla="*/ 3019232 h 4687251"/>
              <a:gd name="connsiteX6190" fmla="*/ 4765616 w 8079933"/>
              <a:gd name="connsiteY6190" fmla="*/ 3015010 h 4687251"/>
              <a:gd name="connsiteX6191" fmla="*/ 4761710 w 8079933"/>
              <a:gd name="connsiteY6191" fmla="*/ 3018691 h 4687251"/>
              <a:gd name="connsiteX6192" fmla="*/ 4758997 w 8079933"/>
              <a:gd name="connsiteY6192" fmla="*/ 3024213 h 4687251"/>
              <a:gd name="connsiteX6193" fmla="*/ 4756718 w 8079933"/>
              <a:gd name="connsiteY6193" fmla="*/ 3026378 h 4687251"/>
              <a:gd name="connsiteX6194" fmla="*/ 4758997 w 8079933"/>
              <a:gd name="connsiteY6194" fmla="*/ 3024213 h 4687251"/>
              <a:gd name="connsiteX6195" fmla="*/ 4761710 w 8079933"/>
              <a:gd name="connsiteY6195" fmla="*/ 3018691 h 4687251"/>
              <a:gd name="connsiteX6196" fmla="*/ 6410729 w 8079933"/>
              <a:gd name="connsiteY6196" fmla="*/ 3014036 h 4687251"/>
              <a:gd name="connsiteX6197" fmla="*/ 6416915 w 8079933"/>
              <a:gd name="connsiteY6197" fmla="*/ 3015226 h 4687251"/>
              <a:gd name="connsiteX6198" fmla="*/ 6422123 w 8079933"/>
              <a:gd name="connsiteY6198" fmla="*/ 3019666 h 4687251"/>
              <a:gd name="connsiteX6199" fmla="*/ 6423643 w 8079933"/>
              <a:gd name="connsiteY6199" fmla="*/ 3026595 h 4687251"/>
              <a:gd name="connsiteX6200" fmla="*/ 6421906 w 8079933"/>
              <a:gd name="connsiteY6200" fmla="*/ 3028111 h 4687251"/>
              <a:gd name="connsiteX6201" fmla="*/ 6416264 w 8079933"/>
              <a:gd name="connsiteY6201" fmla="*/ 3025404 h 4687251"/>
              <a:gd name="connsiteX6202" fmla="*/ 6408016 w 8079933"/>
              <a:gd name="connsiteY6202" fmla="*/ 3024430 h 4687251"/>
              <a:gd name="connsiteX6203" fmla="*/ 6407148 w 8079933"/>
              <a:gd name="connsiteY6203" fmla="*/ 3019991 h 4687251"/>
              <a:gd name="connsiteX6204" fmla="*/ 4174635 w 8079933"/>
              <a:gd name="connsiteY6204" fmla="*/ 3013061 h 4687251"/>
              <a:gd name="connsiteX6205" fmla="*/ 4172413 w 8079933"/>
              <a:gd name="connsiteY6205" fmla="*/ 3013505 h 4687251"/>
              <a:gd name="connsiteX6206" fmla="*/ 4174634 w 8079933"/>
              <a:gd name="connsiteY6206" fmla="*/ 3013062 h 4687251"/>
              <a:gd name="connsiteX6207" fmla="*/ 4175936 w 8079933"/>
              <a:gd name="connsiteY6207" fmla="*/ 3014036 h 4687251"/>
              <a:gd name="connsiteX6208" fmla="*/ 4367794 w 8079933"/>
              <a:gd name="connsiteY6208" fmla="*/ 3013061 h 4687251"/>
              <a:gd name="connsiteX6209" fmla="*/ 4367794 w 8079933"/>
              <a:gd name="connsiteY6209" fmla="*/ 3013061 h 4687251"/>
              <a:gd name="connsiteX6210" fmla="*/ 4368445 w 8079933"/>
              <a:gd name="connsiteY6210" fmla="*/ 3015984 h 4687251"/>
              <a:gd name="connsiteX6211" fmla="*/ 4367400 w 8079933"/>
              <a:gd name="connsiteY6211" fmla="*/ 3021805 h 4687251"/>
              <a:gd name="connsiteX6212" fmla="*/ 4368445 w 8079933"/>
              <a:gd name="connsiteY6212" fmla="*/ 3015984 h 4687251"/>
              <a:gd name="connsiteX6213" fmla="*/ 6447625 w 8079933"/>
              <a:gd name="connsiteY6213" fmla="*/ 3011546 h 4687251"/>
              <a:gd name="connsiteX6214" fmla="*/ 6448602 w 8079933"/>
              <a:gd name="connsiteY6214" fmla="*/ 3014902 h 4687251"/>
              <a:gd name="connsiteX6215" fmla="*/ 6446214 w 8079933"/>
              <a:gd name="connsiteY6215" fmla="*/ 3019558 h 4687251"/>
              <a:gd name="connsiteX6216" fmla="*/ 6441114 w 8079933"/>
              <a:gd name="connsiteY6216" fmla="*/ 3017934 h 4687251"/>
              <a:gd name="connsiteX6217" fmla="*/ 6461407 w 8079933"/>
              <a:gd name="connsiteY6217" fmla="*/ 3011006 h 4687251"/>
              <a:gd name="connsiteX6218" fmla="*/ 6459453 w 8079933"/>
              <a:gd name="connsiteY6218" fmla="*/ 3014795 h 4687251"/>
              <a:gd name="connsiteX6219" fmla="*/ 6461841 w 8079933"/>
              <a:gd name="connsiteY6219" fmla="*/ 3017286 h 4687251"/>
              <a:gd name="connsiteX6220" fmla="*/ 6460322 w 8079933"/>
              <a:gd name="connsiteY6220" fmla="*/ 3024540 h 4687251"/>
              <a:gd name="connsiteX6221" fmla="*/ 6457283 w 8079933"/>
              <a:gd name="connsiteY6221" fmla="*/ 3025623 h 4687251"/>
              <a:gd name="connsiteX6222" fmla="*/ 6455764 w 8079933"/>
              <a:gd name="connsiteY6222" fmla="*/ 3019668 h 4687251"/>
              <a:gd name="connsiteX6223" fmla="*/ 6450664 w 8079933"/>
              <a:gd name="connsiteY6223" fmla="*/ 3018260 h 4687251"/>
              <a:gd name="connsiteX6224" fmla="*/ 6452834 w 8079933"/>
              <a:gd name="connsiteY6224" fmla="*/ 3013496 h 4687251"/>
              <a:gd name="connsiteX6225" fmla="*/ 6456523 w 8079933"/>
              <a:gd name="connsiteY6225" fmla="*/ 3013712 h 4687251"/>
              <a:gd name="connsiteX6226" fmla="*/ 6458802 w 8079933"/>
              <a:gd name="connsiteY6226" fmla="*/ 3011655 h 4687251"/>
              <a:gd name="connsiteX6227" fmla="*/ 4283643 w 8079933"/>
              <a:gd name="connsiteY6227" fmla="*/ 3009299 h 4687251"/>
              <a:gd name="connsiteX6228" fmla="*/ 4283910 w 8079933"/>
              <a:gd name="connsiteY6228" fmla="*/ 3013711 h 4687251"/>
              <a:gd name="connsiteX6229" fmla="*/ 4282992 w 8079933"/>
              <a:gd name="connsiteY6229" fmla="*/ 3015315 h 4687251"/>
              <a:gd name="connsiteX6230" fmla="*/ 4283911 w 8079933"/>
              <a:gd name="connsiteY6230" fmla="*/ 3013711 h 4687251"/>
              <a:gd name="connsiteX6231" fmla="*/ 2291876 w 8079933"/>
              <a:gd name="connsiteY6231" fmla="*/ 3008982 h 4687251"/>
              <a:gd name="connsiteX6232" fmla="*/ 2292739 w 8079933"/>
              <a:gd name="connsiteY6232" fmla="*/ 3011221 h 4687251"/>
              <a:gd name="connsiteX6233" fmla="*/ 2301702 w 8079933"/>
              <a:gd name="connsiteY6233" fmla="*/ 3013535 h 4687251"/>
              <a:gd name="connsiteX6234" fmla="*/ 2300444 w 8079933"/>
              <a:gd name="connsiteY6234" fmla="*/ 3011221 h 4687251"/>
              <a:gd name="connsiteX6235" fmla="*/ 6661836 w 8079933"/>
              <a:gd name="connsiteY6235" fmla="*/ 3006889 h 4687251"/>
              <a:gd name="connsiteX6236" fmla="*/ 6650225 w 8079933"/>
              <a:gd name="connsiteY6236" fmla="*/ 3007214 h 4687251"/>
              <a:gd name="connsiteX6237" fmla="*/ 6646643 w 8079933"/>
              <a:gd name="connsiteY6237" fmla="*/ 3010354 h 4687251"/>
              <a:gd name="connsiteX6238" fmla="*/ 6633405 w 8079933"/>
              <a:gd name="connsiteY6238" fmla="*/ 3015767 h 4687251"/>
              <a:gd name="connsiteX6239" fmla="*/ 6620274 w 8079933"/>
              <a:gd name="connsiteY6239" fmla="*/ 3015010 h 4687251"/>
              <a:gd name="connsiteX6240" fmla="*/ 6616909 w 8079933"/>
              <a:gd name="connsiteY6240" fmla="*/ 3016742 h 4687251"/>
              <a:gd name="connsiteX6241" fmla="*/ 6610942 w 8079933"/>
              <a:gd name="connsiteY6241" fmla="*/ 3016308 h 4687251"/>
              <a:gd name="connsiteX6242" fmla="*/ 6610182 w 8079933"/>
              <a:gd name="connsiteY6242" fmla="*/ 3019124 h 4687251"/>
              <a:gd name="connsiteX6243" fmla="*/ 6603237 w 8079933"/>
              <a:gd name="connsiteY6243" fmla="*/ 3020964 h 4687251"/>
              <a:gd name="connsiteX6244" fmla="*/ 6599767 w 8079933"/>
              <a:gd name="connsiteY6244" fmla="*/ 3020532 h 4687251"/>
              <a:gd name="connsiteX6245" fmla="*/ 6599767 w 8079933"/>
              <a:gd name="connsiteY6245" fmla="*/ 3020533 h 4687251"/>
              <a:gd name="connsiteX6246" fmla="*/ 6603239 w 8079933"/>
              <a:gd name="connsiteY6246" fmla="*/ 3020966 h 4687251"/>
              <a:gd name="connsiteX6247" fmla="*/ 6610184 w 8079933"/>
              <a:gd name="connsiteY6247" fmla="*/ 3019125 h 4687251"/>
              <a:gd name="connsiteX6248" fmla="*/ 6610944 w 8079933"/>
              <a:gd name="connsiteY6248" fmla="*/ 3016310 h 4687251"/>
              <a:gd name="connsiteX6249" fmla="*/ 6616912 w 8079933"/>
              <a:gd name="connsiteY6249" fmla="*/ 3016743 h 4687251"/>
              <a:gd name="connsiteX6250" fmla="*/ 6620276 w 8079933"/>
              <a:gd name="connsiteY6250" fmla="*/ 3015011 h 4687251"/>
              <a:gd name="connsiteX6251" fmla="*/ 6633407 w 8079933"/>
              <a:gd name="connsiteY6251" fmla="*/ 3015769 h 4687251"/>
              <a:gd name="connsiteX6252" fmla="*/ 6646646 w 8079933"/>
              <a:gd name="connsiteY6252" fmla="*/ 3010355 h 4687251"/>
              <a:gd name="connsiteX6253" fmla="*/ 6650227 w 8079933"/>
              <a:gd name="connsiteY6253" fmla="*/ 3007215 h 4687251"/>
              <a:gd name="connsiteX6254" fmla="*/ 6661838 w 8079933"/>
              <a:gd name="connsiteY6254" fmla="*/ 3006891 h 4687251"/>
              <a:gd name="connsiteX6255" fmla="*/ 6667913 w 8079933"/>
              <a:gd name="connsiteY6255" fmla="*/ 3009813 h 4687251"/>
              <a:gd name="connsiteX6256" fmla="*/ 6667913 w 8079933"/>
              <a:gd name="connsiteY6256" fmla="*/ 3009812 h 4687251"/>
              <a:gd name="connsiteX6257" fmla="*/ 6283982 w 8079933"/>
              <a:gd name="connsiteY6257" fmla="*/ 3006675 h 4687251"/>
              <a:gd name="connsiteX6258" fmla="*/ 6287129 w 8079933"/>
              <a:gd name="connsiteY6258" fmla="*/ 3007865 h 4687251"/>
              <a:gd name="connsiteX6259" fmla="*/ 6290710 w 8079933"/>
              <a:gd name="connsiteY6259" fmla="*/ 3014579 h 4687251"/>
              <a:gd name="connsiteX6260" fmla="*/ 6296244 w 8079933"/>
              <a:gd name="connsiteY6260" fmla="*/ 3018909 h 4687251"/>
              <a:gd name="connsiteX6261" fmla="*/ 6294725 w 8079933"/>
              <a:gd name="connsiteY6261" fmla="*/ 3022266 h 4687251"/>
              <a:gd name="connsiteX6262" fmla="*/ 6293748 w 8079933"/>
              <a:gd name="connsiteY6262" fmla="*/ 3028546 h 4687251"/>
              <a:gd name="connsiteX6263" fmla="*/ 6291578 w 8079933"/>
              <a:gd name="connsiteY6263" fmla="*/ 3029520 h 4687251"/>
              <a:gd name="connsiteX6264" fmla="*/ 6287129 w 8079933"/>
              <a:gd name="connsiteY6264" fmla="*/ 3021075 h 4687251"/>
              <a:gd name="connsiteX6265" fmla="*/ 6283656 w 8079933"/>
              <a:gd name="connsiteY6265" fmla="*/ 3020209 h 4687251"/>
              <a:gd name="connsiteX6266" fmla="*/ 6282572 w 8079933"/>
              <a:gd name="connsiteY6266" fmla="*/ 3014903 h 4687251"/>
              <a:gd name="connsiteX6267" fmla="*/ 6277037 w 8079933"/>
              <a:gd name="connsiteY6267" fmla="*/ 3009381 h 4687251"/>
              <a:gd name="connsiteX6268" fmla="*/ 6281703 w 8079933"/>
              <a:gd name="connsiteY6268" fmla="*/ 3009273 h 4687251"/>
              <a:gd name="connsiteX6269" fmla="*/ 6399662 w 8079933"/>
              <a:gd name="connsiteY6269" fmla="*/ 3006458 h 4687251"/>
              <a:gd name="connsiteX6270" fmla="*/ 6405956 w 8079933"/>
              <a:gd name="connsiteY6270" fmla="*/ 3008731 h 4687251"/>
              <a:gd name="connsiteX6271" fmla="*/ 6408452 w 8079933"/>
              <a:gd name="connsiteY6271" fmla="*/ 3012304 h 4687251"/>
              <a:gd name="connsiteX6272" fmla="*/ 6405414 w 8079933"/>
              <a:gd name="connsiteY6272" fmla="*/ 3017501 h 4687251"/>
              <a:gd name="connsiteX6273" fmla="*/ 6403135 w 8079933"/>
              <a:gd name="connsiteY6273" fmla="*/ 3015444 h 4687251"/>
              <a:gd name="connsiteX6274" fmla="*/ 6397166 w 8079933"/>
              <a:gd name="connsiteY6274" fmla="*/ 3006674 h 4687251"/>
              <a:gd name="connsiteX6275" fmla="*/ 2558279 w 8079933"/>
              <a:gd name="connsiteY6275" fmla="*/ 3006239 h 4687251"/>
              <a:gd name="connsiteX6276" fmla="*/ 2557278 w 8079933"/>
              <a:gd name="connsiteY6276" fmla="*/ 3006506 h 4687251"/>
              <a:gd name="connsiteX6277" fmla="*/ 2557303 w 8079933"/>
              <a:gd name="connsiteY6277" fmla="*/ 3006565 h 4687251"/>
              <a:gd name="connsiteX6278" fmla="*/ 2558419 w 8079933"/>
              <a:gd name="connsiteY6278" fmla="*/ 3006565 h 4687251"/>
              <a:gd name="connsiteX6279" fmla="*/ 4769740 w 8079933"/>
              <a:gd name="connsiteY6279" fmla="*/ 3006132 h 4687251"/>
              <a:gd name="connsiteX6280" fmla="*/ 4769957 w 8079933"/>
              <a:gd name="connsiteY6280" fmla="*/ 3008189 h 4687251"/>
              <a:gd name="connsiteX6281" fmla="*/ 4769741 w 8079933"/>
              <a:gd name="connsiteY6281" fmla="*/ 3006132 h 4687251"/>
              <a:gd name="connsiteX6282" fmla="*/ 4273276 w 8079933"/>
              <a:gd name="connsiteY6282" fmla="*/ 3004616 h 4687251"/>
              <a:gd name="connsiteX6283" fmla="*/ 4268067 w 8079933"/>
              <a:gd name="connsiteY6283" fmla="*/ 3006564 h 4687251"/>
              <a:gd name="connsiteX6284" fmla="*/ 4262750 w 8079933"/>
              <a:gd name="connsiteY6284" fmla="*/ 3007972 h 4687251"/>
              <a:gd name="connsiteX6285" fmla="*/ 4259386 w 8079933"/>
              <a:gd name="connsiteY6285" fmla="*/ 3007106 h 4687251"/>
              <a:gd name="connsiteX6286" fmla="*/ 4255697 w 8079933"/>
              <a:gd name="connsiteY6286" fmla="*/ 3009163 h 4687251"/>
              <a:gd name="connsiteX6287" fmla="*/ 4253309 w 8079933"/>
              <a:gd name="connsiteY6287" fmla="*/ 3007864 h 4687251"/>
              <a:gd name="connsiteX6288" fmla="*/ 4253633 w 8079933"/>
              <a:gd name="connsiteY6288" fmla="*/ 3006895 h 4687251"/>
              <a:gd name="connsiteX6289" fmla="*/ 4253309 w 8079933"/>
              <a:gd name="connsiteY6289" fmla="*/ 3007864 h 4687251"/>
              <a:gd name="connsiteX6290" fmla="*/ 4255696 w 8079933"/>
              <a:gd name="connsiteY6290" fmla="*/ 3009164 h 4687251"/>
              <a:gd name="connsiteX6291" fmla="*/ 4259386 w 8079933"/>
              <a:gd name="connsiteY6291" fmla="*/ 3007107 h 4687251"/>
              <a:gd name="connsiteX6292" fmla="*/ 4262750 w 8079933"/>
              <a:gd name="connsiteY6292" fmla="*/ 3007973 h 4687251"/>
              <a:gd name="connsiteX6293" fmla="*/ 4268067 w 8079933"/>
              <a:gd name="connsiteY6293" fmla="*/ 3006566 h 4687251"/>
              <a:gd name="connsiteX6294" fmla="*/ 4273276 w 8079933"/>
              <a:gd name="connsiteY6294" fmla="*/ 3004617 h 4687251"/>
              <a:gd name="connsiteX6295" fmla="*/ 4280872 w 8079933"/>
              <a:gd name="connsiteY6295" fmla="*/ 3004725 h 4687251"/>
              <a:gd name="connsiteX6296" fmla="*/ 4283476 w 8079933"/>
              <a:gd name="connsiteY6296" fmla="*/ 3006565 h 4687251"/>
              <a:gd name="connsiteX6297" fmla="*/ 4283476 w 8079933"/>
              <a:gd name="connsiteY6297" fmla="*/ 3006564 h 4687251"/>
              <a:gd name="connsiteX6298" fmla="*/ 4280872 w 8079933"/>
              <a:gd name="connsiteY6298" fmla="*/ 3004724 h 4687251"/>
              <a:gd name="connsiteX6299" fmla="*/ 6943112 w 8079933"/>
              <a:gd name="connsiteY6299" fmla="*/ 3003426 h 4687251"/>
              <a:gd name="connsiteX6300" fmla="*/ 6949840 w 8079933"/>
              <a:gd name="connsiteY6300" fmla="*/ 3004942 h 4687251"/>
              <a:gd name="connsiteX6301" fmla="*/ 6950382 w 8079933"/>
              <a:gd name="connsiteY6301" fmla="*/ 3007756 h 4687251"/>
              <a:gd name="connsiteX6302" fmla="*/ 6952553 w 8079933"/>
              <a:gd name="connsiteY6302" fmla="*/ 3010138 h 4687251"/>
              <a:gd name="connsiteX6303" fmla="*/ 6950382 w 8079933"/>
              <a:gd name="connsiteY6303" fmla="*/ 3011871 h 4687251"/>
              <a:gd name="connsiteX6304" fmla="*/ 6948211 w 8079933"/>
              <a:gd name="connsiteY6304" fmla="*/ 3015227 h 4687251"/>
              <a:gd name="connsiteX6305" fmla="*/ 6946693 w 8079933"/>
              <a:gd name="connsiteY6305" fmla="*/ 3019450 h 4687251"/>
              <a:gd name="connsiteX6306" fmla="*/ 6943437 w 8079933"/>
              <a:gd name="connsiteY6306" fmla="*/ 3021615 h 4687251"/>
              <a:gd name="connsiteX6307" fmla="*/ 6940832 w 8079933"/>
              <a:gd name="connsiteY6307" fmla="*/ 3024755 h 4687251"/>
              <a:gd name="connsiteX6308" fmla="*/ 6937795 w 8079933"/>
              <a:gd name="connsiteY6308" fmla="*/ 3025080 h 4687251"/>
              <a:gd name="connsiteX6309" fmla="*/ 6935733 w 8079933"/>
              <a:gd name="connsiteY6309" fmla="*/ 3028978 h 4687251"/>
              <a:gd name="connsiteX6310" fmla="*/ 6928137 w 8079933"/>
              <a:gd name="connsiteY6310" fmla="*/ 3034175 h 4687251"/>
              <a:gd name="connsiteX6311" fmla="*/ 6910014 w 8079933"/>
              <a:gd name="connsiteY6311" fmla="*/ 3038289 h 4687251"/>
              <a:gd name="connsiteX6312" fmla="*/ 6905239 w 8079933"/>
              <a:gd name="connsiteY6312" fmla="*/ 3036774 h 4687251"/>
              <a:gd name="connsiteX6313" fmla="*/ 6904045 w 8079933"/>
              <a:gd name="connsiteY6313" fmla="*/ 3034391 h 4687251"/>
              <a:gd name="connsiteX6314" fmla="*/ 6900247 w 8079933"/>
              <a:gd name="connsiteY6314" fmla="*/ 3032226 h 4687251"/>
              <a:gd name="connsiteX6315" fmla="*/ 6894497 w 8079933"/>
              <a:gd name="connsiteY6315" fmla="*/ 3032117 h 4687251"/>
              <a:gd name="connsiteX6316" fmla="*/ 6893520 w 8079933"/>
              <a:gd name="connsiteY6316" fmla="*/ 3033525 h 4687251"/>
              <a:gd name="connsiteX6317" fmla="*/ 6888094 w 8079933"/>
              <a:gd name="connsiteY6317" fmla="*/ 3033850 h 4687251"/>
              <a:gd name="connsiteX6318" fmla="*/ 6878002 w 8079933"/>
              <a:gd name="connsiteY6318" fmla="*/ 3032767 h 4687251"/>
              <a:gd name="connsiteX6319" fmla="*/ 6875071 w 8079933"/>
              <a:gd name="connsiteY6319" fmla="*/ 3034175 h 4687251"/>
              <a:gd name="connsiteX6320" fmla="*/ 6870080 w 8079933"/>
              <a:gd name="connsiteY6320" fmla="*/ 3034175 h 4687251"/>
              <a:gd name="connsiteX6321" fmla="*/ 6868019 w 8079933"/>
              <a:gd name="connsiteY6321" fmla="*/ 3031468 h 4687251"/>
              <a:gd name="connsiteX6322" fmla="*/ 6862267 w 8079933"/>
              <a:gd name="connsiteY6322" fmla="*/ 3030710 h 4687251"/>
              <a:gd name="connsiteX6323" fmla="*/ 6853694 w 8079933"/>
              <a:gd name="connsiteY6323" fmla="*/ 3035041 h 4687251"/>
              <a:gd name="connsiteX6324" fmla="*/ 6845989 w 8079933"/>
              <a:gd name="connsiteY6324" fmla="*/ 3034824 h 4687251"/>
              <a:gd name="connsiteX6325" fmla="*/ 6839370 w 8079933"/>
              <a:gd name="connsiteY6325" fmla="*/ 3031793 h 4687251"/>
              <a:gd name="connsiteX6326" fmla="*/ 6833836 w 8079933"/>
              <a:gd name="connsiteY6326" fmla="*/ 3033633 h 4687251"/>
              <a:gd name="connsiteX6327" fmla="*/ 6829603 w 8079933"/>
              <a:gd name="connsiteY6327" fmla="*/ 3037964 h 4687251"/>
              <a:gd name="connsiteX6328" fmla="*/ 6825806 w 8079933"/>
              <a:gd name="connsiteY6328" fmla="*/ 3046951 h 4687251"/>
              <a:gd name="connsiteX6329" fmla="*/ 6825046 w 8079933"/>
              <a:gd name="connsiteY6329" fmla="*/ 3056154 h 4687251"/>
              <a:gd name="connsiteX6330" fmla="*/ 6828410 w 8079933"/>
              <a:gd name="connsiteY6330" fmla="*/ 3064599 h 4687251"/>
              <a:gd name="connsiteX6331" fmla="*/ 6834595 w 8079933"/>
              <a:gd name="connsiteY6331" fmla="*/ 3069904 h 4687251"/>
              <a:gd name="connsiteX6332" fmla="*/ 6840781 w 8079933"/>
              <a:gd name="connsiteY6332" fmla="*/ 3076833 h 4687251"/>
              <a:gd name="connsiteX6333" fmla="*/ 6841974 w 8079933"/>
              <a:gd name="connsiteY6333" fmla="*/ 3078999 h 4687251"/>
              <a:gd name="connsiteX6334" fmla="*/ 6846966 w 8079933"/>
              <a:gd name="connsiteY6334" fmla="*/ 3079757 h 4687251"/>
              <a:gd name="connsiteX6335" fmla="*/ 6851632 w 8079933"/>
              <a:gd name="connsiteY6335" fmla="*/ 3077375 h 4687251"/>
              <a:gd name="connsiteX6336" fmla="*/ 6854888 w 8079933"/>
              <a:gd name="connsiteY6336" fmla="*/ 3069362 h 4687251"/>
              <a:gd name="connsiteX6337" fmla="*/ 6859554 w 8079933"/>
              <a:gd name="connsiteY6337" fmla="*/ 3063408 h 4687251"/>
              <a:gd name="connsiteX6338" fmla="*/ 6863895 w 8079933"/>
              <a:gd name="connsiteY6338" fmla="*/ 3064599 h 4687251"/>
              <a:gd name="connsiteX6339" fmla="*/ 6868343 w 8079933"/>
              <a:gd name="connsiteY6339" fmla="*/ 3067305 h 4687251"/>
              <a:gd name="connsiteX6340" fmla="*/ 6871816 w 8079933"/>
              <a:gd name="connsiteY6340" fmla="*/ 3066548 h 4687251"/>
              <a:gd name="connsiteX6341" fmla="*/ 6876265 w 8079933"/>
              <a:gd name="connsiteY6341" fmla="*/ 3066872 h 4687251"/>
              <a:gd name="connsiteX6342" fmla="*/ 6880389 w 8079933"/>
              <a:gd name="connsiteY6342" fmla="*/ 3062542 h 4687251"/>
              <a:gd name="connsiteX6343" fmla="*/ 6883862 w 8079933"/>
              <a:gd name="connsiteY6343" fmla="*/ 3061567 h 4687251"/>
              <a:gd name="connsiteX6344" fmla="*/ 6890915 w 8079933"/>
              <a:gd name="connsiteY6344" fmla="*/ 3061567 h 4687251"/>
              <a:gd name="connsiteX6345" fmla="*/ 6895581 w 8079933"/>
              <a:gd name="connsiteY6345" fmla="*/ 3058211 h 4687251"/>
              <a:gd name="connsiteX6346" fmla="*/ 6906216 w 8079933"/>
              <a:gd name="connsiteY6346" fmla="*/ 3057236 h 4687251"/>
              <a:gd name="connsiteX6347" fmla="*/ 6911208 w 8079933"/>
              <a:gd name="connsiteY6347" fmla="*/ 3059077 h 4687251"/>
              <a:gd name="connsiteX6348" fmla="*/ 6911208 w 8079933"/>
              <a:gd name="connsiteY6348" fmla="*/ 3062867 h 4687251"/>
              <a:gd name="connsiteX6349" fmla="*/ 6907084 w 8079933"/>
              <a:gd name="connsiteY6349" fmla="*/ 3068713 h 4687251"/>
              <a:gd name="connsiteX6350" fmla="*/ 6904154 w 8079933"/>
              <a:gd name="connsiteY6350" fmla="*/ 3068388 h 4687251"/>
              <a:gd name="connsiteX6351" fmla="*/ 6899488 w 8079933"/>
              <a:gd name="connsiteY6351" fmla="*/ 3066006 h 4687251"/>
              <a:gd name="connsiteX6352" fmla="*/ 6894388 w 8079933"/>
              <a:gd name="connsiteY6352" fmla="*/ 3067198 h 4687251"/>
              <a:gd name="connsiteX6353" fmla="*/ 6894171 w 8079933"/>
              <a:gd name="connsiteY6353" fmla="*/ 3070445 h 4687251"/>
              <a:gd name="connsiteX6354" fmla="*/ 6889830 w 8079933"/>
              <a:gd name="connsiteY6354" fmla="*/ 3072719 h 4687251"/>
              <a:gd name="connsiteX6355" fmla="*/ 6886575 w 8079933"/>
              <a:gd name="connsiteY6355" fmla="*/ 3078241 h 4687251"/>
              <a:gd name="connsiteX6356" fmla="*/ 6879738 w 8079933"/>
              <a:gd name="connsiteY6356" fmla="*/ 3083546 h 4687251"/>
              <a:gd name="connsiteX6357" fmla="*/ 6870080 w 8079933"/>
              <a:gd name="connsiteY6357" fmla="*/ 3087011 h 4687251"/>
              <a:gd name="connsiteX6358" fmla="*/ 6868995 w 8079933"/>
              <a:gd name="connsiteY6358" fmla="*/ 3089934 h 4687251"/>
              <a:gd name="connsiteX6359" fmla="*/ 6865197 w 8079933"/>
              <a:gd name="connsiteY6359" fmla="*/ 3092749 h 4687251"/>
              <a:gd name="connsiteX6360" fmla="*/ 6860964 w 8079933"/>
              <a:gd name="connsiteY6360" fmla="*/ 3092641 h 4687251"/>
              <a:gd name="connsiteX6361" fmla="*/ 6859880 w 8079933"/>
              <a:gd name="connsiteY6361" fmla="*/ 3090259 h 4687251"/>
              <a:gd name="connsiteX6362" fmla="*/ 6858034 w 8079933"/>
              <a:gd name="connsiteY6362" fmla="*/ 3090043 h 4687251"/>
              <a:gd name="connsiteX6363" fmla="*/ 6857492 w 8079933"/>
              <a:gd name="connsiteY6363" fmla="*/ 3091883 h 4687251"/>
              <a:gd name="connsiteX6364" fmla="*/ 6859880 w 8079933"/>
              <a:gd name="connsiteY6364" fmla="*/ 3096214 h 4687251"/>
              <a:gd name="connsiteX6365" fmla="*/ 6863895 w 8079933"/>
              <a:gd name="connsiteY6365" fmla="*/ 3099029 h 4687251"/>
              <a:gd name="connsiteX6366" fmla="*/ 6870405 w 8079933"/>
              <a:gd name="connsiteY6366" fmla="*/ 3106391 h 4687251"/>
              <a:gd name="connsiteX6367" fmla="*/ 6871599 w 8079933"/>
              <a:gd name="connsiteY6367" fmla="*/ 3110830 h 4687251"/>
              <a:gd name="connsiteX6368" fmla="*/ 6874312 w 8079933"/>
              <a:gd name="connsiteY6368" fmla="*/ 3111047 h 4687251"/>
              <a:gd name="connsiteX6369" fmla="*/ 6878436 w 8079933"/>
              <a:gd name="connsiteY6369" fmla="*/ 3113753 h 4687251"/>
              <a:gd name="connsiteX6370" fmla="*/ 6878978 w 8079933"/>
              <a:gd name="connsiteY6370" fmla="*/ 3116352 h 4687251"/>
              <a:gd name="connsiteX6371" fmla="*/ 6877676 w 8079933"/>
              <a:gd name="connsiteY6371" fmla="*/ 3118518 h 4687251"/>
              <a:gd name="connsiteX6372" fmla="*/ 6880932 w 8079933"/>
              <a:gd name="connsiteY6372" fmla="*/ 3119600 h 4687251"/>
              <a:gd name="connsiteX6373" fmla="*/ 6883102 w 8079933"/>
              <a:gd name="connsiteY6373" fmla="*/ 3121874 h 4687251"/>
              <a:gd name="connsiteX6374" fmla="*/ 6882126 w 8079933"/>
              <a:gd name="connsiteY6374" fmla="*/ 3124256 h 4687251"/>
              <a:gd name="connsiteX6375" fmla="*/ 6880064 w 8079933"/>
              <a:gd name="connsiteY6375" fmla="*/ 3124581 h 4687251"/>
              <a:gd name="connsiteX6376" fmla="*/ 6881366 w 8079933"/>
              <a:gd name="connsiteY6376" fmla="*/ 3127504 h 4687251"/>
              <a:gd name="connsiteX6377" fmla="*/ 6879738 w 8079933"/>
              <a:gd name="connsiteY6377" fmla="*/ 3126855 h 4687251"/>
              <a:gd name="connsiteX6378" fmla="*/ 6878653 w 8079933"/>
              <a:gd name="connsiteY6378" fmla="*/ 3129020 h 4687251"/>
              <a:gd name="connsiteX6379" fmla="*/ 6875940 w 8079933"/>
              <a:gd name="connsiteY6379" fmla="*/ 3131835 h 4687251"/>
              <a:gd name="connsiteX6380" fmla="*/ 6877242 w 8079933"/>
              <a:gd name="connsiteY6380" fmla="*/ 3134758 h 4687251"/>
              <a:gd name="connsiteX6381" fmla="*/ 6881366 w 8079933"/>
              <a:gd name="connsiteY6381" fmla="*/ 3135949 h 4687251"/>
              <a:gd name="connsiteX6382" fmla="*/ 6881583 w 8079933"/>
              <a:gd name="connsiteY6382" fmla="*/ 3138548 h 4687251"/>
              <a:gd name="connsiteX6383" fmla="*/ 6883645 w 8079933"/>
              <a:gd name="connsiteY6383" fmla="*/ 3137248 h 4687251"/>
              <a:gd name="connsiteX6384" fmla="*/ 6885707 w 8079933"/>
              <a:gd name="connsiteY6384" fmla="*/ 3137790 h 4687251"/>
              <a:gd name="connsiteX6385" fmla="*/ 6885598 w 8079933"/>
              <a:gd name="connsiteY6385" fmla="*/ 3140063 h 4687251"/>
              <a:gd name="connsiteX6386" fmla="*/ 6887768 w 8079933"/>
              <a:gd name="connsiteY6386" fmla="*/ 3140388 h 4687251"/>
              <a:gd name="connsiteX6387" fmla="*/ 6888094 w 8079933"/>
              <a:gd name="connsiteY6387" fmla="*/ 3143853 h 4687251"/>
              <a:gd name="connsiteX6388" fmla="*/ 6892651 w 8079933"/>
              <a:gd name="connsiteY6388" fmla="*/ 3143312 h 4687251"/>
              <a:gd name="connsiteX6389" fmla="*/ 6894713 w 8079933"/>
              <a:gd name="connsiteY6389" fmla="*/ 3143961 h 4687251"/>
              <a:gd name="connsiteX6390" fmla="*/ 6896558 w 8079933"/>
              <a:gd name="connsiteY6390" fmla="*/ 3143203 h 4687251"/>
              <a:gd name="connsiteX6391" fmla="*/ 6902743 w 8079933"/>
              <a:gd name="connsiteY6391" fmla="*/ 3143636 h 4687251"/>
              <a:gd name="connsiteX6392" fmla="*/ 6903503 w 8079933"/>
              <a:gd name="connsiteY6392" fmla="*/ 3145693 h 4687251"/>
              <a:gd name="connsiteX6393" fmla="*/ 6901441 w 8079933"/>
              <a:gd name="connsiteY6393" fmla="*/ 3149158 h 4687251"/>
              <a:gd name="connsiteX6394" fmla="*/ 6897969 w 8079933"/>
              <a:gd name="connsiteY6394" fmla="*/ 3149158 h 4687251"/>
              <a:gd name="connsiteX6395" fmla="*/ 6896124 w 8079933"/>
              <a:gd name="connsiteY6395" fmla="*/ 3148184 h 4687251"/>
              <a:gd name="connsiteX6396" fmla="*/ 6893520 w 8079933"/>
              <a:gd name="connsiteY6396" fmla="*/ 3150890 h 4687251"/>
              <a:gd name="connsiteX6397" fmla="*/ 6886466 w 8079933"/>
              <a:gd name="connsiteY6397" fmla="*/ 3150349 h 4687251"/>
              <a:gd name="connsiteX6398" fmla="*/ 6880714 w 8079933"/>
              <a:gd name="connsiteY6398" fmla="*/ 3153597 h 4687251"/>
              <a:gd name="connsiteX6399" fmla="*/ 6876591 w 8079933"/>
              <a:gd name="connsiteY6399" fmla="*/ 3154680 h 4687251"/>
              <a:gd name="connsiteX6400" fmla="*/ 6872468 w 8079933"/>
              <a:gd name="connsiteY6400" fmla="*/ 3158469 h 4687251"/>
              <a:gd name="connsiteX6401" fmla="*/ 6873878 w 8079933"/>
              <a:gd name="connsiteY6401" fmla="*/ 3161934 h 4687251"/>
              <a:gd name="connsiteX6402" fmla="*/ 6874204 w 8079933"/>
              <a:gd name="connsiteY6402" fmla="*/ 3163558 h 4687251"/>
              <a:gd name="connsiteX6403" fmla="*/ 6870188 w 8079933"/>
              <a:gd name="connsiteY6403" fmla="*/ 3164316 h 4687251"/>
              <a:gd name="connsiteX6404" fmla="*/ 6864871 w 8079933"/>
              <a:gd name="connsiteY6404" fmla="*/ 3162042 h 4687251"/>
              <a:gd name="connsiteX6405" fmla="*/ 6862267 w 8079933"/>
              <a:gd name="connsiteY6405" fmla="*/ 3162909 h 4687251"/>
              <a:gd name="connsiteX6406" fmla="*/ 6858794 w 8079933"/>
              <a:gd name="connsiteY6406" fmla="*/ 3161718 h 4687251"/>
              <a:gd name="connsiteX6407" fmla="*/ 6857167 w 8079933"/>
              <a:gd name="connsiteY6407" fmla="*/ 3156953 h 4687251"/>
              <a:gd name="connsiteX6408" fmla="*/ 6858360 w 8079933"/>
              <a:gd name="connsiteY6408" fmla="*/ 3148184 h 4687251"/>
              <a:gd name="connsiteX6409" fmla="*/ 6860205 w 8079933"/>
              <a:gd name="connsiteY6409" fmla="*/ 3148508 h 4687251"/>
              <a:gd name="connsiteX6410" fmla="*/ 6859337 w 8079933"/>
              <a:gd name="connsiteY6410" fmla="*/ 3143961 h 4687251"/>
              <a:gd name="connsiteX6411" fmla="*/ 6853911 w 8079933"/>
              <a:gd name="connsiteY6411" fmla="*/ 3140713 h 4687251"/>
              <a:gd name="connsiteX6412" fmla="*/ 6850982 w 8079933"/>
              <a:gd name="connsiteY6412" fmla="*/ 3137140 h 4687251"/>
              <a:gd name="connsiteX6413" fmla="*/ 6847617 w 8079933"/>
              <a:gd name="connsiteY6413" fmla="*/ 3136599 h 4687251"/>
              <a:gd name="connsiteX6414" fmla="*/ 6845121 w 8079933"/>
              <a:gd name="connsiteY6414" fmla="*/ 3131835 h 4687251"/>
              <a:gd name="connsiteX6415" fmla="*/ 6846098 w 8079933"/>
              <a:gd name="connsiteY6415" fmla="*/ 3127504 h 4687251"/>
              <a:gd name="connsiteX6416" fmla="*/ 6849896 w 8079933"/>
              <a:gd name="connsiteY6416" fmla="*/ 3123173 h 4687251"/>
              <a:gd name="connsiteX6417" fmla="*/ 6849896 w 8079933"/>
              <a:gd name="connsiteY6417" fmla="*/ 3118409 h 4687251"/>
              <a:gd name="connsiteX6418" fmla="*/ 6847617 w 8079933"/>
              <a:gd name="connsiteY6418" fmla="*/ 3114404 h 4687251"/>
              <a:gd name="connsiteX6419" fmla="*/ 6848160 w 8079933"/>
              <a:gd name="connsiteY6419" fmla="*/ 3112021 h 4687251"/>
              <a:gd name="connsiteX6420" fmla="*/ 6843385 w 8079933"/>
              <a:gd name="connsiteY6420" fmla="*/ 3110289 h 4687251"/>
              <a:gd name="connsiteX6421" fmla="*/ 6838502 w 8079933"/>
              <a:gd name="connsiteY6421" fmla="*/ 3111372 h 4687251"/>
              <a:gd name="connsiteX6422" fmla="*/ 6836440 w 8079933"/>
              <a:gd name="connsiteY6422" fmla="*/ 3114620 h 4687251"/>
              <a:gd name="connsiteX6423" fmla="*/ 6831232 w 8079933"/>
              <a:gd name="connsiteY6423" fmla="*/ 3117868 h 4687251"/>
              <a:gd name="connsiteX6424" fmla="*/ 6831232 w 8079933"/>
              <a:gd name="connsiteY6424" fmla="*/ 3120141 h 4687251"/>
              <a:gd name="connsiteX6425" fmla="*/ 6834378 w 8079933"/>
              <a:gd name="connsiteY6425" fmla="*/ 3122849 h 4687251"/>
              <a:gd name="connsiteX6426" fmla="*/ 6835789 w 8079933"/>
              <a:gd name="connsiteY6426" fmla="*/ 3130211 h 4687251"/>
              <a:gd name="connsiteX6427" fmla="*/ 6834162 w 8079933"/>
              <a:gd name="connsiteY6427" fmla="*/ 3136491 h 4687251"/>
              <a:gd name="connsiteX6428" fmla="*/ 6829603 w 8079933"/>
              <a:gd name="connsiteY6428" fmla="*/ 3143312 h 4687251"/>
              <a:gd name="connsiteX6429" fmla="*/ 6831449 w 8079933"/>
              <a:gd name="connsiteY6429" fmla="*/ 3145369 h 4687251"/>
              <a:gd name="connsiteX6430" fmla="*/ 6832316 w 8079933"/>
              <a:gd name="connsiteY6430" fmla="*/ 3152731 h 4687251"/>
              <a:gd name="connsiteX6431" fmla="*/ 6831232 w 8079933"/>
              <a:gd name="connsiteY6431" fmla="*/ 3160743 h 4687251"/>
              <a:gd name="connsiteX6432" fmla="*/ 6828736 w 8079933"/>
              <a:gd name="connsiteY6432" fmla="*/ 3164966 h 4687251"/>
              <a:gd name="connsiteX6433" fmla="*/ 6829387 w 8079933"/>
              <a:gd name="connsiteY6433" fmla="*/ 3171137 h 4687251"/>
              <a:gd name="connsiteX6434" fmla="*/ 6832642 w 8079933"/>
              <a:gd name="connsiteY6434" fmla="*/ 3173411 h 4687251"/>
              <a:gd name="connsiteX6435" fmla="*/ 6833185 w 8079933"/>
              <a:gd name="connsiteY6435" fmla="*/ 3178283 h 4687251"/>
              <a:gd name="connsiteX6436" fmla="*/ 6832316 w 8079933"/>
              <a:gd name="connsiteY6436" fmla="*/ 3181964 h 4687251"/>
              <a:gd name="connsiteX6437" fmla="*/ 6829387 w 8079933"/>
              <a:gd name="connsiteY6437" fmla="*/ 3179799 h 4687251"/>
              <a:gd name="connsiteX6438" fmla="*/ 6825480 w 8079933"/>
              <a:gd name="connsiteY6438" fmla="*/ 3180448 h 4687251"/>
              <a:gd name="connsiteX6439" fmla="*/ 6820922 w 8079933"/>
              <a:gd name="connsiteY6439" fmla="*/ 3179365 h 4687251"/>
              <a:gd name="connsiteX6440" fmla="*/ 6818752 w 8079933"/>
              <a:gd name="connsiteY6440" fmla="*/ 3181964 h 4687251"/>
              <a:gd name="connsiteX6441" fmla="*/ 6813760 w 8079933"/>
              <a:gd name="connsiteY6441" fmla="*/ 3182181 h 4687251"/>
              <a:gd name="connsiteX6442" fmla="*/ 6810396 w 8079933"/>
              <a:gd name="connsiteY6442" fmla="*/ 3180124 h 4687251"/>
              <a:gd name="connsiteX6443" fmla="*/ 6807900 w 8079933"/>
              <a:gd name="connsiteY6443" fmla="*/ 3180124 h 4687251"/>
              <a:gd name="connsiteX6444" fmla="*/ 6807140 w 8079933"/>
              <a:gd name="connsiteY6444" fmla="*/ 3172003 h 4687251"/>
              <a:gd name="connsiteX6445" fmla="*/ 6807684 w 8079933"/>
              <a:gd name="connsiteY6445" fmla="*/ 3161718 h 4687251"/>
              <a:gd name="connsiteX6446" fmla="*/ 6811155 w 8079933"/>
              <a:gd name="connsiteY6446" fmla="*/ 3156737 h 4687251"/>
              <a:gd name="connsiteX6447" fmla="*/ 6812458 w 8079933"/>
              <a:gd name="connsiteY6447" fmla="*/ 3150565 h 4687251"/>
              <a:gd name="connsiteX6448" fmla="*/ 6814194 w 8079933"/>
              <a:gd name="connsiteY6448" fmla="*/ 3147859 h 4687251"/>
              <a:gd name="connsiteX6449" fmla="*/ 6810070 w 8079933"/>
              <a:gd name="connsiteY6449" fmla="*/ 3136816 h 4687251"/>
              <a:gd name="connsiteX6450" fmla="*/ 6808551 w 8079933"/>
              <a:gd name="connsiteY6450" fmla="*/ 3130752 h 4687251"/>
              <a:gd name="connsiteX6451" fmla="*/ 6806164 w 8079933"/>
              <a:gd name="connsiteY6451" fmla="*/ 3129561 h 4687251"/>
              <a:gd name="connsiteX6452" fmla="*/ 6803559 w 8079933"/>
              <a:gd name="connsiteY6452" fmla="*/ 3131510 h 4687251"/>
              <a:gd name="connsiteX6453" fmla="*/ 6799978 w 8079933"/>
              <a:gd name="connsiteY6453" fmla="*/ 3131510 h 4687251"/>
              <a:gd name="connsiteX6454" fmla="*/ 6798242 w 8079933"/>
              <a:gd name="connsiteY6454" fmla="*/ 3132485 h 4687251"/>
              <a:gd name="connsiteX6455" fmla="*/ 6795638 w 8079933"/>
              <a:gd name="connsiteY6455" fmla="*/ 3128695 h 4687251"/>
              <a:gd name="connsiteX6456" fmla="*/ 6792816 w 8079933"/>
              <a:gd name="connsiteY6456" fmla="*/ 3120467 h 4687251"/>
              <a:gd name="connsiteX6457" fmla="*/ 6794986 w 8079933"/>
              <a:gd name="connsiteY6457" fmla="*/ 3117759 h 4687251"/>
              <a:gd name="connsiteX6458" fmla="*/ 6794119 w 8079933"/>
              <a:gd name="connsiteY6458" fmla="*/ 3115811 h 4687251"/>
              <a:gd name="connsiteX6459" fmla="*/ 6795746 w 8079933"/>
              <a:gd name="connsiteY6459" fmla="*/ 3109639 h 4687251"/>
              <a:gd name="connsiteX6460" fmla="*/ 6801281 w 8079933"/>
              <a:gd name="connsiteY6460" fmla="*/ 3105308 h 4687251"/>
              <a:gd name="connsiteX6461" fmla="*/ 6801172 w 8079933"/>
              <a:gd name="connsiteY6461" fmla="*/ 3099353 h 4687251"/>
              <a:gd name="connsiteX6462" fmla="*/ 6804211 w 8079933"/>
              <a:gd name="connsiteY6462" fmla="*/ 3097946 h 4687251"/>
              <a:gd name="connsiteX6463" fmla="*/ 6804971 w 8079933"/>
              <a:gd name="connsiteY6463" fmla="*/ 3093940 h 4687251"/>
              <a:gd name="connsiteX6464" fmla="*/ 6806164 w 8079933"/>
              <a:gd name="connsiteY6464" fmla="*/ 3091774 h 4687251"/>
              <a:gd name="connsiteX6465" fmla="*/ 6804971 w 8079933"/>
              <a:gd name="connsiteY6465" fmla="*/ 3081814 h 4687251"/>
              <a:gd name="connsiteX6466" fmla="*/ 6806598 w 8079933"/>
              <a:gd name="connsiteY6466" fmla="*/ 3078241 h 4687251"/>
              <a:gd name="connsiteX6467" fmla="*/ 6805947 w 8079933"/>
              <a:gd name="connsiteY6467" fmla="*/ 3072719 h 4687251"/>
              <a:gd name="connsiteX6468" fmla="*/ 6806815 w 8079933"/>
              <a:gd name="connsiteY6468" fmla="*/ 3068064 h 4687251"/>
              <a:gd name="connsiteX6469" fmla="*/ 6810613 w 8079933"/>
              <a:gd name="connsiteY6469" fmla="*/ 3066006 h 4687251"/>
              <a:gd name="connsiteX6470" fmla="*/ 6813760 w 8079933"/>
              <a:gd name="connsiteY6470" fmla="*/ 3062217 h 4687251"/>
              <a:gd name="connsiteX6471" fmla="*/ 6816798 w 8079933"/>
              <a:gd name="connsiteY6471" fmla="*/ 3061351 h 4687251"/>
              <a:gd name="connsiteX6472" fmla="*/ 6818209 w 8079933"/>
              <a:gd name="connsiteY6472" fmla="*/ 3064923 h 4687251"/>
              <a:gd name="connsiteX6473" fmla="*/ 6820054 w 8079933"/>
              <a:gd name="connsiteY6473" fmla="*/ 3067305 h 4687251"/>
              <a:gd name="connsiteX6474" fmla="*/ 6819402 w 8079933"/>
              <a:gd name="connsiteY6474" fmla="*/ 3062867 h 4687251"/>
              <a:gd name="connsiteX6475" fmla="*/ 6817016 w 8079933"/>
              <a:gd name="connsiteY6475" fmla="*/ 3057236 h 4687251"/>
              <a:gd name="connsiteX6476" fmla="*/ 6818209 w 8079933"/>
              <a:gd name="connsiteY6476" fmla="*/ 3054421 h 4687251"/>
              <a:gd name="connsiteX6477" fmla="*/ 6818535 w 8079933"/>
              <a:gd name="connsiteY6477" fmla="*/ 3046517 h 4687251"/>
              <a:gd name="connsiteX6478" fmla="*/ 6817341 w 8079933"/>
              <a:gd name="connsiteY6478" fmla="*/ 3042620 h 4687251"/>
              <a:gd name="connsiteX6479" fmla="*/ 6817341 w 8079933"/>
              <a:gd name="connsiteY6479" fmla="*/ 3035691 h 4687251"/>
              <a:gd name="connsiteX6480" fmla="*/ 6823310 w 8079933"/>
              <a:gd name="connsiteY6480" fmla="*/ 3030060 h 4687251"/>
              <a:gd name="connsiteX6481" fmla="*/ 6822875 w 8079933"/>
              <a:gd name="connsiteY6481" fmla="*/ 3028329 h 4687251"/>
              <a:gd name="connsiteX6482" fmla="*/ 6825046 w 8079933"/>
              <a:gd name="connsiteY6482" fmla="*/ 3025730 h 4687251"/>
              <a:gd name="connsiteX6483" fmla="*/ 6830797 w 8079933"/>
              <a:gd name="connsiteY6483" fmla="*/ 3024430 h 4687251"/>
              <a:gd name="connsiteX6484" fmla="*/ 6836982 w 8079933"/>
              <a:gd name="connsiteY6484" fmla="*/ 3026379 h 4687251"/>
              <a:gd name="connsiteX6485" fmla="*/ 6840021 w 8079933"/>
              <a:gd name="connsiteY6485" fmla="*/ 3023672 h 4687251"/>
              <a:gd name="connsiteX6486" fmla="*/ 6842083 w 8079933"/>
              <a:gd name="connsiteY6486" fmla="*/ 3019233 h 4687251"/>
              <a:gd name="connsiteX6487" fmla="*/ 6845772 w 8079933"/>
              <a:gd name="connsiteY6487" fmla="*/ 3016852 h 4687251"/>
              <a:gd name="connsiteX6488" fmla="*/ 6845772 w 8079933"/>
              <a:gd name="connsiteY6488" fmla="*/ 3011654 h 4687251"/>
              <a:gd name="connsiteX6489" fmla="*/ 6850113 w 8079933"/>
              <a:gd name="connsiteY6489" fmla="*/ 3011438 h 4687251"/>
              <a:gd name="connsiteX6490" fmla="*/ 6857167 w 8079933"/>
              <a:gd name="connsiteY6490" fmla="*/ 3012846 h 4687251"/>
              <a:gd name="connsiteX6491" fmla="*/ 6861833 w 8079933"/>
              <a:gd name="connsiteY6491" fmla="*/ 3017285 h 4687251"/>
              <a:gd name="connsiteX6492" fmla="*/ 6865413 w 8079933"/>
              <a:gd name="connsiteY6492" fmla="*/ 3019450 h 4687251"/>
              <a:gd name="connsiteX6493" fmla="*/ 6868669 w 8079933"/>
              <a:gd name="connsiteY6493" fmla="*/ 3017285 h 4687251"/>
              <a:gd name="connsiteX6494" fmla="*/ 6874855 w 8079933"/>
              <a:gd name="connsiteY6494" fmla="*/ 3018367 h 4687251"/>
              <a:gd name="connsiteX6495" fmla="*/ 6879413 w 8079933"/>
              <a:gd name="connsiteY6495" fmla="*/ 3019450 h 4687251"/>
              <a:gd name="connsiteX6496" fmla="*/ 6883536 w 8079933"/>
              <a:gd name="connsiteY6496" fmla="*/ 3019233 h 4687251"/>
              <a:gd name="connsiteX6497" fmla="*/ 6887117 w 8079933"/>
              <a:gd name="connsiteY6497" fmla="*/ 3019558 h 4687251"/>
              <a:gd name="connsiteX6498" fmla="*/ 6891784 w 8079933"/>
              <a:gd name="connsiteY6498" fmla="*/ 3023672 h 4687251"/>
              <a:gd name="connsiteX6499" fmla="*/ 6893954 w 8079933"/>
              <a:gd name="connsiteY6499" fmla="*/ 3023348 h 4687251"/>
              <a:gd name="connsiteX6500" fmla="*/ 6895690 w 8079933"/>
              <a:gd name="connsiteY6500" fmla="*/ 3020749 h 4687251"/>
              <a:gd name="connsiteX6501" fmla="*/ 6905348 w 8079933"/>
              <a:gd name="connsiteY6501" fmla="*/ 3021615 h 4687251"/>
              <a:gd name="connsiteX6502" fmla="*/ 6916743 w 8079933"/>
              <a:gd name="connsiteY6502" fmla="*/ 3023889 h 4687251"/>
              <a:gd name="connsiteX6503" fmla="*/ 6922385 w 8079933"/>
              <a:gd name="connsiteY6503" fmla="*/ 3022482 h 4687251"/>
              <a:gd name="connsiteX6504" fmla="*/ 6924881 w 8079933"/>
              <a:gd name="connsiteY6504" fmla="*/ 3018801 h 4687251"/>
              <a:gd name="connsiteX6505" fmla="*/ 6928679 w 8079933"/>
              <a:gd name="connsiteY6505" fmla="*/ 3018367 h 4687251"/>
              <a:gd name="connsiteX6506" fmla="*/ 6933671 w 8079933"/>
              <a:gd name="connsiteY6506" fmla="*/ 3014794 h 4687251"/>
              <a:gd name="connsiteX6507" fmla="*/ 6933996 w 8079933"/>
              <a:gd name="connsiteY6507" fmla="*/ 3012304 h 4687251"/>
              <a:gd name="connsiteX6508" fmla="*/ 6937577 w 8079933"/>
              <a:gd name="connsiteY6508" fmla="*/ 3009597 h 4687251"/>
              <a:gd name="connsiteX6509" fmla="*/ 6938446 w 8079933"/>
              <a:gd name="connsiteY6509" fmla="*/ 3004942 h 4687251"/>
              <a:gd name="connsiteX6510" fmla="*/ 2353253 w 8079933"/>
              <a:gd name="connsiteY6510" fmla="*/ 2997911 h 4687251"/>
              <a:gd name="connsiteX6511" fmla="*/ 2355787 w 8079933"/>
              <a:gd name="connsiteY6511" fmla="*/ 3004292 h 4687251"/>
              <a:gd name="connsiteX6512" fmla="*/ 2356163 w 8079933"/>
              <a:gd name="connsiteY6512" fmla="*/ 3008317 h 4687251"/>
              <a:gd name="connsiteX6513" fmla="*/ 2356164 w 8079933"/>
              <a:gd name="connsiteY6513" fmla="*/ 3008318 h 4687251"/>
              <a:gd name="connsiteX6514" fmla="*/ 2355788 w 8079933"/>
              <a:gd name="connsiteY6514" fmla="*/ 3004291 h 4687251"/>
              <a:gd name="connsiteX6515" fmla="*/ 4372485 w 8079933"/>
              <a:gd name="connsiteY6515" fmla="*/ 2995387 h 4687251"/>
              <a:gd name="connsiteX6516" fmla="*/ 4372243 w 8079933"/>
              <a:gd name="connsiteY6516" fmla="*/ 2996279 h 4687251"/>
              <a:gd name="connsiteX6517" fmla="*/ 4371918 w 8079933"/>
              <a:gd name="connsiteY6517" fmla="*/ 3001584 h 4687251"/>
              <a:gd name="connsiteX6518" fmla="*/ 4368445 w 8079933"/>
              <a:gd name="connsiteY6518" fmla="*/ 3006023 h 4687251"/>
              <a:gd name="connsiteX6519" fmla="*/ 4367843 w 8079933"/>
              <a:gd name="connsiteY6519" fmla="*/ 3012535 h 4687251"/>
              <a:gd name="connsiteX6520" fmla="*/ 4368445 w 8079933"/>
              <a:gd name="connsiteY6520" fmla="*/ 3006024 h 4687251"/>
              <a:gd name="connsiteX6521" fmla="*/ 4371918 w 8079933"/>
              <a:gd name="connsiteY6521" fmla="*/ 3001584 h 4687251"/>
              <a:gd name="connsiteX6522" fmla="*/ 4372243 w 8079933"/>
              <a:gd name="connsiteY6522" fmla="*/ 2996279 h 4687251"/>
              <a:gd name="connsiteX6523" fmla="*/ 4320264 w 8079933"/>
              <a:gd name="connsiteY6523" fmla="*/ 2992491 h 4687251"/>
              <a:gd name="connsiteX6524" fmla="*/ 4320914 w 8079933"/>
              <a:gd name="connsiteY6524" fmla="*/ 2993897 h 4687251"/>
              <a:gd name="connsiteX6525" fmla="*/ 4320915 w 8079933"/>
              <a:gd name="connsiteY6525" fmla="*/ 2993897 h 4687251"/>
              <a:gd name="connsiteX6526" fmla="*/ 4320265 w 8079933"/>
              <a:gd name="connsiteY6526" fmla="*/ 2992491 h 4687251"/>
              <a:gd name="connsiteX6527" fmla="*/ 6387615 w 8079933"/>
              <a:gd name="connsiteY6527" fmla="*/ 2991732 h 4687251"/>
              <a:gd name="connsiteX6528" fmla="*/ 6391956 w 8079933"/>
              <a:gd name="connsiteY6528" fmla="*/ 2996604 h 4687251"/>
              <a:gd name="connsiteX6529" fmla="*/ 6387615 w 8079933"/>
              <a:gd name="connsiteY6529" fmla="*/ 3001477 h 4687251"/>
              <a:gd name="connsiteX6530" fmla="*/ 6383274 w 8079933"/>
              <a:gd name="connsiteY6530" fmla="*/ 3002126 h 4687251"/>
              <a:gd name="connsiteX6531" fmla="*/ 6380670 w 8079933"/>
              <a:gd name="connsiteY6531" fmla="*/ 2994980 h 4687251"/>
              <a:gd name="connsiteX6532" fmla="*/ 6384793 w 8079933"/>
              <a:gd name="connsiteY6532" fmla="*/ 2994222 h 4687251"/>
              <a:gd name="connsiteX6533" fmla="*/ 2613426 w 8079933"/>
              <a:gd name="connsiteY6533" fmla="*/ 2991360 h 4687251"/>
              <a:gd name="connsiteX6534" fmla="*/ 2613949 w 8079933"/>
              <a:gd name="connsiteY6534" fmla="*/ 2991732 h 4687251"/>
              <a:gd name="connsiteX6535" fmla="*/ 2615200 w 8079933"/>
              <a:gd name="connsiteY6535" fmla="*/ 2992066 h 4687251"/>
              <a:gd name="connsiteX6536" fmla="*/ 2614274 w 8079933"/>
              <a:gd name="connsiteY6536" fmla="*/ 2991407 h 4687251"/>
              <a:gd name="connsiteX6537" fmla="*/ 6280293 w 8079933"/>
              <a:gd name="connsiteY6537" fmla="*/ 2990109 h 4687251"/>
              <a:gd name="connsiteX6538" fmla="*/ 6282355 w 8079933"/>
              <a:gd name="connsiteY6538" fmla="*/ 2993141 h 4687251"/>
              <a:gd name="connsiteX6539" fmla="*/ 6276820 w 8079933"/>
              <a:gd name="connsiteY6539" fmla="*/ 2991300 h 4687251"/>
              <a:gd name="connsiteX6540" fmla="*/ 2598105 w 8079933"/>
              <a:gd name="connsiteY6540" fmla="*/ 2989891 h 4687251"/>
              <a:gd name="connsiteX6541" fmla="*/ 2596892 w 8079933"/>
              <a:gd name="connsiteY6541" fmla="*/ 2989947 h 4687251"/>
              <a:gd name="connsiteX6542" fmla="*/ 2598105 w 8079933"/>
              <a:gd name="connsiteY6542" fmla="*/ 2991298 h 4687251"/>
              <a:gd name="connsiteX6543" fmla="*/ 2599218 w 8079933"/>
              <a:gd name="connsiteY6543" fmla="*/ 2991132 h 4687251"/>
              <a:gd name="connsiteX6544" fmla="*/ 2343633 w 8079933"/>
              <a:gd name="connsiteY6544" fmla="*/ 2989350 h 4687251"/>
              <a:gd name="connsiteX6545" fmla="*/ 2342769 w 8079933"/>
              <a:gd name="connsiteY6545" fmla="*/ 2989576 h 4687251"/>
              <a:gd name="connsiteX6546" fmla="*/ 2343417 w 8079933"/>
              <a:gd name="connsiteY6546" fmla="*/ 2991407 h 4687251"/>
              <a:gd name="connsiteX6547" fmla="*/ 2347431 w 8079933"/>
              <a:gd name="connsiteY6547" fmla="*/ 2996279 h 4687251"/>
              <a:gd name="connsiteX6548" fmla="*/ 2348408 w 8079933"/>
              <a:gd name="connsiteY6548" fmla="*/ 3001585 h 4687251"/>
              <a:gd name="connsiteX6549" fmla="*/ 2348408 w 8079933"/>
              <a:gd name="connsiteY6549" fmla="*/ 3008081 h 4687251"/>
              <a:gd name="connsiteX6550" fmla="*/ 2349740 w 8079933"/>
              <a:gd name="connsiteY6550" fmla="*/ 3007920 h 4687251"/>
              <a:gd name="connsiteX6551" fmla="*/ 2349819 w 8079933"/>
              <a:gd name="connsiteY6551" fmla="*/ 3003100 h 4687251"/>
              <a:gd name="connsiteX6552" fmla="*/ 2348843 w 8079933"/>
              <a:gd name="connsiteY6552" fmla="*/ 2997903 h 4687251"/>
              <a:gd name="connsiteX6553" fmla="*/ 2344936 w 8079933"/>
              <a:gd name="connsiteY6553" fmla="*/ 2993031 h 4687251"/>
              <a:gd name="connsiteX6554" fmla="*/ 7018967 w 8079933"/>
              <a:gd name="connsiteY6554" fmla="*/ 2988485 h 4687251"/>
              <a:gd name="connsiteX6555" fmla="*/ 7018424 w 8079933"/>
              <a:gd name="connsiteY6555" fmla="*/ 2992274 h 4687251"/>
              <a:gd name="connsiteX6556" fmla="*/ 7014734 w 8079933"/>
              <a:gd name="connsiteY6556" fmla="*/ 2996389 h 4687251"/>
              <a:gd name="connsiteX6557" fmla="*/ 7015602 w 8079933"/>
              <a:gd name="connsiteY6557" fmla="*/ 2998987 h 4687251"/>
              <a:gd name="connsiteX6558" fmla="*/ 7019726 w 8079933"/>
              <a:gd name="connsiteY6558" fmla="*/ 3000611 h 4687251"/>
              <a:gd name="connsiteX6559" fmla="*/ 7019726 w 8079933"/>
              <a:gd name="connsiteY6559" fmla="*/ 3007866 h 4687251"/>
              <a:gd name="connsiteX6560" fmla="*/ 7017881 w 8079933"/>
              <a:gd name="connsiteY6560" fmla="*/ 3013929 h 4687251"/>
              <a:gd name="connsiteX6561" fmla="*/ 7014083 w 8079933"/>
              <a:gd name="connsiteY6561" fmla="*/ 3014037 h 4687251"/>
              <a:gd name="connsiteX6562" fmla="*/ 7010610 w 8079933"/>
              <a:gd name="connsiteY6562" fmla="*/ 3017502 h 4687251"/>
              <a:gd name="connsiteX6563" fmla="*/ 7012672 w 8079933"/>
              <a:gd name="connsiteY6563" fmla="*/ 3021399 h 4687251"/>
              <a:gd name="connsiteX6564" fmla="*/ 7015494 w 8079933"/>
              <a:gd name="connsiteY6564" fmla="*/ 3020966 h 4687251"/>
              <a:gd name="connsiteX6565" fmla="*/ 7017013 w 8079933"/>
              <a:gd name="connsiteY6565" fmla="*/ 3017177 h 4687251"/>
              <a:gd name="connsiteX6566" fmla="*/ 7021137 w 8079933"/>
              <a:gd name="connsiteY6566" fmla="*/ 3015228 h 4687251"/>
              <a:gd name="connsiteX6567" fmla="*/ 7023198 w 8079933"/>
              <a:gd name="connsiteY6567" fmla="*/ 3012846 h 4687251"/>
              <a:gd name="connsiteX6568" fmla="*/ 7020811 w 8079933"/>
              <a:gd name="connsiteY6568" fmla="*/ 3012738 h 4687251"/>
              <a:gd name="connsiteX6569" fmla="*/ 7021354 w 8079933"/>
              <a:gd name="connsiteY6569" fmla="*/ 3009382 h 4687251"/>
              <a:gd name="connsiteX6570" fmla="*/ 7028516 w 8079933"/>
              <a:gd name="connsiteY6570" fmla="*/ 3005808 h 4687251"/>
              <a:gd name="connsiteX6571" fmla="*/ 7036112 w 8079933"/>
              <a:gd name="connsiteY6571" fmla="*/ 3003101 h 4687251"/>
              <a:gd name="connsiteX6572" fmla="*/ 7038933 w 8079933"/>
              <a:gd name="connsiteY6572" fmla="*/ 3006025 h 4687251"/>
              <a:gd name="connsiteX6573" fmla="*/ 7039258 w 8079933"/>
              <a:gd name="connsiteY6573" fmla="*/ 3009382 h 4687251"/>
              <a:gd name="connsiteX6574" fmla="*/ 7035569 w 8079933"/>
              <a:gd name="connsiteY6574" fmla="*/ 3017827 h 4687251"/>
              <a:gd name="connsiteX6575" fmla="*/ 7026996 w 8079933"/>
              <a:gd name="connsiteY6575" fmla="*/ 3020750 h 4687251"/>
              <a:gd name="connsiteX6576" fmla="*/ 7023850 w 8079933"/>
              <a:gd name="connsiteY6576" fmla="*/ 3024431 h 4687251"/>
              <a:gd name="connsiteX6577" fmla="*/ 7025803 w 8079933"/>
              <a:gd name="connsiteY6577" fmla="*/ 3027679 h 4687251"/>
              <a:gd name="connsiteX6578" fmla="*/ 7028949 w 8079933"/>
              <a:gd name="connsiteY6578" fmla="*/ 3028004 h 4687251"/>
              <a:gd name="connsiteX6579" fmla="*/ 7034918 w 8079933"/>
              <a:gd name="connsiteY6579" fmla="*/ 3032227 h 4687251"/>
              <a:gd name="connsiteX6580" fmla="*/ 7035786 w 8079933"/>
              <a:gd name="connsiteY6580" fmla="*/ 3035691 h 4687251"/>
              <a:gd name="connsiteX6581" fmla="*/ 7038065 w 8079933"/>
              <a:gd name="connsiteY6581" fmla="*/ 3037640 h 4687251"/>
              <a:gd name="connsiteX6582" fmla="*/ 7033399 w 8079933"/>
              <a:gd name="connsiteY6582" fmla="*/ 3037964 h 4687251"/>
              <a:gd name="connsiteX6583" fmla="*/ 7030143 w 8079933"/>
              <a:gd name="connsiteY6583" fmla="*/ 3035366 h 4687251"/>
              <a:gd name="connsiteX6584" fmla="*/ 7023850 w 8079933"/>
              <a:gd name="connsiteY6584" fmla="*/ 3035258 h 4687251"/>
              <a:gd name="connsiteX6585" fmla="*/ 7018424 w 8079933"/>
              <a:gd name="connsiteY6585" fmla="*/ 3033525 h 4687251"/>
              <a:gd name="connsiteX6586" fmla="*/ 7014951 w 8079933"/>
              <a:gd name="connsiteY6586" fmla="*/ 3034717 h 4687251"/>
              <a:gd name="connsiteX6587" fmla="*/ 7014951 w 8079933"/>
              <a:gd name="connsiteY6587" fmla="*/ 3043595 h 4687251"/>
              <a:gd name="connsiteX6588" fmla="*/ 7018967 w 8079933"/>
              <a:gd name="connsiteY6588" fmla="*/ 3051390 h 4687251"/>
              <a:gd name="connsiteX6589" fmla="*/ 7020811 w 8079933"/>
              <a:gd name="connsiteY6589" fmla="*/ 3058104 h 4687251"/>
              <a:gd name="connsiteX6590" fmla="*/ 7026996 w 8079933"/>
              <a:gd name="connsiteY6590" fmla="*/ 3063517 h 4687251"/>
              <a:gd name="connsiteX6591" fmla="*/ 7028407 w 8079933"/>
              <a:gd name="connsiteY6591" fmla="*/ 3065790 h 4687251"/>
              <a:gd name="connsiteX6592" fmla="*/ 7026454 w 8079933"/>
              <a:gd name="connsiteY6592" fmla="*/ 3066549 h 4687251"/>
              <a:gd name="connsiteX6593" fmla="*/ 7026128 w 8079933"/>
              <a:gd name="connsiteY6593" fmla="*/ 3069363 h 4687251"/>
              <a:gd name="connsiteX6594" fmla="*/ 7025152 w 8079933"/>
              <a:gd name="connsiteY6594" fmla="*/ 3065574 h 4687251"/>
              <a:gd name="connsiteX6595" fmla="*/ 7021028 w 8079933"/>
              <a:gd name="connsiteY6595" fmla="*/ 3063950 h 4687251"/>
              <a:gd name="connsiteX6596" fmla="*/ 7017231 w 8079933"/>
              <a:gd name="connsiteY6596" fmla="*/ 3056154 h 4687251"/>
              <a:gd name="connsiteX6597" fmla="*/ 7012130 w 8079933"/>
              <a:gd name="connsiteY6597" fmla="*/ 3053123 h 4687251"/>
              <a:gd name="connsiteX6598" fmla="*/ 7009091 w 8079933"/>
              <a:gd name="connsiteY6598" fmla="*/ 3047709 h 4687251"/>
              <a:gd name="connsiteX6599" fmla="*/ 7010936 w 8079933"/>
              <a:gd name="connsiteY6599" fmla="*/ 3042729 h 4687251"/>
              <a:gd name="connsiteX6600" fmla="*/ 7010177 w 8079933"/>
              <a:gd name="connsiteY6600" fmla="*/ 3040022 h 4687251"/>
              <a:gd name="connsiteX6601" fmla="*/ 7010827 w 8079933"/>
              <a:gd name="connsiteY6601" fmla="*/ 3037099 h 4687251"/>
              <a:gd name="connsiteX6602" fmla="*/ 7006161 w 8079933"/>
              <a:gd name="connsiteY6602" fmla="*/ 3033309 h 4687251"/>
              <a:gd name="connsiteX6603" fmla="*/ 7007030 w 8079933"/>
              <a:gd name="connsiteY6603" fmla="*/ 3028545 h 4687251"/>
              <a:gd name="connsiteX6604" fmla="*/ 7008874 w 8079933"/>
              <a:gd name="connsiteY6604" fmla="*/ 3025405 h 4687251"/>
              <a:gd name="connsiteX6605" fmla="*/ 7006161 w 8079933"/>
              <a:gd name="connsiteY6605" fmla="*/ 3020425 h 4687251"/>
              <a:gd name="connsiteX6606" fmla="*/ 7003774 w 8079933"/>
              <a:gd name="connsiteY6606" fmla="*/ 3017285 h 4687251"/>
              <a:gd name="connsiteX6607" fmla="*/ 7005293 w 8079933"/>
              <a:gd name="connsiteY6607" fmla="*/ 3011330 h 4687251"/>
              <a:gd name="connsiteX6608" fmla="*/ 7008223 w 8079933"/>
              <a:gd name="connsiteY6608" fmla="*/ 3009056 h 4687251"/>
              <a:gd name="connsiteX6609" fmla="*/ 7007681 w 8079933"/>
              <a:gd name="connsiteY6609" fmla="*/ 3003101 h 4687251"/>
              <a:gd name="connsiteX6610" fmla="*/ 7009309 w 8079933"/>
              <a:gd name="connsiteY6610" fmla="*/ 2996172 h 4687251"/>
              <a:gd name="connsiteX6611" fmla="*/ 7016471 w 8079933"/>
              <a:gd name="connsiteY6611" fmla="*/ 2989134 h 4687251"/>
              <a:gd name="connsiteX6612" fmla="*/ 2676275 w 8079933"/>
              <a:gd name="connsiteY6612" fmla="*/ 2986649 h 4687251"/>
              <a:gd name="connsiteX6613" fmla="*/ 2676779 w 8079933"/>
              <a:gd name="connsiteY6613" fmla="*/ 2988159 h 4687251"/>
              <a:gd name="connsiteX6614" fmla="*/ 2678516 w 8079933"/>
              <a:gd name="connsiteY6614" fmla="*/ 2988917 h 4687251"/>
              <a:gd name="connsiteX6615" fmla="*/ 2678516 w 8079933"/>
              <a:gd name="connsiteY6615" fmla="*/ 2995197 h 4687251"/>
              <a:gd name="connsiteX6616" fmla="*/ 2681338 w 8079933"/>
              <a:gd name="connsiteY6616" fmla="*/ 2996171 h 4687251"/>
              <a:gd name="connsiteX6617" fmla="*/ 2681395 w 8079933"/>
              <a:gd name="connsiteY6617" fmla="*/ 2996129 h 4687251"/>
              <a:gd name="connsiteX6618" fmla="*/ 2680577 w 8079933"/>
              <a:gd name="connsiteY6618" fmla="*/ 2995847 h 4687251"/>
              <a:gd name="connsiteX6619" fmla="*/ 2680360 w 8079933"/>
              <a:gd name="connsiteY6619" fmla="*/ 2989567 h 4687251"/>
              <a:gd name="connsiteX6620" fmla="*/ 2678624 w 8079933"/>
              <a:gd name="connsiteY6620" fmla="*/ 2988809 h 4687251"/>
              <a:gd name="connsiteX6621" fmla="*/ 2677973 w 8079933"/>
              <a:gd name="connsiteY6621" fmla="*/ 2986861 h 4687251"/>
              <a:gd name="connsiteX6622" fmla="*/ 4208708 w 8079933"/>
              <a:gd name="connsiteY6622" fmla="*/ 2985995 h 4687251"/>
              <a:gd name="connsiteX6623" fmla="*/ 4208708 w 8079933"/>
              <a:gd name="connsiteY6623" fmla="*/ 2986102 h 4687251"/>
              <a:gd name="connsiteX6624" fmla="*/ 4208708 w 8079933"/>
              <a:gd name="connsiteY6624" fmla="*/ 3014469 h 4687251"/>
              <a:gd name="connsiteX6625" fmla="*/ 4208708 w 8079933"/>
              <a:gd name="connsiteY6625" fmla="*/ 3014469 h 4687251"/>
              <a:gd name="connsiteX6626" fmla="*/ 4208708 w 8079933"/>
              <a:gd name="connsiteY6626" fmla="*/ 2986102 h 4687251"/>
              <a:gd name="connsiteX6627" fmla="*/ 4208709 w 8079933"/>
              <a:gd name="connsiteY6627" fmla="*/ 2986101 h 4687251"/>
              <a:gd name="connsiteX6628" fmla="*/ 4208709 w 8079933"/>
              <a:gd name="connsiteY6628" fmla="*/ 2985995 h 4687251"/>
              <a:gd name="connsiteX6629" fmla="*/ 4252983 w 8079933"/>
              <a:gd name="connsiteY6629" fmla="*/ 2985669 h 4687251"/>
              <a:gd name="connsiteX6630" fmla="*/ 4251789 w 8079933"/>
              <a:gd name="connsiteY6630" fmla="*/ 2990542 h 4687251"/>
              <a:gd name="connsiteX6631" fmla="*/ 4253417 w 8079933"/>
              <a:gd name="connsiteY6631" fmla="*/ 2995089 h 4687251"/>
              <a:gd name="connsiteX6632" fmla="*/ 4253417 w 8079933"/>
              <a:gd name="connsiteY6632" fmla="*/ 2995088 h 4687251"/>
              <a:gd name="connsiteX6633" fmla="*/ 4251790 w 8079933"/>
              <a:gd name="connsiteY6633" fmla="*/ 2990540 h 4687251"/>
              <a:gd name="connsiteX6634" fmla="*/ 4252984 w 8079933"/>
              <a:gd name="connsiteY6634" fmla="*/ 2985669 h 4687251"/>
              <a:gd name="connsiteX6635" fmla="*/ 7030035 w 8079933"/>
              <a:gd name="connsiteY6635" fmla="*/ 2983937 h 4687251"/>
              <a:gd name="connsiteX6636" fmla="*/ 7033181 w 8079933"/>
              <a:gd name="connsiteY6636" fmla="*/ 2985994 h 4687251"/>
              <a:gd name="connsiteX6637" fmla="*/ 7034593 w 8079933"/>
              <a:gd name="connsiteY6637" fmla="*/ 2989675 h 4687251"/>
              <a:gd name="connsiteX6638" fmla="*/ 7031120 w 8079933"/>
              <a:gd name="connsiteY6638" fmla="*/ 2993032 h 4687251"/>
              <a:gd name="connsiteX6639" fmla="*/ 7027538 w 8079933"/>
              <a:gd name="connsiteY6639" fmla="*/ 2992707 h 4687251"/>
              <a:gd name="connsiteX6640" fmla="*/ 7024826 w 8079933"/>
              <a:gd name="connsiteY6640" fmla="*/ 2995089 h 4687251"/>
              <a:gd name="connsiteX6641" fmla="*/ 7023415 w 8079933"/>
              <a:gd name="connsiteY6641" fmla="*/ 2987510 h 4687251"/>
              <a:gd name="connsiteX6642" fmla="*/ 7026996 w 8079933"/>
              <a:gd name="connsiteY6642" fmla="*/ 2986210 h 4687251"/>
              <a:gd name="connsiteX6643" fmla="*/ 4242023 w 8079933"/>
              <a:gd name="connsiteY6643" fmla="*/ 2983071 h 4687251"/>
              <a:gd name="connsiteX6644" fmla="*/ 4242457 w 8079933"/>
              <a:gd name="connsiteY6644" fmla="*/ 2984154 h 4687251"/>
              <a:gd name="connsiteX6645" fmla="*/ 4248535 w 8079933"/>
              <a:gd name="connsiteY6645" fmla="*/ 2984587 h 4687251"/>
              <a:gd name="connsiteX6646" fmla="*/ 4242458 w 8079933"/>
              <a:gd name="connsiteY6646" fmla="*/ 2984153 h 4687251"/>
              <a:gd name="connsiteX6647" fmla="*/ 4242024 w 8079933"/>
              <a:gd name="connsiteY6647" fmla="*/ 2983071 h 4687251"/>
              <a:gd name="connsiteX6648" fmla="*/ 4225095 w 8079933"/>
              <a:gd name="connsiteY6648" fmla="*/ 2982638 h 4687251"/>
              <a:gd name="connsiteX6649" fmla="*/ 4232583 w 8079933"/>
              <a:gd name="connsiteY6649" fmla="*/ 2983071 h 4687251"/>
              <a:gd name="connsiteX6650" fmla="*/ 4233591 w 8079933"/>
              <a:gd name="connsiteY6650" fmla="*/ 2983423 h 4687251"/>
              <a:gd name="connsiteX6651" fmla="*/ 4232583 w 8079933"/>
              <a:gd name="connsiteY6651" fmla="*/ 2983071 h 4687251"/>
              <a:gd name="connsiteX6652" fmla="*/ 6621795 w 8079933"/>
              <a:gd name="connsiteY6652" fmla="*/ 2981988 h 4687251"/>
              <a:gd name="connsiteX6653" fmla="*/ 6622988 w 8079933"/>
              <a:gd name="connsiteY6653" fmla="*/ 2984261 h 4687251"/>
              <a:gd name="connsiteX6654" fmla="*/ 6619082 w 8079933"/>
              <a:gd name="connsiteY6654" fmla="*/ 2985885 h 4687251"/>
              <a:gd name="connsiteX6655" fmla="*/ 6623856 w 8079933"/>
              <a:gd name="connsiteY6655" fmla="*/ 2980797 h 4687251"/>
              <a:gd name="connsiteX6656" fmla="*/ 6626460 w 8079933"/>
              <a:gd name="connsiteY6656" fmla="*/ 2982962 h 4687251"/>
              <a:gd name="connsiteX6657" fmla="*/ 6623856 w 8079933"/>
              <a:gd name="connsiteY6657" fmla="*/ 2984045 h 4687251"/>
              <a:gd name="connsiteX6658" fmla="*/ 6622879 w 8079933"/>
              <a:gd name="connsiteY6658" fmla="*/ 2981988 h 4687251"/>
              <a:gd name="connsiteX6659" fmla="*/ 2752307 w 8079933"/>
              <a:gd name="connsiteY6659" fmla="*/ 2979931 h 4687251"/>
              <a:gd name="connsiteX6660" fmla="*/ 2755020 w 8079933"/>
              <a:gd name="connsiteY6660" fmla="*/ 2981880 h 4687251"/>
              <a:gd name="connsiteX6661" fmla="*/ 2758492 w 8079933"/>
              <a:gd name="connsiteY6661" fmla="*/ 2988051 h 4687251"/>
              <a:gd name="connsiteX6662" fmla="*/ 2758492 w 8079933"/>
              <a:gd name="connsiteY6662" fmla="*/ 2991299 h 4687251"/>
              <a:gd name="connsiteX6663" fmla="*/ 2755888 w 8079933"/>
              <a:gd name="connsiteY6663" fmla="*/ 2991299 h 4687251"/>
              <a:gd name="connsiteX6664" fmla="*/ 2753501 w 8079933"/>
              <a:gd name="connsiteY6664" fmla="*/ 2987726 h 4687251"/>
              <a:gd name="connsiteX6665" fmla="*/ 2751656 w 8079933"/>
              <a:gd name="connsiteY6665" fmla="*/ 2981663 h 4687251"/>
              <a:gd name="connsiteX6666" fmla="*/ 2346181 w 8079933"/>
              <a:gd name="connsiteY6666" fmla="*/ 2978302 h 4687251"/>
              <a:gd name="connsiteX6667" fmla="*/ 2347106 w 8079933"/>
              <a:gd name="connsiteY6667" fmla="*/ 2978848 h 4687251"/>
              <a:gd name="connsiteX6668" fmla="*/ 2347757 w 8079933"/>
              <a:gd name="connsiteY6668" fmla="*/ 2980061 h 4687251"/>
              <a:gd name="connsiteX6669" fmla="*/ 2347106 w 8079933"/>
              <a:gd name="connsiteY6669" fmla="*/ 2978847 h 4687251"/>
              <a:gd name="connsiteX6670" fmla="*/ 2601188 w 8079933"/>
              <a:gd name="connsiteY6670" fmla="*/ 2977182 h 4687251"/>
              <a:gd name="connsiteX6671" fmla="*/ 2601686 w 8079933"/>
              <a:gd name="connsiteY6671" fmla="*/ 2977764 h 4687251"/>
              <a:gd name="connsiteX6672" fmla="*/ 2602233 w 8079933"/>
              <a:gd name="connsiteY6672" fmla="*/ 2981218 h 4687251"/>
              <a:gd name="connsiteX6673" fmla="*/ 2601687 w 8079933"/>
              <a:gd name="connsiteY6673" fmla="*/ 2977765 h 4687251"/>
              <a:gd name="connsiteX6674" fmla="*/ 6623421 w 8079933"/>
              <a:gd name="connsiteY6674" fmla="*/ 2976141 h 4687251"/>
              <a:gd name="connsiteX6675" fmla="*/ 6623421 w 8079933"/>
              <a:gd name="connsiteY6675" fmla="*/ 2976357 h 4687251"/>
              <a:gd name="connsiteX6676" fmla="*/ 6623205 w 8079933"/>
              <a:gd name="connsiteY6676" fmla="*/ 2980147 h 4687251"/>
              <a:gd name="connsiteX6677" fmla="*/ 6622337 w 8079933"/>
              <a:gd name="connsiteY6677" fmla="*/ 2980580 h 4687251"/>
              <a:gd name="connsiteX6678" fmla="*/ 6621794 w 8079933"/>
              <a:gd name="connsiteY6678" fmla="*/ 2979172 h 4687251"/>
              <a:gd name="connsiteX6679" fmla="*/ 6629173 w 8079933"/>
              <a:gd name="connsiteY6679" fmla="*/ 2975492 h 4687251"/>
              <a:gd name="connsiteX6680" fmla="*/ 6630692 w 8079933"/>
              <a:gd name="connsiteY6680" fmla="*/ 2981013 h 4687251"/>
              <a:gd name="connsiteX6681" fmla="*/ 6627653 w 8079933"/>
              <a:gd name="connsiteY6681" fmla="*/ 2982529 h 4687251"/>
              <a:gd name="connsiteX6682" fmla="*/ 6624290 w 8079933"/>
              <a:gd name="connsiteY6682" fmla="*/ 2979065 h 4687251"/>
              <a:gd name="connsiteX6683" fmla="*/ 6624290 w 8079933"/>
              <a:gd name="connsiteY6683" fmla="*/ 2976682 h 4687251"/>
              <a:gd name="connsiteX6684" fmla="*/ 6625700 w 8079933"/>
              <a:gd name="connsiteY6684" fmla="*/ 2976358 h 4687251"/>
              <a:gd name="connsiteX6685" fmla="*/ 6625918 w 8079933"/>
              <a:gd name="connsiteY6685" fmla="*/ 2976358 h 4687251"/>
              <a:gd name="connsiteX6686" fmla="*/ 4783304 w 8079933"/>
              <a:gd name="connsiteY6686" fmla="*/ 2974517 h 4687251"/>
              <a:gd name="connsiteX6687" fmla="*/ 4782012 w 8079933"/>
              <a:gd name="connsiteY6687" fmla="*/ 2976349 h 4687251"/>
              <a:gd name="connsiteX6688" fmla="*/ 4783305 w 8079933"/>
              <a:gd name="connsiteY6688" fmla="*/ 2974517 h 4687251"/>
              <a:gd name="connsiteX6689" fmla="*/ 2416491 w 8079933"/>
              <a:gd name="connsiteY6689" fmla="*/ 2974491 h 4687251"/>
              <a:gd name="connsiteX6690" fmla="*/ 2416340 w 8079933"/>
              <a:gd name="connsiteY6690" fmla="*/ 2975274 h 4687251"/>
              <a:gd name="connsiteX6691" fmla="*/ 2427300 w 8079933"/>
              <a:gd name="connsiteY6691" fmla="*/ 2978956 h 4687251"/>
              <a:gd name="connsiteX6692" fmla="*/ 2434896 w 8079933"/>
              <a:gd name="connsiteY6692" fmla="*/ 2978090 h 4687251"/>
              <a:gd name="connsiteX6693" fmla="*/ 2441298 w 8079933"/>
              <a:gd name="connsiteY6693" fmla="*/ 2979367 h 4687251"/>
              <a:gd name="connsiteX6694" fmla="*/ 2441298 w 8079933"/>
              <a:gd name="connsiteY6694" fmla="*/ 2978306 h 4687251"/>
              <a:gd name="connsiteX6695" fmla="*/ 2433702 w 8079933"/>
              <a:gd name="connsiteY6695" fmla="*/ 2976790 h 4687251"/>
              <a:gd name="connsiteX6696" fmla="*/ 2426106 w 8079933"/>
              <a:gd name="connsiteY6696" fmla="*/ 2977657 h 4687251"/>
              <a:gd name="connsiteX6697" fmla="*/ 2665385 w 8079933"/>
              <a:gd name="connsiteY6697" fmla="*/ 2973110 h 4687251"/>
              <a:gd name="connsiteX6698" fmla="*/ 2659634 w 8079933"/>
              <a:gd name="connsiteY6698" fmla="*/ 2977007 h 4687251"/>
              <a:gd name="connsiteX6699" fmla="*/ 2658440 w 8079933"/>
              <a:gd name="connsiteY6699" fmla="*/ 2976790 h 4687251"/>
              <a:gd name="connsiteX6700" fmla="*/ 2656404 w 8079933"/>
              <a:gd name="connsiteY6700" fmla="*/ 2976316 h 4687251"/>
              <a:gd name="connsiteX6701" fmla="*/ 2657246 w 8079933"/>
              <a:gd name="connsiteY6701" fmla="*/ 2978523 h 4687251"/>
              <a:gd name="connsiteX6702" fmla="*/ 2658766 w 8079933"/>
              <a:gd name="connsiteY6702" fmla="*/ 2982421 h 4687251"/>
              <a:gd name="connsiteX6703" fmla="*/ 2660068 w 8079933"/>
              <a:gd name="connsiteY6703" fmla="*/ 2983504 h 4687251"/>
              <a:gd name="connsiteX6704" fmla="*/ 2660068 w 8079933"/>
              <a:gd name="connsiteY6704" fmla="*/ 2985885 h 4687251"/>
              <a:gd name="connsiteX6705" fmla="*/ 2663324 w 8079933"/>
              <a:gd name="connsiteY6705" fmla="*/ 2989567 h 4687251"/>
              <a:gd name="connsiteX6706" fmla="*/ 2665198 w 8079933"/>
              <a:gd name="connsiteY6706" fmla="*/ 2989911 h 4687251"/>
              <a:gd name="connsiteX6707" fmla="*/ 2662021 w 8079933"/>
              <a:gd name="connsiteY6707" fmla="*/ 2986319 h 4687251"/>
              <a:gd name="connsiteX6708" fmla="*/ 2662021 w 8079933"/>
              <a:gd name="connsiteY6708" fmla="*/ 2984045 h 4687251"/>
              <a:gd name="connsiteX6709" fmla="*/ 2660719 w 8079933"/>
              <a:gd name="connsiteY6709" fmla="*/ 2982854 h 4687251"/>
              <a:gd name="connsiteX6710" fmla="*/ 2659308 w 8079933"/>
              <a:gd name="connsiteY6710" fmla="*/ 2978957 h 4687251"/>
              <a:gd name="connsiteX6711" fmla="*/ 2658440 w 8079933"/>
              <a:gd name="connsiteY6711" fmla="*/ 2976791 h 4687251"/>
              <a:gd name="connsiteX6712" fmla="*/ 2659634 w 8079933"/>
              <a:gd name="connsiteY6712" fmla="*/ 2977008 h 4687251"/>
              <a:gd name="connsiteX6713" fmla="*/ 2342658 w 8079933"/>
              <a:gd name="connsiteY6713" fmla="*/ 2972568 h 4687251"/>
              <a:gd name="connsiteX6714" fmla="*/ 2340378 w 8079933"/>
              <a:gd name="connsiteY6714" fmla="*/ 2974192 h 4687251"/>
              <a:gd name="connsiteX6715" fmla="*/ 2339145 w 8079933"/>
              <a:gd name="connsiteY6715" fmla="*/ 2973833 h 4687251"/>
              <a:gd name="connsiteX6716" fmla="*/ 2340378 w 8079933"/>
              <a:gd name="connsiteY6716" fmla="*/ 2974192 h 4687251"/>
              <a:gd name="connsiteX6717" fmla="*/ 2342657 w 8079933"/>
              <a:gd name="connsiteY6717" fmla="*/ 2972568 h 4687251"/>
              <a:gd name="connsiteX6718" fmla="*/ 2343379 w 8079933"/>
              <a:gd name="connsiteY6718" fmla="*/ 2973288 h 4687251"/>
              <a:gd name="connsiteX6719" fmla="*/ 2648938 w 8079933"/>
              <a:gd name="connsiteY6719" fmla="*/ 2971619 h 4687251"/>
              <a:gd name="connsiteX6720" fmla="*/ 2653123 w 8079933"/>
              <a:gd name="connsiteY6720" fmla="*/ 2975600 h 4687251"/>
              <a:gd name="connsiteX6721" fmla="*/ 2655156 w 8079933"/>
              <a:gd name="connsiteY6721" fmla="*/ 2976005 h 4687251"/>
              <a:gd name="connsiteX6722" fmla="*/ 2650519 w 8079933"/>
              <a:gd name="connsiteY6722" fmla="*/ 2971702 h 4687251"/>
              <a:gd name="connsiteX6723" fmla="*/ 6244266 w 8079933"/>
              <a:gd name="connsiteY6723" fmla="*/ 2970295 h 4687251"/>
              <a:gd name="connsiteX6724" fmla="*/ 6247846 w 8079933"/>
              <a:gd name="connsiteY6724" fmla="*/ 2972893 h 4687251"/>
              <a:gd name="connsiteX6725" fmla="*/ 6251102 w 8079933"/>
              <a:gd name="connsiteY6725" fmla="*/ 2977332 h 4687251"/>
              <a:gd name="connsiteX6726" fmla="*/ 6245568 w 8079933"/>
              <a:gd name="connsiteY6726" fmla="*/ 2978090 h 4687251"/>
              <a:gd name="connsiteX6727" fmla="*/ 6241010 w 8079933"/>
              <a:gd name="connsiteY6727" fmla="*/ 2975275 h 4687251"/>
              <a:gd name="connsiteX6728" fmla="*/ 6242312 w 8079933"/>
              <a:gd name="connsiteY6728" fmla="*/ 2972352 h 4687251"/>
              <a:gd name="connsiteX6729" fmla="*/ 6496565 w 8079933"/>
              <a:gd name="connsiteY6729" fmla="*/ 2968779 h 4687251"/>
              <a:gd name="connsiteX6730" fmla="*/ 6499061 w 8079933"/>
              <a:gd name="connsiteY6730" fmla="*/ 2971269 h 4687251"/>
              <a:gd name="connsiteX6731" fmla="*/ 6496565 w 8079933"/>
              <a:gd name="connsiteY6731" fmla="*/ 2972676 h 4687251"/>
              <a:gd name="connsiteX6732" fmla="*/ 2339158 w 8079933"/>
              <a:gd name="connsiteY6732" fmla="*/ 2966172 h 4687251"/>
              <a:gd name="connsiteX6733" fmla="*/ 2337123 w 8079933"/>
              <a:gd name="connsiteY6733" fmla="*/ 2969861 h 4687251"/>
              <a:gd name="connsiteX6734" fmla="*/ 2337123 w 8079933"/>
              <a:gd name="connsiteY6734" fmla="*/ 2969861 h 4687251"/>
              <a:gd name="connsiteX6735" fmla="*/ 6485063 w 8079933"/>
              <a:gd name="connsiteY6735" fmla="*/ 2964665 h 4687251"/>
              <a:gd name="connsiteX6736" fmla="*/ 6488862 w 8079933"/>
              <a:gd name="connsiteY6736" fmla="*/ 2966181 h 4687251"/>
              <a:gd name="connsiteX6737" fmla="*/ 6484195 w 8079933"/>
              <a:gd name="connsiteY6737" fmla="*/ 2971161 h 4687251"/>
              <a:gd name="connsiteX6738" fmla="*/ 6481590 w 8079933"/>
              <a:gd name="connsiteY6738" fmla="*/ 2969537 h 4687251"/>
              <a:gd name="connsiteX6739" fmla="*/ 6482133 w 8079933"/>
              <a:gd name="connsiteY6739" fmla="*/ 2965422 h 4687251"/>
              <a:gd name="connsiteX6740" fmla="*/ 4386401 w 8079933"/>
              <a:gd name="connsiteY6740" fmla="*/ 2963570 h 4687251"/>
              <a:gd name="connsiteX6741" fmla="*/ 4382986 w 8079933"/>
              <a:gd name="connsiteY6741" fmla="*/ 2965313 h 4687251"/>
              <a:gd name="connsiteX6742" fmla="*/ 4381901 w 8079933"/>
              <a:gd name="connsiteY6742" fmla="*/ 2969644 h 4687251"/>
              <a:gd name="connsiteX6743" fmla="*/ 4376747 w 8079933"/>
              <a:gd name="connsiteY6743" fmla="*/ 2976249 h 4687251"/>
              <a:gd name="connsiteX6744" fmla="*/ 4381901 w 8079933"/>
              <a:gd name="connsiteY6744" fmla="*/ 2969645 h 4687251"/>
              <a:gd name="connsiteX6745" fmla="*/ 4382987 w 8079933"/>
              <a:gd name="connsiteY6745" fmla="*/ 2965314 h 4687251"/>
              <a:gd name="connsiteX6746" fmla="*/ 4772676 w 8079933"/>
              <a:gd name="connsiteY6746" fmla="*/ 2962065 h 4687251"/>
              <a:gd name="connsiteX6747" fmla="*/ 4774406 w 8079933"/>
              <a:gd name="connsiteY6747" fmla="*/ 2963690 h 4687251"/>
              <a:gd name="connsiteX6748" fmla="*/ 4775608 w 8079933"/>
              <a:gd name="connsiteY6748" fmla="*/ 2966710 h 4687251"/>
              <a:gd name="connsiteX6749" fmla="*/ 4774407 w 8079933"/>
              <a:gd name="connsiteY6749" fmla="*/ 2963690 h 4687251"/>
              <a:gd name="connsiteX6750" fmla="*/ 6497108 w 8079933"/>
              <a:gd name="connsiteY6750" fmla="*/ 2960984 h 4687251"/>
              <a:gd name="connsiteX6751" fmla="*/ 6498845 w 8079933"/>
              <a:gd name="connsiteY6751" fmla="*/ 2964232 h 4687251"/>
              <a:gd name="connsiteX6752" fmla="*/ 6495698 w 8079933"/>
              <a:gd name="connsiteY6752" fmla="*/ 2963799 h 4687251"/>
              <a:gd name="connsiteX6753" fmla="*/ 4338234 w 8079933"/>
              <a:gd name="connsiteY6753" fmla="*/ 2959609 h 4687251"/>
              <a:gd name="connsiteX6754" fmla="*/ 4327643 w 8079933"/>
              <a:gd name="connsiteY6754" fmla="*/ 2977115 h 4687251"/>
              <a:gd name="connsiteX6755" fmla="*/ 4327643 w 8079933"/>
              <a:gd name="connsiteY6755" fmla="*/ 2977116 h 4687251"/>
              <a:gd name="connsiteX6756" fmla="*/ 4327119 w 8079933"/>
              <a:gd name="connsiteY6756" fmla="*/ 2978059 h 4687251"/>
              <a:gd name="connsiteX6757" fmla="*/ 4327131 w 8079933"/>
              <a:gd name="connsiteY6757" fmla="*/ 2978037 h 4687251"/>
              <a:gd name="connsiteX6758" fmla="*/ 4327644 w 8079933"/>
              <a:gd name="connsiteY6758" fmla="*/ 2977117 h 4687251"/>
              <a:gd name="connsiteX6759" fmla="*/ 4337578 w 8079933"/>
              <a:gd name="connsiteY6759" fmla="*/ 2960700 h 4687251"/>
              <a:gd name="connsiteX6760" fmla="*/ 6765145 w 8079933"/>
              <a:gd name="connsiteY6760" fmla="*/ 2956437 h 4687251"/>
              <a:gd name="connsiteX6761" fmla="*/ 6767424 w 8079933"/>
              <a:gd name="connsiteY6761" fmla="*/ 2957736 h 4687251"/>
              <a:gd name="connsiteX6762" fmla="*/ 6767424 w 8079933"/>
              <a:gd name="connsiteY6762" fmla="*/ 2961958 h 4687251"/>
              <a:gd name="connsiteX6763" fmla="*/ 6765796 w 8079933"/>
              <a:gd name="connsiteY6763" fmla="*/ 2961417 h 4687251"/>
              <a:gd name="connsiteX6764" fmla="*/ 2669183 w 8079933"/>
              <a:gd name="connsiteY6764" fmla="*/ 2955029 h 4687251"/>
              <a:gd name="connsiteX6765" fmla="*/ 2665386 w 8079933"/>
              <a:gd name="connsiteY6765" fmla="*/ 2958709 h 4687251"/>
              <a:gd name="connsiteX6766" fmla="*/ 2665386 w 8079933"/>
              <a:gd name="connsiteY6766" fmla="*/ 2958710 h 4687251"/>
              <a:gd name="connsiteX6767" fmla="*/ 6496131 w 8079933"/>
              <a:gd name="connsiteY6767" fmla="*/ 2954596 h 4687251"/>
              <a:gd name="connsiteX6768" fmla="*/ 6499061 w 8079933"/>
              <a:gd name="connsiteY6768" fmla="*/ 2956003 h 4687251"/>
              <a:gd name="connsiteX6769" fmla="*/ 6496565 w 8079933"/>
              <a:gd name="connsiteY6769" fmla="*/ 2958818 h 4687251"/>
              <a:gd name="connsiteX6770" fmla="*/ 2590834 w 8079933"/>
              <a:gd name="connsiteY6770" fmla="*/ 2954378 h 4687251"/>
              <a:gd name="connsiteX6771" fmla="*/ 2592679 w 8079933"/>
              <a:gd name="connsiteY6771" fmla="*/ 2955894 h 4687251"/>
              <a:gd name="connsiteX6772" fmla="*/ 2593547 w 8079933"/>
              <a:gd name="connsiteY6772" fmla="*/ 2959358 h 4687251"/>
              <a:gd name="connsiteX6773" fmla="*/ 2595501 w 8079933"/>
              <a:gd name="connsiteY6773" fmla="*/ 2966613 h 4687251"/>
              <a:gd name="connsiteX6774" fmla="*/ 2593547 w 8079933"/>
              <a:gd name="connsiteY6774" fmla="*/ 2959359 h 4687251"/>
              <a:gd name="connsiteX6775" fmla="*/ 2592679 w 8079933"/>
              <a:gd name="connsiteY6775" fmla="*/ 2955894 h 4687251"/>
              <a:gd name="connsiteX6776" fmla="*/ 4387435 w 8079933"/>
              <a:gd name="connsiteY6776" fmla="*/ 2953295 h 4687251"/>
              <a:gd name="connsiteX6777" fmla="*/ 4387652 w 8079933"/>
              <a:gd name="connsiteY6777" fmla="*/ 2962931 h 4687251"/>
              <a:gd name="connsiteX6778" fmla="*/ 4387653 w 8079933"/>
              <a:gd name="connsiteY6778" fmla="*/ 2962931 h 4687251"/>
              <a:gd name="connsiteX6779" fmla="*/ 6770245 w 8079933"/>
              <a:gd name="connsiteY6779" fmla="*/ 2951565 h 4687251"/>
              <a:gd name="connsiteX6780" fmla="*/ 6768943 w 8079933"/>
              <a:gd name="connsiteY6780" fmla="*/ 2953731 h 4687251"/>
              <a:gd name="connsiteX6781" fmla="*/ 6765362 w 8079933"/>
              <a:gd name="connsiteY6781" fmla="*/ 2952756 h 4687251"/>
              <a:gd name="connsiteX6782" fmla="*/ 4683164 w 8079933"/>
              <a:gd name="connsiteY6782" fmla="*/ 2950980 h 4687251"/>
              <a:gd name="connsiteX6783" fmla="*/ 4683143 w 8079933"/>
              <a:gd name="connsiteY6783" fmla="*/ 2951022 h 4687251"/>
              <a:gd name="connsiteX6784" fmla="*/ 4681950 w 8079933"/>
              <a:gd name="connsiteY6784" fmla="*/ 2955461 h 4687251"/>
              <a:gd name="connsiteX6785" fmla="*/ 4679562 w 8079933"/>
              <a:gd name="connsiteY6785" fmla="*/ 2958601 h 4687251"/>
              <a:gd name="connsiteX6786" fmla="*/ 4679562 w 8079933"/>
              <a:gd name="connsiteY6786" fmla="*/ 2965314 h 4687251"/>
              <a:gd name="connsiteX6787" fmla="*/ 4678152 w 8079933"/>
              <a:gd name="connsiteY6787" fmla="*/ 2973434 h 4687251"/>
              <a:gd name="connsiteX6788" fmla="*/ 4677609 w 8079933"/>
              <a:gd name="connsiteY6788" fmla="*/ 2979497 h 4687251"/>
              <a:gd name="connsiteX6789" fmla="*/ 4680322 w 8079933"/>
              <a:gd name="connsiteY6789" fmla="*/ 2981446 h 4687251"/>
              <a:gd name="connsiteX6790" fmla="*/ 4682601 w 8079933"/>
              <a:gd name="connsiteY6790" fmla="*/ 2984478 h 4687251"/>
              <a:gd name="connsiteX6791" fmla="*/ 4684445 w 8079933"/>
              <a:gd name="connsiteY6791" fmla="*/ 2988484 h 4687251"/>
              <a:gd name="connsiteX6792" fmla="*/ 4684012 w 8079933"/>
              <a:gd name="connsiteY6792" fmla="*/ 2991190 h 4687251"/>
              <a:gd name="connsiteX6793" fmla="*/ 4671749 w 8079933"/>
              <a:gd name="connsiteY6793" fmla="*/ 3007431 h 4687251"/>
              <a:gd name="connsiteX6794" fmla="*/ 4664153 w 8079933"/>
              <a:gd name="connsiteY6794" fmla="*/ 3015876 h 4687251"/>
              <a:gd name="connsiteX6795" fmla="*/ 4662091 w 8079933"/>
              <a:gd name="connsiteY6795" fmla="*/ 3019449 h 4687251"/>
              <a:gd name="connsiteX6796" fmla="*/ 4652759 w 8079933"/>
              <a:gd name="connsiteY6796" fmla="*/ 3036123 h 4687251"/>
              <a:gd name="connsiteX6797" fmla="*/ 4651023 w 8079933"/>
              <a:gd name="connsiteY6797" fmla="*/ 3039046 h 4687251"/>
              <a:gd name="connsiteX6798" fmla="*/ 4650914 w 8079933"/>
              <a:gd name="connsiteY6798" fmla="*/ 3045217 h 4687251"/>
              <a:gd name="connsiteX6799" fmla="*/ 4650154 w 8079933"/>
              <a:gd name="connsiteY6799" fmla="*/ 3053987 h 4687251"/>
              <a:gd name="connsiteX6800" fmla="*/ 4647116 w 8079933"/>
              <a:gd name="connsiteY6800" fmla="*/ 3062649 h 4687251"/>
              <a:gd name="connsiteX6801" fmla="*/ 4647767 w 8079933"/>
              <a:gd name="connsiteY6801" fmla="*/ 3068171 h 4687251"/>
              <a:gd name="connsiteX6802" fmla="*/ 4647767 w 8079933"/>
              <a:gd name="connsiteY6802" fmla="*/ 3068170 h 4687251"/>
              <a:gd name="connsiteX6803" fmla="*/ 4647116 w 8079933"/>
              <a:gd name="connsiteY6803" fmla="*/ 3062649 h 4687251"/>
              <a:gd name="connsiteX6804" fmla="*/ 4650155 w 8079933"/>
              <a:gd name="connsiteY6804" fmla="*/ 3053987 h 4687251"/>
              <a:gd name="connsiteX6805" fmla="*/ 4650914 w 8079933"/>
              <a:gd name="connsiteY6805" fmla="*/ 3045217 h 4687251"/>
              <a:gd name="connsiteX6806" fmla="*/ 4651023 w 8079933"/>
              <a:gd name="connsiteY6806" fmla="*/ 3039046 h 4687251"/>
              <a:gd name="connsiteX6807" fmla="*/ 4652759 w 8079933"/>
              <a:gd name="connsiteY6807" fmla="*/ 3036123 h 4687251"/>
              <a:gd name="connsiteX6808" fmla="*/ 4662091 w 8079933"/>
              <a:gd name="connsiteY6808" fmla="*/ 3019449 h 4687251"/>
              <a:gd name="connsiteX6809" fmla="*/ 4664153 w 8079933"/>
              <a:gd name="connsiteY6809" fmla="*/ 3015876 h 4687251"/>
              <a:gd name="connsiteX6810" fmla="*/ 4671750 w 8079933"/>
              <a:gd name="connsiteY6810" fmla="*/ 3007431 h 4687251"/>
              <a:gd name="connsiteX6811" fmla="*/ 4684012 w 8079933"/>
              <a:gd name="connsiteY6811" fmla="*/ 2991190 h 4687251"/>
              <a:gd name="connsiteX6812" fmla="*/ 4684446 w 8079933"/>
              <a:gd name="connsiteY6812" fmla="*/ 2988484 h 4687251"/>
              <a:gd name="connsiteX6813" fmla="*/ 4682601 w 8079933"/>
              <a:gd name="connsiteY6813" fmla="*/ 2984478 h 4687251"/>
              <a:gd name="connsiteX6814" fmla="*/ 4680323 w 8079933"/>
              <a:gd name="connsiteY6814" fmla="*/ 2981446 h 4687251"/>
              <a:gd name="connsiteX6815" fmla="*/ 4677609 w 8079933"/>
              <a:gd name="connsiteY6815" fmla="*/ 2979497 h 4687251"/>
              <a:gd name="connsiteX6816" fmla="*/ 4678152 w 8079933"/>
              <a:gd name="connsiteY6816" fmla="*/ 2973434 h 4687251"/>
              <a:gd name="connsiteX6817" fmla="*/ 4679563 w 8079933"/>
              <a:gd name="connsiteY6817" fmla="*/ 2965314 h 4687251"/>
              <a:gd name="connsiteX6818" fmla="*/ 4679563 w 8079933"/>
              <a:gd name="connsiteY6818" fmla="*/ 2958601 h 4687251"/>
              <a:gd name="connsiteX6819" fmla="*/ 4681950 w 8079933"/>
              <a:gd name="connsiteY6819" fmla="*/ 2955461 h 4687251"/>
              <a:gd name="connsiteX6820" fmla="*/ 4683144 w 8079933"/>
              <a:gd name="connsiteY6820" fmla="*/ 2951022 h 4687251"/>
              <a:gd name="connsiteX6821" fmla="*/ 4683165 w 8079933"/>
              <a:gd name="connsiteY6821" fmla="*/ 2950980 h 4687251"/>
              <a:gd name="connsiteX6822" fmla="*/ 4768058 w 8079933"/>
              <a:gd name="connsiteY6822" fmla="*/ 2950968 h 4687251"/>
              <a:gd name="connsiteX6823" fmla="*/ 4768872 w 8079933"/>
              <a:gd name="connsiteY6823" fmla="*/ 2953621 h 4687251"/>
              <a:gd name="connsiteX6824" fmla="*/ 4768872 w 8079933"/>
              <a:gd name="connsiteY6824" fmla="*/ 2953620 h 4687251"/>
              <a:gd name="connsiteX6825" fmla="*/ 6955809 w 8079933"/>
              <a:gd name="connsiteY6825" fmla="*/ 2948966 h 4687251"/>
              <a:gd name="connsiteX6826" fmla="*/ 6960693 w 8079933"/>
              <a:gd name="connsiteY6826" fmla="*/ 2954380 h 4687251"/>
              <a:gd name="connsiteX6827" fmla="*/ 6962213 w 8079933"/>
              <a:gd name="connsiteY6827" fmla="*/ 2959360 h 4687251"/>
              <a:gd name="connsiteX6828" fmla="*/ 6960151 w 8079933"/>
              <a:gd name="connsiteY6828" fmla="*/ 2961850 h 4687251"/>
              <a:gd name="connsiteX6829" fmla="*/ 6955809 w 8079933"/>
              <a:gd name="connsiteY6829" fmla="*/ 2958060 h 4687251"/>
              <a:gd name="connsiteX6830" fmla="*/ 6954941 w 8079933"/>
              <a:gd name="connsiteY6830" fmla="*/ 2951997 h 4687251"/>
              <a:gd name="connsiteX6831" fmla="*/ 4878474 w 8079933"/>
              <a:gd name="connsiteY6831" fmla="*/ 2948857 h 4687251"/>
              <a:gd name="connsiteX6832" fmla="*/ 4882706 w 8079933"/>
              <a:gd name="connsiteY6832" fmla="*/ 2950373 h 4687251"/>
              <a:gd name="connsiteX6833" fmla="*/ 4886070 w 8079933"/>
              <a:gd name="connsiteY6833" fmla="*/ 2950373 h 4687251"/>
              <a:gd name="connsiteX6834" fmla="*/ 4890844 w 8079933"/>
              <a:gd name="connsiteY6834" fmla="*/ 2950048 h 4687251"/>
              <a:gd name="connsiteX6835" fmla="*/ 4890845 w 8079933"/>
              <a:gd name="connsiteY6835" fmla="*/ 2950048 h 4687251"/>
              <a:gd name="connsiteX6836" fmla="*/ 4886071 w 8079933"/>
              <a:gd name="connsiteY6836" fmla="*/ 2950372 h 4687251"/>
              <a:gd name="connsiteX6837" fmla="*/ 4882707 w 8079933"/>
              <a:gd name="connsiteY6837" fmla="*/ 2950372 h 4687251"/>
              <a:gd name="connsiteX6838" fmla="*/ 4878474 w 8079933"/>
              <a:gd name="connsiteY6838" fmla="*/ 2948857 h 4687251"/>
              <a:gd name="connsiteX6839" fmla="*/ 2584365 w 8079933"/>
              <a:gd name="connsiteY6839" fmla="*/ 2948222 h 4687251"/>
              <a:gd name="connsiteX6840" fmla="*/ 2584757 w 8079933"/>
              <a:gd name="connsiteY6840" fmla="*/ 2948748 h 4687251"/>
              <a:gd name="connsiteX6841" fmla="*/ 2584975 w 8079933"/>
              <a:gd name="connsiteY6841" fmla="*/ 2951780 h 4687251"/>
              <a:gd name="connsiteX6842" fmla="*/ 2584758 w 8079933"/>
              <a:gd name="connsiteY6842" fmla="*/ 2948749 h 4687251"/>
              <a:gd name="connsiteX6843" fmla="*/ 4866754 w 8079933"/>
              <a:gd name="connsiteY6843" fmla="*/ 2947449 h 4687251"/>
              <a:gd name="connsiteX6844" fmla="*/ 4871962 w 8079933"/>
              <a:gd name="connsiteY6844" fmla="*/ 2949832 h 4687251"/>
              <a:gd name="connsiteX6845" fmla="*/ 4876640 w 8079933"/>
              <a:gd name="connsiteY6845" fmla="*/ 2949131 h 4687251"/>
              <a:gd name="connsiteX6846" fmla="*/ 4871963 w 8079933"/>
              <a:gd name="connsiteY6846" fmla="*/ 2949831 h 4687251"/>
              <a:gd name="connsiteX6847" fmla="*/ 4866755 w 8079933"/>
              <a:gd name="connsiteY6847" fmla="*/ 2947449 h 4687251"/>
              <a:gd name="connsiteX6848" fmla="*/ 4764531 w 8079933"/>
              <a:gd name="connsiteY6848" fmla="*/ 2943551 h 4687251"/>
              <a:gd name="connsiteX6849" fmla="*/ 4764097 w 8079933"/>
              <a:gd name="connsiteY6849" fmla="*/ 2947666 h 4687251"/>
              <a:gd name="connsiteX6850" fmla="*/ 4765919 w 8079933"/>
              <a:gd name="connsiteY6850" fmla="*/ 2948042 h 4687251"/>
              <a:gd name="connsiteX6851" fmla="*/ 4764098 w 8079933"/>
              <a:gd name="connsiteY6851" fmla="*/ 2947665 h 4687251"/>
              <a:gd name="connsiteX6852" fmla="*/ 6985433 w 8079933"/>
              <a:gd name="connsiteY6852" fmla="*/ 2943445 h 4687251"/>
              <a:gd name="connsiteX6853" fmla="*/ 6988037 w 8079933"/>
              <a:gd name="connsiteY6853" fmla="*/ 2944094 h 4687251"/>
              <a:gd name="connsiteX6854" fmla="*/ 6989556 w 8079933"/>
              <a:gd name="connsiteY6854" fmla="*/ 2948534 h 4687251"/>
              <a:gd name="connsiteX6855" fmla="*/ 6987712 w 8079933"/>
              <a:gd name="connsiteY6855" fmla="*/ 2948534 h 4687251"/>
              <a:gd name="connsiteX6856" fmla="*/ 4149350 w 8079933"/>
              <a:gd name="connsiteY6856" fmla="*/ 2943119 h 4687251"/>
              <a:gd name="connsiteX6857" fmla="*/ 4150977 w 8079933"/>
              <a:gd name="connsiteY6857" fmla="*/ 2944743 h 4687251"/>
              <a:gd name="connsiteX6858" fmla="*/ 4151412 w 8079933"/>
              <a:gd name="connsiteY6858" fmla="*/ 2951564 h 4687251"/>
              <a:gd name="connsiteX6859" fmla="*/ 4148048 w 8079933"/>
              <a:gd name="connsiteY6859" fmla="*/ 2960875 h 4687251"/>
              <a:gd name="connsiteX6860" fmla="*/ 4143382 w 8079933"/>
              <a:gd name="connsiteY6860" fmla="*/ 2960117 h 4687251"/>
              <a:gd name="connsiteX6861" fmla="*/ 4138933 w 8079933"/>
              <a:gd name="connsiteY6861" fmla="*/ 2957735 h 4687251"/>
              <a:gd name="connsiteX6862" fmla="*/ 4139258 w 8079933"/>
              <a:gd name="connsiteY6862" fmla="*/ 2954055 h 4687251"/>
              <a:gd name="connsiteX6863" fmla="*/ 4142405 w 8079933"/>
              <a:gd name="connsiteY6863" fmla="*/ 2953838 h 4687251"/>
              <a:gd name="connsiteX6864" fmla="*/ 4144250 w 8079933"/>
              <a:gd name="connsiteY6864" fmla="*/ 2948316 h 4687251"/>
              <a:gd name="connsiteX6865" fmla="*/ 6767423 w 8079933"/>
              <a:gd name="connsiteY6865" fmla="*/ 2940845 h 4687251"/>
              <a:gd name="connsiteX6866" fmla="*/ 6768725 w 8079933"/>
              <a:gd name="connsiteY6866" fmla="*/ 2943335 h 4687251"/>
              <a:gd name="connsiteX6867" fmla="*/ 6766338 w 8079933"/>
              <a:gd name="connsiteY6867" fmla="*/ 2942252 h 4687251"/>
              <a:gd name="connsiteX6868" fmla="*/ 4947597 w 8079933"/>
              <a:gd name="connsiteY6868" fmla="*/ 2940087 h 4687251"/>
              <a:gd name="connsiteX6869" fmla="*/ 4925353 w 8079933"/>
              <a:gd name="connsiteY6869" fmla="*/ 2961200 h 4687251"/>
              <a:gd name="connsiteX6870" fmla="*/ 4924918 w 8079933"/>
              <a:gd name="connsiteY6870" fmla="*/ 3055611 h 4687251"/>
              <a:gd name="connsiteX6871" fmla="*/ 4924919 w 8079933"/>
              <a:gd name="connsiteY6871" fmla="*/ 3055612 h 4687251"/>
              <a:gd name="connsiteX6872" fmla="*/ 4925353 w 8079933"/>
              <a:gd name="connsiteY6872" fmla="*/ 2961200 h 4687251"/>
              <a:gd name="connsiteX6873" fmla="*/ 4947599 w 8079933"/>
              <a:gd name="connsiteY6873" fmla="*/ 2940087 h 4687251"/>
              <a:gd name="connsiteX6874" fmla="*/ 4386784 w 8079933"/>
              <a:gd name="connsiteY6874" fmla="*/ 2940087 h 4687251"/>
              <a:gd name="connsiteX6875" fmla="*/ 4386430 w 8079933"/>
              <a:gd name="connsiteY6875" fmla="*/ 2941000 h 4687251"/>
              <a:gd name="connsiteX6876" fmla="*/ 4385482 w 8079933"/>
              <a:gd name="connsiteY6876" fmla="*/ 2943443 h 4687251"/>
              <a:gd name="connsiteX6877" fmla="*/ 4385479 w 8079933"/>
              <a:gd name="connsiteY6877" fmla="*/ 2943498 h 4687251"/>
              <a:gd name="connsiteX6878" fmla="*/ 4385482 w 8079933"/>
              <a:gd name="connsiteY6878" fmla="*/ 2943443 h 4687251"/>
              <a:gd name="connsiteX6879" fmla="*/ 4386430 w 8079933"/>
              <a:gd name="connsiteY6879" fmla="*/ 2941000 h 4687251"/>
              <a:gd name="connsiteX6880" fmla="*/ 4386784 w 8079933"/>
              <a:gd name="connsiteY6880" fmla="*/ 2940087 h 4687251"/>
              <a:gd name="connsiteX6881" fmla="*/ 4948141 w 8079933"/>
              <a:gd name="connsiteY6881" fmla="*/ 2939871 h 4687251"/>
              <a:gd name="connsiteX6882" fmla="*/ 4947276 w 8079933"/>
              <a:gd name="connsiteY6882" fmla="*/ 2940086 h 4687251"/>
              <a:gd name="connsiteX6883" fmla="*/ 4947277 w 8079933"/>
              <a:gd name="connsiteY6883" fmla="*/ 2940086 h 4687251"/>
              <a:gd name="connsiteX6884" fmla="*/ 4670242 w 8079933"/>
              <a:gd name="connsiteY6884" fmla="*/ 2939810 h 4687251"/>
              <a:gd name="connsiteX6885" fmla="*/ 4671206 w 8079933"/>
              <a:gd name="connsiteY6885" fmla="*/ 2942035 h 4687251"/>
              <a:gd name="connsiteX6886" fmla="*/ 4672726 w 8079933"/>
              <a:gd name="connsiteY6886" fmla="*/ 2943876 h 4687251"/>
              <a:gd name="connsiteX6887" fmla="*/ 4673377 w 8079933"/>
              <a:gd name="connsiteY6887" fmla="*/ 2945608 h 4687251"/>
              <a:gd name="connsiteX6888" fmla="*/ 4672726 w 8079933"/>
              <a:gd name="connsiteY6888" fmla="*/ 2943876 h 4687251"/>
              <a:gd name="connsiteX6889" fmla="*/ 4671207 w 8079933"/>
              <a:gd name="connsiteY6889" fmla="*/ 2942035 h 4687251"/>
              <a:gd name="connsiteX6890" fmla="*/ 2409287 w 8079933"/>
              <a:gd name="connsiteY6890" fmla="*/ 2939449 h 4687251"/>
              <a:gd name="connsiteX6891" fmla="*/ 2410155 w 8079933"/>
              <a:gd name="connsiteY6891" fmla="*/ 2941061 h 4687251"/>
              <a:gd name="connsiteX6892" fmla="*/ 2415146 w 8079933"/>
              <a:gd name="connsiteY6892" fmla="*/ 2942902 h 4687251"/>
              <a:gd name="connsiteX6893" fmla="*/ 2419595 w 8079933"/>
              <a:gd name="connsiteY6893" fmla="*/ 2947151 h 4687251"/>
              <a:gd name="connsiteX6894" fmla="*/ 2419161 w 8079933"/>
              <a:gd name="connsiteY6894" fmla="*/ 2946042 h 4687251"/>
              <a:gd name="connsiteX6895" fmla="*/ 2413952 w 8079933"/>
              <a:gd name="connsiteY6895" fmla="*/ 2941170 h 4687251"/>
              <a:gd name="connsiteX6896" fmla="*/ 2338208 w 8079933"/>
              <a:gd name="connsiteY6896" fmla="*/ 2938517 h 4687251"/>
              <a:gd name="connsiteX6897" fmla="*/ 2339510 w 8079933"/>
              <a:gd name="connsiteY6897" fmla="*/ 2940412 h 4687251"/>
              <a:gd name="connsiteX6898" fmla="*/ 2339615 w 8079933"/>
              <a:gd name="connsiteY6898" fmla="*/ 2943016 h 4687251"/>
              <a:gd name="connsiteX6899" fmla="*/ 2339510 w 8079933"/>
              <a:gd name="connsiteY6899" fmla="*/ 2940411 h 4687251"/>
              <a:gd name="connsiteX6900" fmla="*/ 2724047 w 8079933"/>
              <a:gd name="connsiteY6900" fmla="*/ 2938472 h 4687251"/>
              <a:gd name="connsiteX6901" fmla="*/ 2723959 w 8079933"/>
              <a:gd name="connsiteY6901" fmla="*/ 2938588 h 4687251"/>
              <a:gd name="connsiteX6902" fmla="*/ 2723984 w 8079933"/>
              <a:gd name="connsiteY6902" fmla="*/ 2938571 h 4687251"/>
              <a:gd name="connsiteX6903" fmla="*/ 6767533 w 8079933"/>
              <a:gd name="connsiteY6903" fmla="*/ 2938247 h 4687251"/>
              <a:gd name="connsiteX6904" fmla="*/ 6772633 w 8079933"/>
              <a:gd name="connsiteY6904" fmla="*/ 2940087 h 4687251"/>
              <a:gd name="connsiteX6905" fmla="*/ 6772742 w 8079933"/>
              <a:gd name="connsiteY6905" fmla="*/ 2941711 h 4687251"/>
              <a:gd name="connsiteX6906" fmla="*/ 6768726 w 8079933"/>
              <a:gd name="connsiteY6906" fmla="*/ 2941603 h 4687251"/>
              <a:gd name="connsiteX6907" fmla="*/ 6767424 w 8079933"/>
              <a:gd name="connsiteY6907" fmla="*/ 2939221 h 4687251"/>
              <a:gd name="connsiteX6908" fmla="*/ 2537444 w 8079933"/>
              <a:gd name="connsiteY6908" fmla="*/ 2938029 h 4687251"/>
              <a:gd name="connsiteX6909" fmla="*/ 2537010 w 8079933"/>
              <a:gd name="connsiteY6909" fmla="*/ 2938060 h 4687251"/>
              <a:gd name="connsiteX6910" fmla="*/ 2537010 w 8079933"/>
              <a:gd name="connsiteY6910" fmla="*/ 2939221 h 4687251"/>
              <a:gd name="connsiteX6911" fmla="*/ 2532670 w 8079933"/>
              <a:gd name="connsiteY6911" fmla="*/ 2944526 h 4687251"/>
              <a:gd name="connsiteX6912" fmla="*/ 2531150 w 8079933"/>
              <a:gd name="connsiteY6912" fmla="*/ 2951022 h 4687251"/>
              <a:gd name="connsiteX6913" fmla="*/ 2526484 w 8079933"/>
              <a:gd name="connsiteY6913" fmla="*/ 2959143 h 4687251"/>
              <a:gd name="connsiteX6914" fmla="*/ 2526484 w 8079933"/>
              <a:gd name="connsiteY6914" fmla="*/ 2964339 h 4687251"/>
              <a:gd name="connsiteX6915" fmla="*/ 2524748 w 8079933"/>
              <a:gd name="connsiteY6915" fmla="*/ 2967804 h 4687251"/>
              <a:gd name="connsiteX6916" fmla="*/ 2524096 w 8079933"/>
              <a:gd name="connsiteY6916" fmla="*/ 2972135 h 4687251"/>
              <a:gd name="connsiteX6917" fmla="*/ 2525291 w 8079933"/>
              <a:gd name="connsiteY6917" fmla="*/ 2974517 h 4687251"/>
              <a:gd name="connsiteX6918" fmla="*/ 2524205 w 8079933"/>
              <a:gd name="connsiteY6918" fmla="*/ 2977765 h 4687251"/>
              <a:gd name="connsiteX6919" fmla="*/ 2524205 w 8079933"/>
              <a:gd name="connsiteY6919" fmla="*/ 2982637 h 4687251"/>
              <a:gd name="connsiteX6920" fmla="*/ 2528546 w 8079933"/>
              <a:gd name="connsiteY6920" fmla="*/ 2987077 h 4687251"/>
              <a:gd name="connsiteX6921" fmla="*/ 2533755 w 8079933"/>
              <a:gd name="connsiteY6921" fmla="*/ 2992273 h 4687251"/>
              <a:gd name="connsiteX6922" fmla="*/ 2533755 w 8079933"/>
              <a:gd name="connsiteY6922" fmla="*/ 2995738 h 4687251"/>
              <a:gd name="connsiteX6923" fmla="*/ 2537227 w 8079933"/>
              <a:gd name="connsiteY6923" fmla="*/ 3000069 h 4687251"/>
              <a:gd name="connsiteX6924" fmla="*/ 2546668 w 8079933"/>
              <a:gd name="connsiteY6924" fmla="*/ 3008189 h 4687251"/>
              <a:gd name="connsiteX6925" fmla="*/ 2547334 w 8079933"/>
              <a:gd name="connsiteY6925" fmla="*/ 3008455 h 4687251"/>
              <a:gd name="connsiteX6926" fmla="*/ 2538855 w 8079933"/>
              <a:gd name="connsiteY6926" fmla="*/ 3001259 h 4687251"/>
              <a:gd name="connsiteX6927" fmla="*/ 2535382 w 8079933"/>
              <a:gd name="connsiteY6927" fmla="*/ 2996928 h 4687251"/>
              <a:gd name="connsiteX6928" fmla="*/ 2535165 w 8079933"/>
              <a:gd name="connsiteY6928" fmla="*/ 2993464 h 4687251"/>
              <a:gd name="connsiteX6929" fmla="*/ 2530065 w 8079933"/>
              <a:gd name="connsiteY6929" fmla="*/ 2988375 h 4687251"/>
              <a:gd name="connsiteX6930" fmla="*/ 2525724 w 8079933"/>
              <a:gd name="connsiteY6930" fmla="*/ 2983936 h 4687251"/>
              <a:gd name="connsiteX6931" fmla="*/ 2525182 w 8079933"/>
              <a:gd name="connsiteY6931" fmla="*/ 2979064 h 4687251"/>
              <a:gd name="connsiteX6932" fmla="*/ 2526267 w 8079933"/>
              <a:gd name="connsiteY6932" fmla="*/ 2975815 h 4687251"/>
              <a:gd name="connsiteX6933" fmla="*/ 2525073 w 8079933"/>
              <a:gd name="connsiteY6933" fmla="*/ 2973434 h 4687251"/>
              <a:gd name="connsiteX6934" fmla="*/ 2525724 w 8079933"/>
              <a:gd name="connsiteY6934" fmla="*/ 2969103 h 4687251"/>
              <a:gd name="connsiteX6935" fmla="*/ 2527460 w 8079933"/>
              <a:gd name="connsiteY6935" fmla="*/ 2965638 h 4687251"/>
              <a:gd name="connsiteX6936" fmla="*/ 2527135 w 8079933"/>
              <a:gd name="connsiteY6936" fmla="*/ 2960550 h 4687251"/>
              <a:gd name="connsiteX6937" fmla="*/ 2531801 w 8079933"/>
              <a:gd name="connsiteY6937" fmla="*/ 2952429 h 4687251"/>
              <a:gd name="connsiteX6938" fmla="*/ 2533320 w 8079933"/>
              <a:gd name="connsiteY6938" fmla="*/ 2945824 h 4687251"/>
              <a:gd name="connsiteX6939" fmla="*/ 2537552 w 8079933"/>
              <a:gd name="connsiteY6939" fmla="*/ 2940520 h 4687251"/>
              <a:gd name="connsiteX6940" fmla="*/ 6760043 w 8079933"/>
              <a:gd name="connsiteY6940" fmla="*/ 2934348 h 4687251"/>
              <a:gd name="connsiteX6941" fmla="*/ 6753316 w 8079933"/>
              <a:gd name="connsiteY6941" fmla="*/ 2934565 h 4687251"/>
              <a:gd name="connsiteX6942" fmla="*/ 6753317 w 8079933"/>
              <a:gd name="connsiteY6942" fmla="*/ 2934566 h 4687251"/>
              <a:gd name="connsiteX6943" fmla="*/ 6760045 w 8079933"/>
              <a:gd name="connsiteY6943" fmla="*/ 2934349 h 4687251"/>
              <a:gd name="connsiteX6944" fmla="*/ 6542903 w 8079933"/>
              <a:gd name="connsiteY6944" fmla="*/ 2933916 h 4687251"/>
              <a:gd name="connsiteX6945" fmla="*/ 6548329 w 8079933"/>
              <a:gd name="connsiteY6945" fmla="*/ 2941169 h 4687251"/>
              <a:gd name="connsiteX6946" fmla="*/ 6546376 w 8079933"/>
              <a:gd name="connsiteY6946" fmla="*/ 2947882 h 4687251"/>
              <a:gd name="connsiteX6947" fmla="*/ 6542794 w 8079933"/>
              <a:gd name="connsiteY6947" fmla="*/ 2947882 h 4687251"/>
              <a:gd name="connsiteX6948" fmla="*/ 6543771 w 8079933"/>
              <a:gd name="connsiteY6948" fmla="*/ 2944201 h 4687251"/>
              <a:gd name="connsiteX6949" fmla="*/ 6541167 w 8079933"/>
              <a:gd name="connsiteY6949" fmla="*/ 2944201 h 4687251"/>
              <a:gd name="connsiteX6950" fmla="*/ 6536392 w 8079933"/>
              <a:gd name="connsiteY6950" fmla="*/ 2939654 h 4687251"/>
              <a:gd name="connsiteX6951" fmla="*/ 6538779 w 8079933"/>
              <a:gd name="connsiteY6951" fmla="*/ 2936298 h 4687251"/>
              <a:gd name="connsiteX6952" fmla="*/ 6731012 w 8079933"/>
              <a:gd name="connsiteY6952" fmla="*/ 2932430 h 4687251"/>
              <a:gd name="connsiteX6953" fmla="*/ 6732699 w 8079933"/>
              <a:gd name="connsiteY6953" fmla="*/ 2933158 h 4687251"/>
              <a:gd name="connsiteX6954" fmla="*/ 6740187 w 8079933"/>
              <a:gd name="connsiteY6954" fmla="*/ 2932509 h 4687251"/>
              <a:gd name="connsiteX6955" fmla="*/ 6750712 w 8079933"/>
              <a:gd name="connsiteY6955" fmla="*/ 2932616 h 4687251"/>
              <a:gd name="connsiteX6956" fmla="*/ 6750711 w 8079933"/>
              <a:gd name="connsiteY6956" fmla="*/ 2932616 h 4687251"/>
              <a:gd name="connsiteX6957" fmla="*/ 6740184 w 8079933"/>
              <a:gd name="connsiteY6957" fmla="*/ 2932508 h 4687251"/>
              <a:gd name="connsiteX6958" fmla="*/ 6732697 w 8079933"/>
              <a:gd name="connsiteY6958" fmla="*/ 2933157 h 4687251"/>
              <a:gd name="connsiteX6959" fmla="*/ 4921881 w 8079933"/>
              <a:gd name="connsiteY6959" fmla="*/ 2932291 h 4687251"/>
              <a:gd name="connsiteX6960" fmla="*/ 4925353 w 8079933"/>
              <a:gd name="connsiteY6960" fmla="*/ 2934024 h 4687251"/>
              <a:gd name="connsiteX6961" fmla="*/ 4928174 w 8079933"/>
              <a:gd name="connsiteY6961" fmla="*/ 2939220 h 4687251"/>
              <a:gd name="connsiteX6962" fmla="*/ 4932297 w 8079933"/>
              <a:gd name="connsiteY6962" fmla="*/ 2941494 h 4687251"/>
              <a:gd name="connsiteX6963" fmla="*/ 4937649 w 8079933"/>
              <a:gd name="connsiteY6963" fmla="*/ 2940594 h 4687251"/>
              <a:gd name="connsiteX6964" fmla="*/ 4932299 w 8079933"/>
              <a:gd name="connsiteY6964" fmla="*/ 2941494 h 4687251"/>
              <a:gd name="connsiteX6965" fmla="*/ 4928175 w 8079933"/>
              <a:gd name="connsiteY6965" fmla="*/ 2939220 h 4687251"/>
              <a:gd name="connsiteX6966" fmla="*/ 4925354 w 8079933"/>
              <a:gd name="connsiteY6966" fmla="*/ 2934024 h 4687251"/>
              <a:gd name="connsiteX6967" fmla="*/ 4921882 w 8079933"/>
              <a:gd name="connsiteY6967" fmla="*/ 2932291 h 4687251"/>
              <a:gd name="connsiteX6968" fmla="*/ 4964962 w 8079933"/>
              <a:gd name="connsiteY6968" fmla="*/ 2931642 h 4687251"/>
              <a:gd name="connsiteX6969" fmla="*/ 4957909 w 8079933"/>
              <a:gd name="connsiteY6969" fmla="*/ 2932724 h 4687251"/>
              <a:gd name="connsiteX6970" fmla="*/ 4957908 w 8079933"/>
              <a:gd name="connsiteY6970" fmla="*/ 2932725 h 4687251"/>
              <a:gd name="connsiteX6971" fmla="*/ 4964961 w 8079933"/>
              <a:gd name="connsiteY6971" fmla="*/ 2931642 h 4687251"/>
              <a:gd name="connsiteX6972" fmla="*/ 6728681 w 8079933"/>
              <a:gd name="connsiteY6972" fmla="*/ 2931425 h 4687251"/>
              <a:gd name="connsiteX6973" fmla="*/ 6723690 w 8079933"/>
              <a:gd name="connsiteY6973" fmla="*/ 2937488 h 4687251"/>
              <a:gd name="connsiteX6974" fmla="*/ 6724015 w 8079933"/>
              <a:gd name="connsiteY6974" fmla="*/ 2940520 h 4687251"/>
              <a:gd name="connsiteX6975" fmla="*/ 6721628 w 8079933"/>
              <a:gd name="connsiteY6975" fmla="*/ 2944742 h 4687251"/>
              <a:gd name="connsiteX6976" fmla="*/ 6721628 w 8079933"/>
              <a:gd name="connsiteY6976" fmla="*/ 2948315 h 4687251"/>
              <a:gd name="connsiteX6977" fmla="*/ 6716419 w 8079933"/>
              <a:gd name="connsiteY6977" fmla="*/ 2966721 h 4687251"/>
              <a:gd name="connsiteX6978" fmla="*/ 6709257 w 8079933"/>
              <a:gd name="connsiteY6978" fmla="*/ 2977548 h 4687251"/>
              <a:gd name="connsiteX6979" fmla="*/ 6705459 w 8079933"/>
              <a:gd name="connsiteY6979" fmla="*/ 2987617 h 4687251"/>
              <a:gd name="connsiteX6980" fmla="*/ 6695909 w 8079933"/>
              <a:gd name="connsiteY6980" fmla="*/ 3001909 h 4687251"/>
              <a:gd name="connsiteX6981" fmla="*/ 6696669 w 8079933"/>
              <a:gd name="connsiteY6981" fmla="*/ 3005590 h 4687251"/>
              <a:gd name="connsiteX6982" fmla="*/ 6685275 w 8079933"/>
              <a:gd name="connsiteY6982" fmla="*/ 3007214 h 4687251"/>
              <a:gd name="connsiteX6983" fmla="*/ 6675400 w 8079933"/>
              <a:gd name="connsiteY6983" fmla="*/ 3012627 h 4687251"/>
              <a:gd name="connsiteX6984" fmla="*/ 6669758 w 8079933"/>
              <a:gd name="connsiteY6984" fmla="*/ 3012736 h 4687251"/>
              <a:gd name="connsiteX6985" fmla="*/ 6669759 w 8079933"/>
              <a:gd name="connsiteY6985" fmla="*/ 3012737 h 4687251"/>
              <a:gd name="connsiteX6986" fmla="*/ 6675403 w 8079933"/>
              <a:gd name="connsiteY6986" fmla="*/ 3012629 h 4687251"/>
              <a:gd name="connsiteX6987" fmla="*/ 6685278 w 8079933"/>
              <a:gd name="connsiteY6987" fmla="*/ 3007215 h 4687251"/>
              <a:gd name="connsiteX6988" fmla="*/ 6696672 w 8079933"/>
              <a:gd name="connsiteY6988" fmla="*/ 3005592 h 4687251"/>
              <a:gd name="connsiteX6989" fmla="*/ 6695912 w 8079933"/>
              <a:gd name="connsiteY6989" fmla="*/ 3001910 h 4687251"/>
              <a:gd name="connsiteX6990" fmla="*/ 6705461 w 8079933"/>
              <a:gd name="connsiteY6990" fmla="*/ 2987619 h 4687251"/>
              <a:gd name="connsiteX6991" fmla="*/ 6709260 w 8079933"/>
              <a:gd name="connsiteY6991" fmla="*/ 2977549 h 4687251"/>
              <a:gd name="connsiteX6992" fmla="*/ 6716422 w 8079933"/>
              <a:gd name="connsiteY6992" fmla="*/ 2966723 h 4687251"/>
              <a:gd name="connsiteX6993" fmla="*/ 6721631 w 8079933"/>
              <a:gd name="connsiteY6993" fmla="*/ 2948316 h 4687251"/>
              <a:gd name="connsiteX6994" fmla="*/ 6721631 w 8079933"/>
              <a:gd name="connsiteY6994" fmla="*/ 2944743 h 4687251"/>
              <a:gd name="connsiteX6995" fmla="*/ 6724018 w 8079933"/>
              <a:gd name="connsiteY6995" fmla="*/ 2940520 h 4687251"/>
              <a:gd name="connsiteX6996" fmla="*/ 6723692 w 8079933"/>
              <a:gd name="connsiteY6996" fmla="*/ 2937489 h 4687251"/>
              <a:gd name="connsiteX6997" fmla="*/ 6728684 w 8079933"/>
              <a:gd name="connsiteY6997" fmla="*/ 2931426 h 4687251"/>
              <a:gd name="connsiteX6998" fmla="*/ 4384506 w 8079933"/>
              <a:gd name="connsiteY6998" fmla="*/ 2930235 h 4687251"/>
              <a:gd name="connsiteX6999" fmla="*/ 4384506 w 8079933"/>
              <a:gd name="connsiteY6999" fmla="*/ 2932942 h 4687251"/>
              <a:gd name="connsiteX7000" fmla="*/ 4388304 w 8079933"/>
              <a:gd name="connsiteY7000" fmla="*/ 2938030 h 4687251"/>
              <a:gd name="connsiteX7001" fmla="*/ 4388304 w 8079933"/>
              <a:gd name="connsiteY7001" fmla="*/ 2938029 h 4687251"/>
              <a:gd name="connsiteX7002" fmla="*/ 4384506 w 8079933"/>
              <a:gd name="connsiteY7002" fmla="*/ 2932941 h 4687251"/>
              <a:gd name="connsiteX7003" fmla="*/ 4384506 w 8079933"/>
              <a:gd name="connsiteY7003" fmla="*/ 2930235 h 4687251"/>
              <a:gd name="connsiteX7004" fmla="*/ 6987280 w 8079933"/>
              <a:gd name="connsiteY7004" fmla="*/ 2930127 h 4687251"/>
              <a:gd name="connsiteX7005" fmla="*/ 6990426 w 8079933"/>
              <a:gd name="connsiteY7005" fmla="*/ 2932184 h 4687251"/>
              <a:gd name="connsiteX7006" fmla="*/ 6991620 w 8079933"/>
              <a:gd name="connsiteY7006" fmla="*/ 2936731 h 4687251"/>
              <a:gd name="connsiteX7007" fmla="*/ 6989667 w 8079933"/>
              <a:gd name="connsiteY7007" fmla="*/ 2940845 h 4687251"/>
              <a:gd name="connsiteX7008" fmla="*/ 6987280 w 8079933"/>
              <a:gd name="connsiteY7008" fmla="*/ 2941928 h 4687251"/>
              <a:gd name="connsiteX7009" fmla="*/ 6986737 w 8079933"/>
              <a:gd name="connsiteY7009" fmla="*/ 2937489 h 4687251"/>
              <a:gd name="connsiteX7010" fmla="*/ 6985000 w 8079933"/>
              <a:gd name="connsiteY7010" fmla="*/ 2931643 h 4687251"/>
              <a:gd name="connsiteX7011" fmla="*/ 4473706 w 8079933"/>
              <a:gd name="connsiteY7011" fmla="*/ 2928394 h 4687251"/>
              <a:gd name="connsiteX7012" fmla="*/ 4474140 w 8079933"/>
              <a:gd name="connsiteY7012" fmla="*/ 2930992 h 4687251"/>
              <a:gd name="connsiteX7013" fmla="*/ 4476636 w 8079933"/>
              <a:gd name="connsiteY7013" fmla="*/ 2933049 h 4687251"/>
              <a:gd name="connsiteX7014" fmla="*/ 4475768 w 8079933"/>
              <a:gd name="connsiteY7014" fmla="*/ 2934997 h 4687251"/>
              <a:gd name="connsiteX7015" fmla="*/ 4476636 w 8079933"/>
              <a:gd name="connsiteY7015" fmla="*/ 2933049 h 4687251"/>
              <a:gd name="connsiteX7016" fmla="*/ 4474141 w 8079933"/>
              <a:gd name="connsiteY7016" fmla="*/ 2930991 h 4687251"/>
              <a:gd name="connsiteX7017" fmla="*/ 6690376 w 8079933"/>
              <a:gd name="connsiteY7017" fmla="*/ 2928178 h 4687251"/>
              <a:gd name="connsiteX7018" fmla="*/ 6694499 w 8079933"/>
              <a:gd name="connsiteY7018" fmla="*/ 2935215 h 4687251"/>
              <a:gd name="connsiteX7019" fmla="*/ 6697361 w 8079933"/>
              <a:gd name="connsiteY7019" fmla="*/ 2937406 h 4687251"/>
              <a:gd name="connsiteX7020" fmla="*/ 6694500 w 8079933"/>
              <a:gd name="connsiteY7020" fmla="*/ 2935215 h 4687251"/>
              <a:gd name="connsiteX7021" fmla="*/ 2337045 w 8079933"/>
              <a:gd name="connsiteY7021" fmla="*/ 2927893 h 4687251"/>
              <a:gd name="connsiteX7022" fmla="*/ 2336689 w 8079933"/>
              <a:gd name="connsiteY7022" fmla="*/ 2929043 h 4687251"/>
              <a:gd name="connsiteX7023" fmla="*/ 2336689 w 8079933"/>
              <a:gd name="connsiteY7023" fmla="*/ 2929043 h 4687251"/>
              <a:gd name="connsiteX7024" fmla="*/ 4655655 w 8079933"/>
              <a:gd name="connsiteY7024" fmla="*/ 2926341 h 4687251"/>
              <a:gd name="connsiteX7025" fmla="*/ 4656665 w 8079933"/>
              <a:gd name="connsiteY7025" fmla="*/ 2928393 h 4687251"/>
              <a:gd name="connsiteX7026" fmla="*/ 4659378 w 8079933"/>
              <a:gd name="connsiteY7026" fmla="*/ 2931533 h 4687251"/>
              <a:gd name="connsiteX7027" fmla="*/ 4660680 w 8079933"/>
              <a:gd name="connsiteY7027" fmla="*/ 2933590 h 4687251"/>
              <a:gd name="connsiteX7028" fmla="*/ 4659378 w 8079933"/>
              <a:gd name="connsiteY7028" fmla="*/ 2931533 h 4687251"/>
              <a:gd name="connsiteX7029" fmla="*/ 4656665 w 8079933"/>
              <a:gd name="connsiteY7029" fmla="*/ 2928394 h 4687251"/>
              <a:gd name="connsiteX7030" fmla="*/ 4830956 w 8079933"/>
              <a:gd name="connsiteY7030" fmla="*/ 2925851 h 4687251"/>
              <a:gd name="connsiteX7031" fmla="*/ 4834633 w 8079933"/>
              <a:gd name="connsiteY7031" fmla="*/ 2928177 h 4687251"/>
              <a:gd name="connsiteX7032" fmla="*/ 4844725 w 8079933"/>
              <a:gd name="connsiteY7032" fmla="*/ 2937705 h 4687251"/>
              <a:gd name="connsiteX7033" fmla="*/ 4850585 w 8079933"/>
              <a:gd name="connsiteY7033" fmla="*/ 2941711 h 4687251"/>
              <a:gd name="connsiteX7034" fmla="*/ 4854492 w 8079933"/>
              <a:gd name="connsiteY7034" fmla="*/ 2946258 h 4687251"/>
              <a:gd name="connsiteX7035" fmla="*/ 4858290 w 8079933"/>
              <a:gd name="connsiteY7035" fmla="*/ 2947449 h 4687251"/>
              <a:gd name="connsiteX7036" fmla="*/ 4858291 w 8079933"/>
              <a:gd name="connsiteY7036" fmla="*/ 2947449 h 4687251"/>
              <a:gd name="connsiteX7037" fmla="*/ 4854493 w 8079933"/>
              <a:gd name="connsiteY7037" fmla="*/ 2946258 h 4687251"/>
              <a:gd name="connsiteX7038" fmla="*/ 4850586 w 8079933"/>
              <a:gd name="connsiteY7038" fmla="*/ 2941711 h 4687251"/>
              <a:gd name="connsiteX7039" fmla="*/ 4844726 w 8079933"/>
              <a:gd name="connsiteY7039" fmla="*/ 2937704 h 4687251"/>
              <a:gd name="connsiteX7040" fmla="*/ 4834634 w 8079933"/>
              <a:gd name="connsiteY7040" fmla="*/ 2928177 h 4687251"/>
              <a:gd name="connsiteX7041" fmla="*/ 4389715 w 8079933"/>
              <a:gd name="connsiteY7041" fmla="*/ 2925795 h 4687251"/>
              <a:gd name="connsiteX7042" fmla="*/ 4389714 w 8079933"/>
              <a:gd name="connsiteY7042" fmla="*/ 2925796 h 4687251"/>
              <a:gd name="connsiteX7043" fmla="*/ 4389714 w 8079933"/>
              <a:gd name="connsiteY7043" fmla="*/ 2928394 h 4687251"/>
              <a:gd name="connsiteX7044" fmla="*/ 4389715 w 8079933"/>
              <a:gd name="connsiteY7044" fmla="*/ 2928393 h 4687251"/>
              <a:gd name="connsiteX7045" fmla="*/ 4608126 w 8079933"/>
              <a:gd name="connsiteY7045" fmla="*/ 2925644 h 4687251"/>
              <a:gd name="connsiteX7046" fmla="*/ 4608375 w 8079933"/>
              <a:gd name="connsiteY7046" fmla="*/ 2925903 h 4687251"/>
              <a:gd name="connsiteX7047" fmla="*/ 4608376 w 8079933"/>
              <a:gd name="connsiteY7047" fmla="*/ 2925903 h 4687251"/>
              <a:gd name="connsiteX7048" fmla="*/ 4975922 w 8079933"/>
              <a:gd name="connsiteY7048" fmla="*/ 2925470 h 4687251"/>
              <a:gd name="connsiteX7049" fmla="*/ 4972536 w 8079933"/>
              <a:gd name="connsiteY7049" fmla="*/ 2927435 h 4687251"/>
              <a:gd name="connsiteX7050" fmla="*/ 4975922 w 8079933"/>
              <a:gd name="connsiteY7050" fmla="*/ 2925471 h 4687251"/>
              <a:gd name="connsiteX7051" fmla="*/ 2659591 w 8079933"/>
              <a:gd name="connsiteY7051" fmla="*/ 2923041 h 4687251"/>
              <a:gd name="connsiteX7052" fmla="*/ 2659851 w 8079933"/>
              <a:gd name="connsiteY7052" fmla="*/ 2923738 h 4687251"/>
              <a:gd name="connsiteX7053" fmla="*/ 2659540 w 8079933"/>
              <a:gd name="connsiteY7053" fmla="*/ 2926838 h 4687251"/>
              <a:gd name="connsiteX7054" fmla="*/ 2659851 w 8079933"/>
              <a:gd name="connsiteY7054" fmla="*/ 2923739 h 4687251"/>
              <a:gd name="connsiteX7055" fmla="*/ 4601911 w 8079933"/>
              <a:gd name="connsiteY7055" fmla="*/ 2921093 h 4687251"/>
              <a:gd name="connsiteX7056" fmla="*/ 4602841 w 8079933"/>
              <a:gd name="connsiteY7056" fmla="*/ 2922222 h 4687251"/>
              <a:gd name="connsiteX7057" fmla="*/ 4601912 w 8079933"/>
              <a:gd name="connsiteY7057" fmla="*/ 2921094 h 4687251"/>
              <a:gd name="connsiteX7058" fmla="*/ 6808226 w 8079933"/>
              <a:gd name="connsiteY7058" fmla="*/ 2919841 h 4687251"/>
              <a:gd name="connsiteX7059" fmla="*/ 6809420 w 8079933"/>
              <a:gd name="connsiteY7059" fmla="*/ 2923306 h 4687251"/>
              <a:gd name="connsiteX7060" fmla="*/ 6809420 w 8079933"/>
              <a:gd name="connsiteY7060" fmla="*/ 2927095 h 4687251"/>
              <a:gd name="connsiteX7061" fmla="*/ 6807358 w 8079933"/>
              <a:gd name="connsiteY7061" fmla="*/ 2922765 h 4687251"/>
              <a:gd name="connsiteX7062" fmla="*/ 4392428 w 8079933"/>
              <a:gd name="connsiteY7062" fmla="*/ 2919732 h 4687251"/>
              <a:gd name="connsiteX7063" fmla="*/ 4392427 w 8079933"/>
              <a:gd name="connsiteY7063" fmla="*/ 2919733 h 4687251"/>
              <a:gd name="connsiteX7064" fmla="*/ 4391884 w 8079933"/>
              <a:gd name="connsiteY7064" fmla="*/ 2923089 h 4687251"/>
              <a:gd name="connsiteX7065" fmla="*/ 4391136 w 8079933"/>
              <a:gd name="connsiteY7065" fmla="*/ 2924022 h 4687251"/>
              <a:gd name="connsiteX7066" fmla="*/ 4391885 w 8079933"/>
              <a:gd name="connsiteY7066" fmla="*/ 2923088 h 4687251"/>
              <a:gd name="connsiteX7067" fmla="*/ 4987967 w 8079933"/>
              <a:gd name="connsiteY7067" fmla="*/ 2917242 h 4687251"/>
              <a:gd name="connsiteX7068" fmla="*/ 4983844 w 8079933"/>
              <a:gd name="connsiteY7068" fmla="*/ 2917567 h 4687251"/>
              <a:gd name="connsiteX7069" fmla="*/ 4983843 w 8079933"/>
              <a:gd name="connsiteY7069" fmla="*/ 2917567 h 4687251"/>
              <a:gd name="connsiteX7070" fmla="*/ 4987967 w 8079933"/>
              <a:gd name="connsiteY7070" fmla="*/ 2917242 h 4687251"/>
              <a:gd name="connsiteX7071" fmla="*/ 2524639 w 8079933"/>
              <a:gd name="connsiteY7071" fmla="*/ 2915296 h 4687251"/>
              <a:gd name="connsiteX7072" fmla="*/ 2524639 w 8079933"/>
              <a:gd name="connsiteY7072" fmla="*/ 2920057 h 4687251"/>
              <a:gd name="connsiteX7073" fmla="*/ 2521709 w 8079933"/>
              <a:gd name="connsiteY7073" fmla="*/ 2924713 h 4687251"/>
              <a:gd name="connsiteX7074" fmla="*/ 2519648 w 8079933"/>
              <a:gd name="connsiteY7074" fmla="*/ 2927636 h 4687251"/>
              <a:gd name="connsiteX7075" fmla="*/ 2521042 w 8079933"/>
              <a:gd name="connsiteY7075" fmla="*/ 2928331 h 4687251"/>
              <a:gd name="connsiteX7076" fmla="*/ 2522143 w 8079933"/>
              <a:gd name="connsiteY7076" fmla="*/ 2926769 h 4687251"/>
              <a:gd name="connsiteX7077" fmla="*/ 2525073 w 8079933"/>
              <a:gd name="connsiteY7077" fmla="*/ 2922114 h 4687251"/>
              <a:gd name="connsiteX7078" fmla="*/ 2525073 w 8079933"/>
              <a:gd name="connsiteY7078" fmla="*/ 2915834 h 4687251"/>
              <a:gd name="connsiteX7079" fmla="*/ 4151931 w 8079933"/>
              <a:gd name="connsiteY7079" fmla="*/ 2915264 h 4687251"/>
              <a:gd name="connsiteX7080" fmla="*/ 4146095 w 8079933"/>
              <a:gd name="connsiteY7080" fmla="*/ 2922005 h 4687251"/>
              <a:gd name="connsiteX7081" fmla="*/ 4146095 w 8079933"/>
              <a:gd name="connsiteY7081" fmla="*/ 2922006 h 4687251"/>
              <a:gd name="connsiteX7082" fmla="*/ 4598750 w 8079933"/>
              <a:gd name="connsiteY7082" fmla="*/ 2914851 h 4687251"/>
              <a:gd name="connsiteX7083" fmla="*/ 4598717 w 8079933"/>
              <a:gd name="connsiteY7083" fmla="*/ 2915184 h 4687251"/>
              <a:gd name="connsiteX7084" fmla="*/ 4598717 w 8079933"/>
              <a:gd name="connsiteY7084" fmla="*/ 2915184 h 4687251"/>
              <a:gd name="connsiteX7085" fmla="*/ 4598751 w 8079933"/>
              <a:gd name="connsiteY7085" fmla="*/ 2914852 h 4687251"/>
              <a:gd name="connsiteX7086" fmla="*/ 5007393 w 8079933"/>
              <a:gd name="connsiteY7086" fmla="*/ 2913777 h 4687251"/>
              <a:gd name="connsiteX7087" fmla="*/ 4992526 w 8079933"/>
              <a:gd name="connsiteY7087" fmla="*/ 2914426 h 4687251"/>
              <a:gd name="connsiteX7088" fmla="*/ 4992525 w 8079933"/>
              <a:gd name="connsiteY7088" fmla="*/ 2914427 h 4687251"/>
              <a:gd name="connsiteX7089" fmla="*/ 5007391 w 8079933"/>
              <a:gd name="connsiteY7089" fmla="*/ 2913778 h 4687251"/>
              <a:gd name="connsiteX7090" fmla="*/ 5022041 w 8079933"/>
              <a:gd name="connsiteY7090" fmla="*/ 2914210 h 4687251"/>
              <a:gd name="connsiteX7091" fmla="*/ 5022042 w 8079933"/>
              <a:gd name="connsiteY7091" fmla="*/ 2914210 h 4687251"/>
              <a:gd name="connsiteX7092" fmla="*/ 4154776 w 8079933"/>
              <a:gd name="connsiteY7092" fmla="*/ 2908905 h 4687251"/>
              <a:gd name="connsiteX7093" fmla="*/ 4153707 w 8079933"/>
              <a:gd name="connsiteY7093" fmla="*/ 2911456 h 4687251"/>
              <a:gd name="connsiteX7094" fmla="*/ 4154776 w 8079933"/>
              <a:gd name="connsiteY7094" fmla="*/ 2908906 h 4687251"/>
              <a:gd name="connsiteX7095" fmla="*/ 4547227 w 8079933"/>
              <a:gd name="connsiteY7095" fmla="*/ 2908062 h 4687251"/>
              <a:gd name="connsiteX7096" fmla="*/ 4547063 w 8079933"/>
              <a:gd name="connsiteY7096" fmla="*/ 2909447 h 4687251"/>
              <a:gd name="connsiteX7097" fmla="*/ 4548040 w 8079933"/>
              <a:gd name="connsiteY7097" fmla="*/ 2911071 h 4687251"/>
              <a:gd name="connsiteX7098" fmla="*/ 4548040 w 8079933"/>
              <a:gd name="connsiteY7098" fmla="*/ 2911070 h 4687251"/>
              <a:gd name="connsiteX7099" fmla="*/ 4547063 w 8079933"/>
              <a:gd name="connsiteY7099" fmla="*/ 2909446 h 4687251"/>
              <a:gd name="connsiteX7100" fmla="*/ 6828193 w 8079933"/>
              <a:gd name="connsiteY7100" fmla="*/ 2907714 h 4687251"/>
              <a:gd name="connsiteX7101" fmla="*/ 6828627 w 8079933"/>
              <a:gd name="connsiteY7101" fmla="*/ 2911287 h 4687251"/>
              <a:gd name="connsiteX7102" fmla="*/ 6823093 w 8079933"/>
              <a:gd name="connsiteY7102" fmla="*/ 2915184 h 4687251"/>
              <a:gd name="connsiteX7103" fmla="*/ 6817884 w 8079933"/>
              <a:gd name="connsiteY7103" fmla="*/ 2916375 h 4687251"/>
              <a:gd name="connsiteX7104" fmla="*/ 6816581 w 8079933"/>
              <a:gd name="connsiteY7104" fmla="*/ 2914860 h 4687251"/>
              <a:gd name="connsiteX7105" fmla="*/ 6824503 w 8079933"/>
              <a:gd name="connsiteY7105" fmla="*/ 2908363 h 4687251"/>
              <a:gd name="connsiteX7106" fmla="*/ 4798388 w 8079933"/>
              <a:gd name="connsiteY7106" fmla="*/ 2906523 h 4687251"/>
              <a:gd name="connsiteX7107" fmla="*/ 4798388 w 8079933"/>
              <a:gd name="connsiteY7107" fmla="*/ 2920923 h 4687251"/>
              <a:gd name="connsiteX7108" fmla="*/ 4802512 w 8079933"/>
              <a:gd name="connsiteY7108" fmla="*/ 2925471 h 4687251"/>
              <a:gd name="connsiteX7109" fmla="*/ 4807178 w 8079933"/>
              <a:gd name="connsiteY7109" fmla="*/ 2926445 h 4687251"/>
              <a:gd name="connsiteX7110" fmla="*/ 4812604 w 8079933"/>
              <a:gd name="connsiteY7110" fmla="*/ 2924604 h 4687251"/>
              <a:gd name="connsiteX7111" fmla="*/ 4818573 w 8079933"/>
              <a:gd name="connsiteY7111" fmla="*/ 2926120 h 4687251"/>
              <a:gd name="connsiteX7112" fmla="*/ 4823988 w 8079933"/>
              <a:gd name="connsiteY7112" fmla="*/ 2925766 h 4687251"/>
              <a:gd name="connsiteX7113" fmla="*/ 4818573 w 8079933"/>
              <a:gd name="connsiteY7113" fmla="*/ 2926120 h 4687251"/>
              <a:gd name="connsiteX7114" fmla="*/ 4812605 w 8079933"/>
              <a:gd name="connsiteY7114" fmla="*/ 2924604 h 4687251"/>
              <a:gd name="connsiteX7115" fmla="*/ 4807178 w 8079933"/>
              <a:gd name="connsiteY7115" fmla="*/ 2926444 h 4687251"/>
              <a:gd name="connsiteX7116" fmla="*/ 4802512 w 8079933"/>
              <a:gd name="connsiteY7116" fmla="*/ 2925470 h 4687251"/>
              <a:gd name="connsiteX7117" fmla="*/ 4798389 w 8079933"/>
              <a:gd name="connsiteY7117" fmla="*/ 2920922 h 4687251"/>
              <a:gd name="connsiteX7118" fmla="*/ 4798389 w 8079933"/>
              <a:gd name="connsiteY7118" fmla="*/ 2906523 h 4687251"/>
              <a:gd name="connsiteX7119" fmla="*/ 2345045 w 8079933"/>
              <a:gd name="connsiteY7119" fmla="*/ 2906414 h 4687251"/>
              <a:gd name="connsiteX7120" fmla="*/ 2339294 w 8079933"/>
              <a:gd name="connsiteY7120" fmla="*/ 2908147 h 4687251"/>
              <a:gd name="connsiteX7121" fmla="*/ 2339294 w 8079933"/>
              <a:gd name="connsiteY7121" fmla="*/ 2908147 h 4687251"/>
              <a:gd name="connsiteX7122" fmla="*/ 2345044 w 8079933"/>
              <a:gd name="connsiteY7122" fmla="*/ 2906415 h 4687251"/>
              <a:gd name="connsiteX7123" fmla="*/ 4786214 w 8079933"/>
              <a:gd name="connsiteY7123" fmla="*/ 2903880 h 4687251"/>
              <a:gd name="connsiteX7124" fmla="*/ 4785693 w 8079933"/>
              <a:gd name="connsiteY7124" fmla="*/ 2904465 h 4687251"/>
              <a:gd name="connsiteX7125" fmla="*/ 4785693 w 8079933"/>
              <a:gd name="connsiteY7125" fmla="*/ 2904465 h 4687251"/>
              <a:gd name="connsiteX7126" fmla="*/ 2346564 w 8079933"/>
              <a:gd name="connsiteY7126" fmla="*/ 2903491 h 4687251"/>
              <a:gd name="connsiteX7127" fmla="*/ 2345762 w 8079933"/>
              <a:gd name="connsiteY7127" fmla="*/ 2905034 h 4687251"/>
              <a:gd name="connsiteX7128" fmla="*/ 2346564 w 8079933"/>
              <a:gd name="connsiteY7128" fmla="*/ 2903492 h 4687251"/>
              <a:gd name="connsiteX7129" fmla="*/ 6345944 w 8079933"/>
              <a:gd name="connsiteY7129" fmla="*/ 2902626 h 4687251"/>
              <a:gd name="connsiteX7130" fmla="*/ 6348006 w 8079933"/>
              <a:gd name="connsiteY7130" fmla="*/ 2903168 h 4687251"/>
              <a:gd name="connsiteX7131" fmla="*/ 6350503 w 8079933"/>
              <a:gd name="connsiteY7131" fmla="*/ 2906524 h 4687251"/>
              <a:gd name="connsiteX7132" fmla="*/ 6351370 w 8079933"/>
              <a:gd name="connsiteY7132" fmla="*/ 2909772 h 4687251"/>
              <a:gd name="connsiteX7133" fmla="*/ 6349417 w 8079933"/>
              <a:gd name="connsiteY7133" fmla="*/ 2911071 h 4687251"/>
              <a:gd name="connsiteX7134" fmla="*/ 6346921 w 8079933"/>
              <a:gd name="connsiteY7134" fmla="*/ 2907606 h 4687251"/>
              <a:gd name="connsiteX7135" fmla="*/ 4787429 w 8079933"/>
              <a:gd name="connsiteY7135" fmla="*/ 2902517 h 4687251"/>
              <a:gd name="connsiteX7136" fmla="*/ 4787429 w 8079933"/>
              <a:gd name="connsiteY7136" fmla="*/ 2902517 h 4687251"/>
              <a:gd name="connsiteX7137" fmla="*/ 4790033 w 8079933"/>
              <a:gd name="connsiteY7137" fmla="*/ 2906956 h 4687251"/>
              <a:gd name="connsiteX7138" fmla="*/ 4794699 w 8079933"/>
              <a:gd name="connsiteY7138" fmla="*/ 2905982 h 4687251"/>
              <a:gd name="connsiteX7139" fmla="*/ 4796696 w 8079933"/>
              <a:gd name="connsiteY7139" fmla="*/ 2906275 h 4687251"/>
              <a:gd name="connsiteX7140" fmla="*/ 4794699 w 8079933"/>
              <a:gd name="connsiteY7140" fmla="*/ 2905981 h 4687251"/>
              <a:gd name="connsiteX7141" fmla="*/ 4790033 w 8079933"/>
              <a:gd name="connsiteY7141" fmla="*/ 2906955 h 4687251"/>
              <a:gd name="connsiteX7142" fmla="*/ 6233956 w 8079933"/>
              <a:gd name="connsiteY7142" fmla="*/ 2901544 h 4687251"/>
              <a:gd name="connsiteX7143" fmla="*/ 6243831 w 8079933"/>
              <a:gd name="connsiteY7143" fmla="*/ 2902951 h 4687251"/>
              <a:gd name="connsiteX7144" fmla="*/ 6254792 w 8079933"/>
              <a:gd name="connsiteY7144" fmla="*/ 2910531 h 4687251"/>
              <a:gd name="connsiteX7145" fmla="*/ 6258264 w 8079933"/>
              <a:gd name="connsiteY7145" fmla="*/ 2912695 h 4687251"/>
              <a:gd name="connsiteX7146" fmla="*/ 6265317 w 8079933"/>
              <a:gd name="connsiteY7146" fmla="*/ 2910855 h 4687251"/>
              <a:gd name="connsiteX7147" fmla="*/ 6271395 w 8079933"/>
              <a:gd name="connsiteY7147" fmla="*/ 2911072 h 4687251"/>
              <a:gd name="connsiteX7148" fmla="*/ 6273999 w 8079933"/>
              <a:gd name="connsiteY7148" fmla="*/ 2912695 h 4687251"/>
              <a:gd name="connsiteX7149" fmla="*/ 6277255 w 8079933"/>
              <a:gd name="connsiteY7149" fmla="*/ 2911505 h 4687251"/>
              <a:gd name="connsiteX7150" fmla="*/ 6282246 w 8079933"/>
              <a:gd name="connsiteY7150" fmla="*/ 2911505 h 4687251"/>
              <a:gd name="connsiteX7151" fmla="*/ 6287780 w 8079933"/>
              <a:gd name="connsiteY7151" fmla="*/ 2913562 h 4687251"/>
              <a:gd name="connsiteX7152" fmla="*/ 6291253 w 8079933"/>
              <a:gd name="connsiteY7152" fmla="*/ 2919733 h 4687251"/>
              <a:gd name="connsiteX7153" fmla="*/ 6293206 w 8079933"/>
              <a:gd name="connsiteY7153" fmla="*/ 2920491 h 4687251"/>
              <a:gd name="connsiteX7154" fmla="*/ 6296028 w 8079933"/>
              <a:gd name="connsiteY7154" fmla="*/ 2926338 h 4687251"/>
              <a:gd name="connsiteX7155" fmla="*/ 6300803 w 8079933"/>
              <a:gd name="connsiteY7155" fmla="*/ 2928828 h 4687251"/>
              <a:gd name="connsiteX7156" fmla="*/ 6302104 w 8079933"/>
              <a:gd name="connsiteY7156" fmla="*/ 2936407 h 4687251"/>
              <a:gd name="connsiteX7157" fmla="*/ 6303624 w 8079933"/>
              <a:gd name="connsiteY7157" fmla="*/ 2940088 h 4687251"/>
              <a:gd name="connsiteX7158" fmla="*/ 6309266 w 8079933"/>
              <a:gd name="connsiteY7158" fmla="*/ 2940955 h 4687251"/>
              <a:gd name="connsiteX7159" fmla="*/ 6314910 w 8079933"/>
              <a:gd name="connsiteY7159" fmla="*/ 2947234 h 4687251"/>
              <a:gd name="connsiteX7160" fmla="*/ 6319576 w 8079933"/>
              <a:gd name="connsiteY7160" fmla="*/ 2947775 h 4687251"/>
              <a:gd name="connsiteX7161" fmla="*/ 6333358 w 8079933"/>
              <a:gd name="connsiteY7161" fmla="*/ 2956870 h 4687251"/>
              <a:gd name="connsiteX7162" fmla="*/ 6335311 w 8079933"/>
              <a:gd name="connsiteY7162" fmla="*/ 2960118 h 4687251"/>
              <a:gd name="connsiteX7163" fmla="*/ 6340411 w 8079933"/>
              <a:gd name="connsiteY7163" fmla="*/ 2961201 h 4687251"/>
              <a:gd name="connsiteX7164" fmla="*/ 6344752 w 8079933"/>
              <a:gd name="connsiteY7164" fmla="*/ 2966723 h 4687251"/>
              <a:gd name="connsiteX7165" fmla="*/ 6345078 w 8079933"/>
              <a:gd name="connsiteY7165" fmla="*/ 2973761 h 4687251"/>
              <a:gd name="connsiteX7166" fmla="*/ 6347573 w 8079933"/>
              <a:gd name="connsiteY7166" fmla="*/ 2977225 h 4687251"/>
              <a:gd name="connsiteX7167" fmla="*/ 6350828 w 8079933"/>
              <a:gd name="connsiteY7167" fmla="*/ 2973977 h 4687251"/>
              <a:gd name="connsiteX7168" fmla="*/ 6352240 w 8079933"/>
              <a:gd name="connsiteY7168" fmla="*/ 2980257 h 4687251"/>
              <a:gd name="connsiteX7169" fmla="*/ 6354953 w 8079933"/>
              <a:gd name="connsiteY7169" fmla="*/ 2982206 h 4687251"/>
              <a:gd name="connsiteX7170" fmla="*/ 6356146 w 8079933"/>
              <a:gd name="connsiteY7170" fmla="*/ 2979932 h 4687251"/>
              <a:gd name="connsiteX7171" fmla="*/ 6361789 w 8079933"/>
              <a:gd name="connsiteY7171" fmla="*/ 2980257 h 4687251"/>
              <a:gd name="connsiteX7172" fmla="*/ 6370796 w 8079933"/>
              <a:gd name="connsiteY7172" fmla="*/ 2985237 h 4687251"/>
              <a:gd name="connsiteX7173" fmla="*/ 6377633 w 8079933"/>
              <a:gd name="connsiteY7173" fmla="*/ 2992166 h 4687251"/>
              <a:gd name="connsiteX7174" fmla="*/ 6378826 w 8079933"/>
              <a:gd name="connsiteY7174" fmla="*/ 3000936 h 4687251"/>
              <a:gd name="connsiteX7175" fmla="*/ 6382624 w 8079933"/>
              <a:gd name="connsiteY7175" fmla="*/ 3003968 h 4687251"/>
              <a:gd name="connsiteX7176" fmla="*/ 6385771 w 8079933"/>
              <a:gd name="connsiteY7176" fmla="*/ 3002993 h 4687251"/>
              <a:gd name="connsiteX7177" fmla="*/ 6389027 w 8079933"/>
              <a:gd name="connsiteY7177" fmla="*/ 3003751 h 4687251"/>
              <a:gd name="connsiteX7178" fmla="*/ 6399119 w 8079933"/>
              <a:gd name="connsiteY7178" fmla="*/ 3013604 h 4687251"/>
              <a:gd name="connsiteX7179" fmla="*/ 6399878 w 8079933"/>
              <a:gd name="connsiteY7179" fmla="*/ 3019775 h 4687251"/>
              <a:gd name="connsiteX7180" fmla="*/ 6399878 w 8079933"/>
              <a:gd name="connsiteY7180" fmla="*/ 3022915 h 4687251"/>
              <a:gd name="connsiteX7181" fmla="*/ 6405847 w 8079933"/>
              <a:gd name="connsiteY7181" fmla="*/ 3027895 h 4687251"/>
              <a:gd name="connsiteX7182" fmla="*/ 6414203 w 8079933"/>
              <a:gd name="connsiteY7182" fmla="*/ 3027571 h 4687251"/>
              <a:gd name="connsiteX7183" fmla="*/ 6419629 w 8079933"/>
              <a:gd name="connsiteY7183" fmla="*/ 3030169 h 4687251"/>
              <a:gd name="connsiteX7184" fmla="*/ 6420714 w 8079933"/>
              <a:gd name="connsiteY7184" fmla="*/ 3033201 h 4687251"/>
              <a:gd name="connsiteX7185" fmla="*/ 6418434 w 8079933"/>
              <a:gd name="connsiteY7185" fmla="*/ 3036449 h 4687251"/>
              <a:gd name="connsiteX7186" fmla="*/ 6416156 w 8079933"/>
              <a:gd name="connsiteY7186" fmla="*/ 3037099 h 4687251"/>
              <a:gd name="connsiteX7187" fmla="*/ 6413877 w 8079933"/>
              <a:gd name="connsiteY7187" fmla="*/ 3039156 h 4687251"/>
              <a:gd name="connsiteX7188" fmla="*/ 6410513 w 8079933"/>
              <a:gd name="connsiteY7188" fmla="*/ 3039914 h 4687251"/>
              <a:gd name="connsiteX7189" fmla="*/ 6416481 w 8079933"/>
              <a:gd name="connsiteY7189" fmla="*/ 3039481 h 4687251"/>
              <a:gd name="connsiteX7190" fmla="*/ 6421473 w 8079933"/>
              <a:gd name="connsiteY7190" fmla="*/ 3036449 h 4687251"/>
              <a:gd name="connsiteX7191" fmla="*/ 6427008 w 8079933"/>
              <a:gd name="connsiteY7191" fmla="*/ 3032767 h 4687251"/>
              <a:gd name="connsiteX7192" fmla="*/ 6431131 w 8079933"/>
              <a:gd name="connsiteY7192" fmla="*/ 3033309 h 4687251"/>
              <a:gd name="connsiteX7193" fmla="*/ 6438511 w 8079933"/>
              <a:gd name="connsiteY7193" fmla="*/ 3041430 h 4687251"/>
              <a:gd name="connsiteX7194" fmla="*/ 6439921 w 8079933"/>
              <a:gd name="connsiteY7194" fmla="*/ 3046301 h 4687251"/>
              <a:gd name="connsiteX7195" fmla="*/ 6432759 w 8079933"/>
              <a:gd name="connsiteY7195" fmla="*/ 3047493 h 4687251"/>
              <a:gd name="connsiteX7196" fmla="*/ 6427116 w 8079933"/>
              <a:gd name="connsiteY7196" fmla="*/ 3051715 h 4687251"/>
              <a:gd name="connsiteX7197" fmla="*/ 6423427 w 8079933"/>
              <a:gd name="connsiteY7197" fmla="*/ 3055072 h 4687251"/>
              <a:gd name="connsiteX7198" fmla="*/ 6428635 w 8079933"/>
              <a:gd name="connsiteY7198" fmla="*/ 3053123 h 4687251"/>
              <a:gd name="connsiteX7199" fmla="*/ 6431456 w 8079933"/>
              <a:gd name="connsiteY7199" fmla="*/ 3054313 h 4687251"/>
              <a:gd name="connsiteX7200" fmla="*/ 6436666 w 8079933"/>
              <a:gd name="connsiteY7200" fmla="*/ 3053448 h 4687251"/>
              <a:gd name="connsiteX7201" fmla="*/ 6440247 w 8079933"/>
              <a:gd name="connsiteY7201" fmla="*/ 3055397 h 4687251"/>
              <a:gd name="connsiteX7202" fmla="*/ 6434712 w 8079933"/>
              <a:gd name="connsiteY7202" fmla="*/ 3058536 h 4687251"/>
              <a:gd name="connsiteX7203" fmla="*/ 6429829 w 8079933"/>
              <a:gd name="connsiteY7203" fmla="*/ 3060701 h 4687251"/>
              <a:gd name="connsiteX7204" fmla="*/ 6429720 w 8079933"/>
              <a:gd name="connsiteY7204" fmla="*/ 3064707 h 4687251"/>
              <a:gd name="connsiteX7205" fmla="*/ 6437751 w 8079933"/>
              <a:gd name="connsiteY7205" fmla="*/ 3070229 h 4687251"/>
              <a:gd name="connsiteX7206" fmla="*/ 6447083 w 8079933"/>
              <a:gd name="connsiteY7206" fmla="*/ 3070338 h 4687251"/>
              <a:gd name="connsiteX7207" fmla="*/ 6449579 w 8079933"/>
              <a:gd name="connsiteY7207" fmla="*/ 3072611 h 4687251"/>
              <a:gd name="connsiteX7208" fmla="*/ 6455222 w 8079933"/>
              <a:gd name="connsiteY7208" fmla="*/ 3070338 h 4687251"/>
              <a:gd name="connsiteX7209" fmla="*/ 6455872 w 8079933"/>
              <a:gd name="connsiteY7209" fmla="*/ 3082031 h 4687251"/>
              <a:gd name="connsiteX7210" fmla="*/ 6457826 w 8079933"/>
              <a:gd name="connsiteY7210" fmla="*/ 3087228 h 4687251"/>
              <a:gd name="connsiteX7211" fmla="*/ 6455548 w 8079933"/>
              <a:gd name="connsiteY7211" fmla="*/ 3091884 h 4687251"/>
              <a:gd name="connsiteX7212" fmla="*/ 6458694 w 8079933"/>
              <a:gd name="connsiteY7212" fmla="*/ 3089935 h 4687251"/>
              <a:gd name="connsiteX7213" fmla="*/ 6462167 w 8079933"/>
              <a:gd name="connsiteY7213" fmla="*/ 3094590 h 4687251"/>
              <a:gd name="connsiteX7214" fmla="*/ 6462818 w 8079933"/>
              <a:gd name="connsiteY7214" fmla="*/ 3101628 h 4687251"/>
              <a:gd name="connsiteX7215" fmla="*/ 6467484 w 8079933"/>
              <a:gd name="connsiteY7215" fmla="*/ 3102386 h 4687251"/>
              <a:gd name="connsiteX7216" fmla="*/ 6474646 w 8079933"/>
              <a:gd name="connsiteY7216" fmla="*/ 3101412 h 4687251"/>
              <a:gd name="connsiteX7217" fmla="*/ 6479204 w 8079933"/>
              <a:gd name="connsiteY7217" fmla="*/ 3103360 h 4687251"/>
              <a:gd name="connsiteX7218" fmla="*/ 6480506 w 8079933"/>
              <a:gd name="connsiteY7218" fmla="*/ 3107150 h 4687251"/>
              <a:gd name="connsiteX7219" fmla="*/ 6483437 w 8079933"/>
              <a:gd name="connsiteY7219" fmla="*/ 3108666 h 4687251"/>
              <a:gd name="connsiteX7220" fmla="*/ 6485390 w 8079933"/>
              <a:gd name="connsiteY7220" fmla="*/ 3114188 h 4687251"/>
              <a:gd name="connsiteX7221" fmla="*/ 6489622 w 8079933"/>
              <a:gd name="connsiteY7221" fmla="*/ 3117652 h 4687251"/>
              <a:gd name="connsiteX7222" fmla="*/ 6493311 w 8079933"/>
              <a:gd name="connsiteY7222" fmla="*/ 3119384 h 4687251"/>
              <a:gd name="connsiteX7223" fmla="*/ 6493962 w 8079933"/>
              <a:gd name="connsiteY7223" fmla="*/ 3123823 h 4687251"/>
              <a:gd name="connsiteX7224" fmla="*/ 6492118 w 8079933"/>
              <a:gd name="connsiteY7224" fmla="*/ 3127288 h 4687251"/>
              <a:gd name="connsiteX7225" fmla="*/ 6487776 w 8079933"/>
              <a:gd name="connsiteY7225" fmla="*/ 3129129 h 4687251"/>
              <a:gd name="connsiteX7226" fmla="*/ 6487452 w 8079933"/>
              <a:gd name="connsiteY7226" fmla="*/ 3136708 h 4687251"/>
              <a:gd name="connsiteX7227" fmla="*/ 6489513 w 8079933"/>
              <a:gd name="connsiteY7227" fmla="*/ 3140281 h 4687251"/>
              <a:gd name="connsiteX7228" fmla="*/ 6485499 w 8079933"/>
              <a:gd name="connsiteY7228" fmla="*/ 3149808 h 4687251"/>
              <a:gd name="connsiteX7229" fmla="*/ 6488103 w 8079933"/>
              <a:gd name="connsiteY7229" fmla="*/ 3158579 h 4687251"/>
              <a:gd name="connsiteX7230" fmla="*/ 6485715 w 8079933"/>
              <a:gd name="connsiteY7230" fmla="*/ 3171571 h 4687251"/>
              <a:gd name="connsiteX7231" fmla="*/ 6486258 w 8079933"/>
              <a:gd name="connsiteY7231" fmla="*/ 3182289 h 4687251"/>
              <a:gd name="connsiteX7232" fmla="*/ 6483002 w 8079933"/>
              <a:gd name="connsiteY7232" fmla="*/ 3185538 h 4687251"/>
              <a:gd name="connsiteX7233" fmla="*/ 6480180 w 8079933"/>
              <a:gd name="connsiteY7233" fmla="*/ 3184347 h 4687251"/>
              <a:gd name="connsiteX7234" fmla="*/ 6475840 w 8079933"/>
              <a:gd name="connsiteY7234" fmla="*/ 3177634 h 4687251"/>
              <a:gd name="connsiteX7235" fmla="*/ 6471933 w 8079933"/>
              <a:gd name="connsiteY7235" fmla="*/ 3176768 h 4687251"/>
              <a:gd name="connsiteX7236" fmla="*/ 6469980 w 8079933"/>
              <a:gd name="connsiteY7236" fmla="*/ 3180016 h 4687251"/>
              <a:gd name="connsiteX7237" fmla="*/ 6469872 w 8079933"/>
              <a:gd name="connsiteY7237" fmla="*/ 3186187 h 4687251"/>
              <a:gd name="connsiteX7238" fmla="*/ 6467919 w 8079933"/>
              <a:gd name="connsiteY7238" fmla="*/ 3187811 h 4687251"/>
              <a:gd name="connsiteX7239" fmla="*/ 6458694 w 8079933"/>
              <a:gd name="connsiteY7239" fmla="*/ 3179150 h 4687251"/>
              <a:gd name="connsiteX7240" fmla="*/ 6454354 w 8079933"/>
              <a:gd name="connsiteY7240" fmla="*/ 3178283 h 4687251"/>
              <a:gd name="connsiteX7241" fmla="*/ 6454354 w 8079933"/>
              <a:gd name="connsiteY7241" fmla="*/ 3180882 h 4687251"/>
              <a:gd name="connsiteX7242" fmla="*/ 6455764 w 8079933"/>
              <a:gd name="connsiteY7242" fmla="*/ 3183264 h 4687251"/>
              <a:gd name="connsiteX7243" fmla="*/ 6455764 w 8079933"/>
              <a:gd name="connsiteY7243" fmla="*/ 3187920 h 4687251"/>
              <a:gd name="connsiteX7244" fmla="*/ 6454028 w 8079933"/>
              <a:gd name="connsiteY7244" fmla="*/ 3189977 h 4687251"/>
              <a:gd name="connsiteX7245" fmla="*/ 6450773 w 8079933"/>
              <a:gd name="connsiteY7245" fmla="*/ 3184455 h 4687251"/>
              <a:gd name="connsiteX7246" fmla="*/ 6447626 w 8079933"/>
              <a:gd name="connsiteY7246" fmla="*/ 3183156 h 4687251"/>
              <a:gd name="connsiteX7247" fmla="*/ 6446432 w 8079933"/>
              <a:gd name="connsiteY7247" fmla="*/ 3178175 h 4687251"/>
              <a:gd name="connsiteX7248" fmla="*/ 6432325 w 8079933"/>
              <a:gd name="connsiteY7248" fmla="*/ 3165724 h 4687251"/>
              <a:gd name="connsiteX7249" fmla="*/ 6425380 w 8079933"/>
              <a:gd name="connsiteY7249" fmla="*/ 3163883 h 4687251"/>
              <a:gd name="connsiteX7250" fmla="*/ 6422992 w 8079933"/>
              <a:gd name="connsiteY7250" fmla="*/ 3158686 h 4687251"/>
              <a:gd name="connsiteX7251" fmla="*/ 6412357 w 8079933"/>
              <a:gd name="connsiteY7251" fmla="*/ 3151974 h 4687251"/>
              <a:gd name="connsiteX7252" fmla="*/ 6406064 w 8079933"/>
              <a:gd name="connsiteY7252" fmla="*/ 3145153 h 4687251"/>
              <a:gd name="connsiteX7253" fmla="*/ 6400964 w 8079933"/>
              <a:gd name="connsiteY7253" fmla="*/ 3141904 h 4687251"/>
              <a:gd name="connsiteX7254" fmla="*/ 6400096 w 8079933"/>
              <a:gd name="connsiteY7254" fmla="*/ 3134975 h 4687251"/>
              <a:gd name="connsiteX7255" fmla="*/ 6394236 w 8079933"/>
              <a:gd name="connsiteY7255" fmla="*/ 3131186 h 4687251"/>
              <a:gd name="connsiteX7256" fmla="*/ 6391848 w 8079933"/>
              <a:gd name="connsiteY7256" fmla="*/ 3128479 h 4687251"/>
              <a:gd name="connsiteX7257" fmla="*/ 6385121 w 8079933"/>
              <a:gd name="connsiteY7257" fmla="*/ 3127071 h 4687251"/>
              <a:gd name="connsiteX7258" fmla="*/ 6382624 w 8079933"/>
              <a:gd name="connsiteY7258" fmla="*/ 3121225 h 4687251"/>
              <a:gd name="connsiteX7259" fmla="*/ 6373943 w 8079933"/>
              <a:gd name="connsiteY7259" fmla="*/ 3110398 h 4687251"/>
              <a:gd name="connsiteX7260" fmla="*/ 6365262 w 8079933"/>
              <a:gd name="connsiteY7260" fmla="*/ 3103902 h 4687251"/>
              <a:gd name="connsiteX7261" fmla="*/ 6363091 w 8079933"/>
              <a:gd name="connsiteY7261" fmla="*/ 3097839 h 4687251"/>
              <a:gd name="connsiteX7262" fmla="*/ 6363525 w 8079933"/>
              <a:gd name="connsiteY7262" fmla="*/ 3091125 h 4687251"/>
              <a:gd name="connsiteX7263" fmla="*/ 6354627 w 8079933"/>
              <a:gd name="connsiteY7263" fmla="*/ 3074668 h 4687251"/>
              <a:gd name="connsiteX7264" fmla="*/ 6353541 w 8079933"/>
              <a:gd name="connsiteY7264" fmla="*/ 3062975 h 4687251"/>
              <a:gd name="connsiteX7265" fmla="*/ 6348116 w 8079933"/>
              <a:gd name="connsiteY7265" fmla="*/ 3058861 h 4687251"/>
              <a:gd name="connsiteX7266" fmla="*/ 6342147 w 8079933"/>
              <a:gd name="connsiteY7266" fmla="*/ 3048576 h 4687251"/>
              <a:gd name="connsiteX7267" fmla="*/ 6342147 w 8079933"/>
              <a:gd name="connsiteY7267" fmla="*/ 3044461 h 4687251"/>
              <a:gd name="connsiteX7268" fmla="*/ 6335094 w 8079933"/>
              <a:gd name="connsiteY7268" fmla="*/ 3039589 h 4687251"/>
              <a:gd name="connsiteX7269" fmla="*/ 6328908 w 8079933"/>
              <a:gd name="connsiteY7269" fmla="*/ 3037640 h 4687251"/>
              <a:gd name="connsiteX7270" fmla="*/ 6326630 w 8079933"/>
              <a:gd name="connsiteY7270" fmla="*/ 3030819 h 4687251"/>
              <a:gd name="connsiteX7271" fmla="*/ 6321855 w 8079933"/>
              <a:gd name="connsiteY7271" fmla="*/ 3018152 h 4687251"/>
              <a:gd name="connsiteX7272" fmla="*/ 6322072 w 8079933"/>
              <a:gd name="connsiteY7272" fmla="*/ 3016527 h 4687251"/>
              <a:gd name="connsiteX7273" fmla="*/ 6319793 w 8079933"/>
              <a:gd name="connsiteY7273" fmla="*/ 3010573 h 4687251"/>
              <a:gd name="connsiteX7274" fmla="*/ 6316754 w 8079933"/>
              <a:gd name="connsiteY7274" fmla="*/ 3007216 h 4687251"/>
              <a:gd name="connsiteX7275" fmla="*/ 6318600 w 8079933"/>
              <a:gd name="connsiteY7275" fmla="*/ 3003859 h 4687251"/>
              <a:gd name="connsiteX7276" fmla="*/ 6317731 w 8079933"/>
              <a:gd name="connsiteY7276" fmla="*/ 3001261 h 4687251"/>
              <a:gd name="connsiteX7277" fmla="*/ 6314910 w 8079933"/>
              <a:gd name="connsiteY7277" fmla="*/ 3001694 h 4687251"/>
              <a:gd name="connsiteX7278" fmla="*/ 6311654 w 8079933"/>
              <a:gd name="connsiteY7278" fmla="*/ 2999854 h 4687251"/>
              <a:gd name="connsiteX7279" fmla="*/ 6305252 w 8079933"/>
              <a:gd name="connsiteY7279" fmla="*/ 2991841 h 4687251"/>
              <a:gd name="connsiteX7280" fmla="*/ 6300260 w 8079933"/>
              <a:gd name="connsiteY7280" fmla="*/ 2991841 h 4687251"/>
              <a:gd name="connsiteX7281" fmla="*/ 6297221 w 8079933"/>
              <a:gd name="connsiteY7281" fmla="*/ 2989135 h 4687251"/>
              <a:gd name="connsiteX7282" fmla="*/ 6296353 w 8079933"/>
              <a:gd name="connsiteY7282" fmla="*/ 2982963 h 4687251"/>
              <a:gd name="connsiteX7283" fmla="*/ 6294075 w 8079933"/>
              <a:gd name="connsiteY7283" fmla="*/ 2981123 h 4687251"/>
              <a:gd name="connsiteX7284" fmla="*/ 6294075 w 8079933"/>
              <a:gd name="connsiteY7284" fmla="*/ 2974951 h 4687251"/>
              <a:gd name="connsiteX7285" fmla="*/ 6291687 w 8079933"/>
              <a:gd name="connsiteY7285" fmla="*/ 2974951 h 4687251"/>
              <a:gd name="connsiteX7286" fmla="*/ 6283223 w 8079933"/>
              <a:gd name="connsiteY7286" fmla="*/ 2966831 h 4687251"/>
              <a:gd name="connsiteX7287" fmla="*/ 6274867 w 8079933"/>
              <a:gd name="connsiteY7287" fmla="*/ 2953406 h 4687251"/>
              <a:gd name="connsiteX7288" fmla="*/ 6267054 w 8079933"/>
              <a:gd name="connsiteY7288" fmla="*/ 2946909 h 4687251"/>
              <a:gd name="connsiteX7289" fmla="*/ 6264015 w 8079933"/>
              <a:gd name="connsiteY7289" fmla="*/ 2948100 h 4687251"/>
              <a:gd name="connsiteX7290" fmla="*/ 6260326 w 8079933"/>
              <a:gd name="connsiteY7290" fmla="*/ 2946801 h 4687251"/>
              <a:gd name="connsiteX7291" fmla="*/ 6254032 w 8079933"/>
              <a:gd name="connsiteY7291" fmla="*/ 2938898 h 4687251"/>
              <a:gd name="connsiteX7292" fmla="*/ 6250885 w 8079933"/>
              <a:gd name="connsiteY7292" fmla="*/ 2938898 h 4687251"/>
              <a:gd name="connsiteX7293" fmla="*/ 6240576 w 8079933"/>
              <a:gd name="connsiteY7293" fmla="*/ 2927529 h 4687251"/>
              <a:gd name="connsiteX7294" fmla="*/ 6236778 w 8079933"/>
              <a:gd name="connsiteY7294" fmla="*/ 2925796 h 4687251"/>
              <a:gd name="connsiteX7295" fmla="*/ 6230700 w 8079933"/>
              <a:gd name="connsiteY7295" fmla="*/ 2912804 h 4687251"/>
              <a:gd name="connsiteX7296" fmla="*/ 6229507 w 8079933"/>
              <a:gd name="connsiteY7296" fmla="*/ 2905875 h 4687251"/>
              <a:gd name="connsiteX7297" fmla="*/ 6230592 w 8079933"/>
              <a:gd name="connsiteY7297" fmla="*/ 2903276 h 4687251"/>
              <a:gd name="connsiteX7298" fmla="*/ 2595609 w 8079933"/>
              <a:gd name="connsiteY7298" fmla="*/ 2898619 h 4687251"/>
              <a:gd name="connsiteX7299" fmla="*/ 2594416 w 8079933"/>
              <a:gd name="connsiteY7299" fmla="*/ 2903383 h 4687251"/>
              <a:gd name="connsiteX7300" fmla="*/ 2594524 w 8079933"/>
              <a:gd name="connsiteY7300" fmla="*/ 2906739 h 4687251"/>
              <a:gd name="connsiteX7301" fmla="*/ 2591160 w 8079933"/>
              <a:gd name="connsiteY7301" fmla="*/ 2910637 h 4687251"/>
              <a:gd name="connsiteX7302" fmla="*/ 2586820 w 8079933"/>
              <a:gd name="connsiteY7302" fmla="*/ 2912910 h 4687251"/>
              <a:gd name="connsiteX7303" fmla="*/ 2580959 w 8079933"/>
              <a:gd name="connsiteY7303" fmla="*/ 2913127 h 4687251"/>
              <a:gd name="connsiteX7304" fmla="*/ 2577921 w 8079933"/>
              <a:gd name="connsiteY7304" fmla="*/ 2918973 h 4687251"/>
              <a:gd name="connsiteX7305" fmla="*/ 2577704 w 8079933"/>
              <a:gd name="connsiteY7305" fmla="*/ 2924062 h 4687251"/>
              <a:gd name="connsiteX7306" fmla="*/ 2573689 w 8079933"/>
              <a:gd name="connsiteY7306" fmla="*/ 2934023 h 4687251"/>
              <a:gd name="connsiteX7307" fmla="*/ 2574123 w 8079933"/>
              <a:gd name="connsiteY7307" fmla="*/ 2937055 h 4687251"/>
              <a:gd name="connsiteX7308" fmla="*/ 2574123 w 8079933"/>
              <a:gd name="connsiteY7308" fmla="*/ 2937055 h 4687251"/>
              <a:gd name="connsiteX7309" fmla="*/ 2573689 w 8079933"/>
              <a:gd name="connsiteY7309" fmla="*/ 2934023 h 4687251"/>
              <a:gd name="connsiteX7310" fmla="*/ 2577704 w 8079933"/>
              <a:gd name="connsiteY7310" fmla="*/ 2924063 h 4687251"/>
              <a:gd name="connsiteX7311" fmla="*/ 2577921 w 8079933"/>
              <a:gd name="connsiteY7311" fmla="*/ 2918974 h 4687251"/>
              <a:gd name="connsiteX7312" fmla="*/ 2580959 w 8079933"/>
              <a:gd name="connsiteY7312" fmla="*/ 2913127 h 4687251"/>
              <a:gd name="connsiteX7313" fmla="*/ 2586820 w 8079933"/>
              <a:gd name="connsiteY7313" fmla="*/ 2912911 h 4687251"/>
              <a:gd name="connsiteX7314" fmla="*/ 2591160 w 8079933"/>
              <a:gd name="connsiteY7314" fmla="*/ 2910637 h 4687251"/>
              <a:gd name="connsiteX7315" fmla="*/ 2594524 w 8079933"/>
              <a:gd name="connsiteY7315" fmla="*/ 2906739 h 4687251"/>
              <a:gd name="connsiteX7316" fmla="*/ 2594416 w 8079933"/>
              <a:gd name="connsiteY7316" fmla="*/ 2903383 h 4687251"/>
              <a:gd name="connsiteX7317" fmla="*/ 2595609 w 8079933"/>
              <a:gd name="connsiteY7317" fmla="*/ 2898619 h 4687251"/>
              <a:gd name="connsiteX7318" fmla="*/ 3877299 w 8079933"/>
              <a:gd name="connsiteY7318" fmla="*/ 2897646 h 4687251"/>
              <a:gd name="connsiteX7319" fmla="*/ 3882833 w 8079933"/>
              <a:gd name="connsiteY7319" fmla="*/ 2899270 h 4687251"/>
              <a:gd name="connsiteX7320" fmla="*/ 3885112 w 8079933"/>
              <a:gd name="connsiteY7320" fmla="*/ 2903168 h 4687251"/>
              <a:gd name="connsiteX7321" fmla="*/ 3885112 w 8079933"/>
              <a:gd name="connsiteY7321" fmla="*/ 2903167 h 4687251"/>
              <a:gd name="connsiteX7322" fmla="*/ 3882833 w 8079933"/>
              <a:gd name="connsiteY7322" fmla="*/ 2899269 h 4687251"/>
              <a:gd name="connsiteX7323" fmla="*/ 4589533 w 8079933"/>
              <a:gd name="connsiteY7323" fmla="*/ 2897634 h 4687251"/>
              <a:gd name="connsiteX7324" fmla="*/ 4588950 w 8079933"/>
              <a:gd name="connsiteY7324" fmla="*/ 2899378 h 4687251"/>
              <a:gd name="connsiteX7325" fmla="*/ 4589818 w 8079933"/>
              <a:gd name="connsiteY7325" fmla="*/ 2906631 h 4687251"/>
              <a:gd name="connsiteX7326" fmla="*/ 4589839 w 8079933"/>
              <a:gd name="connsiteY7326" fmla="*/ 2906647 h 4687251"/>
              <a:gd name="connsiteX7327" fmla="*/ 4589839 w 8079933"/>
              <a:gd name="connsiteY7327" fmla="*/ 2906646 h 4687251"/>
              <a:gd name="connsiteX7328" fmla="*/ 4589819 w 8079933"/>
              <a:gd name="connsiteY7328" fmla="*/ 2906631 h 4687251"/>
              <a:gd name="connsiteX7329" fmla="*/ 4588951 w 8079933"/>
              <a:gd name="connsiteY7329" fmla="*/ 2899377 h 4687251"/>
              <a:gd name="connsiteX7330" fmla="*/ 4156404 w 8079933"/>
              <a:gd name="connsiteY7330" fmla="*/ 2896346 h 4687251"/>
              <a:gd name="connsiteX7331" fmla="*/ 4153583 w 8079933"/>
              <a:gd name="connsiteY7331" fmla="*/ 2898186 h 4687251"/>
              <a:gd name="connsiteX7332" fmla="*/ 4153583 w 8079933"/>
              <a:gd name="connsiteY7332" fmla="*/ 2898187 h 4687251"/>
              <a:gd name="connsiteX7333" fmla="*/ 4156404 w 8079933"/>
              <a:gd name="connsiteY7333" fmla="*/ 2896347 h 4687251"/>
              <a:gd name="connsiteX7334" fmla="*/ 6384251 w 8079933"/>
              <a:gd name="connsiteY7334" fmla="*/ 2894504 h 4687251"/>
              <a:gd name="connsiteX7335" fmla="*/ 6379910 w 8079933"/>
              <a:gd name="connsiteY7335" fmla="*/ 2895046 h 4687251"/>
              <a:gd name="connsiteX7336" fmla="*/ 6374593 w 8079933"/>
              <a:gd name="connsiteY7336" fmla="*/ 2899593 h 4687251"/>
              <a:gd name="connsiteX7337" fmla="*/ 6368191 w 8079933"/>
              <a:gd name="connsiteY7337" fmla="*/ 2898078 h 4687251"/>
              <a:gd name="connsiteX7338" fmla="*/ 6368191 w 8079933"/>
              <a:gd name="connsiteY7338" fmla="*/ 2898079 h 4687251"/>
              <a:gd name="connsiteX7339" fmla="*/ 6374593 w 8079933"/>
              <a:gd name="connsiteY7339" fmla="*/ 2899594 h 4687251"/>
              <a:gd name="connsiteX7340" fmla="*/ 6379910 w 8079933"/>
              <a:gd name="connsiteY7340" fmla="*/ 2895047 h 4687251"/>
              <a:gd name="connsiteX7341" fmla="*/ 6384252 w 8079933"/>
              <a:gd name="connsiteY7341" fmla="*/ 2894506 h 4687251"/>
              <a:gd name="connsiteX7342" fmla="*/ 6387506 w 8079933"/>
              <a:gd name="connsiteY7342" fmla="*/ 2897212 h 4687251"/>
              <a:gd name="connsiteX7343" fmla="*/ 6390762 w 8079933"/>
              <a:gd name="connsiteY7343" fmla="*/ 2894830 h 4687251"/>
              <a:gd name="connsiteX7344" fmla="*/ 6390762 w 8079933"/>
              <a:gd name="connsiteY7344" fmla="*/ 2894830 h 4687251"/>
              <a:gd name="connsiteX7345" fmla="*/ 6387506 w 8079933"/>
              <a:gd name="connsiteY7345" fmla="*/ 2897212 h 4687251"/>
              <a:gd name="connsiteX7346" fmla="*/ 4781869 w 8079933"/>
              <a:gd name="connsiteY7346" fmla="*/ 2893516 h 4687251"/>
              <a:gd name="connsiteX7347" fmla="*/ 4781869 w 8079933"/>
              <a:gd name="connsiteY7347" fmla="*/ 2893517 h 4687251"/>
              <a:gd name="connsiteX7348" fmla="*/ 4784172 w 8079933"/>
              <a:gd name="connsiteY7348" fmla="*/ 2896129 h 4687251"/>
              <a:gd name="connsiteX7349" fmla="*/ 4784388 w 8079933"/>
              <a:gd name="connsiteY7349" fmla="*/ 2897317 h 4687251"/>
              <a:gd name="connsiteX7350" fmla="*/ 4784390 w 8079933"/>
              <a:gd name="connsiteY7350" fmla="*/ 2897319 h 4687251"/>
              <a:gd name="connsiteX7351" fmla="*/ 4785006 w 8079933"/>
              <a:gd name="connsiteY7351" fmla="*/ 2900700 h 4687251"/>
              <a:gd name="connsiteX7352" fmla="*/ 4784174 w 8079933"/>
              <a:gd name="connsiteY7352" fmla="*/ 2896129 h 4687251"/>
              <a:gd name="connsiteX7353" fmla="*/ 6850547 w 8079933"/>
              <a:gd name="connsiteY7353" fmla="*/ 2890391 h 4687251"/>
              <a:gd name="connsiteX7354" fmla="*/ 6855973 w 8079933"/>
              <a:gd name="connsiteY7354" fmla="*/ 2891474 h 4687251"/>
              <a:gd name="connsiteX7355" fmla="*/ 6856081 w 8079933"/>
              <a:gd name="connsiteY7355" fmla="*/ 2893531 h 4687251"/>
              <a:gd name="connsiteX7356" fmla="*/ 6852717 w 8079933"/>
              <a:gd name="connsiteY7356" fmla="*/ 2895263 h 4687251"/>
              <a:gd name="connsiteX7357" fmla="*/ 6850547 w 8079933"/>
              <a:gd name="connsiteY7357" fmla="*/ 2893964 h 4687251"/>
              <a:gd name="connsiteX7358" fmla="*/ 6848594 w 8079933"/>
              <a:gd name="connsiteY7358" fmla="*/ 2895371 h 4687251"/>
              <a:gd name="connsiteX7359" fmla="*/ 6844470 w 8079933"/>
              <a:gd name="connsiteY7359" fmla="*/ 2895263 h 4687251"/>
              <a:gd name="connsiteX7360" fmla="*/ 6843059 w 8079933"/>
              <a:gd name="connsiteY7360" fmla="*/ 2893639 h 4687251"/>
              <a:gd name="connsiteX7361" fmla="*/ 6844904 w 8079933"/>
              <a:gd name="connsiteY7361" fmla="*/ 2891582 h 4687251"/>
              <a:gd name="connsiteX7362" fmla="*/ 4575930 w 8079933"/>
              <a:gd name="connsiteY7362" fmla="*/ 2889817 h 4687251"/>
              <a:gd name="connsiteX7363" fmla="*/ 4575928 w 8079933"/>
              <a:gd name="connsiteY7363" fmla="*/ 2889850 h 4687251"/>
              <a:gd name="connsiteX7364" fmla="*/ 4575930 w 8079933"/>
              <a:gd name="connsiteY7364" fmla="*/ 2889852 h 4687251"/>
              <a:gd name="connsiteX7365" fmla="*/ 4575930 w 8079933"/>
              <a:gd name="connsiteY7365" fmla="*/ 2889850 h 4687251"/>
              <a:gd name="connsiteX7366" fmla="*/ 4575929 w 8079933"/>
              <a:gd name="connsiteY7366" fmla="*/ 2889849 h 4687251"/>
              <a:gd name="connsiteX7367" fmla="*/ 4575930 w 8079933"/>
              <a:gd name="connsiteY7367" fmla="*/ 2889837 h 4687251"/>
              <a:gd name="connsiteX7368" fmla="*/ 2347179 w 8079933"/>
              <a:gd name="connsiteY7368" fmla="*/ 2887371 h 4687251"/>
              <a:gd name="connsiteX7369" fmla="*/ 2348517 w 8079933"/>
              <a:gd name="connsiteY7369" fmla="*/ 2895479 h 4687251"/>
              <a:gd name="connsiteX7370" fmla="*/ 2346564 w 8079933"/>
              <a:gd name="connsiteY7370" fmla="*/ 2899269 h 4687251"/>
              <a:gd name="connsiteX7371" fmla="*/ 2348517 w 8079933"/>
              <a:gd name="connsiteY7371" fmla="*/ 2895479 h 4687251"/>
              <a:gd name="connsiteX7372" fmla="*/ 2319379 w 8079933"/>
              <a:gd name="connsiteY7372" fmla="*/ 2886229 h 4687251"/>
              <a:gd name="connsiteX7373" fmla="*/ 2321930 w 8079933"/>
              <a:gd name="connsiteY7373" fmla="*/ 2887684 h 4687251"/>
              <a:gd name="connsiteX7374" fmla="*/ 2323371 w 8079933"/>
              <a:gd name="connsiteY7374" fmla="*/ 2886897 h 4687251"/>
              <a:gd name="connsiteX7375" fmla="*/ 2321931 w 8079933"/>
              <a:gd name="connsiteY7375" fmla="*/ 2887683 h 4687251"/>
              <a:gd name="connsiteX7376" fmla="*/ 2314009 w 8079933"/>
              <a:gd name="connsiteY7376" fmla="*/ 2884544 h 4687251"/>
              <a:gd name="connsiteX7377" fmla="*/ 2313407 w 8079933"/>
              <a:gd name="connsiteY7377" fmla="*/ 2884756 h 4687251"/>
              <a:gd name="connsiteX7378" fmla="*/ 2314009 w 8079933"/>
              <a:gd name="connsiteY7378" fmla="*/ 2884544 h 4687251"/>
              <a:gd name="connsiteX7379" fmla="*/ 2317259 w 8079933"/>
              <a:gd name="connsiteY7379" fmla="*/ 2885481 h 4687251"/>
              <a:gd name="connsiteX7380" fmla="*/ 3963353 w 8079933"/>
              <a:gd name="connsiteY7380" fmla="*/ 2884437 h 4687251"/>
              <a:gd name="connsiteX7381" fmla="*/ 3965848 w 8079933"/>
              <a:gd name="connsiteY7381" fmla="*/ 2885519 h 4687251"/>
              <a:gd name="connsiteX7382" fmla="*/ 3965849 w 8079933"/>
              <a:gd name="connsiteY7382" fmla="*/ 2885519 h 4687251"/>
              <a:gd name="connsiteX7383" fmla="*/ 2343091 w 8079933"/>
              <a:gd name="connsiteY7383" fmla="*/ 2884219 h 4687251"/>
              <a:gd name="connsiteX7384" fmla="*/ 2339181 w 8079933"/>
              <a:gd name="connsiteY7384" fmla="*/ 2884425 h 4687251"/>
              <a:gd name="connsiteX7385" fmla="*/ 2343091 w 8079933"/>
              <a:gd name="connsiteY7385" fmla="*/ 2884220 h 4687251"/>
              <a:gd name="connsiteX7386" fmla="*/ 2345320 w 8079933"/>
              <a:gd name="connsiteY7386" fmla="*/ 2885393 h 4687251"/>
              <a:gd name="connsiteX7387" fmla="*/ 3752938 w 8079933"/>
              <a:gd name="connsiteY7387" fmla="*/ 2883029 h 4687251"/>
              <a:gd name="connsiteX7388" fmla="*/ 3755760 w 8079933"/>
              <a:gd name="connsiteY7388" fmla="*/ 2886493 h 4687251"/>
              <a:gd name="connsiteX7389" fmla="*/ 3752939 w 8079933"/>
              <a:gd name="connsiteY7389" fmla="*/ 2883029 h 4687251"/>
              <a:gd name="connsiteX7390" fmla="*/ 6363742 w 8079933"/>
              <a:gd name="connsiteY7390" fmla="*/ 2881296 h 4687251"/>
              <a:gd name="connsiteX7391" fmla="*/ 6363742 w 8079933"/>
              <a:gd name="connsiteY7391" fmla="*/ 2881296 h 4687251"/>
              <a:gd name="connsiteX7392" fmla="*/ 6368733 w 8079933"/>
              <a:gd name="connsiteY7392" fmla="*/ 2881296 h 4687251"/>
              <a:gd name="connsiteX7393" fmla="*/ 6371880 w 8079933"/>
              <a:gd name="connsiteY7393" fmla="*/ 2884327 h 4687251"/>
              <a:gd name="connsiteX7394" fmla="*/ 6371880 w 8079933"/>
              <a:gd name="connsiteY7394" fmla="*/ 2884327 h 4687251"/>
              <a:gd name="connsiteX7395" fmla="*/ 6368733 w 8079933"/>
              <a:gd name="connsiteY7395" fmla="*/ 2881296 h 4687251"/>
              <a:gd name="connsiteX7396" fmla="*/ 6838502 w 8079933"/>
              <a:gd name="connsiteY7396" fmla="*/ 2879456 h 4687251"/>
              <a:gd name="connsiteX7397" fmla="*/ 6839587 w 8079933"/>
              <a:gd name="connsiteY7397" fmla="*/ 2881621 h 4687251"/>
              <a:gd name="connsiteX7398" fmla="*/ 6838285 w 8079933"/>
              <a:gd name="connsiteY7398" fmla="*/ 2884003 h 4687251"/>
              <a:gd name="connsiteX7399" fmla="*/ 6835464 w 8079933"/>
              <a:gd name="connsiteY7399" fmla="*/ 2883029 h 4687251"/>
              <a:gd name="connsiteX7400" fmla="*/ 3741762 w 8079933"/>
              <a:gd name="connsiteY7400" fmla="*/ 2878156 h 4687251"/>
              <a:gd name="connsiteX7401" fmla="*/ 3741761 w 8079933"/>
              <a:gd name="connsiteY7401" fmla="*/ 2878157 h 4687251"/>
              <a:gd name="connsiteX7402" fmla="*/ 3743064 w 8079933"/>
              <a:gd name="connsiteY7402" fmla="*/ 2882813 h 4687251"/>
              <a:gd name="connsiteX7403" fmla="*/ 3744343 w 8079933"/>
              <a:gd name="connsiteY7403" fmla="*/ 2883273 h 4687251"/>
              <a:gd name="connsiteX7404" fmla="*/ 3743064 w 8079933"/>
              <a:gd name="connsiteY7404" fmla="*/ 2882813 h 4687251"/>
              <a:gd name="connsiteX7405" fmla="*/ 6356037 w 8079933"/>
              <a:gd name="connsiteY7405" fmla="*/ 2876640 h 4687251"/>
              <a:gd name="connsiteX7406" fmla="*/ 6356037 w 8079933"/>
              <a:gd name="connsiteY7406" fmla="*/ 2876641 h 4687251"/>
              <a:gd name="connsiteX7407" fmla="*/ 6362548 w 8079933"/>
              <a:gd name="connsiteY7407" fmla="*/ 2878481 h 4687251"/>
              <a:gd name="connsiteX7408" fmla="*/ 6362982 w 8079933"/>
              <a:gd name="connsiteY7408" fmla="*/ 2879504 h 4687251"/>
              <a:gd name="connsiteX7409" fmla="*/ 6362548 w 8079933"/>
              <a:gd name="connsiteY7409" fmla="*/ 2878480 h 4687251"/>
              <a:gd name="connsiteX7410" fmla="*/ 3872741 w 8079933"/>
              <a:gd name="connsiteY7410" fmla="*/ 2876532 h 4687251"/>
              <a:gd name="connsiteX7411" fmla="*/ 3870680 w 8079933"/>
              <a:gd name="connsiteY7411" fmla="*/ 2877940 h 4687251"/>
              <a:gd name="connsiteX7412" fmla="*/ 3872741 w 8079933"/>
              <a:gd name="connsiteY7412" fmla="*/ 2876533 h 4687251"/>
              <a:gd name="connsiteX7413" fmla="*/ 4173240 w 8079933"/>
              <a:gd name="connsiteY7413" fmla="*/ 2874944 h 4687251"/>
              <a:gd name="connsiteX7414" fmla="*/ 4173658 w 8079933"/>
              <a:gd name="connsiteY7414" fmla="*/ 2878697 h 4687251"/>
              <a:gd name="connsiteX7415" fmla="*/ 4166496 w 8079933"/>
              <a:gd name="connsiteY7415" fmla="*/ 2883894 h 4687251"/>
              <a:gd name="connsiteX7416" fmla="*/ 4164434 w 8079933"/>
              <a:gd name="connsiteY7416" fmla="*/ 2886493 h 4687251"/>
              <a:gd name="connsiteX7417" fmla="*/ 4160310 w 8079933"/>
              <a:gd name="connsiteY7417" fmla="*/ 2889200 h 4687251"/>
              <a:gd name="connsiteX7418" fmla="*/ 4156404 w 8079933"/>
              <a:gd name="connsiteY7418" fmla="*/ 2892881 h 4687251"/>
              <a:gd name="connsiteX7419" fmla="*/ 4156404 w 8079933"/>
              <a:gd name="connsiteY7419" fmla="*/ 2892882 h 4687251"/>
              <a:gd name="connsiteX7420" fmla="*/ 4160311 w 8079933"/>
              <a:gd name="connsiteY7420" fmla="*/ 2889200 h 4687251"/>
              <a:gd name="connsiteX7421" fmla="*/ 4164434 w 8079933"/>
              <a:gd name="connsiteY7421" fmla="*/ 2886494 h 4687251"/>
              <a:gd name="connsiteX7422" fmla="*/ 4166496 w 8079933"/>
              <a:gd name="connsiteY7422" fmla="*/ 2883895 h 4687251"/>
              <a:gd name="connsiteX7423" fmla="*/ 4173658 w 8079933"/>
              <a:gd name="connsiteY7423" fmla="*/ 2878698 h 4687251"/>
              <a:gd name="connsiteX7424" fmla="*/ 6334115 w 8079933"/>
              <a:gd name="connsiteY7424" fmla="*/ 2874584 h 4687251"/>
              <a:gd name="connsiteX7425" fmla="*/ 6335851 w 8079933"/>
              <a:gd name="connsiteY7425" fmla="*/ 2875341 h 4687251"/>
              <a:gd name="connsiteX7426" fmla="*/ 6336503 w 8079933"/>
              <a:gd name="connsiteY7426" fmla="*/ 2878373 h 4687251"/>
              <a:gd name="connsiteX7427" fmla="*/ 6334767 w 8079933"/>
              <a:gd name="connsiteY7427" fmla="*/ 2879023 h 4687251"/>
              <a:gd name="connsiteX7428" fmla="*/ 6332922 w 8079933"/>
              <a:gd name="connsiteY7428" fmla="*/ 2875233 h 4687251"/>
              <a:gd name="connsiteX7429" fmla="*/ 6873010 w 8079933"/>
              <a:gd name="connsiteY7429" fmla="*/ 2873826 h 4687251"/>
              <a:gd name="connsiteX7430" fmla="*/ 6875940 w 8079933"/>
              <a:gd name="connsiteY7430" fmla="*/ 2875666 h 4687251"/>
              <a:gd name="connsiteX7431" fmla="*/ 6878653 w 8079933"/>
              <a:gd name="connsiteY7431" fmla="*/ 2876641 h 4687251"/>
              <a:gd name="connsiteX7432" fmla="*/ 6878219 w 8079933"/>
              <a:gd name="connsiteY7432" fmla="*/ 2878373 h 4687251"/>
              <a:gd name="connsiteX7433" fmla="*/ 6872143 w 8079933"/>
              <a:gd name="connsiteY7433" fmla="*/ 2883787 h 4687251"/>
              <a:gd name="connsiteX7434" fmla="*/ 6869430 w 8079933"/>
              <a:gd name="connsiteY7434" fmla="*/ 2882920 h 4687251"/>
              <a:gd name="connsiteX7435" fmla="*/ 6866608 w 8079933"/>
              <a:gd name="connsiteY7435" fmla="*/ 2878698 h 4687251"/>
              <a:gd name="connsiteX7436" fmla="*/ 6866391 w 8079933"/>
              <a:gd name="connsiteY7436" fmla="*/ 2876316 h 4687251"/>
              <a:gd name="connsiteX7437" fmla="*/ 6870623 w 8079933"/>
              <a:gd name="connsiteY7437" fmla="*/ 2875991 h 4687251"/>
              <a:gd name="connsiteX7438" fmla="*/ 4567268 w 8079933"/>
              <a:gd name="connsiteY7438" fmla="*/ 2872958 h 4687251"/>
              <a:gd name="connsiteX7439" fmla="*/ 4567465 w 8079933"/>
              <a:gd name="connsiteY7439" fmla="*/ 2877169 h 4687251"/>
              <a:gd name="connsiteX7440" fmla="*/ 4567465 w 8079933"/>
              <a:gd name="connsiteY7440" fmla="*/ 2877157 h 4687251"/>
              <a:gd name="connsiteX7441" fmla="*/ 4567268 w 8079933"/>
              <a:gd name="connsiteY7441" fmla="*/ 2872959 h 4687251"/>
              <a:gd name="connsiteX7442" fmla="*/ 4771910 w 8079933"/>
              <a:gd name="connsiteY7442" fmla="*/ 2872851 h 4687251"/>
              <a:gd name="connsiteX7443" fmla="*/ 4774732 w 8079933"/>
              <a:gd name="connsiteY7443" fmla="*/ 2876532 h 4687251"/>
              <a:gd name="connsiteX7444" fmla="*/ 4776685 w 8079933"/>
              <a:gd name="connsiteY7444" fmla="*/ 2880213 h 4687251"/>
              <a:gd name="connsiteX7445" fmla="*/ 4780699 w 8079933"/>
              <a:gd name="connsiteY7445" fmla="*/ 2884544 h 4687251"/>
              <a:gd name="connsiteX7446" fmla="*/ 4780834 w 8079933"/>
              <a:gd name="connsiteY7446" fmla="*/ 2885646 h 4687251"/>
              <a:gd name="connsiteX7447" fmla="*/ 4780836 w 8079933"/>
              <a:gd name="connsiteY7447" fmla="*/ 2885647 h 4687251"/>
              <a:gd name="connsiteX7448" fmla="*/ 4780701 w 8079933"/>
              <a:gd name="connsiteY7448" fmla="*/ 2884544 h 4687251"/>
              <a:gd name="connsiteX7449" fmla="*/ 4776686 w 8079933"/>
              <a:gd name="connsiteY7449" fmla="*/ 2880213 h 4687251"/>
              <a:gd name="connsiteX7450" fmla="*/ 4774733 w 8079933"/>
              <a:gd name="connsiteY7450" fmla="*/ 2876531 h 4687251"/>
              <a:gd name="connsiteX7451" fmla="*/ 4771911 w 8079933"/>
              <a:gd name="connsiteY7451" fmla="*/ 2872851 h 4687251"/>
              <a:gd name="connsiteX7452" fmla="*/ 2507603 w 8079933"/>
              <a:gd name="connsiteY7452" fmla="*/ 2871660 h 4687251"/>
              <a:gd name="connsiteX7453" fmla="*/ 2507602 w 8079933"/>
              <a:gd name="connsiteY7453" fmla="*/ 2871660 h 4687251"/>
              <a:gd name="connsiteX7454" fmla="*/ 2511725 w 8079933"/>
              <a:gd name="connsiteY7454" fmla="*/ 2873175 h 4687251"/>
              <a:gd name="connsiteX7455" fmla="*/ 2511726 w 8079933"/>
              <a:gd name="connsiteY7455" fmla="*/ 2873175 h 4687251"/>
              <a:gd name="connsiteX7456" fmla="*/ 4765725 w 8079933"/>
              <a:gd name="connsiteY7456" fmla="*/ 2871226 h 4687251"/>
              <a:gd name="connsiteX7457" fmla="*/ 4765725 w 8079933"/>
              <a:gd name="connsiteY7457" fmla="*/ 2871228 h 4687251"/>
              <a:gd name="connsiteX7458" fmla="*/ 4767352 w 8079933"/>
              <a:gd name="connsiteY7458" fmla="*/ 2872850 h 4687251"/>
              <a:gd name="connsiteX7459" fmla="*/ 4767353 w 8079933"/>
              <a:gd name="connsiteY7459" fmla="*/ 2872850 h 4687251"/>
              <a:gd name="connsiteX7460" fmla="*/ 4191997 w 8079933"/>
              <a:gd name="connsiteY7460" fmla="*/ 2871118 h 4687251"/>
              <a:gd name="connsiteX7461" fmla="*/ 4189502 w 8079933"/>
              <a:gd name="connsiteY7461" fmla="*/ 2871336 h 4687251"/>
              <a:gd name="connsiteX7462" fmla="*/ 4191997 w 8079933"/>
              <a:gd name="connsiteY7462" fmla="*/ 2871119 h 4687251"/>
              <a:gd name="connsiteX7463" fmla="*/ 4194651 w 8079933"/>
              <a:gd name="connsiteY7463" fmla="*/ 2872443 h 4687251"/>
              <a:gd name="connsiteX7464" fmla="*/ 4765616 w 8079933"/>
              <a:gd name="connsiteY7464" fmla="*/ 2869061 h 4687251"/>
              <a:gd name="connsiteX7465" fmla="*/ 4765554 w 8079933"/>
              <a:gd name="connsiteY7465" fmla="*/ 2870173 h 4687251"/>
              <a:gd name="connsiteX7466" fmla="*/ 4765555 w 8079933"/>
              <a:gd name="connsiteY7466" fmla="*/ 2870174 h 4687251"/>
              <a:gd name="connsiteX7467" fmla="*/ 4765617 w 8079933"/>
              <a:gd name="connsiteY7467" fmla="*/ 2869061 h 4687251"/>
              <a:gd name="connsiteX7468" fmla="*/ 4181905 w 8079933"/>
              <a:gd name="connsiteY7468" fmla="*/ 2868087 h 4687251"/>
              <a:gd name="connsiteX7469" fmla="*/ 4179627 w 8079933"/>
              <a:gd name="connsiteY7469" fmla="*/ 2871118 h 4687251"/>
              <a:gd name="connsiteX7470" fmla="*/ 4174309 w 8079933"/>
              <a:gd name="connsiteY7470" fmla="*/ 2871336 h 4687251"/>
              <a:gd name="connsiteX7471" fmla="*/ 4173116 w 8079933"/>
              <a:gd name="connsiteY7471" fmla="*/ 2873825 h 4687251"/>
              <a:gd name="connsiteX7472" fmla="*/ 4173116 w 8079933"/>
              <a:gd name="connsiteY7472" fmla="*/ 2873826 h 4687251"/>
              <a:gd name="connsiteX7473" fmla="*/ 4174309 w 8079933"/>
              <a:gd name="connsiteY7473" fmla="*/ 2871336 h 4687251"/>
              <a:gd name="connsiteX7474" fmla="*/ 4179627 w 8079933"/>
              <a:gd name="connsiteY7474" fmla="*/ 2871119 h 4687251"/>
              <a:gd name="connsiteX7475" fmla="*/ 4181905 w 8079933"/>
              <a:gd name="connsiteY7475" fmla="*/ 2868087 h 4687251"/>
              <a:gd name="connsiteX7476" fmla="*/ 4182990 w 8079933"/>
              <a:gd name="connsiteY7476" fmla="*/ 2869278 h 4687251"/>
              <a:gd name="connsiteX7477" fmla="*/ 4187127 w 8079933"/>
              <a:gd name="connsiteY7477" fmla="*/ 2870585 h 4687251"/>
              <a:gd name="connsiteX7478" fmla="*/ 4182990 w 8079933"/>
              <a:gd name="connsiteY7478" fmla="*/ 2869278 h 4687251"/>
              <a:gd name="connsiteX7479" fmla="*/ 6752013 w 8079933"/>
              <a:gd name="connsiteY7479" fmla="*/ 2867654 h 4687251"/>
              <a:gd name="connsiteX7480" fmla="*/ 6756895 w 8079933"/>
              <a:gd name="connsiteY7480" fmla="*/ 2870686 h 4687251"/>
              <a:gd name="connsiteX7481" fmla="*/ 6757004 w 8079933"/>
              <a:gd name="connsiteY7481" fmla="*/ 2877182 h 4687251"/>
              <a:gd name="connsiteX7482" fmla="*/ 6761454 w 8079933"/>
              <a:gd name="connsiteY7482" fmla="*/ 2881404 h 4687251"/>
              <a:gd name="connsiteX7483" fmla="*/ 6763624 w 8079933"/>
              <a:gd name="connsiteY7483" fmla="*/ 2879996 h 4687251"/>
              <a:gd name="connsiteX7484" fmla="*/ 6769267 w 8079933"/>
              <a:gd name="connsiteY7484" fmla="*/ 2883786 h 4687251"/>
              <a:gd name="connsiteX7485" fmla="*/ 6769484 w 8079933"/>
              <a:gd name="connsiteY7485" fmla="*/ 2886818 h 4687251"/>
              <a:gd name="connsiteX7486" fmla="*/ 6765251 w 8079933"/>
              <a:gd name="connsiteY7486" fmla="*/ 2888441 h 4687251"/>
              <a:gd name="connsiteX7487" fmla="*/ 6765143 w 8079933"/>
              <a:gd name="connsiteY7487" fmla="*/ 2895479 h 4687251"/>
              <a:gd name="connsiteX7488" fmla="*/ 6766988 w 8079933"/>
              <a:gd name="connsiteY7488" fmla="*/ 2896345 h 4687251"/>
              <a:gd name="connsiteX7489" fmla="*/ 6769050 w 8079933"/>
              <a:gd name="connsiteY7489" fmla="*/ 2898835 h 4687251"/>
              <a:gd name="connsiteX7490" fmla="*/ 6772306 w 8079933"/>
              <a:gd name="connsiteY7490" fmla="*/ 2894396 h 4687251"/>
              <a:gd name="connsiteX7491" fmla="*/ 6774476 w 8079933"/>
              <a:gd name="connsiteY7491" fmla="*/ 2893747 h 4687251"/>
              <a:gd name="connsiteX7492" fmla="*/ 6776972 w 8079933"/>
              <a:gd name="connsiteY7492" fmla="*/ 2896887 h 4687251"/>
              <a:gd name="connsiteX7493" fmla="*/ 6771871 w 8079933"/>
              <a:gd name="connsiteY7493" fmla="*/ 2901326 h 4687251"/>
              <a:gd name="connsiteX7494" fmla="*/ 6774150 w 8079933"/>
              <a:gd name="connsiteY7494" fmla="*/ 2903383 h 4687251"/>
              <a:gd name="connsiteX7495" fmla="*/ 6777840 w 8079933"/>
              <a:gd name="connsiteY7495" fmla="*/ 2899702 h 4687251"/>
              <a:gd name="connsiteX7496" fmla="*/ 6781204 w 8079933"/>
              <a:gd name="connsiteY7496" fmla="*/ 2899702 h 4687251"/>
              <a:gd name="connsiteX7497" fmla="*/ 6786955 w 8079933"/>
              <a:gd name="connsiteY7497" fmla="*/ 2905440 h 4687251"/>
              <a:gd name="connsiteX7498" fmla="*/ 6791187 w 8079933"/>
              <a:gd name="connsiteY7498" fmla="*/ 2905116 h 4687251"/>
              <a:gd name="connsiteX7499" fmla="*/ 6795311 w 8079933"/>
              <a:gd name="connsiteY7499" fmla="*/ 2908797 h 4687251"/>
              <a:gd name="connsiteX7500" fmla="*/ 6800845 w 8079933"/>
              <a:gd name="connsiteY7500" fmla="*/ 2909879 h 4687251"/>
              <a:gd name="connsiteX7501" fmla="*/ 6804535 w 8079933"/>
              <a:gd name="connsiteY7501" fmla="*/ 2909879 h 4687251"/>
              <a:gd name="connsiteX7502" fmla="*/ 6805620 w 8079933"/>
              <a:gd name="connsiteY7502" fmla="*/ 2913669 h 4687251"/>
              <a:gd name="connsiteX7503" fmla="*/ 6800628 w 8079933"/>
              <a:gd name="connsiteY7503" fmla="*/ 2917458 h 4687251"/>
              <a:gd name="connsiteX7504" fmla="*/ 6792706 w 8079933"/>
              <a:gd name="connsiteY7504" fmla="*/ 2919299 h 4687251"/>
              <a:gd name="connsiteX7505" fmla="*/ 6783048 w 8079933"/>
              <a:gd name="connsiteY7505" fmla="*/ 2918541 h 4687251"/>
              <a:gd name="connsiteX7506" fmla="*/ 6780118 w 8079933"/>
              <a:gd name="connsiteY7506" fmla="*/ 2920598 h 4687251"/>
              <a:gd name="connsiteX7507" fmla="*/ 6780118 w 8079933"/>
              <a:gd name="connsiteY7507" fmla="*/ 2926769 h 4687251"/>
              <a:gd name="connsiteX7508" fmla="*/ 6786521 w 8079933"/>
              <a:gd name="connsiteY7508" fmla="*/ 2932075 h 4687251"/>
              <a:gd name="connsiteX7509" fmla="*/ 6786521 w 8079933"/>
              <a:gd name="connsiteY7509" fmla="*/ 2934781 h 4687251"/>
              <a:gd name="connsiteX7510" fmla="*/ 6780335 w 8079933"/>
              <a:gd name="connsiteY7510" fmla="*/ 2936081 h 4687251"/>
              <a:gd name="connsiteX7511" fmla="*/ 6775344 w 8079933"/>
              <a:gd name="connsiteY7511" fmla="*/ 2938571 h 4687251"/>
              <a:gd name="connsiteX7512" fmla="*/ 6771329 w 8079933"/>
              <a:gd name="connsiteY7512" fmla="*/ 2937597 h 4687251"/>
              <a:gd name="connsiteX7513" fmla="*/ 6765686 w 8079933"/>
              <a:gd name="connsiteY7513" fmla="*/ 2933807 h 4687251"/>
              <a:gd name="connsiteX7514" fmla="*/ 6765251 w 8079933"/>
              <a:gd name="connsiteY7514" fmla="*/ 2935972 h 4687251"/>
              <a:gd name="connsiteX7515" fmla="*/ 6765254 w 8079933"/>
              <a:gd name="connsiteY7515" fmla="*/ 2935973 h 4687251"/>
              <a:gd name="connsiteX7516" fmla="*/ 6764929 w 8079933"/>
              <a:gd name="connsiteY7516" fmla="*/ 2937272 h 4687251"/>
              <a:gd name="connsiteX7517" fmla="*/ 6762541 w 8079933"/>
              <a:gd name="connsiteY7517" fmla="*/ 2937705 h 4687251"/>
              <a:gd name="connsiteX7518" fmla="*/ 6762867 w 8079933"/>
              <a:gd name="connsiteY7518" fmla="*/ 2939979 h 4687251"/>
              <a:gd name="connsiteX7519" fmla="*/ 6761348 w 8079933"/>
              <a:gd name="connsiteY7519" fmla="*/ 2942362 h 4687251"/>
              <a:gd name="connsiteX7520" fmla="*/ 6766340 w 8079933"/>
              <a:gd name="connsiteY7520" fmla="*/ 2944310 h 4687251"/>
              <a:gd name="connsiteX7521" fmla="*/ 6771006 w 8079933"/>
              <a:gd name="connsiteY7521" fmla="*/ 2949724 h 4687251"/>
              <a:gd name="connsiteX7522" fmla="*/ 6765688 w 8079933"/>
              <a:gd name="connsiteY7522" fmla="*/ 2951131 h 4687251"/>
              <a:gd name="connsiteX7523" fmla="*/ 6760262 w 8079933"/>
              <a:gd name="connsiteY7523" fmla="*/ 2950265 h 4687251"/>
              <a:gd name="connsiteX7524" fmla="*/ 6758092 w 8079933"/>
              <a:gd name="connsiteY7524" fmla="*/ 2951672 h 4687251"/>
              <a:gd name="connsiteX7525" fmla="*/ 6761890 w 8079933"/>
              <a:gd name="connsiteY7525" fmla="*/ 2956111 h 4687251"/>
              <a:gd name="connsiteX7526" fmla="*/ 6763844 w 8079933"/>
              <a:gd name="connsiteY7526" fmla="*/ 2957303 h 4687251"/>
              <a:gd name="connsiteX7527" fmla="*/ 6764386 w 8079933"/>
              <a:gd name="connsiteY7527" fmla="*/ 2959901 h 4687251"/>
              <a:gd name="connsiteX7528" fmla="*/ 6762324 w 8079933"/>
              <a:gd name="connsiteY7528" fmla="*/ 2960442 h 4687251"/>
              <a:gd name="connsiteX7529" fmla="*/ 6760697 w 8079933"/>
              <a:gd name="connsiteY7529" fmla="*/ 2964015 h 4687251"/>
              <a:gd name="connsiteX7530" fmla="*/ 6764603 w 8079933"/>
              <a:gd name="connsiteY7530" fmla="*/ 2967480 h 4687251"/>
              <a:gd name="connsiteX7531" fmla="*/ 6766123 w 8079933"/>
              <a:gd name="connsiteY7531" fmla="*/ 2972460 h 4687251"/>
              <a:gd name="connsiteX7532" fmla="*/ 6774153 w 8079933"/>
              <a:gd name="connsiteY7532" fmla="*/ 2980689 h 4687251"/>
              <a:gd name="connsiteX7533" fmla="*/ 6777734 w 8079933"/>
              <a:gd name="connsiteY7533" fmla="*/ 2983937 h 4687251"/>
              <a:gd name="connsiteX7534" fmla="*/ 6775346 w 8079933"/>
              <a:gd name="connsiteY7534" fmla="*/ 2988485 h 4687251"/>
              <a:gd name="connsiteX7535" fmla="*/ 6769053 w 8079933"/>
              <a:gd name="connsiteY7535" fmla="*/ 2989784 h 4687251"/>
              <a:gd name="connsiteX7536" fmla="*/ 6768184 w 8079933"/>
              <a:gd name="connsiteY7536" fmla="*/ 2992707 h 4687251"/>
              <a:gd name="connsiteX7537" fmla="*/ 6770246 w 8079933"/>
              <a:gd name="connsiteY7537" fmla="*/ 2994439 h 4687251"/>
              <a:gd name="connsiteX7538" fmla="*/ 6771331 w 8079933"/>
              <a:gd name="connsiteY7538" fmla="*/ 2998554 h 4687251"/>
              <a:gd name="connsiteX7539" fmla="*/ 6774912 w 8079933"/>
              <a:gd name="connsiteY7539" fmla="*/ 3000611 h 4687251"/>
              <a:gd name="connsiteX7540" fmla="*/ 6785113 w 8079933"/>
              <a:gd name="connsiteY7540" fmla="*/ 3010139 h 4687251"/>
              <a:gd name="connsiteX7541" fmla="*/ 6788586 w 8079933"/>
              <a:gd name="connsiteY7541" fmla="*/ 3010139 h 4687251"/>
              <a:gd name="connsiteX7542" fmla="*/ 6792492 w 8079933"/>
              <a:gd name="connsiteY7542" fmla="*/ 3014578 h 4687251"/>
              <a:gd name="connsiteX7543" fmla="*/ 6793903 w 8079933"/>
              <a:gd name="connsiteY7543" fmla="*/ 3017502 h 4687251"/>
              <a:gd name="connsiteX7544" fmla="*/ 6797701 w 8079933"/>
              <a:gd name="connsiteY7544" fmla="*/ 3018368 h 4687251"/>
              <a:gd name="connsiteX7545" fmla="*/ 6796507 w 8079933"/>
              <a:gd name="connsiteY7545" fmla="*/ 3022698 h 4687251"/>
              <a:gd name="connsiteX7546" fmla="*/ 6793577 w 8079933"/>
              <a:gd name="connsiteY7546" fmla="*/ 3023890 h 4687251"/>
              <a:gd name="connsiteX7547" fmla="*/ 6790430 w 8079933"/>
              <a:gd name="connsiteY7547" fmla="*/ 3022698 h 4687251"/>
              <a:gd name="connsiteX7548" fmla="*/ 6786849 w 8079933"/>
              <a:gd name="connsiteY7548" fmla="*/ 3025188 h 4687251"/>
              <a:gd name="connsiteX7549" fmla="*/ 6781314 w 8079933"/>
              <a:gd name="connsiteY7549" fmla="*/ 3024539 h 4687251"/>
              <a:gd name="connsiteX7550" fmla="*/ 6773610 w 8079933"/>
              <a:gd name="connsiteY7550" fmla="*/ 3016960 h 4687251"/>
              <a:gd name="connsiteX7551" fmla="*/ 6775130 w 8079933"/>
              <a:gd name="connsiteY7551" fmla="*/ 3023348 h 4687251"/>
              <a:gd name="connsiteX7552" fmla="*/ 6773719 w 8079933"/>
              <a:gd name="connsiteY7552" fmla="*/ 3025730 h 4687251"/>
              <a:gd name="connsiteX7553" fmla="*/ 6771440 w 8079933"/>
              <a:gd name="connsiteY7553" fmla="*/ 3022807 h 4687251"/>
              <a:gd name="connsiteX7554" fmla="*/ 6766448 w 8079933"/>
              <a:gd name="connsiteY7554" fmla="*/ 3027787 h 4687251"/>
              <a:gd name="connsiteX7555" fmla="*/ 6766448 w 8079933"/>
              <a:gd name="connsiteY7555" fmla="*/ 3031252 h 4687251"/>
              <a:gd name="connsiteX7556" fmla="*/ 6764278 w 8079933"/>
              <a:gd name="connsiteY7556" fmla="*/ 3033850 h 4687251"/>
              <a:gd name="connsiteX7557" fmla="*/ 6763410 w 8079933"/>
              <a:gd name="connsiteY7557" fmla="*/ 3042945 h 4687251"/>
              <a:gd name="connsiteX7558" fmla="*/ 6761348 w 8079933"/>
              <a:gd name="connsiteY7558" fmla="*/ 3046193 h 4687251"/>
              <a:gd name="connsiteX7559" fmla="*/ 6759611 w 8079933"/>
              <a:gd name="connsiteY7559" fmla="*/ 3054421 h 4687251"/>
              <a:gd name="connsiteX7560" fmla="*/ 6753209 w 8079933"/>
              <a:gd name="connsiteY7560" fmla="*/ 3059402 h 4687251"/>
              <a:gd name="connsiteX7561" fmla="*/ 6755596 w 8079933"/>
              <a:gd name="connsiteY7561" fmla="*/ 3065574 h 4687251"/>
              <a:gd name="connsiteX7562" fmla="*/ 6752667 w 8079933"/>
              <a:gd name="connsiteY7562" fmla="*/ 3069904 h 4687251"/>
              <a:gd name="connsiteX7563" fmla="*/ 6748543 w 8079933"/>
              <a:gd name="connsiteY7563" fmla="*/ 3074235 h 4687251"/>
              <a:gd name="connsiteX7564" fmla="*/ 6746590 w 8079933"/>
              <a:gd name="connsiteY7564" fmla="*/ 3069688 h 4687251"/>
              <a:gd name="connsiteX7565" fmla="*/ 6744202 w 8079933"/>
              <a:gd name="connsiteY7565" fmla="*/ 3068497 h 4687251"/>
              <a:gd name="connsiteX7566" fmla="*/ 6745504 w 8079933"/>
              <a:gd name="connsiteY7566" fmla="*/ 3071745 h 4687251"/>
              <a:gd name="connsiteX7567" fmla="*/ 6745070 w 8079933"/>
              <a:gd name="connsiteY7567" fmla="*/ 3076833 h 4687251"/>
              <a:gd name="connsiteX7568" fmla="*/ 6741055 w 8079933"/>
              <a:gd name="connsiteY7568" fmla="*/ 3081489 h 4687251"/>
              <a:gd name="connsiteX7569" fmla="*/ 6740296 w 8079933"/>
              <a:gd name="connsiteY7569" fmla="*/ 3085712 h 4687251"/>
              <a:gd name="connsiteX7570" fmla="*/ 6736280 w 8079933"/>
              <a:gd name="connsiteY7570" fmla="*/ 3087336 h 4687251"/>
              <a:gd name="connsiteX7571" fmla="*/ 6732699 w 8079933"/>
              <a:gd name="connsiteY7571" fmla="*/ 3086794 h 4687251"/>
              <a:gd name="connsiteX7572" fmla="*/ 6733567 w 8079933"/>
              <a:gd name="connsiteY7572" fmla="*/ 3088960 h 4687251"/>
              <a:gd name="connsiteX7573" fmla="*/ 6731723 w 8079933"/>
              <a:gd name="connsiteY7573" fmla="*/ 3091667 h 4687251"/>
              <a:gd name="connsiteX7574" fmla="*/ 6737474 w 8079933"/>
              <a:gd name="connsiteY7574" fmla="*/ 3091342 h 4687251"/>
              <a:gd name="connsiteX7575" fmla="*/ 6738451 w 8079933"/>
              <a:gd name="connsiteY7575" fmla="*/ 3092316 h 4687251"/>
              <a:gd name="connsiteX7576" fmla="*/ 6737800 w 8079933"/>
              <a:gd name="connsiteY7576" fmla="*/ 3096539 h 4687251"/>
              <a:gd name="connsiteX7577" fmla="*/ 6734979 w 8079933"/>
              <a:gd name="connsiteY7577" fmla="*/ 3098488 h 4687251"/>
              <a:gd name="connsiteX7578" fmla="*/ 6736497 w 8079933"/>
              <a:gd name="connsiteY7578" fmla="*/ 3099571 h 4687251"/>
              <a:gd name="connsiteX7579" fmla="*/ 6739319 w 8079933"/>
              <a:gd name="connsiteY7579" fmla="*/ 3099245 h 4687251"/>
              <a:gd name="connsiteX7580" fmla="*/ 6739970 w 8079933"/>
              <a:gd name="connsiteY7580" fmla="*/ 3102602 h 4687251"/>
              <a:gd name="connsiteX7581" fmla="*/ 6738451 w 8079933"/>
              <a:gd name="connsiteY7581" fmla="*/ 3106283 h 4687251"/>
              <a:gd name="connsiteX7582" fmla="*/ 6734653 w 8079933"/>
              <a:gd name="connsiteY7582" fmla="*/ 3105200 h 4687251"/>
              <a:gd name="connsiteX7583" fmla="*/ 6733893 w 8079933"/>
              <a:gd name="connsiteY7583" fmla="*/ 3104226 h 4687251"/>
              <a:gd name="connsiteX7584" fmla="*/ 6733676 w 8079933"/>
              <a:gd name="connsiteY7584" fmla="*/ 3106067 h 4687251"/>
              <a:gd name="connsiteX7585" fmla="*/ 6735846 w 8079933"/>
              <a:gd name="connsiteY7585" fmla="*/ 3108124 h 4687251"/>
              <a:gd name="connsiteX7586" fmla="*/ 6737365 w 8079933"/>
              <a:gd name="connsiteY7586" fmla="*/ 3109532 h 4687251"/>
              <a:gd name="connsiteX7587" fmla="*/ 6733676 w 8079933"/>
              <a:gd name="connsiteY7587" fmla="*/ 3117218 h 4687251"/>
              <a:gd name="connsiteX7588" fmla="*/ 6731180 w 8079933"/>
              <a:gd name="connsiteY7588" fmla="*/ 3117218 h 4687251"/>
              <a:gd name="connsiteX7589" fmla="*/ 6730204 w 8079933"/>
              <a:gd name="connsiteY7589" fmla="*/ 3115378 h 4687251"/>
              <a:gd name="connsiteX7590" fmla="*/ 6728793 w 8079933"/>
              <a:gd name="connsiteY7590" fmla="*/ 3121333 h 4687251"/>
              <a:gd name="connsiteX7591" fmla="*/ 6728793 w 8079933"/>
              <a:gd name="connsiteY7591" fmla="*/ 3124581 h 4687251"/>
              <a:gd name="connsiteX7592" fmla="*/ 6723801 w 8079933"/>
              <a:gd name="connsiteY7592" fmla="*/ 3133676 h 4687251"/>
              <a:gd name="connsiteX7593" fmla="*/ 6715662 w 8079933"/>
              <a:gd name="connsiteY7593" fmla="*/ 3139198 h 4687251"/>
              <a:gd name="connsiteX7594" fmla="*/ 6708825 w 8079933"/>
              <a:gd name="connsiteY7594" fmla="*/ 3140389 h 4687251"/>
              <a:gd name="connsiteX7595" fmla="*/ 6698951 w 8079933"/>
              <a:gd name="connsiteY7595" fmla="*/ 3145044 h 4687251"/>
              <a:gd name="connsiteX7596" fmla="*/ 6694284 w 8079933"/>
              <a:gd name="connsiteY7596" fmla="*/ 3145694 h 4687251"/>
              <a:gd name="connsiteX7597" fmla="*/ 6692983 w 8079933"/>
              <a:gd name="connsiteY7597" fmla="*/ 3139198 h 4687251"/>
              <a:gd name="connsiteX7598" fmla="*/ 6693742 w 8079933"/>
              <a:gd name="connsiteY7598" fmla="*/ 3135625 h 4687251"/>
              <a:gd name="connsiteX7599" fmla="*/ 6691354 w 8079933"/>
              <a:gd name="connsiteY7599" fmla="*/ 3131943 h 4687251"/>
              <a:gd name="connsiteX7600" fmla="*/ 6690486 w 8079933"/>
              <a:gd name="connsiteY7600" fmla="*/ 3130211 h 4687251"/>
              <a:gd name="connsiteX7601" fmla="*/ 6688316 w 8079933"/>
              <a:gd name="connsiteY7601" fmla="*/ 3131294 h 4687251"/>
              <a:gd name="connsiteX7602" fmla="*/ 6685711 w 8079933"/>
              <a:gd name="connsiteY7602" fmla="*/ 3127830 h 4687251"/>
              <a:gd name="connsiteX7603" fmla="*/ 6683433 w 8079933"/>
              <a:gd name="connsiteY7603" fmla="*/ 3129020 h 4687251"/>
              <a:gd name="connsiteX7604" fmla="*/ 6679635 w 8079933"/>
              <a:gd name="connsiteY7604" fmla="*/ 3128046 h 4687251"/>
              <a:gd name="connsiteX7605" fmla="*/ 6677573 w 8079933"/>
              <a:gd name="connsiteY7605" fmla="*/ 3124256 h 4687251"/>
              <a:gd name="connsiteX7606" fmla="*/ 6675945 w 8079933"/>
              <a:gd name="connsiteY7606" fmla="*/ 3128046 h 4687251"/>
              <a:gd name="connsiteX7607" fmla="*/ 6677573 w 8079933"/>
              <a:gd name="connsiteY7607" fmla="*/ 3131186 h 4687251"/>
              <a:gd name="connsiteX7608" fmla="*/ 6673124 w 8079933"/>
              <a:gd name="connsiteY7608" fmla="*/ 3129995 h 4687251"/>
              <a:gd name="connsiteX7609" fmla="*/ 6671171 w 8079933"/>
              <a:gd name="connsiteY7609" fmla="*/ 3127504 h 4687251"/>
              <a:gd name="connsiteX7610" fmla="*/ 6671171 w 8079933"/>
              <a:gd name="connsiteY7610" fmla="*/ 3123715 h 4687251"/>
              <a:gd name="connsiteX7611" fmla="*/ 6668675 w 8079933"/>
              <a:gd name="connsiteY7611" fmla="*/ 3121549 h 4687251"/>
              <a:gd name="connsiteX7612" fmla="*/ 6665853 w 8079933"/>
              <a:gd name="connsiteY7612" fmla="*/ 3123173 h 4687251"/>
              <a:gd name="connsiteX7613" fmla="*/ 6661621 w 8079933"/>
              <a:gd name="connsiteY7613" fmla="*/ 3120683 h 4687251"/>
              <a:gd name="connsiteX7614" fmla="*/ 6659017 w 8079933"/>
              <a:gd name="connsiteY7614" fmla="*/ 3121008 h 4687251"/>
              <a:gd name="connsiteX7615" fmla="*/ 6655327 w 8079933"/>
              <a:gd name="connsiteY7615" fmla="*/ 3124906 h 4687251"/>
              <a:gd name="connsiteX7616" fmla="*/ 6649468 w 8079933"/>
              <a:gd name="connsiteY7616" fmla="*/ 3125772 h 4687251"/>
              <a:gd name="connsiteX7617" fmla="*/ 6648491 w 8079933"/>
              <a:gd name="connsiteY7617" fmla="*/ 3128154 h 4687251"/>
              <a:gd name="connsiteX7618" fmla="*/ 6645018 w 8079933"/>
              <a:gd name="connsiteY7618" fmla="*/ 3128587 h 4687251"/>
              <a:gd name="connsiteX7619" fmla="*/ 6642522 w 8079933"/>
              <a:gd name="connsiteY7619" fmla="*/ 3126422 h 4687251"/>
              <a:gd name="connsiteX7620" fmla="*/ 6639700 w 8079933"/>
              <a:gd name="connsiteY7620" fmla="*/ 3127179 h 4687251"/>
              <a:gd name="connsiteX7621" fmla="*/ 6634166 w 8079933"/>
              <a:gd name="connsiteY7621" fmla="*/ 3134000 h 4687251"/>
              <a:gd name="connsiteX7622" fmla="*/ 6630694 w 8079933"/>
              <a:gd name="connsiteY7622" fmla="*/ 3134000 h 4687251"/>
              <a:gd name="connsiteX7623" fmla="*/ 6631236 w 8079933"/>
              <a:gd name="connsiteY7623" fmla="*/ 3130103 h 4687251"/>
              <a:gd name="connsiteX7624" fmla="*/ 6630585 w 8079933"/>
              <a:gd name="connsiteY7624" fmla="*/ 3122091 h 4687251"/>
              <a:gd name="connsiteX7625" fmla="*/ 6628523 w 8079933"/>
              <a:gd name="connsiteY7625" fmla="*/ 3116244 h 4687251"/>
              <a:gd name="connsiteX7626" fmla="*/ 6629500 w 8079933"/>
              <a:gd name="connsiteY7626" fmla="*/ 3112130 h 4687251"/>
              <a:gd name="connsiteX7627" fmla="*/ 6628089 w 8079933"/>
              <a:gd name="connsiteY7627" fmla="*/ 3108882 h 4687251"/>
              <a:gd name="connsiteX7628" fmla="*/ 6628523 w 8079933"/>
              <a:gd name="connsiteY7628" fmla="*/ 3111481 h 4687251"/>
              <a:gd name="connsiteX7629" fmla="*/ 6626353 w 8079933"/>
              <a:gd name="connsiteY7629" fmla="*/ 3116136 h 4687251"/>
              <a:gd name="connsiteX7630" fmla="*/ 6623314 w 8079933"/>
              <a:gd name="connsiteY7630" fmla="*/ 3118085 h 4687251"/>
              <a:gd name="connsiteX7631" fmla="*/ 6620385 w 8079933"/>
              <a:gd name="connsiteY7631" fmla="*/ 3116028 h 4687251"/>
              <a:gd name="connsiteX7632" fmla="*/ 6616261 w 8079933"/>
              <a:gd name="connsiteY7632" fmla="*/ 3118951 h 4687251"/>
              <a:gd name="connsiteX7633" fmla="*/ 6610293 w 8079933"/>
              <a:gd name="connsiteY7633" fmla="*/ 3119492 h 4687251"/>
              <a:gd name="connsiteX7634" fmla="*/ 6606603 w 8079933"/>
              <a:gd name="connsiteY7634" fmla="*/ 3118085 h 4687251"/>
              <a:gd name="connsiteX7635" fmla="*/ 6601611 w 8079933"/>
              <a:gd name="connsiteY7635" fmla="*/ 3117760 h 4687251"/>
              <a:gd name="connsiteX7636" fmla="*/ 6600092 w 8079933"/>
              <a:gd name="connsiteY7636" fmla="*/ 3114728 h 4687251"/>
              <a:gd name="connsiteX7637" fmla="*/ 6596402 w 8079933"/>
              <a:gd name="connsiteY7637" fmla="*/ 3117869 h 4687251"/>
              <a:gd name="connsiteX7638" fmla="*/ 6593689 w 8079933"/>
              <a:gd name="connsiteY7638" fmla="*/ 3117869 h 4687251"/>
              <a:gd name="connsiteX7639" fmla="*/ 6590976 w 8079933"/>
              <a:gd name="connsiteY7639" fmla="*/ 3111264 h 4687251"/>
              <a:gd name="connsiteX7640" fmla="*/ 6590868 w 8079933"/>
              <a:gd name="connsiteY7640" fmla="*/ 3105525 h 4687251"/>
              <a:gd name="connsiteX7641" fmla="*/ 6589566 w 8079933"/>
              <a:gd name="connsiteY7641" fmla="*/ 3094915 h 4687251"/>
              <a:gd name="connsiteX7642" fmla="*/ 6585442 w 8079933"/>
              <a:gd name="connsiteY7642" fmla="*/ 3092208 h 4687251"/>
              <a:gd name="connsiteX7643" fmla="*/ 6584248 w 8079933"/>
              <a:gd name="connsiteY7643" fmla="*/ 3089284 h 4687251"/>
              <a:gd name="connsiteX7644" fmla="*/ 6586961 w 8079933"/>
              <a:gd name="connsiteY7644" fmla="*/ 3086145 h 4687251"/>
              <a:gd name="connsiteX7645" fmla="*/ 6590217 w 8079933"/>
              <a:gd name="connsiteY7645" fmla="*/ 3081381 h 4687251"/>
              <a:gd name="connsiteX7646" fmla="*/ 6589566 w 8079933"/>
              <a:gd name="connsiteY7646" fmla="*/ 3077159 h 4687251"/>
              <a:gd name="connsiteX7647" fmla="*/ 6587287 w 8079933"/>
              <a:gd name="connsiteY7647" fmla="*/ 3072936 h 4687251"/>
              <a:gd name="connsiteX7648" fmla="*/ 6580451 w 8079933"/>
              <a:gd name="connsiteY7648" fmla="*/ 3066115 h 4687251"/>
              <a:gd name="connsiteX7649" fmla="*/ 6574590 w 8079933"/>
              <a:gd name="connsiteY7649" fmla="*/ 3062759 h 4687251"/>
              <a:gd name="connsiteX7650" fmla="*/ 6568948 w 8079933"/>
              <a:gd name="connsiteY7650" fmla="*/ 3061351 h 4687251"/>
              <a:gd name="connsiteX7651" fmla="*/ 6568731 w 8079933"/>
              <a:gd name="connsiteY7651" fmla="*/ 3059510 h 4687251"/>
              <a:gd name="connsiteX7652" fmla="*/ 6573071 w 8079933"/>
              <a:gd name="connsiteY7652" fmla="*/ 3058969 h 4687251"/>
              <a:gd name="connsiteX7653" fmla="*/ 6576761 w 8079933"/>
              <a:gd name="connsiteY7653" fmla="*/ 3055721 h 4687251"/>
              <a:gd name="connsiteX7654" fmla="*/ 6585117 w 8079933"/>
              <a:gd name="connsiteY7654" fmla="*/ 3053772 h 4687251"/>
              <a:gd name="connsiteX7655" fmla="*/ 6590759 w 8079933"/>
              <a:gd name="connsiteY7655" fmla="*/ 3049333 h 4687251"/>
              <a:gd name="connsiteX7656" fmla="*/ 6595426 w 8079933"/>
              <a:gd name="connsiteY7656" fmla="*/ 3049658 h 4687251"/>
              <a:gd name="connsiteX7657" fmla="*/ 6591085 w 8079933"/>
              <a:gd name="connsiteY7657" fmla="*/ 3048358 h 4687251"/>
              <a:gd name="connsiteX7658" fmla="*/ 6584683 w 8079933"/>
              <a:gd name="connsiteY7658" fmla="*/ 3052365 h 4687251"/>
              <a:gd name="connsiteX7659" fmla="*/ 6577195 w 8079933"/>
              <a:gd name="connsiteY7659" fmla="*/ 3053447 h 4687251"/>
              <a:gd name="connsiteX7660" fmla="*/ 6574156 w 8079933"/>
              <a:gd name="connsiteY7660" fmla="*/ 3054205 h 4687251"/>
              <a:gd name="connsiteX7661" fmla="*/ 6569273 w 8079933"/>
              <a:gd name="connsiteY7661" fmla="*/ 3052690 h 4687251"/>
              <a:gd name="connsiteX7662" fmla="*/ 6566235 w 8079933"/>
              <a:gd name="connsiteY7662" fmla="*/ 3047167 h 4687251"/>
              <a:gd name="connsiteX7663" fmla="*/ 6567754 w 8079933"/>
              <a:gd name="connsiteY7663" fmla="*/ 3045760 h 4687251"/>
              <a:gd name="connsiteX7664" fmla="*/ 6570467 w 8079933"/>
              <a:gd name="connsiteY7664" fmla="*/ 3047059 h 4687251"/>
              <a:gd name="connsiteX7665" fmla="*/ 6568297 w 8079933"/>
              <a:gd name="connsiteY7665" fmla="*/ 3043486 h 4687251"/>
              <a:gd name="connsiteX7666" fmla="*/ 6561243 w 8079933"/>
              <a:gd name="connsiteY7666" fmla="*/ 3034608 h 4687251"/>
              <a:gd name="connsiteX7667" fmla="*/ 6560592 w 8079933"/>
              <a:gd name="connsiteY7667" fmla="*/ 3025513 h 4687251"/>
              <a:gd name="connsiteX7668" fmla="*/ 6563847 w 8079933"/>
              <a:gd name="connsiteY7668" fmla="*/ 3023564 h 4687251"/>
              <a:gd name="connsiteX7669" fmla="*/ 6564390 w 8079933"/>
              <a:gd name="connsiteY7669" fmla="*/ 3020749 h 4687251"/>
              <a:gd name="connsiteX7670" fmla="*/ 6563088 w 8079933"/>
              <a:gd name="connsiteY7670" fmla="*/ 3017502 h 4687251"/>
              <a:gd name="connsiteX7671" fmla="*/ 6563414 w 8079933"/>
              <a:gd name="connsiteY7671" fmla="*/ 3014253 h 4687251"/>
              <a:gd name="connsiteX7672" fmla="*/ 6567103 w 8079933"/>
              <a:gd name="connsiteY7672" fmla="*/ 3007756 h 4687251"/>
              <a:gd name="connsiteX7673" fmla="*/ 6572854 w 8079933"/>
              <a:gd name="connsiteY7673" fmla="*/ 3000178 h 4687251"/>
              <a:gd name="connsiteX7674" fmla="*/ 6575242 w 8079933"/>
              <a:gd name="connsiteY7674" fmla="*/ 2996497 h 4687251"/>
              <a:gd name="connsiteX7675" fmla="*/ 6578930 w 8079933"/>
              <a:gd name="connsiteY7675" fmla="*/ 2995306 h 4687251"/>
              <a:gd name="connsiteX7676" fmla="*/ 6578929 w 8079933"/>
              <a:gd name="connsiteY7676" fmla="*/ 2995304 h 4687251"/>
              <a:gd name="connsiteX7677" fmla="*/ 6580774 w 8079933"/>
              <a:gd name="connsiteY7677" fmla="*/ 2994763 h 4687251"/>
              <a:gd name="connsiteX7678" fmla="*/ 6584897 w 8079933"/>
              <a:gd name="connsiteY7678" fmla="*/ 2999418 h 4687251"/>
              <a:gd name="connsiteX7679" fmla="*/ 6587501 w 8079933"/>
              <a:gd name="connsiteY7679" fmla="*/ 3003208 h 4687251"/>
              <a:gd name="connsiteX7680" fmla="*/ 6594338 w 8079933"/>
              <a:gd name="connsiteY7680" fmla="*/ 3003100 h 4687251"/>
              <a:gd name="connsiteX7681" fmla="*/ 6604214 w 8079933"/>
              <a:gd name="connsiteY7681" fmla="*/ 3006673 h 4687251"/>
              <a:gd name="connsiteX7682" fmla="*/ 6613655 w 8079933"/>
              <a:gd name="connsiteY7682" fmla="*/ 3007863 h 4687251"/>
              <a:gd name="connsiteX7683" fmla="*/ 6613546 w 8079933"/>
              <a:gd name="connsiteY7683" fmla="*/ 3006023 h 4687251"/>
              <a:gd name="connsiteX7684" fmla="*/ 6617669 w 8079933"/>
              <a:gd name="connsiteY7684" fmla="*/ 3000284 h 4687251"/>
              <a:gd name="connsiteX7685" fmla="*/ 6617778 w 8079933"/>
              <a:gd name="connsiteY7685" fmla="*/ 2993464 h 4687251"/>
              <a:gd name="connsiteX7686" fmla="*/ 6619297 w 8079933"/>
              <a:gd name="connsiteY7686" fmla="*/ 2988483 h 4687251"/>
              <a:gd name="connsiteX7687" fmla="*/ 6621901 w 8079933"/>
              <a:gd name="connsiteY7687" fmla="*/ 2985235 h 4687251"/>
              <a:gd name="connsiteX7688" fmla="*/ 6627544 w 8079933"/>
              <a:gd name="connsiteY7688" fmla="*/ 2984586 h 4687251"/>
              <a:gd name="connsiteX7689" fmla="*/ 6630908 w 8079933"/>
              <a:gd name="connsiteY7689" fmla="*/ 2982853 h 4687251"/>
              <a:gd name="connsiteX7690" fmla="*/ 6633947 w 8079933"/>
              <a:gd name="connsiteY7690" fmla="*/ 2983936 h 4687251"/>
              <a:gd name="connsiteX7691" fmla="*/ 6631668 w 8079933"/>
              <a:gd name="connsiteY7691" fmla="*/ 2981446 h 4687251"/>
              <a:gd name="connsiteX7692" fmla="*/ 6630366 w 8079933"/>
              <a:gd name="connsiteY7692" fmla="*/ 2975166 h 4687251"/>
              <a:gd name="connsiteX7693" fmla="*/ 6632428 w 8079933"/>
              <a:gd name="connsiteY7693" fmla="*/ 2974192 h 4687251"/>
              <a:gd name="connsiteX7694" fmla="*/ 6651961 w 8079933"/>
              <a:gd name="connsiteY7694" fmla="*/ 2969536 h 4687251"/>
              <a:gd name="connsiteX7695" fmla="*/ 6658363 w 8079933"/>
              <a:gd name="connsiteY7695" fmla="*/ 2964014 h 4687251"/>
              <a:gd name="connsiteX7696" fmla="*/ 6664223 w 8079933"/>
              <a:gd name="connsiteY7696" fmla="*/ 2956868 h 4687251"/>
              <a:gd name="connsiteX7697" fmla="*/ 6665742 w 8079933"/>
              <a:gd name="connsiteY7697" fmla="*/ 2952538 h 4687251"/>
              <a:gd name="connsiteX7698" fmla="*/ 6672470 w 8079933"/>
              <a:gd name="connsiteY7698" fmla="*/ 2946150 h 4687251"/>
              <a:gd name="connsiteX7699" fmla="*/ 6674641 w 8079933"/>
              <a:gd name="connsiteY7699" fmla="*/ 2941386 h 4687251"/>
              <a:gd name="connsiteX7700" fmla="*/ 6680826 w 8079933"/>
              <a:gd name="connsiteY7700" fmla="*/ 2936081 h 4687251"/>
              <a:gd name="connsiteX7701" fmla="*/ 6681043 w 8079933"/>
              <a:gd name="connsiteY7701" fmla="*/ 2930342 h 4687251"/>
              <a:gd name="connsiteX7702" fmla="*/ 6684298 w 8079933"/>
              <a:gd name="connsiteY7702" fmla="*/ 2926336 h 4687251"/>
              <a:gd name="connsiteX7703" fmla="*/ 6684299 w 8079933"/>
              <a:gd name="connsiteY7703" fmla="*/ 2926337 h 4687251"/>
              <a:gd name="connsiteX7704" fmla="*/ 6685385 w 8079933"/>
              <a:gd name="connsiteY7704" fmla="*/ 2924821 h 4687251"/>
              <a:gd name="connsiteX7705" fmla="*/ 6694174 w 8079933"/>
              <a:gd name="connsiteY7705" fmla="*/ 2922223 h 4687251"/>
              <a:gd name="connsiteX7706" fmla="*/ 6699818 w 8079933"/>
              <a:gd name="connsiteY7706" fmla="*/ 2918000 h 4687251"/>
              <a:gd name="connsiteX7707" fmla="*/ 6704484 w 8079933"/>
              <a:gd name="connsiteY7707" fmla="*/ 2916268 h 4687251"/>
              <a:gd name="connsiteX7708" fmla="*/ 6704809 w 8079933"/>
              <a:gd name="connsiteY7708" fmla="*/ 2921032 h 4687251"/>
              <a:gd name="connsiteX7709" fmla="*/ 6704700 w 8079933"/>
              <a:gd name="connsiteY7709" fmla="*/ 2922764 h 4687251"/>
              <a:gd name="connsiteX7710" fmla="*/ 6704699 w 8079933"/>
              <a:gd name="connsiteY7710" fmla="*/ 2922764 h 4687251"/>
              <a:gd name="connsiteX7711" fmla="*/ 6704699 w 8079933"/>
              <a:gd name="connsiteY7711" fmla="*/ 2923846 h 4687251"/>
              <a:gd name="connsiteX7712" fmla="*/ 6705459 w 8079933"/>
              <a:gd name="connsiteY7712" fmla="*/ 2923630 h 4687251"/>
              <a:gd name="connsiteX7713" fmla="*/ 6706436 w 8079933"/>
              <a:gd name="connsiteY7713" fmla="*/ 2927960 h 4687251"/>
              <a:gd name="connsiteX7714" fmla="*/ 6706870 w 8079933"/>
              <a:gd name="connsiteY7714" fmla="*/ 2933915 h 4687251"/>
              <a:gd name="connsiteX7715" fmla="*/ 6710125 w 8079933"/>
              <a:gd name="connsiteY7715" fmla="*/ 2935648 h 4687251"/>
              <a:gd name="connsiteX7716" fmla="*/ 6710126 w 8079933"/>
              <a:gd name="connsiteY7716" fmla="*/ 2935646 h 4687251"/>
              <a:gd name="connsiteX7717" fmla="*/ 6706870 w 8079933"/>
              <a:gd name="connsiteY7717" fmla="*/ 2933914 h 4687251"/>
              <a:gd name="connsiteX7718" fmla="*/ 6706437 w 8079933"/>
              <a:gd name="connsiteY7718" fmla="*/ 2927960 h 4687251"/>
              <a:gd name="connsiteX7719" fmla="*/ 6705460 w 8079933"/>
              <a:gd name="connsiteY7719" fmla="*/ 2923629 h 4687251"/>
              <a:gd name="connsiteX7720" fmla="*/ 6707630 w 8079933"/>
              <a:gd name="connsiteY7720" fmla="*/ 2923088 h 4687251"/>
              <a:gd name="connsiteX7721" fmla="*/ 6708823 w 8079933"/>
              <a:gd name="connsiteY7721" fmla="*/ 2921465 h 4687251"/>
              <a:gd name="connsiteX7722" fmla="*/ 6708823 w 8079933"/>
              <a:gd name="connsiteY7722" fmla="*/ 2921464 h 4687251"/>
              <a:gd name="connsiteX7723" fmla="*/ 6709474 w 8079933"/>
              <a:gd name="connsiteY7723" fmla="*/ 2920598 h 4687251"/>
              <a:gd name="connsiteX7724" fmla="*/ 6713273 w 8079933"/>
              <a:gd name="connsiteY7724" fmla="*/ 2918649 h 4687251"/>
              <a:gd name="connsiteX7725" fmla="*/ 6715551 w 8079933"/>
              <a:gd name="connsiteY7725" fmla="*/ 2915185 h 4687251"/>
              <a:gd name="connsiteX7726" fmla="*/ 6710017 w 8079933"/>
              <a:gd name="connsiteY7726" fmla="*/ 2916808 h 4687251"/>
              <a:gd name="connsiteX7727" fmla="*/ 6707738 w 8079933"/>
              <a:gd name="connsiteY7727" fmla="*/ 2915942 h 4687251"/>
              <a:gd name="connsiteX7728" fmla="*/ 6709474 w 8079933"/>
              <a:gd name="connsiteY7728" fmla="*/ 2913343 h 4687251"/>
              <a:gd name="connsiteX7729" fmla="*/ 6706870 w 8079933"/>
              <a:gd name="connsiteY7729" fmla="*/ 2913452 h 4687251"/>
              <a:gd name="connsiteX7730" fmla="*/ 6709257 w 8079933"/>
              <a:gd name="connsiteY7730" fmla="*/ 2910420 h 4687251"/>
              <a:gd name="connsiteX7731" fmla="*/ 6716202 w 8079933"/>
              <a:gd name="connsiteY7731" fmla="*/ 2907822 h 4687251"/>
              <a:gd name="connsiteX7732" fmla="*/ 6720326 w 8079933"/>
              <a:gd name="connsiteY7732" fmla="*/ 2907822 h 4687251"/>
              <a:gd name="connsiteX7733" fmla="*/ 6728899 w 8079933"/>
              <a:gd name="connsiteY7733" fmla="*/ 2898728 h 4687251"/>
              <a:gd name="connsiteX7734" fmla="*/ 6729767 w 8079933"/>
              <a:gd name="connsiteY7734" fmla="*/ 2892556 h 4687251"/>
              <a:gd name="connsiteX7735" fmla="*/ 6734759 w 8079933"/>
              <a:gd name="connsiteY7735" fmla="*/ 2881080 h 4687251"/>
              <a:gd name="connsiteX7736" fmla="*/ 6738231 w 8079933"/>
              <a:gd name="connsiteY7736" fmla="*/ 2880105 h 4687251"/>
              <a:gd name="connsiteX7737" fmla="*/ 6741487 w 8079933"/>
              <a:gd name="connsiteY7737" fmla="*/ 2869494 h 4687251"/>
              <a:gd name="connsiteX7738" fmla="*/ 6744634 w 8079933"/>
              <a:gd name="connsiteY7738" fmla="*/ 2869711 h 4687251"/>
              <a:gd name="connsiteX7739" fmla="*/ 6745501 w 8079933"/>
              <a:gd name="connsiteY7739" fmla="*/ 2873609 h 4687251"/>
              <a:gd name="connsiteX7740" fmla="*/ 6743982 w 8079933"/>
              <a:gd name="connsiteY7740" fmla="*/ 2877939 h 4687251"/>
              <a:gd name="connsiteX7741" fmla="*/ 6746044 w 8079933"/>
              <a:gd name="connsiteY7741" fmla="*/ 2878264 h 4687251"/>
              <a:gd name="connsiteX7742" fmla="*/ 6751144 w 8079933"/>
              <a:gd name="connsiteY7742" fmla="*/ 2873284 h 4687251"/>
              <a:gd name="connsiteX7743" fmla="*/ 6749843 w 8079933"/>
              <a:gd name="connsiteY7743" fmla="*/ 2868953 h 4687251"/>
              <a:gd name="connsiteX7744" fmla="*/ 2253348 w 8079933"/>
              <a:gd name="connsiteY7744" fmla="*/ 2864838 h 4687251"/>
              <a:gd name="connsiteX7745" fmla="*/ 2249441 w 8079933"/>
              <a:gd name="connsiteY7745" fmla="*/ 2866787 h 4687251"/>
              <a:gd name="connsiteX7746" fmla="*/ 2245576 w 8079933"/>
              <a:gd name="connsiteY7746" fmla="*/ 2864943 h 4687251"/>
              <a:gd name="connsiteX7747" fmla="*/ 2249441 w 8079933"/>
              <a:gd name="connsiteY7747" fmla="*/ 2866788 h 4687251"/>
              <a:gd name="connsiteX7748" fmla="*/ 2253348 w 8079933"/>
              <a:gd name="connsiteY7748" fmla="*/ 2864839 h 4687251"/>
              <a:gd name="connsiteX7749" fmla="*/ 2259425 w 8079933"/>
              <a:gd name="connsiteY7749" fmla="*/ 2865055 h 4687251"/>
              <a:gd name="connsiteX7750" fmla="*/ 2265285 w 8079933"/>
              <a:gd name="connsiteY7750" fmla="*/ 2866788 h 4687251"/>
              <a:gd name="connsiteX7751" fmla="*/ 2266153 w 8079933"/>
              <a:gd name="connsiteY7751" fmla="*/ 2866030 h 4687251"/>
              <a:gd name="connsiteX7752" fmla="*/ 2265284 w 8079933"/>
              <a:gd name="connsiteY7752" fmla="*/ 2866787 h 4687251"/>
              <a:gd name="connsiteX7753" fmla="*/ 2259425 w 8079933"/>
              <a:gd name="connsiteY7753" fmla="*/ 2865055 h 4687251"/>
              <a:gd name="connsiteX7754" fmla="*/ 3874694 w 8079933"/>
              <a:gd name="connsiteY7754" fmla="*/ 2862566 h 4687251"/>
              <a:gd name="connsiteX7755" fmla="*/ 3872416 w 8079933"/>
              <a:gd name="connsiteY7755" fmla="*/ 2865814 h 4687251"/>
              <a:gd name="connsiteX7756" fmla="*/ 3872416 w 8079933"/>
              <a:gd name="connsiteY7756" fmla="*/ 2865814 h 4687251"/>
              <a:gd name="connsiteX7757" fmla="*/ 3747407 w 8079933"/>
              <a:gd name="connsiteY7757" fmla="*/ 2861045 h 4687251"/>
              <a:gd name="connsiteX7758" fmla="*/ 3747405 w 8079933"/>
              <a:gd name="connsiteY7758" fmla="*/ 2861049 h 4687251"/>
              <a:gd name="connsiteX7759" fmla="*/ 3747404 w 8079933"/>
              <a:gd name="connsiteY7759" fmla="*/ 2861050 h 4687251"/>
              <a:gd name="connsiteX7760" fmla="*/ 3749032 w 8079933"/>
              <a:gd name="connsiteY7760" fmla="*/ 2865597 h 4687251"/>
              <a:gd name="connsiteX7761" fmla="*/ 3745125 w 8079933"/>
              <a:gd name="connsiteY7761" fmla="*/ 2874584 h 4687251"/>
              <a:gd name="connsiteX7762" fmla="*/ 3741880 w 8079933"/>
              <a:gd name="connsiteY7762" fmla="*/ 2878031 h 4687251"/>
              <a:gd name="connsiteX7763" fmla="*/ 3745125 w 8079933"/>
              <a:gd name="connsiteY7763" fmla="*/ 2874584 h 4687251"/>
              <a:gd name="connsiteX7764" fmla="*/ 3749032 w 8079933"/>
              <a:gd name="connsiteY7764" fmla="*/ 2865597 h 4687251"/>
              <a:gd name="connsiteX7765" fmla="*/ 3747405 w 8079933"/>
              <a:gd name="connsiteY7765" fmla="*/ 2861050 h 4687251"/>
              <a:gd name="connsiteX7766" fmla="*/ 4222331 w 8079933"/>
              <a:gd name="connsiteY7766" fmla="*/ 2860991 h 4687251"/>
              <a:gd name="connsiteX7767" fmla="*/ 4222599 w 8079933"/>
              <a:gd name="connsiteY7767" fmla="*/ 2863756 h 4687251"/>
              <a:gd name="connsiteX7768" fmla="*/ 4219777 w 8079933"/>
              <a:gd name="connsiteY7768" fmla="*/ 2868087 h 4687251"/>
              <a:gd name="connsiteX7769" fmla="*/ 4216088 w 8079933"/>
              <a:gd name="connsiteY7769" fmla="*/ 2869278 h 4687251"/>
              <a:gd name="connsiteX7770" fmla="*/ 4214243 w 8079933"/>
              <a:gd name="connsiteY7770" fmla="*/ 2871985 h 4687251"/>
              <a:gd name="connsiteX7771" fmla="*/ 4214243 w 8079933"/>
              <a:gd name="connsiteY7771" fmla="*/ 2874042 h 4687251"/>
              <a:gd name="connsiteX7772" fmla="*/ 4211096 w 8079933"/>
              <a:gd name="connsiteY7772" fmla="*/ 2879347 h 4687251"/>
              <a:gd name="connsiteX7773" fmla="*/ 4205996 w 8079933"/>
              <a:gd name="connsiteY7773" fmla="*/ 2882271 h 4687251"/>
              <a:gd name="connsiteX7774" fmla="*/ 4203283 w 8079933"/>
              <a:gd name="connsiteY7774" fmla="*/ 2881188 h 4687251"/>
              <a:gd name="connsiteX7775" fmla="*/ 4199160 w 8079933"/>
              <a:gd name="connsiteY7775" fmla="*/ 2878156 h 4687251"/>
              <a:gd name="connsiteX7776" fmla="*/ 4203283 w 8079933"/>
              <a:gd name="connsiteY7776" fmla="*/ 2881188 h 4687251"/>
              <a:gd name="connsiteX7777" fmla="*/ 4205996 w 8079933"/>
              <a:gd name="connsiteY7777" fmla="*/ 2882271 h 4687251"/>
              <a:gd name="connsiteX7778" fmla="*/ 4211096 w 8079933"/>
              <a:gd name="connsiteY7778" fmla="*/ 2879348 h 4687251"/>
              <a:gd name="connsiteX7779" fmla="*/ 4214244 w 8079933"/>
              <a:gd name="connsiteY7779" fmla="*/ 2874043 h 4687251"/>
              <a:gd name="connsiteX7780" fmla="*/ 4214244 w 8079933"/>
              <a:gd name="connsiteY7780" fmla="*/ 2871986 h 4687251"/>
              <a:gd name="connsiteX7781" fmla="*/ 4216088 w 8079933"/>
              <a:gd name="connsiteY7781" fmla="*/ 2869278 h 4687251"/>
              <a:gd name="connsiteX7782" fmla="*/ 4219778 w 8079933"/>
              <a:gd name="connsiteY7782" fmla="*/ 2868087 h 4687251"/>
              <a:gd name="connsiteX7783" fmla="*/ 4222599 w 8079933"/>
              <a:gd name="connsiteY7783" fmla="*/ 2863756 h 4687251"/>
              <a:gd name="connsiteX7784" fmla="*/ 6194563 w 8079933"/>
              <a:gd name="connsiteY7784" fmla="*/ 2860292 h 4687251"/>
              <a:gd name="connsiteX7785" fmla="*/ 6197276 w 8079933"/>
              <a:gd name="connsiteY7785" fmla="*/ 2862782 h 4687251"/>
              <a:gd name="connsiteX7786" fmla="*/ 6196951 w 8079933"/>
              <a:gd name="connsiteY7786" fmla="*/ 2867329 h 4687251"/>
              <a:gd name="connsiteX7787" fmla="*/ 6198362 w 8079933"/>
              <a:gd name="connsiteY7787" fmla="*/ 2871335 h 4687251"/>
              <a:gd name="connsiteX7788" fmla="*/ 6195540 w 8079933"/>
              <a:gd name="connsiteY7788" fmla="*/ 2874691 h 4687251"/>
              <a:gd name="connsiteX7789" fmla="*/ 6193695 w 8079933"/>
              <a:gd name="connsiteY7789" fmla="*/ 2869820 h 4687251"/>
              <a:gd name="connsiteX7790" fmla="*/ 6191200 w 8079933"/>
              <a:gd name="connsiteY7790" fmla="*/ 2868412 h 4687251"/>
              <a:gd name="connsiteX7791" fmla="*/ 6191200 w 8079933"/>
              <a:gd name="connsiteY7791" fmla="*/ 2863648 h 4687251"/>
              <a:gd name="connsiteX7792" fmla="*/ 6755486 w 8079933"/>
              <a:gd name="connsiteY7792" fmla="*/ 2858993 h 4687251"/>
              <a:gd name="connsiteX7793" fmla="*/ 6757657 w 8079933"/>
              <a:gd name="connsiteY7793" fmla="*/ 2859642 h 4687251"/>
              <a:gd name="connsiteX7794" fmla="*/ 6757548 w 8079933"/>
              <a:gd name="connsiteY7794" fmla="*/ 2863107 h 4687251"/>
              <a:gd name="connsiteX7795" fmla="*/ 6752339 w 8079933"/>
              <a:gd name="connsiteY7795" fmla="*/ 2864623 h 4687251"/>
              <a:gd name="connsiteX7796" fmla="*/ 6751146 w 8079933"/>
              <a:gd name="connsiteY7796" fmla="*/ 2863107 h 4687251"/>
              <a:gd name="connsiteX7797" fmla="*/ 6749301 w 8079933"/>
              <a:gd name="connsiteY7797" fmla="*/ 2858884 h 4687251"/>
              <a:gd name="connsiteX7798" fmla="*/ 6749192 w 8079933"/>
              <a:gd name="connsiteY7798" fmla="*/ 2860616 h 4687251"/>
              <a:gd name="connsiteX7799" fmla="*/ 6746153 w 8079933"/>
              <a:gd name="connsiteY7799" fmla="*/ 2862349 h 4687251"/>
              <a:gd name="connsiteX7800" fmla="*/ 6743115 w 8079933"/>
              <a:gd name="connsiteY7800" fmla="*/ 2862457 h 4687251"/>
              <a:gd name="connsiteX7801" fmla="*/ 4756718 w 8079933"/>
              <a:gd name="connsiteY7801" fmla="*/ 2858884 h 4687251"/>
              <a:gd name="connsiteX7802" fmla="*/ 4761384 w 8079933"/>
              <a:gd name="connsiteY7802" fmla="*/ 2867112 h 4687251"/>
              <a:gd name="connsiteX7803" fmla="*/ 4761385 w 8079933"/>
              <a:gd name="connsiteY7803" fmla="*/ 2867112 h 4687251"/>
              <a:gd name="connsiteX7804" fmla="*/ 4756718 w 8079933"/>
              <a:gd name="connsiteY7804" fmla="*/ 2858884 h 4687251"/>
              <a:gd name="connsiteX7805" fmla="*/ 6191525 w 8079933"/>
              <a:gd name="connsiteY7805" fmla="*/ 2854554 h 4687251"/>
              <a:gd name="connsiteX7806" fmla="*/ 6194347 w 8079933"/>
              <a:gd name="connsiteY7806" fmla="*/ 2854662 h 4687251"/>
              <a:gd name="connsiteX7807" fmla="*/ 6190548 w 8079933"/>
              <a:gd name="connsiteY7807" fmla="*/ 2859101 h 4687251"/>
              <a:gd name="connsiteX7808" fmla="*/ 6189029 w 8079933"/>
              <a:gd name="connsiteY7808" fmla="*/ 2857694 h 4687251"/>
              <a:gd name="connsiteX7809" fmla="*/ 3644749 w 8079933"/>
              <a:gd name="connsiteY7809" fmla="*/ 2853687 h 4687251"/>
              <a:gd name="connsiteX7810" fmla="*/ 3647244 w 8079933"/>
              <a:gd name="connsiteY7810" fmla="*/ 2854336 h 4687251"/>
              <a:gd name="connsiteX7811" fmla="*/ 3649197 w 8079933"/>
              <a:gd name="connsiteY7811" fmla="*/ 2856502 h 4687251"/>
              <a:gd name="connsiteX7812" fmla="*/ 3649631 w 8079933"/>
              <a:gd name="connsiteY7812" fmla="*/ 2859859 h 4687251"/>
              <a:gd name="connsiteX7813" fmla="*/ 3647570 w 8079933"/>
              <a:gd name="connsiteY7813" fmla="*/ 2859642 h 4687251"/>
              <a:gd name="connsiteX7814" fmla="*/ 3644314 w 8079933"/>
              <a:gd name="connsiteY7814" fmla="*/ 2857693 h 4687251"/>
              <a:gd name="connsiteX7815" fmla="*/ 3643772 w 8079933"/>
              <a:gd name="connsiteY7815" fmla="*/ 2855528 h 4687251"/>
              <a:gd name="connsiteX7816" fmla="*/ 3876756 w 8079933"/>
              <a:gd name="connsiteY7816" fmla="*/ 2853471 h 4687251"/>
              <a:gd name="connsiteX7817" fmla="*/ 3875739 w 8079933"/>
              <a:gd name="connsiteY7817" fmla="*/ 2855502 h 4687251"/>
              <a:gd name="connsiteX7818" fmla="*/ 3876756 w 8079933"/>
              <a:gd name="connsiteY7818" fmla="*/ 2853471 h 4687251"/>
              <a:gd name="connsiteX7819" fmla="*/ 6317948 w 8079933"/>
              <a:gd name="connsiteY7819" fmla="*/ 2851847 h 4687251"/>
              <a:gd name="connsiteX7820" fmla="*/ 6319141 w 8079933"/>
              <a:gd name="connsiteY7820" fmla="*/ 2852063 h 4687251"/>
              <a:gd name="connsiteX7821" fmla="*/ 6319467 w 8079933"/>
              <a:gd name="connsiteY7821" fmla="*/ 2854120 h 4687251"/>
              <a:gd name="connsiteX7822" fmla="*/ 6318816 w 8079933"/>
              <a:gd name="connsiteY7822" fmla="*/ 2856719 h 4687251"/>
              <a:gd name="connsiteX7823" fmla="*/ 2228918 w 8079933"/>
              <a:gd name="connsiteY7823" fmla="*/ 2851075 h 4687251"/>
              <a:gd name="connsiteX7824" fmla="*/ 2227738 w 8079933"/>
              <a:gd name="connsiteY7824" fmla="*/ 2853037 h 4687251"/>
              <a:gd name="connsiteX7825" fmla="*/ 2228063 w 8079933"/>
              <a:gd name="connsiteY7825" fmla="*/ 2856502 h 4687251"/>
              <a:gd name="connsiteX7826" fmla="*/ 2233489 w 8079933"/>
              <a:gd name="connsiteY7826" fmla="*/ 2860941 h 4687251"/>
              <a:gd name="connsiteX7827" fmla="*/ 2236741 w 8079933"/>
              <a:gd name="connsiteY7827" fmla="*/ 2862353 h 4687251"/>
              <a:gd name="connsiteX7828" fmla="*/ 2233489 w 8079933"/>
              <a:gd name="connsiteY7828" fmla="*/ 2860941 h 4687251"/>
              <a:gd name="connsiteX7829" fmla="*/ 2228064 w 8079933"/>
              <a:gd name="connsiteY7829" fmla="*/ 2856502 h 4687251"/>
              <a:gd name="connsiteX7830" fmla="*/ 2227738 w 8079933"/>
              <a:gd name="connsiteY7830" fmla="*/ 2853038 h 4687251"/>
              <a:gd name="connsiteX7831" fmla="*/ 4747602 w 8079933"/>
              <a:gd name="connsiteY7831" fmla="*/ 2847299 h 4687251"/>
              <a:gd name="connsiteX7832" fmla="*/ 4749881 w 8079933"/>
              <a:gd name="connsiteY7832" fmla="*/ 2850222 h 4687251"/>
              <a:gd name="connsiteX7833" fmla="*/ 4754222 w 8079933"/>
              <a:gd name="connsiteY7833" fmla="*/ 2854444 h 4687251"/>
              <a:gd name="connsiteX7834" fmla="*/ 4754981 w 8079933"/>
              <a:gd name="connsiteY7834" fmla="*/ 2857801 h 4687251"/>
              <a:gd name="connsiteX7835" fmla="*/ 4756451 w 8079933"/>
              <a:gd name="connsiteY7835" fmla="*/ 2858717 h 4687251"/>
              <a:gd name="connsiteX7836" fmla="*/ 4754982 w 8079933"/>
              <a:gd name="connsiteY7836" fmla="*/ 2857801 h 4687251"/>
              <a:gd name="connsiteX7837" fmla="*/ 4754223 w 8079933"/>
              <a:gd name="connsiteY7837" fmla="*/ 2854445 h 4687251"/>
              <a:gd name="connsiteX7838" fmla="*/ 4749882 w 8079933"/>
              <a:gd name="connsiteY7838" fmla="*/ 2850222 h 4687251"/>
              <a:gd name="connsiteX7839" fmla="*/ 4747603 w 8079933"/>
              <a:gd name="connsiteY7839" fmla="*/ 2847299 h 4687251"/>
              <a:gd name="connsiteX7840" fmla="*/ 4734684 w 8079933"/>
              <a:gd name="connsiteY7840" fmla="*/ 2846356 h 4687251"/>
              <a:gd name="connsiteX7841" fmla="*/ 4737618 w 8079933"/>
              <a:gd name="connsiteY7841" fmla="*/ 2847407 h 4687251"/>
              <a:gd name="connsiteX7842" fmla="*/ 4747377 w 8079933"/>
              <a:gd name="connsiteY7842" fmla="*/ 2847301 h 4687251"/>
              <a:gd name="connsiteX7843" fmla="*/ 4737619 w 8079933"/>
              <a:gd name="connsiteY7843" fmla="*/ 2847407 h 4687251"/>
              <a:gd name="connsiteX7844" fmla="*/ 2516392 w 8079933"/>
              <a:gd name="connsiteY7844" fmla="*/ 2844314 h 4687251"/>
              <a:gd name="connsiteX7845" fmla="*/ 2515741 w 8079933"/>
              <a:gd name="connsiteY7845" fmla="*/ 2844808 h 4687251"/>
              <a:gd name="connsiteX7846" fmla="*/ 2512160 w 8079933"/>
              <a:gd name="connsiteY7846" fmla="*/ 2844484 h 4687251"/>
              <a:gd name="connsiteX7847" fmla="*/ 2515741 w 8079933"/>
              <a:gd name="connsiteY7847" fmla="*/ 2844809 h 4687251"/>
              <a:gd name="connsiteX7848" fmla="*/ 4337627 w 8079933"/>
              <a:gd name="connsiteY7848" fmla="*/ 2843834 h 4687251"/>
              <a:gd name="connsiteX7849" fmla="*/ 4336433 w 8079933"/>
              <a:gd name="connsiteY7849" fmla="*/ 2845026 h 4687251"/>
              <a:gd name="connsiteX7850" fmla="*/ 4337627 w 8079933"/>
              <a:gd name="connsiteY7850" fmla="*/ 2843835 h 4687251"/>
              <a:gd name="connsiteX7851" fmla="*/ 4340122 w 8079933"/>
              <a:gd name="connsiteY7851" fmla="*/ 2846109 h 4687251"/>
              <a:gd name="connsiteX7852" fmla="*/ 4341750 w 8079933"/>
              <a:gd name="connsiteY7852" fmla="*/ 2851631 h 4687251"/>
              <a:gd name="connsiteX7853" fmla="*/ 4343811 w 8079933"/>
              <a:gd name="connsiteY7853" fmla="*/ 2853688 h 4687251"/>
              <a:gd name="connsiteX7854" fmla="*/ 4348261 w 8079933"/>
              <a:gd name="connsiteY7854" fmla="*/ 2853038 h 4687251"/>
              <a:gd name="connsiteX7855" fmla="*/ 4348261 w 8079933"/>
              <a:gd name="connsiteY7855" fmla="*/ 2853037 h 4687251"/>
              <a:gd name="connsiteX7856" fmla="*/ 4343813 w 8079933"/>
              <a:gd name="connsiteY7856" fmla="*/ 2853687 h 4687251"/>
              <a:gd name="connsiteX7857" fmla="*/ 4341751 w 8079933"/>
              <a:gd name="connsiteY7857" fmla="*/ 2851630 h 4687251"/>
              <a:gd name="connsiteX7858" fmla="*/ 4340123 w 8079933"/>
              <a:gd name="connsiteY7858" fmla="*/ 2846108 h 4687251"/>
              <a:gd name="connsiteX7859" fmla="*/ 4732085 w 8079933"/>
              <a:gd name="connsiteY7859" fmla="*/ 2843380 h 4687251"/>
              <a:gd name="connsiteX7860" fmla="*/ 4732085 w 8079933"/>
              <a:gd name="connsiteY7860" fmla="*/ 2843380 h 4687251"/>
              <a:gd name="connsiteX7861" fmla="*/ 4733387 w 8079933"/>
              <a:gd name="connsiteY7861" fmla="*/ 2845891 h 4687251"/>
              <a:gd name="connsiteX7862" fmla="*/ 6185340 w 8079933"/>
              <a:gd name="connsiteY7862" fmla="*/ 2842644 h 4687251"/>
              <a:gd name="connsiteX7863" fmla="*/ 6187728 w 8079933"/>
              <a:gd name="connsiteY7863" fmla="*/ 2847300 h 4687251"/>
              <a:gd name="connsiteX7864" fmla="*/ 6185449 w 8079933"/>
              <a:gd name="connsiteY7864" fmla="*/ 2848816 h 4687251"/>
              <a:gd name="connsiteX7865" fmla="*/ 6182302 w 8079933"/>
              <a:gd name="connsiteY7865" fmla="*/ 2846758 h 4687251"/>
              <a:gd name="connsiteX7866" fmla="*/ 6181108 w 8079933"/>
              <a:gd name="connsiteY7866" fmla="*/ 2843510 h 4687251"/>
              <a:gd name="connsiteX7867" fmla="*/ 6301236 w 8079933"/>
              <a:gd name="connsiteY7867" fmla="*/ 2839936 h 4687251"/>
              <a:gd name="connsiteX7868" fmla="*/ 6304057 w 8079933"/>
              <a:gd name="connsiteY7868" fmla="*/ 2839936 h 4687251"/>
              <a:gd name="connsiteX7869" fmla="*/ 6304057 w 8079933"/>
              <a:gd name="connsiteY7869" fmla="*/ 2845675 h 4687251"/>
              <a:gd name="connsiteX7870" fmla="*/ 6301236 w 8079933"/>
              <a:gd name="connsiteY7870" fmla="*/ 2849897 h 4687251"/>
              <a:gd name="connsiteX7871" fmla="*/ 6301236 w 8079933"/>
              <a:gd name="connsiteY7871" fmla="*/ 2845026 h 4687251"/>
              <a:gd name="connsiteX7872" fmla="*/ 6300151 w 8079933"/>
              <a:gd name="connsiteY7872" fmla="*/ 2843077 h 4687251"/>
              <a:gd name="connsiteX7873" fmla="*/ 6750060 w 8079933"/>
              <a:gd name="connsiteY7873" fmla="*/ 2838963 h 4687251"/>
              <a:gd name="connsiteX7874" fmla="*/ 6751579 w 8079933"/>
              <a:gd name="connsiteY7874" fmla="*/ 2840154 h 4687251"/>
              <a:gd name="connsiteX7875" fmla="*/ 6750819 w 8079933"/>
              <a:gd name="connsiteY7875" fmla="*/ 2842103 h 4687251"/>
              <a:gd name="connsiteX7876" fmla="*/ 6750712 w 8079933"/>
              <a:gd name="connsiteY7876" fmla="*/ 2848165 h 4687251"/>
              <a:gd name="connsiteX7877" fmla="*/ 6748433 w 8079933"/>
              <a:gd name="connsiteY7877" fmla="*/ 2848165 h 4687251"/>
              <a:gd name="connsiteX7878" fmla="*/ 6745720 w 8079933"/>
              <a:gd name="connsiteY7878" fmla="*/ 2843726 h 4687251"/>
              <a:gd name="connsiteX7879" fmla="*/ 6745829 w 8079933"/>
              <a:gd name="connsiteY7879" fmla="*/ 2840479 h 4687251"/>
              <a:gd name="connsiteX7880" fmla="*/ 2230568 w 8079933"/>
              <a:gd name="connsiteY7880" fmla="*/ 2838199 h 4687251"/>
              <a:gd name="connsiteX7881" fmla="*/ 2231536 w 8079933"/>
              <a:gd name="connsiteY7881" fmla="*/ 2841886 h 4687251"/>
              <a:gd name="connsiteX7882" fmla="*/ 2229040 w 8079933"/>
              <a:gd name="connsiteY7882" fmla="*/ 2846974 h 4687251"/>
              <a:gd name="connsiteX7883" fmla="*/ 2229366 w 8079933"/>
              <a:gd name="connsiteY7883" fmla="*/ 2850330 h 4687251"/>
              <a:gd name="connsiteX7884" fmla="*/ 2229041 w 8079933"/>
              <a:gd name="connsiteY7884" fmla="*/ 2846974 h 4687251"/>
              <a:gd name="connsiteX7885" fmla="*/ 2231536 w 8079933"/>
              <a:gd name="connsiteY7885" fmla="*/ 2841885 h 4687251"/>
              <a:gd name="connsiteX7886" fmla="*/ 4389873 w 8079933"/>
              <a:gd name="connsiteY7886" fmla="*/ 2835557 h 4687251"/>
              <a:gd name="connsiteX7887" fmla="*/ 4387436 w 8079933"/>
              <a:gd name="connsiteY7887" fmla="*/ 2838312 h 4687251"/>
              <a:gd name="connsiteX7888" fmla="*/ 4381359 w 8079933"/>
              <a:gd name="connsiteY7888" fmla="*/ 2838312 h 4687251"/>
              <a:gd name="connsiteX7889" fmla="*/ 4367035 w 8079933"/>
              <a:gd name="connsiteY7889" fmla="*/ 2841561 h 4687251"/>
              <a:gd name="connsiteX7890" fmla="*/ 4361066 w 8079933"/>
              <a:gd name="connsiteY7890" fmla="*/ 2845674 h 4687251"/>
              <a:gd name="connsiteX7891" fmla="*/ 4354906 w 8079933"/>
              <a:gd name="connsiteY7891" fmla="*/ 2848194 h 4687251"/>
              <a:gd name="connsiteX7892" fmla="*/ 4361066 w 8079933"/>
              <a:gd name="connsiteY7892" fmla="*/ 2845675 h 4687251"/>
              <a:gd name="connsiteX7893" fmla="*/ 4367034 w 8079933"/>
              <a:gd name="connsiteY7893" fmla="*/ 2841562 h 4687251"/>
              <a:gd name="connsiteX7894" fmla="*/ 4381358 w 8079933"/>
              <a:gd name="connsiteY7894" fmla="*/ 2838313 h 4687251"/>
              <a:gd name="connsiteX7895" fmla="*/ 4387436 w 8079933"/>
              <a:gd name="connsiteY7895" fmla="*/ 2838313 h 4687251"/>
              <a:gd name="connsiteX7896" fmla="*/ 5856860 w 8079933"/>
              <a:gd name="connsiteY7896" fmla="*/ 2834848 h 4687251"/>
              <a:gd name="connsiteX7897" fmla="*/ 5856534 w 8079933"/>
              <a:gd name="connsiteY7897" fmla="*/ 2835931 h 4687251"/>
              <a:gd name="connsiteX7898" fmla="*/ 5855232 w 8079933"/>
              <a:gd name="connsiteY7898" fmla="*/ 2836580 h 4687251"/>
              <a:gd name="connsiteX7899" fmla="*/ 5856101 w 8079933"/>
              <a:gd name="connsiteY7899" fmla="*/ 2840262 h 4687251"/>
              <a:gd name="connsiteX7900" fmla="*/ 5853605 w 8079933"/>
              <a:gd name="connsiteY7900" fmla="*/ 2845675 h 4687251"/>
              <a:gd name="connsiteX7901" fmla="*/ 5854365 w 8079933"/>
              <a:gd name="connsiteY7901" fmla="*/ 2840153 h 4687251"/>
              <a:gd name="connsiteX7902" fmla="*/ 5854039 w 8079933"/>
              <a:gd name="connsiteY7902" fmla="*/ 2836039 h 4687251"/>
              <a:gd name="connsiteX7903" fmla="*/ 3888801 w 8079933"/>
              <a:gd name="connsiteY7903" fmla="*/ 2834415 h 4687251"/>
              <a:gd name="connsiteX7904" fmla="*/ 3883919 w 8079933"/>
              <a:gd name="connsiteY7904" fmla="*/ 2837447 h 4687251"/>
              <a:gd name="connsiteX7905" fmla="*/ 3880664 w 8079933"/>
              <a:gd name="connsiteY7905" fmla="*/ 2842226 h 4687251"/>
              <a:gd name="connsiteX7906" fmla="*/ 3883919 w 8079933"/>
              <a:gd name="connsiteY7906" fmla="*/ 2837447 h 4687251"/>
              <a:gd name="connsiteX7907" fmla="*/ 3888801 w 8079933"/>
              <a:gd name="connsiteY7907" fmla="*/ 2834416 h 4687251"/>
              <a:gd name="connsiteX7908" fmla="*/ 6188053 w 8079933"/>
              <a:gd name="connsiteY7908" fmla="*/ 2834199 h 4687251"/>
              <a:gd name="connsiteX7909" fmla="*/ 6189790 w 8079933"/>
              <a:gd name="connsiteY7909" fmla="*/ 2835931 h 4687251"/>
              <a:gd name="connsiteX7910" fmla="*/ 6190006 w 8079933"/>
              <a:gd name="connsiteY7910" fmla="*/ 2839612 h 4687251"/>
              <a:gd name="connsiteX7911" fmla="*/ 6188162 w 8079933"/>
              <a:gd name="connsiteY7911" fmla="*/ 2841669 h 4687251"/>
              <a:gd name="connsiteX7912" fmla="*/ 6186100 w 8079933"/>
              <a:gd name="connsiteY7912" fmla="*/ 2838205 h 4687251"/>
              <a:gd name="connsiteX7913" fmla="*/ 6756789 w 8079933"/>
              <a:gd name="connsiteY7913" fmla="*/ 2833332 h 4687251"/>
              <a:gd name="connsiteX7914" fmla="*/ 6757873 w 8079933"/>
              <a:gd name="connsiteY7914" fmla="*/ 2836364 h 4687251"/>
              <a:gd name="connsiteX7915" fmla="*/ 6755269 w 8079933"/>
              <a:gd name="connsiteY7915" fmla="*/ 2835065 h 4687251"/>
              <a:gd name="connsiteX7916" fmla="*/ 6754401 w 8079933"/>
              <a:gd name="connsiteY7916" fmla="*/ 2832683 h 4687251"/>
              <a:gd name="connsiteX7917" fmla="*/ 6754076 w 8079933"/>
              <a:gd name="connsiteY7917" fmla="*/ 2834631 h 4687251"/>
              <a:gd name="connsiteX7918" fmla="*/ 6752014 w 8079933"/>
              <a:gd name="connsiteY7918" fmla="*/ 2834955 h 4687251"/>
              <a:gd name="connsiteX7919" fmla="*/ 4737983 w 8079933"/>
              <a:gd name="connsiteY7919" fmla="*/ 2831955 h 4687251"/>
              <a:gd name="connsiteX7920" fmla="*/ 4737837 w 8079933"/>
              <a:gd name="connsiteY7920" fmla="*/ 2834282 h 4687251"/>
              <a:gd name="connsiteX7921" fmla="*/ 4737837 w 8079933"/>
              <a:gd name="connsiteY7921" fmla="*/ 2834299 h 4687251"/>
              <a:gd name="connsiteX7922" fmla="*/ 4737984 w 8079933"/>
              <a:gd name="connsiteY7922" fmla="*/ 2831955 h 4687251"/>
              <a:gd name="connsiteX7923" fmla="*/ 6175465 w 8079933"/>
              <a:gd name="connsiteY7923" fmla="*/ 2831167 h 4687251"/>
              <a:gd name="connsiteX7924" fmla="*/ 6178829 w 8079933"/>
              <a:gd name="connsiteY7924" fmla="*/ 2832033 h 4687251"/>
              <a:gd name="connsiteX7925" fmla="*/ 6180674 w 8079933"/>
              <a:gd name="connsiteY7925" fmla="*/ 2838421 h 4687251"/>
              <a:gd name="connsiteX7926" fmla="*/ 6176767 w 8079933"/>
              <a:gd name="connsiteY7926" fmla="*/ 2834740 h 4687251"/>
              <a:gd name="connsiteX7927" fmla="*/ 6175465 w 8079933"/>
              <a:gd name="connsiteY7927" fmla="*/ 2831167 h 4687251"/>
              <a:gd name="connsiteX7928" fmla="*/ 4397636 w 8079933"/>
              <a:gd name="connsiteY7928" fmla="*/ 2830084 h 4687251"/>
              <a:gd name="connsiteX7929" fmla="*/ 4390691 w 8079933"/>
              <a:gd name="connsiteY7929" fmla="*/ 2834631 h 4687251"/>
              <a:gd name="connsiteX7930" fmla="*/ 4390691 w 8079933"/>
              <a:gd name="connsiteY7930" fmla="*/ 2834632 h 4687251"/>
              <a:gd name="connsiteX7931" fmla="*/ 4397636 w 8079933"/>
              <a:gd name="connsiteY7931" fmla="*/ 2830085 h 4687251"/>
              <a:gd name="connsiteX7932" fmla="*/ 3714199 w 8079933"/>
              <a:gd name="connsiteY7932" fmla="*/ 2826836 h 4687251"/>
              <a:gd name="connsiteX7933" fmla="*/ 3703998 w 8079933"/>
              <a:gd name="connsiteY7933" fmla="*/ 2830084 h 4687251"/>
              <a:gd name="connsiteX7934" fmla="*/ 3701937 w 8079933"/>
              <a:gd name="connsiteY7934" fmla="*/ 2829326 h 4687251"/>
              <a:gd name="connsiteX7935" fmla="*/ 3696404 w 8079933"/>
              <a:gd name="connsiteY7935" fmla="*/ 2831815 h 4687251"/>
              <a:gd name="connsiteX7936" fmla="*/ 3696404 w 8079933"/>
              <a:gd name="connsiteY7936" fmla="*/ 2831816 h 4687251"/>
              <a:gd name="connsiteX7937" fmla="*/ 3701936 w 8079933"/>
              <a:gd name="connsiteY7937" fmla="*/ 2829327 h 4687251"/>
              <a:gd name="connsiteX7938" fmla="*/ 3703997 w 8079933"/>
              <a:gd name="connsiteY7938" fmla="*/ 2830085 h 4687251"/>
              <a:gd name="connsiteX7939" fmla="*/ 3714198 w 8079933"/>
              <a:gd name="connsiteY7939" fmla="*/ 2826837 h 4687251"/>
              <a:gd name="connsiteX7940" fmla="*/ 3718756 w 8079933"/>
              <a:gd name="connsiteY7940" fmla="*/ 2828894 h 4687251"/>
              <a:gd name="connsiteX7941" fmla="*/ 3721686 w 8079933"/>
              <a:gd name="connsiteY7941" fmla="*/ 2834416 h 4687251"/>
              <a:gd name="connsiteX7942" fmla="*/ 3726352 w 8079933"/>
              <a:gd name="connsiteY7942" fmla="*/ 2836906 h 4687251"/>
              <a:gd name="connsiteX7943" fmla="*/ 3725809 w 8079933"/>
              <a:gd name="connsiteY7943" fmla="*/ 2846326 h 4687251"/>
              <a:gd name="connsiteX7944" fmla="*/ 3724941 w 8079933"/>
              <a:gd name="connsiteY7944" fmla="*/ 2851414 h 4687251"/>
              <a:gd name="connsiteX7945" fmla="*/ 3731127 w 8079933"/>
              <a:gd name="connsiteY7945" fmla="*/ 2858452 h 4687251"/>
              <a:gd name="connsiteX7946" fmla="*/ 3733840 w 8079933"/>
              <a:gd name="connsiteY7946" fmla="*/ 2857585 h 4687251"/>
              <a:gd name="connsiteX7947" fmla="*/ 3741002 w 8079933"/>
              <a:gd name="connsiteY7947" fmla="*/ 2852281 h 4687251"/>
              <a:gd name="connsiteX7948" fmla="*/ 3743606 w 8079933"/>
              <a:gd name="connsiteY7948" fmla="*/ 2853038 h 4687251"/>
              <a:gd name="connsiteX7949" fmla="*/ 3747187 w 8079933"/>
              <a:gd name="connsiteY7949" fmla="*/ 2856395 h 4687251"/>
              <a:gd name="connsiteX7950" fmla="*/ 3748327 w 8079933"/>
              <a:gd name="connsiteY7950" fmla="*/ 2858875 h 4687251"/>
              <a:gd name="connsiteX7951" fmla="*/ 3748327 w 8079933"/>
              <a:gd name="connsiteY7951" fmla="*/ 2858874 h 4687251"/>
              <a:gd name="connsiteX7952" fmla="*/ 3748327 w 8079933"/>
              <a:gd name="connsiteY7952" fmla="*/ 2858873 h 4687251"/>
              <a:gd name="connsiteX7953" fmla="*/ 3748598 w 8079933"/>
              <a:gd name="connsiteY7953" fmla="*/ 2858234 h 4687251"/>
              <a:gd name="connsiteX7954" fmla="*/ 3752722 w 8079933"/>
              <a:gd name="connsiteY7954" fmla="*/ 2856936 h 4687251"/>
              <a:gd name="connsiteX7955" fmla="*/ 3759233 w 8079933"/>
              <a:gd name="connsiteY7955" fmla="*/ 2842860 h 4687251"/>
              <a:gd name="connsiteX7956" fmla="*/ 3752722 w 8079933"/>
              <a:gd name="connsiteY7956" fmla="*/ 2856935 h 4687251"/>
              <a:gd name="connsiteX7957" fmla="*/ 3748598 w 8079933"/>
              <a:gd name="connsiteY7957" fmla="*/ 2858234 h 4687251"/>
              <a:gd name="connsiteX7958" fmla="*/ 3748327 w 8079933"/>
              <a:gd name="connsiteY7958" fmla="*/ 2858873 h 4687251"/>
              <a:gd name="connsiteX7959" fmla="*/ 3747188 w 8079933"/>
              <a:gd name="connsiteY7959" fmla="*/ 2856393 h 4687251"/>
              <a:gd name="connsiteX7960" fmla="*/ 3743607 w 8079933"/>
              <a:gd name="connsiteY7960" fmla="*/ 2853037 h 4687251"/>
              <a:gd name="connsiteX7961" fmla="*/ 3741002 w 8079933"/>
              <a:gd name="connsiteY7961" fmla="*/ 2852279 h 4687251"/>
              <a:gd name="connsiteX7962" fmla="*/ 3733840 w 8079933"/>
              <a:gd name="connsiteY7962" fmla="*/ 2857585 h 4687251"/>
              <a:gd name="connsiteX7963" fmla="*/ 3731127 w 8079933"/>
              <a:gd name="connsiteY7963" fmla="*/ 2858451 h 4687251"/>
              <a:gd name="connsiteX7964" fmla="*/ 3724942 w 8079933"/>
              <a:gd name="connsiteY7964" fmla="*/ 2851413 h 4687251"/>
              <a:gd name="connsiteX7965" fmla="*/ 3725810 w 8079933"/>
              <a:gd name="connsiteY7965" fmla="*/ 2846325 h 4687251"/>
              <a:gd name="connsiteX7966" fmla="*/ 3726353 w 8079933"/>
              <a:gd name="connsiteY7966" fmla="*/ 2836905 h 4687251"/>
              <a:gd name="connsiteX7967" fmla="*/ 3721686 w 8079933"/>
              <a:gd name="connsiteY7967" fmla="*/ 2834415 h 4687251"/>
              <a:gd name="connsiteX7968" fmla="*/ 3718756 w 8079933"/>
              <a:gd name="connsiteY7968" fmla="*/ 2828893 h 4687251"/>
              <a:gd name="connsiteX7969" fmla="*/ 4509042 w 8079933"/>
              <a:gd name="connsiteY7969" fmla="*/ 2824129 h 4687251"/>
              <a:gd name="connsiteX7970" fmla="*/ 4508215 w 8079933"/>
              <a:gd name="connsiteY7970" fmla="*/ 2825212 h 4687251"/>
              <a:gd name="connsiteX7971" fmla="*/ 4508042 w 8079933"/>
              <a:gd name="connsiteY7971" fmla="*/ 2825209 h 4687251"/>
              <a:gd name="connsiteX7972" fmla="*/ 4508041 w 8079933"/>
              <a:gd name="connsiteY7972" fmla="*/ 2825210 h 4687251"/>
              <a:gd name="connsiteX7973" fmla="*/ 4508214 w 8079933"/>
              <a:gd name="connsiteY7973" fmla="*/ 2825213 h 4687251"/>
              <a:gd name="connsiteX7974" fmla="*/ 4509042 w 8079933"/>
              <a:gd name="connsiteY7974" fmla="*/ 2824129 h 4687251"/>
              <a:gd name="connsiteX7975" fmla="*/ 3760969 w 8079933"/>
              <a:gd name="connsiteY7975" fmla="*/ 2823155 h 4687251"/>
              <a:gd name="connsiteX7976" fmla="*/ 3760535 w 8079933"/>
              <a:gd name="connsiteY7976" fmla="*/ 2826402 h 4687251"/>
              <a:gd name="connsiteX7977" fmla="*/ 3756629 w 8079933"/>
              <a:gd name="connsiteY7977" fmla="*/ 2825970 h 4687251"/>
              <a:gd name="connsiteX7978" fmla="*/ 3753590 w 8079933"/>
              <a:gd name="connsiteY7978" fmla="*/ 2827594 h 4687251"/>
              <a:gd name="connsiteX7979" fmla="*/ 3753590 w 8079933"/>
              <a:gd name="connsiteY7979" fmla="*/ 2830734 h 4687251"/>
              <a:gd name="connsiteX7980" fmla="*/ 3755203 w 8079933"/>
              <a:gd name="connsiteY7980" fmla="*/ 2832493 h 4687251"/>
              <a:gd name="connsiteX7981" fmla="*/ 3753590 w 8079933"/>
              <a:gd name="connsiteY7981" fmla="*/ 2830734 h 4687251"/>
              <a:gd name="connsiteX7982" fmla="*/ 3753590 w 8079933"/>
              <a:gd name="connsiteY7982" fmla="*/ 2827594 h 4687251"/>
              <a:gd name="connsiteX7983" fmla="*/ 3756629 w 8079933"/>
              <a:gd name="connsiteY7983" fmla="*/ 2825970 h 4687251"/>
              <a:gd name="connsiteX7984" fmla="*/ 3760536 w 8079933"/>
              <a:gd name="connsiteY7984" fmla="*/ 2826403 h 4687251"/>
              <a:gd name="connsiteX7985" fmla="*/ 1983358 w 8079933"/>
              <a:gd name="connsiteY7985" fmla="*/ 2822938 h 4687251"/>
              <a:gd name="connsiteX7986" fmla="*/ 1979560 w 8079933"/>
              <a:gd name="connsiteY7986" fmla="*/ 2825861 h 4687251"/>
              <a:gd name="connsiteX7987" fmla="*/ 1979560 w 8079933"/>
              <a:gd name="connsiteY7987" fmla="*/ 2825862 h 4687251"/>
              <a:gd name="connsiteX7988" fmla="*/ 1983358 w 8079933"/>
              <a:gd name="connsiteY7988" fmla="*/ 2822938 h 4687251"/>
              <a:gd name="connsiteX7989" fmla="*/ 4294397 w 8079933"/>
              <a:gd name="connsiteY7989" fmla="*/ 2822127 h 4687251"/>
              <a:gd name="connsiteX7990" fmla="*/ 4301925 w 8079933"/>
              <a:gd name="connsiteY7990" fmla="*/ 2830409 h 4687251"/>
              <a:gd name="connsiteX7991" fmla="*/ 4305614 w 8079933"/>
              <a:gd name="connsiteY7991" fmla="*/ 2833549 h 4687251"/>
              <a:gd name="connsiteX7992" fmla="*/ 4309196 w 8079933"/>
              <a:gd name="connsiteY7992" fmla="*/ 2839612 h 4687251"/>
              <a:gd name="connsiteX7993" fmla="*/ 4313319 w 8079933"/>
              <a:gd name="connsiteY7993" fmla="*/ 2846000 h 4687251"/>
              <a:gd name="connsiteX7994" fmla="*/ 4313427 w 8079933"/>
              <a:gd name="connsiteY7994" fmla="*/ 2850114 h 4687251"/>
              <a:gd name="connsiteX7995" fmla="*/ 4313427 w 8079933"/>
              <a:gd name="connsiteY7995" fmla="*/ 2850115 h 4687251"/>
              <a:gd name="connsiteX7996" fmla="*/ 4316032 w 8079933"/>
              <a:gd name="connsiteY7996" fmla="*/ 2853038 h 4687251"/>
              <a:gd name="connsiteX7997" fmla="*/ 4317008 w 8079933"/>
              <a:gd name="connsiteY7997" fmla="*/ 2857802 h 4687251"/>
              <a:gd name="connsiteX7998" fmla="*/ 4321566 w 8079933"/>
              <a:gd name="connsiteY7998" fmla="*/ 2857802 h 4687251"/>
              <a:gd name="connsiteX7999" fmla="*/ 4325473 w 8079933"/>
              <a:gd name="connsiteY7999" fmla="*/ 2856936 h 4687251"/>
              <a:gd name="connsiteX8000" fmla="*/ 4331875 w 8079933"/>
              <a:gd name="connsiteY8000" fmla="*/ 2856719 h 4687251"/>
              <a:gd name="connsiteX8001" fmla="*/ 4332058 w 8079933"/>
              <a:gd name="connsiteY8001" fmla="*/ 2856386 h 4687251"/>
              <a:gd name="connsiteX8002" fmla="*/ 4331875 w 8079933"/>
              <a:gd name="connsiteY8002" fmla="*/ 2856718 h 4687251"/>
              <a:gd name="connsiteX8003" fmla="*/ 4325473 w 8079933"/>
              <a:gd name="connsiteY8003" fmla="*/ 2856935 h 4687251"/>
              <a:gd name="connsiteX8004" fmla="*/ 4321566 w 8079933"/>
              <a:gd name="connsiteY8004" fmla="*/ 2857801 h 4687251"/>
              <a:gd name="connsiteX8005" fmla="*/ 4317008 w 8079933"/>
              <a:gd name="connsiteY8005" fmla="*/ 2857801 h 4687251"/>
              <a:gd name="connsiteX8006" fmla="*/ 4316032 w 8079933"/>
              <a:gd name="connsiteY8006" fmla="*/ 2853037 h 4687251"/>
              <a:gd name="connsiteX8007" fmla="*/ 4313427 w 8079933"/>
              <a:gd name="connsiteY8007" fmla="*/ 2850114 h 4687251"/>
              <a:gd name="connsiteX8008" fmla="*/ 4313319 w 8079933"/>
              <a:gd name="connsiteY8008" fmla="*/ 2845999 h 4687251"/>
              <a:gd name="connsiteX8009" fmla="*/ 4309196 w 8079933"/>
              <a:gd name="connsiteY8009" fmla="*/ 2839611 h 4687251"/>
              <a:gd name="connsiteX8010" fmla="*/ 4305614 w 8079933"/>
              <a:gd name="connsiteY8010" fmla="*/ 2833548 h 4687251"/>
              <a:gd name="connsiteX8011" fmla="*/ 4301925 w 8079933"/>
              <a:gd name="connsiteY8011" fmla="*/ 2830409 h 4687251"/>
              <a:gd name="connsiteX8012" fmla="*/ 3959230 w 8079933"/>
              <a:gd name="connsiteY8012" fmla="*/ 2819366 h 4687251"/>
              <a:gd name="connsiteX8013" fmla="*/ 3961508 w 8079933"/>
              <a:gd name="connsiteY8013" fmla="*/ 2821206 h 4687251"/>
              <a:gd name="connsiteX8014" fmla="*/ 3961508 w 8079933"/>
              <a:gd name="connsiteY8014" fmla="*/ 2821206 h 4687251"/>
              <a:gd name="connsiteX8015" fmla="*/ 3888801 w 8079933"/>
              <a:gd name="connsiteY8015" fmla="*/ 2818391 h 4687251"/>
              <a:gd name="connsiteX8016" fmla="*/ 3890863 w 8079933"/>
              <a:gd name="connsiteY8016" fmla="*/ 2824346 h 4687251"/>
              <a:gd name="connsiteX8017" fmla="*/ 3888801 w 8079933"/>
              <a:gd name="connsiteY8017" fmla="*/ 2829652 h 4687251"/>
              <a:gd name="connsiteX8018" fmla="*/ 3890864 w 8079933"/>
              <a:gd name="connsiteY8018" fmla="*/ 2824346 h 4687251"/>
              <a:gd name="connsiteX8019" fmla="*/ 3693256 w 8079933"/>
              <a:gd name="connsiteY8019" fmla="*/ 2814927 h 4687251"/>
              <a:gd name="connsiteX8020" fmla="*/ 3697813 w 8079933"/>
              <a:gd name="connsiteY8020" fmla="*/ 2819257 h 4687251"/>
              <a:gd name="connsiteX8021" fmla="*/ 3697813 w 8079933"/>
              <a:gd name="connsiteY8021" fmla="*/ 2819257 h 4687251"/>
              <a:gd name="connsiteX8022" fmla="*/ 4498837 w 8079933"/>
              <a:gd name="connsiteY8022" fmla="*/ 2814233 h 4687251"/>
              <a:gd name="connsiteX8023" fmla="*/ 4498556 w 8079933"/>
              <a:gd name="connsiteY8023" fmla="*/ 2815035 h 4687251"/>
              <a:gd name="connsiteX8024" fmla="*/ 4498773 w 8079933"/>
              <a:gd name="connsiteY8024" fmla="*/ 2822289 h 4687251"/>
              <a:gd name="connsiteX8025" fmla="*/ 4499317 w 8079933"/>
              <a:gd name="connsiteY8025" fmla="*/ 2822744 h 4687251"/>
              <a:gd name="connsiteX8026" fmla="*/ 4499317 w 8079933"/>
              <a:gd name="connsiteY8026" fmla="*/ 2822743 h 4687251"/>
              <a:gd name="connsiteX8027" fmla="*/ 4498774 w 8079933"/>
              <a:gd name="connsiteY8027" fmla="*/ 2822289 h 4687251"/>
              <a:gd name="connsiteX8028" fmla="*/ 4498557 w 8079933"/>
              <a:gd name="connsiteY8028" fmla="*/ 2815034 h 4687251"/>
              <a:gd name="connsiteX8029" fmla="*/ 4432121 w 8079933"/>
              <a:gd name="connsiteY8029" fmla="*/ 2813929 h 4687251"/>
              <a:gd name="connsiteX8030" fmla="*/ 4428672 w 8079933"/>
              <a:gd name="connsiteY8030" fmla="*/ 2816550 h 4687251"/>
              <a:gd name="connsiteX8031" fmla="*/ 4419666 w 8079933"/>
              <a:gd name="connsiteY8031" fmla="*/ 2817741 h 4687251"/>
              <a:gd name="connsiteX8032" fmla="*/ 4413046 w 8079933"/>
              <a:gd name="connsiteY8032" fmla="*/ 2818607 h 4687251"/>
              <a:gd name="connsiteX8033" fmla="*/ 4406752 w 8079933"/>
              <a:gd name="connsiteY8033" fmla="*/ 2817741 h 4687251"/>
              <a:gd name="connsiteX8034" fmla="*/ 4402846 w 8079933"/>
              <a:gd name="connsiteY8034" fmla="*/ 2816117 h 4687251"/>
              <a:gd name="connsiteX8035" fmla="*/ 4397420 w 8079933"/>
              <a:gd name="connsiteY8035" fmla="*/ 2816766 h 4687251"/>
              <a:gd name="connsiteX8036" fmla="*/ 4393730 w 8079933"/>
              <a:gd name="connsiteY8036" fmla="*/ 2815901 h 4687251"/>
              <a:gd name="connsiteX8037" fmla="*/ 4390474 w 8079933"/>
              <a:gd name="connsiteY8037" fmla="*/ 2817958 h 4687251"/>
              <a:gd name="connsiteX8038" fmla="*/ 4393729 w 8079933"/>
              <a:gd name="connsiteY8038" fmla="*/ 2815901 h 4687251"/>
              <a:gd name="connsiteX8039" fmla="*/ 4397419 w 8079933"/>
              <a:gd name="connsiteY8039" fmla="*/ 2816767 h 4687251"/>
              <a:gd name="connsiteX8040" fmla="*/ 4402845 w 8079933"/>
              <a:gd name="connsiteY8040" fmla="*/ 2816118 h 4687251"/>
              <a:gd name="connsiteX8041" fmla="*/ 4406751 w 8079933"/>
              <a:gd name="connsiteY8041" fmla="*/ 2817742 h 4687251"/>
              <a:gd name="connsiteX8042" fmla="*/ 4413045 w 8079933"/>
              <a:gd name="connsiteY8042" fmla="*/ 2818608 h 4687251"/>
              <a:gd name="connsiteX8043" fmla="*/ 4419665 w 8079933"/>
              <a:gd name="connsiteY8043" fmla="*/ 2817742 h 4687251"/>
              <a:gd name="connsiteX8044" fmla="*/ 4428672 w 8079933"/>
              <a:gd name="connsiteY8044" fmla="*/ 2816551 h 4687251"/>
              <a:gd name="connsiteX8045" fmla="*/ 2214499 w 8079933"/>
              <a:gd name="connsiteY8045" fmla="*/ 2813627 h 4687251"/>
              <a:gd name="connsiteX8046" fmla="*/ 2216561 w 8079933"/>
              <a:gd name="connsiteY8046" fmla="*/ 2813735 h 4687251"/>
              <a:gd name="connsiteX8047" fmla="*/ 2220967 w 8079933"/>
              <a:gd name="connsiteY8047" fmla="*/ 2821769 h 4687251"/>
              <a:gd name="connsiteX8048" fmla="*/ 2216561 w 8079933"/>
              <a:gd name="connsiteY8048" fmla="*/ 2813735 h 4687251"/>
              <a:gd name="connsiteX8049" fmla="*/ 4758564 w 8079933"/>
              <a:gd name="connsiteY8049" fmla="*/ 2813154 h 4687251"/>
              <a:gd name="connsiteX8050" fmla="*/ 4758564 w 8079933"/>
              <a:gd name="connsiteY8050" fmla="*/ 2813167 h 4687251"/>
              <a:gd name="connsiteX8051" fmla="*/ 4758780 w 8079933"/>
              <a:gd name="connsiteY8051" fmla="*/ 2816875 h 4687251"/>
              <a:gd name="connsiteX8052" fmla="*/ 4757912 w 8079933"/>
              <a:gd name="connsiteY8052" fmla="*/ 2828135 h 4687251"/>
              <a:gd name="connsiteX8053" fmla="*/ 4757727 w 8079933"/>
              <a:gd name="connsiteY8053" fmla="*/ 2828281 h 4687251"/>
              <a:gd name="connsiteX8054" fmla="*/ 4757727 w 8079933"/>
              <a:gd name="connsiteY8054" fmla="*/ 2828281 h 4687251"/>
              <a:gd name="connsiteX8055" fmla="*/ 4757913 w 8079933"/>
              <a:gd name="connsiteY8055" fmla="*/ 2828135 h 4687251"/>
              <a:gd name="connsiteX8056" fmla="*/ 4758781 w 8079933"/>
              <a:gd name="connsiteY8056" fmla="*/ 2816875 h 4687251"/>
              <a:gd name="connsiteX8057" fmla="*/ 4018846 w 8079933"/>
              <a:gd name="connsiteY8057" fmla="*/ 2812703 h 4687251"/>
              <a:gd name="connsiteX8058" fmla="*/ 4018479 w 8079933"/>
              <a:gd name="connsiteY8058" fmla="*/ 2812761 h 4687251"/>
              <a:gd name="connsiteX8059" fmla="*/ 4017249 w 8079933"/>
              <a:gd name="connsiteY8059" fmla="*/ 2813252 h 4687251"/>
              <a:gd name="connsiteX8060" fmla="*/ 4018480 w 8079933"/>
              <a:gd name="connsiteY8060" fmla="*/ 2812761 h 4687251"/>
              <a:gd name="connsiteX8061" fmla="*/ 4246167 w 8079933"/>
              <a:gd name="connsiteY8061" fmla="*/ 2812382 h 4687251"/>
              <a:gd name="connsiteX8062" fmla="*/ 4246906 w 8079933"/>
              <a:gd name="connsiteY8062" fmla="*/ 2817958 h 4687251"/>
              <a:gd name="connsiteX8063" fmla="*/ 4245062 w 8079933"/>
              <a:gd name="connsiteY8063" fmla="*/ 2821422 h 4687251"/>
              <a:gd name="connsiteX8064" fmla="*/ 4244628 w 8079933"/>
              <a:gd name="connsiteY8064" fmla="*/ 2826403 h 4687251"/>
              <a:gd name="connsiteX8065" fmla="*/ 4239745 w 8079933"/>
              <a:gd name="connsiteY8065" fmla="*/ 2829651 h 4687251"/>
              <a:gd name="connsiteX8066" fmla="*/ 4233559 w 8079933"/>
              <a:gd name="connsiteY8066" fmla="*/ 2836255 h 4687251"/>
              <a:gd name="connsiteX8067" fmla="*/ 4231280 w 8079933"/>
              <a:gd name="connsiteY8067" fmla="*/ 2839937 h 4687251"/>
              <a:gd name="connsiteX8068" fmla="*/ 4232474 w 8079933"/>
              <a:gd name="connsiteY8068" fmla="*/ 2843402 h 4687251"/>
              <a:gd name="connsiteX8069" fmla="*/ 4231497 w 8079933"/>
              <a:gd name="connsiteY8069" fmla="*/ 2847299 h 4687251"/>
              <a:gd name="connsiteX8070" fmla="*/ 4224118 w 8079933"/>
              <a:gd name="connsiteY8070" fmla="*/ 2854553 h 4687251"/>
              <a:gd name="connsiteX8071" fmla="*/ 4222273 w 8079933"/>
              <a:gd name="connsiteY8071" fmla="*/ 2860400 h 4687251"/>
              <a:gd name="connsiteX8072" fmla="*/ 4222273 w 8079933"/>
              <a:gd name="connsiteY8072" fmla="*/ 2860401 h 4687251"/>
              <a:gd name="connsiteX8073" fmla="*/ 4224119 w 8079933"/>
              <a:gd name="connsiteY8073" fmla="*/ 2854554 h 4687251"/>
              <a:gd name="connsiteX8074" fmla="*/ 4231498 w 8079933"/>
              <a:gd name="connsiteY8074" fmla="*/ 2847299 h 4687251"/>
              <a:gd name="connsiteX8075" fmla="*/ 4232474 w 8079933"/>
              <a:gd name="connsiteY8075" fmla="*/ 2843402 h 4687251"/>
              <a:gd name="connsiteX8076" fmla="*/ 4231281 w 8079933"/>
              <a:gd name="connsiteY8076" fmla="*/ 2839937 h 4687251"/>
              <a:gd name="connsiteX8077" fmla="*/ 4233559 w 8079933"/>
              <a:gd name="connsiteY8077" fmla="*/ 2836256 h 4687251"/>
              <a:gd name="connsiteX8078" fmla="*/ 4239745 w 8079933"/>
              <a:gd name="connsiteY8078" fmla="*/ 2829652 h 4687251"/>
              <a:gd name="connsiteX8079" fmla="*/ 4244628 w 8079933"/>
              <a:gd name="connsiteY8079" fmla="*/ 2826403 h 4687251"/>
              <a:gd name="connsiteX8080" fmla="*/ 4245062 w 8079933"/>
              <a:gd name="connsiteY8080" fmla="*/ 2821423 h 4687251"/>
              <a:gd name="connsiteX8081" fmla="*/ 4246907 w 8079933"/>
              <a:gd name="connsiteY8081" fmla="*/ 2817958 h 4687251"/>
              <a:gd name="connsiteX8082" fmla="*/ 6169714 w 8079933"/>
              <a:gd name="connsiteY8082" fmla="*/ 2812220 h 4687251"/>
              <a:gd name="connsiteX8083" fmla="*/ 6168194 w 8079933"/>
              <a:gd name="connsiteY8083" fmla="*/ 2815143 h 4687251"/>
              <a:gd name="connsiteX8084" fmla="*/ 6165265 w 8079933"/>
              <a:gd name="connsiteY8084" fmla="*/ 2813627 h 4687251"/>
              <a:gd name="connsiteX8085" fmla="*/ 4280439 w 8079933"/>
              <a:gd name="connsiteY8085" fmla="*/ 2812003 h 4687251"/>
              <a:gd name="connsiteX8086" fmla="*/ 4280439 w 8079933"/>
              <a:gd name="connsiteY8086" fmla="*/ 2812003 h 4687251"/>
              <a:gd name="connsiteX8087" fmla="*/ 4283060 w 8079933"/>
              <a:gd name="connsiteY8087" fmla="*/ 2812966 h 4687251"/>
              <a:gd name="connsiteX8088" fmla="*/ 1981297 w 8079933"/>
              <a:gd name="connsiteY8088" fmla="*/ 2810919 h 4687251"/>
              <a:gd name="connsiteX8089" fmla="*/ 1978367 w 8079933"/>
              <a:gd name="connsiteY8089" fmla="*/ 2814168 h 4687251"/>
              <a:gd name="connsiteX8090" fmla="*/ 1978367 w 8079933"/>
              <a:gd name="connsiteY8090" fmla="*/ 2814168 h 4687251"/>
              <a:gd name="connsiteX8091" fmla="*/ 1981297 w 8079933"/>
              <a:gd name="connsiteY8091" fmla="*/ 2810920 h 4687251"/>
              <a:gd name="connsiteX8092" fmla="*/ 6909256 w 8079933"/>
              <a:gd name="connsiteY8092" fmla="*/ 2808430 h 4687251"/>
              <a:gd name="connsiteX8093" fmla="*/ 6910776 w 8079933"/>
              <a:gd name="connsiteY8093" fmla="*/ 2809620 h 4687251"/>
              <a:gd name="connsiteX8094" fmla="*/ 6910341 w 8079933"/>
              <a:gd name="connsiteY8094" fmla="*/ 2812436 h 4687251"/>
              <a:gd name="connsiteX8095" fmla="*/ 6906543 w 8079933"/>
              <a:gd name="connsiteY8095" fmla="*/ 2813951 h 4687251"/>
              <a:gd name="connsiteX8096" fmla="*/ 6903504 w 8079933"/>
              <a:gd name="connsiteY8096" fmla="*/ 2811677 h 4687251"/>
              <a:gd name="connsiteX8097" fmla="*/ 6904915 w 8079933"/>
              <a:gd name="connsiteY8097" fmla="*/ 2808971 h 4687251"/>
              <a:gd name="connsiteX8098" fmla="*/ 4277401 w 8079933"/>
              <a:gd name="connsiteY8098" fmla="*/ 2807564 h 4687251"/>
              <a:gd name="connsiteX8099" fmla="*/ 4279787 w 8079933"/>
              <a:gd name="connsiteY8099" fmla="*/ 2809405 h 4687251"/>
              <a:gd name="connsiteX8100" fmla="*/ 4280184 w 8079933"/>
              <a:gd name="connsiteY8100" fmla="*/ 2810987 h 4687251"/>
              <a:gd name="connsiteX8101" fmla="*/ 4279788 w 8079933"/>
              <a:gd name="connsiteY8101" fmla="*/ 2809404 h 4687251"/>
              <a:gd name="connsiteX8102" fmla="*/ 5864348 w 8079933"/>
              <a:gd name="connsiteY8102" fmla="*/ 2806914 h 4687251"/>
              <a:gd name="connsiteX8103" fmla="*/ 5869666 w 8079933"/>
              <a:gd name="connsiteY8103" fmla="*/ 2808321 h 4687251"/>
              <a:gd name="connsiteX8104" fmla="*/ 5869231 w 8079933"/>
              <a:gd name="connsiteY8104" fmla="*/ 2810161 h 4687251"/>
              <a:gd name="connsiteX8105" fmla="*/ 5872379 w 8079933"/>
              <a:gd name="connsiteY8105" fmla="*/ 2811245 h 4687251"/>
              <a:gd name="connsiteX8106" fmla="*/ 5873573 w 8079933"/>
              <a:gd name="connsiteY8106" fmla="*/ 2809620 h 4687251"/>
              <a:gd name="connsiteX8107" fmla="*/ 5880517 w 8079933"/>
              <a:gd name="connsiteY8107" fmla="*/ 2812111 h 4687251"/>
              <a:gd name="connsiteX8108" fmla="*/ 5880517 w 8079933"/>
              <a:gd name="connsiteY8108" fmla="*/ 2814818 h 4687251"/>
              <a:gd name="connsiteX8109" fmla="*/ 5881929 w 8079933"/>
              <a:gd name="connsiteY8109" fmla="*/ 2816658 h 4687251"/>
              <a:gd name="connsiteX8110" fmla="*/ 5883339 w 8079933"/>
              <a:gd name="connsiteY8110" fmla="*/ 2821206 h 4687251"/>
              <a:gd name="connsiteX8111" fmla="*/ 5885726 w 8079933"/>
              <a:gd name="connsiteY8111" fmla="*/ 2820989 h 4687251"/>
              <a:gd name="connsiteX8112" fmla="*/ 5888764 w 8079933"/>
              <a:gd name="connsiteY8112" fmla="*/ 2826619 h 4687251"/>
              <a:gd name="connsiteX8113" fmla="*/ 5890826 w 8079933"/>
              <a:gd name="connsiteY8113" fmla="*/ 2827485 h 4687251"/>
              <a:gd name="connsiteX8114" fmla="*/ 5891477 w 8079933"/>
              <a:gd name="connsiteY8114" fmla="*/ 2829651 h 4687251"/>
              <a:gd name="connsiteX8115" fmla="*/ 5886811 w 8079933"/>
              <a:gd name="connsiteY8115" fmla="*/ 2832141 h 4687251"/>
              <a:gd name="connsiteX8116" fmla="*/ 5890393 w 8079933"/>
              <a:gd name="connsiteY8116" fmla="*/ 2832574 h 4687251"/>
              <a:gd name="connsiteX8117" fmla="*/ 5890610 w 8079933"/>
              <a:gd name="connsiteY8117" fmla="*/ 2833440 h 4687251"/>
              <a:gd name="connsiteX8118" fmla="*/ 5894733 w 8079933"/>
              <a:gd name="connsiteY8118" fmla="*/ 2832899 h 4687251"/>
              <a:gd name="connsiteX8119" fmla="*/ 5897880 w 8079933"/>
              <a:gd name="connsiteY8119" fmla="*/ 2840261 h 4687251"/>
              <a:gd name="connsiteX8120" fmla="*/ 5901786 w 8079933"/>
              <a:gd name="connsiteY8120" fmla="*/ 2850981 h 4687251"/>
              <a:gd name="connsiteX8121" fmla="*/ 5905368 w 8079933"/>
              <a:gd name="connsiteY8121" fmla="*/ 2854012 h 4687251"/>
              <a:gd name="connsiteX8122" fmla="*/ 5904174 w 8079933"/>
              <a:gd name="connsiteY8122" fmla="*/ 2857693 h 4687251"/>
              <a:gd name="connsiteX8123" fmla="*/ 5906128 w 8079933"/>
              <a:gd name="connsiteY8123" fmla="*/ 2860616 h 4687251"/>
              <a:gd name="connsiteX8124" fmla="*/ 5906345 w 8079933"/>
              <a:gd name="connsiteY8124" fmla="*/ 2867113 h 4687251"/>
              <a:gd name="connsiteX8125" fmla="*/ 5905259 w 8079933"/>
              <a:gd name="connsiteY8125" fmla="*/ 2868412 h 4687251"/>
              <a:gd name="connsiteX8126" fmla="*/ 5905693 w 8079933"/>
              <a:gd name="connsiteY8126" fmla="*/ 2872418 h 4687251"/>
              <a:gd name="connsiteX8127" fmla="*/ 5904065 w 8079933"/>
              <a:gd name="connsiteY8127" fmla="*/ 2876641 h 4687251"/>
              <a:gd name="connsiteX8128" fmla="*/ 5900702 w 8079933"/>
              <a:gd name="connsiteY8128" fmla="*/ 2883462 h 4687251"/>
              <a:gd name="connsiteX8129" fmla="*/ 5892997 w 8079933"/>
              <a:gd name="connsiteY8129" fmla="*/ 2891474 h 4687251"/>
              <a:gd name="connsiteX8130" fmla="*/ 5885401 w 8079933"/>
              <a:gd name="connsiteY8130" fmla="*/ 2893748 h 4687251"/>
              <a:gd name="connsiteX8131" fmla="*/ 5877262 w 8079933"/>
              <a:gd name="connsiteY8131" fmla="*/ 2894830 h 4687251"/>
              <a:gd name="connsiteX8132" fmla="*/ 5872487 w 8079933"/>
              <a:gd name="connsiteY8132" fmla="*/ 2896021 h 4687251"/>
              <a:gd name="connsiteX8133" fmla="*/ 5866845 w 8079933"/>
              <a:gd name="connsiteY8133" fmla="*/ 2892990 h 4687251"/>
              <a:gd name="connsiteX8134" fmla="*/ 5863480 w 8079933"/>
              <a:gd name="connsiteY8134" fmla="*/ 2887359 h 4687251"/>
              <a:gd name="connsiteX8135" fmla="*/ 5859682 w 8079933"/>
              <a:gd name="connsiteY8135" fmla="*/ 2874583 h 4687251"/>
              <a:gd name="connsiteX8136" fmla="*/ 5856535 w 8079933"/>
              <a:gd name="connsiteY8136" fmla="*/ 2863323 h 4687251"/>
              <a:gd name="connsiteX8137" fmla="*/ 5857404 w 8079933"/>
              <a:gd name="connsiteY8137" fmla="*/ 2859967 h 4687251"/>
              <a:gd name="connsiteX8138" fmla="*/ 5855233 w 8079933"/>
              <a:gd name="connsiteY8138" fmla="*/ 2850981 h 4687251"/>
              <a:gd name="connsiteX8139" fmla="*/ 5856427 w 8079933"/>
              <a:gd name="connsiteY8139" fmla="*/ 2849681 h 4687251"/>
              <a:gd name="connsiteX8140" fmla="*/ 5855884 w 8079933"/>
              <a:gd name="connsiteY8140" fmla="*/ 2846650 h 4687251"/>
              <a:gd name="connsiteX8141" fmla="*/ 5857404 w 8079933"/>
              <a:gd name="connsiteY8141" fmla="*/ 2835930 h 4687251"/>
              <a:gd name="connsiteX8142" fmla="*/ 5859031 w 8079933"/>
              <a:gd name="connsiteY8142" fmla="*/ 2833549 h 4687251"/>
              <a:gd name="connsiteX8143" fmla="*/ 5858922 w 8079933"/>
              <a:gd name="connsiteY8143" fmla="*/ 2827161 h 4687251"/>
              <a:gd name="connsiteX8144" fmla="*/ 5856969 w 8079933"/>
              <a:gd name="connsiteY8144" fmla="*/ 2822613 h 4687251"/>
              <a:gd name="connsiteX8145" fmla="*/ 5857946 w 8079933"/>
              <a:gd name="connsiteY8145" fmla="*/ 2821422 h 4687251"/>
              <a:gd name="connsiteX8146" fmla="*/ 5856427 w 8079933"/>
              <a:gd name="connsiteY8146" fmla="*/ 2819257 h 4687251"/>
              <a:gd name="connsiteX8147" fmla="*/ 5853931 w 8079933"/>
              <a:gd name="connsiteY8147" fmla="*/ 2818065 h 4687251"/>
              <a:gd name="connsiteX8148" fmla="*/ 5853931 w 8079933"/>
              <a:gd name="connsiteY8148" fmla="*/ 2816875 h 4687251"/>
              <a:gd name="connsiteX8149" fmla="*/ 5856969 w 8079933"/>
              <a:gd name="connsiteY8149" fmla="*/ 2817200 h 4687251"/>
              <a:gd name="connsiteX8150" fmla="*/ 5859466 w 8079933"/>
              <a:gd name="connsiteY8150" fmla="*/ 2819581 h 4687251"/>
              <a:gd name="connsiteX8151" fmla="*/ 5860876 w 8079933"/>
              <a:gd name="connsiteY8151" fmla="*/ 2820231 h 4687251"/>
              <a:gd name="connsiteX8152" fmla="*/ 5863372 w 8079933"/>
              <a:gd name="connsiteY8152" fmla="*/ 2815900 h 4687251"/>
              <a:gd name="connsiteX8153" fmla="*/ 5863589 w 8079933"/>
              <a:gd name="connsiteY8153" fmla="*/ 2812652 h 4687251"/>
              <a:gd name="connsiteX8154" fmla="*/ 5863046 w 8079933"/>
              <a:gd name="connsiteY8154" fmla="*/ 2811028 h 4687251"/>
              <a:gd name="connsiteX8155" fmla="*/ 5864456 w 8079933"/>
              <a:gd name="connsiteY8155" fmla="*/ 2810812 h 4687251"/>
              <a:gd name="connsiteX8156" fmla="*/ 5865108 w 8079933"/>
              <a:gd name="connsiteY8156" fmla="*/ 2809837 h 4687251"/>
              <a:gd name="connsiteX8157" fmla="*/ 5864240 w 8079933"/>
              <a:gd name="connsiteY8157" fmla="*/ 2808213 h 4687251"/>
              <a:gd name="connsiteX8158" fmla="*/ 6932368 w 8079933"/>
              <a:gd name="connsiteY8158" fmla="*/ 2806157 h 4687251"/>
              <a:gd name="connsiteX8159" fmla="*/ 6936599 w 8079933"/>
              <a:gd name="connsiteY8159" fmla="*/ 2809621 h 4687251"/>
              <a:gd name="connsiteX8160" fmla="*/ 6935948 w 8079933"/>
              <a:gd name="connsiteY8160" fmla="*/ 2813735 h 4687251"/>
              <a:gd name="connsiteX8161" fmla="*/ 6932477 w 8079933"/>
              <a:gd name="connsiteY8161" fmla="*/ 2811462 h 4687251"/>
              <a:gd name="connsiteX8162" fmla="*/ 6931500 w 8079933"/>
              <a:gd name="connsiteY8162" fmla="*/ 2808538 h 4687251"/>
              <a:gd name="connsiteX8163" fmla="*/ 4502418 w 8079933"/>
              <a:gd name="connsiteY8163" fmla="*/ 2805630 h 4687251"/>
              <a:gd name="connsiteX8164" fmla="*/ 4501812 w 8079933"/>
              <a:gd name="connsiteY8164" fmla="*/ 2808213 h 4687251"/>
              <a:gd name="connsiteX8165" fmla="*/ 4501812 w 8079933"/>
              <a:gd name="connsiteY8165" fmla="*/ 2808213 h 4687251"/>
              <a:gd name="connsiteX8166" fmla="*/ 4276423 w 8079933"/>
              <a:gd name="connsiteY8166" fmla="*/ 2804965 h 4687251"/>
              <a:gd name="connsiteX8167" fmla="*/ 4276423 w 8079933"/>
              <a:gd name="connsiteY8167" fmla="*/ 2804966 h 4687251"/>
              <a:gd name="connsiteX8168" fmla="*/ 4276980 w 8079933"/>
              <a:gd name="connsiteY8168" fmla="*/ 2806446 h 4687251"/>
              <a:gd name="connsiteX8169" fmla="*/ 3957992 w 8079933"/>
              <a:gd name="connsiteY8169" fmla="*/ 2802663 h 4687251"/>
              <a:gd name="connsiteX8170" fmla="*/ 3959013 w 8079933"/>
              <a:gd name="connsiteY8170" fmla="*/ 2803450 h 4687251"/>
              <a:gd name="connsiteX8171" fmla="*/ 3961073 w 8079933"/>
              <a:gd name="connsiteY8171" fmla="*/ 2804208 h 4687251"/>
              <a:gd name="connsiteX8172" fmla="*/ 3959012 w 8079933"/>
              <a:gd name="connsiteY8172" fmla="*/ 2803449 h 4687251"/>
              <a:gd name="connsiteX8173" fmla="*/ 4027684 w 8079933"/>
              <a:gd name="connsiteY8173" fmla="*/ 2802417 h 4687251"/>
              <a:gd name="connsiteX8174" fmla="*/ 4025532 w 8079933"/>
              <a:gd name="connsiteY8174" fmla="*/ 2806157 h 4687251"/>
              <a:gd name="connsiteX8175" fmla="*/ 4024398 w 8079933"/>
              <a:gd name="connsiteY8175" fmla="*/ 2808539 h 4687251"/>
              <a:gd name="connsiteX8176" fmla="*/ 4025533 w 8079933"/>
              <a:gd name="connsiteY8176" fmla="*/ 2806156 h 4687251"/>
              <a:gd name="connsiteX8177" fmla="*/ 3984441 w 8079933"/>
              <a:gd name="connsiteY8177" fmla="*/ 2802162 h 4687251"/>
              <a:gd name="connsiteX8178" fmla="*/ 3985923 w 8079933"/>
              <a:gd name="connsiteY8178" fmla="*/ 2809404 h 4687251"/>
              <a:gd name="connsiteX8179" fmla="*/ 3985707 w 8079933"/>
              <a:gd name="connsiteY8179" fmla="*/ 2816118 h 4687251"/>
              <a:gd name="connsiteX8180" fmla="*/ 3985924 w 8079933"/>
              <a:gd name="connsiteY8180" fmla="*/ 2809405 h 4687251"/>
              <a:gd name="connsiteX8181" fmla="*/ 6341930 w 8079933"/>
              <a:gd name="connsiteY8181" fmla="*/ 2801176 h 4687251"/>
              <a:gd name="connsiteX8182" fmla="*/ 6343342 w 8079933"/>
              <a:gd name="connsiteY8182" fmla="*/ 2804641 h 4687251"/>
              <a:gd name="connsiteX8183" fmla="*/ 6342365 w 8079933"/>
              <a:gd name="connsiteY8183" fmla="*/ 2809405 h 4687251"/>
              <a:gd name="connsiteX8184" fmla="*/ 6338892 w 8079933"/>
              <a:gd name="connsiteY8184" fmla="*/ 2806481 h 4687251"/>
              <a:gd name="connsiteX8185" fmla="*/ 6338566 w 8079933"/>
              <a:gd name="connsiteY8185" fmla="*/ 2803341 h 4687251"/>
              <a:gd name="connsiteX8186" fmla="*/ 5868255 w 8079933"/>
              <a:gd name="connsiteY8186" fmla="*/ 2799877 h 4687251"/>
              <a:gd name="connsiteX8187" fmla="*/ 5871727 w 8079933"/>
              <a:gd name="connsiteY8187" fmla="*/ 2800743 h 4687251"/>
              <a:gd name="connsiteX8188" fmla="*/ 5872595 w 8079933"/>
              <a:gd name="connsiteY8188" fmla="*/ 2804316 h 4687251"/>
              <a:gd name="connsiteX8189" fmla="*/ 5878130 w 8079933"/>
              <a:gd name="connsiteY8189" fmla="*/ 2807780 h 4687251"/>
              <a:gd name="connsiteX8190" fmla="*/ 5879107 w 8079933"/>
              <a:gd name="connsiteY8190" fmla="*/ 2810054 h 4687251"/>
              <a:gd name="connsiteX8191" fmla="*/ 5876719 w 8079933"/>
              <a:gd name="connsiteY8191" fmla="*/ 2808213 h 4687251"/>
              <a:gd name="connsiteX8192" fmla="*/ 5872812 w 8079933"/>
              <a:gd name="connsiteY8192" fmla="*/ 2808321 h 4687251"/>
              <a:gd name="connsiteX8193" fmla="*/ 5870641 w 8079933"/>
              <a:gd name="connsiteY8193" fmla="*/ 2806373 h 4687251"/>
              <a:gd name="connsiteX8194" fmla="*/ 5865758 w 8079933"/>
              <a:gd name="connsiteY8194" fmla="*/ 2804316 h 4687251"/>
              <a:gd name="connsiteX8195" fmla="*/ 5866084 w 8079933"/>
              <a:gd name="connsiteY8195" fmla="*/ 2802583 h 4687251"/>
              <a:gd name="connsiteX8196" fmla="*/ 5868797 w 8079933"/>
              <a:gd name="connsiteY8196" fmla="*/ 2802258 h 4687251"/>
              <a:gd name="connsiteX8197" fmla="*/ 5867386 w 8079933"/>
              <a:gd name="connsiteY8197" fmla="*/ 2801393 h 4687251"/>
              <a:gd name="connsiteX8198" fmla="*/ 3885112 w 8079933"/>
              <a:gd name="connsiteY8198" fmla="*/ 2798469 h 4687251"/>
              <a:gd name="connsiteX8199" fmla="*/ 3883267 w 8079933"/>
              <a:gd name="connsiteY8199" fmla="*/ 2806048 h 4687251"/>
              <a:gd name="connsiteX8200" fmla="*/ 3883268 w 8079933"/>
              <a:gd name="connsiteY8200" fmla="*/ 2806049 h 4687251"/>
              <a:gd name="connsiteX8201" fmla="*/ 3885112 w 8079933"/>
              <a:gd name="connsiteY8201" fmla="*/ 2798470 h 4687251"/>
              <a:gd name="connsiteX8202" fmla="*/ 5864347 w 8079933"/>
              <a:gd name="connsiteY8202" fmla="*/ 2797928 h 4687251"/>
              <a:gd name="connsiteX8203" fmla="*/ 5865542 w 8079933"/>
              <a:gd name="connsiteY8203" fmla="*/ 2798794 h 4687251"/>
              <a:gd name="connsiteX8204" fmla="*/ 5863805 w 8079933"/>
              <a:gd name="connsiteY8204" fmla="*/ 2802908 h 4687251"/>
              <a:gd name="connsiteX8205" fmla="*/ 5862394 w 8079933"/>
              <a:gd name="connsiteY8205" fmla="*/ 2803233 h 4687251"/>
              <a:gd name="connsiteX8206" fmla="*/ 5862829 w 8079933"/>
              <a:gd name="connsiteY8206" fmla="*/ 2805290 h 4687251"/>
              <a:gd name="connsiteX8207" fmla="*/ 5856644 w 8079933"/>
              <a:gd name="connsiteY8207" fmla="*/ 2801284 h 4687251"/>
              <a:gd name="connsiteX8208" fmla="*/ 5856535 w 8079933"/>
              <a:gd name="connsiteY8208" fmla="*/ 2798361 h 4687251"/>
              <a:gd name="connsiteX8209" fmla="*/ 4441911 w 8079933"/>
              <a:gd name="connsiteY8209" fmla="*/ 2797711 h 4687251"/>
              <a:gd name="connsiteX8210" fmla="*/ 4438439 w 8079933"/>
              <a:gd name="connsiteY8210" fmla="*/ 2800093 h 4687251"/>
              <a:gd name="connsiteX8211" fmla="*/ 4438439 w 8079933"/>
              <a:gd name="connsiteY8211" fmla="*/ 2800094 h 4687251"/>
              <a:gd name="connsiteX8212" fmla="*/ 4441911 w 8079933"/>
              <a:gd name="connsiteY8212" fmla="*/ 2797712 h 4687251"/>
              <a:gd name="connsiteX8213" fmla="*/ 6963621 w 8079933"/>
              <a:gd name="connsiteY8213" fmla="*/ 2797386 h 4687251"/>
              <a:gd name="connsiteX8214" fmla="*/ 6966008 w 8079933"/>
              <a:gd name="connsiteY8214" fmla="*/ 2799443 h 4687251"/>
              <a:gd name="connsiteX8215" fmla="*/ 6965140 w 8079933"/>
              <a:gd name="connsiteY8215" fmla="*/ 2802366 h 4687251"/>
              <a:gd name="connsiteX8216" fmla="*/ 6963078 w 8079933"/>
              <a:gd name="connsiteY8216" fmla="*/ 2800092 h 4687251"/>
              <a:gd name="connsiteX8217" fmla="*/ 2214120 w 8079933"/>
              <a:gd name="connsiteY8217" fmla="*/ 2796423 h 4687251"/>
              <a:gd name="connsiteX8218" fmla="*/ 2213522 w 8079933"/>
              <a:gd name="connsiteY8218" fmla="*/ 2803774 h 4687251"/>
              <a:gd name="connsiteX8219" fmla="*/ 2209941 w 8079933"/>
              <a:gd name="connsiteY8219" fmla="*/ 2811462 h 4687251"/>
              <a:gd name="connsiteX8220" fmla="*/ 2209398 w 8079933"/>
              <a:gd name="connsiteY8220" fmla="*/ 2813843 h 4687251"/>
              <a:gd name="connsiteX8221" fmla="*/ 2209399 w 8079933"/>
              <a:gd name="connsiteY8221" fmla="*/ 2813843 h 4687251"/>
              <a:gd name="connsiteX8222" fmla="*/ 2209941 w 8079933"/>
              <a:gd name="connsiteY8222" fmla="*/ 2811461 h 4687251"/>
              <a:gd name="connsiteX8223" fmla="*/ 2213522 w 8079933"/>
              <a:gd name="connsiteY8223" fmla="*/ 2803774 h 4687251"/>
              <a:gd name="connsiteX8224" fmla="*/ 6950708 w 8079933"/>
              <a:gd name="connsiteY8224" fmla="*/ 2796304 h 4687251"/>
              <a:gd name="connsiteX8225" fmla="*/ 6954507 w 8079933"/>
              <a:gd name="connsiteY8225" fmla="*/ 2797170 h 4687251"/>
              <a:gd name="connsiteX8226" fmla="*/ 6956026 w 8079933"/>
              <a:gd name="connsiteY8226" fmla="*/ 2796737 h 4687251"/>
              <a:gd name="connsiteX8227" fmla="*/ 6957002 w 8079933"/>
              <a:gd name="connsiteY8227" fmla="*/ 2800743 h 4687251"/>
              <a:gd name="connsiteX8228" fmla="*/ 6963622 w 8079933"/>
              <a:gd name="connsiteY8228" fmla="*/ 2806048 h 4687251"/>
              <a:gd name="connsiteX8229" fmla="*/ 6968288 w 8079933"/>
              <a:gd name="connsiteY8229" fmla="*/ 2810704 h 4687251"/>
              <a:gd name="connsiteX8230" fmla="*/ 6971327 w 8079933"/>
              <a:gd name="connsiteY8230" fmla="*/ 2807997 h 4687251"/>
              <a:gd name="connsiteX8231" fmla="*/ 6971218 w 8079933"/>
              <a:gd name="connsiteY8231" fmla="*/ 2811570 h 4687251"/>
              <a:gd name="connsiteX8232" fmla="*/ 6974582 w 8079933"/>
              <a:gd name="connsiteY8232" fmla="*/ 2816659 h 4687251"/>
              <a:gd name="connsiteX8233" fmla="*/ 6974582 w 8079933"/>
              <a:gd name="connsiteY8233" fmla="*/ 2822722 h 4687251"/>
              <a:gd name="connsiteX8234" fmla="*/ 6971327 w 8079933"/>
              <a:gd name="connsiteY8234" fmla="*/ 2822181 h 4687251"/>
              <a:gd name="connsiteX8235" fmla="*/ 6970675 w 8079933"/>
              <a:gd name="connsiteY8235" fmla="*/ 2824779 h 4687251"/>
              <a:gd name="connsiteX8236" fmla="*/ 6973388 w 8079933"/>
              <a:gd name="connsiteY8236" fmla="*/ 2828244 h 4687251"/>
              <a:gd name="connsiteX8237" fmla="*/ 6975341 w 8079933"/>
              <a:gd name="connsiteY8237" fmla="*/ 2828460 h 4687251"/>
              <a:gd name="connsiteX8238" fmla="*/ 6975016 w 8079933"/>
              <a:gd name="connsiteY8238" fmla="*/ 2831275 h 4687251"/>
              <a:gd name="connsiteX8239" fmla="*/ 6975125 w 8079933"/>
              <a:gd name="connsiteY8239" fmla="*/ 2837013 h 4687251"/>
              <a:gd name="connsiteX8240" fmla="*/ 6976861 w 8079933"/>
              <a:gd name="connsiteY8240" fmla="*/ 2834199 h 4687251"/>
              <a:gd name="connsiteX8241" fmla="*/ 6977620 w 8079933"/>
              <a:gd name="connsiteY8241" fmla="*/ 2839720 h 4687251"/>
              <a:gd name="connsiteX8242" fmla="*/ 6977620 w 8079933"/>
              <a:gd name="connsiteY8242" fmla="*/ 2845026 h 4687251"/>
              <a:gd name="connsiteX8243" fmla="*/ 6980116 w 8079933"/>
              <a:gd name="connsiteY8243" fmla="*/ 2849032 h 4687251"/>
              <a:gd name="connsiteX8244" fmla="*/ 6982938 w 8079933"/>
              <a:gd name="connsiteY8244" fmla="*/ 2853579 h 4687251"/>
              <a:gd name="connsiteX8245" fmla="*/ 6983806 w 8079933"/>
              <a:gd name="connsiteY8245" fmla="*/ 2861266 h 4687251"/>
              <a:gd name="connsiteX8246" fmla="*/ 6981310 w 8079933"/>
              <a:gd name="connsiteY8246" fmla="*/ 2867654 h 4687251"/>
              <a:gd name="connsiteX8247" fmla="*/ 6979356 w 8079933"/>
              <a:gd name="connsiteY8247" fmla="*/ 2867438 h 4687251"/>
              <a:gd name="connsiteX8248" fmla="*/ 6979465 w 8079933"/>
              <a:gd name="connsiteY8248" fmla="*/ 2870361 h 4687251"/>
              <a:gd name="connsiteX8249" fmla="*/ 6977838 w 8079933"/>
              <a:gd name="connsiteY8249" fmla="*/ 2867221 h 4687251"/>
              <a:gd name="connsiteX8250" fmla="*/ 6975125 w 8079933"/>
              <a:gd name="connsiteY8250" fmla="*/ 2867654 h 4687251"/>
              <a:gd name="connsiteX8251" fmla="*/ 6974257 w 8079933"/>
              <a:gd name="connsiteY8251" fmla="*/ 2870578 h 4687251"/>
              <a:gd name="connsiteX8252" fmla="*/ 6975993 w 8079933"/>
              <a:gd name="connsiteY8252" fmla="*/ 2877507 h 4687251"/>
              <a:gd name="connsiteX8253" fmla="*/ 6975450 w 8079933"/>
              <a:gd name="connsiteY8253" fmla="*/ 2882812 h 4687251"/>
              <a:gd name="connsiteX8254" fmla="*/ 6975341 w 8079933"/>
              <a:gd name="connsiteY8254" fmla="*/ 2886168 h 4687251"/>
              <a:gd name="connsiteX8255" fmla="*/ 6973714 w 8079933"/>
              <a:gd name="connsiteY8255" fmla="*/ 2882812 h 4687251"/>
              <a:gd name="connsiteX8256" fmla="*/ 6971544 w 8079933"/>
              <a:gd name="connsiteY8256" fmla="*/ 2875666 h 4687251"/>
              <a:gd name="connsiteX8257" fmla="*/ 6971761 w 8079933"/>
              <a:gd name="connsiteY8257" fmla="*/ 2871335 h 4687251"/>
              <a:gd name="connsiteX8258" fmla="*/ 6969482 w 8079933"/>
              <a:gd name="connsiteY8258" fmla="*/ 2867654 h 4687251"/>
              <a:gd name="connsiteX8259" fmla="*/ 6968288 w 8079933"/>
              <a:gd name="connsiteY8259" fmla="*/ 2862999 h 4687251"/>
              <a:gd name="connsiteX8260" fmla="*/ 6964925 w 8079933"/>
              <a:gd name="connsiteY8260" fmla="*/ 2858234 h 4687251"/>
              <a:gd name="connsiteX8261" fmla="*/ 6961777 w 8079933"/>
              <a:gd name="connsiteY8261" fmla="*/ 2860076 h 4687251"/>
              <a:gd name="connsiteX8262" fmla="*/ 6955917 w 8079933"/>
              <a:gd name="connsiteY8262" fmla="*/ 2870361 h 4687251"/>
              <a:gd name="connsiteX8263" fmla="*/ 6954940 w 8079933"/>
              <a:gd name="connsiteY8263" fmla="*/ 2874150 h 4687251"/>
              <a:gd name="connsiteX8264" fmla="*/ 6959064 w 8079933"/>
              <a:gd name="connsiteY8264" fmla="*/ 2877290 h 4687251"/>
              <a:gd name="connsiteX8265" fmla="*/ 6961669 w 8079933"/>
              <a:gd name="connsiteY8265" fmla="*/ 2883570 h 4687251"/>
              <a:gd name="connsiteX8266" fmla="*/ 6963839 w 8079933"/>
              <a:gd name="connsiteY8266" fmla="*/ 2886601 h 4687251"/>
              <a:gd name="connsiteX8267" fmla="*/ 6963622 w 8079933"/>
              <a:gd name="connsiteY8267" fmla="*/ 2891474 h 4687251"/>
              <a:gd name="connsiteX8268" fmla="*/ 6957002 w 8079933"/>
              <a:gd name="connsiteY8268" fmla="*/ 2899919 h 4687251"/>
              <a:gd name="connsiteX8269" fmla="*/ 6953638 w 8079933"/>
              <a:gd name="connsiteY8269" fmla="*/ 2902409 h 4687251"/>
              <a:gd name="connsiteX8270" fmla="*/ 6952119 w 8079933"/>
              <a:gd name="connsiteY8270" fmla="*/ 2900461 h 4687251"/>
              <a:gd name="connsiteX8271" fmla="*/ 6950600 w 8079933"/>
              <a:gd name="connsiteY8271" fmla="*/ 2896021 h 4687251"/>
              <a:gd name="connsiteX8272" fmla="*/ 6952336 w 8079933"/>
              <a:gd name="connsiteY8272" fmla="*/ 2893314 h 4687251"/>
              <a:gd name="connsiteX8273" fmla="*/ 6950817 w 8079933"/>
              <a:gd name="connsiteY8273" fmla="*/ 2891365 h 4687251"/>
              <a:gd name="connsiteX8274" fmla="*/ 6948321 w 8079933"/>
              <a:gd name="connsiteY8274" fmla="*/ 2893098 h 4687251"/>
              <a:gd name="connsiteX8275" fmla="*/ 6947778 w 8079933"/>
              <a:gd name="connsiteY8275" fmla="*/ 2895696 h 4687251"/>
              <a:gd name="connsiteX8276" fmla="*/ 6943872 w 8079933"/>
              <a:gd name="connsiteY8276" fmla="*/ 2897970 h 4687251"/>
              <a:gd name="connsiteX8277" fmla="*/ 6938880 w 8079933"/>
              <a:gd name="connsiteY8277" fmla="*/ 2895913 h 4687251"/>
              <a:gd name="connsiteX8278" fmla="*/ 6934756 w 8079933"/>
              <a:gd name="connsiteY8278" fmla="*/ 2892123 h 4687251"/>
              <a:gd name="connsiteX8279" fmla="*/ 6929439 w 8079933"/>
              <a:gd name="connsiteY8279" fmla="*/ 2892123 h 4687251"/>
              <a:gd name="connsiteX8280" fmla="*/ 6924881 w 8079933"/>
              <a:gd name="connsiteY8280" fmla="*/ 2886927 h 4687251"/>
              <a:gd name="connsiteX8281" fmla="*/ 6924122 w 8079933"/>
              <a:gd name="connsiteY8281" fmla="*/ 2882920 h 4687251"/>
              <a:gd name="connsiteX8282" fmla="*/ 6920757 w 8079933"/>
              <a:gd name="connsiteY8282" fmla="*/ 2878481 h 4687251"/>
              <a:gd name="connsiteX8283" fmla="*/ 6921843 w 8079933"/>
              <a:gd name="connsiteY8283" fmla="*/ 2875450 h 4687251"/>
              <a:gd name="connsiteX8284" fmla="*/ 6921300 w 8079933"/>
              <a:gd name="connsiteY8284" fmla="*/ 2871768 h 4687251"/>
              <a:gd name="connsiteX8285" fmla="*/ 6919021 w 8079933"/>
              <a:gd name="connsiteY8285" fmla="*/ 2869062 h 4687251"/>
              <a:gd name="connsiteX8286" fmla="*/ 6921191 w 8079933"/>
              <a:gd name="connsiteY8286" fmla="*/ 2866354 h 4687251"/>
              <a:gd name="connsiteX8287" fmla="*/ 6920975 w 8079933"/>
              <a:gd name="connsiteY8287" fmla="*/ 2863865 h 4687251"/>
              <a:gd name="connsiteX8288" fmla="*/ 6922820 w 8079933"/>
              <a:gd name="connsiteY8288" fmla="*/ 2862890 h 4687251"/>
              <a:gd name="connsiteX8289" fmla="*/ 6927052 w 8079933"/>
              <a:gd name="connsiteY8289" fmla="*/ 2864406 h 4687251"/>
              <a:gd name="connsiteX8290" fmla="*/ 6923253 w 8079933"/>
              <a:gd name="connsiteY8290" fmla="*/ 2860725 h 4687251"/>
              <a:gd name="connsiteX8291" fmla="*/ 6922277 w 8079933"/>
              <a:gd name="connsiteY8291" fmla="*/ 2856719 h 4687251"/>
              <a:gd name="connsiteX8292" fmla="*/ 6917718 w 8079933"/>
              <a:gd name="connsiteY8292" fmla="*/ 2852929 h 4687251"/>
              <a:gd name="connsiteX8293" fmla="*/ 6913704 w 8079933"/>
              <a:gd name="connsiteY8293" fmla="*/ 2852172 h 4687251"/>
              <a:gd name="connsiteX8294" fmla="*/ 6909146 w 8079933"/>
              <a:gd name="connsiteY8294" fmla="*/ 2848166 h 4687251"/>
              <a:gd name="connsiteX8295" fmla="*/ 6906976 w 8079933"/>
              <a:gd name="connsiteY8295" fmla="*/ 2848057 h 4687251"/>
              <a:gd name="connsiteX8296" fmla="*/ 6905023 w 8079933"/>
              <a:gd name="connsiteY8296" fmla="*/ 2850114 h 4687251"/>
              <a:gd name="connsiteX8297" fmla="*/ 6906107 w 8079933"/>
              <a:gd name="connsiteY8297" fmla="*/ 2852280 h 4687251"/>
              <a:gd name="connsiteX8298" fmla="*/ 6904480 w 8079933"/>
              <a:gd name="connsiteY8298" fmla="*/ 2854337 h 4687251"/>
              <a:gd name="connsiteX8299" fmla="*/ 6907084 w 8079933"/>
              <a:gd name="connsiteY8299" fmla="*/ 2858018 h 4687251"/>
              <a:gd name="connsiteX8300" fmla="*/ 6905131 w 8079933"/>
              <a:gd name="connsiteY8300" fmla="*/ 2857802 h 4687251"/>
              <a:gd name="connsiteX8301" fmla="*/ 6901333 w 8079933"/>
              <a:gd name="connsiteY8301" fmla="*/ 2854986 h 4687251"/>
              <a:gd name="connsiteX8302" fmla="*/ 6898837 w 8079933"/>
              <a:gd name="connsiteY8302" fmla="*/ 2855311 h 4687251"/>
              <a:gd name="connsiteX8303" fmla="*/ 6900030 w 8079933"/>
              <a:gd name="connsiteY8303" fmla="*/ 2852388 h 4687251"/>
              <a:gd name="connsiteX8304" fmla="*/ 6897644 w 8079933"/>
              <a:gd name="connsiteY8304" fmla="*/ 2851522 h 4687251"/>
              <a:gd name="connsiteX8305" fmla="*/ 6895799 w 8079933"/>
              <a:gd name="connsiteY8305" fmla="*/ 2852929 h 4687251"/>
              <a:gd name="connsiteX8306" fmla="*/ 6895473 w 8079933"/>
              <a:gd name="connsiteY8306" fmla="*/ 2857260 h 4687251"/>
              <a:gd name="connsiteX8307" fmla="*/ 6893086 w 8079933"/>
              <a:gd name="connsiteY8307" fmla="*/ 2855852 h 4687251"/>
              <a:gd name="connsiteX8308" fmla="*/ 6890915 w 8079933"/>
              <a:gd name="connsiteY8308" fmla="*/ 2857044 h 4687251"/>
              <a:gd name="connsiteX8309" fmla="*/ 6889505 w 8079933"/>
              <a:gd name="connsiteY8309" fmla="*/ 2855636 h 4687251"/>
              <a:gd name="connsiteX8310" fmla="*/ 6890481 w 8079933"/>
              <a:gd name="connsiteY8310" fmla="*/ 2850764 h 4687251"/>
              <a:gd name="connsiteX8311" fmla="*/ 6887334 w 8079933"/>
              <a:gd name="connsiteY8311" fmla="*/ 2847732 h 4687251"/>
              <a:gd name="connsiteX8312" fmla="*/ 6884730 w 8079933"/>
              <a:gd name="connsiteY8312" fmla="*/ 2848923 h 4687251"/>
              <a:gd name="connsiteX8313" fmla="*/ 6882125 w 8079933"/>
              <a:gd name="connsiteY8313" fmla="*/ 2854770 h 4687251"/>
              <a:gd name="connsiteX8314" fmla="*/ 6879412 w 8079933"/>
              <a:gd name="connsiteY8314" fmla="*/ 2857152 h 4687251"/>
              <a:gd name="connsiteX8315" fmla="*/ 6875831 w 8079933"/>
              <a:gd name="connsiteY8315" fmla="*/ 2867221 h 4687251"/>
              <a:gd name="connsiteX8316" fmla="*/ 6873878 w 8079933"/>
              <a:gd name="connsiteY8316" fmla="*/ 2870361 h 4687251"/>
              <a:gd name="connsiteX8317" fmla="*/ 6868886 w 8079933"/>
              <a:gd name="connsiteY8317" fmla="*/ 2865056 h 4687251"/>
              <a:gd name="connsiteX8318" fmla="*/ 6872142 w 8079933"/>
              <a:gd name="connsiteY8318" fmla="*/ 2858343 h 4687251"/>
              <a:gd name="connsiteX8319" fmla="*/ 6873552 w 8079933"/>
              <a:gd name="connsiteY8319" fmla="*/ 2851413 h 4687251"/>
              <a:gd name="connsiteX8320" fmla="*/ 6871925 w 8079933"/>
              <a:gd name="connsiteY8320" fmla="*/ 2848057 h 4687251"/>
              <a:gd name="connsiteX8321" fmla="*/ 6876265 w 8079933"/>
              <a:gd name="connsiteY8321" fmla="*/ 2842860 h 4687251"/>
              <a:gd name="connsiteX8322" fmla="*/ 6880932 w 8079933"/>
              <a:gd name="connsiteY8322" fmla="*/ 2841669 h 4687251"/>
              <a:gd name="connsiteX8323" fmla="*/ 6884404 w 8079933"/>
              <a:gd name="connsiteY8323" fmla="*/ 2838205 h 4687251"/>
              <a:gd name="connsiteX8324" fmla="*/ 6888853 w 8079933"/>
              <a:gd name="connsiteY8324" fmla="*/ 2839612 h 4687251"/>
              <a:gd name="connsiteX8325" fmla="*/ 6895581 w 8079933"/>
              <a:gd name="connsiteY8325" fmla="*/ 2838205 h 4687251"/>
              <a:gd name="connsiteX8326" fmla="*/ 6893519 w 8079933"/>
              <a:gd name="connsiteY8326" fmla="*/ 2834199 h 4687251"/>
              <a:gd name="connsiteX8327" fmla="*/ 6895690 w 8079933"/>
              <a:gd name="connsiteY8327" fmla="*/ 2829976 h 4687251"/>
              <a:gd name="connsiteX8328" fmla="*/ 6901224 w 8079933"/>
              <a:gd name="connsiteY8328" fmla="*/ 2827594 h 4687251"/>
              <a:gd name="connsiteX8329" fmla="*/ 6904046 w 8079933"/>
              <a:gd name="connsiteY8329" fmla="*/ 2823371 h 4687251"/>
              <a:gd name="connsiteX8330" fmla="*/ 6907844 w 8079933"/>
              <a:gd name="connsiteY8330" fmla="*/ 2823046 h 4687251"/>
              <a:gd name="connsiteX8331" fmla="*/ 6914138 w 8079933"/>
              <a:gd name="connsiteY8331" fmla="*/ 2828460 h 4687251"/>
              <a:gd name="connsiteX8332" fmla="*/ 6914464 w 8079933"/>
              <a:gd name="connsiteY8332" fmla="*/ 2836364 h 4687251"/>
              <a:gd name="connsiteX8333" fmla="*/ 6909580 w 8079933"/>
              <a:gd name="connsiteY8333" fmla="*/ 2843835 h 4687251"/>
              <a:gd name="connsiteX8334" fmla="*/ 6913812 w 8079933"/>
              <a:gd name="connsiteY8334" fmla="*/ 2839612 h 4687251"/>
              <a:gd name="connsiteX8335" fmla="*/ 6918370 w 8079933"/>
              <a:gd name="connsiteY8335" fmla="*/ 2838529 h 4687251"/>
              <a:gd name="connsiteX8336" fmla="*/ 6923796 w 8079933"/>
              <a:gd name="connsiteY8336" fmla="*/ 2835715 h 4687251"/>
              <a:gd name="connsiteX8337" fmla="*/ 6926400 w 8079933"/>
              <a:gd name="connsiteY8337" fmla="*/ 2827594 h 4687251"/>
              <a:gd name="connsiteX8338" fmla="*/ 6931392 w 8079933"/>
              <a:gd name="connsiteY8338" fmla="*/ 2825537 h 4687251"/>
              <a:gd name="connsiteX8339" fmla="*/ 6933779 w 8079933"/>
              <a:gd name="connsiteY8339" fmla="*/ 2830842 h 4687251"/>
              <a:gd name="connsiteX8340" fmla="*/ 6936710 w 8079933"/>
              <a:gd name="connsiteY8340" fmla="*/ 2829434 h 4687251"/>
              <a:gd name="connsiteX8341" fmla="*/ 6937252 w 8079933"/>
              <a:gd name="connsiteY8341" fmla="*/ 2825645 h 4687251"/>
              <a:gd name="connsiteX8342" fmla="*/ 6935407 w 8079933"/>
              <a:gd name="connsiteY8342" fmla="*/ 2824238 h 4687251"/>
              <a:gd name="connsiteX8343" fmla="*/ 6937795 w 8079933"/>
              <a:gd name="connsiteY8343" fmla="*/ 2815034 h 4687251"/>
              <a:gd name="connsiteX8344" fmla="*/ 6942895 w 8079933"/>
              <a:gd name="connsiteY8344" fmla="*/ 2817092 h 4687251"/>
              <a:gd name="connsiteX8345" fmla="*/ 6945825 w 8079933"/>
              <a:gd name="connsiteY8345" fmla="*/ 2819258 h 4687251"/>
              <a:gd name="connsiteX8346" fmla="*/ 6947019 w 8079933"/>
              <a:gd name="connsiteY8346" fmla="*/ 2817092 h 4687251"/>
              <a:gd name="connsiteX8347" fmla="*/ 6947019 w 8079933"/>
              <a:gd name="connsiteY8347" fmla="*/ 2810920 h 4687251"/>
              <a:gd name="connsiteX8348" fmla="*/ 6948755 w 8079933"/>
              <a:gd name="connsiteY8348" fmla="*/ 2810487 h 4687251"/>
              <a:gd name="connsiteX8349" fmla="*/ 6952444 w 8079933"/>
              <a:gd name="connsiteY8349" fmla="*/ 2814493 h 4687251"/>
              <a:gd name="connsiteX8350" fmla="*/ 6952553 w 8079933"/>
              <a:gd name="connsiteY8350" fmla="*/ 2810920 h 4687251"/>
              <a:gd name="connsiteX8351" fmla="*/ 6950491 w 8079933"/>
              <a:gd name="connsiteY8351" fmla="*/ 2801609 h 4687251"/>
              <a:gd name="connsiteX8352" fmla="*/ 6340844 w 8079933"/>
              <a:gd name="connsiteY8352" fmla="*/ 2796088 h 4687251"/>
              <a:gd name="connsiteX8353" fmla="*/ 6339651 w 8079933"/>
              <a:gd name="connsiteY8353" fmla="*/ 2798578 h 4687251"/>
              <a:gd name="connsiteX8354" fmla="*/ 6336504 w 8079933"/>
              <a:gd name="connsiteY8354" fmla="*/ 2797712 h 4687251"/>
              <a:gd name="connsiteX8355" fmla="*/ 4303414 w 8079933"/>
              <a:gd name="connsiteY8355" fmla="*/ 2794911 h 4687251"/>
              <a:gd name="connsiteX8356" fmla="*/ 4304312 w 8079933"/>
              <a:gd name="connsiteY8356" fmla="*/ 2795004 h 4687251"/>
              <a:gd name="connsiteX8357" fmla="*/ 4306917 w 8079933"/>
              <a:gd name="connsiteY8357" fmla="*/ 2796520 h 4687251"/>
              <a:gd name="connsiteX8358" fmla="*/ 4307434 w 8079933"/>
              <a:gd name="connsiteY8358" fmla="*/ 2796606 h 4687251"/>
              <a:gd name="connsiteX8359" fmla="*/ 4306917 w 8079933"/>
              <a:gd name="connsiteY8359" fmla="*/ 2796520 h 4687251"/>
              <a:gd name="connsiteX8360" fmla="*/ 4304313 w 8079933"/>
              <a:gd name="connsiteY8360" fmla="*/ 2795004 h 4687251"/>
              <a:gd name="connsiteX8361" fmla="*/ 4260905 w 8079933"/>
              <a:gd name="connsiteY8361" fmla="*/ 2794788 h 4687251"/>
              <a:gd name="connsiteX8362" fmla="*/ 4260037 w 8079933"/>
              <a:gd name="connsiteY8362" fmla="*/ 2800310 h 4687251"/>
              <a:gd name="connsiteX8363" fmla="*/ 4255914 w 8079933"/>
              <a:gd name="connsiteY8363" fmla="*/ 2805507 h 4687251"/>
              <a:gd name="connsiteX8364" fmla="*/ 4249403 w 8079933"/>
              <a:gd name="connsiteY8364" fmla="*/ 2807347 h 4687251"/>
              <a:gd name="connsiteX8365" fmla="*/ 4245930 w 8079933"/>
              <a:gd name="connsiteY8365" fmla="*/ 2810595 h 4687251"/>
              <a:gd name="connsiteX8366" fmla="*/ 4245930 w 8079933"/>
              <a:gd name="connsiteY8366" fmla="*/ 2810596 h 4687251"/>
              <a:gd name="connsiteX8367" fmla="*/ 4249403 w 8079933"/>
              <a:gd name="connsiteY8367" fmla="*/ 2807348 h 4687251"/>
              <a:gd name="connsiteX8368" fmla="*/ 4255914 w 8079933"/>
              <a:gd name="connsiteY8368" fmla="*/ 2805507 h 4687251"/>
              <a:gd name="connsiteX8369" fmla="*/ 4260037 w 8079933"/>
              <a:gd name="connsiteY8369" fmla="*/ 2800310 h 4687251"/>
              <a:gd name="connsiteX8370" fmla="*/ 4260905 w 8079933"/>
              <a:gd name="connsiteY8370" fmla="*/ 2794789 h 4687251"/>
              <a:gd name="connsiteX8371" fmla="*/ 4287599 w 8079933"/>
              <a:gd name="connsiteY8371" fmla="*/ 2794749 h 4687251"/>
              <a:gd name="connsiteX8372" fmla="*/ 4288252 w 8079933"/>
              <a:gd name="connsiteY8372" fmla="*/ 2795004 h 4687251"/>
              <a:gd name="connsiteX8373" fmla="*/ 4288252 w 8079933"/>
              <a:gd name="connsiteY8373" fmla="*/ 2795004 h 4687251"/>
              <a:gd name="connsiteX8374" fmla="*/ 3755072 w 8079933"/>
              <a:gd name="connsiteY8374" fmla="*/ 2794401 h 4687251"/>
              <a:gd name="connsiteX8375" fmla="*/ 3755977 w 8079933"/>
              <a:gd name="connsiteY8375" fmla="*/ 2804641 h 4687251"/>
              <a:gd name="connsiteX8376" fmla="*/ 3755272 w 8079933"/>
              <a:gd name="connsiteY8376" fmla="*/ 2806373 h 4687251"/>
              <a:gd name="connsiteX8377" fmla="*/ 3755978 w 8079933"/>
              <a:gd name="connsiteY8377" fmla="*/ 2804640 h 4687251"/>
              <a:gd name="connsiteX8378" fmla="*/ 4033211 w 8079933"/>
              <a:gd name="connsiteY8378" fmla="*/ 2794040 h 4687251"/>
              <a:gd name="connsiteX8379" fmla="*/ 4030199 w 8079933"/>
              <a:gd name="connsiteY8379" fmla="*/ 2796845 h 4687251"/>
              <a:gd name="connsiteX8380" fmla="*/ 4029077 w 8079933"/>
              <a:gd name="connsiteY8380" fmla="*/ 2799830 h 4687251"/>
              <a:gd name="connsiteX8381" fmla="*/ 4030200 w 8079933"/>
              <a:gd name="connsiteY8381" fmla="*/ 2796845 h 4687251"/>
              <a:gd name="connsiteX8382" fmla="*/ 4306433 w 8079933"/>
              <a:gd name="connsiteY8382" fmla="*/ 2790763 h 4687251"/>
              <a:gd name="connsiteX8383" fmla="*/ 4310823 w 8079933"/>
              <a:gd name="connsiteY8383" fmla="*/ 2794463 h 4687251"/>
              <a:gd name="connsiteX8384" fmla="*/ 4312884 w 8079933"/>
              <a:gd name="connsiteY8384" fmla="*/ 2795221 h 4687251"/>
              <a:gd name="connsiteX8385" fmla="*/ 4312885 w 8079933"/>
              <a:gd name="connsiteY8385" fmla="*/ 2795221 h 4687251"/>
              <a:gd name="connsiteX8386" fmla="*/ 4310824 w 8079933"/>
              <a:gd name="connsiteY8386" fmla="*/ 2794463 h 4687251"/>
              <a:gd name="connsiteX8387" fmla="*/ 4445167 w 8079933"/>
              <a:gd name="connsiteY8387" fmla="*/ 2790132 h 4687251"/>
              <a:gd name="connsiteX8388" fmla="*/ 4442538 w 8079933"/>
              <a:gd name="connsiteY8388" fmla="*/ 2793083 h 4687251"/>
              <a:gd name="connsiteX8389" fmla="*/ 4445166 w 8079933"/>
              <a:gd name="connsiteY8389" fmla="*/ 2790133 h 4687251"/>
              <a:gd name="connsiteX8390" fmla="*/ 4447011 w 8079933"/>
              <a:gd name="connsiteY8390" fmla="*/ 2791324 h 4687251"/>
              <a:gd name="connsiteX8391" fmla="*/ 4449507 w 8079933"/>
              <a:gd name="connsiteY8391" fmla="*/ 2791107 h 4687251"/>
              <a:gd name="connsiteX8392" fmla="*/ 4449507 w 8079933"/>
              <a:gd name="connsiteY8392" fmla="*/ 2791107 h 4687251"/>
              <a:gd name="connsiteX8393" fmla="*/ 4447012 w 8079933"/>
              <a:gd name="connsiteY8393" fmla="*/ 2791323 h 4687251"/>
              <a:gd name="connsiteX8394" fmla="*/ 2213360 w 8079933"/>
              <a:gd name="connsiteY8394" fmla="*/ 2789265 h 4687251"/>
              <a:gd name="connsiteX8395" fmla="*/ 2212654 w 8079933"/>
              <a:gd name="connsiteY8395" fmla="*/ 2791648 h 4687251"/>
              <a:gd name="connsiteX8396" fmla="*/ 2214173 w 8079933"/>
              <a:gd name="connsiteY8396" fmla="*/ 2795762 h 4687251"/>
              <a:gd name="connsiteX8397" fmla="*/ 2214173 w 8079933"/>
              <a:gd name="connsiteY8397" fmla="*/ 2795762 h 4687251"/>
              <a:gd name="connsiteX8398" fmla="*/ 2212654 w 8079933"/>
              <a:gd name="connsiteY8398" fmla="*/ 2791647 h 4687251"/>
              <a:gd name="connsiteX8399" fmla="*/ 6945824 w 8079933"/>
              <a:gd name="connsiteY8399" fmla="*/ 2787101 h 4687251"/>
              <a:gd name="connsiteX8400" fmla="*/ 6948211 w 8079933"/>
              <a:gd name="connsiteY8400" fmla="*/ 2791431 h 4687251"/>
              <a:gd name="connsiteX8401" fmla="*/ 6948211 w 8079933"/>
              <a:gd name="connsiteY8401" fmla="*/ 2795004 h 4687251"/>
              <a:gd name="connsiteX8402" fmla="*/ 6944956 w 8079933"/>
              <a:gd name="connsiteY8402" fmla="*/ 2791215 h 4687251"/>
              <a:gd name="connsiteX8403" fmla="*/ 6966986 w 8079933"/>
              <a:gd name="connsiteY8403" fmla="*/ 2786776 h 4687251"/>
              <a:gd name="connsiteX8404" fmla="*/ 6969264 w 8079933"/>
              <a:gd name="connsiteY8404" fmla="*/ 2791214 h 4687251"/>
              <a:gd name="connsiteX8405" fmla="*/ 6971001 w 8079933"/>
              <a:gd name="connsiteY8405" fmla="*/ 2795761 h 4687251"/>
              <a:gd name="connsiteX8406" fmla="*/ 6967637 w 8079933"/>
              <a:gd name="connsiteY8406" fmla="*/ 2796952 h 4687251"/>
              <a:gd name="connsiteX8407" fmla="*/ 6965358 w 8079933"/>
              <a:gd name="connsiteY8407" fmla="*/ 2793921 h 4687251"/>
              <a:gd name="connsiteX8408" fmla="*/ 6966118 w 8079933"/>
              <a:gd name="connsiteY8408" fmla="*/ 2791972 h 4687251"/>
              <a:gd name="connsiteX8409" fmla="*/ 6926725 w 8079933"/>
              <a:gd name="connsiteY8409" fmla="*/ 2786343 h 4687251"/>
              <a:gd name="connsiteX8410" fmla="*/ 6929329 w 8079933"/>
              <a:gd name="connsiteY8410" fmla="*/ 2788725 h 4687251"/>
              <a:gd name="connsiteX8411" fmla="*/ 6929764 w 8079933"/>
              <a:gd name="connsiteY8411" fmla="*/ 2793814 h 4687251"/>
              <a:gd name="connsiteX8412" fmla="*/ 6927918 w 8079933"/>
              <a:gd name="connsiteY8412" fmla="*/ 2796953 h 4687251"/>
              <a:gd name="connsiteX8413" fmla="*/ 6920756 w 8079933"/>
              <a:gd name="connsiteY8413" fmla="*/ 2800310 h 4687251"/>
              <a:gd name="connsiteX8414" fmla="*/ 6914788 w 8079933"/>
              <a:gd name="connsiteY8414" fmla="*/ 2800635 h 4687251"/>
              <a:gd name="connsiteX8415" fmla="*/ 6915222 w 8079933"/>
              <a:gd name="connsiteY8415" fmla="*/ 2798361 h 4687251"/>
              <a:gd name="connsiteX8416" fmla="*/ 6912943 w 8079933"/>
              <a:gd name="connsiteY8416" fmla="*/ 2795221 h 4687251"/>
              <a:gd name="connsiteX8417" fmla="*/ 6915765 w 8079933"/>
              <a:gd name="connsiteY8417" fmla="*/ 2791323 h 4687251"/>
              <a:gd name="connsiteX8418" fmla="*/ 6924012 w 8079933"/>
              <a:gd name="connsiteY8418" fmla="*/ 2786451 h 4687251"/>
              <a:gd name="connsiteX8419" fmla="*/ 4456669 w 8079933"/>
              <a:gd name="connsiteY8419" fmla="*/ 2783095 h 4687251"/>
              <a:gd name="connsiteX8420" fmla="*/ 4453848 w 8079933"/>
              <a:gd name="connsiteY8420" fmla="*/ 2784177 h 4687251"/>
              <a:gd name="connsiteX8421" fmla="*/ 4453848 w 8079933"/>
              <a:gd name="connsiteY8421" fmla="*/ 2784178 h 4687251"/>
              <a:gd name="connsiteX8422" fmla="*/ 4456669 w 8079933"/>
              <a:gd name="connsiteY8422" fmla="*/ 2783095 h 4687251"/>
              <a:gd name="connsiteX8423" fmla="*/ 4034270 w 8079933"/>
              <a:gd name="connsiteY8423" fmla="*/ 2782482 h 4687251"/>
              <a:gd name="connsiteX8424" fmla="*/ 4033237 w 8079933"/>
              <a:gd name="connsiteY8424" fmla="*/ 2784178 h 4687251"/>
              <a:gd name="connsiteX8425" fmla="*/ 4032912 w 8079933"/>
              <a:gd name="connsiteY8425" fmla="*/ 2786343 h 4687251"/>
              <a:gd name="connsiteX8426" fmla="*/ 4038012 w 8079933"/>
              <a:gd name="connsiteY8426" fmla="*/ 2791865 h 4687251"/>
              <a:gd name="connsiteX8427" fmla="*/ 4038012 w 8079933"/>
              <a:gd name="connsiteY8427" fmla="*/ 2791864 h 4687251"/>
              <a:gd name="connsiteX8428" fmla="*/ 4032913 w 8079933"/>
              <a:gd name="connsiteY8428" fmla="*/ 2786343 h 4687251"/>
              <a:gd name="connsiteX8429" fmla="*/ 4033238 w 8079933"/>
              <a:gd name="connsiteY8429" fmla="*/ 2784177 h 4687251"/>
              <a:gd name="connsiteX8430" fmla="*/ 6436665 w 8079933"/>
              <a:gd name="connsiteY8430" fmla="*/ 2780496 h 4687251"/>
              <a:gd name="connsiteX8431" fmla="*/ 6438075 w 8079933"/>
              <a:gd name="connsiteY8431" fmla="*/ 2783743 h 4687251"/>
              <a:gd name="connsiteX8432" fmla="*/ 6439594 w 8079933"/>
              <a:gd name="connsiteY8432" fmla="*/ 2784394 h 4687251"/>
              <a:gd name="connsiteX8433" fmla="*/ 6438510 w 8079933"/>
              <a:gd name="connsiteY8433" fmla="*/ 2791539 h 4687251"/>
              <a:gd name="connsiteX8434" fmla="*/ 6435905 w 8079933"/>
              <a:gd name="connsiteY8434" fmla="*/ 2792839 h 4687251"/>
              <a:gd name="connsiteX8435" fmla="*/ 6433843 w 8079933"/>
              <a:gd name="connsiteY8435" fmla="*/ 2788941 h 4687251"/>
              <a:gd name="connsiteX8436" fmla="*/ 6434928 w 8079933"/>
              <a:gd name="connsiteY8436" fmla="*/ 2786451 h 4687251"/>
              <a:gd name="connsiteX8437" fmla="*/ 6432215 w 8079933"/>
              <a:gd name="connsiteY8437" fmla="*/ 2783202 h 4687251"/>
              <a:gd name="connsiteX8438" fmla="*/ 3774099 w 8079933"/>
              <a:gd name="connsiteY8438" fmla="*/ 2779197 h 4687251"/>
              <a:gd name="connsiteX8439" fmla="*/ 3771060 w 8079933"/>
              <a:gd name="connsiteY8439" fmla="*/ 2779413 h 4687251"/>
              <a:gd name="connsiteX8440" fmla="*/ 3764116 w 8079933"/>
              <a:gd name="connsiteY8440" fmla="*/ 2783310 h 4687251"/>
              <a:gd name="connsiteX8441" fmla="*/ 3764116 w 8079933"/>
              <a:gd name="connsiteY8441" fmla="*/ 2783312 h 4687251"/>
              <a:gd name="connsiteX8442" fmla="*/ 3762177 w 8079933"/>
              <a:gd name="connsiteY8442" fmla="*/ 2784494 h 4687251"/>
              <a:gd name="connsiteX8443" fmla="*/ 3762218 w 8079933"/>
              <a:gd name="connsiteY8443" fmla="*/ 2784470 h 4687251"/>
              <a:gd name="connsiteX8444" fmla="*/ 3764117 w 8079933"/>
              <a:gd name="connsiteY8444" fmla="*/ 2783312 h 4687251"/>
              <a:gd name="connsiteX8445" fmla="*/ 3770978 w 8079933"/>
              <a:gd name="connsiteY8445" fmla="*/ 2779461 h 4687251"/>
              <a:gd name="connsiteX8446" fmla="*/ 3771061 w 8079933"/>
              <a:gd name="connsiteY8446" fmla="*/ 2779414 h 4687251"/>
              <a:gd name="connsiteX8447" fmla="*/ 3774100 w 8079933"/>
              <a:gd name="connsiteY8447" fmla="*/ 2779197 h 4687251"/>
              <a:gd name="connsiteX8448" fmla="*/ 3791787 w 8079933"/>
              <a:gd name="connsiteY8448" fmla="*/ 2778764 h 4687251"/>
              <a:gd name="connsiteX8449" fmla="*/ 3791570 w 8079933"/>
              <a:gd name="connsiteY8449" fmla="*/ 2780821 h 4687251"/>
              <a:gd name="connsiteX8450" fmla="*/ 3789508 w 8079933"/>
              <a:gd name="connsiteY8450" fmla="*/ 2782662 h 4687251"/>
              <a:gd name="connsiteX8451" fmla="*/ 3789509 w 8079933"/>
              <a:gd name="connsiteY8451" fmla="*/ 2782662 h 4687251"/>
              <a:gd name="connsiteX8452" fmla="*/ 3791571 w 8079933"/>
              <a:gd name="connsiteY8452" fmla="*/ 2780821 h 4687251"/>
              <a:gd name="connsiteX8453" fmla="*/ 3791788 w 8079933"/>
              <a:gd name="connsiteY8453" fmla="*/ 2778764 h 4687251"/>
              <a:gd name="connsiteX8454" fmla="*/ 6956785 w 8079933"/>
              <a:gd name="connsiteY8454" fmla="*/ 2778223 h 4687251"/>
              <a:gd name="connsiteX8455" fmla="*/ 6957978 w 8079933"/>
              <a:gd name="connsiteY8455" fmla="*/ 2780929 h 4687251"/>
              <a:gd name="connsiteX8456" fmla="*/ 6956242 w 8079933"/>
              <a:gd name="connsiteY8456" fmla="*/ 2782012 h 4687251"/>
              <a:gd name="connsiteX8457" fmla="*/ 6956242 w 8079933"/>
              <a:gd name="connsiteY8457" fmla="*/ 2786451 h 4687251"/>
              <a:gd name="connsiteX8458" fmla="*/ 6959498 w 8079933"/>
              <a:gd name="connsiteY8458" fmla="*/ 2790457 h 4687251"/>
              <a:gd name="connsiteX8459" fmla="*/ 6958412 w 8079933"/>
              <a:gd name="connsiteY8459" fmla="*/ 2795870 h 4687251"/>
              <a:gd name="connsiteX8460" fmla="*/ 6956567 w 8079933"/>
              <a:gd name="connsiteY8460" fmla="*/ 2795546 h 4687251"/>
              <a:gd name="connsiteX8461" fmla="*/ 6955590 w 8079933"/>
              <a:gd name="connsiteY8461" fmla="*/ 2793272 h 4687251"/>
              <a:gd name="connsiteX8462" fmla="*/ 6956242 w 8079933"/>
              <a:gd name="connsiteY8462" fmla="*/ 2790349 h 4687251"/>
              <a:gd name="connsiteX8463" fmla="*/ 6953529 w 8079933"/>
              <a:gd name="connsiteY8463" fmla="*/ 2784502 h 4687251"/>
              <a:gd name="connsiteX8464" fmla="*/ 6954397 w 8079933"/>
              <a:gd name="connsiteY8464" fmla="*/ 2779197 h 4687251"/>
              <a:gd name="connsiteX8465" fmla="*/ 3799601 w 8079933"/>
              <a:gd name="connsiteY8465" fmla="*/ 2777140 h 4687251"/>
              <a:gd name="connsiteX8466" fmla="*/ 3797915 w 8079933"/>
              <a:gd name="connsiteY8466" fmla="*/ 2777490 h 4687251"/>
              <a:gd name="connsiteX8467" fmla="*/ 3799601 w 8079933"/>
              <a:gd name="connsiteY8467" fmla="*/ 2777140 h 4687251"/>
              <a:gd name="connsiteX8468" fmla="*/ 3945448 w 8079933"/>
              <a:gd name="connsiteY8468" fmla="*/ 2775083 h 4687251"/>
              <a:gd name="connsiteX8469" fmla="*/ 3945448 w 8079933"/>
              <a:gd name="connsiteY8469" fmla="*/ 2775083 h 4687251"/>
              <a:gd name="connsiteX8470" fmla="*/ 3950657 w 8079933"/>
              <a:gd name="connsiteY8470" fmla="*/ 2779848 h 4687251"/>
              <a:gd name="connsiteX8471" fmla="*/ 3952719 w 8079933"/>
              <a:gd name="connsiteY8471" fmla="*/ 2782771 h 4687251"/>
              <a:gd name="connsiteX8472" fmla="*/ 3957710 w 8079933"/>
              <a:gd name="connsiteY8472" fmla="*/ 2786451 h 4687251"/>
              <a:gd name="connsiteX8473" fmla="*/ 3957710 w 8079933"/>
              <a:gd name="connsiteY8473" fmla="*/ 2786451 h 4687251"/>
              <a:gd name="connsiteX8474" fmla="*/ 3952718 w 8079933"/>
              <a:gd name="connsiteY8474" fmla="*/ 2782770 h 4687251"/>
              <a:gd name="connsiteX8475" fmla="*/ 3950656 w 8079933"/>
              <a:gd name="connsiteY8475" fmla="*/ 2779847 h 4687251"/>
              <a:gd name="connsiteX8476" fmla="*/ 4485359 w 8079933"/>
              <a:gd name="connsiteY8476" fmla="*/ 2774305 h 4687251"/>
              <a:gd name="connsiteX8477" fmla="*/ 4484774 w 8079933"/>
              <a:gd name="connsiteY8477" fmla="*/ 2775083 h 4687251"/>
              <a:gd name="connsiteX8478" fmla="*/ 4489875 w 8079933"/>
              <a:gd name="connsiteY8478" fmla="*/ 2779306 h 4687251"/>
              <a:gd name="connsiteX8479" fmla="*/ 4490743 w 8079933"/>
              <a:gd name="connsiteY8479" fmla="*/ 2781796 h 4687251"/>
              <a:gd name="connsiteX8480" fmla="*/ 4497146 w 8079933"/>
              <a:gd name="connsiteY8480" fmla="*/ 2790241 h 4687251"/>
              <a:gd name="connsiteX8481" fmla="*/ 4501269 w 8079933"/>
              <a:gd name="connsiteY8481" fmla="*/ 2799552 h 4687251"/>
              <a:gd name="connsiteX8482" fmla="*/ 4503005 w 8079933"/>
              <a:gd name="connsiteY8482" fmla="*/ 2803125 h 4687251"/>
              <a:gd name="connsiteX8483" fmla="*/ 4503006 w 8079933"/>
              <a:gd name="connsiteY8483" fmla="*/ 2803124 h 4687251"/>
              <a:gd name="connsiteX8484" fmla="*/ 4501270 w 8079933"/>
              <a:gd name="connsiteY8484" fmla="*/ 2799551 h 4687251"/>
              <a:gd name="connsiteX8485" fmla="*/ 4497146 w 8079933"/>
              <a:gd name="connsiteY8485" fmla="*/ 2790240 h 4687251"/>
              <a:gd name="connsiteX8486" fmla="*/ 4490743 w 8079933"/>
              <a:gd name="connsiteY8486" fmla="*/ 2781795 h 4687251"/>
              <a:gd name="connsiteX8487" fmla="*/ 4489875 w 8079933"/>
              <a:gd name="connsiteY8487" fmla="*/ 2779305 h 4687251"/>
              <a:gd name="connsiteX8488" fmla="*/ 4484775 w 8079933"/>
              <a:gd name="connsiteY8488" fmla="*/ 2775082 h 4687251"/>
              <a:gd name="connsiteX8489" fmla="*/ 6814520 w 8079933"/>
              <a:gd name="connsiteY8489" fmla="*/ 2773676 h 4687251"/>
              <a:gd name="connsiteX8490" fmla="*/ 6815931 w 8079933"/>
              <a:gd name="connsiteY8490" fmla="*/ 2775841 h 4687251"/>
              <a:gd name="connsiteX8491" fmla="*/ 6817776 w 8079933"/>
              <a:gd name="connsiteY8491" fmla="*/ 2777357 h 4687251"/>
              <a:gd name="connsiteX8492" fmla="*/ 6817668 w 8079933"/>
              <a:gd name="connsiteY8492" fmla="*/ 2780063 h 4687251"/>
              <a:gd name="connsiteX8493" fmla="*/ 6814086 w 8079933"/>
              <a:gd name="connsiteY8493" fmla="*/ 2780280 h 4687251"/>
              <a:gd name="connsiteX8494" fmla="*/ 6810722 w 8079933"/>
              <a:gd name="connsiteY8494" fmla="*/ 2779955 h 4687251"/>
              <a:gd name="connsiteX8495" fmla="*/ 6811915 w 8079933"/>
              <a:gd name="connsiteY8495" fmla="*/ 2776924 h 4687251"/>
              <a:gd name="connsiteX8496" fmla="*/ 6813761 w 8079933"/>
              <a:gd name="connsiteY8496" fmla="*/ 2775625 h 4687251"/>
              <a:gd name="connsiteX8497" fmla="*/ 4770297 w 8079933"/>
              <a:gd name="connsiteY8497" fmla="*/ 2772545 h 4687251"/>
              <a:gd name="connsiteX8498" fmla="*/ 4769848 w 8079933"/>
              <a:gd name="connsiteY8498" fmla="*/ 2772592 h 4687251"/>
              <a:gd name="connsiteX8499" fmla="*/ 4768980 w 8079933"/>
              <a:gd name="connsiteY8499" fmla="*/ 2775840 h 4687251"/>
              <a:gd name="connsiteX8500" fmla="*/ 4763879 w 8079933"/>
              <a:gd name="connsiteY8500" fmla="*/ 2782012 h 4687251"/>
              <a:gd name="connsiteX8501" fmla="*/ 4762034 w 8079933"/>
              <a:gd name="connsiteY8501" fmla="*/ 2786992 h 4687251"/>
              <a:gd name="connsiteX8502" fmla="*/ 4763771 w 8079933"/>
              <a:gd name="connsiteY8502" fmla="*/ 2789698 h 4687251"/>
              <a:gd name="connsiteX8503" fmla="*/ 4763879 w 8079933"/>
              <a:gd name="connsiteY8503" fmla="*/ 2794896 h 4687251"/>
              <a:gd name="connsiteX8504" fmla="*/ 4759973 w 8079933"/>
              <a:gd name="connsiteY8504" fmla="*/ 2800851 h 4687251"/>
              <a:gd name="connsiteX8505" fmla="*/ 4758237 w 8079933"/>
              <a:gd name="connsiteY8505" fmla="*/ 2807563 h 4687251"/>
              <a:gd name="connsiteX8506" fmla="*/ 4758316 w 8079933"/>
              <a:gd name="connsiteY8506" fmla="*/ 2808920 h 4687251"/>
              <a:gd name="connsiteX8507" fmla="*/ 4758317 w 8079933"/>
              <a:gd name="connsiteY8507" fmla="*/ 2808921 h 4687251"/>
              <a:gd name="connsiteX8508" fmla="*/ 4758238 w 8079933"/>
              <a:gd name="connsiteY8508" fmla="*/ 2807564 h 4687251"/>
              <a:gd name="connsiteX8509" fmla="*/ 4759974 w 8079933"/>
              <a:gd name="connsiteY8509" fmla="*/ 2800850 h 4687251"/>
              <a:gd name="connsiteX8510" fmla="*/ 4763881 w 8079933"/>
              <a:gd name="connsiteY8510" fmla="*/ 2794896 h 4687251"/>
              <a:gd name="connsiteX8511" fmla="*/ 4763772 w 8079933"/>
              <a:gd name="connsiteY8511" fmla="*/ 2789699 h 4687251"/>
              <a:gd name="connsiteX8512" fmla="*/ 4762036 w 8079933"/>
              <a:gd name="connsiteY8512" fmla="*/ 2786992 h 4687251"/>
              <a:gd name="connsiteX8513" fmla="*/ 4763881 w 8079933"/>
              <a:gd name="connsiteY8513" fmla="*/ 2782012 h 4687251"/>
              <a:gd name="connsiteX8514" fmla="*/ 4768981 w 8079933"/>
              <a:gd name="connsiteY8514" fmla="*/ 2775840 h 4687251"/>
              <a:gd name="connsiteX8515" fmla="*/ 4769849 w 8079933"/>
              <a:gd name="connsiteY8515" fmla="*/ 2772592 h 4687251"/>
              <a:gd name="connsiteX8516" fmla="*/ 6882775 w 8079933"/>
              <a:gd name="connsiteY8516" fmla="*/ 2772268 h 4687251"/>
              <a:gd name="connsiteX8517" fmla="*/ 6884511 w 8079933"/>
              <a:gd name="connsiteY8517" fmla="*/ 2773351 h 4687251"/>
              <a:gd name="connsiteX8518" fmla="*/ 6884295 w 8079933"/>
              <a:gd name="connsiteY8518" fmla="*/ 2776382 h 4687251"/>
              <a:gd name="connsiteX8519" fmla="*/ 6880172 w 8079933"/>
              <a:gd name="connsiteY8519" fmla="*/ 2780713 h 4687251"/>
              <a:gd name="connsiteX8520" fmla="*/ 6877350 w 8079933"/>
              <a:gd name="connsiteY8520" fmla="*/ 2778331 h 4687251"/>
              <a:gd name="connsiteX8521" fmla="*/ 6878869 w 8079933"/>
              <a:gd name="connsiteY8521" fmla="*/ 2773567 h 4687251"/>
              <a:gd name="connsiteX8522" fmla="*/ 6161793 w 8079933"/>
              <a:gd name="connsiteY8522" fmla="*/ 2771510 h 4687251"/>
              <a:gd name="connsiteX8523" fmla="*/ 6163312 w 8079933"/>
              <a:gd name="connsiteY8523" fmla="*/ 2777032 h 4687251"/>
              <a:gd name="connsiteX8524" fmla="*/ 6160924 w 8079933"/>
              <a:gd name="connsiteY8524" fmla="*/ 2783204 h 4687251"/>
              <a:gd name="connsiteX8525" fmla="*/ 6156258 w 8079933"/>
              <a:gd name="connsiteY8525" fmla="*/ 2783204 h 4687251"/>
              <a:gd name="connsiteX8526" fmla="*/ 6156258 w 8079933"/>
              <a:gd name="connsiteY8526" fmla="*/ 2779089 h 4687251"/>
              <a:gd name="connsiteX8527" fmla="*/ 6156258 w 8079933"/>
              <a:gd name="connsiteY8527" fmla="*/ 2773892 h 4687251"/>
              <a:gd name="connsiteX8528" fmla="*/ 4294872 w 8079933"/>
              <a:gd name="connsiteY8528" fmla="*/ 2771510 h 4687251"/>
              <a:gd name="connsiteX8529" fmla="*/ 4294871 w 8079933"/>
              <a:gd name="connsiteY8529" fmla="*/ 2771510 h 4687251"/>
              <a:gd name="connsiteX8530" fmla="*/ 4295088 w 8079933"/>
              <a:gd name="connsiteY8530" fmla="*/ 2776057 h 4687251"/>
              <a:gd name="connsiteX8531" fmla="*/ 4299320 w 8079933"/>
              <a:gd name="connsiteY8531" fmla="*/ 2782229 h 4687251"/>
              <a:gd name="connsiteX8532" fmla="*/ 4303118 w 8079933"/>
              <a:gd name="connsiteY8532" fmla="*/ 2783961 h 4687251"/>
              <a:gd name="connsiteX8533" fmla="*/ 4303625 w 8079933"/>
              <a:gd name="connsiteY8533" fmla="*/ 2785827 h 4687251"/>
              <a:gd name="connsiteX8534" fmla="*/ 4303118 w 8079933"/>
              <a:gd name="connsiteY8534" fmla="*/ 2783960 h 4687251"/>
              <a:gd name="connsiteX8535" fmla="*/ 4299320 w 8079933"/>
              <a:gd name="connsiteY8535" fmla="*/ 2782228 h 4687251"/>
              <a:gd name="connsiteX8536" fmla="*/ 4295088 w 8079933"/>
              <a:gd name="connsiteY8536" fmla="*/ 2776057 h 4687251"/>
              <a:gd name="connsiteX8537" fmla="*/ 2504563 w 8079933"/>
              <a:gd name="connsiteY8537" fmla="*/ 2771510 h 4687251"/>
              <a:gd name="connsiteX8538" fmla="*/ 2504889 w 8079933"/>
              <a:gd name="connsiteY8538" fmla="*/ 2773350 h 4687251"/>
              <a:gd name="connsiteX8539" fmla="*/ 2499463 w 8079933"/>
              <a:gd name="connsiteY8539" fmla="*/ 2778872 h 4687251"/>
              <a:gd name="connsiteX8540" fmla="*/ 2501959 w 8079933"/>
              <a:gd name="connsiteY8540" fmla="*/ 2783095 h 4687251"/>
              <a:gd name="connsiteX8541" fmla="*/ 2502068 w 8079933"/>
              <a:gd name="connsiteY8541" fmla="*/ 2788292 h 4687251"/>
              <a:gd name="connsiteX8542" fmla="*/ 2497184 w 8079933"/>
              <a:gd name="connsiteY8542" fmla="*/ 2792406 h 4687251"/>
              <a:gd name="connsiteX8543" fmla="*/ 2485464 w 8079933"/>
              <a:gd name="connsiteY8543" fmla="*/ 2794355 h 4687251"/>
              <a:gd name="connsiteX8544" fmla="*/ 2479930 w 8079933"/>
              <a:gd name="connsiteY8544" fmla="*/ 2792189 h 4687251"/>
              <a:gd name="connsiteX8545" fmla="*/ 2484922 w 8079933"/>
              <a:gd name="connsiteY8545" fmla="*/ 2790240 h 4687251"/>
              <a:gd name="connsiteX8546" fmla="*/ 2489588 w 8079933"/>
              <a:gd name="connsiteY8546" fmla="*/ 2786234 h 4687251"/>
              <a:gd name="connsiteX8547" fmla="*/ 2489263 w 8079933"/>
              <a:gd name="connsiteY8547" fmla="*/ 2781904 h 4687251"/>
              <a:gd name="connsiteX8548" fmla="*/ 2484596 w 8079933"/>
              <a:gd name="connsiteY8548" fmla="*/ 2777898 h 4687251"/>
              <a:gd name="connsiteX8549" fmla="*/ 2486115 w 8079933"/>
              <a:gd name="connsiteY8549" fmla="*/ 2775083 h 4687251"/>
              <a:gd name="connsiteX8550" fmla="*/ 2491432 w 8079933"/>
              <a:gd name="connsiteY8550" fmla="*/ 2773459 h 4687251"/>
              <a:gd name="connsiteX8551" fmla="*/ 2495774 w 8079933"/>
              <a:gd name="connsiteY8551" fmla="*/ 2775299 h 4687251"/>
              <a:gd name="connsiteX8552" fmla="*/ 6923253 w 8079933"/>
              <a:gd name="connsiteY8552" fmla="*/ 2771185 h 4687251"/>
              <a:gd name="connsiteX8553" fmla="*/ 6923144 w 8079933"/>
              <a:gd name="connsiteY8553" fmla="*/ 2775840 h 4687251"/>
              <a:gd name="connsiteX8554" fmla="*/ 6921517 w 8079933"/>
              <a:gd name="connsiteY8554" fmla="*/ 2773350 h 4687251"/>
              <a:gd name="connsiteX8555" fmla="*/ 1948850 w 8079933"/>
              <a:gd name="connsiteY8555" fmla="*/ 2771044 h 4687251"/>
              <a:gd name="connsiteX8556" fmla="*/ 1948850 w 8079933"/>
              <a:gd name="connsiteY8556" fmla="*/ 2772592 h 4687251"/>
              <a:gd name="connsiteX8557" fmla="*/ 1948958 w 8079933"/>
              <a:gd name="connsiteY8557" fmla="*/ 2772687 h 4687251"/>
              <a:gd name="connsiteX8558" fmla="*/ 1948958 w 8079933"/>
              <a:gd name="connsiteY8558" fmla="*/ 2771077 h 4687251"/>
              <a:gd name="connsiteX8559" fmla="*/ 6956243 w 8079933"/>
              <a:gd name="connsiteY8559" fmla="*/ 2770968 h 4687251"/>
              <a:gd name="connsiteX8560" fmla="*/ 6959281 w 8079933"/>
              <a:gd name="connsiteY8560" fmla="*/ 2772700 h 4687251"/>
              <a:gd name="connsiteX8561" fmla="*/ 6958088 w 8079933"/>
              <a:gd name="connsiteY8561" fmla="*/ 2774757 h 4687251"/>
              <a:gd name="connsiteX8562" fmla="*/ 6956459 w 8079933"/>
              <a:gd name="connsiteY8562" fmla="*/ 2773567 h 4687251"/>
              <a:gd name="connsiteX8563" fmla="*/ 4482604 w 8079933"/>
              <a:gd name="connsiteY8563" fmla="*/ 2769344 h 4687251"/>
              <a:gd name="connsiteX8564" fmla="*/ 4476420 w 8079933"/>
              <a:gd name="connsiteY8564" fmla="*/ 2772051 h 4687251"/>
              <a:gd name="connsiteX8565" fmla="*/ 4473382 w 8079933"/>
              <a:gd name="connsiteY8565" fmla="*/ 2770210 h 4687251"/>
              <a:gd name="connsiteX8566" fmla="*/ 4467630 w 8079933"/>
              <a:gd name="connsiteY8566" fmla="*/ 2770210 h 4687251"/>
              <a:gd name="connsiteX8567" fmla="*/ 4463289 w 8079933"/>
              <a:gd name="connsiteY8567" fmla="*/ 2773242 h 4687251"/>
              <a:gd name="connsiteX8568" fmla="*/ 4457321 w 8079933"/>
              <a:gd name="connsiteY8568" fmla="*/ 2776707 h 4687251"/>
              <a:gd name="connsiteX8569" fmla="*/ 4457321 w 8079933"/>
              <a:gd name="connsiteY8569" fmla="*/ 2776708 h 4687251"/>
              <a:gd name="connsiteX8570" fmla="*/ 4463288 w 8079933"/>
              <a:gd name="connsiteY8570" fmla="*/ 2773243 h 4687251"/>
              <a:gd name="connsiteX8571" fmla="*/ 4467629 w 8079933"/>
              <a:gd name="connsiteY8571" fmla="*/ 2770211 h 4687251"/>
              <a:gd name="connsiteX8572" fmla="*/ 4473380 w 8079933"/>
              <a:gd name="connsiteY8572" fmla="*/ 2770211 h 4687251"/>
              <a:gd name="connsiteX8573" fmla="*/ 4476419 w 8079933"/>
              <a:gd name="connsiteY8573" fmla="*/ 2772051 h 4687251"/>
              <a:gd name="connsiteX8574" fmla="*/ 4482604 w 8079933"/>
              <a:gd name="connsiteY8574" fmla="*/ 2769345 h 4687251"/>
              <a:gd name="connsiteX8575" fmla="*/ 3942843 w 8079933"/>
              <a:gd name="connsiteY8575" fmla="*/ 2769344 h 4687251"/>
              <a:gd name="connsiteX8576" fmla="*/ 3942843 w 8079933"/>
              <a:gd name="connsiteY8576" fmla="*/ 2769345 h 4687251"/>
              <a:gd name="connsiteX8577" fmla="*/ 3944905 w 8079933"/>
              <a:gd name="connsiteY8577" fmla="*/ 2771510 h 4687251"/>
              <a:gd name="connsiteX8578" fmla="*/ 3944905 w 8079933"/>
              <a:gd name="connsiteY8578" fmla="*/ 2771509 h 4687251"/>
              <a:gd name="connsiteX8579" fmla="*/ 4957365 w 8079933"/>
              <a:gd name="connsiteY8579" fmla="*/ 2769020 h 4687251"/>
              <a:gd name="connsiteX8580" fmla="*/ 4951722 w 8079933"/>
              <a:gd name="connsiteY8580" fmla="*/ 2772701 h 4687251"/>
              <a:gd name="connsiteX8581" fmla="*/ 4951724 w 8079933"/>
              <a:gd name="connsiteY8581" fmla="*/ 2772701 h 4687251"/>
              <a:gd name="connsiteX8582" fmla="*/ 4957365 w 8079933"/>
              <a:gd name="connsiteY8582" fmla="*/ 2769020 h 4687251"/>
              <a:gd name="connsiteX8583" fmla="*/ 4483473 w 8079933"/>
              <a:gd name="connsiteY8583" fmla="*/ 2767287 h 4687251"/>
              <a:gd name="connsiteX8584" fmla="*/ 4483473 w 8079933"/>
              <a:gd name="connsiteY8584" fmla="*/ 2767288 h 4687251"/>
              <a:gd name="connsiteX8585" fmla="*/ 4486077 w 8079933"/>
              <a:gd name="connsiteY8585" fmla="*/ 2770103 h 4687251"/>
              <a:gd name="connsiteX8586" fmla="*/ 4486077 w 8079933"/>
              <a:gd name="connsiteY8586" fmla="*/ 2773350 h 4687251"/>
              <a:gd name="connsiteX8587" fmla="*/ 4486077 w 8079933"/>
              <a:gd name="connsiteY8587" fmla="*/ 2773350 h 4687251"/>
              <a:gd name="connsiteX8588" fmla="*/ 4486077 w 8079933"/>
              <a:gd name="connsiteY8588" fmla="*/ 2770102 h 4687251"/>
              <a:gd name="connsiteX8589" fmla="*/ 3753589 w 8079933"/>
              <a:gd name="connsiteY8589" fmla="*/ 2767070 h 4687251"/>
              <a:gd name="connsiteX8590" fmla="*/ 3750659 w 8079933"/>
              <a:gd name="connsiteY8590" fmla="*/ 2767287 h 4687251"/>
              <a:gd name="connsiteX8591" fmla="*/ 3748163 w 8079933"/>
              <a:gd name="connsiteY8591" fmla="*/ 2770535 h 4687251"/>
              <a:gd name="connsiteX8592" fmla="*/ 3744040 w 8079933"/>
              <a:gd name="connsiteY8592" fmla="*/ 2770968 h 4687251"/>
              <a:gd name="connsiteX8593" fmla="*/ 3748164 w 8079933"/>
              <a:gd name="connsiteY8593" fmla="*/ 2770535 h 4687251"/>
              <a:gd name="connsiteX8594" fmla="*/ 3750660 w 8079933"/>
              <a:gd name="connsiteY8594" fmla="*/ 2767288 h 4687251"/>
              <a:gd name="connsiteX8595" fmla="*/ 3753589 w 8079933"/>
              <a:gd name="connsiteY8595" fmla="*/ 2767071 h 4687251"/>
              <a:gd name="connsiteX8596" fmla="*/ 6478334 w 8079933"/>
              <a:gd name="connsiteY8596" fmla="*/ 2766962 h 4687251"/>
              <a:gd name="connsiteX8597" fmla="*/ 6467157 w 8079933"/>
              <a:gd name="connsiteY8597" fmla="*/ 2769669 h 4687251"/>
              <a:gd name="connsiteX8598" fmla="*/ 6467158 w 8079933"/>
              <a:gd name="connsiteY8598" fmla="*/ 2769669 h 4687251"/>
              <a:gd name="connsiteX8599" fmla="*/ 6895038 w 8079933"/>
              <a:gd name="connsiteY8599" fmla="*/ 2766529 h 4687251"/>
              <a:gd name="connsiteX8600" fmla="*/ 6898076 w 8079933"/>
              <a:gd name="connsiteY8600" fmla="*/ 2768045 h 4687251"/>
              <a:gd name="connsiteX8601" fmla="*/ 6900355 w 8079933"/>
              <a:gd name="connsiteY8601" fmla="*/ 2766637 h 4687251"/>
              <a:gd name="connsiteX8602" fmla="*/ 6904044 w 8079933"/>
              <a:gd name="connsiteY8602" fmla="*/ 2769452 h 4687251"/>
              <a:gd name="connsiteX8603" fmla="*/ 6903828 w 8079933"/>
              <a:gd name="connsiteY8603" fmla="*/ 2773350 h 4687251"/>
              <a:gd name="connsiteX8604" fmla="*/ 6899487 w 8079933"/>
              <a:gd name="connsiteY8604" fmla="*/ 2777898 h 4687251"/>
              <a:gd name="connsiteX8605" fmla="*/ 6896557 w 8079933"/>
              <a:gd name="connsiteY8605" fmla="*/ 2791431 h 4687251"/>
              <a:gd name="connsiteX8606" fmla="*/ 6897209 w 8079933"/>
              <a:gd name="connsiteY8606" fmla="*/ 2800743 h 4687251"/>
              <a:gd name="connsiteX8607" fmla="*/ 6900355 w 8079933"/>
              <a:gd name="connsiteY8607" fmla="*/ 2806806 h 4687251"/>
              <a:gd name="connsiteX8608" fmla="*/ 6900247 w 8079933"/>
              <a:gd name="connsiteY8608" fmla="*/ 2811028 h 4687251"/>
              <a:gd name="connsiteX8609" fmla="*/ 6895906 w 8079933"/>
              <a:gd name="connsiteY8609" fmla="*/ 2813627 h 4687251"/>
              <a:gd name="connsiteX8610" fmla="*/ 6892217 w 8079933"/>
              <a:gd name="connsiteY8610" fmla="*/ 2811678 h 4687251"/>
              <a:gd name="connsiteX8611" fmla="*/ 6892108 w 8079933"/>
              <a:gd name="connsiteY8611" fmla="*/ 2806265 h 4687251"/>
              <a:gd name="connsiteX8612" fmla="*/ 6887225 w 8079933"/>
              <a:gd name="connsiteY8612" fmla="*/ 2805831 h 4687251"/>
              <a:gd name="connsiteX8613" fmla="*/ 6881799 w 8079933"/>
              <a:gd name="connsiteY8613" fmla="*/ 2802475 h 4687251"/>
              <a:gd name="connsiteX8614" fmla="*/ 6878435 w 8079933"/>
              <a:gd name="connsiteY8614" fmla="*/ 2801933 h 4687251"/>
              <a:gd name="connsiteX8615" fmla="*/ 6877133 w 8079933"/>
              <a:gd name="connsiteY8615" fmla="*/ 2794571 h 4687251"/>
              <a:gd name="connsiteX8616" fmla="*/ 6879195 w 8079933"/>
              <a:gd name="connsiteY8616" fmla="*/ 2791647 h 4687251"/>
              <a:gd name="connsiteX8617" fmla="*/ 6886791 w 8079933"/>
              <a:gd name="connsiteY8617" fmla="*/ 2789699 h 4687251"/>
              <a:gd name="connsiteX8618" fmla="*/ 6889287 w 8079933"/>
              <a:gd name="connsiteY8618" fmla="*/ 2784177 h 4687251"/>
              <a:gd name="connsiteX8619" fmla="*/ 6888527 w 8079933"/>
              <a:gd name="connsiteY8619" fmla="*/ 2777898 h 4687251"/>
              <a:gd name="connsiteX8620" fmla="*/ 6891240 w 8079933"/>
              <a:gd name="connsiteY8620" fmla="*/ 2773567 h 4687251"/>
              <a:gd name="connsiteX8621" fmla="*/ 6891240 w 8079933"/>
              <a:gd name="connsiteY8621" fmla="*/ 2769127 h 4687251"/>
              <a:gd name="connsiteX8622" fmla="*/ 6959390 w 8079933"/>
              <a:gd name="connsiteY8622" fmla="*/ 2766097 h 4687251"/>
              <a:gd name="connsiteX8623" fmla="*/ 6960692 w 8079933"/>
              <a:gd name="connsiteY8623" fmla="*/ 2767613 h 4687251"/>
              <a:gd name="connsiteX8624" fmla="*/ 6958521 w 8079933"/>
              <a:gd name="connsiteY8624" fmla="*/ 2768263 h 4687251"/>
              <a:gd name="connsiteX8625" fmla="*/ 6957545 w 8079933"/>
              <a:gd name="connsiteY8625" fmla="*/ 2766313 h 4687251"/>
              <a:gd name="connsiteX8626" fmla="*/ 2511834 w 8079933"/>
              <a:gd name="connsiteY8626" fmla="*/ 2765447 h 4687251"/>
              <a:gd name="connsiteX8627" fmla="*/ 2510966 w 8079933"/>
              <a:gd name="connsiteY8627" fmla="*/ 2769344 h 4687251"/>
              <a:gd name="connsiteX8628" fmla="*/ 2506951 w 8079933"/>
              <a:gd name="connsiteY8628" fmla="*/ 2767612 h 4687251"/>
              <a:gd name="connsiteX8629" fmla="*/ 2434678 w 8079933"/>
              <a:gd name="connsiteY8629" fmla="*/ 2764364 h 4687251"/>
              <a:gd name="connsiteX8630" fmla="*/ 2436740 w 8079933"/>
              <a:gd name="connsiteY8630" fmla="*/ 2767504 h 4687251"/>
              <a:gd name="connsiteX8631" fmla="*/ 2432942 w 8079933"/>
              <a:gd name="connsiteY8631" fmla="*/ 2772159 h 4687251"/>
              <a:gd name="connsiteX8632" fmla="*/ 2428059 w 8079933"/>
              <a:gd name="connsiteY8632" fmla="*/ 2770860 h 4687251"/>
              <a:gd name="connsiteX8633" fmla="*/ 2422958 w 8079933"/>
              <a:gd name="connsiteY8633" fmla="*/ 2771943 h 4687251"/>
              <a:gd name="connsiteX8634" fmla="*/ 2420463 w 8079933"/>
              <a:gd name="connsiteY8634" fmla="*/ 2770102 h 4687251"/>
              <a:gd name="connsiteX8635" fmla="*/ 2425346 w 8079933"/>
              <a:gd name="connsiteY8635" fmla="*/ 2766529 h 4687251"/>
              <a:gd name="connsiteX8636" fmla="*/ 2427625 w 8079933"/>
              <a:gd name="connsiteY8636" fmla="*/ 2769669 h 4687251"/>
              <a:gd name="connsiteX8637" fmla="*/ 2235480 w 8079933"/>
              <a:gd name="connsiteY8637" fmla="*/ 2763586 h 4687251"/>
              <a:gd name="connsiteX8638" fmla="*/ 2233381 w 8079933"/>
              <a:gd name="connsiteY8638" fmla="*/ 2766204 h 4687251"/>
              <a:gd name="connsiteX8639" fmla="*/ 2229148 w 8079933"/>
              <a:gd name="connsiteY8639" fmla="*/ 2767287 h 4687251"/>
              <a:gd name="connsiteX8640" fmla="*/ 2225350 w 8079933"/>
              <a:gd name="connsiteY8640" fmla="*/ 2772809 h 4687251"/>
              <a:gd name="connsiteX8641" fmla="*/ 2223506 w 8079933"/>
              <a:gd name="connsiteY8641" fmla="*/ 2774433 h 4687251"/>
              <a:gd name="connsiteX8642" fmla="*/ 2225351 w 8079933"/>
              <a:gd name="connsiteY8642" fmla="*/ 2772809 h 4687251"/>
              <a:gd name="connsiteX8643" fmla="*/ 2229149 w 8079933"/>
              <a:gd name="connsiteY8643" fmla="*/ 2767287 h 4687251"/>
              <a:gd name="connsiteX8644" fmla="*/ 2233381 w 8079933"/>
              <a:gd name="connsiteY8644" fmla="*/ 2766204 h 4687251"/>
              <a:gd name="connsiteX8645" fmla="*/ 3942626 w 8079933"/>
              <a:gd name="connsiteY8645" fmla="*/ 2762523 h 4687251"/>
              <a:gd name="connsiteX8646" fmla="*/ 3967476 w 8079933"/>
              <a:gd name="connsiteY8646" fmla="*/ 2768802 h 4687251"/>
              <a:gd name="connsiteX8647" fmla="*/ 3966174 w 8079933"/>
              <a:gd name="connsiteY8647" fmla="*/ 2771834 h 4687251"/>
              <a:gd name="connsiteX8648" fmla="*/ 3966174 w 8079933"/>
              <a:gd name="connsiteY8648" fmla="*/ 2771835 h 4687251"/>
              <a:gd name="connsiteX8649" fmla="*/ 3968453 w 8079933"/>
              <a:gd name="connsiteY8649" fmla="*/ 2766638 h 4687251"/>
              <a:gd name="connsiteX8650" fmla="*/ 3974638 w 8079933"/>
              <a:gd name="connsiteY8650" fmla="*/ 2765231 h 4687251"/>
              <a:gd name="connsiteX8651" fmla="*/ 3974638 w 8079933"/>
              <a:gd name="connsiteY8651" fmla="*/ 2765229 h 4687251"/>
              <a:gd name="connsiteX8652" fmla="*/ 3968453 w 8079933"/>
              <a:gd name="connsiteY8652" fmla="*/ 2766637 h 4687251"/>
              <a:gd name="connsiteX8653" fmla="*/ 3968435 w 8079933"/>
              <a:gd name="connsiteY8653" fmla="*/ 2766678 h 4687251"/>
              <a:gd name="connsiteX8654" fmla="*/ 3966174 w 8079933"/>
              <a:gd name="connsiteY8654" fmla="*/ 2771834 h 4687251"/>
              <a:gd name="connsiteX8655" fmla="*/ 3967476 w 8079933"/>
              <a:gd name="connsiteY8655" fmla="*/ 2768803 h 4687251"/>
              <a:gd name="connsiteX8656" fmla="*/ 3967476 w 8079933"/>
              <a:gd name="connsiteY8656" fmla="*/ 2768802 h 4687251"/>
              <a:gd name="connsiteX8657" fmla="*/ 3942627 w 8079933"/>
              <a:gd name="connsiteY8657" fmla="*/ 2762523 h 4687251"/>
              <a:gd name="connsiteX8658" fmla="*/ 3939045 w 8079933"/>
              <a:gd name="connsiteY8658" fmla="*/ 2762414 h 4687251"/>
              <a:gd name="connsiteX8659" fmla="*/ 3933511 w 8079933"/>
              <a:gd name="connsiteY8659" fmla="*/ 2765013 h 4687251"/>
              <a:gd name="connsiteX8660" fmla="*/ 3928085 w 8079933"/>
              <a:gd name="connsiteY8660" fmla="*/ 2765229 h 4687251"/>
              <a:gd name="connsiteX8661" fmla="*/ 3919078 w 8079933"/>
              <a:gd name="connsiteY8661" fmla="*/ 2766637 h 4687251"/>
              <a:gd name="connsiteX8662" fmla="*/ 3906707 w 8079933"/>
              <a:gd name="connsiteY8662" fmla="*/ 2766637 h 4687251"/>
              <a:gd name="connsiteX8663" fmla="*/ 3904537 w 8079933"/>
              <a:gd name="connsiteY8663" fmla="*/ 2767503 h 4687251"/>
              <a:gd name="connsiteX8664" fmla="*/ 3886957 w 8079933"/>
              <a:gd name="connsiteY8664" fmla="*/ 2767503 h 4687251"/>
              <a:gd name="connsiteX8665" fmla="*/ 3878601 w 8079933"/>
              <a:gd name="connsiteY8665" fmla="*/ 2767936 h 4687251"/>
              <a:gd name="connsiteX8666" fmla="*/ 3877950 w 8079933"/>
              <a:gd name="connsiteY8666" fmla="*/ 2773242 h 4687251"/>
              <a:gd name="connsiteX8667" fmla="*/ 3877950 w 8079933"/>
              <a:gd name="connsiteY8667" fmla="*/ 2773242 h 4687251"/>
              <a:gd name="connsiteX8668" fmla="*/ 3878601 w 8079933"/>
              <a:gd name="connsiteY8668" fmla="*/ 2767938 h 4687251"/>
              <a:gd name="connsiteX8669" fmla="*/ 3886957 w 8079933"/>
              <a:gd name="connsiteY8669" fmla="*/ 2767505 h 4687251"/>
              <a:gd name="connsiteX8670" fmla="*/ 3904537 w 8079933"/>
              <a:gd name="connsiteY8670" fmla="*/ 2767505 h 4687251"/>
              <a:gd name="connsiteX8671" fmla="*/ 3906707 w 8079933"/>
              <a:gd name="connsiteY8671" fmla="*/ 2766638 h 4687251"/>
              <a:gd name="connsiteX8672" fmla="*/ 3919078 w 8079933"/>
              <a:gd name="connsiteY8672" fmla="*/ 2766638 h 4687251"/>
              <a:gd name="connsiteX8673" fmla="*/ 3928085 w 8079933"/>
              <a:gd name="connsiteY8673" fmla="*/ 2765231 h 4687251"/>
              <a:gd name="connsiteX8674" fmla="*/ 3933511 w 8079933"/>
              <a:gd name="connsiteY8674" fmla="*/ 2765014 h 4687251"/>
              <a:gd name="connsiteX8675" fmla="*/ 3939045 w 8079933"/>
              <a:gd name="connsiteY8675" fmla="*/ 2762416 h 4687251"/>
              <a:gd name="connsiteX8676" fmla="*/ 3940890 w 8079933"/>
              <a:gd name="connsiteY8676" fmla="*/ 2762957 h 4687251"/>
              <a:gd name="connsiteX8677" fmla="*/ 3940890 w 8079933"/>
              <a:gd name="connsiteY8677" fmla="*/ 2762956 h 4687251"/>
              <a:gd name="connsiteX8678" fmla="*/ 3820978 w 8079933"/>
              <a:gd name="connsiteY8678" fmla="*/ 2761766 h 4687251"/>
              <a:gd name="connsiteX8679" fmla="*/ 3820761 w 8079933"/>
              <a:gd name="connsiteY8679" fmla="*/ 2766638 h 4687251"/>
              <a:gd name="connsiteX8680" fmla="*/ 3822822 w 8079933"/>
              <a:gd name="connsiteY8680" fmla="*/ 2770211 h 4687251"/>
              <a:gd name="connsiteX8681" fmla="*/ 3821412 w 8079933"/>
              <a:gd name="connsiteY8681" fmla="*/ 2775949 h 4687251"/>
              <a:gd name="connsiteX8682" fmla="*/ 3818482 w 8079933"/>
              <a:gd name="connsiteY8682" fmla="*/ 2778006 h 4687251"/>
              <a:gd name="connsiteX8683" fmla="*/ 3814141 w 8079933"/>
              <a:gd name="connsiteY8683" fmla="*/ 2784719 h 4687251"/>
              <a:gd name="connsiteX8684" fmla="*/ 3813506 w 8079933"/>
              <a:gd name="connsiteY8684" fmla="*/ 2784529 h 4687251"/>
              <a:gd name="connsiteX8685" fmla="*/ 3814143 w 8079933"/>
              <a:gd name="connsiteY8685" fmla="*/ 2784719 h 4687251"/>
              <a:gd name="connsiteX8686" fmla="*/ 3818483 w 8079933"/>
              <a:gd name="connsiteY8686" fmla="*/ 2778006 h 4687251"/>
              <a:gd name="connsiteX8687" fmla="*/ 3818518 w 8079933"/>
              <a:gd name="connsiteY8687" fmla="*/ 2777982 h 4687251"/>
              <a:gd name="connsiteX8688" fmla="*/ 3821414 w 8079933"/>
              <a:gd name="connsiteY8688" fmla="*/ 2775949 h 4687251"/>
              <a:gd name="connsiteX8689" fmla="*/ 3822166 w 8079933"/>
              <a:gd name="connsiteY8689" fmla="*/ 2775520 h 4687251"/>
              <a:gd name="connsiteX8690" fmla="*/ 3822172 w 8079933"/>
              <a:gd name="connsiteY8690" fmla="*/ 2775516 h 4687251"/>
              <a:gd name="connsiteX8691" fmla="*/ 3822173 w 8079933"/>
              <a:gd name="connsiteY8691" fmla="*/ 2775516 h 4687251"/>
              <a:gd name="connsiteX8692" fmla="*/ 3829009 w 8079933"/>
              <a:gd name="connsiteY8692" fmla="*/ 2781037 h 4687251"/>
              <a:gd name="connsiteX8693" fmla="*/ 3838016 w 8079933"/>
              <a:gd name="connsiteY8693" fmla="*/ 2785801 h 4687251"/>
              <a:gd name="connsiteX8694" fmla="*/ 3841380 w 8079933"/>
              <a:gd name="connsiteY8694" fmla="*/ 2785801 h 4687251"/>
              <a:gd name="connsiteX8695" fmla="*/ 3844202 w 8079933"/>
              <a:gd name="connsiteY8695" fmla="*/ 2787642 h 4687251"/>
              <a:gd name="connsiteX8696" fmla="*/ 3847891 w 8079933"/>
              <a:gd name="connsiteY8696" fmla="*/ 2787642 h 4687251"/>
              <a:gd name="connsiteX8697" fmla="*/ 3852883 w 8079933"/>
              <a:gd name="connsiteY8697" fmla="*/ 2790024 h 4687251"/>
              <a:gd name="connsiteX8698" fmla="*/ 3855488 w 8079933"/>
              <a:gd name="connsiteY8698" fmla="*/ 2793597 h 4687251"/>
              <a:gd name="connsiteX8699" fmla="*/ 3862975 w 8079933"/>
              <a:gd name="connsiteY8699" fmla="*/ 2797495 h 4687251"/>
              <a:gd name="connsiteX8700" fmla="*/ 3868726 w 8079933"/>
              <a:gd name="connsiteY8700" fmla="*/ 2796412 h 4687251"/>
              <a:gd name="connsiteX8701" fmla="*/ 3873284 w 8079933"/>
              <a:gd name="connsiteY8701" fmla="*/ 2793272 h 4687251"/>
              <a:gd name="connsiteX8702" fmla="*/ 3876431 w 8079933"/>
              <a:gd name="connsiteY8702" fmla="*/ 2793381 h 4687251"/>
              <a:gd name="connsiteX8703" fmla="*/ 3879904 w 8079933"/>
              <a:gd name="connsiteY8703" fmla="*/ 2795762 h 4687251"/>
              <a:gd name="connsiteX8704" fmla="*/ 3885004 w 8079933"/>
              <a:gd name="connsiteY8704" fmla="*/ 2796628 h 4687251"/>
              <a:gd name="connsiteX8705" fmla="*/ 3885004 w 8079933"/>
              <a:gd name="connsiteY8705" fmla="*/ 2796628 h 4687251"/>
              <a:gd name="connsiteX8706" fmla="*/ 3879904 w 8079933"/>
              <a:gd name="connsiteY8706" fmla="*/ 2795762 h 4687251"/>
              <a:gd name="connsiteX8707" fmla="*/ 3876431 w 8079933"/>
              <a:gd name="connsiteY8707" fmla="*/ 2793379 h 4687251"/>
              <a:gd name="connsiteX8708" fmla="*/ 3873284 w 8079933"/>
              <a:gd name="connsiteY8708" fmla="*/ 2793271 h 4687251"/>
              <a:gd name="connsiteX8709" fmla="*/ 3868726 w 8079933"/>
              <a:gd name="connsiteY8709" fmla="*/ 2796411 h 4687251"/>
              <a:gd name="connsiteX8710" fmla="*/ 3862975 w 8079933"/>
              <a:gd name="connsiteY8710" fmla="*/ 2797494 h 4687251"/>
              <a:gd name="connsiteX8711" fmla="*/ 3855488 w 8079933"/>
              <a:gd name="connsiteY8711" fmla="*/ 2793596 h 4687251"/>
              <a:gd name="connsiteX8712" fmla="*/ 3852883 w 8079933"/>
              <a:gd name="connsiteY8712" fmla="*/ 2790024 h 4687251"/>
              <a:gd name="connsiteX8713" fmla="*/ 3847891 w 8079933"/>
              <a:gd name="connsiteY8713" fmla="*/ 2787642 h 4687251"/>
              <a:gd name="connsiteX8714" fmla="*/ 3844202 w 8079933"/>
              <a:gd name="connsiteY8714" fmla="*/ 2787642 h 4687251"/>
              <a:gd name="connsiteX8715" fmla="*/ 3841380 w 8079933"/>
              <a:gd name="connsiteY8715" fmla="*/ 2785800 h 4687251"/>
              <a:gd name="connsiteX8716" fmla="*/ 3838016 w 8079933"/>
              <a:gd name="connsiteY8716" fmla="*/ 2785800 h 4687251"/>
              <a:gd name="connsiteX8717" fmla="*/ 3829009 w 8079933"/>
              <a:gd name="connsiteY8717" fmla="*/ 2781037 h 4687251"/>
              <a:gd name="connsiteX8718" fmla="*/ 3822173 w 8079933"/>
              <a:gd name="connsiteY8718" fmla="*/ 2775516 h 4687251"/>
              <a:gd name="connsiteX8719" fmla="*/ 3822172 w 8079933"/>
              <a:gd name="connsiteY8719" fmla="*/ 2775515 h 4687251"/>
              <a:gd name="connsiteX8720" fmla="*/ 3821413 w 8079933"/>
              <a:gd name="connsiteY8720" fmla="*/ 2775948 h 4687251"/>
              <a:gd name="connsiteX8721" fmla="*/ 3822824 w 8079933"/>
              <a:gd name="connsiteY8721" fmla="*/ 2770210 h 4687251"/>
              <a:gd name="connsiteX8722" fmla="*/ 3820762 w 8079933"/>
              <a:gd name="connsiteY8722" fmla="*/ 2766637 h 4687251"/>
              <a:gd name="connsiteX8723" fmla="*/ 3820979 w 8079933"/>
              <a:gd name="connsiteY8723" fmla="*/ 2761766 h 4687251"/>
              <a:gd name="connsiteX8724" fmla="*/ 3601617 w 8079933"/>
              <a:gd name="connsiteY8724" fmla="*/ 2761055 h 4687251"/>
              <a:gd name="connsiteX8725" fmla="*/ 3597435 w 8079933"/>
              <a:gd name="connsiteY8725" fmla="*/ 2761982 h 4687251"/>
              <a:gd name="connsiteX8726" fmla="*/ 3595261 w 8079933"/>
              <a:gd name="connsiteY8726" fmla="*/ 2766404 h 4687251"/>
              <a:gd name="connsiteX8727" fmla="*/ 3597436 w 8079933"/>
              <a:gd name="connsiteY8727" fmla="*/ 2761982 h 4687251"/>
              <a:gd name="connsiteX8728" fmla="*/ 6916200 w 8079933"/>
              <a:gd name="connsiteY8728" fmla="*/ 2760358 h 4687251"/>
              <a:gd name="connsiteX8729" fmla="*/ 6916417 w 8079933"/>
              <a:gd name="connsiteY8729" fmla="*/ 2769452 h 4687251"/>
              <a:gd name="connsiteX8730" fmla="*/ 6914681 w 8079933"/>
              <a:gd name="connsiteY8730" fmla="*/ 2772376 h 4687251"/>
              <a:gd name="connsiteX8731" fmla="*/ 6915332 w 8079933"/>
              <a:gd name="connsiteY8731" fmla="*/ 2776599 h 4687251"/>
              <a:gd name="connsiteX8732" fmla="*/ 6914138 w 8079933"/>
              <a:gd name="connsiteY8732" fmla="*/ 2781254 h 4687251"/>
              <a:gd name="connsiteX8733" fmla="*/ 6907626 w 8079933"/>
              <a:gd name="connsiteY8733" fmla="*/ 2788725 h 4687251"/>
              <a:gd name="connsiteX8734" fmla="*/ 6905890 w 8079933"/>
              <a:gd name="connsiteY8734" fmla="*/ 2798794 h 4687251"/>
              <a:gd name="connsiteX8735" fmla="*/ 6902309 w 8079933"/>
              <a:gd name="connsiteY8735" fmla="*/ 2802909 h 4687251"/>
              <a:gd name="connsiteX8736" fmla="*/ 6901224 w 8079933"/>
              <a:gd name="connsiteY8736" fmla="*/ 2799011 h 4687251"/>
              <a:gd name="connsiteX8737" fmla="*/ 6901440 w 8079933"/>
              <a:gd name="connsiteY8737" fmla="*/ 2794031 h 4687251"/>
              <a:gd name="connsiteX8738" fmla="*/ 6905022 w 8079933"/>
              <a:gd name="connsiteY8738" fmla="*/ 2789591 h 4687251"/>
              <a:gd name="connsiteX8739" fmla="*/ 6907084 w 8079933"/>
              <a:gd name="connsiteY8739" fmla="*/ 2782662 h 4687251"/>
              <a:gd name="connsiteX8740" fmla="*/ 6907626 w 8079933"/>
              <a:gd name="connsiteY8740" fmla="*/ 2777140 h 4687251"/>
              <a:gd name="connsiteX8741" fmla="*/ 6912076 w 8079933"/>
              <a:gd name="connsiteY8741" fmla="*/ 2769994 h 4687251"/>
              <a:gd name="connsiteX8742" fmla="*/ 6913704 w 8079933"/>
              <a:gd name="connsiteY8742" fmla="*/ 2761332 h 4687251"/>
              <a:gd name="connsiteX8743" fmla="*/ 4297809 w 8079933"/>
              <a:gd name="connsiteY8743" fmla="*/ 2760254 h 4687251"/>
              <a:gd name="connsiteX8744" fmla="*/ 4299646 w 8079933"/>
              <a:gd name="connsiteY8744" fmla="*/ 2762307 h 4687251"/>
              <a:gd name="connsiteX8745" fmla="*/ 4299646 w 8079933"/>
              <a:gd name="connsiteY8745" fmla="*/ 2762307 h 4687251"/>
              <a:gd name="connsiteX8746" fmla="*/ 4485341 w 8079933"/>
              <a:gd name="connsiteY8746" fmla="*/ 2758302 h 4687251"/>
              <a:gd name="connsiteX8747" fmla="*/ 4486077 w 8079933"/>
              <a:gd name="connsiteY8747" fmla="*/ 2759491 h 4687251"/>
              <a:gd name="connsiteX8748" fmla="*/ 4486077 w 8079933"/>
              <a:gd name="connsiteY8748" fmla="*/ 2759491 h 4687251"/>
              <a:gd name="connsiteX8749" fmla="*/ 6925858 w 8079933"/>
              <a:gd name="connsiteY8749" fmla="*/ 2756135 h 4687251"/>
              <a:gd name="connsiteX8750" fmla="*/ 6930199 w 8079933"/>
              <a:gd name="connsiteY8750" fmla="*/ 2758084 h 4687251"/>
              <a:gd name="connsiteX8751" fmla="*/ 6935082 w 8079933"/>
              <a:gd name="connsiteY8751" fmla="*/ 2756459 h 4687251"/>
              <a:gd name="connsiteX8752" fmla="*/ 6935949 w 8079933"/>
              <a:gd name="connsiteY8752" fmla="*/ 2758408 h 4687251"/>
              <a:gd name="connsiteX8753" fmla="*/ 6938555 w 8079933"/>
              <a:gd name="connsiteY8753" fmla="*/ 2764363 h 4687251"/>
              <a:gd name="connsiteX8754" fmla="*/ 6939314 w 8079933"/>
              <a:gd name="connsiteY8754" fmla="*/ 2771618 h 4687251"/>
              <a:gd name="connsiteX8755" fmla="*/ 6942570 w 8079933"/>
              <a:gd name="connsiteY8755" fmla="*/ 2773783 h 4687251"/>
              <a:gd name="connsiteX8756" fmla="*/ 6946802 w 8079933"/>
              <a:gd name="connsiteY8756" fmla="*/ 2781037 h 4687251"/>
              <a:gd name="connsiteX8757" fmla="*/ 6946367 w 8079933"/>
              <a:gd name="connsiteY8757" fmla="*/ 2784718 h 4687251"/>
              <a:gd name="connsiteX8758" fmla="*/ 6942244 w 8079933"/>
              <a:gd name="connsiteY8758" fmla="*/ 2785801 h 4687251"/>
              <a:gd name="connsiteX8759" fmla="*/ 6939640 w 8079933"/>
              <a:gd name="connsiteY8759" fmla="*/ 2782336 h 4687251"/>
              <a:gd name="connsiteX8760" fmla="*/ 6939206 w 8079933"/>
              <a:gd name="connsiteY8760" fmla="*/ 2788941 h 4687251"/>
              <a:gd name="connsiteX8761" fmla="*/ 6935299 w 8079933"/>
              <a:gd name="connsiteY8761" fmla="*/ 2786234 h 4687251"/>
              <a:gd name="connsiteX8762" fmla="*/ 6934540 w 8079933"/>
              <a:gd name="connsiteY8762" fmla="*/ 2779196 h 4687251"/>
              <a:gd name="connsiteX8763" fmla="*/ 6932260 w 8079933"/>
              <a:gd name="connsiteY8763" fmla="*/ 2774974 h 4687251"/>
              <a:gd name="connsiteX8764" fmla="*/ 6932586 w 8079933"/>
              <a:gd name="connsiteY8764" fmla="*/ 2768694 h 4687251"/>
              <a:gd name="connsiteX8765" fmla="*/ 6929873 w 8079933"/>
              <a:gd name="connsiteY8765" fmla="*/ 2766204 h 4687251"/>
              <a:gd name="connsiteX8766" fmla="*/ 6927486 w 8079933"/>
              <a:gd name="connsiteY8766" fmla="*/ 2768586 h 4687251"/>
              <a:gd name="connsiteX8767" fmla="*/ 6924556 w 8079933"/>
              <a:gd name="connsiteY8767" fmla="*/ 2765663 h 4687251"/>
              <a:gd name="connsiteX8768" fmla="*/ 6924556 w 8079933"/>
              <a:gd name="connsiteY8768" fmla="*/ 2760790 h 4687251"/>
              <a:gd name="connsiteX8769" fmla="*/ 6922711 w 8079933"/>
              <a:gd name="connsiteY8769" fmla="*/ 2756243 h 4687251"/>
              <a:gd name="connsiteX8770" fmla="*/ 6802691 w 8079933"/>
              <a:gd name="connsiteY8770" fmla="*/ 2755703 h 4687251"/>
              <a:gd name="connsiteX8771" fmla="*/ 6803233 w 8079933"/>
              <a:gd name="connsiteY8771" fmla="*/ 2762632 h 4687251"/>
              <a:gd name="connsiteX8772" fmla="*/ 6802908 w 8079933"/>
              <a:gd name="connsiteY8772" fmla="*/ 2767071 h 4687251"/>
              <a:gd name="connsiteX8773" fmla="*/ 6806272 w 8079933"/>
              <a:gd name="connsiteY8773" fmla="*/ 2771294 h 4687251"/>
              <a:gd name="connsiteX8774" fmla="*/ 6808876 w 8079933"/>
              <a:gd name="connsiteY8774" fmla="*/ 2777140 h 4687251"/>
              <a:gd name="connsiteX8775" fmla="*/ 6806815 w 8079933"/>
              <a:gd name="connsiteY8775" fmla="*/ 2781146 h 4687251"/>
              <a:gd name="connsiteX8776" fmla="*/ 6803016 w 8079933"/>
              <a:gd name="connsiteY8776" fmla="*/ 2781796 h 4687251"/>
              <a:gd name="connsiteX8777" fmla="*/ 6799544 w 8079933"/>
              <a:gd name="connsiteY8777" fmla="*/ 2785260 h 4687251"/>
              <a:gd name="connsiteX8778" fmla="*/ 6797807 w 8079933"/>
              <a:gd name="connsiteY8778" fmla="*/ 2790024 h 4687251"/>
              <a:gd name="connsiteX8779" fmla="*/ 6790646 w 8079933"/>
              <a:gd name="connsiteY8779" fmla="*/ 2790566 h 4687251"/>
              <a:gd name="connsiteX8780" fmla="*/ 6787825 w 8079933"/>
              <a:gd name="connsiteY8780" fmla="*/ 2793814 h 4687251"/>
              <a:gd name="connsiteX8781" fmla="*/ 6787825 w 8079933"/>
              <a:gd name="connsiteY8781" fmla="*/ 2801068 h 4687251"/>
              <a:gd name="connsiteX8782" fmla="*/ 6784569 w 8079933"/>
              <a:gd name="connsiteY8782" fmla="*/ 2804965 h 4687251"/>
              <a:gd name="connsiteX8783" fmla="*/ 6784243 w 8079933"/>
              <a:gd name="connsiteY8783" fmla="*/ 2807455 h 4687251"/>
              <a:gd name="connsiteX8784" fmla="*/ 6780445 w 8079933"/>
              <a:gd name="connsiteY8784" fmla="*/ 2810704 h 4687251"/>
              <a:gd name="connsiteX8785" fmla="*/ 6774911 w 8079933"/>
              <a:gd name="connsiteY8785" fmla="*/ 2812544 h 4687251"/>
              <a:gd name="connsiteX8786" fmla="*/ 6769593 w 8079933"/>
              <a:gd name="connsiteY8786" fmla="*/ 2820665 h 4687251"/>
              <a:gd name="connsiteX8787" fmla="*/ 6764493 w 8079933"/>
              <a:gd name="connsiteY8787" fmla="*/ 2822614 h 4687251"/>
              <a:gd name="connsiteX8788" fmla="*/ 6761347 w 8079933"/>
              <a:gd name="connsiteY8788" fmla="*/ 2825861 h 4687251"/>
              <a:gd name="connsiteX8789" fmla="*/ 6758199 w 8079933"/>
              <a:gd name="connsiteY8789" fmla="*/ 2826403 h 4687251"/>
              <a:gd name="connsiteX8790" fmla="*/ 6753642 w 8079933"/>
              <a:gd name="connsiteY8790" fmla="*/ 2830084 h 4687251"/>
              <a:gd name="connsiteX8791" fmla="*/ 6753099 w 8079933"/>
              <a:gd name="connsiteY8791" fmla="*/ 2828460 h 4687251"/>
              <a:gd name="connsiteX8792" fmla="*/ 6754292 w 8079933"/>
              <a:gd name="connsiteY8792" fmla="*/ 2825970 h 4687251"/>
              <a:gd name="connsiteX8793" fmla="*/ 6761129 w 8079933"/>
              <a:gd name="connsiteY8793" fmla="*/ 2817092 h 4687251"/>
              <a:gd name="connsiteX8794" fmla="*/ 6763951 w 8079933"/>
              <a:gd name="connsiteY8794" fmla="*/ 2816225 h 4687251"/>
              <a:gd name="connsiteX8795" fmla="*/ 6767423 w 8079933"/>
              <a:gd name="connsiteY8795" fmla="*/ 2809621 h 4687251"/>
              <a:gd name="connsiteX8796" fmla="*/ 6771112 w 8079933"/>
              <a:gd name="connsiteY8796" fmla="*/ 2809188 h 4687251"/>
              <a:gd name="connsiteX8797" fmla="*/ 6778057 w 8079933"/>
              <a:gd name="connsiteY8797" fmla="*/ 2802475 h 4687251"/>
              <a:gd name="connsiteX8798" fmla="*/ 6782832 w 8079933"/>
              <a:gd name="connsiteY8798" fmla="*/ 2792298 h 4687251"/>
              <a:gd name="connsiteX8799" fmla="*/ 6787716 w 8079933"/>
              <a:gd name="connsiteY8799" fmla="*/ 2789591 h 4687251"/>
              <a:gd name="connsiteX8800" fmla="*/ 6788042 w 8079933"/>
              <a:gd name="connsiteY8800" fmla="*/ 2785910 h 4687251"/>
              <a:gd name="connsiteX8801" fmla="*/ 6792382 w 8079933"/>
              <a:gd name="connsiteY8801" fmla="*/ 2780929 h 4687251"/>
              <a:gd name="connsiteX8802" fmla="*/ 6795421 w 8079933"/>
              <a:gd name="connsiteY8802" fmla="*/ 2781255 h 4687251"/>
              <a:gd name="connsiteX8803" fmla="*/ 6799436 w 8079933"/>
              <a:gd name="connsiteY8803" fmla="*/ 2776599 h 4687251"/>
              <a:gd name="connsiteX8804" fmla="*/ 6799544 w 8079933"/>
              <a:gd name="connsiteY8804" fmla="*/ 2773243 h 4687251"/>
              <a:gd name="connsiteX8805" fmla="*/ 6796614 w 8079933"/>
              <a:gd name="connsiteY8805" fmla="*/ 2768587 h 4687251"/>
              <a:gd name="connsiteX8806" fmla="*/ 6800303 w 8079933"/>
              <a:gd name="connsiteY8806" fmla="*/ 2770860 h 4687251"/>
              <a:gd name="connsiteX8807" fmla="*/ 6799544 w 8079933"/>
              <a:gd name="connsiteY8807" fmla="*/ 2763931 h 4687251"/>
              <a:gd name="connsiteX8808" fmla="*/ 6800629 w 8079933"/>
              <a:gd name="connsiteY8808" fmla="*/ 2756569 h 4687251"/>
              <a:gd name="connsiteX8809" fmla="*/ 3618483 w 8079933"/>
              <a:gd name="connsiteY8809" fmla="*/ 2754419 h 4687251"/>
              <a:gd name="connsiteX8810" fmla="*/ 3616968 w 8079933"/>
              <a:gd name="connsiteY8810" fmla="*/ 2755594 h 4687251"/>
              <a:gd name="connsiteX8811" fmla="*/ 3608721 w 8079933"/>
              <a:gd name="connsiteY8811" fmla="*/ 2757218 h 4687251"/>
              <a:gd name="connsiteX8812" fmla="*/ 3606141 w 8079933"/>
              <a:gd name="connsiteY8812" fmla="*/ 2758702 h 4687251"/>
              <a:gd name="connsiteX8813" fmla="*/ 3608721 w 8079933"/>
              <a:gd name="connsiteY8813" fmla="*/ 2757218 h 4687251"/>
              <a:gd name="connsiteX8814" fmla="*/ 3616968 w 8079933"/>
              <a:gd name="connsiteY8814" fmla="*/ 2755594 h 4687251"/>
              <a:gd name="connsiteX8815" fmla="*/ 6150615 w 8079933"/>
              <a:gd name="connsiteY8815" fmla="*/ 2754294 h 4687251"/>
              <a:gd name="connsiteX8816" fmla="*/ 6152568 w 8079933"/>
              <a:gd name="connsiteY8816" fmla="*/ 2757542 h 4687251"/>
              <a:gd name="connsiteX8817" fmla="*/ 6147142 w 8079933"/>
              <a:gd name="connsiteY8817" fmla="*/ 2756135 h 4687251"/>
              <a:gd name="connsiteX8818" fmla="*/ 4285567 w 8079933"/>
              <a:gd name="connsiteY8818" fmla="*/ 2751773 h 4687251"/>
              <a:gd name="connsiteX8819" fmla="*/ 4286623 w 8079933"/>
              <a:gd name="connsiteY8819" fmla="*/ 2755594 h 4687251"/>
              <a:gd name="connsiteX8820" fmla="*/ 4286190 w 8079933"/>
              <a:gd name="connsiteY8820" fmla="*/ 2758625 h 4687251"/>
              <a:gd name="connsiteX8821" fmla="*/ 4280655 w 8079933"/>
              <a:gd name="connsiteY8821" fmla="*/ 2761116 h 4687251"/>
              <a:gd name="connsiteX8822" fmla="*/ 4277400 w 8079933"/>
              <a:gd name="connsiteY8822" fmla="*/ 2764689 h 4687251"/>
              <a:gd name="connsiteX8823" fmla="*/ 4274687 w 8079933"/>
              <a:gd name="connsiteY8823" fmla="*/ 2764580 h 4687251"/>
              <a:gd name="connsiteX8824" fmla="*/ 4270129 w 8079933"/>
              <a:gd name="connsiteY8824" fmla="*/ 2768154 h 4687251"/>
              <a:gd name="connsiteX8825" fmla="*/ 4269369 w 8079933"/>
              <a:gd name="connsiteY8825" fmla="*/ 2770211 h 4687251"/>
              <a:gd name="connsiteX8826" fmla="*/ 4266873 w 8079933"/>
              <a:gd name="connsiteY8826" fmla="*/ 2772376 h 4687251"/>
              <a:gd name="connsiteX8827" fmla="*/ 4262967 w 8079933"/>
              <a:gd name="connsiteY8827" fmla="*/ 2780387 h 4687251"/>
              <a:gd name="connsiteX8828" fmla="*/ 4260254 w 8079933"/>
              <a:gd name="connsiteY8828" fmla="*/ 2784935 h 4687251"/>
              <a:gd name="connsiteX8829" fmla="*/ 4260905 w 8079933"/>
              <a:gd name="connsiteY8829" fmla="*/ 2788617 h 4687251"/>
              <a:gd name="connsiteX8830" fmla="*/ 4260255 w 8079933"/>
              <a:gd name="connsiteY8830" fmla="*/ 2784936 h 4687251"/>
              <a:gd name="connsiteX8831" fmla="*/ 4262968 w 8079933"/>
              <a:gd name="connsiteY8831" fmla="*/ 2780388 h 4687251"/>
              <a:gd name="connsiteX8832" fmla="*/ 4266875 w 8079933"/>
              <a:gd name="connsiteY8832" fmla="*/ 2772376 h 4687251"/>
              <a:gd name="connsiteX8833" fmla="*/ 4269370 w 8079933"/>
              <a:gd name="connsiteY8833" fmla="*/ 2770211 h 4687251"/>
              <a:gd name="connsiteX8834" fmla="*/ 4270129 w 8079933"/>
              <a:gd name="connsiteY8834" fmla="*/ 2768154 h 4687251"/>
              <a:gd name="connsiteX8835" fmla="*/ 4274687 w 8079933"/>
              <a:gd name="connsiteY8835" fmla="*/ 2764581 h 4687251"/>
              <a:gd name="connsiteX8836" fmla="*/ 4277401 w 8079933"/>
              <a:gd name="connsiteY8836" fmla="*/ 2764689 h 4687251"/>
              <a:gd name="connsiteX8837" fmla="*/ 4280655 w 8079933"/>
              <a:gd name="connsiteY8837" fmla="*/ 2761116 h 4687251"/>
              <a:gd name="connsiteX8838" fmla="*/ 4286190 w 8079933"/>
              <a:gd name="connsiteY8838" fmla="*/ 2758626 h 4687251"/>
              <a:gd name="connsiteX8839" fmla="*/ 4286624 w 8079933"/>
              <a:gd name="connsiteY8839" fmla="*/ 2755594 h 4687251"/>
              <a:gd name="connsiteX8840" fmla="*/ 3823257 w 8079933"/>
              <a:gd name="connsiteY8840" fmla="*/ 2749639 h 4687251"/>
              <a:gd name="connsiteX8841" fmla="*/ 3823257 w 8079933"/>
              <a:gd name="connsiteY8841" fmla="*/ 2749639 h 4687251"/>
              <a:gd name="connsiteX8842" fmla="*/ 3824885 w 8079933"/>
              <a:gd name="connsiteY8842" fmla="*/ 2753970 h 4687251"/>
              <a:gd name="connsiteX8843" fmla="*/ 3825535 w 8079933"/>
              <a:gd name="connsiteY8843" fmla="*/ 2760899 h 4687251"/>
              <a:gd name="connsiteX8844" fmla="*/ 3825537 w 8079933"/>
              <a:gd name="connsiteY8844" fmla="*/ 2760898 h 4687251"/>
              <a:gd name="connsiteX8845" fmla="*/ 3824885 w 8079933"/>
              <a:gd name="connsiteY8845" fmla="*/ 2753969 h 4687251"/>
              <a:gd name="connsiteX8846" fmla="*/ 4032349 w 8079933"/>
              <a:gd name="connsiteY8846" fmla="*/ 2749590 h 4687251"/>
              <a:gd name="connsiteX8847" fmla="*/ 4032152 w 8079933"/>
              <a:gd name="connsiteY8847" fmla="*/ 2749748 h 4687251"/>
              <a:gd name="connsiteX8848" fmla="*/ 4031067 w 8079933"/>
              <a:gd name="connsiteY8848" fmla="*/ 2754728 h 4687251"/>
              <a:gd name="connsiteX8849" fmla="*/ 4032152 w 8079933"/>
              <a:gd name="connsiteY8849" fmla="*/ 2758517 h 4687251"/>
              <a:gd name="connsiteX8850" fmla="*/ 4038663 w 8079933"/>
              <a:gd name="connsiteY8850" fmla="*/ 2763715 h 4687251"/>
              <a:gd name="connsiteX8851" fmla="*/ 4038771 w 8079933"/>
              <a:gd name="connsiteY8851" fmla="*/ 2769561 h 4687251"/>
              <a:gd name="connsiteX8852" fmla="*/ 4041159 w 8079933"/>
              <a:gd name="connsiteY8852" fmla="*/ 2778115 h 4687251"/>
              <a:gd name="connsiteX8853" fmla="*/ 4040291 w 8079933"/>
              <a:gd name="connsiteY8853" fmla="*/ 2780821 h 4687251"/>
              <a:gd name="connsiteX8854" fmla="*/ 4039694 w 8079933"/>
              <a:gd name="connsiteY8854" fmla="*/ 2780858 h 4687251"/>
              <a:gd name="connsiteX8855" fmla="*/ 4040292 w 8079933"/>
              <a:gd name="connsiteY8855" fmla="*/ 2780821 h 4687251"/>
              <a:gd name="connsiteX8856" fmla="*/ 4041160 w 8079933"/>
              <a:gd name="connsiteY8856" fmla="*/ 2778114 h 4687251"/>
              <a:gd name="connsiteX8857" fmla="*/ 4038772 w 8079933"/>
              <a:gd name="connsiteY8857" fmla="*/ 2769561 h 4687251"/>
              <a:gd name="connsiteX8858" fmla="*/ 4038664 w 8079933"/>
              <a:gd name="connsiteY8858" fmla="*/ 2763714 h 4687251"/>
              <a:gd name="connsiteX8859" fmla="*/ 4032153 w 8079933"/>
              <a:gd name="connsiteY8859" fmla="*/ 2758517 h 4687251"/>
              <a:gd name="connsiteX8860" fmla="*/ 4031068 w 8079933"/>
              <a:gd name="connsiteY8860" fmla="*/ 2754728 h 4687251"/>
              <a:gd name="connsiteX8861" fmla="*/ 4032153 w 8079933"/>
              <a:gd name="connsiteY8861" fmla="*/ 2749748 h 4687251"/>
              <a:gd name="connsiteX8862" fmla="*/ 6929113 w 8079933"/>
              <a:gd name="connsiteY8862" fmla="*/ 2748990 h 4687251"/>
              <a:gd name="connsiteX8863" fmla="*/ 6928136 w 8079933"/>
              <a:gd name="connsiteY8863" fmla="*/ 2753537 h 4687251"/>
              <a:gd name="connsiteX8864" fmla="*/ 6924446 w 8079933"/>
              <a:gd name="connsiteY8864" fmla="*/ 2753970 h 4687251"/>
              <a:gd name="connsiteX8865" fmla="*/ 6920974 w 8079933"/>
              <a:gd name="connsiteY8865" fmla="*/ 2751696 h 4687251"/>
              <a:gd name="connsiteX8866" fmla="*/ 6923470 w 8079933"/>
              <a:gd name="connsiteY8866" fmla="*/ 2749856 h 4687251"/>
              <a:gd name="connsiteX8867" fmla="*/ 3996234 w 8079933"/>
              <a:gd name="connsiteY8867" fmla="*/ 2747798 h 4687251"/>
              <a:gd name="connsiteX8868" fmla="*/ 3992110 w 8079933"/>
              <a:gd name="connsiteY8868" fmla="*/ 2748014 h 4687251"/>
              <a:gd name="connsiteX8869" fmla="*/ 3984514 w 8079933"/>
              <a:gd name="connsiteY8869" fmla="*/ 2751912 h 4687251"/>
              <a:gd name="connsiteX8870" fmla="*/ 3982018 w 8079933"/>
              <a:gd name="connsiteY8870" fmla="*/ 2750721 h 4687251"/>
              <a:gd name="connsiteX8871" fmla="*/ 3977135 w 8079933"/>
              <a:gd name="connsiteY8871" fmla="*/ 2753104 h 4687251"/>
              <a:gd name="connsiteX8872" fmla="*/ 3982018 w 8079933"/>
              <a:gd name="connsiteY8872" fmla="*/ 2750722 h 4687251"/>
              <a:gd name="connsiteX8873" fmla="*/ 3984513 w 8079933"/>
              <a:gd name="connsiteY8873" fmla="*/ 2751913 h 4687251"/>
              <a:gd name="connsiteX8874" fmla="*/ 3992109 w 8079933"/>
              <a:gd name="connsiteY8874" fmla="*/ 2748015 h 4687251"/>
              <a:gd name="connsiteX8875" fmla="*/ 3996233 w 8079933"/>
              <a:gd name="connsiteY8875" fmla="*/ 2747799 h 4687251"/>
              <a:gd name="connsiteX8876" fmla="*/ 2255234 w 8079933"/>
              <a:gd name="connsiteY8876" fmla="*/ 2747484 h 4687251"/>
              <a:gd name="connsiteX8877" fmla="*/ 2254976 w 8079933"/>
              <a:gd name="connsiteY8877" fmla="*/ 2747690 h 4687251"/>
              <a:gd name="connsiteX8878" fmla="*/ 2242713 w 8079933"/>
              <a:gd name="connsiteY8878" fmla="*/ 2752454 h 4687251"/>
              <a:gd name="connsiteX8879" fmla="*/ 2236735 w 8079933"/>
              <a:gd name="connsiteY8879" fmla="*/ 2761672 h 4687251"/>
              <a:gd name="connsiteX8880" fmla="*/ 2242713 w 8079933"/>
              <a:gd name="connsiteY8880" fmla="*/ 2752454 h 4687251"/>
              <a:gd name="connsiteX8881" fmla="*/ 2254975 w 8079933"/>
              <a:gd name="connsiteY8881" fmla="*/ 2747690 h 4687251"/>
              <a:gd name="connsiteX8882" fmla="*/ 6484519 w 8079933"/>
              <a:gd name="connsiteY8882" fmla="*/ 2746283 h 4687251"/>
              <a:gd name="connsiteX8883" fmla="*/ 6479745 w 8079933"/>
              <a:gd name="connsiteY8883" fmla="*/ 2749747 h 4687251"/>
              <a:gd name="connsiteX8884" fmla="*/ 6480722 w 8079933"/>
              <a:gd name="connsiteY8884" fmla="*/ 2758192 h 4687251"/>
              <a:gd name="connsiteX8885" fmla="*/ 6486039 w 8079933"/>
              <a:gd name="connsiteY8885" fmla="*/ 2759708 h 4687251"/>
              <a:gd name="connsiteX8886" fmla="*/ 6490379 w 8079933"/>
              <a:gd name="connsiteY8886" fmla="*/ 2764147 h 4687251"/>
              <a:gd name="connsiteX8887" fmla="*/ 6489511 w 8079933"/>
              <a:gd name="connsiteY8887" fmla="*/ 2767395 h 4687251"/>
              <a:gd name="connsiteX8888" fmla="*/ 6491790 w 8079933"/>
              <a:gd name="connsiteY8888" fmla="*/ 2772376 h 4687251"/>
              <a:gd name="connsiteX8889" fmla="*/ 6484195 w 8079933"/>
              <a:gd name="connsiteY8889" fmla="*/ 2772917 h 4687251"/>
              <a:gd name="connsiteX8890" fmla="*/ 6484195 w 8079933"/>
              <a:gd name="connsiteY8890" fmla="*/ 2772917 h 4687251"/>
              <a:gd name="connsiteX8891" fmla="*/ 6491791 w 8079933"/>
              <a:gd name="connsiteY8891" fmla="*/ 2772376 h 4687251"/>
              <a:gd name="connsiteX8892" fmla="*/ 6489512 w 8079933"/>
              <a:gd name="connsiteY8892" fmla="*/ 2767396 h 4687251"/>
              <a:gd name="connsiteX8893" fmla="*/ 6490380 w 8079933"/>
              <a:gd name="connsiteY8893" fmla="*/ 2764147 h 4687251"/>
              <a:gd name="connsiteX8894" fmla="*/ 6486040 w 8079933"/>
              <a:gd name="connsiteY8894" fmla="*/ 2759708 h 4687251"/>
              <a:gd name="connsiteX8895" fmla="*/ 6480723 w 8079933"/>
              <a:gd name="connsiteY8895" fmla="*/ 2758192 h 4687251"/>
              <a:gd name="connsiteX8896" fmla="*/ 6479745 w 8079933"/>
              <a:gd name="connsiteY8896" fmla="*/ 2749747 h 4687251"/>
              <a:gd name="connsiteX8897" fmla="*/ 6484520 w 8079933"/>
              <a:gd name="connsiteY8897" fmla="*/ 2746283 h 4687251"/>
              <a:gd name="connsiteX8898" fmla="*/ 4295400 w 8079933"/>
              <a:gd name="connsiteY8898" fmla="*/ 2744454 h 4687251"/>
              <a:gd name="connsiteX8899" fmla="*/ 4295522 w 8079933"/>
              <a:gd name="connsiteY8899" fmla="*/ 2744984 h 4687251"/>
              <a:gd name="connsiteX8900" fmla="*/ 4296177 w 8079933"/>
              <a:gd name="connsiteY8900" fmla="*/ 2746491 h 4687251"/>
              <a:gd name="connsiteX8901" fmla="*/ 4295522 w 8079933"/>
              <a:gd name="connsiteY8901" fmla="*/ 2744983 h 4687251"/>
              <a:gd name="connsiteX8902" fmla="*/ 4283680 w 8079933"/>
              <a:gd name="connsiteY8902" fmla="*/ 2744278 h 4687251"/>
              <a:gd name="connsiteX8903" fmla="*/ 4284670 w 8079933"/>
              <a:gd name="connsiteY8903" fmla="*/ 2746716 h 4687251"/>
              <a:gd name="connsiteX8904" fmla="*/ 4284852 w 8079933"/>
              <a:gd name="connsiteY8904" fmla="*/ 2748881 h 4687251"/>
              <a:gd name="connsiteX8905" fmla="*/ 4284671 w 8079933"/>
              <a:gd name="connsiteY8905" fmla="*/ 2746716 h 4687251"/>
              <a:gd name="connsiteX8906" fmla="*/ 4472929 w 8079933"/>
              <a:gd name="connsiteY8906" fmla="*/ 2741501 h 4687251"/>
              <a:gd name="connsiteX8907" fmla="*/ 4473598 w 8079933"/>
              <a:gd name="connsiteY8907" fmla="*/ 2742710 h 4687251"/>
              <a:gd name="connsiteX8908" fmla="*/ 4473923 w 8079933"/>
              <a:gd name="connsiteY8908" fmla="*/ 2748881 h 4687251"/>
              <a:gd name="connsiteX8909" fmla="*/ 4474328 w 8079933"/>
              <a:gd name="connsiteY8909" fmla="*/ 2751053 h 4687251"/>
              <a:gd name="connsiteX8910" fmla="*/ 4473923 w 8079933"/>
              <a:gd name="connsiteY8910" fmla="*/ 2748880 h 4687251"/>
              <a:gd name="connsiteX8911" fmla="*/ 4473598 w 8079933"/>
              <a:gd name="connsiteY8911" fmla="*/ 2742709 h 4687251"/>
              <a:gd name="connsiteX8912" fmla="*/ 6808878 w 8079933"/>
              <a:gd name="connsiteY8912" fmla="*/ 2740978 h 4687251"/>
              <a:gd name="connsiteX8913" fmla="*/ 6813761 w 8079933"/>
              <a:gd name="connsiteY8913" fmla="*/ 2742277 h 4687251"/>
              <a:gd name="connsiteX8914" fmla="*/ 6815280 w 8079933"/>
              <a:gd name="connsiteY8914" fmla="*/ 2745850 h 4687251"/>
              <a:gd name="connsiteX8915" fmla="*/ 6813544 w 8079933"/>
              <a:gd name="connsiteY8915" fmla="*/ 2747041 h 4687251"/>
              <a:gd name="connsiteX8916" fmla="*/ 6811916 w 8079933"/>
              <a:gd name="connsiteY8916" fmla="*/ 2749206 h 4687251"/>
              <a:gd name="connsiteX8917" fmla="*/ 6809746 w 8079933"/>
              <a:gd name="connsiteY8917" fmla="*/ 2749206 h 4687251"/>
              <a:gd name="connsiteX8918" fmla="*/ 6808335 w 8079933"/>
              <a:gd name="connsiteY8918" fmla="*/ 2743793 h 4687251"/>
              <a:gd name="connsiteX8919" fmla="*/ 5191219 w 8079933"/>
              <a:gd name="connsiteY8919" fmla="*/ 2740870 h 4687251"/>
              <a:gd name="connsiteX8920" fmla="*/ 5197513 w 8079933"/>
              <a:gd name="connsiteY8920" fmla="*/ 2742710 h 4687251"/>
              <a:gd name="connsiteX8921" fmla="*/ 5192413 w 8079933"/>
              <a:gd name="connsiteY8921" fmla="*/ 2743468 h 4687251"/>
              <a:gd name="connsiteX8922" fmla="*/ 5186227 w 8079933"/>
              <a:gd name="connsiteY8922" fmla="*/ 2742494 h 4687251"/>
              <a:gd name="connsiteX8923" fmla="*/ 6866607 w 8079933"/>
              <a:gd name="connsiteY8923" fmla="*/ 2740762 h 4687251"/>
              <a:gd name="connsiteX8924" fmla="*/ 6871165 w 8079933"/>
              <a:gd name="connsiteY8924" fmla="*/ 2745309 h 4687251"/>
              <a:gd name="connsiteX8925" fmla="*/ 6874637 w 8079933"/>
              <a:gd name="connsiteY8925" fmla="*/ 2746825 h 4687251"/>
              <a:gd name="connsiteX8926" fmla="*/ 6873769 w 8079933"/>
              <a:gd name="connsiteY8926" fmla="*/ 2748666 h 4687251"/>
              <a:gd name="connsiteX8927" fmla="*/ 6876373 w 8079933"/>
              <a:gd name="connsiteY8927" fmla="*/ 2748990 h 4687251"/>
              <a:gd name="connsiteX8928" fmla="*/ 6881366 w 8079933"/>
              <a:gd name="connsiteY8928" fmla="*/ 2748557 h 4687251"/>
              <a:gd name="connsiteX8929" fmla="*/ 6884729 w 8079933"/>
              <a:gd name="connsiteY8929" fmla="*/ 2749532 h 4687251"/>
              <a:gd name="connsiteX8930" fmla="*/ 6887551 w 8079933"/>
              <a:gd name="connsiteY8930" fmla="*/ 2753971 h 4687251"/>
              <a:gd name="connsiteX8931" fmla="*/ 6890698 w 8079933"/>
              <a:gd name="connsiteY8931" fmla="*/ 2750073 h 4687251"/>
              <a:gd name="connsiteX8932" fmla="*/ 6893519 w 8079933"/>
              <a:gd name="connsiteY8932" fmla="*/ 2748233 h 4687251"/>
              <a:gd name="connsiteX8933" fmla="*/ 6895690 w 8079933"/>
              <a:gd name="connsiteY8933" fmla="*/ 2751697 h 4687251"/>
              <a:gd name="connsiteX8934" fmla="*/ 6894930 w 8079933"/>
              <a:gd name="connsiteY8934" fmla="*/ 2755703 h 4687251"/>
              <a:gd name="connsiteX8935" fmla="*/ 6892325 w 8079933"/>
              <a:gd name="connsiteY8935" fmla="*/ 2757760 h 4687251"/>
              <a:gd name="connsiteX8936" fmla="*/ 6890046 w 8079933"/>
              <a:gd name="connsiteY8936" fmla="*/ 2762849 h 4687251"/>
              <a:gd name="connsiteX8937" fmla="*/ 6884296 w 8079933"/>
              <a:gd name="connsiteY8937" fmla="*/ 2767505 h 4687251"/>
              <a:gd name="connsiteX8938" fmla="*/ 6882450 w 8079933"/>
              <a:gd name="connsiteY8938" fmla="*/ 2770753 h 4687251"/>
              <a:gd name="connsiteX8939" fmla="*/ 6879846 w 8079933"/>
              <a:gd name="connsiteY8939" fmla="*/ 2770753 h 4687251"/>
              <a:gd name="connsiteX8940" fmla="*/ 6879304 w 8079933"/>
              <a:gd name="connsiteY8940" fmla="*/ 2772269 h 4687251"/>
              <a:gd name="connsiteX8941" fmla="*/ 6876157 w 8079933"/>
              <a:gd name="connsiteY8941" fmla="*/ 2772161 h 4687251"/>
              <a:gd name="connsiteX8942" fmla="*/ 6870839 w 8079933"/>
              <a:gd name="connsiteY8942" fmla="*/ 2775517 h 4687251"/>
              <a:gd name="connsiteX8943" fmla="*/ 6869320 w 8079933"/>
              <a:gd name="connsiteY8943" fmla="*/ 2777466 h 4687251"/>
              <a:gd name="connsiteX8944" fmla="*/ 6867150 w 8079933"/>
              <a:gd name="connsiteY8944" fmla="*/ 2778332 h 4687251"/>
              <a:gd name="connsiteX8945" fmla="*/ 6865305 w 8079933"/>
              <a:gd name="connsiteY8945" fmla="*/ 2770320 h 4687251"/>
              <a:gd name="connsiteX8946" fmla="*/ 6867041 w 8079933"/>
              <a:gd name="connsiteY8946" fmla="*/ 2764582 h 4687251"/>
              <a:gd name="connsiteX8947" fmla="*/ 6866824 w 8079933"/>
              <a:gd name="connsiteY8947" fmla="*/ 2756461 h 4687251"/>
              <a:gd name="connsiteX8948" fmla="*/ 6867800 w 8079933"/>
              <a:gd name="connsiteY8948" fmla="*/ 2752022 h 4687251"/>
              <a:gd name="connsiteX8949" fmla="*/ 6867909 w 8079933"/>
              <a:gd name="connsiteY8949" fmla="*/ 2747366 h 4687251"/>
              <a:gd name="connsiteX8950" fmla="*/ 6865630 w 8079933"/>
              <a:gd name="connsiteY8950" fmla="*/ 2746825 h 4687251"/>
              <a:gd name="connsiteX8951" fmla="*/ 6860747 w 8079933"/>
              <a:gd name="connsiteY8951" fmla="*/ 2744984 h 4687251"/>
              <a:gd name="connsiteX8952" fmla="*/ 6861615 w 8079933"/>
              <a:gd name="connsiteY8952" fmla="*/ 2742061 h 4687251"/>
              <a:gd name="connsiteX8953" fmla="*/ 6323999 w 8079933"/>
              <a:gd name="connsiteY8953" fmla="*/ 2740336 h 4687251"/>
              <a:gd name="connsiteX8954" fmla="*/ 6325001 w 8079933"/>
              <a:gd name="connsiteY8954" fmla="*/ 2742060 h 4687251"/>
              <a:gd name="connsiteX8955" fmla="*/ 6325001 w 8079933"/>
              <a:gd name="connsiteY8955" fmla="*/ 2742060 h 4687251"/>
              <a:gd name="connsiteX8956" fmla="*/ 3691409 w 8079933"/>
              <a:gd name="connsiteY8956" fmla="*/ 2740219 h 4687251"/>
              <a:gd name="connsiteX8957" fmla="*/ 3686092 w 8079933"/>
              <a:gd name="connsiteY8957" fmla="*/ 2742493 h 4687251"/>
              <a:gd name="connsiteX8958" fmla="*/ 3686093 w 8079933"/>
              <a:gd name="connsiteY8958" fmla="*/ 2742493 h 4687251"/>
              <a:gd name="connsiteX8959" fmla="*/ 3691410 w 8079933"/>
              <a:gd name="connsiteY8959" fmla="*/ 2740220 h 4687251"/>
              <a:gd name="connsiteX8960" fmla="*/ 2490782 w 8079933"/>
              <a:gd name="connsiteY8960" fmla="*/ 2738813 h 4687251"/>
              <a:gd name="connsiteX8961" fmla="*/ 2492736 w 8079933"/>
              <a:gd name="connsiteY8961" fmla="*/ 2741736 h 4687251"/>
              <a:gd name="connsiteX8962" fmla="*/ 2489805 w 8079933"/>
              <a:gd name="connsiteY8962" fmla="*/ 2745742 h 4687251"/>
              <a:gd name="connsiteX8963" fmla="*/ 2484054 w 8079933"/>
              <a:gd name="connsiteY8963" fmla="*/ 2745525 h 4687251"/>
              <a:gd name="connsiteX8964" fmla="*/ 2485790 w 8079933"/>
              <a:gd name="connsiteY8964" fmla="*/ 2739895 h 4687251"/>
              <a:gd name="connsiteX8965" fmla="*/ 6387941 w 8079933"/>
              <a:gd name="connsiteY8965" fmla="*/ 2737188 h 4687251"/>
              <a:gd name="connsiteX8966" fmla="*/ 6394236 w 8079933"/>
              <a:gd name="connsiteY8966" fmla="*/ 2743576 h 4687251"/>
              <a:gd name="connsiteX8967" fmla="*/ 6391740 w 8079933"/>
              <a:gd name="connsiteY8967" fmla="*/ 2744117 h 4687251"/>
              <a:gd name="connsiteX8968" fmla="*/ 6388375 w 8079933"/>
              <a:gd name="connsiteY8968" fmla="*/ 2741302 h 4687251"/>
              <a:gd name="connsiteX8969" fmla="*/ 4959535 w 8079933"/>
              <a:gd name="connsiteY8969" fmla="*/ 2737188 h 4687251"/>
              <a:gd name="connsiteX8970" fmla="*/ 4955467 w 8079933"/>
              <a:gd name="connsiteY8970" fmla="*/ 2738348 h 4687251"/>
              <a:gd name="connsiteX8971" fmla="*/ 4955221 w 8079933"/>
              <a:gd name="connsiteY8971" fmla="*/ 2738418 h 4687251"/>
              <a:gd name="connsiteX8972" fmla="*/ 4955130 w 8079933"/>
              <a:gd name="connsiteY8972" fmla="*/ 2738444 h 4687251"/>
              <a:gd name="connsiteX8973" fmla="*/ 4954219 w 8079933"/>
              <a:gd name="connsiteY8973" fmla="*/ 2738703 h 4687251"/>
              <a:gd name="connsiteX8974" fmla="*/ 4954219 w 8079933"/>
              <a:gd name="connsiteY8974" fmla="*/ 2738704 h 4687251"/>
              <a:gd name="connsiteX8975" fmla="*/ 4955130 w 8079933"/>
              <a:gd name="connsiteY8975" fmla="*/ 2738444 h 4687251"/>
              <a:gd name="connsiteX8976" fmla="*/ 4955467 w 8079933"/>
              <a:gd name="connsiteY8976" fmla="*/ 2738348 h 4687251"/>
              <a:gd name="connsiteX8977" fmla="*/ 4959535 w 8079933"/>
              <a:gd name="connsiteY8977" fmla="*/ 2737188 h 4687251"/>
              <a:gd name="connsiteX8978" fmla="*/ 2328875 w 8079933"/>
              <a:gd name="connsiteY8978" fmla="*/ 2736431 h 4687251"/>
              <a:gd name="connsiteX8979" fmla="*/ 2333324 w 8079933"/>
              <a:gd name="connsiteY8979" fmla="*/ 2740870 h 4687251"/>
              <a:gd name="connsiteX8980" fmla="*/ 2332348 w 8079933"/>
              <a:gd name="connsiteY8980" fmla="*/ 2744876 h 4687251"/>
              <a:gd name="connsiteX8981" fmla="*/ 2329526 w 8079933"/>
              <a:gd name="connsiteY8981" fmla="*/ 2741303 h 4687251"/>
              <a:gd name="connsiteX8982" fmla="*/ 2326271 w 8079933"/>
              <a:gd name="connsiteY8982" fmla="*/ 2740761 h 4687251"/>
              <a:gd name="connsiteX8983" fmla="*/ 2324209 w 8079933"/>
              <a:gd name="connsiteY8983" fmla="*/ 2736756 h 4687251"/>
              <a:gd name="connsiteX8984" fmla="*/ 6165591 w 8079933"/>
              <a:gd name="connsiteY8984" fmla="*/ 2736214 h 4687251"/>
              <a:gd name="connsiteX8985" fmla="*/ 6165591 w 8079933"/>
              <a:gd name="connsiteY8985" fmla="*/ 2738487 h 4687251"/>
              <a:gd name="connsiteX8986" fmla="*/ 6162878 w 8079933"/>
              <a:gd name="connsiteY8986" fmla="*/ 2740869 h 4687251"/>
              <a:gd name="connsiteX8987" fmla="*/ 6161250 w 8079933"/>
              <a:gd name="connsiteY8987" fmla="*/ 2746066 h 4687251"/>
              <a:gd name="connsiteX8988" fmla="*/ 6162986 w 8079933"/>
              <a:gd name="connsiteY8988" fmla="*/ 2749098 h 4687251"/>
              <a:gd name="connsiteX8989" fmla="*/ 6163529 w 8079933"/>
              <a:gd name="connsiteY8989" fmla="*/ 2753537 h 4687251"/>
              <a:gd name="connsiteX8990" fmla="*/ 6160056 w 8079933"/>
              <a:gd name="connsiteY8990" fmla="*/ 2761116 h 4687251"/>
              <a:gd name="connsiteX8991" fmla="*/ 6158753 w 8079933"/>
              <a:gd name="connsiteY8991" fmla="*/ 2757868 h 4687251"/>
              <a:gd name="connsiteX8992" fmla="*/ 6160056 w 8079933"/>
              <a:gd name="connsiteY8992" fmla="*/ 2753970 h 4687251"/>
              <a:gd name="connsiteX8993" fmla="*/ 6157560 w 8079933"/>
              <a:gd name="connsiteY8993" fmla="*/ 2748448 h 4687251"/>
              <a:gd name="connsiteX8994" fmla="*/ 6159080 w 8079933"/>
              <a:gd name="connsiteY8994" fmla="*/ 2745308 h 4687251"/>
              <a:gd name="connsiteX8995" fmla="*/ 6159080 w 8079933"/>
              <a:gd name="connsiteY8995" fmla="*/ 2738487 h 4687251"/>
              <a:gd name="connsiteX8996" fmla="*/ 4008387 w 8079933"/>
              <a:gd name="connsiteY8996" fmla="*/ 2736105 h 4687251"/>
              <a:gd name="connsiteX8997" fmla="*/ 4004046 w 8079933"/>
              <a:gd name="connsiteY8997" fmla="*/ 2737512 h 4687251"/>
              <a:gd name="connsiteX8998" fmla="*/ 4001551 w 8079933"/>
              <a:gd name="connsiteY8998" fmla="*/ 2737729 h 4687251"/>
              <a:gd name="connsiteX8999" fmla="*/ 4001551 w 8079933"/>
              <a:gd name="connsiteY8999" fmla="*/ 2737730 h 4687251"/>
              <a:gd name="connsiteX9000" fmla="*/ 4004046 w 8079933"/>
              <a:gd name="connsiteY9000" fmla="*/ 2737513 h 4687251"/>
              <a:gd name="connsiteX9001" fmla="*/ 4008387 w 8079933"/>
              <a:gd name="connsiteY9001" fmla="*/ 2736106 h 4687251"/>
              <a:gd name="connsiteX9002" fmla="*/ 2308365 w 8079933"/>
              <a:gd name="connsiteY9002" fmla="*/ 2734698 h 4687251"/>
              <a:gd name="connsiteX9003" fmla="*/ 2312815 w 8079933"/>
              <a:gd name="connsiteY9003" fmla="*/ 2739894 h 4687251"/>
              <a:gd name="connsiteX9004" fmla="*/ 2316938 w 8079933"/>
              <a:gd name="connsiteY9004" fmla="*/ 2740328 h 4687251"/>
              <a:gd name="connsiteX9005" fmla="*/ 2314551 w 8079933"/>
              <a:gd name="connsiteY9005" fmla="*/ 2742926 h 4687251"/>
              <a:gd name="connsiteX9006" fmla="*/ 2309234 w 8079933"/>
              <a:gd name="connsiteY9006" fmla="*/ 2741735 h 4687251"/>
              <a:gd name="connsiteX9007" fmla="*/ 2306955 w 8079933"/>
              <a:gd name="connsiteY9007" fmla="*/ 2737080 h 4687251"/>
              <a:gd name="connsiteX9008" fmla="*/ 3723096 w 8079933"/>
              <a:gd name="connsiteY9008" fmla="*/ 2734698 h 4687251"/>
              <a:gd name="connsiteX9009" fmla="*/ 3718538 w 8079933"/>
              <a:gd name="connsiteY9009" fmla="*/ 2734915 h 4687251"/>
              <a:gd name="connsiteX9010" fmla="*/ 3713872 w 8079933"/>
              <a:gd name="connsiteY9010" fmla="*/ 2741627 h 4687251"/>
              <a:gd name="connsiteX9011" fmla="*/ 3710725 w 8079933"/>
              <a:gd name="connsiteY9011" fmla="*/ 2741844 h 4687251"/>
              <a:gd name="connsiteX9012" fmla="*/ 3705842 w 8079933"/>
              <a:gd name="connsiteY9012" fmla="*/ 2745309 h 4687251"/>
              <a:gd name="connsiteX9013" fmla="*/ 3705843 w 8079933"/>
              <a:gd name="connsiteY9013" fmla="*/ 2745309 h 4687251"/>
              <a:gd name="connsiteX9014" fmla="*/ 3710726 w 8079933"/>
              <a:gd name="connsiteY9014" fmla="*/ 2741844 h 4687251"/>
              <a:gd name="connsiteX9015" fmla="*/ 3713873 w 8079933"/>
              <a:gd name="connsiteY9015" fmla="*/ 2741627 h 4687251"/>
              <a:gd name="connsiteX9016" fmla="*/ 3718539 w 8079933"/>
              <a:gd name="connsiteY9016" fmla="*/ 2734915 h 4687251"/>
              <a:gd name="connsiteX9017" fmla="*/ 3723097 w 8079933"/>
              <a:gd name="connsiteY9017" fmla="*/ 2734698 h 4687251"/>
              <a:gd name="connsiteX9018" fmla="*/ 3725779 w 8079933"/>
              <a:gd name="connsiteY9018" fmla="*/ 2735877 h 4687251"/>
              <a:gd name="connsiteX9019" fmla="*/ 3736010 w 8079933"/>
              <a:gd name="connsiteY9019" fmla="*/ 2734265 h 4687251"/>
              <a:gd name="connsiteX9020" fmla="*/ 3731669 w 8079933"/>
              <a:gd name="connsiteY9020" fmla="*/ 2735672 h 4687251"/>
              <a:gd name="connsiteX9021" fmla="*/ 3729499 w 8079933"/>
              <a:gd name="connsiteY9021" fmla="*/ 2737513 h 4687251"/>
              <a:gd name="connsiteX9022" fmla="*/ 3729499 w 8079933"/>
              <a:gd name="connsiteY9022" fmla="*/ 2737513 h 4687251"/>
              <a:gd name="connsiteX9023" fmla="*/ 3731670 w 8079933"/>
              <a:gd name="connsiteY9023" fmla="*/ 2735672 h 4687251"/>
              <a:gd name="connsiteX9024" fmla="*/ 3736010 w 8079933"/>
              <a:gd name="connsiteY9024" fmla="*/ 2734265 h 4687251"/>
              <a:gd name="connsiteX9025" fmla="*/ 3671010 w 8079933"/>
              <a:gd name="connsiteY9025" fmla="*/ 2734048 h 4687251"/>
              <a:gd name="connsiteX9026" fmla="*/ 3671009 w 8079933"/>
              <a:gd name="connsiteY9026" fmla="*/ 2734048 h 4687251"/>
              <a:gd name="connsiteX9027" fmla="*/ 3675567 w 8079933"/>
              <a:gd name="connsiteY9027" fmla="*/ 2734265 h 4687251"/>
              <a:gd name="connsiteX9028" fmla="*/ 3677846 w 8079933"/>
              <a:gd name="connsiteY9028" fmla="*/ 2736756 h 4687251"/>
              <a:gd name="connsiteX9029" fmla="*/ 3682946 w 8079933"/>
              <a:gd name="connsiteY9029" fmla="*/ 2737188 h 4687251"/>
              <a:gd name="connsiteX9030" fmla="*/ 3683380 w 8079933"/>
              <a:gd name="connsiteY9030" fmla="*/ 2740867 h 4687251"/>
              <a:gd name="connsiteX9031" fmla="*/ 3683380 w 8079933"/>
              <a:gd name="connsiteY9031" fmla="*/ 2740865 h 4687251"/>
              <a:gd name="connsiteX9032" fmla="*/ 3682947 w 8079933"/>
              <a:gd name="connsiteY9032" fmla="*/ 2737188 h 4687251"/>
              <a:gd name="connsiteX9033" fmla="*/ 3677847 w 8079933"/>
              <a:gd name="connsiteY9033" fmla="*/ 2736755 h 4687251"/>
              <a:gd name="connsiteX9034" fmla="*/ 3675568 w 8079933"/>
              <a:gd name="connsiteY9034" fmla="*/ 2734265 h 4687251"/>
              <a:gd name="connsiteX9035" fmla="*/ 4965504 w 8079933"/>
              <a:gd name="connsiteY9035" fmla="*/ 2733831 h 4687251"/>
              <a:gd name="connsiteX9036" fmla="*/ 4961490 w 8079933"/>
              <a:gd name="connsiteY9036" fmla="*/ 2734914 h 4687251"/>
              <a:gd name="connsiteX9037" fmla="*/ 4961489 w 8079933"/>
              <a:gd name="connsiteY9037" fmla="*/ 2734915 h 4687251"/>
              <a:gd name="connsiteX9038" fmla="*/ 4965503 w 8079933"/>
              <a:gd name="connsiteY9038" fmla="*/ 2733832 h 4687251"/>
              <a:gd name="connsiteX9039" fmla="*/ 3561842 w 8079933"/>
              <a:gd name="connsiteY9039" fmla="*/ 2732424 h 4687251"/>
              <a:gd name="connsiteX9040" fmla="*/ 3555059 w 8079933"/>
              <a:gd name="connsiteY9040" fmla="*/ 2735808 h 4687251"/>
              <a:gd name="connsiteX9041" fmla="*/ 3561842 w 8079933"/>
              <a:gd name="connsiteY9041" fmla="*/ 2732424 h 4687251"/>
              <a:gd name="connsiteX9042" fmla="*/ 3577902 w 8079933"/>
              <a:gd name="connsiteY9042" fmla="*/ 2733832 h 4687251"/>
              <a:gd name="connsiteX9043" fmla="*/ 3577903 w 8079933"/>
              <a:gd name="connsiteY9043" fmla="*/ 2733832 h 4687251"/>
              <a:gd name="connsiteX9044" fmla="*/ 4472730 w 8079933"/>
              <a:gd name="connsiteY9044" fmla="*/ 2731557 h 4687251"/>
              <a:gd name="connsiteX9045" fmla="*/ 4470017 w 8079933"/>
              <a:gd name="connsiteY9045" fmla="*/ 2733398 h 4687251"/>
              <a:gd name="connsiteX9046" fmla="*/ 4470017 w 8079933"/>
              <a:gd name="connsiteY9046" fmla="*/ 2733398 h 4687251"/>
              <a:gd name="connsiteX9047" fmla="*/ 4472730 w 8079933"/>
              <a:gd name="connsiteY9047" fmla="*/ 2731558 h 4687251"/>
              <a:gd name="connsiteX9048" fmla="*/ 2494580 w 8079933"/>
              <a:gd name="connsiteY9048" fmla="*/ 2731234 h 4687251"/>
              <a:gd name="connsiteX9049" fmla="*/ 2496968 w 8079933"/>
              <a:gd name="connsiteY9049" fmla="*/ 2735673 h 4687251"/>
              <a:gd name="connsiteX9050" fmla="*/ 2493387 w 8079933"/>
              <a:gd name="connsiteY9050" fmla="*/ 2735673 h 4687251"/>
              <a:gd name="connsiteX9051" fmla="*/ 2494580 w 8079933"/>
              <a:gd name="connsiteY9051" fmla="*/ 2731234 h 4687251"/>
              <a:gd name="connsiteX9052" fmla="*/ 3994714 w 8079933"/>
              <a:gd name="connsiteY9052" fmla="*/ 2731016 h 4687251"/>
              <a:gd name="connsiteX9053" fmla="*/ 3994714 w 8079933"/>
              <a:gd name="connsiteY9053" fmla="*/ 2731016 h 4687251"/>
              <a:gd name="connsiteX9054" fmla="*/ 3995676 w 8079933"/>
              <a:gd name="connsiteY9054" fmla="*/ 2732295 h 4687251"/>
              <a:gd name="connsiteX9055" fmla="*/ 6809636 w 8079933"/>
              <a:gd name="connsiteY9055" fmla="*/ 2730800 h 4687251"/>
              <a:gd name="connsiteX9056" fmla="*/ 6813434 w 8079933"/>
              <a:gd name="connsiteY9056" fmla="*/ 2731341 h 4687251"/>
              <a:gd name="connsiteX9057" fmla="*/ 6816256 w 8079933"/>
              <a:gd name="connsiteY9057" fmla="*/ 2734590 h 4687251"/>
              <a:gd name="connsiteX9058" fmla="*/ 6821139 w 8079933"/>
              <a:gd name="connsiteY9058" fmla="*/ 2735564 h 4687251"/>
              <a:gd name="connsiteX9059" fmla="*/ 6822116 w 8079933"/>
              <a:gd name="connsiteY9059" fmla="*/ 2738054 h 4687251"/>
              <a:gd name="connsiteX9060" fmla="*/ 6820054 w 8079933"/>
              <a:gd name="connsiteY9060" fmla="*/ 2740544 h 4687251"/>
              <a:gd name="connsiteX9061" fmla="*/ 6816907 w 8079933"/>
              <a:gd name="connsiteY9061" fmla="*/ 2739137 h 4687251"/>
              <a:gd name="connsiteX9062" fmla="*/ 6811806 w 8079933"/>
              <a:gd name="connsiteY9062" fmla="*/ 2738812 h 4687251"/>
              <a:gd name="connsiteX9063" fmla="*/ 6809636 w 8079933"/>
              <a:gd name="connsiteY9063" fmla="*/ 2736322 h 4687251"/>
              <a:gd name="connsiteX9064" fmla="*/ 6808008 w 8079933"/>
              <a:gd name="connsiteY9064" fmla="*/ 2732749 h 4687251"/>
              <a:gd name="connsiteX9065" fmla="*/ 4944301 w 8079933"/>
              <a:gd name="connsiteY9065" fmla="*/ 2730043 h 4687251"/>
              <a:gd name="connsiteX9066" fmla="*/ 4947708 w 8079933"/>
              <a:gd name="connsiteY9066" fmla="*/ 2730150 h 4687251"/>
              <a:gd name="connsiteX9067" fmla="*/ 4948773 w 8079933"/>
              <a:gd name="connsiteY9067" fmla="*/ 2731548 h 4687251"/>
              <a:gd name="connsiteX9068" fmla="*/ 4947708 w 8079933"/>
              <a:gd name="connsiteY9068" fmla="*/ 2730150 h 4687251"/>
              <a:gd name="connsiteX9069" fmla="*/ 2285686 w 8079933"/>
              <a:gd name="connsiteY9069" fmla="*/ 2729501 h 4687251"/>
              <a:gd name="connsiteX9070" fmla="*/ 2289266 w 8079933"/>
              <a:gd name="connsiteY9070" fmla="*/ 2729934 h 4687251"/>
              <a:gd name="connsiteX9071" fmla="*/ 2293390 w 8079933"/>
              <a:gd name="connsiteY9071" fmla="*/ 2733724 h 4687251"/>
              <a:gd name="connsiteX9072" fmla="*/ 2288724 w 8079933"/>
              <a:gd name="connsiteY9072" fmla="*/ 2733832 h 4687251"/>
              <a:gd name="connsiteX9073" fmla="*/ 4009798 w 8079933"/>
              <a:gd name="connsiteY9073" fmla="*/ 2728959 h 4687251"/>
              <a:gd name="connsiteX9074" fmla="*/ 4008944 w 8079933"/>
              <a:gd name="connsiteY9074" fmla="*/ 2730798 h 4687251"/>
              <a:gd name="connsiteX9075" fmla="*/ 4009798 w 8079933"/>
              <a:gd name="connsiteY9075" fmla="*/ 2728960 h 4687251"/>
              <a:gd name="connsiteX9076" fmla="*/ 4017611 w 8079933"/>
              <a:gd name="connsiteY9076" fmla="*/ 2735456 h 4687251"/>
              <a:gd name="connsiteX9077" fmla="*/ 4021951 w 8079933"/>
              <a:gd name="connsiteY9077" fmla="*/ 2741411 h 4687251"/>
              <a:gd name="connsiteX9078" fmla="*/ 4027486 w 8079933"/>
              <a:gd name="connsiteY9078" fmla="*/ 2742494 h 4687251"/>
              <a:gd name="connsiteX9079" fmla="*/ 4032694 w 8079933"/>
              <a:gd name="connsiteY9079" fmla="*/ 2749314 h 4687251"/>
              <a:gd name="connsiteX9080" fmla="*/ 4032695 w 8079933"/>
              <a:gd name="connsiteY9080" fmla="*/ 2749314 h 4687251"/>
              <a:gd name="connsiteX9081" fmla="*/ 4036385 w 8079933"/>
              <a:gd name="connsiteY9081" fmla="*/ 2746391 h 4687251"/>
              <a:gd name="connsiteX9082" fmla="*/ 4036168 w 8079933"/>
              <a:gd name="connsiteY9082" fmla="*/ 2743793 h 4687251"/>
              <a:gd name="connsiteX9083" fmla="*/ 4036167 w 8079933"/>
              <a:gd name="connsiteY9083" fmla="*/ 2743793 h 4687251"/>
              <a:gd name="connsiteX9084" fmla="*/ 4036385 w 8079933"/>
              <a:gd name="connsiteY9084" fmla="*/ 2746391 h 4687251"/>
              <a:gd name="connsiteX9085" fmla="*/ 4032695 w 8079933"/>
              <a:gd name="connsiteY9085" fmla="*/ 2749314 h 4687251"/>
              <a:gd name="connsiteX9086" fmla="*/ 4027486 w 8079933"/>
              <a:gd name="connsiteY9086" fmla="*/ 2742493 h 4687251"/>
              <a:gd name="connsiteX9087" fmla="*/ 4021951 w 8079933"/>
              <a:gd name="connsiteY9087" fmla="*/ 2741410 h 4687251"/>
              <a:gd name="connsiteX9088" fmla="*/ 4017611 w 8079933"/>
              <a:gd name="connsiteY9088" fmla="*/ 2735455 h 4687251"/>
              <a:gd name="connsiteX9089" fmla="*/ 4276722 w 8079933"/>
              <a:gd name="connsiteY9089" fmla="*/ 2728770 h 4687251"/>
              <a:gd name="connsiteX9090" fmla="*/ 4276721 w 8079933"/>
              <a:gd name="connsiteY9090" fmla="*/ 2728770 h 4687251"/>
              <a:gd name="connsiteX9091" fmla="*/ 4276966 w 8079933"/>
              <a:gd name="connsiteY9091" fmla="*/ 2730150 h 4687251"/>
              <a:gd name="connsiteX9092" fmla="*/ 4276748 w 8079933"/>
              <a:gd name="connsiteY9092" fmla="*/ 2737405 h 4687251"/>
              <a:gd name="connsiteX9093" fmla="*/ 4278810 w 8079933"/>
              <a:gd name="connsiteY9093" fmla="*/ 2741627 h 4687251"/>
              <a:gd name="connsiteX9094" fmla="*/ 4279865 w 8079933"/>
              <a:gd name="connsiteY9094" fmla="*/ 2741897 h 4687251"/>
              <a:gd name="connsiteX9095" fmla="*/ 4278811 w 8079933"/>
              <a:gd name="connsiteY9095" fmla="*/ 2741627 h 4687251"/>
              <a:gd name="connsiteX9096" fmla="*/ 4276749 w 8079933"/>
              <a:gd name="connsiteY9096" fmla="*/ 2737405 h 4687251"/>
              <a:gd name="connsiteX9097" fmla="*/ 4276966 w 8079933"/>
              <a:gd name="connsiteY9097" fmla="*/ 2730151 h 4687251"/>
              <a:gd name="connsiteX9098" fmla="*/ 6321369 w 8079933"/>
              <a:gd name="connsiteY9098" fmla="*/ 2728124 h 4687251"/>
              <a:gd name="connsiteX9099" fmla="*/ 6322179 w 8079933"/>
              <a:gd name="connsiteY9099" fmla="*/ 2729827 h 4687251"/>
              <a:gd name="connsiteX9100" fmla="*/ 6322179 w 8079933"/>
              <a:gd name="connsiteY9100" fmla="*/ 2729826 h 4687251"/>
              <a:gd name="connsiteX9101" fmla="*/ 4470017 w 8079933"/>
              <a:gd name="connsiteY9101" fmla="*/ 2727443 h 4687251"/>
              <a:gd name="connsiteX9102" fmla="*/ 4472730 w 8079933"/>
              <a:gd name="connsiteY9102" fmla="*/ 2728093 h 4687251"/>
              <a:gd name="connsiteX9103" fmla="*/ 4472730 w 8079933"/>
              <a:gd name="connsiteY9103" fmla="*/ 2728093 h 4687251"/>
              <a:gd name="connsiteX9104" fmla="*/ 3997427 w 8079933"/>
              <a:gd name="connsiteY9104" fmla="*/ 2727443 h 4687251"/>
              <a:gd name="connsiteX9105" fmla="*/ 3995619 w 8079933"/>
              <a:gd name="connsiteY9105" fmla="*/ 2729825 h 4687251"/>
              <a:gd name="connsiteX9106" fmla="*/ 3997427 w 8079933"/>
              <a:gd name="connsiteY9106" fmla="*/ 2727444 h 4687251"/>
              <a:gd name="connsiteX9107" fmla="*/ 5221929 w 8079933"/>
              <a:gd name="connsiteY9107" fmla="*/ 2727335 h 4687251"/>
              <a:gd name="connsiteX9108" fmla="*/ 5224968 w 8079933"/>
              <a:gd name="connsiteY9108" fmla="*/ 2727768 h 4687251"/>
              <a:gd name="connsiteX9109" fmla="*/ 5226269 w 8079933"/>
              <a:gd name="connsiteY9109" fmla="*/ 2730258 h 4687251"/>
              <a:gd name="connsiteX9110" fmla="*/ 5229308 w 8079933"/>
              <a:gd name="connsiteY9110" fmla="*/ 2730908 h 4687251"/>
              <a:gd name="connsiteX9111" fmla="*/ 5232672 w 8079933"/>
              <a:gd name="connsiteY9111" fmla="*/ 2729933 h 4687251"/>
              <a:gd name="connsiteX9112" fmla="*/ 5237339 w 8079933"/>
              <a:gd name="connsiteY9112" fmla="*/ 2728959 h 4687251"/>
              <a:gd name="connsiteX9113" fmla="*/ 5240594 w 8079933"/>
              <a:gd name="connsiteY9113" fmla="*/ 2730583 h 4687251"/>
              <a:gd name="connsiteX9114" fmla="*/ 5244392 w 8079933"/>
              <a:gd name="connsiteY9114" fmla="*/ 2731341 h 4687251"/>
              <a:gd name="connsiteX9115" fmla="*/ 5244718 w 8079933"/>
              <a:gd name="connsiteY9115" fmla="*/ 2733181 h 4687251"/>
              <a:gd name="connsiteX9116" fmla="*/ 5242873 w 8079933"/>
              <a:gd name="connsiteY9116" fmla="*/ 2735347 h 4687251"/>
              <a:gd name="connsiteX9117" fmla="*/ 5239292 w 8079933"/>
              <a:gd name="connsiteY9117" fmla="*/ 2735563 h 4687251"/>
              <a:gd name="connsiteX9118" fmla="*/ 5234083 w 8079933"/>
              <a:gd name="connsiteY9118" fmla="*/ 2738920 h 4687251"/>
              <a:gd name="connsiteX9119" fmla="*/ 5226921 w 8079933"/>
              <a:gd name="connsiteY9119" fmla="*/ 2740002 h 4687251"/>
              <a:gd name="connsiteX9120" fmla="*/ 5221820 w 8079933"/>
              <a:gd name="connsiteY9120" fmla="*/ 2739028 h 4687251"/>
              <a:gd name="connsiteX9121" fmla="*/ 5218890 w 8079933"/>
              <a:gd name="connsiteY9121" fmla="*/ 2736646 h 4687251"/>
              <a:gd name="connsiteX9122" fmla="*/ 5215852 w 8079933"/>
              <a:gd name="connsiteY9122" fmla="*/ 2734914 h 4687251"/>
              <a:gd name="connsiteX9123" fmla="*/ 5218782 w 8079933"/>
              <a:gd name="connsiteY9123" fmla="*/ 2733398 h 4687251"/>
              <a:gd name="connsiteX9124" fmla="*/ 5219216 w 8079933"/>
              <a:gd name="connsiteY9124" fmla="*/ 2729717 h 4687251"/>
              <a:gd name="connsiteX9125" fmla="*/ 6878219 w 8079933"/>
              <a:gd name="connsiteY9125" fmla="*/ 2726361 h 4687251"/>
              <a:gd name="connsiteX9126" fmla="*/ 6881475 w 8079933"/>
              <a:gd name="connsiteY9126" fmla="*/ 2727985 h 4687251"/>
              <a:gd name="connsiteX9127" fmla="*/ 6881149 w 8079933"/>
              <a:gd name="connsiteY9127" fmla="*/ 2730367 h 4687251"/>
              <a:gd name="connsiteX9128" fmla="*/ 6876700 w 8079933"/>
              <a:gd name="connsiteY9128" fmla="*/ 2730692 h 4687251"/>
              <a:gd name="connsiteX9129" fmla="*/ 6876049 w 8079933"/>
              <a:gd name="connsiteY9129" fmla="*/ 2727985 h 4687251"/>
              <a:gd name="connsiteX9130" fmla="*/ 4795459 w 8079933"/>
              <a:gd name="connsiteY9130" fmla="*/ 2725711 h 4687251"/>
              <a:gd name="connsiteX9131" fmla="*/ 4795458 w 8079933"/>
              <a:gd name="connsiteY9131" fmla="*/ 2725711 h 4687251"/>
              <a:gd name="connsiteX9132" fmla="*/ 4794807 w 8079933"/>
              <a:gd name="connsiteY9132" fmla="*/ 2729825 h 4687251"/>
              <a:gd name="connsiteX9133" fmla="*/ 4788947 w 8079933"/>
              <a:gd name="connsiteY9133" fmla="*/ 2739353 h 4687251"/>
              <a:gd name="connsiteX9134" fmla="*/ 4788839 w 8079933"/>
              <a:gd name="connsiteY9134" fmla="*/ 2743034 h 4687251"/>
              <a:gd name="connsiteX9135" fmla="*/ 4782111 w 8079933"/>
              <a:gd name="connsiteY9135" fmla="*/ 2747906 h 4687251"/>
              <a:gd name="connsiteX9136" fmla="*/ 4779181 w 8079933"/>
              <a:gd name="connsiteY9136" fmla="*/ 2755377 h 4687251"/>
              <a:gd name="connsiteX9137" fmla="*/ 4774515 w 8079933"/>
              <a:gd name="connsiteY9137" fmla="*/ 2773133 h 4687251"/>
              <a:gd name="connsiteX9138" fmla="*/ 4773725 w 8079933"/>
              <a:gd name="connsiteY9138" fmla="*/ 2772904 h 4687251"/>
              <a:gd name="connsiteX9139" fmla="*/ 4774515 w 8079933"/>
              <a:gd name="connsiteY9139" fmla="*/ 2773134 h 4687251"/>
              <a:gd name="connsiteX9140" fmla="*/ 4779181 w 8079933"/>
              <a:gd name="connsiteY9140" fmla="*/ 2755377 h 4687251"/>
              <a:gd name="connsiteX9141" fmla="*/ 4782112 w 8079933"/>
              <a:gd name="connsiteY9141" fmla="*/ 2747906 h 4687251"/>
              <a:gd name="connsiteX9142" fmla="*/ 4788840 w 8079933"/>
              <a:gd name="connsiteY9142" fmla="*/ 2743034 h 4687251"/>
              <a:gd name="connsiteX9143" fmla="*/ 4788948 w 8079933"/>
              <a:gd name="connsiteY9143" fmla="*/ 2739353 h 4687251"/>
              <a:gd name="connsiteX9144" fmla="*/ 4794808 w 8079933"/>
              <a:gd name="connsiteY9144" fmla="*/ 2729826 h 4687251"/>
              <a:gd name="connsiteX9145" fmla="*/ 3623154 w 8079933"/>
              <a:gd name="connsiteY9145" fmla="*/ 2725387 h 4687251"/>
              <a:gd name="connsiteX9146" fmla="*/ 3618596 w 8079933"/>
              <a:gd name="connsiteY9146" fmla="*/ 2726253 h 4687251"/>
              <a:gd name="connsiteX9147" fmla="*/ 3623154 w 8079933"/>
              <a:gd name="connsiteY9147" fmla="*/ 2725387 h 4687251"/>
              <a:gd name="connsiteX9148" fmla="*/ 3638346 w 8079933"/>
              <a:gd name="connsiteY9148" fmla="*/ 2725603 h 4687251"/>
              <a:gd name="connsiteX9149" fmla="*/ 3648004 w 8079933"/>
              <a:gd name="connsiteY9149" fmla="*/ 2730367 h 4687251"/>
              <a:gd name="connsiteX9150" fmla="*/ 3652127 w 8079933"/>
              <a:gd name="connsiteY9150" fmla="*/ 2733615 h 4687251"/>
              <a:gd name="connsiteX9151" fmla="*/ 3659507 w 8079933"/>
              <a:gd name="connsiteY9151" fmla="*/ 2733182 h 4687251"/>
              <a:gd name="connsiteX9152" fmla="*/ 3667103 w 8079933"/>
              <a:gd name="connsiteY9152" fmla="*/ 2736322 h 4687251"/>
              <a:gd name="connsiteX9153" fmla="*/ 3667104 w 8079933"/>
              <a:gd name="connsiteY9153" fmla="*/ 2736322 h 4687251"/>
              <a:gd name="connsiteX9154" fmla="*/ 3659507 w 8079933"/>
              <a:gd name="connsiteY9154" fmla="*/ 2733182 h 4687251"/>
              <a:gd name="connsiteX9155" fmla="*/ 3652128 w 8079933"/>
              <a:gd name="connsiteY9155" fmla="*/ 2733615 h 4687251"/>
              <a:gd name="connsiteX9156" fmla="*/ 3648004 w 8079933"/>
              <a:gd name="connsiteY9156" fmla="*/ 2730367 h 4687251"/>
              <a:gd name="connsiteX9157" fmla="*/ 3638346 w 8079933"/>
              <a:gd name="connsiteY9157" fmla="*/ 2725603 h 4687251"/>
              <a:gd name="connsiteX9158" fmla="*/ 3612628 w 8079933"/>
              <a:gd name="connsiteY9158" fmla="*/ 2724845 h 4687251"/>
              <a:gd name="connsiteX9159" fmla="*/ 3618596 w 8079933"/>
              <a:gd name="connsiteY9159" fmla="*/ 2726469 h 4687251"/>
              <a:gd name="connsiteX9160" fmla="*/ 3618596 w 8079933"/>
              <a:gd name="connsiteY9160" fmla="*/ 2726469 h 4687251"/>
              <a:gd name="connsiteX9161" fmla="*/ 6894279 w 8079933"/>
              <a:gd name="connsiteY9161" fmla="*/ 2724412 h 4687251"/>
              <a:gd name="connsiteX9162" fmla="*/ 6897643 w 8079933"/>
              <a:gd name="connsiteY9162" fmla="*/ 2725386 h 4687251"/>
              <a:gd name="connsiteX9163" fmla="*/ 6897209 w 8079933"/>
              <a:gd name="connsiteY9163" fmla="*/ 2727010 h 4687251"/>
              <a:gd name="connsiteX9164" fmla="*/ 6898945 w 8079933"/>
              <a:gd name="connsiteY9164" fmla="*/ 2726794 h 4687251"/>
              <a:gd name="connsiteX9165" fmla="*/ 6903069 w 8079933"/>
              <a:gd name="connsiteY9165" fmla="*/ 2730691 h 4687251"/>
              <a:gd name="connsiteX9166" fmla="*/ 6906215 w 8079933"/>
              <a:gd name="connsiteY9166" fmla="*/ 2731233 h 4687251"/>
              <a:gd name="connsiteX9167" fmla="*/ 6913594 w 8079933"/>
              <a:gd name="connsiteY9167" fmla="*/ 2735997 h 4687251"/>
              <a:gd name="connsiteX9168" fmla="*/ 6916416 w 8079933"/>
              <a:gd name="connsiteY9168" fmla="*/ 2739677 h 4687251"/>
              <a:gd name="connsiteX9169" fmla="*/ 6916416 w 8079933"/>
              <a:gd name="connsiteY9169" fmla="*/ 2742601 h 4687251"/>
              <a:gd name="connsiteX9170" fmla="*/ 6912618 w 8079933"/>
              <a:gd name="connsiteY9170" fmla="*/ 2743034 h 4687251"/>
              <a:gd name="connsiteX9171" fmla="*/ 6906758 w 8079933"/>
              <a:gd name="connsiteY9171" fmla="*/ 2740652 h 4687251"/>
              <a:gd name="connsiteX9172" fmla="*/ 6901658 w 8079933"/>
              <a:gd name="connsiteY9172" fmla="*/ 2734156 h 4687251"/>
              <a:gd name="connsiteX9173" fmla="*/ 6898076 w 8079933"/>
              <a:gd name="connsiteY9173" fmla="*/ 2734481 h 4687251"/>
              <a:gd name="connsiteX9174" fmla="*/ 6894279 w 8079933"/>
              <a:gd name="connsiteY9174" fmla="*/ 2740760 h 4687251"/>
              <a:gd name="connsiteX9175" fmla="*/ 6893193 w 8079933"/>
              <a:gd name="connsiteY9175" fmla="*/ 2738054 h 4687251"/>
              <a:gd name="connsiteX9176" fmla="*/ 6893302 w 8079933"/>
              <a:gd name="connsiteY9176" fmla="*/ 2735238 h 4687251"/>
              <a:gd name="connsiteX9177" fmla="*/ 6895363 w 8079933"/>
              <a:gd name="connsiteY9177" fmla="*/ 2733398 h 4687251"/>
              <a:gd name="connsiteX9178" fmla="*/ 6894387 w 8079933"/>
              <a:gd name="connsiteY9178" fmla="*/ 2729608 h 4687251"/>
              <a:gd name="connsiteX9179" fmla="*/ 4281313 w 8079933"/>
              <a:gd name="connsiteY9179" fmla="*/ 2724189 h 4687251"/>
              <a:gd name="connsiteX9180" fmla="*/ 4281312 w 8079933"/>
              <a:gd name="connsiteY9180" fmla="*/ 2724189 h 4687251"/>
              <a:gd name="connsiteX9181" fmla="*/ 4285973 w 8079933"/>
              <a:gd name="connsiteY9181" fmla="*/ 2726578 h 4687251"/>
              <a:gd name="connsiteX9182" fmla="*/ 4291399 w 8079933"/>
              <a:gd name="connsiteY9182" fmla="*/ 2731666 h 4687251"/>
              <a:gd name="connsiteX9183" fmla="*/ 4285973 w 8079933"/>
              <a:gd name="connsiteY9183" fmla="*/ 2726577 h 4687251"/>
              <a:gd name="connsiteX9184" fmla="*/ 6902092 w 8079933"/>
              <a:gd name="connsiteY9184" fmla="*/ 2723546 h 4687251"/>
              <a:gd name="connsiteX9185" fmla="*/ 6905348 w 8079933"/>
              <a:gd name="connsiteY9185" fmla="*/ 2724628 h 4687251"/>
              <a:gd name="connsiteX9186" fmla="*/ 6909364 w 8079933"/>
              <a:gd name="connsiteY9186" fmla="*/ 2729718 h 4687251"/>
              <a:gd name="connsiteX9187" fmla="*/ 6907302 w 8079933"/>
              <a:gd name="connsiteY9187" fmla="*/ 2729718 h 4687251"/>
              <a:gd name="connsiteX9188" fmla="*/ 6903503 w 8079933"/>
              <a:gd name="connsiteY9188" fmla="*/ 2725928 h 4687251"/>
              <a:gd name="connsiteX9189" fmla="*/ 6935081 w 8079933"/>
              <a:gd name="connsiteY9189" fmla="*/ 2723113 h 4687251"/>
              <a:gd name="connsiteX9190" fmla="*/ 6937252 w 8079933"/>
              <a:gd name="connsiteY9190" fmla="*/ 2724196 h 4687251"/>
              <a:gd name="connsiteX9191" fmla="*/ 6938879 w 8079933"/>
              <a:gd name="connsiteY9191" fmla="*/ 2723438 h 4687251"/>
              <a:gd name="connsiteX9192" fmla="*/ 6941700 w 8079933"/>
              <a:gd name="connsiteY9192" fmla="*/ 2723763 h 4687251"/>
              <a:gd name="connsiteX9193" fmla="*/ 6944196 w 8079933"/>
              <a:gd name="connsiteY9193" fmla="*/ 2728094 h 4687251"/>
              <a:gd name="connsiteX9194" fmla="*/ 6948211 w 8079933"/>
              <a:gd name="connsiteY9194" fmla="*/ 2733507 h 4687251"/>
              <a:gd name="connsiteX9195" fmla="*/ 6950164 w 8079933"/>
              <a:gd name="connsiteY9195" fmla="*/ 2735023 h 4687251"/>
              <a:gd name="connsiteX9196" fmla="*/ 6949622 w 8079933"/>
              <a:gd name="connsiteY9196" fmla="*/ 2737621 h 4687251"/>
              <a:gd name="connsiteX9197" fmla="*/ 6950490 w 8079933"/>
              <a:gd name="connsiteY9197" fmla="*/ 2746066 h 4687251"/>
              <a:gd name="connsiteX9198" fmla="*/ 6950164 w 8079933"/>
              <a:gd name="connsiteY9198" fmla="*/ 2752887 h 4687251"/>
              <a:gd name="connsiteX9199" fmla="*/ 6952769 w 8079933"/>
              <a:gd name="connsiteY9199" fmla="*/ 2755269 h 4687251"/>
              <a:gd name="connsiteX9200" fmla="*/ 6954180 w 8079933"/>
              <a:gd name="connsiteY9200" fmla="*/ 2759600 h 4687251"/>
              <a:gd name="connsiteX9201" fmla="*/ 6956458 w 8079933"/>
              <a:gd name="connsiteY9201" fmla="*/ 2762415 h 4687251"/>
              <a:gd name="connsiteX9202" fmla="*/ 6953963 w 8079933"/>
              <a:gd name="connsiteY9202" fmla="*/ 2761332 h 4687251"/>
              <a:gd name="connsiteX9203" fmla="*/ 6952877 w 8079933"/>
              <a:gd name="connsiteY9203" fmla="*/ 2762523 h 4687251"/>
              <a:gd name="connsiteX9204" fmla="*/ 6951467 w 8079933"/>
              <a:gd name="connsiteY9204" fmla="*/ 2761873 h 4687251"/>
              <a:gd name="connsiteX9205" fmla="*/ 6944413 w 8079933"/>
              <a:gd name="connsiteY9205" fmla="*/ 2761440 h 4687251"/>
              <a:gd name="connsiteX9206" fmla="*/ 6943003 w 8079933"/>
              <a:gd name="connsiteY9206" fmla="*/ 2758192 h 4687251"/>
              <a:gd name="connsiteX9207" fmla="*/ 6939097 w 8079933"/>
              <a:gd name="connsiteY9207" fmla="*/ 2755702 h 4687251"/>
              <a:gd name="connsiteX9208" fmla="*/ 6937360 w 8079933"/>
              <a:gd name="connsiteY9208" fmla="*/ 2754511 h 4687251"/>
              <a:gd name="connsiteX9209" fmla="*/ 6936492 w 8079933"/>
              <a:gd name="connsiteY9209" fmla="*/ 2753104 h 4687251"/>
              <a:gd name="connsiteX9210" fmla="*/ 6934213 w 8079933"/>
              <a:gd name="connsiteY9210" fmla="*/ 2753970 h 4687251"/>
              <a:gd name="connsiteX9211" fmla="*/ 6934973 w 8079933"/>
              <a:gd name="connsiteY9211" fmla="*/ 2752887 h 4687251"/>
              <a:gd name="connsiteX9212" fmla="*/ 6937252 w 8079933"/>
              <a:gd name="connsiteY9212" fmla="*/ 2749964 h 4687251"/>
              <a:gd name="connsiteX9213" fmla="*/ 6937903 w 8079933"/>
              <a:gd name="connsiteY9213" fmla="*/ 2747798 h 4687251"/>
              <a:gd name="connsiteX9214" fmla="*/ 6935515 w 8079933"/>
              <a:gd name="connsiteY9214" fmla="*/ 2746282 h 4687251"/>
              <a:gd name="connsiteX9215" fmla="*/ 6929981 w 8079933"/>
              <a:gd name="connsiteY9215" fmla="*/ 2739894 h 4687251"/>
              <a:gd name="connsiteX9216" fmla="*/ 6924013 w 8079933"/>
              <a:gd name="connsiteY9216" fmla="*/ 2735131 h 4687251"/>
              <a:gd name="connsiteX9217" fmla="*/ 6920215 w 8079933"/>
              <a:gd name="connsiteY9217" fmla="*/ 2727552 h 4687251"/>
              <a:gd name="connsiteX9218" fmla="*/ 6920323 w 8079933"/>
              <a:gd name="connsiteY9218" fmla="*/ 2724304 h 4687251"/>
              <a:gd name="connsiteX9219" fmla="*/ 6922385 w 8079933"/>
              <a:gd name="connsiteY9219" fmla="*/ 2725278 h 4687251"/>
              <a:gd name="connsiteX9220" fmla="*/ 6926074 w 8079933"/>
              <a:gd name="connsiteY9220" fmla="*/ 2725170 h 4687251"/>
              <a:gd name="connsiteX9221" fmla="*/ 6930958 w 8079933"/>
              <a:gd name="connsiteY9221" fmla="*/ 2725386 h 4687251"/>
              <a:gd name="connsiteX9222" fmla="*/ 6932585 w 8079933"/>
              <a:gd name="connsiteY9222" fmla="*/ 2723654 h 4687251"/>
              <a:gd name="connsiteX9223" fmla="*/ 4148157 w 8079933"/>
              <a:gd name="connsiteY9223" fmla="*/ 2723004 h 4687251"/>
              <a:gd name="connsiteX9224" fmla="*/ 4148157 w 8079933"/>
              <a:gd name="connsiteY9224" fmla="*/ 2723004 h 4687251"/>
              <a:gd name="connsiteX9225" fmla="*/ 4153040 w 8079933"/>
              <a:gd name="connsiteY9225" fmla="*/ 2723654 h 4687251"/>
              <a:gd name="connsiteX9226" fmla="*/ 4162806 w 8079933"/>
              <a:gd name="connsiteY9226" fmla="*/ 2727227 h 4687251"/>
              <a:gd name="connsiteX9227" fmla="*/ 4167147 w 8079933"/>
              <a:gd name="connsiteY9227" fmla="*/ 2728310 h 4687251"/>
              <a:gd name="connsiteX9228" fmla="*/ 4173007 w 8079933"/>
              <a:gd name="connsiteY9228" fmla="*/ 2724412 h 4687251"/>
              <a:gd name="connsiteX9229" fmla="*/ 4167147 w 8079933"/>
              <a:gd name="connsiteY9229" fmla="*/ 2728310 h 4687251"/>
              <a:gd name="connsiteX9230" fmla="*/ 4162807 w 8079933"/>
              <a:gd name="connsiteY9230" fmla="*/ 2727227 h 4687251"/>
              <a:gd name="connsiteX9231" fmla="*/ 4153040 w 8079933"/>
              <a:gd name="connsiteY9231" fmla="*/ 2723654 h 4687251"/>
              <a:gd name="connsiteX9232" fmla="*/ 3996567 w 8079933"/>
              <a:gd name="connsiteY9232" fmla="*/ 2722363 h 4687251"/>
              <a:gd name="connsiteX9233" fmla="*/ 3996993 w 8079933"/>
              <a:gd name="connsiteY9233" fmla="*/ 2722788 h 4687251"/>
              <a:gd name="connsiteX9234" fmla="*/ 3997138 w 8079933"/>
              <a:gd name="connsiteY9234" fmla="*/ 2724340 h 4687251"/>
              <a:gd name="connsiteX9235" fmla="*/ 3996993 w 8079933"/>
              <a:gd name="connsiteY9235" fmla="*/ 2722788 h 4687251"/>
              <a:gd name="connsiteX9236" fmla="*/ 6868886 w 8079933"/>
              <a:gd name="connsiteY9236" fmla="*/ 2720731 h 4687251"/>
              <a:gd name="connsiteX9237" fmla="*/ 6867801 w 8079933"/>
              <a:gd name="connsiteY9237" fmla="*/ 2726253 h 4687251"/>
              <a:gd name="connsiteX9238" fmla="*/ 6869430 w 8079933"/>
              <a:gd name="connsiteY9238" fmla="*/ 2730475 h 4687251"/>
              <a:gd name="connsiteX9239" fmla="*/ 6867584 w 8079933"/>
              <a:gd name="connsiteY9239" fmla="*/ 2736322 h 4687251"/>
              <a:gd name="connsiteX9240" fmla="*/ 6864655 w 8079933"/>
              <a:gd name="connsiteY9240" fmla="*/ 2737296 h 4687251"/>
              <a:gd name="connsiteX9241" fmla="*/ 6862158 w 8079933"/>
              <a:gd name="connsiteY9241" fmla="*/ 2731125 h 4687251"/>
              <a:gd name="connsiteX9242" fmla="*/ 6865088 w 8079933"/>
              <a:gd name="connsiteY9242" fmla="*/ 2727119 h 4687251"/>
              <a:gd name="connsiteX9243" fmla="*/ 6867150 w 8079933"/>
              <a:gd name="connsiteY9243" fmla="*/ 2722463 h 4687251"/>
              <a:gd name="connsiteX9244" fmla="*/ 4235408 w 8079933"/>
              <a:gd name="connsiteY9244" fmla="*/ 2720614 h 4687251"/>
              <a:gd name="connsiteX9245" fmla="*/ 4235404 w 8079933"/>
              <a:gd name="connsiteY9245" fmla="*/ 2720622 h 4687251"/>
              <a:gd name="connsiteX9246" fmla="*/ 4231823 w 8079933"/>
              <a:gd name="connsiteY9246" fmla="*/ 2721488 h 4687251"/>
              <a:gd name="connsiteX9247" fmla="*/ 4231789 w 8079933"/>
              <a:gd name="connsiteY9247" fmla="*/ 2721464 h 4687251"/>
              <a:gd name="connsiteX9248" fmla="*/ 4231823 w 8079933"/>
              <a:gd name="connsiteY9248" fmla="*/ 2721489 h 4687251"/>
              <a:gd name="connsiteX9249" fmla="*/ 4235404 w 8079933"/>
              <a:gd name="connsiteY9249" fmla="*/ 2720622 h 4687251"/>
              <a:gd name="connsiteX9250" fmla="*/ 4109480 w 8079933"/>
              <a:gd name="connsiteY9250" fmla="*/ 2719456 h 4687251"/>
              <a:gd name="connsiteX9251" fmla="*/ 4107680 w 8079933"/>
              <a:gd name="connsiteY9251" fmla="*/ 2720081 h 4687251"/>
              <a:gd name="connsiteX9252" fmla="*/ 4107680 w 8079933"/>
              <a:gd name="connsiteY9252" fmla="*/ 2720081 h 4687251"/>
              <a:gd name="connsiteX9253" fmla="*/ 4135569 w 8079933"/>
              <a:gd name="connsiteY9253" fmla="*/ 2716941 h 4687251"/>
              <a:gd name="connsiteX9254" fmla="*/ 4135569 w 8079933"/>
              <a:gd name="connsiteY9254" fmla="*/ 2716941 h 4687251"/>
              <a:gd name="connsiteX9255" fmla="*/ 4140452 w 8079933"/>
              <a:gd name="connsiteY9255" fmla="*/ 2718674 h 4687251"/>
              <a:gd name="connsiteX9256" fmla="*/ 4140452 w 8079933"/>
              <a:gd name="connsiteY9256" fmla="*/ 2718673 h 4687251"/>
              <a:gd name="connsiteX9257" fmla="*/ 3991892 w 8079933"/>
              <a:gd name="connsiteY9257" fmla="*/ 2716616 h 4687251"/>
              <a:gd name="connsiteX9258" fmla="*/ 3981584 w 8079933"/>
              <a:gd name="connsiteY9258" fmla="*/ 2722138 h 4687251"/>
              <a:gd name="connsiteX9259" fmla="*/ 3991893 w 8079933"/>
              <a:gd name="connsiteY9259" fmla="*/ 2716617 h 4687251"/>
              <a:gd name="connsiteX9260" fmla="*/ 6316428 w 8079933"/>
              <a:gd name="connsiteY9260" fmla="*/ 2715534 h 4687251"/>
              <a:gd name="connsiteX9261" fmla="*/ 6316428 w 8079933"/>
              <a:gd name="connsiteY9261" fmla="*/ 2715534 h 4687251"/>
              <a:gd name="connsiteX9262" fmla="*/ 6319141 w 8079933"/>
              <a:gd name="connsiteY9262" fmla="*/ 2718458 h 4687251"/>
              <a:gd name="connsiteX9263" fmla="*/ 6319245 w 8079933"/>
              <a:gd name="connsiteY9263" fmla="*/ 2719204 h 4687251"/>
              <a:gd name="connsiteX9264" fmla="*/ 6319141 w 8079933"/>
              <a:gd name="connsiteY9264" fmla="*/ 2718457 h 4687251"/>
              <a:gd name="connsiteX9265" fmla="*/ 6393547 w 8079933"/>
              <a:gd name="connsiteY9265" fmla="*/ 2715317 h 4687251"/>
              <a:gd name="connsiteX9266" fmla="*/ 6394234 w 8079933"/>
              <a:gd name="connsiteY9266" fmla="*/ 2718457 h 4687251"/>
              <a:gd name="connsiteX9267" fmla="*/ 6398358 w 8079933"/>
              <a:gd name="connsiteY9267" fmla="*/ 2720623 h 4687251"/>
              <a:gd name="connsiteX9268" fmla="*/ 6399118 w 8079933"/>
              <a:gd name="connsiteY9268" fmla="*/ 2722210 h 4687251"/>
              <a:gd name="connsiteX9269" fmla="*/ 6398358 w 8079933"/>
              <a:gd name="connsiteY9269" fmla="*/ 2720622 h 4687251"/>
              <a:gd name="connsiteX9270" fmla="*/ 6394234 w 8079933"/>
              <a:gd name="connsiteY9270" fmla="*/ 2718457 h 4687251"/>
              <a:gd name="connsiteX9271" fmla="*/ 4038989 w 8079933"/>
              <a:gd name="connsiteY9271" fmla="*/ 2713802 h 4687251"/>
              <a:gd name="connsiteX9272" fmla="*/ 4038663 w 8079933"/>
              <a:gd name="connsiteY9272" fmla="*/ 2715209 h 4687251"/>
              <a:gd name="connsiteX9273" fmla="*/ 4037686 w 8079933"/>
              <a:gd name="connsiteY9273" fmla="*/ 2717049 h 4687251"/>
              <a:gd name="connsiteX9274" fmla="*/ 4038771 w 8079933"/>
              <a:gd name="connsiteY9274" fmla="*/ 2721381 h 4687251"/>
              <a:gd name="connsiteX9275" fmla="*/ 4040399 w 8079933"/>
              <a:gd name="connsiteY9275" fmla="*/ 2723330 h 4687251"/>
              <a:gd name="connsiteX9276" fmla="*/ 4040616 w 8079933"/>
              <a:gd name="connsiteY9276" fmla="*/ 2726685 h 4687251"/>
              <a:gd name="connsiteX9277" fmla="*/ 4036276 w 8079933"/>
              <a:gd name="connsiteY9277" fmla="*/ 2726794 h 4687251"/>
              <a:gd name="connsiteX9278" fmla="*/ 4031284 w 8079933"/>
              <a:gd name="connsiteY9278" fmla="*/ 2731883 h 4687251"/>
              <a:gd name="connsiteX9279" fmla="*/ 4032260 w 8079933"/>
              <a:gd name="connsiteY9279" fmla="*/ 2734373 h 4687251"/>
              <a:gd name="connsiteX9280" fmla="*/ 4030633 w 8079933"/>
              <a:gd name="connsiteY9280" fmla="*/ 2736863 h 4687251"/>
              <a:gd name="connsiteX9281" fmla="*/ 4033455 w 8079933"/>
              <a:gd name="connsiteY9281" fmla="*/ 2743684 h 4687251"/>
              <a:gd name="connsiteX9282" fmla="*/ 4030633 w 8079933"/>
              <a:gd name="connsiteY9282" fmla="*/ 2736863 h 4687251"/>
              <a:gd name="connsiteX9283" fmla="*/ 4032261 w 8079933"/>
              <a:gd name="connsiteY9283" fmla="*/ 2734373 h 4687251"/>
              <a:gd name="connsiteX9284" fmla="*/ 4031284 w 8079933"/>
              <a:gd name="connsiteY9284" fmla="*/ 2731883 h 4687251"/>
              <a:gd name="connsiteX9285" fmla="*/ 4036276 w 8079933"/>
              <a:gd name="connsiteY9285" fmla="*/ 2726794 h 4687251"/>
              <a:gd name="connsiteX9286" fmla="*/ 4040617 w 8079933"/>
              <a:gd name="connsiteY9286" fmla="*/ 2726686 h 4687251"/>
              <a:gd name="connsiteX9287" fmla="*/ 4040400 w 8079933"/>
              <a:gd name="connsiteY9287" fmla="*/ 2723330 h 4687251"/>
              <a:gd name="connsiteX9288" fmla="*/ 4038772 w 8079933"/>
              <a:gd name="connsiteY9288" fmla="*/ 2721381 h 4687251"/>
              <a:gd name="connsiteX9289" fmla="*/ 4037687 w 8079933"/>
              <a:gd name="connsiteY9289" fmla="*/ 2717049 h 4687251"/>
              <a:gd name="connsiteX9290" fmla="*/ 4038664 w 8079933"/>
              <a:gd name="connsiteY9290" fmla="*/ 2715209 h 4687251"/>
              <a:gd name="connsiteX9291" fmla="*/ 4201872 w 8079933"/>
              <a:gd name="connsiteY9291" fmla="*/ 2712718 h 4687251"/>
              <a:gd name="connsiteX9292" fmla="*/ 4196664 w 8079933"/>
              <a:gd name="connsiteY9292" fmla="*/ 2715317 h 4687251"/>
              <a:gd name="connsiteX9293" fmla="*/ 4184184 w 8079933"/>
              <a:gd name="connsiteY9293" fmla="*/ 2714451 h 4687251"/>
              <a:gd name="connsiteX9294" fmla="*/ 4179084 w 8079933"/>
              <a:gd name="connsiteY9294" fmla="*/ 2715859 h 4687251"/>
              <a:gd name="connsiteX9295" fmla="*/ 4179084 w 8079933"/>
              <a:gd name="connsiteY9295" fmla="*/ 2715859 h 4687251"/>
              <a:gd name="connsiteX9296" fmla="*/ 4184184 w 8079933"/>
              <a:gd name="connsiteY9296" fmla="*/ 2714451 h 4687251"/>
              <a:gd name="connsiteX9297" fmla="*/ 4196664 w 8079933"/>
              <a:gd name="connsiteY9297" fmla="*/ 2715318 h 4687251"/>
              <a:gd name="connsiteX9298" fmla="*/ 4201872 w 8079933"/>
              <a:gd name="connsiteY9298" fmla="*/ 2712719 h 4687251"/>
              <a:gd name="connsiteX9299" fmla="*/ 4212507 w 8079933"/>
              <a:gd name="connsiteY9299" fmla="*/ 2714018 h 4687251"/>
              <a:gd name="connsiteX9300" fmla="*/ 4220212 w 8079933"/>
              <a:gd name="connsiteY9300" fmla="*/ 2717699 h 4687251"/>
              <a:gd name="connsiteX9301" fmla="*/ 4226939 w 8079933"/>
              <a:gd name="connsiteY9301" fmla="*/ 2717916 h 4687251"/>
              <a:gd name="connsiteX9302" fmla="*/ 4226956 w 8079933"/>
              <a:gd name="connsiteY9302" fmla="*/ 2717928 h 4687251"/>
              <a:gd name="connsiteX9303" fmla="*/ 4226940 w 8079933"/>
              <a:gd name="connsiteY9303" fmla="*/ 2717916 h 4687251"/>
              <a:gd name="connsiteX9304" fmla="*/ 4220212 w 8079933"/>
              <a:gd name="connsiteY9304" fmla="*/ 2717699 h 4687251"/>
              <a:gd name="connsiteX9305" fmla="*/ 4212507 w 8079933"/>
              <a:gd name="connsiteY9305" fmla="*/ 2714018 h 4687251"/>
              <a:gd name="connsiteX9306" fmla="*/ 4126453 w 8079933"/>
              <a:gd name="connsiteY9306" fmla="*/ 2712610 h 4687251"/>
              <a:gd name="connsiteX9307" fmla="*/ 4119726 w 8079933"/>
              <a:gd name="connsiteY9307" fmla="*/ 2713910 h 4687251"/>
              <a:gd name="connsiteX9308" fmla="*/ 4116144 w 8079933"/>
              <a:gd name="connsiteY9308" fmla="*/ 2715642 h 4687251"/>
              <a:gd name="connsiteX9309" fmla="*/ 4112780 w 8079933"/>
              <a:gd name="connsiteY9309" fmla="*/ 2715967 h 4687251"/>
              <a:gd name="connsiteX9310" fmla="*/ 4111478 w 8079933"/>
              <a:gd name="connsiteY9310" fmla="*/ 2717591 h 4687251"/>
              <a:gd name="connsiteX9311" fmla="*/ 4112781 w 8079933"/>
              <a:gd name="connsiteY9311" fmla="*/ 2715967 h 4687251"/>
              <a:gd name="connsiteX9312" fmla="*/ 4116144 w 8079933"/>
              <a:gd name="connsiteY9312" fmla="*/ 2715642 h 4687251"/>
              <a:gd name="connsiteX9313" fmla="*/ 4119726 w 8079933"/>
              <a:gd name="connsiteY9313" fmla="*/ 2713910 h 4687251"/>
              <a:gd name="connsiteX9314" fmla="*/ 4126453 w 8079933"/>
              <a:gd name="connsiteY9314" fmla="*/ 2712610 h 4687251"/>
              <a:gd name="connsiteX9315" fmla="*/ 3672744 w 8079933"/>
              <a:gd name="connsiteY9315" fmla="*/ 2712069 h 4687251"/>
              <a:gd name="connsiteX9316" fmla="*/ 3671681 w 8079933"/>
              <a:gd name="connsiteY9316" fmla="*/ 2712254 h 4687251"/>
              <a:gd name="connsiteX9317" fmla="*/ 3672745 w 8079933"/>
              <a:gd name="connsiteY9317" fmla="*/ 2712069 h 4687251"/>
              <a:gd name="connsiteX9318" fmla="*/ 4127430 w 8079933"/>
              <a:gd name="connsiteY9318" fmla="*/ 2711636 h 4687251"/>
              <a:gd name="connsiteX9319" fmla="*/ 4126757 w 8079933"/>
              <a:gd name="connsiteY9319" fmla="*/ 2712308 h 4687251"/>
              <a:gd name="connsiteX9320" fmla="*/ 4127430 w 8079933"/>
              <a:gd name="connsiteY9320" fmla="*/ 2711636 h 4687251"/>
              <a:gd name="connsiteX9321" fmla="*/ 4131336 w 8079933"/>
              <a:gd name="connsiteY9321" fmla="*/ 2711853 h 4687251"/>
              <a:gd name="connsiteX9322" fmla="*/ 4135569 w 8079933"/>
              <a:gd name="connsiteY9322" fmla="*/ 2715101 h 4687251"/>
              <a:gd name="connsiteX9323" fmla="*/ 4135569 w 8079933"/>
              <a:gd name="connsiteY9323" fmla="*/ 2715101 h 4687251"/>
              <a:gd name="connsiteX9324" fmla="*/ 4131337 w 8079933"/>
              <a:gd name="connsiteY9324" fmla="*/ 2711853 h 4687251"/>
              <a:gd name="connsiteX9325" fmla="*/ 2540157 w 8079933"/>
              <a:gd name="connsiteY9325" fmla="*/ 2711095 h 4687251"/>
              <a:gd name="connsiteX9326" fmla="*/ 2544498 w 8079933"/>
              <a:gd name="connsiteY9326" fmla="*/ 2715209 h 4687251"/>
              <a:gd name="connsiteX9327" fmla="*/ 2544606 w 8079933"/>
              <a:gd name="connsiteY9327" fmla="*/ 2719648 h 4687251"/>
              <a:gd name="connsiteX9328" fmla="*/ 2538638 w 8079933"/>
              <a:gd name="connsiteY9328" fmla="*/ 2719866 h 4687251"/>
              <a:gd name="connsiteX9329" fmla="*/ 2535600 w 8079933"/>
              <a:gd name="connsiteY9329" fmla="*/ 2715642 h 4687251"/>
              <a:gd name="connsiteX9330" fmla="*/ 4246183 w 8079933"/>
              <a:gd name="connsiteY9330" fmla="*/ 2710842 h 4687251"/>
              <a:gd name="connsiteX9331" fmla="*/ 4244085 w 8079933"/>
              <a:gd name="connsiteY9331" fmla="*/ 2711420 h 4687251"/>
              <a:gd name="connsiteX9332" fmla="*/ 4243919 w 8079933"/>
              <a:gd name="connsiteY9332" fmla="*/ 2711778 h 4687251"/>
              <a:gd name="connsiteX9333" fmla="*/ 4244085 w 8079933"/>
              <a:gd name="connsiteY9333" fmla="*/ 2711420 h 4687251"/>
              <a:gd name="connsiteX9334" fmla="*/ 4247232 w 8079933"/>
              <a:gd name="connsiteY9334" fmla="*/ 2710553 h 4687251"/>
              <a:gd name="connsiteX9335" fmla="*/ 4250813 w 8079933"/>
              <a:gd name="connsiteY9335" fmla="*/ 2712069 h 4687251"/>
              <a:gd name="connsiteX9336" fmla="*/ 4247233 w 8079933"/>
              <a:gd name="connsiteY9336" fmla="*/ 2710553 h 4687251"/>
              <a:gd name="connsiteX9337" fmla="*/ 6888311 w 8079933"/>
              <a:gd name="connsiteY9337" fmla="*/ 2709579 h 4687251"/>
              <a:gd name="connsiteX9338" fmla="*/ 6893086 w 8079933"/>
              <a:gd name="connsiteY9338" fmla="*/ 2714560 h 4687251"/>
              <a:gd name="connsiteX9339" fmla="*/ 6893737 w 8079933"/>
              <a:gd name="connsiteY9339" fmla="*/ 2717266 h 4687251"/>
              <a:gd name="connsiteX9340" fmla="*/ 6892543 w 8079933"/>
              <a:gd name="connsiteY9340" fmla="*/ 2719540 h 4687251"/>
              <a:gd name="connsiteX9341" fmla="*/ 6886358 w 8079933"/>
              <a:gd name="connsiteY9341" fmla="*/ 2712719 h 4687251"/>
              <a:gd name="connsiteX9342" fmla="*/ 6886466 w 8079933"/>
              <a:gd name="connsiteY9342" fmla="*/ 2710012 h 4687251"/>
              <a:gd name="connsiteX9343" fmla="*/ 2498704 w 8079933"/>
              <a:gd name="connsiteY9343" fmla="*/ 2709579 h 4687251"/>
              <a:gd name="connsiteX9344" fmla="*/ 2500874 w 8079933"/>
              <a:gd name="connsiteY9344" fmla="*/ 2714884 h 4687251"/>
              <a:gd name="connsiteX9345" fmla="*/ 2497185 w 8079933"/>
              <a:gd name="connsiteY9345" fmla="*/ 2722030 h 4687251"/>
              <a:gd name="connsiteX9346" fmla="*/ 3851255 w 8079933"/>
              <a:gd name="connsiteY9346" fmla="*/ 2709254 h 4687251"/>
              <a:gd name="connsiteX9347" fmla="*/ 3851254 w 8079933"/>
              <a:gd name="connsiteY9347" fmla="*/ 2709254 h 4687251"/>
              <a:gd name="connsiteX9348" fmla="*/ 3845828 w 8079933"/>
              <a:gd name="connsiteY9348" fmla="*/ 2718674 h 4687251"/>
              <a:gd name="connsiteX9349" fmla="*/ 3845612 w 8079933"/>
              <a:gd name="connsiteY9349" fmla="*/ 2722138 h 4687251"/>
              <a:gd name="connsiteX9350" fmla="*/ 3840511 w 8079933"/>
              <a:gd name="connsiteY9350" fmla="*/ 2728960 h 4687251"/>
              <a:gd name="connsiteX9351" fmla="*/ 3833566 w 8079933"/>
              <a:gd name="connsiteY9351" fmla="*/ 2741627 h 4687251"/>
              <a:gd name="connsiteX9352" fmla="*/ 3827597 w 8079933"/>
              <a:gd name="connsiteY9352" fmla="*/ 2746174 h 4687251"/>
              <a:gd name="connsiteX9353" fmla="*/ 3824902 w 8079933"/>
              <a:gd name="connsiteY9353" fmla="*/ 2748326 h 4687251"/>
              <a:gd name="connsiteX9354" fmla="*/ 3827598 w 8079933"/>
              <a:gd name="connsiteY9354" fmla="*/ 2746174 h 4687251"/>
              <a:gd name="connsiteX9355" fmla="*/ 3833567 w 8079933"/>
              <a:gd name="connsiteY9355" fmla="*/ 2741627 h 4687251"/>
              <a:gd name="connsiteX9356" fmla="*/ 3840512 w 8079933"/>
              <a:gd name="connsiteY9356" fmla="*/ 2728959 h 4687251"/>
              <a:gd name="connsiteX9357" fmla="*/ 3845612 w 8079933"/>
              <a:gd name="connsiteY9357" fmla="*/ 2722138 h 4687251"/>
              <a:gd name="connsiteX9358" fmla="*/ 3845829 w 8079933"/>
              <a:gd name="connsiteY9358" fmla="*/ 2718674 h 4687251"/>
              <a:gd name="connsiteX9359" fmla="*/ 3600108 w 8079933"/>
              <a:gd name="connsiteY9359" fmla="*/ 2707990 h 4687251"/>
              <a:gd name="connsiteX9360" fmla="*/ 3604164 w 8079933"/>
              <a:gd name="connsiteY9360" fmla="*/ 2709363 h 4687251"/>
              <a:gd name="connsiteX9361" fmla="*/ 3605867 w 8079933"/>
              <a:gd name="connsiteY9361" fmla="*/ 2710070 h 4687251"/>
              <a:gd name="connsiteX9362" fmla="*/ 3604163 w 8079933"/>
              <a:gd name="connsiteY9362" fmla="*/ 2709362 h 4687251"/>
              <a:gd name="connsiteX9363" fmla="*/ 3592987 w 8079933"/>
              <a:gd name="connsiteY9363" fmla="*/ 2707197 h 4687251"/>
              <a:gd name="connsiteX9364" fmla="*/ 3592987 w 8079933"/>
              <a:gd name="connsiteY9364" fmla="*/ 2707197 h 4687251"/>
              <a:gd name="connsiteX9365" fmla="*/ 3598087 w 8079933"/>
              <a:gd name="connsiteY9365" fmla="*/ 2707305 h 4687251"/>
              <a:gd name="connsiteX9366" fmla="*/ 3598086 w 8079933"/>
              <a:gd name="connsiteY9366" fmla="*/ 2707305 h 4687251"/>
              <a:gd name="connsiteX9367" fmla="*/ 3617077 w 8079933"/>
              <a:gd name="connsiteY9367" fmla="*/ 2706764 h 4687251"/>
              <a:gd name="connsiteX9368" fmla="*/ 3618921 w 8079933"/>
              <a:gd name="connsiteY9368" fmla="*/ 2709795 h 4687251"/>
              <a:gd name="connsiteX9369" fmla="*/ 3617293 w 8079933"/>
              <a:gd name="connsiteY9369" fmla="*/ 2712827 h 4687251"/>
              <a:gd name="connsiteX9370" fmla="*/ 3615422 w 8079933"/>
              <a:gd name="connsiteY9370" fmla="*/ 2712751 h 4687251"/>
              <a:gd name="connsiteX9371" fmla="*/ 3617294 w 8079933"/>
              <a:gd name="connsiteY9371" fmla="*/ 2712827 h 4687251"/>
              <a:gd name="connsiteX9372" fmla="*/ 3618921 w 8079933"/>
              <a:gd name="connsiteY9372" fmla="*/ 2709796 h 4687251"/>
              <a:gd name="connsiteX9373" fmla="*/ 6315886 w 8079933"/>
              <a:gd name="connsiteY9373" fmla="*/ 2705790 h 4687251"/>
              <a:gd name="connsiteX9374" fmla="*/ 6315886 w 8079933"/>
              <a:gd name="connsiteY9374" fmla="*/ 2705790 h 4687251"/>
              <a:gd name="connsiteX9375" fmla="*/ 6316862 w 8079933"/>
              <a:gd name="connsiteY9375" fmla="*/ 2710337 h 4687251"/>
              <a:gd name="connsiteX9376" fmla="*/ 6316862 w 8079933"/>
              <a:gd name="connsiteY9376" fmla="*/ 2710337 h 4687251"/>
              <a:gd name="connsiteX9377" fmla="*/ 3855486 w 8079933"/>
              <a:gd name="connsiteY9377" fmla="*/ 2704924 h 4687251"/>
              <a:gd name="connsiteX9378" fmla="*/ 3854510 w 8079933"/>
              <a:gd name="connsiteY9378" fmla="*/ 2708171 h 4687251"/>
              <a:gd name="connsiteX9379" fmla="*/ 3851304 w 8079933"/>
              <a:gd name="connsiteY9379" fmla="*/ 2709238 h 4687251"/>
              <a:gd name="connsiteX9380" fmla="*/ 3854511 w 8079933"/>
              <a:gd name="connsiteY9380" fmla="*/ 2708172 h 4687251"/>
              <a:gd name="connsiteX9381" fmla="*/ 3855488 w 8079933"/>
              <a:gd name="connsiteY9381" fmla="*/ 2704924 h 4687251"/>
              <a:gd name="connsiteX9382" fmla="*/ 3584956 w 8079933"/>
              <a:gd name="connsiteY9382" fmla="*/ 2704490 h 4687251"/>
              <a:gd name="connsiteX9383" fmla="*/ 3584955 w 8079933"/>
              <a:gd name="connsiteY9383" fmla="*/ 2704490 h 4687251"/>
              <a:gd name="connsiteX9384" fmla="*/ 3581375 w 8079933"/>
              <a:gd name="connsiteY9384" fmla="*/ 2707305 h 4687251"/>
              <a:gd name="connsiteX9385" fmla="*/ 3581375 w 8079933"/>
              <a:gd name="connsiteY9385" fmla="*/ 2707305 h 4687251"/>
              <a:gd name="connsiteX9386" fmla="*/ 3563036 w 8079933"/>
              <a:gd name="connsiteY9386" fmla="*/ 2703949 h 4687251"/>
              <a:gd name="connsiteX9387" fmla="*/ 3563035 w 8079933"/>
              <a:gd name="connsiteY9387" fmla="*/ 2703949 h 4687251"/>
              <a:gd name="connsiteX9388" fmla="*/ 3567267 w 8079933"/>
              <a:gd name="connsiteY9388" fmla="*/ 2703949 h 4687251"/>
              <a:gd name="connsiteX9389" fmla="*/ 3567268 w 8079933"/>
              <a:gd name="connsiteY9389" fmla="*/ 2703949 h 4687251"/>
              <a:gd name="connsiteX9390" fmla="*/ 4466327 w 8079933"/>
              <a:gd name="connsiteY9390" fmla="*/ 2703732 h 4687251"/>
              <a:gd name="connsiteX9391" fmla="*/ 4466327 w 8079933"/>
              <a:gd name="connsiteY9391" fmla="*/ 2703732 h 4687251"/>
              <a:gd name="connsiteX9392" fmla="*/ 4469139 w 8079933"/>
              <a:gd name="connsiteY9392" fmla="*/ 2705415 h 4687251"/>
              <a:gd name="connsiteX9393" fmla="*/ 4256674 w 8079933"/>
              <a:gd name="connsiteY9393" fmla="*/ 2703624 h 4687251"/>
              <a:gd name="connsiteX9394" fmla="*/ 4256674 w 8079933"/>
              <a:gd name="connsiteY9394" fmla="*/ 2703624 h 4687251"/>
              <a:gd name="connsiteX9395" fmla="*/ 4261122 w 8079933"/>
              <a:gd name="connsiteY9395" fmla="*/ 2705357 h 4687251"/>
              <a:gd name="connsiteX9396" fmla="*/ 4264269 w 8079933"/>
              <a:gd name="connsiteY9396" fmla="*/ 2706547 h 4687251"/>
              <a:gd name="connsiteX9397" fmla="*/ 4269935 w 8079933"/>
              <a:gd name="connsiteY9397" fmla="*/ 2713887 h 4687251"/>
              <a:gd name="connsiteX9398" fmla="*/ 4269935 w 8079933"/>
              <a:gd name="connsiteY9398" fmla="*/ 2713886 h 4687251"/>
              <a:gd name="connsiteX9399" fmla="*/ 4264269 w 8079933"/>
              <a:gd name="connsiteY9399" fmla="*/ 2706547 h 4687251"/>
              <a:gd name="connsiteX9400" fmla="*/ 4261123 w 8079933"/>
              <a:gd name="connsiteY9400" fmla="*/ 2705356 h 4687251"/>
              <a:gd name="connsiteX9401" fmla="*/ 4261123 w 8079933"/>
              <a:gd name="connsiteY9401" fmla="*/ 2705356 h 4687251"/>
              <a:gd name="connsiteX9402" fmla="*/ 4084458 w 8079933"/>
              <a:gd name="connsiteY9402" fmla="*/ 2703516 h 4687251"/>
              <a:gd name="connsiteX9403" fmla="*/ 4088364 w 8079933"/>
              <a:gd name="connsiteY9403" fmla="*/ 2704274 h 4687251"/>
              <a:gd name="connsiteX9404" fmla="*/ 4093490 w 8079933"/>
              <a:gd name="connsiteY9404" fmla="*/ 2706133 h 4687251"/>
              <a:gd name="connsiteX9405" fmla="*/ 4088364 w 8079933"/>
              <a:gd name="connsiteY9405" fmla="*/ 2704273 h 4687251"/>
              <a:gd name="connsiteX9406" fmla="*/ 3587342 w 8079933"/>
              <a:gd name="connsiteY9406" fmla="*/ 2703516 h 4687251"/>
              <a:gd name="connsiteX9407" fmla="*/ 3585012 w 8079933"/>
              <a:gd name="connsiteY9407" fmla="*/ 2704467 h 4687251"/>
              <a:gd name="connsiteX9408" fmla="*/ 3587343 w 8079933"/>
              <a:gd name="connsiteY9408" fmla="*/ 2703516 h 4687251"/>
              <a:gd name="connsiteX9409" fmla="*/ 3966608 w 8079933"/>
              <a:gd name="connsiteY9409" fmla="*/ 2701980 h 4687251"/>
              <a:gd name="connsiteX9410" fmla="*/ 3972794 w 8079933"/>
              <a:gd name="connsiteY9410" fmla="*/ 2706114 h 4687251"/>
              <a:gd name="connsiteX9411" fmla="*/ 3972924 w 8079933"/>
              <a:gd name="connsiteY9411" fmla="*/ 2708973 h 4687251"/>
              <a:gd name="connsiteX9412" fmla="*/ 3972794 w 8079933"/>
              <a:gd name="connsiteY9412" fmla="*/ 2706114 h 4687251"/>
              <a:gd name="connsiteX9413" fmla="*/ 6167544 w 8079933"/>
              <a:gd name="connsiteY9413" fmla="*/ 2701676 h 4687251"/>
              <a:gd name="connsiteX9414" fmla="*/ 6168521 w 8079933"/>
              <a:gd name="connsiteY9414" fmla="*/ 2704382 h 4687251"/>
              <a:gd name="connsiteX9415" fmla="*/ 6167001 w 8079933"/>
              <a:gd name="connsiteY9415" fmla="*/ 2708388 h 4687251"/>
              <a:gd name="connsiteX9416" fmla="*/ 6168521 w 8079933"/>
              <a:gd name="connsiteY9416" fmla="*/ 2710121 h 4687251"/>
              <a:gd name="connsiteX9417" fmla="*/ 6168303 w 8079933"/>
              <a:gd name="connsiteY9417" fmla="*/ 2715101 h 4687251"/>
              <a:gd name="connsiteX9418" fmla="*/ 6164723 w 8079933"/>
              <a:gd name="connsiteY9418" fmla="*/ 2720406 h 4687251"/>
              <a:gd name="connsiteX9419" fmla="*/ 6167978 w 8079933"/>
              <a:gd name="connsiteY9419" fmla="*/ 2722463 h 4687251"/>
              <a:gd name="connsiteX9420" fmla="*/ 6167978 w 8079933"/>
              <a:gd name="connsiteY9420" fmla="*/ 2729176 h 4687251"/>
              <a:gd name="connsiteX9421" fmla="*/ 6162660 w 8079933"/>
              <a:gd name="connsiteY9421" fmla="*/ 2733291 h 4687251"/>
              <a:gd name="connsiteX9422" fmla="*/ 6160490 w 8079933"/>
              <a:gd name="connsiteY9422" fmla="*/ 2731233 h 4687251"/>
              <a:gd name="connsiteX9423" fmla="*/ 6163203 w 8079933"/>
              <a:gd name="connsiteY9423" fmla="*/ 2720947 h 4687251"/>
              <a:gd name="connsiteX9424" fmla="*/ 6162335 w 8079933"/>
              <a:gd name="connsiteY9424" fmla="*/ 2717700 h 4687251"/>
              <a:gd name="connsiteX9425" fmla="*/ 6163746 w 8079933"/>
              <a:gd name="connsiteY9425" fmla="*/ 2714885 h 4687251"/>
              <a:gd name="connsiteX9426" fmla="*/ 6162877 w 8079933"/>
              <a:gd name="connsiteY9426" fmla="*/ 2706981 h 4687251"/>
              <a:gd name="connsiteX9427" fmla="*/ 4076786 w 8079933"/>
              <a:gd name="connsiteY9427" fmla="*/ 2701178 h 4687251"/>
              <a:gd name="connsiteX9428" fmla="*/ 4081636 w 8079933"/>
              <a:gd name="connsiteY9428" fmla="*/ 2701892 h 4687251"/>
              <a:gd name="connsiteX9429" fmla="*/ 4081636 w 8079933"/>
              <a:gd name="connsiteY9429" fmla="*/ 2701892 h 4687251"/>
              <a:gd name="connsiteX9430" fmla="*/ 3604598 w 8079933"/>
              <a:gd name="connsiteY9430" fmla="*/ 2700701 h 4687251"/>
              <a:gd name="connsiteX9431" fmla="*/ 3615014 w 8079933"/>
              <a:gd name="connsiteY9431" fmla="*/ 2707089 h 4687251"/>
              <a:gd name="connsiteX9432" fmla="*/ 3615015 w 8079933"/>
              <a:gd name="connsiteY9432" fmla="*/ 2707089 h 4687251"/>
              <a:gd name="connsiteX9433" fmla="*/ 4072055 w 8079933"/>
              <a:gd name="connsiteY9433" fmla="*/ 2699963 h 4687251"/>
              <a:gd name="connsiteX9434" fmla="*/ 4068506 w 8079933"/>
              <a:gd name="connsiteY9434" fmla="*/ 2700159 h 4687251"/>
              <a:gd name="connsiteX9435" fmla="*/ 4066444 w 8079933"/>
              <a:gd name="connsiteY9435" fmla="*/ 2702000 h 4687251"/>
              <a:gd name="connsiteX9436" fmla="*/ 4059173 w 8079933"/>
              <a:gd name="connsiteY9436" fmla="*/ 2701892 h 4687251"/>
              <a:gd name="connsiteX9437" fmla="*/ 4057220 w 8079933"/>
              <a:gd name="connsiteY9437" fmla="*/ 2702000 h 4687251"/>
              <a:gd name="connsiteX9438" fmla="*/ 4053422 w 8079933"/>
              <a:gd name="connsiteY9438" fmla="*/ 2701783 h 4687251"/>
              <a:gd name="connsiteX9439" fmla="*/ 4048538 w 8079933"/>
              <a:gd name="connsiteY9439" fmla="*/ 2702866 h 4687251"/>
              <a:gd name="connsiteX9440" fmla="*/ 4046694 w 8079933"/>
              <a:gd name="connsiteY9440" fmla="*/ 2703949 h 4687251"/>
              <a:gd name="connsiteX9441" fmla="*/ 4044089 w 8079933"/>
              <a:gd name="connsiteY9441" fmla="*/ 2705031 h 4687251"/>
              <a:gd name="connsiteX9442" fmla="*/ 4038771 w 8079933"/>
              <a:gd name="connsiteY9442" fmla="*/ 2709363 h 4687251"/>
              <a:gd name="connsiteX9443" fmla="*/ 4038012 w 8079933"/>
              <a:gd name="connsiteY9443" fmla="*/ 2711744 h 4687251"/>
              <a:gd name="connsiteX9444" fmla="*/ 4038772 w 8079933"/>
              <a:gd name="connsiteY9444" fmla="*/ 2709363 h 4687251"/>
              <a:gd name="connsiteX9445" fmla="*/ 4044090 w 8079933"/>
              <a:gd name="connsiteY9445" fmla="*/ 2705032 h 4687251"/>
              <a:gd name="connsiteX9446" fmla="*/ 4046694 w 8079933"/>
              <a:gd name="connsiteY9446" fmla="*/ 2703949 h 4687251"/>
              <a:gd name="connsiteX9447" fmla="*/ 4048538 w 8079933"/>
              <a:gd name="connsiteY9447" fmla="*/ 2702867 h 4687251"/>
              <a:gd name="connsiteX9448" fmla="*/ 4053422 w 8079933"/>
              <a:gd name="connsiteY9448" fmla="*/ 2701784 h 4687251"/>
              <a:gd name="connsiteX9449" fmla="*/ 4057220 w 8079933"/>
              <a:gd name="connsiteY9449" fmla="*/ 2702000 h 4687251"/>
              <a:gd name="connsiteX9450" fmla="*/ 4059173 w 8079933"/>
              <a:gd name="connsiteY9450" fmla="*/ 2701892 h 4687251"/>
              <a:gd name="connsiteX9451" fmla="*/ 4066444 w 8079933"/>
              <a:gd name="connsiteY9451" fmla="*/ 2702000 h 4687251"/>
              <a:gd name="connsiteX9452" fmla="*/ 4068506 w 8079933"/>
              <a:gd name="connsiteY9452" fmla="*/ 2700159 h 4687251"/>
              <a:gd name="connsiteX9453" fmla="*/ 4072412 w 8079933"/>
              <a:gd name="connsiteY9453" fmla="*/ 2699943 h 4687251"/>
              <a:gd name="connsiteX9454" fmla="*/ 4073714 w 8079933"/>
              <a:gd name="connsiteY9454" fmla="*/ 2700430 h 4687251"/>
              <a:gd name="connsiteX9455" fmla="*/ 4072412 w 8079933"/>
              <a:gd name="connsiteY9455" fmla="*/ 2699943 h 4687251"/>
              <a:gd name="connsiteX9456" fmla="*/ 4906905 w 8079933"/>
              <a:gd name="connsiteY9456" fmla="*/ 2699401 h 4687251"/>
              <a:gd name="connsiteX9457" fmla="*/ 4906906 w 8079933"/>
              <a:gd name="connsiteY9457" fmla="*/ 2699402 h 4687251"/>
              <a:gd name="connsiteX9458" fmla="*/ 4913136 w 8079933"/>
              <a:gd name="connsiteY9458" fmla="*/ 2700372 h 4687251"/>
              <a:gd name="connsiteX9459" fmla="*/ 6825046 w 8079933"/>
              <a:gd name="connsiteY9459" fmla="*/ 2699294 h 4687251"/>
              <a:gd name="connsiteX9460" fmla="*/ 6830580 w 8079933"/>
              <a:gd name="connsiteY9460" fmla="*/ 2701351 h 4687251"/>
              <a:gd name="connsiteX9461" fmla="*/ 6836332 w 8079933"/>
              <a:gd name="connsiteY9461" fmla="*/ 2700052 h 4687251"/>
              <a:gd name="connsiteX9462" fmla="*/ 6846315 w 8079933"/>
              <a:gd name="connsiteY9462" fmla="*/ 2708822 h 4687251"/>
              <a:gd name="connsiteX9463" fmla="*/ 6851090 w 8079933"/>
              <a:gd name="connsiteY9463" fmla="*/ 2710663 h 4687251"/>
              <a:gd name="connsiteX9464" fmla="*/ 6851090 w 8079933"/>
              <a:gd name="connsiteY9464" fmla="*/ 2714993 h 4687251"/>
              <a:gd name="connsiteX9465" fmla="*/ 6849354 w 8079933"/>
              <a:gd name="connsiteY9465" fmla="*/ 2718241 h 4687251"/>
              <a:gd name="connsiteX9466" fmla="*/ 6851741 w 8079933"/>
              <a:gd name="connsiteY9466" fmla="*/ 2721814 h 4687251"/>
              <a:gd name="connsiteX9467" fmla="*/ 6851741 w 8079933"/>
              <a:gd name="connsiteY9467" fmla="*/ 2725929 h 4687251"/>
              <a:gd name="connsiteX9468" fmla="*/ 6849571 w 8079933"/>
              <a:gd name="connsiteY9468" fmla="*/ 2727445 h 4687251"/>
              <a:gd name="connsiteX9469" fmla="*/ 6849571 w 8079933"/>
              <a:gd name="connsiteY9469" fmla="*/ 2731234 h 4687251"/>
              <a:gd name="connsiteX9470" fmla="*/ 6845230 w 8079933"/>
              <a:gd name="connsiteY9470" fmla="*/ 2734916 h 4687251"/>
              <a:gd name="connsiteX9471" fmla="*/ 6841324 w 8079933"/>
              <a:gd name="connsiteY9471" fmla="*/ 2734157 h 4687251"/>
              <a:gd name="connsiteX9472" fmla="*/ 6836657 w 8079933"/>
              <a:gd name="connsiteY9472" fmla="*/ 2728527 h 4687251"/>
              <a:gd name="connsiteX9473" fmla="*/ 6836440 w 8079933"/>
              <a:gd name="connsiteY9473" fmla="*/ 2724196 h 4687251"/>
              <a:gd name="connsiteX9474" fmla="*/ 6832642 w 8079933"/>
              <a:gd name="connsiteY9474" fmla="*/ 2722031 h 4687251"/>
              <a:gd name="connsiteX9475" fmla="*/ 6832642 w 8079933"/>
              <a:gd name="connsiteY9475" fmla="*/ 2714561 h 4687251"/>
              <a:gd name="connsiteX9476" fmla="*/ 6829603 w 8079933"/>
              <a:gd name="connsiteY9476" fmla="*/ 2710446 h 4687251"/>
              <a:gd name="connsiteX9477" fmla="*/ 6826240 w 8079933"/>
              <a:gd name="connsiteY9477" fmla="*/ 2709255 h 4687251"/>
              <a:gd name="connsiteX9478" fmla="*/ 6825046 w 8079933"/>
              <a:gd name="connsiteY9478" fmla="*/ 2703625 h 4687251"/>
              <a:gd name="connsiteX9479" fmla="*/ 6821791 w 8079933"/>
              <a:gd name="connsiteY9479" fmla="*/ 2703733 h 4687251"/>
              <a:gd name="connsiteX9480" fmla="*/ 6820705 w 8079933"/>
              <a:gd name="connsiteY9480" fmla="*/ 2701567 h 4687251"/>
              <a:gd name="connsiteX9481" fmla="*/ 6859446 w 8079933"/>
              <a:gd name="connsiteY9481" fmla="*/ 2697453 h 4687251"/>
              <a:gd name="connsiteX9482" fmla="*/ 6863895 w 8079933"/>
              <a:gd name="connsiteY9482" fmla="*/ 2699077 h 4687251"/>
              <a:gd name="connsiteX9483" fmla="*/ 6866282 w 8079933"/>
              <a:gd name="connsiteY9483" fmla="*/ 2703083 h 4687251"/>
              <a:gd name="connsiteX9484" fmla="*/ 6864329 w 8079933"/>
              <a:gd name="connsiteY9484" fmla="*/ 2705573 h 4687251"/>
              <a:gd name="connsiteX9485" fmla="*/ 6863244 w 8079933"/>
              <a:gd name="connsiteY9485" fmla="*/ 2708171 h 4687251"/>
              <a:gd name="connsiteX9486" fmla="*/ 6857710 w 8079933"/>
              <a:gd name="connsiteY9486" fmla="*/ 2704382 h 4687251"/>
              <a:gd name="connsiteX9487" fmla="*/ 6856950 w 8079933"/>
              <a:gd name="connsiteY9487" fmla="*/ 2700918 h 4687251"/>
              <a:gd name="connsiteX9488" fmla="*/ 7408757 w 8079933"/>
              <a:gd name="connsiteY9488" fmla="*/ 2697344 h 4687251"/>
              <a:gd name="connsiteX9489" fmla="*/ 7410494 w 8079933"/>
              <a:gd name="connsiteY9489" fmla="*/ 2698535 h 4687251"/>
              <a:gd name="connsiteX9490" fmla="*/ 7406370 w 8079933"/>
              <a:gd name="connsiteY9490" fmla="*/ 2706114 h 4687251"/>
              <a:gd name="connsiteX9491" fmla="*/ 7402897 w 8079933"/>
              <a:gd name="connsiteY9491" fmla="*/ 2707197 h 4687251"/>
              <a:gd name="connsiteX9492" fmla="*/ 7401052 w 8079933"/>
              <a:gd name="connsiteY9492" fmla="*/ 2705464 h 4687251"/>
              <a:gd name="connsiteX9493" fmla="*/ 7401920 w 8079933"/>
              <a:gd name="connsiteY9493" fmla="*/ 2702540 h 4687251"/>
              <a:gd name="connsiteX9494" fmla="*/ 7404091 w 8079933"/>
              <a:gd name="connsiteY9494" fmla="*/ 2698535 h 4687251"/>
              <a:gd name="connsiteX9495" fmla="*/ 3879795 w 8079933"/>
              <a:gd name="connsiteY9495" fmla="*/ 2696911 h 4687251"/>
              <a:gd name="connsiteX9496" fmla="*/ 3879794 w 8079933"/>
              <a:gd name="connsiteY9496" fmla="*/ 2696912 h 4687251"/>
              <a:gd name="connsiteX9497" fmla="*/ 3877732 w 8079933"/>
              <a:gd name="connsiteY9497" fmla="*/ 2701675 h 4687251"/>
              <a:gd name="connsiteX9498" fmla="*/ 3877733 w 8079933"/>
              <a:gd name="connsiteY9498" fmla="*/ 2701675 h 4687251"/>
              <a:gd name="connsiteX9499" fmla="*/ 3582569 w 8079933"/>
              <a:gd name="connsiteY9499" fmla="*/ 2694638 h 4687251"/>
              <a:gd name="connsiteX9500" fmla="*/ 3586583 w 8079933"/>
              <a:gd name="connsiteY9500" fmla="*/ 2695829 h 4687251"/>
              <a:gd name="connsiteX9501" fmla="*/ 3592660 w 8079933"/>
              <a:gd name="connsiteY9501" fmla="*/ 2696046 h 4687251"/>
              <a:gd name="connsiteX9502" fmla="*/ 3600148 w 8079933"/>
              <a:gd name="connsiteY9502" fmla="*/ 2700701 h 4687251"/>
              <a:gd name="connsiteX9503" fmla="*/ 3600148 w 8079933"/>
              <a:gd name="connsiteY9503" fmla="*/ 2700701 h 4687251"/>
              <a:gd name="connsiteX9504" fmla="*/ 3592661 w 8079933"/>
              <a:gd name="connsiteY9504" fmla="*/ 2696045 h 4687251"/>
              <a:gd name="connsiteX9505" fmla="*/ 3586584 w 8079933"/>
              <a:gd name="connsiteY9505" fmla="*/ 2695829 h 4687251"/>
              <a:gd name="connsiteX9506" fmla="*/ 6396794 w 8079933"/>
              <a:gd name="connsiteY9506" fmla="*/ 2693667 h 4687251"/>
              <a:gd name="connsiteX9507" fmla="*/ 6396622 w 8079933"/>
              <a:gd name="connsiteY9507" fmla="*/ 2694421 h 4687251"/>
              <a:gd name="connsiteX9508" fmla="*/ 6394017 w 8079933"/>
              <a:gd name="connsiteY9508" fmla="*/ 2697958 h 4687251"/>
              <a:gd name="connsiteX9509" fmla="*/ 6396622 w 8079933"/>
              <a:gd name="connsiteY9509" fmla="*/ 2694422 h 4687251"/>
              <a:gd name="connsiteX9510" fmla="*/ 1861168 w 8079933"/>
              <a:gd name="connsiteY9510" fmla="*/ 2693663 h 4687251"/>
              <a:gd name="connsiteX9511" fmla="*/ 1857153 w 8079933"/>
              <a:gd name="connsiteY9511" fmla="*/ 2694096 h 4687251"/>
              <a:gd name="connsiteX9512" fmla="*/ 1856067 w 8079933"/>
              <a:gd name="connsiteY9512" fmla="*/ 2696804 h 4687251"/>
              <a:gd name="connsiteX9513" fmla="*/ 1855200 w 8079933"/>
              <a:gd name="connsiteY9513" fmla="*/ 2698968 h 4687251"/>
              <a:gd name="connsiteX9514" fmla="*/ 1855200 w 8079933"/>
              <a:gd name="connsiteY9514" fmla="*/ 2698969 h 4687251"/>
              <a:gd name="connsiteX9515" fmla="*/ 1856068 w 8079933"/>
              <a:gd name="connsiteY9515" fmla="*/ 2696803 h 4687251"/>
              <a:gd name="connsiteX9516" fmla="*/ 1857153 w 8079933"/>
              <a:gd name="connsiteY9516" fmla="*/ 2694097 h 4687251"/>
              <a:gd name="connsiteX9517" fmla="*/ 1861168 w 8079933"/>
              <a:gd name="connsiteY9517" fmla="*/ 2693663 h 4687251"/>
              <a:gd name="connsiteX9518" fmla="*/ 2505432 w 8079933"/>
              <a:gd name="connsiteY9518" fmla="*/ 2692797 h 4687251"/>
              <a:gd name="connsiteX9519" fmla="*/ 2507059 w 8079933"/>
              <a:gd name="connsiteY9519" fmla="*/ 2700376 h 4687251"/>
              <a:gd name="connsiteX9520" fmla="*/ 2504564 w 8079933"/>
              <a:gd name="connsiteY9520" fmla="*/ 2706873 h 4687251"/>
              <a:gd name="connsiteX9521" fmla="*/ 2500657 w 8079933"/>
              <a:gd name="connsiteY9521" fmla="*/ 2704924 h 4687251"/>
              <a:gd name="connsiteX9522" fmla="*/ 2499789 w 8079933"/>
              <a:gd name="connsiteY9522" fmla="*/ 2700376 h 4687251"/>
              <a:gd name="connsiteX9523" fmla="*/ 1823404 w 8079933"/>
              <a:gd name="connsiteY9523" fmla="*/ 2691497 h 4687251"/>
              <a:gd name="connsiteX9524" fmla="*/ 1819281 w 8079933"/>
              <a:gd name="connsiteY9524" fmla="*/ 2692688 h 4687251"/>
              <a:gd name="connsiteX9525" fmla="*/ 1813421 w 8079933"/>
              <a:gd name="connsiteY9525" fmla="*/ 2693988 h 4687251"/>
              <a:gd name="connsiteX9526" fmla="*/ 1808972 w 8079933"/>
              <a:gd name="connsiteY9526" fmla="*/ 2698860 h 4687251"/>
              <a:gd name="connsiteX9527" fmla="*/ 1808940 w 8079933"/>
              <a:gd name="connsiteY9527" fmla="*/ 2699216 h 4687251"/>
              <a:gd name="connsiteX9528" fmla="*/ 1808972 w 8079933"/>
              <a:gd name="connsiteY9528" fmla="*/ 2698861 h 4687251"/>
              <a:gd name="connsiteX9529" fmla="*/ 1813421 w 8079933"/>
              <a:gd name="connsiteY9529" fmla="*/ 2693989 h 4687251"/>
              <a:gd name="connsiteX9530" fmla="*/ 1819281 w 8079933"/>
              <a:gd name="connsiteY9530" fmla="*/ 2692689 h 4687251"/>
              <a:gd name="connsiteX9531" fmla="*/ 1823404 w 8079933"/>
              <a:gd name="connsiteY9531" fmla="*/ 2691498 h 4687251"/>
              <a:gd name="connsiteX9532" fmla="*/ 6812566 w 8079933"/>
              <a:gd name="connsiteY9532" fmla="*/ 2691173 h 4687251"/>
              <a:gd name="connsiteX9533" fmla="*/ 6815713 w 8079933"/>
              <a:gd name="connsiteY9533" fmla="*/ 2691173 h 4687251"/>
              <a:gd name="connsiteX9534" fmla="*/ 6820162 w 8079933"/>
              <a:gd name="connsiteY9534" fmla="*/ 2695829 h 4687251"/>
              <a:gd name="connsiteX9535" fmla="*/ 6818969 w 8079933"/>
              <a:gd name="connsiteY9535" fmla="*/ 2697020 h 4687251"/>
              <a:gd name="connsiteX9536" fmla="*/ 6813109 w 8079933"/>
              <a:gd name="connsiteY9536" fmla="*/ 2694530 h 4687251"/>
              <a:gd name="connsiteX9537" fmla="*/ 1843697 w 8079933"/>
              <a:gd name="connsiteY9537" fmla="*/ 2689441 h 4687251"/>
              <a:gd name="connsiteX9538" fmla="*/ 1839031 w 8079933"/>
              <a:gd name="connsiteY9538" fmla="*/ 2690091 h 4687251"/>
              <a:gd name="connsiteX9539" fmla="*/ 1843697 w 8079933"/>
              <a:gd name="connsiteY9539" fmla="*/ 2689441 h 4687251"/>
              <a:gd name="connsiteX9540" fmla="*/ 4815100 w 8079933"/>
              <a:gd name="connsiteY9540" fmla="*/ 2689224 h 4687251"/>
              <a:gd name="connsiteX9541" fmla="*/ 4813906 w 8079933"/>
              <a:gd name="connsiteY9541" fmla="*/ 2690956 h 4687251"/>
              <a:gd name="connsiteX9542" fmla="*/ 4811302 w 8079933"/>
              <a:gd name="connsiteY9542" fmla="*/ 2698211 h 4687251"/>
              <a:gd name="connsiteX9543" fmla="*/ 4811302 w 8079933"/>
              <a:gd name="connsiteY9543" fmla="*/ 2706438 h 4687251"/>
              <a:gd name="connsiteX9544" fmla="*/ 4804791 w 8079933"/>
              <a:gd name="connsiteY9544" fmla="*/ 2717482 h 4687251"/>
              <a:gd name="connsiteX9545" fmla="*/ 4802077 w 8079933"/>
              <a:gd name="connsiteY9545" fmla="*/ 2725061 h 4687251"/>
              <a:gd name="connsiteX9546" fmla="*/ 4802079 w 8079933"/>
              <a:gd name="connsiteY9546" fmla="*/ 2725061 h 4687251"/>
              <a:gd name="connsiteX9547" fmla="*/ 4804792 w 8079933"/>
              <a:gd name="connsiteY9547" fmla="*/ 2717482 h 4687251"/>
              <a:gd name="connsiteX9548" fmla="*/ 4811303 w 8079933"/>
              <a:gd name="connsiteY9548" fmla="*/ 2706439 h 4687251"/>
              <a:gd name="connsiteX9549" fmla="*/ 4811303 w 8079933"/>
              <a:gd name="connsiteY9549" fmla="*/ 2698210 h 4687251"/>
              <a:gd name="connsiteX9550" fmla="*/ 4813907 w 8079933"/>
              <a:gd name="connsiteY9550" fmla="*/ 2690956 h 4687251"/>
              <a:gd name="connsiteX9551" fmla="*/ 4815101 w 8079933"/>
              <a:gd name="connsiteY9551" fmla="*/ 2689224 h 4687251"/>
              <a:gd name="connsiteX9552" fmla="*/ 4471536 w 8079933"/>
              <a:gd name="connsiteY9552" fmla="*/ 2686409 h 4687251"/>
              <a:gd name="connsiteX9553" fmla="*/ 4471753 w 8079933"/>
              <a:gd name="connsiteY9553" fmla="*/ 2689765 h 4687251"/>
              <a:gd name="connsiteX9554" fmla="*/ 4472926 w 8079933"/>
              <a:gd name="connsiteY9554" fmla="*/ 2690935 h 4687251"/>
              <a:gd name="connsiteX9555" fmla="*/ 4471753 w 8079933"/>
              <a:gd name="connsiteY9555" fmla="*/ 2689765 h 4687251"/>
              <a:gd name="connsiteX9556" fmla="*/ 6472288 w 8079933"/>
              <a:gd name="connsiteY9556" fmla="*/ 2686264 h 4687251"/>
              <a:gd name="connsiteX9557" fmla="*/ 6473450 w 8079933"/>
              <a:gd name="connsiteY9557" fmla="*/ 2686301 h 4687251"/>
              <a:gd name="connsiteX9558" fmla="*/ 6477792 w 8079933"/>
              <a:gd name="connsiteY9558" fmla="*/ 2693338 h 4687251"/>
              <a:gd name="connsiteX9559" fmla="*/ 6485279 w 8079933"/>
              <a:gd name="connsiteY9559" fmla="*/ 2696045 h 4687251"/>
              <a:gd name="connsiteX9560" fmla="*/ 6477794 w 8079933"/>
              <a:gd name="connsiteY9560" fmla="*/ 2693338 h 4687251"/>
              <a:gd name="connsiteX9561" fmla="*/ 6473453 w 8079933"/>
              <a:gd name="connsiteY9561" fmla="*/ 2686301 h 4687251"/>
              <a:gd name="connsiteX9562" fmla="*/ 4891213 w 8079933"/>
              <a:gd name="connsiteY9562" fmla="*/ 2685990 h 4687251"/>
              <a:gd name="connsiteX9563" fmla="*/ 4892799 w 8079933"/>
              <a:gd name="connsiteY9563" fmla="*/ 2687492 h 4687251"/>
              <a:gd name="connsiteX9564" fmla="*/ 4896705 w 8079933"/>
              <a:gd name="connsiteY9564" fmla="*/ 2688249 h 4687251"/>
              <a:gd name="connsiteX9565" fmla="*/ 4905061 w 8079933"/>
              <a:gd name="connsiteY9565" fmla="*/ 2695720 h 4687251"/>
              <a:gd name="connsiteX9566" fmla="*/ 4905061 w 8079933"/>
              <a:gd name="connsiteY9566" fmla="*/ 2695720 h 4687251"/>
              <a:gd name="connsiteX9567" fmla="*/ 4896705 w 8079933"/>
              <a:gd name="connsiteY9567" fmla="*/ 2688249 h 4687251"/>
              <a:gd name="connsiteX9568" fmla="*/ 4892798 w 8079933"/>
              <a:gd name="connsiteY9568" fmla="*/ 2687491 h 4687251"/>
              <a:gd name="connsiteX9569" fmla="*/ 6915657 w 8079933"/>
              <a:gd name="connsiteY9569" fmla="*/ 2684893 h 4687251"/>
              <a:gd name="connsiteX9570" fmla="*/ 6919129 w 8079933"/>
              <a:gd name="connsiteY9570" fmla="*/ 2688466 h 4687251"/>
              <a:gd name="connsiteX9571" fmla="*/ 6921409 w 8079933"/>
              <a:gd name="connsiteY9571" fmla="*/ 2693338 h 4687251"/>
              <a:gd name="connsiteX9572" fmla="*/ 6919672 w 8079933"/>
              <a:gd name="connsiteY9572" fmla="*/ 2698318 h 4687251"/>
              <a:gd name="connsiteX9573" fmla="*/ 6913378 w 8079933"/>
              <a:gd name="connsiteY9573" fmla="*/ 2699617 h 4687251"/>
              <a:gd name="connsiteX9574" fmla="*/ 6911208 w 8079933"/>
              <a:gd name="connsiteY9574" fmla="*/ 2697019 h 4687251"/>
              <a:gd name="connsiteX9575" fmla="*/ 6912836 w 8079933"/>
              <a:gd name="connsiteY9575" fmla="*/ 2695719 h 4687251"/>
              <a:gd name="connsiteX9576" fmla="*/ 6914246 w 8079933"/>
              <a:gd name="connsiteY9576" fmla="*/ 2692039 h 4687251"/>
              <a:gd name="connsiteX9577" fmla="*/ 6913378 w 8079933"/>
              <a:gd name="connsiteY9577" fmla="*/ 2686733 h 4687251"/>
              <a:gd name="connsiteX9578" fmla="*/ 1829373 w 8079933"/>
              <a:gd name="connsiteY9578" fmla="*/ 2684461 h 4687251"/>
              <a:gd name="connsiteX9579" fmla="*/ 1827539 w 8079933"/>
              <a:gd name="connsiteY9579" fmla="*/ 2685859 h 4687251"/>
              <a:gd name="connsiteX9580" fmla="*/ 1827528 w 8079933"/>
              <a:gd name="connsiteY9580" fmla="*/ 2685868 h 4687251"/>
              <a:gd name="connsiteX9581" fmla="*/ 1823790 w 8079933"/>
              <a:gd name="connsiteY9581" fmla="*/ 2688616 h 4687251"/>
              <a:gd name="connsiteX9582" fmla="*/ 1827529 w 8079933"/>
              <a:gd name="connsiteY9582" fmla="*/ 2685869 h 4687251"/>
              <a:gd name="connsiteX9583" fmla="*/ 1829374 w 8079933"/>
              <a:gd name="connsiteY9583" fmla="*/ 2684461 h 4687251"/>
              <a:gd name="connsiteX9584" fmla="*/ 1831012 w 8079933"/>
              <a:gd name="connsiteY9584" fmla="*/ 2684814 h 4687251"/>
              <a:gd name="connsiteX9585" fmla="*/ 1829430 w 8079933"/>
              <a:gd name="connsiteY9585" fmla="*/ 2684390 h 4687251"/>
              <a:gd name="connsiteX9586" fmla="*/ 1823405 w 8079933"/>
              <a:gd name="connsiteY9586" fmla="*/ 2688899 h 4687251"/>
              <a:gd name="connsiteX9587" fmla="*/ 1823405 w 8079933"/>
              <a:gd name="connsiteY9587" fmla="*/ 2688899 h 4687251"/>
              <a:gd name="connsiteX9588" fmla="*/ 1823416 w 8079933"/>
              <a:gd name="connsiteY9588" fmla="*/ 2688892 h 4687251"/>
              <a:gd name="connsiteX9589" fmla="*/ 4883683 w 8079933"/>
              <a:gd name="connsiteY9589" fmla="*/ 2682511 h 4687251"/>
              <a:gd name="connsiteX9590" fmla="*/ 4879776 w 8079933"/>
              <a:gd name="connsiteY9590" fmla="*/ 2683268 h 4687251"/>
              <a:gd name="connsiteX9591" fmla="*/ 4879125 w 8079933"/>
              <a:gd name="connsiteY9591" fmla="*/ 2684676 h 4687251"/>
              <a:gd name="connsiteX9592" fmla="*/ 4879125 w 8079933"/>
              <a:gd name="connsiteY9592" fmla="*/ 2684676 h 4687251"/>
              <a:gd name="connsiteX9593" fmla="*/ 4879777 w 8079933"/>
              <a:gd name="connsiteY9593" fmla="*/ 2683269 h 4687251"/>
              <a:gd name="connsiteX9594" fmla="*/ 4883683 w 8079933"/>
              <a:gd name="connsiteY9594" fmla="*/ 2682511 h 4687251"/>
              <a:gd name="connsiteX9595" fmla="*/ 3903358 w 8079933"/>
              <a:gd name="connsiteY9595" fmla="*/ 2682413 h 4687251"/>
              <a:gd name="connsiteX9596" fmla="*/ 3892924 w 8079933"/>
              <a:gd name="connsiteY9596" fmla="*/ 2688142 h 4687251"/>
              <a:gd name="connsiteX9597" fmla="*/ 3884050 w 8079933"/>
              <a:gd name="connsiteY9597" fmla="*/ 2694070 h 4687251"/>
              <a:gd name="connsiteX9598" fmla="*/ 3892926 w 8079933"/>
              <a:gd name="connsiteY9598" fmla="*/ 2688141 h 4687251"/>
              <a:gd name="connsiteX9599" fmla="*/ 7419283 w 8079933"/>
              <a:gd name="connsiteY9599" fmla="*/ 2681212 h 4687251"/>
              <a:gd name="connsiteX9600" fmla="*/ 7420802 w 8079933"/>
              <a:gd name="connsiteY9600" fmla="*/ 2684136 h 4687251"/>
              <a:gd name="connsiteX9601" fmla="*/ 7418089 w 8079933"/>
              <a:gd name="connsiteY9601" fmla="*/ 2684461 h 4687251"/>
              <a:gd name="connsiteX9602" fmla="*/ 7414942 w 8079933"/>
              <a:gd name="connsiteY9602" fmla="*/ 2683810 h 4687251"/>
              <a:gd name="connsiteX9603" fmla="*/ 6506114 w 8079933"/>
              <a:gd name="connsiteY9603" fmla="*/ 2680779 h 4687251"/>
              <a:gd name="connsiteX9604" fmla="*/ 6509044 w 8079933"/>
              <a:gd name="connsiteY9604" fmla="*/ 2688141 h 4687251"/>
              <a:gd name="connsiteX9605" fmla="*/ 6513277 w 8079933"/>
              <a:gd name="connsiteY9605" fmla="*/ 2690415 h 4687251"/>
              <a:gd name="connsiteX9606" fmla="*/ 6517400 w 8079933"/>
              <a:gd name="connsiteY9606" fmla="*/ 2700051 h 4687251"/>
              <a:gd name="connsiteX9607" fmla="*/ 6516423 w 8079933"/>
              <a:gd name="connsiteY9607" fmla="*/ 2707414 h 4687251"/>
              <a:gd name="connsiteX9608" fmla="*/ 6518159 w 8079933"/>
              <a:gd name="connsiteY9608" fmla="*/ 2712069 h 4687251"/>
              <a:gd name="connsiteX9609" fmla="*/ 6516532 w 8079933"/>
              <a:gd name="connsiteY9609" fmla="*/ 2718457 h 4687251"/>
              <a:gd name="connsiteX9610" fmla="*/ 6517400 w 8079933"/>
              <a:gd name="connsiteY9610" fmla="*/ 2723979 h 4687251"/>
              <a:gd name="connsiteX9611" fmla="*/ 6514036 w 8079933"/>
              <a:gd name="connsiteY9611" fmla="*/ 2731017 h 4687251"/>
              <a:gd name="connsiteX9612" fmla="*/ 6510238 w 8079933"/>
              <a:gd name="connsiteY9612" fmla="*/ 2732532 h 4687251"/>
              <a:gd name="connsiteX9613" fmla="*/ 6509153 w 8079933"/>
              <a:gd name="connsiteY9613" fmla="*/ 2735672 h 4687251"/>
              <a:gd name="connsiteX9614" fmla="*/ 6502641 w 8079933"/>
              <a:gd name="connsiteY9614" fmla="*/ 2737513 h 4687251"/>
              <a:gd name="connsiteX9615" fmla="*/ 6495697 w 8079933"/>
              <a:gd name="connsiteY9615" fmla="*/ 2742060 h 4687251"/>
              <a:gd name="connsiteX9616" fmla="*/ 6493309 w 8079933"/>
              <a:gd name="connsiteY9616" fmla="*/ 2746607 h 4687251"/>
              <a:gd name="connsiteX9617" fmla="*/ 6493310 w 8079933"/>
              <a:gd name="connsiteY9617" fmla="*/ 2746607 h 4687251"/>
              <a:gd name="connsiteX9618" fmla="*/ 6495698 w 8079933"/>
              <a:gd name="connsiteY9618" fmla="*/ 2742060 h 4687251"/>
              <a:gd name="connsiteX9619" fmla="*/ 6502642 w 8079933"/>
              <a:gd name="connsiteY9619" fmla="*/ 2737513 h 4687251"/>
              <a:gd name="connsiteX9620" fmla="*/ 6509154 w 8079933"/>
              <a:gd name="connsiteY9620" fmla="*/ 2735672 h 4687251"/>
              <a:gd name="connsiteX9621" fmla="*/ 6510239 w 8079933"/>
              <a:gd name="connsiteY9621" fmla="*/ 2732532 h 4687251"/>
              <a:gd name="connsiteX9622" fmla="*/ 6514037 w 8079933"/>
              <a:gd name="connsiteY9622" fmla="*/ 2731017 h 4687251"/>
              <a:gd name="connsiteX9623" fmla="*/ 6517401 w 8079933"/>
              <a:gd name="connsiteY9623" fmla="*/ 2723979 h 4687251"/>
              <a:gd name="connsiteX9624" fmla="*/ 6516533 w 8079933"/>
              <a:gd name="connsiteY9624" fmla="*/ 2718457 h 4687251"/>
              <a:gd name="connsiteX9625" fmla="*/ 6518160 w 8079933"/>
              <a:gd name="connsiteY9625" fmla="*/ 2712069 h 4687251"/>
              <a:gd name="connsiteX9626" fmla="*/ 6516424 w 8079933"/>
              <a:gd name="connsiteY9626" fmla="*/ 2707414 h 4687251"/>
              <a:gd name="connsiteX9627" fmla="*/ 6517401 w 8079933"/>
              <a:gd name="connsiteY9627" fmla="*/ 2700051 h 4687251"/>
              <a:gd name="connsiteX9628" fmla="*/ 6513278 w 8079933"/>
              <a:gd name="connsiteY9628" fmla="*/ 2690415 h 4687251"/>
              <a:gd name="connsiteX9629" fmla="*/ 6509045 w 8079933"/>
              <a:gd name="connsiteY9629" fmla="*/ 2688141 h 4687251"/>
              <a:gd name="connsiteX9630" fmla="*/ 6506115 w 8079933"/>
              <a:gd name="connsiteY9630" fmla="*/ 2680779 h 4687251"/>
              <a:gd name="connsiteX9631" fmla="*/ 1759982 w 8079933"/>
              <a:gd name="connsiteY9631" fmla="*/ 2680080 h 4687251"/>
              <a:gd name="connsiteX9632" fmla="*/ 1759271 w 8079933"/>
              <a:gd name="connsiteY9632" fmla="*/ 2681970 h 4687251"/>
              <a:gd name="connsiteX9633" fmla="*/ 1759220 w 8079933"/>
              <a:gd name="connsiteY9633" fmla="*/ 2682014 h 4687251"/>
              <a:gd name="connsiteX9634" fmla="*/ 1759272 w 8079933"/>
              <a:gd name="connsiteY9634" fmla="*/ 2681970 h 4687251"/>
              <a:gd name="connsiteX9635" fmla="*/ 6859012 w 8079933"/>
              <a:gd name="connsiteY9635" fmla="*/ 2679046 h 4687251"/>
              <a:gd name="connsiteX9636" fmla="*/ 6862376 w 8079933"/>
              <a:gd name="connsiteY9636" fmla="*/ 2681319 h 4687251"/>
              <a:gd name="connsiteX9637" fmla="*/ 6863245 w 8079933"/>
              <a:gd name="connsiteY9637" fmla="*/ 2685001 h 4687251"/>
              <a:gd name="connsiteX9638" fmla="*/ 6859880 w 8079933"/>
              <a:gd name="connsiteY9638" fmla="*/ 2683052 h 4687251"/>
              <a:gd name="connsiteX9639" fmla="*/ 3953130 w 8079933"/>
              <a:gd name="connsiteY9639" fmla="*/ 2678678 h 4687251"/>
              <a:gd name="connsiteX9640" fmla="*/ 3953044 w 8079933"/>
              <a:gd name="connsiteY9640" fmla="*/ 2679263 h 4687251"/>
              <a:gd name="connsiteX9641" fmla="*/ 3951579 w 8079933"/>
              <a:gd name="connsiteY9641" fmla="*/ 2681645 h 4687251"/>
              <a:gd name="connsiteX9642" fmla="*/ 3953044 w 8079933"/>
              <a:gd name="connsiteY9642" fmla="*/ 2679263 h 4687251"/>
              <a:gd name="connsiteX9643" fmla="*/ 1944526 w 8079933"/>
              <a:gd name="connsiteY9643" fmla="*/ 2678519 h 4687251"/>
              <a:gd name="connsiteX9644" fmla="*/ 1945160 w 8079933"/>
              <a:gd name="connsiteY9644" fmla="*/ 2680021 h 4687251"/>
              <a:gd name="connsiteX9645" fmla="*/ 1945488 w 8079933"/>
              <a:gd name="connsiteY9645" fmla="*/ 2679972 h 4687251"/>
              <a:gd name="connsiteX9646" fmla="*/ 1945051 w 8079933"/>
              <a:gd name="connsiteY9646" fmla="*/ 2678939 h 4687251"/>
              <a:gd name="connsiteX9647" fmla="*/ 4867405 w 8079933"/>
              <a:gd name="connsiteY9647" fmla="*/ 2678505 h 4687251"/>
              <a:gd name="connsiteX9648" fmla="*/ 4865669 w 8079933"/>
              <a:gd name="connsiteY9648" fmla="*/ 2680345 h 4687251"/>
              <a:gd name="connsiteX9649" fmla="*/ 4865670 w 8079933"/>
              <a:gd name="connsiteY9649" fmla="*/ 2680346 h 4687251"/>
              <a:gd name="connsiteX9650" fmla="*/ 4867406 w 8079933"/>
              <a:gd name="connsiteY9650" fmla="*/ 2678505 h 4687251"/>
              <a:gd name="connsiteX9651" fmla="*/ 4862305 w 8079933"/>
              <a:gd name="connsiteY9651" fmla="*/ 2677314 h 4687251"/>
              <a:gd name="connsiteX9652" fmla="*/ 4857639 w 8079933"/>
              <a:gd name="connsiteY9652" fmla="*/ 2677855 h 4687251"/>
              <a:gd name="connsiteX9653" fmla="*/ 4853298 w 8079933"/>
              <a:gd name="connsiteY9653" fmla="*/ 2681753 h 4687251"/>
              <a:gd name="connsiteX9654" fmla="*/ 4853299 w 8079933"/>
              <a:gd name="connsiteY9654" fmla="*/ 2681753 h 4687251"/>
              <a:gd name="connsiteX9655" fmla="*/ 4857639 w 8079933"/>
              <a:gd name="connsiteY9655" fmla="*/ 2677855 h 4687251"/>
              <a:gd name="connsiteX9656" fmla="*/ 4862305 w 8079933"/>
              <a:gd name="connsiteY9656" fmla="*/ 2677314 h 4687251"/>
              <a:gd name="connsiteX9657" fmla="*/ 4864445 w 8079933"/>
              <a:gd name="connsiteY9657" fmla="*/ 2679242 h 4687251"/>
              <a:gd name="connsiteX9658" fmla="*/ 6418083 w 8079933"/>
              <a:gd name="connsiteY9658" fmla="*/ 2676995 h 4687251"/>
              <a:gd name="connsiteX9659" fmla="*/ 6407907 w 8079933"/>
              <a:gd name="connsiteY9659" fmla="*/ 2680346 h 4687251"/>
              <a:gd name="connsiteX9660" fmla="*/ 6403241 w 8079933"/>
              <a:gd name="connsiteY9660" fmla="*/ 2680346 h 4687251"/>
              <a:gd name="connsiteX9661" fmla="*/ 6402000 w 8079933"/>
              <a:gd name="connsiteY9661" fmla="*/ 2682069 h 4687251"/>
              <a:gd name="connsiteX9662" fmla="*/ 6403241 w 8079933"/>
              <a:gd name="connsiteY9662" fmla="*/ 2680346 h 4687251"/>
              <a:gd name="connsiteX9663" fmla="*/ 6407907 w 8079933"/>
              <a:gd name="connsiteY9663" fmla="*/ 2680346 h 4687251"/>
              <a:gd name="connsiteX9664" fmla="*/ 6419085 w 8079933"/>
              <a:gd name="connsiteY9664" fmla="*/ 2676665 h 4687251"/>
              <a:gd name="connsiteX9665" fmla="*/ 6419084 w 8079933"/>
              <a:gd name="connsiteY9665" fmla="*/ 2676665 h 4687251"/>
              <a:gd name="connsiteX9666" fmla="*/ 6422689 w 8079933"/>
              <a:gd name="connsiteY9666" fmla="*/ 2676779 h 4687251"/>
              <a:gd name="connsiteX9667" fmla="*/ 6434710 w 8079933"/>
              <a:gd name="connsiteY9667" fmla="*/ 2676448 h 4687251"/>
              <a:gd name="connsiteX9668" fmla="*/ 6427982 w 8079933"/>
              <a:gd name="connsiteY9668" fmla="*/ 2678938 h 4687251"/>
              <a:gd name="connsiteX9669" fmla="*/ 6426608 w 8079933"/>
              <a:gd name="connsiteY9669" fmla="*/ 2677567 h 4687251"/>
              <a:gd name="connsiteX9670" fmla="*/ 6427982 w 8079933"/>
              <a:gd name="connsiteY9670" fmla="*/ 2678939 h 4687251"/>
              <a:gd name="connsiteX9671" fmla="*/ 6434710 w 8079933"/>
              <a:gd name="connsiteY9671" fmla="*/ 2676449 h 4687251"/>
              <a:gd name="connsiteX9672" fmla="*/ 6439920 w 8079933"/>
              <a:gd name="connsiteY9672" fmla="*/ 2676449 h 4687251"/>
              <a:gd name="connsiteX9673" fmla="*/ 6445019 w 8079933"/>
              <a:gd name="connsiteY9673" fmla="*/ 2677856 h 4687251"/>
              <a:gd name="connsiteX9674" fmla="*/ 6439920 w 8079933"/>
              <a:gd name="connsiteY9674" fmla="*/ 2676448 h 4687251"/>
              <a:gd name="connsiteX9675" fmla="*/ 1762589 w 8079933"/>
              <a:gd name="connsiteY9675" fmla="*/ 2676129 h 4687251"/>
              <a:gd name="connsiteX9676" fmla="*/ 1762418 w 8079933"/>
              <a:gd name="connsiteY9676" fmla="*/ 2677747 h 4687251"/>
              <a:gd name="connsiteX9677" fmla="*/ 1762418 w 8079933"/>
              <a:gd name="connsiteY9677" fmla="*/ 2677747 h 4687251"/>
              <a:gd name="connsiteX9678" fmla="*/ 6297463 w 8079933"/>
              <a:gd name="connsiteY9678" fmla="*/ 2675574 h 4687251"/>
              <a:gd name="connsiteX9679" fmla="*/ 6300693 w 8079933"/>
              <a:gd name="connsiteY9679" fmla="*/ 2679589 h 4687251"/>
              <a:gd name="connsiteX9680" fmla="*/ 6307964 w 8079933"/>
              <a:gd name="connsiteY9680" fmla="*/ 2685218 h 4687251"/>
              <a:gd name="connsiteX9681" fmla="*/ 6314475 w 8079933"/>
              <a:gd name="connsiteY9681" fmla="*/ 2691607 h 4687251"/>
              <a:gd name="connsiteX9682" fmla="*/ 6317513 w 8079933"/>
              <a:gd name="connsiteY9682" fmla="*/ 2701784 h 4687251"/>
              <a:gd name="connsiteX9683" fmla="*/ 6317513 w 8079933"/>
              <a:gd name="connsiteY9683" fmla="*/ 2701784 h 4687251"/>
              <a:gd name="connsiteX9684" fmla="*/ 6314475 w 8079933"/>
              <a:gd name="connsiteY9684" fmla="*/ 2691606 h 4687251"/>
              <a:gd name="connsiteX9685" fmla="*/ 6307964 w 8079933"/>
              <a:gd name="connsiteY9685" fmla="*/ 2685218 h 4687251"/>
              <a:gd name="connsiteX9686" fmla="*/ 6300693 w 8079933"/>
              <a:gd name="connsiteY9686" fmla="*/ 2679588 h 4687251"/>
              <a:gd name="connsiteX9687" fmla="*/ 4835393 w 8079933"/>
              <a:gd name="connsiteY9687" fmla="*/ 2674066 h 4687251"/>
              <a:gd name="connsiteX9688" fmla="*/ 4828882 w 8079933"/>
              <a:gd name="connsiteY9688" fmla="*/ 2687708 h 4687251"/>
              <a:gd name="connsiteX9689" fmla="*/ 4825084 w 8079933"/>
              <a:gd name="connsiteY9689" fmla="*/ 2687925 h 4687251"/>
              <a:gd name="connsiteX9690" fmla="*/ 4823348 w 8079933"/>
              <a:gd name="connsiteY9690" fmla="*/ 2690739 h 4687251"/>
              <a:gd name="connsiteX9691" fmla="*/ 4823348 w 8079933"/>
              <a:gd name="connsiteY9691" fmla="*/ 2690739 h 4687251"/>
              <a:gd name="connsiteX9692" fmla="*/ 4825084 w 8079933"/>
              <a:gd name="connsiteY9692" fmla="*/ 2687925 h 4687251"/>
              <a:gd name="connsiteX9693" fmla="*/ 4828882 w 8079933"/>
              <a:gd name="connsiteY9693" fmla="*/ 2687708 h 4687251"/>
              <a:gd name="connsiteX9694" fmla="*/ 4835393 w 8079933"/>
              <a:gd name="connsiteY9694" fmla="*/ 2674066 h 4687251"/>
              <a:gd name="connsiteX9695" fmla="*/ 1761008 w 8079933"/>
              <a:gd name="connsiteY9695" fmla="*/ 2673200 h 4687251"/>
              <a:gd name="connsiteX9696" fmla="*/ 1761007 w 8079933"/>
              <a:gd name="connsiteY9696" fmla="*/ 2673201 h 4687251"/>
              <a:gd name="connsiteX9697" fmla="*/ 1761984 w 8079933"/>
              <a:gd name="connsiteY9697" fmla="*/ 2675041 h 4687251"/>
              <a:gd name="connsiteX9698" fmla="*/ 1762635 w 8079933"/>
              <a:gd name="connsiteY9698" fmla="*/ 2675691 h 4687251"/>
              <a:gd name="connsiteX9699" fmla="*/ 1762635 w 8079933"/>
              <a:gd name="connsiteY9699" fmla="*/ 2675690 h 4687251"/>
              <a:gd name="connsiteX9700" fmla="*/ 1761984 w 8079933"/>
              <a:gd name="connsiteY9700" fmla="*/ 2675041 h 4687251"/>
              <a:gd name="connsiteX9701" fmla="*/ 6492118 w 8079933"/>
              <a:gd name="connsiteY9701" fmla="*/ 2673092 h 4687251"/>
              <a:gd name="connsiteX9702" fmla="*/ 6492116 w 8079933"/>
              <a:gd name="connsiteY9702" fmla="*/ 2673092 h 4687251"/>
              <a:gd name="connsiteX9703" fmla="*/ 6494395 w 8079933"/>
              <a:gd name="connsiteY9703" fmla="*/ 2676881 h 4687251"/>
              <a:gd name="connsiteX9704" fmla="*/ 6497759 w 8079933"/>
              <a:gd name="connsiteY9704" fmla="*/ 2677856 h 4687251"/>
              <a:gd name="connsiteX9705" fmla="*/ 6502641 w 8079933"/>
              <a:gd name="connsiteY9705" fmla="*/ 2680996 h 4687251"/>
              <a:gd name="connsiteX9706" fmla="*/ 6502643 w 8079933"/>
              <a:gd name="connsiteY9706" fmla="*/ 2680996 h 4687251"/>
              <a:gd name="connsiteX9707" fmla="*/ 6497761 w 8079933"/>
              <a:gd name="connsiteY9707" fmla="*/ 2677856 h 4687251"/>
              <a:gd name="connsiteX9708" fmla="*/ 6494396 w 8079933"/>
              <a:gd name="connsiteY9708" fmla="*/ 2676881 h 4687251"/>
              <a:gd name="connsiteX9709" fmla="*/ 2495449 w 8079933"/>
              <a:gd name="connsiteY9709" fmla="*/ 2672551 h 4687251"/>
              <a:gd name="connsiteX9710" fmla="*/ 2505323 w 8079933"/>
              <a:gd name="connsiteY9710" fmla="*/ 2675041 h 4687251"/>
              <a:gd name="connsiteX9711" fmla="*/ 2507711 w 8079933"/>
              <a:gd name="connsiteY9711" fmla="*/ 2683702 h 4687251"/>
              <a:gd name="connsiteX9712" fmla="*/ 2507385 w 8079933"/>
              <a:gd name="connsiteY9712" fmla="*/ 2687926 h 4687251"/>
              <a:gd name="connsiteX9713" fmla="*/ 2503587 w 8079933"/>
              <a:gd name="connsiteY9713" fmla="*/ 2686085 h 4687251"/>
              <a:gd name="connsiteX9714" fmla="*/ 2500440 w 8079933"/>
              <a:gd name="connsiteY9714" fmla="*/ 2685760 h 4687251"/>
              <a:gd name="connsiteX9715" fmla="*/ 2501525 w 8079933"/>
              <a:gd name="connsiteY9715" fmla="*/ 2682404 h 4687251"/>
              <a:gd name="connsiteX9716" fmla="*/ 2495449 w 8079933"/>
              <a:gd name="connsiteY9716" fmla="*/ 2676232 h 4687251"/>
              <a:gd name="connsiteX9717" fmla="*/ 4265268 w 8079933"/>
              <a:gd name="connsiteY9717" fmla="*/ 2671064 h 4687251"/>
              <a:gd name="connsiteX9718" fmla="*/ 4265138 w 8079933"/>
              <a:gd name="connsiteY9718" fmla="*/ 2671359 h 4687251"/>
              <a:gd name="connsiteX9719" fmla="*/ 4263920 w 8079933"/>
              <a:gd name="connsiteY9719" fmla="*/ 2671782 h 4687251"/>
              <a:gd name="connsiteX9720" fmla="*/ 4265138 w 8079933"/>
              <a:gd name="connsiteY9720" fmla="*/ 2671360 h 4687251"/>
              <a:gd name="connsiteX9721" fmla="*/ 3955539 w 8079933"/>
              <a:gd name="connsiteY9721" fmla="*/ 2669410 h 4687251"/>
              <a:gd name="connsiteX9722" fmla="*/ 3955461 w 8079933"/>
              <a:gd name="connsiteY9722" fmla="*/ 2669578 h 4687251"/>
              <a:gd name="connsiteX9723" fmla="*/ 3955540 w 8079933"/>
              <a:gd name="connsiteY9723" fmla="*/ 2669411 h 4687251"/>
              <a:gd name="connsiteX9724" fmla="*/ 3977676 w 8079933"/>
              <a:gd name="connsiteY9724" fmla="*/ 2669194 h 4687251"/>
              <a:gd name="connsiteX9725" fmla="*/ 3961074 w 8079933"/>
              <a:gd name="connsiteY9725" fmla="*/ 2670818 h 4687251"/>
              <a:gd name="connsiteX9726" fmla="*/ 3977677 w 8079933"/>
              <a:gd name="connsiteY9726" fmla="*/ 2669194 h 4687251"/>
              <a:gd name="connsiteX9727" fmla="*/ 1970986 w 8079933"/>
              <a:gd name="connsiteY9727" fmla="*/ 2669086 h 4687251"/>
              <a:gd name="connsiteX9728" fmla="*/ 1971746 w 8079933"/>
              <a:gd name="connsiteY9728" fmla="*/ 2670602 h 4687251"/>
              <a:gd name="connsiteX9729" fmla="*/ 1972181 w 8079933"/>
              <a:gd name="connsiteY9729" fmla="*/ 2670602 h 4687251"/>
              <a:gd name="connsiteX9730" fmla="*/ 1971421 w 8079933"/>
              <a:gd name="connsiteY9730" fmla="*/ 2669086 h 4687251"/>
              <a:gd name="connsiteX9731" fmla="*/ 3924612 w 8079933"/>
              <a:gd name="connsiteY9731" fmla="*/ 2668978 h 4687251"/>
              <a:gd name="connsiteX9732" fmla="*/ 3917233 w 8079933"/>
              <a:gd name="connsiteY9732" fmla="*/ 2673092 h 4687251"/>
              <a:gd name="connsiteX9733" fmla="*/ 3912367 w 8079933"/>
              <a:gd name="connsiteY9733" fmla="*/ 2677152 h 4687251"/>
              <a:gd name="connsiteX9734" fmla="*/ 3917234 w 8079933"/>
              <a:gd name="connsiteY9734" fmla="*/ 2673091 h 4687251"/>
              <a:gd name="connsiteX9735" fmla="*/ 3989396 w 8079933"/>
              <a:gd name="connsiteY9735" fmla="*/ 2666596 h 4687251"/>
              <a:gd name="connsiteX9736" fmla="*/ 3985265 w 8079933"/>
              <a:gd name="connsiteY9736" fmla="*/ 2668620 h 4687251"/>
              <a:gd name="connsiteX9737" fmla="*/ 3989397 w 8079933"/>
              <a:gd name="connsiteY9737" fmla="*/ 2666596 h 4687251"/>
              <a:gd name="connsiteX9738" fmla="*/ 4008868 w 8079933"/>
              <a:gd name="connsiteY9738" fmla="*/ 2663723 h 4687251"/>
              <a:gd name="connsiteX9739" fmla="*/ 4004480 w 8079933"/>
              <a:gd name="connsiteY9739" fmla="*/ 2666596 h 4687251"/>
              <a:gd name="connsiteX9740" fmla="*/ 4004481 w 8079933"/>
              <a:gd name="connsiteY9740" fmla="*/ 2666596 h 4687251"/>
              <a:gd name="connsiteX9741" fmla="*/ 4486295 w 8079933"/>
              <a:gd name="connsiteY9741" fmla="*/ 2663455 h 4687251"/>
              <a:gd name="connsiteX9742" fmla="*/ 4486295 w 8079933"/>
              <a:gd name="connsiteY9742" fmla="*/ 2663456 h 4687251"/>
              <a:gd name="connsiteX9743" fmla="*/ 4488790 w 8079933"/>
              <a:gd name="connsiteY9743" fmla="*/ 2666595 h 4687251"/>
              <a:gd name="connsiteX9744" fmla="*/ 1841636 w 8079933"/>
              <a:gd name="connsiteY9744" fmla="*/ 2663239 h 4687251"/>
              <a:gd name="connsiteX9745" fmla="*/ 1841636 w 8079933"/>
              <a:gd name="connsiteY9745" fmla="*/ 2663239 h 4687251"/>
              <a:gd name="connsiteX9746" fmla="*/ 1845325 w 8079933"/>
              <a:gd name="connsiteY9746" fmla="*/ 2663456 h 4687251"/>
              <a:gd name="connsiteX9747" fmla="*/ 1845325 w 8079933"/>
              <a:gd name="connsiteY9747" fmla="*/ 2663455 h 4687251"/>
              <a:gd name="connsiteX9748" fmla="*/ 3395920 w 8079933"/>
              <a:gd name="connsiteY9748" fmla="*/ 2662698 h 4687251"/>
              <a:gd name="connsiteX9749" fmla="*/ 3398199 w 8079933"/>
              <a:gd name="connsiteY9749" fmla="*/ 2665405 h 4687251"/>
              <a:gd name="connsiteX9750" fmla="*/ 3395378 w 8079933"/>
              <a:gd name="connsiteY9750" fmla="*/ 2666488 h 4687251"/>
              <a:gd name="connsiteX9751" fmla="*/ 3394401 w 8079933"/>
              <a:gd name="connsiteY9751" fmla="*/ 2664106 h 4687251"/>
              <a:gd name="connsiteX9752" fmla="*/ 3381270 w 8079933"/>
              <a:gd name="connsiteY9752" fmla="*/ 2662481 h 4687251"/>
              <a:gd name="connsiteX9753" fmla="*/ 3385177 w 8079933"/>
              <a:gd name="connsiteY9753" fmla="*/ 2663563 h 4687251"/>
              <a:gd name="connsiteX9754" fmla="*/ 3390059 w 8079933"/>
              <a:gd name="connsiteY9754" fmla="*/ 2668869 h 4687251"/>
              <a:gd name="connsiteX9755" fmla="*/ 3388865 w 8079933"/>
              <a:gd name="connsiteY9755" fmla="*/ 2672442 h 4687251"/>
              <a:gd name="connsiteX9756" fmla="*/ 3383548 w 8079933"/>
              <a:gd name="connsiteY9756" fmla="*/ 2671467 h 4687251"/>
              <a:gd name="connsiteX9757" fmla="*/ 3383332 w 8079933"/>
              <a:gd name="connsiteY9757" fmla="*/ 2665946 h 4687251"/>
              <a:gd name="connsiteX9758" fmla="*/ 3637586 w 8079933"/>
              <a:gd name="connsiteY9758" fmla="*/ 2660207 h 4687251"/>
              <a:gd name="connsiteX9759" fmla="*/ 3637586 w 8079933"/>
              <a:gd name="connsiteY9759" fmla="*/ 2660208 h 4687251"/>
              <a:gd name="connsiteX9760" fmla="*/ 3642904 w 8079933"/>
              <a:gd name="connsiteY9760" fmla="*/ 2661182 h 4687251"/>
              <a:gd name="connsiteX9761" fmla="*/ 3644314 w 8079933"/>
              <a:gd name="connsiteY9761" fmla="*/ 2666163 h 4687251"/>
              <a:gd name="connsiteX9762" fmla="*/ 3646583 w 8079933"/>
              <a:gd name="connsiteY9762" fmla="*/ 2667056 h 4687251"/>
              <a:gd name="connsiteX9763" fmla="*/ 3644314 w 8079933"/>
              <a:gd name="connsiteY9763" fmla="*/ 2666162 h 4687251"/>
              <a:gd name="connsiteX9764" fmla="*/ 3642904 w 8079933"/>
              <a:gd name="connsiteY9764" fmla="*/ 2661182 h 4687251"/>
              <a:gd name="connsiteX9765" fmla="*/ 6290818 w 8079933"/>
              <a:gd name="connsiteY9765" fmla="*/ 2659342 h 4687251"/>
              <a:gd name="connsiteX9766" fmla="*/ 6294291 w 8079933"/>
              <a:gd name="connsiteY9766" fmla="*/ 2667571 h 4687251"/>
              <a:gd name="connsiteX9767" fmla="*/ 6294296 w 8079933"/>
              <a:gd name="connsiteY9767" fmla="*/ 2667675 h 4687251"/>
              <a:gd name="connsiteX9768" fmla="*/ 6294291 w 8079933"/>
              <a:gd name="connsiteY9768" fmla="*/ 2667570 h 4687251"/>
              <a:gd name="connsiteX9769" fmla="*/ 6860531 w 8079933"/>
              <a:gd name="connsiteY9769" fmla="*/ 2657718 h 4687251"/>
              <a:gd name="connsiteX9770" fmla="*/ 6863677 w 8079933"/>
              <a:gd name="connsiteY9770" fmla="*/ 2659991 h 4687251"/>
              <a:gd name="connsiteX9771" fmla="*/ 6861290 w 8079933"/>
              <a:gd name="connsiteY9771" fmla="*/ 2662373 h 4687251"/>
              <a:gd name="connsiteX9772" fmla="*/ 6860747 w 8079933"/>
              <a:gd name="connsiteY9772" fmla="*/ 2669519 h 4687251"/>
              <a:gd name="connsiteX9773" fmla="*/ 6857492 w 8079933"/>
              <a:gd name="connsiteY9773" fmla="*/ 2672659 h 4687251"/>
              <a:gd name="connsiteX9774" fmla="*/ 6856624 w 8079933"/>
              <a:gd name="connsiteY9774" fmla="*/ 2669411 h 4687251"/>
              <a:gd name="connsiteX9775" fmla="*/ 6857275 w 8079933"/>
              <a:gd name="connsiteY9775" fmla="*/ 2667354 h 4687251"/>
              <a:gd name="connsiteX9776" fmla="*/ 6854888 w 8079933"/>
              <a:gd name="connsiteY9776" fmla="*/ 2660966 h 4687251"/>
              <a:gd name="connsiteX9777" fmla="*/ 6295843 w 8079933"/>
              <a:gd name="connsiteY9777" fmla="*/ 2656259 h 4687251"/>
              <a:gd name="connsiteX9778" fmla="*/ 6295810 w 8079933"/>
              <a:gd name="connsiteY9778" fmla="*/ 2656418 h 4687251"/>
              <a:gd name="connsiteX9779" fmla="*/ 6294449 w 8079933"/>
              <a:gd name="connsiteY9779" fmla="*/ 2657216 h 4687251"/>
              <a:gd name="connsiteX9780" fmla="*/ 6295810 w 8079933"/>
              <a:gd name="connsiteY9780" fmla="*/ 2656419 h 4687251"/>
              <a:gd name="connsiteX9781" fmla="*/ 1766844 w 8079933"/>
              <a:gd name="connsiteY9781" fmla="*/ 2655824 h 4687251"/>
              <a:gd name="connsiteX9782" fmla="*/ 1760573 w 8079933"/>
              <a:gd name="connsiteY9782" fmla="*/ 2665730 h 4687251"/>
              <a:gd name="connsiteX9783" fmla="*/ 1761007 w 8079933"/>
              <a:gd name="connsiteY9783" fmla="*/ 2669519 h 4687251"/>
              <a:gd name="connsiteX9784" fmla="*/ 1761333 w 8079933"/>
              <a:gd name="connsiteY9784" fmla="*/ 2670710 h 4687251"/>
              <a:gd name="connsiteX9785" fmla="*/ 1761333 w 8079933"/>
              <a:gd name="connsiteY9785" fmla="*/ 2670709 h 4687251"/>
              <a:gd name="connsiteX9786" fmla="*/ 1761007 w 8079933"/>
              <a:gd name="connsiteY9786" fmla="*/ 2669519 h 4687251"/>
              <a:gd name="connsiteX9787" fmla="*/ 1760574 w 8079933"/>
              <a:gd name="connsiteY9787" fmla="*/ 2665729 h 4687251"/>
              <a:gd name="connsiteX9788" fmla="*/ 3725375 w 8079933"/>
              <a:gd name="connsiteY9788" fmla="*/ 2655444 h 4687251"/>
              <a:gd name="connsiteX9789" fmla="*/ 3728197 w 8079933"/>
              <a:gd name="connsiteY9789" fmla="*/ 2659125 h 4687251"/>
              <a:gd name="connsiteX9790" fmla="*/ 3730692 w 8079933"/>
              <a:gd name="connsiteY9790" fmla="*/ 2660208 h 4687251"/>
              <a:gd name="connsiteX9791" fmla="*/ 3815769 w 8079933"/>
              <a:gd name="connsiteY9791" fmla="*/ 2659883 h 4687251"/>
              <a:gd name="connsiteX9792" fmla="*/ 3815769 w 8079933"/>
              <a:gd name="connsiteY9792" fmla="*/ 2659883 h 4687251"/>
              <a:gd name="connsiteX9793" fmla="*/ 3730693 w 8079933"/>
              <a:gd name="connsiteY9793" fmla="*/ 2660207 h 4687251"/>
              <a:gd name="connsiteX9794" fmla="*/ 3728198 w 8079933"/>
              <a:gd name="connsiteY9794" fmla="*/ 2659125 h 4687251"/>
              <a:gd name="connsiteX9795" fmla="*/ 3725376 w 8079933"/>
              <a:gd name="connsiteY9795" fmla="*/ 2655444 h 4687251"/>
              <a:gd name="connsiteX9796" fmla="*/ 2495991 w 8079933"/>
              <a:gd name="connsiteY9796" fmla="*/ 2654361 h 4687251"/>
              <a:gd name="connsiteX9797" fmla="*/ 2499572 w 8079933"/>
              <a:gd name="connsiteY9797" fmla="*/ 2658150 h 4687251"/>
              <a:gd name="connsiteX9798" fmla="*/ 2499572 w 8079933"/>
              <a:gd name="connsiteY9798" fmla="*/ 2664863 h 4687251"/>
              <a:gd name="connsiteX9799" fmla="*/ 2495123 w 8079933"/>
              <a:gd name="connsiteY9799" fmla="*/ 2665946 h 4687251"/>
              <a:gd name="connsiteX9800" fmla="*/ 2493387 w 8079933"/>
              <a:gd name="connsiteY9800" fmla="*/ 2658475 h 4687251"/>
              <a:gd name="connsiteX9801" fmla="*/ 3672896 w 8079933"/>
              <a:gd name="connsiteY9801" fmla="*/ 2651265 h 4687251"/>
              <a:gd name="connsiteX9802" fmla="*/ 3671443 w 8079933"/>
              <a:gd name="connsiteY9802" fmla="*/ 2651762 h 4687251"/>
              <a:gd name="connsiteX9803" fmla="*/ 3671443 w 8079933"/>
              <a:gd name="connsiteY9803" fmla="*/ 2651763 h 4687251"/>
              <a:gd name="connsiteX9804" fmla="*/ 3632595 w 8079933"/>
              <a:gd name="connsiteY9804" fmla="*/ 2650355 h 4687251"/>
              <a:gd name="connsiteX9805" fmla="*/ 3632595 w 8079933"/>
              <a:gd name="connsiteY9805" fmla="*/ 2650355 h 4687251"/>
              <a:gd name="connsiteX9806" fmla="*/ 3637586 w 8079933"/>
              <a:gd name="connsiteY9806" fmla="*/ 2654686 h 4687251"/>
              <a:gd name="connsiteX9807" fmla="*/ 7428290 w 8079933"/>
              <a:gd name="connsiteY9807" fmla="*/ 2650139 h 4687251"/>
              <a:gd name="connsiteX9808" fmla="*/ 7429592 w 8079933"/>
              <a:gd name="connsiteY9808" fmla="*/ 2652629 h 4687251"/>
              <a:gd name="connsiteX9809" fmla="*/ 7427205 w 8079933"/>
              <a:gd name="connsiteY9809" fmla="*/ 2655769 h 4687251"/>
              <a:gd name="connsiteX9810" fmla="*/ 7427422 w 8079933"/>
              <a:gd name="connsiteY9810" fmla="*/ 2660750 h 4687251"/>
              <a:gd name="connsiteX9811" fmla="*/ 7423732 w 8079933"/>
              <a:gd name="connsiteY9811" fmla="*/ 2653712 h 4687251"/>
              <a:gd name="connsiteX9812" fmla="*/ 3680494 w 8079933"/>
              <a:gd name="connsiteY9812" fmla="*/ 2649339 h 4687251"/>
              <a:gd name="connsiteX9813" fmla="*/ 3684464 w 8079933"/>
              <a:gd name="connsiteY9813" fmla="*/ 2649489 h 4687251"/>
              <a:gd name="connsiteX9814" fmla="*/ 3685224 w 8079933"/>
              <a:gd name="connsiteY9814" fmla="*/ 2655443 h 4687251"/>
              <a:gd name="connsiteX9815" fmla="*/ 3689347 w 8079933"/>
              <a:gd name="connsiteY9815" fmla="*/ 2663239 h 4687251"/>
              <a:gd name="connsiteX9816" fmla="*/ 3691843 w 8079933"/>
              <a:gd name="connsiteY9816" fmla="*/ 2664863 h 4687251"/>
              <a:gd name="connsiteX9817" fmla="*/ 3691843 w 8079933"/>
              <a:gd name="connsiteY9817" fmla="*/ 2664863 h 4687251"/>
              <a:gd name="connsiteX9818" fmla="*/ 3689348 w 8079933"/>
              <a:gd name="connsiteY9818" fmla="*/ 2663239 h 4687251"/>
              <a:gd name="connsiteX9819" fmla="*/ 3685225 w 8079933"/>
              <a:gd name="connsiteY9819" fmla="*/ 2655444 h 4687251"/>
              <a:gd name="connsiteX9820" fmla="*/ 3684465 w 8079933"/>
              <a:gd name="connsiteY9820" fmla="*/ 2649489 h 4687251"/>
              <a:gd name="connsiteX9821" fmla="*/ 3709749 w 8079933"/>
              <a:gd name="connsiteY9821" fmla="*/ 2648298 h 4687251"/>
              <a:gd name="connsiteX9822" fmla="*/ 3709749 w 8079933"/>
              <a:gd name="connsiteY9822" fmla="*/ 2648298 h 4687251"/>
              <a:gd name="connsiteX9823" fmla="*/ 3715283 w 8079933"/>
              <a:gd name="connsiteY9823" fmla="*/ 2650355 h 4687251"/>
              <a:gd name="connsiteX9824" fmla="*/ 3715500 w 8079933"/>
              <a:gd name="connsiteY9824" fmla="*/ 2657284 h 4687251"/>
              <a:gd name="connsiteX9825" fmla="*/ 3718213 w 8079933"/>
              <a:gd name="connsiteY9825" fmla="*/ 2660208 h 4687251"/>
              <a:gd name="connsiteX9826" fmla="*/ 3718214 w 8079933"/>
              <a:gd name="connsiteY9826" fmla="*/ 2660207 h 4687251"/>
              <a:gd name="connsiteX9827" fmla="*/ 3715501 w 8079933"/>
              <a:gd name="connsiteY9827" fmla="*/ 2657284 h 4687251"/>
              <a:gd name="connsiteX9828" fmla="*/ 3715284 w 8079933"/>
              <a:gd name="connsiteY9828" fmla="*/ 2650355 h 4687251"/>
              <a:gd name="connsiteX9829" fmla="*/ 2501633 w 8079933"/>
              <a:gd name="connsiteY9829" fmla="*/ 2644942 h 4687251"/>
              <a:gd name="connsiteX9830" fmla="*/ 2501199 w 8079933"/>
              <a:gd name="connsiteY9830" fmla="*/ 2649273 h 4687251"/>
              <a:gd name="connsiteX9831" fmla="*/ 2497727 w 8079933"/>
              <a:gd name="connsiteY9831" fmla="*/ 2647758 h 4687251"/>
              <a:gd name="connsiteX9832" fmla="*/ 4818830 w 8079933"/>
              <a:gd name="connsiteY9832" fmla="*/ 2644717 h 4687251"/>
              <a:gd name="connsiteX9833" fmla="*/ 4817053 w 8079933"/>
              <a:gd name="connsiteY9833" fmla="*/ 2655552 h 4687251"/>
              <a:gd name="connsiteX9834" fmla="*/ 4813255 w 8079933"/>
              <a:gd name="connsiteY9834" fmla="*/ 2661398 h 4687251"/>
              <a:gd name="connsiteX9835" fmla="*/ 4812929 w 8079933"/>
              <a:gd name="connsiteY9835" fmla="*/ 2665404 h 4687251"/>
              <a:gd name="connsiteX9836" fmla="*/ 4810434 w 8079933"/>
              <a:gd name="connsiteY9836" fmla="*/ 2668111 h 4687251"/>
              <a:gd name="connsiteX9837" fmla="*/ 4809999 w 8079933"/>
              <a:gd name="connsiteY9837" fmla="*/ 2673850 h 4687251"/>
              <a:gd name="connsiteX9838" fmla="*/ 4812929 w 8079933"/>
              <a:gd name="connsiteY9838" fmla="*/ 2683918 h 4687251"/>
              <a:gd name="connsiteX9839" fmla="*/ 4813906 w 8079933"/>
              <a:gd name="connsiteY9839" fmla="*/ 2688683 h 4687251"/>
              <a:gd name="connsiteX9840" fmla="*/ 4814811 w 8079933"/>
              <a:gd name="connsiteY9840" fmla="*/ 2689093 h 4687251"/>
              <a:gd name="connsiteX9841" fmla="*/ 4813907 w 8079933"/>
              <a:gd name="connsiteY9841" fmla="*/ 2688683 h 4687251"/>
              <a:gd name="connsiteX9842" fmla="*/ 4818303 w 8079933"/>
              <a:gd name="connsiteY9842" fmla="*/ 2690502 h 4687251"/>
              <a:gd name="connsiteX9843" fmla="*/ 4818344 w 8079933"/>
              <a:gd name="connsiteY9843" fmla="*/ 2690518 h 4687251"/>
              <a:gd name="connsiteX9844" fmla="*/ 4813906 w 8079933"/>
              <a:gd name="connsiteY9844" fmla="*/ 2688682 h 4687251"/>
              <a:gd name="connsiteX9845" fmla="*/ 4812930 w 8079933"/>
              <a:gd name="connsiteY9845" fmla="*/ 2683919 h 4687251"/>
              <a:gd name="connsiteX9846" fmla="*/ 4810000 w 8079933"/>
              <a:gd name="connsiteY9846" fmla="*/ 2673849 h 4687251"/>
              <a:gd name="connsiteX9847" fmla="*/ 4810434 w 8079933"/>
              <a:gd name="connsiteY9847" fmla="*/ 2668111 h 4687251"/>
              <a:gd name="connsiteX9848" fmla="*/ 4812930 w 8079933"/>
              <a:gd name="connsiteY9848" fmla="*/ 2665404 h 4687251"/>
              <a:gd name="connsiteX9849" fmla="*/ 4813255 w 8079933"/>
              <a:gd name="connsiteY9849" fmla="*/ 2661398 h 4687251"/>
              <a:gd name="connsiteX9850" fmla="*/ 4817053 w 8079933"/>
              <a:gd name="connsiteY9850" fmla="*/ 2655552 h 4687251"/>
              <a:gd name="connsiteX9851" fmla="*/ 3629556 w 8079933"/>
              <a:gd name="connsiteY9851" fmla="*/ 2642560 h 4687251"/>
              <a:gd name="connsiteX9852" fmla="*/ 3625758 w 8079933"/>
              <a:gd name="connsiteY9852" fmla="*/ 2643101 h 4687251"/>
              <a:gd name="connsiteX9853" fmla="*/ 3629556 w 8079933"/>
              <a:gd name="connsiteY9853" fmla="*/ 2642560 h 4687251"/>
              <a:gd name="connsiteX9854" fmla="*/ 3624130 w 8079933"/>
              <a:gd name="connsiteY9854" fmla="*/ 2641910 h 4687251"/>
              <a:gd name="connsiteX9855" fmla="*/ 3619898 w 8079933"/>
              <a:gd name="connsiteY9855" fmla="*/ 2643534 h 4687251"/>
              <a:gd name="connsiteX9856" fmla="*/ 3616752 w 8079933"/>
              <a:gd name="connsiteY9856" fmla="*/ 2642126 h 4687251"/>
              <a:gd name="connsiteX9857" fmla="*/ 3616752 w 8079933"/>
              <a:gd name="connsiteY9857" fmla="*/ 2642127 h 4687251"/>
              <a:gd name="connsiteX9858" fmla="*/ 3619898 w 8079933"/>
              <a:gd name="connsiteY9858" fmla="*/ 2643535 h 4687251"/>
              <a:gd name="connsiteX9859" fmla="*/ 3624131 w 8079933"/>
              <a:gd name="connsiteY9859" fmla="*/ 2641910 h 4687251"/>
              <a:gd name="connsiteX9860" fmla="*/ 3625037 w 8079933"/>
              <a:gd name="connsiteY9860" fmla="*/ 2642573 h 4687251"/>
              <a:gd name="connsiteX9861" fmla="*/ 6293748 w 8079933"/>
              <a:gd name="connsiteY9861" fmla="*/ 2640611 h 4687251"/>
              <a:gd name="connsiteX9862" fmla="*/ 6293748 w 8079933"/>
              <a:gd name="connsiteY9862" fmla="*/ 2640611 h 4687251"/>
              <a:gd name="connsiteX9863" fmla="*/ 6294017 w 8079933"/>
              <a:gd name="connsiteY9863" fmla="*/ 2641766 h 4687251"/>
              <a:gd name="connsiteX9864" fmla="*/ 3401997 w 8079933"/>
              <a:gd name="connsiteY9864" fmla="*/ 2638229 h 4687251"/>
              <a:gd name="connsiteX9865" fmla="*/ 3404819 w 8079933"/>
              <a:gd name="connsiteY9865" fmla="*/ 2639312 h 4687251"/>
              <a:gd name="connsiteX9866" fmla="*/ 3405687 w 8079933"/>
              <a:gd name="connsiteY9866" fmla="*/ 2643209 h 4687251"/>
              <a:gd name="connsiteX9867" fmla="*/ 3403625 w 8079933"/>
              <a:gd name="connsiteY9867" fmla="*/ 2644833 h 4687251"/>
              <a:gd name="connsiteX9868" fmla="*/ 3401129 w 8079933"/>
              <a:gd name="connsiteY9868" fmla="*/ 2644833 h 4687251"/>
              <a:gd name="connsiteX9869" fmla="*/ 3398850 w 8079933"/>
              <a:gd name="connsiteY9869" fmla="*/ 2641369 h 4687251"/>
              <a:gd name="connsiteX9870" fmla="*/ 6456631 w 8079933"/>
              <a:gd name="connsiteY9870" fmla="*/ 2637363 h 4687251"/>
              <a:gd name="connsiteX9871" fmla="*/ 6460755 w 8079933"/>
              <a:gd name="connsiteY9871" fmla="*/ 2638987 h 4687251"/>
              <a:gd name="connsiteX9872" fmla="*/ 6459235 w 8079933"/>
              <a:gd name="connsiteY9872" fmla="*/ 2641585 h 4687251"/>
              <a:gd name="connsiteX9873" fmla="*/ 6465205 w 8079933"/>
              <a:gd name="connsiteY9873" fmla="*/ 2645591 h 4687251"/>
              <a:gd name="connsiteX9874" fmla="*/ 6466289 w 8079933"/>
              <a:gd name="connsiteY9874" fmla="*/ 2648839 h 4687251"/>
              <a:gd name="connsiteX9875" fmla="*/ 6464661 w 8079933"/>
              <a:gd name="connsiteY9875" fmla="*/ 2654144 h 4687251"/>
              <a:gd name="connsiteX9876" fmla="*/ 6465096 w 8079933"/>
              <a:gd name="connsiteY9876" fmla="*/ 2657284 h 4687251"/>
              <a:gd name="connsiteX9877" fmla="*/ 6463359 w 8079933"/>
              <a:gd name="connsiteY9877" fmla="*/ 2661723 h 4687251"/>
              <a:gd name="connsiteX9878" fmla="*/ 6465096 w 8079933"/>
              <a:gd name="connsiteY9878" fmla="*/ 2665513 h 4687251"/>
              <a:gd name="connsiteX9879" fmla="*/ 6464661 w 8079933"/>
              <a:gd name="connsiteY9879" fmla="*/ 2674066 h 4687251"/>
              <a:gd name="connsiteX9880" fmla="*/ 6461623 w 8079933"/>
              <a:gd name="connsiteY9880" fmla="*/ 2677531 h 4687251"/>
              <a:gd name="connsiteX9881" fmla="*/ 6459226 w 8079933"/>
              <a:gd name="connsiteY9881" fmla="*/ 2678704 h 4687251"/>
              <a:gd name="connsiteX9882" fmla="*/ 6461624 w 8079933"/>
              <a:gd name="connsiteY9882" fmla="*/ 2677531 h 4687251"/>
              <a:gd name="connsiteX9883" fmla="*/ 6459019 w 8079933"/>
              <a:gd name="connsiteY9883" fmla="*/ 2678830 h 4687251"/>
              <a:gd name="connsiteX9884" fmla="*/ 6455929 w 8079933"/>
              <a:gd name="connsiteY9884" fmla="*/ 2680317 h 4687251"/>
              <a:gd name="connsiteX9885" fmla="*/ 6455871 w 8079933"/>
              <a:gd name="connsiteY9885" fmla="*/ 2680346 h 4687251"/>
              <a:gd name="connsiteX9886" fmla="*/ 6451748 w 8079933"/>
              <a:gd name="connsiteY9886" fmla="*/ 2676990 h 4687251"/>
              <a:gd name="connsiteX9887" fmla="*/ 6451747 w 8079933"/>
              <a:gd name="connsiteY9887" fmla="*/ 2676990 h 4687251"/>
              <a:gd name="connsiteX9888" fmla="*/ 6455871 w 8079933"/>
              <a:gd name="connsiteY9888" fmla="*/ 2680346 h 4687251"/>
              <a:gd name="connsiteX9889" fmla="*/ 6459019 w 8079933"/>
              <a:gd name="connsiteY9889" fmla="*/ 2678830 h 4687251"/>
              <a:gd name="connsiteX9890" fmla="*/ 6464552 w 8079933"/>
              <a:gd name="connsiteY9890" fmla="*/ 2682836 h 4687251"/>
              <a:gd name="connsiteX9891" fmla="*/ 6466614 w 8079933"/>
              <a:gd name="connsiteY9891" fmla="*/ 2686084 h 4687251"/>
              <a:gd name="connsiteX9892" fmla="*/ 6466616 w 8079933"/>
              <a:gd name="connsiteY9892" fmla="*/ 2686084 h 4687251"/>
              <a:gd name="connsiteX9893" fmla="*/ 6464554 w 8079933"/>
              <a:gd name="connsiteY9893" fmla="*/ 2682836 h 4687251"/>
              <a:gd name="connsiteX9894" fmla="*/ 6459020 w 8079933"/>
              <a:gd name="connsiteY9894" fmla="*/ 2678830 h 4687251"/>
              <a:gd name="connsiteX9895" fmla="*/ 6461624 w 8079933"/>
              <a:gd name="connsiteY9895" fmla="*/ 2677531 h 4687251"/>
              <a:gd name="connsiteX9896" fmla="*/ 6464663 w 8079933"/>
              <a:gd name="connsiteY9896" fmla="*/ 2674066 h 4687251"/>
              <a:gd name="connsiteX9897" fmla="*/ 6465097 w 8079933"/>
              <a:gd name="connsiteY9897" fmla="*/ 2665513 h 4687251"/>
              <a:gd name="connsiteX9898" fmla="*/ 6463360 w 8079933"/>
              <a:gd name="connsiteY9898" fmla="*/ 2661724 h 4687251"/>
              <a:gd name="connsiteX9899" fmla="*/ 6465097 w 8079933"/>
              <a:gd name="connsiteY9899" fmla="*/ 2657285 h 4687251"/>
              <a:gd name="connsiteX9900" fmla="*/ 6464663 w 8079933"/>
              <a:gd name="connsiteY9900" fmla="*/ 2654145 h 4687251"/>
              <a:gd name="connsiteX9901" fmla="*/ 6466290 w 8079933"/>
              <a:gd name="connsiteY9901" fmla="*/ 2648839 h 4687251"/>
              <a:gd name="connsiteX9902" fmla="*/ 6465206 w 8079933"/>
              <a:gd name="connsiteY9902" fmla="*/ 2645591 h 4687251"/>
              <a:gd name="connsiteX9903" fmla="*/ 6459237 w 8079933"/>
              <a:gd name="connsiteY9903" fmla="*/ 2641585 h 4687251"/>
              <a:gd name="connsiteX9904" fmla="*/ 6460756 w 8079933"/>
              <a:gd name="connsiteY9904" fmla="*/ 2638987 h 4687251"/>
              <a:gd name="connsiteX9905" fmla="*/ 6456633 w 8079933"/>
              <a:gd name="connsiteY9905" fmla="*/ 2637363 h 4687251"/>
              <a:gd name="connsiteX9906" fmla="*/ 4042851 w 8079933"/>
              <a:gd name="connsiteY9906" fmla="*/ 2635986 h 4687251"/>
              <a:gd name="connsiteX9907" fmla="*/ 4039965 w 8079933"/>
              <a:gd name="connsiteY9907" fmla="*/ 2637796 h 4687251"/>
              <a:gd name="connsiteX9908" fmla="*/ 4039205 w 8079933"/>
              <a:gd name="connsiteY9908" fmla="*/ 2646024 h 4687251"/>
              <a:gd name="connsiteX9909" fmla="*/ 4037577 w 8079933"/>
              <a:gd name="connsiteY9909" fmla="*/ 2651330 h 4687251"/>
              <a:gd name="connsiteX9910" fmla="*/ 4037453 w 8079933"/>
              <a:gd name="connsiteY9910" fmla="*/ 2651399 h 4687251"/>
              <a:gd name="connsiteX9911" fmla="*/ 4037578 w 8079933"/>
              <a:gd name="connsiteY9911" fmla="*/ 2651329 h 4687251"/>
              <a:gd name="connsiteX9912" fmla="*/ 4039206 w 8079933"/>
              <a:gd name="connsiteY9912" fmla="*/ 2646024 h 4687251"/>
              <a:gd name="connsiteX9913" fmla="*/ 4039966 w 8079933"/>
              <a:gd name="connsiteY9913" fmla="*/ 2637796 h 4687251"/>
              <a:gd name="connsiteX9914" fmla="*/ 3612812 w 8079933"/>
              <a:gd name="connsiteY9914" fmla="*/ 2634751 h 4687251"/>
              <a:gd name="connsiteX9915" fmla="*/ 3616751 w 8079933"/>
              <a:gd name="connsiteY9915" fmla="*/ 2639853 h 4687251"/>
              <a:gd name="connsiteX9916" fmla="*/ 3616751 w 8079933"/>
              <a:gd name="connsiteY9916" fmla="*/ 2639852 h 4687251"/>
              <a:gd name="connsiteX9917" fmla="*/ 6504108 w 8079933"/>
              <a:gd name="connsiteY9917" fmla="*/ 2634272 h 4687251"/>
              <a:gd name="connsiteX9918" fmla="*/ 6504705 w 8079933"/>
              <a:gd name="connsiteY9918" fmla="*/ 2635089 h 4687251"/>
              <a:gd name="connsiteX9919" fmla="*/ 6506303 w 8079933"/>
              <a:gd name="connsiteY9919" fmla="*/ 2635524 h 4687251"/>
              <a:gd name="connsiteX9920" fmla="*/ 6504705 w 8079933"/>
              <a:gd name="connsiteY9920" fmla="*/ 2635089 h 4687251"/>
              <a:gd name="connsiteX9921" fmla="*/ 2490348 w 8079933"/>
              <a:gd name="connsiteY9921" fmla="*/ 2634006 h 4687251"/>
              <a:gd name="connsiteX9922" fmla="*/ 2494797 w 8079933"/>
              <a:gd name="connsiteY9922" fmla="*/ 2639095 h 4687251"/>
              <a:gd name="connsiteX9923" fmla="*/ 2491650 w 8079933"/>
              <a:gd name="connsiteY9923" fmla="*/ 2648082 h 4687251"/>
              <a:gd name="connsiteX9924" fmla="*/ 2485682 w 8079933"/>
              <a:gd name="connsiteY9924" fmla="*/ 2638987 h 4687251"/>
              <a:gd name="connsiteX9925" fmla="*/ 2487201 w 8079933"/>
              <a:gd name="connsiteY9925" fmla="*/ 2634114 h 4687251"/>
              <a:gd name="connsiteX9926" fmla="*/ 6511758 w 8079933"/>
              <a:gd name="connsiteY9926" fmla="*/ 2633898 h 4687251"/>
              <a:gd name="connsiteX9927" fmla="*/ 6507092 w 8079933"/>
              <a:gd name="connsiteY9927" fmla="*/ 2635738 h 4687251"/>
              <a:gd name="connsiteX9928" fmla="*/ 6507093 w 8079933"/>
              <a:gd name="connsiteY9928" fmla="*/ 2635739 h 4687251"/>
              <a:gd name="connsiteX9929" fmla="*/ 6511758 w 8079933"/>
              <a:gd name="connsiteY9929" fmla="*/ 2633899 h 4687251"/>
              <a:gd name="connsiteX9930" fmla="*/ 6496458 w 8079933"/>
              <a:gd name="connsiteY9930" fmla="*/ 2630758 h 4687251"/>
              <a:gd name="connsiteX9931" fmla="*/ 6496458 w 8079933"/>
              <a:gd name="connsiteY9931" fmla="*/ 2630758 h 4687251"/>
              <a:gd name="connsiteX9932" fmla="*/ 6501774 w 8079933"/>
              <a:gd name="connsiteY9932" fmla="*/ 2631083 h 4687251"/>
              <a:gd name="connsiteX9933" fmla="*/ 6501774 w 8079933"/>
              <a:gd name="connsiteY9933" fmla="*/ 2631082 h 4687251"/>
              <a:gd name="connsiteX9934" fmla="*/ 2499464 w 8079933"/>
              <a:gd name="connsiteY9934" fmla="*/ 2629134 h 4687251"/>
              <a:gd name="connsiteX9935" fmla="*/ 2502936 w 8079933"/>
              <a:gd name="connsiteY9935" fmla="*/ 2639095 h 4687251"/>
              <a:gd name="connsiteX9936" fmla="*/ 2497402 w 8079933"/>
              <a:gd name="connsiteY9936" fmla="*/ 2638662 h 4687251"/>
              <a:gd name="connsiteX9937" fmla="*/ 2494581 w 8079933"/>
              <a:gd name="connsiteY9937" fmla="*/ 2633681 h 4687251"/>
              <a:gd name="connsiteX9938" fmla="*/ 3596612 w 8079933"/>
              <a:gd name="connsiteY9938" fmla="*/ 2628953 h 4687251"/>
              <a:gd name="connsiteX9939" fmla="*/ 3605466 w 8079933"/>
              <a:gd name="connsiteY9939" fmla="*/ 2631841 h 4687251"/>
              <a:gd name="connsiteX9940" fmla="*/ 3611651 w 8079933"/>
              <a:gd name="connsiteY9940" fmla="*/ 2633249 h 4687251"/>
              <a:gd name="connsiteX9941" fmla="*/ 3611651 w 8079933"/>
              <a:gd name="connsiteY9941" fmla="*/ 2633248 h 4687251"/>
              <a:gd name="connsiteX9942" fmla="*/ 3605465 w 8079933"/>
              <a:gd name="connsiteY9942" fmla="*/ 2631840 h 4687251"/>
              <a:gd name="connsiteX9943" fmla="*/ 3378990 w 8079933"/>
              <a:gd name="connsiteY9943" fmla="*/ 2627618 h 4687251"/>
              <a:gd name="connsiteX9944" fmla="*/ 3382354 w 8079933"/>
              <a:gd name="connsiteY9944" fmla="*/ 2630324 h 4687251"/>
              <a:gd name="connsiteX9945" fmla="*/ 3378882 w 8079933"/>
              <a:gd name="connsiteY9945" fmla="*/ 2631732 h 4687251"/>
              <a:gd name="connsiteX9946" fmla="*/ 3377255 w 8079933"/>
              <a:gd name="connsiteY9946" fmla="*/ 2629458 h 4687251"/>
              <a:gd name="connsiteX9947" fmla="*/ 3369550 w 8079933"/>
              <a:gd name="connsiteY9947" fmla="*/ 2627510 h 4687251"/>
              <a:gd name="connsiteX9948" fmla="*/ 3372263 w 8079933"/>
              <a:gd name="connsiteY9948" fmla="*/ 2627510 h 4687251"/>
              <a:gd name="connsiteX9949" fmla="*/ 3374650 w 8079933"/>
              <a:gd name="connsiteY9949" fmla="*/ 2628918 h 4687251"/>
              <a:gd name="connsiteX9950" fmla="*/ 3374867 w 8079933"/>
              <a:gd name="connsiteY9950" fmla="*/ 2630325 h 4687251"/>
              <a:gd name="connsiteX9951" fmla="*/ 3373782 w 8079933"/>
              <a:gd name="connsiteY9951" fmla="*/ 2630650 h 4687251"/>
              <a:gd name="connsiteX9952" fmla="*/ 3372263 w 8079933"/>
              <a:gd name="connsiteY9952" fmla="*/ 2630650 h 4687251"/>
              <a:gd name="connsiteX9953" fmla="*/ 3371069 w 8079933"/>
              <a:gd name="connsiteY9953" fmla="*/ 2631408 h 4687251"/>
              <a:gd name="connsiteX9954" fmla="*/ 3368573 w 8079933"/>
              <a:gd name="connsiteY9954" fmla="*/ 2629350 h 4687251"/>
              <a:gd name="connsiteX9955" fmla="*/ 2477000 w 8079933"/>
              <a:gd name="connsiteY9955" fmla="*/ 2623937 h 4687251"/>
              <a:gd name="connsiteX9956" fmla="*/ 2478736 w 8079933"/>
              <a:gd name="connsiteY9956" fmla="*/ 2627943 h 4687251"/>
              <a:gd name="connsiteX9957" fmla="*/ 2475264 w 8079933"/>
              <a:gd name="connsiteY9957" fmla="*/ 2628592 h 4687251"/>
              <a:gd name="connsiteX9958" fmla="*/ 5031743 w 8079933"/>
              <a:gd name="connsiteY9958" fmla="*/ 2623399 h 4687251"/>
              <a:gd name="connsiteX9959" fmla="*/ 5043094 w 8079933"/>
              <a:gd name="connsiteY9959" fmla="*/ 2628917 h 4687251"/>
              <a:gd name="connsiteX9960" fmla="*/ 5043116 w 8079933"/>
              <a:gd name="connsiteY9960" fmla="*/ 2629406 h 4687251"/>
              <a:gd name="connsiteX9961" fmla="*/ 5043094 w 8079933"/>
              <a:gd name="connsiteY9961" fmla="*/ 2628917 h 4687251"/>
              <a:gd name="connsiteX9962" fmla="*/ 6491791 w 8079933"/>
              <a:gd name="connsiteY9962" fmla="*/ 2622854 h 4687251"/>
              <a:gd name="connsiteX9963" fmla="*/ 6489730 w 8079933"/>
              <a:gd name="connsiteY9963" fmla="*/ 2623612 h 4687251"/>
              <a:gd name="connsiteX9964" fmla="*/ 6491792 w 8079933"/>
              <a:gd name="connsiteY9964" fmla="*/ 2622855 h 4687251"/>
              <a:gd name="connsiteX9965" fmla="*/ 6493307 w 8079933"/>
              <a:gd name="connsiteY9965" fmla="*/ 2623496 h 4687251"/>
              <a:gd name="connsiteX9966" fmla="*/ 3404058 w 8079933"/>
              <a:gd name="connsiteY9966" fmla="*/ 2622313 h 4687251"/>
              <a:gd name="connsiteX9967" fmla="*/ 3404058 w 8079933"/>
              <a:gd name="connsiteY9967" fmla="*/ 2626428 h 4687251"/>
              <a:gd name="connsiteX9968" fmla="*/ 3402648 w 8079933"/>
              <a:gd name="connsiteY9968" fmla="*/ 2628485 h 4687251"/>
              <a:gd name="connsiteX9969" fmla="*/ 3401563 w 8079933"/>
              <a:gd name="connsiteY9969" fmla="*/ 2624695 h 4687251"/>
              <a:gd name="connsiteX9970" fmla="*/ 3355768 w 8079933"/>
              <a:gd name="connsiteY9970" fmla="*/ 2620364 h 4687251"/>
              <a:gd name="connsiteX9971" fmla="*/ 3358047 w 8079933"/>
              <a:gd name="connsiteY9971" fmla="*/ 2621013 h 4687251"/>
              <a:gd name="connsiteX9972" fmla="*/ 3358047 w 8079933"/>
              <a:gd name="connsiteY9972" fmla="*/ 2623721 h 4687251"/>
              <a:gd name="connsiteX9973" fmla="*/ 3355877 w 8079933"/>
              <a:gd name="connsiteY9973" fmla="*/ 2625236 h 4687251"/>
              <a:gd name="connsiteX9974" fmla="*/ 3354358 w 8079933"/>
              <a:gd name="connsiteY9974" fmla="*/ 2622313 h 4687251"/>
              <a:gd name="connsiteX9975" fmla="*/ 4969411 w 8079933"/>
              <a:gd name="connsiteY9975" fmla="*/ 2618090 h 4687251"/>
              <a:gd name="connsiteX9976" fmla="*/ 4969411 w 8079933"/>
              <a:gd name="connsiteY9976" fmla="*/ 2618090 h 4687251"/>
              <a:gd name="connsiteX9977" fmla="*/ 4973751 w 8079933"/>
              <a:gd name="connsiteY9977" fmla="*/ 2626102 h 4687251"/>
              <a:gd name="connsiteX9978" fmla="*/ 4967457 w 8079933"/>
              <a:gd name="connsiteY9978" fmla="*/ 2630217 h 4687251"/>
              <a:gd name="connsiteX9979" fmla="*/ 4964853 w 8079933"/>
              <a:gd name="connsiteY9979" fmla="*/ 2635088 h 4687251"/>
              <a:gd name="connsiteX9980" fmla="*/ 4964854 w 8079933"/>
              <a:gd name="connsiteY9980" fmla="*/ 2635089 h 4687251"/>
              <a:gd name="connsiteX9981" fmla="*/ 4967458 w 8079933"/>
              <a:gd name="connsiteY9981" fmla="*/ 2630216 h 4687251"/>
              <a:gd name="connsiteX9982" fmla="*/ 4973752 w 8079933"/>
              <a:gd name="connsiteY9982" fmla="*/ 2626102 h 4687251"/>
              <a:gd name="connsiteX9983" fmla="*/ 3349800 w 8079933"/>
              <a:gd name="connsiteY9983" fmla="*/ 2615817 h 4687251"/>
              <a:gd name="connsiteX9984" fmla="*/ 3353272 w 8079933"/>
              <a:gd name="connsiteY9984" fmla="*/ 2615817 h 4687251"/>
              <a:gd name="connsiteX9985" fmla="*/ 3354466 w 8079933"/>
              <a:gd name="connsiteY9985" fmla="*/ 2618307 h 4687251"/>
              <a:gd name="connsiteX9986" fmla="*/ 3349257 w 8079933"/>
              <a:gd name="connsiteY9986" fmla="*/ 2621555 h 4687251"/>
              <a:gd name="connsiteX9987" fmla="*/ 3346002 w 8079933"/>
              <a:gd name="connsiteY9987" fmla="*/ 2621555 h 4687251"/>
              <a:gd name="connsiteX9988" fmla="*/ 3344700 w 8079933"/>
              <a:gd name="connsiteY9988" fmla="*/ 2617874 h 4687251"/>
              <a:gd name="connsiteX9989" fmla="*/ 3346653 w 8079933"/>
              <a:gd name="connsiteY9989" fmla="*/ 2617224 h 4687251"/>
              <a:gd name="connsiteX9990" fmla="*/ 6287238 w 8079933"/>
              <a:gd name="connsiteY9990" fmla="*/ 2614843 h 4687251"/>
              <a:gd name="connsiteX9991" fmla="*/ 6287238 w 8079933"/>
              <a:gd name="connsiteY9991" fmla="*/ 2614843 h 4687251"/>
              <a:gd name="connsiteX9992" fmla="*/ 6291035 w 8079933"/>
              <a:gd name="connsiteY9992" fmla="*/ 2616142 h 4687251"/>
              <a:gd name="connsiteX9993" fmla="*/ 6293748 w 8079933"/>
              <a:gd name="connsiteY9993" fmla="*/ 2622314 h 4687251"/>
              <a:gd name="connsiteX9994" fmla="*/ 6294616 w 8079933"/>
              <a:gd name="connsiteY9994" fmla="*/ 2627510 h 4687251"/>
              <a:gd name="connsiteX9995" fmla="*/ 6299608 w 8079933"/>
              <a:gd name="connsiteY9995" fmla="*/ 2629892 h 4687251"/>
              <a:gd name="connsiteX9996" fmla="*/ 6294616 w 8079933"/>
              <a:gd name="connsiteY9996" fmla="*/ 2627510 h 4687251"/>
              <a:gd name="connsiteX9997" fmla="*/ 6293748 w 8079933"/>
              <a:gd name="connsiteY9997" fmla="*/ 2622313 h 4687251"/>
              <a:gd name="connsiteX9998" fmla="*/ 6291035 w 8079933"/>
              <a:gd name="connsiteY9998" fmla="*/ 2616142 h 4687251"/>
              <a:gd name="connsiteX9999" fmla="*/ 1782060 w 8079933"/>
              <a:gd name="connsiteY9999" fmla="*/ 2614302 h 4687251"/>
              <a:gd name="connsiteX10000" fmla="*/ 1785532 w 8079933"/>
              <a:gd name="connsiteY10000" fmla="*/ 2617225 h 4687251"/>
              <a:gd name="connsiteX10001" fmla="*/ 1786834 w 8079933"/>
              <a:gd name="connsiteY10001" fmla="*/ 2619606 h 4687251"/>
              <a:gd name="connsiteX10002" fmla="*/ 1790632 w 8079933"/>
              <a:gd name="connsiteY10002" fmla="*/ 2624371 h 4687251"/>
              <a:gd name="connsiteX10003" fmla="*/ 1794430 w 8079933"/>
              <a:gd name="connsiteY10003" fmla="*/ 2626861 h 4687251"/>
              <a:gd name="connsiteX10004" fmla="*/ 1797143 w 8079933"/>
              <a:gd name="connsiteY10004" fmla="*/ 2626861 h 4687251"/>
              <a:gd name="connsiteX10005" fmla="*/ 1798988 w 8079933"/>
              <a:gd name="connsiteY10005" fmla="*/ 2630109 h 4687251"/>
              <a:gd name="connsiteX10006" fmla="*/ 1799422 w 8079933"/>
              <a:gd name="connsiteY10006" fmla="*/ 2633465 h 4687251"/>
              <a:gd name="connsiteX10007" fmla="*/ 1801050 w 8079933"/>
              <a:gd name="connsiteY10007" fmla="*/ 2635306 h 4687251"/>
              <a:gd name="connsiteX10008" fmla="*/ 1805173 w 8079933"/>
              <a:gd name="connsiteY10008" fmla="*/ 2635630 h 4687251"/>
              <a:gd name="connsiteX10009" fmla="*/ 1807778 w 8079933"/>
              <a:gd name="connsiteY10009" fmla="*/ 2637038 h 4687251"/>
              <a:gd name="connsiteX10010" fmla="*/ 1807886 w 8079933"/>
              <a:gd name="connsiteY10010" fmla="*/ 2640178 h 4687251"/>
              <a:gd name="connsiteX10011" fmla="*/ 1807887 w 8079933"/>
              <a:gd name="connsiteY10011" fmla="*/ 2640177 h 4687251"/>
              <a:gd name="connsiteX10012" fmla="*/ 1807778 w 8079933"/>
              <a:gd name="connsiteY10012" fmla="*/ 2637037 h 4687251"/>
              <a:gd name="connsiteX10013" fmla="*/ 1805174 w 8079933"/>
              <a:gd name="connsiteY10013" fmla="*/ 2635630 h 4687251"/>
              <a:gd name="connsiteX10014" fmla="*/ 1801050 w 8079933"/>
              <a:gd name="connsiteY10014" fmla="*/ 2635305 h 4687251"/>
              <a:gd name="connsiteX10015" fmla="*/ 1799423 w 8079933"/>
              <a:gd name="connsiteY10015" fmla="*/ 2633464 h 4687251"/>
              <a:gd name="connsiteX10016" fmla="*/ 1798989 w 8079933"/>
              <a:gd name="connsiteY10016" fmla="*/ 2630108 h 4687251"/>
              <a:gd name="connsiteX10017" fmla="*/ 1797144 w 8079933"/>
              <a:gd name="connsiteY10017" fmla="*/ 2626860 h 4687251"/>
              <a:gd name="connsiteX10018" fmla="*/ 1794431 w 8079933"/>
              <a:gd name="connsiteY10018" fmla="*/ 2626860 h 4687251"/>
              <a:gd name="connsiteX10019" fmla="*/ 1790633 w 8079933"/>
              <a:gd name="connsiteY10019" fmla="*/ 2624370 h 4687251"/>
              <a:gd name="connsiteX10020" fmla="*/ 1786835 w 8079933"/>
              <a:gd name="connsiteY10020" fmla="*/ 2619606 h 4687251"/>
              <a:gd name="connsiteX10021" fmla="*/ 1785533 w 8079933"/>
              <a:gd name="connsiteY10021" fmla="*/ 2617224 h 4687251"/>
              <a:gd name="connsiteX10022" fmla="*/ 1782061 w 8079933"/>
              <a:gd name="connsiteY10022" fmla="*/ 2614302 h 4687251"/>
              <a:gd name="connsiteX10023" fmla="*/ 2483619 w 8079933"/>
              <a:gd name="connsiteY10023" fmla="*/ 2612460 h 4687251"/>
              <a:gd name="connsiteX10024" fmla="*/ 2490781 w 8079933"/>
              <a:gd name="connsiteY10024" fmla="*/ 2617115 h 4687251"/>
              <a:gd name="connsiteX10025" fmla="*/ 2485464 w 8079933"/>
              <a:gd name="connsiteY10025" fmla="*/ 2619064 h 4687251"/>
              <a:gd name="connsiteX10026" fmla="*/ 2483294 w 8079933"/>
              <a:gd name="connsiteY10026" fmla="*/ 2616466 h 4687251"/>
              <a:gd name="connsiteX10027" fmla="*/ 4835079 w 8079933"/>
              <a:gd name="connsiteY10027" fmla="*/ 2610058 h 4687251"/>
              <a:gd name="connsiteX10028" fmla="*/ 4831268 w 8079933"/>
              <a:gd name="connsiteY10028" fmla="*/ 2610835 h 4687251"/>
              <a:gd name="connsiteX10029" fmla="*/ 4830943 w 8079933"/>
              <a:gd name="connsiteY10029" fmla="*/ 2613218 h 4687251"/>
              <a:gd name="connsiteX10030" fmla="*/ 4832028 w 8079933"/>
              <a:gd name="connsiteY10030" fmla="*/ 2615492 h 4687251"/>
              <a:gd name="connsiteX10031" fmla="*/ 4831486 w 8079933"/>
              <a:gd name="connsiteY10031" fmla="*/ 2618198 h 4687251"/>
              <a:gd name="connsiteX10032" fmla="*/ 4825083 w 8079933"/>
              <a:gd name="connsiteY10032" fmla="*/ 2618198 h 4687251"/>
              <a:gd name="connsiteX10033" fmla="*/ 4822370 w 8079933"/>
              <a:gd name="connsiteY10033" fmla="*/ 2619930 h 4687251"/>
              <a:gd name="connsiteX10034" fmla="*/ 4822370 w 8079933"/>
              <a:gd name="connsiteY10034" fmla="*/ 2624802 h 4687251"/>
              <a:gd name="connsiteX10035" fmla="*/ 4820091 w 8079933"/>
              <a:gd name="connsiteY10035" fmla="*/ 2630324 h 4687251"/>
              <a:gd name="connsiteX10036" fmla="*/ 4822262 w 8079933"/>
              <a:gd name="connsiteY10036" fmla="*/ 2631732 h 4687251"/>
              <a:gd name="connsiteX10037" fmla="*/ 4823564 w 8079933"/>
              <a:gd name="connsiteY10037" fmla="*/ 2633897 h 4687251"/>
              <a:gd name="connsiteX10038" fmla="*/ 4821719 w 8079933"/>
              <a:gd name="connsiteY10038" fmla="*/ 2636279 h 4687251"/>
              <a:gd name="connsiteX10039" fmla="*/ 4819446 w 8079933"/>
              <a:gd name="connsiteY10039" fmla="*/ 2642448 h 4687251"/>
              <a:gd name="connsiteX10040" fmla="*/ 4821719 w 8079933"/>
              <a:gd name="connsiteY10040" fmla="*/ 2636279 h 4687251"/>
              <a:gd name="connsiteX10041" fmla="*/ 4823564 w 8079933"/>
              <a:gd name="connsiteY10041" fmla="*/ 2633897 h 4687251"/>
              <a:gd name="connsiteX10042" fmla="*/ 4822262 w 8079933"/>
              <a:gd name="connsiteY10042" fmla="*/ 2631732 h 4687251"/>
              <a:gd name="connsiteX10043" fmla="*/ 4820092 w 8079933"/>
              <a:gd name="connsiteY10043" fmla="*/ 2630324 h 4687251"/>
              <a:gd name="connsiteX10044" fmla="*/ 4822371 w 8079933"/>
              <a:gd name="connsiteY10044" fmla="*/ 2624803 h 4687251"/>
              <a:gd name="connsiteX10045" fmla="*/ 4822371 w 8079933"/>
              <a:gd name="connsiteY10045" fmla="*/ 2619930 h 4687251"/>
              <a:gd name="connsiteX10046" fmla="*/ 4825084 w 8079933"/>
              <a:gd name="connsiteY10046" fmla="*/ 2618199 h 4687251"/>
              <a:gd name="connsiteX10047" fmla="*/ 4831487 w 8079933"/>
              <a:gd name="connsiteY10047" fmla="*/ 2618199 h 4687251"/>
              <a:gd name="connsiteX10048" fmla="*/ 4832028 w 8079933"/>
              <a:gd name="connsiteY10048" fmla="*/ 2615491 h 4687251"/>
              <a:gd name="connsiteX10049" fmla="*/ 4830943 w 8079933"/>
              <a:gd name="connsiteY10049" fmla="*/ 2613218 h 4687251"/>
              <a:gd name="connsiteX10050" fmla="*/ 4831269 w 8079933"/>
              <a:gd name="connsiteY10050" fmla="*/ 2610836 h 4687251"/>
              <a:gd name="connsiteX10051" fmla="*/ 4838973 w 8079933"/>
              <a:gd name="connsiteY10051" fmla="*/ 2607371 h 4687251"/>
              <a:gd name="connsiteX10052" fmla="*/ 4836043 w 8079933"/>
              <a:gd name="connsiteY10052" fmla="*/ 2609861 h 4687251"/>
              <a:gd name="connsiteX10053" fmla="*/ 4836044 w 8079933"/>
              <a:gd name="connsiteY10053" fmla="*/ 2609861 h 4687251"/>
              <a:gd name="connsiteX10054" fmla="*/ 4838974 w 8079933"/>
              <a:gd name="connsiteY10054" fmla="*/ 2607371 h 4687251"/>
              <a:gd name="connsiteX10055" fmla="*/ 2463761 w 8079933"/>
              <a:gd name="connsiteY10055" fmla="*/ 2606506 h 4687251"/>
              <a:gd name="connsiteX10056" fmla="*/ 2467885 w 8079933"/>
              <a:gd name="connsiteY10056" fmla="*/ 2613110 h 4687251"/>
              <a:gd name="connsiteX10057" fmla="*/ 2462893 w 8079933"/>
              <a:gd name="connsiteY10057" fmla="*/ 2612461 h 4687251"/>
              <a:gd name="connsiteX10058" fmla="*/ 2460289 w 8079933"/>
              <a:gd name="connsiteY10058" fmla="*/ 2608888 h 4687251"/>
              <a:gd name="connsiteX10059" fmla="*/ 4975436 w 8079933"/>
              <a:gd name="connsiteY10059" fmla="*/ 2605456 h 4687251"/>
              <a:gd name="connsiteX10060" fmla="*/ 4972558 w 8079933"/>
              <a:gd name="connsiteY10060" fmla="*/ 2606722 h 4687251"/>
              <a:gd name="connsiteX10061" fmla="*/ 4969905 w 8079933"/>
              <a:gd name="connsiteY10061" fmla="*/ 2616305 h 4687251"/>
              <a:gd name="connsiteX10062" fmla="*/ 4972559 w 8079933"/>
              <a:gd name="connsiteY10062" fmla="*/ 2606722 h 4687251"/>
              <a:gd name="connsiteX10063" fmla="*/ 4849686 w 8079933"/>
              <a:gd name="connsiteY10063" fmla="*/ 2603865 h 4687251"/>
              <a:gd name="connsiteX10064" fmla="*/ 4846027 w 8079933"/>
              <a:gd name="connsiteY10064" fmla="*/ 2604556 h 4687251"/>
              <a:gd name="connsiteX10065" fmla="*/ 4844291 w 8079933"/>
              <a:gd name="connsiteY10065" fmla="*/ 2607912 h 4687251"/>
              <a:gd name="connsiteX10066" fmla="*/ 4844291 w 8079933"/>
              <a:gd name="connsiteY10066" fmla="*/ 2607912 h 4687251"/>
              <a:gd name="connsiteX10067" fmla="*/ 4846027 w 8079933"/>
              <a:gd name="connsiteY10067" fmla="*/ 2604556 h 4687251"/>
              <a:gd name="connsiteX10068" fmla="*/ 1792956 w 8079933"/>
              <a:gd name="connsiteY10068" fmla="*/ 2601701 h 4687251"/>
              <a:gd name="connsiteX10069" fmla="*/ 1792043 w 8079933"/>
              <a:gd name="connsiteY10069" fmla="*/ 2613434 h 4687251"/>
              <a:gd name="connsiteX10070" fmla="*/ 1792044 w 8079933"/>
              <a:gd name="connsiteY10070" fmla="*/ 2613434 h 4687251"/>
              <a:gd name="connsiteX10071" fmla="*/ 2487092 w 8079933"/>
              <a:gd name="connsiteY10071" fmla="*/ 2598602 h 4687251"/>
              <a:gd name="connsiteX10072" fmla="*/ 2488937 w 8079933"/>
              <a:gd name="connsiteY10072" fmla="*/ 2602500 h 4687251"/>
              <a:gd name="connsiteX10073" fmla="*/ 2487743 w 8079933"/>
              <a:gd name="connsiteY10073" fmla="*/ 2606831 h 4687251"/>
              <a:gd name="connsiteX10074" fmla="*/ 2483620 w 8079933"/>
              <a:gd name="connsiteY10074" fmla="*/ 2603041 h 4687251"/>
              <a:gd name="connsiteX10075" fmla="*/ 2420897 w 8079933"/>
              <a:gd name="connsiteY10075" fmla="*/ 2598170 h 4687251"/>
              <a:gd name="connsiteX10076" fmla="*/ 2423502 w 8079933"/>
              <a:gd name="connsiteY10076" fmla="*/ 2600768 h 4687251"/>
              <a:gd name="connsiteX10077" fmla="*/ 2415906 w 8079933"/>
              <a:gd name="connsiteY10077" fmla="*/ 2601852 h 4687251"/>
              <a:gd name="connsiteX10078" fmla="*/ 1843046 w 8079933"/>
              <a:gd name="connsiteY10078" fmla="*/ 2597844 h 4687251"/>
              <a:gd name="connsiteX10079" fmla="*/ 1843046 w 8079933"/>
              <a:gd name="connsiteY10079" fmla="*/ 2597844 h 4687251"/>
              <a:gd name="connsiteX10080" fmla="*/ 1842562 w 8079933"/>
              <a:gd name="connsiteY10080" fmla="*/ 2598508 h 4687251"/>
              <a:gd name="connsiteX10081" fmla="*/ 1836774 w 8079933"/>
              <a:gd name="connsiteY10081" fmla="*/ 2596765 h 4687251"/>
              <a:gd name="connsiteX10082" fmla="*/ 1834907 w 8079933"/>
              <a:gd name="connsiteY10082" fmla="*/ 2598061 h 4687251"/>
              <a:gd name="connsiteX10083" fmla="*/ 1834473 w 8079933"/>
              <a:gd name="connsiteY10083" fmla="*/ 2601524 h 4687251"/>
              <a:gd name="connsiteX10084" fmla="*/ 1834474 w 8079933"/>
              <a:gd name="connsiteY10084" fmla="*/ 2601524 h 4687251"/>
              <a:gd name="connsiteX10085" fmla="*/ 1834908 w 8079933"/>
              <a:gd name="connsiteY10085" fmla="*/ 2598061 h 4687251"/>
              <a:gd name="connsiteX10086" fmla="*/ 2403752 w 8079933"/>
              <a:gd name="connsiteY10086" fmla="*/ 2592323 h 4687251"/>
              <a:gd name="connsiteX10087" fmla="*/ 2410371 w 8079933"/>
              <a:gd name="connsiteY10087" fmla="*/ 2594163 h 4687251"/>
              <a:gd name="connsiteX10088" fmla="*/ 2408526 w 8079933"/>
              <a:gd name="connsiteY10088" fmla="*/ 2595679 h 4687251"/>
              <a:gd name="connsiteX10089" fmla="*/ 2399737 w 8079933"/>
              <a:gd name="connsiteY10089" fmla="*/ 2596221 h 4687251"/>
              <a:gd name="connsiteX10090" fmla="*/ 6363307 w 8079933"/>
              <a:gd name="connsiteY10090" fmla="*/ 2591564 h 4687251"/>
              <a:gd name="connsiteX10091" fmla="*/ 6359311 w 8079933"/>
              <a:gd name="connsiteY10091" fmla="*/ 2592450 h 4687251"/>
              <a:gd name="connsiteX10092" fmla="*/ 6363307 w 8079933"/>
              <a:gd name="connsiteY10092" fmla="*/ 2591565 h 4687251"/>
              <a:gd name="connsiteX10093" fmla="*/ 2327574 w 8079933"/>
              <a:gd name="connsiteY10093" fmla="*/ 2588858 h 4687251"/>
              <a:gd name="connsiteX10094" fmla="*/ 2330287 w 8079933"/>
              <a:gd name="connsiteY10094" fmla="*/ 2591672 h 4687251"/>
              <a:gd name="connsiteX10095" fmla="*/ 2334085 w 8079933"/>
              <a:gd name="connsiteY10095" fmla="*/ 2592214 h 4687251"/>
              <a:gd name="connsiteX10096" fmla="*/ 2331155 w 8079933"/>
              <a:gd name="connsiteY10096" fmla="*/ 2594380 h 4687251"/>
              <a:gd name="connsiteX10097" fmla="*/ 2327791 w 8079933"/>
              <a:gd name="connsiteY10097" fmla="*/ 2592972 h 4687251"/>
              <a:gd name="connsiteX10098" fmla="*/ 2326055 w 8079933"/>
              <a:gd name="connsiteY10098" fmla="*/ 2589615 h 4687251"/>
              <a:gd name="connsiteX10099" fmla="*/ 2462567 w 8079933"/>
              <a:gd name="connsiteY10099" fmla="*/ 2587883 h 4687251"/>
              <a:gd name="connsiteX10100" fmla="*/ 2458986 w 8079933"/>
              <a:gd name="connsiteY10100" fmla="*/ 2591997 h 4687251"/>
              <a:gd name="connsiteX10101" fmla="*/ 2458769 w 8079933"/>
              <a:gd name="connsiteY10101" fmla="*/ 2597195 h 4687251"/>
              <a:gd name="connsiteX10102" fmla="*/ 2453126 w 8079933"/>
              <a:gd name="connsiteY10102" fmla="*/ 2593297 h 4687251"/>
              <a:gd name="connsiteX10103" fmla="*/ 2452367 w 8079933"/>
              <a:gd name="connsiteY10103" fmla="*/ 2591022 h 4687251"/>
              <a:gd name="connsiteX10104" fmla="*/ 2456382 w 8079933"/>
              <a:gd name="connsiteY10104" fmla="*/ 2588099 h 4687251"/>
              <a:gd name="connsiteX10105" fmla="*/ 6384360 w 8079933"/>
              <a:gd name="connsiteY10105" fmla="*/ 2587017 h 4687251"/>
              <a:gd name="connsiteX10106" fmla="*/ 6388483 w 8079933"/>
              <a:gd name="connsiteY10106" fmla="*/ 2592214 h 4687251"/>
              <a:gd name="connsiteX10107" fmla="*/ 6388484 w 8079933"/>
              <a:gd name="connsiteY10107" fmla="*/ 2592214 h 4687251"/>
              <a:gd name="connsiteX10108" fmla="*/ 6384361 w 8079933"/>
              <a:gd name="connsiteY10108" fmla="*/ 2587017 h 4687251"/>
              <a:gd name="connsiteX10109" fmla="*/ 1850100 w 8079933"/>
              <a:gd name="connsiteY10109" fmla="*/ 2586800 h 4687251"/>
              <a:gd name="connsiteX10110" fmla="*/ 1850099 w 8079933"/>
              <a:gd name="connsiteY10110" fmla="*/ 2586800 h 4687251"/>
              <a:gd name="connsiteX10111" fmla="*/ 1849122 w 8079933"/>
              <a:gd name="connsiteY10111" fmla="*/ 2588641 h 4687251"/>
              <a:gd name="connsiteX10112" fmla="*/ 1848146 w 8079933"/>
              <a:gd name="connsiteY10112" fmla="*/ 2592214 h 4687251"/>
              <a:gd name="connsiteX10113" fmla="*/ 1847386 w 8079933"/>
              <a:gd name="connsiteY10113" fmla="*/ 2593244 h 4687251"/>
              <a:gd name="connsiteX10114" fmla="*/ 1848147 w 8079933"/>
              <a:gd name="connsiteY10114" fmla="*/ 2592214 h 4687251"/>
              <a:gd name="connsiteX10115" fmla="*/ 1849123 w 8079933"/>
              <a:gd name="connsiteY10115" fmla="*/ 2588641 h 4687251"/>
              <a:gd name="connsiteX10116" fmla="*/ 6371556 w 8079933"/>
              <a:gd name="connsiteY10116" fmla="*/ 2583227 h 4687251"/>
              <a:gd name="connsiteX10117" fmla="*/ 6371555 w 8079933"/>
              <a:gd name="connsiteY10117" fmla="*/ 2583228 h 4687251"/>
              <a:gd name="connsiteX10118" fmla="*/ 6379476 w 8079933"/>
              <a:gd name="connsiteY10118" fmla="*/ 2587450 h 4687251"/>
              <a:gd name="connsiteX10119" fmla="*/ 6379478 w 8079933"/>
              <a:gd name="connsiteY10119" fmla="*/ 2587449 h 4687251"/>
              <a:gd name="connsiteX10120" fmla="*/ 2364902 w 8079933"/>
              <a:gd name="connsiteY10120" fmla="*/ 2582470 h 4687251"/>
              <a:gd name="connsiteX10121" fmla="*/ 2382264 w 8079933"/>
              <a:gd name="connsiteY10121" fmla="*/ 2583986 h 4687251"/>
              <a:gd name="connsiteX10122" fmla="*/ 2392140 w 8079933"/>
              <a:gd name="connsiteY10122" fmla="*/ 2582578 h 4687251"/>
              <a:gd name="connsiteX10123" fmla="*/ 2395069 w 8079933"/>
              <a:gd name="connsiteY10123" fmla="*/ 2583986 h 4687251"/>
              <a:gd name="connsiteX10124" fmla="*/ 2396263 w 8079933"/>
              <a:gd name="connsiteY10124" fmla="*/ 2586909 h 4687251"/>
              <a:gd name="connsiteX10125" fmla="*/ 2400712 w 8079933"/>
              <a:gd name="connsiteY10125" fmla="*/ 2588209 h 4687251"/>
              <a:gd name="connsiteX10126" fmla="*/ 2394526 w 8079933"/>
              <a:gd name="connsiteY10126" fmla="*/ 2594921 h 4687251"/>
              <a:gd name="connsiteX10127" fmla="*/ 2386605 w 8079933"/>
              <a:gd name="connsiteY10127" fmla="*/ 2598603 h 4687251"/>
              <a:gd name="connsiteX10128" fmla="*/ 2383458 w 8079933"/>
              <a:gd name="connsiteY10128" fmla="*/ 2596978 h 4687251"/>
              <a:gd name="connsiteX10129" fmla="*/ 2375211 w 8079933"/>
              <a:gd name="connsiteY10129" fmla="*/ 2599144 h 4687251"/>
              <a:gd name="connsiteX10130" fmla="*/ 2372064 w 8079933"/>
              <a:gd name="connsiteY10130" fmla="*/ 2598062 h 4687251"/>
              <a:gd name="connsiteX10131" fmla="*/ 2360779 w 8079933"/>
              <a:gd name="connsiteY10131" fmla="*/ 2597520 h 4687251"/>
              <a:gd name="connsiteX10132" fmla="*/ 2358717 w 8079933"/>
              <a:gd name="connsiteY10132" fmla="*/ 2593513 h 4687251"/>
              <a:gd name="connsiteX10133" fmla="*/ 2359368 w 8079933"/>
              <a:gd name="connsiteY10133" fmla="*/ 2591132 h 4687251"/>
              <a:gd name="connsiteX10134" fmla="*/ 2358825 w 8079933"/>
              <a:gd name="connsiteY10134" fmla="*/ 2587884 h 4687251"/>
              <a:gd name="connsiteX10135" fmla="*/ 2362949 w 8079933"/>
              <a:gd name="connsiteY10135" fmla="*/ 2585827 h 4687251"/>
              <a:gd name="connsiteX10136" fmla="*/ 2115205 w 8079933"/>
              <a:gd name="connsiteY10136" fmla="*/ 2581928 h 4687251"/>
              <a:gd name="connsiteX10137" fmla="*/ 2133436 w 8079933"/>
              <a:gd name="connsiteY10137" fmla="*/ 2582902 h 4687251"/>
              <a:gd name="connsiteX10138" fmla="*/ 2137994 w 8079933"/>
              <a:gd name="connsiteY10138" fmla="*/ 2590373 h 4687251"/>
              <a:gd name="connsiteX10139" fmla="*/ 2143962 w 8079933"/>
              <a:gd name="connsiteY10139" fmla="*/ 2591456 h 4687251"/>
              <a:gd name="connsiteX10140" fmla="*/ 2147977 w 8079933"/>
              <a:gd name="connsiteY10140" fmla="*/ 2595679 h 4687251"/>
              <a:gd name="connsiteX10141" fmla="*/ 2147434 w 8079933"/>
              <a:gd name="connsiteY10141" fmla="*/ 2597844 h 4687251"/>
              <a:gd name="connsiteX10142" fmla="*/ 2139513 w 8079933"/>
              <a:gd name="connsiteY10142" fmla="*/ 2597844 h 4687251"/>
              <a:gd name="connsiteX10143" fmla="*/ 2136257 w 8079933"/>
              <a:gd name="connsiteY10143" fmla="*/ 2596112 h 4687251"/>
              <a:gd name="connsiteX10144" fmla="*/ 2134412 w 8079933"/>
              <a:gd name="connsiteY10144" fmla="*/ 2600118 h 4687251"/>
              <a:gd name="connsiteX10145" fmla="*/ 2131917 w 8079933"/>
              <a:gd name="connsiteY10145" fmla="*/ 2600767 h 4687251"/>
              <a:gd name="connsiteX10146" fmla="*/ 2130072 w 8079933"/>
              <a:gd name="connsiteY10146" fmla="*/ 2598602 h 4687251"/>
              <a:gd name="connsiteX10147" fmla="*/ 2125948 w 8079933"/>
              <a:gd name="connsiteY10147" fmla="*/ 2598602 h 4687251"/>
              <a:gd name="connsiteX10148" fmla="*/ 2125731 w 8079933"/>
              <a:gd name="connsiteY10148" fmla="*/ 2603583 h 4687251"/>
              <a:gd name="connsiteX10149" fmla="*/ 2120088 w 8079933"/>
              <a:gd name="connsiteY10149" fmla="*/ 2603365 h 4687251"/>
              <a:gd name="connsiteX10150" fmla="*/ 2116290 w 8079933"/>
              <a:gd name="connsiteY10150" fmla="*/ 2600442 h 4687251"/>
              <a:gd name="connsiteX10151" fmla="*/ 2110756 w 8079933"/>
              <a:gd name="connsiteY10151" fmla="*/ 2600659 h 4687251"/>
              <a:gd name="connsiteX10152" fmla="*/ 2107501 w 8079933"/>
              <a:gd name="connsiteY10152" fmla="*/ 2598060 h 4687251"/>
              <a:gd name="connsiteX10153" fmla="*/ 2104788 w 8079933"/>
              <a:gd name="connsiteY10153" fmla="*/ 2591889 h 4687251"/>
              <a:gd name="connsiteX10154" fmla="*/ 2101749 w 8079933"/>
              <a:gd name="connsiteY10154" fmla="*/ 2590481 h 4687251"/>
              <a:gd name="connsiteX10155" fmla="*/ 2098711 w 8079933"/>
              <a:gd name="connsiteY10155" fmla="*/ 2591456 h 4687251"/>
              <a:gd name="connsiteX10156" fmla="*/ 2094262 w 8079933"/>
              <a:gd name="connsiteY10156" fmla="*/ 2588099 h 4687251"/>
              <a:gd name="connsiteX10157" fmla="*/ 2096975 w 8079933"/>
              <a:gd name="connsiteY10157" fmla="*/ 2584093 h 4687251"/>
              <a:gd name="connsiteX10158" fmla="*/ 2100881 w 8079933"/>
              <a:gd name="connsiteY10158" fmla="*/ 2583227 h 4687251"/>
              <a:gd name="connsiteX10159" fmla="*/ 2106307 w 8079933"/>
              <a:gd name="connsiteY10159" fmla="*/ 2583769 h 4687251"/>
              <a:gd name="connsiteX10160" fmla="*/ 6262387 w 8079933"/>
              <a:gd name="connsiteY10160" fmla="*/ 2579547 h 4687251"/>
              <a:gd name="connsiteX10161" fmla="*/ 6262930 w 8079933"/>
              <a:gd name="connsiteY10161" fmla="*/ 2583336 h 4687251"/>
              <a:gd name="connsiteX10162" fmla="*/ 6266619 w 8079933"/>
              <a:gd name="connsiteY10162" fmla="*/ 2584419 h 4687251"/>
              <a:gd name="connsiteX10163" fmla="*/ 6270526 w 8079933"/>
              <a:gd name="connsiteY10163" fmla="*/ 2591239 h 4687251"/>
              <a:gd name="connsiteX10164" fmla="*/ 6273998 w 8079933"/>
              <a:gd name="connsiteY10164" fmla="*/ 2594488 h 4687251"/>
              <a:gd name="connsiteX10165" fmla="*/ 6275301 w 8079933"/>
              <a:gd name="connsiteY10165" fmla="*/ 2598169 h 4687251"/>
              <a:gd name="connsiteX10166" fmla="*/ 6281594 w 8079933"/>
              <a:gd name="connsiteY10166" fmla="*/ 2602392 h 4687251"/>
              <a:gd name="connsiteX10167" fmla="*/ 6282398 w 8079933"/>
              <a:gd name="connsiteY10167" fmla="*/ 2604166 h 4687251"/>
              <a:gd name="connsiteX10168" fmla="*/ 6281594 w 8079933"/>
              <a:gd name="connsiteY10168" fmla="*/ 2602391 h 4687251"/>
              <a:gd name="connsiteX10169" fmla="*/ 6275301 w 8079933"/>
              <a:gd name="connsiteY10169" fmla="*/ 2598169 h 4687251"/>
              <a:gd name="connsiteX10170" fmla="*/ 6273998 w 8079933"/>
              <a:gd name="connsiteY10170" fmla="*/ 2594488 h 4687251"/>
              <a:gd name="connsiteX10171" fmla="*/ 6270526 w 8079933"/>
              <a:gd name="connsiteY10171" fmla="*/ 2591239 h 4687251"/>
              <a:gd name="connsiteX10172" fmla="*/ 6266619 w 8079933"/>
              <a:gd name="connsiteY10172" fmla="*/ 2584418 h 4687251"/>
              <a:gd name="connsiteX10173" fmla="*/ 6262930 w 8079933"/>
              <a:gd name="connsiteY10173" fmla="*/ 2583336 h 4687251"/>
              <a:gd name="connsiteX10174" fmla="*/ 6411599 w 8079933"/>
              <a:gd name="connsiteY10174" fmla="*/ 2578788 h 4687251"/>
              <a:gd name="connsiteX10175" fmla="*/ 6411598 w 8079933"/>
              <a:gd name="connsiteY10175" fmla="*/ 2578788 h 4687251"/>
              <a:gd name="connsiteX10176" fmla="*/ 6422340 w 8079933"/>
              <a:gd name="connsiteY10176" fmla="*/ 2581604 h 4687251"/>
              <a:gd name="connsiteX10177" fmla="*/ 6425813 w 8079933"/>
              <a:gd name="connsiteY10177" fmla="*/ 2588424 h 4687251"/>
              <a:gd name="connsiteX10178" fmla="*/ 6436121 w 8079933"/>
              <a:gd name="connsiteY10178" fmla="*/ 2595895 h 4687251"/>
              <a:gd name="connsiteX10179" fmla="*/ 6441982 w 8079933"/>
              <a:gd name="connsiteY10179" fmla="*/ 2600226 h 4687251"/>
              <a:gd name="connsiteX10180" fmla="*/ 6444369 w 8079933"/>
              <a:gd name="connsiteY10180" fmla="*/ 2605314 h 4687251"/>
              <a:gd name="connsiteX10181" fmla="*/ 6443501 w 8079933"/>
              <a:gd name="connsiteY10181" fmla="*/ 2609429 h 4687251"/>
              <a:gd name="connsiteX10182" fmla="*/ 6441765 w 8079933"/>
              <a:gd name="connsiteY10182" fmla="*/ 2612352 h 4687251"/>
              <a:gd name="connsiteX10183" fmla="*/ 6444369 w 8079933"/>
              <a:gd name="connsiteY10183" fmla="*/ 2618091 h 4687251"/>
              <a:gd name="connsiteX10184" fmla="*/ 6444043 w 8079933"/>
              <a:gd name="connsiteY10184" fmla="*/ 2624803 h 4687251"/>
              <a:gd name="connsiteX10185" fmla="*/ 6442849 w 8079933"/>
              <a:gd name="connsiteY10185" fmla="*/ 2628376 h 4687251"/>
              <a:gd name="connsiteX10186" fmla="*/ 6447191 w 8079933"/>
              <a:gd name="connsiteY10186" fmla="*/ 2631516 h 4687251"/>
              <a:gd name="connsiteX10187" fmla="*/ 6452182 w 8079933"/>
              <a:gd name="connsiteY10187" fmla="*/ 2636930 h 4687251"/>
              <a:gd name="connsiteX10188" fmla="*/ 6452184 w 8079933"/>
              <a:gd name="connsiteY10188" fmla="*/ 2636930 h 4687251"/>
              <a:gd name="connsiteX10189" fmla="*/ 6447192 w 8079933"/>
              <a:gd name="connsiteY10189" fmla="*/ 2631516 h 4687251"/>
              <a:gd name="connsiteX10190" fmla="*/ 6442851 w 8079933"/>
              <a:gd name="connsiteY10190" fmla="*/ 2628376 h 4687251"/>
              <a:gd name="connsiteX10191" fmla="*/ 6444045 w 8079933"/>
              <a:gd name="connsiteY10191" fmla="*/ 2624803 h 4687251"/>
              <a:gd name="connsiteX10192" fmla="*/ 6444370 w 8079933"/>
              <a:gd name="connsiteY10192" fmla="*/ 2618090 h 4687251"/>
              <a:gd name="connsiteX10193" fmla="*/ 6441766 w 8079933"/>
              <a:gd name="connsiteY10193" fmla="*/ 2612352 h 4687251"/>
              <a:gd name="connsiteX10194" fmla="*/ 6443503 w 8079933"/>
              <a:gd name="connsiteY10194" fmla="*/ 2609429 h 4687251"/>
              <a:gd name="connsiteX10195" fmla="*/ 6444370 w 8079933"/>
              <a:gd name="connsiteY10195" fmla="*/ 2605314 h 4687251"/>
              <a:gd name="connsiteX10196" fmla="*/ 6441983 w 8079933"/>
              <a:gd name="connsiteY10196" fmla="*/ 2600226 h 4687251"/>
              <a:gd name="connsiteX10197" fmla="*/ 6436123 w 8079933"/>
              <a:gd name="connsiteY10197" fmla="*/ 2595895 h 4687251"/>
              <a:gd name="connsiteX10198" fmla="*/ 6425814 w 8079933"/>
              <a:gd name="connsiteY10198" fmla="*/ 2588424 h 4687251"/>
              <a:gd name="connsiteX10199" fmla="*/ 6422341 w 8079933"/>
              <a:gd name="connsiteY10199" fmla="*/ 2581603 h 4687251"/>
              <a:gd name="connsiteX10200" fmla="*/ 6436936 w 8079933"/>
              <a:gd name="connsiteY10200" fmla="*/ 2570963 h 4687251"/>
              <a:gd name="connsiteX10201" fmla="*/ 6442634 w 8079933"/>
              <a:gd name="connsiteY10201" fmla="*/ 2574025 h 4687251"/>
              <a:gd name="connsiteX10202" fmla="*/ 6446058 w 8079933"/>
              <a:gd name="connsiteY10202" fmla="*/ 2574404 h 4687251"/>
              <a:gd name="connsiteX10203" fmla="*/ 6442633 w 8079933"/>
              <a:gd name="connsiteY10203" fmla="*/ 2574024 h 4687251"/>
              <a:gd name="connsiteX10204" fmla="*/ 4308473 w 8079933"/>
              <a:gd name="connsiteY10204" fmla="*/ 2570188 h 4687251"/>
              <a:gd name="connsiteX10205" fmla="*/ 4305180 w 8079933"/>
              <a:gd name="connsiteY10205" fmla="*/ 2593297 h 4687251"/>
              <a:gd name="connsiteX10206" fmla="*/ 4306048 w 8079933"/>
              <a:gd name="connsiteY10206" fmla="*/ 2628160 h 4687251"/>
              <a:gd name="connsiteX10207" fmla="*/ 4289152 w 8079933"/>
              <a:gd name="connsiteY10207" fmla="*/ 2645387 h 4687251"/>
              <a:gd name="connsiteX10208" fmla="*/ 4306049 w 8079933"/>
              <a:gd name="connsiteY10208" fmla="*/ 2628160 h 4687251"/>
              <a:gd name="connsiteX10209" fmla="*/ 4305181 w 8079933"/>
              <a:gd name="connsiteY10209" fmla="*/ 2593297 h 4687251"/>
              <a:gd name="connsiteX10210" fmla="*/ 6166459 w 8079933"/>
              <a:gd name="connsiteY10210" fmla="*/ 2569911 h 4687251"/>
              <a:gd name="connsiteX10211" fmla="*/ 6170257 w 8079933"/>
              <a:gd name="connsiteY10211" fmla="*/ 2573700 h 4687251"/>
              <a:gd name="connsiteX10212" fmla="*/ 6169063 w 8079933"/>
              <a:gd name="connsiteY10212" fmla="*/ 2577815 h 4687251"/>
              <a:gd name="connsiteX10213" fmla="*/ 6164180 w 8079933"/>
              <a:gd name="connsiteY10213" fmla="*/ 2575000 h 4687251"/>
              <a:gd name="connsiteX10214" fmla="*/ 6162769 w 8079933"/>
              <a:gd name="connsiteY10214" fmla="*/ 2571643 h 4687251"/>
              <a:gd name="connsiteX10215" fmla="*/ 6271394 w 8079933"/>
              <a:gd name="connsiteY10215" fmla="*/ 2569802 h 4687251"/>
              <a:gd name="connsiteX10216" fmla="*/ 6271394 w 8079933"/>
              <a:gd name="connsiteY10216" fmla="*/ 2569802 h 4687251"/>
              <a:gd name="connsiteX10217" fmla="*/ 6273130 w 8079933"/>
              <a:gd name="connsiteY10217" fmla="*/ 2573700 h 4687251"/>
              <a:gd name="connsiteX10218" fmla="*/ 6428202 w 8079933"/>
              <a:gd name="connsiteY10218" fmla="*/ 2569801 h 4687251"/>
              <a:gd name="connsiteX10219" fmla="*/ 6428202 w 8079933"/>
              <a:gd name="connsiteY10219" fmla="*/ 2569802 h 4687251"/>
              <a:gd name="connsiteX10220" fmla="*/ 6435580 w 8079933"/>
              <a:gd name="connsiteY10220" fmla="*/ 2570235 h 4687251"/>
              <a:gd name="connsiteX10221" fmla="*/ 6435579 w 8079933"/>
              <a:gd name="connsiteY10221" fmla="*/ 2570234 h 4687251"/>
              <a:gd name="connsiteX10222" fmla="*/ 4041165 w 8079933"/>
              <a:gd name="connsiteY10222" fmla="*/ 2569489 h 4687251"/>
              <a:gd name="connsiteX10223" fmla="*/ 4037579 w 8079933"/>
              <a:gd name="connsiteY10223" fmla="*/ 2570667 h 4687251"/>
              <a:gd name="connsiteX10224" fmla="*/ 4028489 w 8079933"/>
              <a:gd name="connsiteY10224" fmla="*/ 2571745 h 4687251"/>
              <a:gd name="connsiteX10225" fmla="*/ 4037577 w 8079933"/>
              <a:gd name="connsiteY10225" fmla="*/ 2570668 h 4687251"/>
              <a:gd name="connsiteX10226" fmla="*/ 2222202 w 8079933"/>
              <a:gd name="connsiteY10226" fmla="*/ 2568935 h 4687251"/>
              <a:gd name="connsiteX10227" fmla="*/ 2226869 w 8079933"/>
              <a:gd name="connsiteY10227" fmla="*/ 2572400 h 4687251"/>
              <a:gd name="connsiteX10228" fmla="*/ 2227954 w 8079933"/>
              <a:gd name="connsiteY10228" fmla="*/ 2576081 h 4687251"/>
              <a:gd name="connsiteX10229" fmla="*/ 2221226 w 8079933"/>
              <a:gd name="connsiteY10229" fmla="*/ 2573699 h 4687251"/>
              <a:gd name="connsiteX10230" fmla="*/ 2218079 w 8079933"/>
              <a:gd name="connsiteY10230" fmla="*/ 2571100 h 4687251"/>
              <a:gd name="connsiteX10231" fmla="*/ 6825045 w 8079933"/>
              <a:gd name="connsiteY10231" fmla="*/ 2567962 h 4687251"/>
              <a:gd name="connsiteX10232" fmla="*/ 6834161 w 8079933"/>
              <a:gd name="connsiteY10232" fmla="*/ 2569694 h 4687251"/>
              <a:gd name="connsiteX10233" fmla="*/ 6838176 w 8079933"/>
              <a:gd name="connsiteY10233" fmla="*/ 2574133 h 4687251"/>
              <a:gd name="connsiteX10234" fmla="*/ 6841648 w 8079933"/>
              <a:gd name="connsiteY10234" fmla="*/ 2576407 h 4687251"/>
              <a:gd name="connsiteX10235" fmla="*/ 6842842 w 8079933"/>
              <a:gd name="connsiteY10235" fmla="*/ 2574025 h 4687251"/>
              <a:gd name="connsiteX10236" fmla="*/ 6849570 w 8079933"/>
              <a:gd name="connsiteY10236" fmla="*/ 2574025 h 4687251"/>
              <a:gd name="connsiteX10237" fmla="*/ 6852826 w 8079933"/>
              <a:gd name="connsiteY10237" fmla="*/ 2571210 h 4687251"/>
              <a:gd name="connsiteX10238" fmla="*/ 6853151 w 8079933"/>
              <a:gd name="connsiteY10238" fmla="*/ 2569045 h 4687251"/>
              <a:gd name="connsiteX10239" fmla="*/ 6855429 w 8079933"/>
              <a:gd name="connsiteY10239" fmla="*/ 2568178 h 4687251"/>
              <a:gd name="connsiteX10240" fmla="*/ 6858468 w 8079933"/>
              <a:gd name="connsiteY10240" fmla="*/ 2572293 h 4687251"/>
              <a:gd name="connsiteX10241" fmla="*/ 6858142 w 8079933"/>
              <a:gd name="connsiteY10241" fmla="*/ 2575757 h 4687251"/>
              <a:gd name="connsiteX10242" fmla="*/ 6855429 w 8079933"/>
              <a:gd name="connsiteY10242" fmla="*/ 2579005 h 4687251"/>
              <a:gd name="connsiteX10243" fmla="*/ 6854344 w 8079933"/>
              <a:gd name="connsiteY10243" fmla="*/ 2588317 h 4687251"/>
              <a:gd name="connsiteX10244" fmla="*/ 6858685 w 8079933"/>
              <a:gd name="connsiteY10244" fmla="*/ 2595679 h 4687251"/>
              <a:gd name="connsiteX10245" fmla="*/ 6861398 w 8079933"/>
              <a:gd name="connsiteY10245" fmla="*/ 2596653 h 4687251"/>
              <a:gd name="connsiteX10246" fmla="*/ 6863026 w 8079933"/>
              <a:gd name="connsiteY10246" fmla="*/ 2602717 h 4687251"/>
              <a:gd name="connsiteX10247" fmla="*/ 6865413 w 8079933"/>
              <a:gd name="connsiteY10247" fmla="*/ 2605640 h 4687251"/>
              <a:gd name="connsiteX10248" fmla="*/ 6863135 w 8079933"/>
              <a:gd name="connsiteY10248" fmla="*/ 2616792 h 4687251"/>
              <a:gd name="connsiteX10249" fmla="*/ 6860204 w 8079933"/>
              <a:gd name="connsiteY10249" fmla="*/ 2623613 h 4687251"/>
              <a:gd name="connsiteX10250" fmla="*/ 6861615 w 8079933"/>
              <a:gd name="connsiteY10250" fmla="*/ 2629351 h 4687251"/>
              <a:gd name="connsiteX10251" fmla="*/ 6857600 w 8079933"/>
              <a:gd name="connsiteY10251" fmla="*/ 2635739 h 4687251"/>
              <a:gd name="connsiteX10252" fmla="*/ 6857274 w 8079933"/>
              <a:gd name="connsiteY10252" fmla="*/ 2633357 h 4687251"/>
              <a:gd name="connsiteX10253" fmla="*/ 6858793 w 8079933"/>
              <a:gd name="connsiteY10253" fmla="*/ 2629892 h 4687251"/>
              <a:gd name="connsiteX10254" fmla="*/ 6855972 w 8079933"/>
              <a:gd name="connsiteY10254" fmla="*/ 2631625 h 4687251"/>
              <a:gd name="connsiteX10255" fmla="*/ 6848484 w 8079933"/>
              <a:gd name="connsiteY10255" fmla="*/ 2638663 h 4687251"/>
              <a:gd name="connsiteX10256" fmla="*/ 6846748 w 8079933"/>
              <a:gd name="connsiteY10256" fmla="*/ 2642885 h 4687251"/>
              <a:gd name="connsiteX10257" fmla="*/ 6847291 w 8079933"/>
              <a:gd name="connsiteY10257" fmla="*/ 2648299 h 4687251"/>
              <a:gd name="connsiteX10258" fmla="*/ 6844904 w 8079933"/>
              <a:gd name="connsiteY10258" fmla="*/ 2651871 h 4687251"/>
              <a:gd name="connsiteX10259" fmla="*/ 6844035 w 8079933"/>
              <a:gd name="connsiteY10259" fmla="*/ 2657718 h 4687251"/>
              <a:gd name="connsiteX10260" fmla="*/ 6846640 w 8079933"/>
              <a:gd name="connsiteY10260" fmla="*/ 2659775 h 4687251"/>
              <a:gd name="connsiteX10261" fmla="*/ 6849028 w 8079933"/>
              <a:gd name="connsiteY10261" fmla="*/ 2665946 h 4687251"/>
              <a:gd name="connsiteX10262" fmla="*/ 6852174 w 8079933"/>
              <a:gd name="connsiteY10262" fmla="*/ 2669411 h 4687251"/>
              <a:gd name="connsiteX10263" fmla="*/ 6850221 w 8079933"/>
              <a:gd name="connsiteY10263" fmla="*/ 2672118 h 4687251"/>
              <a:gd name="connsiteX10264" fmla="*/ 6850221 w 8079933"/>
              <a:gd name="connsiteY10264" fmla="*/ 2677315 h 4687251"/>
              <a:gd name="connsiteX10265" fmla="*/ 6853910 w 8079933"/>
              <a:gd name="connsiteY10265" fmla="*/ 2680238 h 4687251"/>
              <a:gd name="connsiteX10266" fmla="*/ 6856189 w 8079933"/>
              <a:gd name="connsiteY10266" fmla="*/ 2684894 h 4687251"/>
              <a:gd name="connsiteX10267" fmla="*/ 6861615 w 8079933"/>
              <a:gd name="connsiteY10267" fmla="*/ 2686734 h 4687251"/>
              <a:gd name="connsiteX10268" fmla="*/ 6865413 w 8079933"/>
              <a:gd name="connsiteY10268" fmla="*/ 2685435 h 4687251"/>
              <a:gd name="connsiteX10269" fmla="*/ 6866498 w 8079933"/>
              <a:gd name="connsiteY10269" fmla="*/ 2681754 h 4687251"/>
              <a:gd name="connsiteX10270" fmla="*/ 6872900 w 8079933"/>
              <a:gd name="connsiteY10270" fmla="*/ 2676666 h 4687251"/>
              <a:gd name="connsiteX10271" fmla="*/ 6877567 w 8079933"/>
              <a:gd name="connsiteY10271" fmla="*/ 2676558 h 4687251"/>
              <a:gd name="connsiteX10272" fmla="*/ 6884620 w 8079933"/>
              <a:gd name="connsiteY10272" fmla="*/ 2680996 h 4687251"/>
              <a:gd name="connsiteX10273" fmla="*/ 6887550 w 8079933"/>
              <a:gd name="connsiteY10273" fmla="*/ 2686626 h 4687251"/>
              <a:gd name="connsiteX10274" fmla="*/ 6886900 w 8079933"/>
              <a:gd name="connsiteY10274" fmla="*/ 2691607 h 4687251"/>
              <a:gd name="connsiteX10275" fmla="*/ 6889178 w 8079933"/>
              <a:gd name="connsiteY10275" fmla="*/ 2693989 h 4687251"/>
              <a:gd name="connsiteX10276" fmla="*/ 6892325 w 8079933"/>
              <a:gd name="connsiteY10276" fmla="*/ 2691932 h 4687251"/>
              <a:gd name="connsiteX10277" fmla="*/ 6891999 w 8079933"/>
              <a:gd name="connsiteY10277" fmla="*/ 2687276 h 4687251"/>
              <a:gd name="connsiteX10278" fmla="*/ 6894061 w 8079933"/>
              <a:gd name="connsiteY10278" fmla="*/ 2685544 h 4687251"/>
              <a:gd name="connsiteX10279" fmla="*/ 6896774 w 8079933"/>
              <a:gd name="connsiteY10279" fmla="*/ 2690199 h 4687251"/>
              <a:gd name="connsiteX10280" fmla="*/ 6902417 w 8079933"/>
              <a:gd name="connsiteY10280" fmla="*/ 2690416 h 4687251"/>
              <a:gd name="connsiteX10281" fmla="*/ 6907083 w 8079933"/>
              <a:gd name="connsiteY10281" fmla="*/ 2693447 h 4687251"/>
              <a:gd name="connsiteX10282" fmla="*/ 6908168 w 8079933"/>
              <a:gd name="connsiteY10282" fmla="*/ 2695072 h 4687251"/>
              <a:gd name="connsiteX10283" fmla="*/ 6904697 w 8079933"/>
              <a:gd name="connsiteY10283" fmla="*/ 2695613 h 4687251"/>
              <a:gd name="connsiteX10284" fmla="*/ 6902308 w 8079933"/>
              <a:gd name="connsiteY10284" fmla="*/ 2694205 h 4687251"/>
              <a:gd name="connsiteX10285" fmla="*/ 6899922 w 8079933"/>
              <a:gd name="connsiteY10285" fmla="*/ 2695829 h 4687251"/>
              <a:gd name="connsiteX10286" fmla="*/ 6900898 w 8079933"/>
              <a:gd name="connsiteY10286" fmla="*/ 2699944 h 4687251"/>
              <a:gd name="connsiteX10287" fmla="*/ 6904153 w 8079933"/>
              <a:gd name="connsiteY10287" fmla="*/ 2708280 h 4687251"/>
              <a:gd name="connsiteX10288" fmla="*/ 6904044 w 8079933"/>
              <a:gd name="connsiteY10288" fmla="*/ 2711529 h 4687251"/>
              <a:gd name="connsiteX10289" fmla="*/ 6908819 w 8079933"/>
              <a:gd name="connsiteY10289" fmla="*/ 2711529 h 4687251"/>
              <a:gd name="connsiteX10290" fmla="*/ 6912292 w 8079933"/>
              <a:gd name="connsiteY10290" fmla="*/ 2713261 h 4687251"/>
              <a:gd name="connsiteX10291" fmla="*/ 6916199 w 8079933"/>
              <a:gd name="connsiteY10291" fmla="*/ 2713044 h 4687251"/>
              <a:gd name="connsiteX10292" fmla="*/ 6918152 w 8079933"/>
              <a:gd name="connsiteY10292" fmla="*/ 2715643 h 4687251"/>
              <a:gd name="connsiteX10293" fmla="*/ 6916091 w 8079933"/>
              <a:gd name="connsiteY10293" fmla="*/ 2717700 h 4687251"/>
              <a:gd name="connsiteX10294" fmla="*/ 6916632 w 8079933"/>
              <a:gd name="connsiteY10294" fmla="*/ 2720623 h 4687251"/>
              <a:gd name="connsiteX10295" fmla="*/ 6914896 w 8079933"/>
              <a:gd name="connsiteY10295" fmla="*/ 2727445 h 4687251"/>
              <a:gd name="connsiteX10296" fmla="*/ 6910665 w 8079933"/>
              <a:gd name="connsiteY10296" fmla="*/ 2726145 h 4687251"/>
              <a:gd name="connsiteX10297" fmla="*/ 6906757 w 8079933"/>
              <a:gd name="connsiteY10297" fmla="*/ 2721381 h 4687251"/>
              <a:gd name="connsiteX10298" fmla="*/ 6910556 w 8079933"/>
              <a:gd name="connsiteY10298" fmla="*/ 2719107 h 4687251"/>
              <a:gd name="connsiteX10299" fmla="*/ 6910881 w 8079933"/>
              <a:gd name="connsiteY10299" fmla="*/ 2716617 h 4687251"/>
              <a:gd name="connsiteX10300" fmla="*/ 6906975 w 8079933"/>
              <a:gd name="connsiteY10300" fmla="*/ 2715859 h 4687251"/>
              <a:gd name="connsiteX10301" fmla="*/ 6907083 w 8079933"/>
              <a:gd name="connsiteY10301" fmla="*/ 2717592 h 4687251"/>
              <a:gd name="connsiteX10302" fmla="*/ 6902960 w 8079933"/>
              <a:gd name="connsiteY10302" fmla="*/ 2718782 h 4687251"/>
              <a:gd name="connsiteX10303" fmla="*/ 6897642 w 8079933"/>
              <a:gd name="connsiteY10303" fmla="*/ 2712503 h 4687251"/>
              <a:gd name="connsiteX10304" fmla="*/ 6893952 w 8079933"/>
              <a:gd name="connsiteY10304" fmla="*/ 2711312 h 4687251"/>
              <a:gd name="connsiteX10305" fmla="*/ 6893952 w 8079933"/>
              <a:gd name="connsiteY10305" fmla="*/ 2706223 h 4687251"/>
              <a:gd name="connsiteX10306" fmla="*/ 6892108 w 8079933"/>
              <a:gd name="connsiteY10306" fmla="*/ 2701676 h 4687251"/>
              <a:gd name="connsiteX10307" fmla="*/ 6885271 w 8079933"/>
              <a:gd name="connsiteY10307" fmla="*/ 2699186 h 4687251"/>
              <a:gd name="connsiteX10308" fmla="*/ 6882125 w 8079933"/>
              <a:gd name="connsiteY10308" fmla="*/ 2693664 h 4687251"/>
              <a:gd name="connsiteX10309" fmla="*/ 6878977 w 8079933"/>
              <a:gd name="connsiteY10309" fmla="*/ 2692040 h 4687251"/>
              <a:gd name="connsiteX10310" fmla="*/ 6876265 w 8079933"/>
              <a:gd name="connsiteY10310" fmla="*/ 2689333 h 4687251"/>
              <a:gd name="connsiteX10311" fmla="*/ 6873660 w 8079933"/>
              <a:gd name="connsiteY10311" fmla="*/ 2688791 h 4687251"/>
              <a:gd name="connsiteX10312" fmla="*/ 6873009 w 8079933"/>
              <a:gd name="connsiteY10312" fmla="*/ 2691282 h 4687251"/>
              <a:gd name="connsiteX10313" fmla="*/ 6878001 w 8079933"/>
              <a:gd name="connsiteY10313" fmla="*/ 2700052 h 4687251"/>
              <a:gd name="connsiteX10314" fmla="*/ 6879521 w 8079933"/>
              <a:gd name="connsiteY10314" fmla="*/ 2707956 h 4687251"/>
              <a:gd name="connsiteX10315" fmla="*/ 6877675 w 8079933"/>
              <a:gd name="connsiteY10315" fmla="*/ 2708280 h 4687251"/>
              <a:gd name="connsiteX10316" fmla="*/ 6873009 w 8079933"/>
              <a:gd name="connsiteY10316" fmla="*/ 2700376 h 4687251"/>
              <a:gd name="connsiteX10317" fmla="*/ 6867692 w 8079933"/>
              <a:gd name="connsiteY10317" fmla="*/ 2696587 h 4687251"/>
              <a:gd name="connsiteX10318" fmla="*/ 6865738 w 8079933"/>
              <a:gd name="connsiteY10318" fmla="*/ 2692906 h 4687251"/>
              <a:gd name="connsiteX10319" fmla="*/ 6855972 w 8079933"/>
              <a:gd name="connsiteY10319" fmla="*/ 2689009 h 4687251"/>
              <a:gd name="connsiteX10320" fmla="*/ 6850438 w 8079933"/>
              <a:gd name="connsiteY10320" fmla="*/ 2689550 h 4687251"/>
              <a:gd name="connsiteX10321" fmla="*/ 6848376 w 8079933"/>
              <a:gd name="connsiteY10321" fmla="*/ 2692581 h 4687251"/>
              <a:gd name="connsiteX10322" fmla="*/ 6849353 w 8079933"/>
              <a:gd name="connsiteY10322" fmla="*/ 2695938 h 4687251"/>
              <a:gd name="connsiteX10323" fmla="*/ 6844904 w 8079933"/>
              <a:gd name="connsiteY10323" fmla="*/ 2698644 h 4687251"/>
              <a:gd name="connsiteX10324" fmla="*/ 6839369 w 8079933"/>
              <a:gd name="connsiteY10324" fmla="*/ 2693123 h 4687251"/>
              <a:gd name="connsiteX10325" fmla="*/ 6836114 w 8079933"/>
              <a:gd name="connsiteY10325" fmla="*/ 2696046 h 4687251"/>
              <a:gd name="connsiteX10326" fmla="*/ 6832315 w 8079933"/>
              <a:gd name="connsiteY10326" fmla="*/ 2696912 h 4687251"/>
              <a:gd name="connsiteX10327" fmla="*/ 6834594 w 8079933"/>
              <a:gd name="connsiteY10327" fmla="*/ 2692906 h 4687251"/>
              <a:gd name="connsiteX10328" fmla="*/ 6832641 w 8079933"/>
              <a:gd name="connsiteY10328" fmla="*/ 2688791 h 4687251"/>
              <a:gd name="connsiteX10329" fmla="*/ 6829928 w 8079933"/>
              <a:gd name="connsiteY10329" fmla="*/ 2689874 h 4687251"/>
              <a:gd name="connsiteX10330" fmla="*/ 6828518 w 8079933"/>
              <a:gd name="connsiteY10330" fmla="*/ 2694638 h 4687251"/>
              <a:gd name="connsiteX10331" fmla="*/ 6825479 w 8079933"/>
              <a:gd name="connsiteY10331" fmla="*/ 2689333 h 4687251"/>
              <a:gd name="connsiteX10332" fmla="*/ 6825913 w 8079933"/>
              <a:gd name="connsiteY10332" fmla="*/ 2683703 h 4687251"/>
              <a:gd name="connsiteX10333" fmla="*/ 6825479 w 8079933"/>
              <a:gd name="connsiteY10333" fmla="*/ 2680888 h 4687251"/>
              <a:gd name="connsiteX10334" fmla="*/ 6827975 w 8079933"/>
              <a:gd name="connsiteY10334" fmla="*/ 2677856 h 4687251"/>
              <a:gd name="connsiteX10335" fmla="*/ 6833184 w 8079933"/>
              <a:gd name="connsiteY10335" fmla="*/ 2671144 h 4687251"/>
              <a:gd name="connsiteX10336" fmla="*/ 6829060 w 8079933"/>
              <a:gd name="connsiteY10336" fmla="*/ 2668004 h 4687251"/>
              <a:gd name="connsiteX10337" fmla="*/ 6823852 w 8079933"/>
              <a:gd name="connsiteY10337" fmla="*/ 2667571 h 4687251"/>
              <a:gd name="connsiteX10338" fmla="*/ 6823743 w 8079933"/>
              <a:gd name="connsiteY10338" fmla="*/ 2670385 h 4687251"/>
              <a:gd name="connsiteX10339" fmla="*/ 6826239 w 8079933"/>
              <a:gd name="connsiteY10339" fmla="*/ 2673201 h 4687251"/>
              <a:gd name="connsiteX10340" fmla="*/ 6823526 w 8079933"/>
              <a:gd name="connsiteY10340" fmla="*/ 2676774 h 4687251"/>
              <a:gd name="connsiteX10341" fmla="*/ 6820379 w 8079933"/>
              <a:gd name="connsiteY10341" fmla="*/ 2676666 h 4687251"/>
              <a:gd name="connsiteX10342" fmla="*/ 6815821 w 8079933"/>
              <a:gd name="connsiteY10342" fmla="*/ 2670603 h 4687251"/>
              <a:gd name="connsiteX10343" fmla="*/ 6815604 w 8079933"/>
              <a:gd name="connsiteY10343" fmla="*/ 2665838 h 4687251"/>
              <a:gd name="connsiteX10344" fmla="*/ 6813759 w 8079933"/>
              <a:gd name="connsiteY10344" fmla="*/ 2665081 h 4687251"/>
              <a:gd name="connsiteX10345" fmla="*/ 6812023 w 8079933"/>
              <a:gd name="connsiteY10345" fmla="*/ 2666488 h 4687251"/>
              <a:gd name="connsiteX10346" fmla="*/ 6809852 w 8079933"/>
              <a:gd name="connsiteY10346" fmla="*/ 2664972 h 4687251"/>
              <a:gd name="connsiteX10347" fmla="*/ 6809745 w 8079933"/>
              <a:gd name="connsiteY10347" fmla="*/ 2656310 h 4687251"/>
              <a:gd name="connsiteX10348" fmla="*/ 6806163 w 8079933"/>
              <a:gd name="connsiteY10348" fmla="*/ 2649814 h 4687251"/>
              <a:gd name="connsiteX10349" fmla="*/ 6804427 w 8079933"/>
              <a:gd name="connsiteY10349" fmla="*/ 2642885 h 4687251"/>
              <a:gd name="connsiteX10350" fmla="*/ 6806163 w 8079933"/>
              <a:gd name="connsiteY10350" fmla="*/ 2639637 h 4687251"/>
              <a:gd name="connsiteX10351" fmla="*/ 6805295 w 8079933"/>
              <a:gd name="connsiteY10351" fmla="*/ 2637904 h 4687251"/>
              <a:gd name="connsiteX10352" fmla="*/ 6802473 w 8079933"/>
              <a:gd name="connsiteY10352" fmla="*/ 2637797 h 4687251"/>
              <a:gd name="connsiteX10353" fmla="*/ 6801280 w 8079933"/>
              <a:gd name="connsiteY10353" fmla="*/ 2632599 h 4687251"/>
              <a:gd name="connsiteX10354" fmla="*/ 6802040 w 8079933"/>
              <a:gd name="connsiteY10354" fmla="*/ 2626753 h 4687251"/>
              <a:gd name="connsiteX10355" fmla="*/ 6805295 w 8079933"/>
              <a:gd name="connsiteY10355" fmla="*/ 2630759 h 4687251"/>
              <a:gd name="connsiteX10356" fmla="*/ 6809419 w 8079933"/>
              <a:gd name="connsiteY10356" fmla="*/ 2631408 h 4687251"/>
              <a:gd name="connsiteX10357" fmla="*/ 6812891 w 8079933"/>
              <a:gd name="connsiteY10357" fmla="*/ 2629568 h 4687251"/>
              <a:gd name="connsiteX10358" fmla="*/ 6812891 w 8079933"/>
              <a:gd name="connsiteY10358" fmla="*/ 2626428 h 4687251"/>
              <a:gd name="connsiteX10359" fmla="*/ 6809093 w 8079933"/>
              <a:gd name="connsiteY10359" fmla="*/ 2618524 h 4687251"/>
              <a:gd name="connsiteX10360" fmla="*/ 6811264 w 8079933"/>
              <a:gd name="connsiteY10360" fmla="*/ 2612894 h 4687251"/>
              <a:gd name="connsiteX10361" fmla="*/ 6814085 w 8079933"/>
              <a:gd name="connsiteY10361" fmla="*/ 2600984 h 4687251"/>
              <a:gd name="connsiteX10362" fmla="*/ 6813868 w 8079933"/>
              <a:gd name="connsiteY10362" fmla="*/ 2591240 h 4687251"/>
              <a:gd name="connsiteX10363" fmla="*/ 6812458 w 8079933"/>
              <a:gd name="connsiteY10363" fmla="*/ 2585285 h 4687251"/>
              <a:gd name="connsiteX10364" fmla="*/ 6817340 w 8079933"/>
              <a:gd name="connsiteY10364" fmla="*/ 2575757 h 4687251"/>
              <a:gd name="connsiteX10365" fmla="*/ 6818209 w 8079933"/>
              <a:gd name="connsiteY10365" fmla="*/ 2570344 h 4687251"/>
              <a:gd name="connsiteX10366" fmla="*/ 4046477 w 8079933"/>
              <a:gd name="connsiteY10366" fmla="*/ 2567744 h 4687251"/>
              <a:gd name="connsiteX10367" fmla="*/ 4046476 w 8079933"/>
              <a:gd name="connsiteY10367" fmla="*/ 2567745 h 4687251"/>
              <a:gd name="connsiteX10368" fmla="*/ 4046584 w 8079933"/>
              <a:gd name="connsiteY10368" fmla="*/ 2567853 h 4687251"/>
              <a:gd name="connsiteX10369" fmla="*/ 4045390 w 8079933"/>
              <a:gd name="connsiteY10369" fmla="*/ 2613976 h 4687251"/>
              <a:gd name="connsiteX10370" fmla="*/ 4043763 w 8079933"/>
              <a:gd name="connsiteY10370" fmla="*/ 2635414 h 4687251"/>
              <a:gd name="connsiteX10371" fmla="*/ 4043764 w 8079933"/>
              <a:gd name="connsiteY10371" fmla="*/ 2635413 h 4687251"/>
              <a:gd name="connsiteX10372" fmla="*/ 4045391 w 8079933"/>
              <a:gd name="connsiteY10372" fmla="*/ 2613976 h 4687251"/>
              <a:gd name="connsiteX10373" fmla="*/ 4046585 w 8079933"/>
              <a:gd name="connsiteY10373" fmla="*/ 2567853 h 4687251"/>
              <a:gd name="connsiteX10374" fmla="*/ 4046586 w 8079933"/>
              <a:gd name="connsiteY10374" fmla="*/ 2567853 h 4687251"/>
              <a:gd name="connsiteX10375" fmla="*/ 6420931 w 8079933"/>
              <a:gd name="connsiteY10375" fmla="*/ 2563522 h 4687251"/>
              <a:gd name="connsiteX10376" fmla="*/ 6420931 w 8079933"/>
              <a:gd name="connsiteY10376" fmla="*/ 2563522 h 4687251"/>
              <a:gd name="connsiteX10377" fmla="*/ 6424728 w 8079933"/>
              <a:gd name="connsiteY10377" fmla="*/ 2563522 h 4687251"/>
              <a:gd name="connsiteX10378" fmla="*/ 6424728 w 8079933"/>
              <a:gd name="connsiteY10378" fmla="*/ 2563522 h 4687251"/>
              <a:gd name="connsiteX10379" fmla="*/ 6830797 w 8079933"/>
              <a:gd name="connsiteY10379" fmla="*/ 2560924 h 4687251"/>
              <a:gd name="connsiteX10380" fmla="*/ 6836766 w 8079933"/>
              <a:gd name="connsiteY10380" fmla="*/ 2560924 h 4687251"/>
              <a:gd name="connsiteX10381" fmla="*/ 6832967 w 8079933"/>
              <a:gd name="connsiteY10381" fmla="*/ 2562981 h 4687251"/>
              <a:gd name="connsiteX10382" fmla="*/ 2028935 w 8079933"/>
              <a:gd name="connsiteY10382" fmla="*/ 2560599 h 4687251"/>
              <a:gd name="connsiteX10383" fmla="*/ 2027308 w 8079933"/>
              <a:gd name="connsiteY10383" fmla="*/ 2563955 h 4687251"/>
              <a:gd name="connsiteX10384" fmla="*/ 2022533 w 8079933"/>
              <a:gd name="connsiteY10384" fmla="*/ 2564713 h 4687251"/>
              <a:gd name="connsiteX10385" fmla="*/ 2024052 w 8079933"/>
              <a:gd name="connsiteY10385" fmla="*/ 2560707 h 4687251"/>
              <a:gd name="connsiteX10386" fmla="*/ 4083047 w 8079933"/>
              <a:gd name="connsiteY10386" fmla="*/ 2559083 h 4687251"/>
              <a:gd name="connsiteX10387" fmla="*/ 4053361 w 8079933"/>
              <a:gd name="connsiteY10387" fmla="*/ 2566223 h 4687251"/>
              <a:gd name="connsiteX10388" fmla="*/ 4083047 w 8079933"/>
              <a:gd name="connsiteY10388" fmla="*/ 2559083 h 4687251"/>
              <a:gd name="connsiteX10389" fmla="*/ 6848158 w 8079933"/>
              <a:gd name="connsiteY10389" fmla="*/ 2555943 h 4687251"/>
              <a:gd name="connsiteX10390" fmla="*/ 6849787 w 8079933"/>
              <a:gd name="connsiteY10390" fmla="*/ 2558325 h 4687251"/>
              <a:gd name="connsiteX10391" fmla="*/ 6847942 w 8079933"/>
              <a:gd name="connsiteY10391" fmla="*/ 2561790 h 4687251"/>
              <a:gd name="connsiteX10392" fmla="*/ 6845229 w 8079933"/>
              <a:gd name="connsiteY10392" fmla="*/ 2559516 h 4687251"/>
              <a:gd name="connsiteX10393" fmla="*/ 6848158 w 8079933"/>
              <a:gd name="connsiteY10393" fmla="*/ 2555943 h 4687251"/>
              <a:gd name="connsiteX10394" fmla="*/ 6848159 w 8079933"/>
              <a:gd name="connsiteY10394" fmla="*/ 2555943 h 4687251"/>
              <a:gd name="connsiteX10395" fmla="*/ 6848158 w 8079933"/>
              <a:gd name="connsiteY10395" fmla="*/ 2555943 h 4687251"/>
              <a:gd name="connsiteX10396" fmla="*/ 5225318 w 8079933"/>
              <a:gd name="connsiteY10396" fmla="*/ 2550811 h 4687251"/>
              <a:gd name="connsiteX10397" fmla="*/ 5177871 w 8079933"/>
              <a:gd name="connsiteY10397" fmla="*/ 2564929 h 4687251"/>
              <a:gd name="connsiteX10398" fmla="*/ 5150212 w 8079933"/>
              <a:gd name="connsiteY10398" fmla="*/ 2573178 h 4687251"/>
              <a:gd name="connsiteX10399" fmla="*/ 5177872 w 8079933"/>
              <a:gd name="connsiteY10399" fmla="*/ 2564929 h 4687251"/>
              <a:gd name="connsiteX10400" fmla="*/ 6827649 w 8079933"/>
              <a:gd name="connsiteY10400" fmla="*/ 2550638 h 4687251"/>
              <a:gd name="connsiteX10401" fmla="*/ 6830905 w 8079933"/>
              <a:gd name="connsiteY10401" fmla="*/ 2553777 h 4687251"/>
              <a:gd name="connsiteX10402" fmla="*/ 6826456 w 8079933"/>
              <a:gd name="connsiteY10402" fmla="*/ 2554536 h 4687251"/>
              <a:gd name="connsiteX10403" fmla="*/ 6342365 w 8079933"/>
              <a:gd name="connsiteY10403" fmla="*/ 2547931 h 4687251"/>
              <a:gd name="connsiteX10404" fmla="*/ 6351153 w 8079933"/>
              <a:gd name="connsiteY10404" fmla="*/ 2548148 h 4687251"/>
              <a:gd name="connsiteX10405" fmla="*/ 6351370 w 8079933"/>
              <a:gd name="connsiteY10405" fmla="*/ 2552262 h 4687251"/>
              <a:gd name="connsiteX10406" fmla="*/ 6348549 w 8079933"/>
              <a:gd name="connsiteY10406" fmla="*/ 2557676 h 4687251"/>
              <a:gd name="connsiteX10407" fmla="*/ 6351370 w 8079933"/>
              <a:gd name="connsiteY10407" fmla="*/ 2562331 h 4687251"/>
              <a:gd name="connsiteX10408" fmla="*/ 6351153 w 8079933"/>
              <a:gd name="connsiteY10408" fmla="*/ 2566121 h 4687251"/>
              <a:gd name="connsiteX10409" fmla="*/ 6348441 w 8079933"/>
              <a:gd name="connsiteY10409" fmla="*/ 2569802 h 4687251"/>
              <a:gd name="connsiteX10410" fmla="*/ 6350503 w 8079933"/>
              <a:gd name="connsiteY10410" fmla="*/ 2575649 h 4687251"/>
              <a:gd name="connsiteX10411" fmla="*/ 6350503 w 8079933"/>
              <a:gd name="connsiteY10411" fmla="*/ 2583877 h 4687251"/>
              <a:gd name="connsiteX10412" fmla="*/ 6350936 w 8079933"/>
              <a:gd name="connsiteY10412" fmla="*/ 2596328 h 4687251"/>
              <a:gd name="connsiteX10413" fmla="*/ 6350937 w 8079933"/>
              <a:gd name="connsiteY10413" fmla="*/ 2596328 h 4687251"/>
              <a:gd name="connsiteX10414" fmla="*/ 6350504 w 8079933"/>
              <a:gd name="connsiteY10414" fmla="*/ 2583877 h 4687251"/>
              <a:gd name="connsiteX10415" fmla="*/ 6350504 w 8079933"/>
              <a:gd name="connsiteY10415" fmla="*/ 2575648 h 4687251"/>
              <a:gd name="connsiteX10416" fmla="*/ 6348442 w 8079933"/>
              <a:gd name="connsiteY10416" fmla="*/ 2569802 h 4687251"/>
              <a:gd name="connsiteX10417" fmla="*/ 6351154 w 8079933"/>
              <a:gd name="connsiteY10417" fmla="*/ 2566121 h 4687251"/>
              <a:gd name="connsiteX10418" fmla="*/ 6351371 w 8079933"/>
              <a:gd name="connsiteY10418" fmla="*/ 2562331 h 4687251"/>
              <a:gd name="connsiteX10419" fmla="*/ 6348550 w 8079933"/>
              <a:gd name="connsiteY10419" fmla="*/ 2557676 h 4687251"/>
              <a:gd name="connsiteX10420" fmla="*/ 6351371 w 8079933"/>
              <a:gd name="connsiteY10420" fmla="*/ 2552262 h 4687251"/>
              <a:gd name="connsiteX10421" fmla="*/ 6351154 w 8079933"/>
              <a:gd name="connsiteY10421" fmla="*/ 2548148 h 4687251"/>
              <a:gd name="connsiteX10422" fmla="*/ 2272230 w 8079933"/>
              <a:gd name="connsiteY10422" fmla="*/ 2545982 h 4687251"/>
              <a:gd name="connsiteX10423" fmla="*/ 2292197 w 8079933"/>
              <a:gd name="connsiteY10423" fmla="*/ 2550313 h 4687251"/>
              <a:gd name="connsiteX10424" fmla="*/ 2295235 w 8079933"/>
              <a:gd name="connsiteY10424" fmla="*/ 2552478 h 4687251"/>
              <a:gd name="connsiteX10425" fmla="*/ 2297406 w 8079933"/>
              <a:gd name="connsiteY10425" fmla="*/ 2551612 h 4687251"/>
              <a:gd name="connsiteX10426" fmla="*/ 2301638 w 8079933"/>
              <a:gd name="connsiteY10426" fmla="*/ 2551612 h 4687251"/>
              <a:gd name="connsiteX10427" fmla="*/ 2305436 w 8079933"/>
              <a:gd name="connsiteY10427" fmla="*/ 2558975 h 4687251"/>
              <a:gd name="connsiteX10428" fmla="*/ 2313140 w 8079933"/>
              <a:gd name="connsiteY10428" fmla="*/ 2560598 h 4687251"/>
              <a:gd name="connsiteX10429" fmla="*/ 2315962 w 8079933"/>
              <a:gd name="connsiteY10429" fmla="*/ 2560057 h 4687251"/>
              <a:gd name="connsiteX10430" fmla="*/ 2319109 w 8079933"/>
              <a:gd name="connsiteY10430" fmla="*/ 2562439 h 4687251"/>
              <a:gd name="connsiteX10431" fmla="*/ 2314877 w 8079933"/>
              <a:gd name="connsiteY10431" fmla="*/ 2563955 h 4687251"/>
              <a:gd name="connsiteX10432" fmla="*/ 2304567 w 8079933"/>
              <a:gd name="connsiteY10432" fmla="*/ 2562980 h 4687251"/>
              <a:gd name="connsiteX10433" fmla="*/ 2297840 w 8079933"/>
              <a:gd name="connsiteY10433" fmla="*/ 2561031 h 4687251"/>
              <a:gd name="connsiteX10434" fmla="*/ 2294584 w 8079933"/>
              <a:gd name="connsiteY10434" fmla="*/ 2562331 h 4687251"/>
              <a:gd name="connsiteX10435" fmla="*/ 2299251 w 8079933"/>
              <a:gd name="connsiteY10435" fmla="*/ 2562331 h 4687251"/>
              <a:gd name="connsiteX10436" fmla="*/ 2305979 w 8079933"/>
              <a:gd name="connsiteY10436" fmla="*/ 2566229 h 4687251"/>
              <a:gd name="connsiteX10437" fmla="*/ 2312381 w 8079933"/>
              <a:gd name="connsiteY10437" fmla="*/ 2569369 h 4687251"/>
              <a:gd name="connsiteX10438" fmla="*/ 2316288 w 8079933"/>
              <a:gd name="connsiteY10438" fmla="*/ 2569152 h 4687251"/>
              <a:gd name="connsiteX10439" fmla="*/ 2322148 w 8079933"/>
              <a:gd name="connsiteY10439" fmla="*/ 2571101 h 4687251"/>
              <a:gd name="connsiteX10440" fmla="*/ 2325729 w 8079933"/>
              <a:gd name="connsiteY10440" fmla="*/ 2571101 h 4687251"/>
              <a:gd name="connsiteX10441" fmla="*/ 2335386 w 8079933"/>
              <a:gd name="connsiteY10441" fmla="*/ 2576623 h 4687251"/>
              <a:gd name="connsiteX10442" fmla="*/ 2337448 w 8079933"/>
              <a:gd name="connsiteY10442" fmla="*/ 2579979 h 4687251"/>
              <a:gd name="connsiteX10443" fmla="*/ 2335278 w 8079933"/>
              <a:gd name="connsiteY10443" fmla="*/ 2583769 h 4687251"/>
              <a:gd name="connsiteX10444" fmla="*/ 2332348 w 8079933"/>
              <a:gd name="connsiteY10444" fmla="*/ 2583769 h 4687251"/>
              <a:gd name="connsiteX10445" fmla="*/ 2330937 w 8079933"/>
              <a:gd name="connsiteY10445" fmla="*/ 2587559 h 4687251"/>
              <a:gd name="connsiteX10446" fmla="*/ 2324209 w 8079933"/>
              <a:gd name="connsiteY10446" fmla="*/ 2585826 h 4687251"/>
              <a:gd name="connsiteX10447" fmla="*/ 2318675 w 8079933"/>
              <a:gd name="connsiteY10447" fmla="*/ 2585501 h 4687251"/>
              <a:gd name="connsiteX10448" fmla="*/ 2315203 w 8079933"/>
              <a:gd name="connsiteY10448" fmla="*/ 2582686 h 4687251"/>
              <a:gd name="connsiteX10449" fmla="*/ 2310645 w 8079933"/>
              <a:gd name="connsiteY10449" fmla="*/ 2584527 h 4687251"/>
              <a:gd name="connsiteX10450" fmla="*/ 2303157 w 8079933"/>
              <a:gd name="connsiteY10450" fmla="*/ 2583444 h 4687251"/>
              <a:gd name="connsiteX10451" fmla="*/ 2296320 w 8079933"/>
              <a:gd name="connsiteY10451" fmla="*/ 2584635 h 4687251"/>
              <a:gd name="connsiteX10452" fmla="*/ 2289918 w 8079933"/>
              <a:gd name="connsiteY10452" fmla="*/ 2590482 h 4687251"/>
              <a:gd name="connsiteX10453" fmla="*/ 2283624 w 8079933"/>
              <a:gd name="connsiteY10453" fmla="*/ 2592214 h 4687251"/>
              <a:gd name="connsiteX10454" fmla="*/ 2280803 w 8079933"/>
              <a:gd name="connsiteY10454" fmla="*/ 2590482 h 4687251"/>
              <a:gd name="connsiteX10455" fmla="*/ 2280477 w 8079933"/>
              <a:gd name="connsiteY10455" fmla="*/ 2585826 h 4687251"/>
              <a:gd name="connsiteX10456" fmla="*/ 2277005 w 8079933"/>
              <a:gd name="connsiteY10456" fmla="*/ 2583769 h 4687251"/>
              <a:gd name="connsiteX10457" fmla="*/ 2274075 w 8079933"/>
              <a:gd name="connsiteY10457" fmla="*/ 2589615 h 4687251"/>
              <a:gd name="connsiteX10458" fmla="*/ 2270819 w 8079933"/>
              <a:gd name="connsiteY10458" fmla="*/ 2589290 h 4687251"/>
              <a:gd name="connsiteX10459" fmla="*/ 2267997 w 8079933"/>
              <a:gd name="connsiteY10459" fmla="*/ 2586692 h 4687251"/>
              <a:gd name="connsiteX10460" fmla="*/ 2265936 w 8079933"/>
              <a:gd name="connsiteY10460" fmla="*/ 2590157 h 4687251"/>
              <a:gd name="connsiteX10461" fmla="*/ 2266696 w 8079933"/>
              <a:gd name="connsiteY10461" fmla="*/ 2592539 h 4687251"/>
              <a:gd name="connsiteX10462" fmla="*/ 2260835 w 8079933"/>
              <a:gd name="connsiteY10462" fmla="*/ 2600226 h 4687251"/>
              <a:gd name="connsiteX10463" fmla="*/ 2257905 w 8079933"/>
              <a:gd name="connsiteY10463" fmla="*/ 2607372 h 4687251"/>
              <a:gd name="connsiteX10464" fmla="*/ 2254758 w 8079933"/>
              <a:gd name="connsiteY10464" fmla="*/ 2605748 h 4687251"/>
              <a:gd name="connsiteX10465" fmla="*/ 2253565 w 8079933"/>
              <a:gd name="connsiteY10465" fmla="*/ 2603366 h 4687251"/>
              <a:gd name="connsiteX10466" fmla="*/ 2249224 w 8079933"/>
              <a:gd name="connsiteY10466" fmla="*/ 2601633 h 4687251"/>
              <a:gd name="connsiteX10467" fmla="*/ 2250852 w 8079933"/>
              <a:gd name="connsiteY10467" fmla="*/ 2597735 h 4687251"/>
              <a:gd name="connsiteX10468" fmla="*/ 2248247 w 8079933"/>
              <a:gd name="connsiteY10468" fmla="*/ 2592431 h 4687251"/>
              <a:gd name="connsiteX10469" fmla="*/ 2245643 w 8079933"/>
              <a:gd name="connsiteY10469" fmla="*/ 2592214 h 4687251"/>
              <a:gd name="connsiteX10470" fmla="*/ 2245209 w 8079933"/>
              <a:gd name="connsiteY10470" fmla="*/ 2589507 h 4687251"/>
              <a:gd name="connsiteX10471" fmla="*/ 2250849 w 8079933"/>
              <a:gd name="connsiteY10471" fmla="*/ 2583555 h 4687251"/>
              <a:gd name="connsiteX10472" fmla="*/ 2245101 w 8079933"/>
              <a:gd name="connsiteY10472" fmla="*/ 2588857 h 4687251"/>
              <a:gd name="connsiteX10473" fmla="*/ 2245101 w 8079933"/>
              <a:gd name="connsiteY10473" fmla="*/ 2591564 h 4687251"/>
              <a:gd name="connsiteX10474" fmla="*/ 2241520 w 8079933"/>
              <a:gd name="connsiteY10474" fmla="*/ 2591564 h 4687251"/>
              <a:gd name="connsiteX10475" fmla="*/ 2237613 w 8079933"/>
              <a:gd name="connsiteY10475" fmla="*/ 2589615 h 4687251"/>
              <a:gd name="connsiteX10476" fmla="*/ 2235226 w 8079933"/>
              <a:gd name="connsiteY10476" fmla="*/ 2591131 h 4687251"/>
              <a:gd name="connsiteX10477" fmla="*/ 2222096 w 8079933"/>
              <a:gd name="connsiteY10477" fmla="*/ 2591131 h 4687251"/>
              <a:gd name="connsiteX10478" fmla="*/ 2217646 w 8079933"/>
              <a:gd name="connsiteY10478" fmla="*/ 2588748 h 4687251"/>
              <a:gd name="connsiteX10479" fmla="*/ 2206794 w 8079933"/>
              <a:gd name="connsiteY10479" fmla="*/ 2588748 h 4687251"/>
              <a:gd name="connsiteX10480" fmla="*/ 2204190 w 8079933"/>
              <a:gd name="connsiteY10480" fmla="*/ 2590806 h 4687251"/>
              <a:gd name="connsiteX10481" fmla="*/ 2204190 w 8079933"/>
              <a:gd name="connsiteY10481" fmla="*/ 2594921 h 4687251"/>
              <a:gd name="connsiteX10482" fmla="*/ 2201586 w 8079933"/>
              <a:gd name="connsiteY10482" fmla="*/ 2594054 h 4687251"/>
              <a:gd name="connsiteX10483" fmla="*/ 2195726 w 8079933"/>
              <a:gd name="connsiteY10483" fmla="*/ 2587341 h 4687251"/>
              <a:gd name="connsiteX10484" fmla="*/ 2190083 w 8079933"/>
              <a:gd name="connsiteY10484" fmla="*/ 2586584 h 4687251"/>
              <a:gd name="connsiteX10485" fmla="*/ 2188347 w 8079933"/>
              <a:gd name="connsiteY10485" fmla="*/ 2582577 h 4687251"/>
              <a:gd name="connsiteX10486" fmla="*/ 2190300 w 8079933"/>
              <a:gd name="connsiteY10486" fmla="*/ 2579654 h 4687251"/>
              <a:gd name="connsiteX10487" fmla="*/ 2195292 w 8079933"/>
              <a:gd name="connsiteY10487" fmla="*/ 2577056 h 4687251"/>
              <a:gd name="connsiteX10488" fmla="*/ 2199307 w 8079933"/>
              <a:gd name="connsiteY10488" fmla="*/ 2580845 h 4687251"/>
              <a:gd name="connsiteX10489" fmla="*/ 2206686 w 8079933"/>
              <a:gd name="connsiteY10489" fmla="*/ 2579005 h 4687251"/>
              <a:gd name="connsiteX10490" fmla="*/ 2208748 w 8079933"/>
              <a:gd name="connsiteY10490" fmla="*/ 2579871 h 4687251"/>
              <a:gd name="connsiteX10491" fmla="*/ 2208748 w 8079933"/>
              <a:gd name="connsiteY10491" fmla="*/ 2582252 h 4687251"/>
              <a:gd name="connsiteX10492" fmla="*/ 2214608 w 8079933"/>
              <a:gd name="connsiteY10492" fmla="*/ 2579871 h 4687251"/>
              <a:gd name="connsiteX10493" fmla="*/ 2219600 w 8079933"/>
              <a:gd name="connsiteY10493" fmla="*/ 2581928 h 4687251"/>
              <a:gd name="connsiteX10494" fmla="*/ 2225243 w 8079933"/>
              <a:gd name="connsiteY10494" fmla="*/ 2581928 h 4687251"/>
              <a:gd name="connsiteX10495" fmla="*/ 2229366 w 8079933"/>
              <a:gd name="connsiteY10495" fmla="*/ 2583119 h 4687251"/>
              <a:gd name="connsiteX10496" fmla="*/ 2231211 w 8079933"/>
              <a:gd name="connsiteY10496" fmla="*/ 2581711 h 4687251"/>
              <a:gd name="connsiteX10497" fmla="*/ 2240978 w 8079933"/>
              <a:gd name="connsiteY10497" fmla="*/ 2581711 h 4687251"/>
              <a:gd name="connsiteX10498" fmla="*/ 2242171 w 8079933"/>
              <a:gd name="connsiteY10498" fmla="*/ 2578788 h 4687251"/>
              <a:gd name="connsiteX10499" fmla="*/ 2236962 w 8079933"/>
              <a:gd name="connsiteY10499" fmla="*/ 2574132 h 4687251"/>
              <a:gd name="connsiteX10500" fmla="*/ 2232513 w 8079933"/>
              <a:gd name="connsiteY10500" fmla="*/ 2572942 h 4687251"/>
              <a:gd name="connsiteX10501" fmla="*/ 2230234 w 8079933"/>
              <a:gd name="connsiteY10501" fmla="*/ 2568827 h 4687251"/>
              <a:gd name="connsiteX10502" fmla="*/ 2231970 w 8079933"/>
              <a:gd name="connsiteY10502" fmla="*/ 2562872 h 4687251"/>
              <a:gd name="connsiteX10503" fmla="*/ 2230234 w 8079933"/>
              <a:gd name="connsiteY10503" fmla="*/ 2559083 h 4687251"/>
              <a:gd name="connsiteX10504" fmla="*/ 2231645 w 8079933"/>
              <a:gd name="connsiteY10504" fmla="*/ 2556701 h 4687251"/>
              <a:gd name="connsiteX10505" fmla="*/ 2218948 w 8079933"/>
              <a:gd name="connsiteY10505" fmla="*/ 2552370 h 4687251"/>
              <a:gd name="connsiteX10506" fmla="*/ 2214065 w 8079933"/>
              <a:gd name="connsiteY10506" fmla="*/ 2549555 h 4687251"/>
              <a:gd name="connsiteX10507" fmla="*/ 2215476 w 8079933"/>
              <a:gd name="connsiteY10507" fmla="*/ 2546957 h 4687251"/>
              <a:gd name="connsiteX10508" fmla="*/ 2224483 w 8079933"/>
              <a:gd name="connsiteY10508" fmla="*/ 2546957 h 4687251"/>
              <a:gd name="connsiteX10509" fmla="*/ 2228607 w 8079933"/>
              <a:gd name="connsiteY10509" fmla="*/ 2548364 h 4687251"/>
              <a:gd name="connsiteX10510" fmla="*/ 2231537 w 8079933"/>
              <a:gd name="connsiteY10510" fmla="*/ 2546632 h 4687251"/>
              <a:gd name="connsiteX10511" fmla="*/ 2241737 w 8079933"/>
              <a:gd name="connsiteY10511" fmla="*/ 2547822 h 4687251"/>
              <a:gd name="connsiteX10512" fmla="*/ 2245861 w 8079933"/>
              <a:gd name="connsiteY10512" fmla="*/ 2551937 h 4687251"/>
              <a:gd name="connsiteX10513" fmla="*/ 2249984 w 8079933"/>
              <a:gd name="connsiteY10513" fmla="*/ 2551071 h 4687251"/>
              <a:gd name="connsiteX10514" fmla="*/ 2254325 w 8079933"/>
              <a:gd name="connsiteY10514" fmla="*/ 2552153 h 4687251"/>
              <a:gd name="connsiteX10515" fmla="*/ 2254976 w 8079933"/>
              <a:gd name="connsiteY10515" fmla="*/ 2554536 h 4687251"/>
              <a:gd name="connsiteX10516" fmla="*/ 2252588 w 8079933"/>
              <a:gd name="connsiteY10516" fmla="*/ 2558975 h 4687251"/>
              <a:gd name="connsiteX10517" fmla="*/ 2254542 w 8079933"/>
              <a:gd name="connsiteY10517" fmla="*/ 2562764 h 4687251"/>
              <a:gd name="connsiteX10518" fmla="*/ 2253023 w 8079933"/>
              <a:gd name="connsiteY10518" fmla="*/ 2567961 h 4687251"/>
              <a:gd name="connsiteX10519" fmla="*/ 2249225 w 8079933"/>
              <a:gd name="connsiteY10519" fmla="*/ 2569801 h 4687251"/>
              <a:gd name="connsiteX10520" fmla="*/ 2248574 w 8079933"/>
              <a:gd name="connsiteY10520" fmla="*/ 2571642 h 4687251"/>
              <a:gd name="connsiteX10521" fmla="*/ 2250852 w 8079933"/>
              <a:gd name="connsiteY10521" fmla="*/ 2576623 h 4687251"/>
              <a:gd name="connsiteX10522" fmla="*/ 2250852 w 8079933"/>
              <a:gd name="connsiteY10522" fmla="*/ 2580628 h 4687251"/>
              <a:gd name="connsiteX10523" fmla="*/ 2250852 w 8079933"/>
              <a:gd name="connsiteY10523" fmla="*/ 2583549 h 4687251"/>
              <a:gd name="connsiteX10524" fmla="*/ 2251286 w 8079933"/>
              <a:gd name="connsiteY10524" fmla="*/ 2580521 h 4687251"/>
              <a:gd name="connsiteX10525" fmla="*/ 2251394 w 8079933"/>
              <a:gd name="connsiteY10525" fmla="*/ 2576623 h 4687251"/>
              <a:gd name="connsiteX10526" fmla="*/ 2249224 w 8079933"/>
              <a:gd name="connsiteY10526" fmla="*/ 2571643 h 4687251"/>
              <a:gd name="connsiteX10527" fmla="*/ 2249875 w 8079933"/>
              <a:gd name="connsiteY10527" fmla="*/ 2569802 h 4687251"/>
              <a:gd name="connsiteX10528" fmla="*/ 2253673 w 8079933"/>
              <a:gd name="connsiteY10528" fmla="*/ 2567853 h 4687251"/>
              <a:gd name="connsiteX10529" fmla="*/ 2255192 w 8079933"/>
              <a:gd name="connsiteY10529" fmla="*/ 2562656 h 4687251"/>
              <a:gd name="connsiteX10530" fmla="*/ 2253347 w 8079933"/>
              <a:gd name="connsiteY10530" fmla="*/ 2558975 h 4687251"/>
              <a:gd name="connsiteX10531" fmla="*/ 2255735 w 8079933"/>
              <a:gd name="connsiteY10531" fmla="*/ 2554427 h 4687251"/>
              <a:gd name="connsiteX10532" fmla="*/ 2255084 w 8079933"/>
              <a:gd name="connsiteY10532" fmla="*/ 2552045 h 4687251"/>
              <a:gd name="connsiteX10533" fmla="*/ 2257580 w 8079933"/>
              <a:gd name="connsiteY10533" fmla="*/ 2547498 h 4687251"/>
              <a:gd name="connsiteX10534" fmla="*/ 2265501 w 8079933"/>
              <a:gd name="connsiteY10534" fmla="*/ 2546090 h 4687251"/>
              <a:gd name="connsiteX10535" fmla="*/ 2269950 w 8079933"/>
              <a:gd name="connsiteY10535" fmla="*/ 2547281 h 4687251"/>
              <a:gd name="connsiteX10536" fmla="*/ 6837851 w 8079933"/>
              <a:gd name="connsiteY10536" fmla="*/ 2544034 h 4687251"/>
              <a:gd name="connsiteX10537" fmla="*/ 6837091 w 8079933"/>
              <a:gd name="connsiteY10537" fmla="*/ 2549230 h 4687251"/>
              <a:gd name="connsiteX10538" fmla="*/ 6834162 w 8079933"/>
              <a:gd name="connsiteY10538" fmla="*/ 2546632 h 4687251"/>
              <a:gd name="connsiteX10539" fmla="*/ 4000249 w 8079933"/>
              <a:gd name="connsiteY10539" fmla="*/ 2541976 h 4687251"/>
              <a:gd name="connsiteX10540" fmla="*/ 3992076 w 8079933"/>
              <a:gd name="connsiteY10540" fmla="*/ 2542379 h 4687251"/>
              <a:gd name="connsiteX10541" fmla="*/ 4000247 w 8079933"/>
              <a:gd name="connsiteY10541" fmla="*/ 2541977 h 4687251"/>
              <a:gd name="connsiteX10542" fmla="*/ 4007084 w 8079933"/>
              <a:gd name="connsiteY10542" fmla="*/ 2544250 h 4687251"/>
              <a:gd name="connsiteX10543" fmla="*/ 4011425 w 8079933"/>
              <a:gd name="connsiteY10543" fmla="*/ 2549555 h 4687251"/>
              <a:gd name="connsiteX10544" fmla="*/ 4017176 w 8079933"/>
              <a:gd name="connsiteY10544" fmla="*/ 2551179 h 4687251"/>
              <a:gd name="connsiteX10545" fmla="*/ 4021733 w 8079933"/>
              <a:gd name="connsiteY10545" fmla="*/ 2555185 h 4687251"/>
              <a:gd name="connsiteX10546" fmla="*/ 4021517 w 8079933"/>
              <a:gd name="connsiteY10546" fmla="*/ 2558975 h 4687251"/>
              <a:gd name="connsiteX10547" fmla="*/ 4019238 w 8079933"/>
              <a:gd name="connsiteY10547" fmla="*/ 2566229 h 4687251"/>
              <a:gd name="connsiteX10548" fmla="*/ 4020865 w 8079933"/>
              <a:gd name="connsiteY10548" fmla="*/ 2569910 h 4687251"/>
              <a:gd name="connsiteX10549" fmla="*/ 4026617 w 8079933"/>
              <a:gd name="connsiteY10549" fmla="*/ 2571967 h 4687251"/>
              <a:gd name="connsiteX10550" fmla="*/ 4026618 w 8079933"/>
              <a:gd name="connsiteY10550" fmla="*/ 2571967 h 4687251"/>
              <a:gd name="connsiteX10551" fmla="*/ 4020867 w 8079933"/>
              <a:gd name="connsiteY10551" fmla="*/ 2569910 h 4687251"/>
              <a:gd name="connsiteX10552" fmla="*/ 4019239 w 8079933"/>
              <a:gd name="connsiteY10552" fmla="*/ 2566228 h 4687251"/>
              <a:gd name="connsiteX10553" fmla="*/ 4021518 w 8079933"/>
              <a:gd name="connsiteY10553" fmla="*/ 2558975 h 4687251"/>
              <a:gd name="connsiteX10554" fmla="*/ 4021735 w 8079933"/>
              <a:gd name="connsiteY10554" fmla="*/ 2555185 h 4687251"/>
              <a:gd name="connsiteX10555" fmla="*/ 4017177 w 8079933"/>
              <a:gd name="connsiteY10555" fmla="*/ 2551179 h 4687251"/>
              <a:gd name="connsiteX10556" fmla="*/ 4011426 w 8079933"/>
              <a:gd name="connsiteY10556" fmla="*/ 2549555 h 4687251"/>
              <a:gd name="connsiteX10557" fmla="*/ 4007085 w 8079933"/>
              <a:gd name="connsiteY10557" fmla="*/ 2544250 h 4687251"/>
              <a:gd name="connsiteX10558" fmla="*/ 2231319 w 8079933"/>
              <a:gd name="connsiteY10558" fmla="*/ 2539052 h 4687251"/>
              <a:gd name="connsiteX10559" fmla="*/ 2239675 w 8079933"/>
              <a:gd name="connsiteY10559" fmla="*/ 2543924 h 4687251"/>
              <a:gd name="connsiteX10560" fmla="*/ 2230668 w 8079933"/>
              <a:gd name="connsiteY10560" fmla="*/ 2544033 h 4687251"/>
              <a:gd name="connsiteX10561" fmla="*/ 2227087 w 8079933"/>
              <a:gd name="connsiteY10561" fmla="*/ 2541434 h 4687251"/>
              <a:gd name="connsiteX10562" fmla="*/ 6571985 w 8079933"/>
              <a:gd name="connsiteY10562" fmla="*/ 2529850 h 4687251"/>
              <a:gd name="connsiteX10563" fmla="*/ 6577193 w 8079933"/>
              <a:gd name="connsiteY10563" fmla="*/ 2531691 h 4687251"/>
              <a:gd name="connsiteX10564" fmla="*/ 6582185 w 8079933"/>
              <a:gd name="connsiteY10564" fmla="*/ 2534939 h 4687251"/>
              <a:gd name="connsiteX10565" fmla="*/ 6584247 w 8079933"/>
              <a:gd name="connsiteY10565" fmla="*/ 2541110 h 4687251"/>
              <a:gd name="connsiteX10566" fmla="*/ 6580666 w 8079933"/>
              <a:gd name="connsiteY10566" fmla="*/ 2546957 h 4687251"/>
              <a:gd name="connsiteX10567" fmla="*/ 6579689 w 8079933"/>
              <a:gd name="connsiteY10567" fmla="*/ 2550421 h 4687251"/>
              <a:gd name="connsiteX10568" fmla="*/ 6577302 w 8079933"/>
              <a:gd name="connsiteY10568" fmla="*/ 2552370 h 4687251"/>
              <a:gd name="connsiteX10569" fmla="*/ 6574915 w 8079933"/>
              <a:gd name="connsiteY10569" fmla="*/ 2559733 h 4687251"/>
              <a:gd name="connsiteX10570" fmla="*/ 6575782 w 8079933"/>
              <a:gd name="connsiteY10570" fmla="*/ 2563847 h 4687251"/>
              <a:gd name="connsiteX10571" fmla="*/ 6572309 w 8079933"/>
              <a:gd name="connsiteY10571" fmla="*/ 2567420 h 4687251"/>
              <a:gd name="connsiteX10572" fmla="*/ 6567861 w 8079933"/>
              <a:gd name="connsiteY10572" fmla="*/ 2568286 h 4687251"/>
              <a:gd name="connsiteX10573" fmla="*/ 6567861 w 8079933"/>
              <a:gd name="connsiteY10573" fmla="*/ 2570994 h 4687251"/>
              <a:gd name="connsiteX10574" fmla="*/ 6564930 w 8079933"/>
              <a:gd name="connsiteY10574" fmla="*/ 2574783 h 4687251"/>
              <a:gd name="connsiteX10575" fmla="*/ 6560915 w 8079933"/>
              <a:gd name="connsiteY10575" fmla="*/ 2573808 h 4687251"/>
              <a:gd name="connsiteX10576" fmla="*/ 6557118 w 8079933"/>
              <a:gd name="connsiteY10576" fmla="*/ 2574458 h 4687251"/>
              <a:gd name="connsiteX10577" fmla="*/ 6555924 w 8079933"/>
              <a:gd name="connsiteY10577" fmla="*/ 2578789 h 4687251"/>
              <a:gd name="connsiteX10578" fmla="*/ 6552994 w 8079933"/>
              <a:gd name="connsiteY10578" fmla="*/ 2580305 h 4687251"/>
              <a:gd name="connsiteX10579" fmla="*/ 6548653 w 8079933"/>
              <a:gd name="connsiteY10579" fmla="*/ 2577382 h 4687251"/>
              <a:gd name="connsiteX10580" fmla="*/ 6545180 w 8079933"/>
              <a:gd name="connsiteY10580" fmla="*/ 2577382 h 4687251"/>
              <a:gd name="connsiteX10581" fmla="*/ 6541925 w 8079933"/>
              <a:gd name="connsiteY10581" fmla="*/ 2574783 h 4687251"/>
              <a:gd name="connsiteX10582" fmla="*/ 6536933 w 8079933"/>
              <a:gd name="connsiteY10582" fmla="*/ 2574783 h 4687251"/>
              <a:gd name="connsiteX10583" fmla="*/ 6532375 w 8079933"/>
              <a:gd name="connsiteY10583" fmla="*/ 2570994 h 4687251"/>
              <a:gd name="connsiteX10584" fmla="*/ 6532375 w 8079933"/>
              <a:gd name="connsiteY10584" fmla="*/ 2568286 h 4687251"/>
              <a:gd name="connsiteX10585" fmla="*/ 6529663 w 8079933"/>
              <a:gd name="connsiteY10585" fmla="*/ 2563631 h 4687251"/>
              <a:gd name="connsiteX10586" fmla="*/ 6529663 w 8079933"/>
              <a:gd name="connsiteY10586" fmla="*/ 2554753 h 4687251"/>
              <a:gd name="connsiteX10587" fmla="*/ 6527384 w 8079933"/>
              <a:gd name="connsiteY10587" fmla="*/ 2550963 h 4687251"/>
              <a:gd name="connsiteX10588" fmla="*/ 6533570 w 8079933"/>
              <a:gd name="connsiteY10588" fmla="*/ 2544466 h 4687251"/>
              <a:gd name="connsiteX10589" fmla="*/ 6540731 w 8079933"/>
              <a:gd name="connsiteY10589" fmla="*/ 2540136 h 4687251"/>
              <a:gd name="connsiteX10590" fmla="*/ 6541708 w 8079933"/>
              <a:gd name="connsiteY10590" fmla="*/ 2535697 h 4687251"/>
              <a:gd name="connsiteX10591" fmla="*/ 6546049 w 8079933"/>
              <a:gd name="connsiteY10591" fmla="*/ 2535047 h 4687251"/>
              <a:gd name="connsiteX10592" fmla="*/ 6550715 w 8079933"/>
              <a:gd name="connsiteY10592" fmla="*/ 2532665 h 4687251"/>
              <a:gd name="connsiteX10593" fmla="*/ 6555165 w 8079933"/>
              <a:gd name="connsiteY10593" fmla="*/ 2532665 h 4687251"/>
              <a:gd name="connsiteX10594" fmla="*/ 6558528 w 8079933"/>
              <a:gd name="connsiteY10594" fmla="*/ 2530392 h 4687251"/>
              <a:gd name="connsiteX10595" fmla="*/ 6561024 w 8079933"/>
              <a:gd name="connsiteY10595" fmla="*/ 2531149 h 4687251"/>
              <a:gd name="connsiteX10596" fmla="*/ 6565907 w 8079933"/>
              <a:gd name="connsiteY10596" fmla="*/ 2530175 h 4687251"/>
              <a:gd name="connsiteX10597" fmla="*/ 6568512 w 8079933"/>
              <a:gd name="connsiteY10597" fmla="*/ 2532232 h 4687251"/>
              <a:gd name="connsiteX10598" fmla="*/ 6328908 w 8079933"/>
              <a:gd name="connsiteY10598" fmla="*/ 2527468 h 4687251"/>
              <a:gd name="connsiteX10599" fmla="*/ 6328907 w 8079933"/>
              <a:gd name="connsiteY10599" fmla="*/ 2527468 h 4687251"/>
              <a:gd name="connsiteX10600" fmla="*/ 6333574 w 8079933"/>
              <a:gd name="connsiteY10600" fmla="*/ 2532990 h 4687251"/>
              <a:gd name="connsiteX10601" fmla="*/ 6334767 w 8079933"/>
              <a:gd name="connsiteY10601" fmla="*/ 2541219 h 4687251"/>
              <a:gd name="connsiteX10602" fmla="*/ 6330969 w 8079933"/>
              <a:gd name="connsiteY10602" fmla="*/ 2543925 h 4687251"/>
              <a:gd name="connsiteX10603" fmla="*/ 6334442 w 8079933"/>
              <a:gd name="connsiteY10603" fmla="*/ 2549988 h 4687251"/>
              <a:gd name="connsiteX10604" fmla="*/ 6338240 w 8079933"/>
              <a:gd name="connsiteY10604" fmla="*/ 2551396 h 4687251"/>
              <a:gd name="connsiteX10605" fmla="*/ 6338241 w 8079933"/>
              <a:gd name="connsiteY10605" fmla="*/ 2551395 h 4687251"/>
              <a:gd name="connsiteX10606" fmla="*/ 6334443 w 8079933"/>
              <a:gd name="connsiteY10606" fmla="*/ 2549988 h 4687251"/>
              <a:gd name="connsiteX10607" fmla="*/ 6330970 w 8079933"/>
              <a:gd name="connsiteY10607" fmla="*/ 2543925 h 4687251"/>
              <a:gd name="connsiteX10608" fmla="*/ 6334768 w 8079933"/>
              <a:gd name="connsiteY10608" fmla="*/ 2541219 h 4687251"/>
              <a:gd name="connsiteX10609" fmla="*/ 6333575 w 8079933"/>
              <a:gd name="connsiteY10609" fmla="*/ 2532989 h 4687251"/>
              <a:gd name="connsiteX10610" fmla="*/ 6439684 w 8079933"/>
              <a:gd name="connsiteY10610" fmla="*/ 2526880 h 4687251"/>
              <a:gd name="connsiteX10611" fmla="*/ 6441547 w 8079933"/>
              <a:gd name="connsiteY10611" fmla="*/ 2527359 h 4687251"/>
              <a:gd name="connsiteX10612" fmla="*/ 6441547 w 8079933"/>
              <a:gd name="connsiteY10612" fmla="*/ 2527359 h 4687251"/>
              <a:gd name="connsiteX10613" fmla="*/ 6322505 w 8079933"/>
              <a:gd name="connsiteY10613" fmla="*/ 2517291 h 4687251"/>
              <a:gd name="connsiteX10614" fmla="*/ 6319792 w 8079933"/>
              <a:gd name="connsiteY10614" fmla="*/ 2523354 h 4687251"/>
              <a:gd name="connsiteX10615" fmla="*/ 6322505 w 8079933"/>
              <a:gd name="connsiteY10615" fmla="*/ 2528984 h 4687251"/>
              <a:gd name="connsiteX10616" fmla="*/ 6322506 w 8079933"/>
              <a:gd name="connsiteY10616" fmla="*/ 2528984 h 4687251"/>
              <a:gd name="connsiteX10617" fmla="*/ 6319793 w 8079933"/>
              <a:gd name="connsiteY10617" fmla="*/ 2523354 h 4687251"/>
              <a:gd name="connsiteX10618" fmla="*/ 6322506 w 8079933"/>
              <a:gd name="connsiteY10618" fmla="*/ 2517291 h 4687251"/>
              <a:gd name="connsiteX10619" fmla="*/ 6431824 w 8079933"/>
              <a:gd name="connsiteY10619" fmla="*/ 2516210 h 4687251"/>
              <a:gd name="connsiteX10620" fmla="*/ 6434060 w 8079933"/>
              <a:gd name="connsiteY10620" fmla="*/ 2516641 h 4687251"/>
              <a:gd name="connsiteX10621" fmla="*/ 6434060 w 8079933"/>
              <a:gd name="connsiteY10621" fmla="*/ 2516641 h 4687251"/>
              <a:gd name="connsiteX10622" fmla="*/ 6396955 w 8079933"/>
              <a:gd name="connsiteY10622" fmla="*/ 2512531 h 4687251"/>
              <a:gd name="connsiteX10623" fmla="*/ 6406498 w 8079933"/>
              <a:gd name="connsiteY10623" fmla="*/ 2512635 h 4687251"/>
              <a:gd name="connsiteX10624" fmla="*/ 6407533 w 8079933"/>
              <a:gd name="connsiteY10624" fmla="*/ 2512941 h 4687251"/>
              <a:gd name="connsiteX10625" fmla="*/ 6406497 w 8079933"/>
              <a:gd name="connsiteY10625" fmla="*/ 2512635 h 4687251"/>
              <a:gd name="connsiteX10626" fmla="*/ 4301241 w 8079933"/>
              <a:gd name="connsiteY10626" fmla="*/ 2511219 h 4687251"/>
              <a:gd name="connsiteX10627" fmla="*/ 4301057 w 8079933"/>
              <a:gd name="connsiteY10627" fmla="*/ 2513934 h 4687251"/>
              <a:gd name="connsiteX10628" fmla="*/ 4300351 w 8079933"/>
              <a:gd name="connsiteY10628" fmla="*/ 2515288 h 4687251"/>
              <a:gd name="connsiteX10629" fmla="*/ 4301057 w 8079933"/>
              <a:gd name="connsiteY10629" fmla="*/ 2513934 h 4687251"/>
              <a:gd name="connsiteX10630" fmla="*/ 6417675 w 8079933"/>
              <a:gd name="connsiteY10630" fmla="*/ 2511119 h 4687251"/>
              <a:gd name="connsiteX10631" fmla="*/ 6412357 w 8079933"/>
              <a:gd name="connsiteY10631" fmla="*/ 2514367 h 4687251"/>
              <a:gd name="connsiteX10632" fmla="*/ 6412358 w 8079933"/>
              <a:gd name="connsiteY10632" fmla="*/ 2514367 h 4687251"/>
              <a:gd name="connsiteX10633" fmla="*/ 6417675 w 8079933"/>
              <a:gd name="connsiteY10633" fmla="*/ 2511119 h 4687251"/>
              <a:gd name="connsiteX10634" fmla="*/ 6424402 w 8079933"/>
              <a:gd name="connsiteY10634" fmla="*/ 2511119 h 4687251"/>
              <a:gd name="connsiteX10635" fmla="*/ 6424402 w 8079933"/>
              <a:gd name="connsiteY10635" fmla="*/ 2511119 h 4687251"/>
              <a:gd name="connsiteX10636" fmla="*/ 2226652 w 8079933"/>
              <a:gd name="connsiteY10636" fmla="*/ 2509712 h 4687251"/>
              <a:gd name="connsiteX10637" fmla="*/ 2226652 w 8079933"/>
              <a:gd name="connsiteY10637" fmla="*/ 2515342 h 4687251"/>
              <a:gd name="connsiteX10638" fmla="*/ 2222746 w 8079933"/>
              <a:gd name="connsiteY10638" fmla="*/ 2520647 h 4687251"/>
              <a:gd name="connsiteX10639" fmla="*/ 2210375 w 8079933"/>
              <a:gd name="connsiteY10639" fmla="*/ 2522055 h 4687251"/>
              <a:gd name="connsiteX10640" fmla="*/ 2211568 w 8079933"/>
              <a:gd name="connsiteY10640" fmla="*/ 2515017 h 4687251"/>
              <a:gd name="connsiteX10641" fmla="*/ 2217211 w 8079933"/>
              <a:gd name="connsiteY10641" fmla="*/ 2511444 h 4687251"/>
              <a:gd name="connsiteX10642" fmla="*/ 2222094 w 8079933"/>
              <a:gd name="connsiteY10642" fmla="*/ 2514151 h 4687251"/>
              <a:gd name="connsiteX10643" fmla="*/ 2225024 w 8079933"/>
              <a:gd name="connsiteY10643" fmla="*/ 2510686 h 4687251"/>
              <a:gd name="connsiteX10644" fmla="*/ 6571334 w 8079933"/>
              <a:gd name="connsiteY10644" fmla="*/ 2505056 h 4687251"/>
              <a:gd name="connsiteX10645" fmla="*/ 6575675 w 8079933"/>
              <a:gd name="connsiteY10645" fmla="*/ 2506788 h 4687251"/>
              <a:gd name="connsiteX10646" fmla="*/ 6575675 w 8079933"/>
              <a:gd name="connsiteY10646" fmla="*/ 2508846 h 4687251"/>
              <a:gd name="connsiteX10647" fmla="*/ 6571009 w 8079933"/>
              <a:gd name="connsiteY10647" fmla="*/ 2507980 h 4687251"/>
              <a:gd name="connsiteX10648" fmla="*/ 6567753 w 8079933"/>
              <a:gd name="connsiteY10648" fmla="*/ 2508196 h 4687251"/>
              <a:gd name="connsiteX10649" fmla="*/ 6565583 w 8079933"/>
              <a:gd name="connsiteY10649" fmla="*/ 2505814 h 4687251"/>
              <a:gd name="connsiteX10650" fmla="*/ 2229256 w 8079933"/>
              <a:gd name="connsiteY10650" fmla="*/ 2502783 h 4687251"/>
              <a:gd name="connsiteX10651" fmla="*/ 2229256 w 8079933"/>
              <a:gd name="connsiteY10651" fmla="*/ 2507114 h 4687251"/>
              <a:gd name="connsiteX10652" fmla="*/ 2226652 w 8079933"/>
              <a:gd name="connsiteY10652" fmla="*/ 2505598 h 4687251"/>
              <a:gd name="connsiteX10653" fmla="*/ 6330645 w 8079933"/>
              <a:gd name="connsiteY10653" fmla="*/ 2502024 h 4687251"/>
              <a:gd name="connsiteX10654" fmla="*/ 6330644 w 8079933"/>
              <a:gd name="connsiteY10654" fmla="*/ 2502024 h 4687251"/>
              <a:gd name="connsiteX10655" fmla="*/ 6330535 w 8079933"/>
              <a:gd name="connsiteY10655" fmla="*/ 2506464 h 4687251"/>
              <a:gd name="connsiteX10656" fmla="*/ 6327714 w 8079933"/>
              <a:gd name="connsiteY10656" fmla="*/ 2510254 h 4687251"/>
              <a:gd name="connsiteX10657" fmla="*/ 6329993 w 8079933"/>
              <a:gd name="connsiteY10657" fmla="*/ 2513393 h 4687251"/>
              <a:gd name="connsiteX10658" fmla="*/ 6325218 w 8079933"/>
              <a:gd name="connsiteY10658" fmla="*/ 2517291 h 4687251"/>
              <a:gd name="connsiteX10659" fmla="*/ 6325219 w 8079933"/>
              <a:gd name="connsiteY10659" fmla="*/ 2517291 h 4687251"/>
              <a:gd name="connsiteX10660" fmla="*/ 6329994 w 8079933"/>
              <a:gd name="connsiteY10660" fmla="*/ 2513393 h 4687251"/>
              <a:gd name="connsiteX10661" fmla="*/ 6327715 w 8079933"/>
              <a:gd name="connsiteY10661" fmla="*/ 2510253 h 4687251"/>
              <a:gd name="connsiteX10662" fmla="*/ 6330536 w 8079933"/>
              <a:gd name="connsiteY10662" fmla="*/ 2506463 h 4687251"/>
              <a:gd name="connsiteX10663" fmla="*/ 6136943 w 8079933"/>
              <a:gd name="connsiteY10663" fmla="*/ 2501807 h 4687251"/>
              <a:gd name="connsiteX10664" fmla="*/ 6136942 w 8079933"/>
              <a:gd name="connsiteY10664" fmla="*/ 2501808 h 4687251"/>
              <a:gd name="connsiteX10665" fmla="*/ 6138895 w 8079933"/>
              <a:gd name="connsiteY10665" fmla="*/ 2503107 h 4687251"/>
              <a:gd name="connsiteX10666" fmla="*/ 6138895 w 8079933"/>
              <a:gd name="connsiteY10666" fmla="*/ 2503106 h 4687251"/>
              <a:gd name="connsiteX10667" fmla="*/ 6354164 w 8079933"/>
              <a:gd name="connsiteY10667" fmla="*/ 2501006 h 4687251"/>
              <a:gd name="connsiteX10668" fmla="*/ 6357556 w 8079933"/>
              <a:gd name="connsiteY10668" fmla="*/ 2501808 h 4687251"/>
              <a:gd name="connsiteX10669" fmla="*/ 6357556 w 8079933"/>
              <a:gd name="connsiteY10669" fmla="*/ 2501807 h 4687251"/>
              <a:gd name="connsiteX10670" fmla="*/ 6353432 w 8079933"/>
              <a:gd name="connsiteY10670" fmla="*/ 2500833 h 4687251"/>
              <a:gd name="connsiteX10671" fmla="*/ 6347247 w 8079933"/>
              <a:gd name="connsiteY10671" fmla="*/ 2502674 h 4687251"/>
              <a:gd name="connsiteX10672" fmla="*/ 6347247 w 8079933"/>
              <a:gd name="connsiteY10672" fmla="*/ 2502674 h 4687251"/>
              <a:gd name="connsiteX10673" fmla="*/ 6353433 w 8079933"/>
              <a:gd name="connsiteY10673" fmla="*/ 2500834 h 4687251"/>
              <a:gd name="connsiteX10674" fmla="*/ 6337438 w 8079933"/>
              <a:gd name="connsiteY10674" fmla="*/ 2500560 h 4687251"/>
              <a:gd name="connsiteX10675" fmla="*/ 6337372 w 8079933"/>
              <a:gd name="connsiteY10675" fmla="*/ 2500617 h 4687251"/>
              <a:gd name="connsiteX10676" fmla="*/ 6332259 w 8079933"/>
              <a:gd name="connsiteY10676" fmla="*/ 2501687 h 4687251"/>
              <a:gd name="connsiteX10677" fmla="*/ 6337373 w 8079933"/>
              <a:gd name="connsiteY10677" fmla="*/ 2500617 h 4687251"/>
              <a:gd name="connsiteX10678" fmla="*/ 6344473 w 8079933"/>
              <a:gd name="connsiteY10678" fmla="*/ 2498262 h 4687251"/>
              <a:gd name="connsiteX10679" fmla="*/ 6345185 w 8079933"/>
              <a:gd name="connsiteY10679" fmla="*/ 2498776 h 4687251"/>
              <a:gd name="connsiteX10680" fmla="*/ 6345485 w 8079933"/>
              <a:gd name="connsiteY10680" fmla="*/ 2499344 h 4687251"/>
              <a:gd name="connsiteX10681" fmla="*/ 6345185 w 8079933"/>
              <a:gd name="connsiteY10681" fmla="*/ 2498776 h 4687251"/>
              <a:gd name="connsiteX10682" fmla="*/ 6043834 w 8079933"/>
              <a:gd name="connsiteY10682" fmla="*/ 2496179 h 4687251"/>
              <a:gd name="connsiteX10683" fmla="*/ 6045354 w 8079933"/>
              <a:gd name="connsiteY10683" fmla="*/ 2498669 h 4687251"/>
              <a:gd name="connsiteX10684" fmla="*/ 6043834 w 8079933"/>
              <a:gd name="connsiteY10684" fmla="*/ 2500293 h 4687251"/>
              <a:gd name="connsiteX10685" fmla="*/ 6034827 w 8079933"/>
              <a:gd name="connsiteY10685" fmla="*/ 2495420 h 4687251"/>
              <a:gd name="connsiteX10686" fmla="*/ 6037214 w 8079933"/>
              <a:gd name="connsiteY10686" fmla="*/ 2497693 h 4687251"/>
              <a:gd name="connsiteX10687" fmla="*/ 6037866 w 8079933"/>
              <a:gd name="connsiteY10687" fmla="*/ 2501916 h 4687251"/>
              <a:gd name="connsiteX10688" fmla="*/ 6035261 w 8079933"/>
              <a:gd name="connsiteY10688" fmla="*/ 2500075 h 4687251"/>
              <a:gd name="connsiteX10689" fmla="*/ 6041447 w 8079933"/>
              <a:gd name="connsiteY10689" fmla="*/ 2494446 h 4687251"/>
              <a:gd name="connsiteX10690" fmla="*/ 6041772 w 8079933"/>
              <a:gd name="connsiteY10690" fmla="*/ 2496936 h 4687251"/>
              <a:gd name="connsiteX10691" fmla="*/ 6041229 w 8079933"/>
              <a:gd name="connsiteY10691" fmla="*/ 2499860 h 4687251"/>
              <a:gd name="connsiteX10692" fmla="*/ 6039602 w 8079933"/>
              <a:gd name="connsiteY10692" fmla="*/ 2498668 h 4687251"/>
              <a:gd name="connsiteX10693" fmla="*/ 6038625 w 8079933"/>
              <a:gd name="connsiteY10693" fmla="*/ 2495962 h 4687251"/>
              <a:gd name="connsiteX10694" fmla="*/ 6314844 w 8079933"/>
              <a:gd name="connsiteY10694" fmla="*/ 2493312 h 4687251"/>
              <a:gd name="connsiteX10695" fmla="*/ 6315017 w 8079933"/>
              <a:gd name="connsiteY10695" fmla="*/ 2493796 h 4687251"/>
              <a:gd name="connsiteX10696" fmla="*/ 6320451 w 8079933"/>
              <a:gd name="connsiteY10696" fmla="*/ 2496454 h 4687251"/>
              <a:gd name="connsiteX10697" fmla="*/ 6315017 w 8079933"/>
              <a:gd name="connsiteY10697" fmla="*/ 2493795 h 4687251"/>
              <a:gd name="connsiteX10698" fmla="*/ 1992690 w 8079933"/>
              <a:gd name="connsiteY10698" fmla="*/ 2493146 h 4687251"/>
              <a:gd name="connsiteX10699" fmla="*/ 1997030 w 8079933"/>
              <a:gd name="connsiteY10699" fmla="*/ 2494012 h 4687251"/>
              <a:gd name="connsiteX10700" fmla="*/ 2001262 w 8079933"/>
              <a:gd name="connsiteY10700" fmla="*/ 2498993 h 4687251"/>
              <a:gd name="connsiteX10701" fmla="*/ 2000503 w 8079933"/>
              <a:gd name="connsiteY10701" fmla="*/ 2503324 h 4687251"/>
              <a:gd name="connsiteX10702" fmla="*/ 1993775 w 8079933"/>
              <a:gd name="connsiteY10702" fmla="*/ 2505273 h 4687251"/>
              <a:gd name="connsiteX10703" fmla="*/ 1988458 w 8079933"/>
              <a:gd name="connsiteY10703" fmla="*/ 2503215 h 4687251"/>
              <a:gd name="connsiteX10704" fmla="*/ 1987807 w 8079933"/>
              <a:gd name="connsiteY10704" fmla="*/ 2500725 h 4687251"/>
              <a:gd name="connsiteX10705" fmla="*/ 1989869 w 8079933"/>
              <a:gd name="connsiteY10705" fmla="*/ 2502132 h 4687251"/>
              <a:gd name="connsiteX10706" fmla="*/ 1992256 w 8079933"/>
              <a:gd name="connsiteY10706" fmla="*/ 2502566 h 4687251"/>
              <a:gd name="connsiteX10707" fmla="*/ 1994535 w 8079933"/>
              <a:gd name="connsiteY10707" fmla="*/ 2500725 h 4687251"/>
              <a:gd name="connsiteX10708" fmla="*/ 1992256 w 8079933"/>
              <a:gd name="connsiteY10708" fmla="*/ 2499317 h 4687251"/>
              <a:gd name="connsiteX10709" fmla="*/ 1990954 w 8079933"/>
              <a:gd name="connsiteY10709" fmla="*/ 2496503 h 4687251"/>
              <a:gd name="connsiteX10710" fmla="*/ 6508828 w 8079933"/>
              <a:gd name="connsiteY10710" fmla="*/ 2492171 h 4687251"/>
              <a:gd name="connsiteX10711" fmla="*/ 6508828 w 8079933"/>
              <a:gd name="connsiteY10711" fmla="*/ 2492172 h 4687251"/>
              <a:gd name="connsiteX10712" fmla="*/ 6508937 w 8079933"/>
              <a:gd name="connsiteY10712" fmla="*/ 2492172 h 4687251"/>
              <a:gd name="connsiteX10713" fmla="*/ 6508936 w 8079933"/>
              <a:gd name="connsiteY10713" fmla="*/ 2492171 h 4687251"/>
              <a:gd name="connsiteX10714" fmla="*/ 6030703 w 8079933"/>
              <a:gd name="connsiteY10714" fmla="*/ 2490440 h 4687251"/>
              <a:gd name="connsiteX10715" fmla="*/ 6032222 w 8079933"/>
              <a:gd name="connsiteY10715" fmla="*/ 2492822 h 4687251"/>
              <a:gd name="connsiteX10716" fmla="*/ 6029944 w 8079933"/>
              <a:gd name="connsiteY10716" fmla="*/ 2498560 h 4687251"/>
              <a:gd name="connsiteX10717" fmla="*/ 6028208 w 8079933"/>
              <a:gd name="connsiteY10717" fmla="*/ 2499426 h 4687251"/>
              <a:gd name="connsiteX10718" fmla="*/ 6028099 w 8079933"/>
              <a:gd name="connsiteY10718" fmla="*/ 2496936 h 4687251"/>
              <a:gd name="connsiteX10719" fmla="*/ 6355822 w 8079933"/>
              <a:gd name="connsiteY10719" fmla="*/ 2490157 h 4687251"/>
              <a:gd name="connsiteX10720" fmla="*/ 6356144 w 8079933"/>
              <a:gd name="connsiteY10720" fmla="*/ 2495852 h 4687251"/>
              <a:gd name="connsiteX10721" fmla="*/ 6357513 w 8079933"/>
              <a:gd name="connsiteY10721" fmla="*/ 2501625 h 4687251"/>
              <a:gd name="connsiteX10722" fmla="*/ 6356146 w 8079933"/>
              <a:gd name="connsiteY10722" fmla="*/ 2495853 h 4687251"/>
              <a:gd name="connsiteX10723" fmla="*/ 6139979 w 8079933"/>
              <a:gd name="connsiteY10723" fmla="*/ 2489589 h 4687251"/>
              <a:gd name="connsiteX10724" fmla="*/ 6140632 w 8079933"/>
              <a:gd name="connsiteY10724" fmla="*/ 2490656 h 4687251"/>
              <a:gd name="connsiteX10725" fmla="*/ 6141225 w 8079933"/>
              <a:gd name="connsiteY10725" fmla="*/ 2491247 h 4687251"/>
              <a:gd name="connsiteX10726" fmla="*/ 6140632 w 8079933"/>
              <a:gd name="connsiteY10726" fmla="*/ 2490655 h 4687251"/>
              <a:gd name="connsiteX10727" fmla="*/ 6499929 w 8079933"/>
              <a:gd name="connsiteY10727" fmla="*/ 2489140 h 4687251"/>
              <a:gd name="connsiteX10728" fmla="*/ 6496306 w 8079933"/>
              <a:gd name="connsiteY10728" fmla="*/ 2490265 h 4687251"/>
              <a:gd name="connsiteX10729" fmla="*/ 6499930 w 8079933"/>
              <a:gd name="connsiteY10729" fmla="*/ 2489140 h 4687251"/>
              <a:gd name="connsiteX10730" fmla="*/ 6339976 w 8079933"/>
              <a:gd name="connsiteY10730" fmla="*/ 2488815 h 4687251"/>
              <a:gd name="connsiteX10731" fmla="*/ 6329124 w 8079933"/>
              <a:gd name="connsiteY10731" fmla="*/ 2493362 h 4687251"/>
              <a:gd name="connsiteX10732" fmla="*/ 6323807 w 8079933"/>
              <a:gd name="connsiteY10732" fmla="*/ 2493362 h 4687251"/>
              <a:gd name="connsiteX10733" fmla="*/ 6320551 w 8079933"/>
              <a:gd name="connsiteY10733" fmla="*/ 2496502 h 4687251"/>
              <a:gd name="connsiteX10734" fmla="*/ 6320552 w 8079933"/>
              <a:gd name="connsiteY10734" fmla="*/ 2496503 h 4687251"/>
              <a:gd name="connsiteX10735" fmla="*/ 6323808 w 8079933"/>
              <a:gd name="connsiteY10735" fmla="*/ 2493363 h 4687251"/>
              <a:gd name="connsiteX10736" fmla="*/ 6329124 w 8079933"/>
              <a:gd name="connsiteY10736" fmla="*/ 2493363 h 4687251"/>
              <a:gd name="connsiteX10737" fmla="*/ 6339976 w 8079933"/>
              <a:gd name="connsiteY10737" fmla="*/ 2488816 h 4687251"/>
              <a:gd name="connsiteX10738" fmla="*/ 6344642 w 8079933"/>
              <a:gd name="connsiteY10738" fmla="*/ 2490332 h 4687251"/>
              <a:gd name="connsiteX10739" fmla="*/ 6344642 w 8079933"/>
              <a:gd name="connsiteY10739" fmla="*/ 2490331 h 4687251"/>
              <a:gd name="connsiteX10740" fmla="*/ 2228280 w 8079933"/>
              <a:gd name="connsiteY10740" fmla="*/ 2480695 h 4687251"/>
              <a:gd name="connsiteX10741" fmla="*/ 2235443 w 8079933"/>
              <a:gd name="connsiteY10741" fmla="*/ 2484809 h 4687251"/>
              <a:gd name="connsiteX10742" fmla="*/ 2235117 w 8079933"/>
              <a:gd name="connsiteY10742" fmla="*/ 2486650 h 4687251"/>
              <a:gd name="connsiteX10743" fmla="*/ 2230668 w 8079933"/>
              <a:gd name="connsiteY10743" fmla="*/ 2484593 h 4687251"/>
              <a:gd name="connsiteX10744" fmla="*/ 2226218 w 8079933"/>
              <a:gd name="connsiteY10744" fmla="*/ 2484917 h 4687251"/>
              <a:gd name="connsiteX10745" fmla="*/ 2224157 w 8079933"/>
              <a:gd name="connsiteY10745" fmla="*/ 2482535 h 4687251"/>
              <a:gd name="connsiteX10746" fmla="*/ 6311545 w 8079933"/>
              <a:gd name="connsiteY10746" fmla="*/ 2478638 h 4687251"/>
              <a:gd name="connsiteX10747" fmla="*/ 6307963 w 8079933"/>
              <a:gd name="connsiteY10747" fmla="*/ 2481885 h 4687251"/>
              <a:gd name="connsiteX10748" fmla="*/ 6306662 w 8079933"/>
              <a:gd name="connsiteY10748" fmla="*/ 2480478 h 4687251"/>
              <a:gd name="connsiteX10749" fmla="*/ 6299174 w 8079933"/>
              <a:gd name="connsiteY10749" fmla="*/ 2479612 h 4687251"/>
              <a:gd name="connsiteX10750" fmla="*/ 6295749 w 8079933"/>
              <a:gd name="connsiteY10750" fmla="*/ 2481321 h 4687251"/>
              <a:gd name="connsiteX10751" fmla="*/ 6299174 w 8079933"/>
              <a:gd name="connsiteY10751" fmla="*/ 2479613 h 4687251"/>
              <a:gd name="connsiteX10752" fmla="*/ 6306661 w 8079933"/>
              <a:gd name="connsiteY10752" fmla="*/ 2480479 h 4687251"/>
              <a:gd name="connsiteX10753" fmla="*/ 6307964 w 8079933"/>
              <a:gd name="connsiteY10753" fmla="*/ 2481887 h 4687251"/>
              <a:gd name="connsiteX10754" fmla="*/ 6311545 w 8079933"/>
              <a:gd name="connsiteY10754" fmla="*/ 2478638 h 4687251"/>
              <a:gd name="connsiteX10755" fmla="*/ 6314800 w 8079933"/>
              <a:gd name="connsiteY10755" fmla="*/ 2482969 h 4687251"/>
              <a:gd name="connsiteX10756" fmla="*/ 6314800 w 8079933"/>
              <a:gd name="connsiteY10756" fmla="*/ 2482968 h 4687251"/>
              <a:gd name="connsiteX10757" fmla="*/ 6294616 w 8079933"/>
              <a:gd name="connsiteY10757" fmla="*/ 2478097 h 4687251"/>
              <a:gd name="connsiteX10758" fmla="*/ 6295484 w 8079933"/>
              <a:gd name="connsiteY10758" fmla="*/ 2481453 h 4687251"/>
              <a:gd name="connsiteX10759" fmla="*/ 6295485 w 8079933"/>
              <a:gd name="connsiteY10759" fmla="*/ 2481452 h 4687251"/>
              <a:gd name="connsiteX10760" fmla="*/ 6150072 w 8079933"/>
              <a:gd name="connsiteY10760" fmla="*/ 2476256 h 4687251"/>
              <a:gd name="connsiteX10761" fmla="*/ 6147359 w 8079933"/>
              <a:gd name="connsiteY10761" fmla="*/ 2484158 h 4687251"/>
              <a:gd name="connsiteX10762" fmla="*/ 6144755 w 8079933"/>
              <a:gd name="connsiteY10762" fmla="*/ 2485458 h 4687251"/>
              <a:gd name="connsiteX10763" fmla="*/ 6142476 w 8079933"/>
              <a:gd name="connsiteY10763" fmla="*/ 2484484 h 4687251"/>
              <a:gd name="connsiteX10764" fmla="*/ 6142279 w 8079933"/>
              <a:gd name="connsiteY10764" fmla="*/ 2485380 h 4687251"/>
              <a:gd name="connsiteX10765" fmla="*/ 6142476 w 8079933"/>
              <a:gd name="connsiteY10765" fmla="*/ 2484485 h 4687251"/>
              <a:gd name="connsiteX10766" fmla="*/ 6144755 w 8079933"/>
              <a:gd name="connsiteY10766" fmla="*/ 2485459 h 4687251"/>
              <a:gd name="connsiteX10767" fmla="*/ 6147359 w 8079933"/>
              <a:gd name="connsiteY10767" fmla="*/ 2484160 h 4687251"/>
              <a:gd name="connsiteX10768" fmla="*/ 6150072 w 8079933"/>
              <a:gd name="connsiteY10768" fmla="*/ 2476256 h 4687251"/>
              <a:gd name="connsiteX10769" fmla="*/ 6473596 w 8079933"/>
              <a:gd name="connsiteY10769" fmla="*/ 2475967 h 4687251"/>
              <a:gd name="connsiteX10770" fmla="*/ 6474537 w 8079933"/>
              <a:gd name="connsiteY10770" fmla="*/ 2479288 h 4687251"/>
              <a:gd name="connsiteX10771" fmla="*/ 6480976 w 8079933"/>
              <a:gd name="connsiteY10771" fmla="*/ 2481597 h 4687251"/>
              <a:gd name="connsiteX10772" fmla="*/ 6474537 w 8079933"/>
              <a:gd name="connsiteY10772" fmla="*/ 2479287 h 4687251"/>
              <a:gd name="connsiteX10773" fmla="*/ 5243744 w 8079933"/>
              <a:gd name="connsiteY10773" fmla="*/ 2473435 h 4687251"/>
              <a:gd name="connsiteX10774" fmla="*/ 5243741 w 8079933"/>
              <a:gd name="connsiteY10774" fmla="*/ 2473441 h 4687251"/>
              <a:gd name="connsiteX10775" fmla="*/ 5243742 w 8079933"/>
              <a:gd name="connsiteY10775" fmla="*/ 2473437 h 4687251"/>
              <a:gd name="connsiteX10776" fmla="*/ 5243740 w 8079933"/>
              <a:gd name="connsiteY10776" fmla="*/ 2473441 h 4687251"/>
              <a:gd name="connsiteX10777" fmla="*/ 5249275 w 8079933"/>
              <a:gd name="connsiteY10777" fmla="*/ 2492713 h 4687251"/>
              <a:gd name="connsiteX10778" fmla="*/ 5245911 w 8079933"/>
              <a:gd name="connsiteY10778" fmla="*/ 2544683 h 4687251"/>
              <a:gd name="connsiteX10779" fmla="*/ 5245912 w 8079933"/>
              <a:gd name="connsiteY10779" fmla="*/ 2544683 h 4687251"/>
              <a:gd name="connsiteX10780" fmla="*/ 5249276 w 8079933"/>
              <a:gd name="connsiteY10780" fmla="*/ 2492713 h 4687251"/>
              <a:gd name="connsiteX10781" fmla="*/ 5243742 w 8079933"/>
              <a:gd name="connsiteY10781" fmla="*/ 2473441 h 4687251"/>
              <a:gd name="connsiteX10782" fmla="*/ 6470413 w 8079933"/>
              <a:gd name="connsiteY10782" fmla="*/ 2473332 h 4687251"/>
              <a:gd name="connsiteX10783" fmla="*/ 6470413 w 8079933"/>
              <a:gd name="connsiteY10783" fmla="*/ 2473333 h 4687251"/>
              <a:gd name="connsiteX10784" fmla="*/ 6472222 w 8079933"/>
              <a:gd name="connsiteY10784" fmla="*/ 2473982 h 4687251"/>
              <a:gd name="connsiteX10785" fmla="*/ 6366020 w 8079933"/>
              <a:gd name="connsiteY10785" fmla="*/ 2471059 h 4687251"/>
              <a:gd name="connsiteX10786" fmla="*/ 6357013 w 8079933"/>
              <a:gd name="connsiteY10786" fmla="*/ 2471383 h 4687251"/>
              <a:gd name="connsiteX10787" fmla="*/ 6357013 w 8079933"/>
              <a:gd name="connsiteY10787" fmla="*/ 2474848 h 4687251"/>
              <a:gd name="connsiteX10788" fmla="*/ 6353758 w 8079933"/>
              <a:gd name="connsiteY10788" fmla="*/ 2477122 h 4687251"/>
              <a:gd name="connsiteX10789" fmla="*/ 6354083 w 8079933"/>
              <a:gd name="connsiteY10789" fmla="*/ 2485134 h 4687251"/>
              <a:gd name="connsiteX10790" fmla="*/ 6355653 w 8079933"/>
              <a:gd name="connsiteY10790" fmla="*/ 2489637 h 4687251"/>
              <a:gd name="connsiteX10791" fmla="*/ 6354084 w 8079933"/>
              <a:gd name="connsiteY10791" fmla="*/ 2485134 h 4687251"/>
              <a:gd name="connsiteX10792" fmla="*/ 6353759 w 8079933"/>
              <a:gd name="connsiteY10792" fmla="*/ 2477122 h 4687251"/>
              <a:gd name="connsiteX10793" fmla="*/ 6357014 w 8079933"/>
              <a:gd name="connsiteY10793" fmla="*/ 2474848 h 4687251"/>
              <a:gd name="connsiteX10794" fmla="*/ 6357014 w 8079933"/>
              <a:gd name="connsiteY10794" fmla="*/ 2471384 h 4687251"/>
              <a:gd name="connsiteX10795" fmla="*/ 6366020 w 8079933"/>
              <a:gd name="connsiteY10795" fmla="*/ 2471059 h 4687251"/>
              <a:gd name="connsiteX10796" fmla="*/ 6107534 w 8079933"/>
              <a:gd name="connsiteY10796" fmla="*/ 2470843 h 4687251"/>
              <a:gd name="connsiteX10797" fmla="*/ 6109054 w 8079933"/>
              <a:gd name="connsiteY10797" fmla="*/ 2472467 h 4687251"/>
              <a:gd name="connsiteX10798" fmla="*/ 6108510 w 8079933"/>
              <a:gd name="connsiteY10798" fmla="*/ 2475823 h 4687251"/>
              <a:gd name="connsiteX10799" fmla="*/ 6106232 w 8079933"/>
              <a:gd name="connsiteY10799" fmla="*/ 2476906 h 4687251"/>
              <a:gd name="connsiteX10800" fmla="*/ 6105581 w 8079933"/>
              <a:gd name="connsiteY10800" fmla="*/ 2471925 h 4687251"/>
              <a:gd name="connsiteX10801" fmla="*/ 2211026 w 8079933"/>
              <a:gd name="connsiteY10801" fmla="*/ 2470843 h 4687251"/>
              <a:gd name="connsiteX10802" fmla="*/ 2211894 w 8079933"/>
              <a:gd name="connsiteY10802" fmla="*/ 2473117 h 4687251"/>
              <a:gd name="connsiteX10803" fmla="*/ 2211568 w 8079933"/>
              <a:gd name="connsiteY10803" fmla="*/ 2478639 h 4687251"/>
              <a:gd name="connsiteX10804" fmla="*/ 2201151 w 8079933"/>
              <a:gd name="connsiteY10804" fmla="*/ 2484594 h 4687251"/>
              <a:gd name="connsiteX10805" fmla="*/ 2198764 w 8079933"/>
              <a:gd name="connsiteY10805" fmla="*/ 2484485 h 4687251"/>
              <a:gd name="connsiteX10806" fmla="*/ 2199306 w 8079933"/>
              <a:gd name="connsiteY10806" fmla="*/ 2481886 h 4687251"/>
              <a:gd name="connsiteX10807" fmla="*/ 2201911 w 8079933"/>
              <a:gd name="connsiteY10807" fmla="*/ 2481453 h 4687251"/>
              <a:gd name="connsiteX10808" fmla="*/ 2206685 w 8079933"/>
              <a:gd name="connsiteY10808" fmla="*/ 2476148 h 4687251"/>
              <a:gd name="connsiteX10809" fmla="*/ 2206360 w 8079933"/>
              <a:gd name="connsiteY10809" fmla="*/ 2472251 h 4687251"/>
              <a:gd name="connsiteX10810" fmla="*/ 6051866 w 8079933"/>
              <a:gd name="connsiteY10810" fmla="*/ 2470678 h 4687251"/>
              <a:gd name="connsiteX10811" fmla="*/ 6051973 w 8079933"/>
              <a:gd name="connsiteY10811" fmla="*/ 2477121 h 4687251"/>
              <a:gd name="connsiteX10812" fmla="*/ 6053311 w 8079933"/>
              <a:gd name="connsiteY10812" fmla="*/ 2480413 h 4687251"/>
              <a:gd name="connsiteX10813" fmla="*/ 6051974 w 8079933"/>
              <a:gd name="connsiteY10813" fmla="*/ 2477122 h 4687251"/>
              <a:gd name="connsiteX10814" fmla="*/ 6096573 w 8079933"/>
              <a:gd name="connsiteY10814" fmla="*/ 2469002 h 4687251"/>
              <a:gd name="connsiteX10815" fmla="*/ 6103084 w 8079933"/>
              <a:gd name="connsiteY10815" fmla="*/ 2473333 h 4687251"/>
              <a:gd name="connsiteX10816" fmla="*/ 6104278 w 8079933"/>
              <a:gd name="connsiteY10816" fmla="*/ 2477122 h 4687251"/>
              <a:gd name="connsiteX10817" fmla="*/ 6101022 w 8079933"/>
              <a:gd name="connsiteY10817" fmla="*/ 2483294 h 4687251"/>
              <a:gd name="connsiteX10818" fmla="*/ 6098960 w 8079933"/>
              <a:gd name="connsiteY10818" fmla="*/ 2480154 h 4687251"/>
              <a:gd name="connsiteX10819" fmla="*/ 6098960 w 8079933"/>
              <a:gd name="connsiteY10819" fmla="*/ 2476256 h 4687251"/>
              <a:gd name="connsiteX10820" fmla="*/ 6096573 w 8079933"/>
              <a:gd name="connsiteY10820" fmla="*/ 2471276 h 4687251"/>
              <a:gd name="connsiteX10821" fmla="*/ 6096573 w 8079933"/>
              <a:gd name="connsiteY10821" fmla="*/ 2469002 h 4687251"/>
              <a:gd name="connsiteX10822" fmla="*/ 6091797 w 8079933"/>
              <a:gd name="connsiteY10822" fmla="*/ 2467810 h 4687251"/>
              <a:gd name="connsiteX10823" fmla="*/ 6094728 w 8079933"/>
              <a:gd name="connsiteY10823" fmla="*/ 2471924 h 4687251"/>
              <a:gd name="connsiteX10824" fmla="*/ 6095270 w 8079933"/>
              <a:gd name="connsiteY10824" fmla="*/ 2478963 h 4687251"/>
              <a:gd name="connsiteX10825" fmla="*/ 6090930 w 8079933"/>
              <a:gd name="connsiteY10825" fmla="*/ 2478746 h 4687251"/>
              <a:gd name="connsiteX10826" fmla="*/ 6087674 w 8079933"/>
              <a:gd name="connsiteY10826" fmla="*/ 2471708 h 4687251"/>
              <a:gd name="connsiteX10827" fmla="*/ 6087457 w 8079933"/>
              <a:gd name="connsiteY10827" fmla="*/ 2469651 h 4687251"/>
              <a:gd name="connsiteX10828" fmla="*/ 6381538 w 8079933"/>
              <a:gd name="connsiteY10828" fmla="*/ 2467053 h 4687251"/>
              <a:gd name="connsiteX10829" fmla="*/ 6381538 w 8079933"/>
              <a:gd name="connsiteY10829" fmla="*/ 2467053 h 4687251"/>
              <a:gd name="connsiteX10830" fmla="*/ 6383600 w 8079933"/>
              <a:gd name="connsiteY10830" fmla="*/ 2468785 h 4687251"/>
              <a:gd name="connsiteX10831" fmla="*/ 6385282 w 8079933"/>
              <a:gd name="connsiteY10831" fmla="*/ 2468731 h 4687251"/>
              <a:gd name="connsiteX10832" fmla="*/ 6383600 w 8079933"/>
              <a:gd name="connsiteY10832" fmla="*/ 2468785 h 4687251"/>
              <a:gd name="connsiteX10833" fmla="*/ 2197244 w 8079933"/>
              <a:gd name="connsiteY10833" fmla="*/ 2466944 h 4687251"/>
              <a:gd name="connsiteX10834" fmla="*/ 2202887 w 8079933"/>
              <a:gd name="connsiteY10834" fmla="*/ 2469975 h 4687251"/>
              <a:gd name="connsiteX10835" fmla="*/ 2203430 w 8079933"/>
              <a:gd name="connsiteY10835" fmla="*/ 2473981 h 4687251"/>
              <a:gd name="connsiteX10836" fmla="*/ 2199849 w 8079933"/>
              <a:gd name="connsiteY10836" fmla="*/ 2473223 h 4687251"/>
              <a:gd name="connsiteX10837" fmla="*/ 2196919 w 8079933"/>
              <a:gd name="connsiteY10837" fmla="*/ 2469867 h 4687251"/>
              <a:gd name="connsiteX10838" fmla="*/ 6149747 w 8079933"/>
              <a:gd name="connsiteY10838" fmla="*/ 2465537 h 4687251"/>
              <a:gd name="connsiteX10839" fmla="*/ 6149563 w 8079933"/>
              <a:gd name="connsiteY10839" fmla="*/ 2466772 h 4687251"/>
              <a:gd name="connsiteX10840" fmla="*/ 6149747 w 8079933"/>
              <a:gd name="connsiteY10840" fmla="*/ 2465538 h 4687251"/>
              <a:gd name="connsiteX10841" fmla="*/ 6378716 w 8079933"/>
              <a:gd name="connsiteY10841" fmla="*/ 2463046 h 4687251"/>
              <a:gd name="connsiteX10842" fmla="*/ 6373617 w 8079933"/>
              <a:gd name="connsiteY10842" fmla="*/ 2464995 h 4687251"/>
              <a:gd name="connsiteX10843" fmla="*/ 6371011 w 8079933"/>
              <a:gd name="connsiteY10843" fmla="*/ 2467269 h 4687251"/>
              <a:gd name="connsiteX10844" fmla="*/ 6370030 w 8079933"/>
              <a:gd name="connsiteY10844" fmla="*/ 2469228 h 4687251"/>
              <a:gd name="connsiteX10845" fmla="*/ 6371012 w 8079933"/>
              <a:gd name="connsiteY10845" fmla="*/ 2467269 h 4687251"/>
              <a:gd name="connsiteX10846" fmla="*/ 6373617 w 8079933"/>
              <a:gd name="connsiteY10846" fmla="*/ 2464996 h 4687251"/>
              <a:gd name="connsiteX10847" fmla="*/ 6378717 w 8079933"/>
              <a:gd name="connsiteY10847" fmla="*/ 2463047 h 4687251"/>
              <a:gd name="connsiteX10848" fmla="*/ 6381863 w 8079933"/>
              <a:gd name="connsiteY10848" fmla="*/ 2463372 h 4687251"/>
              <a:gd name="connsiteX10849" fmla="*/ 6381863 w 8079933"/>
              <a:gd name="connsiteY10849" fmla="*/ 2463371 h 4687251"/>
              <a:gd name="connsiteX10850" fmla="*/ 6398684 w 8079933"/>
              <a:gd name="connsiteY10850" fmla="*/ 2462830 h 4687251"/>
              <a:gd name="connsiteX10851" fmla="*/ 6397436 w 8079933"/>
              <a:gd name="connsiteY10851" fmla="*/ 2464508 h 4687251"/>
              <a:gd name="connsiteX10852" fmla="*/ 6398684 w 8079933"/>
              <a:gd name="connsiteY10852" fmla="*/ 2462830 h 4687251"/>
              <a:gd name="connsiteX10853" fmla="*/ 6401396 w 8079933"/>
              <a:gd name="connsiteY10853" fmla="*/ 2463047 h 4687251"/>
              <a:gd name="connsiteX10854" fmla="*/ 6401396 w 8079933"/>
              <a:gd name="connsiteY10854" fmla="*/ 2463046 h 4687251"/>
              <a:gd name="connsiteX10855" fmla="*/ 6476589 w 8079933"/>
              <a:gd name="connsiteY10855" fmla="*/ 2462328 h 4687251"/>
              <a:gd name="connsiteX10856" fmla="*/ 6476273 w 8079933"/>
              <a:gd name="connsiteY10856" fmla="*/ 2464021 h 4687251"/>
              <a:gd name="connsiteX10857" fmla="*/ 6475226 w 8079933"/>
              <a:gd name="connsiteY10857" fmla="*/ 2464184 h 4687251"/>
              <a:gd name="connsiteX10858" fmla="*/ 6476273 w 8079933"/>
              <a:gd name="connsiteY10858" fmla="*/ 2464021 h 4687251"/>
              <a:gd name="connsiteX10859" fmla="*/ 4314404 w 8079933"/>
              <a:gd name="connsiteY10859" fmla="*/ 2460231 h 4687251"/>
              <a:gd name="connsiteX10860" fmla="*/ 4287275 w 8079933"/>
              <a:gd name="connsiteY10860" fmla="*/ 2471492 h 4687251"/>
              <a:gd name="connsiteX10861" fmla="*/ 4266006 w 8079933"/>
              <a:gd name="connsiteY10861" fmla="*/ 2480261 h 4687251"/>
              <a:gd name="connsiteX10862" fmla="*/ 4262099 w 8079933"/>
              <a:gd name="connsiteY10862" fmla="*/ 2476147 h 4687251"/>
              <a:gd name="connsiteX10863" fmla="*/ 4220104 w 8079933"/>
              <a:gd name="connsiteY10863" fmla="*/ 2465754 h 4687251"/>
              <a:gd name="connsiteX10864" fmla="*/ 4220104 w 8079933"/>
              <a:gd name="connsiteY10864" fmla="*/ 2465754 h 4687251"/>
              <a:gd name="connsiteX10865" fmla="*/ 4262099 w 8079933"/>
              <a:gd name="connsiteY10865" fmla="*/ 2476148 h 4687251"/>
              <a:gd name="connsiteX10866" fmla="*/ 4266006 w 8079933"/>
              <a:gd name="connsiteY10866" fmla="*/ 2480262 h 4687251"/>
              <a:gd name="connsiteX10867" fmla="*/ 4287275 w 8079933"/>
              <a:gd name="connsiteY10867" fmla="*/ 2471493 h 4687251"/>
              <a:gd name="connsiteX10868" fmla="*/ 4287275 w 8079933"/>
              <a:gd name="connsiteY10868" fmla="*/ 2471492 h 4687251"/>
              <a:gd name="connsiteX10869" fmla="*/ 4314404 w 8079933"/>
              <a:gd name="connsiteY10869" fmla="*/ 2460232 h 4687251"/>
              <a:gd name="connsiteX10870" fmla="*/ 4507130 w 8079933"/>
              <a:gd name="connsiteY10870" fmla="*/ 2558000 h 4687251"/>
              <a:gd name="connsiteX10871" fmla="*/ 4507130 w 8079933"/>
              <a:gd name="connsiteY10871" fmla="*/ 2558000 h 4687251"/>
              <a:gd name="connsiteX10872" fmla="*/ 3654190 w 8079933"/>
              <a:gd name="connsiteY10872" fmla="*/ 2459798 h 4687251"/>
              <a:gd name="connsiteX10873" fmla="*/ 3648329 w 8079933"/>
              <a:gd name="connsiteY10873" fmla="*/ 2460664 h 4687251"/>
              <a:gd name="connsiteX10874" fmla="*/ 3643121 w 8079933"/>
              <a:gd name="connsiteY10874" fmla="*/ 2464346 h 4687251"/>
              <a:gd name="connsiteX10875" fmla="*/ 3643121 w 8079933"/>
              <a:gd name="connsiteY10875" fmla="*/ 2464346 h 4687251"/>
              <a:gd name="connsiteX10876" fmla="*/ 3648330 w 8079933"/>
              <a:gd name="connsiteY10876" fmla="*/ 2460665 h 4687251"/>
              <a:gd name="connsiteX10877" fmla="*/ 3654189 w 8079933"/>
              <a:gd name="connsiteY10877" fmla="*/ 2459799 h 4687251"/>
              <a:gd name="connsiteX10878" fmla="*/ 3662545 w 8079933"/>
              <a:gd name="connsiteY10878" fmla="*/ 2459799 h 4687251"/>
              <a:gd name="connsiteX10879" fmla="*/ 3662545 w 8079933"/>
              <a:gd name="connsiteY10879" fmla="*/ 2459798 h 4687251"/>
              <a:gd name="connsiteX10880" fmla="*/ 6148879 w 8079933"/>
              <a:gd name="connsiteY10880" fmla="*/ 2459256 h 4687251"/>
              <a:gd name="connsiteX10881" fmla="*/ 6148879 w 8079933"/>
              <a:gd name="connsiteY10881" fmla="*/ 2459257 h 4687251"/>
              <a:gd name="connsiteX10882" fmla="*/ 6153870 w 8079933"/>
              <a:gd name="connsiteY10882" fmla="*/ 2459907 h 4687251"/>
              <a:gd name="connsiteX10883" fmla="*/ 6153870 w 8079933"/>
              <a:gd name="connsiteY10883" fmla="*/ 2459906 h 4687251"/>
              <a:gd name="connsiteX10884" fmla="*/ 2017215 w 8079933"/>
              <a:gd name="connsiteY10884" fmla="*/ 2459149 h 4687251"/>
              <a:gd name="connsiteX10885" fmla="*/ 2028175 w 8079933"/>
              <a:gd name="connsiteY10885" fmla="*/ 2461098 h 4687251"/>
              <a:gd name="connsiteX10886" fmla="*/ 2032515 w 8079933"/>
              <a:gd name="connsiteY10886" fmla="*/ 2466186 h 4687251"/>
              <a:gd name="connsiteX10887" fmla="*/ 2039895 w 8079933"/>
              <a:gd name="connsiteY10887" fmla="*/ 2467702 h 4687251"/>
              <a:gd name="connsiteX10888" fmla="*/ 2045754 w 8079933"/>
              <a:gd name="connsiteY10888" fmla="*/ 2465537 h 4687251"/>
              <a:gd name="connsiteX10889" fmla="*/ 2063551 w 8079933"/>
              <a:gd name="connsiteY10889" fmla="*/ 2468135 h 4687251"/>
              <a:gd name="connsiteX10890" fmla="*/ 2065830 w 8079933"/>
              <a:gd name="connsiteY10890" fmla="*/ 2470842 h 4687251"/>
              <a:gd name="connsiteX10891" fmla="*/ 2070062 w 8079933"/>
              <a:gd name="connsiteY10891" fmla="*/ 2469867 h 4687251"/>
              <a:gd name="connsiteX10892" fmla="*/ 2075597 w 8079933"/>
              <a:gd name="connsiteY10892" fmla="*/ 2475822 h 4687251"/>
              <a:gd name="connsiteX10893" fmla="*/ 2077333 w 8079933"/>
              <a:gd name="connsiteY10893" fmla="*/ 2481020 h 4687251"/>
              <a:gd name="connsiteX10894" fmla="*/ 2082216 w 8079933"/>
              <a:gd name="connsiteY10894" fmla="*/ 2483185 h 4687251"/>
              <a:gd name="connsiteX10895" fmla="*/ 2095455 w 8079933"/>
              <a:gd name="connsiteY10895" fmla="*/ 2483943 h 4687251"/>
              <a:gd name="connsiteX10896" fmla="*/ 2101423 w 8079933"/>
              <a:gd name="connsiteY10896" fmla="*/ 2488598 h 4687251"/>
              <a:gd name="connsiteX10897" fmla="*/ 2106958 w 8079933"/>
              <a:gd name="connsiteY10897" fmla="*/ 2491630 h 4687251"/>
              <a:gd name="connsiteX10898" fmla="*/ 2113035 w 8079933"/>
              <a:gd name="connsiteY10898" fmla="*/ 2497368 h 4687251"/>
              <a:gd name="connsiteX10899" fmla="*/ 2122150 w 8079933"/>
              <a:gd name="connsiteY10899" fmla="*/ 2499426 h 4687251"/>
              <a:gd name="connsiteX10900" fmla="*/ 2125080 w 8079933"/>
              <a:gd name="connsiteY10900" fmla="*/ 2502457 h 4687251"/>
              <a:gd name="connsiteX10901" fmla="*/ 2126599 w 8079933"/>
              <a:gd name="connsiteY10901" fmla="*/ 2499534 h 4687251"/>
              <a:gd name="connsiteX10902" fmla="*/ 2129204 w 8079933"/>
              <a:gd name="connsiteY10902" fmla="*/ 2500724 h 4687251"/>
              <a:gd name="connsiteX10903" fmla="*/ 2128119 w 8079933"/>
              <a:gd name="connsiteY10903" fmla="*/ 2503648 h 4687251"/>
              <a:gd name="connsiteX10904" fmla="*/ 2130072 w 8079933"/>
              <a:gd name="connsiteY10904" fmla="*/ 2505922 h 4687251"/>
              <a:gd name="connsiteX10905" fmla="*/ 2133870 w 8079933"/>
              <a:gd name="connsiteY10905" fmla="*/ 2501916 h 4687251"/>
              <a:gd name="connsiteX10906" fmla="*/ 2140164 w 8079933"/>
              <a:gd name="connsiteY10906" fmla="*/ 2506788 h 4687251"/>
              <a:gd name="connsiteX10907" fmla="*/ 2143962 w 8079933"/>
              <a:gd name="connsiteY10907" fmla="*/ 2510252 h 4687251"/>
              <a:gd name="connsiteX10908" fmla="*/ 2146458 w 8079933"/>
              <a:gd name="connsiteY10908" fmla="*/ 2507979 h 4687251"/>
              <a:gd name="connsiteX10909" fmla="*/ 2155030 w 8079933"/>
              <a:gd name="connsiteY10909" fmla="*/ 2514367 h 4687251"/>
              <a:gd name="connsiteX10910" fmla="*/ 2159480 w 8079933"/>
              <a:gd name="connsiteY10910" fmla="*/ 2514691 h 4687251"/>
              <a:gd name="connsiteX10911" fmla="*/ 2163495 w 8079933"/>
              <a:gd name="connsiteY10911" fmla="*/ 2513175 h 4687251"/>
              <a:gd name="connsiteX10912" fmla="*/ 2166425 w 8079933"/>
              <a:gd name="connsiteY10912" fmla="*/ 2514150 h 4687251"/>
              <a:gd name="connsiteX10913" fmla="*/ 2164689 w 8079933"/>
              <a:gd name="connsiteY10913" fmla="*/ 2519997 h 4687251"/>
              <a:gd name="connsiteX10914" fmla="*/ 2162084 w 8079933"/>
              <a:gd name="connsiteY10914" fmla="*/ 2522379 h 4687251"/>
              <a:gd name="connsiteX10915" fmla="*/ 2165339 w 8079933"/>
              <a:gd name="connsiteY10915" fmla="*/ 2523678 h 4687251"/>
              <a:gd name="connsiteX10916" fmla="*/ 2177819 w 8079933"/>
              <a:gd name="connsiteY10916" fmla="*/ 2523678 h 4687251"/>
              <a:gd name="connsiteX10917" fmla="*/ 2188345 w 8079933"/>
              <a:gd name="connsiteY10917" fmla="*/ 2527901 h 4687251"/>
              <a:gd name="connsiteX10918" fmla="*/ 2191167 w 8079933"/>
              <a:gd name="connsiteY10918" fmla="*/ 2534505 h 4687251"/>
              <a:gd name="connsiteX10919" fmla="*/ 2195507 w 8079933"/>
              <a:gd name="connsiteY10919" fmla="*/ 2534938 h 4687251"/>
              <a:gd name="connsiteX10920" fmla="*/ 2197569 w 8079933"/>
              <a:gd name="connsiteY10920" fmla="*/ 2537211 h 4687251"/>
              <a:gd name="connsiteX10921" fmla="*/ 2194965 w 8079933"/>
              <a:gd name="connsiteY10921" fmla="*/ 2541976 h 4687251"/>
              <a:gd name="connsiteX10922" fmla="*/ 2188996 w 8079933"/>
              <a:gd name="connsiteY10922" fmla="*/ 2543599 h 4687251"/>
              <a:gd name="connsiteX10923" fmla="*/ 2180858 w 8079933"/>
              <a:gd name="connsiteY10923" fmla="*/ 2542517 h 4687251"/>
              <a:gd name="connsiteX10924" fmla="*/ 2177385 w 8079933"/>
              <a:gd name="connsiteY10924" fmla="*/ 2545332 h 4687251"/>
              <a:gd name="connsiteX10925" fmla="*/ 2174455 w 8079933"/>
              <a:gd name="connsiteY10925" fmla="*/ 2544791 h 4687251"/>
              <a:gd name="connsiteX10926" fmla="*/ 2172827 w 8079933"/>
              <a:gd name="connsiteY10926" fmla="*/ 2547389 h 4687251"/>
              <a:gd name="connsiteX10927" fmla="*/ 2160565 w 8079933"/>
              <a:gd name="connsiteY10927" fmla="*/ 2550313 h 4687251"/>
              <a:gd name="connsiteX10928" fmla="*/ 2152318 w 8079933"/>
              <a:gd name="connsiteY10928" fmla="*/ 2546631 h 4687251"/>
              <a:gd name="connsiteX10929" fmla="*/ 2145807 w 8079933"/>
              <a:gd name="connsiteY10929" fmla="*/ 2545765 h 4687251"/>
              <a:gd name="connsiteX10930" fmla="*/ 2134195 w 8079933"/>
              <a:gd name="connsiteY10930" fmla="*/ 2548472 h 4687251"/>
              <a:gd name="connsiteX10931" fmla="*/ 2129964 w 8079933"/>
              <a:gd name="connsiteY10931" fmla="*/ 2546739 h 4687251"/>
              <a:gd name="connsiteX10932" fmla="*/ 2124429 w 8079933"/>
              <a:gd name="connsiteY10932" fmla="*/ 2549663 h 4687251"/>
              <a:gd name="connsiteX10933" fmla="*/ 2116073 w 8079933"/>
              <a:gd name="connsiteY10933" fmla="*/ 2548255 h 4687251"/>
              <a:gd name="connsiteX10934" fmla="*/ 2116290 w 8079933"/>
              <a:gd name="connsiteY10934" fmla="*/ 2543925 h 4687251"/>
              <a:gd name="connsiteX10935" fmla="*/ 2124212 w 8079933"/>
              <a:gd name="connsiteY10935" fmla="*/ 2536779 h 4687251"/>
              <a:gd name="connsiteX10936" fmla="*/ 2130289 w 8079933"/>
              <a:gd name="connsiteY10936" fmla="*/ 2535263 h 4687251"/>
              <a:gd name="connsiteX10937" fmla="*/ 2130940 w 8079933"/>
              <a:gd name="connsiteY10937" fmla="*/ 2530607 h 4687251"/>
              <a:gd name="connsiteX10938" fmla="*/ 2127034 w 8079933"/>
              <a:gd name="connsiteY10938" fmla="*/ 2529308 h 4687251"/>
              <a:gd name="connsiteX10939" fmla="*/ 2125839 w 8079933"/>
              <a:gd name="connsiteY10939" fmla="*/ 2526818 h 4687251"/>
              <a:gd name="connsiteX10940" fmla="*/ 2117267 w 8079933"/>
              <a:gd name="connsiteY10940" fmla="*/ 2526818 h 4687251"/>
              <a:gd name="connsiteX10941" fmla="*/ 2111950 w 8079933"/>
              <a:gd name="connsiteY10941" fmla="*/ 2523570 h 4687251"/>
              <a:gd name="connsiteX10942" fmla="*/ 2110214 w 8079933"/>
              <a:gd name="connsiteY10942" fmla="*/ 2525085 h 4687251"/>
              <a:gd name="connsiteX10943" fmla="*/ 2106307 w 8079933"/>
              <a:gd name="connsiteY10943" fmla="*/ 2525085 h 4687251"/>
              <a:gd name="connsiteX10944" fmla="*/ 2098385 w 8079933"/>
              <a:gd name="connsiteY10944" fmla="*/ 2515666 h 4687251"/>
              <a:gd name="connsiteX10945" fmla="*/ 2094478 w 8079933"/>
              <a:gd name="connsiteY10945" fmla="*/ 2501483 h 4687251"/>
              <a:gd name="connsiteX10946" fmla="*/ 2091657 w 8079933"/>
              <a:gd name="connsiteY10946" fmla="*/ 2500400 h 4687251"/>
              <a:gd name="connsiteX10947" fmla="*/ 2084929 w 8079933"/>
              <a:gd name="connsiteY10947" fmla="*/ 2502673 h 4687251"/>
              <a:gd name="connsiteX10948" fmla="*/ 2081456 w 8079933"/>
              <a:gd name="connsiteY10948" fmla="*/ 2501050 h 4687251"/>
              <a:gd name="connsiteX10949" fmla="*/ 2076898 w 8079933"/>
              <a:gd name="connsiteY10949" fmla="*/ 2501699 h 4687251"/>
              <a:gd name="connsiteX10950" fmla="*/ 2072884 w 8079933"/>
              <a:gd name="connsiteY10950" fmla="*/ 2498234 h 4687251"/>
              <a:gd name="connsiteX10951" fmla="*/ 2070279 w 8079933"/>
              <a:gd name="connsiteY10951" fmla="*/ 2499750 h 4687251"/>
              <a:gd name="connsiteX10952" fmla="*/ 2064094 w 8079933"/>
              <a:gd name="connsiteY10952" fmla="*/ 2498667 h 4687251"/>
              <a:gd name="connsiteX10953" fmla="*/ 2056389 w 8079933"/>
              <a:gd name="connsiteY10953" fmla="*/ 2493146 h 4687251"/>
              <a:gd name="connsiteX10954" fmla="*/ 2056063 w 8079933"/>
              <a:gd name="connsiteY10954" fmla="*/ 2490547 h 4687251"/>
              <a:gd name="connsiteX10955" fmla="*/ 2052917 w 8079933"/>
              <a:gd name="connsiteY10955" fmla="*/ 2488165 h 4687251"/>
              <a:gd name="connsiteX10956" fmla="*/ 2051180 w 8079933"/>
              <a:gd name="connsiteY10956" fmla="*/ 2490764 h 4687251"/>
              <a:gd name="connsiteX10957" fmla="*/ 2047925 w 8079933"/>
              <a:gd name="connsiteY10957" fmla="*/ 2490981 h 4687251"/>
              <a:gd name="connsiteX10958" fmla="*/ 2041197 w 8079933"/>
              <a:gd name="connsiteY10958" fmla="*/ 2490114 h 4687251"/>
              <a:gd name="connsiteX10959" fmla="*/ 2037398 w 8079933"/>
              <a:gd name="connsiteY10959" fmla="*/ 2486866 h 4687251"/>
              <a:gd name="connsiteX10960" fmla="*/ 2033058 w 8079933"/>
              <a:gd name="connsiteY10960" fmla="*/ 2486866 h 4687251"/>
              <a:gd name="connsiteX10961" fmla="*/ 2030128 w 8079933"/>
              <a:gd name="connsiteY10961" fmla="*/ 2487840 h 4687251"/>
              <a:gd name="connsiteX10962" fmla="*/ 2016021 w 8079933"/>
              <a:gd name="connsiteY10962" fmla="*/ 2485675 h 4687251"/>
              <a:gd name="connsiteX10963" fmla="*/ 2012332 w 8079933"/>
              <a:gd name="connsiteY10963" fmla="*/ 2482751 h 4687251"/>
              <a:gd name="connsiteX10964" fmla="*/ 2016021 w 8079933"/>
              <a:gd name="connsiteY10964" fmla="*/ 2480153 h 4687251"/>
              <a:gd name="connsiteX10965" fmla="*/ 2021338 w 8079933"/>
              <a:gd name="connsiteY10965" fmla="*/ 2480694 h 4687251"/>
              <a:gd name="connsiteX10966" fmla="*/ 2024051 w 8079933"/>
              <a:gd name="connsiteY10966" fmla="*/ 2478421 h 4687251"/>
              <a:gd name="connsiteX10967" fmla="*/ 2021338 w 8079933"/>
              <a:gd name="connsiteY10967" fmla="*/ 2475822 h 4687251"/>
              <a:gd name="connsiteX10968" fmla="*/ 2010812 w 8079933"/>
              <a:gd name="connsiteY10968" fmla="*/ 2474631 h 4687251"/>
              <a:gd name="connsiteX10969" fmla="*/ 2006146 w 8079933"/>
              <a:gd name="connsiteY10969" fmla="*/ 2474848 h 4687251"/>
              <a:gd name="connsiteX10970" fmla="*/ 1999635 w 8079933"/>
              <a:gd name="connsiteY10970" fmla="*/ 2473765 h 4687251"/>
              <a:gd name="connsiteX10971" fmla="*/ 1996705 w 8079933"/>
              <a:gd name="connsiteY10971" fmla="*/ 2477014 h 4687251"/>
              <a:gd name="connsiteX10972" fmla="*/ 1992582 w 8079933"/>
              <a:gd name="connsiteY10972" fmla="*/ 2477879 h 4687251"/>
              <a:gd name="connsiteX10973" fmla="*/ 1985528 w 8079933"/>
              <a:gd name="connsiteY10973" fmla="*/ 2486433 h 4687251"/>
              <a:gd name="connsiteX10974" fmla="*/ 1980645 w 8079933"/>
              <a:gd name="connsiteY10974" fmla="*/ 2487407 h 4687251"/>
              <a:gd name="connsiteX10975" fmla="*/ 1977606 w 8079933"/>
              <a:gd name="connsiteY10975" fmla="*/ 2484917 h 4687251"/>
              <a:gd name="connsiteX10976" fmla="*/ 1975110 w 8079933"/>
              <a:gd name="connsiteY10976" fmla="*/ 2486975 h 4687251"/>
              <a:gd name="connsiteX10977" fmla="*/ 1968925 w 8079933"/>
              <a:gd name="connsiteY10977" fmla="*/ 2485783 h 4687251"/>
              <a:gd name="connsiteX10978" fmla="*/ 1964150 w 8079933"/>
              <a:gd name="connsiteY10978" fmla="*/ 2493146 h 4687251"/>
              <a:gd name="connsiteX10979" fmla="*/ 1960026 w 8079933"/>
              <a:gd name="connsiteY10979" fmla="*/ 2493579 h 4687251"/>
              <a:gd name="connsiteX10980" fmla="*/ 1954167 w 8079933"/>
              <a:gd name="connsiteY10980" fmla="*/ 2496935 h 4687251"/>
              <a:gd name="connsiteX10981" fmla="*/ 1953949 w 8079933"/>
              <a:gd name="connsiteY10981" fmla="*/ 2493146 h 4687251"/>
              <a:gd name="connsiteX10982" fmla="*/ 1952214 w 8079933"/>
              <a:gd name="connsiteY10982" fmla="*/ 2492171 h 4687251"/>
              <a:gd name="connsiteX10983" fmla="*/ 1947439 w 8079933"/>
              <a:gd name="connsiteY10983" fmla="*/ 2497693 h 4687251"/>
              <a:gd name="connsiteX10984" fmla="*/ 1942881 w 8079933"/>
              <a:gd name="connsiteY10984" fmla="*/ 2495420 h 4687251"/>
              <a:gd name="connsiteX10985" fmla="*/ 1943098 w 8079933"/>
              <a:gd name="connsiteY10985" fmla="*/ 2492279 h 4687251"/>
              <a:gd name="connsiteX10986" fmla="*/ 1946571 w 8079933"/>
              <a:gd name="connsiteY10986" fmla="*/ 2493362 h 4687251"/>
              <a:gd name="connsiteX10987" fmla="*/ 1955035 w 8079933"/>
              <a:gd name="connsiteY10987" fmla="*/ 2488382 h 4687251"/>
              <a:gd name="connsiteX10988" fmla="*/ 1958942 w 8079933"/>
              <a:gd name="connsiteY10988" fmla="*/ 2490655 h 4687251"/>
              <a:gd name="connsiteX10989" fmla="*/ 1960135 w 8079933"/>
              <a:gd name="connsiteY10989" fmla="*/ 2488382 h 4687251"/>
              <a:gd name="connsiteX10990" fmla="*/ 1957422 w 8079933"/>
              <a:gd name="connsiteY10990" fmla="*/ 2484809 h 4687251"/>
              <a:gd name="connsiteX10991" fmla="*/ 1958073 w 8079933"/>
              <a:gd name="connsiteY10991" fmla="*/ 2479287 h 4687251"/>
              <a:gd name="connsiteX10992" fmla="*/ 1962414 w 8079933"/>
              <a:gd name="connsiteY10992" fmla="*/ 2476905 h 4687251"/>
              <a:gd name="connsiteX10993" fmla="*/ 1965886 w 8079933"/>
              <a:gd name="connsiteY10993" fmla="*/ 2472683 h 4687251"/>
              <a:gd name="connsiteX10994" fmla="*/ 1975978 w 8079933"/>
              <a:gd name="connsiteY10994" fmla="*/ 2469867 h 4687251"/>
              <a:gd name="connsiteX10995" fmla="*/ 1979668 w 8079933"/>
              <a:gd name="connsiteY10995" fmla="*/ 2466512 h 4687251"/>
              <a:gd name="connsiteX10996" fmla="*/ 1989651 w 8079933"/>
              <a:gd name="connsiteY10996" fmla="*/ 2464129 h 4687251"/>
              <a:gd name="connsiteX10997" fmla="*/ 2002673 w 8079933"/>
              <a:gd name="connsiteY10997" fmla="*/ 2463480 h 4687251"/>
              <a:gd name="connsiteX10998" fmla="*/ 2007557 w 8079933"/>
              <a:gd name="connsiteY10998" fmla="*/ 2459474 h 4687251"/>
              <a:gd name="connsiteX10999" fmla="*/ 6469816 w 8079933"/>
              <a:gd name="connsiteY10999" fmla="*/ 2457417 h 4687251"/>
              <a:gd name="connsiteX11000" fmla="*/ 6466615 w 8079933"/>
              <a:gd name="connsiteY11000" fmla="*/ 2458716 h 4687251"/>
              <a:gd name="connsiteX11001" fmla="*/ 6466311 w 8079933"/>
              <a:gd name="connsiteY11001" fmla="*/ 2458346 h 4687251"/>
              <a:gd name="connsiteX11002" fmla="*/ 6466615 w 8079933"/>
              <a:gd name="connsiteY11002" fmla="*/ 2458716 h 4687251"/>
              <a:gd name="connsiteX11003" fmla="*/ 6474517 w 8079933"/>
              <a:gd name="connsiteY11003" fmla="*/ 2457298 h 4687251"/>
              <a:gd name="connsiteX11004" fmla="*/ 6477141 w 8079933"/>
              <a:gd name="connsiteY11004" fmla="*/ 2459366 h 4687251"/>
              <a:gd name="connsiteX11005" fmla="*/ 6477141 w 8079933"/>
              <a:gd name="connsiteY11005" fmla="*/ 2459365 h 4687251"/>
              <a:gd name="connsiteX11006" fmla="*/ 6044060 w 8079933"/>
              <a:gd name="connsiteY11006" fmla="*/ 2454908 h 4687251"/>
              <a:gd name="connsiteX11007" fmla="*/ 6045028 w 8079933"/>
              <a:gd name="connsiteY11007" fmla="*/ 2460881 h 4687251"/>
              <a:gd name="connsiteX11008" fmla="*/ 6049225 w 8079933"/>
              <a:gd name="connsiteY11008" fmla="*/ 2466863 h 4687251"/>
              <a:gd name="connsiteX11009" fmla="*/ 6045029 w 8079933"/>
              <a:gd name="connsiteY11009" fmla="*/ 2460881 h 4687251"/>
              <a:gd name="connsiteX11010" fmla="*/ 6452310 w 8079933"/>
              <a:gd name="connsiteY11010" fmla="*/ 2454238 h 4687251"/>
              <a:gd name="connsiteX11011" fmla="*/ 6453810 w 8079933"/>
              <a:gd name="connsiteY11011" fmla="*/ 2456443 h 4687251"/>
              <a:gd name="connsiteX11012" fmla="*/ 6461133 w 8079933"/>
              <a:gd name="connsiteY11012" fmla="*/ 2456369 h 4687251"/>
              <a:gd name="connsiteX11013" fmla="*/ 6453810 w 8079933"/>
              <a:gd name="connsiteY11013" fmla="*/ 2456442 h 4687251"/>
              <a:gd name="connsiteX11014" fmla="*/ 6446431 w 8079933"/>
              <a:gd name="connsiteY11014" fmla="*/ 2452328 h 4687251"/>
              <a:gd name="connsiteX11015" fmla="*/ 6446431 w 8079933"/>
              <a:gd name="connsiteY11015" fmla="*/ 2452328 h 4687251"/>
              <a:gd name="connsiteX11016" fmla="*/ 6450298 w 8079933"/>
              <a:gd name="connsiteY11016" fmla="*/ 2453115 h 4687251"/>
              <a:gd name="connsiteX11017" fmla="*/ 6292229 w 8079933"/>
              <a:gd name="connsiteY11017" fmla="*/ 2451354 h 4687251"/>
              <a:gd name="connsiteX11018" fmla="*/ 6294182 w 8079933"/>
              <a:gd name="connsiteY11018" fmla="*/ 2454385 h 4687251"/>
              <a:gd name="connsiteX11019" fmla="*/ 6294942 w 8079933"/>
              <a:gd name="connsiteY11019" fmla="*/ 2452545 h 4687251"/>
              <a:gd name="connsiteX11020" fmla="*/ 6301670 w 8079933"/>
              <a:gd name="connsiteY11020" fmla="*/ 2451679 h 4687251"/>
              <a:gd name="connsiteX11021" fmla="*/ 6306552 w 8079933"/>
              <a:gd name="connsiteY11021" fmla="*/ 2454710 h 4687251"/>
              <a:gd name="connsiteX11022" fmla="*/ 6306552 w 8079933"/>
              <a:gd name="connsiteY11022" fmla="*/ 2458391 h 4687251"/>
              <a:gd name="connsiteX11023" fmla="*/ 6305767 w 8079933"/>
              <a:gd name="connsiteY11023" fmla="*/ 2459959 h 4687251"/>
              <a:gd name="connsiteX11024" fmla="*/ 6306553 w 8079933"/>
              <a:gd name="connsiteY11024" fmla="*/ 2458391 h 4687251"/>
              <a:gd name="connsiteX11025" fmla="*/ 6306553 w 8079933"/>
              <a:gd name="connsiteY11025" fmla="*/ 2454710 h 4687251"/>
              <a:gd name="connsiteX11026" fmla="*/ 6301670 w 8079933"/>
              <a:gd name="connsiteY11026" fmla="*/ 2451678 h 4687251"/>
              <a:gd name="connsiteX11027" fmla="*/ 6294942 w 8079933"/>
              <a:gd name="connsiteY11027" fmla="*/ 2452544 h 4687251"/>
              <a:gd name="connsiteX11028" fmla="*/ 6294182 w 8079933"/>
              <a:gd name="connsiteY11028" fmla="*/ 2454385 h 4687251"/>
              <a:gd name="connsiteX11029" fmla="*/ 6427007 w 8079933"/>
              <a:gd name="connsiteY11029" fmla="*/ 2451354 h 4687251"/>
              <a:gd name="connsiteX11030" fmla="*/ 6427331 w 8079933"/>
              <a:gd name="connsiteY11030" fmla="*/ 2458716 h 4687251"/>
              <a:gd name="connsiteX11031" fmla="*/ 6419302 w 8079933"/>
              <a:gd name="connsiteY11031" fmla="*/ 2461314 h 4687251"/>
              <a:gd name="connsiteX11032" fmla="*/ 6414636 w 8079933"/>
              <a:gd name="connsiteY11032" fmla="*/ 2458608 h 4687251"/>
              <a:gd name="connsiteX11033" fmla="*/ 6408775 w 8079933"/>
              <a:gd name="connsiteY11033" fmla="*/ 2460340 h 4687251"/>
              <a:gd name="connsiteX11034" fmla="*/ 6407907 w 8079933"/>
              <a:gd name="connsiteY11034" fmla="*/ 2463913 h 4687251"/>
              <a:gd name="connsiteX11035" fmla="*/ 6405252 w 8079933"/>
              <a:gd name="connsiteY11035" fmla="*/ 2465211 h 4687251"/>
              <a:gd name="connsiteX11036" fmla="*/ 6407908 w 8079933"/>
              <a:gd name="connsiteY11036" fmla="*/ 2463913 h 4687251"/>
              <a:gd name="connsiteX11037" fmla="*/ 6408776 w 8079933"/>
              <a:gd name="connsiteY11037" fmla="*/ 2460340 h 4687251"/>
              <a:gd name="connsiteX11038" fmla="*/ 6414636 w 8079933"/>
              <a:gd name="connsiteY11038" fmla="*/ 2458608 h 4687251"/>
              <a:gd name="connsiteX11039" fmla="*/ 6419302 w 8079933"/>
              <a:gd name="connsiteY11039" fmla="*/ 2461314 h 4687251"/>
              <a:gd name="connsiteX11040" fmla="*/ 6427332 w 8079933"/>
              <a:gd name="connsiteY11040" fmla="*/ 2458716 h 4687251"/>
              <a:gd name="connsiteX11041" fmla="*/ 6154416 w 8079933"/>
              <a:gd name="connsiteY11041" fmla="*/ 2451181 h 4687251"/>
              <a:gd name="connsiteX11042" fmla="*/ 6154413 w 8079933"/>
              <a:gd name="connsiteY11042" fmla="*/ 2451353 h 4687251"/>
              <a:gd name="connsiteX11043" fmla="*/ 6154365 w 8079933"/>
              <a:gd name="connsiteY11043" fmla="*/ 2452116 h 4687251"/>
              <a:gd name="connsiteX11044" fmla="*/ 6154413 w 8079933"/>
              <a:gd name="connsiteY11044" fmla="*/ 2451354 h 4687251"/>
              <a:gd name="connsiteX11045" fmla="*/ 2178580 w 8079933"/>
              <a:gd name="connsiteY11045" fmla="*/ 2448106 h 4687251"/>
              <a:gd name="connsiteX11046" fmla="*/ 2182812 w 8079933"/>
              <a:gd name="connsiteY11046" fmla="*/ 2455685 h 4687251"/>
              <a:gd name="connsiteX11047" fmla="*/ 2184114 w 8079933"/>
              <a:gd name="connsiteY11047" fmla="*/ 2461532 h 4687251"/>
              <a:gd name="connsiteX11048" fmla="*/ 2188346 w 8079933"/>
              <a:gd name="connsiteY11048" fmla="*/ 2469110 h 4687251"/>
              <a:gd name="connsiteX11049" fmla="*/ 2185308 w 8079933"/>
              <a:gd name="connsiteY11049" fmla="*/ 2468785 h 4687251"/>
              <a:gd name="connsiteX11050" fmla="*/ 2182486 w 8079933"/>
              <a:gd name="connsiteY11050" fmla="*/ 2465212 h 4687251"/>
              <a:gd name="connsiteX11051" fmla="*/ 2178471 w 8079933"/>
              <a:gd name="connsiteY11051" fmla="*/ 2458824 h 4687251"/>
              <a:gd name="connsiteX11052" fmla="*/ 2181076 w 8079933"/>
              <a:gd name="connsiteY11052" fmla="*/ 2457092 h 4687251"/>
              <a:gd name="connsiteX11053" fmla="*/ 2177929 w 8079933"/>
              <a:gd name="connsiteY11053" fmla="*/ 2451030 h 4687251"/>
              <a:gd name="connsiteX11054" fmla="*/ 6104279 w 8079933"/>
              <a:gd name="connsiteY11054" fmla="*/ 2448031 h 4687251"/>
              <a:gd name="connsiteX11055" fmla="*/ 6105039 w 8079933"/>
              <a:gd name="connsiteY11055" fmla="*/ 2448755 h 4687251"/>
              <a:gd name="connsiteX11056" fmla="*/ 6106015 w 8079933"/>
              <a:gd name="connsiteY11056" fmla="*/ 2451137 h 4687251"/>
              <a:gd name="connsiteX11057" fmla="*/ 6108047 w 8079933"/>
              <a:gd name="connsiteY11057" fmla="*/ 2453105 h 4687251"/>
              <a:gd name="connsiteX11058" fmla="*/ 6106015 w 8079933"/>
              <a:gd name="connsiteY11058" fmla="*/ 2451136 h 4687251"/>
              <a:gd name="connsiteX11059" fmla="*/ 6105039 w 8079933"/>
              <a:gd name="connsiteY11059" fmla="*/ 2448754 h 4687251"/>
              <a:gd name="connsiteX11060" fmla="*/ 6287238 w 8079933"/>
              <a:gd name="connsiteY11060" fmla="*/ 2447673 h 4687251"/>
              <a:gd name="connsiteX11061" fmla="*/ 6287238 w 8079933"/>
              <a:gd name="connsiteY11061" fmla="*/ 2447673 h 4687251"/>
              <a:gd name="connsiteX11062" fmla="*/ 6293422 w 8079933"/>
              <a:gd name="connsiteY11062" fmla="*/ 2449080 h 4687251"/>
              <a:gd name="connsiteX11063" fmla="*/ 6293422 w 8079933"/>
              <a:gd name="connsiteY11063" fmla="*/ 2449079 h 4687251"/>
              <a:gd name="connsiteX11064" fmla="*/ 2161542 w 8079933"/>
              <a:gd name="connsiteY11064" fmla="*/ 2445940 h 4687251"/>
              <a:gd name="connsiteX11065" fmla="*/ 2164472 w 8079933"/>
              <a:gd name="connsiteY11065" fmla="*/ 2449838 h 4687251"/>
              <a:gd name="connsiteX11066" fmla="*/ 2160674 w 8079933"/>
              <a:gd name="connsiteY11066" fmla="*/ 2449838 h 4687251"/>
              <a:gd name="connsiteX11067" fmla="*/ 6441331 w 8079933"/>
              <a:gd name="connsiteY11067" fmla="*/ 2445073 h 4687251"/>
              <a:gd name="connsiteX11068" fmla="*/ 6437966 w 8079933"/>
              <a:gd name="connsiteY11068" fmla="*/ 2448430 h 4687251"/>
              <a:gd name="connsiteX11069" fmla="*/ 6432215 w 8079933"/>
              <a:gd name="connsiteY11069" fmla="*/ 2448430 h 4687251"/>
              <a:gd name="connsiteX11070" fmla="*/ 6428901 w 8079933"/>
              <a:gd name="connsiteY11070" fmla="*/ 2450291 h 4687251"/>
              <a:gd name="connsiteX11071" fmla="*/ 6432215 w 8079933"/>
              <a:gd name="connsiteY11071" fmla="*/ 2448431 h 4687251"/>
              <a:gd name="connsiteX11072" fmla="*/ 6437967 w 8079933"/>
              <a:gd name="connsiteY11072" fmla="*/ 2448431 h 4687251"/>
              <a:gd name="connsiteX11073" fmla="*/ 6441331 w 8079933"/>
              <a:gd name="connsiteY11073" fmla="*/ 2445074 h 4687251"/>
              <a:gd name="connsiteX11074" fmla="*/ 6444731 w 8079933"/>
              <a:gd name="connsiteY11074" fmla="*/ 2447889 h 4687251"/>
              <a:gd name="connsiteX11075" fmla="*/ 6120427 w 8079933"/>
              <a:gd name="connsiteY11075" fmla="*/ 2442906 h 4687251"/>
              <a:gd name="connsiteX11076" fmla="*/ 6122510 w 8079933"/>
              <a:gd name="connsiteY11076" fmla="*/ 2444316 h 4687251"/>
              <a:gd name="connsiteX11077" fmla="*/ 6126633 w 8079933"/>
              <a:gd name="connsiteY11077" fmla="*/ 2443991 h 4687251"/>
              <a:gd name="connsiteX11078" fmla="*/ 6126633 w 8079933"/>
              <a:gd name="connsiteY11078" fmla="*/ 2443991 h 4687251"/>
              <a:gd name="connsiteX11079" fmla="*/ 6122510 w 8079933"/>
              <a:gd name="connsiteY11079" fmla="*/ 2444315 h 4687251"/>
              <a:gd name="connsiteX11080" fmla="*/ 6119470 w 8079933"/>
              <a:gd name="connsiteY11080" fmla="*/ 2442258 h 4687251"/>
              <a:gd name="connsiteX11081" fmla="*/ 6117300 w 8079933"/>
              <a:gd name="connsiteY11081" fmla="*/ 2443991 h 4687251"/>
              <a:gd name="connsiteX11082" fmla="*/ 6118711 w 8079933"/>
              <a:gd name="connsiteY11082" fmla="*/ 2446264 h 4687251"/>
              <a:gd name="connsiteX11083" fmla="*/ 6117409 w 8079933"/>
              <a:gd name="connsiteY11083" fmla="*/ 2448430 h 4687251"/>
              <a:gd name="connsiteX11084" fmla="*/ 6117300 w 8079933"/>
              <a:gd name="connsiteY11084" fmla="*/ 2451028 h 4687251"/>
              <a:gd name="connsiteX11085" fmla="*/ 6114804 w 8079933"/>
              <a:gd name="connsiteY11085" fmla="*/ 2454601 h 4687251"/>
              <a:gd name="connsiteX11086" fmla="*/ 6116324 w 8079933"/>
              <a:gd name="connsiteY11086" fmla="*/ 2455792 h 4687251"/>
              <a:gd name="connsiteX11087" fmla="*/ 6115890 w 8079933"/>
              <a:gd name="connsiteY11087" fmla="*/ 2459581 h 4687251"/>
              <a:gd name="connsiteX11088" fmla="*/ 6113503 w 8079933"/>
              <a:gd name="connsiteY11088" fmla="*/ 2459689 h 4687251"/>
              <a:gd name="connsiteX11089" fmla="*/ 6113503 w 8079933"/>
              <a:gd name="connsiteY11089" fmla="*/ 2459690 h 4687251"/>
              <a:gd name="connsiteX11090" fmla="*/ 6115890 w 8079933"/>
              <a:gd name="connsiteY11090" fmla="*/ 2459582 h 4687251"/>
              <a:gd name="connsiteX11091" fmla="*/ 6116325 w 8079933"/>
              <a:gd name="connsiteY11091" fmla="*/ 2455793 h 4687251"/>
              <a:gd name="connsiteX11092" fmla="*/ 6114805 w 8079933"/>
              <a:gd name="connsiteY11092" fmla="*/ 2454601 h 4687251"/>
              <a:gd name="connsiteX11093" fmla="*/ 6117301 w 8079933"/>
              <a:gd name="connsiteY11093" fmla="*/ 2451028 h 4687251"/>
              <a:gd name="connsiteX11094" fmla="*/ 6117409 w 8079933"/>
              <a:gd name="connsiteY11094" fmla="*/ 2448430 h 4687251"/>
              <a:gd name="connsiteX11095" fmla="*/ 6118712 w 8079933"/>
              <a:gd name="connsiteY11095" fmla="*/ 2446265 h 4687251"/>
              <a:gd name="connsiteX11096" fmla="*/ 6117301 w 8079933"/>
              <a:gd name="connsiteY11096" fmla="*/ 2443991 h 4687251"/>
              <a:gd name="connsiteX11097" fmla="*/ 6119471 w 8079933"/>
              <a:gd name="connsiteY11097" fmla="*/ 2442259 h 4687251"/>
              <a:gd name="connsiteX11098" fmla="*/ 4181146 w 8079933"/>
              <a:gd name="connsiteY11098" fmla="*/ 2438686 h 4687251"/>
              <a:gd name="connsiteX11099" fmla="*/ 4181146 w 8079933"/>
              <a:gd name="connsiteY11099" fmla="*/ 2438686 h 4687251"/>
              <a:gd name="connsiteX11100" fmla="*/ 4190804 w 8079933"/>
              <a:gd name="connsiteY11100" fmla="*/ 2438686 h 4687251"/>
              <a:gd name="connsiteX11101" fmla="*/ 4199703 w 8079933"/>
              <a:gd name="connsiteY11101" fmla="*/ 2439336 h 4687251"/>
              <a:gd name="connsiteX11102" fmla="*/ 4199702 w 8079933"/>
              <a:gd name="connsiteY11102" fmla="*/ 2439335 h 4687251"/>
              <a:gd name="connsiteX11103" fmla="*/ 4190804 w 8079933"/>
              <a:gd name="connsiteY11103" fmla="*/ 2438686 h 4687251"/>
              <a:gd name="connsiteX11104" fmla="*/ 5155080 w 8079933"/>
              <a:gd name="connsiteY11104" fmla="*/ 2436532 h 4687251"/>
              <a:gd name="connsiteX11105" fmla="*/ 5154865 w 8079933"/>
              <a:gd name="connsiteY11105" fmla="*/ 2444532 h 4687251"/>
              <a:gd name="connsiteX11106" fmla="*/ 5160617 w 8079933"/>
              <a:gd name="connsiteY11106" fmla="*/ 2451354 h 4687251"/>
              <a:gd name="connsiteX11107" fmla="*/ 5165826 w 8079933"/>
              <a:gd name="connsiteY11107" fmla="*/ 2469976 h 4687251"/>
              <a:gd name="connsiteX11108" fmla="*/ 5235819 w 8079933"/>
              <a:gd name="connsiteY11108" fmla="*/ 2480695 h 4687251"/>
              <a:gd name="connsiteX11109" fmla="*/ 5243795 w 8079933"/>
              <a:gd name="connsiteY11109" fmla="*/ 2473274 h 4687251"/>
              <a:gd name="connsiteX11110" fmla="*/ 5243795 w 8079933"/>
              <a:gd name="connsiteY11110" fmla="*/ 2473274 h 4687251"/>
              <a:gd name="connsiteX11111" fmla="*/ 5235819 w 8079933"/>
              <a:gd name="connsiteY11111" fmla="*/ 2480694 h 4687251"/>
              <a:gd name="connsiteX11112" fmla="*/ 5165826 w 8079933"/>
              <a:gd name="connsiteY11112" fmla="*/ 2469975 h 4687251"/>
              <a:gd name="connsiteX11113" fmla="*/ 5160617 w 8079933"/>
              <a:gd name="connsiteY11113" fmla="*/ 2451353 h 4687251"/>
              <a:gd name="connsiteX11114" fmla="*/ 5154866 w 8079933"/>
              <a:gd name="connsiteY11114" fmla="*/ 2444532 h 4687251"/>
              <a:gd name="connsiteX11115" fmla="*/ 2198764 w 8079933"/>
              <a:gd name="connsiteY11115" fmla="*/ 2436087 h 4687251"/>
              <a:gd name="connsiteX11116" fmla="*/ 2200391 w 8079933"/>
              <a:gd name="connsiteY11116" fmla="*/ 2439226 h 4687251"/>
              <a:gd name="connsiteX11117" fmla="*/ 2198221 w 8079933"/>
              <a:gd name="connsiteY11117" fmla="*/ 2443124 h 4687251"/>
              <a:gd name="connsiteX11118" fmla="*/ 2195834 w 8079933"/>
              <a:gd name="connsiteY11118" fmla="*/ 2440959 h 4687251"/>
              <a:gd name="connsiteX11119" fmla="*/ 6284849 w 8079933"/>
              <a:gd name="connsiteY11119" fmla="*/ 2435654 h 4687251"/>
              <a:gd name="connsiteX11120" fmla="*/ 6278697 w 8079933"/>
              <a:gd name="connsiteY11120" fmla="*/ 2437163 h 4687251"/>
              <a:gd name="connsiteX11121" fmla="*/ 6284849 w 8079933"/>
              <a:gd name="connsiteY11121" fmla="*/ 2435655 h 4687251"/>
              <a:gd name="connsiteX11122" fmla="*/ 6286043 w 8079933"/>
              <a:gd name="connsiteY11122" fmla="*/ 2439769 h 4687251"/>
              <a:gd name="connsiteX11123" fmla="*/ 6285377 w 8079933"/>
              <a:gd name="connsiteY11123" fmla="*/ 2441575 h 4687251"/>
              <a:gd name="connsiteX11124" fmla="*/ 6286044 w 8079933"/>
              <a:gd name="connsiteY11124" fmla="*/ 2439769 h 4687251"/>
              <a:gd name="connsiteX11125" fmla="*/ 6719133 w 8079933"/>
              <a:gd name="connsiteY11125" fmla="*/ 2435546 h 4687251"/>
              <a:gd name="connsiteX11126" fmla="*/ 6722064 w 8079933"/>
              <a:gd name="connsiteY11126" fmla="*/ 2438361 h 4687251"/>
              <a:gd name="connsiteX11127" fmla="*/ 6720435 w 8079933"/>
              <a:gd name="connsiteY11127" fmla="*/ 2439768 h 4687251"/>
              <a:gd name="connsiteX11128" fmla="*/ 6716203 w 8079933"/>
              <a:gd name="connsiteY11128" fmla="*/ 2439551 h 4687251"/>
              <a:gd name="connsiteX11129" fmla="*/ 6715552 w 8079933"/>
              <a:gd name="connsiteY11129" fmla="*/ 2437278 h 4687251"/>
              <a:gd name="connsiteX11130" fmla="*/ 4178477 w 8079933"/>
              <a:gd name="connsiteY11130" fmla="*/ 2435502 h 4687251"/>
              <a:gd name="connsiteX11131" fmla="*/ 4178650 w 8079933"/>
              <a:gd name="connsiteY11131" fmla="*/ 2436195 h 4687251"/>
              <a:gd name="connsiteX11132" fmla="*/ 4181018 w 8079933"/>
              <a:gd name="connsiteY11132" fmla="*/ 2438558 h 4687251"/>
              <a:gd name="connsiteX11133" fmla="*/ 4178650 w 8079933"/>
              <a:gd name="connsiteY11133" fmla="*/ 2436195 h 4687251"/>
              <a:gd name="connsiteX11134" fmla="*/ 2125732 w 8079933"/>
              <a:gd name="connsiteY11134" fmla="*/ 2435222 h 4687251"/>
              <a:gd name="connsiteX11135" fmla="*/ 2127577 w 8079933"/>
              <a:gd name="connsiteY11135" fmla="*/ 2437171 h 4687251"/>
              <a:gd name="connsiteX11136" fmla="*/ 2127033 w 8079933"/>
              <a:gd name="connsiteY11136" fmla="*/ 2440527 h 4687251"/>
              <a:gd name="connsiteX11137" fmla="*/ 2128336 w 8079933"/>
              <a:gd name="connsiteY11137" fmla="*/ 2443559 h 4687251"/>
              <a:gd name="connsiteX11138" fmla="*/ 2126166 w 8079933"/>
              <a:gd name="connsiteY11138" fmla="*/ 2447781 h 4687251"/>
              <a:gd name="connsiteX11139" fmla="*/ 2122151 w 8079933"/>
              <a:gd name="connsiteY11139" fmla="*/ 2448539 h 4687251"/>
              <a:gd name="connsiteX11140" fmla="*/ 2119764 w 8079933"/>
              <a:gd name="connsiteY11140" fmla="*/ 2442693 h 4687251"/>
              <a:gd name="connsiteX11141" fmla="*/ 2119547 w 8079933"/>
              <a:gd name="connsiteY11141" fmla="*/ 2438579 h 4687251"/>
              <a:gd name="connsiteX11142" fmla="*/ 6275734 w 8079933"/>
              <a:gd name="connsiteY11142" fmla="*/ 2434788 h 4687251"/>
              <a:gd name="connsiteX11143" fmla="*/ 6275734 w 8079933"/>
              <a:gd name="connsiteY11143" fmla="*/ 2434789 h 4687251"/>
              <a:gd name="connsiteX11144" fmla="*/ 6278664 w 8079933"/>
              <a:gd name="connsiteY11144" fmla="*/ 2437171 h 4687251"/>
              <a:gd name="connsiteX11145" fmla="*/ 6278665 w 8079933"/>
              <a:gd name="connsiteY11145" fmla="*/ 2437170 h 4687251"/>
              <a:gd name="connsiteX11146" fmla="*/ 2119981 w 8079933"/>
              <a:gd name="connsiteY11146" fmla="*/ 2433706 h 4687251"/>
              <a:gd name="connsiteX11147" fmla="*/ 2120415 w 8079933"/>
              <a:gd name="connsiteY11147" fmla="*/ 2436738 h 4687251"/>
              <a:gd name="connsiteX11148" fmla="*/ 2117811 w 8079933"/>
              <a:gd name="connsiteY11148" fmla="*/ 2435547 h 4687251"/>
              <a:gd name="connsiteX11149" fmla="*/ 6151592 w 8079933"/>
              <a:gd name="connsiteY11149" fmla="*/ 2433380 h 4687251"/>
              <a:gd name="connsiteX11150" fmla="*/ 6151592 w 8079933"/>
              <a:gd name="connsiteY11150" fmla="*/ 2433381 h 4687251"/>
              <a:gd name="connsiteX11151" fmla="*/ 6156692 w 8079933"/>
              <a:gd name="connsiteY11151" fmla="*/ 2433706 h 4687251"/>
              <a:gd name="connsiteX11152" fmla="*/ 6160815 w 8079933"/>
              <a:gd name="connsiteY11152" fmla="*/ 2435114 h 4687251"/>
              <a:gd name="connsiteX11153" fmla="*/ 6167109 w 8079933"/>
              <a:gd name="connsiteY11153" fmla="*/ 2435005 h 4687251"/>
              <a:gd name="connsiteX11154" fmla="*/ 6167109 w 8079933"/>
              <a:gd name="connsiteY11154" fmla="*/ 2435004 h 4687251"/>
              <a:gd name="connsiteX11155" fmla="*/ 6160815 w 8079933"/>
              <a:gd name="connsiteY11155" fmla="*/ 2435112 h 4687251"/>
              <a:gd name="connsiteX11156" fmla="*/ 6156692 w 8079933"/>
              <a:gd name="connsiteY11156" fmla="*/ 2433705 h 4687251"/>
              <a:gd name="connsiteX11157" fmla="*/ 6038941 w 8079933"/>
              <a:gd name="connsiteY11157" fmla="*/ 2430952 h 4687251"/>
              <a:gd name="connsiteX11158" fmla="*/ 6042424 w 8079933"/>
              <a:gd name="connsiteY11158" fmla="*/ 2435328 h 4687251"/>
              <a:gd name="connsiteX11159" fmla="*/ 6042424 w 8079933"/>
              <a:gd name="connsiteY11159" fmla="*/ 2443232 h 4687251"/>
              <a:gd name="connsiteX11160" fmla="*/ 6044594 w 8079933"/>
              <a:gd name="connsiteY11160" fmla="*/ 2449295 h 4687251"/>
              <a:gd name="connsiteX11161" fmla="*/ 6043835 w 8079933"/>
              <a:gd name="connsiteY11161" fmla="*/ 2453518 h 4687251"/>
              <a:gd name="connsiteX11162" fmla="*/ 6043835 w 8079933"/>
              <a:gd name="connsiteY11162" fmla="*/ 2453519 h 4687251"/>
              <a:gd name="connsiteX11163" fmla="*/ 6044595 w 8079933"/>
              <a:gd name="connsiteY11163" fmla="*/ 2449296 h 4687251"/>
              <a:gd name="connsiteX11164" fmla="*/ 6042425 w 8079933"/>
              <a:gd name="connsiteY11164" fmla="*/ 2443233 h 4687251"/>
              <a:gd name="connsiteX11165" fmla="*/ 6042425 w 8079933"/>
              <a:gd name="connsiteY11165" fmla="*/ 2435329 h 4687251"/>
              <a:gd name="connsiteX11166" fmla="*/ 2125298 w 8079933"/>
              <a:gd name="connsiteY11166" fmla="*/ 2430782 h 4687251"/>
              <a:gd name="connsiteX11167" fmla="*/ 2122585 w 8079933"/>
              <a:gd name="connsiteY11167" fmla="*/ 2434355 h 4687251"/>
              <a:gd name="connsiteX11168" fmla="*/ 2121066 w 8079933"/>
              <a:gd name="connsiteY11168" fmla="*/ 2432081 h 4687251"/>
              <a:gd name="connsiteX11169" fmla="*/ 6276276 w 8079933"/>
              <a:gd name="connsiteY11169" fmla="*/ 2428075 h 4687251"/>
              <a:gd name="connsiteX11170" fmla="*/ 6265425 w 8079933"/>
              <a:gd name="connsiteY11170" fmla="*/ 2430349 h 4687251"/>
              <a:gd name="connsiteX11171" fmla="*/ 6259674 w 8079933"/>
              <a:gd name="connsiteY11171" fmla="*/ 2434463 h 4687251"/>
              <a:gd name="connsiteX11172" fmla="*/ 6257395 w 8079933"/>
              <a:gd name="connsiteY11172" fmla="*/ 2428941 h 4687251"/>
              <a:gd name="connsiteX11173" fmla="*/ 6257395 w 8079933"/>
              <a:gd name="connsiteY11173" fmla="*/ 2428941 h 4687251"/>
              <a:gd name="connsiteX11174" fmla="*/ 6259674 w 8079933"/>
              <a:gd name="connsiteY11174" fmla="*/ 2434463 h 4687251"/>
              <a:gd name="connsiteX11175" fmla="*/ 6265425 w 8079933"/>
              <a:gd name="connsiteY11175" fmla="*/ 2430349 h 4687251"/>
              <a:gd name="connsiteX11176" fmla="*/ 6276276 w 8079933"/>
              <a:gd name="connsiteY11176" fmla="*/ 2428076 h 4687251"/>
              <a:gd name="connsiteX11177" fmla="*/ 5617697 w 8079933"/>
              <a:gd name="connsiteY11177" fmla="*/ 2426453 h 4687251"/>
              <a:gd name="connsiteX11178" fmla="*/ 5618341 w 8079933"/>
              <a:gd name="connsiteY11178" fmla="*/ 2427208 h 4687251"/>
              <a:gd name="connsiteX11179" fmla="*/ 5618341 w 8079933"/>
              <a:gd name="connsiteY11179" fmla="*/ 2427208 h 4687251"/>
              <a:gd name="connsiteX11180" fmla="*/ 5608140 w 8079933"/>
              <a:gd name="connsiteY11180" fmla="*/ 2425909 h 4687251"/>
              <a:gd name="connsiteX11181" fmla="*/ 5602714 w 8079933"/>
              <a:gd name="connsiteY11181" fmla="*/ 2427533 h 4687251"/>
              <a:gd name="connsiteX11182" fmla="*/ 5602063 w 8079933"/>
              <a:gd name="connsiteY11182" fmla="*/ 2428219 h 4687251"/>
              <a:gd name="connsiteX11183" fmla="*/ 5602714 w 8079933"/>
              <a:gd name="connsiteY11183" fmla="*/ 2427534 h 4687251"/>
              <a:gd name="connsiteX11184" fmla="*/ 5608140 w 8079933"/>
              <a:gd name="connsiteY11184" fmla="*/ 2425909 h 4687251"/>
              <a:gd name="connsiteX11185" fmla="*/ 6171356 w 8079933"/>
              <a:gd name="connsiteY11185" fmla="*/ 2424012 h 4687251"/>
              <a:gd name="connsiteX11186" fmla="*/ 6170907 w 8079933"/>
              <a:gd name="connsiteY11186" fmla="*/ 2426018 h 4687251"/>
              <a:gd name="connsiteX11187" fmla="*/ 6169759 w 8079933"/>
              <a:gd name="connsiteY11187" fmla="*/ 2428735 h 4687251"/>
              <a:gd name="connsiteX11188" fmla="*/ 6170907 w 8079933"/>
              <a:gd name="connsiteY11188" fmla="*/ 2426018 h 4687251"/>
              <a:gd name="connsiteX11189" fmla="*/ 2172611 w 8079933"/>
              <a:gd name="connsiteY11189" fmla="*/ 2422878 h 4687251"/>
              <a:gd name="connsiteX11190" fmla="*/ 2177277 w 8079933"/>
              <a:gd name="connsiteY11190" fmla="*/ 2426343 h 4687251"/>
              <a:gd name="connsiteX11191" fmla="*/ 2178579 w 8079933"/>
              <a:gd name="connsiteY11191" fmla="*/ 2431431 h 4687251"/>
              <a:gd name="connsiteX11192" fmla="*/ 2182268 w 8079933"/>
              <a:gd name="connsiteY11192" fmla="*/ 2438144 h 4687251"/>
              <a:gd name="connsiteX11193" fmla="*/ 2182051 w 8079933"/>
              <a:gd name="connsiteY11193" fmla="*/ 2440959 h 4687251"/>
              <a:gd name="connsiteX11194" fmla="*/ 2176409 w 8079933"/>
              <a:gd name="connsiteY11194" fmla="*/ 2441392 h 4687251"/>
              <a:gd name="connsiteX11195" fmla="*/ 2174347 w 8079933"/>
              <a:gd name="connsiteY11195" fmla="*/ 2438794 h 4687251"/>
              <a:gd name="connsiteX11196" fmla="*/ 2176409 w 8079933"/>
              <a:gd name="connsiteY11196" fmla="*/ 2436520 h 4687251"/>
              <a:gd name="connsiteX11197" fmla="*/ 2175432 w 8079933"/>
              <a:gd name="connsiteY11197" fmla="*/ 2430024 h 4687251"/>
              <a:gd name="connsiteX11198" fmla="*/ 2171743 w 8079933"/>
              <a:gd name="connsiteY11198" fmla="*/ 2425802 h 4687251"/>
              <a:gd name="connsiteX11199" fmla="*/ 6256881 w 8079933"/>
              <a:gd name="connsiteY11199" fmla="*/ 2422123 h 4687251"/>
              <a:gd name="connsiteX11200" fmla="*/ 6258155 w 8079933"/>
              <a:gd name="connsiteY11200" fmla="*/ 2423312 h 4687251"/>
              <a:gd name="connsiteX11201" fmla="*/ 6258155 w 8079933"/>
              <a:gd name="connsiteY11201" fmla="*/ 2423312 h 4687251"/>
              <a:gd name="connsiteX11202" fmla="*/ 1651839 w 8079933"/>
              <a:gd name="connsiteY11202" fmla="*/ 2419197 h 4687251"/>
              <a:gd name="connsiteX11203" fmla="*/ 1652056 w 8079933"/>
              <a:gd name="connsiteY11203" fmla="*/ 2422770 h 4687251"/>
              <a:gd name="connsiteX11204" fmla="*/ 1649778 w 8079933"/>
              <a:gd name="connsiteY11204" fmla="*/ 2426885 h 4687251"/>
              <a:gd name="connsiteX11205" fmla="*/ 1347667 w 8079933"/>
              <a:gd name="connsiteY11205" fmla="*/ 2417682 h 4687251"/>
              <a:gd name="connsiteX11206" fmla="*/ 1350055 w 8079933"/>
              <a:gd name="connsiteY11206" fmla="*/ 2418331 h 4687251"/>
              <a:gd name="connsiteX11207" fmla="*/ 1349404 w 8079933"/>
              <a:gd name="connsiteY11207" fmla="*/ 2420931 h 4687251"/>
              <a:gd name="connsiteX11208" fmla="*/ 1347342 w 8079933"/>
              <a:gd name="connsiteY11208" fmla="*/ 2420713 h 4687251"/>
              <a:gd name="connsiteX11209" fmla="*/ 6249039 w 8079933"/>
              <a:gd name="connsiteY11209" fmla="*/ 2415408 h 4687251"/>
              <a:gd name="connsiteX11210" fmla="*/ 6249039 w 8079933"/>
              <a:gd name="connsiteY11210" fmla="*/ 2415408 h 4687251"/>
              <a:gd name="connsiteX11211" fmla="*/ 6253054 w 8079933"/>
              <a:gd name="connsiteY11211" fmla="*/ 2417032 h 4687251"/>
              <a:gd name="connsiteX11212" fmla="*/ 6253563 w 8079933"/>
              <a:gd name="connsiteY11212" fmla="*/ 2417953 h 4687251"/>
              <a:gd name="connsiteX11213" fmla="*/ 6253054 w 8079933"/>
              <a:gd name="connsiteY11213" fmla="*/ 2417032 h 4687251"/>
              <a:gd name="connsiteX11214" fmla="*/ 1653142 w 8079933"/>
              <a:gd name="connsiteY11214" fmla="*/ 2413134 h 4687251"/>
              <a:gd name="connsiteX11215" fmla="*/ 1654445 w 8079933"/>
              <a:gd name="connsiteY11215" fmla="*/ 2413134 h 4687251"/>
              <a:gd name="connsiteX11216" fmla="*/ 1653251 w 8079933"/>
              <a:gd name="connsiteY11216" fmla="*/ 2417140 h 4687251"/>
              <a:gd name="connsiteX11217" fmla="*/ 1652600 w 8079933"/>
              <a:gd name="connsiteY11217" fmla="*/ 2416490 h 4687251"/>
              <a:gd name="connsiteX11218" fmla="*/ 6878545 w 8079933"/>
              <a:gd name="connsiteY11218" fmla="*/ 2410536 h 4687251"/>
              <a:gd name="connsiteX11219" fmla="*/ 6879738 w 8079933"/>
              <a:gd name="connsiteY11219" fmla="*/ 2413459 h 4687251"/>
              <a:gd name="connsiteX11220" fmla="*/ 6878111 w 8079933"/>
              <a:gd name="connsiteY11220" fmla="*/ 2415083 h 4687251"/>
              <a:gd name="connsiteX11221" fmla="*/ 6874856 w 8079933"/>
              <a:gd name="connsiteY11221" fmla="*/ 2415083 h 4687251"/>
              <a:gd name="connsiteX11222" fmla="*/ 6875832 w 8079933"/>
              <a:gd name="connsiteY11222" fmla="*/ 2410644 h 4687251"/>
              <a:gd name="connsiteX11223" fmla="*/ 2116182 w 8079933"/>
              <a:gd name="connsiteY11223" fmla="*/ 2410536 h 4687251"/>
              <a:gd name="connsiteX11224" fmla="*/ 2119437 w 8079933"/>
              <a:gd name="connsiteY11224" fmla="*/ 2411835 h 4687251"/>
              <a:gd name="connsiteX11225" fmla="*/ 2120523 w 8079933"/>
              <a:gd name="connsiteY11225" fmla="*/ 2417465 h 4687251"/>
              <a:gd name="connsiteX11226" fmla="*/ 2124646 w 8079933"/>
              <a:gd name="connsiteY11226" fmla="*/ 2424935 h 4687251"/>
              <a:gd name="connsiteX11227" fmla="*/ 2119004 w 8079933"/>
              <a:gd name="connsiteY11227" fmla="*/ 2428725 h 4687251"/>
              <a:gd name="connsiteX11228" fmla="*/ 2117918 w 8079933"/>
              <a:gd name="connsiteY11228" fmla="*/ 2424502 h 4687251"/>
              <a:gd name="connsiteX11229" fmla="*/ 2113903 w 8079933"/>
              <a:gd name="connsiteY11229" fmla="*/ 2426668 h 4687251"/>
              <a:gd name="connsiteX11230" fmla="*/ 2110648 w 8079933"/>
              <a:gd name="connsiteY11230" fmla="*/ 2423528 h 4687251"/>
              <a:gd name="connsiteX11231" fmla="*/ 2114338 w 8079933"/>
              <a:gd name="connsiteY11231" fmla="*/ 2416924 h 4687251"/>
              <a:gd name="connsiteX11232" fmla="*/ 2135173 w 8079933"/>
              <a:gd name="connsiteY11232" fmla="*/ 2408262 h 4687251"/>
              <a:gd name="connsiteX11233" fmla="*/ 2140708 w 8079933"/>
              <a:gd name="connsiteY11233" fmla="*/ 2409561 h 4687251"/>
              <a:gd name="connsiteX11234" fmla="*/ 2138755 w 8079933"/>
              <a:gd name="connsiteY11234" fmla="*/ 2413135 h 4687251"/>
              <a:gd name="connsiteX11235" fmla="*/ 2132243 w 8079933"/>
              <a:gd name="connsiteY11235" fmla="*/ 2413026 h 4687251"/>
              <a:gd name="connsiteX11236" fmla="*/ 2129205 w 8079933"/>
              <a:gd name="connsiteY11236" fmla="*/ 2411510 h 4687251"/>
              <a:gd name="connsiteX11237" fmla="*/ 1655854 w 8079933"/>
              <a:gd name="connsiteY11237" fmla="*/ 2407288 h 4687251"/>
              <a:gd name="connsiteX11238" fmla="*/ 1654986 w 8079933"/>
              <a:gd name="connsiteY11238" fmla="*/ 2409994 h 4687251"/>
              <a:gd name="connsiteX11239" fmla="*/ 1653576 w 8079933"/>
              <a:gd name="connsiteY11239" fmla="*/ 2410645 h 4687251"/>
              <a:gd name="connsiteX11240" fmla="*/ 1654226 w 8079933"/>
              <a:gd name="connsiteY11240" fmla="*/ 2407396 h 4687251"/>
              <a:gd name="connsiteX11241" fmla="*/ 6885489 w 8079933"/>
              <a:gd name="connsiteY11241" fmla="*/ 2406746 h 4687251"/>
              <a:gd name="connsiteX11242" fmla="*/ 6887767 w 8079933"/>
              <a:gd name="connsiteY11242" fmla="*/ 2408803 h 4687251"/>
              <a:gd name="connsiteX11243" fmla="*/ 6886466 w 8079933"/>
              <a:gd name="connsiteY11243" fmla="*/ 2413134 h 4687251"/>
              <a:gd name="connsiteX11244" fmla="*/ 6883970 w 8079933"/>
              <a:gd name="connsiteY11244" fmla="*/ 2412484 h 4687251"/>
              <a:gd name="connsiteX11245" fmla="*/ 6882885 w 8079933"/>
              <a:gd name="connsiteY11245" fmla="*/ 2409452 h 4687251"/>
              <a:gd name="connsiteX11246" fmla="*/ 6249960 w 8079933"/>
              <a:gd name="connsiteY11246" fmla="*/ 2405926 h 4687251"/>
              <a:gd name="connsiteX11247" fmla="*/ 6251209 w 8079933"/>
              <a:gd name="connsiteY11247" fmla="*/ 2407829 h 4687251"/>
              <a:gd name="connsiteX11248" fmla="*/ 6249583 w 8079933"/>
              <a:gd name="connsiteY11248" fmla="*/ 2410506 h 4687251"/>
              <a:gd name="connsiteX11249" fmla="*/ 6251210 w 8079933"/>
              <a:gd name="connsiteY11249" fmla="*/ 2407829 h 4687251"/>
              <a:gd name="connsiteX11250" fmla="*/ 6120773 w 8079933"/>
              <a:gd name="connsiteY11250" fmla="*/ 2404688 h 4687251"/>
              <a:gd name="connsiteX11251" fmla="*/ 6120774 w 8079933"/>
              <a:gd name="connsiteY11251" fmla="*/ 2404689 h 4687251"/>
              <a:gd name="connsiteX11252" fmla="*/ 6122419 w 8079933"/>
              <a:gd name="connsiteY11252" fmla="*/ 2405435 h 4687251"/>
              <a:gd name="connsiteX11253" fmla="*/ 2153404 w 8079933"/>
              <a:gd name="connsiteY11253" fmla="*/ 2402523 h 4687251"/>
              <a:gd name="connsiteX11254" fmla="*/ 2160024 w 8079933"/>
              <a:gd name="connsiteY11254" fmla="*/ 2406313 h 4687251"/>
              <a:gd name="connsiteX11255" fmla="*/ 2164256 w 8079933"/>
              <a:gd name="connsiteY11255" fmla="*/ 2412376 h 4687251"/>
              <a:gd name="connsiteX11256" fmla="*/ 2162303 w 8079933"/>
              <a:gd name="connsiteY11256" fmla="*/ 2419847 h 4687251"/>
              <a:gd name="connsiteX11257" fmla="*/ 2159698 w 8079933"/>
              <a:gd name="connsiteY11257" fmla="*/ 2420605 h 4687251"/>
              <a:gd name="connsiteX11258" fmla="*/ 2157637 w 8079933"/>
              <a:gd name="connsiteY11258" fmla="*/ 2418223 h 4687251"/>
              <a:gd name="connsiteX11259" fmla="*/ 2160458 w 8079933"/>
              <a:gd name="connsiteY11259" fmla="*/ 2416707 h 4687251"/>
              <a:gd name="connsiteX11260" fmla="*/ 2162085 w 8079933"/>
              <a:gd name="connsiteY11260" fmla="*/ 2413134 h 4687251"/>
              <a:gd name="connsiteX11261" fmla="*/ 2158505 w 8079933"/>
              <a:gd name="connsiteY11261" fmla="*/ 2408153 h 4687251"/>
              <a:gd name="connsiteX11262" fmla="*/ 2152862 w 8079933"/>
              <a:gd name="connsiteY11262" fmla="*/ 2405988 h 4687251"/>
              <a:gd name="connsiteX11263" fmla="*/ 6116649 w 8079933"/>
              <a:gd name="connsiteY11263" fmla="*/ 2400465 h 4687251"/>
              <a:gd name="connsiteX11264" fmla="*/ 6113937 w 8079933"/>
              <a:gd name="connsiteY11264" fmla="*/ 2401116 h 4687251"/>
              <a:gd name="connsiteX11265" fmla="*/ 6113937 w 8079933"/>
              <a:gd name="connsiteY11265" fmla="*/ 2401116 h 4687251"/>
              <a:gd name="connsiteX11266" fmla="*/ 6116649 w 8079933"/>
              <a:gd name="connsiteY11266" fmla="*/ 2400466 h 4687251"/>
              <a:gd name="connsiteX11267" fmla="*/ 6120345 w 8079933"/>
              <a:gd name="connsiteY11267" fmla="*/ 2404249 h 4687251"/>
              <a:gd name="connsiteX11268" fmla="*/ 5607164 w 8079933"/>
              <a:gd name="connsiteY11268" fmla="*/ 2400249 h 4687251"/>
              <a:gd name="connsiteX11269" fmla="*/ 5607164 w 8079933"/>
              <a:gd name="connsiteY11269" fmla="*/ 2400249 h 4687251"/>
              <a:gd name="connsiteX11270" fmla="*/ 5611830 w 8079933"/>
              <a:gd name="connsiteY11270" fmla="*/ 2406421 h 4687251"/>
              <a:gd name="connsiteX11271" fmla="*/ 5612556 w 8079933"/>
              <a:gd name="connsiteY11271" fmla="*/ 2408490 h 4687251"/>
              <a:gd name="connsiteX11272" fmla="*/ 5611830 w 8079933"/>
              <a:gd name="connsiteY11272" fmla="*/ 2406420 h 4687251"/>
              <a:gd name="connsiteX11273" fmla="*/ 6035153 w 8079933"/>
              <a:gd name="connsiteY11273" fmla="*/ 2400249 h 4687251"/>
              <a:gd name="connsiteX11274" fmla="*/ 6031681 w 8079933"/>
              <a:gd name="connsiteY11274" fmla="*/ 2402306 h 4687251"/>
              <a:gd name="connsiteX11275" fmla="*/ 6029619 w 8079933"/>
              <a:gd name="connsiteY11275" fmla="*/ 2408694 h 4687251"/>
              <a:gd name="connsiteX11276" fmla="*/ 6025170 w 8079933"/>
              <a:gd name="connsiteY11276" fmla="*/ 2409669 h 4687251"/>
              <a:gd name="connsiteX11277" fmla="*/ 6024953 w 8079933"/>
              <a:gd name="connsiteY11277" fmla="*/ 2419196 h 4687251"/>
              <a:gd name="connsiteX11278" fmla="*/ 6025170 w 8079933"/>
              <a:gd name="connsiteY11278" fmla="*/ 2409669 h 4687251"/>
              <a:gd name="connsiteX11279" fmla="*/ 6029619 w 8079933"/>
              <a:gd name="connsiteY11279" fmla="*/ 2408694 h 4687251"/>
              <a:gd name="connsiteX11280" fmla="*/ 6031681 w 8079933"/>
              <a:gd name="connsiteY11280" fmla="*/ 2402306 h 4687251"/>
              <a:gd name="connsiteX11281" fmla="*/ 6035154 w 8079933"/>
              <a:gd name="connsiteY11281" fmla="*/ 2400249 h 4687251"/>
              <a:gd name="connsiteX11282" fmla="*/ 6041231 w 8079933"/>
              <a:gd name="connsiteY11282" fmla="*/ 2398841 h 4687251"/>
              <a:gd name="connsiteX11283" fmla="*/ 6038083 w 8079933"/>
              <a:gd name="connsiteY11283" fmla="*/ 2401332 h 4687251"/>
              <a:gd name="connsiteX11284" fmla="*/ 6035634 w 8079933"/>
              <a:gd name="connsiteY11284" fmla="*/ 2400427 h 4687251"/>
              <a:gd name="connsiteX11285" fmla="*/ 6038083 w 8079933"/>
              <a:gd name="connsiteY11285" fmla="*/ 2401332 h 4687251"/>
              <a:gd name="connsiteX11286" fmla="*/ 6041231 w 8079933"/>
              <a:gd name="connsiteY11286" fmla="*/ 2398842 h 4687251"/>
              <a:gd name="connsiteX11287" fmla="*/ 6073336 w 8079933"/>
              <a:gd name="connsiteY11287" fmla="*/ 2398778 h 4687251"/>
              <a:gd name="connsiteX11288" fmla="*/ 6077042 w 8079933"/>
              <a:gd name="connsiteY11288" fmla="*/ 2400466 h 4687251"/>
              <a:gd name="connsiteX11289" fmla="*/ 6083227 w 8079933"/>
              <a:gd name="connsiteY11289" fmla="*/ 2400466 h 4687251"/>
              <a:gd name="connsiteX11290" fmla="*/ 6092885 w 8079933"/>
              <a:gd name="connsiteY11290" fmla="*/ 2399708 h 4687251"/>
              <a:gd name="connsiteX11291" fmla="*/ 6100156 w 8079933"/>
              <a:gd name="connsiteY11291" fmla="*/ 2400575 h 4687251"/>
              <a:gd name="connsiteX11292" fmla="*/ 6108186 w 8079933"/>
              <a:gd name="connsiteY11292" fmla="*/ 2400249 h 4687251"/>
              <a:gd name="connsiteX11293" fmla="*/ 6112200 w 8079933"/>
              <a:gd name="connsiteY11293" fmla="*/ 2399925 h 4687251"/>
              <a:gd name="connsiteX11294" fmla="*/ 6112200 w 8079933"/>
              <a:gd name="connsiteY11294" fmla="*/ 2399924 h 4687251"/>
              <a:gd name="connsiteX11295" fmla="*/ 6108185 w 8079933"/>
              <a:gd name="connsiteY11295" fmla="*/ 2400249 h 4687251"/>
              <a:gd name="connsiteX11296" fmla="*/ 6100155 w 8079933"/>
              <a:gd name="connsiteY11296" fmla="*/ 2400574 h 4687251"/>
              <a:gd name="connsiteX11297" fmla="*/ 6092884 w 8079933"/>
              <a:gd name="connsiteY11297" fmla="*/ 2399708 h 4687251"/>
              <a:gd name="connsiteX11298" fmla="*/ 6083227 w 8079933"/>
              <a:gd name="connsiteY11298" fmla="*/ 2400465 h 4687251"/>
              <a:gd name="connsiteX11299" fmla="*/ 6077041 w 8079933"/>
              <a:gd name="connsiteY11299" fmla="*/ 2400465 h 4687251"/>
              <a:gd name="connsiteX11300" fmla="*/ 1342350 w 8079933"/>
              <a:gd name="connsiteY11300" fmla="*/ 2398193 h 4687251"/>
              <a:gd name="connsiteX11301" fmla="*/ 1345063 w 8079933"/>
              <a:gd name="connsiteY11301" fmla="*/ 2401982 h 4687251"/>
              <a:gd name="connsiteX11302" fmla="*/ 1345823 w 8079933"/>
              <a:gd name="connsiteY11302" fmla="*/ 2405447 h 4687251"/>
              <a:gd name="connsiteX11303" fmla="*/ 1343219 w 8079933"/>
              <a:gd name="connsiteY11303" fmla="*/ 2407179 h 4687251"/>
              <a:gd name="connsiteX11304" fmla="*/ 1342350 w 8079933"/>
              <a:gd name="connsiteY11304" fmla="*/ 2402307 h 4687251"/>
              <a:gd name="connsiteX11305" fmla="*/ 1341157 w 8079933"/>
              <a:gd name="connsiteY11305" fmla="*/ 2400250 h 4687251"/>
              <a:gd name="connsiteX11306" fmla="*/ 6072049 w 8079933"/>
              <a:gd name="connsiteY11306" fmla="*/ 2398192 h 4687251"/>
              <a:gd name="connsiteX11307" fmla="*/ 6067600 w 8079933"/>
              <a:gd name="connsiteY11307" fmla="*/ 2398517 h 4687251"/>
              <a:gd name="connsiteX11308" fmla="*/ 6067601 w 8079933"/>
              <a:gd name="connsiteY11308" fmla="*/ 2398517 h 4687251"/>
              <a:gd name="connsiteX11309" fmla="*/ 6072050 w 8079933"/>
              <a:gd name="connsiteY11309" fmla="*/ 2398192 h 4687251"/>
              <a:gd name="connsiteX11310" fmla="*/ 3663630 w 8079933"/>
              <a:gd name="connsiteY11310" fmla="*/ 2396893 h 4687251"/>
              <a:gd name="connsiteX11311" fmla="*/ 3663017 w 8079933"/>
              <a:gd name="connsiteY11311" fmla="*/ 2432455 h 4687251"/>
              <a:gd name="connsiteX11312" fmla="*/ 3663630 w 8079933"/>
              <a:gd name="connsiteY11312" fmla="*/ 2396894 h 4687251"/>
              <a:gd name="connsiteX11313" fmla="*/ 3739375 w 8079933"/>
              <a:gd name="connsiteY11313" fmla="*/ 2398193 h 4687251"/>
              <a:gd name="connsiteX11314" fmla="*/ 3739375 w 8079933"/>
              <a:gd name="connsiteY11314" fmla="*/ 2398192 h 4687251"/>
              <a:gd name="connsiteX11315" fmla="*/ 6063042 w 8079933"/>
              <a:gd name="connsiteY11315" fmla="*/ 2396784 h 4687251"/>
              <a:gd name="connsiteX11316" fmla="*/ 6063042 w 8079933"/>
              <a:gd name="connsiteY11316" fmla="*/ 2396785 h 4687251"/>
              <a:gd name="connsiteX11317" fmla="*/ 6066838 w 8079933"/>
              <a:gd name="connsiteY11317" fmla="*/ 2398227 h 4687251"/>
              <a:gd name="connsiteX11318" fmla="*/ 5607346 w 8079933"/>
              <a:gd name="connsiteY11318" fmla="*/ 2396127 h 4687251"/>
              <a:gd name="connsiteX11319" fmla="*/ 5608357 w 8079933"/>
              <a:gd name="connsiteY11319" fmla="*/ 2397001 h 4687251"/>
              <a:gd name="connsiteX11320" fmla="*/ 5607336 w 8079933"/>
              <a:gd name="connsiteY11320" fmla="*/ 2399781 h 4687251"/>
              <a:gd name="connsiteX11321" fmla="*/ 5608358 w 8079933"/>
              <a:gd name="connsiteY11321" fmla="*/ 2397001 h 4687251"/>
              <a:gd name="connsiteX11322" fmla="*/ 6905348 w 8079933"/>
              <a:gd name="connsiteY11322" fmla="*/ 2393104 h 4687251"/>
              <a:gd name="connsiteX11323" fmla="*/ 6910774 w 8079933"/>
              <a:gd name="connsiteY11323" fmla="*/ 2395702 h 4687251"/>
              <a:gd name="connsiteX11324" fmla="*/ 6909905 w 8079933"/>
              <a:gd name="connsiteY11324" fmla="*/ 2400141 h 4687251"/>
              <a:gd name="connsiteX11325" fmla="*/ 6906650 w 8079933"/>
              <a:gd name="connsiteY11325" fmla="*/ 2399816 h 4687251"/>
              <a:gd name="connsiteX11326" fmla="*/ 6904805 w 8079933"/>
              <a:gd name="connsiteY11326" fmla="*/ 2398085 h 4687251"/>
              <a:gd name="connsiteX11327" fmla="*/ 5594507 w 8079933"/>
              <a:gd name="connsiteY11327" fmla="*/ 2390786 h 4687251"/>
              <a:gd name="connsiteX11328" fmla="*/ 5600436 w 8079933"/>
              <a:gd name="connsiteY11328" fmla="*/ 2394619 h 4687251"/>
              <a:gd name="connsiteX11329" fmla="*/ 5605102 w 8079933"/>
              <a:gd name="connsiteY11329" fmla="*/ 2394186 h 4687251"/>
              <a:gd name="connsiteX11330" fmla="*/ 5605102 w 8079933"/>
              <a:gd name="connsiteY11330" fmla="*/ 2394186 h 4687251"/>
              <a:gd name="connsiteX11331" fmla="*/ 5600436 w 8079933"/>
              <a:gd name="connsiteY11331" fmla="*/ 2394619 h 4687251"/>
              <a:gd name="connsiteX11332" fmla="*/ 6040796 w 8079933"/>
              <a:gd name="connsiteY11332" fmla="*/ 2389747 h 4687251"/>
              <a:gd name="connsiteX11333" fmla="*/ 6039820 w 8079933"/>
              <a:gd name="connsiteY11333" fmla="*/ 2392670 h 4687251"/>
              <a:gd name="connsiteX11334" fmla="*/ 6039820 w 8079933"/>
              <a:gd name="connsiteY11334" fmla="*/ 2392670 h 4687251"/>
              <a:gd name="connsiteX11335" fmla="*/ 5591646 w 8079933"/>
              <a:gd name="connsiteY11335" fmla="*/ 2380868 h 4687251"/>
              <a:gd name="connsiteX11336" fmla="*/ 5591646 w 8079933"/>
              <a:gd name="connsiteY11336" fmla="*/ 2380869 h 4687251"/>
              <a:gd name="connsiteX11337" fmla="*/ 5591711 w 8079933"/>
              <a:gd name="connsiteY11337" fmla="*/ 2381391 h 4687251"/>
              <a:gd name="connsiteX11338" fmla="*/ 6814519 w 8079933"/>
              <a:gd name="connsiteY11338" fmla="*/ 2378488 h 4687251"/>
              <a:gd name="connsiteX11339" fmla="*/ 6819837 w 8079933"/>
              <a:gd name="connsiteY11339" fmla="*/ 2380329 h 4687251"/>
              <a:gd name="connsiteX11340" fmla="*/ 6822441 w 8079933"/>
              <a:gd name="connsiteY11340" fmla="*/ 2385742 h 4687251"/>
              <a:gd name="connsiteX11341" fmla="*/ 6823960 w 8079933"/>
              <a:gd name="connsiteY11341" fmla="*/ 2385742 h 4687251"/>
              <a:gd name="connsiteX11342" fmla="*/ 6828083 w 8079933"/>
              <a:gd name="connsiteY11342" fmla="*/ 2388774 h 4687251"/>
              <a:gd name="connsiteX11343" fmla="*/ 6828952 w 8079933"/>
              <a:gd name="connsiteY11343" fmla="*/ 2392888 h 4687251"/>
              <a:gd name="connsiteX11344" fmla="*/ 6827216 w 8079933"/>
              <a:gd name="connsiteY11344" fmla="*/ 2393213 h 4687251"/>
              <a:gd name="connsiteX11345" fmla="*/ 6825696 w 8079933"/>
              <a:gd name="connsiteY11345" fmla="*/ 2399601 h 4687251"/>
              <a:gd name="connsiteX11346" fmla="*/ 6824503 w 8079933"/>
              <a:gd name="connsiteY11346" fmla="*/ 2412052 h 4687251"/>
              <a:gd name="connsiteX11347" fmla="*/ 6821898 w 8079933"/>
              <a:gd name="connsiteY11347" fmla="*/ 2417032 h 4687251"/>
              <a:gd name="connsiteX11348" fmla="*/ 6822983 w 8079933"/>
              <a:gd name="connsiteY11348" fmla="*/ 2423853 h 4687251"/>
              <a:gd name="connsiteX11349" fmla="*/ 6822441 w 8079933"/>
              <a:gd name="connsiteY11349" fmla="*/ 2430242 h 4687251"/>
              <a:gd name="connsiteX11350" fmla="*/ 6821030 w 8079933"/>
              <a:gd name="connsiteY11350" fmla="*/ 2439336 h 4687251"/>
              <a:gd name="connsiteX11351" fmla="*/ 6823310 w 8079933"/>
              <a:gd name="connsiteY11351" fmla="*/ 2440203 h 4687251"/>
              <a:gd name="connsiteX11352" fmla="*/ 6821573 w 8079933"/>
              <a:gd name="connsiteY11352" fmla="*/ 2441935 h 4687251"/>
              <a:gd name="connsiteX11353" fmla="*/ 6821356 w 8079933"/>
              <a:gd name="connsiteY11353" fmla="*/ 2447781 h 4687251"/>
              <a:gd name="connsiteX11354" fmla="*/ 6815387 w 8079933"/>
              <a:gd name="connsiteY11354" fmla="*/ 2456877 h 4687251"/>
              <a:gd name="connsiteX11355" fmla="*/ 6811372 w 8079933"/>
              <a:gd name="connsiteY11355" fmla="*/ 2462181 h 4687251"/>
              <a:gd name="connsiteX11356" fmla="*/ 6813760 w 8079933"/>
              <a:gd name="connsiteY11356" fmla="*/ 2469219 h 4687251"/>
              <a:gd name="connsiteX11357" fmla="*/ 6812566 w 8079933"/>
              <a:gd name="connsiteY11357" fmla="*/ 2474957 h 4687251"/>
              <a:gd name="connsiteX11358" fmla="*/ 6813651 w 8079933"/>
              <a:gd name="connsiteY11358" fmla="*/ 2479722 h 4687251"/>
              <a:gd name="connsiteX11359" fmla="*/ 6810179 w 8079933"/>
              <a:gd name="connsiteY11359" fmla="*/ 2478530 h 4687251"/>
              <a:gd name="connsiteX11360" fmla="*/ 6806706 w 8079933"/>
              <a:gd name="connsiteY11360" fmla="*/ 2479722 h 4687251"/>
              <a:gd name="connsiteX11361" fmla="*/ 6806380 w 8079933"/>
              <a:gd name="connsiteY11361" fmla="*/ 2475824 h 4687251"/>
              <a:gd name="connsiteX11362" fmla="*/ 6806706 w 8079933"/>
              <a:gd name="connsiteY11362" fmla="*/ 2470302 h 4687251"/>
              <a:gd name="connsiteX11363" fmla="*/ 6803343 w 8079933"/>
              <a:gd name="connsiteY11363" fmla="*/ 2465105 h 4687251"/>
              <a:gd name="connsiteX11364" fmla="*/ 6796615 w 8079933"/>
              <a:gd name="connsiteY11364" fmla="*/ 2462940 h 4687251"/>
              <a:gd name="connsiteX11365" fmla="*/ 6795855 w 8079933"/>
              <a:gd name="connsiteY11365" fmla="*/ 2459800 h 4687251"/>
              <a:gd name="connsiteX11366" fmla="*/ 6793359 w 8079933"/>
              <a:gd name="connsiteY11366" fmla="*/ 2459150 h 4687251"/>
              <a:gd name="connsiteX11367" fmla="*/ 6790755 w 8079933"/>
              <a:gd name="connsiteY11367" fmla="*/ 2455144 h 4687251"/>
              <a:gd name="connsiteX11368" fmla="*/ 6790863 w 8079933"/>
              <a:gd name="connsiteY11368" fmla="*/ 2452220 h 4687251"/>
              <a:gd name="connsiteX11369" fmla="*/ 6791949 w 8079933"/>
              <a:gd name="connsiteY11369" fmla="*/ 2451896 h 4687251"/>
              <a:gd name="connsiteX11370" fmla="*/ 6791297 w 8079933"/>
              <a:gd name="connsiteY11370" fmla="*/ 2449189 h 4687251"/>
              <a:gd name="connsiteX11371" fmla="*/ 6788801 w 8079933"/>
              <a:gd name="connsiteY11371" fmla="*/ 2447565 h 4687251"/>
              <a:gd name="connsiteX11372" fmla="*/ 6788150 w 8079933"/>
              <a:gd name="connsiteY11372" fmla="*/ 2437929 h 4687251"/>
              <a:gd name="connsiteX11373" fmla="*/ 6787933 w 8079933"/>
              <a:gd name="connsiteY11373" fmla="*/ 2428618 h 4687251"/>
              <a:gd name="connsiteX11374" fmla="*/ 6786414 w 8079933"/>
              <a:gd name="connsiteY11374" fmla="*/ 2426452 h 4687251"/>
              <a:gd name="connsiteX11375" fmla="*/ 6788150 w 8079933"/>
              <a:gd name="connsiteY11375" fmla="*/ 2425045 h 4687251"/>
              <a:gd name="connsiteX11376" fmla="*/ 6790755 w 8079933"/>
              <a:gd name="connsiteY11376" fmla="*/ 2415625 h 4687251"/>
              <a:gd name="connsiteX11377" fmla="*/ 6795855 w 8079933"/>
              <a:gd name="connsiteY11377" fmla="*/ 2406530 h 4687251"/>
              <a:gd name="connsiteX11378" fmla="*/ 6797916 w 8079933"/>
              <a:gd name="connsiteY11378" fmla="*/ 2404581 h 4687251"/>
              <a:gd name="connsiteX11379" fmla="*/ 6798785 w 8079933"/>
              <a:gd name="connsiteY11379" fmla="*/ 2401333 h 4687251"/>
              <a:gd name="connsiteX11380" fmla="*/ 6797591 w 8079933"/>
              <a:gd name="connsiteY11380" fmla="*/ 2399168 h 4687251"/>
              <a:gd name="connsiteX11381" fmla="*/ 6802474 w 8079933"/>
              <a:gd name="connsiteY11381" fmla="*/ 2390831 h 4687251"/>
              <a:gd name="connsiteX11382" fmla="*/ 6807574 w 8079933"/>
              <a:gd name="connsiteY11382" fmla="*/ 2384984 h 4687251"/>
              <a:gd name="connsiteX11383" fmla="*/ 6811915 w 8079933"/>
              <a:gd name="connsiteY11383" fmla="*/ 2383469 h 4687251"/>
              <a:gd name="connsiteX11384" fmla="*/ 6811372 w 8079933"/>
              <a:gd name="connsiteY11384" fmla="*/ 2380220 h 4687251"/>
              <a:gd name="connsiteX11385" fmla="*/ 5398702 w 8079933"/>
              <a:gd name="connsiteY11385" fmla="*/ 2378272 h 4687251"/>
              <a:gd name="connsiteX11386" fmla="*/ 5396206 w 8079933"/>
              <a:gd name="connsiteY11386" fmla="*/ 2382927 h 4687251"/>
              <a:gd name="connsiteX11387" fmla="*/ 5397509 w 8079933"/>
              <a:gd name="connsiteY11387" fmla="*/ 2387041 h 4687251"/>
              <a:gd name="connsiteX11388" fmla="*/ 5397510 w 8079933"/>
              <a:gd name="connsiteY11388" fmla="*/ 2387040 h 4687251"/>
              <a:gd name="connsiteX11389" fmla="*/ 5396207 w 8079933"/>
              <a:gd name="connsiteY11389" fmla="*/ 2382926 h 4687251"/>
              <a:gd name="connsiteX11390" fmla="*/ 6182302 w 8079933"/>
              <a:gd name="connsiteY11390" fmla="*/ 2376647 h 4687251"/>
              <a:gd name="connsiteX11391" fmla="*/ 6179046 w 8079933"/>
              <a:gd name="connsiteY11391" fmla="*/ 2386174 h 4687251"/>
              <a:gd name="connsiteX11392" fmla="*/ 6176484 w 8079933"/>
              <a:gd name="connsiteY11392" fmla="*/ 2390297 h 4687251"/>
              <a:gd name="connsiteX11393" fmla="*/ 6179046 w 8079933"/>
              <a:gd name="connsiteY11393" fmla="*/ 2386175 h 4687251"/>
              <a:gd name="connsiteX11394" fmla="*/ 6182302 w 8079933"/>
              <a:gd name="connsiteY11394" fmla="*/ 2376647 h 4687251"/>
              <a:gd name="connsiteX11395" fmla="*/ 6768400 w 8079933"/>
              <a:gd name="connsiteY11395" fmla="*/ 2374699 h 4687251"/>
              <a:gd name="connsiteX11396" fmla="*/ 6770136 w 8079933"/>
              <a:gd name="connsiteY11396" fmla="*/ 2376540 h 4687251"/>
              <a:gd name="connsiteX11397" fmla="*/ 6770028 w 8079933"/>
              <a:gd name="connsiteY11397" fmla="*/ 2380005 h 4687251"/>
              <a:gd name="connsiteX11398" fmla="*/ 6767532 w 8079933"/>
              <a:gd name="connsiteY11398" fmla="*/ 2380871 h 4687251"/>
              <a:gd name="connsiteX11399" fmla="*/ 6766555 w 8079933"/>
              <a:gd name="connsiteY11399" fmla="*/ 2375565 h 4687251"/>
              <a:gd name="connsiteX11400" fmla="*/ 6036022 w 8079933"/>
              <a:gd name="connsiteY11400" fmla="*/ 2374264 h 4687251"/>
              <a:gd name="connsiteX11401" fmla="*/ 6036022 w 8079933"/>
              <a:gd name="connsiteY11401" fmla="*/ 2374264 h 4687251"/>
              <a:gd name="connsiteX11402" fmla="*/ 6041013 w 8079933"/>
              <a:gd name="connsiteY11402" fmla="*/ 2374914 h 4687251"/>
              <a:gd name="connsiteX11403" fmla="*/ 6041014 w 8079933"/>
              <a:gd name="connsiteY11403" fmla="*/ 2374914 h 4687251"/>
              <a:gd name="connsiteX11404" fmla="*/ 5407327 w 8079933"/>
              <a:gd name="connsiteY11404" fmla="*/ 2373875 h 4687251"/>
              <a:gd name="connsiteX11405" fmla="*/ 5405973 w 8079933"/>
              <a:gd name="connsiteY11405" fmla="*/ 2375348 h 4687251"/>
              <a:gd name="connsiteX11406" fmla="*/ 5405974 w 8079933"/>
              <a:gd name="connsiteY11406" fmla="*/ 2375347 h 4687251"/>
              <a:gd name="connsiteX11407" fmla="*/ 6040037 w 8079933"/>
              <a:gd name="connsiteY11407" fmla="*/ 2371666 h 4687251"/>
              <a:gd name="connsiteX11408" fmla="*/ 6043400 w 8079933"/>
              <a:gd name="connsiteY11408" fmla="*/ 2373723 h 4687251"/>
              <a:gd name="connsiteX11409" fmla="*/ 6041549 w 8079933"/>
              <a:gd name="connsiteY11409" fmla="*/ 2374647 h 4687251"/>
              <a:gd name="connsiteX11410" fmla="*/ 6043401 w 8079933"/>
              <a:gd name="connsiteY11410" fmla="*/ 2373723 h 4687251"/>
              <a:gd name="connsiteX11411" fmla="*/ 6045788 w 8079933"/>
              <a:gd name="connsiteY11411" fmla="*/ 2371435 h 4687251"/>
              <a:gd name="connsiteX11412" fmla="*/ 6046548 w 8079933"/>
              <a:gd name="connsiteY11412" fmla="*/ 2372099 h 4687251"/>
              <a:gd name="connsiteX11413" fmla="*/ 6048935 w 8079933"/>
              <a:gd name="connsiteY11413" fmla="*/ 2374481 h 4687251"/>
              <a:gd name="connsiteX11414" fmla="*/ 6053601 w 8079933"/>
              <a:gd name="connsiteY11414" fmla="*/ 2375996 h 4687251"/>
              <a:gd name="connsiteX11415" fmla="*/ 6053927 w 8079933"/>
              <a:gd name="connsiteY11415" fmla="*/ 2374264 h 4687251"/>
              <a:gd name="connsiteX11416" fmla="*/ 6056314 w 8079933"/>
              <a:gd name="connsiteY11416" fmla="*/ 2373723 h 4687251"/>
              <a:gd name="connsiteX11417" fmla="*/ 6059678 w 8079933"/>
              <a:gd name="connsiteY11417" fmla="*/ 2379570 h 4687251"/>
              <a:gd name="connsiteX11418" fmla="*/ 6060655 w 8079933"/>
              <a:gd name="connsiteY11418" fmla="*/ 2385308 h 4687251"/>
              <a:gd name="connsiteX11419" fmla="*/ 6061306 w 8079933"/>
              <a:gd name="connsiteY11419" fmla="*/ 2388231 h 4687251"/>
              <a:gd name="connsiteX11420" fmla="*/ 6063259 w 8079933"/>
              <a:gd name="connsiteY11420" fmla="*/ 2393320 h 4687251"/>
              <a:gd name="connsiteX11421" fmla="*/ 6063259 w 8079933"/>
              <a:gd name="connsiteY11421" fmla="*/ 2393320 h 4687251"/>
              <a:gd name="connsiteX11422" fmla="*/ 6061306 w 8079933"/>
              <a:gd name="connsiteY11422" fmla="*/ 2388231 h 4687251"/>
              <a:gd name="connsiteX11423" fmla="*/ 6060655 w 8079933"/>
              <a:gd name="connsiteY11423" fmla="*/ 2385308 h 4687251"/>
              <a:gd name="connsiteX11424" fmla="*/ 6059678 w 8079933"/>
              <a:gd name="connsiteY11424" fmla="*/ 2379569 h 4687251"/>
              <a:gd name="connsiteX11425" fmla="*/ 6056314 w 8079933"/>
              <a:gd name="connsiteY11425" fmla="*/ 2373723 h 4687251"/>
              <a:gd name="connsiteX11426" fmla="*/ 6053927 w 8079933"/>
              <a:gd name="connsiteY11426" fmla="*/ 2374264 h 4687251"/>
              <a:gd name="connsiteX11427" fmla="*/ 6053601 w 8079933"/>
              <a:gd name="connsiteY11427" fmla="*/ 2375996 h 4687251"/>
              <a:gd name="connsiteX11428" fmla="*/ 6048935 w 8079933"/>
              <a:gd name="connsiteY11428" fmla="*/ 2374480 h 4687251"/>
              <a:gd name="connsiteX11429" fmla="*/ 6046548 w 8079933"/>
              <a:gd name="connsiteY11429" fmla="*/ 2372098 h 4687251"/>
              <a:gd name="connsiteX11430" fmla="*/ 6032549 w 8079933"/>
              <a:gd name="connsiteY11430" fmla="*/ 2369933 h 4687251"/>
              <a:gd name="connsiteX11431" fmla="*/ 6032549 w 8079933"/>
              <a:gd name="connsiteY11431" fmla="*/ 2369933 h 4687251"/>
              <a:gd name="connsiteX11432" fmla="*/ 6033086 w 8079933"/>
              <a:gd name="connsiteY11432" fmla="*/ 2370603 h 4687251"/>
              <a:gd name="connsiteX11433" fmla="*/ 6026689 w 8079933"/>
              <a:gd name="connsiteY11433" fmla="*/ 2369825 h 4687251"/>
              <a:gd name="connsiteX11434" fmla="*/ 6024518 w 8079933"/>
              <a:gd name="connsiteY11434" fmla="*/ 2375996 h 4687251"/>
              <a:gd name="connsiteX11435" fmla="*/ 6019852 w 8079933"/>
              <a:gd name="connsiteY11435" fmla="*/ 2381302 h 4687251"/>
              <a:gd name="connsiteX11436" fmla="*/ 6019093 w 8079933"/>
              <a:gd name="connsiteY11436" fmla="*/ 2387040 h 4687251"/>
              <a:gd name="connsiteX11437" fmla="*/ 6019853 w 8079933"/>
              <a:gd name="connsiteY11437" fmla="*/ 2381302 h 4687251"/>
              <a:gd name="connsiteX11438" fmla="*/ 6024519 w 8079933"/>
              <a:gd name="connsiteY11438" fmla="*/ 2375996 h 4687251"/>
              <a:gd name="connsiteX11439" fmla="*/ 3747258 w 8079933"/>
              <a:gd name="connsiteY11439" fmla="*/ 2369152 h 4687251"/>
              <a:gd name="connsiteX11440" fmla="*/ 3827056 w 8079933"/>
              <a:gd name="connsiteY11440" fmla="*/ 2422662 h 4687251"/>
              <a:gd name="connsiteX11441" fmla="*/ 3827056 w 8079933"/>
              <a:gd name="connsiteY11441" fmla="*/ 2422771 h 4687251"/>
              <a:gd name="connsiteX11442" fmla="*/ 3826839 w 8079933"/>
              <a:gd name="connsiteY11442" fmla="*/ 2422554 h 4687251"/>
              <a:gd name="connsiteX11443" fmla="*/ 3826838 w 8079933"/>
              <a:gd name="connsiteY11443" fmla="*/ 2422554 h 4687251"/>
              <a:gd name="connsiteX11444" fmla="*/ 3827055 w 8079933"/>
              <a:gd name="connsiteY11444" fmla="*/ 2422770 h 4687251"/>
              <a:gd name="connsiteX11445" fmla="*/ 3983645 w 8079933"/>
              <a:gd name="connsiteY11445" fmla="*/ 2526385 h 4687251"/>
              <a:gd name="connsiteX11446" fmla="*/ 3986466 w 8079933"/>
              <a:gd name="connsiteY11446" fmla="*/ 2537754 h 4687251"/>
              <a:gd name="connsiteX11447" fmla="*/ 3991458 w 8079933"/>
              <a:gd name="connsiteY11447" fmla="*/ 2542409 h 4687251"/>
              <a:gd name="connsiteX11448" fmla="*/ 3991459 w 8079933"/>
              <a:gd name="connsiteY11448" fmla="*/ 2542409 h 4687251"/>
              <a:gd name="connsiteX11449" fmla="*/ 3986467 w 8079933"/>
              <a:gd name="connsiteY11449" fmla="*/ 2537753 h 4687251"/>
              <a:gd name="connsiteX11450" fmla="*/ 3983646 w 8079933"/>
              <a:gd name="connsiteY11450" fmla="*/ 2526385 h 4687251"/>
              <a:gd name="connsiteX11451" fmla="*/ 3827056 w 8079933"/>
              <a:gd name="connsiteY11451" fmla="*/ 2422770 h 4687251"/>
              <a:gd name="connsiteX11452" fmla="*/ 3827056 w 8079933"/>
              <a:gd name="connsiteY11452" fmla="*/ 2422662 h 4687251"/>
              <a:gd name="connsiteX11453" fmla="*/ 5584050 w 8079933"/>
              <a:gd name="connsiteY11453" fmla="*/ 2367443 h 4687251"/>
              <a:gd name="connsiteX11454" fmla="*/ 5581446 w 8079933"/>
              <a:gd name="connsiteY11454" fmla="*/ 2368742 h 4687251"/>
              <a:gd name="connsiteX11455" fmla="*/ 5584050 w 8079933"/>
              <a:gd name="connsiteY11455" fmla="*/ 2367443 h 4687251"/>
              <a:gd name="connsiteX11456" fmla="*/ 5588607 w 8079933"/>
              <a:gd name="connsiteY11456" fmla="*/ 2367552 h 4687251"/>
              <a:gd name="connsiteX11457" fmla="*/ 5589453 w 8079933"/>
              <a:gd name="connsiteY11457" fmla="*/ 2369403 h 4687251"/>
              <a:gd name="connsiteX11458" fmla="*/ 5588607 w 8079933"/>
              <a:gd name="connsiteY11458" fmla="*/ 2367551 h 4687251"/>
              <a:gd name="connsiteX11459" fmla="*/ 5574688 w 8079933"/>
              <a:gd name="connsiteY11459" fmla="*/ 2366964 h 4687251"/>
              <a:gd name="connsiteX11460" fmla="*/ 5571896 w 8079933"/>
              <a:gd name="connsiteY11460" fmla="*/ 2367118 h 4687251"/>
              <a:gd name="connsiteX11461" fmla="*/ 5571896 w 8079933"/>
              <a:gd name="connsiteY11461" fmla="*/ 2367119 h 4687251"/>
              <a:gd name="connsiteX11462" fmla="*/ 3740351 w 8079933"/>
              <a:gd name="connsiteY11462" fmla="*/ 2364521 h 4687251"/>
              <a:gd name="connsiteX11463" fmla="*/ 3740351 w 8079933"/>
              <a:gd name="connsiteY11463" fmla="*/ 2364735 h 4687251"/>
              <a:gd name="connsiteX11464" fmla="*/ 3740351 w 8079933"/>
              <a:gd name="connsiteY11464" fmla="*/ 2364736 h 4687251"/>
              <a:gd name="connsiteX11465" fmla="*/ 3740351 w 8079933"/>
              <a:gd name="connsiteY11465" fmla="*/ 2364521 h 4687251"/>
              <a:gd name="connsiteX11466" fmla="*/ 2115422 w 8079933"/>
              <a:gd name="connsiteY11466" fmla="*/ 2363979 h 4687251"/>
              <a:gd name="connsiteX11467" fmla="*/ 2122801 w 8079933"/>
              <a:gd name="connsiteY11467" fmla="*/ 2363979 h 4687251"/>
              <a:gd name="connsiteX11468" fmla="*/ 2128010 w 8079933"/>
              <a:gd name="connsiteY11468" fmla="*/ 2368742 h 4687251"/>
              <a:gd name="connsiteX11469" fmla="*/ 2124212 w 8079933"/>
              <a:gd name="connsiteY11469" fmla="*/ 2368201 h 4687251"/>
              <a:gd name="connsiteX11470" fmla="*/ 2119546 w 8079933"/>
              <a:gd name="connsiteY11470" fmla="*/ 2367227 h 4687251"/>
              <a:gd name="connsiteX11471" fmla="*/ 2110539 w 8079933"/>
              <a:gd name="connsiteY11471" fmla="*/ 2373507 h 4687251"/>
              <a:gd name="connsiteX11472" fmla="*/ 2105764 w 8079933"/>
              <a:gd name="connsiteY11472" fmla="*/ 2372640 h 4687251"/>
              <a:gd name="connsiteX11473" fmla="*/ 2099688 w 8079933"/>
              <a:gd name="connsiteY11473" fmla="*/ 2366036 h 4687251"/>
              <a:gd name="connsiteX11474" fmla="*/ 2105764 w 8079933"/>
              <a:gd name="connsiteY11474" fmla="*/ 2366036 h 4687251"/>
              <a:gd name="connsiteX11475" fmla="*/ 2108694 w 8079933"/>
              <a:gd name="connsiteY11475" fmla="*/ 2368093 h 4687251"/>
              <a:gd name="connsiteX11476" fmla="*/ 2135173 w 8079933"/>
              <a:gd name="connsiteY11476" fmla="*/ 2360948 h 4687251"/>
              <a:gd name="connsiteX11477" fmla="*/ 2142444 w 8079933"/>
              <a:gd name="connsiteY11477" fmla="*/ 2366037 h 4687251"/>
              <a:gd name="connsiteX11478" fmla="*/ 2143313 w 8079933"/>
              <a:gd name="connsiteY11478" fmla="*/ 2370584 h 4687251"/>
              <a:gd name="connsiteX11479" fmla="*/ 2146785 w 8079933"/>
              <a:gd name="connsiteY11479" fmla="*/ 2372858 h 4687251"/>
              <a:gd name="connsiteX11480" fmla="*/ 2146785 w 8079933"/>
              <a:gd name="connsiteY11480" fmla="*/ 2379354 h 4687251"/>
              <a:gd name="connsiteX11481" fmla="*/ 2142119 w 8079933"/>
              <a:gd name="connsiteY11481" fmla="*/ 2382277 h 4687251"/>
              <a:gd name="connsiteX11482" fmla="*/ 2142444 w 8079933"/>
              <a:gd name="connsiteY11482" fmla="*/ 2386500 h 4687251"/>
              <a:gd name="connsiteX11483" fmla="*/ 2138429 w 8079933"/>
              <a:gd name="connsiteY11483" fmla="*/ 2390505 h 4687251"/>
              <a:gd name="connsiteX11484" fmla="*/ 2140165 w 8079933"/>
              <a:gd name="connsiteY11484" fmla="*/ 2382602 h 4687251"/>
              <a:gd name="connsiteX11485" fmla="*/ 2138863 w 8079933"/>
              <a:gd name="connsiteY11485" fmla="*/ 2378162 h 4687251"/>
              <a:gd name="connsiteX11486" fmla="*/ 2141902 w 8079933"/>
              <a:gd name="connsiteY11486" fmla="*/ 2375239 h 4687251"/>
              <a:gd name="connsiteX11487" fmla="*/ 2136584 w 8079933"/>
              <a:gd name="connsiteY11487" fmla="*/ 2368419 h 4687251"/>
              <a:gd name="connsiteX11488" fmla="*/ 2135716 w 8079933"/>
              <a:gd name="connsiteY11488" fmla="*/ 2363546 h 4687251"/>
              <a:gd name="connsiteX11489" fmla="*/ 2128554 w 8079933"/>
              <a:gd name="connsiteY11489" fmla="*/ 2361164 h 4687251"/>
              <a:gd name="connsiteX11490" fmla="*/ 6027557 w 8079933"/>
              <a:gd name="connsiteY11490" fmla="*/ 2360839 h 4687251"/>
              <a:gd name="connsiteX11491" fmla="*/ 6026147 w 8079933"/>
              <a:gd name="connsiteY11491" fmla="*/ 2364303 h 4687251"/>
              <a:gd name="connsiteX11492" fmla="*/ 6024085 w 8079933"/>
              <a:gd name="connsiteY11492" fmla="*/ 2364520 h 4687251"/>
              <a:gd name="connsiteX11493" fmla="*/ 6026147 w 8079933"/>
              <a:gd name="connsiteY11493" fmla="*/ 2364304 h 4687251"/>
              <a:gd name="connsiteX11494" fmla="*/ 6027558 w 8079933"/>
              <a:gd name="connsiteY11494" fmla="*/ 2360840 h 4687251"/>
              <a:gd name="connsiteX11495" fmla="*/ 3740351 w 8079933"/>
              <a:gd name="connsiteY11495" fmla="*/ 2357838 h 4687251"/>
              <a:gd name="connsiteX11496" fmla="*/ 3740350 w 8079933"/>
              <a:gd name="connsiteY11496" fmla="*/ 2357937 h 4687251"/>
              <a:gd name="connsiteX11497" fmla="*/ 3740351 w 8079933"/>
              <a:gd name="connsiteY11497" fmla="*/ 2357838 h 4687251"/>
              <a:gd name="connsiteX11498" fmla="*/ 6098675 w 8079933"/>
              <a:gd name="connsiteY11498" fmla="*/ 2355150 h 4687251"/>
              <a:gd name="connsiteX11499" fmla="*/ 6095163 w 8079933"/>
              <a:gd name="connsiteY11499" fmla="*/ 2356291 h 4687251"/>
              <a:gd name="connsiteX11500" fmla="*/ 6092766 w 8079933"/>
              <a:gd name="connsiteY11500" fmla="*/ 2356135 h 4687251"/>
              <a:gd name="connsiteX11501" fmla="*/ 6095163 w 8079933"/>
              <a:gd name="connsiteY11501" fmla="*/ 2356292 h 4687251"/>
              <a:gd name="connsiteX11502" fmla="*/ 6033673 w 8079933"/>
              <a:gd name="connsiteY11502" fmla="*/ 2353575 h 4687251"/>
              <a:gd name="connsiteX11503" fmla="*/ 6035370 w 8079933"/>
              <a:gd name="connsiteY11503" fmla="*/ 2356292 h 4687251"/>
              <a:gd name="connsiteX11504" fmla="*/ 6041717 w 8079933"/>
              <a:gd name="connsiteY11504" fmla="*/ 2357575 h 4687251"/>
              <a:gd name="connsiteX11505" fmla="*/ 6035370 w 8079933"/>
              <a:gd name="connsiteY11505" fmla="*/ 2356291 h 4687251"/>
              <a:gd name="connsiteX11506" fmla="*/ 3526140 w 8079933"/>
              <a:gd name="connsiteY11506" fmla="*/ 2352719 h 4687251"/>
              <a:gd name="connsiteX11507" fmla="*/ 3527659 w 8079933"/>
              <a:gd name="connsiteY11507" fmla="*/ 2353152 h 4687251"/>
              <a:gd name="connsiteX11508" fmla="*/ 3527659 w 8079933"/>
              <a:gd name="connsiteY11508" fmla="*/ 2356184 h 4687251"/>
              <a:gd name="connsiteX11509" fmla="*/ 3525923 w 8079933"/>
              <a:gd name="connsiteY11509" fmla="*/ 2357483 h 4687251"/>
              <a:gd name="connsiteX11510" fmla="*/ 3524621 w 8079933"/>
              <a:gd name="connsiteY11510" fmla="*/ 2356833 h 4687251"/>
              <a:gd name="connsiteX11511" fmla="*/ 3523644 w 8079933"/>
              <a:gd name="connsiteY11511" fmla="*/ 2354451 h 4687251"/>
              <a:gd name="connsiteX11512" fmla="*/ 6104604 w 8079933"/>
              <a:gd name="connsiteY11512" fmla="*/ 2349362 h 4687251"/>
              <a:gd name="connsiteX11513" fmla="*/ 6104604 w 8079933"/>
              <a:gd name="connsiteY11513" fmla="*/ 2349362 h 4687251"/>
              <a:gd name="connsiteX11514" fmla="*/ 6104821 w 8079933"/>
              <a:gd name="connsiteY11514" fmla="*/ 2353151 h 4687251"/>
              <a:gd name="connsiteX11515" fmla="*/ 4169147 w 8079933"/>
              <a:gd name="connsiteY11515" fmla="*/ 2348776 h 4687251"/>
              <a:gd name="connsiteX11516" fmla="*/ 4169752 w 8079933"/>
              <a:gd name="connsiteY11516" fmla="*/ 2350229 h 4687251"/>
              <a:gd name="connsiteX11517" fmla="*/ 4169752 w 8079933"/>
              <a:gd name="connsiteY11517" fmla="*/ 2350228 h 4687251"/>
              <a:gd name="connsiteX11518" fmla="*/ 6263689 w 8079933"/>
              <a:gd name="connsiteY11518" fmla="*/ 2347305 h 4687251"/>
              <a:gd name="connsiteX11519" fmla="*/ 6263689 w 8079933"/>
              <a:gd name="connsiteY11519" fmla="*/ 2347305 h 4687251"/>
              <a:gd name="connsiteX11520" fmla="*/ 6267596 w 8079933"/>
              <a:gd name="connsiteY11520" fmla="*/ 2355317 h 4687251"/>
              <a:gd name="connsiteX11521" fmla="*/ 1668768 w 8079933"/>
              <a:gd name="connsiteY11521" fmla="*/ 2346656 h 4687251"/>
              <a:gd name="connsiteX11522" fmla="*/ 1666272 w 8079933"/>
              <a:gd name="connsiteY11522" fmla="*/ 2358024 h 4687251"/>
              <a:gd name="connsiteX11523" fmla="*/ 1665621 w 8079933"/>
              <a:gd name="connsiteY11523" fmla="*/ 2368851 h 4687251"/>
              <a:gd name="connsiteX11524" fmla="*/ 1667791 w 8079933"/>
              <a:gd name="connsiteY11524" fmla="*/ 2376538 h 4687251"/>
              <a:gd name="connsiteX11525" fmla="*/ 1664428 w 8079933"/>
              <a:gd name="connsiteY11525" fmla="*/ 2368310 h 4687251"/>
              <a:gd name="connsiteX11526" fmla="*/ 1664428 w 8079933"/>
              <a:gd name="connsiteY11526" fmla="*/ 2357483 h 4687251"/>
              <a:gd name="connsiteX11527" fmla="*/ 6014101 w 8079933"/>
              <a:gd name="connsiteY11527" fmla="*/ 2346006 h 4687251"/>
              <a:gd name="connsiteX11528" fmla="*/ 6014101 w 8079933"/>
              <a:gd name="connsiteY11528" fmla="*/ 2346007 h 4687251"/>
              <a:gd name="connsiteX11529" fmla="*/ 6018550 w 8079933"/>
              <a:gd name="connsiteY11529" fmla="*/ 2355318 h 4687251"/>
              <a:gd name="connsiteX11530" fmla="*/ 6018550 w 8079933"/>
              <a:gd name="connsiteY11530" fmla="*/ 2355317 h 4687251"/>
              <a:gd name="connsiteX11531" fmla="*/ 5582476 w 8079933"/>
              <a:gd name="connsiteY11531" fmla="*/ 2345681 h 4687251"/>
              <a:gd name="connsiteX11532" fmla="*/ 5579275 w 8079933"/>
              <a:gd name="connsiteY11532" fmla="*/ 2350228 h 4687251"/>
              <a:gd name="connsiteX11533" fmla="*/ 5578081 w 8079933"/>
              <a:gd name="connsiteY11533" fmla="*/ 2350625 h 4687251"/>
              <a:gd name="connsiteX11534" fmla="*/ 5579275 w 8079933"/>
              <a:gd name="connsiteY11534" fmla="*/ 2350228 h 4687251"/>
              <a:gd name="connsiteX11535" fmla="*/ 6200918 w 8079933"/>
              <a:gd name="connsiteY11535" fmla="*/ 2344685 h 4687251"/>
              <a:gd name="connsiteX11536" fmla="*/ 6200098 w 8079933"/>
              <a:gd name="connsiteY11536" fmla="*/ 2346655 h 4687251"/>
              <a:gd name="connsiteX11537" fmla="*/ 6194347 w 8079933"/>
              <a:gd name="connsiteY11537" fmla="*/ 2353693 h 4687251"/>
              <a:gd name="connsiteX11538" fmla="*/ 6189030 w 8079933"/>
              <a:gd name="connsiteY11538" fmla="*/ 2355533 h 4687251"/>
              <a:gd name="connsiteX11539" fmla="*/ 6181108 w 8079933"/>
              <a:gd name="connsiteY11539" fmla="*/ 2367984 h 4687251"/>
              <a:gd name="connsiteX11540" fmla="*/ 6180749 w 8079933"/>
              <a:gd name="connsiteY11540" fmla="*/ 2369676 h 4687251"/>
              <a:gd name="connsiteX11541" fmla="*/ 6181108 w 8079933"/>
              <a:gd name="connsiteY11541" fmla="*/ 2367986 h 4687251"/>
              <a:gd name="connsiteX11542" fmla="*/ 6189030 w 8079933"/>
              <a:gd name="connsiteY11542" fmla="*/ 2355534 h 4687251"/>
              <a:gd name="connsiteX11543" fmla="*/ 6194347 w 8079933"/>
              <a:gd name="connsiteY11543" fmla="*/ 2353694 h 4687251"/>
              <a:gd name="connsiteX11544" fmla="*/ 6200098 w 8079933"/>
              <a:gd name="connsiteY11544" fmla="*/ 2346656 h 4687251"/>
              <a:gd name="connsiteX11545" fmla="*/ 6032476 w 8079933"/>
              <a:gd name="connsiteY11545" fmla="*/ 2344622 h 4687251"/>
              <a:gd name="connsiteX11546" fmla="*/ 6032441 w 8079933"/>
              <a:gd name="connsiteY11546" fmla="*/ 2344923 h 4687251"/>
              <a:gd name="connsiteX11547" fmla="*/ 6030704 w 8079933"/>
              <a:gd name="connsiteY11547" fmla="*/ 2348821 h 4687251"/>
              <a:gd name="connsiteX11548" fmla="*/ 6030704 w 8079933"/>
              <a:gd name="connsiteY11548" fmla="*/ 2348821 h 4687251"/>
              <a:gd name="connsiteX11549" fmla="*/ 6032441 w 8079933"/>
              <a:gd name="connsiteY11549" fmla="*/ 2344923 h 4687251"/>
              <a:gd name="connsiteX11550" fmla="*/ 3576491 w 8079933"/>
              <a:gd name="connsiteY11550" fmla="*/ 2343949 h 4687251"/>
              <a:gd name="connsiteX11551" fmla="*/ 3580940 w 8079933"/>
              <a:gd name="connsiteY11551" fmla="*/ 2343949 h 4687251"/>
              <a:gd name="connsiteX11552" fmla="*/ 3584955 w 8079933"/>
              <a:gd name="connsiteY11552" fmla="*/ 2345140 h 4687251"/>
              <a:gd name="connsiteX11553" fmla="*/ 3585823 w 8079933"/>
              <a:gd name="connsiteY11553" fmla="*/ 2350661 h 4687251"/>
              <a:gd name="connsiteX11554" fmla="*/ 3583002 w 8079933"/>
              <a:gd name="connsiteY11554" fmla="*/ 2351744 h 4687251"/>
              <a:gd name="connsiteX11555" fmla="*/ 3578878 w 8079933"/>
              <a:gd name="connsiteY11555" fmla="*/ 2354451 h 4687251"/>
              <a:gd name="connsiteX11556" fmla="*/ 3574430 w 8079933"/>
              <a:gd name="connsiteY11556" fmla="*/ 2350878 h 4687251"/>
              <a:gd name="connsiteX11557" fmla="*/ 3540898 w 8079933"/>
              <a:gd name="connsiteY11557" fmla="*/ 2343842 h 4687251"/>
              <a:gd name="connsiteX11558" fmla="*/ 3542851 w 8079933"/>
              <a:gd name="connsiteY11558" fmla="*/ 2343842 h 4687251"/>
              <a:gd name="connsiteX11559" fmla="*/ 3543502 w 8079933"/>
              <a:gd name="connsiteY11559" fmla="*/ 2345899 h 4687251"/>
              <a:gd name="connsiteX11560" fmla="*/ 3542526 w 8079933"/>
              <a:gd name="connsiteY11560" fmla="*/ 2347307 h 4687251"/>
              <a:gd name="connsiteX11561" fmla="*/ 3540898 w 8079933"/>
              <a:gd name="connsiteY11561" fmla="*/ 2345791 h 4687251"/>
              <a:gd name="connsiteX11562" fmla="*/ 5607183 w 8079933"/>
              <a:gd name="connsiteY11562" fmla="*/ 2338358 h 4687251"/>
              <a:gd name="connsiteX11563" fmla="*/ 5603908 w 8079933"/>
              <a:gd name="connsiteY11563" fmla="*/ 2340051 h 4687251"/>
              <a:gd name="connsiteX11564" fmla="*/ 5602751 w 8079933"/>
              <a:gd name="connsiteY11564" fmla="*/ 2339834 h 4687251"/>
              <a:gd name="connsiteX11565" fmla="*/ 5603908 w 8079933"/>
              <a:gd name="connsiteY11565" fmla="*/ 2340051 h 4687251"/>
              <a:gd name="connsiteX11566" fmla="*/ 3563252 w 8079933"/>
              <a:gd name="connsiteY11566" fmla="*/ 2335721 h 4687251"/>
              <a:gd name="connsiteX11567" fmla="*/ 3568026 w 8079933"/>
              <a:gd name="connsiteY11567" fmla="*/ 2336696 h 4687251"/>
              <a:gd name="connsiteX11568" fmla="*/ 3566832 w 8079933"/>
              <a:gd name="connsiteY11568" fmla="*/ 2343084 h 4687251"/>
              <a:gd name="connsiteX11569" fmla="*/ 3561841 w 8079933"/>
              <a:gd name="connsiteY11569" fmla="*/ 2342975 h 4687251"/>
              <a:gd name="connsiteX11570" fmla="*/ 3554245 w 8079933"/>
              <a:gd name="connsiteY11570" fmla="*/ 2348497 h 4687251"/>
              <a:gd name="connsiteX11571" fmla="*/ 3550447 w 8079933"/>
              <a:gd name="connsiteY11571" fmla="*/ 2346007 h 4687251"/>
              <a:gd name="connsiteX11572" fmla="*/ 3547843 w 8079933"/>
              <a:gd name="connsiteY11572" fmla="*/ 2342109 h 4687251"/>
              <a:gd name="connsiteX11573" fmla="*/ 3551641 w 8079933"/>
              <a:gd name="connsiteY11573" fmla="*/ 2339186 h 4687251"/>
              <a:gd name="connsiteX11574" fmla="*/ 3555981 w 8079933"/>
              <a:gd name="connsiteY11574" fmla="*/ 2339511 h 4687251"/>
              <a:gd name="connsiteX11575" fmla="*/ 3561299 w 8079933"/>
              <a:gd name="connsiteY11575" fmla="*/ 2337453 h 4687251"/>
              <a:gd name="connsiteX11576" fmla="*/ 1673217 w 8079933"/>
              <a:gd name="connsiteY11576" fmla="*/ 2334963 h 4687251"/>
              <a:gd name="connsiteX11577" fmla="*/ 1673434 w 8079933"/>
              <a:gd name="connsiteY11577" fmla="*/ 2337345 h 4687251"/>
              <a:gd name="connsiteX11578" fmla="*/ 1671155 w 8079933"/>
              <a:gd name="connsiteY11578" fmla="*/ 2343192 h 4687251"/>
              <a:gd name="connsiteX11579" fmla="*/ 1669528 w 8079933"/>
              <a:gd name="connsiteY11579" fmla="*/ 2344275 h 4687251"/>
              <a:gd name="connsiteX11580" fmla="*/ 6096465 w 8079933"/>
              <a:gd name="connsiteY11580" fmla="*/ 2334637 h 4687251"/>
              <a:gd name="connsiteX11581" fmla="*/ 6096465 w 8079933"/>
              <a:gd name="connsiteY11581" fmla="*/ 2334638 h 4687251"/>
              <a:gd name="connsiteX11582" fmla="*/ 6097225 w 8079933"/>
              <a:gd name="connsiteY11582" fmla="*/ 2339401 h 4687251"/>
              <a:gd name="connsiteX11583" fmla="*/ 6104604 w 8079933"/>
              <a:gd name="connsiteY11583" fmla="*/ 2342650 h 4687251"/>
              <a:gd name="connsiteX11584" fmla="*/ 6104604 w 8079933"/>
              <a:gd name="connsiteY11584" fmla="*/ 2342649 h 4687251"/>
              <a:gd name="connsiteX11585" fmla="*/ 6097225 w 8079933"/>
              <a:gd name="connsiteY11585" fmla="*/ 2339401 h 4687251"/>
              <a:gd name="connsiteX11586" fmla="*/ 6255045 w 8079933"/>
              <a:gd name="connsiteY11586" fmla="*/ 2334459 h 4687251"/>
              <a:gd name="connsiteX11587" fmla="*/ 6255225 w 8079933"/>
              <a:gd name="connsiteY11587" fmla="*/ 2335396 h 4687251"/>
              <a:gd name="connsiteX11588" fmla="*/ 6259348 w 8079933"/>
              <a:gd name="connsiteY11588" fmla="*/ 2335288 h 4687251"/>
              <a:gd name="connsiteX11589" fmla="*/ 6263689 w 8079933"/>
              <a:gd name="connsiteY11589" fmla="*/ 2340052 h 4687251"/>
              <a:gd name="connsiteX11590" fmla="*/ 6263689 w 8079933"/>
              <a:gd name="connsiteY11590" fmla="*/ 2340051 h 4687251"/>
              <a:gd name="connsiteX11591" fmla="*/ 6259348 w 8079933"/>
              <a:gd name="connsiteY11591" fmla="*/ 2335287 h 4687251"/>
              <a:gd name="connsiteX11592" fmla="*/ 6255225 w 8079933"/>
              <a:gd name="connsiteY11592" fmla="*/ 2335395 h 4687251"/>
              <a:gd name="connsiteX11593" fmla="*/ 6216919 w 8079933"/>
              <a:gd name="connsiteY11593" fmla="*/ 2333662 h 4687251"/>
              <a:gd name="connsiteX11594" fmla="*/ 6210191 w 8079933"/>
              <a:gd name="connsiteY11594" fmla="*/ 2338535 h 4687251"/>
              <a:gd name="connsiteX11595" fmla="*/ 6202486 w 8079933"/>
              <a:gd name="connsiteY11595" fmla="*/ 2340917 h 4687251"/>
              <a:gd name="connsiteX11596" fmla="*/ 6202486 w 8079933"/>
              <a:gd name="connsiteY11596" fmla="*/ 2340917 h 4687251"/>
              <a:gd name="connsiteX11597" fmla="*/ 6210191 w 8079933"/>
              <a:gd name="connsiteY11597" fmla="*/ 2338536 h 4687251"/>
              <a:gd name="connsiteX11598" fmla="*/ 6216919 w 8079933"/>
              <a:gd name="connsiteY11598" fmla="*/ 2333664 h 4687251"/>
              <a:gd name="connsiteX11599" fmla="*/ 6220934 w 8079933"/>
              <a:gd name="connsiteY11599" fmla="*/ 2337020 h 4687251"/>
              <a:gd name="connsiteX11600" fmla="*/ 6225600 w 8079933"/>
              <a:gd name="connsiteY11600" fmla="*/ 2339077 h 4687251"/>
              <a:gd name="connsiteX11601" fmla="*/ 6225600 w 8079933"/>
              <a:gd name="connsiteY11601" fmla="*/ 2339076 h 4687251"/>
              <a:gd name="connsiteX11602" fmla="*/ 6220934 w 8079933"/>
              <a:gd name="connsiteY11602" fmla="*/ 2337019 h 4687251"/>
              <a:gd name="connsiteX11603" fmla="*/ 5594250 w 8079933"/>
              <a:gd name="connsiteY11603" fmla="*/ 2332472 h 4687251"/>
              <a:gd name="connsiteX11604" fmla="*/ 5592160 w 8079933"/>
              <a:gd name="connsiteY11604" fmla="*/ 2333982 h 4687251"/>
              <a:gd name="connsiteX11605" fmla="*/ 5594251 w 8079933"/>
              <a:gd name="connsiteY11605" fmla="*/ 2332472 h 4687251"/>
              <a:gd name="connsiteX11606" fmla="*/ 3619896 w 8079933"/>
              <a:gd name="connsiteY11606" fmla="*/ 2332257 h 4687251"/>
              <a:gd name="connsiteX11607" fmla="*/ 3620222 w 8079933"/>
              <a:gd name="connsiteY11607" fmla="*/ 2337995 h 4687251"/>
              <a:gd name="connsiteX11608" fmla="*/ 3615122 w 8079933"/>
              <a:gd name="connsiteY11608" fmla="*/ 2345141 h 4687251"/>
              <a:gd name="connsiteX11609" fmla="*/ 3610022 w 8079933"/>
              <a:gd name="connsiteY11609" fmla="*/ 2346549 h 4687251"/>
              <a:gd name="connsiteX11610" fmla="*/ 3606984 w 8079933"/>
              <a:gd name="connsiteY11610" fmla="*/ 2345682 h 4687251"/>
              <a:gd name="connsiteX11611" fmla="*/ 3612192 w 8079933"/>
              <a:gd name="connsiteY11611" fmla="*/ 2339294 h 4687251"/>
              <a:gd name="connsiteX11612" fmla="*/ 3612518 w 8079933"/>
              <a:gd name="connsiteY11612" fmla="*/ 2336046 h 4687251"/>
              <a:gd name="connsiteX11613" fmla="*/ 6966118 w 8079933"/>
              <a:gd name="connsiteY11613" fmla="*/ 2330524 h 4687251"/>
              <a:gd name="connsiteX11614" fmla="*/ 6968180 w 8079933"/>
              <a:gd name="connsiteY11614" fmla="*/ 2335396 h 4687251"/>
              <a:gd name="connsiteX11615" fmla="*/ 6965900 w 8079933"/>
              <a:gd name="connsiteY11615" fmla="*/ 2338320 h 4687251"/>
              <a:gd name="connsiteX11616" fmla="*/ 6965791 w 8079933"/>
              <a:gd name="connsiteY11616" fmla="*/ 2342434 h 4687251"/>
              <a:gd name="connsiteX11617" fmla="*/ 6959932 w 8079933"/>
              <a:gd name="connsiteY11617" fmla="*/ 2346006 h 4687251"/>
              <a:gd name="connsiteX11618" fmla="*/ 6959715 w 8079933"/>
              <a:gd name="connsiteY11618" fmla="*/ 2350338 h 4687251"/>
              <a:gd name="connsiteX11619" fmla="*/ 6957328 w 8079933"/>
              <a:gd name="connsiteY11619" fmla="*/ 2351204 h 4687251"/>
              <a:gd name="connsiteX11620" fmla="*/ 6955483 w 8079933"/>
              <a:gd name="connsiteY11620" fmla="*/ 2344816 h 4687251"/>
              <a:gd name="connsiteX11621" fmla="*/ 6959932 w 8079933"/>
              <a:gd name="connsiteY11621" fmla="*/ 2341676 h 4687251"/>
              <a:gd name="connsiteX11622" fmla="*/ 6960583 w 8079933"/>
              <a:gd name="connsiteY11622" fmla="*/ 2339510 h 4687251"/>
              <a:gd name="connsiteX11623" fmla="*/ 6959607 w 8079933"/>
              <a:gd name="connsiteY11623" fmla="*/ 2337778 h 4687251"/>
              <a:gd name="connsiteX11624" fmla="*/ 6963730 w 8079933"/>
              <a:gd name="connsiteY11624" fmla="*/ 2335396 h 4687251"/>
              <a:gd name="connsiteX11625" fmla="*/ 6098092 w 8079933"/>
              <a:gd name="connsiteY11625" fmla="*/ 2328791 h 4687251"/>
              <a:gd name="connsiteX11626" fmla="*/ 6097008 w 8079933"/>
              <a:gd name="connsiteY11626" fmla="*/ 2328899 h 4687251"/>
              <a:gd name="connsiteX11627" fmla="*/ 6097008 w 8079933"/>
              <a:gd name="connsiteY11627" fmla="*/ 2328899 h 4687251"/>
              <a:gd name="connsiteX11628" fmla="*/ 6098093 w 8079933"/>
              <a:gd name="connsiteY11628" fmla="*/ 2328791 h 4687251"/>
              <a:gd name="connsiteX11629" fmla="*/ 6098093 w 8079933"/>
              <a:gd name="connsiteY11629" fmla="*/ 2328791 h 4687251"/>
              <a:gd name="connsiteX11630" fmla="*/ 6043075 w 8079933"/>
              <a:gd name="connsiteY11630" fmla="*/ 2326626 h 4687251"/>
              <a:gd name="connsiteX11631" fmla="*/ 6037757 w 8079933"/>
              <a:gd name="connsiteY11631" fmla="*/ 2337128 h 4687251"/>
              <a:gd name="connsiteX11632" fmla="*/ 6035562 w 8079933"/>
              <a:gd name="connsiteY11632" fmla="*/ 2338198 h 4687251"/>
              <a:gd name="connsiteX11633" fmla="*/ 6037758 w 8079933"/>
              <a:gd name="connsiteY11633" fmla="*/ 2337128 h 4687251"/>
              <a:gd name="connsiteX11634" fmla="*/ 3529612 w 8079933"/>
              <a:gd name="connsiteY11634" fmla="*/ 2325328 h 4687251"/>
              <a:gd name="connsiteX11635" fmla="*/ 3532868 w 8079933"/>
              <a:gd name="connsiteY11635" fmla="*/ 2327277 h 4687251"/>
              <a:gd name="connsiteX11636" fmla="*/ 3532325 w 8079933"/>
              <a:gd name="connsiteY11636" fmla="*/ 2334205 h 4687251"/>
              <a:gd name="connsiteX11637" fmla="*/ 3529612 w 8079933"/>
              <a:gd name="connsiteY11637" fmla="*/ 2336046 h 4687251"/>
              <a:gd name="connsiteX11638" fmla="*/ 3529612 w 8079933"/>
              <a:gd name="connsiteY11638" fmla="*/ 2330741 h 4687251"/>
              <a:gd name="connsiteX11639" fmla="*/ 3528093 w 8079933"/>
              <a:gd name="connsiteY11639" fmla="*/ 2328034 h 4687251"/>
              <a:gd name="connsiteX11640" fmla="*/ 3529612 w 8079933"/>
              <a:gd name="connsiteY11640" fmla="*/ 2325328 h 4687251"/>
              <a:gd name="connsiteX11641" fmla="*/ 3755355 w 8079933"/>
              <a:gd name="connsiteY11641" fmla="*/ 2325027 h 4687251"/>
              <a:gd name="connsiteX11642" fmla="*/ 3751854 w 8079933"/>
              <a:gd name="connsiteY11642" fmla="*/ 2329658 h 4687251"/>
              <a:gd name="connsiteX11643" fmla="*/ 3740785 w 8079933"/>
              <a:gd name="connsiteY11643" fmla="*/ 2337453 h 4687251"/>
              <a:gd name="connsiteX11644" fmla="*/ 3740459 w 8079933"/>
              <a:gd name="connsiteY11644" fmla="*/ 2357808 h 4687251"/>
              <a:gd name="connsiteX11645" fmla="*/ 3740427 w 8079933"/>
              <a:gd name="connsiteY11645" fmla="*/ 2357841 h 4687251"/>
              <a:gd name="connsiteX11646" fmla="*/ 3740460 w 8079933"/>
              <a:gd name="connsiteY11646" fmla="*/ 2357808 h 4687251"/>
              <a:gd name="connsiteX11647" fmla="*/ 3740785 w 8079933"/>
              <a:gd name="connsiteY11647" fmla="*/ 2337453 h 4687251"/>
              <a:gd name="connsiteX11648" fmla="*/ 3751854 w 8079933"/>
              <a:gd name="connsiteY11648" fmla="*/ 2329658 h 4687251"/>
              <a:gd name="connsiteX11649" fmla="*/ 6084212 w 8079933"/>
              <a:gd name="connsiteY11649" fmla="*/ 2324677 h 4687251"/>
              <a:gd name="connsiteX11650" fmla="*/ 6080838 w 8079933"/>
              <a:gd name="connsiteY11650" fmla="*/ 2325976 h 4687251"/>
              <a:gd name="connsiteX11651" fmla="*/ 6080839 w 8079933"/>
              <a:gd name="connsiteY11651" fmla="*/ 2325976 h 4687251"/>
              <a:gd name="connsiteX11652" fmla="*/ 6228964 w 8079933"/>
              <a:gd name="connsiteY11652" fmla="*/ 2324460 h 4687251"/>
              <a:gd name="connsiteX11653" fmla="*/ 6224407 w 8079933"/>
              <a:gd name="connsiteY11653" fmla="*/ 2328790 h 4687251"/>
              <a:gd name="connsiteX11654" fmla="*/ 6224407 w 8079933"/>
              <a:gd name="connsiteY11654" fmla="*/ 2328791 h 4687251"/>
              <a:gd name="connsiteX11655" fmla="*/ 6228964 w 8079933"/>
              <a:gd name="connsiteY11655" fmla="*/ 2324460 h 4687251"/>
              <a:gd name="connsiteX11656" fmla="*/ 1685371 w 8079933"/>
              <a:gd name="connsiteY11656" fmla="*/ 2319806 h 4687251"/>
              <a:gd name="connsiteX11657" fmla="*/ 1682007 w 8079933"/>
              <a:gd name="connsiteY11657" fmla="*/ 2324353 h 4687251"/>
              <a:gd name="connsiteX11658" fmla="*/ 1676907 w 8079933"/>
              <a:gd name="connsiteY11658" fmla="*/ 2330524 h 4687251"/>
              <a:gd name="connsiteX11659" fmla="*/ 1674954 w 8079933"/>
              <a:gd name="connsiteY11659" fmla="*/ 2331932 h 4687251"/>
              <a:gd name="connsiteX11660" fmla="*/ 1680488 w 8079933"/>
              <a:gd name="connsiteY11660" fmla="*/ 2323379 h 4687251"/>
              <a:gd name="connsiteX11661" fmla="*/ 4165411 w 8079933"/>
              <a:gd name="connsiteY11661" fmla="*/ 2319804 h 4687251"/>
              <a:gd name="connsiteX11662" fmla="*/ 4165411 w 8079933"/>
              <a:gd name="connsiteY11662" fmla="*/ 2319805 h 4687251"/>
              <a:gd name="connsiteX11663" fmla="*/ 4165438 w 8079933"/>
              <a:gd name="connsiteY11663" fmla="*/ 2320163 h 4687251"/>
              <a:gd name="connsiteX11664" fmla="*/ 3627494 w 8079933"/>
              <a:gd name="connsiteY11664" fmla="*/ 2319697 h 4687251"/>
              <a:gd name="connsiteX11665" fmla="*/ 3631401 w 8079933"/>
              <a:gd name="connsiteY11665" fmla="*/ 2322512 h 4687251"/>
              <a:gd name="connsiteX11666" fmla="*/ 3626626 w 8079933"/>
              <a:gd name="connsiteY11666" fmla="*/ 2323162 h 4687251"/>
              <a:gd name="connsiteX11667" fmla="*/ 3621417 w 8079933"/>
              <a:gd name="connsiteY11667" fmla="*/ 2326085 h 4687251"/>
              <a:gd name="connsiteX11668" fmla="*/ 3623695 w 8079933"/>
              <a:gd name="connsiteY11668" fmla="*/ 2319913 h 4687251"/>
              <a:gd name="connsiteX11669" fmla="*/ 6062390 w 8079933"/>
              <a:gd name="connsiteY11669" fmla="*/ 2318722 h 4687251"/>
              <a:gd name="connsiteX11670" fmla="*/ 6060818 w 8079933"/>
              <a:gd name="connsiteY11670" fmla="*/ 2318946 h 4687251"/>
              <a:gd name="connsiteX11671" fmla="*/ 6062390 w 8079933"/>
              <a:gd name="connsiteY11671" fmla="*/ 2318722 h 4687251"/>
              <a:gd name="connsiteX11672" fmla="*/ 6229721 w 8079933"/>
              <a:gd name="connsiteY11672" fmla="*/ 2318592 h 4687251"/>
              <a:gd name="connsiteX11673" fmla="*/ 6227445 w 8079933"/>
              <a:gd name="connsiteY11673" fmla="*/ 2319696 h 4687251"/>
              <a:gd name="connsiteX11674" fmla="*/ 6227445 w 8079933"/>
              <a:gd name="connsiteY11674" fmla="*/ 2319696 h 4687251"/>
              <a:gd name="connsiteX11675" fmla="*/ 6231460 w 8079933"/>
              <a:gd name="connsiteY11675" fmla="*/ 2317748 h 4687251"/>
              <a:gd name="connsiteX11676" fmla="*/ 6231459 w 8079933"/>
              <a:gd name="connsiteY11676" fmla="*/ 2317748 h 4687251"/>
              <a:gd name="connsiteX11677" fmla="*/ 6236994 w 8079933"/>
              <a:gd name="connsiteY11677" fmla="*/ 2320130 h 4687251"/>
              <a:gd name="connsiteX11678" fmla="*/ 6240575 w 8079933"/>
              <a:gd name="connsiteY11678" fmla="*/ 2318073 h 4687251"/>
              <a:gd name="connsiteX11679" fmla="*/ 6246109 w 8079933"/>
              <a:gd name="connsiteY11679" fmla="*/ 2318289 h 4687251"/>
              <a:gd name="connsiteX11680" fmla="*/ 6246109 w 8079933"/>
              <a:gd name="connsiteY11680" fmla="*/ 2318289 h 4687251"/>
              <a:gd name="connsiteX11681" fmla="*/ 6240575 w 8079933"/>
              <a:gd name="connsiteY11681" fmla="*/ 2318072 h 4687251"/>
              <a:gd name="connsiteX11682" fmla="*/ 6236994 w 8079933"/>
              <a:gd name="connsiteY11682" fmla="*/ 2320129 h 4687251"/>
              <a:gd name="connsiteX11683" fmla="*/ 6120012 w 8079933"/>
              <a:gd name="connsiteY11683" fmla="*/ 2317748 h 4687251"/>
              <a:gd name="connsiteX11684" fmla="*/ 6116432 w 8079933"/>
              <a:gd name="connsiteY11684" fmla="*/ 2320346 h 4687251"/>
              <a:gd name="connsiteX11685" fmla="*/ 6114044 w 8079933"/>
              <a:gd name="connsiteY11685" fmla="*/ 2326192 h 4687251"/>
              <a:gd name="connsiteX11686" fmla="*/ 6114045 w 8079933"/>
              <a:gd name="connsiteY11686" fmla="*/ 2326192 h 4687251"/>
              <a:gd name="connsiteX11687" fmla="*/ 6116433 w 8079933"/>
              <a:gd name="connsiteY11687" fmla="*/ 2320345 h 4687251"/>
              <a:gd name="connsiteX11688" fmla="*/ 5045707 w 8079933"/>
              <a:gd name="connsiteY11688" fmla="*/ 2317236 h 4687251"/>
              <a:gd name="connsiteX11689" fmla="*/ 5054053 w 8079933"/>
              <a:gd name="connsiteY11689" fmla="*/ 2319805 h 4687251"/>
              <a:gd name="connsiteX11690" fmla="*/ 5055464 w 8079933"/>
              <a:gd name="connsiteY11690" fmla="*/ 2328575 h 4687251"/>
              <a:gd name="connsiteX11691" fmla="*/ 5055465 w 8079933"/>
              <a:gd name="connsiteY11691" fmla="*/ 2328574 h 4687251"/>
              <a:gd name="connsiteX11692" fmla="*/ 5054054 w 8079933"/>
              <a:gd name="connsiteY11692" fmla="*/ 2319805 h 4687251"/>
              <a:gd name="connsiteX11693" fmla="*/ 3771496 w 8079933"/>
              <a:gd name="connsiteY11693" fmla="*/ 2317079 h 4687251"/>
              <a:gd name="connsiteX11694" fmla="*/ 3763465 w 8079933"/>
              <a:gd name="connsiteY11694" fmla="*/ 2318722 h 4687251"/>
              <a:gd name="connsiteX11695" fmla="*/ 3757824 w 8079933"/>
              <a:gd name="connsiteY11695" fmla="*/ 2322592 h 4687251"/>
              <a:gd name="connsiteX11696" fmla="*/ 3763465 w 8079933"/>
              <a:gd name="connsiteY11696" fmla="*/ 2318723 h 4687251"/>
              <a:gd name="connsiteX11697" fmla="*/ 6123812 w 8079933"/>
              <a:gd name="connsiteY11697" fmla="*/ 2315799 h 4687251"/>
              <a:gd name="connsiteX11698" fmla="*/ 6123811 w 8079933"/>
              <a:gd name="connsiteY11698" fmla="*/ 2315799 h 4687251"/>
              <a:gd name="connsiteX11699" fmla="*/ 6123705 w 8079933"/>
              <a:gd name="connsiteY11699" fmla="*/ 2318886 h 4687251"/>
              <a:gd name="connsiteX11700" fmla="*/ 5962304 w 8079933"/>
              <a:gd name="connsiteY11700" fmla="*/ 2313645 h 4687251"/>
              <a:gd name="connsiteX11701" fmla="*/ 5958648 w 8079933"/>
              <a:gd name="connsiteY11701" fmla="*/ 2317748 h 4687251"/>
              <a:gd name="connsiteX11702" fmla="*/ 5953548 w 8079933"/>
              <a:gd name="connsiteY11702" fmla="*/ 2319264 h 4687251"/>
              <a:gd name="connsiteX11703" fmla="*/ 5950618 w 8079933"/>
              <a:gd name="connsiteY11703" fmla="*/ 2321862 h 4687251"/>
              <a:gd name="connsiteX11704" fmla="*/ 5943890 w 8079933"/>
              <a:gd name="connsiteY11704" fmla="*/ 2318613 h 4687251"/>
              <a:gd name="connsiteX11705" fmla="*/ 5939875 w 8079933"/>
              <a:gd name="connsiteY11705" fmla="*/ 2319480 h 4687251"/>
              <a:gd name="connsiteX11706" fmla="*/ 5937162 w 8079933"/>
              <a:gd name="connsiteY11706" fmla="*/ 2313958 h 4687251"/>
              <a:gd name="connsiteX11707" fmla="*/ 5937162 w 8079933"/>
              <a:gd name="connsiteY11707" fmla="*/ 2313959 h 4687251"/>
              <a:gd name="connsiteX11708" fmla="*/ 5939875 w 8079933"/>
              <a:gd name="connsiteY11708" fmla="*/ 2319481 h 4687251"/>
              <a:gd name="connsiteX11709" fmla="*/ 5943890 w 8079933"/>
              <a:gd name="connsiteY11709" fmla="*/ 2318614 h 4687251"/>
              <a:gd name="connsiteX11710" fmla="*/ 5950618 w 8079933"/>
              <a:gd name="connsiteY11710" fmla="*/ 2321862 h 4687251"/>
              <a:gd name="connsiteX11711" fmla="*/ 5953548 w 8079933"/>
              <a:gd name="connsiteY11711" fmla="*/ 2319264 h 4687251"/>
              <a:gd name="connsiteX11712" fmla="*/ 5958648 w 8079933"/>
              <a:gd name="connsiteY11712" fmla="*/ 2317748 h 4687251"/>
              <a:gd name="connsiteX11713" fmla="*/ 5962990 w 8079933"/>
              <a:gd name="connsiteY11713" fmla="*/ 2312875 h 4687251"/>
              <a:gd name="connsiteX11714" fmla="*/ 5962989 w 8079933"/>
              <a:gd name="connsiteY11714" fmla="*/ 2312876 h 4687251"/>
              <a:gd name="connsiteX11715" fmla="*/ 5971996 w 8079933"/>
              <a:gd name="connsiteY11715" fmla="*/ 2313959 h 4687251"/>
              <a:gd name="connsiteX11716" fmla="*/ 5977747 w 8079933"/>
              <a:gd name="connsiteY11716" fmla="*/ 2316882 h 4687251"/>
              <a:gd name="connsiteX11717" fmla="*/ 5979158 w 8079933"/>
              <a:gd name="connsiteY11717" fmla="*/ 2322512 h 4687251"/>
              <a:gd name="connsiteX11718" fmla="*/ 5986212 w 8079933"/>
              <a:gd name="connsiteY11718" fmla="*/ 2325327 h 4687251"/>
              <a:gd name="connsiteX11719" fmla="*/ 5991095 w 8079933"/>
              <a:gd name="connsiteY11719" fmla="*/ 2331823 h 4687251"/>
              <a:gd name="connsiteX11720" fmla="*/ 5995218 w 8079933"/>
              <a:gd name="connsiteY11720" fmla="*/ 2332906 h 4687251"/>
              <a:gd name="connsiteX11721" fmla="*/ 6001187 w 8079933"/>
              <a:gd name="connsiteY11721" fmla="*/ 2330307 h 4687251"/>
              <a:gd name="connsiteX11722" fmla="*/ 6003683 w 8079933"/>
              <a:gd name="connsiteY11722" fmla="*/ 2331282 h 4687251"/>
              <a:gd name="connsiteX11723" fmla="*/ 6010194 w 8079933"/>
              <a:gd name="connsiteY11723" fmla="*/ 2329225 h 4687251"/>
              <a:gd name="connsiteX11724" fmla="*/ 6014534 w 8079933"/>
              <a:gd name="connsiteY11724" fmla="*/ 2329550 h 4687251"/>
              <a:gd name="connsiteX11725" fmla="*/ 6016163 w 8079933"/>
              <a:gd name="connsiteY11725" fmla="*/ 2334638 h 4687251"/>
              <a:gd name="connsiteX11726" fmla="*/ 6016163 w 8079933"/>
              <a:gd name="connsiteY11726" fmla="*/ 2334637 h 4687251"/>
              <a:gd name="connsiteX11727" fmla="*/ 6014535 w 8079933"/>
              <a:gd name="connsiteY11727" fmla="*/ 2329549 h 4687251"/>
              <a:gd name="connsiteX11728" fmla="*/ 6010194 w 8079933"/>
              <a:gd name="connsiteY11728" fmla="*/ 2329225 h 4687251"/>
              <a:gd name="connsiteX11729" fmla="*/ 6003683 w 8079933"/>
              <a:gd name="connsiteY11729" fmla="*/ 2331282 h 4687251"/>
              <a:gd name="connsiteX11730" fmla="*/ 6001187 w 8079933"/>
              <a:gd name="connsiteY11730" fmla="*/ 2330307 h 4687251"/>
              <a:gd name="connsiteX11731" fmla="*/ 5995218 w 8079933"/>
              <a:gd name="connsiteY11731" fmla="*/ 2332905 h 4687251"/>
              <a:gd name="connsiteX11732" fmla="*/ 5991095 w 8079933"/>
              <a:gd name="connsiteY11732" fmla="*/ 2331823 h 4687251"/>
              <a:gd name="connsiteX11733" fmla="*/ 5986212 w 8079933"/>
              <a:gd name="connsiteY11733" fmla="*/ 2325327 h 4687251"/>
              <a:gd name="connsiteX11734" fmla="*/ 5979158 w 8079933"/>
              <a:gd name="connsiteY11734" fmla="*/ 2322511 h 4687251"/>
              <a:gd name="connsiteX11735" fmla="*/ 5977747 w 8079933"/>
              <a:gd name="connsiteY11735" fmla="*/ 2316881 h 4687251"/>
              <a:gd name="connsiteX11736" fmla="*/ 5971996 w 8079933"/>
              <a:gd name="connsiteY11736" fmla="*/ 2313958 h 4687251"/>
              <a:gd name="connsiteX11737" fmla="*/ 6130431 w 8079933"/>
              <a:gd name="connsiteY11737" fmla="*/ 2309518 h 4687251"/>
              <a:gd name="connsiteX11738" fmla="*/ 6130430 w 8079933"/>
              <a:gd name="connsiteY11738" fmla="*/ 2309519 h 4687251"/>
              <a:gd name="connsiteX11739" fmla="*/ 6128980 w 8079933"/>
              <a:gd name="connsiteY11739" fmla="*/ 2313860 h 4687251"/>
              <a:gd name="connsiteX11740" fmla="*/ 6213663 w 8079933"/>
              <a:gd name="connsiteY11740" fmla="*/ 2306162 h 4687251"/>
              <a:gd name="connsiteX11741" fmla="*/ 6211783 w 8079933"/>
              <a:gd name="connsiteY11741" fmla="*/ 2308252 h 4687251"/>
              <a:gd name="connsiteX11742" fmla="*/ 6213663 w 8079933"/>
              <a:gd name="connsiteY11742" fmla="*/ 2306162 h 4687251"/>
              <a:gd name="connsiteX11743" fmla="*/ 3819062 w 8079933"/>
              <a:gd name="connsiteY11743" fmla="*/ 2305116 h 4687251"/>
              <a:gd name="connsiteX11744" fmla="*/ 3806112 w 8079933"/>
              <a:gd name="connsiteY11744" fmla="*/ 2312767 h 4687251"/>
              <a:gd name="connsiteX11745" fmla="*/ 3796671 w 8079933"/>
              <a:gd name="connsiteY11745" fmla="*/ 2314824 h 4687251"/>
              <a:gd name="connsiteX11746" fmla="*/ 3792013 w 8079933"/>
              <a:gd name="connsiteY11746" fmla="*/ 2314935 h 4687251"/>
              <a:gd name="connsiteX11747" fmla="*/ 3796671 w 8079933"/>
              <a:gd name="connsiteY11747" fmla="*/ 2314825 h 4687251"/>
              <a:gd name="connsiteX11748" fmla="*/ 3806112 w 8079933"/>
              <a:gd name="connsiteY11748" fmla="*/ 2312768 h 4687251"/>
              <a:gd name="connsiteX11749" fmla="*/ 6979139 w 8079933"/>
              <a:gd name="connsiteY11749" fmla="*/ 2303023 h 4687251"/>
              <a:gd name="connsiteX11750" fmla="*/ 6982177 w 8079933"/>
              <a:gd name="connsiteY11750" fmla="*/ 2305513 h 4687251"/>
              <a:gd name="connsiteX11751" fmla="*/ 6983045 w 8079933"/>
              <a:gd name="connsiteY11751" fmla="*/ 2309411 h 4687251"/>
              <a:gd name="connsiteX11752" fmla="*/ 6981635 w 8079933"/>
              <a:gd name="connsiteY11752" fmla="*/ 2310386 h 4687251"/>
              <a:gd name="connsiteX11753" fmla="*/ 6978162 w 8079933"/>
              <a:gd name="connsiteY11753" fmla="*/ 2307570 h 4687251"/>
              <a:gd name="connsiteX11754" fmla="*/ 6977946 w 8079933"/>
              <a:gd name="connsiteY11754" fmla="*/ 2304647 h 4687251"/>
              <a:gd name="connsiteX11755" fmla="*/ 4806788 w 8079933"/>
              <a:gd name="connsiteY11755" fmla="*/ 2302500 h 4687251"/>
              <a:gd name="connsiteX11756" fmla="*/ 4803380 w 8079933"/>
              <a:gd name="connsiteY11756" fmla="*/ 2303023 h 4687251"/>
              <a:gd name="connsiteX11757" fmla="*/ 4786126 w 8079933"/>
              <a:gd name="connsiteY11757" fmla="*/ 2319805 h 4687251"/>
              <a:gd name="connsiteX11758" fmla="*/ 4786126 w 8079933"/>
              <a:gd name="connsiteY11758" fmla="*/ 2319805 h 4687251"/>
              <a:gd name="connsiteX11759" fmla="*/ 4803381 w 8079933"/>
              <a:gd name="connsiteY11759" fmla="*/ 2303023 h 4687251"/>
              <a:gd name="connsiteX11760" fmla="*/ 4163995 w 8079933"/>
              <a:gd name="connsiteY11760" fmla="*/ 2301539 h 4687251"/>
              <a:gd name="connsiteX11761" fmla="*/ 4165411 w 8079933"/>
              <a:gd name="connsiteY11761" fmla="*/ 2304214 h 4687251"/>
              <a:gd name="connsiteX11762" fmla="*/ 4165411 w 8079933"/>
              <a:gd name="connsiteY11762" fmla="*/ 2304214 h 4687251"/>
              <a:gd name="connsiteX11763" fmla="*/ 4160094 w 8079933"/>
              <a:gd name="connsiteY11763" fmla="*/ 2296851 h 4687251"/>
              <a:gd name="connsiteX11764" fmla="*/ 4160094 w 8079933"/>
              <a:gd name="connsiteY11764" fmla="*/ 2296852 h 4687251"/>
              <a:gd name="connsiteX11765" fmla="*/ 4162373 w 8079933"/>
              <a:gd name="connsiteY11765" fmla="*/ 2298476 h 4687251"/>
              <a:gd name="connsiteX11766" fmla="*/ 4162373 w 8079933"/>
              <a:gd name="connsiteY11766" fmla="*/ 2298475 h 4687251"/>
              <a:gd name="connsiteX11767" fmla="*/ 5825282 w 8079933"/>
              <a:gd name="connsiteY11767" fmla="*/ 2295118 h 4687251"/>
              <a:gd name="connsiteX11768" fmla="*/ 5820870 w 8079933"/>
              <a:gd name="connsiteY11768" fmla="*/ 2301679 h 4687251"/>
              <a:gd name="connsiteX11769" fmla="*/ 5825282 w 8079933"/>
              <a:gd name="connsiteY11769" fmla="*/ 2295120 h 4687251"/>
              <a:gd name="connsiteX11770" fmla="*/ 5039513 w 8079933"/>
              <a:gd name="connsiteY11770" fmla="*/ 2291331 h 4687251"/>
              <a:gd name="connsiteX11771" fmla="*/ 5039512 w 8079933"/>
              <a:gd name="connsiteY11771" fmla="*/ 2291331 h 4687251"/>
              <a:gd name="connsiteX11772" fmla="*/ 5034303 w 8079933"/>
              <a:gd name="connsiteY11772" fmla="*/ 2303024 h 4687251"/>
              <a:gd name="connsiteX11773" fmla="*/ 5028986 w 8079933"/>
              <a:gd name="connsiteY11773" fmla="*/ 2312984 h 4687251"/>
              <a:gd name="connsiteX11774" fmla="*/ 5028987 w 8079933"/>
              <a:gd name="connsiteY11774" fmla="*/ 2312984 h 4687251"/>
              <a:gd name="connsiteX11775" fmla="*/ 5034304 w 8079933"/>
              <a:gd name="connsiteY11775" fmla="*/ 2303023 h 4687251"/>
              <a:gd name="connsiteX11776" fmla="*/ 5364195 w 8079933"/>
              <a:gd name="connsiteY11776" fmla="*/ 2291113 h 4687251"/>
              <a:gd name="connsiteX11777" fmla="*/ 5364194 w 8079933"/>
              <a:gd name="connsiteY11777" fmla="*/ 2291114 h 4687251"/>
              <a:gd name="connsiteX11778" fmla="*/ 5376565 w 8079933"/>
              <a:gd name="connsiteY11778" fmla="*/ 2307571 h 4687251"/>
              <a:gd name="connsiteX11779" fmla="*/ 5379386 w 8079933"/>
              <a:gd name="connsiteY11779" fmla="*/ 2313093 h 4687251"/>
              <a:gd name="connsiteX11780" fmla="*/ 5385572 w 8079933"/>
              <a:gd name="connsiteY11780" fmla="*/ 2319589 h 4687251"/>
              <a:gd name="connsiteX11781" fmla="*/ 5391649 w 8079933"/>
              <a:gd name="connsiteY11781" fmla="*/ 2322837 h 4687251"/>
              <a:gd name="connsiteX11782" fmla="*/ 5393711 w 8079933"/>
              <a:gd name="connsiteY11782" fmla="*/ 2325327 h 4687251"/>
              <a:gd name="connsiteX11783" fmla="*/ 5401632 w 8079933"/>
              <a:gd name="connsiteY11783" fmla="*/ 2325977 h 4687251"/>
              <a:gd name="connsiteX11784" fmla="*/ 5406082 w 8079933"/>
              <a:gd name="connsiteY11784" fmla="*/ 2327709 h 4687251"/>
              <a:gd name="connsiteX11785" fmla="*/ 5406841 w 8079933"/>
              <a:gd name="connsiteY11785" fmla="*/ 2330308 h 4687251"/>
              <a:gd name="connsiteX11786" fmla="*/ 5413353 w 8079933"/>
              <a:gd name="connsiteY11786" fmla="*/ 2330957 h 4687251"/>
              <a:gd name="connsiteX11787" fmla="*/ 5413569 w 8079933"/>
              <a:gd name="connsiteY11787" fmla="*/ 2339077 h 4687251"/>
              <a:gd name="connsiteX11788" fmla="*/ 5415197 w 8079933"/>
              <a:gd name="connsiteY11788" fmla="*/ 2344491 h 4687251"/>
              <a:gd name="connsiteX11789" fmla="*/ 5415522 w 8079933"/>
              <a:gd name="connsiteY11789" fmla="*/ 2351095 h 4687251"/>
              <a:gd name="connsiteX11790" fmla="*/ 5416825 w 8079933"/>
              <a:gd name="connsiteY11790" fmla="*/ 2355318 h 4687251"/>
              <a:gd name="connsiteX11791" fmla="*/ 5422685 w 8079933"/>
              <a:gd name="connsiteY11791" fmla="*/ 2354993 h 4687251"/>
              <a:gd name="connsiteX11792" fmla="*/ 5428870 w 8079933"/>
              <a:gd name="connsiteY11792" fmla="*/ 2359107 h 4687251"/>
              <a:gd name="connsiteX11793" fmla="*/ 5429521 w 8079933"/>
              <a:gd name="connsiteY11793" fmla="*/ 2368419 h 4687251"/>
              <a:gd name="connsiteX11794" fmla="*/ 5429522 w 8079933"/>
              <a:gd name="connsiteY11794" fmla="*/ 2368418 h 4687251"/>
              <a:gd name="connsiteX11795" fmla="*/ 5428871 w 8079933"/>
              <a:gd name="connsiteY11795" fmla="*/ 2359107 h 4687251"/>
              <a:gd name="connsiteX11796" fmla="*/ 5422685 w 8079933"/>
              <a:gd name="connsiteY11796" fmla="*/ 2354992 h 4687251"/>
              <a:gd name="connsiteX11797" fmla="*/ 5416826 w 8079933"/>
              <a:gd name="connsiteY11797" fmla="*/ 2355317 h 4687251"/>
              <a:gd name="connsiteX11798" fmla="*/ 5415523 w 8079933"/>
              <a:gd name="connsiteY11798" fmla="*/ 2351095 h 4687251"/>
              <a:gd name="connsiteX11799" fmla="*/ 5415198 w 8079933"/>
              <a:gd name="connsiteY11799" fmla="*/ 2344490 h 4687251"/>
              <a:gd name="connsiteX11800" fmla="*/ 5413570 w 8079933"/>
              <a:gd name="connsiteY11800" fmla="*/ 2339077 h 4687251"/>
              <a:gd name="connsiteX11801" fmla="*/ 5413353 w 8079933"/>
              <a:gd name="connsiteY11801" fmla="*/ 2330956 h 4687251"/>
              <a:gd name="connsiteX11802" fmla="*/ 5406842 w 8079933"/>
              <a:gd name="connsiteY11802" fmla="*/ 2330306 h 4687251"/>
              <a:gd name="connsiteX11803" fmla="*/ 5406083 w 8079933"/>
              <a:gd name="connsiteY11803" fmla="*/ 2327708 h 4687251"/>
              <a:gd name="connsiteX11804" fmla="*/ 5401633 w 8079933"/>
              <a:gd name="connsiteY11804" fmla="*/ 2325975 h 4687251"/>
              <a:gd name="connsiteX11805" fmla="*/ 5393711 w 8079933"/>
              <a:gd name="connsiteY11805" fmla="*/ 2325326 h 4687251"/>
              <a:gd name="connsiteX11806" fmla="*/ 5391649 w 8079933"/>
              <a:gd name="connsiteY11806" fmla="*/ 2322836 h 4687251"/>
              <a:gd name="connsiteX11807" fmla="*/ 5385573 w 8079933"/>
              <a:gd name="connsiteY11807" fmla="*/ 2319588 h 4687251"/>
              <a:gd name="connsiteX11808" fmla="*/ 5379387 w 8079933"/>
              <a:gd name="connsiteY11808" fmla="*/ 2313091 h 4687251"/>
              <a:gd name="connsiteX11809" fmla="*/ 5376565 w 8079933"/>
              <a:gd name="connsiteY11809" fmla="*/ 2307569 h 4687251"/>
              <a:gd name="connsiteX11810" fmla="*/ 5364195 w 8079933"/>
              <a:gd name="connsiteY11810" fmla="*/ 2291113 h 4687251"/>
              <a:gd name="connsiteX11811" fmla="*/ 6202218 w 8079933"/>
              <a:gd name="connsiteY11811" fmla="*/ 2290840 h 4687251"/>
              <a:gd name="connsiteX11812" fmla="*/ 6201292 w 8079933"/>
              <a:gd name="connsiteY11812" fmla="*/ 2292628 h 4687251"/>
              <a:gd name="connsiteX11813" fmla="*/ 6201292 w 8079933"/>
              <a:gd name="connsiteY11813" fmla="*/ 2292628 h 4687251"/>
              <a:gd name="connsiteX11814" fmla="*/ 1545276 w 8079933"/>
              <a:gd name="connsiteY11814" fmla="*/ 2290247 h 4687251"/>
              <a:gd name="connsiteX11815" fmla="*/ 1543851 w 8079933"/>
              <a:gd name="connsiteY11815" fmla="*/ 2290654 h 4687251"/>
              <a:gd name="connsiteX11816" fmla="*/ 1545276 w 8079933"/>
              <a:gd name="connsiteY11816" fmla="*/ 2290248 h 4687251"/>
              <a:gd name="connsiteX11817" fmla="*/ 6153328 w 8079933"/>
              <a:gd name="connsiteY11817" fmla="*/ 2289922 h 4687251"/>
              <a:gd name="connsiteX11818" fmla="*/ 6153327 w 8079933"/>
              <a:gd name="connsiteY11818" fmla="*/ 2289922 h 4687251"/>
              <a:gd name="connsiteX11819" fmla="*/ 6153762 w 8079933"/>
              <a:gd name="connsiteY11819" fmla="*/ 2295011 h 4687251"/>
              <a:gd name="connsiteX11820" fmla="*/ 6151445 w 8079933"/>
              <a:gd name="connsiteY11820" fmla="*/ 2297877 h 4687251"/>
              <a:gd name="connsiteX11821" fmla="*/ 6153763 w 8079933"/>
              <a:gd name="connsiteY11821" fmla="*/ 2295010 h 4687251"/>
              <a:gd name="connsiteX11822" fmla="*/ 5654458 w 8079933"/>
              <a:gd name="connsiteY11822" fmla="*/ 2288829 h 4687251"/>
              <a:gd name="connsiteX11823" fmla="*/ 5652524 w 8079933"/>
              <a:gd name="connsiteY11823" fmla="*/ 2291545 h 4687251"/>
              <a:gd name="connsiteX11824" fmla="*/ 5652129 w 8079933"/>
              <a:gd name="connsiteY11824" fmla="*/ 2294380 h 4687251"/>
              <a:gd name="connsiteX11825" fmla="*/ 5652524 w 8079933"/>
              <a:gd name="connsiteY11825" fmla="*/ 2291546 h 4687251"/>
              <a:gd name="connsiteX11826" fmla="*/ 4760407 w 8079933"/>
              <a:gd name="connsiteY11826" fmla="*/ 2286783 h 4687251"/>
              <a:gd name="connsiteX11827" fmla="*/ 4758562 w 8079933"/>
              <a:gd name="connsiteY11827" fmla="*/ 2292737 h 4687251"/>
              <a:gd name="connsiteX11828" fmla="*/ 4758562 w 8079933"/>
              <a:gd name="connsiteY11828" fmla="*/ 2298151 h 4687251"/>
              <a:gd name="connsiteX11829" fmla="*/ 4756283 w 8079933"/>
              <a:gd name="connsiteY11829" fmla="*/ 2300533 h 4687251"/>
              <a:gd name="connsiteX11830" fmla="*/ 4756478 w 8079933"/>
              <a:gd name="connsiteY11830" fmla="*/ 2303351 h 4687251"/>
              <a:gd name="connsiteX11831" fmla="*/ 4756284 w 8079933"/>
              <a:gd name="connsiteY11831" fmla="*/ 2300533 h 4687251"/>
              <a:gd name="connsiteX11832" fmla="*/ 4758563 w 8079933"/>
              <a:gd name="connsiteY11832" fmla="*/ 2298151 h 4687251"/>
              <a:gd name="connsiteX11833" fmla="*/ 4758563 w 8079933"/>
              <a:gd name="connsiteY11833" fmla="*/ 2292738 h 4687251"/>
              <a:gd name="connsiteX11834" fmla="*/ 1519015 w 8079933"/>
              <a:gd name="connsiteY11834" fmla="*/ 2286133 h 4687251"/>
              <a:gd name="connsiteX11835" fmla="*/ 1523898 w 8079933"/>
              <a:gd name="connsiteY11835" fmla="*/ 2288624 h 4687251"/>
              <a:gd name="connsiteX11836" fmla="*/ 1524550 w 8079933"/>
              <a:gd name="connsiteY11836" fmla="*/ 2290248 h 4687251"/>
              <a:gd name="connsiteX11837" fmla="*/ 1528565 w 8079933"/>
              <a:gd name="connsiteY11837" fmla="*/ 2291547 h 4687251"/>
              <a:gd name="connsiteX11838" fmla="*/ 1533339 w 8079933"/>
              <a:gd name="connsiteY11838" fmla="*/ 2294037 h 4687251"/>
              <a:gd name="connsiteX11839" fmla="*/ 1534750 w 8079933"/>
              <a:gd name="connsiteY11839" fmla="*/ 2295661 h 4687251"/>
              <a:gd name="connsiteX11840" fmla="*/ 1536812 w 8079933"/>
              <a:gd name="connsiteY11840" fmla="*/ 2295986 h 4687251"/>
              <a:gd name="connsiteX11841" fmla="*/ 1536812 w 8079933"/>
              <a:gd name="connsiteY11841" fmla="*/ 2295986 h 4687251"/>
              <a:gd name="connsiteX11842" fmla="*/ 1534751 w 8079933"/>
              <a:gd name="connsiteY11842" fmla="*/ 2295661 h 4687251"/>
              <a:gd name="connsiteX11843" fmla="*/ 1533340 w 8079933"/>
              <a:gd name="connsiteY11843" fmla="*/ 2294037 h 4687251"/>
              <a:gd name="connsiteX11844" fmla="*/ 1528565 w 8079933"/>
              <a:gd name="connsiteY11844" fmla="*/ 2291547 h 4687251"/>
              <a:gd name="connsiteX11845" fmla="*/ 1524550 w 8079933"/>
              <a:gd name="connsiteY11845" fmla="*/ 2290247 h 4687251"/>
              <a:gd name="connsiteX11846" fmla="*/ 1523899 w 8079933"/>
              <a:gd name="connsiteY11846" fmla="*/ 2288624 h 4687251"/>
              <a:gd name="connsiteX11847" fmla="*/ 1519016 w 8079933"/>
              <a:gd name="connsiteY11847" fmla="*/ 2286133 h 4687251"/>
              <a:gd name="connsiteX11848" fmla="*/ 6162117 w 8079933"/>
              <a:gd name="connsiteY11848" fmla="*/ 2285375 h 4687251"/>
              <a:gd name="connsiteX11849" fmla="*/ 6161319 w 8079933"/>
              <a:gd name="connsiteY11849" fmla="*/ 2285944 h 4687251"/>
              <a:gd name="connsiteX11850" fmla="*/ 6162117 w 8079933"/>
              <a:gd name="connsiteY11850" fmla="*/ 2285375 h 4687251"/>
              <a:gd name="connsiteX11851" fmla="*/ 5490470 w 8079933"/>
              <a:gd name="connsiteY11851" fmla="*/ 2284256 h 4687251"/>
              <a:gd name="connsiteX11852" fmla="*/ 5489640 w 8079933"/>
              <a:gd name="connsiteY11852" fmla="*/ 2287648 h 4687251"/>
              <a:gd name="connsiteX11853" fmla="*/ 5489641 w 8079933"/>
              <a:gd name="connsiteY11853" fmla="*/ 2287648 h 4687251"/>
              <a:gd name="connsiteX11854" fmla="*/ 4170077 w 8079933"/>
              <a:gd name="connsiteY11854" fmla="*/ 2283209 h 4687251"/>
              <a:gd name="connsiteX11855" fmla="*/ 4166387 w 8079933"/>
              <a:gd name="connsiteY11855" fmla="*/ 2285482 h 4687251"/>
              <a:gd name="connsiteX11856" fmla="*/ 4164977 w 8079933"/>
              <a:gd name="connsiteY11856" fmla="*/ 2286782 h 4687251"/>
              <a:gd name="connsiteX11857" fmla="*/ 4162048 w 8079933"/>
              <a:gd name="connsiteY11857" fmla="*/ 2286782 h 4687251"/>
              <a:gd name="connsiteX11858" fmla="*/ 4162048 w 8079933"/>
              <a:gd name="connsiteY11858" fmla="*/ 2286782 h 4687251"/>
              <a:gd name="connsiteX11859" fmla="*/ 4164977 w 8079933"/>
              <a:gd name="connsiteY11859" fmla="*/ 2286782 h 4687251"/>
              <a:gd name="connsiteX11860" fmla="*/ 4166387 w 8079933"/>
              <a:gd name="connsiteY11860" fmla="*/ 2285483 h 4687251"/>
              <a:gd name="connsiteX11861" fmla="*/ 5826621 w 8079933"/>
              <a:gd name="connsiteY11861" fmla="*/ 2282641 h 4687251"/>
              <a:gd name="connsiteX11862" fmla="*/ 5825282 w 8079933"/>
              <a:gd name="connsiteY11862" fmla="*/ 2287107 h 4687251"/>
              <a:gd name="connsiteX11863" fmla="*/ 5825282 w 8079933"/>
              <a:gd name="connsiteY11863" fmla="*/ 2287108 h 4687251"/>
              <a:gd name="connsiteX11864" fmla="*/ 6997371 w 8079933"/>
              <a:gd name="connsiteY11864" fmla="*/ 2282344 h 4687251"/>
              <a:gd name="connsiteX11865" fmla="*/ 6994658 w 8079933"/>
              <a:gd name="connsiteY11865" fmla="*/ 2286999 h 4687251"/>
              <a:gd name="connsiteX11866" fmla="*/ 6990316 w 8079933"/>
              <a:gd name="connsiteY11866" fmla="*/ 2289923 h 4687251"/>
              <a:gd name="connsiteX11867" fmla="*/ 6990100 w 8079933"/>
              <a:gd name="connsiteY11867" fmla="*/ 2292846 h 4687251"/>
              <a:gd name="connsiteX11868" fmla="*/ 6988906 w 8079933"/>
              <a:gd name="connsiteY11868" fmla="*/ 2294254 h 4687251"/>
              <a:gd name="connsiteX11869" fmla="*/ 6986953 w 8079933"/>
              <a:gd name="connsiteY11869" fmla="*/ 2292629 h 4687251"/>
              <a:gd name="connsiteX11870" fmla="*/ 6983046 w 8079933"/>
              <a:gd name="connsiteY11870" fmla="*/ 2292521 h 4687251"/>
              <a:gd name="connsiteX11871" fmla="*/ 6981744 w 8079933"/>
              <a:gd name="connsiteY11871" fmla="*/ 2291438 h 4687251"/>
              <a:gd name="connsiteX11872" fmla="*/ 6983480 w 8079933"/>
              <a:gd name="connsiteY11872" fmla="*/ 2288082 h 4687251"/>
              <a:gd name="connsiteX11873" fmla="*/ 6987603 w 8079933"/>
              <a:gd name="connsiteY11873" fmla="*/ 2286242 h 4687251"/>
              <a:gd name="connsiteX11874" fmla="*/ 6988906 w 8079933"/>
              <a:gd name="connsiteY11874" fmla="*/ 2285809 h 4687251"/>
              <a:gd name="connsiteX11875" fmla="*/ 6989775 w 8079933"/>
              <a:gd name="connsiteY11875" fmla="*/ 2284401 h 4687251"/>
              <a:gd name="connsiteX11876" fmla="*/ 6992379 w 8079933"/>
              <a:gd name="connsiteY11876" fmla="*/ 2284185 h 4687251"/>
              <a:gd name="connsiteX11877" fmla="*/ 6993898 w 8079933"/>
              <a:gd name="connsiteY11877" fmla="*/ 2283210 h 4687251"/>
              <a:gd name="connsiteX11878" fmla="*/ 1548872 w 8079933"/>
              <a:gd name="connsiteY11878" fmla="*/ 2281671 h 4687251"/>
              <a:gd name="connsiteX11879" fmla="*/ 1547447 w 8079933"/>
              <a:gd name="connsiteY11879" fmla="*/ 2284292 h 4687251"/>
              <a:gd name="connsiteX11880" fmla="*/ 1545385 w 8079933"/>
              <a:gd name="connsiteY11880" fmla="*/ 2286999 h 4687251"/>
              <a:gd name="connsiteX11881" fmla="*/ 1547447 w 8079933"/>
              <a:gd name="connsiteY11881" fmla="*/ 2284293 h 4687251"/>
              <a:gd name="connsiteX11882" fmla="*/ 6194021 w 8079933"/>
              <a:gd name="connsiteY11882" fmla="*/ 2280069 h 4687251"/>
              <a:gd name="connsiteX11883" fmla="*/ 6183712 w 8079933"/>
              <a:gd name="connsiteY11883" fmla="*/ 2286132 h 4687251"/>
              <a:gd name="connsiteX11884" fmla="*/ 6184363 w 8079933"/>
              <a:gd name="connsiteY11884" fmla="*/ 2290355 h 4687251"/>
              <a:gd name="connsiteX11885" fmla="*/ 6183550 w 8079933"/>
              <a:gd name="connsiteY11885" fmla="*/ 2291133 h 4687251"/>
              <a:gd name="connsiteX11886" fmla="*/ 6184364 w 8079933"/>
              <a:gd name="connsiteY11886" fmla="*/ 2290354 h 4687251"/>
              <a:gd name="connsiteX11887" fmla="*/ 6183713 w 8079933"/>
              <a:gd name="connsiteY11887" fmla="*/ 2286132 h 4687251"/>
              <a:gd name="connsiteX11888" fmla="*/ 5488772 w 8079933"/>
              <a:gd name="connsiteY11888" fmla="*/ 2278553 h 4687251"/>
              <a:gd name="connsiteX11889" fmla="*/ 5488772 w 8079933"/>
              <a:gd name="connsiteY11889" fmla="*/ 2278554 h 4687251"/>
              <a:gd name="connsiteX11890" fmla="*/ 5490726 w 8079933"/>
              <a:gd name="connsiteY11890" fmla="*/ 2283209 h 4687251"/>
              <a:gd name="connsiteX11891" fmla="*/ 5490726 w 8079933"/>
              <a:gd name="connsiteY11891" fmla="*/ 2283209 h 4687251"/>
              <a:gd name="connsiteX11892" fmla="*/ 1506425 w 8079933"/>
              <a:gd name="connsiteY11892" fmla="*/ 2277175 h 4687251"/>
              <a:gd name="connsiteX11893" fmla="*/ 1506318 w 8079933"/>
              <a:gd name="connsiteY11893" fmla="*/ 2278446 h 4687251"/>
              <a:gd name="connsiteX11894" fmla="*/ 1507730 w 8079933"/>
              <a:gd name="connsiteY11894" fmla="*/ 2278446 h 4687251"/>
              <a:gd name="connsiteX11895" fmla="*/ 1509683 w 8079933"/>
              <a:gd name="connsiteY11895" fmla="*/ 2280395 h 4687251"/>
              <a:gd name="connsiteX11896" fmla="*/ 1511202 w 8079933"/>
              <a:gd name="connsiteY11896" fmla="*/ 2280287 h 4687251"/>
              <a:gd name="connsiteX11897" fmla="*/ 1513481 w 8079933"/>
              <a:gd name="connsiteY11897" fmla="*/ 2281261 h 4687251"/>
              <a:gd name="connsiteX11898" fmla="*/ 1514349 w 8079933"/>
              <a:gd name="connsiteY11898" fmla="*/ 2282993 h 4687251"/>
              <a:gd name="connsiteX11899" fmla="*/ 1514674 w 8079933"/>
              <a:gd name="connsiteY11899" fmla="*/ 2284509 h 4687251"/>
              <a:gd name="connsiteX11900" fmla="*/ 1516302 w 8079933"/>
              <a:gd name="connsiteY11900" fmla="*/ 2286133 h 4687251"/>
              <a:gd name="connsiteX11901" fmla="*/ 1516303 w 8079933"/>
              <a:gd name="connsiteY11901" fmla="*/ 2286133 h 4687251"/>
              <a:gd name="connsiteX11902" fmla="*/ 1514675 w 8079933"/>
              <a:gd name="connsiteY11902" fmla="*/ 2284509 h 4687251"/>
              <a:gd name="connsiteX11903" fmla="*/ 1514350 w 8079933"/>
              <a:gd name="connsiteY11903" fmla="*/ 2282993 h 4687251"/>
              <a:gd name="connsiteX11904" fmla="*/ 1513481 w 8079933"/>
              <a:gd name="connsiteY11904" fmla="*/ 2281261 h 4687251"/>
              <a:gd name="connsiteX11905" fmla="*/ 1511202 w 8079933"/>
              <a:gd name="connsiteY11905" fmla="*/ 2280286 h 4687251"/>
              <a:gd name="connsiteX11906" fmla="*/ 1509683 w 8079933"/>
              <a:gd name="connsiteY11906" fmla="*/ 2280394 h 4687251"/>
              <a:gd name="connsiteX11907" fmla="*/ 1507730 w 8079933"/>
              <a:gd name="connsiteY11907" fmla="*/ 2278446 h 4687251"/>
              <a:gd name="connsiteX11908" fmla="*/ 1506319 w 8079933"/>
              <a:gd name="connsiteY11908" fmla="*/ 2278446 h 4687251"/>
              <a:gd name="connsiteX11909" fmla="*/ 4174201 w 8079933"/>
              <a:gd name="connsiteY11909" fmla="*/ 2276821 h 4687251"/>
              <a:gd name="connsiteX11910" fmla="*/ 4173799 w 8079933"/>
              <a:gd name="connsiteY11910" fmla="*/ 2277376 h 4687251"/>
              <a:gd name="connsiteX11911" fmla="*/ 4174201 w 8079933"/>
              <a:gd name="connsiteY11911" fmla="*/ 2276821 h 4687251"/>
              <a:gd name="connsiteX11912" fmla="*/ 4520477 w 8079933"/>
              <a:gd name="connsiteY11912" fmla="*/ 2276713 h 4687251"/>
              <a:gd name="connsiteX11913" fmla="*/ 4517114 w 8079933"/>
              <a:gd name="connsiteY11913" fmla="*/ 2284941 h 4687251"/>
              <a:gd name="connsiteX11914" fmla="*/ 4514292 w 8079933"/>
              <a:gd name="connsiteY11914" fmla="*/ 2292521 h 4687251"/>
              <a:gd name="connsiteX11915" fmla="*/ 4517114 w 8079933"/>
              <a:gd name="connsiteY11915" fmla="*/ 2284942 h 4687251"/>
              <a:gd name="connsiteX11916" fmla="*/ 4520477 w 8079933"/>
              <a:gd name="connsiteY11916" fmla="*/ 2276713 h 4687251"/>
              <a:gd name="connsiteX11917" fmla="*/ 5060239 w 8079933"/>
              <a:gd name="connsiteY11917" fmla="*/ 2275739 h 4687251"/>
              <a:gd name="connsiteX11918" fmla="*/ 5060239 w 8079933"/>
              <a:gd name="connsiteY11918" fmla="*/ 2275740 h 4687251"/>
              <a:gd name="connsiteX11919" fmla="*/ 5062304 w 8079933"/>
              <a:gd name="connsiteY11919" fmla="*/ 2277166 h 4687251"/>
              <a:gd name="connsiteX11920" fmla="*/ 1556128 w 8079933"/>
              <a:gd name="connsiteY11920" fmla="*/ 2274440 h 4687251"/>
              <a:gd name="connsiteX11921" fmla="*/ 1556128 w 8079933"/>
              <a:gd name="connsiteY11921" fmla="*/ 2274440 h 4687251"/>
              <a:gd name="connsiteX11922" fmla="*/ 1557972 w 8079933"/>
              <a:gd name="connsiteY11922" fmla="*/ 2274873 h 4687251"/>
              <a:gd name="connsiteX11923" fmla="*/ 1558407 w 8079933"/>
              <a:gd name="connsiteY11923" fmla="*/ 2275523 h 4687251"/>
              <a:gd name="connsiteX11924" fmla="*/ 1560252 w 8079933"/>
              <a:gd name="connsiteY11924" fmla="*/ 2275198 h 4687251"/>
              <a:gd name="connsiteX11925" fmla="*/ 1558408 w 8079933"/>
              <a:gd name="connsiteY11925" fmla="*/ 2275522 h 4687251"/>
              <a:gd name="connsiteX11926" fmla="*/ 1557973 w 8079933"/>
              <a:gd name="connsiteY11926" fmla="*/ 2274873 h 4687251"/>
              <a:gd name="connsiteX11927" fmla="*/ 1580544 w 8079933"/>
              <a:gd name="connsiteY11927" fmla="*/ 2274332 h 4687251"/>
              <a:gd name="connsiteX11928" fmla="*/ 1578879 w 8079933"/>
              <a:gd name="connsiteY11928" fmla="*/ 2274619 h 4687251"/>
              <a:gd name="connsiteX11929" fmla="*/ 1580544 w 8079933"/>
              <a:gd name="connsiteY11929" fmla="*/ 2274332 h 4687251"/>
              <a:gd name="connsiteX11930" fmla="*/ 1583691 w 8079933"/>
              <a:gd name="connsiteY11930" fmla="*/ 2275956 h 4687251"/>
              <a:gd name="connsiteX11931" fmla="*/ 1585753 w 8079933"/>
              <a:gd name="connsiteY11931" fmla="*/ 2279529 h 4687251"/>
              <a:gd name="connsiteX11932" fmla="*/ 1590419 w 8079933"/>
              <a:gd name="connsiteY11932" fmla="*/ 2283318 h 4687251"/>
              <a:gd name="connsiteX11933" fmla="*/ 1594109 w 8079933"/>
              <a:gd name="connsiteY11933" fmla="*/ 2289057 h 4687251"/>
              <a:gd name="connsiteX11934" fmla="*/ 1595954 w 8079933"/>
              <a:gd name="connsiteY11934" fmla="*/ 2294037 h 4687251"/>
              <a:gd name="connsiteX11935" fmla="*/ 1597256 w 8079933"/>
              <a:gd name="connsiteY11935" fmla="*/ 2296095 h 4687251"/>
              <a:gd name="connsiteX11936" fmla="*/ 1597798 w 8079933"/>
              <a:gd name="connsiteY11936" fmla="*/ 2299775 h 4687251"/>
              <a:gd name="connsiteX11937" fmla="*/ 1598124 w 8079933"/>
              <a:gd name="connsiteY11937" fmla="*/ 2305405 h 4687251"/>
              <a:gd name="connsiteX11938" fmla="*/ 1600728 w 8079933"/>
              <a:gd name="connsiteY11938" fmla="*/ 2306705 h 4687251"/>
              <a:gd name="connsiteX11939" fmla="*/ 1601922 w 8079933"/>
              <a:gd name="connsiteY11939" fmla="*/ 2309953 h 4687251"/>
              <a:gd name="connsiteX11940" fmla="*/ 1605068 w 8079933"/>
              <a:gd name="connsiteY11940" fmla="*/ 2318614 h 4687251"/>
              <a:gd name="connsiteX11941" fmla="*/ 1607022 w 8079933"/>
              <a:gd name="connsiteY11941" fmla="*/ 2319914 h 4687251"/>
              <a:gd name="connsiteX11942" fmla="*/ 1608107 w 8079933"/>
              <a:gd name="connsiteY11942" fmla="*/ 2322946 h 4687251"/>
              <a:gd name="connsiteX11943" fmla="*/ 1611797 w 8079933"/>
              <a:gd name="connsiteY11943" fmla="*/ 2325003 h 4687251"/>
              <a:gd name="connsiteX11944" fmla="*/ 1612882 w 8079933"/>
              <a:gd name="connsiteY11944" fmla="*/ 2329550 h 4687251"/>
              <a:gd name="connsiteX11945" fmla="*/ 1615161 w 8079933"/>
              <a:gd name="connsiteY11945" fmla="*/ 2333556 h 4687251"/>
              <a:gd name="connsiteX11946" fmla="*/ 1619176 w 8079933"/>
              <a:gd name="connsiteY11946" fmla="*/ 2337670 h 4687251"/>
              <a:gd name="connsiteX11947" fmla="*/ 1618742 w 8079933"/>
              <a:gd name="connsiteY11947" fmla="*/ 2342001 h 4687251"/>
              <a:gd name="connsiteX11948" fmla="*/ 1618308 w 8079933"/>
              <a:gd name="connsiteY11948" fmla="*/ 2346332 h 4687251"/>
              <a:gd name="connsiteX11949" fmla="*/ 1618199 w 8079933"/>
              <a:gd name="connsiteY11949" fmla="*/ 2347631 h 4687251"/>
              <a:gd name="connsiteX11950" fmla="*/ 1618634 w 8079933"/>
              <a:gd name="connsiteY11950" fmla="*/ 2349039 h 4687251"/>
              <a:gd name="connsiteX11951" fmla="*/ 1623408 w 8079933"/>
              <a:gd name="connsiteY11951" fmla="*/ 2363005 h 4687251"/>
              <a:gd name="connsiteX11952" fmla="*/ 1623191 w 8079933"/>
              <a:gd name="connsiteY11952" fmla="*/ 2369177 h 4687251"/>
              <a:gd name="connsiteX11953" fmla="*/ 1625253 w 8079933"/>
              <a:gd name="connsiteY11953" fmla="*/ 2371558 h 4687251"/>
              <a:gd name="connsiteX11954" fmla="*/ 1625795 w 8079933"/>
              <a:gd name="connsiteY11954" fmla="*/ 2372209 h 4687251"/>
              <a:gd name="connsiteX11955" fmla="*/ 1628617 w 8079933"/>
              <a:gd name="connsiteY11955" fmla="*/ 2373291 h 4687251"/>
              <a:gd name="connsiteX11956" fmla="*/ 1628618 w 8079933"/>
              <a:gd name="connsiteY11956" fmla="*/ 2373291 h 4687251"/>
              <a:gd name="connsiteX11957" fmla="*/ 1625796 w 8079933"/>
              <a:gd name="connsiteY11957" fmla="*/ 2372208 h 4687251"/>
              <a:gd name="connsiteX11958" fmla="*/ 1625254 w 8079933"/>
              <a:gd name="connsiteY11958" fmla="*/ 2371558 h 4687251"/>
              <a:gd name="connsiteX11959" fmla="*/ 1623192 w 8079933"/>
              <a:gd name="connsiteY11959" fmla="*/ 2369177 h 4687251"/>
              <a:gd name="connsiteX11960" fmla="*/ 1623409 w 8079933"/>
              <a:gd name="connsiteY11960" fmla="*/ 2363005 h 4687251"/>
              <a:gd name="connsiteX11961" fmla="*/ 1618634 w 8079933"/>
              <a:gd name="connsiteY11961" fmla="*/ 2349038 h 4687251"/>
              <a:gd name="connsiteX11962" fmla="*/ 1618200 w 8079933"/>
              <a:gd name="connsiteY11962" fmla="*/ 2347631 h 4687251"/>
              <a:gd name="connsiteX11963" fmla="*/ 1618308 w 8079933"/>
              <a:gd name="connsiteY11963" fmla="*/ 2346332 h 4687251"/>
              <a:gd name="connsiteX11964" fmla="*/ 1618742 w 8079933"/>
              <a:gd name="connsiteY11964" fmla="*/ 2342001 h 4687251"/>
              <a:gd name="connsiteX11965" fmla="*/ 1619176 w 8079933"/>
              <a:gd name="connsiteY11965" fmla="*/ 2337670 h 4687251"/>
              <a:gd name="connsiteX11966" fmla="*/ 1615161 w 8079933"/>
              <a:gd name="connsiteY11966" fmla="*/ 2333556 h 4687251"/>
              <a:gd name="connsiteX11967" fmla="*/ 1612883 w 8079933"/>
              <a:gd name="connsiteY11967" fmla="*/ 2329550 h 4687251"/>
              <a:gd name="connsiteX11968" fmla="*/ 1611798 w 8079933"/>
              <a:gd name="connsiteY11968" fmla="*/ 2325003 h 4687251"/>
              <a:gd name="connsiteX11969" fmla="*/ 1608108 w 8079933"/>
              <a:gd name="connsiteY11969" fmla="*/ 2322945 h 4687251"/>
              <a:gd name="connsiteX11970" fmla="*/ 1607023 w 8079933"/>
              <a:gd name="connsiteY11970" fmla="*/ 2319914 h 4687251"/>
              <a:gd name="connsiteX11971" fmla="*/ 1605069 w 8079933"/>
              <a:gd name="connsiteY11971" fmla="*/ 2318614 h 4687251"/>
              <a:gd name="connsiteX11972" fmla="*/ 1601922 w 8079933"/>
              <a:gd name="connsiteY11972" fmla="*/ 2309953 h 4687251"/>
              <a:gd name="connsiteX11973" fmla="*/ 1600729 w 8079933"/>
              <a:gd name="connsiteY11973" fmla="*/ 2306705 h 4687251"/>
              <a:gd name="connsiteX11974" fmla="*/ 1598124 w 8079933"/>
              <a:gd name="connsiteY11974" fmla="*/ 2305405 h 4687251"/>
              <a:gd name="connsiteX11975" fmla="*/ 1597799 w 8079933"/>
              <a:gd name="connsiteY11975" fmla="*/ 2299775 h 4687251"/>
              <a:gd name="connsiteX11976" fmla="*/ 1597256 w 8079933"/>
              <a:gd name="connsiteY11976" fmla="*/ 2296094 h 4687251"/>
              <a:gd name="connsiteX11977" fmla="*/ 1595954 w 8079933"/>
              <a:gd name="connsiteY11977" fmla="*/ 2294037 h 4687251"/>
              <a:gd name="connsiteX11978" fmla="*/ 1594109 w 8079933"/>
              <a:gd name="connsiteY11978" fmla="*/ 2289057 h 4687251"/>
              <a:gd name="connsiteX11979" fmla="*/ 1590420 w 8079933"/>
              <a:gd name="connsiteY11979" fmla="*/ 2283318 h 4687251"/>
              <a:gd name="connsiteX11980" fmla="*/ 1585754 w 8079933"/>
              <a:gd name="connsiteY11980" fmla="*/ 2279528 h 4687251"/>
              <a:gd name="connsiteX11981" fmla="*/ 1583692 w 8079933"/>
              <a:gd name="connsiteY11981" fmla="*/ 2275955 h 4687251"/>
              <a:gd name="connsiteX11982" fmla="*/ 1505342 w 8079933"/>
              <a:gd name="connsiteY11982" fmla="*/ 2273790 h 4687251"/>
              <a:gd name="connsiteX11983" fmla="*/ 1506427 w 8079933"/>
              <a:gd name="connsiteY11983" fmla="*/ 2277147 h 4687251"/>
              <a:gd name="connsiteX11984" fmla="*/ 1506427 w 8079933"/>
              <a:gd name="connsiteY11984" fmla="*/ 2277147 h 4687251"/>
              <a:gd name="connsiteX11985" fmla="*/ 4174902 w 8079933"/>
              <a:gd name="connsiteY11985" fmla="*/ 2273778 h 4687251"/>
              <a:gd name="connsiteX11986" fmla="*/ 4173984 w 8079933"/>
              <a:gd name="connsiteY11986" fmla="*/ 2274764 h 4687251"/>
              <a:gd name="connsiteX11987" fmla="*/ 4174189 w 8079933"/>
              <a:gd name="connsiteY11987" fmla="*/ 2276708 h 4687251"/>
              <a:gd name="connsiteX11988" fmla="*/ 4173984 w 8079933"/>
              <a:gd name="connsiteY11988" fmla="*/ 2274764 h 4687251"/>
              <a:gd name="connsiteX11989" fmla="*/ 5871650 w 8079933"/>
              <a:gd name="connsiteY11989" fmla="*/ 2273497 h 4687251"/>
              <a:gd name="connsiteX11990" fmla="*/ 5874874 w 8079933"/>
              <a:gd name="connsiteY11990" fmla="*/ 2275740 h 4687251"/>
              <a:gd name="connsiteX11991" fmla="*/ 5881927 w 8079933"/>
              <a:gd name="connsiteY11991" fmla="*/ 2283210 h 4687251"/>
              <a:gd name="connsiteX11992" fmla="*/ 5887461 w 8079933"/>
              <a:gd name="connsiteY11992" fmla="*/ 2283318 h 4687251"/>
              <a:gd name="connsiteX11993" fmla="*/ 5892671 w 8079933"/>
              <a:gd name="connsiteY11993" fmla="*/ 2285917 h 4687251"/>
              <a:gd name="connsiteX11994" fmla="*/ 5894624 w 8079933"/>
              <a:gd name="connsiteY11994" fmla="*/ 2289057 h 4687251"/>
              <a:gd name="connsiteX11995" fmla="*/ 5898856 w 8079933"/>
              <a:gd name="connsiteY11995" fmla="*/ 2294037 h 4687251"/>
              <a:gd name="connsiteX11996" fmla="*/ 5900918 w 8079933"/>
              <a:gd name="connsiteY11996" fmla="*/ 2299126 h 4687251"/>
              <a:gd name="connsiteX11997" fmla="*/ 5903305 w 8079933"/>
              <a:gd name="connsiteY11997" fmla="*/ 2298151 h 4687251"/>
              <a:gd name="connsiteX11998" fmla="*/ 5903848 w 8079933"/>
              <a:gd name="connsiteY11998" fmla="*/ 2291114 h 4687251"/>
              <a:gd name="connsiteX11999" fmla="*/ 5906669 w 8079933"/>
              <a:gd name="connsiteY11999" fmla="*/ 2288515 h 4687251"/>
              <a:gd name="connsiteX12000" fmla="*/ 5908297 w 8079933"/>
              <a:gd name="connsiteY12000" fmla="*/ 2290572 h 4687251"/>
              <a:gd name="connsiteX12001" fmla="*/ 5913289 w 8079933"/>
              <a:gd name="connsiteY12001" fmla="*/ 2290572 h 4687251"/>
              <a:gd name="connsiteX12002" fmla="*/ 5918389 w 8079933"/>
              <a:gd name="connsiteY12002" fmla="*/ 2293604 h 4687251"/>
              <a:gd name="connsiteX12003" fmla="*/ 5919040 w 8079933"/>
              <a:gd name="connsiteY12003" fmla="*/ 2300208 h 4687251"/>
              <a:gd name="connsiteX12004" fmla="*/ 5924900 w 8079933"/>
              <a:gd name="connsiteY12004" fmla="*/ 2305405 h 4687251"/>
              <a:gd name="connsiteX12005" fmla="*/ 5932496 w 8079933"/>
              <a:gd name="connsiteY12005" fmla="*/ 2303348 h 4687251"/>
              <a:gd name="connsiteX12006" fmla="*/ 5938573 w 8079933"/>
              <a:gd name="connsiteY12006" fmla="*/ 2304106 h 4687251"/>
              <a:gd name="connsiteX12007" fmla="*/ 5938573 w 8079933"/>
              <a:gd name="connsiteY12007" fmla="*/ 2304105 h 4687251"/>
              <a:gd name="connsiteX12008" fmla="*/ 5932496 w 8079933"/>
              <a:gd name="connsiteY12008" fmla="*/ 2303348 h 4687251"/>
              <a:gd name="connsiteX12009" fmla="*/ 5924900 w 8079933"/>
              <a:gd name="connsiteY12009" fmla="*/ 2305405 h 4687251"/>
              <a:gd name="connsiteX12010" fmla="*/ 5919040 w 8079933"/>
              <a:gd name="connsiteY12010" fmla="*/ 2300208 h 4687251"/>
              <a:gd name="connsiteX12011" fmla="*/ 5918389 w 8079933"/>
              <a:gd name="connsiteY12011" fmla="*/ 2293603 h 4687251"/>
              <a:gd name="connsiteX12012" fmla="*/ 5913289 w 8079933"/>
              <a:gd name="connsiteY12012" fmla="*/ 2290571 h 4687251"/>
              <a:gd name="connsiteX12013" fmla="*/ 5908297 w 8079933"/>
              <a:gd name="connsiteY12013" fmla="*/ 2290571 h 4687251"/>
              <a:gd name="connsiteX12014" fmla="*/ 5906669 w 8079933"/>
              <a:gd name="connsiteY12014" fmla="*/ 2288514 h 4687251"/>
              <a:gd name="connsiteX12015" fmla="*/ 5903848 w 8079933"/>
              <a:gd name="connsiteY12015" fmla="*/ 2291113 h 4687251"/>
              <a:gd name="connsiteX12016" fmla="*/ 5903305 w 8079933"/>
              <a:gd name="connsiteY12016" fmla="*/ 2298150 h 4687251"/>
              <a:gd name="connsiteX12017" fmla="*/ 5900918 w 8079933"/>
              <a:gd name="connsiteY12017" fmla="*/ 2299125 h 4687251"/>
              <a:gd name="connsiteX12018" fmla="*/ 5898856 w 8079933"/>
              <a:gd name="connsiteY12018" fmla="*/ 2294036 h 4687251"/>
              <a:gd name="connsiteX12019" fmla="*/ 5894624 w 8079933"/>
              <a:gd name="connsiteY12019" fmla="*/ 2289056 h 4687251"/>
              <a:gd name="connsiteX12020" fmla="*/ 5892671 w 8079933"/>
              <a:gd name="connsiteY12020" fmla="*/ 2285916 h 4687251"/>
              <a:gd name="connsiteX12021" fmla="*/ 5887461 w 8079933"/>
              <a:gd name="connsiteY12021" fmla="*/ 2283318 h 4687251"/>
              <a:gd name="connsiteX12022" fmla="*/ 5881927 w 8079933"/>
              <a:gd name="connsiteY12022" fmla="*/ 2283209 h 4687251"/>
              <a:gd name="connsiteX12023" fmla="*/ 5874874 w 8079933"/>
              <a:gd name="connsiteY12023" fmla="*/ 2275738 h 4687251"/>
              <a:gd name="connsiteX12024" fmla="*/ 1574576 w 8079933"/>
              <a:gd name="connsiteY12024" fmla="*/ 2272599 h 4687251"/>
              <a:gd name="connsiteX12025" fmla="*/ 1570835 w 8079933"/>
              <a:gd name="connsiteY12025" fmla="*/ 2272955 h 4687251"/>
              <a:gd name="connsiteX12026" fmla="*/ 1574576 w 8079933"/>
              <a:gd name="connsiteY12026" fmla="*/ 2272600 h 4687251"/>
              <a:gd name="connsiteX12027" fmla="*/ 1576421 w 8079933"/>
              <a:gd name="connsiteY12027" fmla="*/ 2273574 h 4687251"/>
              <a:gd name="connsiteX12028" fmla="*/ 1577397 w 8079933"/>
              <a:gd name="connsiteY12028" fmla="*/ 2274873 h 4687251"/>
              <a:gd name="connsiteX12029" fmla="*/ 1577398 w 8079933"/>
              <a:gd name="connsiteY12029" fmla="*/ 2274873 h 4687251"/>
              <a:gd name="connsiteX12030" fmla="*/ 1576421 w 8079933"/>
              <a:gd name="connsiteY12030" fmla="*/ 2273574 h 4687251"/>
              <a:gd name="connsiteX12031" fmla="*/ 1561663 w 8079933"/>
              <a:gd name="connsiteY12031" fmla="*/ 2272383 h 4687251"/>
              <a:gd name="connsiteX12032" fmla="*/ 1561663 w 8079933"/>
              <a:gd name="connsiteY12032" fmla="*/ 2272383 h 4687251"/>
              <a:gd name="connsiteX12033" fmla="*/ 1566003 w 8079933"/>
              <a:gd name="connsiteY12033" fmla="*/ 2272383 h 4687251"/>
              <a:gd name="connsiteX12034" fmla="*/ 1570018 w 8079933"/>
              <a:gd name="connsiteY12034" fmla="*/ 2273032 h 4687251"/>
              <a:gd name="connsiteX12035" fmla="*/ 1570018 w 8079933"/>
              <a:gd name="connsiteY12035" fmla="*/ 2273032 h 4687251"/>
              <a:gd name="connsiteX12036" fmla="*/ 1566004 w 8079933"/>
              <a:gd name="connsiteY12036" fmla="*/ 2272383 h 4687251"/>
              <a:gd name="connsiteX12037" fmla="*/ 3869452 w 8079933"/>
              <a:gd name="connsiteY12037" fmla="*/ 2271109 h 4687251"/>
              <a:gd name="connsiteX12038" fmla="*/ 3867641 w 8079933"/>
              <a:gd name="connsiteY12038" fmla="*/ 2275198 h 4687251"/>
              <a:gd name="connsiteX12039" fmla="*/ 3857711 w 8079933"/>
              <a:gd name="connsiteY12039" fmla="*/ 2281997 h 4687251"/>
              <a:gd name="connsiteX12040" fmla="*/ 3867642 w 8079933"/>
              <a:gd name="connsiteY12040" fmla="*/ 2275197 h 4687251"/>
              <a:gd name="connsiteX12041" fmla="*/ 5665944 w 8079933"/>
              <a:gd name="connsiteY12041" fmla="*/ 2268303 h 4687251"/>
              <a:gd name="connsiteX12042" fmla="*/ 5668042 w 8079933"/>
              <a:gd name="connsiteY12042" fmla="*/ 2269892 h 4687251"/>
              <a:gd name="connsiteX12043" fmla="*/ 5668043 w 8079933"/>
              <a:gd name="connsiteY12043" fmla="*/ 2269945 h 4687251"/>
              <a:gd name="connsiteX12044" fmla="*/ 5668042 w 8079933"/>
              <a:gd name="connsiteY12044" fmla="*/ 2269891 h 4687251"/>
              <a:gd name="connsiteX12045" fmla="*/ 5829405 w 8079933"/>
              <a:gd name="connsiteY12045" fmla="*/ 2264803 h 4687251"/>
              <a:gd name="connsiteX12046" fmla="*/ 5828428 w 8079933"/>
              <a:gd name="connsiteY12046" fmla="*/ 2266210 h 4687251"/>
              <a:gd name="connsiteX12047" fmla="*/ 5828104 w 8079933"/>
              <a:gd name="connsiteY12047" fmla="*/ 2266643 h 4687251"/>
              <a:gd name="connsiteX12048" fmla="*/ 5828104 w 8079933"/>
              <a:gd name="connsiteY12048" fmla="*/ 2266644 h 4687251"/>
              <a:gd name="connsiteX12049" fmla="*/ 5828429 w 8079933"/>
              <a:gd name="connsiteY12049" fmla="*/ 2266210 h 4687251"/>
              <a:gd name="connsiteX12050" fmla="*/ 5828429 w 8079933"/>
              <a:gd name="connsiteY12050" fmla="*/ 2266210 h 4687251"/>
              <a:gd name="connsiteX12051" fmla="*/ 5829405 w 8079933"/>
              <a:gd name="connsiteY12051" fmla="*/ 2264804 h 4687251"/>
              <a:gd name="connsiteX12052" fmla="*/ 5836459 w 8079933"/>
              <a:gd name="connsiteY12052" fmla="*/ 2268377 h 4687251"/>
              <a:gd name="connsiteX12053" fmla="*/ 5838195 w 8079933"/>
              <a:gd name="connsiteY12053" fmla="*/ 2270975 h 4687251"/>
              <a:gd name="connsiteX12054" fmla="*/ 5843079 w 8079933"/>
              <a:gd name="connsiteY12054" fmla="*/ 2270759 h 4687251"/>
              <a:gd name="connsiteX12055" fmla="*/ 5845574 w 8079933"/>
              <a:gd name="connsiteY12055" fmla="*/ 2271950 h 4687251"/>
              <a:gd name="connsiteX12056" fmla="*/ 5848613 w 8079933"/>
              <a:gd name="connsiteY12056" fmla="*/ 2267728 h 4687251"/>
              <a:gd name="connsiteX12057" fmla="*/ 5854473 w 8079933"/>
              <a:gd name="connsiteY12057" fmla="*/ 2267186 h 4687251"/>
              <a:gd name="connsiteX12058" fmla="*/ 5863153 w 8079933"/>
              <a:gd name="connsiteY12058" fmla="*/ 2270434 h 4687251"/>
              <a:gd name="connsiteX12059" fmla="*/ 5865650 w 8079933"/>
              <a:gd name="connsiteY12059" fmla="*/ 2272924 h 4687251"/>
              <a:gd name="connsiteX12060" fmla="*/ 5871293 w 8079933"/>
              <a:gd name="connsiteY12060" fmla="*/ 2273249 h 4687251"/>
              <a:gd name="connsiteX12061" fmla="*/ 5871292 w 8079933"/>
              <a:gd name="connsiteY12061" fmla="*/ 2273248 h 4687251"/>
              <a:gd name="connsiteX12062" fmla="*/ 5865650 w 8079933"/>
              <a:gd name="connsiteY12062" fmla="*/ 2272924 h 4687251"/>
              <a:gd name="connsiteX12063" fmla="*/ 5863154 w 8079933"/>
              <a:gd name="connsiteY12063" fmla="*/ 2270434 h 4687251"/>
              <a:gd name="connsiteX12064" fmla="*/ 5854472 w 8079933"/>
              <a:gd name="connsiteY12064" fmla="*/ 2267185 h 4687251"/>
              <a:gd name="connsiteX12065" fmla="*/ 5848613 w 8079933"/>
              <a:gd name="connsiteY12065" fmla="*/ 2267726 h 4687251"/>
              <a:gd name="connsiteX12066" fmla="*/ 5845574 w 8079933"/>
              <a:gd name="connsiteY12066" fmla="*/ 2271949 h 4687251"/>
              <a:gd name="connsiteX12067" fmla="*/ 5843079 w 8079933"/>
              <a:gd name="connsiteY12067" fmla="*/ 2270758 h 4687251"/>
              <a:gd name="connsiteX12068" fmla="*/ 5838195 w 8079933"/>
              <a:gd name="connsiteY12068" fmla="*/ 2270975 h 4687251"/>
              <a:gd name="connsiteX12069" fmla="*/ 5836459 w 8079933"/>
              <a:gd name="connsiteY12069" fmla="*/ 2268376 h 4687251"/>
              <a:gd name="connsiteX12070" fmla="*/ 4762689 w 8079933"/>
              <a:gd name="connsiteY12070" fmla="*/ 2264640 h 4687251"/>
              <a:gd name="connsiteX12071" fmla="*/ 4762903 w 8079933"/>
              <a:gd name="connsiteY12071" fmla="*/ 2268268 h 4687251"/>
              <a:gd name="connsiteX12072" fmla="*/ 4761818 w 8079933"/>
              <a:gd name="connsiteY12072" fmla="*/ 2273574 h 4687251"/>
              <a:gd name="connsiteX12073" fmla="*/ 4761818 w 8079933"/>
              <a:gd name="connsiteY12073" fmla="*/ 2278770 h 4687251"/>
              <a:gd name="connsiteX12074" fmla="*/ 4760299 w 8079933"/>
              <a:gd name="connsiteY12074" fmla="*/ 2279745 h 4687251"/>
              <a:gd name="connsiteX12075" fmla="*/ 4760299 w 8079933"/>
              <a:gd name="connsiteY12075" fmla="*/ 2279745 h 4687251"/>
              <a:gd name="connsiteX12076" fmla="*/ 4761818 w 8079933"/>
              <a:gd name="connsiteY12076" fmla="*/ 2278771 h 4687251"/>
              <a:gd name="connsiteX12077" fmla="*/ 4761818 w 8079933"/>
              <a:gd name="connsiteY12077" fmla="*/ 2273574 h 4687251"/>
              <a:gd name="connsiteX12078" fmla="*/ 4762904 w 8079933"/>
              <a:gd name="connsiteY12078" fmla="*/ 2268269 h 4687251"/>
              <a:gd name="connsiteX12079" fmla="*/ 4762687 w 8079933"/>
              <a:gd name="connsiteY12079" fmla="*/ 2264582 h 4687251"/>
              <a:gd name="connsiteX12080" fmla="*/ 4762686 w 8079933"/>
              <a:gd name="connsiteY12080" fmla="*/ 2264587 h 4687251"/>
              <a:gd name="connsiteX12081" fmla="*/ 4762686 w 8079933"/>
              <a:gd name="connsiteY12081" fmla="*/ 2264587 h 4687251"/>
              <a:gd name="connsiteX12082" fmla="*/ 5384053 w 8079933"/>
              <a:gd name="connsiteY12082" fmla="*/ 2263721 h 4687251"/>
              <a:gd name="connsiteX12083" fmla="*/ 5382099 w 8079933"/>
              <a:gd name="connsiteY12083" fmla="*/ 2266645 h 4687251"/>
              <a:gd name="connsiteX12084" fmla="*/ 5364199 w 8079933"/>
              <a:gd name="connsiteY12084" fmla="*/ 2291107 h 4687251"/>
              <a:gd name="connsiteX12085" fmla="*/ 5364196 w 8079933"/>
              <a:gd name="connsiteY12085" fmla="*/ 2291112 h 4687251"/>
              <a:gd name="connsiteX12086" fmla="*/ 5364198 w 8079933"/>
              <a:gd name="connsiteY12086" fmla="*/ 2291109 h 4687251"/>
              <a:gd name="connsiteX12087" fmla="*/ 5364199 w 8079933"/>
              <a:gd name="connsiteY12087" fmla="*/ 2291107 h 4687251"/>
              <a:gd name="connsiteX12088" fmla="*/ 5381868 w 8079933"/>
              <a:gd name="connsiteY12088" fmla="*/ 2266963 h 4687251"/>
              <a:gd name="connsiteX12089" fmla="*/ 5382100 w 8079933"/>
              <a:gd name="connsiteY12089" fmla="*/ 2266644 h 4687251"/>
              <a:gd name="connsiteX12090" fmla="*/ 5384053 w 8079933"/>
              <a:gd name="connsiteY12090" fmla="*/ 2263721 h 4687251"/>
              <a:gd name="connsiteX12091" fmla="*/ 5668313 w 8079933"/>
              <a:gd name="connsiteY12091" fmla="*/ 2263720 h 4687251"/>
              <a:gd name="connsiteX12092" fmla="*/ 5664895 w 8079933"/>
              <a:gd name="connsiteY12092" fmla="*/ 2267509 h 4687251"/>
              <a:gd name="connsiteX12093" fmla="*/ 5664895 w 8079933"/>
              <a:gd name="connsiteY12093" fmla="*/ 2267509 h 4687251"/>
              <a:gd name="connsiteX12094" fmla="*/ 1501224 w 8079933"/>
              <a:gd name="connsiteY12094" fmla="*/ 2262152 h 4687251"/>
              <a:gd name="connsiteX12095" fmla="*/ 1500675 w 8079933"/>
              <a:gd name="connsiteY12095" fmla="*/ 2262530 h 4687251"/>
              <a:gd name="connsiteX12096" fmla="*/ 1497962 w 8079933"/>
              <a:gd name="connsiteY12096" fmla="*/ 2263288 h 4687251"/>
              <a:gd name="connsiteX12097" fmla="*/ 1497962 w 8079933"/>
              <a:gd name="connsiteY12097" fmla="*/ 2265020 h 4687251"/>
              <a:gd name="connsiteX12098" fmla="*/ 1502087 w 8079933"/>
              <a:gd name="connsiteY12098" fmla="*/ 2269892 h 4687251"/>
              <a:gd name="connsiteX12099" fmla="*/ 1497963 w 8079933"/>
              <a:gd name="connsiteY12099" fmla="*/ 2265020 h 4687251"/>
              <a:gd name="connsiteX12100" fmla="*/ 1497963 w 8079933"/>
              <a:gd name="connsiteY12100" fmla="*/ 2263288 h 4687251"/>
              <a:gd name="connsiteX12101" fmla="*/ 1500676 w 8079933"/>
              <a:gd name="connsiteY12101" fmla="*/ 2262530 h 4687251"/>
              <a:gd name="connsiteX12102" fmla="*/ 5487036 w 8079933"/>
              <a:gd name="connsiteY12102" fmla="*/ 2259282 h 4687251"/>
              <a:gd name="connsiteX12103" fmla="*/ 5487469 w 8079933"/>
              <a:gd name="connsiteY12103" fmla="*/ 2265778 h 4687251"/>
              <a:gd name="connsiteX12104" fmla="*/ 5489097 w 8079933"/>
              <a:gd name="connsiteY12104" fmla="*/ 2273574 h 4687251"/>
              <a:gd name="connsiteX12105" fmla="*/ 5489097 w 8079933"/>
              <a:gd name="connsiteY12105" fmla="*/ 2273573 h 4687251"/>
              <a:gd name="connsiteX12106" fmla="*/ 5487470 w 8079933"/>
              <a:gd name="connsiteY12106" fmla="*/ 2265777 h 4687251"/>
              <a:gd name="connsiteX12107" fmla="*/ 4734942 w 8079933"/>
              <a:gd name="connsiteY12107" fmla="*/ 2258776 h 4687251"/>
              <a:gd name="connsiteX12108" fmla="*/ 4738053 w 8079933"/>
              <a:gd name="connsiteY12108" fmla="*/ 2263396 h 4687251"/>
              <a:gd name="connsiteX12109" fmla="*/ 4740548 w 8079933"/>
              <a:gd name="connsiteY12109" fmla="*/ 2272166 h 4687251"/>
              <a:gd name="connsiteX12110" fmla="*/ 4744530 w 8079933"/>
              <a:gd name="connsiteY12110" fmla="*/ 2278189 h 4687251"/>
              <a:gd name="connsiteX12111" fmla="*/ 4740549 w 8079933"/>
              <a:gd name="connsiteY12111" fmla="*/ 2272166 h 4687251"/>
              <a:gd name="connsiteX12112" fmla="*/ 4738053 w 8079933"/>
              <a:gd name="connsiteY12112" fmla="*/ 2263396 h 4687251"/>
              <a:gd name="connsiteX12113" fmla="*/ 4173501 w 8079933"/>
              <a:gd name="connsiteY12113" fmla="*/ 2255499 h 4687251"/>
              <a:gd name="connsiteX12114" fmla="*/ 4173332 w 8079933"/>
              <a:gd name="connsiteY12114" fmla="*/ 2256791 h 4687251"/>
              <a:gd name="connsiteX12115" fmla="*/ 4172464 w 8079933"/>
              <a:gd name="connsiteY12115" fmla="*/ 2260039 h 4687251"/>
              <a:gd name="connsiteX12116" fmla="*/ 4174852 w 8079933"/>
              <a:gd name="connsiteY12116" fmla="*/ 2267510 h 4687251"/>
              <a:gd name="connsiteX12117" fmla="*/ 4175394 w 8079933"/>
              <a:gd name="connsiteY12117" fmla="*/ 2273248 h 4687251"/>
              <a:gd name="connsiteX12118" fmla="*/ 4175395 w 8079933"/>
              <a:gd name="connsiteY12118" fmla="*/ 2273248 h 4687251"/>
              <a:gd name="connsiteX12119" fmla="*/ 4174852 w 8079933"/>
              <a:gd name="connsiteY12119" fmla="*/ 2267510 h 4687251"/>
              <a:gd name="connsiteX12120" fmla="*/ 4172465 w 8079933"/>
              <a:gd name="connsiteY12120" fmla="*/ 2260039 h 4687251"/>
              <a:gd name="connsiteX12121" fmla="*/ 4173333 w 8079933"/>
              <a:gd name="connsiteY12121" fmla="*/ 2256791 h 4687251"/>
              <a:gd name="connsiteX12122" fmla="*/ 4805442 w 8079933"/>
              <a:gd name="connsiteY12122" fmla="*/ 2252028 h 4687251"/>
              <a:gd name="connsiteX12123" fmla="*/ 4832463 w 8079933"/>
              <a:gd name="connsiteY12123" fmla="*/ 2281261 h 4687251"/>
              <a:gd name="connsiteX12124" fmla="*/ 4805442 w 8079933"/>
              <a:gd name="connsiteY12124" fmla="*/ 2252028 h 4687251"/>
              <a:gd name="connsiteX12125" fmla="*/ 4177022 w 8079933"/>
              <a:gd name="connsiteY12125" fmla="*/ 2251811 h 4687251"/>
              <a:gd name="connsiteX12126" fmla="*/ 4174089 w 8079933"/>
              <a:gd name="connsiteY12126" fmla="*/ 2253982 h 4687251"/>
              <a:gd name="connsiteX12127" fmla="*/ 4177022 w 8079933"/>
              <a:gd name="connsiteY12127" fmla="*/ 2251811 h 4687251"/>
              <a:gd name="connsiteX12128" fmla="*/ 4182556 w 8079933"/>
              <a:gd name="connsiteY12128" fmla="*/ 2252027 h 4687251"/>
              <a:gd name="connsiteX12129" fmla="*/ 5049581 w 8079933"/>
              <a:gd name="connsiteY12129" fmla="*/ 2248088 h 4687251"/>
              <a:gd name="connsiteX12130" fmla="*/ 5049278 w 8079933"/>
              <a:gd name="connsiteY12130" fmla="*/ 2254627 h 4687251"/>
              <a:gd name="connsiteX12131" fmla="*/ 5051123 w 8079933"/>
              <a:gd name="connsiteY12131" fmla="*/ 2261015 h 4687251"/>
              <a:gd name="connsiteX12132" fmla="*/ 5058719 w 8079933"/>
              <a:gd name="connsiteY12132" fmla="*/ 2261015 h 4687251"/>
              <a:gd name="connsiteX12133" fmla="*/ 5059602 w 8079933"/>
              <a:gd name="connsiteY12133" fmla="*/ 2269570 h 4687251"/>
              <a:gd name="connsiteX12134" fmla="*/ 5058720 w 8079933"/>
              <a:gd name="connsiteY12134" fmla="*/ 2261014 h 4687251"/>
              <a:gd name="connsiteX12135" fmla="*/ 5051123 w 8079933"/>
              <a:gd name="connsiteY12135" fmla="*/ 2261014 h 4687251"/>
              <a:gd name="connsiteX12136" fmla="*/ 5049279 w 8079933"/>
              <a:gd name="connsiteY12136" fmla="*/ 2254627 h 4687251"/>
              <a:gd name="connsiteX12137" fmla="*/ 4753788 w 8079933"/>
              <a:gd name="connsiteY12137" fmla="*/ 2247263 h 4687251"/>
              <a:gd name="connsiteX12138" fmla="*/ 4752702 w 8079933"/>
              <a:gd name="connsiteY12138" fmla="*/ 2254626 h 4687251"/>
              <a:gd name="connsiteX12139" fmla="*/ 4753630 w 8079933"/>
              <a:gd name="connsiteY12139" fmla="*/ 2255552 h 4687251"/>
              <a:gd name="connsiteX12140" fmla="*/ 4752703 w 8079933"/>
              <a:gd name="connsiteY12140" fmla="*/ 2254627 h 4687251"/>
              <a:gd name="connsiteX12141" fmla="*/ 4753788 w 8079933"/>
              <a:gd name="connsiteY12141" fmla="*/ 2247264 h 4687251"/>
              <a:gd name="connsiteX12142" fmla="*/ 5497453 w 8079933"/>
              <a:gd name="connsiteY12142" fmla="*/ 2246398 h 4687251"/>
              <a:gd name="connsiteX12143" fmla="*/ 5496491 w 8079933"/>
              <a:gd name="connsiteY12143" fmla="*/ 2248378 h 4687251"/>
              <a:gd name="connsiteX12144" fmla="*/ 5497454 w 8079933"/>
              <a:gd name="connsiteY12144" fmla="*/ 2246398 h 4687251"/>
              <a:gd name="connsiteX12145" fmla="*/ 3882508 w 8079933"/>
              <a:gd name="connsiteY12145" fmla="*/ 2244016 h 4687251"/>
              <a:gd name="connsiteX12146" fmla="*/ 3876756 w 8079933"/>
              <a:gd name="connsiteY12146" fmla="*/ 2253110 h 4687251"/>
              <a:gd name="connsiteX12147" fmla="*/ 3871765 w 8079933"/>
              <a:gd name="connsiteY12147" fmla="*/ 2257549 h 4687251"/>
              <a:gd name="connsiteX12148" fmla="*/ 3869797 w 8079933"/>
              <a:gd name="connsiteY12148" fmla="*/ 2262223 h 4687251"/>
              <a:gd name="connsiteX12149" fmla="*/ 3871765 w 8079933"/>
              <a:gd name="connsiteY12149" fmla="*/ 2257550 h 4687251"/>
              <a:gd name="connsiteX12150" fmla="*/ 3876757 w 8079933"/>
              <a:gd name="connsiteY12150" fmla="*/ 2253111 h 4687251"/>
              <a:gd name="connsiteX12151" fmla="*/ 3882508 w 8079933"/>
              <a:gd name="connsiteY12151" fmla="*/ 2244016 h 4687251"/>
              <a:gd name="connsiteX12152" fmla="*/ 5378742 w 8079933"/>
              <a:gd name="connsiteY12152" fmla="*/ 2240210 h 4687251"/>
              <a:gd name="connsiteX12153" fmla="*/ 5382099 w 8079933"/>
              <a:gd name="connsiteY12153" fmla="*/ 2247698 h 4687251"/>
              <a:gd name="connsiteX12154" fmla="*/ 5381665 w 8079933"/>
              <a:gd name="connsiteY12154" fmla="*/ 2254302 h 4687251"/>
              <a:gd name="connsiteX12155" fmla="*/ 5383816 w 8079933"/>
              <a:gd name="connsiteY12155" fmla="*/ 2262785 h 4687251"/>
              <a:gd name="connsiteX12156" fmla="*/ 5381666 w 8079933"/>
              <a:gd name="connsiteY12156" fmla="*/ 2254301 h 4687251"/>
              <a:gd name="connsiteX12157" fmla="*/ 5382100 w 8079933"/>
              <a:gd name="connsiteY12157" fmla="*/ 2247697 h 4687251"/>
              <a:gd name="connsiteX12158" fmla="*/ 4191909 w 8079933"/>
              <a:gd name="connsiteY12158" fmla="*/ 2240108 h 4687251"/>
              <a:gd name="connsiteX12159" fmla="*/ 4186897 w 8079933"/>
              <a:gd name="connsiteY12159" fmla="*/ 2243257 h 4687251"/>
              <a:gd name="connsiteX12160" fmla="*/ 4186897 w 8079933"/>
              <a:gd name="connsiteY12160" fmla="*/ 2243258 h 4687251"/>
              <a:gd name="connsiteX12161" fmla="*/ 5513623 w 8079933"/>
              <a:gd name="connsiteY12161" fmla="*/ 2238493 h 4687251"/>
              <a:gd name="connsiteX12162" fmla="*/ 5513622 w 8079933"/>
              <a:gd name="connsiteY12162" fmla="*/ 2238494 h 4687251"/>
              <a:gd name="connsiteX12163" fmla="*/ 5517528 w 8079933"/>
              <a:gd name="connsiteY12163" fmla="*/ 2239685 h 4687251"/>
              <a:gd name="connsiteX12164" fmla="*/ 5517529 w 8079933"/>
              <a:gd name="connsiteY12164" fmla="*/ 2239684 h 4687251"/>
              <a:gd name="connsiteX12165" fmla="*/ 6803560 w 8079933"/>
              <a:gd name="connsiteY12165" fmla="*/ 2238169 h 4687251"/>
              <a:gd name="connsiteX12166" fmla="*/ 6805513 w 8079933"/>
              <a:gd name="connsiteY12166" fmla="*/ 2238926 h 4687251"/>
              <a:gd name="connsiteX12167" fmla="*/ 6808335 w 8079933"/>
              <a:gd name="connsiteY12167" fmla="*/ 2238602 h 4687251"/>
              <a:gd name="connsiteX12168" fmla="*/ 6812892 w 8079933"/>
              <a:gd name="connsiteY12168" fmla="*/ 2241308 h 4687251"/>
              <a:gd name="connsiteX12169" fmla="*/ 6812784 w 8079933"/>
              <a:gd name="connsiteY12169" fmla="*/ 2245206 h 4687251"/>
              <a:gd name="connsiteX12170" fmla="*/ 6809419 w 8079933"/>
              <a:gd name="connsiteY12170" fmla="*/ 2242932 h 4687251"/>
              <a:gd name="connsiteX12171" fmla="*/ 6804753 w 8079933"/>
              <a:gd name="connsiteY12171" fmla="*/ 2241417 h 4687251"/>
              <a:gd name="connsiteX12172" fmla="*/ 3919187 w 8079933"/>
              <a:gd name="connsiteY12172" fmla="*/ 2236761 h 4687251"/>
              <a:gd name="connsiteX12173" fmla="*/ 3919729 w 8079933"/>
              <a:gd name="connsiteY12173" fmla="*/ 2238169 h 4687251"/>
              <a:gd name="connsiteX12174" fmla="*/ 3919729 w 8079933"/>
              <a:gd name="connsiteY12174" fmla="*/ 2238169 h 4687251"/>
              <a:gd name="connsiteX12175" fmla="*/ 1487941 w 8079933"/>
              <a:gd name="connsiteY12175" fmla="*/ 2235831 h 4687251"/>
              <a:gd name="connsiteX12176" fmla="*/ 1487653 w 8079933"/>
              <a:gd name="connsiteY12176" fmla="*/ 2237737 h 4687251"/>
              <a:gd name="connsiteX12177" fmla="*/ 1486460 w 8079933"/>
              <a:gd name="connsiteY12177" fmla="*/ 2239577 h 4687251"/>
              <a:gd name="connsiteX12178" fmla="*/ 1489390 w 8079933"/>
              <a:gd name="connsiteY12178" fmla="*/ 2240443 h 4687251"/>
              <a:gd name="connsiteX12179" fmla="*/ 1492646 w 8079933"/>
              <a:gd name="connsiteY12179" fmla="*/ 2242608 h 4687251"/>
              <a:gd name="connsiteX12180" fmla="*/ 1494816 w 8079933"/>
              <a:gd name="connsiteY12180" fmla="*/ 2246073 h 4687251"/>
              <a:gd name="connsiteX12181" fmla="*/ 1495359 w 8079933"/>
              <a:gd name="connsiteY12181" fmla="*/ 2251270 h 4687251"/>
              <a:gd name="connsiteX12182" fmla="*/ 1496986 w 8079933"/>
              <a:gd name="connsiteY12182" fmla="*/ 2253219 h 4687251"/>
              <a:gd name="connsiteX12183" fmla="*/ 1498397 w 8079933"/>
              <a:gd name="connsiteY12183" fmla="*/ 2253544 h 4687251"/>
              <a:gd name="connsiteX12184" fmla="*/ 1499157 w 8079933"/>
              <a:gd name="connsiteY12184" fmla="*/ 2255384 h 4687251"/>
              <a:gd name="connsiteX12185" fmla="*/ 1501978 w 8079933"/>
              <a:gd name="connsiteY12185" fmla="*/ 2257875 h 4687251"/>
              <a:gd name="connsiteX12186" fmla="*/ 1502087 w 8079933"/>
              <a:gd name="connsiteY12186" fmla="*/ 2261555 h 4687251"/>
              <a:gd name="connsiteX12187" fmla="*/ 1501979 w 8079933"/>
              <a:gd name="connsiteY12187" fmla="*/ 2257874 h 4687251"/>
              <a:gd name="connsiteX12188" fmla="*/ 1499157 w 8079933"/>
              <a:gd name="connsiteY12188" fmla="*/ 2255384 h 4687251"/>
              <a:gd name="connsiteX12189" fmla="*/ 1498398 w 8079933"/>
              <a:gd name="connsiteY12189" fmla="*/ 2253543 h 4687251"/>
              <a:gd name="connsiteX12190" fmla="*/ 1496986 w 8079933"/>
              <a:gd name="connsiteY12190" fmla="*/ 2253219 h 4687251"/>
              <a:gd name="connsiteX12191" fmla="*/ 1495359 w 8079933"/>
              <a:gd name="connsiteY12191" fmla="*/ 2251270 h 4687251"/>
              <a:gd name="connsiteX12192" fmla="*/ 1494816 w 8079933"/>
              <a:gd name="connsiteY12192" fmla="*/ 2246073 h 4687251"/>
              <a:gd name="connsiteX12193" fmla="*/ 1492646 w 8079933"/>
              <a:gd name="connsiteY12193" fmla="*/ 2242608 h 4687251"/>
              <a:gd name="connsiteX12194" fmla="*/ 1489390 w 8079933"/>
              <a:gd name="connsiteY12194" fmla="*/ 2240443 h 4687251"/>
              <a:gd name="connsiteX12195" fmla="*/ 1486461 w 8079933"/>
              <a:gd name="connsiteY12195" fmla="*/ 2239577 h 4687251"/>
              <a:gd name="connsiteX12196" fmla="*/ 1487654 w 8079933"/>
              <a:gd name="connsiteY12196" fmla="*/ 2237736 h 4687251"/>
              <a:gd name="connsiteX12197" fmla="*/ 5675963 w 8079933"/>
              <a:gd name="connsiteY12197" fmla="*/ 2233886 h 4687251"/>
              <a:gd name="connsiteX12198" fmla="*/ 5677483 w 8079933"/>
              <a:gd name="connsiteY12198" fmla="*/ 2239468 h 4687251"/>
              <a:gd name="connsiteX12199" fmla="*/ 5677483 w 8079933"/>
              <a:gd name="connsiteY12199" fmla="*/ 2239467 h 4687251"/>
              <a:gd name="connsiteX12200" fmla="*/ 4141276 w 8079933"/>
              <a:gd name="connsiteY12200" fmla="*/ 2232609 h 4687251"/>
              <a:gd name="connsiteX12201" fmla="*/ 4147180 w 8079933"/>
              <a:gd name="connsiteY12201" fmla="*/ 2239144 h 4687251"/>
              <a:gd name="connsiteX12202" fmla="*/ 4147180 w 8079933"/>
              <a:gd name="connsiteY12202" fmla="*/ 2239143 h 4687251"/>
              <a:gd name="connsiteX12203" fmla="*/ 4849614 w 8079933"/>
              <a:gd name="connsiteY12203" fmla="*/ 2232107 h 4687251"/>
              <a:gd name="connsiteX12204" fmla="*/ 4851875 w 8079933"/>
              <a:gd name="connsiteY12204" fmla="*/ 2232379 h 4687251"/>
              <a:gd name="connsiteX12205" fmla="*/ 4849615 w 8079933"/>
              <a:gd name="connsiteY12205" fmla="*/ 2232107 h 4687251"/>
              <a:gd name="connsiteX12206" fmla="*/ 4137414 w 8079933"/>
              <a:gd name="connsiteY12206" fmla="*/ 2231672 h 4687251"/>
              <a:gd name="connsiteX12207" fmla="*/ 4137414 w 8079933"/>
              <a:gd name="connsiteY12207" fmla="*/ 2231673 h 4687251"/>
              <a:gd name="connsiteX12208" fmla="*/ 4141212 w 8079933"/>
              <a:gd name="connsiteY12208" fmla="*/ 2232539 h 4687251"/>
              <a:gd name="connsiteX12209" fmla="*/ 4141212 w 8079933"/>
              <a:gd name="connsiteY12209" fmla="*/ 2232538 h 4687251"/>
              <a:gd name="connsiteX12210" fmla="*/ 4765182 w 8079933"/>
              <a:gd name="connsiteY12210" fmla="*/ 2230266 h 4687251"/>
              <a:gd name="connsiteX12211" fmla="*/ 4765616 w 8079933"/>
              <a:gd name="connsiteY12211" fmla="*/ 2233081 h 4687251"/>
              <a:gd name="connsiteX12212" fmla="*/ 4764748 w 8079933"/>
              <a:gd name="connsiteY12212" fmla="*/ 2235354 h 4687251"/>
              <a:gd name="connsiteX12213" fmla="*/ 4764314 w 8079933"/>
              <a:gd name="connsiteY12213" fmla="*/ 2241742 h 4687251"/>
              <a:gd name="connsiteX12214" fmla="*/ 4764748 w 8079933"/>
              <a:gd name="connsiteY12214" fmla="*/ 2235355 h 4687251"/>
              <a:gd name="connsiteX12215" fmla="*/ 4765617 w 8079933"/>
              <a:gd name="connsiteY12215" fmla="*/ 2233081 h 4687251"/>
              <a:gd name="connsiteX12216" fmla="*/ 4765073 w 8079933"/>
              <a:gd name="connsiteY12216" fmla="*/ 2228641 h 4687251"/>
              <a:gd name="connsiteX12217" fmla="*/ 4762252 w 8079933"/>
              <a:gd name="connsiteY12217" fmla="*/ 2231240 h 4687251"/>
              <a:gd name="connsiteX12218" fmla="*/ 4759756 w 8079933"/>
              <a:gd name="connsiteY12218" fmla="*/ 2230915 h 4687251"/>
              <a:gd name="connsiteX12219" fmla="*/ 4759756 w 8079933"/>
              <a:gd name="connsiteY12219" fmla="*/ 2230915 h 4687251"/>
              <a:gd name="connsiteX12220" fmla="*/ 4762253 w 8079933"/>
              <a:gd name="connsiteY12220" fmla="*/ 2231240 h 4687251"/>
              <a:gd name="connsiteX12221" fmla="*/ 4765073 w 8079933"/>
              <a:gd name="connsiteY12221" fmla="*/ 2228642 h 4687251"/>
              <a:gd name="connsiteX12222" fmla="*/ 4765073 w 8079933"/>
              <a:gd name="connsiteY12222" fmla="*/ 2228642 h 4687251"/>
              <a:gd name="connsiteX12223" fmla="*/ 5524148 w 8079933"/>
              <a:gd name="connsiteY12223" fmla="*/ 2228534 h 4687251"/>
              <a:gd name="connsiteX12224" fmla="*/ 5522629 w 8079933"/>
              <a:gd name="connsiteY12224" fmla="*/ 2231565 h 4687251"/>
              <a:gd name="connsiteX12225" fmla="*/ 5522630 w 8079933"/>
              <a:gd name="connsiteY12225" fmla="*/ 2231564 h 4687251"/>
              <a:gd name="connsiteX12226" fmla="*/ 4132355 w 8079933"/>
              <a:gd name="connsiteY12226" fmla="*/ 2228040 h 4687251"/>
              <a:gd name="connsiteX12227" fmla="*/ 4135135 w 8079933"/>
              <a:gd name="connsiteY12227" fmla="*/ 2229183 h 4687251"/>
              <a:gd name="connsiteX12228" fmla="*/ 4135134 w 8079933"/>
              <a:gd name="connsiteY12228" fmla="*/ 2229182 h 4687251"/>
              <a:gd name="connsiteX12229" fmla="*/ 5538764 w 8079933"/>
              <a:gd name="connsiteY12229" fmla="*/ 2227353 h 4687251"/>
              <a:gd name="connsiteX12230" fmla="*/ 5538472 w 8079933"/>
              <a:gd name="connsiteY12230" fmla="*/ 2230264 h 4687251"/>
              <a:gd name="connsiteX12231" fmla="*/ 5538473 w 8079933"/>
              <a:gd name="connsiteY12231" fmla="*/ 2230264 h 4687251"/>
              <a:gd name="connsiteX12232" fmla="*/ 4753570 w 8079933"/>
              <a:gd name="connsiteY12232" fmla="*/ 2227126 h 4687251"/>
              <a:gd name="connsiteX12233" fmla="*/ 4752377 w 8079933"/>
              <a:gd name="connsiteY12233" fmla="*/ 2233622 h 4687251"/>
              <a:gd name="connsiteX12234" fmla="*/ 4753617 w 8079933"/>
              <a:gd name="connsiteY12234" fmla="*/ 2235809 h 4687251"/>
              <a:gd name="connsiteX12235" fmla="*/ 4752378 w 8079933"/>
              <a:gd name="connsiteY12235" fmla="*/ 2233622 h 4687251"/>
              <a:gd name="connsiteX12236" fmla="*/ 4753571 w 8079933"/>
              <a:gd name="connsiteY12236" fmla="*/ 2227126 h 4687251"/>
              <a:gd name="connsiteX12237" fmla="*/ 4759322 w 8079933"/>
              <a:gd name="connsiteY12237" fmla="*/ 2227126 h 4687251"/>
              <a:gd name="connsiteX12238" fmla="*/ 4759343 w 8079933"/>
              <a:gd name="connsiteY12238" fmla="*/ 2227308 h 4687251"/>
              <a:gd name="connsiteX12239" fmla="*/ 4759322 w 8079933"/>
              <a:gd name="connsiteY12239" fmla="*/ 2227126 h 4687251"/>
              <a:gd name="connsiteX12240" fmla="*/ 3912466 w 8079933"/>
              <a:gd name="connsiteY12240" fmla="*/ 2225593 h 4687251"/>
              <a:gd name="connsiteX12241" fmla="*/ 3914737 w 8079933"/>
              <a:gd name="connsiteY12241" fmla="*/ 2226259 h 4687251"/>
              <a:gd name="connsiteX12242" fmla="*/ 3917124 w 8079933"/>
              <a:gd name="connsiteY12242" fmla="*/ 2228425 h 4687251"/>
              <a:gd name="connsiteX12243" fmla="*/ 3919729 w 8079933"/>
              <a:gd name="connsiteY12243" fmla="*/ 2228533 h 4687251"/>
              <a:gd name="connsiteX12244" fmla="*/ 3921899 w 8079933"/>
              <a:gd name="connsiteY12244" fmla="*/ 2230157 h 4687251"/>
              <a:gd name="connsiteX12245" fmla="*/ 3919800 w 8079933"/>
              <a:gd name="connsiteY12245" fmla="*/ 2235268 h 4687251"/>
              <a:gd name="connsiteX12246" fmla="*/ 3921900 w 8079933"/>
              <a:gd name="connsiteY12246" fmla="*/ 2230157 h 4687251"/>
              <a:gd name="connsiteX12247" fmla="*/ 3919729 w 8079933"/>
              <a:gd name="connsiteY12247" fmla="*/ 2228533 h 4687251"/>
              <a:gd name="connsiteX12248" fmla="*/ 3917125 w 8079933"/>
              <a:gd name="connsiteY12248" fmla="*/ 2228424 h 4687251"/>
              <a:gd name="connsiteX12249" fmla="*/ 3914738 w 8079933"/>
              <a:gd name="connsiteY12249" fmla="*/ 2226259 h 4687251"/>
              <a:gd name="connsiteX12250" fmla="*/ 4204472 w 8079933"/>
              <a:gd name="connsiteY12250" fmla="*/ 2225063 h 4687251"/>
              <a:gd name="connsiteX12251" fmla="*/ 4205996 w 8079933"/>
              <a:gd name="connsiteY12251" fmla="*/ 2226583 h 4687251"/>
              <a:gd name="connsiteX12252" fmla="*/ 4202186 w 8079933"/>
              <a:gd name="connsiteY12252" fmla="*/ 2232324 h 4687251"/>
              <a:gd name="connsiteX12253" fmla="*/ 4205996 w 8079933"/>
              <a:gd name="connsiteY12253" fmla="*/ 2226583 h 4687251"/>
              <a:gd name="connsiteX12254" fmla="*/ 7007897 w 8079933"/>
              <a:gd name="connsiteY12254" fmla="*/ 2221170 h 4687251"/>
              <a:gd name="connsiteX12255" fmla="*/ 7010827 w 8079933"/>
              <a:gd name="connsiteY12255" fmla="*/ 2224743 h 4687251"/>
              <a:gd name="connsiteX12256" fmla="*/ 7011696 w 8079933"/>
              <a:gd name="connsiteY12256" fmla="*/ 2227991 h 4687251"/>
              <a:gd name="connsiteX12257" fmla="*/ 7010502 w 8079933"/>
              <a:gd name="connsiteY12257" fmla="*/ 2230048 h 4687251"/>
              <a:gd name="connsiteX12258" fmla="*/ 7006378 w 8079933"/>
              <a:gd name="connsiteY12258" fmla="*/ 2229398 h 4687251"/>
              <a:gd name="connsiteX12259" fmla="*/ 7003665 w 8079933"/>
              <a:gd name="connsiteY12259" fmla="*/ 2224635 h 4687251"/>
              <a:gd name="connsiteX12260" fmla="*/ 7004858 w 8079933"/>
              <a:gd name="connsiteY12260" fmla="*/ 2221711 h 4687251"/>
              <a:gd name="connsiteX12261" fmla="*/ 4771368 w 8079933"/>
              <a:gd name="connsiteY12261" fmla="*/ 2221063 h 4687251"/>
              <a:gd name="connsiteX12262" fmla="*/ 4768438 w 8079933"/>
              <a:gd name="connsiteY12262" fmla="*/ 2223661 h 4687251"/>
              <a:gd name="connsiteX12263" fmla="*/ 4771368 w 8079933"/>
              <a:gd name="connsiteY12263" fmla="*/ 2221063 h 4687251"/>
              <a:gd name="connsiteX12264" fmla="*/ 4771368 w 8079933"/>
              <a:gd name="connsiteY12264" fmla="*/ 2221063 h 4687251"/>
              <a:gd name="connsiteX12265" fmla="*/ 5039132 w 8079933"/>
              <a:gd name="connsiteY12265" fmla="*/ 2220576 h 4687251"/>
              <a:gd name="connsiteX12266" fmla="*/ 5040597 w 8079933"/>
              <a:gd name="connsiteY12266" fmla="*/ 2221604 h 4687251"/>
              <a:gd name="connsiteX12267" fmla="*/ 5045155 w 8079933"/>
              <a:gd name="connsiteY12267" fmla="*/ 2230049 h 4687251"/>
              <a:gd name="connsiteX12268" fmla="*/ 5049604 w 8079933"/>
              <a:gd name="connsiteY12268" fmla="*/ 2232432 h 4687251"/>
              <a:gd name="connsiteX12269" fmla="*/ 5054596 w 8079933"/>
              <a:gd name="connsiteY12269" fmla="*/ 2243150 h 4687251"/>
              <a:gd name="connsiteX12270" fmla="*/ 5054596 w 8079933"/>
              <a:gd name="connsiteY12270" fmla="*/ 2243150 h 4687251"/>
              <a:gd name="connsiteX12271" fmla="*/ 5049604 w 8079933"/>
              <a:gd name="connsiteY12271" fmla="*/ 2232431 h 4687251"/>
              <a:gd name="connsiteX12272" fmla="*/ 5045155 w 8079933"/>
              <a:gd name="connsiteY12272" fmla="*/ 2230049 h 4687251"/>
              <a:gd name="connsiteX12273" fmla="*/ 5040597 w 8079933"/>
              <a:gd name="connsiteY12273" fmla="*/ 2221604 h 4687251"/>
              <a:gd name="connsiteX12274" fmla="*/ 3553594 w 8079933"/>
              <a:gd name="connsiteY12274" fmla="*/ 2219546 h 4687251"/>
              <a:gd name="connsiteX12275" fmla="*/ 3556089 w 8079933"/>
              <a:gd name="connsiteY12275" fmla="*/ 2223444 h 4687251"/>
              <a:gd name="connsiteX12276" fmla="*/ 3553050 w 8079933"/>
              <a:gd name="connsiteY12276" fmla="*/ 2224852 h 4687251"/>
              <a:gd name="connsiteX12277" fmla="*/ 3548601 w 8079933"/>
              <a:gd name="connsiteY12277" fmla="*/ 2223011 h 4687251"/>
              <a:gd name="connsiteX12278" fmla="*/ 3547191 w 8079933"/>
              <a:gd name="connsiteY12278" fmla="*/ 2220412 h 4687251"/>
              <a:gd name="connsiteX12279" fmla="*/ 4119928 w 8079933"/>
              <a:gd name="connsiteY12279" fmla="*/ 2214817 h 4687251"/>
              <a:gd name="connsiteX12280" fmla="*/ 4121028 w 8079933"/>
              <a:gd name="connsiteY12280" fmla="*/ 2215216 h 4687251"/>
              <a:gd name="connsiteX12281" fmla="*/ 4121027 w 8079933"/>
              <a:gd name="connsiteY12281" fmla="*/ 2215215 h 4687251"/>
              <a:gd name="connsiteX12282" fmla="*/ 5549433 w 8079933"/>
              <a:gd name="connsiteY12282" fmla="*/ 2214566 h 4687251"/>
              <a:gd name="connsiteX12283" fmla="*/ 5549433 w 8079933"/>
              <a:gd name="connsiteY12283" fmla="*/ 2214567 h 4687251"/>
              <a:gd name="connsiteX12284" fmla="*/ 5551277 w 8079933"/>
              <a:gd name="connsiteY12284" fmla="*/ 2225177 h 4687251"/>
              <a:gd name="connsiteX12285" fmla="*/ 5549763 w 8079933"/>
              <a:gd name="connsiteY12285" fmla="*/ 2227381 h 4687251"/>
              <a:gd name="connsiteX12286" fmla="*/ 5551278 w 8079933"/>
              <a:gd name="connsiteY12286" fmla="*/ 2225176 h 4687251"/>
              <a:gd name="connsiteX12287" fmla="*/ 1427211 w 8079933"/>
              <a:gd name="connsiteY12287" fmla="*/ 2211535 h 4687251"/>
              <a:gd name="connsiteX12288" fmla="*/ 1465950 w 8079933"/>
              <a:gd name="connsiteY12288" fmla="*/ 2212726 h 4687251"/>
              <a:gd name="connsiteX12289" fmla="*/ 1470400 w 8079933"/>
              <a:gd name="connsiteY12289" fmla="*/ 2215541 h 4687251"/>
              <a:gd name="connsiteX12290" fmla="*/ 1474198 w 8079933"/>
              <a:gd name="connsiteY12290" fmla="*/ 2220955 h 4687251"/>
              <a:gd name="connsiteX12291" fmla="*/ 1476259 w 8079933"/>
              <a:gd name="connsiteY12291" fmla="*/ 2223445 h 4687251"/>
              <a:gd name="connsiteX12292" fmla="*/ 1476694 w 8079933"/>
              <a:gd name="connsiteY12292" fmla="*/ 2225610 h 4687251"/>
              <a:gd name="connsiteX12293" fmla="*/ 1479189 w 8079933"/>
              <a:gd name="connsiteY12293" fmla="*/ 2225718 h 4687251"/>
              <a:gd name="connsiteX12294" fmla="*/ 1481360 w 8079933"/>
              <a:gd name="connsiteY12294" fmla="*/ 2228858 h 4687251"/>
              <a:gd name="connsiteX12295" fmla="*/ 1480600 w 8079933"/>
              <a:gd name="connsiteY12295" fmla="*/ 2231240 h 4687251"/>
              <a:gd name="connsiteX12296" fmla="*/ 1484290 w 8079933"/>
              <a:gd name="connsiteY12296" fmla="*/ 2232539 h 4687251"/>
              <a:gd name="connsiteX12297" fmla="*/ 1487980 w 8079933"/>
              <a:gd name="connsiteY12297" fmla="*/ 2235571 h 4687251"/>
              <a:gd name="connsiteX12298" fmla="*/ 1487980 w 8079933"/>
              <a:gd name="connsiteY12298" fmla="*/ 2235570 h 4687251"/>
              <a:gd name="connsiteX12299" fmla="*/ 1484291 w 8079933"/>
              <a:gd name="connsiteY12299" fmla="*/ 2232539 h 4687251"/>
              <a:gd name="connsiteX12300" fmla="*/ 1480601 w 8079933"/>
              <a:gd name="connsiteY12300" fmla="*/ 2231240 h 4687251"/>
              <a:gd name="connsiteX12301" fmla="*/ 1481361 w 8079933"/>
              <a:gd name="connsiteY12301" fmla="*/ 2228858 h 4687251"/>
              <a:gd name="connsiteX12302" fmla="*/ 1479190 w 8079933"/>
              <a:gd name="connsiteY12302" fmla="*/ 2225718 h 4687251"/>
              <a:gd name="connsiteX12303" fmla="*/ 1476695 w 8079933"/>
              <a:gd name="connsiteY12303" fmla="*/ 2225610 h 4687251"/>
              <a:gd name="connsiteX12304" fmla="*/ 1476260 w 8079933"/>
              <a:gd name="connsiteY12304" fmla="*/ 2223445 h 4687251"/>
              <a:gd name="connsiteX12305" fmla="*/ 1474198 w 8079933"/>
              <a:gd name="connsiteY12305" fmla="*/ 2220954 h 4687251"/>
              <a:gd name="connsiteX12306" fmla="*/ 1470400 w 8079933"/>
              <a:gd name="connsiteY12306" fmla="*/ 2215541 h 4687251"/>
              <a:gd name="connsiteX12307" fmla="*/ 1465951 w 8079933"/>
              <a:gd name="connsiteY12307" fmla="*/ 2212725 h 4687251"/>
              <a:gd name="connsiteX12308" fmla="*/ 5009186 w 8079933"/>
              <a:gd name="connsiteY12308" fmla="*/ 2209720 h 4687251"/>
              <a:gd name="connsiteX12309" fmla="*/ 5010863 w 8079933"/>
              <a:gd name="connsiteY12309" fmla="*/ 2210994 h 4687251"/>
              <a:gd name="connsiteX12310" fmla="*/ 5010863 w 8079933"/>
              <a:gd name="connsiteY12310" fmla="*/ 2210994 h 4687251"/>
              <a:gd name="connsiteX12311" fmla="*/ 5017374 w 8079933"/>
              <a:gd name="connsiteY12311" fmla="*/ 2208937 h 4687251"/>
              <a:gd name="connsiteX12312" fmla="*/ 5035171 w 8079933"/>
              <a:gd name="connsiteY12312" fmla="*/ 2220630 h 4687251"/>
              <a:gd name="connsiteX12313" fmla="*/ 5037667 w 8079933"/>
              <a:gd name="connsiteY12313" fmla="*/ 2219547 h 4687251"/>
              <a:gd name="connsiteX12314" fmla="*/ 5037667 w 8079933"/>
              <a:gd name="connsiteY12314" fmla="*/ 2219547 h 4687251"/>
              <a:gd name="connsiteX12315" fmla="*/ 5035171 w 8079933"/>
              <a:gd name="connsiteY12315" fmla="*/ 2220629 h 4687251"/>
              <a:gd name="connsiteX12316" fmla="*/ 5017375 w 8079933"/>
              <a:gd name="connsiteY12316" fmla="*/ 2208937 h 4687251"/>
              <a:gd name="connsiteX12317" fmla="*/ 7013865 w 8079933"/>
              <a:gd name="connsiteY12317" fmla="*/ 2208611 h 4687251"/>
              <a:gd name="connsiteX12318" fmla="*/ 7016577 w 8079933"/>
              <a:gd name="connsiteY12318" fmla="*/ 2210885 h 4687251"/>
              <a:gd name="connsiteX12319" fmla="*/ 7017011 w 8079933"/>
              <a:gd name="connsiteY12319" fmla="*/ 2214891 h 4687251"/>
              <a:gd name="connsiteX12320" fmla="*/ 7015926 w 8079933"/>
              <a:gd name="connsiteY12320" fmla="*/ 2218139 h 4687251"/>
              <a:gd name="connsiteX12321" fmla="*/ 7014732 w 8079933"/>
              <a:gd name="connsiteY12321" fmla="*/ 2219438 h 4687251"/>
              <a:gd name="connsiteX12322" fmla="*/ 7013756 w 8079933"/>
              <a:gd name="connsiteY12322" fmla="*/ 2211750 h 4687251"/>
              <a:gd name="connsiteX12323" fmla="*/ 5691265 w 8079933"/>
              <a:gd name="connsiteY12323" fmla="*/ 2205579 h 4687251"/>
              <a:gd name="connsiteX12324" fmla="*/ 5685513 w 8079933"/>
              <a:gd name="connsiteY12324" fmla="*/ 2207744 h 4687251"/>
              <a:gd name="connsiteX12325" fmla="*/ 5678243 w 8079933"/>
              <a:gd name="connsiteY12325" fmla="*/ 2206229 h 4687251"/>
              <a:gd name="connsiteX12326" fmla="*/ 5677964 w 8079933"/>
              <a:gd name="connsiteY12326" fmla="*/ 2205652 h 4687251"/>
              <a:gd name="connsiteX12327" fmla="*/ 5678243 w 8079933"/>
              <a:gd name="connsiteY12327" fmla="*/ 2206229 h 4687251"/>
              <a:gd name="connsiteX12328" fmla="*/ 5685513 w 8079933"/>
              <a:gd name="connsiteY12328" fmla="*/ 2207744 h 4687251"/>
              <a:gd name="connsiteX12329" fmla="*/ 4767352 w 8079933"/>
              <a:gd name="connsiteY12329" fmla="*/ 2203739 h 4687251"/>
              <a:gd name="connsiteX12330" fmla="*/ 4766050 w 8079933"/>
              <a:gd name="connsiteY12330" fmla="*/ 2206554 h 4687251"/>
              <a:gd name="connsiteX12331" fmla="*/ 4764856 w 8079933"/>
              <a:gd name="connsiteY12331" fmla="*/ 2212617 h 4687251"/>
              <a:gd name="connsiteX12332" fmla="*/ 4763554 w 8079933"/>
              <a:gd name="connsiteY12332" fmla="*/ 2219655 h 4687251"/>
              <a:gd name="connsiteX12333" fmla="*/ 4764531 w 8079933"/>
              <a:gd name="connsiteY12333" fmla="*/ 2223877 h 4687251"/>
              <a:gd name="connsiteX12334" fmla="*/ 4765616 w 8079933"/>
              <a:gd name="connsiteY12334" fmla="*/ 2225934 h 4687251"/>
              <a:gd name="connsiteX12335" fmla="*/ 4764965 w 8079933"/>
              <a:gd name="connsiteY12335" fmla="*/ 2225934 h 4687251"/>
              <a:gd name="connsiteX12336" fmla="*/ 4764965 w 8079933"/>
              <a:gd name="connsiteY12336" fmla="*/ 2225935 h 4687251"/>
              <a:gd name="connsiteX12337" fmla="*/ 4765092 w 8079933"/>
              <a:gd name="connsiteY12337" fmla="*/ 2225942 h 4687251"/>
              <a:gd name="connsiteX12338" fmla="*/ 4764966 w 8079933"/>
              <a:gd name="connsiteY12338" fmla="*/ 2225935 h 4687251"/>
              <a:gd name="connsiteX12339" fmla="*/ 4765616 w 8079933"/>
              <a:gd name="connsiteY12339" fmla="*/ 2225935 h 4687251"/>
              <a:gd name="connsiteX12340" fmla="*/ 4766787 w 8079933"/>
              <a:gd name="connsiteY12340" fmla="*/ 2226042 h 4687251"/>
              <a:gd name="connsiteX12341" fmla="*/ 4766810 w 8079933"/>
              <a:gd name="connsiteY12341" fmla="*/ 2226043 h 4687251"/>
              <a:gd name="connsiteX12342" fmla="*/ 4766810 w 8079933"/>
              <a:gd name="connsiteY12342" fmla="*/ 2226043 h 4687251"/>
              <a:gd name="connsiteX12343" fmla="*/ 4765617 w 8079933"/>
              <a:gd name="connsiteY12343" fmla="*/ 2225935 h 4687251"/>
              <a:gd name="connsiteX12344" fmla="*/ 4764532 w 8079933"/>
              <a:gd name="connsiteY12344" fmla="*/ 2223877 h 4687251"/>
              <a:gd name="connsiteX12345" fmla="*/ 4763555 w 8079933"/>
              <a:gd name="connsiteY12345" fmla="*/ 2219655 h 4687251"/>
              <a:gd name="connsiteX12346" fmla="*/ 4764857 w 8079933"/>
              <a:gd name="connsiteY12346" fmla="*/ 2212617 h 4687251"/>
              <a:gd name="connsiteX12347" fmla="*/ 4766050 w 8079933"/>
              <a:gd name="connsiteY12347" fmla="*/ 2206554 h 4687251"/>
              <a:gd name="connsiteX12348" fmla="*/ 4767353 w 8079933"/>
              <a:gd name="connsiteY12348" fmla="*/ 2203739 h 4687251"/>
              <a:gd name="connsiteX12349" fmla="*/ 4767570 w 8079933"/>
              <a:gd name="connsiteY12349" fmla="*/ 2203739 h 4687251"/>
              <a:gd name="connsiteX12350" fmla="*/ 4768872 w 8079933"/>
              <a:gd name="connsiteY12350" fmla="*/ 2205471 h 4687251"/>
              <a:gd name="connsiteX12351" fmla="*/ 4772235 w 8079933"/>
              <a:gd name="connsiteY12351" fmla="*/ 2208827 h 4687251"/>
              <a:gd name="connsiteX12352" fmla="*/ 4772235 w 8079933"/>
              <a:gd name="connsiteY12352" fmla="*/ 2208827 h 4687251"/>
              <a:gd name="connsiteX12353" fmla="*/ 4768872 w 8079933"/>
              <a:gd name="connsiteY12353" fmla="*/ 2205470 h 4687251"/>
              <a:gd name="connsiteX12354" fmla="*/ 5005329 w 8079933"/>
              <a:gd name="connsiteY12354" fmla="*/ 2202549 h 4687251"/>
              <a:gd name="connsiteX12355" fmla="*/ 5006740 w 8079933"/>
              <a:gd name="connsiteY12355" fmla="*/ 2204281 h 4687251"/>
              <a:gd name="connsiteX12356" fmla="*/ 5006332 w 8079933"/>
              <a:gd name="connsiteY12356" fmla="*/ 2205655 h 4687251"/>
              <a:gd name="connsiteX12357" fmla="*/ 5006740 w 8079933"/>
              <a:gd name="connsiteY12357" fmla="*/ 2204281 h 4687251"/>
              <a:gd name="connsiteX12358" fmla="*/ 5779272 w 8079933"/>
              <a:gd name="connsiteY12358" fmla="*/ 2198974 h 4687251"/>
              <a:gd name="connsiteX12359" fmla="*/ 5779271 w 8079933"/>
              <a:gd name="connsiteY12359" fmla="*/ 2198975 h 4687251"/>
              <a:gd name="connsiteX12360" fmla="*/ 5783285 w 8079933"/>
              <a:gd name="connsiteY12360" fmla="*/ 2200274 h 4687251"/>
              <a:gd name="connsiteX12361" fmla="*/ 5784154 w 8079933"/>
              <a:gd name="connsiteY12361" fmla="*/ 2203630 h 4687251"/>
              <a:gd name="connsiteX12362" fmla="*/ 5784155 w 8079933"/>
              <a:gd name="connsiteY12362" fmla="*/ 2203629 h 4687251"/>
              <a:gd name="connsiteX12363" fmla="*/ 5783287 w 8079933"/>
              <a:gd name="connsiteY12363" fmla="*/ 2200274 h 4687251"/>
              <a:gd name="connsiteX12364" fmla="*/ 4183859 w 8079933"/>
              <a:gd name="connsiteY12364" fmla="*/ 2194969 h 4687251"/>
              <a:gd name="connsiteX12365" fmla="*/ 4188200 w 8079933"/>
              <a:gd name="connsiteY12365" fmla="*/ 2194969 h 4687251"/>
              <a:gd name="connsiteX12366" fmla="*/ 4190045 w 8079933"/>
              <a:gd name="connsiteY12366" fmla="*/ 2197134 h 4687251"/>
              <a:gd name="connsiteX12367" fmla="*/ 4187006 w 8079933"/>
              <a:gd name="connsiteY12367" fmla="*/ 2199624 h 4687251"/>
              <a:gd name="connsiteX12368" fmla="*/ 4183208 w 8079933"/>
              <a:gd name="connsiteY12368" fmla="*/ 2196701 h 4687251"/>
              <a:gd name="connsiteX12369" fmla="*/ 5750696 w 8079933"/>
              <a:gd name="connsiteY12369" fmla="*/ 2192746 h 4687251"/>
              <a:gd name="connsiteX12370" fmla="*/ 5754095 w 8079933"/>
              <a:gd name="connsiteY12370" fmla="*/ 2194102 h 4687251"/>
              <a:gd name="connsiteX12371" fmla="*/ 5756591 w 8079933"/>
              <a:gd name="connsiteY12371" fmla="*/ 2200706 h 4687251"/>
              <a:gd name="connsiteX12372" fmla="*/ 5756592 w 8079933"/>
              <a:gd name="connsiteY12372" fmla="*/ 2200706 h 4687251"/>
              <a:gd name="connsiteX12373" fmla="*/ 5754096 w 8079933"/>
              <a:gd name="connsiteY12373" fmla="*/ 2194102 h 4687251"/>
              <a:gd name="connsiteX12374" fmla="*/ 6777516 w 8079933"/>
              <a:gd name="connsiteY12374" fmla="*/ 2191396 h 4687251"/>
              <a:gd name="connsiteX12375" fmla="*/ 6783268 w 8079933"/>
              <a:gd name="connsiteY12375" fmla="*/ 2192371 h 4687251"/>
              <a:gd name="connsiteX12376" fmla="*/ 6785437 w 8079933"/>
              <a:gd name="connsiteY12376" fmla="*/ 2193778 h 4687251"/>
              <a:gd name="connsiteX12377" fmla="*/ 6789452 w 8079933"/>
              <a:gd name="connsiteY12377" fmla="*/ 2193453 h 4687251"/>
              <a:gd name="connsiteX12378" fmla="*/ 6789995 w 8079933"/>
              <a:gd name="connsiteY12378" fmla="*/ 2198543 h 4687251"/>
              <a:gd name="connsiteX12379" fmla="*/ 6784895 w 8079933"/>
              <a:gd name="connsiteY12379" fmla="*/ 2196269 h 4687251"/>
              <a:gd name="connsiteX12380" fmla="*/ 6779795 w 8079933"/>
              <a:gd name="connsiteY12380" fmla="*/ 2196160 h 4687251"/>
              <a:gd name="connsiteX12381" fmla="*/ 6776973 w 8079933"/>
              <a:gd name="connsiteY12381" fmla="*/ 2193237 h 4687251"/>
              <a:gd name="connsiteX12382" fmla="*/ 5001600 w 8079933"/>
              <a:gd name="connsiteY12382" fmla="*/ 2191065 h 4687251"/>
              <a:gd name="connsiteX12383" fmla="*/ 5002182 w 8079933"/>
              <a:gd name="connsiteY12383" fmla="*/ 2193129 h 4687251"/>
              <a:gd name="connsiteX12384" fmla="*/ 5007608 w 8079933"/>
              <a:gd name="connsiteY12384" fmla="*/ 2197568 h 4687251"/>
              <a:gd name="connsiteX12385" fmla="*/ 5006732 w 8079933"/>
              <a:gd name="connsiteY12385" fmla="*/ 2199482 h 4687251"/>
              <a:gd name="connsiteX12386" fmla="*/ 5007608 w 8079933"/>
              <a:gd name="connsiteY12386" fmla="*/ 2197568 h 4687251"/>
              <a:gd name="connsiteX12387" fmla="*/ 5002182 w 8079933"/>
              <a:gd name="connsiteY12387" fmla="*/ 2193129 h 4687251"/>
              <a:gd name="connsiteX12388" fmla="*/ 4995997 w 8079933"/>
              <a:gd name="connsiteY12388" fmla="*/ 2188581 h 4687251"/>
              <a:gd name="connsiteX12389" fmla="*/ 4995997 w 8079933"/>
              <a:gd name="connsiteY12389" fmla="*/ 2188582 h 4687251"/>
              <a:gd name="connsiteX12390" fmla="*/ 5001205 w 8079933"/>
              <a:gd name="connsiteY12390" fmla="*/ 2189665 h 4687251"/>
              <a:gd name="connsiteX12391" fmla="*/ 5001205 w 8079933"/>
              <a:gd name="connsiteY12391" fmla="*/ 2189664 h 4687251"/>
              <a:gd name="connsiteX12392" fmla="*/ 5354861 w 8079933"/>
              <a:gd name="connsiteY12392" fmla="*/ 2183926 h 4687251"/>
              <a:gd name="connsiteX12393" fmla="*/ 5347483 w 8079933"/>
              <a:gd name="connsiteY12393" fmla="*/ 2193129 h 4687251"/>
              <a:gd name="connsiteX12394" fmla="*/ 5346289 w 8079933"/>
              <a:gd name="connsiteY12394" fmla="*/ 2199300 h 4687251"/>
              <a:gd name="connsiteX12395" fmla="*/ 5352692 w 8079933"/>
              <a:gd name="connsiteY12395" fmla="*/ 2211643 h 4687251"/>
              <a:gd name="connsiteX12396" fmla="*/ 5356164 w 8079933"/>
              <a:gd name="connsiteY12396" fmla="*/ 2222795 h 4687251"/>
              <a:gd name="connsiteX12397" fmla="*/ 5354428 w 8079933"/>
              <a:gd name="connsiteY12397" fmla="*/ 2226043 h 4687251"/>
              <a:gd name="connsiteX12398" fmla="*/ 5356815 w 8079933"/>
              <a:gd name="connsiteY12398" fmla="*/ 2230374 h 4687251"/>
              <a:gd name="connsiteX12399" fmla="*/ 5357466 w 8079933"/>
              <a:gd name="connsiteY12399" fmla="*/ 2239144 h 4687251"/>
              <a:gd name="connsiteX12400" fmla="*/ 5357467 w 8079933"/>
              <a:gd name="connsiteY12400" fmla="*/ 2239144 h 4687251"/>
              <a:gd name="connsiteX12401" fmla="*/ 5356816 w 8079933"/>
              <a:gd name="connsiteY12401" fmla="*/ 2230373 h 4687251"/>
              <a:gd name="connsiteX12402" fmla="*/ 5354429 w 8079933"/>
              <a:gd name="connsiteY12402" fmla="*/ 2226043 h 4687251"/>
              <a:gd name="connsiteX12403" fmla="*/ 5356165 w 8079933"/>
              <a:gd name="connsiteY12403" fmla="*/ 2222795 h 4687251"/>
              <a:gd name="connsiteX12404" fmla="*/ 5352692 w 8079933"/>
              <a:gd name="connsiteY12404" fmla="*/ 2211643 h 4687251"/>
              <a:gd name="connsiteX12405" fmla="*/ 5346290 w 8079933"/>
              <a:gd name="connsiteY12405" fmla="*/ 2199300 h 4687251"/>
              <a:gd name="connsiteX12406" fmla="*/ 5347484 w 8079933"/>
              <a:gd name="connsiteY12406" fmla="*/ 2193129 h 4687251"/>
              <a:gd name="connsiteX12407" fmla="*/ 5354862 w 8079933"/>
              <a:gd name="connsiteY12407" fmla="*/ 2183926 h 4687251"/>
              <a:gd name="connsiteX12408" fmla="*/ 1276698 w 8079933"/>
              <a:gd name="connsiteY12408" fmla="*/ 2177105 h 4687251"/>
              <a:gd name="connsiteX12409" fmla="*/ 1277891 w 8079933"/>
              <a:gd name="connsiteY12409" fmla="*/ 2179162 h 4687251"/>
              <a:gd name="connsiteX12410" fmla="*/ 1277023 w 8079933"/>
              <a:gd name="connsiteY12410" fmla="*/ 2181003 h 4687251"/>
              <a:gd name="connsiteX12411" fmla="*/ 1358411 w 8079933"/>
              <a:gd name="connsiteY12411" fmla="*/ 2218139 h 4687251"/>
              <a:gd name="connsiteX12412" fmla="*/ 1426776 w 8079933"/>
              <a:gd name="connsiteY12412" fmla="*/ 2220196 h 4687251"/>
              <a:gd name="connsiteX12413" fmla="*/ 1358411 w 8079933"/>
              <a:gd name="connsiteY12413" fmla="*/ 2218139 h 4687251"/>
              <a:gd name="connsiteX12414" fmla="*/ 1277023 w 8079933"/>
              <a:gd name="connsiteY12414" fmla="*/ 2181003 h 4687251"/>
              <a:gd name="connsiteX12415" fmla="*/ 1277892 w 8079933"/>
              <a:gd name="connsiteY12415" fmla="*/ 2179162 h 4687251"/>
              <a:gd name="connsiteX12416" fmla="*/ 3903235 w 8079933"/>
              <a:gd name="connsiteY12416" fmla="*/ 2175047 h 4687251"/>
              <a:gd name="connsiteX12417" fmla="*/ 3903669 w 8079933"/>
              <a:gd name="connsiteY12417" fmla="*/ 2182735 h 4687251"/>
              <a:gd name="connsiteX12418" fmla="*/ 3903560 w 8079933"/>
              <a:gd name="connsiteY12418" fmla="*/ 2192046 h 4687251"/>
              <a:gd name="connsiteX12419" fmla="*/ 3904537 w 8079933"/>
              <a:gd name="connsiteY12419" fmla="*/ 2195835 h 4687251"/>
              <a:gd name="connsiteX12420" fmla="*/ 3906490 w 8079933"/>
              <a:gd name="connsiteY12420" fmla="*/ 2213484 h 4687251"/>
              <a:gd name="connsiteX12421" fmla="*/ 3909854 w 8079933"/>
              <a:gd name="connsiteY12421" fmla="*/ 2220521 h 4687251"/>
              <a:gd name="connsiteX12422" fmla="*/ 3911048 w 8079933"/>
              <a:gd name="connsiteY12422" fmla="*/ 2225176 h 4687251"/>
              <a:gd name="connsiteX12423" fmla="*/ 3911048 w 8079933"/>
              <a:gd name="connsiteY12423" fmla="*/ 2225177 h 4687251"/>
              <a:gd name="connsiteX12424" fmla="*/ 3909855 w 8079933"/>
              <a:gd name="connsiteY12424" fmla="*/ 2220521 h 4687251"/>
              <a:gd name="connsiteX12425" fmla="*/ 3906490 w 8079933"/>
              <a:gd name="connsiteY12425" fmla="*/ 2213483 h 4687251"/>
              <a:gd name="connsiteX12426" fmla="*/ 3904537 w 8079933"/>
              <a:gd name="connsiteY12426" fmla="*/ 2195835 h 4687251"/>
              <a:gd name="connsiteX12427" fmla="*/ 3903560 w 8079933"/>
              <a:gd name="connsiteY12427" fmla="*/ 2192046 h 4687251"/>
              <a:gd name="connsiteX12428" fmla="*/ 3903669 w 8079933"/>
              <a:gd name="connsiteY12428" fmla="*/ 2182735 h 4687251"/>
              <a:gd name="connsiteX12429" fmla="*/ 5557138 w 8079933"/>
              <a:gd name="connsiteY12429" fmla="*/ 2168659 h 4687251"/>
              <a:gd name="connsiteX12430" fmla="*/ 5557137 w 8079933"/>
              <a:gd name="connsiteY12430" fmla="*/ 2168659 h 4687251"/>
              <a:gd name="connsiteX12431" fmla="*/ 5559742 w 8079933"/>
              <a:gd name="connsiteY12431" fmla="*/ 2174831 h 4687251"/>
              <a:gd name="connsiteX12432" fmla="*/ 5564733 w 8079933"/>
              <a:gd name="connsiteY12432" fmla="*/ 2177646 h 4687251"/>
              <a:gd name="connsiteX12433" fmla="*/ 5567772 w 8079933"/>
              <a:gd name="connsiteY12433" fmla="*/ 2184142 h 4687251"/>
              <a:gd name="connsiteX12434" fmla="*/ 5566919 w 8079933"/>
              <a:gd name="connsiteY12434" fmla="*/ 2187376 h 4687251"/>
              <a:gd name="connsiteX12435" fmla="*/ 5567773 w 8079933"/>
              <a:gd name="connsiteY12435" fmla="*/ 2184142 h 4687251"/>
              <a:gd name="connsiteX12436" fmla="*/ 5564734 w 8079933"/>
              <a:gd name="connsiteY12436" fmla="*/ 2177645 h 4687251"/>
              <a:gd name="connsiteX12437" fmla="*/ 5559742 w 8079933"/>
              <a:gd name="connsiteY12437" fmla="*/ 2174830 h 4687251"/>
              <a:gd name="connsiteX12438" fmla="*/ 6981418 w 8079933"/>
              <a:gd name="connsiteY12438" fmla="*/ 2165845 h 4687251"/>
              <a:gd name="connsiteX12439" fmla="*/ 6982829 w 8079933"/>
              <a:gd name="connsiteY12439" fmla="*/ 2166495 h 4687251"/>
              <a:gd name="connsiteX12440" fmla="*/ 6981093 w 8079933"/>
              <a:gd name="connsiteY12440" fmla="*/ 2169418 h 4687251"/>
              <a:gd name="connsiteX12441" fmla="*/ 6979574 w 8079933"/>
              <a:gd name="connsiteY12441" fmla="*/ 2167902 h 4687251"/>
              <a:gd name="connsiteX12442" fmla="*/ 5583652 w 8079933"/>
              <a:gd name="connsiteY12442" fmla="*/ 2163786 h 4687251"/>
              <a:gd name="connsiteX12443" fmla="*/ 5580577 w 8079933"/>
              <a:gd name="connsiteY12443" fmla="*/ 2168334 h 4687251"/>
              <a:gd name="connsiteX12444" fmla="*/ 5580578 w 8079933"/>
              <a:gd name="connsiteY12444" fmla="*/ 2168334 h 4687251"/>
              <a:gd name="connsiteX12445" fmla="*/ 4130230 w 8079933"/>
              <a:gd name="connsiteY12445" fmla="*/ 2162599 h 4687251"/>
              <a:gd name="connsiteX12446" fmla="*/ 4132639 w 8079933"/>
              <a:gd name="connsiteY12446" fmla="*/ 2165086 h 4687251"/>
              <a:gd name="connsiteX12447" fmla="*/ 4132639 w 8079933"/>
              <a:gd name="connsiteY12447" fmla="*/ 2165086 h 4687251"/>
              <a:gd name="connsiteX12448" fmla="*/ 4887263 w 8079933"/>
              <a:gd name="connsiteY12448" fmla="*/ 2161405 h 4687251"/>
              <a:gd name="connsiteX12449" fmla="*/ 4883465 w 8079933"/>
              <a:gd name="connsiteY12449" fmla="*/ 2166926 h 4687251"/>
              <a:gd name="connsiteX12450" fmla="*/ 4881295 w 8079933"/>
              <a:gd name="connsiteY12450" fmla="*/ 2170607 h 4687251"/>
              <a:gd name="connsiteX12451" fmla="*/ 4838756 w 8079933"/>
              <a:gd name="connsiteY12451" fmla="*/ 2200815 h 4687251"/>
              <a:gd name="connsiteX12452" fmla="*/ 4838648 w 8079933"/>
              <a:gd name="connsiteY12452" fmla="*/ 2201031 h 4687251"/>
              <a:gd name="connsiteX12453" fmla="*/ 4791551 w 8079933"/>
              <a:gd name="connsiteY12453" fmla="*/ 2230590 h 4687251"/>
              <a:gd name="connsiteX12454" fmla="*/ 4788187 w 8079933"/>
              <a:gd name="connsiteY12454" fmla="*/ 2228532 h 4687251"/>
              <a:gd name="connsiteX12455" fmla="*/ 4786451 w 8079933"/>
              <a:gd name="connsiteY12455" fmla="*/ 2228532 h 4687251"/>
              <a:gd name="connsiteX12456" fmla="*/ 4781676 w 8079933"/>
              <a:gd name="connsiteY12456" fmla="*/ 2224743 h 4687251"/>
              <a:gd name="connsiteX12457" fmla="*/ 4773755 w 8079933"/>
              <a:gd name="connsiteY12457" fmla="*/ 2221278 h 4687251"/>
              <a:gd name="connsiteX12458" fmla="*/ 4773736 w 8079933"/>
              <a:gd name="connsiteY12458" fmla="*/ 2221277 h 4687251"/>
              <a:gd name="connsiteX12459" fmla="*/ 4773755 w 8079933"/>
              <a:gd name="connsiteY12459" fmla="*/ 2221279 h 4687251"/>
              <a:gd name="connsiteX12460" fmla="*/ 4773744 w 8079933"/>
              <a:gd name="connsiteY12460" fmla="*/ 2221278 h 4687251"/>
              <a:gd name="connsiteX12461" fmla="*/ 4773755 w 8079933"/>
              <a:gd name="connsiteY12461" fmla="*/ 2221279 h 4687251"/>
              <a:gd name="connsiteX12462" fmla="*/ 4781677 w 8079933"/>
              <a:gd name="connsiteY12462" fmla="*/ 2224744 h 4687251"/>
              <a:gd name="connsiteX12463" fmla="*/ 4786451 w 8079933"/>
              <a:gd name="connsiteY12463" fmla="*/ 2228534 h 4687251"/>
              <a:gd name="connsiteX12464" fmla="*/ 4788188 w 8079933"/>
              <a:gd name="connsiteY12464" fmla="*/ 2228534 h 4687251"/>
              <a:gd name="connsiteX12465" fmla="*/ 4791551 w 8079933"/>
              <a:gd name="connsiteY12465" fmla="*/ 2230591 h 4687251"/>
              <a:gd name="connsiteX12466" fmla="*/ 4838648 w 8079933"/>
              <a:gd name="connsiteY12466" fmla="*/ 2201033 h 4687251"/>
              <a:gd name="connsiteX12467" fmla="*/ 4838648 w 8079933"/>
              <a:gd name="connsiteY12467" fmla="*/ 2201033 h 4687251"/>
              <a:gd name="connsiteX12468" fmla="*/ 4838756 w 8079933"/>
              <a:gd name="connsiteY12468" fmla="*/ 2200816 h 4687251"/>
              <a:gd name="connsiteX12469" fmla="*/ 4881295 w 8079933"/>
              <a:gd name="connsiteY12469" fmla="*/ 2170609 h 4687251"/>
              <a:gd name="connsiteX12470" fmla="*/ 4883465 w 8079933"/>
              <a:gd name="connsiteY12470" fmla="*/ 2166927 h 4687251"/>
              <a:gd name="connsiteX12471" fmla="*/ 4887263 w 8079933"/>
              <a:gd name="connsiteY12471" fmla="*/ 2161406 h 4687251"/>
              <a:gd name="connsiteX12472" fmla="*/ 6984675 w 8079933"/>
              <a:gd name="connsiteY12472" fmla="*/ 2156316 h 4687251"/>
              <a:gd name="connsiteX12473" fmla="*/ 6986411 w 8079933"/>
              <a:gd name="connsiteY12473" fmla="*/ 2157290 h 4687251"/>
              <a:gd name="connsiteX12474" fmla="*/ 6985977 w 8079933"/>
              <a:gd name="connsiteY12474" fmla="*/ 2160213 h 4687251"/>
              <a:gd name="connsiteX12475" fmla="*/ 6983589 w 8079933"/>
              <a:gd name="connsiteY12475" fmla="*/ 2160430 h 4687251"/>
              <a:gd name="connsiteX12476" fmla="*/ 6983264 w 8079933"/>
              <a:gd name="connsiteY12476" fmla="*/ 2157832 h 4687251"/>
              <a:gd name="connsiteX12477" fmla="*/ 6977729 w 8079933"/>
              <a:gd name="connsiteY12477" fmla="*/ 2155559 h 4687251"/>
              <a:gd name="connsiteX12478" fmla="*/ 6978813 w 8079933"/>
              <a:gd name="connsiteY12478" fmla="*/ 2155775 h 4687251"/>
              <a:gd name="connsiteX12479" fmla="*/ 6978922 w 8079933"/>
              <a:gd name="connsiteY12479" fmla="*/ 2157291 h 4687251"/>
              <a:gd name="connsiteX12480" fmla="*/ 6981526 w 8079933"/>
              <a:gd name="connsiteY12480" fmla="*/ 2161838 h 4687251"/>
              <a:gd name="connsiteX12481" fmla="*/ 6980550 w 8079933"/>
              <a:gd name="connsiteY12481" fmla="*/ 2165736 h 4687251"/>
              <a:gd name="connsiteX12482" fmla="*/ 6978380 w 8079933"/>
              <a:gd name="connsiteY12482" fmla="*/ 2165736 h 4687251"/>
              <a:gd name="connsiteX12483" fmla="*/ 6976643 w 8079933"/>
              <a:gd name="connsiteY12483" fmla="*/ 2162379 h 4687251"/>
              <a:gd name="connsiteX12484" fmla="*/ 6975884 w 8079933"/>
              <a:gd name="connsiteY12484" fmla="*/ 2157832 h 4687251"/>
              <a:gd name="connsiteX12485" fmla="*/ 4995454 w 8079933"/>
              <a:gd name="connsiteY12485" fmla="*/ 2155126 h 4687251"/>
              <a:gd name="connsiteX12486" fmla="*/ 4994586 w 8079933"/>
              <a:gd name="connsiteY12486" fmla="*/ 2162488 h 4687251"/>
              <a:gd name="connsiteX12487" fmla="*/ 4992090 w 8079933"/>
              <a:gd name="connsiteY12487" fmla="*/ 2164762 h 4687251"/>
              <a:gd name="connsiteX12488" fmla="*/ 4991873 w 8079933"/>
              <a:gd name="connsiteY12488" fmla="*/ 2173532 h 4687251"/>
              <a:gd name="connsiteX12489" fmla="*/ 4990462 w 8079933"/>
              <a:gd name="connsiteY12489" fmla="*/ 2176780 h 4687251"/>
              <a:gd name="connsiteX12490" fmla="*/ 4992090 w 8079933"/>
              <a:gd name="connsiteY12490" fmla="*/ 2179162 h 4687251"/>
              <a:gd name="connsiteX12491" fmla="*/ 4990710 w 8079933"/>
              <a:gd name="connsiteY12491" fmla="*/ 2180999 h 4687251"/>
              <a:gd name="connsiteX12492" fmla="*/ 4992091 w 8079933"/>
              <a:gd name="connsiteY12492" fmla="*/ 2179162 h 4687251"/>
              <a:gd name="connsiteX12493" fmla="*/ 4990463 w 8079933"/>
              <a:gd name="connsiteY12493" fmla="*/ 2176780 h 4687251"/>
              <a:gd name="connsiteX12494" fmla="*/ 4991873 w 8079933"/>
              <a:gd name="connsiteY12494" fmla="*/ 2173532 h 4687251"/>
              <a:gd name="connsiteX12495" fmla="*/ 4992091 w 8079933"/>
              <a:gd name="connsiteY12495" fmla="*/ 2164762 h 4687251"/>
              <a:gd name="connsiteX12496" fmla="*/ 4994586 w 8079933"/>
              <a:gd name="connsiteY12496" fmla="*/ 2162489 h 4687251"/>
              <a:gd name="connsiteX12497" fmla="*/ 4995454 w 8079933"/>
              <a:gd name="connsiteY12497" fmla="*/ 2155126 h 4687251"/>
              <a:gd name="connsiteX12498" fmla="*/ 5340430 w 8079933"/>
              <a:gd name="connsiteY12498" fmla="*/ 2155126 h 4687251"/>
              <a:gd name="connsiteX12499" fmla="*/ 5340429 w 8079933"/>
              <a:gd name="connsiteY12499" fmla="*/ 2155126 h 4687251"/>
              <a:gd name="connsiteX12500" fmla="*/ 5342491 w 8079933"/>
              <a:gd name="connsiteY12500" fmla="*/ 2158374 h 4687251"/>
              <a:gd name="connsiteX12501" fmla="*/ 5346506 w 8079933"/>
              <a:gd name="connsiteY12501" fmla="*/ 2161405 h 4687251"/>
              <a:gd name="connsiteX12502" fmla="*/ 5342057 w 8079933"/>
              <a:gd name="connsiteY12502" fmla="*/ 2167793 h 4687251"/>
              <a:gd name="connsiteX12503" fmla="*/ 5343142 w 8079933"/>
              <a:gd name="connsiteY12503" fmla="*/ 2168876 h 4687251"/>
              <a:gd name="connsiteX12504" fmla="*/ 5344770 w 8079933"/>
              <a:gd name="connsiteY12504" fmla="*/ 2177430 h 4687251"/>
              <a:gd name="connsiteX12505" fmla="*/ 5344770 w 8079933"/>
              <a:gd name="connsiteY12505" fmla="*/ 2182085 h 4687251"/>
              <a:gd name="connsiteX12506" fmla="*/ 5344771 w 8079933"/>
              <a:gd name="connsiteY12506" fmla="*/ 2182085 h 4687251"/>
              <a:gd name="connsiteX12507" fmla="*/ 5344771 w 8079933"/>
              <a:gd name="connsiteY12507" fmla="*/ 2177429 h 4687251"/>
              <a:gd name="connsiteX12508" fmla="*/ 5343143 w 8079933"/>
              <a:gd name="connsiteY12508" fmla="*/ 2168876 h 4687251"/>
              <a:gd name="connsiteX12509" fmla="*/ 5342058 w 8079933"/>
              <a:gd name="connsiteY12509" fmla="*/ 2167794 h 4687251"/>
              <a:gd name="connsiteX12510" fmla="*/ 5346507 w 8079933"/>
              <a:gd name="connsiteY12510" fmla="*/ 2161406 h 4687251"/>
              <a:gd name="connsiteX12511" fmla="*/ 5342492 w 8079933"/>
              <a:gd name="connsiteY12511" fmla="*/ 2158374 h 4687251"/>
              <a:gd name="connsiteX12512" fmla="*/ 4129675 w 8079933"/>
              <a:gd name="connsiteY12512" fmla="*/ 2149932 h 4687251"/>
              <a:gd name="connsiteX12513" fmla="*/ 4130035 w 8079933"/>
              <a:gd name="connsiteY12513" fmla="*/ 2151445 h 4687251"/>
              <a:gd name="connsiteX12514" fmla="*/ 4132170 w 8079933"/>
              <a:gd name="connsiteY12514" fmla="*/ 2153869 h 4687251"/>
              <a:gd name="connsiteX12515" fmla="*/ 4130035 w 8079933"/>
              <a:gd name="connsiteY12515" fmla="*/ 2151444 h 4687251"/>
              <a:gd name="connsiteX12516" fmla="*/ 5639937 w 8079933"/>
              <a:gd name="connsiteY12516" fmla="*/ 2149147 h 4687251"/>
              <a:gd name="connsiteX12517" fmla="*/ 5640044 w 8079933"/>
              <a:gd name="connsiteY12517" fmla="*/ 2156424 h 4687251"/>
              <a:gd name="connsiteX12518" fmla="*/ 5644386 w 8079933"/>
              <a:gd name="connsiteY12518" fmla="*/ 2163462 h 4687251"/>
              <a:gd name="connsiteX12519" fmla="*/ 5648183 w 8079933"/>
              <a:gd name="connsiteY12519" fmla="*/ 2179703 h 4687251"/>
              <a:gd name="connsiteX12520" fmla="*/ 5649377 w 8079933"/>
              <a:gd name="connsiteY12520" fmla="*/ 2186740 h 4687251"/>
              <a:gd name="connsiteX12521" fmla="*/ 5657950 w 8079933"/>
              <a:gd name="connsiteY12521" fmla="*/ 2194535 h 4687251"/>
              <a:gd name="connsiteX12522" fmla="*/ 5666956 w 8079933"/>
              <a:gd name="connsiteY12522" fmla="*/ 2196701 h 4687251"/>
              <a:gd name="connsiteX12523" fmla="*/ 5668881 w 8079933"/>
              <a:gd name="connsiteY12523" fmla="*/ 2197499 h 4687251"/>
              <a:gd name="connsiteX12524" fmla="*/ 5666956 w 8079933"/>
              <a:gd name="connsiteY12524" fmla="*/ 2196701 h 4687251"/>
              <a:gd name="connsiteX12525" fmla="*/ 5657951 w 8079933"/>
              <a:gd name="connsiteY12525" fmla="*/ 2194535 h 4687251"/>
              <a:gd name="connsiteX12526" fmla="*/ 5649377 w 8079933"/>
              <a:gd name="connsiteY12526" fmla="*/ 2186740 h 4687251"/>
              <a:gd name="connsiteX12527" fmla="*/ 5648183 w 8079933"/>
              <a:gd name="connsiteY12527" fmla="*/ 2179702 h 4687251"/>
              <a:gd name="connsiteX12528" fmla="*/ 5644386 w 8079933"/>
              <a:gd name="connsiteY12528" fmla="*/ 2163462 h 4687251"/>
              <a:gd name="connsiteX12529" fmla="*/ 5640045 w 8079933"/>
              <a:gd name="connsiteY12529" fmla="*/ 2156424 h 4687251"/>
              <a:gd name="connsiteX12530" fmla="*/ 6948321 w 8079933"/>
              <a:gd name="connsiteY12530" fmla="*/ 2148088 h 4687251"/>
              <a:gd name="connsiteX12531" fmla="*/ 6948647 w 8079933"/>
              <a:gd name="connsiteY12531" fmla="*/ 2150903 h 4687251"/>
              <a:gd name="connsiteX12532" fmla="*/ 6951468 w 8079933"/>
              <a:gd name="connsiteY12532" fmla="*/ 2152419 h 4687251"/>
              <a:gd name="connsiteX12533" fmla="*/ 6953096 w 8079933"/>
              <a:gd name="connsiteY12533" fmla="*/ 2155667 h 4687251"/>
              <a:gd name="connsiteX12534" fmla="*/ 6950383 w 8079933"/>
              <a:gd name="connsiteY12534" fmla="*/ 2157941 h 4687251"/>
              <a:gd name="connsiteX12535" fmla="*/ 6947236 w 8079933"/>
              <a:gd name="connsiteY12535" fmla="*/ 2157508 h 4687251"/>
              <a:gd name="connsiteX12536" fmla="*/ 6945608 w 8079933"/>
              <a:gd name="connsiteY12536" fmla="*/ 2152419 h 4687251"/>
              <a:gd name="connsiteX12537" fmla="*/ 6945825 w 8079933"/>
              <a:gd name="connsiteY12537" fmla="*/ 2149279 h 4687251"/>
              <a:gd name="connsiteX12538" fmla="*/ 5643843 w 8079933"/>
              <a:gd name="connsiteY12538" fmla="*/ 2147330 h 4687251"/>
              <a:gd name="connsiteX12539" fmla="*/ 5639936 w 8079933"/>
              <a:gd name="connsiteY12539" fmla="*/ 2149061 h 4687251"/>
              <a:gd name="connsiteX12540" fmla="*/ 5639936 w 8079933"/>
              <a:gd name="connsiteY12540" fmla="*/ 2149062 h 4687251"/>
              <a:gd name="connsiteX12541" fmla="*/ 6950708 w 8079933"/>
              <a:gd name="connsiteY12541" fmla="*/ 2145706 h 4687251"/>
              <a:gd name="connsiteX12542" fmla="*/ 6954072 w 8079933"/>
              <a:gd name="connsiteY12542" fmla="*/ 2146247 h 4687251"/>
              <a:gd name="connsiteX12543" fmla="*/ 6951251 w 8079933"/>
              <a:gd name="connsiteY12543" fmla="*/ 2147872 h 4687251"/>
              <a:gd name="connsiteX12544" fmla="*/ 5352692 w 8079933"/>
              <a:gd name="connsiteY12544" fmla="*/ 2145273 h 4687251"/>
              <a:gd name="connsiteX12545" fmla="*/ 5351498 w 8079933"/>
              <a:gd name="connsiteY12545" fmla="*/ 2146464 h 4687251"/>
              <a:gd name="connsiteX12546" fmla="*/ 5351823 w 8079933"/>
              <a:gd name="connsiteY12546" fmla="*/ 2149604 h 4687251"/>
              <a:gd name="connsiteX12547" fmla="*/ 5345638 w 8079933"/>
              <a:gd name="connsiteY12547" fmla="*/ 2153718 h 4687251"/>
              <a:gd name="connsiteX12548" fmla="*/ 5342051 w 8079933"/>
              <a:gd name="connsiteY12548" fmla="*/ 2154688 h 4687251"/>
              <a:gd name="connsiteX12549" fmla="*/ 5345639 w 8079933"/>
              <a:gd name="connsiteY12549" fmla="*/ 2153718 h 4687251"/>
              <a:gd name="connsiteX12550" fmla="*/ 5351824 w 8079933"/>
              <a:gd name="connsiteY12550" fmla="*/ 2149604 h 4687251"/>
              <a:gd name="connsiteX12551" fmla="*/ 5351499 w 8079933"/>
              <a:gd name="connsiteY12551" fmla="*/ 2146464 h 4687251"/>
              <a:gd name="connsiteX12552" fmla="*/ 4482713 w 8079933"/>
              <a:gd name="connsiteY12552" fmla="*/ 2144840 h 4687251"/>
              <a:gd name="connsiteX12553" fmla="*/ 4483798 w 8079933"/>
              <a:gd name="connsiteY12553" fmla="*/ 2145165 h 4687251"/>
              <a:gd name="connsiteX12554" fmla="*/ 4484666 w 8079933"/>
              <a:gd name="connsiteY12554" fmla="*/ 2148738 h 4687251"/>
              <a:gd name="connsiteX12555" fmla="*/ 4488247 w 8079933"/>
              <a:gd name="connsiteY12555" fmla="*/ 2148521 h 4687251"/>
              <a:gd name="connsiteX12556" fmla="*/ 4489658 w 8079933"/>
              <a:gd name="connsiteY12556" fmla="*/ 2147330 h 4687251"/>
              <a:gd name="connsiteX12557" fmla="*/ 4488464 w 8079933"/>
              <a:gd name="connsiteY12557" fmla="*/ 2147005 h 4687251"/>
              <a:gd name="connsiteX12558" fmla="*/ 4487704 w 8079933"/>
              <a:gd name="connsiteY12558" fmla="*/ 2145165 h 4687251"/>
              <a:gd name="connsiteX12559" fmla="*/ 4491394 w 8079933"/>
              <a:gd name="connsiteY12559" fmla="*/ 2144840 h 4687251"/>
              <a:gd name="connsiteX12560" fmla="*/ 4493130 w 8079933"/>
              <a:gd name="connsiteY12560" fmla="*/ 2147763 h 4687251"/>
              <a:gd name="connsiteX12561" fmla="*/ 4491177 w 8079933"/>
              <a:gd name="connsiteY12561" fmla="*/ 2149495 h 4687251"/>
              <a:gd name="connsiteX12562" fmla="*/ 4493999 w 8079933"/>
              <a:gd name="connsiteY12562" fmla="*/ 2149171 h 4687251"/>
              <a:gd name="connsiteX12563" fmla="*/ 4495735 w 8079933"/>
              <a:gd name="connsiteY12563" fmla="*/ 2151011 h 4687251"/>
              <a:gd name="connsiteX12564" fmla="*/ 4499425 w 8079933"/>
              <a:gd name="connsiteY12564" fmla="*/ 2152960 h 4687251"/>
              <a:gd name="connsiteX12565" fmla="*/ 4503656 w 8079933"/>
              <a:gd name="connsiteY12565" fmla="*/ 2151769 h 4687251"/>
              <a:gd name="connsiteX12566" fmla="*/ 4509299 w 8079933"/>
              <a:gd name="connsiteY12566" fmla="*/ 2148305 h 4687251"/>
              <a:gd name="connsiteX12567" fmla="*/ 4516027 w 8079933"/>
              <a:gd name="connsiteY12567" fmla="*/ 2147979 h 4687251"/>
              <a:gd name="connsiteX12568" fmla="*/ 4521128 w 8079933"/>
              <a:gd name="connsiteY12568" fmla="*/ 2150254 h 4687251"/>
              <a:gd name="connsiteX12569" fmla="*/ 4527638 w 8079933"/>
              <a:gd name="connsiteY12569" fmla="*/ 2151120 h 4687251"/>
              <a:gd name="connsiteX12570" fmla="*/ 4529917 w 8079933"/>
              <a:gd name="connsiteY12570" fmla="*/ 2151011 h 4687251"/>
              <a:gd name="connsiteX12571" fmla="*/ 4531219 w 8079933"/>
              <a:gd name="connsiteY12571" fmla="*/ 2154151 h 4687251"/>
              <a:gd name="connsiteX12572" fmla="*/ 4530677 w 8079933"/>
              <a:gd name="connsiteY12572" fmla="*/ 2156317 h 4687251"/>
              <a:gd name="connsiteX12573" fmla="*/ 4533172 w 8079933"/>
              <a:gd name="connsiteY12573" fmla="*/ 2156750 h 4687251"/>
              <a:gd name="connsiteX12574" fmla="*/ 4535669 w 8079933"/>
              <a:gd name="connsiteY12574" fmla="*/ 2155775 h 4687251"/>
              <a:gd name="connsiteX12575" fmla="*/ 4537730 w 8079933"/>
              <a:gd name="connsiteY12575" fmla="*/ 2157616 h 4687251"/>
              <a:gd name="connsiteX12576" fmla="*/ 4540660 w 8079933"/>
              <a:gd name="connsiteY12576" fmla="*/ 2155126 h 4687251"/>
              <a:gd name="connsiteX12577" fmla="*/ 4540768 w 8079933"/>
              <a:gd name="connsiteY12577" fmla="*/ 2152744 h 4687251"/>
              <a:gd name="connsiteX12578" fmla="*/ 4542071 w 8079933"/>
              <a:gd name="connsiteY12578" fmla="*/ 2150903 h 4687251"/>
              <a:gd name="connsiteX12579" fmla="*/ 4542071 w 8079933"/>
              <a:gd name="connsiteY12579" fmla="*/ 2152960 h 4687251"/>
              <a:gd name="connsiteX12580" fmla="*/ 4542939 w 8079933"/>
              <a:gd name="connsiteY12580" fmla="*/ 2156208 h 4687251"/>
              <a:gd name="connsiteX12581" fmla="*/ 4541420 w 8079933"/>
              <a:gd name="connsiteY12581" fmla="*/ 2159565 h 4687251"/>
              <a:gd name="connsiteX12582" fmla="*/ 4537947 w 8079933"/>
              <a:gd name="connsiteY12582" fmla="*/ 2161730 h 4687251"/>
              <a:gd name="connsiteX12583" fmla="*/ 4531979 w 8079933"/>
              <a:gd name="connsiteY12583" fmla="*/ 2161513 h 4687251"/>
              <a:gd name="connsiteX12584" fmla="*/ 4523081 w 8079933"/>
              <a:gd name="connsiteY12584" fmla="*/ 2161838 h 4687251"/>
              <a:gd name="connsiteX12585" fmla="*/ 4517655 w 8079933"/>
              <a:gd name="connsiteY12585" fmla="*/ 2161297 h 4687251"/>
              <a:gd name="connsiteX12586" fmla="*/ 4512663 w 8079933"/>
              <a:gd name="connsiteY12586" fmla="*/ 2164437 h 4687251"/>
              <a:gd name="connsiteX12587" fmla="*/ 4506694 w 8079933"/>
              <a:gd name="connsiteY12587" fmla="*/ 2164654 h 4687251"/>
              <a:gd name="connsiteX12588" fmla="*/ 4506152 w 8079933"/>
              <a:gd name="connsiteY12588" fmla="*/ 2161513 h 4687251"/>
              <a:gd name="connsiteX12589" fmla="*/ 4500943 w 8079933"/>
              <a:gd name="connsiteY12589" fmla="*/ 2158482 h 4687251"/>
              <a:gd name="connsiteX12590" fmla="*/ 4496168 w 8079933"/>
              <a:gd name="connsiteY12590" fmla="*/ 2157183 h 4687251"/>
              <a:gd name="connsiteX12591" fmla="*/ 4493022 w 8079933"/>
              <a:gd name="connsiteY12591" fmla="*/ 2158265 h 4687251"/>
              <a:gd name="connsiteX12592" fmla="*/ 4489766 w 8079933"/>
              <a:gd name="connsiteY12592" fmla="*/ 2157399 h 4687251"/>
              <a:gd name="connsiteX12593" fmla="*/ 4481736 w 8079933"/>
              <a:gd name="connsiteY12593" fmla="*/ 2158374 h 4687251"/>
              <a:gd name="connsiteX12594" fmla="*/ 4478263 w 8079933"/>
              <a:gd name="connsiteY12594" fmla="*/ 2156858 h 4687251"/>
              <a:gd name="connsiteX12595" fmla="*/ 4477830 w 8079933"/>
              <a:gd name="connsiteY12595" fmla="*/ 2153285 h 4687251"/>
              <a:gd name="connsiteX12596" fmla="*/ 4479349 w 8079933"/>
              <a:gd name="connsiteY12596" fmla="*/ 2150254 h 4687251"/>
              <a:gd name="connsiteX12597" fmla="*/ 4479566 w 8079933"/>
              <a:gd name="connsiteY12597" fmla="*/ 2146897 h 4687251"/>
              <a:gd name="connsiteX12598" fmla="*/ 4481085 w 8079933"/>
              <a:gd name="connsiteY12598" fmla="*/ 2149820 h 4687251"/>
              <a:gd name="connsiteX12599" fmla="*/ 4482929 w 8079933"/>
              <a:gd name="connsiteY12599" fmla="*/ 2149171 h 4687251"/>
              <a:gd name="connsiteX12600" fmla="*/ 4482279 w 8079933"/>
              <a:gd name="connsiteY12600" fmla="*/ 2146789 h 4687251"/>
              <a:gd name="connsiteX12601" fmla="*/ 5583897 w 8079933"/>
              <a:gd name="connsiteY12601" fmla="*/ 2143106 h 4687251"/>
              <a:gd name="connsiteX12602" fmla="*/ 5580902 w 8079933"/>
              <a:gd name="connsiteY12602" fmla="*/ 2147005 h 4687251"/>
              <a:gd name="connsiteX12603" fmla="*/ 5586871 w 8079933"/>
              <a:gd name="connsiteY12603" fmla="*/ 2152527 h 4687251"/>
              <a:gd name="connsiteX12604" fmla="*/ 5586871 w 8079933"/>
              <a:gd name="connsiteY12604" fmla="*/ 2152526 h 4687251"/>
              <a:gd name="connsiteX12605" fmla="*/ 5580903 w 8079933"/>
              <a:gd name="connsiteY12605" fmla="*/ 2147004 h 4687251"/>
              <a:gd name="connsiteX12606" fmla="*/ 6956460 w 8079933"/>
              <a:gd name="connsiteY12606" fmla="*/ 2142783 h 4687251"/>
              <a:gd name="connsiteX12607" fmla="*/ 6955591 w 8079933"/>
              <a:gd name="connsiteY12607" fmla="*/ 2144083 h 4687251"/>
              <a:gd name="connsiteX12608" fmla="*/ 6953638 w 8079933"/>
              <a:gd name="connsiteY12608" fmla="*/ 2143216 h 4687251"/>
              <a:gd name="connsiteX12609" fmla="*/ 4733604 w 8079933"/>
              <a:gd name="connsiteY12609" fmla="*/ 2142025 h 4687251"/>
              <a:gd name="connsiteX12610" fmla="*/ 4734906 w 8079933"/>
              <a:gd name="connsiteY12610" fmla="*/ 2143324 h 4687251"/>
              <a:gd name="connsiteX12611" fmla="*/ 4732411 w 8079933"/>
              <a:gd name="connsiteY12611" fmla="*/ 2145273 h 4687251"/>
              <a:gd name="connsiteX12612" fmla="*/ 4726876 w 8079933"/>
              <a:gd name="connsiteY12612" fmla="*/ 2148737 h 4687251"/>
              <a:gd name="connsiteX12613" fmla="*/ 4721559 w 8079933"/>
              <a:gd name="connsiteY12613" fmla="*/ 2154909 h 4687251"/>
              <a:gd name="connsiteX12614" fmla="*/ 4723403 w 8079933"/>
              <a:gd name="connsiteY12614" fmla="*/ 2159131 h 4687251"/>
              <a:gd name="connsiteX12615" fmla="*/ 4723078 w 8079933"/>
              <a:gd name="connsiteY12615" fmla="*/ 2163679 h 4687251"/>
              <a:gd name="connsiteX12616" fmla="*/ 4716676 w 8079933"/>
              <a:gd name="connsiteY12616" fmla="*/ 2162921 h 4687251"/>
              <a:gd name="connsiteX12617" fmla="*/ 4713095 w 8079933"/>
              <a:gd name="connsiteY12617" fmla="*/ 2164654 h 4687251"/>
              <a:gd name="connsiteX12618" fmla="*/ 4708103 w 8079933"/>
              <a:gd name="connsiteY12618" fmla="*/ 2169309 h 4687251"/>
              <a:gd name="connsiteX12619" fmla="*/ 4702569 w 8079933"/>
              <a:gd name="connsiteY12619" fmla="*/ 2170500 h 4687251"/>
              <a:gd name="connsiteX12620" fmla="*/ 4699856 w 8079933"/>
              <a:gd name="connsiteY12620" fmla="*/ 2172774 h 4687251"/>
              <a:gd name="connsiteX12621" fmla="*/ 4697034 w 8079933"/>
              <a:gd name="connsiteY12621" fmla="*/ 2171041 h 4687251"/>
              <a:gd name="connsiteX12622" fmla="*/ 4690523 w 8079933"/>
              <a:gd name="connsiteY12622" fmla="*/ 2171367 h 4687251"/>
              <a:gd name="connsiteX12623" fmla="*/ 4684989 w 8079933"/>
              <a:gd name="connsiteY12623" fmla="*/ 2168118 h 4687251"/>
              <a:gd name="connsiteX12624" fmla="*/ 4681842 w 8079933"/>
              <a:gd name="connsiteY12624" fmla="*/ 2163679 h 4687251"/>
              <a:gd name="connsiteX12625" fmla="*/ 4681842 w 8079933"/>
              <a:gd name="connsiteY12625" fmla="*/ 2158266 h 4687251"/>
              <a:gd name="connsiteX12626" fmla="*/ 4684664 w 8079933"/>
              <a:gd name="connsiteY12626" fmla="*/ 2157616 h 4687251"/>
              <a:gd name="connsiteX12627" fmla="*/ 4687593 w 8079933"/>
              <a:gd name="connsiteY12627" fmla="*/ 2154151 h 4687251"/>
              <a:gd name="connsiteX12628" fmla="*/ 4692259 w 8079933"/>
              <a:gd name="connsiteY12628" fmla="*/ 2156100 h 4687251"/>
              <a:gd name="connsiteX12629" fmla="*/ 4695515 w 8079933"/>
              <a:gd name="connsiteY12629" fmla="*/ 2155017 h 4687251"/>
              <a:gd name="connsiteX12630" fmla="*/ 4696926 w 8079933"/>
              <a:gd name="connsiteY12630" fmla="*/ 2151986 h 4687251"/>
              <a:gd name="connsiteX12631" fmla="*/ 4697034 w 8079933"/>
              <a:gd name="connsiteY12631" fmla="*/ 2148846 h 4687251"/>
              <a:gd name="connsiteX12632" fmla="*/ 4701700 w 8079933"/>
              <a:gd name="connsiteY12632" fmla="*/ 2148846 h 4687251"/>
              <a:gd name="connsiteX12633" fmla="*/ 4706475 w 8079933"/>
              <a:gd name="connsiteY12633" fmla="*/ 2151228 h 4687251"/>
              <a:gd name="connsiteX12634" fmla="*/ 4712769 w 8079933"/>
              <a:gd name="connsiteY12634" fmla="*/ 2150903 h 4687251"/>
              <a:gd name="connsiteX12635" fmla="*/ 4723403 w 8079933"/>
              <a:gd name="connsiteY12635" fmla="*/ 2146789 h 4687251"/>
              <a:gd name="connsiteX12636" fmla="*/ 4730783 w 8079933"/>
              <a:gd name="connsiteY12636" fmla="*/ 2142133 h 4687251"/>
              <a:gd name="connsiteX12637" fmla="*/ 4999457 w 8079933"/>
              <a:gd name="connsiteY12637" fmla="*/ 2141689 h 4687251"/>
              <a:gd name="connsiteX12638" fmla="*/ 4999686 w 8079933"/>
              <a:gd name="connsiteY12638" fmla="*/ 2144299 h 4687251"/>
              <a:gd name="connsiteX12639" fmla="*/ 5001531 w 8079933"/>
              <a:gd name="connsiteY12639" fmla="*/ 2145490 h 4687251"/>
              <a:gd name="connsiteX12640" fmla="*/ 5001531 w 8079933"/>
              <a:gd name="connsiteY12640" fmla="*/ 2145490 h 4687251"/>
              <a:gd name="connsiteX12641" fmla="*/ 4999687 w 8079933"/>
              <a:gd name="connsiteY12641" fmla="*/ 2144299 h 4687251"/>
              <a:gd name="connsiteX12642" fmla="*/ 4561063 w 8079933"/>
              <a:gd name="connsiteY12642" fmla="*/ 2141592 h 4687251"/>
              <a:gd name="connsiteX12643" fmla="*/ 4561714 w 8079933"/>
              <a:gd name="connsiteY12643" fmla="*/ 2144407 h 4687251"/>
              <a:gd name="connsiteX12644" fmla="*/ 4563993 w 8079933"/>
              <a:gd name="connsiteY12644" fmla="*/ 2147439 h 4687251"/>
              <a:gd name="connsiteX12645" fmla="*/ 4562257 w 8079933"/>
              <a:gd name="connsiteY12645" fmla="*/ 2151877 h 4687251"/>
              <a:gd name="connsiteX12646" fmla="*/ 4560737 w 8079933"/>
              <a:gd name="connsiteY12646" fmla="*/ 2152527 h 4687251"/>
              <a:gd name="connsiteX12647" fmla="*/ 4559977 w 8079933"/>
              <a:gd name="connsiteY12647" fmla="*/ 2147763 h 4687251"/>
              <a:gd name="connsiteX12648" fmla="*/ 4558567 w 8079933"/>
              <a:gd name="connsiteY12648" fmla="*/ 2144840 h 4687251"/>
              <a:gd name="connsiteX12649" fmla="*/ 6956459 w 8079933"/>
              <a:gd name="connsiteY12649" fmla="*/ 2140401 h 4687251"/>
              <a:gd name="connsiteX12650" fmla="*/ 6958087 w 8079933"/>
              <a:gd name="connsiteY12650" fmla="*/ 2140617 h 4687251"/>
              <a:gd name="connsiteX12651" fmla="*/ 6957327 w 8079933"/>
              <a:gd name="connsiteY12651" fmla="*/ 2141701 h 4687251"/>
              <a:gd name="connsiteX12652" fmla="*/ 4264271 w 8079933"/>
              <a:gd name="connsiteY12652" fmla="*/ 2138669 h 4687251"/>
              <a:gd name="connsiteX12653" fmla="*/ 4271433 w 8079933"/>
              <a:gd name="connsiteY12653" fmla="*/ 2139752 h 4687251"/>
              <a:gd name="connsiteX12654" fmla="*/ 4271541 w 8079933"/>
              <a:gd name="connsiteY12654" fmla="*/ 2143432 h 4687251"/>
              <a:gd name="connsiteX12655" fmla="*/ 4268937 w 8079933"/>
              <a:gd name="connsiteY12655" fmla="*/ 2146140 h 4687251"/>
              <a:gd name="connsiteX12656" fmla="*/ 4264054 w 8079933"/>
              <a:gd name="connsiteY12656" fmla="*/ 2142134 h 4687251"/>
              <a:gd name="connsiteX12657" fmla="*/ 5000415 w 8079933"/>
              <a:gd name="connsiteY12657" fmla="*/ 2137835 h 4687251"/>
              <a:gd name="connsiteX12658" fmla="*/ 4999144 w 8079933"/>
              <a:gd name="connsiteY12658" fmla="*/ 2138127 h 4687251"/>
              <a:gd name="connsiteX12659" fmla="*/ 4999144 w 8079933"/>
              <a:gd name="connsiteY12659" fmla="*/ 2138128 h 4687251"/>
              <a:gd name="connsiteX12660" fmla="*/ 4562365 w 8079933"/>
              <a:gd name="connsiteY12660" fmla="*/ 2137261 h 4687251"/>
              <a:gd name="connsiteX12661" fmla="*/ 4562365 w 8079933"/>
              <a:gd name="connsiteY12661" fmla="*/ 2139534 h 4687251"/>
              <a:gd name="connsiteX12662" fmla="*/ 4561823 w 8079933"/>
              <a:gd name="connsiteY12662" fmla="*/ 2140401 h 4687251"/>
              <a:gd name="connsiteX12663" fmla="*/ 4561063 w 8079933"/>
              <a:gd name="connsiteY12663" fmla="*/ 2139318 h 4687251"/>
              <a:gd name="connsiteX12664" fmla="*/ 6958956 w 8079933"/>
              <a:gd name="connsiteY12664" fmla="*/ 2136287 h 4687251"/>
              <a:gd name="connsiteX12665" fmla="*/ 6961885 w 8079933"/>
              <a:gd name="connsiteY12665" fmla="*/ 2138236 h 4687251"/>
              <a:gd name="connsiteX12666" fmla="*/ 6960258 w 8079933"/>
              <a:gd name="connsiteY12666" fmla="*/ 2139211 h 4687251"/>
              <a:gd name="connsiteX12667" fmla="*/ 6957761 w 8079933"/>
              <a:gd name="connsiteY12667" fmla="*/ 2137261 h 4687251"/>
              <a:gd name="connsiteX12668" fmla="*/ 6957545 w 8079933"/>
              <a:gd name="connsiteY12668" fmla="*/ 2136395 h 4687251"/>
              <a:gd name="connsiteX12669" fmla="*/ 5007002 w 8079933"/>
              <a:gd name="connsiteY12669" fmla="*/ 2135677 h 4687251"/>
              <a:gd name="connsiteX12670" fmla="*/ 5006632 w 8079933"/>
              <a:gd name="connsiteY12670" fmla="*/ 2135962 h 4687251"/>
              <a:gd name="connsiteX12671" fmla="*/ 5003183 w 8079933"/>
              <a:gd name="connsiteY12671" fmla="*/ 2137082 h 4687251"/>
              <a:gd name="connsiteX12672" fmla="*/ 5006631 w 8079933"/>
              <a:gd name="connsiteY12672" fmla="*/ 2135962 h 4687251"/>
              <a:gd name="connsiteX12673" fmla="*/ 5003810 w 8079933"/>
              <a:gd name="connsiteY12673" fmla="*/ 2132497 h 4687251"/>
              <a:gd name="connsiteX12674" fmla="*/ 5005980 w 8079933"/>
              <a:gd name="connsiteY12674" fmla="*/ 2133580 h 4687251"/>
              <a:gd name="connsiteX12675" fmla="*/ 5006966 w 8079933"/>
              <a:gd name="connsiteY12675" fmla="*/ 2134201 h 4687251"/>
              <a:gd name="connsiteX12676" fmla="*/ 5005980 w 8079933"/>
              <a:gd name="connsiteY12676" fmla="*/ 2133580 h 4687251"/>
              <a:gd name="connsiteX12677" fmla="*/ 5373527 w 8079933"/>
              <a:gd name="connsiteY12677" fmla="*/ 2127625 h 4687251"/>
              <a:gd name="connsiteX12678" fmla="*/ 5378845 w 8079933"/>
              <a:gd name="connsiteY12678" fmla="*/ 2131523 h 4687251"/>
              <a:gd name="connsiteX12679" fmla="*/ 5380255 w 8079933"/>
              <a:gd name="connsiteY12679" fmla="*/ 2134988 h 4687251"/>
              <a:gd name="connsiteX12680" fmla="*/ 5382317 w 8079933"/>
              <a:gd name="connsiteY12680" fmla="*/ 2136936 h 4687251"/>
              <a:gd name="connsiteX12681" fmla="*/ 5380256 w 8079933"/>
              <a:gd name="connsiteY12681" fmla="*/ 2134988 h 4687251"/>
              <a:gd name="connsiteX12682" fmla="*/ 5378845 w 8079933"/>
              <a:gd name="connsiteY12682" fmla="*/ 2131523 h 4687251"/>
              <a:gd name="connsiteX12683" fmla="*/ 5373528 w 8079933"/>
              <a:gd name="connsiteY12683" fmla="*/ 2127625 h 4687251"/>
              <a:gd name="connsiteX12684" fmla="*/ 6895148 w 8079933"/>
              <a:gd name="connsiteY12684" fmla="*/ 2127084 h 4687251"/>
              <a:gd name="connsiteX12685" fmla="*/ 6899814 w 8079933"/>
              <a:gd name="connsiteY12685" fmla="*/ 2127842 h 4687251"/>
              <a:gd name="connsiteX12686" fmla="*/ 6900140 w 8079933"/>
              <a:gd name="connsiteY12686" fmla="*/ 2130982 h 4687251"/>
              <a:gd name="connsiteX12687" fmla="*/ 6896993 w 8079933"/>
              <a:gd name="connsiteY12687" fmla="*/ 2136504 h 4687251"/>
              <a:gd name="connsiteX12688" fmla="*/ 6888637 w 8079933"/>
              <a:gd name="connsiteY12688" fmla="*/ 2138019 h 4687251"/>
              <a:gd name="connsiteX12689" fmla="*/ 6883971 w 8079933"/>
              <a:gd name="connsiteY12689" fmla="*/ 2137153 h 4687251"/>
              <a:gd name="connsiteX12690" fmla="*/ 6882235 w 8079933"/>
              <a:gd name="connsiteY12690" fmla="*/ 2133580 h 4687251"/>
              <a:gd name="connsiteX12691" fmla="*/ 6884948 w 8079933"/>
              <a:gd name="connsiteY12691" fmla="*/ 2130115 h 4687251"/>
              <a:gd name="connsiteX12692" fmla="*/ 4983348 w 8079933"/>
              <a:gd name="connsiteY12692" fmla="*/ 2126548 h 4687251"/>
              <a:gd name="connsiteX12693" fmla="*/ 4985905 w 8079933"/>
              <a:gd name="connsiteY12693" fmla="*/ 2126868 h 4687251"/>
              <a:gd name="connsiteX12694" fmla="*/ 4994043 w 8079933"/>
              <a:gd name="connsiteY12694" fmla="*/ 2131523 h 4687251"/>
              <a:gd name="connsiteX12695" fmla="*/ 4996906 w 8079933"/>
              <a:gd name="connsiteY12695" fmla="*/ 2132237 h 4687251"/>
              <a:gd name="connsiteX12696" fmla="*/ 4994044 w 8079933"/>
              <a:gd name="connsiteY12696" fmla="*/ 2131523 h 4687251"/>
              <a:gd name="connsiteX12697" fmla="*/ 4985905 w 8079933"/>
              <a:gd name="connsiteY12697" fmla="*/ 2126867 h 4687251"/>
              <a:gd name="connsiteX12698" fmla="*/ 4463289 w 8079933"/>
              <a:gd name="connsiteY12698" fmla="*/ 2124485 h 4687251"/>
              <a:gd name="connsiteX12699" fmla="*/ 4464157 w 8079933"/>
              <a:gd name="connsiteY12699" fmla="*/ 2127624 h 4687251"/>
              <a:gd name="connsiteX12700" fmla="*/ 4466544 w 8079933"/>
              <a:gd name="connsiteY12700" fmla="*/ 2130873 h 4687251"/>
              <a:gd name="connsiteX12701" fmla="*/ 4464808 w 8079933"/>
              <a:gd name="connsiteY12701" fmla="*/ 2134338 h 4687251"/>
              <a:gd name="connsiteX12702" fmla="*/ 4462529 w 8079933"/>
              <a:gd name="connsiteY12702" fmla="*/ 2133146 h 4687251"/>
              <a:gd name="connsiteX12703" fmla="*/ 4462637 w 8079933"/>
              <a:gd name="connsiteY12703" fmla="*/ 2130656 h 4687251"/>
              <a:gd name="connsiteX12704" fmla="*/ 4461227 w 8079933"/>
              <a:gd name="connsiteY12704" fmla="*/ 2128383 h 4687251"/>
              <a:gd name="connsiteX12705" fmla="*/ 4462529 w 8079933"/>
              <a:gd name="connsiteY12705" fmla="*/ 2125459 h 4687251"/>
              <a:gd name="connsiteX12706" fmla="*/ 4586238 w 8079933"/>
              <a:gd name="connsiteY12706" fmla="*/ 2122861 h 4687251"/>
              <a:gd name="connsiteX12707" fmla="*/ 4586021 w 8079933"/>
              <a:gd name="connsiteY12707" fmla="*/ 2125351 h 4687251"/>
              <a:gd name="connsiteX12708" fmla="*/ 4584285 w 8079933"/>
              <a:gd name="connsiteY12708" fmla="*/ 2126650 h 4687251"/>
              <a:gd name="connsiteX12709" fmla="*/ 4583417 w 8079933"/>
              <a:gd name="connsiteY12709" fmla="*/ 2129140 h 4687251"/>
              <a:gd name="connsiteX12710" fmla="*/ 4582114 w 8079933"/>
              <a:gd name="connsiteY12710" fmla="*/ 2131306 h 4687251"/>
              <a:gd name="connsiteX12711" fmla="*/ 4582223 w 8079933"/>
              <a:gd name="connsiteY12711" fmla="*/ 2132822 h 4687251"/>
              <a:gd name="connsiteX12712" fmla="*/ 4580053 w 8079933"/>
              <a:gd name="connsiteY12712" fmla="*/ 2132930 h 4687251"/>
              <a:gd name="connsiteX12713" fmla="*/ 4577449 w 8079933"/>
              <a:gd name="connsiteY12713" fmla="*/ 2135420 h 4687251"/>
              <a:gd name="connsiteX12714" fmla="*/ 4575278 w 8079933"/>
              <a:gd name="connsiteY12714" fmla="*/ 2138018 h 4687251"/>
              <a:gd name="connsiteX12715" fmla="*/ 4573325 w 8079933"/>
              <a:gd name="connsiteY12715" fmla="*/ 2138343 h 4687251"/>
              <a:gd name="connsiteX12716" fmla="*/ 4571806 w 8079933"/>
              <a:gd name="connsiteY12716" fmla="*/ 2136828 h 4687251"/>
              <a:gd name="connsiteX12717" fmla="*/ 4573000 w 8079933"/>
              <a:gd name="connsiteY12717" fmla="*/ 2134229 h 4687251"/>
              <a:gd name="connsiteX12718" fmla="*/ 4572240 w 8079933"/>
              <a:gd name="connsiteY12718" fmla="*/ 2133255 h 4687251"/>
              <a:gd name="connsiteX12719" fmla="*/ 4572565 w 8079933"/>
              <a:gd name="connsiteY12719" fmla="*/ 2130765 h 4687251"/>
              <a:gd name="connsiteX12720" fmla="*/ 4577774 w 8079933"/>
              <a:gd name="connsiteY12720" fmla="*/ 2126434 h 4687251"/>
              <a:gd name="connsiteX12721" fmla="*/ 4583200 w 8079933"/>
              <a:gd name="connsiteY12721" fmla="*/ 2124160 h 4687251"/>
              <a:gd name="connsiteX12722" fmla="*/ 4977216 w 8079933"/>
              <a:gd name="connsiteY12722" fmla="*/ 2121864 h 4687251"/>
              <a:gd name="connsiteX12723" fmla="*/ 4978091 w 8079933"/>
              <a:gd name="connsiteY12723" fmla="*/ 2123944 h 4687251"/>
              <a:gd name="connsiteX12724" fmla="*/ 4982432 w 8079933"/>
              <a:gd name="connsiteY12724" fmla="*/ 2126434 h 4687251"/>
              <a:gd name="connsiteX12725" fmla="*/ 4978092 w 8079933"/>
              <a:gd name="connsiteY12725" fmla="*/ 2123944 h 4687251"/>
              <a:gd name="connsiteX12726" fmla="*/ 4462204 w 8079933"/>
              <a:gd name="connsiteY12726" fmla="*/ 2121021 h 4687251"/>
              <a:gd name="connsiteX12727" fmla="*/ 4463506 w 8079933"/>
              <a:gd name="connsiteY12727" fmla="*/ 2123078 h 4687251"/>
              <a:gd name="connsiteX12728" fmla="*/ 4461770 w 8079933"/>
              <a:gd name="connsiteY12728" fmla="*/ 2122970 h 4687251"/>
              <a:gd name="connsiteX12729" fmla="*/ 5397618 w 8079933"/>
              <a:gd name="connsiteY12729" fmla="*/ 2120155 h 4687251"/>
              <a:gd name="connsiteX12730" fmla="*/ 5398812 w 8079933"/>
              <a:gd name="connsiteY12730" fmla="*/ 2123511 h 4687251"/>
              <a:gd name="connsiteX12731" fmla="*/ 5398812 w 8079933"/>
              <a:gd name="connsiteY12731" fmla="*/ 2123511 h 4687251"/>
              <a:gd name="connsiteX12732" fmla="*/ 4572349 w 8079933"/>
              <a:gd name="connsiteY12732" fmla="*/ 2118422 h 4687251"/>
              <a:gd name="connsiteX12733" fmla="*/ 4574302 w 8079933"/>
              <a:gd name="connsiteY12733" fmla="*/ 2118530 h 4687251"/>
              <a:gd name="connsiteX12734" fmla="*/ 4574844 w 8079933"/>
              <a:gd name="connsiteY12734" fmla="*/ 2120263 h 4687251"/>
              <a:gd name="connsiteX12735" fmla="*/ 4572783 w 8079933"/>
              <a:gd name="connsiteY12735" fmla="*/ 2120804 h 4687251"/>
              <a:gd name="connsiteX12736" fmla="*/ 4570721 w 8079933"/>
              <a:gd name="connsiteY12736" fmla="*/ 2120154 h 4687251"/>
              <a:gd name="connsiteX12737" fmla="*/ 4495301 w 8079933"/>
              <a:gd name="connsiteY12737" fmla="*/ 2117880 h 4687251"/>
              <a:gd name="connsiteX12738" fmla="*/ 4498340 w 8079933"/>
              <a:gd name="connsiteY12738" fmla="*/ 2117988 h 4687251"/>
              <a:gd name="connsiteX12739" fmla="*/ 4497689 w 8079933"/>
              <a:gd name="connsiteY12739" fmla="*/ 2120478 h 4687251"/>
              <a:gd name="connsiteX12740" fmla="*/ 4495085 w 8079933"/>
              <a:gd name="connsiteY12740" fmla="*/ 2121453 h 4687251"/>
              <a:gd name="connsiteX12741" fmla="*/ 4493023 w 8079933"/>
              <a:gd name="connsiteY12741" fmla="*/ 2121128 h 4687251"/>
              <a:gd name="connsiteX12742" fmla="*/ 4544134 w 8079933"/>
              <a:gd name="connsiteY12742" fmla="*/ 2117664 h 4687251"/>
              <a:gd name="connsiteX12743" fmla="*/ 4546087 w 8079933"/>
              <a:gd name="connsiteY12743" fmla="*/ 2118530 h 4687251"/>
              <a:gd name="connsiteX12744" fmla="*/ 4544243 w 8079933"/>
              <a:gd name="connsiteY12744" fmla="*/ 2121346 h 4687251"/>
              <a:gd name="connsiteX12745" fmla="*/ 4541205 w 8079933"/>
              <a:gd name="connsiteY12745" fmla="*/ 2122754 h 4687251"/>
              <a:gd name="connsiteX12746" fmla="*/ 4539360 w 8079933"/>
              <a:gd name="connsiteY12746" fmla="*/ 2120804 h 4687251"/>
              <a:gd name="connsiteX12747" fmla="*/ 4540445 w 8079933"/>
              <a:gd name="connsiteY12747" fmla="*/ 2119071 h 4687251"/>
              <a:gd name="connsiteX12748" fmla="*/ 4971312 w 8079933"/>
              <a:gd name="connsiteY12748" fmla="*/ 2114013 h 4687251"/>
              <a:gd name="connsiteX12749" fmla="*/ 4973425 w 8079933"/>
              <a:gd name="connsiteY12749" fmla="*/ 2114525 h 4687251"/>
              <a:gd name="connsiteX12750" fmla="*/ 4974619 w 8079933"/>
              <a:gd name="connsiteY12750" fmla="*/ 2116527 h 4687251"/>
              <a:gd name="connsiteX12751" fmla="*/ 4973426 w 8079933"/>
              <a:gd name="connsiteY12751" fmla="*/ 2114524 h 4687251"/>
              <a:gd name="connsiteX12752" fmla="*/ 5728159 w 8079933"/>
              <a:gd name="connsiteY12752" fmla="*/ 2113116 h 4687251"/>
              <a:gd name="connsiteX12753" fmla="*/ 5718718 w 8079933"/>
              <a:gd name="connsiteY12753" fmla="*/ 2113332 h 4687251"/>
              <a:gd name="connsiteX12754" fmla="*/ 5718488 w 8079933"/>
              <a:gd name="connsiteY12754" fmla="*/ 2113304 h 4687251"/>
              <a:gd name="connsiteX12755" fmla="*/ 5718720 w 8079933"/>
              <a:gd name="connsiteY12755" fmla="*/ 2113333 h 4687251"/>
              <a:gd name="connsiteX12756" fmla="*/ 5728160 w 8079933"/>
              <a:gd name="connsiteY12756" fmla="*/ 2113116 h 4687251"/>
              <a:gd name="connsiteX12757" fmla="*/ 5625070 w 8079933"/>
              <a:gd name="connsiteY12757" fmla="*/ 2110192 h 4687251"/>
              <a:gd name="connsiteX12758" fmla="*/ 5625069 w 8079933"/>
              <a:gd name="connsiteY12758" fmla="*/ 2110193 h 4687251"/>
              <a:gd name="connsiteX12759" fmla="*/ 5629952 w 8079933"/>
              <a:gd name="connsiteY12759" fmla="*/ 2116255 h 4687251"/>
              <a:gd name="connsiteX12760" fmla="*/ 5636463 w 8079933"/>
              <a:gd name="connsiteY12760" fmla="*/ 2121777 h 4687251"/>
              <a:gd name="connsiteX12761" fmla="*/ 5641145 w 8079933"/>
              <a:gd name="connsiteY12761" fmla="*/ 2124549 h 4687251"/>
              <a:gd name="connsiteX12762" fmla="*/ 5636464 w 8079933"/>
              <a:gd name="connsiteY12762" fmla="*/ 2121777 h 4687251"/>
              <a:gd name="connsiteX12763" fmla="*/ 5629953 w 8079933"/>
              <a:gd name="connsiteY12763" fmla="*/ 2116256 h 4687251"/>
              <a:gd name="connsiteX12764" fmla="*/ 5613350 w 8079933"/>
              <a:gd name="connsiteY12764" fmla="*/ 2110084 h 4687251"/>
              <a:gd name="connsiteX12765" fmla="*/ 5616821 w 8079933"/>
              <a:gd name="connsiteY12765" fmla="*/ 2113332 h 4687251"/>
              <a:gd name="connsiteX12766" fmla="*/ 5616822 w 8079933"/>
              <a:gd name="connsiteY12766" fmla="*/ 2113332 h 4687251"/>
              <a:gd name="connsiteX12767" fmla="*/ 4967565 w 8079933"/>
              <a:gd name="connsiteY12767" fmla="*/ 2109002 h 4687251"/>
              <a:gd name="connsiteX12768" fmla="*/ 4967565 w 8079933"/>
              <a:gd name="connsiteY12768" fmla="*/ 2109003 h 4687251"/>
              <a:gd name="connsiteX12769" fmla="*/ 4968705 w 8079933"/>
              <a:gd name="connsiteY12769" fmla="*/ 2111330 h 4687251"/>
              <a:gd name="connsiteX12770" fmla="*/ 5581337 w 8079933"/>
              <a:gd name="connsiteY12770" fmla="*/ 2106729 h 4687251"/>
              <a:gd name="connsiteX12771" fmla="*/ 5581337 w 8079933"/>
              <a:gd name="connsiteY12771" fmla="*/ 2106729 h 4687251"/>
              <a:gd name="connsiteX12772" fmla="*/ 5591646 w 8079933"/>
              <a:gd name="connsiteY12772" fmla="*/ 2121886 h 4687251"/>
              <a:gd name="connsiteX12773" fmla="*/ 5592297 w 8079933"/>
              <a:gd name="connsiteY12773" fmla="*/ 2132172 h 4687251"/>
              <a:gd name="connsiteX12774" fmla="*/ 5592297 w 8079933"/>
              <a:gd name="connsiteY12774" fmla="*/ 2132171 h 4687251"/>
              <a:gd name="connsiteX12775" fmla="*/ 5591646 w 8079933"/>
              <a:gd name="connsiteY12775" fmla="*/ 2121886 h 4687251"/>
              <a:gd name="connsiteX12776" fmla="*/ 6949515 w 8079933"/>
              <a:gd name="connsiteY12776" fmla="*/ 2105863 h 4687251"/>
              <a:gd name="connsiteX12777" fmla="*/ 6953205 w 8079933"/>
              <a:gd name="connsiteY12777" fmla="*/ 2106079 h 4687251"/>
              <a:gd name="connsiteX12778" fmla="*/ 6951902 w 8079933"/>
              <a:gd name="connsiteY12778" fmla="*/ 2109220 h 4687251"/>
              <a:gd name="connsiteX12779" fmla="*/ 6949949 w 8079933"/>
              <a:gd name="connsiteY12779" fmla="*/ 2111169 h 4687251"/>
              <a:gd name="connsiteX12780" fmla="*/ 6947996 w 8079933"/>
              <a:gd name="connsiteY12780" fmla="*/ 2111494 h 4687251"/>
              <a:gd name="connsiteX12781" fmla="*/ 6947453 w 8079933"/>
              <a:gd name="connsiteY12781" fmla="*/ 2108787 h 4687251"/>
              <a:gd name="connsiteX12782" fmla="*/ 4512122 w 8079933"/>
              <a:gd name="connsiteY12782" fmla="*/ 2104996 h 4687251"/>
              <a:gd name="connsiteX12783" fmla="*/ 4514509 w 8079933"/>
              <a:gd name="connsiteY12783" fmla="*/ 2104996 h 4687251"/>
              <a:gd name="connsiteX12784" fmla="*/ 4515594 w 8079933"/>
              <a:gd name="connsiteY12784" fmla="*/ 2107486 h 4687251"/>
              <a:gd name="connsiteX12785" fmla="*/ 4513315 w 8079933"/>
              <a:gd name="connsiteY12785" fmla="*/ 2110627 h 4687251"/>
              <a:gd name="connsiteX12786" fmla="*/ 4511145 w 8079933"/>
              <a:gd name="connsiteY12786" fmla="*/ 2108786 h 4687251"/>
              <a:gd name="connsiteX12787" fmla="*/ 4497038 w 8079933"/>
              <a:gd name="connsiteY12787" fmla="*/ 2104888 h 4687251"/>
              <a:gd name="connsiteX12788" fmla="*/ 4497038 w 8079933"/>
              <a:gd name="connsiteY12788" fmla="*/ 2107920 h 4687251"/>
              <a:gd name="connsiteX12789" fmla="*/ 4494867 w 8079933"/>
              <a:gd name="connsiteY12789" fmla="*/ 2106404 h 4687251"/>
              <a:gd name="connsiteX12790" fmla="*/ 4520803 w 8079933"/>
              <a:gd name="connsiteY12790" fmla="*/ 2104130 h 4687251"/>
              <a:gd name="connsiteX12791" fmla="*/ 4522973 w 8079933"/>
              <a:gd name="connsiteY12791" fmla="*/ 2104563 h 4687251"/>
              <a:gd name="connsiteX12792" fmla="*/ 4523516 w 8079933"/>
              <a:gd name="connsiteY12792" fmla="*/ 2107054 h 4687251"/>
              <a:gd name="connsiteX12793" fmla="*/ 4521345 w 8079933"/>
              <a:gd name="connsiteY12793" fmla="*/ 2109761 h 4687251"/>
              <a:gd name="connsiteX12794" fmla="*/ 4519067 w 8079933"/>
              <a:gd name="connsiteY12794" fmla="*/ 2109652 h 4687251"/>
              <a:gd name="connsiteX12795" fmla="*/ 4517439 w 8079933"/>
              <a:gd name="connsiteY12795" fmla="*/ 2107054 h 4687251"/>
              <a:gd name="connsiteX12796" fmla="*/ 4908485 w 8079933"/>
              <a:gd name="connsiteY12796" fmla="*/ 2102064 h 4687251"/>
              <a:gd name="connsiteX12797" fmla="*/ 4907122 w 8079933"/>
              <a:gd name="connsiteY12797" fmla="*/ 2104346 h 4687251"/>
              <a:gd name="connsiteX12798" fmla="*/ 4904843 w 8079933"/>
              <a:gd name="connsiteY12798" fmla="*/ 2104346 h 4687251"/>
              <a:gd name="connsiteX12799" fmla="*/ 4899852 w 8079933"/>
              <a:gd name="connsiteY12799" fmla="*/ 2108677 h 4687251"/>
              <a:gd name="connsiteX12800" fmla="*/ 4890520 w 8079933"/>
              <a:gd name="connsiteY12800" fmla="*/ 2110626 h 4687251"/>
              <a:gd name="connsiteX12801" fmla="*/ 4890519 w 8079933"/>
              <a:gd name="connsiteY12801" fmla="*/ 2110627 h 4687251"/>
              <a:gd name="connsiteX12802" fmla="*/ 4899851 w 8079933"/>
              <a:gd name="connsiteY12802" fmla="*/ 2108678 h 4687251"/>
              <a:gd name="connsiteX12803" fmla="*/ 4904842 w 8079933"/>
              <a:gd name="connsiteY12803" fmla="*/ 2104347 h 4687251"/>
              <a:gd name="connsiteX12804" fmla="*/ 4907122 w 8079933"/>
              <a:gd name="connsiteY12804" fmla="*/ 2104347 h 4687251"/>
              <a:gd name="connsiteX12805" fmla="*/ 5335764 w 8079933"/>
              <a:gd name="connsiteY12805" fmla="*/ 2100732 h 4687251"/>
              <a:gd name="connsiteX12806" fmla="*/ 5338910 w 8079933"/>
              <a:gd name="connsiteY12806" fmla="*/ 2100990 h 4687251"/>
              <a:gd name="connsiteX12807" fmla="*/ 5344879 w 8079933"/>
              <a:gd name="connsiteY12807" fmla="*/ 2103481 h 4687251"/>
              <a:gd name="connsiteX12808" fmla="*/ 5348677 w 8079933"/>
              <a:gd name="connsiteY12808" fmla="*/ 2110194 h 4687251"/>
              <a:gd name="connsiteX12809" fmla="*/ 5347048 w 8079933"/>
              <a:gd name="connsiteY12809" fmla="*/ 2113875 h 4687251"/>
              <a:gd name="connsiteX12810" fmla="*/ 5349110 w 8079933"/>
              <a:gd name="connsiteY12810" fmla="*/ 2119722 h 4687251"/>
              <a:gd name="connsiteX12811" fmla="*/ 5348893 w 8079933"/>
              <a:gd name="connsiteY12811" fmla="*/ 2123294 h 4687251"/>
              <a:gd name="connsiteX12812" fmla="*/ 5350846 w 8079933"/>
              <a:gd name="connsiteY12812" fmla="*/ 2127084 h 4687251"/>
              <a:gd name="connsiteX12813" fmla="*/ 5351172 w 8079933"/>
              <a:gd name="connsiteY12813" fmla="*/ 2127625 h 4687251"/>
              <a:gd name="connsiteX12814" fmla="*/ 5350738 w 8079933"/>
              <a:gd name="connsiteY12814" fmla="*/ 2134338 h 4687251"/>
              <a:gd name="connsiteX12815" fmla="*/ 5351281 w 8079933"/>
              <a:gd name="connsiteY12815" fmla="*/ 2137586 h 4687251"/>
              <a:gd name="connsiteX12816" fmla="*/ 5349545 w 8079933"/>
              <a:gd name="connsiteY12816" fmla="*/ 2141159 h 4687251"/>
              <a:gd name="connsiteX12817" fmla="*/ 5352273 w 8079933"/>
              <a:gd name="connsiteY12817" fmla="*/ 2144725 h 4687251"/>
              <a:gd name="connsiteX12818" fmla="*/ 5349546 w 8079933"/>
              <a:gd name="connsiteY12818" fmla="*/ 2141158 h 4687251"/>
              <a:gd name="connsiteX12819" fmla="*/ 5351282 w 8079933"/>
              <a:gd name="connsiteY12819" fmla="*/ 2137586 h 4687251"/>
              <a:gd name="connsiteX12820" fmla="*/ 5350739 w 8079933"/>
              <a:gd name="connsiteY12820" fmla="*/ 2134338 h 4687251"/>
              <a:gd name="connsiteX12821" fmla="*/ 5351173 w 8079933"/>
              <a:gd name="connsiteY12821" fmla="*/ 2127625 h 4687251"/>
              <a:gd name="connsiteX12822" fmla="*/ 5350847 w 8079933"/>
              <a:gd name="connsiteY12822" fmla="*/ 2127084 h 4687251"/>
              <a:gd name="connsiteX12823" fmla="*/ 5348894 w 8079933"/>
              <a:gd name="connsiteY12823" fmla="*/ 2123294 h 4687251"/>
              <a:gd name="connsiteX12824" fmla="*/ 5349111 w 8079933"/>
              <a:gd name="connsiteY12824" fmla="*/ 2119722 h 4687251"/>
              <a:gd name="connsiteX12825" fmla="*/ 5347049 w 8079933"/>
              <a:gd name="connsiteY12825" fmla="*/ 2113875 h 4687251"/>
              <a:gd name="connsiteX12826" fmla="*/ 5348678 w 8079933"/>
              <a:gd name="connsiteY12826" fmla="*/ 2110194 h 4687251"/>
              <a:gd name="connsiteX12827" fmla="*/ 5344879 w 8079933"/>
              <a:gd name="connsiteY12827" fmla="*/ 2103481 h 4687251"/>
              <a:gd name="connsiteX12828" fmla="*/ 5338911 w 8079933"/>
              <a:gd name="connsiteY12828" fmla="*/ 2100990 h 4687251"/>
              <a:gd name="connsiteX12829" fmla="*/ 5164307 w 8079933"/>
              <a:gd name="connsiteY12829" fmla="*/ 2100233 h 4687251"/>
              <a:gd name="connsiteX12830" fmla="*/ 5152370 w 8079933"/>
              <a:gd name="connsiteY12830" fmla="*/ 2101749 h 4687251"/>
              <a:gd name="connsiteX12831" fmla="*/ 5151689 w 8079933"/>
              <a:gd name="connsiteY12831" fmla="*/ 2101939 h 4687251"/>
              <a:gd name="connsiteX12832" fmla="*/ 5162569 w 8079933"/>
              <a:gd name="connsiteY12832" fmla="*/ 2100557 h 4687251"/>
              <a:gd name="connsiteX12833" fmla="*/ 5176352 w 8079933"/>
              <a:gd name="connsiteY12833" fmla="*/ 2101749 h 4687251"/>
              <a:gd name="connsiteX12834" fmla="*/ 5181669 w 8079933"/>
              <a:gd name="connsiteY12834" fmla="*/ 2102831 h 4687251"/>
              <a:gd name="connsiteX12835" fmla="*/ 5181846 w 8079933"/>
              <a:gd name="connsiteY12835" fmla="*/ 2102189 h 4687251"/>
              <a:gd name="connsiteX12836" fmla="*/ 5178088 w 8079933"/>
              <a:gd name="connsiteY12836" fmla="*/ 2101424 h 4687251"/>
              <a:gd name="connsiteX12837" fmla="*/ 4961055 w 8079933"/>
              <a:gd name="connsiteY12837" fmla="*/ 2098392 h 4687251"/>
              <a:gd name="connsiteX12838" fmla="*/ 4960512 w 8079933"/>
              <a:gd name="connsiteY12838" fmla="*/ 2098500 h 4687251"/>
              <a:gd name="connsiteX12839" fmla="*/ 4960512 w 8079933"/>
              <a:gd name="connsiteY12839" fmla="*/ 2098500 h 4687251"/>
              <a:gd name="connsiteX12840" fmla="*/ 4960513 w 8079933"/>
              <a:gd name="connsiteY12840" fmla="*/ 2098500 h 4687251"/>
              <a:gd name="connsiteX12841" fmla="*/ 4961055 w 8079933"/>
              <a:gd name="connsiteY12841" fmla="*/ 2098392 h 4687251"/>
              <a:gd name="connsiteX12842" fmla="*/ 4955321 w 8079933"/>
              <a:gd name="connsiteY12842" fmla="*/ 2100087 h 4687251"/>
              <a:gd name="connsiteX12843" fmla="*/ 4955312 w 8079933"/>
              <a:gd name="connsiteY12843" fmla="*/ 2100090 h 4687251"/>
              <a:gd name="connsiteX12844" fmla="*/ 4961054 w 8079933"/>
              <a:gd name="connsiteY12844" fmla="*/ 2098392 h 4687251"/>
              <a:gd name="connsiteX12845" fmla="*/ 4965503 w 8079933"/>
              <a:gd name="connsiteY12845" fmla="*/ 2098717 h 4687251"/>
              <a:gd name="connsiteX12846" fmla="*/ 4967782 w 8079933"/>
              <a:gd name="connsiteY12846" fmla="*/ 2104672 h 4687251"/>
              <a:gd name="connsiteX12847" fmla="*/ 4967571 w 8079933"/>
              <a:gd name="connsiteY12847" fmla="*/ 2108883 h 4687251"/>
              <a:gd name="connsiteX12848" fmla="*/ 4967783 w 8079933"/>
              <a:gd name="connsiteY12848" fmla="*/ 2104672 h 4687251"/>
              <a:gd name="connsiteX12849" fmla="*/ 4965503 w 8079933"/>
              <a:gd name="connsiteY12849" fmla="*/ 2098717 h 4687251"/>
              <a:gd name="connsiteX12850" fmla="*/ 4961055 w 8079933"/>
              <a:gd name="connsiteY12850" fmla="*/ 2098392 h 4687251"/>
              <a:gd name="connsiteX12851" fmla="*/ 4493891 w 8079933"/>
              <a:gd name="connsiteY12851" fmla="*/ 2098175 h 4687251"/>
              <a:gd name="connsiteX12852" fmla="*/ 4496062 w 8079933"/>
              <a:gd name="connsiteY12852" fmla="*/ 2098717 h 4687251"/>
              <a:gd name="connsiteX12853" fmla="*/ 4496062 w 8079933"/>
              <a:gd name="connsiteY12853" fmla="*/ 2100882 h 4687251"/>
              <a:gd name="connsiteX12854" fmla="*/ 4494000 w 8079933"/>
              <a:gd name="connsiteY12854" fmla="*/ 2102073 h 4687251"/>
              <a:gd name="connsiteX12855" fmla="*/ 6879737 w 8079933"/>
              <a:gd name="connsiteY12855" fmla="*/ 2097959 h 4687251"/>
              <a:gd name="connsiteX12856" fmla="*/ 6880932 w 8079933"/>
              <a:gd name="connsiteY12856" fmla="*/ 2100449 h 4687251"/>
              <a:gd name="connsiteX12857" fmla="*/ 6881257 w 8079933"/>
              <a:gd name="connsiteY12857" fmla="*/ 2104563 h 4687251"/>
              <a:gd name="connsiteX12858" fmla="*/ 6879521 w 8079933"/>
              <a:gd name="connsiteY12858" fmla="*/ 2104563 h 4687251"/>
              <a:gd name="connsiteX12859" fmla="*/ 6877676 w 8079933"/>
              <a:gd name="connsiteY12859" fmla="*/ 2105755 h 4687251"/>
              <a:gd name="connsiteX12860" fmla="*/ 6875614 w 8079933"/>
              <a:gd name="connsiteY12860" fmla="*/ 2102398 h 4687251"/>
              <a:gd name="connsiteX12861" fmla="*/ 6876591 w 8079933"/>
              <a:gd name="connsiteY12861" fmla="*/ 2100774 h 4687251"/>
              <a:gd name="connsiteX12862" fmla="*/ 6878110 w 8079933"/>
              <a:gd name="connsiteY12862" fmla="*/ 2100774 h 4687251"/>
              <a:gd name="connsiteX12863" fmla="*/ 4517873 w 8079933"/>
              <a:gd name="connsiteY12863" fmla="*/ 2097309 h 4687251"/>
              <a:gd name="connsiteX12864" fmla="*/ 4519935 w 8079933"/>
              <a:gd name="connsiteY12864" fmla="*/ 2097850 h 4687251"/>
              <a:gd name="connsiteX12865" fmla="*/ 4517765 w 8079933"/>
              <a:gd name="connsiteY12865" fmla="*/ 2099150 h 4687251"/>
              <a:gd name="connsiteX12866" fmla="*/ 7061070 w 8079933"/>
              <a:gd name="connsiteY12866" fmla="*/ 2096985 h 4687251"/>
              <a:gd name="connsiteX12867" fmla="*/ 7067256 w 8079933"/>
              <a:gd name="connsiteY12867" fmla="*/ 2097310 h 4687251"/>
              <a:gd name="connsiteX12868" fmla="*/ 7070729 w 8079933"/>
              <a:gd name="connsiteY12868" fmla="*/ 2099909 h 4687251"/>
              <a:gd name="connsiteX12869" fmla="*/ 7074309 w 8079933"/>
              <a:gd name="connsiteY12869" fmla="*/ 2100017 h 4687251"/>
              <a:gd name="connsiteX12870" fmla="*/ 7079518 w 8079933"/>
              <a:gd name="connsiteY12870" fmla="*/ 2104131 h 4687251"/>
              <a:gd name="connsiteX12871" fmla="*/ 7080494 w 8079933"/>
              <a:gd name="connsiteY12871" fmla="*/ 2107487 h 4687251"/>
              <a:gd name="connsiteX12872" fmla="*/ 7082231 w 8079933"/>
              <a:gd name="connsiteY12872" fmla="*/ 2109111 h 4687251"/>
              <a:gd name="connsiteX12873" fmla="*/ 7081688 w 8079933"/>
              <a:gd name="connsiteY12873" fmla="*/ 2112251 h 4687251"/>
              <a:gd name="connsiteX12874" fmla="*/ 7076371 w 8079933"/>
              <a:gd name="connsiteY12874" fmla="*/ 2117232 h 4687251"/>
              <a:gd name="connsiteX12875" fmla="*/ 7074201 w 8079933"/>
              <a:gd name="connsiteY12875" fmla="*/ 2125677 h 4687251"/>
              <a:gd name="connsiteX12876" fmla="*/ 7071270 w 8079933"/>
              <a:gd name="connsiteY12876" fmla="*/ 2127084 h 4687251"/>
              <a:gd name="connsiteX12877" fmla="*/ 7069317 w 8079933"/>
              <a:gd name="connsiteY12877" fmla="*/ 2123728 h 4687251"/>
              <a:gd name="connsiteX12878" fmla="*/ 7062589 w 8079933"/>
              <a:gd name="connsiteY12878" fmla="*/ 2119505 h 4687251"/>
              <a:gd name="connsiteX12879" fmla="*/ 7057272 w 8079933"/>
              <a:gd name="connsiteY12879" fmla="*/ 2118747 h 4687251"/>
              <a:gd name="connsiteX12880" fmla="*/ 7055753 w 8079933"/>
              <a:gd name="connsiteY12880" fmla="*/ 2121346 h 4687251"/>
              <a:gd name="connsiteX12881" fmla="*/ 7050001 w 8079933"/>
              <a:gd name="connsiteY12881" fmla="*/ 2124811 h 4687251"/>
              <a:gd name="connsiteX12882" fmla="*/ 7047939 w 8079933"/>
              <a:gd name="connsiteY12882" fmla="*/ 2131631 h 4687251"/>
              <a:gd name="connsiteX12883" fmla="*/ 7045877 w 8079933"/>
              <a:gd name="connsiteY12883" fmla="*/ 2135854 h 4687251"/>
              <a:gd name="connsiteX12884" fmla="*/ 7050219 w 8079933"/>
              <a:gd name="connsiteY12884" fmla="*/ 2140401 h 4687251"/>
              <a:gd name="connsiteX12885" fmla="*/ 7050543 w 8079933"/>
              <a:gd name="connsiteY12885" fmla="*/ 2143325 h 4687251"/>
              <a:gd name="connsiteX12886" fmla="*/ 7048265 w 8079933"/>
              <a:gd name="connsiteY12886" fmla="*/ 2144082 h 4687251"/>
              <a:gd name="connsiteX12887" fmla="*/ 7045335 w 8079933"/>
              <a:gd name="connsiteY12887" fmla="*/ 2143000 h 4687251"/>
              <a:gd name="connsiteX12888" fmla="*/ 7043815 w 8079933"/>
              <a:gd name="connsiteY12888" fmla="*/ 2144733 h 4687251"/>
              <a:gd name="connsiteX12889" fmla="*/ 7041862 w 8079933"/>
              <a:gd name="connsiteY12889" fmla="*/ 2143866 h 4687251"/>
              <a:gd name="connsiteX12890" fmla="*/ 7042297 w 8079933"/>
              <a:gd name="connsiteY12890" fmla="*/ 2140943 h 4687251"/>
              <a:gd name="connsiteX12891" fmla="*/ 7036436 w 8079933"/>
              <a:gd name="connsiteY12891" fmla="*/ 2140293 h 4687251"/>
              <a:gd name="connsiteX12892" fmla="*/ 7032639 w 8079933"/>
              <a:gd name="connsiteY12892" fmla="*/ 2134554 h 4687251"/>
              <a:gd name="connsiteX12893" fmla="*/ 7032639 w 8079933"/>
              <a:gd name="connsiteY12893" fmla="*/ 2132173 h 4687251"/>
              <a:gd name="connsiteX12894" fmla="*/ 7034049 w 8079933"/>
              <a:gd name="connsiteY12894" fmla="*/ 2130874 h 4687251"/>
              <a:gd name="connsiteX12895" fmla="*/ 7032747 w 8079933"/>
              <a:gd name="connsiteY12895" fmla="*/ 2126218 h 4687251"/>
              <a:gd name="connsiteX12896" fmla="*/ 7026127 w 8079933"/>
              <a:gd name="connsiteY12896" fmla="*/ 2124486 h 4687251"/>
              <a:gd name="connsiteX12897" fmla="*/ 7027104 w 8079933"/>
              <a:gd name="connsiteY12897" fmla="*/ 2119613 h 4687251"/>
              <a:gd name="connsiteX12898" fmla="*/ 7031227 w 8079933"/>
              <a:gd name="connsiteY12898" fmla="*/ 2116690 h 4687251"/>
              <a:gd name="connsiteX12899" fmla="*/ 7031445 w 8079933"/>
              <a:gd name="connsiteY12899" fmla="*/ 2112468 h 4687251"/>
              <a:gd name="connsiteX12900" fmla="*/ 7037738 w 8079933"/>
              <a:gd name="connsiteY12900" fmla="*/ 2105213 h 4687251"/>
              <a:gd name="connsiteX12901" fmla="*/ 7040018 w 8079933"/>
              <a:gd name="connsiteY12901" fmla="*/ 2104997 h 4687251"/>
              <a:gd name="connsiteX12902" fmla="*/ 7042839 w 8079933"/>
              <a:gd name="connsiteY12902" fmla="*/ 2111385 h 4687251"/>
              <a:gd name="connsiteX12903" fmla="*/ 7045010 w 8079933"/>
              <a:gd name="connsiteY12903" fmla="*/ 2112035 h 4687251"/>
              <a:gd name="connsiteX12904" fmla="*/ 7048590 w 8079933"/>
              <a:gd name="connsiteY12904" fmla="*/ 2109544 h 4687251"/>
              <a:gd name="connsiteX12905" fmla="*/ 7052931 w 8079933"/>
              <a:gd name="connsiteY12905" fmla="*/ 2108137 h 4687251"/>
              <a:gd name="connsiteX12906" fmla="*/ 7055210 w 8079933"/>
              <a:gd name="connsiteY12906" fmla="*/ 2104672 h 4687251"/>
              <a:gd name="connsiteX12907" fmla="*/ 7055210 w 8079933"/>
              <a:gd name="connsiteY12907" fmla="*/ 2101749 h 4687251"/>
              <a:gd name="connsiteX12908" fmla="*/ 5618981 w 8079933"/>
              <a:gd name="connsiteY12908" fmla="*/ 2096140 h 4687251"/>
              <a:gd name="connsiteX12909" fmla="*/ 5612373 w 8079933"/>
              <a:gd name="connsiteY12909" fmla="*/ 2100556 h 4687251"/>
              <a:gd name="connsiteX12910" fmla="*/ 5612373 w 8079933"/>
              <a:gd name="connsiteY12910" fmla="*/ 2100557 h 4687251"/>
              <a:gd name="connsiteX12911" fmla="*/ 4951396 w 8079933"/>
              <a:gd name="connsiteY12911" fmla="*/ 2093520 h 4687251"/>
              <a:gd name="connsiteX12912" fmla="*/ 4951180 w 8079933"/>
              <a:gd name="connsiteY12912" fmla="*/ 2098175 h 4687251"/>
              <a:gd name="connsiteX12913" fmla="*/ 4951180 w 8079933"/>
              <a:gd name="connsiteY12913" fmla="*/ 2098175 h 4687251"/>
              <a:gd name="connsiteX12914" fmla="*/ 4951397 w 8079933"/>
              <a:gd name="connsiteY12914" fmla="*/ 2093520 h 4687251"/>
              <a:gd name="connsiteX12915" fmla="*/ 4492372 w 8079933"/>
              <a:gd name="connsiteY12915" fmla="*/ 2093086 h 4687251"/>
              <a:gd name="connsiteX12916" fmla="*/ 4494108 w 8079933"/>
              <a:gd name="connsiteY12916" fmla="*/ 2095468 h 4687251"/>
              <a:gd name="connsiteX12917" fmla="*/ 4491721 w 8079933"/>
              <a:gd name="connsiteY12917" fmla="*/ 2096551 h 4687251"/>
              <a:gd name="connsiteX12918" fmla="*/ 4490961 w 8079933"/>
              <a:gd name="connsiteY12918" fmla="*/ 2094926 h 4687251"/>
              <a:gd name="connsiteX12919" fmla="*/ 4513098 w 8079933"/>
              <a:gd name="connsiteY12919" fmla="*/ 2092437 h 4687251"/>
              <a:gd name="connsiteX12920" fmla="*/ 4515159 w 8079933"/>
              <a:gd name="connsiteY12920" fmla="*/ 2094386 h 4687251"/>
              <a:gd name="connsiteX12921" fmla="*/ 4515594 w 8079933"/>
              <a:gd name="connsiteY12921" fmla="*/ 2096659 h 4687251"/>
              <a:gd name="connsiteX12922" fmla="*/ 4512881 w 8079933"/>
              <a:gd name="connsiteY12922" fmla="*/ 2095468 h 4687251"/>
              <a:gd name="connsiteX12923" fmla="*/ 4510928 w 8079933"/>
              <a:gd name="connsiteY12923" fmla="*/ 2093194 h 4687251"/>
              <a:gd name="connsiteX12924" fmla="*/ 6952661 w 8079933"/>
              <a:gd name="connsiteY12924" fmla="*/ 2091680 h 4687251"/>
              <a:gd name="connsiteX12925" fmla="*/ 6953530 w 8079933"/>
              <a:gd name="connsiteY12925" fmla="*/ 2093629 h 4687251"/>
              <a:gd name="connsiteX12926" fmla="*/ 6954398 w 8079933"/>
              <a:gd name="connsiteY12926" fmla="*/ 2096985 h 4687251"/>
              <a:gd name="connsiteX12927" fmla="*/ 6952010 w 8079933"/>
              <a:gd name="connsiteY12927" fmla="*/ 2101857 h 4687251"/>
              <a:gd name="connsiteX12928" fmla="*/ 6950165 w 8079933"/>
              <a:gd name="connsiteY12928" fmla="*/ 2103482 h 4687251"/>
              <a:gd name="connsiteX12929" fmla="*/ 6949080 w 8079933"/>
              <a:gd name="connsiteY12929" fmla="*/ 2100125 h 4687251"/>
              <a:gd name="connsiteX12930" fmla="*/ 6949189 w 8079933"/>
              <a:gd name="connsiteY12930" fmla="*/ 2096119 h 4687251"/>
              <a:gd name="connsiteX12931" fmla="*/ 6950491 w 8079933"/>
              <a:gd name="connsiteY12931" fmla="*/ 2093088 h 4687251"/>
              <a:gd name="connsiteX12932" fmla="*/ 4536538 w 8079933"/>
              <a:gd name="connsiteY12932" fmla="*/ 2091680 h 4687251"/>
              <a:gd name="connsiteX12933" fmla="*/ 4535779 w 8079933"/>
              <a:gd name="connsiteY12933" fmla="*/ 2094062 h 4687251"/>
              <a:gd name="connsiteX12934" fmla="*/ 4532414 w 8079933"/>
              <a:gd name="connsiteY12934" fmla="*/ 2097202 h 4687251"/>
              <a:gd name="connsiteX12935" fmla="*/ 4530787 w 8079933"/>
              <a:gd name="connsiteY12935" fmla="*/ 2095253 h 4687251"/>
              <a:gd name="connsiteX12936" fmla="*/ 4531546 w 8079933"/>
              <a:gd name="connsiteY12936" fmla="*/ 2092654 h 4687251"/>
              <a:gd name="connsiteX12937" fmla="*/ 5602064 w 8079933"/>
              <a:gd name="connsiteY12937" fmla="*/ 2091246 h 4687251"/>
              <a:gd name="connsiteX12938" fmla="*/ 5602063 w 8079933"/>
              <a:gd name="connsiteY12938" fmla="*/ 2091246 h 4687251"/>
              <a:gd name="connsiteX12939" fmla="*/ 5600804 w 8079933"/>
              <a:gd name="connsiteY12939" fmla="*/ 2092319 h 4687251"/>
              <a:gd name="connsiteX12940" fmla="*/ 7067364 w 8079933"/>
              <a:gd name="connsiteY12940" fmla="*/ 2090055 h 4687251"/>
              <a:gd name="connsiteX12941" fmla="*/ 7070402 w 8079933"/>
              <a:gd name="connsiteY12941" fmla="*/ 2090705 h 4687251"/>
              <a:gd name="connsiteX12942" fmla="*/ 7070293 w 8079933"/>
              <a:gd name="connsiteY12942" fmla="*/ 2093087 h 4687251"/>
              <a:gd name="connsiteX12943" fmla="*/ 7067255 w 8079933"/>
              <a:gd name="connsiteY12943" fmla="*/ 2094602 h 4687251"/>
              <a:gd name="connsiteX12944" fmla="*/ 7063674 w 8079933"/>
              <a:gd name="connsiteY12944" fmla="*/ 2093628 h 4687251"/>
              <a:gd name="connsiteX12945" fmla="*/ 3772319 w 8079933"/>
              <a:gd name="connsiteY12945" fmla="*/ 2089721 h 4687251"/>
              <a:gd name="connsiteX12946" fmla="*/ 3772256 w 8079933"/>
              <a:gd name="connsiteY12946" fmla="*/ 2089838 h 4687251"/>
              <a:gd name="connsiteX12947" fmla="*/ 3775728 w 8079933"/>
              <a:gd name="connsiteY12947" fmla="*/ 2095359 h 4687251"/>
              <a:gd name="connsiteX12948" fmla="*/ 3775728 w 8079933"/>
              <a:gd name="connsiteY12948" fmla="*/ 2095143 h 4687251"/>
              <a:gd name="connsiteX12949" fmla="*/ 5622357 w 8079933"/>
              <a:gd name="connsiteY12949" fmla="*/ 2088756 h 4687251"/>
              <a:gd name="connsiteX12950" fmla="*/ 5622356 w 8079933"/>
              <a:gd name="connsiteY12950" fmla="*/ 2088756 h 4687251"/>
              <a:gd name="connsiteX12951" fmla="*/ 5623193 w 8079933"/>
              <a:gd name="connsiteY12951" fmla="*/ 2091021 h 4687251"/>
              <a:gd name="connsiteX12952" fmla="*/ 5623128 w 8079933"/>
              <a:gd name="connsiteY12952" fmla="*/ 2090844 h 4687251"/>
              <a:gd name="connsiteX12953" fmla="*/ 5584266 w 8079933"/>
              <a:gd name="connsiteY12953" fmla="*/ 2087889 h 4687251"/>
              <a:gd name="connsiteX12954" fmla="*/ 5584266 w 8079933"/>
              <a:gd name="connsiteY12954" fmla="*/ 2087889 h 4687251"/>
              <a:gd name="connsiteX12955" fmla="*/ 5588607 w 8079933"/>
              <a:gd name="connsiteY12955" fmla="*/ 2089622 h 4687251"/>
              <a:gd name="connsiteX12956" fmla="*/ 5090795 w 8079933"/>
              <a:gd name="connsiteY12956" fmla="*/ 2087673 h 4687251"/>
              <a:gd name="connsiteX12957" fmla="*/ 5092251 w 8079933"/>
              <a:gd name="connsiteY12957" fmla="*/ 2092654 h 4687251"/>
              <a:gd name="connsiteX12958" fmla="*/ 5095940 w 8079933"/>
              <a:gd name="connsiteY12958" fmla="*/ 2097093 h 4687251"/>
              <a:gd name="connsiteX12959" fmla="*/ 5107986 w 8079933"/>
              <a:gd name="connsiteY12959" fmla="*/ 2101965 h 4687251"/>
              <a:gd name="connsiteX12960" fmla="*/ 5113304 w 8079933"/>
              <a:gd name="connsiteY12960" fmla="*/ 2102398 h 4687251"/>
              <a:gd name="connsiteX12961" fmla="*/ 5127736 w 8079933"/>
              <a:gd name="connsiteY12961" fmla="*/ 2106621 h 4687251"/>
              <a:gd name="connsiteX12962" fmla="*/ 5134790 w 8079933"/>
              <a:gd name="connsiteY12962" fmla="*/ 2106621 h 4687251"/>
              <a:gd name="connsiteX12963" fmla="*/ 5136298 w 8079933"/>
              <a:gd name="connsiteY12963" fmla="*/ 2106188 h 4687251"/>
              <a:gd name="connsiteX12964" fmla="*/ 5129472 w 8079933"/>
              <a:gd name="connsiteY12964" fmla="*/ 2106188 h 4687251"/>
              <a:gd name="connsiteX12965" fmla="*/ 5115040 w 8079933"/>
              <a:gd name="connsiteY12965" fmla="*/ 2102073 h 4687251"/>
              <a:gd name="connsiteX12966" fmla="*/ 5109722 w 8079933"/>
              <a:gd name="connsiteY12966" fmla="*/ 2102073 h 4687251"/>
              <a:gd name="connsiteX12967" fmla="*/ 5097677 w 8079933"/>
              <a:gd name="connsiteY12967" fmla="*/ 2097310 h 4687251"/>
              <a:gd name="connsiteX12968" fmla="*/ 5094096 w 8079933"/>
              <a:gd name="connsiteY12968" fmla="*/ 2092871 h 4687251"/>
              <a:gd name="connsiteX12969" fmla="*/ 5092576 w 8079933"/>
              <a:gd name="connsiteY12969" fmla="*/ 2087673 h 4687251"/>
              <a:gd name="connsiteX12970" fmla="*/ 6913921 w 8079933"/>
              <a:gd name="connsiteY12970" fmla="*/ 2086807 h 4687251"/>
              <a:gd name="connsiteX12971" fmla="*/ 6916308 w 8079933"/>
              <a:gd name="connsiteY12971" fmla="*/ 2089189 h 4687251"/>
              <a:gd name="connsiteX12972" fmla="*/ 6912728 w 8079933"/>
              <a:gd name="connsiteY12972" fmla="*/ 2090597 h 4687251"/>
              <a:gd name="connsiteX12973" fmla="*/ 6911642 w 8079933"/>
              <a:gd name="connsiteY12973" fmla="*/ 2088431 h 4687251"/>
              <a:gd name="connsiteX12974" fmla="*/ 7082664 w 8079933"/>
              <a:gd name="connsiteY12974" fmla="*/ 2086374 h 4687251"/>
              <a:gd name="connsiteX12975" fmla="*/ 7083641 w 8079933"/>
              <a:gd name="connsiteY12975" fmla="*/ 2089298 h 4687251"/>
              <a:gd name="connsiteX12976" fmla="*/ 7083097 w 8079933"/>
              <a:gd name="connsiteY12976" fmla="*/ 2092762 h 4687251"/>
              <a:gd name="connsiteX12977" fmla="*/ 7083857 w 8079933"/>
              <a:gd name="connsiteY12977" fmla="*/ 2094819 h 4687251"/>
              <a:gd name="connsiteX12978" fmla="*/ 7083097 w 8079933"/>
              <a:gd name="connsiteY12978" fmla="*/ 2097743 h 4687251"/>
              <a:gd name="connsiteX12979" fmla="*/ 7080601 w 8079933"/>
              <a:gd name="connsiteY12979" fmla="*/ 2097852 h 4687251"/>
              <a:gd name="connsiteX12980" fmla="*/ 7078431 w 8079933"/>
              <a:gd name="connsiteY12980" fmla="*/ 2093087 h 4687251"/>
              <a:gd name="connsiteX12981" fmla="*/ 7078540 w 8079933"/>
              <a:gd name="connsiteY12981" fmla="*/ 2089298 h 4687251"/>
              <a:gd name="connsiteX12982" fmla="*/ 7080168 w 8079933"/>
              <a:gd name="connsiteY12982" fmla="*/ 2086807 h 4687251"/>
              <a:gd name="connsiteX12983" fmla="*/ 4544676 w 8079933"/>
              <a:gd name="connsiteY12983" fmla="*/ 2085617 h 4687251"/>
              <a:gd name="connsiteX12984" fmla="*/ 4547498 w 8079933"/>
              <a:gd name="connsiteY12984" fmla="*/ 2085942 h 4687251"/>
              <a:gd name="connsiteX12985" fmla="*/ 4550319 w 8079933"/>
              <a:gd name="connsiteY12985" fmla="*/ 2088215 h 4687251"/>
              <a:gd name="connsiteX12986" fmla="*/ 4551079 w 8079933"/>
              <a:gd name="connsiteY12986" fmla="*/ 2087241 h 4687251"/>
              <a:gd name="connsiteX12987" fmla="*/ 4552381 w 8079933"/>
              <a:gd name="connsiteY12987" fmla="*/ 2087566 h 4687251"/>
              <a:gd name="connsiteX12988" fmla="*/ 4552923 w 8079933"/>
              <a:gd name="connsiteY12988" fmla="*/ 2089298 h 4687251"/>
              <a:gd name="connsiteX12989" fmla="*/ 4550211 w 8079933"/>
              <a:gd name="connsiteY12989" fmla="*/ 2090597 h 4687251"/>
              <a:gd name="connsiteX12990" fmla="*/ 4549126 w 8079933"/>
              <a:gd name="connsiteY12990" fmla="*/ 2092005 h 4687251"/>
              <a:gd name="connsiteX12991" fmla="*/ 4546847 w 8079933"/>
              <a:gd name="connsiteY12991" fmla="*/ 2091897 h 4687251"/>
              <a:gd name="connsiteX12992" fmla="*/ 4544785 w 8079933"/>
              <a:gd name="connsiteY12992" fmla="*/ 2089623 h 4687251"/>
              <a:gd name="connsiteX12993" fmla="*/ 4542180 w 8079933"/>
              <a:gd name="connsiteY12993" fmla="*/ 2089839 h 4687251"/>
              <a:gd name="connsiteX12994" fmla="*/ 4539685 w 8079933"/>
              <a:gd name="connsiteY12994" fmla="*/ 2090597 h 4687251"/>
              <a:gd name="connsiteX12995" fmla="*/ 4540770 w 8079933"/>
              <a:gd name="connsiteY12995" fmla="*/ 2088865 h 4687251"/>
              <a:gd name="connsiteX12996" fmla="*/ 5311251 w 8079933"/>
              <a:gd name="connsiteY12996" fmla="*/ 2084971 h 4687251"/>
              <a:gd name="connsiteX12997" fmla="*/ 5318726 w 8079933"/>
              <a:gd name="connsiteY12997" fmla="*/ 2086699 h 4687251"/>
              <a:gd name="connsiteX12998" fmla="*/ 5328383 w 8079933"/>
              <a:gd name="connsiteY12998" fmla="*/ 2100124 h 4687251"/>
              <a:gd name="connsiteX12999" fmla="*/ 5328384 w 8079933"/>
              <a:gd name="connsiteY12999" fmla="*/ 2100124 h 4687251"/>
              <a:gd name="connsiteX13000" fmla="*/ 5318727 w 8079933"/>
              <a:gd name="connsiteY13000" fmla="*/ 2086699 h 4687251"/>
              <a:gd name="connsiteX13001" fmla="*/ 5073154 w 8079933"/>
              <a:gd name="connsiteY13001" fmla="*/ 2084750 h 4687251"/>
              <a:gd name="connsiteX13002" fmla="*/ 5076082 w 8079933"/>
              <a:gd name="connsiteY13002" fmla="*/ 2085725 h 4687251"/>
              <a:gd name="connsiteX13003" fmla="*/ 5076402 w 8079933"/>
              <a:gd name="connsiteY13003" fmla="*/ 2085608 h 4687251"/>
              <a:gd name="connsiteX13004" fmla="*/ 5074020 w 8079933"/>
              <a:gd name="connsiteY13004" fmla="*/ 2084750 h 4687251"/>
              <a:gd name="connsiteX13005" fmla="*/ 5083570 w 8079933"/>
              <a:gd name="connsiteY13005" fmla="*/ 2084100 h 4687251"/>
              <a:gd name="connsiteX13006" fmla="*/ 5082799 w 8079933"/>
              <a:gd name="connsiteY13006" fmla="*/ 2084382 h 4687251"/>
              <a:gd name="connsiteX13007" fmla="*/ 5087259 w 8079933"/>
              <a:gd name="connsiteY13007" fmla="*/ 2087349 h 4687251"/>
              <a:gd name="connsiteX13008" fmla="*/ 5088669 w 8079933"/>
              <a:gd name="connsiteY13008" fmla="*/ 2087393 h 4687251"/>
              <a:gd name="connsiteX13009" fmla="*/ 4408054 w 8079933"/>
              <a:gd name="connsiteY13009" fmla="*/ 2083884 h 4687251"/>
              <a:gd name="connsiteX13010" fmla="*/ 4410984 w 8079933"/>
              <a:gd name="connsiteY13010" fmla="*/ 2085183 h 4687251"/>
              <a:gd name="connsiteX13011" fmla="*/ 4413154 w 8079933"/>
              <a:gd name="connsiteY13011" fmla="*/ 2088106 h 4687251"/>
              <a:gd name="connsiteX13012" fmla="*/ 4414999 w 8079933"/>
              <a:gd name="connsiteY13012" fmla="*/ 2090272 h 4687251"/>
              <a:gd name="connsiteX13013" fmla="*/ 4412069 w 8079933"/>
              <a:gd name="connsiteY13013" fmla="*/ 2089730 h 4687251"/>
              <a:gd name="connsiteX13014" fmla="*/ 4411418 w 8079933"/>
              <a:gd name="connsiteY13014" fmla="*/ 2091355 h 4687251"/>
              <a:gd name="connsiteX13015" fmla="*/ 4408705 w 8079933"/>
              <a:gd name="connsiteY13015" fmla="*/ 2090596 h 4687251"/>
              <a:gd name="connsiteX13016" fmla="*/ 4405450 w 8079933"/>
              <a:gd name="connsiteY13016" fmla="*/ 2087349 h 4687251"/>
              <a:gd name="connsiteX13017" fmla="*/ 4406209 w 8079933"/>
              <a:gd name="connsiteY13017" fmla="*/ 2084750 h 4687251"/>
              <a:gd name="connsiteX13018" fmla="*/ 4502463 w 8079933"/>
              <a:gd name="connsiteY13018" fmla="*/ 2083667 h 4687251"/>
              <a:gd name="connsiteX13019" fmla="*/ 4504417 w 8079933"/>
              <a:gd name="connsiteY13019" fmla="*/ 2086591 h 4687251"/>
              <a:gd name="connsiteX13020" fmla="*/ 4508432 w 8079933"/>
              <a:gd name="connsiteY13020" fmla="*/ 2090272 h 4687251"/>
              <a:gd name="connsiteX13021" fmla="*/ 4508324 w 8079933"/>
              <a:gd name="connsiteY13021" fmla="*/ 2092762 h 4687251"/>
              <a:gd name="connsiteX13022" fmla="*/ 4506370 w 8079933"/>
              <a:gd name="connsiteY13022" fmla="*/ 2092654 h 4687251"/>
              <a:gd name="connsiteX13023" fmla="*/ 4501270 w 8079933"/>
              <a:gd name="connsiteY13023" fmla="*/ 2087673 h 4687251"/>
              <a:gd name="connsiteX13024" fmla="*/ 4499100 w 8079933"/>
              <a:gd name="connsiteY13024" fmla="*/ 2085941 h 4687251"/>
              <a:gd name="connsiteX13025" fmla="*/ 4500293 w 8079933"/>
              <a:gd name="connsiteY13025" fmla="*/ 2083883 h 4687251"/>
              <a:gd name="connsiteX13026" fmla="*/ 5427678 w 8079933"/>
              <a:gd name="connsiteY13026" fmla="*/ 2083234 h 4687251"/>
              <a:gd name="connsiteX13027" fmla="*/ 5427678 w 8079933"/>
              <a:gd name="connsiteY13027" fmla="*/ 2083235 h 4687251"/>
              <a:gd name="connsiteX13028" fmla="*/ 5429207 w 8079933"/>
              <a:gd name="connsiteY13028" fmla="*/ 2084455 h 4687251"/>
              <a:gd name="connsiteX13029" fmla="*/ 5582589 w 8079933"/>
              <a:gd name="connsiteY13029" fmla="*/ 2082426 h 4687251"/>
              <a:gd name="connsiteX13030" fmla="*/ 5584266 w 8079933"/>
              <a:gd name="connsiteY13030" fmla="*/ 2084642 h 4687251"/>
              <a:gd name="connsiteX13031" fmla="*/ 5584266 w 8079933"/>
              <a:gd name="connsiteY13031" fmla="*/ 2084641 h 4687251"/>
              <a:gd name="connsiteX13032" fmla="*/ 6932043 w 8079933"/>
              <a:gd name="connsiteY13032" fmla="*/ 2080635 h 4687251"/>
              <a:gd name="connsiteX13033" fmla="*/ 6933888 w 8079933"/>
              <a:gd name="connsiteY13033" fmla="*/ 2081826 h 4687251"/>
              <a:gd name="connsiteX13034" fmla="*/ 6934214 w 8079933"/>
              <a:gd name="connsiteY13034" fmla="*/ 2085940 h 4687251"/>
              <a:gd name="connsiteX13035" fmla="*/ 6932585 w 8079933"/>
              <a:gd name="connsiteY13035" fmla="*/ 2088430 h 4687251"/>
              <a:gd name="connsiteX13036" fmla="*/ 6930307 w 8079933"/>
              <a:gd name="connsiteY13036" fmla="*/ 2089296 h 4687251"/>
              <a:gd name="connsiteX13037" fmla="*/ 6928896 w 8079933"/>
              <a:gd name="connsiteY13037" fmla="*/ 2086048 h 4687251"/>
              <a:gd name="connsiteX13038" fmla="*/ 6928679 w 8079933"/>
              <a:gd name="connsiteY13038" fmla="*/ 2083341 h 4687251"/>
              <a:gd name="connsiteX13039" fmla="*/ 5062062 w 8079933"/>
              <a:gd name="connsiteY13039" fmla="*/ 2079770 h 4687251"/>
              <a:gd name="connsiteX13040" fmla="*/ 5066424 w 8079933"/>
              <a:gd name="connsiteY13040" fmla="*/ 2084425 h 4687251"/>
              <a:gd name="connsiteX13041" fmla="*/ 5068072 w 8079933"/>
              <a:gd name="connsiteY13041" fmla="*/ 2084425 h 4687251"/>
              <a:gd name="connsiteX13042" fmla="*/ 5063711 w 8079933"/>
              <a:gd name="connsiteY13042" fmla="*/ 2079770 h 4687251"/>
              <a:gd name="connsiteX13043" fmla="*/ 3356745 w 8079933"/>
              <a:gd name="connsiteY13043" fmla="*/ 2079553 h 4687251"/>
              <a:gd name="connsiteX13044" fmla="*/ 3359458 w 8079933"/>
              <a:gd name="connsiteY13044" fmla="*/ 2080202 h 4687251"/>
              <a:gd name="connsiteX13045" fmla="*/ 3361194 w 8079933"/>
              <a:gd name="connsiteY13045" fmla="*/ 2082584 h 4687251"/>
              <a:gd name="connsiteX13046" fmla="*/ 3359349 w 8079933"/>
              <a:gd name="connsiteY13046" fmla="*/ 2083884 h 4687251"/>
              <a:gd name="connsiteX13047" fmla="*/ 3353164 w 8079933"/>
              <a:gd name="connsiteY13047" fmla="*/ 2082910 h 4687251"/>
              <a:gd name="connsiteX13048" fmla="*/ 3352513 w 8079933"/>
              <a:gd name="connsiteY13048" fmla="*/ 2080852 h 4687251"/>
              <a:gd name="connsiteX13049" fmla="*/ 5297728 w 8079933"/>
              <a:gd name="connsiteY13049" fmla="*/ 2076470 h 4687251"/>
              <a:gd name="connsiteX13050" fmla="*/ 5301146 w 8079933"/>
              <a:gd name="connsiteY13050" fmla="*/ 2077063 h 4687251"/>
              <a:gd name="connsiteX13051" fmla="*/ 5302557 w 8079933"/>
              <a:gd name="connsiteY13051" fmla="*/ 2084100 h 4687251"/>
              <a:gd name="connsiteX13052" fmla="*/ 5304727 w 8079933"/>
              <a:gd name="connsiteY13052" fmla="*/ 2085833 h 4687251"/>
              <a:gd name="connsiteX13053" fmla="*/ 5304728 w 8079933"/>
              <a:gd name="connsiteY13053" fmla="*/ 2085833 h 4687251"/>
              <a:gd name="connsiteX13054" fmla="*/ 5302558 w 8079933"/>
              <a:gd name="connsiteY13054" fmla="*/ 2084100 h 4687251"/>
              <a:gd name="connsiteX13055" fmla="*/ 5301147 w 8079933"/>
              <a:gd name="connsiteY13055" fmla="*/ 2077063 h 4687251"/>
              <a:gd name="connsiteX13056" fmla="*/ 5666956 w 8079933"/>
              <a:gd name="connsiteY13056" fmla="*/ 2072623 h 4687251"/>
              <a:gd name="connsiteX13057" fmla="*/ 5664569 w 8079933"/>
              <a:gd name="connsiteY13057" fmla="*/ 2074355 h 4687251"/>
              <a:gd name="connsiteX13058" fmla="*/ 5664570 w 8079933"/>
              <a:gd name="connsiteY13058" fmla="*/ 2074355 h 4687251"/>
              <a:gd name="connsiteX13059" fmla="*/ 5666956 w 8079933"/>
              <a:gd name="connsiteY13059" fmla="*/ 2072623 h 4687251"/>
              <a:gd name="connsiteX13060" fmla="*/ 5668022 w 8079933"/>
              <a:gd name="connsiteY13060" fmla="*/ 2072709 h 4687251"/>
              <a:gd name="connsiteX13061" fmla="*/ 4285322 w 8079933"/>
              <a:gd name="connsiteY13061" fmla="*/ 2072407 h 4687251"/>
              <a:gd name="connsiteX13062" fmla="*/ 4289012 w 8079933"/>
              <a:gd name="connsiteY13062" fmla="*/ 2076738 h 4687251"/>
              <a:gd name="connsiteX13063" fmla="*/ 4288035 w 8079933"/>
              <a:gd name="connsiteY13063" fmla="*/ 2083017 h 4687251"/>
              <a:gd name="connsiteX13064" fmla="*/ 4283695 w 8079933"/>
              <a:gd name="connsiteY13064" fmla="*/ 2087023 h 4687251"/>
              <a:gd name="connsiteX13065" fmla="*/ 4279354 w 8079933"/>
              <a:gd name="connsiteY13065" fmla="*/ 2098608 h 4687251"/>
              <a:gd name="connsiteX13066" fmla="*/ 4283695 w 8079933"/>
              <a:gd name="connsiteY13066" fmla="*/ 2104563 h 4687251"/>
              <a:gd name="connsiteX13067" fmla="*/ 4284237 w 8079933"/>
              <a:gd name="connsiteY13067" fmla="*/ 2109760 h 4687251"/>
              <a:gd name="connsiteX13068" fmla="*/ 4281958 w 8079933"/>
              <a:gd name="connsiteY13068" fmla="*/ 2112684 h 4687251"/>
              <a:gd name="connsiteX13069" fmla="*/ 4282284 w 8079933"/>
              <a:gd name="connsiteY13069" fmla="*/ 2118638 h 4687251"/>
              <a:gd name="connsiteX13070" fmla="*/ 4277727 w 8079933"/>
              <a:gd name="connsiteY13070" fmla="*/ 2119288 h 4687251"/>
              <a:gd name="connsiteX13071" fmla="*/ 4266766 w 8079933"/>
              <a:gd name="connsiteY13071" fmla="*/ 2114957 h 4687251"/>
              <a:gd name="connsiteX13072" fmla="*/ 4265789 w 8079933"/>
              <a:gd name="connsiteY13072" fmla="*/ 2111168 h 4687251"/>
              <a:gd name="connsiteX13073" fmla="*/ 4261123 w 8079933"/>
              <a:gd name="connsiteY13073" fmla="*/ 2107811 h 4687251"/>
              <a:gd name="connsiteX13074" fmla="*/ 4258953 w 8079933"/>
              <a:gd name="connsiteY13074" fmla="*/ 2109219 h 4687251"/>
              <a:gd name="connsiteX13075" fmla="*/ 4248318 w 8079933"/>
              <a:gd name="connsiteY13075" fmla="*/ 2105213 h 4687251"/>
              <a:gd name="connsiteX13076" fmla="*/ 4243760 w 8079933"/>
              <a:gd name="connsiteY13076" fmla="*/ 2100341 h 4687251"/>
              <a:gd name="connsiteX13077" fmla="*/ 4238877 w 8079933"/>
              <a:gd name="connsiteY13077" fmla="*/ 2099150 h 4687251"/>
              <a:gd name="connsiteX13078" fmla="*/ 4229871 w 8079933"/>
              <a:gd name="connsiteY13078" fmla="*/ 2092978 h 4687251"/>
              <a:gd name="connsiteX13079" fmla="*/ 4224770 w 8079933"/>
              <a:gd name="connsiteY13079" fmla="*/ 2093844 h 4687251"/>
              <a:gd name="connsiteX13080" fmla="*/ 4219670 w 8079933"/>
              <a:gd name="connsiteY13080" fmla="*/ 2089189 h 4687251"/>
              <a:gd name="connsiteX13081" fmla="*/ 4220430 w 8079933"/>
              <a:gd name="connsiteY13081" fmla="*/ 2081393 h 4687251"/>
              <a:gd name="connsiteX13082" fmla="*/ 4226181 w 8079933"/>
              <a:gd name="connsiteY13082" fmla="*/ 2078686 h 4687251"/>
              <a:gd name="connsiteX13083" fmla="*/ 4227917 w 8079933"/>
              <a:gd name="connsiteY13083" fmla="*/ 2080852 h 4687251"/>
              <a:gd name="connsiteX13084" fmla="*/ 4230739 w 8079933"/>
              <a:gd name="connsiteY13084" fmla="*/ 2078578 h 4687251"/>
              <a:gd name="connsiteX13085" fmla="*/ 4236055 w 8079933"/>
              <a:gd name="connsiteY13085" fmla="*/ 2078037 h 4687251"/>
              <a:gd name="connsiteX13086" fmla="*/ 4240505 w 8079933"/>
              <a:gd name="connsiteY13086" fmla="*/ 2081068 h 4687251"/>
              <a:gd name="connsiteX13087" fmla="*/ 4246799 w 8079933"/>
              <a:gd name="connsiteY13087" fmla="*/ 2082260 h 4687251"/>
              <a:gd name="connsiteX13088" fmla="*/ 4255697 w 8079933"/>
              <a:gd name="connsiteY13088" fmla="*/ 2079661 h 4687251"/>
              <a:gd name="connsiteX13089" fmla="*/ 4266549 w 8079933"/>
              <a:gd name="connsiteY13089" fmla="*/ 2080311 h 4687251"/>
              <a:gd name="connsiteX13090" fmla="*/ 4271649 w 8079933"/>
              <a:gd name="connsiteY13090" fmla="*/ 2074897 h 4687251"/>
              <a:gd name="connsiteX13091" fmla="*/ 4276858 w 8079933"/>
              <a:gd name="connsiteY13091" fmla="*/ 2077821 h 4687251"/>
              <a:gd name="connsiteX13092" fmla="*/ 4279354 w 8079933"/>
              <a:gd name="connsiteY13092" fmla="*/ 2078145 h 4687251"/>
              <a:gd name="connsiteX13093" fmla="*/ 5286497 w 8079933"/>
              <a:gd name="connsiteY13093" fmla="*/ 2072190 h 4687251"/>
              <a:gd name="connsiteX13094" fmla="*/ 5286497 w 8079933"/>
              <a:gd name="connsiteY13094" fmla="*/ 2072191 h 4687251"/>
              <a:gd name="connsiteX13095" fmla="*/ 5296154 w 8079933"/>
              <a:gd name="connsiteY13095" fmla="*/ 2076196 h 4687251"/>
              <a:gd name="connsiteX13096" fmla="*/ 5296155 w 8079933"/>
              <a:gd name="connsiteY13096" fmla="*/ 2076197 h 4687251"/>
              <a:gd name="connsiteX13097" fmla="*/ 5656755 w 8079933"/>
              <a:gd name="connsiteY13097" fmla="*/ 2071216 h 4687251"/>
              <a:gd name="connsiteX13098" fmla="*/ 5654585 w 8079933"/>
              <a:gd name="connsiteY13098" fmla="*/ 2072623 h 4687251"/>
              <a:gd name="connsiteX13099" fmla="*/ 5651004 w 8079933"/>
              <a:gd name="connsiteY13099" fmla="*/ 2071649 h 4687251"/>
              <a:gd name="connsiteX13100" fmla="*/ 5654585 w 8079933"/>
              <a:gd name="connsiteY13100" fmla="*/ 2072623 h 4687251"/>
              <a:gd name="connsiteX13101" fmla="*/ 5654801 w 8079933"/>
              <a:gd name="connsiteY13101" fmla="*/ 2072623 h 4687251"/>
              <a:gd name="connsiteX13102" fmla="*/ 5650027 w 8079933"/>
              <a:gd name="connsiteY13102" fmla="*/ 2080852 h 4687251"/>
              <a:gd name="connsiteX13103" fmla="*/ 5650028 w 8079933"/>
              <a:gd name="connsiteY13103" fmla="*/ 2080851 h 4687251"/>
              <a:gd name="connsiteX13104" fmla="*/ 5654803 w 8079933"/>
              <a:gd name="connsiteY13104" fmla="*/ 2072623 h 4687251"/>
              <a:gd name="connsiteX13105" fmla="*/ 5654586 w 8079933"/>
              <a:gd name="connsiteY13105" fmla="*/ 2072623 h 4687251"/>
              <a:gd name="connsiteX13106" fmla="*/ 5464030 w 8079933"/>
              <a:gd name="connsiteY13106" fmla="*/ 2070566 h 4687251"/>
              <a:gd name="connsiteX13107" fmla="*/ 5465658 w 8079933"/>
              <a:gd name="connsiteY13107" fmla="*/ 2072191 h 4687251"/>
              <a:gd name="connsiteX13108" fmla="*/ 5465659 w 8079933"/>
              <a:gd name="connsiteY13108" fmla="*/ 2072190 h 4687251"/>
              <a:gd name="connsiteX13109" fmla="*/ 5465658 w 8079933"/>
              <a:gd name="connsiteY13109" fmla="*/ 2072190 h 4687251"/>
              <a:gd name="connsiteX13110" fmla="*/ 5522846 w 8079933"/>
              <a:gd name="connsiteY13110" fmla="*/ 2070565 h 4687251"/>
              <a:gd name="connsiteX13111" fmla="*/ 5520133 w 8079933"/>
              <a:gd name="connsiteY13111" fmla="*/ 2073056 h 4687251"/>
              <a:gd name="connsiteX13112" fmla="*/ 5517420 w 8079933"/>
              <a:gd name="connsiteY13112" fmla="*/ 2073597 h 4687251"/>
              <a:gd name="connsiteX13113" fmla="*/ 5514815 w 8079933"/>
              <a:gd name="connsiteY13113" fmla="*/ 2077387 h 4687251"/>
              <a:gd name="connsiteX13114" fmla="*/ 5509607 w 8079933"/>
              <a:gd name="connsiteY13114" fmla="*/ 2080310 h 4687251"/>
              <a:gd name="connsiteX13115" fmla="*/ 5501685 w 8079933"/>
              <a:gd name="connsiteY13115" fmla="*/ 2082042 h 4687251"/>
              <a:gd name="connsiteX13116" fmla="*/ 5498104 w 8079933"/>
              <a:gd name="connsiteY13116" fmla="*/ 2080526 h 4687251"/>
              <a:gd name="connsiteX13117" fmla="*/ 5492895 w 8079933"/>
              <a:gd name="connsiteY13117" fmla="*/ 2073814 h 4687251"/>
              <a:gd name="connsiteX13118" fmla="*/ 5494957 w 8079933"/>
              <a:gd name="connsiteY13118" fmla="*/ 2076412 h 4687251"/>
              <a:gd name="connsiteX13119" fmla="*/ 5494957 w 8079933"/>
              <a:gd name="connsiteY13119" fmla="*/ 2076411 h 4687251"/>
              <a:gd name="connsiteX13120" fmla="*/ 5492896 w 8079933"/>
              <a:gd name="connsiteY13120" fmla="*/ 2073814 h 4687251"/>
              <a:gd name="connsiteX13121" fmla="*/ 5492895 w 8079933"/>
              <a:gd name="connsiteY13121" fmla="*/ 2073814 h 4687251"/>
              <a:gd name="connsiteX13122" fmla="*/ 5498104 w 8079933"/>
              <a:gd name="connsiteY13122" fmla="*/ 2080527 h 4687251"/>
              <a:gd name="connsiteX13123" fmla="*/ 5501685 w 8079933"/>
              <a:gd name="connsiteY13123" fmla="*/ 2082043 h 4687251"/>
              <a:gd name="connsiteX13124" fmla="*/ 5509607 w 8079933"/>
              <a:gd name="connsiteY13124" fmla="*/ 2080311 h 4687251"/>
              <a:gd name="connsiteX13125" fmla="*/ 5514816 w 8079933"/>
              <a:gd name="connsiteY13125" fmla="*/ 2077387 h 4687251"/>
              <a:gd name="connsiteX13126" fmla="*/ 5517420 w 8079933"/>
              <a:gd name="connsiteY13126" fmla="*/ 2073598 h 4687251"/>
              <a:gd name="connsiteX13127" fmla="*/ 5520133 w 8079933"/>
              <a:gd name="connsiteY13127" fmla="*/ 2073056 h 4687251"/>
              <a:gd name="connsiteX13128" fmla="*/ 5522846 w 8079933"/>
              <a:gd name="connsiteY13128" fmla="*/ 2070566 h 4687251"/>
              <a:gd name="connsiteX13129" fmla="*/ 5525342 w 8079933"/>
              <a:gd name="connsiteY13129" fmla="*/ 2072191 h 4687251"/>
              <a:gd name="connsiteX13130" fmla="*/ 5527946 w 8079933"/>
              <a:gd name="connsiteY13130" fmla="*/ 2075655 h 4687251"/>
              <a:gd name="connsiteX13131" fmla="*/ 5536194 w 8079933"/>
              <a:gd name="connsiteY13131" fmla="*/ 2076413 h 4687251"/>
              <a:gd name="connsiteX13132" fmla="*/ 5535977 w 8079933"/>
              <a:gd name="connsiteY13132" fmla="*/ 2072623 h 4687251"/>
              <a:gd name="connsiteX13133" fmla="*/ 5535423 w 8079933"/>
              <a:gd name="connsiteY13133" fmla="*/ 2072044 h 4687251"/>
              <a:gd name="connsiteX13134" fmla="*/ 5535976 w 8079933"/>
              <a:gd name="connsiteY13134" fmla="*/ 2072623 h 4687251"/>
              <a:gd name="connsiteX13135" fmla="*/ 5536193 w 8079933"/>
              <a:gd name="connsiteY13135" fmla="*/ 2076412 h 4687251"/>
              <a:gd name="connsiteX13136" fmla="*/ 5527946 w 8079933"/>
              <a:gd name="connsiteY13136" fmla="*/ 2075655 h 4687251"/>
              <a:gd name="connsiteX13137" fmla="*/ 5525342 w 8079933"/>
              <a:gd name="connsiteY13137" fmla="*/ 2072190 h 4687251"/>
              <a:gd name="connsiteX13138" fmla="*/ 5660120 w 8079933"/>
              <a:gd name="connsiteY13138" fmla="*/ 2070349 h 4687251"/>
              <a:gd name="connsiteX13139" fmla="*/ 5658073 w 8079933"/>
              <a:gd name="connsiteY13139" fmla="*/ 2070876 h 4687251"/>
              <a:gd name="connsiteX13140" fmla="*/ 5660121 w 8079933"/>
              <a:gd name="connsiteY13140" fmla="*/ 2070350 h 4687251"/>
              <a:gd name="connsiteX13141" fmla="*/ 5473472 w 8079933"/>
              <a:gd name="connsiteY13141" fmla="*/ 2070133 h 4687251"/>
              <a:gd name="connsiteX13142" fmla="*/ 5473431 w 8079933"/>
              <a:gd name="connsiteY13142" fmla="*/ 2070144 h 4687251"/>
              <a:gd name="connsiteX13143" fmla="*/ 5473471 w 8079933"/>
              <a:gd name="connsiteY13143" fmla="*/ 2070133 h 4687251"/>
              <a:gd name="connsiteX13144" fmla="*/ 5478680 w 8079933"/>
              <a:gd name="connsiteY13144" fmla="*/ 2072623 h 4687251"/>
              <a:gd name="connsiteX13145" fmla="*/ 5480561 w 8079933"/>
              <a:gd name="connsiteY13145" fmla="*/ 2075438 h 4687251"/>
              <a:gd name="connsiteX13146" fmla="*/ 5478680 w 8079933"/>
              <a:gd name="connsiteY13146" fmla="*/ 2072623 h 4687251"/>
              <a:gd name="connsiteX13147" fmla="*/ 5675854 w 8079933"/>
              <a:gd name="connsiteY13147" fmla="*/ 2068617 h 4687251"/>
              <a:gd name="connsiteX13148" fmla="*/ 5673684 w 8079933"/>
              <a:gd name="connsiteY13148" fmla="*/ 2070998 h 4687251"/>
              <a:gd name="connsiteX13149" fmla="*/ 5670971 w 8079933"/>
              <a:gd name="connsiteY13149" fmla="*/ 2072948 h 4687251"/>
              <a:gd name="connsiteX13150" fmla="*/ 5670972 w 8079933"/>
              <a:gd name="connsiteY13150" fmla="*/ 2072948 h 4687251"/>
              <a:gd name="connsiteX13151" fmla="*/ 5673685 w 8079933"/>
              <a:gd name="connsiteY13151" fmla="*/ 2070999 h 4687251"/>
              <a:gd name="connsiteX13152" fmla="*/ 5675855 w 8079933"/>
              <a:gd name="connsiteY13152" fmla="*/ 2068617 h 4687251"/>
              <a:gd name="connsiteX13153" fmla="*/ 5678893 w 8079933"/>
              <a:gd name="connsiteY13153" fmla="*/ 2068833 h 4687251"/>
              <a:gd name="connsiteX13154" fmla="*/ 5678893 w 8079933"/>
              <a:gd name="connsiteY13154" fmla="*/ 2068833 h 4687251"/>
              <a:gd name="connsiteX13155" fmla="*/ 5534132 w 8079933"/>
              <a:gd name="connsiteY13155" fmla="*/ 2067101 h 4687251"/>
              <a:gd name="connsiteX13156" fmla="*/ 5533806 w 8079933"/>
              <a:gd name="connsiteY13156" fmla="*/ 2070349 h 4687251"/>
              <a:gd name="connsiteX13157" fmla="*/ 5533806 w 8079933"/>
              <a:gd name="connsiteY13157" fmla="*/ 2070349 h 4687251"/>
              <a:gd name="connsiteX13158" fmla="*/ 5265010 w 8079933"/>
              <a:gd name="connsiteY13158" fmla="*/ 2066235 h 4687251"/>
              <a:gd name="connsiteX13159" fmla="*/ 5278900 w 8079933"/>
              <a:gd name="connsiteY13159" fmla="*/ 2075006 h 4687251"/>
              <a:gd name="connsiteX13160" fmla="*/ 5278901 w 8079933"/>
              <a:gd name="connsiteY13160" fmla="*/ 2075006 h 4687251"/>
              <a:gd name="connsiteX13161" fmla="*/ 5265011 w 8079933"/>
              <a:gd name="connsiteY13161" fmla="*/ 2066236 h 4687251"/>
              <a:gd name="connsiteX13162" fmla="*/ 5579600 w 8079933"/>
              <a:gd name="connsiteY13162" fmla="*/ 2065694 h 4687251"/>
              <a:gd name="connsiteX13163" fmla="*/ 5580251 w 8079933"/>
              <a:gd name="connsiteY13163" fmla="*/ 2070566 h 4687251"/>
              <a:gd name="connsiteX13164" fmla="*/ 5580262 w 8079933"/>
              <a:gd name="connsiteY13164" fmla="*/ 2070890 h 4687251"/>
              <a:gd name="connsiteX13165" fmla="*/ 5580251 w 8079933"/>
              <a:gd name="connsiteY13165" fmla="*/ 2070565 h 4687251"/>
              <a:gd name="connsiteX13166" fmla="*/ 4404472 w 8079933"/>
              <a:gd name="connsiteY13166" fmla="*/ 2065369 h 4687251"/>
              <a:gd name="connsiteX13167" fmla="*/ 4407077 w 8079933"/>
              <a:gd name="connsiteY13167" fmla="*/ 2067643 h 4687251"/>
              <a:gd name="connsiteX13168" fmla="*/ 4408596 w 8079933"/>
              <a:gd name="connsiteY13168" fmla="*/ 2070999 h 4687251"/>
              <a:gd name="connsiteX13169" fmla="*/ 4407945 w 8079933"/>
              <a:gd name="connsiteY13169" fmla="*/ 2072948 h 4687251"/>
              <a:gd name="connsiteX13170" fmla="*/ 4410007 w 8079933"/>
              <a:gd name="connsiteY13170" fmla="*/ 2075114 h 4687251"/>
              <a:gd name="connsiteX13171" fmla="*/ 4410658 w 8079933"/>
              <a:gd name="connsiteY13171" fmla="*/ 2077387 h 4687251"/>
              <a:gd name="connsiteX13172" fmla="*/ 4411634 w 8079933"/>
              <a:gd name="connsiteY13172" fmla="*/ 2078687 h 4687251"/>
              <a:gd name="connsiteX13173" fmla="*/ 4410115 w 8079933"/>
              <a:gd name="connsiteY13173" fmla="*/ 2080961 h 4687251"/>
              <a:gd name="connsiteX13174" fmla="*/ 4407294 w 8079933"/>
              <a:gd name="connsiteY13174" fmla="*/ 2079445 h 4687251"/>
              <a:gd name="connsiteX13175" fmla="*/ 4404038 w 8079933"/>
              <a:gd name="connsiteY13175" fmla="*/ 2079012 h 4687251"/>
              <a:gd name="connsiteX13176" fmla="*/ 4404038 w 8079933"/>
              <a:gd name="connsiteY13176" fmla="*/ 2076305 h 4687251"/>
              <a:gd name="connsiteX13177" fmla="*/ 4402844 w 8079933"/>
              <a:gd name="connsiteY13177" fmla="*/ 2075114 h 4687251"/>
              <a:gd name="connsiteX13178" fmla="*/ 4402844 w 8079933"/>
              <a:gd name="connsiteY13178" fmla="*/ 2077496 h 4687251"/>
              <a:gd name="connsiteX13179" fmla="*/ 4401651 w 8079933"/>
              <a:gd name="connsiteY13179" fmla="*/ 2078795 h 4687251"/>
              <a:gd name="connsiteX13180" fmla="*/ 4399481 w 8079933"/>
              <a:gd name="connsiteY13180" fmla="*/ 2076630 h 4687251"/>
              <a:gd name="connsiteX13181" fmla="*/ 4399481 w 8079933"/>
              <a:gd name="connsiteY13181" fmla="*/ 2071540 h 4687251"/>
              <a:gd name="connsiteX13182" fmla="*/ 4402302 w 8079933"/>
              <a:gd name="connsiteY13182" fmla="*/ 2070783 h 4687251"/>
              <a:gd name="connsiteX13183" fmla="*/ 4404364 w 8079933"/>
              <a:gd name="connsiteY13183" fmla="*/ 2071108 h 4687251"/>
              <a:gd name="connsiteX13184" fmla="*/ 5658199 w 8079933"/>
              <a:gd name="connsiteY13184" fmla="*/ 2065091 h 4687251"/>
              <a:gd name="connsiteX13185" fmla="*/ 5658274 w 8079933"/>
              <a:gd name="connsiteY13185" fmla="*/ 2065369 h 4687251"/>
              <a:gd name="connsiteX13186" fmla="*/ 5658274 w 8079933"/>
              <a:gd name="connsiteY13186" fmla="*/ 2065369 h 4687251"/>
              <a:gd name="connsiteX13187" fmla="*/ 3775765 w 8079933"/>
              <a:gd name="connsiteY13187" fmla="*/ 2062950 h 4687251"/>
              <a:gd name="connsiteX13188" fmla="*/ 3775728 w 8079933"/>
              <a:gd name="connsiteY13188" fmla="*/ 2062987 h 4687251"/>
              <a:gd name="connsiteX13189" fmla="*/ 3779093 w 8079933"/>
              <a:gd name="connsiteY13189" fmla="*/ 2069916 h 4687251"/>
              <a:gd name="connsiteX13190" fmla="*/ 3784190 w 8079933"/>
              <a:gd name="connsiteY13190" fmla="*/ 2070234 h 4687251"/>
              <a:gd name="connsiteX13191" fmla="*/ 3784300 w 8079933"/>
              <a:gd name="connsiteY13191" fmla="*/ 2069482 h 4687251"/>
              <a:gd name="connsiteX13192" fmla="*/ 3779091 w 8079933"/>
              <a:gd name="connsiteY13192" fmla="*/ 2069482 h 4687251"/>
              <a:gd name="connsiteX13193" fmla="*/ 5626805 w 8079933"/>
              <a:gd name="connsiteY13193" fmla="*/ 2062771 h 4687251"/>
              <a:gd name="connsiteX13194" fmla="*/ 5615953 w 8079933"/>
              <a:gd name="connsiteY13194" fmla="*/ 2069700 h 4687251"/>
              <a:gd name="connsiteX13195" fmla="*/ 5612697 w 8079933"/>
              <a:gd name="connsiteY13195" fmla="*/ 2072514 h 4687251"/>
              <a:gd name="connsiteX13196" fmla="*/ 5611721 w 8079933"/>
              <a:gd name="connsiteY13196" fmla="*/ 2076845 h 4687251"/>
              <a:gd name="connsiteX13197" fmla="*/ 5607814 w 8079933"/>
              <a:gd name="connsiteY13197" fmla="*/ 2080310 h 4687251"/>
              <a:gd name="connsiteX13198" fmla="*/ 5599567 w 8079933"/>
              <a:gd name="connsiteY13198" fmla="*/ 2084100 h 4687251"/>
              <a:gd name="connsiteX13199" fmla="*/ 5598699 w 8079933"/>
              <a:gd name="connsiteY13199" fmla="*/ 2086481 h 4687251"/>
              <a:gd name="connsiteX13200" fmla="*/ 5594575 w 8079933"/>
              <a:gd name="connsiteY13200" fmla="*/ 2089622 h 4687251"/>
              <a:gd name="connsiteX13201" fmla="*/ 5598699 w 8079933"/>
              <a:gd name="connsiteY13201" fmla="*/ 2086482 h 4687251"/>
              <a:gd name="connsiteX13202" fmla="*/ 5599567 w 8079933"/>
              <a:gd name="connsiteY13202" fmla="*/ 2084100 h 4687251"/>
              <a:gd name="connsiteX13203" fmla="*/ 5607814 w 8079933"/>
              <a:gd name="connsiteY13203" fmla="*/ 2080311 h 4687251"/>
              <a:gd name="connsiteX13204" fmla="*/ 5611721 w 8079933"/>
              <a:gd name="connsiteY13204" fmla="*/ 2076846 h 4687251"/>
              <a:gd name="connsiteX13205" fmla="*/ 5612697 w 8079933"/>
              <a:gd name="connsiteY13205" fmla="*/ 2072515 h 4687251"/>
              <a:gd name="connsiteX13206" fmla="*/ 5615954 w 8079933"/>
              <a:gd name="connsiteY13206" fmla="*/ 2069700 h 4687251"/>
              <a:gd name="connsiteX13207" fmla="*/ 5646989 w 8079933"/>
              <a:gd name="connsiteY13207" fmla="*/ 2061363 h 4687251"/>
              <a:gd name="connsiteX13208" fmla="*/ 5643842 w 8079933"/>
              <a:gd name="connsiteY13208" fmla="*/ 2065152 h 4687251"/>
              <a:gd name="connsiteX13209" fmla="*/ 5634944 w 8079933"/>
              <a:gd name="connsiteY13209" fmla="*/ 2066235 h 4687251"/>
              <a:gd name="connsiteX13210" fmla="*/ 5634944 w 8079933"/>
              <a:gd name="connsiteY13210" fmla="*/ 2066236 h 4687251"/>
              <a:gd name="connsiteX13211" fmla="*/ 5643842 w 8079933"/>
              <a:gd name="connsiteY13211" fmla="*/ 2065153 h 4687251"/>
              <a:gd name="connsiteX13212" fmla="*/ 4528616 w 8079933"/>
              <a:gd name="connsiteY13212" fmla="*/ 2061363 h 4687251"/>
              <a:gd name="connsiteX13213" fmla="*/ 4531546 w 8079933"/>
              <a:gd name="connsiteY13213" fmla="*/ 2062554 h 4687251"/>
              <a:gd name="connsiteX13214" fmla="*/ 4532739 w 8079933"/>
              <a:gd name="connsiteY13214" fmla="*/ 2063637 h 4687251"/>
              <a:gd name="connsiteX13215" fmla="*/ 4533716 w 8079933"/>
              <a:gd name="connsiteY13215" fmla="*/ 2069484 h 4687251"/>
              <a:gd name="connsiteX13216" fmla="*/ 4532848 w 8079933"/>
              <a:gd name="connsiteY13216" fmla="*/ 2073382 h 4687251"/>
              <a:gd name="connsiteX13217" fmla="*/ 4529593 w 8079933"/>
              <a:gd name="connsiteY13217" fmla="*/ 2074898 h 4687251"/>
              <a:gd name="connsiteX13218" fmla="*/ 4526988 w 8079933"/>
              <a:gd name="connsiteY13218" fmla="*/ 2072949 h 4687251"/>
              <a:gd name="connsiteX13219" fmla="*/ 4526988 w 8079933"/>
              <a:gd name="connsiteY13219" fmla="*/ 2071000 h 4687251"/>
              <a:gd name="connsiteX13220" fmla="*/ 4529158 w 8079933"/>
              <a:gd name="connsiteY13220" fmla="*/ 2070241 h 4687251"/>
              <a:gd name="connsiteX13221" fmla="*/ 4528941 w 8079933"/>
              <a:gd name="connsiteY13221" fmla="*/ 2066669 h 4687251"/>
              <a:gd name="connsiteX13222" fmla="*/ 4525903 w 8079933"/>
              <a:gd name="connsiteY13222" fmla="*/ 2064287 h 4687251"/>
              <a:gd name="connsiteX13223" fmla="*/ 4525903 w 8079933"/>
              <a:gd name="connsiteY13223" fmla="*/ 2062771 h 4687251"/>
              <a:gd name="connsiteX13224" fmla="*/ 5465333 w 8079933"/>
              <a:gd name="connsiteY13224" fmla="*/ 2061255 h 4687251"/>
              <a:gd name="connsiteX13225" fmla="*/ 5465333 w 8079933"/>
              <a:gd name="connsiteY13225" fmla="*/ 2061255 h 4687251"/>
              <a:gd name="connsiteX13226" fmla="*/ 5465666 w 8079933"/>
              <a:gd name="connsiteY13226" fmla="*/ 2064000 h 4687251"/>
              <a:gd name="connsiteX13227" fmla="*/ 5223449 w 8079933"/>
              <a:gd name="connsiteY13227" fmla="*/ 2060497 h 4687251"/>
              <a:gd name="connsiteX13228" fmla="*/ 5223448 w 8079933"/>
              <a:gd name="connsiteY13228" fmla="*/ 2060497 h 4687251"/>
              <a:gd name="connsiteX13229" fmla="*/ 5232455 w 8079933"/>
              <a:gd name="connsiteY13229" fmla="*/ 2062447 h 4687251"/>
              <a:gd name="connsiteX13230" fmla="*/ 5232455 w 8079933"/>
              <a:gd name="connsiteY13230" fmla="*/ 2062446 h 4687251"/>
              <a:gd name="connsiteX13231" fmla="*/ 5552688 w 8079933"/>
              <a:gd name="connsiteY13231" fmla="*/ 2060064 h 4687251"/>
              <a:gd name="connsiteX13232" fmla="*/ 5549432 w 8079933"/>
              <a:gd name="connsiteY13232" fmla="*/ 2065152 h 4687251"/>
              <a:gd name="connsiteX13233" fmla="*/ 5544333 w 8079933"/>
              <a:gd name="connsiteY13233" fmla="*/ 2065694 h 4687251"/>
              <a:gd name="connsiteX13234" fmla="*/ 5549433 w 8079933"/>
              <a:gd name="connsiteY13234" fmla="*/ 2065153 h 4687251"/>
              <a:gd name="connsiteX13235" fmla="*/ 5552688 w 8079933"/>
              <a:gd name="connsiteY13235" fmla="*/ 2060064 h 4687251"/>
              <a:gd name="connsiteX13236" fmla="*/ 3291201 w 8079933"/>
              <a:gd name="connsiteY13236" fmla="*/ 2057899 h 4687251"/>
              <a:gd name="connsiteX13237" fmla="*/ 3294999 w 8079933"/>
              <a:gd name="connsiteY13237" fmla="*/ 2058440 h 4687251"/>
              <a:gd name="connsiteX13238" fmla="*/ 3299340 w 8079933"/>
              <a:gd name="connsiteY13238" fmla="*/ 2062229 h 4687251"/>
              <a:gd name="connsiteX13239" fmla="*/ 3296519 w 8079933"/>
              <a:gd name="connsiteY13239" fmla="*/ 2062879 h 4687251"/>
              <a:gd name="connsiteX13240" fmla="*/ 3291634 w 8079933"/>
              <a:gd name="connsiteY13240" fmla="*/ 2062554 h 4687251"/>
              <a:gd name="connsiteX13241" fmla="*/ 4407512 w 8079933"/>
              <a:gd name="connsiteY13241" fmla="*/ 2057682 h 4687251"/>
              <a:gd name="connsiteX13242" fmla="*/ 4408163 w 8079933"/>
              <a:gd name="connsiteY13242" fmla="*/ 2061688 h 4687251"/>
              <a:gd name="connsiteX13243" fmla="*/ 4406752 w 8079933"/>
              <a:gd name="connsiteY13243" fmla="*/ 2063529 h 4687251"/>
              <a:gd name="connsiteX13244" fmla="*/ 4405233 w 8079933"/>
              <a:gd name="connsiteY13244" fmla="*/ 2063854 h 4687251"/>
              <a:gd name="connsiteX13245" fmla="*/ 4404039 w 8079933"/>
              <a:gd name="connsiteY13245" fmla="*/ 2063421 h 4687251"/>
              <a:gd name="connsiteX13246" fmla="*/ 4403714 w 8079933"/>
              <a:gd name="connsiteY13246" fmla="*/ 2061796 h 4687251"/>
              <a:gd name="connsiteX13247" fmla="*/ 4405884 w 8079933"/>
              <a:gd name="connsiteY13247" fmla="*/ 2057898 h 4687251"/>
              <a:gd name="connsiteX13248" fmla="*/ 5248950 w 8079933"/>
              <a:gd name="connsiteY13248" fmla="*/ 2057249 h 4687251"/>
              <a:gd name="connsiteX13249" fmla="*/ 5257522 w 8079933"/>
              <a:gd name="connsiteY13249" fmla="*/ 2064178 h 4687251"/>
              <a:gd name="connsiteX13250" fmla="*/ 5264960 w 8079933"/>
              <a:gd name="connsiteY13250" fmla="*/ 2066222 h 4687251"/>
              <a:gd name="connsiteX13251" fmla="*/ 5257523 w 8079933"/>
              <a:gd name="connsiteY13251" fmla="*/ 2064178 h 4687251"/>
              <a:gd name="connsiteX13252" fmla="*/ 4944127 w 8079933"/>
              <a:gd name="connsiteY13252" fmla="*/ 2056817 h 4687251"/>
              <a:gd name="connsiteX13253" fmla="*/ 4944127 w 8079933"/>
              <a:gd name="connsiteY13253" fmla="*/ 2056817 h 4687251"/>
              <a:gd name="connsiteX13254" fmla="*/ 4949660 w 8079933"/>
              <a:gd name="connsiteY13254" fmla="*/ 2057466 h 4687251"/>
              <a:gd name="connsiteX13255" fmla="*/ 4949660 w 8079933"/>
              <a:gd name="connsiteY13255" fmla="*/ 2057466 h 4687251"/>
              <a:gd name="connsiteX13256" fmla="*/ 5238967 w 8079933"/>
              <a:gd name="connsiteY13256" fmla="*/ 2055517 h 4687251"/>
              <a:gd name="connsiteX13257" fmla="*/ 5238966 w 8079933"/>
              <a:gd name="connsiteY13257" fmla="*/ 2055517 h 4687251"/>
              <a:gd name="connsiteX13258" fmla="*/ 5243632 w 8079933"/>
              <a:gd name="connsiteY13258" fmla="*/ 2057466 h 4687251"/>
              <a:gd name="connsiteX13259" fmla="*/ 5243633 w 8079933"/>
              <a:gd name="connsiteY13259" fmla="*/ 2057466 h 4687251"/>
              <a:gd name="connsiteX13260" fmla="*/ 5574173 w 8079933"/>
              <a:gd name="connsiteY13260" fmla="*/ 2055063 h 4687251"/>
              <a:gd name="connsiteX13261" fmla="*/ 5574283 w 8079933"/>
              <a:gd name="connsiteY13261" fmla="*/ 2055408 h 4687251"/>
              <a:gd name="connsiteX13262" fmla="*/ 5578189 w 8079933"/>
              <a:gd name="connsiteY13262" fmla="*/ 2055192 h 4687251"/>
              <a:gd name="connsiteX13263" fmla="*/ 5579926 w 8079933"/>
              <a:gd name="connsiteY13263" fmla="*/ 2059739 h 4687251"/>
              <a:gd name="connsiteX13264" fmla="*/ 5579926 w 8079933"/>
              <a:gd name="connsiteY13264" fmla="*/ 2059739 h 4687251"/>
              <a:gd name="connsiteX13265" fmla="*/ 5578189 w 8079933"/>
              <a:gd name="connsiteY13265" fmla="*/ 2055191 h 4687251"/>
              <a:gd name="connsiteX13266" fmla="*/ 5574283 w 8079933"/>
              <a:gd name="connsiteY13266" fmla="*/ 2055408 h 4687251"/>
              <a:gd name="connsiteX13267" fmla="*/ 3299774 w 8079933"/>
              <a:gd name="connsiteY13267" fmla="*/ 2053677 h 4687251"/>
              <a:gd name="connsiteX13268" fmla="*/ 3302703 w 8079933"/>
              <a:gd name="connsiteY13268" fmla="*/ 2054110 h 4687251"/>
              <a:gd name="connsiteX13269" fmla="*/ 3304114 w 8079933"/>
              <a:gd name="connsiteY13269" fmla="*/ 2056710 h 4687251"/>
              <a:gd name="connsiteX13270" fmla="*/ 3321476 w 8079933"/>
              <a:gd name="connsiteY13270" fmla="*/ 2052810 h 4687251"/>
              <a:gd name="connsiteX13271" fmla="*/ 3323755 w 8079933"/>
              <a:gd name="connsiteY13271" fmla="*/ 2054218 h 4687251"/>
              <a:gd name="connsiteX13272" fmla="*/ 3323538 w 8079933"/>
              <a:gd name="connsiteY13272" fmla="*/ 2056058 h 4687251"/>
              <a:gd name="connsiteX13273" fmla="*/ 3320283 w 8079933"/>
              <a:gd name="connsiteY13273" fmla="*/ 2053676 h 4687251"/>
              <a:gd name="connsiteX13274" fmla="*/ 4495192 w 8079933"/>
              <a:gd name="connsiteY13274" fmla="*/ 2051186 h 4687251"/>
              <a:gd name="connsiteX13275" fmla="*/ 4497146 w 8079933"/>
              <a:gd name="connsiteY13275" fmla="*/ 2053351 h 4687251"/>
              <a:gd name="connsiteX13276" fmla="*/ 4499533 w 8079933"/>
              <a:gd name="connsiteY13276" fmla="*/ 2054109 h 4687251"/>
              <a:gd name="connsiteX13277" fmla="*/ 4499967 w 8079933"/>
              <a:gd name="connsiteY13277" fmla="*/ 2058115 h 4687251"/>
              <a:gd name="connsiteX13278" fmla="*/ 4498448 w 8079933"/>
              <a:gd name="connsiteY13278" fmla="*/ 2058765 h 4687251"/>
              <a:gd name="connsiteX13279" fmla="*/ 4497146 w 8079933"/>
              <a:gd name="connsiteY13279" fmla="*/ 2056057 h 4687251"/>
              <a:gd name="connsiteX13280" fmla="*/ 4495951 w 8079933"/>
              <a:gd name="connsiteY13280" fmla="*/ 2055733 h 4687251"/>
              <a:gd name="connsiteX13281" fmla="*/ 4493456 w 8079933"/>
              <a:gd name="connsiteY13281" fmla="*/ 2051727 h 4687251"/>
              <a:gd name="connsiteX13282" fmla="*/ 4465135 w 8079933"/>
              <a:gd name="connsiteY13282" fmla="*/ 2050970 h 4687251"/>
              <a:gd name="connsiteX13283" fmla="*/ 4468716 w 8079933"/>
              <a:gd name="connsiteY13283" fmla="*/ 2054976 h 4687251"/>
              <a:gd name="connsiteX13284" fmla="*/ 4472948 w 8079933"/>
              <a:gd name="connsiteY13284" fmla="*/ 2056492 h 4687251"/>
              <a:gd name="connsiteX13285" fmla="*/ 4476962 w 8079933"/>
              <a:gd name="connsiteY13285" fmla="*/ 2058657 h 4687251"/>
              <a:gd name="connsiteX13286" fmla="*/ 4477505 w 8079933"/>
              <a:gd name="connsiteY13286" fmla="*/ 2059631 h 4687251"/>
              <a:gd name="connsiteX13287" fmla="*/ 4480544 w 8079933"/>
              <a:gd name="connsiteY13287" fmla="*/ 2059740 h 4687251"/>
              <a:gd name="connsiteX13288" fmla="*/ 4481087 w 8079933"/>
              <a:gd name="connsiteY13288" fmla="*/ 2058982 h 4687251"/>
              <a:gd name="connsiteX13289" fmla="*/ 4486729 w 8079933"/>
              <a:gd name="connsiteY13289" fmla="*/ 2064721 h 4687251"/>
              <a:gd name="connsiteX13290" fmla="*/ 4488791 w 8079933"/>
              <a:gd name="connsiteY13290" fmla="*/ 2068294 h 4687251"/>
              <a:gd name="connsiteX13291" fmla="*/ 4488900 w 8079933"/>
              <a:gd name="connsiteY13291" fmla="*/ 2070243 h 4687251"/>
              <a:gd name="connsiteX13292" fmla="*/ 4489551 w 8079933"/>
              <a:gd name="connsiteY13292" fmla="*/ 2072733 h 4687251"/>
              <a:gd name="connsiteX13293" fmla="*/ 4489116 w 8079933"/>
              <a:gd name="connsiteY13293" fmla="*/ 2076197 h 4687251"/>
              <a:gd name="connsiteX13294" fmla="*/ 4492372 w 8079933"/>
              <a:gd name="connsiteY13294" fmla="*/ 2079337 h 4687251"/>
              <a:gd name="connsiteX13295" fmla="*/ 4493674 w 8079933"/>
              <a:gd name="connsiteY13295" fmla="*/ 2078363 h 4687251"/>
              <a:gd name="connsiteX13296" fmla="*/ 4497906 w 8079933"/>
              <a:gd name="connsiteY13296" fmla="*/ 2078796 h 4687251"/>
              <a:gd name="connsiteX13297" fmla="*/ 4496170 w 8079933"/>
              <a:gd name="connsiteY13297" fmla="*/ 2083560 h 4687251"/>
              <a:gd name="connsiteX13298" fmla="*/ 4494000 w 8079933"/>
              <a:gd name="connsiteY13298" fmla="*/ 2082369 h 4687251"/>
              <a:gd name="connsiteX13299" fmla="*/ 4491938 w 8079933"/>
              <a:gd name="connsiteY13299" fmla="*/ 2083452 h 4687251"/>
              <a:gd name="connsiteX13300" fmla="*/ 4488465 w 8079933"/>
              <a:gd name="connsiteY13300" fmla="*/ 2081178 h 4687251"/>
              <a:gd name="connsiteX13301" fmla="*/ 4487163 w 8079933"/>
              <a:gd name="connsiteY13301" fmla="*/ 2078796 h 4687251"/>
              <a:gd name="connsiteX13302" fmla="*/ 4487598 w 8079933"/>
              <a:gd name="connsiteY13302" fmla="*/ 2076197 h 4687251"/>
              <a:gd name="connsiteX13303" fmla="*/ 4485644 w 8079933"/>
              <a:gd name="connsiteY13303" fmla="*/ 2074357 h 4687251"/>
              <a:gd name="connsiteX13304" fmla="*/ 4482605 w 8079933"/>
              <a:gd name="connsiteY13304" fmla="*/ 2069809 h 4687251"/>
              <a:gd name="connsiteX13305" fmla="*/ 4481412 w 8079933"/>
              <a:gd name="connsiteY13305" fmla="*/ 2067752 h 4687251"/>
              <a:gd name="connsiteX13306" fmla="*/ 4478374 w 8079933"/>
              <a:gd name="connsiteY13306" fmla="*/ 2068077 h 4687251"/>
              <a:gd name="connsiteX13307" fmla="*/ 4474033 w 8079933"/>
              <a:gd name="connsiteY13307" fmla="*/ 2065695 h 4687251"/>
              <a:gd name="connsiteX13308" fmla="*/ 4472079 w 8079933"/>
              <a:gd name="connsiteY13308" fmla="*/ 2062772 h 4687251"/>
              <a:gd name="connsiteX13309" fmla="*/ 4469150 w 8079933"/>
              <a:gd name="connsiteY13309" fmla="*/ 2062122 h 4687251"/>
              <a:gd name="connsiteX13310" fmla="*/ 4467305 w 8079933"/>
              <a:gd name="connsiteY13310" fmla="*/ 2059523 h 4687251"/>
              <a:gd name="connsiteX13311" fmla="*/ 4465135 w 8079933"/>
              <a:gd name="connsiteY13311" fmla="*/ 2058549 h 4687251"/>
              <a:gd name="connsiteX13312" fmla="*/ 4464158 w 8079933"/>
              <a:gd name="connsiteY13312" fmla="*/ 2057033 h 4687251"/>
              <a:gd name="connsiteX13313" fmla="*/ 4461879 w 8079933"/>
              <a:gd name="connsiteY13313" fmla="*/ 2055084 h 4687251"/>
              <a:gd name="connsiteX13314" fmla="*/ 4457756 w 8079933"/>
              <a:gd name="connsiteY13314" fmla="*/ 2055301 h 4687251"/>
              <a:gd name="connsiteX13315" fmla="*/ 4455694 w 8079933"/>
              <a:gd name="connsiteY13315" fmla="*/ 2054868 h 4687251"/>
              <a:gd name="connsiteX13316" fmla="*/ 4459057 w 8079933"/>
              <a:gd name="connsiteY13316" fmla="*/ 2051945 h 4687251"/>
              <a:gd name="connsiteX13317" fmla="*/ 3979087 w 8079933"/>
              <a:gd name="connsiteY13317" fmla="*/ 2049129 h 4687251"/>
              <a:gd name="connsiteX13318" fmla="*/ 3980932 w 8079933"/>
              <a:gd name="connsiteY13318" fmla="*/ 2052160 h 4687251"/>
              <a:gd name="connsiteX13319" fmla="*/ 3978328 w 8079933"/>
              <a:gd name="connsiteY13319" fmla="*/ 2054759 h 4687251"/>
              <a:gd name="connsiteX13320" fmla="*/ 3975614 w 8079933"/>
              <a:gd name="connsiteY13320" fmla="*/ 2058549 h 4687251"/>
              <a:gd name="connsiteX13321" fmla="*/ 3972143 w 8079933"/>
              <a:gd name="connsiteY13321" fmla="*/ 2055300 h 4687251"/>
              <a:gd name="connsiteX13322" fmla="*/ 3972902 w 8079933"/>
              <a:gd name="connsiteY13322" fmla="*/ 2050970 h 4687251"/>
              <a:gd name="connsiteX13323" fmla="*/ 5451551 w 8079933"/>
              <a:gd name="connsiteY13323" fmla="*/ 2047992 h 4687251"/>
              <a:gd name="connsiteX13324" fmla="*/ 5452962 w 8079933"/>
              <a:gd name="connsiteY13324" fmla="*/ 2049562 h 4687251"/>
              <a:gd name="connsiteX13325" fmla="*/ 5456760 w 8079933"/>
              <a:gd name="connsiteY13325" fmla="*/ 2048913 h 4687251"/>
              <a:gd name="connsiteX13326" fmla="*/ 5460820 w 8079933"/>
              <a:gd name="connsiteY13326" fmla="*/ 2051728 h 4687251"/>
              <a:gd name="connsiteX13327" fmla="*/ 5456760 w 8079933"/>
              <a:gd name="connsiteY13327" fmla="*/ 2048912 h 4687251"/>
              <a:gd name="connsiteX13328" fmla="*/ 5452962 w 8079933"/>
              <a:gd name="connsiteY13328" fmla="*/ 2049562 h 4687251"/>
              <a:gd name="connsiteX13329" fmla="*/ 4472187 w 8079933"/>
              <a:gd name="connsiteY13329" fmla="*/ 2045880 h 4687251"/>
              <a:gd name="connsiteX13330" fmla="*/ 4474684 w 8079933"/>
              <a:gd name="connsiteY13330" fmla="*/ 2046746 h 4687251"/>
              <a:gd name="connsiteX13331" fmla="*/ 4475443 w 8079933"/>
              <a:gd name="connsiteY13331" fmla="*/ 2049777 h 4687251"/>
              <a:gd name="connsiteX13332" fmla="*/ 4474684 w 8079933"/>
              <a:gd name="connsiteY13332" fmla="*/ 2051402 h 4687251"/>
              <a:gd name="connsiteX13333" fmla="*/ 4470777 w 8079933"/>
              <a:gd name="connsiteY13333" fmla="*/ 2046313 h 4687251"/>
              <a:gd name="connsiteX13334" fmla="*/ 4468173 w 8079933"/>
              <a:gd name="connsiteY13334" fmla="*/ 2045123 h 4687251"/>
              <a:gd name="connsiteX13335" fmla="*/ 4469149 w 8079933"/>
              <a:gd name="connsiteY13335" fmla="*/ 2046097 h 4687251"/>
              <a:gd name="connsiteX13336" fmla="*/ 4467955 w 8079933"/>
              <a:gd name="connsiteY13336" fmla="*/ 2048480 h 4687251"/>
              <a:gd name="connsiteX13337" fmla="*/ 4466328 w 8079933"/>
              <a:gd name="connsiteY13337" fmla="*/ 2046422 h 4687251"/>
              <a:gd name="connsiteX13338" fmla="*/ 5437335 w 8079933"/>
              <a:gd name="connsiteY13338" fmla="*/ 2044365 h 4687251"/>
              <a:gd name="connsiteX13339" fmla="*/ 5437336 w 8079933"/>
              <a:gd name="connsiteY13339" fmla="*/ 2044365 h 4687251"/>
              <a:gd name="connsiteX13340" fmla="*/ 5444023 w 8079933"/>
              <a:gd name="connsiteY13340" fmla="*/ 2045439 h 4687251"/>
              <a:gd name="connsiteX13341" fmla="*/ 5004678 w 8079933"/>
              <a:gd name="connsiteY13341" fmla="*/ 2044040 h 4687251"/>
              <a:gd name="connsiteX13342" fmla="*/ 5000447 w 8079933"/>
              <a:gd name="connsiteY13342" fmla="*/ 2045988 h 4687251"/>
              <a:gd name="connsiteX13343" fmla="*/ 4997084 w 8079933"/>
              <a:gd name="connsiteY13343" fmla="*/ 2044797 h 4687251"/>
              <a:gd name="connsiteX13344" fmla="*/ 4997082 w 8079933"/>
              <a:gd name="connsiteY13344" fmla="*/ 2044798 h 4687251"/>
              <a:gd name="connsiteX13345" fmla="*/ 4994113 w 8079933"/>
              <a:gd name="connsiteY13345" fmla="*/ 2045354 h 4687251"/>
              <a:gd name="connsiteX13346" fmla="*/ 4997082 w 8079933"/>
              <a:gd name="connsiteY13346" fmla="*/ 2044798 h 4687251"/>
              <a:gd name="connsiteX13347" fmla="*/ 5000446 w 8079933"/>
              <a:gd name="connsiteY13347" fmla="*/ 2045989 h 4687251"/>
              <a:gd name="connsiteX13348" fmla="*/ 5004678 w 8079933"/>
              <a:gd name="connsiteY13348" fmla="*/ 2044040 h 4687251"/>
              <a:gd name="connsiteX13349" fmla="*/ 4537841 w 8079933"/>
              <a:gd name="connsiteY13349" fmla="*/ 2038951 h 4687251"/>
              <a:gd name="connsiteX13350" fmla="*/ 4538600 w 8079933"/>
              <a:gd name="connsiteY13350" fmla="*/ 2040141 h 4687251"/>
              <a:gd name="connsiteX13351" fmla="*/ 4537623 w 8079933"/>
              <a:gd name="connsiteY13351" fmla="*/ 2042849 h 4687251"/>
              <a:gd name="connsiteX13352" fmla="*/ 4538708 w 8079933"/>
              <a:gd name="connsiteY13352" fmla="*/ 2043065 h 4687251"/>
              <a:gd name="connsiteX13353" fmla="*/ 4539576 w 8079933"/>
              <a:gd name="connsiteY13353" fmla="*/ 2046421 h 4687251"/>
              <a:gd name="connsiteX13354" fmla="*/ 4539468 w 8079933"/>
              <a:gd name="connsiteY13354" fmla="*/ 2051510 h 4687251"/>
              <a:gd name="connsiteX13355" fmla="*/ 4534693 w 8079933"/>
              <a:gd name="connsiteY13355" fmla="*/ 2051835 h 4687251"/>
              <a:gd name="connsiteX13356" fmla="*/ 4531437 w 8079933"/>
              <a:gd name="connsiteY13356" fmla="*/ 2050319 h 4687251"/>
              <a:gd name="connsiteX13357" fmla="*/ 4532740 w 8079933"/>
              <a:gd name="connsiteY13357" fmla="*/ 2048371 h 4687251"/>
              <a:gd name="connsiteX13358" fmla="*/ 4534693 w 8079933"/>
              <a:gd name="connsiteY13358" fmla="*/ 2046746 h 4687251"/>
              <a:gd name="connsiteX13359" fmla="*/ 4535019 w 8079933"/>
              <a:gd name="connsiteY13359" fmla="*/ 2043823 h 4687251"/>
              <a:gd name="connsiteX13360" fmla="*/ 4531546 w 8079933"/>
              <a:gd name="connsiteY13360" fmla="*/ 2043931 h 4687251"/>
              <a:gd name="connsiteX13361" fmla="*/ 4530461 w 8079933"/>
              <a:gd name="connsiteY13361" fmla="*/ 2046638 h 4687251"/>
              <a:gd name="connsiteX13362" fmla="*/ 4529918 w 8079933"/>
              <a:gd name="connsiteY13362" fmla="*/ 2049453 h 4687251"/>
              <a:gd name="connsiteX13363" fmla="*/ 4527748 w 8079933"/>
              <a:gd name="connsiteY13363" fmla="*/ 2049994 h 4687251"/>
              <a:gd name="connsiteX13364" fmla="*/ 4526229 w 8079933"/>
              <a:gd name="connsiteY13364" fmla="*/ 2049886 h 4687251"/>
              <a:gd name="connsiteX13365" fmla="*/ 4522648 w 8079933"/>
              <a:gd name="connsiteY13365" fmla="*/ 2046963 h 4687251"/>
              <a:gd name="connsiteX13366" fmla="*/ 4524818 w 8079933"/>
              <a:gd name="connsiteY13366" fmla="*/ 2043282 h 4687251"/>
              <a:gd name="connsiteX13367" fmla="*/ 4530244 w 8079933"/>
              <a:gd name="connsiteY13367" fmla="*/ 2041333 h 4687251"/>
              <a:gd name="connsiteX13368" fmla="*/ 4532740 w 8079933"/>
              <a:gd name="connsiteY13368" fmla="*/ 2039709 h 4687251"/>
              <a:gd name="connsiteX13369" fmla="*/ 5007175 w 8079933"/>
              <a:gd name="connsiteY13369" fmla="*/ 2038951 h 4687251"/>
              <a:gd name="connsiteX13370" fmla="*/ 5007174 w 8079933"/>
              <a:gd name="connsiteY13370" fmla="*/ 2038952 h 4687251"/>
              <a:gd name="connsiteX13371" fmla="*/ 5009561 w 8079933"/>
              <a:gd name="connsiteY13371" fmla="*/ 2038952 h 4687251"/>
              <a:gd name="connsiteX13372" fmla="*/ 5009562 w 8079933"/>
              <a:gd name="connsiteY13372" fmla="*/ 2038951 h 4687251"/>
              <a:gd name="connsiteX13373" fmla="*/ 4998338 w 8079933"/>
              <a:gd name="connsiteY13373" fmla="*/ 2038499 h 4687251"/>
              <a:gd name="connsiteX13374" fmla="*/ 4997407 w 8079933"/>
              <a:gd name="connsiteY13374" fmla="*/ 2039601 h 4687251"/>
              <a:gd name="connsiteX13375" fmla="*/ 4997407 w 8079933"/>
              <a:gd name="connsiteY13375" fmla="*/ 2044689 h 4687251"/>
              <a:gd name="connsiteX13376" fmla="*/ 4997409 w 8079933"/>
              <a:gd name="connsiteY13376" fmla="*/ 2044688 h 4687251"/>
              <a:gd name="connsiteX13377" fmla="*/ 4997409 w 8079933"/>
              <a:gd name="connsiteY13377" fmla="*/ 2039600 h 4687251"/>
              <a:gd name="connsiteX13378" fmla="*/ 7025693 w 8079933"/>
              <a:gd name="connsiteY13378" fmla="*/ 2038085 h 4687251"/>
              <a:gd name="connsiteX13379" fmla="*/ 7027864 w 8079933"/>
              <a:gd name="connsiteY13379" fmla="*/ 2040359 h 4687251"/>
              <a:gd name="connsiteX13380" fmla="*/ 7026127 w 8079933"/>
              <a:gd name="connsiteY13380" fmla="*/ 2041333 h 4687251"/>
              <a:gd name="connsiteX13381" fmla="*/ 7024825 w 8079933"/>
              <a:gd name="connsiteY13381" fmla="*/ 2040683 h 4687251"/>
              <a:gd name="connsiteX13382" fmla="*/ 5498183 w 8079933"/>
              <a:gd name="connsiteY13382" fmla="*/ 2037773 h 4687251"/>
              <a:gd name="connsiteX13383" fmla="*/ 5498430 w 8079933"/>
              <a:gd name="connsiteY13383" fmla="*/ 2038410 h 4687251"/>
              <a:gd name="connsiteX13384" fmla="*/ 5501620 w 8079933"/>
              <a:gd name="connsiteY13384" fmla="*/ 2039754 h 4687251"/>
              <a:gd name="connsiteX13385" fmla="*/ 5498430 w 8079933"/>
              <a:gd name="connsiteY13385" fmla="*/ 2038410 h 4687251"/>
              <a:gd name="connsiteX13386" fmla="*/ 5168686 w 8079933"/>
              <a:gd name="connsiteY13386" fmla="*/ 2036907 h 4687251"/>
              <a:gd name="connsiteX13387" fmla="*/ 5170167 w 8079933"/>
              <a:gd name="connsiteY13387" fmla="*/ 2041551 h 4687251"/>
              <a:gd name="connsiteX13388" fmla="*/ 5170167 w 8079933"/>
              <a:gd name="connsiteY13388" fmla="*/ 2048371 h 4687251"/>
              <a:gd name="connsiteX13389" fmla="*/ 5170817 w 8079933"/>
              <a:gd name="connsiteY13389" fmla="*/ 2052160 h 4687251"/>
              <a:gd name="connsiteX13390" fmla="*/ 5170817 w 8079933"/>
              <a:gd name="connsiteY13390" fmla="*/ 2064395 h 4687251"/>
              <a:gd name="connsiteX13391" fmla="*/ 5170832 w 8079933"/>
              <a:gd name="connsiteY13391" fmla="*/ 2064427 h 4687251"/>
              <a:gd name="connsiteX13392" fmla="*/ 5171252 w 8079933"/>
              <a:gd name="connsiteY13392" fmla="*/ 2052594 h 4687251"/>
              <a:gd name="connsiteX13393" fmla="*/ 5170492 w 8079933"/>
              <a:gd name="connsiteY13393" fmla="*/ 2048804 h 4687251"/>
              <a:gd name="connsiteX13394" fmla="*/ 5170709 w 8079933"/>
              <a:gd name="connsiteY13394" fmla="*/ 2041983 h 4687251"/>
              <a:gd name="connsiteX13395" fmla="*/ 5169081 w 8079933"/>
              <a:gd name="connsiteY13395" fmla="*/ 2037111 h 4687251"/>
              <a:gd name="connsiteX13396" fmla="*/ 5565699 w 8079933"/>
              <a:gd name="connsiteY13396" fmla="*/ 2036607 h 4687251"/>
              <a:gd name="connsiteX13397" fmla="*/ 5569617 w 8079933"/>
              <a:gd name="connsiteY13397" fmla="*/ 2039385 h 4687251"/>
              <a:gd name="connsiteX13398" fmla="*/ 5573957 w 8079933"/>
              <a:gd name="connsiteY13398" fmla="*/ 2041658 h 4687251"/>
              <a:gd name="connsiteX13399" fmla="*/ 5573957 w 8079933"/>
              <a:gd name="connsiteY13399" fmla="*/ 2041657 h 4687251"/>
              <a:gd name="connsiteX13400" fmla="*/ 5569617 w 8079933"/>
              <a:gd name="connsiteY13400" fmla="*/ 2039384 h 4687251"/>
              <a:gd name="connsiteX13401" fmla="*/ 5559742 w 8079933"/>
              <a:gd name="connsiteY13401" fmla="*/ 2036460 h 4687251"/>
              <a:gd name="connsiteX13402" fmla="*/ 5557354 w 8079933"/>
              <a:gd name="connsiteY13402" fmla="*/ 2040791 h 4687251"/>
              <a:gd name="connsiteX13403" fmla="*/ 5556486 w 8079933"/>
              <a:gd name="connsiteY13403" fmla="*/ 2047612 h 4687251"/>
              <a:gd name="connsiteX13404" fmla="*/ 5553556 w 8079933"/>
              <a:gd name="connsiteY13404" fmla="*/ 2050211 h 4687251"/>
              <a:gd name="connsiteX13405" fmla="*/ 5551494 w 8079933"/>
              <a:gd name="connsiteY13405" fmla="*/ 2053459 h 4687251"/>
              <a:gd name="connsiteX13406" fmla="*/ 5551494 w 8079933"/>
              <a:gd name="connsiteY13406" fmla="*/ 2053459 h 4687251"/>
              <a:gd name="connsiteX13407" fmla="*/ 5553556 w 8079933"/>
              <a:gd name="connsiteY13407" fmla="*/ 2050211 h 4687251"/>
              <a:gd name="connsiteX13408" fmla="*/ 5556486 w 8079933"/>
              <a:gd name="connsiteY13408" fmla="*/ 2047612 h 4687251"/>
              <a:gd name="connsiteX13409" fmla="*/ 5557354 w 8079933"/>
              <a:gd name="connsiteY13409" fmla="*/ 2040792 h 4687251"/>
              <a:gd name="connsiteX13410" fmla="*/ 5559742 w 8079933"/>
              <a:gd name="connsiteY13410" fmla="*/ 2036461 h 4687251"/>
              <a:gd name="connsiteX13411" fmla="*/ 5565493 w 8079933"/>
              <a:gd name="connsiteY13411" fmla="*/ 2036461 h 4687251"/>
              <a:gd name="connsiteX13412" fmla="*/ 5565492 w 8079933"/>
              <a:gd name="connsiteY13412" fmla="*/ 2036460 h 4687251"/>
              <a:gd name="connsiteX13413" fmla="*/ 5035380 w 8079933"/>
              <a:gd name="connsiteY13413" fmla="*/ 2034708 h 4687251"/>
              <a:gd name="connsiteX13414" fmla="*/ 5034954 w 8079933"/>
              <a:gd name="connsiteY13414" fmla="*/ 2035054 h 4687251"/>
              <a:gd name="connsiteX13415" fmla="*/ 5036257 w 8079933"/>
              <a:gd name="connsiteY13415" fmla="*/ 2037436 h 4687251"/>
              <a:gd name="connsiteX13416" fmla="*/ 5041790 w 8079933"/>
              <a:gd name="connsiteY13416" fmla="*/ 2040900 h 4687251"/>
              <a:gd name="connsiteX13417" fmla="*/ 5041792 w 8079933"/>
              <a:gd name="connsiteY13417" fmla="*/ 2040899 h 4687251"/>
              <a:gd name="connsiteX13418" fmla="*/ 5036258 w 8079933"/>
              <a:gd name="connsiteY13418" fmla="*/ 2037435 h 4687251"/>
              <a:gd name="connsiteX13419" fmla="*/ 5034956 w 8079933"/>
              <a:gd name="connsiteY13419" fmla="*/ 2035053 h 4687251"/>
              <a:gd name="connsiteX13420" fmla="*/ 7033181 w 8079933"/>
              <a:gd name="connsiteY13420" fmla="*/ 2032888 h 4687251"/>
              <a:gd name="connsiteX13421" fmla="*/ 7033941 w 8079933"/>
              <a:gd name="connsiteY13421" fmla="*/ 2036678 h 4687251"/>
              <a:gd name="connsiteX13422" fmla="*/ 7031987 w 8079933"/>
              <a:gd name="connsiteY13422" fmla="*/ 2038519 h 4687251"/>
              <a:gd name="connsiteX13423" fmla="*/ 7029925 w 8079933"/>
              <a:gd name="connsiteY13423" fmla="*/ 2038302 h 4687251"/>
              <a:gd name="connsiteX13424" fmla="*/ 7028406 w 8079933"/>
              <a:gd name="connsiteY13424" fmla="*/ 2036461 h 4687251"/>
              <a:gd name="connsiteX13425" fmla="*/ 7030251 w 8079933"/>
              <a:gd name="connsiteY13425" fmla="*/ 2033321 h 4687251"/>
              <a:gd name="connsiteX13426" fmla="*/ 5054597 w 8079933"/>
              <a:gd name="connsiteY13426" fmla="*/ 2032454 h 4687251"/>
              <a:gd name="connsiteX13427" fmla="*/ 5052644 w 8079933"/>
              <a:gd name="connsiteY13427" fmla="*/ 2034186 h 4687251"/>
              <a:gd name="connsiteX13428" fmla="*/ 5051233 w 8079933"/>
              <a:gd name="connsiteY13428" fmla="*/ 2037976 h 4687251"/>
              <a:gd name="connsiteX13429" fmla="*/ 5052969 w 8079933"/>
              <a:gd name="connsiteY13429" fmla="*/ 2044147 h 4687251"/>
              <a:gd name="connsiteX13430" fmla="*/ 5052535 w 8079933"/>
              <a:gd name="connsiteY13430" fmla="*/ 2047937 h 4687251"/>
              <a:gd name="connsiteX13431" fmla="*/ 5053729 w 8079933"/>
              <a:gd name="connsiteY13431" fmla="*/ 2049994 h 4687251"/>
              <a:gd name="connsiteX13432" fmla="*/ 5053512 w 8079933"/>
              <a:gd name="connsiteY13432" fmla="*/ 2059088 h 4687251"/>
              <a:gd name="connsiteX13433" fmla="*/ 5051450 w 8079933"/>
              <a:gd name="connsiteY13433" fmla="*/ 2060388 h 4687251"/>
              <a:gd name="connsiteX13434" fmla="*/ 5047543 w 8079933"/>
              <a:gd name="connsiteY13434" fmla="*/ 2059522 h 4687251"/>
              <a:gd name="connsiteX13435" fmla="*/ 5046024 w 8079933"/>
              <a:gd name="connsiteY13435" fmla="*/ 2056815 h 4687251"/>
              <a:gd name="connsiteX13436" fmla="*/ 5042009 w 8079933"/>
              <a:gd name="connsiteY13436" fmla="*/ 2054866 h 4687251"/>
              <a:gd name="connsiteX13437" fmla="*/ 5034087 w 8079933"/>
              <a:gd name="connsiteY13437" fmla="*/ 2046097 h 4687251"/>
              <a:gd name="connsiteX13438" fmla="*/ 5034086 w 8079933"/>
              <a:gd name="connsiteY13438" fmla="*/ 2046097 h 4687251"/>
              <a:gd name="connsiteX13439" fmla="*/ 5042008 w 8079933"/>
              <a:gd name="connsiteY13439" fmla="*/ 2054868 h 4687251"/>
              <a:gd name="connsiteX13440" fmla="*/ 5046023 w 8079933"/>
              <a:gd name="connsiteY13440" fmla="*/ 2056816 h 4687251"/>
              <a:gd name="connsiteX13441" fmla="*/ 5047543 w 8079933"/>
              <a:gd name="connsiteY13441" fmla="*/ 2059523 h 4687251"/>
              <a:gd name="connsiteX13442" fmla="*/ 5051449 w 8079933"/>
              <a:gd name="connsiteY13442" fmla="*/ 2060390 h 4687251"/>
              <a:gd name="connsiteX13443" fmla="*/ 5053511 w 8079933"/>
              <a:gd name="connsiteY13443" fmla="*/ 2059090 h 4687251"/>
              <a:gd name="connsiteX13444" fmla="*/ 5053511 w 8079933"/>
              <a:gd name="connsiteY13444" fmla="*/ 2060497 h 4687251"/>
              <a:gd name="connsiteX13445" fmla="*/ 5056984 w 8079933"/>
              <a:gd name="connsiteY13445" fmla="*/ 2065478 h 4687251"/>
              <a:gd name="connsiteX13446" fmla="*/ 5057634 w 8079933"/>
              <a:gd name="connsiteY13446" fmla="*/ 2071108 h 4687251"/>
              <a:gd name="connsiteX13447" fmla="*/ 5056657 w 8079933"/>
              <a:gd name="connsiteY13447" fmla="*/ 2076629 h 4687251"/>
              <a:gd name="connsiteX13448" fmla="*/ 5058177 w 8079933"/>
              <a:gd name="connsiteY13448" fmla="*/ 2078903 h 4687251"/>
              <a:gd name="connsiteX13449" fmla="*/ 5059706 w 8079933"/>
              <a:gd name="connsiteY13449" fmla="*/ 2079134 h 4687251"/>
              <a:gd name="connsiteX13450" fmla="*/ 5058611 w 8079933"/>
              <a:gd name="connsiteY13450" fmla="*/ 2077496 h 4687251"/>
              <a:gd name="connsiteX13451" fmla="*/ 5059588 w 8079933"/>
              <a:gd name="connsiteY13451" fmla="*/ 2071974 h 4687251"/>
              <a:gd name="connsiteX13452" fmla="*/ 5058937 w 8079933"/>
              <a:gd name="connsiteY13452" fmla="*/ 2066344 h 4687251"/>
              <a:gd name="connsiteX13453" fmla="*/ 5055464 w 8079933"/>
              <a:gd name="connsiteY13453" fmla="*/ 2061364 h 4687251"/>
              <a:gd name="connsiteX13454" fmla="*/ 5055464 w 8079933"/>
              <a:gd name="connsiteY13454" fmla="*/ 2050537 h 4687251"/>
              <a:gd name="connsiteX13455" fmla="*/ 5054270 w 8079933"/>
              <a:gd name="connsiteY13455" fmla="*/ 2048480 h 4687251"/>
              <a:gd name="connsiteX13456" fmla="*/ 5054270 w 8079933"/>
              <a:gd name="connsiteY13456" fmla="*/ 2044690 h 4687251"/>
              <a:gd name="connsiteX13457" fmla="*/ 5052534 w 8079933"/>
              <a:gd name="connsiteY13457" fmla="*/ 2038519 h 4687251"/>
              <a:gd name="connsiteX13458" fmla="*/ 5053945 w 8079933"/>
              <a:gd name="connsiteY13458" fmla="*/ 2034729 h 4687251"/>
              <a:gd name="connsiteX13459" fmla="*/ 5055466 w 8079933"/>
              <a:gd name="connsiteY13459" fmla="*/ 2033379 h 4687251"/>
              <a:gd name="connsiteX13460" fmla="*/ 4960078 w 8079933"/>
              <a:gd name="connsiteY13460" fmla="*/ 2032130 h 4687251"/>
              <a:gd name="connsiteX13461" fmla="*/ 4960078 w 8079933"/>
              <a:gd name="connsiteY13461" fmla="*/ 2032131 h 4687251"/>
              <a:gd name="connsiteX13462" fmla="*/ 4970495 w 8079933"/>
              <a:gd name="connsiteY13462" fmla="*/ 2037760 h 4687251"/>
              <a:gd name="connsiteX13463" fmla="*/ 4970495 w 8079933"/>
              <a:gd name="connsiteY13463" fmla="*/ 2037759 h 4687251"/>
              <a:gd name="connsiteX13464" fmla="*/ 4995672 w 8079933"/>
              <a:gd name="connsiteY13464" fmla="*/ 2031264 h 4687251"/>
              <a:gd name="connsiteX13465" fmla="*/ 4995671 w 8079933"/>
              <a:gd name="connsiteY13465" fmla="*/ 2031264 h 4687251"/>
              <a:gd name="connsiteX13466" fmla="*/ 4999144 w 8079933"/>
              <a:gd name="connsiteY13466" fmla="*/ 2037544 h 4687251"/>
              <a:gd name="connsiteX13467" fmla="*/ 4999144 w 8079933"/>
              <a:gd name="connsiteY13467" fmla="*/ 2037543 h 4687251"/>
              <a:gd name="connsiteX13468" fmla="*/ 3771611 w 8079933"/>
              <a:gd name="connsiteY13468" fmla="*/ 2030508 h 4687251"/>
              <a:gd name="connsiteX13469" fmla="*/ 3771171 w 8079933"/>
              <a:gd name="connsiteY13469" fmla="*/ 2030614 h 4687251"/>
              <a:gd name="connsiteX13470" fmla="*/ 3777465 w 8079933"/>
              <a:gd name="connsiteY13470" fmla="*/ 2042307 h 4687251"/>
              <a:gd name="connsiteX13471" fmla="*/ 3782999 w 8079933"/>
              <a:gd name="connsiteY13471" fmla="*/ 2045771 h 4687251"/>
              <a:gd name="connsiteX13472" fmla="*/ 3783215 w 8079933"/>
              <a:gd name="connsiteY13472" fmla="*/ 2052152 h 4687251"/>
              <a:gd name="connsiteX13473" fmla="*/ 3783215 w 8079933"/>
              <a:gd name="connsiteY13473" fmla="*/ 2045446 h 4687251"/>
              <a:gd name="connsiteX13474" fmla="*/ 3777681 w 8079933"/>
              <a:gd name="connsiteY13474" fmla="*/ 2041982 h 4687251"/>
              <a:gd name="connsiteX13475" fmla="*/ 4001768 w 8079933"/>
              <a:gd name="connsiteY13475" fmla="*/ 2030505 h 4687251"/>
              <a:gd name="connsiteX13476" fmla="*/ 4007302 w 8079933"/>
              <a:gd name="connsiteY13476" fmla="*/ 2031371 h 4687251"/>
              <a:gd name="connsiteX13477" fmla="*/ 4012185 w 8079933"/>
              <a:gd name="connsiteY13477" fmla="*/ 2031696 h 4687251"/>
              <a:gd name="connsiteX13478" fmla="*/ 4006759 w 8079933"/>
              <a:gd name="connsiteY13478" fmla="*/ 2036568 h 4687251"/>
              <a:gd name="connsiteX13479" fmla="*/ 4004698 w 8079933"/>
              <a:gd name="connsiteY13479" fmla="*/ 2042740 h 4687251"/>
              <a:gd name="connsiteX13480" fmla="*/ 4000900 w 8079933"/>
              <a:gd name="connsiteY13480" fmla="*/ 2039276 h 4687251"/>
              <a:gd name="connsiteX13481" fmla="*/ 3996125 w 8079933"/>
              <a:gd name="connsiteY13481" fmla="*/ 2037760 h 4687251"/>
              <a:gd name="connsiteX13482" fmla="*/ 3997102 w 8079933"/>
              <a:gd name="connsiteY13482" fmla="*/ 2033645 h 4687251"/>
              <a:gd name="connsiteX13483" fmla="*/ 5018064 w 8079933"/>
              <a:gd name="connsiteY13483" fmla="*/ 2029913 h 4687251"/>
              <a:gd name="connsiteX13484" fmla="*/ 5016507 w 8079933"/>
              <a:gd name="connsiteY13484" fmla="*/ 2032021 h 4687251"/>
              <a:gd name="connsiteX13485" fmla="*/ 5013686 w 8079933"/>
              <a:gd name="connsiteY13485" fmla="*/ 2033212 h 4687251"/>
              <a:gd name="connsiteX13486" fmla="*/ 5013685 w 8079933"/>
              <a:gd name="connsiteY13486" fmla="*/ 2033213 h 4687251"/>
              <a:gd name="connsiteX13487" fmla="*/ 5016507 w 8079933"/>
              <a:gd name="connsiteY13487" fmla="*/ 2032022 h 4687251"/>
              <a:gd name="connsiteX13488" fmla="*/ 4981130 w 8079933"/>
              <a:gd name="connsiteY13488" fmla="*/ 2029640 h 4687251"/>
              <a:gd name="connsiteX13489" fmla="*/ 4991764 w 8079933"/>
              <a:gd name="connsiteY13489" fmla="*/ 2045771 h 4687251"/>
              <a:gd name="connsiteX13490" fmla="*/ 4990462 w 8079933"/>
              <a:gd name="connsiteY13490" fmla="*/ 2049561 h 4687251"/>
              <a:gd name="connsiteX13491" fmla="*/ 4983734 w 8079933"/>
              <a:gd name="connsiteY13491" fmla="*/ 2045771 h 4687251"/>
              <a:gd name="connsiteX13492" fmla="*/ 4977549 w 8079933"/>
              <a:gd name="connsiteY13492" fmla="*/ 2045555 h 4687251"/>
              <a:gd name="connsiteX13493" fmla="*/ 4971364 w 8079933"/>
              <a:gd name="connsiteY13493" fmla="*/ 2042416 h 4687251"/>
              <a:gd name="connsiteX13494" fmla="*/ 4971364 w 8079933"/>
              <a:gd name="connsiteY13494" fmla="*/ 2042416 h 4687251"/>
              <a:gd name="connsiteX13495" fmla="*/ 4977549 w 8079933"/>
              <a:gd name="connsiteY13495" fmla="*/ 2045556 h 4687251"/>
              <a:gd name="connsiteX13496" fmla="*/ 4983735 w 8079933"/>
              <a:gd name="connsiteY13496" fmla="*/ 2045772 h 4687251"/>
              <a:gd name="connsiteX13497" fmla="*/ 4990463 w 8079933"/>
              <a:gd name="connsiteY13497" fmla="*/ 2049562 h 4687251"/>
              <a:gd name="connsiteX13498" fmla="*/ 4991764 w 8079933"/>
              <a:gd name="connsiteY13498" fmla="*/ 2045772 h 4687251"/>
              <a:gd name="connsiteX13499" fmla="*/ 4991766 w 8079933"/>
              <a:gd name="connsiteY13499" fmla="*/ 2045772 h 4687251"/>
              <a:gd name="connsiteX13500" fmla="*/ 4981253 w 8079933"/>
              <a:gd name="connsiteY13500" fmla="*/ 2029825 h 4687251"/>
              <a:gd name="connsiteX13501" fmla="*/ 5159797 w 8079933"/>
              <a:gd name="connsiteY13501" fmla="*/ 2029365 h 4687251"/>
              <a:gd name="connsiteX13502" fmla="*/ 5162244 w 8079933"/>
              <a:gd name="connsiteY13502" fmla="*/ 2033538 h 4687251"/>
              <a:gd name="connsiteX13503" fmla="*/ 5162746 w 8079933"/>
              <a:gd name="connsiteY13503" fmla="*/ 2033793 h 4687251"/>
              <a:gd name="connsiteX13504" fmla="*/ 5160183 w 8079933"/>
              <a:gd name="connsiteY13504" fmla="*/ 2029424 h 4687251"/>
              <a:gd name="connsiteX13505" fmla="*/ 3782033 w 8079933"/>
              <a:gd name="connsiteY13505" fmla="*/ 2028755 h 4687251"/>
              <a:gd name="connsiteX13506" fmla="*/ 3781470 w 8079933"/>
              <a:gd name="connsiteY13506" fmla="*/ 2029530 h 4687251"/>
              <a:gd name="connsiteX13507" fmla="*/ 3781479 w 8079933"/>
              <a:gd name="connsiteY13507" fmla="*/ 2029531 h 4687251"/>
              <a:gd name="connsiteX13508" fmla="*/ 4383312 w 8079933"/>
              <a:gd name="connsiteY13508" fmla="*/ 2028124 h 4687251"/>
              <a:gd name="connsiteX13509" fmla="*/ 4385483 w 8079933"/>
              <a:gd name="connsiteY13509" fmla="*/ 2029423 h 4687251"/>
              <a:gd name="connsiteX13510" fmla="*/ 4385265 w 8079933"/>
              <a:gd name="connsiteY13510" fmla="*/ 2034187 h 4687251"/>
              <a:gd name="connsiteX13511" fmla="*/ 4387978 w 8079933"/>
              <a:gd name="connsiteY13511" fmla="*/ 2037110 h 4687251"/>
              <a:gd name="connsiteX13512" fmla="*/ 4391017 w 8079933"/>
              <a:gd name="connsiteY13512" fmla="*/ 2038301 h 4687251"/>
              <a:gd name="connsiteX13513" fmla="*/ 4391559 w 8079933"/>
              <a:gd name="connsiteY13513" fmla="*/ 2039925 h 4687251"/>
              <a:gd name="connsiteX13514" fmla="*/ 4390474 w 8079933"/>
              <a:gd name="connsiteY13514" fmla="*/ 2040791 h 4687251"/>
              <a:gd name="connsiteX13515" fmla="*/ 4386568 w 8079933"/>
              <a:gd name="connsiteY13515" fmla="*/ 2038950 h 4687251"/>
              <a:gd name="connsiteX13516" fmla="*/ 4382336 w 8079933"/>
              <a:gd name="connsiteY13516" fmla="*/ 2034511 h 4687251"/>
              <a:gd name="connsiteX13517" fmla="*/ 4382010 w 8079933"/>
              <a:gd name="connsiteY13517" fmla="*/ 2033104 h 4687251"/>
              <a:gd name="connsiteX13518" fmla="*/ 4379514 w 8079933"/>
              <a:gd name="connsiteY13518" fmla="*/ 2032130 h 4687251"/>
              <a:gd name="connsiteX13519" fmla="*/ 4379189 w 8079933"/>
              <a:gd name="connsiteY13519" fmla="*/ 2029640 h 4687251"/>
              <a:gd name="connsiteX13520" fmla="*/ 5154540 w 8079933"/>
              <a:gd name="connsiteY13520" fmla="*/ 2027366 h 4687251"/>
              <a:gd name="connsiteX13521" fmla="*/ 5151719 w 8079933"/>
              <a:gd name="connsiteY13521" fmla="*/ 2028016 h 4687251"/>
              <a:gd name="connsiteX13522" fmla="*/ 5151730 w 8079933"/>
              <a:gd name="connsiteY13522" fmla="*/ 2028127 h 4687251"/>
              <a:gd name="connsiteX13523" fmla="*/ 5153998 w 8079933"/>
              <a:gd name="connsiteY13523" fmla="*/ 2027584 h 4687251"/>
              <a:gd name="connsiteX13524" fmla="*/ 5156059 w 8079933"/>
              <a:gd name="connsiteY13524" fmla="*/ 2029099 h 4687251"/>
              <a:gd name="connsiteX13525" fmla="*/ 5158034 w 8079933"/>
              <a:gd name="connsiteY13525" fmla="*/ 2029099 h 4687251"/>
              <a:gd name="connsiteX13526" fmla="*/ 5156602 w 8079933"/>
              <a:gd name="connsiteY13526" fmla="*/ 2028882 h 4687251"/>
              <a:gd name="connsiteX13527" fmla="*/ 5023019 w 8079933"/>
              <a:gd name="connsiteY13527" fmla="*/ 2027257 h 4687251"/>
              <a:gd name="connsiteX13528" fmla="*/ 5019546 w 8079933"/>
              <a:gd name="connsiteY13528" fmla="*/ 2027907 h 4687251"/>
              <a:gd name="connsiteX13529" fmla="*/ 5019545 w 8079933"/>
              <a:gd name="connsiteY13529" fmla="*/ 2027908 h 4687251"/>
              <a:gd name="connsiteX13530" fmla="*/ 5023018 w 8079933"/>
              <a:gd name="connsiteY13530" fmla="*/ 2027258 h 4687251"/>
              <a:gd name="connsiteX13531" fmla="*/ 5027468 w 8079933"/>
              <a:gd name="connsiteY13531" fmla="*/ 2023901 h 4687251"/>
              <a:gd name="connsiteX13532" fmla="*/ 5027466 w 8079933"/>
              <a:gd name="connsiteY13532" fmla="*/ 2023902 h 4687251"/>
              <a:gd name="connsiteX13533" fmla="*/ 5029962 w 8079933"/>
              <a:gd name="connsiteY13533" fmla="*/ 2024011 h 4687251"/>
              <a:gd name="connsiteX13534" fmla="*/ 5030396 w 8079933"/>
              <a:gd name="connsiteY13534" fmla="*/ 2025309 h 4687251"/>
              <a:gd name="connsiteX13535" fmla="*/ 5032675 w 8079933"/>
              <a:gd name="connsiteY13535" fmla="*/ 2025850 h 4687251"/>
              <a:gd name="connsiteX13536" fmla="*/ 5034737 w 8079933"/>
              <a:gd name="connsiteY13536" fmla="*/ 2029424 h 4687251"/>
              <a:gd name="connsiteX13537" fmla="*/ 5037884 w 8079933"/>
              <a:gd name="connsiteY13537" fmla="*/ 2032671 h 4687251"/>
              <a:gd name="connsiteX13538" fmla="*/ 5037885 w 8079933"/>
              <a:gd name="connsiteY13538" fmla="*/ 2032670 h 4687251"/>
              <a:gd name="connsiteX13539" fmla="*/ 5034738 w 8079933"/>
              <a:gd name="connsiteY13539" fmla="*/ 2029423 h 4687251"/>
              <a:gd name="connsiteX13540" fmla="*/ 5032676 w 8079933"/>
              <a:gd name="connsiteY13540" fmla="*/ 2025850 h 4687251"/>
              <a:gd name="connsiteX13541" fmla="*/ 5030398 w 8079933"/>
              <a:gd name="connsiteY13541" fmla="*/ 2025308 h 4687251"/>
              <a:gd name="connsiteX13542" fmla="*/ 5029963 w 8079933"/>
              <a:gd name="connsiteY13542" fmla="*/ 2024009 h 4687251"/>
              <a:gd name="connsiteX13543" fmla="*/ 5157482 w 8079933"/>
              <a:gd name="connsiteY13543" fmla="*/ 2023137 h 4687251"/>
              <a:gd name="connsiteX13544" fmla="*/ 5155802 w 8079933"/>
              <a:gd name="connsiteY13544" fmla="*/ 2023539 h 4687251"/>
              <a:gd name="connsiteX13545" fmla="*/ 5155843 w 8079933"/>
              <a:gd name="connsiteY13545" fmla="*/ 2023577 h 4687251"/>
              <a:gd name="connsiteX13546" fmla="*/ 4026401 w 8079933"/>
              <a:gd name="connsiteY13546" fmla="*/ 2022060 h 4687251"/>
              <a:gd name="connsiteX13547" fmla="*/ 4031285 w 8079933"/>
              <a:gd name="connsiteY13547" fmla="*/ 2027041 h 4687251"/>
              <a:gd name="connsiteX13548" fmla="*/ 4030091 w 8079933"/>
              <a:gd name="connsiteY13548" fmla="*/ 2029531 h 4687251"/>
              <a:gd name="connsiteX13549" fmla="*/ 4026293 w 8079933"/>
              <a:gd name="connsiteY13549" fmla="*/ 2027474 h 4687251"/>
              <a:gd name="connsiteX13550" fmla="*/ 4018480 w 8079933"/>
              <a:gd name="connsiteY13550" fmla="*/ 2026715 h 4687251"/>
              <a:gd name="connsiteX13551" fmla="*/ 4019565 w 8079933"/>
              <a:gd name="connsiteY13551" fmla="*/ 2023468 h 4687251"/>
              <a:gd name="connsiteX13552" fmla="*/ 5153130 w 8079933"/>
              <a:gd name="connsiteY13552" fmla="*/ 2021845 h 4687251"/>
              <a:gd name="connsiteX13553" fmla="*/ 5148680 w 8079933"/>
              <a:gd name="connsiteY13553" fmla="*/ 2025417 h 4687251"/>
              <a:gd name="connsiteX13554" fmla="*/ 5148680 w 8079933"/>
              <a:gd name="connsiteY13554" fmla="*/ 2029748 h 4687251"/>
              <a:gd name="connsiteX13555" fmla="*/ 5151285 w 8079933"/>
              <a:gd name="connsiteY13555" fmla="*/ 2033755 h 4687251"/>
              <a:gd name="connsiteX13556" fmla="*/ 5151285 w 8079933"/>
              <a:gd name="connsiteY13556" fmla="*/ 2032036 h 4687251"/>
              <a:gd name="connsiteX13557" fmla="*/ 5149657 w 8079933"/>
              <a:gd name="connsiteY13557" fmla="*/ 2029532 h 4687251"/>
              <a:gd name="connsiteX13558" fmla="*/ 5149331 w 8079933"/>
              <a:gd name="connsiteY13558" fmla="*/ 2025309 h 4687251"/>
              <a:gd name="connsiteX13559" fmla="*/ 5153317 w 8079933"/>
              <a:gd name="connsiteY13559" fmla="*/ 2022012 h 4687251"/>
              <a:gd name="connsiteX13560" fmla="*/ 5496910 w 8079933"/>
              <a:gd name="connsiteY13560" fmla="*/ 2021519 h 4687251"/>
              <a:gd name="connsiteX13561" fmla="*/ 5490182 w 8079933"/>
              <a:gd name="connsiteY13561" fmla="*/ 2021735 h 4687251"/>
              <a:gd name="connsiteX13562" fmla="*/ 5486059 w 8079933"/>
              <a:gd name="connsiteY13562" fmla="*/ 2023901 h 4687251"/>
              <a:gd name="connsiteX13563" fmla="*/ 5485005 w 8079933"/>
              <a:gd name="connsiteY13563" fmla="*/ 2022388 h 4687251"/>
              <a:gd name="connsiteX13564" fmla="*/ 5486059 w 8079933"/>
              <a:gd name="connsiteY13564" fmla="*/ 2023901 h 4687251"/>
              <a:gd name="connsiteX13565" fmla="*/ 5490183 w 8079933"/>
              <a:gd name="connsiteY13565" fmla="*/ 2021736 h 4687251"/>
              <a:gd name="connsiteX13566" fmla="*/ 5496910 w 8079933"/>
              <a:gd name="connsiteY13566" fmla="*/ 2021520 h 4687251"/>
              <a:gd name="connsiteX13567" fmla="*/ 4952645 w 8079933"/>
              <a:gd name="connsiteY13567" fmla="*/ 2020977 h 4687251"/>
              <a:gd name="connsiteX13568" fmla="*/ 4955737 w 8079933"/>
              <a:gd name="connsiteY13568" fmla="*/ 2024660 h 4687251"/>
              <a:gd name="connsiteX13569" fmla="*/ 4958775 w 8079933"/>
              <a:gd name="connsiteY13569" fmla="*/ 2024335 h 4687251"/>
              <a:gd name="connsiteX13570" fmla="*/ 4960403 w 8079933"/>
              <a:gd name="connsiteY13570" fmla="*/ 2028666 h 4687251"/>
              <a:gd name="connsiteX13571" fmla="*/ 4960403 w 8079933"/>
              <a:gd name="connsiteY13571" fmla="*/ 2028665 h 4687251"/>
              <a:gd name="connsiteX13572" fmla="*/ 4958776 w 8079933"/>
              <a:gd name="connsiteY13572" fmla="*/ 2024335 h 4687251"/>
              <a:gd name="connsiteX13573" fmla="*/ 4955737 w 8079933"/>
              <a:gd name="connsiteY13573" fmla="*/ 2024659 h 4687251"/>
              <a:gd name="connsiteX13574" fmla="*/ 4971472 w 8079933"/>
              <a:gd name="connsiteY13574" fmla="*/ 2020329 h 4687251"/>
              <a:gd name="connsiteX13575" fmla="*/ 4973278 w 8079933"/>
              <a:gd name="connsiteY13575" fmla="*/ 2023932 h 4687251"/>
              <a:gd name="connsiteX13576" fmla="*/ 4971472 w 8079933"/>
              <a:gd name="connsiteY13576" fmla="*/ 2020329 h 4687251"/>
              <a:gd name="connsiteX13577" fmla="*/ 4967349 w 8079933"/>
              <a:gd name="connsiteY13577" fmla="*/ 2020329 h 4687251"/>
              <a:gd name="connsiteX13578" fmla="*/ 4964636 w 8079933"/>
              <a:gd name="connsiteY13578" fmla="*/ 2022710 h 4687251"/>
              <a:gd name="connsiteX13579" fmla="*/ 4964636 w 8079933"/>
              <a:gd name="connsiteY13579" fmla="*/ 2022710 h 4687251"/>
              <a:gd name="connsiteX13580" fmla="*/ 4951059 w 8079933"/>
              <a:gd name="connsiteY13580" fmla="*/ 2020167 h 4687251"/>
              <a:gd name="connsiteX13581" fmla="*/ 4951397 w 8079933"/>
              <a:gd name="connsiteY13581" fmla="*/ 2020654 h 4687251"/>
              <a:gd name="connsiteX13582" fmla="*/ 4952373 w 8079933"/>
              <a:gd name="connsiteY13582" fmla="*/ 2020654 h 4687251"/>
              <a:gd name="connsiteX13583" fmla="*/ 4952373 w 8079933"/>
              <a:gd name="connsiteY13583" fmla="*/ 2020653 h 4687251"/>
              <a:gd name="connsiteX13584" fmla="*/ 4951397 w 8079933"/>
              <a:gd name="connsiteY13584" fmla="*/ 2020653 h 4687251"/>
              <a:gd name="connsiteX13585" fmla="*/ 5160834 w 8079933"/>
              <a:gd name="connsiteY13585" fmla="*/ 2018056 h 4687251"/>
              <a:gd name="connsiteX13586" fmla="*/ 5160275 w 8079933"/>
              <a:gd name="connsiteY13586" fmla="*/ 2018283 h 4687251"/>
              <a:gd name="connsiteX13587" fmla="*/ 5163330 w 8079933"/>
              <a:gd name="connsiteY13587" fmla="*/ 2022278 h 4687251"/>
              <a:gd name="connsiteX13588" fmla="*/ 5162165 w 8079933"/>
              <a:gd name="connsiteY13588" fmla="*/ 2023887 h 4687251"/>
              <a:gd name="connsiteX13589" fmla="*/ 5162570 w 8079933"/>
              <a:gd name="connsiteY13589" fmla="*/ 2024010 h 4687251"/>
              <a:gd name="connsiteX13590" fmla="*/ 5163981 w 8079933"/>
              <a:gd name="connsiteY13590" fmla="*/ 2022170 h 4687251"/>
              <a:gd name="connsiteX13591" fmla="*/ 4511689 w 8079933"/>
              <a:gd name="connsiteY13591" fmla="*/ 2017730 h 4687251"/>
              <a:gd name="connsiteX13592" fmla="*/ 4514184 w 8079933"/>
              <a:gd name="connsiteY13592" fmla="*/ 2019029 h 4687251"/>
              <a:gd name="connsiteX13593" fmla="*/ 4511145 w 8079933"/>
              <a:gd name="connsiteY13593" fmla="*/ 2022277 h 4687251"/>
              <a:gd name="connsiteX13594" fmla="*/ 4510603 w 8079933"/>
              <a:gd name="connsiteY13594" fmla="*/ 2026825 h 4687251"/>
              <a:gd name="connsiteX13595" fmla="*/ 4507890 w 8079933"/>
              <a:gd name="connsiteY13595" fmla="*/ 2025634 h 4687251"/>
              <a:gd name="connsiteX13596" fmla="*/ 4505936 w 8079933"/>
              <a:gd name="connsiteY13596" fmla="*/ 2025959 h 4687251"/>
              <a:gd name="connsiteX13597" fmla="*/ 4503766 w 8079933"/>
              <a:gd name="connsiteY13597" fmla="*/ 2024118 h 4687251"/>
              <a:gd name="connsiteX13598" fmla="*/ 4502681 w 8079933"/>
              <a:gd name="connsiteY13598" fmla="*/ 2020545 h 4687251"/>
              <a:gd name="connsiteX13599" fmla="*/ 4503875 w 8079933"/>
              <a:gd name="connsiteY13599" fmla="*/ 2018704 h 4687251"/>
              <a:gd name="connsiteX13600" fmla="*/ 4507673 w 8079933"/>
              <a:gd name="connsiteY13600" fmla="*/ 2018596 h 4687251"/>
              <a:gd name="connsiteX13601" fmla="*/ 4509301 w 8079933"/>
              <a:gd name="connsiteY13601" fmla="*/ 2020004 h 4687251"/>
              <a:gd name="connsiteX13602" fmla="*/ 3783647 w 8079933"/>
              <a:gd name="connsiteY13602" fmla="*/ 2016860 h 4687251"/>
              <a:gd name="connsiteX13603" fmla="*/ 3783325 w 8079933"/>
              <a:gd name="connsiteY13603" fmla="*/ 2017188 h 4687251"/>
              <a:gd name="connsiteX13604" fmla="*/ 3787394 w 8079933"/>
              <a:gd name="connsiteY13604" fmla="*/ 2021248 h 4687251"/>
              <a:gd name="connsiteX13605" fmla="*/ 3787665 w 8079933"/>
              <a:gd name="connsiteY13605" fmla="*/ 2020870 h 4687251"/>
              <a:gd name="connsiteX13606" fmla="*/ 4947445 w 8079933"/>
              <a:gd name="connsiteY13606" fmla="*/ 2015087 h 4687251"/>
              <a:gd name="connsiteX13607" fmla="*/ 4948575 w 8079933"/>
              <a:gd name="connsiteY13607" fmla="*/ 2016215 h 4687251"/>
              <a:gd name="connsiteX13608" fmla="*/ 4948575 w 8079933"/>
              <a:gd name="connsiteY13608" fmla="*/ 2016214 h 4687251"/>
              <a:gd name="connsiteX13609" fmla="*/ 4975271 w 8079933"/>
              <a:gd name="connsiteY13609" fmla="*/ 2011342 h 4687251"/>
              <a:gd name="connsiteX13610" fmla="*/ 4975270 w 8079933"/>
              <a:gd name="connsiteY13610" fmla="*/ 2011343 h 4687251"/>
              <a:gd name="connsiteX13611" fmla="*/ 4978417 w 8079933"/>
              <a:gd name="connsiteY13611" fmla="*/ 2018596 h 4687251"/>
              <a:gd name="connsiteX13612" fmla="*/ 4989052 w 8079933"/>
              <a:gd name="connsiteY13612" fmla="*/ 2024443 h 4687251"/>
              <a:gd name="connsiteX13613" fmla="*/ 4995997 w 8079933"/>
              <a:gd name="connsiteY13613" fmla="*/ 2024768 h 4687251"/>
              <a:gd name="connsiteX13614" fmla="*/ 5001531 w 8079933"/>
              <a:gd name="connsiteY13614" fmla="*/ 2029964 h 4687251"/>
              <a:gd name="connsiteX13615" fmla="*/ 5001532 w 8079933"/>
              <a:gd name="connsiteY13615" fmla="*/ 2029964 h 4687251"/>
              <a:gd name="connsiteX13616" fmla="*/ 4995998 w 8079933"/>
              <a:gd name="connsiteY13616" fmla="*/ 2024766 h 4687251"/>
              <a:gd name="connsiteX13617" fmla="*/ 4989053 w 8079933"/>
              <a:gd name="connsiteY13617" fmla="*/ 2024442 h 4687251"/>
              <a:gd name="connsiteX13618" fmla="*/ 4978418 w 8079933"/>
              <a:gd name="connsiteY13618" fmla="*/ 2018595 h 4687251"/>
              <a:gd name="connsiteX13619" fmla="*/ 4524818 w 8079933"/>
              <a:gd name="connsiteY13619" fmla="*/ 2009718 h 4687251"/>
              <a:gd name="connsiteX13620" fmla="*/ 4527097 w 8079933"/>
              <a:gd name="connsiteY13620" fmla="*/ 2011234 h 4687251"/>
              <a:gd name="connsiteX13621" fmla="*/ 4526446 w 8079933"/>
              <a:gd name="connsiteY13621" fmla="*/ 2013832 h 4687251"/>
              <a:gd name="connsiteX13622" fmla="*/ 4521672 w 8079933"/>
              <a:gd name="connsiteY13622" fmla="*/ 2015132 h 4687251"/>
              <a:gd name="connsiteX13623" fmla="*/ 4517982 w 8079933"/>
              <a:gd name="connsiteY13623" fmla="*/ 2013616 h 4687251"/>
              <a:gd name="connsiteX13624" fmla="*/ 4518850 w 8079933"/>
              <a:gd name="connsiteY13624" fmla="*/ 2011775 h 4687251"/>
              <a:gd name="connsiteX13625" fmla="*/ 4522322 w 8079933"/>
              <a:gd name="connsiteY13625" fmla="*/ 2011667 h 4687251"/>
              <a:gd name="connsiteX13626" fmla="*/ 5145534 w 8079933"/>
              <a:gd name="connsiteY13626" fmla="*/ 2008744 h 4687251"/>
              <a:gd name="connsiteX13627" fmla="*/ 5145286 w 8079933"/>
              <a:gd name="connsiteY13627" fmla="*/ 2009029 h 4687251"/>
              <a:gd name="connsiteX13628" fmla="*/ 5151935 w 8079933"/>
              <a:gd name="connsiteY13628" fmla="*/ 2010152 h 4687251"/>
              <a:gd name="connsiteX13629" fmla="*/ 5152312 w 8079933"/>
              <a:gd name="connsiteY13629" fmla="*/ 2009889 h 4687251"/>
              <a:gd name="connsiteX13630" fmla="*/ 4925570 w 8079933"/>
              <a:gd name="connsiteY13630" fmla="*/ 2007987 h 4687251"/>
              <a:gd name="connsiteX13631" fmla="*/ 4925570 w 8079933"/>
              <a:gd name="connsiteY13631" fmla="*/ 2007987 h 4687251"/>
              <a:gd name="connsiteX13632" fmla="*/ 4932406 w 8079933"/>
              <a:gd name="connsiteY13632" fmla="*/ 2012101 h 4687251"/>
              <a:gd name="connsiteX13633" fmla="*/ 4939894 w 8079933"/>
              <a:gd name="connsiteY13633" fmla="*/ 2012426 h 4687251"/>
              <a:gd name="connsiteX13634" fmla="*/ 4944452 w 8079933"/>
              <a:gd name="connsiteY13634" fmla="*/ 2012101 h 4687251"/>
              <a:gd name="connsiteX13635" fmla="*/ 4944451 w 8079933"/>
              <a:gd name="connsiteY13635" fmla="*/ 2012100 h 4687251"/>
              <a:gd name="connsiteX13636" fmla="*/ 4939894 w 8079933"/>
              <a:gd name="connsiteY13636" fmla="*/ 2012425 h 4687251"/>
              <a:gd name="connsiteX13637" fmla="*/ 4932406 w 8079933"/>
              <a:gd name="connsiteY13637" fmla="*/ 2012100 h 4687251"/>
              <a:gd name="connsiteX13638" fmla="*/ 5155843 w 8079933"/>
              <a:gd name="connsiteY13638" fmla="*/ 2007770 h 4687251"/>
              <a:gd name="connsiteX13639" fmla="*/ 5155394 w 8079933"/>
              <a:gd name="connsiteY13639" fmla="*/ 2008069 h 4687251"/>
              <a:gd name="connsiteX13640" fmla="*/ 5157036 w 8079933"/>
              <a:gd name="connsiteY13640" fmla="*/ 2009610 h 4687251"/>
              <a:gd name="connsiteX13641" fmla="*/ 5155842 w 8079933"/>
              <a:gd name="connsiteY13641" fmla="*/ 2014374 h 4687251"/>
              <a:gd name="connsiteX13642" fmla="*/ 5157253 w 8079933"/>
              <a:gd name="connsiteY13642" fmla="*/ 2019354 h 4687251"/>
              <a:gd name="connsiteX13643" fmla="*/ 5157867 w 8079933"/>
              <a:gd name="connsiteY13643" fmla="*/ 2019105 h 4687251"/>
              <a:gd name="connsiteX13644" fmla="*/ 5156602 w 8079933"/>
              <a:gd name="connsiteY13644" fmla="*/ 2014266 h 4687251"/>
              <a:gd name="connsiteX13645" fmla="*/ 5157796 w 8079933"/>
              <a:gd name="connsiteY13645" fmla="*/ 2009393 h 4687251"/>
              <a:gd name="connsiteX13646" fmla="*/ 4518307 w 8079933"/>
              <a:gd name="connsiteY13646" fmla="*/ 2004197 h 4687251"/>
              <a:gd name="connsiteX13647" fmla="*/ 4521237 w 8079933"/>
              <a:gd name="connsiteY13647" fmla="*/ 2004954 h 4687251"/>
              <a:gd name="connsiteX13648" fmla="*/ 4521345 w 8079933"/>
              <a:gd name="connsiteY13648" fmla="*/ 2007121 h 4687251"/>
              <a:gd name="connsiteX13649" fmla="*/ 4518741 w 8079933"/>
              <a:gd name="connsiteY13649" fmla="*/ 2008095 h 4687251"/>
              <a:gd name="connsiteX13650" fmla="*/ 4514292 w 8079933"/>
              <a:gd name="connsiteY13650" fmla="*/ 2006254 h 4687251"/>
              <a:gd name="connsiteX13651" fmla="*/ 4515052 w 8079933"/>
              <a:gd name="connsiteY13651" fmla="*/ 2004630 h 4687251"/>
              <a:gd name="connsiteX13652" fmla="*/ 5364504 w 8079933"/>
              <a:gd name="connsiteY13652" fmla="*/ 2000565 h 4687251"/>
              <a:gd name="connsiteX13653" fmla="*/ 5371465 w 8079933"/>
              <a:gd name="connsiteY13653" fmla="*/ 2003764 h 4687251"/>
              <a:gd name="connsiteX13654" fmla="*/ 5387309 w 8079933"/>
              <a:gd name="connsiteY13654" fmla="*/ 2013725 h 4687251"/>
              <a:gd name="connsiteX13655" fmla="*/ 5403261 w 8079933"/>
              <a:gd name="connsiteY13655" fmla="*/ 2025417 h 4687251"/>
              <a:gd name="connsiteX13656" fmla="*/ 5421166 w 8079933"/>
              <a:gd name="connsiteY13656" fmla="*/ 2033430 h 4687251"/>
              <a:gd name="connsiteX13657" fmla="*/ 5431893 w 8079933"/>
              <a:gd name="connsiteY13657" fmla="*/ 2040684 h 4687251"/>
              <a:gd name="connsiteX13658" fmla="*/ 5421166 w 8079933"/>
              <a:gd name="connsiteY13658" fmla="*/ 2033429 h 4687251"/>
              <a:gd name="connsiteX13659" fmla="*/ 5403261 w 8079933"/>
              <a:gd name="connsiteY13659" fmla="*/ 2025417 h 4687251"/>
              <a:gd name="connsiteX13660" fmla="*/ 5387309 w 8079933"/>
              <a:gd name="connsiteY13660" fmla="*/ 2013724 h 4687251"/>
              <a:gd name="connsiteX13661" fmla="*/ 5371466 w 8079933"/>
              <a:gd name="connsiteY13661" fmla="*/ 2003763 h 4687251"/>
              <a:gd name="connsiteX13662" fmla="*/ 4494216 w 8079933"/>
              <a:gd name="connsiteY13662" fmla="*/ 1997483 h 4687251"/>
              <a:gd name="connsiteX13663" fmla="*/ 4497471 w 8079933"/>
              <a:gd name="connsiteY13663" fmla="*/ 1999107 h 4687251"/>
              <a:gd name="connsiteX13664" fmla="*/ 4497905 w 8079933"/>
              <a:gd name="connsiteY13664" fmla="*/ 2001705 h 4687251"/>
              <a:gd name="connsiteX13665" fmla="*/ 4494867 w 8079933"/>
              <a:gd name="connsiteY13665" fmla="*/ 2003221 h 4687251"/>
              <a:gd name="connsiteX13666" fmla="*/ 4493564 w 8079933"/>
              <a:gd name="connsiteY13666" fmla="*/ 2002354 h 4687251"/>
              <a:gd name="connsiteX13667" fmla="*/ 4490961 w 8079933"/>
              <a:gd name="connsiteY13667" fmla="*/ 2002462 h 4687251"/>
              <a:gd name="connsiteX13668" fmla="*/ 4492371 w 8079933"/>
              <a:gd name="connsiteY13668" fmla="*/ 1998132 h 4687251"/>
              <a:gd name="connsiteX13669" fmla="*/ 4429974 w 8079933"/>
              <a:gd name="connsiteY13669" fmla="*/ 1990555 h 4687251"/>
              <a:gd name="connsiteX13670" fmla="*/ 4429649 w 8079933"/>
              <a:gd name="connsiteY13670" fmla="*/ 1992611 h 4687251"/>
              <a:gd name="connsiteX13671" fmla="*/ 4429649 w 8079933"/>
              <a:gd name="connsiteY13671" fmla="*/ 1992611 h 4687251"/>
              <a:gd name="connsiteX13672" fmla="*/ 4429975 w 8079933"/>
              <a:gd name="connsiteY13672" fmla="*/ 1990555 h 4687251"/>
              <a:gd name="connsiteX13673" fmla="*/ 5072693 w 8079933"/>
              <a:gd name="connsiteY13673" fmla="*/ 1990446 h 4687251"/>
              <a:gd name="connsiteX13674" fmla="*/ 5078362 w 8079933"/>
              <a:gd name="connsiteY13674" fmla="*/ 1992827 h 4687251"/>
              <a:gd name="connsiteX13675" fmla="*/ 5081726 w 8079933"/>
              <a:gd name="connsiteY13675" fmla="*/ 1997807 h 4687251"/>
              <a:gd name="connsiteX13676" fmla="*/ 5078145 w 8079933"/>
              <a:gd name="connsiteY13676" fmla="*/ 1997266 h 4687251"/>
              <a:gd name="connsiteX13677" fmla="*/ 5074889 w 8079933"/>
              <a:gd name="connsiteY13677" fmla="*/ 1999648 h 4687251"/>
              <a:gd name="connsiteX13678" fmla="*/ 5068487 w 8079933"/>
              <a:gd name="connsiteY13678" fmla="*/ 1999973 h 4687251"/>
              <a:gd name="connsiteX13679" fmla="*/ 5061217 w 8079933"/>
              <a:gd name="connsiteY13679" fmla="*/ 2006036 h 4687251"/>
              <a:gd name="connsiteX13680" fmla="*/ 5061759 w 8079933"/>
              <a:gd name="connsiteY13680" fmla="*/ 2012207 h 4687251"/>
              <a:gd name="connsiteX13681" fmla="*/ 5062627 w 8079933"/>
              <a:gd name="connsiteY13681" fmla="*/ 2017188 h 4687251"/>
              <a:gd name="connsiteX13682" fmla="*/ 5060457 w 8079933"/>
              <a:gd name="connsiteY13682" fmla="*/ 2020111 h 4687251"/>
              <a:gd name="connsiteX13683" fmla="*/ 5059914 w 8079933"/>
              <a:gd name="connsiteY13683" fmla="*/ 2024442 h 4687251"/>
              <a:gd name="connsiteX13684" fmla="*/ 5061434 w 8079933"/>
              <a:gd name="connsiteY13684" fmla="*/ 2026933 h 4687251"/>
              <a:gd name="connsiteX13685" fmla="*/ 5061434 w 8079933"/>
              <a:gd name="connsiteY13685" fmla="*/ 2030397 h 4687251"/>
              <a:gd name="connsiteX13686" fmla="*/ 5059155 w 8079933"/>
              <a:gd name="connsiteY13686" fmla="*/ 2032454 h 4687251"/>
              <a:gd name="connsiteX13687" fmla="*/ 5059155 w 8079933"/>
              <a:gd name="connsiteY13687" fmla="*/ 2040682 h 4687251"/>
              <a:gd name="connsiteX13688" fmla="*/ 5058276 w 8079933"/>
              <a:gd name="connsiteY13688" fmla="*/ 2042801 h 4687251"/>
              <a:gd name="connsiteX13689" fmla="*/ 5059153 w 8079933"/>
              <a:gd name="connsiteY13689" fmla="*/ 2044365 h 4687251"/>
              <a:gd name="connsiteX13690" fmla="*/ 5060564 w 8079933"/>
              <a:gd name="connsiteY13690" fmla="*/ 2041225 h 4687251"/>
              <a:gd name="connsiteX13691" fmla="*/ 5060564 w 8079933"/>
              <a:gd name="connsiteY13691" fmla="*/ 2032997 h 4687251"/>
              <a:gd name="connsiteX13692" fmla="*/ 5062843 w 8079933"/>
              <a:gd name="connsiteY13692" fmla="*/ 2030939 h 4687251"/>
              <a:gd name="connsiteX13693" fmla="*/ 5062843 w 8079933"/>
              <a:gd name="connsiteY13693" fmla="*/ 2027475 h 4687251"/>
              <a:gd name="connsiteX13694" fmla="*/ 5061324 w 8079933"/>
              <a:gd name="connsiteY13694" fmla="*/ 2024876 h 4687251"/>
              <a:gd name="connsiteX13695" fmla="*/ 5061324 w 8079933"/>
              <a:gd name="connsiteY13695" fmla="*/ 2020546 h 4687251"/>
              <a:gd name="connsiteX13696" fmla="*/ 5063603 w 8079933"/>
              <a:gd name="connsiteY13696" fmla="*/ 2017622 h 4687251"/>
              <a:gd name="connsiteX13697" fmla="*/ 5062734 w 8079933"/>
              <a:gd name="connsiteY13697" fmla="*/ 2012642 h 4687251"/>
              <a:gd name="connsiteX13698" fmla="*/ 5062734 w 8079933"/>
              <a:gd name="connsiteY13698" fmla="*/ 2006470 h 4687251"/>
              <a:gd name="connsiteX13699" fmla="*/ 5070005 w 8079933"/>
              <a:gd name="connsiteY13699" fmla="*/ 2000407 h 4687251"/>
              <a:gd name="connsiteX13700" fmla="*/ 5076408 w 8079933"/>
              <a:gd name="connsiteY13700" fmla="*/ 2000407 h 4687251"/>
              <a:gd name="connsiteX13701" fmla="*/ 5079663 w 8079933"/>
              <a:gd name="connsiteY13701" fmla="*/ 1998025 h 4687251"/>
              <a:gd name="connsiteX13702" fmla="*/ 5083244 w 8079933"/>
              <a:gd name="connsiteY13702" fmla="*/ 1998025 h 4687251"/>
              <a:gd name="connsiteX13703" fmla="*/ 5079772 w 8079933"/>
              <a:gd name="connsiteY13703" fmla="*/ 1993045 h 4687251"/>
              <a:gd name="connsiteX13704" fmla="*/ 5073586 w 8079933"/>
              <a:gd name="connsiteY13704" fmla="*/ 1990446 h 4687251"/>
              <a:gd name="connsiteX13705" fmla="*/ 3788350 w 8079933"/>
              <a:gd name="connsiteY13705" fmla="*/ 1990424 h 4687251"/>
              <a:gd name="connsiteX13706" fmla="*/ 3788100 w 8079933"/>
              <a:gd name="connsiteY13706" fmla="*/ 1990662 h 4687251"/>
              <a:gd name="connsiteX13707" fmla="*/ 3789185 w 8079933"/>
              <a:gd name="connsiteY13707" fmla="*/ 1996942 h 4687251"/>
              <a:gd name="connsiteX13708" fmla="*/ 3788431 w 8079933"/>
              <a:gd name="connsiteY13708" fmla="*/ 2011876 h 4687251"/>
              <a:gd name="connsiteX13709" fmla="*/ 3788750 w 8079933"/>
              <a:gd name="connsiteY13709" fmla="*/ 2011558 h 4687251"/>
              <a:gd name="connsiteX13710" fmla="*/ 3789401 w 8079933"/>
              <a:gd name="connsiteY13710" fmla="*/ 1996400 h 4687251"/>
              <a:gd name="connsiteX13711" fmla="*/ 4139911 w 8079933"/>
              <a:gd name="connsiteY13711" fmla="*/ 1986656 h 4687251"/>
              <a:gd name="connsiteX13712" fmla="*/ 4144142 w 8079933"/>
              <a:gd name="connsiteY13712" fmla="*/ 1989904 h 4687251"/>
              <a:gd name="connsiteX13713" fmla="*/ 4145878 w 8079933"/>
              <a:gd name="connsiteY13713" fmla="*/ 1988172 h 4687251"/>
              <a:gd name="connsiteX13714" fmla="*/ 4149351 w 8079933"/>
              <a:gd name="connsiteY13714" fmla="*/ 1994451 h 4687251"/>
              <a:gd name="connsiteX13715" fmla="*/ 4152390 w 8079933"/>
              <a:gd name="connsiteY13715" fmla="*/ 1997916 h 4687251"/>
              <a:gd name="connsiteX13716" fmla="*/ 4153692 w 8079933"/>
              <a:gd name="connsiteY13716" fmla="*/ 2003438 h 4687251"/>
              <a:gd name="connsiteX13717" fmla="*/ 4152933 w 8079933"/>
              <a:gd name="connsiteY13717" fmla="*/ 2007119 h 4687251"/>
              <a:gd name="connsiteX13718" fmla="*/ 4147723 w 8079933"/>
              <a:gd name="connsiteY13718" fmla="*/ 2010476 h 4687251"/>
              <a:gd name="connsiteX13719" fmla="*/ 4153909 w 8079933"/>
              <a:gd name="connsiteY13719" fmla="*/ 2015889 h 4687251"/>
              <a:gd name="connsiteX13720" fmla="*/ 4152064 w 8079933"/>
              <a:gd name="connsiteY13720" fmla="*/ 2024551 h 4687251"/>
              <a:gd name="connsiteX13721" fmla="*/ 4153150 w 8079933"/>
              <a:gd name="connsiteY13721" fmla="*/ 2034186 h 4687251"/>
              <a:gd name="connsiteX13722" fmla="*/ 4152282 w 8079933"/>
              <a:gd name="connsiteY13722" fmla="*/ 2036677 h 4687251"/>
              <a:gd name="connsiteX13723" fmla="*/ 4152282 w 8079933"/>
              <a:gd name="connsiteY13723" fmla="*/ 2045555 h 4687251"/>
              <a:gd name="connsiteX13724" fmla="*/ 4150437 w 8079933"/>
              <a:gd name="connsiteY13724" fmla="*/ 2048912 h 4687251"/>
              <a:gd name="connsiteX13725" fmla="*/ 4147723 w 8079933"/>
              <a:gd name="connsiteY13725" fmla="*/ 2048912 h 4687251"/>
              <a:gd name="connsiteX13726" fmla="*/ 4144794 w 8079933"/>
              <a:gd name="connsiteY13726" fmla="*/ 2046096 h 4687251"/>
              <a:gd name="connsiteX13727" fmla="*/ 4140344 w 8079933"/>
              <a:gd name="connsiteY13727" fmla="*/ 2045663 h 4687251"/>
              <a:gd name="connsiteX13728" fmla="*/ 4138825 w 8079933"/>
              <a:gd name="connsiteY13728" fmla="*/ 2048912 h 4687251"/>
              <a:gd name="connsiteX13729" fmla="*/ 4138499 w 8079933"/>
              <a:gd name="connsiteY13729" fmla="*/ 2054325 h 4687251"/>
              <a:gd name="connsiteX13730" fmla="*/ 4135136 w 8079933"/>
              <a:gd name="connsiteY13730" fmla="*/ 2055841 h 4687251"/>
              <a:gd name="connsiteX13731" fmla="*/ 4132748 w 8079933"/>
              <a:gd name="connsiteY13731" fmla="*/ 2054758 h 4687251"/>
              <a:gd name="connsiteX13732" fmla="*/ 4130904 w 8079933"/>
              <a:gd name="connsiteY13732" fmla="*/ 2055841 h 4687251"/>
              <a:gd name="connsiteX13733" fmla="*/ 4127322 w 8079933"/>
              <a:gd name="connsiteY13733" fmla="*/ 2052051 h 4687251"/>
              <a:gd name="connsiteX13734" fmla="*/ 4124935 w 8079933"/>
              <a:gd name="connsiteY13734" fmla="*/ 2042307 h 4687251"/>
              <a:gd name="connsiteX13735" fmla="*/ 4122982 w 8079933"/>
              <a:gd name="connsiteY13735" fmla="*/ 2039167 h 4687251"/>
              <a:gd name="connsiteX13736" fmla="*/ 4125152 w 8079933"/>
              <a:gd name="connsiteY13736" fmla="*/ 2030830 h 4687251"/>
              <a:gd name="connsiteX13737" fmla="*/ 4127973 w 8079933"/>
              <a:gd name="connsiteY13737" fmla="*/ 2027474 h 4687251"/>
              <a:gd name="connsiteX13738" fmla="*/ 4127973 w 8079933"/>
              <a:gd name="connsiteY13738" fmla="*/ 2025525 h 4687251"/>
              <a:gd name="connsiteX13739" fmla="*/ 4123307 w 8079933"/>
              <a:gd name="connsiteY13739" fmla="*/ 2025092 h 4687251"/>
              <a:gd name="connsiteX13740" fmla="*/ 4121896 w 8079933"/>
              <a:gd name="connsiteY13740" fmla="*/ 2022276 h 4687251"/>
              <a:gd name="connsiteX13741" fmla="*/ 4125260 w 8079933"/>
              <a:gd name="connsiteY13741" fmla="*/ 2018596 h 4687251"/>
              <a:gd name="connsiteX13742" fmla="*/ 4125260 w 8079933"/>
              <a:gd name="connsiteY13742" fmla="*/ 2013074 h 4687251"/>
              <a:gd name="connsiteX13743" fmla="*/ 4122222 w 8079933"/>
              <a:gd name="connsiteY13743" fmla="*/ 2010367 h 4687251"/>
              <a:gd name="connsiteX13744" fmla="*/ 4121354 w 8079933"/>
              <a:gd name="connsiteY13744" fmla="*/ 2006686 h 4687251"/>
              <a:gd name="connsiteX13745" fmla="*/ 4117556 w 8079933"/>
              <a:gd name="connsiteY13745" fmla="*/ 2002896 h 4687251"/>
              <a:gd name="connsiteX13746" fmla="*/ 4118424 w 8079933"/>
              <a:gd name="connsiteY13746" fmla="*/ 1999540 h 4687251"/>
              <a:gd name="connsiteX13747" fmla="*/ 4118424 w 8079933"/>
              <a:gd name="connsiteY13747" fmla="*/ 1994235 h 4687251"/>
              <a:gd name="connsiteX13748" fmla="*/ 4123850 w 8079933"/>
              <a:gd name="connsiteY13748" fmla="*/ 1997483 h 4687251"/>
              <a:gd name="connsiteX13749" fmla="*/ 4127648 w 8079933"/>
              <a:gd name="connsiteY13749" fmla="*/ 1997374 h 4687251"/>
              <a:gd name="connsiteX13750" fmla="*/ 4136330 w 8079933"/>
              <a:gd name="connsiteY13750" fmla="*/ 1987089 h 4687251"/>
              <a:gd name="connsiteX13751" fmla="*/ 4120593 w 8079933"/>
              <a:gd name="connsiteY13751" fmla="*/ 1985357 h 4687251"/>
              <a:gd name="connsiteX13752" fmla="*/ 4122438 w 8079933"/>
              <a:gd name="connsiteY13752" fmla="*/ 1986981 h 4687251"/>
              <a:gd name="connsiteX13753" fmla="*/ 4120485 w 8079933"/>
              <a:gd name="connsiteY13753" fmla="*/ 1989147 h 4687251"/>
              <a:gd name="connsiteX13754" fmla="*/ 4120051 w 8079933"/>
              <a:gd name="connsiteY13754" fmla="*/ 1991312 h 4687251"/>
              <a:gd name="connsiteX13755" fmla="*/ 4118532 w 8079933"/>
              <a:gd name="connsiteY13755" fmla="*/ 1991529 h 4687251"/>
              <a:gd name="connsiteX13756" fmla="*/ 4118315 w 8079933"/>
              <a:gd name="connsiteY13756" fmla="*/ 1988497 h 4687251"/>
              <a:gd name="connsiteX13757" fmla="*/ 4119833 w 8079933"/>
              <a:gd name="connsiteY13757" fmla="*/ 1987631 h 4687251"/>
              <a:gd name="connsiteX13758" fmla="*/ 4919819 w 8079933"/>
              <a:gd name="connsiteY13758" fmla="*/ 1985033 h 4687251"/>
              <a:gd name="connsiteX13759" fmla="*/ 4924159 w 8079933"/>
              <a:gd name="connsiteY13759" fmla="*/ 1986116 h 4687251"/>
              <a:gd name="connsiteX13760" fmla="*/ 4924159 w 8079933"/>
              <a:gd name="connsiteY13760" fmla="*/ 1986115 h 4687251"/>
              <a:gd name="connsiteX13761" fmla="*/ 5353218 w 8079933"/>
              <a:gd name="connsiteY13761" fmla="*/ 1981905 h 4687251"/>
              <a:gd name="connsiteX13762" fmla="*/ 5355948 w 8079933"/>
              <a:gd name="connsiteY13762" fmla="*/ 1983842 h 4687251"/>
              <a:gd name="connsiteX13763" fmla="*/ 5357684 w 8079933"/>
              <a:gd name="connsiteY13763" fmla="*/ 1990013 h 4687251"/>
              <a:gd name="connsiteX13764" fmla="*/ 5358530 w 8079933"/>
              <a:gd name="connsiteY13764" fmla="*/ 1991536 h 4687251"/>
              <a:gd name="connsiteX13765" fmla="*/ 5357684 w 8079933"/>
              <a:gd name="connsiteY13765" fmla="*/ 1990013 h 4687251"/>
              <a:gd name="connsiteX13766" fmla="*/ 5355948 w 8079933"/>
              <a:gd name="connsiteY13766" fmla="*/ 1983841 h 4687251"/>
              <a:gd name="connsiteX13767" fmla="*/ 4956146 w 8079933"/>
              <a:gd name="connsiteY13767" fmla="*/ 1978843 h 4687251"/>
              <a:gd name="connsiteX13768" fmla="*/ 4956170 w 8079933"/>
              <a:gd name="connsiteY13768" fmla="*/ 1978866 h 4687251"/>
              <a:gd name="connsiteX13769" fmla="*/ 4956280 w 8079933"/>
              <a:gd name="connsiteY13769" fmla="*/ 1978970 h 4687251"/>
              <a:gd name="connsiteX13770" fmla="*/ 4964961 w 8079933"/>
              <a:gd name="connsiteY13770" fmla="*/ 1980052 h 4687251"/>
              <a:gd name="connsiteX13771" fmla="*/ 4969736 w 8079933"/>
              <a:gd name="connsiteY13771" fmla="*/ 1984816 h 4687251"/>
              <a:gd name="connsiteX13772" fmla="*/ 4968000 w 8079933"/>
              <a:gd name="connsiteY13772" fmla="*/ 1990338 h 4687251"/>
              <a:gd name="connsiteX13773" fmla="*/ 4968434 w 8079933"/>
              <a:gd name="connsiteY13773" fmla="*/ 1995210 h 4687251"/>
              <a:gd name="connsiteX13774" fmla="*/ 4978091 w 8079933"/>
              <a:gd name="connsiteY13774" fmla="*/ 2003114 h 4687251"/>
              <a:gd name="connsiteX13775" fmla="*/ 4978417 w 8079933"/>
              <a:gd name="connsiteY13775" fmla="*/ 2007878 h 4687251"/>
              <a:gd name="connsiteX13776" fmla="*/ 4977193 w 8079933"/>
              <a:gd name="connsiteY13776" fmla="*/ 2009226 h 4687251"/>
              <a:gd name="connsiteX13777" fmla="*/ 4978418 w 8079933"/>
              <a:gd name="connsiteY13777" fmla="*/ 2007876 h 4687251"/>
              <a:gd name="connsiteX13778" fmla="*/ 4978092 w 8079933"/>
              <a:gd name="connsiteY13778" fmla="*/ 2003113 h 4687251"/>
              <a:gd name="connsiteX13779" fmla="*/ 4968435 w 8079933"/>
              <a:gd name="connsiteY13779" fmla="*/ 1995209 h 4687251"/>
              <a:gd name="connsiteX13780" fmla="*/ 4968000 w 8079933"/>
              <a:gd name="connsiteY13780" fmla="*/ 1990337 h 4687251"/>
              <a:gd name="connsiteX13781" fmla="*/ 4969737 w 8079933"/>
              <a:gd name="connsiteY13781" fmla="*/ 1984815 h 4687251"/>
              <a:gd name="connsiteX13782" fmla="*/ 4964962 w 8079933"/>
              <a:gd name="connsiteY13782" fmla="*/ 1980051 h 4687251"/>
              <a:gd name="connsiteX13783" fmla="*/ 4956281 w 8079933"/>
              <a:gd name="connsiteY13783" fmla="*/ 1978968 h 4687251"/>
              <a:gd name="connsiteX13784" fmla="*/ 4492372 w 8079933"/>
              <a:gd name="connsiteY13784" fmla="*/ 1978752 h 4687251"/>
              <a:gd name="connsiteX13785" fmla="*/ 4493022 w 8079933"/>
              <a:gd name="connsiteY13785" fmla="*/ 1982650 h 4687251"/>
              <a:gd name="connsiteX13786" fmla="*/ 4493023 w 8079933"/>
              <a:gd name="connsiteY13786" fmla="*/ 1982650 h 4687251"/>
              <a:gd name="connsiteX13787" fmla="*/ 4492372 w 8079933"/>
              <a:gd name="connsiteY13787" fmla="*/ 1978752 h 4687251"/>
              <a:gd name="connsiteX13788" fmla="*/ 4915521 w 8079933"/>
              <a:gd name="connsiteY13788" fmla="*/ 1977833 h 4687251"/>
              <a:gd name="connsiteX13789" fmla="*/ 4915520 w 8079933"/>
              <a:gd name="connsiteY13789" fmla="*/ 1977834 h 4687251"/>
              <a:gd name="connsiteX13790" fmla="*/ 4919493 w 8079933"/>
              <a:gd name="connsiteY13790" fmla="*/ 1982109 h 4687251"/>
              <a:gd name="connsiteX13791" fmla="*/ 4919493 w 8079933"/>
              <a:gd name="connsiteY13791" fmla="*/ 1982109 h 4687251"/>
              <a:gd name="connsiteX13792" fmla="*/ 4919464 w 8079933"/>
              <a:gd name="connsiteY13792" fmla="*/ 1982077 h 4687251"/>
              <a:gd name="connsiteX13793" fmla="*/ 5517095 w 8079933"/>
              <a:gd name="connsiteY13793" fmla="*/ 1975504 h 4687251"/>
              <a:gd name="connsiteX13794" fmla="*/ 5517095 w 8079933"/>
              <a:gd name="connsiteY13794" fmla="*/ 1975505 h 4687251"/>
              <a:gd name="connsiteX13795" fmla="*/ 5524474 w 8079933"/>
              <a:gd name="connsiteY13795" fmla="*/ 1979077 h 4687251"/>
              <a:gd name="connsiteX13796" fmla="*/ 5524474 w 8079933"/>
              <a:gd name="connsiteY13796" fmla="*/ 1979077 h 4687251"/>
              <a:gd name="connsiteX13797" fmla="*/ 4977637 w 8079933"/>
              <a:gd name="connsiteY13797" fmla="*/ 1974963 h 4687251"/>
              <a:gd name="connsiteX13798" fmla="*/ 4983376 w 8079933"/>
              <a:gd name="connsiteY13798" fmla="*/ 1975170 h 4687251"/>
              <a:gd name="connsiteX13799" fmla="*/ 4982977 w 8079933"/>
              <a:gd name="connsiteY13799" fmla="*/ 1974963 h 4687251"/>
              <a:gd name="connsiteX13800" fmla="*/ 4933601 w 8079933"/>
              <a:gd name="connsiteY13800" fmla="*/ 1972906 h 4687251"/>
              <a:gd name="connsiteX13801" fmla="*/ 4922749 w 8079933"/>
              <a:gd name="connsiteY13801" fmla="*/ 1975288 h 4687251"/>
              <a:gd name="connsiteX13802" fmla="*/ 4915531 w 8079933"/>
              <a:gd name="connsiteY13802" fmla="*/ 1977830 h 4687251"/>
              <a:gd name="connsiteX13803" fmla="*/ 4915804 w 8079933"/>
              <a:gd name="connsiteY13803" fmla="*/ 1978103 h 4687251"/>
              <a:gd name="connsiteX13804" fmla="*/ 4923182 w 8079933"/>
              <a:gd name="connsiteY13804" fmla="*/ 1975505 h 4687251"/>
              <a:gd name="connsiteX13805" fmla="*/ 4933925 w 8079933"/>
              <a:gd name="connsiteY13805" fmla="*/ 1973123 h 4687251"/>
              <a:gd name="connsiteX13806" fmla="*/ 4936963 w 8079933"/>
              <a:gd name="connsiteY13806" fmla="*/ 1973772 h 4687251"/>
              <a:gd name="connsiteX13807" fmla="*/ 4945965 w 8079933"/>
              <a:gd name="connsiteY13807" fmla="*/ 1973555 h 4687251"/>
              <a:gd name="connsiteX13808" fmla="*/ 4936748 w 8079933"/>
              <a:gd name="connsiteY13808" fmla="*/ 1973555 h 4687251"/>
              <a:gd name="connsiteX13809" fmla="*/ 4533515 w 8079933"/>
              <a:gd name="connsiteY13809" fmla="*/ 1970973 h 4687251"/>
              <a:gd name="connsiteX13810" fmla="*/ 4533499 w 8079933"/>
              <a:gd name="connsiteY13810" fmla="*/ 1971065 h 4687251"/>
              <a:gd name="connsiteX13811" fmla="*/ 4533499 w 8079933"/>
              <a:gd name="connsiteY13811" fmla="*/ 1971065 h 4687251"/>
              <a:gd name="connsiteX13812" fmla="*/ 4884442 w 8079933"/>
              <a:gd name="connsiteY13812" fmla="*/ 1967926 h 4687251"/>
              <a:gd name="connsiteX13813" fmla="*/ 4882164 w 8079933"/>
              <a:gd name="connsiteY13813" fmla="*/ 1970849 h 4687251"/>
              <a:gd name="connsiteX13814" fmla="*/ 4879480 w 8079933"/>
              <a:gd name="connsiteY13814" fmla="*/ 1969992 h 4687251"/>
              <a:gd name="connsiteX13815" fmla="*/ 4879559 w 8079933"/>
              <a:gd name="connsiteY13815" fmla="*/ 1970308 h 4687251"/>
              <a:gd name="connsiteX13816" fmla="*/ 4882272 w 8079933"/>
              <a:gd name="connsiteY13816" fmla="*/ 1971174 h 4687251"/>
              <a:gd name="connsiteX13817" fmla="*/ 4884550 w 8079933"/>
              <a:gd name="connsiteY13817" fmla="*/ 1968251 h 4687251"/>
              <a:gd name="connsiteX13818" fmla="*/ 4890736 w 8079933"/>
              <a:gd name="connsiteY13818" fmla="*/ 1970633 h 4687251"/>
              <a:gd name="connsiteX13819" fmla="*/ 4892499 w 8079933"/>
              <a:gd name="connsiteY13819" fmla="*/ 1970307 h 4687251"/>
              <a:gd name="connsiteX13820" fmla="*/ 4890628 w 8079933"/>
              <a:gd name="connsiteY13820" fmla="*/ 1970307 h 4687251"/>
              <a:gd name="connsiteX13821" fmla="*/ 4960513 w 8079933"/>
              <a:gd name="connsiteY13821" fmla="*/ 1967384 h 4687251"/>
              <a:gd name="connsiteX13822" fmla="*/ 4951506 w 8079933"/>
              <a:gd name="connsiteY13822" fmla="*/ 1970849 h 4687251"/>
              <a:gd name="connsiteX13823" fmla="*/ 4951506 w 8079933"/>
              <a:gd name="connsiteY13823" fmla="*/ 1974472 h 4687251"/>
              <a:gd name="connsiteX13824" fmla="*/ 4951730 w 8079933"/>
              <a:gd name="connsiteY13824" fmla="*/ 1974682 h 4687251"/>
              <a:gd name="connsiteX13825" fmla="*/ 4952157 w 8079933"/>
              <a:gd name="connsiteY13825" fmla="*/ 1970740 h 4687251"/>
              <a:gd name="connsiteX13826" fmla="*/ 4960662 w 8079933"/>
              <a:gd name="connsiteY13826" fmla="*/ 1967468 h 4687251"/>
              <a:gd name="connsiteX13827" fmla="*/ 4400241 w 8079933"/>
              <a:gd name="connsiteY13827" fmla="*/ 1966301 h 4687251"/>
              <a:gd name="connsiteX13828" fmla="*/ 4400241 w 8079933"/>
              <a:gd name="connsiteY13828" fmla="*/ 1966302 h 4687251"/>
              <a:gd name="connsiteX13829" fmla="*/ 4401327 w 8079933"/>
              <a:gd name="connsiteY13829" fmla="*/ 1968468 h 4687251"/>
              <a:gd name="connsiteX13830" fmla="*/ 4401327 w 8079933"/>
              <a:gd name="connsiteY13830" fmla="*/ 1968469 h 4687251"/>
              <a:gd name="connsiteX13831" fmla="*/ 4401760 w 8079933"/>
              <a:gd name="connsiteY13831" fmla="*/ 1969226 h 4687251"/>
              <a:gd name="connsiteX13832" fmla="*/ 4403713 w 8079933"/>
              <a:gd name="connsiteY13832" fmla="*/ 1967277 h 4687251"/>
              <a:gd name="connsiteX13833" fmla="*/ 4403713 w 8079933"/>
              <a:gd name="connsiteY13833" fmla="*/ 1967277 h 4687251"/>
              <a:gd name="connsiteX13834" fmla="*/ 4401761 w 8079933"/>
              <a:gd name="connsiteY13834" fmla="*/ 1969225 h 4687251"/>
              <a:gd name="connsiteX13835" fmla="*/ 4400382 w 8079933"/>
              <a:gd name="connsiteY13835" fmla="*/ 1966572 h 4687251"/>
              <a:gd name="connsiteX13836" fmla="*/ 4401760 w 8079933"/>
              <a:gd name="connsiteY13836" fmla="*/ 1969225 h 4687251"/>
              <a:gd name="connsiteX13837" fmla="*/ 4401326 w 8079933"/>
              <a:gd name="connsiteY13837" fmla="*/ 1968466 h 4687251"/>
              <a:gd name="connsiteX13838" fmla="*/ 3784951 w 8079933"/>
              <a:gd name="connsiteY13838" fmla="*/ 1962728 h 4687251"/>
              <a:gd name="connsiteX13839" fmla="*/ 3780502 w 8079933"/>
              <a:gd name="connsiteY13839" fmla="*/ 1967167 h 4687251"/>
              <a:gd name="connsiteX13840" fmla="*/ 3767372 w 8079933"/>
              <a:gd name="connsiteY13840" fmla="*/ 1964460 h 4687251"/>
              <a:gd name="connsiteX13841" fmla="*/ 3759450 w 8079933"/>
              <a:gd name="connsiteY13841" fmla="*/ 1968575 h 4687251"/>
              <a:gd name="connsiteX13842" fmla="*/ 3757434 w 8079933"/>
              <a:gd name="connsiteY13842" fmla="*/ 1965186 h 4687251"/>
              <a:gd name="connsiteX13843" fmla="*/ 3757389 w 8079933"/>
              <a:gd name="connsiteY13843" fmla="*/ 1965543 h 4687251"/>
              <a:gd name="connsiteX13844" fmla="*/ 3759451 w 8079933"/>
              <a:gd name="connsiteY13844" fmla="*/ 1969008 h 4687251"/>
              <a:gd name="connsiteX13845" fmla="*/ 3767373 w 8079933"/>
              <a:gd name="connsiteY13845" fmla="*/ 1964894 h 4687251"/>
              <a:gd name="connsiteX13846" fmla="*/ 3780504 w 8079933"/>
              <a:gd name="connsiteY13846" fmla="*/ 1967601 h 4687251"/>
              <a:gd name="connsiteX13847" fmla="*/ 3785061 w 8079933"/>
              <a:gd name="connsiteY13847" fmla="*/ 1963162 h 4687251"/>
              <a:gd name="connsiteX13848" fmla="*/ 3795843 w 8079933"/>
              <a:gd name="connsiteY13848" fmla="*/ 1964493 h 4687251"/>
              <a:gd name="connsiteX13849" fmla="*/ 3795803 w 8079933"/>
              <a:gd name="connsiteY13849" fmla="*/ 1964135 h 4687251"/>
              <a:gd name="connsiteX13850" fmla="*/ 4408001 w 8079933"/>
              <a:gd name="connsiteY13850" fmla="*/ 1960901 h 4687251"/>
              <a:gd name="connsiteX13851" fmla="*/ 4403389 w 8079933"/>
              <a:gd name="connsiteY13851" fmla="*/ 1963378 h 4687251"/>
              <a:gd name="connsiteX13852" fmla="*/ 4403389 w 8079933"/>
              <a:gd name="connsiteY13852" fmla="*/ 1963378 h 4687251"/>
              <a:gd name="connsiteX13853" fmla="*/ 5546234 w 8079933"/>
              <a:gd name="connsiteY13853" fmla="*/ 1959597 h 4687251"/>
              <a:gd name="connsiteX13854" fmla="*/ 5547371 w 8079933"/>
              <a:gd name="connsiteY13854" fmla="*/ 1960779 h 4687251"/>
              <a:gd name="connsiteX13855" fmla="*/ 5549324 w 8079933"/>
              <a:gd name="connsiteY13855" fmla="*/ 1964244 h 4687251"/>
              <a:gd name="connsiteX13856" fmla="*/ 5549325 w 8079933"/>
              <a:gd name="connsiteY13856" fmla="*/ 1964244 h 4687251"/>
              <a:gd name="connsiteX13857" fmla="*/ 5547372 w 8079933"/>
              <a:gd name="connsiteY13857" fmla="*/ 1960780 h 4687251"/>
              <a:gd name="connsiteX13858" fmla="*/ 5547371 w 8079933"/>
              <a:gd name="connsiteY13858" fmla="*/ 1960779 h 4687251"/>
              <a:gd name="connsiteX13859" fmla="*/ 5547371 w 8079933"/>
              <a:gd name="connsiteY13859" fmla="*/ 1960779 h 4687251"/>
              <a:gd name="connsiteX13860" fmla="*/ 4415016 w 8079933"/>
              <a:gd name="connsiteY13860" fmla="*/ 1958196 h 4687251"/>
              <a:gd name="connsiteX13861" fmla="*/ 4414023 w 8079933"/>
              <a:gd name="connsiteY13861" fmla="*/ 1958939 h 4687251"/>
              <a:gd name="connsiteX13862" fmla="*/ 4409032 w 8079933"/>
              <a:gd name="connsiteY13862" fmla="*/ 1960347 h 4687251"/>
              <a:gd name="connsiteX13863" fmla="*/ 4409030 w 8079933"/>
              <a:gd name="connsiteY13863" fmla="*/ 1960348 h 4687251"/>
              <a:gd name="connsiteX13864" fmla="*/ 4414022 w 8079933"/>
              <a:gd name="connsiteY13864" fmla="*/ 1958940 h 4687251"/>
              <a:gd name="connsiteX13865" fmla="*/ 2309451 w 8079933"/>
              <a:gd name="connsiteY13865" fmla="*/ 1956990 h 4687251"/>
              <a:gd name="connsiteX13866" fmla="*/ 2309559 w 8079933"/>
              <a:gd name="connsiteY13866" fmla="*/ 1958289 h 4687251"/>
              <a:gd name="connsiteX13867" fmla="*/ 2307823 w 8079933"/>
              <a:gd name="connsiteY13867" fmla="*/ 1960346 h 4687251"/>
              <a:gd name="connsiteX13868" fmla="*/ 2306087 w 8079933"/>
              <a:gd name="connsiteY13868" fmla="*/ 1962836 h 4687251"/>
              <a:gd name="connsiteX13869" fmla="*/ 2310753 w 8079933"/>
              <a:gd name="connsiteY13869" fmla="*/ 1960779 h 4687251"/>
              <a:gd name="connsiteX13870" fmla="*/ 2313248 w 8079933"/>
              <a:gd name="connsiteY13870" fmla="*/ 1961971 h 4687251"/>
              <a:gd name="connsiteX13871" fmla="*/ 2317155 w 8079933"/>
              <a:gd name="connsiteY13871" fmla="*/ 1960563 h 4687251"/>
              <a:gd name="connsiteX13872" fmla="*/ 2314551 w 8079933"/>
              <a:gd name="connsiteY13872" fmla="*/ 1963053 h 4687251"/>
              <a:gd name="connsiteX13873" fmla="*/ 2308149 w 8079933"/>
              <a:gd name="connsiteY13873" fmla="*/ 1965002 h 4687251"/>
              <a:gd name="connsiteX13874" fmla="*/ 2306087 w 8079933"/>
              <a:gd name="connsiteY13874" fmla="*/ 1964569 h 4687251"/>
              <a:gd name="connsiteX13875" fmla="*/ 2304351 w 8079933"/>
              <a:gd name="connsiteY13875" fmla="*/ 1966193 h 4687251"/>
              <a:gd name="connsiteX13876" fmla="*/ 2297623 w 8079933"/>
              <a:gd name="connsiteY13876" fmla="*/ 1965868 h 4687251"/>
              <a:gd name="connsiteX13877" fmla="*/ 2294041 w 8079933"/>
              <a:gd name="connsiteY13877" fmla="*/ 1968033 h 4687251"/>
              <a:gd name="connsiteX13878" fmla="*/ 2286120 w 8079933"/>
              <a:gd name="connsiteY13878" fmla="*/ 1968141 h 4687251"/>
              <a:gd name="connsiteX13879" fmla="*/ 2281236 w 8079933"/>
              <a:gd name="connsiteY13879" fmla="*/ 1969657 h 4687251"/>
              <a:gd name="connsiteX13880" fmla="*/ 2276028 w 8079933"/>
              <a:gd name="connsiteY13880" fmla="*/ 1969874 h 4687251"/>
              <a:gd name="connsiteX13881" fmla="*/ 2274508 w 8079933"/>
              <a:gd name="connsiteY13881" fmla="*/ 1971390 h 4687251"/>
              <a:gd name="connsiteX13882" fmla="*/ 2271036 w 8079933"/>
              <a:gd name="connsiteY13882" fmla="*/ 1972472 h 4687251"/>
              <a:gd name="connsiteX13883" fmla="*/ 2272990 w 8079933"/>
              <a:gd name="connsiteY13883" fmla="*/ 1970740 h 4687251"/>
              <a:gd name="connsiteX13884" fmla="*/ 2269951 w 8079933"/>
              <a:gd name="connsiteY13884" fmla="*/ 1970524 h 4687251"/>
              <a:gd name="connsiteX13885" fmla="*/ 2269300 w 8079933"/>
              <a:gd name="connsiteY13885" fmla="*/ 1968467 h 4687251"/>
              <a:gd name="connsiteX13886" fmla="*/ 2272013 w 8079933"/>
              <a:gd name="connsiteY13886" fmla="*/ 1965110 h 4687251"/>
              <a:gd name="connsiteX13887" fmla="*/ 2277221 w 8079933"/>
              <a:gd name="connsiteY13887" fmla="*/ 1964244 h 4687251"/>
              <a:gd name="connsiteX13888" fmla="*/ 2284058 w 8079933"/>
              <a:gd name="connsiteY13888" fmla="*/ 1961429 h 4687251"/>
              <a:gd name="connsiteX13889" fmla="*/ 2289050 w 8079933"/>
              <a:gd name="connsiteY13889" fmla="*/ 1962620 h 4687251"/>
              <a:gd name="connsiteX13890" fmla="*/ 2295127 w 8079933"/>
              <a:gd name="connsiteY13890" fmla="*/ 1960779 h 4687251"/>
              <a:gd name="connsiteX13891" fmla="*/ 2302723 w 8079933"/>
              <a:gd name="connsiteY13891" fmla="*/ 1960779 h 4687251"/>
              <a:gd name="connsiteX13892" fmla="*/ 7134969 w 8079933"/>
              <a:gd name="connsiteY13892" fmla="*/ 1956774 h 4687251"/>
              <a:gd name="connsiteX13893" fmla="*/ 7135729 w 8079933"/>
              <a:gd name="connsiteY13893" fmla="*/ 1960131 h 4687251"/>
              <a:gd name="connsiteX13894" fmla="*/ 7135402 w 8079933"/>
              <a:gd name="connsiteY13894" fmla="*/ 1963595 h 4687251"/>
              <a:gd name="connsiteX13895" fmla="*/ 7138659 w 8079933"/>
              <a:gd name="connsiteY13895" fmla="*/ 1964678 h 4687251"/>
              <a:gd name="connsiteX13896" fmla="*/ 7139527 w 8079933"/>
              <a:gd name="connsiteY13896" fmla="*/ 1967168 h 4687251"/>
              <a:gd name="connsiteX13897" fmla="*/ 7138333 w 8079933"/>
              <a:gd name="connsiteY13897" fmla="*/ 1972473 h 4687251"/>
              <a:gd name="connsiteX13898" fmla="*/ 7135729 w 8079933"/>
              <a:gd name="connsiteY13898" fmla="*/ 1975072 h 4687251"/>
              <a:gd name="connsiteX13899" fmla="*/ 7133992 w 8079933"/>
              <a:gd name="connsiteY13899" fmla="*/ 1975613 h 4687251"/>
              <a:gd name="connsiteX13900" fmla="*/ 7134209 w 8079933"/>
              <a:gd name="connsiteY13900" fmla="*/ 1971066 h 4687251"/>
              <a:gd name="connsiteX13901" fmla="*/ 7135729 w 8079933"/>
              <a:gd name="connsiteY13901" fmla="*/ 1968359 h 4687251"/>
              <a:gd name="connsiteX13902" fmla="*/ 7134643 w 8079933"/>
              <a:gd name="connsiteY13902" fmla="*/ 1967601 h 4687251"/>
              <a:gd name="connsiteX13903" fmla="*/ 7131713 w 8079933"/>
              <a:gd name="connsiteY13903" fmla="*/ 1969333 h 4687251"/>
              <a:gd name="connsiteX13904" fmla="*/ 7131279 w 8079933"/>
              <a:gd name="connsiteY13904" fmla="*/ 1966302 h 4687251"/>
              <a:gd name="connsiteX13905" fmla="*/ 7133341 w 8079933"/>
              <a:gd name="connsiteY13905" fmla="*/ 1958398 h 4687251"/>
              <a:gd name="connsiteX13906" fmla="*/ 4399338 w 8079933"/>
              <a:gd name="connsiteY13906" fmla="*/ 1956376 h 4687251"/>
              <a:gd name="connsiteX13907" fmla="*/ 4400350 w 8079933"/>
              <a:gd name="connsiteY13907" fmla="*/ 1958940 h 4687251"/>
              <a:gd name="connsiteX13908" fmla="*/ 4400241 w 8079933"/>
              <a:gd name="connsiteY13908" fmla="*/ 1966301 h 4687251"/>
              <a:gd name="connsiteX13909" fmla="*/ 4400241 w 8079933"/>
              <a:gd name="connsiteY13909" fmla="*/ 1966302 h 4687251"/>
              <a:gd name="connsiteX13910" fmla="*/ 4400350 w 8079933"/>
              <a:gd name="connsiteY13910" fmla="*/ 1958939 h 4687251"/>
              <a:gd name="connsiteX13911" fmla="*/ 5478740 w 8079933"/>
              <a:gd name="connsiteY13911" fmla="*/ 1955772 h 4687251"/>
              <a:gd name="connsiteX13912" fmla="*/ 5486167 w 8079933"/>
              <a:gd name="connsiteY13912" fmla="*/ 1956774 h 4687251"/>
              <a:gd name="connsiteX13913" fmla="*/ 5486167 w 8079933"/>
              <a:gd name="connsiteY13913" fmla="*/ 1956774 h 4687251"/>
              <a:gd name="connsiteX13914" fmla="*/ 5478136 w 8079933"/>
              <a:gd name="connsiteY13914" fmla="*/ 1955691 h 4687251"/>
              <a:gd name="connsiteX13915" fmla="*/ 5471083 w 8079933"/>
              <a:gd name="connsiteY13915" fmla="*/ 1957099 h 4687251"/>
              <a:gd name="connsiteX13916" fmla="*/ 5460340 w 8079933"/>
              <a:gd name="connsiteY13916" fmla="*/ 1962837 h 4687251"/>
              <a:gd name="connsiteX13917" fmla="*/ 5460341 w 8079933"/>
              <a:gd name="connsiteY13917" fmla="*/ 1962837 h 4687251"/>
              <a:gd name="connsiteX13918" fmla="*/ 5471084 w 8079933"/>
              <a:gd name="connsiteY13918" fmla="*/ 1957099 h 4687251"/>
              <a:gd name="connsiteX13919" fmla="*/ 5478138 w 8079933"/>
              <a:gd name="connsiteY13919" fmla="*/ 1955691 h 4687251"/>
              <a:gd name="connsiteX13920" fmla="*/ 4982976 w 8079933"/>
              <a:gd name="connsiteY13920" fmla="*/ 1953094 h 4687251"/>
              <a:gd name="connsiteX13921" fmla="*/ 4982976 w 8079933"/>
              <a:gd name="connsiteY13921" fmla="*/ 1954393 h 4687251"/>
              <a:gd name="connsiteX13922" fmla="*/ 4980350 w 8079933"/>
              <a:gd name="connsiteY13922" fmla="*/ 1954682 h 4687251"/>
              <a:gd name="connsiteX13923" fmla="*/ 4981878 w 8079933"/>
              <a:gd name="connsiteY13923" fmla="*/ 1955597 h 4687251"/>
              <a:gd name="connsiteX13924" fmla="*/ 4985364 w 8079933"/>
              <a:gd name="connsiteY13924" fmla="*/ 1954825 h 4687251"/>
              <a:gd name="connsiteX13925" fmla="*/ 4983302 w 8079933"/>
              <a:gd name="connsiteY13925" fmla="*/ 1962187 h 4687251"/>
              <a:gd name="connsiteX13926" fmla="*/ 4989487 w 8079933"/>
              <a:gd name="connsiteY13926" fmla="*/ 1965977 h 4687251"/>
              <a:gd name="connsiteX13927" fmla="*/ 4992960 w 8079933"/>
              <a:gd name="connsiteY13927" fmla="*/ 1970740 h 4687251"/>
              <a:gd name="connsiteX13928" fmla="*/ 4991567 w 8079933"/>
              <a:gd name="connsiteY13928" fmla="*/ 1979291 h 4687251"/>
              <a:gd name="connsiteX13929" fmla="*/ 4992200 w 8079933"/>
              <a:gd name="connsiteY13929" fmla="*/ 1979618 h 4687251"/>
              <a:gd name="connsiteX13930" fmla="*/ 4993610 w 8079933"/>
              <a:gd name="connsiteY13930" fmla="*/ 1971065 h 4687251"/>
              <a:gd name="connsiteX13931" fmla="*/ 4990138 w 8079933"/>
              <a:gd name="connsiteY13931" fmla="*/ 1966193 h 4687251"/>
              <a:gd name="connsiteX13932" fmla="*/ 4983952 w 8079933"/>
              <a:gd name="connsiteY13932" fmla="*/ 1962403 h 4687251"/>
              <a:gd name="connsiteX13933" fmla="*/ 4986340 w 8079933"/>
              <a:gd name="connsiteY13933" fmla="*/ 1953850 h 4687251"/>
              <a:gd name="connsiteX13934" fmla="*/ 4990530 w 8079933"/>
              <a:gd name="connsiteY13934" fmla="*/ 1954248 h 4687251"/>
              <a:gd name="connsiteX13935" fmla="*/ 4989920 w 8079933"/>
              <a:gd name="connsiteY13935" fmla="*/ 1953743 h 4687251"/>
              <a:gd name="connsiteX13936" fmla="*/ 4438440 w 8079933"/>
              <a:gd name="connsiteY13936" fmla="*/ 1952984 h 4687251"/>
              <a:gd name="connsiteX13937" fmla="*/ 4431712 w 8079933"/>
              <a:gd name="connsiteY13937" fmla="*/ 1954500 h 4687251"/>
              <a:gd name="connsiteX13938" fmla="*/ 4427262 w 8079933"/>
              <a:gd name="connsiteY13938" fmla="*/ 1953742 h 4687251"/>
              <a:gd name="connsiteX13939" fmla="*/ 4421530 w 8079933"/>
              <a:gd name="connsiteY13939" fmla="*/ 1955139 h 4687251"/>
              <a:gd name="connsiteX13940" fmla="*/ 4427261 w 8079933"/>
              <a:gd name="connsiteY13940" fmla="*/ 1953743 h 4687251"/>
              <a:gd name="connsiteX13941" fmla="*/ 4431711 w 8079933"/>
              <a:gd name="connsiteY13941" fmla="*/ 1954501 h 4687251"/>
              <a:gd name="connsiteX13942" fmla="*/ 4438438 w 8079933"/>
              <a:gd name="connsiteY13942" fmla="*/ 1952985 h 4687251"/>
              <a:gd name="connsiteX13943" fmla="*/ 4441911 w 8079933"/>
              <a:gd name="connsiteY13943" fmla="*/ 1952985 h 4687251"/>
              <a:gd name="connsiteX13944" fmla="*/ 4451569 w 8079933"/>
              <a:gd name="connsiteY13944" fmla="*/ 1960456 h 4687251"/>
              <a:gd name="connsiteX13945" fmla="*/ 4457863 w 8079933"/>
              <a:gd name="connsiteY13945" fmla="*/ 1971716 h 4687251"/>
              <a:gd name="connsiteX13946" fmla="*/ 4458731 w 8079933"/>
              <a:gd name="connsiteY13946" fmla="*/ 1977346 h 4687251"/>
              <a:gd name="connsiteX13947" fmla="*/ 4459599 w 8079933"/>
              <a:gd name="connsiteY13947" fmla="*/ 1982109 h 4687251"/>
              <a:gd name="connsiteX13948" fmla="*/ 4459599 w 8079933"/>
              <a:gd name="connsiteY13948" fmla="*/ 1982109 h 4687251"/>
              <a:gd name="connsiteX13949" fmla="*/ 4458731 w 8079933"/>
              <a:gd name="connsiteY13949" fmla="*/ 1977345 h 4687251"/>
              <a:gd name="connsiteX13950" fmla="*/ 4457863 w 8079933"/>
              <a:gd name="connsiteY13950" fmla="*/ 1971714 h 4687251"/>
              <a:gd name="connsiteX13951" fmla="*/ 4451570 w 8079933"/>
              <a:gd name="connsiteY13951" fmla="*/ 1960455 h 4687251"/>
              <a:gd name="connsiteX13952" fmla="*/ 4441912 w 8079933"/>
              <a:gd name="connsiteY13952" fmla="*/ 1952984 h 4687251"/>
              <a:gd name="connsiteX13953" fmla="*/ 5037341 w 8079933"/>
              <a:gd name="connsiteY13953" fmla="*/ 1952444 h 4687251"/>
              <a:gd name="connsiteX13954" fmla="*/ 5036789 w 8079933"/>
              <a:gd name="connsiteY13954" fmla="*/ 1953109 h 4687251"/>
              <a:gd name="connsiteX13955" fmla="*/ 5040815 w 8079933"/>
              <a:gd name="connsiteY13955" fmla="*/ 1956015 h 4687251"/>
              <a:gd name="connsiteX13956" fmla="*/ 5048195 w 8079933"/>
              <a:gd name="connsiteY13956" fmla="*/ 1965651 h 4687251"/>
              <a:gd name="connsiteX13957" fmla="*/ 5048520 w 8079933"/>
              <a:gd name="connsiteY13957" fmla="*/ 1970307 h 4687251"/>
              <a:gd name="connsiteX13958" fmla="*/ 5051667 w 8079933"/>
              <a:gd name="connsiteY13958" fmla="*/ 1976911 h 4687251"/>
              <a:gd name="connsiteX13959" fmla="*/ 5059697 w 8079933"/>
              <a:gd name="connsiteY13959" fmla="*/ 1982650 h 4687251"/>
              <a:gd name="connsiteX13960" fmla="*/ 5060565 w 8079933"/>
              <a:gd name="connsiteY13960" fmla="*/ 1986439 h 4687251"/>
              <a:gd name="connsiteX13961" fmla="*/ 5065774 w 8079933"/>
              <a:gd name="connsiteY13961" fmla="*/ 1990337 h 4687251"/>
              <a:gd name="connsiteX13962" fmla="*/ 5067010 w 8079933"/>
              <a:gd name="connsiteY13962" fmla="*/ 1990316 h 4687251"/>
              <a:gd name="connsiteX13963" fmla="*/ 5061975 w 8079933"/>
              <a:gd name="connsiteY13963" fmla="*/ 1986548 h 4687251"/>
              <a:gd name="connsiteX13964" fmla="*/ 5061107 w 8079933"/>
              <a:gd name="connsiteY13964" fmla="*/ 1982759 h 4687251"/>
              <a:gd name="connsiteX13965" fmla="*/ 5052968 w 8079933"/>
              <a:gd name="connsiteY13965" fmla="*/ 1977020 h 4687251"/>
              <a:gd name="connsiteX13966" fmla="*/ 5049821 w 8079933"/>
              <a:gd name="connsiteY13966" fmla="*/ 1970308 h 4687251"/>
              <a:gd name="connsiteX13967" fmla="*/ 5049821 w 8079933"/>
              <a:gd name="connsiteY13967" fmla="*/ 1965652 h 4687251"/>
              <a:gd name="connsiteX13968" fmla="*/ 5042442 w 8079933"/>
              <a:gd name="connsiteY13968" fmla="*/ 1956016 h 4687251"/>
              <a:gd name="connsiteX13969" fmla="*/ 4181255 w 8079933"/>
              <a:gd name="connsiteY13969" fmla="*/ 1951793 h 4687251"/>
              <a:gd name="connsiteX13970" fmla="*/ 4182123 w 8079933"/>
              <a:gd name="connsiteY13970" fmla="*/ 1953959 h 4687251"/>
              <a:gd name="connsiteX13971" fmla="*/ 4179410 w 8079933"/>
              <a:gd name="connsiteY13971" fmla="*/ 1952659 h 4687251"/>
              <a:gd name="connsiteX13972" fmla="*/ 2348408 w 8079933"/>
              <a:gd name="connsiteY13972" fmla="*/ 1948437 h 4687251"/>
              <a:gd name="connsiteX13973" fmla="*/ 2352314 w 8079933"/>
              <a:gd name="connsiteY13973" fmla="*/ 1948437 h 4687251"/>
              <a:gd name="connsiteX13974" fmla="*/ 2354484 w 8079933"/>
              <a:gd name="connsiteY13974" fmla="*/ 1950710 h 4687251"/>
              <a:gd name="connsiteX13975" fmla="*/ 2351120 w 8079933"/>
              <a:gd name="connsiteY13975" fmla="*/ 1950710 h 4687251"/>
              <a:gd name="connsiteX13976" fmla="*/ 2349058 w 8079933"/>
              <a:gd name="connsiteY13976" fmla="*/ 1952659 h 4687251"/>
              <a:gd name="connsiteX13977" fmla="*/ 2346455 w 8079933"/>
              <a:gd name="connsiteY13977" fmla="*/ 1952984 h 4687251"/>
              <a:gd name="connsiteX13978" fmla="*/ 2345478 w 8079933"/>
              <a:gd name="connsiteY13978" fmla="*/ 1951143 h 4687251"/>
              <a:gd name="connsiteX13979" fmla="*/ 2347431 w 8079933"/>
              <a:gd name="connsiteY13979" fmla="*/ 1949736 h 4687251"/>
              <a:gd name="connsiteX13980" fmla="*/ 3995311 w 8079933"/>
              <a:gd name="connsiteY13980" fmla="*/ 1947272 h 4687251"/>
              <a:gd name="connsiteX13981" fmla="*/ 3984683 w 8079933"/>
              <a:gd name="connsiteY13981" fmla="*/ 1948302 h 4687251"/>
              <a:gd name="connsiteX13982" fmla="*/ 3984731 w 8079933"/>
              <a:gd name="connsiteY13982" fmla="*/ 1948328 h 4687251"/>
              <a:gd name="connsiteX13983" fmla="*/ 3952473 w 8079933"/>
              <a:gd name="connsiteY13983" fmla="*/ 1946933 h 4687251"/>
              <a:gd name="connsiteX13984" fmla="*/ 3952171 w 8079933"/>
              <a:gd name="connsiteY13984" fmla="*/ 1947243 h 4687251"/>
              <a:gd name="connsiteX13985" fmla="*/ 3952176 w 8079933"/>
              <a:gd name="connsiteY13985" fmla="*/ 1947245 h 4687251"/>
              <a:gd name="connsiteX13986" fmla="*/ 4966264 w 8079933"/>
              <a:gd name="connsiteY13986" fmla="*/ 1946922 h 4687251"/>
              <a:gd name="connsiteX13987" fmla="*/ 4940865 w 8079933"/>
              <a:gd name="connsiteY13987" fmla="*/ 1955854 h 4687251"/>
              <a:gd name="connsiteX13988" fmla="*/ 4942825 w 8079933"/>
              <a:gd name="connsiteY13988" fmla="*/ 1956990 h 4687251"/>
              <a:gd name="connsiteX13989" fmla="*/ 4968091 w 8079933"/>
              <a:gd name="connsiteY13989" fmla="*/ 1948105 h 4687251"/>
              <a:gd name="connsiteX13990" fmla="*/ 4386855 w 8079933"/>
              <a:gd name="connsiteY13990" fmla="*/ 1945129 h 4687251"/>
              <a:gd name="connsiteX13991" fmla="*/ 4386854 w 8079933"/>
              <a:gd name="connsiteY13991" fmla="*/ 1945130 h 4687251"/>
              <a:gd name="connsiteX13992" fmla="*/ 4388630 w 8079933"/>
              <a:gd name="connsiteY13992" fmla="*/ 1946380 h 4687251"/>
              <a:gd name="connsiteX13993" fmla="*/ 4391777 w 8079933"/>
              <a:gd name="connsiteY13993" fmla="*/ 1951685 h 4687251"/>
              <a:gd name="connsiteX13994" fmla="*/ 4394056 w 8079933"/>
              <a:gd name="connsiteY13994" fmla="*/ 1952227 h 4687251"/>
              <a:gd name="connsiteX13995" fmla="*/ 4398939 w 8079933"/>
              <a:gd name="connsiteY13995" fmla="*/ 1955366 h 4687251"/>
              <a:gd name="connsiteX13996" fmla="*/ 4398939 w 8079933"/>
              <a:gd name="connsiteY13996" fmla="*/ 1955366 h 4687251"/>
              <a:gd name="connsiteX13997" fmla="*/ 4394056 w 8079933"/>
              <a:gd name="connsiteY13997" fmla="*/ 1952227 h 4687251"/>
              <a:gd name="connsiteX13998" fmla="*/ 4391777 w 8079933"/>
              <a:gd name="connsiteY13998" fmla="*/ 1951685 h 4687251"/>
              <a:gd name="connsiteX13999" fmla="*/ 4388631 w 8079933"/>
              <a:gd name="connsiteY13999" fmla="*/ 1946380 h 4687251"/>
              <a:gd name="connsiteX14000" fmla="*/ 3977569 w 8079933"/>
              <a:gd name="connsiteY14000" fmla="*/ 1944540 h 4687251"/>
              <a:gd name="connsiteX14001" fmla="*/ 3971227 w 8079933"/>
              <a:gd name="connsiteY14001" fmla="*/ 1945162 h 4687251"/>
              <a:gd name="connsiteX14002" fmla="*/ 3971274 w 8079933"/>
              <a:gd name="connsiteY14002" fmla="*/ 1945188 h 4687251"/>
              <a:gd name="connsiteX14003" fmla="*/ 3977601 w 8079933"/>
              <a:gd name="connsiteY14003" fmla="*/ 1944557 h 4687251"/>
              <a:gd name="connsiteX14004" fmla="*/ 4440653 w 8079933"/>
              <a:gd name="connsiteY14004" fmla="*/ 1943311 h 4687251"/>
              <a:gd name="connsiteX14005" fmla="*/ 4440718 w 8079933"/>
              <a:gd name="connsiteY14005" fmla="*/ 1943782 h 4687251"/>
              <a:gd name="connsiteX14006" fmla="*/ 4442804 w 8079933"/>
              <a:gd name="connsiteY14006" fmla="*/ 1947126 h 4687251"/>
              <a:gd name="connsiteX14007" fmla="*/ 4440718 w 8079933"/>
              <a:gd name="connsiteY14007" fmla="*/ 1943781 h 4687251"/>
              <a:gd name="connsiteX14008" fmla="*/ 5535868 w 8079933"/>
              <a:gd name="connsiteY14008" fmla="*/ 1943131 h 4687251"/>
              <a:gd name="connsiteX14009" fmla="*/ 5535869 w 8079933"/>
              <a:gd name="connsiteY14009" fmla="*/ 1943132 h 4687251"/>
              <a:gd name="connsiteX14010" fmla="*/ 5540337 w 8079933"/>
              <a:gd name="connsiteY14010" fmla="*/ 1944451 h 4687251"/>
              <a:gd name="connsiteX14011" fmla="*/ 5295685 w 8079933"/>
              <a:gd name="connsiteY14011" fmla="*/ 1942049 h 4687251"/>
              <a:gd name="connsiteX14012" fmla="*/ 5296264 w 8079933"/>
              <a:gd name="connsiteY14012" fmla="*/ 1943890 h 4687251"/>
              <a:gd name="connsiteX14013" fmla="*/ 5314169 w 8079933"/>
              <a:gd name="connsiteY14013" fmla="*/ 1953526 h 4687251"/>
              <a:gd name="connsiteX14014" fmla="*/ 5328276 w 8079933"/>
              <a:gd name="connsiteY14014" fmla="*/ 1960671 h 4687251"/>
              <a:gd name="connsiteX14015" fmla="*/ 5332182 w 8079933"/>
              <a:gd name="connsiteY14015" fmla="*/ 1958290 h 4687251"/>
              <a:gd name="connsiteX14016" fmla="*/ 5336957 w 8079933"/>
              <a:gd name="connsiteY14016" fmla="*/ 1959048 h 4687251"/>
              <a:gd name="connsiteX14017" fmla="*/ 5346941 w 8079933"/>
              <a:gd name="connsiteY14017" fmla="*/ 1966193 h 4687251"/>
              <a:gd name="connsiteX14018" fmla="*/ 5347271 w 8079933"/>
              <a:gd name="connsiteY14018" fmla="*/ 1967328 h 4687251"/>
              <a:gd name="connsiteX14019" fmla="*/ 5346941 w 8079933"/>
              <a:gd name="connsiteY14019" fmla="*/ 1966193 h 4687251"/>
              <a:gd name="connsiteX14020" fmla="*/ 5336957 w 8079933"/>
              <a:gd name="connsiteY14020" fmla="*/ 1959048 h 4687251"/>
              <a:gd name="connsiteX14021" fmla="*/ 5332182 w 8079933"/>
              <a:gd name="connsiteY14021" fmla="*/ 1958289 h 4687251"/>
              <a:gd name="connsiteX14022" fmla="*/ 5328276 w 8079933"/>
              <a:gd name="connsiteY14022" fmla="*/ 1960671 h 4687251"/>
              <a:gd name="connsiteX14023" fmla="*/ 5314169 w 8079933"/>
              <a:gd name="connsiteY14023" fmla="*/ 1953526 h 4687251"/>
              <a:gd name="connsiteX14024" fmla="*/ 5296264 w 8079933"/>
              <a:gd name="connsiteY14024" fmla="*/ 1943889 h 4687251"/>
              <a:gd name="connsiteX14025" fmla="*/ 5559958 w 8079933"/>
              <a:gd name="connsiteY14025" fmla="*/ 1940749 h 4687251"/>
              <a:gd name="connsiteX14026" fmla="*/ 5559307 w 8079933"/>
              <a:gd name="connsiteY14026" fmla="*/ 1947462 h 4687251"/>
              <a:gd name="connsiteX14027" fmla="*/ 5555183 w 8079933"/>
              <a:gd name="connsiteY14027" fmla="*/ 1951901 h 4687251"/>
              <a:gd name="connsiteX14028" fmla="*/ 5555185 w 8079933"/>
              <a:gd name="connsiteY14028" fmla="*/ 1951901 h 4687251"/>
              <a:gd name="connsiteX14029" fmla="*/ 5559308 w 8079933"/>
              <a:gd name="connsiteY14029" fmla="*/ 1947462 h 4687251"/>
              <a:gd name="connsiteX14030" fmla="*/ 5559959 w 8079933"/>
              <a:gd name="connsiteY14030" fmla="*/ 1940750 h 4687251"/>
              <a:gd name="connsiteX14031" fmla="*/ 5562998 w 8079933"/>
              <a:gd name="connsiteY14031" fmla="*/ 1941399 h 4687251"/>
              <a:gd name="connsiteX14032" fmla="*/ 5562997 w 8079933"/>
              <a:gd name="connsiteY14032" fmla="*/ 1941399 h 4687251"/>
              <a:gd name="connsiteX14033" fmla="*/ 5531311 w 8079933"/>
              <a:gd name="connsiteY14033" fmla="*/ 1940425 h 4687251"/>
              <a:gd name="connsiteX14034" fmla="*/ 5531311 w 8079933"/>
              <a:gd name="connsiteY14034" fmla="*/ 1940425 h 4687251"/>
              <a:gd name="connsiteX14035" fmla="*/ 5535508 w 8079933"/>
              <a:gd name="connsiteY14035" fmla="*/ 1942918 h 4687251"/>
              <a:gd name="connsiteX14036" fmla="*/ 4166821 w 8079933"/>
              <a:gd name="connsiteY14036" fmla="*/ 1935444 h 4687251"/>
              <a:gd name="connsiteX14037" fmla="*/ 4169101 w 8079933"/>
              <a:gd name="connsiteY14037" fmla="*/ 1938150 h 4687251"/>
              <a:gd name="connsiteX14038" fmla="*/ 4169643 w 8079933"/>
              <a:gd name="connsiteY14038" fmla="*/ 1940750 h 4687251"/>
              <a:gd name="connsiteX14039" fmla="*/ 4165845 w 8079933"/>
              <a:gd name="connsiteY14039" fmla="*/ 1940533 h 4687251"/>
              <a:gd name="connsiteX14040" fmla="*/ 4160961 w 8079933"/>
              <a:gd name="connsiteY14040" fmla="*/ 1942265 h 4687251"/>
              <a:gd name="connsiteX14041" fmla="*/ 4158357 w 8079933"/>
              <a:gd name="connsiteY14041" fmla="*/ 1941183 h 4687251"/>
              <a:gd name="connsiteX14042" fmla="*/ 4160419 w 8079933"/>
              <a:gd name="connsiteY14042" fmla="*/ 1939017 h 4687251"/>
              <a:gd name="connsiteX14043" fmla="*/ 4165736 w 8079933"/>
              <a:gd name="connsiteY14043" fmla="*/ 1936960 h 4687251"/>
              <a:gd name="connsiteX14044" fmla="*/ 5234992 w 8079933"/>
              <a:gd name="connsiteY14044" fmla="*/ 1934992 h 4687251"/>
              <a:gd name="connsiteX14045" fmla="*/ 5232348 w 8079933"/>
              <a:gd name="connsiteY14045" fmla="*/ 1935228 h 4687251"/>
              <a:gd name="connsiteX14046" fmla="*/ 5227247 w 8079933"/>
              <a:gd name="connsiteY14046" fmla="*/ 1945622 h 4687251"/>
              <a:gd name="connsiteX14047" fmla="*/ 5227247 w 8079933"/>
              <a:gd name="connsiteY14047" fmla="*/ 1945622 h 4687251"/>
              <a:gd name="connsiteX14048" fmla="*/ 5232348 w 8079933"/>
              <a:gd name="connsiteY14048" fmla="*/ 1935228 h 4687251"/>
              <a:gd name="connsiteX14049" fmla="*/ 4308653 w 8079933"/>
              <a:gd name="connsiteY14049" fmla="*/ 1934254 h 4687251"/>
              <a:gd name="connsiteX14050" fmla="*/ 4316900 w 8079933"/>
              <a:gd name="connsiteY14050" fmla="*/ 1934254 h 4687251"/>
              <a:gd name="connsiteX14051" fmla="*/ 4320047 w 8079933"/>
              <a:gd name="connsiteY14051" fmla="*/ 1937177 h 4687251"/>
              <a:gd name="connsiteX14052" fmla="*/ 4312776 w 8079933"/>
              <a:gd name="connsiteY14052" fmla="*/ 1936527 h 4687251"/>
              <a:gd name="connsiteX14053" fmla="*/ 4142514 w 8079933"/>
              <a:gd name="connsiteY14053" fmla="*/ 1931979 h 4687251"/>
              <a:gd name="connsiteX14054" fmla="*/ 4144793 w 8079933"/>
              <a:gd name="connsiteY14054" fmla="*/ 1931979 h 4687251"/>
              <a:gd name="connsiteX14055" fmla="*/ 4146095 w 8079933"/>
              <a:gd name="connsiteY14055" fmla="*/ 1938908 h 4687251"/>
              <a:gd name="connsiteX14056" fmla="*/ 4145552 w 8079933"/>
              <a:gd name="connsiteY14056" fmla="*/ 1944971 h 4687251"/>
              <a:gd name="connsiteX14057" fmla="*/ 4148048 w 8079933"/>
              <a:gd name="connsiteY14057" fmla="*/ 1954608 h 4687251"/>
              <a:gd name="connsiteX14058" fmla="*/ 4145227 w 8079933"/>
              <a:gd name="connsiteY14058" fmla="*/ 1965543 h 4687251"/>
              <a:gd name="connsiteX14059" fmla="*/ 4145335 w 8079933"/>
              <a:gd name="connsiteY14059" fmla="*/ 1971715 h 4687251"/>
              <a:gd name="connsiteX14060" fmla="*/ 4142839 w 8079933"/>
              <a:gd name="connsiteY14060" fmla="*/ 1979293 h 4687251"/>
              <a:gd name="connsiteX14061" fmla="*/ 4138281 w 8079933"/>
              <a:gd name="connsiteY14061" fmla="*/ 1981459 h 4687251"/>
              <a:gd name="connsiteX14062" fmla="*/ 4131119 w 8079933"/>
              <a:gd name="connsiteY14062" fmla="*/ 1978428 h 4687251"/>
              <a:gd name="connsiteX14063" fmla="*/ 4129817 w 8079933"/>
              <a:gd name="connsiteY14063" fmla="*/ 1976262 h 4687251"/>
              <a:gd name="connsiteX14064" fmla="*/ 4131445 w 8079933"/>
              <a:gd name="connsiteY14064" fmla="*/ 1973663 h 4687251"/>
              <a:gd name="connsiteX14065" fmla="*/ 4133290 w 8079933"/>
              <a:gd name="connsiteY14065" fmla="*/ 1973989 h 4687251"/>
              <a:gd name="connsiteX14066" fmla="*/ 4131987 w 8079933"/>
              <a:gd name="connsiteY14066" fmla="*/ 1971931 h 4687251"/>
              <a:gd name="connsiteX14067" fmla="*/ 4130359 w 8079933"/>
              <a:gd name="connsiteY14067" fmla="*/ 1971931 h 4687251"/>
              <a:gd name="connsiteX14068" fmla="*/ 4130577 w 8079933"/>
              <a:gd name="connsiteY14068" fmla="*/ 1968683 h 4687251"/>
              <a:gd name="connsiteX14069" fmla="*/ 4127321 w 8079933"/>
              <a:gd name="connsiteY14069" fmla="*/ 1966842 h 4687251"/>
              <a:gd name="connsiteX14070" fmla="*/ 4125802 w 8079933"/>
              <a:gd name="connsiteY14070" fmla="*/ 1964460 h 4687251"/>
              <a:gd name="connsiteX14071" fmla="*/ 4127646 w 8079933"/>
              <a:gd name="connsiteY14071" fmla="*/ 1963377 h 4687251"/>
              <a:gd name="connsiteX14072" fmla="*/ 4127646 w 8079933"/>
              <a:gd name="connsiteY14072" fmla="*/ 1961645 h 4687251"/>
              <a:gd name="connsiteX14073" fmla="*/ 4124174 w 8079933"/>
              <a:gd name="connsiteY14073" fmla="*/ 1959805 h 4687251"/>
              <a:gd name="connsiteX14074" fmla="*/ 4123306 w 8079933"/>
              <a:gd name="connsiteY14074" fmla="*/ 1956340 h 4687251"/>
              <a:gd name="connsiteX14075" fmla="*/ 4126019 w 8079933"/>
              <a:gd name="connsiteY14075" fmla="*/ 1956340 h 4687251"/>
              <a:gd name="connsiteX14076" fmla="*/ 4126996 w 8079933"/>
              <a:gd name="connsiteY14076" fmla="*/ 1954175 h 4687251"/>
              <a:gd name="connsiteX14077" fmla="*/ 4124174 w 8079933"/>
              <a:gd name="connsiteY14077" fmla="*/ 1951685 h 4687251"/>
              <a:gd name="connsiteX14078" fmla="*/ 4127538 w 8079933"/>
              <a:gd name="connsiteY14078" fmla="*/ 1945946 h 4687251"/>
              <a:gd name="connsiteX14079" fmla="*/ 4134700 w 8079933"/>
              <a:gd name="connsiteY14079" fmla="*/ 1943348 h 4687251"/>
              <a:gd name="connsiteX14080" fmla="*/ 4137630 w 8079933"/>
              <a:gd name="connsiteY14080" fmla="*/ 1940532 h 4687251"/>
              <a:gd name="connsiteX14081" fmla="*/ 4140560 w 8079933"/>
              <a:gd name="connsiteY14081" fmla="*/ 1943564 h 4687251"/>
              <a:gd name="connsiteX14082" fmla="*/ 4142296 w 8079933"/>
              <a:gd name="connsiteY14082" fmla="*/ 1943564 h 4687251"/>
              <a:gd name="connsiteX14083" fmla="*/ 4143056 w 8079933"/>
              <a:gd name="connsiteY14083" fmla="*/ 1939233 h 4687251"/>
              <a:gd name="connsiteX14084" fmla="*/ 4141537 w 8079933"/>
              <a:gd name="connsiteY14084" fmla="*/ 1936201 h 4687251"/>
              <a:gd name="connsiteX14085" fmla="*/ 4383096 w 8079933"/>
              <a:gd name="connsiteY14085" fmla="*/ 1931748 h 4687251"/>
              <a:gd name="connsiteX14086" fmla="*/ 4384724 w 8079933"/>
              <a:gd name="connsiteY14086" fmla="*/ 1933279 h 4687251"/>
              <a:gd name="connsiteX14087" fmla="*/ 4390692 w 8079933"/>
              <a:gd name="connsiteY14087" fmla="*/ 1934362 h 4687251"/>
              <a:gd name="connsiteX14088" fmla="*/ 4390711 w 8079933"/>
              <a:gd name="connsiteY14088" fmla="*/ 1934676 h 4687251"/>
              <a:gd name="connsiteX14089" fmla="*/ 4390692 w 8079933"/>
              <a:gd name="connsiteY14089" fmla="*/ 1934362 h 4687251"/>
              <a:gd name="connsiteX14090" fmla="*/ 4384724 w 8079933"/>
              <a:gd name="connsiteY14090" fmla="*/ 1933279 h 4687251"/>
              <a:gd name="connsiteX14091" fmla="*/ 4303119 w 8079933"/>
              <a:gd name="connsiteY14091" fmla="*/ 1929274 h 4687251"/>
              <a:gd name="connsiteX14092" fmla="*/ 4315381 w 8079933"/>
              <a:gd name="connsiteY14092" fmla="*/ 1929490 h 4687251"/>
              <a:gd name="connsiteX14093" fmla="*/ 4310389 w 8079933"/>
              <a:gd name="connsiteY14093" fmla="*/ 1931872 h 4687251"/>
              <a:gd name="connsiteX14094" fmla="*/ 5246100 w 8079933"/>
              <a:gd name="connsiteY14094" fmla="*/ 1927209 h 4687251"/>
              <a:gd name="connsiteX14095" fmla="*/ 5243416 w 8079933"/>
              <a:gd name="connsiteY14095" fmla="*/ 1928732 h 4687251"/>
              <a:gd name="connsiteX14096" fmla="*/ 5242035 w 8079933"/>
              <a:gd name="connsiteY14096" fmla="*/ 1930858 h 4687251"/>
              <a:gd name="connsiteX14097" fmla="*/ 5243416 w 8079933"/>
              <a:gd name="connsiteY14097" fmla="*/ 1928732 h 4687251"/>
              <a:gd name="connsiteX14098" fmla="*/ 5123627 w 8079933"/>
              <a:gd name="connsiteY14098" fmla="*/ 1925654 h 4687251"/>
              <a:gd name="connsiteX14099" fmla="*/ 5123504 w 8079933"/>
              <a:gd name="connsiteY14099" fmla="*/ 1925917 h 4687251"/>
              <a:gd name="connsiteX14100" fmla="*/ 5123504 w 8079933"/>
              <a:gd name="connsiteY14100" fmla="*/ 1928299 h 4687251"/>
              <a:gd name="connsiteX14101" fmla="*/ 5122636 w 8079933"/>
              <a:gd name="connsiteY14101" fmla="*/ 1935012 h 4687251"/>
              <a:gd name="connsiteX14102" fmla="*/ 5119923 w 8079933"/>
              <a:gd name="connsiteY14102" fmla="*/ 1941616 h 4687251"/>
              <a:gd name="connsiteX14103" fmla="*/ 5121226 w 8079933"/>
              <a:gd name="connsiteY14103" fmla="*/ 1947246 h 4687251"/>
              <a:gd name="connsiteX14104" fmla="*/ 5121226 w 8079933"/>
              <a:gd name="connsiteY14104" fmla="*/ 1953418 h 4687251"/>
              <a:gd name="connsiteX14105" fmla="*/ 5121226 w 8079933"/>
              <a:gd name="connsiteY14105" fmla="*/ 1955258 h 4687251"/>
              <a:gd name="connsiteX14106" fmla="*/ 5124806 w 8079933"/>
              <a:gd name="connsiteY14106" fmla="*/ 1958940 h 4687251"/>
              <a:gd name="connsiteX14107" fmla="*/ 5126434 w 8079933"/>
              <a:gd name="connsiteY14107" fmla="*/ 1962404 h 4687251"/>
              <a:gd name="connsiteX14108" fmla="*/ 5130340 w 8079933"/>
              <a:gd name="connsiteY14108" fmla="*/ 1965436 h 4687251"/>
              <a:gd name="connsiteX14109" fmla="*/ 5131752 w 8079933"/>
              <a:gd name="connsiteY14109" fmla="*/ 1969658 h 4687251"/>
              <a:gd name="connsiteX14110" fmla="*/ 5136960 w 8079933"/>
              <a:gd name="connsiteY14110" fmla="*/ 1977670 h 4687251"/>
              <a:gd name="connsiteX14111" fmla="*/ 5135875 w 8079933"/>
              <a:gd name="connsiteY14111" fmla="*/ 1984708 h 4687251"/>
              <a:gd name="connsiteX14112" fmla="*/ 5132945 w 8079933"/>
              <a:gd name="connsiteY14112" fmla="*/ 1989689 h 4687251"/>
              <a:gd name="connsiteX14113" fmla="*/ 5133922 w 8079933"/>
              <a:gd name="connsiteY14113" fmla="*/ 2001707 h 4687251"/>
              <a:gd name="connsiteX14114" fmla="*/ 5136635 w 8079933"/>
              <a:gd name="connsiteY14114" fmla="*/ 2005280 h 4687251"/>
              <a:gd name="connsiteX14115" fmla="*/ 5137828 w 8079933"/>
              <a:gd name="connsiteY14115" fmla="*/ 2008852 h 4687251"/>
              <a:gd name="connsiteX14116" fmla="*/ 5146076 w 8079933"/>
              <a:gd name="connsiteY14116" fmla="*/ 2016539 h 4687251"/>
              <a:gd name="connsiteX14117" fmla="*/ 5146076 w 8079933"/>
              <a:gd name="connsiteY14117" fmla="*/ 2015225 h 4687251"/>
              <a:gd name="connsiteX14118" fmla="*/ 5138914 w 8079933"/>
              <a:gd name="connsiteY14118" fmla="*/ 2008636 h 4687251"/>
              <a:gd name="connsiteX14119" fmla="*/ 5137720 w 8079933"/>
              <a:gd name="connsiteY14119" fmla="*/ 2004954 h 4687251"/>
              <a:gd name="connsiteX14120" fmla="*/ 5135007 w 8079933"/>
              <a:gd name="connsiteY14120" fmla="*/ 2001381 h 4687251"/>
              <a:gd name="connsiteX14121" fmla="*/ 5134031 w 8079933"/>
              <a:gd name="connsiteY14121" fmla="*/ 1989364 h 4687251"/>
              <a:gd name="connsiteX14122" fmla="*/ 5136961 w 8079933"/>
              <a:gd name="connsiteY14122" fmla="*/ 1984383 h 4687251"/>
              <a:gd name="connsiteX14123" fmla="*/ 5137937 w 8079933"/>
              <a:gd name="connsiteY14123" fmla="*/ 1977346 h 4687251"/>
              <a:gd name="connsiteX14124" fmla="*/ 5132728 w 8079933"/>
              <a:gd name="connsiteY14124" fmla="*/ 1969334 h 4687251"/>
              <a:gd name="connsiteX14125" fmla="*/ 5131426 w 8079933"/>
              <a:gd name="connsiteY14125" fmla="*/ 1965111 h 4687251"/>
              <a:gd name="connsiteX14126" fmla="*/ 5127520 w 8079933"/>
              <a:gd name="connsiteY14126" fmla="*/ 1962079 h 4687251"/>
              <a:gd name="connsiteX14127" fmla="*/ 5125892 w 8079933"/>
              <a:gd name="connsiteY14127" fmla="*/ 1958614 h 4687251"/>
              <a:gd name="connsiteX14128" fmla="*/ 5122202 w 8079933"/>
              <a:gd name="connsiteY14128" fmla="*/ 1954825 h 4687251"/>
              <a:gd name="connsiteX14129" fmla="*/ 5122094 w 8079933"/>
              <a:gd name="connsiteY14129" fmla="*/ 1952985 h 4687251"/>
              <a:gd name="connsiteX14130" fmla="*/ 5136852 w 8079933"/>
              <a:gd name="connsiteY14130" fmla="*/ 1939775 h 4687251"/>
              <a:gd name="connsiteX14131" fmla="*/ 5148572 w 8079933"/>
              <a:gd name="connsiteY14131" fmla="*/ 1935553 h 4687251"/>
              <a:gd name="connsiteX14132" fmla="*/ 5154749 w 8079933"/>
              <a:gd name="connsiteY14132" fmla="*/ 1936544 h 4687251"/>
              <a:gd name="connsiteX14133" fmla="*/ 5148571 w 8079933"/>
              <a:gd name="connsiteY14133" fmla="*/ 1935552 h 4687251"/>
              <a:gd name="connsiteX14134" fmla="*/ 5136851 w 8079933"/>
              <a:gd name="connsiteY14134" fmla="*/ 1939775 h 4687251"/>
              <a:gd name="connsiteX14135" fmla="*/ 5122093 w 8079933"/>
              <a:gd name="connsiteY14135" fmla="*/ 1952984 h 4687251"/>
              <a:gd name="connsiteX14136" fmla="*/ 5121550 w 8079933"/>
              <a:gd name="connsiteY14136" fmla="*/ 1946813 h 4687251"/>
              <a:gd name="connsiteX14137" fmla="*/ 5120248 w 8079933"/>
              <a:gd name="connsiteY14137" fmla="*/ 1941183 h 4687251"/>
              <a:gd name="connsiteX14138" fmla="*/ 5122961 w 8079933"/>
              <a:gd name="connsiteY14138" fmla="*/ 1934578 h 4687251"/>
              <a:gd name="connsiteX14139" fmla="*/ 5123830 w 8079933"/>
              <a:gd name="connsiteY14139" fmla="*/ 1927866 h 4687251"/>
              <a:gd name="connsiteX14140" fmla="*/ 5248951 w 8079933"/>
              <a:gd name="connsiteY14140" fmla="*/ 1925592 h 4687251"/>
              <a:gd name="connsiteX14141" fmla="*/ 5248950 w 8079933"/>
              <a:gd name="connsiteY14141" fmla="*/ 1925592 h 4687251"/>
              <a:gd name="connsiteX14142" fmla="*/ 5254810 w 8079933"/>
              <a:gd name="connsiteY14142" fmla="*/ 1928732 h 4687251"/>
              <a:gd name="connsiteX14143" fmla="*/ 5257632 w 8079933"/>
              <a:gd name="connsiteY14143" fmla="*/ 1927000 h 4687251"/>
              <a:gd name="connsiteX14144" fmla="*/ 5254810 w 8079933"/>
              <a:gd name="connsiteY14144" fmla="*/ 1928732 h 4687251"/>
              <a:gd name="connsiteX14145" fmla="*/ 4303336 w 8079933"/>
              <a:gd name="connsiteY14145" fmla="*/ 1923752 h 4687251"/>
              <a:gd name="connsiteX14146" fmla="*/ 4312777 w 8079933"/>
              <a:gd name="connsiteY14146" fmla="*/ 1923752 h 4687251"/>
              <a:gd name="connsiteX14147" fmla="*/ 4314839 w 8079933"/>
              <a:gd name="connsiteY14147" fmla="*/ 1925160 h 4687251"/>
              <a:gd name="connsiteX14148" fmla="*/ 4310172 w 8079933"/>
              <a:gd name="connsiteY14148" fmla="*/ 1927434 h 4687251"/>
              <a:gd name="connsiteX14149" fmla="*/ 4305506 w 8079933"/>
              <a:gd name="connsiteY14149" fmla="*/ 1926676 h 4687251"/>
              <a:gd name="connsiteX14150" fmla="*/ 5253399 w 8079933"/>
              <a:gd name="connsiteY14150" fmla="*/ 1921153 h 4687251"/>
              <a:gd name="connsiteX14151" fmla="*/ 5253399 w 8079933"/>
              <a:gd name="connsiteY14151" fmla="*/ 1921153 h 4687251"/>
              <a:gd name="connsiteX14152" fmla="*/ 5257424 w 8079933"/>
              <a:gd name="connsiteY14152" fmla="*/ 1921507 h 4687251"/>
              <a:gd name="connsiteX14153" fmla="*/ 5539778 w 8079933"/>
              <a:gd name="connsiteY14153" fmla="*/ 1917352 h 4687251"/>
              <a:gd name="connsiteX14154" fmla="*/ 5539778 w 8079933"/>
              <a:gd name="connsiteY14154" fmla="*/ 1917352 h 4687251"/>
              <a:gd name="connsiteX14155" fmla="*/ 5542271 w 8079933"/>
              <a:gd name="connsiteY14155" fmla="*/ 1917688 h 4687251"/>
              <a:gd name="connsiteX14156" fmla="*/ 5542282 w 8079933"/>
              <a:gd name="connsiteY14156" fmla="*/ 1917864 h 4687251"/>
              <a:gd name="connsiteX14157" fmla="*/ 5542271 w 8079933"/>
              <a:gd name="connsiteY14157" fmla="*/ 1917687 h 4687251"/>
              <a:gd name="connsiteX14158" fmla="*/ 5538254 w 8079933"/>
              <a:gd name="connsiteY14158" fmla="*/ 1917147 h 4687251"/>
              <a:gd name="connsiteX14159" fmla="*/ 5533480 w 8079933"/>
              <a:gd name="connsiteY14159" fmla="*/ 1923318 h 4687251"/>
              <a:gd name="connsiteX14160" fmla="*/ 5529356 w 8079933"/>
              <a:gd name="connsiteY14160" fmla="*/ 1925050 h 4687251"/>
              <a:gd name="connsiteX14161" fmla="*/ 5520024 w 8079933"/>
              <a:gd name="connsiteY14161" fmla="*/ 1936311 h 4687251"/>
              <a:gd name="connsiteX14162" fmla="*/ 5516768 w 8079933"/>
              <a:gd name="connsiteY14162" fmla="*/ 1942807 h 4687251"/>
              <a:gd name="connsiteX14163" fmla="*/ 5513946 w 8079933"/>
              <a:gd name="connsiteY14163" fmla="*/ 1946055 h 4687251"/>
              <a:gd name="connsiteX14164" fmla="*/ 5509172 w 8079933"/>
              <a:gd name="connsiteY14164" fmla="*/ 1955041 h 4687251"/>
              <a:gd name="connsiteX14165" fmla="*/ 5499515 w 8079933"/>
              <a:gd name="connsiteY14165" fmla="*/ 1963919 h 4687251"/>
              <a:gd name="connsiteX14166" fmla="*/ 5499516 w 8079933"/>
              <a:gd name="connsiteY14166" fmla="*/ 1963920 h 4687251"/>
              <a:gd name="connsiteX14167" fmla="*/ 5509174 w 8079933"/>
              <a:gd name="connsiteY14167" fmla="*/ 1955042 h 4687251"/>
              <a:gd name="connsiteX14168" fmla="*/ 5513948 w 8079933"/>
              <a:gd name="connsiteY14168" fmla="*/ 1946055 h 4687251"/>
              <a:gd name="connsiteX14169" fmla="*/ 5516770 w 8079933"/>
              <a:gd name="connsiteY14169" fmla="*/ 1942807 h 4687251"/>
              <a:gd name="connsiteX14170" fmla="*/ 5520025 w 8079933"/>
              <a:gd name="connsiteY14170" fmla="*/ 1936310 h 4687251"/>
              <a:gd name="connsiteX14171" fmla="*/ 5529357 w 8079933"/>
              <a:gd name="connsiteY14171" fmla="*/ 1925050 h 4687251"/>
              <a:gd name="connsiteX14172" fmla="*/ 5533482 w 8079933"/>
              <a:gd name="connsiteY14172" fmla="*/ 1923318 h 4687251"/>
              <a:gd name="connsiteX14173" fmla="*/ 5538256 w 8079933"/>
              <a:gd name="connsiteY14173" fmla="*/ 1917147 h 4687251"/>
              <a:gd name="connsiteX14174" fmla="*/ 4369856 w 8079933"/>
              <a:gd name="connsiteY14174" fmla="*/ 1916822 h 4687251"/>
              <a:gd name="connsiteX14175" fmla="*/ 4368229 w 8079933"/>
              <a:gd name="connsiteY14175" fmla="*/ 1918446 h 4687251"/>
              <a:gd name="connsiteX14176" fmla="*/ 4367795 w 8079933"/>
              <a:gd name="connsiteY14176" fmla="*/ 1918879 h 4687251"/>
              <a:gd name="connsiteX14177" fmla="*/ 4359953 w 8079933"/>
              <a:gd name="connsiteY14177" fmla="*/ 1914881 h 4687251"/>
              <a:gd name="connsiteX14178" fmla="*/ 4363997 w 8079933"/>
              <a:gd name="connsiteY14178" fmla="*/ 1917689 h 4687251"/>
              <a:gd name="connsiteX14179" fmla="*/ 4367795 w 8079933"/>
              <a:gd name="connsiteY14179" fmla="*/ 1918879 h 4687251"/>
              <a:gd name="connsiteX14180" fmla="*/ 4368229 w 8079933"/>
              <a:gd name="connsiteY14180" fmla="*/ 1918446 h 4687251"/>
              <a:gd name="connsiteX14181" fmla="*/ 4372931 w 8079933"/>
              <a:gd name="connsiteY14181" fmla="*/ 1922938 h 4687251"/>
              <a:gd name="connsiteX14182" fmla="*/ 4368229 w 8079933"/>
              <a:gd name="connsiteY14182" fmla="*/ 1918446 h 4687251"/>
              <a:gd name="connsiteX14183" fmla="*/ 4369857 w 8079933"/>
              <a:gd name="connsiteY14183" fmla="*/ 1916822 h 4687251"/>
              <a:gd name="connsiteX14184" fmla="*/ 4369856 w 8079933"/>
              <a:gd name="connsiteY14184" fmla="*/ 1916821 h 4687251"/>
              <a:gd name="connsiteX14185" fmla="*/ 4367795 w 8079933"/>
              <a:gd name="connsiteY14185" fmla="*/ 1918878 h 4687251"/>
              <a:gd name="connsiteX14186" fmla="*/ 4363996 w 8079933"/>
              <a:gd name="connsiteY14186" fmla="*/ 1917688 h 4687251"/>
              <a:gd name="connsiteX14187" fmla="*/ 4359004 w 8079933"/>
              <a:gd name="connsiteY14187" fmla="*/ 1914223 h 4687251"/>
              <a:gd name="connsiteX14188" fmla="*/ 4356075 w 8079933"/>
              <a:gd name="connsiteY14188" fmla="*/ 1916280 h 4687251"/>
              <a:gd name="connsiteX14189" fmla="*/ 4356291 w 8079933"/>
              <a:gd name="connsiteY14189" fmla="*/ 1919961 h 4687251"/>
              <a:gd name="connsiteX14190" fmla="*/ 4356293 w 8079933"/>
              <a:gd name="connsiteY14190" fmla="*/ 1919962 h 4687251"/>
              <a:gd name="connsiteX14191" fmla="*/ 4356075 w 8079933"/>
              <a:gd name="connsiteY14191" fmla="*/ 1916281 h 4687251"/>
              <a:gd name="connsiteX14192" fmla="*/ 4359006 w 8079933"/>
              <a:gd name="connsiteY14192" fmla="*/ 1914224 h 4687251"/>
              <a:gd name="connsiteX14193" fmla="*/ 5544006 w 8079933"/>
              <a:gd name="connsiteY14193" fmla="*/ 1909026 h 4687251"/>
              <a:gd name="connsiteX14194" fmla="*/ 5544006 w 8079933"/>
              <a:gd name="connsiteY14194" fmla="*/ 1909026 h 4687251"/>
              <a:gd name="connsiteX14195" fmla="*/ 5545742 w 8079933"/>
              <a:gd name="connsiteY14195" fmla="*/ 1911841 h 4687251"/>
              <a:gd name="connsiteX14196" fmla="*/ 5545742 w 8079933"/>
              <a:gd name="connsiteY14196" fmla="*/ 1911841 h 4687251"/>
              <a:gd name="connsiteX14197" fmla="*/ 4492809 w 8079933"/>
              <a:gd name="connsiteY14197" fmla="*/ 1908427 h 4687251"/>
              <a:gd name="connsiteX14198" fmla="*/ 4495953 w 8079933"/>
              <a:gd name="connsiteY14198" fmla="*/ 1909568 h 4687251"/>
              <a:gd name="connsiteX14199" fmla="*/ 4500185 w 8079933"/>
              <a:gd name="connsiteY14199" fmla="*/ 1909568 h 4687251"/>
              <a:gd name="connsiteX14200" fmla="*/ 4506004 w 8079933"/>
              <a:gd name="connsiteY14200" fmla="*/ 1910275 h 4687251"/>
              <a:gd name="connsiteX14201" fmla="*/ 4500184 w 8079933"/>
              <a:gd name="connsiteY14201" fmla="*/ 1909567 h 4687251"/>
              <a:gd name="connsiteX14202" fmla="*/ 4495952 w 8079933"/>
              <a:gd name="connsiteY14202" fmla="*/ 1909567 h 4687251"/>
              <a:gd name="connsiteX14203" fmla="*/ 4463368 w 8079933"/>
              <a:gd name="connsiteY14203" fmla="*/ 1907343 h 4687251"/>
              <a:gd name="connsiteX14204" fmla="*/ 4465025 w 8079933"/>
              <a:gd name="connsiteY14204" fmla="*/ 1909135 h 4687251"/>
              <a:gd name="connsiteX14205" fmla="*/ 4467413 w 8079933"/>
              <a:gd name="connsiteY14205" fmla="*/ 1908376 h 4687251"/>
              <a:gd name="connsiteX14206" fmla="*/ 4475660 w 8079933"/>
              <a:gd name="connsiteY14206" fmla="*/ 1911517 h 4687251"/>
              <a:gd name="connsiteX14207" fmla="*/ 4482497 w 8079933"/>
              <a:gd name="connsiteY14207" fmla="*/ 1908268 h 4687251"/>
              <a:gd name="connsiteX14208" fmla="*/ 4487163 w 8079933"/>
              <a:gd name="connsiteY14208" fmla="*/ 1909568 h 4687251"/>
              <a:gd name="connsiteX14209" fmla="*/ 4490107 w 8079933"/>
              <a:gd name="connsiteY14209" fmla="*/ 1908297 h 4687251"/>
              <a:gd name="connsiteX14210" fmla="*/ 4487163 w 8079933"/>
              <a:gd name="connsiteY14210" fmla="*/ 1909567 h 4687251"/>
              <a:gd name="connsiteX14211" fmla="*/ 4482497 w 8079933"/>
              <a:gd name="connsiteY14211" fmla="*/ 1908268 h 4687251"/>
              <a:gd name="connsiteX14212" fmla="*/ 4475660 w 8079933"/>
              <a:gd name="connsiteY14212" fmla="*/ 1911516 h 4687251"/>
              <a:gd name="connsiteX14213" fmla="*/ 4467413 w 8079933"/>
              <a:gd name="connsiteY14213" fmla="*/ 1908376 h 4687251"/>
              <a:gd name="connsiteX14214" fmla="*/ 4465025 w 8079933"/>
              <a:gd name="connsiteY14214" fmla="*/ 1909134 h 4687251"/>
              <a:gd name="connsiteX14215" fmla="*/ 4456018 w 8079933"/>
              <a:gd name="connsiteY14215" fmla="*/ 1905995 h 4687251"/>
              <a:gd name="connsiteX14216" fmla="*/ 4450159 w 8079933"/>
              <a:gd name="connsiteY14216" fmla="*/ 1909783 h 4687251"/>
              <a:gd name="connsiteX14217" fmla="*/ 4450159 w 8079933"/>
              <a:gd name="connsiteY14217" fmla="*/ 1909784 h 4687251"/>
              <a:gd name="connsiteX14218" fmla="*/ 4447555 w 8079933"/>
              <a:gd name="connsiteY14218" fmla="*/ 1905453 h 4687251"/>
              <a:gd name="connsiteX14219" fmla="*/ 4447554 w 8079933"/>
              <a:gd name="connsiteY14219" fmla="*/ 1905453 h 4687251"/>
              <a:gd name="connsiteX14220" fmla="*/ 4448663 w 8079933"/>
              <a:gd name="connsiteY14220" fmla="*/ 1907297 h 4687251"/>
              <a:gd name="connsiteX14221" fmla="*/ 5548563 w 8079933"/>
              <a:gd name="connsiteY14221" fmla="*/ 1904263 h 4687251"/>
              <a:gd name="connsiteX14222" fmla="*/ 5545594 w 8079933"/>
              <a:gd name="connsiteY14222" fmla="*/ 1907367 h 4687251"/>
              <a:gd name="connsiteX14223" fmla="*/ 5548564 w 8079933"/>
              <a:gd name="connsiteY14223" fmla="*/ 1904263 h 4687251"/>
              <a:gd name="connsiteX14224" fmla="*/ 4371355 w 8079933"/>
              <a:gd name="connsiteY14224" fmla="*/ 1902026 h 4687251"/>
              <a:gd name="connsiteX14225" fmla="*/ 4372678 w 8079933"/>
              <a:gd name="connsiteY14225" fmla="*/ 1903396 h 4687251"/>
              <a:gd name="connsiteX14226" fmla="*/ 4370942 w 8079933"/>
              <a:gd name="connsiteY14226" fmla="*/ 1906211 h 4687251"/>
              <a:gd name="connsiteX14227" fmla="*/ 4366818 w 8079933"/>
              <a:gd name="connsiteY14227" fmla="*/ 1903937 h 4687251"/>
              <a:gd name="connsiteX14228" fmla="*/ 4364539 w 8079933"/>
              <a:gd name="connsiteY14228" fmla="*/ 1905453 h 4687251"/>
              <a:gd name="connsiteX14229" fmla="*/ 4364539 w 8079933"/>
              <a:gd name="connsiteY14229" fmla="*/ 1905454 h 4687251"/>
              <a:gd name="connsiteX14230" fmla="*/ 4366818 w 8079933"/>
              <a:gd name="connsiteY14230" fmla="*/ 1903938 h 4687251"/>
              <a:gd name="connsiteX14231" fmla="*/ 4370942 w 8079933"/>
              <a:gd name="connsiteY14231" fmla="*/ 1906211 h 4687251"/>
              <a:gd name="connsiteX14232" fmla="*/ 4372679 w 8079933"/>
              <a:gd name="connsiteY14232" fmla="*/ 1903397 h 4687251"/>
              <a:gd name="connsiteX14233" fmla="*/ 4565725 w 8079933"/>
              <a:gd name="connsiteY14233" fmla="*/ 1901990 h 4687251"/>
              <a:gd name="connsiteX14234" fmla="*/ 4568984 w 8079933"/>
              <a:gd name="connsiteY14234" fmla="*/ 1903504 h 4687251"/>
              <a:gd name="connsiteX14235" fmla="*/ 4568984 w 8079933"/>
              <a:gd name="connsiteY14235" fmla="*/ 1903504 h 4687251"/>
              <a:gd name="connsiteX14236" fmla="*/ 4266440 w 8079933"/>
              <a:gd name="connsiteY14236" fmla="*/ 1901447 h 4687251"/>
              <a:gd name="connsiteX14237" fmla="*/ 4271215 w 8079933"/>
              <a:gd name="connsiteY14237" fmla="*/ 1905344 h 4687251"/>
              <a:gd name="connsiteX14238" fmla="*/ 4272408 w 8079933"/>
              <a:gd name="connsiteY14238" fmla="*/ 1909567 h 4687251"/>
              <a:gd name="connsiteX14239" fmla="*/ 4101534 w 8079933"/>
              <a:gd name="connsiteY14239" fmla="*/ 1900979 h 4687251"/>
              <a:gd name="connsiteX14240" fmla="*/ 4099433 w 8079933"/>
              <a:gd name="connsiteY14240" fmla="*/ 1905995 h 4687251"/>
              <a:gd name="connsiteX14241" fmla="*/ 4099433 w 8079933"/>
              <a:gd name="connsiteY14241" fmla="*/ 1905996 h 4687251"/>
              <a:gd name="connsiteX14242" fmla="*/ 4562690 w 8079933"/>
              <a:gd name="connsiteY14242" fmla="*/ 1900581 h 4687251"/>
              <a:gd name="connsiteX14243" fmla="*/ 4558133 w 8079933"/>
              <a:gd name="connsiteY14243" fmla="*/ 1902313 h 4687251"/>
              <a:gd name="connsiteX14244" fmla="*/ 4562690 w 8079933"/>
              <a:gd name="connsiteY14244" fmla="*/ 1900581 h 4687251"/>
              <a:gd name="connsiteX14245" fmla="*/ 4449327 w 8079933"/>
              <a:gd name="connsiteY14245" fmla="*/ 1899035 h 4687251"/>
              <a:gd name="connsiteX14246" fmla="*/ 4449616 w 8079933"/>
              <a:gd name="connsiteY14246" fmla="*/ 1899282 h 4687251"/>
              <a:gd name="connsiteX14247" fmla="*/ 4449616 w 8079933"/>
              <a:gd name="connsiteY14247" fmla="*/ 1899281 h 4687251"/>
              <a:gd name="connsiteX14248" fmla="*/ 5427676 w 8079933"/>
              <a:gd name="connsiteY14248" fmla="*/ 1898957 h 4687251"/>
              <a:gd name="connsiteX14249" fmla="*/ 5419321 w 8079933"/>
              <a:gd name="connsiteY14249" fmla="*/ 1901556 h 4687251"/>
              <a:gd name="connsiteX14250" fmla="*/ 5419321 w 8079933"/>
              <a:gd name="connsiteY14250" fmla="*/ 1901556 h 4687251"/>
              <a:gd name="connsiteX14251" fmla="*/ 5427676 w 8079933"/>
              <a:gd name="connsiteY14251" fmla="*/ 1898958 h 4687251"/>
              <a:gd name="connsiteX14252" fmla="*/ 2159646 w 8079933"/>
              <a:gd name="connsiteY14252" fmla="*/ 1898427 h 4687251"/>
              <a:gd name="connsiteX14253" fmla="*/ 2153295 w 8079933"/>
              <a:gd name="connsiteY14253" fmla="*/ 1900473 h 4687251"/>
              <a:gd name="connsiteX14254" fmla="*/ 2110837 w 8079933"/>
              <a:gd name="connsiteY14254" fmla="*/ 1911848 h 4687251"/>
              <a:gd name="connsiteX14255" fmla="*/ 2153295 w 8079933"/>
              <a:gd name="connsiteY14255" fmla="*/ 1900473 h 4687251"/>
              <a:gd name="connsiteX14256" fmla="*/ 4552107 w 8079933"/>
              <a:gd name="connsiteY14256" fmla="*/ 1898139 h 4687251"/>
              <a:gd name="connsiteX14257" fmla="*/ 4555637 w 8079933"/>
              <a:gd name="connsiteY14257" fmla="*/ 1899607 h 4687251"/>
              <a:gd name="connsiteX14258" fmla="*/ 4555636 w 8079933"/>
              <a:gd name="connsiteY14258" fmla="*/ 1899606 h 4687251"/>
              <a:gd name="connsiteX14259" fmla="*/ 5756700 w 8079933"/>
              <a:gd name="connsiteY14259" fmla="*/ 1897438 h 4687251"/>
              <a:gd name="connsiteX14260" fmla="*/ 5754311 w 8079933"/>
              <a:gd name="connsiteY14260" fmla="*/ 1899065 h 4687251"/>
              <a:gd name="connsiteX14261" fmla="*/ 5754528 w 8079933"/>
              <a:gd name="connsiteY14261" fmla="*/ 1905345 h 4687251"/>
              <a:gd name="connsiteX14262" fmla="*/ 5752733 w 8079933"/>
              <a:gd name="connsiteY14262" fmla="*/ 1906326 h 4687251"/>
              <a:gd name="connsiteX14263" fmla="*/ 5754529 w 8079933"/>
              <a:gd name="connsiteY14263" fmla="*/ 1905345 h 4687251"/>
              <a:gd name="connsiteX14264" fmla="*/ 5754312 w 8079933"/>
              <a:gd name="connsiteY14264" fmla="*/ 1899065 h 4687251"/>
              <a:gd name="connsiteX14265" fmla="*/ 4534259 w 8079933"/>
              <a:gd name="connsiteY14265" fmla="*/ 1896683 h 4687251"/>
              <a:gd name="connsiteX14266" fmla="*/ 4520152 w 8079933"/>
              <a:gd name="connsiteY14266" fmla="*/ 1903287 h 4687251"/>
              <a:gd name="connsiteX14267" fmla="*/ 4518090 w 8079933"/>
              <a:gd name="connsiteY14267" fmla="*/ 1906644 h 4687251"/>
              <a:gd name="connsiteX14268" fmla="*/ 4512013 w 8079933"/>
              <a:gd name="connsiteY14268" fmla="*/ 1908593 h 4687251"/>
              <a:gd name="connsiteX14269" fmla="*/ 4509083 w 8079933"/>
              <a:gd name="connsiteY14269" fmla="*/ 1910650 h 4687251"/>
              <a:gd name="connsiteX14270" fmla="*/ 4512013 w 8079933"/>
              <a:gd name="connsiteY14270" fmla="*/ 1908593 h 4687251"/>
              <a:gd name="connsiteX14271" fmla="*/ 4518091 w 8079933"/>
              <a:gd name="connsiteY14271" fmla="*/ 1906645 h 4687251"/>
              <a:gd name="connsiteX14272" fmla="*/ 4520152 w 8079933"/>
              <a:gd name="connsiteY14272" fmla="*/ 1903288 h 4687251"/>
              <a:gd name="connsiteX14273" fmla="*/ 4540444 w 8079933"/>
              <a:gd name="connsiteY14273" fmla="*/ 1895709 h 4687251"/>
              <a:gd name="connsiteX14274" fmla="*/ 4537495 w 8079933"/>
              <a:gd name="connsiteY14274" fmla="*/ 1896173 h 4687251"/>
              <a:gd name="connsiteX14275" fmla="*/ 4540445 w 8079933"/>
              <a:gd name="connsiteY14275" fmla="*/ 1895709 h 4687251"/>
              <a:gd name="connsiteX14276" fmla="*/ 5005437 w 8079933"/>
              <a:gd name="connsiteY14276" fmla="*/ 1894518 h 4687251"/>
              <a:gd name="connsiteX14277" fmla="*/ 5003050 w 8079933"/>
              <a:gd name="connsiteY14277" fmla="*/ 1896792 h 4687251"/>
              <a:gd name="connsiteX14278" fmla="*/ 5001860 w 8079933"/>
              <a:gd name="connsiteY14278" fmla="*/ 1896047 h 4687251"/>
              <a:gd name="connsiteX14279" fmla="*/ 5001097 w 8079933"/>
              <a:gd name="connsiteY14279" fmla="*/ 1897659 h 4687251"/>
              <a:gd name="connsiteX14280" fmla="*/ 4999904 w 8079933"/>
              <a:gd name="connsiteY14280" fmla="*/ 1902098 h 4687251"/>
              <a:gd name="connsiteX14281" fmla="*/ 4997516 w 8079933"/>
              <a:gd name="connsiteY14281" fmla="*/ 1901016 h 4687251"/>
              <a:gd name="connsiteX14282" fmla="*/ 4997516 w 8079933"/>
              <a:gd name="connsiteY14282" fmla="*/ 1905130 h 4687251"/>
              <a:gd name="connsiteX14283" fmla="*/ 5000772 w 8079933"/>
              <a:gd name="connsiteY14283" fmla="*/ 1905130 h 4687251"/>
              <a:gd name="connsiteX14284" fmla="*/ 5001423 w 8079933"/>
              <a:gd name="connsiteY14284" fmla="*/ 1907728 h 4687251"/>
              <a:gd name="connsiteX14285" fmla="*/ 5002834 w 8079933"/>
              <a:gd name="connsiteY14285" fmla="*/ 1910976 h 4687251"/>
              <a:gd name="connsiteX14286" fmla="*/ 5002834 w 8079933"/>
              <a:gd name="connsiteY14286" fmla="*/ 1917906 h 4687251"/>
              <a:gd name="connsiteX14287" fmla="*/ 5006415 w 8079933"/>
              <a:gd name="connsiteY14287" fmla="*/ 1922020 h 4687251"/>
              <a:gd name="connsiteX14288" fmla="*/ 5007934 w 8079933"/>
              <a:gd name="connsiteY14288" fmla="*/ 1928841 h 4687251"/>
              <a:gd name="connsiteX14289" fmla="*/ 5016941 w 8079933"/>
              <a:gd name="connsiteY14289" fmla="*/ 1939668 h 4687251"/>
              <a:gd name="connsiteX14290" fmla="*/ 5029637 w 8079933"/>
              <a:gd name="connsiteY14290" fmla="*/ 1950495 h 4687251"/>
              <a:gd name="connsiteX14291" fmla="*/ 5031808 w 8079933"/>
              <a:gd name="connsiteY14291" fmla="*/ 1952011 h 4687251"/>
              <a:gd name="connsiteX14292" fmla="*/ 5023777 w 8079933"/>
              <a:gd name="connsiteY14292" fmla="*/ 1961755 h 4687251"/>
              <a:gd name="connsiteX14293" fmla="*/ 5016833 w 8079933"/>
              <a:gd name="connsiteY14293" fmla="*/ 1965545 h 4687251"/>
              <a:gd name="connsiteX14294" fmla="*/ 5014771 w 8079933"/>
              <a:gd name="connsiteY14294" fmla="*/ 1969659 h 4687251"/>
              <a:gd name="connsiteX14295" fmla="*/ 5007159 w 8079933"/>
              <a:gd name="connsiteY14295" fmla="*/ 1968900 h 4687251"/>
              <a:gd name="connsiteX14296" fmla="*/ 5007392 w 8079933"/>
              <a:gd name="connsiteY14296" fmla="*/ 1969332 h 4687251"/>
              <a:gd name="connsiteX14297" fmla="*/ 5018461 w 8079933"/>
              <a:gd name="connsiteY14297" fmla="*/ 1970415 h 4687251"/>
              <a:gd name="connsiteX14298" fmla="*/ 5020522 w 8079933"/>
              <a:gd name="connsiteY14298" fmla="*/ 1966193 h 4687251"/>
              <a:gd name="connsiteX14299" fmla="*/ 5027359 w 8079933"/>
              <a:gd name="connsiteY14299" fmla="*/ 1962403 h 4687251"/>
              <a:gd name="connsiteX14300" fmla="*/ 5035715 w 8079933"/>
              <a:gd name="connsiteY14300" fmla="*/ 1952334 h 4687251"/>
              <a:gd name="connsiteX14301" fmla="*/ 5036755 w 8079933"/>
              <a:gd name="connsiteY14301" fmla="*/ 1953085 h 4687251"/>
              <a:gd name="connsiteX14302" fmla="*/ 5037016 w 8079933"/>
              <a:gd name="connsiteY14302" fmla="*/ 1952768 h 4687251"/>
              <a:gd name="connsiteX14303" fmla="*/ 5034846 w 8079933"/>
              <a:gd name="connsiteY14303" fmla="*/ 1951252 h 4687251"/>
              <a:gd name="connsiteX14304" fmla="*/ 5022149 w 8079933"/>
              <a:gd name="connsiteY14304" fmla="*/ 1940425 h 4687251"/>
              <a:gd name="connsiteX14305" fmla="*/ 5013142 w 8079933"/>
              <a:gd name="connsiteY14305" fmla="*/ 1929598 h 4687251"/>
              <a:gd name="connsiteX14306" fmla="*/ 5011623 w 8079933"/>
              <a:gd name="connsiteY14306" fmla="*/ 1922777 h 4687251"/>
              <a:gd name="connsiteX14307" fmla="*/ 5008042 w 8079933"/>
              <a:gd name="connsiteY14307" fmla="*/ 1918663 h 4687251"/>
              <a:gd name="connsiteX14308" fmla="*/ 5008042 w 8079933"/>
              <a:gd name="connsiteY14308" fmla="*/ 1911733 h 4687251"/>
              <a:gd name="connsiteX14309" fmla="*/ 5006631 w 8079933"/>
              <a:gd name="connsiteY14309" fmla="*/ 1908485 h 4687251"/>
              <a:gd name="connsiteX14310" fmla="*/ 5005981 w 8079933"/>
              <a:gd name="connsiteY14310" fmla="*/ 1905886 h 4687251"/>
              <a:gd name="connsiteX14311" fmla="*/ 5002724 w 8079933"/>
              <a:gd name="connsiteY14311" fmla="*/ 1905886 h 4687251"/>
              <a:gd name="connsiteX14312" fmla="*/ 5002724 w 8079933"/>
              <a:gd name="connsiteY14312" fmla="*/ 1901773 h 4687251"/>
              <a:gd name="connsiteX14313" fmla="*/ 5005112 w 8079933"/>
              <a:gd name="connsiteY14313" fmla="*/ 1902855 h 4687251"/>
              <a:gd name="connsiteX14314" fmla="*/ 5006306 w 8079933"/>
              <a:gd name="connsiteY14314" fmla="*/ 1898416 h 4687251"/>
              <a:gd name="connsiteX14315" fmla="*/ 5008150 w 8079933"/>
              <a:gd name="connsiteY14315" fmla="*/ 1894518 h 4687251"/>
              <a:gd name="connsiteX14316" fmla="*/ 2087767 w 8079933"/>
              <a:gd name="connsiteY14316" fmla="*/ 1893762 h 4687251"/>
              <a:gd name="connsiteX14317" fmla="*/ 2087317 w 8079933"/>
              <a:gd name="connsiteY14317" fmla="*/ 1894843 h 4687251"/>
              <a:gd name="connsiteX14318" fmla="*/ 2086291 w 8079933"/>
              <a:gd name="connsiteY14318" fmla="*/ 1896892 h 4687251"/>
              <a:gd name="connsiteX14319" fmla="*/ 2087317 w 8079933"/>
              <a:gd name="connsiteY14319" fmla="*/ 1894843 h 4687251"/>
              <a:gd name="connsiteX14320" fmla="*/ 4260364 w 8079933"/>
              <a:gd name="connsiteY14320" fmla="*/ 1893544 h 4687251"/>
              <a:gd name="connsiteX14321" fmla="*/ 4264054 w 8079933"/>
              <a:gd name="connsiteY14321" fmla="*/ 1895060 h 4687251"/>
              <a:gd name="connsiteX14322" fmla="*/ 4264596 w 8079933"/>
              <a:gd name="connsiteY14322" fmla="*/ 1898525 h 4687251"/>
              <a:gd name="connsiteX14323" fmla="*/ 4269261 w 8079933"/>
              <a:gd name="connsiteY14323" fmla="*/ 1893327 h 4687251"/>
              <a:gd name="connsiteX14324" fmla="*/ 4271974 w 8079933"/>
              <a:gd name="connsiteY14324" fmla="*/ 1894084 h 4687251"/>
              <a:gd name="connsiteX14325" fmla="*/ 4275012 w 8079933"/>
              <a:gd name="connsiteY14325" fmla="*/ 1898199 h 4687251"/>
              <a:gd name="connsiteX14326" fmla="*/ 4273276 w 8079933"/>
              <a:gd name="connsiteY14326" fmla="*/ 1899390 h 4687251"/>
              <a:gd name="connsiteX14327" fmla="*/ 5759521 w 8079933"/>
              <a:gd name="connsiteY14327" fmla="*/ 1893219 h 4687251"/>
              <a:gd name="connsiteX14328" fmla="*/ 5759520 w 8079933"/>
              <a:gd name="connsiteY14328" fmla="*/ 1893219 h 4687251"/>
              <a:gd name="connsiteX14329" fmla="*/ 5758760 w 8079933"/>
              <a:gd name="connsiteY14329" fmla="*/ 1896034 h 4687251"/>
              <a:gd name="connsiteX14330" fmla="*/ 5758761 w 8079933"/>
              <a:gd name="connsiteY14330" fmla="*/ 1896033 h 4687251"/>
              <a:gd name="connsiteX14331" fmla="*/ 6315887 w 8079933"/>
              <a:gd name="connsiteY14331" fmla="*/ 1891379 h 4687251"/>
              <a:gd name="connsiteX14332" fmla="*/ 6315885 w 8079933"/>
              <a:gd name="connsiteY14332" fmla="*/ 1891380 h 4687251"/>
              <a:gd name="connsiteX14333" fmla="*/ 6316753 w 8079933"/>
              <a:gd name="connsiteY14333" fmla="*/ 1894951 h 4687251"/>
              <a:gd name="connsiteX14334" fmla="*/ 6316753 w 8079933"/>
              <a:gd name="connsiteY14334" fmla="*/ 1897549 h 4687251"/>
              <a:gd name="connsiteX14335" fmla="*/ 6316754 w 8079933"/>
              <a:gd name="connsiteY14335" fmla="*/ 1897550 h 4687251"/>
              <a:gd name="connsiteX14336" fmla="*/ 6316754 w 8079933"/>
              <a:gd name="connsiteY14336" fmla="*/ 1894951 h 4687251"/>
              <a:gd name="connsiteX14337" fmla="*/ 5598373 w 8079933"/>
              <a:gd name="connsiteY14337" fmla="*/ 1891054 h 4687251"/>
              <a:gd name="connsiteX14338" fmla="*/ 5598916 w 8079933"/>
              <a:gd name="connsiteY14338" fmla="*/ 1896142 h 4687251"/>
              <a:gd name="connsiteX14339" fmla="*/ 5600326 w 8079933"/>
              <a:gd name="connsiteY14339" fmla="*/ 1901556 h 4687251"/>
              <a:gd name="connsiteX14340" fmla="*/ 5600434 w 8079933"/>
              <a:gd name="connsiteY14340" fmla="*/ 1907835 h 4687251"/>
              <a:gd name="connsiteX14341" fmla="*/ 5600435 w 8079933"/>
              <a:gd name="connsiteY14341" fmla="*/ 1907835 h 4687251"/>
              <a:gd name="connsiteX14342" fmla="*/ 5600326 w 8079933"/>
              <a:gd name="connsiteY14342" fmla="*/ 1901555 h 4687251"/>
              <a:gd name="connsiteX14343" fmla="*/ 5598916 w 8079933"/>
              <a:gd name="connsiteY14343" fmla="*/ 1896142 h 4687251"/>
              <a:gd name="connsiteX14344" fmla="*/ 6288757 w 8079933"/>
              <a:gd name="connsiteY14344" fmla="*/ 1891054 h 4687251"/>
              <a:gd name="connsiteX14345" fmla="*/ 6290255 w 8079933"/>
              <a:gd name="connsiteY14345" fmla="*/ 1891819 h 4687251"/>
              <a:gd name="connsiteX14346" fmla="*/ 6288758 w 8079933"/>
              <a:gd name="connsiteY14346" fmla="*/ 1891054 h 4687251"/>
              <a:gd name="connsiteX14347" fmla="*/ 5657948 w 8079933"/>
              <a:gd name="connsiteY14347" fmla="*/ 1890837 h 4687251"/>
              <a:gd name="connsiteX14348" fmla="*/ 5655594 w 8079933"/>
              <a:gd name="connsiteY14348" fmla="*/ 1892945 h 4687251"/>
              <a:gd name="connsiteX14349" fmla="*/ 5657948 w 8079933"/>
              <a:gd name="connsiteY14349" fmla="*/ 1890837 h 4687251"/>
              <a:gd name="connsiteX14350" fmla="*/ 2165191 w 8079933"/>
              <a:gd name="connsiteY14350" fmla="*/ 1888655 h 4687251"/>
              <a:gd name="connsiteX14351" fmla="*/ 2163713 w 8079933"/>
              <a:gd name="connsiteY14351" fmla="*/ 1897117 h 4687251"/>
              <a:gd name="connsiteX14352" fmla="*/ 2163713 w 8079933"/>
              <a:gd name="connsiteY14352" fmla="*/ 1897117 h 4687251"/>
              <a:gd name="connsiteX14353" fmla="*/ 5757567 w 8079933"/>
              <a:gd name="connsiteY14353" fmla="*/ 1887480 h 4687251"/>
              <a:gd name="connsiteX14354" fmla="*/ 5757567 w 8079933"/>
              <a:gd name="connsiteY14354" fmla="*/ 1887481 h 4687251"/>
              <a:gd name="connsiteX14355" fmla="*/ 5761690 w 8079933"/>
              <a:gd name="connsiteY14355" fmla="*/ 1892136 h 4687251"/>
              <a:gd name="connsiteX14356" fmla="*/ 5761691 w 8079933"/>
              <a:gd name="connsiteY14356" fmla="*/ 1892135 h 4687251"/>
              <a:gd name="connsiteX14357" fmla="*/ 4265356 w 8079933"/>
              <a:gd name="connsiteY14357" fmla="*/ 1887048 h 4687251"/>
              <a:gd name="connsiteX14358" fmla="*/ 4269696 w 8079933"/>
              <a:gd name="connsiteY14358" fmla="*/ 1891487 h 4687251"/>
              <a:gd name="connsiteX14359" fmla="*/ 4265247 w 8079933"/>
              <a:gd name="connsiteY14359" fmla="*/ 1890296 h 4687251"/>
              <a:gd name="connsiteX14360" fmla="*/ 4425851 w 8079933"/>
              <a:gd name="connsiteY14360" fmla="*/ 1883149 h 4687251"/>
              <a:gd name="connsiteX14361" fmla="*/ 4420860 w 8079933"/>
              <a:gd name="connsiteY14361" fmla="*/ 1885206 h 4687251"/>
              <a:gd name="connsiteX14362" fmla="*/ 4420860 w 8079933"/>
              <a:gd name="connsiteY14362" fmla="*/ 1885207 h 4687251"/>
              <a:gd name="connsiteX14363" fmla="*/ 4425852 w 8079933"/>
              <a:gd name="connsiteY14363" fmla="*/ 1883150 h 4687251"/>
              <a:gd name="connsiteX14364" fmla="*/ 4428457 w 8079933"/>
              <a:gd name="connsiteY14364" fmla="*/ 1885526 h 4687251"/>
              <a:gd name="connsiteX14365" fmla="*/ 4433664 w 8079933"/>
              <a:gd name="connsiteY14365" fmla="*/ 1881200 h 4687251"/>
              <a:gd name="connsiteX14366" fmla="*/ 4429649 w 8079933"/>
              <a:gd name="connsiteY14366" fmla="*/ 1886614 h 4687251"/>
              <a:gd name="connsiteX14367" fmla="*/ 4429650 w 8079933"/>
              <a:gd name="connsiteY14367" fmla="*/ 1886614 h 4687251"/>
              <a:gd name="connsiteX14368" fmla="*/ 4433665 w 8079933"/>
              <a:gd name="connsiteY14368" fmla="*/ 1881201 h 4687251"/>
              <a:gd name="connsiteX14369" fmla="*/ 4441911 w 8079933"/>
              <a:gd name="connsiteY14369" fmla="*/ 1882933 h 4687251"/>
              <a:gd name="connsiteX14370" fmla="*/ 4441911 w 8079933"/>
              <a:gd name="connsiteY14370" fmla="*/ 1882933 h 4687251"/>
              <a:gd name="connsiteX14371" fmla="*/ 4252008 w 8079933"/>
              <a:gd name="connsiteY14371" fmla="*/ 1880660 h 4687251"/>
              <a:gd name="connsiteX14372" fmla="*/ 4257976 w 8079933"/>
              <a:gd name="connsiteY14372" fmla="*/ 1884882 h 4687251"/>
              <a:gd name="connsiteX14373" fmla="*/ 4260038 w 8079933"/>
              <a:gd name="connsiteY14373" fmla="*/ 1891162 h 4687251"/>
              <a:gd name="connsiteX14374" fmla="*/ 4258193 w 8079933"/>
              <a:gd name="connsiteY14374" fmla="*/ 1891487 h 4687251"/>
              <a:gd name="connsiteX14375" fmla="*/ 4253962 w 8079933"/>
              <a:gd name="connsiteY14375" fmla="*/ 1887048 h 4687251"/>
              <a:gd name="connsiteX14376" fmla="*/ 4255046 w 8079933"/>
              <a:gd name="connsiteY14376" fmla="*/ 1885641 h 4687251"/>
              <a:gd name="connsiteX14377" fmla="*/ 4989920 w 8079933"/>
              <a:gd name="connsiteY14377" fmla="*/ 1880227 h 4687251"/>
              <a:gd name="connsiteX14378" fmla="*/ 4986990 w 8079933"/>
              <a:gd name="connsiteY14378" fmla="*/ 1881093 h 4687251"/>
              <a:gd name="connsiteX14379" fmla="*/ 4986060 w 8079933"/>
              <a:gd name="connsiteY14379" fmla="*/ 1881093 h 4687251"/>
              <a:gd name="connsiteX14380" fmla="*/ 4987859 w 8079933"/>
              <a:gd name="connsiteY14380" fmla="*/ 1883259 h 4687251"/>
              <a:gd name="connsiteX14381" fmla="*/ 4992308 w 8079933"/>
              <a:gd name="connsiteY14381" fmla="*/ 1884666 h 4687251"/>
              <a:gd name="connsiteX14382" fmla="*/ 4992308 w 8079933"/>
              <a:gd name="connsiteY14382" fmla="*/ 1892570 h 4687251"/>
              <a:gd name="connsiteX14383" fmla="*/ 4997842 w 8079933"/>
              <a:gd name="connsiteY14383" fmla="*/ 1896035 h 4687251"/>
              <a:gd name="connsiteX14384" fmla="*/ 4999428 w 8079933"/>
              <a:gd name="connsiteY14384" fmla="*/ 1894525 h 4687251"/>
              <a:gd name="connsiteX14385" fmla="*/ 4997516 w 8079933"/>
              <a:gd name="connsiteY14385" fmla="*/ 1893328 h 4687251"/>
              <a:gd name="connsiteX14386" fmla="*/ 4997516 w 8079933"/>
              <a:gd name="connsiteY14386" fmla="*/ 1885424 h 4687251"/>
              <a:gd name="connsiteX14387" fmla="*/ 4993067 w 8079933"/>
              <a:gd name="connsiteY14387" fmla="*/ 1884016 h 4687251"/>
              <a:gd name="connsiteX14388" fmla="*/ 4413518 w 8079933"/>
              <a:gd name="connsiteY14388" fmla="*/ 1879517 h 4687251"/>
              <a:gd name="connsiteX14389" fmla="*/ 4418580 w 8079933"/>
              <a:gd name="connsiteY14389" fmla="*/ 1881201 h 4687251"/>
              <a:gd name="connsiteX14390" fmla="*/ 4418580 w 8079933"/>
              <a:gd name="connsiteY14390" fmla="*/ 1881200 h 4687251"/>
              <a:gd name="connsiteX14391" fmla="*/ 4364647 w 8079933"/>
              <a:gd name="connsiteY14391" fmla="*/ 1878169 h 4687251"/>
              <a:gd name="connsiteX14392" fmla="*/ 4363996 w 8079933"/>
              <a:gd name="connsiteY14392" fmla="*/ 1884340 h 4687251"/>
              <a:gd name="connsiteX14393" fmla="*/ 4359221 w 8079933"/>
              <a:gd name="connsiteY14393" fmla="*/ 1891594 h 4687251"/>
              <a:gd name="connsiteX14394" fmla="*/ 4359330 w 8079933"/>
              <a:gd name="connsiteY14394" fmla="*/ 1894843 h 4687251"/>
              <a:gd name="connsiteX14395" fmla="*/ 4363150 w 8079933"/>
              <a:gd name="connsiteY14395" fmla="*/ 1897880 h 4687251"/>
              <a:gd name="connsiteX14396" fmla="*/ 4359331 w 8079933"/>
              <a:gd name="connsiteY14396" fmla="*/ 1894843 h 4687251"/>
              <a:gd name="connsiteX14397" fmla="*/ 4359222 w 8079933"/>
              <a:gd name="connsiteY14397" fmla="*/ 1891595 h 4687251"/>
              <a:gd name="connsiteX14398" fmla="*/ 4363997 w 8079933"/>
              <a:gd name="connsiteY14398" fmla="*/ 1884340 h 4687251"/>
              <a:gd name="connsiteX14399" fmla="*/ 4364648 w 8079933"/>
              <a:gd name="connsiteY14399" fmla="*/ 1878169 h 4687251"/>
              <a:gd name="connsiteX14400" fmla="*/ 5401089 w 8079933"/>
              <a:gd name="connsiteY14400" fmla="*/ 1877953 h 4687251"/>
              <a:gd name="connsiteX14401" fmla="*/ 5361806 w 8079933"/>
              <a:gd name="connsiteY14401" fmla="*/ 1878061 h 4687251"/>
              <a:gd name="connsiteX14402" fmla="*/ 5326215 w 8079933"/>
              <a:gd name="connsiteY14402" fmla="*/ 1881850 h 4687251"/>
              <a:gd name="connsiteX14403" fmla="*/ 5326215 w 8079933"/>
              <a:gd name="connsiteY14403" fmla="*/ 1881851 h 4687251"/>
              <a:gd name="connsiteX14404" fmla="*/ 5361808 w 8079933"/>
              <a:gd name="connsiteY14404" fmla="*/ 1878061 h 4687251"/>
              <a:gd name="connsiteX14405" fmla="*/ 6248168 w 8079933"/>
              <a:gd name="connsiteY14405" fmla="*/ 1874317 h 4687251"/>
              <a:gd name="connsiteX14406" fmla="*/ 6251752 w 8079933"/>
              <a:gd name="connsiteY14406" fmla="*/ 1877844 h 4687251"/>
              <a:gd name="connsiteX14407" fmla="*/ 6251753 w 8079933"/>
              <a:gd name="connsiteY14407" fmla="*/ 1877845 h 4687251"/>
              <a:gd name="connsiteX14408" fmla="*/ 4292375 w 8079933"/>
              <a:gd name="connsiteY14408" fmla="*/ 1871239 h 4687251"/>
              <a:gd name="connsiteX14409" fmla="*/ 4294220 w 8079933"/>
              <a:gd name="connsiteY14409" fmla="*/ 1874488 h 4687251"/>
              <a:gd name="connsiteX14410" fmla="*/ 4294220 w 8079933"/>
              <a:gd name="connsiteY14410" fmla="*/ 1874488 h 4687251"/>
              <a:gd name="connsiteX14411" fmla="*/ 4255914 w 8079933"/>
              <a:gd name="connsiteY14411" fmla="*/ 1871023 h 4687251"/>
              <a:gd name="connsiteX14412" fmla="*/ 4262425 w 8079933"/>
              <a:gd name="connsiteY14412" fmla="*/ 1881309 h 4687251"/>
              <a:gd name="connsiteX14413" fmla="*/ 4258953 w 8079933"/>
              <a:gd name="connsiteY14413" fmla="*/ 1882717 h 4687251"/>
              <a:gd name="connsiteX14414" fmla="*/ 4256999 w 8079933"/>
              <a:gd name="connsiteY14414" fmla="*/ 1880334 h 4687251"/>
              <a:gd name="connsiteX14415" fmla="*/ 4253527 w 8079933"/>
              <a:gd name="connsiteY14415" fmla="*/ 1879468 h 4687251"/>
              <a:gd name="connsiteX14416" fmla="*/ 4253527 w 8079933"/>
              <a:gd name="connsiteY14416" fmla="*/ 1872755 h 4687251"/>
              <a:gd name="connsiteX14417" fmla="*/ 4255914 w 8079933"/>
              <a:gd name="connsiteY14417" fmla="*/ 1871023 h 4687251"/>
              <a:gd name="connsiteX14418" fmla="*/ 4331116 w 8079933"/>
              <a:gd name="connsiteY14418" fmla="*/ 1870698 h 4687251"/>
              <a:gd name="connsiteX14419" fmla="*/ 4331115 w 8079933"/>
              <a:gd name="connsiteY14419" fmla="*/ 1870699 h 4687251"/>
              <a:gd name="connsiteX14420" fmla="*/ 4331994 w 8079933"/>
              <a:gd name="connsiteY14420" fmla="*/ 1871893 h 4687251"/>
              <a:gd name="connsiteX14421" fmla="*/ 4297473 w 8079933"/>
              <a:gd name="connsiteY14421" fmla="*/ 1870649 h 4687251"/>
              <a:gd name="connsiteX14422" fmla="*/ 4297367 w 8079933"/>
              <a:gd name="connsiteY14422" fmla="*/ 1873838 h 4687251"/>
              <a:gd name="connsiteX14423" fmla="*/ 4295793 w 8079933"/>
              <a:gd name="connsiteY14423" fmla="*/ 1874163 h 4687251"/>
              <a:gd name="connsiteX14424" fmla="*/ 4297367 w 8079933"/>
              <a:gd name="connsiteY14424" fmla="*/ 1873838 h 4687251"/>
              <a:gd name="connsiteX14425" fmla="*/ 4364647 w 8079933"/>
              <a:gd name="connsiteY14425" fmla="*/ 1870373 h 4687251"/>
              <a:gd name="connsiteX14426" fmla="*/ 4364647 w 8079933"/>
              <a:gd name="connsiteY14426" fmla="*/ 1872322 h 4687251"/>
              <a:gd name="connsiteX14427" fmla="*/ 4362477 w 8079933"/>
              <a:gd name="connsiteY14427" fmla="*/ 1872322 h 4687251"/>
              <a:gd name="connsiteX14428" fmla="*/ 4357810 w 8079933"/>
              <a:gd name="connsiteY14428" fmla="*/ 1874054 h 4687251"/>
              <a:gd name="connsiteX14429" fmla="*/ 4358349 w 8079933"/>
              <a:gd name="connsiteY14429" fmla="*/ 1877811 h 4687251"/>
              <a:gd name="connsiteX14430" fmla="*/ 4358350 w 8079933"/>
              <a:gd name="connsiteY14430" fmla="*/ 1877812 h 4687251"/>
              <a:gd name="connsiteX14431" fmla="*/ 4357811 w 8079933"/>
              <a:gd name="connsiteY14431" fmla="*/ 1874055 h 4687251"/>
              <a:gd name="connsiteX14432" fmla="*/ 4362478 w 8079933"/>
              <a:gd name="connsiteY14432" fmla="*/ 1872322 h 4687251"/>
              <a:gd name="connsiteX14433" fmla="*/ 4364648 w 8079933"/>
              <a:gd name="connsiteY14433" fmla="*/ 1872322 h 4687251"/>
              <a:gd name="connsiteX14434" fmla="*/ 4364648 w 8079933"/>
              <a:gd name="connsiteY14434" fmla="*/ 1870373 h 4687251"/>
              <a:gd name="connsiteX14435" fmla="*/ 4322000 w 8079933"/>
              <a:gd name="connsiteY14435" fmla="*/ 1870373 h 4687251"/>
              <a:gd name="connsiteX14436" fmla="*/ 4318853 w 8079933"/>
              <a:gd name="connsiteY14436" fmla="*/ 1872647 h 4687251"/>
              <a:gd name="connsiteX14437" fmla="*/ 4318853 w 8079933"/>
              <a:gd name="connsiteY14437" fmla="*/ 1872647 h 4687251"/>
              <a:gd name="connsiteX14438" fmla="*/ 4322001 w 8079933"/>
              <a:gd name="connsiteY14438" fmla="*/ 1870374 h 4687251"/>
              <a:gd name="connsiteX14439" fmla="*/ 4327119 w 8079933"/>
              <a:gd name="connsiteY14439" fmla="*/ 1872249 h 4687251"/>
              <a:gd name="connsiteX14440" fmla="*/ 5062518 w 8079933"/>
              <a:gd name="connsiteY14440" fmla="*/ 1870158 h 4687251"/>
              <a:gd name="connsiteX14441" fmla="*/ 5060456 w 8079933"/>
              <a:gd name="connsiteY14441" fmla="*/ 1872648 h 4687251"/>
              <a:gd name="connsiteX14442" fmla="*/ 5060456 w 8079933"/>
              <a:gd name="connsiteY14442" fmla="*/ 1874813 h 4687251"/>
              <a:gd name="connsiteX14443" fmla="*/ 5063386 w 8079933"/>
              <a:gd name="connsiteY14443" fmla="*/ 1878386 h 4687251"/>
              <a:gd name="connsiteX14444" fmla="*/ 5067184 w 8079933"/>
              <a:gd name="connsiteY14444" fmla="*/ 1878386 h 4687251"/>
              <a:gd name="connsiteX14445" fmla="*/ 5071307 w 8079933"/>
              <a:gd name="connsiteY14445" fmla="*/ 1880010 h 4687251"/>
              <a:gd name="connsiteX14446" fmla="*/ 5073043 w 8079933"/>
              <a:gd name="connsiteY14446" fmla="*/ 1883692 h 4687251"/>
              <a:gd name="connsiteX14447" fmla="*/ 5075757 w 8079933"/>
              <a:gd name="connsiteY14447" fmla="*/ 1885315 h 4687251"/>
              <a:gd name="connsiteX14448" fmla="*/ 5077493 w 8079933"/>
              <a:gd name="connsiteY14448" fmla="*/ 1890404 h 4687251"/>
              <a:gd name="connsiteX14449" fmla="*/ 5079446 w 8079933"/>
              <a:gd name="connsiteY14449" fmla="*/ 1891054 h 4687251"/>
              <a:gd name="connsiteX14450" fmla="*/ 5080748 w 8079933"/>
              <a:gd name="connsiteY14450" fmla="*/ 1893977 h 4687251"/>
              <a:gd name="connsiteX14451" fmla="*/ 5087368 w 8079933"/>
              <a:gd name="connsiteY14451" fmla="*/ 1901773 h 4687251"/>
              <a:gd name="connsiteX14452" fmla="*/ 5087368 w 8079933"/>
              <a:gd name="connsiteY14452" fmla="*/ 1906428 h 4687251"/>
              <a:gd name="connsiteX14453" fmla="*/ 5087368 w 8079933"/>
              <a:gd name="connsiteY14453" fmla="*/ 1912275 h 4687251"/>
              <a:gd name="connsiteX14454" fmla="*/ 5089430 w 8079933"/>
              <a:gd name="connsiteY14454" fmla="*/ 1912275 h 4687251"/>
              <a:gd name="connsiteX14455" fmla="*/ 5093879 w 8079933"/>
              <a:gd name="connsiteY14455" fmla="*/ 1911192 h 4687251"/>
              <a:gd name="connsiteX14456" fmla="*/ 5095507 w 8079933"/>
              <a:gd name="connsiteY14456" fmla="*/ 1910326 h 4687251"/>
              <a:gd name="connsiteX14457" fmla="*/ 5097677 w 8079933"/>
              <a:gd name="connsiteY14457" fmla="*/ 1911517 h 4687251"/>
              <a:gd name="connsiteX14458" fmla="*/ 5099739 w 8079933"/>
              <a:gd name="connsiteY14458" fmla="*/ 1915414 h 4687251"/>
              <a:gd name="connsiteX14459" fmla="*/ 5101693 w 8079933"/>
              <a:gd name="connsiteY14459" fmla="*/ 1917255 h 4687251"/>
              <a:gd name="connsiteX14460" fmla="*/ 5103537 w 8079933"/>
              <a:gd name="connsiteY14460" fmla="*/ 1921261 h 4687251"/>
              <a:gd name="connsiteX14461" fmla="*/ 5105599 w 8079933"/>
              <a:gd name="connsiteY14461" fmla="*/ 1922020 h 4687251"/>
              <a:gd name="connsiteX14462" fmla="*/ 5109180 w 8079933"/>
              <a:gd name="connsiteY14462" fmla="*/ 1920504 h 4687251"/>
              <a:gd name="connsiteX14463" fmla="*/ 5113520 w 8079933"/>
              <a:gd name="connsiteY14463" fmla="*/ 1921586 h 4687251"/>
              <a:gd name="connsiteX14464" fmla="*/ 5117318 w 8079933"/>
              <a:gd name="connsiteY14464" fmla="*/ 1923210 h 4687251"/>
              <a:gd name="connsiteX14465" fmla="*/ 5122527 w 8079933"/>
              <a:gd name="connsiteY14465" fmla="*/ 1923210 h 4687251"/>
              <a:gd name="connsiteX14466" fmla="*/ 5124190 w 8079933"/>
              <a:gd name="connsiteY14466" fmla="*/ 1924247 h 4687251"/>
              <a:gd name="connsiteX14467" fmla="*/ 5124371 w 8079933"/>
              <a:gd name="connsiteY14467" fmla="*/ 1923860 h 4687251"/>
              <a:gd name="connsiteX14468" fmla="*/ 5122635 w 8079933"/>
              <a:gd name="connsiteY14468" fmla="*/ 1922669 h 4687251"/>
              <a:gd name="connsiteX14469" fmla="*/ 5117426 w 8079933"/>
              <a:gd name="connsiteY14469" fmla="*/ 1922993 h 4687251"/>
              <a:gd name="connsiteX14470" fmla="*/ 5113737 w 8079933"/>
              <a:gd name="connsiteY14470" fmla="*/ 1921369 h 4687251"/>
              <a:gd name="connsiteX14471" fmla="*/ 5109396 w 8079933"/>
              <a:gd name="connsiteY14471" fmla="*/ 1920287 h 4687251"/>
              <a:gd name="connsiteX14472" fmla="*/ 5105816 w 8079933"/>
              <a:gd name="connsiteY14472" fmla="*/ 1921803 h 4687251"/>
              <a:gd name="connsiteX14473" fmla="*/ 5103753 w 8079933"/>
              <a:gd name="connsiteY14473" fmla="*/ 1921044 h 4687251"/>
              <a:gd name="connsiteX14474" fmla="*/ 5101909 w 8079933"/>
              <a:gd name="connsiteY14474" fmla="*/ 1917038 h 4687251"/>
              <a:gd name="connsiteX14475" fmla="*/ 5099847 w 8079933"/>
              <a:gd name="connsiteY14475" fmla="*/ 1915198 h 4687251"/>
              <a:gd name="connsiteX14476" fmla="*/ 5097785 w 8079933"/>
              <a:gd name="connsiteY14476" fmla="*/ 1911300 h 4687251"/>
              <a:gd name="connsiteX14477" fmla="*/ 5095615 w 8079933"/>
              <a:gd name="connsiteY14477" fmla="*/ 1910109 h 4687251"/>
              <a:gd name="connsiteX14478" fmla="*/ 5093987 w 8079933"/>
              <a:gd name="connsiteY14478" fmla="*/ 1910975 h 4687251"/>
              <a:gd name="connsiteX14479" fmla="*/ 5089646 w 8079933"/>
              <a:gd name="connsiteY14479" fmla="*/ 1912058 h 4687251"/>
              <a:gd name="connsiteX14480" fmla="*/ 5087584 w 8079933"/>
              <a:gd name="connsiteY14480" fmla="*/ 1911950 h 4687251"/>
              <a:gd name="connsiteX14481" fmla="*/ 5088019 w 8079933"/>
              <a:gd name="connsiteY14481" fmla="*/ 1906103 h 4687251"/>
              <a:gd name="connsiteX14482" fmla="*/ 5087584 w 8079933"/>
              <a:gd name="connsiteY14482" fmla="*/ 1901448 h 4687251"/>
              <a:gd name="connsiteX14483" fmla="*/ 5080856 w 8079933"/>
              <a:gd name="connsiteY14483" fmla="*/ 1893652 h 4687251"/>
              <a:gd name="connsiteX14484" fmla="*/ 5079555 w 8079933"/>
              <a:gd name="connsiteY14484" fmla="*/ 1890729 h 4687251"/>
              <a:gd name="connsiteX14485" fmla="*/ 5077710 w 8079933"/>
              <a:gd name="connsiteY14485" fmla="*/ 1889971 h 4687251"/>
              <a:gd name="connsiteX14486" fmla="*/ 5075974 w 8079933"/>
              <a:gd name="connsiteY14486" fmla="*/ 1884882 h 4687251"/>
              <a:gd name="connsiteX14487" fmla="*/ 5073261 w 8079933"/>
              <a:gd name="connsiteY14487" fmla="*/ 1883258 h 4687251"/>
              <a:gd name="connsiteX14488" fmla="*/ 5071524 w 8079933"/>
              <a:gd name="connsiteY14488" fmla="*/ 1879577 h 4687251"/>
              <a:gd name="connsiteX14489" fmla="*/ 5067401 w 8079933"/>
              <a:gd name="connsiteY14489" fmla="*/ 1878061 h 4687251"/>
              <a:gd name="connsiteX14490" fmla="*/ 5063603 w 8079933"/>
              <a:gd name="connsiteY14490" fmla="*/ 1877845 h 4687251"/>
              <a:gd name="connsiteX14491" fmla="*/ 5060673 w 8079933"/>
              <a:gd name="connsiteY14491" fmla="*/ 1874271 h 4687251"/>
              <a:gd name="connsiteX14492" fmla="*/ 5060998 w 8079933"/>
              <a:gd name="connsiteY14492" fmla="*/ 1872106 h 4687251"/>
              <a:gd name="connsiteX14493" fmla="*/ 5062590 w 8079933"/>
              <a:gd name="connsiteY14493" fmla="*/ 1870183 h 4687251"/>
              <a:gd name="connsiteX14494" fmla="*/ 4312312 w 8079933"/>
              <a:gd name="connsiteY14494" fmla="*/ 1868491 h 4687251"/>
              <a:gd name="connsiteX14495" fmla="*/ 4310931 w 8079933"/>
              <a:gd name="connsiteY14495" fmla="*/ 1869723 h 4687251"/>
              <a:gd name="connsiteX14496" fmla="*/ 4310932 w 8079933"/>
              <a:gd name="connsiteY14496" fmla="*/ 1869723 h 4687251"/>
              <a:gd name="connsiteX14497" fmla="*/ 4307133 w 8079933"/>
              <a:gd name="connsiteY14497" fmla="*/ 1867450 h 4687251"/>
              <a:gd name="connsiteX14498" fmla="*/ 4304746 w 8079933"/>
              <a:gd name="connsiteY14498" fmla="*/ 1870048 h 4687251"/>
              <a:gd name="connsiteX14499" fmla="*/ 4301816 w 8079933"/>
              <a:gd name="connsiteY14499" fmla="*/ 1869940 h 4687251"/>
              <a:gd name="connsiteX14500" fmla="*/ 4298633 w 8079933"/>
              <a:gd name="connsiteY14500" fmla="*/ 1870417 h 4687251"/>
              <a:gd name="connsiteX14501" fmla="*/ 4301816 w 8079933"/>
              <a:gd name="connsiteY14501" fmla="*/ 1869941 h 4687251"/>
              <a:gd name="connsiteX14502" fmla="*/ 4304746 w 8079933"/>
              <a:gd name="connsiteY14502" fmla="*/ 1870048 h 4687251"/>
              <a:gd name="connsiteX14503" fmla="*/ 4307134 w 8079933"/>
              <a:gd name="connsiteY14503" fmla="*/ 1867450 h 4687251"/>
              <a:gd name="connsiteX14504" fmla="*/ 4286623 w 8079933"/>
              <a:gd name="connsiteY14504" fmla="*/ 1867017 h 4687251"/>
              <a:gd name="connsiteX14505" fmla="*/ 4285775 w 8079933"/>
              <a:gd name="connsiteY14505" fmla="*/ 1868012 h 4687251"/>
              <a:gd name="connsiteX14506" fmla="*/ 4286624 w 8079933"/>
              <a:gd name="connsiteY14506" fmla="*/ 1867017 h 4687251"/>
              <a:gd name="connsiteX14507" fmla="*/ 6110636 w 8079933"/>
              <a:gd name="connsiteY14507" fmla="*/ 1866214 h 4687251"/>
              <a:gd name="connsiteX14508" fmla="*/ 6114912 w 8079933"/>
              <a:gd name="connsiteY14508" fmla="*/ 1874488 h 4687251"/>
              <a:gd name="connsiteX14509" fmla="*/ 6114914 w 8079933"/>
              <a:gd name="connsiteY14509" fmla="*/ 1874488 h 4687251"/>
              <a:gd name="connsiteX14510" fmla="*/ 4090561 w 8079933"/>
              <a:gd name="connsiteY14510" fmla="*/ 1865713 h 4687251"/>
              <a:gd name="connsiteX14511" fmla="*/ 4089775 w 8079933"/>
              <a:gd name="connsiteY14511" fmla="*/ 1870482 h 4687251"/>
              <a:gd name="connsiteX14512" fmla="*/ 4084241 w 8079933"/>
              <a:gd name="connsiteY14512" fmla="*/ 1871240 h 4687251"/>
              <a:gd name="connsiteX14513" fmla="*/ 4080768 w 8079933"/>
              <a:gd name="connsiteY14513" fmla="*/ 1875030 h 4687251"/>
              <a:gd name="connsiteX14514" fmla="*/ 4084240 w 8079933"/>
              <a:gd name="connsiteY14514" fmla="*/ 1871241 h 4687251"/>
              <a:gd name="connsiteX14515" fmla="*/ 4089775 w 8079933"/>
              <a:gd name="connsiteY14515" fmla="*/ 1870483 h 4687251"/>
              <a:gd name="connsiteX14516" fmla="*/ 4356944 w 8079933"/>
              <a:gd name="connsiteY14516" fmla="*/ 1863547 h 4687251"/>
              <a:gd name="connsiteX14517" fmla="*/ 4357810 w 8079933"/>
              <a:gd name="connsiteY14517" fmla="*/ 1867342 h 4687251"/>
              <a:gd name="connsiteX14518" fmla="*/ 4360198 w 8079933"/>
              <a:gd name="connsiteY14518" fmla="*/ 1869399 h 4687251"/>
              <a:gd name="connsiteX14519" fmla="*/ 4360198 w 8079933"/>
              <a:gd name="connsiteY14519" fmla="*/ 1869399 h 4687251"/>
              <a:gd name="connsiteX14520" fmla="*/ 4357811 w 8079933"/>
              <a:gd name="connsiteY14520" fmla="*/ 1867342 h 4687251"/>
              <a:gd name="connsiteX14521" fmla="*/ 4400024 w 8079933"/>
              <a:gd name="connsiteY14521" fmla="*/ 1862145 h 4687251"/>
              <a:gd name="connsiteX14522" fmla="*/ 4400024 w 8079933"/>
              <a:gd name="connsiteY14522" fmla="*/ 1862146 h 4687251"/>
              <a:gd name="connsiteX14523" fmla="*/ 4406209 w 8079933"/>
              <a:gd name="connsiteY14523" fmla="*/ 1865393 h 4687251"/>
              <a:gd name="connsiteX14524" fmla="*/ 6836986 w 8079933"/>
              <a:gd name="connsiteY14524" fmla="*/ 1860731 h 4687251"/>
              <a:gd name="connsiteX14525" fmla="*/ 6839262 w 8079933"/>
              <a:gd name="connsiteY14525" fmla="*/ 1861929 h 4687251"/>
              <a:gd name="connsiteX14526" fmla="*/ 6842626 w 8079933"/>
              <a:gd name="connsiteY14526" fmla="*/ 1864961 h 4687251"/>
              <a:gd name="connsiteX14527" fmla="*/ 6846750 w 8079933"/>
              <a:gd name="connsiteY14527" fmla="*/ 1863337 h 4687251"/>
              <a:gd name="connsiteX14528" fmla="*/ 6851854 w 8079933"/>
              <a:gd name="connsiteY14528" fmla="*/ 1865352 h 4687251"/>
              <a:gd name="connsiteX14529" fmla="*/ 6846749 w 8079933"/>
              <a:gd name="connsiteY14529" fmla="*/ 1863336 h 4687251"/>
              <a:gd name="connsiteX14530" fmla="*/ 6842625 w 8079933"/>
              <a:gd name="connsiteY14530" fmla="*/ 1864960 h 4687251"/>
              <a:gd name="connsiteX14531" fmla="*/ 6839261 w 8079933"/>
              <a:gd name="connsiteY14531" fmla="*/ 1861928 h 4687251"/>
              <a:gd name="connsiteX14532" fmla="*/ 4563821 w 8079933"/>
              <a:gd name="connsiteY14532" fmla="*/ 1857591 h 4687251"/>
              <a:gd name="connsiteX14533" fmla="*/ 4565213 w 8079933"/>
              <a:gd name="connsiteY14533" fmla="*/ 1860053 h 4687251"/>
              <a:gd name="connsiteX14534" fmla="*/ 4565295 w 8079933"/>
              <a:gd name="connsiteY14534" fmla="*/ 1860196 h 4687251"/>
              <a:gd name="connsiteX14535" fmla="*/ 2091658 w 8079933"/>
              <a:gd name="connsiteY14535" fmla="*/ 1857165 h 4687251"/>
              <a:gd name="connsiteX14536" fmla="*/ 2091542 w 8079933"/>
              <a:gd name="connsiteY14536" fmla="*/ 1859056 h 4687251"/>
              <a:gd name="connsiteX14537" fmla="*/ 2091658 w 8079933"/>
              <a:gd name="connsiteY14537" fmla="*/ 1857165 h 4687251"/>
              <a:gd name="connsiteX14538" fmla="*/ 4353470 w 8079933"/>
              <a:gd name="connsiteY14538" fmla="*/ 1854133 h 4687251"/>
              <a:gd name="connsiteX14539" fmla="*/ 4354264 w 8079933"/>
              <a:gd name="connsiteY14539" fmla="*/ 1856039 h 4687251"/>
              <a:gd name="connsiteX14540" fmla="*/ 4353470 w 8079933"/>
              <a:gd name="connsiteY14540" fmla="*/ 1854133 h 4687251"/>
              <a:gd name="connsiteX14541" fmla="*/ 6869309 w 8079933"/>
              <a:gd name="connsiteY14541" fmla="*/ 1854040 h 4687251"/>
              <a:gd name="connsiteX14542" fmla="*/ 6870622 w 8079933"/>
              <a:gd name="connsiteY14542" fmla="*/ 1855323 h 4687251"/>
              <a:gd name="connsiteX14543" fmla="*/ 6870948 w 8079933"/>
              <a:gd name="connsiteY14543" fmla="*/ 1858788 h 4687251"/>
              <a:gd name="connsiteX14544" fmla="*/ 6867801 w 8079933"/>
              <a:gd name="connsiteY14544" fmla="*/ 1865393 h 4687251"/>
              <a:gd name="connsiteX14545" fmla="*/ 6861616 w 8079933"/>
              <a:gd name="connsiteY14545" fmla="*/ 1864310 h 4687251"/>
              <a:gd name="connsiteX14546" fmla="*/ 6851957 w 8079933"/>
              <a:gd name="connsiteY14546" fmla="*/ 1865393 h 4687251"/>
              <a:gd name="connsiteX14547" fmla="*/ 6851959 w 8079933"/>
              <a:gd name="connsiteY14547" fmla="*/ 1865393 h 4687251"/>
              <a:gd name="connsiteX14548" fmla="*/ 6861617 w 8079933"/>
              <a:gd name="connsiteY14548" fmla="*/ 1864311 h 4687251"/>
              <a:gd name="connsiteX14549" fmla="*/ 6867802 w 8079933"/>
              <a:gd name="connsiteY14549" fmla="*/ 1865393 h 4687251"/>
              <a:gd name="connsiteX14550" fmla="*/ 6870949 w 8079933"/>
              <a:gd name="connsiteY14550" fmla="*/ 1858789 h 4687251"/>
              <a:gd name="connsiteX14551" fmla="*/ 6870624 w 8079933"/>
              <a:gd name="connsiteY14551" fmla="*/ 1855325 h 4687251"/>
              <a:gd name="connsiteX14552" fmla="*/ 2236505 w 8079933"/>
              <a:gd name="connsiteY14552" fmla="*/ 1853878 h 4687251"/>
              <a:gd name="connsiteX14553" fmla="*/ 2235225 w 8079933"/>
              <a:gd name="connsiteY14553" fmla="*/ 1854133 h 4687251"/>
              <a:gd name="connsiteX14554" fmla="*/ 2230776 w 8079933"/>
              <a:gd name="connsiteY14554" fmla="*/ 1857382 h 4687251"/>
              <a:gd name="connsiteX14555" fmla="*/ 2210701 w 8079933"/>
              <a:gd name="connsiteY14555" fmla="*/ 1872323 h 4687251"/>
              <a:gd name="connsiteX14556" fmla="*/ 2230777 w 8079933"/>
              <a:gd name="connsiteY14556" fmla="*/ 1857382 h 4687251"/>
              <a:gd name="connsiteX14557" fmla="*/ 2235226 w 8079933"/>
              <a:gd name="connsiteY14557" fmla="*/ 1854133 h 4687251"/>
              <a:gd name="connsiteX14558" fmla="*/ 4561177 w 8079933"/>
              <a:gd name="connsiteY14558" fmla="*/ 1852951 h 4687251"/>
              <a:gd name="connsiteX14559" fmla="*/ 4563509 w 8079933"/>
              <a:gd name="connsiteY14559" fmla="*/ 1857054 h 4687251"/>
              <a:gd name="connsiteX14560" fmla="*/ 4561187 w 8079933"/>
              <a:gd name="connsiteY14560" fmla="*/ 1852969 h 4687251"/>
              <a:gd name="connsiteX14561" fmla="*/ 4564969 w 8079933"/>
              <a:gd name="connsiteY14561" fmla="*/ 1850994 h 4687251"/>
              <a:gd name="connsiteX14562" fmla="*/ 4561497 w 8079933"/>
              <a:gd name="connsiteY14562" fmla="*/ 1853483 h 4687251"/>
              <a:gd name="connsiteX14563" fmla="*/ 4561498 w 8079933"/>
              <a:gd name="connsiteY14563" fmla="*/ 1853484 h 4687251"/>
              <a:gd name="connsiteX14564" fmla="*/ 4564970 w 8079933"/>
              <a:gd name="connsiteY14564" fmla="*/ 1850994 h 4687251"/>
              <a:gd name="connsiteX14565" fmla="*/ 4567097 w 8079933"/>
              <a:gd name="connsiteY14565" fmla="*/ 1851643 h 4687251"/>
              <a:gd name="connsiteX14566" fmla="*/ 4088039 w 8079933"/>
              <a:gd name="connsiteY14566" fmla="*/ 1850236 h 4687251"/>
              <a:gd name="connsiteX14567" fmla="*/ 4088364 w 8079933"/>
              <a:gd name="connsiteY14567" fmla="*/ 1850344 h 4687251"/>
              <a:gd name="connsiteX14568" fmla="*/ 4093573 w 8079933"/>
              <a:gd name="connsiteY14568" fmla="*/ 1852293 h 4687251"/>
              <a:gd name="connsiteX14569" fmla="*/ 6100382 w 8079933"/>
              <a:gd name="connsiteY14569" fmla="*/ 1849034 h 4687251"/>
              <a:gd name="connsiteX14570" fmla="*/ 6102541 w 8079933"/>
              <a:gd name="connsiteY14570" fmla="*/ 1851643 h 4687251"/>
              <a:gd name="connsiteX14571" fmla="*/ 6105528 w 8079933"/>
              <a:gd name="connsiteY14571" fmla="*/ 1856111 h 4687251"/>
              <a:gd name="connsiteX14572" fmla="*/ 6102543 w 8079933"/>
              <a:gd name="connsiteY14572" fmla="*/ 1851643 h 4687251"/>
              <a:gd name="connsiteX14573" fmla="*/ 4390800 w 8079933"/>
              <a:gd name="connsiteY14573" fmla="*/ 1848827 h 4687251"/>
              <a:gd name="connsiteX14574" fmla="*/ 4392390 w 8079933"/>
              <a:gd name="connsiteY14574" fmla="*/ 1850704 h 4687251"/>
              <a:gd name="connsiteX14575" fmla="*/ 4390800 w 8079933"/>
              <a:gd name="connsiteY14575" fmla="*/ 1848828 h 4687251"/>
              <a:gd name="connsiteX14576" fmla="*/ 4361826 w 8079933"/>
              <a:gd name="connsiteY14576" fmla="*/ 1847312 h 4687251"/>
              <a:gd name="connsiteX14577" fmla="*/ 4356292 w 8079933"/>
              <a:gd name="connsiteY14577" fmla="*/ 1850127 h 4687251"/>
              <a:gd name="connsiteX14578" fmla="*/ 4353036 w 8079933"/>
              <a:gd name="connsiteY14578" fmla="*/ 1853808 h 4687251"/>
              <a:gd name="connsiteX14579" fmla="*/ 4351722 w 8079933"/>
              <a:gd name="connsiteY14579" fmla="*/ 1853098 h 4687251"/>
              <a:gd name="connsiteX14580" fmla="*/ 4353036 w 8079933"/>
              <a:gd name="connsiteY14580" fmla="*/ 1853808 h 4687251"/>
              <a:gd name="connsiteX14581" fmla="*/ 4353468 w 8079933"/>
              <a:gd name="connsiteY14581" fmla="*/ 1854132 h 4687251"/>
              <a:gd name="connsiteX14582" fmla="*/ 4353469 w 8079933"/>
              <a:gd name="connsiteY14582" fmla="*/ 1854132 h 4687251"/>
              <a:gd name="connsiteX14583" fmla="*/ 4353037 w 8079933"/>
              <a:gd name="connsiteY14583" fmla="*/ 1853808 h 4687251"/>
              <a:gd name="connsiteX14584" fmla="*/ 4356292 w 8079933"/>
              <a:gd name="connsiteY14584" fmla="*/ 1850127 h 4687251"/>
              <a:gd name="connsiteX14585" fmla="*/ 4384941 w 8079933"/>
              <a:gd name="connsiteY14585" fmla="*/ 1844389 h 4687251"/>
              <a:gd name="connsiteX14586" fmla="*/ 4384940 w 8079933"/>
              <a:gd name="connsiteY14586" fmla="*/ 1844389 h 4687251"/>
              <a:gd name="connsiteX14587" fmla="*/ 4389390 w 8079933"/>
              <a:gd name="connsiteY14587" fmla="*/ 1845905 h 4687251"/>
              <a:gd name="connsiteX14588" fmla="*/ 4389389 w 8079933"/>
              <a:gd name="connsiteY14588" fmla="*/ 1845904 h 4687251"/>
              <a:gd name="connsiteX14589" fmla="*/ 4122547 w 8079933"/>
              <a:gd name="connsiteY14589" fmla="*/ 1842332 h 4687251"/>
              <a:gd name="connsiteX14590" fmla="*/ 4122547 w 8079933"/>
              <a:gd name="connsiteY14590" fmla="*/ 1842332 h 4687251"/>
              <a:gd name="connsiteX14591" fmla="*/ 4130143 w 8079933"/>
              <a:gd name="connsiteY14591" fmla="*/ 1846014 h 4687251"/>
              <a:gd name="connsiteX14592" fmla="*/ 4132531 w 8079933"/>
              <a:gd name="connsiteY14592" fmla="*/ 1850886 h 4687251"/>
              <a:gd name="connsiteX14593" fmla="*/ 4134422 w 8079933"/>
              <a:gd name="connsiteY14593" fmla="*/ 1847497 h 4687251"/>
              <a:gd name="connsiteX14594" fmla="*/ 4132531 w 8079933"/>
              <a:gd name="connsiteY14594" fmla="*/ 1850885 h 4687251"/>
              <a:gd name="connsiteX14595" fmla="*/ 4130143 w 8079933"/>
              <a:gd name="connsiteY14595" fmla="*/ 1846013 h 4687251"/>
              <a:gd name="connsiteX14596" fmla="*/ 5106901 w 8079933"/>
              <a:gd name="connsiteY14596" fmla="*/ 1841899 h 4687251"/>
              <a:gd name="connsiteX14597" fmla="*/ 5104969 w 8079933"/>
              <a:gd name="connsiteY14597" fmla="*/ 1843116 h 4687251"/>
              <a:gd name="connsiteX14598" fmla="*/ 5105056 w 8079933"/>
              <a:gd name="connsiteY14598" fmla="*/ 1843198 h 4687251"/>
              <a:gd name="connsiteX14599" fmla="*/ 5107117 w 8079933"/>
              <a:gd name="connsiteY14599" fmla="*/ 1841899 h 4687251"/>
              <a:gd name="connsiteX14600" fmla="*/ 5090515 w 8079933"/>
              <a:gd name="connsiteY14600" fmla="*/ 1841358 h 4687251"/>
              <a:gd name="connsiteX14601" fmla="*/ 5086282 w 8079933"/>
              <a:gd name="connsiteY14601" fmla="*/ 1842874 h 4687251"/>
              <a:gd name="connsiteX14602" fmla="*/ 5081074 w 8079933"/>
              <a:gd name="connsiteY14602" fmla="*/ 1844389 h 4687251"/>
              <a:gd name="connsiteX14603" fmla="*/ 5078253 w 8079933"/>
              <a:gd name="connsiteY14603" fmla="*/ 1847421 h 4687251"/>
              <a:gd name="connsiteX14604" fmla="*/ 5078904 w 8079933"/>
              <a:gd name="connsiteY14604" fmla="*/ 1849586 h 4687251"/>
              <a:gd name="connsiteX14605" fmla="*/ 5078904 w 8079933"/>
              <a:gd name="connsiteY14605" fmla="*/ 1853376 h 4687251"/>
              <a:gd name="connsiteX14606" fmla="*/ 5076625 w 8079933"/>
              <a:gd name="connsiteY14606" fmla="*/ 1854891 h 4687251"/>
              <a:gd name="connsiteX14607" fmla="*/ 5076625 w 8079933"/>
              <a:gd name="connsiteY14607" fmla="*/ 1857274 h 4687251"/>
              <a:gd name="connsiteX14608" fmla="*/ 5081291 w 8079933"/>
              <a:gd name="connsiteY14608" fmla="*/ 1862687 h 4687251"/>
              <a:gd name="connsiteX14609" fmla="*/ 5081291 w 8079933"/>
              <a:gd name="connsiteY14609" fmla="*/ 1866151 h 4687251"/>
              <a:gd name="connsiteX14610" fmla="*/ 5082702 w 8079933"/>
              <a:gd name="connsiteY14610" fmla="*/ 1867126 h 4687251"/>
              <a:gd name="connsiteX14611" fmla="*/ 5087477 w 8079933"/>
              <a:gd name="connsiteY14611" fmla="*/ 1867126 h 4687251"/>
              <a:gd name="connsiteX14612" fmla="*/ 5088670 w 8079933"/>
              <a:gd name="connsiteY14612" fmla="*/ 1869508 h 4687251"/>
              <a:gd name="connsiteX14613" fmla="*/ 5088293 w 8079933"/>
              <a:gd name="connsiteY14613" fmla="*/ 1869947 h 4687251"/>
              <a:gd name="connsiteX14614" fmla="*/ 5089213 w 8079933"/>
              <a:gd name="connsiteY14614" fmla="*/ 1869183 h 4687251"/>
              <a:gd name="connsiteX14615" fmla="*/ 5088019 w 8079933"/>
              <a:gd name="connsiteY14615" fmla="*/ 1866801 h 4687251"/>
              <a:gd name="connsiteX14616" fmla="*/ 5083353 w 8079933"/>
              <a:gd name="connsiteY14616" fmla="*/ 1867018 h 4687251"/>
              <a:gd name="connsiteX14617" fmla="*/ 5081942 w 8079933"/>
              <a:gd name="connsiteY14617" fmla="*/ 1866151 h 4687251"/>
              <a:gd name="connsiteX14618" fmla="*/ 5081942 w 8079933"/>
              <a:gd name="connsiteY14618" fmla="*/ 1862686 h 4687251"/>
              <a:gd name="connsiteX14619" fmla="*/ 5077275 w 8079933"/>
              <a:gd name="connsiteY14619" fmla="*/ 1857273 h 4687251"/>
              <a:gd name="connsiteX14620" fmla="*/ 5076842 w 8079933"/>
              <a:gd name="connsiteY14620" fmla="*/ 1854783 h 4687251"/>
              <a:gd name="connsiteX14621" fmla="*/ 5079120 w 8079933"/>
              <a:gd name="connsiteY14621" fmla="*/ 1853375 h 4687251"/>
              <a:gd name="connsiteX14622" fmla="*/ 5079120 w 8079933"/>
              <a:gd name="connsiteY14622" fmla="*/ 1849586 h 4687251"/>
              <a:gd name="connsiteX14623" fmla="*/ 5078469 w 8079933"/>
              <a:gd name="connsiteY14623" fmla="*/ 1847421 h 4687251"/>
              <a:gd name="connsiteX14624" fmla="*/ 5081291 w 8079933"/>
              <a:gd name="connsiteY14624" fmla="*/ 1844389 h 4687251"/>
              <a:gd name="connsiteX14625" fmla="*/ 5086500 w 8079933"/>
              <a:gd name="connsiteY14625" fmla="*/ 1842873 h 4687251"/>
              <a:gd name="connsiteX14626" fmla="*/ 5090604 w 8079933"/>
              <a:gd name="connsiteY14626" fmla="*/ 1841403 h 4687251"/>
              <a:gd name="connsiteX14627" fmla="*/ 5102777 w 8079933"/>
              <a:gd name="connsiteY14627" fmla="*/ 1841249 h 4687251"/>
              <a:gd name="connsiteX14628" fmla="*/ 5098762 w 8079933"/>
              <a:gd name="connsiteY14628" fmla="*/ 1841899 h 4687251"/>
              <a:gd name="connsiteX14629" fmla="*/ 5094236 w 8079933"/>
              <a:gd name="connsiteY14629" fmla="*/ 1843159 h 4687251"/>
              <a:gd name="connsiteX14630" fmla="*/ 5094312 w 8079933"/>
              <a:gd name="connsiteY14630" fmla="*/ 1843198 h 4687251"/>
              <a:gd name="connsiteX14631" fmla="*/ 5098979 w 8079933"/>
              <a:gd name="connsiteY14631" fmla="*/ 1841899 h 4687251"/>
              <a:gd name="connsiteX14632" fmla="*/ 5102809 w 8079933"/>
              <a:gd name="connsiteY14632" fmla="*/ 1841279 h 4687251"/>
              <a:gd name="connsiteX14633" fmla="*/ 4372894 w 8079933"/>
              <a:gd name="connsiteY14633" fmla="*/ 1840816 h 4687251"/>
              <a:gd name="connsiteX14634" fmla="*/ 4367252 w 8079933"/>
              <a:gd name="connsiteY14634" fmla="*/ 1845688 h 4687251"/>
              <a:gd name="connsiteX14635" fmla="*/ 4365733 w 8079933"/>
              <a:gd name="connsiteY14635" fmla="*/ 1847853 h 4687251"/>
              <a:gd name="connsiteX14636" fmla="*/ 4365733 w 8079933"/>
              <a:gd name="connsiteY14636" fmla="*/ 1847853 h 4687251"/>
              <a:gd name="connsiteX14637" fmla="*/ 4367253 w 8079933"/>
              <a:gd name="connsiteY14637" fmla="*/ 1845688 h 4687251"/>
              <a:gd name="connsiteX14638" fmla="*/ 4372895 w 8079933"/>
              <a:gd name="connsiteY14638" fmla="*/ 1840816 h 4687251"/>
              <a:gd name="connsiteX14639" fmla="*/ 4061127 w 8079933"/>
              <a:gd name="connsiteY14639" fmla="*/ 1840275 h 4687251"/>
              <a:gd name="connsiteX14640" fmla="*/ 4061126 w 8079933"/>
              <a:gd name="connsiteY14640" fmla="*/ 1840275 h 4687251"/>
              <a:gd name="connsiteX14641" fmla="*/ 4061669 w 8079933"/>
              <a:gd name="connsiteY14641" fmla="*/ 1844065 h 4687251"/>
              <a:gd name="connsiteX14642" fmla="*/ 4066769 w 8079933"/>
              <a:gd name="connsiteY14642" fmla="*/ 1844606 h 4687251"/>
              <a:gd name="connsiteX14643" fmla="*/ 4072629 w 8079933"/>
              <a:gd name="connsiteY14643" fmla="*/ 1842223 h 4687251"/>
              <a:gd name="connsiteX14644" fmla="*/ 4066770 w 8079933"/>
              <a:gd name="connsiteY14644" fmla="*/ 1844605 h 4687251"/>
              <a:gd name="connsiteX14645" fmla="*/ 4061669 w 8079933"/>
              <a:gd name="connsiteY14645" fmla="*/ 1844064 h 4687251"/>
              <a:gd name="connsiteX14646" fmla="*/ 4573542 w 8079933"/>
              <a:gd name="connsiteY14646" fmla="*/ 1839625 h 4687251"/>
              <a:gd name="connsiteX14647" fmla="*/ 4569093 w 8079933"/>
              <a:gd name="connsiteY14647" fmla="*/ 1847854 h 4687251"/>
              <a:gd name="connsiteX14648" fmla="*/ 4568882 w 8079933"/>
              <a:gd name="connsiteY14648" fmla="*/ 1852075 h 4687251"/>
              <a:gd name="connsiteX14649" fmla="*/ 4569093 w 8079933"/>
              <a:gd name="connsiteY14649" fmla="*/ 1847854 h 4687251"/>
              <a:gd name="connsiteX14650" fmla="*/ 4573542 w 8079933"/>
              <a:gd name="connsiteY14650" fmla="*/ 1839626 h 4687251"/>
              <a:gd name="connsiteX14651" fmla="*/ 4575667 w 8079933"/>
              <a:gd name="connsiteY14651" fmla="*/ 1839915 h 4687251"/>
              <a:gd name="connsiteX14652" fmla="*/ 4390284 w 8079933"/>
              <a:gd name="connsiteY14652" fmla="*/ 1839337 h 4687251"/>
              <a:gd name="connsiteX14653" fmla="*/ 4389714 w 8079933"/>
              <a:gd name="connsiteY14653" fmla="*/ 1839516 h 4687251"/>
              <a:gd name="connsiteX14654" fmla="*/ 4388344 w 8079933"/>
              <a:gd name="connsiteY14654" fmla="*/ 1840915 h 4687251"/>
              <a:gd name="connsiteX14655" fmla="*/ 4389715 w 8079933"/>
              <a:gd name="connsiteY14655" fmla="*/ 1839516 h 4687251"/>
              <a:gd name="connsiteX14656" fmla="*/ 4083465 w 8079933"/>
              <a:gd name="connsiteY14656" fmla="*/ 1839261 h 4687251"/>
              <a:gd name="connsiteX14657" fmla="*/ 4084891 w 8079933"/>
              <a:gd name="connsiteY14657" fmla="*/ 1844065 h 4687251"/>
              <a:gd name="connsiteX14658" fmla="*/ 4087604 w 8079933"/>
              <a:gd name="connsiteY14658" fmla="*/ 1846338 h 4687251"/>
              <a:gd name="connsiteX14659" fmla="*/ 4088364 w 8079933"/>
              <a:gd name="connsiteY14659" fmla="*/ 1850344 h 4687251"/>
              <a:gd name="connsiteX14660" fmla="*/ 4088039 w 8079933"/>
              <a:gd name="connsiteY14660" fmla="*/ 1850235 h 4687251"/>
              <a:gd name="connsiteX14661" fmla="*/ 4087629 w 8079933"/>
              <a:gd name="connsiteY14661" fmla="*/ 1850709 h 4687251"/>
              <a:gd name="connsiteX14662" fmla="*/ 4088038 w 8079933"/>
              <a:gd name="connsiteY14662" fmla="*/ 1850236 h 4687251"/>
              <a:gd name="connsiteX14663" fmla="*/ 4093573 w 8079933"/>
              <a:gd name="connsiteY14663" fmla="*/ 1852293 h 4687251"/>
              <a:gd name="connsiteX14664" fmla="*/ 4102796 w 8079933"/>
              <a:gd name="connsiteY14664" fmla="*/ 1845364 h 4687251"/>
              <a:gd name="connsiteX14665" fmla="*/ 4109091 w 8079933"/>
              <a:gd name="connsiteY14665" fmla="*/ 1848179 h 4687251"/>
              <a:gd name="connsiteX14666" fmla="*/ 4109091 w 8079933"/>
              <a:gd name="connsiteY14666" fmla="*/ 1848178 h 4687251"/>
              <a:gd name="connsiteX14667" fmla="*/ 4102797 w 8079933"/>
              <a:gd name="connsiteY14667" fmla="*/ 1845363 h 4687251"/>
              <a:gd name="connsiteX14668" fmla="*/ 4093573 w 8079933"/>
              <a:gd name="connsiteY14668" fmla="*/ 1852293 h 4687251"/>
              <a:gd name="connsiteX14669" fmla="*/ 4088365 w 8079933"/>
              <a:gd name="connsiteY14669" fmla="*/ 1850344 h 4687251"/>
              <a:gd name="connsiteX14670" fmla="*/ 4087605 w 8079933"/>
              <a:gd name="connsiteY14670" fmla="*/ 1846338 h 4687251"/>
              <a:gd name="connsiteX14671" fmla="*/ 4084892 w 8079933"/>
              <a:gd name="connsiteY14671" fmla="*/ 1844064 h 4687251"/>
              <a:gd name="connsiteX14672" fmla="*/ 7159819 w 8079933"/>
              <a:gd name="connsiteY14672" fmla="*/ 1838434 h 4687251"/>
              <a:gd name="connsiteX14673" fmla="*/ 7162098 w 8079933"/>
              <a:gd name="connsiteY14673" fmla="*/ 1838650 h 4687251"/>
              <a:gd name="connsiteX14674" fmla="*/ 7166330 w 8079933"/>
              <a:gd name="connsiteY14674" fmla="*/ 1840599 h 4687251"/>
              <a:gd name="connsiteX14675" fmla="*/ 7167415 w 8079933"/>
              <a:gd name="connsiteY14675" fmla="*/ 1842007 h 4687251"/>
              <a:gd name="connsiteX14676" fmla="*/ 7169585 w 8079933"/>
              <a:gd name="connsiteY14676" fmla="*/ 1841682 h 4687251"/>
              <a:gd name="connsiteX14677" fmla="*/ 7172407 w 8079933"/>
              <a:gd name="connsiteY14677" fmla="*/ 1839950 h 4687251"/>
              <a:gd name="connsiteX14678" fmla="*/ 7171973 w 8079933"/>
              <a:gd name="connsiteY14678" fmla="*/ 1842440 h 4687251"/>
              <a:gd name="connsiteX14679" fmla="*/ 7172515 w 8079933"/>
              <a:gd name="connsiteY14679" fmla="*/ 1849694 h 4687251"/>
              <a:gd name="connsiteX14680" fmla="*/ 7174469 w 8079933"/>
              <a:gd name="connsiteY14680" fmla="*/ 1857056 h 4687251"/>
              <a:gd name="connsiteX14681" fmla="*/ 7177073 w 8079933"/>
              <a:gd name="connsiteY14681" fmla="*/ 1861929 h 4687251"/>
              <a:gd name="connsiteX14682" fmla="*/ 7186840 w 8079933"/>
              <a:gd name="connsiteY14682" fmla="*/ 1872756 h 4687251"/>
              <a:gd name="connsiteX14683" fmla="*/ 7191289 w 8079933"/>
              <a:gd name="connsiteY14683" fmla="*/ 1876870 h 4687251"/>
              <a:gd name="connsiteX14684" fmla="*/ 7191831 w 8079933"/>
              <a:gd name="connsiteY14684" fmla="*/ 1887047 h 4687251"/>
              <a:gd name="connsiteX14685" fmla="*/ 7194436 w 8079933"/>
              <a:gd name="connsiteY14685" fmla="*/ 1888455 h 4687251"/>
              <a:gd name="connsiteX14686" fmla="*/ 7196823 w 8079933"/>
              <a:gd name="connsiteY14686" fmla="*/ 1888455 h 4687251"/>
              <a:gd name="connsiteX14687" fmla="*/ 7201164 w 8079933"/>
              <a:gd name="connsiteY14687" fmla="*/ 1896034 h 4687251"/>
              <a:gd name="connsiteX14688" fmla="*/ 7202465 w 8079933"/>
              <a:gd name="connsiteY14688" fmla="*/ 1905237 h 4687251"/>
              <a:gd name="connsiteX14689" fmla="*/ 7204419 w 8079933"/>
              <a:gd name="connsiteY14689" fmla="*/ 1908701 h 4687251"/>
              <a:gd name="connsiteX14690" fmla="*/ 7203334 w 8079933"/>
              <a:gd name="connsiteY14690" fmla="*/ 1911625 h 4687251"/>
              <a:gd name="connsiteX14691" fmla="*/ 7203660 w 8079933"/>
              <a:gd name="connsiteY14691" fmla="*/ 1917471 h 4687251"/>
              <a:gd name="connsiteX14692" fmla="*/ 7205071 w 8079933"/>
              <a:gd name="connsiteY14692" fmla="*/ 1919637 h 4687251"/>
              <a:gd name="connsiteX14693" fmla="*/ 7204527 w 8079933"/>
              <a:gd name="connsiteY14693" fmla="*/ 1923318 h 4687251"/>
              <a:gd name="connsiteX14694" fmla="*/ 7204636 w 8079933"/>
              <a:gd name="connsiteY14694" fmla="*/ 1924725 h 4687251"/>
              <a:gd name="connsiteX14695" fmla="*/ 7202900 w 8079933"/>
              <a:gd name="connsiteY14695" fmla="*/ 1927649 h 4687251"/>
              <a:gd name="connsiteX14696" fmla="*/ 7203009 w 8079933"/>
              <a:gd name="connsiteY14696" fmla="*/ 1931330 h 4687251"/>
              <a:gd name="connsiteX14697" fmla="*/ 7202683 w 8079933"/>
              <a:gd name="connsiteY14697" fmla="*/ 1933712 h 4687251"/>
              <a:gd name="connsiteX14698" fmla="*/ 7203877 w 8079933"/>
              <a:gd name="connsiteY14698" fmla="*/ 1938476 h 4687251"/>
              <a:gd name="connsiteX14699" fmla="*/ 7205395 w 8079933"/>
              <a:gd name="connsiteY14699" fmla="*/ 1940316 h 4687251"/>
              <a:gd name="connsiteX14700" fmla="*/ 7206264 w 8079933"/>
              <a:gd name="connsiteY14700" fmla="*/ 1943998 h 4687251"/>
              <a:gd name="connsiteX14701" fmla="*/ 7207458 w 8079933"/>
              <a:gd name="connsiteY14701" fmla="*/ 1949411 h 4687251"/>
              <a:gd name="connsiteX14702" fmla="*/ 7206155 w 8079933"/>
              <a:gd name="connsiteY14702" fmla="*/ 1951143 h 4687251"/>
              <a:gd name="connsiteX14703" fmla="*/ 7204202 w 8079933"/>
              <a:gd name="connsiteY14703" fmla="*/ 1947896 h 4687251"/>
              <a:gd name="connsiteX14704" fmla="*/ 7200621 w 8079933"/>
              <a:gd name="connsiteY14704" fmla="*/ 1947896 h 4687251"/>
              <a:gd name="connsiteX14705" fmla="*/ 7193242 w 8079933"/>
              <a:gd name="connsiteY14705" fmla="*/ 1951360 h 4687251"/>
              <a:gd name="connsiteX14706" fmla="*/ 7191831 w 8079933"/>
              <a:gd name="connsiteY14706" fmla="*/ 1959047 h 4687251"/>
              <a:gd name="connsiteX14707" fmla="*/ 7192374 w 8079933"/>
              <a:gd name="connsiteY14707" fmla="*/ 1965218 h 4687251"/>
              <a:gd name="connsiteX14708" fmla="*/ 7198234 w 8079933"/>
              <a:gd name="connsiteY14708" fmla="*/ 1973231 h 4687251"/>
              <a:gd name="connsiteX14709" fmla="*/ 7202358 w 8079933"/>
              <a:gd name="connsiteY14709" fmla="*/ 1989796 h 4687251"/>
              <a:gd name="connsiteX14710" fmla="*/ 7202032 w 8079933"/>
              <a:gd name="connsiteY14710" fmla="*/ 1998999 h 4687251"/>
              <a:gd name="connsiteX14711" fmla="*/ 7200296 w 8079933"/>
              <a:gd name="connsiteY14711" fmla="*/ 2012424 h 4687251"/>
              <a:gd name="connsiteX14712" fmla="*/ 7201815 w 8079933"/>
              <a:gd name="connsiteY14712" fmla="*/ 2023901 h 4687251"/>
              <a:gd name="connsiteX14713" fmla="*/ 7203660 w 8079933"/>
              <a:gd name="connsiteY14713" fmla="*/ 2029531 h 4687251"/>
              <a:gd name="connsiteX14714" fmla="*/ 7209194 w 8079933"/>
              <a:gd name="connsiteY14714" fmla="*/ 2037111 h 4687251"/>
              <a:gd name="connsiteX14715" fmla="*/ 7211799 w 8079933"/>
              <a:gd name="connsiteY14715" fmla="*/ 2039492 h 4687251"/>
              <a:gd name="connsiteX14716" fmla="*/ 7212450 w 8079933"/>
              <a:gd name="connsiteY14716" fmla="*/ 2042632 h 4687251"/>
              <a:gd name="connsiteX14717" fmla="*/ 7207349 w 8079933"/>
              <a:gd name="connsiteY14717" fmla="*/ 2047396 h 4687251"/>
              <a:gd name="connsiteX14718" fmla="*/ 7208326 w 8079933"/>
              <a:gd name="connsiteY14718" fmla="*/ 2051402 h 4687251"/>
              <a:gd name="connsiteX14719" fmla="*/ 7206698 w 8079933"/>
              <a:gd name="connsiteY14719" fmla="*/ 2057574 h 4687251"/>
              <a:gd name="connsiteX14720" fmla="*/ 7202141 w 8079933"/>
              <a:gd name="connsiteY14720" fmla="*/ 2062446 h 4687251"/>
              <a:gd name="connsiteX14721" fmla="*/ 7198234 w 8079933"/>
              <a:gd name="connsiteY14721" fmla="*/ 2062770 h 4687251"/>
              <a:gd name="connsiteX14722" fmla="*/ 7196172 w 8079933"/>
              <a:gd name="connsiteY14722" fmla="*/ 2067209 h 4687251"/>
              <a:gd name="connsiteX14723" fmla="*/ 7193025 w 8079933"/>
              <a:gd name="connsiteY14723" fmla="*/ 2069266 h 4687251"/>
              <a:gd name="connsiteX14724" fmla="*/ 7190747 w 8079933"/>
              <a:gd name="connsiteY14724" fmla="*/ 2068184 h 4687251"/>
              <a:gd name="connsiteX14725" fmla="*/ 7189444 w 8079933"/>
              <a:gd name="connsiteY14725" fmla="*/ 2054650 h 4687251"/>
              <a:gd name="connsiteX14726" fmla="*/ 7190638 w 8079933"/>
              <a:gd name="connsiteY14726" fmla="*/ 2048154 h 4687251"/>
              <a:gd name="connsiteX14727" fmla="*/ 7192808 w 8079933"/>
              <a:gd name="connsiteY14727" fmla="*/ 2044905 h 4687251"/>
              <a:gd name="connsiteX14728" fmla="*/ 7191831 w 8079933"/>
              <a:gd name="connsiteY14728" fmla="*/ 2042307 h 4687251"/>
              <a:gd name="connsiteX14729" fmla="*/ 7187382 w 8079933"/>
              <a:gd name="connsiteY14729" fmla="*/ 2041441 h 4687251"/>
              <a:gd name="connsiteX14730" fmla="*/ 7184452 w 8079933"/>
              <a:gd name="connsiteY14730" fmla="*/ 2043282 h 4687251"/>
              <a:gd name="connsiteX14731" fmla="*/ 7183259 w 8079933"/>
              <a:gd name="connsiteY14731" fmla="*/ 2049020 h 4687251"/>
              <a:gd name="connsiteX14732" fmla="*/ 7185429 w 8079933"/>
              <a:gd name="connsiteY14732" fmla="*/ 2051727 h 4687251"/>
              <a:gd name="connsiteX14733" fmla="*/ 7184452 w 8079933"/>
              <a:gd name="connsiteY14733" fmla="*/ 2054001 h 4687251"/>
              <a:gd name="connsiteX14734" fmla="*/ 7181088 w 8079933"/>
              <a:gd name="connsiteY14734" fmla="*/ 2054109 h 4687251"/>
              <a:gd name="connsiteX14735" fmla="*/ 7175336 w 8079933"/>
              <a:gd name="connsiteY14735" fmla="*/ 2058548 h 4687251"/>
              <a:gd name="connsiteX14736" fmla="*/ 7173927 w 8079933"/>
              <a:gd name="connsiteY14736" fmla="*/ 2063745 h 4687251"/>
              <a:gd name="connsiteX14737" fmla="*/ 7176639 w 8079933"/>
              <a:gd name="connsiteY14737" fmla="*/ 2071974 h 4687251"/>
              <a:gd name="connsiteX14738" fmla="*/ 7173058 w 8079933"/>
              <a:gd name="connsiteY14738" fmla="*/ 2076954 h 4687251"/>
              <a:gd name="connsiteX14739" fmla="*/ 7169368 w 8079933"/>
              <a:gd name="connsiteY14739" fmla="*/ 2077387 h 4687251"/>
              <a:gd name="connsiteX14740" fmla="*/ 7167524 w 8079933"/>
              <a:gd name="connsiteY14740" fmla="*/ 2073922 h 4687251"/>
              <a:gd name="connsiteX14741" fmla="*/ 7168934 w 8079933"/>
              <a:gd name="connsiteY14741" fmla="*/ 2069484 h 4687251"/>
              <a:gd name="connsiteX14742" fmla="*/ 7168066 w 8079933"/>
              <a:gd name="connsiteY14742" fmla="*/ 2064611 h 4687251"/>
              <a:gd name="connsiteX14743" fmla="*/ 7164051 w 8079933"/>
              <a:gd name="connsiteY14743" fmla="*/ 2063962 h 4687251"/>
              <a:gd name="connsiteX14744" fmla="*/ 7158951 w 8079933"/>
              <a:gd name="connsiteY14744" fmla="*/ 2066560 h 4687251"/>
              <a:gd name="connsiteX14745" fmla="*/ 7157757 w 8079933"/>
              <a:gd name="connsiteY14745" fmla="*/ 2071974 h 4687251"/>
              <a:gd name="connsiteX14746" fmla="*/ 7158951 w 8079933"/>
              <a:gd name="connsiteY14746" fmla="*/ 2076845 h 4687251"/>
              <a:gd name="connsiteX14747" fmla="*/ 7160579 w 8079933"/>
              <a:gd name="connsiteY14747" fmla="*/ 2078361 h 4687251"/>
              <a:gd name="connsiteX14748" fmla="*/ 7154393 w 8079933"/>
              <a:gd name="connsiteY14748" fmla="*/ 2079119 h 4687251"/>
              <a:gd name="connsiteX14749" fmla="*/ 7142347 w 8079933"/>
              <a:gd name="connsiteY14749" fmla="*/ 2078037 h 4687251"/>
              <a:gd name="connsiteX14750" fmla="*/ 7136488 w 8079933"/>
              <a:gd name="connsiteY14750" fmla="*/ 2081176 h 4687251"/>
              <a:gd name="connsiteX14751" fmla="*/ 7132798 w 8079933"/>
              <a:gd name="connsiteY14751" fmla="*/ 2082151 h 4687251"/>
              <a:gd name="connsiteX14752" fmla="*/ 7131279 w 8079933"/>
              <a:gd name="connsiteY14752" fmla="*/ 2081393 h 4687251"/>
              <a:gd name="connsiteX14753" fmla="*/ 7131822 w 8079933"/>
              <a:gd name="connsiteY14753" fmla="*/ 2080202 h 4687251"/>
              <a:gd name="connsiteX14754" fmla="*/ 7136162 w 8079933"/>
              <a:gd name="connsiteY14754" fmla="*/ 2079119 h 4687251"/>
              <a:gd name="connsiteX14755" fmla="*/ 7137030 w 8079933"/>
              <a:gd name="connsiteY14755" fmla="*/ 2077062 h 4687251"/>
              <a:gd name="connsiteX14756" fmla="*/ 7135403 w 8079933"/>
              <a:gd name="connsiteY14756" fmla="*/ 2076629 h 4687251"/>
              <a:gd name="connsiteX14757" fmla="*/ 7132907 w 8079933"/>
              <a:gd name="connsiteY14757" fmla="*/ 2077496 h 4687251"/>
              <a:gd name="connsiteX14758" fmla="*/ 7130520 w 8079933"/>
              <a:gd name="connsiteY14758" fmla="*/ 2075763 h 4687251"/>
              <a:gd name="connsiteX14759" fmla="*/ 7127264 w 8079933"/>
              <a:gd name="connsiteY14759" fmla="*/ 2075005 h 4687251"/>
              <a:gd name="connsiteX14760" fmla="*/ 7126179 w 8079933"/>
              <a:gd name="connsiteY14760" fmla="*/ 2076413 h 4687251"/>
              <a:gd name="connsiteX14761" fmla="*/ 7124009 w 8079933"/>
              <a:gd name="connsiteY14761" fmla="*/ 2077928 h 4687251"/>
              <a:gd name="connsiteX14762" fmla="*/ 7122381 w 8079933"/>
              <a:gd name="connsiteY14762" fmla="*/ 2076521 h 4687251"/>
              <a:gd name="connsiteX14763" fmla="*/ 7121838 w 8079933"/>
              <a:gd name="connsiteY14763" fmla="*/ 2071323 h 4687251"/>
              <a:gd name="connsiteX14764" fmla="*/ 7122814 w 8079933"/>
              <a:gd name="connsiteY14764" fmla="*/ 2069375 h 4687251"/>
              <a:gd name="connsiteX14765" fmla="*/ 7120970 w 8079933"/>
              <a:gd name="connsiteY14765" fmla="*/ 2069916 h 4687251"/>
              <a:gd name="connsiteX14766" fmla="*/ 7118257 w 8079933"/>
              <a:gd name="connsiteY14766" fmla="*/ 2072298 h 4687251"/>
              <a:gd name="connsiteX14767" fmla="*/ 7116412 w 8079933"/>
              <a:gd name="connsiteY14767" fmla="*/ 2078794 h 4687251"/>
              <a:gd name="connsiteX14768" fmla="*/ 7117498 w 8079933"/>
              <a:gd name="connsiteY14768" fmla="*/ 2081176 h 4687251"/>
              <a:gd name="connsiteX14769" fmla="*/ 7126070 w 8079933"/>
              <a:gd name="connsiteY14769" fmla="*/ 2084858 h 4687251"/>
              <a:gd name="connsiteX14770" fmla="*/ 7127047 w 8079933"/>
              <a:gd name="connsiteY14770" fmla="*/ 2089729 h 4687251"/>
              <a:gd name="connsiteX14771" fmla="*/ 7128241 w 8079933"/>
              <a:gd name="connsiteY14771" fmla="*/ 2091462 h 4687251"/>
              <a:gd name="connsiteX14772" fmla="*/ 7126830 w 8079933"/>
              <a:gd name="connsiteY14772" fmla="*/ 2093952 h 4687251"/>
              <a:gd name="connsiteX14773" fmla="*/ 7123140 w 8079933"/>
              <a:gd name="connsiteY14773" fmla="*/ 2093952 h 4687251"/>
              <a:gd name="connsiteX14774" fmla="*/ 7119017 w 8079933"/>
              <a:gd name="connsiteY14774" fmla="*/ 2094494 h 4687251"/>
              <a:gd name="connsiteX14775" fmla="*/ 7115978 w 8079933"/>
              <a:gd name="connsiteY14775" fmla="*/ 2100340 h 4687251"/>
              <a:gd name="connsiteX14776" fmla="*/ 7116847 w 8079933"/>
              <a:gd name="connsiteY14776" fmla="*/ 2103480 h 4687251"/>
              <a:gd name="connsiteX14777" fmla="*/ 7116195 w 8079933"/>
              <a:gd name="connsiteY14777" fmla="*/ 2105862 h 4687251"/>
              <a:gd name="connsiteX14778" fmla="*/ 7113591 w 8079933"/>
              <a:gd name="connsiteY14778" fmla="*/ 2107486 h 4687251"/>
              <a:gd name="connsiteX14779" fmla="*/ 7113157 w 8079933"/>
              <a:gd name="connsiteY14779" fmla="*/ 2112034 h 4687251"/>
              <a:gd name="connsiteX14780" fmla="*/ 7108490 w 8079933"/>
              <a:gd name="connsiteY14780" fmla="*/ 2119071 h 4687251"/>
              <a:gd name="connsiteX14781" fmla="*/ 7105560 w 8079933"/>
              <a:gd name="connsiteY14781" fmla="*/ 2120587 h 4687251"/>
              <a:gd name="connsiteX14782" fmla="*/ 7101111 w 8079933"/>
              <a:gd name="connsiteY14782" fmla="*/ 2119288 h 4687251"/>
              <a:gd name="connsiteX14783" fmla="*/ 7094383 w 8079933"/>
              <a:gd name="connsiteY14783" fmla="*/ 2113116 h 4687251"/>
              <a:gd name="connsiteX14784" fmla="*/ 7089609 w 8079933"/>
              <a:gd name="connsiteY14784" fmla="*/ 2110951 h 4687251"/>
              <a:gd name="connsiteX14785" fmla="*/ 7088416 w 8079933"/>
              <a:gd name="connsiteY14785" fmla="*/ 2106404 h 4687251"/>
              <a:gd name="connsiteX14786" fmla="*/ 7089066 w 8079933"/>
              <a:gd name="connsiteY14786" fmla="*/ 2104563 h 4687251"/>
              <a:gd name="connsiteX14787" fmla="*/ 7088740 w 8079933"/>
              <a:gd name="connsiteY14787" fmla="*/ 2100124 h 4687251"/>
              <a:gd name="connsiteX14788" fmla="*/ 7088198 w 8079933"/>
              <a:gd name="connsiteY14788" fmla="*/ 2095793 h 4687251"/>
              <a:gd name="connsiteX14789" fmla="*/ 7086027 w 8079933"/>
              <a:gd name="connsiteY14789" fmla="*/ 2094386 h 4687251"/>
              <a:gd name="connsiteX14790" fmla="*/ 7087113 w 8079933"/>
              <a:gd name="connsiteY14790" fmla="*/ 2090271 h 4687251"/>
              <a:gd name="connsiteX14791" fmla="*/ 7090693 w 8079933"/>
              <a:gd name="connsiteY14791" fmla="*/ 2085182 h 4687251"/>
              <a:gd name="connsiteX14792" fmla="*/ 7090693 w 8079933"/>
              <a:gd name="connsiteY14792" fmla="*/ 2081284 h 4687251"/>
              <a:gd name="connsiteX14793" fmla="*/ 7088740 w 8079933"/>
              <a:gd name="connsiteY14793" fmla="*/ 2079553 h 4687251"/>
              <a:gd name="connsiteX14794" fmla="*/ 7084617 w 8079933"/>
              <a:gd name="connsiteY14794" fmla="*/ 2080635 h 4687251"/>
              <a:gd name="connsiteX14795" fmla="*/ 7077455 w 8079933"/>
              <a:gd name="connsiteY14795" fmla="*/ 2079336 h 4687251"/>
              <a:gd name="connsiteX14796" fmla="*/ 7071703 w 8079933"/>
              <a:gd name="connsiteY14796" fmla="*/ 2081284 h 4687251"/>
              <a:gd name="connsiteX14797" fmla="*/ 7066169 w 8079933"/>
              <a:gd name="connsiteY14797" fmla="*/ 2085832 h 4687251"/>
              <a:gd name="connsiteX14798" fmla="*/ 7064975 w 8079933"/>
              <a:gd name="connsiteY14798" fmla="*/ 2088431 h 4687251"/>
              <a:gd name="connsiteX14799" fmla="*/ 7060092 w 8079933"/>
              <a:gd name="connsiteY14799" fmla="*/ 2091137 h 4687251"/>
              <a:gd name="connsiteX14800" fmla="*/ 7059875 w 8079933"/>
              <a:gd name="connsiteY14800" fmla="*/ 2092653 h 4687251"/>
              <a:gd name="connsiteX14801" fmla="*/ 7057271 w 8079933"/>
              <a:gd name="connsiteY14801" fmla="*/ 2093952 h 4687251"/>
              <a:gd name="connsiteX14802" fmla="*/ 7055426 w 8079933"/>
              <a:gd name="connsiteY14802" fmla="*/ 2093086 h 4687251"/>
              <a:gd name="connsiteX14803" fmla="*/ 7050542 w 8079933"/>
              <a:gd name="connsiteY14803" fmla="*/ 2093303 h 4687251"/>
              <a:gd name="connsiteX14804" fmla="*/ 7043055 w 8079933"/>
              <a:gd name="connsiteY14804" fmla="*/ 2095684 h 4687251"/>
              <a:gd name="connsiteX14805" fmla="*/ 7035242 w 8079933"/>
              <a:gd name="connsiteY14805" fmla="*/ 2097200 h 4687251"/>
              <a:gd name="connsiteX14806" fmla="*/ 7031227 w 8079933"/>
              <a:gd name="connsiteY14806" fmla="*/ 2099366 h 4687251"/>
              <a:gd name="connsiteX14807" fmla="*/ 7028188 w 8079933"/>
              <a:gd name="connsiteY14807" fmla="*/ 2099149 h 4687251"/>
              <a:gd name="connsiteX14808" fmla="*/ 7026235 w 8079933"/>
              <a:gd name="connsiteY14808" fmla="*/ 2096334 h 4687251"/>
              <a:gd name="connsiteX14809" fmla="*/ 7022979 w 8079933"/>
              <a:gd name="connsiteY14809" fmla="*/ 2096551 h 4687251"/>
              <a:gd name="connsiteX14810" fmla="*/ 7021569 w 8079933"/>
              <a:gd name="connsiteY14810" fmla="*/ 2099149 h 4687251"/>
              <a:gd name="connsiteX14811" fmla="*/ 7022328 w 8079933"/>
              <a:gd name="connsiteY14811" fmla="*/ 2102506 h 4687251"/>
              <a:gd name="connsiteX14812" fmla="*/ 7021895 w 8079933"/>
              <a:gd name="connsiteY14812" fmla="*/ 2107270 h 4687251"/>
              <a:gd name="connsiteX14813" fmla="*/ 7022111 w 8079933"/>
              <a:gd name="connsiteY14813" fmla="*/ 2110518 h 4687251"/>
              <a:gd name="connsiteX14814" fmla="*/ 7021352 w 8079933"/>
              <a:gd name="connsiteY14814" fmla="*/ 2112575 h 4687251"/>
              <a:gd name="connsiteX14815" fmla="*/ 7017771 w 8079933"/>
              <a:gd name="connsiteY14815" fmla="*/ 2110951 h 4687251"/>
              <a:gd name="connsiteX14816" fmla="*/ 7010717 w 8079933"/>
              <a:gd name="connsiteY14816" fmla="*/ 2108461 h 4687251"/>
              <a:gd name="connsiteX14817" fmla="*/ 7004206 w 8079933"/>
              <a:gd name="connsiteY14817" fmla="*/ 2109651 h 4687251"/>
              <a:gd name="connsiteX14818" fmla="*/ 6996827 w 8079933"/>
              <a:gd name="connsiteY14818" fmla="*/ 2113333 h 4687251"/>
              <a:gd name="connsiteX14819" fmla="*/ 6996067 w 8079933"/>
              <a:gd name="connsiteY14819" fmla="*/ 2116689 h 4687251"/>
              <a:gd name="connsiteX14820" fmla="*/ 7001276 w 8079933"/>
              <a:gd name="connsiteY14820" fmla="*/ 2122428 h 4687251"/>
              <a:gd name="connsiteX14821" fmla="*/ 7004640 w 8079933"/>
              <a:gd name="connsiteY14821" fmla="*/ 2122861 h 4687251"/>
              <a:gd name="connsiteX14822" fmla="*/ 7007895 w 8079933"/>
              <a:gd name="connsiteY14822" fmla="*/ 2120587 h 4687251"/>
              <a:gd name="connsiteX14823" fmla="*/ 7007895 w 8079933"/>
              <a:gd name="connsiteY14823" fmla="*/ 2119071 h 4687251"/>
              <a:gd name="connsiteX14824" fmla="*/ 7011694 w 8079933"/>
              <a:gd name="connsiteY14824" fmla="*/ 2118313 h 4687251"/>
              <a:gd name="connsiteX14825" fmla="*/ 7014732 w 8079933"/>
              <a:gd name="connsiteY14825" fmla="*/ 2120262 h 4687251"/>
              <a:gd name="connsiteX14826" fmla="*/ 7015926 w 8079933"/>
              <a:gd name="connsiteY14826" fmla="*/ 2126433 h 4687251"/>
              <a:gd name="connsiteX14827" fmla="*/ 7014732 w 8079933"/>
              <a:gd name="connsiteY14827" fmla="*/ 2129465 h 4687251"/>
              <a:gd name="connsiteX14828" fmla="*/ 7010934 w 8079933"/>
              <a:gd name="connsiteY14828" fmla="*/ 2131739 h 4687251"/>
              <a:gd name="connsiteX14829" fmla="*/ 7012019 w 8079933"/>
              <a:gd name="connsiteY14829" fmla="*/ 2133471 h 4687251"/>
              <a:gd name="connsiteX14830" fmla="*/ 7019833 w 8079933"/>
              <a:gd name="connsiteY14830" fmla="*/ 2133363 h 4687251"/>
              <a:gd name="connsiteX14831" fmla="*/ 7019073 w 8079933"/>
              <a:gd name="connsiteY14831" fmla="*/ 2136503 h 4687251"/>
              <a:gd name="connsiteX14832" fmla="*/ 7021569 w 8079933"/>
              <a:gd name="connsiteY14832" fmla="*/ 2137044 h 4687251"/>
              <a:gd name="connsiteX14833" fmla="*/ 7021786 w 8079933"/>
              <a:gd name="connsiteY14833" fmla="*/ 2141483 h 4687251"/>
              <a:gd name="connsiteX14834" fmla="*/ 7024173 w 8079933"/>
              <a:gd name="connsiteY14834" fmla="*/ 2142133 h 4687251"/>
              <a:gd name="connsiteX14835" fmla="*/ 7025150 w 8079933"/>
              <a:gd name="connsiteY14835" fmla="*/ 2145814 h 4687251"/>
              <a:gd name="connsiteX14836" fmla="*/ 7020701 w 8079933"/>
              <a:gd name="connsiteY14836" fmla="*/ 2150253 h 4687251"/>
              <a:gd name="connsiteX14837" fmla="*/ 7018205 w 8079933"/>
              <a:gd name="connsiteY14837" fmla="*/ 2154584 h 4687251"/>
              <a:gd name="connsiteX14838" fmla="*/ 7018639 w 8079933"/>
              <a:gd name="connsiteY14838" fmla="*/ 2161730 h 4687251"/>
              <a:gd name="connsiteX14839" fmla="*/ 7018313 w 8079933"/>
              <a:gd name="connsiteY14839" fmla="*/ 2175372 h 4687251"/>
              <a:gd name="connsiteX14840" fmla="*/ 7019724 w 8079933"/>
              <a:gd name="connsiteY14840" fmla="*/ 2179162 h 4687251"/>
              <a:gd name="connsiteX14841" fmla="*/ 7019833 w 8079933"/>
              <a:gd name="connsiteY14841" fmla="*/ 2186632 h 4687251"/>
              <a:gd name="connsiteX14842" fmla="*/ 7018639 w 8079933"/>
              <a:gd name="connsiteY14842" fmla="*/ 2191504 h 4687251"/>
              <a:gd name="connsiteX14843" fmla="*/ 7016577 w 8079933"/>
              <a:gd name="connsiteY14843" fmla="*/ 2189988 h 4687251"/>
              <a:gd name="connsiteX14844" fmla="*/ 7013104 w 8079933"/>
              <a:gd name="connsiteY14844" fmla="*/ 2188905 h 4687251"/>
              <a:gd name="connsiteX14845" fmla="*/ 7010934 w 8079933"/>
              <a:gd name="connsiteY14845" fmla="*/ 2189988 h 4687251"/>
              <a:gd name="connsiteX14846" fmla="*/ 7011043 w 8079933"/>
              <a:gd name="connsiteY14846" fmla="*/ 2192479 h 4687251"/>
              <a:gd name="connsiteX14847" fmla="*/ 7015383 w 8079933"/>
              <a:gd name="connsiteY14847" fmla="*/ 2196809 h 4687251"/>
              <a:gd name="connsiteX14848" fmla="*/ 7010717 w 8079933"/>
              <a:gd name="connsiteY14848" fmla="*/ 2203305 h 4687251"/>
              <a:gd name="connsiteX14849" fmla="*/ 7006268 w 8079933"/>
              <a:gd name="connsiteY14849" fmla="*/ 2206013 h 4687251"/>
              <a:gd name="connsiteX14850" fmla="*/ 7005726 w 8079933"/>
              <a:gd name="connsiteY14850" fmla="*/ 2202656 h 4687251"/>
              <a:gd name="connsiteX14851" fmla="*/ 7006919 w 8079933"/>
              <a:gd name="connsiteY14851" fmla="*/ 2198866 h 4687251"/>
              <a:gd name="connsiteX14852" fmla="*/ 7005508 w 8079933"/>
              <a:gd name="connsiteY14852" fmla="*/ 2192479 h 4687251"/>
              <a:gd name="connsiteX14853" fmla="*/ 7001819 w 8079933"/>
              <a:gd name="connsiteY14853" fmla="*/ 2188689 h 4687251"/>
              <a:gd name="connsiteX14854" fmla="*/ 7001927 w 8079933"/>
              <a:gd name="connsiteY14854" fmla="*/ 2186415 h 4687251"/>
              <a:gd name="connsiteX14855" fmla="*/ 7003338 w 8079933"/>
              <a:gd name="connsiteY14855" fmla="*/ 2184358 h 4687251"/>
              <a:gd name="connsiteX14856" fmla="*/ 7000842 w 8079933"/>
              <a:gd name="connsiteY14856" fmla="*/ 2182409 h 4687251"/>
              <a:gd name="connsiteX14857" fmla="*/ 6998780 w 8079933"/>
              <a:gd name="connsiteY14857" fmla="*/ 2184791 h 4687251"/>
              <a:gd name="connsiteX14858" fmla="*/ 6998780 w 8079933"/>
              <a:gd name="connsiteY14858" fmla="*/ 2192479 h 4687251"/>
              <a:gd name="connsiteX14859" fmla="*/ 7002253 w 8079933"/>
              <a:gd name="connsiteY14859" fmla="*/ 2197892 h 4687251"/>
              <a:gd name="connsiteX14860" fmla="*/ 7002253 w 8079933"/>
              <a:gd name="connsiteY14860" fmla="*/ 2200491 h 4687251"/>
              <a:gd name="connsiteX14861" fmla="*/ 7000733 w 8079933"/>
              <a:gd name="connsiteY14861" fmla="*/ 2202223 h 4687251"/>
              <a:gd name="connsiteX14862" fmla="*/ 6997478 w 8079933"/>
              <a:gd name="connsiteY14862" fmla="*/ 2200382 h 4687251"/>
              <a:gd name="connsiteX14863" fmla="*/ 6993680 w 8079933"/>
              <a:gd name="connsiteY14863" fmla="*/ 2200923 h 4687251"/>
              <a:gd name="connsiteX14864" fmla="*/ 6990642 w 8079933"/>
              <a:gd name="connsiteY14864" fmla="*/ 2197134 h 4687251"/>
              <a:gd name="connsiteX14865" fmla="*/ 6992704 w 8079933"/>
              <a:gd name="connsiteY14865" fmla="*/ 2194644 h 4687251"/>
              <a:gd name="connsiteX14866" fmla="*/ 6992704 w 8079933"/>
              <a:gd name="connsiteY14866" fmla="*/ 2190638 h 4687251"/>
              <a:gd name="connsiteX14867" fmla="*/ 6988797 w 8079933"/>
              <a:gd name="connsiteY14867" fmla="*/ 2185982 h 4687251"/>
              <a:gd name="connsiteX14868" fmla="*/ 6987278 w 8079933"/>
              <a:gd name="connsiteY14868" fmla="*/ 2177646 h 4687251"/>
              <a:gd name="connsiteX14869" fmla="*/ 6983588 w 8079933"/>
              <a:gd name="connsiteY14869" fmla="*/ 2171366 h 4687251"/>
              <a:gd name="connsiteX14870" fmla="*/ 6982612 w 8079933"/>
              <a:gd name="connsiteY14870" fmla="*/ 2168659 h 4687251"/>
              <a:gd name="connsiteX14871" fmla="*/ 6986735 w 8079933"/>
              <a:gd name="connsiteY14871" fmla="*/ 2168226 h 4687251"/>
              <a:gd name="connsiteX14872" fmla="*/ 6990207 w 8079933"/>
              <a:gd name="connsiteY14872" fmla="*/ 2160647 h 4687251"/>
              <a:gd name="connsiteX14873" fmla="*/ 6989882 w 8079933"/>
              <a:gd name="connsiteY14873" fmla="*/ 2152526 h 4687251"/>
              <a:gd name="connsiteX14874" fmla="*/ 6987820 w 8079933"/>
              <a:gd name="connsiteY14874" fmla="*/ 2150145 h 4687251"/>
              <a:gd name="connsiteX14875" fmla="*/ 6987278 w 8079933"/>
              <a:gd name="connsiteY14875" fmla="*/ 2144840 h 4687251"/>
              <a:gd name="connsiteX14876" fmla="*/ 6983045 w 8079933"/>
              <a:gd name="connsiteY14876" fmla="*/ 2137802 h 4687251"/>
              <a:gd name="connsiteX14877" fmla="*/ 6979139 w 8079933"/>
              <a:gd name="connsiteY14877" fmla="*/ 2136286 h 4687251"/>
              <a:gd name="connsiteX14878" fmla="*/ 6977185 w 8079933"/>
              <a:gd name="connsiteY14878" fmla="*/ 2138885 h 4687251"/>
              <a:gd name="connsiteX14879" fmla="*/ 6978162 w 8079933"/>
              <a:gd name="connsiteY14879" fmla="*/ 2142457 h 4687251"/>
              <a:gd name="connsiteX14880" fmla="*/ 6976968 w 8079933"/>
              <a:gd name="connsiteY14880" fmla="*/ 2144515 h 4687251"/>
              <a:gd name="connsiteX14881" fmla="*/ 6976751 w 8079933"/>
              <a:gd name="connsiteY14881" fmla="*/ 2146463 h 4687251"/>
              <a:gd name="connsiteX14882" fmla="*/ 6980983 w 8079933"/>
              <a:gd name="connsiteY14882" fmla="*/ 2145273 h 4687251"/>
              <a:gd name="connsiteX14883" fmla="*/ 6983588 w 8079933"/>
              <a:gd name="connsiteY14883" fmla="*/ 2147655 h 4687251"/>
              <a:gd name="connsiteX14884" fmla="*/ 6984022 w 8079933"/>
              <a:gd name="connsiteY14884" fmla="*/ 2152093 h 4687251"/>
              <a:gd name="connsiteX14885" fmla="*/ 6980333 w 8079933"/>
              <a:gd name="connsiteY14885" fmla="*/ 2153177 h 4687251"/>
              <a:gd name="connsiteX14886" fmla="*/ 6978597 w 8079933"/>
              <a:gd name="connsiteY14886" fmla="*/ 2151877 h 4687251"/>
              <a:gd name="connsiteX14887" fmla="*/ 6980441 w 8079933"/>
              <a:gd name="connsiteY14887" fmla="*/ 2150145 h 4687251"/>
              <a:gd name="connsiteX14888" fmla="*/ 6978053 w 8079933"/>
              <a:gd name="connsiteY14888" fmla="*/ 2149279 h 4687251"/>
              <a:gd name="connsiteX14889" fmla="*/ 6974472 w 8079933"/>
              <a:gd name="connsiteY14889" fmla="*/ 2150469 h 4687251"/>
              <a:gd name="connsiteX14890" fmla="*/ 6972845 w 8079933"/>
              <a:gd name="connsiteY14890" fmla="*/ 2153718 h 4687251"/>
              <a:gd name="connsiteX14891" fmla="*/ 6970458 w 8079933"/>
              <a:gd name="connsiteY14891" fmla="*/ 2155016 h 4687251"/>
              <a:gd name="connsiteX14892" fmla="*/ 6972085 w 8079933"/>
              <a:gd name="connsiteY14892" fmla="*/ 2151985 h 4687251"/>
              <a:gd name="connsiteX14893" fmla="*/ 6971542 w 8079933"/>
              <a:gd name="connsiteY14893" fmla="*/ 2149170 h 4687251"/>
              <a:gd name="connsiteX14894" fmla="*/ 6968504 w 8079933"/>
              <a:gd name="connsiteY14894" fmla="*/ 2147871 h 4687251"/>
              <a:gd name="connsiteX14895" fmla="*/ 6967310 w 8079933"/>
              <a:gd name="connsiteY14895" fmla="*/ 2143648 h 4687251"/>
              <a:gd name="connsiteX14896" fmla="*/ 6968396 w 8079933"/>
              <a:gd name="connsiteY14896" fmla="*/ 2139751 h 4687251"/>
              <a:gd name="connsiteX14897" fmla="*/ 6970349 w 8079933"/>
              <a:gd name="connsiteY14897" fmla="*/ 2142674 h 4687251"/>
              <a:gd name="connsiteX14898" fmla="*/ 6971217 w 8079933"/>
              <a:gd name="connsiteY14898" fmla="*/ 2146355 h 4687251"/>
              <a:gd name="connsiteX14899" fmla="*/ 6972845 w 8079933"/>
              <a:gd name="connsiteY14899" fmla="*/ 2144840 h 4687251"/>
              <a:gd name="connsiteX14900" fmla="*/ 6970783 w 8079933"/>
              <a:gd name="connsiteY14900" fmla="*/ 2139210 h 4687251"/>
              <a:gd name="connsiteX14901" fmla="*/ 6969155 w 8079933"/>
              <a:gd name="connsiteY14901" fmla="*/ 2134987 h 4687251"/>
              <a:gd name="connsiteX14902" fmla="*/ 6966876 w 8079933"/>
              <a:gd name="connsiteY14902" fmla="*/ 2134662 h 4687251"/>
              <a:gd name="connsiteX14903" fmla="*/ 6964706 w 8079933"/>
              <a:gd name="connsiteY14903" fmla="*/ 2134662 h 4687251"/>
              <a:gd name="connsiteX14904" fmla="*/ 6969047 w 8079933"/>
              <a:gd name="connsiteY14904" fmla="*/ 2132280 h 4687251"/>
              <a:gd name="connsiteX14905" fmla="*/ 6972954 w 8079933"/>
              <a:gd name="connsiteY14905" fmla="*/ 2132280 h 4687251"/>
              <a:gd name="connsiteX14906" fmla="*/ 6974581 w 8079933"/>
              <a:gd name="connsiteY14906" fmla="*/ 2128490 h 4687251"/>
              <a:gd name="connsiteX14907" fmla="*/ 6979139 w 8079933"/>
              <a:gd name="connsiteY14907" fmla="*/ 2123618 h 4687251"/>
              <a:gd name="connsiteX14908" fmla="*/ 6982177 w 8079933"/>
              <a:gd name="connsiteY14908" fmla="*/ 2121237 h 4687251"/>
              <a:gd name="connsiteX14909" fmla="*/ 6983479 w 8079933"/>
              <a:gd name="connsiteY14909" fmla="*/ 2118530 h 4687251"/>
              <a:gd name="connsiteX14910" fmla="*/ 6988471 w 8079933"/>
              <a:gd name="connsiteY14910" fmla="*/ 2114632 h 4687251"/>
              <a:gd name="connsiteX14911" fmla="*/ 6992486 w 8079933"/>
              <a:gd name="connsiteY14911" fmla="*/ 2114307 h 4687251"/>
              <a:gd name="connsiteX14912" fmla="*/ 6993897 w 8079933"/>
              <a:gd name="connsiteY14912" fmla="*/ 2111817 h 4687251"/>
              <a:gd name="connsiteX14913" fmla="*/ 6993137 w 8079933"/>
              <a:gd name="connsiteY14913" fmla="*/ 2109110 h 4687251"/>
              <a:gd name="connsiteX14914" fmla="*/ 6990751 w 8079933"/>
              <a:gd name="connsiteY14914" fmla="*/ 2107811 h 4687251"/>
              <a:gd name="connsiteX14915" fmla="*/ 6989231 w 8079933"/>
              <a:gd name="connsiteY14915" fmla="*/ 2100340 h 4687251"/>
              <a:gd name="connsiteX14916" fmla="*/ 6991510 w 8079933"/>
              <a:gd name="connsiteY14916" fmla="*/ 2096984 h 4687251"/>
              <a:gd name="connsiteX14917" fmla="*/ 6997803 w 8079933"/>
              <a:gd name="connsiteY14917" fmla="*/ 2095684 h 4687251"/>
              <a:gd name="connsiteX14918" fmla="*/ 7001385 w 8079933"/>
              <a:gd name="connsiteY14918" fmla="*/ 2092112 h 4687251"/>
              <a:gd name="connsiteX14919" fmla="*/ 7002469 w 8079933"/>
              <a:gd name="connsiteY14919" fmla="*/ 2088972 h 4687251"/>
              <a:gd name="connsiteX14920" fmla="*/ 7005942 w 8079933"/>
              <a:gd name="connsiteY14920" fmla="*/ 2084208 h 4687251"/>
              <a:gd name="connsiteX14921" fmla="*/ 7009957 w 8079933"/>
              <a:gd name="connsiteY14921" fmla="*/ 2082692 h 4687251"/>
              <a:gd name="connsiteX14922" fmla="*/ 7016469 w 8079933"/>
              <a:gd name="connsiteY14922" fmla="*/ 2075329 h 4687251"/>
              <a:gd name="connsiteX14923" fmla="*/ 7017229 w 8079933"/>
              <a:gd name="connsiteY14923" fmla="*/ 2071865 h 4687251"/>
              <a:gd name="connsiteX14924" fmla="*/ 7020592 w 8079933"/>
              <a:gd name="connsiteY14924" fmla="*/ 2069592 h 4687251"/>
              <a:gd name="connsiteX14925" fmla="*/ 7022219 w 8079933"/>
              <a:gd name="connsiteY14925" fmla="*/ 2063962 h 4687251"/>
              <a:gd name="connsiteX14926" fmla="*/ 7031118 w 8079933"/>
              <a:gd name="connsiteY14926" fmla="*/ 2057790 h 4687251"/>
              <a:gd name="connsiteX14927" fmla="*/ 7036219 w 8079933"/>
              <a:gd name="connsiteY14927" fmla="*/ 2057140 h 4687251"/>
              <a:gd name="connsiteX14928" fmla="*/ 7038280 w 8079933"/>
              <a:gd name="connsiteY14928" fmla="*/ 2058440 h 4687251"/>
              <a:gd name="connsiteX14929" fmla="*/ 7044140 w 8079933"/>
              <a:gd name="connsiteY14929" fmla="*/ 2056707 h 4687251"/>
              <a:gd name="connsiteX14930" fmla="*/ 7050217 w 8079933"/>
              <a:gd name="connsiteY14930" fmla="*/ 2056274 h 4687251"/>
              <a:gd name="connsiteX14931" fmla="*/ 7055643 w 8079933"/>
              <a:gd name="connsiteY14931" fmla="*/ 2054325 h 4687251"/>
              <a:gd name="connsiteX14932" fmla="*/ 7061178 w 8079933"/>
              <a:gd name="connsiteY14932" fmla="*/ 2052268 h 4687251"/>
              <a:gd name="connsiteX14933" fmla="*/ 7071487 w 8079933"/>
              <a:gd name="connsiteY14933" fmla="*/ 2048587 h 4687251"/>
              <a:gd name="connsiteX14934" fmla="*/ 7072897 w 8079933"/>
              <a:gd name="connsiteY14934" fmla="*/ 2049670 h 4687251"/>
              <a:gd name="connsiteX14935" fmla="*/ 7075827 w 8079933"/>
              <a:gd name="connsiteY14935" fmla="*/ 2049562 h 4687251"/>
              <a:gd name="connsiteX14936" fmla="*/ 7078974 w 8079933"/>
              <a:gd name="connsiteY14936" fmla="*/ 2047288 h 4687251"/>
              <a:gd name="connsiteX14937" fmla="*/ 7080384 w 8079933"/>
              <a:gd name="connsiteY14937" fmla="*/ 2047937 h 4687251"/>
              <a:gd name="connsiteX14938" fmla="*/ 7081253 w 8079933"/>
              <a:gd name="connsiteY14938" fmla="*/ 2053026 h 4687251"/>
              <a:gd name="connsiteX14939" fmla="*/ 7083314 w 8079933"/>
              <a:gd name="connsiteY14939" fmla="*/ 2053784 h 4687251"/>
              <a:gd name="connsiteX14940" fmla="*/ 7086787 w 8079933"/>
              <a:gd name="connsiteY14940" fmla="*/ 2051185 h 4687251"/>
              <a:gd name="connsiteX14941" fmla="*/ 7089283 w 8079933"/>
              <a:gd name="connsiteY14941" fmla="*/ 2053135 h 4687251"/>
              <a:gd name="connsiteX14942" fmla="*/ 7092864 w 8079933"/>
              <a:gd name="connsiteY14942" fmla="*/ 2051619 h 4687251"/>
              <a:gd name="connsiteX14943" fmla="*/ 7091345 w 8079933"/>
              <a:gd name="connsiteY14943" fmla="*/ 2049453 h 4687251"/>
              <a:gd name="connsiteX14944" fmla="*/ 7093624 w 8079933"/>
              <a:gd name="connsiteY14944" fmla="*/ 2049237 h 4687251"/>
              <a:gd name="connsiteX14945" fmla="*/ 7094818 w 8079933"/>
              <a:gd name="connsiteY14945" fmla="*/ 2046313 h 4687251"/>
              <a:gd name="connsiteX14946" fmla="*/ 7093841 w 8079933"/>
              <a:gd name="connsiteY14946" fmla="*/ 2044905 h 4687251"/>
              <a:gd name="connsiteX14947" fmla="*/ 7095360 w 8079933"/>
              <a:gd name="connsiteY14947" fmla="*/ 2043607 h 4687251"/>
              <a:gd name="connsiteX14948" fmla="*/ 7095035 w 8079933"/>
              <a:gd name="connsiteY14948" fmla="*/ 2040142 h 4687251"/>
              <a:gd name="connsiteX14949" fmla="*/ 7092973 w 8079933"/>
              <a:gd name="connsiteY14949" fmla="*/ 2037868 h 4687251"/>
              <a:gd name="connsiteX14950" fmla="*/ 7093732 w 8079933"/>
              <a:gd name="connsiteY14950" fmla="*/ 2029423 h 4687251"/>
              <a:gd name="connsiteX14951" fmla="*/ 7095686 w 8079933"/>
              <a:gd name="connsiteY14951" fmla="*/ 2027258 h 4687251"/>
              <a:gd name="connsiteX14952" fmla="*/ 7095794 w 8079933"/>
              <a:gd name="connsiteY14952" fmla="*/ 2024118 h 4687251"/>
              <a:gd name="connsiteX14953" fmla="*/ 7101328 w 8079933"/>
              <a:gd name="connsiteY14953" fmla="*/ 2018487 h 4687251"/>
              <a:gd name="connsiteX14954" fmla="*/ 7102088 w 8079933"/>
              <a:gd name="connsiteY14954" fmla="*/ 2013074 h 4687251"/>
              <a:gd name="connsiteX14955" fmla="*/ 7101328 w 8079933"/>
              <a:gd name="connsiteY14955" fmla="*/ 2001814 h 4687251"/>
              <a:gd name="connsiteX14956" fmla="*/ 7097965 w 8079933"/>
              <a:gd name="connsiteY14956" fmla="*/ 1996075 h 4687251"/>
              <a:gd name="connsiteX14957" fmla="*/ 7098941 w 8079933"/>
              <a:gd name="connsiteY14957" fmla="*/ 1991528 h 4687251"/>
              <a:gd name="connsiteX14958" fmla="*/ 7104041 w 8079933"/>
              <a:gd name="connsiteY14958" fmla="*/ 1989579 h 4687251"/>
              <a:gd name="connsiteX14959" fmla="*/ 7107948 w 8079933"/>
              <a:gd name="connsiteY14959" fmla="*/ 1985465 h 4687251"/>
              <a:gd name="connsiteX14960" fmla="*/ 7113482 w 8079933"/>
              <a:gd name="connsiteY14960" fmla="*/ 1984166 h 4687251"/>
              <a:gd name="connsiteX14961" fmla="*/ 7113808 w 8079933"/>
              <a:gd name="connsiteY14961" fmla="*/ 1985465 h 4687251"/>
              <a:gd name="connsiteX14962" fmla="*/ 7110878 w 8079933"/>
              <a:gd name="connsiteY14962" fmla="*/ 1988389 h 4687251"/>
              <a:gd name="connsiteX14963" fmla="*/ 7111312 w 8079933"/>
              <a:gd name="connsiteY14963" fmla="*/ 1990879 h 4687251"/>
              <a:gd name="connsiteX14964" fmla="*/ 7108816 w 8079933"/>
              <a:gd name="connsiteY14964" fmla="*/ 1995318 h 4687251"/>
              <a:gd name="connsiteX14965" fmla="*/ 7106212 w 8079933"/>
              <a:gd name="connsiteY14965" fmla="*/ 1996509 h 4687251"/>
              <a:gd name="connsiteX14966" fmla="*/ 7106103 w 8079933"/>
              <a:gd name="connsiteY14966" fmla="*/ 1999432 h 4687251"/>
              <a:gd name="connsiteX14967" fmla="*/ 7111746 w 8079933"/>
              <a:gd name="connsiteY14967" fmla="*/ 2006361 h 4687251"/>
              <a:gd name="connsiteX14968" fmla="*/ 7117498 w 8079933"/>
              <a:gd name="connsiteY14968" fmla="*/ 2009609 h 4687251"/>
              <a:gd name="connsiteX14969" fmla="*/ 7119776 w 8079933"/>
              <a:gd name="connsiteY14969" fmla="*/ 2005062 h 4687251"/>
              <a:gd name="connsiteX14970" fmla="*/ 7124226 w 8079933"/>
              <a:gd name="connsiteY14970" fmla="*/ 2003763 h 4687251"/>
              <a:gd name="connsiteX14971" fmla="*/ 7135620 w 8079933"/>
              <a:gd name="connsiteY14971" fmla="*/ 1996942 h 4687251"/>
              <a:gd name="connsiteX14972" fmla="*/ 7141371 w 8079933"/>
              <a:gd name="connsiteY14972" fmla="*/ 1991528 h 4687251"/>
              <a:gd name="connsiteX14973" fmla="*/ 7142239 w 8079933"/>
              <a:gd name="connsiteY14973" fmla="*/ 1986765 h 4687251"/>
              <a:gd name="connsiteX14974" fmla="*/ 7145169 w 8079933"/>
              <a:gd name="connsiteY14974" fmla="*/ 1982109 h 4687251"/>
              <a:gd name="connsiteX14975" fmla="*/ 7144736 w 8079933"/>
              <a:gd name="connsiteY14975" fmla="*/ 1974205 h 4687251"/>
              <a:gd name="connsiteX14976" fmla="*/ 7147339 w 8079933"/>
              <a:gd name="connsiteY14976" fmla="*/ 1967167 h 4687251"/>
              <a:gd name="connsiteX14977" fmla="*/ 7153200 w 8079933"/>
              <a:gd name="connsiteY14977" fmla="*/ 1964136 h 4687251"/>
              <a:gd name="connsiteX14978" fmla="*/ 7155153 w 8079933"/>
              <a:gd name="connsiteY14978" fmla="*/ 1956882 h 4687251"/>
              <a:gd name="connsiteX14979" fmla="*/ 7153959 w 8079933"/>
              <a:gd name="connsiteY14979" fmla="*/ 1950494 h 4687251"/>
              <a:gd name="connsiteX14980" fmla="*/ 7158083 w 8079933"/>
              <a:gd name="connsiteY14980" fmla="*/ 1933820 h 4687251"/>
              <a:gd name="connsiteX14981" fmla="*/ 7157540 w 8079933"/>
              <a:gd name="connsiteY14981" fmla="*/ 1922452 h 4687251"/>
              <a:gd name="connsiteX14982" fmla="*/ 7158516 w 8079933"/>
              <a:gd name="connsiteY14982" fmla="*/ 1916064 h 4687251"/>
              <a:gd name="connsiteX14983" fmla="*/ 7156780 w 8079933"/>
              <a:gd name="connsiteY14983" fmla="*/ 1904588 h 4687251"/>
              <a:gd name="connsiteX14984" fmla="*/ 7152223 w 8079933"/>
              <a:gd name="connsiteY14984" fmla="*/ 1894085 h 4687251"/>
              <a:gd name="connsiteX14985" fmla="*/ 7149075 w 8079933"/>
              <a:gd name="connsiteY14985" fmla="*/ 1897550 h 4687251"/>
              <a:gd name="connsiteX14986" fmla="*/ 7145495 w 8079933"/>
              <a:gd name="connsiteY14986" fmla="*/ 1898415 h 4687251"/>
              <a:gd name="connsiteX14987" fmla="*/ 7142023 w 8079933"/>
              <a:gd name="connsiteY14987" fmla="*/ 1894085 h 4687251"/>
              <a:gd name="connsiteX14988" fmla="*/ 7142782 w 8079933"/>
              <a:gd name="connsiteY14988" fmla="*/ 1891486 h 4687251"/>
              <a:gd name="connsiteX14989" fmla="*/ 7146472 w 8079933"/>
              <a:gd name="connsiteY14989" fmla="*/ 1892244 h 4687251"/>
              <a:gd name="connsiteX14990" fmla="*/ 7149727 w 8079933"/>
              <a:gd name="connsiteY14990" fmla="*/ 1890187 h 4687251"/>
              <a:gd name="connsiteX14991" fmla="*/ 7151788 w 8079933"/>
              <a:gd name="connsiteY14991" fmla="*/ 1883691 h 4687251"/>
              <a:gd name="connsiteX14992" fmla="*/ 7149727 w 8079933"/>
              <a:gd name="connsiteY14992" fmla="*/ 1880118 h 4687251"/>
              <a:gd name="connsiteX14993" fmla="*/ 7143867 w 8079933"/>
              <a:gd name="connsiteY14993" fmla="*/ 1874055 h 4687251"/>
              <a:gd name="connsiteX14994" fmla="*/ 7143759 w 8079933"/>
              <a:gd name="connsiteY14994" fmla="*/ 1871348 h 4687251"/>
              <a:gd name="connsiteX14995" fmla="*/ 7146580 w 8079933"/>
              <a:gd name="connsiteY14995" fmla="*/ 1867125 h 4687251"/>
              <a:gd name="connsiteX14996" fmla="*/ 7149402 w 8079933"/>
              <a:gd name="connsiteY14996" fmla="*/ 1866043 h 4687251"/>
              <a:gd name="connsiteX14997" fmla="*/ 7149293 w 8079933"/>
              <a:gd name="connsiteY14997" fmla="*/ 1861171 h 4687251"/>
              <a:gd name="connsiteX14998" fmla="*/ 7147556 w 8079933"/>
              <a:gd name="connsiteY14998" fmla="*/ 1854242 h 4687251"/>
              <a:gd name="connsiteX14999" fmla="*/ 7148425 w 8079933"/>
              <a:gd name="connsiteY14999" fmla="*/ 1850452 h 4687251"/>
              <a:gd name="connsiteX15000" fmla="*/ 7151029 w 8079933"/>
              <a:gd name="connsiteY15000" fmla="*/ 1851859 h 4687251"/>
              <a:gd name="connsiteX15001" fmla="*/ 7153959 w 8079933"/>
              <a:gd name="connsiteY15001" fmla="*/ 1850885 h 4687251"/>
              <a:gd name="connsiteX15002" fmla="*/ 7155478 w 8079933"/>
              <a:gd name="connsiteY15002" fmla="*/ 1853375 h 4687251"/>
              <a:gd name="connsiteX15003" fmla="*/ 7156238 w 8079933"/>
              <a:gd name="connsiteY15003" fmla="*/ 1858139 h 4687251"/>
              <a:gd name="connsiteX15004" fmla="*/ 7156998 w 8079933"/>
              <a:gd name="connsiteY15004" fmla="*/ 1862362 h 4687251"/>
              <a:gd name="connsiteX15005" fmla="*/ 7160362 w 8079933"/>
              <a:gd name="connsiteY15005" fmla="*/ 1863661 h 4687251"/>
              <a:gd name="connsiteX15006" fmla="*/ 7162532 w 8079933"/>
              <a:gd name="connsiteY15006" fmla="*/ 1861387 h 4687251"/>
              <a:gd name="connsiteX15007" fmla="*/ 7161121 w 8079933"/>
              <a:gd name="connsiteY15007" fmla="*/ 1855757 h 4687251"/>
              <a:gd name="connsiteX15008" fmla="*/ 7162206 w 8079933"/>
              <a:gd name="connsiteY15008" fmla="*/ 1855757 h 4687251"/>
              <a:gd name="connsiteX15009" fmla="*/ 7165245 w 8079933"/>
              <a:gd name="connsiteY15009" fmla="*/ 1858139 h 4687251"/>
              <a:gd name="connsiteX15010" fmla="*/ 7168175 w 8079933"/>
              <a:gd name="connsiteY15010" fmla="*/ 1856299 h 4687251"/>
              <a:gd name="connsiteX15011" fmla="*/ 7169911 w 8079933"/>
              <a:gd name="connsiteY15011" fmla="*/ 1851968 h 4687251"/>
              <a:gd name="connsiteX15012" fmla="*/ 7167524 w 8079933"/>
              <a:gd name="connsiteY15012" fmla="*/ 1846013 h 4687251"/>
              <a:gd name="connsiteX15013" fmla="*/ 7162206 w 8079933"/>
              <a:gd name="connsiteY15013" fmla="*/ 1850777 h 4687251"/>
              <a:gd name="connsiteX15014" fmla="*/ 7159927 w 8079933"/>
              <a:gd name="connsiteY15014" fmla="*/ 1851751 h 4687251"/>
              <a:gd name="connsiteX15015" fmla="*/ 7157866 w 8079933"/>
              <a:gd name="connsiteY15015" fmla="*/ 1849803 h 4687251"/>
              <a:gd name="connsiteX15016" fmla="*/ 7157757 w 8079933"/>
              <a:gd name="connsiteY15016" fmla="*/ 1845797 h 4687251"/>
              <a:gd name="connsiteX15017" fmla="*/ 7160145 w 8079933"/>
              <a:gd name="connsiteY15017" fmla="*/ 1839950 h 4687251"/>
              <a:gd name="connsiteX15018" fmla="*/ 5253398 w 8079933"/>
              <a:gd name="connsiteY15018" fmla="*/ 1837568 h 4687251"/>
              <a:gd name="connsiteX15019" fmla="*/ 5190242 w 8079933"/>
              <a:gd name="connsiteY15019" fmla="*/ 1849478 h 4687251"/>
              <a:gd name="connsiteX15020" fmla="*/ 5209666 w 8079933"/>
              <a:gd name="connsiteY15020" fmla="*/ 1963162 h 4687251"/>
              <a:gd name="connsiteX15021" fmla="*/ 5206194 w 8079933"/>
              <a:gd name="connsiteY15021" fmla="*/ 1963486 h 4687251"/>
              <a:gd name="connsiteX15022" fmla="*/ 5196536 w 8079933"/>
              <a:gd name="connsiteY15022" fmla="*/ 1965543 h 4687251"/>
              <a:gd name="connsiteX15023" fmla="*/ 5196537 w 8079933"/>
              <a:gd name="connsiteY15023" fmla="*/ 1965544 h 4687251"/>
              <a:gd name="connsiteX15024" fmla="*/ 5206195 w 8079933"/>
              <a:gd name="connsiteY15024" fmla="*/ 1963487 h 4687251"/>
              <a:gd name="connsiteX15025" fmla="*/ 5209667 w 8079933"/>
              <a:gd name="connsiteY15025" fmla="*/ 1963162 h 4687251"/>
              <a:gd name="connsiteX15026" fmla="*/ 5220627 w 8079933"/>
              <a:gd name="connsiteY15026" fmla="*/ 1962079 h 4687251"/>
              <a:gd name="connsiteX15027" fmla="*/ 5230611 w 8079933"/>
              <a:gd name="connsiteY15027" fmla="*/ 1963812 h 4687251"/>
              <a:gd name="connsiteX15028" fmla="*/ 5233107 w 8079933"/>
              <a:gd name="connsiteY15028" fmla="*/ 1958290 h 4687251"/>
              <a:gd name="connsiteX15029" fmla="*/ 5230611 w 8079933"/>
              <a:gd name="connsiteY15029" fmla="*/ 1963811 h 4687251"/>
              <a:gd name="connsiteX15030" fmla="*/ 5220627 w 8079933"/>
              <a:gd name="connsiteY15030" fmla="*/ 1962079 h 4687251"/>
              <a:gd name="connsiteX15031" fmla="*/ 5209667 w 8079933"/>
              <a:gd name="connsiteY15031" fmla="*/ 1963162 h 4687251"/>
              <a:gd name="connsiteX15032" fmla="*/ 5190243 w 8079933"/>
              <a:gd name="connsiteY15032" fmla="*/ 1849478 h 4687251"/>
              <a:gd name="connsiteX15033" fmla="*/ 5253398 w 8079933"/>
              <a:gd name="connsiteY15033" fmla="*/ 1837568 h 4687251"/>
              <a:gd name="connsiteX15034" fmla="*/ 4302613 w 8079933"/>
              <a:gd name="connsiteY15034" fmla="*/ 1837397 h 4687251"/>
              <a:gd name="connsiteX15035" fmla="*/ 4302682 w 8079933"/>
              <a:gd name="connsiteY15035" fmla="*/ 1838092 h 4687251"/>
              <a:gd name="connsiteX15036" fmla="*/ 4302684 w 8079933"/>
              <a:gd name="connsiteY15036" fmla="*/ 1838109 h 4687251"/>
              <a:gd name="connsiteX15037" fmla="*/ 5744111 w 8079933"/>
              <a:gd name="connsiteY15037" fmla="*/ 1837026 h 4687251"/>
              <a:gd name="connsiteX15038" fmla="*/ 5744110 w 8079933"/>
              <a:gd name="connsiteY15038" fmla="*/ 1837027 h 4687251"/>
              <a:gd name="connsiteX15039" fmla="*/ 5746389 w 8079933"/>
              <a:gd name="connsiteY15039" fmla="*/ 1844064 h 4687251"/>
              <a:gd name="connsiteX15040" fmla="*/ 5746715 w 8079933"/>
              <a:gd name="connsiteY15040" fmla="*/ 1847745 h 4687251"/>
              <a:gd name="connsiteX15041" fmla="*/ 5748776 w 8079933"/>
              <a:gd name="connsiteY15041" fmla="*/ 1850777 h 4687251"/>
              <a:gd name="connsiteX15042" fmla="*/ 5749645 w 8079933"/>
              <a:gd name="connsiteY15042" fmla="*/ 1855757 h 4687251"/>
              <a:gd name="connsiteX15043" fmla="*/ 5754094 w 8079933"/>
              <a:gd name="connsiteY15043" fmla="*/ 1863012 h 4687251"/>
              <a:gd name="connsiteX15044" fmla="*/ 5754962 w 8079933"/>
              <a:gd name="connsiteY15044" fmla="*/ 1867018 h 4687251"/>
              <a:gd name="connsiteX15045" fmla="*/ 5760171 w 8079933"/>
              <a:gd name="connsiteY15045" fmla="*/ 1870698 h 4687251"/>
              <a:gd name="connsiteX15046" fmla="*/ 5762015 w 8079933"/>
              <a:gd name="connsiteY15046" fmla="*/ 1880551 h 4687251"/>
              <a:gd name="connsiteX15047" fmla="*/ 5759930 w 8079933"/>
              <a:gd name="connsiteY15047" fmla="*/ 1882401 h 4687251"/>
              <a:gd name="connsiteX15048" fmla="*/ 5762016 w 8079933"/>
              <a:gd name="connsiteY15048" fmla="*/ 1880551 h 4687251"/>
              <a:gd name="connsiteX15049" fmla="*/ 5760172 w 8079933"/>
              <a:gd name="connsiteY15049" fmla="*/ 1870698 h 4687251"/>
              <a:gd name="connsiteX15050" fmla="*/ 5754963 w 8079933"/>
              <a:gd name="connsiteY15050" fmla="*/ 1867017 h 4687251"/>
              <a:gd name="connsiteX15051" fmla="*/ 5754094 w 8079933"/>
              <a:gd name="connsiteY15051" fmla="*/ 1863011 h 4687251"/>
              <a:gd name="connsiteX15052" fmla="*/ 5749645 w 8079933"/>
              <a:gd name="connsiteY15052" fmla="*/ 1855757 h 4687251"/>
              <a:gd name="connsiteX15053" fmla="*/ 5748778 w 8079933"/>
              <a:gd name="connsiteY15053" fmla="*/ 1850776 h 4687251"/>
              <a:gd name="connsiteX15054" fmla="*/ 5746715 w 8079933"/>
              <a:gd name="connsiteY15054" fmla="*/ 1847745 h 4687251"/>
              <a:gd name="connsiteX15055" fmla="*/ 5746390 w 8079933"/>
              <a:gd name="connsiteY15055" fmla="*/ 1844064 h 4687251"/>
              <a:gd name="connsiteX15056" fmla="*/ 6095271 w 8079933"/>
              <a:gd name="connsiteY15056" fmla="*/ 1836810 h 4687251"/>
              <a:gd name="connsiteX15057" fmla="*/ 6095596 w 8079933"/>
              <a:gd name="connsiteY15057" fmla="*/ 1839841 h 4687251"/>
              <a:gd name="connsiteX15058" fmla="*/ 6097134 w 8079933"/>
              <a:gd name="connsiteY15058" fmla="*/ 1843558 h 4687251"/>
              <a:gd name="connsiteX15059" fmla="*/ 6095597 w 8079933"/>
              <a:gd name="connsiteY15059" fmla="*/ 1839842 h 4687251"/>
              <a:gd name="connsiteX15060" fmla="*/ 6095272 w 8079933"/>
              <a:gd name="connsiteY15060" fmla="*/ 1836811 h 4687251"/>
              <a:gd name="connsiteX15061" fmla="*/ 4137306 w 8079933"/>
              <a:gd name="connsiteY15061" fmla="*/ 1835727 h 4687251"/>
              <a:gd name="connsiteX15062" fmla="*/ 4137306 w 8079933"/>
              <a:gd name="connsiteY15062" fmla="*/ 1835728 h 4687251"/>
              <a:gd name="connsiteX15063" fmla="*/ 4147723 w 8079933"/>
              <a:gd name="connsiteY15063" fmla="*/ 1838543 h 4687251"/>
              <a:gd name="connsiteX15064" fmla="*/ 4151846 w 8079933"/>
              <a:gd name="connsiteY15064" fmla="*/ 1838110 h 4687251"/>
              <a:gd name="connsiteX15065" fmla="*/ 4155970 w 8079933"/>
              <a:gd name="connsiteY15065" fmla="*/ 1841575 h 4687251"/>
              <a:gd name="connsiteX15066" fmla="*/ 4155970 w 8079933"/>
              <a:gd name="connsiteY15066" fmla="*/ 1841573 h 4687251"/>
              <a:gd name="connsiteX15067" fmla="*/ 4151847 w 8079933"/>
              <a:gd name="connsiteY15067" fmla="*/ 1838109 h 4687251"/>
              <a:gd name="connsiteX15068" fmla="*/ 4147723 w 8079933"/>
              <a:gd name="connsiteY15068" fmla="*/ 1838542 h 4687251"/>
              <a:gd name="connsiteX15069" fmla="*/ 4988835 w 8079933"/>
              <a:gd name="connsiteY15069" fmla="*/ 1834537 h 4687251"/>
              <a:gd name="connsiteX15070" fmla="*/ 4988835 w 8079933"/>
              <a:gd name="connsiteY15070" fmla="*/ 1837569 h 4687251"/>
              <a:gd name="connsiteX15071" fmla="*/ 4986665 w 8079933"/>
              <a:gd name="connsiteY15071" fmla="*/ 1841358 h 4687251"/>
              <a:gd name="connsiteX15072" fmla="*/ 4985688 w 8079933"/>
              <a:gd name="connsiteY15072" fmla="*/ 1846664 h 4687251"/>
              <a:gd name="connsiteX15073" fmla="*/ 4983084 w 8079933"/>
              <a:gd name="connsiteY15073" fmla="*/ 1848395 h 4687251"/>
              <a:gd name="connsiteX15074" fmla="*/ 4981564 w 8079933"/>
              <a:gd name="connsiteY15074" fmla="*/ 1853376 h 4687251"/>
              <a:gd name="connsiteX15075" fmla="*/ 4979611 w 8079933"/>
              <a:gd name="connsiteY15075" fmla="*/ 1857166 h 4687251"/>
              <a:gd name="connsiteX15076" fmla="*/ 4979611 w 8079933"/>
              <a:gd name="connsiteY15076" fmla="*/ 1865936 h 4687251"/>
              <a:gd name="connsiteX15077" fmla="*/ 4977006 w 8079933"/>
              <a:gd name="connsiteY15077" fmla="*/ 1867776 h 4687251"/>
              <a:gd name="connsiteX15078" fmla="*/ 4975488 w 8079933"/>
              <a:gd name="connsiteY15078" fmla="*/ 1872107 h 4687251"/>
              <a:gd name="connsiteX15079" fmla="*/ 4977766 w 8079933"/>
              <a:gd name="connsiteY15079" fmla="*/ 1880335 h 4687251"/>
              <a:gd name="connsiteX15080" fmla="*/ 4981781 w 8079933"/>
              <a:gd name="connsiteY15080" fmla="*/ 1880335 h 4687251"/>
              <a:gd name="connsiteX15081" fmla="*/ 4982691 w 8079933"/>
              <a:gd name="connsiteY15081" fmla="*/ 1880067 h 4687251"/>
              <a:gd name="connsiteX15082" fmla="*/ 4980696 w 8079933"/>
              <a:gd name="connsiteY15082" fmla="*/ 1872864 h 4687251"/>
              <a:gd name="connsiteX15083" fmla="*/ 4982215 w 8079933"/>
              <a:gd name="connsiteY15083" fmla="*/ 1868533 h 4687251"/>
              <a:gd name="connsiteX15084" fmla="*/ 4984819 w 8079933"/>
              <a:gd name="connsiteY15084" fmla="*/ 1866693 h 4687251"/>
              <a:gd name="connsiteX15085" fmla="*/ 4984819 w 8079933"/>
              <a:gd name="connsiteY15085" fmla="*/ 1857923 h 4687251"/>
              <a:gd name="connsiteX15086" fmla="*/ 4986772 w 8079933"/>
              <a:gd name="connsiteY15086" fmla="*/ 1854133 h 4687251"/>
              <a:gd name="connsiteX15087" fmla="*/ 4988292 w 8079933"/>
              <a:gd name="connsiteY15087" fmla="*/ 1849153 h 4687251"/>
              <a:gd name="connsiteX15088" fmla="*/ 4990897 w 8079933"/>
              <a:gd name="connsiteY15088" fmla="*/ 1847421 h 4687251"/>
              <a:gd name="connsiteX15089" fmla="*/ 4991873 w 8079933"/>
              <a:gd name="connsiteY15089" fmla="*/ 1842115 h 4687251"/>
              <a:gd name="connsiteX15090" fmla="*/ 4994044 w 8079933"/>
              <a:gd name="connsiteY15090" fmla="*/ 1838326 h 4687251"/>
              <a:gd name="connsiteX15091" fmla="*/ 4994044 w 8079933"/>
              <a:gd name="connsiteY15091" fmla="*/ 1837052 h 4687251"/>
              <a:gd name="connsiteX15092" fmla="*/ 4993502 w 8079933"/>
              <a:gd name="connsiteY15092" fmla="*/ 1837352 h 4687251"/>
              <a:gd name="connsiteX15093" fmla="*/ 4991222 w 8079933"/>
              <a:gd name="connsiteY15093" fmla="*/ 1835403 h 4687251"/>
              <a:gd name="connsiteX15094" fmla="*/ 4073715 w 8079933"/>
              <a:gd name="connsiteY15094" fmla="*/ 1833454 h 4687251"/>
              <a:gd name="connsiteX15095" fmla="*/ 4080768 w 8079933"/>
              <a:gd name="connsiteY15095" fmla="*/ 1833778 h 4687251"/>
              <a:gd name="connsiteX15096" fmla="*/ 4082952 w 8079933"/>
              <a:gd name="connsiteY15096" fmla="*/ 1837840 h 4687251"/>
              <a:gd name="connsiteX15097" fmla="*/ 4080769 w 8079933"/>
              <a:gd name="connsiteY15097" fmla="*/ 1833778 h 4687251"/>
              <a:gd name="connsiteX15098" fmla="*/ 4117664 w 8079933"/>
              <a:gd name="connsiteY15098" fmla="*/ 1833346 h 4687251"/>
              <a:gd name="connsiteX15099" fmla="*/ 4117664 w 8079933"/>
              <a:gd name="connsiteY15099" fmla="*/ 1833346 h 4687251"/>
              <a:gd name="connsiteX15100" fmla="*/ 4123198 w 8079933"/>
              <a:gd name="connsiteY15100" fmla="*/ 1836811 h 4687251"/>
              <a:gd name="connsiteX15101" fmla="*/ 4122651 w 8079933"/>
              <a:gd name="connsiteY15101" fmla="*/ 1841453 h 4687251"/>
              <a:gd name="connsiteX15102" fmla="*/ 4123198 w 8079933"/>
              <a:gd name="connsiteY15102" fmla="*/ 1836810 h 4687251"/>
              <a:gd name="connsiteX15103" fmla="*/ 4166387 w 8079933"/>
              <a:gd name="connsiteY15103" fmla="*/ 1830530 h 4687251"/>
              <a:gd name="connsiteX15104" fmla="*/ 4157056 w 8079933"/>
              <a:gd name="connsiteY15104" fmla="*/ 1832587 h 4687251"/>
              <a:gd name="connsiteX15105" fmla="*/ 4157056 w 8079933"/>
              <a:gd name="connsiteY15105" fmla="*/ 1832587 h 4687251"/>
              <a:gd name="connsiteX15106" fmla="*/ 4166388 w 8079933"/>
              <a:gd name="connsiteY15106" fmla="*/ 1830531 h 4687251"/>
              <a:gd name="connsiteX15107" fmla="*/ 5011190 w 8079933"/>
              <a:gd name="connsiteY15107" fmla="*/ 1827933 h 4687251"/>
              <a:gd name="connsiteX15108" fmla="*/ 5008323 w 8079933"/>
              <a:gd name="connsiteY15108" fmla="*/ 1828690 h 4687251"/>
              <a:gd name="connsiteX15109" fmla="*/ 5010538 w 8079933"/>
              <a:gd name="connsiteY15109" fmla="*/ 1828690 h 4687251"/>
              <a:gd name="connsiteX15110" fmla="*/ 5012709 w 8079933"/>
              <a:gd name="connsiteY15110" fmla="*/ 1829664 h 4687251"/>
              <a:gd name="connsiteX15111" fmla="*/ 5012879 w 8079933"/>
              <a:gd name="connsiteY15111" fmla="*/ 1829619 h 4687251"/>
              <a:gd name="connsiteX15112" fmla="*/ 5003051 w 8079933"/>
              <a:gd name="connsiteY15112" fmla="*/ 1827933 h 4687251"/>
              <a:gd name="connsiteX15113" fmla="*/ 5006524 w 8079933"/>
              <a:gd name="connsiteY15113" fmla="*/ 1829232 h 4687251"/>
              <a:gd name="connsiteX15114" fmla="*/ 5007174 w 8079933"/>
              <a:gd name="connsiteY15114" fmla="*/ 1831181 h 4687251"/>
              <a:gd name="connsiteX15115" fmla="*/ 5003919 w 8079933"/>
              <a:gd name="connsiteY15115" fmla="*/ 1833563 h 4687251"/>
              <a:gd name="connsiteX15116" fmla="*/ 5000772 w 8079933"/>
              <a:gd name="connsiteY15116" fmla="*/ 1833563 h 4687251"/>
              <a:gd name="connsiteX15117" fmla="*/ 4998493 w 8079933"/>
              <a:gd name="connsiteY15117" fmla="*/ 1835403 h 4687251"/>
              <a:gd name="connsiteX15118" fmla="*/ 4996540 w 8079933"/>
              <a:gd name="connsiteY15118" fmla="*/ 1833455 h 4687251"/>
              <a:gd name="connsiteX15119" fmla="*/ 4995611 w 8079933"/>
              <a:gd name="connsiteY15119" fmla="*/ 1835864 h 4687251"/>
              <a:gd name="connsiteX15120" fmla="*/ 4996431 w 8079933"/>
              <a:gd name="connsiteY15120" fmla="*/ 1836161 h 4687251"/>
              <a:gd name="connsiteX15121" fmla="*/ 4998710 w 8079933"/>
              <a:gd name="connsiteY15121" fmla="*/ 1838109 h 4687251"/>
              <a:gd name="connsiteX15122" fmla="*/ 5000663 w 8079933"/>
              <a:gd name="connsiteY15122" fmla="*/ 1837027 h 4687251"/>
              <a:gd name="connsiteX15123" fmla="*/ 5001748 w 8079933"/>
              <a:gd name="connsiteY15123" fmla="*/ 1834211 h 4687251"/>
              <a:gd name="connsiteX15124" fmla="*/ 5003701 w 8079933"/>
              <a:gd name="connsiteY15124" fmla="*/ 1836161 h 4687251"/>
              <a:gd name="connsiteX15125" fmla="*/ 5005981 w 8079933"/>
              <a:gd name="connsiteY15125" fmla="*/ 1834320 h 4687251"/>
              <a:gd name="connsiteX15126" fmla="*/ 5009127 w 8079933"/>
              <a:gd name="connsiteY15126" fmla="*/ 1834320 h 4687251"/>
              <a:gd name="connsiteX15127" fmla="*/ 5012383 w 8079933"/>
              <a:gd name="connsiteY15127" fmla="*/ 1831938 h 4687251"/>
              <a:gd name="connsiteX15128" fmla="*/ 5011732 w 8079933"/>
              <a:gd name="connsiteY15128" fmla="*/ 1829989 h 4687251"/>
              <a:gd name="connsiteX15129" fmla="*/ 5008286 w 8079933"/>
              <a:gd name="connsiteY15129" fmla="*/ 1828700 h 4687251"/>
              <a:gd name="connsiteX15130" fmla="*/ 5007501 w 8079933"/>
              <a:gd name="connsiteY15130" fmla="*/ 1828907 h 4687251"/>
              <a:gd name="connsiteX15131" fmla="*/ 5005330 w 8079933"/>
              <a:gd name="connsiteY15131" fmla="*/ 1827933 h 4687251"/>
              <a:gd name="connsiteX15132" fmla="*/ 2363173 w 8079933"/>
              <a:gd name="connsiteY15132" fmla="*/ 1825488 h 4687251"/>
              <a:gd name="connsiteX15133" fmla="*/ 2362081 w 8079933"/>
              <a:gd name="connsiteY15133" fmla="*/ 1826199 h 4687251"/>
              <a:gd name="connsiteX15134" fmla="*/ 2362082 w 8079933"/>
              <a:gd name="connsiteY15134" fmla="*/ 1826199 h 4687251"/>
              <a:gd name="connsiteX15135" fmla="*/ 2354810 w 8079933"/>
              <a:gd name="connsiteY15135" fmla="*/ 1825334 h 4687251"/>
              <a:gd name="connsiteX15136" fmla="*/ 2352640 w 8079933"/>
              <a:gd name="connsiteY15136" fmla="*/ 1826958 h 4687251"/>
              <a:gd name="connsiteX15137" fmla="*/ 2352641 w 8079933"/>
              <a:gd name="connsiteY15137" fmla="*/ 1826958 h 4687251"/>
              <a:gd name="connsiteX15138" fmla="*/ 2354811 w 8079933"/>
              <a:gd name="connsiteY15138" fmla="*/ 1825334 h 4687251"/>
              <a:gd name="connsiteX15139" fmla="*/ 5731307 w 8079933"/>
              <a:gd name="connsiteY15139" fmla="*/ 1824683 h 4687251"/>
              <a:gd name="connsiteX15140" fmla="*/ 5731306 w 8079933"/>
              <a:gd name="connsiteY15140" fmla="*/ 1824684 h 4687251"/>
              <a:gd name="connsiteX15141" fmla="*/ 5731197 w 8079933"/>
              <a:gd name="connsiteY15141" fmla="*/ 1828040 h 4687251"/>
              <a:gd name="connsiteX15142" fmla="*/ 5735212 w 8079933"/>
              <a:gd name="connsiteY15142" fmla="*/ 1831180 h 4687251"/>
              <a:gd name="connsiteX15143" fmla="*/ 5741831 w 8079933"/>
              <a:gd name="connsiteY15143" fmla="*/ 1830747 h 4687251"/>
              <a:gd name="connsiteX15144" fmla="*/ 5747366 w 8079933"/>
              <a:gd name="connsiteY15144" fmla="*/ 1831505 h 4687251"/>
              <a:gd name="connsiteX15145" fmla="*/ 5747475 w 8079933"/>
              <a:gd name="connsiteY15145" fmla="*/ 1833670 h 4687251"/>
              <a:gd name="connsiteX15146" fmla="*/ 5747367 w 8079933"/>
              <a:gd name="connsiteY15146" fmla="*/ 1831504 h 4687251"/>
              <a:gd name="connsiteX15147" fmla="*/ 5741832 w 8079933"/>
              <a:gd name="connsiteY15147" fmla="*/ 1830746 h 4687251"/>
              <a:gd name="connsiteX15148" fmla="*/ 5735213 w 8079933"/>
              <a:gd name="connsiteY15148" fmla="*/ 1831180 h 4687251"/>
              <a:gd name="connsiteX15149" fmla="*/ 5731198 w 8079933"/>
              <a:gd name="connsiteY15149" fmla="*/ 1828039 h 4687251"/>
              <a:gd name="connsiteX15150" fmla="*/ 6084202 w 8079933"/>
              <a:gd name="connsiteY15150" fmla="*/ 1824576 h 4687251"/>
              <a:gd name="connsiteX15151" fmla="*/ 6084853 w 8079933"/>
              <a:gd name="connsiteY15151" fmla="*/ 1828798 h 4687251"/>
              <a:gd name="connsiteX15152" fmla="*/ 6085830 w 8079933"/>
              <a:gd name="connsiteY15152" fmla="*/ 1831504 h 4687251"/>
              <a:gd name="connsiteX15153" fmla="*/ 6085831 w 8079933"/>
              <a:gd name="connsiteY15153" fmla="*/ 1831505 h 4687251"/>
              <a:gd name="connsiteX15154" fmla="*/ 6084854 w 8079933"/>
              <a:gd name="connsiteY15154" fmla="*/ 1828798 h 4687251"/>
              <a:gd name="connsiteX15155" fmla="*/ 6084203 w 8079933"/>
              <a:gd name="connsiteY15155" fmla="*/ 1824576 h 4687251"/>
              <a:gd name="connsiteX15156" fmla="*/ 4559109 w 8079933"/>
              <a:gd name="connsiteY15156" fmla="*/ 1824034 h 4687251"/>
              <a:gd name="connsiteX15157" fmla="*/ 4558024 w 8079933"/>
              <a:gd name="connsiteY15157" fmla="*/ 1846445 h 4687251"/>
              <a:gd name="connsiteX15158" fmla="*/ 4558024 w 8079933"/>
              <a:gd name="connsiteY15158" fmla="*/ 1846446 h 4687251"/>
              <a:gd name="connsiteX15159" fmla="*/ 4559110 w 8079933"/>
              <a:gd name="connsiteY15159" fmla="*/ 1824034 h 4687251"/>
              <a:gd name="connsiteX15160" fmla="*/ 4296716 w 8079933"/>
              <a:gd name="connsiteY15160" fmla="*/ 1821977 h 4687251"/>
              <a:gd name="connsiteX15161" fmla="*/ 4295631 w 8079933"/>
              <a:gd name="connsiteY15161" fmla="*/ 1822301 h 4687251"/>
              <a:gd name="connsiteX15162" fmla="*/ 4289771 w 8079933"/>
              <a:gd name="connsiteY15162" fmla="*/ 1824250 h 4687251"/>
              <a:gd name="connsiteX15163" fmla="*/ 4279353 w 8079933"/>
              <a:gd name="connsiteY15163" fmla="*/ 1830097 h 4687251"/>
              <a:gd name="connsiteX15164" fmla="*/ 4276857 w 8079933"/>
              <a:gd name="connsiteY15164" fmla="*/ 1829772 h 4687251"/>
              <a:gd name="connsiteX15165" fmla="*/ 4273385 w 8079933"/>
              <a:gd name="connsiteY15165" fmla="*/ 1830205 h 4687251"/>
              <a:gd name="connsiteX15166" fmla="*/ 4267959 w 8079933"/>
              <a:gd name="connsiteY15166" fmla="*/ 1832695 h 4687251"/>
              <a:gd name="connsiteX15167" fmla="*/ 4262750 w 8079933"/>
              <a:gd name="connsiteY15167" fmla="*/ 1832695 h 4687251"/>
              <a:gd name="connsiteX15168" fmla="*/ 4257107 w 8079933"/>
              <a:gd name="connsiteY15168" fmla="*/ 1834969 h 4687251"/>
              <a:gd name="connsiteX15169" fmla="*/ 4253961 w 8079933"/>
              <a:gd name="connsiteY15169" fmla="*/ 1831288 h 4687251"/>
              <a:gd name="connsiteX15170" fmla="*/ 4257107 w 8079933"/>
              <a:gd name="connsiteY15170" fmla="*/ 1834969 h 4687251"/>
              <a:gd name="connsiteX15171" fmla="*/ 4262750 w 8079933"/>
              <a:gd name="connsiteY15171" fmla="*/ 1832696 h 4687251"/>
              <a:gd name="connsiteX15172" fmla="*/ 4267959 w 8079933"/>
              <a:gd name="connsiteY15172" fmla="*/ 1832696 h 4687251"/>
              <a:gd name="connsiteX15173" fmla="*/ 4273384 w 8079933"/>
              <a:gd name="connsiteY15173" fmla="*/ 1830206 h 4687251"/>
              <a:gd name="connsiteX15174" fmla="*/ 4276857 w 8079933"/>
              <a:gd name="connsiteY15174" fmla="*/ 1829773 h 4687251"/>
              <a:gd name="connsiteX15175" fmla="*/ 4279354 w 8079933"/>
              <a:gd name="connsiteY15175" fmla="*/ 1830097 h 4687251"/>
              <a:gd name="connsiteX15176" fmla="*/ 4289771 w 8079933"/>
              <a:gd name="connsiteY15176" fmla="*/ 1824251 h 4687251"/>
              <a:gd name="connsiteX15177" fmla="*/ 4295631 w 8079933"/>
              <a:gd name="connsiteY15177" fmla="*/ 1822302 h 4687251"/>
              <a:gd name="connsiteX15178" fmla="*/ 4301599 w 8079933"/>
              <a:gd name="connsiteY15178" fmla="*/ 1829231 h 4687251"/>
              <a:gd name="connsiteX15179" fmla="*/ 4301623 w 8079933"/>
              <a:gd name="connsiteY15179" fmla="*/ 1829424 h 4687251"/>
              <a:gd name="connsiteX15180" fmla="*/ 4302247 w 8079933"/>
              <a:gd name="connsiteY15180" fmla="*/ 1834406 h 4687251"/>
              <a:gd name="connsiteX15181" fmla="*/ 4301599 w 8079933"/>
              <a:gd name="connsiteY15181" fmla="*/ 1829231 h 4687251"/>
              <a:gd name="connsiteX15182" fmla="*/ 4295631 w 8079933"/>
              <a:gd name="connsiteY15182" fmla="*/ 1822302 h 4687251"/>
              <a:gd name="connsiteX15183" fmla="*/ 5010430 w 8079933"/>
              <a:gd name="connsiteY15183" fmla="*/ 1821328 h 4687251"/>
              <a:gd name="connsiteX15184" fmla="*/ 5007283 w 8079933"/>
              <a:gd name="connsiteY15184" fmla="*/ 1821977 h 4687251"/>
              <a:gd name="connsiteX15185" fmla="*/ 5014228 w 8079933"/>
              <a:gd name="connsiteY15185" fmla="*/ 1825984 h 4687251"/>
              <a:gd name="connsiteX15186" fmla="*/ 5015205 w 8079933"/>
              <a:gd name="connsiteY15186" fmla="*/ 1828691 h 4687251"/>
              <a:gd name="connsiteX15187" fmla="*/ 5014689 w 8079933"/>
              <a:gd name="connsiteY15187" fmla="*/ 1829141 h 4687251"/>
              <a:gd name="connsiteX15188" fmla="*/ 5016398 w 8079933"/>
              <a:gd name="connsiteY15188" fmla="*/ 1828690 h 4687251"/>
              <a:gd name="connsiteX15189" fmla="*/ 5018676 w 8079933"/>
              <a:gd name="connsiteY15189" fmla="*/ 1830964 h 4687251"/>
              <a:gd name="connsiteX15190" fmla="*/ 5020413 w 8079933"/>
              <a:gd name="connsiteY15190" fmla="*/ 1829448 h 4687251"/>
              <a:gd name="connsiteX15191" fmla="*/ 5019436 w 8079933"/>
              <a:gd name="connsiteY15191" fmla="*/ 1826741 h 4687251"/>
              <a:gd name="connsiteX15192" fmla="*/ 5012492 w 8079933"/>
              <a:gd name="connsiteY15192" fmla="*/ 1822735 h 4687251"/>
              <a:gd name="connsiteX15193" fmla="*/ 5014294 w 8079933"/>
              <a:gd name="connsiteY15193" fmla="*/ 1822363 h 4687251"/>
              <a:gd name="connsiteX15194" fmla="*/ 5735538 w 8079933"/>
              <a:gd name="connsiteY15194" fmla="*/ 1820678 h 4687251"/>
              <a:gd name="connsiteX15195" fmla="*/ 5735537 w 8079933"/>
              <a:gd name="connsiteY15195" fmla="*/ 1820678 h 4687251"/>
              <a:gd name="connsiteX15196" fmla="*/ 5732055 w 8079933"/>
              <a:gd name="connsiteY15196" fmla="*/ 1823975 h 4687251"/>
              <a:gd name="connsiteX15197" fmla="*/ 5739552 w 8079933"/>
              <a:gd name="connsiteY15197" fmla="*/ 1819054 h 4687251"/>
              <a:gd name="connsiteX15198" fmla="*/ 5737240 w 8079933"/>
              <a:gd name="connsiteY15198" fmla="*/ 1819989 h 4687251"/>
              <a:gd name="connsiteX15199" fmla="*/ 5739552 w 8079933"/>
              <a:gd name="connsiteY15199" fmla="*/ 1819054 h 4687251"/>
              <a:gd name="connsiteX15200" fmla="*/ 4201872 w 8079933"/>
              <a:gd name="connsiteY15200" fmla="*/ 1818837 h 4687251"/>
              <a:gd name="connsiteX15201" fmla="*/ 4201872 w 8079933"/>
              <a:gd name="connsiteY15201" fmla="*/ 1818838 h 4687251"/>
              <a:gd name="connsiteX15202" fmla="*/ 4213700 w 8079933"/>
              <a:gd name="connsiteY15202" fmla="*/ 1825767 h 4687251"/>
              <a:gd name="connsiteX15203" fmla="*/ 4228133 w 8079933"/>
              <a:gd name="connsiteY15203" fmla="*/ 1828474 h 4687251"/>
              <a:gd name="connsiteX15204" fmla="*/ 4236055 w 8079933"/>
              <a:gd name="connsiteY15204" fmla="*/ 1827824 h 4687251"/>
              <a:gd name="connsiteX15205" fmla="*/ 4239527 w 8079933"/>
              <a:gd name="connsiteY15205" fmla="*/ 1830964 h 4687251"/>
              <a:gd name="connsiteX15206" fmla="*/ 4239527 w 8079933"/>
              <a:gd name="connsiteY15206" fmla="*/ 1830963 h 4687251"/>
              <a:gd name="connsiteX15207" fmla="*/ 4243217 w 8079933"/>
              <a:gd name="connsiteY15207" fmla="*/ 1831396 h 4687251"/>
              <a:gd name="connsiteX15208" fmla="*/ 4239528 w 8079933"/>
              <a:gd name="connsiteY15208" fmla="*/ 1830963 h 4687251"/>
              <a:gd name="connsiteX15209" fmla="*/ 4236055 w 8079933"/>
              <a:gd name="connsiteY15209" fmla="*/ 1827823 h 4687251"/>
              <a:gd name="connsiteX15210" fmla="*/ 4228133 w 8079933"/>
              <a:gd name="connsiteY15210" fmla="*/ 1828473 h 4687251"/>
              <a:gd name="connsiteX15211" fmla="*/ 4213700 w 8079933"/>
              <a:gd name="connsiteY15211" fmla="*/ 1825766 h 4687251"/>
              <a:gd name="connsiteX15212" fmla="*/ 2368141 w 8079933"/>
              <a:gd name="connsiteY15212" fmla="*/ 1818662 h 4687251"/>
              <a:gd name="connsiteX15213" fmla="*/ 2366205 w 8079933"/>
              <a:gd name="connsiteY15213" fmla="*/ 1820786 h 4687251"/>
              <a:gd name="connsiteX15214" fmla="*/ 2365121 w 8079933"/>
              <a:gd name="connsiteY15214" fmla="*/ 1823761 h 4687251"/>
              <a:gd name="connsiteX15215" fmla="*/ 2364903 w 8079933"/>
              <a:gd name="connsiteY15215" fmla="*/ 1824359 h 4687251"/>
              <a:gd name="connsiteX15216" fmla="*/ 2364903 w 8079933"/>
              <a:gd name="connsiteY15216" fmla="*/ 1824359 h 4687251"/>
              <a:gd name="connsiteX15217" fmla="*/ 2365121 w 8079933"/>
              <a:gd name="connsiteY15217" fmla="*/ 1823761 h 4687251"/>
              <a:gd name="connsiteX15218" fmla="*/ 2366205 w 8079933"/>
              <a:gd name="connsiteY15218" fmla="*/ 1820786 h 4687251"/>
              <a:gd name="connsiteX15219" fmla="*/ 5753938 w 8079933"/>
              <a:gd name="connsiteY15219" fmla="*/ 1817608 h 4687251"/>
              <a:gd name="connsiteX15220" fmla="*/ 5753226 w 8079933"/>
              <a:gd name="connsiteY15220" fmla="*/ 1817754 h 4687251"/>
              <a:gd name="connsiteX15221" fmla="*/ 5753226 w 8079933"/>
              <a:gd name="connsiteY15221" fmla="*/ 1817754 h 4687251"/>
              <a:gd name="connsiteX15222" fmla="*/ 5753225 w 8079933"/>
              <a:gd name="connsiteY15222" fmla="*/ 1817754 h 4687251"/>
              <a:gd name="connsiteX15223" fmla="*/ 5751480 w 8079933"/>
              <a:gd name="connsiteY15223" fmla="*/ 1818420 h 4687251"/>
              <a:gd name="connsiteX15224" fmla="*/ 5753226 w 8079933"/>
              <a:gd name="connsiteY15224" fmla="*/ 1817754 h 4687251"/>
              <a:gd name="connsiteX15225" fmla="*/ 4075840 w 8079933"/>
              <a:gd name="connsiteY15225" fmla="*/ 1816720 h 4687251"/>
              <a:gd name="connsiteX15226" fmla="*/ 4073823 w 8079933"/>
              <a:gd name="connsiteY15226" fmla="*/ 1817429 h 4687251"/>
              <a:gd name="connsiteX15227" fmla="*/ 4067637 w 8079933"/>
              <a:gd name="connsiteY15227" fmla="*/ 1827282 h 4687251"/>
              <a:gd name="connsiteX15228" fmla="*/ 4066661 w 8079933"/>
              <a:gd name="connsiteY15228" fmla="*/ 1834537 h 4687251"/>
              <a:gd name="connsiteX15229" fmla="*/ 4066661 w 8079933"/>
              <a:gd name="connsiteY15229" fmla="*/ 1839083 h 4687251"/>
              <a:gd name="connsiteX15230" fmla="*/ 4066662 w 8079933"/>
              <a:gd name="connsiteY15230" fmla="*/ 1839083 h 4687251"/>
              <a:gd name="connsiteX15231" fmla="*/ 4066662 w 8079933"/>
              <a:gd name="connsiteY15231" fmla="*/ 1834536 h 4687251"/>
              <a:gd name="connsiteX15232" fmla="*/ 4067638 w 8079933"/>
              <a:gd name="connsiteY15232" fmla="*/ 1827282 h 4687251"/>
              <a:gd name="connsiteX15233" fmla="*/ 4073823 w 8079933"/>
              <a:gd name="connsiteY15233" fmla="*/ 1817430 h 4687251"/>
              <a:gd name="connsiteX15234" fmla="*/ 6059243 w 8079933"/>
              <a:gd name="connsiteY15234" fmla="*/ 1814831 h 4687251"/>
              <a:gd name="connsiteX15235" fmla="*/ 6067279 w 8079933"/>
              <a:gd name="connsiteY15235" fmla="*/ 1820572 h 4687251"/>
              <a:gd name="connsiteX15236" fmla="*/ 6059244 w 8079933"/>
              <a:gd name="connsiteY15236" fmla="*/ 1814831 h 4687251"/>
              <a:gd name="connsiteX15237" fmla="*/ 6895742 w 8079933"/>
              <a:gd name="connsiteY15237" fmla="*/ 1814058 h 4687251"/>
              <a:gd name="connsiteX15238" fmla="*/ 6897535 w 8079933"/>
              <a:gd name="connsiteY15238" fmla="*/ 1816130 h 4687251"/>
              <a:gd name="connsiteX15239" fmla="*/ 6905132 w 8079933"/>
              <a:gd name="connsiteY15239" fmla="*/ 1817863 h 4687251"/>
              <a:gd name="connsiteX15240" fmla="*/ 6905131 w 8079933"/>
              <a:gd name="connsiteY15240" fmla="*/ 1817862 h 4687251"/>
              <a:gd name="connsiteX15241" fmla="*/ 6897535 w 8079933"/>
              <a:gd name="connsiteY15241" fmla="*/ 1816130 h 4687251"/>
              <a:gd name="connsiteX15242" fmla="*/ 5781874 w 8079933"/>
              <a:gd name="connsiteY15242" fmla="*/ 1813532 h 4687251"/>
              <a:gd name="connsiteX15243" fmla="*/ 5780664 w 8079933"/>
              <a:gd name="connsiteY15243" fmla="*/ 1814304 h 4687251"/>
              <a:gd name="connsiteX15244" fmla="*/ 5781875 w 8079933"/>
              <a:gd name="connsiteY15244" fmla="*/ 1813532 h 4687251"/>
              <a:gd name="connsiteX15245" fmla="*/ 4189176 w 8079933"/>
              <a:gd name="connsiteY15245" fmla="*/ 1813315 h 4687251"/>
              <a:gd name="connsiteX15246" fmla="*/ 4176697 w 8079933"/>
              <a:gd name="connsiteY15246" fmla="*/ 1820569 h 4687251"/>
              <a:gd name="connsiteX15247" fmla="*/ 4168775 w 8079933"/>
              <a:gd name="connsiteY15247" fmla="*/ 1817105 h 4687251"/>
              <a:gd name="connsiteX15248" fmla="*/ 4168775 w 8079933"/>
              <a:gd name="connsiteY15248" fmla="*/ 1817106 h 4687251"/>
              <a:gd name="connsiteX15249" fmla="*/ 4168775 w 8079933"/>
              <a:gd name="connsiteY15249" fmla="*/ 1817105 h 4687251"/>
              <a:gd name="connsiteX15250" fmla="*/ 4176697 w 8079933"/>
              <a:gd name="connsiteY15250" fmla="*/ 1820570 h 4687251"/>
              <a:gd name="connsiteX15251" fmla="*/ 4189176 w 8079933"/>
              <a:gd name="connsiteY15251" fmla="*/ 1813316 h 4687251"/>
              <a:gd name="connsiteX15252" fmla="*/ 4194276 w 8079933"/>
              <a:gd name="connsiteY15252" fmla="*/ 1814724 h 4687251"/>
              <a:gd name="connsiteX15253" fmla="*/ 4202632 w 8079933"/>
              <a:gd name="connsiteY15253" fmla="*/ 1814074 h 4687251"/>
              <a:gd name="connsiteX15254" fmla="*/ 4202632 w 8079933"/>
              <a:gd name="connsiteY15254" fmla="*/ 1814073 h 4687251"/>
              <a:gd name="connsiteX15255" fmla="*/ 4194276 w 8079933"/>
              <a:gd name="connsiteY15255" fmla="*/ 1814722 h 4687251"/>
              <a:gd name="connsiteX15256" fmla="*/ 4162915 w 8079933"/>
              <a:gd name="connsiteY15256" fmla="*/ 1813315 h 4687251"/>
              <a:gd name="connsiteX15257" fmla="*/ 4158792 w 8079933"/>
              <a:gd name="connsiteY15257" fmla="*/ 1817105 h 4687251"/>
              <a:gd name="connsiteX15258" fmla="*/ 4158792 w 8079933"/>
              <a:gd name="connsiteY15258" fmla="*/ 1817105 h 4687251"/>
              <a:gd name="connsiteX15259" fmla="*/ 4162916 w 8079933"/>
              <a:gd name="connsiteY15259" fmla="*/ 1813315 h 4687251"/>
              <a:gd name="connsiteX15260" fmla="*/ 4166713 w 8079933"/>
              <a:gd name="connsiteY15260" fmla="*/ 1813315 h 4687251"/>
              <a:gd name="connsiteX15261" fmla="*/ 4166713 w 8079933"/>
              <a:gd name="connsiteY15261" fmla="*/ 1813315 h 4687251"/>
              <a:gd name="connsiteX15262" fmla="*/ 4596331 w 8079933"/>
              <a:gd name="connsiteY15262" fmla="*/ 1811258 h 4687251"/>
              <a:gd name="connsiteX15263" fmla="*/ 4597090 w 8079933"/>
              <a:gd name="connsiteY15263" fmla="*/ 1815589 h 4687251"/>
              <a:gd name="connsiteX15264" fmla="*/ 4596113 w 8079933"/>
              <a:gd name="connsiteY15264" fmla="*/ 1819487 h 4687251"/>
              <a:gd name="connsiteX15265" fmla="*/ 4599043 w 8079933"/>
              <a:gd name="connsiteY15265" fmla="*/ 1823710 h 4687251"/>
              <a:gd name="connsiteX15266" fmla="*/ 4598175 w 8079933"/>
              <a:gd name="connsiteY15266" fmla="*/ 1826200 h 4687251"/>
              <a:gd name="connsiteX15267" fmla="*/ 4591122 w 8079933"/>
              <a:gd name="connsiteY15267" fmla="*/ 1826416 h 4687251"/>
              <a:gd name="connsiteX15268" fmla="*/ 4587324 w 8079933"/>
              <a:gd name="connsiteY15268" fmla="*/ 1823276 h 4687251"/>
              <a:gd name="connsiteX15269" fmla="*/ 4581138 w 8079933"/>
              <a:gd name="connsiteY15269" fmla="*/ 1825333 h 4687251"/>
              <a:gd name="connsiteX15270" fmla="*/ 4576472 w 8079933"/>
              <a:gd name="connsiteY15270" fmla="*/ 1825550 h 4687251"/>
              <a:gd name="connsiteX15271" fmla="*/ 4575821 w 8079933"/>
              <a:gd name="connsiteY15271" fmla="*/ 1834104 h 4687251"/>
              <a:gd name="connsiteX15272" fmla="*/ 4575929 w 8079933"/>
              <a:gd name="connsiteY15272" fmla="*/ 1839950 h 4687251"/>
              <a:gd name="connsiteX15273" fmla="*/ 4575930 w 8079933"/>
              <a:gd name="connsiteY15273" fmla="*/ 1839950 h 4687251"/>
              <a:gd name="connsiteX15274" fmla="*/ 4575821 w 8079933"/>
              <a:gd name="connsiteY15274" fmla="*/ 1834104 h 4687251"/>
              <a:gd name="connsiteX15275" fmla="*/ 4576473 w 8079933"/>
              <a:gd name="connsiteY15275" fmla="*/ 1825550 h 4687251"/>
              <a:gd name="connsiteX15276" fmla="*/ 4581139 w 8079933"/>
              <a:gd name="connsiteY15276" fmla="*/ 1825334 h 4687251"/>
              <a:gd name="connsiteX15277" fmla="*/ 4587324 w 8079933"/>
              <a:gd name="connsiteY15277" fmla="*/ 1823277 h 4687251"/>
              <a:gd name="connsiteX15278" fmla="*/ 4591122 w 8079933"/>
              <a:gd name="connsiteY15278" fmla="*/ 1826417 h 4687251"/>
              <a:gd name="connsiteX15279" fmla="*/ 4598176 w 8079933"/>
              <a:gd name="connsiteY15279" fmla="*/ 1826200 h 4687251"/>
              <a:gd name="connsiteX15280" fmla="*/ 4599044 w 8079933"/>
              <a:gd name="connsiteY15280" fmla="*/ 1823710 h 4687251"/>
              <a:gd name="connsiteX15281" fmla="*/ 4596114 w 8079933"/>
              <a:gd name="connsiteY15281" fmla="*/ 1819487 h 4687251"/>
              <a:gd name="connsiteX15282" fmla="*/ 4597091 w 8079933"/>
              <a:gd name="connsiteY15282" fmla="*/ 1815589 h 4687251"/>
              <a:gd name="connsiteX15283" fmla="*/ 4596331 w 8079933"/>
              <a:gd name="connsiteY15283" fmla="*/ 1811259 h 4687251"/>
              <a:gd name="connsiteX15284" fmla="*/ 6047849 w 8079933"/>
              <a:gd name="connsiteY15284" fmla="*/ 1810717 h 4687251"/>
              <a:gd name="connsiteX15285" fmla="*/ 6049384 w 8079933"/>
              <a:gd name="connsiteY15285" fmla="*/ 1812843 h 4687251"/>
              <a:gd name="connsiteX15286" fmla="*/ 6049802 w 8079933"/>
              <a:gd name="connsiteY15286" fmla="*/ 1813423 h 4687251"/>
              <a:gd name="connsiteX15287" fmla="*/ 6049802 w 8079933"/>
              <a:gd name="connsiteY15287" fmla="*/ 1813423 h 4687251"/>
              <a:gd name="connsiteX15288" fmla="*/ 6049384 w 8079933"/>
              <a:gd name="connsiteY15288" fmla="*/ 1812843 h 4687251"/>
              <a:gd name="connsiteX15289" fmla="*/ 6047850 w 8079933"/>
              <a:gd name="connsiteY15289" fmla="*/ 1810717 h 4687251"/>
              <a:gd name="connsiteX15290" fmla="*/ 7116847 w 8079933"/>
              <a:gd name="connsiteY15290" fmla="*/ 1809742 h 4687251"/>
              <a:gd name="connsiteX15291" fmla="*/ 7115870 w 8079933"/>
              <a:gd name="connsiteY15291" fmla="*/ 1814073 h 4687251"/>
              <a:gd name="connsiteX15292" fmla="*/ 7115653 w 8079933"/>
              <a:gd name="connsiteY15292" fmla="*/ 1818079 h 4687251"/>
              <a:gd name="connsiteX15293" fmla="*/ 7112940 w 8079933"/>
              <a:gd name="connsiteY15293" fmla="*/ 1820028 h 4687251"/>
              <a:gd name="connsiteX15294" fmla="*/ 7110988 w 8079933"/>
              <a:gd name="connsiteY15294" fmla="*/ 1817754 h 4687251"/>
              <a:gd name="connsiteX15295" fmla="*/ 7110445 w 8079933"/>
              <a:gd name="connsiteY15295" fmla="*/ 1814073 h 4687251"/>
              <a:gd name="connsiteX15296" fmla="*/ 7114243 w 8079933"/>
              <a:gd name="connsiteY15296" fmla="*/ 1810717 h 4687251"/>
              <a:gd name="connsiteX15297" fmla="*/ 4144328 w 8079933"/>
              <a:gd name="connsiteY15297" fmla="*/ 1807686 h 4687251"/>
              <a:gd name="connsiteX15298" fmla="*/ 4143165 w 8079933"/>
              <a:gd name="connsiteY15298" fmla="*/ 1810392 h 4687251"/>
              <a:gd name="connsiteX15299" fmla="*/ 4144685 w 8079933"/>
              <a:gd name="connsiteY15299" fmla="*/ 1813207 h 4687251"/>
              <a:gd name="connsiteX15300" fmla="*/ 4147072 w 8079933"/>
              <a:gd name="connsiteY15300" fmla="*/ 1813315 h 4687251"/>
              <a:gd name="connsiteX15301" fmla="*/ 4150871 w 8079933"/>
              <a:gd name="connsiteY15301" fmla="*/ 1813532 h 4687251"/>
              <a:gd name="connsiteX15302" fmla="*/ 4153800 w 8079933"/>
              <a:gd name="connsiteY15302" fmla="*/ 1812341 h 4687251"/>
              <a:gd name="connsiteX15303" fmla="*/ 4153799 w 8079933"/>
              <a:gd name="connsiteY15303" fmla="*/ 1812340 h 4687251"/>
              <a:gd name="connsiteX15304" fmla="*/ 4150870 w 8079933"/>
              <a:gd name="connsiteY15304" fmla="*/ 1813532 h 4687251"/>
              <a:gd name="connsiteX15305" fmla="*/ 4147071 w 8079933"/>
              <a:gd name="connsiteY15305" fmla="*/ 1813315 h 4687251"/>
              <a:gd name="connsiteX15306" fmla="*/ 4147071 w 8079933"/>
              <a:gd name="connsiteY15306" fmla="*/ 1813315 h 4687251"/>
              <a:gd name="connsiteX15307" fmla="*/ 4144685 w 8079933"/>
              <a:gd name="connsiteY15307" fmla="*/ 1813207 h 4687251"/>
              <a:gd name="connsiteX15308" fmla="*/ 4143166 w 8079933"/>
              <a:gd name="connsiteY15308" fmla="*/ 1810392 h 4687251"/>
              <a:gd name="connsiteX15309" fmla="*/ 6907193 w 8079933"/>
              <a:gd name="connsiteY15309" fmla="*/ 1806819 h 4687251"/>
              <a:gd name="connsiteX15310" fmla="*/ 6904480 w 8079933"/>
              <a:gd name="connsiteY15310" fmla="*/ 1808442 h 4687251"/>
              <a:gd name="connsiteX15311" fmla="*/ 6904424 w 8079933"/>
              <a:gd name="connsiteY15311" fmla="*/ 1808738 h 4687251"/>
              <a:gd name="connsiteX15312" fmla="*/ 6905999 w 8079933"/>
              <a:gd name="connsiteY15312" fmla="*/ 1807795 h 4687251"/>
              <a:gd name="connsiteX15313" fmla="*/ 6911642 w 8079933"/>
              <a:gd name="connsiteY15313" fmla="*/ 1808444 h 4687251"/>
              <a:gd name="connsiteX15314" fmla="*/ 6913270 w 8079933"/>
              <a:gd name="connsiteY15314" fmla="*/ 1808444 h 4687251"/>
              <a:gd name="connsiteX15315" fmla="*/ 6913270 w 8079933"/>
              <a:gd name="connsiteY15315" fmla="*/ 1807252 h 4687251"/>
              <a:gd name="connsiteX15316" fmla="*/ 6912836 w 8079933"/>
              <a:gd name="connsiteY15316" fmla="*/ 1807360 h 4687251"/>
              <a:gd name="connsiteX15317" fmla="*/ 4144576 w 8079933"/>
              <a:gd name="connsiteY15317" fmla="*/ 1806711 h 4687251"/>
              <a:gd name="connsiteX15318" fmla="*/ 4144576 w 8079933"/>
              <a:gd name="connsiteY15318" fmla="*/ 1806711 h 4687251"/>
              <a:gd name="connsiteX15319" fmla="*/ 4147289 w 8079933"/>
              <a:gd name="connsiteY15319" fmla="*/ 1808876 h 4687251"/>
              <a:gd name="connsiteX15320" fmla="*/ 5787397 w 8079933"/>
              <a:gd name="connsiteY15320" fmla="*/ 1805590 h 4687251"/>
              <a:gd name="connsiteX15321" fmla="*/ 5785455 w 8079933"/>
              <a:gd name="connsiteY15321" fmla="*/ 1809742 h 4687251"/>
              <a:gd name="connsiteX15322" fmla="*/ 5785035 w 8079933"/>
              <a:gd name="connsiteY15322" fmla="*/ 1813408 h 4687251"/>
              <a:gd name="connsiteX15323" fmla="*/ 5785456 w 8079933"/>
              <a:gd name="connsiteY15323" fmla="*/ 1809742 h 4687251"/>
              <a:gd name="connsiteX15324" fmla="*/ 6891349 w 8079933"/>
              <a:gd name="connsiteY15324" fmla="*/ 1805411 h 4687251"/>
              <a:gd name="connsiteX15325" fmla="*/ 6888202 w 8079933"/>
              <a:gd name="connsiteY15325" fmla="*/ 1806819 h 4687251"/>
              <a:gd name="connsiteX15326" fmla="*/ 6888202 w 8079933"/>
              <a:gd name="connsiteY15326" fmla="*/ 1812015 h 4687251"/>
              <a:gd name="connsiteX15327" fmla="*/ 6887876 w 8079933"/>
              <a:gd name="connsiteY15327" fmla="*/ 1816780 h 4687251"/>
              <a:gd name="connsiteX15328" fmla="*/ 6889613 w 8079933"/>
              <a:gd name="connsiteY15328" fmla="*/ 1820244 h 4687251"/>
              <a:gd name="connsiteX15329" fmla="*/ 6887876 w 8079933"/>
              <a:gd name="connsiteY15329" fmla="*/ 1824683 h 4687251"/>
              <a:gd name="connsiteX15330" fmla="*/ 6882993 w 8079933"/>
              <a:gd name="connsiteY15330" fmla="*/ 1825441 h 4687251"/>
              <a:gd name="connsiteX15331" fmla="*/ 6879195 w 8079933"/>
              <a:gd name="connsiteY15331" fmla="*/ 1830529 h 4687251"/>
              <a:gd name="connsiteX15332" fmla="*/ 6879195 w 8079933"/>
              <a:gd name="connsiteY15332" fmla="*/ 1835727 h 4687251"/>
              <a:gd name="connsiteX15333" fmla="*/ 6869971 w 8079933"/>
              <a:gd name="connsiteY15333" fmla="*/ 1843306 h 4687251"/>
              <a:gd name="connsiteX15334" fmla="*/ 6864437 w 8079933"/>
              <a:gd name="connsiteY15334" fmla="*/ 1843955 h 4687251"/>
              <a:gd name="connsiteX15335" fmla="*/ 6860205 w 8079933"/>
              <a:gd name="connsiteY15335" fmla="*/ 1846445 h 4687251"/>
              <a:gd name="connsiteX15336" fmla="*/ 6860206 w 8079933"/>
              <a:gd name="connsiteY15336" fmla="*/ 1846446 h 4687251"/>
              <a:gd name="connsiteX15337" fmla="*/ 6864438 w 8079933"/>
              <a:gd name="connsiteY15337" fmla="*/ 1843956 h 4687251"/>
              <a:gd name="connsiteX15338" fmla="*/ 6869973 w 8079933"/>
              <a:gd name="connsiteY15338" fmla="*/ 1843307 h 4687251"/>
              <a:gd name="connsiteX15339" fmla="*/ 6879196 w 8079933"/>
              <a:gd name="connsiteY15339" fmla="*/ 1835728 h 4687251"/>
              <a:gd name="connsiteX15340" fmla="*/ 6879196 w 8079933"/>
              <a:gd name="connsiteY15340" fmla="*/ 1830530 h 4687251"/>
              <a:gd name="connsiteX15341" fmla="*/ 6882995 w 8079933"/>
              <a:gd name="connsiteY15341" fmla="*/ 1825442 h 4687251"/>
              <a:gd name="connsiteX15342" fmla="*/ 6887877 w 8079933"/>
              <a:gd name="connsiteY15342" fmla="*/ 1824684 h 4687251"/>
              <a:gd name="connsiteX15343" fmla="*/ 6889614 w 8079933"/>
              <a:gd name="connsiteY15343" fmla="*/ 1820245 h 4687251"/>
              <a:gd name="connsiteX15344" fmla="*/ 6887877 w 8079933"/>
              <a:gd name="connsiteY15344" fmla="*/ 1816781 h 4687251"/>
              <a:gd name="connsiteX15345" fmla="*/ 6888203 w 8079933"/>
              <a:gd name="connsiteY15345" fmla="*/ 1812016 h 4687251"/>
              <a:gd name="connsiteX15346" fmla="*/ 6888203 w 8079933"/>
              <a:gd name="connsiteY15346" fmla="*/ 1806820 h 4687251"/>
              <a:gd name="connsiteX15347" fmla="*/ 6891350 w 8079933"/>
              <a:gd name="connsiteY15347" fmla="*/ 1805412 h 4687251"/>
              <a:gd name="connsiteX15348" fmla="*/ 6894224 w 8079933"/>
              <a:gd name="connsiteY15348" fmla="*/ 1807826 h 4687251"/>
              <a:gd name="connsiteX15349" fmla="*/ 4080701 w 8079933"/>
              <a:gd name="connsiteY15349" fmla="*/ 1801159 h 4687251"/>
              <a:gd name="connsiteX15350" fmla="*/ 4085543 w 8079933"/>
              <a:gd name="connsiteY15350" fmla="*/ 1803680 h 4687251"/>
              <a:gd name="connsiteX15351" fmla="*/ 4086411 w 8079933"/>
              <a:gd name="connsiteY15351" fmla="*/ 1808227 h 4687251"/>
              <a:gd name="connsiteX15352" fmla="*/ 4086412 w 8079933"/>
              <a:gd name="connsiteY15352" fmla="*/ 1808226 h 4687251"/>
              <a:gd name="connsiteX15353" fmla="*/ 4085543 w 8079933"/>
              <a:gd name="connsiteY15353" fmla="*/ 1803679 h 4687251"/>
              <a:gd name="connsiteX15354" fmla="*/ 4151708 w 8079933"/>
              <a:gd name="connsiteY15354" fmla="*/ 1800008 h 4687251"/>
              <a:gd name="connsiteX15355" fmla="*/ 4153474 w 8079933"/>
              <a:gd name="connsiteY15355" fmla="*/ 1801946 h 4687251"/>
              <a:gd name="connsiteX15356" fmla="*/ 4153475 w 8079933"/>
              <a:gd name="connsiteY15356" fmla="*/ 1801947 h 4687251"/>
              <a:gd name="connsiteX15357" fmla="*/ 4582657 w 8079933"/>
              <a:gd name="connsiteY15357" fmla="*/ 1799241 h 4687251"/>
              <a:gd name="connsiteX15358" fmla="*/ 4583526 w 8079933"/>
              <a:gd name="connsiteY15358" fmla="*/ 1801839 h 4687251"/>
              <a:gd name="connsiteX15359" fmla="*/ 4583526 w 8079933"/>
              <a:gd name="connsiteY15359" fmla="*/ 1801839 h 4687251"/>
              <a:gd name="connsiteX15360" fmla="*/ 4582658 w 8079933"/>
              <a:gd name="connsiteY15360" fmla="*/ 1799241 h 4687251"/>
              <a:gd name="connsiteX15361" fmla="*/ 4102579 w 8079933"/>
              <a:gd name="connsiteY15361" fmla="*/ 1798158 h 4687251"/>
              <a:gd name="connsiteX15362" fmla="*/ 4102577 w 8079933"/>
              <a:gd name="connsiteY15362" fmla="*/ 1798159 h 4687251"/>
              <a:gd name="connsiteX15363" fmla="*/ 4102471 w 8079933"/>
              <a:gd name="connsiteY15363" fmla="*/ 1798265 h 4687251"/>
              <a:gd name="connsiteX15364" fmla="*/ 4094970 w 8079933"/>
              <a:gd name="connsiteY15364" fmla="*/ 1800617 h 4687251"/>
              <a:gd name="connsiteX15365" fmla="*/ 4094908 w 8079933"/>
              <a:gd name="connsiteY15365" fmla="*/ 1800637 h 4687251"/>
              <a:gd name="connsiteX15366" fmla="*/ 4102472 w 8079933"/>
              <a:gd name="connsiteY15366" fmla="*/ 1798265 h 4687251"/>
              <a:gd name="connsiteX15367" fmla="*/ 2701847 w 8079933"/>
              <a:gd name="connsiteY15367" fmla="*/ 1798157 h 4687251"/>
              <a:gd name="connsiteX15368" fmla="*/ 2702064 w 8079933"/>
              <a:gd name="connsiteY15368" fmla="*/ 1800430 h 4687251"/>
              <a:gd name="connsiteX15369" fmla="*/ 2700544 w 8079933"/>
              <a:gd name="connsiteY15369" fmla="*/ 1802596 h 4687251"/>
              <a:gd name="connsiteX15370" fmla="*/ 2699351 w 8079933"/>
              <a:gd name="connsiteY15370" fmla="*/ 1801188 h 4687251"/>
              <a:gd name="connsiteX15371" fmla="*/ 2700002 w 8079933"/>
              <a:gd name="connsiteY15371" fmla="*/ 1798806 h 4687251"/>
              <a:gd name="connsiteX15372" fmla="*/ 6447625 w 8079933"/>
              <a:gd name="connsiteY15372" fmla="*/ 1796967 h 4687251"/>
              <a:gd name="connsiteX15373" fmla="*/ 6458369 w 8079933"/>
              <a:gd name="connsiteY15373" fmla="*/ 1804005 h 4687251"/>
              <a:gd name="connsiteX15374" fmla="*/ 6468134 w 8079933"/>
              <a:gd name="connsiteY15374" fmla="*/ 1810067 h 4687251"/>
              <a:gd name="connsiteX15375" fmla="*/ 6468134 w 8079933"/>
              <a:gd name="connsiteY15375" fmla="*/ 1810066 h 4687251"/>
              <a:gd name="connsiteX15376" fmla="*/ 6458368 w 8079933"/>
              <a:gd name="connsiteY15376" fmla="*/ 1804003 h 4687251"/>
              <a:gd name="connsiteX15377" fmla="*/ 4089232 w 8079933"/>
              <a:gd name="connsiteY15377" fmla="*/ 1796966 h 4687251"/>
              <a:gd name="connsiteX15378" fmla="*/ 4083698 w 8079933"/>
              <a:gd name="connsiteY15378" fmla="*/ 1797399 h 4687251"/>
              <a:gd name="connsiteX15379" fmla="*/ 4080551 w 8079933"/>
              <a:gd name="connsiteY15379" fmla="*/ 1801081 h 4687251"/>
              <a:gd name="connsiteX15380" fmla="*/ 4080551 w 8079933"/>
              <a:gd name="connsiteY15380" fmla="*/ 1801081 h 4687251"/>
              <a:gd name="connsiteX15381" fmla="*/ 4083699 w 8079933"/>
              <a:gd name="connsiteY15381" fmla="*/ 1797400 h 4687251"/>
              <a:gd name="connsiteX15382" fmla="*/ 4089232 w 8079933"/>
              <a:gd name="connsiteY15382" fmla="*/ 1796967 h 4687251"/>
              <a:gd name="connsiteX15383" fmla="*/ 5054812 w 8079933"/>
              <a:gd name="connsiteY15383" fmla="*/ 1796533 h 4687251"/>
              <a:gd name="connsiteX15384" fmla="*/ 5052099 w 8079933"/>
              <a:gd name="connsiteY15384" fmla="*/ 1800323 h 4687251"/>
              <a:gd name="connsiteX15385" fmla="*/ 5049496 w 8079933"/>
              <a:gd name="connsiteY15385" fmla="*/ 1799998 h 4687251"/>
              <a:gd name="connsiteX15386" fmla="*/ 5047433 w 8079933"/>
              <a:gd name="connsiteY15386" fmla="*/ 1803030 h 4687251"/>
              <a:gd name="connsiteX15387" fmla="*/ 5043418 w 8079933"/>
              <a:gd name="connsiteY15387" fmla="*/ 1806386 h 4687251"/>
              <a:gd name="connsiteX15388" fmla="*/ 5041248 w 8079933"/>
              <a:gd name="connsiteY15388" fmla="*/ 1806061 h 4687251"/>
              <a:gd name="connsiteX15389" fmla="*/ 5040380 w 8079933"/>
              <a:gd name="connsiteY15389" fmla="*/ 1808876 h 4687251"/>
              <a:gd name="connsiteX15390" fmla="*/ 5038644 w 8079933"/>
              <a:gd name="connsiteY15390" fmla="*/ 1810717 h 4687251"/>
              <a:gd name="connsiteX15391" fmla="*/ 5037016 w 8079933"/>
              <a:gd name="connsiteY15391" fmla="*/ 1808876 h 4687251"/>
              <a:gd name="connsiteX15392" fmla="*/ 5034845 w 8079933"/>
              <a:gd name="connsiteY15392" fmla="*/ 1808660 h 4687251"/>
              <a:gd name="connsiteX15393" fmla="*/ 5033326 w 8079933"/>
              <a:gd name="connsiteY15393" fmla="*/ 1811150 h 4687251"/>
              <a:gd name="connsiteX15394" fmla="*/ 5030071 w 8079933"/>
              <a:gd name="connsiteY15394" fmla="*/ 1811042 h 4687251"/>
              <a:gd name="connsiteX15395" fmla="*/ 5028878 w 8079933"/>
              <a:gd name="connsiteY15395" fmla="*/ 1808660 h 4687251"/>
              <a:gd name="connsiteX15396" fmla="*/ 5027249 w 8079933"/>
              <a:gd name="connsiteY15396" fmla="*/ 1808768 h 4687251"/>
              <a:gd name="connsiteX15397" fmla="*/ 5027033 w 8079933"/>
              <a:gd name="connsiteY15397" fmla="*/ 1808660 h 4687251"/>
              <a:gd name="connsiteX15398" fmla="*/ 5021172 w 8079933"/>
              <a:gd name="connsiteY15398" fmla="*/ 1804870 h 4687251"/>
              <a:gd name="connsiteX15399" fmla="*/ 5018183 w 8079933"/>
              <a:gd name="connsiteY15399" fmla="*/ 1805917 h 4687251"/>
              <a:gd name="connsiteX15400" fmla="*/ 5022258 w 8079933"/>
              <a:gd name="connsiteY15400" fmla="*/ 1808552 h 4687251"/>
              <a:gd name="connsiteX15401" fmla="*/ 5022258 w 8079933"/>
              <a:gd name="connsiteY15401" fmla="*/ 1810393 h 4687251"/>
              <a:gd name="connsiteX15402" fmla="*/ 5022258 w 8079933"/>
              <a:gd name="connsiteY15402" fmla="*/ 1812883 h 4687251"/>
              <a:gd name="connsiteX15403" fmla="*/ 5018677 w 8079933"/>
              <a:gd name="connsiteY15403" fmla="*/ 1813532 h 4687251"/>
              <a:gd name="connsiteX15404" fmla="*/ 5020739 w 8079933"/>
              <a:gd name="connsiteY15404" fmla="*/ 1815373 h 4687251"/>
              <a:gd name="connsiteX15405" fmla="*/ 5020739 w 8079933"/>
              <a:gd name="connsiteY15405" fmla="*/ 1818621 h 4687251"/>
              <a:gd name="connsiteX15406" fmla="*/ 5018135 w 8079933"/>
              <a:gd name="connsiteY15406" fmla="*/ 1818621 h 4687251"/>
              <a:gd name="connsiteX15407" fmla="*/ 5020414 w 8079933"/>
              <a:gd name="connsiteY15407" fmla="*/ 1820137 h 4687251"/>
              <a:gd name="connsiteX15408" fmla="*/ 5020414 w 8079933"/>
              <a:gd name="connsiteY15408" fmla="*/ 1822952 h 4687251"/>
              <a:gd name="connsiteX15409" fmla="*/ 5016615 w 8079933"/>
              <a:gd name="connsiteY15409" fmla="*/ 1821977 h 4687251"/>
              <a:gd name="connsiteX15410" fmla="*/ 5015979 w 8079933"/>
              <a:gd name="connsiteY15410" fmla="*/ 1822176 h 4687251"/>
              <a:gd name="connsiteX15411" fmla="*/ 5020088 w 8079933"/>
              <a:gd name="connsiteY15411" fmla="*/ 1823276 h 4687251"/>
              <a:gd name="connsiteX15412" fmla="*/ 5021824 w 8079933"/>
              <a:gd name="connsiteY15412" fmla="*/ 1822735 h 4687251"/>
              <a:gd name="connsiteX15413" fmla="*/ 5025622 w 8079933"/>
              <a:gd name="connsiteY15413" fmla="*/ 1823709 h 4687251"/>
              <a:gd name="connsiteX15414" fmla="*/ 5025622 w 8079933"/>
              <a:gd name="connsiteY15414" fmla="*/ 1820895 h 4687251"/>
              <a:gd name="connsiteX15415" fmla="*/ 5023343 w 8079933"/>
              <a:gd name="connsiteY15415" fmla="*/ 1819379 h 4687251"/>
              <a:gd name="connsiteX15416" fmla="*/ 5025947 w 8079933"/>
              <a:gd name="connsiteY15416" fmla="*/ 1819379 h 4687251"/>
              <a:gd name="connsiteX15417" fmla="*/ 5025947 w 8079933"/>
              <a:gd name="connsiteY15417" fmla="*/ 1816672 h 4687251"/>
              <a:gd name="connsiteX15418" fmla="*/ 5023886 w 8079933"/>
              <a:gd name="connsiteY15418" fmla="*/ 1814831 h 4687251"/>
              <a:gd name="connsiteX15419" fmla="*/ 5027467 w 8079933"/>
              <a:gd name="connsiteY15419" fmla="*/ 1814182 h 4687251"/>
              <a:gd name="connsiteX15420" fmla="*/ 5027467 w 8079933"/>
              <a:gd name="connsiteY15420" fmla="*/ 1811691 h 4687251"/>
              <a:gd name="connsiteX15421" fmla="*/ 5027467 w 8079933"/>
              <a:gd name="connsiteY15421" fmla="*/ 1809850 h 4687251"/>
              <a:gd name="connsiteX15422" fmla="*/ 5029420 w 8079933"/>
              <a:gd name="connsiteY15422" fmla="*/ 1809850 h 4687251"/>
              <a:gd name="connsiteX15423" fmla="*/ 5030614 w 8079933"/>
              <a:gd name="connsiteY15423" fmla="*/ 1812232 h 4687251"/>
              <a:gd name="connsiteX15424" fmla="*/ 5033869 w 8079933"/>
              <a:gd name="connsiteY15424" fmla="*/ 1812232 h 4687251"/>
              <a:gd name="connsiteX15425" fmla="*/ 5035388 w 8079933"/>
              <a:gd name="connsiteY15425" fmla="*/ 1809743 h 4687251"/>
              <a:gd name="connsiteX15426" fmla="*/ 5037450 w 8079933"/>
              <a:gd name="connsiteY15426" fmla="*/ 1809743 h 4687251"/>
              <a:gd name="connsiteX15427" fmla="*/ 5039078 w 8079933"/>
              <a:gd name="connsiteY15427" fmla="*/ 1811583 h 4687251"/>
              <a:gd name="connsiteX15428" fmla="*/ 5040923 w 8079933"/>
              <a:gd name="connsiteY15428" fmla="*/ 1809743 h 4687251"/>
              <a:gd name="connsiteX15429" fmla="*/ 5041683 w 8079933"/>
              <a:gd name="connsiteY15429" fmla="*/ 1806927 h 4687251"/>
              <a:gd name="connsiteX15430" fmla="*/ 5043961 w 8079933"/>
              <a:gd name="connsiteY15430" fmla="*/ 1806927 h 4687251"/>
              <a:gd name="connsiteX15431" fmla="*/ 5047976 w 8079933"/>
              <a:gd name="connsiteY15431" fmla="*/ 1803571 h 4687251"/>
              <a:gd name="connsiteX15432" fmla="*/ 5049930 w 8079933"/>
              <a:gd name="connsiteY15432" fmla="*/ 1800540 h 4687251"/>
              <a:gd name="connsiteX15433" fmla="*/ 5052534 w 8079933"/>
              <a:gd name="connsiteY15433" fmla="*/ 1800540 h 4687251"/>
              <a:gd name="connsiteX15434" fmla="*/ 5055247 w 8079933"/>
              <a:gd name="connsiteY15434" fmla="*/ 1796750 h 4687251"/>
              <a:gd name="connsiteX15435" fmla="*/ 5057342 w 8079933"/>
              <a:gd name="connsiteY15435" fmla="*/ 1796750 h 4687251"/>
              <a:gd name="connsiteX15436" fmla="*/ 5057092 w 8079933"/>
              <a:gd name="connsiteY15436" fmla="*/ 1796533 h 4687251"/>
              <a:gd name="connsiteX15437" fmla="*/ 5085306 w 8079933"/>
              <a:gd name="connsiteY15437" fmla="*/ 1796209 h 4687251"/>
              <a:gd name="connsiteX15438" fmla="*/ 5082484 w 8079933"/>
              <a:gd name="connsiteY15438" fmla="*/ 1796317 h 4687251"/>
              <a:gd name="connsiteX15439" fmla="*/ 5081131 w 8079933"/>
              <a:gd name="connsiteY15439" fmla="*/ 1797667 h 4687251"/>
              <a:gd name="connsiteX15440" fmla="*/ 5081616 w 8079933"/>
              <a:gd name="connsiteY15440" fmla="*/ 1798266 h 4687251"/>
              <a:gd name="connsiteX15441" fmla="*/ 5083136 w 8079933"/>
              <a:gd name="connsiteY15441" fmla="*/ 1796750 h 4687251"/>
              <a:gd name="connsiteX15442" fmla="*/ 5085396 w 8079933"/>
              <a:gd name="connsiteY15442" fmla="*/ 1796750 h 4687251"/>
              <a:gd name="connsiteX15443" fmla="*/ 4539467 w 8079933"/>
              <a:gd name="connsiteY15443" fmla="*/ 1795775 h 4687251"/>
              <a:gd name="connsiteX15444" fmla="*/ 4540444 w 8079933"/>
              <a:gd name="connsiteY15444" fmla="*/ 1800647 h 4687251"/>
              <a:gd name="connsiteX15445" fmla="*/ 4553249 w 8079933"/>
              <a:gd name="connsiteY15445" fmla="*/ 1810608 h 4687251"/>
              <a:gd name="connsiteX15446" fmla="*/ 4554848 w 8079933"/>
              <a:gd name="connsiteY15446" fmla="*/ 1816589 h 4687251"/>
              <a:gd name="connsiteX15447" fmla="*/ 4553250 w 8079933"/>
              <a:gd name="connsiteY15447" fmla="*/ 1810609 h 4687251"/>
              <a:gd name="connsiteX15448" fmla="*/ 4540445 w 8079933"/>
              <a:gd name="connsiteY15448" fmla="*/ 1800648 h 4687251"/>
              <a:gd name="connsiteX15449" fmla="*/ 4539468 w 8079933"/>
              <a:gd name="connsiteY15449" fmla="*/ 1795776 h 4687251"/>
              <a:gd name="connsiteX15450" fmla="*/ 4118071 w 8079933"/>
              <a:gd name="connsiteY15450" fmla="*/ 1794842 h 4687251"/>
              <a:gd name="connsiteX15451" fmla="*/ 4118315 w 8079933"/>
              <a:gd name="connsiteY15451" fmla="*/ 1796208 h 4687251"/>
              <a:gd name="connsiteX15452" fmla="*/ 4116579 w 8079933"/>
              <a:gd name="connsiteY15452" fmla="*/ 1799024 h 4687251"/>
              <a:gd name="connsiteX15453" fmla="*/ 4110719 w 8079933"/>
              <a:gd name="connsiteY15453" fmla="*/ 1796967 h 4687251"/>
              <a:gd name="connsiteX15454" fmla="*/ 4110719 w 8079933"/>
              <a:gd name="connsiteY15454" fmla="*/ 1796967 h 4687251"/>
              <a:gd name="connsiteX15455" fmla="*/ 4116579 w 8079933"/>
              <a:gd name="connsiteY15455" fmla="*/ 1799024 h 4687251"/>
              <a:gd name="connsiteX15456" fmla="*/ 4118316 w 8079933"/>
              <a:gd name="connsiteY15456" fmla="*/ 1796208 h 4687251"/>
              <a:gd name="connsiteX15457" fmla="*/ 4129710 w 8079933"/>
              <a:gd name="connsiteY15457" fmla="*/ 1794801 h 4687251"/>
              <a:gd name="connsiteX15458" fmla="*/ 4127213 w 8079933"/>
              <a:gd name="connsiteY15458" fmla="*/ 1796967 h 4687251"/>
              <a:gd name="connsiteX15459" fmla="*/ 4129710 w 8079933"/>
              <a:gd name="connsiteY15459" fmla="*/ 1794801 h 4687251"/>
              <a:gd name="connsiteX15460" fmla="*/ 4132965 w 8079933"/>
              <a:gd name="connsiteY15460" fmla="*/ 1794910 h 4687251"/>
              <a:gd name="connsiteX15461" fmla="*/ 4139476 w 8079933"/>
              <a:gd name="connsiteY15461" fmla="*/ 1799781 h 4687251"/>
              <a:gd name="connsiteX15462" fmla="*/ 4132965 w 8079933"/>
              <a:gd name="connsiteY15462" fmla="*/ 1794909 h 4687251"/>
              <a:gd name="connsiteX15463" fmla="*/ 4200354 w 8079933"/>
              <a:gd name="connsiteY15463" fmla="*/ 1794585 h 4687251"/>
              <a:gd name="connsiteX15464" fmla="*/ 4200353 w 8079933"/>
              <a:gd name="connsiteY15464" fmla="*/ 1794585 h 4687251"/>
              <a:gd name="connsiteX15465" fmla="*/ 4205888 w 8079933"/>
              <a:gd name="connsiteY15465" fmla="*/ 1796208 h 4687251"/>
              <a:gd name="connsiteX15466" fmla="*/ 5094205 w 8079933"/>
              <a:gd name="connsiteY15466" fmla="*/ 1794149 h 4687251"/>
              <a:gd name="connsiteX15467" fmla="*/ 5094095 w 8079933"/>
              <a:gd name="connsiteY15467" fmla="*/ 1794476 h 4687251"/>
              <a:gd name="connsiteX15468" fmla="*/ 5091491 w 8079933"/>
              <a:gd name="connsiteY15468" fmla="*/ 1795884 h 4687251"/>
              <a:gd name="connsiteX15469" fmla="*/ 5091382 w 8079933"/>
              <a:gd name="connsiteY15469" fmla="*/ 1798158 h 4687251"/>
              <a:gd name="connsiteX15470" fmla="*/ 5088995 w 8079933"/>
              <a:gd name="connsiteY15470" fmla="*/ 1799456 h 4687251"/>
              <a:gd name="connsiteX15471" fmla="*/ 5085957 w 8079933"/>
              <a:gd name="connsiteY15471" fmla="*/ 1798284 h 4687251"/>
              <a:gd name="connsiteX15472" fmla="*/ 5085957 w 8079933"/>
              <a:gd name="connsiteY15472" fmla="*/ 1798699 h 4687251"/>
              <a:gd name="connsiteX15473" fmla="*/ 5089321 w 8079933"/>
              <a:gd name="connsiteY15473" fmla="*/ 1799998 h 4687251"/>
              <a:gd name="connsiteX15474" fmla="*/ 5091600 w 8079933"/>
              <a:gd name="connsiteY15474" fmla="*/ 1798699 h 4687251"/>
              <a:gd name="connsiteX15475" fmla="*/ 5091600 w 8079933"/>
              <a:gd name="connsiteY15475" fmla="*/ 1796317 h 4687251"/>
              <a:gd name="connsiteX15476" fmla="*/ 5094205 w 8079933"/>
              <a:gd name="connsiteY15476" fmla="*/ 1794909 h 4687251"/>
              <a:gd name="connsiteX15477" fmla="*/ 2385847 w 8079933"/>
              <a:gd name="connsiteY15477" fmla="*/ 1793285 h 4687251"/>
              <a:gd name="connsiteX15478" fmla="*/ 2385846 w 8079933"/>
              <a:gd name="connsiteY15478" fmla="*/ 1793285 h 4687251"/>
              <a:gd name="connsiteX15479" fmla="*/ 2385087 w 8079933"/>
              <a:gd name="connsiteY15479" fmla="*/ 1798591 h 4687251"/>
              <a:gd name="connsiteX15480" fmla="*/ 2384066 w 8079933"/>
              <a:gd name="connsiteY15480" fmla="*/ 1801219 h 4687251"/>
              <a:gd name="connsiteX15481" fmla="*/ 2385087 w 8079933"/>
              <a:gd name="connsiteY15481" fmla="*/ 1798591 h 4687251"/>
              <a:gd name="connsiteX15482" fmla="*/ 5972369 w 8079933"/>
              <a:gd name="connsiteY15482" fmla="*/ 1793277 h 4687251"/>
              <a:gd name="connsiteX15483" fmla="*/ 5974926 w 8079933"/>
              <a:gd name="connsiteY15483" fmla="*/ 1797182 h 4687251"/>
              <a:gd name="connsiteX15484" fmla="*/ 5974927 w 8079933"/>
              <a:gd name="connsiteY15484" fmla="*/ 1797183 h 4687251"/>
              <a:gd name="connsiteX15485" fmla="*/ 5097785 w 8079933"/>
              <a:gd name="connsiteY15485" fmla="*/ 1791878 h 4687251"/>
              <a:gd name="connsiteX15486" fmla="*/ 5094639 w 8079933"/>
              <a:gd name="connsiteY15486" fmla="*/ 1792852 h 4687251"/>
              <a:gd name="connsiteX15487" fmla="*/ 5094523 w 8079933"/>
              <a:gd name="connsiteY15487" fmla="*/ 1793198 h 4687251"/>
              <a:gd name="connsiteX15488" fmla="*/ 5097351 w 8079933"/>
              <a:gd name="connsiteY15488" fmla="*/ 1792419 h 4687251"/>
              <a:gd name="connsiteX15489" fmla="*/ 5100390 w 8079933"/>
              <a:gd name="connsiteY15489" fmla="*/ 1793069 h 4687251"/>
              <a:gd name="connsiteX15490" fmla="*/ 5108637 w 8079933"/>
              <a:gd name="connsiteY15490" fmla="*/ 1793069 h 4687251"/>
              <a:gd name="connsiteX15491" fmla="*/ 5109288 w 8079933"/>
              <a:gd name="connsiteY15491" fmla="*/ 1795126 h 4687251"/>
              <a:gd name="connsiteX15492" fmla="*/ 5111133 w 8079933"/>
              <a:gd name="connsiteY15492" fmla="*/ 1798266 h 4687251"/>
              <a:gd name="connsiteX15493" fmla="*/ 5114280 w 8079933"/>
              <a:gd name="connsiteY15493" fmla="*/ 1798915 h 4687251"/>
              <a:gd name="connsiteX15494" fmla="*/ 5114280 w 8079933"/>
              <a:gd name="connsiteY15494" fmla="*/ 1800322 h 4687251"/>
              <a:gd name="connsiteX15495" fmla="*/ 5112327 w 8079933"/>
              <a:gd name="connsiteY15495" fmla="*/ 1803354 h 4687251"/>
              <a:gd name="connsiteX15496" fmla="*/ 5113412 w 8079933"/>
              <a:gd name="connsiteY15496" fmla="*/ 1806062 h 4687251"/>
              <a:gd name="connsiteX15497" fmla="*/ 5117101 w 8079933"/>
              <a:gd name="connsiteY15497" fmla="*/ 1809743 h 4687251"/>
              <a:gd name="connsiteX15498" fmla="*/ 5117101 w 8079933"/>
              <a:gd name="connsiteY15498" fmla="*/ 1813315 h 4687251"/>
              <a:gd name="connsiteX15499" fmla="*/ 5114388 w 8079933"/>
              <a:gd name="connsiteY15499" fmla="*/ 1818188 h 4687251"/>
              <a:gd name="connsiteX15500" fmla="*/ 5115148 w 8079933"/>
              <a:gd name="connsiteY15500" fmla="*/ 1820462 h 4687251"/>
              <a:gd name="connsiteX15501" fmla="*/ 5116668 w 8079933"/>
              <a:gd name="connsiteY15501" fmla="*/ 1822519 h 4687251"/>
              <a:gd name="connsiteX15502" fmla="*/ 5118186 w 8079933"/>
              <a:gd name="connsiteY15502" fmla="*/ 1823926 h 4687251"/>
              <a:gd name="connsiteX15503" fmla="*/ 5116342 w 8079933"/>
              <a:gd name="connsiteY15503" fmla="*/ 1826199 h 4687251"/>
              <a:gd name="connsiteX15504" fmla="*/ 5113195 w 8079933"/>
              <a:gd name="connsiteY15504" fmla="*/ 1827607 h 4687251"/>
              <a:gd name="connsiteX15505" fmla="*/ 5112435 w 8079933"/>
              <a:gd name="connsiteY15505" fmla="*/ 1832913 h 4687251"/>
              <a:gd name="connsiteX15506" fmla="*/ 5115583 w 8079933"/>
              <a:gd name="connsiteY15506" fmla="*/ 1839192 h 4687251"/>
              <a:gd name="connsiteX15507" fmla="*/ 5120140 w 8079933"/>
              <a:gd name="connsiteY15507" fmla="*/ 1840275 h 4687251"/>
              <a:gd name="connsiteX15508" fmla="*/ 5123612 w 8079933"/>
              <a:gd name="connsiteY15508" fmla="*/ 1841466 h 4687251"/>
              <a:gd name="connsiteX15509" fmla="*/ 5122853 w 8079933"/>
              <a:gd name="connsiteY15509" fmla="*/ 1843631 h 4687251"/>
              <a:gd name="connsiteX15510" fmla="*/ 5117862 w 8079933"/>
              <a:gd name="connsiteY15510" fmla="*/ 1846121 h 4687251"/>
              <a:gd name="connsiteX15511" fmla="*/ 5118078 w 8079933"/>
              <a:gd name="connsiteY15511" fmla="*/ 1846121 h 4687251"/>
              <a:gd name="connsiteX15512" fmla="*/ 5123070 w 8079933"/>
              <a:gd name="connsiteY15512" fmla="*/ 1843631 h 4687251"/>
              <a:gd name="connsiteX15513" fmla="*/ 5123830 w 8079933"/>
              <a:gd name="connsiteY15513" fmla="*/ 1841466 h 4687251"/>
              <a:gd name="connsiteX15514" fmla="*/ 5120465 w 8079933"/>
              <a:gd name="connsiteY15514" fmla="*/ 1840275 h 4687251"/>
              <a:gd name="connsiteX15515" fmla="*/ 5115907 w 8079933"/>
              <a:gd name="connsiteY15515" fmla="*/ 1839192 h 4687251"/>
              <a:gd name="connsiteX15516" fmla="*/ 5112760 w 8079933"/>
              <a:gd name="connsiteY15516" fmla="*/ 1832912 h 4687251"/>
              <a:gd name="connsiteX15517" fmla="*/ 5113520 w 8079933"/>
              <a:gd name="connsiteY15517" fmla="*/ 1827607 h 4687251"/>
              <a:gd name="connsiteX15518" fmla="*/ 5116667 w 8079933"/>
              <a:gd name="connsiteY15518" fmla="*/ 1826200 h 4687251"/>
              <a:gd name="connsiteX15519" fmla="*/ 5118404 w 8079933"/>
              <a:gd name="connsiteY15519" fmla="*/ 1823926 h 4687251"/>
              <a:gd name="connsiteX15520" fmla="*/ 5116993 w 8079933"/>
              <a:gd name="connsiteY15520" fmla="*/ 1822518 h 4687251"/>
              <a:gd name="connsiteX15521" fmla="*/ 5115365 w 8079933"/>
              <a:gd name="connsiteY15521" fmla="*/ 1820353 h 4687251"/>
              <a:gd name="connsiteX15522" fmla="*/ 5114605 w 8079933"/>
              <a:gd name="connsiteY15522" fmla="*/ 1818188 h 4687251"/>
              <a:gd name="connsiteX15523" fmla="*/ 5117318 w 8079933"/>
              <a:gd name="connsiteY15523" fmla="*/ 1813207 h 4687251"/>
              <a:gd name="connsiteX15524" fmla="*/ 5117752 w 8079933"/>
              <a:gd name="connsiteY15524" fmla="*/ 1809742 h 4687251"/>
              <a:gd name="connsiteX15525" fmla="*/ 5114062 w 8079933"/>
              <a:gd name="connsiteY15525" fmla="*/ 1806061 h 4687251"/>
              <a:gd name="connsiteX15526" fmla="*/ 5112977 w 8079933"/>
              <a:gd name="connsiteY15526" fmla="*/ 1803354 h 4687251"/>
              <a:gd name="connsiteX15527" fmla="*/ 5114931 w 8079933"/>
              <a:gd name="connsiteY15527" fmla="*/ 1800323 h 4687251"/>
              <a:gd name="connsiteX15528" fmla="*/ 5114713 w 8079933"/>
              <a:gd name="connsiteY15528" fmla="*/ 1798915 h 4687251"/>
              <a:gd name="connsiteX15529" fmla="*/ 5111567 w 8079933"/>
              <a:gd name="connsiteY15529" fmla="*/ 1798266 h 4687251"/>
              <a:gd name="connsiteX15530" fmla="*/ 5109722 w 8079933"/>
              <a:gd name="connsiteY15530" fmla="*/ 1795017 h 4687251"/>
              <a:gd name="connsiteX15531" fmla="*/ 5109071 w 8079933"/>
              <a:gd name="connsiteY15531" fmla="*/ 1792960 h 4687251"/>
              <a:gd name="connsiteX15532" fmla="*/ 5100823 w 8079933"/>
              <a:gd name="connsiteY15532" fmla="*/ 1792527 h 4687251"/>
              <a:gd name="connsiteX15533" fmla="*/ 4122656 w 8079933"/>
              <a:gd name="connsiteY15533" fmla="*/ 1791553 h 4687251"/>
              <a:gd name="connsiteX15534" fmla="*/ 4117773 w 8079933"/>
              <a:gd name="connsiteY15534" fmla="*/ 1793177 h 4687251"/>
              <a:gd name="connsiteX15535" fmla="*/ 4117773 w 8079933"/>
              <a:gd name="connsiteY15535" fmla="*/ 1793177 h 4687251"/>
              <a:gd name="connsiteX15536" fmla="*/ 4097080 w 8079933"/>
              <a:gd name="connsiteY15536" fmla="*/ 1791512 h 4687251"/>
              <a:gd name="connsiteX15537" fmla="*/ 4100409 w 8079933"/>
              <a:gd name="connsiteY15537" fmla="*/ 1793610 h 4687251"/>
              <a:gd name="connsiteX15538" fmla="*/ 4102065 w 8079933"/>
              <a:gd name="connsiteY15538" fmla="*/ 1797078 h 4687251"/>
              <a:gd name="connsiteX15539" fmla="*/ 4100410 w 8079933"/>
              <a:gd name="connsiteY15539" fmla="*/ 1793610 h 4687251"/>
              <a:gd name="connsiteX15540" fmla="*/ 4577883 w 8079933"/>
              <a:gd name="connsiteY15540" fmla="*/ 1790795 h 4687251"/>
              <a:gd name="connsiteX15541" fmla="*/ 4577340 w 8079933"/>
              <a:gd name="connsiteY15541" fmla="*/ 1796533 h 4687251"/>
              <a:gd name="connsiteX15542" fmla="*/ 4577341 w 8079933"/>
              <a:gd name="connsiteY15542" fmla="*/ 1796534 h 4687251"/>
              <a:gd name="connsiteX15543" fmla="*/ 4577883 w 8079933"/>
              <a:gd name="connsiteY15543" fmla="*/ 1790796 h 4687251"/>
              <a:gd name="connsiteX15544" fmla="*/ 5070764 w 8079933"/>
              <a:gd name="connsiteY15544" fmla="*/ 1790254 h 4687251"/>
              <a:gd name="connsiteX15545" fmla="*/ 5064471 w 8079933"/>
              <a:gd name="connsiteY15545" fmla="*/ 1790362 h 4687251"/>
              <a:gd name="connsiteX15546" fmla="*/ 5061107 w 8079933"/>
              <a:gd name="connsiteY15546" fmla="*/ 1793719 h 4687251"/>
              <a:gd name="connsiteX15547" fmla="*/ 5060022 w 8079933"/>
              <a:gd name="connsiteY15547" fmla="*/ 1797183 h 4687251"/>
              <a:gd name="connsiteX15548" fmla="*/ 5058772 w 8079933"/>
              <a:gd name="connsiteY15548" fmla="*/ 1797911 h 4687251"/>
              <a:gd name="connsiteX15549" fmla="*/ 5059153 w 8079933"/>
              <a:gd name="connsiteY15549" fmla="*/ 1798266 h 4687251"/>
              <a:gd name="connsiteX15550" fmla="*/ 5060456 w 8079933"/>
              <a:gd name="connsiteY15550" fmla="*/ 1797508 h 4687251"/>
              <a:gd name="connsiteX15551" fmla="*/ 5061541 w 8079933"/>
              <a:gd name="connsiteY15551" fmla="*/ 1794044 h 4687251"/>
              <a:gd name="connsiteX15552" fmla="*/ 5064905 w 8079933"/>
              <a:gd name="connsiteY15552" fmla="*/ 1790687 h 4687251"/>
              <a:gd name="connsiteX15553" fmla="*/ 5071090 w 8079933"/>
              <a:gd name="connsiteY15553" fmla="*/ 1790687 h 4687251"/>
              <a:gd name="connsiteX15554" fmla="*/ 5073369 w 8079933"/>
              <a:gd name="connsiteY15554" fmla="*/ 1792203 h 4687251"/>
              <a:gd name="connsiteX15555" fmla="*/ 5076408 w 8079933"/>
              <a:gd name="connsiteY15555" fmla="*/ 1792203 h 4687251"/>
              <a:gd name="connsiteX15556" fmla="*/ 5078209 w 8079933"/>
              <a:gd name="connsiteY15556" fmla="*/ 1790723 h 4687251"/>
              <a:gd name="connsiteX15557" fmla="*/ 5077818 w 8079933"/>
              <a:gd name="connsiteY15557" fmla="*/ 1790254 h 4687251"/>
              <a:gd name="connsiteX15558" fmla="*/ 5075974 w 8079933"/>
              <a:gd name="connsiteY15558" fmla="*/ 1791878 h 4687251"/>
              <a:gd name="connsiteX15559" fmla="*/ 5072935 w 8079933"/>
              <a:gd name="connsiteY15559" fmla="*/ 1791878 h 4687251"/>
              <a:gd name="connsiteX15560" fmla="*/ 4212399 w 8079933"/>
              <a:gd name="connsiteY15560" fmla="*/ 1788521 h 4687251"/>
              <a:gd name="connsiteX15561" fmla="*/ 4212399 w 8079933"/>
              <a:gd name="connsiteY15561" fmla="*/ 1788522 h 4687251"/>
              <a:gd name="connsiteX15562" fmla="*/ 4218258 w 8079933"/>
              <a:gd name="connsiteY15562" fmla="*/ 1791553 h 4687251"/>
              <a:gd name="connsiteX15563" fmla="*/ 4307676 w 8079933"/>
              <a:gd name="connsiteY15563" fmla="*/ 1786356 h 4687251"/>
              <a:gd name="connsiteX15564" fmla="*/ 4308327 w 8079933"/>
              <a:gd name="connsiteY15564" fmla="*/ 1791120 h 4687251"/>
              <a:gd name="connsiteX15565" fmla="*/ 4307459 w 8079933"/>
              <a:gd name="connsiteY15565" fmla="*/ 1795992 h 4687251"/>
              <a:gd name="connsiteX15566" fmla="*/ 4297150 w 8079933"/>
              <a:gd name="connsiteY15566" fmla="*/ 1795775 h 4687251"/>
              <a:gd name="connsiteX15567" fmla="*/ 4296065 w 8079933"/>
              <a:gd name="connsiteY15567" fmla="*/ 1797832 h 4687251"/>
              <a:gd name="connsiteX15568" fmla="*/ 4300405 w 8079933"/>
              <a:gd name="connsiteY15568" fmla="*/ 1802812 h 4687251"/>
              <a:gd name="connsiteX15569" fmla="*/ 4298344 w 8079933"/>
              <a:gd name="connsiteY15569" fmla="*/ 1808334 h 4687251"/>
              <a:gd name="connsiteX15570" fmla="*/ 4297801 w 8079933"/>
              <a:gd name="connsiteY15570" fmla="*/ 1812882 h 4687251"/>
              <a:gd name="connsiteX15571" fmla="*/ 4300405 w 8079933"/>
              <a:gd name="connsiteY15571" fmla="*/ 1817321 h 4687251"/>
              <a:gd name="connsiteX15572" fmla="*/ 4298226 w 8079933"/>
              <a:gd name="connsiteY15572" fmla="*/ 1820071 h 4687251"/>
              <a:gd name="connsiteX15573" fmla="*/ 4300406 w 8079933"/>
              <a:gd name="connsiteY15573" fmla="*/ 1817321 h 4687251"/>
              <a:gd name="connsiteX15574" fmla="*/ 4297801 w 8079933"/>
              <a:gd name="connsiteY15574" fmla="*/ 1812882 h 4687251"/>
              <a:gd name="connsiteX15575" fmla="*/ 4298344 w 8079933"/>
              <a:gd name="connsiteY15575" fmla="*/ 1808335 h 4687251"/>
              <a:gd name="connsiteX15576" fmla="*/ 4300406 w 8079933"/>
              <a:gd name="connsiteY15576" fmla="*/ 1802813 h 4687251"/>
              <a:gd name="connsiteX15577" fmla="*/ 4296065 w 8079933"/>
              <a:gd name="connsiteY15577" fmla="*/ 1797833 h 4687251"/>
              <a:gd name="connsiteX15578" fmla="*/ 4297150 w 8079933"/>
              <a:gd name="connsiteY15578" fmla="*/ 1795776 h 4687251"/>
              <a:gd name="connsiteX15579" fmla="*/ 4307459 w 8079933"/>
              <a:gd name="connsiteY15579" fmla="*/ 1795992 h 4687251"/>
              <a:gd name="connsiteX15580" fmla="*/ 4308327 w 8079933"/>
              <a:gd name="connsiteY15580" fmla="*/ 1791119 h 4687251"/>
              <a:gd name="connsiteX15581" fmla="*/ 2604181 w 8079933"/>
              <a:gd name="connsiteY15581" fmla="*/ 1785814 h 4687251"/>
              <a:gd name="connsiteX15582" fmla="*/ 2604616 w 8079933"/>
              <a:gd name="connsiteY15582" fmla="*/ 1787763 h 4687251"/>
              <a:gd name="connsiteX15583" fmla="*/ 2602445 w 8079933"/>
              <a:gd name="connsiteY15583" fmla="*/ 1791119 h 4687251"/>
              <a:gd name="connsiteX15584" fmla="*/ 2606569 w 8079933"/>
              <a:gd name="connsiteY15584" fmla="*/ 1791552 h 4687251"/>
              <a:gd name="connsiteX15585" fmla="*/ 2606678 w 8079933"/>
              <a:gd name="connsiteY15585" fmla="*/ 1794692 h 4687251"/>
              <a:gd name="connsiteX15586" fmla="*/ 2601469 w 8079933"/>
              <a:gd name="connsiteY15586" fmla="*/ 1803571 h 4687251"/>
              <a:gd name="connsiteX15587" fmla="*/ 2598322 w 8079933"/>
              <a:gd name="connsiteY15587" fmla="*/ 1806494 h 4687251"/>
              <a:gd name="connsiteX15588" fmla="*/ 2603205 w 8079933"/>
              <a:gd name="connsiteY15588" fmla="*/ 1808226 h 4687251"/>
              <a:gd name="connsiteX15589" fmla="*/ 2605158 w 8079933"/>
              <a:gd name="connsiteY15589" fmla="*/ 1811691 h 4687251"/>
              <a:gd name="connsiteX15590" fmla="*/ 2602880 w 8079933"/>
              <a:gd name="connsiteY15590" fmla="*/ 1814830 h 4687251"/>
              <a:gd name="connsiteX15591" fmla="*/ 2604507 w 8079933"/>
              <a:gd name="connsiteY15591" fmla="*/ 1816779 h 4687251"/>
              <a:gd name="connsiteX15592" fmla="*/ 2607437 w 8079933"/>
              <a:gd name="connsiteY15592" fmla="*/ 1814830 h 4687251"/>
              <a:gd name="connsiteX15593" fmla="*/ 2607437 w 8079933"/>
              <a:gd name="connsiteY15593" fmla="*/ 1811366 h 4687251"/>
              <a:gd name="connsiteX15594" fmla="*/ 2610259 w 8079933"/>
              <a:gd name="connsiteY15594" fmla="*/ 1810608 h 4687251"/>
              <a:gd name="connsiteX15595" fmla="*/ 2614924 w 8079933"/>
              <a:gd name="connsiteY15595" fmla="*/ 1812232 h 4687251"/>
              <a:gd name="connsiteX15596" fmla="*/ 2615792 w 8079933"/>
              <a:gd name="connsiteY15596" fmla="*/ 1817537 h 4687251"/>
              <a:gd name="connsiteX15597" fmla="*/ 2617095 w 8079933"/>
              <a:gd name="connsiteY15597" fmla="*/ 1819595 h 4687251"/>
              <a:gd name="connsiteX15598" fmla="*/ 2612537 w 8079933"/>
              <a:gd name="connsiteY15598" fmla="*/ 1821002 h 4687251"/>
              <a:gd name="connsiteX15599" fmla="*/ 2610150 w 8079933"/>
              <a:gd name="connsiteY15599" fmla="*/ 1822951 h 4687251"/>
              <a:gd name="connsiteX15600" fmla="*/ 2603531 w 8079933"/>
              <a:gd name="connsiteY15600" fmla="*/ 1823817 h 4687251"/>
              <a:gd name="connsiteX15601" fmla="*/ 2596152 w 8079933"/>
              <a:gd name="connsiteY15601" fmla="*/ 1829339 h 4687251"/>
              <a:gd name="connsiteX15602" fmla="*/ 2591919 w 8079933"/>
              <a:gd name="connsiteY15602" fmla="*/ 1829339 h 4687251"/>
              <a:gd name="connsiteX15603" fmla="*/ 2590184 w 8079933"/>
              <a:gd name="connsiteY15603" fmla="*/ 1826740 h 4687251"/>
              <a:gd name="connsiteX15604" fmla="*/ 2588447 w 8079933"/>
              <a:gd name="connsiteY15604" fmla="*/ 1827498 h 4687251"/>
              <a:gd name="connsiteX15605" fmla="*/ 2587471 w 8079933"/>
              <a:gd name="connsiteY15605" fmla="*/ 1831938 h 4687251"/>
              <a:gd name="connsiteX15606" fmla="*/ 2586168 w 8079933"/>
              <a:gd name="connsiteY15606" fmla="*/ 1832912 h 4687251"/>
              <a:gd name="connsiteX15607" fmla="*/ 2584432 w 8079933"/>
              <a:gd name="connsiteY15607" fmla="*/ 1829555 h 4687251"/>
              <a:gd name="connsiteX15608" fmla="*/ 2577053 w 8079933"/>
              <a:gd name="connsiteY15608" fmla="*/ 1826091 h 4687251"/>
              <a:gd name="connsiteX15609" fmla="*/ 2576619 w 8079933"/>
              <a:gd name="connsiteY15609" fmla="*/ 1819595 h 4687251"/>
              <a:gd name="connsiteX15610" fmla="*/ 2574883 w 8079933"/>
              <a:gd name="connsiteY15610" fmla="*/ 1816563 h 4687251"/>
              <a:gd name="connsiteX15611" fmla="*/ 2576728 w 8079933"/>
              <a:gd name="connsiteY15611" fmla="*/ 1813098 h 4687251"/>
              <a:gd name="connsiteX15612" fmla="*/ 2583347 w 8079933"/>
              <a:gd name="connsiteY15612" fmla="*/ 1809309 h 4687251"/>
              <a:gd name="connsiteX15613" fmla="*/ 2588447 w 8079933"/>
              <a:gd name="connsiteY15613" fmla="*/ 1801838 h 4687251"/>
              <a:gd name="connsiteX15614" fmla="*/ 2590617 w 8079933"/>
              <a:gd name="connsiteY15614" fmla="*/ 1799565 h 4687251"/>
              <a:gd name="connsiteX15615" fmla="*/ 2593005 w 8079933"/>
              <a:gd name="connsiteY15615" fmla="*/ 1794584 h 4687251"/>
              <a:gd name="connsiteX15616" fmla="*/ 2598539 w 8079933"/>
              <a:gd name="connsiteY15616" fmla="*/ 1790145 h 4687251"/>
              <a:gd name="connsiteX15617" fmla="*/ 2600601 w 8079933"/>
              <a:gd name="connsiteY15617" fmla="*/ 1786463 h 4687251"/>
              <a:gd name="connsiteX15618" fmla="*/ 4433106 w 8079933"/>
              <a:gd name="connsiteY15618" fmla="*/ 1783068 h 4687251"/>
              <a:gd name="connsiteX15619" fmla="*/ 4433121 w 8079933"/>
              <a:gd name="connsiteY15619" fmla="*/ 1783108 h 4687251"/>
              <a:gd name="connsiteX15620" fmla="*/ 4433121 w 8079933"/>
              <a:gd name="connsiteY15620" fmla="*/ 1783107 h 4687251"/>
              <a:gd name="connsiteX15621" fmla="*/ 2696096 w 8079933"/>
              <a:gd name="connsiteY15621" fmla="*/ 1782566 h 4687251"/>
              <a:gd name="connsiteX15622" fmla="*/ 2695770 w 8079933"/>
              <a:gd name="connsiteY15622" fmla="*/ 1784298 h 4687251"/>
              <a:gd name="connsiteX15623" fmla="*/ 2697399 w 8079933"/>
              <a:gd name="connsiteY15623" fmla="*/ 1786139 h 4687251"/>
              <a:gd name="connsiteX15624" fmla="*/ 2697182 w 8079933"/>
              <a:gd name="connsiteY15624" fmla="*/ 1788954 h 4687251"/>
              <a:gd name="connsiteX15625" fmla="*/ 2695553 w 8079933"/>
              <a:gd name="connsiteY15625" fmla="*/ 1790361 h 4687251"/>
              <a:gd name="connsiteX15626" fmla="*/ 2695662 w 8079933"/>
              <a:gd name="connsiteY15626" fmla="*/ 1792527 h 4687251"/>
              <a:gd name="connsiteX15627" fmla="*/ 2697073 w 8079933"/>
              <a:gd name="connsiteY15627" fmla="*/ 1793826 h 4687251"/>
              <a:gd name="connsiteX15628" fmla="*/ 2697941 w 8079933"/>
              <a:gd name="connsiteY15628" fmla="*/ 1795775 h 4687251"/>
              <a:gd name="connsiteX15629" fmla="*/ 2696422 w 8079933"/>
              <a:gd name="connsiteY15629" fmla="*/ 1798915 h 4687251"/>
              <a:gd name="connsiteX15630" fmla="*/ 2695228 w 8079933"/>
              <a:gd name="connsiteY15630" fmla="*/ 1799023 h 4687251"/>
              <a:gd name="connsiteX15631" fmla="*/ 2694034 w 8079933"/>
              <a:gd name="connsiteY15631" fmla="*/ 1796316 h 4687251"/>
              <a:gd name="connsiteX15632" fmla="*/ 2695119 w 8079933"/>
              <a:gd name="connsiteY15632" fmla="*/ 1793068 h 4687251"/>
              <a:gd name="connsiteX15633" fmla="*/ 2694359 w 8079933"/>
              <a:gd name="connsiteY15633" fmla="*/ 1789387 h 4687251"/>
              <a:gd name="connsiteX15634" fmla="*/ 2692949 w 8079933"/>
              <a:gd name="connsiteY15634" fmla="*/ 1786247 h 4687251"/>
              <a:gd name="connsiteX15635" fmla="*/ 2694468 w 8079933"/>
              <a:gd name="connsiteY15635" fmla="*/ 1784190 h 4687251"/>
              <a:gd name="connsiteX15636" fmla="*/ 2526375 w 8079933"/>
              <a:gd name="connsiteY15636" fmla="*/ 1780726 h 4687251"/>
              <a:gd name="connsiteX15637" fmla="*/ 2527352 w 8079933"/>
              <a:gd name="connsiteY15637" fmla="*/ 1784840 h 4687251"/>
              <a:gd name="connsiteX15638" fmla="*/ 2524314 w 8079933"/>
              <a:gd name="connsiteY15638" fmla="*/ 1787872 h 4687251"/>
              <a:gd name="connsiteX15639" fmla="*/ 2524205 w 8079933"/>
              <a:gd name="connsiteY15639" fmla="*/ 1789604 h 4687251"/>
              <a:gd name="connsiteX15640" fmla="*/ 2526050 w 8079933"/>
              <a:gd name="connsiteY15640" fmla="*/ 1791986 h 4687251"/>
              <a:gd name="connsiteX15641" fmla="*/ 2526158 w 8079933"/>
              <a:gd name="connsiteY15641" fmla="*/ 1796101 h 4687251"/>
              <a:gd name="connsiteX15642" fmla="*/ 2529848 w 8079933"/>
              <a:gd name="connsiteY15642" fmla="*/ 1798158 h 4687251"/>
              <a:gd name="connsiteX15643" fmla="*/ 2530500 w 8079933"/>
              <a:gd name="connsiteY15643" fmla="*/ 1795126 h 4687251"/>
              <a:gd name="connsiteX15644" fmla="*/ 2534080 w 8079933"/>
              <a:gd name="connsiteY15644" fmla="*/ 1795018 h 4687251"/>
              <a:gd name="connsiteX15645" fmla="*/ 2540157 w 8079933"/>
              <a:gd name="connsiteY15645" fmla="*/ 1799781 h 4687251"/>
              <a:gd name="connsiteX15646" fmla="*/ 2542762 w 8079933"/>
              <a:gd name="connsiteY15646" fmla="*/ 1799781 h 4687251"/>
              <a:gd name="connsiteX15647" fmla="*/ 2544932 w 8079933"/>
              <a:gd name="connsiteY15647" fmla="*/ 1801947 h 4687251"/>
              <a:gd name="connsiteX15648" fmla="*/ 2551878 w 8079933"/>
              <a:gd name="connsiteY15648" fmla="*/ 1801730 h 4687251"/>
              <a:gd name="connsiteX15649" fmla="*/ 2553722 w 8079933"/>
              <a:gd name="connsiteY15649" fmla="*/ 1799565 h 4687251"/>
              <a:gd name="connsiteX15650" fmla="*/ 2557846 w 8079933"/>
              <a:gd name="connsiteY15650" fmla="*/ 1800864 h 4687251"/>
              <a:gd name="connsiteX15651" fmla="*/ 2564682 w 8079933"/>
              <a:gd name="connsiteY15651" fmla="*/ 1801081 h 4687251"/>
              <a:gd name="connsiteX15652" fmla="*/ 2562620 w 8079933"/>
              <a:gd name="connsiteY15652" fmla="*/ 1802597 h 4687251"/>
              <a:gd name="connsiteX15653" fmla="*/ 2557520 w 8079933"/>
              <a:gd name="connsiteY15653" fmla="*/ 1803571 h 4687251"/>
              <a:gd name="connsiteX15654" fmla="*/ 2556001 w 8079933"/>
              <a:gd name="connsiteY15654" fmla="*/ 1808010 h 4687251"/>
              <a:gd name="connsiteX15655" fmla="*/ 2556761 w 8079933"/>
              <a:gd name="connsiteY15655" fmla="*/ 1810934 h 4687251"/>
              <a:gd name="connsiteX15656" fmla="*/ 2555024 w 8079933"/>
              <a:gd name="connsiteY15656" fmla="*/ 1815589 h 4687251"/>
              <a:gd name="connsiteX15657" fmla="*/ 2551551 w 8079933"/>
              <a:gd name="connsiteY15657" fmla="*/ 1816889 h 4687251"/>
              <a:gd name="connsiteX15658" fmla="*/ 2545908 w 8079933"/>
              <a:gd name="connsiteY15658" fmla="*/ 1814290 h 4687251"/>
              <a:gd name="connsiteX15659" fmla="*/ 2544607 w 8079933"/>
              <a:gd name="connsiteY15659" fmla="*/ 1809418 h 4687251"/>
              <a:gd name="connsiteX15660" fmla="*/ 2533863 w 8079933"/>
              <a:gd name="connsiteY15660" fmla="*/ 1808118 h 4687251"/>
              <a:gd name="connsiteX15661" fmla="*/ 2530825 w 8079933"/>
              <a:gd name="connsiteY15661" fmla="*/ 1806603 h 4687251"/>
              <a:gd name="connsiteX15662" fmla="*/ 2530391 w 8079933"/>
              <a:gd name="connsiteY15662" fmla="*/ 1803896 h 4687251"/>
              <a:gd name="connsiteX15663" fmla="*/ 2528220 w 8079933"/>
              <a:gd name="connsiteY15663" fmla="*/ 1801514 h 4687251"/>
              <a:gd name="connsiteX15664" fmla="*/ 2526375 w 8079933"/>
              <a:gd name="connsiteY15664" fmla="*/ 1801406 h 4687251"/>
              <a:gd name="connsiteX15665" fmla="*/ 2524639 w 8079933"/>
              <a:gd name="connsiteY15665" fmla="*/ 1798483 h 4687251"/>
              <a:gd name="connsiteX15666" fmla="*/ 2521817 w 8079933"/>
              <a:gd name="connsiteY15666" fmla="*/ 1797508 h 4687251"/>
              <a:gd name="connsiteX15667" fmla="*/ 2521817 w 8079933"/>
              <a:gd name="connsiteY15667" fmla="*/ 1793935 h 4687251"/>
              <a:gd name="connsiteX15668" fmla="*/ 2519647 w 8079933"/>
              <a:gd name="connsiteY15668" fmla="*/ 1791877 h 4687251"/>
              <a:gd name="connsiteX15669" fmla="*/ 2517151 w 8079933"/>
              <a:gd name="connsiteY15669" fmla="*/ 1792419 h 4687251"/>
              <a:gd name="connsiteX15670" fmla="*/ 2515741 w 8079933"/>
              <a:gd name="connsiteY15670" fmla="*/ 1790687 h 4687251"/>
              <a:gd name="connsiteX15671" fmla="*/ 2517586 w 8079933"/>
              <a:gd name="connsiteY15671" fmla="*/ 1786897 h 4687251"/>
              <a:gd name="connsiteX15672" fmla="*/ 4515214 w 8079933"/>
              <a:gd name="connsiteY15672" fmla="*/ 1778546 h 4687251"/>
              <a:gd name="connsiteX15673" fmla="*/ 4512783 w 8079933"/>
              <a:gd name="connsiteY15673" fmla="*/ 1778967 h 4687251"/>
              <a:gd name="connsiteX15674" fmla="*/ 4512758 w 8079933"/>
              <a:gd name="connsiteY15674" fmla="*/ 1778972 h 4687251"/>
              <a:gd name="connsiteX15675" fmla="*/ 4430843 w 8079933"/>
              <a:gd name="connsiteY15675" fmla="*/ 1777261 h 4687251"/>
              <a:gd name="connsiteX15676" fmla="*/ 4430852 w 8079933"/>
              <a:gd name="connsiteY15676" fmla="*/ 1777285 h 4687251"/>
              <a:gd name="connsiteX15677" fmla="*/ 4430846 w 8079933"/>
              <a:gd name="connsiteY15677" fmla="*/ 1777270 h 4687251"/>
              <a:gd name="connsiteX15678" fmla="*/ 4367578 w 8079933"/>
              <a:gd name="connsiteY15678" fmla="*/ 1776719 h 4687251"/>
              <a:gd name="connsiteX15679" fmla="*/ 4359873 w 8079933"/>
              <a:gd name="connsiteY15679" fmla="*/ 1783215 h 4687251"/>
              <a:gd name="connsiteX15680" fmla="*/ 4353145 w 8079933"/>
              <a:gd name="connsiteY15680" fmla="*/ 1785489 h 4687251"/>
              <a:gd name="connsiteX15681" fmla="*/ 4353145 w 8079933"/>
              <a:gd name="connsiteY15681" fmla="*/ 1785490 h 4687251"/>
              <a:gd name="connsiteX15682" fmla="*/ 4359872 w 8079933"/>
              <a:gd name="connsiteY15682" fmla="*/ 1783216 h 4687251"/>
              <a:gd name="connsiteX15683" fmla="*/ 4367577 w 8079933"/>
              <a:gd name="connsiteY15683" fmla="*/ 1776720 h 4687251"/>
              <a:gd name="connsiteX15684" fmla="*/ 4374306 w 8079933"/>
              <a:gd name="connsiteY15684" fmla="*/ 1783757 h 4687251"/>
              <a:gd name="connsiteX15685" fmla="*/ 4374306 w 8079933"/>
              <a:gd name="connsiteY15685" fmla="*/ 1783756 h 4687251"/>
              <a:gd name="connsiteX15686" fmla="*/ 4567492 w 8079933"/>
              <a:gd name="connsiteY15686" fmla="*/ 1776571 h 4687251"/>
              <a:gd name="connsiteX15687" fmla="*/ 4570287 w 8079933"/>
              <a:gd name="connsiteY15687" fmla="*/ 1779319 h 4687251"/>
              <a:gd name="connsiteX15688" fmla="*/ 4571485 w 8079933"/>
              <a:gd name="connsiteY15688" fmla="*/ 1779927 h 4687251"/>
              <a:gd name="connsiteX15689" fmla="*/ 4570287 w 8079933"/>
              <a:gd name="connsiteY15689" fmla="*/ 1779319 h 4687251"/>
              <a:gd name="connsiteX15690" fmla="*/ 4378331 w 8079933"/>
              <a:gd name="connsiteY15690" fmla="*/ 1776538 h 4687251"/>
              <a:gd name="connsiteX15691" fmla="*/ 4374849 w 8079933"/>
              <a:gd name="connsiteY15691" fmla="*/ 1779317 h 4687251"/>
              <a:gd name="connsiteX15692" fmla="*/ 4374849 w 8079933"/>
              <a:gd name="connsiteY15692" fmla="*/ 1779318 h 4687251"/>
              <a:gd name="connsiteX15693" fmla="*/ 4526989 w 8079933"/>
              <a:gd name="connsiteY15693" fmla="*/ 1776503 h 4687251"/>
              <a:gd name="connsiteX15694" fmla="*/ 4526988 w 8079933"/>
              <a:gd name="connsiteY15694" fmla="*/ 1776503 h 4687251"/>
              <a:gd name="connsiteX15695" fmla="*/ 4529701 w 8079933"/>
              <a:gd name="connsiteY15695" fmla="*/ 1787221 h 4687251"/>
              <a:gd name="connsiteX15696" fmla="*/ 4529702 w 8079933"/>
              <a:gd name="connsiteY15696" fmla="*/ 1787222 h 4687251"/>
              <a:gd name="connsiteX15697" fmla="*/ 4429351 w 8079933"/>
              <a:gd name="connsiteY15697" fmla="*/ 1776260 h 4687251"/>
              <a:gd name="connsiteX15698" fmla="*/ 4430843 w 8079933"/>
              <a:gd name="connsiteY15698" fmla="*/ 1777261 h 4687251"/>
              <a:gd name="connsiteX15699" fmla="*/ 4430846 w 8079933"/>
              <a:gd name="connsiteY15699" fmla="*/ 1777270 h 4687251"/>
              <a:gd name="connsiteX15700" fmla="*/ 4430869 w 8079933"/>
              <a:gd name="connsiteY15700" fmla="*/ 1777329 h 4687251"/>
              <a:gd name="connsiteX15701" fmla="*/ 4430843 w 8079933"/>
              <a:gd name="connsiteY15701" fmla="*/ 1777261 h 4687251"/>
              <a:gd name="connsiteX15702" fmla="*/ 4430843 w 8079933"/>
              <a:gd name="connsiteY15702" fmla="*/ 1777261 h 4687251"/>
              <a:gd name="connsiteX15703" fmla="*/ 4098348 w 8079933"/>
              <a:gd name="connsiteY15703" fmla="*/ 1775854 h 4687251"/>
              <a:gd name="connsiteX15704" fmla="*/ 4098348 w 8079933"/>
              <a:gd name="connsiteY15704" fmla="*/ 1775854 h 4687251"/>
              <a:gd name="connsiteX15705" fmla="*/ 4095852 w 8079933"/>
              <a:gd name="connsiteY15705" fmla="*/ 1784082 h 4687251"/>
              <a:gd name="connsiteX15706" fmla="*/ 4096276 w 8079933"/>
              <a:gd name="connsiteY15706" fmla="*/ 1790847 h 4687251"/>
              <a:gd name="connsiteX15707" fmla="*/ 4095853 w 8079933"/>
              <a:gd name="connsiteY15707" fmla="*/ 1784082 h 4687251"/>
              <a:gd name="connsiteX15708" fmla="*/ 4516680 w 8079933"/>
              <a:gd name="connsiteY15708" fmla="*/ 1772281 h 4687251"/>
              <a:gd name="connsiteX15709" fmla="*/ 4516680 w 8079933"/>
              <a:gd name="connsiteY15709" fmla="*/ 1772281 h 4687251"/>
              <a:gd name="connsiteX15710" fmla="*/ 4517374 w 8079933"/>
              <a:gd name="connsiteY15710" fmla="*/ 1776958 h 4687251"/>
              <a:gd name="connsiteX15711" fmla="*/ 4391235 w 8079933"/>
              <a:gd name="connsiteY15711" fmla="*/ 1768815 h 4687251"/>
              <a:gd name="connsiteX15712" fmla="*/ 4383313 w 8079933"/>
              <a:gd name="connsiteY15712" fmla="*/ 1769465 h 4687251"/>
              <a:gd name="connsiteX15713" fmla="*/ 4381993 w 8079933"/>
              <a:gd name="connsiteY15713" fmla="*/ 1771510 h 4687251"/>
              <a:gd name="connsiteX15714" fmla="*/ 4383312 w 8079933"/>
              <a:gd name="connsiteY15714" fmla="*/ 1769466 h 4687251"/>
              <a:gd name="connsiteX15715" fmla="*/ 4391234 w 8079933"/>
              <a:gd name="connsiteY15715" fmla="*/ 1768816 h 4687251"/>
              <a:gd name="connsiteX15716" fmla="*/ 4396769 w 8079933"/>
              <a:gd name="connsiteY15716" fmla="*/ 1770332 h 4687251"/>
              <a:gd name="connsiteX15717" fmla="*/ 4406426 w 8079933"/>
              <a:gd name="connsiteY15717" fmla="*/ 1769682 h 4687251"/>
              <a:gd name="connsiteX15718" fmla="*/ 4413806 w 8079933"/>
              <a:gd name="connsiteY15718" fmla="*/ 1771415 h 4687251"/>
              <a:gd name="connsiteX15719" fmla="*/ 4413871 w 8079933"/>
              <a:gd name="connsiteY15719" fmla="*/ 1771372 h 4687251"/>
              <a:gd name="connsiteX15720" fmla="*/ 4413806 w 8079933"/>
              <a:gd name="connsiteY15720" fmla="*/ 1771414 h 4687251"/>
              <a:gd name="connsiteX15721" fmla="*/ 4406427 w 8079933"/>
              <a:gd name="connsiteY15721" fmla="*/ 1769681 h 4687251"/>
              <a:gd name="connsiteX15722" fmla="*/ 4396769 w 8079933"/>
              <a:gd name="connsiteY15722" fmla="*/ 1770331 h 4687251"/>
              <a:gd name="connsiteX15723" fmla="*/ 2580308 w 8079933"/>
              <a:gd name="connsiteY15723" fmla="*/ 1768383 h 4687251"/>
              <a:gd name="connsiteX15724" fmla="*/ 2581176 w 8079933"/>
              <a:gd name="connsiteY15724" fmla="*/ 1768491 h 4687251"/>
              <a:gd name="connsiteX15725" fmla="*/ 2580850 w 8079933"/>
              <a:gd name="connsiteY15725" fmla="*/ 1769682 h 4687251"/>
              <a:gd name="connsiteX15726" fmla="*/ 2580742 w 8079933"/>
              <a:gd name="connsiteY15726" fmla="*/ 1769032 h 4687251"/>
              <a:gd name="connsiteX15727" fmla="*/ 2577161 w 8079933"/>
              <a:gd name="connsiteY15727" fmla="*/ 1771956 h 4687251"/>
              <a:gd name="connsiteX15728" fmla="*/ 2576076 w 8079933"/>
              <a:gd name="connsiteY15728" fmla="*/ 1774879 h 4687251"/>
              <a:gd name="connsiteX15729" fmla="*/ 2574449 w 8079933"/>
              <a:gd name="connsiteY15729" fmla="*/ 1775746 h 4687251"/>
              <a:gd name="connsiteX15730" fmla="*/ 2575317 w 8079933"/>
              <a:gd name="connsiteY15730" fmla="*/ 1777478 h 4687251"/>
              <a:gd name="connsiteX15731" fmla="*/ 2577270 w 8079933"/>
              <a:gd name="connsiteY15731" fmla="*/ 1777695 h 4687251"/>
              <a:gd name="connsiteX15732" fmla="*/ 2576402 w 8079933"/>
              <a:gd name="connsiteY15732" fmla="*/ 1778778 h 4687251"/>
              <a:gd name="connsiteX15733" fmla="*/ 2574882 w 8079933"/>
              <a:gd name="connsiteY15733" fmla="*/ 1778128 h 4687251"/>
              <a:gd name="connsiteX15734" fmla="*/ 2573472 w 8079933"/>
              <a:gd name="connsiteY15734" fmla="*/ 1775638 h 4687251"/>
              <a:gd name="connsiteX15735" fmla="*/ 2576185 w 8079933"/>
              <a:gd name="connsiteY15735" fmla="*/ 1771740 h 4687251"/>
              <a:gd name="connsiteX15736" fmla="*/ 4517195 w 8079933"/>
              <a:gd name="connsiteY15736" fmla="*/ 1767422 h 4687251"/>
              <a:gd name="connsiteX15737" fmla="*/ 4517548 w 8079933"/>
              <a:gd name="connsiteY15737" fmla="*/ 1769466 h 4687251"/>
              <a:gd name="connsiteX15738" fmla="*/ 4517548 w 8079933"/>
              <a:gd name="connsiteY15738" fmla="*/ 1769466 h 4687251"/>
              <a:gd name="connsiteX15739" fmla="*/ 2406140 w 8079933"/>
              <a:gd name="connsiteY15739" fmla="*/ 1767409 h 4687251"/>
              <a:gd name="connsiteX15740" fmla="*/ 2406139 w 8079933"/>
              <a:gd name="connsiteY15740" fmla="*/ 1767409 h 4687251"/>
              <a:gd name="connsiteX15741" fmla="*/ 2404294 w 8079933"/>
              <a:gd name="connsiteY15741" fmla="*/ 1771198 h 4687251"/>
              <a:gd name="connsiteX15742" fmla="*/ 2395830 w 8079933"/>
              <a:gd name="connsiteY15742" fmla="*/ 1780618 h 4687251"/>
              <a:gd name="connsiteX15743" fmla="*/ 2391598 w 8079933"/>
              <a:gd name="connsiteY15743" fmla="*/ 1786032 h 4687251"/>
              <a:gd name="connsiteX15744" fmla="*/ 2391923 w 8079933"/>
              <a:gd name="connsiteY15744" fmla="*/ 1790038 h 4687251"/>
              <a:gd name="connsiteX15745" fmla="*/ 2389004 w 8079933"/>
              <a:gd name="connsiteY15745" fmla="*/ 1791598 h 4687251"/>
              <a:gd name="connsiteX15746" fmla="*/ 2391924 w 8079933"/>
              <a:gd name="connsiteY15746" fmla="*/ 1790037 h 4687251"/>
              <a:gd name="connsiteX15747" fmla="*/ 2391598 w 8079933"/>
              <a:gd name="connsiteY15747" fmla="*/ 1786031 h 4687251"/>
              <a:gd name="connsiteX15748" fmla="*/ 2395831 w 8079933"/>
              <a:gd name="connsiteY15748" fmla="*/ 1780618 h 4687251"/>
              <a:gd name="connsiteX15749" fmla="*/ 2404295 w 8079933"/>
              <a:gd name="connsiteY15749" fmla="*/ 1771198 h 4687251"/>
              <a:gd name="connsiteX15750" fmla="*/ 5783267 w 8079933"/>
              <a:gd name="connsiteY15750" fmla="*/ 1767374 h 4687251"/>
              <a:gd name="connsiteX15751" fmla="*/ 5782959 w 8079933"/>
              <a:gd name="connsiteY15751" fmla="*/ 1772389 h 4687251"/>
              <a:gd name="connsiteX15752" fmla="*/ 5780680 w 8079933"/>
              <a:gd name="connsiteY15752" fmla="*/ 1786140 h 4687251"/>
              <a:gd name="connsiteX15753" fmla="*/ 5780680 w 8079933"/>
              <a:gd name="connsiteY15753" fmla="*/ 1796858 h 4687251"/>
              <a:gd name="connsiteX15754" fmla="*/ 5779487 w 8079933"/>
              <a:gd name="connsiteY15754" fmla="*/ 1800431 h 4687251"/>
              <a:gd name="connsiteX15755" fmla="*/ 5782200 w 8079933"/>
              <a:gd name="connsiteY15755" fmla="*/ 1802488 h 4687251"/>
              <a:gd name="connsiteX15756" fmla="*/ 5787734 w 8079933"/>
              <a:gd name="connsiteY15756" fmla="*/ 1804870 h 4687251"/>
              <a:gd name="connsiteX15757" fmla="*/ 5787734 w 8079933"/>
              <a:gd name="connsiteY15757" fmla="*/ 1804870 h 4687251"/>
              <a:gd name="connsiteX15758" fmla="*/ 5782201 w 8079933"/>
              <a:gd name="connsiteY15758" fmla="*/ 1802487 h 4687251"/>
              <a:gd name="connsiteX15759" fmla="*/ 5779488 w 8079933"/>
              <a:gd name="connsiteY15759" fmla="*/ 1800430 h 4687251"/>
              <a:gd name="connsiteX15760" fmla="*/ 5780681 w 8079933"/>
              <a:gd name="connsiteY15760" fmla="*/ 1796858 h 4687251"/>
              <a:gd name="connsiteX15761" fmla="*/ 5780681 w 8079933"/>
              <a:gd name="connsiteY15761" fmla="*/ 1786138 h 4687251"/>
              <a:gd name="connsiteX15762" fmla="*/ 5782960 w 8079933"/>
              <a:gd name="connsiteY15762" fmla="*/ 1772389 h 4687251"/>
              <a:gd name="connsiteX15763" fmla="*/ 2707815 w 8079933"/>
              <a:gd name="connsiteY15763" fmla="*/ 1766759 h 4687251"/>
              <a:gd name="connsiteX15764" fmla="*/ 2708900 w 8079933"/>
              <a:gd name="connsiteY15764" fmla="*/ 1768383 h 4687251"/>
              <a:gd name="connsiteX15765" fmla="*/ 2707924 w 8079933"/>
              <a:gd name="connsiteY15765" fmla="*/ 1769466 h 4687251"/>
              <a:gd name="connsiteX15766" fmla="*/ 2706622 w 8079933"/>
              <a:gd name="connsiteY15766" fmla="*/ 1769033 h 4687251"/>
              <a:gd name="connsiteX15767" fmla="*/ 2431423 w 8079933"/>
              <a:gd name="connsiteY15767" fmla="*/ 1766543 h 4687251"/>
              <a:gd name="connsiteX15768" fmla="*/ 2429362 w 8079933"/>
              <a:gd name="connsiteY15768" fmla="*/ 1768491 h 4687251"/>
              <a:gd name="connsiteX15769" fmla="*/ 2431423 w 8079933"/>
              <a:gd name="connsiteY15769" fmla="*/ 1766543 h 4687251"/>
              <a:gd name="connsiteX15770" fmla="*/ 4979610 w 8079933"/>
              <a:gd name="connsiteY15770" fmla="*/ 1766434 h 4687251"/>
              <a:gd name="connsiteX15771" fmla="*/ 4979310 w 8079933"/>
              <a:gd name="connsiteY15771" fmla="*/ 1767017 h 4687251"/>
              <a:gd name="connsiteX15772" fmla="*/ 4990029 w 8079933"/>
              <a:gd name="connsiteY15772" fmla="*/ 1770008 h 4687251"/>
              <a:gd name="connsiteX15773" fmla="*/ 5000881 w 8079933"/>
              <a:gd name="connsiteY15773" fmla="*/ 1780835 h 4687251"/>
              <a:gd name="connsiteX15774" fmla="*/ 5010538 w 8079933"/>
              <a:gd name="connsiteY15774" fmla="*/ 1796967 h 4687251"/>
              <a:gd name="connsiteX15775" fmla="*/ 5001423 w 8079933"/>
              <a:gd name="connsiteY15775" fmla="*/ 1796967 h 4687251"/>
              <a:gd name="connsiteX15776" fmla="*/ 5001423 w 8079933"/>
              <a:gd name="connsiteY15776" fmla="*/ 1800974 h 4687251"/>
              <a:gd name="connsiteX15777" fmla="*/ 5010213 w 8079933"/>
              <a:gd name="connsiteY15777" fmla="*/ 1806820 h 4687251"/>
              <a:gd name="connsiteX15778" fmla="*/ 5013201 w 8079933"/>
              <a:gd name="connsiteY15778" fmla="*/ 1805826 h 4687251"/>
              <a:gd name="connsiteX15779" fmla="*/ 5006197 w 8079933"/>
              <a:gd name="connsiteY15779" fmla="*/ 1801081 h 4687251"/>
              <a:gd name="connsiteX15780" fmla="*/ 5006740 w 8079933"/>
              <a:gd name="connsiteY15780" fmla="*/ 1797183 h 4687251"/>
              <a:gd name="connsiteX15781" fmla="*/ 5015855 w 8079933"/>
              <a:gd name="connsiteY15781" fmla="*/ 1797183 h 4687251"/>
              <a:gd name="connsiteX15782" fmla="*/ 5006197 w 8079933"/>
              <a:gd name="connsiteY15782" fmla="*/ 1781050 h 4687251"/>
              <a:gd name="connsiteX15783" fmla="*/ 4995129 w 8079933"/>
              <a:gd name="connsiteY15783" fmla="*/ 1770657 h 4687251"/>
              <a:gd name="connsiteX15784" fmla="*/ 6910991 w 8079933"/>
              <a:gd name="connsiteY15784" fmla="*/ 1766414 h 4687251"/>
              <a:gd name="connsiteX15785" fmla="*/ 6910990 w 8079933"/>
              <a:gd name="connsiteY15785" fmla="*/ 1766434 h 4687251"/>
              <a:gd name="connsiteX15786" fmla="*/ 6910991 w 8079933"/>
              <a:gd name="connsiteY15786" fmla="*/ 1766444 h 4687251"/>
              <a:gd name="connsiteX15787" fmla="*/ 4306243 w 8079933"/>
              <a:gd name="connsiteY15787" fmla="*/ 1765841 h 4687251"/>
              <a:gd name="connsiteX15788" fmla="*/ 4305831 w 8079933"/>
              <a:gd name="connsiteY15788" fmla="*/ 1773038 h 4687251"/>
              <a:gd name="connsiteX15789" fmla="*/ 4307242 w 8079933"/>
              <a:gd name="connsiteY15789" fmla="*/ 1783108 h 4687251"/>
              <a:gd name="connsiteX15790" fmla="*/ 4307242 w 8079933"/>
              <a:gd name="connsiteY15790" fmla="*/ 1783108 h 4687251"/>
              <a:gd name="connsiteX15791" fmla="*/ 4323194 w 8079933"/>
              <a:gd name="connsiteY15791" fmla="*/ 1792311 h 4687251"/>
              <a:gd name="connsiteX15792" fmla="*/ 4331658 w 8079933"/>
              <a:gd name="connsiteY15792" fmla="*/ 1793935 h 4687251"/>
              <a:gd name="connsiteX15793" fmla="*/ 4339689 w 8079933"/>
              <a:gd name="connsiteY15793" fmla="*/ 1791119 h 4687251"/>
              <a:gd name="connsiteX15794" fmla="*/ 4352493 w 8079933"/>
              <a:gd name="connsiteY15794" fmla="*/ 1789929 h 4687251"/>
              <a:gd name="connsiteX15795" fmla="*/ 4339689 w 8079933"/>
              <a:gd name="connsiteY15795" fmla="*/ 1791119 h 4687251"/>
              <a:gd name="connsiteX15796" fmla="*/ 4331659 w 8079933"/>
              <a:gd name="connsiteY15796" fmla="*/ 1793934 h 4687251"/>
              <a:gd name="connsiteX15797" fmla="*/ 4323194 w 8079933"/>
              <a:gd name="connsiteY15797" fmla="*/ 1792310 h 4687251"/>
              <a:gd name="connsiteX15798" fmla="*/ 4307242 w 8079933"/>
              <a:gd name="connsiteY15798" fmla="*/ 1783107 h 4687251"/>
              <a:gd name="connsiteX15799" fmla="*/ 4305832 w 8079933"/>
              <a:gd name="connsiteY15799" fmla="*/ 1773038 h 4687251"/>
              <a:gd name="connsiteX15800" fmla="*/ 4103086 w 8079933"/>
              <a:gd name="connsiteY15800" fmla="*/ 1765013 h 4687251"/>
              <a:gd name="connsiteX15801" fmla="*/ 4101603 w 8079933"/>
              <a:gd name="connsiteY15801" fmla="*/ 1769141 h 4687251"/>
              <a:gd name="connsiteX15802" fmla="*/ 4101603 w 8079933"/>
              <a:gd name="connsiteY15802" fmla="*/ 1772823 h 4687251"/>
              <a:gd name="connsiteX15803" fmla="*/ 4101604 w 8079933"/>
              <a:gd name="connsiteY15803" fmla="*/ 1772822 h 4687251"/>
              <a:gd name="connsiteX15804" fmla="*/ 4101604 w 8079933"/>
              <a:gd name="connsiteY15804" fmla="*/ 1769141 h 4687251"/>
              <a:gd name="connsiteX15805" fmla="*/ 4520639 w 8079933"/>
              <a:gd name="connsiteY15805" fmla="*/ 1764174 h 4687251"/>
              <a:gd name="connsiteX15806" fmla="*/ 4520260 w 8079933"/>
              <a:gd name="connsiteY15806" fmla="*/ 1764702 h 4687251"/>
              <a:gd name="connsiteX15807" fmla="*/ 4520261 w 8079933"/>
              <a:gd name="connsiteY15807" fmla="*/ 1764702 h 4687251"/>
              <a:gd name="connsiteX15808" fmla="*/ 4318745 w 8079933"/>
              <a:gd name="connsiteY15808" fmla="*/ 1761778 h 4687251"/>
              <a:gd name="connsiteX15809" fmla="*/ 4313211 w 8079933"/>
              <a:gd name="connsiteY15809" fmla="*/ 1761886 h 4687251"/>
              <a:gd name="connsiteX15810" fmla="*/ 4311677 w 8079933"/>
              <a:gd name="connsiteY15810" fmla="*/ 1762926 h 4687251"/>
              <a:gd name="connsiteX15811" fmla="*/ 4313211 w 8079933"/>
              <a:gd name="connsiteY15811" fmla="*/ 1761886 h 4687251"/>
              <a:gd name="connsiteX15812" fmla="*/ 4318745 w 8079933"/>
              <a:gd name="connsiteY15812" fmla="*/ 1761778 h 4687251"/>
              <a:gd name="connsiteX15813" fmla="*/ 4534585 w 8079933"/>
              <a:gd name="connsiteY15813" fmla="*/ 1761563 h 4687251"/>
              <a:gd name="connsiteX15814" fmla="*/ 4534585 w 8079933"/>
              <a:gd name="connsiteY15814" fmla="*/ 1761563 h 4687251"/>
              <a:gd name="connsiteX15815" fmla="*/ 4534851 w 8079933"/>
              <a:gd name="connsiteY15815" fmla="*/ 1761986 h 4687251"/>
              <a:gd name="connsiteX15816" fmla="*/ 4234753 w 8079933"/>
              <a:gd name="connsiteY15816" fmla="*/ 1761237 h 4687251"/>
              <a:gd name="connsiteX15817" fmla="*/ 4246906 w 8079933"/>
              <a:gd name="connsiteY15817" fmla="*/ 1768166 h 4687251"/>
              <a:gd name="connsiteX15818" fmla="*/ 4246907 w 8079933"/>
              <a:gd name="connsiteY15818" fmla="*/ 1768166 h 4687251"/>
              <a:gd name="connsiteX15819" fmla="*/ 5972322 w 8079933"/>
              <a:gd name="connsiteY15819" fmla="*/ 1760479 h 4687251"/>
              <a:gd name="connsiteX15820" fmla="*/ 5971236 w 8079933"/>
              <a:gd name="connsiteY15820" fmla="*/ 1763510 h 4687251"/>
              <a:gd name="connsiteX15821" fmla="*/ 5972430 w 8079933"/>
              <a:gd name="connsiteY15821" fmla="*/ 1769140 h 4687251"/>
              <a:gd name="connsiteX15822" fmla="*/ 5975143 w 8079933"/>
              <a:gd name="connsiteY15822" fmla="*/ 1772280 h 4687251"/>
              <a:gd name="connsiteX15823" fmla="*/ 5973624 w 8079933"/>
              <a:gd name="connsiteY15823" fmla="*/ 1776611 h 4687251"/>
              <a:gd name="connsiteX15824" fmla="*/ 5970260 w 8079933"/>
              <a:gd name="connsiteY15824" fmla="*/ 1779318 h 4687251"/>
              <a:gd name="connsiteX15825" fmla="*/ 5968741 w 8079933"/>
              <a:gd name="connsiteY15825" fmla="*/ 1781808 h 4687251"/>
              <a:gd name="connsiteX15826" fmla="*/ 5968741 w 8079933"/>
              <a:gd name="connsiteY15826" fmla="*/ 1785273 h 4687251"/>
              <a:gd name="connsiteX15827" fmla="*/ 5969459 w 8079933"/>
              <a:gd name="connsiteY15827" fmla="*/ 1788406 h 4687251"/>
              <a:gd name="connsiteX15828" fmla="*/ 5968742 w 8079933"/>
              <a:gd name="connsiteY15828" fmla="*/ 1785273 h 4687251"/>
              <a:gd name="connsiteX15829" fmla="*/ 5968742 w 8079933"/>
              <a:gd name="connsiteY15829" fmla="*/ 1781809 h 4687251"/>
              <a:gd name="connsiteX15830" fmla="*/ 5970261 w 8079933"/>
              <a:gd name="connsiteY15830" fmla="*/ 1779318 h 4687251"/>
              <a:gd name="connsiteX15831" fmla="*/ 5973624 w 8079933"/>
              <a:gd name="connsiteY15831" fmla="*/ 1776612 h 4687251"/>
              <a:gd name="connsiteX15832" fmla="*/ 5975144 w 8079933"/>
              <a:gd name="connsiteY15832" fmla="*/ 1772281 h 4687251"/>
              <a:gd name="connsiteX15833" fmla="*/ 5972431 w 8079933"/>
              <a:gd name="connsiteY15833" fmla="*/ 1769141 h 4687251"/>
              <a:gd name="connsiteX15834" fmla="*/ 5971238 w 8079933"/>
              <a:gd name="connsiteY15834" fmla="*/ 1763511 h 4687251"/>
              <a:gd name="connsiteX15835" fmla="*/ 5972322 w 8079933"/>
              <a:gd name="connsiteY15835" fmla="*/ 1760479 h 4687251"/>
              <a:gd name="connsiteX15836" fmla="*/ 4292809 w 8079933"/>
              <a:gd name="connsiteY15836" fmla="*/ 1760262 h 4687251"/>
              <a:gd name="connsiteX15837" fmla="*/ 4286515 w 8079933"/>
              <a:gd name="connsiteY15837" fmla="*/ 1761561 h 4687251"/>
              <a:gd name="connsiteX15838" fmla="*/ 4292809 w 8079933"/>
              <a:gd name="connsiteY15838" fmla="*/ 1760263 h 4687251"/>
              <a:gd name="connsiteX15839" fmla="*/ 4296933 w 8079933"/>
              <a:gd name="connsiteY15839" fmla="*/ 1763294 h 4687251"/>
              <a:gd name="connsiteX15840" fmla="*/ 4300291 w 8079933"/>
              <a:gd name="connsiteY15840" fmla="*/ 1764073 h 4687251"/>
              <a:gd name="connsiteX15841" fmla="*/ 4296933 w 8079933"/>
              <a:gd name="connsiteY15841" fmla="*/ 1763294 h 4687251"/>
              <a:gd name="connsiteX15842" fmla="*/ 4334401 w 8079933"/>
              <a:gd name="connsiteY15842" fmla="*/ 1759778 h 4687251"/>
              <a:gd name="connsiteX15843" fmla="*/ 4330031 w 8079933"/>
              <a:gd name="connsiteY15843" fmla="*/ 1760370 h 4687251"/>
              <a:gd name="connsiteX15844" fmla="*/ 4322983 w 8079933"/>
              <a:gd name="connsiteY15844" fmla="*/ 1762882 h 4687251"/>
              <a:gd name="connsiteX15845" fmla="*/ 4330031 w 8079933"/>
              <a:gd name="connsiteY15845" fmla="*/ 1760370 h 4687251"/>
              <a:gd name="connsiteX15846" fmla="*/ 4265138 w 8079933"/>
              <a:gd name="connsiteY15846" fmla="*/ 1756798 h 4687251"/>
              <a:gd name="connsiteX15847" fmla="*/ 4273927 w 8079933"/>
              <a:gd name="connsiteY15847" fmla="*/ 1757122 h 4687251"/>
              <a:gd name="connsiteX15848" fmla="*/ 4279787 w 8079933"/>
              <a:gd name="connsiteY15848" fmla="*/ 1761237 h 4687251"/>
              <a:gd name="connsiteX15849" fmla="*/ 4273928 w 8079933"/>
              <a:gd name="connsiteY15849" fmla="*/ 1757122 h 4687251"/>
              <a:gd name="connsiteX15850" fmla="*/ 5971996 w 8079933"/>
              <a:gd name="connsiteY15850" fmla="*/ 1755065 h 4687251"/>
              <a:gd name="connsiteX15851" fmla="*/ 5972306 w 8079933"/>
              <a:gd name="connsiteY15851" fmla="*/ 1760220 h 4687251"/>
              <a:gd name="connsiteX15852" fmla="*/ 5971997 w 8079933"/>
              <a:gd name="connsiteY15852" fmla="*/ 1755066 h 4687251"/>
              <a:gd name="connsiteX15853" fmla="*/ 4345224 w 8079933"/>
              <a:gd name="connsiteY15853" fmla="*/ 1752792 h 4687251"/>
              <a:gd name="connsiteX15854" fmla="*/ 4338820 w 8079933"/>
              <a:gd name="connsiteY15854" fmla="*/ 1759179 h 4687251"/>
              <a:gd name="connsiteX15855" fmla="*/ 4338821 w 8079933"/>
              <a:gd name="connsiteY15855" fmla="*/ 1759179 h 4687251"/>
              <a:gd name="connsiteX15856" fmla="*/ 4083156 w 8079933"/>
              <a:gd name="connsiteY15856" fmla="*/ 1750951 h 4687251"/>
              <a:gd name="connsiteX15857" fmla="*/ 4080070 w 8079933"/>
              <a:gd name="connsiteY15857" fmla="*/ 1752033 h 4687251"/>
              <a:gd name="connsiteX15858" fmla="*/ 4083156 w 8079933"/>
              <a:gd name="connsiteY15858" fmla="*/ 1750952 h 4687251"/>
              <a:gd name="connsiteX15859" fmla="*/ 4087279 w 8079933"/>
              <a:gd name="connsiteY15859" fmla="*/ 1750952 h 4687251"/>
              <a:gd name="connsiteX15860" fmla="*/ 4090426 w 8079933"/>
              <a:gd name="connsiteY15860" fmla="*/ 1752142 h 4687251"/>
              <a:gd name="connsiteX15861" fmla="*/ 4087280 w 8079933"/>
              <a:gd name="connsiteY15861" fmla="*/ 1750951 h 4687251"/>
              <a:gd name="connsiteX15862" fmla="*/ 4094658 w 8079933"/>
              <a:gd name="connsiteY15862" fmla="*/ 1750735 h 4687251"/>
              <a:gd name="connsiteX15863" fmla="*/ 4091356 w 8079933"/>
              <a:gd name="connsiteY15863" fmla="*/ 1751833 h 4687251"/>
              <a:gd name="connsiteX15864" fmla="*/ 4094658 w 8079933"/>
              <a:gd name="connsiteY15864" fmla="*/ 1750735 h 4687251"/>
              <a:gd name="connsiteX15865" fmla="*/ 4100409 w 8079933"/>
              <a:gd name="connsiteY15865" fmla="*/ 1753334 h 4687251"/>
              <a:gd name="connsiteX15866" fmla="*/ 4104859 w 8079933"/>
              <a:gd name="connsiteY15866" fmla="*/ 1753334 h 4687251"/>
              <a:gd name="connsiteX15867" fmla="*/ 4109525 w 8079933"/>
              <a:gd name="connsiteY15867" fmla="*/ 1756473 h 4687251"/>
              <a:gd name="connsiteX15868" fmla="*/ 4104859 w 8079933"/>
              <a:gd name="connsiteY15868" fmla="*/ 1753333 h 4687251"/>
              <a:gd name="connsiteX15869" fmla="*/ 4100410 w 8079933"/>
              <a:gd name="connsiteY15869" fmla="*/ 1753333 h 4687251"/>
              <a:gd name="connsiteX15870" fmla="*/ 5787410 w 8079933"/>
              <a:gd name="connsiteY15870" fmla="*/ 1749436 h 4687251"/>
              <a:gd name="connsiteX15871" fmla="*/ 5787408 w 8079933"/>
              <a:gd name="connsiteY15871" fmla="*/ 1749436 h 4687251"/>
              <a:gd name="connsiteX15872" fmla="*/ 5785346 w 8079933"/>
              <a:gd name="connsiteY15872" fmla="*/ 1760263 h 4687251"/>
              <a:gd name="connsiteX15873" fmla="*/ 5783760 w 8079933"/>
              <a:gd name="connsiteY15873" fmla="*/ 1765512 h 4687251"/>
              <a:gd name="connsiteX15874" fmla="*/ 5785347 w 8079933"/>
              <a:gd name="connsiteY15874" fmla="*/ 1760262 h 4687251"/>
              <a:gd name="connsiteX15875" fmla="*/ 5835807 w 8079933"/>
              <a:gd name="connsiteY15875" fmla="*/ 1749003 h 4687251"/>
              <a:gd name="connsiteX15876" fmla="*/ 5831683 w 8079933"/>
              <a:gd name="connsiteY15876" fmla="*/ 1753875 h 4687251"/>
              <a:gd name="connsiteX15877" fmla="*/ 5831256 w 8079933"/>
              <a:gd name="connsiteY15877" fmla="*/ 1754021 h 4687251"/>
              <a:gd name="connsiteX15878" fmla="*/ 5831685 w 8079933"/>
              <a:gd name="connsiteY15878" fmla="*/ 1753874 h 4687251"/>
              <a:gd name="connsiteX15879" fmla="*/ 4075017 w 8079933"/>
              <a:gd name="connsiteY15879" fmla="*/ 1748894 h 4687251"/>
              <a:gd name="connsiteX15880" fmla="*/ 4075017 w 8079933"/>
              <a:gd name="connsiteY15880" fmla="*/ 1748895 h 4687251"/>
              <a:gd name="connsiteX15881" fmla="*/ 4079140 w 8079933"/>
              <a:gd name="connsiteY15881" fmla="*/ 1752359 h 4687251"/>
              <a:gd name="connsiteX15882" fmla="*/ 4079141 w 8079933"/>
              <a:gd name="connsiteY15882" fmla="*/ 1752359 h 4687251"/>
              <a:gd name="connsiteX15883" fmla="*/ 4219414 w 8079933"/>
              <a:gd name="connsiteY15883" fmla="*/ 1748039 h 4687251"/>
              <a:gd name="connsiteX15884" fmla="*/ 4221840 w 8079933"/>
              <a:gd name="connsiteY15884" fmla="*/ 1749652 h 4687251"/>
              <a:gd name="connsiteX15885" fmla="*/ 4231498 w 8079933"/>
              <a:gd name="connsiteY15885" fmla="*/ 1760696 h 4687251"/>
              <a:gd name="connsiteX15886" fmla="*/ 4221840 w 8079933"/>
              <a:gd name="connsiteY15886" fmla="*/ 1749652 h 4687251"/>
              <a:gd name="connsiteX15887" fmla="*/ 5967114 w 8079933"/>
              <a:gd name="connsiteY15887" fmla="*/ 1747271 h 4687251"/>
              <a:gd name="connsiteX15888" fmla="*/ 5970043 w 8079933"/>
              <a:gd name="connsiteY15888" fmla="*/ 1752142 h 4687251"/>
              <a:gd name="connsiteX15889" fmla="*/ 5971776 w 8079933"/>
              <a:gd name="connsiteY15889" fmla="*/ 1754735 h 4687251"/>
              <a:gd name="connsiteX15890" fmla="*/ 5970044 w 8079933"/>
              <a:gd name="connsiteY15890" fmla="*/ 1752143 h 4687251"/>
              <a:gd name="connsiteX15891" fmla="*/ 4381920 w 8079933"/>
              <a:gd name="connsiteY15891" fmla="*/ 1743253 h 4687251"/>
              <a:gd name="connsiteX15892" fmla="*/ 4383855 w 8079933"/>
              <a:gd name="connsiteY15892" fmla="*/ 1743480 h 4687251"/>
              <a:gd name="connsiteX15893" fmla="*/ 4389607 w 8079933"/>
              <a:gd name="connsiteY15893" fmla="*/ 1743480 h 4687251"/>
              <a:gd name="connsiteX15894" fmla="*/ 4389606 w 8079933"/>
              <a:gd name="connsiteY15894" fmla="*/ 1743480 h 4687251"/>
              <a:gd name="connsiteX15895" fmla="*/ 4383854 w 8079933"/>
              <a:gd name="connsiteY15895" fmla="*/ 1743480 h 4687251"/>
              <a:gd name="connsiteX15896" fmla="*/ 4380165 w 8079933"/>
              <a:gd name="connsiteY15896" fmla="*/ 1743047 h 4687251"/>
              <a:gd name="connsiteX15897" fmla="*/ 4376367 w 8079933"/>
              <a:gd name="connsiteY15897" fmla="*/ 1744346 h 4687251"/>
              <a:gd name="connsiteX15898" fmla="*/ 4373545 w 8079933"/>
              <a:gd name="connsiteY15898" fmla="*/ 1748677 h 4687251"/>
              <a:gd name="connsiteX15899" fmla="*/ 4373546 w 8079933"/>
              <a:gd name="connsiteY15899" fmla="*/ 1748677 h 4687251"/>
              <a:gd name="connsiteX15900" fmla="*/ 4376368 w 8079933"/>
              <a:gd name="connsiteY15900" fmla="*/ 1744346 h 4687251"/>
              <a:gd name="connsiteX15901" fmla="*/ 4396008 w 8079933"/>
              <a:gd name="connsiteY15901" fmla="*/ 1742722 h 4687251"/>
              <a:gd name="connsiteX15902" fmla="*/ 4392971 w 8079933"/>
              <a:gd name="connsiteY15902" fmla="*/ 1745753 h 4687251"/>
              <a:gd name="connsiteX15903" fmla="*/ 4392971 w 8079933"/>
              <a:gd name="connsiteY15903" fmla="*/ 1745754 h 4687251"/>
              <a:gd name="connsiteX15904" fmla="*/ 4396009 w 8079933"/>
              <a:gd name="connsiteY15904" fmla="*/ 1742722 h 4687251"/>
              <a:gd name="connsiteX15905" fmla="*/ 4406534 w 8079933"/>
              <a:gd name="connsiteY15905" fmla="*/ 1742506 h 4687251"/>
              <a:gd name="connsiteX15906" fmla="*/ 4403605 w 8079933"/>
              <a:gd name="connsiteY15906" fmla="*/ 1743913 h 4687251"/>
              <a:gd name="connsiteX15907" fmla="*/ 4403605 w 8079933"/>
              <a:gd name="connsiteY15907" fmla="*/ 1743913 h 4687251"/>
              <a:gd name="connsiteX15908" fmla="*/ 4406535 w 8079933"/>
              <a:gd name="connsiteY15908" fmla="*/ 1742506 h 4687251"/>
              <a:gd name="connsiteX15909" fmla="*/ 4061126 w 8079933"/>
              <a:gd name="connsiteY15909" fmla="*/ 1742181 h 4687251"/>
              <a:gd name="connsiteX15910" fmla="*/ 4067095 w 8079933"/>
              <a:gd name="connsiteY15910" fmla="*/ 1743373 h 4687251"/>
              <a:gd name="connsiteX15911" fmla="*/ 4070567 w 8079933"/>
              <a:gd name="connsiteY15911" fmla="*/ 1742507 h 4687251"/>
              <a:gd name="connsiteX15912" fmla="*/ 4074195 w 8079933"/>
              <a:gd name="connsiteY15912" fmla="*/ 1745331 h 4687251"/>
              <a:gd name="connsiteX15913" fmla="*/ 4070568 w 8079933"/>
              <a:gd name="connsiteY15913" fmla="*/ 1742506 h 4687251"/>
              <a:gd name="connsiteX15914" fmla="*/ 4070567 w 8079933"/>
              <a:gd name="connsiteY15914" fmla="*/ 1742506 h 4687251"/>
              <a:gd name="connsiteX15915" fmla="*/ 4067096 w 8079933"/>
              <a:gd name="connsiteY15915" fmla="*/ 1743372 h 4687251"/>
              <a:gd name="connsiteX15916" fmla="*/ 4068669 w 8079933"/>
              <a:gd name="connsiteY15916" fmla="*/ 1742967 h 4687251"/>
              <a:gd name="connsiteX15917" fmla="*/ 4067095 w 8079933"/>
              <a:gd name="connsiteY15917" fmla="*/ 1743372 h 4687251"/>
              <a:gd name="connsiteX15918" fmla="*/ 4366508 w 8079933"/>
              <a:gd name="connsiteY15918" fmla="*/ 1742044 h 4687251"/>
              <a:gd name="connsiteX15919" fmla="*/ 4366510 w 8079933"/>
              <a:gd name="connsiteY15919" fmla="*/ 1742051 h 4687251"/>
              <a:gd name="connsiteX15920" fmla="*/ 4367794 w 8079933"/>
              <a:gd name="connsiteY15920" fmla="*/ 1748136 h 4687251"/>
              <a:gd name="connsiteX15921" fmla="*/ 4367794 w 8079933"/>
              <a:gd name="connsiteY15921" fmla="*/ 1748352 h 4687251"/>
              <a:gd name="connsiteX15922" fmla="*/ 4356726 w 8079933"/>
              <a:gd name="connsiteY15922" fmla="*/ 1747270 h 4687251"/>
              <a:gd name="connsiteX15923" fmla="*/ 4351625 w 8079933"/>
              <a:gd name="connsiteY15923" fmla="*/ 1751925 h 4687251"/>
              <a:gd name="connsiteX15924" fmla="*/ 4349272 w 8079933"/>
              <a:gd name="connsiteY15924" fmla="*/ 1752135 h 4687251"/>
              <a:gd name="connsiteX15925" fmla="*/ 4351626 w 8079933"/>
              <a:gd name="connsiteY15925" fmla="*/ 1751925 h 4687251"/>
              <a:gd name="connsiteX15926" fmla="*/ 4356726 w 8079933"/>
              <a:gd name="connsiteY15926" fmla="*/ 1747270 h 4687251"/>
              <a:gd name="connsiteX15927" fmla="*/ 4367794 w 8079933"/>
              <a:gd name="connsiteY15927" fmla="*/ 1748352 h 4687251"/>
              <a:gd name="connsiteX15928" fmla="*/ 4367795 w 8079933"/>
              <a:gd name="connsiteY15928" fmla="*/ 1748352 h 4687251"/>
              <a:gd name="connsiteX15929" fmla="*/ 4367795 w 8079933"/>
              <a:gd name="connsiteY15929" fmla="*/ 1748137 h 4687251"/>
              <a:gd name="connsiteX15930" fmla="*/ 4367794 w 8079933"/>
              <a:gd name="connsiteY15930" fmla="*/ 1748136 h 4687251"/>
              <a:gd name="connsiteX15931" fmla="*/ 6549800 w 8079933"/>
              <a:gd name="connsiteY15931" fmla="*/ 1740229 h 4687251"/>
              <a:gd name="connsiteX15932" fmla="*/ 6549848 w 8079933"/>
              <a:gd name="connsiteY15932" fmla="*/ 1740774 h 4687251"/>
              <a:gd name="connsiteX15933" fmla="*/ 6549848 w 8079933"/>
              <a:gd name="connsiteY15933" fmla="*/ 1740773 h 4687251"/>
              <a:gd name="connsiteX15934" fmla="*/ 5958593 w 8079933"/>
              <a:gd name="connsiteY15934" fmla="*/ 1739306 h 4687251"/>
              <a:gd name="connsiteX15935" fmla="*/ 5959734 w 8079933"/>
              <a:gd name="connsiteY15935" fmla="*/ 1742397 h 4687251"/>
              <a:gd name="connsiteX15936" fmla="*/ 5963531 w 8079933"/>
              <a:gd name="connsiteY15936" fmla="*/ 1745538 h 4687251"/>
              <a:gd name="connsiteX15937" fmla="*/ 5964278 w 8079933"/>
              <a:gd name="connsiteY15937" fmla="*/ 1745899 h 4687251"/>
              <a:gd name="connsiteX15938" fmla="*/ 5963533 w 8079933"/>
              <a:gd name="connsiteY15938" fmla="*/ 1745538 h 4687251"/>
              <a:gd name="connsiteX15939" fmla="*/ 5959735 w 8079933"/>
              <a:gd name="connsiteY15939" fmla="*/ 1742398 h 4687251"/>
              <a:gd name="connsiteX15940" fmla="*/ 4356400 w 8079933"/>
              <a:gd name="connsiteY15940" fmla="*/ 1738067 h 4687251"/>
              <a:gd name="connsiteX15941" fmla="*/ 4354338 w 8079933"/>
              <a:gd name="connsiteY15941" fmla="*/ 1740449 h 4687251"/>
              <a:gd name="connsiteX15942" fmla="*/ 4353118 w 8079933"/>
              <a:gd name="connsiteY15942" fmla="*/ 1740385 h 4687251"/>
              <a:gd name="connsiteX15943" fmla="*/ 4354338 w 8079933"/>
              <a:gd name="connsiteY15943" fmla="*/ 1740449 h 4687251"/>
              <a:gd name="connsiteX15944" fmla="*/ 4057979 w 8079933"/>
              <a:gd name="connsiteY15944" fmla="*/ 1737742 h 4687251"/>
              <a:gd name="connsiteX15945" fmla="*/ 4057979 w 8079933"/>
              <a:gd name="connsiteY15945" fmla="*/ 1737742 h 4687251"/>
              <a:gd name="connsiteX15946" fmla="*/ 4057980 w 8079933"/>
              <a:gd name="connsiteY15946" fmla="*/ 1737742 h 4687251"/>
              <a:gd name="connsiteX15947" fmla="*/ 4058305 w 8079933"/>
              <a:gd name="connsiteY15947" fmla="*/ 1737742 h 4687251"/>
              <a:gd name="connsiteX15948" fmla="*/ 4058305 w 8079933"/>
              <a:gd name="connsiteY15948" fmla="*/ 1737742 h 4687251"/>
              <a:gd name="connsiteX15949" fmla="*/ 7269963 w 8079933"/>
              <a:gd name="connsiteY15949" fmla="*/ 1735252 h 4687251"/>
              <a:gd name="connsiteX15950" fmla="*/ 7269203 w 8079933"/>
              <a:gd name="connsiteY15950" fmla="*/ 1738825 h 4687251"/>
              <a:gd name="connsiteX15951" fmla="*/ 7264971 w 8079933"/>
              <a:gd name="connsiteY15951" fmla="*/ 1741640 h 4687251"/>
              <a:gd name="connsiteX15952" fmla="*/ 7262802 w 8079933"/>
              <a:gd name="connsiteY15952" fmla="*/ 1740882 h 4687251"/>
              <a:gd name="connsiteX15953" fmla="*/ 7266491 w 8079933"/>
              <a:gd name="connsiteY15953" fmla="*/ 1736768 h 4687251"/>
              <a:gd name="connsiteX15954" fmla="*/ 4203067 w 8079933"/>
              <a:gd name="connsiteY15954" fmla="*/ 1734819 h 4687251"/>
              <a:gd name="connsiteX15955" fmla="*/ 4203067 w 8079933"/>
              <a:gd name="connsiteY15955" fmla="*/ 1734819 h 4687251"/>
              <a:gd name="connsiteX15956" fmla="*/ 4203316 w 8079933"/>
              <a:gd name="connsiteY15956" fmla="*/ 1735501 h 4687251"/>
              <a:gd name="connsiteX15957" fmla="*/ 4054507 w 8079933"/>
              <a:gd name="connsiteY15957" fmla="*/ 1728107 h 4687251"/>
              <a:gd name="connsiteX15958" fmla="*/ 4054507 w 8079933"/>
              <a:gd name="connsiteY15958" fmla="*/ 1728107 h 4687251"/>
              <a:gd name="connsiteX15959" fmla="*/ 4056134 w 8079933"/>
              <a:gd name="connsiteY15959" fmla="*/ 1730164 h 4687251"/>
              <a:gd name="connsiteX15960" fmla="*/ 4056134 w 8079933"/>
              <a:gd name="connsiteY15960" fmla="*/ 1733412 h 4687251"/>
              <a:gd name="connsiteX15961" fmla="*/ 4057979 w 8079933"/>
              <a:gd name="connsiteY15961" fmla="*/ 1735144 h 4687251"/>
              <a:gd name="connsiteX15962" fmla="*/ 4057979 w 8079933"/>
              <a:gd name="connsiteY15962" fmla="*/ 1735143 h 4687251"/>
              <a:gd name="connsiteX15963" fmla="*/ 4056135 w 8079933"/>
              <a:gd name="connsiteY15963" fmla="*/ 1733411 h 4687251"/>
              <a:gd name="connsiteX15964" fmla="*/ 4056135 w 8079933"/>
              <a:gd name="connsiteY15964" fmla="*/ 1730163 h 4687251"/>
              <a:gd name="connsiteX15965" fmla="*/ 4067312 w 8079933"/>
              <a:gd name="connsiteY15965" fmla="*/ 1727564 h 4687251"/>
              <a:gd name="connsiteX15966" fmla="*/ 4068289 w 8079933"/>
              <a:gd name="connsiteY15966" fmla="*/ 1732653 h 4687251"/>
              <a:gd name="connsiteX15967" fmla="*/ 4070893 w 8079933"/>
              <a:gd name="connsiteY15967" fmla="*/ 1734927 h 4687251"/>
              <a:gd name="connsiteX15968" fmla="*/ 4070459 w 8079933"/>
              <a:gd name="connsiteY15968" fmla="*/ 1742506 h 4687251"/>
              <a:gd name="connsiteX15969" fmla="*/ 4070460 w 8079933"/>
              <a:gd name="connsiteY15969" fmla="*/ 1742506 h 4687251"/>
              <a:gd name="connsiteX15970" fmla="*/ 4070894 w 8079933"/>
              <a:gd name="connsiteY15970" fmla="*/ 1734927 h 4687251"/>
              <a:gd name="connsiteX15971" fmla="*/ 4068289 w 8079933"/>
              <a:gd name="connsiteY15971" fmla="*/ 1732653 h 4687251"/>
              <a:gd name="connsiteX15972" fmla="*/ 4067312 w 8079933"/>
              <a:gd name="connsiteY15972" fmla="*/ 1727565 h 4687251"/>
              <a:gd name="connsiteX15973" fmla="*/ 5953657 w 8079933"/>
              <a:gd name="connsiteY15973" fmla="*/ 1726698 h 4687251"/>
              <a:gd name="connsiteX15974" fmla="*/ 5954308 w 8079933"/>
              <a:gd name="connsiteY15974" fmla="*/ 1730488 h 4687251"/>
              <a:gd name="connsiteX15975" fmla="*/ 5955719 w 8079933"/>
              <a:gd name="connsiteY15975" fmla="*/ 1734710 h 4687251"/>
              <a:gd name="connsiteX15976" fmla="*/ 5955720 w 8079933"/>
              <a:gd name="connsiteY15976" fmla="*/ 1734711 h 4687251"/>
              <a:gd name="connsiteX15977" fmla="*/ 5955720 w 8079933"/>
              <a:gd name="connsiteY15977" fmla="*/ 1734712 h 4687251"/>
              <a:gd name="connsiteX15978" fmla="*/ 5955809 w 8079933"/>
              <a:gd name="connsiteY15978" fmla="*/ 1734839 h 4687251"/>
              <a:gd name="connsiteX15979" fmla="*/ 5955720 w 8079933"/>
              <a:gd name="connsiteY15979" fmla="*/ 1734711 h 4687251"/>
              <a:gd name="connsiteX15980" fmla="*/ 5954309 w 8079933"/>
              <a:gd name="connsiteY15980" fmla="*/ 1730489 h 4687251"/>
              <a:gd name="connsiteX15981" fmla="*/ 5953658 w 8079933"/>
              <a:gd name="connsiteY15981" fmla="*/ 1726699 h 4687251"/>
              <a:gd name="connsiteX15982" fmla="*/ 4028869 w 8079933"/>
              <a:gd name="connsiteY15982" fmla="*/ 1726212 h 4687251"/>
              <a:gd name="connsiteX15983" fmla="*/ 4027160 w 8079933"/>
              <a:gd name="connsiteY15983" fmla="*/ 1727348 h 4687251"/>
              <a:gd name="connsiteX15984" fmla="*/ 4027161 w 8079933"/>
              <a:gd name="connsiteY15984" fmla="*/ 1727348 h 4687251"/>
              <a:gd name="connsiteX15985" fmla="*/ 4330208 w 8079933"/>
              <a:gd name="connsiteY15985" fmla="*/ 1721715 h 4687251"/>
              <a:gd name="connsiteX15986" fmla="*/ 4331224 w 8079933"/>
              <a:gd name="connsiteY15986" fmla="*/ 1722043 h 4687251"/>
              <a:gd name="connsiteX15987" fmla="*/ 4338494 w 8079933"/>
              <a:gd name="connsiteY15987" fmla="*/ 1727294 h 4687251"/>
              <a:gd name="connsiteX15988" fmla="*/ 4331224 w 8079933"/>
              <a:gd name="connsiteY15988" fmla="*/ 1722043 h 4687251"/>
              <a:gd name="connsiteX15989" fmla="*/ 6914355 w 8079933"/>
              <a:gd name="connsiteY15989" fmla="*/ 1721068 h 4687251"/>
              <a:gd name="connsiteX15990" fmla="*/ 6912510 w 8079933"/>
              <a:gd name="connsiteY15990" fmla="*/ 1721501 h 4687251"/>
              <a:gd name="connsiteX15991" fmla="*/ 6908061 w 8079933"/>
              <a:gd name="connsiteY15991" fmla="*/ 1728322 h 4687251"/>
              <a:gd name="connsiteX15992" fmla="*/ 6907084 w 8079933"/>
              <a:gd name="connsiteY15992" fmla="*/ 1731571 h 4687251"/>
              <a:gd name="connsiteX15993" fmla="*/ 6904805 w 8079933"/>
              <a:gd name="connsiteY15993" fmla="*/ 1734602 h 4687251"/>
              <a:gd name="connsiteX15994" fmla="*/ 6901984 w 8079933"/>
              <a:gd name="connsiteY15994" fmla="*/ 1734818 h 4687251"/>
              <a:gd name="connsiteX15995" fmla="*/ 6899054 w 8079933"/>
              <a:gd name="connsiteY15995" fmla="*/ 1736767 h 4687251"/>
              <a:gd name="connsiteX15996" fmla="*/ 6898077 w 8079933"/>
              <a:gd name="connsiteY15996" fmla="*/ 1738933 h 4687251"/>
              <a:gd name="connsiteX15997" fmla="*/ 6898309 w 8079933"/>
              <a:gd name="connsiteY15997" fmla="*/ 1739454 h 4687251"/>
              <a:gd name="connsiteX15998" fmla="*/ 6898837 w 8079933"/>
              <a:gd name="connsiteY15998" fmla="*/ 1738285 h 4687251"/>
              <a:gd name="connsiteX15999" fmla="*/ 6901767 w 8079933"/>
              <a:gd name="connsiteY15999" fmla="*/ 1736336 h 4687251"/>
              <a:gd name="connsiteX16000" fmla="*/ 6904480 w 8079933"/>
              <a:gd name="connsiteY16000" fmla="*/ 1736336 h 4687251"/>
              <a:gd name="connsiteX16001" fmla="*/ 6906758 w 8079933"/>
              <a:gd name="connsiteY16001" fmla="*/ 1733304 h 4687251"/>
              <a:gd name="connsiteX16002" fmla="*/ 6907735 w 8079933"/>
              <a:gd name="connsiteY16002" fmla="*/ 1730056 h 4687251"/>
              <a:gd name="connsiteX16003" fmla="*/ 6912184 w 8079933"/>
              <a:gd name="connsiteY16003" fmla="*/ 1723235 h 4687251"/>
              <a:gd name="connsiteX16004" fmla="*/ 6914029 w 8079933"/>
              <a:gd name="connsiteY16004" fmla="*/ 1723235 h 4687251"/>
              <a:gd name="connsiteX16005" fmla="*/ 6917827 w 8079933"/>
              <a:gd name="connsiteY16005" fmla="*/ 1724209 h 4687251"/>
              <a:gd name="connsiteX16006" fmla="*/ 6920757 w 8079933"/>
              <a:gd name="connsiteY16006" fmla="*/ 1725400 h 4687251"/>
              <a:gd name="connsiteX16007" fmla="*/ 6935950 w 8079933"/>
              <a:gd name="connsiteY16007" fmla="*/ 1728107 h 4687251"/>
              <a:gd name="connsiteX16008" fmla="*/ 6938228 w 8079933"/>
              <a:gd name="connsiteY16008" fmla="*/ 1728865 h 4687251"/>
              <a:gd name="connsiteX16009" fmla="*/ 6940941 w 8079933"/>
              <a:gd name="connsiteY16009" fmla="*/ 1728865 h 4687251"/>
              <a:gd name="connsiteX16010" fmla="*/ 6942894 w 8079933"/>
              <a:gd name="connsiteY16010" fmla="*/ 1726483 h 4687251"/>
              <a:gd name="connsiteX16011" fmla="*/ 6942660 w 8079933"/>
              <a:gd name="connsiteY16011" fmla="*/ 1725201 h 4687251"/>
              <a:gd name="connsiteX16012" fmla="*/ 6941375 w 8079933"/>
              <a:gd name="connsiteY16012" fmla="*/ 1726698 h 4687251"/>
              <a:gd name="connsiteX16013" fmla="*/ 6938662 w 8079933"/>
              <a:gd name="connsiteY16013" fmla="*/ 1726698 h 4687251"/>
              <a:gd name="connsiteX16014" fmla="*/ 6936383 w 8079933"/>
              <a:gd name="connsiteY16014" fmla="*/ 1726049 h 4687251"/>
              <a:gd name="connsiteX16015" fmla="*/ 6921082 w 8079933"/>
              <a:gd name="connsiteY16015" fmla="*/ 1723234 h 4687251"/>
              <a:gd name="connsiteX16016" fmla="*/ 6918153 w 8079933"/>
              <a:gd name="connsiteY16016" fmla="*/ 1722043 h 4687251"/>
              <a:gd name="connsiteX16017" fmla="*/ 4021342 w 8079933"/>
              <a:gd name="connsiteY16017" fmla="*/ 1718021 h 4687251"/>
              <a:gd name="connsiteX16018" fmla="*/ 4021843 w 8079933"/>
              <a:gd name="connsiteY16018" fmla="*/ 1718254 h 4687251"/>
              <a:gd name="connsiteX16019" fmla="*/ 4021843 w 8079933"/>
              <a:gd name="connsiteY16019" fmla="*/ 1718254 h 4687251"/>
              <a:gd name="connsiteX16020" fmla="*/ 4293243 w 8079933"/>
              <a:gd name="connsiteY16020" fmla="*/ 1717062 h 4687251"/>
              <a:gd name="connsiteX16021" fmla="*/ 4291921 w 8079933"/>
              <a:gd name="connsiteY16021" fmla="*/ 1718444 h 4687251"/>
              <a:gd name="connsiteX16022" fmla="*/ 4293243 w 8079933"/>
              <a:gd name="connsiteY16022" fmla="*/ 1717062 h 4687251"/>
              <a:gd name="connsiteX16023" fmla="*/ 4805225 w 8079933"/>
              <a:gd name="connsiteY16023" fmla="*/ 1716522 h 4687251"/>
              <a:gd name="connsiteX16024" fmla="*/ 4801644 w 8079933"/>
              <a:gd name="connsiteY16024" fmla="*/ 1720096 h 4687251"/>
              <a:gd name="connsiteX16025" fmla="*/ 4795056 w 8079933"/>
              <a:gd name="connsiteY16025" fmla="*/ 1718820 h 4687251"/>
              <a:gd name="connsiteX16026" fmla="*/ 4796652 w 8079933"/>
              <a:gd name="connsiteY16026" fmla="*/ 1719770 h 4687251"/>
              <a:gd name="connsiteX16027" fmla="*/ 4803923 w 8079933"/>
              <a:gd name="connsiteY16027" fmla="*/ 1721178 h 4687251"/>
              <a:gd name="connsiteX16028" fmla="*/ 4806138 w 8079933"/>
              <a:gd name="connsiteY16028" fmla="*/ 1718967 h 4687251"/>
              <a:gd name="connsiteX16029" fmla="*/ 5941828 w 8079933"/>
              <a:gd name="connsiteY16029" fmla="*/ 1715872 h 4687251"/>
              <a:gd name="connsiteX16030" fmla="*/ 5943673 w 8079933"/>
              <a:gd name="connsiteY16030" fmla="*/ 1718686 h 4687251"/>
              <a:gd name="connsiteX16031" fmla="*/ 5941829 w 8079933"/>
              <a:gd name="connsiteY16031" fmla="*/ 1715872 h 4687251"/>
              <a:gd name="connsiteX16032" fmla="*/ 7243812 w 8079933"/>
              <a:gd name="connsiteY16032" fmla="*/ 1715222 h 4687251"/>
              <a:gd name="connsiteX16033" fmla="*/ 7246200 w 8079933"/>
              <a:gd name="connsiteY16033" fmla="*/ 1717495 h 4687251"/>
              <a:gd name="connsiteX16034" fmla="*/ 7248804 w 8079933"/>
              <a:gd name="connsiteY16034" fmla="*/ 1718362 h 4687251"/>
              <a:gd name="connsiteX16035" fmla="*/ 7252276 w 8079933"/>
              <a:gd name="connsiteY16035" fmla="*/ 1717495 h 4687251"/>
              <a:gd name="connsiteX16036" fmla="*/ 7253688 w 8079933"/>
              <a:gd name="connsiteY16036" fmla="*/ 1717495 h 4687251"/>
              <a:gd name="connsiteX16037" fmla="*/ 7252602 w 8079933"/>
              <a:gd name="connsiteY16037" fmla="*/ 1722693 h 4687251"/>
              <a:gd name="connsiteX16038" fmla="*/ 7246742 w 8079933"/>
              <a:gd name="connsiteY16038" fmla="*/ 1728215 h 4687251"/>
              <a:gd name="connsiteX16039" fmla="*/ 7244680 w 8079933"/>
              <a:gd name="connsiteY16039" fmla="*/ 1729297 h 4687251"/>
              <a:gd name="connsiteX16040" fmla="*/ 7242619 w 8079933"/>
              <a:gd name="connsiteY16040" fmla="*/ 1740774 h 4687251"/>
              <a:gd name="connsiteX16041" fmla="*/ 7242619 w 8079933"/>
              <a:gd name="connsiteY16041" fmla="*/ 1747487 h 4687251"/>
              <a:gd name="connsiteX16042" fmla="*/ 7238278 w 8079933"/>
              <a:gd name="connsiteY16042" fmla="*/ 1742506 h 4687251"/>
              <a:gd name="connsiteX16043" fmla="*/ 7237301 w 8079933"/>
              <a:gd name="connsiteY16043" fmla="*/ 1739583 h 4687251"/>
              <a:gd name="connsiteX16044" fmla="*/ 7239471 w 8079933"/>
              <a:gd name="connsiteY16044" fmla="*/ 1734603 h 4687251"/>
              <a:gd name="connsiteX16045" fmla="*/ 7240340 w 8079933"/>
              <a:gd name="connsiteY16045" fmla="*/ 1727565 h 4687251"/>
              <a:gd name="connsiteX16046" fmla="*/ 7241534 w 8079933"/>
              <a:gd name="connsiteY16046" fmla="*/ 1722585 h 4687251"/>
              <a:gd name="connsiteX16047" fmla="*/ 7242401 w 8079933"/>
              <a:gd name="connsiteY16047" fmla="*/ 1716954 h 4687251"/>
              <a:gd name="connsiteX16048" fmla="*/ 4788188 w 8079933"/>
              <a:gd name="connsiteY16048" fmla="*/ 1714898 h 4687251"/>
              <a:gd name="connsiteX16049" fmla="*/ 4783371 w 8079933"/>
              <a:gd name="connsiteY16049" fmla="*/ 1715699 h 4687251"/>
              <a:gd name="connsiteX16050" fmla="*/ 4785258 w 8079933"/>
              <a:gd name="connsiteY16050" fmla="*/ 1716847 h 4687251"/>
              <a:gd name="connsiteX16051" fmla="*/ 4790196 w 8079933"/>
              <a:gd name="connsiteY16051" fmla="*/ 1716128 h 4687251"/>
              <a:gd name="connsiteX16052" fmla="*/ 6941300 w 8079933"/>
              <a:gd name="connsiteY16052" fmla="*/ 1714722 h 4687251"/>
              <a:gd name="connsiteX16053" fmla="*/ 6940832 w 8079933"/>
              <a:gd name="connsiteY16053" fmla="*/ 1715655 h 4687251"/>
              <a:gd name="connsiteX16054" fmla="*/ 6941043 w 8079933"/>
              <a:gd name="connsiteY16054" fmla="*/ 1717268 h 4687251"/>
              <a:gd name="connsiteX16055" fmla="*/ 6941701 w 8079933"/>
              <a:gd name="connsiteY16055" fmla="*/ 1715872 h 4687251"/>
              <a:gd name="connsiteX16056" fmla="*/ 4015657 w 8079933"/>
              <a:gd name="connsiteY16056" fmla="*/ 1714356 h 4687251"/>
              <a:gd name="connsiteX16057" fmla="*/ 4012728 w 8079933"/>
              <a:gd name="connsiteY16057" fmla="*/ 1714464 h 4687251"/>
              <a:gd name="connsiteX16058" fmla="*/ 4015658 w 8079933"/>
              <a:gd name="connsiteY16058" fmla="*/ 1714356 h 4687251"/>
              <a:gd name="connsiteX16059" fmla="*/ 4191781 w 8079933"/>
              <a:gd name="connsiteY16059" fmla="*/ 1713923 h 4687251"/>
              <a:gd name="connsiteX16060" fmla="*/ 4192106 w 8079933"/>
              <a:gd name="connsiteY16060" fmla="*/ 1717496 h 4687251"/>
              <a:gd name="connsiteX16061" fmla="*/ 4198401 w 8079933"/>
              <a:gd name="connsiteY16061" fmla="*/ 1721285 h 4687251"/>
              <a:gd name="connsiteX16062" fmla="*/ 4203392 w 8079933"/>
              <a:gd name="connsiteY16062" fmla="*/ 1729080 h 4687251"/>
              <a:gd name="connsiteX16063" fmla="*/ 4203392 w 8079933"/>
              <a:gd name="connsiteY16063" fmla="*/ 1729080 h 4687251"/>
              <a:gd name="connsiteX16064" fmla="*/ 4198401 w 8079933"/>
              <a:gd name="connsiteY16064" fmla="*/ 1721284 h 4687251"/>
              <a:gd name="connsiteX16065" fmla="*/ 4192106 w 8079933"/>
              <a:gd name="connsiteY16065" fmla="*/ 1717495 h 4687251"/>
              <a:gd name="connsiteX16066" fmla="*/ 5922903 w 8079933"/>
              <a:gd name="connsiteY16066" fmla="*/ 1712563 h 4687251"/>
              <a:gd name="connsiteX16067" fmla="*/ 5923055 w 8079933"/>
              <a:gd name="connsiteY16067" fmla="*/ 1712840 h 4687251"/>
              <a:gd name="connsiteX16068" fmla="*/ 5923055 w 8079933"/>
              <a:gd name="connsiteY16068" fmla="*/ 1712839 h 4687251"/>
              <a:gd name="connsiteX16069" fmla="*/ 4763555 w 8079933"/>
              <a:gd name="connsiteY16069" fmla="*/ 1711217 h 4687251"/>
              <a:gd name="connsiteX16070" fmla="*/ 4761545 w 8079933"/>
              <a:gd name="connsiteY16070" fmla="*/ 1713222 h 4687251"/>
              <a:gd name="connsiteX16071" fmla="*/ 4762578 w 8079933"/>
              <a:gd name="connsiteY16071" fmla="*/ 1715331 h 4687251"/>
              <a:gd name="connsiteX16072" fmla="*/ 4765833 w 8079933"/>
              <a:gd name="connsiteY16072" fmla="*/ 1712083 h 4687251"/>
              <a:gd name="connsiteX16073" fmla="*/ 4774406 w 8079933"/>
              <a:gd name="connsiteY16073" fmla="*/ 1713923 h 4687251"/>
              <a:gd name="connsiteX16074" fmla="*/ 4780280 w 8079933"/>
              <a:gd name="connsiteY16074" fmla="*/ 1714123 h 4687251"/>
              <a:gd name="connsiteX16075" fmla="*/ 4778530 w 8079933"/>
              <a:gd name="connsiteY16075" fmla="*/ 1713058 h 4687251"/>
              <a:gd name="connsiteX16076" fmla="*/ 4772127 w 8079933"/>
              <a:gd name="connsiteY16076" fmla="*/ 1713058 h 4687251"/>
              <a:gd name="connsiteX16077" fmla="*/ 4293026 w 8079933"/>
              <a:gd name="connsiteY16077" fmla="*/ 1708292 h 4687251"/>
              <a:gd name="connsiteX16078" fmla="*/ 4290747 w 8079933"/>
              <a:gd name="connsiteY16078" fmla="*/ 1709808 h 4687251"/>
              <a:gd name="connsiteX16079" fmla="*/ 4296282 w 8079933"/>
              <a:gd name="connsiteY16079" fmla="*/ 1717062 h 4687251"/>
              <a:gd name="connsiteX16080" fmla="*/ 4290748 w 8079933"/>
              <a:gd name="connsiteY16080" fmla="*/ 1709808 h 4687251"/>
              <a:gd name="connsiteX16081" fmla="*/ 5839582 w 8079933"/>
              <a:gd name="connsiteY16081" fmla="*/ 1705657 h 4687251"/>
              <a:gd name="connsiteX16082" fmla="*/ 5839062 w 8079933"/>
              <a:gd name="connsiteY16082" fmla="*/ 1706020 h 4687251"/>
              <a:gd name="connsiteX16083" fmla="*/ 5838194 w 8079933"/>
              <a:gd name="connsiteY16083" fmla="*/ 1711541 h 4687251"/>
              <a:gd name="connsiteX16084" fmla="*/ 5838520 w 8079933"/>
              <a:gd name="connsiteY16084" fmla="*/ 1721718 h 4687251"/>
              <a:gd name="connsiteX16085" fmla="*/ 5843187 w 8079933"/>
              <a:gd name="connsiteY16085" fmla="*/ 1731138 h 4687251"/>
              <a:gd name="connsiteX16086" fmla="*/ 5847744 w 8079933"/>
              <a:gd name="connsiteY16086" fmla="*/ 1737201 h 4687251"/>
              <a:gd name="connsiteX16087" fmla="*/ 5846984 w 8079933"/>
              <a:gd name="connsiteY16087" fmla="*/ 1740449 h 4687251"/>
              <a:gd name="connsiteX16088" fmla="*/ 5842454 w 8079933"/>
              <a:gd name="connsiteY16088" fmla="*/ 1745544 h 4687251"/>
              <a:gd name="connsiteX16089" fmla="*/ 5846985 w 8079933"/>
              <a:gd name="connsiteY16089" fmla="*/ 1740449 h 4687251"/>
              <a:gd name="connsiteX16090" fmla="*/ 5847745 w 8079933"/>
              <a:gd name="connsiteY16090" fmla="*/ 1737200 h 4687251"/>
              <a:gd name="connsiteX16091" fmla="*/ 5843187 w 8079933"/>
              <a:gd name="connsiteY16091" fmla="*/ 1731137 h 4687251"/>
              <a:gd name="connsiteX16092" fmla="*/ 5838521 w 8079933"/>
              <a:gd name="connsiteY16092" fmla="*/ 1721718 h 4687251"/>
              <a:gd name="connsiteX16093" fmla="*/ 5838195 w 8079933"/>
              <a:gd name="connsiteY16093" fmla="*/ 1711540 h 4687251"/>
              <a:gd name="connsiteX16094" fmla="*/ 5839064 w 8079933"/>
              <a:gd name="connsiteY16094" fmla="*/ 1706018 h 4687251"/>
              <a:gd name="connsiteX16095" fmla="*/ 5898314 w 8079933"/>
              <a:gd name="connsiteY16095" fmla="*/ 1705586 h 4687251"/>
              <a:gd name="connsiteX16096" fmla="*/ 5898314 w 8079933"/>
              <a:gd name="connsiteY16096" fmla="*/ 1705586 h 4687251"/>
              <a:gd name="connsiteX16097" fmla="*/ 5899155 w 8079933"/>
              <a:gd name="connsiteY16097" fmla="*/ 1706615 h 4687251"/>
              <a:gd name="connsiteX16098" fmla="*/ 5901677 w 8079933"/>
              <a:gd name="connsiteY16098" fmla="*/ 1709700 h 4687251"/>
              <a:gd name="connsiteX16099" fmla="*/ 5901786 w 8079933"/>
              <a:gd name="connsiteY16099" fmla="*/ 1711324 h 4687251"/>
              <a:gd name="connsiteX16100" fmla="*/ 5902979 w 8079933"/>
              <a:gd name="connsiteY16100" fmla="*/ 1714896 h 4687251"/>
              <a:gd name="connsiteX16101" fmla="*/ 5902980 w 8079933"/>
              <a:gd name="connsiteY16101" fmla="*/ 1714897 h 4687251"/>
              <a:gd name="connsiteX16102" fmla="*/ 5901787 w 8079933"/>
              <a:gd name="connsiteY16102" fmla="*/ 1711325 h 4687251"/>
              <a:gd name="connsiteX16103" fmla="*/ 5901678 w 8079933"/>
              <a:gd name="connsiteY16103" fmla="*/ 1709701 h 4687251"/>
              <a:gd name="connsiteX16104" fmla="*/ 5899155 w 8079933"/>
              <a:gd name="connsiteY16104" fmla="*/ 1706615 h 4687251"/>
              <a:gd name="connsiteX16105" fmla="*/ 3913001 w 8079933"/>
              <a:gd name="connsiteY16105" fmla="*/ 1704720 h 4687251"/>
              <a:gd name="connsiteX16106" fmla="*/ 3915280 w 8079933"/>
              <a:gd name="connsiteY16106" fmla="*/ 1706452 h 4687251"/>
              <a:gd name="connsiteX16107" fmla="*/ 3917667 w 8079933"/>
              <a:gd name="connsiteY16107" fmla="*/ 1706236 h 4687251"/>
              <a:gd name="connsiteX16108" fmla="*/ 3916148 w 8079933"/>
              <a:gd name="connsiteY16108" fmla="*/ 1708834 h 4687251"/>
              <a:gd name="connsiteX16109" fmla="*/ 3916148 w 8079933"/>
              <a:gd name="connsiteY16109" fmla="*/ 1710567 h 4687251"/>
              <a:gd name="connsiteX16110" fmla="*/ 3913001 w 8079933"/>
              <a:gd name="connsiteY16110" fmla="*/ 1711108 h 4687251"/>
              <a:gd name="connsiteX16111" fmla="*/ 3909746 w 8079933"/>
              <a:gd name="connsiteY16111" fmla="*/ 1708726 h 4687251"/>
              <a:gd name="connsiteX16112" fmla="*/ 3906599 w 8079933"/>
              <a:gd name="connsiteY16112" fmla="*/ 1708077 h 4687251"/>
              <a:gd name="connsiteX16113" fmla="*/ 2749703 w 8079933"/>
              <a:gd name="connsiteY16113" fmla="*/ 1704071 h 4687251"/>
              <a:gd name="connsiteX16114" fmla="*/ 2750571 w 8079933"/>
              <a:gd name="connsiteY16114" fmla="*/ 1704396 h 4687251"/>
              <a:gd name="connsiteX16115" fmla="*/ 2751222 w 8079933"/>
              <a:gd name="connsiteY16115" fmla="*/ 1706995 h 4687251"/>
              <a:gd name="connsiteX16116" fmla="*/ 2749269 w 8079933"/>
              <a:gd name="connsiteY16116" fmla="*/ 1710350 h 4687251"/>
              <a:gd name="connsiteX16117" fmla="*/ 2745797 w 8079933"/>
              <a:gd name="connsiteY16117" fmla="*/ 1711975 h 4687251"/>
              <a:gd name="connsiteX16118" fmla="*/ 2743735 w 8079933"/>
              <a:gd name="connsiteY16118" fmla="*/ 1710567 h 4687251"/>
              <a:gd name="connsiteX16119" fmla="*/ 2743952 w 8079933"/>
              <a:gd name="connsiteY16119" fmla="*/ 1708618 h 4687251"/>
              <a:gd name="connsiteX16120" fmla="*/ 2744820 w 8079933"/>
              <a:gd name="connsiteY16120" fmla="*/ 1707536 h 4687251"/>
              <a:gd name="connsiteX16121" fmla="*/ 2747316 w 8079933"/>
              <a:gd name="connsiteY16121" fmla="*/ 1708510 h 4687251"/>
              <a:gd name="connsiteX16122" fmla="*/ 2748943 w 8079933"/>
              <a:gd name="connsiteY16122" fmla="*/ 1708077 h 4687251"/>
              <a:gd name="connsiteX16123" fmla="*/ 2750028 w 8079933"/>
              <a:gd name="connsiteY16123" fmla="*/ 1705479 h 4687251"/>
              <a:gd name="connsiteX16124" fmla="*/ 2755237 w 8079933"/>
              <a:gd name="connsiteY16124" fmla="*/ 1702879 h 4687251"/>
              <a:gd name="connsiteX16125" fmla="*/ 2756865 w 8079933"/>
              <a:gd name="connsiteY16125" fmla="*/ 1702879 h 4687251"/>
              <a:gd name="connsiteX16126" fmla="*/ 2757841 w 8079933"/>
              <a:gd name="connsiteY16126" fmla="*/ 1704179 h 4687251"/>
              <a:gd name="connsiteX16127" fmla="*/ 2759035 w 8079933"/>
              <a:gd name="connsiteY16127" fmla="*/ 1703312 h 4687251"/>
              <a:gd name="connsiteX16128" fmla="*/ 2761422 w 8079933"/>
              <a:gd name="connsiteY16128" fmla="*/ 1704936 h 4687251"/>
              <a:gd name="connsiteX16129" fmla="*/ 2761422 w 8079933"/>
              <a:gd name="connsiteY16129" fmla="*/ 1706885 h 4687251"/>
              <a:gd name="connsiteX16130" fmla="*/ 2758709 w 8079933"/>
              <a:gd name="connsiteY16130" fmla="*/ 1709051 h 4687251"/>
              <a:gd name="connsiteX16131" fmla="*/ 2756214 w 8079933"/>
              <a:gd name="connsiteY16131" fmla="*/ 1709051 h 4687251"/>
              <a:gd name="connsiteX16132" fmla="*/ 2755237 w 8079933"/>
              <a:gd name="connsiteY16132" fmla="*/ 1704179 h 4687251"/>
              <a:gd name="connsiteX16133" fmla="*/ 6943458 w 8079933"/>
              <a:gd name="connsiteY16133" fmla="*/ 1702700 h 4687251"/>
              <a:gd name="connsiteX16134" fmla="*/ 6942352 w 8079933"/>
              <a:gd name="connsiteY16134" fmla="*/ 1703961 h 4687251"/>
              <a:gd name="connsiteX16135" fmla="*/ 6940290 w 8079933"/>
              <a:gd name="connsiteY16135" fmla="*/ 1708726 h 4687251"/>
              <a:gd name="connsiteX16136" fmla="*/ 6940529 w 8079933"/>
              <a:gd name="connsiteY16136" fmla="*/ 1709872 h 4687251"/>
              <a:gd name="connsiteX16137" fmla="*/ 6942243 w 8079933"/>
              <a:gd name="connsiteY16137" fmla="*/ 1705912 h 4687251"/>
              <a:gd name="connsiteX16138" fmla="*/ 6943763 w 8079933"/>
              <a:gd name="connsiteY16138" fmla="*/ 1704180 h 4687251"/>
              <a:gd name="connsiteX16139" fmla="*/ 6603781 w 8079933"/>
              <a:gd name="connsiteY16139" fmla="*/ 1700714 h 4687251"/>
              <a:gd name="connsiteX16140" fmla="*/ 6605950 w 8079933"/>
              <a:gd name="connsiteY16140" fmla="*/ 1702986 h 4687251"/>
              <a:gd name="connsiteX16141" fmla="*/ 6605951 w 8079933"/>
              <a:gd name="connsiteY16141" fmla="*/ 1702987 h 4687251"/>
              <a:gd name="connsiteX16142" fmla="*/ 6944726 w 8079933"/>
              <a:gd name="connsiteY16142" fmla="*/ 1693612 h 4687251"/>
              <a:gd name="connsiteX16143" fmla="*/ 6942352 w 8079933"/>
              <a:gd name="connsiteY16143" fmla="*/ 1694759 h 4687251"/>
              <a:gd name="connsiteX16144" fmla="*/ 6941701 w 8079933"/>
              <a:gd name="connsiteY16144" fmla="*/ 1696166 h 4687251"/>
              <a:gd name="connsiteX16145" fmla="*/ 6942146 w 8079933"/>
              <a:gd name="connsiteY16145" fmla="*/ 1696918 h 4687251"/>
              <a:gd name="connsiteX16146" fmla="*/ 6942243 w 8079933"/>
              <a:gd name="connsiteY16146" fmla="*/ 1696709 h 4687251"/>
              <a:gd name="connsiteX16147" fmla="*/ 6945499 w 8079933"/>
              <a:gd name="connsiteY16147" fmla="*/ 1695085 h 4687251"/>
              <a:gd name="connsiteX16148" fmla="*/ 4741526 w 8079933"/>
              <a:gd name="connsiteY16148" fmla="*/ 1693460 h 4687251"/>
              <a:gd name="connsiteX16149" fmla="*/ 4733387 w 8079933"/>
              <a:gd name="connsiteY16149" fmla="*/ 1699632 h 4687251"/>
              <a:gd name="connsiteX16150" fmla="*/ 4728178 w 8079933"/>
              <a:gd name="connsiteY16150" fmla="*/ 1698658 h 4687251"/>
              <a:gd name="connsiteX16151" fmla="*/ 4722644 w 8079933"/>
              <a:gd name="connsiteY16151" fmla="*/ 1700174 h 4687251"/>
              <a:gd name="connsiteX16152" fmla="*/ 4715915 w 8079933"/>
              <a:gd name="connsiteY16152" fmla="*/ 1696601 h 4687251"/>
              <a:gd name="connsiteX16153" fmla="*/ 4712059 w 8079933"/>
              <a:gd name="connsiteY16153" fmla="*/ 1700930 h 4687251"/>
              <a:gd name="connsiteX16154" fmla="*/ 4713962 w 8079933"/>
              <a:gd name="connsiteY16154" fmla="*/ 1702772 h 4687251"/>
              <a:gd name="connsiteX16155" fmla="*/ 4718303 w 8079933"/>
              <a:gd name="connsiteY16155" fmla="*/ 1698008 h 4687251"/>
              <a:gd name="connsiteX16156" fmla="*/ 4725032 w 8079933"/>
              <a:gd name="connsiteY16156" fmla="*/ 1701580 h 4687251"/>
              <a:gd name="connsiteX16157" fmla="*/ 4730458 w 8079933"/>
              <a:gd name="connsiteY16157" fmla="*/ 1700065 h 4687251"/>
              <a:gd name="connsiteX16158" fmla="*/ 4735666 w 8079933"/>
              <a:gd name="connsiteY16158" fmla="*/ 1701039 h 4687251"/>
              <a:gd name="connsiteX16159" fmla="*/ 4743805 w 8079933"/>
              <a:gd name="connsiteY16159" fmla="*/ 1694868 h 4687251"/>
              <a:gd name="connsiteX16160" fmla="*/ 4745857 w 8079933"/>
              <a:gd name="connsiteY16160" fmla="*/ 1694634 h 4687251"/>
              <a:gd name="connsiteX16161" fmla="*/ 4745324 w 8079933"/>
              <a:gd name="connsiteY16161" fmla="*/ 1693460 h 4687251"/>
              <a:gd name="connsiteX16162" fmla="*/ 4454093 w 8079933"/>
              <a:gd name="connsiteY16162" fmla="*/ 1690656 h 4687251"/>
              <a:gd name="connsiteX16163" fmla="*/ 4455258 w 8079933"/>
              <a:gd name="connsiteY16163" fmla="*/ 1691402 h 4687251"/>
              <a:gd name="connsiteX16164" fmla="*/ 4453196 w 8079933"/>
              <a:gd name="connsiteY16164" fmla="*/ 1694001 h 4687251"/>
              <a:gd name="connsiteX16165" fmla="*/ 4453848 w 8079933"/>
              <a:gd name="connsiteY16165" fmla="*/ 1697790 h 4687251"/>
              <a:gd name="connsiteX16166" fmla="*/ 4455584 w 8079933"/>
              <a:gd name="connsiteY16166" fmla="*/ 1700713 h 4687251"/>
              <a:gd name="connsiteX16167" fmla="*/ 4454281 w 8079933"/>
              <a:gd name="connsiteY16167" fmla="*/ 1707751 h 4687251"/>
              <a:gd name="connsiteX16168" fmla="*/ 4450375 w 8079933"/>
              <a:gd name="connsiteY16168" fmla="*/ 1707968 h 4687251"/>
              <a:gd name="connsiteX16169" fmla="*/ 4446685 w 8079933"/>
              <a:gd name="connsiteY16169" fmla="*/ 1711757 h 4687251"/>
              <a:gd name="connsiteX16170" fmla="*/ 4444624 w 8079933"/>
              <a:gd name="connsiteY16170" fmla="*/ 1718903 h 4687251"/>
              <a:gd name="connsiteX16171" fmla="*/ 4429974 w 8079933"/>
              <a:gd name="connsiteY16171" fmla="*/ 1735251 h 4687251"/>
              <a:gd name="connsiteX16172" fmla="*/ 4431059 w 8079933"/>
              <a:gd name="connsiteY16172" fmla="*/ 1741856 h 4687251"/>
              <a:gd name="connsiteX16173" fmla="*/ 4430733 w 8079933"/>
              <a:gd name="connsiteY16173" fmla="*/ 1749002 h 4687251"/>
              <a:gd name="connsiteX16174" fmla="*/ 4425529 w 8079933"/>
              <a:gd name="connsiteY16174" fmla="*/ 1748677 h 4687251"/>
              <a:gd name="connsiteX16175" fmla="*/ 4425535 w 8079933"/>
              <a:gd name="connsiteY16175" fmla="*/ 1748679 h 4687251"/>
              <a:gd name="connsiteX16176" fmla="*/ 4430734 w 8079933"/>
              <a:gd name="connsiteY16176" fmla="*/ 1749003 h 4687251"/>
              <a:gd name="connsiteX16177" fmla="*/ 4426177 w 8079933"/>
              <a:gd name="connsiteY16177" fmla="*/ 1748786 h 4687251"/>
              <a:gd name="connsiteX16178" fmla="*/ 4421185 w 8079933"/>
              <a:gd name="connsiteY16178" fmla="*/ 1759179 h 4687251"/>
              <a:gd name="connsiteX16179" fmla="*/ 4420208 w 8079933"/>
              <a:gd name="connsiteY16179" fmla="*/ 1767299 h 4687251"/>
              <a:gd name="connsiteX16180" fmla="*/ 4420196 w 8079933"/>
              <a:gd name="connsiteY16180" fmla="*/ 1767307 h 4687251"/>
              <a:gd name="connsiteX16181" fmla="*/ 4420208 w 8079933"/>
              <a:gd name="connsiteY16181" fmla="*/ 1767300 h 4687251"/>
              <a:gd name="connsiteX16182" fmla="*/ 4420172 w 8079933"/>
              <a:gd name="connsiteY16182" fmla="*/ 1767323 h 4687251"/>
              <a:gd name="connsiteX16183" fmla="*/ 4420209 w 8079933"/>
              <a:gd name="connsiteY16183" fmla="*/ 1767301 h 4687251"/>
              <a:gd name="connsiteX16184" fmla="*/ 4421186 w 8079933"/>
              <a:gd name="connsiteY16184" fmla="*/ 1759181 h 4687251"/>
              <a:gd name="connsiteX16185" fmla="*/ 4426177 w 8079933"/>
              <a:gd name="connsiteY16185" fmla="*/ 1748787 h 4687251"/>
              <a:gd name="connsiteX16186" fmla="*/ 4430735 w 8079933"/>
              <a:gd name="connsiteY16186" fmla="*/ 1749003 h 4687251"/>
              <a:gd name="connsiteX16187" fmla="*/ 4431060 w 8079933"/>
              <a:gd name="connsiteY16187" fmla="*/ 1741857 h 4687251"/>
              <a:gd name="connsiteX16188" fmla="*/ 4429975 w 8079933"/>
              <a:gd name="connsiteY16188" fmla="*/ 1735253 h 4687251"/>
              <a:gd name="connsiteX16189" fmla="*/ 4444625 w 8079933"/>
              <a:gd name="connsiteY16189" fmla="*/ 1718904 h 4687251"/>
              <a:gd name="connsiteX16190" fmla="*/ 4446687 w 8079933"/>
              <a:gd name="connsiteY16190" fmla="*/ 1711758 h 4687251"/>
              <a:gd name="connsiteX16191" fmla="*/ 4450376 w 8079933"/>
              <a:gd name="connsiteY16191" fmla="*/ 1707968 h 4687251"/>
              <a:gd name="connsiteX16192" fmla="*/ 4454283 w 8079933"/>
              <a:gd name="connsiteY16192" fmla="*/ 1707752 h 4687251"/>
              <a:gd name="connsiteX16193" fmla="*/ 4455585 w 8079933"/>
              <a:gd name="connsiteY16193" fmla="*/ 1700715 h 4687251"/>
              <a:gd name="connsiteX16194" fmla="*/ 4453849 w 8079933"/>
              <a:gd name="connsiteY16194" fmla="*/ 1697791 h 4687251"/>
              <a:gd name="connsiteX16195" fmla="*/ 4453198 w 8079933"/>
              <a:gd name="connsiteY16195" fmla="*/ 1694002 h 4687251"/>
              <a:gd name="connsiteX16196" fmla="*/ 4455259 w 8079933"/>
              <a:gd name="connsiteY16196" fmla="*/ 1691403 h 4687251"/>
              <a:gd name="connsiteX16197" fmla="*/ 7135512 w 8079933"/>
              <a:gd name="connsiteY16197" fmla="*/ 1690103 h 4687251"/>
              <a:gd name="connsiteX16198" fmla="*/ 7140829 w 8079933"/>
              <a:gd name="connsiteY16198" fmla="*/ 1690103 h 4687251"/>
              <a:gd name="connsiteX16199" fmla="*/ 7142566 w 8079933"/>
              <a:gd name="connsiteY16199" fmla="*/ 1693676 h 4687251"/>
              <a:gd name="connsiteX16200" fmla="*/ 7150270 w 8079933"/>
              <a:gd name="connsiteY16200" fmla="*/ 1700064 h 4687251"/>
              <a:gd name="connsiteX16201" fmla="*/ 7156782 w 8079933"/>
              <a:gd name="connsiteY16201" fmla="*/ 1701363 h 4687251"/>
              <a:gd name="connsiteX16202" fmla="*/ 7160145 w 8079933"/>
              <a:gd name="connsiteY16202" fmla="*/ 1707751 h 4687251"/>
              <a:gd name="connsiteX16203" fmla="*/ 7170997 w 8079933"/>
              <a:gd name="connsiteY16203" fmla="*/ 1718470 h 4687251"/>
              <a:gd name="connsiteX16204" fmla="*/ 7176965 w 8079933"/>
              <a:gd name="connsiteY16204" fmla="*/ 1722692 h 4687251"/>
              <a:gd name="connsiteX16205" fmla="*/ 7178919 w 8079933"/>
              <a:gd name="connsiteY16205" fmla="*/ 1726157 h 4687251"/>
              <a:gd name="connsiteX16206" fmla="*/ 7183585 w 8079933"/>
              <a:gd name="connsiteY16206" fmla="*/ 1727240 h 4687251"/>
              <a:gd name="connsiteX16207" fmla="*/ 7187708 w 8079933"/>
              <a:gd name="connsiteY16207" fmla="*/ 1731679 h 4687251"/>
              <a:gd name="connsiteX16208" fmla="*/ 7194762 w 8079933"/>
              <a:gd name="connsiteY16208" fmla="*/ 1735144 h 4687251"/>
              <a:gd name="connsiteX16209" fmla="*/ 7200622 w 8079933"/>
              <a:gd name="connsiteY16209" fmla="*/ 1735793 h 4687251"/>
              <a:gd name="connsiteX16210" fmla="*/ 7205288 w 8079933"/>
              <a:gd name="connsiteY16210" fmla="*/ 1740232 h 4687251"/>
              <a:gd name="connsiteX16211" fmla="*/ 7208869 w 8079933"/>
              <a:gd name="connsiteY16211" fmla="*/ 1739583 h 4687251"/>
              <a:gd name="connsiteX16212" fmla="*/ 7210605 w 8079933"/>
              <a:gd name="connsiteY16212" fmla="*/ 1740774 h 4687251"/>
              <a:gd name="connsiteX16213" fmla="*/ 7216574 w 8079933"/>
              <a:gd name="connsiteY16213" fmla="*/ 1739907 h 4687251"/>
              <a:gd name="connsiteX16214" fmla="*/ 7224387 w 8079933"/>
              <a:gd name="connsiteY16214" fmla="*/ 1734711 h 4687251"/>
              <a:gd name="connsiteX16215" fmla="*/ 7228186 w 8079933"/>
              <a:gd name="connsiteY16215" fmla="*/ 1729622 h 4687251"/>
              <a:gd name="connsiteX16216" fmla="*/ 7229162 w 8079933"/>
              <a:gd name="connsiteY16216" fmla="*/ 1725399 h 4687251"/>
              <a:gd name="connsiteX16217" fmla="*/ 7230247 w 8079933"/>
              <a:gd name="connsiteY16217" fmla="*/ 1723992 h 4687251"/>
              <a:gd name="connsiteX16218" fmla="*/ 7231550 w 8079933"/>
              <a:gd name="connsiteY16218" fmla="*/ 1725941 h 4687251"/>
              <a:gd name="connsiteX16219" fmla="*/ 7231550 w 8079933"/>
              <a:gd name="connsiteY16219" fmla="*/ 1729946 h 4687251"/>
              <a:gd name="connsiteX16220" fmla="*/ 7229053 w 8079933"/>
              <a:gd name="connsiteY16220" fmla="*/ 1737092 h 4687251"/>
              <a:gd name="connsiteX16221" fmla="*/ 7229053 w 8079933"/>
              <a:gd name="connsiteY16221" fmla="*/ 1743589 h 4687251"/>
              <a:gd name="connsiteX16222" fmla="*/ 7230682 w 8079933"/>
              <a:gd name="connsiteY16222" fmla="*/ 1745754 h 4687251"/>
              <a:gd name="connsiteX16223" fmla="*/ 7236432 w 8079933"/>
              <a:gd name="connsiteY16223" fmla="*/ 1749435 h 4687251"/>
              <a:gd name="connsiteX16224" fmla="*/ 7240447 w 8079933"/>
              <a:gd name="connsiteY16224" fmla="*/ 1754307 h 4687251"/>
              <a:gd name="connsiteX16225" fmla="*/ 7240773 w 8079933"/>
              <a:gd name="connsiteY16225" fmla="*/ 1757989 h 4687251"/>
              <a:gd name="connsiteX16226" fmla="*/ 7240231 w 8079933"/>
              <a:gd name="connsiteY16226" fmla="*/ 1760370 h 4687251"/>
              <a:gd name="connsiteX16227" fmla="*/ 7243812 w 8079933"/>
              <a:gd name="connsiteY16227" fmla="*/ 1760370 h 4687251"/>
              <a:gd name="connsiteX16228" fmla="*/ 7246090 w 8079933"/>
              <a:gd name="connsiteY16228" fmla="*/ 1756798 h 4687251"/>
              <a:gd name="connsiteX16229" fmla="*/ 7249563 w 8079933"/>
              <a:gd name="connsiteY16229" fmla="*/ 1753441 h 4687251"/>
              <a:gd name="connsiteX16230" fmla="*/ 7252493 w 8079933"/>
              <a:gd name="connsiteY16230" fmla="*/ 1753117 h 4687251"/>
              <a:gd name="connsiteX16231" fmla="*/ 7250865 w 8079933"/>
              <a:gd name="connsiteY16231" fmla="*/ 1756582 h 4687251"/>
              <a:gd name="connsiteX16232" fmla="*/ 7248695 w 8079933"/>
              <a:gd name="connsiteY16232" fmla="*/ 1757989 h 4687251"/>
              <a:gd name="connsiteX16233" fmla="*/ 7248370 w 8079933"/>
              <a:gd name="connsiteY16233" fmla="*/ 1762645 h 4687251"/>
              <a:gd name="connsiteX16234" fmla="*/ 7245439 w 8079933"/>
              <a:gd name="connsiteY16234" fmla="*/ 1764810 h 4687251"/>
              <a:gd name="connsiteX16235" fmla="*/ 7241207 w 8079933"/>
              <a:gd name="connsiteY16235" fmla="*/ 1766543 h 4687251"/>
              <a:gd name="connsiteX16236" fmla="*/ 7240447 w 8079933"/>
              <a:gd name="connsiteY16236" fmla="*/ 1770115 h 4687251"/>
              <a:gd name="connsiteX16237" fmla="*/ 7238711 w 8079933"/>
              <a:gd name="connsiteY16237" fmla="*/ 1772713 h 4687251"/>
              <a:gd name="connsiteX16238" fmla="*/ 7235348 w 8079933"/>
              <a:gd name="connsiteY16238" fmla="*/ 1772930 h 4687251"/>
              <a:gd name="connsiteX16239" fmla="*/ 7233719 w 8079933"/>
              <a:gd name="connsiteY16239" fmla="*/ 1771523 h 4687251"/>
              <a:gd name="connsiteX16240" fmla="*/ 7230355 w 8079933"/>
              <a:gd name="connsiteY16240" fmla="*/ 1774121 h 4687251"/>
              <a:gd name="connsiteX16241" fmla="*/ 7230790 w 8079933"/>
              <a:gd name="connsiteY16241" fmla="*/ 1776503 h 4687251"/>
              <a:gd name="connsiteX16242" fmla="*/ 7224713 w 8079933"/>
              <a:gd name="connsiteY16242" fmla="*/ 1776503 h 4687251"/>
              <a:gd name="connsiteX16243" fmla="*/ 7220047 w 8079933"/>
              <a:gd name="connsiteY16243" fmla="*/ 1775312 h 4687251"/>
              <a:gd name="connsiteX16244" fmla="*/ 7216140 w 8079933"/>
              <a:gd name="connsiteY16244" fmla="*/ 1776503 h 4687251"/>
              <a:gd name="connsiteX16245" fmla="*/ 7209737 w 8079933"/>
              <a:gd name="connsiteY16245" fmla="*/ 1785490 h 4687251"/>
              <a:gd name="connsiteX16246" fmla="*/ 7207350 w 8079933"/>
              <a:gd name="connsiteY16246" fmla="*/ 1795126 h 4687251"/>
              <a:gd name="connsiteX16247" fmla="*/ 7206265 w 8079933"/>
              <a:gd name="connsiteY16247" fmla="*/ 1803029 h 4687251"/>
              <a:gd name="connsiteX16248" fmla="*/ 7207676 w 8079933"/>
              <a:gd name="connsiteY16248" fmla="*/ 1808335 h 4687251"/>
              <a:gd name="connsiteX16249" fmla="*/ 7206807 w 8079933"/>
              <a:gd name="connsiteY16249" fmla="*/ 1812233 h 4687251"/>
              <a:gd name="connsiteX16250" fmla="*/ 7207133 w 8079933"/>
              <a:gd name="connsiteY16250" fmla="*/ 1815914 h 4687251"/>
              <a:gd name="connsiteX16251" fmla="*/ 7203010 w 8079933"/>
              <a:gd name="connsiteY16251" fmla="*/ 1814181 h 4687251"/>
              <a:gd name="connsiteX16252" fmla="*/ 7200622 w 8079933"/>
              <a:gd name="connsiteY16252" fmla="*/ 1810933 h 4687251"/>
              <a:gd name="connsiteX16253" fmla="*/ 7193243 w 8079933"/>
              <a:gd name="connsiteY16253" fmla="*/ 1808984 h 4687251"/>
              <a:gd name="connsiteX16254" fmla="*/ 7185972 w 8079933"/>
              <a:gd name="connsiteY16254" fmla="*/ 1805195 h 4687251"/>
              <a:gd name="connsiteX16255" fmla="*/ 7179569 w 8079933"/>
              <a:gd name="connsiteY16255" fmla="*/ 1799565 h 4687251"/>
              <a:gd name="connsiteX16256" fmla="*/ 7175446 w 8079933"/>
              <a:gd name="connsiteY16256" fmla="*/ 1794909 h 4687251"/>
              <a:gd name="connsiteX16257" fmla="*/ 7171106 w 8079933"/>
              <a:gd name="connsiteY16257" fmla="*/ 1795559 h 4687251"/>
              <a:gd name="connsiteX16258" fmla="*/ 7167307 w 8079933"/>
              <a:gd name="connsiteY16258" fmla="*/ 1794801 h 4687251"/>
              <a:gd name="connsiteX16259" fmla="*/ 7165462 w 8079933"/>
              <a:gd name="connsiteY16259" fmla="*/ 1792852 h 4687251"/>
              <a:gd name="connsiteX16260" fmla="*/ 7161013 w 8079933"/>
              <a:gd name="connsiteY16260" fmla="*/ 1792635 h 4687251"/>
              <a:gd name="connsiteX16261" fmla="*/ 7155588 w 8079933"/>
              <a:gd name="connsiteY16261" fmla="*/ 1796641 h 4687251"/>
              <a:gd name="connsiteX16262" fmla="*/ 7149945 w 8079933"/>
              <a:gd name="connsiteY16262" fmla="*/ 1804329 h 4687251"/>
              <a:gd name="connsiteX16263" fmla="*/ 7147557 w 8079933"/>
              <a:gd name="connsiteY16263" fmla="*/ 1802813 h 4687251"/>
              <a:gd name="connsiteX16264" fmla="*/ 7141480 w 8079933"/>
              <a:gd name="connsiteY16264" fmla="*/ 1799024 h 4687251"/>
              <a:gd name="connsiteX16265" fmla="*/ 7138225 w 8079933"/>
              <a:gd name="connsiteY16265" fmla="*/ 1799349 h 4687251"/>
              <a:gd name="connsiteX16266" fmla="*/ 7135078 w 8079933"/>
              <a:gd name="connsiteY16266" fmla="*/ 1802163 h 4687251"/>
              <a:gd name="connsiteX16267" fmla="*/ 7135078 w 8079933"/>
              <a:gd name="connsiteY16267" fmla="*/ 1806819 h 4687251"/>
              <a:gd name="connsiteX16268" fmla="*/ 7136706 w 8079933"/>
              <a:gd name="connsiteY16268" fmla="*/ 1810608 h 4687251"/>
              <a:gd name="connsiteX16269" fmla="*/ 7141698 w 8079933"/>
              <a:gd name="connsiteY16269" fmla="*/ 1813315 h 4687251"/>
              <a:gd name="connsiteX16270" fmla="*/ 7146906 w 8079933"/>
              <a:gd name="connsiteY16270" fmla="*/ 1811908 h 4687251"/>
              <a:gd name="connsiteX16271" fmla="*/ 7152875 w 8079933"/>
              <a:gd name="connsiteY16271" fmla="*/ 1818620 h 4687251"/>
              <a:gd name="connsiteX16272" fmla="*/ 7158083 w 8079933"/>
              <a:gd name="connsiteY16272" fmla="*/ 1820028 h 4687251"/>
              <a:gd name="connsiteX16273" fmla="*/ 7163509 w 8079933"/>
              <a:gd name="connsiteY16273" fmla="*/ 1820028 h 4687251"/>
              <a:gd name="connsiteX16274" fmla="*/ 7165462 w 8079933"/>
              <a:gd name="connsiteY16274" fmla="*/ 1822735 h 4687251"/>
              <a:gd name="connsiteX16275" fmla="*/ 7161881 w 8079933"/>
              <a:gd name="connsiteY16275" fmla="*/ 1827607 h 4687251"/>
              <a:gd name="connsiteX16276" fmla="*/ 7160579 w 8079933"/>
              <a:gd name="connsiteY16276" fmla="*/ 1831072 h 4687251"/>
              <a:gd name="connsiteX16277" fmla="*/ 7157324 w 8079933"/>
              <a:gd name="connsiteY16277" fmla="*/ 1828473 h 4687251"/>
              <a:gd name="connsiteX16278" fmla="*/ 7151030 w 8079933"/>
              <a:gd name="connsiteY16278" fmla="*/ 1828040 h 4687251"/>
              <a:gd name="connsiteX16279" fmla="*/ 7148534 w 8079933"/>
              <a:gd name="connsiteY16279" fmla="*/ 1829773 h 4687251"/>
              <a:gd name="connsiteX16280" fmla="*/ 7149077 w 8079933"/>
              <a:gd name="connsiteY16280" fmla="*/ 1833237 h 4687251"/>
              <a:gd name="connsiteX16281" fmla="*/ 7147341 w 8079933"/>
              <a:gd name="connsiteY16281" fmla="*/ 1837243 h 4687251"/>
              <a:gd name="connsiteX16282" fmla="*/ 7141806 w 8079933"/>
              <a:gd name="connsiteY16282" fmla="*/ 1843631 h 4687251"/>
              <a:gd name="connsiteX16283" fmla="*/ 7137791 w 8079933"/>
              <a:gd name="connsiteY16283" fmla="*/ 1841141 h 4687251"/>
              <a:gd name="connsiteX16284" fmla="*/ 7135838 w 8079933"/>
              <a:gd name="connsiteY16284" fmla="*/ 1837243 h 4687251"/>
              <a:gd name="connsiteX16285" fmla="*/ 7137356 w 8079933"/>
              <a:gd name="connsiteY16285" fmla="*/ 1836161 h 4687251"/>
              <a:gd name="connsiteX16286" fmla="*/ 7135838 w 8079933"/>
              <a:gd name="connsiteY16286" fmla="*/ 1827607 h 4687251"/>
              <a:gd name="connsiteX16287" fmla="*/ 7132908 w 8079933"/>
              <a:gd name="connsiteY16287" fmla="*/ 1819487 h 4687251"/>
              <a:gd name="connsiteX16288" fmla="*/ 7129327 w 8079933"/>
              <a:gd name="connsiteY16288" fmla="*/ 1816130 h 4687251"/>
              <a:gd name="connsiteX16289" fmla="*/ 7125202 w 8079933"/>
              <a:gd name="connsiteY16289" fmla="*/ 1813315 h 4687251"/>
              <a:gd name="connsiteX16290" fmla="*/ 7122382 w 8079933"/>
              <a:gd name="connsiteY16290" fmla="*/ 1813207 h 4687251"/>
              <a:gd name="connsiteX16291" fmla="*/ 7121839 w 8079933"/>
              <a:gd name="connsiteY16291" fmla="*/ 1810067 h 4687251"/>
              <a:gd name="connsiteX16292" fmla="*/ 7122273 w 8079933"/>
              <a:gd name="connsiteY16292" fmla="*/ 1803571 h 4687251"/>
              <a:gd name="connsiteX16293" fmla="*/ 7121079 w 8079933"/>
              <a:gd name="connsiteY16293" fmla="*/ 1798807 h 4687251"/>
              <a:gd name="connsiteX16294" fmla="*/ 7122816 w 8079933"/>
              <a:gd name="connsiteY16294" fmla="*/ 1794909 h 4687251"/>
              <a:gd name="connsiteX16295" fmla="*/ 7125638 w 8079933"/>
              <a:gd name="connsiteY16295" fmla="*/ 1793394 h 4687251"/>
              <a:gd name="connsiteX16296" fmla="*/ 7126397 w 8079933"/>
              <a:gd name="connsiteY16296" fmla="*/ 1791228 h 4687251"/>
              <a:gd name="connsiteX16297" fmla="*/ 7129544 w 8079933"/>
              <a:gd name="connsiteY16297" fmla="*/ 1790686 h 4687251"/>
              <a:gd name="connsiteX16298" fmla="*/ 7131605 w 8079933"/>
              <a:gd name="connsiteY16298" fmla="*/ 1785923 h 4687251"/>
              <a:gd name="connsiteX16299" fmla="*/ 7133341 w 8079933"/>
              <a:gd name="connsiteY16299" fmla="*/ 1783541 h 4687251"/>
              <a:gd name="connsiteX16300" fmla="*/ 7132799 w 8079933"/>
              <a:gd name="connsiteY16300" fmla="*/ 1781484 h 4687251"/>
              <a:gd name="connsiteX16301" fmla="*/ 7128024 w 8079933"/>
              <a:gd name="connsiteY16301" fmla="*/ 1777911 h 4687251"/>
              <a:gd name="connsiteX16302" fmla="*/ 7126179 w 8079933"/>
              <a:gd name="connsiteY16302" fmla="*/ 1777586 h 4687251"/>
              <a:gd name="connsiteX16303" fmla="*/ 7124769 w 8079933"/>
              <a:gd name="connsiteY16303" fmla="*/ 1775853 h 4687251"/>
              <a:gd name="connsiteX16304" fmla="*/ 7126505 w 8079933"/>
              <a:gd name="connsiteY16304" fmla="*/ 1772280 h 4687251"/>
              <a:gd name="connsiteX16305" fmla="*/ 7129977 w 8079933"/>
              <a:gd name="connsiteY16305" fmla="*/ 1771523 h 4687251"/>
              <a:gd name="connsiteX16306" fmla="*/ 7137465 w 8079933"/>
              <a:gd name="connsiteY16306" fmla="*/ 1775637 h 4687251"/>
              <a:gd name="connsiteX16307" fmla="*/ 7145495 w 8079933"/>
              <a:gd name="connsiteY16307" fmla="*/ 1776936 h 4687251"/>
              <a:gd name="connsiteX16308" fmla="*/ 7148208 w 8079933"/>
              <a:gd name="connsiteY16308" fmla="*/ 1774771 h 4687251"/>
              <a:gd name="connsiteX16309" fmla="*/ 7148534 w 8079933"/>
              <a:gd name="connsiteY16309" fmla="*/ 1771198 h 4687251"/>
              <a:gd name="connsiteX16310" fmla="*/ 7150054 w 8079933"/>
              <a:gd name="connsiteY16310" fmla="*/ 1769682 h 4687251"/>
              <a:gd name="connsiteX16311" fmla="*/ 7148534 w 8079933"/>
              <a:gd name="connsiteY16311" fmla="*/ 1766217 h 4687251"/>
              <a:gd name="connsiteX16312" fmla="*/ 7146364 w 8079933"/>
              <a:gd name="connsiteY16312" fmla="*/ 1765027 h 4687251"/>
              <a:gd name="connsiteX16313" fmla="*/ 7145495 w 8079933"/>
              <a:gd name="connsiteY16313" fmla="*/ 1762753 h 4687251"/>
              <a:gd name="connsiteX16314" fmla="*/ 7142891 w 8079933"/>
              <a:gd name="connsiteY16314" fmla="*/ 1758422 h 4687251"/>
              <a:gd name="connsiteX16315" fmla="*/ 7141480 w 8079933"/>
              <a:gd name="connsiteY16315" fmla="*/ 1754091 h 4687251"/>
              <a:gd name="connsiteX16316" fmla="*/ 7145061 w 8079933"/>
              <a:gd name="connsiteY16316" fmla="*/ 1749976 h 4687251"/>
              <a:gd name="connsiteX16317" fmla="*/ 7147124 w 8079933"/>
              <a:gd name="connsiteY16317" fmla="*/ 1749652 h 4687251"/>
              <a:gd name="connsiteX16318" fmla="*/ 7147557 w 8079933"/>
              <a:gd name="connsiteY16318" fmla="*/ 1747703 h 4687251"/>
              <a:gd name="connsiteX16319" fmla="*/ 7145821 w 8079933"/>
              <a:gd name="connsiteY16319" fmla="*/ 1743047 h 4687251"/>
              <a:gd name="connsiteX16320" fmla="*/ 7143434 w 8079933"/>
              <a:gd name="connsiteY16320" fmla="*/ 1735793 h 4687251"/>
              <a:gd name="connsiteX16321" fmla="*/ 7144302 w 8079933"/>
              <a:gd name="connsiteY16321" fmla="*/ 1732545 h 4687251"/>
              <a:gd name="connsiteX16322" fmla="*/ 7143759 w 8079933"/>
              <a:gd name="connsiteY16322" fmla="*/ 1723558 h 4687251"/>
              <a:gd name="connsiteX16323" fmla="*/ 7141806 w 8079933"/>
              <a:gd name="connsiteY16323" fmla="*/ 1718145 h 4687251"/>
              <a:gd name="connsiteX16324" fmla="*/ 7133558 w 8079933"/>
              <a:gd name="connsiteY16324" fmla="*/ 1705369 h 4687251"/>
              <a:gd name="connsiteX16325" fmla="*/ 7132257 w 8079933"/>
              <a:gd name="connsiteY16325" fmla="*/ 1699631 h 4687251"/>
              <a:gd name="connsiteX16326" fmla="*/ 7130195 w 8079933"/>
              <a:gd name="connsiteY16326" fmla="*/ 1696599 h 4687251"/>
              <a:gd name="connsiteX16327" fmla="*/ 7131388 w 8079933"/>
              <a:gd name="connsiteY16327" fmla="*/ 1695083 h 4687251"/>
              <a:gd name="connsiteX16328" fmla="*/ 7133558 w 8079933"/>
              <a:gd name="connsiteY16328" fmla="*/ 1695083 h 4687251"/>
              <a:gd name="connsiteX16329" fmla="*/ 7136054 w 8079933"/>
              <a:gd name="connsiteY16329" fmla="*/ 1692160 h 4687251"/>
              <a:gd name="connsiteX16330" fmla="*/ 4967783 w 8079933"/>
              <a:gd name="connsiteY16330" fmla="*/ 1689671 h 4687251"/>
              <a:gd name="connsiteX16331" fmla="*/ 4964311 w 8079933"/>
              <a:gd name="connsiteY16331" fmla="*/ 1694110 h 4687251"/>
              <a:gd name="connsiteX16332" fmla="*/ 4964311 w 8079933"/>
              <a:gd name="connsiteY16332" fmla="*/ 1700174 h 4687251"/>
              <a:gd name="connsiteX16333" fmla="*/ 4957908 w 8079933"/>
              <a:gd name="connsiteY16333" fmla="*/ 1708077 h 4687251"/>
              <a:gd name="connsiteX16334" fmla="*/ 4953242 w 8079933"/>
              <a:gd name="connsiteY16334" fmla="*/ 1710351 h 4687251"/>
              <a:gd name="connsiteX16335" fmla="*/ 4954435 w 8079933"/>
              <a:gd name="connsiteY16335" fmla="*/ 1722044 h 4687251"/>
              <a:gd name="connsiteX16336" fmla="*/ 4958016 w 8079933"/>
              <a:gd name="connsiteY16336" fmla="*/ 1725617 h 4687251"/>
              <a:gd name="connsiteX16337" fmla="*/ 4955955 w 8079933"/>
              <a:gd name="connsiteY16337" fmla="*/ 1740450 h 4687251"/>
              <a:gd name="connsiteX16338" fmla="*/ 4952374 w 8079933"/>
              <a:gd name="connsiteY16338" fmla="*/ 1748679 h 4687251"/>
              <a:gd name="connsiteX16339" fmla="*/ 4962249 w 8079933"/>
              <a:gd name="connsiteY16339" fmla="*/ 1752468 h 4687251"/>
              <a:gd name="connsiteX16340" fmla="*/ 4966372 w 8079933"/>
              <a:gd name="connsiteY16340" fmla="*/ 1759181 h 4687251"/>
              <a:gd name="connsiteX16341" fmla="*/ 4964853 w 8079933"/>
              <a:gd name="connsiteY16341" fmla="*/ 1762754 h 4687251"/>
              <a:gd name="connsiteX16342" fmla="*/ 4972558 w 8079933"/>
              <a:gd name="connsiteY16342" fmla="*/ 1769250 h 4687251"/>
              <a:gd name="connsiteX16343" fmla="*/ 4973900 w 8079933"/>
              <a:gd name="connsiteY16343" fmla="*/ 1766794 h 4687251"/>
              <a:gd name="connsiteX16344" fmla="*/ 4969952 w 8079933"/>
              <a:gd name="connsiteY16344" fmla="*/ 1763511 h 4687251"/>
              <a:gd name="connsiteX16345" fmla="*/ 4971581 w 8079933"/>
              <a:gd name="connsiteY16345" fmla="*/ 1759830 h 4687251"/>
              <a:gd name="connsiteX16346" fmla="*/ 4967457 w 8079933"/>
              <a:gd name="connsiteY16346" fmla="*/ 1753225 h 4687251"/>
              <a:gd name="connsiteX16347" fmla="*/ 4957582 w 8079933"/>
              <a:gd name="connsiteY16347" fmla="*/ 1749436 h 4687251"/>
              <a:gd name="connsiteX16348" fmla="*/ 4961163 w 8079933"/>
              <a:gd name="connsiteY16348" fmla="*/ 1741099 h 4687251"/>
              <a:gd name="connsiteX16349" fmla="*/ 4963333 w 8079933"/>
              <a:gd name="connsiteY16349" fmla="*/ 1726374 h 4687251"/>
              <a:gd name="connsiteX16350" fmla="*/ 4959644 w 8079933"/>
              <a:gd name="connsiteY16350" fmla="*/ 1722801 h 4687251"/>
              <a:gd name="connsiteX16351" fmla="*/ 4958450 w 8079933"/>
              <a:gd name="connsiteY16351" fmla="*/ 1711000 h 4687251"/>
              <a:gd name="connsiteX16352" fmla="*/ 4963116 w 8079933"/>
              <a:gd name="connsiteY16352" fmla="*/ 1708834 h 4687251"/>
              <a:gd name="connsiteX16353" fmla="*/ 4969410 w 8079933"/>
              <a:gd name="connsiteY16353" fmla="*/ 1700931 h 4687251"/>
              <a:gd name="connsiteX16354" fmla="*/ 4969410 w 8079933"/>
              <a:gd name="connsiteY16354" fmla="*/ 1694867 h 4687251"/>
              <a:gd name="connsiteX16355" fmla="*/ 4971117 w 8079933"/>
              <a:gd name="connsiteY16355" fmla="*/ 1692685 h 4687251"/>
              <a:gd name="connsiteX16356" fmla="*/ 5883354 w 8079933"/>
              <a:gd name="connsiteY16356" fmla="*/ 1689146 h 4687251"/>
              <a:gd name="connsiteX16357" fmla="*/ 5883555 w 8079933"/>
              <a:gd name="connsiteY16357" fmla="*/ 1692051 h 4687251"/>
              <a:gd name="connsiteX16358" fmla="*/ 5884640 w 8079933"/>
              <a:gd name="connsiteY16358" fmla="*/ 1695083 h 4687251"/>
              <a:gd name="connsiteX16359" fmla="*/ 5887049 w 8079933"/>
              <a:gd name="connsiteY16359" fmla="*/ 1697278 h 4687251"/>
              <a:gd name="connsiteX16360" fmla="*/ 5884641 w 8079933"/>
              <a:gd name="connsiteY16360" fmla="*/ 1695084 h 4687251"/>
              <a:gd name="connsiteX16361" fmla="*/ 5883556 w 8079933"/>
              <a:gd name="connsiteY16361" fmla="*/ 1692053 h 4687251"/>
              <a:gd name="connsiteX16362" fmla="*/ 4051468 w 8079933"/>
              <a:gd name="connsiteY16362" fmla="*/ 1687288 h 4687251"/>
              <a:gd name="connsiteX16363" fmla="*/ 4049166 w 8079933"/>
              <a:gd name="connsiteY16363" fmla="*/ 1687444 h 4687251"/>
              <a:gd name="connsiteX16364" fmla="*/ 4051468 w 8079933"/>
              <a:gd name="connsiteY16364" fmla="*/ 1687289 h 4687251"/>
              <a:gd name="connsiteX16365" fmla="*/ 2537661 w 8079933"/>
              <a:gd name="connsiteY16365" fmla="*/ 1686747 h 4687251"/>
              <a:gd name="connsiteX16366" fmla="*/ 2541892 w 8079933"/>
              <a:gd name="connsiteY16366" fmla="*/ 1688479 h 4687251"/>
              <a:gd name="connsiteX16367" fmla="*/ 2552961 w 8079933"/>
              <a:gd name="connsiteY16367" fmla="*/ 1692269 h 4687251"/>
              <a:gd name="connsiteX16368" fmla="*/ 2559255 w 8079933"/>
              <a:gd name="connsiteY16368" fmla="*/ 1692810 h 4687251"/>
              <a:gd name="connsiteX16369" fmla="*/ 2564898 w 8079933"/>
              <a:gd name="connsiteY16369" fmla="*/ 1694975 h 4687251"/>
              <a:gd name="connsiteX16370" fmla="*/ 2569456 w 8079933"/>
              <a:gd name="connsiteY16370" fmla="*/ 1699956 h 4687251"/>
              <a:gd name="connsiteX16371" fmla="*/ 2571518 w 8079933"/>
              <a:gd name="connsiteY16371" fmla="*/ 1700281 h 4687251"/>
              <a:gd name="connsiteX16372" fmla="*/ 2576943 w 8079933"/>
              <a:gd name="connsiteY16372" fmla="*/ 1704287 h 4687251"/>
              <a:gd name="connsiteX16373" fmla="*/ 2580742 w 8079933"/>
              <a:gd name="connsiteY16373" fmla="*/ 1708834 h 4687251"/>
              <a:gd name="connsiteX16374" fmla="*/ 2583888 w 8079933"/>
              <a:gd name="connsiteY16374" fmla="*/ 1709808 h 4687251"/>
              <a:gd name="connsiteX16375" fmla="*/ 2586384 w 8079933"/>
              <a:gd name="connsiteY16375" fmla="*/ 1711865 h 4687251"/>
              <a:gd name="connsiteX16376" fmla="*/ 2587578 w 8079933"/>
              <a:gd name="connsiteY16376" fmla="*/ 1714139 h 4687251"/>
              <a:gd name="connsiteX16377" fmla="*/ 2590291 w 8079933"/>
              <a:gd name="connsiteY16377" fmla="*/ 1716629 h 4687251"/>
              <a:gd name="connsiteX16378" fmla="*/ 2589748 w 8079933"/>
              <a:gd name="connsiteY16378" fmla="*/ 1719444 h 4687251"/>
              <a:gd name="connsiteX16379" fmla="*/ 2584105 w 8079933"/>
              <a:gd name="connsiteY16379" fmla="*/ 1721285 h 4687251"/>
              <a:gd name="connsiteX16380" fmla="*/ 2579656 w 8079933"/>
              <a:gd name="connsiteY16380" fmla="*/ 1719444 h 4687251"/>
              <a:gd name="connsiteX16381" fmla="*/ 2576401 w 8079933"/>
              <a:gd name="connsiteY16381" fmla="*/ 1719011 h 4687251"/>
              <a:gd name="connsiteX16382" fmla="*/ 2572819 w 8079933"/>
              <a:gd name="connsiteY16382" fmla="*/ 1716196 h 4687251"/>
              <a:gd name="connsiteX16383" fmla="*/ 2568153 w 8079933"/>
              <a:gd name="connsiteY16383" fmla="*/ 1715114 h 4687251"/>
              <a:gd name="connsiteX16384" fmla="*/ 2561425 w 8079933"/>
              <a:gd name="connsiteY16384" fmla="*/ 1715114 h 4687251"/>
              <a:gd name="connsiteX16385" fmla="*/ 2552310 w 8079933"/>
              <a:gd name="connsiteY16385" fmla="*/ 1708401 h 4687251"/>
              <a:gd name="connsiteX16386" fmla="*/ 2549815 w 8079933"/>
              <a:gd name="connsiteY16386" fmla="*/ 1707968 h 4687251"/>
              <a:gd name="connsiteX16387" fmla="*/ 2548512 w 8079933"/>
              <a:gd name="connsiteY16387" fmla="*/ 1706019 h 4687251"/>
              <a:gd name="connsiteX16388" fmla="*/ 2547535 w 8079933"/>
              <a:gd name="connsiteY16388" fmla="*/ 1701688 h 4687251"/>
              <a:gd name="connsiteX16389" fmla="*/ 2539614 w 8079933"/>
              <a:gd name="connsiteY16389" fmla="*/ 1695733 h 4687251"/>
              <a:gd name="connsiteX16390" fmla="*/ 2534948 w 8079933"/>
              <a:gd name="connsiteY16390" fmla="*/ 1693568 h 4687251"/>
              <a:gd name="connsiteX16391" fmla="*/ 2532886 w 8079933"/>
              <a:gd name="connsiteY16391" fmla="*/ 1689345 h 4687251"/>
              <a:gd name="connsiteX16392" fmla="*/ 5882037 w 8079933"/>
              <a:gd name="connsiteY16392" fmla="*/ 1686423 h 4687251"/>
              <a:gd name="connsiteX16393" fmla="*/ 5882037 w 8079933"/>
              <a:gd name="connsiteY16393" fmla="*/ 1686423 h 4687251"/>
              <a:gd name="connsiteX16394" fmla="*/ 5882500 w 8079933"/>
              <a:gd name="connsiteY16394" fmla="*/ 1687309 h 4687251"/>
              <a:gd name="connsiteX16395" fmla="*/ 5855158 w 8079933"/>
              <a:gd name="connsiteY16395" fmla="*/ 1685804 h 4687251"/>
              <a:gd name="connsiteX16396" fmla="*/ 5852193 w 8079933"/>
              <a:gd name="connsiteY16396" fmla="*/ 1688913 h 4687251"/>
              <a:gd name="connsiteX16397" fmla="*/ 5851976 w 8079933"/>
              <a:gd name="connsiteY16397" fmla="*/ 1692702 h 4687251"/>
              <a:gd name="connsiteX16398" fmla="*/ 5853387 w 8079933"/>
              <a:gd name="connsiteY16398" fmla="*/ 1695192 h 4687251"/>
              <a:gd name="connsiteX16399" fmla="*/ 5850927 w 8079933"/>
              <a:gd name="connsiteY16399" fmla="*/ 1699557 h 4687251"/>
              <a:gd name="connsiteX16400" fmla="*/ 5850458 w 8079933"/>
              <a:gd name="connsiteY16400" fmla="*/ 1700388 h 4687251"/>
              <a:gd name="connsiteX16401" fmla="*/ 5850458 w 8079933"/>
              <a:gd name="connsiteY16401" fmla="*/ 1700388 h 4687251"/>
              <a:gd name="connsiteX16402" fmla="*/ 5850927 w 8079933"/>
              <a:gd name="connsiteY16402" fmla="*/ 1699557 h 4687251"/>
              <a:gd name="connsiteX16403" fmla="*/ 5853388 w 8079933"/>
              <a:gd name="connsiteY16403" fmla="*/ 1695192 h 4687251"/>
              <a:gd name="connsiteX16404" fmla="*/ 5851977 w 8079933"/>
              <a:gd name="connsiteY16404" fmla="*/ 1692701 h 4687251"/>
              <a:gd name="connsiteX16405" fmla="*/ 5852194 w 8079933"/>
              <a:gd name="connsiteY16405" fmla="*/ 1688912 h 4687251"/>
              <a:gd name="connsiteX16406" fmla="*/ 5877139 w 8079933"/>
              <a:gd name="connsiteY16406" fmla="*/ 1685108 h 4687251"/>
              <a:gd name="connsiteX16407" fmla="*/ 5877587 w 8079933"/>
              <a:gd name="connsiteY16407" fmla="*/ 1685555 h 4687251"/>
              <a:gd name="connsiteX16408" fmla="*/ 5879323 w 8079933"/>
              <a:gd name="connsiteY16408" fmla="*/ 1688587 h 4687251"/>
              <a:gd name="connsiteX16409" fmla="*/ 5879324 w 8079933"/>
              <a:gd name="connsiteY16409" fmla="*/ 1688587 h 4687251"/>
              <a:gd name="connsiteX16410" fmla="*/ 5877588 w 8079933"/>
              <a:gd name="connsiteY16410" fmla="*/ 1685556 h 4687251"/>
              <a:gd name="connsiteX16411" fmla="*/ 4038217 w 8079933"/>
              <a:gd name="connsiteY16411" fmla="*/ 1683921 h 4687251"/>
              <a:gd name="connsiteX16412" fmla="*/ 4038663 w 8079933"/>
              <a:gd name="connsiteY16412" fmla="*/ 1684366 h 4687251"/>
              <a:gd name="connsiteX16413" fmla="*/ 4042895 w 8079933"/>
              <a:gd name="connsiteY16413" fmla="*/ 1684366 h 4687251"/>
              <a:gd name="connsiteX16414" fmla="*/ 4042895 w 8079933"/>
              <a:gd name="connsiteY16414" fmla="*/ 1684365 h 4687251"/>
              <a:gd name="connsiteX16415" fmla="*/ 4038663 w 8079933"/>
              <a:gd name="connsiteY16415" fmla="*/ 1684365 h 4687251"/>
              <a:gd name="connsiteX16416" fmla="*/ 4027811 w 8079933"/>
              <a:gd name="connsiteY16416" fmla="*/ 1681442 h 4687251"/>
              <a:gd name="connsiteX16417" fmla="*/ 4026509 w 8079933"/>
              <a:gd name="connsiteY16417" fmla="*/ 1684907 h 4687251"/>
              <a:gd name="connsiteX16418" fmla="*/ 4023037 w 8079933"/>
              <a:gd name="connsiteY16418" fmla="*/ 1685231 h 4687251"/>
              <a:gd name="connsiteX16419" fmla="*/ 4021952 w 8079933"/>
              <a:gd name="connsiteY16419" fmla="*/ 1686855 h 4687251"/>
              <a:gd name="connsiteX16420" fmla="*/ 4020469 w 8079933"/>
              <a:gd name="connsiteY16420" fmla="*/ 1687144 h 4687251"/>
              <a:gd name="connsiteX16421" fmla="*/ 4021952 w 8079933"/>
              <a:gd name="connsiteY16421" fmla="*/ 1686856 h 4687251"/>
              <a:gd name="connsiteX16422" fmla="*/ 4023037 w 8079933"/>
              <a:gd name="connsiteY16422" fmla="*/ 1685231 h 4687251"/>
              <a:gd name="connsiteX16423" fmla="*/ 4026509 w 8079933"/>
              <a:gd name="connsiteY16423" fmla="*/ 1684907 h 4687251"/>
              <a:gd name="connsiteX16424" fmla="*/ 4027812 w 8079933"/>
              <a:gd name="connsiteY16424" fmla="*/ 1681442 h 4687251"/>
              <a:gd name="connsiteX16425" fmla="*/ 6946150 w 8079933"/>
              <a:gd name="connsiteY16425" fmla="*/ 1680871 h 4687251"/>
              <a:gd name="connsiteX16426" fmla="*/ 6943871 w 8079933"/>
              <a:gd name="connsiteY16426" fmla="*/ 1682523 h 4687251"/>
              <a:gd name="connsiteX16427" fmla="*/ 6942894 w 8079933"/>
              <a:gd name="connsiteY16427" fmla="*/ 1685664 h 4687251"/>
              <a:gd name="connsiteX16428" fmla="*/ 6943232 w 8079933"/>
              <a:gd name="connsiteY16428" fmla="*/ 1686181 h 4687251"/>
              <a:gd name="connsiteX16429" fmla="*/ 6943763 w 8079933"/>
              <a:gd name="connsiteY16429" fmla="*/ 1684474 h 4687251"/>
              <a:gd name="connsiteX16430" fmla="*/ 6946150 w 8079933"/>
              <a:gd name="connsiteY16430" fmla="*/ 1682742 h 4687251"/>
              <a:gd name="connsiteX16431" fmla="*/ 3957276 w 8079933"/>
              <a:gd name="connsiteY16431" fmla="*/ 1680034 h 4687251"/>
              <a:gd name="connsiteX16432" fmla="*/ 3959555 w 8079933"/>
              <a:gd name="connsiteY16432" fmla="*/ 1680034 h 4687251"/>
              <a:gd name="connsiteX16433" fmla="*/ 3960965 w 8079933"/>
              <a:gd name="connsiteY16433" fmla="*/ 1681766 h 4687251"/>
              <a:gd name="connsiteX16434" fmla="*/ 3958470 w 8079933"/>
              <a:gd name="connsiteY16434" fmla="*/ 1682416 h 4687251"/>
              <a:gd name="connsiteX16435" fmla="*/ 3955648 w 8079933"/>
              <a:gd name="connsiteY16435" fmla="*/ 1680900 h 4687251"/>
              <a:gd name="connsiteX16436" fmla="*/ 5876018 w 8079933"/>
              <a:gd name="connsiteY16436" fmla="*/ 1676865 h 4687251"/>
              <a:gd name="connsiteX16437" fmla="*/ 5876393 w 8079933"/>
              <a:gd name="connsiteY16437" fmla="*/ 1678735 h 4687251"/>
              <a:gd name="connsiteX16438" fmla="*/ 5876176 w 8079933"/>
              <a:gd name="connsiteY16438" fmla="*/ 1684148 h 4687251"/>
              <a:gd name="connsiteX16439" fmla="*/ 5876177 w 8079933"/>
              <a:gd name="connsiteY16439" fmla="*/ 1684149 h 4687251"/>
              <a:gd name="connsiteX16440" fmla="*/ 5876394 w 8079933"/>
              <a:gd name="connsiteY16440" fmla="*/ 1678735 h 4687251"/>
              <a:gd name="connsiteX16441" fmla="*/ 4695902 w 8079933"/>
              <a:gd name="connsiteY16441" fmla="*/ 1676139 h 4687251"/>
              <a:gd name="connsiteX16442" fmla="*/ 4696057 w 8079933"/>
              <a:gd name="connsiteY16442" fmla="*/ 1677328 h 4687251"/>
              <a:gd name="connsiteX16443" fmla="*/ 4698119 w 8079933"/>
              <a:gd name="connsiteY16443" fmla="*/ 1677679 h 4687251"/>
              <a:gd name="connsiteX16444" fmla="*/ 4698119 w 8079933"/>
              <a:gd name="connsiteY16444" fmla="*/ 1676462 h 4687251"/>
              <a:gd name="connsiteX16445" fmla="*/ 4015875 w 8079933"/>
              <a:gd name="connsiteY16445" fmla="*/ 1673213 h 4687251"/>
              <a:gd name="connsiteX16446" fmla="*/ 4017720 w 8079933"/>
              <a:gd name="connsiteY16446" fmla="*/ 1675703 h 4687251"/>
              <a:gd name="connsiteX16447" fmla="*/ 4015333 w 8079933"/>
              <a:gd name="connsiteY16447" fmla="*/ 1676353 h 4687251"/>
              <a:gd name="connsiteX16448" fmla="*/ 4014465 w 8079933"/>
              <a:gd name="connsiteY16448" fmla="*/ 1675161 h 4687251"/>
              <a:gd name="connsiteX16449" fmla="*/ 4011752 w 8079933"/>
              <a:gd name="connsiteY16449" fmla="*/ 1675053 h 4687251"/>
              <a:gd name="connsiteX16450" fmla="*/ 6598939 w 8079933"/>
              <a:gd name="connsiteY16450" fmla="*/ 1672167 h 4687251"/>
              <a:gd name="connsiteX16451" fmla="*/ 6602804 w 8079933"/>
              <a:gd name="connsiteY16451" fmla="*/ 1677003 h 4687251"/>
              <a:gd name="connsiteX16452" fmla="*/ 6611702 w 8079933"/>
              <a:gd name="connsiteY16452" fmla="*/ 1683390 h 4687251"/>
              <a:gd name="connsiteX16453" fmla="*/ 6611702 w 8079933"/>
              <a:gd name="connsiteY16453" fmla="*/ 1683390 h 4687251"/>
              <a:gd name="connsiteX16454" fmla="*/ 6602804 w 8079933"/>
              <a:gd name="connsiteY16454" fmla="*/ 1677002 h 4687251"/>
              <a:gd name="connsiteX16455" fmla="*/ 5218457 w 8079933"/>
              <a:gd name="connsiteY16455" fmla="*/ 1670724 h 4687251"/>
              <a:gd name="connsiteX16456" fmla="*/ 5216394 w 8079933"/>
              <a:gd name="connsiteY16456" fmla="*/ 1672131 h 4687251"/>
              <a:gd name="connsiteX16457" fmla="*/ 5212665 w 8079933"/>
              <a:gd name="connsiteY16457" fmla="*/ 1670922 h 4687251"/>
              <a:gd name="connsiteX16458" fmla="*/ 5213138 w 8079933"/>
              <a:gd name="connsiteY16458" fmla="*/ 1671481 h 4687251"/>
              <a:gd name="connsiteX16459" fmla="*/ 5217371 w 8079933"/>
              <a:gd name="connsiteY16459" fmla="*/ 1672888 h 4687251"/>
              <a:gd name="connsiteX16460" fmla="*/ 5219541 w 8079933"/>
              <a:gd name="connsiteY16460" fmla="*/ 1671481 h 4687251"/>
              <a:gd name="connsiteX16461" fmla="*/ 5222796 w 8079933"/>
              <a:gd name="connsiteY16461" fmla="*/ 1673430 h 4687251"/>
              <a:gd name="connsiteX16462" fmla="*/ 5229783 w 8079933"/>
              <a:gd name="connsiteY16462" fmla="*/ 1673113 h 4687251"/>
              <a:gd name="connsiteX16463" fmla="*/ 5228983 w 8079933"/>
              <a:gd name="connsiteY16463" fmla="*/ 1672673 h 4687251"/>
              <a:gd name="connsiteX16464" fmla="*/ 5221712 w 8079933"/>
              <a:gd name="connsiteY16464" fmla="*/ 1672673 h 4687251"/>
              <a:gd name="connsiteX16465" fmla="*/ 4013814 w 8079933"/>
              <a:gd name="connsiteY16465" fmla="*/ 1670181 h 4687251"/>
              <a:gd name="connsiteX16466" fmla="*/ 4017177 w 8079933"/>
              <a:gd name="connsiteY16466" fmla="*/ 1670289 h 4687251"/>
              <a:gd name="connsiteX16467" fmla="*/ 4021518 w 8079933"/>
              <a:gd name="connsiteY16467" fmla="*/ 1672022 h 4687251"/>
              <a:gd name="connsiteX16468" fmla="*/ 4020650 w 8079933"/>
              <a:gd name="connsiteY16468" fmla="*/ 1673213 h 4687251"/>
              <a:gd name="connsiteX16469" fmla="*/ 4018263 w 8079933"/>
              <a:gd name="connsiteY16469" fmla="*/ 1672672 h 4687251"/>
              <a:gd name="connsiteX16470" fmla="*/ 4017503 w 8079933"/>
              <a:gd name="connsiteY16470" fmla="*/ 1671264 h 4687251"/>
              <a:gd name="connsiteX16471" fmla="*/ 4014573 w 8079933"/>
              <a:gd name="connsiteY16471" fmla="*/ 1672239 h 4687251"/>
              <a:gd name="connsiteX16472" fmla="*/ 2733968 w 8079933"/>
              <a:gd name="connsiteY16472" fmla="*/ 1667691 h 4687251"/>
              <a:gd name="connsiteX16473" fmla="*/ 2735595 w 8079933"/>
              <a:gd name="connsiteY16473" fmla="*/ 1668124 h 4687251"/>
              <a:gd name="connsiteX16474" fmla="*/ 2735595 w 8079933"/>
              <a:gd name="connsiteY16474" fmla="*/ 1670615 h 4687251"/>
              <a:gd name="connsiteX16475" fmla="*/ 2734076 w 8079933"/>
              <a:gd name="connsiteY16475" fmla="*/ 1670722 h 4687251"/>
              <a:gd name="connsiteX16476" fmla="*/ 2733208 w 8079933"/>
              <a:gd name="connsiteY16476" fmla="*/ 1671589 h 4687251"/>
              <a:gd name="connsiteX16477" fmla="*/ 2731906 w 8079933"/>
              <a:gd name="connsiteY16477" fmla="*/ 1670939 h 4687251"/>
              <a:gd name="connsiteX16478" fmla="*/ 2731798 w 8079933"/>
              <a:gd name="connsiteY16478" fmla="*/ 1668340 h 4687251"/>
              <a:gd name="connsiteX16479" fmla="*/ 7294381 w 8079933"/>
              <a:gd name="connsiteY16479" fmla="*/ 1667150 h 4687251"/>
              <a:gd name="connsiteX16480" fmla="*/ 7296008 w 8079933"/>
              <a:gd name="connsiteY16480" fmla="*/ 1671805 h 4687251"/>
              <a:gd name="connsiteX16481" fmla="*/ 7296334 w 8079933"/>
              <a:gd name="connsiteY16481" fmla="*/ 1676570 h 4687251"/>
              <a:gd name="connsiteX16482" fmla="*/ 7292536 w 8079933"/>
              <a:gd name="connsiteY16482" fmla="*/ 1678952 h 4687251"/>
              <a:gd name="connsiteX16483" fmla="*/ 7287219 w 8079933"/>
              <a:gd name="connsiteY16483" fmla="*/ 1679493 h 4687251"/>
              <a:gd name="connsiteX16484" fmla="*/ 7282552 w 8079933"/>
              <a:gd name="connsiteY16484" fmla="*/ 1685123 h 4687251"/>
              <a:gd name="connsiteX16485" fmla="*/ 7278971 w 8079933"/>
              <a:gd name="connsiteY16485" fmla="*/ 1692160 h 4687251"/>
              <a:gd name="connsiteX16486" fmla="*/ 7275715 w 8079933"/>
              <a:gd name="connsiteY16486" fmla="*/ 1695300 h 4687251"/>
              <a:gd name="connsiteX16487" fmla="*/ 7273219 w 8079933"/>
              <a:gd name="connsiteY16487" fmla="*/ 1694217 h 4687251"/>
              <a:gd name="connsiteX16488" fmla="*/ 7271049 w 8079933"/>
              <a:gd name="connsiteY16488" fmla="*/ 1695950 h 4687251"/>
              <a:gd name="connsiteX16489" fmla="*/ 7270723 w 8079933"/>
              <a:gd name="connsiteY16489" fmla="*/ 1698549 h 4687251"/>
              <a:gd name="connsiteX16490" fmla="*/ 7268445 w 8079933"/>
              <a:gd name="connsiteY16490" fmla="*/ 1700606 h 4687251"/>
              <a:gd name="connsiteX16491" fmla="*/ 7269205 w 8079933"/>
              <a:gd name="connsiteY16491" fmla="*/ 1706777 h 4687251"/>
              <a:gd name="connsiteX16492" fmla="*/ 7265949 w 8079933"/>
              <a:gd name="connsiteY16492" fmla="*/ 1709700 h 4687251"/>
              <a:gd name="connsiteX16493" fmla="*/ 7264538 w 8079933"/>
              <a:gd name="connsiteY16493" fmla="*/ 1714789 h 4687251"/>
              <a:gd name="connsiteX16494" fmla="*/ 7262150 w 8079933"/>
              <a:gd name="connsiteY16494" fmla="*/ 1715764 h 4687251"/>
              <a:gd name="connsiteX16495" fmla="*/ 7260957 w 8079933"/>
              <a:gd name="connsiteY16495" fmla="*/ 1710458 h 4687251"/>
              <a:gd name="connsiteX16496" fmla="*/ 7261825 w 8079933"/>
              <a:gd name="connsiteY16496" fmla="*/ 1706777 h 4687251"/>
              <a:gd name="connsiteX16497" fmla="*/ 7263779 w 8079933"/>
              <a:gd name="connsiteY16497" fmla="*/ 1705153 h 4687251"/>
              <a:gd name="connsiteX16498" fmla="*/ 7261500 w 8079933"/>
              <a:gd name="connsiteY16498" fmla="*/ 1702771 h 4687251"/>
              <a:gd name="connsiteX16499" fmla="*/ 7262043 w 8079933"/>
              <a:gd name="connsiteY16499" fmla="*/ 1699956 h 4687251"/>
              <a:gd name="connsiteX16500" fmla="*/ 7265840 w 8079933"/>
              <a:gd name="connsiteY16500" fmla="*/ 1697899 h 4687251"/>
              <a:gd name="connsiteX16501" fmla="*/ 7267143 w 8079933"/>
              <a:gd name="connsiteY16501" fmla="*/ 1693243 h 4687251"/>
              <a:gd name="connsiteX16502" fmla="*/ 7266709 w 8079933"/>
              <a:gd name="connsiteY16502" fmla="*/ 1690537 h 4687251"/>
              <a:gd name="connsiteX16503" fmla="*/ 7268879 w 8079933"/>
              <a:gd name="connsiteY16503" fmla="*/ 1690645 h 4687251"/>
              <a:gd name="connsiteX16504" fmla="*/ 7271700 w 8079933"/>
              <a:gd name="connsiteY16504" fmla="*/ 1685772 h 4687251"/>
              <a:gd name="connsiteX16505" fmla="*/ 7273545 w 8079933"/>
              <a:gd name="connsiteY16505" fmla="*/ 1682633 h 4687251"/>
              <a:gd name="connsiteX16506" fmla="*/ 7272026 w 8079933"/>
              <a:gd name="connsiteY16506" fmla="*/ 1680034 h 4687251"/>
              <a:gd name="connsiteX16507" fmla="*/ 7273654 w 8079933"/>
              <a:gd name="connsiteY16507" fmla="*/ 1676028 h 4687251"/>
              <a:gd name="connsiteX16508" fmla="*/ 7274739 w 8079933"/>
              <a:gd name="connsiteY16508" fmla="*/ 1675487 h 4687251"/>
              <a:gd name="connsiteX16509" fmla="*/ 7276475 w 8079933"/>
              <a:gd name="connsiteY16509" fmla="*/ 1679060 h 4687251"/>
              <a:gd name="connsiteX16510" fmla="*/ 7278971 w 8079933"/>
              <a:gd name="connsiteY16510" fmla="*/ 1680034 h 4687251"/>
              <a:gd name="connsiteX16511" fmla="*/ 7282336 w 8079933"/>
              <a:gd name="connsiteY16511" fmla="*/ 1677760 h 4687251"/>
              <a:gd name="connsiteX16512" fmla="*/ 7285265 w 8079933"/>
              <a:gd name="connsiteY16512" fmla="*/ 1677436 h 4687251"/>
              <a:gd name="connsiteX16513" fmla="*/ 7286242 w 8079933"/>
              <a:gd name="connsiteY16513" fmla="*/ 1673754 h 4687251"/>
              <a:gd name="connsiteX16514" fmla="*/ 7291342 w 8079933"/>
              <a:gd name="connsiteY16514" fmla="*/ 1668016 h 4687251"/>
              <a:gd name="connsiteX16515" fmla="*/ 4065576 w 8079933"/>
              <a:gd name="connsiteY16515" fmla="*/ 1666934 h 4687251"/>
              <a:gd name="connsiteX16516" fmla="*/ 4065575 w 8079933"/>
              <a:gd name="connsiteY16516" fmla="*/ 1666934 h 4687251"/>
              <a:gd name="connsiteX16517" fmla="*/ 4062645 w 8079933"/>
              <a:gd name="connsiteY16517" fmla="*/ 1671698 h 4687251"/>
              <a:gd name="connsiteX16518" fmla="*/ 4059606 w 8079933"/>
              <a:gd name="connsiteY16518" fmla="*/ 1675488 h 4687251"/>
              <a:gd name="connsiteX16519" fmla="*/ 4061017 w 8079933"/>
              <a:gd name="connsiteY16519" fmla="*/ 1682417 h 4687251"/>
              <a:gd name="connsiteX16520" fmla="*/ 4059389 w 8079933"/>
              <a:gd name="connsiteY16520" fmla="*/ 1690320 h 4687251"/>
              <a:gd name="connsiteX16521" fmla="*/ 4057436 w 8079933"/>
              <a:gd name="connsiteY16521" fmla="*/ 1695517 h 4687251"/>
              <a:gd name="connsiteX16522" fmla="*/ 4056555 w 8079933"/>
              <a:gd name="connsiteY16522" fmla="*/ 1695263 h 4687251"/>
              <a:gd name="connsiteX16523" fmla="*/ 4057437 w 8079933"/>
              <a:gd name="connsiteY16523" fmla="*/ 1695517 h 4687251"/>
              <a:gd name="connsiteX16524" fmla="*/ 4057979 w 8079933"/>
              <a:gd name="connsiteY16524" fmla="*/ 1695734 h 4687251"/>
              <a:gd name="connsiteX16525" fmla="*/ 4056460 w 8079933"/>
              <a:gd name="connsiteY16525" fmla="*/ 1699199 h 4687251"/>
              <a:gd name="connsiteX16526" fmla="*/ 4060041 w 8079933"/>
              <a:gd name="connsiteY16526" fmla="*/ 1706561 h 4687251"/>
              <a:gd name="connsiteX16527" fmla="*/ 4059932 w 8079933"/>
              <a:gd name="connsiteY16527" fmla="*/ 1709484 h 4687251"/>
              <a:gd name="connsiteX16528" fmla="*/ 4062862 w 8079933"/>
              <a:gd name="connsiteY16528" fmla="*/ 1713923 h 4687251"/>
              <a:gd name="connsiteX16529" fmla="*/ 4060042 w 8079933"/>
              <a:gd name="connsiteY16529" fmla="*/ 1720527 h 4687251"/>
              <a:gd name="connsiteX16530" fmla="*/ 4062863 w 8079933"/>
              <a:gd name="connsiteY16530" fmla="*/ 1713923 h 4687251"/>
              <a:gd name="connsiteX16531" fmla="*/ 4059933 w 8079933"/>
              <a:gd name="connsiteY16531" fmla="*/ 1709484 h 4687251"/>
              <a:gd name="connsiteX16532" fmla="*/ 4060042 w 8079933"/>
              <a:gd name="connsiteY16532" fmla="*/ 1706560 h 4687251"/>
              <a:gd name="connsiteX16533" fmla="*/ 4056461 w 8079933"/>
              <a:gd name="connsiteY16533" fmla="*/ 1699198 h 4687251"/>
              <a:gd name="connsiteX16534" fmla="*/ 4057980 w 8079933"/>
              <a:gd name="connsiteY16534" fmla="*/ 1695733 h 4687251"/>
              <a:gd name="connsiteX16535" fmla="*/ 4057438 w 8079933"/>
              <a:gd name="connsiteY16535" fmla="*/ 1695517 h 4687251"/>
              <a:gd name="connsiteX16536" fmla="*/ 4059391 w 8079933"/>
              <a:gd name="connsiteY16536" fmla="*/ 1690319 h 4687251"/>
              <a:gd name="connsiteX16537" fmla="*/ 4061019 w 8079933"/>
              <a:gd name="connsiteY16537" fmla="*/ 1682415 h 4687251"/>
              <a:gd name="connsiteX16538" fmla="*/ 4059608 w 8079933"/>
              <a:gd name="connsiteY16538" fmla="*/ 1675486 h 4687251"/>
              <a:gd name="connsiteX16539" fmla="*/ 4062646 w 8079933"/>
              <a:gd name="connsiteY16539" fmla="*/ 1671697 h 4687251"/>
              <a:gd name="connsiteX16540" fmla="*/ 4688136 w 8079933"/>
              <a:gd name="connsiteY16540" fmla="*/ 1666718 h 4687251"/>
              <a:gd name="connsiteX16541" fmla="*/ 4675933 w 8079933"/>
              <a:gd name="connsiteY16541" fmla="*/ 1668414 h 4687251"/>
              <a:gd name="connsiteX16542" fmla="*/ 4677284 w 8079933"/>
              <a:gd name="connsiteY16542" fmla="*/ 1670182 h 4687251"/>
              <a:gd name="connsiteX16543" fmla="*/ 4690022 w 8079933"/>
              <a:gd name="connsiteY16543" fmla="*/ 1668307 h 4687251"/>
              <a:gd name="connsiteX16544" fmla="*/ 4574628 w 8079933"/>
              <a:gd name="connsiteY16544" fmla="*/ 1665417 h 4687251"/>
              <a:gd name="connsiteX16545" fmla="*/ 4569637 w 8079933"/>
              <a:gd name="connsiteY16545" fmla="*/ 1665634 h 4687251"/>
              <a:gd name="connsiteX16546" fmla="*/ 4569636 w 8079933"/>
              <a:gd name="connsiteY16546" fmla="*/ 1665635 h 4687251"/>
              <a:gd name="connsiteX16547" fmla="*/ 4574628 w 8079933"/>
              <a:gd name="connsiteY16547" fmla="*/ 1665419 h 4687251"/>
              <a:gd name="connsiteX16548" fmla="*/ 4578751 w 8079933"/>
              <a:gd name="connsiteY16548" fmla="*/ 1668017 h 4687251"/>
              <a:gd name="connsiteX16549" fmla="*/ 4585588 w 8079933"/>
              <a:gd name="connsiteY16549" fmla="*/ 1665960 h 4687251"/>
              <a:gd name="connsiteX16550" fmla="*/ 4589712 w 8079933"/>
              <a:gd name="connsiteY16550" fmla="*/ 1669641 h 4687251"/>
              <a:gd name="connsiteX16551" fmla="*/ 4594920 w 8079933"/>
              <a:gd name="connsiteY16551" fmla="*/ 1668883 h 4687251"/>
              <a:gd name="connsiteX16552" fmla="*/ 4594920 w 8079933"/>
              <a:gd name="connsiteY16552" fmla="*/ 1668882 h 4687251"/>
              <a:gd name="connsiteX16553" fmla="*/ 4589712 w 8079933"/>
              <a:gd name="connsiteY16553" fmla="*/ 1669640 h 4687251"/>
              <a:gd name="connsiteX16554" fmla="*/ 4585589 w 8079933"/>
              <a:gd name="connsiteY16554" fmla="*/ 1665958 h 4687251"/>
              <a:gd name="connsiteX16555" fmla="*/ 4578752 w 8079933"/>
              <a:gd name="connsiteY16555" fmla="*/ 1668016 h 4687251"/>
              <a:gd name="connsiteX16556" fmla="*/ 5247539 w 8079933"/>
              <a:gd name="connsiteY16556" fmla="*/ 1664444 h 4687251"/>
              <a:gd name="connsiteX16557" fmla="*/ 5245152 w 8079933"/>
              <a:gd name="connsiteY16557" fmla="*/ 1666718 h 4687251"/>
              <a:gd name="connsiteX16558" fmla="*/ 5245152 w 8079933"/>
              <a:gd name="connsiteY16558" fmla="*/ 1671374 h 4687251"/>
              <a:gd name="connsiteX16559" fmla="*/ 5242764 w 8079933"/>
              <a:gd name="connsiteY16559" fmla="*/ 1676354 h 4687251"/>
              <a:gd name="connsiteX16560" fmla="*/ 5237724 w 8079933"/>
              <a:gd name="connsiteY16560" fmla="*/ 1677277 h 4687251"/>
              <a:gd name="connsiteX16561" fmla="*/ 5238423 w 8079933"/>
              <a:gd name="connsiteY16561" fmla="*/ 1677653 h 4687251"/>
              <a:gd name="connsiteX16562" fmla="*/ 5243741 w 8079933"/>
              <a:gd name="connsiteY16562" fmla="*/ 1676678 h 4687251"/>
              <a:gd name="connsiteX16563" fmla="*/ 5246236 w 8079933"/>
              <a:gd name="connsiteY16563" fmla="*/ 1671698 h 4687251"/>
              <a:gd name="connsiteX16564" fmla="*/ 5246562 w 8079933"/>
              <a:gd name="connsiteY16564" fmla="*/ 1667042 h 4687251"/>
              <a:gd name="connsiteX16565" fmla="*/ 5248612 w 8079933"/>
              <a:gd name="connsiteY16565" fmla="*/ 1665089 h 4687251"/>
              <a:gd name="connsiteX16566" fmla="*/ 4553793 w 8079933"/>
              <a:gd name="connsiteY16566" fmla="*/ 1664334 h 4687251"/>
              <a:gd name="connsiteX16567" fmla="*/ 4546305 w 8079933"/>
              <a:gd name="connsiteY16567" fmla="*/ 1668882 h 4687251"/>
              <a:gd name="connsiteX16568" fmla="*/ 4543050 w 8079933"/>
              <a:gd name="connsiteY16568" fmla="*/ 1667366 h 4687251"/>
              <a:gd name="connsiteX16569" fmla="*/ 4535779 w 8079933"/>
              <a:gd name="connsiteY16569" fmla="*/ 1666391 h 4687251"/>
              <a:gd name="connsiteX16570" fmla="*/ 4533744 w 8079933"/>
              <a:gd name="connsiteY16570" fmla="*/ 1668423 h 4687251"/>
              <a:gd name="connsiteX16571" fmla="*/ 4535779 w 8079933"/>
              <a:gd name="connsiteY16571" fmla="*/ 1666393 h 4687251"/>
              <a:gd name="connsiteX16572" fmla="*/ 4543049 w 8079933"/>
              <a:gd name="connsiteY16572" fmla="*/ 1667367 h 4687251"/>
              <a:gd name="connsiteX16573" fmla="*/ 4546305 w 8079933"/>
              <a:gd name="connsiteY16573" fmla="*/ 1668883 h 4687251"/>
              <a:gd name="connsiteX16574" fmla="*/ 4553793 w 8079933"/>
              <a:gd name="connsiteY16574" fmla="*/ 1664336 h 4687251"/>
              <a:gd name="connsiteX16575" fmla="*/ 4560303 w 8079933"/>
              <a:gd name="connsiteY16575" fmla="*/ 1665201 h 4687251"/>
              <a:gd name="connsiteX16576" fmla="*/ 4561280 w 8079933"/>
              <a:gd name="connsiteY16576" fmla="*/ 1669749 h 4687251"/>
              <a:gd name="connsiteX16577" fmla="*/ 4565187 w 8079933"/>
              <a:gd name="connsiteY16577" fmla="*/ 1671048 h 4687251"/>
              <a:gd name="connsiteX16578" fmla="*/ 4565187 w 8079933"/>
              <a:gd name="connsiteY16578" fmla="*/ 1671048 h 4687251"/>
              <a:gd name="connsiteX16579" fmla="*/ 4561280 w 8079933"/>
              <a:gd name="connsiteY16579" fmla="*/ 1669748 h 4687251"/>
              <a:gd name="connsiteX16580" fmla="*/ 4560304 w 8079933"/>
              <a:gd name="connsiteY16580" fmla="*/ 1665201 h 4687251"/>
              <a:gd name="connsiteX16581" fmla="*/ 5272997 w 8079933"/>
              <a:gd name="connsiteY16581" fmla="*/ 1663932 h 4687251"/>
              <a:gd name="connsiteX16582" fmla="*/ 5269785 w 8079933"/>
              <a:gd name="connsiteY16582" fmla="*/ 1666826 h 4687251"/>
              <a:gd name="connsiteX16583" fmla="*/ 5261646 w 8079933"/>
              <a:gd name="connsiteY16583" fmla="*/ 1669533 h 4687251"/>
              <a:gd name="connsiteX16584" fmla="*/ 5255758 w 8079933"/>
              <a:gd name="connsiteY16584" fmla="*/ 1668964 h 4687251"/>
              <a:gd name="connsiteX16585" fmla="*/ 5256328 w 8079933"/>
              <a:gd name="connsiteY16585" fmla="*/ 1669315 h 4687251"/>
              <a:gd name="connsiteX16586" fmla="*/ 5263056 w 8079933"/>
              <a:gd name="connsiteY16586" fmla="*/ 1669965 h 4687251"/>
              <a:gd name="connsiteX16587" fmla="*/ 5271195 w 8079933"/>
              <a:gd name="connsiteY16587" fmla="*/ 1667259 h 4687251"/>
              <a:gd name="connsiteX16588" fmla="*/ 6945345 w 8079933"/>
              <a:gd name="connsiteY16588" fmla="*/ 1663834 h 4687251"/>
              <a:gd name="connsiteX16589" fmla="*/ 6945391 w 8079933"/>
              <a:gd name="connsiteY16589" fmla="*/ 1664226 h 4687251"/>
              <a:gd name="connsiteX16590" fmla="*/ 6944305 w 8079933"/>
              <a:gd name="connsiteY16590" fmla="*/ 1665200 h 4687251"/>
              <a:gd name="connsiteX16591" fmla="*/ 6942786 w 8079933"/>
              <a:gd name="connsiteY16591" fmla="*/ 1665850 h 4687251"/>
              <a:gd name="connsiteX16592" fmla="*/ 6943003 w 8079933"/>
              <a:gd name="connsiteY16592" fmla="*/ 1669609 h 4687251"/>
              <a:gd name="connsiteX16593" fmla="*/ 6943003 w 8079933"/>
              <a:gd name="connsiteY16593" fmla="*/ 1667801 h 4687251"/>
              <a:gd name="connsiteX16594" fmla="*/ 6944522 w 8079933"/>
              <a:gd name="connsiteY16594" fmla="*/ 1667151 h 4687251"/>
              <a:gd name="connsiteX16595" fmla="*/ 6945608 w 8079933"/>
              <a:gd name="connsiteY16595" fmla="*/ 1666068 h 4687251"/>
              <a:gd name="connsiteX16596" fmla="*/ 6945608 w 8079933"/>
              <a:gd name="connsiteY16596" fmla="*/ 1664228 h 4687251"/>
              <a:gd name="connsiteX16597" fmla="*/ 6944218 w 8079933"/>
              <a:gd name="connsiteY16597" fmla="*/ 1659684 h 4687251"/>
              <a:gd name="connsiteX16598" fmla="*/ 6944088 w 8079933"/>
              <a:gd name="connsiteY16598" fmla="*/ 1660761 h 4687251"/>
              <a:gd name="connsiteX16599" fmla="*/ 6944522 w 8079933"/>
              <a:gd name="connsiteY16599" fmla="*/ 1661411 h 4687251"/>
              <a:gd name="connsiteX16600" fmla="*/ 6944522 w 8079933"/>
              <a:gd name="connsiteY16600" fmla="*/ 1659897 h 4687251"/>
              <a:gd name="connsiteX16601" fmla="*/ 4081053 w 8079933"/>
              <a:gd name="connsiteY16601" fmla="*/ 1658712 h 4687251"/>
              <a:gd name="connsiteX16602" fmla="*/ 4078814 w 8079933"/>
              <a:gd name="connsiteY16602" fmla="*/ 1660330 h 4687251"/>
              <a:gd name="connsiteX16603" fmla="*/ 4081418 w 8079933"/>
              <a:gd name="connsiteY16603" fmla="*/ 1664768 h 4687251"/>
              <a:gd name="connsiteX16604" fmla="*/ 4077947 w 8079933"/>
              <a:gd name="connsiteY16604" fmla="*/ 1666717 h 4687251"/>
              <a:gd name="connsiteX16605" fmla="*/ 4081419 w 8079933"/>
              <a:gd name="connsiteY16605" fmla="*/ 1664768 h 4687251"/>
              <a:gd name="connsiteX16606" fmla="*/ 4078815 w 8079933"/>
              <a:gd name="connsiteY16606" fmla="*/ 1660329 h 4687251"/>
              <a:gd name="connsiteX16607" fmla="*/ 5167236 w 8079933"/>
              <a:gd name="connsiteY16607" fmla="*/ 1658381 h 4687251"/>
              <a:gd name="connsiteX16608" fmla="*/ 5163439 w 8079933"/>
              <a:gd name="connsiteY16608" fmla="*/ 1659572 h 4687251"/>
              <a:gd name="connsiteX16609" fmla="*/ 5163439 w 8079933"/>
              <a:gd name="connsiteY16609" fmla="*/ 1664011 h 4687251"/>
              <a:gd name="connsiteX16610" fmla="*/ 5158447 w 8079933"/>
              <a:gd name="connsiteY16610" fmla="*/ 1664011 h 4687251"/>
              <a:gd name="connsiteX16611" fmla="*/ 5158447 w 8079933"/>
              <a:gd name="connsiteY16611" fmla="*/ 1672889 h 4687251"/>
              <a:gd name="connsiteX16612" fmla="*/ 5152587 w 8079933"/>
              <a:gd name="connsiteY16612" fmla="*/ 1677328 h 4687251"/>
              <a:gd name="connsiteX16613" fmla="*/ 5148789 w 8079933"/>
              <a:gd name="connsiteY16613" fmla="*/ 1675813 h 4687251"/>
              <a:gd name="connsiteX16614" fmla="*/ 5146076 w 8079933"/>
              <a:gd name="connsiteY16614" fmla="*/ 1671374 h 4687251"/>
              <a:gd name="connsiteX16615" fmla="*/ 5136961 w 8079933"/>
              <a:gd name="connsiteY16615" fmla="*/ 1669966 h 4687251"/>
              <a:gd name="connsiteX16616" fmla="*/ 5133705 w 8079933"/>
              <a:gd name="connsiteY16616" fmla="*/ 1665311 h 4687251"/>
              <a:gd name="connsiteX16617" fmla="*/ 5129038 w 8079933"/>
              <a:gd name="connsiteY16617" fmla="*/ 1668017 h 4687251"/>
              <a:gd name="connsiteX16618" fmla="*/ 5129038 w 8079933"/>
              <a:gd name="connsiteY16618" fmla="*/ 1674080 h 4687251"/>
              <a:gd name="connsiteX16619" fmla="*/ 5125892 w 8079933"/>
              <a:gd name="connsiteY16619" fmla="*/ 1678736 h 4687251"/>
              <a:gd name="connsiteX16620" fmla="*/ 5123783 w 8079933"/>
              <a:gd name="connsiteY16620" fmla="*/ 1678063 h 4687251"/>
              <a:gd name="connsiteX16621" fmla="*/ 5123830 w 8079933"/>
              <a:gd name="connsiteY16621" fmla="*/ 1678843 h 4687251"/>
              <a:gd name="connsiteX16622" fmla="*/ 5126651 w 8079933"/>
              <a:gd name="connsiteY16622" fmla="*/ 1679818 h 4687251"/>
              <a:gd name="connsiteX16623" fmla="*/ 5129689 w 8079933"/>
              <a:gd name="connsiteY16623" fmla="*/ 1675162 h 4687251"/>
              <a:gd name="connsiteX16624" fmla="*/ 5129255 w 8079933"/>
              <a:gd name="connsiteY16624" fmla="*/ 1669099 h 4687251"/>
              <a:gd name="connsiteX16625" fmla="*/ 5133812 w 8079933"/>
              <a:gd name="connsiteY16625" fmla="*/ 1666392 h 4687251"/>
              <a:gd name="connsiteX16626" fmla="*/ 5137177 w 8079933"/>
              <a:gd name="connsiteY16626" fmla="*/ 1670939 h 4687251"/>
              <a:gd name="connsiteX16627" fmla="*/ 5146292 w 8079933"/>
              <a:gd name="connsiteY16627" fmla="*/ 1672347 h 4687251"/>
              <a:gd name="connsiteX16628" fmla="*/ 5149005 w 8079933"/>
              <a:gd name="connsiteY16628" fmla="*/ 1676894 h 4687251"/>
              <a:gd name="connsiteX16629" fmla="*/ 5152803 w 8079933"/>
              <a:gd name="connsiteY16629" fmla="*/ 1678410 h 4687251"/>
              <a:gd name="connsiteX16630" fmla="*/ 5158663 w 8079933"/>
              <a:gd name="connsiteY16630" fmla="*/ 1673863 h 4687251"/>
              <a:gd name="connsiteX16631" fmla="*/ 5159205 w 8079933"/>
              <a:gd name="connsiteY16631" fmla="*/ 1664985 h 4687251"/>
              <a:gd name="connsiteX16632" fmla="*/ 5164198 w 8079933"/>
              <a:gd name="connsiteY16632" fmla="*/ 1664443 h 4687251"/>
              <a:gd name="connsiteX16633" fmla="*/ 5164523 w 8079933"/>
              <a:gd name="connsiteY16633" fmla="*/ 1660004 h 4687251"/>
              <a:gd name="connsiteX16634" fmla="*/ 5167710 w 8079933"/>
              <a:gd name="connsiteY16634" fmla="*/ 1659005 h 4687251"/>
              <a:gd name="connsiteX16635" fmla="*/ 5177546 w 8079933"/>
              <a:gd name="connsiteY16635" fmla="*/ 1657190 h 4687251"/>
              <a:gd name="connsiteX16636" fmla="*/ 5172011 w 8079933"/>
              <a:gd name="connsiteY16636" fmla="*/ 1658056 h 4687251"/>
              <a:gd name="connsiteX16637" fmla="*/ 5170260 w 8079933"/>
              <a:gd name="connsiteY16637" fmla="*/ 1661367 h 4687251"/>
              <a:gd name="connsiteX16638" fmla="*/ 5171034 w 8079933"/>
              <a:gd name="connsiteY16638" fmla="*/ 1662386 h 4687251"/>
              <a:gd name="connsiteX16639" fmla="*/ 5173095 w 8079933"/>
              <a:gd name="connsiteY16639" fmla="*/ 1658488 h 4687251"/>
              <a:gd name="connsiteX16640" fmla="*/ 5178098 w 8079933"/>
              <a:gd name="connsiteY16640" fmla="*/ 1657706 h 4687251"/>
              <a:gd name="connsiteX16641" fmla="*/ 4488792 w 8079933"/>
              <a:gd name="connsiteY16641" fmla="*/ 1657081 h 4687251"/>
              <a:gd name="connsiteX16642" fmla="*/ 4488791 w 8079933"/>
              <a:gd name="connsiteY16642" fmla="*/ 1657081 h 4687251"/>
              <a:gd name="connsiteX16643" fmla="*/ 4491721 w 8079933"/>
              <a:gd name="connsiteY16643" fmla="*/ 1657189 h 4687251"/>
              <a:gd name="connsiteX16644" fmla="*/ 4497581 w 8079933"/>
              <a:gd name="connsiteY16644" fmla="*/ 1660546 h 4687251"/>
              <a:gd name="connsiteX16645" fmla="*/ 4511363 w 8079933"/>
              <a:gd name="connsiteY16645" fmla="*/ 1662603 h 4687251"/>
              <a:gd name="connsiteX16646" fmla="*/ 4517222 w 8079933"/>
              <a:gd name="connsiteY16646" fmla="*/ 1665527 h 4687251"/>
              <a:gd name="connsiteX16647" fmla="*/ 4518199 w 8079933"/>
              <a:gd name="connsiteY16647" fmla="*/ 1668233 h 4687251"/>
              <a:gd name="connsiteX16648" fmla="*/ 4526555 w 8079933"/>
              <a:gd name="connsiteY16648" fmla="*/ 1664985 h 4687251"/>
              <a:gd name="connsiteX16649" fmla="*/ 4530461 w 8079933"/>
              <a:gd name="connsiteY16649" fmla="*/ 1668558 h 4687251"/>
              <a:gd name="connsiteX16650" fmla="*/ 4533717 w 8079933"/>
              <a:gd name="connsiteY16650" fmla="*/ 1668450 h 4687251"/>
              <a:gd name="connsiteX16651" fmla="*/ 4533718 w 8079933"/>
              <a:gd name="connsiteY16651" fmla="*/ 1668449 h 4687251"/>
              <a:gd name="connsiteX16652" fmla="*/ 4530462 w 8079933"/>
              <a:gd name="connsiteY16652" fmla="*/ 1668557 h 4687251"/>
              <a:gd name="connsiteX16653" fmla="*/ 4526555 w 8079933"/>
              <a:gd name="connsiteY16653" fmla="*/ 1664984 h 4687251"/>
              <a:gd name="connsiteX16654" fmla="*/ 4518199 w 8079933"/>
              <a:gd name="connsiteY16654" fmla="*/ 1668232 h 4687251"/>
              <a:gd name="connsiteX16655" fmla="*/ 4517223 w 8079933"/>
              <a:gd name="connsiteY16655" fmla="*/ 1665526 h 4687251"/>
              <a:gd name="connsiteX16656" fmla="*/ 4511363 w 8079933"/>
              <a:gd name="connsiteY16656" fmla="*/ 1662603 h 4687251"/>
              <a:gd name="connsiteX16657" fmla="*/ 4497581 w 8079933"/>
              <a:gd name="connsiteY16657" fmla="*/ 1660545 h 4687251"/>
              <a:gd name="connsiteX16658" fmla="*/ 4491722 w 8079933"/>
              <a:gd name="connsiteY16658" fmla="*/ 1657189 h 4687251"/>
              <a:gd name="connsiteX16659" fmla="*/ 5203373 w 8079933"/>
              <a:gd name="connsiteY16659" fmla="*/ 1655241 h 4687251"/>
              <a:gd name="connsiteX16660" fmla="*/ 5200768 w 8079933"/>
              <a:gd name="connsiteY16660" fmla="*/ 1658489 h 4687251"/>
              <a:gd name="connsiteX16661" fmla="*/ 5195451 w 8079933"/>
              <a:gd name="connsiteY16661" fmla="*/ 1658489 h 4687251"/>
              <a:gd name="connsiteX16662" fmla="*/ 5191653 w 8079933"/>
              <a:gd name="connsiteY16662" fmla="*/ 1659680 h 4687251"/>
              <a:gd name="connsiteX16663" fmla="*/ 5192521 w 8079933"/>
              <a:gd name="connsiteY16663" fmla="*/ 1665527 h 4687251"/>
              <a:gd name="connsiteX16664" fmla="*/ 5186673 w 8079933"/>
              <a:gd name="connsiteY16664" fmla="*/ 1666092 h 4687251"/>
              <a:gd name="connsiteX16665" fmla="*/ 5186878 w 8079933"/>
              <a:gd name="connsiteY16665" fmla="*/ 1666501 h 4687251"/>
              <a:gd name="connsiteX16666" fmla="*/ 5193605 w 8079933"/>
              <a:gd name="connsiteY16666" fmla="*/ 1665851 h 4687251"/>
              <a:gd name="connsiteX16667" fmla="*/ 5192846 w 8079933"/>
              <a:gd name="connsiteY16667" fmla="*/ 1660004 h 4687251"/>
              <a:gd name="connsiteX16668" fmla="*/ 5196535 w 8079933"/>
              <a:gd name="connsiteY16668" fmla="*/ 1658813 h 4687251"/>
              <a:gd name="connsiteX16669" fmla="*/ 5201961 w 8079933"/>
              <a:gd name="connsiteY16669" fmla="*/ 1659247 h 4687251"/>
              <a:gd name="connsiteX16670" fmla="*/ 5204457 w 8079933"/>
              <a:gd name="connsiteY16670" fmla="*/ 1655998 h 4687251"/>
              <a:gd name="connsiteX16671" fmla="*/ 5210209 w 8079933"/>
              <a:gd name="connsiteY16671" fmla="*/ 1659139 h 4687251"/>
              <a:gd name="connsiteX16672" fmla="*/ 5212427 w 8079933"/>
              <a:gd name="connsiteY16672" fmla="*/ 1660245 h 4687251"/>
              <a:gd name="connsiteX16673" fmla="*/ 5212488 w 8079933"/>
              <a:gd name="connsiteY16673" fmla="*/ 1660113 h 4687251"/>
              <a:gd name="connsiteX16674" fmla="*/ 5209016 w 8079933"/>
              <a:gd name="connsiteY16674" fmla="*/ 1658381 h 4687251"/>
              <a:gd name="connsiteX16675" fmla="*/ 5093330 w 8079933"/>
              <a:gd name="connsiteY16675" fmla="*/ 1651658 h 4687251"/>
              <a:gd name="connsiteX16676" fmla="*/ 5094530 w 8079933"/>
              <a:gd name="connsiteY16676" fmla="*/ 1653508 h 4687251"/>
              <a:gd name="connsiteX16677" fmla="*/ 5097351 w 8079933"/>
              <a:gd name="connsiteY16677" fmla="*/ 1653617 h 4687251"/>
              <a:gd name="connsiteX16678" fmla="*/ 5102126 w 8079933"/>
              <a:gd name="connsiteY16678" fmla="*/ 1659788 h 4687251"/>
              <a:gd name="connsiteX16679" fmla="*/ 5107334 w 8079933"/>
              <a:gd name="connsiteY16679" fmla="*/ 1659788 h 4687251"/>
              <a:gd name="connsiteX16680" fmla="*/ 5111132 w 8079933"/>
              <a:gd name="connsiteY16680" fmla="*/ 1664768 h 4687251"/>
              <a:gd name="connsiteX16681" fmla="*/ 5117861 w 8079933"/>
              <a:gd name="connsiteY16681" fmla="*/ 1669749 h 4687251"/>
              <a:gd name="connsiteX16682" fmla="*/ 5121659 w 8079933"/>
              <a:gd name="connsiteY16682" fmla="*/ 1670182 h 4687251"/>
              <a:gd name="connsiteX16683" fmla="*/ 5123179 w 8079933"/>
              <a:gd name="connsiteY16683" fmla="*/ 1672858 h 4687251"/>
              <a:gd name="connsiteX16684" fmla="*/ 5123179 w 8079933"/>
              <a:gd name="connsiteY16684" fmla="*/ 1672348 h 4687251"/>
              <a:gd name="connsiteX16685" fmla="*/ 5121334 w 8079933"/>
              <a:gd name="connsiteY16685" fmla="*/ 1669099 h 4687251"/>
              <a:gd name="connsiteX16686" fmla="*/ 5117536 w 8079933"/>
              <a:gd name="connsiteY16686" fmla="*/ 1669099 h 4687251"/>
              <a:gd name="connsiteX16687" fmla="*/ 5110808 w 8079933"/>
              <a:gd name="connsiteY16687" fmla="*/ 1664119 h 4687251"/>
              <a:gd name="connsiteX16688" fmla="*/ 5107010 w 8079933"/>
              <a:gd name="connsiteY16688" fmla="*/ 1659139 h 4687251"/>
              <a:gd name="connsiteX16689" fmla="*/ 5101801 w 8079933"/>
              <a:gd name="connsiteY16689" fmla="*/ 1659139 h 4687251"/>
              <a:gd name="connsiteX16690" fmla="*/ 5096918 w 8079933"/>
              <a:gd name="connsiteY16690" fmla="*/ 1652968 h 4687251"/>
              <a:gd name="connsiteX16691" fmla="*/ 5094205 w 8079933"/>
              <a:gd name="connsiteY16691" fmla="*/ 1652968 h 4687251"/>
              <a:gd name="connsiteX16692" fmla="*/ 5022475 w 8079933"/>
              <a:gd name="connsiteY16692" fmla="*/ 1651126 h 4687251"/>
              <a:gd name="connsiteX16693" fmla="*/ 5018894 w 8079933"/>
              <a:gd name="connsiteY16693" fmla="*/ 1653942 h 4687251"/>
              <a:gd name="connsiteX16694" fmla="*/ 5016615 w 8079933"/>
              <a:gd name="connsiteY16694" fmla="*/ 1660330 h 4687251"/>
              <a:gd name="connsiteX16695" fmla="*/ 5013360 w 8079933"/>
              <a:gd name="connsiteY16695" fmla="*/ 1660330 h 4687251"/>
              <a:gd name="connsiteX16696" fmla="*/ 5006306 w 8079933"/>
              <a:gd name="connsiteY16696" fmla="*/ 1664769 h 4687251"/>
              <a:gd name="connsiteX16697" fmla="*/ 5004787 w 8079933"/>
              <a:gd name="connsiteY16697" fmla="*/ 1670291 h 4687251"/>
              <a:gd name="connsiteX16698" fmla="*/ 5008260 w 8079933"/>
              <a:gd name="connsiteY16698" fmla="*/ 1674621 h 4687251"/>
              <a:gd name="connsiteX16699" fmla="*/ 5008260 w 8079933"/>
              <a:gd name="connsiteY16699" fmla="*/ 1679711 h 4687251"/>
              <a:gd name="connsiteX16700" fmla="*/ 5000555 w 8079933"/>
              <a:gd name="connsiteY16700" fmla="*/ 1679711 h 4687251"/>
              <a:gd name="connsiteX16701" fmla="*/ 4993176 w 8079933"/>
              <a:gd name="connsiteY16701" fmla="*/ 1680576 h 4687251"/>
              <a:gd name="connsiteX16702" fmla="*/ 4998710 w 8079933"/>
              <a:gd name="connsiteY16702" fmla="*/ 1699632 h 4687251"/>
              <a:gd name="connsiteX16703" fmla="*/ 4995780 w 8079933"/>
              <a:gd name="connsiteY16703" fmla="*/ 1702014 h 4687251"/>
              <a:gd name="connsiteX16704" fmla="*/ 4996648 w 8079933"/>
              <a:gd name="connsiteY16704" fmla="*/ 1709268 h 4687251"/>
              <a:gd name="connsiteX16705" fmla="*/ 4992737 w 8079933"/>
              <a:gd name="connsiteY16705" fmla="*/ 1709613 h 4687251"/>
              <a:gd name="connsiteX16706" fmla="*/ 4994477 w 8079933"/>
              <a:gd name="connsiteY16706" fmla="*/ 1710675 h 4687251"/>
              <a:gd name="connsiteX16707" fmla="*/ 5001856 w 8079933"/>
              <a:gd name="connsiteY16707" fmla="*/ 1710026 h 4687251"/>
              <a:gd name="connsiteX16708" fmla="*/ 5000988 w 8079933"/>
              <a:gd name="connsiteY16708" fmla="*/ 1702771 h 4687251"/>
              <a:gd name="connsiteX16709" fmla="*/ 5003918 w 8079933"/>
              <a:gd name="connsiteY16709" fmla="*/ 1700389 h 4687251"/>
              <a:gd name="connsiteX16710" fmla="*/ 4998383 w 8079933"/>
              <a:gd name="connsiteY16710" fmla="*/ 1681333 h 4687251"/>
              <a:gd name="connsiteX16711" fmla="*/ 5005871 w 8079933"/>
              <a:gd name="connsiteY16711" fmla="*/ 1680468 h 4687251"/>
              <a:gd name="connsiteX16712" fmla="*/ 5013576 w 8079933"/>
              <a:gd name="connsiteY16712" fmla="*/ 1680468 h 4687251"/>
              <a:gd name="connsiteX16713" fmla="*/ 5013576 w 8079933"/>
              <a:gd name="connsiteY16713" fmla="*/ 1674837 h 4687251"/>
              <a:gd name="connsiteX16714" fmla="*/ 5010104 w 8079933"/>
              <a:gd name="connsiteY16714" fmla="*/ 1670507 h 4687251"/>
              <a:gd name="connsiteX16715" fmla="*/ 5011731 w 8079933"/>
              <a:gd name="connsiteY16715" fmla="*/ 1664985 h 4687251"/>
              <a:gd name="connsiteX16716" fmla="*/ 5018785 w 8079933"/>
              <a:gd name="connsiteY16716" fmla="*/ 1660546 h 4687251"/>
              <a:gd name="connsiteX16717" fmla="*/ 5022040 w 8079933"/>
              <a:gd name="connsiteY16717" fmla="*/ 1660329 h 4687251"/>
              <a:gd name="connsiteX16718" fmla="*/ 5024320 w 8079933"/>
              <a:gd name="connsiteY16718" fmla="*/ 1653941 h 4687251"/>
              <a:gd name="connsiteX16719" fmla="*/ 5026530 w 8079933"/>
              <a:gd name="connsiteY16719" fmla="*/ 1652270 h 4687251"/>
              <a:gd name="connsiteX16720" fmla="*/ 6570356 w 8079933"/>
              <a:gd name="connsiteY16720" fmla="*/ 1650151 h 4687251"/>
              <a:gd name="connsiteX16721" fmla="*/ 6567970 w 8079933"/>
              <a:gd name="connsiteY16721" fmla="*/ 1652208 h 4687251"/>
              <a:gd name="connsiteX16722" fmla="*/ 6561350 w 8079933"/>
              <a:gd name="connsiteY16722" fmla="*/ 1654265 h 4687251"/>
              <a:gd name="connsiteX16723" fmla="*/ 6561024 w 8079933"/>
              <a:gd name="connsiteY16723" fmla="*/ 1658704 h 4687251"/>
              <a:gd name="connsiteX16724" fmla="*/ 6561784 w 8079933"/>
              <a:gd name="connsiteY16724" fmla="*/ 1663901 h 4687251"/>
              <a:gd name="connsiteX16725" fmla="*/ 6555816 w 8079933"/>
              <a:gd name="connsiteY16725" fmla="*/ 1672888 h 4687251"/>
              <a:gd name="connsiteX16726" fmla="*/ 6551041 w 8079933"/>
              <a:gd name="connsiteY16726" fmla="*/ 1668015 h 4687251"/>
              <a:gd name="connsiteX16727" fmla="*/ 6540732 w 8079933"/>
              <a:gd name="connsiteY16727" fmla="*/ 1666283 h 4687251"/>
              <a:gd name="connsiteX16728" fmla="*/ 6531074 w 8079933"/>
              <a:gd name="connsiteY16728" fmla="*/ 1666283 h 4687251"/>
              <a:gd name="connsiteX16729" fmla="*/ 6523478 w 8079933"/>
              <a:gd name="connsiteY16729" fmla="*/ 1672129 h 4687251"/>
              <a:gd name="connsiteX16730" fmla="*/ 6512084 w 8079933"/>
              <a:gd name="connsiteY16730" fmla="*/ 1666717 h 4687251"/>
              <a:gd name="connsiteX16731" fmla="*/ 6512084 w 8079933"/>
              <a:gd name="connsiteY16731" fmla="*/ 1666717 h 4687251"/>
              <a:gd name="connsiteX16732" fmla="*/ 6523479 w 8079933"/>
              <a:gd name="connsiteY16732" fmla="*/ 1672131 h 4687251"/>
              <a:gd name="connsiteX16733" fmla="*/ 6531074 w 8079933"/>
              <a:gd name="connsiteY16733" fmla="*/ 1666284 h 4687251"/>
              <a:gd name="connsiteX16734" fmla="*/ 6540732 w 8079933"/>
              <a:gd name="connsiteY16734" fmla="*/ 1666284 h 4687251"/>
              <a:gd name="connsiteX16735" fmla="*/ 6551042 w 8079933"/>
              <a:gd name="connsiteY16735" fmla="*/ 1668017 h 4687251"/>
              <a:gd name="connsiteX16736" fmla="*/ 6555816 w 8079933"/>
              <a:gd name="connsiteY16736" fmla="*/ 1672889 h 4687251"/>
              <a:gd name="connsiteX16737" fmla="*/ 6561785 w 8079933"/>
              <a:gd name="connsiteY16737" fmla="*/ 1663902 h 4687251"/>
              <a:gd name="connsiteX16738" fmla="*/ 6561025 w 8079933"/>
              <a:gd name="connsiteY16738" fmla="*/ 1658705 h 4687251"/>
              <a:gd name="connsiteX16739" fmla="*/ 6561351 w 8079933"/>
              <a:gd name="connsiteY16739" fmla="*/ 1654266 h 4687251"/>
              <a:gd name="connsiteX16740" fmla="*/ 6567970 w 8079933"/>
              <a:gd name="connsiteY16740" fmla="*/ 1652209 h 4687251"/>
              <a:gd name="connsiteX16741" fmla="*/ 6570358 w 8079933"/>
              <a:gd name="connsiteY16741" fmla="*/ 1650152 h 4687251"/>
              <a:gd name="connsiteX16742" fmla="*/ 6581100 w 8079933"/>
              <a:gd name="connsiteY16742" fmla="*/ 1652858 h 4687251"/>
              <a:gd name="connsiteX16743" fmla="*/ 6581100 w 8079933"/>
              <a:gd name="connsiteY16743" fmla="*/ 1652858 h 4687251"/>
              <a:gd name="connsiteX16744" fmla="*/ 6942322 w 8079933"/>
              <a:gd name="connsiteY16744" fmla="*/ 1648712 h 4687251"/>
              <a:gd name="connsiteX16745" fmla="*/ 6942134 w 8079933"/>
              <a:gd name="connsiteY16745" fmla="*/ 1651017 h 4687251"/>
              <a:gd name="connsiteX16746" fmla="*/ 6940832 w 8079933"/>
              <a:gd name="connsiteY16746" fmla="*/ 1654482 h 4687251"/>
              <a:gd name="connsiteX16747" fmla="*/ 6941334 w 8079933"/>
              <a:gd name="connsiteY16747" fmla="*/ 1655252 h 4687251"/>
              <a:gd name="connsiteX16748" fmla="*/ 6942352 w 8079933"/>
              <a:gd name="connsiteY16748" fmla="*/ 1652751 h 4687251"/>
              <a:gd name="connsiteX16749" fmla="*/ 6942352 w 8079933"/>
              <a:gd name="connsiteY16749" fmla="*/ 1648745 h 4687251"/>
              <a:gd name="connsiteX16750" fmla="*/ 5074177 w 8079933"/>
              <a:gd name="connsiteY16750" fmla="*/ 1648706 h 4687251"/>
              <a:gd name="connsiteX16751" fmla="*/ 5074237 w 8079933"/>
              <a:gd name="connsiteY16751" fmla="*/ 1648852 h 4687251"/>
              <a:gd name="connsiteX16752" fmla="*/ 5079555 w 8079933"/>
              <a:gd name="connsiteY16752" fmla="*/ 1652425 h 4687251"/>
              <a:gd name="connsiteX16753" fmla="*/ 5088236 w 8079933"/>
              <a:gd name="connsiteY16753" fmla="*/ 1649719 h 4687251"/>
              <a:gd name="connsiteX16754" fmla="*/ 5092106 w 8079933"/>
              <a:gd name="connsiteY16754" fmla="*/ 1649826 h 4687251"/>
              <a:gd name="connsiteX16755" fmla="*/ 5091818 w 8079933"/>
              <a:gd name="connsiteY16755" fmla="*/ 1649395 h 4687251"/>
              <a:gd name="connsiteX16756" fmla="*/ 5087802 w 8079933"/>
              <a:gd name="connsiteY16756" fmla="*/ 1649395 h 4687251"/>
              <a:gd name="connsiteX16757" fmla="*/ 5079229 w 8079933"/>
              <a:gd name="connsiteY16757" fmla="*/ 1652101 h 4687251"/>
              <a:gd name="connsiteX16758" fmla="*/ 2731906 w 8079933"/>
              <a:gd name="connsiteY16758" fmla="*/ 1642356 h 4687251"/>
              <a:gd name="connsiteX16759" fmla="*/ 2731906 w 8079933"/>
              <a:gd name="connsiteY16759" fmla="*/ 1643980 h 4687251"/>
              <a:gd name="connsiteX16760" fmla="*/ 2731906 w 8079933"/>
              <a:gd name="connsiteY16760" fmla="*/ 1646362 h 4687251"/>
              <a:gd name="connsiteX16761" fmla="*/ 2733968 w 8079933"/>
              <a:gd name="connsiteY16761" fmla="*/ 1646362 h 4687251"/>
              <a:gd name="connsiteX16762" fmla="*/ 2733968 w 8079933"/>
              <a:gd name="connsiteY16762" fmla="*/ 1644738 h 4687251"/>
              <a:gd name="connsiteX16763" fmla="*/ 2736681 w 8079933"/>
              <a:gd name="connsiteY16763" fmla="*/ 1643655 h 4687251"/>
              <a:gd name="connsiteX16764" fmla="*/ 2739828 w 8079933"/>
              <a:gd name="connsiteY16764" fmla="*/ 1643655 h 4687251"/>
              <a:gd name="connsiteX16765" fmla="*/ 2739828 w 8079933"/>
              <a:gd name="connsiteY16765" fmla="*/ 1649610 h 4687251"/>
              <a:gd name="connsiteX16766" fmla="*/ 2738200 w 8079933"/>
              <a:gd name="connsiteY16766" fmla="*/ 1652209 h 4687251"/>
              <a:gd name="connsiteX16767" fmla="*/ 2736356 w 8079933"/>
              <a:gd name="connsiteY16767" fmla="*/ 1653183 h 4687251"/>
              <a:gd name="connsiteX16768" fmla="*/ 2732883 w 8079933"/>
              <a:gd name="connsiteY16768" fmla="*/ 1651234 h 4687251"/>
              <a:gd name="connsiteX16769" fmla="*/ 2729410 w 8079933"/>
              <a:gd name="connsiteY16769" fmla="*/ 1650476 h 4687251"/>
              <a:gd name="connsiteX16770" fmla="*/ 2727023 w 8079933"/>
              <a:gd name="connsiteY16770" fmla="*/ 1651018 h 4687251"/>
              <a:gd name="connsiteX16771" fmla="*/ 2725938 w 8079933"/>
              <a:gd name="connsiteY16771" fmla="*/ 1653183 h 4687251"/>
              <a:gd name="connsiteX16772" fmla="*/ 2727348 w 8079933"/>
              <a:gd name="connsiteY16772" fmla="*/ 1654590 h 4687251"/>
              <a:gd name="connsiteX16773" fmla="*/ 2727999 w 8079933"/>
              <a:gd name="connsiteY16773" fmla="*/ 1657947 h 4687251"/>
              <a:gd name="connsiteX16774" fmla="*/ 2730061 w 8079933"/>
              <a:gd name="connsiteY16774" fmla="*/ 1656323 h 4687251"/>
              <a:gd name="connsiteX16775" fmla="*/ 2731689 w 8079933"/>
              <a:gd name="connsiteY16775" fmla="*/ 1656323 h 4687251"/>
              <a:gd name="connsiteX16776" fmla="*/ 2733208 w 8079933"/>
              <a:gd name="connsiteY16776" fmla="*/ 1658488 h 4687251"/>
              <a:gd name="connsiteX16777" fmla="*/ 2732014 w 8079933"/>
              <a:gd name="connsiteY16777" fmla="*/ 1660978 h 4687251"/>
              <a:gd name="connsiteX16778" fmla="*/ 2727565 w 8079933"/>
              <a:gd name="connsiteY16778" fmla="*/ 1665417 h 4687251"/>
              <a:gd name="connsiteX16779" fmla="*/ 2724853 w 8079933"/>
              <a:gd name="connsiteY16779" fmla="*/ 1669965 h 4687251"/>
              <a:gd name="connsiteX16780" fmla="*/ 2723550 w 8079933"/>
              <a:gd name="connsiteY16780" fmla="*/ 1668016 h 4687251"/>
              <a:gd name="connsiteX16781" fmla="*/ 2724201 w 8079933"/>
              <a:gd name="connsiteY16781" fmla="*/ 1665959 h 4687251"/>
              <a:gd name="connsiteX16782" fmla="*/ 2724201 w 8079933"/>
              <a:gd name="connsiteY16782" fmla="*/ 1663360 h 4687251"/>
              <a:gd name="connsiteX16783" fmla="*/ 2722899 w 8079933"/>
              <a:gd name="connsiteY16783" fmla="*/ 1666176 h 4687251"/>
              <a:gd name="connsiteX16784" fmla="*/ 2721380 w 8079933"/>
              <a:gd name="connsiteY16784" fmla="*/ 1668774 h 4687251"/>
              <a:gd name="connsiteX16785" fmla="*/ 2721380 w 8079933"/>
              <a:gd name="connsiteY16785" fmla="*/ 1670831 h 4687251"/>
              <a:gd name="connsiteX16786" fmla="*/ 2720729 w 8079933"/>
              <a:gd name="connsiteY16786" fmla="*/ 1672347 h 4687251"/>
              <a:gd name="connsiteX16787" fmla="*/ 2718450 w 8079933"/>
              <a:gd name="connsiteY16787" fmla="*/ 1673105 h 4687251"/>
              <a:gd name="connsiteX16788" fmla="*/ 2716605 w 8079933"/>
              <a:gd name="connsiteY16788" fmla="*/ 1675811 h 4687251"/>
              <a:gd name="connsiteX16789" fmla="*/ 2713892 w 8079933"/>
              <a:gd name="connsiteY16789" fmla="*/ 1677761 h 4687251"/>
              <a:gd name="connsiteX16790" fmla="*/ 2711831 w 8079933"/>
              <a:gd name="connsiteY16790" fmla="*/ 1681767 h 4687251"/>
              <a:gd name="connsiteX16791" fmla="*/ 2710311 w 8079933"/>
              <a:gd name="connsiteY16791" fmla="*/ 1683282 h 4687251"/>
              <a:gd name="connsiteX16792" fmla="*/ 2708141 w 8079933"/>
              <a:gd name="connsiteY16792" fmla="*/ 1685339 h 4687251"/>
              <a:gd name="connsiteX16793" fmla="*/ 2708141 w 8079933"/>
              <a:gd name="connsiteY16793" fmla="*/ 1687180 h 4687251"/>
              <a:gd name="connsiteX16794" fmla="*/ 2705103 w 8079933"/>
              <a:gd name="connsiteY16794" fmla="*/ 1690320 h 4687251"/>
              <a:gd name="connsiteX16795" fmla="*/ 2703149 w 8079933"/>
              <a:gd name="connsiteY16795" fmla="*/ 1694326 h 4687251"/>
              <a:gd name="connsiteX16796" fmla="*/ 2703149 w 8079933"/>
              <a:gd name="connsiteY16796" fmla="*/ 1696600 h 4687251"/>
              <a:gd name="connsiteX16797" fmla="*/ 2700979 w 8079933"/>
              <a:gd name="connsiteY16797" fmla="*/ 1699955 h 4687251"/>
              <a:gd name="connsiteX16798" fmla="*/ 2700328 w 8079933"/>
              <a:gd name="connsiteY16798" fmla="*/ 1703096 h 4687251"/>
              <a:gd name="connsiteX16799" fmla="*/ 2700328 w 8079933"/>
              <a:gd name="connsiteY16799" fmla="*/ 1706885 h 4687251"/>
              <a:gd name="connsiteX16800" fmla="*/ 2702932 w 8079933"/>
              <a:gd name="connsiteY16800" fmla="*/ 1704070 h 4687251"/>
              <a:gd name="connsiteX16801" fmla="*/ 2706296 w 8079933"/>
              <a:gd name="connsiteY16801" fmla="*/ 1701904 h 4687251"/>
              <a:gd name="connsiteX16802" fmla="*/ 2707165 w 8079933"/>
              <a:gd name="connsiteY16802" fmla="*/ 1699306 h 4687251"/>
              <a:gd name="connsiteX16803" fmla="*/ 2709443 w 8079933"/>
              <a:gd name="connsiteY16803" fmla="*/ 1697791 h 4687251"/>
              <a:gd name="connsiteX16804" fmla="*/ 2712373 w 8079933"/>
              <a:gd name="connsiteY16804" fmla="*/ 1694651 h 4687251"/>
              <a:gd name="connsiteX16805" fmla="*/ 2714326 w 8079933"/>
              <a:gd name="connsiteY16805" fmla="*/ 1691727 h 4687251"/>
              <a:gd name="connsiteX16806" fmla="*/ 2717256 w 8079933"/>
              <a:gd name="connsiteY16806" fmla="*/ 1689453 h 4687251"/>
              <a:gd name="connsiteX16807" fmla="*/ 2719752 w 8079933"/>
              <a:gd name="connsiteY16807" fmla="*/ 1688804 h 4687251"/>
              <a:gd name="connsiteX16808" fmla="*/ 2719752 w 8079933"/>
              <a:gd name="connsiteY16808" fmla="*/ 1689778 h 4687251"/>
              <a:gd name="connsiteX16809" fmla="*/ 2718450 w 8079933"/>
              <a:gd name="connsiteY16809" fmla="*/ 1690969 h 4687251"/>
              <a:gd name="connsiteX16810" fmla="*/ 2716605 w 8079933"/>
              <a:gd name="connsiteY16810" fmla="*/ 1694975 h 4687251"/>
              <a:gd name="connsiteX16811" fmla="*/ 2718450 w 8079933"/>
              <a:gd name="connsiteY16811" fmla="*/ 1693568 h 4687251"/>
              <a:gd name="connsiteX16812" fmla="*/ 2720404 w 8079933"/>
              <a:gd name="connsiteY16812" fmla="*/ 1693568 h 4687251"/>
              <a:gd name="connsiteX16813" fmla="*/ 2723985 w 8079933"/>
              <a:gd name="connsiteY16813" fmla="*/ 1696383 h 4687251"/>
              <a:gd name="connsiteX16814" fmla="*/ 2726371 w 8079933"/>
              <a:gd name="connsiteY16814" fmla="*/ 1697141 h 4687251"/>
              <a:gd name="connsiteX16815" fmla="*/ 2730387 w 8079933"/>
              <a:gd name="connsiteY16815" fmla="*/ 1695950 h 4687251"/>
              <a:gd name="connsiteX16816" fmla="*/ 2731689 w 8079933"/>
              <a:gd name="connsiteY16816" fmla="*/ 1695300 h 4687251"/>
              <a:gd name="connsiteX16817" fmla="*/ 2731689 w 8079933"/>
              <a:gd name="connsiteY16817" fmla="*/ 1697249 h 4687251"/>
              <a:gd name="connsiteX16818" fmla="*/ 2729627 w 8079933"/>
              <a:gd name="connsiteY16818" fmla="*/ 1699523 h 4687251"/>
              <a:gd name="connsiteX16819" fmla="*/ 2726155 w 8079933"/>
              <a:gd name="connsiteY16819" fmla="*/ 1700281 h 4687251"/>
              <a:gd name="connsiteX16820" fmla="*/ 2724310 w 8079933"/>
              <a:gd name="connsiteY16820" fmla="*/ 1701363 h 4687251"/>
              <a:gd name="connsiteX16821" fmla="*/ 2720295 w 8079933"/>
              <a:gd name="connsiteY16821" fmla="*/ 1701363 h 4687251"/>
              <a:gd name="connsiteX16822" fmla="*/ 2716605 w 8079933"/>
              <a:gd name="connsiteY16822" fmla="*/ 1704503 h 4687251"/>
              <a:gd name="connsiteX16823" fmla="*/ 2714869 w 8079933"/>
              <a:gd name="connsiteY16823" fmla="*/ 1707426 h 4687251"/>
              <a:gd name="connsiteX16824" fmla="*/ 2718124 w 8079933"/>
              <a:gd name="connsiteY16824" fmla="*/ 1704828 h 4687251"/>
              <a:gd name="connsiteX16825" fmla="*/ 2719969 w 8079933"/>
              <a:gd name="connsiteY16825" fmla="*/ 1704828 h 4687251"/>
              <a:gd name="connsiteX16826" fmla="*/ 2721488 w 8079933"/>
              <a:gd name="connsiteY16826" fmla="*/ 1704828 h 4687251"/>
              <a:gd name="connsiteX16827" fmla="*/ 2720404 w 8079933"/>
              <a:gd name="connsiteY16827" fmla="*/ 1707968 h 4687251"/>
              <a:gd name="connsiteX16828" fmla="*/ 2717907 w 8079933"/>
              <a:gd name="connsiteY16828" fmla="*/ 1711865 h 4687251"/>
              <a:gd name="connsiteX16829" fmla="*/ 2714001 w 8079933"/>
              <a:gd name="connsiteY16829" fmla="*/ 1714464 h 4687251"/>
              <a:gd name="connsiteX16830" fmla="*/ 2714001 w 8079933"/>
              <a:gd name="connsiteY16830" fmla="*/ 1715547 h 4687251"/>
              <a:gd name="connsiteX16831" fmla="*/ 2715846 w 8079933"/>
              <a:gd name="connsiteY16831" fmla="*/ 1715547 h 4687251"/>
              <a:gd name="connsiteX16832" fmla="*/ 2719427 w 8079933"/>
              <a:gd name="connsiteY16832" fmla="*/ 1712624 h 4687251"/>
              <a:gd name="connsiteX16833" fmla="*/ 2720512 w 8079933"/>
              <a:gd name="connsiteY16833" fmla="*/ 1712624 h 4687251"/>
              <a:gd name="connsiteX16834" fmla="*/ 2721814 w 8079933"/>
              <a:gd name="connsiteY16834" fmla="*/ 1716305 h 4687251"/>
              <a:gd name="connsiteX16835" fmla="*/ 2723442 w 8079933"/>
              <a:gd name="connsiteY16835" fmla="*/ 1716305 h 4687251"/>
              <a:gd name="connsiteX16836" fmla="*/ 2727348 w 8079933"/>
              <a:gd name="connsiteY16836" fmla="*/ 1712732 h 4687251"/>
              <a:gd name="connsiteX16837" fmla="*/ 2730387 w 8079933"/>
              <a:gd name="connsiteY16837" fmla="*/ 1712191 h 4687251"/>
              <a:gd name="connsiteX16838" fmla="*/ 2730387 w 8079933"/>
              <a:gd name="connsiteY16838" fmla="*/ 1713165 h 4687251"/>
              <a:gd name="connsiteX16839" fmla="*/ 2729736 w 8079933"/>
              <a:gd name="connsiteY16839" fmla="*/ 1715655 h 4687251"/>
              <a:gd name="connsiteX16840" fmla="*/ 2728108 w 8079933"/>
              <a:gd name="connsiteY16840" fmla="*/ 1717279 h 4687251"/>
              <a:gd name="connsiteX16841" fmla="*/ 2728976 w 8079933"/>
              <a:gd name="connsiteY16841" fmla="*/ 1718903 h 4687251"/>
              <a:gd name="connsiteX16842" fmla="*/ 2731581 w 8079933"/>
              <a:gd name="connsiteY16842" fmla="*/ 1716196 h 4687251"/>
              <a:gd name="connsiteX16843" fmla="*/ 2732774 w 8079933"/>
              <a:gd name="connsiteY16843" fmla="*/ 1713922 h 4687251"/>
              <a:gd name="connsiteX16844" fmla="*/ 2735379 w 8079933"/>
              <a:gd name="connsiteY16844" fmla="*/ 1712840 h 4687251"/>
              <a:gd name="connsiteX16845" fmla="*/ 2736464 w 8079933"/>
              <a:gd name="connsiteY16845" fmla="*/ 1713489 h 4687251"/>
              <a:gd name="connsiteX16846" fmla="*/ 2733859 w 8079933"/>
              <a:gd name="connsiteY16846" fmla="*/ 1717928 h 4687251"/>
              <a:gd name="connsiteX16847" fmla="*/ 2733317 w 8079933"/>
              <a:gd name="connsiteY16847" fmla="*/ 1723883 h 4687251"/>
              <a:gd name="connsiteX16848" fmla="*/ 2731038 w 8079933"/>
              <a:gd name="connsiteY16848" fmla="*/ 1726373 h 4687251"/>
              <a:gd name="connsiteX16849" fmla="*/ 2734185 w 8079933"/>
              <a:gd name="connsiteY16849" fmla="*/ 1724100 h 4687251"/>
              <a:gd name="connsiteX16850" fmla="*/ 2734836 w 8079933"/>
              <a:gd name="connsiteY16850" fmla="*/ 1719553 h 4687251"/>
              <a:gd name="connsiteX16851" fmla="*/ 2737983 w 8079933"/>
              <a:gd name="connsiteY16851" fmla="*/ 1717496 h 4687251"/>
              <a:gd name="connsiteX16852" fmla="*/ 2739502 w 8079933"/>
              <a:gd name="connsiteY16852" fmla="*/ 1719011 h 4687251"/>
              <a:gd name="connsiteX16853" fmla="*/ 2741998 w 8079933"/>
              <a:gd name="connsiteY16853" fmla="*/ 1718037 h 4687251"/>
              <a:gd name="connsiteX16854" fmla="*/ 2743300 w 8079933"/>
              <a:gd name="connsiteY16854" fmla="*/ 1716521 h 4687251"/>
              <a:gd name="connsiteX16855" fmla="*/ 2744711 w 8079933"/>
              <a:gd name="connsiteY16855" fmla="*/ 1717928 h 4687251"/>
              <a:gd name="connsiteX16856" fmla="*/ 2746013 w 8079933"/>
              <a:gd name="connsiteY16856" fmla="*/ 1717496 h 4687251"/>
              <a:gd name="connsiteX16857" fmla="*/ 2747641 w 8079933"/>
              <a:gd name="connsiteY16857" fmla="*/ 1715005 h 4687251"/>
              <a:gd name="connsiteX16858" fmla="*/ 2750896 w 8079933"/>
              <a:gd name="connsiteY16858" fmla="*/ 1712515 h 4687251"/>
              <a:gd name="connsiteX16859" fmla="*/ 2752416 w 8079933"/>
              <a:gd name="connsiteY16859" fmla="*/ 1712515 h 4687251"/>
              <a:gd name="connsiteX16860" fmla="*/ 2750788 w 8079933"/>
              <a:gd name="connsiteY16860" fmla="*/ 1715763 h 4687251"/>
              <a:gd name="connsiteX16861" fmla="*/ 2749703 w 8079933"/>
              <a:gd name="connsiteY16861" fmla="*/ 1718037 h 4687251"/>
              <a:gd name="connsiteX16862" fmla="*/ 2750788 w 8079933"/>
              <a:gd name="connsiteY16862" fmla="*/ 1719553 h 4687251"/>
              <a:gd name="connsiteX16863" fmla="*/ 2750137 w 8079933"/>
              <a:gd name="connsiteY16863" fmla="*/ 1723450 h 4687251"/>
              <a:gd name="connsiteX16864" fmla="*/ 2748509 w 8079933"/>
              <a:gd name="connsiteY16864" fmla="*/ 1725508 h 4687251"/>
              <a:gd name="connsiteX16865" fmla="*/ 2751114 w 8079933"/>
              <a:gd name="connsiteY16865" fmla="*/ 1723559 h 4687251"/>
              <a:gd name="connsiteX16866" fmla="*/ 2751982 w 8079933"/>
              <a:gd name="connsiteY16866" fmla="*/ 1719769 h 4687251"/>
              <a:gd name="connsiteX16867" fmla="*/ 2753718 w 8079933"/>
              <a:gd name="connsiteY16867" fmla="*/ 1716412 h 4687251"/>
              <a:gd name="connsiteX16868" fmla="*/ 2753718 w 8079933"/>
              <a:gd name="connsiteY16868" fmla="*/ 1714031 h 4687251"/>
              <a:gd name="connsiteX16869" fmla="*/ 2755671 w 8079933"/>
              <a:gd name="connsiteY16869" fmla="*/ 1714031 h 4687251"/>
              <a:gd name="connsiteX16870" fmla="*/ 2759687 w 8079933"/>
              <a:gd name="connsiteY16870" fmla="*/ 1713057 h 4687251"/>
              <a:gd name="connsiteX16871" fmla="*/ 2763593 w 8079933"/>
              <a:gd name="connsiteY16871" fmla="*/ 1713057 h 4687251"/>
              <a:gd name="connsiteX16872" fmla="*/ 2767608 w 8079933"/>
              <a:gd name="connsiteY16872" fmla="*/ 1716846 h 4687251"/>
              <a:gd name="connsiteX16873" fmla="*/ 2770429 w 8079933"/>
              <a:gd name="connsiteY16873" fmla="*/ 1718470 h 4687251"/>
              <a:gd name="connsiteX16874" fmla="*/ 2770429 w 8079933"/>
              <a:gd name="connsiteY16874" fmla="*/ 1720852 h 4687251"/>
              <a:gd name="connsiteX16875" fmla="*/ 2768693 w 8079933"/>
              <a:gd name="connsiteY16875" fmla="*/ 1722476 h 4687251"/>
              <a:gd name="connsiteX16876" fmla="*/ 2768693 w 8079933"/>
              <a:gd name="connsiteY16876" fmla="*/ 1725508 h 4687251"/>
              <a:gd name="connsiteX16877" fmla="*/ 2766414 w 8079933"/>
              <a:gd name="connsiteY16877" fmla="*/ 1727024 h 4687251"/>
              <a:gd name="connsiteX16878" fmla="*/ 2764135 w 8079933"/>
              <a:gd name="connsiteY16878" fmla="*/ 1727024 h 4687251"/>
              <a:gd name="connsiteX16879" fmla="*/ 2762725 w 8079933"/>
              <a:gd name="connsiteY16879" fmla="*/ 1728756 h 4687251"/>
              <a:gd name="connsiteX16880" fmla="*/ 2759578 w 8079933"/>
              <a:gd name="connsiteY16880" fmla="*/ 1730272 h 4687251"/>
              <a:gd name="connsiteX16881" fmla="*/ 2755562 w 8079933"/>
              <a:gd name="connsiteY16881" fmla="*/ 1731030 h 4687251"/>
              <a:gd name="connsiteX16882" fmla="*/ 2758059 w 8079933"/>
              <a:gd name="connsiteY16882" fmla="*/ 1732870 h 4687251"/>
              <a:gd name="connsiteX16883" fmla="*/ 2753718 w 8079933"/>
              <a:gd name="connsiteY16883" fmla="*/ 1732870 h 4687251"/>
              <a:gd name="connsiteX16884" fmla="*/ 2758167 w 8079933"/>
              <a:gd name="connsiteY16884" fmla="*/ 1733520 h 4687251"/>
              <a:gd name="connsiteX16885" fmla="*/ 2760988 w 8079933"/>
              <a:gd name="connsiteY16885" fmla="*/ 1732546 h 4687251"/>
              <a:gd name="connsiteX16886" fmla="*/ 2762508 w 8079933"/>
              <a:gd name="connsiteY16886" fmla="*/ 1732546 h 4687251"/>
              <a:gd name="connsiteX16887" fmla="*/ 2762508 w 8079933"/>
              <a:gd name="connsiteY16887" fmla="*/ 1735144 h 4687251"/>
              <a:gd name="connsiteX16888" fmla="*/ 2761531 w 8079933"/>
              <a:gd name="connsiteY16888" fmla="*/ 1737634 h 4687251"/>
              <a:gd name="connsiteX16889" fmla="*/ 2763376 w 8079933"/>
              <a:gd name="connsiteY16889" fmla="*/ 1735577 h 4687251"/>
              <a:gd name="connsiteX16890" fmla="*/ 2765003 w 8079933"/>
              <a:gd name="connsiteY16890" fmla="*/ 1736335 h 4687251"/>
              <a:gd name="connsiteX16891" fmla="*/ 2763593 w 8079933"/>
              <a:gd name="connsiteY16891" fmla="*/ 1739691 h 4687251"/>
              <a:gd name="connsiteX16892" fmla="*/ 2761640 w 8079933"/>
              <a:gd name="connsiteY16892" fmla="*/ 1741423 h 4687251"/>
              <a:gd name="connsiteX16893" fmla="*/ 2763376 w 8079933"/>
              <a:gd name="connsiteY16893" fmla="*/ 1742506 h 4687251"/>
              <a:gd name="connsiteX16894" fmla="*/ 2762291 w 8079933"/>
              <a:gd name="connsiteY16894" fmla="*/ 1743913 h 4687251"/>
              <a:gd name="connsiteX16895" fmla="*/ 2759903 w 8079933"/>
              <a:gd name="connsiteY16895" fmla="*/ 1746295 h 4687251"/>
              <a:gd name="connsiteX16896" fmla="*/ 2757516 w 8079933"/>
              <a:gd name="connsiteY16896" fmla="*/ 1747595 h 4687251"/>
              <a:gd name="connsiteX16897" fmla="*/ 2759903 w 8079933"/>
              <a:gd name="connsiteY16897" fmla="*/ 1747595 h 4687251"/>
              <a:gd name="connsiteX16898" fmla="*/ 2761423 w 8079933"/>
              <a:gd name="connsiteY16898" fmla="*/ 1746079 h 4687251"/>
              <a:gd name="connsiteX16899" fmla="*/ 2761423 w 8079933"/>
              <a:gd name="connsiteY16899" fmla="*/ 1748894 h 4687251"/>
              <a:gd name="connsiteX16900" fmla="*/ 2760663 w 8079933"/>
              <a:gd name="connsiteY16900" fmla="*/ 1750843 h 4687251"/>
              <a:gd name="connsiteX16901" fmla="*/ 2762291 w 8079933"/>
              <a:gd name="connsiteY16901" fmla="*/ 1750085 h 4687251"/>
              <a:gd name="connsiteX16902" fmla="*/ 2762291 w 8079933"/>
              <a:gd name="connsiteY16902" fmla="*/ 1747703 h 4687251"/>
              <a:gd name="connsiteX16903" fmla="*/ 2764569 w 8079933"/>
              <a:gd name="connsiteY16903" fmla="*/ 1746295 h 4687251"/>
              <a:gd name="connsiteX16904" fmla="*/ 2767608 w 8079933"/>
              <a:gd name="connsiteY16904" fmla="*/ 1744022 h 4687251"/>
              <a:gd name="connsiteX16905" fmla="*/ 2769453 w 8079933"/>
              <a:gd name="connsiteY16905" fmla="*/ 1744022 h 4687251"/>
              <a:gd name="connsiteX16906" fmla="*/ 2771298 w 8079933"/>
              <a:gd name="connsiteY16906" fmla="*/ 1743048 h 4687251"/>
              <a:gd name="connsiteX16907" fmla="*/ 2771298 w 8079933"/>
              <a:gd name="connsiteY16907" fmla="*/ 1739907 h 4687251"/>
              <a:gd name="connsiteX16908" fmla="*/ 2771298 w 8079933"/>
              <a:gd name="connsiteY16908" fmla="*/ 1737959 h 4687251"/>
              <a:gd name="connsiteX16909" fmla="*/ 2773902 w 8079933"/>
              <a:gd name="connsiteY16909" fmla="*/ 1737959 h 4687251"/>
              <a:gd name="connsiteX16910" fmla="*/ 2774553 w 8079933"/>
              <a:gd name="connsiteY16910" fmla="*/ 1739475 h 4687251"/>
              <a:gd name="connsiteX16911" fmla="*/ 2776940 w 8079933"/>
              <a:gd name="connsiteY16911" fmla="*/ 1737959 h 4687251"/>
              <a:gd name="connsiteX16912" fmla="*/ 2779979 w 8079933"/>
              <a:gd name="connsiteY16912" fmla="*/ 1734710 h 4687251"/>
              <a:gd name="connsiteX16913" fmla="*/ 2781173 w 8079933"/>
              <a:gd name="connsiteY16913" fmla="*/ 1737093 h 4687251"/>
              <a:gd name="connsiteX16914" fmla="*/ 2781173 w 8079933"/>
              <a:gd name="connsiteY16914" fmla="*/ 1740449 h 4687251"/>
              <a:gd name="connsiteX16915" fmla="*/ 2779762 w 8079933"/>
              <a:gd name="connsiteY16915" fmla="*/ 1743481 h 4687251"/>
              <a:gd name="connsiteX16916" fmla="*/ 2775421 w 8079933"/>
              <a:gd name="connsiteY16916" fmla="*/ 1746187 h 4687251"/>
              <a:gd name="connsiteX16917" fmla="*/ 2774336 w 8079933"/>
              <a:gd name="connsiteY16917" fmla="*/ 1744888 h 4687251"/>
              <a:gd name="connsiteX16918" fmla="*/ 2770755 w 8079933"/>
              <a:gd name="connsiteY16918" fmla="*/ 1744888 h 4687251"/>
              <a:gd name="connsiteX16919" fmla="*/ 2769236 w 8079933"/>
              <a:gd name="connsiteY16919" fmla="*/ 1748894 h 4687251"/>
              <a:gd name="connsiteX16920" fmla="*/ 2765655 w 8079933"/>
              <a:gd name="connsiteY16920" fmla="*/ 1751817 h 4687251"/>
              <a:gd name="connsiteX16921" fmla="*/ 2764461 w 8079933"/>
              <a:gd name="connsiteY16921" fmla="*/ 1752791 h 4687251"/>
              <a:gd name="connsiteX16922" fmla="*/ 2760446 w 8079933"/>
              <a:gd name="connsiteY16922" fmla="*/ 1752791 h 4687251"/>
              <a:gd name="connsiteX16923" fmla="*/ 2759143 w 8079933"/>
              <a:gd name="connsiteY16923" fmla="*/ 1753658 h 4687251"/>
              <a:gd name="connsiteX16924" fmla="*/ 2759143 w 8079933"/>
              <a:gd name="connsiteY16924" fmla="*/ 1754839 h 4687251"/>
              <a:gd name="connsiteX16925" fmla="*/ 2763485 w 8079933"/>
              <a:gd name="connsiteY16925" fmla="*/ 1756149 h 4687251"/>
              <a:gd name="connsiteX16926" fmla="*/ 2762834 w 8079933"/>
              <a:gd name="connsiteY16926" fmla="*/ 1757773 h 4687251"/>
              <a:gd name="connsiteX16927" fmla="*/ 2760759 w 8079933"/>
              <a:gd name="connsiteY16927" fmla="*/ 1757773 h 4687251"/>
              <a:gd name="connsiteX16928" fmla="*/ 2760988 w 8079933"/>
              <a:gd name="connsiteY16928" fmla="*/ 1757989 h 4687251"/>
              <a:gd name="connsiteX16929" fmla="*/ 2764787 w 8079933"/>
              <a:gd name="connsiteY16929" fmla="*/ 1758746 h 4687251"/>
              <a:gd name="connsiteX16930" fmla="*/ 2761097 w 8079933"/>
              <a:gd name="connsiteY16930" fmla="*/ 1758746 h 4687251"/>
              <a:gd name="connsiteX16931" fmla="*/ 2758818 w 8079933"/>
              <a:gd name="connsiteY16931" fmla="*/ 1758746 h 4687251"/>
              <a:gd name="connsiteX16932" fmla="*/ 2762400 w 8079933"/>
              <a:gd name="connsiteY16932" fmla="*/ 1760046 h 4687251"/>
              <a:gd name="connsiteX16933" fmla="*/ 2764244 w 8079933"/>
              <a:gd name="connsiteY16933" fmla="*/ 1760046 h 4687251"/>
              <a:gd name="connsiteX16934" fmla="*/ 2761531 w 8079933"/>
              <a:gd name="connsiteY16934" fmla="*/ 1764268 h 4687251"/>
              <a:gd name="connsiteX16935" fmla="*/ 2760012 w 8079933"/>
              <a:gd name="connsiteY16935" fmla="*/ 1764268 h 4687251"/>
              <a:gd name="connsiteX16936" fmla="*/ 2758275 w 8079933"/>
              <a:gd name="connsiteY16936" fmla="*/ 1761670 h 4687251"/>
              <a:gd name="connsiteX16937" fmla="*/ 2758275 w 8079933"/>
              <a:gd name="connsiteY16937" fmla="*/ 1764485 h 4687251"/>
              <a:gd name="connsiteX16938" fmla="*/ 2759361 w 8079933"/>
              <a:gd name="connsiteY16938" fmla="*/ 1767191 h 4687251"/>
              <a:gd name="connsiteX16939" fmla="*/ 2759361 w 8079933"/>
              <a:gd name="connsiteY16939" fmla="*/ 1769574 h 4687251"/>
              <a:gd name="connsiteX16940" fmla="*/ 2762616 w 8079933"/>
              <a:gd name="connsiteY16940" fmla="*/ 1772389 h 4687251"/>
              <a:gd name="connsiteX16941" fmla="*/ 2764895 w 8079933"/>
              <a:gd name="connsiteY16941" fmla="*/ 1770764 h 4687251"/>
              <a:gd name="connsiteX16942" fmla="*/ 2764895 w 8079933"/>
              <a:gd name="connsiteY16942" fmla="*/ 1769032 h 4687251"/>
              <a:gd name="connsiteX16943" fmla="*/ 2769670 w 8079933"/>
              <a:gd name="connsiteY16943" fmla="*/ 1765351 h 4687251"/>
              <a:gd name="connsiteX16944" fmla="*/ 2770321 w 8079933"/>
              <a:gd name="connsiteY16944" fmla="*/ 1762970 h 4687251"/>
              <a:gd name="connsiteX16945" fmla="*/ 2773251 w 8079933"/>
              <a:gd name="connsiteY16945" fmla="*/ 1760262 h 4687251"/>
              <a:gd name="connsiteX16946" fmla="*/ 2775964 w 8079933"/>
              <a:gd name="connsiteY16946" fmla="*/ 1760262 h 4687251"/>
              <a:gd name="connsiteX16947" fmla="*/ 2778894 w 8079933"/>
              <a:gd name="connsiteY16947" fmla="*/ 1758746 h 4687251"/>
              <a:gd name="connsiteX16948" fmla="*/ 2780521 w 8079933"/>
              <a:gd name="connsiteY16948" fmla="*/ 1758746 h 4687251"/>
              <a:gd name="connsiteX16949" fmla="*/ 2782583 w 8079933"/>
              <a:gd name="connsiteY16949" fmla="*/ 1756906 h 4687251"/>
              <a:gd name="connsiteX16950" fmla="*/ 2783560 w 8079933"/>
              <a:gd name="connsiteY16950" fmla="*/ 1759288 h 4687251"/>
              <a:gd name="connsiteX16951" fmla="*/ 2781824 w 8079933"/>
              <a:gd name="connsiteY16951" fmla="*/ 1760262 h 4687251"/>
              <a:gd name="connsiteX16952" fmla="*/ 2780630 w 8079933"/>
              <a:gd name="connsiteY16952" fmla="*/ 1760262 h 4687251"/>
              <a:gd name="connsiteX16953" fmla="*/ 2777049 w 8079933"/>
              <a:gd name="connsiteY16953" fmla="*/ 1763511 h 4687251"/>
              <a:gd name="connsiteX16954" fmla="*/ 2776180 w 8079933"/>
              <a:gd name="connsiteY16954" fmla="*/ 1765134 h 4687251"/>
              <a:gd name="connsiteX16955" fmla="*/ 2772166 w 8079933"/>
              <a:gd name="connsiteY16955" fmla="*/ 1768274 h 4687251"/>
              <a:gd name="connsiteX16956" fmla="*/ 2772166 w 8079933"/>
              <a:gd name="connsiteY16956" fmla="*/ 1771956 h 4687251"/>
              <a:gd name="connsiteX16957" fmla="*/ 2771514 w 8079933"/>
              <a:gd name="connsiteY16957" fmla="*/ 1775312 h 4687251"/>
              <a:gd name="connsiteX16958" fmla="*/ 2773034 w 8079933"/>
              <a:gd name="connsiteY16958" fmla="*/ 1778235 h 4687251"/>
              <a:gd name="connsiteX16959" fmla="*/ 2774987 w 8079933"/>
              <a:gd name="connsiteY16959" fmla="*/ 1777586 h 4687251"/>
              <a:gd name="connsiteX16960" fmla="*/ 2777808 w 8079933"/>
              <a:gd name="connsiteY16960" fmla="*/ 1774337 h 4687251"/>
              <a:gd name="connsiteX16961" fmla="*/ 2781064 w 8079933"/>
              <a:gd name="connsiteY16961" fmla="*/ 1772172 h 4687251"/>
              <a:gd name="connsiteX16962" fmla="*/ 2782692 w 8079933"/>
              <a:gd name="connsiteY16962" fmla="*/ 1768599 h 4687251"/>
              <a:gd name="connsiteX16963" fmla="*/ 2782692 w 8079933"/>
              <a:gd name="connsiteY16963" fmla="*/ 1766867 h 4687251"/>
              <a:gd name="connsiteX16964" fmla="*/ 2783994 w 8079933"/>
              <a:gd name="connsiteY16964" fmla="*/ 1766867 h 4687251"/>
              <a:gd name="connsiteX16965" fmla="*/ 2783994 w 8079933"/>
              <a:gd name="connsiteY16965" fmla="*/ 1769357 h 4687251"/>
              <a:gd name="connsiteX16966" fmla="*/ 2783994 w 8079933"/>
              <a:gd name="connsiteY16966" fmla="*/ 1776286 h 4687251"/>
              <a:gd name="connsiteX16967" fmla="*/ 2781607 w 8079933"/>
              <a:gd name="connsiteY16967" fmla="*/ 1780076 h 4687251"/>
              <a:gd name="connsiteX16968" fmla="*/ 2777592 w 8079933"/>
              <a:gd name="connsiteY16968" fmla="*/ 1785489 h 4687251"/>
              <a:gd name="connsiteX16969" fmla="*/ 2776615 w 8079933"/>
              <a:gd name="connsiteY16969" fmla="*/ 1789279 h 4687251"/>
              <a:gd name="connsiteX16970" fmla="*/ 2777808 w 8079933"/>
              <a:gd name="connsiteY16970" fmla="*/ 1791661 h 4687251"/>
              <a:gd name="connsiteX16971" fmla="*/ 2777049 w 8079933"/>
              <a:gd name="connsiteY16971" fmla="*/ 1793718 h 4687251"/>
              <a:gd name="connsiteX16972" fmla="*/ 2776072 w 8079933"/>
              <a:gd name="connsiteY16972" fmla="*/ 1793718 h 4687251"/>
              <a:gd name="connsiteX16973" fmla="*/ 2776072 w 8079933"/>
              <a:gd name="connsiteY16973" fmla="*/ 1794368 h 4687251"/>
              <a:gd name="connsiteX16974" fmla="*/ 2775204 w 8079933"/>
              <a:gd name="connsiteY16974" fmla="*/ 1796641 h 4687251"/>
              <a:gd name="connsiteX16975" fmla="*/ 2773794 w 8079933"/>
              <a:gd name="connsiteY16975" fmla="*/ 1796641 h 4687251"/>
              <a:gd name="connsiteX16976" fmla="*/ 2773794 w 8079933"/>
              <a:gd name="connsiteY16976" fmla="*/ 1799023 h 4687251"/>
              <a:gd name="connsiteX16977" fmla="*/ 2770646 w 8079933"/>
              <a:gd name="connsiteY16977" fmla="*/ 1801080 h 4687251"/>
              <a:gd name="connsiteX16978" fmla="*/ 2768585 w 8079933"/>
              <a:gd name="connsiteY16978" fmla="*/ 1800431 h 4687251"/>
              <a:gd name="connsiteX16979" fmla="*/ 2766631 w 8079933"/>
              <a:gd name="connsiteY16979" fmla="*/ 1797291 h 4687251"/>
              <a:gd name="connsiteX16980" fmla="*/ 2764461 w 8079933"/>
              <a:gd name="connsiteY16980" fmla="*/ 1797291 h 4687251"/>
              <a:gd name="connsiteX16981" fmla="*/ 2762400 w 8079933"/>
              <a:gd name="connsiteY16981" fmla="*/ 1799565 h 4687251"/>
              <a:gd name="connsiteX16982" fmla="*/ 2761748 w 8079933"/>
              <a:gd name="connsiteY16982" fmla="*/ 1802813 h 4687251"/>
              <a:gd name="connsiteX16983" fmla="*/ 2759469 w 8079933"/>
              <a:gd name="connsiteY16983" fmla="*/ 1800755 h 4687251"/>
              <a:gd name="connsiteX16984" fmla="*/ 2759469 w 8079933"/>
              <a:gd name="connsiteY16984" fmla="*/ 1796533 h 4687251"/>
              <a:gd name="connsiteX16985" fmla="*/ 2758493 w 8079933"/>
              <a:gd name="connsiteY16985" fmla="*/ 1795017 h 4687251"/>
              <a:gd name="connsiteX16986" fmla="*/ 2759469 w 8079933"/>
              <a:gd name="connsiteY16986" fmla="*/ 1791769 h 4687251"/>
              <a:gd name="connsiteX16987" fmla="*/ 2759469 w 8079933"/>
              <a:gd name="connsiteY16987" fmla="*/ 1788954 h 4687251"/>
              <a:gd name="connsiteX16988" fmla="*/ 2763485 w 8079933"/>
              <a:gd name="connsiteY16988" fmla="*/ 1784731 h 4687251"/>
              <a:gd name="connsiteX16989" fmla="*/ 2766306 w 8079933"/>
              <a:gd name="connsiteY16989" fmla="*/ 1784082 h 4687251"/>
              <a:gd name="connsiteX16990" fmla="*/ 2766306 w 8079933"/>
              <a:gd name="connsiteY16990" fmla="*/ 1782458 h 4687251"/>
              <a:gd name="connsiteX16991" fmla="*/ 2762508 w 8079933"/>
              <a:gd name="connsiteY16991" fmla="*/ 1782458 h 4687251"/>
              <a:gd name="connsiteX16992" fmla="*/ 2761856 w 8079933"/>
              <a:gd name="connsiteY16992" fmla="*/ 1780942 h 4687251"/>
              <a:gd name="connsiteX16993" fmla="*/ 2760120 w 8079933"/>
              <a:gd name="connsiteY16993" fmla="*/ 1783432 h 4687251"/>
              <a:gd name="connsiteX16994" fmla="*/ 2756865 w 8079933"/>
              <a:gd name="connsiteY16994" fmla="*/ 1787330 h 4687251"/>
              <a:gd name="connsiteX16995" fmla="*/ 2755129 w 8079933"/>
              <a:gd name="connsiteY16995" fmla="*/ 1787330 h 4687251"/>
              <a:gd name="connsiteX16996" fmla="*/ 2751982 w 8079933"/>
              <a:gd name="connsiteY16996" fmla="*/ 1793502 h 4687251"/>
              <a:gd name="connsiteX16997" fmla="*/ 2748509 w 8079933"/>
              <a:gd name="connsiteY16997" fmla="*/ 1795559 h 4687251"/>
              <a:gd name="connsiteX16998" fmla="*/ 2746230 w 8079933"/>
              <a:gd name="connsiteY16998" fmla="*/ 1794801 h 4687251"/>
              <a:gd name="connsiteX16999" fmla="*/ 2746230 w 8079933"/>
              <a:gd name="connsiteY16999" fmla="*/ 1791986 h 4687251"/>
              <a:gd name="connsiteX17000" fmla="*/ 2747641 w 8079933"/>
              <a:gd name="connsiteY17000" fmla="*/ 1790686 h 4687251"/>
              <a:gd name="connsiteX17001" fmla="*/ 2747641 w 8079933"/>
              <a:gd name="connsiteY17001" fmla="*/ 1787546 h 4687251"/>
              <a:gd name="connsiteX17002" fmla="*/ 2750246 w 8079933"/>
              <a:gd name="connsiteY17002" fmla="*/ 1780725 h 4687251"/>
              <a:gd name="connsiteX17003" fmla="*/ 2753826 w 8079933"/>
              <a:gd name="connsiteY17003" fmla="*/ 1777802 h 4687251"/>
              <a:gd name="connsiteX17004" fmla="*/ 2754912 w 8079933"/>
              <a:gd name="connsiteY17004" fmla="*/ 1775312 h 4687251"/>
              <a:gd name="connsiteX17005" fmla="*/ 2753718 w 8079933"/>
              <a:gd name="connsiteY17005" fmla="*/ 1773038 h 4687251"/>
              <a:gd name="connsiteX17006" fmla="*/ 2754369 w 8079933"/>
              <a:gd name="connsiteY17006" fmla="*/ 1769682 h 4687251"/>
              <a:gd name="connsiteX17007" fmla="*/ 2755129 w 8079933"/>
              <a:gd name="connsiteY17007" fmla="*/ 1766975 h 4687251"/>
              <a:gd name="connsiteX17008" fmla="*/ 2755129 w 8079933"/>
              <a:gd name="connsiteY17008" fmla="*/ 1762319 h 4687251"/>
              <a:gd name="connsiteX17009" fmla="*/ 2753392 w 8079933"/>
              <a:gd name="connsiteY17009" fmla="*/ 1760803 h 4687251"/>
              <a:gd name="connsiteX17010" fmla="*/ 2751873 w 8079933"/>
              <a:gd name="connsiteY17010" fmla="*/ 1760803 h 4687251"/>
              <a:gd name="connsiteX17011" fmla="*/ 2750137 w 8079933"/>
              <a:gd name="connsiteY17011" fmla="*/ 1759180 h 4687251"/>
              <a:gd name="connsiteX17012" fmla="*/ 2748726 w 8079933"/>
              <a:gd name="connsiteY17012" fmla="*/ 1759180 h 4687251"/>
              <a:gd name="connsiteX17013" fmla="*/ 2747641 w 8079933"/>
              <a:gd name="connsiteY17013" fmla="*/ 1760587 h 4687251"/>
              <a:gd name="connsiteX17014" fmla="*/ 2747641 w 8079933"/>
              <a:gd name="connsiteY17014" fmla="*/ 1765027 h 4687251"/>
              <a:gd name="connsiteX17015" fmla="*/ 2745362 w 8079933"/>
              <a:gd name="connsiteY17015" fmla="*/ 1769682 h 4687251"/>
              <a:gd name="connsiteX17016" fmla="*/ 2743517 w 8079933"/>
              <a:gd name="connsiteY17016" fmla="*/ 1775095 h 4687251"/>
              <a:gd name="connsiteX17017" fmla="*/ 2741455 w 8079933"/>
              <a:gd name="connsiteY17017" fmla="*/ 1776611 h 4687251"/>
              <a:gd name="connsiteX17018" fmla="*/ 2738960 w 8079933"/>
              <a:gd name="connsiteY17018" fmla="*/ 1776611 h 4687251"/>
              <a:gd name="connsiteX17019" fmla="*/ 2741673 w 8079933"/>
              <a:gd name="connsiteY17019" fmla="*/ 1774987 h 4687251"/>
              <a:gd name="connsiteX17020" fmla="*/ 2738525 w 8079933"/>
              <a:gd name="connsiteY17020" fmla="*/ 1774987 h 4687251"/>
              <a:gd name="connsiteX17021" fmla="*/ 2736572 w 8079933"/>
              <a:gd name="connsiteY17021" fmla="*/ 1773472 h 4687251"/>
              <a:gd name="connsiteX17022" fmla="*/ 2734619 w 8079933"/>
              <a:gd name="connsiteY17022" fmla="*/ 1774662 h 4687251"/>
              <a:gd name="connsiteX17023" fmla="*/ 2730604 w 8079933"/>
              <a:gd name="connsiteY17023" fmla="*/ 1779210 h 4687251"/>
              <a:gd name="connsiteX17024" fmla="*/ 2728868 w 8079933"/>
              <a:gd name="connsiteY17024" fmla="*/ 1779859 h 4687251"/>
              <a:gd name="connsiteX17025" fmla="*/ 2728216 w 8079933"/>
              <a:gd name="connsiteY17025" fmla="*/ 1782891 h 4687251"/>
              <a:gd name="connsiteX17026" fmla="*/ 2727240 w 8079933"/>
              <a:gd name="connsiteY17026" fmla="*/ 1785489 h 4687251"/>
              <a:gd name="connsiteX17027" fmla="*/ 2726263 w 8079933"/>
              <a:gd name="connsiteY17027" fmla="*/ 1785489 h 4687251"/>
              <a:gd name="connsiteX17028" fmla="*/ 2724853 w 8079933"/>
              <a:gd name="connsiteY17028" fmla="*/ 1788196 h 4687251"/>
              <a:gd name="connsiteX17029" fmla="*/ 2722790 w 8079933"/>
              <a:gd name="connsiteY17029" fmla="*/ 1790470 h 4687251"/>
              <a:gd name="connsiteX17030" fmla="*/ 2719318 w 8079933"/>
              <a:gd name="connsiteY17030" fmla="*/ 1791769 h 4687251"/>
              <a:gd name="connsiteX17031" fmla="*/ 2717799 w 8079933"/>
              <a:gd name="connsiteY17031" fmla="*/ 1790362 h 4687251"/>
              <a:gd name="connsiteX17032" fmla="*/ 2717799 w 8079933"/>
              <a:gd name="connsiteY17032" fmla="*/ 1788413 h 4687251"/>
              <a:gd name="connsiteX17033" fmla="*/ 2715954 w 8079933"/>
              <a:gd name="connsiteY17033" fmla="*/ 1788413 h 4687251"/>
              <a:gd name="connsiteX17034" fmla="*/ 2714435 w 8079933"/>
              <a:gd name="connsiteY17034" fmla="*/ 1789929 h 4687251"/>
              <a:gd name="connsiteX17035" fmla="*/ 2713132 w 8079933"/>
              <a:gd name="connsiteY17035" fmla="*/ 1791769 h 4687251"/>
              <a:gd name="connsiteX17036" fmla="*/ 2710094 w 8079933"/>
              <a:gd name="connsiteY17036" fmla="*/ 1791769 h 4687251"/>
              <a:gd name="connsiteX17037" fmla="*/ 2709118 w 8079933"/>
              <a:gd name="connsiteY17037" fmla="*/ 1790253 h 4687251"/>
              <a:gd name="connsiteX17038" fmla="*/ 2708033 w 8079933"/>
              <a:gd name="connsiteY17038" fmla="*/ 1788846 h 4687251"/>
              <a:gd name="connsiteX17039" fmla="*/ 2708683 w 8079933"/>
              <a:gd name="connsiteY17039" fmla="*/ 1787005 h 4687251"/>
              <a:gd name="connsiteX17040" fmla="*/ 2712156 w 8079933"/>
              <a:gd name="connsiteY17040" fmla="*/ 1784298 h 4687251"/>
              <a:gd name="connsiteX17041" fmla="*/ 2716280 w 8079933"/>
              <a:gd name="connsiteY17041" fmla="*/ 1783215 h 4687251"/>
              <a:gd name="connsiteX17042" fmla="*/ 2717907 w 8079933"/>
              <a:gd name="connsiteY17042" fmla="*/ 1781700 h 4687251"/>
              <a:gd name="connsiteX17043" fmla="*/ 2718992 w 8079933"/>
              <a:gd name="connsiteY17043" fmla="*/ 1780076 h 4687251"/>
              <a:gd name="connsiteX17044" fmla="*/ 2720620 w 8079933"/>
              <a:gd name="connsiteY17044" fmla="*/ 1779426 h 4687251"/>
              <a:gd name="connsiteX17045" fmla="*/ 2723550 w 8079933"/>
              <a:gd name="connsiteY17045" fmla="*/ 1779426 h 4687251"/>
              <a:gd name="connsiteX17046" fmla="*/ 2724310 w 8079933"/>
              <a:gd name="connsiteY17046" fmla="*/ 1777586 h 4687251"/>
              <a:gd name="connsiteX17047" fmla="*/ 2725612 w 8079933"/>
              <a:gd name="connsiteY17047" fmla="*/ 1776936 h 4687251"/>
              <a:gd name="connsiteX17048" fmla="*/ 2725612 w 8079933"/>
              <a:gd name="connsiteY17048" fmla="*/ 1775095 h 4687251"/>
              <a:gd name="connsiteX17049" fmla="*/ 2727891 w 8079933"/>
              <a:gd name="connsiteY17049" fmla="*/ 1772605 h 4687251"/>
              <a:gd name="connsiteX17050" fmla="*/ 2731906 w 8079933"/>
              <a:gd name="connsiteY17050" fmla="*/ 1772605 h 4687251"/>
              <a:gd name="connsiteX17051" fmla="*/ 2735921 w 8079933"/>
              <a:gd name="connsiteY17051" fmla="*/ 1770873 h 4687251"/>
              <a:gd name="connsiteX17052" fmla="*/ 2735921 w 8079933"/>
              <a:gd name="connsiteY17052" fmla="*/ 1769357 h 4687251"/>
              <a:gd name="connsiteX17053" fmla="*/ 2738634 w 8079933"/>
              <a:gd name="connsiteY17053" fmla="*/ 1767625 h 4687251"/>
              <a:gd name="connsiteX17054" fmla="*/ 2735487 w 8079933"/>
              <a:gd name="connsiteY17054" fmla="*/ 1767625 h 4687251"/>
              <a:gd name="connsiteX17055" fmla="*/ 2733208 w 8079933"/>
              <a:gd name="connsiteY17055" fmla="*/ 1769032 h 4687251"/>
              <a:gd name="connsiteX17056" fmla="*/ 2730604 w 8079933"/>
              <a:gd name="connsiteY17056" fmla="*/ 1769682 h 4687251"/>
              <a:gd name="connsiteX17057" fmla="*/ 2728759 w 8079933"/>
              <a:gd name="connsiteY17057" fmla="*/ 1767625 h 4687251"/>
              <a:gd name="connsiteX17058" fmla="*/ 2725178 w 8079933"/>
              <a:gd name="connsiteY17058" fmla="*/ 1766975 h 4687251"/>
              <a:gd name="connsiteX17059" fmla="*/ 2723225 w 8079933"/>
              <a:gd name="connsiteY17059" fmla="*/ 1765676 h 4687251"/>
              <a:gd name="connsiteX17060" fmla="*/ 2723225 w 8079933"/>
              <a:gd name="connsiteY17060" fmla="*/ 1768166 h 4687251"/>
              <a:gd name="connsiteX17061" fmla="*/ 2721705 w 8079933"/>
              <a:gd name="connsiteY17061" fmla="*/ 1771414 h 4687251"/>
              <a:gd name="connsiteX17062" fmla="*/ 2718992 w 8079933"/>
              <a:gd name="connsiteY17062" fmla="*/ 1772064 h 4687251"/>
              <a:gd name="connsiteX17063" fmla="*/ 2717256 w 8079933"/>
              <a:gd name="connsiteY17063" fmla="*/ 1773363 h 4687251"/>
              <a:gd name="connsiteX17064" fmla="*/ 2716171 w 8079933"/>
              <a:gd name="connsiteY17064" fmla="*/ 1771956 h 4687251"/>
              <a:gd name="connsiteX17065" fmla="*/ 2713458 w 8079933"/>
              <a:gd name="connsiteY17065" fmla="*/ 1771956 h 4687251"/>
              <a:gd name="connsiteX17066" fmla="*/ 2712590 w 8079933"/>
              <a:gd name="connsiteY17066" fmla="*/ 1770548 h 4687251"/>
              <a:gd name="connsiteX17067" fmla="*/ 2709877 w 8079933"/>
              <a:gd name="connsiteY17067" fmla="*/ 1770548 h 4687251"/>
              <a:gd name="connsiteX17068" fmla="*/ 2708575 w 8079933"/>
              <a:gd name="connsiteY17068" fmla="*/ 1771306 h 4687251"/>
              <a:gd name="connsiteX17069" fmla="*/ 2707273 w 8079933"/>
              <a:gd name="connsiteY17069" fmla="*/ 1770331 h 4687251"/>
              <a:gd name="connsiteX17070" fmla="*/ 2711722 w 8079933"/>
              <a:gd name="connsiteY17070" fmla="*/ 1768491 h 4687251"/>
              <a:gd name="connsiteX17071" fmla="*/ 2716388 w 8079933"/>
              <a:gd name="connsiteY17071" fmla="*/ 1765568 h 4687251"/>
              <a:gd name="connsiteX17072" fmla="*/ 2716388 w 8079933"/>
              <a:gd name="connsiteY17072" fmla="*/ 1764593 h 4687251"/>
              <a:gd name="connsiteX17073" fmla="*/ 2715194 w 8079933"/>
              <a:gd name="connsiteY17073" fmla="*/ 1764593 h 4687251"/>
              <a:gd name="connsiteX17074" fmla="*/ 2712264 w 8079933"/>
              <a:gd name="connsiteY17074" fmla="*/ 1765243 h 4687251"/>
              <a:gd name="connsiteX17075" fmla="*/ 2712264 w 8079933"/>
              <a:gd name="connsiteY17075" fmla="*/ 1763402 h 4687251"/>
              <a:gd name="connsiteX17076" fmla="*/ 2713784 w 8079933"/>
              <a:gd name="connsiteY17076" fmla="*/ 1760912 h 4687251"/>
              <a:gd name="connsiteX17077" fmla="*/ 2713784 w 8079933"/>
              <a:gd name="connsiteY17077" fmla="*/ 1758097 h 4687251"/>
              <a:gd name="connsiteX17078" fmla="*/ 2712807 w 8079933"/>
              <a:gd name="connsiteY17078" fmla="*/ 1758097 h 4687251"/>
              <a:gd name="connsiteX17079" fmla="*/ 2710203 w 8079933"/>
              <a:gd name="connsiteY17079" fmla="*/ 1760803 h 4687251"/>
              <a:gd name="connsiteX17080" fmla="*/ 2709118 w 8079933"/>
              <a:gd name="connsiteY17080" fmla="*/ 1763185 h 4687251"/>
              <a:gd name="connsiteX17081" fmla="*/ 2708250 w 8079933"/>
              <a:gd name="connsiteY17081" fmla="*/ 1762103 h 4687251"/>
              <a:gd name="connsiteX17082" fmla="*/ 2709443 w 8079933"/>
              <a:gd name="connsiteY17082" fmla="*/ 1757556 h 4687251"/>
              <a:gd name="connsiteX17083" fmla="*/ 2710528 w 8079933"/>
              <a:gd name="connsiteY17083" fmla="*/ 1756473 h 4687251"/>
              <a:gd name="connsiteX17084" fmla="*/ 2708901 w 8079933"/>
              <a:gd name="connsiteY17084" fmla="*/ 1756473 h 4687251"/>
              <a:gd name="connsiteX17085" fmla="*/ 2707381 w 8079933"/>
              <a:gd name="connsiteY17085" fmla="*/ 1759180 h 4687251"/>
              <a:gd name="connsiteX17086" fmla="*/ 2706079 w 8079933"/>
              <a:gd name="connsiteY17086" fmla="*/ 1757772 h 4687251"/>
              <a:gd name="connsiteX17087" fmla="*/ 2706079 w 8079933"/>
              <a:gd name="connsiteY17087" fmla="*/ 1761345 h 4687251"/>
              <a:gd name="connsiteX17088" fmla="*/ 2706079 w 8079933"/>
              <a:gd name="connsiteY17088" fmla="*/ 1763294 h 4687251"/>
              <a:gd name="connsiteX17089" fmla="*/ 2705211 w 8079933"/>
              <a:gd name="connsiteY17089" fmla="*/ 1765351 h 4687251"/>
              <a:gd name="connsiteX17090" fmla="*/ 2702932 w 8079933"/>
              <a:gd name="connsiteY17090" fmla="*/ 1764268 h 4687251"/>
              <a:gd name="connsiteX17091" fmla="*/ 2700653 w 8079933"/>
              <a:gd name="connsiteY17091" fmla="*/ 1764268 h 4687251"/>
              <a:gd name="connsiteX17092" fmla="*/ 2699134 w 8079933"/>
              <a:gd name="connsiteY17092" fmla="*/ 1766001 h 4687251"/>
              <a:gd name="connsiteX17093" fmla="*/ 2697181 w 8079933"/>
              <a:gd name="connsiteY17093" fmla="*/ 1766001 h 4687251"/>
              <a:gd name="connsiteX17094" fmla="*/ 2695879 w 8079933"/>
              <a:gd name="connsiteY17094" fmla="*/ 1764701 h 4687251"/>
              <a:gd name="connsiteX17095" fmla="*/ 2692189 w 8079933"/>
              <a:gd name="connsiteY17095" fmla="*/ 1764701 h 4687251"/>
              <a:gd name="connsiteX17096" fmla="*/ 2692189 w 8079933"/>
              <a:gd name="connsiteY17096" fmla="*/ 1766217 h 4687251"/>
              <a:gd name="connsiteX17097" fmla="*/ 2690236 w 8079933"/>
              <a:gd name="connsiteY17097" fmla="*/ 1767625 h 4687251"/>
              <a:gd name="connsiteX17098" fmla="*/ 2687523 w 8079933"/>
              <a:gd name="connsiteY17098" fmla="*/ 1767625 h 4687251"/>
              <a:gd name="connsiteX17099" fmla="*/ 2686655 w 8079933"/>
              <a:gd name="connsiteY17099" fmla="*/ 1766217 h 4687251"/>
              <a:gd name="connsiteX17100" fmla="*/ 2685135 w 8079933"/>
              <a:gd name="connsiteY17100" fmla="*/ 1766867 h 4687251"/>
              <a:gd name="connsiteX17101" fmla="*/ 2680903 w 8079933"/>
              <a:gd name="connsiteY17101" fmla="*/ 1766867 h 4687251"/>
              <a:gd name="connsiteX17102" fmla="*/ 2679167 w 8079933"/>
              <a:gd name="connsiteY17102" fmla="*/ 1764918 h 4687251"/>
              <a:gd name="connsiteX17103" fmla="*/ 2678407 w 8079933"/>
              <a:gd name="connsiteY17103" fmla="*/ 1763294 h 4687251"/>
              <a:gd name="connsiteX17104" fmla="*/ 2674609 w 8079933"/>
              <a:gd name="connsiteY17104" fmla="*/ 1764377 h 4687251"/>
              <a:gd name="connsiteX17105" fmla="*/ 2668424 w 8079933"/>
              <a:gd name="connsiteY17105" fmla="*/ 1764377 h 4687251"/>
              <a:gd name="connsiteX17106" fmla="*/ 2666796 w 8079933"/>
              <a:gd name="connsiteY17106" fmla="*/ 1761995 h 4687251"/>
              <a:gd name="connsiteX17107" fmla="*/ 2663215 w 8079933"/>
              <a:gd name="connsiteY17107" fmla="*/ 1763402 h 4687251"/>
              <a:gd name="connsiteX17108" fmla="*/ 2658332 w 8079933"/>
              <a:gd name="connsiteY17108" fmla="*/ 1762428 h 4687251"/>
              <a:gd name="connsiteX17109" fmla="*/ 2660610 w 8079933"/>
              <a:gd name="connsiteY17109" fmla="*/ 1759180 h 4687251"/>
              <a:gd name="connsiteX17110" fmla="*/ 2660610 w 8079933"/>
              <a:gd name="connsiteY17110" fmla="*/ 1757664 h 4687251"/>
              <a:gd name="connsiteX17111" fmla="*/ 2659742 w 8079933"/>
              <a:gd name="connsiteY17111" fmla="*/ 1759613 h 4687251"/>
              <a:gd name="connsiteX17112" fmla="*/ 2656596 w 8079933"/>
              <a:gd name="connsiteY17112" fmla="*/ 1762319 h 4687251"/>
              <a:gd name="connsiteX17113" fmla="*/ 2652580 w 8079933"/>
              <a:gd name="connsiteY17113" fmla="*/ 1762319 h 4687251"/>
              <a:gd name="connsiteX17114" fmla="*/ 2649325 w 8079933"/>
              <a:gd name="connsiteY17114" fmla="*/ 1764918 h 4687251"/>
              <a:gd name="connsiteX17115" fmla="*/ 2644007 w 8079933"/>
              <a:gd name="connsiteY17115" fmla="*/ 1765676 h 4687251"/>
              <a:gd name="connsiteX17116" fmla="*/ 2639341 w 8079933"/>
              <a:gd name="connsiteY17116" fmla="*/ 1764160 h 4687251"/>
              <a:gd name="connsiteX17117" fmla="*/ 2636737 w 8079933"/>
              <a:gd name="connsiteY17117" fmla="*/ 1764160 h 4687251"/>
              <a:gd name="connsiteX17118" fmla="*/ 2635978 w 8079933"/>
              <a:gd name="connsiteY17118" fmla="*/ 1762319 h 4687251"/>
              <a:gd name="connsiteX17119" fmla="*/ 2636954 w 8079933"/>
              <a:gd name="connsiteY17119" fmla="*/ 1758855 h 4687251"/>
              <a:gd name="connsiteX17120" fmla="*/ 2635869 w 8079933"/>
              <a:gd name="connsiteY17120" fmla="*/ 1756364 h 4687251"/>
              <a:gd name="connsiteX17121" fmla="*/ 2636846 w 8079933"/>
              <a:gd name="connsiteY17121" fmla="*/ 1753983 h 4687251"/>
              <a:gd name="connsiteX17122" fmla="*/ 2639559 w 8079933"/>
              <a:gd name="connsiteY17122" fmla="*/ 1753983 h 4687251"/>
              <a:gd name="connsiteX17123" fmla="*/ 2644116 w 8079933"/>
              <a:gd name="connsiteY17123" fmla="*/ 1749977 h 4687251"/>
              <a:gd name="connsiteX17124" fmla="*/ 2649542 w 8079933"/>
              <a:gd name="connsiteY17124" fmla="*/ 1747162 h 4687251"/>
              <a:gd name="connsiteX17125" fmla="*/ 2652255 w 8079933"/>
              <a:gd name="connsiteY17125" fmla="*/ 1742723 h 4687251"/>
              <a:gd name="connsiteX17126" fmla="*/ 2656704 w 8079933"/>
              <a:gd name="connsiteY17126" fmla="*/ 1737201 h 4687251"/>
              <a:gd name="connsiteX17127" fmla="*/ 2659851 w 8079933"/>
              <a:gd name="connsiteY17127" fmla="*/ 1734061 h 4687251"/>
              <a:gd name="connsiteX17128" fmla="*/ 2654643 w 8079933"/>
              <a:gd name="connsiteY17128" fmla="*/ 1734061 h 4687251"/>
              <a:gd name="connsiteX17129" fmla="*/ 2648023 w 8079933"/>
              <a:gd name="connsiteY17129" fmla="*/ 1734819 h 4687251"/>
              <a:gd name="connsiteX17130" fmla="*/ 2644658 w 8079933"/>
              <a:gd name="connsiteY17130" fmla="*/ 1735901 h 4687251"/>
              <a:gd name="connsiteX17131" fmla="*/ 2642922 w 8079933"/>
              <a:gd name="connsiteY17131" fmla="*/ 1735901 h 4687251"/>
              <a:gd name="connsiteX17132" fmla="*/ 2645201 w 8079933"/>
              <a:gd name="connsiteY17132" fmla="*/ 1730163 h 4687251"/>
              <a:gd name="connsiteX17133" fmla="*/ 2650736 w 8079933"/>
              <a:gd name="connsiteY17133" fmla="*/ 1726915 h 4687251"/>
              <a:gd name="connsiteX17134" fmla="*/ 2654099 w 8079933"/>
              <a:gd name="connsiteY17134" fmla="*/ 1724533 h 4687251"/>
              <a:gd name="connsiteX17135" fmla="*/ 2655184 w 8079933"/>
              <a:gd name="connsiteY17135" fmla="*/ 1723234 h 4687251"/>
              <a:gd name="connsiteX17136" fmla="*/ 2654208 w 8079933"/>
              <a:gd name="connsiteY17136" fmla="*/ 1725508 h 4687251"/>
              <a:gd name="connsiteX17137" fmla="*/ 2651495 w 8079933"/>
              <a:gd name="connsiteY17137" fmla="*/ 1727456 h 4687251"/>
              <a:gd name="connsiteX17138" fmla="*/ 2650844 w 8079933"/>
              <a:gd name="connsiteY17138" fmla="*/ 1729405 h 4687251"/>
              <a:gd name="connsiteX17139" fmla="*/ 2652689 w 8079933"/>
              <a:gd name="connsiteY17139" fmla="*/ 1732437 h 4687251"/>
              <a:gd name="connsiteX17140" fmla="*/ 2654208 w 8079933"/>
              <a:gd name="connsiteY17140" fmla="*/ 1729189 h 4687251"/>
              <a:gd name="connsiteX17141" fmla="*/ 2654208 w 8079933"/>
              <a:gd name="connsiteY17141" fmla="*/ 1732653 h 4687251"/>
              <a:gd name="connsiteX17142" fmla="*/ 2655619 w 8079933"/>
              <a:gd name="connsiteY17142" fmla="*/ 1732653 h 4687251"/>
              <a:gd name="connsiteX17143" fmla="*/ 2657897 w 8079933"/>
              <a:gd name="connsiteY17143" fmla="*/ 1729514 h 4687251"/>
              <a:gd name="connsiteX17144" fmla="*/ 2660285 w 8079933"/>
              <a:gd name="connsiteY17144" fmla="*/ 1724642 h 4687251"/>
              <a:gd name="connsiteX17145" fmla="*/ 2663107 w 8079933"/>
              <a:gd name="connsiteY17145" fmla="*/ 1721826 h 4687251"/>
              <a:gd name="connsiteX17146" fmla="*/ 2663107 w 8079933"/>
              <a:gd name="connsiteY17146" fmla="*/ 1719661 h 4687251"/>
              <a:gd name="connsiteX17147" fmla="*/ 2664191 w 8079933"/>
              <a:gd name="connsiteY17147" fmla="*/ 1718253 h 4687251"/>
              <a:gd name="connsiteX17148" fmla="*/ 2669292 w 8079933"/>
              <a:gd name="connsiteY17148" fmla="*/ 1719769 h 4687251"/>
              <a:gd name="connsiteX17149" fmla="*/ 2672004 w 8079933"/>
              <a:gd name="connsiteY17149" fmla="*/ 1717712 h 4687251"/>
              <a:gd name="connsiteX17150" fmla="*/ 2672004 w 8079933"/>
              <a:gd name="connsiteY17150" fmla="*/ 1715330 h 4687251"/>
              <a:gd name="connsiteX17151" fmla="*/ 2673524 w 8079933"/>
              <a:gd name="connsiteY17151" fmla="*/ 1714031 h 4687251"/>
              <a:gd name="connsiteX17152" fmla="*/ 2671788 w 8079933"/>
              <a:gd name="connsiteY17152" fmla="*/ 1712406 h 4687251"/>
              <a:gd name="connsiteX17153" fmla="*/ 2669292 w 8079933"/>
              <a:gd name="connsiteY17153" fmla="*/ 1712406 h 4687251"/>
              <a:gd name="connsiteX17154" fmla="*/ 2669292 w 8079933"/>
              <a:gd name="connsiteY17154" fmla="*/ 1710567 h 4687251"/>
              <a:gd name="connsiteX17155" fmla="*/ 2670920 w 8079933"/>
              <a:gd name="connsiteY17155" fmla="*/ 1707426 h 4687251"/>
              <a:gd name="connsiteX17156" fmla="*/ 2675261 w 8079933"/>
              <a:gd name="connsiteY17156" fmla="*/ 1705369 h 4687251"/>
              <a:gd name="connsiteX17157" fmla="*/ 2676671 w 8079933"/>
              <a:gd name="connsiteY17157" fmla="*/ 1705369 h 4687251"/>
              <a:gd name="connsiteX17158" fmla="*/ 2677648 w 8079933"/>
              <a:gd name="connsiteY17158" fmla="*/ 1706669 h 4687251"/>
              <a:gd name="connsiteX17159" fmla="*/ 2679167 w 8079933"/>
              <a:gd name="connsiteY17159" fmla="*/ 1706669 h 4687251"/>
              <a:gd name="connsiteX17160" fmla="*/ 2679167 w 8079933"/>
              <a:gd name="connsiteY17160" fmla="*/ 1704286 h 4687251"/>
              <a:gd name="connsiteX17161" fmla="*/ 2677322 w 8079933"/>
              <a:gd name="connsiteY17161" fmla="*/ 1702338 h 4687251"/>
              <a:gd name="connsiteX17162" fmla="*/ 2677322 w 8079933"/>
              <a:gd name="connsiteY17162" fmla="*/ 1699955 h 4687251"/>
              <a:gd name="connsiteX17163" fmla="*/ 2682314 w 8079933"/>
              <a:gd name="connsiteY17163" fmla="*/ 1692485 h 4687251"/>
              <a:gd name="connsiteX17164" fmla="*/ 2682965 w 8079933"/>
              <a:gd name="connsiteY17164" fmla="*/ 1689995 h 4687251"/>
              <a:gd name="connsiteX17165" fmla="*/ 2685678 w 8079933"/>
              <a:gd name="connsiteY17165" fmla="*/ 1685988 h 4687251"/>
              <a:gd name="connsiteX17166" fmla="*/ 2688391 w 8079933"/>
              <a:gd name="connsiteY17166" fmla="*/ 1685988 h 4687251"/>
              <a:gd name="connsiteX17167" fmla="*/ 2690778 w 8079933"/>
              <a:gd name="connsiteY17167" fmla="*/ 1684581 h 4687251"/>
              <a:gd name="connsiteX17168" fmla="*/ 2689368 w 8079933"/>
              <a:gd name="connsiteY17168" fmla="*/ 1683824 h 4687251"/>
              <a:gd name="connsiteX17169" fmla="*/ 2688174 w 8079933"/>
              <a:gd name="connsiteY17169" fmla="*/ 1683824 h 4687251"/>
              <a:gd name="connsiteX17170" fmla="*/ 2688174 w 8079933"/>
              <a:gd name="connsiteY17170" fmla="*/ 1681983 h 4687251"/>
              <a:gd name="connsiteX17171" fmla="*/ 2690453 w 8079933"/>
              <a:gd name="connsiteY17171" fmla="*/ 1678627 h 4687251"/>
              <a:gd name="connsiteX17172" fmla="*/ 2693491 w 8079933"/>
              <a:gd name="connsiteY17172" fmla="*/ 1678627 h 4687251"/>
              <a:gd name="connsiteX17173" fmla="*/ 2695227 w 8079933"/>
              <a:gd name="connsiteY17173" fmla="*/ 1677111 h 4687251"/>
              <a:gd name="connsiteX17174" fmla="*/ 2693274 w 8079933"/>
              <a:gd name="connsiteY17174" fmla="*/ 1676028 h 4687251"/>
              <a:gd name="connsiteX17175" fmla="*/ 2693274 w 8079933"/>
              <a:gd name="connsiteY17175" fmla="*/ 1673755 h 4687251"/>
              <a:gd name="connsiteX17176" fmla="*/ 2695227 w 8079933"/>
              <a:gd name="connsiteY17176" fmla="*/ 1673755 h 4687251"/>
              <a:gd name="connsiteX17177" fmla="*/ 2696421 w 8079933"/>
              <a:gd name="connsiteY17177" fmla="*/ 1672130 h 4687251"/>
              <a:gd name="connsiteX17178" fmla="*/ 2695770 w 8079933"/>
              <a:gd name="connsiteY17178" fmla="*/ 1670939 h 4687251"/>
              <a:gd name="connsiteX17179" fmla="*/ 2698266 w 8079933"/>
              <a:gd name="connsiteY17179" fmla="*/ 1669532 h 4687251"/>
              <a:gd name="connsiteX17180" fmla="*/ 2702498 w 8079933"/>
              <a:gd name="connsiteY17180" fmla="*/ 1666392 h 4687251"/>
              <a:gd name="connsiteX17181" fmla="*/ 2704668 w 8079933"/>
              <a:gd name="connsiteY17181" fmla="*/ 1663794 h 4687251"/>
              <a:gd name="connsiteX17182" fmla="*/ 2704668 w 8079933"/>
              <a:gd name="connsiteY17182" fmla="*/ 1661412 h 4687251"/>
              <a:gd name="connsiteX17183" fmla="*/ 2703475 w 8079933"/>
              <a:gd name="connsiteY17183" fmla="*/ 1659896 h 4687251"/>
              <a:gd name="connsiteX17184" fmla="*/ 2703475 w 8079933"/>
              <a:gd name="connsiteY17184" fmla="*/ 1659138 h 4687251"/>
              <a:gd name="connsiteX17185" fmla="*/ 2705537 w 8079933"/>
              <a:gd name="connsiteY17185" fmla="*/ 1659788 h 4687251"/>
              <a:gd name="connsiteX17186" fmla="*/ 2707924 w 8079933"/>
              <a:gd name="connsiteY17186" fmla="*/ 1659788 h 4687251"/>
              <a:gd name="connsiteX17187" fmla="*/ 2707924 w 8079933"/>
              <a:gd name="connsiteY17187" fmla="*/ 1656106 h 4687251"/>
              <a:gd name="connsiteX17188" fmla="*/ 2712156 w 8079933"/>
              <a:gd name="connsiteY17188" fmla="*/ 1652966 h 4687251"/>
              <a:gd name="connsiteX17189" fmla="*/ 2716280 w 8079933"/>
              <a:gd name="connsiteY17189" fmla="*/ 1650260 h 4687251"/>
              <a:gd name="connsiteX17190" fmla="*/ 2720186 w 8079933"/>
              <a:gd name="connsiteY17190" fmla="*/ 1650260 h 4687251"/>
              <a:gd name="connsiteX17191" fmla="*/ 2723008 w 8079933"/>
              <a:gd name="connsiteY17191" fmla="*/ 1648094 h 4687251"/>
              <a:gd name="connsiteX17192" fmla="*/ 2724635 w 8079933"/>
              <a:gd name="connsiteY17192" fmla="*/ 1646037 h 4687251"/>
              <a:gd name="connsiteX17193" fmla="*/ 2727565 w 8079933"/>
              <a:gd name="connsiteY17193" fmla="*/ 1646037 h 4687251"/>
              <a:gd name="connsiteX17194" fmla="*/ 2729844 w 8079933"/>
              <a:gd name="connsiteY17194" fmla="*/ 1643655 h 4687251"/>
              <a:gd name="connsiteX17195" fmla="*/ 5066967 w 8079933"/>
              <a:gd name="connsiteY17195" fmla="*/ 1642140 h 4687251"/>
              <a:gd name="connsiteX17196" fmla="*/ 5056658 w 8079933"/>
              <a:gd name="connsiteY17196" fmla="*/ 1646471 h 4687251"/>
              <a:gd name="connsiteX17197" fmla="*/ 5051992 w 8079933"/>
              <a:gd name="connsiteY17197" fmla="*/ 1646471 h 4687251"/>
              <a:gd name="connsiteX17198" fmla="*/ 5051341 w 8079933"/>
              <a:gd name="connsiteY17198" fmla="*/ 1649395 h 4687251"/>
              <a:gd name="connsiteX17199" fmla="*/ 5048193 w 8079933"/>
              <a:gd name="connsiteY17199" fmla="*/ 1652642 h 4687251"/>
              <a:gd name="connsiteX17200" fmla="*/ 5048193 w 8079933"/>
              <a:gd name="connsiteY17200" fmla="*/ 1648528 h 4687251"/>
              <a:gd name="connsiteX17201" fmla="*/ 5045706 w 8079933"/>
              <a:gd name="connsiteY17201" fmla="*/ 1650101 h 4687251"/>
              <a:gd name="connsiteX17202" fmla="*/ 5045589 w 8079933"/>
              <a:gd name="connsiteY17202" fmla="*/ 1650585 h 4687251"/>
              <a:gd name="connsiteX17203" fmla="*/ 5044505 w 8079933"/>
              <a:gd name="connsiteY17203" fmla="*/ 1651882 h 4687251"/>
              <a:gd name="connsiteX17204" fmla="*/ 5043744 w 8079933"/>
              <a:gd name="connsiteY17204" fmla="*/ 1654158 h 4687251"/>
              <a:gd name="connsiteX17205" fmla="*/ 5042649 w 8079933"/>
              <a:gd name="connsiteY17205" fmla="*/ 1654798 h 4687251"/>
              <a:gd name="connsiteX17206" fmla="*/ 5044721 w 8079933"/>
              <a:gd name="connsiteY17206" fmla="*/ 1656864 h 4687251"/>
              <a:gd name="connsiteX17207" fmla="*/ 5049278 w 8079933"/>
              <a:gd name="connsiteY17207" fmla="*/ 1654266 h 4687251"/>
              <a:gd name="connsiteX17208" fmla="*/ 5050472 w 8079933"/>
              <a:gd name="connsiteY17208" fmla="*/ 1650693 h 4687251"/>
              <a:gd name="connsiteX17209" fmla="*/ 5053727 w 8079933"/>
              <a:gd name="connsiteY17209" fmla="*/ 1648636 h 4687251"/>
              <a:gd name="connsiteX17210" fmla="*/ 5053944 w 8079933"/>
              <a:gd name="connsiteY17210" fmla="*/ 1652750 h 4687251"/>
              <a:gd name="connsiteX17211" fmla="*/ 5056983 w 8079933"/>
              <a:gd name="connsiteY17211" fmla="*/ 1649502 h 4687251"/>
              <a:gd name="connsiteX17212" fmla="*/ 5057742 w 8079933"/>
              <a:gd name="connsiteY17212" fmla="*/ 1646579 h 4687251"/>
              <a:gd name="connsiteX17213" fmla="*/ 5062300 w 8079933"/>
              <a:gd name="connsiteY17213" fmla="*/ 1646037 h 4687251"/>
              <a:gd name="connsiteX17214" fmla="*/ 5067292 w 8079933"/>
              <a:gd name="connsiteY17214" fmla="*/ 1642681 h 4687251"/>
              <a:gd name="connsiteX17215" fmla="*/ 5071444 w 8079933"/>
              <a:gd name="connsiteY17215" fmla="*/ 1642474 h 4687251"/>
              <a:gd name="connsiteX17216" fmla="*/ 5071308 w 8079933"/>
              <a:gd name="connsiteY17216" fmla="*/ 1642140 h 4687251"/>
              <a:gd name="connsiteX17217" fmla="*/ 5028119 w 8079933"/>
              <a:gd name="connsiteY17217" fmla="*/ 1640732 h 4687251"/>
              <a:gd name="connsiteX17218" fmla="*/ 5026924 w 8079933"/>
              <a:gd name="connsiteY17218" fmla="*/ 1643873 h 4687251"/>
              <a:gd name="connsiteX17219" fmla="*/ 5028119 w 8079933"/>
              <a:gd name="connsiteY17219" fmla="*/ 1648203 h 4687251"/>
              <a:gd name="connsiteX17220" fmla="*/ 5027632 w 8079933"/>
              <a:gd name="connsiteY17220" fmla="*/ 1651437 h 4687251"/>
              <a:gd name="connsiteX17221" fmla="*/ 5027901 w 8079933"/>
              <a:gd name="connsiteY17221" fmla="*/ 1651234 h 4687251"/>
              <a:gd name="connsiteX17222" fmla="*/ 5032892 w 8079933"/>
              <a:gd name="connsiteY17222" fmla="*/ 1652642 h 4687251"/>
              <a:gd name="connsiteX17223" fmla="*/ 5033544 w 8079933"/>
              <a:gd name="connsiteY17223" fmla="*/ 1648311 h 4687251"/>
              <a:gd name="connsiteX17224" fmla="*/ 5032349 w 8079933"/>
              <a:gd name="connsiteY17224" fmla="*/ 1643980 h 4687251"/>
              <a:gd name="connsiteX17225" fmla="*/ 5032599 w 8079933"/>
              <a:gd name="connsiteY17225" fmla="*/ 1643346 h 4687251"/>
              <a:gd name="connsiteX17226" fmla="*/ 4077077 w 8079933"/>
              <a:gd name="connsiteY17226" fmla="*/ 1640191 h 4687251"/>
              <a:gd name="connsiteX17227" fmla="*/ 4075016 w 8079933"/>
              <a:gd name="connsiteY17227" fmla="*/ 1644847 h 4687251"/>
              <a:gd name="connsiteX17228" fmla="*/ 4075775 w 8079933"/>
              <a:gd name="connsiteY17228" fmla="*/ 1647987 h 4687251"/>
              <a:gd name="connsiteX17229" fmla="*/ 4081635 w 8079933"/>
              <a:gd name="connsiteY17229" fmla="*/ 1647770 h 4687251"/>
              <a:gd name="connsiteX17230" fmla="*/ 4084022 w 8079933"/>
              <a:gd name="connsiteY17230" fmla="*/ 1650044 h 4687251"/>
              <a:gd name="connsiteX17231" fmla="*/ 4082612 w 8079933"/>
              <a:gd name="connsiteY17231" fmla="*/ 1652967 h 4687251"/>
              <a:gd name="connsiteX17232" fmla="*/ 4081960 w 8079933"/>
              <a:gd name="connsiteY17232" fmla="*/ 1658056 h 4687251"/>
              <a:gd name="connsiteX17233" fmla="*/ 4081962 w 8079933"/>
              <a:gd name="connsiteY17233" fmla="*/ 1658055 h 4687251"/>
              <a:gd name="connsiteX17234" fmla="*/ 4082613 w 8079933"/>
              <a:gd name="connsiteY17234" fmla="*/ 1652966 h 4687251"/>
              <a:gd name="connsiteX17235" fmla="*/ 4084024 w 8079933"/>
              <a:gd name="connsiteY17235" fmla="*/ 1650042 h 4687251"/>
              <a:gd name="connsiteX17236" fmla="*/ 4081637 w 8079933"/>
              <a:gd name="connsiteY17236" fmla="*/ 1647769 h 4687251"/>
              <a:gd name="connsiteX17237" fmla="*/ 4075776 w 8079933"/>
              <a:gd name="connsiteY17237" fmla="*/ 1647986 h 4687251"/>
              <a:gd name="connsiteX17238" fmla="*/ 4075017 w 8079933"/>
              <a:gd name="connsiteY17238" fmla="*/ 1644846 h 4687251"/>
              <a:gd name="connsiteX17239" fmla="*/ 4077078 w 8079933"/>
              <a:gd name="connsiteY17239" fmla="*/ 1640192 h 4687251"/>
              <a:gd name="connsiteX17240" fmla="*/ 4441990 w 8079933"/>
              <a:gd name="connsiteY17240" fmla="*/ 1639262 h 4687251"/>
              <a:gd name="connsiteX17241" fmla="*/ 4440826 w 8079933"/>
              <a:gd name="connsiteY17241" fmla="*/ 1639649 h 4687251"/>
              <a:gd name="connsiteX17242" fmla="*/ 4437244 w 8079933"/>
              <a:gd name="connsiteY17242" fmla="*/ 1645604 h 4687251"/>
              <a:gd name="connsiteX17243" fmla="*/ 4439089 w 8079933"/>
              <a:gd name="connsiteY17243" fmla="*/ 1652642 h 4687251"/>
              <a:gd name="connsiteX17244" fmla="*/ 4443972 w 8079933"/>
              <a:gd name="connsiteY17244" fmla="*/ 1660329 h 4687251"/>
              <a:gd name="connsiteX17245" fmla="*/ 4443756 w 8079933"/>
              <a:gd name="connsiteY17245" fmla="*/ 1662711 h 4687251"/>
              <a:gd name="connsiteX17246" fmla="*/ 4443430 w 8079933"/>
              <a:gd name="connsiteY17246" fmla="*/ 1666717 h 4687251"/>
              <a:gd name="connsiteX17247" fmla="*/ 4443756 w 8079933"/>
              <a:gd name="connsiteY17247" fmla="*/ 1677652 h 4687251"/>
              <a:gd name="connsiteX17248" fmla="*/ 4446685 w 8079933"/>
              <a:gd name="connsiteY17248" fmla="*/ 1680792 h 4687251"/>
              <a:gd name="connsiteX17249" fmla="*/ 4449507 w 8079933"/>
              <a:gd name="connsiteY17249" fmla="*/ 1687721 h 4687251"/>
              <a:gd name="connsiteX17250" fmla="*/ 4449508 w 8079933"/>
              <a:gd name="connsiteY17250" fmla="*/ 1687722 h 4687251"/>
              <a:gd name="connsiteX17251" fmla="*/ 4446687 w 8079933"/>
              <a:gd name="connsiteY17251" fmla="*/ 1680793 h 4687251"/>
              <a:gd name="connsiteX17252" fmla="*/ 4443757 w 8079933"/>
              <a:gd name="connsiteY17252" fmla="*/ 1677652 h 4687251"/>
              <a:gd name="connsiteX17253" fmla="*/ 4443432 w 8079933"/>
              <a:gd name="connsiteY17253" fmla="*/ 1666717 h 4687251"/>
              <a:gd name="connsiteX17254" fmla="*/ 4443757 w 8079933"/>
              <a:gd name="connsiteY17254" fmla="*/ 1662711 h 4687251"/>
              <a:gd name="connsiteX17255" fmla="*/ 4447555 w 8079933"/>
              <a:gd name="connsiteY17255" fmla="*/ 1662278 h 4687251"/>
              <a:gd name="connsiteX17256" fmla="*/ 4455368 w 8079933"/>
              <a:gd name="connsiteY17256" fmla="*/ 1666176 h 4687251"/>
              <a:gd name="connsiteX17257" fmla="*/ 4459492 w 8079933"/>
              <a:gd name="connsiteY17257" fmla="*/ 1663903 h 4687251"/>
              <a:gd name="connsiteX17258" fmla="*/ 4476203 w 8079933"/>
              <a:gd name="connsiteY17258" fmla="*/ 1661521 h 4687251"/>
              <a:gd name="connsiteX17259" fmla="*/ 4483800 w 8079933"/>
              <a:gd name="connsiteY17259" fmla="*/ 1661195 h 4687251"/>
              <a:gd name="connsiteX17260" fmla="*/ 4487387 w 8079933"/>
              <a:gd name="connsiteY17260" fmla="*/ 1658239 h 4687251"/>
              <a:gd name="connsiteX17261" fmla="*/ 4483799 w 8079933"/>
              <a:gd name="connsiteY17261" fmla="*/ 1661195 h 4687251"/>
              <a:gd name="connsiteX17262" fmla="*/ 4476203 w 8079933"/>
              <a:gd name="connsiteY17262" fmla="*/ 1661520 h 4687251"/>
              <a:gd name="connsiteX17263" fmla="*/ 4459492 w 8079933"/>
              <a:gd name="connsiteY17263" fmla="*/ 1663901 h 4687251"/>
              <a:gd name="connsiteX17264" fmla="*/ 4455368 w 8079933"/>
              <a:gd name="connsiteY17264" fmla="*/ 1666175 h 4687251"/>
              <a:gd name="connsiteX17265" fmla="*/ 4447555 w 8079933"/>
              <a:gd name="connsiteY17265" fmla="*/ 1662277 h 4687251"/>
              <a:gd name="connsiteX17266" fmla="*/ 4443757 w 8079933"/>
              <a:gd name="connsiteY17266" fmla="*/ 1662711 h 4687251"/>
              <a:gd name="connsiteX17267" fmla="*/ 4443974 w 8079933"/>
              <a:gd name="connsiteY17267" fmla="*/ 1660329 h 4687251"/>
              <a:gd name="connsiteX17268" fmla="*/ 4439091 w 8079933"/>
              <a:gd name="connsiteY17268" fmla="*/ 1652642 h 4687251"/>
              <a:gd name="connsiteX17269" fmla="*/ 4437246 w 8079933"/>
              <a:gd name="connsiteY17269" fmla="*/ 1645604 h 4687251"/>
              <a:gd name="connsiteX17270" fmla="*/ 4440827 w 8079933"/>
              <a:gd name="connsiteY17270" fmla="*/ 1639649 h 4687251"/>
              <a:gd name="connsiteX17271" fmla="*/ 4626932 w 8079933"/>
              <a:gd name="connsiteY17271" fmla="*/ 1639109 h 4687251"/>
              <a:gd name="connsiteX17272" fmla="*/ 4623351 w 8079933"/>
              <a:gd name="connsiteY17272" fmla="*/ 1642357 h 4687251"/>
              <a:gd name="connsiteX17273" fmla="*/ 4623351 w 8079933"/>
              <a:gd name="connsiteY17273" fmla="*/ 1647338 h 4687251"/>
              <a:gd name="connsiteX17274" fmla="*/ 4617817 w 8079933"/>
              <a:gd name="connsiteY17274" fmla="*/ 1648528 h 4687251"/>
              <a:gd name="connsiteX17275" fmla="*/ 4616733 w 8079933"/>
              <a:gd name="connsiteY17275" fmla="*/ 1648281 h 4687251"/>
              <a:gd name="connsiteX17276" fmla="*/ 4616733 w 8079933"/>
              <a:gd name="connsiteY17276" fmla="*/ 1648636 h 4687251"/>
              <a:gd name="connsiteX17277" fmla="*/ 4616082 w 8079933"/>
              <a:gd name="connsiteY17277" fmla="*/ 1648419 h 4687251"/>
              <a:gd name="connsiteX17278" fmla="*/ 4605881 w 8079933"/>
              <a:gd name="connsiteY17278" fmla="*/ 1651017 h 4687251"/>
              <a:gd name="connsiteX17279" fmla="*/ 4598827 w 8079933"/>
              <a:gd name="connsiteY17279" fmla="*/ 1651775 h 4687251"/>
              <a:gd name="connsiteX17280" fmla="*/ 4598827 w 8079933"/>
              <a:gd name="connsiteY17280" fmla="*/ 1651776 h 4687251"/>
              <a:gd name="connsiteX17281" fmla="*/ 4605880 w 8079933"/>
              <a:gd name="connsiteY17281" fmla="*/ 1651019 h 4687251"/>
              <a:gd name="connsiteX17282" fmla="*/ 4616081 w 8079933"/>
              <a:gd name="connsiteY17282" fmla="*/ 1648420 h 4687251"/>
              <a:gd name="connsiteX17283" fmla="*/ 4616732 w 8079933"/>
              <a:gd name="connsiteY17283" fmla="*/ 1648636 h 4687251"/>
              <a:gd name="connsiteX17284" fmla="*/ 4620530 w 8079933"/>
              <a:gd name="connsiteY17284" fmla="*/ 1649503 h 4687251"/>
              <a:gd name="connsiteX17285" fmla="*/ 4626065 w 8079933"/>
              <a:gd name="connsiteY17285" fmla="*/ 1648311 h 4687251"/>
              <a:gd name="connsiteX17286" fmla="*/ 4625522 w 8079933"/>
              <a:gd name="connsiteY17286" fmla="*/ 1643331 h 4687251"/>
              <a:gd name="connsiteX17287" fmla="*/ 4629211 w 8079933"/>
              <a:gd name="connsiteY17287" fmla="*/ 1640083 h 4687251"/>
              <a:gd name="connsiteX17288" fmla="*/ 4641040 w 8079933"/>
              <a:gd name="connsiteY17288" fmla="*/ 1643981 h 4687251"/>
              <a:gd name="connsiteX17289" fmla="*/ 4653302 w 8079933"/>
              <a:gd name="connsiteY17289" fmla="*/ 1643981 h 4687251"/>
              <a:gd name="connsiteX17290" fmla="*/ 4659379 w 8079933"/>
              <a:gd name="connsiteY17290" fmla="*/ 1640732 h 4687251"/>
              <a:gd name="connsiteX17291" fmla="*/ 4662918 w 8079933"/>
              <a:gd name="connsiteY17291" fmla="*/ 1640945 h 4687251"/>
              <a:gd name="connsiteX17292" fmla="*/ 4662525 w 8079933"/>
              <a:gd name="connsiteY17292" fmla="*/ 1639758 h 4687251"/>
              <a:gd name="connsiteX17293" fmla="*/ 4656991 w 8079933"/>
              <a:gd name="connsiteY17293" fmla="*/ 1639758 h 4687251"/>
              <a:gd name="connsiteX17294" fmla="*/ 4651023 w 8079933"/>
              <a:gd name="connsiteY17294" fmla="*/ 1643006 h 4687251"/>
              <a:gd name="connsiteX17295" fmla="*/ 4638760 w 8079933"/>
              <a:gd name="connsiteY17295" fmla="*/ 1643006 h 4687251"/>
              <a:gd name="connsiteX17296" fmla="*/ 6074304 w 8079933"/>
              <a:gd name="connsiteY17296" fmla="*/ 1637593 h 4687251"/>
              <a:gd name="connsiteX17297" fmla="*/ 6074762 w 8079933"/>
              <a:gd name="connsiteY17297" fmla="*/ 1637809 h 4687251"/>
              <a:gd name="connsiteX17298" fmla="*/ 6076581 w 8079933"/>
              <a:gd name="connsiteY17298" fmla="*/ 1637593 h 4687251"/>
              <a:gd name="connsiteX17299" fmla="*/ 6079754 w 8079933"/>
              <a:gd name="connsiteY17299" fmla="*/ 1636402 h 4687251"/>
              <a:gd name="connsiteX17300" fmla="*/ 6078921 w 8079933"/>
              <a:gd name="connsiteY17300" fmla="*/ 1637315 h 4687251"/>
              <a:gd name="connsiteX17301" fmla="*/ 6079320 w 8079933"/>
              <a:gd name="connsiteY17301" fmla="*/ 1637268 h 4687251"/>
              <a:gd name="connsiteX17302" fmla="*/ 6079992 w 8079933"/>
              <a:gd name="connsiteY17302" fmla="*/ 1636448 h 4687251"/>
              <a:gd name="connsiteX17303" fmla="*/ 6060462 w 8079933"/>
              <a:gd name="connsiteY17303" fmla="*/ 1635752 h 4687251"/>
              <a:gd name="connsiteX17304" fmla="*/ 6070666 w 8079933"/>
              <a:gd name="connsiteY17304" fmla="*/ 1635964 h 4687251"/>
              <a:gd name="connsiteX17305" fmla="*/ 6070204 w 8079933"/>
              <a:gd name="connsiteY17305" fmla="*/ 1635752 h 4687251"/>
              <a:gd name="connsiteX17306" fmla="*/ 6059352 w 8079933"/>
              <a:gd name="connsiteY17306" fmla="*/ 1635752 h 4687251"/>
              <a:gd name="connsiteX17307" fmla="*/ 6056380 w 8079933"/>
              <a:gd name="connsiteY17307" fmla="*/ 1636684 h 4687251"/>
              <a:gd name="connsiteX17308" fmla="*/ 6056749 w 8079933"/>
              <a:gd name="connsiteY17308" fmla="*/ 1636943 h 4687251"/>
              <a:gd name="connsiteX17309" fmla="*/ 6060437 w 8079933"/>
              <a:gd name="connsiteY17309" fmla="*/ 1635752 h 4687251"/>
              <a:gd name="connsiteX17310" fmla="*/ 1221354 w 8079933"/>
              <a:gd name="connsiteY17310" fmla="*/ 1635752 h 4687251"/>
              <a:gd name="connsiteX17311" fmla="*/ 1222765 w 8079933"/>
              <a:gd name="connsiteY17311" fmla="*/ 1637917 h 4687251"/>
              <a:gd name="connsiteX17312" fmla="*/ 1220052 w 8079933"/>
              <a:gd name="connsiteY17312" fmla="*/ 1639000 h 4687251"/>
              <a:gd name="connsiteX17313" fmla="*/ 1219184 w 8079933"/>
              <a:gd name="connsiteY17313" fmla="*/ 1643006 h 4687251"/>
              <a:gd name="connsiteX17314" fmla="*/ 1221897 w 8079933"/>
              <a:gd name="connsiteY17314" fmla="*/ 1651884 h 4687251"/>
              <a:gd name="connsiteX17315" fmla="*/ 1219943 w 8079933"/>
              <a:gd name="connsiteY17315" fmla="*/ 1653400 h 4687251"/>
              <a:gd name="connsiteX17316" fmla="*/ 1216688 w 8079933"/>
              <a:gd name="connsiteY17316" fmla="*/ 1646254 h 4687251"/>
              <a:gd name="connsiteX17317" fmla="*/ 1216796 w 8079933"/>
              <a:gd name="connsiteY17317" fmla="*/ 1639650 h 4687251"/>
              <a:gd name="connsiteX17318" fmla="*/ 7327586 w 8079933"/>
              <a:gd name="connsiteY17318" fmla="*/ 1634561 h 4687251"/>
              <a:gd name="connsiteX17319" fmla="*/ 7322594 w 8079933"/>
              <a:gd name="connsiteY17319" fmla="*/ 1641273 h 4687251"/>
              <a:gd name="connsiteX17320" fmla="*/ 7321183 w 8079933"/>
              <a:gd name="connsiteY17320" fmla="*/ 1646362 h 4687251"/>
              <a:gd name="connsiteX17321" fmla="*/ 7320967 w 8079933"/>
              <a:gd name="connsiteY17321" fmla="*/ 1651126 h 4687251"/>
              <a:gd name="connsiteX17322" fmla="*/ 7317928 w 8079933"/>
              <a:gd name="connsiteY17322" fmla="*/ 1653399 h 4687251"/>
              <a:gd name="connsiteX17323" fmla="*/ 7314455 w 8079933"/>
              <a:gd name="connsiteY17323" fmla="*/ 1659030 h 4687251"/>
              <a:gd name="connsiteX17324" fmla="*/ 7309464 w 8079933"/>
              <a:gd name="connsiteY17324" fmla="*/ 1664118 h 4687251"/>
              <a:gd name="connsiteX17325" fmla="*/ 7306860 w 8079933"/>
              <a:gd name="connsiteY17325" fmla="*/ 1663252 h 4687251"/>
              <a:gd name="connsiteX17326" fmla="*/ 7308487 w 8079933"/>
              <a:gd name="connsiteY17326" fmla="*/ 1656215 h 4687251"/>
              <a:gd name="connsiteX17327" fmla="*/ 7311960 w 8079933"/>
              <a:gd name="connsiteY17327" fmla="*/ 1652425 h 4687251"/>
              <a:gd name="connsiteX17328" fmla="*/ 7312828 w 8079933"/>
              <a:gd name="connsiteY17328" fmla="*/ 1649610 h 4687251"/>
              <a:gd name="connsiteX17329" fmla="*/ 7314672 w 8079933"/>
              <a:gd name="connsiteY17329" fmla="*/ 1647661 h 4687251"/>
              <a:gd name="connsiteX17330" fmla="*/ 7316084 w 8079933"/>
              <a:gd name="connsiteY17330" fmla="*/ 1643330 h 4687251"/>
              <a:gd name="connsiteX17331" fmla="*/ 7317928 w 8079933"/>
              <a:gd name="connsiteY17331" fmla="*/ 1641598 h 4687251"/>
              <a:gd name="connsiteX17332" fmla="*/ 7320316 w 8079933"/>
              <a:gd name="connsiteY17332" fmla="*/ 1636726 h 4687251"/>
              <a:gd name="connsiteX17333" fmla="*/ 7325199 w 8079933"/>
              <a:gd name="connsiteY17333" fmla="*/ 1635860 h 4687251"/>
              <a:gd name="connsiteX17334" fmla="*/ 6947018 w 8079933"/>
              <a:gd name="connsiteY17334" fmla="*/ 1634466 h 4687251"/>
              <a:gd name="connsiteX17335" fmla="*/ 6946259 w 8079933"/>
              <a:gd name="connsiteY17335" fmla="*/ 1636076 h 4687251"/>
              <a:gd name="connsiteX17336" fmla="*/ 6942569 w 8079933"/>
              <a:gd name="connsiteY17336" fmla="*/ 1636725 h 4687251"/>
              <a:gd name="connsiteX17337" fmla="*/ 6939313 w 8079933"/>
              <a:gd name="connsiteY17337" fmla="*/ 1640731 h 4687251"/>
              <a:gd name="connsiteX17338" fmla="*/ 6939313 w 8079933"/>
              <a:gd name="connsiteY17338" fmla="*/ 1642332 h 4687251"/>
              <a:gd name="connsiteX17339" fmla="*/ 6942460 w 8079933"/>
              <a:gd name="connsiteY17339" fmla="*/ 1638459 h 4687251"/>
              <a:gd name="connsiteX17340" fmla="*/ 6946041 w 8079933"/>
              <a:gd name="connsiteY17340" fmla="*/ 1637810 h 4687251"/>
              <a:gd name="connsiteX17341" fmla="*/ 6947018 w 8079933"/>
              <a:gd name="connsiteY17341" fmla="*/ 1635969 h 4687251"/>
              <a:gd name="connsiteX17342" fmla="*/ 6043291 w 8079933"/>
              <a:gd name="connsiteY17342" fmla="*/ 1633154 h 4687251"/>
              <a:gd name="connsiteX17343" fmla="*/ 6038082 w 8079933"/>
              <a:gd name="connsiteY17343" fmla="*/ 1636943 h 4687251"/>
              <a:gd name="connsiteX17344" fmla="*/ 6033199 w 8079933"/>
              <a:gd name="connsiteY17344" fmla="*/ 1638675 h 4687251"/>
              <a:gd name="connsiteX17345" fmla="*/ 6030120 w 8079933"/>
              <a:gd name="connsiteY17345" fmla="*/ 1640371 h 4687251"/>
              <a:gd name="connsiteX17346" fmla="*/ 6031356 w 8079933"/>
              <a:gd name="connsiteY17346" fmla="*/ 1640949 h 4687251"/>
              <a:gd name="connsiteX17347" fmla="*/ 6034503 w 8079933"/>
              <a:gd name="connsiteY17347" fmla="*/ 1639217 h 4687251"/>
              <a:gd name="connsiteX17348" fmla="*/ 6039278 w 8079933"/>
              <a:gd name="connsiteY17348" fmla="*/ 1637484 h 4687251"/>
              <a:gd name="connsiteX17349" fmla="*/ 6044486 w 8079933"/>
              <a:gd name="connsiteY17349" fmla="*/ 1633695 h 4687251"/>
              <a:gd name="connsiteX17350" fmla="*/ 6047807 w 8079933"/>
              <a:gd name="connsiteY17350" fmla="*/ 1633259 h 4687251"/>
              <a:gd name="connsiteX17351" fmla="*/ 6047415 w 8079933"/>
              <a:gd name="connsiteY17351" fmla="*/ 1633154 h 4687251"/>
              <a:gd name="connsiteX17352" fmla="*/ 5243090 w 8079933"/>
              <a:gd name="connsiteY17352" fmla="*/ 1630613 h 4687251"/>
              <a:gd name="connsiteX17353" fmla="*/ 5243090 w 8079933"/>
              <a:gd name="connsiteY17353" fmla="*/ 1632829 h 4687251"/>
              <a:gd name="connsiteX17354" fmla="*/ 5248733 w 8079933"/>
              <a:gd name="connsiteY17354" fmla="*/ 1632829 h 4687251"/>
              <a:gd name="connsiteX17355" fmla="*/ 5251988 w 8079933"/>
              <a:gd name="connsiteY17355" fmla="*/ 1635969 h 4687251"/>
              <a:gd name="connsiteX17356" fmla="*/ 5257306 w 8079933"/>
              <a:gd name="connsiteY17356" fmla="*/ 1637160 h 4687251"/>
              <a:gd name="connsiteX17357" fmla="*/ 5258174 w 8079933"/>
              <a:gd name="connsiteY17357" fmla="*/ 1639758 h 4687251"/>
              <a:gd name="connsiteX17358" fmla="*/ 5262623 w 8079933"/>
              <a:gd name="connsiteY17358" fmla="*/ 1643332 h 4687251"/>
              <a:gd name="connsiteX17359" fmla="*/ 5269676 w 8079933"/>
              <a:gd name="connsiteY17359" fmla="*/ 1643332 h 4687251"/>
              <a:gd name="connsiteX17360" fmla="*/ 5271956 w 8079933"/>
              <a:gd name="connsiteY17360" fmla="*/ 1645063 h 4687251"/>
              <a:gd name="connsiteX17361" fmla="*/ 5273141 w 8079933"/>
              <a:gd name="connsiteY17361" fmla="*/ 1663666 h 4687251"/>
              <a:gd name="connsiteX17362" fmla="*/ 5273365 w 8079933"/>
              <a:gd name="connsiteY17362" fmla="*/ 1663252 h 4687251"/>
              <a:gd name="connsiteX17363" fmla="*/ 5272280 w 8079933"/>
              <a:gd name="connsiteY17363" fmla="*/ 1644521 h 4687251"/>
              <a:gd name="connsiteX17364" fmla="*/ 5270002 w 8079933"/>
              <a:gd name="connsiteY17364" fmla="*/ 1642789 h 4687251"/>
              <a:gd name="connsiteX17365" fmla="*/ 5262947 w 8079933"/>
              <a:gd name="connsiteY17365" fmla="*/ 1642681 h 4687251"/>
              <a:gd name="connsiteX17366" fmla="*/ 5258390 w 8079933"/>
              <a:gd name="connsiteY17366" fmla="*/ 1639000 h 4687251"/>
              <a:gd name="connsiteX17367" fmla="*/ 5257521 w 8079933"/>
              <a:gd name="connsiteY17367" fmla="*/ 1636401 h 4687251"/>
              <a:gd name="connsiteX17368" fmla="*/ 5252205 w 8079933"/>
              <a:gd name="connsiteY17368" fmla="*/ 1635211 h 4687251"/>
              <a:gd name="connsiteX17369" fmla="*/ 5248949 w 8079933"/>
              <a:gd name="connsiteY17369" fmla="*/ 1632179 h 4687251"/>
              <a:gd name="connsiteX17370" fmla="*/ 5243306 w 8079933"/>
              <a:gd name="connsiteY17370" fmla="*/ 1632179 h 4687251"/>
              <a:gd name="connsiteX17371" fmla="*/ 5748125 w 8079933"/>
              <a:gd name="connsiteY17371" fmla="*/ 1630468 h 4687251"/>
              <a:gd name="connsiteX17372" fmla="*/ 5743786 w 8079933"/>
              <a:gd name="connsiteY17372" fmla="*/ 1632179 h 4687251"/>
              <a:gd name="connsiteX17373" fmla="*/ 5739771 w 8079933"/>
              <a:gd name="connsiteY17373" fmla="*/ 1631313 h 4687251"/>
              <a:gd name="connsiteX17374" fmla="*/ 5739348 w 8079933"/>
              <a:gd name="connsiteY17374" fmla="*/ 1631532 h 4687251"/>
              <a:gd name="connsiteX17375" fmla="*/ 5743351 w 8079933"/>
              <a:gd name="connsiteY17375" fmla="*/ 1632503 h 4687251"/>
              <a:gd name="connsiteX17376" fmla="*/ 5748017 w 8079933"/>
              <a:gd name="connsiteY17376" fmla="*/ 1630663 h 4687251"/>
              <a:gd name="connsiteX17377" fmla="*/ 5929017 w 8079933"/>
              <a:gd name="connsiteY17377" fmla="*/ 1628059 h 4687251"/>
              <a:gd name="connsiteX17378" fmla="*/ 5927070 w 8079933"/>
              <a:gd name="connsiteY17378" fmla="*/ 1629797 h 4687251"/>
              <a:gd name="connsiteX17379" fmla="*/ 5923815 w 8079933"/>
              <a:gd name="connsiteY17379" fmla="*/ 1634454 h 4687251"/>
              <a:gd name="connsiteX17380" fmla="*/ 5919800 w 8079933"/>
              <a:gd name="connsiteY17380" fmla="*/ 1635428 h 4687251"/>
              <a:gd name="connsiteX17381" fmla="*/ 5915784 w 8079933"/>
              <a:gd name="connsiteY17381" fmla="*/ 1639217 h 4687251"/>
              <a:gd name="connsiteX17382" fmla="*/ 5915784 w 8079933"/>
              <a:gd name="connsiteY17382" fmla="*/ 1642465 h 4687251"/>
              <a:gd name="connsiteX17383" fmla="*/ 5909599 w 8079933"/>
              <a:gd name="connsiteY17383" fmla="*/ 1645389 h 4687251"/>
              <a:gd name="connsiteX17384" fmla="*/ 5907863 w 8079933"/>
              <a:gd name="connsiteY17384" fmla="*/ 1650152 h 4687251"/>
              <a:gd name="connsiteX17385" fmla="*/ 5907863 w 8079933"/>
              <a:gd name="connsiteY17385" fmla="*/ 1654916 h 4687251"/>
              <a:gd name="connsiteX17386" fmla="*/ 5900267 w 8079933"/>
              <a:gd name="connsiteY17386" fmla="*/ 1657623 h 4687251"/>
              <a:gd name="connsiteX17387" fmla="*/ 5896142 w 8079933"/>
              <a:gd name="connsiteY17387" fmla="*/ 1662062 h 4687251"/>
              <a:gd name="connsiteX17388" fmla="*/ 5894624 w 8079933"/>
              <a:gd name="connsiteY17388" fmla="*/ 1664444 h 4687251"/>
              <a:gd name="connsiteX17389" fmla="*/ 5883772 w 8079933"/>
              <a:gd name="connsiteY17389" fmla="*/ 1664444 h 4687251"/>
              <a:gd name="connsiteX17390" fmla="*/ 5879432 w 8079933"/>
              <a:gd name="connsiteY17390" fmla="*/ 1666718 h 4687251"/>
              <a:gd name="connsiteX17391" fmla="*/ 5875633 w 8079933"/>
              <a:gd name="connsiteY17391" fmla="*/ 1675487 h 4687251"/>
              <a:gd name="connsiteX17392" fmla="*/ 5875633 w 8079933"/>
              <a:gd name="connsiteY17392" fmla="*/ 1676029 h 4687251"/>
              <a:gd name="connsiteX17393" fmla="*/ 5873572 w 8079933"/>
              <a:gd name="connsiteY17393" fmla="*/ 1676029 h 4687251"/>
              <a:gd name="connsiteX17394" fmla="*/ 5868797 w 8079933"/>
              <a:gd name="connsiteY17394" fmla="*/ 1674297 h 4687251"/>
              <a:gd name="connsiteX17395" fmla="*/ 5865867 w 8079933"/>
              <a:gd name="connsiteY17395" fmla="*/ 1674297 h 4687251"/>
              <a:gd name="connsiteX17396" fmla="*/ 5864674 w 8079933"/>
              <a:gd name="connsiteY17396" fmla="*/ 1672889 h 4687251"/>
              <a:gd name="connsiteX17397" fmla="*/ 5857619 w 8079933"/>
              <a:gd name="connsiteY17397" fmla="*/ 1670507 h 4687251"/>
              <a:gd name="connsiteX17398" fmla="*/ 5852302 w 8079933"/>
              <a:gd name="connsiteY17398" fmla="*/ 1665852 h 4687251"/>
              <a:gd name="connsiteX17399" fmla="*/ 5848874 w 8079933"/>
              <a:gd name="connsiteY17399" fmla="*/ 1664996 h 4687251"/>
              <a:gd name="connsiteX17400" fmla="*/ 5849046 w 8079933"/>
              <a:gd name="connsiteY17400" fmla="*/ 1665526 h 4687251"/>
              <a:gd name="connsiteX17401" fmla="*/ 5852519 w 8079933"/>
              <a:gd name="connsiteY17401" fmla="*/ 1666392 h 4687251"/>
              <a:gd name="connsiteX17402" fmla="*/ 5857836 w 8079933"/>
              <a:gd name="connsiteY17402" fmla="*/ 1670939 h 4687251"/>
              <a:gd name="connsiteX17403" fmla="*/ 5864890 w 8079933"/>
              <a:gd name="connsiteY17403" fmla="*/ 1673430 h 4687251"/>
              <a:gd name="connsiteX17404" fmla="*/ 5866083 w 8079933"/>
              <a:gd name="connsiteY17404" fmla="*/ 1674729 h 4687251"/>
              <a:gd name="connsiteX17405" fmla="*/ 5866625 w 8079933"/>
              <a:gd name="connsiteY17405" fmla="*/ 1675487 h 4687251"/>
              <a:gd name="connsiteX17406" fmla="*/ 5866626 w 8079933"/>
              <a:gd name="connsiteY17406" fmla="*/ 1675486 h 4687251"/>
              <a:gd name="connsiteX17407" fmla="*/ 5866084 w 8079933"/>
              <a:gd name="connsiteY17407" fmla="*/ 1674728 h 4687251"/>
              <a:gd name="connsiteX17408" fmla="*/ 5869014 w 8079933"/>
              <a:gd name="connsiteY17408" fmla="*/ 1674837 h 4687251"/>
              <a:gd name="connsiteX17409" fmla="*/ 5873897 w 8079933"/>
              <a:gd name="connsiteY17409" fmla="*/ 1676569 h 4687251"/>
              <a:gd name="connsiteX17410" fmla="*/ 5875959 w 8079933"/>
              <a:gd name="connsiteY17410" fmla="*/ 1676569 h 4687251"/>
              <a:gd name="connsiteX17411" fmla="*/ 5875743 w 8079933"/>
              <a:gd name="connsiteY17411" fmla="*/ 1676029 h 4687251"/>
              <a:gd name="connsiteX17412" fmla="*/ 5879541 w 8079933"/>
              <a:gd name="connsiteY17412" fmla="*/ 1667259 h 4687251"/>
              <a:gd name="connsiteX17413" fmla="*/ 5883882 w 8079933"/>
              <a:gd name="connsiteY17413" fmla="*/ 1664985 h 4687251"/>
              <a:gd name="connsiteX17414" fmla="*/ 5894950 w 8079933"/>
              <a:gd name="connsiteY17414" fmla="*/ 1665527 h 4687251"/>
              <a:gd name="connsiteX17415" fmla="*/ 5896469 w 8079933"/>
              <a:gd name="connsiteY17415" fmla="*/ 1663036 h 4687251"/>
              <a:gd name="connsiteX17416" fmla="*/ 5900593 w 8079933"/>
              <a:gd name="connsiteY17416" fmla="*/ 1658597 h 4687251"/>
              <a:gd name="connsiteX17417" fmla="*/ 5908190 w 8079933"/>
              <a:gd name="connsiteY17417" fmla="*/ 1655890 h 4687251"/>
              <a:gd name="connsiteX17418" fmla="*/ 5908514 w 8079933"/>
              <a:gd name="connsiteY17418" fmla="*/ 1651018 h 4687251"/>
              <a:gd name="connsiteX17419" fmla="*/ 5910251 w 8079933"/>
              <a:gd name="connsiteY17419" fmla="*/ 1646254 h 4687251"/>
              <a:gd name="connsiteX17420" fmla="*/ 5916436 w 8079933"/>
              <a:gd name="connsiteY17420" fmla="*/ 1643331 h 4687251"/>
              <a:gd name="connsiteX17421" fmla="*/ 5916654 w 8079933"/>
              <a:gd name="connsiteY17421" fmla="*/ 1640083 h 4687251"/>
              <a:gd name="connsiteX17422" fmla="*/ 5920561 w 8079933"/>
              <a:gd name="connsiteY17422" fmla="*/ 1636293 h 4687251"/>
              <a:gd name="connsiteX17423" fmla="*/ 5924575 w 8079933"/>
              <a:gd name="connsiteY17423" fmla="*/ 1635211 h 4687251"/>
              <a:gd name="connsiteX17424" fmla="*/ 5927831 w 8079933"/>
              <a:gd name="connsiteY17424" fmla="*/ 1630555 h 4687251"/>
              <a:gd name="connsiteX17425" fmla="*/ 5929893 w 8079933"/>
              <a:gd name="connsiteY17425" fmla="*/ 1628714 h 4687251"/>
              <a:gd name="connsiteX17426" fmla="*/ 2750679 w 8079933"/>
              <a:gd name="connsiteY17426" fmla="*/ 1626873 h 4687251"/>
              <a:gd name="connsiteX17427" fmla="*/ 2750679 w 8079933"/>
              <a:gd name="connsiteY17427" fmla="*/ 1629904 h 4687251"/>
              <a:gd name="connsiteX17428" fmla="*/ 2749377 w 8079933"/>
              <a:gd name="connsiteY17428" fmla="*/ 1633045 h 4687251"/>
              <a:gd name="connsiteX17429" fmla="*/ 2746989 w 8079933"/>
              <a:gd name="connsiteY17429" fmla="*/ 1634561 h 4687251"/>
              <a:gd name="connsiteX17430" fmla="*/ 2745904 w 8079933"/>
              <a:gd name="connsiteY17430" fmla="*/ 1633586 h 4687251"/>
              <a:gd name="connsiteX17431" fmla="*/ 2747749 w 8079933"/>
              <a:gd name="connsiteY17431" fmla="*/ 1629147 h 4687251"/>
              <a:gd name="connsiteX17432" fmla="*/ 6947993 w 8079933"/>
              <a:gd name="connsiteY17432" fmla="*/ 1626809 h 4687251"/>
              <a:gd name="connsiteX17433" fmla="*/ 6947344 w 8079933"/>
              <a:gd name="connsiteY17433" fmla="*/ 1630121 h 4687251"/>
              <a:gd name="connsiteX17434" fmla="*/ 6947328 w 8079933"/>
              <a:gd name="connsiteY17434" fmla="*/ 1630434 h 4687251"/>
              <a:gd name="connsiteX17435" fmla="*/ 6948103 w 8079933"/>
              <a:gd name="connsiteY17435" fmla="*/ 1626874 h 4687251"/>
              <a:gd name="connsiteX17436" fmla="*/ 6896047 w 8079933"/>
              <a:gd name="connsiteY17436" fmla="*/ 1626742 h 4687251"/>
              <a:gd name="connsiteX17437" fmla="*/ 6896015 w 8079933"/>
              <a:gd name="connsiteY17437" fmla="*/ 1626874 h 4687251"/>
              <a:gd name="connsiteX17438" fmla="*/ 6896015 w 8079933"/>
              <a:gd name="connsiteY17438" fmla="*/ 1629327 h 4687251"/>
              <a:gd name="connsiteX17439" fmla="*/ 6896450 w 8079933"/>
              <a:gd name="connsiteY17439" fmla="*/ 1629146 h 4687251"/>
              <a:gd name="connsiteX17440" fmla="*/ 4088898 w 8079933"/>
              <a:gd name="connsiteY17440" fmla="*/ 1626668 h 4687251"/>
              <a:gd name="connsiteX17441" fmla="*/ 4087495 w 8079933"/>
              <a:gd name="connsiteY17441" fmla="*/ 1628390 h 4687251"/>
              <a:gd name="connsiteX17442" fmla="*/ 4087170 w 8079933"/>
              <a:gd name="connsiteY17442" fmla="*/ 1631097 h 4687251"/>
              <a:gd name="connsiteX17443" fmla="*/ 4085325 w 8079933"/>
              <a:gd name="connsiteY17443" fmla="*/ 1635211 h 4687251"/>
              <a:gd name="connsiteX17444" fmla="*/ 4085216 w 8079933"/>
              <a:gd name="connsiteY17444" fmla="*/ 1639867 h 4687251"/>
              <a:gd name="connsiteX17445" fmla="*/ 4082178 w 8079933"/>
              <a:gd name="connsiteY17445" fmla="*/ 1642464 h 4687251"/>
              <a:gd name="connsiteX17446" fmla="*/ 4082179 w 8079933"/>
              <a:gd name="connsiteY17446" fmla="*/ 1642464 h 4687251"/>
              <a:gd name="connsiteX17447" fmla="*/ 4085217 w 8079933"/>
              <a:gd name="connsiteY17447" fmla="*/ 1639866 h 4687251"/>
              <a:gd name="connsiteX17448" fmla="*/ 4085326 w 8079933"/>
              <a:gd name="connsiteY17448" fmla="*/ 1635210 h 4687251"/>
              <a:gd name="connsiteX17449" fmla="*/ 4087171 w 8079933"/>
              <a:gd name="connsiteY17449" fmla="*/ 1631095 h 4687251"/>
              <a:gd name="connsiteX17450" fmla="*/ 4087497 w 8079933"/>
              <a:gd name="connsiteY17450" fmla="*/ 1628389 h 4687251"/>
              <a:gd name="connsiteX17451" fmla="*/ 5241612 w 8079933"/>
              <a:gd name="connsiteY17451" fmla="*/ 1626613 h 4687251"/>
              <a:gd name="connsiteX17452" fmla="*/ 5241570 w 8079933"/>
              <a:gd name="connsiteY17452" fmla="*/ 1626765 h 4687251"/>
              <a:gd name="connsiteX17453" fmla="*/ 5242917 w 8079933"/>
              <a:gd name="connsiteY17453" fmla="*/ 1629356 h 4687251"/>
              <a:gd name="connsiteX17454" fmla="*/ 5242873 w 8079933"/>
              <a:gd name="connsiteY17454" fmla="*/ 1629039 h 4687251"/>
              <a:gd name="connsiteX17455" fmla="*/ 6328426 w 8079933"/>
              <a:gd name="connsiteY17455" fmla="*/ 1625782 h 4687251"/>
              <a:gd name="connsiteX17456" fmla="*/ 6332055 w 8079933"/>
              <a:gd name="connsiteY17456" fmla="*/ 1629689 h 4687251"/>
              <a:gd name="connsiteX17457" fmla="*/ 6332096 w 8079933"/>
              <a:gd name="connsiteY17457" fmla="*/ 1629691 h 4687251"/>
              <a:gd name="connsiteX17458" fmla="*/ 6328474 w 8079933"/>
              <a:gd name="connsiteY17458" fmla="*/ 1625791 h 4687251"/>
              <a:gd name="connsiteX17459" fmla="*/ 5697557 w 8079933"/>
              <a:gd name="connsiteY17459" fmla="*/ 1625574 h 4687251"/>
              <a:gd name="connsiteX17460" fmla="*/ 5697557 w 8079933"/>
              <a:gd name="connsiteY17460" fmla="*/ 1626008 h 4687251"/>
              <a:gd name="connsiteX17461" fmla="*/ 5698600 w 8079933"/>
              <a:gd name="connsiteY17461" fmla="*/ 1626954 h 4687251"/>
              <a:gd name="connsiteX17462" fmla="*/ 5698751 w 8079933"/>
              <a:gd name="connsiteY17462" fmla="*/ 1626548 h 4687251"/>
              <a:gd name="connsiteX17463" fmla="*/ 6897125 w 8079933"/>
              <a:gd name="connsiteY17463" fmla="*/ 1622423 h 4687251"/>
              <a:gd name="connsiteX17464" fmla="*/ 6897101 w 8079933"/>
              <a:gd name="connsiteY17464" fmla="*/ 1622435 h 4687251"/>
              <a:gd name="connsiteX17465" fmla="*/ 6896897 w 8079933"/>
              <a:gd name="connsiteY17465" fmla="*/ 1623268 h 4687251"/>
              <a:gd name="connsiteX17466" fmla="*/ 5756916 w 8079933"/>
              <a:gd name="connsiteY17466" fmla="*/ 1622110 h 4687251"/>
              <a:gd name="connsiteX17467" fmla="*/ 5748994 w 8079933"/>
              <a:gd name="connsiteY17467" fmla="*/ 1623193 h 4687251"/>
              <a:gd name="connsiteX17468" fmla="*/ 5748899 w 8079933"/>
              <a:gd name="connsiteY17468" fmla="*/ 1623466 h 4687251"/>
              <a:gd name="connsiteX17469" fmla="*/ 5756481 w 8079933"/>
              <a:gd name="connsiteY17469" fmla="*/ 1622326 h 4687251"/>
              <a:gd name="connsiteX17470" fmla="*/ 5764946 w 8079933"/>
              <a:gd name="connsiteY17470" fmla="*/ 1622326 h 4687251"/>
              <a:gd name="connsiteX17471" fmla="*/ 5772216 w 8079933"/>
              <a:gd name="connsiteY17471" fmla="*/ 1624275 h 4687251"/>
              <a:gd name="connsiteX17472" fmla="*/ 5779270 w 8079933"/>
              <a:gd name="connsiteY17472" fmla="*/ 1629472 h 4687251"/>
              <a:gd name="connsiteX17473" fmla="*/ 5783176 w 8079933"/>
              <a:gd name="connsiteY17473" fmla="*/ 1636293 h 4687251"/>
              <a:gd name="connsiteX17474" fmla="*/ 5785672 w 8079933"/>
              <a:gd name="connsiteY17474" fmla="*/ 1641815 h 4687251"/>
              <a:gd name="connsiteX17475" fmla="*/ 5787951 w 8079933"/>
              <a:gd name="connsiteY17475" fmla="*/ 1642031 h 4687251"/>
              <a:gd name="connsiteX17476" fmla="*/ 5792943 w 8079933"/>
              <a:gd name="connsiteY17476" fmla="*/ 1643439 h 4687251"/>
              <a:gd name="connsiteX17477" fmla="*/ 5798585 w 8079933"/>
              <a:gd name="connsiteY17477" fmla="*/ 1646903 h 4687251"/>
              <a:gd name="connsiteX17478" fmla="*/ 5800322 w 8079933"/>
              <a:gd name="connsiteY17478" fmla="*/ 1646903 h 4687251"/>
              <a:gd name="connsiteX17479" fmla="*/ 5803903 w 8079933"/>
              <a:gd name="connsiteY17479" fmla="*/ 1648636 h 4687251"/>
              <a:gd name="connsiteX17480" fmla="*/ 5804120 w 8079933"/>
              <a:gd name="connsiteY17480" fmla="*/ 1651343 h 4687251"/>
              <a:gd name="connsiteX17481" fmla="*/ 5803252 w 8079933"/>
              <a:gd name="connsiteY17481" fmla="*/ 1653617 h 4687251"/>
              <a:gd name="connsiteX17482" fmla="*/ 5803360 w 8079933"/>
              <a:gd name="connsiteY17482" fmla="*/ 1657514 h 4687251"/>
              <a:gd name="connsiteX17483" fmla="*/ 5804662 w 8079933"/>
              <a:gd name="connsiteY17483" fmla="*/ 1660654 h 4687251"/>
              <a:gd name="connsiteX17484" fmla="*/ 5806941 w 8079933"/>
              <a:gd name="connsiteY17484" fmla="*/ 1662927 h 4687251"/>
              <a:gd name="connsiteX17485" fmla="*/ 5808026 w 8079933"/>
              <a:gd name="connsiteY17485" fmla="*/ 1664119 h 4687251"/>
              <a:gd name="connsiteX17486" fmla="*/ 5810197 w 8079933"/>
              <a:gd name="connsiteY17486" fmla="*/ 1664010 h 4687251"/>
              <a:gd name="connsiteX17487" fmla="*/ 5814863 w 8079933"/>
              <a:gd name="connsiteY17487" fmla="*/ 1665959 h 4687251"/>
              <a:gd name="connsiteX17488" fmla="*/ 5818553 w 8079933"/>
              <a:gd name="connsiteY17488" fmla="*/ 1667692 h 4687251"/>
              <a:gd name="connsiteX17489" fmla="*/ 5819855 w 8079933"/>
              <a:gd name="connsiteY17489" fmla="*/ 1665526 h 4687251"/>
              <a:gd name="connsiteX17490" fmla="*/ 5823653 w 8079933"/>
              <a:gd name="connsiteY17490" fmla="*/ 1663469 h 4687251"/>
              <a:gd name="connsiteX17491" fmla="*/ 5834939 w 8079933"/>
              <a:gd name="connsiteY17491" fmla="*/ 1662711 h 4687251"/>
              <a:gd name="connsiteX17492" fmla="*/ 5840148 w 8079933"/>
              <a:gd name="connsiteY17492" fmla="*/ 1661195 h 4687251"/>
              <a:gd name="connsiteX17493" fmla="*/ 5842535 w 8079933"/>
              <a:gd name="connsiteY17493" fmla="*/ 1657081 h 4687251"/>
              <a:gd name="connsiteX17494" fmla="*/ 5847201 w 8079933"/>
              <a:gd name="connsiteY17494" fmla="*/ 1654482 h 4687251"/>
              <a:gd name="connsiteX17495" fmla="*/ 5849395 w 8079933"/>
              <a:gd name="connsiteY17495" fmla="*/ 1655486 h 4687251"/>
              <a:gd name="connsiteX17496" fmla="*/ 5849481 w 8079933"/>
              <a:gd name="connsiteY17496" fmla="*/ 1655241 h 4687251"/>
              <a:gd name="connsiteX17497" fmla="*/ 5846877 w 8079933"/>
              <a:gd name="connsiteY17497" fmla="*/ 1654050 h 4687251"/>
              <a:gd name="connsiteX17498" fmla="*/ 5842210 w 8079933"/>
              <a:gd name="connsiteY17498" fmla="*/ 1656648 h 4687251"/>
              <a:gd name="connsiteX17499" fmla="*/ 5839822 w 8079933"/>
              <a:gd name="connsiteY17499" fmla="*/ 1660763 h 4687251"/>
              <a:gd name="connsiteX17500" fmla="*/ 5834723 w 8079933"/>
              <a:gd name="connsiteY17500" fmla="*/ 1662279 h 4687251"/>
              <a:gd name="connsiteX17501" fmla="*/ 5823871 w 8079933"/>
              <a:gd name="connsiteY17501" fmla="*/ 1663036 h 4687251"/>
              <a:gd name="connsiteX17502" fmla="*/ 5820073 w 8079933"/>
              <a:gd name="connsiteY17502" fmla="*/ 1665093 h 4687251"/>
              <a:gd name="connsiteX17503" fmla="*/ 5818771 w 8079933"/>
              <a:gd name="connsiteY17503" fmla="*/ 1667259 h 4687251"/>
              <a:gd name="connsiteX17504" fmla="*/ 5815190 w 8079933"/>
              <a:gd name="connsiteY17504" fmla="*/ 1665527 h 4687251"/>
              <a:gd name="connsiteX17505" fmla="*/ 5810415 w 8079933"/>
              <a:gd name="connsiteY17505" fmla="*/ 1663578 h 4687251"/>
              <a:gd name="connsiteX17506" fmla="*/ 5808245 w 8079933"/>
              <a:gd name="connsiteY17506" fmla="*/ 1663578 h 4687251"/>
              <a:gd name="connsiteX17507" fmla="*/ 5807160 w 8079933"/>
              <a:gd name="connsiteY17507" fmla="*/ 1662387 h 4687251"/>
              <a:gd name="connsiteX17508" fmla="*/ 5804880 w 8079933"/>
              <a:gd name="connsiteY17508" fmla="*/ 1660113 h 4687251"/>
              <a:gd name="connsiteX17509" fmla="*/ 5803579 w 8079933"/>
              <a:gd name="connsiteY17509" fmla="*/ 1656973 h 4687251"/>
              <a:gd name="connsiteX17510" fmla="*/ 5803579 w 8079933"/>
              <a:gd name="connsiteY17510" fmla="*/ 1653184 h 4687251"/>
              <a:gd name="connsiteX17511" fmla="*/ 5804447 w 8079933"/>
              <a:gd name="connsiteY17511" fmla="*/ 1650910 h 4687251"/>
              <a:gd name="connsiteX17512" fmla="*/ 5804447 w 8079933"/>
              <a:gd name="connsiteY17512" fmla="*/ 1648203 h 4687251"/>
              <a:gd name="connsiteX17513" fmla="*/ 5800866 w 8079933"/>
              <a:gd name="connsiteY17513" fmla="*/ 1646579 h 4687251"/>
              <a:gd name="connsiteX17514" fmla="*/ 5799129 w 8079933"/>
              <a:gd name="connsiteY17514" fmla="*/ 1646579 h 4687251"/>
              <a:gd name="connsiteX17515" fmla="*/ 5793486 w 8079933"/>
              <a:gd name="connsiteY17515" fmla="*/ 1643006 h 4687251"/>
              <a:gd name="connsiteX17516" fmla="*/ 5788495 w 8079933"/>
              <a:gd name="connsiteY17516" fmla="*/ 1641599 h 4687251"/>
              <a:gd name="connsiteX17517" fmla="*/ 5786107 w 8079933"/>
              <a:gd name="connsiteY17517" fmla="*/ 1641599 h 4687251"/>
              <a:gd name="connsiteX17518" fmla="*/ 5783611 w 8079933"/>
              <a:gd name="connsiteY17518" fmla="*/ 1636077 h 4687251"/>
              <a:gd name="connsiteX17519" fmla="*/ 5779704 w 8079933"/>
              <a:gd name="connsiteY17519" fmla="*/ 1629148 h 4687251"/>
              <a:gd name="connsiteX17520" fmla="*/ 5772652 w 8079933"/>
              <a:gd name="connsiteY17520" fmla="*/ 1623951 h 4687251"/>
              <a:gd name="connsiteX17521" fmla="*/ 5765380 w 8079933"/>
              <a:gd name="connsiteY17521" fmla="*/ 1622110 h 4687251"/>
              <a:gd name="connsiteX17522" fmla="*/ 5707927 w 8079933"/>
              <a:gd name="connsiteY17522" fmla="*/ 1621986 h 4687251"/>
              <a:gd name="connsiteX17523" fmla="*/ 5707215 w 8079933"/>
              <a:gd name="connsiteY17523" fmla="*/ 1625033 h 4687251"/>
              <a:gd name="connsiteX17524" fmla="*/ 5707541 w 8079933"/>
              <a:gd name="connsiteY17524" fmla="*/ 1627473 h 4687251"/>
              <a:gd name="connsiteX17525" fmla="*/ 5707541 w 8079933"/>
              <a:gd name="connsiteY17525" fmla="*/ 1625358 h 4687251"/>
              <a:gd name="connsiteX17526" fmla="*/ 5708192 w 8079933"/>
              <a:gd name="connsiteY17526" fmla="*/ 1622110 h 4687251"/>
              <a:gd name="connsiteX17527" fmla="*/ 3845612 w 8079933"/>
              <a:gd name="connsiteY17527" fmla="*/ 1616588 h 4687251"/>
              <a:gd name="connsiteX17528" fmla="*/ 3847565 w 8079933"/>
              <a:gd name="connsiteY17528" fmla="*/ 1620486 h 4687251"/>
              <a:gd name="connsiteX17529" fmla="*/ 3851580 w 8079933"/>
              <a:gd name="connsiteY17529" fmla="*/ 1620486 h 4687251"/>
              <a:gd name="connsiteX17530" fmla="*/ 3846046 w 8079933"/>
              <a:gd name="connsiteY17530" fmla="*/ 1624492 h 4687251"/>
              <a:gd name="connsiteX17531" fmla="*/ 3839535 w 8079933"/>
              <a:gd name="connsiteY17531" fmla="*/ 1621243 h 4687251"/>
              <a:gd name="connsiteX17532" fmla="*/ 3840620 w 8079933"/>
              <a:gd name="connsiteY17532" fmla="*/ 1617237 h 4687251"/>
              <a:gd name="connsiteX17533" fmla="*/ 5993916 w 8079933"/>
              <a:gd name="connsiteY17533" fmla="*/ 1615289 h 4687251"/>
              <a:gd name="connsiteX17534" fmla="*/ 5990336 w 8079933"/>
              <a:gd name="connsiteY17534" fmla="*/ 1617671 h 4687251"/>
              <a:gd name="connsiteX17535" fmla="*/ 5985995 w 8079933"/>
              <a:gd name="connsiteY17535" fmla="*/ 1617671 h 4687251"/>
              <a:gd name="connsiteX17536" fmla="*/ 5983390 w 8079933"/>
              <a:gd name="connsiteY17536" fmla="*/ 1618538 h 4687251"/>
              <a:gd name="connsiteX17537" fmla="*/ 5978658 w 8079933"/>
              <a:gd name="connsiteY17537" fmla="*/ 1618538 h 4687251"/>
              <a:gd name="connsiteX17538" fmla="*/ 5979702 w 8079933"/>
              <a:gd name="connsiteY17538" fmla="*/ 1619620 h 4687251"/>
              <a:gd name="connsiteX17539" fmla="*/ 5984693 w 8079933"/>
              <a:gd name="connsiteY17539" fmla="*/ 1619295 h 4687251"/>
              <a:gd name="connsiteX17540" fmla="*/ 5987298 w 8079933"/>
              <a:gd name="connsiteY17540" fmla="*/ 1618320 h 4687251"/>
              <a:gd name="connsiteX17541" fmla="*/ 5991530 w 8079933"/>
              <a:gd name="connsiteY17541" fmla="*/ 1618753 h 4687251"/>
              <a:gd name="connsiteX17542" fmla="*/ 5995219 w 8079933"/>
              <a:gd name="connsiteY17542" fmla="*/ 1616371 h 4687251"/>
              <a:gd name="connsiteX17543" fmla="*/ 6001759 w 8079933"/>
              <a:gd name="connsiteY17543" fmla="*/ 1615905 h 4687251"/>
              <a:gd name="connsiteX17544" fmla="*/ 6001512 w 8079933"/>
              <a:gd name="connsiteY17544" fmla="*/ 1615289 h 4687251"/>
              <a:gd name="connsiteX17545" fmla="*/ 4608811 w 8079933"/>
              <a:gd name="connsiteY17545" fmla="*/ 1612581 h 4687251"/>
              <a:gd name="connsiteX17546" fmla="*/ 4608317 w 8079933"/>
              <a:gd name="connsiteY17546" fmla="*/ 1613489 h 4687251"/>
              <a:gd name="connsiteX17547" fmla="*/ 4611631 w 8079933"/>
              <a:gd name="connsiteY17547" fmla="*/ 1616589 h 4687251"/>
              <a:gd name="connsiteX17548" fmla="*/ 4612905 w 8079933"/>
              <a:gd name="connsiteY17548" fmla="*/ 1616411 h 4687251"/>
              <a:gd name="connsiteX17549" fmla="*/ 6314541 w 8079933"/>
              <a:gd name="connsiteY17549" fmla="*/ 1612232 h 4687251"/>
              <a:gd name="connsiteX17550" fmla="*/ 6317080 w 8079933"/>
              <a:gd name="connsiteY17550" fmla="*/ 1619620 h 4687251"/>
              <a:gd name="connsiteX17551" fmla="*/ 6317402 w 8079933"/>
              <a:gd name="connsiteY17551" fmla="*/ 1619839 h 4687251"/>
              <a:gd name="connsiteX17552" fmla="*/ 6314909 w 8079933"/>
              <a:gd name="connsiteY17552" fmla="*/ 1612583 h 4687251"/>
              <a:gd name="connsiteX17553" fmla="*/ 6939734 w 8079933"/>
              <a:gd name="connsiteY17553" fmla="*/ 1609104 h 4687251"/>
              <a:gd name="connsiteX17554" fmla="*/ 6937903 w 8079933"/>
              <a:gd name="connsiteY17554" fmla="*/ 1610848 h 4687251"/>
              <a:gd name="connsiteX17555" fmla="*/ 6938400 w 8079933"/>
              <a:gd name="connsiteY17555" fmla="*/ 1612213 h 4687251"/>
              <a:gd name="connsiteX17556" fmla="*/ 6940399 w 8079933"/>
              <a:gd name="connsiteY17556" fmla="*/ 1610309 h 4687251"/>
              <a:gd name="connsiteX17557" fmla="*/ 6217352 w 8079933"/>
              <a:gd name="connsiteY17557" fmla="*/ 1608901 h 4687251"/>
              <a:gd name="connsiteX17558" fmla="*/ 6214097 w 8079933"/>
              <a:gd name="connsiteY17558" fmla="*/ 1611175 h 4687251"/>
              <a:gd name="connsiteX17559" fmla="*/ 6206826 w 8079933"/>
              <a:gd name="connsiteY17559" fmla="*/ 1611175 h 4687251"/>
              <a:gd name="connsiteX17560" fmla="*/ 6205090 w 8079933"/>
              <a:gd name="connsiteY17560" fmla="*/ 1612799 h 4687251"/>
              <a:gd name="connsiteX17561" fmla="*/ 6202168 w 8079933"/>
              <a:gd name="connsiteY17561" fmla="*/ 1612799 h 4687251"/>
              <a:gd name="connsiteX17562" fmla="*/ 6202378 w 8079933"/>
              <a:gd name="connsiteY17562" fmla="*/ 1612907 h 4687251"/>
              <a:gd name="connsiteX17563" fmla="*/ 6205742 w 8079933"/>
              <a:gd name="connsiteY17563" fmla="*/ 1613015 h 4687251"/>
              <a:gd name="connsiteX17564" fmla="*/ 6207478 w 8079933"/>
              <a:gd name="connsiteY17564" fmla="*/ 1611391 h 4687251"/>
              <a:gd name="connsiteX17565" fmla="*/ 6214749 w 8079933"/>
              <a:gd name="connsiteY17565" fmla="*/ 1611716 h 4687251"/>
              <a:gd name="connsiteX17566" fmla="*/ 6218004 w 8079933"/>
              <a:gd name="connsiteY17566" fmla="*/ 1609550 h 4687251"/>
              <a:gd name="connsiteX17567" fmla="*/ 6221585 w 8079933"/>
              <a:gd name="connsiteY17567" fmla="*/ 1609659 h 4687251"/>
              <a:gd name="connsiteX17568" fmla="*/ 6224515 w 8079933"/>
              <a:gd name="connsiteY17568" fmla="*/ 1610742 h 4687251"/>
              <a:gd name="connsiteX17569" fmla="*/ 6227554 w 8079933"/>
              <a:gd name="connsiteY17569" fmla="*/ 1609767 h 4687251"/>
              <a:gd name="connsiteX17570" fmla="*/ 6227620 w 8079933"/>
              <a:gd name="connsiteY17570" fmla="*/ 1609696 h 4687251"/>
              <a:gd name="connsiteX17571" fmla="*/ 6223863 w 8079933"/>
              <a:gd name="connsiteY17571" fmla="*/ 1609984 h 4687251"/>
              <a:gd name="connsiteX17572" fmla="*/ 6220934 w 8079933"/>
              <a:gd name="connsiteY17572" fmla="*/ 1608901 h 4687251"/>
              <a:gd name="connsiteX17573" fmla="*/ 5971562 w 8079933"/>
              <a:gd name="connsiteY17573" fmla="*/ 1608901 h 4687251"/>
              <a:gd name="connsiteX17574" fmla="*/ 5967982 w 8079933"/>
              <a:gd name="connsiteY17574" fmla="*/ 1611175 h 4687251"/>
              <a:gd name="connsiteX17575" fmla="*/ 5962447 w 8079933"/>
              <a:gd name="connsiteY17575" fmla="*/ 1611175 h 4687251"/>
              <a:gd name="connsiteX17576" fmla="*/ 5958540 w 8079933"/>
              <a:gd name="connsiteY17576" fmla="*/ 1611175 h 4687251"/>
              <a:gd name="connsiteX17577" fmla="*/ 5953874 w 8079933"/>
              <a:gd name="connsiteY17577" fmla="*/ 1612366 h 4687251"/>
              <a:gd name="connsiteX17578" fmla="*/ 5945410 w 8079933"/>
              <a:gd name="connsiteY17578" fmla="*/ 1613449 h 4687251"/>
              <a:gd name="connsiteX17579" fmla="*/ 5941611 w 8079933"/>
              <a:gd name="connsiteY17579" fmla="*/ 1614965 h 4687251"/>
              <a:gd name="connsiteX17580" fmla="*/ 5939224 w 8079933"/>
              <a:gd name="connsiteY17580" fmla="*/ 1621136 h 4687251"/>
              <a:gd name="connsiteX17581" fmla="*/ 5935969 w 8079933"/>
              <a:gd name="connsiteY17581" fmla="*/ 1622868 h 4687251"/>
              <a:gd name="connsiteX17582" fmla="*/ 5928046 w 8079933"/>
              <a:gd name="connsiteY17582" fmla="*/ 1620595 h 4687251"/>
              <a:gd name="connsiteX17583" fmla="*/ 5926528 w 8079933"/>
              <a:gd name="connsiteY17583" fmla="*/ 1622652 h 4687251"/>
              <a:gd name="connsiteX17584" fmla="*/ 5926528 w 8079933"/>
              <a:gd name="connsiteY17584" fmla="*/ 1626116 h 4687251"/>
              <a:gd name="connsiteX17585" fmla="*/ 5927285 w 8079933"/>
              <a:gd name="connsiteY17585" fmla="*/ 1626651 h 4687251"/>
              <a:gd name="connsiteX17586" fmla="*/ 5927180 w 8079933"/>
              <a:gd name="connsiteY17586" fmla="*/ 1623409 h 4687251"/>
              <a:gd name="connsiteX17587" fmla="*/ 5928699 w 8079933"/>
              <a:gd name="connsiteY17587" fmla="*/ 1621352 h 4687251"/>
              <a:gd name="connsiteX17588" fmla="*/ 5936621 w 8079933"/>
              <a:gd name="connsiteY17588" fmla="*/ 1623517 h 4687251"/>
              <a:gd name="connsiteX17589" fmla="*/ 5939876 w 8079933"/>
              <a:gd name="connsiteY17589" fmla="*/ 1621785 h 4687251"/>
              <a:gd name="connsiteX17590" fmla="*/ 5942264 w 8079933"/>
              <a:gd name="connsiteY17590" fmla="*/ 1615614 h 4687251"/>
              <a:gd name="connsiteX17591" fmla="*/ 5946062 w 8079933"/>
              <a:gd name="connsiteY17591" fmla="*/ 1614098 h 4687251"/>
              <a:gd name="connsiteX17592" fmla="*/ 5954525 w 8079933"/>
              <a:gd name="connsiteY17592" fmla="*/ 1613015 h 4687251"/>
              <a:gd name="connsiteX17593" fmla="*/ 5959192 w 8079933"/>
              <a:gd name="connsiteY17593" fmla="*/ 1611824 h 4687251"/>
              <a:gd name="connsiteX17594" fmla="*/ 5963099 w 8079933"/>
              <a:gd name="connsiteY17594" fmla="*/ 1611716 h 4687251"/>
              <a:gd name="connsiteX17595" fmla="*/ 5968633 w 8079933"/>
              <a:gd name="connsiteY17595" fmla="*/ 1612040 h 4687251"/>
              <a:gd name="connsiteX17596" fmla="*/ 5972322 w 8079933"/>
              <a:gd name="connsiteY17596" fmla="*/ 1609767 h 4687251"/>
              <a:gd name="connsiteX17597" fmla="*/ 5973516 w 8079933"/>
              <a:gd name="connsiteY17597" fmla="*/ 1609983 h 4687251"/>
              <a:gd name="connsiteX17598" fmla="*/ 5974667 w 8079933"/>
              <a:gd name="connsiteY17598" fmla="*/ 1611514 h 4687251"/>
              <a:gd name="connsiteX17599" fmla="*/ 5972755 w 8079933"/>
              <a:gd name="connsiteY17599" fmla="*/ 1608901 h 4687251"/>
              <a:gd name="connsiteX17600" fmla="*/ 5246236 w 8079933"/>
              <a:gd name="connsiteY17600" fmla="*/ 1607959 h 4687251"/>
              <a:gd name="connsiteX17601" fmla="*/ 5246236 w 8079933"/>
              <a:gd name="connsiteY17601" fmla="*/ 1609551 h 4687251"/>
              <a:gd name="connsiteX17602" fmla="*/ 5249818 w 8079933"/>
              <a:gd name="connsiteY17602" fmla="*/ 1609551 h 4687251"/>
              <a:gd name="connsiteX17603" fmla="*/ 5250784 w 8079933"/>
              <a:gd name="connsiteY17603" fmla="*/ 1614020 h 4687251"/>
              <a:gd name="connsiteX17604" fmla="*/ 5250902 w 8079933"/>
              <a:gd name="connsiteY17604" fmla="*/ 1613881 h 4687251"/>
              <a:gd name="connsiteX17605" fmla="*/ 5249600 w 8079933"/>
              <a:gd name="connsiteY17605" fmla="*/ 1608468 h 4687251"/>
              <a:gd name="connsiteX17606" fmla="*/ 6848604 w 8079933"/>
              <a:gd name="connsiteY17606" fmla="*/ 1606417 h 4687251"/>
              <a:gd name="connsiteX17607" fmla="*/ 6848702 w 8079933"/>
              <a:gd name="connsiteY17607" fmla="*/ 1606842 h 4687251"/>
              <a:gd name="connsiteX17608" fmla="*/ 6849877 w 8079933"/>
              <a:gd name="connsiteY17608" fmla="*/ 1610092 h 4687251"/>
              <a:gd name="connsiteX17609" fmla="*/ 6849896 w 8079933"/>
              <a:gd name="connsiteY17609" fmla="*/ 1609984 h 4687251"/>
              <a:gd name="connsiteX17610" fmla="*/ 6244814 w 8079933"/>
              <a:gd name="connsiteY17610" fmla="*/ 1602663 h 4687251"/>
              <a:gd name="connsiteX17611" fmla="*/ 6239056 w 8079933"/>
              <a:gd name="connsiteY17611" fmla="*/ 1603055 h 4687251"/>
              <a:gd name="connsiteX17612" fmla="*/ 6238783 w 8079933"/>
              <a:gd name="connsiteY17612" fmla="*/ 1603141 h 4687251"/>
              <a:gd name="connsiteX17613" fmla="*/ 6843554 w 8079933"/>
              <a:gd name="connsiteY17613" fmla="*/ 1601863 h 4687251"/>
              <a:gd name="connsiteX17614" fmla="*/ 6843710 w 8079933"/>
              <a:gd name="connsiteY17614" fmla="*/ 1602836 h 4687251"/>
              <a:gd name="connsiteX17615" fmla="*/ 6847683 w 8079933"/>
              <a:gd name="connsiteY17615" fmla="*/ 1602622 h 4687251"/>
              <a:gd name="connsiteX17616" fmla="*/ 6847508 w 8079933"/>
              <a:gd name="connsiteY17616" fmla="*/ 1601863 h 4687251"/>
              <a:gd name="connsiteX17617" fmla="*/ 6287211 w 8079933"/>
              <a:gd name="connsiteY17617" fmla="*/ 1601430 h 4687251"/>
              <a:gd name="connsiteX17618" fmla="*/ 6291687 w 8079933"/>
              <a:gd name="connsiteY17618" fmla="*/ 1607926 h 4687251"/>
              <a:gd name="connsiteX17619" fmla="*/ 6292115 w 8079933"/>
              <a:gd name="connsiteY17619" fmla="*/ 1608091 h 4687251"/>
              <a:gd name="connsiteX17620" fmla="*/ 6287454 w 8079933"/>
              <a:gd name="connsiteY17620" fmla="*/ 1601430 h 4687251"/>
              <a:gd name="connsiteX17621" fmla="*/ 6178843 w 8079933"/>
              <a:gd name="connsiteY17621" fmla="*/ 1600023 h 4687251"/>
              <a:gd name="connsiteX17622" fmla="*/ 6181204 w 8079933"/>
              <a:gd name="connsiteY17622" fmla="*/ 1600110 h 4687251"/>
              <a:gd name="connsiteX17623" fmla="*/ 6181108 w 8079933"/>
              <a:gd name="connsiteY17623" fmla="*/ 1600023 h 4687251"/>
              <a:gd name="connsiteX17624" fmla="*/ 4434843 w 8079933"/>
              <a:gd name="connsiteY17624" fmla="*/ 1598808 h 4687251"/>
              <a:gd name="connsiteX17625" fmla="*/ 4434858 w 8079933"/>
              <a:gd name="connsiteY17625" fmla="*/ 1598831 h 4687251"/>
              <a:gd name="connsiteX17626" fmla="*/ 4438438 w 8079933"/>
              <a:gd name="connsiteY17626" fmla="*/ 1609767 h 4687251"/>
              <a:gd name="connsiteX17627" fmla="*/ 4441694 w 8079933"/>
              <a:gd name="connsiteY17627" fmla="*/ 1614747 h 4687251"/>
              <a:gd name="connsiteX17628" fmla="*/ 4442779 w 8079933"/>
              <a:gd name="connsiteY17628" fmla="*/ 1620594 h 4687251"/>
              <a:gd name="connsiteX17629" fmla="*/ 4445492 w 8079933"/>
              <a:gd name="connsiteY17629" fmla="*/ 1623084 h 4687251"/>
              <a:gd name="connsiteX17630" fmla="*/ 4445709 w 8079933"/>
              <a:gd name="connsiteY17630" fmla="*/ 1638025 h 4687251"/>
              <a:gd name="connsiteX17631" fmla="*/ 4445710 w 8079933"/>
              <a:gd name="connsiteY17631" fmla="*/ 1638024 h 4687251"/>
              <a:gd name="connsiteX17632" fmla="*/ 4445493 w 8079933"/>
              <a:gd name="connsiteY17632" fmla="*/ 1623083 h 4687251"/>
              <a:gd name="connsiteX17633" fmla="*/ 4442780 w 8079933"/>
              <a:gd name="connsiteY17633" fmla="*/ 1620593 h 4687251"/>
              <a:gd name="connsiteX17634" fmla="*/ 4441695 w 8079933"/>
              <a:gd name="connsiteY17634" fmla="*/ 1614747 h 4687251"/>
              <a:gd name="connsiteX17635" fmla="*/ 4438440 w 8079933"/>
              <a:gd name="connsiteY17635" fmla="*/ 1609766 h 4687251"/>
              <a:gd name="connsiteX17636" fmla="*/ 4434858 w 8079933"/>
              <a:gd name="connsiteY17636" fmla="*/ 1598831 h 4687251"/>
              <a:gd name="connsiteX17637" fmla="*/ 7349072 w 8079933"/>
              <a:gd name="connsiteY17637" fmla="*/ 1598290 h 4687251"/>
              <a:gd name="connsiteX17638" fmla="*/ 7350700 w 8079933"/>
              <a:gd name="connsiteY17638" fmla="*/ 1598615 h 4687251"/>
              <a:gd name="connsiteX17639" fmla="*/ 7350049 w 8079933"/>
              <a:gd name="connsiteY17639" fmla="*/ 1606410 h 4687251"/>
              <a:gd name="connsiteX17640" fmla="*/ 7348205 w 8079933"/>
              <a:gd name="connsiteY17640" fmla="*/ 1609008 h 4687251"/>
              <a:gd name="connsiteX17641" fmla="*/ 7346577 w 8079933"/>
              <a:gd name="connsiteY17641" fmla="*/ 1608467 h 4687251"/>
              <a:gd name="connsiteX17642" fmla="*/ 7348639 w 8079933"/>
              <a:gd name="connsiteY17642" fmla="*/ 1602296 h 4687251"/>
              <a:gd name="connsiteX17643" fmla="*/ 6265642 w 8079933"/>
              <a:gd name="connsiteY17643" fmla="*/ 1597749 h 4687251"/>
              <a:gd name="connsiteX17644" fmla="*/ 6265552 w 8079933"/>
              <a:gd name="connsiteY17644" fmla="*/ 1597776 h 4687251"/>
              <a:gd name="connsiteX17645" fmla="*/ 6269408 w 8079933"/>
              <a:gd name="connsiteY17645" fmla="*/ 1599853 h 4687251"/>
              <a:gd name="connsiteX17646" fmla="*/ 6843494 w 8079933"/>
              <a:gd name="connsiteY17646" fmla="*/ 1596403 h 4687251"/>
              <a:gd name="connsiteX17647" fmla="*/ 6843168 w 8079933"/>
              <a:gd name="connsiteY17647" fmla="*/ 1596882 h 4687251"/>
              <a:gd name="connsiteX17648" fmla="*/ 6843276 w 8079933"/>
              <a:gd name="connsiteY17648" fmla="*/ 1600130 h 4687251"/>
              <a:gd name="connsiteX17649" fmla="*/ 6843494 w 8079933"/>
              <a:gd name="connsiteY17649" fmla="*/ 1601490 h 4687251"/>
              <a:gd name="connsiteX17650" fmla="*/ 6843494 w 8079933"/>
              <a:gd name="connsiteY17650" fmla="*/ 1599157 h 4687251"/>
              <a:gd name="connsiteX17651" fmla="*/ 4438981 w 8079933"/>
              <a:gd name="connsiteY17651" fmla="*/ 1593310 h 4687251"/>
              <a:gd name="connsiteX17652" fmla="*/ 4438981 w 8079933"/>
              <a:gd name="connsiteY17652" fmla="*/ 1593310 h 4687251"/>
              <a:gd name="connsiteX17653" fmla="*/ 4437555 w 8079933"/>
              <a:gd name="connsiteY17653" fmla="*/ 1594298 h 4687251"/>
              <a:gd name="connsiteX17654" fmla="*/ 2221443 w 8079933"/>
              <a:gd name="connsiteY17654" fmla="*/ 1592552 h 4687251"/>
              <a:gd name="connsiteX17655" fmla="*/ 2222637 w 8079933"/>
              <a:gd name="connsiteY17655" fmla="*/ 1596342 h 4687251"/>
              <a:gd name="connsiteX17656" fmla="*/ 2217320 w 8079933"/>
              <a:gd name="connsiteY17656" fmla="*/ 1599265 h 4687251"/>
              <a:gd name="connsiteX17657" fmla="*/ 2214715 w 8079933"/>
              <a:gd name="connsiteY17657" fmla="*/ 1598507 h 4687251"/>
              <a:gd name="connsiteX17658" fmla="*/ 2216343 w 8079933"/>
              <a:gd name="connsiteY17658" fmla="*/ 1594717 h 4687251"/>
              <a:gd name="connsiteX17659" fmla="*/ 2219815 w 8079933"/>
              <a:gd name="connsiteY17659" fmla="*/ 1593960 h 4687251"/>
              <a:gd name="connsiteX17660" fmla="*/ 6845555 w 8079933"/>
              <a:gd name="connsiteY17660" fmla="*/ 1592030 h 4687251"/>
              <a:gd name="connsiteX17661" fmla="*/ 6845326 w 8079933"/>
              <a:gd name="connsiteY17661" fmla="*/ 1593311 h 4687251"/>
              <a:gd name="connsiteX17662" fmla="*/ 6845555 w 8079933"/>
              <a:gd name="connsiteY17662" fmla="*/ 1592985 h 4687251"/>
              <a:gd name="connsiteX17663" fmla="*/ 6516571 w 8079933"/>
              <a:gd name="connsiteY17663" fmla="*/ 1591722 h 4687251"/>
              <a:gd name="connsiteX17664" fmla="*/ 6516967 w 8079933"/>
              <a:gd name="connsiteY17664" fmla="*/ 1592119 h 4687251"/>
              <a:gd name="connsiteX17665" fmla="*/ 6516967 w 8079933"/>
              <a:gd name="connsiteY17665" fmla="*/ 1592118 h 4687251"/>
              <a:gd name="connsiteX17666" fmla="*/ 4460032 w 8079933"/>
              <a:gd name="connsiteY17666" fmla="*/ 1590603 h 4687251"/>
              <a:gd name="connsiteX17667" fmla="*/ 4454420 w 8079933"/>
              <a:gd name="connsiteY17667" fmla="*/ 1593354 h 4687251"/>
              <a:gd name="connsiteX17668" fmla="*/ 4460033 w 8079933"/>
              <a:gd name="connsiteY17668" fmla="*/ 1590603 h 4687251"/>
              <a:gd name="connsiteX17669" fmla="*/ 6514391 w 8079933"/>
              <a:gd name="connsiteY17669" fmla="*/ 1589335 h 4687251"/>
              <a:gd name="connsiteX17670" fmla="*/ 6516533 w 8079933"/>
              <a:gd name="connsiteY17670" fmla="*/ 1591685 h 4687251"/>
              <a:gd name="connsiteX17671" fmla="*/ 6516618 w 8079933"/>
              <a:gd name="connsiteY17671" fmla="*/ 1591661 h 4687251"/>
              <a:gd name="connsiteX17672" fmla="*/ 7353087 w 8079933"/>
              <a:gd name="connsiteY17672" fmla="*/ 1587788 h 4687251"/>
              <a:gd name="connsiteX17673" fmla="*/ 7355475 w 8079933"/>
              <a:gd name="connsiteY17673" fmla="*/ 1588763 h 4687251"/>
              <a:gd name="connsiteX17674" fmla="*/ 7354824 w 8079933"/>
              <a:gd name="connsiteY17674" fmla="*/ 1591253 h 4687251"/>
              <a:gd name="connsiteX17675" fmla="*/ 7352654 w 8079933"/>
              <a:gd name="connsiteY17675" fmla="*/ 1590603 h 4687251"/>
              <a:gd name="connsiteX17676" fmla="*/ 7352111 w 8079933"/>
              <a:gd name="connsiteY17676" fmla="*/ 1588871 h 4687251"/>
              <a:gd name="connsiteX17677" fmla="*/ 4610075 w 8079933"/>
              <a:gd name="connsiteY17677" fmla="*/ 1586667 h 4687251"/>
              <a:gd name="connsiteX17678" fmla="*/ 4610113 w 8079933"/>
              <a:gd name="connsiteY17678" fmla="*/ 1586813 h 4687251"/>
              <a:gd name="connsiteX17679" fmla="*/ 4615833 w 8079933"/>
              <a:gd name="connsiteY17679" fmla="*/ 1588278 h 4687251"/>
              <a:gd name="connsiteX17680" fmla="*/ 4615646 w 8079933"/>
              <a:gd name="connsiteY17680" fmla="*/ 1588114 h 4687251"/>
              <a:gd name="connsiteX17681" fmla="*/ 5273149 w 8079933"/>
              <a:gd name="connsiteY17681" fmla="*/ 1583607 h 4687251"/>
              <a:gd name="connsiteX17682" fmla="*/ 5273149 w 8079933"/>
              <a:gd name="connsiteY17682" fmla="*/ 1588005 h 4687251"/>
              <a:gd name="connsiteX17683" fmla="*/ 5272716 w 8079933"/>
              <a:gd name="connsiteY17683" fmla="*/ 1588827 h 4687251"/>
              <a:gd name="connsiteX17684" fmla="*/ 5273257 w 8079933"/>
              <a:gd name="connsiteY17684" fmla="*/ 1588438 h 4687251"/>
              <a:gd name="connsiteX17685" fmla="*/ 5273365 w 8079933"/>
              <a:gd name="connsiteY17685" fmla="*/ 1583673 h 4687251"/>
              <a:gd name="connsiteX17686" fmla="*/ 4461769 w 8079933"/>
              <a:gd name="connsiteY17686" fmla="*/ 1583349 h 4687251"/>
              <a:gd name="connsiteX17687" fmla="*/ 4464156 w 8079933"/>
              <a:gd name="connsiteY17687" fmla="*/ 1590278 h 4687251"/>
              <a:gd name="connsiteX17688" fmla="*/ 4464158 w 8079933"/>
              <a:gd name="connsiteY17688" fmla="*/ 1590277 h 4687251"/>
              <a:gd name="connsiteX17689" fmla="*/ 4461771 w 8079933"/>
              <a:gd name="connsiteY17689" fmla="*/ 1583349 h 4687251"/>
              <a:gd name="connsiteX17690" fmla="*/ 3844636 w 8079933"/>
              <a:gd name="connsiteY17690" fmla="*/ 1583133 h 4687251"/>
              <a:gd name="connsiteX17691" fmla="*/ 3843768 w 8079933"/>
              <a:gd name="connsiteY17691" fmla="*/ 1587139 h 4687251"/>
              <a:gd name="connsiteX17692" fmla="*/ 3844636 w 8079933"/>
              <a:gd name="connsiteY17692" fmla="*/ 1589629 h 4687251"/>
              <a:gd name="connsiteX17693" fmla="*/ 3838993 w 8079933"/>
              <a:gd name="connsiteY17693" fmla="*/ 1595367 h 4687251"/>
              <a:gd name="connsiteX17694" fmla="*/ 3834978 w 8079933"/>
              <a:gd name="connsiteY17694" fmla="*/ 1596017 h 4687251"/>
              <a:gd name="connsiteX17695" fmla="*/ 3836823 w 8079933"/>
              <a:gd name="connsiteY17695" fmla="*/ 1589845 h 4687251"/>
              <a:gd name="connsiteX17696" fmla="*/ 7356452 w 8079933"/>
              <a:gd name="connsiteY17696" fmla="*/ 1580642 h 4687251"/>
              <a:gd name="connsiteX17697" fmla="*/ 7358948 w 8079933"/>
              <a:gd name="connsiteY17697" fmla="*/ 1580750 h 4687251"/>
              <a:gd name="connsiteX17698" fmla="*/ 7357320 w 8079933"/>
              <a:gd name="connsiteY17698" fmla="*/ 1583565 h 4687251"/>
              <a:gd name="connsiteX17699" fmla="*/ 1191946 w 8079933"/>
              <a:gd name="connsiteY17699" fmla="*/ 1579775 h 4687251"/>
              <a:gd name="connsiteX17700" fmla="*/ 1197047 w 8079933"/>
              <a:gd name="connsiteY17700" fmla="*/ 1583781 h 4687251"/>
              <a:gd name="connsiteX17701" fmla="*/ 1201387 w 8079933"/>
              <a:gd name="connsiteY17701" fmla="*/ 1589952 h 4687251"/>
              <a:gd name="connsiteX17702" fmla="*/ 1199977 w 8079933"/>
              <a:gd name="connsiteY17702" fmla="*/ 1592334 h 4687251"/>
              <a:gd name="connsiteX17703" fmla="*/ 1193139 w 8079933"/>
              <a:gd name="connsiteY17703" fmla="*/ 1586163 h 4687251"/>
              <a:gd name="connsiteX17704" fmla="*/ 4471102 w 8079933"/>
              <a:gd name="connsiteY17704" fmla="*/ 1576745 h 4687251"/>
              <a:gd name="connsiteX17705" fmla="*/ 4471101 w 8079933"/>
              <a:gd name="connsiteY17705" fmla="*/ 1576745 h 4687251"/>
              <a:gd name="connsiteX17706" fmla="*/ 4468714 w 8079933"/>
              <a:gd name="connsiteY17706" fmla="*/ 1583024 h 4687251"/>
              <a:gd name="connsiteX17707" fmla="*/ 4468715 w 8079933"/>
              <a:gd name="connsiteY17707" fmla="*/ 1583024 h 4687251"/>
              <a:gd name="connsiteX17708" fmla="*/ 5246996 w 8079933"/>
              <a:gd name="connsiteY17708" fmla="*/ 1576183 h 4687251"/>
              <a:gd name="connsiteX17709" fmla="*/ 5246996 w 8079933"/>
              <a:gd name="connsiteY17709" fmla="*/ 1578261 h 4687251"/>
              <a:gd name="connsiteX17710" fmla="*/ 5247355 w 8079933"/>
              <a:gd name="connsiteY17710" fmla="*/ 1578261 h 4687251"/>
              <a:gd name="connsiteX17711" fmla="*/ 6569970 w 8079933"/>
              <a:gd name="connsiteY17711" fmla="*/ 1575832 h 4687251"/>
              <a:gd name="connsiteX17712" fmla="*/ 6566342 w 8079933"/>
              <a:gd name="connsiteY17712" fmla="*/ 1579451 h 4687251"/>
              <a:gd name="connsiteX17713" fmla="*/ 6557769 w 8079933"/>
              <a:gd name="connsiteY17713" fmla="*/ 1580967 h 4687251"/>
              <a:gd name="connsiteX17714" fmla="*/ 6552343 w 8079933"/>
              <a:gd name="connsiteY17714" fmla="*/ 1584757 h 4687251"/>
              <a:gd name="connsiteX17715" fmla="*/ 6540949 w 8079933"/>
              <a:gd name="connsiteY17715" fmla="*/ 1595585 h 4687251"/>
              <a:gd name="connsiteX17716" fmla="*/ 6538236 w 8079933"/>
              <a:gd name="connsiteY17716" fmla="*/ 1595585 h 4687251"/>
              <a:gd name="connsiteX17717" fmla="*/ 6534763 w 8079933"/>
              <a:gd name="connsiteY17717" fmla="*/ 1592661 h 4687251"/>
              <a:gd name="connsiteX17718" fmla="*/ 6527818 w 8079933"/>
              <a:gd name="connsiteY17718" fmla="*/ 1591686 h 4687251"/>
              <a:gd name="connsiteX17719" fmla="*/ 6523477 w 8079933"/>
              <a:gd name="connsiteY17719" fmla="*/ 1592444 h 4687251"/>
              <a:gd name="connsiteX17720" fmla="*/ 6522718 w 8079933"/>
              <a:gd name="connsiteY17720" fmla="*/ 1590820 h 4687251"/>
              <a:gd name="connsiteX17721" fmla="*/ 6519355 w 8079933"/>
              <a:gd name="connsiteY17721" fmla="*/ 1590820 h 4687251"/>
              <a:gd name="connsiteX17722" fmla="*/ 6517435 w 8079933"/>
              <a:gd name="connsiteY17722" fmla="*/ 1591433 h 4687251"/>
              <a:gd name="connsiteX17723" fmla="*/ 6519246 w 8079933"/>
              <a:gd name="connsiteY17723" fmla="*/ 1590927 h 4687251"/>
              <a:gd name="connsiteX17724" fmla="*/ 6522610 w 8079933"/>
              <a:gd name="connsiteY17724" fmla="*/ 1591360 h 4687251"/>
              <a:gd name="connsiteX17725" fmla="*/ 6523369 w 8079933"/>
              <a:gd name="connsiteY17725" fmla="*/ 1592984 h 4687251"/>
              <a:gd name="connsiteX17726" fmla="*/ 6527709 w 8079933"/>
              <a:gd name="connsiteY17726" fmla="*/ 1592226 h 4687251"/>
              <a:gd name="connsiteX17727" fmla="*/ 6534764 w 8079933"/>
              <a:gd name="connsiteY17727" fmla="*/ 1593201 h 4687251"/>
              <a:gd name="connsiteX17728" fmla="*/ 6538127 w 8079933"/>
              <a:gd name="connsiteY17728" fmla="*/ 1596124 h 4687251"/>
              <a:gd name="connsiteX17729" fmla="*/ 6540840 w 8079933"/>
              <a:gd name="connsiteY17729" fmla="*/ 1595691 h 4687251"/>
              <a:gd name="connsiteX17730" fmla="*/ 6552234 w 8079933"/>
              <a:gd name="connsiteY17730" fmla="*/ 1584864 h 4687251"/>
              <a:gd name="connsiteX17731" fmla="*/ 6557660 w 8079933"/>
              <a:gd name="connsiteY17731" fmla="*/ 1581074 h 4687251"/>
              <a:gd name="connsiteX17732" fmla="*/ 6566234 w 8079933"/>
              <a:gd name="connsiteY17732" fmla="*/ 1579667 h 4687251"/>
              <a:gd name="connsiteX17733" fmla="*/ 6569923 w 8079933"/>
              <a:gd name="connsiteY17733" fmla="*/ 1575985 h 4687251"/>
              <a:gd name="connsiteX17734" fmla="*/ 4212941 w 8079933"/>
              <a:gd name="connsiteY17734" fmla="*/ 1573929 h 4687251"/>
              <a:gd name="connsiteX17735" fmla="*/ 4214569 w 8079933"/>
              <a:gd name="connsiteY17735" fmla="*/ 1574795 h 4687251"/>
              <a:gd name="connsiteX17736" fmla="*/ 4216196 w 8079933"/>
              <a:gd name="connsiteY17736" fmla="*/ 1573929 h 4687251"/>
              <a:gd name="connsiteX17737" fmla="*/ 4219669 w 8079933"/>
              <a:gd name="connsiteY17737" fmla="*/ 1574687 h 4687251"/>
              <a:gd name="connsiteX17738" fmla="*/ 4218692 w 8079933"/>
              <a:gd name="connsiteY17738" fmla="*/ 1578585 h 4687251"/>
              <a:gd name="connsiteX17739" fmla="*/ 4220754 w 8079933"/>
              <a:gd name="connsiteY17739" fmla="*/ 1582266 h 4687251"/>
              <a:gd name="connsiteX17740" fmla="*/ 4220428 w 8079933"/>
              <a:gd name="connsiteY17740" fmla="*/ 1584432 h 4687251"/>
              <a:gd name="connsiteX17741" fmla="*/ 4217498 w 8079933"/>
              <a:gd name="connsiteY17741" fmla="*/ 1583566 h 4687251"/>
              <a:gd name="connsiteX17742" fmla="*/ 4214460 w 8079933"/>
              <a:gd name="connsiteY17742" fmla="*/ 1587789 h 4687251"/>
              <a:gd name="connsiteX17743" fmla="*/ 4209577 w 8079933"/>
              <a:gd name="connsiteY17743" fmla="*/ 1586164 h 4687251"/>
              <a:gd name="connsiteX17744" fmla="*/ 4208275 w 8079933"/>
              <a:gd name="connsiteY17744" fmla="*/ 1584432 h 4687251"/>
              <a:gd name="connsiteX17745" fmla="*/ 4209360 w 8079933"/>
              <a:gd name="connsiteY17745" fmla="*/ 1581076 h 4687251"/>
              <a:gd name="connsiteX17746" fmla="*/ 4212290 w 8079933"/>
              <a:gd name="connsiteY17746" fmla="*/ 1579343 h 4687251"/>
              <a:gd name="connsiteX17747" fmla="*/ 4213267 w 8079933"/>
              <a:gd name="connsiteY17747" fmla="*/ 1578043 h 4687251"/>
              <a:gd name="connsiteX17748" fmla="*/ 4209577 w 8079933"/>
              <a:gd name="connsiteY17748" fmla="*/ 1577719 h 4687251"/>
              <a:gd name="connsiteX17749" fmla="*/ 4209360 w 8079933"/>
              <a:gd name="connsiteY17749" fmla="*/ 1574795 h 4687251"/>
              <a:gd name="connsiteX17750" fmla="*/ 5249058 w 8079933"/>
              <a:gd name="connsiteY17750" fmla="*/ 1573281 h 4687251"/>
              <a:gd name="connsiteX17751" fmla="*/ 5246996 w 8079933"/>
              <a:gd name="connsiteY17751" fmla="*/ 1575121 h 4687251"/>
              <a:gd name="connsiteX17752" fmla="*/ 5246996 w 8079933"/>
              <a:gd name="connsiteY17752" fmla="*/ 1575456 h 4687251"/>
              <a:gd name="connsiteX17753" fmla="*/ 5248949 w 8079933"/>
              <a:gd name="connsiteY17753" fmla="*/ 1573713 h 4687251"/>
              <a:gd name="connsiteX17754" fmla="*/ 5255352 w 8079933"/>
              <a:gd name="connsiteY17754" fmla="*/ 1573496 h 4687251"/>
              <a:gd name="connsiteX17755" fmla="*/ 5255271 w 8079933"/>
              <a:gd name="connsiteY17755" fmla="*/ 1573281 h 4687251"/>
              <a:gd name="connsiteX17756" fmla="*/ 7358080 w 8079933"/>
              <a:gd name="connsiteY17756" fmla="*/ 1570789 h 4687251"/>
              <a:gd name="connsiteX17757" fmla="*/ 7359057 w 8079933"/>
              <a:gd name="connsiteY17757" fmla="*/ 1573387 h 4687251"/>
              <a:gd name="connsiteX17758" fmla="*/ 7357755 w 8079933"/>
              <a:gd name="connsiteY17758" fmla="*/ 1576961 h 4687251"/>
              <a:gd name="connsiteX17759" fmla="*/ 7356452 w 8079933"/>
              <a:gd name="connsiteY17759" fmla="*/ 1573063 h 4687251"/>
              <a:gd name="connsiteX17760" fmla="*/ 6148736 w 8079933"/>
              <a:gd name="connsiteY17760" fmla="*/ 1569645 h 4687251"/>
              <a:gd name="connsiteX17761" fmla="*/ 6149313 w 8079933"/>
              <a:gd name="connsiteY17761" fmla="*/ 1569924 h 4687251"/>
              <a:gd name="connsiteX17762" fmla="*/ 6153437 w 8079933"/>
              <a:gd name="connsiteY17762" fmla="*/ 1570573 h 4687251"/>
              <a:gd name="connsiteX17763" fmla="*/ 6162723 w 8079933"/>
              <a:gd name="connsiteY17763" fmla="*/ 1570274 h 4687251"/>
              <a:gd name="connsiteX17764" fmla="*/ 6162659 w 8079933"/>
              <a:gd name="connsiteY17764" fmla="*/ 1570249 h 4687251"/>
              <a:gd name="connsiteX17765" fmla="*/ 6152568 w 8079933"/>
              <a:gd name="connsiteY17765" fmla="*/ 1570249 h 4687251"/>
              <a:gd name="connsiteX17766" fmla="*/ 6782339 w 8079933"/>
              <a:gd name="connsiteY17766" fmla="*/ 1568639 h 4687251"/>
              <a:gd name="connsiteX17767" fmla="*/ 6781964 w 8079933"/>
              <a:gd name="connsiteY17767" fmla="*/ 1569056 h 4687251"/>
              <a:gd name="connsiteX17768" fmla="*/ 6783483 w 8079933"/>
              <a:gd name="connsiteY17768" fmla="*/ 1570463 h 4687251"/>
              <a:gd name="connsiteX17769" fmla="*/ 6788800 w 8079933"/>
              <a:gd name="connsiteY17769" fmla="*/ 1570897 h 4687251"/>
              <a:gd name="connsiteX17770" fmla="*/ 6791188 w 8079933"/>
              <a:gd name="connsiteY17770" fmla="*/ 1572196 h 4687251"/>
              <a:gd name="connsiteX17771" fmla="*/ 6792816 w 8079933"/>
              <a:gd name="connsiteY17771" fmla="*/ 1574036 h 4687251"/>
              <a:gd name="connsiteX17772" fmla="*/ 6795746 w 8079933"/>
              <a:gd name="connsiteY17772" fmla="*/ 1575985 h 4687251"/>
              <a:gd name="connsiteX17773" fmla="*/ 6796397 w 8079933"/>
              <a:gd name="connsiteY17773" fmla="*/ 1574036 h 4687251"/>
              <a:gd name="connsiteX17774" fmla="*/ 6798784 w 8079933"/>
              <a:gd name="connsiteY17774" fmla="*/ 1573062 h 4687251"/>
              <a:gd name="connsiteX17775" fmla="*/ 6801280 w 8079933"/>
              <a:gd name="connsiteY17775" fmla="*/ 1573820 h 4687251"/>
              <a:gd name="connsiteX17776" fmla="*/ 6802257 w 8079933"/>
              <a:gd name="connsiteY17776" fmla="*/ 1570897 h 4687251"/>
              <a:gd name="connsiteX17777" fmla="*/ 6804644 w 8079933"/>
              <a:gd name="connsiteY17777" fmla="*/ 1570572 h 4687251"/>
              <a:gd name="connsiteX17778" fmla="*/ 6806489 w 8079933"/>
              <a:gd name="connsiteY17778" fmla="*/ 1572304 h 4687251"/>
              <a:gd name="connsiteX17779" fmla="*/ 6807466 w 8079933"/>
              <a:gd name="connsiteY17779" fmla="*/ 1575011 h 4687251"/>
              <a:gd name="connsiteX17780" fmla="*/ 6809853 w 8079933"/>
              <a:gd name="connsiteY17780" fmla="*/ 1577826 h 4687251"/>
              <a:gd name="connsiteX17781" fmla="*/ 6812458 w 8079933"/>
              <a:gd name="connsiteY17781" fmla="*/ 1578151 h 4687251"/>
              <a:gd name="connsiteX17782" fmla="*/ 6813217 w 8079933"/>
              <a:gd name="connsiteY17782" fmla="*/ 1580533 h 4687251"/>
              <a:gd name="connsiteX17783" fmla="*/ 6815714 w 8079933"/>
              <a:gd name="connsiteY17783" fmla="*/ 1582590 h 4687251"/>
              <a:gd name="connsiteX17784" fmla="*/ 6817015 w 8079933"/>
              <a:gd name="connsiteY17784" fmla="*/ 1582481 h 4687251"/>
              <a:gd name="connsiteX17785" fmla="*/ 6819185 w 8079933"/>
              <a:gd name="connsiteY17785" fmla="*/ 1584755 h 4687251"/>
              <a:gd name="connsiteX17786" fmla="*/ 6819728 w 8079933"/>
              <a:gd name="connsiteY17786" fmla="*/ 1587029 h 4687251"/>
              <a:gd name="connsiteX17787" fmla="*/ 6824937 w 8079933"/>
              <a:gd name="connsiteY17787" fmla="*/ 1589411 h 4687251"/>
              <a:gd name="connsiteX17788" fmla="*/ 6826130 w 8079933"/>
              <a:gd name="connsiteY17788" fmla="*/ 1590494 h 4687251"/>
              <a:gd name="connsiteX17789" fmla="*/ 6828409 w 8079933"/>
              <a:gd name="connsiteY17789" fmla="*/ 1590818 h 4687251"/>
              <a:gd name="connsiteX17790" fmla="*/ 6830905 w 8079933"/>
              <a:gd name="connsiteY17790" fmla="*/ 1592659 h 4687251"/>
              <a:gd name="connsiteX17791" fmla="*/ 6834161 w 8079933"/>
              <a:gd name="connsiteY17791" fmla="*/ 1593309 h 4687251"/>
              <a:gd name="connsiteX17792" fmla="*/ 6836657 w 8079933"/>
              <a:gd name="connsiteY17792" fmla="*/ 1592551 h 4687251"/>
              <a:gd name="connsiteX17793" fmla="*/ 6839478 w 8079933"/>
              <a:gd name="connsiteY17793" fmla="*/ 1592226 h 4687251"/>
              <a:gd name="connsiteX17794" fmla="*/ 6841974 w 8079933"/>
              <a:gd name="connsiteY17794" fmla="*/ 1590385 h 4687251"/>
              <a:gd name="connsiteX17795" fmla="*/ 6843927 w 8079933"/>
              <a:gd name="connsiteY17795" fmla="*/ 1589952 h 4687251"/>
              <a:gd name="connsiteX17796" fmla="*/ 6845555 w 8079933"/>
              <a:gd name="connsiteY17796" fmla="*/ 1590716 h 4687251"/>
              <a:gd name="connsiteX17797" fmla="*/ 6845555 w 8079933"/>
              <a:gd name="connsiteY17797" fmla="*/ 1589846 h 4687251"/>
              <a:gd name="connsiteX17798" fmla="*/ 6843710 w 8079933"/>
              <a:gd name="connsiteY17798" fmla="*/ 1588979 h 4687251"/>
              <a:gd name="connsiteX17799" fmla="*/ 6841865 w 8079933"/>
              <a:gd name="connsiteY17799" fmla="*/ 1588979 h 4687251"/>
              <a:gd name="connsiteX17800" fmla="*/ 6839370 w 8079933"/>
              <a:gd name="connsiteY17800" fmla="*/ 1590820 h 4687251"/>
              <a:gd name="connsiteX17801" fmla="*/ 6836548 w 8079933"/>
              <a:gd name="connsiteY17801" fmla="*/ 1590820 h 4687251"/>
              <a:gd name="connsiteX17802" fmla="*/ 6834053 w 8079933"/>
              <a:gd name="connsiteY17802" fmla="*/ 1591578 h 4687251"/>
              <a:gd name="connsiteX17803" fmla="*/ 6830796 w 8079933"/>
              <a:gd name="connsiteY17803" fmla="*/ 1590928 h 4687251"/>
              <a:gd name="connsiteX17804" fmla="*/ 6828410 w 8079933"/>
              <a:gd name="connsiteY17804" fmla="*/ 1588979 h 4687251"/>
              <a:gd name="connsiteX17805" fmla="*/ 6826130 w 8079933"/>
              <a:gd name="connsiteY17805" fmla="*/ 1588979 h 4687251"/>
              <a:gd name="connsiteX17806" fmla="*/ 6824937 w 8079933"/>
              <a:gd name="connsiteY17806" fmla="*/ 1587896 h 4687251"/>
              <a:gd name="connsiteX17807" fmla="*/ 6819728 w 8079933"/>
              <a:gd name="connsiteY17807" fmla="*/ 1585623 h 4687251"/>
              <a:gd name="connsiteX17808" fmla="*/ 6819077 w 8079933"/>
              <a:gd name="connsiteY17808" fmla="*/ 1583349 h 4687251"/>
              <a:gd name="connsiteX17809" fmla="*/ 6816907 w 8079933"/>
              <a:gd name="connsiteY17809" fmla="*/ 1581076 h 4687251"/>
              <a:gd name="connsiteX17810" fmla="*/ 6815604 w 8079933"/>
              <a:gd name="connsiteY17810" fmla="*/ 1581076 h 4687251"/>
              <a:gd name="connsiteX17811" fmla="*/ 6813108 w 8079933"/>
              <a:gd name="connsiteY17811" fmla="*/ 1579018 h 4687251"/>
              <a:gd name="connsiteX17812" fmla="*/ 6812349 w 8079933"/>
              <a:gd name="connsiteY17812" fmla="*/ 1576745 h 4687251"/>
              <a:gd name="connsiteX17813" fmla="*/ 6809744 w 8079933"/>
              <a:gd name="connsiteY17813" fmla="*/ 1576745 h 4687251"/>
              <a:gd name="connsiteX17814" fmla="*/ 6807248 w 8079933"/>
              <a:gd name="connsiteY17814" fmla="*/ 1573930 h 4687251"/>
              <a:gd name="connsiteX17815" fmla="*/ 6806272 w 8079933"/>
              <a:gd name="connsiteY17815" fmla="*/ 1571224 h 4687251"/>
              <a:gd name="connsiteX17816" fmla="*/ 6804428 w 8079933"/>
              <a:gd name="connsiteY17816" fmla="*/ 1569491 h 4687251"/>
              <a:gd name="connsiteX17817" fmla="*/ 6802040 w 8079933"/>
              <a:gd name="connsiteY17817" fmla="*/ 1569491 h 4687251"/>
              <a:gd name="connsiteX17818" fmla="*/ 6801063 w 8079933"/>
              <a:gd name="connsiteY17818" fmla="*/ 1572306 h 4687251"/>
              <a:gd name="connsiteX17819" fmla="*/ 6798567 w 8079933"/>
              <a:gd name="connsiteY17819" fmla="*/ 1571656 h 4687251"/>
              <a:gd name="connsiteX17820" fmla="*/ 6796180 w 8079933"/>
              <a:gd name="connsiteY17820" fmla="*/ 1572631 h 4687251"/>
              <a:gd name="connsiteX17821" fmla="*/ 6795529 w 8079933"/>
              <a:gd name="connsiteY17821" fmla="*/ 1574471 h 4687251"/>
              <a:gd name="connsiteX17822" fmla="*/ 6792599 w 8079933"/>
              <a:gd name="connsiteY17822" fmla="*/ 1572631 h 4687251"/>
              <a:gd name="connsiteX17823" fmla="*/ 6791080 w 8079933"/>
              <a:gd name="connsiteY17823" fmla="*/ 1570790 h 4687251"/>
              <a:gd name="connsiteX17824" fmla="*/ 6788692 w 8079933"/>
              <a:gd name="connsiteY17824" fmla="*/ 1569599 h 4687251"/>
              <a:gd name="connsiteX17825" fmla="*/ 6783375 w 8079933"/>
              <a:gd name="connsiteY17825" fmla="*/ 1569599 h 4687251"/>
              <a:gd name="connsiteX17826" fmla="*/ 4131652 w 8079933"/>
              <a:gd name="connsiteY17826" fmla="*/ 1568558 h 4687251"/>
              <a:gd name="connsiteX17827" fmla="*/ 4129817 w 8079933"/>
              <a:gd name="connsiteY17827" fmla="*/ 1568840 h 4687251"/>
              <a:gd name="connsiteX17828" fmla="*/ 4129818 w 8079933"/>
              <a:gd name="connsiteY17828" fmla="*/ 1568840 h 4687251"/>
              <a:gd name="connsiteX17829" fmla="*/ 6139502 w 8079933"/>
              <a:gd name="connsiteY17829" fmla="*/ 1567389 h 4687251"/>
              <a:gd name="connsiteX17830" fmla="*/ 6139763 w 8079933"/>
              <a:gd name="connsiteY17830" fmla="*/ 1567649 h 4687251"/>
              <a:gd name="connsiteX17831" fmla="*/ 6145697 w 8079933"/>
              <a:gd name="connsiteY17831" fmla="*/ 1568273 h 4687251"/>
              <a:gd name="connsiteX17832" fmla="*/ 6145080 w 8079933"/>
              <a:gd name="connsiteY17832" fmla="*/ 1567975 h 4687251"/>
              <a:gd name="connsiteX17833" fmla="*/ 4149460 w 8079933"/>
              <a:gd name="connsiteY17833" fmla="*/ 1566458 h 4687251"/>
              <a:gd name="connsiteX17834" fmla="*/ 4154668 w 8079933"/>
              <a:gd name="connsiteY17834" fmla="*/ 1568407 h 4687251"/>
              <a:gd name="connsiteX17835" fmla="*/ 4153041 w 8079933"/>
              <a:gd name="connsiteY17835" fmla="*/ 1570031 h 4687251"/>
              <a:gd name="connsiteX17836" fmla="*/ 6085504 w 8079933"/>
              <a:gd name="connsiteY17836" fmla="*/ 1566135 h 4687251"/>
              <a:gd name="connsiteX17837" fmla="*/ 6081598 w 8079933"/>
              <a:gd name="connsiteY17837" fmla="*/ 1567542 h 4687251"/>
              <a:gd name="connsiteX17838" fmla="*/ 6079211 w 8079933"/>
              <a:gd name="connsiteY17838" fmla="*/ 1571548 h 4687251"/>
              <a:gd name="connsiteX17839" fmla="*/ 6079211 w 8079933"/>
              <a:gd name="connsiteY17839" fmla="*/ 1575121 h 4687251"/>
              <a:gd name="connsiteX17840" fmla="*/ 6074328 w 8079933"/>
              <a:gd name="connsiteY17840" fmla="*/ 1580643 h 4687251"/>
              <a:gd name="connsiteX17841" fmla="*/ 6074328 w 8079933"/>
              <a:gd name="connsiteY17841" fmla="*/ 1592336 h 4687251"/>
              <a:gd name="connsiteX17842" fmla="*/ 6076064 w 8079933"/>
              <a:gd name="connsiteY17842" fmla="*/ 1598183 h 4687251"/>
              <a:gd name="connsiteX17843" fmla="*/ 6083117 w 8079933"/>
              <a:gd name="connsiteY17843" fmla="*/ 1600023 h 4687251"/>
              <a:gd name="connsiteX17844" fmla="*/ 6085504 w 8079933"/>
              <a:gd name="connsiteY17844" fmla="*/ 1603163 h 4687251"/>
              <a:gd name="connsiteX17845" fmla="*/ 6089954 w 8079933"/>
              <a:gd name="connsiteY17845" fmla="*/ 1604679 h 4687251"/>
              <a:gd name="connsiteX17846" fmla="*/ 6090822 w 8079933"/>
              <a:gd name="connsiteY17846" fmla="*/ 1607818 h 4687251"/>
              <a:gd name="connsiteX17847" fmla="*/ 6089411 w 8079933"/>
              <a:gd name="connsiteY17847" fmla="*/ 1615506 h 4687251"/>
              <a:gd name="connsiteX17848" fmla="*/ 6089411 w 8079933"/>
              <a:gd name="connsiteY17848" fmla="*/ 1622760 h 4687251"/>
              <a:gd name="connsiteX17849" fmla="*/ 6094185 w 8079933"/>
              <a:gd name="connsiteY17849" fmla="*/ 1626008 h 4687251"/>
              <a:gd name="connsiteX17850" fmla="*/ 6096791 w 8079933"/>
              <a:gd name="connsiteY17850" fmla="*/ 1628932 h 4687251"/>
              <a:gd name="connsiteX17851" fmla="*/ 6092441 w 8079933"/>
              <a:gd name="connsiteY17851" fmla="*/ 1636022 h 4687251"/>
              <a:gd name="connsiteX17852" fmla="*/ 6092884 w 8079933"/>
              <a:gd name="connsiteY17852" fmla="*/ 1635968 h 4687251"/>
              <a:gd name="connsiteX17853" fmla="*/ 6097334 w 8079933"/>
              <a:gd name="connsiteY17853" fmla="*/ 1628714 h 4687251"/>
              <a:gd name="connsiteX17854" fmla="*/ 6094729 w 8079933"/>
              <a:gd name="connsiteY17854" fmla="*/ 1625791 h 4687251"/>
              <a:gd name="connsiteX17855" fmla="*/ 6089955 w 8079933"/>
              <a:gd name="connsiteY17855" fmla="*/ 1622543 h 4687251"/>
              <a:gd name="connsiteX17856" fmla="*/ 6090172 w 8079933"/>
              <a:gd name="connsiteY17856" fmla="*/ 1615289 h 4687251"/>
              <a:gd name="connsiteX17857" fmla="*/ 6091474 w 8079933"/>
              <a:gd name="connsiteY17857" fmla="*/ 1607602 h 4687251"/>
              <a:gd name="connsiteX17858" fmla="*/ 6090606 w 8079933"/>
              <a:gd name="connsiteY17858" fmla="*/ 1604462 h 4687251"/>
              <a:gd name="connsiteX17859" fmla="*/ 6086156 w 8079933"/>
              <a:gd name="connsiteY17859" fmla="*/ 1602946 h 4687251"/>
              <a:gd name="connsiteX17860" fmla="*/ 6083770 w 8079933"/>
              <a:gd name="connsiteY17860" fmla="*/ 1599806 h 4687251"/>
              <a:gd name="connsiteX17861" fmla="*/ 6076715 w 8079933"/>
              <a:gd name="connsiteY17861" fmla="*/ 1597965 h 4687251"/>
              <a:gd name="connsiteX17862" fmla="*/ 6074979 w 8079933"/>
              <a:gd name="connsiteY17862" fmla="*/ 1592119 h 4687251"/>
              <a:gd name="connsiteX17863" fmla="*/ 6075088 w 8079933"/>
              <a:gd name="connsiteY17863" fmla="*/ 1580426 h 4687251"/>
              <a:gd name="connsiteX17864" fmla="*/ 6079971 w 8079933"/>
              <a:gd name="connsiteY17864" fmla="*/ 1574904 h 4687251"/>
              <a:gd name="connsiteX17865" fmla="*/ 6079971 w 8079933"/>
              <a:gd name="connsiteY17865" fmla="*/ 1571331 h 4687251"/>
              <a:gd name="connsiteX17866" fmla="*/ 6082358 w 8079933"/>
              <a:gd name="connsiteY17866" fmla="*/ 1567325 h 4687251"/>
              <a:gd name="connsiteX17867" fmla="*/ 6085627 w 8079933"/>
              <a:gd name="connsiteY17867" fmla="*/ 1566179 h 4687251"/>
              <a:gd name="connsiteX17868" fmla="*/ 5245336 w 8079933"/>
              <a:gd name="connsiteY17868" fmla="*/ 1565524 h 4687251"/>
              <a:gd name="connsiteX17869" fmla="*/ 5243198 w 8079933"/>
              <a:gd name="connsiteY17869" fmla="*/ 1567759 h 4687251"/>
              <a:gd name="connsiteX17870" fmla="*/ 5243275 w 8079933"/>
              <a:gd name="connsiteY17870" fmla="*/ 1567780 h 4687251"/>
              <a:gd name="connsiteX17871" fmla="*/ 5245368 w 8079933"/>
              <a:gd name="connsiteY17871" fmla="*/ 1565593 h 4687251"/>
              <a:gd name="connsiteX17872" fmla="*/ 6562544 w 8079933"/>
              <a:gd name="connsiteY17872" fmla="*/ 1564942 h 4687251"/>
              <a:gd name="connsiteX17873" fmla="*/ 6562544 w 8079933"/>
              <a:gd name="connsiteY17873" fmla="*/ 1565268 h 4687251"/>
              <a:gd name="connsiteX17874" fmla="*/ 6563981 w 8079933"/>
              <a:gd name="connsiteY17874" fmla="*/ 1565268 h 4687251"/>
              <a:gd name="connsiteX17875" fmla="*/ 4168883 w 8079933"/>
              <a:gd name="connsiteY17875" fmla="*/ 1564835 h 4687251"/>
              <a:gd name="connsiteX17876" fmla="*/ 4173224 w 8079933"/>
              <a:gd name="connsiteY17876" fmla="*/ 1571006 h 4687251"/>
              <a:gd name="connsiteX17877" fmla="*/ 4176262 w 8079933"/>
              <a:gd name="connsiteY17877" fmla="*/ 1570031 h 4687251"/>
              <a:gd name="connsiteX17878" fmla="*/ 4178757 w 8079933"/>
              <a:gd name="connsiteY17878" fmla="*/ 1570031 h 4687251"/>
              <a:gd name="connsiteX17879" fmla="*/ 4180277 w 8079933"/>
              <a:gd name="connsiteY17879" fmla="*/ 1566459 h 4687251"/>
              <a:gd name="connsiteX17880" fmla="*/ 4184183 w 8079933"/>
              <a:gd name="connsiteY17880" fmla="*/ 1566676 h 4687251"/>
              <a:gd name="connsiteX17881" fmla="*/ 4185052 w 8079933"/>
              <a:gd name="connsiteY17881" fmla="*/ 1565918 h 4687251"/>
              <a:gd name="connsiteX17882" fmla="*/ 4185811 w 8079933"/>
              <a:gd name="connsiteY17882" fmla="*/ 1569274 h 4687251"/>
              <a:gd name="connsiteX17883" fmla="*/ 4183641 w 8079933"/>
              <a:gd name="connsiteY17883" fmla="*/ 1573388 h 4687251"/>
              <a:gd name="connsiteX17884" fmla="*/ 4183749 w 8079933"/>
              <a:gd name="connsiteY17884" fmla="*/ 1577286 h 4687251"/>
              <a:gd name="connsiteX17885" fmla="*/ 4182555 w 8079933"/>
              <a:gd name="connsiteY17885" fmla="*/ 1576636 h 4687251"/>
              <a:gd name="connsiteX17886" fmla="*/ 4181362 w 8079933"/>
              <a:gd name="connsiteY17886" fmla="*/ 1572955 h 4687251"/>
              <a:gd name="connsiteX17887" fmla="*/ 4179083 w 8079933"/>
              <a:gd name="connsiteY17887" fmla="*/ 1575986 h 4687251"/>
              <a:gd name="connsiteX17888" fmla="*/ 4172355 w 8079933"/>
              <a:gd name="connsiteY17888" fmla="*/ 1576528 h 4687251"/>
              <a:gd name="connsiteX17889" fmla="*/ 4165519 w 8079933"/>
              <a:gd name="connsiteY17889" fmla="*/ 1574255 h 4687251"/>
              <a:gd name="connsiteX17890" fmla="*/ 4163566 w 8079933"/>
              <a:gd name="connsiteY17890" fmla="*/ 1571547 h 4687251"/>
              <a:gd name="connsiteX17891" fmla="*/ 4166279 w 8079933"/>
              <a:gd name="connsiteY17891" fmla="*/ 1570573 h 4687251"/>
              <a:gd name="connsiteX17892" fmla="*/ 4164651 w 8079933"/>
              <a:gd name="connsiteY17892" fmla="*/ 1568408 h 4687251"/>
              <a:gd name="connsiteX17893" fmla="*/ 4166604 w 8079933"/>
              <a:gd name="connsiteY17893" fmla="*/ 1565376 h 4687251"/>
              <a:gd name="connsiteX17894" fmla="*/ 6119364 w 8079933"/>
              <a:gd name="connsiteY17894" fmla="*/ 1562994 h 4687251"/>
              <a:gd name="connsiteX17895" fmla="*/ 6119688 w 8079933"/>
              <a:gd name="connsiteY17895" fmla="*/ 1563102 h 4687251"/>
              <a:gd name="connsiteX17896" fmla="*/ 6125656 w 8079933"/>
              <a:gd name="connsiteY17896" fmla="*/ 1563643 h 4687251"/>
              <a:gd name="connsiteX17897" fmla="*/ 6133874 w 8079933"/>
              <a:gd name="connsiteY17897" fmla="*/ 1563336 h 4687251"/>
              <a:gd name="connsiteX17898" fmla="*/ 6133361 w 8079933"/>
              <a:gd name="connsiteY17898" fmla="*/ 1562994 h 4687251"/>
              <a:gd name="connsiteX17899" fmla="*/ 6124788 w 8079933"/>
              <a:gd name="connsiteY17899" fmla="*/ 1562994 h 4687251"/>
              <a:gd name="connsiteX17900" fmla="*/ 4477288 w 8079933"/>
              <a:gd name="connsiteY17900" fmla="*/ 1562669 h 4687251"/>
              <a:gd name="connsiteX17901" fmla="*/ 4477287 w 8079933"/>
              <a:gd name="connsiteY17901" fmla="*/ 1562669 h 4687251"/>
              <a:gd name="connsiteX17902" fmla="*/ 4475876 w 8079933"/>
              <a:gd name="connsiteY17902" fmla="*/ 1569923 h 4687251"/>
              <a:gd name="connsiteX17903" fmla="*/ 4482170 w 8079933"/>
              <a:gd name="connsiteY17903" fmla="*/ 1573063 h 4687251"/>
              <a:gd name="connsiteX17904" fmla="*/ 4482170 w 8079933"/>
              <a:gd name="connsiteY17904" fmla="*/ 1578151 h 4687251"/>
              <a:gd name="connsiteX17905" fmla="*/ 4482172 w 8079933"/>
              <a:gd name="connsiteY17905" fmla="*/ 1578151 h 4687251"/>
              <a:gd name="connsiteX17906" fmla="*/ 4482172 w 8079933"/>
              <a:gd name="connsiteY17906" fmla="*/ 1573062 h 4687251"/>
              <a:gd name="connsiteX17907" fmla="*/ 4475878 w 8079933"/>
              <a:gd name="connsiteY17907" fmla="*/ 1569922 h 4687251"/>
              <a:gd name="connsiteX17908" fmla="*/ 1185760 w 8079933"/>
              <a:gd name="connsiteY17908" fmla="*/ 1561153 h 4687251"/>
              <a:gd name="connsiteX17909" fmla="*/ 1183373 w 8079933"/>
              <a:gd name="connsiteY17909" fmla="*/ 1569057 h 4687251"/>
              <a:gd name="connsiteX17910" fmla="*/ 1182288 w 8079933"/>
              <a:gd name="connsiteY17910" fmla="*/ 1562235 h 4687251"/>
              <a:gd name="connsiteX17911" fmla="*/ 4192215 w 8079933"/>
              <a:gd name="connsiteY17911" fmla="*/ 1561045 h 4687251"/>
              <a:gd name="connsiteX17912" fmla="*/ 4192866 w 8079933"/>
              <a:gd name="connsiteY17912" fmla="*/ 1563643 h 4687251"/>
              <a:gd name="connsiteX17913" fmla="*/ 4189719 w 8079933"/>
              <a:gd name="connsiteY17913" fmla="*/ 1564185 h 4687251"/>
              <a:gd name="connsiteX17914" fmla="*/ 4187549 w 8079933"/>
              <a:gd name="connsiteY17914" fmla="*/ 1567324 h 4687251"/>
              <a:gd name="connsiteX17915" fmla="*/ 4186789 w 8079933"/>
              <a:gd name="connsiteY17915" fmla="*/ 1565483 h 4687251"/>
              <a:gd name="connsiteX17916" fmla="*/ 4188742 w 8079933"/>
              <a:gd name="connsiteY17916" fmla="*/ 1562452 h 4687251"/>
              <a:gd name="connsiteX17917" fmla="*/ 4160202 w 8079933"/>
              <a:gd name="connsiteY17917" fmla="*/ 1558772 h 4687251"/>
              <a:gd name="connsiteX17918" fmla="*/ 4163349 w 8079933"/>
              <a:gd name="connsiteY17918" fmla="*/ 1562237 h 4687251"/>
              <a:gd name="connsiteX17919" fmla="*/ 4160636 w 8079933"/>
              <a:gd name="connsiteY17919" fmla="*/ 1567759 h 4687251"/>
              <a:gd name="connsiteX17920" fmla="*/ 4157923 w 8079933"/>
              <a:gd name="connsiteY17920" fmla="*/ 1571331 h 4687251"/>
              <a:gd name="connsiteX17921" fmla="*/ 4157055 w 8079933"/>
              <a:gd name="connsiteY17921" fmla="*/ 1569057 h 4687251"/>
              <a:gd name="connsiteX17922" fmla="*/ 4159008 w 8079933"/>
              <a:gd name="connsiteY17922" fmla="*/ 1565268 h 4687251"/>
              <a:gd name="connsiteX17923" fmla="*/ 5244609 w 8079933"/>
              <a:gd name="connsiteY17923" fmla="*/ 1558122 h 4687251"/>
              <a:gd name="connsiteX17924" fmla="*/ 5242873 w 8079933"/>
              <a:gd name="connsiteY17924" fmla="*/ 1559638 h 4687251"/>
              <a:gd name="connsiteX17925" fmla="*/ 5242947 w 8079933"/>
              <a:gd name="connsiteY17925" fmla="*/ 1559803 h 4687251"/>
              <a:gd name="connsiteX17926" fmla="*/ 5244500 w 8079933"/>
              <a:gd name="connsiteY17926" fmla="*/ 1558447 h 4687251"/>
              <a:gd name="connsiteX17927" fmla="*/ 5248322 w 8079933"/>
              <a:gd name="connsiteY17927" fmla="*/ 1558122 h 4687251"/>
              <a:gd name="connsiteX17928" fmla="*/ 7358731 w 8079933"/>
              <a:gd name="connsiteY17928" fmla="*/ 1557256 h 4687251"/>
              <a:gd name="connsiteX17929" fmla="*/ 7361011 w 8079933"/>
              <a:gd name="connsiteY17929" fmla="*/ 1558772 h 4687251"/>
              <a:gd name="connsiteX17930" fmla="*/ 7359057 w 8079933"/>
              <a:gd name="connsiteY17930" fmla="*/ 1560180 h 4687251"/>
              <a:gd name="connsiteX17931" fmla="*/ 7357212 w 8079933"/>
              <a:gd name="connsiteY17931" fmla="*/ 1558122 h 4687251"/>
              <a:gd name="connsiteX17932" fmla="*/ 5262732 w 8079933"/>
              <a:gd name="connsiteY17932" fmla="*/ 1557148 h 4687251"/>
              <a:gd name="connsiteX17933" fmla="*/ 5262545 w 8079933"/>
              <a:gd name="connsiteY17933" fmla="*/ 1557170 h 4687251"/>
              <a:gd name="connsiteX17934" fmla="*/ 5266854 w 8079933"/>
              <a:gd name="connsiteY17934" fmla="*/ 1560287 h 4687251"/>
              <a:gd name="connsiteX17935" fmla="*/ 5266935 w 8079933"/>
              <a:gd name="connsiteY17935" fmla="*/ 1560189 h 4687251"/>
              <a:gd name="connsiteX17936" fmla="*/ 5253787 w 8079933"/>
              <a:gd name="connsiteY17936" fmla="*/ 1555199 h 4687251"/>
              <a:gd name="connsiteX17937" fmla="*/ 5255460 w 8079933"/>
              <a:gd name="connsiteY17937" fmla="*/ 1555307 h 4687251"/>
              <a:gd name="connsiteX17938" fmla="*/ 5257088 w 8079933"/>
              <a:gd name="connsiteY17938" fmla="*/ 1557906 h 4687251"/>
              <a:gd name="connsiteX17939" fmla="*/ 5261335 w 8079933"/>
              <a:gd name="connsiteY17939" fmla="*/ 1557312 h 4687251"/>
              <a:gd name="connsiteX17940" fmla="*/ 5257197 w 8079933"/>
              <a:gd name="connsiteY17940" fmla="*/ 1557798 h 4687251"/>
              <a:gd name="connsiteX17941" fmla="*/ 5255678 w 8079933"/>
              <a:gd name="connsiteY17941" fmla="*/ 1555199 h 4687251"/>
              <a:gd name="connsiteX17942" fmla="*/ 6091907 w 8079933"/>
              <a:gd name="connsiteY17942" fmla="*/ 1552709 h 4687251"/>
              <a:gd name="connsiteX17943" fmla="*/ 6088868 w 8079933"/>
              <a:gd name="connsiteY17943" fmla="*/ 1555415 h 4687251"/>
              <a:gd name="connsiteX17944" fmla="*/ 6088217 w 8079933"/>
              <a:gd name="connsiteY17944" fmla="*/ 1559097 h 4687251"/>
              <a:gd name="connsiteX17945" fmla="*/ 6089628 w 8079933"/>
              <a:gd name="connsiteY17945" fmla="*/ 1563103 h 4687251"/>
              <a:gd name="connsiteX17946" fmla="*/ 6088096 w 8079933"/>
              <a:gd name="connsiteY17946" fmla="*/ 1566543 h 4687251"/>
              <a:gd name="connsiteX17947" fmla="*/ 6088761 w 8079933"/>
              <a:gd name="connsiteY17947" fmla="*/ 1566784 h 4687251"/>
              <a:gd name="connsiteX17948" fmla="*/ 6090497 w 8079933"/>
              <a:gd name="connsiteY17948" fmla="*/ 1562886 h 4687251"/>
              <a:gd name="connsiteX17949" fmla="*/ 6089086 w 8079933"/>
              <a:gd name="connsiteY17949" fmla="*/ 1558880 h 4687251"/>
              <a:gd name="connsiteX17950" fmla="*/ 6089737 w 8079933"/>
              <a:gd name="connsiteY17950" fmla="*/ 1555198 h 4687251"/>
              <a:gd name="connsiteX17951" fmla="*/ 6092532 w 8079933"/>
              <a:gd name="connsiteY17951" fmla="*/ 1552709 h 4687251"/>
              <a:gd name="connsiteX17952" fmla="*/ 4488917 w 8079933"/>
              <a:gd name="connsiteY17952" fmla="*/ 1552412 h 4687251"/>
              <a:gd name="connsiteX17953" fmla="*/ 4485209 w 8079933"/>
              <a:gd name="connsiteY17953" fmla="*/ 1554115 h 4687251"/>
              <a:gd name="connsiteX17954" fmla="*/ 4480759 w 8079933"/>
              <a:gd name="connsiteY17954" fmla="*/ 1562019 h 4687251"/>
              <a:gd name="connsiteX17955" fmla="*/ 4480761 w 8079933"/>
              <a:gd name="connsiteY17955" fmla="*/ 1562019 h 4687251"/>
              <a:gd name="connsiteX17956" fmla="*/ 4485211 w 8079933"/>
              <a:gd name="connsiteY17956" fmla="*/ 1554115 h 4687251"/>
              <a:gd name="connsiteX17957" fmla="*/ 5273041 w 8079933"/>
              <a:gd name="connsiteY17957" fmla="*/ 1552384 h 4687251"/>
              <a:gd name="connsiteX17958" fmla="*/ 5273033 w 8079933"/>
              <a:gd name="connsiteY17958" fmla="*/ 1552389 h 4687251"/>
              <a:gd name="connsiteX17959" fmla="*/ 5277163 w 8079933"/>
              <a:gd name="connsiteY17959" fmla="*/ 1552600 h 4687251"/>
              <a:gd name="connsiteX17960" fmla="*/ 5279984 w 8079933"/>
              <a:gd name="connsiteY17960" fmla="*/ 1556822 h 4687251"/>
              <a:gd name="connsiteX17961" fmla="*/ 5280079 w 8079933"/>
              <a:gd name="connsiteY17961" fmla="*/ 1556690 h 4687251"/>
              <a:gd name="connsiteX17962" fmla="*/ 5277381 w 8079933"/>
              <a:gd name="connsiteY17962" fmla="*/ 1552384 h 4687251"/>
              <a:gd name="connsiteX17963" fmla="*/ 6749626 w 8079933"/>
              <a:gd name="connsiteY17963" fmla="*/ 1551926 h 4687251"/>
              <a:gd name="connsiteX17964" fmla="*/ 6749517 w 8079933"/>
              <a:gd name="connsiteY17964" fmla="*/ 1552599 h 4687251"/>
              <a:gd name="connsiteX17965" fmla="*/ 6752122 w 8079933"/>
              <a:gd name="connsiteY17965" fmla="*/ 1557146 h 4687251"/>
              <a:gd name="connsiteX17966" fmla="*/ 6757440 w 8079933"/>
              <a:gd name="connsiteY17966" fmla="*/ 1562668 h 4687251"/>
              <a:gd name="connsiteX17967" fmla="*/ 6761455 w 8079933"/>
              <a:gd name="connsiteY17967" fmla="*/ 1564075 h 4687251"/>
              <a:gd name="connsiteX17968" fmla="*/ 6763191 w 8079933"/>
              <a:gd name="connsiteY17968" fmla="*/ 1567216 h 4687251"/>
              <a:gd name="connsiteX17969" fmla="*/ 6766230 w 8079933"/>
              <a:gd name="connsiteY17969" fmla="*/ 1567649 h 4687251"/>
              <a:gd name="connsiteX17970" fmla="*/ 6768617 w 8079933"/>
              <a:gd name="connsiteY17970" fmla="*/ 1566783 h 4687251"/>
              <a:gd name="connsiteX17971" fmla="*/ 6771112 w 8079933"/>
              <a:gd name="connsiteY17971" fmla="*/ 1568190 h 4687251"/>
              <a:gd name="connsiteX17972" fmla="*/ 6772957 w 8079933"/>
              <a:gd name="connsiteY17972" fmla="*/ 1567216 h 4687251"/>
              <a:gd name="connsiteX17973" fmla="*/ 6777949 w 8079933"/>
              <a:gd name="connsiteY17973" fmla="*/ 1567865 h 4687251"/>
              <a:gd name="connsiteX17974" fmla="*/ 6780554 w 8079933"/>
              <a:gd name="connsiteY17974" fmla="*/ 1565808 h 4687251"/>
              <a:gd name="connsiteX17975" fmla="*/ 6783810 w 8079933"/>
              <a:gd name="connsiteY17975" fmla="*/ 1565808 h 4687251"/>
              <a:gd name="connsiteX17976" fmla="*/ 6783810 w 8079933"/>
              <a:gd name="connsiteY17976" fmla="*/ 1564943 h 4687251"/>
              <a:gd name="connsiteX17977" fmla="*/ 6780553 w 8079933"/>
              <a:gd name="connsiteY17977" fmla="*/ 1564943 h 4687251"/>
              <a:gd name="connsiteX17978" fmla="*/ 6777949 w 8079933"/>
              <a:gd name="connsiteY17978" fmla="*/ 1567000 h 4687251"/>
              <a:gd name="connsiteX17979" fmla="*/ 6772958 w 8079933"/>
              <a:gd name="connsiteY17979" fmla="*/ 1566351 h 4687251"/>
              <a:gd name="connsiteX17980" fmla="*/ 6771112 w 8079933"/>
              <a:gd name="connsiteY17980" fmla="*/ 1567325 h 4687251"/>
              <a:gd name="connsiteX17981" fmla="*/ 6768726 w 8079933"/>
              <a:gd name="connsiteY17981" fmla="*/ 1565918 h 4687251"/>
              <a:gd name="connsiteX17982" fmla="*/ 6766338 w 8079933"/>
              <a:gd name="connsiteY17982" fmla="*/ 1566784 h 4687251"/>
              <a:gd name="connsiteX17983" fmla="*/ 6763191 w 8079933"/>
              <a:gd name="connsiteY17983" fmla="*/ 1566784 h 4687251"/>
              <a:gd name="connsiteX17984" fmla="*/ 6761455 w 8079933"/>
              <a:gd name="connsiteY17984" fmla="*/ 1563644 h 4687251"/>
              <a:gd name="connsiteX17985" fmla="*/ 6757548 w 8079933"/>
              <a:gd name="connsiteY17985" fmla="*/ 1562237 h 4687251"/>
              <a:gd name="connsiteX17986" fmla="*/ 6752231 w 8079933"/>
              <a:gd name="connsiteY17986" fmla="*/ 1556715 h 4687251"/>
              <a:gd name="connsiteX17987" fmla="*/ 6749626 w 8079933"/>
              <a:gd name="connsiteY17987" fmla="*/ 1552059 h 4687251"/>
              <a:gd name="connsiteX17988" fmla="*/ 4242566 w 8079933"/>
              <a:gd name="connsiteY17988" fmla="*/ 1551409 h 4687251"/>
              <a:gd name="connsiteX17989" fmla="*/ 4246907 w 8079933"/>
              <a:gd name="connsiteY17989" fmla="*/ 1554007 h 4687251"/>
              <a:gd name="connsiteX17990" fmla="*/ 4251031 w 8079933"/>
              <a:gd name="connsiteY17990" fmla="*/ 1560612 h 4687251"/>
              <a:gd name="connsiteX17991" fmla="*/ 4250163 w 8079933"/>
              <a:gd name="connsiteY17991" fmla="*/ 1564619 h 4687251"/>
              <a:gd name="connsiteX17992" fmla="*/ 4242566 w 8079933"/>
              <a:gd name="connsiteY17992" fmla="*/ 1562020 h 4687251"/>
              <a:gd name="connsiteX17993" fmla="*/ 4241373 w 8079933"/>
              <a:gd name="connsiteY17993" fmla="*/ 1557689 h 4687251"/>
              <a:gd name="connsiteX17994" fmla="*/ 2181943 w 8079933"/>
              <a:gd name="connsiteY17994" fmla="*/ 1550217 h 4687251"/>
              <a:gd name="connsiteX17995" fmla="*/ 2186609 w 8079933"/>
              <a:gd name="connsiteY17995" fmla="*/ 1550217 h 4687251"/>
              <a:gd name="connsiteX17996" fmla="*/ 2187694 w 8079933"/>
              <a:gd name="connsiteY17996" fmla="*/ 1552166 h 4687251"/>
              <a:gd name="connsiteX17997" fmla="*/ 2191601 w 8079933"/>
              <a:gd name="connsiteY17997" fmla="*/ 1551733 h 4687251"/>
              <a:gd name="connsiteX17998" fmla="*/ 2197135 w 8079933"/>
              <a:gd name="connsiteY17998" fmla="*/ 1556388 h 4687251"/>
              <a:gd name="connsiteX17999" fmla="*/ 2198111 w 8079933"/>
              <a:gd name="connsiteY17999" fmla="*/ 1561369 h 4687251"/>
              <a:gd name="connsiteX18000" fmla="*/ 2199414 w 8079933"/>
              <a:gd name="connsiteY18000" fmla="*/ 1563534 h 4687251"/>
              <a:gd name="connsiteX18001" fmla="*/ 2198329 w 8079933"/>
              <a:gd name="connsiteY18001" fmla="*/ 1567107 h 4687251"/>
              <a:gd name="connsiteX18002" fmla="*/ 2187152 w 8079933"/>
              <a:gd name="connsiteY18002" fmla="*/ 1564833 h 4687251"/>
              <a:gd name="connsiteX18003" fmla="*/ 2183246 w 8079933"/>
              <a:gd name="connsiteY18003" fmla="*/ 1562343 h 4687251"/>
              <a:gd name="connsiteX18004" fmla="*/ 2179013 w 8079933"/>
              <a:gd name="connsiteY18004" fmla="*/ 1562127 h 4687251"/>
              <a:gd name="connsiteX18005" fmla="*/ 2178796 w 8079933"/>
              <a:gd name="connsiteY18005" fmla="*/ 1565050 h 4687251"/>
              <a:gd name="connsiteX18006" fmla="*/ 2179231 w 8079933"/>
              <a:gd name="connsiteY18006" fmla="*/ 1566782 h 4687251"/>
              <a:gd name="connsiteX18007" fmla="*/ 2176626 w 8079933"/>
              <a:gd name="connsiteY18007" fmla="*/ 1564292 h 4687251"/>
              <a:gd name="connsiteX18008" fmla="*/ 2176192 w 8079933"/>
              <a:gd name="connsiteY18008" fmla="*/ 1562019 h 4687251"/>
              <a:gd name="connsiteX18009" fmla="*/ 2172068 w 8079933"/>
              <a:gd name="connsiteY18009" fmla="*/ 1562451 h 4687251"/>
              <a:gd name="connsiteX18010" fmla="*/ 2170658 w 8079933"/>
              <a:gd name="connsiteY18010" fmla="*/ 1560503 h 4687251"/>
              <a:gd name="connsiteX18011" fmla="*/ 2175324 w 8079933"/>
              <a:gd name="connsiteY18011" fmla="*/ 1554764 h 4687251"/>
              <a:gd name="connsiteX18012" fmla="*/ 2179231 w 8079933"/>
              <a:gd name="connsiteY18012" fmla="*/ 1555414 h 4687251"/>
              <a:gd name="connsiteX18013" fmla="*/ 2179556 w 8079933"/>
              <a:gd name="connsiteY18013" fmla="*/ 1552058 h 4687251"/>
              <a:gd name="connsiteX18014" fmla="*/ 3784626 w 8079933"/>
              <a:gd name="connsiteY18014" fmla="*/ 1549676 h 4687251"/>
              <a:gd name="connsiteX18015" fmla="*/ 3788099 w 8079933"/>
              <a:gd name="connsiteY18015" fmla="*/ 1552815 h 4687251"/>
              <a:gd name="connsiteX18016" fmla="*/ 3793199 w 8079933"/>
              <a:gd name="connsiteY18016" fmla="*/ 1555523 h 4687251"/>
              <a:gd name="connsiteX18017" fmla="*/ 3788967 w 8079933"/>
              <a:gd name="connsiteY18017" fmla="*/ 1558013 h 4687251"/>
              <a:gd name="connsiteX18018" fmla="*/ 3784192 w 8079933"/>
              <a:gd name="connsiteY18018" fmla="*/ 1561694 h 4687251"/>
              <a:gd name="connsiteX18019" fmla="*/ 3786363 w 8079933"/>
              <a:gd name="connsiteY18019" fmla="*/ 1561261 h 4687251"/>
              <a:gd name="connsiteX18020" fmla="*/ 3784083 w 8079933"/>
              <a:gd name="connsiteY18020" fmla="*/ 1563751 h 4687251"/>
              <a:gd name="connsiteX18021" fmla="*/ 3780828 w 8079933"/>
              <a:gd name="connsiteY18021" fmla="*/ 1565483 h 4687251"/>
              <a:gd name="connsiteX18022" fmla="*/ 3779526 w 8079933"/>
              <a:gd name="connsiteY18022" fmla="*/ 1569598 h 4687251"/>
              <a:gd name="connsiteX18023" fmla="*/ 3774642 w 8079933"/>
              <a:gd name="connsiteY18023" fmla="*/ 1570247 h 4687251"/>
              <a:gd name="connsiteX18024" fmla="*/ 3769434 w 8079933"/>
              <a:gd name="connsiteY18024" fmla="*/ 1580966 h 4687251"/>
              <a:gd name="connsiteX18025" fmla="*/ 3769434 w 8079933"/>
              <a:gd name="connsiteY18025" fmla="*/ 1580966 h 4687251"/>
              <a:gd name="connsiteX18026" fmla="*/ 3774642 w 8079933"/>
              <a:gd name="connsiteY18026" fmla="*/ 1570248 h 4687251"/>
              <a:gd name="connsiteX18027" fmla="*/ 3779526 w 8079933"/>
              <a:gd name="connsiteY18027" fmla="*/ 1569598 h 4687251"/>
              <a:gd name="connsiteX18028" fmla="*/ 3780828 w 8079933"/>
              <a:gd name="connsiteY18028" fmla="*/ 1565484 h 4687251"/>
              <a:gd name="connsiteX18029" fmla="*/ 3784083 w 8079933"/>
              <a:gd name="connsiteY18029" fmla="*/ 1563751 h 4687251"/>
              <a:gd name="connsiteX18030" fmla="*/ 3786363 w 8079933"/>
              <a:gd name="connsiteY18030" fmla="*/ 1561261 h 4687251"/>
              <a:gd name="connsiteX18031" fmla="*/ 3790811 w 8079933"/>
              <a:gd name="connsiteY18031" fmla="*/ 1560395 h 4687251"/>
              <a:gd name="connsiteX18032" fmla="*/ 3792331 w 8079933"/>
              <a:gd name="connsiteY18032" fmla="*/ 1558771 h 4687251"/>
              <a:gd name="connsiteX18033" fmla="*/ 3795044 w 8079933"/>
              <a:gd name="connsiteY18033" fmla="*/ 1558447 h 4687251"/>
              <a:gd name="connsiteX18034" fmla="*/ 3799493 w 8079933"/>
              <a:gd name="connsiteY18034" fmla="*/ 1555523 h 4687251"/>
              <a:gd name="connsiteX18035" fmla="*/ 3806763 w 8079933"/>
              <a:gd name="connsiteY18035" fmla="*/ 1556281 h 4687251"/>
              <a:gd name="connsiteX18036" fmla="*/ 3810345 w 8079933"/>
              <a:gd name="connsiteY18036" fmla="*/ 1558121 h 4687251"/>
              <a:gd name="connsiteX18037" fmla="*/ 3810779 w 8079933"/>
              <a:gd name="connsiteY18037" fmla="*/ 1562561 h 4687251"/>
              <a:gd name="connsiteX18038" fmla="*/ 3817724 w 8079933"/>
              <a:gd name="connsiteY18038" fmla="*/ 1572413 h 4687251"/>
              <a:gd name="connsiteX18039" fmla="*/ 3814143 w 8079933"/>
              <a:gd name="connsiteY18039" fmla="*/ 1575012 h 4687251"/>
              <a:gd name="connsiteX18040" fmla="*/ 3820653 w 8079933"/>
              <a:gd name="connsiteY18040" fmla="*/ 1575337 h 4687251"/>
              <a:gd name="connsiteX18041" fmla="*/ 3822064 w 8079933"/>
              <a:gd name="connsiteY18041" fmla="*/ 1585731 h 4687251"/>
              <a:gd name="connsiteX18042" fmla="*/ 3819352 w 8079933"/>
              <a:gd name="connsiteY18042" fmla="*/ 1577610 h 4687251"/>
              <a:gd name="connsiteX18043" fmla="*/ 3816747 w 8079933"/>
              <a:gd name="connsiteY18043" fmla="*/ 1578043 h 4687251"/>
              <a:gd name="connsiteX18044" fmla="*/ 3818049 w 8079933"/>
              <a:gd name="connsiteY18044" fmla="*/ 1580750 h 4687251"/>
              <a:gd name="connsiteX18045" fmla="*/ 3816747 w 8079933"/>
              <a:gd name="connsiteY18045" fmla="*/ 1584431 h 4687251"/>
              <a:gd name="connsiteX18046" fmla="*/ 3820220 w 8079933"/>
              <a:gd name="connsiteY18046" fmla="*/ 1585189 h 4687251"/>
              <a:gd name="connsiteX18047" fmla="*/ 3819460 w 8079933"/>
              <a:gd name="connsiteY18047" fmla="*/ 1589087 h 4687251"/>
              <a:gd name="connsiteX18048" fmla="*/ 3813817 w 8079933"/>
              <a:gd name="connsiteY18048" fmla="*/ 1588329 h 4687251"/>
              <a:gd name="connsiteX18049" fmla="*/ 3813491 w 8079933"/>
              <a:gd name="connsiteY18049" fmla="*/ 1591686 h 4687251"/>
              <a:gd name="connsiteX18050" fmla="*/ 3809802 w 8079933"/>
              <a:gd name="connsiteY18050" fmla="*/ 1594609 h 4687251"/>
              <a:gd name="connsiteX18051" fmla="*/ 3807631 w 8079933"/>
              <a:gd name="connsiteY18051" fmla="*/ 1594067 h 4687251"/>
              <a:gd name="connsiteX18052" fmla="*/ 3808066 w 8079933"/>
              <a:gd name="connsiteY18052" fmla="*/ 1597641 h 4687251"/>
              <a:gd name="connsiteX18053" fmla="*/ 3807089 w 8079933"/>
              <a:gd name="connsiteY18053" fmla="*/ 1597424 h 4687251"/>
              <a:gd name="connsiteX18054" fmla="*/ 3807086 w 8079933"/>
              <a:gd name="connsiteY18054" fmla="*/ 1597422 h 4687251"/>
              <a:gd name="connsiteX18055" fmla="*/ 3804159 w 8079933"/>
              <a:gd name="connsiteY18055" fmla="*/ 1596990 h 4687251"/>
              <a:gd name="connsiteX18056" fmla="*/ 3802423 w 8079933"/>
              <a:gd name="connsiteY18056" fmla="*/ 1599804 h 4687251"/>
              <a:gd name="connsiteX18057" fmla="*/ 3806004 w 8079933"/>
              <a:gd name="connsiteY18057" fmla="*/ 1602403 h 4687251"/>
              <a:gd name="connsiteX18058" fmla="*/ 3805136 w 8079933"/>
              <a:gd name="connsiteY18058" fmla="*/ 1607167 h 4687251"/>
              <a:gd name="connsiteX18059" fmla="*/ 3808174 w 8079933"/>
              <a:gd name="connsiteY18059" fmla="*/ 1611931 h 4687251"/>
              <a:gd name="connsiteX18060" fmla="*/ 3808174 w 8079933"/>
              <a:gd name="connsiteY18060" fmla="*/ 1616695 h 4687251"/>
              <a:gd name="connsiteX18061" fmla="*/ 3804810 w 8079933"/>
              <a:gd name="connsiteY18061" fmla="*/ 1618969 h 4687251"/>
              <a:gd name="connsiteX18062" fmla="*/ 3807632 w 8079933"/>
              <a:gd name="connsiteY18062" fmla="*/ 1620701 h 4687251"/>
              <a:gd name="connsiteX18063" fmla="*/ 3809476 w 8079933"/>
              <a:gd name="connsiteY18063" fmla="*/ 1631419 h 4687251"/>
              <a:gd name="connsiteX18064" fmla="*/ 3808174 w 8079933"/>
              <a:gd name="connsiteY18064" fmla="*/ 1636183 h 4687251"/>
              <a:gd name="connsiteX18065" fmla="*/ 3804376 w 8079933"/>
              <a:gd name="connsiteY18065" fmla="*/ 1640406 h 4687251"/>
              <a:gd name="connsiteX18066" fmla="*/ 3805136 w 8079933"/>
              <a:gd name="connsiteY18066" fmla="*/ 1644303 h 4687251"/>
              <a:gd name="connsiteX18067" fmla="*/ 3801446 w 8079933"/>
              <a:gd name="connsiteY18067" fmla="*/ 1648743 h 4687251"/>
              <a:gd name="connsiteX18068" fmla="*/ 3798082 w 8079933"/>
              <a:gd name="connsiteY18068" fmla="*/ 1650150 h 4687251"/>
              <a:gd name="connsiteX18069" fmla="*/ 3802748 w 8079933"/>
              <a:gd name="connsiteY18069" fmla="*/ 1656213 h 4687251"/>
              <a:gd name="connsiteX18070" fmla="*/ 3795912 w 8079933"/>
              <a:gd name="connsiteY18070" fmla="*/ 1656321 h 4687251"/>
              <a:gd name="connsiteX18071" fmla="*/ 3793091 w 8079933"/>
              <a:gd name="connsiteY18071" fmla="*/ 1655239 h 4687251"/>
              <a:gd name="connsiteX18072" fmla="*/ 3790269 w 8079933"/>
              <a:gd name="connsiteY18072" fmla="*/ 1657946 h 4687251"/>
              <a:gd name="connsiteX18073" fmla="*/ 3788207 w 8079933"/>
              <a:gd name="connsiteY18073" fmla="*/ 1654481 h 4687251"/>
              <a:gd name="connsiteX18074" fmla="*/ 3787122 w 8079933"/>
              <a:gd name="connsiteY18074" fmla="*/ 1657404 h 4687251"/>
              <a:gd name="connsiteX18075" fmla="*/ 3773774 w 8079933"/>
              <a:gd name="connsiteY18075" fmla="*/ 1658920 h 4687251"/>
              <a:gd name="connsiteX18076" fmla="*/ 3772580 w 8079933"/>
              <a:gd name="connsiteY18076" fmla="*/ 1663359 h 4687251"/>
              <a:gd name="connsiteX18077" fmla="*/ 3769434 w 8079933"/>
              <a:gd name="connsiteY18077" fmla="*/ 1663143 h 4687251"/>
              <a:gd name="connsiteX18078" fmla="*/ 3764985 w 8079933"/>
              <a:gd name="connsiteY18078" fmla="*/ 1667798 h 4687251"/>
              <a:gd name="connsiteX18079" fmla="*/ 3760318 w 8079933"/>
              <a:gd name="connsiteY18079" fmla="*/ 1667798 h 4687251"/>
              <a:gd name="connsiteX18080" fmla="*/ 3761621 w 8079933"/>
              <a:gd name="connsiteY18080" fmla="*/ 1665092 h 4687251"/>
              <a:gd name="connsiteX18081" fmla="*/ 3757063 w 8079933"/>
              <a:gd name="connsiteY18081" fmla="*/ 1664658 h 4687251"/>
              <a:gd name="connsiteX18082" fmla="*/ 3759016 w 8079933"/>
              <a:gd name="connsiteY18082" fmla="*/ 1669314 h 4687251"/>
              <a:gd name="connsiteX18083" fmla="*/ 3753047 w 8079933"/>
              <a:gd name="connsiteY18083" fmla="*/ 1673320 h 4687251"/>
              <a:gd name="connsiteX18084" fmla="*/ 3745451 w 8079933"/>
              <a:gd name="connsiteY18084" fmla="*/ 1675594 h 4687251"/>
              <a:gd name="connsiteX18085" fmla="*/ 3737422 w 8079933"/>
              <a:gd name="connsiteY18085" fmla="*/ 1676568 h 4687251"/>
              <a:gd name="connsiteX18086" fmla="*/ 3734383 w 8079933"/>
              <a:gd name="connsiteY18086" fmla="*/ 1674403 h 4687251"/>
              <a:gd name="connsiteX18087" fmla="*/ 3728523 w 8079933"/>
              <a:gd name="connsiteY18087" fmla="*/ 1675918 h 4687251"/>
              <a:gd name="connsiteX18088" fmla="*/ 3729608 w 8079933"/>
              <a:gd name="connsiteY18088" fmla="*/ 1673645 h 4687251"/>
              <a:gd name="connsiteX18089" fmla="*/ 3726027 w 8079933"/>
              <a:gd name="connsiteY18089" fmla="*/ 1673645 h 4687251"/>
              <a:gd name="connsiteX18090" fmla="*/ 3732538 w 8079933"/>
              <a:gd name="connsiteY18090" fmla="*/ 1670505 h 4687251"/>
              <a:gd name="connsiteX18091" fmla="*/ 3732972 w 8079933"/>
              <a:gd name="connsiteY18091" fmla="*/ 1667582 h 4687251"/>
              <a:gd name="connsiteX18092" fmla="*/ 3725268 w 8079933"/>
              <a:gd name="connsiteY18092" fmla="*/ 1671804 h 4687251"/>
              <a:gd name="connsiteX18093" fmla="*/ 3719299 w 8079933"/>
              <a:gd name="connsiteY18093" fmla="*/ 1671804 h 4687251"/>
              <a:gd name="connsiteX18094" fmla="*/ 3722771 w 8079933"/>
              <a:gd name="connsiteY18094" fmla="*/ 1668881 h 4687251"/>
              <a:gd name="connsiteX18095" fmla="*/ 3731236 w 8079933"/>
              <a:gd name="connsiteY18095" fmla="*/ 1663359 h 4687251"/>
              <a:gd name="connsiteX18096" fmla="*/ 3720058 w 8079933"/>
              <a:gd name="connsiteY18096" fmla="*/ 1667041 h 4687251"/>
              <a:gd name="connsiteX18097" fmla="*/ 3719190 w 8079933"/>
              <a:gd name="connsiteY18097" fmla="*/ 1664225 h 4687251"/>
              <a:gd name="connsiteX18098" fmla="*/ 3715284 w 8079933"/>
              <a:gd name="connsiteY18098" fmla="*/ 1664225 h 4687251"/>
              <a:gd name="connsiteX18099" fmla="*/ 3717345 w 8079933"/>
              <a:gd name="connsiteY18099" fmla="*/ 1659137 h 4687251"/>
              <a:gd name="connsiteX18100" fmla="*/ 3723531 w 8079933"/>
              <a:gd name="connsiteY18100" fmla="*/ 1657729 h 4687251"/>
              <a:gd name="connsiteX18101" fmla="*/ 3728414 w 8079933"/>
              <a:gd name="connsiteY18101" fmla="*/ 1653615 h 4687251"/>
              <a:gd name="connsiteX18102" fmla="*/ 3713765 w 8079933"/>
              <a:gd name="connsiteY18102" fmla="*/ 1654481 h 4687251"/>
              <a:gd name="connsiteX18103" fmla="*/ 3713114 w 8079933"/>
              <a:gd name="connsiteY18103" fmla="*/ 1652749 h 4687251"/>
              <a:gd name="connsiteX18104" fmla="*/ 3719516 w 8079933"/>
              <a:gd name="connsiteY18104" fmla="*/ 1649392 h 4687251"/>
              <a:gd name="connsiteX18105" fmla="*/ 3720601 w 8079933"/>
              <a:gd name="connsiteY18105" fmla="*/ 1650692 h 4687251"/>
              <a:gd name="connsiteX18106" fmla="*/ 3721795 w 8079933"/>
              <a:gd name="connsiteY18106" fmla="*/ 1648851 h 4687251"/>
              <a:gd name="connsiteX18107" fmla="*/ 3725051 w 8079933"/>
              <a:gd name="connsiteY18107" fmla="*/ 1651666 h 4687251"/>
              <a:gd name="connsiteX18108" fmla="*/ 3728849 w 8079933"/>
              <a:gd name="connsiteY18108" fmla="*/ 1650908 h 4687251"/>
              <a:gd name="connsiteX18109" fmla="*/ 3726678 w 8079933"/>
              <a:gd name="connsiteY18109" fmla="*/ 1650258 h 4687251"/>
              <a:gd name="connsiteX18110" fmla="*/ 3727763 w 8079933"/>
              <a:gd name="connsiteY18110" fmla="*/ 1647985 h 4687251"/>
              <a:gd name="connsiteX18111" fmla="*/ 3726027 w 8079933"/>
              <a:gd name="connsiteY18111" fmla="*/ 1645495 h 4687251"/>
              <a:gd name="connsiteX18112" fmla="*/ 3731127 w 8079933"/>
              <a:gd name="connsiteY18112" fmla="*/ 1643762 h 4687251"/>
              <a:gd name="connsiteX18113" fmla="*/ 3733081 w 8079933"/>
              <a:gd name="connsiteY18113" fmla="*/ 1640731 h 4687251"/>
              <a:gd name="connsiteX18114" fmla="*/ 3740894 w 8079933"/>
              <a:gd name="connsiteY18114" fmla="*/ 1640406 h 4687251"/>
              <a:gd name="connsiteX18115" fmla="*/ 3751529 w 8079933"/>
              <a:gd name="connsiteY18115" fmla="*/ 1637591 h 4687251"/>
              <a:gd name="connsiteX18116" fmla="*/ 3746754 w 8079933"/>
              <a:gd name="connsiteY18116" fmla="*/ 1637158 h 4687251"/>
              <a:gd name="connsiteX18117" fmla="*/ 3746428 w 8079933"/>
              <a:gd name="connsiteY18117" fmla="*/ 1635425 h 4687251"/>
              <a:gd name="connsiteX18118" fmla="*/ 3742630 w 8079933"/>
              <a:gd name="connsiteY18118" fmla="*/ 1639215 h 4687251"/>
              <a:gd name="connsiteX18119" fmla="*/ 3736987 w 8079933"/>
              <a:gd name="connsiteY18119" fmla="*/ 1638999 h 4687251"/>
              <a:gd name="connsiteX18120" fmla="*/ 3734274 w 8079933"/>
              <a:gd name="connsiteY18120" fmla="*/ 1637374 h 4687251"/>
              <a:gd name="connsiteX18121" fmla="*/ 3729717 w 8079933"/>
              <a:gd name="connsiteY18121" fmla="*/ 1640297 h 4687251"/>
              <a:gd name="connsiteX18122" fmla="*/ 3726353 w 8079933"/>
              <a:gd name="connsiteY18122" fmla="*/ 1640297 h 4687251"/>
              <a:gd name="connsiteX18123" fmla="*/ 3734709 w 8079933"/>
              <a:gd name="connsiteY18123" fmla="*/ 1634668 h 4687251"/>
              <a:gd name="connsiteX18124" fmla="*/ 3738615 w 8079933"/>
              <a:gd name="connsiteY18124" fmla="*/ 1629146 h 4687251"/>
              <a:gd name="connsiteX18125" fmla="*/ 3736445 w 8079933"/>
              <a:gd name="connsiteY18125" fmla="*/ 1629362 h 4687251"/>
              <a:gd name="connsiteX18126" fmla="*/ 3741328 w 8079933"/>
              <a:gd name="connsiteY18126" fmla="*/ 1621350 h 4687251"/>
              <a:gd name="connsiteX18127" fmla="*/ 3744366 w 8079933"/>
              <a:gd name="connsiteY18127" fmla="*/ 1623083 h 4687251"/>
              <a:gd name="connsiteX18128" fmla="*/ 3748490 w 8079933"/>
              <a:gd name="connsiteY18128" fmla="*/ 1618860 h 4687251"/>
              <a:gd name="connsiteX18129" fmla="*/ 3735577 w 8079933"/>
              <a:gd name="connsiteY18129" fmla="*/ 1619077 h 4687251"/>
              <a:gd name="connsiteX18130" fmla="*/ 3734165 w 8079933"/>
              <a:gd name="connsiteY18130" fmla="*/ 1613230 h 4687251"/>
              <a:gd name="connsiteX18131" fmla="*/ 3728740 w 8079933"/>
              <a:gd name="connsiteY18131" fmla="*/ 1614313 h 4687251"/>
              <a:gd name="connsiteX18132" fmla="*/ 3730368 w 8079933"/>
              <a:gd name="connsiteY18132" fmla="*/ 1612040 h 4687251"/>
              <a:gd name="connsiteX18133" fmla="*/ 3727546 w 8079933"/>
              <a:gd name="connsiteY18133" fmla="*/ 1613122 h 4687251"/>
              <a:gd name="connsiteX18134" fmla="*/ 3723965 w 8079933"/>
              <a:gd name="connsiteY18134" fmla="*/ 1610957 h 4687251"/>
              <a:gd name="connsiteX18135" fmla="*/ 3726353 w 8079933"/>
              <a:gd name="connsiteY18135" fmla="*/ 1609982 h 4687251"/>
              <a:gd name="connsiteX18136" fmla="*/ 3724833 w 8079933"/>
              <a:gd name="connsiteY18136" fmla="*/ 1605976 h 4687251"/>
              <a:gd name="connsiteX18137" fmla="*/ 3731561 w 8079933"/>
              <a:gd name="connsiteY18137" fmla="*/ 1605868 h 4687251"/>
              <a:gd name="connsiteX18138" fmla="*/ 3729825 w 8079933"/>
              <a:gd name="connsiteY18138" fmla="*/ 1603486 h 4687251"/>
              <a:gd name="connsiteX18139" fmla="*/ 3730585 w 8079933"/>
              <a:gd name="connsiteY18139" fmla="*/ 1600779 h 4687251"/>
              <a:gd name="connsiteX18140" fmla="*/ 3736553 w 8079933"/>
              <a:gd name="connsiteY18140" fmla="*/ 1599589 h 4687251"/>
              <a:gd name="connsiteX18141" fmla="*/ 3735034 w 8079933"/>
              <a:gd name="connsiteY18141" fmla="*/ 1595907 h 4687251"/>
              <a:gd name="connsiteX18142" fmla="*/ 3730368 w 8079933"/>
              <a:gd name="connsiteY18142" fmla="*/ 1597098 h 4687251"/>
              <a:gd name="connsiteX18143" fmla="*/ 3723531 w 8079933"/>
              <a:gd name="connsiteY18143" fmla="*/ 1592226 h 4687251"/>
              <a:gd name="connsiteX18144" fmla="*/ 3729391 w 8079933"/>
              <a:gd name="connsiteY18144" fmla="*/ 1592010 h 4687251"/>
              <a:gd name="connsiteX18145" fmla="*/ 3729934 w 8079933"/>
              <a:gd name="connsiteY18145" fmla="*/ 1594283 h 4687251"/>
              <a:gd name="connsiteX18146" fmla="*/ 3732538 w 8079933"/>
              <a:gd name="connsiteY18146" fmla="*/ 1594175 h 4687251"/>
              <a:gd name="connsiteX18147" fmla="*/ 3731127 w 8079933"/>
              <a:gd name="connsiteY18147" fmla="*/ 1590277 h 4687251"/>
              <a:gd name="connsiteX18148" fmla="*/ 3729825 w 8079933"/>
              <a:gd name="connsiteY18148" fmla="*/ 1589519 h 4687251"/>
              <a:gd name="connsiteX18149" fmla="*/ 3729174 w 8079933"/>
              <a:gd name="connsiteY18149" fmla="*/ 1585513 h 4687251"/>
              <a:gd name="connsiteX18150" fmla="*/ 3726136 w 8079933"/>
              <a:gd name="connsiteY18150" fmla="*/ 1588545 h 4687251"/>
              <a:gd name="connsiteX18151" fmla="*/ 3727221 w 8079933"/>
              <a:gd name="connsiteY18151" fmla="*/ 1581940 h 4687251"/>
              <a:gd name="connsiteX18152" fmla="*/ 3733297 w 8079933"/>
              <a:gd name="connsiteY18152" fmla="*/ 1583565 h 4687251"/>
              <a:gd name="connsiteX18153" fmla="*/ 3733297 w 8079933"/>
              <a:gd name="connsiteY18153" fmla="*/ 1581616 h 4687251"/>
              <a:gd name="connsiteX18154" fmla="*/ 3744258 w 8079933"/>
              <a:gd name="connsiteY18154" fmla="*/ 1583239 h 4687251"/>
              <a:gd name="connsiteX18155" fmla="*/ 3745669 w 8079933"/>
              <a:gd name="connsiteY18155" fmla="*/ 1587679 h 4687251"/>
              <a:gd name="connsiteX18156" fmla="*/ 3748708 w 8079933"/>
              <a:gd name="connsiteY18156" fmla="*/ 1584214 h 4687251"/>
              <a:gd name="connsiteX18157" fmla="*/ 3752179 w 8079933"/>
              <a:gd name="connsiteY18157" fmla="*/ 1585838 h 4687251"/>
              <a:gd name="connsiteX18158" fmla="*/ 3758908 w 8079933"/>
              <a:gd name="connsiteY18158" fmla="*/ 1584539 h 4687251"/>
              <a:gd name="connsiteX18159" fmla="*/ 3756520 w 8079933"/>
              <a:gd name="connsiteY18159" fmla="*/ 1582373 h 4687251"/>
              <a:gd name="connsiteX18160" fmla="*/ 3763356 w 8079933"/>
              <a:gd name="connsiteY18160" fmla="*/ 1579775 h 4687251"/>
              <a:gd name="connsiteX18161" fmla="*/ 3768782 w 8079933"/>
              <a:gd name="connsiteY18161" fmla="*/ 1574037 h 4687251"/>
              <a:gd name="connsiteX18162" fmla="*/ 3765961 w 8079933"/>
              <a:gd name="connsiteY18162" fmla="*/ 1574037 h 4687251"/>
              <a:gd name="connsiteX18163" fmla="*/ 3761838 w 8079933"/>
              <a:gd name="connsiteY18163" fmla="*/ 1575444 h 4687251"/>
              <a:gd name="connsiteX18164" fmla="*/ 3762597 w 8079933"/>
              <a:gd name="connsiteY18164" fmla="*/ 1574037 h 4687251"/>
              <a:gd name="connsiteX18165" fmla="*/ 3757497 w 8079933"/>
              <a:gd name="connsiteY18165" fmla="*/ 1574037 h 4687251"/>
              <a:gd name="connsiteX18166" fmla="*/ 3756195 w 8079933"/>
              <a:gd name="connsiteY18166" fmla="*/ 1570247 h 4687251"/>
              <a:gd name="connsiteX18167" fmla="*/ 3760861 w 8079933"/>
              <a:gd name="connsiteY18167" fmla="*/ 1569056 h 4687251"/>
              <a:gd name="connsiteX18168" fmla="*/ 3760535 w 8079933"/>
              <a:gd name="connsiteY18168" fmla="*/ 1567216 h 4687251"/>
              <a:gd name="connsiteX18169" fmla="*/ 3763900 w 8079933"/>
              <a:gd name="connsiteY18169" fmla="*/ 1567108 h 4687251"/>
              <a:gd name="connsiteX18170" fmla="*/ 3764768 w 8079933"/>
              <a:gd name="connsiteY18170" fmla="*/ 1565267 h 4687251"/>
              <a:gd name="connsiteX18171" fmla="*/ 3761512 w 8079933"/>
              <a:gd name="connsiteY18171" fmla="*/ 1563967 h 4687251"/>
              <a:gd name="connsiteX18172" fmla="*/ 3763031 w 8079933"/>
              <a:gd name="connsiteY18172" fmla="*/ 1560070 h 4687251"/>
              <a:gd name="connsiteX18173" fmla="*/ 3765201 w 8079933"/>
              <a:gd name="connsiteY18173" fmla="*/ 1559961 h 4687251"/>
              <a:gd name="connsiteX18174" fmla="*/ 3765201 w 8079933"/>
              <a:gd name="connsiteY18174" fmla="*/ 1556821 h 4687251"/>
              <a:gd name="connsiteX18175" fmla="*/ 3771712 w 8079933"/>
              <a:gd name="connsiteY18175" fmla="*/ 1555198 h 4687251"/>
              <a:gd name="connsiteX18176" fmla="*/ 3773774 w 8079933"/>
              <a:gd name="connsiteY18176" fmla="*/ 1557147 h 4687251"/>
              <a:gd name="connsiteX18177" fmla="*/ 3777464 w 8079933"/>
              <a:gd name="connsiteY18177" fmla="*/ 1557038 h 4687251"/>
              <a:gd name="connsiteX18178" fmla="*/ 3775619 w 8079933"/>
              <a:gd name="connsiteY18178" fmla="*/ 1554331 h 4687251"/>
              <a:gd name="connsiteX18179" fmla="*/ 3778766 w 8079933"/>
              <a:gd name="connsiteY18179" fmla="*/ 1553682 h 4687251"/>
              <a:gd name="connsiteX18180" fmla="*/ 3781045 w 8079933"/>
              <a:gd name="connsiteY18180" fmla="*/ 1557796 h 4687251"/>
              <a:gd name="connsiteX18181" fmla="*/ 3779200 w 8079933"/>
              <a:gd name="connsiteY18181" fmla="*/ 1560070 h 4687251"/>
              <a:gd name="connsiteX18182" fmla="*/ 3778766 w 8079933"/>
              <a:gd name="connsiteY18182" fmla="*/ 1563426 h 4687251"/>
              <a:gd name="connsiteX18183" fmla="*/ 3782130 w 8079933"/>
              <a:gd name="connsiteY18183" fmla="*/ 1558446 h 4687251"/>
              <a:gd name="connsiteX18184" fmla="*/ 3781371 w 8079933"/>
              <a:gd name="connsiteY18184" fmla="*/ 1553032 h 4687251"/>
              <a:gd name="connsiteX18185" fmla="*/ 3786254 w 8079933"/>
              <a:gd name="connsiteY18185" fmla="*/ 1553032 h 4687251"/>
              <a:gd name="connsiteX18186" fmla="*/ 5290620 w 8079933"/>
              <a:gd name="connsiteY18186" fmla="*/ 1547512 h 4687251"/>
              <a:gd name="connsiteX18187" fmla="*/ 5282373 w 8079933"/>
              <a:gd name="connsiteY18187" fmla="*/ 1550110 h 4687251"/>
              <a:gd name="connsiteX18188" fmla="*/ 5282373 w 8079933"/>
              <a:gd name="connsiteY18188" fmla="*/ 1552400 h 4687251"/>
              <a:gd name="connsiteX18189" fmla="*/ 5282698 w 8079933"/>
              <a:gd name="connsiteY18189" fmla="*/ 1550326 h 4687251"/>
              <a:gd name="connsiteX18190" fmla="*/ 5290945 w 8079933"/>
              <a:gd name="connsiteY18190" fmla="*/ 1547728 h 4687251"/>
              <a:gd name="connsiteX18191" fmla="*/ 5293150 w 8079933"/>
              <a:gd name="connsiteY18191" fmla="*/ 1547512 h 4687251"/>
              <a:gd name="connsiteX18192" fmla="*/ 1163514 w 8079933"/>
              <a:gd name="connsiteY18192" fmla="*/ 1545562 h 4687251"/>
              <a:gd name="connsiteX18193" fmla="*/ 1163839 w 8079933"/>
              <a:gd name="connsiteY18193" fmla="*/ 1549244 h 4687251"/>
              <a:gd name="connsiteX18194" fmla="*/ 1157112 w 8079933"/>
              <a:gd name="connsiteY18194" fmla="*/ 1546320 h 4687251"/>
              <a:gd name="connsiteX18195" fmla="*/ 4145660 w 8079933"/>
              <a:gd name="connsiteY18195" fmla="*/ 1545237 h 4687251"/>
              <a:gd name="connsiteX18196" fmla="*/ 4150869 w 8079933"/>
              <a:gd name="connsiteY18196" fmla="*/ 1548052 h 4687251"/>
              <a:gd name="connsiteX18197" fmla="*/ 4154124 w 8079933"/>
              <a:gd name="connsiteY18197" fmla="*/ 1547510 h 4687251"/>
              <a:gd name="connsiteX18198" fmla="*/ 4157162 w 8079933"/>
              <a:gd name="connsiteY18198" fmla="*/ 1554223 h 4687251"/>
              <a:gd name="connsiteX18199" fmla="*/ 4158356 w 8079933"/>
              <a:gd name="connsiteY18199" fmla="*/ 1558013 h 4687251"/>
              <a:gd name="connsiteX18200" fmla="*/ 4155535 w 8079933"/>
              <a:gd name="connsiteY18200" fmla="*/ 1563643 h 4687251"/>
              <a:gd name="connsiteX18201" fmla="*/ 4150869 w 8079933"/>
              <a:gd name="connsiteY18201" fmla="*/ 1564509 h 4687251"/>
              <a:gd name="connsiteX18202" fmla="*/ 4148264 w 8079933"/>
              <a:gd name="connsiteY18202" fmla="*/ 1562777 h 4687251"/>
              <a:gd name="connsiteX18203" fmla="*/ 4144249 w 8079933"/>
              <a:gd name="connsiteY18203" fmla="*/ 1562235 h 4687251"/>
              <a:gd name="connsiteX18204" fmla="*/ 4139800 w 8079933"/>
              <a:gd name="connsiteY18204" fmla="*/ 1557688 h 4687251"/>
              <a:gd name="connsiteX18205" fmla="*/ 4137413 w 8079933"/>
              <a:gd name="connsiteY18205" fmla="*/ 1552491 h 4687251"/>
              <a:gd name="connsiteX18206" fmla="*/ 4138390 w 8079933"/>
              <a:gd name="connsiteY18206" fmla="*/ 1546645 h 4687251"/>
              <a:gd name="connsiteX18207" fmla="*/ 6746985 w 8079933"/>
              <a:gd name="connsiteY18207" fmla="*/ 1544697 h 4687251"/>
              <a:gd name="connsiteX18208" fmla="*/ 6748636 w 8079933"/>
              <a:gd name="connsiteY18208" fmla="*/ 1545055 h 4687251"/>
              <a:gd name="connsiteX18209" fmla="*/ 6748542 w 8079933"/>
              <a:gd name="connsiteY18209" fmla="*/ 1544697 h 4687251"/>
              <a:gd name="connsiteX18210" fmla="*/ 5543683 w 8079933"/>
              <a:gd name="connsiteY18210" fmla="*/ 1543753 h 4687251"/>
              <a:gd name="connsiteX18211" fmla="*/ 5543464 w 8079933"/>
              <a:gd name="connsiteY18211" fmla="*/ 1543831 h 4687251"/>
              <a:gd name="connsiteX18212" fmla="*/ 5544233 w 8079933"/>
              <a:gd name="connsiteY18212" fmla="*/ 1548090 h 4687251"/>
              <a:gd name="connsiteX18213" fmla="*/ 5544440 w 8079933"/>
              <a:gd name="connsiteY18213" fmla="*/ 1547945 h 4687251"/>
              <a:gd name="connsiteX18214" fmla="*/ 2218405 w 8079933"/>
              <a:gd name="connsiteY18214" fmla="*/ 1543505 h 4687251"/>
              <a:gd name="connsiteX18215" fmla="*/ 2218405 w 8079933"/>
              <a:gd name="connsiteY18215" fmla="*/ 1549027 h 4687251"/>
              <a:gd name="connsiteX18216" fmla="*/ 2217320 w 8079933"/>
              <a:gd name="connsiteY18216" fmla="*/ 1551301 h 4687251"/>
              <a:gd name="connsiteX18217" fmla="*/ 2216126 w 8079933"/>
              <a:gd name="connsiteY18217" fmla="*/ 1549676 h 4687251"/>
              <a:gd name="connsiteX18218" fmla="*/ 2215801 w 8079933"/>
              <a:gd name="connsiteY18218" fmla="*/ 1544696 h 4687251"/>
              <a:gd name="connsiteX18219" fmla="*/ 2217103 w 8079933"/>
              <a:gd name="connsiteY18219" fmla="*/ 1544371 h 4687251"/>
              <a:gd name="connsiteX18220" fmla="*/ 4195795 w 8079933"/>
              <a:gd name="connsiteY18220" fmla="*/ 1540582 h 4687251"/>
              <a:gd name="connsiteX18221" fmla="*/ 4197315 w 8079933"/>
              <a:gd name="connsiteY18221" fmla="*/ 1546645 h 4687251"/>
              <a:gd name="connsiteX18222" fmla="*/ 4194060 w 8079933"/>
              <a:gd name="connsiteY18222" fmla="*/ 1545563 h 4687251"/>
              <a:gd name="connsiteX18223" fmla="*/ 3827490 w 8079933"/>
              <a:gd name="connsiteY18223" fmla="*/ 1540149 h 4687251"/>
              <a:gd name="connsiteX18224" fmla="*/ 3830746 w 8079933"/>
              <a:gd name="connsiteY18224" fmla="*/ 1546753 h 4687251"/>
              <a:gd name="connsiteX18225" fmla="*/ 3829335 w 8079933"/>
              <a:gd name="connsiteY18225" fmla="*/ 1551518 h 4687251"/>
              <a:gd name="connsiteX18226" fmla="*/ 3824886 w 8079933"/>
              <a:gd name="connsiteY18226" fmla="*/ 1549677 h 4687251"/>
              <a:gd name="connsiteX18227" fmla="*/ 3823692 w 8079933"/>
              <a:gd name="connsiteY18227" fmla="*/ 1542747 h 4687251"/>
              <a:gd name="connsiteX18228" fmla="*/ 1164818 w 8079933"/>
              <a:gd name="connsiteY18228" fmla="*/ 1537117 h 4687251"/>
              <a:gd name="connsiteX18229" fmla="*/ 1167747 w 8079933"/>
              <a:gd name="connsiteY18229" fmla="*/ 1539282 h 4687251"/>
              <a:gd name="connsiteX18230" fmla="*/ 1164166 w 8079933"/>
              <a:gd name="connsiteY18230" fmla="*/ 1542530 h 4687251"/>
              <a:gd name="connsiteX18231" fmla="*/ 1160043 w 8079933"/>
              <a:gd name="connsiteY18231" fmla="*/ 1542855 h 4687251"/>
              <a:gd name="connsiteX18232" fmla="*/ 1160368 w 8079933"/>
              <a:gd name="connsiteY18232" fmla="*/ 1539282 h 4687251"/>
              <a:gd name="connsiteX18233" fmla="*/ 1163515 w 8079933"/>
              <a:gd name="connsiteY18233" fmla="*/ 1539066 h 4687251"/>
              <a:gd name="connsiteX18234" fmla="*/ 3829335 w 8079933"/>
              <a:gd name="connsiteY18234" fmla="*/ 1534410 h 4687251"/>
              <a:gd name="connsiteX18235" fmla="*/ 3831288 w 8079933"/>
              <a:gd name="connsiteY18235" fmla="*/ 1536467 h 4687251"/>
              <a:gd name="connsiteX18236" fmla="*/ 3831505 w 8079933"/>
              <a:gd name="connsiteY18236" fmla="*/ 1539824 h 4687251"/>
              <a:gd name="connsiteX18237" fmla="*/ 3828901 w 8079933"/>
              <a:gd name="connsiteY18237" fmla="*/ 1537658 h 4687251"/>
              <a:gd name="connsiteX18238" fmla="*/ 5519569 w 8079933"/>
              <a:gd name="connsiteY18238" fmla="*/ 1534372 h 4687251"/>
              <a:gd name="connsiteX18239" fmla="*/ 5517962 w 8079933"/>
              <a:gd name="connsiteY18239" fmla="*/ 1538200 h 4687251"/>
              <a:gd name="connsiteX18240" fmla="*/ 5515032 w 8079933"/>
              <a:gd name="connsiteY18240" fmla="*/ 1540798 h 4687251"/>
              <a:gd name="connsiteX18241" fmla="*/ 5514923 w 8079933"/>
              <a:gd name="connsiteY18241" fmla="*/ 1546970 h 4687251"/>
              <a:gd name="connsiteX18242" fmla="*/ 5515141 w 8079933"/>
              <a:gd name="connsiteY18242" fmla="*/ 1547253 h 4687251"/>
              <a:gd name="connsiteX18243" fmla="*/ 5515141 w 8079933"/>
              <a:gd name="connsiteY18243" fmla="*/ 1541882 h 4687251"/>
              <a:gd name="connsiteX18244" fmla="*/ 5518071 w 8079933"/>
              <a:gd name="connsiteY18244" fmla="*/ 1539284 h 4687251"/>
              <a:gd name="connsiteX18245" fmla="*/ 5520025 w 8079933"/>
              <a:gd name="connsiteY18245" fmla="*/ 1534627 h 4687251"/>
              <a:gd name="connsiteX18246" fmla="*/ 3809043 w 8079933"/>
              <a:gd name="connsiteY18246" fmla="*/ 1533002 h 4687251"/>
              <a:gd name="connsiteX18247" fmla="*/ 3810996 w 8079933"/>
              <a:gd name="connsiteY18247" fmla="*/ 1540689 h 4687251"/>
              <a:gd name="connsiteX18248" fmla="*/ 3806113 w 8079933"/>
              <a:gd name="connsiteY18248" fmla="*/ 1543720 h 4687251"/>
              <a:gd name="connsiteX18249" fmla="*/ 3806656 w 8079933"/>
              <a:gd name="connsiteY18249" fmla="*/ 1539065 h 4687251"/>
              <a:gd name="connsiteX18250" fmla="*/ 3802316 w 8079933"/>
              <a:gd name="connsiteY18250" fmla="*/ 1541879 h 4687251"/>
              <a:gd name="connsiteX18251" fmla="*/ 3802207 w 8079933"/>
              <a:gd name="connsiteY18251" fmla="*/ 1535817 h 4687251"/>
              <a:gd name="connsiteX18252" fmla="*/ 5496809 w 8079933"/>
              <a:gd name="connsiteY18252" fmla="*/ 1532695 h 4687251"/>
              <a:gd name="connsiteX18253" fmla="*/ 5496368 w 8079933"/>
              <a:gd name="connsiteY18253" fmla="*/ 1532787 h 4687251"/>
              <a:gd name="connsiteX18254" fmla="*/ 5497670 w 8079933"/>
              <a:gd name="connsiteY18254" fmla="*/ 1535494 h 4687251"/>
              <a:gd name="connsiteX18255" fmla="*/ 5499707 w 8079933"/>
              <a:gd name="connsiteY18255" fmla="*/ 1536426 h 4687251"/>
              <a:gd name="connsiteX18256" fmla="*/ 5500382 w 8079933"/>
              <a:gd name="connsiteY18256" fmla="*/ 1535710 h 4687251"/>
              <a:gd name="connsiteX18257" fmla="*/ 5497669 w 8079933"/>
              <a:gd name="connsiteY18257" fmla="*/ 1534411 h 4687251"/>
              <a:gd name="connsiteX18258" fmla="*/ 1158849 w 8079933"/>
              <a:gd name="connsiteY18258" fmla="*/ 1531812 h 4687251"/>
              <a:gd name="connsiteX18259" fmla="*/ 1160694 w 8079933"/>
              <a:gd name="connsiteY18259" fmla="*/ 1535926 h 4687251"/>
              <a:gd name="connsiteX18260" fmla="*/ 1155919 w 8079933"/>
              <a:gd name="connsiteY18260" fmla="*/ 1535493 h 4687251"/>
              <a:gd name="connsiteX18261" fmla="*/ 4154234 w 8079933"/>
              <a:gd name="connsiteY18261" fmla="*/ 1530838 h 4687251"/>
              <a:gd name="connsiteX18262" fmla="*/ 4155970 w 8079933"/>
              <a:gd name="connsiteY18262" fmla="*/ 1536901 h 4687251"/>
              <a:gd name="connsiteX18263" fmla="*/ 4155536 w 8079933"/>
              <a:gd name="connsiteY18263" fmla="*/ 1540257 h 4687251"/>
              <a:gd name="connsiteX18264" fmla="*/ 4151847 w 8079933"/>
              <a:gd name="connsiteY18264" fmla="*/ 1541015 h 4687251"/>
              <a:gd name="connsiteX18265" fmla="*/ 4154234 w 8079933"/>
              <a:gd name="connsiteY18265" fmla="*/ 1537334 h 4687251"/>
              <a:gd name="connsiteX18266" fmla="*/ 5334623 w 8079933"/>
              <a:gd name="connsiteY18266" fmla="*/ 1530587 h 4687251"/>
              <a:gd name="connsiteX18267" fmla="*/ 5334461 w 8079933"/>
              <a:gd name="connsiteY18267" fmla="*/ 1530730 h 4687251"/>
              <a:gd name="connsiteX18268" fmla="*/ 5334461 w 8079933"/>
              <a:gd name="connsiteY18268" fmla="*/ 1534591 h 4687251"/>
              <a:gd name="connsiteX18269" fmla="*/ 5334786 w 8079933"/>
              <a:gd name="connsiteY18269" fmla="*/ 1534302 h 4687251"/>
              <a:gd name="connsiteX18270" fmla="*/ 4192540 w 8079933"/>
              <a:gd name="connsiteY18270" fmla="*/ 1529321 h 4687251"/>
              <a:gd name="connsiteX18271" fmla="*/ 4193951 w 8079933"/>
              <a:gd name="connsiteY18271" fmla="*/ 1533219 h 4687251"/>
              <a:gd name="connsiteX18272" fmla="*/ 4194384 w 8079933"/>
              <a:gd name="connsiteY18272" fmla="*/ 1538415 h 4687251"/>
              <a:gd name="connsiteX18273" fmla="*/ 4192866 w 8079933"/>
              <a:gd name="connsiteY18273" fmla="*/ 1544046 h 4687251"/>
              <a:gd name="connsiteX18274" fmla="*/ 4187874 w 8079933"/>
              <a:gd name="connsiteY18274" fmla="*/ 1546428 h 4687251"/>
              <a:gd name="connsiteX18275" fmla="*/ 4187874 w 8079933"/>
              <a:gd name="connsiteY18275" fmla="*/ 1548160 h 4687251"/>
              <a:gd name="connsiteX18276" fmla="*/ 4192214 w 8079933"/>
              <a:gd name="connsiteY18276" fmla="*/ 1551084 h 4687251"/>
              <a:gd name="connsiteX18277" fmla="*/ 4193082 w 8079933"/>
              <a:gd name="connsiteY18277" fmla="*/ 1554007 h 4687251"/>
              <a:gd name="connsiteX18278" fmla="*/ 4190586 w 8079933"/>
              <a:gd name="connsiteY18278" fmla="*/ 1556281 h 4687251"/>
              <a:gd name="connsiteX18279" fmla="*/ 4185594 w 8079933"/>
              <a:gd name="connsiteY18279" fmla="*/ 1558338 h 4687251"/>
              <a:gd name="connsiteX18280" fmla="*/ 4185812 w 8079933"/>
              <a:gd name="connsiteY18280" fmla="*/ 1561586 h 4687251"/>
              <a:gd name="connsiteX18281" fmla="*/ 4183967 w 8079933"/>
              <a:gd name="connsiteY18281" fmla="*/ 1564076 h 4687251"/>
              <a:gd name="connsiteX18282" fmla="*/ 4180387 w 8079933"/>
              <a:gd name="connsiteY18282" fmla="*/ 1564293 h 4687251"/>
              <a:gd name="connsiteX18283" fmla="*/ 4178541 w 8079933"/>
              <a:gd name="connsiteY18283" fmla="*/ 1561803 h 4687251"/>
              <a:gd name="connsiteX18284" fmla="*/ 4180603 w 8079933"/>
              <a:gd name="connsiteY18284" fmla="*/ 1559313 h 4687251"/>
              <a:gd name="connsiteX18285" fmla="*/ 4179735 w 8079933"/>
              <a:gd name="connsiteY18285" fmla="*/ 1557147 h 4687251"/>
              <a:gd name="connsiteX18286" fmla="*/ 4174201 w 8079933"/>
              <a:gd name="connsiteY18286" fmla="*/ 1555631 h 4687251"/>
              <a:gd name="connsiteX18287" fmla="*/ 4171162 w 8079933"/>
              <a:gd name="connsiteY18287" fmla="*/ 1555631 h 4687251"/>
              <a:gd name="connsiteX18288" fmla="*/ 4168449 w 8079933"/>
              <a:gd name="connsiteY18288" fmla="*/ 1552275 h 4687251"/>
              <a:gd name="connsiteX18289" fmla="*/ 4168666 w 8079933"/>
              <a:gd name="connsiteY18289" fmla="*/ 1547403 h 4687251"/>
              <a:gd name="connsiteX18290" fmla="*/ 4166822 w 8079933"/>
              <a:gd name="connsiteY18290" fmla="*/ 1544479 h 4687251"/>
              <a:gd name="connsiteX18291" fmla="*/ 4166171 w 8079933"/>
              <a:gd name="connsiteY18291" fmla="*/ 1541015 h 4687251"/>
              <a:gd name="connsiteX18292" fmla="*/ 4169101 w 8079933"/>
              <a:gd name="connsiteY18292" fmla="*/ 1540148 h 4687251"/>
              <a:gd name="connsiteX18293" fmla="*/ 4170945 w 8079933"/>
              <a:gd name="connsiteY18293" fmla="*/ 1536575 h 4687251"/>
              <a:gd name="connsiteX18294" fmla="*/ 4173224 w 8079933"/>
              <a:gd name="connsiteY18294" fmla="*/ 1534951 h 4687251"/>
              <a:gd name="connsiteX18295" fmla="*/ 4175394 w 8079933"/>
              <a:gd name="connsiteY18295" fmla="*/ 1537766 h 4687251"/>
              <a:gd name="connsiteX18296" fmla="*/ 4175612 w 8079933"/>
              <a:gd name="connsiteY18296" fmla="*/ 1540040 h 4687251"/>
              <a:gd name="connsiteX18297" fmla="*/ 4179952 w 8079933"/>
              <a:gd name="connsiteY18297" fmla="*/ 1542963 h 4687251"/>
              <a:gd name="connsiteX18298" fmla="*/ 4180928 w 8079933"/>
              <a:gd name="connsiteY18298" fmla="*/ 1541772 h 4687251"/>
              <a:gd name="connsiteX18299" fmla="*/ 4183425 w 8079933"/>
              <a:gd name="connsiteY18299" fmla="*/ 1542422 h 4687251"/>
              <a:gd name="connsiteX18300" fmla="*/ 4183750 w 8079933"/>
              <a:gd name="connsiteY18300" fmla="*/ 1539931 h 4687251"/>
              <a:gd name="connsiteX18301" fmla="*/ 4180060 w 8079933"/>
              <a:gd name="connsiteY18301" fmla="*/ 1537441 h 4687251"/>
              <a:gd name="connsiteX18302" fmla="*/ 4178433 w 8079933"/>
              <a:gd name="connsiteY18302" fmla="*/ 1535276 h 4687251"/>
              <a:gd name="connsiteX18303" fmla="*/ 4180712 w 8079933"/>
              <a:gd name="connsiteY18303" fmla="*/ 1531053 h 4687251"/>
              <a:gd name="connsiteX18304" fmla="*/ 4187006 w 8079933"/>
              <a:gd name="connsiteY18304" fmla="*/ 1529537 h 4687251"/>
              <a:gd name="connsiteX18305" fmla="*/ 6562251 w 8079933"/>
              <a:gd name="connsiteY18305" fmla="*/ 1528573 h 4687251"/>
              <a:gd name="connsiteX18306" fmla="*/ 6562218 w 8079933"/>
              <a:gd name="connsiteY18306" fmla="*/ 1528672 h 4687251"/>
              <a:gd name="connsiteX18307" fmla="*/ 6562978 w 8079933"/>
              <a:gd name="connsiteY18307" fmla="*/ 1533870 h 4687251"/>
              <a:gd name="connsiteX18308" fmla="*/ 6565764 w 8079933"/>
              <a:gd name="connsiteY18308" fmla="*/ 1536756 h 4687251"/>
              <a:gd name="connsiteX18309" fmla="*/ 6565799 w 8079933"/>
              <a:gd name="connsiteY18309" fmla="*/ 1536467 h 4687251"/>
              <a:gd name="connsiteX18310" fmla="*/ 6562978 w 8079933"/>
              <a:gd name="connsiteY18310" fmla="*/ 1533543 h 4687251"/>
              <a:gd name="connsiteX18311" fmla="*/ 1126076 w 8079933"/>
              <a:gd name="connsiteY18311" fmla="*/ 1527589 h 4687251"/>
              <a:gd name="connsiteX18312" fmla="*/ 1130417 w 8079933"/>
              <a:gd name="connsiteY18312" fmla="*/ 1528563 h 4687251"/>
              <a:gd name="connsiteX18313" fmla="*/ 1133347 w 8079933"/>
              <a:gd name="connsiteY18313" fmla="*/ 1533760 h 4687251"/>
              <a:gd name="connsiteX18314" fmla="*/ 1138882 w 8079933"/>
              <a:gd name="connsiteY18314" fmla="*/ 1533436 h 4687251"/>
              <a:gd name="connsiteX18315" fmla="*/ 1140075 w 8079933"/>
              <a:gd name="connsiteY18315" fmla="*/ 1537875 h 4687251"/>
              <a:gd name="connsiteX18316" fmla="*/ 1143548 w 8079933"/>
              <a:gd name="connsiteY18316" fmla="*/ 1541989 h 4687251"/>
              <a:gd name="connsiteX18317" fmla="*/ 1151035 w 8079933"/>
              <a:gd name="connsiteY18317" fmla="*/ 1546103 h 4687251"/>
              <a:gd name="connsiteX18318" fmla="*/ 1153097 w 8079933"/>
              <a:gd name="connsiteY18318" fmla="*/ 1550217 h 4687251"/>
              <a:gd name="connsiteX18319" fmla="*/ 1158523 w 8079933"/>
              <a:gd name="connsiteY18319" fmla="*/ 1552275 h 4687251"/>
              <a:gd name="connsiteX18320" fmla="*/ 1163298 w 8079933"/>
              <a:gd name="connsiteY18320" fmla="*/ 1552275 h 4687251"/>
              <a:gd name="connsiteX18321" fmla="*/ 1171762 w 8079933"/>
              <a:gd name="connsiteY18321" fmla="*/ 1556822 h 4687251"/>
              <a:gd name="connsiteX18322" fmla="*/ 1176754 w 8079933"/>
              <a:gd name="connsiteY18322" fmla="*/ 1557472 h 4687251"/>
              <a:gd name="connsiteX18323" fmla="*/ 1179358 w 8079933"/>
              <a:gd name="connsiteY18323" fmla="*/ 1560178 h 4687251"/>
              <a:gd name="connsiteX18324" fmla="*/ 1179467 w 8079933"/>
              <a:gd name="connsiteY18324" fmla="*/ 1568515 h 4687251"/>
              <a:gd name="connsiteX18325" fmla="*/ 1185218 w 8079933"/>
              <a:gd name="connsiteY18325" fmla="*/ 1577068 h 4687251"/>
              <a:gd name="connsiteX18326" fmla="*/ 1186195 w 8079933"/>
              <a:gd name="connsiteY18326" fmla="*/ 1590819 h 4687251"/>
              <a:gd name="connsiteX18327" fmla="*/ 1197047 w 8079933"/>
              <a:gd name="connsiteY18327" fmla="*/ 1598182 h 4687251"/>
              <a:gd name="connsiteX18328" fmla="*/ 1201061 w 8079933"/>
              <a:gd name="connsiteY18328" fmla="*/ 1603703 h 4687251"/>
              <a:gd name="connsiteX18329" fmla="*/ 1199976 w 8079933"/>
              <a:gd name="connsiteY18329" fmla="*/ 1613015 h 4687251"/>
              <a:gd name="connsiteX18330" fmla="*/ 1201713 w 8079933"/>
              <a:gd name="connsiteY18330" fmla="*/ 1616804 h 4687251"/>
              <a:gd name="connsiteX18331" fmla="*/ 1200845 w 8079933"/>
              <a:gd name="connsiteY18331" fmla="*/ 1622976 h 4687251"/>
              <a:gd name="connsiteX18332" fmla="*/ 1204100 w 8079933"/>
              <a:gd name="connsiteY18332" fmla="*/ 1635210 h 4687251"/>
              <a:gd name="connsiteX18333" fmla="*/ 1199868 w 8079933"/>
              <a:gd name="connsiteY18333" fmla="*/ 1634669 h 4687251"/>
              <a:gd name="connsiteX18334" fmla="*/ 1197372 w 8079933"/>
              <a:gd name="connsiteY18334" fmla="*/ 1636402 h 4687251"/>
              <a:gd name="connsiteX18335" fmla="*/ 1182831 w 8079933"/>
              <a:gd name="connsiteY18335" fmla="*/ 1627956 h 4687251"/>
              <a:gd name="connsiteX18336" fmla="*/ 1180878 w 8079933"/>
              <a:gd name="connsiteY18336" fmla="*/ 1624492 h 4687251"/>
              <a:gd name="connsiteX18337" fmla="*/ 1177730 w 8079933"/>
              <a:gd name="connsiteY18337" fmla="*/ 1623625 h 4687251"/>
              <a:gd name="connsiteX18338" fmla="*/ 1168832 w 8079933"/>
              <a:gd name="connsiteY18338" fmla="*/ 1614531 h 4687251"/>
              <a:gd name="connsiteX18339" fmla="*/ 1175560 w 8079933"/>
              <a:gd name="connsiteY18339" fmla="*/ 1607493 h 4687251"/>
              <a:gd name="connsiteX18340" fmla="*/ 1171220 w 8079933"/>
              <a:gd name="connsiteY18340" fmla="*/ 1607493 h 4687251"/>
              <a:gd name="connsiteX18341" fmla="*/ 1168941 w 8079933"/>
              <a:gd name="connsiteY18341" fmla="*/ 1605111 h 4687251"/>
              <a:gd name="connsiteX18342" fmla="*/ 1165359 w 8079933"/>
              <a:gd name="connsiteY18342" fmla="*/ 1608359 h 4687251"/>
              <a:gd name="connsiteX18343" fmla="*/ 1160043 w 8079933"/>
              <a:gd name="connsiteY18343" fmla="*/ 1603487 h 4687251"/>
              <a:gd name="connsiteX18344" fmla="*/ 1161561 w 8079933"/>
              <a:gd name="connsiteY18344" fmla="*/ 1599048 h 4687251"/>
              <a:gd name="connsiteX18345" fmla="*/ 1159825 w 8079933"/>
              <a:gd name="connsiteY18345" fmla="*/ 1594609 h 4687251"/>
              <a:gd name="connsiteX18346" fmla="*/ 1156787 w 8079933"/>
              <a:gd name="connsiteY18346" fmla="*/ 1594067 h 4687251"/>
              <a:gd name="connsiteX18347" fmla="*/ 1157221 w 8079933"/>
              <a:gd name="connsiteY18347" fmla="*/ 1590170 h 4687251"/>
              <a:gd name="connsiteX18348" fmla="*/ 1148974 w 8079933"/>
              <a:gd name="connsiteY18348" fmla="*/ 1591036 h 4687251"/>
              <a:gd name="connsiteX18349" fmla="*/ 1147563 w 8079933"/>
              <a:gd name="connsiteY18349" fmla="*/ 1585297 h 4687251"/>
              <a:gd name="connsiteX18350" fmla="*/ 1145176 w 8079933"/>
              <a:gd name="connsiteY18350" fmla="*/ 1586164 h 4687251"/>
              <a:gd name="connsiteX18351" fmla="*/ 1144850 w 8079933"/>
              <a:gd name="connsiteY18351" fmla="*/ 1582266 h 4687251"/>
              <a:gd name="connsiteX18352" fmla="*/ 1148866 w 8079933"/>
              <a:gd name="connsiteY18352" fmla="*/ 1578584 h 4687251"/>
              <a:gd name="connsiteX18353" fmla="*/ 1150384 w 8079933"/>
              <a:gd name="connsiteY18353" fmla="*/ 1572954 h 4687251"/>
              <a:gd name="connsiteX18354" fmla="*/ 1144199 w 8079933"/>
              <a:gd name="connsiteY18354" fmla="*/ 1574687 h 4687251"/>
              <a:gd name="connsiteX18355" fmla="*/ 1143656 w 8079933"/>
              <a:gd name="connsiteY18355" fmla="*/ 1578909 h 4687251"/>
              <a:gd name="connsiteX18356" fmla="*/ 1140184 w 8079933"/>
              <a:gd name="connsiteY18356" fmla="*/ 1580100 h 4687251"/>
              <a:gd name="connsiteX18357" fmla="*/ 1137254 w 8079933"/>
              <a:gd name="connsiteY18357" fmla="*/ 1574362 h 4687251"/>
              <a:gd name="connsiteX18358" fmla="*/ 1143656 w 8079933"/>
              <a:gd name="connsiteY18358" fmla="*/ 1566891 h 4687251"/>
              <a:gd name="connsiteX18359" fmla="*/ 1138665 w 8079933"/>
              <a:gd name="connsiteY18359" fmla="*/ 1569706 h 4687251"/>
              <a:gd name="connsiteX18360" fmla="*/ 1133999 w 8079933"/>
              <a:gd name="connsiteY18360" fmla="*/ 1566458 h 4687251"/>
              <a:gd name="connsiteX18361" fmla="*/ 1133782 w 8079933"/>
              <a:gd name="connsiteY18361" fmla="*/ 1561803 h 4687251"/>
              <a:gd name="connsiteX18362" fmla="*/ 1128681 w 8079933"/>
              <a:gd name="connsiteY18362" fmla="*/ 1562127 h 4687251"/>
              <a:gd name="connsiteX18363" fmla="*/ 1128030 w 8079933"/>
              <a:gd name="connsiteY18363" fmla="*/ 1557688 h 4687251"/>
              <a:gd name="connsiteX18364" fmla="*/ 1122496 w 8079933"/>
              <a:gd name="connsiteY18364" fmla="*/ 1559529 h 4687251"/>
              <a:gd name="connsiteX18365" fmla="*/ 1121085 w 8079933"/>
              <a:gd name="connsiteY18365" fmla="*/ 1558013 h 4687251"/>
              <a:gd name="connsiteX18366" fmla="*/ 1123689 w 8079933"/>
              <a:gd name="connsiteY18366" fmla="*/ 1552275 h 4687251"/>
              <a:gd name="connsiteX18367" fmla="*/ 1120868 w 8079933"/>
              <a:gd name="connsiteY18367" fmla="*/ 1550542 h 4687251"/>
              <a:gd name="connsiteX18368" fmla="*/ 1124340 w 8079933"/>
              <a:gd name="connsiteY18368" fmla="*/ 1545346 h 4687251"/>
              <a:gd name="connsiteX18369" fmla="*/ 1130201 w 8079933"/>
              <a:gd name="connsiteY18369" fmla="*/ 1545670 h 4687251"/>
              <a:gd name="connsiteX18370" fmla="*/ 1135084 w 8079933"/>
              <a:gd name="connsiteY18370" fmla="*/ 1542855 h 4687251"/>
              <a:gd name="connsiteX18371" fmla="*/ 1123364 w 8079933"/>
              <a:gd name="connsiteY18371" fmla="*/ 1541556 h 4687251"/>
              <a:gd name="connsiteX18372" fmla="*/ 1121302 w 8079933"/>
              <a:gd name="connsiteY18372" fmla="*/ 1535709 h 4687251"/>
              <a:gd name="connsiteX18373" fmla="*/ 1119132 w 8079933"/>
              <a:gd name="connsiteY18373" fmla="*/ 1535385 h 4687251"/>
              <a:gd name="connsiteX18374" fmla="*/ 1117070 w 8079933"/>
              <a:gd name="connsiteY18374" fmla="*/ 1528780 h 4687251"/>
              <a:gd name="connsiteX18375" fmla="*/ 1124232 w 8079933"/>
              <a:gd name="connsiteY18375" fmla="*/ 1529321 h 4687251"/>
              <a:gd name="connsiteX18376" fmla="*/ 5565382 w 8079933"/>
              <a:gd name="connsiteY18376" fmla="*/ 1527168 h 4687251"/>
              <a:gd name="connsiteX18377" fmla="*/ 5564950 w 8079933"/>
              <a:gd name="connsiteY18377" fmla="*/ 1527590 h 4687251"/>
              <a:gd name="connsiteX18378" fmla="*/ 5564950 w 8079933"/>
              <a:gd name="connsiteY18378" fmla="*/ 1529847 h 4687251"/>
              <a:gd name="connsiteX18379" fmla="*/ 5565058 w 8079933"/>
              <a:gd name="connsiteY18379" fmla="*/ 1529755 h 4687251"/>
              <a:gd name="connsiteX18380" fmla="*/ 4480434 w 8079933"/>
              <a:gd name="connsiteY18380" fmla="*/ 1526724 h 4687251"/>
              <a:gd name="connsiteX18381" fmla="*/ 4485969 w 8079933"/>
              <a:gd name="connsiteY18381" fmla="*/ 1534194 h 4687251"/>
              <a:gd name="connsiteX18382" fmla="*/ 4492913 w 8079933"/>
              <a:gd name="connsiteY18382" fmla="*/ 1534519 h 4687251"/>
              <a:gd name="connsiteX18383" fmla="*/ 4495192 w 8079933"/>
              <a:gd name="connsiteY18383" fmla="*/ 1536576 h 4687251"/>
              <a:gd name="connsiteX18384" fmla="*/ 4489766 w 8079933"/>
              <a:gd name="connsiteY18384" fmla="*/ 1543721 h 4687251"/>
              <a:gd name="connsiteX18385" fmla="*/ 4493456 w 8079933"/>
              <a:gd name="connsiteY18385" fmla="*/ 1545454 h 4687251"/>
              <a:gd name="connsiteX18386" fmla="*/ 4493456 w 8079933"/>
              <a:gd name="connsiteY18386" fmla="*/ 1550326 h 4687251"/>
              <a:gd name="connsiteX18387" fmla="*/ 4493458 w 8079933"/>
              <a:gd name="connsiteY18387" fmla="*/ 1550325 h 4687251"/>
              <a:gd name="connsiteX18388" fmla="*/ 4493458 w 8079933"/>
              <a:gd name="connsiteY18388" fmla="*/ 1545453 h 4687251"/>
              <a:gd name="connsiteX18389" fmla="*/ 4489768 w 8079933"/>
              <a:gd name="connsiteY18389" fmla="*/ 1543721 h 4687251"/>
              <a:gd name="connsiteX18390" fmla="*/ 4495193 w 8079933"/>
              <a:gd name="connsiteY18390" fmla="*/ 1536576 h 4687251"/>
              <a:gd name="connsiteX18391" fmla="*/ 4492916 w 8079933"/>
              <a:gd name="connsiteY18391" fmla="*/ 1534519 h 4687251"/>
              <a:gd name="connsiteX18392" fmla="*/ 4485970 w 8079933"/>
              <a:gd name="connsiteY18392" fmla="*/ 1534194 h 4687251"/>
              <a:gd name="connsiteX18393" fmla="*/ 4480436 w 8079933"/>
              <a:gd name="connsiteY18393" fmla="*/ 1526724 h 4687251"/>
              <a:gd name="connsiteX18394" fmla="*/ 4570544 w 8079933"/>
              <a:gd name="connsiteY18394" fmla="*/ 1526074 h 4687251"/>
              <a:gd name="connsiteX18395" fmla="*/ 4571156 w 8079933"/>
              <a:gd name="connsiteY18395" fmla="*/ 1526831 h 4687251"/>
              <a:gd name="connsiteX18396" fmla="*/ 4573863 w 8079933"/>
              <a:gd name="connsiteY18396" fmla="*/ 1526831 h 4687251"/>
              <a:gd name="connsiteX18397" fmla="*/ 4571697 w 8079933"/>
              <a:gd name="connsiteY18397" fmla="*/ 1526074 h 4687251"/>
              <a:gd name="connsiteX18398" fmla="*/ 3808390 w 8079933"/>
              <a:gd name="connsiteY18398" fmla="*/ 1526074 h 4687251"/>
              <a:gd name="connsiteX18399" fmla="*/ 3809041 w 8079933"/>
              <a:gd name="connsiteY18399" fmla="*/ 1528456 h 4687251"/>
              <a:gd name="connsiteX18400" fmla="*/ 3806980 w 8079933"/>
              <a:gd name="connsiteY18400" fmla="*/ 1530621 h 4687251"/>
              <a:gd name="connsiteX18401" fmla="*/ 3818700 w 8079933"/>
              <a:gd name="connsiteY18401" fmla="*/ 1525856 h 4687251"/>
              <a:gd name="connsiteX18402" fmla="*/ 3815119 w 8079933"/>
              <a:gd name="connsiteY18402" fmla="*/ 1533868 h 4687251"/>
              <a:gd name="connsiteX18403" fmla="*/ 3812189 w 8079933"/>
              <a:gd name="connsiteY18403" fmla="*/ 1537658 h 4687251"/>
              <a:gd name="connsiteX18404" fmla="*/ 3810561 w 8079933"/>
              <a:gd name="connsiteY18404" fmla="*/ 1533435 h 4687251"/>
              <a:gd name="connsiteX18405" fmla="*/ 5460014 w 8079933"/>
              <a:gd name="connsiteY18405" fmla="*/ 1524262 h 4687251"/>
              <a:gd name="connsiteX18406" fmla="*/ 5456433 w 8079933"/>
              <a:gd name="connsiteY18406" fmla="*/ 1525208 h 4687251"/>
              <a:gd name="connsiteX18407" fmla="*/ 5456737 w 8079933"/>
              <a:gd name="connsiteY18407" fmla="*/ 1525845 h 4687251"/>
              <a:gd name="connsiteX18408" fmla="*/ 5460014 w 8079933"/>
              <a:gd name="connsiteY18408" fmla="*/ 1524884 h 4687251"/>
              <a:gd name="connsiteX18409" fmla="*/ 5587889 w 8079933"/>
              <a:gd name="connsiteY18409" fmla="*/ 1523007 h 4687251"/>
              <a:gd name="connsiteX18410" fmla="*/ 5584373 w 8079933"/>
              <a:gd name="connsiteY18410" fmla="*/ 1523908 h 4687251"/>
              <a:gd name="connsiteX18411" fmla="*/ 5584385 w 8079933"/>
              <a:gd name="connsiteY18411" fmla="*/ 1523931 h 4687251"/>
              <a:gd name="connsiteX18412" fmla="*/ 5587847 w 8079933"/>
              <a:gd name="connsiteY18412" fmla="*/ 1523043 h 4687251"/>
              <a:gd name="connsiteX18413" fmla="*/ 4565512 w 8079933"/>
              <a:gd name="connsiteY18413" fmla="*/ 1522609 h 4687251"/>
              <a:gd name="connsiteX18414" fmla="*/ 4558567 w 8079933"/>
              <a:gd name="connsiteY18414" fmla="*/ 1524666 h 4687251"/>
              <a:gd name="connsiteX18415" fmla="*/ 4554086 w 8079933"/>
              <a:gd name="connsiteY18415" fmla="*/ 1528118 h 4687251"/>
              <a:gd name="connsiteX18416" fmla="*/ 4555312 w 8079933"/>
              <a:gd name="connsiteY18416" fmla="*/ 1530295 h 4687251"/>
              <a:gd name="connsiteX18417" fmla="*/ 4561497 w 8079933"/>
              <a:gd name="connsiteY18417" fmla="*/ 1525531 h 4687251"/>
              <a:gd name="connsiteX18418" fmla="*/ 4566613 w 8079933"/>
              <a:gd name="connsiteY18418" fmla="*/ 1524016 h 4687251"/>
              <a:gd name="connsiteX18419" fmla="*/ 5480401 w 8079933"/>
              <a:gd name="connsiteY18419" fmla="*/ 1521630 h 4687251"/>
              <a:gd name="connsiteX18420" fmla="*/ 5480090 w 8079933"/>
              <a:gd name="connsiteY18420" fmla="*/ 1521852 h 4687251"/>
              <a:gd name="connsiteX18421" fmla="*/ 5481932 w 8079933"/>
              <a:gd name="connsiteY18421" fmla="*/ 1526715 h 4687251"/>
              <a:gd name="connsiteX18422" fmla="*/ 5482042 w 8079933"/>
              <a:gd name="connsiteY18422" fmla="*/ 1525966 h 4687251"/>
              <a:gd name="connsiteX18423" fmla="*/ 7367737 w 8079933"/>
              <a:gd name="connsiteY18423" fmla="*/ 1521526 h 4687251"/>
              <a:gd name="connsiteX18424" fmla="*/ 7369257 w 8079933"/>
              <a:gd name="connsiteY18424" fmla="*/ 1523258 h 4687251"/>
              <a:gd name="connsiteX18425" fmla="*/ 7368931 w 8079933"/>
              <a:gd name="connsiteY18425" fmla="*/ 1527589 h 4687251"/>
              <a:gd name="connsiteX18426" fmla="*/ 7367195 w 8079933"/>
              <a:gd name="connsiteY18426" fmla="*/ 1529863 h 4687251"/>
              <a:gd name="connsiteX18427" fmla="*/ 7365458 w 8079933"/>
              <a:gd name="connsiteY18427" fmla="*/ 1530946 h 4687251"/>
              <a:gd name="connsiteX18428" fmla="*/ 7366326 w 8079933"/>
              <a:gd name="connsiteY18428" fmla="*/ 1524991 h 4687251"/>
              <a:gd name="connsiteX18429" fmla="*/ 4542723 w 8079933"/>
              <a:gd name="connsiteY18429" fmla="*/ 1520877 h 4687251"/>
              <a:gd name="connsiteX18430" fmla="*/ 4538692 w 8079933"/>
              <a:gd name="connsiteY18430" fmla="*/ 1522739 h 4687251"/>
              <a:gd name="connsiteX18431" fmla="*/ 4539794 w 8079933"/>
              <a:gd name="connsiteY18431" fmla="*/ 1524449 h 4687251"/>
              <a:gd name="connsiteX18432" fmla="*/ 4545654 w 8079933"/>
              <a:gd name="connsiteY18432" fmla="*/ 1521742 h 4687251"/>
              <a:gd name="connsiteX18433" fmla="*/ 4548235 w 8079933"/>
              <a:gd name="connsiteY18433" fmla="*/ 1522064 h 4687251"/>
              <a:gd name="connsiteX18434" fmla="*/ 4547932 w 8079933"/>
              <a:gd name="connsiteY18434" fmla="*/ 1521527 h 4687251"/>
              <a:gd name="connsiteX18435" fmla="*/ 5591753 w 8079933"/>
              <a:gd name="connsiteY18435" fmla="*/ 1518864 h 4687251"/>
              <a:gd name="connsiteX18436" fmla="*/ 5588788 w 8079933"/>
              <a:gd name="connsiteY18436" fmla="*/ 1522235 h 4687251"/>
              <a:gd name="connsiteX18437" fmla="*/ 5591753 w 8079933"/>
              <a:gd name="connsiteY18437" fmla="*/ 1519686 h 4687251"/>
              <a:gd name="connsiteX18438" fmla="*/ 4469149 w 8079933"/>
              <a:gd name="connsiteY18438" fmla="*/ 1518820 h 4687251"/>
              <a:gd name="connsiteX18439" fmla="*/ 4475334 w 8079933"/>
              <a:gd name="connsiteY18439" fmla="*/ 1525965 h 4687251"/>
              <a:gd name="connsiteX18440" fmla="*/ 4477404 w 8079933"/>
              <a:gd name="connsiteY18440" fmla="*/ 1526273 h 4687251"/>
              <a:gd name="connsiteX18441" fmla="*/ 4475336 w 8079933"/>
              <a:gd name="connsiteY18441" fmla="*/ 1525965 h 4687251"/>
              <a:gd name="connsiteX18442" fmla="*/ 4469150 w 8079933"/>
              <a:gd name="connsiteY18442" fmla="*/ 1518820 h 4687251"/>
              <a:gd name="connsiteX18443" fmla="*/ 4443323 w 8079933"/>
              <a:gd name="connsiteY18443" fmla="*/ 1517629 h 4687251"/>
              <a:gd name="connsiteX18444" fmla="*/ 4443321 w 8079933"/>
              <a:gd name="connsiteY18444" fmla="*/ 1517629 h 4687251"/>
              <a:gd name="connsiteX18445" fmla="*/ 4445453 w 8079933"/>
              <a:gd name="connsiteY18445" fmla="*/ 1518692 h 4687251"/>
              <a:gd name="connsiteX18446" fmla="*/ 7360792 w 8079933"/>
              <a:gd name="connsiteY18446" fmla="*/ 1517087 h 4687251"/>
              <a:gd name="connsiteX18447" fmla="*/ 7362637 w 8079933"/>
              <a:gd name="connsiteY18447" fmla="*/ 1517736 h 4687251"/>
              <a:gd name="connsiteX18448" fmla="*/ 7363396 w 8079933"/>
              <a:gd name="connsiteY18448" fmla="*/ 1519252 h 4687251"/>
              <a:gd name="connsiteX18449" fmla="*/ 7362094 w 8079933"/>
              <a:gd name="connsiteY18449" fmla="*/ 1519902 h 4687251"/>
              <a:gd name="connsiteX18450" fmla="*/ 7359815 w 8079933"/>
              <a:gd name="connsiteY18450" fmla="*/ 1519143 h 4687251"/>
              <a:gd name="connsiteX18451" fmla="*/ 4523643 w 8079933"/>
              <a:gd name="connsiteY18451" fmla="*/ 1517021 h 4687251"/>
              <a:gd name="connsiteX18452" fmla="*/ 4523722 w 8079933"/>
              <a:gd name="connsiteY18452" fmla="*/ 1517641 h 4687251"/>
              <a:gd name="connsiteX18453" fmla="*/ 4524356 w 8079933"/>
              <a:gd name="connsiteY18453" fmla="*/ 1517489 h 4687251"/>
              <a:gd name="connsiteX18454" fmla="*/ 4532089 w 8079933"/>
              <a:gd name="connsiteY18454" fmla="*/ 1516005 h 4687251"/>
              <a:gd name="connsiteX18455" fmla="*/ 4527706 w 8079933"/>
              <a:gd name="connsiteY18455" fmla="*/ 1518647 h 4687251"/>
              <a:gd name="connsiteX18456" fmla="*/ 4529702 w 8079933"/>
              <a:gd name="connsiteY18456" fmla="*/ 1520009 h 4687251"/>
              <a:gd name="connsiteX18457" fmla="*/ 4533260 w 8079933"/>
              <a:gd name="connsiteY18457" fmla="*/ 1517865 h 4687251"/>
              <a:gd name="connsiteX18458" fmla="*/ 4453307 w 8079933"/>
              <a:gd name="connsiteY18458" fmla="*/ 1513731 h 4687251"/>
              <a:gd name="connsiteX18459" fmla="*/ 4453306 w 8079933"/>
              <a:gd name="connsiteY18459" fmla="*/ 1513731 h 4687251"/>
              <a:gd name="connsiteX18460" fmla="*/ 4461660 w 8079933"/>
              <a:gd name="connsiteY18460" fmla="*/ 1517629 h 4687251"/>
              <a:gd name="connsiteX18461" fmla="*/ 4464654 w 8079933"/>
              <a:gd name="connsiteY18461" fmla="*/ 1518105 h 4687251"/>
              <a:gd name="connsiteX18462" fmla="*/ 4461662 w 8079933"/>
              <a:gd name="connsiteY18462" fmla="*/ 1517629 h 4687251"/>
              <a:gd name="connsiteX18463" fmla="*/ 4431928 w 8079933"/>
              <a:gd name="connsiteY18463" fmla="*/ 1513406 h 4687251"/>
              <a:gd name="connsiteX18464" fmla="*/ 4435834 w 8079933"/>
              <a:gd name="connsiteY18464" fmla="*/ 1517845 h 4687251"/>
              <a:gd name="connsiteX18465" fmla="*/ 4435835 w 8079933"/>
              <a:gd name="connsiteY18465" fmla="*/ 1517845 h 4687251"/>
              <a:gd name="connsiteX18466" fmla="*/ 4431929 w 8079933"/>
              <a:gd name="connsiteY18466" fmla="*/ 1513406 h 4687251"/>
              <a:gd name="connsiteX18467" fmla="*/ 6563563 w 8079933"/>
              <a:gd name="connsiteY18467" fmla="*/ 1513284 h 4687251"/>
              <a:gd name="connsiteX18468" fmla="*/ 6563412 w 8079933"/>
              <a:gd name="connsiteY18468" fmla="*/ 1513407 h 4687251"/>
              <a:gd name="connsiteX18469" fmla="*/ 6560699 w 8079933"/>
              <a:gd name="connsiteY18469" fmla="*/ 1518170 h 4687251"/>
              <a:gd name="connsiteX18470" fmla="*/ 6560699 w 8079933"/>
              <a:gd name="connsiteY18470" fmla="*/ 1521742 h 4687251"/>
              <a:gd name="connsiteX18471" fmla="*/ 6560699 w 8079933"/>
              <a:gd name="connsiteY18471" fmla="*/ 1522068 h 4687251"/>
              <a:gd name="connsiteX18472" fmla="*/ 6563016 w 8079933"/>
              <a:gd name="connsiteY18472" fmla="*/ 1525957 h 4687251"/>
              <a:gd name="connsiteX18473" fmla="*/ 6563086 w 8079933"/>
              <a:gd name="connsiteY18473" fmla="*/ 1525748 h 4687251"/>
              <a:gd name="connsiteX18474" fmla="*/ 6560699 w 8079933"/>
              <a:gd name="connsiteY18474" fmla="*/ 1521742 h 4687251"/>
              <a:gd name="connsiteX18475" fmla="*/ 6561024 w 8079933"/>
              <a:gd name="connsiteY18475" fmla="*/ 1517844 h 4687251"/>
              <a:gd name="connsiteX18476" fmla="*/ 3794068 w 8079933"/>
              <a:gd name="connsiteY18476" fmla="*/ 1512431 h 4687251"/>
              <a:gd name="connsiteX18477" fmla="*/ 3797866 w 8079933"/>
              <a:gd name="connsiteY18477" fmla="*/ 1512647 h 4687251"/>
              <a:gd name="connsiteX18478" fmla="*/ 3793634 w 8079933"/>
              <a:gd name="connsiteY18478" fmla="*/ 1515788 h 4687251"/>
              <a:gd name="connsiteX18479" fmla="*/ 4414132 w 8079933"/>
              <a:gd name="connsiteY18479" fmla="*/ 1511998 h 4687251"/>
              <a:gd name="connsiteX18480" fmla="*/ 4414131 w 8079933"/>
              <a:gd name="connsiteY18480" fmla="*/ 1511999 h 4687251"/>
              <a:gd name="connsiteX18481" fmla="*/ 4417277 w 8079933"/>
              <a:gd name="connsiteY18481" fmla="*/ 1514597 h 4687251"/>
              <a:gd name="connsiteX18482" fmla="*/ 4417278 w 8079933"/>
              <a:gd name="connsiteY18482" fmla="*/ 1514596 h 4687251"/>
              <a:gd name="connsiteX18483" fmla="*/ 4400134 w 8079933"/>
              <a:gd name="connsiteY18483" fmla="*/ 1511457 h 4687251"/>
              <a:gd name="connsiteX18484" fmla="*/ 4400133 w 8079933"/>
              <a:gd name="connsiteY18484" fmla="*/ 1511457 h 4687251"/>
              <a:gd name="connsiteX18485" fmla="*/ 4402422 w 8079933"/>
              <a:gd name="connsiteY18485" fmla="*/ 1511695 h 4687251"/>
              <a:gd name="connsiteX18486" fmla="*/ 4426720 w 8079933"/>
              <a:gd name="connsiteY18486" fmla="*/ 1510267 h 4687251"/>
              <a:gd name="connsiteX18487" fmla="*/ 4426719 w 8079933"/>
              <a:gd name="connsiteY18487" fmla="*/ 1510267 h 4687251"/>
              <a:gd name="connsiteX18488" fmla="*/ 4427803 w 8079933"/>
              <a:gd name="connsiteY18488" fmla="*/ 1513189 h 4687251"/>
              <a:gd name="connsiteX18489" fmla="*/ 4427805 w 8079933"/>
              <a:gd name="connsiteY18489" fmla="*/ 1513189 h 4687251"/>
              <a:gd name="connsiteX18490" fmla="*/ 3810344 w 8079933"/>
              <a:gd name="connsiteY18490" fmla="*/ 1508859 h 4687251"/>
              <a:gd name="connsiteX18491" fmla="*/ 3814142 w 8079933"/>
              <a:gd name="connsiteY18491" fmla="*/ 1513082 h 4687251"/>
              <a:gd name="connsiteX18492" fmla="*/ 3817073 w 8079933"/>
              <a:gd name="connsiteY18492" fmla="*/ 1513514 h 4687251"/>
              <a:gd name="connsiteX18493" fmla="*/ 3818809 w 8079933"/>
              <a:gd name="connsiteY18493" fmla="*/ 1517412 h 4687251"/>
              <a:gd name="connsiteX18494" fmla="*/ 3814577 w 8079933"/>
              <a:gd name="connsiteY18494" fmla="*/ 1520553 h 4687251"/>
              <a:gd name="connsiteX18495" fmla="*/ 3814251 w 8079933"/>
              <a:gd name="connsiteY18495" fmla="*/ 1519145 h 4687251"/>
              <a:gd name="connsiteX18496" fmla="*/ 3805461 w 8079933"/>
              <a:gd name="connsiteY18496" fmla="*/ 1521094 h 4687251"/>
              <a:gd name="connsiteX18497" fmla="*/ 3809584 w 8079933"/>
              <a:gd name="connsiteY18497" fmla="*/ 1518171 h 4687251"/>
              <a:gd name="connsiteX18498" fmla="*/ 3808716 w 8079933"/>
              <a:gd name="connsiteY18498" fmla="*/ 1516763 h 4687251"/>
              <a:gd name="connsiteX18499" fmla="*/ 3812081 w 8079933"/>
              <a:gd name="connsiteY18499" fmla="*/ 1514922 h 4687251"/>
              <a:gd name="connsiteX18500" fmla="*/ 3806003 w 8079933"/>
              <a:gd name="connsiteY18500" fmla="*/ 1511890 h 4687251"/>
              <a:gd name="connsiteX18501" fmla="*/ 7368714 w 8079933"/>
              <a:gd name="connsiteY18501" fmla="*/ 1507776 h 4687251"/>
              <a:gd name="connsiteX18502" fmla="*/ 7372186 w 8079933"/>
              <a:gd name="connsiteY18502" fmla="*/ 1509075 h 4687251"/>
              <a:gd name="connsiteX18503" fmla="*/ 7372946 w 8079933"/>
              <a:gd name="connsiteY18503" fmla="*/ 1511999 h 4687251"/>
              <a:gd name="connsiteX18504" fmla="*/ 7370667 w 8079933"/>
              <a:gd name="connsiteY18504" fmla="*/ 1513082 h 4687251"/>
              <a:gd name="connsiteX18505" fmla="*/ 7368171 w 8079933"/>
              <a:gd name="connsiteY18505" fmla="*/ 1510807 h 4687251"/>
              <a:gd name="connsiteX18506" fmla="*/ 7367303 w 8079933"/>
              <a:gd name="connsiteY18506" fmla="*/ 1508751 h 4687251"/>
              <a:gd name="connsiteX18507" fmla="*/ 3803616 w 8079933"/>
              <a:gd name="connsiteY18507" fmla="*/ 1506043 h 4687251"/>
              <a:gd name="connsiteX18508" fmla="*/ 3802640 w 8079933"/>
              <a:gd name="connsiteY18508" fmla="*/ 1509616 h 4687251"/>
              <a:gd name="connsiteX18509" fmla="*/ 3799493 w 8079933"/>
              <a:gd name="connsiteY18509" fmla="*/ 1511023 h 4687251"/>
              <a:gd name="connsiteX18510" fmla="*/ 4121787 w 8079933"/>
              <a:gd name="connsiteY18510" fmla="*/ 1500846 h 4687251"/>
              <a:gd name="connsiteX18511" fmla="*/ 4121136 w 8079933"/>
              <a:gd name="connsiteY18511" fmla="*/ 1503877 h 4687251"/>
              <a:gd name="connsiteX18512" fmla="*/ 4117339 w 8079933"/>
              <a:gd name="connsiteY18512" fmla="*/ 1508209 h 4687251"/>
              <a:gd name="connsiteX18513" fmla="*/ 4114951 w 8079933"/>
              <a:gd name="connsiteY18513" fmla="*/ 1509400 h 4687251"/>
              <a:gd name="connsiteX18514" fmla="*/ 4114517 w 8079933"/>
              <a:gd name="connsiteY18514" fmla="*/ 1504419 h 4687251"/>
              <a:gd name="connsiteX18515" fmla="*/ 4117989 w 8079933"/>
              <a:gd name="connsiteY18515" fmla="*/ 1501062 h 4687251"/>
              <a:gd name="connsiteX18516" fmla="*/ 6570762 w 8079933"/>
              <a:gd name="connsiteY18516" fmla="*/ 1500617 h 4687251"/>
              <a:gd name="connsiteX18517" fmla="*/ 6570465 w 8079933"/>
              <a:gd name="connsiteY18517" fmla="*/ 1500847 h 4687251"/>
              <a:gd name="connsiteX18518" fmla="*/ 6567319 w 8079933"/>
              <a:gd name="connsiteY18518" fmla="*/ 1505503 h 4687251"/>
              <a:gd name="connsiteX18519" fmla="*/ 6566377 w 8079933"/>
              <a:gd name="connsiteY18519" fmla="*/ 1510825 h 4687251"/>
              <a:gd name="connsiteX18520" fmla="*/ 6566667 w 8079933"/>
              <a:gd name="connsiteY18520" fmla="*/ 1510590 h 4687251"/>
              <a:gd name="connsiteX18521" fmla="*/ 6567753 w 8079933"/>
              <a:gd name="connsiteY18521" fmla="*/ 1505068 h 4687251"/>
              <a:gd name="connsiteX18522" fmla="*/ 5393435 w 8079933"/>
              <a:gd name="connsiteY18522" fmla="*/ 1499719 h 4687251"/>
              <a:gd name="connsiteX18523" fmla="*/ 5392951 w 8079933"/>
              <a:gd name="connsiteY18523" fmla="*/ 1499981 h 4687251"/>
              <a:gd name="connsiteX18524" fmla="*/ 5395154 w 8079933"/>
              <a:gd name="connsiteY18524" fmla="*/ 1503435 h 4687251"/>
              <a:gd name="connsiteX18525" fmla="*/ 5395121 w 8079933"/>
              <a:gd name="connsiteY18525" fmla="*/ 1502362 h 4687251"/>
              <a:gd name="connsiteX18526" fmla="*/ 3809042 w 8079933"/>
              <a:gd name="connsiteY18526" fmla="*/ 1499439 h 4687251"/>
              <a:gd name="connsiteX18527" fmla="*/ 3811320 w 8079933"/>
              <a:gd name="connsiteY18527" fmla="*/ 1499439 h 4687251"/>
              <a:gd name="connsiteX18528" fmla="*/ 3809150 w 8079933"/>
              <a:gd name="connsiteY18528" fmla="*/ 1501605 h 4687251"/>
              <a:gd name="connsiteX18529" fmla="*/ 3806981 w 8079933"/>
              <a:gd name="connsiteY18529" fmla="*/ 1494999 h 4687251"/>
              <a:gd name="connsiteX18530" fmla="*/ 3808174 w 8079933"/>
              <a:gd name="connsiteY18530" fmla="*/ 1497597 h 4687251"/>
              <a:gd name="connsiteX18531" fmla="*/ 3806547 w 8079933"/>
              <a:gd name="connsiteY18531" fmla="*/ 1499113 h 4687251"/>
              <a:gd name="connsiteX18532" fmla="*/ 3804702 w 8079933"/>
              <a:gd name="connsiteY18532" fmla="*/ 1495432 h 4687251"/>
              <a:gd name="connsiteX18533" fmla="*/ 1140075 w 8079933"/>
              <a:gd name="connsiteY18533" fmla="*/ 1494350 h 4687251"/>
              <a:gd name="connsiteX18534" fmla="*/ 1141052 w 8079933"/>
              <a:gd name="connsiteY18534" fmla="*/ 1498464 h 4687251"/>
              <a:gd name="connsiteX18535" fmla="*/ 1139750 w 8079933"/>
              <a:gd name="connsiteY18535" fmla="*/ 1505068 h 4687251"/>
              <a:gd name="connsiteX18536" fmla="*/ 1137145 w 8079933"/>
              <a:gd name="connsiteY18536" fmla="*/ 1502145 h 4687251"/>
              <a:gd name="connsiteX18537" fmla="*/ 1136820 w 8079933"/>
              <a:gd name="connsiteY18537" fmla="*/ 1497815 h 4687251"/>
              <a:gd name="connsiteX18538" fmla="*/ 3785277 w 8079933"/>
              <a:gd name="connsiteY18538" fmla="*/ 1494242 h 4687251"/>
              <a:gd name="connsiteX18539" fmla="*/ 3786470 w 8079933"/>
              <a:gd name="connsiteY18539" fmla="*/ 1497166 h 4687251"/>
              <a:gd name="connsiteX18540" fmla="*/ 3783216 w 8079933"/>
              <a:gd name="connsiteY18540" fmla="*/ 1499115 h 4687251"/>
              <a:gd name="connsiteX18541" fmla="*/ 3783433 w 8079933"/>
              <a:gd name="connsiteY18541" fmla="*/ 1496624 h 4687251"/>
              <a:gd name="connsiteX18542" fmla="*/ 5448294 w 8079933"/>
              <a:gd name="connsiteY18542" fmla="*/ 1493593 h 4687251"/>
              <a:gd name="connsiteX18543" fmla="*/ 5450030 w 8079933"/>
              <a:gd name="connsiteY18543" fmla="*/ 1498790 h 4687251"/>
              <a:gd name="connsiteX18544" fmla="*/ 5450031 w 8079933"/>
              <a:gd name="connsiteY18544" fmla="*/ 1498791 h 4687251"/>
              <a:gd name="connsiteX18545" fmla="*/ 5448295 w 8079933"/>
              <a:gd name="connsiteY18545" fmla="*/ 1493593 h 4687251"/>
              <a:gd name="connsiteX18546" fmla="*/ 7368172 w 8079933"/>
              <a:gd name="connsiteY18546" fmla="*/ 1491427 h 4687251"/>
              <a:gd name="connsiteX18547" fmla="*/ 7369582 w 8079933"/>
              <a:gd name="connsiteY18547" fmla="*/ 1492077 h 4687251"/>
              <a:gd name="connsiteX18548" fmla="*/ 7369582 w 8079933"/>
              <a:gd name="connsiteY18548" fmla="*/ 1496191 h 4687251"/>
              <a:gd name="connsiteX18549" fmla="*/ 7371862 w 8079933"/>
              <a:gd name="connsiteY18549" fmla="*/ 1500847 h 4687251"/>
              <a:gd name="connsiteX18550" fmla="*/ 7369799 w 8079933"/>
              <a:gd name="connsiteY18550" fmla="*/ 1503878 h 4687251"/>
              <a:gd name="connsiteX18551" fmla="*/ 7366652 w 8079933"/>
              <a:gd name="connsiteY18551" fmla="*/ 1500414 h 4687251"/>
              <a:gd name="connsiteX18552" fmla="*/ 7368172 w 8079933"/>
              <a:gd name="connsiteY18552" fmla="*/ 1495758 h 4687251"/>
              <a:gd name="connsiteX18553" fmla="*/ 4284671 w 8079933"/>
              <a:gd name="connsiteY18553" fmla="*/ 1487313 h 4687251"/>
              <a:gd name="connsiteX18554" fmla="*/ 4287275 w 8079933"/>
              <a:gd name="connsiteY18554" fmla="*/ 1490128 h 4687251"/>
              <a:gd name="connsiteX18555" fmla="*/ 4286407 w 8079933"/>
              <a:gd name="connsiteY18555" fmla="*/ 1497166 h 4687251"/>
              <a:gd name="connsiteX18556" fmla="*/ 4284019 w 8079933"/>
              <a:gd name="connsiteY18556" fmla="*/ 1505178 h 4687251"/>
              <a:gd name="connsiteX18557" fmla="*/ 4283151 w 8079933"/>
              <a:gd name="connsiteY18557" fmla="*/ 1513081 h 4687251"/>
              <a:gd name="connsiteX18558" fmla="*/ 4280547 w 8079933"/>
              <a:gd name="connsiteY18558" fmla="*/ 1520660 h 4687251"/>
              <a:gd name="connsiteX18559" fmla="*/ 4278811 w 8079933"/>
              <a:gd name="connsiteY18559" fmla="*/ 1524775 h 4687251"/>
              <a:gd name="connsiteX18560" fmla="*/ 4277292 w 8079933"/>
              <a:gd name="connsiteY18560" fmla="*/ 1523259 h 4687251"/>
              <a:gd name="connsiteX18561" fmla="*/ 4277292 w 8079933"/>
              <a:gd name="connsiteY18561" fmla="*/ 1520010 h 4687251"/>
              <a:gd name="connsiteX18562" fmla="*/ 4276641 w 8079933"/>
              <a:gd name="connsiteY18562" fmla="*/ 1515571 h 4687251"/>
              <a:gd name="connsiteX18563" fmla="*/ 4278268 w 8079933"/>
              <a:gd name="connsiteY18563" fmla="*/ 1502579 h 4687251"/>
              <a:gd name="connsiteX18564" fmla="*/ 4280872 w 8079933"/>
              <a:gd name="connsiteY18564" fmla="*/ 1500955 h 4687251"/>
              <a:gd name="connsiteX18565" fmla="*/ 4282501 w 8079933"/>
              <a:gd name="connsiteY18565" fmla="*/ 1493809 h 4687251"/>
              <a:gd name="connsiteX18566" fmla="*/ 4281741 w 8079933"/>
              <a:gd name="connsiteY18566" fmla="*/ 1491752 h 4687251"/>
              <a:gd name="connsiteX18567" fmla="*/ 4159768 w 8079933"/>
              <a:gd name="connsiteY18567" fmla="*/ 1483956 h 4687251"/>
              <a:gd name="connsiteX18568" fmla="*/ 4164977 w 8079933"/>
              <a:gd name="connsiteY18568" fmla="*/ 1483956 h 4687251"/>
              <a:gd name="connsiteX18569" fmla="*/ 4161070 w 8079933"/>
              <a:gd name="connsiteY18569" fmla="*/ 1486771 h 4687251"/>
              <a:gd name="connsiteX18570" fmla="*/ 4157598 w 8079933"/>
              <a:gd name="connsiteY18570" fmla="*/ 1486880 h 4687251"/>
              <a:gd name="connsiteX18571" fmla="*/ 3786796 w 8079933"/>
              <a:gd name="connsiteY18571" fmla="*/ 1483307 h 4687251"/>
              <a:gd name="connsiteX18572" fmla="*/ 3789184 w 8079933"/>
              <a:gd name="connsiteY18572" fmla="*/ 1483740 h 4687251"/>
              <a:gd name="connsiteX18573" fmla="*/ 3789727 w 8079933"/>
              <a:gd name="connsiteY18573" fmla="*/ 1486555 h 4687251"/>
              <a:gd name="connsiteX18574" fmla="*/ 3788533 w 8079933"/>
              <a:gd name="connsiteY18574" fmla="*/ 1488721 h 4687251"/>
              <a:gd name="connsiteX18575" fmla="*/ 3789401 w 8079933"/>
              <a:gd name="connsiteY18575" fmla="*/ 1492727 h 4687251"/>
              <a:gd name="connsiteX18576" fmla="*/ 3786579 w 8079933"/>
              <a:gd name="connsiteY18576" fmla="*/ 1492076 h 4687251"/>
              <a:gd name="connsiteX18577" fmla="*/ 3785711 w 8079933"/>
              <a:gd name="connsiteY18577" fmla="*/ 1488937 h 4687251"/>
              <a:gd name="connsiteX18578" fmla="*/ 3787013 w 8079933"/>
              <a:gd name="connsiteY18578" fmla="*/ 1486013 h 4687251"/>
              <a:gd name="connsiteX18579" fmla="*/ 1145285 w 8079933"/>
              <a:gd name="connsiteY18579" fmla="*/ 1481032 h 4687251"/>
              <a:gd name="connsiteX18580" fmla="*/ 1147129 w 8079933"/>
              <a:gd name="connsiteY18580" fmla="*/ 1483089 h 4687251"/>
              <a:gd name="connsiteX18581" fmla="*/ 1144091 w 8079933"/>
              <a:gd name="connsiteY18581" fmla="*/ 1488936 h 4687251"/>
              <a:gd name="connsiteX18582" fmla="*/ 1140619 w 8079933"/>
              <a:gd name="connsiteY18582" fmla="*/ 1488936 h 4687251"/>
              <a:gd name="connsiteX18583" fmla="*/ 1138557 w 8079933"/>
              <a:gd name="connsiteY18583" fmla="*/ 1488936 h 4687251"/>
              <a:gd name="connsiteX18584" fmla="*/ 1139642 w 8079933"/>
              <a:gd name="connsiteY18584" fmla="*/ 1484280 h 4687251"/>
              <a:gd name="connsiteX18585" fmla="*/ 3790812 w 8079933"/>
              <a:gd name="connsiteY18585" fmla="*/ 1479409 h 4687251"/>
              <a:gd name="connsiteX18586" fmla="*/ 3789618 w 8079933"/>
              <a:gd name="connsiteY18586" fmla="*/ 1482658 h 4687251"/>
              <a:gd name="connsiteX18587" fmla="*/ 3786580 w 8079933"/>
              <a:gd name="connsiteY18587" fmla="*/ 1481466 h 4687251"/>
              <a:gd name="connsiteX18588" fmla="*/ 3786580 w 8079933"/>
              <a:gd name="connsiteY18588" fmla="*/ 1480058 h 4687251"/>
              <a:gd name="connsiteX18589" fmla="*/ 4505589 w 8079933"/>
              <a:gd name="connsiteY18589" fmla="*/ 1474899 h 4687251"/>
              <a:gd name="connsiteX18590" fmla="*/ 4505176 w 8079933"/>
              <a:gd name="connsiteY18590" fmla="*/ 1475511 h 4687251"/>
              <a:gd name="connsiteX18591" fmla="*/ 4505177 w 8079933"/>
              <a:gd name="connsiteY18591" fmla="*/ 1475511 h 4687251"/>
              <a:gd name="connsiteX18592" fmla="*/ 4507028 w 8079933"/>
              <a:gd name="connsiteY18592" fmla="*/ 1475804 h 4687251"/>
              <a:gd name="connsiteX18593" fmla="*/ 4506913 w 8079933"/>
              <a:gd name="connsiteY18593" fmla="*/ 1475079 h 4687251"/>
              <a:gd name="connsiteX18594" fmla="*/ 4499281 w 8079933"/>
              <a:gd name="connsiteY18594" fmla="*/ 1474721 h 4687251"/>
              <a:gd name="connsiteX18595" fmla="*/ 4507034 w 8079933"/>
              <a:gd name="connsiteY18595" fmla="*/ 1475846 h 4687251"/>
              <a:gd name="connsiteX18596" fmla="*/ 4507034 w 8079933"/>
              <a:gd name="connsiteY18596" fmla="*/ 1475845 h 4687251"/>
              <a:gd name="connsiteX18597" fmla="*/ 6702340 w 8079933"/>
              <a:gd name="connsiteY18597" fmla="*/ 1474646 h 4687251"/>
              <a:gd name="connsiteX18598" fmla="*/ 6702964 w 8079933"/>
              <a:gd name="connsiteY18598" fmla="*/ 1477243 h 4687251"/>
              <a:gd name="connsiteX18599" fmla="*/ 6701553 w 8079933"/>
              <a:gd name="connsiteY18599" fmla="*/ 1480382 h 4687251"/>
              <a:gd name="connsiteX18600" fmla="*/ 6701771 w 8079933"/>
              <a:gd name="connsiteY18600" fmla="*/ 1481426 h 4687251"/>
              <a:gd name="connsiteX18601" fmla="*/ 6701771 w 8079933"/>
              <a:gd name="connsiteY18601" fmla="*/ 1480601 h 4687251"/>
              <a:gd name="connsiteX18602" fmla="*/ 6703182 w 8079933"/>
              <a:gd name="connsiteY18602" fmla="*/ 1477352 h 4687251"/>
              <a:gd name="connsiteX18603" fmla="*/ 6702422 w 8079933"/>
              <a:gd name="connsiteY18603" fmla="*/ 1474646 h 4687251"/>
              <a:gd name="connsiteX18604" fmla="*/ 4498014 w 8079933"/>
              <a:gd name="connsiteY18604" fmla="*/ 1474536 h 4687251"/>
              <a:gd name="connsiteX18605" fmla="*/ 4489659 w 8079933"/>
              <a:gd name="connsiteY18605" fmla="*/ 1477892 h 4687251"/>
              <a:gd name="connsiteX18606" fmla="*/ 4489660 w 8079933"/>
              <a:gd name="connsiteY18606" fmla="*/ 1477894 h 4687251"/>
              <a:gd name="connsiteX18607" fmla="*/ 4498015 w 8079933"/>
              <a:gd name="connsiteY18607" fmla="*/ 1474537 h 4687251"/>
              <a:gd name="connsiteX18608" fmla="*/ 4498022 w 8079933"/>
              <a:gd name="connsiteY18608" fmla="*/ 1474538 h 4687251"/>
              <a:gd name="connsiteX18609" fmla="*/ 4502860 w 8079933"/>
              <a:gd name="connsiteY18609" fmla="*/ 1475196 h 4687251"/>
              <a:gd name="connsiteX18610" fmla="*/ 1143005 w 8079933"/>
              <a:gd name="connsiteY18610" fmla="*/ 1474212 h 4687251"/>
              <a:gd name="connsiteX18611" fmla="*/ 1144307 w 8079933"/>
              <a:gd name="connsiteY18611" fmla="*/ 1476161 h 4687251"/>
              <a:gd name="connsiteX18612" fmla="*/ 1142571 w 8079933"/>
              <a:gd name="connsiteY18612" fmla="*/ 1479409 h 4687251"/>
              <a:gd name="connsiteX18613" fmla="*/ 1141160 w 8079933"/>
              <a:gd name="connsiteY18613" fmla="*/ 1479517 h 4687251"/>
              <a:gd name="connsiteX18614" fmla="*/ 1140835 w 8079933"/>
              <a:gd name="connsiteY18614" fmla="*/ 1475620 h 4687251"/>
              <a:gd name="connsiteX18615" fmla="*/ 3786363 w 8079933"/>
              <a:gd name="connsiteY18615" fmla="*/ 1473995 h 4687251"/>
              <a:gd name="connsiteX18616" fmla="*/ 3792222 w 8079933"/>
              <a:gd name="connsiteY18616" fmla="*/ 1474644 h 4687251"/>
              <a:gd name="connsiteX18617" fmla="*/ 3791896 w 8079933"/>
              <a:gd name="connsiteY18617" fmla="*/ 1477243 h 4687251"/>
              <a:gd name="connsiteX18618" fmla="*/ 3787773 w 8079933"/>
              <a:gd name="connsiteY18618" fmla="*/ 1478326 h 4687251"/>
              <a:gd name="connsiteX18619" fmla="*/ 3784518 w 8079933"/>
              <a:gd name="connsiteY18619" fmla="*/ 1474969 h 4687251"/>
              <a:gd name="connsiteX18620" fmla="*/ 3808284 w 8079933"/>
              <a:gd name="connsiteY18620" fmla="*/ 1473887 h 4687251"/>
              <a:gd name="connsiteX18621" fmla="*/ 3810779 w 8079933"/>
              <a:gd name="connsiteY18621" fmla="*/ 1478001 h 4687251"/>
              <a:gd name="connsiteX18622" fmla="*/ 3810237 w 8079933"/>
              <a:gd name="connsiteY18622" fmla="*/ 1486013 h 4687251"/>
              <a:gd name="connsiteX18623" fmla="*/ 3815012 w 8079933"/>
              <a:gd name="connsiteY18623" fmla="*/ 1488612 h 4687251"/>
              <a:gd name="connsiteX18624" fmla="*/ 3817725 w 8079933"/>
              <a:gd name="connsiteY18624" fmla="*/ 1487962 h 4687251"/>
              <a:gd name="connsiteX18625" fmla="*/ 3819461 w 8079933"/>
              <a:gd name="connsiteY18625" fmla="*/ 1489262 h 4687251"/>
              <a:gd name="connsiteX18626" fmla="*/ 3816206 w 8079933"/>
              <a:gd name="connsiteY18626" fmla="*/ 1491102 h 4687251"/>
              <a:gd name="connsiteX18627" fmla="*/ 3814795 w 8079933"/>
              <a:gd name="connsiteY18627" fmla="*/ 1495217 h 4687251"/>
              <a:gd name="connsiteX18628" fmla="*/ 3812950 w 8079933"/>
              <a:gd name="connsiteY18628" fmla="*/ 1495542 h 4687251"/>
              <a:gd name="connsiteX18629" fmla="*/ 3812516 w 8079933"/>
              <a:gd name="connsiteY18629" fmla="*/ 1490994 h 4687251"/>
              <a:gd name="connsiteX18630" fmla="*/ 3806981 w 8079933"/>
              <a:gd name="connsiteY18630" fmla="*/ 1491535 h 4687251"/>
              <a:gd name="connsiteX18631" fmla="*/ 3803835 w 8079933"/>
              <a:gd name="connsiteY18631" fmla="*/ 1485905 h 4687251"/>
              <a:gd name="connsiteX18632" fmla="*/ 3804485 w 8079933"/>
              <a:gd name="connsiteY18632" fmla="*/ 1484389 h 4687251"/>
              <a:gd name="connsiteX18633" fmla="*/ 3802749 w 8079933"/>
              <a:gd name="connsiteY18633" fmla="*/ 1483090 h 4687251"/>
              <a:gd name="connsiteX18634" fmla="*/ 3802640 w 8079933"/>
              <a:gd name="connsiteY18634" fmla="*/ 1484822 h 4687251"/>
              <a:gd name="connsiteX18635" fmla="*/ 3798300 w 8079933"/>
              <a:gd name="connsiteY18635" fmla="*/ 1481683 h 4687251"/>
              <a:gd name="connsiteX18636" fmla="*/ 3800036 w 8079933"/>
              <a:gd name="connsiteY18636" fmla="*/ 1479950 h 4687251"/>
              <a:gd name="connsiteX18637" fmla="*/ 3801664 w 8079933"/>
              <a:gd name="connsiteY18637" fmla="*/ 1481032 h 4687251"/>
              <a:gd name="connsiteX18638" fmla="*/ 3801447 w 8079933"/>
              <a:gd name="connsiteY18638" fmla="*/ 1476918 h 4687251"/>
              <a:gd name="connsiteX18639" fmla="*/ 3806548 w 8079933"/>
              <a:gd name="connsiteY18639" fmla="*/ 1480383 h 4687251"/>
              <a:gd name="connsiteX18640" fmla="*/ 3806005 w 8079933"/>
              <a:gd name="connsiteY18640" fmla="*/ 1474969 h 4687251"/>
              <a:gd name="connsiteX18641" fmla="*/ 4152389 w 8079933"/>
              <a:gd name="connsiteY18641" fmla="*/ 1469989 h 4687251"/>
              <a:gd name="connsiteX18642" fmla="*/ 4153040 w 8079933"/>
              <a:gd name="connsiteY18642" fmla="*/ 1471721 h 4687251"/>
              <a:gd name="connsiteX18643" fmla="*/ 4149568 w 8079933"/>
              <a:gd name="connsiteY18643" fmla="*/ 1477893 h 4687251"/>
              <a:gd name="connsiteX18644" fmla="*/ 4150653 w 8079933"/>
              <a:gd name="connsiteY18644" fmla="*/ 1482656 h 4687251"/>
              <a:gd name="connsiteX18645" fmla="*/ 4149785 w 8079933"/>
              <a:gd name="connsiteY18645" fmla="*/ 1484713 h 4687251"/>
              <a:gd name="connsiteX18646" fmla="*/ 4150870 w 8079933"/>
              <a:gd name="connsiteY18646" fmla="*/ 1489694 h 4687251"/>
              <a:gd name="connsiteX18647" fmla="*/ 4146203 w 8079933"/>
              <a:gd name="connsiteY18647" fmla="*/ 1497815 h 4687251"/>
              <a:gd name="connsiteX18648" fmla="*/ 4143599 w 8079933"/>
              <a:gd name="connsiteY18648" fmla="*/ 1499005 h 4687251"/>
              <a:gd name="connsiteX18649" fmla="*/ 4139584 w 8079933"/>
              <a:gd name="connsiteY18649" fmla="*/ 1497273 h 4687251"/>
              <a:gd name="connsiteX18650" fmla="*/ 4134918 w 8079933"/>
              <a:gd name="connsiteY18650" fmla="*/ 1497273 h 4687251"/>
              <a:gd name="connsiteX18651" fmla="*/ 4131553 w 8079933"/>
              <a:gd name="connsiteY18651" fmla="*/ 1498464 h 4687251"/>
              <a:gd name="connsiteX18652" fmla="*/ 4126345 w 8079933"/>
              <a:gd name="connsiteY18652" fmla="*/ 1497489 h 4687251"/>
              <a:gd name="connsiteX18653" fmla="*/ 4122438 w 8079933"/>
              <a:gd name="connsiteY18653" fmla="*/ 1498139 h 4687251"/>
              <a:gd name="connsiteX18654" fmla="*/ 4121353 w 8079933"/>
              <a:gd name="connsiteY18654" fmla="*/ 1497273 h 4687251"/>
              <a:gd name="connsiteX18655" fmla="*/ 4113431 w 8079933"/>
              <a:gd name="connsiteY18655" fmla="*/ 1502254 h 4687251"/>
              <a:gd name="connsiteX18656" fmla="*/ 4112346 w 8079933"/>
              <a:gd name="connsiteY18656" fmla="*/ 1505501 h 4687251"/>
              <a:gd name="connsiteX18657" fmla="*/ 4113431 w 8079933"/>
              <a:gd name="connsiteY18657" fmla="*/ 1511782 h 4687251"/>
              <a:gd name="connsiteX18658" fmla="*/ 4108439 w 8079933"/>
              <a:gd name="connsiteY18658" fmla="*/ 1506043 h 4687251"/>
              <a:gd name="connsiteX18659" fmla="*/ 4106377 w 8079933"/>
              <a:gd name="connsiteY18659" fmla="*/ 1507234 h 4687251"/>
              <a:gd name="connsiteX18660" fmla="*/ 4104099 w 8079933"/>
              <a:gd name="connsiteY18660" fmla="*/ 1505393 h 4687251"/>
              <a:gd name="connsiteX18661" fmla="*/ 4107789 w 8079933"/>
              <a:gd name="connsiteY18661" fmla="*/ 1501821 h 4687251"/>
              <a:gd name="connsiteX18662" fmla="*/ 4109307 w 8079933"/>
              <a:gd name="connsiteY18662" fmla="*/ 1496623 h 4687251"/>
              <a:gd name="connsiteX18663" fmla="*/ 4112780 w 8079933"/>
              <a:gd name="connsiteY18663" fmla="*/ 1496407 h 4687251"/>
              <a:gd name="connsiteX18664" fmla="*/ 4114516 w 8079933"/>
              <a:gd name="connsiteY18664" fmla="*/ 1497598 h 4687251"/>
              <a:gd name="connsiteX18665" fmla="*/ 4120485 w 8079933"/>
              <a:gd name="connsiteY18665" fmla="*/ 1492834 h 4687251"/>
              <a:gd name="connsiteX18666" fmla="*/ 4125694 w 8079933"/>
              <a:gd name="connsiteY18666" fmla="*/ 1492834 h 4687251"/>
              <a:gd name="connsiteX18667" fmla="*/ 4130360 w 8079933"/>
              <a:gd name="connsiteY18667" fmla="*/ 1489586 h 4687251"/>
              <a:gd name="connsiteX18668" fmla="*/ 4132748 w 8079933"/>
              <a:gd name="connsiteY18668" fmla="*/ 1484064 h 4687251"/>
              <a:gd name="connsiteX18669" fmla="*/ 4135677 w 8079933"/>
              <a:gd name="connsiteY18669" fmla="*/ 1479625 h 4687251"/>
              <a:gd name="connsiteX18670" fmla="*/ 4139909 w 8079933"/>
              <a:gd name="connsiteY18670" fmla="*/ 1479083 h 4687251"/>
              <a:gd name="connsiteX18671" fmla="*/ 4145987 w 8079933"/>
              <a:gd name="connsiteY18671" fmla="*/ 1476377 h 4687251"/>
              <a:gd name="connsiteX18672" fmla="*/ 1167748 w 8079933"/>
              <a:gd name="connsiteY18672" fmla="*/ 1469448 h 4687251"/>
              <a:gd name="connsiteX18673" fmla="*/ 1167097 w 8079933"/>
              <a:gd name="connsiteY18673" fmla="*/ 1472046 h 4687251"/>
              <a:gd name="connsiteX18674" fmla="*/ 1160043 w 8079933"/>
              <a:gd name="connsiteY18674" fmla="*/ 1478543 h 4687251"/>
              <a:gd name="connsiteX18675" fmla="*/ 1156353 w 8079933"/>
              <a:gd name="connsiteY18675" fmla="*/ 1479085 h 4687251"/>
              <a:gd name="connsiteX18676" fmla="*/ 1151253 w 8079933"/>
              <a:gd name="connsiteY18676" fmla="*/ 1483740 h 4687251"/>
              <a:gd name="connsiteX18677" fmla="*/ 1148432 w 8079933"/>
              <a:gd name="connsiteY18677" fmla="*/ 1484065 h 4687251"/>
              <a:gd name="connsiteX18678" fmla="*/ 1154183 w 8079933"/>
              <a:gd name="connsiteY18678" fmla="*/ 1475944 h 4687251"/>
              <a:gd name="connsiteX18679" fmla="*/ 1157765 w 8079933"/>
              <a:gd name="connsiteY18679" fmla="*/ 1475836 h 4687251"/>
              <a:gd name="connsiteX18680" fmla="*/ 1161237 w 8079933"/>
              <a:gd name="connsiteY18680" fmla="*/ 1471722 h 4687251"/>
              <a:gd name="connsiteX18681" fmla="*/ 6694300 w 8079933"/>
              <a:gd name="connsiteY18681" fmla="*/ 1468230 h 4687251"/>
              <a:gd name="connsiteX18682" fmla="*/ 6695150 w 8079933"/>
              <a:gd name="connsiteY18682" fmla="*/ 1470313 h 4687251"/>
              <a:gd name="connsiteX18683" fmla="*/ 6695150 w 8079933"/>
              <a:gd name="connsiteY18683" fmla="*/ 1472587 h 4687251"/>
              <a:gd name="connsiteX18684" fmla="*/ 6695368 w 8079933"/>
              <a:gd name="connsiteY18684" fmla="*/ 1472949 h 4687251"/>
              <a:gd name="connsiteX18685" fmla="*/ 6695368 w 8079933"/>
              <a:gd name="connsiteY18685" fmla="*/ 1470748 h 4687251"/>
              <a:gd name="connsiteX18686" fmla="*/ 4325582 w 8079933"/>
              <a:gd name="connsiteY18686" fmla="*/ 1465983 h 4687251"/>
              <a:gd name="connsiteX18687" fmla="*/ 4328294 w 8079933"/>
              <a:gd name="connsiteY18687" fmla="*/ 1467391 h 4687251"/>
              <a:gd name="connsiteX18688" fmla="*/ 4326341 w 8079933"/>
              <a:gd name="connsiteY18688" fmla="*/ 1469231 h 4687251"/>
              <a:gd name="connsiteX18689" fmla="*/ 4325799 w 8079933"/>
              <a:gd name="connsiteY18689" fmla="*/ 1471938 h 4687251"/>
              <a:gd name="connsiteX18690" fmla="*/ 4323846 w 8079933"/>
              <a:gd name="connsiteY18690" fmla="*/ 1475944 h 4687251"/>
              <a:gd name="connsiteX18691" fmla="*/ 4327209 w 8079933"/>
              <a:gd name="connsiteY18691" fmla="*/ 1478976 h 4687251"/>
              <a:gd name="connsiteX18692" fmla="*/ 4327752 w 8079933"/>
              <a:gd name="connsiteY18692" fmla="*/ 1481141 h 4687251"/>
              <a:gd name="connsiteX18693" fmla="*/ 4324388 w 8079933"/>
              <a:gd name="connsiteY18693" fmla="*/ 1485255 h 4687251"/>
              <a:gd name="connsiteX18694" fmla="*/ 4323628 w 8079933"/>
              <a:gd name="connsiteY18694" fmla="*/ 1488395 h 4687251"/>
              <a:gd name="connsiteX18695" fmla="*/ 4318094 w 8079933"/>
              <a:gd name="connsiteY18695" fmla="*/ 1492726 h 4687251"/>
              <a:gd name="connsiteX18696" fmla="*/ 4317226 w 8079933"/>
              <a:gd name="connsiteY18696" fmla="*/ 1495649 h 4687251"/>
              <a:gd name="connsiteX18697" fmla="*/ 4318853 w 8079933"/>
              <a:gd name="connsiteY18697" fmla="*/ 1496840 h 4687251"/>
              <a:gd name="connsiteX18698" fmla="*/ 4317768 w 8079933"/>
              <a:gd name="connsiteY18698" fmla="*/ 1499655 h 4687251"/>
              <a:gd name="connsiteX18699" fmla="*/ 4312234 w 8079933"/>
              <a:gd name="connsiteY18699" fmla="*/ 1501280 h 4687251"/>
              <a:gd name="connsiteX18700" fmla="*/ 4311800 w 8079933"/>
              <a:gd name="connsiteY18700" fmla="*/ 1499222 h 4687251"/>
              <a:gd name="connsiteX18701" fmla="*/ 4314622 w 8079933"/>
              <a:gd name="connsiteY18701" fmla="*/ 1495758 h 4687251"/>
              <a:gd name="connsiteX18702" fmla="*/ 4315707 w 8079933"/>
              <a:gd name="connsiteY18702" fmla="*/ 1491752 h 4687251"/>
              <a:gd name="connsiteX18703" fmla="*/ 4313753 w 8079933"/>
              <a:gd name="connsiteY18703" fmla="*/ 1492401 h 4687251"/>
              <a:gd name="connsiteX18704" fmla="*/ 4309087 w 8079933"/>
              <a:gd name="connsiteY18704" fmla="*/ 1485580 h 4687251"/>
              <a:gd name="connsiteX18705" fmla="*/ 4310823 w 8079933"/>
              <a:gd name="connsiteY18705" fmla="*/ 1484389 h 4687251"/>
              <a:gd name="connsiteX18706" fmla="*/ 4309304 w 8079933"/>
              <a:gd name="connsiteY18706" fmla="*/ 1478976 h 4687251"/>
              <a:gd name="connsiteX18707" fmla="*/ 4312451 w 8079933"/>
              <a:gd name="connsiteY18707" fmla="*/ 1475619 h 4687251"/>
              <a:gd name="connsiteX18708" fmla="*/ 4314730 w 8079933"/>
              <a:gd name="connsiteY18708" fmla="*/ 1471397 h 4687251"/>
              <a:gd name="connsiteX18709" fmla="*/ 4317985 w 8079933"/>
              <a:gd name="connsiteY18709" fmla="*/ 1467391 h 4687251"/>
              <a:gd name="connsiteX18710" fmla="*/ 4323086 w 8079933"/>
              <a:gd name="connsiteY18710" fmla="*/ 1467391 h 4687251"/>
              <a:gd name="connsiteX18711" fmla="*/ 3797540 w 8079933"/>
              <a:gd name="connsiteY18711" fmla="*/ 1465875 h 4687251"/>
              <a:gd name="connsiteX18712" fmla="*/ 3801229 w 8079933"/>
              <a:gd name="connsiteY18712" fmla="*/ 1467391 h 4687251"/>
              <a:gd name="connsiteX18713" fmla="*/ 3796020 w 8079933"/>
              <a:gd name="connsiteY18713" fmla="*/ 1472047 h 4687251"/>
              <a:gd name="connsiteX18714" fmla="*/ 3792982 w 8079933"/>
              <a:gd name="connsiteY18714" fmla="*/ 1469773 h 4687251"/>
              <a:gd name="connsiteX18715" fmla="*/ 3794610 w 8079933"/>
              <a:gd name="connsiteY18715" fmla="*/ 1468799 h 4687251"/>
              <a:gd name="connsiteX18716" fmla="*/ 3795586 w 8079933"/>
              <a:gd name="connsiteY18716" fmla="*/ 1466958 h 4687251"/>
              <a:gd name="connsiteX18717" fmla="*/ 6692382 w 8079933"/>
              <a:gd name="connsiteY18717" fmla="*/ 1461885 h 4687251"/>
              <a:gd name="connsiteX18718" fmla="*/ 6693741 w 8079933"/>
              <a:gd name="connsiteY18718" fmla="*/ 1464142 h 4687251"/>
              <a:gd name="connsiteX18719" fmla="*/ 6693957 w 8079933"/>
              <a:gd name="connsiteY18719" fmla="*/ 1467390 h 4687251"/>
              <a:gd name="connsiteX18720" fmla="*/ 6694174 w 8079933"/>
              <a:gd name="connsiteY18720" fmla="*/ 1467922 h 4687251"/>
              <a:gd name="connsiteX18721" fmla="*/ 6694174 w 8079933"/>
              <a:gd name="connsiteY18721" fmla="*/ 1464685 h 4687251"/>
              <a:gd name="connsiteX18722" fmla="*/ 6692546 w 8079933"/>
              <a:gd name="connsiteY18722" fmla="*/ 1461978 h 4687251"/>
              <a:gd name="connsiteX18723" fmla="*/ 4336108 w 8079933"/>
              <a:gd name="connsiteY18723" fmla="*/ 1461328 h 4687251"/>
              <a:gd name="connsiteX18724" fmla="*/ 4337193 w 8079933"/>
              <a:gd name="connsiteY18724" fmla="*/ 1462952 h 4687251"/>
              <a:gd name="connsiteX18725" fmla="*/ 4332961 w 8079933"/>
              <a:gd name="connsiteY18725" fmla="*/ 1464143 h 4687251"/>
              <a:gd name="connsiteX18726" fmla="*/ 4330356 w 8079933"/>
              <a:gd name="connsiteY18726" fmla="*/ 1466634 h 4687251"/>
              <a:gd name="connsiteX18727" fmla="*/ 4328729 w 8079933"/>
              <a:gd name="connsiteY18727" fmla="*/ 1464359 h 4687251"/>
              <a:gd name="connsiteX18728" fmla="*/ 4331224 w 8079933"/>
              <a:gd name="connsiteY18728" fmla="*/ 1461436 h 4687251"/>
              <a:gd name="connsiteX18729" fmla="*/ 4468607 w 8079933"/>
              <a:gd name="connsiteY18729" fmla="*/ 1460244 h 4687251"/>
              <a:gd name="connsiteX18730" fmla="*/ 4468608 w 8079933"/>
              <a:gd name="connsiteY18730" fmla="*/ 1460245 h 4687251"/>
              <a:gd name="connsiteX18731" fmla="*/ 4471646 w 8079933"/>
              <a:gd name="connsiteY18731" fmla="*/ 1460353 h 4687251"/>
              <a:gd name="connsiteX18732" fmla="*/ 4471645 w 8079933"/>
              <a:gd name="connsiteY18732" fmla="*/ 1460353 h 4687251"/>
              <a:gd name="connsiteX18733" fmla="*/ 6553466 w 8079933"/>
              <a:gd name="connsiteY18733" fmla="*/ 1458429 h 4687251"/>
              <a:gd name="connsiteX18734" fmla="*/ 6551583 w 8079933"/>
              <a:gd name="connsiteY18734" fmla="*/ 1462087 h 4687251"/>
              <a:gd name="connsiteX18735" fmla="*/ 6549630 w 8079933"/>
              <a:gd name="connsiteY18735" fmla="*/ 1464468 h 4687251"/>
              <a:gd name="connsiteX18736" fmla="*/ 6549630 w 8079933"/>
              <a:gd name="connsiteY18736" fmla="*/ 1466850 h 4687251"/>
              <a:gd name="connsiteX18737" fmla="*/ 6548111 w 8079933"/>
              <a:gd name="connsiteY18737" fmla="*/ 1468907 h 4687251"/>
              <a:gd name="connsiteX18738" fmla="*/ 6548111 w 8079933"/>
              <a:gd name="connsiteY18738" fmla="*/ 1475837 h 4687251"/>
              <a:gd name="connsiteX18739" fmla="*/ 6549630 w 8079933"/>
              <a:gd name="connsiteY18739" fmla="*/ 1477786 h 4687251"/>
              <a:gd name="connsiteX18740" fmla="*/ 6552018 w 8079933"/>
              <a:gd name="connsiteY18740" fmla="*/ 1477786 h 4687251"/>
              <a:gd name="connsiteX18741" fmla="*/ 6557335 w 8079933"/>
              <a:gd name="connsiteY18741" fmla="*/ 1474538 h 4687251"/>
              <a:gd name="connsiteX18742" fmla="*/ 6560591 w 8079933"/>
              <a:gd name="connsiteY18742" fmla="*/ 1473130 h 4687251"/>
              <a:gd name="connsiteX18743" fmla="*/ 6563520 w 8079933"/>
              <a:gd name="connsiteY18743" fmla="*/ 1473780 h 4687251"/>
              <a:gd name="connsiteX18744" fmla="*/ 6566993 w 8079933"/>
              <a:gd name="connsiteY18744" fmla="*/ 1479410 h 4687251"/>
              <a:gd name="connsiteX18745" fmla="*/ 6568838 w 8079933"/>
              <a:gd name="connsiteY18745" fmla="*/ 1483848 h 4687251"/>
              <a:gd name="connsiteX18746" fmla="*/ 6572310 w 8079933"/>
              <a:gd name="connsiteY18746" fmla="*/ 1486447 h 4687251"/>
              <a:gd name="connsiteX18747" fmla="*/ 6572310 w 8079933"/>
              <a:gd name="connsiteY18747" fmla="*/ 1490021 h 4687251"/>
              <a:gd name="connsiteX18748" fmla="*/ 6573396 w 8079933"/>
              <a:gd name="connsiteY18748" fmla="*/ 1492944 h 4687251"/>
              <a:gd name="connsiteX18749" fmla="*/ 6573396 w 8079933"/>
              <a:gd name="connsiteY18749" fmla="*/ 1498567 h 4687251"/>
              <a:gd name="connsiteX18750" fmla="*/ 6573829 w 8079933"/>
              <a:gd name="connsiteY18750" fmla="*/ 1498247 h 4687251"/>
              <a:gd name="connsiteX18751" fmla="*/ 6574155 w 8079933"/>
              <a:gd name="connsiteY18751" fmla="*/ 1492509 h 4687251"/>
              <a:gd name="connsiteX18752" fmla="*/ 6573069 w 8079933"/>
              <a:gd name="connsiteY18752" fmla="*/ 1489586 h 4687251"/>
              <a:gd name="connsiteX18753" fmla="*/ 6573069 w 8079933"/>
              <a:gd name="connsiteY18753" fmla="*/ 1486013 h 4687251"/>
              <a:gd name="connsiteX18754" fmla="*/ 6569598 w 8079933"/>
              <a:gd name="connsiteY18754" fmla="*/ 1483414 h 4687251"/>
              <a:gd name="connsiteX18755" fmla="*/ 6567753 w 8079933"/>
              <a:gd name="connsiteY18755" fmla="*/ 1478975 h 4687251"/>
              <a:gd name="connsiteX18756" fmla="*/ 6564280 w 8079933"/>
              <a:gd name="connsiteY18756" fmla="*/ 1473345 h 4687251"/>
              <a:gd name="connsiteX18757" fmla="*/ 6561350 w 8079933"/>
              <a:gd name="connsiteY18757" fmla="*/ 1472587 h 4687251"/>
              <a:gd name="connsiteX18758" fmla="*/ 6558095 w 8079933"/>
              <a:gd name="connsiteY18758" fmla="*/ 1473995 h 4687251"/>
              <a:gd name="connsiteX18759" fmla="*/ 6552777 w 8079933"/>
              <a:gd name="connsiteY18759" fmla="*/ 1477243 h 4687251"/>
              <a:gd name="connsiteX18760" fmla="*/ 6550390 w 8079933"/>
              <a:gd name="connsiteY18760" fmla="*/ 1476918 h 4687251"/>
              <a:gd name="connsiteX18761" fmla="*/ 6548762 w 8079933"/>
              <a:gd name="connsiteY18761" fmla="*/ 1474969 h 4687251"/>
              <a:gd name="connsiteX18762" fmla="*/ 6548762 w 8079933"/>
              <a:gd name="connsiteY18762" fmla="*/ 1469123 h 4687251"/>
              <a:gd name="connsiteX18763" fmla="*/ 6550390 w 8079933"/>
              <a:gd name="connsiteY18763" fmla="*/ 1467065 h 4687251"/>
              <a:gd name="connsiteX18764" fmla="*/ 6550390 w 8079933"/>
              <a:gd name="connsiteY18764" fmla="*/ 1464683 h 4687251"/>
              <a:gd name="connsiteX18765" fmla="*/ 6552234 w 8079933"/>
              <a:gd name="connsiteY18765" fmla="*/ 1462301 h 4687251"/>
              <a:gd name="connsiteX18766" fmla="*/ 6689725 w 8079933"/>
              <a:gd name="connsiteY18766" fmla="*/ 1457900 h 4687251"/>
              <a:gd name="connsiteX18767" fmla="*/ 6689725 w 8079933"/>
              <a:gd name="connsiteY18767" fmla="*/ 1460136 h 4687251"/>
              <a:gd name="connsiteX18768" fmla="*/ 6690268 w 8079933"/>
              <a:gd name="connsiteY18768" fmla="*/ 1460431 h 4687251"/>
              <a:gd name="connsiteX18769" fmla="*/ 6690268 w 8079933"/>
              <a:gd name="connsiteY18769" fmla="*/ 1458405 h 4687251"/>
              <a:gd name="connsiteX18770" fmla="*/ 4171271 w 8079933"/>
              <a:gd name="connsiteY18770" fmla="*/ 1456564 h 4687251"/>
              <a:gd name="connsiteX18771" fmla="*/ 4170294 w 8079933"/>
              <a:gd name="connsiteY18771" fmla="*/ 1460570 h 4687251"/>
              <a:gd name="connsiteX18772" fmla="*/ 4167907 w 8079933"/>
              <a:gd name="connsiteY18772" fmla="*/ 1460678 h 4687251"/>
              <a:gd name="connsiteX18773" fmla="*/ 4168232 w 8079933"/>
              <a:gd name="connsiteY18773" fmla="*/ 1457321 h 4687251"/>
              <a:gd name="connsiteX18774" fmla="*/ 1140727 w 8079933"/>
              <a:gd name="connsiteY18774" fmla="*/ 1454182 h 4687251"/>
              <a:gd name="connsiteX18775" fmla="*/ 1142246 w 8079933"/>
              <a:gd name="connsiteY18775" fmla="*/ 1456888 h 4687251"/>
              <a:gd name="connsiteX18776" fmla="*/ 1140401 w 8079933"/>
              <a:gd name="connsiteY18776" fmla="*/ 1459704 h 4687251"/>
              <a:gd name="connsiteX18777" fmla="*/ 1134867 w 8079933"/>
              <a:gd name="connsiteY18777" fmla="*/ 1457105 h 4687251"/>
              <a:gd name="connsiteX18778" fmla="*/ 4463397 w 8079933"/>
              <a:gd name="connsiteY18778" fmla="*/ 1454181 h 4687251"/>
              <a:gd name="connsiteX18779" fmla="*/ 4462420 w 8079933"/>
              <a:gd name="connsiteY18779" fmla="*/ 1458295 h 4687251"/>
              <a:gd name="connsiteX18780" fmla="*/ 4459274 w 8079933"/>
              <a:gd name="connsiteY18780" fmla="*/ 1458728 h 4687251"/>
              <a:gd name="connsiteX18781" fmla="*/ 4459275 w 8079933"/>
              <a:gd name="connsiteY18781" fmla="*/ 1458729 h 4687251"/>
              <a:gd name="connsiteX18782" fmla="*/ 4462422 w 8079933"/>
              <a:gd name="connsiteY18782" fmla="*/ 1458296 h 4687251"/>
              <a:gd name="connsiteX18783" fmla="*/ 4463398 w 8079933"/>
              <a:gd name="connsiteY18783" fmla="*/ 1454182 h 4687251"/>
              <a:gd name="connsiteX18784" fmla="*/ 6681197 w 8079933"/>
              <a:gd name="connsiteY18784" fmla="*/ 1449012 h 4687251"/>
              <a:gd name="connsiteX18785" fmla="*/ 6681912 w 8079933"/>
              <a:gd name="connsiteY18785" fmla="*/ 1451150 h 4687251"/>
              <a:gd name="connsiteX18786" fmla="*/ 6680610 w 8079933"/>
              <a:gd name="connsiteY18786" fmla="*/ 1453423 h 4687251"/>
              <a:gd name="connsiteX18787" fmla="*/ 6681695 w 8079933"/>
              <a:gd name="connsiteY18787" fmla="*/ 1455480 h 4687251"/>
              <a:gd name="connsiteX18788" fmla="*/ 6682134 w 8079933"/>
              <a:gd name="connsiteY18788" fmla="*/ 1455611 h 4687251"/>
              <a:gd name="connsiteX18789" fmla="*/ 6681152 w 8079933"/>
              <a:gd name="connsiteY18789" fmla="*/ 1453750 h 4687251"/>
              <a:gd name="connsiteX18790" fmla="*/ 6682454 w 8079933"/>
              <a:gd name="connsiteY18790" fmla="*/ 1451368 h 4687251"/>
              <a:gd name="connsiteX18791" fmla="*/ 6681695 w 8079933"/>
              <a:gd name="connsiteY18791" fmla="*/ 1449094 h 4687251"/>
              <a:gd name="connsiteX18792" fmla="*/ 1147997 w 8079933"/>
              <a:gd name="connsiteY18792" fmla="*/ 1448768 h 4687251"/>
              <a:gd name="connsiteX18793" fmla="*/ 1149516 w 8079933"/>
              <a:gd name="connsiteY18793" fmla="*/ 1453640 h 4687251"/>
              <a:gd name="connsiteX18794" fmla="*/ 1146912 w 8079933"/>
              <a:gd name="connsiteY18794" fmla="*/ 1455481 h 4687251"/>
              <a:gd name="connsiteX18795" fmla="*/ 1146912 w 8079933"/>
              <a:gd name="connsiteY18795" fmla="*/ 1457105 h 4687251"/>
              <a:gd name="connsiteX18796" fmla="*/ 1144850 w 8079933"/>
              <a:gd name="connsiteY18796" fmla="*/ 1458513 h 4687251"/>
              <a:gd name="connsiteX18797" fmla="*/ 1144850 w 8079933"/>
              <a:gd name="connsiteY18797" fmla="*/ 1453099 h 4687251"/>
              <a:gd name="connsiteX18798" fmla="*/ 6674508 w 8079933"/>
              <a:gd name="connsiteY18798" fmla="*/ 1448661 h 4687251"/>
              <a:gd name="connsiteX18799" fmla="*/ 6675401 w 8079933"/>
              <a:gd name="connsiteY18799" fmla="*/ 1450175 h 4687251"/>
              <a:gd name="connsiteX18800" fmla="*/ 6675721 w 8079933"/>
              <a:gd name="connsiteY18800" fmla="*/ 1449939 h 4687251"/>
              <a:gd name="connsiteX18801" fmla="*/ 6674967 w 8079933"/>
              <a:gd name="connsiteY18801" fmla="*/ 1448661 h 4687251"/>
              <a:gd name="connsiteX18802" fmla="*/ 2259291 w 8079933"/>
              <a:gd name="connsiteY18802" fmla="*/ 1446637 h 4687251"/>
              <a:gd name="connsiteX18803" fmla="*/ 2256386 w 8079933"/>
              <a:gd name="connsiteY18803" fmla="*/ 1450501 h 4687251"/>
              <a:gd name="connsiteX18804" fmla="*/ 2256494 w 8079933"/>
              <a:gd name="connsiteY18804" fmla="*/ 1450501 h 4687251"/>
              <a:gd name="connsiteX18805" fmla="*/ 3809910 w 8079933"/>
              <a:gd name="connsiteY18805" fmla="*/ 1446495 h 4687251"/>
              <a:gd name="connsiteX18806" fmla="*/ 3810670 w 8079933"/>
              <a:gd name="connsiteY18806" fmla="*/ 1452666 h 4687251"/>
              <a:gd name="connsiteX18807" fmla="*/ 3806546 w 8079933"/>
              <a:gd name="connsiteY18807" fmla="*/ 1456456 h 4687251"/>
              <a:gd name="connsiteX18808" fmla="*/ 3805244 w 8079933"/>
              <a:gd name="connsiteY18808" fmla="*/ 1459920 h 4687251"/>
              <a:gd name="connsiteX18809" fmla="*/ 3806655 w 8079933"/>
              <a:gd name="connsiteY18809" fmla="*/ 1461003 h 4687251"/>
              <a:gd name="connsiteX18810" fmla="*/ 3803725 w 8079933"/>
              <a:gd name="connsiteY18810" fmla="*/ 1465226 h 4687251"/>
              <a:gd name="connsiteX18811" fmla="*/ 3799493 w 8079933"/>
              <a:gd name="connsiteY18811" fmla="*/ 1464144 h 4687251"/>
              <a:gd name="connsiteX18812" fmla="*/ 3795478 w 8079933"/>
              <a:gd name="connsiteY18812" fmla="*/ 1464793 h 4687251"/>
              <a:gd name="connsiteX18813" fmla="*/ 3793308 w 8079933"/>
              <a:gd name="connsiteY18813" fmla="*/ 1462952 h 4687251"/>
              <a:gd name="connsiteX18814" fmla="*/ 3795369 w 8079933"/>
              <a:gd name="connsiteY18814" fmla="*/ 1461328 h 4687251"/>
              <a:gd name="connsiteX18815" fmla="*/ 3792874 w 8079933"/>
              <a:gd name="connsiteY18815" fmla="*/ 1458621 h 4687251"/>
              <a:gd name="connsiteX18816" fmla="*/ 3795478 w 8079933"/>
              <a:gd name="connsiteY18816" fmla="*/ 1455373 h 4687251"/>
              <a:gd name="connsiteX18817" fmla="*/ 3800469 w 8079933"/>
              <a:gd name="connsiteY18817" fmla="*/ 1457647 h 4687251"/>
              <a:gd name="connsiteX18818" fmla="*/ 3799276 w 8079933"/>
              <a:gd name="connsiteY18818" fmla="*/ 1454074 h 4687251"/>
              <a:gd name="connsiteX18819" fmla="*/ 1128030 w 8079933"/>
              <a:gd name="connsiteY18819" fmla="*/ 1442814 h 4687251"/>
              <a:gd name="connsiteX18820" fmla="*/ 1131286 w 8079933"/>
              <a:gd name="connsiteY18820" fmla="*/ 1447253 h 4687251"/>
              <a:gd name="connsiteX18821" fmla="*/ 1133130 w 8079933"/>
              <a:gd name="connsiteY18821" fmla="*/ 1452559 h 4687251"/>
              <a:gd name="connsiteX18822" fmla="*/ 1130418 w 8079933"/>
              <a:gd name="connsiteY18822" fmla="*/ 1457106 h 4687251"/>
              <a:gd name="connsiteX18823" fmla="*/ 1130201 w 8079933"/>
              <a:gd name="connsiteY18823" fmla="*/ 1453641 h 4687251"/>
              <a:gd name="connsiteX18824" fmla="*/ 1127271 w 8079933"/>
              <a:gd name="connsiteY18824" fmla="*/ 1451584 h 4687251"/>
              <a:gd name="connsiteX18825" fmla="*/ 3863627 w 8079933"/>
              <a:gd name="connsiteY18825" fmla="*/ 1442272 h 4687251"/>
              <a:gd name="connsiteX18826" fmla="*/ 3868293 w 8079933"/>
              <a:gd name="connsiteY18826" fmla="*/ 1442272 h 4687251"/>
              <a:gd name="connsiteX18827" fmla="*/ 3868509 w 8079933"/>
              <a:gd name="connsiteY18827" fmla="*/ 1444113 h 4687251"/>
              <a:gd name="connsiteX18828" fmla="*/ 3866665 w 8079933"/>
              <a:gd name="connsiteY18828" fmla="*/ 1447036 h 4687251"/>
              <a:gd name="connsiteX18829" fmla="*/ 3868293 w 8079933"/>
              <a:gd name="connsiteY18829" fmla="*/ 1448768 h 4687251"/>
              <a:gd name="connsiteX18830" fmla="*/ 3866773 w 8079933"/>
              <a:gd name="connsiteY18830" fmla="*/ 1452990 h 4687251"/>
              <a:gd name="connsiteX18831" fmla="*/ 3863627 w 8079933"/>
              <a:gd name="connsiteY18831" fmla="*/ 1454074 h 4687251"/>
              <a:gd name="connsiteX18832" fmla="*/ 3860914 w 8079933"/>
              <a:gd name="connsiteY18832" fmla="*/ 1458621 h 4687251"/>
              <a:gd name="connsiteX18833" fmla="*/ 3851581 w 8079933"/>
              <a:gd name="connsiteY18833" fmla="*/ 1465658 h 4687251"/>
              <a:gd name="connsiteX18834" fmla="*/ 3850821 w 8079933"/>
              <a:gd name="connsiteY18834" fmla="*/ 1468473 h 4687251"/>
              <a:gd name="connsiteX18835" fmla="*/ 3848868 w 8079933"/>
              <a:gd name="connsiteY18835" fmla="*/ 1469772 h 4687251"/>
              <a:gd name="connsiteX18836" fmla="*/ 3852232 w 8079933"/>
              <a:gd name="connsiteY18836" fmla="*/ 1470963 h 4687251"/>
              <a:gd name="connsiteX18837" fmla="*/ 3854945 w 8079933"/>
              <a:gd name="connsiteY18837" fmla="*/ 1469448 h 4687251"/>
              <a:gd name="connsiteX18838" fmla="*/ 3851147 w 8079933"/>
              <a:gd name="connsiteY18838" fmla="*/ 1475511 h 4687251"/>
              <a:gd name="connsiteX18839" fmla="*/ 3847675 w 8079933"/>
              <a:gd name="connsiteY18839" fmla="*/ 1479517 h 4687251"/>
              <a:gd name="connsiteX18840" fmla="*/ 3848434 w 8079933"/>
              <a:gd name="connsiteY18840" fmla="*/ 1480383 h 4687251"/>
              <a:gd name="connsiteX18841" fmla="*/ 3851038 w 8079933"/>
              <a:gd name="connsiteY18841" fmla="*/ 1478218 h 4687251"/>
              <a:gd name="connsiteX18842" fmla="*/ 3852666 w 8079933"/>
              <a:gd name="connsiteY18842" fmla="*/ 1478326 h 4687251"/>
              <a:gd name="connsiteX18843" fmla="*/ 3856573 w 8079933"/>
              <a:gd name="connsiteY18843" fmla="*/ 1476161 h 4687251"/>
              <a:gd name="connsiteX18844" fmla="*/ 3860154 w 8079933"/>
              <a:gd name="connsiteY18844" fmla="*/ 1475078 h 4687251"/>
              <a:gd name="connsiteX18845" fmla="*/ 3860479 w 8079933"/>
              <a:gd name="connsiteY18845" fmla="*/ 1473778 h 4687251"/>
              <a:gd name="connsiteX18846" fmla="*/ 3863083 w 8079933"/>
              <a:gd name="connsiteY18846" fmla="*/ 1473670 h 4687251"/>
              <a:gd name="connsiteX18847" fmla="*/ 3866665 w 8079933"/>
              <a:gd name="connsiteY18847" fmla="*/ 1474970 h 4687251"/>
              <a:gd name="connsiteX18848" fmla="*/ 3869486 w 8079933"/>
              <a:gd name="connsiteY18848" fmla="*/ 1474970 h 4687251"/>
              <a:gd name="connsiteX18849" fmla="*/ 3871222 w 8079933"/>
              <a:gd name="connsiteY18849" fmla="*/ 1473778 h 4687251"/>
              <a:gd name="connsiteX18850" fmla="*/ 3877191 w 8079933"/>
              <a:gd name="connsiteY18850" fmla="*/ 1474861 h 4687251"/>
              <a:gd name="connsiteX18851" fmla="*/ 3886740 w 8079933"/>
              <a:gd name="connsiteY18851" fmla="*/ 1474537 h 4687251"/>
              <a:gd name="connsiteX18852" fmla="*/ 3887934 w 8079933"/>
              <a:gd name="connsiteY18852" fmla="*/ 1473562 h 4687251"/>
              <a:gd name="connsiteX18853" fmla="*/ 3893468 w 8079933"/>
              <a:gd name="connsiteY18853" fmla="*/ 1478651 h 4687251"/>
              <a:gd name="connsiteX18854" fmla="*/ 3893468 w 8079933"/>
              <a:gd name="connsiteY18854" fmla="*/ 1482332 h 4687251"/>
              <a:gd name="connsiteX18855" fmla="*/ 3889670 w 8079933"/>
              <a:gd name="connsiteY18855" fmla="*/ 1485580 h 4687251"/>
              <a:gd name="connsiteX18856" fmla="*/ 3887717 w 8079933"/>
              <a:gd name="connsiteY18856" fmla="*/ 1491318 h 4687251"/>
              <a:gd name="connsiteX18857" fmla="*/ 3888585 w 8079933"/>
              <a:gd name="connsiteY18857" fmla="*/ 1492726 h 4687251"/>
              <a:gd name="connsiteX18858" fmla="*/ 3886306 w 8079933"/>
              <a:gd name="connsiteY18858" fmla="*/ 1496840 h 4687251"/>
              <a:gd name="connsiteX18859" fmla="*/ 3886523 w 8079933"/>
              <a:gd name="connsiteY18859" fmla="*/ 1498897 h 4687251"/>
              <a:gd name="connsiteX18860" fmla="*/ 3884570 w 8079933"/>
              <a:gd name="connsiteY18860" fmla="*/ 1501712 h 4687251"/>
              <a:gd name="connsiteX18861" fmla="*/ 3881423 w 8079933"/>
              <a:gd name="connsiteY18861" fmla="*/ 1507884 h 4687251"/>
              <a:gd name="connsiteX18862" fmla="*/ 3879252 w 8079933"/>
              <a:gd name="connsiteY18862" fmla="*/ 1509291 h 4687251"/>
              <a:gd name="connsiteX18863" fmla="*/ 3878710 w 8079933"/>
              <a:gd name="connsiteY18863" fmla="*/ 1511781 h 4687251"/>
              <a:gd name="connsiteX18864" fmla="*/ 3875563 w 8079933"/>
              <a:gd name="connsiteY18864" fmla="*/ 1514488 h 4687251"/>
              <a:gd name="connsiteX18865" fmla="*/ 3870029 w 8079933"/>
              <a:gd name="connsiteY18865" fmla="*/ 1514163 h 4687251"/>
              <a:gd name="connsiteX18866" fmla="*/ 3865580 w 8079933"/>
              <a:gd name="connsiteY18866" fmla="*/ 1517520 h 4687251"/>
              <a:gd name="connsiteX18867" fmla="*/ 3866556 w 8079933"/>
              <a:gd name="connsiteY18867" fmla="*/ 1518711 h 4687251"/>
              <a:gd name="connsiteX18868" fmla="*/ 3872416 w 8079933"/>
              <a:gd name="connsiteY18868" fmla="*/ 1515571 h 4687251"/>
              <a:gd name="connsiteX18869" fmla="*/ 3874153 w 8079933"/>
              <a:gd name="connsiteY18869" fmla="*/ 1516871 h 4687251"/>
              <a:gd name="connsiteX18870" fmla="*/ 3874478 w 8079933"/>
              <a:gd name="connsiteY18870" fmla="*/ 1519361 h 4687251"/>
              <a:gd name="connsiteX18871" fmla="*/ 3878710 w 8079933"/>
              <a:gd name="connsiteY18871" fmla="*/ 1521418 h 4687251"/>
              <a:gd name="connsiteX18872" fmla="*/ 3874478 w 8079933"/>
              <a:gd name="connsiteY18872" fmla="*/ 1524557 h 4687251"/>
              <a:gd name="connsiteX18873" fmla="*/ 3869920 w 8079933"/>
              <a:gd name="connsiteY18873" fmla="*/ 1524341 h 4687251"/>
              <a:gd name="connsiteX18874" fmla="*/ 3868509 w 8079933"/>
              <a:gd name="connsiteY18874" fmla="*/ 1527914 h 4687251"/>
              <a:gd name="connsiteX18875" fmla="*/ 3864060 w 8079933"/>
              <a:gd name="connsiteY18875" fmla="*/ 1529430 h 4687251"/>
              <a:gd name="connsiteX18876" fmla="*/ 3858634 w 8079933"/>
              <a:gd name="connsiteY18876" fmla="*/ 1528997 h 4687251"/>
              <a:gd name="connsiteX18877" fmla="*/ 3855922 w 8079933"/>
              <a:gd name="connsiteY18877" fmla="*/ 1527589 h 4687251"/>
              <a:gd name="connsiteX18878" fmla="*/ 3857224 w 8079933"/>
              <a:gd name="connsiteY18878" fmla="*/ 1530079 h 4687251"/>
              <a:gd name="connsiteX18879" fmla="*/ 3861782 w 8079933"/>
              <a:gd name="connsiteY18879" fmla="*/ 1531487 h 4687251"/>
              <a:gd name="connsiteX18880" fmla="*/ 3864495 w 8079933"/>
              <a:gd name="connsiteY18880" fmla="*/ 1531162 h 4687251"/>
              <a:gd name="connsiteX18881" fmla="*/ 3870029 w 8079933"/>
              <a:gd name="connsiteY18881" fmla="*/ 1533002 h 4687251"/>
              <a:gd name="connsiteX18882" fmla="*/ 3874044 w 8079933"/>
              <a:gd name="connsiteY18882" fmla="*/ 1530404 h 4687251"/>
              <a:gd name="connsiteX18883" fmla="*/ 3876106 w 8079933"/>
              <a:gd name="connsiteY18883" fmla="*/ 1528563 h 4687251"/>
              <a:gd name="connsiteX18884" fmla="*/ 3881097 w 8079933"/>
              <a:gd name="connsiteY18884" fmla="*/ 1530512 h 4687251"/>
              <a:gd name="connsiteX18885" fmla="*/ 3884245 w 8079933"/>
              <a:gd name="connsiteY18885" fmla="*/ 1533111 h 4687251"/>
              <a:gd name="connsiteX18886" fmla="*/ 3888260 w 8079933"/>
              <a:gd name="connsiteY18886" fmla="*/ 1533977 h 4687251"/>
              <a:gd name="connsiteX18887" fmla="*/ 3894879 w 8079933"/>
              <a:gd name="connsiteY18887" fmla="*/ 1543938 h 4687251"/>
              <a:gd name="connsiteX18888" fmla="*/ 3897158 w 8079933"/>
              <a:gd name="connsiteY18888" fmla="*/ 1543938 h 4687251"/>
              <a:gd name="connsiteX18889" fmla="*/ 3899437 w 8079933"/>
              <a:gd name="connsiteY18889" fmla="*/ 1547619 h 4687251"/>
              <a:gd name="connsiteX18890" fmla="*/ 3901498 w 8079933"/>
              <a:gd name="connsiteY18890" fmla="*/ 1558663 h 4687251"/>
              <a:gd name="connsiteX18891" fmla="*/ 3904320 w 8079933"/>
              <a:gd name="connsiteY18891" fmla="*/ 1563318 h 4687251"/>
              <a:gd name="connsiteX18892" fmla="*/ 3906925 w 8079933"/>
              <a:gd name="connsiteY18892" fmla="*/ 1571980 h 4687251"/>
              <a:gd name="connsiteX18893" fmla="*/ 3908661 w 8079933"/>
              <a:gd name="connsiteY18893" fmla="*/ 1573062 h 4687251"/>
              <a:gd name="connsiteX18894" fmla="*/ 3909095 w 8079933"/>
              <a:gd name="connsiteY18894" fmla="*/ 1576203 h 4687251"/>
              <a:gd name="connsiteX18895" fmla="*/ 3917017 w 8079933"/>
              <a:gd name="connsiteY18895" fmla="*/ 1578043 h 4687251"/>
              <a:gd name="connsiteX18896" fmla="*/ 3922659 w 8079933"/>
              <a:gd name="connsiteY18896" fmla="*/ 1580966 h 4687251"/>
              <a:gd name="connsiteX18897" fmla="*/ 3926458 w 8079933"/>
              <a:gd name="connsiteY18897" fmla="*/ 1587787 h 4687251"/>
              <a:gd name="connsiteX18898" fmla="*/ 3927760 w 8079933"/>
              <a:gd name="connsiteY18898" fmla="*/ 1588004 h 4687251"/>
              <a:gd name="connsiteX18899" fmla="*/ 3929170 w 8079933"/>
              <a:gd name="connsiteY18899" fmla="*/ 1590386 h 4687251"/>
              <a:gd name="connsiteX18900" fmla="*/ 3932317 w 8079933"/>
              <a:gd name="connsiteY18900" fmla="*/ 1592119 h 4687251"/>
              <a:gd name="connsiteX18901" fmla="*/ 3930581 w 8079933"/>
              <a:gd name="connsiteY18901" fmla="*/ 1592768 h 4687251"/>
              <a:gd name="connsiteX18902" fmla="*/ 3928736 w 8079933"/>
              <a:gd name="connsiteY18902" fmla="*/ 1595799 h 4687251"/>
              <a:gd name="connsiteX18903" fmla="*/ 3931666 w 8079933"/>
              <a:gd name="connsiteY18903" fmla="*/ 1599589 h 4687251"/>
              <a:gd name="connsiteX18904" fmla="*/ 3938069 w 8079933"/>
              <a:gd name="connsiteY18904" fmla="*/ 1607601 h 4687251"/>
              <a:gd name="connsiteX18905" fmla="*/ 3935790 w 8079933"/>
              <a:gd name="connsiteY18905" fmla="*/ 1607060 h 4687251"/>
              <a:gd name="connsiteX18906" fmla="*/ 3933294 w 8079933"/>
              <a:gd name="connsiteY18906" fmla="*/ 1607493 h 4687251"/>
              <a:gd name="connsiteX18907" fmla="*/ 3931449 w 8079933"/>
              <a:gd name="connsiteY18907" fmla="*/ 1605544 h 4687251"/>
              <a:gd name="connsiteX18908" fmla="*/ 3929279 w 8079933"/>
              <a:gd name="connsiteY18908" fmla="*/ 1604570 h 4687251"/>
              <a:gd name="connsiteX18909" fmla="*/ 3925698 w 8079933"/>
              <a:gd name="connsiteY18909" fmla="*/ 1605327 h 4687251"/>
              <a:gd name="connsiteX18910" fmla="*/ 3923636 w 8079933"/>
              <a:gd name="connsiteY18910" fmla="*/ 1604786 h 4687251"/>
              <a:gd name="connsiteX18911" fmla="*/ 3920380 w 8079933"/>
              <a:gd name="connsiteY18911" fmla="*/ 1605652 h 4687251"/>
              <a:gd name="connsiteX18912" fmla="*/ 3922117 w 8079933"/>
              <a:gd name="connsiteY18912" fmla="*/ 1605652 h 4687251"/>
              <a:gd name="connsiteX18913" fmla="*/ 3925047 w 8079933"/>
              <a:gd name="connsiteY18913" fmla="*/ 1606627 h 4687251"/>
              <a:gd name="connsiteX18914" fmla="*/ 3926675 w 8079933"/>
              <a:gd name="connsiteY18914" fmla="*/ 1606085 h 4687251"/>
              <a:gd name="connsiteX18915" fmla="*/ 3929170 w 8079933"/>
              <a:gd name="connsiteY18915" fmla="*/ 1605652 h 4687251"/>
              <a:gd name="connsiteX18916" fmla="*/ 3931124 w 8079933"/>
              <a:gd name="connsiteY18916" fmla="*/ 1609009 h 4687251"/>
              <a:gd name="connsiteX18917" fmla="*/ 3935899 w 8079933"/>
              <a:gd name="connsiteY18917" fmla="*/ 1611715 h 4687251"/>
              <a:gd name="connsiteX18918" fmla="*/ 3938069 w 8079933"/>
              <a:gd name="connsiteY18918" fmla="*/ 1612148 h 4687251"/>
              <a:gd name="connsiteX18919" fmla="*/ 3943495 w 8079933"/>
              <a:gd name="connsiteY18919" fmla="*/ 1620918 h 4687251"/>
              <a:gd name="connsiteX18920" fmla="*/ 3943495 w 8079933"/>
              <a:gd name="connsiteY18920" fmla="*/ 1625141 h 4687251"/>
              <a:gd name="connsiteX18921" fmla="*/ 3936658 w 8079933"/>
              <a:gd name="connsiteY18921" fmla="*/ 1631962 h 4687251"/>
              <a:gd name="connsiteX18922" fmla="*/ 3940999 w 8079933"/>
              <a:gd name="connsiteY18922" fmla="*/ 1633045 h 4687251"/>
              <a:gd name="connsiteX18923" fmla="*/ 3944580 w 8079933"/>
              <a:gd name="connsiteY18923" fmla="*/ 1637159 h 4687251"/>
              <a:gd name="connsiteX18924" fmla="*/ 3946425 w 8079933"/>
              <a:gd name="connsiteY18924" fmla="*/ 1634127 h 4687251"/>
              <a:gd name="connsiteX18925" fmla="*/ 3946967 w 8079933"/>
              <a:gd name="connsiteY18925" fmla="*/ 1629039 h 4687251"/>
              <a:gd name="connsiteX18926" fmla="*/ 3953912 w 8079933"/>
              <a:gd name="connsiteY18926" fmla="*/ 1628822 h 4687251"/>
              <a:gd name="connsiteX18927" fmla="*/ 3964981 w 8079933"/>
              <a:gd name="connsiteY18927" fmla="*/ 1629363 h 4687251"/>
              <a:gd name="connsiteX18928" fmla="*/ 3972902 w 8079933"/>
              <a:gd name="connsiteY18928" fmla="*/ 1635535 h 4687251"/>
              <a:gd name="connsiteX18929" fmla="*/ 3973987 w 8079933"/>
              <a:gd name="connsiteY18929" fmla="*/ 1641382 h 4687251"/>
              <a:gd name="connsiteX18930" fmla="*/ 3976049 w 8079933"/>
              <a:gd name="connsiteY18930" fmla="*/ 1643980 h 4687251"/>
              <a:gd name="connsiteX18931" fmla="*/ 3973445 w 8079933"/>
              <a:gd name="connsiteY18931" fmla="*/ 1650368 h 4687251"/>
              <a:gd name="connsiteX18932" fmla="*/ 3973011 w 8079933"/>
              <a:gd name="connsiteY18932" fmla="*/ 1657297 h 4687251"/>
              <a:gd name="connsiteX18933" fmla="*/ 3970298 w 8079933"/>
              <a:gd name="connsiteY18933" fmla="*/ 1658380 h 4687251"/>
              <a:gd name="connsiteX18934" fmla="*/ 3967476 w 8079933"/>
              <a:gd name="connsiteY18934" fmla="*/ 1662061 h 4687251"/>
              <a:gd name="connsiteX18935" fmla="*/ 3966826 w 8079933"/>
              <a:gd name="connsiteY18935" fmla="*/ 1660220 h 4687251"/>
              <a:gd name="connsiteX18936" fmla="*/ 3964330 w 8079933"/>
              <a:gd name="connsiteY18936" fmla="*/ 1659679 h 4687251"/>
              <a:gd name="connsiteX18937" fmla="*/ 3962810 w 8079933"/>
              <a:gd name="connsiteY18937" fmla="*/ 1662169 h 4687251"/>
              <a:gd name="connsiteX18938" fmla="*/ 3966717 w 8079933"/>
              <a:gd name="connsiteY18938" fmla="*/ 1662602 h 4687251"/>
              <a:gd name="connsiteX18939" fmla="*/ 3965632 w 8079933"/>
              <a:gd name="connsiteY18939" fmla="*/ 1664335 h 4687251"/>
              <a:gd name="connsiteX18940" fmla="*/ 3967259 w 8079933"/>
              <a:gd name="connsiteY18940" fmla="*/ 1664659 h 4687251"/>
              <a:gd name="connsiteX18941" fmla="*/ 3965849 w 8079933"/>
              <a:gd name="connsiteY18941" fmla="*/ 1666716 h 4687251"/>
              <a:gd name="connsiteX18942" fmla="*/ 3962485 w 8079933"/>
              <a:gd name="connsiteY18942" fmla="*/ 1669207 h 4687251"/>
              <a:gd name="connsiteX18943" fmla="*/ 3960315 w 8079933"/>
              <a:gd name="connsiteY18943" fmla="*/ 1667367 h 4687251"/>
              <a:gd name="connsiteX18944" fmla="*/ 3958361 w 8079933"/>
              <a:gd name="connsiteY18944" fmla="*/ 1669315 h 4687251"/>
              <a:gd name="connsiteX18945" fmla="*/ 3955648 w 8079933"/>
              <a:gd name="connsiteY18945" fmla="*/ 1671697 h 4687251"/>
              <a:gd name="connsiteX18946" fmla="*/ 3959338 w 8079933"/>
              <a:gd name="connsiteY18946" fmla="*/ 1671697 h 4687251"/>
              <a:gd name="connsiteX18947" fmla="*/ 3960315 w 8079933"/>
              <a:gd name="connsiteY18947" fmla="*/ 1674837 h 4687251"/>
              <a:gd name="connsiteX18948" fmla="*/ 3956734 w 8079933"/>
              <a:gd name="connsiteY18948" fmla="*/ 1676569 h 4687251"/>
              <a:gd name="connsiteX18949" fmla="*/ 3953695 w 8079933"/>
              <a:gd name="connsiteY18949" fmla="*/ 1676245 h 4687251"/>
              <a:gd name="connsiteX18950" fmla="*/ 3949138 w 8079933"/>
              <a:gd name="connsiteY18950" fmla="*/ 1679384 h 4687251"/>
              <a:gd name="connsiteX18951" fmla="*/ 3952393 w 8079933"/>
              <a:gd name="connsiteY18951" fmla="*/ 1678193 h 4687251"/>
              <a:gd name="connsiteX18952" fmla="*/ 3956082 w 8079933"/>
              <a:gd name="connsiteY18952" fmla="*/ 1679168 h 4687251"/>
              <a:gd name="connsiteX18953" fmla="*/ 3955757 w 8079933"/>
              <a:gd name="connsiteY18953" fmla="*/ 1679926 h 4687251"/>
              <a:gd name="connsiteX18954" fmla="*/ 3954455 w 8079933"/>
              <a:gd name="connsiteY18954" fmla="*/ 1680142 h 4687251"/>
              <a:gd name="connsiteX18955" fmla="*/ 3953044 w 8079933"/>
              <a:gd name="connsiteY18955" fmla="*/ 1681549 h 4687251"/>
              <a:gd name="connsiteX18956" fmla="*/ 3954563 w 8079933"/>
              <a:gd name="connsiteY18956" fmla="*/ 1681875 h 4687251"/>
              <a:gd name="connsiteX18957" fmla="*/ 3958687 w 8079933"/>
              <a:gd name="connsiteY18957" fmla="*/ 1683390 h 4687251"/>
              <a:gd name="connsiteX18958" fmla="*/ 3961292 w 8079933"/>
              <a:gd name="connsiteY18958" fmla="*/ 1682957 h 4687251"/>
              <a:gd name="connsiteX18959" fmla="*/ 3965740 w 8079933"/>
              <a:gd name="connsiteY18959" fmla="*/ 1681225 h 4687251"/>
              <a:gd name="connsiteX18960" fmla="*/ 3971926 w 8079933"/>
              <a:gd name="connsiteY18960" fmla="*/ 1681008 h 4687251"/>
              <a:gd name="connsiteX18961" fmla="*/ 3970841 w 8079933"/>
              <a:gd name="connsiteY18961" fmla="*/ 1683932 h 4687251"/>
              <a:gd name="connsiteX18962" fmla="*/ 3971818 w 8079933"/>
              <a:gd name="connsiteY18962" fmla="*/ 1686314 h 4687251"/>
              <a:gd name="connsiteX18963" fmla="*/ 3971600 w 8079933"/>
              <a:gd name="connsiteY18963" fmla="*/ 1689887 h 4687251"/>
              <a:gd name="connsiteX18964" fmla="*/ 3968128 w 8079933"/>
              <a:gd name="connsiteY18964" fmla="*/ 1690644 h 4687251"/>
              <a:gd name="connsiteX18965" fmla="*/ 3962593 w 8079933"/>
              <a:gd name="connsiteY18965" fmla="*/ 1694434 h 4687251"/>
              <a:gd name="connsiteX18966" fmla="*/ 3963136 w 8079933"/>
              <a:gd name="connsiteY18966" fmla="*/ 1697032 h 4687251"/>
              <a:gd name="connsiteX18967" fmla="*/ 3960748 w 8079933"/>
              <a:gd name="connsiteY18967" fmla="*/ 1696491 h 4687251"/>
              <a:gd name="connsiteX18968" fmla="*/ 3958361 w 8079933"/>
              <a:gd name="connsiteY18968" fmla="*/ 1696708 h 4687251"/>
              <a:gd name="connsiteX18969" fmla="*/ 3954889 w 8079933"/>
              <a:gd name="connsiteY18969" fmla="*/ 1699848 h 4687251"/>
              <a:gd name="connsiteX18970" fmla="*/ 3951091 w 8079933"/>
              <a:gd name="connsiteY18970" fmla="*/ 1700605 h 4687251"/>
              <a:gd name="connsiteX18971" fmla="*/ 3947509 w 8079933"/>
              <a:gd name="connsiteY18971" fmla="*/ 1703528 h 4687251"/>
              <a:gd name="connsiteX18972" fmla="*/ 3945231 w 8079933"/>
              <a:gd name="connsiteY18972" fmla="*/ 1703095 h 4687251"/>
              <a:gd name="connsiteX18973" fmla="*/ 3940456 w 8079933"/>
              <a:gd name="connsiteY18973" fmla="*/ 1701580 h 4687251"/>
              <a:gd name="connsiteX18974" fmla="*/ 3935573 w 8079933"/>
              <a:gd name="connsiteY18974" fmla="*/ 1702554 h 4687251"/>
              <a:gd name="connsiteX18975" fmla="*/ 3927760 w 8079933"/>
              <a:gd name="connsiteY18975" fmla="*/ 1702663 h 4687251"/>
              <a:gd name="connsiteX18976" fmla="*/ 3924395 w 8079933"/>
              <a:gd name="connsiteY18976" fmla="*/ 1704936 h 4687251"/>
              <a:gd name="connsiteX18977" fmla="*/ 3921357 w 8079933"/>
              <a:gd name="connsiteY18977" fmla="*/ 1703204 h 4687251"/>
              <a:gd name="connsiteX18978" fmla="*/ 3920706 w 8079933"/>
              <a:gd name="connsiteY18978" fmla="*/ 1701471 h 4687251"/>
              <a:gd name="connsiteX18979" fmla="*/ 3918210 w 8079933"/>
              <a:gd name="connsiteY18979" fmla="*/ 1703312 h 4687251"/>
              <a:gd name="connsiteX18980" fmla="*/ 3916365 w 8079933"/>
              <a:gd name="connsiteY18980" fmla="*/ 1703528 h 4687251"/>
              <a:gd name="connsiteX18981" fmla="*/ 3912892 w 8079933"/>
              <a:gd name="connsiteY18981" fmla="*/ 1702771 h 4687251"/>
              <a:gd name="connsiteX18982" fmla="*/ 3907901 w 8079933"/>
              <a:gd name="connsiteY18982" fmla="*/ 1706019 h 4687251"/>
              <a:gd name="connsiteX18983" fmla="*/ 3904428 w 8079933"/>
              <a:gd name="connsiteY18983" fmla="*/ 1705044 h 4687251"/>
              <a:gd name="connsiteX18984" fmla="*/ 3899220 w 8079933"/>
              <a:gd name="connsiteY18984" fmla="*/ 1707643 h 4687251"/>
              <a:gd name="connsiteX18985" fmla="*/ 3897809 w 8079933"/>
              <a:gd name="connsiteY18985" fmla="*/ 1711216 h 4687251"/>
              <a:gd name="connsiteX18986" fmla="*/ 3894771 w 8079933"/>
              <a:gd name="connsiteY18986" fmla="*/ 1710133 h 4687251"/>
              <a:gd name="connsiteX18987" fmla="*/ 3889128 w 8079933"/>
              <a:gd name="connsiteY18987" fmla="*/ 1709916 h 4687251"/>
              <a:gd name="connsiteX18988" fmla="*/ 3887283 w 8079933"/>
              <a:gd name="connsiteY18988" fmla="*/ 1710675 h 4687251"/>
              <a:gd name="connsiteX18989" fmla="*/ 3882183 w 8079933"/>
              <a:gd name="connsiteY18989" fmla="*/ 1707102 h 4687251"/>
              <a:gd name="connsiteX18990" fmla="*/ 3877625 w 8079933"/>
              <a:gd name="connsiteY18990" fmla="*/ 1706777 h 4687251"/>
              <a:gd name="connsiteX18991" fmla="*/ 3869161 w 8079933"/>
              <a:gd name="connsiteY18991" fmla="*/ 1708726 h 4687251"/>
              <a:gd name="connsiteX18992" fmla="*/ 3868293 w 8079933"/>
              <a:gd name="connsiteY18992" fmla="*/ 1710350 h 4687251"/>
              <a:gd name="connsiteX18993" fmla="*/ 3866122 w 8079933"/>
              <a:gd name="connsiteY18993" fmla="*/ 1710675 h 4687251"/>
              <a:gd name="connsiteX18994" fmla="*/ 3863518 w 8079933"/>
              <a:gd name="connsiteY18994" fmla="*/ 1713165 h 4687251"/>
              <a:gd name="connsiteX18995" fmla="*/ 3864277 w 8079933"/>
              <a:gd name="connsiteY18995" fmla="*/ 1717387 h 4687251"/>
              <a:gd name="connsiteX18996" fmla="*/ 3863518 w 8079933"/>
              <a:gd name="connsiteY18996" fmla="*/ 1719661 h 4687251"/>
              <a:gd name="connsiteX18997" fmla="*/ 3860479 w 8079933"/>
              <a:gd name="connsiteY18997" fmla="*/ 1721068 h 4687251"/>
              <a:gd name="connsiteX18998" fmla="*/ 3861239 w 8079933"/>
              <a:gd name="connsiteY18998" fmla="*/ 1723450 h 4687251"/>
              <a:gd name="connsiteX18999" fmla="*/ 3857441 w 8079933"/>
              <a:gd name="connsiteY18999" fmla="*/ 1723667 h 4687251"/>
              <a:gd name="connsiteX19000" fmla="*/ 3854186 w 8079933"/>
              <a:gd name="connsiteY19000" fmla="*/ 1720960 h 4687251"/>
              <a:gd name="connsiteX19001" fmla="*/ 3851798 w 8079933"/>
              <a:gd name="connsiteY19001" fmla="*/ 1721177 h 4687251"/>
              <a:gd name="connsiteX19002" fmla="*/ 3849844 w 8079933"/>
              <a:gd name="connsiteY19002" fmla="*/ 1718470 h 4687251"/>
              <a:gd name="connsiteX19003" fmla="*/ 3847783 w 8079933"/>
              <a:gd name="connsiteY19003" fmla="*/ 1719553 h 4687251"/>
              <a:gd name="connsiteX19004" fmla="*/ 3845070 w 8079933"/>
              <a:gd name="connsiteY19004" fmla="*/ 1719120 h 4687251"/>
              <a:gd name="connsiteX19005" fmla="*/ 3841597 w 8079933"/>
              <a:gd name="connsiteY19005" fmla="*/ 1720744 h 4687251"/>
              <a:gd name="connsiteX19006" fmla="*/ 3837148 w 8079933"/>
              <a:gd name="connsiteY19006" fmla="*/ 1719553 h 4687251"/>
              <a:gd name="connsiteX19007" fmla="*/ 3835737 w 8079933"/>
              <a:gd name="connsiteY19007" fmla="*/ 1723017 h 4687251"/>
              <a:gd name="connsiteX19008" fmla="*/ 3833784 w 8079933"/>
              <a:gd name="connsiteY19008" fmla="*/ 1723017 h 4687251"/>
              <a:gd name="connsiteX19009" fmla="*/ 3830963 w 8079933"/>
              <a:gd name="connsiteY19009" fmla="*/ 1725832 h 4687251"/>
              <a:gd name="connsiteX19010" fmla="*/ 3829769 w 8079933"/>
              <a:gd name="connsiteY19010" fmla="*/ 1724316 h 4687251"/>
              <a:gd name="connsiteX19011" fmla="*/ 3827382 w 8079933"/>
              <a:gd name="connsiteY19011" fmla="*/ 1727456 h 4687251"/>
              <a:gd name="connsiteX19012" fmla="*/ 3828575 w 8079933"/>
              <a:gd name="connsiteY19012" fmla="*/ 1729297 h 4687251"/>
              <a:gd name="connsiteX19013" fmla="*/ 3825971 w 8079933"/>
              <a:gd name="connsiteY19013" fmla="*/ 1731679 h 4687251"/>
              <a:gd name="connsiteX19014" fmla="*/ 3823909 w 8079933"/>
              <a:gd name="connsiteY19014" fmla="*/ 1727889 h 4687251"/>
              <a:gd name="connsiteX19015" fmla="*/ 3818700 w 8079933"/>
              <a:gd name="connsiteY19015" fmla="*/ 1726590 h 4687251"/>
              <a:gd name="connsiteX19016" fmla="*/ 3818484 w 8079933"/>
              <a:gd name="connsiteY19016" fmla="*/ 1729838 h 4687251"/>
              <a:gd name="connsiteX19017" fmla="*/ 3814251 w 8079933"/>
              <a:gd name="connsiteY19017" fmla="*/ 1729513 h 4687251"/>
              <a:gd name="connsiteX19018" fmla="*/ 3814251 w 8079933"/>
              <a:gd name="connsiteY19018" fmla="*/ 1725940 h 4687251"/>
              <a:gd name="connsiteX19019" fmla="*/ 3818158 w 8079933"/>
              <a:gd name="connsiteY19019" fmla="*/ 1723234 h 4687251"/>
              <a:gd name="connsiteX19020" fmla="*/ 3820653 w 8079933"/>
              <a:gd name="connsiteY19020" fmla="*/ 1724100 h 4687251"/>
              <a:gd name="connsiteX19021" fmla="*/ 3826297 w 8079933"/>
              <a:gd name="connsiteY19021" fmla="*/ 1720094 h 4687251"/>
              <a:gd name="connsiteX19022" fmla="*/ 3827382 w 8079933"/>
              <a:gd name="connsiteY19022" fmla="*/ 1717604 h 4687251"/>
              <a:gd name="connsiteX19023" fmla="*/ 3829335 w 8079933"/>
              <a:gd name="connsiteY19023" fmla="*/ 1717495 h 4687251"/>
              <a:gd name="connsiteX19024" fmla="*/ 3830529 w 8079933"/>
              <a:gd name="connsiteY19024" fmla="*/ 1712840 h 4687251"/>
              <a:gd name="connsiteX19025" fmla="*/ 3835195 w 8079933"/>
              <a:gd name="connsiteY19025" fmla="*/ 1712082 h 4687251"/>
              <a:gd name="connsiteX19026" fmla="*/ 3836280 w 8079933"/>
              <a:gd name="connsiteY19026" fmla="*/ 1709916 h 4687251"/>
              <a:gd name="connsiteX19027" fmla="*/ 3840404 w 8079933"/>
              <a:gd name="connsiteY19027" fmla="*/ 1706127 h 4687251"/>
              <a:gd name="connsiteX19028" fmla="*/ 3841055 w 8079933"/>
              <a:gd name="connsiteY19028" fmla="*/ 1698007 h 4687251"/>
              <a:gd name="connsiteX19029" fmla="*/ 3844962 w 8079933"/>
              <a:gd name="connsiteY19029" fmla="*/ 1698007 h 4687251"/>
              <a:gd name="connsiteX19030" fmla="*/ 3847891 w 8079933"/>
              <a:gd name="connsiteY19030" fmla="*/ 1695083 h 4687251"/>
              <a:gd name="connsiteX19031" fmla="*/ 3847783 w 8079933"/>
              <a:gd name="connsiteY19031" fmla="*/ 1691510 h 4687251"/>
              <a:gd name="connsiteX19032" fmla="*/ 3854945 w 8079933"/>
              <a:gd name="connsiteY19032" fmla="*/ 1689670 h 4687251"/>
              <a:gd name="connsiteX19033" fmla="*/ 3864820 w 8079933"/>
              <a:gd name="connsiteY19033" fmla="*/ 1690753 h 4687251"/>
              <a:gd name="connsiteX19034" fmla="*/ 3868401 w 8079933"/>
              <a:gd name="connsiteY19034" fmla="*/ 1692702 h 4687251"/>
              <a:gd name="connsiteX19035" fmla="*/ 3871440 w 8079933"/>
              <a:gd name="connsiteY19035" fmla="*/ 1691510 h 4687251"/>
              <a:gd name="connsiteX19036" fmla="*/ 3875346 w 8079933"/>
              <a:gd name="connsiteY19036" fmla="*/ 1691727 h 4687251"/>
              <a:gd name="connsiteX19037" fmla="*/ 3875563 w 8079933"/>
              <a:gd name="connsiteY19037" fmla="*/ 1685339 h 4687251"/>
              <a:gd name="connsiteX19038" fmla="*/ 3881315 w 8079933"/>
              <a:gd name="connsiteY19038" fmla="*/ 1679818 h 4687251"/>
              <a:gd name="connsiteX19039" fmla="*/ 3886957 w 8079933"/>
              <a:gd name="connsiteY19039" fmla="*/ 1673213 h 4687251"/>
              <a:gd name="connsiteX19040" fmla="*/ 3882833 w 8079933"/>
              <a:gd name="connsiteY19040" fmla="*/ 1675161 h 4687251"/>
              <a:gd name="connsiteX19041" fmla="*/ 3880989 w 8079933"/>
              <a:gd name="connsiteY19041" fmla="*/ 1677977 h 4687251"/>
              <a:gd name="connsiteX19042" fmla="*/ 3875997 w 8079933"/>
              <a:gd name="connsiteY19042" fmla="*/ 1679818 h 4687251"/>
              <a:gd name="connsiteX19043" fmla="*/ 3872308 w 8079933"/>
              <a:gd name="connsiteY19043" fmla="*/ 1681333 h 4687251"/>
              <a:gd name="connsiteX19044" fmla="*/ 3870571 w 8079933"/>
              <a:gd name="connsiteY19044" fmla="*/ 1684365 h 4687251"/>
              <a:gd name="connsiteX19045" fmla="*/ 3862867 w 8079933"/>
              <a:gd name="connsiteY19045" fmla="*/ 1684473 h 4687251"/>
              <a:gd name="connsiteX19046" fmla="*/ 3859829 w 8079933"/>
              <a:gd name="connsiteY19046" fmla="*/ 1680900 h 4687251"/>
              <a:gd name="connsiteX19047" fmla="*/ 3856356 w 8079933"/>
              <a:gd name="connsiteY19047" fmla="*/ 1676894 h 4687251"/>
              <a:gd name="connsiteX19048" fmla="*/ 3852991 w 8079933"/>
              <a:gd name="connsiteY19048" fmla="*/ 1677869 h 4687251"/>
              <a:gd name="connsiteX19049" fmla="*/ 3852991 w 8079933"/>
              <a:gd name="connsiteY19049" fmla="*/ 1679168 h 4687251"/>
              <a:gd name="connsiteX19050" fmla="*/ 3846263 w 8079933"/>
              <a:gd name="connsiteY19050" fmla="*/ 1678951 h 4687251"/>
              <a:gd name="connsiteX19051" fmla="*/ 3846806 w 8079933"/>
              <a:gd name="connsiteY19051" fmla="*/ 1676677 h 4687251"/>
              <a:gd name="connsiteX19052" fmla="*/ 3850713 w 8079933"/>
              <a:gd name="connsiteY19052" fmla="*/ 1675595 h 4687251"/>
              <a:gd name="connsiteX19053" fmla="*/ 3845830 w 8079933"/>
              <a:gd name="connsiteY19053" fmla="*/ 1674404 h 4687251"/>
              <a:gd name="connsiteX19054" fmla="*/ 3845287 w 8079933"/>
              <a:gd name="connsiteY19054" fmla="*/ 1671589 h 4687251"/>
              <a:gd name="connsiteX19055" fmla="*/ 3839102 w 8079933"/>
              <a:gd name="connsiteY19055" fmla="*/ 1673646 h 4687251"/>
              <a:gd name="connsiteX19056" fmla="*/ 3835412 w 8079933"/>
              <a:gd name="connsiteY19056" fmla="*/ 1675920 h 4687251"/>
              <a:gd name="connsiteX19057" fmla="*/ 3832048 w 8079933"/>
              <a:gd name="connsiteY19057" fmla="*/ 1676894 h 4687251"/>
              <a:gd name="connsiteX19058" fmla="*/ 3829878 w 8079933"/>
              <a:gd name="connsiteY19058" fmla="*/ 1675595 h 4687251"/>
              <a:gd name="connsiteX19059" fmla="*/ 3831288 w 8079933"/>
              <a:gd name="connsiteY19059" fmla="*/ 1674187 h 4687251"/>
              <a:gd name="connsiteX19060" fmla="*/ 3825537 w 8079933"/>
              <a:gd name="connsiteY19060" fmla="*/ 1673213 h 4687251"/>
              <a:gd name="connsiteX19061" fmla="*/ 3828793 w 8079933"/>
              <a:gd name="connsiteY19061" fmla="*/ 1671697 h 4687251"/>
              <a:gd name="connsiteX19062" fmla="*/ 3828466 w 8079933"/>
              <a:gd name="connsiteY19062" fmla="*/ 1668341 h 4687251"/>
              <a:gd name="connsiteX19063" fmla="*/ 3823909 w 8079933"/>
              <a:gd name="connsiteY19063" fmla="*/ 1667691 h 4687251"/>
              <a:gd name="connsiteX19064" fmla="*/ 3829661 w 8079933"/>
              <a:gd name="connsiteY19064" fmla="*/ 1664010 h 4687251"/>
              <a:gd name="connsiteX19065" fmla="*/ 3833241 w 8079933"/>
              <a:gd name="connsiteY19065" fmla="*/ 1664010 h 4687251"/>
              <a:gd name="connsiteX19066" fmla="*/ 3838125 w 8079933"/>
              <a:gd name="connsiteY19066" fmla="*/ 1660978 h 4687251"/>
              <a:gd name="connsiteX19067" fmla="*/ 3839970 w 8079933"/>
              <a:gd name="connsiteY19067" fmla="*/ 1660870 h 4687251"/>
              <a:gd name="connsiteX19068" fmla="*/ 3843768 w 8079933"/>
              <a:gd name="connsiteY19068" fmla="*/ 1658055 h 4687251"/>
              <a:gd name="connsiteX19069" fmla="*/ 3847566 w 8079933"/>
              <a:gd name="connsiteY19069" fmla="*/ 1656756 h 4687251"/>
              <a:gd name="connsiteX19070" fmla="*/ 3852775 w 8079933"/>
              <a:gd name="connsiteY19070" fmla="*/ 1646686 h 4687251"/>
              <a:gd name="connsiteX19071" fmla="*/ 3850930 w 8079933"/>
              <a:gd name="connsiteY19071" fmla="*/ 1646253 h 4687251"/>
              <a:gd name="connsiteX19072" fmla="*/ 3849193 w 8079933"/>
              <a:gd name="connsiteY19072" fmla="*/ 1643006 h 4687251"/>
              <a:gd name="connsiteX19073" fmla="*/ 3852232 w 8079933"/>
              <a:gd name="connsiteY19073" fmla="*/ 1640840 h 4687251"/>
              <a:gd name="connsiteX19074" fmla="*/ 3849411 w 8079933"/>
              <a:gd name="connsiteY19074" fmla="*/ 1637917 h 4687251"/>
              <a:gd name="connsiteX19075" fmla="*/ 3850062 w 8079933"/>
              <a:gd name="connsiteY19075" fmla="*/ 1633694 h 4687251"/>
              <a:gd name="connsiteX19076" fmla="*/ 3842032 w 8079933"/>
              <a:gd name="connsiteY19076" fmla="*/ 1635860 h 4687251"/>
              <a:gd name="connsiteX19077" fmla="*/ 3841489 w 8079933"/>
              <a:gd name="connsiteY19077" fmla="*/ 1637917 h 4687251"/>
              <a:gd name="connsiteX19078" fmla="*/ 3839644 w 8079933"/>
              <a:gd name="connsiteY19078" fmla="*/ 1637267 h 4687251"/>
              <a:gd name="connsiteX19079" fmla="*/ 3836063 w 8079933"/>
              <a:gd name="connsiteY19079" fmla="*/ 1637917 h 4687251"/>
              <a:gd name="connsiteX19080" fmla="*/ 3838559 w 8079933"/>
              <a:gd name="connsiteY19080" fmla="*/ 1634452 h 4687251"/>
              <a:gd name="connsiteX19081" fmla="*/ 3844202 w 8079933"/>
              <a:gd name="connsiteY19081" fmla="*/ 1630879 h 4687251"/>
              <a:gd name="connsiteX19082" fmla="*/ 3848325 w 8079933"/>
              <a:gd name="connsiteY19082" fmla="*/ 1625141 h 4687251"/>
              <a:gd name="connsiteX19083" fmla="*/ 3856139 w 8079933"/>
              <a:gd name="connsiteY19083" fmla="*/ 1621351 h 4687251"/>
              <a:gd name="connsiteX19084" fmla="*/ 3859611 w 8079933"/>
              <a:gd name="connsiteY19084" fmla="*/ 1621784 h 4687251"/>
              <a:gd name="connsiteX19085" fmla="*/ 3867207 w 8079933"/>
              <a:gd name="connsiteY19085" fmla="*/ 1619402 h 4687251"/>
              <a:gd name="connsiteX19086" fmla="*/ 3870138 w 8079933"/>
              <a:gd name="connsiteY19086" fmla="*/ 1622434 h 4687251"/>
              <a:gd name="connsiteX19087" fmla="*/ 3873935 w 8079933"/>
              <a:gd name="connsiteY19087" fmla="*/ 1623192 h 4687251"/>
              <a:gd name="connsiteX19088" fmla="*/ 3871548 w 8079933"/>
              <a:gd name="connsiteY19088" fmla="*/ 1621784 h 4687251"/>
              <a:gd name="connsiteX19089" fmla="*/ 3869378 w 8079933"/>
              <a:gd name="connsiteY19089" fmla="*/ 1617995 h 4687251"/>
              <a:gd name="connsiteX19090" fmla="*/ 3871982 w 8079933"/>
              <a:gd name="connsiteY19090" fmla="*/ 1617021 h 4687251"/>
              <a:gd name="connsiteX19091" fmla="*/ 3874695 w 8079933"/>
              <a:gd name="connsiteY19091" fmla="*/ 1620918 h 4687251"/>
              <a:gd name="connsiteX19092" fmla="*/ 3877842 w 8079933"/>
              <a:gd name="connsiteY19092" fmla="*/ 1620702 h 4687251"/>
              <a:gd name="connsiteX19093" fmla="*/ 3879795 w 8079933"/>
              <a:gd name="connsiteY19093" fmla="*/ 1619294 h 4687251"/>
              <a:gd name="connsiteX19094" fmla="*/ 3876974 w 8079933"/>
              <a:gd name="connsiteY19094" fmla="*/ 1618970 h 4687251"/>
              <a:gd name="connsiteX19095" fmla="*/ 3873501 w 8079933"/>
              <a:gd name="connsiteY19095" fmla="*/ 1616046 h 4687251"/>
              <a:gd name="connsiteX19096" fmla="*/ 3870680 w 8079933"/>
              <a:gd name="connsiteY19096" fmla="*/ 1612257 h 4687251"/>
              <a:gd name="connsiteX19097" fmla="*/ 3873176 w 8079933"/>
              <a:gd name="connsiteY19097" fmla="*/ 1607384 h 4687251"/>
              <a:gd name="connsiteX19098" fmla="*/ 3871765 w 8079933"/>
              <a:gd name="connsiteY19098" fmla="*/ 1600996 h 4687251"/>
              <a:gd name="connsiteX19099" fmla="*/ 3876431 w 8079933"/>
              <a:gd name="connsiteY19099" fmla="*/ 1597315 h 4687251"/>
              <a:gd name="connsiteX19100" fmla="*/ 3874912 w 8079933"/>
              <a:gd name="connsiteY19100" fmla="*/ 1596341 h 4687251"/>
              <a:gd name="connsiteX19101" fmla="*/ 3876648 w 8079933"/>
              <a:gd name="connsiteY19101" fmla="*/ 1590711 h 4687251"/>
              <a:gd name="connsiteX19102" fmla="*/ 3871873 w 8079933"/>
              <a:gd name="connsiteY19102" fmla="*/ 1589953 h 4687251"/>
              <a:gd name="connsiteX19103" fmla="*/ 3868075 w 8079933"/>
              <a:gd name="connsiteY19103" fmla="*/ 1594609 h 4687251"/>
              <a:gd name="connsiteX19104" fmla="*/ 3868075 w 8079933"/>
              <a:gd name="connsiteY19104" fmla="*/ 1589087 h 4687251"/>
              <a:gd name="connsiteX19105" fmla="*/ 3865145 w 8079933"/>
              <a:gd name="connsiteY19105" fmla="*/ 1590711 h 4687251"/>
              <a:gd name="connsiteX19106" fmla="*/ 3859394 w 8079933"/>
              <a:gd name="connsiteY19106" fmla="*/ 1580317 h 4687251"/>
              <a:gd name="connsiteX19107" fmla="*/ 3864060 w 8079933"/>
              <a:gd name="connsiteY19107" fmla="*/ 1566891 h 4687251"/>
              <a:gd name="connsiteX19108" fmla="*/ 3871873 w 8079933"/>
              <a:gd name="connsiteY19108" fmla="*/ 1564834 h 4687251"/>
              <a:gd name="connsiteX19109" fmla="*/ 3860045 w 8079933"/>
              <a:gd name="connsiteY19109" fmla="*/ 1564293 h 4687251"/>
              <a:gd name="connsiteX19110" fmla="*/ 3858852 w 8079933"/>
              <a:gd name="connsiteY19110" fmla="*/ 1568299 h 4687251"/>
              <a:gd name="connsiteX19111" fmla="*/ 3854511 w 8079933"/>
              <a:gd name="connsiteY19111" fmla="*/ 1568191 h 4687251"/>
              <a:gd name="connsiteX19112" fmla="*/ 3854511 w 8079933"/>
              <a:gd name="connsiteY19112" fmla="*/ 1570139 h 4687251"/>
              <a:gd name="connsiteX19113" fmla="*/ 3849736 w 8079933"/>
              <a:gd name="connsiteY19113" fmla="*/ 1570897 h 4687251"/>
              <a:gd name="connsiteX19114" fmla="*/ 3843009 w 8079933"/>
              <a:gd name="connsiteY19114" fmla="*/ 1566783 h 4687251"/>
              <a:gd name="connsiteX19115" fmla="*/ 3840838 w 8079933"/>
              <a:gd name="connsiteY19115" fmla="*/ 1567324 h 4687251"/>
              <a:gd name="connsiteX19116" fmla="*/ 3844310 w 8079933"/>
              <a:gd name="connsiteY19116" fmla="*/ 1570031 h 4687251"/>
              <a:gd name="connsiteX19117" fmla="*/ 3844093 w 8079933"/>
              <a:gd name="connsiteY19117" fmla="*/ 1574795 h 4687251"/>
              <a:gd name="connsiteX19118" fmla="*/ 3835737 w 8079933"/>
              <a:gd name="connsiteY19118" fmla="*/ 1568732 h 4687251"/>
              <a:gd name="connsiteX19119" fmla="*/ 3832482 w 8079933"/>
              <a:gd name="connsiteY19119" fmla="*/ 1569706 h 4687251"/>
              <a:gd name="connsiteX19120" fmla="*/ 3834001 w 8079933"/>
              <a:gd name="connsiteY19120" fmla="*/ 1575769 h 4687251"/>
              <a:gd name="connsiteX19121" fmla="*/ 3829226 w 8079933"/>
              <a:gd name="connsiteY19121" fmla="*/ 1569165 h 4687251"/>
              <a:gd name="connsiteX19122" fmla="*/ 3829010 w 8079933"/>
              <a:gd name="connsiteY19122" fmla="*/ 1564185 h 4687251"/>
              <a:gd name="connsiteX19123" fmla="*/ 3832482 w 8079933"/>
              <a:gd name="connsiteY19123" fmla="*/ 1566458 h 4687251"/>
              <a:gd name="connsiteX19124" fmla="*/ 3831614 w 8079933"/>
              <a:gd name="connsiteY19124" fmla="*/ 1561803 h 4687251"/>
              <a:gd name="connsiteX19125" fmla="*/ 3835521 w 8079933"/>
              <a:gd name="connsiteY19125" fmla="*/ 1551517 h 4687251"/>
              <a:gd name="connsiteX19126" fmla="*/ 3839427 w 8079933"/>
              <a:gd name="connsiteY19126" fmla="*/ 1547619 h 4687251"/>
              <a:gd name="connsiteX19127" fmla="*/ 3837908 w 8079933"/>
              <a:gd name="connsiteY19127" fmla="*/ 1543505 h 4687251"/>
              <a:gd name="connsiteX19128" fmla="*/ 3835303 w 8079933"/>
              <a:gd name="connsiteY19128" fmla="*/ 1542855 h 4687251"/>
              <a:gd name="connsiteX19129" fmla="*/ 3834218 w 8079933"/>
              <a:gd name="connsiteY19129" fmla="*/ 1538199 h 4687251"/>
              <a:gd name="connsiteX19130" fmla="*/ 3835846 w 8079933"/>
              <a:gd name="connsiteY19130" fmla="*/ 1531812 h 4687251"/>
              <a:gd name="connsiteX19131" fmla="*/ 3840187 w 8079933"/>
              <a:gd name="connsiteY19131" fmla="*/ 1533002 h 4687251"/>
              <a:gd name="connsiteX19132" fmla="*/ 3835086 w 8079933"/>
              <a:gd name="connsiteY19132" fmla="*/ 1529213 h 4687251"/>
              <a:gd name="connsiteX19133" fmla="*/ 3835954 w 8079933"/>
              <a:gd name="connsiteY19133" fmla="*/ 1524232 h 4687251"/>
              <a:gd name="connsiteX19134" fmla="*/ 3833892 w 8079933"/>
              <a:gd name="connsiteY19134" fmla="*/ 1525207 h 4687251"/>
              <a:gd name="connsiteX19135" fmla="*/ 3834436 w 8079933"/>
              <a:gd name="connsiteY19135" fmla="*/ 1529105 h 4687251"/>
              <a:gd name="connsiteX19136" fmla="*/ 3832048 w 8079933"/>
              <a:gd name="connsiteY19136" fmla="*/ 1534626 h 4687251"/>
              <a:gd name="connsiteX19137" fmla="*/ 3830637 w 8079933"/>
              <a:gd name="connsiteY19137" fmla="*/ 1529971 h 4687251"/>
              <a:gd name="connsiteX19138" fmla="*/ 3827707 w 8079933"/>
              <a:gd name="connsiteY19138" fmla="*/ 1532461 h 4687251"/>
              <a:gd name="connsiteX19139" fmla="*/ 3827273 w 8079933"/>
              <a:gd name="connsiteY19139" fmla="*/ 1535385 h 4687251"/>
              <a:gd name="connsiteX19140" fmla="*/ 3825645 w 8079933"/>
              <a:gd name="connsiteY19140" fmla="*/ 1534193 h 4687251"/>
              <a:gd name="connsiteX19141" fmla="*/ 3826080 w 8079933"/>
              <a:gd name="connsiteY19141" fmla="*/ 1529213 h 4687251"/>
              <a:gd name="connsiteX19142" fmla="*/ 3830637 w 8079933"/>
              <a:gd name="connsiteY19142" fmla="*/ 1522392 h 4687251"/>
              <a:gd name="connsiteX19143" fmla="*/ 3824669 w 8079933"/>
              <a:gd name="connsiteY19143" fmla="*/ 1529538 h 4687251"/>
              <a:gd name="connsiteX19144" fmla="*/ 3822824 w 8079933"/>
              <a:gd name="connsiteY19144" fmla="*/ 1529538 h 4687251"/>
              <a:gd name="connsiteX19145" fmla="*/ 3824777 w 8079933"/>
              <a:gd name="connsiteY19145" fmla="*/ 1537983 h 4687251"/>
              <a:gd name="connsiteX19146" fmla="*/ 3822173 w 8079933"/>
              <a:gd name="connsiteY19146" fmla="*/ 1541231 h 4687251"/>
              <a:gd name="connsiteX19147" fmla="*/ 3822390 w 8079933"/>
              <a:gd name="connsiteY19147" fmla="*/ 1544371 h 4687251"/>
              <a:gd name="connsiteX19148" fmla="*/ 3820219 w 8079933"/>
              <a:gd name="connsiteY19148" fmla="*/ 1549352 h 4687251"/>
              <a:gd name="connsiteX19149" fmla="*/ 3820871 w 8079933"/>
              <a:gd name="connsiteY19149" fmla="*/ 1552924 h 4687251"/>
              <a:gd name="connsiteX19150" fmla="*/ 3815771 w 8079933"/>
              <a:gd name="connsiteY19150" fmla="*/ 1552924 h 4687251"/>
              <a:gd name="connsiteX19151" fmla="*/ 3815662 w 8079933"/>
              <a:gd name="connsiteY19151" fmla="*/ 1551300 h 4687251"/>
              <a:gd name="connsiteX19152" fmla="*/ 3817940 w 8079933"/>
              <a:gd name="connsiteY19152" fmla="*/ 1549026 h 4687251"/>
              <a:gd name="connsiteX19153" fmla="*/ 3818484 w 8079933"/>
              <a:gd name="connsiteY19153" fmla="*/ 1542206 h 4687251"/>
              <a:gd name="connsiteX19154" fmla="*/ 3821522 w 8079933"/>
              <a:gd name="connsiteY19154" fmla="*/ 1537442 h 4687251"/>
              <a:gd name="connsiteX19155" fmla="*/ 3819785 w 8079933"/>
              <a:gd name="connsiteY19155" fmla="*/ 1538199 h 4687251"/>
              <a:gd name="connsiteX19156" fmla="*/ 3818484 w 8079933"/>
              <a:gd name="connsiteY19156" fmla="*/ 1536034 h 4687251"/>
              <a:gd name="connsiteX19157" fmla="*/ 3820219 w 8079933"/>
              <a:gd name="connsiteY19157" fmla="*/ 1533436 h 4687251"/>
              <a:gd name="connsiteX19158" fmla="*/ 3819569 w 8079933"/>
              <a:gd name="connsiteY19158" fmla="*/ 1528997 h 4687251"/>
              <a:gd name="connsiteX19159" fmla="*/ 3822173 w 8079933"/>
              <a:gd name="connsiteY19159" fmla="*/ 1522284 h 4687251"/>
              <a:gd name="connsiteX19160" fmla="*/ 3820871 w 8079933"/>
              <a:gd name="connsiteY19160" fmla="*/ 1521526 h 4687251"/>
              <a:gd name="connsiteX19161" fmla="*/ 3823909 w 8079933"/>
              <a:gd name="connsiteY19161" fmla="*/ 1515787 h 4687251"/>
              <a:gd name="connsiteX19162" fmla="*/ 3823584 w 8079933"/>
              <a:gd name="connsiteY19162" fmla="*/ 1514488 h 4687251"/>
              <a:gd name="connsiteX19163" fmla="*/ 3825971 w 8079933"/>
              <a:gd name="connsiteY19163" fmla="*/ 1508858 h 4687251"/>
              <a:gd name="connsiteX19164" fmla="*/ 3828793 w 8079933"/>
              <a:gd name="connsiteY19164" fmla="*/ 1507775 h 4687251"/>
              <a:gd name="connsiteX19165" fmla="*/ 3827382 w 8079933"/>
              <a:gd name="connsiteY19165" fmla="*/ 1506910 h 4687251"/>
              <a:gd name="connsiteX19166" fmla="*/ 3828901 w 8079933"/>
              <a:gd name="connsiteY19166" fmla="*/ 1503986 h 4687251"/>
              <a:gd name="connsiteX19167" fmla="*/ 3819243 w 8079933"/>
              <a:gd name="connsiteY19167" fmla="*/ 1513730 h 4687251"/>
              <a:gd name="connsiteX19168" fmla="*/ 3817398 w 8079933"/>
              <a:gd name="connsiteY19168" fmla="*/ 1511781 h 4687251"/>
              <a:gd name="connsiteX19169" fmla="*/ 3816204 w 8079933"/>
              <a:gd name="connsiteY19169" fmla="*/ 1512214 h 4687251"/>
              <a:gd name="connsiteX19170" fmla="*/ 3812514 w 8079933"/>
              <a:gd name="connsiteY19170" fmla="*/ 1508750 h 4687251"/>
              <a:gd name="connsiteX19171" fmla="*/ 3815227 w 8079933"/>
              <a:gd name="connsiteY19171" fmla="*/ 1508750 h 4687251"/>
              <a:gd name="connsiteX19172" fmla="*/ 3815771 w 8079933"/>
              <a:gd name="connsiteY19172" fmla="*/ 1507667 h 4687251"/>
              <a:gd name="connsiteX19173" fmla="*/ 3813383 w 8079933"/>
              <a:gd name="connsiteY19173" fmla="*/ 1507018 h 4687251"/>
              <a:gd name="connsiteX19174" fmla="*/ 3809802 w 8079933"/>
              <a:gd name="connsiteY19174" fmla="*/ 1507234 h 4687251"/>
              <a:gd name="connsiteX19175" fmla="*/ 3808283 w 8079933"/>
              <a:gd name="connsiteY19175" fmla="*/ 1506259 h 4687251"/>
              <a:gd name="connsiteX19176" fmla="*/ 3810019 w 8079933"/>
              <a:gd name="connsiteY19176" fmla="*/ 1504311 h 4687251"/>
              <a:gd name="connsiteX19177" fmla="*/ 3814251 w 8079933"/>
              <a:gd name="connsiteY19177" fmla="*/ 1504202 h 4687251"/>
              <a:gd name="connsiteX19178" fmla="*/ 3816313 w 8079933"/>
              <a:gd name="connsiteY19178" fmla="*/ 1502686 h 4687251"/>
              <a:gd name="connsiteX19179" fmla="*/ 3817289 w 8079933"/>
              <a:gd name="connsiteY19179" fmla="*/ 1500846 h 4687251"/>
              <a:gd name="connsiteX19180" fmla="*/ 3815553 w 8079933"/>
              <a:gd name="connsiteY19180" fmla="*/ 1499655 h 4687251"/>
              <a:gd name="connsiteX19181" fmla="*/ 3816313 w 8079933"/>
              <a:gd name="connsiteY19181" fmla="*/ 1496840 h 4687251"/>
              <a:gd name="connsiteX19182" fmla="*/ 3820653 w 8079933"/>
              <a:gd name="connsiteY19182" fmla="*/ 1498464 h 4687251"/>
              <a:gd name="connsiteX19183" fmla="*/ 3820002 w 8079933"/>
              <a:gd name="connsiteY19183" fmla="*/ 1496516 h 4687251"/>
              <a:gd name="connsiteX19184" fmla="*/ 3817398 w 8079933"/>
              <a:gd name="connsiteY19184" fmla="*/ 1495541 h 4687251"/>
              <a:gd name="connsiteX19185" fmla="*/ 3818917 w 8079933"/>
              <a:gd name="connsiteY19185" fmla="*/ 1493375 h 4687251"/>
              <a:gd name="connsiteX19186" fmla="*/ 3821087 w 8079933"/>
              <a:gd name="connsiteY19186" fmla="*/ 1493051 h 4687251"/>
              <a:gd name="connsiteX19187" fmla="*/ 3819569 w 8079933"/>
              <a:gd name="connsiteY19187" fmla="*/ 1491968 h 4687251"/>
              <a:gd name="connsiteX19188" fmla="*/ 3820437 w 8079933"/>
              <a:gd name="connsiteY19188" fmla="*/ 1489369 h 4687251"/>
              <a:gd name="connsiteX19189" fmla="*/ 3821522 w 8079933"/>
              <a:gd name="connsiteY19189" fmla="*/ 1488612 h 4687251"/>
              <a:gd name="connsiteX19190" fmla="*/ 3824344 w 8079933"/>
              <a:gd name="connsiteY19190" fmla="*/ 1489802 h 4687251"/>
              <a:gd name="connsiteX19191" fmla="*/ 3822824 w 8079933"/>
              <a:gd name="connsiteY19191" fmla="*/ 1487853 h 4687251"/>
              <a:gd name="connsiteX19192" fmla="*/ 3823692 w 8079933"/>
              <a:gd name="connsiteY19192" fmla="*/ 1486879 h 4687251"/>
              <a:gd name="connsiteX19193" fmla="*/ 3819894 w 8079933"/>
              <a:gd name="connsiteY19193" fmla="*/ 1488287 h 4687251"/>
              <a:gd name="connsiteX19194" fmla="*/ 3818592 w 8079933"/>
              <a:gd name="connsiteY19194" fmla="*/ 1487529 h 4687251"/>
              <a:gd name="connsiteX19195" fmla="*/ 3819026 w 8079933"/>
              <a:gd name="connsiteY19195" fmla="*/ 1486446 h 4687251"/>
              <a:gd name="connsiteX19196" fmla="*/ 3822932 w 8079933"/>
              <a:gd name="connsiteY19196" fmla="*/ 1484498 h 4687251"/>
              <a:gd name="connsiteX19197" fmla="*/ 3816964 w 8079933"/>
              <a:gd name="connsiteY19197" fmla="*/ 1485472 h 4687251"/>
              <a:gd name="connsiteX19198" fmla="*/ 3817072 w 8079933"/>
              <a:gd name="connsiteY19198" fmla="*/ 1483739 h 4687251"/>
              <a:gd name="connsiteX19199" fmla="*/ 3816313 w 8079933"/>
              <a:gd name="connsiteY19199" fmla="*/ 1478434 h 4687251"/>
              <a:gd name="connsiteX19200" fmla="*/ 3819569 w 8079933"/>
              <a:gd name="connsiteY19200" fmla="*/ 1480275 h 4687251"/>
              <a:gd name="connsiteX19201" fmla="*/ 3822824 w 8079933"/>
              <a:gd name="connsiteY19201" fmla="*/ 1479084 h 4687251"/>
              <a:gd name="connsiteX19202" fmla="*/ 3820111 w 8079933"/>
              <a:gd name="connsiteY19202" fmla="*/ 1478976 h 4687251"/>
              <a:gd name="connsiteX19203" fmla="*/ 3817289 w 8079933"/>
              <a:gd name="connsiteY19203" fmla="*/ 1475835 h 4687251"/>
              <a:gd name="connsiteX19204" fmla="*/ 3818700 w 8079933"/>
              <a:gd name="connsiteY19204" fmla="*/ 1473887 h 4687251"/>
              <a:gd name="connsiteX19205" fmla="*/ 3816856 w 8079933"/>
              <a:gd name="connsiteY19205" fmla="*/ 1471829 h 4687251"/>
              <a:gd name="connsiteX19206" fmla="*/ 3818484 w 8079933"/>
              <a:gd name="connsiteY19206" fmla="*/ 1468149 h 4687251"/>
              <a:gd name="connsiteX19207" fmla="*/ 3820328 w 8079933"/>
              <a:gd name="connsiteY19207" fmla="*/ 1471721 h 4687251"/>
              <a:gd name="connsiteX19208" fmla="*/ 3821413 w 8079933"/>
              <a:gd name="connsiteY19208" fmla="*/ 1469989 h 4687251"/>
              <a:gd name="connsiteX19209" fmla="*/ 3820545 w 8079933"/>
              <a:gd name="connsiteY19209" fmla="*/ 1467824 h 4687251"/>
              <a:gd name="connsiteX19210" fmla="*/ 3820653 w 8079933"/>
              <a:gd name="connsiteY19210" fmla="*/ 1466200 h 4687251"/>
              <a:gd name="connsiteX19211" fmla="*/ 3824126 w 8079933"/>
              <a:gd name="connsiteY19211" fmla="*/ 1468473 h 4687251"/>
              <a:gd name="connsiteX19212" fmla="*/ 3825862 w 8079933"/>
              <a:gd name="connsiteY19212" fmla="*/ 1466957 h 4687251"/>
              <a:gd name="connsiteX19213" fmla="*/ 3830529 w 8079933"/>
              <a:gd name="connsiteY19213" fmla="*/ 1469339 h 4687251"/>
              <a:gd name="connsiteX19214" fmla="*/ 3828901 w 8079933"/>
              <a:gd name="connsiteY19214" fmla="*/ 1466416 h 4687251"/>
              <a:gd name="connsiteX19215" fmla="*/ 3824344 w 8079933"/>
              <a:gd name="connsiteY19215" fmla="*/ 1462302 h 4687251"/>
              <a:gd name="connsiteX19216" fmla="*/ 3826188 w 8079933"/>
              <a:gd name="connsiteY19216" fmla="*/ 1462194 h 4687251"/>
              <a:gd name="connsiteX19217" fmla="*/ 3827816 w 8079933"/>
              <a:gd name="connsiteY19217" fmla="*/ 1458945 h 4687251"/>
              <a:gd name="connsiteX19218" fmla="*/ 3825971 w 8079933"/>
              <a:gd name="connsiteY19218" fmla="*/ 1455806 h 4687251"/>
              <a:gd name="connsiteX19219" fmla="*/ 3829878 w 8079933"/>
              <a:gd name="connsiteY19219" fmla="*/ 1454939 h 4687251"/>
              <a:gd name="connsiteX19220" fmla="*/ 3829661 w 8079933"/>
              <a:gd name="connsiteY19220" fmla="*/ 1451150 h 4687251"/>
              <a:gd name="connsiteX19221" fmla="*/ 3830746 w 8079933"/>
              <a:gd name="connsiteY19221" fmla="*/ 1451150 h 4687251"/>
              <a:gd name="connsiteX19222" fmla="*/ 3830203 w 8079933"/>
              <a:gd name="connsiteY19222" fmla="*/ 1448119 h 4687251"/>
              <a:gd name="connsiteX19223" fmla="*/ 3832048 w 8079933"/>
              <a:gd name="connsiteY19223" fmla="*/ 1446711 h 4687251"/>
              <a:gd name="connsiteX19224" fmla="*/ 3832916 w 8079933"/>
              <a:gd name="connsiteY19224" fmla="*/ 1443354 h 4687251"/>
              <a:gd name="connsiteX19225" fmla="*/ 3838234 w 8079933"/>
              <a:gd name="connsiteY19225" fmla="*/ 1445845 h 4687251"/>
              <a:gd name="connsiteX19226" fmla="*/ 3837039 w 8079933"/>
              <a:gd name="connsiteY19226" fmla="*/ 1448876 h 4687251"/>
              <a:gd name="connsiteX19227" fmla="*/ 3840946 w 8079933"/>
              <a:gd name="connsiteY19227" fmla="*/ 1445411 h 4687251"/>
              <a:gd name="connsiteX19228" fmla="*/ 3842900 w 8079933"/>
              <a:gd name="connsiteY19228" fmla="*/ 1446278 h 4687251"/>
              <a:gd name="connsiteX19229" fmla="*/ 3842465 w 8079933"/>
              <a:gd name="connsiteY19229" fmla="*/ 1448335 h 4687251"/>
              <a:gd name="connsiteX19230" fmla="*/ 3844527 w 8079933"/>
              <a:gd name="connsiteY19230" fmla="*/ 1446494 h 4687251"/>
              <a:gd name="connsiteX19231" fmla="*/ 3846480 w 8079933"/>
              <a:gd name="connsiteY19231" fmla="*/ 1446386 h 4687251"/>
              <a:gd name="connsiteX19232" fmla="*/ 3850062 w 8079933"/>
              <a:gd name="connsiteY19232" fmla="*/ 1444978 h 4687251"/>
              <a:gd name="connsiteX19233" fmla="*/ 3854186 w 8079933"/>
              <a:gd name="connsiteY19233" fmla="*/ 1445411 h 4687251"/>
              <a:gd name="connsiteX19234" fmla="*/ 3858634 w 8079933"/>
              <a:gd name="connsiteY19234" fmla="*/ 1443354 h 4687251"/>
              <a:gd name="connsiteX19235" fmla="*/ 3861673 w 8079933"/>
              <a:gd name="connsiteY19235" fmla="*/ 1444329 h 4687251"/>
              <a:gd name="connsiteX19236" fmla="*/ 6670155 w 8079933"/>
              <a:gd name="connsiteY19236" fmla="*/ 1441445 h 4687251"/>
              <a:gd name="connsiteX19237" fmla="*/ 6671494 w 8079933"/>
              <a:gd name="connsiteY19237" fmla="*/ 1443354 h 4687251"/>
              <a:gd name="connsiteX19238" fmla="*/ 6670843 w 8079933"/>
              <a:gd name="connsiteY19238" fmla="*/ 1445844 h 4687251"/>
              <a:gd name="connsiteX19239" fmla="*/ 6671602 w 8079933"/>
              <a:gd name="connsiteY19239" fmla="*/ 1448334 h 4687251"/>
              <a:gd name="connsiteX19240" fmla="*/ 6672150 w 8079933"/>
              <a:gd name="connsiteY19240" fmla="*/ 1448334 h 4687251"/>
              <a:gd name="connsiteX19241" fmla="*/ 6671494 w 8079933"/>
              <a:gd name="connsiteY19241" fmla="*/ 1446279 h 4687251"/>
              <a:gd name="connsiteX19242" fmla="*/ 6672146 w 8079933"/>
              <a:gd name="connsiteY19242" fmla="*/ 1443789 h 4687251"/>
              <a:gd name="connsiteX19243" fmla="*/ 6670627 w 8079933"/>
              <a:gd name="connsiteY19243" fmla="*/ 1441623 h 4687251"/>
              <a:gd name="connsiteX19244" fmla="*/ 4328947 w 8079933"/>
              <a:gd name="connsiteY19244" fmla="*/ 1441082 h 4687251"/>
              <a:gd name="connsiteX19245" fmla="*/ 4331442 w 8079933"/>
              <a:gd name="connsiteY19245" fmla="*/ 1443139 h 4687251"/>
              <a:gd name="connsiteX19246" fmla="*/ 4328947 w 8079933"/>
              <a:gd name="connsiteY19246" fmla="*/ 1446278 h 4687251"/>
              <a:gd name="connsiteX19247" fmla="*/ 4326885 w 8079933"/>
              <a:gd name="connsiteY19247" fmla="*/ 1442381 h 4687251"/>
              <a:gd name="connsiteX19248" fmla="*/ 2262029 w 8079933"/>
              <a:gd name="connsiteY19248" fmla="*/ 1440431 h 4687251"/>
              <a:gd name="connsiteX19249" fmla="*/ 2255626 w 8079933"/>
              <a:gd name="connsiteY19249" fmla="*/ 1446927 h 4687251"/>
              <a:gd name="connsiteX19250" fmla="*/ 2255554 w 8079933"/>
              <a:gd name="connsiteY19250" fmla="*/ 1447325 h 4687251"/>
              <a:gd name="connsiteX19251" fmla="*/ 2261773 w 8079933"/>
              <a:gd name="connsiteY19251" fmla="*/ 1441014 h 4687251"/>
              <a:gd name="connsiteX19252" fmla="*/ 2272122 w 8079933"/>
              <a:gd name="connsiteY19252" fmla="*/ 1440216 h 4687251"/>
              <a:gd name="connsiteX19253" fmla="*/ 2273532 w 8079933"/>
              <a:gd name="connsiteY19253" fmla="*/ 1440216 h 4687251"/>
              <a:gd name="connsiteX19254" fmla="*/ 2273532 w 8079933"/>
              <a:gd name="connsiteY19254" fmla="*/ 1445846 h 4687251"/>
              <a:gd name="connsiteX19255" fmla="*/ 2269735 w 8079933"/>
              <a:gd name="connsiteY19255" fmla="*/ 1447904 h 4687251"/>
              <a:gd name="connsiteX19256" fmla="*/ 2267890 w 8079933"/>
              <a:gd name="connsiteY19256" fmla="*/ 1447904 h 4687251"/>
              <a:gd name="connsiteX19257" fmla="*/ 2271037 w 8079933"/>
              <a:gd name="connsiteY19257" fmla="*/ 1443897 h 4687251"/>
              <a:gd name="connsiteX19258" fmla="*/ 6662596 w 8079933"/>
              <a:gd name="connsiteY19258" fmla="*/ 1437726 h 4687251"/>
              <a:gd name="connsiteX19259" fmla="*/ 6662286 w 8079933"/>
              <a:gd name="connsiteY19259" fmla="*/ 1437880 h 4687251"/>
              <a:gd name="connsiteX19260" fmla="*/ 6664441 w 8079933"/>
              <a:gd name="connsiteY19260" fmla="*/ 1440322 h 4687251"/>
              <a:gd name="connsiteX19261" fmla="*/ 6664931 w 8079933"/>
              <a:gd name="connsiteY19261" fmla="*/ 1440258 h 4687251"/>
              <a:gd name="connsiteX19262" fmla="*/ 6655326 w 8079933"/>
              <a:gd name="connsiteY19262" fmla="*/ 1437726 h 4687251"/>
              <a:gd name="connsiteX19263" fmla="*/ 6655316 w 8079933"/>
              <a:gd name="connsiteY19263" fmla="*/ 1437732 h 4687251"/>
              <a:gd name="connsiteX19264" fmla="*/ 6656844 w 8079933"/>
              <a:gd name="connsiteY19264" fmla="*/ 1438374 h 4687251"/>
              <a:gd name="connsiteX19265" fmla="*/ 6656869 w 8079933"/>
              <a:gd name="connsiteY19265" fmla="*/ 1438374 h 4687251"/>
              <a:gd name="connsiteX19266" fmla="*/ 7377287 w 8079933"/>
              <a:gd name="connsiteY19266" fmla="*/ 1436859 h 4687251"/>
              <a:gd name="connsiteX19267" fmla="*/ 7384883 w 8079933"/>
              <a:gd name="connsiteY19267" fmla="*/ 1443463 h 4687251"/>
              <a:gd name="connsiteX19268" fmla="*/ 7386294 w 8079933"/>
              <a:gd name="connsiteY19268" fmla="*/ 1448119 h 4687251"/>
              <a:gd name="connsiteX19269" fmla="*/ 7383689 w 8079933"/>
              <a:gd name="connsiteY19269" fmla="*/ 1450501 h 4687251"/>
              <a:gd name="connsiteX19270" fmla="*/ 7382929 w 8079933"/>
              <a:gd name="connsiteY19270" fmla="*/ 1454291 h 4687251"/>
              <a:gd name="connsiteX19271" fmla="*/ 7383255 w 8079933"/>
              <a:gd name="connsiteY19271" fmla="*/ 1459271 h 4687251"/>
              <a:gd name="connsiteX19272" fmla="*/ 7380434 w 8079933"/>
              <a:gd name="connsiteY19272" fmla="*/ 1463601 h 4687251"/>
              <a:gd name="connsiteX19273" fmla="*/ 7376527 w 8079933"/>
              <a:gd name="connsiteY19273" fmla="*/ 1465550 h 4687251"/>
              <a:gd name="connsiteX19274" fmla="*/ 7375876 w 8079933"/>
              <a:gd name="connsiteY19274" fmla="*/ 1469340 h 4687251"/>
              <a:gd name="connsiteX19275" fmla="*/ 7375767 w 8079933"/>
              <a:gd name="connsiteY19275" fmla="*/ 1474754 h 4687251"/>
              <a:gd name="connsiteX19276" fmla="*/ 7374031 w 8079933"/>
              <a:gd name="connsiteY19276" fmla="*/ 1474536 h 4687251"/>
              <a:gd name="connsiteX19277" fmla="*/ 7372513 w 8079933"/>
              <a:gd name="connsiteY19277" fmla="*/ 1472046 h 4687251"/>
              <a:gd name="connsiteX19278" fmla="*/ 7368171 w 8079933"/>
              <a:gd name="connsiteY19278" fmla="*/ 1472263 h 4687251"/>
              <a:gd name="connsiteX19279" fmla="*/ 7367086 w 8079933"/>
              <a:gd name="connsiteY19279" fmla="*/ 1470748 h 4687251"/>
              <a:gd name="connsiteX19280" fmla="*/ 7369799 w 8079933"/>
              <a:gd name="connsiteY19280" fmla="*/ 1469232 h 4687251"/>
              <a:gd name="connsiteX19281" fmla="*/ 7369799 w 8079933"/>
              <a:gd name="connsiteY19281" fmla="*/ 1465550 h 4687251"/>
              <a:gd name="connsiteX19282" fmla="*/ 7366218 w 8079933"/>
              <a:gd name="connsiteY19282" fmla="*/ 1461328 h 4687251"/>
              <a:gd name="connsiteX19283" fmla="*/ 7366652 w 8079933"/>
              <a:gd name="connsiteY19283" fmla="*/ 1460028 h 4687251"/>
              <a:gd name="connsiteX19284" fmla="*/ 7369582 w 8079933"/>
              <a:gd name="connsiteY19284" fmla="*/ 1459704 h 4687251"/>
              <a:gd name="connsiteX19285" fmla="*/ 7372295 w 8079933"/>
              <a:gd name="connsiteY19285" fmla="*/ 1455265 h 4687251"/>
              <a:gd name="connsiteX19286" fmla="*/ 7376310 w 8079933"/>
              <a:gd name="connsiteY19286" fmla="*/ 1453749 h 4687251"/>
              <a:gd name="connsiteX19287" fmla="*/ 7376853 w 8079933"/>
              <a:gd name="connsiteY19287" fmla="*/ 1448985 h 4687251"/>
              <a:gd name="connsiteX19288" fmla="*/ 7376202 w 8079933"/>
              <a:gd name="connsiteY19288" fmla="*/ 1440648 h 4687251"/>
              <a:gd name="connsiteX19289" fmla="*/ 4396443 w 8079933"/>
              <a:gd name="connsiteY19289" fmla="*/ 1434260 h 4687251"/>
              <a:gd name="connsiteX19290" fmla="*/ 4398504 w 8079933"/>
              <a:gd name="connsiteY19290" fmla="*/ 1435343 h 4687251"/>
              <a:gd name="connsiteX19291" fmla="*/ 4405775 w 8079933"/>
              <a:gd name="connsiteY19291" fmla="*/ 1435992 h 4687251"/>
              <a:gd name="connsiteX19292" fmla="*/ 4409465 w 8079933"/>
              <a:gd name="connsiteY19292" fmla="*/ 1438699 h 4687251"/>
              <a:gd name="connsiteX19293" fmla="*/ 4411744 w 8079933"/>
              <a:gd name="connsiteY19293" fmla="*/ 1440107 h 4687251"/>
              <a:gd name="connsiteX19294" fmla="*/ 4412829 w 8079933"/>
              <a:gd name="connsiteY19294" fmla="*/ 1441514 h 4687251"/>
              <a:gd name="connsiteX19295" fmla="*/ 4411635 w 8079933"/>
              <a:gd name="connsiteY19295" fmla="*/ 1442164 h 4687251"/>
              <a:gd name="connsiteX19296" fmla="*/ 4408488 w 8079933"/>
              <a:gd name="connsiteY19296" fmla="*/ 1441514 h 4687251"/>
              <a:gd name="connsiteX19297" fmla="*/ 4405775 w 8079933"/>
              <a:gd name="connsiteY19297" fmla="*/ 1445629 h 4687251"/>
              <a:gd name="connsiteX19298" fmla="*/ 4402737 w 8079933"/>
              <a:gd name="connsiteY19298" fmla="*/ 1449093 h 4687251"/>
              <a:gd name="connsiteX19299" fmla="*/ 4396226 w 8079933"/>
              <a:gd name="connsiteY19299" fmla="*/ 1450393 h 4687251"/>
              <a:gd name="connsiteX19300" fmla="*/ 4392970 w 8079933"/>
              <a:gd name="connsiteY19300" fmla="*/ 1456780 h 4687251"/>
              <a:gd name="connsiteX19301" fmla="*/ 4393078 w 8079933"/>
              <a:gd name="connsiteY19301" fmla="*/ 1459271 h 4687251"/>
              <a:gd name="connsiteX19302" fmla="*/ 4389388 w 8079933"/>
              <a:gd name="connsiteY19302" fmla="*/ 1462303 h 4687251"/>
              <a:gd name="connsiteX19303" fmla="*/ 4387435 w 8079933"/>
              <a:gd name="connsiteY19303" fmla="*/ 1461870 h 4687251"/>
              <a:gd name="connsiteX19304" fmla="*/ 4389280 w 8079933"/>
              <a:gd name="connsiteY19304" fmla="*/ 1455915 h 4687251"/>
              <a:gd name="connsiteX19305" fmla="*/ 4391233 w 8079933"/>
              <a:gd name="connsiteY19305" fmla="*/ 1456131 h 4687251"/>
              <a:gd name="connsiteX19306" fmla="*/ 4392536 w 8079933"/>
              <a:gd name="connsiteY19306" fmla="*/ 1452558 h 4687251"/>
              <a:gd name="connsiteX19307" fmla="*/ 4388846 w 8079933"/>
              <a:gd name="connsiteY19307" fmla="*/ 1448985 h 4687251"/>
              <a:gd name="connsiteX19308" fmla="*/ 4385157 w 8079933"/>
              <a:gd name="connsiteY19308" fmla="*/ 1448011 h 4687251"/>
              <a:gd name="connsiteX19309" fmla="*/ 4385157 w 8079933"/>
              <a:gd name="connsiteY19309" fmla="*/ 1445303 h 4687251"/>
              <a:gd name="connsiteX19310" fmla="*/ 4387544 w 8079933"/>
              <a:gd name="connsiteY19310" fmla="*/ 1443572 h 4687251"/>
              <a:gd name="connsiteX19311" fmla="*/ 4387544 w 8079933"/>
              <a:gd name="connsiteY19311" fmla="*/ 1441189 h 4687251"/>
              <a:gd name="connsiteX19312" fmla="*/ 4384397 w 8079933"/>
              <a:gd name="connsiteY19312" fmla="*/ 1440215 h 4687251"/>
              <a:gd name="connsiteX19313" fmla="*/ 4386784 w 8079933"/>
              <a:gd name="connsiteY19313" fmla="*/ 1439240 h 4687251"/>
              <a:gd name="connsiteX19314" fmla="*/ 4386675 w 8079933"/>
              <a:gd name="connsiteY19314" fmla="*/ 1437291 h 4687251"/>
              <a:gd name="connsiteX19315" fmla="*/ 4389172 w 8079933"/>
              <a:gd name="connsiteY19315" fmla="*/ 1438050 h 4687251"/>
              <a:gd name="connsiteX19316" fmla="*/ 4390365 w 8079933"/>
              <a:gd name="connsiteY19316" fmla="*/ 1440431 h 4687251"/>
              <a:gd name="connsiteX19317" fmla="*/ 4392645 w 8079933"/>
              <a:gd name="connsiteY19317" fmla="*/ 1437617 h 4687251"/>
              <a:gd name="connsiteX19318" fmla="*/ 4394163 w 8079933"/>
              <a:gd name="connsiteY19318" fmla="*/ 1437075 h 4687251"/>
              <a:gd name="connsiteX19319" fmla="*/ 3863627 w 8079933"/>
              <a:gd name="connsiteY19319" fmla="*/ 1433827 h 4687251"/>
              <a:gd name="connsiteX19320" fmla="*/ 3865254 w 8079933"/>
              <a:gd name="connsiteY19320" fmla="*/ 1436209 h 4687251"/>
              <a:gd name="connsiteX19321" fmla="*/ 3864169 w 8079933"/>
              <a:gd name="connsiteY19321" fmla="*/ 1438374 h 4687251"/>
              <a:gd name="connsiteX19322" fmla="*/ 3861565 w 8079933"/>
              <a:gd name="connsiteY19322" fmla="*/ 1434260 h 4687251"/>
              <a:gd name="connsiteX19323" fmla="*/ 7363613 w 8079933"/>
              <a:gd name="connsiteY19323" fmla="*/ 1432961 h 4687251"/>
              <a:gd name="connsiteX19324" fmla="*/ 7368171 w 8079933"/>
              <a:gd name="connsiteY19324" fmla="*/ 1436750 h 4687251"/>
              <a:gd name="connsiteX19325" fmla="*/ 7367302 w 8079933"/>
              <a:gd name="connsiteY19325" fmla="*/ 1439998 h 4687251"/>
              <a:gd name="connsiteX19326" fmla="*/ 7362528 w 8079933"/>
              <a:gd name="connsiteY19326" fmla="*/ 1440324 h 4687251"/>
              <a:gd name="connsiteX19327" fmla="*/ 7360467 w 8079933"/>
              <a:gd name="connsiteY19327" fmla="*/ 1438483 h 4687251"/>
              <a:gd name="connsiteX19328" fmla="*/ 7360792 w 8079933"/>
              <a:gd name="connsiteY19328" fmla="*/ 1434693 h 4687251"/>
              <a:gd name="connsiteX19329" fmla="*/ 1141377 w 8079933"/>
              <a:gd name="connsiteY19329" fmla="*/ 1432853 h 4687251"/>
              <a:gd name="connsiteX19330" fmla="*/ 1146803 w 8079933"/>
              <a:gd name="connsiteY19330" fmla="*/ 1435777 h 4687251"/>
              <a:gd name="connsiteX19331" fmla="*/ 1145935 w 8079933"/>
              <a:gd name="connsiteY19331" fmla="*/ 1446928 h 4687251"/>
              <a:gd name="connsiteX19332" fmla="*/ 1141052 w 8079933"/>
              <a:gd name="connsiteY19332" fmla="*/ 1452125 h 4687251"/>
              <a:gd name="connsiteX19333" fmla="*/ 1140401 w 8079933"/>
              <a:gd name="connsiteY19333" fmla="*/ 1447578 h 4687251"/>
              <a:gd name="connsiteX19334" fmla="*/ 1142788 w 8079933"/>
              <a:gd name="connsiteY19334" fmla="*/ 1442165 h 4687251"/>
              <a:gd name="connsiteX19335" fmla="*/ 1138122 w 8079933"/>
              <a:gd name="connsiteY19335" fmla="*/ 1446820 h 4687251"/>
              <a:gd name="connsiteX19336" fmla="*/ 1134541 w 8079933"/>
              <a:gd name="connsiteY19336" fmla="*/ 1446062 h 4687251"/>
              <a:gd name="connsiteX19337" fmla="*/ 1134323 w 8079933"/>
              <a:gd name="connsiteY19337" fmla="*/ 1442489 h 4687251"/>
              <a:gd name="connsiteX19338" fmla="*/ 1135518 w 8079933"/>
              <a:gd name="connsiteY19338" fmla="*/ 1439349 h 4687251"/>
              <a:gd name="connsiteX19339" fmla="*/ 1131828 w 8079933"/>
              <a:gd name="connsiteY19339" fmla="*/ 1438700 h 4687251"/>
              <a:gd name="connsiteX19340" fmla="*/ 1136603 w 8079933"/>
              <a:gd name="connsiteY19340" fmla="*/ 1434044 h 4687251"/>
              <a:gd name="connsiteX19341" fmla="*/ 4408380 w 8079933"/>
              <a:gd name="connsiteY19341" fmla="*/ 1431877 h 4687251"/>
              <a:gd name="connsiteX19342" fmla="*/ 4414565 w 8079933"/>
              <a:gd name="connsiteY19342" fmla="*/ 1432093 h 4687251"/>
              <a:gd name="connsiteX19343" fmla="*/ 4416627 w 8079933"/>
              <a:gd name="connsiteY19343" fmla="*/ 1437290 h 4687251"/>
              <a:gd name="connsiteX19344" fmla="*/ 4414131 w 8079933"/>
              <a:gd name="connsiteY19344" fmla="*/ 1438914 h 4687251"/>
              <a:gd name="connsiteX19345" fmla="*/ 4408597 w 8079933"/>
              <a:gd name="connsiteY19345" fmla="*/ 1434692 h 4687251"/>
              <a:gd name="connsiteX19346" fmla="*/ 2254107 w 8079933"/>
              <a:gd name="connsiteY19346" fmla="*/ 1431877 h 4687251"/>
              <a:gd name="connsiteX19347" fmla="*/ 2251286 w 8079933"/>
              <a:gd name="connsiteY19347" fmla="*/ 1437399 h 4687251"/>
              <a:gd name="connsiteX19348" fmla="*/ 2245101 w 8079933"/>
              <a:gd name="connsiteY19348" fmla="*/ 1441513 h 4687251"/>
              <a:gd name="connsiteX19349" fmla="*/ 2241302 w 8079933"/>
              <a:gd name="connsiteY19349" fmla="*/ 1442920 h 4687251"/>
              <a:gd name="connsiteX19350" fmla="*/ 2240109 w 8079933"/>
              <a:gd name="connsiteY19350" fmla="*/ 1442054 h 4687251"/>
              <a:gd name="connsiteX19351" fmla="*/ 2242279 w 8079933"/>
              <a:gd name="connsiteY19351" fmla="*/ 1437182 h 4687251"/>
              <a:gd name="connsiteX19352" fmla="*/ 2245534 w 8079933"/>
              <a:gd name="connsiteY19352" fmla="*/ 1437073 h 4687251"/>
              <a:gd name="connsiteX19353" fmla="*/ 2246945 w 8079933"/>
              <a:gd name="connsiteY19353" fmla="*/ 1435666 h 4687251"/>
              <a:gd name="connsiteX19354" fmla="*/ 2248573 w 8079933"/>
              <a:gd name="connsiteY19354" fmla="*/ 1435666 h 4687251"/>
              <a:gd name="connsiteX19355" fmla="*/ 2251937 w 8079933"/>
              <a:gd name="connsiteY19355" fmla="*/ 1433609 h 4687251"/>
              <a:gd name="connsiteX19356" fmla="*/ 7386185 w 8079933"/>
              <a:gd name="connsiteY19356" fmla="*/ 1431661 h 4687251"/>
              <a:gd name="connsiteX19357" fmla="*/ 7388789 w 8079933"/>
              <a:gd name="connsiteY19357" fmla="*/ 1434585 h 4687251"/>
              <a:gd name="connsiteX19358" fmla="*/ 7389766 w 8079933"/>
              <a:gd name="connsiteY19358" fmla="*/ 1438699 h 4687251"/>
              <a:gd name="connsiteX19359" fmla="*/ 7387813 w 8079933"/>
              <a:gd name="connsiteY19359" fmla="*/ 1440973 h 4687251"/>
              <a:gd name="connsiteX19360" fmla="*/ 7385859 w 8079933"/>
              <a:gd name="connsiteY19360" fmla="*/ 1440973 h 4687251"/>
              <a:gd name="connsiteX19361" fmla="*/ 7382821 w 8079933"/>
              <a:gd name="connsiteY19361" fmla="*/ 1437291 h 4687251"/>
              <a:gd name="connsiteX19362" fmla="*/ 7382821 w 8079933"/>
              <a:gd name="connsiteY19362" fmla="*/ 1434259 h 4687251"/>
              <a:gd name="connsiteX19363" fmla="*/ 2263765 w 8079933"/>
              <a:gd name="connsiteY19363" fmla="*/ 1430687 h 4687251"/>
              <a:gd name="connsiteX19364" fmla="*/ 2267237 w 8079933"/>
              <a:gd name="connsiteY19364" fmla="*/ 1432528 h 4687251"/>
              <a:gd name="connsiteX19365" fmla="*/ 2267237 w 8079933"/>
              <a:gd name="connsiteY19365" fmla="*/ 1435884 h 4687251"/>
              <a:gd name="connsiteX19366" fmla="*/ 2268648 w 8079933"/>
              <a:gd name="connsiteY19366" fmla="*/ 1435884 h 4687251"/>
              <a:gd name="connsiteX19367" fmla="*/ 2270601 w 8079933"/>
              <a:gd name="connsiteY19367" fmla="*/ 1438050 h 4687251"/>
              <a:gd name="connsiteX19368" fmla="*/ 2269842 w 8079933"/>
              <a:gd name="connsiteY19368" fmla="*/ 1443246 h 4687251"/>
              <a:gd name="connsiteX19369" fmla="*/ 2267888 w 8079933"/>
              <a:gd name="connsiteY19369" fmla="*/ 1444979 h 4687251"/>
              <a:gd name="connsiteX19370" fmla="*/ 2262571 w 8079933"/>
              <a:gd name="connsiteY19370" fmla="*/ 1451583 h 4687251"/>
              <a:gd name="connsiteX19371" fmla="*/ 2259858 w 8079933"/>
              <a:gd name="connsiteY19371" fmla="*/ 1453423 h 4687251"/>
              <a:gd name="connsiteX19372" fmla="*/ 2261377 w 8079933"/>
              <a:gd name="connsiteY19372" fmla="*/ 1449850 h 4687251"/>
              <a:gd name="connsiteX19373" fmla="*/ 2267563 w 8079933"/>
              <a:gd name="connsiteY19373" fmla="*/ 1442921 h 4687251"/>
              <a:gd name="connsiteX19374" fmla="*/ 2267563 w 8079933"/>
              <a:gd name="connsiteY19374" fmla="*/ 1439890 h 4687251"/>
              <a:gd name="connsiteX19375" fmla="*/ 2265935 w 8079933"/>
              <a:gd name="connsiteY19375" fmla="*/ 1439890 h 4687251"/>
              <a:gd name="connsiteX19376" fmla="*/ 2264741 w 8079933"/>
              <a:gd name="connsiteY19376" fmla="*/ 1443030 h 4687251"/>
              <a:gd name="connsiteX19377" fmla="*/ 2259207 w 8079933"/>
              <a:gd name="connsiteY19377" fmla="*/ 1450609 h 4687251"/>
              <a:gd name="connsiteX19378" fmla="*/ 2255626 w 8079933"/>
              <a:gd name="connsiteY19378" fmla="*/ 1455048 h 4687251"/>
              <a:gd name="connsiteX19379" fmla="*/ 2253130 w 8079933"/>
              <a:gd name="connsiteY19379" fmla="*/ 1455048 h 4687251"/>
              <a:gd name="connsiteX19380" fmla="*/ 2249983 w 8079933"/>
              <a:gd name="connsiteY19380" fmla="*/ 1456997 h 4687251"/>
              <a:gd name="connsiteX19381" fmla="*/ 2248464 w 8079933"/>
              <a:gd name="connsiteY19381" fmla="*/ 1456997 h 4687251"/>
              <a:gd name="connsiteX19382" fmla="*/ 2251611 w 8079933"/>
              <a:gd name="connsiteY19382" fmla="*/ 1452125 h 4687251"/>
              <a:gd name="connsiteX19383" fmla="*/ 2252805 w 8079933"/>
              <a:gd name="connsiteY19383" fmla="*/ 1449093 h 4687251"/>
              <a:gd name="connsiteX19384" fmla="*/ 2250417 w 8079933"/>
              <a:gd name="connsiteY19384" fmla="*/ 1449743 h 4687251"/>
              <a:gd name="connsiteX19385" fmla="*/ 2245752 w 8079933"/>
              <a:gd name="connsiteY19385" fmla="*/ 1456022 h 4687251"/>
              <a:gd name="connsiteX19386" fmla="*/ 2244015 w 8079933"/>
              <a:gd name="connsiteY19386" fmla="*/ 1456022 h 4687251"/>
              <a:gd name="connsiteX19387" fmla="*/ 2242930 w 8079933"/>
              <a:gd name="connsiteY19387" fmla="*/ 1453099 h 4687251"/>
              <a:gd name="connsiteX19388" fmla="*/ 2246402 w 8079933"/>
              <a:gd name="connsiteY19388" fmla="*/ 1448876 h 4687251"/>
              <a:gd name="connsiteX19389" fmla="*/ 2247053 w 8079933"/>
              <a:gd name="connsiteY19389" fmla="*/ 1446386 h 4687251"/>
              <a:gd name="connsiteX19390" fmla="*/ 2252371 w 8079933"/>
              <a:gd name="connsiteY19390" fmla="*/ 1441189 h 4687251"/>
              <a:gd name="connsiteX19391" fmla="*/ 2255192 w 8079933"/>
              <a:gd name="connsiteY19391" fmla="*/ 1435559 h 4687251"/>
              <a:gd name="connsiteX19392" fmla="*/ 2258231 w 8079933"/>
              <a:gd name="connsiteY19392" fmla="*/ 1433285 h 4687251"/>
              <a:gd name="connsiteX19393" fmla="*/ 2259099 w 8079933"/>
              <a:gd name="connsiteY19393" fmla="*/ 1434693 h 4687251"/>
              <a:gd name="connsiteX19394" fmla="*/ 2257688 w 8079933"/>
              <a:gd name="connsiteY19394" fmla="*/ 1438807 h 4687251"/>
              <a:gd name="connsiteX19395" fmla="*/ 2253890 w 8079933"/>
              <a:gd name="connsiteY19395" fmla="*/ 1442272 h 4687251"/>
              <a:gd name="connsiteX19396" fmla="*/ 2253021 w 8079933"/>
              <a:gd name="connsiteY19396" fmla="*/ 1445411 h 4687251"/>
              <a:gd name="connsiteX19397" fmla="*/ 2256603 w 8079933"/>
              <a:gd name="connsiteY19397" fmla="*/ 1443030 h 4687251"/>
              <a:gd name="connsiteX19398" fmla="*/ 2260075 w 8079933"/>
              <a:gd name="connsiteY19398" fmla="*/ 1439673 h 4687251"/>
              <a:gd name="connsiteX19399" fmla="*/ 2262137 w 8079933"/>
              <a:gd name="connsiteY19399" fmla="*/ 1433069 h 4687251"/>
              <a:gd name="connsiteX19400" fmla="*/ 1128573 w 8079933"/>
              <a:gd name="connsiteY19400" fmla="*/ 1430255 h 4687251"/>
              <a:gd name="connsiteX19401" fmla="*/ 1131068 w 8079933"/>
              <a:gd name="connsiteY19401" fmla="*/ 1434152 h 4687251"/>
              <a:gd name="connsiteX19402" fmla="*/ 1128573 w 8079933"/>
              <a:gd name="connsiteY19402" fmla="*/ 1436318 h 4687251"/>
              <a:gd name="connsiteX19403" fmla="*/ 2266695 w 8079933"/>
              <a:gd name="connsiteY19403" fmla="*/ 1427547 h 4687251"/>
              <a:gd name="connsiteX19404" fmla="*/ 2267346 w 8079933"/>
              <a:gd name="connsiteY19404" fmla="*/ 1428846 h 4687251"/>
              <a:gd name="connsiteX19405" fmla="*/ 2266261 w 8079933"/>
              <a:gd name="connsiteY19405" fmla="*/ 1430037 h 4687251"/>
              <a:gd name="connsiteX19406" fmla="*/ 2265285 w 8079933"/>
              <a:gd name="connsiteY19406" fmla="*/ 1427872 h 4687251"/>
              <a:gd name="connsiteX19407" fmla="*/ 3865471 w 8079933"/>
              <a:gd name="connsiteY19407" fmla="*/ 1426140 h 4687251"/>
              <a:gd name="connsiteX19408" fmla="*/ 3868293 w 8079933"/>
              <a:gd name="connsiteY19408" fmla="*/ 1428846 h 4687251"/>
              <a:gd name="connsiteX19409" fmla="*/ 3866556 w 8079933"/>
              <a:gd name="connsiteY19409" fmla="*/ 1430904 h 4687251"/>
              <a:gd name="connsiteX19410" fmla="*/ 3871765 w 8079933"/>
              <a:gd name="connsiteY19410" fmla="*/ 1430362 h 4687251"/>
              <a:gd name="connsiteX19411" fmla="*/ 3871657 w 8079933"/>
              <a:gd name="connsiteY19411" fmla="*/ 1433936 h 4687251"/>
              <a:gd name="connsiteX19412" fmla="*/ 3869161 w 8079933"/>
              <a:gd name="connsiteY19412" fmla="*/ 1432420 h 4687251"/>
              <a:gd name="connsiteX19413" fmla="*/ 3864712 w 8079933"/>
              <a:gd name="connsiteY19413" fmla="*/ 1432961 h 4687251"/>
              <a:gd name="connsiteX19414" fmla="*/ 3864494 w 8079933"/>
              <a:gd name="connsiteY19414" fmla="*/ 1429605 h 4687251"/>
              <a:gd name="connsiteX19415" fmla="*/ 3863518 w 8079933"/>
              <a:gd name="connsiteY19415" fmla="*/ 1432420 h 4687251"/>
              <a:gd name="connsiteX19416" fmla="*/ 3861890 w 8079933"/>
              <a:gd name="connsiteY19416" fmla="*/ 1430687 h 4687251"/>
              <a:gd name="connsiteX19417" fmla="*/ 3861890 w 8079933"/>
              <a:gd name="connsiteY19417" fmla="*/ 1426356 h 4687251"/>
              <a:gd name="connsiteX19418" fmla="*/ 1134324 w 8079933"/>
              <a:gd name="connsiteY19418" fmla="*/ 1426140 h 4687251"/>
              <a:gd name="connsiteX19419" fmla="*/ 1136277 w 8079933"/>
              <a:gd name="connsiteY19419" fmla="*/ 1428846 h 4687251"/>
              <a:gd name="connsiteX19420" fmla="*/ 1135083 w 8079933"/>
              <a:gd name="connsiteY19420" fmla="*/ 1431662 h 4687251"/>
              <a:gd name="connsiteX19421" fmla="*/ 1131828 w 8079933"/>
              <a:gd name="connsiteY19421" fmla="*/ 1427980 h 4687251"/>
              <a:gd name="connsiteX19422" fmla="*/ 3869051 w 8079933"/>
              <a:gd name="connsiteY19422" fmla="*/ 1424299 h 4687251"/>
              <a:gd name="connsiteX19423" fmla="*/ 3868617 w 8079933"/>
              <a:gd name="connsiteY19423" fmla="*/ 1426681 h 4687251"/>
              <a:gd name="connsiteX19424" fmla="*/ 3866773 w 8079933"/>
              <a:gd name="connsiteY19424" fmla="*/ 1424624 h 4687251"/>
              <a:gd name="connsiteX19425" fmla="*/ 4045500 w 8079933"/>
              <a:gd name="connsiteY19425" fmla="*/ 1420402 h 4687251"/>
              <a:gd name="connsiteX19426" fmla="*/ 4048647 w 8079933"/>
              <a:gd name="connsiteY19426" fmla="*/ 1423541 h 4687251"/>
              <a:gd name="connsiteX19427" fmla="*/ 4044958 w 8079933"/>
              <a:gd name="connsiteY19427" fmla="*/ 1424841 h 4687251"/>
              <a:gd name="connsiteX19428" fmla="*/ 4412503 w 8079933"/>
              <a:gd name="connsiteY19428" fmla="*/ 1419427 h 4687251"/>
              <a:gd name="connsiteX19429" fmla="*/ 4413697 w 8079933"/>
              <a:gd name="connsiteY19429" fmla="*/ 1421809 h 4687251"/>
              <a:gd name="connsiteX19430" fmla="*/ 4409248 w 8079933"/>
              <a:gd name="connsiteY19430" fmla="*/ 1422459 h 4687251"/>
              <a:gd name="connsiteX19431" fmla="*/ 4408380 w 8079933"/>
              <a:gd name="connsiteY19431" fmla="*/ 1419752 h 4687251"/>
              <a:gd name="connsiteX19432" fmla="*/ 4397203 w 8079933"/>
              <a:gd name="connsiteY19432" fmla="*/ 1418886 h 4687251"/>
              <a:gd name="connsiteX19433" fmla="*/ 4399807 w 8079933"/>
              <a:gd name="connsiteY19433" fmla="*/ 1419319 h 4687251"/>
              <a:gd name="connsiteX19434" fmla="*/ 4402195 w 8079933"/>
              <a:gd name="connsiteY19434" fmla="*/ 1421592 h 4687251"/>
              <a:gd name="connsiteX19435" fmla="*/ 4406427 w 8079933"/>
              <a:gd name="connsiteY19435" fmla="*/ 1421917 h 4687251"/>
              <a:gd name="connsiteX19436" fmla="*/ 4408272 w 8079933"/>
              <a:gd name="connsiteY19436" fmla="*/ 1426573 h 4687251"/>
              <a:gd name="connsiteX19437" fmla="*/ 4405451 w 8079933"/>
              <a:gd name="connsiteY19437" fmla="*/ 1425599 h 4687251"/>
              <a:gd name="connsiteX19438" fmla="*/ 4401435 w 8079933"/>
              <a:gd name="connsiteY19438" fmla="*/ 1428306 h 4687251"/>
              <a:gd name="connsiteX19439" fmla="*/ 4399916 w 8079933"/>
              <a:gd name="connsiteY19439" fmla="*/ 1431013 h 4687251"/>
              <a:gd name="connsiteX19440" fmla="*/ 4396986 w 8079933"/>
              <a:gd name="connsiteY19440" fmla="*/ 1426249 h 4687251"/>
              <a:gd name="connsiteX19441" fmla="*/ 4392971 w 8079933"/>
              <a:gd name="connsiteY19441" fmla="*/ 1426573 h 4687251"/>
              <a:gd name="connsiteX19442" fmla="*/ 4388847 w 8079933"/>
              <a:gd name="connsiteY19442" fmla="*/ 1428414 h 4687251"/>
              <a:gd name="connsiteX19443" fmla="*/ 4387111 w 8079933"/>
              <a:gd name="connsiteY19443" fmla="*/ 1427115 h 4687251"/>
              <a:gd name="connsiteX19444" fmla="*/ 4394599 w 8079933"/>
              <a:gd name="connsiteY19444" fmla="*/ 1423541 h 4687251"/>
              <a:gd name="connsiteX19445" fmla="*/ 4396877 w 8079933"/>
              <a:gd name="connsiteY19445" fmla="*/ 1420618 h 4687251"/>
              <a:gd name="connsiteX19446" fmla="*/ 1147346 w 8079933"/>
              <a:gd name="connsiteY19446" fmla="*/ 1412064 h 4687251"/>
              <a:gd name="connsiteX19447" fmla="*/ 1149733 w 8079933"/>
              <a:gd name="connsiteY19447" fmla="*/ 1412389 h 4687251"/>
              <a:gd name="connsiteX19448" fmla="*/ 1148214 w 8079933"/>
              <a:gd name="connsiteY19448" fmla="*/ 1416286 h 4687251"/>
              <a:gd name="connsiteX19449" fmla="*/ 1143656 w 8079933"/>
              <a:gd name="connsiteY19449" fmla="*/ 1418018 h 4687251"/>
              <a:gd name="connsiteX19450" fmla="*/ 1140618 w 8079933"/>
              <a:gd name="connsiteY19450" fmla="*/ 1420400 h 4687251"/>
              <a:gd name="connsiteX19451" fmla="*/ 1142463 w 8079933"/>
              <a:gd name="connsiteY19451" fmla="*/ 1414770 h 4687251"/>
              <a:gd name="connsiteX19452" fmla="*/ 1111644 w 8079933"/>
              <a:gd name="connsiteY19452" fmla="*/ 1406759 h 4687251"/>
              <a:gd name="connsiteX19453" fmla="*/ 1121411 w 8079933"/>
              <a:gd name="connsiteY19453" fmla="*/ 1418236 h 4687251"/>
              <a:gd name="connsiteX19454" fmla="*/ 1124992 w 8079933"/>
              <a:gd name="connsiteY19454" fmla="*/ 1425057 h 4687251"/>
              <a:gd name="connsiteX19455" fmla="*/ 1122930 w 8079933"/>
              <a:gd name="connsiteY19455" fmla="*/ 1428955 h 4687251"/>
              <a:gd name="connsiteX19456" fmla="*/ 1119349 w 8079933"/>
              <a:gd name="connsiteY19456" fmla="*/ 1427439 h 4687251"/>
              <a:gd name="connsiteX19457" fmla="*/ 1119349 w 8079933"/>
              <a:gd name="connsiteY19457" fmla="*/ 1422133 h 4687251"/>
              <a:gd name="connsiteX19458" fmla="*/ 1112296 w 8079933"/>
              <a:gd name="connsiteY19458" fmla="*/ 1414337 h 4687251"/>
              <a:gd name="connsiteX19459" fmla="*/ 1110234 w 8079933"/>
              <a:gd name="connsiteY19459" fmla="*/ 1409682 h 4687251"/>
              <a:gd name="connsiteX19460" fmla="*/ 1111644 w 8079933"/>
              <a:gd name="connsiteY19460" fmla="*/ 1406759 h 4687251"/>
              <a:gd name="connsiteX19461" fmla="*/ 4310498 w 8079933"/>
              <a:gd name="connsiteY19461" fmla="*/ 1402645 h 4687251"/>
              <a:gd name="connsiteX19462" fmla="*/ 4316249 w 8079933"/>
              <a:gd name="connsiteY19462" fmla="*/ 1402645 h 4687251"/>
              <a:gd name="connsiteX19463" fmla="*/ 4316141 w 8079933"/>
              <a:gd name="connsiteY19463" fmla="*/ 1406543 h 4687251"/>
              <a:gd name="connsiteX19464" fmla="*/ 4311474 w 8079933"/>
              <a:gd name="connsiteY19464" fmla="*/ 1410657 h 4687251"/>
              <a:gd name="connsiteX19465" fmla="*/ 4311366 w 8079933"/>
              <a:gd name="connsiteY19465" fmla="*/ 1416505 h 4687251"/>
              <a:gd name="connsiteX19466" fmla="*/ 4309521 w 8079933"/>
              <a:gd name="connsiteY19466" fmla="*/ 1414989 h 4687251"/>
              <a:gd name="connsiteX19467" fmla="*/ 4305940 w 8079933"/>
              <a:gd name="connsiteY19467" fmla="*/ 1409358 h 4687251"/>
              <a:gd name="connsiteX19468" fmla="*/ 1122278 w 8079933"/>
              <a:gd name="connsiteY19468" fmla="*/ 1400155 h 4687251"/>
              <a:gd name="connsiteX19469" fmla="*/ 1124558 w 8079933"/>
              <a:gd name="connsiteY19469" fmla="*/ 1400804 h 4687251"/>
              <a:gd name="connsiteX19470" fmla="*/ 1126728 w 8079933"/>
              <a:gd name="connsiteY19470" fmla="*/ 1407192 h 4687251"/>
              <a:gd name="connsiteX19471" fmla="*/ 1131068 w 8079933"/>
              <a:gd name="connsiteY19471" fmla="*/ 1416504 h 4687251"/>
              <a:gd name="connsiteX19472" fmla="*/ 1130417 w 8079933"/>
              <a:gd name="connsiteY19472" fmla="*/ 1424083 h 4687251"/>
              <a:gd name="connsiteX19473" fmla="*/ 1125534 w 8079933"/>
              <a:gd name="connsiteY19473" fmla="*/ 1420077 h 4687251"/>
              <a:gd name="connsiteX19474" fmla="*/ 1124883 w 8079933"/>
              <a:gd name="connsiteY19474" fmla="*/ 1413363 h 4687251"/>
              <a:gd name="connsiteX19475" fmla="*/ 1121410 w 8079933"/>
              <a:gd name="connsiteY19475" fmla="*/ 1407734 h 4687251"/>
              <a:gd name="connsiteX19476" fmla="*/ 1120868 w 8079933"/>
              <a:gd name="connsiteY19476" fmla="*/ 1401779 h 4687251"/>
              <a:gd name="connsiteX19477" fmla="*/ 4174526 w 8079933"/>
              <a:gd name="connsiteY19477" fmla="*/ 1398530 h 4687251"/>
              <a:gd name="connsiteX19478" fmla="*/ 4171162 w 8079933"/>
              <a:gd name="connsiteY19478" fmla="*/ 1400262 h 4687251"/>
              <a:gd name="connsiteX19479" fmla="*/ 4169317 w 8079933"/>
              <a:gd name="connsiteY19479" fmla="*/ 1404377 h 4687251"/>
              <a:gd name="connsiteX19480" fmla="*/ 4169859 w 8079933"/>
              <a:gd name="connsiteY19480" fmla="*/ 1405344 h 4687251"/>
              <a:gd name="connsiteX19481" fmla="*/ 4169317 w 8079933"/>
              <a:gd name="connsiteY19481" fmla="*/ 1404377 h 4687251"/>
              <a:gd name="connsiteX19482" fmla="*/ 4171162 w 8079933"/>
              <a:gd name="connsiteY19482" fmla="*/ 1400263 h 4687251"/>
              <a:gd name="connsiteX19483" fmla="*/ 4174526 w 8079933"/>
              <a:gd name="connsiteY19483" fmla="*/ 1398531 h 4687251"/>
              <a:gd name="connsiteX19484" fmla="*/ 4037361 w 8079933"/>
              <a:gd name="connsiteY19484" fmla="*/ 1392901 h 4687251"/>
              <a:gd name="connsiteX19485" fmla="*/ 4039965 w 8079933"/>
              <a:gd name="connsiteY19485" fmla="*/ 1395608 h 4687251"/>
              <a:gd name="connsiteX19486" fmla="*/ 4038230 w 8079933"/>
              <a:gd name="connsiteY19486" fmla="*/ 1399073 h 4687251"/>
              <a:gd name="connsiteX19487" fmla="*/ 4034649 w 8079933"/>
              <a:gd name="connsiteY19487" fmla="*/ 1393767 h 4687251"/>
              <a:gd name="connsiteX19488" fmla="*/ 4037361 w 8079933"/>
              <a:gd name="connsiteY19488" fmla="*/ 1392901 h 4687251"/>
              <a:gd name="connsiteX19489" fmla="*/ 1121084 w 8079933"/>
              <a:gd name="connsiteY19489" fmla="*/ 1389003 h 4687251"/>
              <a:gd name="connsiteX19490" fmla="*/ 1125208 w 8079933"/>
              <a:gd name="connsiteY19490" fmla="*/ 1392251 h 4687251"/>
              <a:gd name="connsiteX19491" fmla="*/ 1122929 w 8079933"/>
              <a:gd name="connsiteY19491" fmla="*/ 1397774 h 4687251"/>
              <a:gd name="connsiteX19492" fmla="*/ 1119565 w 8079933"/>
              <a:gd name="connsiteY19492" fmla="*/ 1397774 h 4687251"/>
              <a:gd name="connsiteX19493" fmla="*/ 1119348 w 8079933"/>
              <a:gd name="connsiteY19493" fmla="*/ 1395174 h 4687251"/>
              <a:gd name="connsiteX19494" fmla="*/ 1112512 w 8079933"/>
              <a:gd name="connsiteY19494" fmla="*/ 1395174 h 4687251"/>
              <a:gd name="connsiteX19495" fmla="*/ 1115225 w 8079933"/>
              <a:gd name="connsiteY19495" fmla="*/ 1391601 h 4687251"/>
              <a:gd name="connsiteX19496" fmla="*/ 4183099 w 8079933"/>
              <a:gd name="connsiteY19496" fmla="*/ 1386620 h 4687251"/>
              <a:gd name="connsiteX19497" fmla="*/ 4181037 w 8079933"/>
              <a:gd name="connsiteY19497" fmla="*/ 1390301 h 4687251"/>
              <a:gd name="connsiteX19498" fmla="*/ 4173658 w 8079933"/>
              <a:gd name="connsiteY19498" fmla="*/ 1390951 h 4687251"/>
              <a:gd name="connsiteX19499" fmla="*/ 4172030 w 8079933"/>
              <a:gd name="connsiteY19499" fmla="*/ 1393658 h 4687251"/>
              <a:gd name="connsiteX19500" fmla="*/ 4172030 w 8079933"/>
              <a:gd name="connsiteY19500" fmla="*/ 1393659 h 4687251"/>
              <a:gd name="connsiteX19501" fmla="*/ 4173658 w 8079933"/>
              <a:gd name="connsiteY19501" fmla="*/ 1390952 h 4687251"/>
              <a:gd name="connsiteX19502" fmla="*/ 4181037 w 8079933"/>
              <a:gd name="connsiteY19502" fmla="*/ 1390302 h 4687251"/>
              <a:gd name="connsiteX19503" fmla="*/ 4183099 w 8079933"/>
              <a:gd name="connsiteY19503" fmla="*/ 1386621 h 4687251"/>
              <a:gd name="connsiteX19504" fmla="*/ 4043004 w 8079933"/>
              <a:gd name="connsiteY19504" fmla="*/ 1384564 h 4687251"/>
              <a:gd name="connsiteX19505" fmla="*/ 4042787 w 8079933"/>
              <a:gd name="connsiteY19505" fmla="*/ 1388353 h 4687251"/>
              <a:gd name="connsiteX19506" fmla="*/ 4040943 w 8079933"/>
              <a:gd name="connsiteY19506" fmla="*/ 1388786 h 4687251"/>
              <a:gd name="connsiteX19507" fmla="*/ 3909421 w 8079933"/>
              <a:gd name="connsiteY19507" fmla="*/ 1384131 h 4687251"/>
              <a:gd name="connsiteX19508" fmla="*/ 3910831 w 8079933"/>
              <a:gd name="connsiteY19508" fmla="*/ 1385430 h 4687251"/>
              <a:gd name="connsiteX19509" fmla="*/ 3907359 w 8079933"/>
              <a:gd name="connsiteY19509" fmla="*/ 1388029 h 4687251"/>
              <a:gd name="connsiteX19510" fmla="*/ 4038880 w 8079933"/>
              <a:gd name="connsiteY19510" fmla="*/ 1382290 h 4687251"/>
              <a:gd name="connsiteX19511" fmla="*/ 4038121 w 8079933"/>
              <a:gd name="connsiteY19511" fmla="*/ 1386404 h 4687251"/>
              <a:gd name="connsiteX19512" fmla="*/ 4034540 w 8079933"/>
              <a:gd name="connsiteY19512" fmla="*/ 1385755 h 4687251"/>
              <a:gd name="connsiteX19513" fmla="*/ 4399482 w 8079933"/>
              <a:gd name="connsiteY19513" fmla="*/ 1379041 h 4687251"/>
              <a:gd name="connsiteX19514" fmla="*/ 4400458 w 8079933"/>
              <a:gd name="connsiteY19514" fmla="*/ 1382614 h 4687251"/>
              <a:gd name="connsiteX19515" fmla="*/ 4397311 w 8079933"/>
              <a:gd name="connsiteY19515" fmla="*/ 1384672 h 4687251"/>
              <a:gd name="connsiteX19516" fmla="*/ 4395575 w 8079933"/>
              <a:gd name="connsiteY19516" fmla="*/ 1382614 h 4687251"/>
              <a:gd name="connsiteX19517" fmla="*/ 4397853 w 8079933"/>
              <a:gd name="connsiteY19517" fmla="*/ 1381315 h 4687251"/>
              <a:gd name="connsiteX19518" fmla="*/ 1068345 w 8079933"/>
              <a:gd name="connsiteY19518" fmla="*/ 1377309 h 4687251"/>
              <a:gd name="connsiteX19519" fmla="*/ 1075941 w 8079933"/>
              <a:gd name="connsiteY19519" fmla="*/ 1379582 h 4687251"/>
              <a:gd name="connsiteX19520" fmla="*/ 1074748 w 8079933"/>
              <a:gd name="connsiteY19520" fmla="*/ 1385429 h 4687251"/>
              <a:gd name="connsiteX19521" fmla="*/ 1077461 w 8079933"/>
              <a:gd name="connsiteY19521" fmla="*/ 1384130 h 4687251"/>
              <a:gd name="connsiteX19522" fmla="*/ 1080607 w 8079933"/>
              <a:gd name="connsiteY19522" fmla="*/ 1381423 h 4687251"/>
              <a:gd name="connsiteX19523" fmla="*/ 1083863 w 8079933"/>
              <a:gd name="connsiteY19523" fmla="*/ 1382939 h 4687251"/>
              <a:gd name="connsiteX19524" fmla="*/ 1084080 w 8079933"/>
              <a:gd name="connsiteY19524" fmla="*/ 1386079 h 4687251"/>
              <a:gd name="connsiteX19525" fmla="*/ 1083537 w 8079933"/>
              <a:gd name="connsiteY19525" fmla="*/ 1391601 h 4687251"/>
              <a:gd name="connsiteX19526" fmla="*/ 1079414 w 8079933"/>
              <a:gd name="connsiteY19526" fmla="*/ 1395499 h 4687251"/>
              <a:gd name="connsiteX19527" fmla="*/ 1070407 w 8079933"/>
              <a:gd name="connsiteY19527" fmla="*/ 1398963 h 4687251"/>
              <a:gd name="connsiteX19528" fmla="*/ 1073228 w 8079933"/>
              <a:gd name="connsiteY19528" fmla="*/ 1401237 h 4687251"/>
              <a:gd name="connsiteX19529" fmla="*/ 1073879 w 8079933"/>
              <a:gd name="connsiteY19529" fmla="*/ 1403835 h 4687251"/>
              <a:gd name="connsiteX19530" fmla="*/ 1079197 w 8079933"/>
              <a:gd name="connsiteY19530" fmla="*/ 1402536 h 4687251"/>
              <a:gd name="connsiteX19531" fmla="*/ 1082344 w 8079933"/>
              <a:gd name="connsiteY19531" fmla="*/ 1395174 h 4687251"/>
              <a:gd name="connsiteX19532" fmla="*/ 1088203 w 8079933"/>
              <a:gd name="connsiteY19532" fmla="*/ 1388136 h 4687251"/>
              <a:gd name="connsiteX19533" fmla="*/ 1095583 w 8079933"/>
              <a:gd name="connsiteY19533" fmla="*/ 1384563 h 4687251"/>
              <a:gd name="connsiteX19534" fmla="*/ 1097861 w 8079933"/>
              <a:gd name="connsiteY19534" fmla="*/ 1384996 h 4687251"/>
              <a:gd name="connsiteX19535" fmla="*/ 1089180 w 8079933"/>
              <a:gd name="connsiteY19535" fmla="*/ 1394632 h 4687251"/>
              <a:gd name="connsiteX19536" fmla="*/ 1087335 w 8079933"/>
              <a:gd name="connsiteY19536" fmla="*/ 1402103 h 4687251"/>
              <a:gd name="connsiteX19537" fmla="*/ 1082995 w 8079933"/>
              <a:gd name="connsiteY19537" fmla="*/ 1407192 h 4687251"/>
              <a:gd name="connsiteX19538" fmla="*/ 1082452 w 8079933"/>
              <a:gd name="connsiteY19538" fmla="*/ 1415096 h 4687251"/>
              <a:gd name="connsiteX19539" fmla="*/ 1077135 w 8079933"/>
              <a:gd name="connsiteY19539" fmla="*/ 1419427 h 4687251"/>
              <a:gd name="connsiteX19540" fmla="*/ 1072794 w 8079933"/>
              <a:gd name="connsiteY19540" fmla="*/ 1419427 h 4687251"/>
              <a:gd name="connsiteX19541" fmla="*/ 1069430 w 8079933"/>
              <a:gd name="connsiteY19541" fmla="*/ 1423433 h 4687251"/>
              <a:gd name="connsiteX19542" fmla="*/ 1073337 w 8079933"/>
              <a:gd name="connsiteY19542" fmla="*/ 1423541 h 4687251"/>
              <a:gd name="connsiteX19543" fmla="*/ 1076267 w 8079933"/>
              <a:gd name="connsiteY19543" fmla="*/ 1421809 h 4687251"/>
              <a:gd name="connsiteX19544" fmla="*/ 1081584 w 8079933"/>
              <a:gd name="connsiteY19544" fmla="*/ 1422566 h 4687251"/>
              <a:gd name="connsiteX19545" fmla="*/ 1082127 w 8079933"/>
              <a:gd name="connsiteY19545" fmla="*/ 1428197 h 4687251"/>
              <a:gd name="connsiteX19546" fmla="*/ 1075833 w 8079933"/>
              <a:gd name="connsiteY19546" fmla="*/ 1427980 h 4687251"/>
              <a:gd name="connsiteX19547" fmla="*/ 1072794 w 8079933"/>
              <a:gd name="connsiteY19547" fmla="*/ 1433935 h 4687251"/>
              <a:gd name="connsiteX19548" fmla="*/ 1074422 w 8079933"/>
              <a:gd name="connsiteY19548" fmla="*/ 1438807 h 4687251"/>
              <a:gd name="connsiteX19549" fmla="*/ 1073554 w 8079933"/>
              <a:gd name="connsiteY19549" fmla="*/ 1445520 h 4687251"/>
              <a:gd name="connsiteX19550" fmla="*/ 1076158 w 8079933"/>
              <a:gd name="connsiteY19550" fmla="*/ 1453640 h 4687251"/>
              <a:gd name="connsiteX19551" fmla="*/ 1077461 w 8079933"/>
              <a:gd name="connsiteY19551" fmla="*/ 1459704 h 4687251"/>
              <a:gd name="connsiteX19552" fmla="*/ 1080933 w 8079933"/>
              <a:gd name="connsiteY19552" fmla="*/ 1459487 h 4687251"/>
              <a:gd name="connsiteX19553" fmla="*/ 1082995 w 8079933"/>
              <a:gd name="connsiteY19553" fmla="*/ 1462411 h 4687251"/>
              <a:gd name="connsiteX19554" fmla="*/ 1080390 w 8079933"/>
              <a:gd name="connsiteY19554" fmla="*/ 1466417 h 4687251"/>
              <a:gd name="connsiteX19555" fmla="*/ 1074205 w 8079933"/>
              <a:gd name="connsiteY19555" fmla="*/ 1465009 h 4687251"/>
              <a:gd name="connsiteX19556" fmla="*/ 1067043 w 8079933"/>
              <a:gd name="connsiteY19556" fmla="*/ 1449526 h 4687251"/>
              <a:gd name="connsiteX19557" fmla="*/ 1066283 w 8079933"/>
              <a:gd name="connsiteY19557" fmla="*/ 1442813 h 4687251"/>
              <a:gd name="connsiteX19558" fmla="*/ 1067694 w 8079933"/>
              <a:gd name="connsiteY19558" fmla="*/ 1439565 h 4687251"/>
              <a:gd name="connsiteX19559" fmla="*/ 1062160 w 8079933"/>
              <a:gd name="connsiteY19559" fmla="*/ 1438482 h 4687251"/>
              <a:gd name="connsiteX19560" fmla="*/ 1060749 w 8079933"/>
              <a:gd name="connsiteY19560" fmla="*/ 1434368 h 4687251"/>
              <a:gd name="connsiteX19561" fmla="*/ 1062702 w 8079933"/>
              <a:gd name="connsiteY19561" fmla="*/ 1430903 h 4687251"/>
              <a:gd name="connsiteX19562" fmla="*/ 1068237 w 8079933"/>
              <a:gd name="connsiteY19562" fmla="*/ 1431661 h 4687251"/>
              <a:gd name="connsiteX19563" fmla="*/ 1063896 w 8079933"/>
              <a:gd name="connsiteY19563" fmla="*/ 1426789 h 4687251"/>
              <a:gd name="connsiteX19564" fmla="*/ 1060966 w 8079933"/>
              <a:gd name="connsiteY19564" fmla="*/ 1425598 h 4687251"/>
              <a:gd name="connsiteX19565" fmla="*/ 1063679 w 8079933"/>
              <a:gd name="connsiteY19565" fmla="*/ 1420617 h 4687251"/>
              <a:gd name="connsiteX19566" fmla="*/ 1060098 w 8079933"/>
              <a:gd name="connsiteY19566" fmla="*/ 1416503 h 4687251"/>
              <a:gd name="connsiteX19567" fmla="*/ 1060749 w 8079933"/>
              <a:gd name="connsiteY19567" fmla="*/ 1413905 h 4687251"/>
              <a:gd name="connsiteX19568" fmla="*/ 1064764 w 8079933"/>
              <a:gd name="connsiteY19568" fmla="*/ 1414446 h 4687251"/>
              <a:gd name="connsiteX19569" fmla="*/ 1067043 w 8079933"/>
              <a:gd name="connsiteY19569" fmla="*/ 1415854 h 4687251"/>
              <a:gd name="connsiteX19570" fmla="*/ 1066826 w 8079933"/>
              <a:gd name="connsiteY19570" fmla="*/ 1411739 h 4687251"/>
              <a:gd name="connsiteX19571" fmla="*/ 1063679 w 8079933"/>
              <a:gd name="connsiteY19571" fmla="*/ 1407950 h 4687251"/>
              <a:gd name="connsiteX19572" fmla="*/ 1059772 w 8079933"/>
              <a:gd name="connsiteY19572" fmla="*/ 1407084 h 4687251"/>
              <a:gd name="connsiteX19573" fmla="*/ 1059447 w 8079933"/>
              <a:gd name="connsiteY19573" fmla="*/ 1402752 h 4687251"/>
              <a:gd name="connsiteX19574" fmla="*/ 1062160 w 8079933"/>
              <a:gd name="connsiteY19574" fmla="*/ 1398097 h 4687251"/>
              <a:gd name="connsiteX19575" fmla="*/ 1060966 w 8079933"/>
              <a:gd name="connsiteY19575" fmla="*/ 1389652 h 4687251"/>
              <a:gd name="connsiteX19576" fmla="*/ 4186138 w 8079933"/>
              <a:gd name="connsiteY19576" fmla="*/ 1374278 h 4687251"/>
              <a:gd name="connsiteX19577" fmla="*/ 4182773 w 8079933"/>
              <a:gd name="connsiteY19577" fmla="*/ 1381640 h 4687251"/>
              <a:gd name="connsiteX19578" fmla="*/ 4182773 w 8079933"/>
              <a:gd name="connsiteY19578" fmla="*/ 1381641 h 4687251"/>
              <a:gd name="connsiteX19579" fmla="*/ 4186138 w 8079933"/>
              <a:gd name="connsiteY19579" fmla="*/ 1374278 h 4687251"/>
              <a:gd name="connsiteX19580" fmla="*/ 4393078 w 8079933"/>
              <a:gd name="connsiteY19580" fmla="*/ 1374170 h 4687251"/>
              <a:gd name="connsiteX19581" fmla="*/ 4394489 w 8079933"/>
              <a:gd name="connsiteY19581" fmla="*/ 1377527 h 4687251"/>
              <a:gd name="connsiteX19582" fmla="*/ 4392536 w 8079933"/>
              <a:gd name="connsiteY19582" fmla="*/ 1377527 h 4687251"/>
              <a:gd name="connsiteX19583" fmla="*/ 4032478 w 8079933"/>
              <a:gd name="connsiteY19583" fmla="*/ 1373196 h 4687251"/>
              <a:gd name="connsiteX19584" fmla="*/ 4031067 w 8079933"/>
              <a:gd name="connsiteY19584" fmla="*/ 1378392 h 4687251"/>
              <a:gd name="connsiteX19585" fmla="*/ 4028029 w 8079933"/>
              <a:gd name="connsiteY19585" fmla="*/ 1374603 h 4687251"/>
              <a:gd name="connsiteX19586" fmla="*/ 4037579 w 8079933"/>
              <a:gd name="connsiteY19586" fmla="*/ 1372329 h 4687251"/>
              <a:gd name="connsiteX19587" fmla="*/ 4041160 w 8079933"/>
              <a:gd name="connsiteY19587" fmla="*/ 1376985 h 4687251"/>
              <a:gd name="connsiteX19588" fmla="*/ 4039640 w 8079933"/>
              <a:gd name="connsiteY19588" fmla="*/ 1381425 h 4687251"/>
              <a:gd name="connsiteX19589" fmla="*/ 3908445 w 8079933"/>
              <a:gd name="connsiteY19589" fmla="*/ 1369298 h 4687251"/>
              <a:gd name="connsiteX19590" fmla="*/ 3911158 w 8079933"/>
              <a:gd name="connsiteY19590" fmla="*/ 1370597 h 4687251"/>
              <a:gd name="connsiteX19591" fmla="*/ 3914413 w 8079933"/>
              <a:gd name="connsiteY19591" fmla="*/ 1371788 h 4687251"/>
              <a:gd name="connsiteX19592" fmla="*/ 3912460 w 8079933"/>
              <a:gd name="connsiteY19592" fmla="*/ 1373845 h 4687251"/>
              <a:gd name="connsiteX19593" fmla="*/ 3913002 w 8079933"/>
              <a:gd name="connsiteY19593" fmla="*/ 1376444 h 4687251"/>
              <a:gd name="connsiteX19594" fmla="*/ 3910833 w 8079933"/>
              <a:gd name="connsiteY19594" fmla="*/ 1378718 h 4687251"/>
              <a:gd name="connsiteX19595" fmla="*/ 3911917 w 8079933"/>
              <a:gd name="connsiteY19595" fmla="*/ 1382508 h 4687251"/>
              <a:gd name="connsiteX19596" fmla="*/ 3909313 w 8079933"/>
              <a:gd name="connsiteY19596" fmla="*/ 1381641 h 4687251"/>
              <a:gd name="connsiteX19597" fmla="*/ 3907468 w 8079933"/>
              <a:gd name="connsiteY19597" fmla="*/ 1377851 h 4687251"/>
              <a:gd name="connsiteX19598" fmla="*/ 3901717 w 8079933"/>
              <a:gd name="connsiteY19598" fmla="*/ 1377635 h 4687251"/>
              <a:gd name="connsiteX19599" fmla="*/ 3899872 w 8079933"/>
              <a:gd name="connsiteY19599" fmla="*/ 1375253 h 4687251"/>
              <a:gd name="connsiteX19600" fmla="*/ 3902802 w 8079933"/>
              <a:gd name="connsiteY19600" fmla="*/ 1374062 h 4687251"/>
              <a:gd name="connsiteX19601" fmla="*/ 3907685 w 8079933"/>
              <a:gd name="connsiteY19601" fmla="*/ 1374495 h 4687251"/>
              <a:gd name="connsiteX19602" fmla="*/ 3908228 w 8079933"/>
              <a:gd name="connsiteY19602" fmla="*/ 1372329 h 4687251"/>
              <a:gd name="connsiteX19603" fmla="*/ 3907143 w 8079933"/>
              <a:gd name="connsiteY19603" fmla="*/ 1370597 h 4687251"/>
              <a:gd name="connsiteX19604" fmla="*/ 4028788 w 8079933"/>
              <a:gd name="connsiteY19604" fmla="*/ 1367891 h 4687251"/>
              <a:gd name="connsiteX19605" fmla="*/ 4032260 w 8079933"/>
              <a:gd name="connsiteY19605" fmla="*/ 1367999 h 4687251"/>
              <a:gd name="connsiteX19606" fmla="*/ 4030524 w 8079933"/>
              <a:gd name="connsiteY19606" fmla="*/ 1370057 h 4687251"/>
              <a:gd name="connsiteX19607" fmla="*/ 4390691 w 8079933"/>
              <a:gd name="connsiteY19607" fmla="*/ 1367566 h 4687251"/>
              <a:gd name="connsiteX19608" fmla="*/ 4390148 w 8079933"/>
              <a:gd name="connsiteY19608" fmla="*/ 1370273 h 4687251"/>
              <a:gd name="connsiteX19609" fmla="*/ 4385916 w 8079933"/>
              <a:gd name="connsiteY19609" fmla="*/ 1373738 h 4687251"/>
              <a:gd name="connsiteX19610" fmla="*/ 4382552 w 8079933"/>
              <a:gd name="connsiteY19610" fmla="*/ 1371897 h 4687251"/>
              <a:gd name="connsiteX19611" fmla="*/ 4383420 w 8079933"/>
              <a:gd name="connsiteY19611" fmla="*/ 1368974 h 4687251"/>
              <a:gd name="connsiteX19612" fmla="*/ 1122496 w 8079933"/>
              <a:gd name="connsiteY19612" fmla="*/ 1366266 h 4687251"/>
              <a:gd name="connsiteX19613" fmla="*/ 1122604 w 8079933"/>
              <a:gd name="connsiteY19613" fmla="*/ 1370813 h 4687251"/>
              <a:gd name="connsiteX19614" fmla="*/ 1119674 w 8079933"/>
              <a:gd name="connsiteY19614" fmla="*/ 1373412 h 4687251"/>
              <a:gd name="connsiteX19615" fmla="*/ 1118915 w 8079933"/>
              <a:gd name="connsiteY19615" fmla="*/ 1368540 h 4687251"/>
              <a:gd name="connsiteX19616" fmla="*/ 3906925 w 8079933"/>
              <a:gd name="connsiteY19616" fmla="*/ 1364967 h 4687251"/>
              <a:gd name="connsiteX19617" fmla="*/ 3906491 w 8079933"/>
              <a:gd name="connsiteY19617" fmla="*/ 1370598 h 4687251"/>
              <a:gd name="connsiteX19618" fmla="*/ 3902910 w 8079933"/>
              <a:gd name="connsiteY19618" fmla="*/ 1368649 h 4687251"/>
              <a:gd name="connsiteX19619" fmla="*/ 3903778 w 8079933"/>
              <a:gd name="connsiteY19619" fmla="*/ 1365725 h 4687251"/>
              <a:gd name="connsiteX19620" fmla="*/ 4514726 w 8079933"/>
              <a:gd name="connsiteY19620" fmla="*/ 1364642 h 4687251"/>
              <a:gd name="connsiteX19621" fmla="*/ 4519284 w 8079933"/>
              <a:gd name="connsiteY19621" fmla="*/ 1368973 h 4687251"/>
              <a:gd name="connsiteX19622" fmla="*/ 4517765 w 8079933"/>
              <a:gd name="connsiteY19622" fmla="*/ 1371355 h 4687251"/>
              <a:gd name="connsiteX19623" fmla="*/ 4512990 w 8079933"/>
              <a:gd name="connsiteY19623" fmla="*/ 1368865 h 4687251"/>
              <a:gd name="connsiteX19624" fmla="*/ 4514726 w 8079933"/>
              <a:gd name="connsiteY19624" fmla="*/ 1364642 h 4687251"/>
              <a:gd name="connsiteX19625" fmla="*/ 4336867 w 8079933"/>
              <a:gd name="connsiteY19625" fmla="*/ 1363559 h 4687251"/>
              <a:gd name="connsiteX19626" fmla="*/ 4343921 w 8079933"/>
              <a:gd name="connsiteY19626" fmla="*/ 1368323 h 4687251"/>
              <a:gd name="connsiteX19627" fmla="*/ 4344572 w 8079933"/>
              <a:gd name="connsiteY19627" fmla="*/ 1372004 h 4687251"/>
              <a:gd name="connsiteX19628" fmla="*/ 4341208 w 8079933"/>
              <a:gd name="connsiteY19628" fmla="*/ 1371463 h 4687251"/>
              <a:gd name="connsiteX19629" fmla="*/ 4339580 w 8079933"/>
              <a:gd name="connsiteY19629" fmla="*/ 1373195 h 4687251"/>
              <a:gd name="connsiteX19630" fmla="*/ 4342076 w 8079933"/>
              <a:gd name="connsiteY19630" fmla="*/ 1377309 h 4687251"/>
              <a:gd name="connsiteX19631" fmla="*/ 4345657 w 8079933"/>
              <a:gd name="connsiteY19631" fmla="*/ 1376985 h 4687251"/>
              <a:gd name="connsiteX19632" fmla="*/ 4346742 w 8079933"/>
              <a:gd name="connsiteY19632" fmla="*/ 1381099 h 4687251"/>
              <a:gd name="connsiteX19633" fmla="*/ 4343379 w 8079933"/>
              <a:gd name="connsiteY19633" fmla="*/ 1382940 h 4687251"/>
              <a:gd name="connsiteX19634" fmla="*/ 4339472 w 8079933"/>
              <a:gd name="connsiteY19634" fmla="*/ 1379150 h 4687251"/>
              <a:gd name="connsiteX19635" fmla="*/ 4334806 w 8079933"/>
              <a:gd name="connsiteY19635" fmla="*/ 1377634 h 4687251"/>
              <a:gd name="connsiteX19636" fmla="*/ 4332093 w 8079933"/>
              <a:gd name="connsiteY19636" fmla="*/ 1374494 h 4687251"/>
              <a:gd name="connsiteX19637" fmla="*/ 4329163 w 8079933"/>
              <a:gd name="connsiteY19637" fmla="*/ 1372329 h 4687251"/>
              <a:gd name="connsiteX19638" fmla="*/ 4331008 w 8079933"/>
              <a:gd name="connsiteY19638" fmla="*/ 1369947 h 4687251"/>
              <a:gd name="connsiteX19639" fmla="*/ 4336542 w 8079933"/>
              <a:gd name="connsiteY19639" fmla="*/ 1371896 h 4687251"/>
              <a:gd name="connsiteX19640" fmla="*/ 4337844 w 8079933"/>
              <a:gd name="connsiteY19640" fmla="*/ 1369730 h 4687251"/>
              <a:gd name="connsiteX19641" fmla="*/ 4334263 w 8079933"/>
              <a:gd name="connsiteY19641" fmla="*/ 1367348 h 4687251"/>
              <a:gd name="connsiteX19642" fmla="*/ 4334371 w 8079933"/>
              <a:gd name="connsiteY19642" fmla="*/ 1363775 h 4687251"/>
              <a:gd name="connsiteX19643" fmla="*/ 4362695 w 8079933"/>
              <a:gd name="connsiteY19643" fmla="*/ 1363127 h 4687251"/>
              <a:gd name="connsiteX19644" fmla="*/ 4367252 w 8079933"/>
              <a:gd name="connsiteY19644" fmla="*/ 1363776 h 4687251"/>
              <a:gd name="connsiteX19645" fmla="*/ 4364540 w 8079933"/>
              <a:gd name="connsiteY19645" fmla="*/ 1364859 h 4687251"/>
              <a:gd name="connsiteX19646" fmla="*/ 3038032 w 8079933"/>
              <a:gd name="connsiteY19646" fmla="*/ 1361503 h 4687251"/>
              <a:gd name="connsiteX19647" fmla="*/ 3039551 w 8079933"/>
              <a:gd name="connsiteY19647" fmla="*/ 1362802 h 4687251"/>
              <a:gd name="connsiteX19648" fmla="*/ 3038032 w 8079933"/>
              <a:gd name="connsiteY19648" fmla="*/ 1365292 h 4687251"/>
              <a:gd name="connsiteX19649" fmla="*/ 3035102 w 8079933"/>
              <a:gd name="connsiteY19649" fmla="*/ 1365508 h 4687251"/>
              <a:gd name="connsiteX19650" fmla="*/ 3033149 w 8079933"/>
              <a:gd name="connsiteY19650" fmla="*/ 1366700 h 4687251"/>
              <a:gd name="connsiteX19651" fmla="*/ 3031304 w 8079933"/>
              <a:gd name="connsiteY19651" fmla="*/ 1365833 h 4687251"/>
              <a:gd name="connsiteX19652" fmla="*/ 3034559 w 8079933"/>
              <a:gd name="connsiteY19652" fmla="*/ 1361828 h 4687251"/>
              <a:gd name="connsiteX19653" fmla="*/ 4373546 w 8079933"/>
              <a:gd name="connsiteY19653" fmla="*/ 1361070 h 4687251"/>
              <a:gd name="connsiteX19654" fmla="*/ 4378429 w 8079933"/>
              <a:gd name="connsiteY19654" fmla="*/ 1365293 h 4687251"/>
              <a:gd name="connsiteX19655" fmla="*/ 4375499 w 8079933"/>
              <a:gd name="connsiteY19655" fmla="*/ 1367242 h 4687251"/>
              <a:gd name="connsiteX19656" fmla="*/ 4373546 w 8079933"/>
              <a:gd name="connsiteY19656" fmla="*/ 1364968 h 4687251"/>
              <a:gd name="connsiteX19657" fmla="*/ 3911374 w 8079933"/>
              <a:gd name="connsiteY19657" fmla="*/ 1359121 h 4687251"/>
              <a:gd name="connsiteX19658" fmla="*/ 3913111 w 8079933"/>
              <a:gd name="connsiteY19658" fmla="*/ 1360420 h 4687251"/>
              <a:gd name="connsiteX19659" fmla="*/ 3913219 w 8079933"/>
              <a:gd name="connsiteY19659" fmla="*/ 1365725 h 4687251"/>
              <a:gd name="connsiteX19660" fmla="*/ 3911700 w 8079933"/>
              <a:gd name="connsiteY19660" fmla="*/ 1367457 h 4687251"/>
              <a:gd name="connsiteX19661" fmla="*/ 3909204 w 8079933"/>
              <a:gd name="connsiteY19661" fmla="*/ 1364859 h 4687251"/>
              <a:gd name="connsiteX19662" fmla="*/ 3911049 w 8079933"/>
              <a:gd name="connsiteY19662" fmla="*/ 1362152 h 4687251"/>
              <a:gd name="connsiteX19663" fmla="*/ 4030524 w 8079933"/>
              <a:gd name="connsiteY19663" fmla="*/ 1358904 h 4687251"/>
              <a:gd name="connsiteX19664" fmla="*/ 4030524 w 8079933"/>
              <a:gd name="connsiteY19664" fmla="*/ 1364209 h 4687251"/>
              <a:gd name="connsiteX19665" fmla="*/ 4026943 w 8079933"/>
              <a:gd name="connsiteY19665" fmla="*/ 1361827 h 4687251"/>
              <a:gd name="connsiteX19666" fmla="*/ 3918101 w 8079933"/>
              <a:gd name="connsiteY19666" fmla="*/ 1354248 h 4687251"/>
              <a:gd name="connsiteX19667" fmla="*/ 3916365 w 8079933"/>
              <a:gd name="connsiteY19667" fmla="*/ 1359662 h 4687251"/>
              <a:gd name="connsiteX19668" fmla="*/ 3915063 w 8079933"/>
              <a:gd name="connsiteY19668" fmla="*/ 1357388 h 4687251"/>
              <a:gd name="connsiteX19669" fmla="*/ 4028030 w 8079933"/>
              <a:gd name="connsiteY19669" fmla="*/ 1350675 h 4687251"/>
              <a:gd name="connsiteX19670" fmla="*/ 4028789 w 8079933"/>
              <a:gd name="connsiteY19670" fmla="*/ 1352948 h 4687251"/>
              <a:gd name="connsiteX19671" fmla="*/ 4026402 w 8079933"/>
              <a:gd name="connsiteY19671" fmla="*/ 1355330 h 4687251"/>
              <a:gd name="connsiteX19672" fmla="*/ 4024014 w 8079933"/>
              <a:gd name="connsiteY19672" fmla="*/ 1353706 h 4687251"/>
              <a:gd name="connsiteX19673" fmla="*/ 3035102 w 8079933"/>
              <a:gd name="connsiteY19673" fmla="*/ 1350675 h 4687251"/>
              <a:gd name="connsiteX19674" fmla="*/ 3038465 w 8079933"/>
              <a:gd name="connsiteY19674" fmla="*/ 1351108 h 4687251"/>
              <a:gd name="connsiteX19675" fmla="*/ 3046170 w 8079933"/>
              <a:gd name="connsiteY19675" fmla="*/ 1355438 h 4687251"/>
              <a:gd name="connsiteX19676" fmla="*/ 3042698 w 8079933"/>
              <a:gd name="connsiteY19676" fmla="*/ 1357171 h 4687251"/>
              <a:gd name="connsiteX19677" fmla="*/ 3039985 w 8079933"/>
              <a:gd name="connsiteY19677" fmla="*/ 1357171 h 4687251"/>
              <a:gd name="connsiteX19678" fmla="*/ 3035102 w 8079933"/>
              <a:gd name="connsiteY19678" fmla="*/ 1352083 h 4687251"/>
              <a:gd name="connsiteX19679" fmla="*/ 1118155 w 8079933"/>
              <a:gd name="connsiteY19679" fmla="*/ 1350134 h 4687251"/>
              <a:gd name="connsiteX19680" fmla="*/ 1121628 w 8079933"/>
              <a:gd name="connsiteY19680" fmla="*/ 1352407 h 4687251"/>
              <a:gd name="connsiteX19681" fmla="*/ 1118372 w 8079933"/>
              <a:gd name="connsiteY19681" fmla="*/ 1356197 h 4687251"/>
              <a:gd name="connsiteX19682" fmla="*/ 1114249 w 8079933"/>
              <a:gd name="connsiteY19682" fmla="*/ 1353057 h 4687251"/>
              <a:gd name="connsiteX19683" fmla="*/ 2500765 w 8079933"/>
              <a:gd name="connsiteY19683" fmla="*/ 1345695 h 4687251"/>
              <a:gd name="connsiteX19684" fmla="*/ 2500873 w 8079933"/>
              <a:gd name="connsiteY19684" fmla="*/ 1348077 h 4687251"/>
              <a:gd name="connsiteX19685" fmla="*/ 2499680 w 8079933"/>
              <a:gd name="connsiteY19685" fmla="*/ 1348185 h 4687251"/>
              <a:gd name="connsiteX19686" fmla="*/ 2503479 w 8079933"/>
              <a:gd name="connsiteY19686" fmla="*/ 1345045 h 4687251"/>
              <a:gd name="connsiteX19687" fmla="*/ 2504998 w 8079933"/>
              <a:gd name="connsiteY19687" fmla="*/ 1348943 h 4687251"/>
              <a:gd name="connsiteX19688" fmla="*/ 2504455 w 8079933"/>
              <a:gd name="connsiteY19688" fmla="*/ 1353057 h 4687251"/>
              <a:gd name="connsiteX19689" fmla="*/ 2502936 w 8079933"/>
              <a:gd name="connsiteY19689" fmla="*/ 1353490 h 4687251"/>
              <a:gd name="connsiteX19690" fmla="*/ 2503154 w 8079933"/>
              <a:gd name="connsiteY19690" fmla="*/ 1351541 h 4687251"/>
              <a:gd name="connsiteX19691" fmla="*/ 2502177 w 8079933"/>
              <a:gd name="connsiteY19691" fmla="*/ 1347535 h 4687251"/>
              <a:gd name="connsiteX19692" fmla="*/ 2498270 w 8079933"/>
              <a:gd name="connsiteY19692" fmla="*/ 1345045 h 4687251"/>
              <a:gd name="connsiteX19693" fmla="*/ 2498921 w 8079933"/>
              <a:gd name="connsiteY19693" fmla="*/ 1346128 h 4687251"/>
              <a:gd name="connsiteX19694" fmla="*/ 2497619 w 8079933"/>
              <a:gd name="connsiteY19694" fmla="*/ 1347318 h 4687251"/>
              <a:gd name="connsiteX19695" fmla="*/ 1079089 w 8079933"/>
              <a:gd name="connsiteY19695" fmla="*/ 1343097 h 4687251"/>
              <a:gd name="connsiteX19696" fmla="*/ 1082237 w 8079933"/>
              <a:gd name="connsiteY19696" fmla="*/ 1345046 h 4687251"/>
              <a:gd name="connsiteX19697" fmla="*/ 1081585 w 8079933"/>
              <a:gd name="connsiteY19697" fmla="*/ 1347752 h 4687251"/>
              <a:gd name="connsiteX19698" fmla="*/ 1084949 w 8079933"/>
              <a:gd name="connsiteY19698" fmla="*/ 1353383 h 4687251"/>
              <a:gd name="connsiteX19699" fmla="*/ 1081260 w 8079933"/>
              <a:gd name="connsiteY19699" fmla="*/ 1359230 h 4687251"/>
              <a:gd name="connsiteX19700" fmla="*/ 1079524 w 8079933"/>
              <a:gd name="connsiteY19700" fmla="*/ 1357281 h 4687251"/>
              <a:gd name="connsiteX19701" fmla="*/ 1079415 w 8079933"/>
              <a:gd name="connsiteY19701" fmla="*/ 1352842 h 4687251"/>
              <a:gd name="connsiteX19702" fmla="*/ 1075834 w 8079933"/>
              <a:gd name="connsiteY19702" fmla="*/ 1346995 h 4687251"/>
              <a:gd name="connsiteX19703" fmla="*/ 1077136 w 8079933"/>
              <a:gd name="connsiteY19703" fmla="*/ 1343746 h 4687251"/>
              <a:gd name="connsiteX19704" fmla="*/ 3008189 w 8079933"/>
              <a:gd name="connsiteY19704" fmla="*/ 1342663 h 4687251"/>
              <a:gd name="connsiteX19705" fmla="*/ 3010359 w 8079933"/>
              <a:gd name="connsiteY19705" fmla="*/ 1342771 h 4687251"/>
              <a:gd name="connsiteX19706" fmla="*/ 3010467 w 8079933"/>
              <a:gd name="connsiteY19706" fmla="*/ 1345803 h 4687251"/>
              <a:gd name="connsiteX19707" fmla="*/ 3008080 w 8079933"/>
              <a:gd name="connsiteY19707" fmla="*/ 1349159 h 4687251"/>
              <a:gd name="connsiteX19708" fmla="*/ 3007971 w 8079933"/>
              <a:gd name="connsiteY19708" fmla="*/ 1350892 h 4687251"/>
              <a:gd name="connsiteX19709" fmla="*/ 3006018 w 8079933"/>
              <a:gd name="connsiteY19709" fmla="*/ 1350892 h 4687251"/>
              <a:gd name="connsiteX19710" fmla="*/ 3005368 w 8079933"/>
              <a:gd name="connsiteY19710" fmla="*/ 1346453 h 4687251"/>
              <a:gd name="connsiteX19711" fmla="*/ 3007321 w 8079933"/>
              <a:gd name="connsiteY19711" fmla="*/ 1344612 h 4687251"/>
              <a:gd name="connsiteX19712" fmla="*/ 6911425 w 8079933"/>
              <a:gd name="connsiteY19712" fmla="*/ 1342555 h 4687251"/>
              <a:gd name="connsiteX19713" fmla="*/ 6913921 w 8079933"/>
              <a:gd name="connsiteY19713" fmla="*/ 1344720 h 4687251"/>
              <a:gd name="connsiteX19714" fmla="*/ 6912944 w 8079933"/>
              <a:gd name="connsiteY19714" fmla="*/ 1347644 h 4687251"/>
              <a:gd name="connsiteX19715" fmla="*/ 6910123 w 8079933"/>
              <a:gd name="connsiteY19715" fmla="*/ 1349702 h 4687251"/>
              <a:gd name="connsiteX19716" fmla="*/ 6909255 w 8079933"/>
              <a:gd name="connsiteY19716" fmla="*/ 1348510 h 4687251"/>
              <a:gd name="connsiteX19717" fmla="*/ 6911100 w 8079933"/>
              <a:gd name="connsiteY19717" fmla="*/ 1345478 h 4687251"/>
              <a:gd name="connsiteX19718" fmla="*/ 6910666 w 8079933"/>
              <a:gd name="connsiteY19718" fmla="*/ 1343746 h 4687251"/>
              <a:gd name="connsiteX19719" fmla="*/ 6905565 w 8079933"/>
              <a:gd name="connsiteY19719" fmla="*/ 1341797 h 4687251"/>
              <a:gd name="connsiteX19720" fmla="*/ 6906867 w 8079933"/>
              <a:gd name="connsiteY19720" fmla="*/ 1342988 h 4687251"/>
              <a:gd name="connsiteX19721" fmla="*/ 6907084 w 8079933"/>
              <a:gd name="connsiteY19721" fmla="*/ 1346452 h 4687251"/>
              <a:gd name="connsiteX19722" fmla="*/ 6905999 w 8079933"/>
              <a:gd name="connsiteY19722" fmla="*/ 1348834 h 4687251"/>
              <a:gd name="connsiteX19723" fmla="*/ 6904154 w 8079933"/>
              <a:gd name="connsiteY19723" fmla="*/ 1345695 h 4687251"/>
              <a:gd name="connsiteX19724" fmla="*/ 6904263 w 8079933"/>
              <a:gd name="connsiteY19724" fmla="*/ 1342988 h 4687251"/>
              <a:gd name="connsiteX19725" fmla="*/ 1087553 w 8079933"/>
              <a:gd name="connsiteY19725" fmla="*/ 1339198 h 4687251"/>
              <a:gd name="connsiteX19726" fmla="*/ 1089289 w 8079933"/>
              <a:gd name="connsiteY19726" fmla="*/ 1341904 h 4687251"/>
              <a:gd name="connsiteX19727" fmla="*/ 1088204 w 8079933"/>
              <a:gd name="connsiteY19727" fmla="*/ 1344612 h 4687251"/>
              <a:gd name="connsiteX19728" fmla="*/ 1086468 w 8079933"/>
              <a:gd name="connsiteY19728" fmla="*/ 1342446 h 4687251"/>
              <a:gd name="connsiteX19729" fmla="*/ 1119891 w 8079933"/>
              <a:gd name="connsiteY19729" fmla="*/ 1338440 h 4687251"/>
              <a:gd name="connsiteX19730" fmla="*/ 1122279 w 8079933"/>
              <a:gd name="connsiteY19730" fmla="*/ 1343962 h 4687251"/>
              <a:gd name="connsiteX19731" fmla="*/ 1117830 w 8079933"/>
              <a:gd name="connsiteY19731" fmla="*/ 1348293 h 4687251"/>
              <a:gd name="connsiteX19732" fmla="*/ 1114357 w 8079933"/>
              <a:gd name="connsiteY19732" fmla="*/ 1345803 h 4687251"/>
              <a:gd name="connsiteX19733" fmla="*/ 1116962 w 8079933"/>
              <a:gd name="connsiteY19733" fmla="*/ 1343420 h 4687251"/>
              <a:gd name="connsiteX19734" fmla="*/ 1115876 w 8079933"/>
              <a:gd name="connsiteY19734" fmla="*/ 1340172 h 4687251"/>
              <a:gd name="connsiteX19735" fmla="*/ 1079848 w 8079933"/>
              <a:gd name="connsiteY19735" fmla="*/ 1336167 h 4687251"/>
              <a:gd name="connsiteX19736" fmla="*/ 1082018 w 8079933"/>
              <a:gd name="connsiteY19736" fmla="*/ 1336708 h 4687251"/>
              <a:gd name="connsiteX19737" fmla="*/ 1083429 w 8079933"/>
              <a:gd name="connsiteY19737" fmla="*/ 1340064 h 4687251"/>
              <a:gd name="connsiteX19738" fmla="*/ 1079631 w 8079933"/>
              <a:gd name="connsiteY19738" fmla="*/ 1341689 h 4687251"/>
              <a:gd name="connsiteX19739" fmla="*/ 1077895 w 8079933"/>
              <a:gd name="connsiteY19739" fmla="*/ 1337357 h 4687251"/>
              <a:gd name="connsiteX19740" fmla="*/ 1114901 w 8079933"/>
              <a:gd name="connsiteY19740" fmla="*/ 1329563 h 4687251"/>
              <a:gd name="connsiteX19741" fmla="*/ 1118481 w 8079933"/>
              <a:gd name="connsiteY19741" fmla="*/ 1334651 h 4687251"/>
              <a:gd name="connsiteX19742" fmla="*/ 1114358 w 8079933"/>
              <a:gd name="connsiteY19742" fmla="*/ 1338441 h 4687251"/>
              <a:gd name="connsiteX19743" fmla="*/ 1114901 w 8079933"/>
              <a:gd name="connsiteY19743" fmla="*/ 1334327 h 4687251"/>
              <a:gd name="connsiteX19744" fmla="*/ 1112839 w 8079933"/>
              <a:gd name="connsiteY19744" fmla="*/ 1331945 h 4687251"/>
              <a:gd name="connsiteX19745" fmla="*/ 4190152 w 8079933"/>
              <a:gd name="connsiteY19745" fmla="*/ 1329237 h 4687251"/>
              <a:gd name="connsiteX19746" fmla="*/ 4187874 w 8079933"/>
              <a:gd name="connsiteY19746" fmla="*/ 1334542 h 4687251"/>
              <a:gd name="connsiteX19747" fmla="*/ 4187765 w 8079933"/>
              <a:gd name="connsiteY19747" fmla="*/ 1342337 h 4687251"/>
              <a:gd name="connsiteX19748" fmla="*/ 4176914 w 8079933"/>
              <a:gd name="connsiteY19748" fmla="*/ 1345910 h 4687251"/>
              <a:gd name="connsiteX19749" fmla="*/ 4176588 w 8079933"/>
              <a:gd name="connsiteY19749" fmla="*/ 1349916 h 4687251"/>
              <a:gd name="connsiteX19750" fmla="*/ 4176588 w 8079933"/>
              <a:gd name="connsiteY19750" fmla="*/ 1349917 h 4687251"/>
              <a:gd name="connsiteX19751" fmla="*/ 4176914 w 8079933"/>
              <a:gd name="connsiteY19751" fmla="*/ 1345911 h 4687251"/>
              <a:gd name="connsiteX19752" fmla="*/ 4187765 w 8079933"/>
              <a:gd name="connsiteY19752" fmla="*/ 1342339 h 4687251"/>
              <a:gd name="connsiteX19753" fmla="*/ 4187874 w 8079933"/>
              <a:gd name="connsiteY19753" fmla="*/ 1334543 h 4687251"/>
              <a:gd name="connsiteX19754" fmla="*/ 4190153 w 8079933"/>
              <a:gd name="connsiteY19754" fmla="*/ 1329238 h 4687251"/>
              <a:gd name="connsiteX19755" fmla="*/ 7018315 w 8079933"/>
              <a:gd name="connsiteY19755" fmla="*/ 1328913 h 4687251"/>
              <a:gd name="connsiteX19756" fmla="*/ 7019942 w 8079933"/>
              <a:gd name="connsiteY19756" fmla="*/ 1330970 h 4687251"/>
              <a:gd name="connsiteX19757" fmla="*/ 7023306 w 8079933"/>
              <a:gd name="connsiteY19757" fmla="*/ 1337683 h 4687251"/>
              <a:gd name="connsiteX19758" fmla="*/ 7030468 w 8079933"/>
              <a:gd name="connsiteY19758" fmla="*/ 1340498 h 4687251"/>
              <a:gd name="connsiteX19759" fmla="*/ 7033290 w 8079933"/>
              <a:gd name="connsiteY19759" fmla="*/ 1343529 h 4687251"/>
              <a:gd name="connsiteX19760" fmla="*/ 7032964 w 8079933"/>
              <a:gd name="connsiteY19760" fmla="*/ 1351433 h 4687251"/>
              <a:gd name="connsiteX19761" fmla="*/ 7036220 w 8079933"/>
              <a:gd name="connsiteY19761" fmla="*/ 1356739 h 4687251"/>
              <a:gd name="connsiteX19762" fmla="*/ 7045877 w 8079933"/>
              <a:gd name="connsiteY19762" fmla="*/ 1364534 h 4687251"/>
              <a:gd name="connsiteX19763" fmla="*/ 7047180 w 8079933"/>
              <a:gd name="connsiteY19763" fmla="*/ 1368648 h 4687251"/>
              <a:gd name="connsiteX19764" fmla="*/ 7049242 w 8079933"/>
              <a:gd name="connsiteY19764" fmla="*/ 1368648 h 4687251"/>
              <a:gd name="connsiteX19765" fmla="*/ 7054776 w 8079933"/>
              <a:gd name="connsiteY19765" fmla="*/ 1374494 h 4687251"/>
              <a:gd name="connsiteX19766" fmla="*/ 7060310 w 8079933"/>
              <a:gd name="connsiteY19766" fmla="*/ 1382723 h 4687251"/>
              <a:gd name="connsiteX19767" fmla="*/ 7062372 w 8079933"/>
              <a:gd name="connsiteY19767" fmla="*/ 1388787 h 4687251"/>
              <a:gd name="connsiteX19768" fmla="*/ 7057923 w 8079933"/>
              <a:gd name="connsiteY19768" fmla="*/ 1382182 h 4687251"/>
              <a:gd name="connsiteX19769" fmla="*/ 7053473 w 8079933"/>
              <a:gd name="connsiteY19769" fmla="*/ 1377743 h 4687251"/>
              <a:gd name="connsiteX19770" fmla="*/ 7051303 w 8079933"/>
              <a:gd name="connsiteY19770" fmla="*/ 1378284 h 4687251"/>
              <a:gd name="connsiteX19771" fmla="*/ 7051303 w 8079933"/>
              <a:gd name="connsiteY19771" fmla="*/ 1380666 h 4687251"/>
              <a:gd name="connsiteX19772" fmla="*/ 7053908 w 8079933"/>
              <a:gd name="connsiteY19772" fmla="*/ 1383265 h 4687251"/>
              <a:gd name="connsiteX19773" fmla="*/ 7054450 w 8079933"/>
              <a:gd name="connsiteY19773" fmla="*/ 1386296 h 4687251"/>
              <a:gd name="connsiteX19774" fmla="*/ 7059442 w 8079933"/>
              <a:gd name="connsiteY19774" fmla="*/ 1391818 h 4687251"/>
              <a:gd name="connsiteX19775" fmla="*/ 7064326 w 8079933"/>
              <a:gd name="connsiteY19775" fmla="*/ 1393875 h 4687251"/>
              <a:gd name="connsiteX19776" fmla="*/ 7065519 w 8079933"/>
              <a:gd name="connsiteY19776" fmla="*/ 1399289 h 4687251"/>
              <a:gd name="connsiteX19777" fmla="*/ 7066496 w 8079933"/>
              <a:gd name="connsiteY19777" fmla="*/ 1406976 h 4687251"/>
              <a:gd name="connsiteX19778" fmla="*/ 7067689 w 8079933"/>
              <a:gd name="connsiteY19778" fmla="*/ 1413905 h 4687251"/>
              <a:gd name="connsiteX19779" fmla="*/ 7066713 w 8079933"/>
              <a:gd name="connsiteY19779" fmla="*/ 1412931 h 4687251"/>
              <a:gd name="connsiteX19780" fmla="*/ 7065519 w 8079933"/>
              <a:gd name="connsiteY19780" fmla="*/ 1416828 h 4687251"/>
              <a:gd name="connsiteX19781" fmla="*/ 7066170 w 8079933"/>
              <a:gd name="connsiteY19781" fmla="*/ 1421917 h 4687251"/>
              <a:gd name="connsiteX19782" fmla="*/ 7068557 w 8079933"/>
              <a:gd name="connsiteY19782" fmla="*/ 1425599 h 4687251"/>
              <a:gd name="connsiteX19783" fmla="*/ 7070945 w 8079933"/>
              <a:gd name="connsiteY19783" fmla="*/ 1432095 h 4687251"/>
              <a:gd name="connsiteX19784" fmla="*/ 7075285 w 8079933"/>
              <a:gd name="connsiteY19784" fmla="*/ 1437291 h 4687251"/>
              <a:gd name="connsiteX19785" fmla="*/ 7079734 w 8079933"/>
              <a:gd name="connsiteY19785" fmla="*/ 1439999 h 4687251"/>
              <a:gd name="connsiteX19786" fmla="*/ 7081146 w 8079933"/>
              <a:gd name="connsiteY19786" fmla="*/ 1443463 h 4687251"/>
              <a:gd name="connsiteX19787" fmla="*/ 7080169 w 8079933"/>
              <a:gd name="connsiteY19787" fmla="*/ 1447361 h 4687251"/>
              <a:gd name="connsiteX19788" fmla="*/ 7081146 w 8079933"/>
              <a:gd name="connsiteY19788" fmla="*/ 1449309 h 4687251"/>
              <a:gd name="connsiteX19789" fmla="*/ 7084076 w 8079933"/>
              <a:gd name="connsiteY19789" fmla="*/ 1449634 h 4687251"/>
              <a:gd name="connsiteX19790" fmla="*/ 7084293 w 8079933"/>
              <a:gd name="connsiteY19790" fmla="*/ 1447577 h 4687251"/>
              <a:gd name="connsiteX19791" fmla="*/ 7087331 w 8079933"/>
              <a:gd name="connsiteY19791" fmla="*/ 1448768 h 4687251"/>
              <a:gd name="connsiteX19792" fmla="*/ 7090152 w 8079933"/>
              <a:gd name="connsiteY19792" fmla="*/ 1453207 h 4687251"/>
              <a:gd name="connsiteX19793" fmla="*/ 7090152 w 8079933"/>
              <a:gd name="connsiteY19793" fmla="*/ 1458187 h 4687251"/>
              <a:gd name="connsiteX19794" fmla="*/ 7093516 w 8079933"/>
              <a:gd name="connsiteY19794" fmla="*/ 1460570 h 4687251"/>
              <a:gd name="connsiteX19795" fmla="*/ 7097857 w 8079933"/>
              <a:gd name="connsiteY19795" fmla="*/ 1468907 h 4687251"/>
              <a:gd name="connsiteX19796" fmla="*/ 7106321 w 8079933"/>
              <a:gd name="connsiteY19796" fmla="*/ 1480058 h 4687251"/>
              <a:gd name="connsiteX19797" fmla="*/ 7107841 w 8079933"/>
              <a:gd name="connsiteY19797" fmla="*/ 1485905 h 4687251"/>
              <a:gd name="connsiteX19798" fmla="*/ 7114460 w 8079933"/>
              <a:gd name="connsiteY19798" fmla="*/ 1497598 h 4687251"/>
              <a:gd name="connsiteX19799" fmla="*/ 7121514 w 8079933"/>
              <a:gd name="connsiteY19799" fmla="*/ 1506043 h 4687251"/>
              <a:gd name="connsiteX19800" fmla="*/ 7122165 w 8079933"/>
              <a:gd name="connsiteY19800" fmla="*/ 1510699 h 4687251"/>
              <a:gd name="connsiteX19801" fmla="*/ 7125420 w 8079933"/>
              <a:gd name="connsiteY19801" fmla="*/ 1512323 h 4687251"/>
              <a:gd name="connsiteX19802" fmla="*/ 7127482 w 8079933"/>
              <a:gd name="connsiteY19802" fmla="*/ 1517845 h 4687251"/>
              <a:gd name="connsiteX19803" fmla="*/ 7132040 w 8079933"/>
              <a:gd name="connsiteY19803" fmla="*/ 1526290 h 4687251"/>
              <a:gd name="connsiteX19804" fmla="*/ 7134753 w 8079933"/>
              <a:gd name="connsiteY19804" fmla="*/ 1528672 h 4687251"/>
              <a:gd name="connsiteX19805" fmla="*/ 7134753 w 8079933"/>
              <a:gd name="connsiteY19805" fmla="*/ 1531812 h 4687251"/>
              <a:gd name="connsiteX19806" fmla="*/ 7138876 w 8079933"/>
              <a:gd name="connsiteY19806" fmla="*/ 1537659 h 4687251"/>
              <a:gd name="connsiteX19807" fmla="*/ 7142675 w 8079933"/>
              <a:gd name="connsiteY19807" fmla="*/ 1544155 h 4687251"/>
              <a:gd name="connsiteX19808" fmla="*/ 7149620 w 8079933"/>
              <a:gd name="connsiteY19808" fmla="*/ 1549135 h 4687251"/>
              <a:gd name="connsiteX19809" fmla="*/ 7154394 w 8079933"/>
              <a:gd name="connsiteY19809" fmla="*/ 1555198 h 4687251"/>
              <a:gd name="connsiteX19810" fmla="*/ 7156673 w 8079933"/>
              <a:gd name="connsiteY19810" fmla="*/ 1561369 h 4687251"/>
              <a:gd name="connsiteX19811" fmla="*/ 7154069 w 8079933"/>
              <a:gd name="connsiteY19811" fmla="*/ 1560179 h 4687251"/>
              <a:gd name="connsiteX19812" fmla="*/ 7149728 w 8079933"/>
              <a:gd name="connsiteY19812" fmla="*/ 1553357 h 4687251"/>
              <a:gd name="connsiteX19813" fmla="*/ 7145279 w 8079933"/>
              <a:gd name="connsiteY19813" fmla="*/ 1550543 h 4687251"/>
              <a:gd name="connsiteX19814" fmla="*/ 7140287 w 8079933"/>
              <a:gd name="connsiteY19814" fmla="*/ 1548702 h 4687251"/>
              <a:gd name="connsiteX19815" fmla="*/ 7137031 w 8079933"/>
              <a:gd name="connsiteY19815" fmla="*/ 1541881 h 4687251"/>
              <a:gd name="connsiteX19816" fmla="*/ 7131931 w 8079933"/>
              <a:gd name="connsiteY19816" fmla="*/ 1538524 h 4687251"/>
              <a:gd name="connsiteX19817" fmla="*/ 7126289 w 8079933"/>
              <a:gd name="connsiteY19817" fmla="*/ 1537767 h 4687251"/>
              <a:gd name="connsiteX19818" fmla="*/ 7120754 w 8079933"/>
              <a:gd name="connsiteY19818" fmla="*/ 1539066 h 4687251"/>
              <a:gd name="connsiteX19819" fmla="*/ 7118041 w 8079933"/>
              <a:gd name="connsiteY19819" fmla="*/ 1538524 h 4687251"/>
              <a:gd name="connsiteX19820" fmla="*/ 7115762 w 8079933"/>
              <a:gd name="connsiteY19820" fmla="*/ 1538849 h 4687251"/>
              <a:gd name="connsiteX19821" fmla="*/ 7115871 w 8079933"/>
              <a:gd name="connsiteY19821" fmla="*/ 1541556 h 4687251"/>
              <a:gd name="connsiteX19822" fmla="*/ 7115003 w 8079933"/>
              <a:gd name="connsiteY19822" fmla="*/ 1545129 h 4687251"/>
              <a:gd name="connsiteX19823" fmla="*/ 7112832 w 8079933"/>
              <a:gd name="connsiteY19823" fmla="*/ 1548269 h 4687251"/>
              <a:gd name="connsiteX19824" fmla="*/ 7116088 w 8079933"/>
              <a:gd name="connsiteY19824" fmla="*/ 1554332 h 4687251"/>
              <a:gd name="connsiteX19825" fmla="*/ 7116522 w 8079933"/>
              <a:gd name="connsiteY19825" fmla="*/ 1558988 h 4687251"/>
              <a:gd name="connsiteX19826" fmla="*/ 7115437 w 8079933"/>
              <a:gd name="connsiteY19826" fmla="*/ 1567000 h 4687251"/>
              <a:gd name="connsiteX19827" fmla="*/ 7118366 w 8079933"/>
              <a:gd name="connsiteY19827" fmla="*/ 1571871 h 4687251"/>
              <a:gd name="connsiteX19828" fmla="*/ 7119234 w 8079933"/>
              <a:gd name="connsiteY19828" fmla="*/ 1581075 h 4687251"/>
              <a:gd name="connsiteX19829" fmla="*/ 7119018 w 8079933"/>
              <a:gd name="connsiteY19829" fmla="*/ 1588870 h 4687251"/>
              <a:gd name="connsiteX19830" fmla="*/ 7120754 w 8079933"/>
              <a:gd name="connsiteY19830" fmla="*/ 1594717 h 4687251"/>
              <a:gd name="connsiteX19831" fmla="*/ 7124444 w 8079933"/>
              <a:gd name="connsiteY19831" fmla="*/ 1600888 h 4687251"/>
              <a:gd name="connsiteX19832" fmla="*/ 7126505 w 8079933"/>
              <a:gd name="connsiteY19832" fmla="*/ 1609117 h 4687251"/>
              <a:gd name="connsiteX19833" fmla="*/ 7130304 w 8079933"/>
              <a:gd name="connsiteY19833" fmla="*/ 1613772 h 4687251"/>
              <a:gd name="connsiteX19834" fmla="*/ 7133885 w 8079933"/>
              <a:gd name="connsiteY19834" fmla="*/ 1614639 h 4687251"/>
              <a:gd name="connsiteX19835" fmla="*/ 7139744 w 8079933"/>
              <a:gd name="connsiteY19835" fmla="*/ 1619836 h 4687251"/>
              <a:gd name="connsiteX19836" fmla="*/ 7142891 w 8079933"/>
              <a:gd name="connsiteY19836" fmla="*/ 1625358 h 4687251"/>
              <a:gd name="connsiteX19837" fmla="*/ 7143868 w 8079933"/>
              <a:gd name="connsiteY19837" fmla="*/ 1632395 h 4687251"/>
              <a:gd name="connsiteX19838" fmla="*/ 7150379 w 8079933"/>
              <a:gd name="connsiteY19838" fmla="*/ 1636509 h 4687251"/>
              <a:gd name="connsiteX19839" fmla="*/ 7153527 w 8079933"/>
              <a:gd name="connsiteY19839" fmla="*/ 1636509 h 4687251"/>
              <a:gd name="connsiteX19840" fmla="*/ 7156999 w 8079933"/>
              <a:gd name="connsiteY19840" fmla="*/ 1634777 h 4687251"/>
              <a:gd name="connsiteX19841" fmla="*/ 7158735 w 8079933"/>
              <a:gd name="connsiteY19841" fmla="*/ 1638674 h 4687251"/>
              <a:gd name="connsiteX19842" fmla="*/ 7159929 w 8079933"/>
              <a:gd name="connsiteY19842" fmla="*/ 1645062 h 4687251"/>
              <a:gd name="connsiteX19843" fmla="*/ 7164378 w 8079933"/>
              <a:gd name="connsiteY19843" fmla="*/ 1648852 h 4687251"/>
              <a:gd name="connsiteX19844" fmla="*/ 7164378 w 8079933"/>
              <a:gd name="connsiteY19844" fmla="*/ 1654374 h 4687251"/>
              <a:gd name="connsiteX19845" fmla="*/ 7164052 w 8079933"/>
              <a:gd name="connsiteY19845" fmla="*/ 1659354 h 4687251"/>
              <a:gd name="connsiteX19846" fmla="*/ 7165029 w 8079933"/>
              <a:gd name="connsiteY19846" fmla="*/ 1661953 h 4687251"/>
              <a:gd name="connsiteX19847" fmla="*/ 7164921 w 8079933"/>
              <a:gd name="connsiteY19847" fmla="*/ 1665201 h 4687251"/>
              <a:gd name="connsiteX19848" fmla="*/ 7162099 w 8079933"/>
              <a:gd name="connsiteY19848" fmla="*/ 1662278 h 4687251"/>
              <a:gd name="connsiteX19849" fmla="*/ 7161448 w 8079933"/>
              <a:gd name="connsiteY19849" fmla="*/ 1657947 h 4687251"/>
              <a:gd name="connsiteX19850" fmla="*/ 7156456 w 8079933"/>
              <a:gd name="connsiteY19850" fmla="*/ 1652641 h 4687251"/>
              <a:gd name="connsiteX19851" fmla="*/ 7156131 w 8079933"/>
              <a:gd name="connsiteY19851" fmla="*/ 1649068 h 4687251"/>
              <a:gd name="connsiteX19852" fmla="*/ 7157324 w 8079933"/>
              <a:gd name="connsiteY19852" fmla="*/ 1647336 h 4687251"/>
              <a:gd name="connsiteX19853" fmla="*/ 7155805 w 8079933"/>
              <a:gd name="connsiteY19853" fmla="*/ 1644954 h 4687251"/>
              <a:gd name="connsiteX19854" fmla="*/ 7153527 w 8079933"/>
              <a:gd name="connsiteY19854" fmla="*/ 1645388 h 4687251"/>
              <a:gd name="connsiteX19855" fmla="*/ 7152550 w 8079933"/>
              <a:gd name="connsiteY19855" fmla="*/ 1647661 h 4687251"/>
              <a:gd name="connsiteX19856" fmla="*/ 7143217 w 8079933"/>
              <a:gd name="connsiteY19856" fmla="*/ 1648527 h 4687251"/>
              <a:gd name="connsiteX19857" fmla="*/ 7140396 w 8079933"/>
              <a:gd name="connsiteY19857" fmla="*/ 1646578 h 4687251"/>
              <a:gd name="connsiteX19858" fmla="*/ 7140396 w 8079933"/>
              <a:gd name="connsiteY19858" fmla="*/ 1643222 h 4687251"/>
              <a:gd name="connsiteX19859" fmla="*/ 7138225 w 8079933"/>
              <a:gd name="connsiteY19859" fmla="*/ 1642139 h 4687251"/>
              <a:gd name="connsiteX19860" fmla="*/ 7133885 w 8079933"/>
              <a:gd name="connsiteY19860" fmla="*/ 1645929 h 4687251"/>
              <a:gd name="connsiteX19861" fmla="*/ 7132800 w 8079933"/>
              <a:gd name="connsiteY19861" fmla="*/ 1653724 h 4687251"/>
              <a:gd name="connsiteX19862" fmla="*/ 7134427 w 8079933"/>
              <a:gd name="connsiteY19862" fmla="*/ 1659138 h 4687251"/>
              <a:gd name="connsiteX19863" fmla="*/ 7136489 w 8079933"/>
              <a:gd name="connsiteY19863" fmla="*/ 1663685 h 4687251"/>
              <a:gd name="connsiteX19864" fmla="*/ 7135621 w 8079933"/>
              <a:gd name="connsiteY19864" fmla="*/ 1668774 h 4687251"/>
              <a:gd name="connsiteX19865" fmla="*/ 7136272 w 8079933"/>
              <a:gd name="connsiteY19865" fmla="*/ 1674188 h 4687251"/>
              <a:gd name="connsiteX19866" fmla="*/ 7130304 w 8079933"/>
              <a:gd name="connsiteY19866" fmla="*/ 1670506 h 4687251"/>
              <a:gd name="connsiteX19867" fmla="*/ 7126831 w 8079933"/>
              <a:gd name="connsiteY19867" fmla="*/ 1663361 h 4687251"/>
              <a:gd name="connsiteX19868" fmla="*/ 7121839 w 8079933"/>
              <a:gd name="connsiteY19868" fmla="*/ 1659679 h 4687251"/>
              <a:gd name="connsiteX19869" fmla="*/ 7119777 w 8079933"/>
              <a:gd name="connsiteY19869" fmla="*/ 1653724 h 4687251"/>
              <a:gd name="connsiteX19870" fmla="*/ 7120429 w 8079933"/>
              <a:gd name="connsiteY19870" fmla="*/ 1643655 h 4687251"/>
              <a:gd name="connsiteX19871" fmla="*/ 7121839 w 8079933"/>
              <a:gd name="connsiteY19871" fmla="*/ 1636184 h 4687251"/>
              <a:gd name="connsiteX19872" fmla="*/ 7121079 w 8079933"/>
              <a:gd name="connsiteY19872" fmla="*/ 1632503 h 4687251"/>
              <a:gd name="connsiteX19873" fmla="*/ 7114786 w 8079933"/>
              <a:gd name="connsiteY19873" fmla="*/ 1624275 h 4687251"/>
              <a:gd name="connsiteX19874" fmla="*/ 7113592 w 8079933"/>
              <a:gd name="connsiteY19874" fmla="*/ 1619294 h 4687251"/>
              <a:gd name="connsiteX19875" fmla="*/ 7109577 w 8079933"/>
              <a:gd name="connsiteY19875" fmla="*/ 1611932 h 4687251"/>
              <a:gd name="connsiteX19876" fmla="*/ 7108383 w 8079933"/>
              <a:gd name="connsiteY19876" fmla="*/ 1604028 h 4687251"/>
              <a:gd name="connsiteX19877" fmla="*/ 7109252 w 8079933"/>
              <a:gd name="connsiteY19877" fmla="*/ 1594067 h 4687251"/>
              <a:gd name="connsiteX19878" fmla="*/ 7105562 w 8079933"/>
              <a:gd name="connsiteY19878" fmla="*/ 1587463 h 4687251"/>
              <a:gd name="connsiteX19879" fmla="*/ 7105562 w 8079933"/>
              <a:gd name="connsiteY19879" fmla="*/ 1582807 h 4687251"/>
              <a:gd name="connsiteX19880" fmla="*/ 7096880 w 8079933"/>
              <a:gd name="connsiteY19880" fmla="*/ 1571871 h 4687251"/>
              <a:gd name="connsiteX19881" fmla="*/ 7092214 w 8079933"/>
              <a:gd name="connsiteY19881" fmla="*/ 1567757 h 4687251"/>
              <a:gd name="connsiteX19882" fmla="*/ 7091455 w 8079933"/>
              <a:gd name="connsiteY19882" fmla="*/ 1561369 h 4687251"/>
              <a:gd name="connsiteX19883" fmla="*/ 7092540 w 8079933"/>
              <a:gd name="connsiteY19883" fmla="*/ 1557905 h 4687251"/>
              <a:gd name="connsiteX19884" fmla="*/ 7088742 w 8079933"/>
              <a:gd name="connsiteY19884" fmla="*/ 1548594 h 4687251"/>
              <a:gd name="connsiteX19885" fmla="*/ 7087657 w 8079933"/>
              <a:gd name="connsiteY19885" fmla="*/ 1540690 h 4687251"/>
              <a:gd name="connsiteX19886" fmla="*/ 7088416 w 8079933"/>
              <a:gd name="connsiteY19886" fmla="*/ 1536143 h 4687251"/>
              <a:gd name="connsiteX19887" fmla="*/ 7086680 w 8079933"/>
              <a:gd name="connsiteY19887" fmla="*/ 1533002 h 4687251"/>
              <a:gd name="connsiteX19888" fmla="*/ 7086029 w 8079933"/>
              <a:gd name="connsiteY19888" fmla="*/ 1524233 h 4687251"/>
              <a:gd name="connsiteX19889" fmla="*/ 7083533 w 8079933"/>
              <a:gd name="connsiteY19889" fmla="*/ 1517737 h 4687251"/>
              <a:gd name="connsiteX19890" fmla="*/ 7082340 w 8079933"/>
              <a:gd name="connsiteY19890" fmla="*/ 1512323 h 4687251"/>
              <a:gd name="connsiteX19891" fmla="*/ 7077021 w 8079933"/>
              <a:gd name="connsiteY19891" fmla="*/ 1503986 h 4687251"/>
              <a:gd name="connsiteX19892" fmla="*/ 7076479 w 8079933"/>
              <a:gd name="connsiteY19892" fmla="*/ 1500305 h 4687251"/>
              <a:gd name="connsiteX19893" fmla="*/ 7077890 w 8079933"/>
              <a:gd name="connsiteY19893" fmla="*/ 1498898 h 4687251"/>
              <a:gd name="connsiteX19894" fmla="*/ 7073441 w 8079933"/>
              <a:gd name="connsiteY19894" fmla="*/ 1494025 h 4687251"/>
              <a:gd name="connsiteX19895" fmla="*/ 7069426 w 8079933"/>
              <a:gd name="connsiteY19895" fmla="*/ 1491210 h 4687251"/>
              <a:gd name="connsiteX19896" fmla="*/ 7069426 w 8079933"/>
              <a:gd name="connsiteY19896" fmla="*/ 1486446 h 4687251"/>
              <a:gd name="connsiteX19897" fmla="*/ 7065627 w 8079933"/>
              <a:gd name="connsiteY19897" fmla="*/ 1480058 h 4687251"/>
              <a:gd name="connsiteX19898" fmla="*/ 7066170 w 8079933"/>
              <a:gd name="connsiteY19898" fmla="*/ 1473887 h 4687251"/>
              <a:gd name="connsiteX19899" fmla="*/ 7064651 w 8079933"/>
              <a:gd name="connsiteY19899" fmla="*/ 1465983 h 4687251"/>
              <a:gd name="connsiteX19900" fmla="*/ 7059117 w 8079933"/>
              <a:gd name="connsiteY19900" fmla="*/ 1457863 h 4687251"/>
              <a:gd name="connsiteX19901" fmla="*/ 7055102 w 8079933"/>
              <a:gd name="connsiteY19901" fmla="*/ 1456456 h 4687251"/>
              <a:gd name="connsiteX19902" fmla="*/ 7043382 w 8079933"/>
              <a:gd name="connsiteY19902" fmla="*/ 1444979 h 4687251"/>
              <a:gd name="connsiteX19903" fmla="*/ 7045661 w 8079933"/>
              <a:gd name="connsiteY19903" fmla="*/ 1443463 h 4687251"/>
              <a:gd name="connsiteX19904" fmla="*/ 7045117 w 8079933"/>
              <a:gd name="connsiteY19904" fmla="*/ 1441189 h 4687251"/>
              <a:gd name="connsiteX19905" fmla="*/ 7040018 w 8079933"/>
              <a:gd name="connsiteY19905" fmla="*/ 1438483 h 4687251"/>
              <a:gd name="connsiteX19906" fmla="*/ 7036220 w 8079933"/>
              <a:gd name="connsiteY19906" fmla="*/ 1430904 h 4687251"/>
              <a:gd name="connsiteX19907" fmla="*/ 7033072 w 8079933"/>
              <a:gd name="connsiteY19907" fmla="*/ 1419536 h 4687251"/>
              <a:gd name="connsiteX19908" fmla="*/ 7032096 w 8079933"/>
              <a:gd name="connsiteY19908" fmla="*/ 1411956 h 4687251"/>
              <a:gd name="connsiteX19909" fmla="*/ 7030360 w 8079933"/>
              <a:gd name="connsiteY19909" fmla="*/ 1409791 h 4687251"/>
              <a:gd name="connsiteX19910" fmla="*/ 7029817 w 8079933"/>
              <a:gd name="connsiteY19910" fmla="*/ 1399614 h 4687251"/>
              <a:gd name="connsiteX19911" fmla="*/ 7025694 w 8079933"/>
              <a:gd name="connsiteY19911" fmla="*/ 1392035 h 4687251"/>
              <a:gd name="connsiteX19912" fmla="*/ 7020810 w 8079933"/>
              <a:gd name="connsiteY19912" fmla="*/ 1386188 h 4687251"/>
              <a:gd name="connsiteX19913" fmla="*/ 7019508 w 8079933"/>
              <a:gd name="connsiteY19913" fmla="*/ 1380558 h 4687251"/>
              <a:gd name="connsiteX19914" fmla="*/ 7015167 w 8079933"/>
              <a:gd name="connsiteY19914" fmla="*/ 1375686 h 4687251"/>
              <a:gd name="connsiteX19915" fmla="*/ 7017772 w 8079933"/>
              <a:gd name="connsiteY19915" fmla="*/ 1369298 h 4687251"/>
              <a:gd name="connsiteX19916" fmla="*/ 7020810 w 8079933"/>
              <a:gd name="connsiteY19916" fmla="*/ 1366374 h 4687251"/>
              <a:gd name="connsiteX19917" fmla="*/ 7023740 w 8079933"/>
              <a:gd name="connsiteY19917" fmla="*/ 1370380 h 4687251"/>
              <a:gd name="connsiteX19918" fmla="*/ 7027430 w 8079933"/>
              <a:gd name="connsiteY19918" fmla="*/ 1371030 h 4687251"/>
              <a:gd name="connsiteX19919" fmla="*/ 7031228 w 8079933"/>
              <a:gd name="connsiteY19919" fmla="*/ 1368865 h 4687251"/>
              <a:gd name="connsiteX19920" fmla="*/ 7030034 w 8079933"/>
              <a:gd name="connsiteY19920" fmla="*/ 1363992 h 4687251"/>
              <a:gd name="connsiteX19921" fmla="*/ 7026344 w 8079933"/>
              <a:gd name="connsiteY19921" fmla="*/ 1363884 h 4687251"/>
              <a:gd name="connsiteX19922" fmla="*/ 7025476 w 8079933"/>
              <a:gd name="connsiteY19922" fmla="*/ 1360745 h 4687251"/>
              <a:gd name="connsiteX19923" fmla="*/ 7028732 w 8079933"/>
              <a:gd name="connsiteY19923" fmla="*/ 1359337 h 4687251"/>
              <a:gd name="connsiteX19924" fmla="*/ 7030686 w 8079933"/>
              <a:gd name="connsiteY19924" fmla="*/ 1357172 h 4687251"/>
              <a:gd name="connsiteX19925" fmla="*/ 7029492 w 8079933"/>
              <a:gd name="connsiteY19925" fmla="*/ 1353815 h 4687251"/>
              <a:gd name="connsiteX19926" fmla="*/ 7026670 w 8079933"/>
              <a:gd name="connsiteY19926" fmla="*/ 1354249 h 4687251"/>
              <a:gd name="connsiteX19927" fmla="*/ 7024500 w 8079933"/>
              <a:gd name="connsiteY19927" fmla="*/ 1356305 h 4687251"/>
              <a:gd name="connsiteX19928" fmla="*/ 7025151 w 8079933"/>
              <a:gd name="connsiteY19928" fmla="*/ 1350892 h 4687251"/>
              <a:gd name="connsiteX19929" fmla="*/ 7022763 w 8079933"/>
              <a:gd name="connsiteY19929" fmla="*/ 1347102 h 4687251"/>
              <a:gd name="connsiteX19930" fmla="*/ 7014517 w 8079933"/>
              <a:gd name="connsiteY19930" fmla="*/ 1342339 h 4687251"/>
              <a:gd name="connsiteX19931" fmla="*/ 7008331 w 8079933"/>
              <a:gd name="connsiteY19931" fmla="*/ 1335842 h 4687251"/>
              <a:gd name="connsiteX19932" fmla="*/ 7012237 w 8079933"/>
              <a:gd name="connsiteY19932" fmla="*/ 1335409 h 4687251"/>
              <a:gd name="connsiteX19933" fmla="*/ 7015710 w 8079933"/>
              <a:gd name="connsiteY19933" fmla="*/ 1337899 h 4687251"/>
              <a:gd name="connsiteX19934" fmla="*/ 7018423 w 8079933"/>
              <a:gd name="connsiteY19934" fmla="*/ 1336817 h 4687251"/>
              <a:gd name="connsiteX19935" fmla="*/ 7018315 w 8079933"/>
              <a:gd name="connsiteY19935" fmla="*/ 1333352 h 4687251"/>
              <a:gd name="connsiteX19936" fmla="*/ 7016579 w 8079933"/>
              <a:gd name="connsiteY19936" fmla="*/ 1331295 h 4687251"/>
              <a:gd name="connsiteX19937" fmla="*/ 1078872 w 8079933"/>
              <a:gd name="connsiteY19937" fmla="*/ 1328479 h 4687251"/>
              <a:gd name="connsiteX19938" fmla="*/ 1079089 w 8079933"/>
              <a:gd name="connsiteY19938" fmla="*/ 1333785 h 4687251"/>
              <a:gd name="connsiteX19939" fmla="*/ 1075834 w 8079933"/>
              <a:gd name="connsiteY19939" fmla="*/ 1332052 h 4687251"/>
              <a:gd name="connsiteX19940" fmla="*/ 3796562 w 8079933"/>
              <a:gd name="connsiteY19940" fmla="*/ 1327397 h 4687251"/>
              <a:gd name="connsiteX19941" fmla="*/ 3800360 w 8079933"/>
              <a:gd name="connsiteY19941" fmla="*/ 1329238 h 4687251"/>
              <a:gd name="connsiteX19942" fmla="*/ 3799817 w 8079933"/>
              <a:gd name="connsiteY19942" fmla="*/ 1331728 h 4687251"/>
              <a:gd name="connsiteX19943" fmla="*/ 3800360 w 8079933"/>
              <a:gd name="connsiteY19943" fmla="*/ 1336493 h 4687251"/>
              <a:gd name="connsiteX19944" fmla="*/ 2607 w 8079933"/>
              <a:gd name="connsiteY19944" fmla="*/ 1325448 h 4687251"/>
              <a:gd name="connsiteX19945" fmla="*/ 4668 w 8079933"/>
              <a:gd name="connsiteY19945" fmla="*/ 1328697 h 4687251"/>
              <a:gd name="connsiteX19946" fmla="*/ 0 w 8079933"/>
              <a:gd name="connsiteY19946" fmla="*/ 1330212 h 4687251"/>
              <a:gd name="connsiteX19947" fmla="*/ 1072361 w 8079933"/>
              <a:gd name="connsiteY19947" fmla="*/ 1324906 h 4687251"/>
              <a:gd name="connsiteX19948" fmla="*/ 1075942 w 8079933"/>
              <a:gd name="connsiteY19948" fmla="*/ 1326314 h 4687251"/>
              <a:gd name="connsiteX19949" fmla="*/ 1071819 w 8079933"/>
              <a:gd name="connsiteY19949" fmla="*/ 1331078 h 4687251"/>
              <a:gd name="connsiteX19950" fmla="*/ 3066680 w 8079933"/>
              <a:gd name="connsiteY19950" fmla="*/ 1322742 h 4687251"/>
              <a:gd name="connsiteX19951" fmla="*/ 3067547 w 8079933"/>
              <a:gd name="connsiteY19951" fmla="*/ 1324907 h 4687251"/>
              <a:gd name="connsiteX19952" fmla="*/ 3065703 w 8079933"/>
              <a:gd name="connsiteY19952" fmla="*/ 1325991 h 4687251"/>
              <a:gd name="connsiteX19953" fmla="*/ 3062448 w 8079933"/>
              <a:gd name="connsiteY19953" fmla="*/ 1323825 h 4687251"/>
              <a:gd name="connsiteX19954" fmla="*/ 3064401 w 8079933"/>
              <a:gd name="connsiteY19954" fmla="*/ 1322850 h 4687251"/>
              <a:gd name="connsiteX19955" fmla="*/ 6883537 w 8079933"/>
              <a:gd name="connsiteY19955" fmla="*/ 1320576 h 4687251"/>
              <a:gd name="connsiteX19956" fmla="*/ 6884622 w 8079933"/>
              <a:gd name="connsiteY19956" fmla="*/ 1323499 h 4687251"/>
              <a:gd name="connsiteX19957" fmla="*/ 6882777 w 8079933"/>
              <a:gd name="connsiteY19957" fmla="*/ 1326314 h 4687251"/>
              <a:gd name="connsiteX19958" fmla="*/ 6884187 w 8079933"/>
              <a:gd name="connsiteY19958" fmla="*/ 1329670 h 4687251"/>
              <a:gd name="connsiteX19959" fmla="*/ 6882560 w 8079933"/>
              <a:gd name="connsiteY19959" fmla="*/ 1330862 h 4687251"/>
              <a:gd name="connsiteX19960" fmla="*/ 6879847 w 8079933"/>
              <a:gd name="connsiteY19960" fmla="*/ 1329129 h 4687251"/>
              <a:gd name="connsiteX19961" fmla="*/ 6878327 w 8079933"/>
              <a:gd name="connsiteY19961" fmla="*/ 1330753 h 4687251"/>
              <a:gd name="connsiteX19962" fmla="*/ 6878327 w 8079933"/>
              <a:gd name="connsiteY19962" fmla="*/ 1331945 h 4687251"/>
              <a:gd name="connsiteX19963" fmla="*/ 6876591 w 8079933"/>
              <a:gd name="connsiteY19963" fmla="*/ 1332811 h 4687251"/>
              <a:gd name="connsiteX19964" fmla="*/ 6874638 w 8079933"/>
              <a:gd name="connsiteY19964" fmla="*/ 1329454 h 4687251"/>
              <a:gd name="connsiteX19965" fmla="*/ 6874747 w 8079933"/>
              <a:gd name="connsiteY19965" fmla="*/ 1325556 h 4687251"/>
              <a:gd name="connsiteX19966" fmla="*/ 6879413 w 8079933"/>
              <a:gd name="connsiteY19966" fmla="*/ 1323824 h 4687251"/>
              <a:gd name="connsiteX19967" fmla="*/ 6882126 w 8079933"/>
              <a:gd name="connsiteY19967" fmla="*/ 1320792 h 4687251"/>
              <a:gd name="connsiteX19968" fmla="*/ 2955233 w 8079933"/>
              <a:gd name="connsiteY19968" fmla="*/ 1320034 h 4687251"/>
              <a:gd name="connsiteX19969" fmla="*/ 2958814 w 8079933"/>
              <a:gd name="connsiteY19969" fmla="*/ 1320900 h 4687251"/>
              <a:gd name="connsiteX19970" fmla="*/ 2960224 w 8079933"/>
              <a:gd name="connsiteY19970" fmla="*/ 1324364 h 4687251"/>
              <a:gd name="connsiteX19971" fmla="*/ 2956860 w 8079933"/>
              <a:gd name="connsiteY19971" fmla="*/ 1325772 h 4687251"/>
              <a:gd name="connsiteX19972" fmla="*/ 2955775 w 8079933"/>
              <a:gd name="connsiteY19972" fmla="*/ 1323390 h 4687251"/>
              <a:gd name="connsiteX19973" fmla="*/ 2953822 w 8079933"/>
              <a:gd name="connsiteY19973" fmla="*/ 1322957 h 4687251"/>
              <a:gd name="connsiteX19974" fmla="*/ 2953280 w 8079933"/>
              <a:gd name="connsiteY19974" fmla="*/ 1321333 h 4687251"/>
              <a:gd name="connsiteX19975" fmla="*/ 2980952 w 8079933"/>
              <a:gd name="connsiteY19975" fmla="*/ 1317436 h 4687251"/>
              <a:gd name="connsiteX19976" fmla="*/ 2982905 w 8079933"/>
              <a:gd name="connsiteY19976" fmla="*/ 1318736 h 4687251"/>
              <a:gd name="connsiteX19977" fmla="*/ 2982688 w 8079933"/>
              <a:gd name="connsiteY19977" fmla="*/ 1321118 h 4687251"/>
              <a:gd name="connsiteX19978" fmla="*/ 2979758 w 8079933"/>
              <a:gd name="connsiteY19978" fmla="*/ 1321118 h 4687251"/>
              <a:gd name="connsiteX19979" fmla="*/ 2979107 w 8079933"/>
              <a:gd name="connsiteY19979" fmla="*/ 1318519 h 4687251"/>
              <a:gd name="connsiteX19980" fmla="*/ 4026293 w 8079933"/>
              <a:gd name="connsiteY19980" fmla="*/ 1317328 h 4687251"/>
              <a:gd name="connsiteX19981" fmla="*/ 4031827 w 8079933"/>
              <a:gd name="connsiteY19981" fmla="*/ 1319926 h 4687251"/>
              <a:gd name="connsiteX19982" fmla="*/ 4027270 w 8079933"/>
              <a:gd name="connsiteY19982" fmla="*/ 1320793 h 4687251"/>
              <a:gd name="connsiteX19983" fmla="*/ 6895363 w 8079933"/>
              <a:gd name="connsiteY19983" fmla="*/ 1317111 h 4687251"/>
              <a:gd name="connsiteX19984" fmla="*/ 6898728 w 8079933"/>
              <a:gd name="connsiteY19984" fmla="*/ 1318843 h 4687251"/>
              <a:gd name="connsiteX19985" fmla="*/ 6903828 w 8079933"/>
              <a:gd name="connsiteY19985" fmla="*/ 1317869 h 4687251"/>
              <a:gd name="connsiteX19986" fmla="*/ 6905130 w 8079933"/>
              <a:gd name="connsiteY19986" fmla="*/ 1318843 h 4687251"/>
              <a:gd name="connsiteX19987" fmla="*/ 6904804 w 8079933"/>
              <a:gd name="connsiteY19987" fmla="*/ 1320684 h 4687251"/>
              <a:gd name="connsiteX19988" fmla="*/ 6902851 w 8079933"/>
              <a:gd name="connsiteY19988" fmla="*/ 1323715 h 4687251"/>
              <a:gd name="connsiteX19989" fmla="*/ 6903828 w 8079933"/>
              <a:gd name="connsiteY19989" fmla="*/ 1325015 h 4687251"/>
              <a:gd name="connsiteX19990" fmla="*/ 6906324 w 8079933"/>
              <a:gd name="connsiteY19990" fmla="*/ 1323391 h 4687251"/>
              <a:gd name="connsiteX19991" fmla="*/ 6907192 w 8079933"/>
              <a:gd name="connsiteY19991" fmla="*/ 1321225 h 4687251"/>
              <a:gd name="connsiteX19992" fmla="*/ 6911099 w 8079933"/>
              <a:gd name="connsiteY19992" fmla="*/ 1321225 h 4687251"/>
              <a:gd name="connsiteX19993" fmla="*/ 6910230 w 8079933"/>
              <a:gd name="connsiteY19993" fmla="*/ 1323391 h 4687251"/>
              <a:gd name="connsiteX19994" fmla="*/ 6907517 w 8079933"/>
              <a:gd name="connsiteY19994" fmla="*/ 1325989 h 4687251"/>
              <a:gd name="connsiteX19995" fmla="*/ 6907410 w 8079933"/>
              <a:gd name="connsiteY19995" fmla="*/ 1329021 h 4687251"/>
              <a:gd name="connsiteX19996" fmla="*/ 6909037 w 8079933"/>
              <a:gd name="connsiteY19996" fmla="*/ 1331511 h 4687251"/>
              <a:gd name="connsiteX19997" fmla="*/ 6907626 w 8079933"/>
              <a:gd name="connsiteY19997" fmla="*/ 1334326 h 4687251"/>
              <a:gd name="connsiteX19998" fmla="*/ 6905021 w 8079933"/>
              <a:gd name="connsiteY19998" fmla="*/ 1336925 h 4687251"/>
              <a:gd name="connsiteX19999" fmla="*/ 6901115 w 8079933"/>
              <a:gd name="connsiteY19999" fmla="*/ 1335842 h 4687251"/>
              <a:gd name="connsiteX20000" fmla="*/ 6898076 w 8079933"/>
              <a:gd name="connsiteY20000" fmla="*/ 1332486 h 4687251"/>
              <a:gd name="connsiteX20001" fmla="*/ 6895906 w 8079933"/>
              <a:gd name="connsiteY20001" fmla="*/ 1331944 h 4687251"/>
              <a:gd name="connsiteX20002" fmla="*/ 6894496 w 8079933"/>
              <a:gd name="connsiteY20002" fmla="*/ 1333460 h 4687251"/>
              <a:gd name="connsiteX20003" fmla="*/ 6893845 w 8079933"/>
              <a:gd name="connsiteY20003" fmla="*/ 1335733 h 4687251"/>
              <a:gd name="connsiteX20004" fmla="*/ 6892326 w 8079933"/>
              <a:gd name="connsiteY20004" fmla="*/ 1336383 h 4687251"/>
              <a:gd name="connsiteX20005" fmla="*/ 6888527 w 8079933"/>
              <a:gd name="connsiteY20005" fmla="*/ 1329995 h 4687251"/>
              <a:gd name="connsiteX20006" fmla="*/ 6888527 w 8079933"/>
              <a:gd name="connsiteY20006" fmla="*/ 1326422 h 4687251"/>
              <a:gd name="connsiteX20007" fmla="*/ 6891566 w 8079933"/>
              <a:gd name="connsiteY20007" fmla="*/ 1323823 h 4687251"/>
              <a:gd name="connsiteX20008" fmla="*/ 6892868 w 8079933"/>
              <a:gd name="connsiteY20008" fmla="*/ 1319493 h 4687251"/>
              <a:gd name="connsiteX20009" fmla="*/ 2994407 w 8079933"/>
              <a:gd name="connsiteY20009" fmla="*/ 1317111 h 4687251"/>
              <a:gd name="connsiteX20010" fmla="*/ 2995058 w 8079933"/>
              <a:gd name="connsiteY20010" fmla="*/ 1318627 h 4687251"/>
              <a:gd name="connsiteX20011" fmla="*/ 2992129 w 8079933"/>
              <a:gd name="connsiteY20011" fmla="*/ 1320359 h 4687251"/>
              <a:gd name="connsiteX20012" fmla="*/ 2989308 w 8079933"/>
              <a:gd name="connsiteY20012" fmla="*/ 1320468 h 4687251"/>
              <a:gd name="connsiteX20013" fmla="*/ 2988331 w 8079933"/>
              <a:gd name="connsiteY20013" fmla="*/ 1319601 h 4687251"/>
              <a:gd name="connsiteX20014" fmla="*/ 2990935 w 8079933"/>
              <a:gd name="connsiteY20014" fmla="*/ 1317327 h 4687251"/>
              <a:gd name="connsiteX20015" fmla="*/ 3799276 w 8079933"/>
              <a:gd name="connsiteY20015" fmla="*/ 1316354 h 4687251"/>
              <a:gd name="connsiteX20016" fmla="*/ 3800795 w 8079933"/>
              <a:gd name="connsiteY20016" fmla="*/ 1318627 h 4687251"/>
              <a:gd name="connsiteX20017" fmla="*/ 3800578 w 8079933"/>
              <a:gd name="connsiteY20017" fmla="*/ 1321876 h 4687251"/>
              <a:gd name="connsiteX20018" fmla="*/ 3797106 w 8079933"/>
              <a:gd name="connsiteY20018" fmla="*/ 1317762 h 4687251"/>
              <a:gd name="connsiteX20019" fmla="*/ 6078 w 8079933"/>
              <a:gd name="connsiteY20019" fmla="*/ 1315271 h 4687251"/>
              <a:gd name="connsiteX20020" fmla="*/ 10526 w 8079933"/>
              <a:gd name="connsiteY20020" fmla="*/ 1317112 h 4687251"/>
              <a:gd name="connsiteX20021" fmla="*/ 5643 w 8079933"/>
              <a:gd name="connsiteY20021" fmla="*/ 1320902 h 4687251"/>
              <a:gd name="connsiteX20022" fmla="*/ 2931 w 8079933"/>
              <a:gd name="connsiteY20022" fmla="*/ 1317545 h 4687251"/>
              <a:gd name="connsiteX20023" fmla="*/ 135104 w 8079933"/>
              <a:gd name="connsiteY20023" fmla="*/ 1313539 h 4687251"/>
              <a:gd name="connsiteX20024" fmla="*/ 146605 w 8079933"/>
              <a:gd name="connsiteY20024" fmla="*/ 1315812 h 4687251"/>
              <a:gd name="connsiteX20025" fmla="*/ 149861 w 8079933"/>
              <a:gd name="connsiteY20025" fmla="*/ 1314947 h 4687251"/>
              <a:gd name="connsiteX20026" fmla="*/ 153551 w 8079933"/>
              <a:gd name="connsiteY20026" fmla="*/ 1317653 h 4687251"/>
              <a:gd name="connsiteX20027" fmla="*/ 147910 w 8079933"/>
              <a:gd name="connsiteY20027" fmla="*/ 1319061 h 4687251"/>
              <a:gd name="connsiteX20028" fmla="*/ 137057 w 8079933"/>
              <a:gd name="connsiteY20028" fmla="*/ 1316354 h 4687251"/>
              <a:gd name="connsiteX20029" fmla="*/ 133150 w 8079933"/>
              <a:gd name="connsiteY20029" fmla="*/ 1317436 h 4687251"/>
              <a:gd name="connsiteX20030" fmla="*/ 130654 w 8079933"/>
              <a:gd name="connsiteY20030" fmla="*/ 1314838 h 4687251"/>
              <a:gd name="connsiteX20031" fmla="*/ 1135953 w 8079933"/>
              <a:gd name="connsiteY20031" fmla="*/ 1311481 h 4687251"/>
              <a:gd name="connsiteX20032" fmla="*/ 1137798 w 8079933"/>
              <a:gd name="connsiteY20032" fmla="*/ 1316461 h 4687251"/>
              <a:gd name="connsiteX20033" fmla="*/ 1135953 w 8079933"/>
              <a:gd name="connsiteY20033" fmla="*/ 1321766 h 4687251"/>
              <a:gd name="connsiteX20034" fmla="*/ 1137472 w 8079933"/>
              <a:gd name="connsiteY20034" fmla="*/ 1325772 h 4687251"/>
              <a:gd name="connsiteX20035" fmla="*/ 1131287 w 8079933"/>
              <a:gd name="connsiteY20035" fmla="*/ 1334650 h 4687251"/>
              <a:gd name="connsiteX20036" fmla="*/ 1124016 w 8079933"/>
              <a:gd name="connsiteY20036" fmla="*/ 1340497 h 4687251"/>
              <a:gd name="connsiteX20037" fmla="*/ 1121846 w 8079933"/>
              <a:gd name="connsiteY20037" fmla="*/ 1338115 h 4687251"/>
              <a:gd name="connsiteX20038" fmla="*/ 1124884 w 8079933"/>
              <a:gd name="connsiteY20038" fmla="*/ 1332810 h 4687251"/>
              <a:gd name="connsiteX20039" fmla="*/ 1129659 w 8079933"/>
              <a:gd name="connsiteY20039" fmla="*/ 1329345 h 4687251"/>
              <a:gd name="connsiteX20040" fmla="*/ 1129659 w 8079933"/>
              <a:gd name="connsiteY20040" fmla="*/ 1327288 h 4687251"/>
              <a:gd name="connsiteX20041" fmla="*/ 1120869 w 8079933"/>
              <a:gd name="connsiteY20041" fmla="*/ 1331619 h 4687251"/>
              <a:gd name="connsiteX20042" fmla="*/ 1119350 w 8079933"/>
              <a:gd name="connsiteY20042" fmla="*/ 1328804 h 4687251"/>
              <a:gd name="connsiteX20043" fmla="*/ 1123365 w 8079933"/>
              <a:gd name="connsiteY20043" fmla="*/ 1324907 h 4687251"/>
              <a:gd name="connsiteX20044" fmla="*/ 1122931 w 8079933"/>
              <a:gd name="connsiteY20044" fmla="*/ 1322633 h 4687251"/>
              <a:gd name="connsiteX20045" fmla="*/ 1125426 w 8079933"/>
              <a:gd name="connsiteY20045" fmla="*/ 1316136 h 4687251"/>
              <a:gd name="connsiteX20046" fmla="*/ 1130202 w 8079933"/>
              <a:gd name="connsiteY20046" fmla="*/ 1314079 h 4687251"/>
              <a:gd name="connsiteX20047" fmla="*/ 1130419 w 8079933"/>
              <a:gd name="connsiteY20047" fmla="*/ 1311697 h 4687251"/>
              <a:gd name="connsiteX20048" fmla="*/ 4027813 w 8079933"/>
              <a:gd name="connsiteY20048" fmla="*/ 1309099 h 4687251"/>
              <a:gd name="connsiteX20049" fmla="*/ 4032262 w 8079933"/>
              <a:gd name="connsiteY20049" fmla="*/ 1312022 h 4687251"/>
              <a:gd name="connsiteX20050" fmla="*/ 4030091 w 8079933"/>
              <a:gd name="connsiteY20050" fmla="*/ 1314946 h 4687251"/>
              <a:gd name="connsiteX20051" fmla="*/ 4174643 w 8079933"/>
              <a:gd name="connsiteY20051" fmla="*/ 1308019 h 4687251"/>
              <a:gd name="connsiteX20052" fmla="*/ 4174960 w 8079933"/>
              <a:gd name="connsiteY20052" fmla="*/ 1316678 h 4687251"/>
              <a:gd name="connsiteX20053" fmla="*/ 4174961 w 8079933"/>
              <a:gd name="connsiteY20053" fmla="*/ 1316678 h 4687251"/>
              <a:gd name="connsiteX20054" fmla="*/ 1085058 w 8079933"/>
              <a:gd name="connsiteY20054" fmla="*/ 1306826 h 4687251"/>
              <a:gd name="connsiteX20055" fmla="*/ 1086794 w 8079933"/>
              <a:gd name="connsiteY20055" fmla="*/ 1309749 h 4687251"/>
              <a:gd name="connsiteX20056" fmla="*/ 1084407 w 8079933"/>
              <a:gd name="connsiteY20056" fmla="*/ 1311481 h 4687251"/>
              <a:gd name="connsiteX20057" fmla="*/ 1082345 w 8079933"/>
              <a:gd name="connsiteY20057" fmla="*/ 1308775 h 4687251"/>
              <a:gd name="connsiteX20058" fmla="*/ 65760 w 8079933"/>
              <a:gd name="connsiteY20058" fmla="*/ 1306826 h 4687251"/>
              <a:gd name="connsiteX20059" fmla="*/ 68040 w 8079933"/>
              <a:gd name="connsiteY20059" fmla="*/ 1307584 h 4687251"/>
              <a:gd name="connsiteX20060" fmla="*/ 69775 w 8079933"/>
              <a:gd name="connsiteY20060" fmla="*/ 1313755 h 4687251"/>
              <a:gd name="connsiteX20061" fmla="*/ 64026 w 8079933"/>
              <a:gd name="connsiteY20061" fmla="*/ 1318845 h 4687251"/>
              <a:gd name="connsiteX20062" fmla="*/ 58925 w 8079933"/>
              <a:gd name="connsiteY20062" fmla="*/ 1318845 h 4687251"/>
              <a:gd name="connsiteX20063" fmla="*/ 61745 w 8079933"/>
              <a:gd name="connsiteY20063" fmla="*/ 1312998 h 4687251"/>
              <a:gd name="connsiteX20064" fmla="*/ 64242 w 8079933"/>
              <a:gd name="connsiteY20064" fmla="*/ 1312132 h 4687251"/>
              <a:gd name="connsiteX20065" fmla="*/ 54910 w 8079933"/>
              <a:gd name="connsiteY20065" fmla="*/ 1305634 h 4687251"/>
              <a:gd name="connsiteX20066" fmla="*/ 56539 w 8079933"/>
              <a:gd name="connsiteY20066" fmla="*/ 1306825 h 4687251"/>
              <a:gd name="connsiteX20067" fmla="*/ 53932 w 8079933"/>
              <a:gd name="connsiteY20067" fmla="*/ 1310723 h 4687251"/>
              <a:gd name="connsiteX20068" fmla="*/ 53392 w 8079933"/>
              <a:gd name="connsiteY20068" fmla="*/ 1315054 h 4687251"/>
              <a:gd name="connsiteX20069" fmla="*/ 47639 w 8079933"/>
              <a:gd name="connsiteY20069" fmla="*/ 1318626 h 4687251"/>
              <a:gd name="connsiteX20070" fmla="*/ 44927 w 8079933"/>
              <a:gd name="connsiteY20070" fmla="*/ 1317111 h 4687251"/>
              <a:gd name="connsiteX20071" fmla="*/ 48834 w 8079933"/>
              <a:gd name="connsiteY20071" fmla="*/ 1314187 h 4687251"/>
              <a:gd name="connsiteX20072" fmla="*/ 50571 w 8079933"/>
              <a:gd name="connsiteY20072" fmla="*/ 1309965 h 4687251"/>
              <a:gd name="connsiteX20073" fmla="*/ 170263 w 8079933"/>
              <a:gd name="connsiteY20073" fmla="*/ 1304769 h 4687251"/>
              <a:gd name="connsiteX20074" fmla="*/ 174711 w 8079933"/>
              <a:gd name="connsiteY20074" fmla="*/ 1307692 h 4687251"/>
              <a:gd name="connsiteX20075" fmla="*/ 169503 w 8079933"/>
              <a:gd name="connsiteY20075" fmla="*/ 1310291 h 4687251"/>
              <a:gd name="connsiteX20076" fmla="*/ 162775 w 8079933"/>
              <a:gd name="connsiteY20076" fmla="*/ 1310291 h 4687251"/>
              <a:gd name="connsiteX20077" fmla="*/ 164402 w 8079933"/>
              <a:gd name="connsiteY20077" fmla="*/ 1305418 h 4687251"/>
              <a:gd name="connsiteX20078" fmla="*/ 1157981 w 8079933"/>
              <a:gd name="connsiteY20078" fmla="*/ 1304444 h 4687251"/>
              <a:gd name="connsiteX20079" fmla="*/ 1157981 w 8079933"/>
              <a:gd name="connsiteY20079" fmla="*/ 1304444 h 4687251"/>
              <a:gd name="connsiteX20080" fmla="*/ 1158516 w 8079933"/>
              <a:gd name="connsiteY20080" fmla="*/ 1304700 h 4687251"/>
              <a:gd name="connsiteX20081" fmla="*/ 3787882 w 8079933"/>
              <a:gd name="connsiteY20081" fmla="*/ 1302820 h 4687251"/>
              <a:gd name="connsiteX20082" fmla="*/ 3792222 w 8079933"/>
              <a:gd name="connsiteY20082" fmla="*/ 1308234 h 4687251"/>
              <a:gd name="connsiteX20083" fmla="*/ 3788533 w 8079933"/>
              <a:gd name="connsiteY20083" fmla="*/ 1307042 h 4687251"/>
              <a:gd name="connsiteX20084" fmla="*/ 15843 w 8079933"/>
              <a:gd name="connsiteY20084" fmla="*/ 1302387 h 4687251"/>
              <a:gd name="connsiteX20085" fmla="*/ 15194 w 8079933"/>
              <a:gd name="connsiteY20085" fmla="*/ 1307151 h 4687251"/>
              <a:gd name="connsiteX20086" fmla="*/ 12046 w 8079933"/>
              <a:gd name="connsiteY20086" fmla="*/ 1304119 h 4687251"/>
              <a:gd name="connsiteX20087" fmla="*/ 33099 w 8079933"/>
              <a:gd name="connsiteY20087" fmla="*/ 1301304 h 4687251"/>
              <a:gd name="connsiteX20088" fmla="*/ 36678 w 8079933"/>
              <a:gd name="connsiteY20088" fmla="*/ 1301737 h 4687251"/>
              <a:gd name="connsiteX20089" fmla="*/ 42214 w 8079933"/>
              <a:gd name="connsiteY20089" fmla="*/ 1307692 h 4687251"/>
              <a:gd name="connsiteX20090" fmla="*/ 39283 w 8079933"/>
              <a:gd name="connsiteY20090" fmla="*/ 1309316 h 4687251"/>
              <a:gd name="connsiteX20091" fmla="*/ 36354 w 8079933"/>
              <a:gd name="connsiteY20091" fmla="*/ 1312997 h 4687251"/>
              <a:gd name="connsiteX20092" fmla="*/ 32773 w 8079933"/>
              <a:gd name="connsiteY20092" fmla="*/ 1313863 h 4687251"/>
              <a:gd name="connsiteX20093" fmla="*/ 31469 w 8079933"/>
              <a:gd name="connsiteY20093" fmla="*/ 1310182 h 4687251"/>
              <a:gd name="connsiteX20094" fmla="*/ 35487 w 8079933"/>
              <a:gd name="connsiteY20094" fmla="*/ 1309208 h 4687251"/>
              <a:gd name="connsiteX20095" fmla="*/ 30494 w 8079933"/>
              <a:gd name="connsiteY20095" fmla="*/ 1306934 h 4687251"/>
              <a:gd name="connsiteX20096" fmla="*/ 29517 w 8079933"/>
              <a:gd name="connsiteY20096" fmla="*/ 1304335 h 4687251"/>
              <a:gd name="connsiteX20097" fmla="*/ 199019 w 8079933"/>
              <a:gd name="connsiteY20097" fmla="*/ 1300005 h 4687251"/>
              <a:gd name="connsiteX20098" fmla="*/ 201081 w 8079933"/>
              <a:gd name="connsiteY20098" fmla="*/ 1305960 h 4687251"/>
              <a:gd name="connsiteX20099" fmla="*/ 196958 w 8079933"/>
              <a:gd name="connsiteY20099" fmla="*/ 1304444 h 4687251"/>
              <a:gd name="connsiteX20100" fmla="*/ 4041266 w 8079933"/>
              <a:gd name="connsiteY20100" fmla="*/ 1299463 h 4687251"/>
              <a:gd name="connsiteX20101" fmla="*/ 4042677 w 8079933"/>
              <a:gd name="connsiteY20101" fmla="*/ 1303252 h 4687251"/>
              <a:gd name="connsiteX20102" fmla="*/ 4038120 w 8079933"/>
              <a:gd name="connsiteY20102" fmla="*/ 1303361 h 4687251"/>
              <a:gd name="connsiteX20103" fmla="*/ 126312 w 8079933"/>
              <a:gd name="connsiteY20103" fmla="*/ 1299247 h 4687251"/>
              <a:gd name="connsiteX20104" fmla="*/ 129676 w 8079933"/>
              <a:gd name="connsiteY20104" fmla="*/ 1300438 h 4687251"/>
              <a:gd name="connsiteX20105" fmla="*/ 130546 w 8079933"/>
              <a:gd name="connsiteY20105" fmla="*/ 1305418 h 4687251"/>
              <a:gd name="connsiteX20106" fmla="*/ 127074 w 8079933"/>
              <a:gd name="connsiteY20106" fmla="*/ 1307691 h 4687251"/>
              <a:gd name="connsiteX20107" fmla="*/ 127290 w 8079933"/>
              <a:gd name="connsiteY20107" fmla="*/ 1311805 h 4687251"/>
              <a:gd name="connsiteX20108" fmla="*/ 121538 w 8079933"/>
              <a:gd name="connsiteY20108" fmla="*/ 1311048 h 4687251"/>
              <a:gd name="connsiteX20109" fmla="*/ 115789 w 8079933"/>
              <a:gd name="connsiteY20109" fmla="*/ 1313213 h 4687251"/>
              <a:gd name="connsiteX20110" fmla="*/ 110796 w 8079933"/>
              <a:gd name="connsiteY20110" fmla="*/ 1312672 h 4687251"/>
              <a:gd name="connsiteX20111" fmla="*/ 108299 w 8079933"/>
              <a:gd name="connsiteY20111" fmla="*/ 1313646 h 4687251"/>
              <a:gd name="connsiteX20112" fmla="*/ 104828 w 8079933"/>
              <a:gd name="connsiteY20112" fmla="*/ 1311048 h 4687251"/>
              <a:gd name="connsiteX20113" fmla="*/ 106238 w 8079933"/>
              <a:gd name="connsiteY20113" fmla="*/ 1308774 h 4687251"/>
              <a:gd name="connsiteX20114" fmla="*/ 110037 w 8079933"/>
              <a:gd name="connsiteY20114" fmla="*/ 1309857 h 4687251"/>
              <a:gd name="connsiteX20115" fmla="*/ 113182 w 8079933"/>
              <a:gd name="connsiteY20115" fmla="*/ 1309965 h 4687251"/>
              <a:gd name="connsiteX20116" fmla="*/ 116764 w 8079933"/>
              <a:gd name="connsiteY20116" fmla="*/ 1306393 h 4687251"/>
              <a:gd name="connsiteX20117" fmla="*/ 119150 w 8079933"/>
              <a:gd name="connsiteY20117" fmla="*/ 1307367 h 4687251"/>
              <a:gd name="connsiteX20118" fmla="*/ 121430 w 8079933"/>
              <a:gd name="connsiteY20118" fmla="*/ 1306067 h 4687251"/>
              <a:gd name="connsiteX20119" fmla="*/ 121646 w 8079933"/>
              <a:gd name="connsiteY20119" fmla="*/ 1302387 h 4687251"/>
              <a:gd name="connsiteX20120" fmla="*/ 1116745 w 8079933"/>
              <a:gd name="connsiteY20120" fmla="*/ 1298922 h 4687251"/>
              <a:gd name="connsiteX20121" fmla="*/ 1119349 w 8079933"/>
              <a:gd name="connsiteY20121" fmla="*/ 1299571 h 4687251"/>
              <a:gd name="connsiteX20122" fmla="*/ 1119349 w 8079933"/>
              <a:gd name="connsiteY20122" fmla="*/ 1304660 h 4687251"/>
              <a:gd name="connsiteX20123" fmla="*/ 1115876 w 8079933"/>
              <a:gd name="connsiteY20123" fmla="*/ 1306826 h 4687251"/>
              <a:gd name="connsiteX20124" fmla="*/ 1113381 w 8079933"/>
              <a:gd name="connsiteY20124" fmla="*/ 1306176 h 4687251"/>
              <a:gd name="connsiteX20125" fmla="*/ 1069106 w 8079933"/>
              <a:gd name="connsiteY20125" fmla="*/ 1298922 h 4687251"/>
              <a:gd name="connsiteX20126" fmla="*/ 1072470 w 8079933"/>
              <a:gd name="connsiteY20126" fmla="*/ 1300654 h 4687251"/>
              <a:gd name="connsiteX20127" fmla="*/ 1070083 w 8079933"/>
              <a:gd name="connsiteY20127" fmla="*/ 1302712 h 4687251"/>
              <a:gd name="connsiteX20128" fmla="*/ 4176262 w 8079933"/>
              <a:gd name="connsiteY20128" fmla="*/ 1298922 h 4687251"/>
              <a:gd name="connsiteX20129" fmla="*/ 4174635 w 8079933"/>
              <a:gd name="connsiteY20129" fmla="*/ 1307799 h 4687251"/>
              <a:gd name="connsiteX20130" fmla="*/ 4174635 w 8079933"/>
              <a:gd name="connsiteY20130" fmla="*/ 1307800 h 4687251"/>
              <a:gd name="connsiteX20131" fmla="*/ 4176262 w 8079933"/>
              <a:gd name="connsiteY20131" fmla="*/ 1298922 h 4687251"/>
              <a:gd name="connsiteX20132" fmla="*/ 3792873 w 8079933"/>
              <a:gd name="connsiteY20132" fmla="*/ 1298706 h 4687251"/>
              <a:gd name="connsiteX20133" fmla="*/ 3798842 w 8079933"/>
              <a:gd name="connsiteY20133" fmla="*/ 1308667 h 4687251"/>
              <a:gd name="connsiteX20134" fmla="*/ 3803399 w 8079933"/>
              <a:gd name="connsiteY20134" fmla="*/ 1312132 h 4687251"/>
              <a:gd name="connsiteX20135" fmla="*/ 3799492 w 8079933"/>
              <a:gd name="connsiteY20135" fmla="*/ 1312023 h 4687251"/>
              <a:gd name="connsiteX20136" fmla="*/ 3793199 w 8079933"/>
              <a:gd name="connsiteY20136" fmla="*/ 1305743 h 4687251"/>
              <a:gd name="connsiteX20137" fmla="*/ 3791354 w 8079933"/>
              <a:gd name="connsiteY20137" fmla="*/ 1300655 h 4687251"/>
              <a:gd name="connsiteX20138" fmla="*/ 3795261 w 8079933"/>
              <a:gd name="connsiteY20138" fmla="*/ 1297947 h 4687251"/>
              <a:gd name="connsiteX20139" fmla="*/ 3797757 w 8079933"/>
              <a:gd name="connsiteY20139" fmla="*/ 1297947 h 4687251"/>
              <a:gd name="connsiteX20140" fmla="*/ 3802314 w 8079933"/>
              <a:gd name="connsiteY20140" fmla="*/ 1301087 h 4687251"/>
              <a:gd name="connsiteX20141" fmla="*/ 3802314 w 8079933"/>
              <a:gd name="connsiteY20141" fmla="*/ 1305094 h 4687251"/>
              <a:gd name="connsiteX20142" fmla="*/ 3799168 w 8079933"/>
              <a:gd name="connsiteY20142" fmla="*/ 1304010 h 4687251"/>
              <a:gd name="connsiteX20143" fmla="*/ 3802314 w 8079933"/>
              <a:gd name="connsiteY20143" fmla="*/ 1297730 h 4687251"/>
              <a:gd name="connsiteX20144" fmla="*/ 3804159 w 8079933"/>
              <a:gd name="connsiteY20144" fmla="*/ 1297838 h 4687251"/>
              <a:gd name="connsiteX20145" fmla="*/ 3805027 w 8079933"/>
              <a:gd name="connsiteY20145" fmla="*/ 1300979 h 4687251"/>
              <a:gd name="connsiteX20146" fmla="*/ 4045609 w 8079933"/>
              <a:gd name="connsiteY20146" fmla="*/ 1296540 h 4687251"/>
              <a:gd name="connsiteX20147" fmla="*/ 4048973 w 8079933"/>
              <a:gd name="connsiteY20147" fmla="*/ 1297514 h 4687251"/>
              <a:gd name="connsiteX20148" fmla="*/ 4050601 w 8079933"/>
              <a:gd name="connsiteY20148" fmla="*/ 1300330 h 4687251"/>
              <a:gd name="connsiteX20149" fmla="*/ 4045718 w 8079933"/>
              <a:gd name="connsiteY20149" fmla="*/ 1303253 h 4687251"/>
              <a:gd name="connsiteX20150" fmla="*/ 228104 w 8079933"/>
              <a:gd name="connsiteY20150" fmla="*/ 1295024 h 4687251"/>
              <a:gd name="connsiteX20151" fmla="*/ 230817 w 8079933"/>
              <a:gd name="connsiteY20151" fmla="*/ 1297406 h 4687251"/>
              <a:gd name="connsiteX20152" fmla="*/ 228428 w 8079933"/>
              <a:gd name="connsiteY20152" fmla="*/ 1298706 h 4687251"/>
              <a:gd name="connsiteX20153" fmla="*/ 225174 w 8079933"/>
              <a:gd name="connsiteY20153" fmla="*/ 1297189 h 4687251"/>
              <a:gd name="connsiteX20154" fmla="*/ 1091134 w 8079933"/>
              <a:gd name="connsiteY20154" fmla="*/ 1294375 h 4687251"/>
              <a:gd name="connsiteX20155" fmla="*/ 1094172 w 8079933"/>
              <a:gd name="connsiteY20155" fmla="*/ 1296973 h 4687251"/>
              <a:gd name="connsiteX20156" fmla="*/ 1091459 w 8079933"/>
              <a:gd name="connsiteY20156" fmla="*/ 1300005 h 4687251"/>
              <a:gd name="connsiteX20157" fmla="*/ 1088854 w 8079933"/>
              <a:gd name="connsiteY20157" fmla="*/ 1300005 h 4687251"/>
              <a:gd name="connsiteX20158" fmla="*/ 1085708 w 8079933"/>
              <a:gd name="connsiteY20158" fmla="*/ 1302279 h 4687251"/>
              <a:gd name="connsiteX20159" fmla="*/ 1083321 w 8079933"/>
              <a:gd name="connsiteY20159" fmla="*/ 1301304 h 4687251"/>
              <a:gd name="connsiteX20160" fmla="*/ 1087010 w 8079933"/>
              <a:gd name="connsiteY20160" fmla="*/ 1295783 h 4687251"/>
              <a:gd name="connsiteX20161" fmla="*/ 214538 w 8079933"/>
              <a:gd name="connsiteY20161" fmla="*/ 1294158 h 4687251"/>
              <a:gd name="connsiteX20162" fmla="*/ 218986 w 8079933"/>
              <a:gd name="connsiteY20162" fmla="*/ 1298272 h 4687251"/>
              <a:gd name="connsiteX20163" fmla="*/ 215190 w 8079933"/>
              <a:gd name="connsiteY20163" fmla="*/ 1297948 h 4687251"/>
              <a:gd name="connsiteX20164" fmla="*/ 209980 w 8079933"/>
              <a:gd name="connsiteY20164" fmla="*/ 1302171 h 4687251"/>
              <a:gd name="connsiteX20165" fmla="*/ 210416 w 8079933"/>
              <a:gd name="connsiteY20165" fmla="*/ 1297948 h 4687251"/>
              <a:gd name="connsiteX20166" fmla="*/ 2548514 w 8079933"/>
              <a:gd name="connsiteY20166" fmla="*/ 1293508 h 4687251"/>
              <a:gd name="connsiteX20167" fmla="*/ 2549057 w 8079933"/>
              <a:gd name="connsiteY20167" fmla="*/ 1295240 h 4687251"/>
              <a:gd name="connsiteX20168" fmla="*/ 2548623 w 8079933"/>
              <a:gd name="connsiteY20168" fmla="*/ 1297730 h 4687251"/>
              <a:gd name="connsiteX20169" fmla="*/ 2549816 w 8079933"/>
              <a:gd name="connsiteY20169" fmla="*/ 1298597 h 4687251"/>
              <a:gd name="connsiteX20170" fmla="*/ 2549599 w 8079933"/>
              <a:gd name="connsiteY20170" fmla="*/ 1300762 h 4687251"/>
              <a:gd name="connsiteX20171" fmla="*/ 2546127 w 8079933"/>
              <a:gd name="connsiteY20171" fmla="*/ 1303360 h 4687251"/>
              <a:gd name="connsiteX20172" fmla="*/ 2544391 w 8079933"/>
              <a:gd name="connsiteY20172" fmla="*/ 1305851 h 4687251"/>
              <a:gd name="connsiteX20173" fmla="*/ 2541243 w 8079933"/>
              <a:gd name="connsiteY20173" fmla="*/ 1305959 h 4687251"/>
              <a:gd name="connsiteX20174" fmla="*/ 2536903 w 8079933"/>
              <a:gd name="connsiteY20174" fmla="*/ 1309424 h 4687251"/>
              <a:gd name="connsiteX20175" fmla="*/ 2535058 w 8079933"/>
              <a:gd name="connsiteY20175" fmla="*/ 1309424 h 4687251"/>
              <a:gd name="connsiteX20176" fmla="*/ 2534407 w 8079933"/>
              <a:gd name="connsiteY20176" fmla="*/ 1306608 h 4687251"/>
              <a:gd name="connsiteX20177" fmla="*/ 2535817 w 8079933"/>
              <a:gd name="connsiteY20177" fmla="*/ 1302602 h 4687251"/>
              <a:gd name="connsiteX20178" fmla="*/ 2537771 w 8079933"/>
              <a:gd name="connsiteY20178" fmla="*/ 1300437 h 4687251"/>
              <a:gd name="connsiteX20179" fmla="*/ 2538205 w 8079933"/>
              <a:gd name="connsiteY20179" fmla="*/ 1298271 h 4687251"/>
              <a:gd name="connsiteX20180" fmla="*/ 2543088 w 8079933"/>
              <a:gd name="connsiteY20180" fmla="*/ 1294157 h 4687251"/>
              <a:gd name="connsiteX20181" fmla="*/ 1152068 w 8079933"/>
              <a:gd name="connsiteY20181" fmla="*/ 1292851 h 4687251"/>
              <a:gd name="connsiteX20182" fmla="*/ 1155267 w 8079933"/>
              <a:gd name="connsiteY20182" fmla="*/ 1295025 h 4687251"/>
              <a:gd name="connsiteX20183" fmla="*/ 1156137 w 8079933"/>
              <a:gd name="connsiteY20183" fmla="*/ 1296760 h 4687251"/>
              <a:gd name="connsiteX20184" fmla="*/ 1155267 w 8079933"/>
              <a:gd name="connsiteY20184" fmla="*/ 1295024 h 4687251"/>
              <a:gd name="connsiteX20185" fmla="*/ 1118480 w 8079933"/>
              <a:gd name="connsiteY20185" fmla="*/ 1291885 h 4687251"/>
              <a:gd name="connsiteX20186" fmla="*/ 1118480 w 8079933"/>
              <a:gd name="connsiteY20186" fmla="*/ 1295133 h 4687251"/>
              <a:gd name="connsiteX20187" fmla="*/ 1116093 w 8079933"/>
              <a:gd name="connsiteY20187" fmla="*/ 1297515 h 4687251"/>
              <a:gd name="connsiteX20188" fmla="*/ 1113488 w 8079933"/>
              <a:gd name="connsiteY20188" fmla="*/ 1301522 h 4687251"/>
              <a:gd name="connsiteX20189" fmla="*/ 1110125 w 8079933"/>
              <a:gd name="connsiteY20189" fmla="*/ 1300763 h 4687251"/>
              <a:gd name="connsiteX20190" fmla="*/ 1110776 w 8079933"/>
              <a:gd name="connsiteY20190" fmla="*/ 1296865 h 4687251"/>
              <a:gd name="connsiteX20191" fmla="*/ 238630 w 8079933"/>
              <a:gd name="connsiteY20191" fmla="*/ 1290802 h 4687251"/>
              <a:gd name="connsiteX20192" fmla="*/ 240476 w 8079933"/>
              <a:gd name="connsiteY20192" fmla="*/ 1293400 h 4687251"/>
              <a:gd name="connsiteX20193" fmla="*/ 237112 w 8079933"/>
              <a:gd name="connsiteY20193" fmla="*/ 1295674 h 4687251"/>
              <a:gd name="connsiteX20194" fmla="*/ 233637 w 8079933"/>
              <a:gd name="connsiteY20194" fmla="*/ 1292967 h 4687251"/>
              <a:gd name="connsiteX20195" fmla="*/ 1124232 w 8079933"/>
              <a:gd name="connsiteY20195" fmla="*/ 1290368 h 4687251"/>
              <a:gd name="connsiteX20196" fmla="*/ 1125751 w 8079933"/>
              <a:gd name="connsiteY20196" fmla="*/ 1291667 h 4687251"/>
              <a:gd name="connsiteX20197" fmla="*/ 1125534 w 8079933"/>
              <a:gd name="connsiteY20197" fmla="*/ 1296864 h 4687251"/>
              <a:gd name="connsiteX20198" fmla="*/ 1122821 w 8079933"/>
              <a:gd name="connsiteY20198" fmla="*/ 1300329 h 4687251"/>
              <a:gd name="connsiteX20199" fmla="*/ 1120217 w 8079933"/>
              <a:gd name="connsiteY20199" fmla="*/ 1296756 h 4687251"/>
              <a:gd name="connsiteX20200" fmla="*/ 1121953 w 8079933"/>
              <a:gd name="connsiteY20200" fmla="*/ 1294266 h 4687251"/>
              <a:gd name="connsiteX20201" fmla="*/ 1094714 w 8079933"/>
              <a:gd name="connsiteY20201" fmla="*/ 1287228 h 4687251"/>
              <a:gd name="connsiteX20202" fmla="*/ 1098730 w 8079933"/>
              <a:gd name="connsiteY20202" fmla="*/ 1288311 h 4687251"/>
              <a:gd name="connsiteX20203" fmla="*/ 1101768 w 8079933"/>
              <a:gd name="connsiteY20203" fmla="*/ 1293291 h 4687251"/>
              <a:gd name="connsiteX20204" fmla="*/ 1098730 w 8079933"/>
              <a:gd name="connsiteY20204" fmla="*/ 1297730 h 4687251"/>
              <a:gd name="connsiteX20205" fmla="*/ 1097645 w 8079933"/>
              <a:gd name="connsiteY20205" fmla="*/ 1300437 h 4687251"/>
              <a:gd name="connsiteX20206" fmla="*/ 1100466 w 8079933"/>
              <a:gd name="connsiteY20206" fmla="*/ 1303360 h 4687251"/>
              <a:gd name="connsiteX20207" fmla="*/ 1101660 w 8079933"/>
              <a:gd name="connsiteY20207" fmla="*/ 1302711 h 4687251"/>
              <a:gd name="connsiteX20208" fmla="*/ 1106978 w 8079933"/>
              <a:gd name="connsiteY20208" fmla="*/ 1305850 h 4687251"/>
              <a:gd name="connsiteX20209" fmla="*/ 1107194 w 8079933"/>
              <a:gd name="connsiteY20209" fmla="*/ 1312888 h 4687251"/>
              <a:gd name="connsiteX20210" fmla="*/ 1103830 w 8079933"/>
              <a:gd name="connsiteY20210" fmla="*/ 1313213 h 4687251"/>
              <a:gd name="connsiteX20211" fmla="*/ 1107846 w 8079933"/>
              <a:gd name="connsiteY20211" fmla="*/ 1317544 h 4687251"/>
              <a:gd name="connsiteX20212" fmla="*/ 1107846 w 8079933"/>
              <a:gd name="connsiteY20212" fmla="*/ 1320900 h 4687251"/>
              <a:gd name="connsiteX20213" fmla="*/ 1104373 w 8079933"/>
              <a:gd name="connsiteY20213" fmla="*/ 1321225 h 4687251"/>
              <a:gd name="connsiteX20214" fmla="*/ 1103179 w 8079933"/>
              <a:gd name="connsiteY20214" fmla="*/ 1320034 h 4687251"/>
              <a:gd name="connsiteX20215" fmla="*/ 1101117 w 8079933"/>
              <a:gd name="connsiteY20215" fmla="*/ 1324581 h 4687251"/>
              <a:gd name="connsiteX20216" fmla="*/ 1106434 w 8079933"/>
              <a:gd name="connsiteY20216" fmla="*/ 1328371 h 4687251"/>
              <a:gd name="connsiteX20217" fmla="*/ 1108822 w 8079933"/>
              <a:gd name="connsiteY20217" fmla="*/ 1332485 h 4687251"/>
              <a:gd name="connsiteX20218" fmla="*/ 1104047 w 8079933"/>
              <a:gd name="connsiteY20218" fmla="*/ 1335409 h 4687251"/>
              <a:gd name="connsiteX20219" fmla="*/ 1103505 w 8079933"/>
              <a:gd name="connsiteY20219" fmla="*/ 1336924 h 4687251"/>
              <a:gd name="connsiteX20220" fmla="*/ 1106760 w 8079933"/>
              <a:gd name="connsiteY20220" fmla="*/ 1336383 h 4687251"/>
              <a:gd name="connsiteX20221" fmla="*/ 1108714 w 8079933"/>
              <a:gd name="connsiteY20221" fmla="*/ 1337466 h 4687251"/>
              <a:gd name="connsiteX20222" fmla="*/ 1108714 w 8079933"/>
              <a:gd name="connsiteY20222" fmla="*/ 1340822 h 4687251"/>
              <a:gd name="connsiteX20223" fmla="*/ 1104373 w 8079933"/>
              <a:gd name="connsiteY20223" fmla="*/ 1343745 h 4687251"/>
              <a:gd name="connsiteX20224" fmla="*/ 1101660 w 8079933"/>
              <a:gd name="connsiteY20224" fmla="*/ 1344503 h 4687251"/>
              <a:gd name="connsiteX20225" fmla="*/ 1099598 w 8079933"/>
              <a:gd name="connsiteY20225" fmla="*/ 1348293 h 4687251"/>
              <a:gd name="connsiteX20226" fmla="*/ 1101660 w 8079933"/>
              <a:gd name="connsiteY20226" fmla="*/ 1348401 h 4687251"/>
              <a:gd name="connsiteX20227" fmla="*/ 1103505 w 8079933"/>
              <a:gd name="connsiteY20227" fmla="*/ 1350891 h 4687251"/>
              <a:gd name="connsiteX20228" fmla="*/ 1101443 w 8079933"/>
              <a:gd name="connsiteY20228" fmla="*/ 1352948 h 4687251"/>
              <a:gd name="connsiteX20229" fmla="*/ 1103396 w 8079933"/>
              <a:gd name="connsiteY20229" fmla="*/ 1356197 h 4687251"/>
              <a:gd name="connsiteX20230" fmla="*/ 1100792 w 8079933"/>
              <a:gd name="connsiteY20230" fmla="*/ 1358578 h 4687251"/>
              <a:gd name="connsiteX20231" fmla="*/ 1096777 w 8079933"/>
              <a:gd name="connsiteY20231" fmla="*/ 1358795 h 4687251"/>
              <a:gd name="connsiteX20232" fmla="*/ 1094606 w 8079933"/>
              <a:gd name="connsiteY20232" fmla="*/ 1356846 h 4687251"/>
              <a:gd name="connsiteX20233" fmla="*/ 1095909 w 8079933"/>
              <a:gd name="connsiteY20233" fmla="*/ 1352948 h 4687251"/>
              <a:gd name="connsiteX20234" fmla="*/ 1091459 w 8079933"/>
              <a:gd name="connsiteY20234" fmla="*/ 1349268 h 4687251"/>
              <a:gd name="connsiteX20235" fmla="*/ 1092110 w 8079933"/>
              <a:gd name="connsiteY20235" fmla="*/ 1345694 h 4687251"/>
              <a:gd name="connsiteX20236" fmla="*/ 1095257 w 8079933"/>
              <a:gd name="connsiteY20236" fmla="*/ 1342987 h 4687251"/>
              <a:gd name="connsiteX20237" fmla="*/ 1092653 w 8079933"/>
              <a:gd name="connsiteY20237" fmla="*/ 1340064 h 4687251"/>
              <a:gd name="connsiteX20238" fmla="*/ 1093521 w 8079933"/>
              <a:gd name="connsiteY20238" fmla="*/ 1337466 h 4687251"/>
              <a:gd name="connsiteX20239" fmla="*/ 1096994 w 8079933"/>
              <a:gd name="connsiteY20239" fmla="*/ 1335409 h 4687251"/>
              <a:gd name="connsiteX20240" fmla="*/ 1095040 w 8079933"/>
              <a:gd name="connsiteY20240" fmla="*/ 1333135 h 4687251"/>
              <a:gd name="connsiteX20241" fmla="*/ 1092002 w 8079933"/>
              <a:gd name="connsiteY20241" fmla="*/ 1333784 h 4687251"/>
              <a:gd name="connsiteX20242" fmla="*/ 1090591 w 8079933"/>
              <a:gd name="connsiteY20242" fmla="*/ 1336275 h 4687251"/>
              <a:gd name="connsiteX20243" fmla="*/ 1088746 w 8079933"/>
              <a:gd name="connsiteY20243" fmla="*/ 1334001 h 4687251"/>
              <a:gd name="connsiteX20244" fmla="*/ 1085273 w 8079933"/>
              <a:gd name="connsiteY20244" fmla="*/ 1334001 h 4687251"/>
              <a:gd name="connsiteX20245" fmla="*/ 1083863 w 8079933"/>
              <a:gd name="connsiteY20245" fmla="*/ 1331619 h 4687251"/>
              <a:gd name="connsiteX20246" fmla="*/ 1085599 w 8079933"/>
              <a:gd name="connsiteY20246" fmla="*/ 1329021 h 4687251"/>
              <a:gd name="connsiteX20247" fmla="*/ 1088203 w 8079933"/>
              <a:gd name="connsiteY20247" fmla="*/ 1329021 h 4687251"/>
              <a:gd name="connsiteX20248" fmla="*/ 1089397 w 8079933"/>
              <a:gd name="connsiteY20248" fmla="*/ 1325772 h 4687251"/>
              <a:gd name="connsiteX20249" fmla="*/ 1089397 w 8079933"/>
              <a:gd name="connsiteY20249" fmla="*/ 1323715 h 4687251"/>
              <a:gd name="connsiteX20250" fmla="*/ 1094172 w 8079933"/>
              <a:gd name="connsiteY20250" fmla="*/ 1320034 h 4687251"/>
              <a:gd name="connsiteX20251" fmla="*/ 1094172 w 8079933"/>
              <a:gd name="connsiteY20251" fmla="*/ 1317869 h 4687251"/>
              <a:gd name="connsiteX20252" fmla="*/ 1091459 w 8079933"/>
              <a:gd name="connsiteY20252" fmla="*/ 1317111 h 4687251"/>
              <a:gd name="connsiteX20253" fmla="*/ 1088746 w 8079933"/>
              <a:gd name="connsiteY20253" fmla="*/ 1317977 h 4687251"/>
              <a:gd name="connsiteX20254" fmla="*/ 1087553 w 8079933"/>
              <a:gd name="connsiteY20254" fmla="*/ 1316136 h 4687251"/>
              <a:gd name="connsiteX20255" fmla="*/ 1088854 w 8079933"/>
              <a:gd name="connsiteY20255" fmla="*/ 1314079 h 4687251"/>
              <a:gd name="connsiteX20256" fmla="*/ 1093304 w 8079933"/>
              <a:gd name="connsiteY20256" fmla="*/ 1312888 h 4687251"/>
              <a:gd name="connsiteX20257" fmla="*/ 1094606 w 8079933"/>
              <a:gd name="connsiteY20257" fmla="*/ 1308340 h 4687251"/>
              <a:gd name="connsiteX20258" fmla="*/ 1094172 w 8079933"/>
              <a:gd name="connsiteY20258" fmla="*/ 1304876 h 4687251"/>
              <a:gd name="connsiteX20259" fmla="*/ 1096342 w 8079933"/>
              <a:gd name="connsiteY20259" fmla="*/ 1298163 h 4687251"/>
              <a:gd name="connsiteX20260" fmla="*/ 1095257 w 8079933"/>
              <a:gd name="connsiteY20260" fmla="*/ 1293724 h 4687251"/>
              <a:gd name="connsiteX20261" fmla="*/ 1092002 w 8079933"/>
              <a:gd name="connsiteY20261" fmla="*/ 1289718 h 4687251"/>
              <a:gd name="connsiteX20262" fmla="*/ 231360 w 8079933"/>
              <a:gd name="connsiteY20262" fmla="*/ 1287228 h 4687251"/>
              <a:gd name="connsiteX20263" fmla="*/ 232551 w 8079933"/>
              <a:gd name="connsiteY20263" fmla="*/ 1289934 h 4687251"/>
              <a:gd name="connsiteX20264" fmla="*/ 228104 w 8079933"/>
              <a:gd name="connsiteY20264" fmla="*/ 1290152 h 4687251"/>
              <a:gd name="connsiteX20265" fmla="*/ 4173292 w 8079933"/>
              <a:gd name="connsiteY20265" fmla="*/ 1284978 h 4687251"/>
              <a:gd name="connsiteX20266" fmla="*/ 4174960 w 8079933"/>
              <a:gd name="connsiteY20266" fmla="*/ 1289393 h 4687251"/>
              <a:gd name="connsiteX20267" fmla="*/ 4176133 w 8079933"/>
              <a:gd name="connsiteY20267" fmla="*/ 1297974 h 4687251"/>
              <a:gd name="connsiteX20268" fmla="*/ 4174961 w 8079933"/>
              <a:gd name="connsiteY20268" fmla="*/ 1289394 h 4687251"/>
              <a:gd name="connsiteX20269" fmla="*/ 1109256 w 8079933"/>
              <a:gd name="connsiteY20269" fmla="*/ 1284955 h 4687251"/>
              <a:gd name="connsiteX20270" fmla="*/ 1116744 w 8079933"/>
              <a:gd name="connsiteY20270" fmla="*/ 1285712 h 4687251"/>
              <a:gd name="connsiteX20271" fmla="*/ 1116093 w 8079933"/>
              <a:gd name="connsiteY20271" fmla="*/ 1288744 h 4687251"/>
              <a:gd name="connsiteX20272" fmla="*/ 1111644 w 8079933"/>
              <a:gd name="connsiteY20272" fmla="*/ 1294483 h 4687251"/>
              <a:gd name="connsiteX20273" fmla="*/ 1107628 w 8079933"/>
              <a:gd name="connsiteY20273" fmla="*/ 1292750 h 4687251"/>
              <a:gd name="connsiteX20274" fmla="*/ 1105241 w 8079933"/>
              <a:gd name="connsiteY20274" fmla="*/ 1288961 h 4687251"/>
              <a:gd name="connsiteX20275" fmla="*/ 1134216 w 8079933"/>
              <a:gd name="connsiteY20275" fmla="*/ 1278567 h 4687251"/>
              <a:gd name="connsiteX20276" fmla="*/ 1134216 w 8079933"/>
              <a:gd name="connsiteY20276" fmla="*/ 1278568 h 4687251"/>
              <a:gd name="connsiteX20277" fmla="*/ 1138231 w 8079933"/>
              <a:gd name="connsiteY20277" fmla="*/ 1278676 h 4687251"/>
              <a:gd name="connsiteX20278" fmla="*/ 1141486 w 8079933"/>
              <a:gd name="connsiteY20278" fmla="*/ 1279975 h 4687251"/>
              <a:gd name="connsiteX20279" fmla="*/ 1141486 w 8079933"/>
              <a:gd name="connsiteY20279" fmla="*/ 1279975 h 4687251"/>
              <a:gd name="connsiteX20280" fmla="*/ 1138230 w 8079933"/>
              <a:gd name="connsiteY20280" fmla="*/ 1278675 h 4687251"/>
              <a:gd name="connsiteX20281" fmla="*/ 3087840 w 8079933"/>
              <a:gd name="connsiteY20281" fmla="*/ 1275753 h 4687251"/>
              <a:gd name="connsiteX20282" fmla="*/ 3087298 w 8079933"/>
              <a:gd name="connsiteY20282" fmla="*/ 1277485 h 4687251"/>
              <a:gd name="connsiteX20283" fmla="*/ 3086538 w 8079933"/>
              <a:gd name="connsiteY20283" fmla="*/ 1276077 h 4687251"/>
              <a:gd name="connsiteX20284" fmla="*/ 4174526 w 8079933"/>
              <a:gd name="connsiteY20284" fmla="*/ 1275427 h 4687251"/>
              <a:gd name="connsiteX20285" fmla="*/ 4172464 w 8079933"/>
              <a:gd name="connsiteY20285" fmla="*/ 1282789 h 4687251"/>
              <a:gd name="connsiteX20286" fmla="*/ 4172464 w 8079933"/>
              <a:gd name="connsiteY20286" fmla="*/ 1282789 h 4687251"/>
              <a:gd name="connsiteX20287" fmla="*/ 4174526 w 8079933"/>
              <a:gd name="connsiteY20287" fmla="*/ 1275428 h 4687251"/>
              <a:gd name="connsiteX20288" fmla="*/ 3090227 w 8079933"/>
              <a:gd name="connsiteY20288" fmla="*/ 1269255 h 4687251"/>
              <a:gd name="connsiteX20289" fmla="*/ 3090119 w 8079933"/>
              <a:gd name="connsiteY20289" fmla="*/ 1271637 h 4687251"/>
              <a:gd name="connsiteX20290" fmla="*/ 3088600 w 8079933"/>
              <a:gd name="connsiteY20290" fmla="*/ 1272612 h 4687251"/>
              <a:gd name="connsiteX20291" fmla="*/ 3089034 w 8079933"/>
              <a:gd name="connsiteY20291" fmla="*/ 1270013 h 4687251"/>
              <a:gd name="connsiteX20292" fmla="*/ 1119674 w 8079933"/>
              <a:gd name="connsiteY20292" fmla="*/ 1268823 h 4687251"/>
              <a:gd name="connsiteX20293" fmla="*/ 1122170 w 8079933"/>
              <a:gd name="connsiteY20293" fmla="*/ 1276402 h 4687251"/>
              <a:gd name="connsiteX20294" fmla="*/ 1119240 w 8079933"/>
              <a:gd name="connsiteY20294" fmla="*/ 1280840 h 4687251"/>
              <a:gd name="connsiteX20295" fmla="*/ 1113489 w 8079933"/>
              <a:gd name="connsiteY20295" fmla="*/ 1282465 h 4687251"/>
              <a:gd name="connsiteX20296" fmla="*/ 1111753 w 8079933"/>
              <a:gd name="connsiteY20296" fmla="*/ 1280191 h 4687251"/>
              <a:gd name="connsiteX20297" fmla="*/ 1111753 w 8079933"/>
              <a:gd name="connsiteY20297" fmla="*/ 1277268 h 4687251"/>
              <a:gd name="connsiteX20298" fmla="*/ 1116310 w 8079933"/>
              <a:gd name="connsiteY20298" fmla="*/ 1270555 h 4687251"/>
              <a:gd name="connsiteX20299" fmla="*/ 288980 w 8079933"/>
              <a:gd name="connsiteY20299" fmla="*/ 1267308 h 4687251"/>
              <a:gd name="connsiteX20300" fmla="*/ 290500 w 8079933"/>
              <a:gd name="connsiteY20300" fmla="*/ 1272288 h 4687251"/>
              <a:gd name="connsiteX20301" fmla="*/ 293649 w 8079933"/>
              <a:gd name="connsiteY20301" fmla="*/ 1272938 h 4687251"/>
              <a:gd name="connsiteX20302" fmla="*/ 288980 w 8079933"/>
              <a:gd name="connsiteY20302" fmla="*/ 1274886 h 4687251"/>
              <a:gd name="connsiteX20303" fmla="*/ 287462 w 8079933"/>
              <a:gd name="connsiteY20303" fmla="*/ 1279326 h 4687251"/>
              <a:gd name="connsiteX20304" fmla="*/ 280408 w 8079933"/>
              <a:gd name="connsiteY20304" fmla="*/ 1281925 h 4687251"/>
              <a:gd name="connsiteX20305" fmla="*/ 272813 w 8079933"/>
              <a:gd name="connsiteY20305" fmla="*/ 1290370 h 4687251"/>
              <a:gd name="connsiteX20306" fmla="*/ 266410 w 8079933"/>
              <a:gd name="connsiteY20306" fmla="*/ 1290370 h 4687251"/>
              <a:gd name="connsiteX20307" fmla="*/ 261201 w 8079933"/>
              <a:gd name="connsiteY20307" fmla="*/ 1296217 h 4687251"/>
              <a:gd name="connsiteX20308" fmla="*/ 252196 w 8079933"/>
              <a:gd name="connsiteY20308" fmla="*/ 1296217 h 4687251"/>
              <a:gd name="connsiteX20309" fmla="*/ 256862 w 8079933"/>
              <a:gd name="connsiteY20309" fmla="*/ 1292102 h 4687251"/>
              <a:gd name="connsiteX20310" fmla="*/ 259572 w 8079933"/>
              <a:gd name="connsiteY20310" fmla="*/ 1292102 h 4687251"/>
              <a:gd name="connsiteX20311" fmla="*/ 262830 w 8079933"/>
              <a:gd name="connsiteY20311" fmla="*/ 1286797 h 4687251"/>
              <a:gd name="connsiteX20312" fmla="*/ 265762 w 8079933"/>
              <a:gd name="connsiteY20312" fmla="*/ 1285064 h 4687251"/>
              <a:gd name="connsiteX20313" fmla="*/ 265762 w 8079933"/>
              <a:gd name="connsiteY20313" fmla="*/ 1282682 h 4687251"/>
              <a:gd name="connsiteX20314" fmla="*/ 271619 w 8079933"/>
              <a:gd name="connsiteY20314" fmla="*/ 1277702 h 4687251"/>
              <a:gd name="connsiteX20315" fmla="*/ 276285 w 8079933"/>
              <a:gd name="connsiteY20315" fmla="*/ 1276836 h 4687251"/>
              <a:gd name="connsiteX20316" fmla="*/ 278130 w 8079933"/>
              <a:gd name="connsiteY20316" fmla="*/ 1272397 h 4687251"/>
              <a:gd name="connsiteX20317" fmla="*/ 276936 w 8079933"/>
              <a:gd name="connsiteY20317" fmla="*/ 1269690 h 4687251"/>
              <a:gd name="connsiteX20318" fmla="*/ 284533 w 8079933"/>
              <a:gd name="connsiteY20318" fmla="*/ 1269690 h 4687251"/>
              <a:gd name="connsiteX20319" fmla="*/ 288980 w 8079933"/>
              <a:gd name="connsiteY20319" fmla="*/ 1267308 h 4687251"/>
              <a:gd name="connsiteX20320" fmla="*/ 4092271 w 8079933"/>
              <a:gd name="connsiteY20320" fmla="*/ 1262110 h 4687251"/>
              <a:gd name="connsiteX20321" fmla="*/ 4093465 w 8079933"/>
              <a:gd name="connsiteY20321" fmla="*/ 1267307 h 4687251"/>
              <a:gd name="connsiteX20322" fmla="*/ 4091077 w 8079933"/>
              <a:gd name="connsiteY20322" fmla="*/ 1269473 h 4687251"/>
              <a:gd name="connsiteX20323" fmla="*/ 4088039 w 8079933"/>
              <a:gd name="connsiteY20323" fmla="*/ 1266874 h 4687251"/>
              <a:gd name="connsiteX20324" fmla="*/ 3093157 w 8079933"/>
              <a:gd name="connsiteY20324" fmla="*/ 1261244 h 4687251"/>
              <a:gd name="connsiteX20325" fmla="*/ 3092506 w 8079933"/>
              <a:gd name="connsiteY20325" fmla="*/ 1263084 h 4687251"/>
              <a:gd name="connsiteX20326" fmla="*/ 3091313 w 8079933"/>
              <a:gd name="connsiteY20326" fmla="*/ 1263301 h 4687251"/>
              <a:gd name="connsiteX20327" fmla="*/ 3090879 w 8079933"/>
              <a:gd name="connsiteY20327" fmla="*/ 1261893 h 4687251"/>
              <a:gd name="connsiteX20328" fmla="*/ 3091530 w 8079933"/>
              <a:gd name="connsiteY20328" fmla="*/ 1261352 h 4687251"/>
              <a:gd name="connsiteX20329" fmla="*/ 2611778 w 8079933"/>
              <a:gd name="connsiteY20329" fmla="*/ 1258862 h 4687251"/>
              <a:gd name="connsiteX20330" fmla="*/ 2618832 w 8079933"/>
              <a:gd name="connsiteY20330" fmla="*/ 1259945 h 4687251"/>
              <a:gd name="connsiteX20331" fmla="*/ 2623390 w 8079933"/>
              <a:gd name="connsiteY20331" fmla="*/ 1262543 h 4687251"/>
              <a:gd name="connsiteX20332" fmla="*/ 2623715 w 8079933"/>
              <a:gd name="connsiteY20332" fmla="*/ 1264492 h 4687251"/>
              <a:gd name="connsiteX20333" fmla="*/ 2621437 w 8079933"/>
              <a:gd name="connsiteY20333" fmla="*/ 1266116 h 4687251"/>
              <a:gd name="connsiteX20334" fmla="*/ 2621002 w 8079933"/>
              <a:gd name="connsiteY20334" fmla="*/ 1268823 h 4687251"/>
              <a:gd name="connsiteX20335" fmla="*/ 2619266 w 8079933"/>
              <a:gd name="connsiteY20335" fmla="*/ 1270339 h 4687251"/>
              <a:gd name="connsiteX20336" fmla="*/ 2618289 w 8079933"/>
              <a:gd name="connsiteY20336" fmla="*/ 1272829 h 4687251"/>
              <a:gd name="connsiteX20337" fmla="*/ 2617204 w 8079933"/>
              <a:gd name="connsiteY20337" fmla="*/ 1273154 h 4687251"/>
              <a:gd name="connsiteX20338" fmla="*/ 2615468 w 8079933"/>
              <a:gd name="connsiteY20338" fmla="*/ 1271421 h 4687251"/>
              <a:gd name="connsiteX20339" fmla="*/ 2615251 w 8079933"/>
              <a:gd name="connsiteY20339" fmla="*/ 1268715 h 4687251"/>
              <a:gd name="connsiteX20340" fmla="*/ 2612972 w 8079933"/>
              <a:gd name="connsiteY20340" fmla="*/ 1266982 h 4687251"/>
              <a:gd name="connsiteX20341" fmla="*/ 2610476 w 8079933"/>
              <a:gd name="connsiteY20341" fmla="*/ 1266441 h 4687251"/>
              <a:gd name="connsiteX20342" fmla="*/ 2607546 w 8079933"/>
              <a:gd name="connsiteY20342" fmla="*/ 1262976 h 4687251"/>
              <a:gd name="connsiteX20343" fmla="*/ 2607546 w 8079933"/>
              <a:gd name="connsiteY20343" fmla="*/ 1260486 h 4687251"/>
              <a:gd name="connsiteX20344" fmla="*/ 2609499 w 8079933"/>
              <a:gd name="connsiteY20344" fmla="*/ 1260053 h 4687251"/>
              <a:gd name="connsiteX20345" fmla="*/ 1087662 w 8079933"/>
              <a:gd name="connsiteY20345" fmla="*/ 1256263 h 4687251"/>
              <a:gd name="connsiteX20346" fmla="*/ 1089940 w 8079933"/>
              <a:gd name="connsiteY20346" fmla="*/ 1256263 h 4687251"/>
              <a:gd name="connsiteX20347" fmla="*/ 1094064 w 8079933"/>
              <a:gd name="connsiteY20347" fmla="*/ 1262001 h 4687251"/>
              <a:gd name="connsiteX20348" fmla="*/ 1092111 w 8079933"/>
              <a:gd name="connsiteY20348" fmla="*/ 1265791 h 4687251"/>
              <a:gd name="connsiteX20349" fmla="*/ 1092653 w 8079933"/>
              <a:gd name="connsiteY20349" fmla="*/ 1268714 h 4687251"/>
              <a:gd name="connsiteX20350" fmla="*/ 1095041 w 8079933"/>
              <a:gd name="connsiteY20350" fmla="*/ 1265899 h 4687251"/>
              <a:gd name="connsiteX20351" fmla="*/ 1096668 w 8079933"/>
              <a:gd name="connsiteY20351" fmla="*/ 1268281 h 4687251"/>
              <a:gd name="connsiteX20352" fmla="*/ 1092979 w 8079933"/>
              <a:gd name="connsiteY20352" fmla="*/ 1277809 h 4687251"/>
              <a:gd name="connsiteX20353" fmla="*/ 1085925 w 8079933"/>
              <a:gd name="connsiteY20353" fmla="*/ 1285171 h 4687251"/>
              <a:gd name="connsiteX20354" fmla="*/ 1086034 w 8079933"/>
              <a:gd name="connsiteY20354" fmla="*/ 1289285 h 4687251"/>
              <a:gd name="connsiteX20355" fmla="*/ 1083646 w 8079933"/>
              <a:gd name="connsiteY20355" fmla="*/ 1292750 h 4687251"/>
              <a:gd name="connsiteX20356" fmla="*/ 1078871 w 8079933"/>
              <a:gd name="connsiteY20356" fmla="*/ 1294266 h 4687251"/>
              <a:gd name="connsiteX20357" fmla="*/ 1080608 w 8079933"/>
              <a:gd name="connsiteY20357" fmla="*/ 1289826 h 4687251"/>
              <a:gd name="connsiteX20358" fmla="*/ 1079089 w 8079933"/>
              <a:gd name="connsiteY20358" fmla="*/ 1287228 h 4687251"/>
              <a:gd name="connsiteX20359" fmla="*/ 1076267 w 8079933"/>
              <a:gd name="connsiteY20359" fmla="*/ 1295673 h 4687251"/>
              <a:gd name="connsiteX20360" fmla="*/ 1074531 w 8079933"/>
              <a:gd name="connsiteY20360" fmla="*/ 1293399 h 4687251"/>
              <a:gd name="connsiteX20361" fmla="*/ 1075073 w 8079933"/>
              <a:gd name="connsiteY20361" fmla="*/ 1289935 h 4687251"/>
              <a:gd name="connsiteX20362" fmla="*/ 1077135 w 8079933"/>
              <a:gd name="connsiteY20362" fmla="*/ 1286254 h 4687251"/>
              <a:gd name="connsiteX20363" fmla="*/ 1076810 w 8079933"/>
              <a:gd name="connsiteY20363" fmla="*/ 1283655 h 4687251"/>
              <a:gd name="connsiteX20364" fmla="*/ 1078763 w 8079933"/>
              <a:gd name="connsiteY20364" fmla="*/ 1280191 h 4687251"/>
              <a:gd name="connsiteX20365" fmla="*/ 1081476 w 8079933"/>
              <a:gd name="connsiteY20365" fmla="*/ 1282464 h 4687251"/>
              <a:gd name="connsiteX20366" fmla="*/ 1083864 w 8079933"/>
              <a:gd name="connsiteY20366" fmla="*/ 1279866 h 4687251"/>
              <a:gd name="connsiteX20367" fmla="*/ 1084080 w 8079933"/>
              <a:gd name="connsiteY20367" fmla="*/ 1276726 h 4687251"/>
              <a:gd name="connsiteX20368" fmla="*/ 1080282 w 8079933"/>
              <a:gd name="connsiteY20368" fmla="*/ 1274128 h 4687251"/>
              <a:gd name="connsiteX20369" fmla="*/ 1083646 w 8079933"/>
              <a:gd name="connsiteY20369" fmla="*/ 1269363 h 4687251"/>
              <a:gd name="connsiteX20370" fmla="*/ 1081259 w 8079933"/>
              <a:gd name="connsiteY20370" fmla="*/ 1267306 h 4687251"/>
              <a:gd name="connsiteX20371" fmla="*/ 1081802 w 8079933"/>
              <a:gd name="connsiteY20371" fmla="*/ 1262326 h 4687251"/>
              <a:gd name="connsiteX20372" fmla="*/ 1083646 w 8079933"/>
              <a:gd name="connsiteY20372" fmla="*/ 1259403 h 4687251"/>
              <a:gd name="connsiteX20373" fmla="*/ 1087878 w 8079933"/>
              <a:gd name="connsiteY20373" fmla="*/ 1261135 h 4687251"/>
              <a:gd name="connsiteX20374" fmla="*/ 4083046 w 8079933"/>
              <a:gd name="connsiteY20374" fmla="*/ 1255505 h 4687251"/>
              <a:gd name="connsiteX20375" fmla="*/ 4088037 w 8079933"/>
              <a:gd name="connsiteY20375" fmla="*/ 1255505 h 4687251"/>
              <a:gd name="connsiteX20376" fmla="*/ 4089448 w 8079933"/>
              <a:gd name="connsiteY20376" fmla="*/ 1259078 h 4687251"/>
              <a:gd name="connsiteX20377" fmla="*/ 4087603 w 8079933"/>
              <a:gd name="connsiteY20377" fmla="*/ 1260595 h 4687251"/>
              <a:gd name="connsiteX20378" fmla="*/ 4349998 w 8079933"/>
              <a:gd name="connsiteY20378" fmla="*/ 1253557 h 4687251"/>
              <a:gd name="connsiteX20379" fmla="*/ 4352819 w 8079933"/>
              <a:gd name="connsiteY20379" fmla="*/ 1255939 h 4687251"/>
              <a:gd name="connsiteX20380" fmla="*/ 4355858 w 8079933"/>
              <a:gd name="connsiteY20380" fmla="*/ 1254423 h 4687251"/>
              <a:gd name="connsiteX20381" fmla="*/ 4355423 w 8079933"/>
              <a:gd name="connsiteY20381" fmla="*/ 1258429 h 4687251"/>
              <a:gd name="connsiteX20382" fmla="*/ 4351192 w 8079933"/>
              <a:gd name="connsiteY20382" fmla="*/ 1260812 h 4687251"/>
              <a:gd name="connsiteX20383" fmla="*/ 4348479 w 8079933"/>
              <a:gd name="connsiteY20383" fmla="*/ 1257563 h 4687251"/>
              <a:gd name="connsiteX20384" fmla="*/ 362663 w 8079933"/>
              <a:gd name="connsiteY20384" fmla="*/ 1253232 h 4687251"/>
              <a:gd name="connsiteX20385" fmla="*/ 365049 w 8079933"/>
              <a:gd name="connsiteY20385" fmla="*/ 1255398 h 4687251"/>
              <a:gd name="connsiteX20386" fmla="*/ 360167 w 8079933"/>
              <a:gd name="connsiteY20386" fmla="*/ 1255290 h 4687251"/>
              <a:gd name="connsiteX20387" fmla="*/ 340416 w 8079933"/>
              <a:gd name="connsiteY20387" fmla="*/ 1253232 h 4687251"/>
              <a:gd name="connsiteX20388" fmla="*/ 343999 w 8079933"/>
              <a:gd name="connsiteY20388" fmla="*/ 1255397 h 4687251"/>
              <a:gd name="connsiteX20389" fmla="*/ 344105 w 8079933"/>
              <a:gd name="connsiteY20389" fmla="*/ 1258104 h 4687251"/>
              <a:gd name="connsiteX20390" fmla="*/ 339984 w 8079933"/>
              <a:gd name="connsiteY20390" fmla="*/ 1256155 h 4687251"/>
              <a:gd name="connsiteX20391" fmla="*/ 1102855 w 8079933"/>
              <a:gd name="connsiteY20391" fmla="*/ 1252040 h 4687251"/>
              <a:gd name="connsiteX20392" fmla="*/ 1107629 w 8079933"/>
              <a:gd name="connsiteY20392" fmla="*/ 1257345 h 4687251"/>
              <a:gd name="connsiteX20393" fmla="*/ 1112079 w 8079933"/>
              <a:gd name="connsiteY20393" fmla="*/ 1257345 h 4687251"/>
              <a:gd name="connsiteX20394" fmla="*/ 1115443 w 8079933"/>
              <a:gd name="connsiteY20394" fmla="*/ 1261568 h 4687251"/>
              <a:gd name="connsiteX20395" fmla="*/ 1115443 w 8079933"/>
              <a:gd name="connsiteY20395" fmla="*/ 1267631 h 4687251"/>
              <a:gd name="connsiteX20396" fmla="*/ 1111754 w 8079933"/>
              <a:gd name="connsiteY20396" fmla="*/ 1273694 h 4687251"/>
              <a:gd name="connsiteX20397" fmla="*/ 1109583 w 8079933"/>
              <a:gd name="connsiteY20397" fmla="*/ 1274344 h 4687251"/>
              <a:gd name="connsiteX20398" fmla="*/ 1108823 w 8079933"/>
              <a:gd name="connsiteY20398" fmla="*/ 1268172 h 4687251"/>
              <a:gd name="connsiteX20399" fmla="*/ 1106219 w 8079933"/>
              <a:gd name="connsiteY20399" fmla="*/ 1269146 h 4687251"/>
              <a:gd name="connsiteX20400" fmla="*/ 1106219 w 8079933"/>
              <a:gd name="connsiteY20400" fmla="*/ 1274344 h 4687251"/>
              <a:gd name="connsiteX20401" fmla="*/ 1104374 w 8079933"/>
              <a:gd name="connsiteY20401" fmla="*/ 1276401 h 4687251"/>
              <a:gd name="connsiteX20402" fmla="*/ 1106979 w 8079933"/>
              <a:gd name="connsiteY20402" fmla="*/ 1280407 h 4687251"/>
              <a:gd name="connsiteX20403" fmla="*/ 1103831 w 8079933"/>
              <a:gd name="connsiteY20403" fmla="*/ 1282464 h 4687251"/>
              <a:gd name="connsiteX20404" fmla="*/ 1101987 w 8079933"/>
              <a:gd name="connsiteY20404" fmla="*/ 1280840 h 4687251"/>
              <a:gd name="connsiteX20405" fmla="*/ 1099165 w 8079933"/>
              <a:gd name="connsiteY20405" fmla="*/ 1284305 h 4687251"/>
              <a:gd name="connsiteX20406" fmla="*/ 1096127 w 8079933"/>
              <a:gd name="connsiteY20406" fmla="*/ 1283655 h 4687251"/>
              <a:gd name="connsiteX20407" fmla="*/ 1096344 w 8079933"/>
              <a:gd name="connsiteY20407" fmla="*/ 1277808 h 4687251"/>
              <a:gd name="connsiteX20408" fmla="*/ 1099165 w 8079933"/>
              <a:gd name="connsiteY20408" fmla="*/ 1266981 h 4687251"/>
              <a:gd name="connsiteX20409" fmla="*/ 1101444 w 8079933"/>
              <a:gd name="connsiteY20409" fmla="*/ 1263733 h 4687251"/>
              <a:gd name="connsiteX20410" fmla="*/ 1097104 w 8079933"/>
              <a:gd name="connsiteY20410" fmla="*/ 1262001 h 4687251"/>
              <a:gd name="connsiteX20411" fmla="*/ 1098189 w 8079933"/>
              <a:gd name="connsiteY20411" fmla="*/ 1257995 h 4687251"/>
              <a:gd name="connsiteX20412" fmla="*/ 1096344 w 8079933"/>
              <a:gd name="connsiteY20412" fmla="*/ 1255288 h 4687251"/>
              <a:gd name="connsiteX20413" fmla="*/ 1096778 w 8079933"/>
              <a:gd name="connsiteY20413" fmla="*/ 1252148 h 4687251"/>
              <a:gd name="connsiteX20414" fmla="*/ 367764 w 8079933"/>
              <a:gd name="connsiteY20414" fmla="*/ 1252040 h 4687251"/>
              <a:gd name="connsiteX20415" fmla="*/ 372106 w 8079933"/>
              <a:gd name="connsiteY20415" fmla="*/ 1252148 h 4687251"/>
              <a:gd name="connsiteX20416" fmla="*/ 373516 w 8079933"/>
              <a:gd name="connsiteY20416" fmla="*/ 1254530 h 4687251"/>
              <a:gd name="connsiteX20417" fmla="*/ 369175 w 8079933"/>
              <a:gd name="connsiteY20417" fmla="*/ 1255180 h 4687251"/>
              <a:gd name="connsiteX20418" fmla="*/ 368307 w 8079933"/>
              <a:gd name="connsiteY20418" fmla="*/ 1254421 h 4687251"/>
              <a:gd name="connsiteX20419" fmla="*/ 329024 w 8079933"/>
              <a:gd name="connsiteY20419" fmla="*/ 1251283 h 4687251"/>
              <a:gd name="connsiteX20420" fmla="*/ 330650 w 8079933"/>
              <a:gd name="connsiteY20420" fmla="*/ 1254314 h 4687251"/>
              <a:gd name="connsiteX20421" fmla="*/ 335859 w 8079933"/>
              <a:gd name="connsiteY20421" fmla="*/ 1255830 h 4687251"/>
              <a:gd name="connsiteX20422" fmla="*/ 337054 w 8079933"/>
              <a:gd name="connsiteY20422" fmla="*/ 1260053 h 4687251"/>
              <a:gd name="connsiteX20423" fmla="*/ 332387 w 8079933"/>
              <a:gd name="connsiteY20423" fmla="*/ 1263518 h 4687251"/>
              <a:gd name="connsiteX20424" fmla="*/ 336185 w 8079933"/>
              <a:gd name="connsiteY20424" fmla="*/ 1264601 h 4687251"/>
              <a:gd name="connsiteX20425" fmla="*/ 336294 w 8079933"/>
              <a:gd name="connsiteY20425" fmla="*/ 1266550 h 4687251"/>
              <a:gd name="connsiteX20426" fmla="*/ 329890 w 8079933"/>
              <a:gd name="connsiteY20426" fmla="*/ 1269689 h 4687251"/>
              <a:gd name="connsiteX20427" fmla="*/ 326203 w 8079933"/>
              <a:gd name="connsiteY20427" fmla="*/ 1274236 h 4687251"/>
              <a:gd name="connsiteX20428" fmla="*/ 323706 w 8079933"/>
              <a:gd name="connsiteY20428" fmla="*/ 1274886 h 4687251"/>
              <a:gd name="connsiteX20429" fmla="*/ 322513 w 8079933"/>
              <a:gd name="connsiteY20429" fmla="*/ 1272179 h 4687251"/>
              <a:gd name="connsiteX20430" fmla="*/ 319691 w 8079933"/>
              <a:gd name="connsiteY20430" fmla="*/ 1271313 h 4687251"/>
              <a:gd name="connsiteX20431" fmla="*/ 318389 w 8079933"/>
              <a:gd name="connsiteY20431" fmla="*/ 1275103 h 4687251"/>
              <a:gd name="connsiteX20432" fmla="*/ 316760 w 8079933"/>
              <a:gd name="connsiteY20432" fmla="*/ 1279650 h 4687251"/>
              <a:gd name="connsiteX20433" fmla="*/ 314266 w 8079933"/>
              <a:gd name="connsiteY20433" fmla="*/ 1278675 h 4687251"/>
              <a:gd name="connsiteX20434" fmla="*/ 313723 w 8079933"/>
              <a:gd name="connsiteY20434" fmla="*/ 1274453 h 4687251"/>
              <a:gd name="connsiteX20435" fmla="*/ 308622 w 8079933"/>
              <a:gd name="connsiteY20435" fmla="*/ 1280408 h 4687251"/>
              <a:gd name="connsiteX20436" fmla="*/ 301895 w 8079933"/>
              <a:gd name="connsiteY20436" fmla="*/ 1282357 h 4687251"/>
              <a:gd name="connsiteX20437" fmla="*/ 294300 w 8079933"/>
              <a:gd name="connsiteY20437" fmla="*/ 1282465 h 4687251"/>
              <a:gd name="connsiteX20438" fmla="*/ 291153 w 8079933"/>
              <a:gd name="connsiteY20438" fmla="*/ 1279434 h 4687251"/>
              <a:gd name="connsiteX20439" fmla="*/ 294190 w 8079933"/>
              <a:gd name="connsiteY20439" fmla="*/ 1278892 h 4687251"/>
              <a:gd name="connsiteX20440" fmla="*/ 298423 w 8079933"/>
              <a:gd name="connsiteY20440" fmla="*/ 1279001 h 4687251"/>
              <a:gd name="connsiteX20441" fmla="*/ 304064 w 8079933"/>
              <a:gd name="connsiteY20441" fmla="*/ 1274995 h 4687251"/>
              <a:gd name="connsiteX20442" fmla="*/ 306777 w 8079933"/>
              <a:gd name="connsiteY20442" fmla="*/ 1274778 h 4687251"/>
              <a:gd name="connsiteX20443" fmla="*/ 311011 w 8079933"/>
              <a:gd name="connsiteY20443" fmla="*/ 1269581 h 4687251"/>
              <a:gd name="connsiteX20444" fmla="*/ 313396 w 8079933"/>
              <a:gd name="connsiteY20444" fmla="*/ 1268823 h 4687251"/>
              <a:gd name="connsiteX20445" fmla="*/ 312964 w 8079933"/>
              <a:gd name="connsiteY20445" fmla="*/ 1265791 h 4687251"/>
              <a:gd name="connsiteX20446" fmla="*/ 317195 w 8079933"/>
              <a:gd name="connsiteY20446" fmla="*/ 1262218 h 4687251"/>
              <a:gd name="connsiteX20447" fmla="*/ 322077 w 8079933"/>
              <a:gd name="connsiteY20447" fmla="*/ 1264601 h 4687251"/>
              <a:gd name="connsiteX20448" fmla="*/ 323922 w 8079933"/>
              <a:gd name="connsiteY20448" fmla="*/ 1263193 h 4687251"/>
              <a:gd name="connsiteX20449" fmla="*/ 320126 w 8079933"/>
              <a:gd name="connsiteY20449" fmla="*/ 1259511 h 4687251"/>
              <a:gd name="connsiteX20450" fmla="*/ 320126 w 8079933"/>
              <a:gd name="connsiteY20450" fmla="*/ 1255830 h 4687251"/>
              <a:gd name="connsiteX20451" fmla="*/ 324790 w 8079933"/>
              <a:gd name="connsiteY20451" fmla="*/ 1251824 h 4687251"/>
              <a:gd name="connsiteX20452" fmla="*/ 3088925 w 8079933"/>
              <a:gd name="connsiteY20452" fmla="*/ 1250849 h 4687251"/>
              <a:gd name="connsiteX20453" fmla="*/ 3091312 w 8079933"/>
              <a:gd name="connsiteY20453" fmla="*/ 1252798 h 4687251"/>
              <a:gd name="connsiteX20454" fmla="*/ 3095436 w 8079933"/>
              <a:gd name="connsiteY20454" fmla="*/ 1252906 h 4687251"/>
              <a:gd name="connsiteX20455" fmla="*/ 3097606 w 8079933"/>
              <a:gd name="connsiteY20455" fmla="*/ 1254746 h 4687251"/>
              <a:gd name="connsiteX20456" fmla="*/ 3097171 w 8079933"/>
              <a:gd name="connsiteY20456" fmla="*/ 1256154 h 4687251"/>
              <a:gd name="connsiteX20457" fmla="*/ 3092180 w 8079933"/>
              <a:gd name="connsiteY20457" fmla="*/ 1256371 h 4687251"/>
              <a:gd name="connsiteX20458" fmla="*/ 3090878 w 8079933"/>
              <a:gd name="connsiteY20458" fmla="*/ 1254963 h 4687251"/>
              <a:gd name="connsiteX20459" fmla="*/ 3087948 w 8079933"/>
              <a:gd name="connsiteY20459" fmla="*/ 1254530 h 4687251"/>
              <a:gd name="connsiteX20460" fmla="*/ 3086755 w 8079933"/>
              <a:gd name="connsiteY20460" fmla="*/ 1251824 h 4687251"/>
              <a:gd name="connsiteX20461" fmla="*/ 4107898 w 8079933"/>
              <a:gd name="connsiteY20461" fmla="*/ 1249876 h 4687251"/>
              <a:gd name="connsiteX20462" fmla="*/ 4110394 w 8079933"/>
              <a:gd name="connsiteY20462" fmla="*/ 1252582 h 4687251"/>
              <a:gd name="connsiteX20463" fmla="*/ 4106921 w 8079933"/>
              <a:gd name="connsiteY20463" fmla="*/ 1256804 h 4687251"/>
              <a:gd name="connsiteX20464" fmla="*/ 4101495 w 8079933"/>
              <a:gd name="connsiteY20464" fmla="*/ 1256480 h 4687251"/>
              <a:gd name="connsiteX20465" fmla="*/ 4098348 w 8079933"/>
              <a:gd name="connsiteY20465" fmla="*/ 1258212 h 4687251"/>
              <a:gd name="connsiteX20466" fmla="*/ 4095201 w 8079933"/>
              <a:gd name="connsiteY20466" fmla="*/ 1258104 h 4687251"/>
              <a:gd name="connsiteX20467" fmla="*/ 4098131 w 8079933"/>
              <a:gd name="connsiteY20467" fmla="*/ 1252690 h 4687251"/>
              <a:gd name="connsiteX20468" fmla="*/ 4102797 w 8079933"/>
              <a:gd name="connsiteY20468" fmla="*/ 1252582 h 4687251"/>
              <a:gd name="connsiteX20469" fmla="*/ 4104208 w 8079933"/>
              <a:gd name="connsiteY20469" fmla="*/ 1250092 h 4687251"/>
              <a:gd name="connsiteX20470" fmla="*/ 3535798 w 8079933"/>
              <a:gd name="connsiteY20470" fmla="*/ 1249009 h 4687251"/>
              <a:gd name="connsiteX20471" fmla="*/ 3536557 w 8079933"/>
              <a:gd name="connsiteY20471" fmla="*/ 1253989 h 4687251"/>
              <a:gd name="connsiteX20472" fmla="*/ 3533518 w 8079933"/>
              <a:gd name="connsiteY20472" fmla="*/ 1256155 h 4687251"/>
              <a:gd name="connsiteX20473" fmla="*/ 3532108 w 8079933"/>
              <a:gd name="connsiteY20473" fmla="*/ 1252907 h 4687251"/>
              <a:gd name="connsiteX20474" fmla="*/ 3533410 w 8079933"/>
              <a:gd name="connsiteY20474" fmla="*/ 1249550 h 4687251"/>
              <a:gd name="connsiteX20475" fmla="*/ 4352602 w 8079933"/>
              <a:gd name="connsiteY20475" fmla="*/ 1247602 h 4687251"/>
              <a:gd name="connsiteX20476" fmla="*/ 4355424 w 8079933"/>
              <a:gd name="connsiteY20476" fmla="*/ 1250092 h 4687251"/>
              <a:gd name="connsiteX20477" fmla="*/ 4353470 w 8079933"/>
              <a:gd name="connsiteY20477" fmla="*/ 1252041 h 4687251"/>
              <a:gd name="connsiteX20478" fmla="*/ 4352060 w 8079933"/>
              <a:gd name="connsiteY20478" fmla="*/ 1250741 h 4687251"/>
              <a:gd name="connsiteX20479" fmla="*/ 2617422 w 8079933"/>
              <a:gd name="connsiteY20479" fmla="*/ 1246518 h 4687251"/>
              <a:gd name="connsiteX20480" fmla="*/ 2619592 w 8079933"/>
              <a:gd name="connsiteY20480" fmla="*/ 1249550 h 4687251"/>
              <a:gd name="connsiteX20481" fmla="*/ 2620243 w 8079933"/>
              <a:gd name="connsiteY20481" fmla="*/ 1251715 h 4687251"/>
              <a:gd name="connsiteX20482" fmla="*/ 2622305 w 8079933"/>
              <a:gd name="connsiteY20482" fmla="*/ 1254421 h 4687251"/>
              <a:gd name="connsiteX20483" fmla="*/ 2622739 w 8079933"/>
              <a:gd name="connsiteY20483" fmla="*/ 1257994 h 4687251"/>
              <a:gd name="connsiteX20484" fmla="*/ 2621654 w 8079933"/>
              <a:gd name="connsiteY20484" fmla="*/ 1258644 h 4687251"/>
              <a:gd name="connsiteX20485" fmla="*/ 2617313 w 8079933"/>
              <a:gd name="connsiteY20485" fmla="*/ 1255287 h 4687251"/>
              <a:gd name="connsiteX20486" fmla="*/ 2617313 w 8079933"/>
              <a:gd name="connsiteY20486" fmla="*/ 1252364 h 4687251"/>
              <a:gd name="connsiteX20487" fmla="*/ 2615360 w 8079933"/>
              <a:gd name="connsiteY20487" fmla="*/ 1250740 h 4687251"/>
              <a:gd name="connsiteX20488" fmla="*/ 2615360 w 8079933"/>
              <a:gd name="connsiteY20488" fmla="*/ 1248467 h 4687251"/>
              <a:gd name="connsiteX20489" fmla="*/ 4538434 w 8079933"/>
              <a:gd name="connsiteY20489" fmla="*/ 1246465 h 4687251"/>
              <a:gd name="connsiteX20490" fmla="*/ 4540445 w 8079933"/>
              <a:gd name="connsiteY20490" fmla="*/ 1249333 h 4687251"/>
              <a:gd name="connsiteX20491" fmla="*/ 4546630 w 8079933"/>
              <a:gd name="connsiteY20491" fmla="*/ 1251390 h 4687251"/>
              <a:gd name="connsiteX20492" fmla="*/ 4555463 w 8079933"/>
              <a:gd name="connsiteY20492" fmla="*/ 1260997 h 4687251"/>
              <a:gd name="connsiteX20493" fmla="*/ 4555311 w 8079933"/>
              <a:gd name="connsiteY20493" fmla="*/ 1260270 h 4687251"/>
              <a:gd name="connsiteX20494" fmla="*/ 4544460 w 8079933"/>
              <a:gd name="connsiteY20494" fmla="*/ 1248469 h 4687251"/>
              <a:gd name="connsiteX20495" fmla="*/ 349535 w 8079933"/>
              <a:gd name="connsiteY20495" fmla="*/ 1246302 h 4687251"/>
              <a:gd name="connsiteX20496" fmla="*/ 351378 w 8079933"/>
              <a:gd name="connsiteY20496" fmla="*/ 1249658 h 4687251"/>
              <a:gd name="connsiteX20497" fmla="*/ 353982 w 8079933"/>
              <a:gd name="connsiteY20497" fmla="*/ 1250632 h 4687251"/>
              <a:gd name="connsiteX20498" fmla="*/ 352791 w 8079933"/>
              <a:gd name="connsiteY20498" fmla="*/ 1252906 h 4687251"/>
              <a:gd name="connsiteX20499" fmla="*/ 349317 w 8079933"/>
              <a:gd name="connsiteY20499" fmla="*/ 1254963 h 4687251"/>
              <a:gd name="connsiteX20500" fmla="*/ 345085 w 8079933"/>
              <a:gd name="connsiteY20500" fmla="*/ 1251391 h 4687251"/>
              <a:gd name="connsiteX20501" fmla="*/ 344758 w 8079933"/>
              <a:gd name="connsiteY20501" fmla="*/ 1247818 h 4687251"/>
              <a:gd name="connsiteX20502" fmla="*/ 3108567 w 8079933"/>
              <a:gd name="connsiteY20502" fmla="*/ 1244029 h 4687251"/>
              <a:gd name="connsiteX20503" fmla="*/ 3109001 w 8079933"/>
              <a:gd name="connsiteY20503" fmla="*/ 1246952 h 4687251"/>
              <a:gd name="connsiteX20504" fmla="*/ 3107265 w 8079933"/>
              <a:gd name="connsiteY20504" fmla="*/ 1249119 h 4687251"/>
              <a:gd name="connsiteX20505" fmla="*/ 3107265 w 8079933"/>
              <a:gd name="connsiteY20505" fmla="*/ 1245329 h 4687251"/>
              <a:gd name="connsiteX20506" fmla="*/ 424517 w 8079933"/>
              <a:gd name="connsiteY20506" fmla="*/ 1243595 h 4687251"/>
              <a:gd name="connsiteX20507" fmla="*/ 429075 w 8079933"/>
              <a:gd name="connsiteY20507" fmla="*/ 1247926 h 4687251"/>
              <a:gd name="connsiteX20508" fmla="*/ 425603 w 8079933"/>
              <a:gd name="connsiteY20508" fmla="*/ 1249983 h 4687251"/>
              <a:gd name="connsiteX20509" fmla="*/ 421804 w 8079933"/>
              <a:gd name="connsiteY20509" fmla="*/ 1246301 h 4687251"/>
              <a:gd name="connsiteX20510" fmla="*/ 358108 w 8079933"/>
              <a:gd name="connsiteY20510" fmla="*/ 1243488 h 4687251"/>
              <a:gd name="connsiteX20511" fmla="*/ 360058 w 8079933"/>
              <a:gd name="connsiteY20511" fmla="*/ 1244137 h 4687251"/>
              <a:gd name="connsiteX20512" fmla="*/ 361253 w 8079933"/>
              <a:gd name="connsiteY20512" fmla="*/ 1248902 h 4687251"/>
              <a:gd name="connsiteX20513" fmla="*/ 357238 w 8079933"/>
              <a:gd name="connsiteY20513" fmla="*/ 1250851 h 4687251"/>
              <a:gd name="connsiteX20514" fmla="*/ 358216 w 8079933"/>
              <a:gd name="connsiteY20514" fmla="*/ 1247277 h 4687251"/>
              <a:gd name="connsiteX20515" fmla="*/ 4101494 w 8079933"/>
              <a:gd name="connsiteY20515" fmla="*/ 1242513 h 4687251"/>
              <a:gd name="connsiteX20516" fmla="*/ 4104641 w 8079933"/>
              <a:gd name="connsiteY20516" fmla="*/ 1245436 h 4687251"/>
              <a:gd name="connsiteX20517" fmla="*/ 4099758 w 8079933"/>
              <a:gd name="connsiteY20517" fmla="*/ 1248792 h 4687251"/>
              <a:gd name="connsiteX20518" fmla="*/ 4094007 w 8079933"/>
              <a:gd name="connsiteY20518" fmla="*/ 1249009 h 4687251"/>
              <a:gd name="connsiteX20519" fmla="*/ 1080934 w 8079933"/>
              <a:gd name="connsiteY20519" fmla="*/ 1235368 h 4687251"/>
              <a:gd name="connsiteX20520" fmla="*/ 1084406 w 8079933"/>
              <a:gd name="connsiteY20520" fmla="*/ 1235584 h 4687251"/>
              <a:gd name="connsiteX20521" fmla="*/ 1083104 w 8079933"/>
              <a:gd name="connsiteY20521" fmla="*/ 1238941 h 4687251"/>
              <a:gd name="connsiteX20522" fmla="*/ 1063788 w 8079933"/>
              <a:gd name="connsiteY20522" fmla="*/ 1235150 h 4687251"/>
              <a:gd name="connsiteX20523" fmla="*/ 1065198 w 8079933"/>
              <a:gd name="connsiteY20523" fmla="*/ 1238615 h 4687251"/>
              <a:gd name="connsiteX20524" fmla="*/ 1064004 w 8079933"/>
              <a:gd name="connsiteY20524" fmla="*/ 1241862 h 4687251"/>
              <a:gd name="connsiteX20525" fmla="*/ 1063462 w 8079933"/>
              <a:gd name="connsiteY20525" fmla="*/ 1246843 h 4687251"/>
              <a:gd name="connsiteX20526" fmla="*/ 1059448 w 8079933"/>
              <a:gd name="connsiteY20526" fmla="*/ 1248142 h 4687251"/>
              <a:gd name="connsiteX20527" fmla="*/ 1058471 w 8079933"/>
              <a:gd name="connsiteY20527" fmla="*/ 1245652 h 4687251"/>
              <a:gd name="connsiteX20528" fmla="*/ 1061183 w 8079933"/>
              <a:gd name="connsiteY20528" fmla="*/ 1242837 h 4687251"/>
              <a:gd name="connsiteX20529" fmla="*/ 1060207 w 8079933"/>
              <a:gd name="connsiteY20529" fmla="*/ 1241321 h 4687251"/>
              <a:gd name="connsiteX20530" fmla="*/ 1060749 w 8079933"/>
              <a:gd name="connsiteY20530" fmla="*/ 1237532 h 4687251"/>
              <a:gd name="connsiteX20531" fmla="*/ 511006 w 8079933"/>
              <a:gd name="connsiteY20531" fmla="*/ 1233743 h 4687251"/>
              <a:gd name="connsiteX20532" fmla="*/ 511222 w 8079933"/>
              <a:gd name="connsiteY20532" fmla="*/ 1236991 h 4687251"/>
              <a:gd name="connsiteX20533" fmla="*/ 509269 w 8079933"/>
              <a:gd name="connsiteY20533" fmla="*/ 1239157 h 4687251"/>
              <a:gd name="connsiteX20534" fmla="*/ 508618 w 8079933"/>
              <a:gd name="connsiteY20534" fmla="*/ 1236233 h 4687251"/>
              <a:gd name="connsiteX20535" fmla="*/ 1075725 w 8079933"/>
              <a:gd name="connsiteY20535" fmla="*/ 1232444 h 4687251"/>
              <a:gd name="connsiteX20536" fmla="*/ 1078329 w 8079933"/>
              <a:gd name="connsiteY20536" fmla="*/ 1233418 h 4687251"/>
              <a:gd name="connsiteX20537" fmla="*/ 1080282 w 8079933"/>
              <a:gd name="connsiteY20537" fmla="*/ 1239915 h 4687251"/>
              <a:gd name="connsiteX20538" fmla="*/ 1080825 w 8079933"/>
              <a:gd name="connsiteY20538" fmla="*/ 1248143 h 4687251"/>
              <a:gd name="connsiteX20539" fmla="*/ 1079414 w 8079933"/>
              <a:gd name="connsiteY20539" fmla="*/ 1255830 h 4687251"/>
              <a:gd name="connsiteX20540" fmla="*/ 1077353 w 8079933"/>
              <a:gd name="connsiteY20540" fmla="*/ 1257887 h 4687251"/>
              <a:gd name="connsiteX20541" fmla="*/ 1076051 w 8079933"/>
              <a:gd name="connsiteY20541" fmla="*/ 1266333 h 4687251"/>
              <a:gd name="connsiteX20542" fmla="*/ 1073338 w 8079933"/>
              <a:gd name="connsiteY20542" fmla="*/ 1269256 h 4687251"/>
              <a:gd name="connsiteX20543" fmla="*/ 1071493 w 8079933"/>
              <a:gd name="connsiteY20543" fmla="*/ 1275536 h 4687251"/>
              <a:gd name="connsiteX20544" fmla="*/ 1070733 w 8079933"/>
              <a:gd name="connsiteY20544" fmla="*/ 1281382 h 4687251"/>
              <a:gd name="connsiteX20545" fmla="*/ 1069431 w 8079933"/>
              <a:gd name="connsiteY20545" fmla="*/ 1285064 h 4687251"/>
              <a:gd name="connsiteX20546" fmla="*/ 1067478 w 8079933"/>
              <a:gd name="connsiteY20546" fmla="*/ 1286038 h 4687251"/>
              <a:gd name="connsiteX20547" fmla="*/ 1066827 w 8079933"/>
              <a:gd name="connsiteY20547" fmla="*/ 1282682 h 4687251"/>
              <a:gd name="connsiteX20548" fmla="*/ 1067695 w 8079933"/>
              <a:gd name="connsiteY20548" fmla="*/ 1279001 h 4687251"/>
              <a:gd name="connsiteX20549" fmla="*/ 1065525 w 8079933"/>
              <a:gd name="connsiteY20549" fmla="*/ 1277376 h 4687251"/>
              <a:gd name="connsiteX20550" fmla="*/ 1064005 w 8079933"/>
              <a:gd name="connsiteY20550" fmla="*/ 1270988 h 4687251"/>
              <a:gd name="connsiteX20551" fmla="*/ 1065959 w 8079933"/>
              <a:gd name="connsiteY20551" fmla="*/ 1267415 h 4687251"/>
              <a:gd name="connsiteX20552" fmla="*/ 1069105 w 8079933"/>
              <a:gd name="connsiteY20552" fmla="*/ 1266766 h 4687251"/>
              <a:gd name="connsiteX20553" fmla="*/ 1071493 w 8079933"/>
              <a:gd name="connsiteY20553" fmla="*/ 1264817 h 4687251"/>
              <a:gd name="connsiteX20554" fmla="*/ 1070950 w 8079933"/>
              <a:gd name="connsiteY20554" fmla="*/ 1262652 h 4687251"/>
              <a:gd name="connsiteX20555" fmla="*/ 1068237 w 8079933"/>
              <a:gd name="connsiteY20555" fmla="*/ 1264168 h 4687251"/>
              <a:gd name="connsiteX20556" fmla="*/ 1065959 w 8079933"/>
              <a:gd name="connsiteY20556" fmla="*/ 1264168 h 4687251"/>
              <a:gd name="connsiteX20557" fmla="*/ 1065633 w 8079933"/>
              <a:gd name="connsiteY20557" fmla="*/ 1261244 h 4687251"/>
              <a:gd name="connsiteX20558" fmla="*/ 1067695 w 8079933"/>
              <a:gd name="connsiteY20558" fmla="*/ 1260053 h 4687251"/>
              <a:gd name="connsiteX20559" fmla="*/ 1068888 w 8079933"/>
              <a:gd name="connsiteY20559" fmla="*/ 1257779 h 4687251"/>
              <a:gd name="connsiteX20560" fmla="*/ 1063680 w 8079933"/>
              <a:gd name="connsiteY20560" fmla="*/ 1256372 h 4687251"/>
              <a:gd name="connsiteX20561" fmla="*/ 1063897 w 8079933"/>
              <a:gd name="connsiteY20561" fmla="*/ 1254315 h 4687251"/>
              <a:gd name="connsiteX20562" fmla="*/ 1068020 w 8079933"/>
              <a:gd name="connsiteY20562" fmla="*/ 1253665 h 4687251"/>
              <a:gd name="connsiteX20563" fmla="*/ 1070299 w 8079933"/>
              <a:gd name="connsiteY20563" fmla="*/ 1250309 h 4687251"/>
              <a:gd name="connsiteX20564" fmla="*/ 1070842 w 8079933"/>
              <a:gd name="connsiteY20564" fmla="*/ 1245653 h 4687251"/>
              <a:gd name="connsiteX20565" fmla="*/ 1073555 w 8079933"/>
              <a:gd name="connsiteY20565" fmla="*/ 1242730 h 4687251"/>
              <a:gd name="connsiteX20566" fmla="*/ 1070082 w 8079933"/>
              <a:gd name="connsiteY20566" fmla="*/ 1239589 h 4687251"/>
              <a:gd name="connsiteX20567" fmla="*/ 1069431 w 8079933"/>
              <a:gd name="connsiteY20567" fmla="*/ 1236666 h 4687251"/>
              <a:gd name="connsiteX20568" fmla="*/ 1073663 w 8079933"/>
              <a:gd name="connsiteY20568" fmla="*/ 1234934 h 4687251"/>
              <a:gd name="connsiteX20569" fmla="*/ 509272 w 8079933"/>
              <a:gd name="connsiteY20569" fmla="*/ 1226488 h 4687251"/>
              <a:gd name="connsiteX20570" fmla="*/ 509272 w 8079933"/>
              <a:gd name="connsiteY20570" fmla="*/ 1230710 h 4687251"/>
              <a:gd name="connsiteX20571" fmla="*/ 506232 w 8079933"/>
              <a:gd name="connsiteY20571" fmla="*/ 1232010 h 4687251"/>
              <a:gd name="connsiteX20572" fmla="*/ 444267 w 8079933"/>
              <a:gd name="connsiteY20572" fmla="*/ 1225298 h 4687251"/>
              <a:gd name="connsiteX20573" fmla="*/ 445137 w 8079933"/>
              <a:gd name="connsiteY20573" fmla="*/ 1228763 h 4687251"/>
              <a:gd name="connsiteX20574" fmla="*/ 441989 w 8079933"/>
              <a:gd name="connsiteY20574" fmla="*/ 1232335 h 4687251"/>
              <a:gd name="connsiteX20575" fmla="*/ 439709 w 8079933"/>
              <a:gd name="connsiteY20575" fmla="*/ 1228546 h 4687251"/>
              <a:gd name="connsiteX20576" fmla="*/ 501566 w 8079933"/>
              <a:gd name="connsiteY20576" fmla="*/ 1224865 h 4687251"/>
              <a:gd name="connsiteX20577" fmla="*/ 498092 w 8079933"/>
              <a:gd name="connsiteY20577" fmla="*/ 1228113 h 4687251"/>
              <a:gd name="connsiteX20578" fmla="*/ 496900 w 8079933"/>
              <a:gd name="connsiteY20578" fmla="*/ 1231144 h 4687251"/>
              <a:gd name="connsiteX20579" fmla="*/ 490387 w 8079933"/>
              <a:gd name="connsiteY20579" fmla="*/ 1234393 h 4687251"/>
              <a:gd name="connsiteX20580" fmla="*/ 487241 w 8079933"/>
              <a:gd name="connsiteY20580" fmla="*/ 1237965 h 4687251"/>
              <a:gd name="connsiteX20581" fmla="*/ 489846 w 8079933"/>
              <a:gd name="connsiteY20581" fmla="*/ 1231577 h 4687251"/>
              <a:gd name="connsiteX20582" fmla="*/ 495055 w 8079933"/>
              <a:gd name="connsiteY20582" fmla="*/ 1227138 h 4687251"/>
              <a:gd name="connsiteX20583" fmla="*/ 495271 w 8079933"/>
              <a:gd name="connsiteY20583" fmla="*/ 1225190 h 4687251"/>
              <a:gd name="connsiteX20584" fmla="*/ 4201655 w 8079933"/>
              <a:gd name="connsiteY20584" fmla="*/ 1223673 h 4687251"/>
              <a:gd name="connsiteX20585" fmla="*/ 4197532 w 8079933"/>
              <a:gd name="connsiteY20585" fmla="*/ 1229412 h 4687251"/>
              <a:gd name="connsiteX20586" fmla="*/ 4189501 w 8079933"/>
              <a:gd name="connsiteY20586" fmla="*/ 1228870 h 4687251"/>
              <a:gd name="connsiteX20587" fmla="*/ 4183099 w 8079933"/>
              <a:gd name="connsiteY20587" fmla="*/ 1227463 h 4687251"/>
              <a:gd name="connsiteX20588" fmla="*/ 4177890 w 8079933"/>
              <a:gd name="connsiteY20588" fmla="*/ 1230603 h 4687251"/>
              <a:gd name="connsiteX20589" fmla="*/ 4172573 w 8079933"/>
              <a:gd name="connsiteY20589" fmla="*/ 1240022 h 4687251"/>
              <a:gd name="connsiteX20590" fmla="*/ 4170836 w 8079933"/>
              <a:gd name="connsiteY20590" fmla="*/ 1250632 h 4687251"/>
              <a:gd name="connsiteX20591" fmla="*/ 4172473 w 8079933"/>
              <a:gd name="connsiteY20591" fmla="*/ 1259418 h 4687251"/>
              <a:gd name="connsiteX20592" fmla="*/ 4170837 w 8079933"/>
              <a:gd name="connsiteY20592" fmla="*/ 1250633 h 4687251"/>
              <a:gd name="connsiteX20593" fmla="*/ 4172573 w 8079933"/>
              <a:gd name="connsiteY20593" fmla="*/ 1240023 h 4687251"/>
              <a:gd name="connsiteX20594" fmla="*/ 4177890 w 8079933"/>
              <a:gd name="connsiteY20594" fmla="*/ 1230604 h 4687251"/>
              <a:gd name="connsiteX20595" fmla="*/ 4183099 w 8079933"/>
              <a:gd name="connsiteY20595" fmla="*/ 1227463 h 4687251"/>
              <a:gd name="connsiteX20596" fmla="*/ 4189501 w 8079933"/>
              <a:gd name="connsiteY20596" fmla="*/ 1228871 h 4687251"/>
              <a:gd name="connsiteX20597" fmla="*/ 4197532 w 8079933"/>
              <a:gd name="connsiteY20597" fmla="*/ 1229412 h 4687251"/>
              <a:gd name="connsiteX20598" fmla="*/ 4201655 w 8079933"/>
              <a:gd name="connsiteY20598" fmla="*/ 1223674 h 4687251"/>
              <a:gd name="connsiteX20599" fmla="*/ 2637279 w 8079933"/>
              <a:gd name="connsiteY20599" fmla="*/ 1223349 h 4687251"/>
              <a:gd name="connsiteX20600" fmla="*/ 2639883 w 8079933"/>
              <a:gd name="connsiteY20600" fmla="*/ 1224324 h 4687251"/>
              <a:gd name="connsiteX20601" fmla="*/ 2639558 w 8079933"/>
              <a:gd name="connsiteY20601" fmla="*/ 1226597 h 4687251"/>
              <a:gd name="connsiteX20602" fmla="*/ 2638256 w 8079933"/>
              <a:gd name="connsiteY20602" fmla="*/ 1228438 h 4687251"/>
              <a:gd name="connsiteX20603" fmla="*/ 2637496 w 8079933"/>
              <a:gd name="connsiteY20603" fmla="*/ 1231578 h 4687251"/>
              <a:gd name="connsiteX20604" fmla="*/ 2635326 w 8079933"/>
              <a:gd name="connsiteY20604" fmla="*/ 1232986 h 4687251"/>
              <a:gd name="connsiteX20605" fmla="*/ 2631203 w 8079933"/>
              <a:gd name="connsiteY20605" fmla="*/ 1229088 h 4687251"/>
              <a:gd name="connsiteX20606" fmla="*/ 2627513 w 8079933"/>
              <a:gd name="connsiteY20606" fmla="*/ 1228979 h 4687251"/>
              <a:gd name="connsiteX20607" fmla="*/ 2626428 w 8079933"/>
              <a:gd name="connsiteY20607" fmla="*/ 1228113 h 4687251"/>
              <a:gd name="connsiteX20608" fmla="*/ 2629791 w 8079933"/>
              <a:gd name="connsiteY20608" fmla="*/ 1225947 h 4687251"/>
              <a:gd name="connsiteX20609" fmla="*/ 2634024 w 8079933"/>
              <a:gd name="connsiteY20609" fmla="*/ 1224757 h 4687251"/>
              <a:gd name="connsiteX20610" fmla="*/ 459786 w 8079933"/>
              <a:gd name="connsiteY20610" fmla="*/ 1220100 h 4687251"/>
              <a:gd name="connsiteX20611" fmla="*/ 462498 w 8079933"/>
              <a:gd name="connsiteY20611" fmla="*/ 1223131 h 4687251"/>
              <a:gd name="connsiteX20612" fmla="*/ 458808 w 8079933"/>
              <a:gd name="connsiteY20612" fmla="*/ 1225190 h 4687251"/>
              <a:gd name="connsiteX20613" fmla="*/ 457181 w 8079933"/>
              <a:gd name="connsiteY20613" fmla="*/ 1220533 h 4687251"/>
              <a:gd name="connsiteX20614" fmla="*/ 410954 w 8079933"/>
              <a:gd name="connsiteY20614" fmla="*/ 1216636 h 4687251"/>
              <a:gd name="connsiteX20615" fmla="*/ 417466 w 8079933"/>
              <a:gd name="connsiteY20615" fmla="*/ 1217069 h 4687251"/>
              <a:gd name="connsiteX20616" fmla="*/ 420502 w 8079933"/>
              <a:gd name="connsiteY20616" fmla="*/ 1221291 h 4687251"/>
              <a:gd name="connsiteX20617" fmla="*/ 418225 w 8079933"/>
              <a:gd name="connsiteY20617" fmla="*/ 1225514 h 4687251"/>
              <a:gd name="connsiteX20618" fmla="*/ 424628 w 8079933"/>
              <a:gd name="connsiteY20618" fmla="*/ 1231577 h 4687251"/>
              <a:gd name="connsiteX20619" fmla="*/ 424520 w 8079933"/>
              <a:gd name="connsiteY20619" fmla="*/ 1234067 h 4687251"/>
              <a:gd name="connsiteX20620" fmla="*/ 418441 w 8079933"/>
              <a:gd name="connsiteY20620" fmla="*/ 1232660 h 4687251"/>
              <a:gd name="connsiteX20621" fmla="*/ 414861 w 8079933"/>
              <a:gd name="connsiteY20621" fmla="*/ 1235691 h 4687251"/>
              <a:gd name="connsiteX20622" fmla="*/ 407591 w 8079933"/>
              <a:gd name="connsiteY20622" fmla="*/ 1236666 h 4687251"/>
              <a:gd name="connsiteX20623" fmla="*/ 402490 w 8079933"/>
              <a:gd name="connsiteY20623" fmla="*/ 1235150 h 4687251"/>
              <a:gd name="connsiteX20624" fmla="*/ 393917 w 8079933"/>
              <a:gd name="connsiteY20624" fmla="*/ 1235366 h 4687251"/>
              <a:gd name="connsiteX20625" fmla="*/ 388927 w 8079933"/>
              <a:gd name="connsiteY20625" fmla="*/ 1240888 h 4687251"/>
              <a:gd name="connsiteX20626" fmla="*/ 386862 w 8079933"/>
              <a:gd name="connsiteY20626" fmla="*/ 1240455 h 4687251"/>
              <a:gd name="connsiteX20627" fmla="*/ 383391 w 8079933"/>
              <a:gd name="connsiteY20627" fmla="*/ 1242188 h 4687251"/>
              <a:gd name="connsiteX20628" fmla="*/ 378833 w 8079933"/>
              <a:gd name="connsiteY20628" fmla="*/ 1239589 h 4687251"/>
              <a:gd name="connsiteX20629" fmla="*/ 377748 w 8079933"/>
              <a:gd name="connsiteY20629" fmla="*/ 1235583 h 4687251"/>
              <a:gd name="connsiteX20630" fmla="*/ 379049 w 8079933"/>
              <a:gd name="connsiteY20630" fmla="*/ 1231360 h 4687251"/>
              <a:gd name="connsiteX20631" fmla="*/ 381003 w 8079933"/>
              <a:gd name="connsiteY20631" fmla="*/ 1228978 h 4687251"/>
              <a:gd name="connsiteX20632" fmla="*/ 383283 w 8079933"/>
              <a:gd name="connsiteY20632" fmla="*/ 1229736 h 4687251"/>
              <a:gd name="connsiteX20633" fmla="*/ 387298 w 8079933"/>
              <a:gd name="connsiteY20633" fmla="*/ 1226813 h 4687251"/>
              <a:gd name="connsiteX20634" fmla="*/ 389143 w 8079933"/>
              <a:gd name="connsiteY20634" fmla="*/ 1225622 h 4687251"/>
              <a:gd name="connsiteX20635" fmla="*/ 393050 w 8079933"/>
              <a:gd name="connsiteY20635" fmla="*/ 1217827 h 4687251"/>
              <a:gd name="connsiteX20636" fmla="*/ 394785 w 8079933"/>
              <a:gd name="connsiteY20636" fmla="*/ 1218044 h 4687251"/>
              <a:gd name="connsiteX20637" fmla="*/ 399234 w 8079933"/>
              <a:gd name="connsiteY20637" fmla="*/ 1221832 h 4687251"/>
              <a:gd name="connsiteX20638" fmla="*/ 401515 w 8079933"/>
              <a:gd name="connsiteY20638" fmla="*/ 1219884 h 4687251"/>
              <a:gd name="connsiteX20639" fmla="*/ 405853 w 8079933"/>
              <a:gd name="connsiteY20639" fmla="*/ 1220425 h 4687251"/>
              <a:gd name="connsiteX20640" fmla="*/ 409652 w 8079933"/>
              <a:gd name="connsiteY20640" fmla="*/ 1218693 h 4687251"/>
              <a:gd name="connsiteX20641" fmla="*/ 489627 w 8079933"/>
              <a:gd name="connsiteY20641" fmla="*/ 1215878 h 4687251"/>
              <a:gd name="connsiteX20642" fmla="*/ 492883 w 8079933"/>
              <a:gd name="connsiteY20642" fmla="*/ 1217502 h 4687251"/>
              <a:gd name="connsiteX20643" fmla="*/ 490062 w 8079933"/>
              <a:gd name="connsiteY20643" fmla="*/ 1220100 h 4687251"/>
              <a:gd name="connsiteX20644" fmla="*/ 483659 w 8079933"/>
              <a:gd name="connsiteY20644" fmla="*/ 1214146 h 4687251"/>
              <a:gd name="connsiteX20645" fmla="*/ 486590 w 8079933"/>
              <a:gd name="connsiteY20645" fmla="*/ 1216636 h 4687251"/>
              <a:gd name="connsiteX20646" fmla="*/ 484529 w 8079933"/>
              <a:gd name="connsiteY20646" fmla="*/ 1220534 h 4687251"/>
              <a:gd name="connsiteX20647" fmla="*/ 483986 w 8079933"/>
              <a:gd name="connsiteY20647" fmla="*/ 1223241 h 4687251"/>
              <a:gd name="connsiteX20648" fmla="*/ 480946 w 8079933"/>
              <a:gd name="connsiteY20648" fmla="*/ 1223458 h 4687251"/>
              <a:gd name="connsiteX20649" fmla="*/ 478777 w 8079933"/>
              <a:gd name="connsiteY20649" fmla="*/ 1220426 h 4687251"/>
              <a:gd name="connsiteX20650" fmla="*/ 480295 w 8079933"/>
              <a:gd name="connsiteY20650" fmla="*/ 1215878 h 4687251"/>
              <a:gd name="connsiteX20651" fmla="*/ 497114 w 8079933"/>
              <a:gd name="connsiteY20651" fmla="*/ 1213063 h 4687251"/>
              <a:gd name="connsiteX20652" fmla="*/ 498199 w 8079933"/>
              <a:gd name="connsiteY20652" fmla="*/ 1215661 h 4687251"/>
              <a:gd name="connsiteX20653" fmla="*/ 495163 w 8079933"/>
              <a:gd name="connsiteY20653" fmla="*/ 1214579 h 4687251"/>
              <a:gd name="connsiteX20654" fmla="*/ 497114 w 8079933"/>
              <a:gd name="connsiteY20654" fmla="*/ 1213063 h 4687251"/>
              <a:gd name="connsiteX20655" fmla="*/ 609324 w 8079933"/>
              <a:gd name="connsiteY20655" fmla="*/ 1210248 h 4687251"/>
              <a:gd name="connsiteX20656" fmla="*/ 608345 w 8079933"/>
              <a:gd name="connsiteY20656" fmla="*/ 1213929 h 4687251"/>
              <a:gd name="connsiteX20657" fmla="*/ 605741 w 8079933"/>
              <a:gd name="connsiteY20657" fmla="*/ 1215012 h 4687251"/>
              <a:gd name="connsiteX20658" fmla="*/ 603679 w 8079933"/>
              <a:gd name="connsiteY20658" fmla="*/ 1214795 h 4687251"/>
              <a:gd name="connsiteX20659" fmla="*/ 604115 w 8079933"/>
              <a:gd name="connsiteY20659" fmla="*/ 1211980 h 4687251"/>
              <a:gd name="connsiteX20660" fmla="*/ 4527843 w 8079933"/>
              <a:gd name="connsiteY20660" fmla="*/ 1206523 h 4687251"/>
              <a:gd name="connsiteX20661" fmla="*/ 4528834 w 8079933"/>
              <a:gd name="connsiteY20661" fmla="*/ 1208624 h 4687251"/>
              <a:gd name="connsiteX20662" fmla="*/ 4533824 w 8079933"/>
              <a:gd name="connsiteY20662" fmla="*/ 1212094 h 4687251"/>
              <a:gd name="connsiteX20663" fmla="*/ 4533824 w 8079933"/>
              <a:gd name="connsiteY20663" fmla="*/ 1210682 h 4687251"/>
              <a:gd name="connsiteX20664" fmla="*/ 7555362 w 8079933"/>
              <a:gd name="connsiteY20664" fmla="*/ 1204618 h 4687251"/>
              <a:gd name="connsiteX20665" fmla="*/ 7561222 w 8079933"/>
              <a:gd name="connsiteY20665" fmla="*/ 1206242 h 4687251"/>
              <a:gd name="connsiteX20666" fmla="*/ 7564478 w 8079933"/>
              <a:gd name="connsiteY20666" fmla="*/ 1210140 h 4687251"/>
              <a:gd name="connsiteX20667" fmla="*/ 7569252 w 8079933"/>
              <a:gd name="connsiteY20667" fmla="*/ 1210681 h 4687251"/>
              <a:gd name="connsiteX20668" fmla="*/ 7572399 w 8079933"/>
              <a:gd name="connsiteY20668" fmla="*/ 1213280 h 4687251"/>
              <a:gd name="connsiteX20669" fmla="*/ 7579669 w 8079933"/>
              <a:gd name="connsiteY20669" fmla="*/ 1216204 h 4687251"/>
              <a:gd name="connsiteX20670" fmla="*/ 7581515 w 8079933"/>
              <a:gd name="connsiteY20670" fmla="*/ 1217935 h 4687251"/>
              <a:gd name="connsiteX20671" fmla="*/ 7575112 w 8079933"/>
              <a:gd name="connsiteY20671" fmla="*/ 1219235 h 4687251"/>
              <a:gd name="connsiteX20672" fmla="*/ 7572616 w 8079933"/>
              <a:gd name="connsiteY20672" fmla="*/ 1217069 h 4687251"/>
              <a:gd name="connsiteX20673" fmla="*/ 7565345 w 8079933"/>
              <a:gd name="connsiteY20673" fmla="*/ 1214796 h 4687251"/>
              <a:gd name="connsiteX20674" fmla="*/ 7560136 w 8079933"/>
              <a:gd name="connsiteY20674" fmla="*/ 1210140 h 4687251"/>
              <a:gd name="connsiteX20675" fmla="*/ 7555687 w 8079933"/>
              <a:gd name="connsiteY20675" fmla="*/ 1209924 h 4687251"/>
              <a:gd name="connsiteX20676" fmla="*/ 7553300 w 8079933"/>
              <a:gd name="connsiteY20676" fmla="*/ 1206242 h 4687251"/>
              <a:gd name="connsiteX20677" fmla="*/ 2507385 w 8079933"/>
              <a:gd name="connsiteY20677" fmla="*/ 1195848 h 4687251"/>
              <a:gd name="connsiteX20678" fmla="*/ 2510532 w 8079933"/>
              <a:gd name="connsiteY20678" fmla="*/ 1195956 h 4687251"/>
              <a:gd name="connsiteX20679" fmla="*/ 2514765 w 8079933"/>
              <a:gd name="connsiteY20679" fmla="*/ 1198446 h 4687251"/>
              <a:gd name="connsiteX20680" fmla="*/ 2515850 w 8079933"/>
              <a:gd name="connsiteY20680" fmla="*/ 1199529 h 4687251"/>
              <a:gd name="connsiteX20681" fmla="*/ 2518888 w 8079933"/>
              <a:gd name="connsiteY20681" fmla="*/ 1201045 h 4687251"/>
              <a:gd name="connsiteX20682" fmla="*/ 2521818 w 8079933"/>
              <a:gd name="connsiteY20682" fmla="*/ 1203643 h 4687251"/>
              <a:gd name="connsiteX20683" fmla="*/ 2522035 w 8079933"/>
              <a:gd name="connsiteY20683" fmla="*/ 1206567 h 4687251"/>
              <a:gd name="connsiteX20684" fmla="*/ 2521167 w 8079933"/>
              <a:gd name="connsiteY20684" fmla="*/ 1207000 h 4687251"/>
              <a:gd name="connsiteX20685" fmla="*/ 2520299 w 8079933"/>
              <a:gd name="connsiteY20685" fmla="*/ 1208407 h 4687251"/>
              <a:gd name="connsiteX20686" fmla="*/ 2517478 w 8079933"/>
              <a:gd name="connsiteY20686" fmla="*/ 1208732 h 4687251"/>
              <a:gd name="connsiteX20687" fmla="*/ 2515633 w 8079933"/>
              <a:gd name="connsiteY20687" fmla="*/ 1207325 h 4687251"/>
              <a:gd name="connsiteX20688" fmla="*/ 2512703 w 8079933"/>
              <a:gd name="connsiteY20688" fmla="*/ 1205809 h 4687251"/>
              <a:gd name="connsiteX20689" fmla="*/ 2512268 w 8079933"/>
              <a:gd name="connsiteY20689" fmla="*/ 1202777 h 4687251"/>
              <a:gd name="connsiteX20690" fmla="*/ 2512594 w 8079933"/>
              <a:gd name="connsiteY20690" fmla="*/ 1201478 h 4687251"/>
              <a:gd name="connsiteX20691" fmla="*/ 2511835 w 8079933"/>
              <a:gd name="connsiteY20691" fmla="*/ 1198880 h 4687251"/>
              <a:gd name="connsiteX20692" fmla="*/ 2506952 w 8079933"/>
              <a:gd name="connsiteY20692" fmla="*/ 1197472 h 4687251"/>
              <a:gd name="connsiteX20693" fmla="*/ 2505975 w 8079933"/>
              <a:gd name="connsiteY20693" fmla="*/ 1196064 h 4687251"/>
              <a:gd name="connsiteX20694" fmla="*/ 4160094 w 8079933"/>
              <a:gd name="connsiteY20694" fmla="*/ 1192925 h 4687251"/>
              <a:gd name="connsiteX20695" fmla="*/ 4154668 w 8079933"/>
              <a:gd name="connsiteY20695" fmla="*/ 1199637 h 4687251"/>
              <a:gd name="connsiteX20696" fmla="*/ 4152172 w 8079933"/>
              <a:gd name="connsiteY20696" fmla="*/ 1201803 h 4687251"/>
              <a:gd name="connsiteX20697" fmla="*/ 4150544 w 8079933"/>
              <a:gd name="connsiteY20697" fmla="*/ 1198880 h 4687251"/>
              <a:gd name="connsiteX20698" fmla="*/ 4146204 w 8079933"/>
              <a:gd name="connsiteY20698" fmla="*/ 1199205 h 4687251"/>
              <a:gd name="connsiteX20699" fmla="*/ 4149894 w 8079933"/>
              <a:gd name="connsiteY20699" fmla="*/ 1195198 h 4687251"/>
              <a:gd name="connsiteX20700" fmla="*/ 4156513 w 8079933"/>
              <a:gd name="connsiteY20700" fmla="*/ 1194441 h 4687251"/>
              <a:gd name="connsiteX20701" fmla="*/ 1078112 w 8079933"/>
              <a:gd name="connsiteY20701" fmla="*/ 1192817 h 4687251"/>
              <a:gd name="connsiteX20702" fmla="*/ 1082887 w 8079933"/>
              <a:gd name="connsiteY20702" fmla="*/ 1195415 h 4687251"/>
              <a:gd name="connsiteX20703" fmla="*/ 1082887 w 8079933"/>
              <a:gd name="connsiteY20703" fmla="*/ 1199205 h 4687251"/>
              <a:gd name="connsiteX20704" fmla="*/ 1080608 w 8079933"/>
              <a:gd name="connsiteY20704" fmla="*/ 1202345 h 4687251"/>
              <a:gd name="connsiteX20705" fmla="*/ 1082019 w 8079933"/>
              <a:gd name="connsiteY20705" fmla="*/ 1205268 h 4687251"/>
              <a:gd name="connsiteX20706" fmla="*/ 1083864 w 8079933"/>
              <a:gd name="connsiteY20706" fmla="*/ 1202670 h 4687251"/>
              <a:gd name="connsiteX20707" fmla="*/ 1087662 w 8079933"/>
              <a:gd name="connsiteY20707" fmla="*/ 1201154 h 4687251"/>
              <a:gd name="connsiteX20708" fmla="*/ 1092870 w 8079933"/>
              <a:gd name="connsiteY20708" fmla="*/ 1205268 h 4687251"/>
              <a:gd name="connsiteX20709" fmla="*/ 1092870 w 8079933"/>
              <a:gd name="connsiteY20709" fmla="*/ 1208841 h 4687251"/>
              <a:gd name="connsiteX20710" fmla="*/ 1088530 w 8079933"/>
              <a:gd name="connsiteY20710" fmla="*/ 1209924 h 4687251"/>
              <a:gd name="connsiteX20711" fmla="*/ 1089940 w 8079933"/>
              <a:gd name="connsiteY20711" fmla="*/ 1212847 h 4687251"/>
              <a:gd name="connsiteX20712" fmla="*/ 1087336 w 8079933"/>
              <a:gd name="connsiteY20712" fmla="*/ 1215337 h 4687251"/>
              <a:gd name="connsiteX20713" fmla="*/ 1083864 w 8079933"/>
              <a:gd name="connsiteY20713" fmla="*/ 1214363 h 4687251"/>
              <a:gd name="connsiteX20714" fmla="*/ 1080391 w 8079933"/>
              <a:gd name="connsiteY20714" fmla="*/ 1209166 h 4687251"/>
              <a:gd name="connsiteX20715" fmla="*/ 1074965 w 8079933"/>
              <a:gd name="connsiteY20715" fmla="*/ 1204186 h 4687251"/>
              <a:gd name="connsiteX20716" fmla="*/ 1074531 w 8079933"/>
              <a:gd name="connsiteY20716" fmla="*/ 1205376 h 4687251"/>
              <a:gd name="connsiteX20717" fmla="*/ 1080391 w 8079933"/>
              <a:gd name="connsiteY20717" fmla="*/ 1214688 h 4687251"/>
              <a:gd name="connsiteX20718" fmla="*/ 1080391 w 8079933"/>
              <a:gd name="connsiteY20718" fmla="*/ 1218478 h 4687251"/>
              <a:gd name="connsiteX20719" fmla="*/ 1085600 w 8079933"/>
              <a:gd name="connsiteY20719" fmla="*/ 1219127 h 4687251"/>
              <a:gd name="connsiteX20720" fmla="*/ 1087987 w 8079933"/>
              <a:gd name="connsiteY20720" fmla="*/ 1222917 h 4687251"/>
              <a:gd name="connsiteX20721" fmla="*/ 1085600 w 8079933"/>
              <a:gd name="connsiteY20721" fmla="*/ 1225299 h 4687251"/>
              <a:gd name="connsiteX20722" fmla="*/ 1085274 w 8079933"/>
              <a:gd name="connsiteY20722" fmla="*/ 1232119 h 4687251"/>
              <a:gd name="connsiteX20723" fmla="*/ 1082344 w 8079933"/>
              <a:gd name="connsiteY20723" fmla="*/ 1232553 h 4687251"/>
              <a:gd name="connsiteX20724" fmla="*/ 1077678 w 8079933"/>
              <a:gd name="connsiteY20724" fmla="*/ 1227464 h 4687251"/>
              <a:gd name="connsiteX20725" fmla="*/ 1077461 w 8079933"/>
              <a:gd name="connsiteY20725" fmla="*/ 1222808 h 4687251"/>
              <a:gd name="connsiteX20726" fmla="*/ 1071818 w 8079933"/>
              <a:gd name="connsiteY20726" fmla="*/ 1212631 h 4687251"/>
              <a:gd name="connsiteX20727" fmla="*/ 1070841 w 8079933"/>
              <a:gd name="connsiteY20727" fmla="*/ 1217286 h 4687251"/>
              <a:gd name="connsiteX20728" fmla="*/ 1073663 w 8079933"/>
              <a:gd name="connsiteY20728" fmla="*/ 1223999 h 4687251"/>
              <a:gd name="connsiteX20729" fmla="*/ 1073880 w 8079933"/>
              <a:gd name="connsiteY20729" fmla="*/ 1229088 h 4687251"/>
              <a:gd name="connsiteX20730" fmla="*/ 1070950 w 8079933"/>
              <a:gd name="connsiteY20730" fmla="*/ 1232770 h 4687251"/>
              <a:gd name="connsiteX20731" fmla="*/ 1066609 w 8079933"/>
              <a:gd name="connsiteY20731" fmla="*/ 1232445 h 4687251"/>
              <a:gd name="connsiteX20732" fmla="*/ 1062702 w 8079933"/>
              <a:gd name="connsiteY20732" fmla="*/ 1227464 h 4687251"/>
              <a:gd name="connsiteX20733" fmla="*/ 1065415 w 8079933"/>
              <a:gd name="connsiteY20733" fmla="*/ 1223783 h 4687251"/>
              <a:gd name="connsiteX20734" fmla="*/ 1062486 w 8079933"/>
              <a:gd name="connsiteY20734" fmla="*/ 1221617 h 4687251"/>
              <a:gd name="connsiteX20735" fmla="*/ 1063679 w 8079933"/>
              <a:gd name="connsiteY20735" fmla="*/ 1216962 h 4687251"/>
              <a:gd name="connsiteX20736" fmla="*/ 1060424 w 8079933"/>
              <a:gd name="connsiteY20736" fmla="*/ 1210790 h 4687251"/>
              <a:gd name="connsiteX20737" fmla="*/ 1063028 w 8079933"/>
              <a:gd name="connsiteY20737" fmla="*/ 1206135 h 4687251"/>
              <a:gd name="connsiteX20738" fmla="*/ 1065632 w 8079933"/>
              <a:gd name="connsiteY20738" fmla="*/ 1208517 h 4687251"/>
              <a:gd name="connsiteX20739" fmla="*/ 1067477 w 8079933"/>
              <a:gd name="connsiteY20739" fmla="*/ 1205701 h 4687251"/>
              <a:gd name="connsiteX20740" fmla="*/ 1064764 w 8079933"/>
              <a:gd name="connsiteY20740" fmla="*/ 1203860 h 4687251"/>
              <a:gd name="connsiteX20741" fmla="*/ 1064114 w 8079933"/>
              <a:gd name="connsiteY20741" fmla="*/ 1198231 h 4687251"/>
              <a:gd name="connsiteX20742" fmla="*/ 1066284 w 8079933"/>
              <a:gd name="connsiteY20742" fmla="*/ 1193033 h 4687251"/>
              <a:gd name="connsiteX20743" fmla="*/ 1068345 w 8079933"/>
              <a:gd name="connsiteY20743" fmla="*/ 1197689 h 4687251"/>
              <a:gd name="connsiteX20744" fmla="*/ 1070841 w 8079933"/>
              <a:gd name="connsiteY20744" fmla="*/ 1196823 h 4687251"/>
              <a:gd name="connsiteX20745" fmla="*/ 1071601 w 8079933"/>
              <a:gd name="connsiteY20745" fmla="*/ 1194333 h 4687251"/>
              <a:gd name="connsiteX20746" fmla="*/ 1101226 w 8079933"/>
              <a:gd name="connsiteY20746" fmla="*/ 1192384 h 4687251"/>
              <a:gd name="connsiteX20747" fmla="*/ 1102854 w 8079933"/>
              <a:gd name="connsiteY20747" fmla="*/ 1194766 h 4687251"/>
              <a:gd name="connsiteX20748" fmla="*/ 1102854 w 8079933"/>
              <a:gd name="connsiteY20748" fmla="*/ 1199205 h 4687251"/>
              <a:gd name="connsiteX20749" fmla="*/ 1108822 w 8079933"/>
              <a:gd name="connsiteY20749" fmla="*/ 1203211 h 4687251"/>
              <a:gd name="connsiteX20750" fmla="*/ 1111752 w 8079933"/>
              <a:gd name="connsiteY20750" fmla="*/ 1207000 h 4687251"/>
              <a:gd name="connsiteX20751" fmla="*/ 1112946 w 8079933"/>
              <a:gd name="connsiteY20751" fmla="*/ 1224324 h 4687251"/>
              <a:gd name="connsiteX20752" fmla="*/ 1110233 w 8079933"/>
              <a:gd name="connsiteY20752" fmla="*/ 1231253 h 4687251"/>
              <a:gd name="connsiteX20753" fmla="*/ 1108171 w 8079933"/>
              <a:gd name="connsiteY20753" fmla="*/ 1229629 h 4687251"/>
              <a:gd name="connsiteX20754" fmla="*/ 1109257 w 8079933"/>
              <a:gd name="connsiteY20754" fmla="*/ 1219018 h 4687251"/>
              <a:gd name="connsiteX20755" fmla="*/ 1107303 w 8079933"/>
              <a:gd name="connsiteY20755" fmla="*/ 1209166 h 4687251"/>
              <a:gd name="connsiteX20756" fmla="*/ 1106109 w 8079933"/>
              <a:gd name="connsiteY20756" fmla="*/ 1213714 h 4687251"/>
              <a:gd name="connsiteX20757" fmla="*/ 1105784 w 8079933"/>
              <a:gd name="connsiteY20757" fmla="*/ 1229953 h 4687251"/>
              <a:gd name="connsiteX20758" fmla="*/ 1104373 w 8079933"/>
              <a:gd name="connsiteY20758" fmla="*/ 1232985 h 4687251"/>
              <a:gd name="connsiteX20759" fmla="*/ 1103831 w 8079933"/>
              <a:gd name="connsiteY20759" fmla="*/ 1236991 h 4687251"/>
              <a:gd name="connsiteX20760" fmla="*/ 1101443 w 8079933"/>
              <a:gd name="connsiteY20760" fmla="*/ 1239048 h 4687251"/>
              <a:gd name="connsiteX20761" fmla="*/ 1097862 w 8079933"/>
              <a:gd name="connsiteY20761" fmla="*/ 1237532 h 4687251"/>
              <a:gd name="connsiteX20762" fmla="*/ 1096560 w 8079933"/>
              <a:gd name="connsiteY20762" fmla="*/ 1244570 h 4687251"/>
              <a:gd name="connsiteX20763" fmla="*/ 1089724 w 8079933"/>
              <a:gd name="connsiteY20763" fmla="*/ 1248576 h 4687251"/>
              <a:gd name="connsiteX20764" fmla="*/ 1085816 w 8079933"/>
              <a:gd name="connsiteY20764" fmla="*/ 1252149 h 4687251"/>
              <a:gd name="connsiteX20765" fmla="*/ 1083321 w 8079933"/>
              <a:gd name="connsiteY20765" fmla="*/ 1248685 h 4687251"/>
              <a:gd name="connsiteX20766" fmla="*/ 1085925 w 8079933"/>
              <a:gd name="connsiteY20766" fmla="*/ 1243704 h 4687251"/>
              <a:gd name="connsiteX20767" fmla="*/ 1086251 w 8079933"/>
              <a:gd name="connsiteY20767" fmla="*/ 1238399 h 4687251"/>
              <a:gd name="connsiteX20768" fmla="*/ 1089397 w 8079933"/>
              <a:gd name="connsiteY20768" fmla="*/ 1235475 h 4687251"/>
              <a:gd name="connsiteX20769" fmla="*/ 1094932 w 8079933"/>
              <a:gd name="connsiteY20769" fmla="*/ 1235692 h 4687251"/>
              <a:gd name="connsiteX20770" fmla="*/ 1093196 w 8079933"/>
              <a:gd name="connsiteY20770" fmla="*/ 1232769 h 4687251"/>
              <a:gd name="connsiteX20771" fmla="*/ 1095367 w 8079933"/>
              <a:gd name="connsiteY20771" fmla="*/ 1229845 h 4687251"/>
              <a:gd name="connsiteX20772" fmla="*/ 1091460 w 8079933"/>
              <a:gd name="connsiteY20772" fmla="*/ 1227788 h 4687251"/>
              <a:gd name="connsiteX20773" fmla="*/ 1092328 w 8079933"/>
              <a:gd name="connsiteY20773" fmla="*/ 1219885 h 4687251"/>
              <a:gd name="connsiteX20774" fmla="*/ 1096994 w 8079933"/>
              <a:gd name="connsiteY20774" fmla="*/ 1213496 h 4687251"/>
              <a:gd name="connsiteX20775" fmla="*/ 1097971 w 8079933"/>
              <a:gd name="connsiteY20775" fmla="*/ 1198663 h 4687251"/>
              <a:gd name="connsiteX20776" fmla="*/ 2432618 w 8079933"/>
              <a:gd name="connsiteY20776" fmla="*/ 1191193 h 4687251"/>
              <a:gd name="connsiteX20777" fmla="*/ 2435548 w 8079933"/>
              <a:gd name="connsiteY20777" fmla="*/ 1191734 h 4687251"/>
              <a:gd name="connsiteX20778" fmla="*/ 2440865 w 8079933"/>
              <a:gd name="connsiteY20778" fmla="*/ 1195957 h 4687251"/>
              <a:gd name="connsiteX20779" fmla="*/ 2444663 w 8079933"/>
              <a:gd name="connsiteY20779" fmla="*/ 1197906 h 4687251"/>
              <a:gd name="connsiteX20780" fmla="*/ 2446183 w 8079933"/>
              <a:gd name="connsiteY20780" fmla="*/ 1199747 h 4687251"/>
              <a:gd name="connsiteX20781" fmla="*/ 2441408 w 8079933"/>
              <a:gd name="connsiteY20781" fmla="*/ 1198123 h 4687251"/>
              <a:gd name="connsiteX20782" fmla="*/ 2437826 w 8079933"/>
              <a:gd name="connsiteY20782" fmla="*/ 1197581 h 4687251"/>
              <a:gd name="connsiteX20783" fmla="*/ 2434680 w 8079933"/>
              <a:gd name="connsiteY20783" fmla="*/ 1194225 h 4687251"/>
              <a:gd name="connsiteX20784" fmla="*/ 2430990 w 8079933"/>
              <a:gd name="connsiteY20784" fmla="*/ 1191626 h 4687251"/>
              <a:gd name="connsiteX20785" fmla="*/ 2321061 w 8079933"/>
              <a:gd name="connsiteY20785" fmla="*/ 1189136 h 4687251"/>
              <a:gd name="connsiteX20786" fmla="*/ 2322689 w 8079933"/>
              <a:gd name="connsiteY20786" fmla="*/ 1189894 h 4687251"/>
              <a:gd name="connsiteX20787" fmla="*/ 2325076 w 8079933"/>
              <a:gd name="connsiteY20787" fmla="*/ 1192601 h 4687251"/>
              <a:gd name="connsiteX20788" fmla="*/ 2327139 w 8079933"/>
              <a:gd name="connsiteY20788" fmla="*/ 1192601 h 4687251"/>
              <a:gd name="connsiteX20789" fmla="*/ 2329417 w 8079933"/>
              <a:gd name="connsiteY20789" fmla="*/ 1191518 h 4687251"/>
              <a:gd name="connsiteX20790" fmla="*/ 2330937 w 8079933"/>
              <a:gd name="connsiteY20790" fmla="*/ 1193034 h 4687251"/>
              <a:gd name="connsiteX20791" fmla="*/ 2331045 w 8079933"/>
              <a:gd name="connsiteY20791" fmla="*/ 1195957 h 4687251"/>
              <a:gd name="connsiteX20792" fmla="*/ 2331913 w 8079933"/>
              <a:gd name="connsiteY20792" fmla="*/ 1198447 h 4687251"/>
              <a:gd name="connsiteX20793" fmla="*/ 2329851 w 8079933"/>
              <a:gd name="connsiteY20793" fmla="*/ 1201479 h 4687251"/>
              <a:gd name="connsiteX20794" fmla="*/ 2327681 w 8079933"/>
              <a:gd name="connsiteY20794" fmla="*/ 1203752 h 4687251"/>
              <a:gd name="connsiteX20795" fmla="*/ 2328224 w 8079933"/>
              <a:gd name="connsiteY20795" fmla="*/ 1206568 h 4687251"/>
              <a:gd name="connsiteX20796" fmla="*/ 2328441 w 8079933"/>
              <a:gd name="connsiteY20796" fmla="*/ 1208191 h 4687251"/>
              <a:gd name="connsiteX20797" fmla="*/ 2327464 w 8079933"/>
              <a:gd name="connsiteY20797" fmla="*/ 1209383 h 4687251"/>
              <a:gd name="connsiteX20798" fmla="*/ 2324968 w 8079933"/>
              <a:gd name="connsiteY20798" fmla="*/ 1209924 h 4687251"/>
              <a:gd name="connsiteX20799" fmla="*/ 2322255 w 8079933"/>
              <a:gd name="connsiteY20799" fmla="*/ 1213821 h 4687251"/>
              <a:gd name="connsiteX20800" fmla="*/ 2318023 w 8079933"/>
              <a:gd name="connsiteY20800" fmla="*/ 1217286 h 4687251"/>
              <a:gd name="connsiteX20801" fmla="*/ 2317263 w 8079933"/>
              <a:gd name="connsiteY20801" fmla="*/ 1219343 h 4687251"/>
              <a:gd name="connsiteX20802" fmla="*/ 2318457 w 8079933"/>
              <a:gd name="connsiteY20802" fmla="*/ 1220426 h 4687251"/>
              <a:gd name="connsiteX20803" fmla="*/ 2318023 w 8079933"/>
              <a:gd name="connsiteY20803" fmla="*/ 1222483 h 4687251"/>
              <a:gd name="connsiteX20804" fmla="*/ 2316395 w 8079933"/>
              <a:gd name="connsiteY20804" fmla="*/ 1224757 h 4687251"/>
              <a:gd name="connsiteX20805" fmla="*/ 2315853 w 8079933"/>
              <a:gd name="connsiteY20805" fmla="*/ 1226597 h 4687251"/>
              <a:gd name="connsiteX20806" fmla="*/ 2314550 w 8079933"/>
              <a:gd name="connsiteY20806" fmla="*/ 1228438 h 4687251"/>
              <a:gd name="connsiteX20807" fmla="*/ 2313249 w 8079933"/>
              <a:gd name="connsiteY20807" fmla="*/ 1228330 h 4687251"/>
              <a:gd name="connsiteX20808" fmla="*/ 2312380 w 8079933"/>
              <a:gd name="connsiteY20808" fmla="*/ 1224757 h 4687251"/>
              <a:gd name="connsiteX20809" fmla="*/ 2310752 w 8079933"/>
              <a:gd name="connsiteY20809" fmla="*/ 1223782 h 4687251"/>
              <a:gd name="connsiteX20810" fmla="*/ 2309451 w 8079933"/>
              <a:gd name="connsiteY20810" fmla="*/ 1220859 h 4687251"/>
              <a:gd name="connsiteX20811" fmla="*/ 2305978 w 8079933"/>
              <a:gd name="connsiteY20811" fmla="*/ 1220209 h 4687251"/>
              <a:gd name="connsiteX20812" fmla="*/ 2304676 w 8079933"/>
              <a:gd name="connsiteY20812" fmla="*/ 1218477 h 4687251"/>
              <a:gd name="connsiteX20813" fmla="*/ 2306629 w 8079933"/>
              <a:gd name="connsiteY20813" fmla="*/ 1215770 h 4687251"/>
              <a:gd name="connsiteX20814" fmla="*/ 2306086 w 8079933"/>
              <a:gd name="connsiteY20814" fmla="*/ 1211656 h 4687251"/>
              <a:gd name="connsiteX20815" fmla="*/ 2307389 w 8079933"/>
              <a:gd name="connsiteY20815" fmla="*/ 1208841 h 4687251"/>
              <a:gd name="connsiteX20816" fmla="*/ 2310210 w 8079933"/>
              <a:gd name="connsiteY20816" fmla="*/ 1207001 h 4687251"/>
              <a:gd name="connsiteX20817" fmla="*/ 2309125 w 8079933"/>
              <a:gd name="connsiteY20817" fmla="*/ 1203536 h 4687251"/>
              <a:gd name="connsiteX20818" fmla="*/ 2309993 w 8079933"/>
              <a:gd name="connsiteY20818" fmla="*/ 1199313 h 4687251"/>
              <a:gd name="connsiteX20819" fmla="*/ 2312814 w 8079933"/>
              <a:gd name="connsiteY20819" fmla="*/ 1196499 h 4687251"/>
              <a:gd name="connsiteX20820" fmla="*/ 2314659 w 8079933"/>
              <a:gd name="connsiteY20820" fmla="*/ 1196065 h 4687251"/>
              <a:gd name="connsiteX20821" fmla="*/ 2319217 w 8079933"/>
              <a:gd name="connsiteY20821" fmla="*/ 1191734 h 4687251"/>
              <a:gd name="connsiteX20822" fmla="*/ 2362190 w 8079933"/>
              <a:gd name="connsiteY20822" fmla="*/ 1188811 h 4687251"/>
              <a:gd name="connsiteX20823" fmla="*/ 2367073 w 8079933"/>
              <a:gd name="connsiteY20823" fmla="*/ 1189569 h 4687251"/>
              <a:gd name="connsiteX20824" fmla="*/ 2366422 w 8079933"/>
              <a:gd name="connsiteY20824" fmla="*/ 1191193 h 4687251"/>
              <a:gd name="connsiteX20825" fmla="*/ 2362298 w 8079933"/>
              <a:gd name="connsiteY20825" fmla="*/ 1191193 h 4687251"/>
              <a:gd name="connsiteX20826" fmla="*/ 2361105 w 8079933"/>
              <a:gd name="connsiteY20826" fmla="*/ 1189460 h 4687251"/>
              <a:gd name="connsiteX20827" fmla="*/ 7513150 w 8079933"/>
              <a:gd name="connsiteY20827" fmla="*/ 1186645 h 4687251"/>
              <a:gd name="connsiteX20828" fmla="*/ 7518142 w 8079933"/>
              <a:gd name="connsiteY20828" fmla="*/ 1187078 h 4687251"/>
              <a:gd name="connsiteX20829" fmla="*/ 7515862 w 8079933"/>
              <a:gd name="connsiteY20829" fmla="*/ 1189135 h 4687251"/>
              <a:gd name="connsiteX20830" fmla="*/ 7515862 w 8079933"/>
              <a:gd name="connsiteY20830" fmla="*/ 1190867 h 4687251"/>
              <a:gd name="connsiteX20831" fmla="*/ 7520203 w 8079933"/>
              <a:gd name="connsiteY20831" fmla="*/ 1197363 h 4687251"/>
              <a:gd name="connsiteX20832" fmla="*/ 7524652 w 8079933"/>
              <a:gd name="connsiteY20832" fmla="*/ 1197796 h 4687251"/>
              <a:gd name="connsiteX20833" fmla="*/ 7526389 w 8079933"/>
              <a:gd name="connsiteY20833" fmla="*/ 1202236 h 4687251"/>
              <a:gd name="connsiteX20834" fmla="*/ 7532900 w 8079933"/>
              <a:gd name="connsiteY20834" fmla="*/ 1207000 h 4687251"/>
              <a:gd name="connsiteX20835" fmla="*/ 7537892 w 8079933"/>
              <a:gd name="connsiteY20835" fmla="*/ 1208732 h 4687251"/>
              <a:gd name="connsiteX20836" fmla="*/ 7540713 w 8079933"/>
              <a:gd name="connsiteY20836" fmla="*/ 1214146 h 4687251"/>
              <a:gd name="connsiteX20837" fmla="*/ 7539628 w 8079933"/>
              <a:gd name="connsiteY20837" fmla="*/ 1215986 h 4687251"/>
              <a:gd name="connsiteX20838" fmla="*/ 7534527 w 8079933"/>
              <a:gd name="connsiteY20838" fmla="*/ 1215336 h 4687251"/>
              <a:gd name="connsiteX20839" fmla="*/ 7529970 w 8079933"/>
              <a:gd name="connsiteY20839" fmla="*/ 1210789 h 4687251"/>
              <a:gd name="connsiteX20840" fmla="*/ 7527908 w 8079933"/>
              <a:gd name="connsiteY20840" fmla="*/ 1211872 h 4687251"/>
              <a:gd name="connsiteX20841" fmla="*/ 7525738 w 8079933"/>
              <a:gd name="connsiteY20841" fmla="*/ 1211547 h 4687251"/>
              <a:gd name="connsiteX20842" fmla="*/ 7521723 w 8079933"/>
              <a:gd name="connsiteY20842" fmla="*/ 1207000 h 4687251"/>
              <a:gd name="connsiteX20843" fmla="*/ 7518359 w 8079933"/>
              <a:gd name="connsiteY20843" fmla="*/ 1206350 h 4687251"/>
              <a:gd name="connsiteX20844" fmla="*/ 7513584 w 8079933"/>
              <a:gd name="connsiteY20844" fmla="*/ 1200504 h 4687251"/>
              <a:gd name="connsiteX20845" fmla="*/ 7514018 w 8079933"/>
              <a:gd name="connsiteY20845" fmla="*/ 1198771 h 4687251"/>
              <a:gd name="connsiteX20846" fmla="*/ 7511414 w 8079933"/>
              <a:gd name="connsiteY20846" fmla="*/ 1196065 h 4687251"/>
              <a:gd name="connsiteX20847" fmla="*/ 7507398 w 8079933"/>
              <a:gd name="connsiteY20847" fmla="*/ 1196173 h 4687251"/>
              <a:gd name="connsiteX20848" fmla="*/ 7503600 w 8079933"/>
              <a:gd name="connsiteY20848" fmla="*/ 1194440 h 4687251"/>
              <a:gd name="connsiteX20849" fmla="*/ 7503492 w 8079933"/>
              <a:gd name="connsiteY20849" fmla="*/ 1191734 h 4687251"/>
              <a:gd name="connsiteX20850" fmla="*/ 7506965 w 8079933"/>
              <a:gd name="connsiteY20850" fmla="*/ 1187620 h 4687251"/>
              <a:gd name="connsiteX20851" fmla="*/ 7510220 w 8079933"/>
              <a:gd name="connsiteY20851" fmla="*/ 1187620 h 4687251"/>
              <a:gd name="connsiteX20852" fmla="*/ 4165086 w 8079933"/>
              <a:gd name="connsiteY20852" fmla="*/ 1185778 h 4687251"/>
              <a:gd name="connsiteX20853" fmla="*/ 4160203 w 8079933"/>
              <a:gd name="connsiteY20853" fmla="*/ 1191625 h 4687251"/>
              <a:gd name="connsiteX20854" fmla="*/ 4157273 w 8079933"/>
              <a:gd name="connsiteY20854" fmla="*/ 1190325 h 4687251"/>
              <a:gd name="connsiteX20855" fmla="*/ 4159009 w 8079933"/>
              <a:gd name="connsiteY20855" fmla="*/ 1186861 h 4687251"/>
              <a:gd name="connsiteX20856" fmla="*/ 1077029 w 8079933"/>
              <a:gd name="connsiteY20856" fmla="*/ 1185455 h 4687251"/>
              <a:gd name="connsiteX20857" fmla="*/ 1078656 w 8079933"/>
              <a:gd name="connsiteY20857" fmla="*/ 1188161 h 4687251"/>
              <a:gd name="connsiteX20858" fmla="*/ 1075184 w 8079933"/>
              <a:gd name="connsiteY20858" fmla="*/ 1190761 h 4687251"/>
              <a:gd name="connsiteX20859" fmla="*/ 1072579 w 8079933"/>
              <a:gd name="connsiteY20859" fmla="*/ 1189245 h 4687251"/>
              <a:gd name="connsiteX20860" fmla="*/ 4517006 w 8079933"/>
              <a:gd name="connsiteY20860" fmla="*/ 1182481 h 4687251"/>
              <a:gd name="connsiteX20861" fmla="*/ 4517006 w 8079933"/>
              <a:gd name="connsiteY20861" fmla="*/ 1182639 h 4687251"/>
              <a:gd name="connsiteX20862" fmla="*/ 4520152 w 8079933"/>
              <a:gd name="connsiteY20862" fmla="*/ 1186645 h 4687251"/>
              <a:gd name="connsiteX20863" fmla="*/ 4525130 w 8079933"/>
              <a:gd name="connsiteY20863" fmla="*/ 1187473 h 4687251"/>
              <a:gd name="connsiteX20864" fmla="*/ 4523842 w 8079933"/>
              <a:gd name="connsiteY20864" fmla="*/ 1184697 h 4687251"/>
              <a:gd name="connsiteX20865" fmla="*/ 4517981 w 8079933"/>
              <a:gd name="connsiteY20865" fmla="*/ 1183723 h 4687251"/>
              <a:gd name="connsiteX20866" fmla="*/ 655008 w 8079933"/>
              <a:gd name="connsiteY20866" fmla="*/ 1182207 h 4687251"/>
              <a:gd name="connsiteX20867" fmla="*/ 653163 w 8079933"/>
              <a:gd name="connsiteY20867" fmla="*/ 1185130 h 4687251"/>
              <a:gd name="connsiteX20868" fmla="*/ 651644 w 8079933"/>
              <a:gd name="connsiteY20868" fmla="*/ 1182748 h 4687251"/>
              <a:gd name="connsiteX20869" fmla="*/ 651425 w 8079933"/>
              <a:gd name="connsiteY20869" fmla="*/ 1178417 h 4687251"/>
              <a:gd name="connsiteX20870" fmla="*/ 642312 w 8079933"/>
              <a:gd name="connsiteY20870" fmla="*/ 1187512 h 4687251"/>
              <a:gd name="connsiteX20871" fmla="*/ 637970 w 8079933"/>
              <a:gd name="connsiteY20871" fmla="*/ 1188054 h 4687251"/>
              <a:gd name="connsiteX20872" fmla="*/ 641661 w 8079933"/>
              <a:gd name="connsiteY20872" fmla="*/ 1181882 h 4687251"/>
              <a:gd name="connsiteX20873" fmla="*/ 4414566 w 8079933"/>
              <a:gd name="connsiteY20873" fmla="*/ 1176901 h 4687251"/>
              <a:gd name="connsiteX20874" fmla="*/ 4421728 w 8079933"/>
              <a:gd name="connsiteY20874" fmla="*/ 1178092 h 4687251"/>
              <a:gd name="connsiteX20875" fmla="*/ 4421402 w 8079933"/>
              <a:gd name="connsiteY20875" fmla="*/ 1180149 h 4687251"/>
              <a:gd name="connsiteX20876" fmla="*/ 4417062 w 8079933"/>
              <a:gd name="connsiteY20876" fmla="*/ 1180258 h 4687251"/>
              <a:gd name="connsiteX20877" fmla="*/ 4419340 w 8079933"/>
              <a:gd name="connsiteY20877" fmla="*/ 1182856 h 4687251"/>
              <a:gd name="connsiteX20878" fmla="*/ 4417495 w 8079933"/>
              <a:gd name="connsiteY20878" fmla="*/ 1185130 h 4687251"/>
              <a:gd name="connsiteX20879" fmla="*/ 4413372 w 8079933"/>
              <a:gd name="connsiteY20879" fmla="*/ 1184805 h 4687251"/>
              <a:gd name="connsiteX20880" fmla="*/ 4410008 w 8079933"/>
              <a:gd name="connsiteY20880" fmla="*/ 1180149 h 4687251"/>
              <a:gd name="connsiteX20881" fmla="*/ 2651387 w 8079933"/>
              <a:gd name="connsiteY20881" fmla="*/ 1176576 h 4687251"/>
              <a:gd name="connsiteX20882" fmla="*/ 2653015 w 8079933"/>
              <a:gd name="connsiteY20882" fmla="*/ 1178092 h 4687251"/>
              <a:gd name="connsiteX20883" fmla="*/ 2653666 w 8079933"/>
              <a:gd name="connsiteY20883" fmla="*/ 1182856 h 4687251"/>
              <a:gd name="connsiteX20884" fmla="*/ 2652147 w 8079933"/>
              <a:gd name="connsiteY20884" fmla="*/ 1188270 h 4687251"/>
              <a:gd name="connsiteX20885" fmla="*/ 2652907 w 8079933"/>
              <a:gd name="connsiteY20885" fmla="*/ 1191409 h 4687251"/>
              <a:gd name="connsiteX20886" fmla="*/ 2651387 w 8079933"/>
              <a:gd name="connsiteY20886" fmla="*/ 1193250 h 4687251"/>
              <a:gd name="connsiteX20887" fmla="*/ 2649217 w 8079933"/>
              <a:gd name="connsiteY20887" fmla="*/ 1189460 h 4687251"/>
              <a:gd name="connsiteX20888" fmla="*/ 2650519 w 8079933"/>
              <a:gd name="connsiteY20888" fmla="*/ 1184155 h 4687251"/>
              <a:gd name="connsiteX20889" fmla="*/ 592719 w 8079933"/>
              <a:gd name="connsiteY20889" fmla="*/ 1172029 h 4687251"/>
              <a:gd name="connsiteX20890" fmla="*/ 595215 w 8079933"/>
              <a:gd name="connsiteY20890" fmla="*/ 1174735 h 4687251"/>
              <a:gd name="connsiteX20891" fmla="*/ 591960 w 8079933"/>
              <a:gd name="connsiteY20891" fmla="*/ 1176251 h 4687251"/>
              <a:gd name="connsiteX20892" fmla="*/ 587944 w 8079933"/>
              <a:gd name="connsiteY20892" fmla="*/ 1172137 h 4687251"/>
              <a:gd name="connsiteX20893" fmla="*/ 2929407 w 8079933"/>
              <a:gd name="connsiteY20893" fmla="*/ 1167156 h 4687251"/>
              <a:gd name="connsiteX20894" fmla="*/ 2925934 w 8079933"/>
              <a:gd name="connsiteY20894" fmla="*/ 1172028 h 4687251"/>
              <a:gd name="connsiteX20895" fmla="*/ 2922136 w 8079933"/>
              <a:gd name="connsiteY20895" fmla="*/ 1175060 h 4687251"/>
              <a:gd name="connsiteX20896" fmla="*/ 2920183 w 8079933"/>
              <a:gd name="connsiteY20896" fmla="*/ 1175385 h 4687251"/>
              <a:gd name="connsiteX20897" fmla="*/ 2925066 w 8079933"/>
              <a:gd name="connsiteY20897" fmla="*/ 1170729 h 4687251"/>
              <a:gd name="connsiteX20898" fmla="*/ 2927345 w 8079933"/>
              <a:gd name="connsiteY20898" fmla="*/ 1168022 h 4687251"/>
              <a:gd name="connsiteX20899" fmla="*/ 4515594 w 8079933"/>
              <a:gd name="connsiteY20899" fmla="*/ 1166845 h 4687251"/>
              <a:gd name="connsiteX20900" fmla="*/ 4515594 w 8079933"/>
              <a:gd name="connsiteY20900" fmla="*/ 1169213 h 4687251"/>
              <a:gd name="connsiteX20901" fmla="*/ 4516596 w 8079933"/>
              <a:gd name="connsiteY20901" fmla="*/ 1169469 h 4687251"/>
              <a:gd name="connsiteX20902" fmla="*/ 4518090 w 8079933"/>
              <a:gd name="connsiteY20902" fmla="*/ 1167482 h 4687251"/>
              <a:gd name="connsiteX20903" fmla="*/ 2923873 w 8079933"/>
              <a:gd name="connsiteY20903" fmla="*/ 1166183 h 4687251"/>
              <a:gd name="connsiteX20904" fmla="*/ 2925609 w 8079933"/>
              <a:gd name="connsiteY20904" fmla="*/ 1166183 h 4687251"/>
              <a:gd name="connsiteX20905" fmla="*/ 2923981 w 8079933"/>
              <a:gd name="connsiteY20905" fmla="*/ 1168997 h 4687251"/>
              <a:gd name="connsiteX20906" fmla="*/ 2921593 w 8079933"/>
              <a:gd name="connsiteY20906" fmla="*/ 1170946 h 4687251"/>
              <a:gd name="connsiteX20907" fmla="*/ 2919966 w 8079933"/>
              <a:gd name="connsiteY20907" fmla="*/ 1171704 h 4687251"/>
              <a:gd name="connsiteX20908" fmla="*/ 2919966 w 8079933"/>
              <a:gd name="connsiteY20908" fmla="*/ 1170405 h 4687251"/>
              <a:gd name="connsiteX20909" fmla="*/ 2261053 w 8079933"/>
              <a:gd name="connsiteY20909" fmla="*/ 1164342 h 4687251"/>
              <a:gd name="connsiteX20910" fmla="*/ 2262463 w 8079933"/>
              <a:gd name="connsiteY20910" fmla="*/ 1168673 h 4687251"/>
              <a:gd name="connsiteX20911" fmla="*/ 2266261 w 8079933"/>
              <a:gd name="connsiteY20911" fmla="*/ 1170621 h 4687251"/>
              <a:gd name="connsiteX20912" fmla="*/ 2269191 w 8079933"/>
              <a:gd name="connsiteY20912" fmla="*/ 1167157 h 4687251"/>
              <a:gd name="connsiteX20913" fmla="*/ 2271579 w 8079933"/>
              <a:gd name="connsiteY20913" fmla="*/ 1166291 h 4687251"/>
              <a:gd name="connsiteX20914" fmla="*/ 2273424 w 8079933"/>
              <a:gd name="connsiteY20914" fmla="*/ 1167698 h 4687251"/>
              <a:gd name="connsiteX20915" fmla="*/ 2277005 w 8079933"/>
              <a:gd name="connsiteY20915" fmla="*/ 1165858 h 4687251"/>
              <a:gd name="connsiteX20916" fmla="*/ 2280260 w 8079933"/>
              <a:gd name="connsiteY20916" fmla="*/ 1165858 h 4687251"/>
              <a:gd name="connsiteX20917" fmla="*/ 2282322 w 8079933"/>
              <a:gd name="connsiteY20917" fmla="*/ 1167266 h 4687251"/>
              <a:gd name="connsiteX20918" fmla="*/ 2286663 w 8079933"/>
              <a:gd name="connsiteY20918" fmla="*/ 1167266 h 4687251"/>
              <a:gd name="connsiteX20919" fmla="*/ 2288399 w 8079933"/>
              <a:gd name="connsiteY20919" fmla="*/ 1168673 h 4687251"/>
              <a:gd name="connsiteX20920" fmla="*/ 2284601 w 8079933"/>
              <a:gd name="connsiteY20920" fmla="*/ 1173111 h 4687251"/>
              <a:gd name="connsiteX20921" fmla="*/ 2284601 w 8079933"/>
              <a:gd name="connsiteY20921" fmla="*/ 1176360 h 4687251"/>
              <a:gd name="connsiteX20922" fmla="*/ 2279067 w 8079933"/>
              <a:gd name="connsiteY20922" fmla="*/ 1180366 h 4687251"/>
              <a:gd name="connsiteX20923" fmla="*/ 2275377 w 8079933"/>
              <a:gd name="connsiteY20923" fmla="*/ 1180582 h 4687251"/>
              <a:gd name="connsiteX20924" fmla="*/ 2271579 w 8079933"/>
              <a:gd name="connsiteY20924" fmla="*/ 1186212 h 4687251"/>
              <a:gd name="connsiteX20925" fmla="*/ 2267455 w 8079933"/>
              <a:gd name="connsiteY20925" fmla="*/ 1188919 h 4687251"/>
              <a:gd name="connsiteX20926" fmla="*/ 2263983 w 8079933"/>
              <a:gd name="connsiteY20926" fmla="*/ 1190002 h 4687251"/>
              <a:gd name="connsiteX20927" fmla="*/ 2257472 w 8079933"/>
              <a:gd name="connsiteY20927" fmla="*/ 1195523 h 4687251"/>
              <a:gd name="connsiteX20928" fmla="*/ 2253999 w 8079933"/>
              <a:gd name="connsiteY20928" fmla="*/ 1195523 h 4687251"/>
              <a:gd name="connsiteX20929" fmla="*/ 2253348 w 8079933"/>
              <a:gd name="connsiteY20929" fmla="*/ 1192925 h 4687251"/>
              <a:gd name="connsiteX20930" fmla="*/ 2251069 w 8079933"/>
              <a:gd name="connsiteY20930" fmla="*/ 1192275 h 4687251"/>
              <a:gd name="connsiteX20931" fmla="*/ 2247922 w 8079933"/>
              <a:gd name="connsiteY20931" fmla="*/ 1192275 h 4687251"/>
              <a:gd name="connsiteX20932" fmla="*/ 2243798 w 8079933"/>
              <a:gd name="connsiteY20932" fmla="*/ 1197472 h 4687251"/>
              <a:gd name="connsiteX20933" fmla="*/ 2241954 w 8079933"/>
              <a:gd name="connsiteY20933" fmla="*/ 1198339 h 4687251"/>
              <a:gd name="connsiteX20934" fmla="*/ 2240869 w 8079933"/>
              <a:gd name="connsiteY20934" fmla="*/ 1196931 h 4687251"/>
              <a:gd name="connsiteX20935" fmla="*/ 2240869 w 8079933"/>
              <a:gd name="connsiteY20935" fmla="*/ 1192600 h 4687251"/>
              <a:gd name="connsiteX20936" fmla="*/ 2242279 w 8079933"/>
              <a:gd name="connsiteY20936" fmla="*/ 1189135 h 4687251"/>
              <a:gd name="connsiteX20937" fmla="*/ 2240869 w 8079933"/>
              <a:gd name="connsiteY20937" fmla="*/ 1184480 h 4687251"/>
              <a:gd name="connsiteX20938" fmla="*/ 2238807 w 8079933"/>
              <a:gd name="connsiteY20938" fmla="*/ 1182639 h 4687251"/>
              <a:gd name="connsiteX20939" fmla="*/ 2239675 w 8079933"/>
              <a:gd name="connsiteY20939" fmla="*/ 1179716 h 4687251"/>
              <a:gd name="connsiteX20940" fmla="*/ 2248140 w 8079933"/>
              <a:gd name="connsiteY20940" fmla="*/ 1177442 h 4687251"/>
              <a:gd name="connsiteX20941" fmla="*/ 2249984 w 8079933"/>
              <a:gd name="connsiteY20941" fmla="*/ 1175060 h 4687251"/>
              <a:gd name="connsiteX20942" fmla="*/ 2249984 w 8079933"/>
              <a:gd name="connsiteY20942" fmla="*/ 1172787 h 4687251"/>
              <a:gd name="connsiteX20943" fmla="*/ 2254976 w 8079933"/>
              <a:gd name="connsiteY20943" fmla="*/ 1166615 h 4687251"/>
              <a:gd name="connsiteX20944" fmla="*/ 2259317 w 8079933"/>
              <a:gd name="connsiteY20944" fmla="*/ 1165425 h 4687251"/>
              <a:gd name="connsiteX20945" fmla="*/ 4628560 w 8079933"/>
              <a:gd name="connsiteY20945" fmla="*/ 1163475 h 4687251"/>
              <a:gd name="connsiteX20946" fmla="*/ 4631708 w 8079933"/>
              <a:gd name="connsiteY20946" fmla="*/ 1164124 h 4687251"/>
              <a:gd name="connsiteX20947" fmla="*/ 4632250 w 8079933"/>
              <a:gd name="connsiteY20947" fmla="*/ 1167048 h 4687251"/>
              <a:gd name="connsiteX20948" fmla="*/ 4630622 w 8079933"/>
              <a:gd name="connsiteY20948" fmla="*/ 1168997 h 4687251"/>
              <a:gd name="connsiteX20949" fmla="*/ 4632793 w 8079933"/>
              <a:gd name="connsiteY20949" fmla="*/ 1173003 h 4687251"/>
              <a:gd name="connsiteX20950" fmla="*/ 4632250 w 8079933"/>
              <a:gd name="connsiteY20950" fmla="*/ 1175276 h 4687251"/>
              <a:gd name="connsiteX20951" fmla="*/ 4630297 w 8079933"/>
              <a:gd name="connsiteY20951" fmla="*/ 1175385 h 4687251"/>
              <a:gd name="connsiteX20952" fmla="*/ 4629212 w 8079933"/>
              <a:gd name="connsiteY20952" fmla="*/ 1173219 h 4687251"/>
              <a:gd name="connsiteX20953" fmla="*/ 4625631 w 8079933"/>
              <a:gd name="connsiteY20953" fmla="*/ 1169971 h 4687251"/>
              <a:gd name="connsiteX20954" fmla="*/ 4625522 w 8079933"/>
              <a:gd name="connsiteY20954" fmla="*/ 1166723 h 4687251"/>
              <a:gd name="connsiteX20955" fmla="*/ 3136348 w 8079933"/>
              <a:gd name="connsiteY20955" fmla="*/ 1163367 h 4687251"/>
              <a:gd name="connsiteX20956" fmla="*/ 3138084 w 8079933"/>
              <a:gd name="connsiteY20956" fmla="*/ 1165208 h 4687251"/>
              <a:gd name="connsiteX20957" fmla="*/ 3139711 w 8079933"/>
              <a:gd name="connsiteY20957" fmla="*/ 1169646 h 4687251"/>
              <a:gd name="connsiteX20958" fmla="*/ 3141665 w 8079933"/>
              <a:gd name="connsiteY20958" fmla="*/ 1171812 h 4687251"/>
              <a:gd name="connsiteX20959" fmla="*/ 3141014 w 8079933"/>
              <a:gd name="connsiteY20959" fmla="*/ 1176793 h 4687251"/>
              <a:gd name="connsiteX20960" fmla="*/ 3141882 w 8079933"/>
              <a:gd name="connsiteY20960" fmla="*/ 1181881 h 4687251"/>
              <a:gd name="connsiteX20961" fmla="*/ 3139386 w 8079933"/>
              <a:gd name="connsiteY20961" fmla="*/ 1181231 h 4687251"/>
              <a:gd name="connsiteX20962" fmla="*/ 3137650 w 8079933"/>
              <a:gd name="connsiteY20962" fmla="*/ 1177658 h 4687251"/>
              <a:gd name="connsiteX20963" fmla="*/ 3138193 w 8079933"/>
              <a:gd name="connsiteY20963" fmla="*/ 1172028 h 4687251"/>
              <a:gd name="connsiteX20964" fmla="*/ 3136131 w 8079933"/>
              <a:gd name="connsiteY20964" fmla="*/ 1168781 h 4687251"/>
              <a:gd name="connsiteX20965" fmla="*/ 3135480 w 8079933"/>
              <a:gd name="connsiteY20965" fmla="*/ 1165099 h 4687251"/>
              <a:gd name="connsiteX20966" fmla="*/ 4163891 w 8079933"/>
              <a:gd name="connsiteY20966" fmla="*/ 1161635 h 4687251"/>
              <a:gd name="connsiteX20967" fmla="*/ 4165844 w 8079933"/>
              <a:gd name="connsiteY20967" fmla="*/ 1162934 h 4687251"/>
              <a:gd name="connsiteX20968" fmla="*/ 4166061 w 8079933"/>
              <a:gd name="connsiteY20968" fmla="*/ 1165749 h 4687251"/>
              <a:gd name="connsiteX20969" fmla="*/ 4163565 w 8079933"/>
              <a:gd name="connsiteY20969" fmla="*/ 1168023 h 4687251"/>
              <a:gd name="connsiteX20970" fmla="*/ 4161504 w 8079933"/>
              <a:gd name="connsiteY20970" fmla="*/ 1165425 h 4687251"/>
              <a:gd name="connsiteX20971" fmla="*/ 4212399 w 8079933"/>
              <a:gd name="connsiteY20971" fmla="*/ 1157303 h 4687251"/>
              <a:gd name="connsiteX20972" fmla="*/ 4210011 w 8079933"/>
              <a:gd name="connsiteY20972" fmla="*/ 1163366 h 4687251"/>
              <a:gd name="connsiteX20973" fmla="*/ 4207515 w 8079933"/>
              <a:gd name="connsiteY20973" fmla="*/ 1174194 h 4687251"/>
              <a:gd name="connsiteX20974" fmla="*/ 4207190 w 8079933"/>
              <a:gd name="connsiteY20974" fmla="*/ 1185562 h 4687251"/>
              <a:gd name="connsiteX20975" fmla="*/ 4199160 w 8079933"/>
              <a:gd name="connsiteY20975" fmla="*/ 1205267 h 4687251"/>
              <a:gd name="connsiteX20976" fmla="*/ 4198725 w 8079933"/>
              <a:gd name="connsiteY20976" fmla="*/ 1211114 h 4687251"/>
              <a:gd name="connsiteX20977" fmla="*/ 4198725 w 8079933"/>
              <a:gd name="connsiteY20977" fmla="*/ 1211114 h 4687251"/>
              <a:gd name="connsiteX20978" fmla="*/ 4199160 w 8079933"/>
              <a:gd name="connsiteY20978" fmla="*/ 1205268 h 4687251"/>
              <a:gd name="connsiteX20979" fmla="*/ 4207190 w 8079933"/>
              <a:gd name="connsiteY20979" fmla="*/ 1185562 h 4687251"/>
              <a:gd name="connsiteX20980" fmla="*/ 4207515 w 8079933"/>
              <a:gd name="connsiteY20980" fmla="*/ 1174194 h 4687251"/>
              <a:gd name="connsiteX20981" fmla="*/ 4210011 w 8079933"/>
              <a:gd name="connsiteY20981" fmla="*/ 1163367 h 4687251"/>
              <a:gd name="connsiteX20982" fmla="*/ 4212399 w 8079933"/>
              <a:gd name="connsiteY20982" fmla="*/ 1157304 h 4687251"/>
              <a:gd name="connsiteX20983" fmla="*/ 3159678 w 8079933"/>
              <a:gd name="connsiteY20983" fmla="*/ 1150483 h 4687251"/>
              <a:gd name="connsiteX20984" fmla="*/ 3161523 w 8079933"/>
              <a:gd name="connsiteY20984" fmla="*/ 1152324 h 4687251"/>
              <a:gd name="connsiteX20985" fmla="*/ 3160980 w 8079933"/>
              <a:gd name="connsiteY20985" fmla="*/ 1154165 h 4687251"/>
              <a:gd name="connsiteX20986" fmla="*/ 3158701 w 8079933"/>
              <a:gd name="connsiteY20986" fmla="*/ 1152865 h 4687251"/>
              <a:gd name="connsiteX20987" fmla="*/ 3157942 w 8079933"/>
              <a:gd name="connsiteY20987" fmla="*/ 1150699 h 4687251"/>
              <a:gd name="connsiteX20988" fmla="*/ 4174961 w 8079933"/>
              <a:gd name="connsiteY20988" fmla="*/ 1150267 h 4687251"/>
              <a:gd name="connsiteX20989" fmla="*/ 4179410 w 8079933"/>
              <a:gd name="connsiteY20989" fmla="*/ 1150916 h 4687251"/>
              <a:gd name="connsiteX20990" fmla="*/ 4173767 w 8079933"/>
              <a:gd name="connsiteY20990" fmla="*/ 1155573 h 4687251"/>
              <a:gd name="connsiteX20991" fmla="*/ 4172899 w 8079933"/>
              <a:gd name="connsiteY20991" fmla="*/ 1152649 h 4687251"/>
              <a:gd name="connsiteX20992" fmla="*/ 2368484 w 8079933"/>
              <a:gd name="connsiteY20992" fmla="*/ 1149833 h 4687251"/>
              <a:gd name="connsiteX20993" fmla="*/ 2371414 w 8079933"/>
              <a:gd name="connsiteY20993" fmla="*/ 1152865 h 4687251"/>
              <a:gd name="connsiteX20994" fmla="*/ 2373802 w 8079933"/>
              <a:gd name="connsiteY20994" fmla="*/ 1155138 h 4687251"/>
              <a:gd name="connsiteX20995" fmla="*/ 2378793 w 8079933"/>
              <a:gd name="connsiteY20995" fmla="*/ 1155571 h 4687251"/>
              <a:gd name="connsiteX20996" fmla="*/ 2380963 w 8079933"/>
              <a:gd name="connsiteY20996" fmla="*/ 1156762 h 4687251"/>
              <a:gd name="connsiteX20997" fmla="*/ 2381289 w 8079933"/>
              <a:gd name="connsiteY20997" fmla="*/ 1162934 h 4687251"/>
              <a:gd name="connsiteX20998" fmla="*/ 2380855 w 8079933"/>
              <a:gd name="connsiteY20998" fmla="*/ 1164557 h 4687251"/>
              <a:gd name="connsiteX20999" fmla="*/ 2380855 w 8079933"/>
              <a:gd name="connsiteY20999" fmla="*/ 1167048 h 4687251"/>
              <a:gd name="connsiteX21000" fmla="*/ 2378793 w 8079933"/>
              <a:gd name="connsiteY21000" fmla="*/ 1168455 h 4687251"/>
              <a:gd name="connsiteX21001" fmla="*/ 2376188 w 8079933"/>
              <a:gd name="connsiteY21001" fmla="*/ 1168888 h 4687251"/>
              <a:gd name="connsiteX21002" fmla="*/ 2374019 w 8079933"/>
              <a:gd name="connsiteY21002" fmla="*/ 1170404 h 4687251"/>
              <a:gd name="connsiteX21003" fmla="*/ 2370329 w 8079933"/>
              <a:gd name="connsiteY21003" fmla="*/ 1170945 h 4687251"/>
              <a:gd name="connsiteX21004" fmla="*/ 2368376 w 8079933"/>
              <a:gd name="connsiteY21004" fmla="*/ 1169321 h 4687251"/>
              <a:gd name="connsiteX21005" fmla="*/ 2367724 w 8079933"/>
              <a:gd name="connsiteY21005" fmla="*/ 1165748 h 4687251"/>
              <a:gd name="connsiteX21006" fmla="*/ 2365988 w 8079933"/>
              <a:gd name="connsiteY21006" fmla="*/ 1164232 h 4687251"/>
              <a:gd name="connsiteX21007" fmla="*/ 2364035 w 8079933"/>
              <a:gd name="connsiteY21007" fmla="*/ 1159469 h 4687251"/>
              <a:gd name="connsiteX21008" fmla="*/ 2360563 w 8079933"/>
              <a:gd name="connsiteY21008" fmla="*/ 1156762 h 4687251"/>
              <a:gd name="connsiteX21009" fmla="*/ 2359803 w 8079933"/>
              <a:gd name="connsiteY21009" fmla="*/ 1152648 h 4687251"/>
              <a:gd name="connsiteX21010" fmla="*/ 2360563 w 8079933"/>
              <a:gd name="connsiteY21010" fmla="*/ 1150266 h 4687251"/>
              <a:gd name="connsiteX21011" fmla="*/ 2362733 w 8079933"/>
              <a:gd name="connsiteY21011" fmla="*/ 1151457 h 4687251"/>
              <a:gd name="connsiteX21012" fmla="*/ 2366856 w 8079933"/>
              <a:gd name="connsiteY21012" fmla="*/ 1151241 h 4687251"/>
              <a:gd name="connsiteX21013" fmla="*/ 1073889 w 8079933"/>
              <a:gd name="connsiteY21013" fmla="*/ 1147565 h 4687251"/>
              <a:gd name="connsiteX21014" fmla="*/ 1067585 w 8079933"/>
              <a:gd name="connsiteY21014" fmla="*/ 1148426 h 4687251"/>
              <a:gd name="connsiteX21015" fmla="*/ 1058361 w 8079933"/>
              <a:gd name="connsiteY21015" fmla="*/ 1149942 h 4687251"/>
              <a:gd name="connsiteX21016" fmla="*/ 1056734 w 8079933"/>
              <a:gd name="connsiteY21016" fmla="*/ 1150266 h 4687251"/>
              <a:gd name="connsiteX21017" fmla="*/ 1056734 w 8079933"/>
              <a:gd name="connsiteY21017" fmla="*/ 1150267 h 4687251"/>
              <a:gd name="connsiteX21018" fmla="*/ 1058362 w 8079933"/>
              <a:gd name="connsiteY21018" fmla="*/ 1149942 h 4687251"/>
              <a:gd name="connsiteX21019" fmla="*/ 1067586 w 8079933"/>
              <a:gd name="connsiteY21019" fmla="*/ 1148426 h 4687251"/>
              <a:gd name="connsiteX21020" fmla="*/ 2647480 w 8079933"/>
              <a:gd name="connsiteY21020" fmla="*/ 1146910 h 4687251"/>
              <a:gd name="connsiteX21021" fmla="*/ 2648782 w 8079933"/>
              <a:gd name="connsiteY21021" fmla="*/ 1148209 h 4687251"/>
              <a:gd name="connsiteX21022" fmla="*/ 2648674 w 8079933"/>
              <a:gd name="connsiteY21022" fmla="*/ 1151349 h 4687251"/>
              <a:gd name="connsiteX21023" fmla="*/ 2647154 w 8079933"/>
              <a:gd name="connsiteY21023" fmla="*/ 1151024 h 4687251"/>
              <a:gd name="connsiteX21024" fmla="*/ 2645635 w 8079933"/>
              <a:gd name="connsiteY21024" fmla="*/ 1148859 h 4687251"/>
              <a:gd name="connsiteX21025" fmla="*/ 2391163 w 8079933"/>
              <a:gd name="connsiteY21025" fmla="*/ 1144745 h 4687251"/>
              <a:gd name="connsiteX21026" fmla="*/ 2393333 w 8079933"/>
              <a:gd name="connsiteY21026" fmla="*/ 1146044 h 4687251"/>
              <a:gd name="connsiteX21027" fmla="*/ 2395612 w 8079933"/>
              <a:gd name="connsiteY21027" fmla="*/ 1145828 h 4687251"/>
              <a:gd name="connsiteX21028" fmla="*/ 2396806 w 8079933"/>
              <a:gd name="connsiteY21028" fmla="*/ 1147127 h 4687251"/>
              <a:gd name="connsiteX21029" fmla="*/ 2397240 w 8079933"/>
              <a:gd name="connsiteY21029" fmla="*/ 1148643 h 4687251"/>
              <a:gd name="connsiteX21030" fmla="*/ 2400712 w 8079933"/>
              <a:gd name="connsiteY21030" fmla="*/ 1148967 h 4687251"/>
              <a:gd name="connsiteX21031" fmla="*/ 2404727 w 8079933"/>
              <a:gd name="connsiteY21031" fmla="*/ 1152324 h 4687251"/>
              <a:gd name="connsiteX21032" fmla="*/ 2404727 w 8079933"/>
              <a:gd name="connsiteY21032" fmla="*/ 1153515 h 4687251"/>
              <a:gd name="connsiteX21033" fmla="*/ 2402557 w 8079933"/>
              <a:gd name="connsiteY21033" fmla="*/ 1155031 h 4687251"/>
              <a:gd name="connsiteX21034" fmla="*/ 2405161 w 8079933"/>
              <a:gd name="connsiteY21034" fmla="*/ 1156655 h 4687251"/>
              <a:gd name="connsiteX21035" fmla="*/ 2404619 w 8079933"/>
              <a:gd name="connsiteY21035" fmla="*/ 1158929 h 4687251"/>
              <a:gd name="connsiteX21036" fmla="*/ 2403208 w 8079933"/>
              <a:gd name="connsiteY21036" fmla="*/ 1159362 h 4687251"/>
              <a:gd name="connsiteX21037" fmla="*/ 2402774 w 8079933"/>
              <a:gd name="connsiteY21037" fmla="*/ 1160878 h 4687251"/>
              <a:gd name="connsiteX21038" fmla="*/ 2400604 w 8079933"/>
              <a:gd name="connsiteY21038" fmla="*/ 1161960 h 4687251"/>
              <a:gd name="connsiteX21039" fmla="*/ 2398868 w 8079933"/>
              <a:gd name="connsiteY21039" fmla="*/ 1160445 h 4687251"/>
              <a:gd name="connsiteX21040" fmla="*/ 2396155 w 8079933"/>
              <a:gd name="connsiteY21040" fmla="*/ 1160445 h 4687251"/>
              <a:gd name="connsiteX21041" fmla="*/ 2395178 w 8079933"/>
              <a:gd name="connsiteY21041" fmla="*/ 1159470 h 4687251"/>
              <a:gd name="connsiteX21042" fmla="*/ 2394744 w 8079933"/>
              <a:gd name="connsiteY21042" fmla="*/ 1156005 h 4687251"/>
              <a:gd name="connsiteX21043" fmla="*/ 2392683 w 8079933"/>
              <a:gd name="connsiteY21043" fmla="*/ 1153515 h 4687251"/>
              <a:gd name="connsiteX21044" fmla="*/ 2391272 w 8079933"/>
              <a:gd name="connsiteY21044" fmla="*/ 1151025 h 4687251"/>
              <a:gd name="connsiteX21045" fmla="*/ 2389318 w 8079933"/>
              <a:gd name="connsiteY21045" fmla="*/ 1149942 h 4687251"/>
              <a:gd name="connsiteX21046" fmla="*/ 2388016 w 8079933"/>
              <a:gd name="connsiteY21046" fmla="*/ 1149833 h 4687251"/>
              <a:gd name="connsiteX21047" fmla="*/ 2386823 w 8079933"/>
              <a:gd name="connsiteY21047" fmla="*/ 1147019 h 4687251"/>
              <a:gd name="connsiteX21048" fmla="*/ 2388016 w 8079933"/>
              <a:gd name="connsiteY21048" fmla="*/ 1145828 h 4687251"/>
              <a:gd name="connsiteX21049" fmla="*/ 3164670 w 8079933"/>
              <a:gd name="connsiteY21049" fmla="*/ 1143770 h 4687251"/>
              <a:gd name="connsiteX21050" fmla="*/ 3166406 w 8079933"/>
              <a:gd name="connsiteY21050" fmla="*/ 1145286 h 4687251"/>
              <a:gd name="connsiteX21051" fmla="*/ 3165972 w 8079933"/>
              <a:gd name="connsiteY21051" fmla="*/ 1147127 h 4687251"/>
              <a:gd name="connsiteX21052" fmla="*/ 3164670 w 8079933"/>
              <a:gd name="connsiteY21052" fmla="*/ 1145178 h 4687251"/>
              <a:gd name="connsiteX21053" fmla="*/ 4174093 w 8079933"/>
              <a:gd name="connsiteY21053" fmla="*/ 1139547 h 4687251"/>
              <a:gd name="connsiteX21054" fmla="*/ 4175069 w 8079933"/>
              <a:gd name="connsiteY21054" fmla="*/ 1144094 h 4687251"/>
              <a:gd name="connsiteX21055" fmla="*/ 4171271 w 8079933"/>
              <a:gd name="connsiteY21055" fmla="*/ 1150049 h 4687251"/>
              <a:gd name="connsiteX21056" fmla="*/ 4169752 w 8079933"/>
              <a:gd name="connsiteY21056" fmla="*/ 1144202 h 4687251"/>
              <a:gd name="connsiteX21057" fmla="*/ 3217626 w 8079933"/>
              <a:gd name="connsiteY21057" fmla="*/ 1134350 h 4687251"/>
              <a:gd name="connsiteX21058" fmla="*/ 3216325 w 8079933"/>
              <a:gd name="connsiteY21058" fmla="*/ 1136732 h 4687251"/>
              <a:gd name="connsiteX21059" fmla="*/ 3217626 w 8079933"/>
              <a:gd name="connsiteY21059" fmla="*/ 1139439 h 4687251"/>
              <a:gd name="connsiteX21060" fmla="*/ 3216866 w 8079933"/>
              <a:gd name="connsiteY21060" fmla="*/ 1140522 h 4687251"/>
              <a:gd name="connsiteX21061" fmla="*/ 3215131 w 8079933"/>
              <a:gd name="connsiteY21061" fmla="*/ 1138898 h 4687251"/>
              <a:gd name="connsiteX21062" fmla="*/ 3215131 w 8079933"/>
              <a:gd name="connsiteY21062" fmla="*/ 1136191 h 4687251"/>
              <a:gd name="connsiteX21063" fmla="*/ 1092521 w 8079933"/>
              <a:gd name="connsiteY21063" fmla="*/ 1129611 h 4687251"/>
              <a:gd name="connsiteX21064" fmla="*/ 1087879 w 8079933"/>
              <a:gd name="connsiteY21064" fmla="*/ 1134242 h 4687251"/>
              <a:gd name="connsiteX21065" fmla="*/ 1081151 w 8079933"/>
              <a:gd name="connsiteY21065" fmla="*/ 1144312 h 4687251"/>
              <a:gd name="connsiteX21066" fmla="*/ 1075508 w 8079933"/>
              <a:gd name="connsiteY21066" fmla="*/ 1147343 h 4687251"/>
              <a:gd name="connsiteX21067" fmla="*/ 1081151 w 8079933"/>
              <a:gd name="connsiteY21067" fmla="*/ 1144312 h 4687251"/>
              <a:gd name="connsiteX21068" fmla="*/ 1087879 w 8079933"/>
              <a:gd name="connsiteY21068" fmla="*/ 1134243 h 4687251"/>
              <a:gd name="connsiteX21069" fmla="*/ 2646612 w 8079933"/>
              <a:gd name="connsiteY21069" fmla="*/ 1129262 h 4687251"/>
              <a:gd name="connsiteX21070" fmla="*/ 2647263 w 8079933"/>
              <a:gd name="connsiteY21070" fmla="*/ 1131860 h 4687251"/>
              <a:gd name="connsiteX21071" fmla="*/ 2643791 w 8079933"/>
              <a:gd name="connsiteY21071" fmla="*/ 1134567 h 4687251"/>
              <a:gd name="connsiteX21072" fmla="*/ 2642055 w 8079933"/>
              <a:gd name="connsiteY21072" fmla="*/ 1136625 h 4687251"/>
              <a:gd name="connsiteX21073" fmla="*/ 2639776 w 8079933"/>
              <a:gd name="connsiteY21073" fmla="*/ 1135974 h 4687251"/>
              <a:gd name="connsiteX21074" fmla="*/ 2643031 w 8079933"/>
              <a:gd name="connsiteY21074" fmla="*/ 1130994 h 4687251"/>
              <a:gd name="connsiteX21075" fmla="*/ 3203736 w 8079933"/>
              <a:gd name="connsiteY21075" fmla="*/ 1128179 h 4687251"/>
              <a:gd name="connsiteX21076" fmla="*/ 3205039 w 8079933"/>
              <a:gd name="connsiteY21076" fmla="*/ 1130994 h 4687251"/>
              <a:gd name="connsiteX21077" fmla="*/ 3206775 w 8079933"/>
              <a:gd name="connsiteY21077" fmla="*/ 1131860 h 4687251"/>
              <a:gd name="connsiteX21078" fmla="*/ 3209813 w 8079933"/>
              <a:gd name="connsiteY21078" fmla="*/ 1137057 h 4687251"/>
              <a:gd name="connsiteX21079" fmla="*/ 3208945 w 8079933"/>
              <a:gd name="connsiteY21079" fmla="*/ 1139547 h 4687251"/>
              <a:gd name="connsiteX21080" fmla="*/ 3205256 w 8079933"/>
              <a:gd name="connsiteY21080" fmla="*/ 1139222 h 4687251"/>
              <a:gd name="connsiteX21081" fmla="*/ 3202760 w 8079933"/>
              <a:gd name="connsiteY21081" fmla="*/ 1141605 h 4687251"/>
              <a:gd name="connsiteX21082" fmla="*/ 3200590 w 8079933"/>
              <a:gd name="connsiteY21082" fmla="*/ 1141388 h 4687251"/>
              <a:gd name="connsiteX21083" fmla="*/ 3199613 w 8079933"/>
              <a:gd name="connsiteY21083" fmla="*/ 1139222 h 4687251"/>
              <a:gd name="connsiteX21084" fmla="*/ 3196683 w 8079933"/>
              <a:gd name="connsiteY21084" fmla="*/ 1136732 h 4687251"/>
              <a:gd name="connsiteX21085" fmla="*/ 3197660 w 8079933"/>
              <a:gd name="connsiteY21085" fmla="*/ 1134350 h 4687251"/>
              <a:gd name="connsiteX21086" fmla="*/ 3197985 w 8079933"/>
              <a:gd name="connsiteY21086" fmla="*/ 1131752 h 4687251"/>
              <a:gd name="connsiteX21087" fmla="*/ 3201023 w 8079933"/>
              <a:gd name="connsiteY21087" fmla="*/ 1128395 h 4687251"/>
              <a:gd name="connsiteX21088" fmla="*/ 2388342 w 8079933"/>
              <a:gd name="connsiteY21088" fmla="*/ 1127962 h 4687251"/>
              <a:gd name="connsiteX21089" fmla="*/ 2390621 w 8079933"/>
              <a:gd name="connsiteY21089" fmla="*/ 1130235 h 4687251"/>
              <a:gd name="connsiteX21090" fmla="*/ 2388885 w 8079933"/>
              <a:gd name="connsiteY21090" fmla="*/ 1131427 h 4687251"/>
              <a:gd name="connsiteX21091" fmla="*/ 2383677 w 8079933"/>
              <a:gd name="connsiteY21091" fmla="*/ 1130885 h 4687251"/>
              <a:gd name="connsiteX21092" fmla="*/ 2385087 w 8079933"/>
              <a:gd name="connsiteY21092" fmla="*/ 1128503 h 4687251"/>
              <a:gd name="connsiteX21093" fmla="*/ 1103059 w 8079933"/>
              <a:gd name="connsiteY21093" fmla="*/ 1125444 h 4687251"/>
              <a:gd name="connsiteX21094" fmla="*/ 1101769 w 8079933"/>
              <a:gd name="connsiteY21094" fmla="*/ 1126230 h 4687251"/>
              <a:gd name="connsiteX21095" fmla="*/ 1097709 w 8079933"/>
              <a:gd name="connsiteY21095" fmla="*/ 1127512 h 4687251"/>
              <a:gd name="connsiteX21096" fmla="*/ 1101769 w 8079933"/>
              <a:gd name="connsiteY21096" fmla="*/ 1126231 h 4687251"/>
              <a:gd name="connsiteX21097" fmla="*/ 4388088 w 8079933"/>
              <a:gd name="connsiteY21097" fmla="*/ 1124125 h 4687251"/>
              <a:gd name="connsiteX21098" fmla="*/ 4386784 w 8079933"/>
              <a:gd name="connsiteY21098" fmla="*/ 1127097 h 4687251"/>
              <a:gd name="connsiteX21099" fmla="*/ 4387110 w 8079933"/>
              <a:gd name="connsiteY21099" fmla="*/ 1128027 h 4687251"/>
              <a:gd name="connsiteX21100" fmla="*/ 4388088 w 8079933"/>
              <a:gd name="connsiteY21100" fmla="*/ 1125797 h 4687251"/>
              <a:gd name="connsiteX21101" fmla="*/ 3496514 w 8079933"/>
              <a:gd name="connsiteY21101" fmla="*/ 1122657 h 4687251"/>
              <a:gd name="connsiteX21102" fmla="*/ 3501507 w 8079933"/>
              <a:gd name="connsiteY21102" fmla="*/ 1124173 h 4687251"/>
              <a:gd name="connsiteX21103" fmla="*/ 3505847 w 8079933"/>
              <a:gd name="connsiteY21103" fmla="*/ 1123090 h 4687251"/>
              <a:gd name="connsiteX21104" fmla="*/ 3508235 w 8079933"/>
              <a:gd name="connsiteY21104" fmla="*/ 1127529 h 4687251"/>
              <a:gd name="connsiteX21105" fmla="*/ 3508343 w 8079933"/>
              <a:gd name="connsiteY21105" fmla="*/ 1131643 h 4687251"/>
              <a:gd name="connsiteX21106" fmla="*/ 3514202 w 8079933"/>
              <a:gd name="connsiteY21106" fmla="*/ 1134891 h 4687251"/>
              <a:gd name="connsiteX21107" fmla="*/ 3516482 w 8079933"/>
              <a:gd name="connsiteY21107" fmla="*/ 1138573 h 4687251"/>
              <a:gd name="connsiteX21108" fmla="*/ 3519086 w 8079933"/>
              <a:gd name="connsiteY21108" fmla="*/ 1136516 h 4687251"/>
              <a:gd name="connsiteX21109" fmla="*/ 3522667 w 8079933"/>
              <a:gd name="connsiteY21109" fmla="*/ 1140413 h 4687251"/>
              <a:gd name="connsiteX21110" fmla="*/ 3518652 w 8079933"/>
              <a:gd name="connsiteY21110" fmla="*/ 1143336 h 4687251"/>
              <a:gd name="connsiteX21111" fmla="*/ 3523210 w 8079933"/>
              <a:gd name="connsiteY21111" fmla="*/ 1145394 h 4687251"/>
              <a:gd name="connsiteX21112" fmla="*/ 3524187 w 8079933"/>
              <a:gd name="connsiteY21112" fmla="*/ 1148209 h 4687251"/>
              <a:gd name="connsiteX21113" fmla="*/ 3520388 w 8079933"/>
              <a:gd name="connsiteY21113" fmla="*/ 1152106 h 4687251"/>
              <a:gd name="connsiteX21114" fmla="*/ 3517024 w 8079933"/>
              <a:gd name="connsiteY21114" fmla="*/ 1149941 h 4687251"/>
              <a:gd name="connsiteX21115" fmla="*/ 3519737 w 8079933"/>
              <a:gd name="connsiteY21115" fmla="*/ 1155355 h 4687251"/>
              <a:gd name="connsiteX21116" fmla="*/ 3517459 w 8079933"/>
              <a:gd name="connsiteY21116" fmla="*/ 1158495 h 4687251"/>
              <a:gd name="connsiteX21117" fmla="*/ 3522775 w 8079933"/>
              <a:gd name="connsiteY21117" fmla="*/ 1158495 h 4687251"/>
              <a:gd name="connsiteX21118" fmla="*/ 3522775 w 8079933"/>
              <a:gd name="connsiteY21118" fmla="*/ 1162067 h 4687251"/>
              <a:gd name="connsiteX21119" fmla="*/ 3519412 w 8079933"/>
              <a:gd name="connsiteY21119" fmla="*/ 1166615 h 4687251"/>
              <a:gd name="connsiteX21120" fmla="*/ 3518652 w 8079933"/>
              <a:gd name="connsiteY21120" fmla="*/ 1170187 h 4687251"/>
              <a:gd name="connsiteX21121" fmla="*/ 3522125 w 8079933"/>
              <a:gd name="connsiteY21121" fmla="*/ 1170512 h 4687251"/>
              <a:gd name="connsiteX21122" fmla="*/ 3525380 w 8079933"/>
              <a:gd name="connsiteY21122" fmla="*/ 1177875 h 4687251"/>
              <a:gd name="connsiteX21123" fmla="*/ 3525597 w 8079933"/>
              <a:gd name="connsiteY21123" fmla="*/ 1170296 h 4687251"/>
              <a:gd name="connsiteX21124" fmla="*/ 3528527 w 8079933"/>
              <a:gd name="connsiteY21124" fmla="*/ 1168455 h 4687251"/>
              <a:gd name="connsiteX21125" fmla="*/ 3530371 w 8079933"/>
              <a:gd name="connsiteY21125" fmla="*/ 1162717 h 4687251"/>
              <a:gd name="connsiteX21126" fmla="*/ 3535255 w 8079933"/>
              <a:gd name="connsiteY21126" fmla="*/ 1160335 h 4687251"/>
              <a:gd name="connsiteX21127" fmla="*/ 3535364 w 8079933"/>
              <a:gd name="connsiteY21127" fmla="*/ 1166073 h 4687251"/>
              <a:gd name="connsiteX21128" fmla="*/ 3539595 w 8079933"/>
              <a:gd name="connsiteY21128" fmla="*/ 1165857 h 4687251"/>
              <a:gd name="connsiteX21129" fmla="*/ 3542417 w 8079933"/>
              <a:gd name="connsiteY21129" fmla="*/ 1162067 h 4687251"/>
              <a:gd name="connsiteX21130" fmla="*/ 3542851 w 8079933"/>
              <a:gd name="connsiteY21130" fmla="*/ 1154489 h 4687251"/>
              <a:gd name="connsiteX21131" fmla="*/ 3540355 w 8079933"/>
              <a:gd name="connsiteY21131" fmla="*/ 1151240 h 4687251"/>
              <a:gd name="connsiteX21132" fmla="*/ 3539595 w 8079933"/>
              <a:gd name="connsiteY21132" fmla="*/ 1140413 h 4687251"/>
              <a:gd name="connsiteX21133" fmla="*/ 3545346 w 8079933"/>
              <a:gd name="connsiteY21133" fmla="*/ 1135433 h 4687251"/>
              <a:gd name="connsiteX21134" fmla="*/ 3548711 w 8079933"/>
              <a:gd name="connsiteY21134" fmla="*/ 1138032 h 4687251"/>
              <a:gd name="connsiteX21135" fmla="*/ 3549362 w 8079933"/>
              <a:gd name="connsiteY21135" fmla="*/ 1147775 h 4687251"/>
              <a:gd name="connsiteX21136" fmla="*/ 3552618 w 8079933"/>
              <a:gd name="connsiteY21136" fmla="*/ 1149183 h 4687251"/>
              <a:gd name="connsiteX21137" fmla="*/ 3553160 w 8079933"/>
              <a:gd name="connsiteY21137" fmla="*/ 1156220 h 4687251"/>
              <a:gd name="connsiteX21138" fmla="*/ 3556959 w 8079933"/>
              <a:gd name="connsiteY21138" fmla="*/ 1156220 h 4687251"/>
              <a:gd name="connsiteX21139" fmla="*/ 3560865 w 8079933"/>
              <a:gd name="connsiteY21139" fmla="*/ 1149941 h 4687251"/>
              <a:gd name="connsiteX21140" fmla="*/ 3559237 w 8079933"/>
              <a:gd name="connsiteY21140" fmla="*/ 1145935 h 4687251"/>
              <a:gd name="connsiteX21141" fmla="*/ 3560539 w 8079933"/>
              <a:gd name="connsiteY21141" fmla="*/ 1140738 h 4687251"/>
              <a:gd name="connsiteX21142" fmla="*/ 3569871 w 8079933"/>
              <a:gd name="connsiteY21142" fmla="*/ 1134783 h 4687251"/>
              <a:gd name="connsiteX21143" fmla="*/ 3574646 w 8079933"/>
              <a:gd name="connsiteY21143" fmla="*/ 1137706 h 4687251"/>
              <a:gd name="connsiteX21144" fmla="*/ 3574212 w 8079933"/>
              <a:gd name="connsiteY21144" fmla="*/ 1142471 h 4687251"/>
              <a:gd name="connsiteX21145" fmla="*/ 3576057 w 8079933"/>
              <a:gd name="connsiteY21145" fmla="*/ 1144420 h 4687251"/>
              <a:gd name="connsiteX21146" fmla="*/ 3576057 w 8079933"/>
              <a:gd name="connsiteY21146" fmla="*/ 1148209 h 4687251"/>
              <a:gd name="connsiteX21147" fmla="*/ 3580723 w 8079933"/>
              <a:gd name="connsiteY21147" fmla="*/ 1155246 h 4687251"/>
              <a:gd name="connsiteX21148" fmla="*/ 3578878 w 8079933"/>
              <a:gd name="connsiteY21148" fmla="*/ 1165532 h 4687251"/>
              <a:gd name="connsiteX21149" fmla="*/ 3583978 w 8079933"/>
              <a:gd name="connsiteY21149" fmla="*/ 1153514 h 4687251"/>
              <a:gd name="connsiteX21150" fmla="*/ 3579747 w 8079933"/>
              <a:gd name="connsiteY21150" fmla="*/ 1145069 h 4687251"/>
              <a:gd name="connsiteX21151" fmla="*/ 3581266 w 8079933"/>
              <a:gd name="connsiteY21151" fmla="*/ 1137165 h 4687251"/>
              <a:gd name="connsiteX21152" fmla="*/ 3584847 w 8079933"/>
              <a:gd name="connsiteY21152" fmla="*/ 1136840 h 4687251"/>
              <a:gd name="connsiteX21153" fmla="*/ 3586366 w 8079933"/>
              <a:gd name="connsiteY21153" fmla="*/ 1138032 h 4687251"/>
              <a:gd name="connsiteX21154" fmla="*/ 3589839 w 8079933"/>
              <a:gd name="connsiteY21154" fmla="*/ 1137165 h 4687251"/>
              <a:gd name="connsiteX21155" fmla="*/ 3594288 w 8079933"/>
              <a:gd name="connsiteY21155" fmla="*/ 1144852 h 4687251"/>
              <a:gd name="connsiteX21156" fmla="*/ 3598954 w 8079933"/>
              <a:gd name="connsiteY21156" fmla="*/ 1145069 h 4687251"/>
              <a:gd name="connsiteX21157" fmla="*/ 3601559 w 8079933"/>
              <a:gd name="connsiteY21157" fmla="*/ 1139006 h 4687251"/>
              <a:gd name="connsiteX21158" fmla="*/ 3604380 w 8079933"/>
              <a:gd name="connsiteY21158" fmla="*/ 1135000 h 4687251"/>
              <a:gd name="connsiteX21159" fmla="*/ 3606876 w 8079933"/>
              <a:gd name="connsiteY21159" fmla="*/ 1136840 h 4687251"/>
              <a:gd name="connsiteX21160" fmla="*/ 3606985 w 8079933"/>
              <a:gd name="connsiteY21160" fmla="*/ 1140738 h 4687251"/>
              <a:gd name="connsiteX21161" fmla="*/ 3611651 w 8079933"/>
              <a:gd name="connsiteY21161" fmla="*/ 1138681 h 4687251"/>
              <a:gd name="connsiteX21162" fmla="*/ 3616317 w 8079933"/>
              <a:gd name="connsiteY21162" fmla="*/ 1138248 h 4687251"/>
              <a:gd name="connsiteX21163" fmla="*/ 3618053 w 8079933"/>
              <a:gd name="connsiteY21163" fmla="*/ 1134891 h 4687251"/>
              <a:gd name="connsiteX21164" fmla="*/ 3616208 w 8079933"/>
              <a:gd name="connsiteY21164" fmla="*/ 1130344 h 4687251"/>
              <a:gd name="connsiteX21165" fmla="*/ 3618379 w 8079933"/>
              <a:gd name="connsiteY21165" fmla="*/ 1126338 h 4687251"/>
              <a:gd name="connsiteX21166" fmla="*/ 3621200 w 8079933"/>
              <a:gd name="connsiteY21166" fmla="*/ 1127637 h 4687251"/>
              <a:gd name="connsiteX21167" fmla="*/ 3624890 w 8079933"/>
              <a:gd name="connsiteY21167" fmla="*/ 1125255 h 4687251"/>
              <a:gd name="connsiteX21168" fmla="*/ 3629447 w 8079933"/>
              <a:gd name="connsiteY21168" fmla="*/ 1126555 h 4687251"/>
              <a:gd name="connsiteX21169" fmla="*/ 3630207 w 8079933"/>
              <a:gd name="connsiteY21169" fmla="*/ 1130777 h 4687251"/>
              <a:gd name="connsiteX21170" fmla="*/ 3632486 w 8079933"/>
              <a:gd name="connsiteY21170" fmla="*/ 1133159 h 4687251"/>
              <a:gd name="connsiteX21171" fmla="*/ 3630641 w 8079933"/>
              <a:gd name="connsiteY21171" fmla="*/ 1135974 h 4687251"/>
              <a:gd name="connsiteX21172" fmla="*/ 3633679 w 8079933"/>
              <a:gd name="connsiteY21172" fmla="*/ 1140630 h 4687251"/>
              <a:gd name="connsiteX21173" fmla="*/ 3636500 w 8079933"/>
              <a:gd name="connsiteY21173" fmla="*/ 1140197 h 4687251"/>
              <a:gd name="connsiteX21174" fmla="*/ 3637912 w 8079933"/>
              <a:gd name="connsiteY21174" fmla="*/ 1136191 h 4687251"/>
              <a:gd name="connsiteX21175" fmla="*/ 3645508 w 8079933"/>
              <a:gd name="connsiteY21175" fmla="*/ 1129045 h 4687251"/>
              <a:gd name="connsiteX21176" fmla="*/ 3649197 w 8079933"/>
              <a:gd name="connsiteY21176" fmla="*/ 1128071 h 4687251"/>
              <a:gd name="connsiteX21177" fmla="*/ 3653972 w 8079933"/>
              <a:gd name="connsiteY21177" fmla="*/ 1130128 h 4687251"/>
              <a:gd name="connsiteX21178" fmla="*/ 3649523 w 8079933"/>
              <a:gd name="connsiteY21178" fmla="*/ 1131318 h 4687251"/>
              <a:gd name="connsiteX21179" fmla="*/ 3647352 w 8079933"/>
              <a:gd name="connsiteY21179" fmla="*/ 1133159 h 4687251"/>
              <a:gd name="connsiteX21180" fmla="*/ 3646810 w 8079933"/>
              <a:gd name="connsiteY21180" fmla="*/ 1136732 h 4687251"/>
              <a:gd name="connsiteX21181" fmla="*/ 3642578 w 8079933"/>
              <a:gd name="connsiteY21181" fmla="*/ 1138681 h 4687251"/>
              <a:gd name="connsiteX21182" fmla="*/ 3644423 w 8079933"/>
              <a:gd name="connsiteY21182" fmla="*/ 1143012 h 4687251"/>
              <a:gd name="connsiteX21183" fmla="*/ 3648329 w 8079933"/>
              <a:gd name="connsiteY21183" fmla="*/ 1144636 h 4687251"/>
              <a:gd name="connsiteX21184" fmla="*/ 3651476 w 8079933"/>
              <a:gd name="connsiteY21184" fmla="*/ 1142146 h 4687251"/>
              <a:gd name="connsiteX21185" fmla="*/ 3653864 w 8079933"/>
              <a:gd name="connsiteY21185" fmla="*/ 1143553 h 4687251"/>
              <a:gd name="connsiteX21186" fmla="*/ 3654623 w 8079933"/>
              <a:gd name="connsiteY21186" fmla="*/ 1149724 h 4687251"/>
              <a:gd name="connsiteX21187" fmla="*/ 3651042 w 8079933"/>
              <a:gd name="connsiteY21187" fmla="*/ 1150916 h 4687251"/>
              <a:gd name="connsiteX21188" fmla="*/ 3647678 w 8079933"/>
              <a:gd name="connsiteY21188" fmla="*/ 1155030 h 4687251"/>
              <a:gd name="connsiteX21189" fmla="*/ 3649414 w 8079933"/>
              <a:gd name="connsiteY21189" fmla="*/ 1159361 h 4687251"/>
              <a:gd name="connsiteX21190" fmla="*/ 3650825 w 8079933"/>
              <a:gd name="connsiteY21190" fmla="*/ 1158169 h 4687251"/>
              <a:gd name="connsiteX21191" fmla="*/ 3656142 w 8079933"/>
              <a:gd name="connsiteY21191" fmla="*/ 1158603 h 4687251"/>
              <a:gd name="connsiteX21192" fmla="*/ 3656794 w 8079933"/>
              <a:gd name="connsiteY21192" fmla="*/ 1162067 h 4687251"/>
              <a:gd name="connsiteX21193" fmla="*/ 3654297 w 8079933"/>
              <a:gd name="connsiteY21193" fmla="*/ 1166399 h 4687251"/>
              <a:gd name="connsiteX21194" fmla="*/ 3657227 w 8079933"/>
              <a:gd name="connsiteY21194" fmla="*/ 1164124 h 4687251"/>
              <a:gd name="connsiteX21195" fmla="*/ 3666777 w 8079933"/>
              <a:gd name="connsiteY21195" fmla="*/ 1164883 h 4687251"/>
              <a:gd name="connsiteX21196" fmla="*/ 3670792 w 8079933"/>
              <a:gd name="connsiteY21196" fmla="*/ 1168780 h 4687251"/>
              <a:gd name="connsiteX21197" fmla="*/ 3668513 w 8079933"/>
              <a:gd name="connsiteY21197" fmla="*/ 1172136 h 4687251"/>
              <a:gd name="connsiteX21198" fmla="*/ 3664823 w 8079933"/>
              <a:gd name="connsiteY21198" fmla="*/ 1172136 h 4687251"/>
              <a:gd name="connsiteX21199" fmla="*/ 3660591 w 8079933"/>
              <a:gd name="connsiteY21199" fmla="*/ 1174302 h 4687251"/>
              <a:gd name="connsiteX21200" fmla="*/ 3661025 w 8079933"/>
              <a:gd name="connsiteY21200" fmla="*/ 1178633 h 4687251"/>
              <a:gd name="connsiteX21201" fmla="*/ 3658421 w 8079933"/>
              <a:gd name="connsiteY21201" fmla="*/ 1180799 h 4687251"/>
              <a:gd name="connsiteX21202" fmla="*/ 3658530 w 8079933"/>
              <a:gd name="connsiteY21202" fmla="*/ 1185562 h 4687251"/>
              <a:gd name="connsiteX21203" fmla="*/ 3662870 w 8079933"/>
              <a:gd name="connsiteY21203" fmla="*/ 1190001 h 4687251"/>
              <a:gd name="connsiteX21204" fmla="*/ 3664173 w 8079933"/>
              <a:gd name="connsiteY21204" fmla="*/ 1194224 h 4687251"/>
              <a:gd name="connsiteX21205" fmla="*/ 3661568 w 8079933"/>
              <a:gd name="connsiteY21205" fmla="*/ 1199313 h 4687251"/>
              <a:gd name="connsiteX21206" fmla="*/ 3657662 w 8079933"/>
              <a:gd name="connsiteY21206" fmla="*/ 1199854 h 4687251"/>
              <a:gd name="connsiteX21207" fmla="*/ 3656902 w 8079933"/>
              <a:gd name="connsiteY21207" fmla="*/ 1196064 h 4687251"/>
              <a:gd name="connsiteX21208" fmla="*/ 3652778 w 8079933"/>
              <a:gd name="connsiteY21208" fmla="*/ 1193574 h 4687251"/>
              <a:gd name="connsiteX21209" fmla="*/ 3650934 w 8079933"/>
              <a:gd name="connsiteY21209" fmla="*/ 1195848 h 4687251"/>
              <a:gd name="connsiteX21210" fmla="*/ 3652996 w 8079933"/>
              <a:gd name="connsiteY21210" fmla="*/ 1201695 h 4687251"/>
              <a:gd name="connsiteX21211" fmla="*/ 3650174 w 8079933"/>
              <a:gd name="connsiteY21211" fmla="*/ 1202452 h 4687251"/>
              <a:gd name="connsiteX21212" fmla="*/ 3649631 w 8079933"/>
              <a:gd name="connsiteY21212" fmla="*/ 1205484 h 4687251"/>
              <a:gd name="connsiteX21213" fmla="*/ 3651151 w 8079933"/>
              <a:gd name="connsiteY21213" fmla="*/ 1207108 h 4687251"/>
              <a:gd name="connsiteX21214" fmla="*/ 3650499 w 8079933"/>
              <a:gd name="connsiteY21214" fmla="*/ 1210031 h 4687251"/>
              <a:gd name="connsiteX21215" fmla="*/ 3647135 w 8079933"/>
              <a:gd name="connsiteY21215" fmla="*/ 1213821 h 4687251"/>
              <a:gd name="connsiteX21216" fmla="*/ 3641167 w 8079933"/>
              <a:gd name="connsiteY21216" fmla="*/ 1211764 h 4687251"/>
              <a:gd name="connsiteX21217" fmla="*/ 3640082 w 8079933"/>
              <a:gd name="connsiteY21217" fmla="*/ 1208191 h 4687251"/>
              <a:gd name="connsiteX21218" fmla="*/ 3637912 w 8079933"/>
              <a:gd name="connsiteY21218" fmla="*/ 1207974 h 4687251"/>
              <a:gd name="connsiteX21219" fmla="*/ 3637260 w 8079933"/>
              <a:gd name="connsiteY21219" fmla="*/ 1211114 h 4687251"/>
              <a:gd name="connsiteX21220" fmla="*/ 3638345 w 8079933"/>
              <a:gd name="connsiteY21220" fmla="*/ 1213279 h 4687251"/>
              <a:gd name="connsiteX21221" fmla="*/ 3636067 w 8079933"/>
              <a:gd name="connsiteY21221" fmla="*/ 1216203 h 4687251"/>
              <a:gd name="connsiteX21222" fmla="*/ 3624130 w 8079933"/>
              <a:gd name="connsiteY21222" fmla="*/ 1218476 h 4687251"/>
              <a:gd name="connsiteX21223" fmla="*/ 3620332 w 8079933"/>
              <a:gd name="connsiteY21223" fmla="*/ 1223674 h 4687251"/>
              <a:gd name="connsiteX21224" fmla="*/ 3610348 w 8079933"/>
              <a:gd name="connsiteY21224" fmla="*/ 1232443 h 4687251"/>
              <a:gd name="connsiteX21225" fmla="*/ 3608286 w 8079933"/>
              <a:gd name="connsiteY21225" fmla="*/ 1233635 h 4687251"/>
              <a:gd name="connsiteX21226" fmla="*/ 3608395 w 8079933"/>
              <a:gd name="connsiteY21226" fmla="*/ 1232443 h 4687251"/>
              <a:gd name="connsiteX21227" fmla="*/ 3604380 w 8079933"/>
              <a:gd name="connsiteY21227" fmla="*/ 1232119 h 4687251"/>
              <a:gd name="connsiteX21228" fmla="*/ 3602861 w 8079933"/>
              <a:gd name="connsiteY21228" fmla="*/ 1232660 h 4687251"/>
              <a:gd name="connsiteX21229" fmla="*/ 3600582 w 8079933"/>
              <a:gd name="connsiteY21229" fmla="*/ 1231360 h 4687251"/>
              <a:gd name="connsiteX21230" fmla="*/ 3596241 w 8079933"/>
              <a:gd name="connsiteY21230" fmla="*/ 1236991 h 4687251"/>
              <a:gd name="connsiteX21231" fmla="*/ 3592552 w 8079933"/>
              <a:gd name="connsiteY21231" fmla="*/ 1237749 h 4687251"/>
              <a:gd name="connsiteX21232" fmla="*/ 3590707 w 8079933"/>
              <a:gd name="connsiteY21232" fmla="*/ 1240023 h 4687251"/>
              <a:gd name="connsiteX21233" fmla="*/ 3588971 w 8079933"/>
              <a:gd name="connsiteY21233" fmla="*/ 1237749 h 4687251"/>
              <a:gd name="connsiteX21234" fmla="*/ 3591249 w 8079933"/>
              <a:gd name="connsiteY21234" fmla="*/ 1234825 h 4687251"/>
              <a:gd name="connsiteX21235" fmla="*/ 3585064 w 8079933"/>
              <a:gd name="connsiteY21235" fmla="*/ 1235475 h 4687251"/>
              <a:gd name="connsiteX21236" fmla="*/ 3584630 w 8079933"/>
              <a:gd name="connsiteY21236" fmla="*/ 1241321 h 4687251"/>
              <a:gd name="connsiteX21237" fmla="*/ 3579530 w 8079933"/>
              <a:gd name="connsiteY21237" fmla="*/ 1246302 h 4687251"/>
              <a:gd name="connsiteX21238" fmla="*/ 3574212 w 8079933"/>
              <a:gd name="connsiteY21238" fmla="*/ 1244895 h 4687251"/>
              <a:gd name="connsiteX21239" fmla="*/ 3572910 w 8079933"/>
              <a:gd name="connsiteY21239" fmla="*/ 1242080 h 4687251"/>
              <a:gd name="connsiteX21240" fmla="*/ 3571391 w 8079933"/>
              <a:gd name="connsiteY21240" fmla="*/ 1244245 h 4687251"/>
              <a:gd name="connsiteX21241" fmla="*/ 3572259 w 8079933"/>
              <a:gd name="connsiteY21241" fmla="*/ 1249550 h 4687251"/>
              <a:gd name="connsiteX21242" fmla="*/ 3565857 w 8079933"/>
              <a:gd name="connsiteY21242" fmla="*/ 1251499 h 4687251"/>
              <a:gd name="connsiteX21243" fmla="*/ 3561950 w 8079933"/>
              <a:gd name="connsiteY21243" fmla="*/ 1249875 h 4687251"/>
              <a:gd name="connsiteX21244" fmla="*/ 3551966 w 8079933"/>
              <a:gd name="connsiteY21244" fmla="*/ 1250092 h 4687251"/>
              <a:gd name="connsiteX21245" fmla="*/ 3544370 w 8079933"/>
              <a:gd name="connsiteY21245" fmla="*/ 1242946 h 4687251"/>
              <a:gd name="connsiteX21246" fmla="*/ 3539921 w 8079933"/>
              <a:gd name="connsiteY21246" fmla="*/ 1242513 h 4687251"/>
              <a:gd name="connsiteX21247" fmla="*/ 3536123 w 8079933"/>
              <a:gd name="connsiteY21247" fmla="*/ 1245760 h 4687251"/>
              <a:gd name="connsiteX21248" fmla="*/ 3532325 w 8079933"/>
              <a:gd name="connsiteY21248" fmla="*/ 1243920 h 4687251"/>
              <a:gd name="connsiteX21249" fmla="*/ 3527008 w 8079933"/>
              <a:gd name="connsiteY21249" fmla="*/ 1238615 h 4687251"/>
              <a:gd name="connsiteX21250" fmla="*/ 3527441 w 8079933"/>
              <a:gd name="connsiteY21250" fmla="*/ 1233635 h 4687251"/>
              <a:gd name="connsiteX21251" fmla="*/ 3522450 w 8079933"/>
              <a:gd name="connsiteY21251" fmla="*/ 1235366 h 4687251"/>
              <a:gd name="connsiteX21252" fmla="*/ 3519520 w 8079933"/>
              <a:gd name="connsiteY21252" fmla="*/ 1234501 h 4687251"/>
              <a:gd name="connsiteX21253" fmla="*/ 3518652 w 8079933"/>
              <a:gd name="connsiteY21253" fmla="*/ 1231794 h 4687251"/>
              <a:gd name="connsiteX21254" fmla="*/ 3515071 w 8079933"/>
              <a:gd name="connsiteY21254" fmla="*/ 1234068 h 4687251"/>
              <a:gd name="connsiteX21255" fmla="*/ 3510296 w 8079933"/>
              <a:gd name="connsiteY21255" fmla="*/ 1231469 h 4687251"/>
              <a:gd name="connsiteX21256" fmla="*/ 3504653 w 8079933"/>
              <a:gd name="connsiteY21256" fmla="*/ 1235800 h 4687251"/>
              <a:gd name="connsiteX21257" fmla="*/ 3496840 w 8079933"/>
              <a:gd name="connsiteY21257" fmla="*/ 1234825 h 4687251"/>
              <a:gd name="connsiteX21258" fmla="*/ 3493151 w 8079933"/>
              <a:gd name="connsiteY21258" fmla="*/ 1232660 h 4687251"/>
              <a:gd name="connsiteX21259" fmla="*/ 3491631 w 8079933"/>
              <a:gd name="connsiteY21259" fmla="*/ 1234501 h 4687251"/>
              <a:gd name="connsiteX21260" fmla="*/ 3485988 w 8079933"/>
              <a:gd name="connsiteY21260" fmla="*/ 1234501 h 4687251"/>
              <a:gd name="connsiteX21261" fmla="*/ 3486639 w 8079933"/>
              <a:gd name="connsiteY21261" fmla="*/ 1226813 h 4687251"/>
              <a:gd name="connsiteX21262" fmla="*/ 3488376 w 8079933"/>
              <a:gd name="connsiteY21262" fmla="*/ 1225514 h 4687251"/>
              <a:gd name="connsiteX21263" fmla="*/ 3486097 w 8079933"/>
              <a:gd name="connsiteY21263" fmla="*/ 1224431 h 4687251"/>
              <a:gd name="connsiteX21264" fmla="*/ 3485120 w 8079933"/>
              <a:gd name="connsiteY21264" fmla="*/ 1218801 h 4687251"/>
              <a:gd name="connsiteX21265" fmla="*/ 3486857 w 8079933"/>
              <a:gd name="connsiteY21265" fmla="*/ 1218801 h 4687251"/>
              <a:gd name="connsiteX21266" fmla="*/ 3486965 w 8079933"/>
              <a:gd name="connsiteY21266" fmla="*/ 1216744 h 4687251"/>
              <a:gd name="connsiteX21267" fmla="*/ 3490980 w 8079933"/>
              <a:gd name="connsiteY21267" fmla="*/ 1219451 h 4687251"/>
              <a:gd name="connsiteX21268" fmla="*/ 3492391 w 8079933"/>
              <a:gd name="connsiteY21268" fmla="*/ 1222482 h 4687251"/>
              <a:gd name="connsiteX21269" fmla="*/ 3495429 w 8079933"/>
              <a:gd name="connsiteY21269" fmla="*/ 1220750 h 4687251"/>
              <a:gd name="connsiteX21270" fmla="*/ 3498034 w 8079933"/>
              <a:gd name="connsiteY21270" fmla="*/ 1221399 h 4687251"/>
              <a:gd name="connsiteX21271" fmla="*/ 3500312 w 8079933"/>
              <a:gd name="connsiteY21271" fmla="*/ 1218585 h 4687251"/>
              <a:gd name="connsiteX21272" fmla="*/ 3500530 w 8079933"/>
              <a:gd name="connsiteY21272" fmla="*/ 1215337 h 4687251"/>
              <a:gd name="connsiteX21273" fmla="*/ 3504979 w 8079933"/>
              <a:gd name="connsiteY21273" fmla="*/ 1215228 h 4687251"/>
              <a:gd name="connsiteX21274" fmla="*/ 3508343 w 8079933"/>
              <a:gd name="connsiteY21274" fmla="*/ 1212305 h 4687251"/>
              <a:gd name="connsiteX21275" fmla="*/ 3513009 w 8079933"/>
              <a:gd name="connsiteY21275" fmla="*/ 1210681 h 4687251"/>
              <a:gd name="connsiteX21276" fmla="*/ 3516047 w 8079933"/>
              <a:gd name="connsiteY21276" fmla="*/ 1212522 h 4687251"/>
              <a:gd name="connsiteX21277" fmla="*/ 3514854 w 8079933"/>
              <a:gd name="connsiteY21277" fmla="*/ 1209815 h 4687251"/>
              <a:gd name="connsiteX21278" fmla="*/ 3509753 w 8079933"/>
              <a:gd name="connsiteY21278" fmla="*/ 1208191 h 4687251"/>
              <a:gd name="connsiteX21279" fmla="*/ 3503243 w 8079933"/>
              <a:gd name="connsiteY21279" fmla="*/ 1213388 h 4687251"/>
              <a:gd name="connsiteX21280" fmla="*/ 3499662 w 8079933"/>
              <a:gd name="connsiteY21280" fmla="*/ 1210789 h 4687251"/>
              <a:gd name="connsiteX21281" fmla="*/ 3501940 w 8079933"/>
              <a:gd name="connsiteY21281" fmla="*/ 1207325 h 4687251"/>
              <a:gd name="connsiteX21282" fmla="*/ 3506281 w 8079933"/>
              <a:gd name="connsiteY21282" fmla="*/ 1204185 h 4687251"/>
              <a:gd name="connsiteX21283" fmla="*/ 3507258 w 8079933"/>
              <a:gd name="connsiteY21283" fmla="*/ 1201153 h 4687251"/>
              <a:gd name="connsiteX21284" fmla="*/ 3501289 w 8079933"/>
              <a:gd name="connsiteY21284" fmla="*/ 1205268 h 4687251"/>
              <a:gd name="connsiteX21285" fmla="*/ 3498468 w 8079933"/>
              <a:gd name="connsiteY21285" fmla="*/ 1205809 h 4687251"/>
              <a:gd name="connsiteX21286" fmla="*/ 3497491 w 8079933"/>
              <a:gd name="connsiteY21286" fmla="*/ 1202669 h 4687251"/>
              <a:gd name="connsiteX21287" fmla="*/ 3493151 w 8079933"/>
              <a:gd name="connsiteY21287" fmla="*/ 1199638 h 4687251"/>
              <a:gd name="connsiteX21288" fmla="*/ 3493259 w 8079933"/>
              <a:gd name="connsiteY21288" fmla="*/ 1197147 h 4687251"/>
              <a:gd name="connsiteX21289" fmla="*/ 3496406 w 8079933"/>
              <a:gd name="connsiteY21289" fmla="*/ 1195090 h 4687251"/>
              <a:gd name="connsiteX21290" fmla="*/ 3496732 w 8079933"/>
              <a:gd name="connsiteY21290" fmla="*/ 1192925 h 4687251"/>
              <a:gd name="connsiteX21291" fmla="*/ 3491631 w 8079933"/>
              <a:gd name="connsiteY21291" fmla="*/ 1192491 h 4687251"/>
              <a:gd name="connsiteX21292" fmla="*/ 3482625 w 8079933"/>
              <a:gd name="connsiteY21292" fmla="*/ 1193141 h 4687251"/>
              <a:gd name="connsiteX21293" fmla="*/ 3474920 w 8079933"/>
              <a:gd name="connsiteY21293" fmla="*/ 1191084 h 4687251"/>
              <a:gd name="connsiteX21294" fmla="*/ 3474920 w 8079933"/>
              <a:gd name="connsiteY21294" fmla="*/ 1192600 h 4687251"/>
              <a:gd name="connsiteX21295" fmla="*/ 3468734 w 8079933"/>
              <a:gd name="connsiteY21295" fmla="*/ 1192167 h 4687251"/>
              <a:gd name="connsiteX21296" fmla="*/ 3466890 w 8079933"/>
              <a:gd name="connsiteY21296" fmla="*/ 1187944 h 4687251"/>
              <a:gd name="connsiteX21297" fmla="*/ 3463634 w 8079933"/>
              <a:gd name="connsiteY21297" fmla="*/ 1182856 h 4687251"/>
              <a:gd name="connsiteX21298" fmla="*/ 3465913 w 8079933"/>
              <a:gd name="connsiteY21298" fmla="*/ 1183180 h 4687251"/>
              <a:gd name="connsiteX21299" fmla="*/ 3469168 w 8079933"/>
              <a:gd name="connsiteY21299" fmla="*/ 1181881 h 4687251"/>
              <a:gd name="connsiteX21300" fmla="*/ 3473943 w 8079933"/>
              <a:gd name="connsiteY21300" fmla="*/ 1183722 h 4687251"/>
              <a:gd name="connsiteX21301" fmla="*/ 3478067 w 8079933"/>
              <a:gd name="connsiteY21301" fmla="*/ 1181664 h 4687251"/>
              <a:gd name="connsiteX21302" fmla="*/ 3482082 w 8079933"/>
              <a:gd name="connsiteY21302" fmla="*/ 1181340 h 4687251"/>
              <a:gd name="connsiteX21303" fmla="*/ 3484903 w 8079933"/>
              <a:gd name="connsiteY21303" fmla="*/ 1182856 h 4687251"/>
              <a:gd name="connsiteX21304" fmla="*/ 3488593 w 8079933"/>
              <a:gd name="connsiteY21304" fmla="*/ 1180257 h 4687251"/>
              <a:gd name="connsiteX21305" fmla="*/ 3487725 w 8079933"/>
              <a:gd name="connsiteY21305" fmla="*/ 1178308 h 4687251"/>
              <a:gd name="connsiteX21306" fmla="*/ 3488484 w 8079933"/>
              <a:gd name="connsiteY21306" fmla="*/ 1177117 h 4687251"/>
              <a:gd name="connsiteX21307" fmla="*/ 3490871 w 8079933"/>
              <a:gd name="connsiteY21307" fmla="*/ 1177875 h 4687251"/>
              <a:gd name="connsiteX21308" fmla="*/ 3490980 w 8079933"/>
              <a:gd name="connsiteY21308" fmla="*/ 1179824 h 4687251"/>
              <a:gd name="connsiteX21309" fmla="*/ 3492391 w 8079933"/>
              <a:gd name="connsiteY21309" fmla="*/ 1181340 h 4687251"/>
              <a:gd name="connsiteX21310" fmla="*/ 3494344 w 8079933"/>
              <a:gd name="connsiteY21310" fmla="*/ 1183613 h 4687251"/>
              <a:gd name="connsiteX21311" fmla="*/ 3498142 w 8079933"/>
              <a:gd name="connsiteY21311" fmla="*/ 1180040 h 4687251"/>
              <a:gd name="connsiteX21312" fmla="*/ 3500855 w 8079933"/>
              <a:gd name="connsiteY21312" fmla="*/ 1180799 h 4687251"/>
              <a:gd name="connsiteX21313" fmla="*/ 3509103 w 8079933"/>
              <a:gd name="connsiteY21313" fmla="*/ 1179824 h 4687251"/>
              <a:gd name="connsiteX21314" fmla="*/ 3511816 w 8079933"/>
              <a:gd name="connsiteY21314" fmla="*/ 1176142 h 4687251"/>
              <a:gd name="connsiteX21315" fmla="*/ 3512033 w 8079933"/>
              <a:gd name="connsiteY21315" fmla="*/ 1172353 h 4687251"/>
              <a:gd name="connsiteX21316" fmla="*/ 3509320 w 8079933"/>
              <a:gd name="connsiteY21316" fmla="*/ 1173436 h 4687251"/>
              <a:gd name="connsiteX21317" fmla="*/ 3507583 w 8079933"/>
              <a:gd name="connsiteY21317" fmla="*/ 1176359 h 4687251"/>
              <a:gd name="connsiteX21318" fmla="*/ 3503243 w 8079933"/>
              <a:gd name="connsiteY21318" fmla="*/ 1177009 h 4687251"/>
              <a:gd name="connsiteX21319" fmla="*/ 3495321 w 8079933"/>
              <a:gd name="connsiteY21319" fmla="*/ 1174735 h 4687251"/>
              <a:gd name="connsiteX21320" fmla="*/ 3495755 w 8079933"/>
              <a:gd name="connsiteY21320" fmla="*/ 1173003 h 4687251"/>
              <a:gd name="connsiteX21321" fmla="*/ 3501940 w 8079933"/>
              <a:gd name="connsiteY21321" fmla="*/ 1170296 h 4687251"/>
              <a:gd name="connsiteX21322" fmla="*/ 3505847 w 8079933"/>
              <a:gd name="connsiteY21322" fmla="*/ 1169971 h 4687251"/>
              <a:gd name="connsiteX21323" fmla="*/ 3509211 w 8079933"/>
              <a:gd name="connsiteY21323" fmla="*/ 1167481 h 4687251"/>
              <a:gd name="connsiteX21324" fmla="*/ 3511924 w 8079933"/>
              <a:gd name="connsiteY21324" fmla="*/ 1167481 h 4687251"/>
              <a:gd name="connsiteX21325" fmla="*/ 3514637 w 8079933"/>
              <a:gd name="connsiteY21325" fmla="*/ 1166290 h 4687251"/>
              <a:gd name="connsiteX21326" fmla="*/ 3509645 w 8079933"/>
              <a:gd name="connsiteY21326" fmla="*/ 1163367 h 4687251"/>
              <a:gd name="connsiteX21327" fmla="*/ 3506390 w 8079933"/>
              <a:gd name="connsiteY21327" fmla="*/ 1166073 h 4687251"/>
              <a:gd name="connsiteX21328" fmla="*/ 3504328 w 8079933"/>
              <a:gd name="connsiteY21328" fmla="*/ 1164450 h 4687251"/>
              <a:gd name="connsiteX21329" fmla="*/ 3505847 w 8079933"/>
              <a:gd name="connsiteY21329" fmla="*/ 1160660 h 4687251"/>
              <a:gd name="connsiteX21330" fmla="*/ 3506173 w 8079933"/>
              <a:gd name="connsiteY21330" fmla="*/ 1158495 h 4687251"/>
              <a:gd name="connsiteX21331" fmla="*/ 3501289 w 8079933"/>
              <a:gd name="connsiteY21331" fmla="*/ 1162393 h 4687251"/>
              <a:gd name="connsiteX21332" fmla="*/ 3499878 w 8079933"/>
              <a:gd name="connsiteY21332" fmla="*/ 1162501 h 4687251"/>
              <a:gd name="connsiteX21333" fmla="*/ 3499444 w 8079933"/>
              <a:gd name="connsiteY21333" fmla="*/ 1157736 h 4687251"/>
              <a:gd name="connsiteX21334" fmla="*/ 3498250 w 8079933"/>
              <a:gd name="connsiteY21334" fmla="*/ 1160227 h 4687251"/>
              <a:gd name="connsiteX21335" fmla="*/ 3494452 w 8079933"/>
              <a:gd name="connsiteY21335" fmla="*/ 1163258 h 4687251"/>
              <a:gd name="connsiteX21336" fmla="*/ 3492499 w 8079933"/>
              <a:gd name="connsiteY21336" fmla="*/ 1163258 h 4687251"/>
              <a:gd name="connsiteX21337" fmla="*/ 3491631 w 8079933"/>
              <a:gd name="connsiteY21337" fmla="*/ 1158711 h 4687251"/>
              <a:gd name="connsiteX21338" fmla="*/ 3488593 w 8079933"/>
              <a:gd name="connsiteY21338" fmla="*/ 1160660 h 4687251"/>
              <a:gd name="connsiteX21339" fmla="*/ 3485988 w 8079933"/>
              <a:gd name="connsiteY21339" fmla="*/ 1160660 h 4687251"/>
              <a:gd name="connsiteX21340" fmla="*/ 3485880 w 8079933"/>
              <a:gd name="connsiteY21340" fmla="*/ 1158278 h 4687251"/>
              <a:gd name="connsiteX21341" fmla="*/ 3484361 w 8079933"/>
              <a:gd name="connsiteY21341" fmla="*/ 1155896 h 4687251"/>
              <a:gd name="connsiteX21342" fmla="*/ 3482190 w 8079933"/>
              <a:gd name="connsiteY21342" fmla="*/ 1160010 h 4687251"/>
              <a:gd name="connsiteX21343" fmla="*/ 3476982 w 8079933"/>
              <a:gd name="connsiteY21343" fmla="*/ 1161526 h 4687251"/>
              <a:gd name="connsiteX21344" fmla="*/ 3474052 w 8079933"/>
              <a:gd name="connsiteY21344" fmla="*/ 1166181 h 4687251"/>
              <a:gd name="connsiteX21345" fmla="*/ 3468192 w 8079933"/>
              <a:gd name="connsiteY21345" fmla="*/ 1164991 h 4687251"/>
              <a:gd name="connsiteX21346" fmla="*/ 3464177 w 8079933"/>
              <a:gd name="connsiteY21346" fmla="*/ 1160660 h 4687251"/>
              <a:gd name="connsiteX21347" fmla="*/ 3459185 w 8079933"/>
              <a:gd name="connsiteY21347" fmla="*/ 1158603 h 4687251"/>
              <a:gd name="connsiteX21348" fmla="*/ 3461680 w 8079933"/>
              <a:gd name="connsiteY21348" fmla="*/ 1153947 h 4687251"/>
              <a:gd name="connsiteX21349" fmla="*/ 3465696 w 8079933"/>
              <a:gd name="connsiteY21349" fmla="*/ 1155138 h 4687251"/>
              <a:gd name="connsiteX21350" fmla="*/ 3469711 w 8079933"/>
              <a:gd name="connsiteY21350" fmla="*/ 1160552 h 4687251"/>
              <a:gd name="connsiteX21351" fmla="*/ 3471556 w 8079933"/>
              <a:gd name="connsiteY21351" fmla="*/ 1159794 h 4687251"/>
              <a:gd name="connsiteX21352" fmla="*/ 3469711 w 8079933"/>
              <a:gd name="connsiteY21352" fmla="*/ 1156438 h 4687251"/>
              <a:gd name="connsiteX21353" fmla="*/ 3466781 w 8079933"/>
              <a:gd name="connsiteY21353" fmla="*/ 1151024 h 4687251"/>
              <a:gd name="connsiteX21354" fmla="*/ 3469060 w 8079933"/>
              <a:gd name="connsiteY21354" fmla="*/ 1148642 h 4687251"/>
              <a:gd name="connsiteX21355" fmla="*/ 3471121 w 8079933"/>
              <a:gd name="connsiteY21355" fmla="*/ 1149075 h 4687251"/>
              <a:gd name="connsiteX21356" fmla="*/ 3477850 w 8079933"/>
              <a:gd name="connsiteY21356" fmla="*/ 1155246 h 4687251"/>
              <a:gd name="connsiteX21357" fmla="*/ 3479260 w 8079933"/>
              <a:gd name="connsiteY21357" fmla="*/ 1154922 h 4687251"/>
              <a:gd name="connsiteX21358" fmla="*/ 3478175 w 8079933"/>
              <a:gd name="connsiteY21358" fmla="*/ 1152214 h 4687251"/>
              <a:gd name="connsiteX21359" fmla="*/ 3479477 w 8079933"/>
              <a:gd name="connsiteY21359" fmla="*/ 1151132 h 4687251"/>
              <a:gd name="connsiteX21360" fmla="*/ 3482516 w 8079933"/>
              <a:gd name="connsiteY21360" fmla="*/ 1150591 h 4687251"/>
              <a:gd name="connsiteX21361" fmla="*/ 3476222 w 8079933"/>
              <a:gd name="connsiteY21361" fmla="*/ 1148750 h 4687251"/>
              <a:gd name="connsiteX21362" fmla="*/ 3473618 w 8079933"/>
              <a:gd name="connsiteY21362" fmla="*/ 1144961 h 4687251"/>
              <a:gd name="connsiteX21363" fmla="*/ 3477850 w 8079933"/>
              <a:gd name="connsiteY21363" fmla="*/ 1143228 h 4687251"/>
              <a:gd name="connsiteX21364" fmla="*/ 3482190 w 8079933"/>
              <a:gd name="connsiteY21364" fmla="*/ 1144961 h 4687251"/>
              <a:gd name="connsiteX21365" fmla="*/ 3480562 w 8079933"/>
              <a:gd name="connsiteY21365" fmla="*/ 1142579 h 4687251"/>
              <a:gd name="connsiteX21366" fmla="*/ 3477850 w 8079933"/>
              <a:gd name="connsiteY21366" fmla="*/ 1140955 h 4687251"/>
              <a:gd name="connsiteX21367" fmla="*/ 3475137 w 8079933"/>
              <a:gd name="connsiteY21367" fmla="*/ 1137490 h 4687251"/>
              <a:gd name="connsiteX21368" fmla="*/ 3476331 w 8079933"/>
              <a:gd name="connsiteY21368" fmla="*/ 1134675 h 4687251"/>
              <a:gd name="connsiteX21369" fmla="*/ 3480129 w 8079933"/>
              <a:gd name="connsiteY21369" fmla="*/ 1135866 h 4687251"/>
              <a:gd name="connsiteX21370" fmla="*/ 3482950 w 8079933"/>
              <a:gd name="connsiteY21370" fmla="*/ 1139980 h 4687251"/>
              <a:gd name="connsiteX21371" fmla="*/ 3483926 w 8079933"/>
              <a:gd name="connsiteY21371" fmla="*/ 1137490 h 4687251"/>
              <a:gd name="connsiteX21372" fmla="*/ 3480562 w 8079933"/>
              <a:gd name="connsiteY21372" fmla="*/ 1133051 h 4687251"/>
              <a:gd name="connsiteX21373" fmla="*/ 3483926 w 8079933"/>
              <a:gd name="connsiteY21373" fmla="*/ 1130994 h 4687251"/>
              <a:gd name="connsiteX21374" fmla="*/ 3488593 w 8079933"/>
              <a:gd name="connsiteY21374" fmla="*/ 1132943 h 4687251"/>
              <a:gd name="connsiteX21375" fmla="*/ 3492391 w 8079933"/>
              <a:gd name="connsiteY21375" fmla="*/ 1137814 h 4687251"/>
              <a:gd name="connsiteX21376" fmla="*/ 3491089 w 8079933"/>
              <a:gd name="connsiteY21376" fmla="*/ 1140738 h 4687251"/>
              <a:gd name="connsiteX21377" fmla="*/ 3493802 w 8079933"/>
              <a:gd name="connsiteY21377" fmla="*/ 1141604 h 4687251"/>
              <a:gd name="connsiteX21378" fmla="*/ 3497057 w 8079933"/>
              <a:gd name="connsiteY21378" fmla="*/ 1138681 h 4687251"/>
              <a:gd name="connsiteX21379" fmla="*/ 3501940 w 8079933"/>
              <a:gd name="connsiteY21379" fmla="*/ 1142038 h 4687251"/>
              <a:gd name="connsiteX21380" fmla="*/ 3501940 w 8079933"/>
              <a:gd name="connsiteY21380" fmla="*/ 1144961 h 4687251"/>
              <a:gd name="connsiteX21381" fmla="*/ 3504111 w 8079933"/>
              <a:gd name="connsiteY21381" fmla="*/ 1144528 h 4687251"/>
              <a:gd name="connsiteX21382" fmla="*/ 3505304 w 8079933"/>
              <a:gd name="connsiteY21382" fmla="*/ 1141171 h 4687251"/>
              <a:gd name="connsiteX21383" fmla="*/ 3500964 w 8079933"/>
              <a:gd name="connsiteY21383" fmla="*/ 1135974 h 4687251"/>
              <a:gd name="connsiteX21384" fmla="*/ 3494452 w 8079933"/>
              <a:gd name="connsiteY21384" fmla="*/ 1131643 h 4687251"/>
              <a:gd name="connsiteX21385" fmla="*/ 3493802 w 8079933"/>
              <a:gd name="connsiteY21385" fmla="*/ 1130128 h 4687251"/>
              <a:gd name="connsiteX21386" fmla="*/ 3498034 w 8079933"/>
              <a:gd name="connsiteY21386" fmla="*/ 1130020 h 4687251"/>
              <a:gd name="connsiteX21387" fmla="*/ 3502266 w 8079933"/>
              <a:gd name="connsiteY21387" fmla="*/ 1131318 h 4687251"/>
              <a:gd name="connsiteX21388" fmla="*/ 3504219 w 8079933"/>
              <a:gd name="connsiteY21388" fmla="*/ 1129045 h 4687251"/>
              <a:gd name="connsiteX21389" fmla="*/ 3500312 w 8079933"/>
              <a:gd name="connsiteY21389" fmla="*/ 1127746 h 4687251"/>
              <a:gd name="connsiteX21390" fmla="*/ 3497600 w 8079933"/>
              <a:gd name="connsiteY21390" fmla="*/ 1125905 h 4687251"/>
              <a:gd name="connsiteX21391" fmla="*/ 3494127 w 8079933"/>
              <a:gd name="connsiteY21391" fmla="*/ 1125797 h 4687251"/>
              <a:gd name="connsiteX21392" fmla="*/ 3493584 w 8079933"/>
              <a:gd name="connsiteY21392" fmla="*/ 1127853 h 4687251"/>
              <a:gd name="connsiteX21393" fmla="*/ 3490763 w 8079933"/>
              <a:gd name="connsiteY21393" fmla="*/ 1128071 h 4687251"/>
              <a:gd name="connsiteX21394" fmla="*/ 3488810 w 8079933"/>
              <a:gd name="connsiteY21394" fmla="*/ 1125147 h 4687251"/>
              <a:gd name="connsiteX21395" fmla="*/ 3489461 w 8079933"/>
              <a:gd name="connsiteY21395" fmla="*/ 1123198 h 4687251"/>
              <a:gd name="connsiteX21396" fmla="*/ 1119239 w 8079933"/>
              <a:gd name="connsiteY21396" fmla="*/ 1122116 h 4687251"/>
              <a:gd name="connsiteX21397" fmla="*/ 1115184 w 8079933"/>
              <a:gd name="connsiteY21397" fmla="*/ 1122358 h 4687251"/>
              <a:gd name="connsiteX21398" fmla="*/ 1119240 w 8079933"/>
              <a:gd name="connsiteY21398" fmla="*/ 1122116 h 4687251"/>
              <a:gd name="connsiteX21399" fmla="*/ 2901299 w 8079933"/>
              <a:gd name="connsiteY21399" fmla="*/ 1120925 h 4687251"/>
              <a:gd name="connsiteX21400" fmla="*/ 2902928 w 8079933"/>
              <a:gd name="connsiteY21400" fmla="*/ 1121250 h 4687251"/>
              <a:gd name="connsiteX21401" fmla="*/ 2903579 w 8079933"/>
              <a:gd name="connsiteY21401" fmla="*/ 1123199 h 4687251"/>
              <a:gd name="connsiteX21402" fmla="*/ 2899672 w 8079933"/>
              <a:gd name="connsiteY21402" fmla="*/ 1124282 h 4687251"/>
              <a:gd name="connsiteX21403" fmla="*/ 2898153 w 8079933"/>
              <a:gd name="connsiteY21403" fmla="*/ 1124065 h 4687251"/>
              <a:gd name="connsiteX21404" fmla="*/ 2899998 w 8079933"/>
              <a:gd name="connsiteY21404" fmla="*/ 1121250 h 4687251"/>
              <a:gd name="connsiteX21405" fmla="*/ 705901 w 8079933"/>
              <a:gd name="connsiteY21405" fmla="*/ 1120383 h 4687251"/>
              <a:gd name="connsiteX21406" fmla="*/ 710025 w 8079933"/>
              <a:gd name="connsiteY21406" fmla="*/ 1123306 h 4687251"/>
              <a:gd name="connsiteX21407" fmla="*/ 710025 w 8079933"/>
              <a:gd name="connsiteY21407" fmla="*/ 1126879 h 4687251"/>
              <a:gd name="connsiteX21408" fmla="*/ 707854 w 8079933"/>
              <a:gd name="connsiteY21408" fmla="*/ 1128503 h 4687251"/>
              <a:gd name="connsiteX21409" fmla="*/ 707854 w 8079933"/>
              <a:gd name="connsiteY21409" fmla="*/ 1130236 h 4687251"/>
              <a:gd name="connsiteX21410" fmla="*/ 710568 w 8079933"/>
              <a:gd name="connsiteY21410" fmla="*/ 1130993 h 4687251"/>
              <a:gd name="connsiteX21411" fmla="*/ 714908 w 8079933"/>
              <a:gd name="connsiteY21411" fmla="*/ 1125905 h 4687251"/>
              <a:gd name="connsiteX21412" fmla="*/ 719142 w 8079933"/>
              <a:gd name="connsiteY21412" fmla="*/ 1125038 h 4687251"/>
              <a:gd name="connsiteX21413" fmla="*/ 722287 w 8079933"/>
              <a:gd name="connsiteY21413" fmla="*/ 1126121 h 4687251"/>
              <a:gd name="connsiteX21414" fmla="*/ 724240 w 8079933"/>
              <a:gd name="connsiteY21414" fmla="*/ 1131101 h 4687251"/>
              <a:gd name="connsiteX21415" fmla="*/ 720117 w 8079933"/>
              <a:gd name="connsiteY21415" fmla="*/ 1132293 h 4687251"/>
              <a:gd name="connsiteX21416" fmla="*/ 715776 w 8079933"/>
              <a:gd name="connsiteY21416" fmla="*/ 1132293 h 4687251"/>
              <a:gd name="connsiteX21417" fmla="*/ 715560 w 8079933"/>
              <a:gd name="connsiteY21417" fmla="*/ 1135107 h 4687251"/>
              <a:gd name="connsiteX21418" fmla="*/ 717838 w 8079933"/>
              <a:gd name="connsiteY21418" fmla="*/ 1136515 h 4687251"/>
              <a:gd name="connsiteX21419" fmla="*/ 719250 w 8079933"/>
              <a:gd name="connsiteY21419" fmla="*/ 1139655 h 4687251"/>
              <a:gd name="connsiteX21420" fmla="*/ 716103 w 8079933"/>
              <a:gd name="connsiteY21420" fmla="*/ 1144636 h 4687251"/>
              <a:gd name="connsiteX21421" fmla="*/ 712521 w 8079933"/>
              <a:gd name="connsiteY21421" fmla="*/ 1144094 h 4687251"/>
              <a:gd name="connsiteX21422" fmla="*/ 711327 w 8079933"/>
              <a:gd name="connsiteY21422" fmla="*/ 1141820 h 4687251"/>
              <a:gd name="connsiteX21423" fmla="*/ 708289 w 8079933"/>
              <a:gd name="connsiteY21423" fmla="*/ 1142903 h 4687251"/>
              <a:gd name="connsiteX21424" fmla="*/ 705141 w 8079933"/>
              <a:gd name="connsiteY21424" fmla="*/ 1141279 h 4687251"/>
              <a:gd name="connsiteX21425" fmla="*/ 701562 w 8079933"/>
              <a:gd name="connsiteY21425" fmla="*/ 1141712 h 4687251"/>
              <a:gd name="connsiteX21426" fmla="*/ 699390 w 8079933"/>
              <a:gd name="connsiteY21426" fmla="*/ 1143986 h 4687251"/>
              <a:gd name="connsiteX21427" fmla="*/ 703950 w 8079933"/>
              <a:gd name="connsiteY21427" fmla="*/ 1145068 h 4687251"/>
              <a:gd name="connsiteX21428" fmla="*/ 706228 w 8079933"/>
              <a:gd name="connsiteY21428" fmla="*/ 1150049 h 4687251"/>
              <a:gd name="connsiteX21429" fmla="*/ 703405 w 8079933"/>
              <a:gd name="connsiteY21429" fmla="*/ 1154164 h 4687251"/>
              <a:gd name="connsiteX21430" fmla="*/ 699718 w 8079933"/>
              <a:gd name="connsiteY21430" fmla="*/ 1153838 h 4687251"/>
              <a:gd name="connsiteX21431" fmla="*/ 696896 w 8079933"/>
              <a:gd name="connsiteY21431" fmla="*/ 1149183 h 4687251"/>
              <a:gd name="connsiteX21432" fmla="*/ 690928 w 8079933"/>
              <a:gd name="connsiteY21432" fmla="*/ 1148750 h 4687251"/>
              <a:gd name="connsiteX21433" fmla="*/ 687345 w 8079933"/>
              <a:gd name="connsiteY21433" fmla="*/ 1150158 h 4687251"/>
              <a:gd name="connsiteX21434" fmla="*/ 692228 w 8079933"/>
              <a:gd name="connsiteY21434" fmla="*/ 1152323 h 4687251"/>
              <a:gd name="connsiteX21435" fmla="*/ 693530 w 8079933"/>
              <a:gd name="connsiteY21435" fmla="*/ 1155354 h 4687251"/>
              <a:gd name="connsiteX21436" fmla="*/ 690928 w 8079933"/>
              <a:gd name="connsiteY21436" fmla="*/ 1157411 h 4687251"/>
              <a:gd name="connsiteX21437" fmla="*/ 687019 w 8079933"/>
              <a:gd name="connsiteY21437" fmla="*/ 1156437 h 4687251"/>
              <a:gd name="connsiteX21438" fmla="*/ 682571 w 8079933"/>
              <a:gd name="connsiteY21438" fmla="*/ 1157628 h 4687251"/>
              <a:gd name="connsiteX21439" fmla="*/ 680402 w 8079933"/>
              <a:gd name="connsiteY21439" fmla="*/ 1156978 h 4687251"/>
              <a:gd name="connsiteX21440" fmla="*/ 677905 w 8079933"/>
              <a:gd name="connsiteY21440" fmla="*/ 1162175 h 4687251"/>
              <a:gd name="connsiteX21441" fmla="*/ 675733 w 8079933"/>
              <a:gd name="connsiteY21441" fmla="*/ 1162392 h 4687251"/>
              <a:gd name="connsiteX21442" fmla="*/ 673131 w 8079933"/>
              <a:gd name="connsiteY21442" fmla="*/ 1164341 h 4687251"/>
              <a:gd name="connsiteX21443" fmla="*/ 674432 w 8079933"/>
              <a:gd name="connsiteY21443" fmla="*/ 1166939 h 4687251"/>
              <a:gd name="connsiteX21444" fmla="*/ 669116 w 8079933"/>
              <a:gd name="connsiteY21444" fmla="*/ 1169862 h 4687251"/>
              <a:gd name="connsiteX21445" fmla="*/ 669005 w 8079933"/>
              <a:gd name="connsiteY21445" fmla="*/ 1173002 h 4687251"/>
              <a:gd name="connsiteX21446" fmla="*/ 666077 w 8079933"/>
              <a:gd name="connsiteY21446" fmla="*/ 1174735 h 4687251"/>
              <a:gd name="connsiteX21447" fmla="*/ 664015 w 8079933"/>
              <a:gd name="connsiteY21447" fmla="*/ 1177658 h 4687251"/>
              <a:gd name="connsiteX21448" fmla="*/ 659130 w 8079933"/>
              <a:gd name="connsiteY21448" fmla="*/ 1176792 h 4687251"/>
              <a:gd name="connsiteX21449" fmla="*/ 659781 w 8079933"/>
              <a:gd name="connsiteY21449" fmla="*/ 1174627 h 4687251"/>
              <a:gd name="connsiteX21450" fmla="*/ 668246 w 8079933"/>
              <a:gd name="connsiteY21450" fmla="*/ 1167913 h 4687251"/>
              <a:gd name="connsiteX21451" fmla="*/ 668246 w 8079933"/>
              <a:gd name="connsiteY21451" fmla="*/ 1165315 h 4687251"/>
              <a:gd name="connsiteX21452" fmla="*/ 671070 w 8079933"/>
              <a:gd name="connsiteY21452" fmla="*/ 1161093 h 4687251"/>
              <a:gd name="connsiteX21453" fmla="*/ 669332 w 8079933"/>
              <a:gd name="connsiteY21453" fmla="*/ 1160876 h 4687251"/>
              <a:gd name="connsiteX21454" fmla="*/ 665643 w 8079933"/>
              <a:gd name="connsiteY21454" fmla="*/ 1163907 h 4687251"/>
              <a:gd name="connsiteX21455" fmla="*/ 663797 w 8079933"/>
              <a:gd name="connsiteY21455" fmla="*/ 1161958 h 4687251"/>
              <a:gd name="connsiteX21456" fmla="*/ 665207 w 8079933"/>
              <a:gd name="connsiteY21456" fmla="*/ 1159685 h 4687251"/>
              <a:gd name="connsiteX21457" fmla="*/ 659999 w 8079933"/>
              <a:gd name="connsiteY21457" fmla="*/ 1159468 h 4687251"/>
              <a:gd name="connsiteX21458" fmla="*/ 657612 w 8079933"/>
              <a:gd name="connsiteY21458" fmla="*/ 1161958 h 4687251"/>
              <a:gd name="connsiteX21459" fmla="*/ 659891 w 8079933"/>
              <a:gd name="connsiteY21459" fmla="*/ 1162609 h 4687251"/>
              <a:gd name="connsiteX21460" fmla="*/ 661084 w 8079933"/>
              <a:gd name="connsiteY21460" fmla="*/ 1164124 h 4687251"/>
              <a:gd name="connsiteX21461" fmla="*/ 660325 w 8079933"/>
              <a:gd name="connsiteY21461" fmla="*/ 1166831 h 4687251"/>
              <a:gd name="connsiteX21462" fmla="*/ 657285 w 8079933"/>
              <a:gd name="connsiteY21462" fmla="*/ 1167589 h 4687251"/>
              <a:gd name="connsiteX21463" fmla="*/ 654246 w 8079933"/>
              <a:gd name="connsiteY21463" fmla="*/ 1165748 h 4687251"/>
              <a:gd name="connsiteX21464" fmla="*/ 653705 w 8079933"/>
              <a:gd name="connsiteY21464" fmla="*/ 1160984 h 4687251"/>
              <a:gd name="connsiteX21465" fmla="*/ 655984 w 8079933"/>
              <a:gd name="connsiteY21465" fmla="*/ 1158170 h 4687251"/>
              <a:gd name="connsiteX21466" fmla="*/ 657069 w 8079933"/>
              <a:gd name="connsiteY21466" fmla="*/ 1153297 h 4687251"/>
              <a:gd name="connsiteX21467" fmla="*/ 656742 w 8079933"/>
              <a:gd name="connsiteY21467" fmla="*/ 1147450 h 4687251"/>
              <a:gd name="connsiteX21468" fmla="*/ 655335 w 8079933"/>
              <a:gd name="connsiteY21468" fmla="*/ 1145068 h 4687251"/>
              <a:gd name="connsiteX21469" fmla="*/ 656418 w 8079933"/>
              <a:gd name="connsiteY21469" fmla="*/ 1142254 h 4687251"/>
              <a:gd name="connsiteX21470" fmla="*/ 662711 w 8079933"/>
              <a:gd name="connsiteY21470" fmla="*/ 1137381 h 4687251"/>
              <a:gd name="connsiteX21471" fmla="*/ 673131 w 8079933"/>
              <a:gd name="connsiteY21471" fmla="*/ 1132293 h 4687251"/>
              <a:gd name="connsiteX21472" fmla="*/ 679099 w 8079933"/>
              <a:gd name="connsiteY21472" fmla="*/ 1131534 h 4687251"/>
              <a:gd name="connsiteX21473" fmla="*/ 680834 w 8079933"/>
              <a:gd name="connsiteY21473" fmla="*/ 1132617 h 4687251"/>
              <a:gd name="connsiteX21474" fmla="*/ 681161 w 8079933"/>
              <a:gd name="connsiteY21474" fmla="*/ 1141929 h 4687251"/>
              <a:gd name="connsiteX21475" fmla="*/ 682898 w 8079933"/>
              <a:gd name="connsiteY21475" fmla="*/ 1142903 h 4687251"/>
              <a:gd name="connsiteX21476" fmla="*/ 687019 w 8079933"/>
              <a:gd name="connsiteY21476" fmla="*/ 1137706 h 4687251"/>
              <a:gd name="connsiteX21477" fmla="*/ 685500 w 8079933"/>
              <a:gd name="connsiteY21477" fmla="*/ 1133375 h 4687251"/>
              <a:gd name="connsiteX21478" fmla="*/ 686695 w 8079933"/>
              <a:gd name="connsiteY21478" fmla="*/ 1132617 h 4687251"/>
              <a:gd name="connsiteX21479" fmla="*/ 689841 w 8079933"/>
              <a:gd name="connsiteY21479" fmla="*/ 1134783 h 4687251"/>
              <a:gd name="connsiteX21480" fmla="*/ 691144 w 8079933"/>
              <a:gd name="connsiteY21480" fmla="*/ 1130993 h 4687251"/>
              <a:gd name="connsiteX21481" fmla="*/ 687129 w 8079933"/>
              <a:gd name="connsiteY21481" fmla="*/ 1128070 h 4687251"/>
              <a:gd name="connsiteX21482" fmla="*/ 686043 w 8079933"/>
              <a:gd name="connsiteY21482" fmla="*/ 1125905 h 4687251"/>
              <a:gd name="connsiteX21483" fmla="*/ 690385 w 8079933"/>
              <a:gd name="connsiteY21483" fmla="*/ 1121141 h 4687251"/>
              <a:gd name="connsiteX21484" fmla="*/ 693530 w 8079933"/>
              <a:gd name="connsiteY21484" fmla="*/ 1120816 h 4687251"/>
              <a:gd name="connsiteX21485" fmla="*/ 696680 w 8079933"/>
              <a:gd name="connsiteY21485" fmla="*/ 1123198 h 4687251"/>
              <a:gd name="connsiteX21486" fmla="*/ 696461 w 8079933"/>
              <a:gd name="connsiteY21486" fmla="*/ 1127962 h 4687251"/>
              <a:gd name="connsiteX21487" fmla="*/ 694725 w 8079933"/>
              <a:gd name="connsiteY21487" fmla="*/ 1130127 h 4687251"/>
              <a:gd name="connsiteX21488" fmla="*/ 694725 w 8079933"/>
              <a:gd name="connsiteY21488" fmla="*/ 1133592 h 4687251"/>
              <a:gd name="connsiteX21489" fmla="*/ 697436 w 8079933"/>
              <a:gd name="connsiteY21489" fmla="*/ 1132834 h 4687251"/>
              <a:gd name="connsiteX21490" fmla="*/ 699608 w 8079933"/>
              <a:gd name="connsiteY21490" fmla="*/ 1128936 h 4687251"/>
              <a:gd name="connsiteX21491" fmla="*/ 701562 w 8079933"/>
              <a:gd name="connsiteY21491" fmla="*/ 1127962 h 4687251"/>
              <a:gd name="connsiteX21492" fmla="*/ 704056 w 8079933"/>
              <a:gd name="connsiteY21492" fmla="*/ 1129369 h 4687251"/>
              <a:gd name="connsiteX21493" fmla="*/ 704817 w 8079933"/>
              <a:gd name="connsiteY21493" fmla="*/ 1125038 h 4687251"/>
              <a:gd name="connsiteX21494" fmla="*/ 703515 w 8079933"/>
              <a:gd name="connsiteY21494" fmla="*/ 1122115 h 4687251"/>
              <a:gd name="connsiteX21495" fmla="*/ 2900433 w 8079933"/>
              <a:gd name="connsiteY21495" fmla="*/ 1113995 h 4687251"/>
              <a:gd name="connsiteX21496" fmla="*/ 2902711 w 8079933"/>
              <a:gd name="connsiteY21496" fmla="*/ 1114861 h 4687251"/>
              <a:gd name="connsiteX21497" fmla="*/ 2902494 w 8079933"/>
              <a:gd name="connsiteY21497" fmla="*/ 1118434 h 4687251"/>
              <a:gd name="connsiteX21498" fmla="*/ 2899022 w 8079933"/>
              <a:gd name="connsiteY21498" fmla="*/ 1117893 h 4687251"/>
              <a:gd name="connsiteX21499" fmla="*/ 2897503 w 8079933"/>
              <a:gd name="connsiteY21499" fmla="*/ 1115403 h 4687251"/>
              <a:gd name="connsiteX21500" fmla="*/ 4388063 w 8079933"/>
              <a:gd name="connsiteY21500" fmla="*/ 1108152 h 4687251"/>
              <a:gd name="connsiteX21501" fmla="*/ 4387218 w 8079933"/>
              <a:gd name="connsiteY21501" fmla="*/ 1110748 h 4687251"/>
              <a:gd name="connsiteX21502" fmla="*/ 4387435 w 8079933"/>
              <a:gd name="connsiteY21502" fmla="*/ 1111462 h 4687251"/>
              <a:gd name="connsiteX21503" fmla="*/ 4388197 w 8079933"/>
              <a:gd name="connsiteY21503" fmla="*/ 1108907 h 4687251"/>
              <a:gd name="connsiteX21504" fmla="*/ 4244303 w 8079933"/>
              <a:gd name="connsiteY21504" fmla="*/ 1101653 h 4687251"/>
              <a:gd name="connsiteX21505" fmla="*/ 4242023 w 8079933"/>
              <a:gd name="connsiteY21505" fmla="*/ 1107066 h 4687251"/>
              <a:gd name="connsiteX21506" fmla="*/ 4235295 w 8079933"/>
              <a:gd name="connsiteY21506" fmla="*/ 1116377 h 4687251"/>
              <a:gd name="connsiteX21507" fmla="*/ 4228784 w 8079933"/>
              <a:gd name="connsiteY21507" fmla="*/ 1127962 h 4687251"/>
              <a:gd name="connsiteX21508" fmla="*/ 4228459 w 8079933"/>
              <a:gd name="connsiteY21508" fmla="*/ 1132726 h 4687251"/>
              <a:gd name="connsiteX21509" fmla="*/ 4224661 w 8079933"/>
              <a:gd name="connsiteY21509" fmla="*/ 1135974 h 4687251"/>
              <a:gd name="connsiteX21510" fmla="*/ 4216522 w 8079933"/>
              <a:gd name="connsiteY21510" fmla="*/ 1137706 h 4687251"/>
              <a:gd name="connsiteX21511" fmla="*/ 4208926 w 8079933"/>
              <a:gd name="connsiteY21511" fmla="*/ 1142254 h 4687251"/>
              <a:gd name="connsiteX21512" fmla="*/ 4208818 w 8079933"/>
              <a:gd name="connsiteY21512" fmla="*/ 1147017 h 4687251"/>
              <a:gd name="connsiteX21513" fmla="*/ 4208926 w 8079933"/>
              <a:gd name="connsiteY21513" fmla="*/ 1142254 h 4687251"/>
              <a:gd name="connsiteX21514" fmla="*/ 4216522 w 8079933"/>
              <a:gd name="connsiteY21514" fmla="*/ 1137707 h 4687251"/>
              <a:gd name="connsiteX21515" fmla="*/ 4224661 w 8079933"/>
              <a:gd name="connsiteY21515" fmla="*/ 1135975 h 4687251"/>
              <a:gd name="connsiteX21516" fmla="*/ 4228459 w 8079933"/>
              <a:gd name="connsiteY21516" fmla="*/ 1132726 h 4687251"/>
              <a:gd name="connsiteX21517" fmla="*/ 4228784 w 8079933"/>
              <a:gd name="connsiteY21517" fmla="*/ 1127963 h 4687251"/>
              <a:gd name="connsiteX21518" fmla="*/ 4235295 w 8079933"/>
              <a:gd name="connsiteY21518" fmla="*/ 1116378 h 4687251"/>
              <a:gd name="connsiteX21519" fmla="*/ 4242023 w 8079933"/>
              <a:gd name="connsiteY21519" fmla="*/ 1107067 h 4687251"/>
              <a:gd name="connsiteX21520" fmla="*/ 4244303 w 8079933"/>
              <a:gd name="connsiteY21520" fmla="*/ 1101653 h 4687251"/>
              <a:gd name="connsiteX21521" fmla="*/ 727278 w 8079933"/>
              <a:gd name="connsiteY21521" fmla="*/ 1100137 h 4687251"/>
              <a:gd name="connsiteX21522" fmla="*/ 729884 w 8079933"/>
              <a:gd name="connsiteY21522" fmla="*/ 1101220 h 4687251"/>
              <a:gd name="connsiteX21523" fmla="*/ 728907 w 8079933"/>
              <a:gd name="connsiteY21523" fmla="*/ 1105551 h 4687251"/>
              <a:gd name="connsiteX21524" fmla="*/ 731076 w 8079933"/>
              <a:gd name="connsiteY21524" fmla="*/ 1106092 h 4687251"/>
              <a:gd name="connsiteX21525" fmla="*/ 732270 w 8079933"/>
              <a:gd name="connsiteY21525" fmla="*/ 1103818 h 4687251"/>
              <a:gd name="connsiteX21526" fmla="*/ 735201 w 8079933"/>
              <a:gd name="connsiteY21526" fmla="*/ 1102952 h 4687251"/>
              <a:gd name="connsiteX21527" fmla="*/ 737047 w 8079933"/>
              <a:gd name="connsiteY21527" fmla="*/ 1106525 h 4687251"/>
              <a:gd name="connsiteX21528" fmla="*/ 734767 w 8079933"/>
              <a:gd name="connsiteY21528" fmla="*/ 1108690 h 4687251"/>
              <a:gd name="connsiteX21529" fmla="*/ 733032 w 8079933"/>
              <a:gd name="connsiteY21529" fmla="*/ 1112047 h 4687251"/>
              <a:gd name="connsiteX21530" fmla="*/ 735853 w 8079933"/>
              <a:gd name="connsiteY21530" fmla="*/ 1113021 h 4687251"/>
              <a:gd name="connsiteX21531" fmla="*/ 737371 w 8079933"/>
              <a:gd name="connsiteY21531" fmla="*/ 1115944 h 4687251"/>
              <a:gd name="connsiteX21532" fmla="*/ 733789 w 8079933"/>
              <a:gd name="connsiteY21532" fmla="*/ 1116918 h 4687251"/>
              <a:gd name="connsiteX21533" fmla="*/ 731403 w 8079933"/>
              <a:gd name="connsiteY21533" fmla="*/ 1114970 h 4687251"/>
              <a:gd name="connsiteX21534" fmla="*/ 727713 w 8079933"/>
              <a:gd name="connsiteY21534" fmla="*/ 1118759 h 4687251"/>
              <a:gd name="connsiteX21535" fmla="*/ 725107 w 8079933"/>
              <a:gd name="connsiteY21535" fmla="*/ 1118759 h 4687251"/>
              <a:gd name="connsiteX21536" fmla="*/ 724024 w 8079933"/>
              <a:gd name="connsiteY21536" fmla="*/ 1115728 h 4687251"/>
              <a:gd name="connsiteX21537" fmla="*/ 719574 w 8079933"/>
              <a:gd name="connsiteY21537" fmla="*/ 1119517 h 4687251"/>
              <a:gd name="connsiteX21538" fmla="*/ 716211 w 8079933"/>
              <a:gd name="connsiteY21538" fmla="*/ 1119626 h 4687251"/>
              <a:gd name="connsiteX21539" fmla="*/ 710786 w 8079933"/>
              <a:gd name="connsiteY21539" fmla="*/ 1114428 h 4687251"/>
              <a:gd name="connsiteX21540" fmla="*/ 709915 w 8079933"/>
              <a:gd name="connsiteY21540" fmla="*/ 1112371 h 4687251"/>
              <a:gd name="connsiteX21541" fmla="*/ 711980 w 8079933"/>
              <a:gd name="connsiteY21541" fmla="*/ 1110206 h 4687251"/>
              <a:gd name="connsiteX21542" fmla="*/ 715016 w 8079933"/>
              <a:gd name="connsiteY21542" fmla="*/ 1111614 h 4687251"/>
              <a:gd name="connsiteX21543" fmla="*/ 717186 w 8079933"/>
              <a:gd name="connsiteY21543" fmla="*/ 1109773 h 4687251"/>
              <a:gd name="connsiteX21544" fmla="*/ 719899 w 8079933"/>
              <a:gd name="connsiteY21544" fmla="*/ 1111072 h 4687251"/>
              <a:gd name="connsiteX21545" fmla="*/ 722612 w 8079933"/>
              <a:gd name="connsiteY21545" fmla="*/ 1106958 h 4687251"/>
              <a:gd name="connsiteX21546" fmla="*/ 720658 w 8079933"/>
              <a:gd name="connsiteY21546" fmla="*/ 1104576 h 4687251"/>
              <a:gd name="connsiteX21547" fmla="*/ 722722 w 8079933"/>
              <a:gd name="connsiteY21547" fmla="*/ 1101436 h 4687251"/>
              <a:gd name="connsiteX21548" fmla="*/ 4200897 w 8079933"/>
              <a:gd name="connsiteY21548" fmla="*/ 1098730 h 4687251"/>
              <a:gd name="connsiteX21549" fmla="*/ 4203610 w 8079933"/>
              <a:gd name="connsiteY21549" fmla="*/ 1099271 h 4687251"/>
              <a:gd name="connsiteX21550" fmla="*/ 4201656 w 8079933"/>
              <a:gd name="connsiteY21550" fmla="*/ 1103169 h 4687251"/>
              <a:gd name="connsiteX21551" fmla="*/ 4199378 w 8079933"/>
              <a:gd name="connsiteY21551" fmla="*/ 1101112 h 4687251"/>
              <a:gd name="connsiteX21552" fmla="*/ 4492529 w 8079933"/>
              <a:gd name="connsiteY21552" fmla="*/ 1092350 h 4687251"/>
              <a:gd name="connsiteX21553" fmla="*/ 4492372 w 8079933"/>
              <a:gd name="connsiteY21553" fmla="*/ 1092774 h 4687251"/>
              <a:gd name="connsiteX21554" fmla="*/ 4496224 w 8079933"/>
              <a:gd name="connsiteY21554" fmla="*/ 1096908 h 4687251"/>
              <a:gd name="connsiteX21555" fmla="*/ 4495953 w 8079933"/>
              <a:gd name="connsiteY21555" fmla="*/ 1096024 h 4687251"/>
              <a:gd name="connsiteX21556" fmla="*/ 732379 w 8079933"/>
              <a:gd name="connsiteY21556" fmla="*/ 1091042 h 4687251"/>
              <a:gd name="connsiteX21557" fmla="*/ 735853 w 8079933"/>
              <a:gd name="connsiteY21557" fmla="*/ 1091258 h 4687251"/>
              <a:gd name="connsiteX21558" fmla="*/ 735526 w 8079933"/>
              <a:gd name="connsiteY21558" fmla="*/ 1094940 h 4687251"/>
              <a:gd name="connsiteX21559" fmla="*/ 731838 w 8079933"/>
              <a:gd name="connsiteY21559" fmla="*/ 1097538 h 4687251"/>
              <a:gd name="connsiteX21560" fmla="*/ 729125 w 8079933"/>
              <a:gd name="connsiteY21560" fmla="*/ 1095373 h 4687251"/>
              <a:gd name="connsiteX21561" fmla="*/ 730316 w 8079933"/>
              <a:gd name="connsiteY21561" fmla="*/ 1091475 h 4687251"/>
              <a:gd name="connsiteX21562" fmla="*/ 4756175 w 8079933"/>
              <a:gd name="connsiteY21562" fmla="*/ 1088660 h 4687251"/>
              <a:gd name="connsiteX21563" fmla="*/ 4758779 w 8079933"/>
              <a:gd name="connsiteY21563" fmla="*/ 1091691 h 4687251"/>
              <a:gd name="connsiteX21564" fmla="*/ 4759105 w 8079933"/>
              <a:gd name="connsiteY21564" fmla="*/ 1094182 h 4687251"/>
              <a:gd name="connsiteX21565" fmla="*/ 4756717 w 8079933"/>
              <a:gd name="connsiteY21565" fmla="*/ 1094507 h 4687251"/>
              <a:gd name="connsiteX21566" fmla="*/ 4753679 w 8079933"/>
              <a:gd name="connsiteY21566" fmla="*/ 1091583 h 4687251"/>
              <a:gd name="connsiteX21567" fmla="*/ 4753679 w 8079933"/>
              <a:gd name="connsiteY21567" fmla="*/ 1089093 h 4687251"/>
              <a:gd name="connsiteX21568" fmla="*/ 880070 w 8079933"/>
              <a:gd name="connsiteY21568" fmla="*/ 1085629 h 4687251"/>
              <a:gd name="connsiteX21569" fmla="*/ 882783 w 8079933"/>
              <a:gd name="connsiteY21569" fmla="*/ 1087795 h 4687251"/>
              <a:gd name="connsiteX21570" fmla="*/ 875729 w 8079933"/>
              <a:gd name="connsiteY21570" fmla="*/ 1088336 h 4687251"/>
              <a:gd name="connsiteX21571" fmla="*/ 4385170 w 8079933"/>
              <a:gd name="connsiteY21571" fmla="*/ 1085051 h 4687251"/>
              <a:gd name="connsiteX21572" fmla="*/ 4383420 w 8079933"/>
              <a:gd name="connsiteY21572" fmla="*/ 1087794 h 4687251"/>
              <a:gd name="connsiteX21573" fmla="*/ 4383588 w 8079933"/>
              <a:gd name="connsiteY21573" fmla="*/ 1089250 h 4687251"/>
              <a:gd name="connsiteX21574" fmla="*/ 4385484 w 8079933"/>
              <a:gd name="connsiteY21574" fmla="*/ 1086278 h 4687251"/>
              <a:gd name="connsiteX21575" fmla="*/ 1047655 w 8079933"/>
              <a:gd name="connsiteY21575" fmla="*/ 1084195 h 4687251"/>
              <a:gd name="connsiteX21576" fmla="*/ 1045666 w 8079933"/>
              <a:gd name="connsiteY21576" fmla="*/ 1088336 h 4687251"/>
              <a:gd name="connsiteX21577" fmla="*/ 1045666 w 8079933"/>
              <a:gd name="connsiteY21577" fmla="*/ 1088336 h 4687251"/>
              <a:gd name="connsiteX21578" fmla="*/ 1008988 w 8079933"/>
              <a:gd name="connsiteY21578" fmla="*/ 1078592 h 4687251"/>
              <a:gd name="connsiteX21579" fmla="*/ 1008987 w 8079933"/>
              <a:gd name="connsiteY21579" fmla="*/ 1078592 h 4687251"/>
              <a:gd name="connsiteX21580" fmla="*/ 1024614 w 8079933"/>
              <a:gd name="connsiteY21580" fmla="*/ 1078808 h 4687251"/>
              <a:gd name="connsiteX21581" fmla="*/ 1029052 w 8079933"/>
              <a:gd name="connsiteY21581" fmla="*/ 1081022 h 4687251"/>
              <a:gd name="connsiteX21582" fmla="*/ 1024613 w 8079933"/>
              <a:gd name="connsiteY21582" fmla="*/ 1078808 h 4687251"/>
              <a:gd name="connsiteX21583" fmla="*/ 7094276 w 8079933"/>
              <a:gd name="connsiteY21583" fmla="*/ 1077942 h 4687251"/>
              <a:gd name="connsiteX21584" fmla="*/ 7094059 w 8079933"/>
              <a:gd name="connsiteY21584" fmla="*/ 1081299 h 4687251"/>
              <a:gd name="connsiteX21585" fmla="*/ 7090803 w 8079933"/>
              <a:gd name="connsiteY21585" fmla="*/ 1086171 h 4687251"/>
              <a:gd name="connsiteX21586" fmla="*/ 7088633 w 8079933"/>
              <a:gd name="connsiteY21586" fmla="*/ 1085846 h 4687251"/>
              <a:gd name="connsiteX21587" fmla="*/ 7088959 w 8079933"/>
              <a:gd name="connsiteY21587" fmla="*/ 1082165 h 4687251"/>
              <a:gd name="connsiteX21588" fmla="*/ 7091346 w 8079933"/>
              <a:gd name="connsiteY21588" fmla="*/ 1078591 h 4687251"/>
              <a:gd name="connsiteX21589" fmla="*/ 4170729 w 8079933"/>
              <a:gd name="connsiteY21589" fmla="*/ 1076643 h 4687251"/>
              <a:gd name="connsiteX21590" fmla="*/ 4172791 w 8079933"/>
              <a:gd name="connsiteY21590" fmla="*/ 1079133 h 4687251"/>
              <a:gd name="connsiteX21591" fmla="*/ 4171488 w 8079933"/>
              <a:gd name="connsiteY21591" fmla="*/ 1081515 h 4687251"/>
              <a:gd name="connsiteX21592" fmla="*/ 4168993 w 8079933"/>
              <a:gd name="connsiteY21592" fmla="*/ 1080000 h 4687251"/>
              <a:gd name="connsiteX21593" fmla="*/ 1038720 w 8079933"/>
              <a:gd name="connsiteY21593" fmla="*/ 1076318 h 4687251"/>
              <a:gd name="connsiteX21594" fmla="*/ 1029605 w 8079933"/>
              <a:gd name="connsiteY21594" fmla="*/ 1081298 h 4687251"/>
              <a:gd name="connsiteX21595" fmla="*/ 1029605 w 8079933"/>
              <a:gd name="connsiteY21595" fmla="*/ 1081298 h 4687251"/>
              <a:gd name="connsiteX21596" fmla="*/ 1038721 w 8079933"/>
              <a:gd name="connsiteY21596" fmla="*/ 1076318 h 4687251"/>
              <a:gd name="connsiteX21597" fmla="*/ 934006 w 8079933"/>
              <a:gd name="connsiteY21597" fmla="*/ 1073394 h 4687251"/>
              <a:gd name="connsiteX21598" fmla="*/ 937044 w 8079933"/>
              <a:gd name="connsiteY21598" fmla="*/ 1073394 h 4687251"/>
              <a:gd name="connsiteX21599" fmla="*/ 932812 w 8079933"/>
              <a:gd name="connsiteY21599" fmla="*/ 1078374 h 4687251"/>
              <a:gd name="connsiteX21600" fmla="*/ 928144 w 8079933"/>
              <a:gd name="connsiteY21600" fmla="*/ 1079566 h 4687251"/>
              <a:gd name="connsiteX21601" fmla="*/ 928254 w 8079933"/>
              <a:gd name="connsiteY21601" fmla="*/ 1075668 h 4687251"/>
              <a:gd name="connsiteX21602" fmla="*/ 4379492 w 8079933"/>
              <a:gd name="connsiteY21602" fmla="*/ 1068147 h 4687251"/>
              <a:gd name="connsiteX21603" fmla="*/ 4377452 w 8079933"/>
              <a:gd name="connsiteY21603" fmla="*/ 1073611 h 4687251"/>
              <a:gd name="connsiteX21604" fmla="*/ 4377779 w 8079933"/>
              <a:gd name="connsiteY21604" fmla="*/ 1077119 h 4687251"/>
              <a:gd name="connsiteX21605" fmla="*/ 4377779 w 8079933"/>
              <a:gd name="connsiteY21605" fmla="*/ 1075992 h 4687251"/>
              <a:gd name="connsiteX21606" fmla="*/ 4379949 w 8079933"/>
              <a:gd name="connsiteY21606" fmla="*/ 1070579 h 4687251"/>
              <a:gd name="connsiteX21607" fmla="*/ 2904231 w 8079933"/>
              <a:gd name="connsiteY21607" fmla="*/ 1067115 h 4687251"/>
              <a:gd name="connsiteX21608" fmla="*/ 2906509 w 8079933"/>
              <a:gd name="connsiteY21608" fmla="*/ 1067981 h 4687251"/>
              <a:gd name="connsiteX21609" fmla="*/ 2904882 w 8079933"/>
              <a:gd name="connsiteY21609" fmla="*/ 1070039 h 4687251"/>
              <a:gd name="connsiteX21610" fmla="*/ 2900541 w 8079933"/>
              <a:gd name="connsiteY21610" fmla="*/ 1068847 h 4687251"/>
              <a:gd name="connsiteX21611" fmla="*/ 2906619 w 8079933"/>
              <a:gd name="connsiteY21611" fmla="*/ 1062135 h 4687251"/>
              <a:gd name="connsiteX21612" fmla="*/ 2911068 w 8079933"/>
              <a:gd name="connsiteY21612" fmla="*/ 1063651 h 4687251"/>
              <a:gd name="connsiteX21613" fmla="*/ 2908355 w 8079933"/>
              <a:gd name="connsiteY21613" fmla="*/ 1065275 h 4687251"/>
              <a:gd name="connsiteX21614" fmla="*/ 2904882 w 8079933"/>
              <a:gd name="connsiteY21614" fmla="*/ 1065275 h 4687251"/>
              <a:gd name="connsiteX21615" fmla="*/ 2902712 w 8079933"/>
              <a:gd name="connsiteY21615" fmla="*/ 1064083 h 4687251"/>
              <a:gd name="connsiteX21616" fmla="*/ 2903363 w 8079933"/>
              <a:gd name="connsiteY21616" fmla="*/ 1063110 h 4687251"/>
              <a:gd name="connsiteX21617" fmla="*/ 2895332 w 8079933"/>
              <a:gd name="connsiteY21617" fmla="*/ 1061809 h 4687251"/>
              <a:gd name="connsiteX21618" fmla="*/ 2896743 w 8079933"/>
              <a:gd name="connsiteY21618" fmla="*/ 1062134 h 4687251"/>
              <a:gd name="connsiteX21619" fmla="*/ 2897394 w 8079933"/>
              <a:gd name="connsiteY21619" fmla="*/ 1063758 h 4687251"/>
              <a:gd name="connsiteX21620" fmla="*/ 2895332 w 8079933"/>
              <a:gd name="connsiteY21620" fmla="*/ 1064841 h 4687251"/>
              <a:gd name="connsiteX21621" fmla="*/ 2894247 w 8079933"/>
              <a:gd name="connsiteY21621" fmla="*/ 1062242 h 4687251"/>
              <a:gd name="connsiteX21622" fmla="*/ 4252255 w 8079933"/>
              <a:gd name="connsiteY21622" fmla="*/ 1061328 h 4687251"/>
              <a:gd name="connsiteX21623" fmla="*/ 4249402 w 8079933"/>
              <a:gd name="connsiteY21623" fmla="*/ 1067439 h 4687251"/>
              <a:gd name="connsiteX21624" fmla="*/ 4246147 w 8079933"/>
              <a:gd name="connsiteY21624" fmla="*/ 1069171 h 4687251"/>
              <a:gd name="connsiteX21625" fmla="*/ 4244736 w 8079933"/>
              <a:gd name="connsiteY21625" fmla="*/ 1075018 h 4687251"/>
              <a:gd name="connsiteX21626" fmla="*/ 4241807 w 8079933"/>
              <a:gd name="connsiteY21626" fmla="*/ 1078915 h 4687251"/>
              <a:gd name="connsiteX21627" fmla="*/ 4238768 w 8079933"/>
              <a:gd name="connsiteY21627" fmla="*/ 1080540 h 4687251"/>
              <a:gd name="connsiteX21628" fmla="*/ 4238768 w 8079933"/>
              <a:gd name="connsiteY21628" fmla="*/ 1080541 h 4687251"/>
              <a:gd name="connsiteX21629" fmla="*/ 4241807 w 8079933"/>
              <a:gd name="connsiteY21629" fmla="*/ 1078916 h 4687251"/>
              <a:gd name="connsiteX21630" fmla="*/ 4244736 w 8079933"/>
              <a:gd name="connsiteY21630" fmla="*/ 1075019 h 4687251"/>
              <a:gd name="connsiteX21631" fmla="*/ 4246147 w 8079933"/>
              <a:gd name="connsiteY21631" fmla="*/ 1069172 h 4687251"/>
              <a:gd name="connsiteX21632" fmla="*/ 4249402 w 8079933"/>
              <a:gd name="connsiteY21632" fmla="*/ 1067439 h 4687251"/>
              <a:gd name="connsiteX21633" fmla="*/ 4379569 w 8079933"/>
              <a:gd name="connsiteY21633" fmla="*/ 1058081 h 4687251"/>
              <a:gd name="connsiteX21634" fmla="*/ 4378211 w 8079933"/>
              <a:gd name="connsiteY21634" fmla="*/ 1061268 h 4687251"/>
              <a:gd name="connsiteX21635" fmla="*/ 4378660 w 8079933"/>
              <a:gd name="connsiteY21635" fmla="*/ 1063618 h 4687251"/>
              <a:gd name="connsiteX21636" fmla="*/ 4380383 w 8079933"/>
              <a:gd name="connsiteY21636" fmla="*/ 1059319 h 4687251"/>
              <a:gd name="connsiteX21637" fmla="*/ 4177564 w 8079933"/>
              <a:gd name="connsiteY21637" fmla="*/ 1057912 h 4687251"/>
              <a:gd name="connsiteX21638" fmla="*/ 4178758 w 8079933"/>
              <a:gd name="connsiteY21638" fmla="*/ 1064625 h 4687251"/>
              <a:gd name="connsiteX21639" fmla="*/ 4173224 w 8079933"/>
              <a:gd name="connsiteY21639" fmla="*/ 1069931 h 4687251"/>
              <a:gd name="connsiteX21640" fmla="*/ 4173224 w 8079933"/>
              <a:gd name="connsiteY21640" fmla="*/ 1065275 h 4687251"/>
              <a:gd name="connsiteX21641" fmla="*/ 4182231 w 8079933"/>
              <a:gd name="connsiteY21641" fmla="*/ 1055854 h 4687251"/>
              <a:gd name="connsiteX21642" fmla="*/ 4184184 w 8079933"/>
              <a:gd name="connsiteY21642" fmla="*/ 1057045 h 4687251"/>
              <a:gd name="connsiteX21643" fmla="*/ 4182231 w 8079933"/>
              <a:gd name="connsiteY21643" fmla="*/ 1061051 h 4687251"/>
              <a:gd name="connsiteX21644" fmla="*/ 4180278 w 8079933"/>
              <a:gd name="connsiteY21644" fmla="*/ 1058235 h 4687251"/>
              <a:gd name="connsiteX21645" fmla="*/ 4258084 w 8079933"/>
              <a:gd name="connsiteY21645" fmla="*/ 1055746 h 4687251"/>
              <a:gd name="connsiteX21646" fmla="*/ 4253092 w 8079933"/>
              <a:gd name="connsiteY21646" fmla="*/ 1059535 h 4687251"/>
              <a:gd name="connsiteX21647" fmla="*/ 4253092 w 8079933"/>
              <a:gd name="connsiteY21647" fmla="*/ 1059536 h 4687251"/>
              <a:gd name="connsiteX21648" fmla="*/ 4258084 w 8079933"/>
              <a:gd name="connsiteY21648" fmla="*/ 1055747 h 4687251"/>
              <a:gd name="connsiteX21649" fmla="*/ 4263401 w 8079933"/>
              <a:gd name="connsiteY21649" fmla="*/ 1058129 h 4687251"/>
              <a:gd name="connsiteX21650" fmla="*/ 4265571 w 8079933"/>
              <a:gd name="connsiteY21650" fmla="*/ 1060727 h 4687251"/>
              <a:gd name="connsiteX21651" fmla="*/ 4268719 w 8079933"/>
              <a:gd name="connsiteY21651" fmla="*/ 1060186 h 4687251"/>
              <a:gd name="connsiteX21652" fmla="*/ 4272299 w 8079933"/>
              <a:gd name="connsiteY21652" fmla="*/ 1056937 h 4687251"/>
              <a:gd name="connsiteX21653" fmla="*/ 4272299 w 8079933"/>
              <a:gd name="connsiteY21653" fmla="*/ 1056937 h 4687251"/>
              <a:gd name="connsiteX21654" fmla="*/ 4268719 w 8079933"/>
              <a:gd name="connsiteY21654" fmla="*/ 1060185 h 4687251"/>
              <a:gd name="connsiteX21655" fmla="*/ 4265571 w 8079933"/>
              <a:gd name="connsiteY21655" fmla="*/ 1060726 h 4687251"/>
              <a:gd name="connsiteX21656" fmla="*/ 4263401 w 8079933"/>
              <a:gd name="connsiteY21656" fmla="*/ 1058128 h 4687251"/>
              <a:gd name="connsiteX21657" fmla="*/ 4488790 w 8079933"/>
              <a:gd name="connsiteY21657" fmla="*/ 1055495 h 4687251"/>
              <a:gd name="connsiteX21658" fmla="*/ 4489659 w 8079933"/>
              <a:gd name="connsiteY21658" fmla="*/ 1057587 h 4687251"/>
              <a:gd name="connsiteX21659" fmla="*/ 4500510 w 8079933"/>
              <a:gd name="connsiteY21659" fmla="*/ 1064516 h 4687251"/>
              <a:gd name="connsiteX21660" fmla="*/ 4501041 w 8079933"/>
              <a:gd name="connsiteY21660" fmla="*/ 1065006 h 4687251"/>
              <a:gd name="connsiteX21661" fmla="*/ 4501270 w 8079933"/>
              <a:gd name="connsiteY21661" fmla="*/ 1064300 h 4687251"/>
              <a:gd name="connsiteX21662" fmla="*/ 4498340 w 8079933"/>
              <a:gd name="connsiteY21662" fmla="*/ 1061594 h 4687251"/>
              <a:gd name="connsiteX21663" fmla="*/ 863360 w 8079933"/>
              <a:gd name="connsiteY21663" fmla="*/ 1051090 h 4687251"/>
              <a:gd name="connsiteX21664" fmla="*/ 863360 w 8079933"/>
              <a:gd name="connsiteY21664" fmla="*/ 1054663 h 4687251"/>
              <a:gd name="connsiteX21665" fmla="*/ 859345 w 8079933"/>
              <a:gd name="connsiteY21665" fmla="*/ 1057262 h 4687251"/>
              <a:gd name="connsiteX21666" fmla="*/ 856957 w 8079933"/>
              <a:gd name="connsiteY21666" fmla="*/ 1056070 h 4687251"/>
              <a:gd name="connsiteX21667" fmla="*/ 4196013 w 8079933"/>
              <a:gd name="connsiteY21667" fmla="*/ 1050332 h 4687251"/>
              <a:gd name="connsiteX21668" fmla="*/ 4195470 w 8079933"/>
              <a:gd name="connsiteY21668" fmla="*/ 1054338 h 4687251"/>
              <a:gd name="connsiteX21669" fmla="*/ 4186789 w 8079933"/>
              <a:gd name="connsiteY21669" fmla="*/ 1060834 h 4687251"/>
              <a:gd name="connsiteX21670" fmla="*/ 4188199 w 8079933"/>
              <a:gd name="connsiteY21670" fmla="*/ 1052389 h 4687251"/>
              <a:gd name="connsiteX21671" fmla="*/ 733899 w 8079933"/>
              <a:gd name="connsiteY21671" fmla="*/ 1050008 h 4687251"/>
              <a:gd name="connsiteX21672" fmla="*/ 737371 w 8079933"/>
              <a:gd name="connsiteY21672" fmla="*/ 1051198 h 4687251"/>
              <a:gd name="connsiteX21673" fmla="*/ 733789 w 8079933"/>
              <a:gd name="connsiteY21673" fmla="*/ 1053147 h 4687251"/>
              <a:gd name="connsiteX21674" fmla="*/ 730209 w 8079933"/>
              <a:gd name="connsiteY21674" fmla="*/ 1050874 h 4687251"/>
              <a:gd name="connsiteX21675" fmla="*/ 4272191 w 8079933"/>
              <a:gd name="connsiteY21675" fmla="*/ 1049357 h 4687251"/>
              <a:gd name="connsiteX21676" fmla="*/ 4269369 w 8079933"/>
              <a:gd name="connsiteY21676" fmla="*/ 1051956 h 4687251"/>
              <a:gd name="connsiteX21677" fmla="*/ 4269369 w 8079933"/>
              <a:gd name="connsiteY21677" fmla="*/ 1051957 h 4687251"/>
              <a:gd name="connsiteX21678" fmla="*/ 4272191 w 8079933"/>
              <a:gd name="connsiteY21678" fmla="*/ 1049358 h 4687251"/>
              <a:gd name="connsiteX21679" fmla="*/ 573403 w 8079933"/>
              <a:gd name="connsiteY21679" fmla="*/ 1049033 h 4687251"/>
              <a:gd name="connsiteX21680" fmla="*/ 572101 w 8079933"/>
              <a:gd name="connsiteY21680" fmla="*/ 1051739 h 4687251"/>
              <a:gd name="connsiteX21681" fmla="*/ 570364 w 8079933"/>
              <a:gd name="connsiteY21681" fmla="*/ 1052498 h 4687251"/>
              <a:gd name="connsiteX21682" fmla="*/ 569063 w 8079933"/>
              <a:gd name="connsiteY21682" fmla="*/ 1050657 h 4687251"/>
              <a:gd name="connsiteX21683" fmla="*/ 4273385 w 8079933"/>
              <a:gd name="connsiteY21683" fmla="*/ 1044161 h 4687251"/>
              <a:gd name="connsiteX21684" fmla="*/ 4272191 w 8079933"/>
              <a:gd name="connsiteY21684" fmla="*/ 1046759 h 4687251"/>
              <a:gd name="connsiteX21685" fmla="*/ 4272191 w 8079933"/>
              <a:gd name="connsiteY21685" fmla="*/ 1046760 h 4687251"/>
              <a:gd name="connsiteX21686" fmla="*/ 4273385 w 8079933"/>
              <a:gd name="connsiteY21686" fmla="*/ 1044162 h 4687251"/>
              <a:gd name="connsiteX21687" fmla="*/ 568411 w 8079933"/>
              <a:gd name="connsiteY21687" fmla="*/ 1043511 h 4687251"/>
              <a:gd name="connsiteX21688" fmla="*/ 568954 w 8079933"/>
              <a:gd name="connsiteY21688" fmla="*/ 1045893 h 4687251"/>
              <a:gd name="connsiteX21689" fmla="*/ 563637 w 8079933"/>
              <a:gd name="connsiteY21689" fmla="*/ 1052389 h 4687251"/>
              <a:gd name="connsiteX21690" fmla="*/ 560708 w 8079933"/>
              <a:gd name="connsiteY21690" fmla="*/ 1054664 h 4687251"/>
              <a:gd name="connsiteX21691" fmla="*/ 558320 w 8079933"/>
              <a:gd name="connsiteY21691" fmla="*/ 1053472 h 4687251"/>
              <a:gd name="connsiteX21692" fmla="*/ 558755 w 8079933"/>
              <a:gd name="connsiteY21692" fmla="*/ 1049358 h 4687251"/>
              <a:gd name="connsiteX21693" fmla="*/ 564396 w 8079933"/>
              <a:gd name="connsiteY21693" fmla="*/ 1045785 h 4687251"/>
              <a:gd name="connsiteX21694" fmla="*/ 4209903 w 8079933"/>
              <a:gd name="connsiteY21694" fmla="*/ 1041780 h 4687251"/>
              <a:gd name="connsiteX21695" fmla="*/ 4209795 w 8079933"/>
              <a:gd name="connsiteY21695" fmla="*/ 1051200 h 4687251"/>
              <a:gd name="connsiteX21696" fmla="*/ 4204803 w 8079933"/>
              <a:gd name="connsiteY21696" fmla="*/ 1048817 h 4687251"/>
              <a:gd name="connsiteX21697" fmla="*/ 4198400 w 8079933"/>
              <a:gd name="connsiteY21697" fmla="*/ 1052932 h 4687251"/>
              <a:gd name="connsiteX21698" fmla="*/ 4199051 w 8079933"/>
              <a:gd name="connsiteY21698" fmla="*/ 1048276 h 4687251"/>
              <a:gd name="connsiteX21699" fmla="*/ 4473245 w 8079933"/>
              <a:gd name="connsiteY21699" fmla="*/ 1041130 h 4687251"/>
              <a:gd name="connsiteX21700" fmla="*/ 4474358 w 8079933"/>
              <a:gd name="connsiteY21700" fmla="*/ 1044053 h 4687251"/>
              <a:gd name="connsiteX21701" fmla="*/ 4477614 w 8079933"/>
              <a:gd name="connsiteY21701" fmla="*/ 1044053 h 4687251"/>
              <a:gd name="connsiteX21702" fmla="*/ 4483780 w 8079933"/>
              <a:gd name="connsiteY21702" fmla="*/ 1047437 h 4687251"/>
              <a:gd name="connsiteX21703" fmla="*/ 4481954 w 8079933"/>
              <a:gd name="connsiteY21703" fmla="*/ 1044704 h 4687251"/>
              <a:gd name="connsiteX21704" fmla="*/ 4475443 w 8079933"/>
              <a:gd name="connsiteY21704" fmla="*/ 1041130 h 4687251"/>
              <a:gd name="connsiteX21705" fmla="*/ 888319 w 8079933"/>
              <a:gd name="connsiteY21705" fmla="*/ 1040047 h 4687251"/>
              <a:gd name="connsiteX21706" fmla="*/ 889187 w 8079933"/>
              <a:gd name="connsiteY21706" fmla="*/ 1042645 h 4687251"/>
              <a:gd name="connsiteX21707" fmla="*/ 887992 w 8079933"/>
              <a:gd name="connsiteY21707" fmla="*/ 1045244 h 4687251"/>
              <a:gd name="connsiteX21708" fmla="*/ 890272 w 8079933"/>
              <a:gd name="connsiteY21708" fmla="*/ 1047084 h 4687251"/>
              <a:gd name="connsiteX21709" fmla="*/ 887666 w 8079933"/>
              <a:gd name="connsiteY21709" fmla="*/ 1049467 h 4687251"/>
              <a:gd name="connsiteX21710" fmla="*/ 882351 w 8079933"/>
              <a:gd name="connsiteY21710" fmla="*/ 1051524 h 4687251"/>
              <a:gd name="connsiteX21711" fmla="*/ 875188 w 8079933"/>
              <a:gd name="connsiteY21711" fmla="*/ 1059644 h 4687251"/>
              <a:gd name="connsiteX21712" fmla="*/ 870954 w 8079933"/>
              <a:gd name="connsiteY21712" fmla="*/ 1061051 h 4687251"/>
              <a:gd name="connsiteX21713" fmla="*/ 871823 w 8079933"/>
              <a:gd name="connsiteY21713" fmla="*/ 1063867 h 4687251"/>
              <a:gd name="connsiteX21714" fmla="*/ 870630 w 8079933"/>
              <a:gd name="connsiteY21714" fmla="*/ 1066465 h 4687251"/>
              <a:gd name="connsiteX21715" fmla="*/ 865203 w 8079933"/>
              <a:gd name="connsiteY21715" fmla="*/ 1065274 h 4687251"/>
              <a:gd name="connsiteX21716" fmla="*/ 862490 w 8079933"/>
              <a:gd name="connsiteY21716" fmla="*/ 1067223 h 4687251"/>
              <a:gd name="connsiteX21717" fmla="*/ 857608 w 8079933"/>
              <a:gd name="connsiteY21717" fmla="*/ 1067223 h 4687251"/>
              <a:gd name="connsiteX21718" fmla="*/ 857825 w 8079933"/>
              <a:gd name="connsiteY21718" fmla="*/ 1065166 h 4687251"/>
              <a:gd name="connsiteX21719" fmla="*/ 861188 w 8079933"/>
              <a:gd name="connsiteY21719" fmla="*/ 1064300 h 4687251"/>
              <a:gd name="connsiteX21720" fmla="*/ 863033 w 8079933"/>
              <a:gd name="connsiteY21720" fmla="*/ 1063109 h 4687251"/>
              <a:gd name="connsiteX21721" fmla="*/ 863684 w 8079933"/>
              <a:gd name="connsiteY21721" fmla="*/ 1060510 h 4687251"/>
              <a:gd name="connsiteX21722" fmla="*/ 872476 w 8079933"/>
              <a:gd name="connsiteY21722" fmla="*/ 1053365 h 4687251"/>
              <a:gd name="connsiteX21723" fmla="*/ 876598 w 8079933"/>
              <a:gd name="connsiteY21723" fmla="*/ 1052065 h 4687251"/>
              <a:gd name="connsiteX21724" fmla="*/ 881481 w 8079933"/>
              <a:gd name="connsiteY21724" fmla="*/ 1046651 h 4687251"/>
              <a:gd name="connsiteX21725" fmla="*/ 883651 w 8079933"/>
              <a:gd name="connsiteY21725" fmla="*/ 1046002 h 4687251"/>
              <a:gd name="connsiteX21726" fmla="*/ 899170 w 8079933"/>
              <a:gd name="connsiteY21726" fmla="*/ 1036258 h 4687251"/>
              <a:gd name="connsiteX21727" fmla="*/ 902100 w 8079933"/>
              <a:gd name="connsiteY21727" fmla="*/ 1037666 h 4687251"/>
              <a:gd name="connsiteX21728" fmla="*/ 902317 w 8079933"/>
              <a:gd name="connsiteY21728" fmla="*/ 1041780 h 4687251"/>
              <a:gd name="connsiteX21729" fmla="*/ 905354 w 8079933"/>
              <a:gd name="connsiteY21729" fmla="*/ 1041780 h 4687251"/>
              <a:gd name="connsiteX21730" fmla="*/ 906982 w 8079933"/>
              <a:gd name="connsiteY21730" fmla="*/ 1045027 h 4687251"/>
              <a:gd name="connsiteX21731" fmla="*/ 902750 w 8079933"/>
              <a:gd name="connsiteY21731" fmla="*/ 1046976 h 4687251"/>
              <a:gd name="connsiteX21732" fmla="*/ 896241 w 8079933"/>
              <a:gd name="connsiteY21732" fmla="*/ 1045894 h 4687251"/>
              <a:gd name="connsiteX21733" fmla="*/ 896132 w 8079933"/>
              <a:gd name="connsiteY21733" fmla="*/ 1038315 h 4687251"/>
              <a:gd name="connsiteX21734" fmla="*/ 4206322 w 8079933"/>
              <a:gd name="connsiteY21734" fmla="*/ 1035717 h 4687251"/>
              <a:gd name="connsiteX21735" fmla="*/ 4210445 w 8079933"/>
              <a:gd name="connsiteY21735" fmla="*/ 1039182 h 4687251"/>
              <a:gd name="connsiteX21736" fmla="*/ 4203718 w 8079933"/>
              <a:gd name="connsiteY21736" fmla="*/ 1040048 h 4687251"/>
              <a:gd name="connsiteX21737" fmla="*/ 5277056 w 8079933"/>
              <a:gd name="connsiteY21737" fmla="*/ 1035608 h 4687251"/>
              <a:gd name="connsiteX21738" fmla="*/ 5280312 w 8079933"/>
              <a:gd name="connsiteY21738" fmla="*/ 1035608 h 4687251"/>
              <a:gd name="connsiteX21739" fmla="*/ 5283675 w 8079933"/>
              <a:gd name="connsiteY21739" fmla="*/ 1036799 h 4687251"/>
              <a:gd name="connsiteX21740" fmla="*/ 5287365 w 8079933"/>
              <a:gd name="connsiteY21740" fmla="*/ 1035716 h 4687251"/>
              <a:gd name="connsiteX21741" fmla="*/ 5291164 w 8079933"/>
              <a:gd name="connsiteY21741" fmla="*/ 1036799 h 4687251"/>
              <a:gd name="connsiteX21742" fmla="*/ 5293009 w 8079933"/>
              <a:gd name="connsiteY21742" fmla="*/ 1041238 h 4687251"/>
              <a:gd name="connsiteX21743" fmla="*/ 5291164 w 8079933"/>
              <a:gd name="connsiteY21743" fmla="*/ 1043295 h 4687251"/>
              <a:gd name="connsiteX21744" fmla="*/ 5286280 w 8079933"/>
              <a:gd name="connsiteY21744" fmla="*/ 1045028 h 4687251"/>
              <a:gd name="connsiteX21745" fmla="*/ 5280962 w 8079933"/>
              <a:gd name="connsiteY21745" fmla="*/ 1041671 h 4687251"/>
              <a:gd name="connsiteX21746" fmla="*/ 5280637 w 8079933"/>
              <a:gd name="connsiteY21746" fmla="*/ 1038748 h 4687251"/>
              <a:gd name="connsiteX21747" fmla="*/ 5277490 w 8079933"/>
              <a:gd name="connsiteY21747" fmla="*/ 1037773 h 4687251"/>
              <a:gd name="connsiteX21748" fmla="*/ 4284019 w 8079933"/>
              <a:gd name="connsiteY21748" fmla="*/ 1034091 h 4687251"/>
              <a:gd name="connsiteX21749" fmla="*/ 4278919 w 8079933"/>
              <a:gd name="connsiteY21749" fmla="*/ 1036798 h 4687251"/>
              <a:gd name="connsiteX21750" fmla="*/ 4271974 w 8079933"/>
              <a:gd name="connsiteY21750" fmla="*/ 1036690 h 4687251"/>
              <a:gd name="connsiteX21751" fmla="*/ 4269587 w 8079933"/>
              <a:gd name="connsiteY21751" fmla="*/ 1038206 h 4687251"/>
              <a:gd name="connsiteX21752" fmla="*/ 4269587 w 8079933"/>
              <a:gd name="connsiteY21752" fmla="*/ 1038206 h 4687251"/>
              <a:gd name="connsiteX21753" fmla="*/ 4271974 w 8079933"/>
              <a:gd name="connsiteY21753" fmla="*/ 1036691 h 4687251"/>
              <a:gd name="connsiteX21754" fmla="*/ 4278919 w 8079933"/>
              <a:gd name="connsiteY21754" fmla="*/ 1036799 h 4687251"/>
              <a:gd name="connsiteX21755" fmla="*/ 4284019 w 8079933"/>
              <a:gd name="connsiteY21755" fmla="*/ 1034092 h 4687251"/>
              <a:gd name="connsiteX21756" fmla="*/ 4291941 w 8079933"/>
              <a:gd name="connsiteY21756" fmla="*/ 1036150 h 4687251"/>
              <a:gd name="connsiteX21757" fmla="*/ 4296824 w 8079933"/>
              <a:gd name="connsiteY21757" fmla="*/ 1039398 h 4687251"/>
              <a:gd name="connsiteX21758" fmla="*/ 4302358 w 8079933"/>
              <a:gd name="connsiteY21758" fmla="*/ 1039939 h 4687251"/>
              <a:gd name="connsiteX21759" fmla="*/ 4305397 w 8079933"/>
              <a:gd name="connsiteY21759" fmla="*/ 1042537 h 4687251"/>
              <a:gd name="connsiteX21760" fmla="*/ 4307893 w 8079933"/>
              <a:gd name="connsiteY21760" fmla="*/ 1041672 h 4687251"/>
              <a:gd name="connsiteX21761" fmla="*/ 4310063 w 8079933"/>
              <a:gd name="connsiteY21761" fmla="*/ 1042970 h 4687251"/>
              <a:gd name="connsiteX21762" fmla="*/ 4310063 w 8079933"/>
              <a:gd name="connsiteY21762" fmla="*/ 1042969 h 4687251"/>
              <a:gd name="connsiteX21763" fmla="*/ 4307893 w 8079933"/>
              <a:gd name="connsiteY21763" fmla="*/ 1041671 h 4687251"/>
              <a:gd name="connsiteX21764" fmla="*/ 4305397 w 8079933"/>
              <a:gd name="connsiteY21764" fmla="*/ 1042536 h 4687251"/>
              <a:gd name="connsiteX21765" fmla="*/ 4302359 w 8079933"/>
              <a:gd name="connsiteY21765" fmla="*/ 1039938 h 4687251"/>
              <a:gd name="connsiteX21766" fmla="*/ 4296825 w 8079933"/>
              <a:gd name="connsiteY21766" fmla="*/ 1039397 h 4687251"/>
              <a:gd name="connsiteX21767" fmla="*/ 4291941 w 8079933"/>
              <a:gd name="connsiteY21767" fmla="*/ 1036149 h 4687251"/>
              <a:gd name="connsiteX21768" fmla="*/ 4307597 w 8079933"/>
              <a:gd name="connsiteY21768" fmla="*/ 1031996 h 4687251"/>
              <a:gd name="connsiteX21769" fmla="*/ 4307459 w 8079933"/>
              <a:gd name="connsiteY21769" fmla="*/ 1033334 h 4687251"/>
              <a:gd name="connsiteX21770" fmla="*/ 4307459 w 8079933"/>
              <a:gd name="connsiteY21770" fmla="*/ 1033334 h 4687251"/>
              <a:gd name="connsiteX21771" fmla="*/ 878768 w 8079933"/>
              <a:gd name="connsiteY21771" fmla="*/ 1031602 h 4687251"/>
              <a:gd name="connsiteX21772" fmla="*/ 881700 w 8079933"/>
              <a:gd name="connsiteY21772" fmla="*/ 1031818 h 4687251"/>
              <a:gd name="connsiteX21773" fmla="*/ 882892 w 8079933"/>
              <a:gd name="connsiteY21773" fmla="*/ 1033875 h 4687251"/>
              <a:gd name="connsiteX21774" fmla="*/ 879636 w 8079933"/>
              <a:gd name="connsiteY21774" fmla="*/ 1037232 h 4687251"/>
              <a:gd name="connsiteX21775" fmla="*/ 877577 w 8079933"/>
              <a:gd name="connsiteY21775" fmla="*/ 1040480 h 4687251"/>
              <a:gd name="connsiteX21776" fmla="*/ 872909 w 8079933"/>
              <a:gd name="connsiteY21776" fmla="*/ 1044594 h 4687251"/>
              <a:gd name="connsiteX21777" fmla="*/ 872149 w 8079933"/>
              <a:gd name="connsiteY21777" fmla="*/ 1047085 h 4687251"/>
              <a:gd name="connsiteX21778" fmla="*/ 869872 w 8079933"/>
              <a:gd name="connsiteY21778" fmla="*/ 1046868 h 4687251"/>
              <a:gd name="connsiteX21779" fmla="*/ 868677 w 8079933"/>
              <a:gd name="connsiteY21779" fmla="*/ 1044594 h 4687251"/>
              <a:gd name="connsiteX21780" fmla="*/ 875296 w 8079933"/>
              <a:gd name="connsiteY21780" fmla="*/ 1037881 h 4687251"/>
              <a:gd name="connsiteX21781" fmla="*/ 875839 w 8079933"/>
              <a:gd name="connsiteY21781" fmla="*/ 1034850 h 4687251"/>
              <a:gd name="connsiteX21782" fmla="*/ 4467034 w 8079933"/>
              <a:gd name="connsiteY21782" fmla="*/ 1029070 h 4687251"/>
              <a:gd name="connsiteX21783" fmla="*/ 4466979 w 8079933"/>
              <a:gd name="connsiteY21783" fmla="*/ 1029328 h 4687251"/>
              <a:gd name="connsiteX21784" fmla="*/ 4468290 w 8079933"/>
              <a:gd name="connsiteY21784" fmla="*/ 1030897 h 4687251"/>
              <a:gd name="connsiteX21785" fmla="*/ 4468063 w 8079933"/>
              <a:gd name="connsiteY21785" fmla="*/ 1030303 h 4687251"/>
              <a:gd name="connsiteX21786" fmla="*/ 2261486 w 8079933"/>
              <a:gd name="connsiteY21786" fmla="*/ 1025431 h 4687251"/>
              <a:gd name="connsiteX21787" fmla="*/ 2263765 w 8079933"/>
              <a:gd name="connsiteY21787" fmla="*/ 1026405 h 4687251"/>
              <a:gd name="connsiteX21788" fmla="*/ 2260293 w 8079933"/>
              <a:gd name="connsiteY21788" fmla="*/ 1030845 h 4687251"/>
              <a:gd name="connsiteX21789" fmla="*/ 2260293 w 8079933"/>
              <a:gd name="connsiteY21789" fmla="*/ 1033984 h 4687251"/>
              <a:gd name="connsiteX21790" fmla="*/ 2264416 w 8079933"/>
              <a:gd name="connsiteY21790" fmla="*/ 1032902 h 4687251"/>
              <a:gd name="connsiteX21791" fmla="*/ 2265609 w 8079933"/>
              <a:gd name="connsiteY21791" fmla="*/ 1037232 h 4687251"/>
              <a:gd name="connsiteX21792" fmla="*/ 2264741 w 8079933"/>
              <a:gd name="connsiteY21792" fmla="*/ 1041022 h 4687251"/>
              <a:gd name="connsiteX21793" fmla="*/ 2265936 w 8079933"/>
              <a:gd name="connsiteY21793" fmla="*/ 1044053 h 4687251"/>
              <a:gd name="connsiteX21794" fmla="*/ 2262680 w 8079933"/>
              <a:gd name="connsiteY21794" fmla="*/ 1044053 h 4687251"/>
              <a:gd name="connsiteX21795" fmla="*/ 2260293 w 8079933"/>
              <a:gd name="connsiteY21795" fmla="*/ 1044053 h 4687251"/>
              <a:gd name="connsiteX21796" fmla="*/ 2259641 w 8079933"/>
              <a:gd name="connsiteY21796" fmla="*/ 1046760 h 4687251"/>
              <a:gd name="connsiteX21797" fmla="*/ 2261703 w 8079933"/>
              <a:gd name="connsiteY21797" fmla="*/ 1051199 h 4687251"/>
              <a:gd name="connsiteX21798" fmla="*/ 2261703 w 8079933"/>
              <a:gd name="connsiteY21798" fmla="*/ 1057045 h 4687251"/>
              <a:gd name="connsiteX21799" fmla="*/ 2263765 w 8079933"/>
              <a:gd name="connsiteY21799" fmla="*/ 1058886 h 4687251"/>
              <a:gd name="connsiteX21800" fmla="*/ 2266369 w 8079933"/>
              <a:gd name="connsiteY21800" fmla="*/ 1056612 h 4687251"/>
              <a:gd name="connsiteX21801" fmla="*/ 2267237 w 8079933"/>
              <a:gd name="connsiteY21801" fmla="*/ 1052498 h 4687251"/>
              <a:gd name="connsiteX21802" fmla="*/ 2271578 w 8079933"/>
              <a:gd name="connsiteY21802" fmla="*/ 1047302 h 4687251"/>
              <a:gd name="connsiteX21803" fmla="*/ 2273097 w 8079933"/>
              <a:gd name="connsiteY21803" fmla="*/ 1047302 h 4687251"/>
              <a:gd name="connsiteX21804" fmla="*/ 2274182 w 8079933"/>
              <a:gd name="connsiteY21804" fmla="*/ 1050549 h 4687251"/>
              <a:gd name="connsiteX21805" fmla="*/ 2277763 w 8079933"/>
              <a:gd name="connsiteY21805" fmla="*/ 1053256 h 4687251"/>
              <a:gd name="connsiteX21806" fmla="*/ 2277763 w 8079933"/>
              <a:gd name="connsiteY21806" fmla="*/ 1055638 h 4687251"/>
              <a:gd name="connsiteX21807" fmla="*/ 2275810 w 8079933"/>
              <a:gd name="connsiteY21807" fmla="*/ 1058020 h 4687251"/>
              <a:gd name="connsiteX21808" fmla="*/ 2278089 w 8079933"/>
              <a:gd name="connsiteY21808" fmla="*/ 1062676 h 4687251"/>
              <a:gd name="connsiteX21809" fmla="*/ 2285794 w 8079933"/>
              <a:gd name="connsiteY21809" fmla="*/ 1065599 h 4687251"/>
              <a:gd name="connsiteX21810" fmla="*/ 2291654 w 8079933"/>
              <a:gd name="connsiteY21810" fmla="*/ 1065599 h 4687251"/>
              <a:gd name="connsiteX21811" fmla="*/ 2293173 w 8079933"/>
              <a:gd name="connsiteY21811" fmla="*/ 1069063 h 4687251"/>
              <a:gd name="connsiteX21812" fmla="*/ 2292305 w 8079933"/>
              <a:gd name="connsiteY21812" fmla="*/ 1074585 h 4687251"/>
              <a:gd name="connsiteX21813" fmla="*/ 2293498 w 8079933"/>
              <a:gd name="connsiteY21813" fmla="*/ 1077509 h 4687251"/>
              <a:gd name="connsiteX21814" fmla="*/ 2296754 w 8079933"/>
              <a:gd name="connsiteY21814" fmla="*/ 1077509 h 4687251"/>
              <a:gd name="connsiteX21815" fmla="*/ 2298273 w 8079933"/>
              <a:gd name="connsiteY21815" fmla="*/ 1083030 h 4687251"/>
              <a:gd name="connsiteX21816" fmla="*/ 2298273 w 8079933"/>
              <a:gd name="connsiteY21816" fmla="*/ 1085087 h 4687251"/>
              <a:gd name="connsiteX21817" fmla="*/ 2304133 w 8079933"/>
              <a:gd name="connsiteY21817" fmla="*/ 1087469 h 4687251"/>
              <a:gd name="connsiteX21818" fmla="*/ 2310427 w 8079933"/>
              <a:gd name="connsiteY21818" fmla="*/ 1094399 h 4687251"/>
              <a:gd name="connsiteX21819" fmla="*/ 2310427 w 8079933"/>
              <a:gd name="connsiteY21819" fmla="*/ 1097647 h 4687251"/>
              <a:gd name="connsiteX21820" fmla="*/ 2313032 w 8079933"/>
              <a:gd name="connsiteY21820" fmla="*/ 1099921 h 4687251"/>
              <a:gd name="connsiteX21821" fmla="*/ 2313032 w 8079933"/>
              <a:gd name="connsiteY21821" fmla="*/ 1102303 h 4687251"/>
              <a:gd name="connsiteX21822" fmla="*/ 2311512 w 8079933"/>
              <a:gd name="connsiteY21822" fmla="*/ 1105117 h 4687251"/>
              <a:gd name="connsiteX21823" fmla="*/ 2311512 w 8079933"/>
              <a:gd name="connsiteY21823" fmla="*/ 1110206 h 4687251"/>
              <a:gd name="connsiteX21824" fmla="*/ 2313032 w 8079933"/>
              <a:gd name="connsiteY21824" fmla="*/ 1111613 h 4687251"/>
              <a:gd name="connsiteX21825" fmla="*/ 2313032 w 8079933"/>
              <a:gd name="connsiteY21825" fmla="*/ 1114754 h 4687251"/>
              <a:gd name="connsiteX21826" fmla="*/ 2309559 w 8079933"/>
              <a:gd name="connsiteY21826" fmla="*/ 1117352 h 4687251"/>
              <a:gd name="connsiteX21827" fmla="*/ 2306412 w 8079933"/>
              <a:gd name="connsiteY21827" fmla="*/ 1117352 h 4687251"/>
              <a:gd name="connsiteX21828" fmla="*/ 2302288 w 8079933"/>
              <a:gd name="connsiteY21828" fmla="*/ 1119842 h 4687251"/>
              <a:gd name="connsiteX21829" fmla="*/ 2305436 w 8079933"/>
              <a:gd name="connsiteY21829" fmla="*/ 1122441 h 4687251"/>
              <a:gd name="connsiteX21830" fmla="*/ 2312815 w 8079933"/>
              <a:gd name="connsiteY21830" fmla="*/ 1122441 h 4687251"/>
              <a:gd name="connsiteX21831" fmla="*/ 2315962 w 8079933"/>
              <a:gd name="connsiteY21831" fmla="*/ 1119084 h 4687251"/>
              <a:gd name="connsiteX21832" fmla="*/ 2317589 w 8079933"/>
              <a:gd name="connsiteY21832" fmla="*/ 1118326 h 4687251"/>
              <a:gd name="connsiteX21833" fmla="*/ 2317589 w 8079933"/>
              <a:gd name="connsiteY21833" fmla="*/ 1121358 h 4687251"/>
              <a:gd name="connsiteX21834" fmla="*/ 2321604 w 8079933"/>
              <a:gd name="connsiteY21834" fmla="*/ 1123199 h 4687251"/>
              <a:gd name="connsiteX21835" fmla="*/ 2323449 w 8079933"/>
              <a:gd name="connsiteY21835" fmla="*/ 1124389 h 4687251"/>
              <a:gd name="connsiteX21836" fmla="*/ 2325294 w 8079933"/>
              <a:gd name="connsiteY21836" fmla="*/ 1123090 h 4687251"/>
              <a:gd name="connsiteX21837" fmla="*/ 2325294 w 8079933"/>
              <a:gd name="connsiteY21837" fmla="*/ 1120275 h 4687251"/>
              <a:gd name="connsiteX21838" fmla="*/ 2327030 w 8079933"/>
              <a:gd name="connsiteY21838" fmla="*/ 1119517 h 4687251"/>
              <a:gd name="connsiteX21839" fmla="*/ 2328875 w 8079933"/>
              <a:gd name="connsiteY21839" fmla="*/ 1123199 h 4687251"/>
              <a:gd name="connsiteX21840" fmla="*/ 2331697 w 8079933"/>
              <a:gd name="connsiteY21840" fmla="*/ 1124389 h 4687251"/>
              <a:gd name="connsiteX21841" fmla="*/ 2330177 w 8079933"/>
              <a:gd name="connsiteY21841" fmla="*/ 1127096 h 4687251"/>
              <a:gd name="connsiteX21842" fmla="*/ 2327355 w 8079933"/>
              <a:gd name="connsiteY21842" fmla="*/ 1128070 h 4687251"/>
              <a:gd name="connsiteX21843" fmla="*/ 2329635 w 8079933"/>
              <a:gd name="connsiteY21843" fmla="*/ 1130994 h 4687251"/>
              <a:gd name="connsiteX21844" fmla="*/ 2332456 w 8079933"/>
              <a:gd name="connsiteY21844" fmla="*/ 1132618 h 4687251"/>
              <a:gd name="connsiteX21845" fmla="*/ 2331480 w 8079933"/>
              <a:gd name="connsiteY21845" fmla="*/ 1134892 h 4687251"/>
              <a:gd name="connsiteX21846" fmla="*/ 2327464 w 8079933"/>
              <a:gd name="connsiteY21846" fmla="*/ 1134892 h 4687251"/>
              <a:gd name="connsiteX21847" fmla="*/ 2323774 w 8079933"/>
              <a:gd name="connsiteY21847" fmla="*/ 1138790 h 4687251"/>
              <a:gd name="connsiteX21848" fmla="*/ 2321062 w 8079933"/>
              <a:gd name="connsiteY21848" fmla="*/ 1139764 h 4687251"/>
              <a:gd name="connsiteX21849" fmla="*/ 2318458 w 8079933"/>
              <a:gd name="connsiteY21849" fmla="*/ 1145178 h 4687251"/>
              <a:gd name="connsiteX21850" fmla="*/ 2316396 w 8079933"/>
              <a:gd name="connsiteY21850" fmla="*/ 1146476 h 4687251"/>
              <a:gd name="connsiteX21851" fmla="*/ 2310644 w 8079933"/>
              <a:gd name="connsiteY21851" fmla="*/ 1143012 h 4687251"/>
              <a:gd name="connsiteX21852" fmla="*/ 2308040 w 8079933"/>
              <a:gd name="connsiteY21852" fmla="*/ 1143012 h 4687251"/>
              <a:gd name="connsiteX21853" fmla="*/ 2305436 w 8079933"/>
              <a:gd name="connsiteY21853" fmla="*/ 1140630 h 4687251"/>
              <a:gd name="connsiteX21854" fmla="*/ 2301203 w 8079933"/>
              <a:gd name="connsiteY21854" fmla="*/ 1140630 h 4687251"/>
              <a:gd name="connsiteX21855" fmla="*/ 2299793 w 8079933"/>
              <a:gd name="connsiteY21855" fmla="*/ 1137707 h 4687251"/>
              <a:gd name="connsiteX21856" fmla="*/ 2296971 w 8079933"/>
              <a:gd name="connsiteY21856" fmla="*/ 1138356 h 4687251"/>
              <a:gd name="connsiteX21857" fmla="*/ 2295452 w 8079933"/>
              <a:gd name="connsiteY21857" fmla="*/ 1136949 h 4687251"/>
              <a:gd name="connsiteX21858" fmla="*/ 2292305 w 8079933"/>
              <a:gd name="connsiteY21858" fmla="*/ 1136949 h 4687251"/>
              <a:gd name="connsiteX21859" fmla="*/ 2290352 w 8079933"/>
              <a:gd name="connsiteY21859" fmla="*/ 1138248 h 4687251"/>
              <a:gd name="connsiteX21860" fmla="*/ 2287422 w 8079933"/>
              <a:gd name="connsiteY21860" fmla="*/ 1136840 h 4687251"/>
              <a:gd name="connsiteX21861" fmla="*/ 2287422 w 8079933"/>
              <a:gd name="connsiteY21861" fmla="*/ 1131211 h 4687251"/>
              <a:gd name="connsiteX21862" fmla="*/ 2290352 w 8079933"/>
              <a:gd name="connsiteY21862" fmla="*/ 1130345 h 4687251"/>
              <a:gd name="connsiteX21863" fmla="*/ 2293173 w 8079933"/>
              <a:gd name="connsiteY21863" fmla="*/ 1125905 h 4687251"/>
              <a:gd name="connsiteX21864" fmla="*/ 2292088 w 8079933"/>
              <a:gd name="connsiteY21864" fmla="*/ 1122549 h 4687251"/>
              <a:gd name="connsiteX21865" fmla="*/ 2288941 w 8079933"/>
              <a:gd name="connsiteY21865" fmla="*/ 1121358 h 4687251"/>
              <a:gd name="connsiteX21866" fmla="*/ 2284166 w 8079933"/>
              <a:gd name="connsiteY21866" fmla="*/ 1121358 h 4687251"/>
              <a:gd name="connsiteX21867" fmla="*/ 2280476 w 8079933"/>
              <a:gd name="connsiteY21867" fmla="*/ 1118976 h 4687251"/>
              <a:gd name="connsiteX21868" fmla="*/ 2282429 w 8079933"/>
              <a:gd name="connsiteY21868" fmla="*/ 1116378 h 4687251"/>
              <a:gd name="connsiteX21869" fmla="*/ 2285468 w 8079933"/>
              <a:gd name="connsiteY21869" fmla="*/ 1113779 h 4687251"/>
              <a:gd name="connsiteX21870" fmla="*/ 2284817 w 8079933"/>
              <a:gd name="connsiteY21870" fmla="*/ 1109990 h 4687251"/>
              <a:gd name="connsiteX21871" fmla="*/ 2282538 w 8079933"/>
              <a:gd name="connsiteY21871" fmla="*/ 1108799 h 4687251"/>
              <a:gd name="connsiteX21872" fmla="*/ 2279825 w 8079933"/>
              <a:gd name="connsiteY21872" fmla="*/ 1109881 h 4687251"/>
              <a:gd name="connsiteX21873" fmla="*/ 2277546 w 8079933"/>
              <a:gd name="connsiteY21873" fmla="*/ 1112264 h 4687251"/>
              <a:gd name="connsiteX21874" fmla="*/ 2275376 w 8079933"/>
              <a:gd name="connsiteY21874" fmla="*/ 1110315 h 4687251"/>
              <a:gd name="connsiteX21875" fmla="*/ 2272447 w 8079933"/>
              <a:gd name="connsiteY21875" fmla="*/ 1110315 h 4687251"/>
              <a:gd name="connsiteX21876" fmla="*/ 2270927 w 8079933"/>
              <a:gd name="connsiteY21876" fmla="*/ 1113346 h 4687251"/>
              <a:gd name="connsiteX21877" fmla="*/ 2266912 w 8079933"/>
              <a:gd name="connsiteY21877" fmla="*/ 1116052 h 4687251"/>
              <a:gd name="connsiteX21878" fmla="*/ 2266912 w 8079933"/>
              <a:gd name="connsiteY21878" fmla="*/ 1121791 h 4687251"/>
              <a:gd name="connsiteX21879" fmla="*/ 2265176 w 8079933"/>
              <a:gd name="connsiteY21879" fmla="*/ 1127854 h 4687251"/>
              <a:gd name="connsiteX21880" fmla="*/ 2262354 w 8079933"/>
              <a:gd name="connsiteY21880" fmla="*/ 1127854 h 4687251"/>
              <a:gd name="connsiteX21881" fmla="*/ 2260075 w 8079933"/>
              <a:gd name="connsiteY21881" fmla="*/ 1129370 h 4687251"/>
              <a:gd name="connsiteX21882" fmla="*/ 2256603 w 8079933"/>
              <a:gd name="connsiteY21882" fmla="*/ 1131860 h 4687251"/>
              <a:gd name="connsiteX21883" fmla="*/ 2254432 w 8079933"/>
              <a:gd name="connsiteY21883" fmla="*/ 1129695 h 4687251"/>
              <a:gd name="connsiteX21884" fmla="*/ 2252370 w 8079933"/>
              <a:gd name="connsiteY21884" fmla="*/ 1129695 h 4687251"/>
              <a:gd name="connsiteX21885" fmla="*/ 2250092 w 8079933"/>
              <a:gd name="connsiteY21885" fmla="*/ 1133268 h 4687251"/>
              <a:gd name="connsiteX21886" fmla="*/ 2246945 w 8079933"/>
              <a:gd name="connsiteY21886" fmla="*/ 1135974 h 4687251"/>
              <a:gd name="connsiteX21887" fmla="*/ 2245642 w 8079933"/>
              <a:gd name="connsiteY21887" fmla="*/ 1141063 h 4687251"/>
              <a:gd name="connsiteX21888" fmla="*/ 2241736 w 8079933"/>
              <a:gd name="connsiteY21888" fmla="*/ 1144636 h 4687251"/>
              <a:gd name="connsiteX21889" fmla="*/ 2238480 w 8079933"/>
              <a:gd name="connsiteY21889" fmla="*/ 1144636 h 4687251"/>
              <a:gd name="connsiteX21890" fmla="*/ 2235008 w 8079933"/>
              <a:gd name="connsiteY21890" fmla="*/ 1146585 h 4687251"/>
              <a:gd name="connsiteX21891" fmla="*/ 2233923 w 8079933"/>
              <a:gd name="connsiteY21891" fmla="*/ 1148533 h 4687251"/>
              <a:gd name="connsiteX21892" fmla="*/ 2230016 w 8079933"/>
              <a:gd name="connsiteY21892" fmla="*/ 1148533 h 4687251"/>
              <a:gd name="connsiteX21893" fmla="*/ 2227412 w 8079933"/>
              <a:gd name="connsiteY21893" fmla="*/ 1150266 h 4687251"/>
              <a:gd name="connsiteX21894" fmla="*/ 2223939 w 8079933"/>
              <a:gd name="connsiteY21894" fmla="*/ 1150266 h 4687251"/>
              <a:gd name="connsiteX21895" fmla="*/ 2222203 w 8079933"/>
              <a:gd name="connsiteY21895" fmla="*/ 1148967 h 4687251"/>
              <a:gd name="connsiteX21896" fmla="*/ 2219598 w 8079933"/>
              <a:gd name="connsiteY21896" fmla="*/ 1150266 h 4687251"/>
              <a:gd name="connsiteX21897" fmla="*/ 2218622 w 8079933"/>
              <a:gd name="connsiteY21897" fmla="*/ 1148318 h 4687251"/>
              <a:gd name="connsiteX21898" fmla="*/ 2218622 w 8079933"/>
              <a:gd name="connsiteY21898" fmla="*/ 1141929 h 4687251"/>
              <a:gd name="connsiteX21899" fmla="*/ 2221335 w 8079933"/>
              <a:gd name="connsiteY21899" fmla="*/ 1138140 h 4687251"/>
              <a:gd name="connsiteX21900" fmla="*/ 2220575 w 8079933"/>
              <a:gd name="connsiteY21900" fmla="*/ 1134351 h 4687251"/>
              <a:gd name="connsiteX21901" fmla="*/ 2224156 w 8079933"/>
              <a:gd name="connsiteY21901" fmla="*/ 1129695 h 4687251"/>
              <a:gd name="connsiteX21902" fmla="*/ 2223505 w 8079933"/>
              <a:gd name="connsiteY21902" fmla="*/ 1126880 h 4687251"/>
              <a:gd name="connsiteX21903" fmla="*/ 2220901 w 8079933"/>
              <a:gd name="connsiteY21903" fmla="*/ 1125147 h 4687251"/>
              <a:gd name="connsiteX21904" fmla="*/ 2218622 w 8079933"/>
              <a:gd name="connsiteY21904" fmla="*/ 1125147 h 4687251"/>
              <a:gd name="connsiteX21905" fmla="*/ 2216777 w 8079933"/>
              <a:gd name="connsiteY21905" fmla="*/ 1126231 h 4687251"/>
              <a:gd name="connsiteX21906" fmla="*/ 2213087 w 8079933"/>
              <a:gd name="connsiteY21906" fmla="*/ 1126231 h 4687251"/>
              <a:gd name="connsiteX21907" fmla="*/ 2210049 w 8079933"/>
              <a:gd name="connsiteY21907" fmla="*/ 1124498 h 4687251"/>
              <a:gd name="connsiteX21908" fmla="*/ 2208421 w 8079933"/>
              <a:gd name="connsiteY21908" fmla="*/ 1123307 h 4687251"/>
              <a:gd name="connsiteX21909" fmla="*/ 2206142 w 8079933"/>
              <a:gd name="connsiteY21909" fmla="*/ 1124173 h 4687251"/>
              <a:gd name="connsiteX21910" fmla="*/ 2205166 w 8079933"/>
              <a:gd name="connsiteY21910" fmla="*/ 1128179 h 4687251"/>
              <a:gd name="connsiteX21911" fmla="*/ 2203104 w 8079933"/>
              <a:gd name="connsiteY21911" fmla="*/ 1128179 h 4687251"/>
              <a:gd name="connsiteX21912" fmla="*/ 2202236 w 8079933"/>
              <a:gd name="connsiteY21912" fmla="*/ 1123199 h 4687251"/>
              <a:gd name="connsiteX21913" fmla="*/ 2204623 w 8079933"/>
              <a:gd name="connsiteY21913" fmla="*/ 1115078 h 4687251"/>
              <a:gd name="connsiteX21914" fmla="*/ 2204623 w 8079933"/>
              <a:gd name="connsiteY21914" fmla="*/ 1110748 h 4687251"/>
              <a:gd name="connsiteX21915" fmla="*/ 2212328 w 8079933"/>
              <a:gd name="connsiteY21915" fmla="*/ 1107607 h 4687251"/>
              <a:gd name="connsiteX21916" fmla="*/ 2218188 w 8079933"/>
              <a:gd name="connsiteY21916" fmla="*/ 1107607 h 4687251"/>
              <a:gd name="connsiteX21917" fmla="*/ 2220901 w 8079933"/>
              <a:gd name="connsiteY21917" fmla="*/ 1104685 h 4687251"/>
              <a:gd name="connsiteX21918" fmla="*/ 2220901 w 8079933"/>
              <a:gd name="connsiteY21918" fmla="*/ 1097864 h 4687251"/>
              <a:gd name="connsiteX21919" fmla="*/ 2222094 w 8079933"/>
              <a:gd name="connsiteY21919" fmla="*/ 1095265 h 4687251"/>
              <a:gd name="connsiteX21920" fmla="*/ 2222094 w 8079933"/>
              <a:gd name="connsiteY21920" fmla="*/ 1088769 h 4687251"/>
              <a:gd name="connsiteX21921" fmla="*/ 2224156 w 8079933"/>
              <a:gd name="connsiteY21921" fmla="*/ 1084763 h 4687251"/>
              <a:gd name="connsiteX21922" fmla="*/ 2230125 w 8079933"/>
              <a:gd name="connsiteY21922" fmla="*/ 1079457 h 4687251"/>
              <a:gd name="connsiteX21923" fmla="*/ 2230125 w 8079933"/>
              <a:gd name="connsiteY21923" fmla="*/ 1075668 h 4687251"/>
              <a:gd name="connsiteX21924" fmla="*/ 2231319 w 8079933"/>
              <a:gd name="connsiteY21924" fmla="*/ 1071337 h 4687251"/>
              <a:gd name="connsiteX21925" fmla="*/ 2233923 w 8079933"/>
              <a:gd name="connsiteY21925" fmla="*/ 1069930 h 4687251"/>
              <a:gd name="connsiteX21926" fmla="*/ 2232187 w 8079933"/>
              <a:gd name="connsiteY21926" fmla="*/ 1066682 h 4687251"/>
              <a:gd name="connsiteX21927" fmla="*/ 2236853 w 8079933"/>
              <a:gd name="connsiteY21927" fmla="*/ 1059102 h 4687251"/>
              <a:gd name="connsiteX21928" fmla="*/ 2236853 w 8079933"/>
              <a:gd name="connsiteY21928" fmla="*/ 1056179 h 4687251"/>
              <a:gd name="connsiteX21929" fmla="*/ 2239783 w 8079933"/>
              <a:gd name="connsiteY21929" fmla="*/ 1052173 h 4687251"/>
              <a:gd name="connsiteX21930" fmla="*/ 2239783 w 8079933"/>
              <a:gd name="connsiteY21930" fmla="*/ 1048709 h 4687251"/>
              <a:gd name="connsiteX21931" fmla="*/ 2244123 w 8079933"/>
              <a:gd name="connsiteY21931" fmla="*/ 1042321 h 4687251"/>
              <a:gd name="connsiteX21932" fmla="*/ 2247704 w 8079933"/>
              <a:gd name="connsiteY21932" fmla="*/ 1033226 h 4687251"/>
              <a:gd name="connsiteX21933" fmla="*/ 2252370 w 8079933"/>
              <a:gd name="connsiteY21933" fmla="*/ 1029220 h 4687251"/>
              <a:gd name="connsiteX21934" fmla="*/ 4312017 w 8079933"/>
              <a:gd name="connsiteY21934" fmla="*/ 1023914 h 4687251"/>
              <a:gd name="connsiteX21935" fmla="*/ 4308219 w 8079933"/>
              <a:gd name="connsiteY21935" fmla="*/ 1025971 h 4687251"/>
              <a:gd name="connsiteX21936" fmla="*/ 4308219 w 8079933"/>
              <a:gd name="connsiteY21936" fmla="*/ 1025972 h 4687251"/>
              <a:gd name="connsiteX21937" fmla="*/ 4312017 w 8079933"/>
              <a:gd name="connsiteY21937" fmla="*/ 1023915 h 4687251"/>
              <a:gd name="connsiteX21938" fmla="*/ 890597 w 8079933"/>
              <a:gd name="connsiteY21938" fmla="*/ 1023590 h 4687251"/>
              <a:gd name="connsiteX21939" fmla="*/ 894071 w 8079933"/>
              <a:gd name="connsiteY21939" fmla="*/ 1023915 h 4687251"/>
              <a:gd name="connsiteX21940" fmla="*/ 894503 w 8079933"/>
              <a:gd name="connsiteY21940" fmla="*/ 1027488 h 4687251"/>
              <a:gd name="connsiteX21941" fmla="*/ 889837 w 8079933"/>
              <a:gd name="connsiteY21941" fmla="*/ 1026838 h 4687251"/>
              <a:gd name="connsiteX21942" fmla="*/ 2730604 w 8079933"/>
              <a:gd name="connsiteY21942" fmla="*/ 1022940 h 4687251"/>
              <a:gd name="connsiteX21943" fmla="*/ 2732883 w 8079933"/>
              <a:gd name="connsiteY21943" fmla="*/ 1024348 h 4687251"/>
              <a:gd name="connsiteX21944" fmla="*/ 2730279 w 8079933"/>
              <a:gd name="connsiteY21944" fmla="*/ 1028787 h 4687251"/>
              <a:gd name="connsiteX21945" fmla="*/ 2727457 w 8079933"/>
              <a:gd name="connsiteY21945" fmla="*/ 1029761 h 4687251"/>
              <a:gd name="connsiteX21946" fmla="*/ 2725504 w 8079933"/>
              <a:gd name="connsiteY21946" fmla="*/ 1030736 h 4687251"/>
              <a:gd name="connsiteX21947" fmla="*/ 2725504 w 8079933"/>
              <a:gd name="connsiteY21947" fmla="*/ 1026188 h 4687251"/>
              <a:gd name="connsiteX21948" fmla="*/ 2728976 w 8079933"/>
              <a:gd name="connsiteY21948" fmla="*/ 1024239 h 4687251"/>
              <a:gd name="connsiteX21949" fmla="*/ 4247884 w 8079933"/>
              <a:gd name="connsiteY21949" fmla="*/ 1020017 h 4687251"/>
              <a:gd name="connsiteX21950" fmla="*/ 4250488 w 8079933"/>
              <a:gd name="connsiteY21950" fmla="*/ 1024023 h 4687251"/>
              <a:gd name="connsiteX21951" fmla="*/ 4246256 w 8079933"/>
              <a:gd name="connsiteY21951" fmla="*/ 1025864 h 4687251"/>
              <a:gd name="connsiteX21952" fmla="*/ 2272012 w 8079933"/>
              <a:gd name="connsiteY21952" fmla="*/ 1019692 h 4687251"/>
              <a:gd name="connsiteX21953" fmla="*/ 2274942 w 8079933"/>
              <a:gd name="connsiteY21953" fmla="*/ 1019800 h 4687251"/>
              <a:gd name="connsiteX21954" fmla="*/ 2275810 w 8079933"/>
              <a:gd name="connsiteY21954" fmla="*/ 1023806 h 4687251"/>
              <a:gd name="connsiteX21955" fmla="*/ 2273965 w 8079933"/>
              <a:gd name="connsiteY21955" fmla="*/ 1025106 h 4687251"/>
              <a:gd name="connsiteX21956" fmla="*/ 2274291 w 8079933"/>
              <a:gd name="connsiteY21956" fmla="*/ 1028029 h 4687251"/>
              <a:gd name="connsiteX21957" fmla="*/ 2276353 w 8079933"/>
              <a:gd name="connsiteY21957" fmla="*/ 1031277 h 4687251"/>
              <a:gd name="connsiteX21958" fmla="*/ 2273097 w 8079933"/>
              <a:gd name="connsiteY21958" fmla="*/ 1039073 h 4687251"/>
              <a:gd name="connsiteX21959" fmla="*/ 2270384 w 8079933"/>
              <a:gd name="connsiteY21959" fmla="*/ 1039939 h 4687251"/>
              <a:gd name="connsiteX21960" fmla="*/ 2270710 w 8079933"/>
              <a:gd name="connsiteY21960" fmla="*/ 1035608 h 4687251"/>
              <a:gd name="connsiteX21961" fmla="*/ 2269625 w 8079933"/>
              <a:gd name="connsiteY21961" fmla="*/ 1033010 h 4687251"/>
              <a:gd name="connsiteX21962" fmla="*/ 2270493 w 8079933"/>
              <a:gd name="connsiteY21962" fmla="*/ 1029978 h 4687251"/>
              <a:gd name="connsiteX21963" fmla="*/ 2270493 w 8079933"/>
              <a:gd name="connsiteY21963" fmla="*/ 1023481 h 4687251"/>
              <a:gd name="connsiteX21964" fmla="*/ 4224769 w 8079933"/>
              <a:gd name="connsiteY21964" fmla="*/ 1018609 h 4687251"/>
              <a:gd name="connsiteX21965" fmla="*/ 4221839 w 8079933"/>
              <a:gd name="connsiteY21965" fmla="*/ 1031060 h 4687251"/>
              <a:gd name="connsiteX21966" fmla="*/ 4223033 w 8079933"/>
              <a:gd name="connsiteY21966" fmla="*/ 1035607 h 4687251"/>
              <a:gd name="connsiteX21967" fmla="*/ 4226288 w 8079933"/>
              <a:gd name="connsiteY21967" fmla="*/ 1029544 h 4687251"/>
              <a:gd name="connsiteX21968" fmla="*/ 4233884 w 8079933"/>
              <a:gd name="connsiteY21968" fmla="*/ 1029219 h 4687251"/>
              <a:gd name="connsiteX21969" fmla="*/ 4230954 w 8079933"/>
              <a:gd name="connsiteY21969" fmla="*/ 1025105 h 4687251"/>
              <a:gd name="connsiteX21970" fmla="*/ 4230737 w 8079933"/>
              <a:gd name="connsiteY21970" fmla="*/ 1021640 h 4687251"/>
              <a:gd name="connsiteX21971" fmla="*/ 4233992 w 8079933"/>
              <a:gd name="connsiteY21971" fmla="*/ 1024131 h 4687251"/>
              <a:gd name="connsiteX21972" fmla="*/ 4240069 w 8079933"/>
              <a:gd name="connsiteY21972" fmla="*/ 1029977 h 4687251"/>
              <a:gd name="connsiteX21973" fmla="*/ 4231931 w 8079933"/>
              <a:gd name="connsiteY21973" fmla="*/ 1038855 h 4687251"/>
              <a:gd name="connsiteX21974" fmla="*/ 4226396 w 8079933"/>
              <a:gd name="connsiteY21974" fmla="*/ 1041994 h 4687251"/>
              <a:gd name="connsiteX21975" fmla="*/ 4224552 w 8079933"/>
              <a:gd name="connsiteY21975" fmla="*/ 1045784 h 4687251"/>
              <a:gd name="connsiteX21976" fmla="*/ 4220862 w 8079933"/>
              <a:gd name="connsiteY21976" fmla="*/ 1044485 h 4687251"/>
              <a:gd name="connsiteX21977" fmla="*/ 4221405 w 8079933"/>
              <a:gd name="connsiteY21977" fmla="*/ 1039829 h 4687251"/>
              <a:gd name="connsiteX21978" fmla="*/ 4215762 w 8079933"/>
              <a:gd name="connsiteY21978" fmla="*/ 1047300 h 4687251"/>
              <a:gd name="connsiteX21979" fmla="*/ 4213158 w 8079933"/>
              <a:gd name="connsiteY21979" fmla="*/ 1047300 h 4687251"/>
              <a:gd name="connsiteX21980" fmla="*/ 4214026 w 8079933"/>
              <a:gd name="connsiteY21980" fmla="*/ 1041453 h 4687251"/>
              <a:gd name="connsiteX21981" fmla="*/ 4216521 w 8079933"/>
              <a:gd name="connsiteY21981" fmla="*/ 1040046 h 4687251"/>
              <a:gd name="connsiteX21982" fmla="*/ 4215762 w 8079933"/>
              <a:gd name="connsiteY21982" fmla="*/ 1035715 h 4687251"/>
              <a:gd name="connsiteX21983" fmla="*/ 4219018 w 8079933"/>
              <a:gd name="connsiteY21983" fmla="*/ 1031818 h 4687251"/>
              <a:gd name="connsiteX21984" fmla="*/ 4219018 w 8079933"/>
              <a:gd name="connsiteY21984" fmla="*/ 1027378 h 4687251"/>
              <a:gd name="connsiteX21985" fmla="*/ 4213049 w 8079933"/>
              <a:gd name="connsiteY21985" fmla="*/ 1018609 h 4687251"/>
              <a:gd name="connsiteX21986" fmla="*/ 4214568 w 8079933"/>
              <a:gd name="connsiteY21986" fmla="*/ 1024889 h 4687251"/>
              <a:gd name="connsiteX21987" fmla="*/ 4214785 w 8079933"/>
              <a:gd name="connsiteY21987" fmla="*/ 1032793 h 4687251"/>
              <a:gd name="connsiteX21988" fmla="*/ 4208382 w 8079933"/>
              <a:gd name="connsiteY21988" fmla="*/ 1034742 h 4687251"/>
              <a:gd name="connsiteX21989" fmla="*/ 4205778 w 8079933"/>
              <a:gd name="connsiteY21989" fmla="*/ 1032468 h 4687251"/>
              <a:gd name="connsiteX21990" fmla="*/ 4211638 w 8079933"/>
              <a:gd name="connsiteY21990" fmla="*/ 1028354 h 4687251"/>
              <a:gd name="connsiteX21991" fmla="*/ 4208382 w 8079933"/>
              <a:gd name="connsiteY21991" fmla="*/ 1028245 h 4687251"/>
              <a:gd name="connsiteX21992" fmla="*/ 4202306 w 8079933"/>
              <a:gd name="connsiteY21992" fmla="*/ 1033009 h 4687251"/>
              <a:gd name="connsiteX21993" fmla="*/ 4200461 w 8079933"/>
              <a:gd name="connsiteY21993" fmla="*/ 1029870 h 4687251"/>
              <a:gd name="connsiteX21994" fmla="*/ 4202197 w 8079933"/>
              <a:gd name="connsiteY21994" fmla="*/ 1025105 h 4687251"/>
              <a:gd name="connsiteX21995" fmla="*/ 4206646 w 8079933"/>
              <a:gd name="connsiteY21995" fmla="*/ 1026080 h 4687251"/>
              <a:gd name="connsiteX21996" fmla="*/ 4210770 w 8079933"/>
              <a:gd name="connsiteY21996" fmla="*/ 1021315 h 4687251"/>
              <a:gd name="connsiteX21997" fmla="*/ 4209902 w 8079933"/>
              <a:gd name="connsiteY21997" fmla="*/ 1019042 h 4687251"/>
              <a:gd name="connsiteX21998" fmla="*/ 2909440 w 8079933"/>
              <a:gd name="connsiteY21998" fmla="*/ 1018609 h 4687251"/>
              <a:gd name="connsiteX21999" fmla="*/ 2911719 w 8079933"/>
              <a:gd name="connsiteY21999" fmla="*/ 1018609 h 4687251"/>
              <a:gd name="connsiteX22000" fmla="*/ 2911393 w 8079933"/>
              <a:gd name="connsiteY22000" fmla="*/ 1020558 h 4687251"/>
              <a:gd name="connsiteX22001" fmla="*/ 2908680 w 8079933"/>
              <a:gd name="connsiteY22001" fmla="*/ 1023589 h 4687251"/>
              <a:gd name="connsiteX22002" fmla="*/ 2906510 w 8079933"/>
              <a:gd name="connsiteY22002" fmla="*/ 1024023 h 4687251"/>
              <a:gd name="connsiteX22003" fmla="*/ 2905317 w 8079933"/>
              <a:gd name="connsiteY22003" fmla="*/ 1022831 h 4687251"/>
              <a:gd name="connsiteX22004" fmla="*/ 2906402 w 8079933"/>
              <a:gd name="connsiteY22004" fmla="*/ 1021424 h 4687251"/>
              <a:gd name="connsiteX22005" fmla="*/ 4235295 w 8079933"/>
              <a:gd name="connsiteY22005" fmla="*/ 1015903 h 4687251"/>
              <a:gd name="connsiteX22006" fmla="*/ 4240070 w 8079933"/>
              <a:gd name="connsiteY22006" fmla="*/ 1018393 h 4687251"/>
              <a:gd name="connsiteX22007" fmla="*/ 4240070 w 8079933"/>
              <a:gd name="connsiteY22007" fmla="*/ 1021641 h 4687251"/>
              <a:gd name="connsiteX22008" fmla="*/ 4233233 w 8079933"/>
              <a:gd name="connsiteY22008" fmla="*/ 1018825 h 4687251"/>
              <a:gd name="connsiteX22009" fmla="*/ 4231823 w 8079933"/>
              <a:gd name="connsiteY22009" fmla="*/ 1017310 h 4687251"/>
              <a:gd name="connsiteX22010" fmla="*/ 2289158 w 8079933"/>
              <a:gd name="connsiteY22010" fmla="*/ 1015578 h 4687251"/>
              <a:gd name="connsiteX22011" fmla="*/ 2290460 w 8079933"/>
              <a:gd name="connsiteY22011" fmla="*/ 1020341 h 4687251"/>
              <a:gd name="connsiteX22012" fmla="*/ 2294801 w 8079933"/>
              <a:gd name="connsiteY22012" fmla="*/ 1022074 h 4687251"/>
              <a:gd name="connsiteX22013" fmla="*/ 2295777 w 8079933"/>
              <a:gd name="connsiteY22013" fmla="*/ 1025106 h 4687251"/>
              <a:gd name="connsiteX22014" fmla="*/ 2298599 w 8079933"/>
              <a:gd name="connsiteY22014" fmla="*/ 1027379 h 4687251"/>
              <a:gd name="connsiteX22015" fmla="*/ 2298599 w 8079933"/>
              <a:gd name="connsiteY22015" fmla="*/ 1034092 h 4687251"/>
              <a:gd name="connsiteX22016" fmla="*/ 2303373 w 8079933"/>
              <a:gd name="connsiteY22016" fmla="*/ 1036473 h 4687251"/>
              <a:gd name="connsiteX22017" fmla="*/ 2306629 w 8079933"/>
              <a:gd name="connsiteY22017" fmla="*/ 1036798 h 4687251"/>
              <a:gd name="connsiteX22018" fmla="*/ 2305978 w 8079933"/>
              <a:gd name="connsiteY22018" fmla="*/ 1041671 h 4687251"/>
              <a:gd name="connsiteX22019" fmla="*/ 2301312 w 8079933"/>
              <a:gd name="connsiteY22019" fmla="*/ 1040588 h 4687251"/>
              <a:gd name="connsiteX22020" fmla="*/ 2298056 w 8079933"/>
              <a:gd name="connsiteY22020" fmla="*/ 1041454 h 4687251"/>
              <a:gd name="connsiteX22021" fmla="*/ 2298056 w 8079933"/>
              <a:gd name="connsiteY22021" fmla="*/ 1038206 h 4687251"/>
              <a:gd name="connsiteX22022" fmla="*/ 2295452 w 8079933"/>
              <a:gd name="connsiteY22022" fmla="*/ 1035499 h 4687251"/>
              <a:gd name="connsiteX22023" fmla="*/ 2291003 w 8079933"/>
              <a:gd name="connsiteY22023" fmla="*/ 1033009 h 4687251"/>
              <a:gd name="connsiteX22024" fmla="*/ 2291654 w 8079933"/>
              <a:gd name="connsiteY22024" fmla="*/ 1030086 h 4687251"/>
              <a:gd name="connsiteX22025" fmla="*/ 2290352 w 8079933"/>
              <a:gd name="connsiteY22025" fmla="*/ 1025863 h 4687251"/>
              <a:gd name="connsiteX22026" fmla="*/ 2287422 w 8079933"/>
              <a:gd name="connsiteY22026" fmla="*/ 1023482 h 4687251"/>
              <a:gd name="connsiteX22027" fmla="*/ 2287747 w 8079933"/>
              <a:gd name="connsiteY22027" fmla="*/ 1017202 h 4687251"/>
              <a:gd name="connsiteX22028" fmla="*/ 901339 w 8079933"/>
              <a:gd name="connsiteY22028" fmla="*/ 1014820 h 4687251"/>
              <a:gd name="connsiteX22029" fmla="*/ 904594 w 8079933"/>
              <a:gd name="connsiteY22029" fmla="*/ 1016010 h 4687251"/>
              <a:gd name="connsiteX22030" fmla="*/ 902207 w 8079933"/>
              <a:gd name="connsiteY22030" fmla="*/ 1018177 h 4687251"/>
              <a:gd name="connsiteX22031" fmla="*/ 898953 w 8079933"/>
              <a:gd name="connsiteY22031" fmla="*/ 1016985 h 4687251"/>
              <a:gd name="connsiteX22032" fmla="*/ 2314985 w 8079933"/>
              <a:gd name="connsiteY22032" fmla="*/ 1014062 h 4687251"/>
              <a:gd name="connsiteX22033" fmla="*/ 2317155 w 8079933"/>
              <a:gd name="connsiteY22033" fmla="*/ 1014387 h 4687251"/>
              <a:gd name="connsiteX22034" fmla="*/ 2319868 w 8079933"/>
              <a:gd name="connsiteY22034" fmla="*/ 1016443 h 4687251"/>
              <a:gd name="connsiteX22035" fmla="*/ 2319651 w 8079933"/>
              <a:gd name="connsiteY22035" fmla="*/ 1018176 h 4687251"/>
              <a:gd name="connsiteX22036" fmla="*/ 2317155 w 8079933"/>
              <a:gd name="connsiteY22036" fmla="*/ 1017634 h 4687251"/>
              <a:gd name="connsiteX22037" fmla="*/ 2313683 w 8079933"/>
              <a:gd name="connsiteY22037" fmla="*/ 1014928 h 4687251"/>
              <a:gd name="connsiteX22038" fmla="*/ 4467534 w 8079933"/>
              <a:gd name="connsiteY22038" fmla="*/ 1012459 h 4687251"/>
              <a:gd name="connsiteX22039" fmla="*/ 4466003 w 8079933"/>
              <a:gd name="connsiteY22039" fmla="*/ 1013520 h 4687251"/>
              <a:gd name="connsiteX22040" fmla="*/ 4467280 w 8079933"/>
              <a:gd name="connsiteY22040" fmla="*/ 1013957 h 4687251"/>
              <a:gd name="connsiteX22041" fmla="*/ 4319288 w 8079933"/>
              <a:gd name="connsiteY22041" fmla="*/ 1011896 h 4687251"/>
              <a:gd name="connsiteX22042" fmla="*/ 4317551 w 8079933"/>
              <a:gd name="connsiteY22042" fmla="*/ 1012762 h 4687251"/>
              <a:gd name="connsiteX22043" fmla="*/ 4312125 w 8079933"/>
              <a:gd name="connsiteY22043" fmla="*/ 1013737 h 4687251"/>
              <a:gd name="connsiteX22044" fmla="*/ 4306699 w 8079933"/>
              <a:gd name="connsiteY22044" fmla="*/ 1012112 h 4687251"/>
              <a:gd name="connsiteX22045" fmla="*/ 4306699 w 8079933"/>
              <a:gd name="connsiteY22045" fmla="*/ 1012114 h 4687251"/>
              <a:gd name="connsiteX22046" fmla="*/ 4312125 w 8079933"/>
              <a:gd name="connsiteY22046" fmla="*/ 1013738 h 4687251"/>
              <a:gd name="connsiteX22047" fmla="*/ 4317551 w 8079933"/>
              <a:gd name="connsiteY22047" fmla="*/ 1012763 h 4687251"/>
              <a:gd name="connsiteX22048" fmla="*/ 4319287 w 8079933"/>
              <a:gd name="connsiteY22048" fmla="*/ 1011897 h 4687251"/>
              <a:gd name="connsiteX22049" fmla="*/ 4320412 w 8079933"/>
              <a:gd name="connsiteY22049" fmla="*/ 1013237 h 4687251"/>
              <a:gd name="connsiteX22050" fmla="*/ 4320412 w 8079933"/>
              <a:gd name="connsiteY22050" fmla="*/ 1013236 h 4687251"/>
              <a:gd name="connsiteX22051" fmla="*/ 4319288 w 8079933"/>
              <a:gd name="connsiteY22051" fmla="*/ 1011896 h 4687251"/>
              <a:gd name="connsiteX22052" fmla="*/ 878441 w 8079933"/>
              <a:gd name="connsiteY22052" fmla="*/ 1010489 h 4687251"/>
              <a:gd name="connsiteX22053" fmla="*/ 881698 w 8079933"/>
              <a:gd name="connsiteY22053" fmla="*/ 1012005 h 4687251"/>
              <a:gd name="connsiteX22054" fmla="*/ 880829 w 8079933"/>
              <a:gd name="connsiteY22054" fmla="*/ 1014820 h 4687251"/>
              <a:gd name="connsiteX22055" fmla="*/ 881480 w 8079933"/>
              <a:gd name="connsiteY22055" fmla="*/ 1017310 h 4687251"/>
              <a:gd name="connsiteX22056" fmla="*/ 879854 w 8079933"/>
              <a:gd name="connsiteY22056" fmla="*/ 1019584 h 4687251"/>
              <a:gd name="connsiteX22057" fmla="*/ 875729 w 8079933"/>
              <a:gd name="connsiteY22057" fmla="*/ 1013954 h 4687251"/>
              <a:gd name="connsiteX22058" fmla="*/ 4320264 w 8079933"/>
              <a:gd name="connsiteY22058" fmla="*/ 1010380 h 4687251"/>
              <a:gd name="connsiteX22059" fmla="*/ 4319288 w 8079933"/>
              <a:gd name="connsiteY22059" fmla="*/ 1011788 h 4687251"/>
              <a:gd name="connsiteX22060" fmla="*/ 4319288 w 8079933"/>
              <a:gd name="connsiteY22060" fmla="*/ 1011788 h 4687251"/>
              <a:gd name="connsiteX22061" fmla="*/ 4320441 w 8079933"/>
              <a:gd name="connsiteY22061" fmla="*/ 1013195 h 4687251"/>
              <a:gd name="connsiteX22062" fmla="*/ 4320591 w 8079933"/>
              <a:gd name="connsiteY22062" fmla="*/ 1012979 h 4687251"/>
              <a:gd name="connsiteX22063" fmla="*/ 4322652 w 8079933"/>
              <a:gd name="connsiteY22063" fmla="*/ 1013954 h 4687251"/>
              <a:gd name="connsiteX22064" fmla="*/ 4324280 w 8079933"/>
              <a:gd name="connsiteY22064" fmla="*/ 1012871 h 4687251"/>
              <a:gd name="connsiteX22065" fmla="*/ 4323377 w 8079933"/>
              <a:gd name="connsiteY22065" fmla="*/ 1010584 h 4687251"/>
              <a:gd name="connsiteX22066" fmla="*/ 4322217 w 8079933"/>
              <a:gd name="connsiteY22066" fmla="*/ 1011355 h 4687251"/>
              <a:gd name="connsiteX22067" fmla="*/ 786962 w 8079933"/>
              <a:gd name="connsiteY22067" fmla="*/ 1009623 h 4687251"/>
              <a:gd name="connsiteX22068" fmla="*/ 790544 w 8079933"/>
              <a:gd name="connsiteY22068" fmla="*/ 1009623 h 4687251"/>
              <a:gd name="connsiteX22069" fmla="*/ 790764 w 8079933"/>
              <a:gd name="connsiteY22069" fmla="*/ 1013304 h 4687251"/>
              <a:gd name="connsiteX22070" fmla="*/ 784684 w 8079933"/>
              <a:gd name="connsiteY22070" fmla="*/ 1017311 h 4687251"/>
              <a:gd name="connsiteX22071" fmla="*/ 780237 w 8079933"/>
              <a:gd name="connsiteY22071" fmla="*/ 1016878 h 4687251"/>
              <a:gd name="connsiteX22072" fmla="*/ 7383580 w 8079933"/>
              <a:gd name="connsiteY22072" fmla="*/ 1007024 h 4687251"/>
              <a:gd name="connsiteX22073" fmla="*/ 7386186 w 8079933"/>
              <a:gd name="connsiteY22073" fmla="*/ 1007890 h 4687251"/>
              <a:gd name="connsiteX22074" fmla="*/ 7391719 w 8079933"/>
              <a:gd name="connsiteY22074" fmla="*/ 1014169 h 4687251"/>
              <a:gd name="connsiteX22075" fmla="*/ 7394215 w 8079933"/>
              <a:gd name="connsiteY22075" fmla="*/ 1020124 h 4687251"/>
              <a:gd name="connsiteX22076" fmla="*/ 7395518 w 8079933"/>
              <a:gd name="connsiteY22076" fmla="*/ 1025321 h 4687251"/>
              <a:gd name="connsiteX22077" fmla="*/ 7393238 w 8079933"/>
              <a:gd name="connsiteY22077" fmla="*/ 1026513 h 4687251"/>
              <a:gd name="connsiteX22078" fmla="*/ 7387379 w 8079933"/>
              <a:gd name="connsiteY22078" fmla="*/ 1030843 h 4687251"/>
              <a:gd name="connsiteX22079" fmla="*/ 7383689 w 8079933"/>
              <a:gd name="connsiteY22079" fmla="*/ 1035066 h 4687251"/>
              <a:gd name="connsiteX22080" fmla="*/ 7381194 w 8079933"/>
              <a:gd name="connsiteY22080" fmla="*/ 1040696 h 4687251"/>
              <a:gd name="connsiteX22081" fmla="*/ 7381194 w 8079933"/>
              <a:gd name="connsiteY22081" fmla="*/ 1044052 h 4687251"/>
              <a:gd name="connsiteX22082" fmla="*/ 7379782 w 8079933"/>
              <a:gd name="connsiteY22082" fmla="*/ 1046325 h 4687251"/>
              <a:gd name="connsiteX22083" fmla="*/ 7381953 w 8079933"/>
              <a:gd name="connsiteY22083" fmla="*/ 1050765 h 4687251"/>
              <a:gd name="connsiteX22084" fmla="*/ 7382604 w 8079933"/>
              <a:gd name="connsiteY22084" fmla="*/ 1056070 h 4687251"/>
              <a:gd name="connsiteX22085" fmla="*/ 7381085 w 8079933"/>
              <a:gd name="connsiteY22085" fmla="*/ 1055420 h 4687251"/>
              <a:gd name="connsiteX22086" fmla="*/ 7376852 w 8079933"/>
              <a:gd name="connsiteY22086" fmla="*/ 1050982 h 4687251"/>
              <a:gd name="connsiteX22087" fmla="*/ 7375985 w 8079933"/>
              <a:gd name="connsiteY22087" fmla="*/ 1048383 h 4687251"/>
              <a:gd name="connsiteX22088" fmla="*/ 7378155 w 8079933"/>
              <a:gd name="connsiteY22088" fmla="*/ 1045351 h 4687251"/>
              <a:gd name="connsiteX22089" fmla="*/ 7377829 w 8079933"/>
              <a:gd name="connsiteY22089" fmla="*/ 1040046 h 4687251"/>
              <a:gd name="connsiteX22090" fmla="*/ 7375225 w 8079933"/>
              <a:gd name="connsiteY22090" fmla="*/ 1036473 h 4687251"/>
              <a:gd name="connsiteX22091" fmla="*/ 7373597 w 8079933"/>
              <a:gd name="connsiteY22091" fmla="*/ 1028894 h 4687251"/>
              <a:gd name="connsiteX22092" fmla="*/ 7375008 w 8079933"/>
              <a:gd name="connsiteY22092" fmla="*/ 1024672 h 4687251"/>
              <a:gd name="connsiteX22093" fmla="*/ 7374465 w 8079933"/>
              <a:gd name="connsiteY22093" fmla="*/ 1023914 h 4687251"/>
              <a:gd name="connsiteX22094" fmla="*/ 7370016 w 8079933"/>
              <a:gd name="connsiteY22094" fmla="*/ 1025538 h 4687251"/>
              <a:gd name="connsiteX22095" fmla="*/ 7367303 w 8079933"/>
              <a:gd name="connsiteY22095" fmla="*/ 1025863 h 4687251"/>
              <a:gd name="connsiteX22096" fmla="*/ 7370125 w 8079933"/>
              <a:gd name="connsiteY22096" fmla="*/ 1021315 h 4687251"/>
              <a:gd name="connsiteX22097" fmla="*/ 7372512 w 8079933"/>
              <a:gd name="connsiteY22097" fmla="*/ 1020233 h 4687251"/>
              <a:gd name="connsiteX22098" fmla="*/ 7378372 w 8079933"/>
              <a:gd name="connsiteY22098" fmla="*/ 1013303 h 4687251"/>
              <a:gd name="connsiteX22099" fmla="*/ 7380325 w 8079933"/>
              <a:gd name="connsiteY22099" fmla="*/ 1012004 h 4687251"/>
              <a:gd name="connsiteX22100" fmla="*/ 7381085 w 8079933"/>
              <a:gd name="connsiteY22100" fmla="*/ 1009622 h 4687251"/>
              <a:gd name="connsiteX22101" fmla="*/ 2948614 w 8079933"/>
              <a:gd name="connsiteY22101" fmla="*/ 1002044 h 4687251"/>
              <a:gd name="connsiteX22102" fmla="*/ 2954149 w 8079933"/>
              <a:gd name="connsiteY22102" fmla="*/ 1003343 h 4687251"/>
              <a:gd name="connsiteX22103" fmla="*/ 2954582 w 8079933"/>
              <a:gd name="connsiteY22103" fmla="*/ 1005725 h 4687251"/>
              <a:gd name="connsiteX22104" fmla="*/ 2948289 w 8079933"/>
              <a:gd name="connsiteY22104" fmla="*/ 1006591 h 4687251"/>
              <a:gd name="connsiteX22105" fmla="*/ 2945034 w 8079933"/>
              <a:gd name="connsiteY22105" fmla="*/ 1004967 h 4687251"/>
              <a:gd name="connsiteX22106" fmla="*/ 2945034 w 8079933"/>
              <a:gd name="connsiteY22106" fmla="*/ 1003127 h 4687251"/>
              <a:gd name="connsiteX22107" fmla="*/ 4228892 w 8079933"/>
              <a:gd name="connsiteY22107" fmla="*/ 1000854 h 4687251"/>
              <a:gd name="connsiteX22108" fmla="*/ 4230086 w 8079933"/>
              <a:gd name="connsiteY22108" fmla="*/ 1005293 h 4687251"/>
              <a:gd name="connsiteX22109" fmla="*/ 4225094 w 8079933"/>
              <a:gd name="connsiteY22109" fmla="*/ 1008974 h 4687251"/>
              <a:gd name="connsiteX22110" fmla="*/ 4224551 w 8079933"/>
              <a:gd name="connsiteY22110" fmla="*/ 1013738 h 4687251"/>
              <a:gd name="connsiteX22111" fmla="*/ 4218149 w 8079933"/>
              <a:gd name="connsiteY22111" fmla="*/ 1021317 h 4687251"/>
              <a:gd name="connsiteX22112" fmla="*/ 4215762 w 8079933"/>
              <a:gd name="connsiteY22112" fmla="*/ 1019584 h 4687251"/>
              <a:gd name="connsiteX22113" fmla="*/ 4216087 w 8079933"/>
              <a:gd name="connsiteY22113" fmla="*/ 1012655 h 4687251"/>
              <a:gd name="connsiteX22114" fmla="*/ 4222490 w 8079933"/>
              <a:gd name="connsiteY22114" fmla="*/ 1007566 h 4687251"/>
              <a:gd name="connsiteX22115" fmla="*/ 4222707 w 8079933"/>
              <a:gd name="connsiteY22115" fmla="*/ 1003236 h 4687251"/>
              <a:gd name="connsiteX22116" fmla="*/ 4326666 w 8079933"/>
              <a:gd name="connsiteY22116" fmla="*/ 999878 h 4687251"/>
              <a:gd name="connsiteX22117" fmla="*/ 4323302 w 8079933"/>
              <a:gd name="connsiteY22117" fmla="*/ 1002584 h 4687251"/>
              <a:gd name="connsiteX22118" fmla="*/ 4322434 w 8079933"/>
              <a:gd name="connsiteY22118" fmla="*/ 1006699 h 4687251"/>
              <a:gd name="connsiteX22119" fmla="*/ 4323075 w 8079933"/>
              <a:gd name="connsiteY22119" fmla="*/ 1008322 h 4687251"/>
              <a:gd name="connsiteX22120" fmla="*/ 4323737 w 8079933"/>
              <a:gd name="connsiteY22120" fmla="*/ 1005184 h 4687251"/>
              <a:gd name="connsiteX22121" fmla="*/ 4326993 w 8079933"/>
              <a:gd name="connsiteY22121" fmla="*/ 1002477 h 4687251"/>
              <a:gd name="connsiteX22122" fmla="*/ 4331442 w 8079933"/>
              <a:gd name="connsiteY22122" fmla="*/ 1003126 h 4687251"/>
              <a:gd name="connsiteX22123" fmla="*/ 4335023 w 8079933"/>
              <a:gd name="connsiteY22123" fmla="*/ 1008432 h 4687251"/>
              <a:gd name="connsiteX22124" fmla="*/ 4345223 w 8079933"/>
              <a:gd name="connsiteY22124" fmla="*/ 1016660 h 4687251"/>
              <a:gd name="connsiteX22125" fmla="*/ 4347177 w 8079933"/>
              <a:gd name="connsiteY22125" fmla="*/ 1021641 h 4687251"/>
              <a:gd name="connsiteX22126" fmla="*/ 4350975 w 8079933"/>
              <a:gd name="connsiteY22126" fmla="*/ 1026838 h 4687251"/>
              <a:gd name="connsiteX22127" fmla="*/ 4357703 w 8079933"/>
              <a:gd name="connsiteY22127" fmla="*/ 1029544 h 4687251"/>
              <a:gd name="connsiteX22128" fmla="*/ 4368555 w 8079933"/>
              <a:gd name="connsiteY22128" fmla="*/ 1029544 h 4687251"/>
              <a:gd name="connsiteX22129" fmla="*/ 4374414 w 8079933"/>
              <a:gd name="connsiteY22129" fmla="*/ 1023914 h 4687251"/>
              <a:gd name="connsiteX22130" fmla="*/ 4377670 w 8079933"/>
              <a:gd name="connsiteY22130" fmla="*/ 1020450 h 4687251"/>
              <a:gd name="connsiteX22131" fmla="*/ 4382662 w 8079933"/>
              <a:gd name="connsiteY22131" fmla="*/ 1020450 h 4687251"/>
              <a:gd name="connsiteX22132" fmla="*/ 4390583 w 8079933"/>
              <a:gd name="connsiteY22132" fmla="*/ 1025971 h 4687251"/>
              <a:gd name="connsiteX22133" fmla="*/ 4395901 w 8079933"/>
              <a:gd name="connsiteY22133" fmla="*/ 1026838 h 4687251"/>
              <a:gd name="connsiteX22134" fmla="*/ 4398614 w 8079933"/>
              <a:gd name="connsiteY22134" fmla="*/ 1021641 h 4687251"/>
              <a:gd name="connsiteX22135" fmla="*/ 4401761 w 8079933"/>
              <a:gd name="connsiteY22135" fmla="*/ 1019908 h 4687251"/>
              <a:gd name="connsiteX22136" fmla="*/ 4405558 w 8079933"/>
              <a:gd name="connsiteY22136" fmla="*/ 1016336 h 4687251"/>
              <a:gd name="connsiteX22137" fmla="*/ 4409683 w 8079933"/>
              <a:gd name="connsiteY22137" fmla="*/ 1016336 h 4687251"/>
              <a:gd name="connsiteX22138" fmla="*/ 4413806 w 8079933"/>
              <a:gd name="connsiteY22138" fmla="*/ 1013629 h 4687251"/>
              <a:gd name="connsiteX22139" fmla="*/ 4415543 w 8079933"/>
              <a:gd name="connsiteY22139" fmla="*/ 1010489 h 4687251"/>
              <a:gd name="connsiteX22140" fmla="*/ 4415127 w 8079933"/>
              <a:gd name="connsiteY22140" fmla="*/ 1009505 h 4687251"/>
              <a:gd name="connsiteX22141" fmla="*/ 4413805 w 8079933"/>
              <a:gd name="connsiteY22141" fmla="*/ 1011896 h 4687251"/>
              <a:gd name="connsiteX22142" fmla="*/ 4409682 w 8079933"/>
              <a:gd name="connsiteY22142" fmla="*/ 1014602 h 4687251"/>
              <a:gd name="connsiteX22143" fmla="*/ 4405558 w 8079933"/>
              <a:gd name="connsiteY22143" fmla="*/ 1014278 h 4687251"/>
              <a:gd name="connsiteX22144" fmla="*/ 4401760 w 8079933"/>
              <a:gd name="connsiteY22144" fmla="*/ 1017959 h 4687251"/>
              <a:gd name="connsiteX22145" fmla="*/ 4398613 w 8079933"/>
              <a:gd name="connsiteY22145" fmla="*/ 1019583 h 4687251"/>
              <a:gd name="connsiteX22146" fmla="*/ 4395900 w 8079933"/>
              <a:gd name="connsiteY22146" fmla="*/ 1024780 h 4687251"/>
              <a:gd name="connsiteX22147" fmla="*/ 4390583 w 8079933"/>
              <a:gd name="connsiteY22147" fmla="*/ 1023914 h 4687251"/>
              <a:gd name="connsiteX22148" fmla="*/ 4382661 w 8079933"/>
              <a:gd name="connsiteY22148" fmla="*/ 1018392 h 4687251"/>
              <a:gd name="connsiteX22149" fmla="*/ 4377670 w 8079933"/>
              <a:gd name="connsiteY22149" fmla="*/ 1018284 h 4687251"/>
              <a:gd name="connsiteX22150" fmla="*/ 4374305 w 8079933"/>
              <a:gd name="connsiteY22150" fmla="*/ 1021640 h 4687251"/>
              <a:gd name="connsiteX22151" fmla="*/ 4368445 w 8079933"/>
              <a:gd name="connsiteY22151" fmla="*/ 1027379 h 4687251"/>
              <a:gd name="connsiteX22152" fmla="*/ 4357268 w 8079933"/>
              <a:gd name="connsiteY22152" fmla="*/ 1027054 h 4687251"/>
              <a:gd name="connsiteX22153" fmla="*/ 4350540 w 8079933"/>
              <a:gd name="connsiteY22153" fmla="*/ 1024239 h 4687251"/>
              <a:gd name="connsiteX22154" fmla="*/ 4346742 w 8079933"/>
              <a:gd name="connsiteY22154" fmla="*/ 1019150 h 4687251"/>
              <a:gd name="connsiteX22155" fmla="*/ 4344898 w 8079933"/>
              <a:gd name="connsiteY22155" fmla="*/ 1014170 h 4687251"/>
              <a:gd name="connsiteX22156" fmla="*/ 4334697 w 8079933"/>
              <a:gd name="connsiteY22156" fmla="*/ 1005833 h 4687251"/>
              <a:gd name="connsiteX22157" fmla="*/ 4331115 w 8079933"/>
              <a:gd name="connsiteY22157" fmla="*/ 1000527 h 4687251"/>
              <a:gd name="connsiteX22158" fmla="*/ 2708358 w 8079933"/>
              <a:gd name="connsiteY22158" fmla="*/ 999554 h 4687251"/>
              <a:gd name="connsiteX22159" fmla="*/ 2711180 w 8079933"/>
              <a:gd name="connsiteY22159" fmla="*/ 1002152 h 4687251"/>
              <a:gd name="connsiteX22160" fmla="*/ 2711505 w 8079933"/>
              <a:gd name="connsiteY22160" fmla="*/ 1007024 h 4687251"/>
              <a:gd name="connsiteX22161" fmla="*/ 2709010 w 8079933"/>
              <a:gd name="connsiteY22161" fmla="*/ 1008107 h 4687251"/>
              <a:gd name="connsiteX22162" fmla="*/ 2706513 w 8079933"/>
              <a:gd name="connsiteY22162" fmla="*/ 1008215 h 4687251"/>
              <a:gd name="connsiteX22163" fmla="*/ 2705320 w 8079933"/>
              <a:gd name="connsiteY22163" fmla="*/ 1002585 h 4687251"/>
              <a:gd name="connsiteX22164" fmla="*/ 4900612 w 8079933"/>
              <a:gd name="connsiteY22164" fmla="*/ 995007 h 4687251"/>
              <a:gd name="connsiteX22165" fmla="*/ 4906580 w 8079933"/>
              <a:gd name="connsiteY22165" fmla="*/ 995656 h 4687251"/>
              <a:gd name="connsiteX22166" fmla="*/ 4904084 w 8079933"/>
              <a:gd name="connsiteY22166" fmla="*/ 997389 h 4687251"/>
              <a:gd name="connsiteX22167" fmla="*/ 4898767 w 8079933"/>
              <a:gd name="connsiteY22167" fmla="*/ 998472 h 4687251"/>
              <a:gd name="connsiteX22168" fmla="*/ 4897573 w 8079933"/>
              <a:gd name="connsiteY22168" fmla="*/ 999879 h 4687251"/>
              <a:gd name="connsiteX22169" fmla="*/ 4895946 w 8079933"/>
              <a:gd name="connsiteY22169" fmla="*/ 999879 h 4687251"/>
              <a:gd name="connsiteX22170" fmla="*/ 4896163 w 8079933"/>
              <a:gd name="connsiteY22170" fmla="*/ 997281 h 4687251"/>
              <a:gd name="connsiteX22171" fmla="*/ 4959645 w 8079933"/>
              <a:gd name="connsiteY22171" fmla="*/ 994681 h 4687251"/>
              <a:gd name="connsiteX22172" fmla="*/ 4961272 w 8079933"/>
              <a:gd name="connsiteY22172" fmla="*/ 997171 h 4687251"/>
              <a:gd name="connsiteX22173" fmla="*/ 4959102 w 8079933"/>
              <a:gd name="connsiteY22173" fmla="*/ 999877 h 4687251"/>
              <a:gd name="connsiteX22174" fmla="*/ 4955630 w 8079933"/>
              <a:gd name="connsiteY22174" fmla="*/ 999444 h 4687251"/>
              <a:gd name="connsiteX22175" fmla="*/ 4957257 w 8079933"/>
              <a:gd name="connsiteY22175" fmla="*/ 995655 h 4687251"/>
              <a:gd name="connsiteX22176" fmla="*/ 4969628 w 8079933"/>
              <a:gd name="connsiteY22176" fmla="*/ 992408 h 4687251"/>
              <a:gd name="connsiteX22177" fmla="*/ 4969845 w 8079933"/>
              <a:gd name="connsiteY22177" fmla="*/ 995873 h 4687251"/>
              <a:gd name="connsiteX22178" fmla="*/ 4966481 w 8079933"/>
              <a:gd name="connsiteY22178" fmla="*/ 1000312 h 4687251"/>
              <a:gd name="connsiteX22179" fmla="*/ 4964853 w 8079933"/>
              <a:gd name="connsiteY22179" fmla="*/ 998471 h 4687251"/>
              <a:gd name="connsiteX22180" fmla="*/ 4964636 w 8079933"/>
              <a:gd name="connsiteY22180" fmla="*/ 996089 h 4687251"/>
              <a:gd name="connsiteX22181" fmla="*/ 4966481 w 8079933"/>
              <a:gd name="connsiteY22181" fmla="*/ 992949 h 4687251"/>
              <a:gd name="connsiteX22182" fmla="*/ 4249946 w 8079933"/>
              <a:gd name="connsiteY22182" fmla="*/ 989160 h 4687251"/>
              <a:gd name="connsiteX22183" fmla="*/ 4257108 w 8079933"/>
              <a:gd name="connsiteY22183" fmla="*/ 989918 h 4687251"/>
              <a:gd name="connsiteX22184" fmla="*/ 4257977 w 8079933"/>
              <a:gd name="connsiteY22184" fmla="*/ 993707 h 4687251"/>
              <a:gd name="connsiteX22185" fmla="*/ 4261231 w 8079933"/>
              <a:gd name="connsiteY22185" fmla="*/ 994790 h 4687251"/>
              <a:gd name="connsiteX22186" fmla="*/ 4262534 w 8079933"/>
              <a:gd name="connsiteY22186" fmla="*/ 1000203 h 4687251"/>
              <a:gd name="connsiteX22187" fmla="*/ 4261666 w 8079933"/>
              <a:gd name="connsiteY22187" fmla="*/ 1002910 h 4687251"/>
              <a:gd name="connsiteX22188" fmla="*/ 4262751 w 8079933"/>
              <a:gd name="connsiteY22188" fmla="*/ 1006700 h 4687251"/>
              <a:gd name="connsiteX22189" fmla="*/ 4257650 w 8079933"/>
              <a:gd name="connsiteY22189" fmla="*/ 1007891 h 4687251"/>
              <a:gd name="connsiteX22190" fmla="*/ 4255806 w 8079933"/>
              <a:gd name="connsiteY22190" fmla="*/ 1010490 h 4687251"/>
              <a:gd name="connsiteX22191" fmla="*/ 4250272 w 8079933"/>
              <a:gd name="connsiteY22191" fmla="*/ 1010056 h 4687251"/>
              <a:gd name="connsiteX22192" fmla="*/ 4249078 w 8079933"/>
              <a:gd name="connsiteY22192" fmla="*/ 1015903 h 4687251"/>
              <a:gd name="connsiteX22193" fmla="*/ 4246907 w 8079933"/>
              <a:gd name="connsiteY22193" fmla="*/ 1016011 h 4687251"/>
              <a:gd name="connsiteX22194" fmla="*/ 4246691 w 8079933"/>
              <a:gd name="connsiteY22194" fmla="*/ 1011572 h 4687251"/>
              <a:gd name="connsiteX22195" fmla="*/ 4242784 w 8079933"/>
              <a:gd name="connsiteY22195" fmla="*/ 1011031 h 4687251"/>
              <a:gd name="connsiteX22196" fmla="*/ 4246582 w 8079933"/>
              <a:gd name="connsiteY22196" fmla="*/ 1005942 h 4687251"/>
              <a:gd name="connsiteX22197" fmla="*/ 4241916 w 8079933"/>
              <a:gd name="connsiteY22197" fmla="*/ 1005509 h 4687251"/>
              <a:gd name="connsiteX22198" fmla="*/ 4243978 w 8079933"/>
              <a:gd name="connsiteY22198" fmla="*/ 999987 h 4687251"/>
              <a:gd name="connsiteX22199" fmla="*/ 4250054 w 8079933"/>
              <a:gd name="connsiteY22199" fmla="*/ 999446 h 4687251"/>
              <a:gd name="connsiteX22200" fmla="*/ 4244520 w 8079933"/>
              <a:gd name="connsiteY22200" fmla="*/ 996631 h 4687251"/>
              <a:gd name="connsiteX22201" fmla="*/ 4247450 w 8079933"/>
              <a:gd name="connsiteY22201" fmla="*/ 991433 h 4687251"/>
              <a:gd name="connsiteX22202" fmla="*/ 4251031 w 8079933"/>
              <a:gd name="connsiteY22202" fmla="*/ 994249 h 4687251"/>
              <a:gd name="connsiteX22203" fmla="*/ 2932445 w 8079933"/>
              <a:gd name="connsiteY22203" fmla="*/ 982664 h 4687251"/>
              <a:gd name="connsiteX22204" fmla="*/ 2936569 w 8079933"/>
              <a:gd name="connsiteY22204" fmla="*/ 982989 h 4687251"/>
              <a:gd name="connsiteX22205" fmla="*/ 2937437 w 8079933"/>
              <a:gd name="connsiteY22205" fmla="*/ 985586 h 4687251"/>
              <a:gd name="connsiteX22206" fmla="*/ 2930600 w 8079933"/>
              <a:gd name="connsiteY22206" fmla="*/ 986778 h 4687251"/>
              <a:gd name="connsiteX22207" fmla="*/ 2929190 w 8079933"/>
              <a:gd name="connsiteY22207" fmla="*/ 985154 h 4687251"/>
              <a:gd name="connsiteX22208" fmla="*/ 2929732 w 8079933"/>
              <a:gd name="connsiteY22208" fmla="*/ 983205 h 4687251"/>
              <a:gd name="connsiteX22209" fmla="*/ 4413906 w 8079933"/>
              <a:gd name="connsiteY22209" fmla="*/ 982573 h 4687251"/>
              <a:gd name="connsiteX22210" fmla="*/ 4412828 w 8079933"/>
              <a:gd name="connsiteY22210" fmla="*/ 985261 h 4687251"/>
              <a:gd name="connsiteX22211" fmla="*/ 4411527 w 8079933"/>
              <a:gd name="connsiteY22211" fmla="*/ 997496 h 4687251"/>
              <a:gd name="connsiteX22212" fmla="*/ 4411648 w 8079933"/>
              <a:gd name="connsiteY22212" fmla="*/ 997878 h 4687251"/>
              <a:gd name="connsiteX22213" fmla="*/ 4412721 w 8079933"/>
              <a:gd name="connsiteY22213" fmla="*/ 986886 h 4687251"/>
              <a:gd name="connsiteX22214" fmla="*/ 4414240 w 8079933"/>
              <a:gd name="connsiteY22214" fmla="*/ 983096 h 4687251"/>
              <a:gd name="connsiteX22215" fmla="*/ 2952412 w 8079933"/>
              <a:gd name="connsiteY22215" fmla="*/ 980498 h 4687251"/>
              <a:gd name="connsiteX22216" fmla="*/ 2956427 w 8079933"/>
              <a:gd name="connsiteY22216" fmla="*/ 982122 h 4687251"/>
              <a:gd name="connsiteX22217" fmla="*/ 2953823 w 8079933"/>
              <a:gd name="connsiteY22217" fmla="*/ 983529 h 4687251"/>
              <a:gd name="connsiteX22218" fmla="*/ 2949916 w 8079933"/>
              <a:gd name="connsiteY22218" fmla="*/ 983747 h 4687251"/>
              <a:gd name="connsiteX22219" fmla="*/ 2948614 w 8079933"/>
              <a:gd name="connsiteY22219" fmla="*/ 981689 h 4687251"/>
              <a:gd name="connsiteX22220" fmla="*/ 4497906 w 8079933"/>
              <a:gd name="connsiteY22220" fmla="*/ 978657 h 4687251"/>
              <a:gd name="connsiteX22221" fmla="*/ 4497275 w 8079933"/>
              <a:gd name="connsiteY22221" fmla="*/ 978710 h 4687251"/>
              <a:gd name="connsiteX22222" fmla="*/ 4501487 w 8079933"/>
              <a:gd name="connsiteY22222" fmla="*/ 980391 h 4687251"/>
              <a:gd name="connsiteX22223" fmla="*/ 4501621 w 8079933"/>
              <a:gd name="connsiteY22223" fmla="*/ 980222 h 4687251"/>
              <a:gd name="connsiteX22224" fmla="*/ 3504111 w 8079933"/>
              <a:gd name="connsiteY22224" fmla="*/ 978441 h 4687251"/>
              <a:gd name="connsiteX22225" fmla="*/ 3504653 w 8079933"/>
              <a:gd name="connsiteY22225" fmla="*/ 980498 h 4687251"/>
              <a:gd name="connsiteX22226" fmla="*/ 3502049 w 8079933"/>
              <a:gd name="connsiteY22226" fmla="*/ 982014 h 4687251"/>
              <a:gd name="connsiteX22227" fmla="*/ 3500313 w 8079933"/>
              <a:gd name="connsiteY22227" fmla="*/ 981797 h 4687251"/>
              <a:gd name="connsiteX22228" fmla="*/ 3500638 w 8079933"/>
              <a:gd name="connsiteY22228" fmla="*/ 979848 h 4687251"/>
              <a:gd name="connsiteX22229" fmla="*/ 4277617 w 8079933"/>
              <a:gd name="connsiteY22229" fmla="*/ 978332 h 4687251"/>
              <a:gd name="connsiteX22230" fmla="*/ 4280764 w 8079933"/>
              <a:gd name="connsiteY22230" fmla="*/ 982987 h 4687251"/>
              <a:gd name="connsiteX22231" fmla="*/ 4277400 w 8079933"/>
              <a:gd name="connsiteY22231" fmla="*/ 987102 h 4687251"/>
              <a:gd name="connsiteX22232" fmla="*/ 4277617 w 8079933"/>
              <a:gd name="connsiteY22232" fmla="*/ 990567 h 4687251"/>
              <a:gd name="connsiteX22233" fmla="*/ 4271974 w 8079933"/>
              <a:gd name="connsiteY22233" fmla="*/ 990675 h 4687251"/>
              <a:gd name="connsiteX22234" fmla="*/ 4267417 w 8079933"/>
              <a:gd name="connsiteY22234" fmla="*/ 992408 h 4687251"/>
              <a:gd name="connsiteX22235" fmla="*/ 4262642 w 8079933"/>
              <a:gd name="connsiteY22235" fmla="*/ 986236 h 4687251"/>
              <a:gd name="connsiteX22236" fmla="*/ 4269044 w 8079933"/>
              <a:gd name="connsiteY22236" fmla="*/ 985911 h 4687251"/>
              <a:gd name="connsiteX22237" fmla="*/ 4269262 w 8079933"/>
              <a:gd name="connsiteY22237" fmla="*/ 982338 h 4687251"/>
              <a:gd name="connsiteX22238" fmla="*/ 4274904 w 8079933"/>
              <a:gd name="connsiteY22238" fmla="*/ 982122 h 4687251"/>
              <a:gd name="connsiteX22239" fmla="*/ 2942212 w 8079933"/>
              <a:gd name="connsiteY22239" fmla="*/ 975409 h 4687251"/>
              <a:gd name="connsiteX22240" fmla="*/ 2946878 w 8079933"/>
              <a:gd name="connsiteY22240" fmla="*/ 976600 h 4687251"/>
              <a:gd name="connsiteX22241" fmla="*/ 2949591 w 8079933"/>
              <a:gd name="connsiteY22241" fmla="*/ 978115 h 4687251"/>
              <a:gd name="connsiteX22242" fmla="*/ 2946552 w 8079933"/>
              <a:gd name="connsiteY22242" fmla="*/ 980498 h 4687251"/>
              <a:gd name="connsiteX22243" fmla="*/ 2943297 w 8079933"/>
              <a:gd name="connsiteY22243" fmla="*/ 980931 h 4687251"/>
              <a:gd name="connsiteX22244" fmla="*/ 2937654 w 8079933"/>
              <a:gd name="connsiteY22244" fmla="*/ 978441 h 4687251"/>
              <a:gd name="connsiteX22245" fmla="*/ 2938088 w 8079933"/>
              <a:gd name="connsiteY22245" fmla="*/ 976925 h 4687251"/>
              <a:gd name="connsiteX22246" fmla="*/ 4290530 w 8079933"/>
              <a:gd name="connsiteY22246" fmla="*/ 971295 h 4687251"/>
              <a:gd name="connsiteX22247" fmla="*/ 4292592 w 8079933"/>
              <a:gd name="connsiteY22247" fmla="*/ 975734 h 4687251"/>
              <a:gd name="connsiteX22248" fmla="*/ 4289120 w 8079933"/>
              <a:gd name="connsiteY22248" fmla="*/ 977683 h 4687251"/>
              <a:gd name="connsiteX22249" fmla="*/ 4418472 w 8079933"/>
              <a:gd name="connsiteY22249" fmla="*/ 971118 h 4687251"/>
              <a:gd name="connsiteX22250" fmla="*/ 4414781 w 8079933"/>
              <a:gd name="connsiteY22250" fmla="*/ 976166 h 4687251"/>
              <a:gd name="connsiteX22251" fmla="*/ 4412069 w 8079933"/>
              <a:gd name="connsiteY22251" fmla="*/ 977899 h 4687251"/>
              <a:gd name="connsiteX22252" fmla="*/ 4412774 w 8079933"/>
              <a:gd name="connsiteY22252" fmla="*/ 979005 h 4687251"/>
              <a:gd name="connsiteX22253" fmla="*/ 4414675 w 8079933"/>
              <a:gd name="connsiteY22253" fmla="*/ 977791 h 4687251"/>
              <a:gd name="connsiteX22254" fmla="*/ 4418472 w 8079933"/>
              <a:gd name="connsiteY22254" fmla="*/ 972594 h 4687251"/>
              <a:gd name="connsiteX22255" fmla="*/ 2672222 w 8079933"/>
              <a:gd name="connsiteY22255" fmla="*/ 970104 h 4687251"/>
              <a:gd name="connsiteX22256" fmla="*/ 2674826 w 8079933"/>
              <a:gd name="connsiteY22256" fmla="*/ 970212 h 4687251"/>
              <a:gd name="connsiteX22257" fmla="*/ 2675694 w 8079933"/>
              <a:gd name="connsiteY22257" fmla="*/ 973135 h 4687251"/>
              <a:gd name="connsiteX22258" fmla="*/ 2673958 w 8079933"/>
              <a:gd name="connsiteY22258" fmla="*/ 974435 h 4687251"/>
              <a:gd name="connsiteX22259" fmla="*/ 2669509 w 8079933"/>
              <a:gd name="connsiteY22259" fmla="*/ 971620 h 4687251"/>
              <a:gd name="connsiteX22260" fmla="*/ 2672222 w 8079933"/>
              <a:gd name="connsiteY22260" fmla="*/ 970104 h 4687251"/>
              <a:gd name="connsiteX22261" fmla="*/ 4991874 w 8079933"/>
              <a:gd name="connsiteY22261" fmla="*/ 968914 h 4687251"/>
              <a:gd name="connsiteX22262" fmla="*/ 4995454 w 8079933"/>
              <a:gd name="connsiteY22262" fmla="*/ 970754 h 4687251"/>
              <a:gd name="connsiteX22263" fmla="*/ 4994695 w 8079933"/>
              <a:gd name="connsiteY22263" fmla="*/ 973136 h 4687251"/>
              <a:gd name="connsiteX22264" fmla="*/ 4991765 w 8079933"/>
              <a:gd name="connsiteY22264" fmla="*/ 973028 h 4687251"/>
              <a:gd name="connsiteX22265" fmla="*/ 4989595 w 8079933"/>
              <a:gd name="connsiteY22265" fmla="*/ 970430 h 4687251"/>
              <a:gd name="connsiteX22266" fmla="*/ 5021282 w 8079933"/>
              <a:gd name="connsiteY22266" fmla="*/ 968372 h 4687251"/>
              <a:gd name="connsiteX22267" fmla="*/ 5025622 w 8079933"/>
              <a:gd name="connsiteY22267" fmla="*/ 969563 h 4687251"/>
              <a:gd name="connsiteX22268" fmla="*/ 5023886 w 8079933"/>
              <a:gd name="connsiteY22268" fmla="*/ 971837 h 4687251"/>
              <a:gd name="connsiteX22269" fmla="*/ 5017158 w 8079933"/>
              <a:gd name="connsiteY22269" fmla="*/ 974002 h 4687251"/>
              <a:gd name="connsiteX22270" fmla="*/ 5014554 w 8079933"/>
              <a:gd name="connsiteY22270" fmla="*/ 975951 h 4687251"/>
              <a:gd name="connsiteX22271" fmla="*/ 5012601 w 8079933"/>
              <a:gd name="connsiteY22271" fmla="*/ 975409 h 4687251"/>
              <a:gd name="connsiteX22272" fmla="*/ 5014988 w 8079933"/>
              <a:gd name="connsiteY22272" fmla="*/ 971512 h 4687251"/>
              <a:gd name="connsiteX22273" fmla="*/ 4971147 w 8079933"/>
              <a:gd name="connsiteY22273" fmla="*/ 967830 h 4687251"/>
              <a:gd name="connsiteX22274" fmla="*/ 4973426 w 8079933"/>
              <a:gd name="connsiteY22274" fmla="*/ 968696 h 4687251"/>
              <a:gd name="connsiteX22275" fmla="*/ 4971473 w 8079933"/>
              <a:gd name="connsiteY22275" fmla="*/ 971187 h 4687251"/>
              <a:gd name="connsiteX22276" fmla="*/ 4968543 w 8079933"/>
              <a:gd name="connsiteY22276" fmla="*/ 971187 h 4687251"/>
              <a:gd name="connsiteX22277" fmla="*/ 4967892 w 8079933"/>
              <a:gd name="connsiteY22277" fmla="*/ 969779 h 4687251"/>
              <a:gd name="connsiteX22278" fmla="*/ 4978636 w 8079933"/>
              <a:gd name="connsiteY22278" fmla="*/ 967073 h 4687251"/>
              <a:gd name="connsiteX22279" fmla="*/ 4982868 w 8079933"/>
              <a:gd name="connsiteY22279" fmla="*/ 968914 h 4687251"/>
              <a:gd name="connsiteX22280" fmla="*/ 4984821 w 8079933"/>
              <a:gd name="connsiteY22280" fmla="*/ 973569 h 4687251"/>
              <a:gd name="connsiteX22281" fmla="*/ 4980372 w 8079933"/>
              <a:gd name="connsiteY22281" fmla="*/ 972487 h 4687251"/>
              <a:gd name="connsiteX22282" fmla="*/ 4978310 w 8079933"/>
              <a:gd name="connsiteY22282" fmla="*/ 970321 h 4687251"/>
              <a:gd name="connsiteX22283" fmla="*/ 4975163 w 8079933"/>
              <a:gd name="connsiteY22283" fmla="*/ 969455 h 4687251"/>
              <a:gd name="connsiteX22284" fmla="*/ 4283477 w 8079933"/>
              <a:gd name="connsiteY22284" fmla="*/ 965990 h 4687251"/>
              <a:gd name="connsiteX22285" fmla="*/ 4285213 w 8079933"/>
              <a:gd name="connsiteY22285" fmla="*/ 968696 h 4687251"/>
              <a:gd name="connsiteX22286" fmla="*/ 4289337 w 8079933"/>
              <a:gd name="connsiteY22286" fmla="*/ 968047 h 4687251"/>
              <a:gd name="connsiteX22287" fmla="*/ 4289988 w 8079933"/>
              <a:gd name="connsiteY22287" fmla="*/ 969347 h 4687251"/>
              <a:gd name="connsiteX22288" fmla="*/ 4286299 w 8079933"/>
              <a:gd name="connsiteY22288" fmla="*/ 972161 h 4687251"/>
              <a:gd name="connsiteX22289" fmla="*/ 4286732 w 8079933"/>
              <a:gd name="connsiteY22289" fmla="*/ 976276 h 4687251"/>
              <a:gd name="connsiteX22290" fmla="*/ 4285431 w 8079933"/>
              <a:gd name="connsiteY22290" fmla="*/ 978333 h 4687251"/>
              <a:gd name="connsiteX22291" fmla="*/ 4282066 w 8079933"/>
              <a:gd name="connsiteY22291" fmla="*/ 978333 h 4687251"/>
              <a:gd name="connsiteX22292" fmla="*/ 4276098 w 8079933"/>
              <a:gd name="connsiteY22292" fmla="*/ 972161 h 4687251"/>
              <a:gd name="connsiteX22293" fmla="*/ 4279895 w 8079933"/>
              <a:gd name="connsiteY22293" fmla="*/ 961876 h 4687251"/>
              <a:gd name="connsiteX22294" fmla="*/ 4279678 w 8079933"/>
              <a:gd name="connsiteY22294" fmla="*/ 965124 h 4687251"/>
              <a:gd name="connsiteX22295" fmla="*/ 4273710 w 8079933"/>
              <a:gd name="connsiteY22295" fmla="*/ 969130 h 4687251"/>
              <a:gd name="connsiteX22296" fmla="*/ 4273710 w 8079933"/>
              <a:gd name="connsiteY22296" fmla="*/ 963608 h 4687251"/>
              <a:gd name="connsiteX22297" fmla="*/ 4446903 w 8079933"/>
              <a:gd name="connsiteY22297" fmla="*/ 959818 h 4687251"/>
              <a:gd name="connsiteX22298" fmla="*/ 4436703 w 8079933"/>
              <a:gd name="connsiteY22298" fmla="*/ 959926 h 4687251"/>
              <a:gd name="connsiteX22299" fmla="*/ 4432796 w 8079933"/>
              <a:gd name="connsiteY22299" fmla="*/ 964257 h 4687251"/>
              <a:gd name="connsiteX22300" fmla="*/ 4433121 w 8079933"/>
              <a:gd name="connsiteY22300" fmla="*/ 966314 h 4687251"/>
              <a:gd name="connsiteX22301" fmla="*/ 4429540 w 8079933"/>
              <a:gd name="connsiteY22301" fmla="*/ 967180 h 4687251"/>
              <a:gd name="connsiteX22302" fmla="*/ 4423246 w 8079933"/>
              <a:gd name="connsiteY22302" fmla="*/ 965989 h 4687251"/>
              <a:gd name="connsiteX22303" fmla="*/ 4418254 w 8079933"/>
              <a:gd name="connsiteY22303" fmla="*/ 968263 h 4687251"/>
              <a:gd name="connsiteX22304" fmla="*/ 4418472 w 8079933"/>
              <a:gd name="connsiteY22304" fmla="*/ 970074 h 4687251"/>
              <a:gd name="connsiteX22305" fmla="*/ 4418472 w 8079933"/>
              <a:gd name="connsiteY22305" fmla="*/ 969888 h 4687251"/>
              <a:gd name="connsiteX22306" fmla="*/ 4423464 w 8079933"/>
              <a:gd name="connsiteY22306" fmla="*/ 967614 h 4687251"/>
              <a:gd name="connsiteX22307" fmla="*/ 4429649 w 8079933"/>
              <a:gd name="connsiteY22307" fmla="*/ 968805 h 4687251"/>
              <a:gd name="connsiteX22308" fmla="*/ 4433231 w 8079933"/>
              <a:gd name="connsiteY22308" fmla="*/ 967939 h 4687251"/>
              <a:gd name="connsiteX22309" fmla="*/ 4433231 w 8079933"/>
              <a:gd name="connsiteY22309" fmla="*/ 965882 h 4687251"/>
              <a:gd name="connsiteX22310" fmla="*/ 4437246 w 8079933"/>
              <a:gd name="connsiteY22310" fmla="*/ 961551 h 4687251"/>
              <a:gd name="connsiteX22311" fmla="*/ 4447446 w 8079933"/>
              <a:gd name="connsiteY22311" fmla="*/ 961551 h 4687251"/>
              <a:gd name="connsiteX22312" fmla="*/ 4451896 w 8079933"/>
              <a:gd name="connsiteY22312" fmla="*/ 964582 h 4687251"/>
              <a:gd name="connsiteX22313" fmla="*/ 4457647 w 8079933"/>
              <a:gd name="connsiteY22313" fmla="*/ 971945 h 4687251"/>
              <a:gd name="connsiteX22314" fmla="*/ 4461011 w 8079933"/>
              <a:gd name="connsiteY22314" fmla="*/ 975410 h 4687251"/>
              <a:gd name="connsiteX22315" fmla="*/ 4466220 w 8079933"/>
              <a:gd name="connsiteY22315" fmla="*/ 977359 h 4687251"/>
              <a:gd name="connsiteX22316" fmla="*/ 4474141 w 8079933"/>
              <a:gd name="connsiteY22316" fmla="*/ 978224 h 4687251"/>
              <a:gd name="connsiteX22317" fmla="*/ 4475552 w 8079933"/>
              <a:gd name="connsiteY22317" fmla="*/ 982122 h 4687251"/>
              <a:gd name="connsiteX22318" fmla="*/ 4479627 w 8079933"/>
              <a:gd name="connsiteY22318" fmla="*/ 986373 h 4687251"/>
              <a:gd name="connsiteX22319" fmla="*/ 4479784 w 8079933"/>
              <a:gd name="connsiteY22319" fmla="*/ 985370 h 4687251"/>
              <a:gd name="connsiteX22320" fmla="*/ 4475009 w 8079933"/>
              <a:gd name="connsiteY22320" fmla="*/ 980281 h 4687251"/>
              <a:gd name="connsiteX22321" fmla="*/ 4473707 w 8079933"/>
              <a:gd name="connsiteY22321" fmla="*/ 976492 h 4687251"/>
              <a:gd name="connsiteX22322" fmla="*/ 4465676 w 8079933"/>
              <a:gd name="connsiteY22322" fmla="*/ 975625 h 4687251"/>
              <a:gd name="connsiteX22323" fmla="*/ 4460576 w 8079933"/>
              <a:gd name="connsiteY22323" fmla="*/ 973676 h 4687251"/>
              <a:gd name="connsiteX22324" fmla="*/ 4457212 w 8079933"/>
              <a:gd name="connsiteY22324" fmla="*/ 970212 h 4687251"/>
              <a:gd name="connsiteX22325" fmla="*/ 4451352 w 8079933"/>
              <a:gd name="connsiteY22325" fmla="*/ 962849 h 4687251"/>
              <a:gd name="connsiteX22326" fmla="*/ 4309087 w 8079933"/>
              <a:gd name="connsiteY22326" fmla="*/ 955812 h 4687251"/>
              <a:gd name="connsiteX22327" fmla="*/ 4313971 w 8079933"/>
              <a:gd name="connsiteY22327" fmla="*/ 959601 h 4687251"/>
              <a:gd name="connsiteX22328" fmla="*/ 4311909 w 8079933"/>
              <a:gd name="connsiteY22328" fmla="*/ 964257 h 4687251"/>
              <a:gd name="connsiteX22329" fmla="*/ 4314730 w 8079933"/>
              <a:gd name="connsiteY22329" fmla="*/ 968047 h 4687251"/>
              <a:gd name="connsiteX22330" fmla="*/ 4312560 w 8079933"/>
              <a:gd name="connsiteY22330" fmla="*/ 972161 h 4687251"/>
              <a:gd name="connsiteX22331" fmla="*/ 4309955 w 8079933"/>
              <a:gd name="connsiteY22331" fmla="*/ 968155 h 4687251"/>
              <a:gd name="connsiteX22332" fmla="*/ 4306374 w 8079933"/>
              <a:gd name="connsiteY22332" fmla="*/ 966855 h 4687251"/>
              <a:gd name="connsiteX22333" fmla="*/ 4305832 w 8079933"/>
              <a:gd name="connsiteY22333" fmla="*/ 958952 h 4687251"/>
              <a:gd name="connsiteX22334" fmla="*/ 4284887 w 8079933"/>
              <a:gd name="connsiteY22334" fmla="*/ 955163 h 4687251"/>
              <a:gd name="connsiteX22335" fmla="*/ 4281957 w 8079933"/>
              <a:gd name="connsiteY22335" fmla="*/ 959818 h 4687251"/>
              <a:gd name="connsiteX22336" fmla="*/ 4280764 w 8079933"/>
              <a:gd name="connsiteY22336" fmla="*/ 956462 h 4687251"/>
              <a:gd name="connsiteX22337" fmla="*/ 4845703 w 8079933"/>
              <a:gd name="connsiteY22337" fmla="*/ 953971 h 4687251"/>
              <a:gd name="connsiteX22338" fmla="*/ 4853624 w 8079933"/>
              <a:gd name="connsiteY22338" fmla="*/ 955379 h 4687251"/>
              <a:gd name="connsiteX22339" fmla="*/ 4870879 w 8079933"/>
              <a:gd name="connsiteY22339" fmla="*/ 962632 h 4687251"/>
              <a:gd name="connsiteX22340" fmla="*/ 4875328 w 8079933"/>
              <a:gd name="connsiteY22340" fmla="*/ 967721 h 4687251"/>
              <a:gd name="connsiteX22341" fmla="*/ 4875328 w 8079933"/>
              <a:gd name="connsiteY22341" fmla="*/ 973243 h 4687251"/>
              <a:gd name="connsiteX22342" fmla="*/ 4871856 w 8079933"/>
              <a:gd name="connsiteY22342" fmla="*/ 979198 h 4687251"/>
              <a:gd name="connsiteX22343" fmla="*/ 4873266 w 8079933"/>
              <a:gd name="connsiteY22343" fmla="*/ 972701 h 4687251"/>
              <a:gd name="connsiteX22344" fmla="*/ 4871530 w 8079933"/>
              <a:gd name="connsiteY22344" fmla="*/ 968587 h 4687251"/>
              <a:gd name="connsiteX22345" fmla="*/ 4868600 w 8079933"/>
              <a:gd name="connsiteY22345" fmla="*/ 971727 h 4687251"/>
              <a:gd name="connsiteX22346" fmla="*/ 4868600 w 8079933"/>
              <a:gd name="connsiteY22346" fmla="*/ 979956 h 4687251"/>
              <a:gd name="connsiteX22347" fmla="*/ 4864368 w 8079933"/>
              <a:gd name="connsiteY22347" fmla="*/ 985261 h 4687251"/>
              <a:gd name="connsiteX22348" fmla="*/ 4857965 w 8079933"/>
              <a:gd name="connsiteY22348" fmla="*/ 990566 h 4687251"/>
              <a:gd name="connsiteX22349" fmla="*/ 4852973 w 8079933"/>
              <a:gd name="connsiteY22349" fmla="*/ 990999 h 4687251"/>
              <a:gd name="connsiteX22350" fmla="*/ 4849392 w 8079933"/>
              <a:gd name="connsiteY22350" fmla="*/ 994248 h 4687251"/>
              <a:gd name="connsiteX22351" fmla="*/ 4845703 w 8079933"/>
              <a:gd name="connsiteY22351" fmla="*/ 994248 h 4687251"/>
              <a:gd name="connsiteX22352" fmla="*/ 4847113 w 8079933"/>
              <a:gd name="connsiteY22352" fmla="*/ 990999 h 4687251"/>
              <a:gd name="connsiteX22353" fmla="*/ 4843423 w 8079933"/>
              <a:gd name="connsiteY22353" fmla="*/ 988834 h 4687251"/>
              <a:gd name="connsiteX22354" fmla="*/ 4841904 w 8079933"/>
              <a:gd name="connsiteY22354" fmla="*/ 990133 h 4687251"/>
              <a:gd name="connsiteX22355" fmla="*/ 4840494 w 8079933"/>
              <a:gd name="connsiteY22355" fmla="*/ 984070 h 4687251"/>
              <a:gd name="connsiteX22356" fmla="*/ 4837564 w 8079933"/>
              <a:gd name="connsiteY22356" fmla="*/ 978765 h 4687251"/>
              <a:gd name="connsiteX22357" fmla="*/ 4837781 w 8079933"/>
              <a:gd name="connsiteY22357" fmla="*/ 966855 h 4687251"/>
              <a:gd name="connsiteX22358" fmla="*/ 4840710 w 8079933"/>
              <a:gd name="connsiteY22358" fmla="*/ 957111 h 4687251"/>
              <a:gd name="connsiteX22359" fmla="*/ 2517803 w 8079933"/>
              <a:gd name="connsiteY22359" fmla="*/ 952131 h 4687251"/>
              <a:gd name="connsiteX22360" fmla="*/ 2518019 w 8079933"/>
              <a:gd name="connsiteY22360" fmla="*/ 954729 h 4687251"/>
              <a:gd name="connsiteX22361" fmla="*/ 2518128 w 8079933"/>
              <a:gd name="connsiteY22361" fmla="*/ 957220 h 4687251"/>
              <a:gd name="connsiteX22362" fmla="*/ 2519756 w 8079933"/>
              <a:gd name="connsiteY22362" fmla="*/ 956353 h 4687251"/>
              <a:gd name="connsiteX22363" fmla="*/ 2523445 w 8079933"/>
              <a:gd name="connsiteY22363" fmla="*/ 956678 h 4687251"/>
              <a:gd name="connsiteX22364" fmla="*/ 2525616 w 8079933"/>
              <a:gd name="connsiteY22364" fmla="*/ 960143 h 4687251"/>
              <a:gd name="connsiteX22365" fmla="*/ 2530282 w 8079933"/>
              <a:gd name="connsiteY22365" fmla="*/ 960468 h 4687251"/>
              <a:gd name="connsiteX22366" fmla="*/ 2530065 w 8079933"/>
              <a:gd name="connsiteY22366" fmla="*/ 965340 h 4687251"/>
              <a:gd name="connsiteX22367" fmla="*/ 2531476 w 8079933"/>
              <a:gd name="connsiteY22367" fmla="*/ 968047 h 4687251"/>
              <a:gd name="connsiteX22368" fmla="*/ 2529740 w 8079933"/>
              <a:gd name="connsiteY22368" fmla="*/ 971078 h 4687251"/>
              <a:gd name="connsiteX22369" fmla="*/ 2525507 w 8079933"/>
              <a:gd name="connsiteY22369" fmla="*/ 969671 h 4687251"/>
              <a:gd name="connsiteX22370" fmla="*/ 2521601 w 8079933"/>
              <a:gd name="connsiteY22370" fmla="*/ 970428 h 4687251"/>
              <a:gd name="connsiteX22371" fmla="*/ 2519214 w 8079933"/>
              <a:gd name="connsiteY22371" fmla="*/ 969345 h 4687251"/>
              <a:gd name="connsiteX22372" fmla="*/ 2514873 w 8079933"/>
              <a:gd name="connsiteY22372" fmla="*/ 968155 h 4687251"/>
              <a:gd name="connsiteX22373" fmla="*/ 2512377 w 8079933"/>
              <a:gd name="connsiteY22373" fmla="*/ 969237 h 4687251"/>
              <a:gd name="connsiteX22374" fmla="*/ 2510315 w 8079933"/>
              <a:gd name="connsiteY22374" fmla="*/ 967830 h 4687251"/>
              <a:gd name="connsiteX22375" fmla="*/ 2509447 w 8079933"/>
              <a:gd name="connsiteY22375" fmla="*/ 961984 h 4687251"/>
              <a:gd name="connsiteX22376" fmla="*/ 2508145 w 8079933"/>
              <a:gd name="connsiteY22376" fmla="*/ 957653 h 4687251"/>
              <a:gd name="connsiteX22377" fmla="*/ 2509013 w 8079933"/>
              <a:gd name="connsiteY22377" fmla="*/ 955920 h 4687251"/>
              <a:gd name="connsiteX22378" fmla="*/ 2512051 w 8079933"/>
              <a:gd name="connsiteY22378" fmla="*/ 956029 h 4687251"/>
              <a:gd name="connsiteX22379" fmla="*/ 2514330 w 8079933"/>
              <a:gd name="connsiteY22379" fmla="*/ 955596 h 4687251"/>
              <a:gd name="connsiteX22380" fmla="*/ 2516066 w 8079933"/>
              <a:gd name="connsiteY22380" fmla="*/ 952780 h 4687251"/>
              <a:gd name="connsiteX22381" fmla="*/ 4292701 w 8079933"/>
              <a:gd name="connsiteY22381" fmla="*/ 952023 h 4687251"/>
              <a:gd name="connsiteX22382" fmla="*/ 4293678 w 8079933"/>
              <a:gd name="connsiteY22382" fmla="*/ 958627 h 4687251"/>
              <a:gd name="connsiteX22383" fmla="*/ 4298126 w 8079933"/>
              <a:gd name="connsiteY22383" fmla="*/ 962200 h 4687251"/>
              <a:gd name="connsiteX22384" fmla="*/ 4299429 w 8079933"/>
              <a:gd name="connsiteY22384" fmla="*/ 965015 h 4687251"/>
              <a:gd name="connsiteX22385" fmla="*/ 4297258 w 8079933"/>
              <a:gd name="connsiteY22385" fmla="*/ 966747 h 4687251"/>
              <a:gd name="connsiteX22386" fmla="*/ 4291942 w 8079933"/>
              <a:gd name="connsiteY22386" fmla="*/ 964473 h 4687251"/>
              <a:gd name="connsiteX22387" fmla="*/ 4291724 w 8079933"/>
              <a:gd name="connsiteY22387" fmla="*/ 960143 h 4687251"/>
              <a:gd name="connsiteX22388" fmla="*/ 4289988 w 8079933"/>
              <a:gd name="connsiteY22388" fmla="*/ 953863 h 4687251"/>
              <a:gd name="connsiteX22389" fmla="*/ 5054161 w 8079933"/>
              <a:gd name="connsiteY22389" fmla="*/ 950616 h 4687251"/>
              <a:gd name="connsiteX22390" fmla="*/ 5051232 w 8079933"/>
              <a:gd name="connsiteY22390" fmla="*/ 954189 h 4687251"/>
              <a:gd name="connsiteX22391" fmla="*/ 5050364 w 8079933"/>
              <a:gd name="connsiteY22391" fmla="*/ 951265 h 4687251"/>
              <a:gd name="connsiteX22392" fmla="*/ 2653232 w 8079933"/>
              <a:gd name="connsiteY22392" fmla="*/ 949749 h 4687251"/>
              <a:gd name="connsiteX22393" fmla="*/ 2655294 w 8079933"/>
              <a:gd name="connsiteY22393" fmla="*/ 951265 h 4687251"/>
              <a:gd name="connsiteX22394" fmla="*/ 2652907 w 8079933"/>
              <a:gd name="connsiteY22394" fmla="*/ 952131 h 4687251"/>
              <a:gd name="connsiteX22395" fmla="*/ 2649977 w 8079933"/>
              <a:gd name="connsiteY22395" fmla="*/ 950074 h 4687251"/>
              <a:gd name="connsiteX22396" fmla="*/ 4342076 w 8079933"/>
              <a:gd name="connsiteY22396" fmla="*/ 946826 h 4687251"/>
              <a:gd name="connsiteX22397" fmla="*/ 4347176 w 8079933"/>
              <a:gd name="connsiteY22397" fmla="*/ 947259 h 4687251"/>
              <a:gd name="connsiteX22398" fmla="*/ 4349455 w 8079933"/>
              <a:gd name="connsiteY22398" fmla="*/ 949641 h 4687251"/>
              <a:gd name="connsiteX22399" fmla="*/ 4348479 w 8079933"/>
              <a:gd name="connsiteY22399" fmla="*/ 954081 h 4687251"/>
              <a:gd name="connsiteX22400" fmla="*/ 4343812 w 8079933"/>
              <a:gd name="connsiteY22400" fmla="*/ 952023 h 4687251"/>
              <a:gd name="connsiteX22401" fmla="*/ 4338604 w 8079933"/>
              <a:gd name="connsiteY22401" fmla="*/ 949424 h 4687251"/>
              <a:gd name="connsiteX22402" fmla="*/ 2524747 w 8079933"/>
              <a:gd name="connsiteY22402" fmla="*/ 940438 h 4687251"/>
              <a:gd name="connsiteX22403" fmla="*/ 2525941 w 8079933"/>
              <a:gd name="connsiteY22403" fmla="*/ 941304 h 4687251"/>
              <a:gd name="connsiteX22404" fmla="*/ 2526158 w 8079933"/>
              <a:gd name="connsiteY22404" fmla="*/ 944876 h 4687251"/>
              <a:gd name="connsiteX22405" fmla="*/ 2524747 w 8079933"/>
              <a:gd name="connsiteY22405" fmla="*/ 946176 h 4687251"/>
              <a:gd name="connsiteX22406" fmla="*/ 2523120 w 8079933"/>
              <a:gd name="connsiteY22406" fmla="*/ 943469 h 4687251"/>
              <a:gd name="connsiteX22407" fmla="*/ 494944 w 8079933"/>
              <a:gd name="connsiteY22407" fmla="*/ 940114 h 4687251"/>
              <a:gd name="connsiteX22408" fmla="*/ 494512 w 8079933"/>
              <a:gd name="connsiteY22408" fmla="*/ 943795 h 4687251"/>
              <a:gd name="connsiteX22409" fmla="*/ 499937 w 8079933"/>
              <a:gd name="connsiteY22409" fmla="*/ 947693 h 4687251"/>
              <a:gd name="connsiteX22410" fmla="*/ 500480 w 8079933"/>
              <a:gd name="connsiteY22410" fmla="*/ 951699 h 4687251"/>
              <a:gd name="connsiteX22411" fmla="*/ 496030 w 8079933"/>
              <a:gd name="connsiteY22411" fmla="*/ 958195 h 4687251"/>
              <a:gd name="connsiteX22412" fmla="*/ 494296 w 8079933"/>
              <a:gd name="connsiteY22412" fmla="*/ 964042 h 4687251"/>
              <a:gd name="connsiteX22413" fmla="*/ 487893 w 8079933"/>
              <a:gd name="connsiteY22413" fmla="*/ 964042 h 4687251"/>
              <a:gd name="connsiteX22414" fmla="*/ 483443 w 8079933"/>
              <a:gd name="connsiteY22414" fmla="*/ 962310 h 4687251"/>
              <a:gd name="connsiteX22415" fmla="*/ 479320 w 8079933"/>
              <a:gd name="connsiteY22415" fmla="*/ 965233 h 4687251"/>
              <a:gd name="connsiteX22416" fmla="*/ 474978 w 8079933"/>
              <a:gd name="connsiteY22416" fmla="*/ 961985 h 4687251"/>
              <a:gd name="connsiteX22417" fmla="*/ 470312 w 8079933"/>
              <a:gd name="connsiteY22417" fmla="*/ 961119 h 4687251"/>
              <a:gd name="connsiteX22418" fmla="*/ 465320 w 8079933"/>
              <a:gd name="connsiteY22418" fmla="*/ 952565 h 4687251"/>
              <a:gd name="connsiteX22419" fmla="*/ 462934 w 8079933"/>
              <a:gd name="connsiteY22419" fmla="*/ 943579 h 4687251"/>
              <a:gd name="connsiteX22420" fmla="*/ 468686 w 8079933"/>
              <a:gd name="connsiteY22420" fmla="*/ 943254 h 4687251"/>
              <a:gd name="connsiteX22421" fmla="*/ 474327 w 8079933"/>
              <a:gd name="connsiteY22421" fmla="*/ 945203 h 4687251"/>
              <a:gd name="connsiteX22422" fmla="*/ 478993 w 8079933"/>
              <a:gd name="connsiteY22422" fmla="*/ 944769 h 4687251"/>
              <a:gd name="connsiteX22423" fmla="*/ 482791 w 8079933"/>
              <a:gd name="connsiteY22423" fmla="*/ 946502 h 4687251"/>
              <a:gd name="connsiteX22424" fmla="*/ 488433 w 8079933"/>
              <a:gd name="connsiteY22424" fmla="*/ 941522 h 4687251"/>
              <a:gd name="connsiteX22425" fmla="*/ 3452022 w 8079933"/>
              <a:gd name="connsiteY22425" fmla="*/ 938706 h 4687251"/>
              <a:gd name="connsiteX22426" fmla="*/ 3455603 w 8079933"/>
              <a:gd name="connsiteY22426" fmla="*/ 939355 h 4687251"/>
              <a:gd name="connsiteX22427" fmla="*/ 3455603 w 8079933"/>
              <a:gd name="connsiteY22427" fmla="*/ 941196 h 4687251"/>
              <a:gd name="connsiteX22428" fmla="*/ 3452347 w 8079933"/>
              <a:gd name="connsiteY22428" fmla="*/ 941846 h 4687251"/>
              <a:gd name="connsiteX22429" fmla="*/ 3450069 w 8079933"/>
              <a:gd name="connsiteY22429" fmla="*/ 940763 h 4687251"/>
              <a:gd name="connsiteX22430" fmla="*/ 3452022 w 8079933"/>
              <a:gd name="connsiteY22430" fmla="*/ 938706 h 4687251"/>
              <a:gd name="connsiteX22431" fmla="*/ 2489696 w 8079933"/>
              <a:gd name="connsiteY22431" fmla="*/ 936324 h 4687251"/>
              <a:gd name="connsiteX22432" fmla="*/ 2494688 w 8079933"/>
              <a:gd name="connsiteY22432" fmla="*/ 937840 h 4687251"/>
              <a:gd name="connsiteX22433" fmla="*/ 2496858 w 8079933"/>
              <a:gd name="connsiteY22433" fmla="*/ 940979 h 4687251"/>
              <a:gd name="connsiteX22434" fmla="*/ 2499462 w 8079933"/>
              <a:gd name="connsiteY22434" fmla="*/ 940979 h 4687251"/>
              <a:gd name="connsiteX22435" fmla="*/ 2502718 w 8079933"/>
              <a:gd name="connsiteY22435" fmla="*/ 944553 h 4687251"/>
              <a:gd name="connsiteX22436" fmla="*/ 2504454 w 8079933"/>
              <a:gd name="connsiteY22436" fmla="*/ 949208 h 4687251"/>
              <a:gd name="connsiteX22437" fmla="*/ 2504346 w 8079933"/>
              <a:gd name="connsiteY22437" fmla="*/ 952781 h 4687251"/>
              <a:gd name="connsiteX22438" fmla="*/ 2500222 w 8079933"/>
              <a:gd name="connsiteY22438" fmla="*/ 956246 h 4687251"/>
              <a:gd name="connsiteX22439" fmla="*/ 2498160 w 8079933"/>
              <a:gd name="connsiteY22439" fmla="*/ 960902 h 4687251"/>
              <a:gd name="connsiteX22440" fmla="*/ 2497726 w 8079933"/>
              <a:gd name="connsiteY22440" fmla="*/ 965665 h 4687251"/>
              <a:gd name="connsiteX22441" fmla="*/ 2491541 w 8079933"/>
              <a:gd name="connsiteY22441" fmla="*/ 975302 h 4687251"/>
              <a:gd name="connsiteX22442" fmla="*/ 2489479 w 8079933"/>
              <a:gd name="connsiteY22442" fmla="*/ 978875 h 4687251"/>
              <a:gd name="connsiteX22443" fmla="*/ 2485681 w 8079933"/>
              <a:gd name="connsiteY22443" fmla="*/ 980065 h 4687251"/>
              <a:gd name="connsiteX22444" fmla="*/ 2479821 w 8079933"/>
              <a:gd name="connsiteY22444" fmla="*/ 982989 h 4687251"/>
              <a:gd name="connsiteX22445" fmla="*/ 2478519 w 8079933"/>
              <a:gd name="connsiteY22445" fmla="*/ 984613 h 4687251"/>
              <a:gd name="connsiteX22446" fmla="*/ 2475046 w 8079933"/>
              <a:gd name="connsiteY22446" fmla="*/ 985046 h 4687251"/>
              <a:gd name="connsiteX22447" fmla="*/ 2469838 w 8079933"/>
              <a:gd name="connsiteY22447" fmla="*/ 987320 h 4687251"/>
              <a:gd name="connsiteX22448" fmla="*/ 2467125 w 8079933"/>
              <a:gd name="connsiteY22448" fmla="*/ 985479 h 4687251"/>
              <a:gd name="connsiteX22449" fmla="*/ 2460397 w 8079933"/>
              <a:gd name="connsiteY22449" fmla="*/ 986779 h 4687251"/>
              <a:gd name="connsiteX22450" fmla="*/ 2456599 w 8079933"/>
              <a:gd name="connsiteY22450" fmla="*/ 985479 h 4687251"/>
              <a:gd name="connsiteX22451" fmla="*/ 2453669 w 8079933"/>
              <a:gd name="connsiteY22451" fmla="*/ 985587 h 4687251"/>
              <a:gd name="connsiteX22452" fmla="*/ 2452909 w 8079933"/>
              <a:gd name="connsiteY22452" fmla="*/ 984071 h 4687251"/>
              <a:gd name="connsiteX22453" fmla="*/ 2454536 w 8079933"/>
              <a:gd name="connsiteY22453" fmla="*/ 978767 h 4687251"/>
              <a:gd name="connsiteX22454" fmla="*/ 2453126 w 8079933"/>
              <a:gd name="connsiteY22454" fmla="*/ 976818 h 4687251"/>
              <a:gd name="connsiteX22455" fmla="*/ 2453669 w 8079933"/>
              <a:gd name="connsiteY22455" fmla="*/ 971512 h 4687251"/>
              <a:gd name="connsiteX22456" fmla="*/ 2454211 w 8079933"/>
              <a:gd name="connsiteY22456" fmla="*/ 966207 h 4687251"/>
              <a:gd name="connsiteX22457" fmla="*/ 2460397 w 8079933"/>
              <a:gd name="connsiteY22457" fmla="*/ 960036 h 4687251"/>
              <a:gd name="connsiteX22458" fmla="*/ 2463001 w 8079933"/>
              <a:gd name="connsiteY22458" fmla="*/ 954622 h 4687251"/>
              <a:gd name="connsiteX22459" fmla="*/ 2466582 w 8079933"/>
              <a:gd name="connsiteY22459" fmla="*/ 952240 h 4687251"/>
              <a:gd name="connsiteX22460" fmla="*/ 2473527 w 8079933"/>
              <a:gd name="connsiteY22460" fmla="*/ 942279 h 4687251"/>
              <a:gd name="connsiteX22461" fmla="*/ 2478085 w 8079933"/>
              <a:gd name="connsiteY22461" fmla="*/ 939355 h 4687251"/>
              <a:gd name="connsiteX22462" fmla="*/ 2480364 w 8079933"/>
              <a:gd name="connsiteY22462" fmla="*/ 939355 h 4687251"/>
              <a:gd name="connsiteX22463" fmla="*/ 2482208 w 8079933"/>
              <a:gd name="connsiteY22463" fmla="*/ 937298 h 4687251"/>
              <a:gd name="connsiteX22464" fmla="*/ 2485030 w 8079933"/>
              <a:gd name="connsiteY22464" fmla="*/ 938706 h 4687251"/>
              <a:gd name="connsiteX22465" fmla="*/ 4357811 w 8079933"/>
              <a:gd name="connsiteY22465" fmla="*/ 936215 h 4687251"/>
              <a:gd name="connsiteX22466" fmla="*/ 4359222 w 8079933"/>
              <a:gd name="connsiteY22466" fmla="*/ 941520 h 4687251"/>
              <a:gd name="connsiteX22467" fmla="*/ 4355424 w 8079933"/>
              <a:gd name="connsiteY22467" fmla="*/ 946067 h 4687251"/>
              <a:gd name="connsiteX22468" fmla="*/ 4354664 w 8079933"/>
              <a:gd name="connsiteY22468" fmla="*/ 950182 h 4687251"/>
              <a:gd name="connsiteX22469" fmla="*/ 4349347 w 8079933"/>
              <a:gd name="connsiteY22469" fmla="*/ 943577 h 4687251"/>
              <a:gd name="connsiteX22470" fmla="*/ 5035606 w 8079933"/>
              <a:gd name="connsiteY22470" fmla="*/ 934592 h 4687251"/>
              <a:gd name="connsiteX22471" fmla="*/ 5038644 w 8079933"/>
              <a:gd name="connsiteY22471" fmla="*/ 937840 h 4687251"/>
              <a:gd name="connsiteX22472" fmla="*/ 5046241 w 8079933"/>
              <a:gd name="connsiteY22472" fmla="*/ 941738 h 4687251"/>
              <a:gd name="connsiteX22473" fmla="*/ 5047109 w 8079933"/>
              <a:gd name="connsiteY22473" fmla="*/ 947151 h 4687251"/>
              <a:gd name="connsiteX22474" fmla="*/ 5039404 w 8079933"/>
              <a:gd name="connsiteY22474" fmla="*/ 941629 h 4687251"/>
              <a:gd name="connsiteX22475" fmla="*/ 5034521 w 8079933"/>
              <a:gd name="connsiteY22475" fmla="*/ 936974 h 4687251"/>
              <a:gd name="connsiteX22476" fmla="*/ 2435222 w 8079933"/>
              <a:gd name="connsiteY22476" fmla="*/ 929177 h 4687251"/>
              <a:gd name="connsiteX22477" fmla="*/ 2436523 w 8079933"/>
              <a:gd name="connsiteY22477" fmla="*/ 930152 h 4687251"/>
              <a:gd name="connsiteX22478" fmla="*/ 2440539 w 8079933"/>
              <a:gd name="connsiteY22478" fmla="*/ 930476 h 4687251"/>
              <a:gd name="connsiteX22479" fmla="*/ 2440431 w 8079933"/>
              <a:gd name="connsiteY22479" fmla="*/ 933508 h 4687251"/>
              <a:gd name="connsiteX22480" fmla="*/ 2436958 w 8079933"/>
              <a:gd name="connsiteY22480" fmla="*/ 934266 h 4687251"/>
              <a:gd name="connsiteX22481" fmla="*/ 2436523 w 8079933"/>
              <a:gd name="connsiteY22481" fmla="*/ 937297 h 4687251"/>
              <a:gd name="connsiteX22482" fmla="*/ 2434896 w 8079933"/>
              <a:gd name="connsiteY22482" fmla="*/ 938489 h 4687251"/>
              <a:gd name="connsiteX22483" fmla="*/ 2433160 w 8079933"/>
              <a:gd name="connsiteY22483" fmla="*/ 932858 h 4687251"/>
              <a:gd name="connsiteX22484" fmla="*/ 5028227 w 8079933"/>
              <a:gd name="connsiteY22484" fmla="*/ 929070 h 4687251"/>
              <a:gd name="connsiteX22485" fmla="*/ 5030614 w 8079933"/>
              <a:gd name="connsiteY22485" fmla="*/ 930478 h 4687251"/>
              <a:gd name="connsiteX22486" fmla="*/ 5029855 w 8079933"/>
              <a:gd name="connsiteY22486" fmla="*/ 934050 h 4687251"/>
              <a:gd name="connsiteX22487" fmla="*/ 5028010 w 8079933"/>
              <a:gd name="connsiteY22487" fmla="*/ 934917 h 4687251"/>
              <a:gd name="connsiteX22488" fmla="*/ 4365734 w 8079933"/>
              <a:gd name="connsiteY22488" fmla="*/ 929070 h 4687251"/>
              <a:gd name="connsiteX22489" fmla="*/ 4371268 w 8079933"/>
              <a:gd name="connsiteY22489" fmla="*/ 933184 h 4687251"/>
              <a:gd name="connsiteX22490" fmla="*/ 4369640 w 8079933"/>
              <a:gd name="connsiteY22490" fmla="*/ 937299 h 4687251"/>
              <a:gd name="connsiteX22491" fmla="*/ 4363237 w 8079933"/>
              <a:gd name="connsiteY22491" fmla="*/ 939681 h 4687251"/>
              <a:gd name="connsiteX22492" fmla="*/ 4362695 w 8079933"/>
              <a:gd name="connsiteY22492" fmla="*/ 935133 h 4687251"/>
              <a:gd name="connsiteX22493" fmla="*/ 4359114 w 8079933"/>
              <a:gd name="connsiteY22493" fmla="*/ 931452 h 4687251"/>
              <a:gd name="connsiteX22494" fmla="*/ 2518345 w 8079933"/>
              <a:gd name="connsiteY22494" fmla="*/ 927337 h 4687251"/>
              <a:gd name="connsiteX22495" fmla="*/ 2519755 w 8079933"/>
              <a:gd name="connsiteY22495" fmla="*/ 931884 h 4687251"/>
              <a:gd name="connsiteX22496" fmla="*/ 2521275 w 8079933"/>
              <a:gd name="connsiteY22496" fmla="*/ 934591 h 4687251"/>
              <a:gd name="connsiteX22497" fmla="*/ 2519864 w 8079933"/>
              <a:gd name="connsiteY22497" fmla="*/ 936540 h 4687251"/>
              <a:gd name="connsiteX22498" fmla="*/ 2518129 w 8079933"/>
              <a:gd name="connsiteY22498" fmla="*/ 936322 h 4687251"/>
              <a:gd name="connsiteX22499" fmla="*/ 2517152 w 8079933"/>
              <a:gd name="connsiteY22499" fmla="*/ 932642 h 4687251"/>
              <a:gd name="connsiteX22500" fmla="*/ 2271903 w 8079933"/>
              <a:gd name="connsiteY22500" fmla="*/ 926796 h 4687251"/>
              <a:gd name="connsiteX22501" fmla="*/ 2276353 w 8079933"/>
              <a:gd name="connsiteY22501" fmla="*/ 927553 h 4687251"/>
              <a:gd name="connsiteX22502" fmla="*/ 2277112 w 8079933"/>
              <a:gd name="connsiteY22502" fmla="*/ 929394 h 4687251"/>
              <a:gd name="connsiteX22503" fmla="*/ 2274073 w 8079933"/>
              <a:gd name="connsiteY22503" fmla="*/ 932534 h 4687251"/>
              <a:gd name="connsiteX22504" fmla="*/ 2269082 w 8079933"/>
              <a:gd name="connsiteY22504" fmla="*/ 932534 h 4687251"/>
              <a:gd name="connsiteX22505" fmla="*/ 2267780 w 8079933"/>
              <a:gd name="connsiteY22505" fmla="*/ 931342 h 4687251"/>
              <a:gd name="connsiteX22506" fmla="*/ 2268322 w 8079933"/>
              <a:gd name="connsiteY22506" fmla="*/ 927012 h 4687251"/>
              <a:gd name="connsiteX22507" fmla="*/ 2986487 w 8079933"/>
              <a:gd name="connsiteY22507" fmla="*/ 926038 h 4687251"/>
              <a:gd name="connsiteX22508" fmla="*/ 2987681 w 8079933"/>
              <a:gd name="connsiteY22508" fmla="*/ 927770 h 4687251"/>
              <a:gd name="connsiteX22509" fmla="*/ 2984209 w 8079933"/>
              <a:gd name="connsiteY22509" fmla="*/ 931018 h 4687251"/>
              <a:gd name="connsiteX22510" fmla="*/ 2982472 w 8079933"/>
              <a:gd name="connsiteY22510" fmla="*/ 937840 h 4687251"/>
              <a:gd name="connsiteX22511" fmla="*/ 2979433 w 8079933"/>
              <a:gd name="connsiteY22511" fmla="*/ 940114 h 4687251"/>
              <a:gd name="connsiteX22512" fmla="*/ 2977697 w 8079933"/>
              <a:gd name="connsiteY22512" fmla="*/ 938056 h 4687251"/>
              <a:gd name="connsiteX22513" fmla="*/ 2978999 w 8079933"/>
              <a:gd name="connsiteY22513" fmla="*/ 933401 h 4687251"/>
              <a:gd name="connsiteX22514" fmla="*/ 2978674 w 8079933"/>
              <a:gd name="connsiteY22514" fmla="*/ 930477 h 4687251"/>
              <a:gd name="connsiteX22515" fmla="*/ 2976178 w 8079933"/>
              <a:gd name="connsiteY22515" fmla="*/ 930910 h 4687251"/>
              <a:gd name="connsiteX22516" fmla="*/ 2976178 w 8079933"/>
              <a:gd name="connsiteY22516" fmla="*/ 929395 h 4687251"/>
              <a:gd name="connsiteX22517" fmla="*/ 2979759 w 8079933"/>
              <a:gd name="connsiteY22517" fmla="*/ 926254 h 4687251"/>
              <a:gd name="connsiteX22518" fmla="*/ 2984100 w 8079933"/>
              <a:gd name="connsiteY22518" fmla="*/ 926579 h 4687251"/>
              <a:gd name="connsiteX22519" fmla="*/ 4355859 w 8079933"/>
              <a:gd name="connsiteY22519" fmla="*/ 925713 h 4687251"/>
              <a:gd name="connsiteX22520" fmla="*/ 4356727 w 8079933"/>
              <a:gd name="connsiteY22520" fmla="*/ 928853 h 4687251"/>
              <a:gd name="connsiteX22521" fmla="*/ 4344356 w 8079933"/>
              <a:gd name="connsiteY22521" fmla="*/ 941304 h 4687251"/>
              <a:gd name="connsiteX22522" fmla="*/ 4341209 w 8079933"/>
              <a:gd name="connsiteY22522" fmla="*/ 941954 h 4687251"/>
              <a:gd name="connsiteX22523" fmla="*/ 4333613 w 8079933"/>
              <a:gd name="connsiteY22523" fmla="*/ 939680 h 4687251"/>
              <a:gd name="connsiteX22524" fmla="*/ 4331768 w 8079933"/>
              <a:gd name="connsiteY22524" fmla="*/ 934699 h 4687251"/>
              <a:gd name="connsiteX22525" fmla="*/ 4336000 w 8079933"/>
              <a:gd name="connsiteY22525" fmla="*/ 935674 h 4687251"/>
              <a:gd name="connsiteX22526" fmla="*/ 4340015 w 8079933"/>
              <a:gd name="connsiteY22526" fmla="*/ 932534 h 4687251"/>
              <a:gd name="connsiteX22527" fmla="*/ 4342837 w 8079933"/>
              <a:gd name="connsiteY22527" fmla="*/ 935782 h 4687251"/>
              <a:gd name="connsiteX22528" fmla="*/ 4345224 w 8079933"/>
              <a:gd name="connsiteY22528" fmla="*/ 931018 h 4687251"/>
              <a:gd name="connsiteX22529" fmla="*/ 4348263 w 8079933"/>
              <a:gd name="connsiteY22529" fmla="*/ 932750 h 4687251"/>
              <a:gd name="connsiteX22530" fmla="*/ 2512051 w 8079933"/>
              <a:gd name="connsiteY22530" fmla="*/ 922789 h 4687251"/>
              <a:gd name="connsiteX22531" fmla="*/ 2514547 w 8079933"/>
              <a:gd name="connsiteY22531" fmla="*/ 926579 h 4687251"/>
              <a:gd name="connsiteX22532" fmla="*/ 2513679 w 8079933"/>
              <a:gd name="connsiteY22532" fmla="*/ 932967 h 4687251"/>
              <a:gd name="connsiteX22533" fmla="*/ 2514547 w 8079933"/>
              <a:gd name="connsiteY22533" fmla="*/ 939788 h 4687251"/>
              <a:gd name="connsiteX22534" fmla="*/ 2512485 w 8079933"/>
              <a:gd name="connsiteY22534" fmla="*/ 940654 h 4687251"/>
              <a:gd name="connsiteX22535" fmla="*/ 2510098 w 8079933"/>
              <a:gd name="connsiteY22535" fmla="*/ 942387 h 4687251"/>
              <a:gd name="connsiteX22536" fmla="*/ 2509446 w 8079933"/>
              <a:gd name="connsiteY22536" fmla="*/ 939030 h 4687251"/>
              <a:gd name="connsiteX22537" fmla="*/ 2507710 w 8079933"/>
              <a:gd name="connsiteY22537" fmla="*/ 936864 h 4687251"/>
              <a:gd name="connsiteX22538" fmla="*/ 2506951 w 8079933"/>
              <a:gd name="connsiteY22538" fmla="*/ 932425 h 4687251"/>
              <a:gd name="connsiteX22539" fmla="*/ 2509338 w 8079933"/>
              <a:gd name="connsiteY22539" fmla="*/ 927553 h 4687251"/>
              <a:gd name="connsiteX22540" fmla="*/ 2509664 w 8079933"/>
              <a:gd name="connsiteY22540" fmla="*/ 923547 h 4687251"/>
              <a:gd name="connsiteX22541" fmla="*/ 3434552 w 8079933"/>
              <a:gd name="connsiteY22541" fmla="*/ 918892 h 4687251"/>
              <a:gd name="connsiteX22542" fmla="*/ 3433249 w 8079933"/>
              <a:gd name="connsiteY22542" fmla="*/ 921382 h 4687251"/>
              <a:gd name="connsiteX22543" fmla="*/ 3430645 w 8079933"/>
              <a:gd name="connsiteY22543" fmla="*/ 922032 h 4687251"/>
              <a:gd name="connsiteX22544" fmla="*/ 3429126 w 8079933"/>
              <a:gd name="connsiteY22544" fmla="*/ 921490 h 4687251"/>
              <a:gd name="connsiteX22545" fmla="*/ 3431404 w 8079933"/>
              <a:gd name="connsiteY22545" fmla="*/ 919325 h 4687251"/>
              <a:gd name="connsiteX22546" fmla="*/ 4369856 w 8079933"/>
              <a:gd name="connsiteY22546" fmla="*/ 917160 h 4687251"/>
              <a:gd name="connsiteX22547" fmla="*/ 4372135 w 8079933"/>
              <a:gd name="connsiteY22547" fmla="*/ 919975 h 4687251"/>
              <a:gd name="connsiteX22548" fmla="*/ 4370724 w 8079933"/>
              <a:gd name="connsiteY22548" fmla="*/ 922357 h 4687251"/>
              <a:gd name="connsiteX22549" fmla="*/ 4368662 w 8079933"/>
              <a:gd name="connsiteY22549" fmla="*/ 923007 h 4687251"/>
              <a:gd name="connsiteX22550" fmla="*/ 4365624 w 8079933"/>
              <a:gd name="connsiteY22550" fmla="*/ 918243 h 4687251"/>
              <a:gd name="connsiteX22551" fmla="*/ 5192304 w 8079933"/>
              <a:gd name="connsiteY22551" fmla="*/ 915753 h 4687251"/>
              <a:gd name="connsiteX22552" fmla="*/ 5194583 w 8079933"/>
              <a:gd name="connsiteY22552" fmla="*/ 918351 h 4687251"/>
              <a:gd name="connsiteX22553" fmla="*/ 5194583 w 8079933"/>
              <a:gd name="connsiteY22553" fmla="*/ 921924 h 4687251"/>
              <a:gd name="connsiteX22554" fmla="*/ 5192413 w 8079933"/>
              <a:gd name="connsiteY22554" fmla="*/ 925173 h 4687251"/>
              <a:gd name="connsiteX22555" fmla="*/ 5189157 w 8079933"/>
              <a:gd name="connsiteY22555" fmla="*/ 924090 h 4687251"/>
              <a:gd name="connsiteX22556" fmla="*/ 5188072 w 8079933"/>
              <a:gd name="connsiteY22556" fmla="*/ 922032 h 4687251"/>
              <a:gd name="connsiteX22557" fmla="*/ 5189374 w 8079933"/>
              <a:gd name="connsiteY22557" fmla="*/ 919867 h 4687251"/>
              <a:gd name="connsiteX22558" fmla="*/ 5189374 w 8079933"/>
              <a:gd name="connsiteY22558" fmla="*/ 917594 h 4687251"/>
              <a:gd name="connsiteX22559" fmla="*/ 2439888 w 8079933"/>
              <a:gd name="connsiteY22559" fmla="*/ 914778 h 4687251"/>
              <a:gd name="connsiteX22560" fmla="*/ 2442168 w 8079933"/>
              <a:gd name="connsiteY22560" fmla="*/ 915644 h 4687251"/>
              <a:gd name="connsiteX22561" fmla="*/ 2444772 w 8079933"/>
              <a:gd name="connsiteY22561" fmla="*/ 917592 h 4687251"/>
              <a:gd name="connsiteX22562" fmla="*/ 2443687 w 8079933"/>
              <a:gd name="connsiteY22562" fmla="*/ 920516 h 4687251"/>
              <a:gd name="connsiteX22563" fmla="*/ 2443144 w 8079933"/>
              <a:gd name="connsiteY22563" fmla="*/ 923655 h 4687251"/>
              <a:gd name="connsiteX22564" fmla="*/ 2439346 w 8079933"/>
              <a:gd name="connsiteY22564" fmla="*/ 923981 h 4687251"/>
              <a:gd name="connsiteX22565" fmla="*/ 2439346 w 8079933"/>
              <a:gd name="connsiteY22565" fmla="*/ 921490 h 4687251"/>
              <a:gd name="connsiteX22566" fmla="*/ 2441191 w 8079933"/>
              <a:gd name="connsiteY22566" fmla="*/ 919325 h 4687251"/>
              <a:gd name="connsiteX22567" fmla="*/ 3465152 w 8079933"/>
              <a:gd name="connsiteY22567" fmla="*/ 911639 h 4687251"/>
              <a:gd name="connsiteX22568" fmla="*/ 3468951 w 8079933"/>
              <a:gd name="connsiteY22568" fmla="*/ 911855 h 4687251"/>
              <a:gd name="connsiteX22569" fmla="*/ 3470904 w 8079933"/>
              <a:gd name="connsiteY22569" fmla="*/ 916294 h 4687251"/>
              <a:gd name="connsiteX22570" fmla="*/ 3474268 w 8079933"/>
              <a:gd name="connsiteY22570" fmla="*/ 919434 h 4687251"/>
              <a:gd name="connsiteX22571" fmla="*/ 3473833 w 8079933"/>
              <a:gd name="connsiteY22571" fmla="*/ 932318 h 4687251"/>
              <a:gd name="connsiteX22572" fmla="*/ 3468082 w 8079933"/>
              <a:gd name="connsiteY22572" fmla="*/ 936649 h 4687251"/>
              <a:gd name="connsiteX22573" fmla="*/ 3465478 w 8079933"/>
              <a:gd name="connsiteY22573" fmla="*/ 935891 h 4687251"/>
              <a:gd name="connsiteX22574" fmla="*/ 3460052 w 8079933"/>
              <a:gd name="connsiteY22574" fmla="*/ 938057 h 4687251"/>
              <a:gd name="connsiteX22575" fmla="*/ 3454843 w 8079933"/>
              <a:gd name="connsiteY22575" fmla="*/ 934917 h 4687251"/>
              <a:gd name="connsiteX22576" fmla="*/ 3450394 w 8079933"/>
              <a:gd name="connsiteY22576" fmla="*/ 935891 h 4687251"/>
              <a:gd name="connsiteX22577" fmla="*/ 3447247 w 8079933"/>
              <a:gd name="connsiteY22577" fmla="*/ 939248 h 4687251"/>
              <a:gd name="connsiteX22578" fmla="*/ 3436938 w 8079933"/>
              <a:gd name="connsiteY22578" fmla="*/ 936974 h 4687251"/>
              <a:gd name="connsiteX22579" fmla="*/ 3426412 w 8079933"/>
              <a:gd name="connsiteY22579" fmla="*/ 939248 h 4687251"/>
              <a:gd name="connsiteX22580" fmla="*/ 3420769 w 8079933"/>
              <a:gd name="connsiteY22580" fmla="*/ 940114 h 4687251"/>
              <a:gd name="connsiteX22581" fmla="*/ 3419901 w 8079933"/>
              <a:gd name="connsiteY22581" fmla="*/ 937840 h 4687251"/>
              <a:gd name="connsiteX22582" fmla="*/ 3421637 w 8079933"/>
              <a:gd name="connsiteY22582" fmla="*/ 934592 h 4687251"/>
              <a:gd name="connsiteX22583" fmla="*/ 3422288 w 8079933"/>
              <a:gd name="connsiteY22583" fmla="*/ 931452 h 4687251"/>
              <a:gd name="connsiteX22584" fmla="*/ 3427497 w 8079933"/>
              <a:gd name="connsiteY22584" fmla="*/ 930586 h 4687251"/>
              <a:gd name="connsiteX22585" fmla="*/ 3430210 w 8079933"/>
              <a:gd name="connsiteY22585" fmla="*/ 925822 h 4687251"/>
              <a:gd name="connsiteX22586" fmla="*/ 3434876 w 8079933"/>
              <a:gd name="connsiteY22586" fmla="*/ 923549 h 4687251"/>
              <a:gd name="connsiteX22587" fmla="*/ 3438348 w 8079933"/>
              <a:gd name="connsiteY22587" fmla="*/ 919651 h 4687251"/>
              <a:gd name="connsiteX22588" fmla="*/ 3451262 w 8079933"/>
              <a:gd name="connsiteY22588" fmla="*/ 918027 h 4687251"/>
              <a:gd name="connsiteX22589" fmla="*/ 4380817 w 8079933"/>
              <a:gd name="connsiteY22589" fmla="*/ 909147 h 4687251"/>
              <a:gd name="connsiteX22590" fmla="*/ 4384181 w 8079933"/>
              <a:gd name="connsiteY22590" fmla="*/ 909147 h 4687251"/>
              <a:gd name="connsiteX22591" fmla="*/ 4382445 w 8079933"/>
              <a:gd name="connsiteY22591" fmla="*/ 912504 h 4687251"/>
              <a:gd name="connsiteX22592" fmla="*/ 4379189 w 8079933"/>
              <a:gd name="connsiteY22592" fmla="*/ 912504 h 4687251"/>
              <a:gd name="connsiteX22593" fmla="*/ 2279934 w 8079933"/>
              <a:gd name="connsiteY22593" fmla="*/ 908606 h 4687251"/>
              <a:gd name="connsiteX22594" fmla="*/ 2280694 w 8079933"/>
              <a:gd name="connsiteY22594" fmla="*/ 910014 h 4687251"/>
              <a:gd name="connsiteX22595" fmla="*/ 2280694 w 8079933"/>
              <a:gd name="connsiteY22595" fmla="*/ 914777 h 4687251"/>
              <a:gd name="connsiteX22596" fmla="*/ 2279609 w 8079933"/>
              <a:gd name="connsiteY22596" fmla="*/ 919649 h 4687251"/>
              <a:gd name="connsiteX22597" fmla="*/ 2279609 w 8079933"/>
              <a:gd name="connsiteY22597" fmla="*/ 924089 h 4687251"/>
              <a:gd name="connsiteX22598" fmla="*/ 2275702 w 8079933"/>
              <a:gd name="connsiteY22598" fmla="*/ 925496 h 4687251"/>
              <a:gd name="connsiteX22599" fmla="*/ 2269300 w 8079933"/>
              <a:gd name="connsiteY22599" fmla="*/ 925063 h 4687251"/>
              <a:gd name="connsiteX22600" fmla="*/ 2271579 w 8079933"/>
              <a:gd name="connsiteY22600" fmla="*/ 920949 h 4687251"/>
              <a:gd name="connsiteX22601" fmla="*/ 2271362 w 8079933"/>
              <a:gd name="connsiteY22601" fmla="*/ 916185 h 4687251"/>
              <a:gd name="connsiteX22602" fmla="*/ 2276679 w 8079933"/>
              <a:gd name="connsiteY22602" fmla="*/ 911530 h 4687251"/>
              <a:gd name="connsiteX22603" fmla="*/ 3472857 w 8079933"/>
              <a:gd name="connsiteY22603" fmla="*/ 907957 h 4687251"/>
              <a:gd name="connsiteX22604" fmla="*/ 3474919 w 8079933"/>
              <a:gd name="connsiteY22604" fmla="*/ 909473 h 4687251"/>
              <a:gd name="connsiteX22605" fmla="*/ 3475353 w 8079933"/>
              <a:gd name="connsiteY22605" fmla="*/ 912612 h 4687251"/>
              <a:gd name="connsiteX22606" fmla="*/ 3474160 w 8079933"/>
              <a:gd name="connsiteY22606" fmla="*/ 914236 h 4687251"/>
              <a:gd name="connsiteX22607" fmla="*/ 3472098 w 8079933"/>
              <a:gd name="connsiteY22607" fmla="*/ 912395 h 4687251"/>
              <a:gd name="connsiteX22608" fmla="*/ 3472315 w 8079933"/>
              <a:gd name="connsiteY22608" fmla="*/ 909473 h 4687251"/>
              <a:gd name="connsiteX22609" fmla="*/ 4397093 w 8079933"/>
              <a:gd name="connsiteY22609" fmla="*/ 906224 h 4687251"/>
              <a:gd name="connsiteX22610" fmla="*/ 4399806 w 8079933"/>
              <a:gd name="connsiteY22610" fmla="*/ 908497 h 4687251"/>
              <a:gd name="connsiteX22611" fmla="*/ 4403604 w 8079933"/>
              <a:gd name="connsiteY22611" fmla="*/ 909472 h 4687251"/>
              <a:gd name="connsiteX22612" fmla="*/ 4400565 w 8079933"/>
              <a:gd name="connsiteY22612" fmla="*/ 913370 h 4687251"/>
              <a:gd name="connsiteX22613" fmla="*/ 4406317 w 8079933"/>
              <a:gd name="connsiteY22613" fmla="*/ 913370 h 4687251"/>
              <a:gd name="connsiteX22614" fmla="*/ 4404255 w 8079933"/>
              <a:gd name="connsiteY22614" fmla="*/ 918783 h 4687251"/>
              <a:gd name="connsiteX22615" fmla="*/ 4399372 w 8079933"/>
              <a:gd name="connsiteY22615" fmla="*/ 919866 h 4687251"/>
              <a:gd name="connsiteX22616" fmla="*/ 4394271 w 8079933"/>
              <a:gd name="connsiteY22616" fmla="*/ 915860 h 4687251"/>
              <a:gd name="connsiteX22617" fmla="*/ 4389063 w 8079933"/>
              <a:gd name="connsiteY22617" fmla="*/ 915101 h 4687251"/>
              <a:gd name="connsiteX22618" fmla="*/ 4389388 w 8079933"/>
              <a:gd name="connsiteY22618" fmla="*/ 912720 h 4687251"/>
              <a:gd name="connsiteX22619" fmla="*/ 4391450 w 8079933"/>
              <a:gd name="connsiteY22619" fmla="*/ 910771 h 4687251"/>
              <a:gd name="connsiteX22620" fmla="*/ 4394271 w 8079933"/>
              <a:gd name="connsiteY22620" fmla="*/ 912070 h 4687251"/>
              <a:gd name="connsiteX22621" fmla="*/ 4396551 w 8079933"/>
              <a:gd name="connsiteY22621" fmla="*/ 910013 h 4687251"/>
              <a:gd name="connsiteX22622" fmla="*/ 2675261 w 8079933"/>
              <a:gd name="connsiteY22622" fmla="*/ 899620 h 4687251"/>
              <a:gd name="connsiteX22623" fmla="*/ 2678950 w 8079933"/>
              <a:gd name="connsiteY22623" fmla="*/ 900919 h 4687251"/>
              <a:gd name="connsiteX22624" fmla="*/ 2676455 w 8079933"/>
              <a:gd name="connsiteY22624" fmla="*/ 903518 h 4687251"/>
              <a:gd name="connsiteX22625" fmla="*/ 2673633 w 8079933"/>
              <a:gd name="connsiteY22625" fmla="*/ 903518 h 4687251"/>
              <a:gd name="connsiteX22626" fmla="*/ 2672765 w 8079933"/>
              <a:gd name="connsiteY22626" fmla="*/ 902326 h 4687251"/>
              <a:gd name="connsiteX22627" fmla="*/ 356586 w 8079933"/>
              <a:gd name="connsiteY22627" fmla="*/ 897671 h 4687251"/>
              <a:gd name="connsiteX22628" fmla="*/ 359299 w 8079933"/>
              <a:gd name="connsiteY22628" fmla="*/ 899620 h 4687251"/>
              <a:gd name="connsiteX22629" fmla="*/ 359518 w 8079933"/>
              <a:gd name="connsiteY22629" fmla="*/ 903734 h 4687251"/>
              <a:gd name="connsiteX22630" fmla="*/ 366027 w 8079933"/>
              <a:gd name="connsiteY22630" fmla="*/ 910554 h 4687251"/>
              <a:gd name="connsiteX22631" fmla="*/ 365160 w 8079933"/>
              <a:gd name="connsiteY22631" fmla="*/ 914453 h 4687251"/>
              <a:gd name="connsiteX22632" fmla="*/ 356479 w 8079933"/>
              <a:gd name="connsiteY22632" fmla="*/ 907740 h 4687251"/>
              <a:gd name="connsiteX22633" fmla="*/ 355611 w 8079933"/>
              <a:gd name="connsiteY22633" fmla="*/ 902976 h 4687251"/>
              <a:gd name="connsiteX22634" fmla="*/ 354093 w 8079933"/>
              <a:gd name="connsiteY22634" fmla="*/ 899511 h 4687251"/>
              <a:gd name="connsiteX22635" fmla="*/ 356586 w 8079933"/>
              <a:gd name="connsiteY22635" fmla="*/ 897671 h 4687251"/>
              <a:gd name="connsiteX22636" fmla="*/ 2921050 w 8079933"/>
              <a:gd name="connsiteY22636" fmla="*/ 896371 h 4687251"/>
              <a:gd name="connsiteX22637" fmla="*/ 2926260 w 8079933"/>
              <a:gd name="connsiteY22637" fmla="*/ 898428 h 4687251"/>
              <a:gd name="connsiteX22638" fmla="*/ 2933313 w 8079933"/>
              <a:gd name="connsiteY22638" fmla="*/ 899186 h 4687251"/>
              <a:gd name="connsiteX22639" fmla="*/ 2937762 w 8079933"/>
              <a:gd name="connsiteY22639" fmla="*/ 904166 h 4687251"/>
              <a:gd name="connsiteX22640" fmla="*/ 2945250 w 8079933"/>
              <a:gd name="connsiteY22640" fmla="*/ 905899 h 4687251"/>
              <a:gd name="connsiteX22641" fmla="*/ 2949699 w 8079933"/>
              <a:gd name="connsiteY22641" fmla="*/ 913586 h 4687251"/>
              <a:gd name="connsiteX22642" fmla="*/ 2952738 w 8079933"/>
              <a:gd name="connsiteY22642" fmla="*/ 924954 h 4687251"/>
              <a:gd name="connsiteX22643" fmla="*/ 2957295 w 8079933"/>
              <a:gd name="connsiteY22643" fmla="*/ 927011 h 4687251"/>
              <a:gd name="connsiteX22644" fmla="*/ 2961853 w 8079933"/>
              <a:gd name="connsiteY22644" fmla="*/ 927336 h 4687251"/>
              <a:gd name="connsiteX22645" fmla="*/ 2964675 w 8079933"/>
              <a:gd name="connsiteY22645" fmla="*/ 933399 h 4687251"/>
              <a:gd name="connsiteX22646" fmla="*/ 2966085 w 8079933"/>
              <a:gd name="connsiteY22646" fmla="*/ 940437 h 4687251"/>
              <a:gd name="connsiteX22647" fmla="*/ 2957730 w 8079933"/>
              <a:gd name="connsiteY22647" fmla="*/ 947583 h 4687251"/>
              <a:gd name="connsiteX22648" fmla="*/ 2950567 w 8079933"/>
              <a:gd name="connsiteY22648" fmla="*/ 947583 h 4687251"/>
              <a:gd name="connsiteX22649" fmla="*/ 2937762 w 8079933"/>
              <a:gd name="connsiteY22649" fmla="*/ 949856 h 4687251"/>
              <a:gd name="connsiteX22650" fmla="*/ 2934833 w 8079933"/>
              <a:gd name="connsiteY22650" fmla="*/ 952130 h 4687251"/>
              <a:gd name="connsiteX22651" fmla="*/ 2930600 w 8079933"/>
              <a:gd name="connsiteY22651" fmla="*/ 951264 h 4687251"/>
              <a:gd name="connsiteX22652" fmla="*/ 2929298 w 8079933"/>
              <a:gd name="connsiteY22652" fmla="*/ 947799 h 4687251"/>
              <a:gd name="connsiteX22653" fmla="*/ 2922244 w 8079933"/>
              <a:gd name="connsiteY22653" fmla="*/ 946933 h 4687251"/>
              <a:gd name="connsiteX22654" fmla="*/ 2919749 w 8079933"/>
              <a:gd name="connsiteY22654" fmla="*/ 944984 h 4687251"/>
              <a:gd name="connsiteX22655" fmla="*/ 2920074 w 8079933"/>
              <a:gd name="connsiteY22655" fmla="*/ 940762 h 4687251"/>
              <a:gd name="connsiteX22656" fmla="*/ 2922787 w 8079933"/>
              <a:gd name="connsiteY22656" fmla="*/ 940112 h 4687251"/>
              <a:gd name="connsiteX22657" fmla="*/ 2929515 w 8079933"/>
              <a:gd name="connsiteY22657" fmla="*/ 942603 h 4687251"/>
              <a:gd name="connsiteX22658" fmla="*/ 2933530 w 8079933"/>
              <a:gd name="connsiteY22658" fmla="*/ 942494 h 4687251"/>
              <a:gd name="connsiteX22659" fmla="*/ 2938847 w 8079933"/>
              <a:gd name="connsiteY22659" fmla="*/ 935781 h 4687251"/>
              <a:gd name="connsiteX22660" fmla="*/ 2931360 w 8079933"/>
              <a:gd name="connsiteY22660" fmla="*/ 940437 h 4687251"/>
              <a:gd name="connsiteX22661" fmla="*/ 2928321 w 8079933"/>
              <a:gd name="connsiteY22661" fmla="*/ 939354 h 4687251"/>
              <a:gd name="connsiteX22662" fmla="*/ 2926585 w 8079933"/>
              <a:gd name="connsiteY22662" fmla="*/ 937189 h 4687251"/>
              <a:gd name="connsiteX22663" fmla="*/ 2915191 w 8079933"/>
              <a:gd name="connsiteY22663" fmla="*/ 934374 h 4687251"/>
              <a:gd name="connsiteX22664" fmla="*/ 2913346 w 8079933"/>
              <a:gd name="connsiteY22664" fmla="*/ 930476 h 4687251"/>
              <a:gd name="connsiteX22665" fmla="*/ 2914756 w 8079933"/>
              <a:gd name="connsiteY22665" fmla="*/ 928744 h 4687251"/>
              <a:gd name="connsiteX22666" fmla="*/ 2918881 w 8079933"/>
              <a:gd name="connsiteY22666" fmla="*/ 927553 h 4687251"/>
              <a:gd name="connsiteX22667" fmla="*/ 2912478 w 8079933"/>
              <a:gd name="connsiteY22667" fmla="*/ 923872 h 4687251"/>
              <a:gd name="connsiteX22668" fmla="*/ 2913997 w 8079933"/>
              <a:gd name="connsiteY22668" fmla="*/ 920299 h 4687251"/>
              <a:gd name="connsiteX22669" fmla="*/ 2913997 w 8079933"/>
              <a:gd name="connsiteY22669" fmla="*/ 916726 h 4687251"/>
              <a:gd name="connsiteX22670" fmla="*/ 2918012 w 8079933"/>
              <a:gd name="connsiteY22670" fmla="*/ 914993 h 4687251"/>
              <a:gd name="connsiteX22671" fmla="*/ 2922461 w 8079933"/>
              <a:gd name="connsiteY22671" fmla="*/ 917701 h 4687251"/>
              <a:gd name="connsiteX22672" fmla="*/ 2920399 w 8079933"/>
              <a:gd name="connsiteY22672" fmla="*/ 913261 h 4687251"/>
              <a:gd name="connsiteX22673" fmla="*/ 2915191 w 8079933"/>
              <a:gd name="connsiteY22673" fmla="*/ 910338 h 4687251"/>
              <a:gd name="connsiteX22674" fmla="*/ 2915191 w 8079933"/>
              <a:gd name="connsiteY22674" fmla="*/ 904491 h 4687251"/>
              <a:gd name="connsiteX22675" fmla="*/ 2920725 w 8079933"/>
              <a:gd name="connsiteY22675" fmla="*/ 899294 h 4687251"/>
              <a:gd name="connsiteX22676" fmla="*/ 2670594 w 8079933"/>
              <a:gd name="connsiteY22676" fmla="*/ 895614 h 4687251"/>
              <a:gd name="connsiteX22677" fmla="*/ 2672005 w 8079933"/>
              <a:gd name="connsiteY22677" fmla="*/ 897779 h 4687251"/>
              <a:gd name="connsiteX22678" fmla="*/ 2668316 w 8079933"/>
              <a:gd name="connsiteY22678" fmla="*/ 902218 h 4687251"/>
              <a:gd name="connsiteX22679" fmla="*/ 2665168 w 8079933"/>
              <a:gd name="connsiteY22679" fmla="*/ 902435 h 4687251"/>
              <a:gd name="connsiteX22680" fmla="*/ 2663975 w 8079933"/>
              <a:gd name="connsiteY22680" fmla="*/ 900811 h 4687251"/>
              <a:gd name="connsiteX22681" fmla="*/ 2664083 w 8079933"/>
              <a:gd name="connsiteY22681" fmla="*/ 897779 h 4687251"/>
              <a:gd name="connsiteX22682" fmla="*/ 2668966 w 8079933"/>
              <a:gd name="connsiteY22682" fmla="*/ 897022 h 4687251"/>
              <a:gd name="connsiteX22683" fmla="*/ 7288304 w 8079933"/>
              <a:gd name="connsiteY22683" fmla="*/ 890633 h 4687251"/>
              <a:gd name="connsiteX22684" fmla="*/ 7289714 w 8079933"/>
              <a:gd name="connsiteY22684" fmla="*/ 892041 h 4687251"/>
              <a:gd name="connsiteX22685" fmla="*/ 7289606 w 8079933"/>
              <a:gd name="connsiteY22685" fmla="*/ 894855 h 4687251"/>
              <a:gd name="connsiteX22686" fmla="*/ 7287435 w 8079933"/>
              <a:gd name="connsiteY22686" fmla="*/ 897562 h 4687251"/>
              <a:gd name="connsiteX22687" fmla="*/ 7285808 w 8079933"/>
              <a:gd name="connsiteY22687" fmla="*/ 892690 h 4687251"/>
              <a:gd name="connsiteX22688" fmla="*/ 7287327 w 8079933"/>
              <a:gd name="connsiteY22688" fmla="*/ 891932 h 4687251"/>
              <a:gd name="connsiteX22689" fmla="*/ 358324 w 8079933"/>
              <a:gd name="connsiteY22689" fmla="*/ 890417 h 4687251"/>
              <a:gd name="connsiteX22690" fmla="*/ 359842 w 8079933"/>
              <a:gd name="connsiteY22690" fmla="*/ 893882 h 4687251"/>
              <a:gd name="connsiteX22691" fmla="*/ 357238 w 8079933"/>
              <a:gd name="connsiteY22691" fmla="*/ 894748 h 4687251"/>
              <a:gd name="connsiteX22692" fmla="*/ 356152 w 8079933"/>
              <a:gd name="connsiteY22692" fmla="*/ 892907 h 4687251"/>
              <a:gd name="connsiteX22693" fmla="*/ 2486224 w 8079933"/>
              <a:gd name="connsiteY22693" fmla="*/ 886952 h 4687251"/>
              <a:gd name="connsiteX22694" fmla="*/ 2488829 w 8079933"/>
              <a:gd name="connsiteY22694" fmla="*/ 887493 h 4687251"/>
              <a:gd name="connsiteX22695" fmla="*/ 2494146 w 8079933"/>
              <a:gd name="connsiteY22695" fmla="*/ 888035 h 4687251"/>
              <a:gd name="connsiteX22696" fmla="*/ 2495014 w 8079933"/>
              <a:gd name="connsiteY22696" fmla="*/ 893340 h 4687251"/>
              <a:gd name="connsiteX22697" fmla="*/ 2492952 w 8079933"/>
              <a:gd name="connsiteY22697" fmla="*/ 897238 h 4687251"/>
              <a:gd name="connsiteX22698" fmla="*/ 2490022 w 8079933"/>
              <a:gd name="connsiteY22698" fmla="*/ 897563 h 4687251"/>
              <a:gd name="connsiteX22699" fmla="*/ 2487093 w 8079933"/>
              <a:gd name="connsiteY22699" fmla="*/ 901569 h 4687251"/>
              <a:gd name="connsiteX22700" fmla="*/ 2483294 w 8079933"/>
              <a:gd name="connsiteY22700" fmla="*/ 900919 h 4687251"/>
              <a:gd name="connsiteX22701" fmla="*/ 2482101 w 8079933"/>
              <a:gd name="connsiteY22701" fmla="*/ 893989 h 4687251"/>
              <a:gd name="connsiteX22702" fmla="*/ 2483837 w 8079933"/>
              <a:gd name="connsiteY22702" fmla="*/ 892041 h 4687251"/>
              <a:gd name="connsiteX22703" fmla="*/ 2979758 w 8079933"/>
              <a:gd name="connsiteY22703" fmla="*/ 885545 h 4687251"/>
              <a:gd name="connsiteX22704" fmla="*/ 2982036 w 8079933"/>
              <a:gd name="connsiteY22704" fmla="*/ 886302 h 4687251"/>
              <a:gd name="connsiteX22705" fmla="*/ 2983990 w 8079933"/>
              <a:gd name="connsiteY22705" fmla="*/ 888793 h 4687251"/>
              <a:gd name="connsiteX22706" fmla="*/ 2982796 w 8079933"/>
              <a:gd name="connsiteY22706" fmla="*/ 891283 h 4687251"/>
              <a:gd name="connsiteX22707" fmla="*/ 2980626 w 8079933"/>
              <a:gd name="connsiteY22707" fmla="*/ 889226 h 4687251"/>
              <a:gd name="connsiteX22708" fmla="*/ 2922786 w 8079933"/>
              <a:gd name="connsiteY22708" fmla="*/ 884029 h 4687251"/>
              <a:gd name="connsiteX22709" fmla="*/ 2925390 w 8079933"/>
              <a:gd name="connsiteY22709" fmla="*/ 888793 h 4687251"/>
              <a:gd name="connsiteX22710" fmla="*/ 2924414 w 8079933"/>
              <a:gd name="connsiteY22710" fmla="*/ 891392 h 4687251"/>
              <a:gd name="connsiteX22711" fmla="*/ 2921158 w 8079933"/>
              <a:gd name="connsiteY22711" fmla="*/ 890417 h 4687251"/>
              <a:gd name="connsiteX22712" fmla="*/ 2918880 w 8079933"/>
              <a:gd name="connsiteY22712" fmla="*/ 886411 h 4687251"/>
              <a:gd name="connsiteX22713" fmla="*/ 2920398 w 8079933"/>
              <a:gd name="connsiteY22713" fmla="*/ 884137 h 4687251"/>
              <a:gd name="connsiteX22714" fmla="*/ 5020414 w 8079933"/>
              <a:gd name="connsiteY22714" fmla="*/ 883704 h 4687251"/>
              <a:gd name="connsiteX22715" fmla="*/ 5023669 w 8079933"/>
              <a:gd name="connsiteY22715" fmla="*/ 883920 h 4687251"/>
              <a:gd name="connsiteX22716" fmla="*/ 5029746 w 8079933"/>
              <a:gd name="connsiteY22716" fmla="*/ 888359 h 4687251"/>
              <a:gd name="connsiteX22717" fmla="*/ 5031266 w 8079933"/>
              <a:gd name="connsiteY22717" fmla="*/ 891608 h 4687251"/>
              <a:gd name="connsiteX22718" fmla="*/ 5036257 w 8079933"/>
              <a:gd name="connsiteY22718" fmla="*/ 894314 h 4687251"/>
              <a:gd name="connsiteX22719" fmla="*/ 5041466 w 8079933"/>
              <a:gd name="connsiteY22719" fmla="*/ 899620 h 4687251"/>
              <a:gd name="connsiteX22720" fmla="*/ 5046240 w 8079933"/>
              <a:gd name="connsiteY22720" fmla="*/ 900161 h 4687251"/>
              <a:gd name="connsiteX22721" fmla="*/ 5051774 w 8079933"/>
              <a:gd name="connsiteY22721" fmla="*/ 906332 h 4687251"/>
              <a:gd name="connsiteX22722" fmla="*/ 5060564 w 8079933"/>
              <a:gd name="connsiteY22722" fmla="*/ 911854 h 4687251"/>
              <a:gd name="connsiteX22723" fmla="*/ 5061758 w 8079933"/>
              <a:gd name="connsiteY22723" fmla="*/ 919433 h 4687251"/>
              <a:gd name="connsiteX22724" fmla="*/ 5059371 w 8079933"/>
              <a:gd name="connsiteY22724" fmla="*/ 924089 h 4687251"/>
              <a:gd name="connsiteX22725" fmla="*/ 5054379 w 8079933"/>
              <a:gd name="connsiteY22725" fmla="*/ 922681 h 4687251"/>
              <a:gd name="connsiteX22726" fmla="*/ 5051992 w 8079933"/>
              <a:gd name="connsiteY22726" fmla="*/ 925930 h 4687251"/>
              <a:gd name="connsiteX22727" fmla="*/ 5045806 w 8079933"/>
              <a:gd name="connsiteY22727" fmla="*/ 924955 h 4687251"/>
              <a:gd name="connsiteX22728" fmla="*/ 5042985 w 8079933"/>
              <a:gd name="connsiteY22728" fmla="*/ 922140 h 4687251"/>
              <a:gd name="connsiteX22729" fmla="*/ 5043853 w 8079933"/>
              <a:gd name="connsiteY22729" fmla="*/ 920083 h 4687251"/>
              <a:gd name="connsiteX22730" fmla="*/ 5042333 w 8079933"/>
              <a:gd name="connsiteY22730" fmla="*/ 914236 h 4687251"/>
              <a:gd name="connsiteX22731" fmla="*/ 5040923 w 8079933"/>
              <a:gd name="connsiteY22731" fmla="*/ 912396 h 4687251"/>
              <a:gd name="connsiteX22732" fmla="*/ 5036800 w 8079933"/>
              <a:gd name="connsiteY22732" fmla="*/ 912937 h 4687251"/>
              <a:gd name="connsiteX22733" fmla="*/ 5033327 w 8079933"/>
              <a:gd name="connsiteY22733" fmla="*/ 911313 h 4687251"/>
              <a:gd name="connsiteX22734" fmla="*/ 5033002 w 8079933"/>
              <a:gd name="connsiteY22734" fmla="*/ 916726 h 4687251"/>
              <a:gd name="connsiteX22735" fmla="*/ 5030722 w 8079933"/>
              <a:gd name="connsiteY22735" fmla="*/ 916402 h 4687251"/>
              <a:gd name="connsiteX22736" fmla="*/ 5027684 w 8079933"/>
              <a:gd name="connsiteY22736" fmla="*/ 912071 h 4687251"/>
              <a:gd name="connsiteX22737" fmla="*/ 5023018 w 8079933"/>
              <a:gd name="connsiteY22737" fmla="*/ 909473 h 4687251"/>
              <a:gd name="connsiteX22738" fmla="*/ 5014771 w 8079933"/>
              <a:gd name="connsiteY22738" fmla="*/ 900161 h 4687251"/>
              <a:gd name="connsiteX22739" fmla="*/ 5013035 w 8079933"/>
              <a:gd name="connsiteY22739" fmla="*/ 896263 h 4687251"/>
              <a:gd name="connsiteX22740" fmla="*/ 5014880 w 8079933"/>
              <a:gd name="connsiteY22740" fmla="*/ 895938 h 4687251"/>
              <a:gd name="connsiteX22741" fmla="*/ 5018352 w 8079933"/>
              <a:gd name="connsiteY22741" fmla="*/ 898861 h 4687251"/>
              <a:gd name="connsiteX22742" fmla="*/ 5020740 w 8079933"/>
              <a:gd name="connsiteY22742" fmla="*/ 897996 h 4687251"/>
              <a:gd name="connsiteX22743" fmla="*/ 5021608 w 8079933"/>
              <a:gd name="connsiteY22743" fmla="*/ 895722 h 4687251"/>
              <a:gd name="connsiteX22744" fmla="*/ 5017701 w 8079933"/>
              <a:gd name="connsiteY22744" fmla="*/ 895073 h 4687251"/>
              <a:gd name="connsiteX22745" fmla="*/ 5014880 w 8079933"/>
              <a:gd name="connsiteY22745" fmla="*/ 891067 h 4687251"/>
              <a:gd name="connsiteX22746" fmla="*/ 5018243 w 8079933"/>
              <a:gd name="connsiteY22746" fmla="*/ 888359 h 4687251"/>
              <a:gd name="connsiteX22747" fmla="*/ 5017810 w 8079933"/>
              <a:gd name="connsiteY22747" fmla="*/ 885761 h 4687251"/>
              <a:gd name="connsiteX22748" fmla="*/ 2463436 w 8079933"/>
              <a:gd name="connsiteY22748" fmla="*/ 881647 h 4687251"/>
              <a:gd name="connsiteX22749" fmla="*/ 2465715 w 8079933"/>
              <a:gd name="connsiteY22749" fmla="*/ 882838 h 4687251"/>
              <a:gd name="connsiteX22750" fmla="*/ 2466040 w 8079933"/>
              <a:gd name="connsiteY22750" fmla="*/ 887494 h 4687251"/>
              <a:gd name="connsiteX22751" fmla="*/ 2462134 w 8079933"/>
              <a:gd name="connsiteY22751" fmla="*/ 890741 h 4687251"/>
              <a:gd name="connsiteX22752" fmla="*/ 2458119 w 8079933"/>
              <a:gd name="connsiteY22752" fmla="*/ 894639 h 4687251"/>
              <a:gd name="connsiteX22753" fmla="*/ 2455732 w 8079933"/>
              <a:gd name="connsiteY22753" fmla="*/ 894639 h 4687251"/>
              <a:gd name="connsiteX22754" fmla="*/ 2453778 w 8079933"/>
              <a:gd name="connsiteY22754" fmla="*/ 897996 h 4687251"/>
              <a:gd name="connsiteX22755" fmla="*/ 2444880 w 8079933"/>
              <a:gd name="connsiteY22755" fmla="*/ 905359 h 4687251"/>
              <a:gd name="connsiteX22756" fmla="*/ 2441733 w 8079933"/>
              <a:gd name="connsiteY22756" fmla="*/ 905359 h 4687251"/>
              <a:gd name="connsiteX22757" fmla="*/ 2437284 w 8079933"/>
              <a:gd name="connsiteY22757" fmla="*/ 904276 h 4687251"/>
              <a:gd name="connsiteX22758" fmla="*/ 2435547 w 8079933"/>
              <a:gd name="connsiteY22758" fmla="*/ 905684 h 4687251"/>
              <a:gd name="connsiteX22759" fmla="*/ 2434137 w 8079933"/>
              <a:gd name="connsiteY22759" fmla="*/ 900378 h 4687251"/>
              <a:gd name="connsiteX22760" fmla="*/ 2437609 w 8079933"/>
              <a:gd name="connsiteY22760" fmla="*/ 897996 h 4687251"/>
              <a:gd name="connsiteX22761" fmla="*/ 2439345 w 8079933"/>
              <a:gd name="connsiteY22761" fmla="*/ 894206 h 4687251"/>
              <a:gd name="connsiteX22762" fmla="*/ 2442818 w 8079933"/>
              <a:gd name="connsiteY22762" fmla="*/ 892257 h 4687251"/>
              <a:gd name="connsiteX22763" fmla="*/ 2449003 w 8079933"/>
              <a:gd name="connsiteY22763" fmla="*/ 892474 h 4687251"/>
              <a:gd name="connsiteX22764" fmla="*/ 2452584 w 8079933"/>
              <a:gd name="connsiteY22764" fmla="*/ 890741 h 4687251"/>
              <a:gd name="connsiteX22765" fmla="*/ 2456708 w 8079933"/>
              <a:gd name="connsiteY22765" fmla="*/ 886302 h 4687251"/>
              <a:gd name="connsiteX22766" fmla="*/ 2458987 w 8079933"/>
              <a:gd name="connsiteY22766" fmla="*/ 886302 h 4687251"/>
              <a:gd name="connsiteX22767" fmla="*/ 2459855 w 8079933"/>
              <a:gd name="connsiteY22767" fmla="*/ 882513 h 4687251"/>
              <a:gd name="connsiteX22768" fmla="*/ 7285048 w 8079933"/>
              <a:gd name="connsiteY22768" fmla="*/ 880023 h 4687251"/>
              <a:gd name="connsiteX22769" fmla="*/ 7288304 w 8079933"/>
              <a:gd name="connsiteY22769" fmla="*/ 884570 h 4687251"/>
              <a:gd name="connsiteX22770" fmla="*/ 7288087 w 8079933"/>
              <a:gd name="connsiteY22770" fmla="*/ 886735 h 4687251"/>
              <a:gd name="connsiteX22771" fmla="*/ 7285916 w 8079933"/>
              <a:gd name="connsiteY22771" fmla="*/ 887386 h 4687251"/>
              <a:gd name="connsiteX22772" fmla="*/ 7280925 w 8079933"/>
              <a:gd name="connsiteY22772" fmla="*/ 882621 h 4687251"/>
              <a:gd name="connsiteX22773" fmla="*/ 7281901 w 8079933"/>
              <a:gd name="connsiteY22773" fmla="*/ 880348 h 4687251"/>
              <a:gd name="connsiteX22774" fmla="*/ 2976828 w 8079933"/>
              <a:gd name="connsiteY22774" fmla="*/ 874284 h 4687251"/>
              <a:gd name="connsiteX22775" fmla="*/ 2981169 w 8079933"/>
              <a:gd name="connsiteY22775" fmla="*/ 875908 h 4687251"/>
              <a:gd name="connsiteX22776" fmla="*/ 2982580 w 8079933"/>
              <a:gd name="connsiteY22776" fmla="*/ 880022 h 4687251"/>
              <a:gd name="connsiteX22777" fmla="*/ 2980301 w 8079933"/>
              <a:gd name="connsiteY22777" fmla="*/ 880022 h 4687251"/>
              <a:gd name="connsiteX22778" fmla="*/ 2975526 w 8079933"/>
              <a:gd name="connsiteY22778" fmla="*/ 876774 h 4687251"/>
              <a:gd name="connsiteX22779" fmla="*/ 2037942 w 8079933"/>
              <a:gd name="connsiteY22779" fmla="*/ 872011 h 4687251"/>
              <a:gd name="connsiteX22780" fmla="*/ 2042174 w 8079933"/>
              <a:gd name="connsiteY22780" fmla="*/ 872011 h 4687251"/>
              <a:gd name="connsiteX22781" fmla="*/ 2042174 w 8079933"/>
              <a:gd name="connsiteY22781" fmla="*/ 876125 h 4687251"/>
              <a:gd name="connsiteX22782" fmla="*/ 2039461 w 8079933"/>
              <a:gd name="connsiteY22782" fmla="*/ 877642 h 4687251"/>
              <a:gd name="connsiteX22783" fmla="*/ 2038050 w 8079933"/>
              <a:gd name="connsiteY22783" fmla="*/ 875801 h 4687251"/>
              <a:gd name="connsiteX22784" fmla="*/ 1840442 w 8079933"/>
              <a:gd name="connsiteY22784" fmla="*/ 869737 h 4687251"/>
              <a:gd name="connsiteX22785" fmla="*/ 1841853 w 8079933"/>
              <a:gd name="connsiteY22785" fmla="*/ 872335 h 4687251"/>
              <a:gd name="connsiteX22786" fmla="*/ 1840767 w 8079933"/>
              <a:gd name="connsiteY22786" fmla="*/ 875476 h 4687251"/>
              <a:gd name="connsiteX22787" fmla="*/ 1842721 w 8079933"/>
              <a:gd name="connsiteY22787" fmla="*/ 877533 h 4687251"/>
              <a:gd name="connsiteX22788" fmla="*/ 1841310 w 8079933"/>
              <a:gd name="connsiteY22788" fmla="*/ 880023 h 4687251"/>
              <a:gd name="connsiteX22789" fmla="*/ 1842721 w 8079933"/>
              <a:gd name="connsiteY22789" fmla="*/ 882947 h 4687251"/>
              <a:gd name="connsiteX22790" fmla="*/ 1839574 w 8079933"/>
              <a:gd name="connsiteY22790" fmla="*/ 884678 h 4687251"/>
              <a:gd name="connsiteX22791" fmla="*/ 1838597 w 8079933"/>
              <a:gd name="connsiteY22791" fmla="*/ 887494 h 4687251"/>
              <a:gd name="connsiteX22792" fmla="*/ 1836318 w 8079933"/>
              <a:gd name="connsiteY22792" fmla="*/ 888793 h 4687251"/>
              <a:gd name="connsiteX22793" fmla="*/ 1834799 w 8079933"/>
              <a:gd name="connsiteY22793" fmla="*/ 881214 h 4687251"/>
              <a:gd name="connsiteX22794" fmla="*/ 1836969 w 8079933"/>
              <a:gd name="connsiteY22794" fmla="*/ 878723 h 4687251"/>
              <a:gd name="connsiteX22795" fmla="*/ 1837404 w 8079933"/>
              <a:gd name="connsiteY22795" fmla="*/ 875043 h 4687251"/>
              <a:gd name="connsiteX22796" fmla="*/ 2401257 w 8079933"/>
              <a:gd name="connsiteY22796" fmla="*/ 869088 h 4687251"/>
              <a:gd name="connsiteX22797" fmla="*/ 2403861 w 8079933"/>
              <a:gd name="connsiteY22797" fmla="*/ 870820 h 4687251"/>
              <a:gd name="connsiteX22798" fmla="*/ 2403644 w 8079933"/>
              <a:gd name="connsiteY22798" fmla="*/ 873527 h 4687251"/>
              <a:gd name="connsiteX22799" fmla="*/ 2400605 w 8079933"/>
              <a:gd name="connsiteY22799" fmla="*/ 872228 h 4687251"/>
              <a:gd name="connsiteX22800" fmla="*/ 2398110 w 8079933"/>
              <a:gd name="connsiteY22800" fmla="*/ 872553 h 4687251"/>
              <a:gd name="connsiteX22801" fmla="*/ 2396482 w 8079933"/>
              <a:gd name="connsiteY22801" fmla="*/ 870387 h 4687251"/>
              <a:gd name="connsiteX22802" fmla="*/ 2397567 w 8079933"/>
              <a:gd name="connsiteY22802" fmla="*/ 869304 h 4687251"/>
              <a:gd name="connsiteX22803" fmla="*/ 2475048 w 8079933"/>
              <a:gd name="connsiteY22803" fmla="*/ 865623 h 4687251"/>
              <a:gd name="connsiteX22804" fmla="*/ 2477001 w 8079933"/>
              <a:gd name="connsiteY22804" fmla="*/ 868113 h 4687251"/>
              <a:gd name="connsiteX22805" fmla="*/ 2476567 w 8079933"/>
              <a:gd name="connsiteY22805" fmla="*/ 870278 h 4687251"/>
              <a:gd name="connsiteX22806" fmla="*/ 2472009 w 8079933"/>
              <a:gd name="connsiteY22806" fmla="*/ 872335 h 4687251"/>
              <a:gd name="connsiteX22807" fmla="*/ 2468103 w 8079933"/>
              <a:gd name="connsiteY22807" fmla="*/ 875367 h 4687251"/>
              <a:gd name="connsiteX22808" fmla="*/ 2464739 w 8079933"/>
              <a:gd name="connsiteY22808" fmla="*/ 875584 h 4687251"/>
              <a:gd name="connsiteX22809" fmla="*/ 2462460 w 8079933"/>
              <a:gd name="connsiteY22809" fmla="*/ 876125 h 4687251"/>
              <a:gd name="connsiteX22810" fmla="*/ 2465390 w 8079933"/>
              <a:gd name="connsiteY22810" fmla="*/ 873094 h 4687251"/>
              <a:gd name="connsiteX22811" fmla="*/ 2467886 w 8079933"/>
              <a:gd name="connsiteY22811" fmla="*/ 868871 h 4687251"/>
              <a:gd name="connsiteX22812" fmla="*/ 2471358 w 8079933"/>
              <a:gd name="connsiteY22812" fmla="*/ 868979 h 4687251"/>
              <a:gd name="connsiteX22813" fmla="*/ 2473312 w 8079933"/>
              <a:gd name="connsiteY22813" fmla="*/ 865948 h 4687251"/>
              <a:gd name="connsiteX22814" fmla="*/ 2400170 w 8079933"/>
              <a:gd name="connsiteY22814" fmla="*/ 864324 h 4687251"/>
              <a:gd name="connsiteX22815" fmla="*/ 2402341 w 8079933"/>
              <a:gd name="connsiteY22815" fmla="*/ 864649 h 4687251"/>
              <a:gd name="connsiteX22816" fmla="*/ 2401690 w 8079933"/>
              <a:gd name="connsiteY22816" fmla="*/ 866381 h 4687251"/>
              <a:gd name="connsiteX22817" fmla="*/ 2392792 w 8079933"/>
              <a:gd name="connsiteY22817" fmla="*/ 863025 h 4687251"/>
              <a:gd name="connsiteX22818" fmla="*/ 2395287 w 8079933"/>
              <a:gd name="connsiteY22818" fmla="*/ 864324 h 4687251"/>
              <a:gd name="connsiteX22819" fmla="*/ 2395830 w 8079933"/>
              <a:gd name="connsiteY22819" fmla="*/ 865948 h 4687251"/>
              <a:gd name="connsiteX22820" fmla="*/ 2395071 w 8079933"/>
              <a:gd name="connsiteY22820" fmla="*/ 867139 h 4687251"/>
              <a:gd name="connsiteX22821" fmla="*/ 1848038 w 8079933"/>
              <a:gd name="connsiteY22821" fmla="*/ 858261 h 4687251"/>
              <a:gd name="connsiteX22822" fmla="*/ 1850968 w 8079933"/>
              <a:gd name="connsiteY22822" fmla="*/ 858261 h 4687251"/>
              <a:gd name="connsiteX22823" fmla="*/ 1848689 w 8079933"/>
              <a:gd name="connsiteY22823" fmla="*/ 860859 h 4687251"/>
              <a:gd name="connsiteX22824" fmla="*/ 1850100 w 8079933"/>
              <a:gd name="connsiteY22824" fmla="*/ 862592 h 4687251"/>
              <a:gd name="connsiteX22825" fmla="*/ 1846627 w 8079933"/>
              <a:gd name="connsiteY22825" fmla="*/ 866815 h 4687251"/>
              <a:gd name="connsiteX22826" fmla="*/ 1844782 w 8079933"/>
              <a:gd name="connsiteY22826" fmla="*/ 866165 h 4687251"/>
              <a:gd name="connsiteX22827" fmla="*/ 1842829 w 8079933"/>
              <a:gd name="connsiteY22827" fmla="*/ 860102 h 4687251"/>
              <a:gd name="connsiteX22828" fmla="*/ 1845107 w 8079933"/>
              <a:gd name="connsiteY22828" fmla="*/ 859236 h 4687251"/>
              <a:gd name="connsiteX22829" fmla="*/ 1846519 w 8079933"/>
              <a:gd name="connsiteY22829" fmla="*/ 860968 h 4687251"/>
              <a:gd name="connsiteX22830" fmla="*/ 4897681 w 8079933"/>
              <a:gd name="connsiteY22830" fmla="*/ 856311 h 4687251"/>
              <a:gd name="connsiteX22831" fmla="*/ 4900828 w 8079933"/>
              <a:gd name="connsiteY22831" fmla="*/ 858043 h 4687251"/>
              <a:gd name="connsiteX22832" fmla="*/ 4901913 w 8079933"/>
              <a:gd name="connsiteY22832" fmla="*/ 861183 h 4687251"/>
              <a:gd name="connsiteX22833" fmla="*/ 4907230 w 8079933"/>
              <a:gd name="connsiteY22833" fmla="*/ 862915 h 4687251"/>
              <a:gd name="connsiteX22834" fmla="*/ 4908750 w 8079933"/>
              <a:gd name="connsiteY22834" fmla="*/ 866489 h 4687251"/>
              <a:gd name="connsiteX22835" fmla="*/ 4906579 w 8079933"/>
              <a:gd name="connsiteY22835" fmla="*/ 870278 h 4687251"/>
              <a:gd name="connsiteX22836" fmla="*/ 4908750 w 8079933"/>
              <a:gd name="connsiteY22836" fmla="*/ 873201 h 4687251"/>
              <a:gd name="connsiteX22837" fmla="*/ 4908424 w 8079933"/>
              <a:gd name="connsiteY22837" fmla="*/ 875909 h 4687251"/>
              <a:gd name="connsiteX22838" fmla="*/ 4906579 w 8079933"/>
              <a:gd name="connsiteY22838" fmla="*/ 875042 h 4687251"/>
              <a:gd name="connsiteX22839" fmla="*/ 4903107 w 8079933"/>
              <a:gd name="connsiteY22839" fmla="*/ 870062 h 4687251"/>
              <a:gd name="connsiteX22840" fmla="*/ 4899092 w 8079933"/>
              <a:gd name="connsiteY22840" fmla="*/ 869195 h 4687251"/>
              <a:gd name="connsiteX22841" fmla="*/ 4898766 w 8079933"/>
              <a:gd name="connsiteY22841" fmla="*/ 864973 h 4687251"/>
              <a:gd name="connsiteX22842" fmla="*/ 4895294 w 8079933"/>
              <a:gd name="connsiteY22842" fmla="*/ 863565 h 4687251"/>
              <a:gd name="connsiteX22843" fmla="*/ 4892907 w 8079933"/>
              <a:gd name="connsiteY22843" fmla="*/ 864431 h 4687251"/>
              <a:gd name="connsiteX22844" fmla="*/ 4889651 w 8079933"/>
              <a:gd name="connsiteY22844" fmla="*/ 862699 h 4687251"/>
              <a:gd name="connsiteX22845" fmla="*/ 4889000 w 8079933"/>
              <a:gd name="connsiteY22845" fmla="*/ 860101 h 4687251"/>
              <a:gd name="connsiteX22846" fmla="*/ 4892255 w 8079933"/>
              <a:gd name="connsiteY22846" fmla="*/ 856852 h 4687251"/>
              <a:gd name="connsiteX22847" fmla="*/ 2431424 w 8079933"/>
              <a:gd name="connsiteY22847" fmla="*/ 852847 h 4687251"/>
              <a:gd name="connsiteX22848" fmla="*/ 2435655 w 8079933"/>
              <a:gd name="connsiteY22848" fmla="*/ 853496 h 4687251"/>
              <a:gd name="connsiteX22849" fmla="*/ 2439128 w 8079933"/>
              <a:gd name="connsiteY22849" fmla="*/ 856745 h 4687251"/>
              <a:gd name="connsiteX22850" fmla="*/ 2445096 w 8079933"/>
              <a:gd name="connsiteY22850" fmla="*/ 857178 h 4687251"/>
              <a:gd name="connsiteX22851" fmla="*/ 2447375 w 8079933"/>
              <a:gd name="connsiteY22851" fmla="*/ 860318 h 4687251"/>
              <a:gd name="connsiteX22852" fmla="*/ 2444771 w 8079933"/>
              <a:gd name="connsiteY22852" fmla="*/ 862916 h 4687251"/>
              <a:gd name="connsiteX22853" fmla="*/ 2443034 w 8079933"/>
              <a:gd name="connsiteY22853" fmla="*/ 862916 h 4687251"/>
              <a:gd name="connsiteX22854" fmla="*/ 2439453 w 8079933"/>
              <a:gd name="connsiteY22854" fmla="*/ 863782 h 4687251"/>
              <a:gd name="connsiteX22855" fmla="*/ 2436523 w 8079933"/>
              <a:gd name="connsiteY22855" fmla="*/ 862592 h 4687251"/>
              <a:gd name="connsiteX22856" fmla="*/ 2436523 w 8079933"/>
              <a:gd name="connsiteY22856" fmla="*/ 865840 h 4687251"/>
              <a:gd name="connsiteX22857" fmla="*/ 2433810 w 8079933"/>
              <a:gd name="connsiteY22857" fmla="*/ 866923 h 4687251"/>
              <a:gd name="connsiteX22858" fmla="*/ 2432725 w 8079933"/>
              <a:gd name="connsiteY22858" fmla="*/ 864649 h 4687251"/>
              <a:gd name="connsiteX22859" fmla="*/ 2433377 w 8079933"/>
              <a:gd name="connsiteY22859" fmla="*/ 862592 h 4687251"/>
              <a:gd name="connsiteX22860" fmla="*/ 2432183 w 8079933"/>
              <a:gd name="connsiteY22860" fmla="*/ 861076 h 4687251"/>
              <a:gd name="connsiteX22861" fmla="*/ 2431206 w 8079933"/>
              <a:gd name="connsiteY22861" fmla="*/ 858694 h 4687251"/>
              <a:gd name="connsiteX22862" fmla="*/ 2427734 w 8079933"/>
              <a:gd name="connsiteY22862" fmla="*/ 857935 h 4687251"/>
              <a:gd name="connsiteX22863" fmla="*/ 2431424 w 8079933"/>
              <a:gd name="connsiteY22863" fmla="*/ 855337 h 4687251"/>
              <a:gd name="connsiteX22864" fmla="*/ 2968690 w 8079933"/>
              <a:gd name="connsiteY22864" fmla="*/ 851115 h 4687251"/>
              <a:gd name="connsiteX22865" fmla="*/ 2973139 w 8079933"/>
              <a:gd name="connsiteY22865" fmla="*/ 852847 h 4687251"/>
              <a:gd name="connsiteX22866" fmla="*/ 2973790 w 8079933"/>
              <a:gd name="connsiteY22866" fmla="*/ 857719 h 4687251"/>
              <a:gd name="connsiteX22867" fmla="*/ 2970209 w 8079933"/>
              <a:gd name="connsiteY22867" fmla="*/ 861617 h 4687251"/>
              <a:gd name="connsiteX22868" fmla="*/ 2965977 w 8079933"/>
              <a:gd name="connsiteY22868" fmla="*/ 862158 h 4687251"/>
              <a:gd name="connsiteX22869" fmla="*/ 2963915 w 8079933"/>
              <a:gd name="connsiteY22869" fmla="*/ 860426 h 4687251"/>
              <a:gd name="connsiteX22870" fmla="*/ 2965651 w 8079933"/>
              <a:gd name="connsiteY22870" fmla="*/ 852414 h 4687251"/>
              <a:gd name="connsiteX22871" fmla="*/ 2956970 w 8079933"/>
              <a:gd name="connsiteY22871" fmla="*/ 850574 h 4687251"/>
              <a:gd name="connsiteX22872" fmla="*/ 2955559 w 8079933"/>
              <a:gd name="connsiteY22872" fmla="*/ 857178 h 4687251"/>
              <a:gd name="connsiteX22873" fmla="*/ 2956102 w 8079933"/>
              <a:gd name="connsiteY22873" fmla="*/ 859994 h 4687251"/>
              <a:gd name="connsiteX22874" fmla="*/ 2952954 w 8079933"/>
              <a:gd name="connsiteY22874" fmla="*/ 863784 h 4687251"/>
              <a:gd name="connsiteX22875" fmla="*/ 2949048 w 8079933"/>
              <a:gd name="connsiteY22875" fmla="*/ 861617 h 4687251"/>
              <a:gd name="connsiteX22876" fmla="*/ 2948723 w 8079933"/>
              <a:gd name="connsiteY22876" fmla="*/ 856745 h 4687251"/>
              <a:gd name="connsiteX22877" fmla="*/ 2950676 w 8079933"/>
              <a:gd name="connsiteY22877" fmla="*/ 853605 h 4687251"/>
              <a:gd name="connsiteX22878" fmla="*/ 2484270 w 8079933"/>
              <a:gd name="connsiteY22878" fmla="*/ 850140 h 4687251"/>
              <a:gd name="connsiteX22879" fmla="*/ 2483076 w 8079933"/>
              <a:gd name="connsiteY22879" fmla="*/ 853605 h 4687251"/>
              <a:gd name="connsiteX22880" fmla="*/ 2481232 w 8079933"/>
              <a:gd name="connsiteY22880" fmla="*/ 854146 h 4687251"/>
              <a:gd name="connsiteX22881" fmla="*/ 2481991 w 8079933"/>
              <a:gd name="connsiteY22881" fmla="*/ 851115 h 4687251"/>
              <a:gd name="connsiteX22882" fmla="*/ 2383785 w 8079933"/>
              <a:gd name="connsiteY22882" fmla="*/ 846026 h 4687251"/>
              <a:gd name="connsiteX22883" fmla="*/ 2387474 w 8079933"/>
              <a:gd name="connsiteY22883" fmla="*/ 846026 h 4687251"/>
              <a:gd name="connsiteX22884" fmla="*/ 2387908 w 8079933"/>
              <a:gd name="connsiteY22884" fmla="*/ 847217 h 4687251"/>
              <a:gd name="connsiteX22885" fmla="*/ 2391489 w 8079933"/>
              <a:gd name="connsiteY22885" fmla="*/ 849274 h 4687251"/>
              <a:gd name="connsiteX22886" fmla="*/ 2391597 w 8079933"/>
              <a:gd name="connsiteY22886" fmla="*/ 851331 h 4687251"/>
              <a:gd name="connsiteX22887" fmla="*/ 2388993 w 8079933"/>
              <a:gd name="connsiteY22887" fmla="*/ 851764 h 4687251"/>
              <a:gd name="connsiteX22888" fmla="*/ 2387148 w 8079933"/>
              <a:gd name="connsiteY22888" fmla="*/ 849923 h 4687251"/>
              <a:gd name="connsiteX22889" fmla="*/ 2384218 w 8079933"/>
              <a:gd name="connsiteY22889" fmla="*/ 849490 h 4687251"/>
              <a:gd name="connsiteX22890" fmla="*/ 2382808 w 8079933"/>
              <a:gd name="connsiteY22890" fmla="*/ 848299 h 4687251"/>
              <a:gd name="connsiteX22891" fmla="*/ 2378576 w 8079933"/>
              <a:gd name="connsiteY22891" fmla="*/ 845701 h 4687251"/>
              <a:gd name="connsiteX22892" fmla="*/ 2379987 w 8079933"/>
              <a:gd name="connsiteY22892" fmla="*/ 848191 h 4687251"/>
              <a:gd name="connsiteX22893" fmla="*/ 2376406 w 8079933"/>
              <a:gd name="connsiteY22893" fmla="*/ 847109 h 4687251"/>
              <a:gd name="connsiteX22894" fmla="*/ 1835667 w 8079933"/>
              <a:gd name="connsiteY22894" fmla="*/ 843319 h 4687251"/>
              <a:gd name="connsiteX22895" fmla="*/ 1836860 w 8079933"/>
              <a:gd name="connsiteY22895" fmla="*/ 847217 h 4687251"/>
              <a:gd name="connsiteX22896" fmla="*/ 1835124 w 8079933"/>
              <a:gd name="connsiteY22896" fmla="*/ 847000 h 4687251"/>
              <a:gd name="connsiteX22897" fmla="*/ 1834582 w 8079933"/>
              <a:gd name="connsiteY22897" fmla="*/ 844294 h 4687251"/>
              <a:gd name="connsiteX22898" fmla="*/ 1832194 w 8079933"/>
              <a:gd name="connsiteY22898" fmla="*/ 843103 h 4687251"/>
              <a:gd name="connsiteX22899" fmla="*/ 1835341 w 8079933"/>
              <a:gd name="connsiteY22899" fmla="*/ 849166 h 4687251"/>
              <a:gd name="connsiteX22900" fmla="*/ 1832736 w 8079933"/>
              <a:gd name="connsiteY22900" fmla="*/ 847542 h 4687251"/>
              <a:gd name="connsiteX22901" fmla="*/ 1831001 w 8079933"/>
              <a:gd name="connsiteY22901" fmla="*/ 845160 h 4687251"/>
              <a:gd name="connsiteX22902" fmla="*/ 2365988 w 8079933"/>
              <a:gd name="connsiteY22902" fmla="*/ 841695 h 4687251"/>
              <a:gd name="connsiteX22903" fmla="*/ 2368701 w 8079933"/>
              <a:gd name="connsiteY22903" fmla="*/ 842778 h 4687251"/>
              <a:gd name="connsiteX22904" fmla="*/ 2371522 w 8079933"/>
              <a:gd name="connsiteY22904" fmla="*/ 842778 h 4687251"/>
              <a:gd name="connsiteX22905" fmla="*/ 2372282 w 8079933"/>
              <a:gd name="connsiteY22905" fmla="*/ 845376 h 4687251"/>
              <a:gd name="connsiteX22906" fmla="*/ 2370980 w 8079933"/>
              <a:gd name="connsiteY22906" fmla="*/ 846459 h 4687251"/>
              <a:gd name="connsiteX22907" fmla="*/ 2367941 w 8079933"/>
              <a:gd name="connsiteY22907" fmla="*/ 846351 h 4687251"/>
              <a:gd name="connsiteX22908" fmla="*/ 2227954 w 8079933"/>
              <a:gd name="connsiteY22908" fmla="*/ 841046 h 4687251"/>
              <a:gd name="connsiteX22909" fmla="*/ 2229473 w 8079933"/>
              <a:gd name="connsiteY22909" fmla="*/ 842995 h 4687251"/>
              <a:gd name="connsiteX22910" fmla="*/ 2229799 w 8079933"/>
              <a:gd name="connsiteY22910" fmla="*/ 849382 h 4687251"/>
              <a:gd name="connsiteX22911" fmla="*/ 2228605 w 8079933"/>
              <a:gd name="connsiteY22911" fmla="*/ 851223 h 4687251"/>
              <a:gd name="connsiteX22912" fmla="*/ 2227303 w 8079933"/>
              <a:gd name="connsiteY22912" fmla="*/ 849923 h 4687251"/>
              <a:gd name="connsiteX22913" fmla="*/ 2227411 w 8079933"/>
              <a:gd name="connsiteY22913" fmla="*/ 847650 h 4687251"/>
              <a:gd name="connsiteX22914" fmla="*/ 2225350 w 8079933"/>
              <a:gd name="connsiteY22914" fmla="*/ 845160 h 4687251"/>
              <a:gd name="connsiteX22915" fmla="*/ 2226869 w 8079933"/>
              <a:gd name="connsiteY22915" fmla="*/ 842020 h 4687251"/>
              <a:gd name="connsiteX22916" fmla="*/ 2233489 w 8079933"/>
              <a:gd name="connsiteY22916" fmla="*/ 839746 h 4687251"/>
              <a:gd name="connsiteX22917" fmla="*/ 2235659 w 8079933"/>
              <a:gd name="connsiteY22917" fmla="*/ 841262 h 4687251"/>
              <a:gd name="connsiteX22918" fmla="*/ 2235442 w 8079933"/>
              <a:gd name="connsiteY22918" fmla="*/ 845051 h 4687251"/>
              <a:gd name="connsiteX22919" fmla="*/ 2234248 w 8079933"/>
              <a:gd name="connsiteY22919" fmla="*/ 845160 h 4687251"/>
              <a:gd name="connsiteX22920" fmla="*/ 2231535 w 8079933"/>
              <a:gd name="connsiteY22920" fmla="*/ 847650 h 4687251"/>
              <a:gd name="connsiteX22921" fmla="*/ 2231210 w 8079933"/>
              <a:gd name="connsiteY22921" fmla="*/ 841803 h 4687251"/>
              <a:gd name="connsiteX22922" fmla="*/ 2966954 w 8079933"/>
              <a:gd name="connsiteY22922" fmla="*/ 833574 h 4687251"/>
              <a:gd name="connsiteX22923" fmla="*/ 2970100 w 8079933"/>
              <a:gd name="connsiteY22923" fmla="*/ 835631 h 4687251"/>
              <a:gd name="connsiteX22924" fmla="*/ 2974007 w 8079933"/>
              <a:gd name="connsiteY22924" fmla="*/ 835847 h 4687251"/>
              <a:gd name="connsiteX22925" fmla="*/ 2973899 w 8079933"/>
              <a:gd name="connsiteY22925" fmla="*/ 837688 h 4687251"/>
              <a:gd name="connsiteX22926" fmla="*/ 2970317 w 8079933"/>
              <a:gd name="connsiteY22926" fmla="*/ 838988 h 4687251"/>
              <a:gd name="connsiteX22927" fmla="*/ 2966845 w 8079933"/>
              <a:gd name="connsiteY22927" fmla="*/ 842560 h 4687251"/>
              <a:gd name="connsiteX22928" fmla="*/ 2963589 w 8079933"/>
              <a:gd name="connsiteY22928" fmla="*/ 842452 h 4687251"/>
              <a:gd name="connsiteX22929" fmla="*/ 2962504 w 8079933"/>
              <a:gd name="connsiteY22929" fmla="*/ 839204 h 4687251"/>
              <a:gd name="connsiteX22930" fmla="*/ 2963697 w 8079933"/>
              <a:gd name="connsiteY22930" fmla="*/ 835739 h 4687251"/>
              <a:gd name="connsiteX22931" fmla="*/ 1829590 w 8079933"/>
              <a:gd name="connsiteY22931" fmla="*/ 827295 h 4687251"/>
              <a:gd name="connsiteX22932" fmla="*/ 1832520 w 8079933"/>
              <a:gd name="connsiteY22932" fmla="*/ 827944 h 4687251"/>
              <a:gd name="connsiteX22933" fmla="*/ 1833280 w 8079933"/>
              <a:gd name="connsiteY22933" fmla="*/ 829894 h 4687251"/>
              <a:gd name="connsiteX22934" fmla="*/ 1828071 w 8079933"/>
              <a:gd name="connsiteY22934" fmla="*/ 830002 h 4687251"/>
              <a:gd name="connsiteX22935" fmla="*/ 1992691 w 8079933"/>
              <a:gd name="connsiteY22935" fmla="*/ 826645 h 4687251"/>
              <a:gd name="connsiteX22936" fmla="*/ 1993558 w 8079933"/>
              <a:gd name="connsiteY22936" fmla="*/ 827511 h 4687251"/>
              <a:gd name="connsiteX22937" fmla="*/ 1992799 w 8079933"/>
              <a:gd name="connsiteY22937" fmla="*/ 830326 h 4687251"/>
              <a:gd name="connsiteX22938" fmla="*/ 1993124 w 8079933"/>
              <a:gd name="connsiteY22938" fmla="*/ 832924 h 4687251"/>
              <a:gd name="connsiteX22939" fmla="*/ 1992148 w 8079933"/>
              <a:gd name="connsiteY22939" fmla="*/ 835739 h 4687251"/>
              <a:gd name="connsiteX22940" fmla="*/ 1988458 w 8079933"/>
              <a:gd name="connsiteY22940" fmla="*/ 837905 h 4687251"/>
              <a:gd name="connsiteX22941" fmla="*/ 1986180 w 8079933"/>
              <a:gd name="connsiteY22941" fmla="*/ 836497 h 4687251"/>
              <a:gd name="connsiteX22942" fmla="*/ 1983033 w 8079933"/>
              <a:gd name="connsiteY22942" fmla="*/ 832383 h 4687251"/>
              <a:gd name="connsiteX22943" fmla="*/ 1984010 w 8079933"/>
              <a:gd name="connsiteY22943" fmla="*/ 830326 h 4687251"/>
              <a:gd name="connsiteX22944" fmla="*/ 1988675 w 8079933"/>
              <a:gd name="connsiteY22944" fmla="*/ 830542 h 4687251"/>
              <a:gd name="connsiteX22945" fmla="*/ 1989326 w 8079933"/>
              <a:gd name="connsiteY22945" fmla="*/ 828918 h 4687251"/>
              <a:gd name="connsiteX22946" fmla="*/ 1846084 w 8079933"/>
              <a:gd name="connsiteY22946" fmla="*/ 820799 h 4687251"/>
              <a:gd name="connsiteX22947" fmla="*/ 1849556 w 8079933"/>
              <a:gd name="connsiteY22947" fmla="*/ 820799 h 4687251"/>
              <a:gd name="connsiteX22948" fmla="*/ 1846518 w 8079933"/>
              <a:gd name="connsiteY22948" fmla="*/ 823072 h 4687251"/>
              <a:gd name="connsiteX22949" fmla="*/ 1843805 w 8079933"/>
              <a:gd name="connsiteY22949" fmla="*/ 823072 h 4687251"/>
              <a:gd name="connsiteX22950" fmla="*/ 2032734 w 8079933"/>
              <a:gd name="connsiteY22950" fmla="*/ 817551 h 4687251"/>
              <a:gd name="connsiteX22951" fmla="*/ 2035664 w 8079933"/>
              <a:gd name="connsiteY22951" fmla="*/ 818092 h 4687251"/>
              <a:gd name="connsiteX22952" fmla="*/ 2035772 w 8079933"/>
              <a:gd name="connsiteY22952" fmla="*/ 820799 h 4687251"/>
              <a:gd name="connsiteX22953" fmla="*/ 2038919 w 8079933"/>
              <a:gd name="connsiteY22953" fmla="*/ 824697 h 4687251"/>
              <a:gd name="connsiteX22954" fmla="*/ 2036206 w 8079933"/>
              <a:gd name="connsiteY22954" fmla="*/ 829461 h 4687251"/>
              <a:gd name="connsiteX22955" fmla="*/ 2031757 w 8079933"/>
              <a:gd name="connsiteY22955" fmla="*/ 832059 h 4687251"/>
              <a:gd name="connsiteX22956" fmla="*/ 2031106 w 8079933"/>
              <a:gd name="connsiteY22956" fmla="*/ 834766 h 4687251"/>
              <a:gd name="connsiteX22957" fmla="*/ 2029261 w 8079933"/>
              <a:gd name="connsiteY22957" fmla="*/ 837149 h 4687251"/>
              <a:gd name="connsiteX22958" fmla="*/ 2026440 w 8079933"/>
              <a:gd name="connsiteY22958" fmla="*/ 832817 h 4687251"/>
              <a:gd name="connsiteX22959" fmla="*/ 2026331 w 8079933"/>
              <a:gd name="connsiteY22959" fmla="*/ 830219 h 4687251"/>
              <a:gd name="connsiteX22960" fmla="*/ 2030780 w 8079933"/>
              <a:gd name="connsiteY22960" fmla="*/ 823506 h 4687251"/>
              <a:gd name="connsiteX22961" fmla="*/ 2030563 w 8079933"/>
              <a:gd name="connsiteY22961" fmla="*/ 820149 h 4687251"/>
              <a:gd name="connsiteX22962" fmla="*/ 3502916 w 8079933"/>
              <a:gd name="connsiteY22962" fmla="*/ 817334 h 4687251"/>
              <a:gd name="connsiteX22963" fmla="*/ 3508125 w 8079933"/>
              <a:gd name="connsiteY22963" fmla="*/ 818092 h 4687251"/>
              <a:gd name="connsiteX22964" fmla="*/ 3510295 w 8079933"/>
              <a:gd name="connsiteY22964" fmla="*/ 819175 h 4687251"/>
              <a:gd name="connsiteX22965" fmla="*/ 3513876 w 8079933"/>
              <a:gd name="connsiteY22965" fmla="*/ 819066 h 4687251"/>
              <a:gd name="connsiteX22966" fmla="*/ 3519845 w 8079933"/>
              <a:gd name="connsiteY22966" fmla="*/ 822856 h 4687251"/>
              <a:gd name="connsiteX22967" fmla="*/ 3523968 w 8079933"/>
              <a:gd name="connsiteY22967" fmla="*/ 822748 h 4687251"/>
              <a:gd name="connsiteX22968" fmla="*/ 3526247 w 8079933"/>
              <a:gd name="connsiteY22968" fmla="*/ 823938 h 4687251"/>
              <a:gd name="connsiteX22969" fmla="*/ 3530045 w 8079933"/>
              <a:gd name="connsiteY22969" fmla="*/ 830651 h 4687251"/>
              <a:gd name="connsiteX22970" fmla="*/ 3541439 w 8079933"/>
              <a:gd name="connsiteY22970" fmla="*/ 835956 h 4687251"/>
              <a:gd name="connsiteX22971" fmla="*/ 3543501 w 8079933"/>
              <a:gd name="connsiteY22971" fmla="*/ 840503 h 4687251"/>
              <a:gd name="connsiteX22972" fmla="*/ 3542307 w 8079933"/>
              <a:gd name="connsiteY22972" fmla="*/ 842128 h 4687251"/>
              <a:gd name="connsiteX22973" fmla="*/ 3540680 w 8079933"/>
              <a:gd name="connsiteY22973" fmla="*/ 840612 h 4687251"/>
              <a:gd name="connsiteX22974" fmla="*/ 3535688 w 8079933"/>
              <a:gd name="connsiteY22974" fmla="*/ 840071 h 4687251"/>
              <a:gd name="connsiteX22975" fmla="*/ 3531890 w 8079933"/>
              <a:gd name="connsiteY22975" fmla="*/ 837148 h 4687251"/>
              <a:gd name="connsiteX22976" fmla="*/ 3529286 w 8079933"/>
              <a:gd name="connsiteY22976" fmla="*/ 836389 h 4687251"/>
              <a:gd name="connsiteX22977" fmla="*/ 3527875 w 8079933"/>
              <a:gd name="connsiteY22977" fmla="*/ 838555 h 4687251"/>
              <a:gd name="connsiteX22978" fmla="*/ 3526247 w 8079933"/>
              <a:gd name="connsiteY22978" fmla="*/ 839962 h 4687251"/>
              <a:gd name="connsiteX22979" fmla="*/ 3528743 w 8079933"/>
              <a:gd name="connsiteY22979" fmla="*/ 842994 h 4687251"/>
              <a:gd name="connsiteX22980" fmla="*/ 3530696 w 8079933"/>
              <a:gd name="connsiteY22980" fmla="*/ 842994 h 4687251"/>
              <a:gd name="connsiteX22981" fmla="*/ 3535688 w 8079933"/>
              <a:gd name="connsiteY22981" fmla="*/ 844943 h 4687251"/>
              <a:gd name="connsiteX22982" fmla="*/ 3538943 w 8079933"/>
              <a:gd name="connsiteY22982" fmla="*/ 849707 h 4687251"/>
              <a:gd name="connsiteX22983" fmla="*/ 3536339 w 8079933"/>
              <a:gd name="connsiteY22983" fmla="*/ 851656 h 4687251"/>
              <a:gd name="connsiteX22984" fmla="*/ 3536556 w 8079933"/>
              <a:gd name="connsiteY22984" fmla="*/ 854470 h 4687251"/>
              <a:gd name="connsiteX22985" fmla="*/ 3535470 w 8079933"/>
              <a:gd name="connsiteY22985" fmla="*/ 856203 h 4687251"/>
              <a:gd name="connsiteX22986" fmla="*/ 3530588 w 8079933"/>
              <a:gd name="connsiteY22986" fmla="*/ 854362 h 4687251"/>
              <a:gd name="connsiteX22987" fmla="*/ 3529503 w 8079933"/>
              <a:gd name="connsiteY22987" fmla="*/ 851872 h 4687251"/>
              <a:gd name="connsiteX22988" fmla="*/ 3526790 w 8079933"/>
              <a:gd name="connsiteY22988" fmla="*/ 851547 h 4687251"/>
              <a:gd name="connsiteX22989" fmla="*/ 3522231 w 8079933"/>
              <a:gd name="connsiteY22989" fmla="*/ 849382 h 4687251"/>
              <a:gd name="connsiteX22990" fmla="*/ 3518651 w 8079933"/>
              <a:gd name="connsiteY22990" fmla="*/ 844293 h 4687251"/>
              <a:gd name="connsiteX22991" fmla="*/ 3513225 w 8079933"/>
              <a:gd name="connsiteY22991" fmla="*/ 839854 h 4687251"/>
              <a:gd name="connsiteX22992" fmla="*/ 3507148 w 8079933"/>
              <a:gd name="connsiteY22992" fmla="*/ 838122 h 4687251"/>
              <a:gd name="connsiteX22993" fmla="*/ 3504978 w 8079933"/>
              <a:gd name="connsiteY22993" fmla="*/ 833142 h 4687251"/>
              <a:gd name="connsiteX22994" fmla="*/ 3501722 w 8079933"/>
              <a:gd name="connsiteY22994" fmla="*/ 827295 h 4687251"/>
              <a:gd name="connsiteX22995" fmla="*/ 3502048 w 8079933"/>
              <a:gd name="connsiteY22995" fmla="*/ 823722 h 4687251"/>
              <a:gd name="connsiteX22996" fmla="*/ 3500963 w 8079933"/>
              <a:gd name="connsiteY22996" fmla="*/ 822206 h 4687251"/>
              <a:gd name="connsiteX22997" fmla="*/ 3500963 w 8079933"/>
              <a:gd name="connsiteY22997" fmla="*/ 819066 h 4687251"/>
              <a:gd name="connsiteX22998" fmla="*/ 2616661 w 8079933"/>
              <a:gd name="connsiteY22998" fmla="*/ 814736 h 4687251"/>
              <a:gd name="connsiteX22999" fmla="*/ 2620242 w 8079933"/>
              <a:gd name="connsiteY22999" fmla="*/ 815818 h 4687251"/>
              <a:gd name="connsiteX23000" fmla="*/ 2621110 w 8079933"/>
              <a:gd name="connsiteY23000" fmla="*/ 819067 h 4687251"/>
              <a:gd name="connsiteX23001" fmla="*/ 2624257 w 8079933"/>
              <a:gd name="connsiteY23001" fmla="*/ 819067 h 4687251"/>
              <a:gd name="connsiteX23002" fmla="*/ 2626428 w 8079933"/>
              <a:gd name="connsiteY23002" fmla="*/ 821016 h 4687251"/>
              <a:gd name="connsiteX23003" fmla="*/ 2623715 w 8079933"/>
              <a:gd name="connsiteY23003" fmla="*/ 824697 h 4687251"/>
              <a:gd name="connsiteX23004" fmla="*/ 2619808 w 8079933"/>
              <a:gd name="connsiteY23004" fmla="*/ 825780 h 4687251"/>
              <a:gd name="connsiteX23005" fmla="*/ 2617855 w 8079933"/>
              <a:gd name="connsiteY23005" fmla="*/ 824481 h 4687251"/>
              <a:gd name="connsiteX23006" fmla="*/ 2615034 w 8079933"/>
              <a:gd name="connsiteY23006" fmla="*/ 825888 h 4687251"/>
              <a:gd name="connsiteX23007" fmla="*/ 2613514 w 8079933"/>
              <a:gd name="connsiteY23007" fmla="*/ 828271 h 4687251"/>
              <a:gd name="connsiteX23008" fmla="*/ 2611778 w 8079933"/>
              <a:gd name="connsiteY23008" fmla="*/ 827296 h 4687251"/>
              <a:gd name="connsiteX23009" fmla="*/ 2611778 w 8079933"/>
              <a:gd name="connsiteY23009" fmla="*/ 823614 h 4687251"/>
              <a:gd name="connsiteX23010" fmla="*/ 2610259 w 8079933"/>
              <a:gd name="connsiteY23010" fmla="*/ 821232 h 4687251"/>
              <a:gd name="connsiteX23011" fmla="*/ 2612538 w 8079933"/>
              <a:gd name="connsiteY23011" fmla="*/ 817334 h 4687251"/>
              <a:gd name="connsiteX23012" fmla="*/ 5479222 w 8079933"/>
              <a:gd name="connsiteY23012" fmla="*/ 814628 h 4687251"/>
              <a:gd name="connsiteX23013" fmla="*/ 5481067 w 8079933"/>
              <a:gd name="connsiteY23013" fmla="*/ 814953 h 4687251"/>
              <a:gd name="connsiteX23014" fmla="*/ 5482694 w 8079933"/>
              <a:gd name="connsiteY23014" fmla="*/ 818309 h 4687251"/>
              <a:gd name="connsiteX23015" fmla="*/ 5481610 w 8079933"/>
              <a:gd name="connsiteY23015" fmla="*/ 822857 h 4687251"/>
              <a:gd name="connsiteX23016" fmla="*/ 5479330 w 8079933"/>
              <a:gd name="connsiteY23016" fmla="*/ 819934 h 4687251"/>
              <a:gd name="connsiteX23017" fmla="*/ 3494344 w 8079933"/>
              <a:gd name="connsiteY23017" fmla="*/ 814195 h 4687251"/>
              <a:gd name="connsiteX23018" fmla="*/ 3492065 w 8079933"/>
              <a:gd name="connsiteY23018" fmla="*/ 817119 h 4687251"/>
              <a:gd name="connsiteX23019" fmla="*/ 3492391 w 8079933"/>
              <a:gd name="connsiteY23019" fmla="*/ 819934 h 4687251"/>
              <a:gd name="connsiteX23020" fmla="*/ 3490220 w 8079933"/>
              <a:gd name="connsiteY23020" fmla="*/ 821342 h 4687251"/>
              <a:gd name="connsiteX23021" fmla="*/ 3487942 w 8079933"/>
              <a:gd name="connsiteY23021" fmla="*/ 819717 h 4687251"/>
              <a:gd name="connsiteX23022" fmla="*/ 3488267 w 8079933"/>
              <a:gd name="connsiteY23022" fmla="*/ 816902 h 4687251"/>
              <a:gd name="connsiteX23023" fmla="*/ 2928322 w 8079933"/>
              <a:gd name="connsiteY23023" fmla="*/ 813870 h 4687251"/>
              <a:gd name="connsiteX23024" fmla="*/ 2931577 w 8079933"/>
              <a:gd name="connsiteY23024" fmla="*/ 816901 h 4687251"/>
              <a:gd name="connsiteX23025" fmla="*/ 2929950 w 8079933"/>
              <a:gd name="connsiteY23025" fmla="*/ 819176 h 4687251"/>
              <a:gd name="connsiteX23026" fmla="*/ 2927453 w 8079933"/>
              <a:gd name="connsiteY23026" fmla="*/ 818309 h 4687251"/>
              <a:gd name="connsiteX23027" fmla="*/ 2926260 w 8079933"/>
              <a:gd name="connsiteY23027" fmla="*/ 814303 h 4687251"/>
              <a:gd name="connsiteX23028" fmla="*/ 2310970 w 8079933"/>
              <a:gd name="connsiteY23028" fmla="*/ 813870 h 4687251"/>
              <a:gd name="connsiteX23029" fmla="*/ 2314768 w 8079933"/>
              <a:gd name="connsiteY23029" fmla="*/ 813870 h 4687251"/>
              <a:gd name="connsiteX23030" fmla="*/ 2317264 w 8079933"/>
              <a:gd name="connsiteY23030" fmla="*/ 817659 h 4687251"/>
              <a:gd name="connsiteX23031" fmla="*/ 2322256 w 8079933"/>
              <a:gd name="connsiteY23031" fmla="*/ 818525 h 4687251"/>
              <a:gd name="connsiteX23032" fmla="*/ 2323015 w 8079933"/>
              <a:gd name="connsiteY23032" fmla="*/ 822423 h 4687251"/>
              <a:gd name="connsiteX23033" fmla="*/ 2321496 w 8079933"/>
              <a:gd name="connsiteY23033" fmla="*/ 825129 h 4687251"/>
              <a:gd name="connsiteX23034" fmla="*/ 2318566 w 8079933"/>
              <a:gd name="connsiteY23034" fmla="*/ 825780 h 4687251"/>
              <a:gd name="connsiteX23035" fmla="*/ 2317264 w 8079933"/>
              <a:gd name="connsiteY23035" fmla="*/ 823614 h 4687251"/>
              <a:gd name="connsiteX23036" fmla="*/ 2313792 w 8079933"/>
              <a:gd name="connsiteY23036" fmla="*/ 823614 h 4687251"/>
              <a:gd name="connsiteX23037" fmla="*/ 2311079 w 8079933"/>
              <a:gd name="connsiteY23037" fmla="*/ 820907 h 4687251"/>
              <a:gd name="connsiteX23038" fmla="*/ 2310102 w 8079933"/>
              <a:gd name="connsiteY23038" fmla="*/ 822856 h 4687251"/>
              <a:gd name="connsiteX23039" fmla="*/ 2307172 w 8079933"/>
              <a:gd name="connsiteY23039" fmla="*/ 822207 h 4687251"/>
              <a:gd name="connsiteX23040" fmla="*/ 2307172 w 8079933"/>
              <a:gd name="connsiteY23040" fmla="*/ 818092 h 4687251"/>
              <a:gd name="connsiteX23041" fmla="*/ 2305219 w 8079933"/>
              <a:gd name="connsiteY23041" fmla="*/ 816576 h 4687251"/>
              <a:gd name="connsiteX23042" fmla="*/ 2310102 w 8079933"/>
              <a:gd name="connsiteY23042" fmla="*/ 815386 h 4687251"/>
              <a:gd name="connsiteX23043" fmla="*/ 2217537 w 8079933"/>
              <a:gd name="connsiteY23043" fmla="*/ 813328 h 4687251"/>
              <a:gd name="connsiteX23044" fmla="*/ 2220684 w 8079933"/>
              <a:gd name="connsiteY23044" fmla="*/ 813328 h 4687251"/>
              <a:gd name="connsiteX23045" fmla="*/ 2222528 w 8079933"/>
              <a:gd name="connsiteY23045" fmla="*/ 814627 h 4687251"/>
              <a:gd name="connsiteX23046" fmla="*/ 2221443 w 8079933"/>
              <a:gd name="connsiteY23046" fmla="*/ 816901 h 4687251"/>
              <a:gd name="connsiteX23047" fmla="*/ 2219381 w 8079933"/>
              <a:gd name="connsiteY23047" fmla="*/ 817009 h 4687251"/>
              <a:gd name="connsiteX23048" fmla="*/ 2216994 w 8079933"/>
              <a:gd name="connsiteY23048" fmla="*/ 817767 h 4687251"/>
              <a:gd name="connsiteX23049" fmla="*/ 2215801 w 8079933"/>
              <a:gd name="connsiteY23049" fmla="*/ 815601 h 4687251"/>
              <a:gd name="connsiteX23050" fmla="*/ 2137559 w 8079933"/>
              <a:gd name="connsiteY23050" fmla="*/ 812354 h 4687251"/>
              <a:gd name="connsiteX23051" fmla="*/ 2143202 w 8079933"/>
              <a:gd name="connsiteY23051" fmla="*/ 814303 h 4687251"/>
              <a:gd name="connsiteX23052" fmla="*/ 2143202 w 8079933"/>
              <a:gd name="connsiteY23052" fmla="*/ 818417 h 4687251"/>
              <a:gd name="connsiteX23053" fmla="*/ 2138536 w 8079933"/>
              <a:gd name="connsiteY23053" fmla="*/ 826104 h 4687251"/>
              <a:gd name="connsiteX23054" fmla="*/ 2135172 w 8079933"/>
              <a:gd name="connsiteY23054" fmla="*/ 827403 h 4687251"/>
              <a:gd name="connsiteX23055" fmla="*/ 2135823 w 8079933"/>
              <a:gd name="connsiteY23055" fmla="*/ 823831 h 4687251"/>
              <a:gd name="connsiteX23056" fmla="*/ 2135823 w 8079933"/>
              <a:gd name="connsiteY23056" fmla="*/ 819716 h 4687251"/>
              <a:gd name="connsiteX23057" fmla="*/ 2134087 w 8079933"/>
              <a:gd name="connsiteY23057" fmla="*/ 822098 h 4687251"/>
              <a:gd name="connsiteX23058" fmla="*/ 2133436 w 8079933"/>
              <a:gd name="connsiteY23058" fmla="*/ 824805 h 4687251"/>
              <a:gd name="connsiteX23059" fmla="*/ 2130289 w 8079933"/>
              <a:gd name="connsiteY23059" fmla="*/ 824805 h 4687251"/>
              <a:gd name="connsiteX23060" fmla="*/ 2132567 w 8079933"/>
              <a:gd name="connsiteY23060" fmla="*/ 817009 h 4687251"/>
              <a:gd name="connsiteX23061" fmla="*/ 2044886 w 8079933"/>
              <a:gd name="connsiteY23061" fmla="*/ 811921 h 4687251"/>
              <a:gd name="connsiteX23062" fmla="*/ 2047382 w 8079933"/>
              <a:gd name="connsiteY23062" fmla="*/ 816360 h 4687251"/>
              <a:gd name="connsiteX23063" fmla="*/ 2044995 w 8079933"/>
              <a:gd name="connsiteY23063" fmla="*/ 819284 h 4687251"/>
              <a:gd name="connsiteX23064" fmla="*/ 2044235 w 8079933"/>
              <a:gd name="connsiteY23064" fmla="*/ 823181 h 4687251"/>
              <a:gd name="connsiteX23065" fmla="*/ 2041957 w 8079933"/>
              <a:gd name="connsiteY23065" fmla="*/ 823940 h 4687251"/>
              <a:gd name="connsiteX23066" fmla="*/ 2041305 w 8079933"/>
              <a:gd name="connsiteY23066" fmla="*/ 820907 h 4687251"/>
              <a:gd name="connsiteX23067" fmla="*/ 2039678 w 8079933"/>
              <a:gd name="connsiteY23067" fmla="*/ 819176 h 4687251"/>
              <a:gd name="connsiteX23068" fmla="*/ 2042933 w 8079933"/>
              <a:gd name="connsiteY23068" fmla="*/ 812679 h 4687251"/>
              <a:gd name="connsiteX23069" fmla="*/ 3526031 w 8079933"/>
              <a:gd name="connsiteY23069" fmla="*/ 809539 h 4687251"/>
              <a:gd name="connsiteX23070" fmla="*/ 3532217 w 8079933"/>
              <a:gd name="connsiteY23070" fmla="*/ 809539 h 4687251"/>
              <a:gd name="connsiteX23071" fmla="*/ 3538185 w 8079933"/>
              <a:gd name="connsiteY23071" fmla="*/ 813220 h 4687251"/>
              <a:gd name="connsiteX23072" fmla="*/ 3542092 w 8079933"/>
              <a:gd name="connsiteY23072" fmla="*/ 813870 h 4687251"/>
              <a:gd name="connsiteX23073" fmla="*/ 3547734 w 8079933"/>
              <a:gd name="connsiteY23073" fmla="*/ 818092 h 4687251"/>
              <a:gd name="connsiteX23074" fmla="*/ 3544696 w 8079933"/>
              <a:gd name="connsiteY23074" fmla="*/ 819500 h 4687251"/>
              <a:gd name="connsiteX23075" fmla="*/ 3543611 w 8079933"/>
              <a:gd name="connsiteY23075" fmla="*/ 822748 h 4687251"/>
              <a:gd name="connsiteX23076" fmla="*/ 3545022 w 8079933"/>
              <a:gd name="connsiteY23076" fmla="*/ 824914 h 4687251"/>
              <a:gd name="connsiteX23077" fmla="*/ 3545022 w 8079933"/>
              <a:gd name="connsiteY23077" fmla="*/ 827512 h 4687251"/>
              <a:gd name="connsiteX23078" fmla="*/ 3541766 w 8079933"/>
              <a:gd name="connsiteY23078" fmla="*/ 828378 h 4687251"/>
              <a:gd name="connsiteX23079" fmla="*/ 3539053 w 8079933"/>
              <a:gd name="connsiteY23079" fmla="*/ 827296 h 4687251"/>
              <a:gd name="connsiteX23080" fmla="*/ 3534604 w 8079933"/>
              <a:gd name="connsiteY23080" fmla="*/ 827296 h 4687251"/>
              <a:gd name="connsiteX23081" fmla="*/ 3531891 w 8079933"/>
              <a:gd name="connsiteY23081" fmla="*/ 825347 h 4687251"/>
              <a:gd name="connsiteX23082" fmla="*/ 3531891 w 8079933"/>
              <a:gd name="connsiteY23082" fmla="*/ 822639 h 4687251"/>
              <a:gd name="connsiteX23083" fmla="*/ 3529938 w 8079933"/>
              <a:gd name="connsiteY23083" fmla="*/ 821665 h 4687251"/>
              <a:gd name="connsiteX23084" fmla="*/ 3526357 w 8079933"/>
              <a:gd name="connsiteY23084" fmla="*/ 821665 h 4687251"/>
              <a:gd name="connsiteX23085" fmla="*/ 3521039 w 8079933"/>
              <a:gd name="connsiteY23085" fmla="*/ 818850 h 4687251"/>
              <a:gd name="connsiteX23086" fmla="*/ 3514854 w 8079933"/>
              <a:gd name="connsiteY23086" fmla="*/ 817767 h 4687251"/>
              <a:gd name="connsiteX23087" fmla="*/ 3510405 w 8079933"/>
              <a:gd name="connsiteY23087" fmla="*/ 815277 h 4687251"/>
              <a:gd name="connsiteX23088" fmla="*/ 3502809 w 8079933"/>
              <a:gd name="connsiteY23088" fmla="*/ 815277 h 4687251"/>
              <a:gd name="connsiteX23089" fmla="*/ 3499879 w 8079933"/>
              <a:gd name="connsiteY23089" fmla="*/ 812787 h 4687251"/>
              <a:gd name="connsiteX23090" fmla="*/ 3501832 w 8079933"/>
              <a:gd name="connsiteY23090" fmla="*/ 810730 h 4687251"/>
              <a:gd name="connsiteX23091" fmla="*/ 3505955 w 8079933"/>
              <a:gd name="connsiteY23091" fmla="*/ 810730 h 4687251"/>
              <a:gd name="connsiteX23092" fmla="*/ 3513009 w 8079933"/>
              <a:gd name="connsiteY23092" fmla="*/ 810080 h 4687251"/>
              <a:gd name="connsiteX23093" fmla="*/ 3517784 w 8079933"/>
              <a:gd name="connsiteY23093" fmla="*/ 811704 h 4687251"/>
              <a:gd name="connsiteX23094" fmla="*/ 2128337 w 8079933"/>
              <a:gd name="connsiteY23094" fmla="*/ 809106 h 4687251"/>
              <a:gd name="connsiteX23095" fmla="*/ 2131158 w 8079933"/>
              <a:gd name="connsiteY23095" fmla="*/ 814520 h 4687251"/>
              <a:gd name="connsiteX23096" fmla="*/ 2128553 w 8079933"/>
              <a:gd name="connsiteY23096" fmla="*/ 819717 h 4687251"/>
              <a:gd name="connsiteX23097" fmla="*/ 2126492 w 8079933"/>
              <a:gd name="connsiteY23097" fmla="*/ 819067 h 4687251"/>
              <a:gd name="connsiteX23098" fmla="*/ 2126275 w 8079933"/>
              <a:gd name="connsiteY23098" fmla="*/ 812354 h 4687251"/>
              <a:gd name="connsiteX23099" fmla="*/ 603026 w 8079933"/>
              <a:gd name="connsiteY23099" fmla="*/ 805641 h 4687251"/>
              <a:gd name="connsiteX23100" fmla="*/ 605306 w 8079933"/>
              <a:gd name="connsiteY23100" fmla="*/ 807590 h 4687251"/>
              <a:gd name="connsiteX23101" fmla="*/ 605087 w 8079933"/>
              <a:gd name="connsiteY23101" fmla="*/ 817226 h 4687251"/>
              <a:gd name="connsiteX23102" fmla="*/ 602483 w 8079933"/>
              <a:gd name="connsiteY23102" fmla="*/ 822747 h 4687251"/>
              <a:gd name="connsiteX23103" fmla="*/ 601507 w 8079933"/>
              <a:gd name="connsiteY23103" fmla="*/ 833250 h 4687251"/>
              <a:gd name="connsiteX23104" fmla="*/ 598035 w 8079933"/>
              <a:gd name="connsiteY23104" fmla="*/ 831192 h 4687251"/>
              <a:gd name="connsiteX23105" fmla="*/ 598252 w 8079933"/>
              <a:gd name="connsiteY23105" fmla="*/ 828052 h 4687251"/>
              <a:gd name="connsiteX23106" fmla="*/ 594780 w 8079933"/>
              <a:gd name="connsiteY23106" fmla="*/ 825995 h 4687251"/>
              <a:gd name="connsiteX23107" fmla="*/ 589244 w 8079933"/>
              <a:gd name="connsiteY23107" fmla="*/ 827619 h 4687251"/>
              <a:gd name="connsiteX23108" fmla="*/ 584578 w 8079933"/>
              <a:gd name="connsiteY23108" fmla="*/ 824371 h 4687251"/>
              <a:gd name="connsiteX23109" fmla="*/ 584686 w 8079933"/>
              <a:gd name="connsiteY23109" fmla="*/ 821556 h 4687251"/>
              <a:gd name="connsiteX23110" fmla="*/ 597493 w 8079933"/>
              <a:gd name="connsiteY23110" fmla="*/ 808564 h 4687251"/>
              <a:gd name="connsiteX23111" fmla="*/ 3559236 w 8079933"/>
              <a:gd name="connsiteY23111" fmla="*/ 805316 h 4687251"/>
              <a:gd name="connsiteX23112" fmla="*/ 3559453 w 8079933"/>
              <a:gd name="connsiteY23112" fmla="*/ 808022 h 4687251"/>
              <a:gd name="connsiteX23113" fmla="*/ 3557066 w 8079933"/>
              <a:gd name="connsiteY23113" fmla="*/ 809538 h 4687251"/>
              <a:gd name="connsiteX23114" fmla="*/ 3554896 w 8079933"/>
              <a:gd name="connsiteY23114" fmla="*/ 808130 h 4687251"/>
              <a:gd name="connsiteX23115" fmla="*/ 3556198 w 8079933"/>
              <a:gd name="connsiteY23115" fmla="*/ 806291 h 4687251"/>
              <a:gd name="connsiteX23116" fmla="*/ 5471518 w 8079933"/>
              <a:gd name="connsiteY23116" fmla="*/ 800120 h 4687251"/>
              <a:gd name="connsiteX23117" fmla="*/ 5474556 w 8079933"/>
              <a:gd name="connsiteY23117" fmla="*/ 806075 h 4687251"/>
              <a:gd name="connsiteX23118" fmla="*/ 5475859 w 8079933"/>
              <a:gd name="connsiteY23118" fmla="*/ 818958 h 4687251"/>
              <a:gd name="connsiteX23119" fmla="*/ 5473146 w 8079933"/>
              <a:gd name="connsiteY23119" fmla="*/ 823289 h 4687251"/>
              <a:gd name="connsiteX23120" fmla="*/ 5471626 w 8079933"/>
              <a:gd name="connsiteY23120" fmla="*/ 821556 h 4687251"/>
              <a:gd name="connsiteX23121" fmla="*/ 5472278 w 8079933"/>
              <a:gd name="connsiteY23121" fmla="*/ 813870 h 4687251"/>
              <a:gd name="connsiteX23122" fmla="*/ 5469890 w 8079933"/>
              <a:gd name="connsiteY23122" fmla="*/ 808673 h 4687251"/>
              <a:gd name="connsiteX23123" fmla="*/ 5469890 w 8079933"/>
              <a:gd name="connsiteY23123" fmla="*/ 800228 h 4687251"/>
              <a:gd name="connsiteX23124" fmla="*/ 618979 w 8079933"/>
              <a:gd name="connsiteY23124" fmla="*/ 798495 h 4687251"/>
              <a:gd name="connsiteX23125" fmla="*/ 627336 w 8079933"/>
              <a:gd name="connsiteY23125" fmla="*/ 804017 h 4687251"/>
              <a:gd name="connsiteX23126" fmla="*/ 627336 w 8079933"/>
              <a:gd name="connsiteY23126" fmla="*/ 807048 h 4687251"/>
              <a:gd name="connsiteX23127" fmla="*/ 622235 w 8079933"/>
              <a:gd name="connsiteY23127" fmla="*/ 809322 h 4687251"/>
              <a:gd name="connsiteX23128" fmla="*/ 612468 w 8079933"/>
              <a:gd name="connsiteY23128" fmla="*/ 818093 h 4687251"/>
              <a:gd name="connsiteX23129" fmla="*/ 609432 w 8079933"/>
              <a:gd name="connsiteY23129" fmla="*/ 816901 h 4687251"/>
              <a:gd name="connsiteX23130" fmla="*/ 611817 w 8079933"/>
              <a:gd name="connsiteY23130" fmla="*/ 814519 h 4687251"/>
              <a:gd name="connsiteX23131" fmla="*/ 611817 w 8079933"/>
              <a:gd name="connsiteY23131" fmla="*/ 812029 h 4687251"/>
              <a:gd name="connsiteX23132" fmla="*/ 608996 w 8079933"/>
              <a:gd name="connsiteY23132" fmla="*/ 809105 h 4687251"/>
              <a:gd name="connsiteX23133" fmla="*/ 610299 w 8079933"/>
              <a:gd name="connsiteY23133" fmla="*/ 805316 h 4687251"/>
              <a:gd name="connsiteX23134" fmla="*/ 606282 w 8079933"/>
              <a:gd name="connsiteY23134" fmla="*/ 801201 h 4687251"/>
              <a:gd name="connsiteX23135" fmla="*/ 609864 w 8079933"/>
              <a:gd name="connsiteY23135" fmla="*/ 799253 h 4687251"/>
              <a:gd name="connsiteX23136" fmla="*/ 2940151 w 8079933"/>
              <a:gd name="connsiteY23136" fmla="*/ 794598 h 4687251"/>
              <a:gd name="connsiteX23137" fmla="*/ 2941995 w 8079933"/>
              <a:gd name="connsiteY23137" fmla="*/ 795681 h 4687251"/>
              <a:gd name="connsiteX23138" fmla="*/ 2940910 w 8079933"/>
              <a:gd name="connsiteY23138" fmla="*/ 798171 h 4687251"/>
              <a:gd name="connsiteX23139" fmla="*/ 2936244 w 8079933"/>
              <a:gd name="connsiteY23139" fmla="*/ 799687 h 4687251"/>
              <a:gd name="connsiteX23140" fmla="*/ 2932880 w 8079933"/>
              <a:gd name="connsiteY23140" fmla="*/ 803910 h 4687251"/>
              <a:gd name="connsiteX23141" fmla="*/ 2929733 w 8079933"/>
              <a:gd name="connsiteY23141" fmla="*/ 803910 h 4687251"/>
              <a:gd name="connsiteX23142" fmla="*/ 2929950 w 8079933"/>
              <a:gd name="connsiteY23142" fmla="*/ 799903 h 4687251"/>
              <a:gd name="connsiteX23143" fmla="*/ 2931903 w 8079933"/>
              <a:gd name="connsiteY23143" fmla="*/ 798820 h 4687251"/>
              <a:gd name="connsiteX23144" fmla="*/ 2932988 w 8079933"/>
              <a:gd name="connsiteY23144" fmla="*/ 795897 h 4687251"/>
              <a:gd name="connsiteX23145" fmla="*/ 2937871 w 8079933"/>
              <a:gd name="connsiteY23145" fmla="*/ 795897 h 4687251"/>
              <a:gd name="connsiteX23146" fmla="*/ 5465224 w 8079933"/>
              <a:gd name="connsiteY23146" fmla="*/ 790483 h 4687251"/>
              <a:gd name="connsiteX23147" fmla="*/ 5468263 w 8079933"/>
              <a:gd name="connsiteY23147" fmla="*/ 793623 h 4687251"/>
              <a:gd name="connsiteX23148" fmla="*/ 5468155 w 8079933"/>
              <a:gd name="connsiteY23148" fmla="*/ 797412 h 4687251"/>
              <a:gd name="connsiteX23149" fmla="*/ 5465659 w 8079933"/>
              <a:gd name="connsiteY23149" fmla="*/ 796221 h 4687251"/>
              <a:gd name="connsiteX23150" fmla="*/ 5463271 w 8079933"/>
              <a:gd name="connsiteY23150" fmla="*/ 791241 h 4687251"/>
              <a:gd name="connsiteX23151" fmla="*/ 2033601 w 8079933"/>
              <a:gd name="connsiteY23151" fmla="*/ 788318 h 4687251"/>
              <a:gd name="connsiteX23152" fmla="*/ 2033601 w 8079933"/>
              <a:gd name="connsiteY23152" fmla="*/ 791349 h 4687251"/>
              <a:gd name="connsiteX23153" fmla="*/ 2035880 w 8079933"/>
              <a:gd name="connsiteY23153" fmla="*/ 793515 h 4687251"/>
              <a:gd name="connsiteX23154" fmla="*/ 2035880 w 8079933"/>
              <a:gd name="connsiteY23154" fmla="*/ 796222 h 4687251"/>
              <a:gd name="connsiteX23155" fmla="*/ 2034036 w 8079933"/>
              <a:gd name="connsiteY23155" fmla="*/ 799037 h 4687251"/>
              <a:gd name="connsiteX23156" fmla="*/ 2032191 w 8079933"/>
              <a:gd name="connsiteY23156" fmla="*/ 798604 h 4687251"/>
              <a:gd name="connsiteX23157" fmla="*/ 2030671 w 8079933"/>
              <a:gd name="connsiteY23157" fmla="*/ 801202 h 4687251"/>
              <a:gd name="connsiteX23158" fmla="*/ 2028935 w 8079933"/>
              <a:gd name="connsiteY23158" fmla="*/ 800877 h 4687251"/>
              <a:gd name="connsiteX23159" fmla="*/ 2028176 w 8079933"/>
              <a:gd name="connsiteY23159" fmla="*/ 798604 h 4687251"/>
              <a:gd name="connsiteX23160" fmla="*/ 2029044 w 8079933"/>
              <a:gd name="connsiteY23160" fmla="*/ 795897 h 4687251"/>
              <a:gd name="connsiteX23161" fmla="*/ 2032299 w 8079933"/>
              <a:gd name="connsiteY23161" fmla="*/ 794814 h 4687251"/>
              <a:gd name="connsiteX23162" fmla="*/ 2029912 w 8079933"/>
              <a:gd name="connsiteY23162" fmla="*/ 791566 h 4687251"/>
              <a:gd name="connsiteX23163" fmla="*/ 2031323 w 8079933"/>
              <a:gd name="connsiteY23163" fmla="*/ 788751 h 4687251"/>
              <a:gd name="connsiteX23164" fmla="*/ 3494235 w 8079933"/>
              <a:gd name="connsiteY23164" fmla="*/ 787885 h 4687251"/>
              <a:gd name="connsiteX23165" fmla="*/ 3508560 w 8079933"/>
              <a:gd name="connsiteY23165" fmla="*/ 790483 h 4687251"/>
              <a:gd name="connsiteX23166" fmla="*/ 3518651 w 8079933"/>
              <a:gd name="connsiteY23166" fmla="*/ 797629 h 4687251"/>
              <a:gd name="connsiteX23167" fmla="*/ 3521039 w 8079933"/>
              <a:gd name="connsiteY23167" fmla="*/ 800444 h 4687251"/>
              <a:gd name="connsiteX23168" fmla="*/ 3518435 w 8079933"/>
              <a:gd name="connsiteY23168" fmla="*/ 800769 h 4687251"/>
              <a:gd name="connsiteX23169" fmla="*/ 3509753 w 8079933"/>
              <a:gd name="connsiteY23169" fmla="*/ 799362 h 4687251"/>
              <a:gd name="connsiteX23170" fmla="*/ 3502483 w 8079933"/>
              <a:gd name="connsiteY23170" fmla="*/ 793948 h 4687251"/>
              <a:gd name="connsiteX23171" fmla="*/ 3499228 w 8079933"/>
              <a:gd name="connsiteY23171" fmla="*/ 793840 h 4687251"/>
              <a:gd name="connsiteX23172" fmla="*/ 3497166 w 8079933"/>
              <a:gd name="connsiteY23172" fmla="*/ 795572 h 4687251"/>
              <a:gd name="connsiteX23173" fmla="*/ 3499228 w 8079933"/>
              <a:gd name="connsiteY23173" fmla="*/ 798279 h 4687251"/>
              <a:gd name="connsiteX23174" fmla="*/ 3503894 w 8079933"/>
              <a:gd name="connsiteY23174" fmla="*/ 798928 h 4687251"/>
              <a:gd name="connsiteX23175" fmla="*/ 3510296 w 8079933"/>
              <a:gd name="connsiteY23175" fmla="*/ 802393 h 4687251"/>
              <a:gd name="connsiteX23176" fmla="*/ 3514853 w 8079933"/>
              <a:gd name="connsiteY23176" fmla="*/ 804342 h 4687251"/>
              <a:gd name="connsiteX23177" fmla="*/ 3526248 w 8079933"/>
              <a:gd name="connsiteY23177" fmla="*/ 803909 h 4687251"/>
              <a:gd name="connsiteX23178" fmla="*/ 3531782 w 8079933"/>
              <a:gd name="connsiteY23178" fmla="*/ 804883 h 4687251"/>
              <a:gd name="connsiteX23179" fmla="*/ 3531999 w 8079933"/>
              <a:gd name="connsiteY23179" fmla="*/ 807049 h 4687251"/>
              <a:gd name="connsiteX23180" fmla="*/ 3526139 w 8079933"/>
              <a:gd name="connsiteY23180" fmla="*/ 808456 h 4687251"/>
              <a:gd name="connsiteX23181" fmla="*/ 3512466 w 8079933"/>
              <a:gd name="connsiteY23181" fmla="*/ 807591 h 4687251"/>
              <a:gd name="connsiteX23182" fmla="*/ 3502917 w 8079933"/>
              <a:gd name="connsiteY23182" fmla="*/ 808673 h 4687251"/>
              <a:gd name="connsiteX23183" fmla="*/ 3496298 w 8079933"/>
              <a:gd name="connsiteY23183" fmla="*/ 806075 h 4687251"/>
              <a:gd name="connsiteX23184" fmla="*/ 3491088 w 8079933"/>
              <a:gd name="connsiteY23184" fmla="*/ 800336 h 4687251"/>
              <a:gd name="connsiteX23185" fmla="*/ 3484686 w 8079933"/>
              <a:gd name="connsiteY23185" fmla="*/ 799470 h 4687251"/>
              <a:gd name="connsiteX23186" fmla="*/ 3481431 w 8079933"/>
              <a:gd name="connsiteY23186" fmla="*/ 796330 h 4687251"/>
              <a:gd name="connsiteX23187" fmla="*/ 3484252 w 8079933"/>
              <a:gd name="connsiteY23187" fmla="*/ 793840 h 4687251"/>
              <a:gd name="connsiteX23188" fmla="*/ 3490655 w 8079933"/>
              <a:gd name="connsiteY23188" fmla="*/ 791783 h 4687251"/>
              <a:gd name="connsiteX23189" fmla="*/ 3490763 w 8079933"/>
              <a:gd name="connsiteY23189" fmla="*/ 789076 h 4687251"/>
              <a:gd name="connsiteX23190" fmla="*/ 2110867 w 8079933"/>
              <a:gd name="connsiteY23190" fmla="*/ 785177 h 4687251"/>
              <a:gd name="connsiteX23191" fmla="*/ 2110867 w 8079933"/>
              <a:gd name="connsiteY23191" fmla="*/ 790374 h 4687251"/>
              <a:gd name="connsiteX23192" fmla="*/ 2110215 w 8079933"/>
              <a:gd name="connsiteY23192" fmla="*/ 794163 h 4687251"/>
              <a:gd name="connsiteX23193" fmla="*/ 2112277 w 8079933"/>
              <a:gd name="connsiteY23193" fmla="*/ 799036 h 4687251"/>
              <a:gd name="connsiteX23194" fmla="*/ 2108804 w 8079933"/>
              <a:gd name="connsiteY23194" fmla="*/ 802067 h 4687251"/>
              <a:gd name="connsiteX23195" fmla="*/ 2108479 w 8079933"/>
              <a:gd name="connsiteY23195" fmla="*/ 807589 h 4687251"/>
              <a:gd name="connsiteX23196" fmla="*/ 2112277 w 8079933"/>
              <a:gd name="connsiteY23196" fmla="*/ 802717 h 4687251"/>
              <a:gd name="connsiteX23197" fmla="*/ 2116075 w 8079933"/>
              <a:gd name="connsiteY23197" fmla="*/ 803150 h 4687251"/>
              <a:gd name="connsiteX23198" fmla="*/ 2116075 w 8079933"/>
              <a:gd name="connsiteY23198" fmla="*/ 807914 h 4687251"/>
              <a:gd name="connsiteX23199" fmla="*/ 2122586 w 8079933"/>
              <a:gd name="connsiteY23199" fmla="*/ 812461 h 4687251"/>
              <a:gd name="connsiteX23200" fmla="*/ 2125082 w 8079933"/>
              <a:gd name="connsiteY23200" fmla="*/ 828268 h 4687251"/>
              <a:gd name="connsiteX23201" fmla="*/ 2121609 w 8079933"/>
              <a:gd name="connsiteY23201" fmla="*/ 839312 h 4687251"/>
              <a:gd name="connsiteX23202" fmla="*/ 2121935 w 8079933"/>
              <a:gd name="connsiteY23202" fmla="*/ 843751 h 4687251"/>
              <a:gd name="connsiteX23203" fmla="*/ 2125299 w 8079933"/>
              <a:gd name="connsiteY23203" fmla="*/ 836713 h 4687251"/>
              <a:gd name="connsiteX23204" fmla="*/ 2130616 w 8079933"/>
              <a:gd name="connsiteY23204" fmla="*/ 833682 h 4687251"/>
              <a:gd name="connsiteX23205" fmla="*/ 2129205 w 8079933"/>
              <a:gd name="connsiteY23205" fmla="*/ 838337 h 4687251"/>
              <a:gd name="connsiteX23206" fmla="*/ 2124431 w 8079933"/>
              <a:gd name="connsiteY23206" fmla="*/ 848298 h 4687251"/>
              <a:gd name="connsiteX23207" fmla="*/ 2126818 w 8079933"/>
              <a:gd name="connsiteY23207" fmla="*/ 851872 h 4687251"/>
              <a:gd name="connsiteX23208" fmla="*/ 2132352 w 8079933"/>
              <a:gd name="connsiteY23208" fmla="*/ 849814 h 4687251"/>
              <a:gd name="connsiteX23209" fmla="*/ 2132135 w 8079933"/>
              <a:gd name="connsiteY23209" fmla="*/ 853387 h 4687251"/>
              <a:gd name="connsiteX23210" fmla="*/ 2125407 w 8079933"/>
              <a:gd name="connsiteY23210" fmla="*/ 857935 h 4687251"/>
              <a:gd name="connsiteX23211" fmla="*/ 2123346 w 8079933"/>
              <a:gd name="connsiteY23211" fmla="*/ 860208 h 4687251"/>
              <a:gd name="connsiteX23212" fmla="*/ 2121284 w 8079933"/>
              <a:gd name="connsiteY23212" fmla="*/ 856527 h 4687251"/>
              <a:gd name="connsiteX23213" fmla="*/ 2115750 w 8079933"/>
              <a:gd name="connsiteY23213" fmla="*/ 860641 h 4687251"/>
              <a:gd name="connsiteX23214" fmla="*/ 2112277 w 8079933"/>
              <a:gd name="connsiteY23214" fmla="*/ 861291 h 4687251"/>
              <a:gd name="connsiteX23215" fmla="*/ 2107394 w 8079933"/>
              <a:gd name="connsiteY23215" fmla="*/ 866163 h 4687251"/>
              <a:gd name="connsiteX23216" fmla="*/ 2102944 w 8079933"/>
              <a:gd name="connsiteY23216" fmla="*/ 866163 h 4687251"/>
              <a:gd name="connsiteX23217" fmla="*/ 2099472 w 8079933"/>
              <a:gd name="connsiteY23217" fmla="*/ 866488 h 4687251"/>
              <a:gd name="connsiteX23218" fmla="*/ 2093286 w 8079933"/>
              <a:gd name="connsiteY23218" fmla="*/ 861291 h 4687251"/>
              <a:gd name="connsiteX23219" fmla="*/ 2092961 w 8079933"/>
              <a:gd name="connsiteY23219" fmla="*/ 856852 h 4687251"/>
              <a:gd name="connsiteX23220" fmla="*/ 2089163 w 8079933"/>
              <a:gd name="connsiteY23220" fmla="*/ 862698 h 4687251"/>
              <a:gd name="connsiteX23221" fmla="*/ 2086016 w 8079933"/>
              <a:gd name="connsiteY23221" fmla="*/ 859233 h 4687251"/>
              <a:gd name="connsiteX23222" fmla="*/ 2083629 w 8079933"/>
              <a:gd name="connsiteY23222" fmla="*/ 852304 h 4687251"/>
              <a:gd name="connsiteX23223" fmla="*/ 2079179 w 8079933"/>
              <a:gd name="connsiteY23223" fmla="*/ 851330 h 4687251"/>
              <a:gd name="connsiteX23224" fmla="*/ 2073645 w 8079933"/>
              <a:gd name="connsiteY23224" fmla="*/ 845159 h 4687251"/>
              <a:gd name="connsiteX23225" fmla="*/ 2075381 w 8079933"/>
              <a:gd name="connsiteY23225" fmla="*/ 840936 h 4687251"/>
              <a:gd name="connsiteX23226" fmla="*/ 2073645 w 8079933"/>
              <a:gd name="connsiteY23226" fmla="*/ 837905 h 4687251"/>
              <a:gd name="connsiteX23227" fmla="*/ 2070824 w 8079933"/>
              <a:gd name="connsiteY23227" fmla="*/ 842668 h 4687251"/>
              <a:gd name="connsiteX23228" fmla="*/ 2065615 w 8079933"/>
              <a:gd name="connsiteY23228" fmla="*/ 838554 h 4687251"/>
              <a:gd name="connsiteX23229" fmla="*/ 2067351 w 8079933"/>
              <a:gd name="connsiteY23229" fmla="*/ 832058 h 4687251"/>
              <a:gd name="connsiteX23230" fmla="*/ 2062902 w 8079933"/>
              <a:gd name="connsiteY23230" fmla="*/ 828268 h 4687251"/>
              <a:gd name="connsiteX23231" fmla="*/ 2061491 w 8079933"/>
              <a:gd name="connsiteY23231" fmla="*/ 831625 h 4687251"/>
              <a:gd name="connsiteX23232" fmla="*/ 2062576 w 8079933"/>
              <a:gd name="connsiteY23232" fmla="*/ 834440 h 4687251"/>
              <a:gd name="connsiteX23233" fmla="*/ 2058453 w 8079933"/>
              <a:gd name="connsiteY23233" fmla="*/ 836822 h 4687251"/>
              <a:gd name="connsiteX23234" fmla="*/ 2053570 w 8079933"/>
              <a:gd name="connsiteY23234" fmla="*/ 830650 h 4687251"/>
              <a:gd name="connsiteX23235" fmla="*/ 2052593 w 8079933"/>
              <a:gd name="connsiteY23235" fmla="*/ 825886 h 4687251"/>
              <a:gd name="connsiteX23236" fmla="*/ 2063227 w 8079933"/>
              <a:gd name="connsiteY23236" fmla="*/ 819282 h 4687251"/>
              <a:gd name="connsiteX23237" fmla="*/ 2066374 w 8079933"/>
              <a:gd name="connsiteY23237" fmla="*/ 819932 h 4687251"/>
              <a:gd name="connsiteX23238" fmla="*/ 2069522 w 8079933"/>
              <a:gd name="connsiteY23238" fmla="*/ 818633 h 4687251"/>
              <a:gd name="connsiteX23239" fmla="*/ 2077118 w 8079933"/>
              <a:gd name="connsiteY23239" fmla="*/ 819282 h 4687251"/>
              <a:gd name="connsiteX23240" fmla="*/ 2079831 w 8079933"/>
              <a:gd name="connsiteY23240" fmla="*/ 815168 h 4687251"/>
              <a:gd name="connsiteX23241" fmla="*/ 2083629 w 8079933"/>
              <a:gd name="connsiteY23241" fmla="*/ 815168 h 4687251"/>
              <a:gd name="connsiteX23242" fmla="*/ 2086342 w 8079933"/>
              <a:gd name="connsiteY23242" fmla="*/ 811054 h 4687251"/>
              <a:gd name="connsiteX23243" fmla="*/ 2083954 w 8079933"/>
              <a:gd name="connsiteY23243" fmla="*/ 806615 h 4687251"/>
              <a:gd name="connsiteX23244" fmla="*/ 2087101 w 8079933"/>
              <a:gd name="connsiteY23244" fmla="*/ 806181 h 4687251"/>
              <a:gd name="connsiteX23245" fmla="*/ 2088078 w 8079933"/>
              <a:gd name="connsiteY23245" fmla="*/ 800660 h 4687251"/>
              <a:gd name="connsiteX23246" fmla="*/ 2090140 w 8079933"/>
              <a:gd name="connsiteY23246" fmla="*/ 800984 h 4687251"/>
              <a:gd name="connsiteX23247" fmla="*/ 2091876 w 8079933"/>
              <a:gd name="connsiteY23247" fmla="*/ 807264 h 4687251"/>
              <a:gd name="connsiteX23248" fmla="*/ 2095674 w 8079933"/>
              <a:gd name="connsiteY23248" fmla="*/ 808672 h 4687251"/>
              <a:gd name="connsiteX23249" fmla="*/ 2093938 w 8079933"/>
              <a:gd name="connsiteY23249" fmla="*/ 801417 h 4687251"/>
              <a:gd name="connsiteX23250" fmla="*/ 2097085 w 8079933"/>
              <a:gd name="connsiteY23250" fmla="*/ 793081 h 4687251"/>
              <a:gd name="connsiteX23251" fmla="*/ 2104029 w 8079933"/>
              <a:gd name="connsiteY23251" fmla="*/ 787234 h 4687251"/>
              <a:gd name="connsiteX23252" fmla="*/ 662713 w 8079933"/>
              <a:gd name="connsiteY23252" fmla="*/ 784853 h 4687251"/>
              <a:gd name="connsiteX23253" fmla="*/ 665426 w 8079933"/>
              <a:gd name="connsiteY23253" fmla="*/ 788534 h 4687251"/>
              <a:gd name="connsiteX23254" fmla="*/ 663905 w 8079933"/>
              <a:gd name="connsiteY23254" fmla="*/ 791999 h 4687251"/>
              <a:gd name="connsiteX23255" fmla="*/ 660976 w 8079933"/>
              <a:gd name="connsiteY23255" fmla="*/ 792541 h 4687251"/>
              <a:gd name="connsiteX23256" fmla="*/ 654900 w 8079933"/>
              <a:gd name="connsiteY23256" fmla="*/ 786802 h 4687251"/>
              <a:gd name="connsiteX23257" fmla="*/ 657069 w 8079933"/>
              <a:gd name="connsiteY23257" fmla="*/ 785286 h 4687251"/>
              <a:gd name="connsiteX23258" fmla="*/ 2601686 w 8079933"/>
              <a:gd name="connsiteY23258" fmla="*/ 783878 h 4687251"/>
              <a:gd name="connsiteX23259" fmla="*/ 2603314 w 8079933"/>
              <a:gd name="connsiteY23259" fmla="*/ 787126 h 4687251"/>
              <a:gd name="connsiteX23260" fmla="*/ 2604833 w 8079933"/>
              <a:gd name="connsiteY23260" fmla="*/ 786693 h 4687251"/>
              <a:gd name="connsiteX23261" fmla="*/ 2607438 w 8079933"/>
              <a:gd name="connsiteY23261" fmla="*/ 788317 h 4687251"/>
              <a:gd name="connsiteX23262" fmla="*/ 2603857 w 8079933"/>
              <a:gd name="connsiteY23262" fmla="*/ 791023 h 4687251"/>
              <a:gd name="connsiteX23263" fmla="*/ 2602012 w 8079933"/>
              <a:gd name="connsiteY23263" fmla="*/ 795355 h 4687251"/>
              <a:gd name="connsiteX23264" fmla="*/ 2600492 w 8079933"/>
              <a:gd name="connsiteY23264" fmla="*/ 796221 h 4687251"/>
              <a:gd name="connsiteX23265" fmla="*/ 2598756 w 8079933"/>
              <a:gd name="connsiteY23265" fmla="*/ 792539 h 4687251"/>
              <a:gd name="connsiteX23266" fmla="*/ 2599733 w 8079933"/>
              <a:gd name="connsiteY23266" fmla="*/ 790374 h 4687251"/>
              <a:gd name="connsiteX23267" fmla="*/ 2599407 w 8079933"/>
              <a:gd name="connsiteY23267" fmla="*/ 785719 h 4687251"/>
              <a:gd name="connsiteX23268" fmla="*/ 2938088 w 8079933"/>
              <a:gd name="connsiteY23268" fmla="*/ 780631 h 4687251"/>
              <a:gd name="connsiteX23269" fmla="*/ 2940150 w 8079933"/>
              <a:gd name="connsiteY23269" fmla="*/ 781931 h 4687251"/>
              <a:gd name="connsiteX23270" fmla="*/ 2937763 w 8079933"/>
              <a:gd name="connsiteY23270" fmla="*/ 784313 h 4687251"/>
              <a:gd name="connsiteX23271" fmla="*/ 2936461 w 8079933"/>
              <a:gd name="connsiteY23271" fmla="*/ 783771 h 4687251"/>
              <a:gd name="connsiteX23272" fmla="*/ 2936461 w 8079933"/>
              <a:gd name="connsiteY23272" fmla="*/ 781714 h 4687251"/>
              <a:gd name="connsiteX23273" fmla="*/ 2946335 w 8079933"/>
              <a:gd name="connsiteY23273" fmla="*/ 779006 h 4687251"/>
              <a:gd name="connsiteX23274" fmla="*/ 2946986 w 8079933"/>
              <a:gd name="connsiteY23274" fmla="*/ 781279 h 4687251"/>
              <a:gd name="connsiteX23275" fmla="*/ 2944381 w 8079933"/>
              <a:gd name="connsiteY23275" fmla="*/ 781930 h 4687251"/>
              <a:gd name="connsiteX23276" fmla="*/ 2944056 w 8079933"/>
              <a:gd name="connsiteY23276" fmla="*/ 780197 h 4687251"/>
              <a:gd name="connsiteX23277" fmla="*/ 2609933 w 8079933"/>
              <a:gd name="connsiteY23277" fmla="*/ 776408 h 4687251"/>
              <a:gd name="connsiteX23278" fmla="*/ 2611777 w 8079933"/>
              <a:gd name="connsiteY23278" fmla="*/ 779548 h 4687251"/>
              <a:gd name="connsiteX23279" fmla="*/ 2610584 w 8079933"/>
              <a:gd name="connsiteY23279" fmla="*/ 783337 h 4687251"/>
              <a:gd name="connsiteX23280" fmla="*/ 2608522 w 8079933"/>
              <a:gd name="connsiteY23280" fmla="*/ 783987 h 4687251"/>
              <a:gd name="connsiteX23281" fmla="*/ 2607437 w 8079933"/>
              <a:gd name="connsiteY23281" fmla="*/ 781279 h 4687251"/>
              <a:gd name="connsiteX23282" fmla="*/ 2607437 w 8079933"/>
              <a:gd name="connsiteY23282" fmla="*/ 778032 h 4687251"/>
              <a:gd name="connsiteX23283" fmla="*/ 2015587 w 8079933"/>
              <a:gd name="connsiteY23283" fmla="*/ 776083 h 4687251"/>
              <a:gd name="connsiteX23284" fmla="*/ 2016130 w 8079933"/>
              <a:gd name="connsiteY23284" fmla="*/ 778140 h 4687251"/>
              <a:gd name="connsiteX23285" fmla="*/ 2015262 w 8079933"/>
              <a:gd name="connsiteY23285" fmla="*/ 780847 h 4687251"/>
              <a:gd name="connsiteX23286" fmla="*/ 2013852 w 8079933"/>
              <a:gd name="connsiteY23286" fmla="*/ 780197 h 4687251"/>
              <a:gd name="connsiteX23287" fmla="*/ 2013960 w 8079933"/>
              <a:gd name="connsiteY23287" fmla="*/ 777815 h 4687251"/>
              <a:gd name="connsiteX23288" fmla="*/ 2603423 w 8079933"/>
              <a:gd name="connsiteY23288" fmla="*/ 774459 h 4687251"/>
              <a:gd name="connsiteX23289" fmla="*/ 2603531 w 8079933"/>
              <a:gd name="connsiteY23289" fmla="*/ 779006 h 4687251"/>
              <a:gd name="connsiteX23290" fmla="*/ 2601903 w 8079933"/>
              <a:gd name="connsiteY23290" fmla="*/ 779873 h 4687251"/>
              <a:gd name="connsiteX23291" fmla="*/ 2601578 w 8079933"/>
              <a:gd name="connsiteY23291" fmla="*/ 776408 h 4687251"/>
              <a:gd name="connsiteX23292" fmla="*/ 2951001 w 8079933"/>
              <a:gd name="connsiteY23292" fmla="*/ 773918 h 4687251"/>
              <a:gd name="connsiteX23293" fmla="*/ 2950784 w 8079933"/>
              <a:gd name="connsiteY23293" fmla="*/ 775759 h 4687251"/>
              <a:gd name="connsiteX23294" fmla="*/ 2948723 w 8079933"/>
              <a:gd name="connsiteY23294" fmla="*/ 777167 h 4687251"/>
              <a:gd name="connsiteX23295" fmla="*/ 2947529 w 8079933"/>
              <a:gd name="connsiteY23295" fmla="*/ 777058 h 4687251"/>
              <a:gd name="connsiteX23296" fmla="*/ 2937220 w 8079933"/>
              <a:gd name="connsiteY23296" fmla="*/ 766988 h 4687251"/>
              <a:gd name="connsiteX23297" fmla="*/ 2937437 w 8079933"/>
              <a:gd name="connsiteY23297" fmla="*/ 768937 h 4687251"/>
              <a:gd name="connsiteX23298" fmla="*/ 2936026 w 8079933"/>
              <a:gd name="connsiteY23298" fmla="*/ 769045 h 4687251"/>
              <a:gd name="connsiteX23299" fmla="*/ 2932336 w 8079933"/>
              <a:gd name="connsiteY23299" fmla="*/ 770670 h 4687251"/>
              <a:gd name="connsiteX23300" fmla="*/ 2930600 w 8079933"/>
              <a:gd name="connsiteY23300" fmla="*/ 769262 h 4687251"/>
              <a:gd name="connsiteX23301" fmla="*/ 2932445 w 8079933"/>
              <a:gd name="connsiteY23301" fmla="*/ 767096 h 4687251"/>
              <a:gd name="connsiteX23302" fmla="*/ 2947746 w 8079933"/>
              <a:gd name="connsiteY23302" fmla="*/ 766230 h 4687251"/>
              <a:gd name="connsiteX23303" fmla="*/ 2951544 w 8079933"/>
              <a:gd name="connsiteY23303" fmla="*/ 766230 h 4687251"/>
              <a:gd name="connsiteX23304" fmla="*/ 2951761 w 8079933"/>
              <a:gd name="connsiteY23304" fmla="*/ 768720 h 4687251"/>
              <a:gd name="connsiteX23305" fmla="*/ 2947420 w 8079933"/>
              <a:gd name="connsiteY23305" fmla="*/ 772509 h 4687251"/>
              <a:gd name="connsiteX23306" fmla="*/ 2939716 w 8079933"/>
              <a:gd name="connsiteY23306" fmla="*/ 778572 h 4687251"/>
              <a:gd name="connsiteX23307" fmla="*/ 2938631 w 8079933"/>
              <a:gd name="connsiteY23307" fmla="*/ 779331 h 4687251"/>
              <a:gd name="connsiteX23308" fmla="*/ 2937328 w 8079933"/>
              <a:gd name="connsiteY23308" fmla="*/ 779222 h 4687251"/>
              <a:gd name="connsiteX23309" fmla="*/ 2937437 w 8079933"/>
              <a:gd name="connsiteY23309" fmla="*/ 777056 h 4687251"/>
              <a:gd name="connsiteX23310" fmla="*/ 2937003 w 8079933"/>
              <a:gd name="connsiteY23310" fmla="*/ 774350 h 4687251"/>
              <a:gd name="connsiteX23311" fmla="*/ 2938848 w 8079933"/>
              <a:gd name="connsiteY23311" fmla="*/ 773050 h 4687251"/>
              <a:gd name="connsiteX23312" fmla="*/ 2940584 w 8079933"/>
              <a:gd name="connsiteY23312" fmla="*/ 770128 h 4687251"/>
              <a:gd name="connsiteX23313" fmla="*/ 2943623 w 8079933"/>
              <a:gd name="connsiteY23313" fmla="*/ 769803 h 4687251"/>
              <a:gd name="connsiteX23314" fmla="*/ 2948614 w 8079933"/>
              <a:gd name="connsiteY23314" fmla="*/ 755078 h 4687251"/>
              <a:gd name="connsiteX23315" fmla="*/ 2950893 w 8079933"/>
              <a:gd name="connsiteY23315" fmla="*/ 756268 h 4687251"/>
              <a:gd name="connsiteX23316" fmla="*/ 2949917 w 8079933"/>
              <a:gd name="connsiteY23316" fmla="*/ 758651 h 4687251"/>
              <a:gd name="connsiteX23317" fmla="*/ 2947638 w 8079933"/>
              <a:gd name="connsiteY23317" fmla="*/ 758651 h 4687251"/>
              <a:gd name="connsiteX23318" fmla="*/ 2945576 w 8079933"/>
              <a:gd name="connsiteY23318" fmla="*/ 757568 h 4687251"/>
              <a:gd name="connsiteX23319" fmla="*/ 2939173 w 8079933"/>
              <a:gd name="connsiteY23319" fmla="*/ 753022 h 4687251"/>
              <a:gd name="connsiteX23320" fmla="*/ 2942211 w 8079933"/>
              <a:gd name="connsiteY23320" fmla="*/ 753347 h 4687251"/>
              <a:gd name="connsiteX23321" fmla="*/ 2944381 w 8079933"/>
              <a:gd name="connsiteY23321" fmla="*/ 753347 h 4687251"/>
              <a:gd name="connsiteX23322" fmla="*/ 2943513 w 8079933"/>
              <a:gd name="connsiteY23322" fmla="*/ 754863 h 4687251"/>
              <a:gd name="connsiteX23323" fmla="*/ 2939933 w 8079933"/>
              <a:gd name="connsiteY23323" fmla="*/ 754972 h 4687251"/>
              <a:gd name="connsiteX23324" fmla="*/ 2942862 w 8079933"/>
              <a:gd name="connsiteY23324" fmla="*/ 744251 h 4687251"/>
              <a:gd name="connsiteX23325" fmla="*/ 2942536 w 8079933"/>
              <a:gd name="connsiteY23325" fmla="*/ 745767 h 4687251"/>
              <a:gd name="connsiteX23326" fmla="*/ 2940258 w 8079933"/>
              <a:gd name="connsiteY23326" fmla="*/ 746741 h 4687251"/>
              <a:gd name="connsiteX23327" fmla="*/ 2940909 w 8079933"/>
              <a:gd name="connsiteY23327" fmla="*/ 744467 h 4687251"/>
              <a:gd name="connsiteX23328" fmla="*/ 4901913 w 8079933"/>
              <a:gd name="connsiteY23328" fmla="*/ 743061 h 4687251"/>
              <a:gd name="connsiteX23329" fmla="*/ 4905712 w 8079933"/>
              <a:gd name="connsiteY23329" fmla="*/ 743061 h 4687251"/>
              <a:gd name="connsiteX23330" fmla="*/ 4910161 w 8079933"/>
              <a:gd name="connsiteY23330" fmla="*/ 745985 h 4687251"/>
              <a:gd name="connsiteX23331" fmla="*/ 4921664 w 8079933"/>
              <a:gd name="connsiteY23331" fmla="*/ 747716 h 4687251"/>
              <a:gd name="connsiteX23332" fmla="*/ 4930453 w 8079933"/>
              <a:gd name="connsiteY23332" fmla="*/ 747716 h 4687251"/>
              <a:gd name="connsiteX23333" fmla="*/ 4932407 w 8079933"/>
              <a:gd name="connsiteY23333" fmla="*/ 749773 h 4687251"/>
              <a:gd name="connsiteX23334" fmla="*/ 4931213 w 8079933"/>
              <a:gd name="connsiteY23334" fmla="*/ 752481 h 4687251"/>
              <a:gd name="connsiteX23335" fmla="*/ 4924811 w 8079933"/>
              <a:gd name="connsiteY23335" fmla="*/ 754971 h 4687251"/>
              <a:gd name="connsiteX23336" fmla="*/ 4923075 w 8079933"/>
              <a:gd name="connsiteY23336" fmla="*/ 757028 h 4687251"/>
              <a:gd name="connsiteX23337" fmla="*/ 4927415 w 8079933"/>
              <a:gd name="connsiteY23337" fmla="*/ 755728 h 4687251"/>
              <a:gd name="connsiteX23338" fmla="*/ 4931539 w 8079933"/>
              <a:gd name="connsiteY23338" fmla="*/ 754971 h 4687251"/>
              <a:gd name="connsiteX23339" fmla="*/ 4932516 w 8079933"/>
              <a:gd name="connsiteY23339" fmla="*/ 759085 h 4687251"/>
              <a:gd name="connsiteX23340" fmla="*/ 4931647 w 8079933"/>
              <a:gd name="connsiteY23340" fmla="*/ 768179 h 4687251"/>
              <a:gd name="connsiteX23341" fmla="*/ 4926330 w 8079933"/>
              <a:gd name="connsiteY23341" fmla="*/ 771428 h 4687251"/>
              <a:gd name="connsiteX23342" fmla="*/ 4919818 w 8079933"/>
              <a:gd name="connsiteY23342" fmla="*/ 770887 h 4687251"/>
              <a:gd name="connsiteX23343" fmla="*/ 4918733 w 8079933"/>
              <a:gd name="connsiteY23343" fmla="*/ 772510 h 4687251"/>
              <a:gd name="connsiteX23344" fmla="*/ 4921664 w 8079933"/>
              <a:gd name="connsiteY23344" fmla="*/ 774676 h 4687251"/>
              <a:gd name="connsiteX23345" fmla="*/ 4925353 w 8079933"/>
              <a:gd name="connsiteY23345" fmla="*/ 772944 h 4687251"/>
              <a:gd name="connsiteX23346" fmla="*/ 4929477 w 8079933"/>
              <a:gd name="connsiteY23346" fmla="*/ 774026 h 4687251"/>
              <a:gd name="connsiteX23347" fmla="*/ 4930019 w 8079933"/>
              <a:gd name="connsiteY23347" fmla="*/ 776950 h 4687251"/>
              <a:gd name="connsiteX23348" fmla="*/ 4927741 w 8079933"/>
              <a:gd name="connsiteY23348" fmla="*/ 780956 h 4687251"/>
              <a:gd name="connsiteX23349" fmla="*/ 4928826 w 8079933"/>
              <a:gd name="connsiteY23349" fmla="*/ 783987 h 4687251"/>
              <a:gd name="connsiteX23350" fmla="*/ 4930888 w 8079933"/>
              <a:gd name="connsiteY23350" fmla="*/ 797088 h 4687251"/>
              <a:gd name="connsiteX23351" fmla="*/ 4934360 w 8079933"/>
              <a:gd name="connsiteY23351" fmla="*/ 803909 h 4687251"/>
              <a:gd name="connsiteX23352" fmla="*/ 4934685 w 8079933"/>
              <a:gd name="connsiteY23352" fmla="*/ 815711 h 4687251"/>
              <a:gd name="connsiteX23353" fmla="*/ 4939135 w 8079933"/>
              <a:gd name="connsiteY23353" fmla="*/ 823289 h 4687251"/>
              <a:gd name="connsiteX23354" fmla="*/ 4942282 w 8079933"/>
              <a:gd name="connsiteY23354" fmla="*/ 833576 h 4687251"/>
              <a:gd name="connsiteX23355" fmla="*/ 4950529 w 8079933"/>
              <a:gd name="connsiteY23355" fmla="*/ 843536 h 4687251"/>
              <a:gd name="connsiteX23356" fmla="*/ 4956497 w 8079933"/>
              <a:gd name="connsiteY23356" fmla="*/ 853930 h 4687251"/>
              <a:gd name="connsiteX23357" fmla="*/ 4961598 w 8079933"/>
              <a:gd name="connsiteY23357" fmla="*/ 853930 h 4687251"/>
              <a:gd name="connsiteX23358" fmla="*/ 4964420 w 8079933"/>
              <a:gd name="connsiteY23358" fmla="*/ 858694 h 4687251"/>
              <a:gd name="connsiteX23359" fmla="*/ 4972341 w 8079933"/>
              <a:gd name="connsiteY23359" fmla="*/ 864865 h 4687251"/>
              <a:gd name="connsiteX23360" fmla="*/ 4977115 w 8079933"/>
              <a:gd name="connsiteY23360" fmla="*/ 864865 h 4687251"/>
              <a:gd name="connsiteX23361" fmla="*/ 4980588 w 8079933"/>
              <a:gd name="connsiteY23361" fmla="*/ 871145 h 4687251"/>
              <a:gd name="connsiteX23362" fmla="*/ 4984386 w 8079933"/>
              <a:gd name="connsiteY23362" fmla="*/ 872120 h 4687251"/>
              <a:gd name="connsiteX23363" fmla="*/ 4987099 w 8079933"/>
              <a:gd name="connsiteY23363" fmla="*/ 870820 h 4687251"/>
              <a:gd name="connsiteX23364" fmla="*/ 4992308 w 8079933"/>
              <a:gd name="connsiteY23364" fmla="*/ 874610 h 4687251"/>
              <a:gd name="connsiteX23365" fmla="*/ 4992525 w 8079933"/>
              <a:gd name="connsiteY23365" fmla="*/ 877100 h 4687251"/>
              <a:gd name="connsiteX23366" fmla="*/ 4991331 w 8079933"/>
              <a:gd name="connsiteY23366" fmla="*/ 880023 h 4687251"/>
              <a:gd name="connsiteX23367" fmla="*/ 4988184 w 8079933"/>
              <a:gd name="connsiteY23367" fmla="*/ 884029 h 4687251"/>
              <a:gd name="connsiteX23368" fmla="*/ 4985471 w 8079933"/>
              <a:gd name="connsiteY23368" fmla="*/ 884029 h 4687251"/>
              <a:gd name="connsiteX23369" fmla="*/ 4983193 w 8079933"/>
              <a:gd name="connsiteY23369" fmla="*/ 882947 h 4687251"/>
              <a:gd name="connsiteX23370" fmla="*/ 4982325 w 8079933"/>
              <a:gd name="connsiteY23370" fmla="*/ 884571 h 4687251"/>
              <a:gd name="connsiteX23371" fmla="*/ 4984712 w 8079933"/>
              <a:gd name="connsiteY23371" fmla="*/ 886520 h 4687251"/>
              <a:gd name="connsiteX23372" fmla="*/ 4987642 w 8079933"/>
              <a:gd name="connsiteY23372" fmla="*/ 886736 h 4687251"/>
              <a:gd name="connsiteX23373" fmla="*/ 4989595 w 8079933"/>
              <a:gd name="connsiteY23373" fmla="*/ 890309 h 4687251"/>
              <a:gd name="connsiteX23374" fmla="*/ 4988727 w 8079933"/>
              <a:gd name="connsiteY23374" fmla="*/ 894098 h 4687251"/>
              <a:gd name="connsiteX23375" fmla="*/ 4986556 w 8079933"/>
              <a:gd name="connsiteY23375" fmla="*/ 895290 h 4687251"/>
              <a:gd name="connsiteX23376" fmla="*/ 4983626 w 8079933"/>
              <a:gd name="connsiteY23376" fmla="*/ 893341 h 4687251"/>
              <a:gd name="connsiteX23377" fmla="*/ 4982108 w 8079933"/>
              <a:gd name="connsiteY23377" fmla="*/ 888902 h 4687251"/>
              <a:gd name="connsiteX23378" fmla="*/ 4980805 w 8079933"/>
              <a:gd name="connsiteY23378" fmla="*/ 888793 h 4687251"/>
              <a:gd name="connsiteX23379" fmla="*/ 4978960 w 8079933"/>
              <a:gd name="connsiteY23379" fmla="*/ 886520 h 4687251"/>
              <a:gd name="connsiteX23380" fmla="*/ 4974077 w 8079933"/>
              <a:gd name="connsiteY23380" fmla="*/ 883921 h 4687251"/>
              <a:gd name="connsiteX23381" fmla="*/ 4972124 w 8079933"/>
              <a:gd name="connsiteY23381" fmla="*/ 884787 h 4687251"/>
              <a:gd name="connsiteX23382" fmla="*/ 4972124 w 8079933"/>
              <a:gd name="connsiteY23382" fmla="*/ 886845 h 4687251"/>
              <a:gd name="connsiteX23383" fmla="*/ 4976139 w 8079933"/>
              <a:gd name="connsiteY23383" fmla="*/ 890092 h 4687251"/>
              <a:gd name="connsiteX23384" fmla="*/ 4976139 w 8079933"/>
              <a:gd name="connsiteY23384" fmla="*/ 892908 h 4687251"/>
              <a:gd name="connsiteX23385" fmla="*/ 4972775 w 8079933"/>
              <a:gd name="connsiteY23385" fmla="*/ 893232 h 4687251"/>
              <a:gd name="connsiteX23386" fmla="*/ 4967458 w 8079933"/>
              <a:gd name="connsiteY23386" fmla="*/ 890634 h 4687251"/>
              <a:gd name="connsiteX23387" fmla="*/ 4964636 w 8079933"/>
              <a:gd name="connsiteY23387" fmla="*/ 886845 h 4687251"/>
              <a:gd name="connsiteX23388" fmla="*/ 4962791 w 8079933"/>
              <a:gd name="connsiteY23388" fmla="*/ 887602 h 4687251"/>
              <a:gd name="connsiteX23389" fmla="*/ 4961707 w 8079933"/>
              <a:gd name="connsiteY23389" fmla="*/ 891716 h 4687251"/>
              <a:gd name="connsiteX23390" fmla="*/ 4959970 w 8079933"/>
              <a:gd name="connsiteY23390" fmla="*/ 891933 h 4687251"/>
              <a:gd name="connsiteX23391" fmla="*/ 4957800 w 8079933"/>
              <a:gd name="connsiteY23391" fmla="*/ 887169 h 4687251"/>
              <a:gd name="connsiteX23392" fmla="*/ 4955738 w 8079933"/>
              <a:gd name="connsiteY23392" fmla="*/ 883704 h 4687251"/>
              <a:gd name="connsiteX23393" fmla="*/ 4951072 w 8079933"/>
              <a:gd name="connsiteY23393" fmla="*/ 880890 h 4687251"/>
              <a:gd name="connsiteX23394" fmla="*/ 4947599 w 8079933"/>
              <a:gd name="connsiteY23394" fmla="*/ 880023 h 4687251"/>
              <a:gd name="connsiteX23395" fmla="*/ 4945537 w 8079933"/>
              <a:gd name="connsiteY23395" fmla="*/ 881214 h 4687251"/>
              <a:gd name="connsiteX23396" fmla="*/ 4947708 w 8079933"/>
              <a:gd name="connsiteY23396" fmla="*/ 882622 h 4687251"/>
              <a:gd name="connsiteX23397" fmla="*/ 4953893 w 8079933"/>
              <a:gd name="connsiteY23397" fmla="*/ 885437 h 4687251"/>
              <a:gd name="connsiteX23398" fmla="*/ 4954978 w 8079933"/>
              <a:gd name="connsiteY23398" fmla="*/ 890309 h 4687251"/>
              <a:gd name="connsiteX23399" fmla="*/ 4951722 w 8079933"/>
              <a:gd name="connsiteY23399" fmla="*/ 894207 h 4687251"/>
              <a:gd name="connsiteX23400" fmla="*/ 4948468 w 8079933"/>
              <a:gd name="connsiteY23400" fmla="*/ 894423 h 4687251"/>
              <a:gd name="connsiteX23401" fmla="*/ 4944778 w 8079933"/>
              <a:gd name="connsiteY23401" fmla="*/ 891392 h 4687251"/>
              <a:gd name="connsiteX23402" fmla="*/ 4942933 w 8079933"/>
              <a:gd name="connsiteY23402" fmla="*/ 884896 h 4687251"/>
              <a:gd name="connsiteX23403" fmla="*/ 4941305 w 8079933"/>
              <a:gd name="connsiteY23403" fmla="*/ 881972 h 4687251"/>
              <a:gd name="connsiteX23404" fmla="*/ 4938592 w 8079933"/>
              <a:gd name="connsiteY23404" fmla="*/ 881106 h 4687251"/>
              <a:gd name="connsiteX23405" fmla="*/ 4938918 w 8079933"/>
              <a:gd name="connsiteY23405" fmla="*/ 885437 h 4687251"/>
              <a:gd name="connsiteX23406" fmla="*/ 4932949 w 8079933"/>
              <a:gd name="connsiteY23406" fmla="*/ 882947 h 4687251"/>
              <a:gd name="connsiteX23407" fmla="*/ 4928066 w 8079933"/>
              <a:gd name="connsiteY23407" fmla="*/ 884246 h 4687251"/>
              <a:gd name="connsiteX23408" fmla="*/ 4923291 w 8079933"/>
              <a:gd name="connsiteY23408" fmla="*/ 881972 h 4687251"/>
              <a:gd name="connsiteX23409" fmla="*/ 4916237 w 8079933"/>
              <a:gd name="connsiteY23409" fmla="*/ 881214 h 4687251"/>
              <a:gd name="connsiteX23410" fmla="*/ 4913634 w 8079933"/>
              <a:gd name="connsiteY23410" fmla="*/ 878724 h 4687251"/>
              <a:gd name="connsiteX23411" fmla="*/ 4913416 w 8079933"/>
              <a:gd name="connsiteY23411" fmla="*/ 875801 h 4687251"/>
              <a:gd name="connsiteX23412" fmla="*/ 4916237 w 8079933"/>
              <a:gd name="connsiteY23412" fmla="*/ 876667 h 4687251"/>
              <a:gd name="connsiteX23413" fmla="*/ 4918950 w 8079933"/>
              <a:gd name="connsiteY23413" fmla="*/ 876451 h 4687251"/>
              <a:gd name="connsiteX23414" fmla="*/ 4918625 w 8079933"/>
              <a:gd name="connsiteY23414" fmla="*/ 872986 h 4687251"/>
              <a:gd name="connsiteX23415" fmla="*/ 4914284 w 8079933"/>
              <a:gd name="connsiteY23415" fmla="*/ 869196 h 4687251"/>
              <a:gd name="connsiteX23416" fmla="*/ 4915152 w 8079933"/>
              <a:gd name="connsiteY23416" fmla="*/ 866490 h 4687251"/>
              <a:gd name="connsiteX23417" fmla="*/ 4918408 w 8079933"/>
              <a:gd name="connsiteY23417" fmla="*/ 864433 h 4687251"/>
              <a:gd name="connsiteX23418" fmla="*/ 4919927 w 8079933"/>
              <a:gd name="connsiteY23418" fmla="*/ 861509 h 4687251"/>
              <a:gd name="connsiteX23419" fmla="*/ 4922532 w 8079933"/>
              <a:gd name="connsiteY23419" fmla="*/ 861509 h 4687251"/>
              <a:gd name="connsiteX23420" fmla="*/ 4923725 w 8079933"/>
              <a:gd name="connsiteY23420" fmla="*/ 859560 h 4687251"/>
              <a:gd name="connsiteX23421" fmla="*/ 4921555 w 8079933"/>
              <a:gd name="connsiteY23421" fmla="*/ 858369 h 4687251"/>
              <a:gd name="connsiteX23422" fmla="*/ 4918300 w 8079933"/>
              <a:gd name="connsiteY23422" fmla="*/ 860643 h 4687251"/>
              <a:gd name="connsiteX23423" fmla="*/ 4914502 w 8079933"/>
              <a:gd name="connsiteY23423" fmla="*/ 860859 h 4687251"/>
              <a:gd name="connsiteX23424" fmla="*/ 4908967 w 8079933"/>
              <a:gd name="connsiteY23424" fmla="*/ 857503 h 4687251"/>
              <a:gd name="connsiteX23425" fmla="*/ 4904301 w 8079933"/>
              <a:gd name="connsiteY23425" fmla="*/ 850357 h 4687251"/>
              <a:gd name="connsiteX23426" fmla="*/ 4904084 w 8079933"/>
              <a:gd name="connsiteY23426" fmla="*/ 846027 h 4687251"/>
              <a:gd name="connsiteX23427" fmla="*/ 4904843 w 8079933"/>
              <a:gd name="connsiteY23427" fmla="*/ 843969 h 4687251"/>
              <a:gd name="connsiteX23428" fmla="*/ 4903650 w 8079933"/>
              <a:gd name="connsiteY23428" fmla="*/ 841588 h 4687251"/>
              <a:gd name="connsiteX23429" fmla="*/ 4901045 w 8079933"/>
              <a:gd name="connsiteY23429" fmla="*/ 846351 h 4687251"/>
              <a:gd name="connsiteX23430" fmla="*/ 4901045 w 8079933"/>
              <a:gd name="connsiteY23430" fmla="*/ 849599 h 4687251"/>
              <a:gd name="connsiteX23431" fmla="*/ 4897899 w 8079933"/>
              <a:gd name="connsiteY23431" fmla="*/ 851873 h 4687251"/>
              <a:gd name="connsiteX23432" fmla="*/ 4894969 w 8079933"/>
              <a:gd name="connsiteY23432" fmla="*/ 851007 h 4687251"/>
              <a:gd name="connsiteX23433" fmla="*/ 4893233 w 8079933"/>
              <a:gd name="connsiteY23433" fmla="*/ 844835 h 4687251"/>
              <a:gd name="connsiteX23434" fmla="*/ 4891171 w 8079933"/>
              <a:gd name="connsiteY23434" fmla="*/ 841588 h 4687251"/>
              <a:gd name="connsiteX23435" fmla="*/ 4891387 w 8079933"/>
              <a:gd name="connsiteY23435" fmla="*/ 838123 h 4687251"/>
              <a:gd name="connsiteX23436" fmla="*/ 4893666 w 8079933"/>
              <a:gd name="connsiteY23436" fmla="*/ 832601 h 4687251"/>
              <a:gd name="connsiteX23437" fmla="*/ 4890736 w 8079933"/>
              <a:gd name="connsiteY23437" fmla="*/ 836931 h 4687251"/>
              <a:gd name="connsiteX23438" fmla="*/ 4889651 w 8079933"/>
              <a:gd name="connsiteY23438" fmla="*/ 841588 h 4687251"/>
              <a:gd name="connsiteX23439" fmla="*/ 4891171 w 8079933"/>
              <a:gd name="connsiteY23439" fmla="*/ 847867 h 4687251"/>
              <a:gd name="connsiteX23440" fmla="*/ 4887264 w 8079933"/>
              <a:gd name="connsiteY23440" fmla="*/ 853930 h 4687251"/>
              <a:gd name="connsiteX23441" fmla="*/ 4883466 w 8079933"/>
              <a:gd name="connsiteY23441" fmla="*/ 855013 h 4687251"/>
              <a:gd name="connsiteX23442" fmla="*/ 4881078 w 8079933"/>
              <a:gd name="connsiteY23442" fmla="*/ 856312 h 4687251"/>
              <a:gd name="connsiteX23443" fmla="*/ 4876737 w 8079933"/>
              <a:gd name="connsiteY23443" fmla="*/ 854580 h 4687251"/>
              <a:gd name="connsiteX23444" fmla="*/ 4870335 w 8079933"/>
              <a:gd name="connsiteY23444" fmla="*/ 849599 h 4687251"/>
              <a:gd name="connsiteX23445" fmla="*/ 4870226 w 8079933"/>
              <a:gd name="connsiteY23445" fmla="*/ 846676 h 4687251"/>
              <a:gd name="connsiteX23446" fmla="*/ 4863824 w 8079933"/>
              <a:gd name="connsiteY23446" fmla="*/ 841370 h 4687251"/>
              <a:gd name="connsiteX23447" fmla="*/ 4862630 w 8079933"/>
              <a:gd name="connsiteY23447" fmla="*/ 837040 h 4687251"/>
              <a:gd name="connsiteX23448" fmla="*/ 4863607 w 8079933"/>
              <a:gd name="connsiteY23448" fmla="*/ 831735 h 4687251"/>
              <a:gd name="connsiteX23449" fmla="*/ 4862197 w 8079933"/>
              <a:gd name="connsiteY23449" fmla="*/ 825780 h 4687251"/>
              <a:gd name="connsiteX23450" fmla="*/ 4862088 w 8079933"/>
              <a:gd name="connsiteY23450" fmla="*/ 820907 h 4687251"/>
              <a:gd name="connsiteX23451" fmla="*/ 4866211 w 8079933"/>
              <a:gd name="connsiteY23451" fmla="*/ 815819 h 4687251"/>
              <a:gd name="connsiteX23452" fmla="*/ 4869250 w 8079933"/>
              <a:gd name="connsiteY23452" fmla="*/ 815386 h 4687251"/>
              <a:gd name="connsiteX23453" fmla="*/ 4872722 w 8079933"/>
              <a:gd name="connsiteY23453" fmla="*/ 817335 h 4687251"/>
              <a:gd name="connsiteX23454" fmla="*/ 4877063 w 8079933"/>
              <a:gd name="connsiteY23454" fmla="*/ 816144 h 4687251"/>
              <a:gd name="connsiteX23455" fmla="*/ 4879450 w 8079933"/>
              <a:gd name="connsiteY23455" fmla="*/ 817335 h 4687251"/>
              <a:gd name="connsiteX23456" fmla="*/ 4881512 w 8079933"/>
              <a:gd name="connsiteY23456" fmla="*/ 815602 h 4687251"/>
              <a:gd name="connsiteX23457" fmla="*/ 4879017 w 8079933"/>
              <a:gd name="connsiteY23457" fmla="*/ 810838 h 4687251"/>
              <a:gd name="connsiteX23458" fmla="*/ 4878799 w 8079933"/>
              <a:gd name="connsiteY23458" fmla="*/ 807482 h 4687251"/>
              <a:gd name="connsiteX23459" fmla="*/ 4881947 w 8079933"/>
              <a:gd name="connsiteY23459" fmla="*/ 804558 h 4687251"/>
              <a:gd name="connsiteX23460" fmla="*/ 4885202 w 8079933"/>
              <a:gd name="connsiteY23460" fmla="*/ 804450 h 4687251"/>
              <a:gd name="connsiteX23461" fmla="*/ 4887915 w 8079933"/>
              <a:gd name="connsiteY23461" fmla="*/ 802935 h 4687251"/>
              <a:gd name="connsiteX23462" fmla="*/ 4883140 w 8079933"/>
              <a:gd name="connsiteY23462" fmla="*/ 802935 h 4687251"/>
              <a:gd name="connsiteX23463" fmla="*/ 4879667 w 8079933"/>
              <a:gd name="connsiteY23463" fmla="*/ 799145 h 4687251"/>
              <a:gd name="connsiteX23464" fmla="*/ 4880535 w 8079933"/>
              <a:gd name="connsiteY23464" fmla="*/ 795681 h 4687251"/>
              <a:gd name="connsiteX23465" fmla="*/ 4884334 w 8079933"/>
              <a:gd name="connsiteY23465" fmla="*/ 792216 h 4687251"/>
              <a:gd name="connsiteX23466" fmla="*/ 4883248 w 8079933"/>
              <a:gd name="connsiteY23466" fmla="*/ 790159 h 4687251"/>
              <a:gd name="connsiteX23467" fmla="*/ 4880210 w 8079933"/>
              <a:gd name="connsiteY23467" fmla="*/ 791025 h 4687251"/>
              <a:gd name="connsiteX23468" fmla="*/ 4877063 w 8079933"/>
              <a:gd name="connsiteY23468" fmla="*/ 794815 h 4687251"/>
              <a:gd name="connsiteX23469" fmla="*/ 4874459 w 8079933"/>
              <a:gd name="connsiteY23469" fmla="*/ 794815 h 4687251"/>
              <a:gd name="connsiteX23470" fmla="*/ 4875327 w 8079933"/>
              <a:gd name="connsiteY23470" fmla="*/ 790809 h 4687251"/>
              <a:gd name="connsiteX23471" fmla="*/ 4879667 w 8079933"/>
              <a:gd name="connsiteY23471" fmla="*/ 787019 h 4687251"/>
              <a:gd name="connsiteX23472" fmla="*/ 4878582 w 8079933"/>
              <a:gd name="connsiteY23472" fmla="*/ 784962 h 4687251"/>
              <a:gd name="connsiteX23473" fmla="*/ 4872614 w 8079933"/>
              <a:gd name="connsiteY23473" fmla="*/ 788318 h 4687251"/>
              <a:gd name="connsiteX23474" fmla="*/ 4868816 w 8079933"/>
              <a:gd name="connsiteY23474" fmla="*/ 789509 h 4687251"/>
              <a:gd name="connsiteX23475" fmla="*/ 4866537 w 8079933"/>
              <a:gd name="connsiteY23475" fmla="*/ 786911 h 4687251"/>
              <a:gd name="connsiteX23476" fmla="*/ 4866863 w 8079933"/>
              <a:gd name="connsiteY23476" fmla="*/ 781605 h 4687251"/>
              <a:gd name="connsiteX23477" fmla="*/ 4870877 w 8079933"/>
              <a:gd name="connsiteY23477" fmla="*/ 774676 h 4687251"/>
              <a:gd name="connsiteX23478" fmla="*/ 4875869 w 8079933"/>
              <a:gd name="connsiteY23478" fmla="*/ 773160 h 4687251"/>
              <a:gd name="connsiteX23479" fmla="*/ 4880210 w 8079933"/>
              <a:gd name="connsiteY23479" fmla="*/ 773269 h 4687251"/>
              <a:gd name="connsiteX23480" fmla="*/ 4881187 w 8079933"/>
              <a:gd name="connsiteY23480" fmla="*/ 770778 h 4687251"/>
              <a:gd name="connsiteX23481" fmla="*/ 4879450 w 8079933"/>
              <a:gd name="connsiteY23481" fmla="*/ 769046 h 4687251"/>
              <a:gd name="connsiteX23482" fmla="*/ 4875327 w 8079933"/>
              <a:gd name="connsiteY23482" fmla="*/ 768505 h 4687251"/>
              <a:gd name="connsiteX23483" fmla="*/ 4874133 w 8079933"/>
              <a:gd name="connsiteY23483" fmla="*/ 763849 h 4687251"/>
              <a:gd name="connsiteX23484" fmla="*/ 4875652 w 8079933"/>
              <a:gd name="connsiteY23484" fmla="*/ 760817 h 4687251"/>
              <a:gd name="connsiteX23485" fmla="*/ 4876195 w 8079933"/>
              <a:gd name="connsiteY23485" fmla="*/ 755404 h 4687251"/>
              <a:gd name="connsiteX23486" fmla="*/ 4882380 w 8079933"/>
              <a:gd name="connsiteY23486" fmla="*/ 750965 h 4687251"/>
              <a:gd name="connsiteX23487" fmla="*/ 4885310 w 8079933"/>
              <a:gd name="connsiteY23487" fmla="*/ 748583 h 4687251"/>
              <a:gd name="connsiteX23488" fmla="*/ 4893449 w 8079933"/>
              <a:gd name="connsiteY23488" fmla="*/ 748583 h 4687251"/>
              <a:gd name="connsiteX23489" fmla="*/ 2942863 w 8079933"/>
              <a:gd name="connsiteY23489" fmla="*/ 738947 h 4687251"/>
              <a:gd name="connsiteX23490" fmla="*/ 2944925 w 8079933"/>
              <a:gd name="connsiteY23490" fmla="*/ 740030 h 4687251"/>
              <a:gd name="connsiteX23491" fmla="*/ 2943622 w 8079933"/>
              <a:gd name="connsiteY23491" fmla="*/ 741437 h 4687251"/>
              <a:gd name="connsiteX23492" fmla="*/ 2942212 w 8079933"/>
              <a:gd name="connsiteY23492" fmla="*/ 740571 h 4687251"/>
              <a:gd name="connsiteX23493" fmla="*/ 2949700 w 8079933"/>
              <a:gd name="connsiteY23493" fmla="*/ 738838 h 4687251"/>
              <a:gd name="connsiteX23494" fmla="*/ 2950893 w 8079933"/>
              <a:gd name="connsiteY23494" fmla="*/ 739054 h 4687251"/>
              <a:gd name="connsiteX23495" fmla="*/ 2951327 w 8079933"/>
              <a:gd name="connsiteY23495" fmla="*/ 740246 h 4687251"/>
              <a:gd name="connsiteX23496" fmla="*/ 2950459 w 8079933"/>
              <a:gd name="connsiteY23496" fmla="*/ 740246 h 4687251"/>
              <a:gd name="connsiteX23497" fmla="*/ 2936677 w 8079933"/>
              <a:gd name="connsiteY23497" fmla="*/ 738405 h 4687251"/>
              <a:gd name="connsiteX23498" fmla="*/ 2937546 w 8079933"/>
              <a:gd name="connsiteY23498" fmla="*/ 740245 h 4687251"/>
              <a:gd name="connsiteX23499" fmla="*/ 2935918 w 8079933"/>
              <a:gd name="connsiteY23499" fmla="*/ 741870 h 4687251"/>
              <a:gd name="connsiteX23500" fmla="*/ 2935375 w 8079933"/>
              <a:gd name="connsiteY23500" fmla="*/ 740570 h 4687251"/>
              <a:gd name="connsiteX23501" fmla="*/ 4253961 w 8079933"/>
              <a:gd name="connsiteY23501" fmla="*/ 738296 h 4687251"/>
              <a:gd name="connsiteX23502" fmla="*/ 4258302 w 8079933"/>
              <a:gd name="connsiteY23502" fmla="*/ 738621 h 4687251"/>
              <a:gd name="connsiteX23503" fmla="*/ 4261557 w 8079933"/>
              <a:gd name="connsiteY23503" fmla="*/ 742085 h 4687251"/>
              <a:gd name="connsiteX23504" fmla="*/ 4261015 w 8079933"/>
              <a:gd name="connsiteY23504" fmla="*/ 748473 h 4687251"/>
              <a:gd name="connsiteX23505" fmla="*/ 4259170 w 8079933"/>
              <a:gd name="connsiteY23505" fmla="*/ 751396 h 4687251"/>
              <a:gd name="connsiteX23506" fmla="*/ 4257433 w 8079933"/>
              <a:gd name="connsiteY23506" fmla="*/ 750314 h 4687251"/>
              <a:gd name="connsiteX23507" fmla="*/ 4256891 w 8079933"/>
              <a:gd name="connsiteY23507" fmla="*/ 747282 h 4687251"/>
              <a:gd name="connsiteX23508" fmla="*/ 4253852 w 8079933"/>
              <a:gd name="connsiteY23508" fmla="*/ 744900 h 4687251"/>
              <a:gd name="connsiteX23509" fmla="*/ 4252659 w 8079933"/>
              <a:gd name="connsiteY23509" fmla="*/ 741219 h 4687251"/>
              <a:gd name="connsiteX23510" fmla="*/ 3572041 w 8079933"/>
              <a:gd name="connsiteY23510" fmla="*/ 734507 h 4687251"/>
              <a:gd name="connsiteX23511" fmla="*/ 3581590 w 8079933"/>
              <a:gd name="connsiteY23511" fmla="*/ 740137 h 4687251"/>
              <a:gd name="connsiteX23512" fmla="*/ 3581807 w 8079933"/>
              <a:gd name="connsiteY23512" fmla="*/ 746200 h 4687251"/>
              <a:gd name="connsiteX23513" fmla="*/ 3580071 w 8079933"/>
              <a:gd name="connsiteY23513" fmla="*/ 749123 h 4687251"/>
              <a:gd name="connsiteX23514" fmla="*/ 3579203 w 8079933"/>
              <a:gd name="connsiteY23514" fmla="*/ 753562 h 4687251"/>
              <a:gd name="connsiteX23515" fmla="*/ 3575297 w 8079933"/>
              <a:gd name="connsiteY23515" fmla="*/ 755945 h 4687251"/>
              <a:gd name="connsiteX23516" fmla="*/ 3569979 w 8079933"/>
              <a:gd name="connsiteY23516" fmla="*/ 755294 h 4687251"/>
              <a:gd name="connsiteX23517" fmla="*/ 3566615 w 8079933"/>
              <a:gd name="connsiteY23517" fmla="*/ 755294 h 4687251"/>
              <a:gd name="connsiteX23518" fmla="*/ 3562166 w 8079933"/>
              <a:gd name="connsiteY23518" fmla="*/ 750964 h 4687251"/>
              <a:gd name="connsiteX23519" fmla="*/ 3558693 w 8079933"/>
              <a:gd name="connsiteY23519" fmla="*/ 749773 h 4687251"/>
              <a:gd name="connsiteX23520" fmla="*/ 3555439 w 8079933"/>
              <a:gd name="connsiteY23520" fmla="*/ 747499 h 4687251"/>
              <a:gd name="connsiteX23521" fmla="*/ 3555330 w 8079933"/>
              <a:gd name="connsiteY23521" fmla="*/ 743602 h 4687251"/>
              <a:gd name="connsiteX23522" fmla="*/ 3559020 w 8079933"/>
              <a:gd name="connsiteY23522" fmla="*/ 736889 h 4687251"/>
              <a:gd name="connsiteX23523" fmla="*/ 3565639 w 8079933"/>
              <a:gd name="connsiteY23523" fmla="*/ 735698 h 4687251"/>
              <a:gd name="connsiteX23524" fmla="*/ 2074404 w 8079933"/>
              <a:gd name="connsiteY23524" fmla="*/ 729635 h 4687251"/>
              <a:gd name="connsiteX23525" fmla="*/ 2076032 w 8079933"/>
              <a:gd name="connsiteY23525" fmla="*/ 731584 h 4687251"/>
              <a:gd name="connsiteX23526" fmla="*/ 2075706 w 8079933"/>
              <a:gd name="connsiteY23526" fmla="*/ 733857 h 4687251"/>
              <a:gd name="connsiteX23527" fmla="*/ 2077985 w 8079933"/>
              <a:gd name="connsiteY23527" fmla="*/ 736456 h 4687251"/>
              <a:gd name="connsiteX23528" fmla="*/ 2075598 w 8079933"/>
              <a:gd name="connsiteY23528" fmla="*/ 739163 h 4687251"/>
              <a:gd name="connsiteX23529" fmla="*/ 2075164 w 8079933"/>
              <a:gd name="connsiteY23529" fmla="*/ 743926 h 4687251"/>
              <a:gd name="connsiteX23530" fmla="*/ 2072993 w 8079933"/>
              <a:gd name="connsiteY23530" fmla="*/ 744143 h 4687251"/>
              <a:gd name="connsiteX23531" fmla="*/ 2072017 w 8079933"/>
              <a:gd name="connsiteY23531" fmla="*/ 738188 h 4687251"/>
              <a:gd name="connsiteX23532" fmla="*/ 2070498 w 8079933"/>
              <a:gd name="connsiteY23532" fmla="*/ 736456 h 4687251"/>
              <a:gd name="connsiteX23533" fmla="*/ 2071583 w 8079933"/>
              <a:gd name="connsiteY23533" fmla="*/ 730718 h 4687251"/>
              <a:gd name="connsiteX23534" fmla="*/ 3609697 w 8079933"/>
              <a:gd name="connsiteY23534" fmla="*/ 726928 h 4687251"/>
              <a:gd name="connsiteX23535" fmla="*/ 3609914 w 8079933"/>
              <a:gd name="connsiteY23535" fmla="*/ 729526 h 4687251"/>
              <a:gd name="connsiteX23536" fmla="*/ 3606550 w 8079933"/>
              <a:gd name="connsiteY23536" fmla="*/ 733207 h 4687251"/>
              <a:gd name="connsiteX23537" fmla="*/ 3604055 w 8079933"/>
              <a:gd name="connsiteY23537" fmla="*/ 732882 h 4687251"/>
              <a:gd name="connsiteX23538" fmla="*/ 3604272 w 8079933"/>
              <a:gd name="connsiteY23538" fmla="*/ 729309 h 4687251"/>
              <a:gd name="connsiteX23539" fmla="*/ 3607202 w 8079933"/>
              <a:gd name="connsiteY23539" fmla="*/ 727144 h 4687251"/>
              <a:gd name="connsiteX23540" fmla="*/ 2943946 w 8079933"/>
              <a:gd name="connsiteY23540" fmla="*/ 726712 h 4687251"/>
              <a:gd name="connsiteX23541" fmla="*/ 2945031 w 8079933"/>
              <a:gd name="connsiteY23541" fmla="*/ 729635 h 4687251"/>
              <a:gd name="connsiteX23542" fmla="*/ 2946550 w 8079933"/>
              <a:gd name="connsiteY23542" fmla="*/ 732559 h 4687251"/>
              <a:gd name="connsiteX23543" fmla="*/ 2945357 w 8079933"/>
              <a:gd name="connsiteY23543" fmla="*/ 734075 h 4687251"/>
              <a:gd name="connsiteX23544" fmla="*/ 2943404 w 8079933"/>
              <a:gd name="connsiteY23544" fmla="*/ 733749 h 4687251"/>
              <a:gd name="connsiteX23545" fmla="*/ 2943296 w 8079933"/>
              <a:gd name="connsiteY23545" fmla="*/ 728661 h 4687251"/>
              <a:gd name="connsiteX23546" fmla="*/ 482573 w 8079933"/>
              <a:gd name="connsiteY23546" fmla="*/ 722164 h 4687251"/>
              <a:gd name="connsiteX23547" fmla="*/ 485396 w 8079933"/>
              <a:gd name="connsiteY23547" fmla="*/ 722164 h 4687251"/>
              <a:gd name="connsiteX23548" fmla="*/ 485396 w 8079933"/>
              <a:gd name="connsiteY23548" fmla="*/ 731150 h 4687251"/>
              <a:gd name="connsiteX23549" fmla="*/ 483227 w 8079933"/>
              <a:gd name="connsiteY23549" fmla="*/ 734182 h 4687251"/>
              <a:gd name="connsiteX23550" fmla="*/ 489303 w 8079933"/>
              <a:gd name="connsiteY23550" fmla="*/ 736456 h 4687251"/>
              <a:gd name="connsiteX23551" fmla="*/ 489522 w 8079933"/>
              <a:gd name="connsiteY23551" fmla="*/ 739596 h 4687251"/>
              <a:gd name="connsiteX23552" fmla="*/ 494947 w 8079933"/>
              <a:gd name="connsiteY23552" fmla="*/ 740245 h 4687251"/>
              <a:gd name="connsiteX23553" fmla="*/ 497441 w 8079933"/>
              <a:gd name="connsiteY23553" fmla="*/ 737972 h 4687251"/>
              <a:gd name="connsiteX23554" fmla="*/ 506340 w 8079933"/>
              <a:gd name="connsiteY23554" fmla="*/ 738837 h 4687251"/>
              <a:gd name="connsiteX23555" fmla="*/ 511006 w 8079933"/>
              <a:gd name="connsiteY23555" fmla="*/ 743385 h 4687251"/>
              <a:gd name="connsiteX23556" fmla="*/ 510463 w 8079933"/>
              <a:gd name="connsiteY23556" fmla="*/ 746308 h 4687251"/>
              <a:gd name="connsiteX23557" fmla="*/ 507750 w 8079933"/>
              <a:gd name="connsiteY23557" fmla="*/ 748798 h 4687251"/>
              <a:gd name="connsiteX23558" fmla="*/ 510463 w 8079933"/>
              <a:gd name="connsiteY23558" fmla="*/ 754862 h 4687251"/>
              <a:gd name="connsiteX23559" fmla="*/ 515130 w 8079933"/>
              <a:gd name="connsiteY23559" fmla="*/ 758110 h 4687251"/>
              <a:gd name="connsiteX23560" fmla="*/ 515021 w 8079933"/>
              <a:gd name="connsiteY23560" fmla="*/ 762982 h 4687251"/>
              <a:gd name="connsiteX23561" fmla="*/ 523810 w 8079933"/>
              <a:gd name="connsiteY23561" fmla="*/ 771319 h 4687251"/>
              <a:gd name="connsiteX23562" fmla="*/ 525115 w 8079933"/>
              <a:gd name="connsiteY23562" fmla="*/ 775867 h 4687251"/>
              <a:gd name="connsiteX23563" fmla="*/ 521206 w 8079933"/>
              <a:gd name="connsiteY23563" fmla="*/ 778573 h 4687251"/>
              <a:gd name="connsiteX23564" fmla="*/ 515021 w 8079933"/>
              <a:gd name="connsiteY23564" fmla="*/ 774675 h 4687251"/>
              <a:gd name="connsiteX23565" fmla="*/ 512417 w 8079933"/>
              <a:gd name="connsiteY23565" fmla="*/ 775650 h 4687251"/>
              <a:gd name="connsiteX23566" fmla="*/ 510463 w 8079933"/>
              <a:gd name="connsiteY23566" fmla="*/ 778032 h 4687251"/>
              <a:gd name="connsiteX23567" fmla="*/ 505689 w 8079933"/>
              <a:gd name="connsiteY23567" fmla="*/ 778249 h 4687251"/>
              <a:gd name="connsiteX23568" fmla="*/ 498962 w 8079933"/>
              <a:gd name="connsiteY23568" fmla="*/ 783770 h 4687251"/>
              <a:gd name="connsiteX23569" fmla="*/ 494947 w 8079933"/>
              <a:gd name="connsiteY23569" fmla="*/ 781821 h 4687251"/>
              <a:gd name="connsiteX23570" fmla="*/ 499286 w 8079933"/>
              <a:gd name="connsiteY23570" fmla="*/ 775650 h 4687251"/>
              <a:gd name="connsiteX23571" fmla="*/ 497875 w 8079933"/>
              <a:gd name="connsiteY23571" fmla="*/ 770020 h 4687251"/>
              <a:gd name="connsiteX23572" fmla="*/ 492558 w 8079933"/>
              <a:gd name="connsiteY23572" fmla="*/ 767205 h 4687251"/>
              <a:gd name="connsiteX23573" fmla="*/ 493753 w 8079933"/>
              <a:gd name="connsiteY23573" fmla="*/ 761250 h 4687251"/>
              <a:gd name="connsiteX23574" fmla="*/ 492015 w 8079933"/>
              <a:gd name="connsiteY23574" fmla="*/ 753346 h 4687251"/>
              <a:gd name="connsiteX23575" fmla="*/ 486914 w 8079933"/>
              <a:gd name="connsiteY23575" fmla="*/ 749231 h 4687251"/>
              <a:gd name="connsiteX23576" fmla="*/ 478993 w 8079933"/>
              <a:gd name="connsiteY23576" fmla="*/ 749015 h 4687251"/>
              <a:gd name="connsiteX23577" fmla="*/ 477258 w 8079933"/>
              <a:gd name="connsiteY23577" fmla="*/ 753021 h 4687251"/>
              <a:gd name="connsiteX23578" fmla="*/ 472373 w 8079933"/>
              <a:gd name="connsiteY23578" fmla="*/ 753129 h 4687251"/>
              <a:gd name="connsiteX23579" fmla="*/ 467599 w 8079933"/>
              <a:gd name="connsiteY23579" fmla="*/ 747500 h 4687251"/>
              <a:gd name="connsiteX23580" fmla="*/ 467599 w 8079933"/>
              <a:gd name="connsiteY23580" fmla="*/ 741436 h 4687251"/>
              <a:gd name="connsiteX23581" fmla="*/ 478669 w 8079933"/>
              <a:gd name="connsiteY23581" fmla="*/ 731475 h 4687251"/>
              <a:gd name="connsiteX23582" fmla="*/ 5329904 w 8079933"/>
              <a:gd name="connsiteY23582" fmla="*/ 717834 h 4687251"/>
              <a:gd name="connsiteX23583" fmla="*/ 5334787 w 8079933"/>
              <a:gd name="connsiteY23583" fmla="*/ 718483 h 4687251"/>
              <a:gd name="connsiteX23584" fmla="*/ 5337066 w 8079933"/>
              <a:gd name="connsiteY23584" fmla="*/ 719783 h 4687251"/>
              <a:gd name="connsiteX23585" fmla="*/ 5337500 w 8079933"/>
              <a:gd name="connsiteY23585" fmla="*/ 723464 h 4687251"/>
              <a:gd name="connsiteX23586" fmla="*/ 5333376 w 8079933"/>
              <a:gd name="connsiteY23586" fmla="*/ 728877 h 4687251"/>
              <a:gd name="connsiteX23587" fmla="*/ 5329578 w 8079933"/>
              <a:gd name="connsiteY23587" fmla="*/ 730610 h 4687251"/>
              <a:gd name="connsiteX23588" fmla="*/ 5326323 w 8079933"/>
              <a:gd name="connsiteY23588" fmla="*/ 735915 h 4687251"/>
              <a:gd name="connsiteX23589" fmla="*/ 5323284 w 8079933"/>
              <a:gd name="connsiteY23589" fmla="*/ 737431 h 4687251"/>
              <a:gd name="connsiteX23590" fmla="*/ 5318509 w 8079933"/>
              <a:gd name="connsiteY23590" fmla="*/ 741546 h 4687251"/>
              <a:gd name="connsiteX23591" fmla="*/ 5315905 w 8079933"/>
              <a:gd name="connsiteY23591" fmla="*/ 741979 h 4687251"/>
              <a:gd name="connsiteX23592" fmla="*/ 5313626 w 8079933"/>
              <a:gd name="connsiteY23592" fmla="*/ 738947 h 4687251"/>
              <a:gd name="connsiteX23593" fmla="*/ 5314386 w 8079933"/>
              <a:gd name="connsiteY23593" fmla="*/ 734508 h 4687251"/>
              <a:gd name="connsiteX23594" fmla="*/ 5317099 w 8079933"/>
              <a:gd name="connsiteY23594" fmla="*/ 732559 h 4687251"/>
              <a:gd name="connsiteX23595" fmla="*/ 5320245 w 8079933"/>
              <a:gd name="connsiteY23595" fmla="*/ 728228 h 4687251"/>
              <a:gd name="connsiteX23596" fmla="*/ 5319703 w 8079933"/>
              <a:gd name="connsiteY23596" fmla="*/ 723681 h 4687251"/>
              <a:gd name="connsiteX23597" fmla="*/ 5322958 w 8079933"/>
              <a:gd name="connsiteY23597" fmla="*/ 719783 h 4687251"/>
              <a:gd name="connsiteX23598" fmla="*/ 2938088 w 8079933"/>
              <a:gd name="connsiteY23598" fmla="*/ 713286 h 4687251"/>
              <a:gd name="connsiteX23599" fmla="*/ 2939824 w 8079933"/>
              <a:gd name="connsiteY23599" fmla="*/ 714261 h 4687251"/>
              <a:gd name="connsiteX23600" fmla="*/ 2944707 w 8079933"/>
              <a:gd name="connsiteY23600" fmla="*/ 715126 h 4687251"/>
              <a:gd name="connsiteX23601" fmla="*/ 2941669 w 8079933"/>
              <a:gd name="connsiteY23601" fmla="*/ 717508 h 4687251"/>
              <a:gd name="connsiteX23602" fmla="*/ 2938088 w 8079933"/>
              <a:gd name="connsiteY23602" fmla="*/ 716750 h 4687251"/>
              <a:gd name="connsiteX23603" fmla="*/ 2937003 w 8079933"/>
              <a:gd name="connsiteY23603" fmla="*/ 714693 h 4687251"/>
              <a:gd name="connsiteX23604" fmla="*/ 2511834 w 8079933"/>
              <a:gd name="connsiteY23604" fmla="*/ 712529 h 4687251"/>
              <a:gd name="connsiteX23605" fmla="*/ 2515089 w 8079933"/>
              <a:gd name="connsiteY23605" fmla="*/ 715235 h 4687251"/>
              <a:gd name="connsiteX23606" fmla="*/ 2513570 w 8079933"/>
              <a:gd name="connsiteY23606" fmla="*/ 716643 h 4687251"/>
              <a:gd name="connsiteX23607" fmla="*/ 2510314 w 8079933"/>
              <a:gd name="connsiteY23607" fmla="*/ 715777 h 4687251"/>
              <a:gd name="connsiteX23608" fmla="*/ 2509772 w 8079933"/>
              <a:gd name="connsiteY23608" fmla="*/ 712962 h 4687251"/>
              <a:gd name="connsiteX23609" fmla="*/ 2501308 w 8079933"/>
              <a:gd name="connsiteY23609" fmla="*/ 711988 h 4687251"/>
              <a:gd name="connsiteX23610" fmla="*/ 2503045 w 8079933"/>
              <a:gd name="connsiteY23610" fmla="*/ 712204 h 4687251"/>
              <a:gd name="connsiteX23611" fmla="*/ 2503587 w 8079933"/>
              <a:gd name="connsiteY23611" fmla="*/ 715452 h 4687251"/>
              <a:gd name="connsiteX23612" fmla="*/ 2501091 w 8079933"/>
              <a:gd name="connsiteY23612" fmla="*/ 716643 h 4687251"/>
              <a:gd name="connsiteX23613" fmla="*/ 2499355 w 8079933"/>
              <a:gd name="connsiteY23613" fmla="*/ 713720 h 4687251"/>
              <a:gd name="connsiteX23614" fmla="*/ 2163604 w 8079933"/>
              <a:gd name="connsiteY23614" fmla="*/ 710363 h 4687251"/>
              <a:gd name="connsiteX23615" fmla="*/ 2163604 w 8079933"/>
              <a:gd name="connsiteY23615" fmla="*/ 714910 h 4687251"/>
              <a:gd name="connsiteX23616" fmla="*/ 2161868 w 8079933"/>
              <a:gd name="connsiteY23616" fmla="*/ 715669 h 4687251"/>
              <a:gd name="connsiteX23617" fmla="*/ 2160349 w 8079933"/>
              <a:gd name="connsiteY23617" fmla="*/ 714044 h 4687251"/>
              <a:gd name="connsiteX23618" fmla="*/ 2161542 w 8079933"/>
              <a:gd name="connsiteY23618" fmla="*/ 711121 h 4687251"/>
              <a:gd name="connsiteX23619" fmla="*/ 3584196 w 8079933"/>
              <a:gd name="connsiteY23619" fmla="*/ 706141 h 4687251"/>
              <a:gd name="connsiteX23620" fmla="*/ 3587342 w 8079933"/>
              <a:gd name="connsiteY23620" fmla="*/ 706682 h 4687251"/>
              <a:gd name="connsiteX23621" fmla="*/ 3591792 w 8079933"/>
              <a:gd name="connsiteY23621" fmla="*/ 709822 h 4687251"/>
              <a:gd name="connsiteX23622" fmla="*/ 3592443 w 8079933"/>
              <a:gd name="connsiteY23622" fmla="*/ 714045 h 4687251"/>
              <a:gd name="connsiteX23623" fmla="*/ 3590381 w 8079933"/>
              <a:gd name="connsiteY23623" fmla="*/ 716535 h 4687251"/>
              <a:gd name="connsiteX23624" fmla="*/ 3590055 w 8079933"/>
              <a:gd name="connsiteY23624" fmla="*/ 720432 h 4687251"/>
              <a:gd name="connsiteX23625" fmla="*/ 3587886 w 8079933"/>
              <a:gd name="connsiteY23625" fmla="*/ 722057 h 4687251"/>
              <a:gd name="connsiteX23626" fmla="*/ 3583979 w 8079933"/>
              <a:gd name="connsiteY23626" fmla="*/ 719133 h 4687251"/>
              <a:gd name="connsiteX23627" fmla="*/ 3582351 w 8079933"/>
              <a:gd name="connsiteY23627" fmla="*/ 715344 h 4687251"/>
              <a:gd name="connsiteX23628" fmla="*/ 3582460 w 8079933"/>
              <a:gd name="connsiteY23628" fmla="*/ 709172 h 4687251"/>
              <a:gd name="connsiteX23629" fmla="*/ 2495230 w 8079933"/>
              <a:gd name="connsiteY23629" fmla="*/ 705166 h 4687251"/>
              <a:gd name="connsiteX23630" fmla="*/ 2496750 w 8079933"/>
              <a:gd name="connsiteY23630" fmla="*/ 707223 h 4687251"/>
              <a:gd name="connsiteX23631" fmla="*/ 2496750 w 8079933"/>
              <a:gd name="connsiteY23631" fmla="*/ 710146 h 4687251"/>
              <a:gd name="connsiteX23632" fmla="*/ 2493929 w 8079933"/>
              <a:gd name="connsiteY23632" fmla="*/ 712421 h 4687251"/>
              <a:gd name="connsiteX23633" fmla="*/ 2493495 w 8079933"/>
              <a:gd name="connsiteY23633" fmla="*/ 707656 h 4687251"/>
              <a:gd name="connsiteX23634" fmla="*/ 5254158 w 8079933"/>
              <a:gd name="connsiteY23634" fmla="*/ 701593 h 4687251"/>
              <a:gd name="connsiteX23635" fmla="*/ 5258390 w 8079933"/>
              <a:gd name="connsiteY23635" fmla="*/ 702784 h 4687251"/>
              <a:gd name="connsiteX23636" fmla="*/ 5259909 w 8079933"/>
              <a:gd name="connsiteY23636" fmla="*/ 706032 h 4687251"/>
              <a:gd name="connsiteX23637" fmla="*/ 5257522 w 8079933"/>
              <a:gd name="connsiteY23637" fmla="*/ 708089 h 4687251"/>
              <a:gd name="connsiteX23638" fmla="*/ 5257413 w 8079933"/>
              <a:gd name="connsiteY23638" fmla="*/ 711338 h 4687251"/>
              <a:gd name="connsiteX23639" fmla="*/ 5259909 w 8079933"/>
              <a:gd name="connsiteY23639" fmla="*/ 713936 h 4687251"/>
              <a:gd name="connsiteX23640" fmla="*/ 5260886 w 8079933"/>
              <a:gd name="connsiteY23640" fmla="*/ 718592 h 4687251"/>
              <a:gd name="connsiteX23641" fmla="*/ 5257413 w 8079933"/>
              <a:gd name="connsiteY23641" fmla="*/ 718375 h 4687251"/>
              <a:gd name="connsiteX23642" fmla="*/ 5254809 w 8079933"/>
              <a:gd name="connsiteY23642" fmla="*/ 715344 h 4687251"/>
              <a:gd name="connsiteX23643" fmla="*/ 5250903 w 8079933"/>
              <a:gd name="connsiteY23643" fmla="*/ 714910 h 4687251"/>
              <a:gd name="connsiteX23644" fmla="*/ 5249058 w 8079933"/>
              <a:gd name="connsiteY23644" fmla="*/ 711554 h 4687251"/>
              <a:gd name="connsiteX23645" fmla="*/ 5250468 w 8079933"/>
              <a:gd name="connsiteY23645" fmla="*/ 703434 h 4687251"/>
              <a:gd name="connsiteX23646" fmla="*/ 2945250 w 8079933"/>
              <a:gd name="connsiteY23646" fmla="*/ 701376 h 4687251"/>
              <a:gd name="connsiteX23647" fmla="*/ 2949590 w 8079933"/>
              <a:gd name="connsiteY23647" fmla="*/ 704191 h 4687251"/>
              <a:gd name="connsiteX23648" fmla="*/ 2951001 w 8079933"/>
              <a:gd name="connsiteY23648" fmla="*/ 707007 h 4687251"/>
              <a:gd name="connsiteX23649" fmla="*/ 2948289 w 8079933"/>
              <a:gd name="connsiteY23649" fmla="*/ 708523 h 4687251"/>
              <a:gd name="connsiteX23650" fmla="*/ 2946444 w 8079933"/>
              <a:gd name="connsiteY23650" fmla="*/ 705815 h 4687251"/>
              <a:gd name="connsiteX23651" fmla="*/ 2942971 w 8079933"/>
              <a:gd name="connsiteY23651" fmla="*/ 705815 h 4687251"/>
              <a:gd name="connsiteX23652" fmla="*/ 2941669 w 8079933"/>
              <a:gd name="connsiteY23652" fmla="*/ 703433 h 4687251"/>
              <a:gd name="connsiteX23653" fmla="*/ 2942646 w 8079933"/>
              <a:gd name="connsiteY23653" fmla="*/ 701917 h 4687251"/>
              <a:gd name="connsiteX23654" fmla="*/ 5181994 w 8079933"/>
              <a:gd name="connsiteY23654" fmla="*/ 688600 h 4687251"/>
              <a:gd name="connsiteX23655" fmla="*/ 5184707 w 8079933"/>
              <a:gd name="connsiteY23655" fmla="*/ 690332 h 4687251"/>
              <a:gd name="connsiteX23656" fmla="*/ 5188831 w 8079933"/>
              <a:gd name="connsiteY23656" fmla="*/ 695421 h 4687251"/>
              <a:gd name="connsiteX23657" fmla="*/ 5189699 w 8079933"/>
              <a:gd name="connsiteY23657" fmla="*/ 699210 h 4687251"/>
              <a:gd name="connsiteX23658" fmla="*/ 5196101 w 8079933"/>
              <a:gd name="connsiteY23658" fmla="*/ 702459 h 4687251"/>
              <a:gd name="connsiteX23659" fmla="*/ 5198489 w 8079933"/>
              <a:gd name="connsiteY23659" fmla="*/ 707439 h 4687251"/>
              <a:gd name="connsiteX23660" fmla="*/ 5197837 w 8079933"/>
              <a:gd name="connsiteY23660" fmla="*/ 709930 h 4687251"/>
              <a:gd name="connsiteX23661" fmla="*/ 5193063 w 8079933"/>
              <a:gd name="connsiteY23661" fmla="*/ 711553 h 4687251"/>
              <a:gd name="connsiteX23662" fmla="*/ 5188614 w 8079933"/>
              <a:gd name="connsiteY23662" fmla="*/ 715451 h 4687251"/>
              <a:gd name="connsiteX23663" fmla="*/ 5186878 w 8079933"/>
              <a:gd name="connsiteY23663" fmla="*/ 719349 h 4687251"/>
              <a:gd name="connsiteX23664" fmla="*/ 5183297 w 8079933"/>
              <a:gd name="connsiteY23664" fmla="*/ 720216 h 4687251"/>
              <a:gd name="connsiteX23665" fmla="*/ 5181452 w 8079933"/>
              <a:gd name="connsiteY23665" fmla="*/ 719241 h 4687251"/>
              <a:gd name="connsiteX23666" fmla="*/ 5178847 w 8079933"/>
              <a:gd name="connsiteY23666" fmla="*/ 720432 h 4687251"/>
              <a:gd name="connsiteX23667" fmla="*/ 5176894 w 8079933"/>
              <a:gd name="connsiteY23667" fmla="*/ 715992 h 4687251"/>
              <a:gd name="connsiteX23668" fmla="*/ 5174072 w 8079933"/>
              <a:gd name="connsiteY23668" fmla="*/ 716210 h 4687251"/>
              <a:gd name="connsiteX23669" fmla="*/ 5173747 w 8079933"/>
              <a:gd name="connsiteY23669" fmla="*/ 719024 h 4687251"/>
              <a:gd name="connsiteX23670" fmla="*/ 5174941 w 8079933"/>
              <a:gd name="connsiteY23670" fmla="*/ 721731 h 4687251"/>
              <a:gd name="connsiteX23671" fmla="*/ 5173096 w 8079933"/>
              <a:gd name="connsiteY23671" fmla="*/ 721406 h 4687251"/>
              <a:gd name="connsiteX23672" fmla="*/ 5168972 w 8079933"/>
              <a:gd name="connsiteY23672" fmla="*/ 717833 h 4687251"/>
              <a:gd name="connsiteX23673" fmla="*/ 5169623 w 8079933"/>
              <a:gd name="connsiteY23673" fmla="*/ 711229 h 4687251"/>
              <a:gd name="connsiteX23674" fmla="*/ 5168972 w 8079933"/>
              <a:gd name="connsiteY23674" fmla="*/ 706790 h 4687251"/>
              <a:gd name="connsiteX23675" fmla="*/ 5165825 w 8079933"/>
              <a:gd name="connsiteY23675" fmla="*/ 702242 h 4687251"/>
              <a:gd name="connsiteX23676" fmla="*/ 5165500 w 8079933"/>
              <a:gd name="connsiteY23676" fmla="*/ 698669 h 4687251"/>
              <a:gd name="connsiteX23677" fmla="*/ 5170275 w 8079933"/>
              <a:gd name="connsiteY23677" fmla="*/ 694555 h 4687251"/>
              <a:gd name="connsiteX23678" fmla="*/ 5174181 w 8079933"/>
              <a:gd name="connsiteY23678" fmla="*/ 694230 h 4687251"/>
              <a:gd name="connsiteX23679" fmla="*/ 5178413 w 8079933"/>
              <a:gd name="connsiteY23679" fmla="*/ 690224 h 4687251"/>
              <a:gd name="connsiteX23680" fmla="*/ 5276406 w 8079933"/>
              <a:gd name="connsiteY23680" fmla="*/ 688275 h 4687251"/>
              <a:gd name="connsiteX23681" fmla="*/ 5280855 w 8079933"/>
              <a:gd name="connsiteY23681" fmla="*/ 690224 h 4687251"/>
              <a:gd name="connsiteX23682" fmla="*/ 5287691 w 8079933"/>
              <a:gd name="connsiteY23682" fmla="*/ 691198 h 4687251"/>
              <a:gd name="connsiteX23683" fmla="*/ 5287908 w 8079933"/>
              <a:gd name="connsiteY23683" fmla="*/ 693905 h 4687251"/>
              <a:gd name="connsiteX23684" fmla="*/ 5284653 w 8079933"/>
              <a:gd name="connsiteY23684" fmla="*/ 694663 h 4687251"/>
              <a:gd name="connsiteX23685" fmla="*/ 5278467 w 8079933"/>
              <a:gd name="connsiteY23685" fmla="*/ 693797 h 4687251"/>
              <a:gd name="connsiteX23686" fmla="*/ 5273584 w 8079933"/>
              <a:gd name="connsiteY23686" fmla="*/ 689574 h 4687251"/>
              <a:gd name="connsiteX23687" fmla="*/ 3626625 w 8079933"/>
              <a:gd name="connsiteY23687" fmla="*/ 683187 h 4687251"/>
              <a:gd name="connsiteX23688" fmla="*/ 3629664 w 8079933"/>
              <a:gd name="connsiteY23688" fmla="*/ 684811 h 4687251"/>
              <a:gd name="connsiteX23689" fmla="*/ 3629338 w 8079933"/>
              <a:gd name="connsiteY23689" fmla="*/ 688601 h 4687251"/>
              <a:gd name="connsiteX23690" fmla="*/ 3627167 w 8079933"/>
              <a:gd name="connsiteY23690" fmla="*/ 688601 h 4687251"/>
              <a:gd name="connsiteX23691" fmla="*/ 3624889 w 8079933"/>
              <a:gd name="connsiteY23691" fmla="*/ 690658 h 4687251"/>
              <a:gd name="connsiteX23692" fmla="*/ 3628035 w 8079933"/>
              <a:gd name="connsiteY23692" fmla="*/ 694447 h 4687251"/>
              <a:gd name="connsiteX23693" fmla="*/ 3627602 w 8079933"/>
              <a:gd name="connsiteY23693" fmla="*/ 697478 h 4687251"/>
              <a:gd name="connsiteX23694" fmla="*/ 3630532 w 8079933"/>
              <a:gd name="connsiteY23694" fmla="*/ 702134 h 4687251"/>
              <a:gd name="connsiteX23695" fmla="*/ 3633461 w 8079933"/>
              <a:gd name="connsiteY23695" fmla="*/ 703866 h 4687251"/>
              <a:gd name="connsiteX23696" fmla="*/ 3633461 w 8079933"/>
              <a:gd name="connsiteY23696" fmla="*/ 700943 h 4687251"/>
              <a:gd name="connsiteX23697" fmla="*/ 3634655 w 8079933"/>
              <a:gd name="connsiteY23697" fmla="*/ 697911 h 4687251"/>
              <a:gd name="connsiteX23698" fmla="*/ 3637585 w 8079933"/>
              <a:gd name="connsiteY23698" fmla="*/ 699752 h 4687251"/>
              <a:gd name="connsiteX23699" fmla="*/ 3637585 w 8079933"/>
              <a:gd name="connsiteY23699" fmla="*/ 706573 h 4687251"/>
              <a:gd name="connsiteX23700" fmla="*/ 3635523 w 8079933"/>
              <a:gd name="connsiteY23700" fmla="*/ 707980 h 4687251"/>
              <a:gd name="connsiteX23701" fmla="*/ 3633353 w 8079933"/>
              <a:gd name="connsiteY23701" fmla="*/ 712745 h 4687251"/>
              <a:gd name="connsiteX23702" fmla="*/ 3630098 w 8079933"/>
              <a:gd name="connsiteY23702" fmla="*/ 711229 h 4687251"/>
              <a:gd name="connsiteX23703" fmla="*/ 3629230 w 8079933"/>
              <a:gd name="connsiteY23703" fmla="*/ 707980 h 4687251"/>
              <a:gd name="connsiteX23704" fmla="*/ 3627276 w 8079933"/>
              <a:gd name="connsiteY23704" fmla="*/ 709496 h 4687251"/>
              <a:gd name="connsiteX23705" fmla="*/ 3622284 w 8079933"/>
              <a:gd name="connsiteY23705" fmla="*/ 709496 h 4687251"/>
              <a:gd name="connsiteX23706" fmla="*/ 3617293 w 8079933"/>
              <a:gd name="connsiteY23706" fmla="*/ 710579 h 4687251"/>
              <a:gd name="connsiteX23707" fmla="*/ 3613169 w 8079933"/>
              <a:gd name="connsiteY23707" fmla="*/ 707114 h 4687251"/>
              <a:gd name="connsiteX23708" fmla="*/ 3611650 w 8079933"/>
              <a:gd name="connsiteY23708" fmla="*/ 703000 h 4687251"/>
              <a:gd name="connsiteX23709" fmla="*/ 3613386 w 8079933"/>
              <a:gd name="connsiteY23709" fmla="*/ 697911 h 4687251"/>
              <a:gd name="connsiteX23710" fmla="*/ 3613386 w 8079933"/>
              <a:gd name="connsiteY23710" fmla="*/ 687842 h 4687251"/>
              <a:gd name="connsiteX23711" fmla="*/ 3617076 w 8079933"/>
              <a:gd name="connsiteY23711" fmla="*/ 687301 h 4687251"/>
              <a:gd name="connsiteX23712" fmla="*/ 3618812 w 8079933"/>
              <a:gd name="connsiteY23712" fmla="*/ 686219 h 4687251"/>
              <a:gd name="connsiteX23713" fmla="*/ 3622501 w 8079933"/>
              <a:gd name="connsiteY23713" fmla="*/ 686976 h 4687251"/>
              <a:gd name="connsiteX23714" fmla="*/ 591198 w 8079933"/>
              <a:gd name="connsiteY23714" fmla="*/ 681130 h 4687251"/>
              <a:gd name="connsiteX23715" fmla="*/ 594672 w 8079933"/>
              <a:gd name="connsiteY23715" fmla="*/ 681779 h 4687251"/>
              <a:gd name="connsiteX23716" fmla="*/ 591308 w 8079933"/>
              <a:gd name="connsiteY23716" fmla="*/ 685352 h 4687251"/>
              <a:gd name="connsiteX23717" fmla="*/ 587726 w 8079933"/>
              <a:gd name="connsiteY23717" fmla="*/ 681887 h 4687251"/>
              <a:gd name="connsiteX23718" fmla="*/ 5336957 w 8079933"/>
              <a:gd name="connsiteY23718" fmla="*/ 680155 h 4687251"/>
              <a:gd name="connsiteX23719" fmla="*/ 5339344 w 8079933"/>
              <a:gd name="connsiteY23719" fmla="*/ 685352 h 4687251"/>
              <a:gd name="connsiteX23720" fmla="*/ 5344879 w 8079933"/>
              <a:gd name="connsiteY23720" fmla="*/ 690116 h 4687251"/>
              <a:gd name="connsiteX23721" fmla="*/ 5345856 w 8079933"/>
              <a:gd name="connsiteY23721" fmla="*/ 696612 h 4687251"/>
              <a:gd name="connsiteX23722" fmla="*/ 5349654 w 8079933"/>
              <a:gd name="connsiteY23722" fmla="*/ 703542 h 4687251"/>
              <a:gd name="connsiteX23723" fmla="*/ 5349545 w 8079933"/>
              <a:gd name="connsiteY23723" fmla="*/ 706573 h 4687251"/>
              <a:gd name="connsiteX23724" fmla="*/ 5345530 w 8079933"/>
              <a:gd name="connsiteY23724" fmla="*/ 707981 h 4687251"/>
              <a:gd name="connsiteX23725" fmla="*/ 5341623 w 8079933"/>
              <a:gd name="connsiteY23725" fmla="*/ 706248 h 4687251"/>
              <a:gd name="connsiteX23726" fmla="*/ 5336740 w 8079933"/>
              <a:gd name="connsiteY23726" fmla="*/ 705707 h 4687251"/>
              <a:gd name="connsiteX23727" fmla="*/ 5334895 w 8079933"/>
              <a:gd name="connsiteY23727" fmla="*/ 703324 h 4687251"/>
              <a:gd name="connsiteX23728" fmla="*/ 5329361 w 8079933"/>
              <a:gd name="connsiteY23728" fmla="*/ 702459 h 4687251"/>
              <a:gd name="connsiteX23729" fmla="*/ 5328710 w 8079933"/>
              <a:gd name="connsiteY23729" fmla="*/ 698994 h 4687251"/>
              <a:gd name="connsiteX23730" fmla="*/ 5331640 w 8079933"/>
              <a:gd name="connsiteY23730" fmla="*/ 693255 h 4687251"/>
              <a:gd name="connsiteX23731" fmla="*/ 5332833 w 8079933"/>
              <a:gd name="connsiteY23731" fmla="*/ 685677 h 4687251"/>
              <a:gd name="connsiteX23732" fmla="*/ 2942753 w 8079933"/>
              <a:gd name="connsiteY23732" fmla="*/ 672252 h 4687251"/>
              <a:gd name="connsiteX23733" fmla="*/ 2943296 w 8079933"/>
              <a:gd name="connsiteY23733" fmla="*/ 674202 h 4687251"/>
              <a:gd name="connsiteX23734" fmla="*/ 2941668 w 8079933"/>
              <a:gd name="connsiteY23734" fmla="*/ 674202 h 4687251"/>
              <a:gd name="connsiteX23735" fmla="*/ 2940475 w 8079933"/>
              <a:gd name="connsiteY23735" fmla="*/ 672685 h 4687251"/>
              <a:gd name="connsiteX23736" fmla="*/ 5265335 w 8079933"/>
              <a:gd name="connsiteY23736" fmla="*/ 669762 h 4687251"/>
              <a:gd name="connsiteX23737" fmla="*/ 5266637 w 8079933"/>
              <a:gd name="connsiteY23737" fmla="*/ 671061 h 4687251"/>
              <a:gd name="connsiteX23738" fmla="*/ 5264033 w 8079933"/>
              <a:gd name="connsiteY23738" fmla="*/ 672576 h 4687251"/>
              <a:gd name="connsiteX23739" fmla="*/ 5263273 w 8079933"/>
              <a:gd name="connsiteY23739" fmla="*/ 675067 h 4687251"/>
              <a:gd name="connsiteX23740" fmla="*/ 5264250 w 8079933"/>
              <a:gd name="connsiteY23740" fmla="*/ 677665 h 4687251"/>
              <a:gd name="connsiteX23741" fmla="*/ 5260018 w 8079933"/>
              <a:gd name="connsiteY23741" fmla="*/ 680805 h 4687251"/>
              <a:gd name="connsiteX23742" fmla="*/ 5257197 w 8079933"/>
              <a:gd name="connsiteY23742" fmla="*/ 679398 h 4687251"/>
              <a:gd name="connsiteX23743" fmla="*/ 5252856 w 8079933"/>
              <a:gd name="connsiteY23743" fmla="*/ 683945 h 4687251"/>
              <a:gd name="connsiteX23744" fmla="*/ 5252639 w 8079933"/>
              <a:gd name="connsiteY23744" fmla="*/ 680372 h 4687251"/>
              <a:gd name="connsiteX23745" fmla="*/ 5255243 w 8079933"/>
              <a:gd name="connsiteY23745" fmla="*/ 674959 h 4687251"/>
              <a:gd name="connsiteX23746" fmla="*/ 5261755 w 8079933"/>
              <a:gd name="connsiteY23746" fmla="*/ 670087 h 4687251"/>
              <a:gd name="connsiteX23747" fmla="*/ 2938305 w 8079933"/>
              <a:gd name="connsiteY23747" fmla="*/ 661641 h 4687251"/>
              <a:gd name="connsiteX23748" fmla="*/ 2942754 w 8079933"/>
              <a:gd name="connsiteY23748" fmla="*/ 664456 h 4687251"/>
              <a:gd name="connsiteX23749" fmla="*/ 2944816 w 8079933"/>
              <a:gd name="connsiteY23749" fmla="*/ 663049 h 4687251"/>
              <a:gd name="connsiteX23750" fmla="*/ 2950676 w 8079933"/>
              <a:gd name="connsiteY23750" fmla="*/ 664239 h 4687251"/>
              <a:gd name="connsiteX23751" fmla="*/ 2954040 w 8079933"/>
              <a:gd name="connsiteY23751" fmla="*/ 667704 h 4687251"/>
              <a:gd name="connsiteX23752" fmla="*/ 2952737 w 8079933"/>
              <a:gd name="connsiteY23752" fmla="*/ 670953 h 4687251"/>
              <a:gd name="connsiteX23753" fmla="*/ 2951436 w 8079933"/>
              <a:gd name="connsiteY23753" fmla="*/ 669112 h 4687251"/>
              <a:gd name="connsiteX23754" fmla="*/ 2948180 w 8079933"/>
              <a:gd name="connsiteY23754" fmla="*/ 667379 h 4687251"/>
              <a:gd name="connsiteX23755" fmla="*/ 2940150 w 8079933"/>
              <a:gd name="connsiteY23755" fmla="*/ 667812 h 4687251"/>
              <a:gd name="connsiteX23756" fmla="*/ 2937762 w 8079933"/>
              <a:gd name="connsiteY23756" fmla="*/ 666513 h 4687251"/>
              <a:gd name="connsiteX23757" fmla="*/ 2934290 w 8079933"/>
              <a:gd name="connsiteY23757" fmla="*/ 665863 h 4687251"/>
              <a:gd name="connsiteX23758" fmla="*/ 2933422 w 8079933"/>
              <a:gd name="connsiteY23758" fmla="*/ 663698 h 4687251"/>
              <a:gd name="connsiteX23759" fmla="*/ 2935484 w 8079933"/>
              <a:gd name="connsiteY23759" fmla="*/ 661857 h 4687251"/>
              <a:gd name="connsiteX23760" fmla="*/ 1362752 w 8079933"/>
              <a:gd name="connsiteY23760" fmla="*/ 653737 h 4687251"/>
              <a:gd name="connsiteX23761" fmla="*/ 1369045 w 8079933"/>
              <a:gd name="connsiteY23761" fmla="*/ 659800 h 4687251"/>
              <a:gd name="connsiteX23762" fmla="*/ 1374146 w 8079933"/>
              <a:gd name="connsiteY23762" fmla="*/ 659800 h 4687251"/>
              <a:gd name="connsiteX23763" fmla="*/ 1374146 w 8079933"/>
              <a:gd name="connsiteY23763" fmla="*/ 667163 h 4687251"/>
              <a:gd name="connsiteX23764" fmla="*/ 1376967 w 8079933"/>
              <a:gd name="connsiteY23764" fmla="*/ 675066 h 4687251"/>
              <a:gd name="connsiteX23765" fmla="*/ 1374363 w 8079933"/>
              <a:gd name="connsiteY23765" fmla="*/ 679181 h 4687251"/>
              <a:gd name="connsiteX23766" fmla="*/ 1367635 w 8079933"/>
              <a:gd name="connsiteY23766" fmla="*/ 670844 h 4687251"/>
              <a:gd name="connsiteX23767" fmla="*/ 1362643 w 8079933"/>
              <a:gd name="connsiteY23767" fmla="*/ 666838 h 4687251"/>
              <a:gd name="connsiteX23768" fmla="*/ 1362643 w 8079933"/>
              <a:gd name="connsiteY23768" fmla="*/ 664131 h 4687251"/>
              <a:gd name="connsiteX23769" fmla="*/ 1368828 w 8079933"/>
              <a:gd name="connsiteY23769" fmla="*/ 664997 h 4687251"/>
              <a:gd name="connsiteX23770" fmla="*/ 1360039 w 8079933"/>
              <a:gd name="connsiteY23770" fmla="*/ 657527 h 4687251"/>
              <a:gd name="connsiteX23771" fmla="*/ 1360039 w 8079933"/>
              <a:gd name="connsiteY23771" fmla="*/ 654278 h 4687251"/>
              <a:gd name="connsiteX23772" fmla="*/ 2935375 w 8079933"/>
              <a:gd name="connsiteY23772" fmla="*/ 644534 h 4687251"/>
              <a:gd name="connsiteX23773" fmla="*/ 2937111 w 8079933"/>
              <a:gd name="connsiteY23773" fmla="*/ 646266 h 4687251"/>
              <a:gd name="connsiteX23774" fmla="*/ 2934832 w 8079933"/>
              <a:gd name="connsiteY23774" fmla="*/ 649189 h 4687251"/>
              <a:gd name="connsiteX23775" fmla="*/ 2933096 w 8079933"/>
              <a:gd name="connsiteY23775" fmla="*/ 648215 h 4687251"/>
              <a:gd name="connsiteX23776" fmla="*/ 2933964 w 8079933"/>
              <a:gd name="connsiteY23776" fmla="*/ 645075 h 4687251"/>
              <a:gd name="connsiteX23777" fmla="*/ 1608650 w 8079933"/>
              <a:gd name="connsiteY23777" fmla="*/ 643235 h 4687251"/>
              <a:gd name="connsiteX23778" fmla="*/ 1613967 w 8079933"/>
              <a:gd name="connsiteY23778" fmla="*/ 643884 h 4687251"/>
              <a:gd name="connsiteX23779" fmla="*/ 1611689 w 8079933"/>
              <a:gd name="connsiteY23779" fmla="*/ 645076 h 4687251"/>
              <a:gd name="connsiteX23780" fmla="*/ 1611797 w 8079933"/>
              <a:gd name="connsiteY23780" fmla="*/ 647241 h 4687251"/>
              <a:gd name="connsiteX23781" fmla="*/ 1609627 w 8079933"/>
              <a:gd name="connsiteY23781" fmla="*/ 648325 h 4687251"/>
              <a:gd name="connsiteX23782" fmla="*/ 1606697 w 8079933"/>
              <a:gd name="connsiteY23782" fmla="*/ 645833 h 4687251"/>
              <a:gd name="connsiteX23783" fmla="*/ 1367417 w 8079933"/>
              <a:gd name="connsiteY23783" fmla="*/ 637713 h 4687251"/>
              <a:gd name="connsiteX23784" fmla="*/ 1367417 w 8079933"/>
              <a:gd name="connsiteY23784" fmla="*/ 647349 h 4687251"/>
              <a:gd name="connsiteX23785" fmla="*/ 1365898 w 8079933"/>
              <a:gd name="connsiteY23785" fmla="*/ 651680 h 4687251"/>
              <a:gd name="connsiteX23786" fmla="*/ 1361449 w 8079933"/>
              <a:gd name="connsiteY23786" fmla="*/ 649514 h 4687251"/>
              <a:gd name="connsiteX23787" fmla="*/ 1359713 w 8079933"/>
              <a:gd name="connsiteY23787" fmla="*/ 647998 h 4687251"/>
              <a:gd name="connsiteX23788" fmla="*/ 1361558 w 8079933"/>
              <a:gd name="connsiteY23788" fmla="*/ 646482 h 4687251"/>
              <a:gd name="connsiteX23789" fmla="*/ 1362426 w 8079933"/>
              <a:gd name="connsiteY23789" fmla="*/ 642152 h 4687251"/>
              <a:gd name="connsiteX23790" fmla="*/ 2518454 w 8079933"/>
              <a:gd name="connsiteY23790" fmla="*/ 636522 h 4687251"/>
              <a:gd name="connsiteX23791" fmla="*/ 2521493 w 8079933"/>
              <a:gd name="connsiteY23791" fmla="*/ 639446 h 4687251"/>
              <a:gd name="connsiteX23792" fmla="*/ 2522578 w 8079933"/>
              <a:gd name="connsiteY23792" fmla="*/ 643343 h 4687251"/>
              <a:gd name="connsiteX23793" fmla="*/ 2531693 w 8079933"/>
              <a:gd name="connsiteY23793" fmla="*/ 646483 h 4687251"/>
              <a:gd name="connsiteX23794" fmla="*/ 2535166 w 8079933"/>
              <a:gd name="connsiteY23794" fmla="*/ 650056 h 4687251"/>
              <a:gd name="connsiteX23795" fmla="*/ 2540483 w 8079933"/>
              <a:gd name="connsiteY23795" fmla="*/ 651463 h 4687251"/>
              <a:gd name="connsiteX23796" fmla="*/ 2542328 w 8079933"/>
              <a:gd name="connsiteY23796" fmla="*/ 649514 h 4687251"/>
              <a:gd name="connsiteX23797" fmla="*/ 2551009 w 8079933"/>
              <a:gd name="connsiteY23797" fmla="*/ 652438 h 4687251"/>
              <a:gd name="connsiteX23798" fmla="*/ 2557846 w 8079933"/>
              <a:gd name="connsiteY23798" fmla="*/ 652329 h 4687251"/>
              <a:gd name="connsiteX23799" fmla="*/ 2560884 w 8079933"/>
              <a:gd name="connsiteY23799" fmla="*/ 654495 h 4687251"/>
              <a:gd name="connsiteX23800" fmla="*/ 2561969 w 8079933"/>
              <a:gd name="connsiteY23800" fmla="*/ 658825 h 4687251"/>
              <a:gd name="connsiteX23801" fmla="*/ 2568697 w 8079933"/>
              <a:gd name="connsiteY23801" fmla="*/ 662940 h 4687251"/>
              <a:gd name="connsiteX23802" fmla="*/ 2570976 w 8079933"/>
              <a:gd name="connsiteY23802" fmla="*/ 667812 h 4687251"/>
              <a:gd name="connsiteX23803" fmla="*/ 2569132 w 8079933"/>
              <a:gd name="connsiteY23803" fmla="*/ 672901 h 4687251"/>
              <a:gd name="connsiteX23804" fmla="*/ 2569457 w 8079933"/>
              <a:gd name="connsiteY23804" fmla="*/ 675824 h 4687251"/>
              <a:gd name="connsiteX23805" fmla="*/ 2573364 w 8079933"/>
              <a:gd name="connsiteY23805" fmla="*/ 678747 h 4687251"/>
              <a:gd name="connsiteX23806" fmla="*/ 2572387 w 8079933"/>
              <a:gd name="connsiteY23806" fmla="*/ 681346 h 4687251"/>
              <a:gd name="connsiteX23807" fmla="*/ 2573364 w 8079933"/>
              <a:gd name="connsiteY23807" fmla="*/ 685460 h 4687251"/>
              <a:gd name="connsiteX23808" fmla="*/ 2573038 w 8079933"/>
              <a:gd name="connsiteY23808" fmla="*/ 688383 h 4687251"/>
              <a:gd name="connsiteX23809" fmla="*/ 2575426 w 8079933"/>
              <a:gd name="connsiteY23809" fmla="*/ 693688 h 4687251"/>
              <a:gd name="connsiteX23810" fmla="*/ 2574558 w 8079933"/>
              <a:gd name="connsiteY23810" fmla="*/ 697153 h 4687251"/>
              <a:gd name="connsiteX23811" fmla="*/ 2572387 w 8079933"/>
              <a:gd name="connsiteY23811" fmla="*/ 700401 h 4687251"/>
              <a:gd name="connsiteX23812" fmla="*/ 2578247 w 8079933"/>
              <a:gd name="connsiteY23812" fmla="*/ 702133 h 4687251"/>
              <a:gd name="connsiteX23813" fmla="*/ 2578247 w 8079933"/>
              <a:gd name="connsiteY23813" fmla="*/ 704515 h 4687251"/>
              <a:gd name="connsiteX23814" fmla="*/ 2575317 w 8079933"/>
              <a:gd name="connsiteY23814" fmla="*/ 706789 h 4687251"/>
              <a:gd name="connsiteX23815" fmla="*/ 2573798 w 8079933"/>
              <a:gd name="connsiteY23815" fmla="*/ 709388 h 4687251"/>
              <a:gd name="connsiteX23816" fmla="*/ 2564791 w 8079933"/>
              <a:gd name="connsiteY23816" fmla="*/ 707439 h 4687251"/>
              <a:gd name="connsiteX23817" fmla="*/ 2563380 w 8079933"/>
              <a:gd name="connsiteY23817" fmla="*/ 705706 h 4687251"/>
              <a:gd name="connsiteX23818" fmla="*/ 2554590 w 8079933"/>
              <a:gd name="connsiteY23818" fmla="*/ 703649 h 4687251"/>
              <a:gd name="connsiteX23819" fmla="*/ 2551877 w 8079933"/>
              <a:gd name="connsiteY23819" fmla="*/ 701267 h 4687251"/>
              <a:gd name="connsiteX23820" fmla="*/ 2545692 w 8079933"/>
              <a:gd name="connsiteY23820" fmla="*/ 700076 h 4687251"/>
              <a:gd name="connsiteX23821" fmla="*/ 2543304 w 8079933"/>
              <a:gd name="connsiteY23821" fmla="*/ 700076 h 4687251"/>
              <a:gd name="connsiteX23822" fmla="*/ 2539506 w 8079933"/>
              <a:gd name="connsiteY23822" fmla="*/ 697694 h 4687251"/>
              <a:gd name="connsiteX23823" fmla="*/ 2532778 w 8079933"/>
              <a:gd name="connsiteY23823" fmla="*/ 699751 h 4687251"/>
              <a:gd name="connsiteX23824" fmla="*/ 2528546 w 8079933"/>
              <a:gd name="connsiteY23824" fmla="*/ 700076 h 4687251"/>
              <a:gd name="connsiteX23825" fmla="*/ 2523988 w 8079933"/>
              <a:gd name="connsiteY23825" fmla="*/ 704407 h 4687251"/>
              <a:gd name="connsiteX23826" fmla="*/ 2521384 w 8079933"/>
              <a:gd name="connsiteY23826" fmla="*/ 704949 h 4687251"/>
              <a:gd name="connsiteX23827" fmla="*/ 2514981 w 8079933"/>
              <a:gd name="connsiteY23827" fmla="*/ 701592 h 4687251"/>
              <a:gd name="connsiteX23828" fmla="*/ 2509989 w 8079933"/>
              <a:gd name="connsiteY23828" fmla="*/ 700293 h 4687251"/>
              <a:gd name="connsiteX23829" fmla="*/ 2507927 w 8079933"/>
              <a:gd name="connsiteY23829" fmla="*/ 694555 h 4687251"/>
              <a:gd name="connsiteX23830" fmla="*/ 2504998 w 8079933"/>
              <a:gd name="connsiteY23830" fmla="*/ 693039 h 4687251"/>
              <a:gd name="connsiteX23831" fmla="*/ 2502936 w 8079933"/>
              <a:gd name="connsiteY23831" fmla="*/ 688600 h 4687251"/>
              <a:gd name="connsiteX23832" fmla="*/ 2504455 w 8079933"/>
              <a:gd name="connsiteY23832" fmla="*/ 682537 h 4687251"/>
              <a:gd name="connsiteX23833" fmla="*/ 2509339 w 8079933"/>
              <a:gd name="connsiteY23833" fmla="*/ 679613 h 4687251"/>
              <a:gd name="connsiteX23834" fmla="*/ 2508796 w 8079933"/>
              <a:gd name="connsiteY23834" fmla="*/ 676040 h 4687251"/>
              <a:gd name="connsiteX23835" fmla="*/ 2511400 w 8079933"/>
              <a:gd name="connsiteY23835" fmla="*/ 672792 h 4687251"/>
              <a:gd name="connsiteX23836" fmla="*/ 2510532 w 8079933"/>
              <a:gd name="connsiteY23836" fmla="*/ 669003 h 4687251"/>
              <a:gd name="connsiteX23837" fmla="*/ 2506409 w 8079933"/>
              <a:gd name="connsiteY23837" fmla="*/ 668245 h 4687251"/>
              <a:gd name="connsiteX23838" fmla="*/ 2501851 w 8079933"/>
              <a:gd name="connsiteY23838" fmla="*/ 664672 h 4687251"/>
              <a:gd name="connsiteX23839" fmla="*/ 2506409 w 8079933"/>
              <a:gd name="connsiteY23839" fmla="*/ 654819 h 4687251"/>
              <a:gd name="connsiteX23840" fmla="*/ 2509447 w 8079933"/>
              <a:gd name="connsiteY23840" fmla="*/ 655361 h 4687251"/>
              <a:gd name="connsiteX23841" fmla="*/ 2510857 w 8079933"/>
              <a:gd name="connsiteY23841" fmla="*/ 652329 h 4687251"/>
              <a:gd name="connsiteX23842" fmla="*/ 2509989 w 8079933"/>
              <a:gd name="connsiteY23842" fmla="*/ 647782 h 4687251"/>
              <a:gd name="connsiteX23843" fmla="*/ 2512702 w 8079933"/>
              <a:gd name="connsiteY23843" fmla="*/ 644426 h 4687251"/>
              <a:gd name="connsiteX23844" fmla="*/ 2514330 w 8079933"/>
              <a:gd name="connsiteY23844" fmla="*/ 638039 h 4687251"/>
              <a:gd name="connsiteX23845" fmla="*/ 1378160 w 8079933"/>
              <a:gd name="connsiteY23845" fmla="*/ 630567 h 4687251"/>
              <a:gd name="connsiteX23846" fmla="*/ 1380222 w 8079933"/>
              <a:gd name="connsiteY23846" fmla="*/ 635764 h 4687251"/>
              <a:gd name="connsiteX23847" fmla="*/ 1379571 w 8079933"/>
              <a:gd name="connsiteY23847" fmla="*/ 647240 h 4687251"/>
              <a:gd name="connsiteX23848" fmla="*/ 1377075 w 8079933"/>
              <a:gd name="connsiteY23848" fmla="*/ 650813 h 4687251"/>
              <a:gd name="connsiteX23849" fmla="*/ 1379137 w 8079933"/>
              <a:gd name="connsiteY23849" fmla="*/ 654603 h 4687251"/>
              <a:gd name="connsiteX23850" fmla="*/ 1372844 w 8079933"/>
              <a:gd name="connsiteY23850" fmla="*/ 657959 h 4687251"/>
              <a:gd name="connsiteX23851" fmla="*/ 1366984 w 8079933"/>
              <a:gd name="connsiteY23851" fmla="*/ 654928 h 4687251"/>
              <a:gd name="connsiteX23852" fmla="*/ 1370022 w 8079933"/>
              <a:gd name="connsiteY23852" fmla="*/ 653303 h 4687251"/>
              <a:gd name="connsiteX23853" fmla="*/ 1371650 w 8079933"/>
              <a:gd name="connsiteY23853" fmla="*/ 650164 h 4687251"/>
              <a:gd name="connsiteX23854" fmla="*/ 1369371 w 8079933"/>
              <a:gd name="connsiteY23854" fmla="*/ 645075 h 4687251"/>
              <a:gd name="connsiteX23855" fmla="*/ 1369697 w 8079933"/>
              <a:gd name="connsiteY23855" fmla="*/ 636089 h 4687251"/>
              <a:gd name="connsiteX23856" fmla="*/ 1372409 w 8079933"/>
              <a:gd name="connsiteY23856" fmla="*/ 633165 h 4687251"/>
              <a:gd name="connsiteX23857" fmla="*/ 1374905 w 8079933"/>
              <a:gd name="connsiteY23857" fmla="*/ 634898 h 4687251"/>
              <a:gd name="connsiteX23858" fmla="*/ 1375557 w 8079933"/>
              <a:gd name="connsiteY23858" fmla="*/ 631759 h 4687251"/>
              <a:gd name="connsiteX23859" fmla="*/ 2211677 w 8079933"/>
              <a:gd name="connsiteY23859" fmla="*/ 622123 h 4687251"/>
              <a:gd name="connsiteX23860" fmla="*/ 2209507 w 8079933"/>
              <a:gd name="connsiteY23860" fmla="*/ 627969 h 4687251"/>
              <a:gd name="connsiteX23861" fmla="*/ 2207337 w 8079933"/>
              <a:gd name="connsiteY23861" fmla="*/ 629701 h 4687251"/>
              <a:gd name="connsiteX23862" fmla="*/ 2204407 w 8079933"/>
              <a:gd name="connsiteY23862" fmla="*/ 628401 h 4687251"/>
              <a:gd name="connsiteX23863" fmla="*/ 2204732 w 8079933"/>
              <a:gd name="connsiteY23863" fmla="*/ 625262 h 4687251"/>
              <a:gd name="connsiteX23864" fmla="*/ 2208205 w 8079933"/>
              <a:gd name="connsiteY23864" fmla="*/ 622339 h 4687251"/>
              <a:gd name="connsiteX23865" fmla="*/ 3585281 w 8079933"/>
              <a:gd name="connsiteY23865" fmla="*/ 622015 h 4687251"/>
              <a:gd name="connsiteX23866" fmla="*/ 3589296 w 8079933"/>
              <a:gd name="connsiteY23866" fmla="*/ 622772 h 4687251"/>
              <a:gd name="connsiteX23867" fmla="*/ 3591466 w 8079933"/>
              <a:gd name="connsiteY23867" fmla="*/ 625479 h 4687251"/>
              <a:gd name="connsiteX23868" fmla="*/ 3588862 w 8079933"/>
              <a:gd name="connsiteY23868" fmla="*/ 628294 h 4687251"/>
              <a:gd name="connsiteX23869" fmla="*/ 3584087 w 8079933"/>
              <a:gd name="connsiteY23869" fmla="*/ 628403 h 4687251"/>
              <a:gd name="connsiteX23870" fmla="*/ 3582351 w 8079933"/>
              <a:gd name="connsiteY23870" fmla="*/ 627103 h 4687251"/>
              <a:gd name="connsiteX23871" fmla="*/ 3583653 w 8079933"/>
              <a:gd name="connsiteY23871" fmla="*/ 623639 h 4687251"/>
              <a:gd name="connsiteX23872" fmla="*/ 1393027 w 8079933"/>
              <a:gd name="connsiteY23872" fmla="*/ 619091 h 4687251"/>
              <a:gd name="connsiteX23873" fmla="*/ 1394329 w 8079933"/>
              <a:gd name="connsiteY23873" fmla="*/ 621473 h 4687251"/>
              <a:gd name="connsiteX23874" fmla="*/ 1391725 w 8079933"/>
              <a:gd name="connsiteY23874" fmla="*/ 622556 h 4687251"/>
              <a:gd name="connsiteX23875" fmla="*/ 1390640 w 8079933"/>
              <a:gd name="connsiteY23875" fmla="*/ 620282 h 4687251"/>
              <a:gd name="connsiteX23876" fmla="*/ 1413321 w 8079933"/>
              <a:gd name="connsiteY23876" fmla="*/ 618225 h 4687251"/>
              <a:gd name="connsiteX23877" fmla="*/ 1414298 w 8079933"/>
              <a:gd name="connsiteY23877" fmla="*/ 626453 h 4687251"/>
              <a:gd name="connsiteX23878" fmla="*/ 1416902 w 8079933"/>
              <a:gd name="connsiteY23878" fmla="*/ 628510 h 4687251"/>
              <a:gd name="connsiteX23879" fmla="*/ 1419832 w 8079933"/>
              <a:gd name="connsiteY23879" fmla="*/ 626995 h 4687251"/>
              <a:gd name="connsiteX23880" fmla="*/ 1416793 w 8079933"/>
              <a:gd name="connsiteY23880" fmla="*/ 632841 h 4687251"/>
              <a:gd name="connsiteX23881" fmla="*/ 1409632 w 8079933"/>
              <a:gd name="connsiteY23881" fmla="*/ 636631 h 4687251"/>
              <a:gd name="connsiteX23882" fmla="*/ 1393680 w 8079933"/>
              <a:gd name="connsiteY23882" fmla="*/ 649839 h 4687251"/>
              <a:gd name="connsiteX23883" fmla="*/ 1389556 w 8079933"/>
              <a:gd name="connsiteY23883" fmla="*/ 650164 h 4687251"/>
              <a:gd name="connsiteX23884" fmla="*/ 1386300 w 8079933"/>
              <a:gd name="connsiteY23884" fmla="*/ 652979 h 4687251"/>
              <a:gd name="connsiteX23885" fmla="*/ 1381634 w 8079933"/>
              <a:gd name="connsiteY23885" fmla="*/ 652762 h 4687251"/>
              <a:gd name="connsiteX23886" fmla="*/ 1380766 w 8079933"/>
              <a:gd name="connsiteY23886" fmla="*/ 648432 h 4687251"/>
              <a:gd name="connsiteX23887" fmla="*/ 1383479 w 8079933"/>
              <a:gd name="connsiteY23887" fmla="*/ 644534 h 4687251"/>
              <a:gd name="connsiteX23888" fmla="*/ 1383153 w 8079933"/>
              <a:gd name="connsiteY23888" fmla="*/ 637064 h 4687251"/>
              <a:gd name="connsiteX23889" fmla="*/ 1385757 w 8079933"/>
              <a:gd name="connsiteY23889" fmla="*/ 634032 h 4687251"/>
              <a:gd name="connsiteX23890" fmla="*/ 1387928 w 8079933"/>
              <a:gd name="connsiteY23890" fmla="*/ 628835 h 4687251"/>
              <a:gd name="connsiteX23891" fmla="*/ 1389664 w 8079933"/>
              <a:gd name="connsiteY23891" fmla="*/ 629918 h 4687251"/>
              <a:gd name="connsiteX23892" fmla="*/ 1392594 w 8079933"/>
              <a:gd name="connsiteY23892" fmla="*/ 626237 h 4687251"/>
              <a:gd name="connsiteX23893" fmla="*/ 1395524 w 8079933"/>
              <a:gd name="connsiteY23893" fmla="*/ 629052 h 4687251"/>
              <a:gd name="connsiteX23894" fmla="*/ 1393680 w 8079933"/>
              <a:gd name="connsiteY23894" fmla="*/ 631434 h 4687251"/>
              <a:gd name="connsiteX23895" fmla="*/ 1395850 w 8079933"/>
              <a:gd name="connsiteY23895" fmla="*/ 635548 h 4687251"/>
              <a:gd name="connsiteX23896" fmla="*/ 1397586 w 8079933"/>
              <a:gd name="connsiteY23896" fmla="*/ 631434 h 4687251"/>
              <a:gd name="connsiteX23897" fmla="*/ 1399323 w 8079933"/>
              <a:gd name="connsiteY23897" fmla="*/ 629918 h 4687251"/>
              <a:gd name="connsiteX23898" fmla="*/ 1403121 w 8079933"/>
              <a:gd name="connsiteY23898" fmla="*/ 630243 h 4687251"/>
              <a:gd name="connsiteX23899" fmla="*/ 1402252 w 8079933"/>
              <a:gd name="connsiteY23899" fmla="*/ 626453 h 4687251"/>
              <a:gd name="connsiteX23900" fmla="*/ 1406919 w 8079933"/>
              <a:gd name="connsiteY23900" fmla="*/ 624613 h 4687251"/>
              <a:gd name="connsiteX23901" fmla="*/ 1409848 w 8079933"/>
              <a:gd name="connsiteY23901" fmla="*/ 618766 h 4687251"/>
              <a:gd name="connsiteX23902" fmla="*/ 5398811 w 8079933"/>
              <a:gd name="connsiteY23902" fmla="*/ 617793 h 4687251"/>
              <a:gd name="connsiteX23903" fmla="*/ 5403585 w 8079933"/>
              <a:gd name="connsiteY23903" fmla="*/ 620282 h 4687251"/>
              <a:gd name="connsiteX23904" fmla="*/ 5401415 w 8079933"/>
              <a:gd name="connsiteY23904" fmla="*/ 621798 h 4687251"/>
              <a:gd name="connsiteX23905" fmla="*/ 5394687 w 8079933"/>
              <a:gd name="connsiteY23905" fmla="*/ 621474 h 4687251"/>
              <a:gd name="connsiteX23906" fmla="*/ 5392951 w 8079933"/>
              <a:gd name="connsiteY23906" fmla="*/ 620066 h 4687251"/>
              <a:gd name="connsiteX23907" fmla="*/ 5367666 w 8079933"/>
              <a:gd name="connsiteY23907" fmla="*/ 614869 h 4687251"/>
              <a:gd name="connsiteX23908" fmla="*/ 5369620 w 8079933"/>
              <a:gd name="connsiteY23908" fmla="*/ 617035 h 4687251"/>
              <a:gd name="connsiteX23909" fmla="*/ 5365930 w 8079933"/>
              <a:gd name="connsiteY23909" fmla="*/ 622448 h 4687251"/>
              <a:gd name="connsiteX23910" fmla="*/ 5362349 w 8079933"/>
              <a:gd name="connsiteY23910" fmla="*/ 621798 h 4687251"/>
              <a:gd name="connsiteX23911" fmla="*/ 5360613 w 8079933"/>
              <a:gd name="connsiteY23911" fmla="*/ 617900 h 4687251"/>
              <a:gd name="connsiteX23912" fmla="*/ 5363651 w 8079933"/>
              <a:gd name="connsiteY23912" fmla="*/ 615193 h 4687251"/>
              <a:gd name="connsiteX23913" fmla="*/ 3581050 w 8079933"/>
              <a:gd name="connsiteY23913" fmla="*/ 614544 h 4687251"/>
              <a:gd name="connsiteX23914" fmla="*/ 3582786 w 8079933"/>
              <a:gd name="connsiteY23914" fmla="*/ 617901 h 4687251"/>
              <a:gd name="connsiteX23915" fmla="*/ 3580073 w 8079933"/>
              <a:gd name="connsiteY23915" fmla="*/ 619199 h 4687251"/>
              <a:gd name="connsiteX23916" fmla="*/ 3577794 w 8079933"/>
              <a:gd name="connsiteY23916" fmla="*/ 615952 h 4687251"/>
              <a:gd name="connsiteX23917" fmla="*/ 3578987 w 8079933"/>
              <a:gd name="connsiteY23917" fmla="*/ 614761 h 4687251"/>
              <a:gd name="connsiteX23918" fmla="*/ 3619464 w 8079933"/>
              <a:gd name="connsiteY23918" fmla="*/ 612162 h 4687251"/>
              <a:gd name="connsiteX23919" fmla="*/ 3621634 w 8079933"/>
              <a:gd name="connsiteY23919" fmla="*/ 614653 h 4687251"/>
              <a:gd name="connsiteX23920" fmla="*/ 3622611 w 8079933"/>
              <a:gd name="connsiteY23920" fmla="*/ 618442 h 4687251"/>
              <a:gd name="connsiteX23921" fmla="*/ 3621091 w 8079933"/>
              <a:gd name="connsiteY23921" fmla="*/ 623423 h 4687251"/>
              <a:gd name="connsiteX23922" fmla="*/ 3621959 w 8079933"/>
              <a:gd name="connsiteY23922" fmla="*/ 632626 h 4687251"/>
              <a:gd name="connsiteX23923" fmla="*/ 3624781 w 8079933"/>
              <a:gd name="connsiteY23923" fmla="*/ 637715 h 4687251"/>
              <a:gd name="connsiteX23924" fmla="*/ 3625432 w 8079933"/>
              <a:gd name="connsiteY23924" fmla="*/ 644535 h 4687251"/>
              <a:gd name="connsiteX23925" fmla="*/ 3623262 w 8079933"/>
              <a:gd name="connsiteY23925" fmla="*/ 646700 h 4687251"/>
              <a:gd name="connsiteX23926" fmla="*/ 3622502 w 8079933"/>
              <a:gd name="connsiteY23926" fmla="*/ 653413 h 4687251"/>
              <a:gd name="connsiteX23927" fmla="*/ 3620658 w 8079933"/>
              <a:gd name="connsiteY23927" fmla="*/ 655904 h 4687251"/>
              <a:gd name="connsiteX23928" fmla="*/ 3618921 w 8079933"/>
              <a:gd name="connsiteY23928" fmla="*/ 653629 h 4687251"/>
              <a:gd name="connsiteX23929" fmla="*/ 3619030 w 8079933"/>
              <a:gd name="connsiteY23929" fmla="*/ 648324 h 4687251"/>
              <a:gd name="connsiteX23930" fmla="*/ 3620658 w 8079933"/>
              <a:gd name="connsiteY23930" fmla="*/ 643235 h 4687251"/>
              <a:gd name="connsiteX23931" fmla="*/ 3620332 w 8079933"/>
              <a:gd name="connsiteY23931" fmla="*/ 635766 h 4687251"/>
              <a:gd name="connsiteX23932" fmla="*/ 3617402 w 8079933"/>
              <a:gd name="connsiteY23932" fmla="*/ 630461 h 4687251"/>
              <a:gd name="connsiteX23933" fmla="*/ 3617510 w 8079933"/>
              <a:gd name="connsiteY23933" fmla="*/ 624289 h 4687251"/>
              <a:gd name="connsiteX23934" fmla="*/ 3619572 w 8079933"/>
              <a:gd name="connsiteY23934" fmla="*/ 622015 h 4687251"/>
              <a:gd name="connsiteX23935" fmla="*/ 3619030 w 8079933"/>
              <a:gd name="connsiteY23935" fmla="*/ 619199 h 4687251"/>
              <a:gd name="connsiteX23936" fmla="*/ 3616425 w 8079933"/>
              <a:gd name="connsiteY23936" fmla="*/ 616926 h 4687251"/>
              <a:gd name="connsiteX23937" fmla="*/ 3615883 w 8079933"/>
              <a:gd name="connsiteY23937" fmla="*/ 615086 h 4687251"/>
              <a:gd name="connsiteX23938" fmla="*/ 5379061 w 8079933"/>
              <a:gd name="connsiteY23938" fmla="*/ 611838 h 4687251"/>
              <a:gd name="connsiteX23939" fmla="*/ 5384271 w 8079933"/>
              <a:gd name="connsiteY23939" fmla="*/ 612596 h 4687251"/>
              <a:gd name="connsiteX23940" fmla="*/ 5383294 w 8079933"/>
              <a:gd name="connsiteY23940" fmla="*/ 615736 h 4687251"/>
              <a:gd name="connsiteX23941" fmla="*/ 5380146 w 8079933"/>
              <a:gd name="connsiteY23941" fmla="*/ 618660 h 4687251"/>
              <a:gd name="connsiteX23942" fmla="*/ 5375046 w 8079933"/>
              <a:gd name="connsiteY23942" fmla="*/ 617037 h 4687251"/>
              <a:gd name="connsiteX23943" fmla="*/ 5373310 w 8079933"/>
              <a:gd name="connsiteY23943" fmla="*/ 614871 h 4687251"/>
              <a:gd name="connsiteX23944" fmla="*/ 5377000 w 8079933"/>
              <a:gd name="connsiteY23944" fmla="*/ 613464 h 4687251"/>
              <a:gd name="connsiteX23945" fmla="*/ 1395415 w 8079933"/>
              <a:gd name="connsiteY23945" fmla="*/ 611404 h 4687251"/>
              <a:gd name="connsiteX23946" fmla="*/ 1397477 w 8079933"/>
              <a:gd name="connsiteY23946" fmla="*/ 612054 h 4687251"/>
              <a:gd name="connsiteX23947" fmla="*/ 1394981 w 8079933"/>
              <a:gd name="connsiteY23947" fmla="*/ 615843 h 4687251"/>
              <a:gd name="connsiteX23948" fmla="*/ 1392594 w 8079933"/>
              <a:gd name="connsiteY23948" fmla="*/ 614435 h 4687251"/>
              <a:gd name="connsiteX23949" fmla="*/ 2405597 w 8079933"/>
              <a:gd name="connsiteY23949" fmla="*/ 611079 h 4687251"/>
              <a:gd name="connsiteX23950" fmla="*/ 2411782 w 8079933"/>
              <a:gd name="connsiteY23950" fmla="*/ 612271 h 4687251"/>
              <a:gd name="connsiteX23951" fmla="*/ 2415364 w 8079933"/>
              <a:gd name="connsiteY23951" fmla="*/ 611079 h 4687251"/>
              <a:gd name="connsiteX23952" fmla="*/ 2417968 w 8079933"/>
              <a:gd name="connsiteY23952" fmla="*/ 612053 h 4687251"/>
              <a:gd name="connsiteX23953" fmla="*/ 2425564 w 8079933"/>
              <a:gd name="connsiteY23953" fmla="*/ 612271 h 4687251"/>
              <a:gd name="connsiteX23954" fmla="*/ 2430556 w 8079933"/>
              <a:gd name="connsiteY23954" fmla="*/ 615735 h 4687251"/>
              <a:gd name="connsiteX23955" fmla="*/ 2440540 w 8079933"/>
              <a:gd name="connsiteY23955" fmla="*/ 620499 h 4687251"/>
              <a:gd name="connsiteX23956" fmla="*/ 2441299 w 8079933"/>
              <a:gd name="connsiteY23956" fmla="*/ 623422 h 4687251"/>
              <a:gd name="connsiteX23957" fmla="*/ 2439997 w 8079933"/>
              <a:gd name="connsiteY23957" fmla="*/ 627212 h 4687251"/>
              <a:gd name="connsiteX23958" fmla="*/ 2434029 w 8079933"/>
              <a:gd name="connsiteY23958" fmla="*/ 629810 h 4687251"/>
              <a:gd name="connsiteX23959" fmla="*/ 2426215 w 8079933"/>
              <a:gd name="connsiteY23959" fmla="*/ 632842 h 4687251"/>
              <a:gd name="connsiteX23960" fmla="*/ 2421658 w 8079933"/>
              <a:gd name="connsiteY23960" fmla="*/ 632734 h 4687251"/>
              <a:gd name="connsiteX23961" fmla="*/ 2419378 w 8079933"/>
              <a:gd name="connsiteY23961" fmla="*/ 636307 h 4687251"/>
              <a:gd name="connsiteX23962" fmla="*/ 2415364 w 8079933"/>
              <a:gd name="connsiteY23962" fmla="*/ 641287 h 4687251"/>
              <a:gd name="connsiteX23963" fmla="*/ 2410263 w 8079933"/>
              <a:gd name="connsiteY23963" fmla="*/ 642694 h 4687251"/>
              <a:gd name="connsiteX23964" fmla="*/ 2401473 w 8079933"/>
              <a:gd name="connsiteY23964" fmla="*/ 651139 h 4687251"/>
              <a:gd name="connsiteX23965" fmla="*/ 2393009 w 8079933"/>
              <a:gd name="connsiteY23965" fmla="*/ 661533 h 4687251"/>
              <a:gd name="connsiteX23966" fmla="*/ 2385956 w 8079933"/>
              <a:gd name="connsiteY23966" fmla="*/ 666189 h 4687251"/>
              <a:gd name="connsiteX23967" fmla="*/ 2383243 w 8079933"/>
              <a:gd name="connsiteY23967" fmla="*/ 667596 h 4687251"/>
              <a:gd name="connsiteX23968" fmla="*/ 2378685 w 8079933"/>
              <a:gd name="connsiteY23968" fmla="*/ 676691 h 4687251"/>
              <a:gd name="connsiteX23969" fmla="*/ 2378034 w 8079933"/>
              <a:gd name="connsiteY23969" fmla="*/ 682213 h 4687251"/>
              <a:gd name="connsiteX23970" fmla="*/ 2379878 w 8079933"/>
              <a:gd name="connsiteY23970" fmla="*/ 686868 h 4687251"/>
              <a:gd name="connsiteX23971" fmla="*/ 2382483 w 8079933"/>
              <a:gd name="connsiteY23971" fmla="*/ 690117 h 4687251"/>
              <a:gd name="connsiteX23972" fmla="*/ 2382483 w 8079933"/>
              <a:gd name="connsiteY23972" fmla="*/ 694231 h 4687251"/>
              <a:gd name="connsiteX23973" fmla="*/ 2378577 w 8079933"/>
              <a:gd name="connsiteY23973" fmla="*/ 696288 h 4687251"/>
              <a:gd name="connsiteX23974" fmla="*/ 2375104 w 8079933"/>
              <a:gd name="connsiteY23974" fmla="*/ 700943 h 4687251"/>
              <a:gd name="connsiteX23975" fmla="*/ 2370763 w 8079933"/>
              <a:gd name="connsiteY23975" fmla="*/ 705708 h 4687251"/>
              <a:gd name="connsiteX23976" fmla="*/ 2370438 w 8079933"/>
              <a:gd name="connsiteY23976" fmla="*/ 710580 h 4687251"/>
              <a:gd name="connsiteX23977" fmla="*/ 2367508 w 8079933"/>
              <a:gd name="connsiteY23977" fmla="*/ 716643 h 4687251"/>
              <a:gd name="connsiteX23978" fmla="*/ 2365120 w 8079933"/>
              <a:gd name="connsiteY23978" fmla="*/ 718267 h 4687251"/>
              <a:gd name="connsiteX23979" fmla="*/ 2364795 w 8079933"/>
              <a:gd name="connsiteY23979" fmla="*/ 721948 h 4687251"/>
              <a:gd name="connsiteX23980" fmla="*/ 2366965 w 8079933"/>
              <a:gd name="connsiteY23980" fmla="*/ 726063 h 4687251"/>
              <a:gd name="connsiteX23981" fmla="*/ 2368050 w 8079933"/>
              <a:gd name="connsiteY23981" fmla="*/ 732883 h 4687251"/>
              <a:gd name="connsiteX23982" fmla="*/ 2369786 w 8079933"/>
              <a:gd name="connsiteY23982" fmla="*/ 736023 h 4687251"/>
              <a:gd name="connsiteX23983" fmla="*/ 2369786 w 8079933"/>
              <a:gd name="connsiteY23983" fmla="*/ 742195 h 4687251"/>
              <a:gd name="connsiteX23984" fmla="*/ 2373910 w 8079933"/>
              <a:gd name="connsiteY23984" fmla="*/ 747716 h 4687251"/>
              <a:gd name="connsiteX23985" fmla="*/ 2374778 w 8079933"/>
              <a:gd name="connsiteY23985" fmla="*/ 750098 h 4687251"/>
              <a:gd name="connsiteX23986" fmla="*/ 2379227 w 8079933"/>
              <a:gd name="connsiteY23986" fmla="*/ 752697 h 4687251"/>
              <a:gd name="connsiteX23987" fmla="*/ 2379227 w 8079933"/>
              <a:gd name="connsiteY23987" fmla="*/ 757461 h 4687251"/>
              <a:gd name="connsiteX23988" fmla="*/ 2377274 w 8079933"/>
              <a:gd name="connsiteY23988" fmla="*/ 761791 h 4687251"/>
              <a:gd name="connsiteX23989" fmla="*/ 2375755 w 8079933"/>
              <a:gd name="connsiteY23989" fmla="*/ 757894 h 4687251"/>
              <a:gd name="connsiteX23990" fmla="*/ 2373367 w 8079933"/>
              <a:gd name="connsiteY23990" fmla="*/ 757894 h 4687251"/>
              <a:gd name="connsiteX23991" fmla="*/ 2373042 w 8079933"/>
              <a:gd name="connsiteY23991" fmla="*/ 760059 h 4687251"/>
              <a:gd name="connsiteX23992" fmla="*/ 2370112 w 8079933"/>
              <a:gd name="connsiteY23992" fmla="*/ 760384 h 4687251"/>
              <a:gd name="connsiteX23993" fmla="*/ 2366965 w 8079933"/>
              <a:gd name="connsiteY23993" fmla="*/ 761575 h 4687251"/>
              <a:gd name="connsiteX23994" fmla="*/ 2364686 w 8079933"/>
              <a:gd name="connsiteY23994" fmla="*/ 762549 h 4687251"/>
              <a:gd name="connsiteX23995" fmla="*/ 2366423 w 8079933"/>
              <a:gd name="connsiteY23995" fmla="*/ 763740 h 4687251"/>
              <a:gd name="connsiteX23996" fmla="*/ 2369461 w 8079933"/>
              <a:gd name="connsiteY23996" fmla="*/ 767313 h 4687251"/>
              <a:gd name="connsiteX23997" fmla="*/ 2372825 w 8079933"/>
              <a:gd name="connsiteY23997" fmla="*/ 766881 h 4687251"/>
              <a:gd name="connsiteX23998" fmla="*/ 2373693 w 8079933"/>
              <a:gd name="connsiteY23998" fmla="*/ 765906 h 4687251"/>
              <a:gd name="connsiteX23999" fmla="*/ 2375321 w 8079933"/>
              <a:gd name="connsiteY23999" fmla="*/ 767638 h 4687251"/>
              <a:gd name="connsiteX24000" fmla="*/ 2371631 w 8079933"/>
              <a:gd name="connsiteY24000" fmla="*/ 771211 h 4687251"/>
              <a:gd name="connsiteX24001" fmla="*/ 2369895 w 8079933"/>
              <a:gd name="connsiteY24001" fmla="*/ 778032 h 4687251"/>
              <a:gd name="connsiteX24002" fmla="*/ 2369786 w 8079933"/>
              <a:gd name="connsiteY24002" fmla="*/ 782471 h 4687251"/>
              <a:gd name="connsiteX24003" fmla="*/ 2368593 w 8079933"/>
              <a:gd name="connsiteY24003" fmla="*/ 785070 h 4687251"/>
              <a:gd name="connsiteX24004" fmla="*/ 2374452 w 8079933"/>
              <a:gd name="connsiteY24004" fmla="*/ 779332 h 4687251"/>
              <a:gd name="connsiteX24005" fmla="*/ 2374452 w 8079933"/>
              <a:gd name="connsiteY24005" fmla="*/ 776191 h 4687251"/>
              <a:gd name="connsiteX24006" fmla="*/ 2379445 w 8079933"/>
              <a:gd name="connsiteY24006" fmla="*/ 767422 h 4687251"/>
              <a:gd name="connsiteX24007" fmla="*/ 2381723 w 8079933"/>
              <a:gd name="connsiteY24007" fmla="*/ 765256 h 4687251"/>
              <a:gd name="connsiteX24008" fmla="*/ 2383025 w 8079933"/>
              <a:gd name="connsiteY24008" fmla="*/ 756595 h 4687251"/>
              <a:gd name="connsiteX24009" fmla="*/ 2385088 w 8079933"/>
              <a:gd name="connsiteY24009" fmla="*/ 753563 h 4687251"/>
              <a:gd name="connsiteX24010" fmla="*/ 2389211 w 8079933"/>
              <a:gd name="connsiteY24010" fmla="*/ 750748 h 4687251"/>
              <a:gd name="connsiteX24011" fmla="*/ 2389211 w 8079933"/>
              <a:gd name="connsiteY24011" fmla="*/ 746309 h 4687251"/>
              <a:gd name="connsiteX24012" fmla="*/ 2387909 w 8079933"/>
              <a:gd name="connsiteY24012" fmla="*/ 743385 h 4687251"/>
              <a:gd name="connsiteX24013" fmla="*/ 2388777 w 8079933"/>
              <a:gd name="connsiteY24013" fmla="*/ 740354 h 4687251"/>
              <a:gd name="connsiteX24014" fmla="*/ 2385738 w 8079933"/>
              <a:gd name="connsiteY24014" fmla="*/ 738189 h 4687251"/>
              <a:gd name="connsiteX24015" fmla="*/ 2382808 w 8079933"/>
              <a:gd name="connsiteY24015" fmla="*/ 737539 h 4687251"/>
              <a:gd name="connsiteX24016" fmla="*/ 2382591 w 8079933"/>
              <a:gd name="connsiteY24016" fmla="*/ 731584 h 4687251"/>
              <a:gd name="connsiteX24017" fmla="*/ 2381615 w 8079933"/>
              <a:gd name="connsiteY24017" fmla="*/ 730177 h 4687251"/>
              <a:gd name="connsiteX24018" fmla="*/ 2381289 w 8079933"/>
              <a:gd name="connsiteY24018" fmla="*/ 724222 h 4687251"/>
              <a:gd name="connsiteX24019" fmla="*/ 2378794 w 8079933"/>
              <a:gd name="connsiteY24019" fmla="*/ 719458 h 4687251"/>
              <a:gd name="connsiteX24020" fmla="*/ 2378142 w 8079933"/>
              <a:gd name="connsiteY24020" fmla="*/ 714802 h 4687251"/>
              <a:gd name="connsiteX24021" fmla="*/ 2380204 w 8079933"/>
              <a:gd name="connsiteY24021" fmla="*/ 713611 h 4687251"/>
              <a:gd name="connsiteX24022" fmla="*/ 2381723 w 8079933"/>
              <a:gd name="connsiteY24022" fmla="*/ 717076 h 4687251"/>
              <a:gd name="connsiteX24023" fmla="*/ 2383893 w 8079933"/>
              <a:gd name="connsiteY24023" fmla="*/ 715127 h 4687251"/>
              <a:gd name="connsiteX24024" fmla="*/ 2388777 w 8079933"/>
              <a:gd name="connsiteY24024" fmla="*/ 713719 h 4687251"/>
              <a:gd name="connsiteX24025" fmla="*/ 2391381 w 8079933"/>
              <a:gd name="connsiteY24025" fmla="*/ 710255 h 4687251"/>
              <a:gd name="connsiteX24026" fmla="*/ 2390404 w 8079933"/>
              <a:gd name="connsiteY24026" fmla="*/ 707223 h 4687251"/>
              <a:gd name="connsiteX24027" fmla="*/ 2392900 w 8079933"/>
              <a:gd name="connsiteY24027" fmla="*/ 703217 h 4687251"/>
              <a:gd name="connsiteX24028" fmla="*/ 2396482 w 8079933"/>
              <a:gd name="connsiteY24028" fmla="*/ 704408 h 4687251"/>
              <a:gd name="connsiteX24029" fmla="*/ 2399412 w 8079933"/>
              <a:gd name="connsiteY24029" fmla="*/ 710580 h 4687251"/>
              <a:gd name="connsiteX24030" fmla="*/ 2398218 w 8079933"/>
              <a:gd name="connsiteY24030" fmla="*/ 713286 h 4687251"/>
              <a:gd name="connsiteX24031" fmla="*/ 2400388 w 8079933"/>
              <a:gd name="connsiteY24031" fmla="*/ 715019 h 4687251"/>
              <a:gd name="connsiteX24032" fmla="*/ 2403535 w 8079933"/>
              <a:gd name="connsiteY24032" fmla="*/ 711445 h 4687251"/>
              <a:gd name="connsiteX24033" fmla="*/ 2403535 w 8079933"/>
              <a:gd name="connsiteY24033" fmla="*/ 707115 h 4687251"/>
              <a:gd name="connsiteX24034" fmla="*/ 2406791 w 8079933"/>
              <a:gd name="connsiteY24034" fmla="*/ 703217 h 4687251"/>
              <a:gd name="connsiteX24035" fmla="*/ 2409938 w 8079933"/>
              <a:gd name="connsiteY24035" fmla="*/ 703217 h 4687251"/>
              <a:gd name="connsiteX24036" fmla="*/ 2409395 w 8079933"/>
              <a:gd name="connsiteY24036" fmla="*/ 700619 h 4687251"/>
              <a:gd name="connsiteX24037" fmla="*/ 2411240 w 8079933"/>
              <a:gd name="connsiteY24037" fmla="*/ 698994 h 4687251"/>
              <a:gd name="connsiteX24038" fmla="*/ 2415580 w 8079933"/>
              <a:gd name="connsiteY24038" fmla="*/ 697696 h 4687251"/>
              <a:gd name="connsiteX24039" fmla="*/ 2414061 w 8079933"/>
              <a:gd name="connsiteY24039" fmla="*/ 695097 h 4687251"/>
              <a:gd name="connsiteX24040" fmla="*/ 2410806 w 8079933"/>
              <a:gd name="connsiteY24040" fmla="*/ 694555 h 4687251"/>
              <a:gd name="connsiteX24041" fmla="*/ 2402993 w 8079933"/>
              <a:gd name="connsiteY24041" fmla="*/ 700077 h 4687251"/>
              <a:gd name="connsiteX24042" fmla="*/ 2399737 w 8079933"/>
              <a:gd name="connsiteY24042" fmla="*/ 699861 h 4687251"/>
              <a:gd name="connsiteX24043" fmla="*/ 2398327 w 8079933"/>
              <a:gd name="connsiteY24043" fmla="*/ 695313 h 4687251"/>
              <a:gd name="connsiteX24044" fmla="*/ 2395830 w 8079933"/>
              <a:gd name="connsiteY24044" fmla="*/ 692715 h 4687251"/>
              <a:gd name="connsiteX24045" fmla="*/ 2396156 w 8079933"/>
              <a:gd name="connsiteY24045" fmla="*/ 689900 h 4687251"/>
              <a:gd name="connsiteX24046" fmla="*/ 2401148 w 8079933"/>
              <a:gd name="connsiteY24046" fmla="*/ 688168 h 4687251"/>
              <a:gd name="connsiteX24047" fmla="*/ 2398218 w 8079933"/>
              <a:gd name="connsiteY24047" fmla="*/ 684270 h 4687251"/>
              <a:gd name="connsiteX24048" fmla="*/ 2399954 w 8079933"/>
              <a:gd name="connsiteY24048" fmla="*/ 677774 h 4687251"/>
              <a:gd name="connsiteX24049" fmla="*/ 2403318 w 8079933"/>
              <a:gd name="connsiteY24049" fmla="*/ 671386 h 4687251"/>
              <a:gd name="connsiteX24050" fmla="*/ 2403861 w 8079933"/>
              <a:gd name="connsiteY24050" fmla="*/ 667813 h 4687251"/>
              <a:gd name="connsiteX24051" fmla="*/ 2407442 w 8079933"/>
              <a:gd name="connsiteY24051" fmla="*/ 664131 h 4687251"/>
              <a:gd name="connsiteX24052" fmla="*/ 2413193 w 8079933"/>
              <a:gd name="connsiteY24052" fmla="*/ 664673 h 4687251"/>
              <a:gd name="connsiteX24053" fmla="*/ 2417100 w 8079933"/>
              <a:gd name="connsiteY24053" fmla="*/ 669004 h 4687251"/>
              <a:gd name="connsiteX24054" fmla="*/ 2417642 w 8079933"/>
              <a:gd name="connsiteY24054" fmla="*/ 672035 h 4687251"/>
              <a:gd name="connsiteX24055" fmla="*/ 2424045 w 8079933"/>
              <a:gd name="connsiteY24055" fmla="*/ 675500 h 4687251"/>
              <a:gd name="connsiteX24056" fmla="*/ 2426974 w 8079933"/>
              <a:gd name="connsiteY24056" fmla="*/ 679831 h 4687251"/>
              <a:gd name="connsiteX24057" fmla="*/ 2431424 w 8079933"/>
              <a:gd name="connsiteY24057" fmla="*/ 680156 h 4687251"/>
              <a:gd name="connsiteX24058" fmla="*/ 2427843 w 8079933"/>
              <a:gd name="connsiteY24058" fmla="*/ 677233 h 4687251"/>
              <a:gd name="connsiteX24059" fmla="*/ 2426974 w 8079933"/>
              <a:gd name="connsiteY24059" fmla="*/ 673768 h 4687251"/>
              <a:gd name="connsiteX24060" fmla="*/ 2420247 w 8079933"/>
              <a:gd name="connsiteY24060" fmla="*/ 669329 h 4687251"/>
              <a:gd name="connsiteX24061" fmla="*/ 2419053 w 8079933"/>
              <a:gd name="connsiteY24061" fmla="*/ 664564 h 4687251"/>
              <a:gd name="connsiteX24062" fmla="*/ 2417859 w 8079933"/>
              <a:gd name="connsiteY24062" fmla="*/ 661966 h 4687251"/>
              <a:gd name="connsiteX24063" fmla="*/ 2412759 w 8079933"/>
              <a:gd name="connsiteY24063" fmla="*/ 661966 h 4687251"/>
              <a:gd name="connsiteX24064" fmla="*/ 2410806 w 8079933"/>
              <a:gd name="connsiteY24064" fmla="*/ 659692 h 4687251"/>
              <a:gd name="connsiteX24065" fmla="*/ 2412325 w 8079933"/>
              <a:gd name="connsiteY24065" fmla="*/ 659043 h 4687251"/>
              <a:gd name="connsiteX24066" fmla="*/ 2420355 w 8079933"/>
              <a:gd name="connsiteY24066" fmla="*/ 658501 h 4687251"/>
              <a:gd name="connsiteX24067" fmla="*/ 2421766 w 8079933"/>
              <a:gd name="connsiteY24067" fmla="*/ 656228 h 4687251"/>
              <a:gd name="connsiteX24068" fmla="*/ 2423828 w 8079933"/>
              <a:gd name="connsiteY24068" fmla="*/ 656228 h 4687251"/>
              <a:gd name="connsiteX24069" fmla="*/ 2431207 w 8079933"/>
              <a:gd name="connsiteY24069" fmla="*/ 664348 h 4687251"/>
              <a:gd name="connsiteX24070" fmla="*/ 2437610 w 8079933"/>
              <a:gd name="connsiteY24070" fmla="*/ 667921 h 4687251"/>
              <a:gd name="connsiteX24071" fmla="*/ 2439888 w 8079933"/>
              <a:gd name="connsiteY24071" fmla="*/ 667813 h 4687251"/>
              <a:gd name="connsiteX24072" fmla="*/ 2434029 w 8079933"/>
              <a:gd name="connsiteY24072" fmla="*/ 664348 h 4687251"/>
              <a:gd name="connsiteX24073" fmla="*/ 2429904 w 8079933"/>
              <a:gd name="connsiteY24073" fmla="*/ 657419 h 4687251"/>
              <a:gd name="connsiteX24074" fmla="*/ 2424370 w 8079933"/>
              <a:gd name="connsiteY24074" fmla="*/ 653521 h 4687251"/>
              <a:gd name="connsiteX24075" fmla="*/ 2424153 w 8079933"/>
              <a:gd name="connsiteY24075" fmla="*/ 650597 h 4687251"/>
              <a:gd name="connsiteX24076" fmla="*/ 2426106 w 8079933"/>
              <a:gd name="connsiteY24076" fmla="*/ 646267 h 4687251"/>
              <a:gd name="connsiteX24077" fmla="*/ 2432943 w 8079933"/>
              <a:gd name="connsiteY24077" fmla="*/ 644860 h 4687251"/>
              <a:gd name="connsiteX24078" fmla="*/ 2435439 w 8079933"/>
              <a:gd name="connsiteY24078" fmla="*/ 645942 h 4687251"/>
              <a:gd name="connsiteX24079" fmla="*/ 2434679 w 8079933"/>
              <a:gd name="connsiteY24079" fmla="*/ 650056 h 4687251"/>
              <a:gd name="connsiteX24080" fmla="*/ 2435439 w 8079933"/>
              <a:gd name="connsiteY24080" fmla="*/ 653305 h 4687251"/>
              <a:gd name="connsiteX24081" fmla="*/ 2437501 w 8079933"/>
              <a:gd name="connsiteY24081" fmla="*/ 651247 h 4687251"/>
              <a:gd name="connsiteX24082" fmla="*/ 2437284 w 8079933"/>
              <a:gd name="connsiteY24082" fmla="*/ 647999 h 4687251"/>
              <a:gd name="connsiteX24083" fmla="*/ 2439997 w 8079933"/>
              <a:gd name="connsiteY24083" fmla="*/ 644534 h 4687251"/>
              <a:gd name="connsiteX24084" fmla="*/ 2445423 w 8079933"/>
              <a:gd name="connsiteY24084" fmla="*/ 644534 h 4687251"/>
              <a:gd name="connsiteX24085" fmla="*/ 2447919 w 8079933"/>
              <a:gd name="connsiteY24085" fmla="*/ 649731 h 4687251"/>
              <a:gd name="connsiteX24086" fmla="*/ 2450089 w 8079933"/>
              <a:gd name="connsiteY24086" fmla="*/ 651464 h 4687251"/>
              <a:gd name="connsiteX24087" fmla="*/ 2451717 w 8079933"/>
              <a:gd name="connsiteY24087" fmla="*/ 657419 h 4687251"/>
              <a:gd name="connsiteX24088" fmla="*/ 2453995 w 8079933"/>
              <a:gd name="connsiteY24088" fmla="*/ 654821 h 4687251"/>
              <a:gd name="connsiteX24089" fmla="*/ 2453995 w 8079933"/>
              <a:gd name="connsiteY24089" fmla="*/ 651247 h 4687251"/>
              <a:gd name="connsiteX24090" fmla="*/ 2449546 w 8079933"/>
              <a:gd name="connsiteY24090" fmla="*/ 645942 h 4687251"/>
              <a:gd name="connsiteX24091" fmla="*/ 2450849 w 8079933"/>
              <a:gd name="connsiteY24091" fmla="*/ 643235 h 4687251"/>
              <a:gd name="connsiteX24092" fmla="*/ 2462785 w 8079933"/>
              <a:gd name="connsiteY24092" fmla="*/ 640420 h 4687251"/>
              <a:gd name="connsiteX24093" fmla="*/ 2469730 w 8079933"/>
              <a:gd name="connsiteY24093" fmla="*/ 637389 h 4687251"/>
              <a:gd name="connsiteX24094" fmla="*/ 2475590 w 8079933"/>
              <a:gd name="connsiteY24094" fmla="*/ 636848 h 4687251"/>
              <a:gd name="connsiteX24095" fmla="*/ 2480908 w 8079933"/>
              <a:gd name="connsiteY24095" fmla="*/ 633058 h 4687251"/>
              <a:gd name="connsiteX24096" fmla="*/ 2487744 w 8079933"/>
              <a:gd name="connsiteY24096" fmla="*/ 635440 h 4687251"/>
              <a:gd name="connsiteX24097" fmla="*/ 2495340 w 8079933"/>
              <a:gd name="connsiteY24097" fmla="*/ 635765 h 4687251"/>
              <a:gd name="connsiteX24098" fmla="*/ 2502611 w 8079933"/>
              <a:gd name="connsiteY24098" fmla="*/ 637497 h 4687251"/>
              <a:gd name="connsiteX24099" fmla="*/ 2503262 w 8079933"/>
              <a:gd name="connsiteY24099" fmla="*/ 640312 h 4687251"/>
              <a:gd name="connsiteX24100" fmla="*/ 2501851 w 8079933"/>
              <a:gd name="connsiteY24100" fmla="*/ 642153 h 4687251"/>
              <a:gd name="connsiteX24101" fmla="*/ 2500983 w 8079933"/>
              <a:gd name="connsiteY24101" fmla="*/ 652546 h 4687251"/>
              <a:gd name="connsiteX24102" fmla="*/ 2499790 w 8079933"/>
              <a:gd name="connsiteY24102" fmla="*/ 655362 h 4687251"/>
              <a:gd name="connsiteX24103" fmla="*/ 2496751 w 8079933"/>
              <a:gd name="connsiteY24103" fmla="*/ 658935 h 4687251"/>
              <a:gd name="connsiteX24104" fmla="*/ 2493495 w 8079933"/>
              <a:gd name="connsiteY24104" fmla="*/ 664889 h 4687251"/>
              <a:gd name="connsiteX24105" fmla="*/ 2494689 w 8079933"/>
              <a:gd name="connsiteY24105" fmla="*/ 667380 h 4687251"/>
              <a:gd name="connsiteX24106" fmla="*/ 2498921 w 8079933"/>
              <a:gd name="connsiteY24106" fmla="*/ 669329 h 4687251"/>
              <a:gd name="connsiteX24107" fmla="*/ 2500658 w 8079933"/>
              <a:gd name="connsiteY24107" fmla="*/ 673118 h 4687251"/>
              <a:gd name="connsiteX24108" fmla="*/ 2499790 w 8079933"/>
              <a:gd name="connsiteY24108" fmla="*/ 675608 h 4687251"/>
              <a:gd name="connsiteX24109" fmla="*/ 2493278 w 8079933"/>
              <a:gd name="connsiteY24109" fmla="*/ 682862 h 4687251"/>
              <a:gd name="connsiteX24110" fmla="*/ 2492085 w 8079933"/>
              <a:gd name="connsiteY24110" fmla="*/ 685786 h 4687251"/>
              <a:gd name="connsiteX24111" fmla="*/ 2491542 w 8079933"/>
              <a:gd name="connsiteY24111" fmla="*/ 690441 h 4687251"/>
              <a:gd name="connsiteX24112" fmla="*/ 2495340 w 8079933"/>
              <a:gd name="connsiteY24112" fmla="*/ 693906 h 4687251"/>
              <a:gd name="connsiteX24113" fmla="*/ 2495232 w 8079933"/>
              <a:gd name="connsiteY24113" fmla="*/ 696180 h 4687251"/>
              <a:gd name="connsiteX24114" fmla="*/ 2492085 w 8079933"/>
              <a:gd name="connsiteY24114" fmla="*/ 701160 h 4687251"/>
              <a:gd name="connsiteX24115" fmla="*/ 2488395 w 8079933"/>
              <a:gd name="connsiteY24115" fmla="*/ 701484 h 4687251"/>
              <a:gd name="connsiteX24116" fmla="*/ 2485139 w 8079933"/>
              <a:gd name="connsiteY24116" fmla="*/ 705274 h 4687251"/>
              <a:gd name="connsiteX24117" fmla="*/ 2481016 w 8079933"/>
              <a:gd name="connsiteY24117" fmla="*/ 706465 h 4687251"/>
              <a:gd name="connsiteX24118" fmla="*/ 2477760 w 8079933"/>
              <a:gd name="connsiteY24118" fmla="*/ 709497 h 4687251"/>
              <a:gd name="connsiteX24119" fmla="*/ 2474830 w 8079933"/>
              <a:gd name="connsiteY24119" fmla="*/ 713719 h 4687251"/>
              <a:gd name="connsiteX24120" fmla="*/ 2471792 w 8079933"/>
              <a:gd name="connsiteY24120" fmla="*/ 717292 h 4687251"/>
              <a:gd name="connsiteX24121" fmla="*/ 2475047 w 8079933"/>
              <a:gd name="connsiteY24121" fmla="*/ 716967 h 4687251"/>
              <a:gd name="connsiteX24122" fmla="*/ 2480040 w 8079933"/>
              <a:gd name="connsiteY24122" fmla="*/ 711987 h 4687251"/>
              <a:gd name="connsiteX24123" fmla="*/ 2486008 w 8079933"/>
              <a:gd name="connsiteY24123" fmla="*/ 707331 h 4687251"/>
              <a:gd name="connsiteX24124" fmla="*/ 2488395 w 8079933"/>
              <a:gd name="connsiteY24124" fmla="*/ 707439 h 4687251"/>
              <a:gd name="connsiteX24125" fmla="*/ 2490565 w 8079933"/>
              <a:gd name="connsiteY24125" fmla="*/ 707115 h 4687251"/>
              <a:gd name="connsiteX24126" fmla="*/ 2487419 w 8079933"/>
              <a:gd name="connsiteY24126" fmla="*/ 710580 h 4687251"/>
              <a:gd name="connsiteX24127" fmla="*/ 2486442 w 8079933"/>
              <a:gd name="connsiteY24127" fmla="*/ 714044 h 4687251"/>
              <a:gd name="connsiteX24128" fmla="*/ 2479714 w 8079933"/>
              <a:gd name="connsiteY24128" fmla="*/ 720216 h 4687251"/>
              <a:gd name="connsiteX24129" fmla="*/ 2475156 w 8079933"/>
              <a:gd name="connsiteY24129" fmla="*/ 722381 h 4687251"/>
              <a:gd name="connsiteX24130" fmla="*/ 2474830 w 8079933"/>
              <a:gd name="connsiteY24130" fmla="*/ 724114 h 4687251"/>
              <a:gd name="connsiteX24131" fmla="*/ 2475156 w 8079933"/>
              <a:gd name="connsiteY24131" fmla="*/ 726387 h 4687251"/>
              <a:gd name="connsiteX24132" fmla="*/ 2474505 w 8079933"/>
              <a:gd name="connsiteY24132" fmla="*/ 728769 h 4687251"/>
              <a:gd name="connsiteX24133" fmla="*/ 2472117 w 8079933"/>
              <a:gd name="connsiteY24133" fmla="*/ 727470 h 4687251"/>
              <a:gd name="connsiteX24134" fmla="*/ 2468971 w 8079933"/>
              <a:gd name="connsiteY24134" fmla="*/ 727794 h 4687251"/>
              <a:gd name="connsiteX24135" fmla="*/ 2469187 w 8079933"/>
              <a:gd name="connsiteY24135" fmla="*/ 730285 h 4687251"/>
              <a:gd name="connsiteX24136" fmla="*/ 2471249 w 8079933"/>
              <a:gd name="connsiteY24136" fmla="*/ 730502 h 4687251"/>
              <a:gd name="connsiteX24137" fmla="*/ 2473094 w 8079933"/>
              <a:gd name="connsiteY24137" fmla="*/ 732559 h 4687251"/>
              <a:gd name="connsiteX24138" fmla="*/ 2472769 w 8079933"/>
              <a:gd name="connsiteY24138" fmla="*/ 736240 h 4687251"/>
              <a:gd name="connsiteX24139" fmla="*/ 2469079 w 8079933"/>
              <a:gd name="connsiteY24139" fmla="*/ 738947 h 4687251"/>
              <a:gd name="connsiteX24140" fmla="*/ 2472986 w 8079933"/>
              <a:gd name="connsiteY24140" fmla="*/ 738947 h 4687251"/>
              <a:gd name="connsiteX24141" fmla="*/ 2474939 w 8079933"/>
              <a:gd name="connsiteY24141" fmla="*/ 736131 h 4687251"/>
              <a:gd name="connsiteX24142" fmla="*/ 2478303 w 8079933"/>
              <a:gd name="connsiteY24142" fmla="*/ 734941 h 4687251"/>
              <a:gd name="connsiteX24143" fmla="*/ 2481341 w 8079933"/>
              <a:gd name="connsiteY24143" fmla="*/ 730610 h 4687251"/>
              <a:gd name="connsiteX24144" fmla="*/ 2481450 w 8079933"/>
              <a:gd name="connsiteY24144" fmla="*/ 727253 h 4687251"/>
              <a:gd name="connsiteX24145" fmla="*/ 2485791 w 8079933"/>
              <a:gd name="connsiteY24145" fmla="*/ 725629 h 4687251"/>
              <a:gd name="connsiteX24146" fmla="*/ 2487527 w 8079933"/>
              <a:gd name="connsiteY24146" fmla="*/ 721731 h 4687251"/>
              <a:gd name="connsiteX24147" fmla="*/ 2488938 w 8079933"/>
              <a:gd name="connsiteY24147" fmla="*/ 722922 h 4687251"/>
              <a:gd name="connsiteX24148" fmla="*/ 2488938 w 8079933"/>
              <a:gd name="connsiteY24148" fmla="*/ 728986 h 4687251"/>
              <a:gd name="connsiteX24149" fmla="*/ 2491651 w 8079933"/>
              <a:gd name="connsiteY24149" fmla="*/ 730610 h 4687251"/>
              <a:gd name="connsiteX24150" fmla="*/ 2491651 w 8079933"/>
              <a:gd name="connsiteY24150" fmla="*/ 725304 h 4687251"/>
              <a:gd name="connsiteX24151" fmla="*/ 2490457 w 8079933"/>
              <a:gd name="connsiteY24151" fmla="*/ 720432 h 4687251"/>
              <a:gd name="connsiteX24152" fmla="*/ 2491325 w 8079933"/>
              <a:gd name="connsiteY24152" fmla="*/ 716967 h 4687251"/>
              <a:gd name="connsiteX24153" fmla="*/ 2493495 w 8079933"/>
              <a:gd name="connsiteY24153" fmla="*/ 715451 h 4687251"/>
              <a:gd name="connsiteX24154" fmla="*/ 2497945 w 8079933"/>
              <a:gd name="connsiteY24154" fmla="*/ 716643 h 4687251"/>
              <a:gd name="connsiteX24155" fmla="*/ 2497293 w 8079933"/>
              <a:gd name="connsiteY24155" fmla="*/ 721948 h 4687251"/>
              <a:gd name="connsiteX24156" fmla="*/ 2498813 w 8079933"/>
              <a:gd name="connsiteY24156" fmla="*/ 724547 h 4687251"/>
              <a:gd name="connsiteX24157" fmla="*/ 2501200 w 8079933"/>
              <a:gd name="connsiteY24157" fmla="*/ 722057 h 4687251"/>
              <a:gd name="connsiteX24158" fmla="*/ 2506192 w 8079933"/>
              <a:gd name="connsiteY24158" fmla="*/ 716967 h 4687251"/>
              <a:gd name="connsiteX24159" fmla="*/ 2507603 w 8079933"/>
              <a:gd name="connsiteY24159" fmla="*/ 721082 h 4687251"/>
              <a:gd name="connsiteX24160" fmla="*/ 2510641 w 8079933"/>
              <a:gd name="connsiteY24160" fmla="*/ 724547 h 4687251"/>
              <a:gd name="connsiteX24161" fmla="*/ 2509339 w 8079933"/>
              <a:gd name="connsiteY24161" fmla="*/ 728444 h 4687251"/>
              <a:gd name="connsiteX24162" fmla="*/ 2503479 w 8079933"/>
              <a:gd name="connsiteY24162" fmla="*/ 736565 h 4687251"/>
              <a:gd name="connsiteX24163" fmla="*/ 2498813 w 8079933"/>
              <a:gd name="connsiteY24163" fmla="*/ 740137 h 4687251"/>
              <a:gd name="connsiteX24164" fmla="*/ 2496534 w 8079933"/>
              <a:gd name="connsiteY24164" fmla="*/ 743385 h 4687251"/>
              <a:gd name="connsiteX24165" fmla="*/ 2501091 w 8079933"/>
              <a:gd name="connsiteY24165" fmla="*/ 744469 h 4687251"/>
              <a:gd name="connsiteX24166" fmla="*/ 2505215 w 8079933"/>
              <a:gd name="connsiteY24166" fmla="*/ 746526 h 4687251"/>
              <a:gd name="connsiteX24167" fmla="*/ 2508254 w 8079933"/>
              <a:gd name="connsiteY24167" fmla="*/ 744469 h 4687251"/>
              <a:gd name="connsiteX24168" fmla="*/ 2505649 w 8079933"/>
              <a:gd name="connsiteY24168" fmla="*/ 741328 h 4687251"/>
              <a:gd name="connsiteX24169" fmla="*/ 2507711 w 8079933"/>
              <a:gd name="connsiteY24169" fmla="*/ 736673 h 4687251"/>
              <a:gd name="connsiteX24170" fmla="*/ 2511509 w 8079933"/>
              <a:gd name="connsiteY24170" fmla="*/ 732234 h 4687251"/>
              <a:gd name="connsiteX24171" fmla="*/ 2514873 w 8079933"/>
              <a:gd name="connsiteY24171" fmla="*/ 738297 h 4687251"/>
              <a:gd name="connsiteX24172" fmla="*/ 2514982 w 8079933"/>
              <a:gd name="connsiteY24172" fmla="*/ 742520 h 4687251"/>
              <a:gd name="connsiteX24173" fmla="*/ 2516175 w 8079933"/>
              <a:gd name="connsiteY24173" fmla="*/ 739488 h 4687251"/>
              <a:gd name="connsiteX24174" fmla="*/ 2515524 w 8079933"/>
              <a:gd name="connsiteY24174" fmla="*/ 733641 h 4687251"/>
              <a:gd name="connsiteX24175" fmla="*/ 2513137 w 8079933"/>
              <a:gd name="connsiteY24175" fmla="*/ 729094 h 4687251"/>
              <a:gd name="connsiteX24176" fmla="*/ 2512920 w 8079933"/>
              <a:gd name="connsiteY24176" fmla="*/ 720324 h 4687251"/>
              <a:gd name="connsiteX24177" fmla="*/ 2514873 w 8079933"/>
              <a:gd name="connsiteY24177" fmla="*/ 719349 h 4687251"/>
              <a:gd name="connsiteX24178" fmla="*/ 2519865 w 8079933"/>
              <a:gd name="connsiteY24178" fmla="*/ 721623 h 4687251"/>
              <a:gd name="connsiteX24179" fmla="*/ 2518780 w 8079933"/>
              <a:gd name="connsiteY24179" fmla="*/ 726063 h 4687251"/>
              <a:gd name="connsiteX24180" fmla="*/ 2517260 w 8079933"/>
              <a:gd name="connsiteY24180" fmla="*/ 729635 h 4687251"/>
              <a:gd name="connsiteX24181" fmla="*/ 2519865 w 8079933"/>
              <a:gd name="connsiteY24181" fmla="*/ 728444 h 4687251"/>
              <a:gd name="connsiteX24182" fmla="*/ 2523663 w 8079933"/>
              <a:gd name="connsiteY24182" fmla="*/ 727794 h 4687251"/>
              <a:gd name="connsiteX24183" fmla="*/ 2531367 w 8079933"/>
              <a:gd name="connsiteY24183" fmla="*/ 735157 h 4687251"/>
              <a:gd name="connsiteX24184" fmla="*/ 2531367 w 8079933"/>
              <a:gd name="connsiteY24184" fmla="*/ 738297 h 4687251"/>
              <a:gd name="connsiteX24185" fmla="*/ 2536685 w 8079933"/>
              <a:gd name="connsiteY24185" fmla="*/ 738297 h 4687251"/>
              <a:gd name="connsiteX24186" fmla="*/ 2540158 w 8079933"/>
              <a:gd name="connsiteY24186" fmla="*/ 740354 h 4687251"/>
              <a:gd name="connsiteX24187" fmla="*/ 2542328 w 8079933"/>
              <a:gd name="connsiteY24187" fmla="*/ 740354 h 4687251"/>
              <a:gd name="connsiteX24188" fmla="*/ 2540158 w 8079933"/>
              <a:gd name="connsiteY24188" fmla="*/ 735482 h 4687251"/>
              <a:gd name="connsiteX24189" fmla="*/ 2536902 w 8079933"/>
              <a:gd name="connsiteY24189" fmla="*/ 734832 h 4687251"/>
              <a:gd name="connsiteX24190" fmla="*/ 2535491 w 8079933"/>
              <a:gd name="connsiteY24190" fmla="*/ 732559 h 4687251"/>
              <a:gd name="connsiteX24191" fmla="*/ 2526919 w 8079933"/>
              <a:gd name="connsiteY24191" fmla="*/ 724980 h 4687251"/>
              <a:gd name="connsiteX24192" fmla="*/ 2523663 w 8079933"/>
              <a:gd name="connsiteY24192" fmla="*/ 724005 h 4687251"/>
              <a:gd name="connsiteX24193" fmla="*/ 2522035 w 8079933"/>
              <a:gd name="connsiteY24193" fmla="*/ 721731 h 4687251"/>
              <a:gd name="connsiteX24194" fmla="*/ 2526919 w 8079933"/>
              <a:gd name="connsiteY24194" fmla="*/ 714586 h 4687251"/>
              <a:gd name="connsiteX24195" fmla="*/ 2532236 w 8079933"/>
              <a:gd name="connsiteY24195" fmla="*/ 714369 h 4687251"/>
              <a:gd name="connsiteX24196" fmla="*/ 2536685 w 8079933"/>
              <a:gd name="connsiteY24196" fmla="*/ 710255 h 4687251"/>
              <a:gd name="connsiteX24197" fmla="*/ 2543739 w 8079933"/>
              <a:gd name="connsiteY24197" fmla="*/ 708955 h 4687251"/>
              <a:gd name="connsiteX24198" fmla="*/ 2549599 w 8079933"/>
              <a:gd name="connsiteY24198" fmla="*/ 709497 h 4687251"/>
              <a:gd name="connsiteX24199" fmla="*/ 2551660 w 8079933"/>
              <a:gd name="connsiteY24199" fmla="*/ 711770 h 4687251"/>
              <a:gd name="connsiteX24200" fmla="*/ 2553939 w 8079933"/>
              <a:gd name="connsiteY24200" fmla="*/ 711445 h 4687251"/>
              <a:gd name="connsiteX24201" fmla="*/ 2560450 w 8079933"/>
              <a:gd name="connsiteY24201" fmla="*/ 714586 h 4687251"/>
              <a:gd name="connsiteX24202" fmla="*/ 2560885 w 8079933"/>
              <a:gd name="connsiteY24202" fmla="*/ 717400 h 4687251"/>
              <a:gd name="connsiteX24203" fmla="*/ 2564574 w 8079933"/>
              <a:gd name="connsiteY24203" fmla="*/ 720649 h 4687251"/>
              <a:gd name="connsiteX24204" fmla="*/ 2567504 w 8079933"/>
              <a:gd name="connsiteY24204" fmla="*/ 721948 h 4687251"/>
              <a:gd name="connsiteX24205" fmla="*/ 2568046 w 8079933"/>
              <a:gd name="connsiteY24205" fmla="*/ 725737 h 4687251"/>
              <a:gd name="connsiteX24206" fmla="*/ 2570434 w 8079933"/>
              <a:gd name="connsiteY24206" fmla="*/ 725521 h 4687251"/>
              <a:gd name="connsiteX24207" fmla="*/ 2571519 w 8079933"/>
              <a:gd name="connsiteY24207" fmla="*/ 723680 h 4687251"/>
              <a:gd name="connsiteX24208" fmla="*/ 2575317 w 8079933"/>
              <a:gd name="connsiteY24208" fmla="*/ 724330 h 4687251"/>
              <a:gd name="connsiteX24209" fmla="*/ 2577053 w 8079933"/>
              <a:gd name="connsiteY24209" fmla="*/ 728120 h 4687251"/>
              <a:gd name="connsiteX24210" fmla="*/ 2582153 w 8079933"/>
              <a:gd name="connsiteY24210" fmla="*/ 730502 h 4687251"/>
              <a:gd name="connsiteX24211" fmla="*/ 2582371 w 8079933"/>
              <a:gd name="connsiteY24211" fmla="*/ 733641 h 4687251"/>
              <a:gd name="connsiteX24212" fmla="*/ 2582045 w 8079933"/>
              <a:gd name="connsiteY24212" fmla="*/ 736889 h 4687251"/>
              <a:gd name="connsiteX24213" fmla="*/ 2583239 w 8079933"/>
              <a:gd name="connsiteY24213" fmla="*/ 739271 h 4687251"/>
              <a:gd name="connsiteX24214" fmla="*/ 2583781 w 8079933"/>
              <a:gd name="connsiteY24214" fmla="*/ 742411 h 4687251"/>
              <a:gd name="connsiteX24215" fmla="*/ 2579658 w 8079933"/>
              <a:gd name="connsiteY24215" fmla="*/ 747175 h 4687251"/>
              <a:gd name="connsiteX24216" fmla="*/ 2575860 w 8079933"/>
              <a:gd name="connsiteY24216" fmla="*/ 746526 h 4687251"/>
              <a:gd name="connsiteX24217" fmla="*/ 2571519 w 8079933"/>
              <a:gd name="connsiteY24217" fmla="*/ 745334 h 4687251"/>
              <a:gd name="connsiteX24218" fmla="*/ 2564791 w 8079933"/>
              <a:gd name="connsiteY24218" fmla="*/ 747175 h 4687251"/>
              <a:gd name="connsiteX24219" fmla="*/ 2557520 w 8079933"/>
              <a:gd name="connsiteY24219" fmla="*/ 753888 h 4687251"/>
              <a:gd name="connsiteX24220" fmla="*/ 2565659 w 8079933"/>
              <a:gd name="connsiteY24220" fmla="*/ 748691 h 4687251"/>
              <a:gd name="connsiteX24221" fmla="*/ 2573364 w 8079933"/>
              <a:gd name="connsiteY24221" fmla="*/ 748257 h 4687251"/>
              <a:gd name="connsiteX24222" fmla="*/ 2574991 w 8079933"/>
              <a:gd name="connsiteY24222" fmla="*/ 750640 h 4687251"/>
              <a:gd name="connsiteX24223" fmla="*/ 2571627 w 8079933"/>
              <a:gd name="connsiteY24223" fmla="*/ 753888 h 4687251"/>
              <a:gd name="connsiteX24224" fmla="*/ 2566527 w 8079933"/>
              <a:gd name="connsiteY24224" fmla="*/ 757136 h 4687251"/>
              <a:gd name="connsiteX24225" fmla="*/ 2561210 w 8079933"/>
              <a:gd name="connsiteY24225" fmla="*/ 764932 h 4687251"/>
              <a:gd name="connsiteX24226" fmla="*/ 2557412 w 8079933"/>
              <a:gd name="connsiteY24226" fmla="*/ 767855 h 4687251"/>
              <a:gd name="connsiteX24227" fmla="*/ 2554807 w 8079933"/>
              <a:gd name="connsiteY24227" fmla="*/ 768179 h 4687251"/>
              <a:gd name="connsiteX24228" fmla="*/ 2554156 w 8079933"/>
              <a:gd name="connsiteY24228" fmla="*/ 771752 h 4687251"/>
              <a:gd name="connsiteX24229" fmla="*/ 2556543 w 8079933"/>
              <a:gd name="connsiteY24229" fmla="*/ 772077 h 4687251"/>
              <a:gd name="connsiteX24230" fmla="*/ 2565116 w 8079933"/>
              <a:gd name="connsiteY24230" fmla="*/ 763307 h 4687251"/>
              <a:gd name="connsiteX24231" fmla="*/ 2568697 w 8079933"/>
              <a:gd name="connsiteY24231" fmla="*/ 757677 h 4687251"/>
              <a:gd name="connsiteX24232" fmla="*/ 2574991 w 8079933"/>
              <a:gd name="connsiteY24232" fmla="*/ 755404 h 4687251"/>
              <a:gd name="connsiteX24233" fmla="*/ 2579983 w 8079933"/>
              <a:gd name="connsiteY24233" fmla="*/ 750640 h 4687251"/>
              <a:gd name="connsiteX24234" fmla="*/ 2584758 w 8079933"/>
              <a:gd name="connsiteY24234" fmla="*/ 752155 h 4687251"/>
              <a:gd name="connsiteX24235" fmla="*/ 2586820 w 8079933"/>
              <a:gd name="connsiteY24235" fmla="*/ 754212 h 4687251"/>
              <a:gd name="connsiteX24236" fmla="*/ 2590075 w 8079933"/>
              <a:gd name="connsiteY24236" fmla="*/ 754538 h 4687251"/>
              <a:gd name="connsiteX24237" fmla="*/ 2590075 w 8079933"/>
              <a:gd name="connsiteY24237" fmla="*/ 758002 h 4687251"/>
              <a:gd name="connsiteX24238" fmla="*/ 2588230 w 8079933"/>
              <a:gd name="connsiteY24238" fmla="*/ 761575 h 4687251"/>
              <a:gd name="connsiteX24239" fmla="*/ 2588556 w 8079933"/>
              <a:gd name="connsiteY24239" fmla="*/ 765256 h 4687251"/>
              <a:gd name="connsiteX24240" fmla="*/ 2583347 w 8079933"/>
              <a:gd name="connsiteY24240" fmla="*/ 766989 h 4687251"/>
              <a:gd name="connsiteX24241" fmla="*/ 2580960 w 8079933"/>
              <a:gd name="connsiteY24241" fmla="*/ 771752 h 4687251"/>
              <a:gd name="connsiteX24242" fmla="*/ 2575968 w 8079933"/>
              <a:gd name="connsiteY24242" fmla="*/ 772077 h 4687251"/>
              <a:gd name="connsiteX24243" fmla="*/ 2573798 w 8079933"/>
              <a:gd name="connsiteY24243" fmla="*/ 770345 h 4687251"/>
              <a:gd name="connsiteX24244" fmla="*/ 2569457 w 8079933"/>
              <a:gd name="connsiteY24244" fmla="*/ 770345 h 4687251"/>
              <a:gd name="connsiteX24245" fmla="*/ 2567070 w 8079933"/>
              <a:gd name="connsiteY24245" fmla="*/ 773485 h 4687251"/>
              <a:gd name="connsiteX24246" fmla="*/ 2571844 w 8079933"/>
              <a:gd name="connsiteY24246" fmla="*/ 773485 h 4687251"/>
              <a:gd name="connsiteX24247" fmla="*/ 2572930 w 8079933"/>
              <a:gd name="connsiteY24247" fmla="*/ 776083 h 4687251"/>
              <a:gd name="connsiteX24248" fmla="*/ 2564574 w 8079933"/>
              <a:gd name="connsiteY24248" fmla="*/ 780522 h 4687251"/>
              <a:gd name="connsiteX24249" fmla="*/ 2567721 w 8079933"/>
              <a:gd name="connsiteY24249" fmla="*/ 781280 h 4687251"/>
              <a:gd name="connsiteX24250" fmla="*/ 2570434 w 8079933"/>
              <a:gd name="connsiteY24250" fmla="*/ 778465 h 4687251"/>
              <a:gd name="connsiteX24251" fmla="*/ 2575643 w 8079933"/>
              <a:gd name="connsiteY24251" fmla="*/ 776950 h 4687251"/>
              <a:gd name="connsiteX24252" fmla="*/ 2578355 w 8079933"/>
              <a:gd name="connsiteY24252" fmla="*/ 775326 h 4687251"/>
              <a:gd name="connsiteX24253" fmla="*/ 2579115 w 8079933"/>
              <a:gd name="connsiteY24253" fmla="*/ 777599 h 4687251"/>
              <a:gd name="connsiteX24254" fmla="*/ 2577162 w 8079933"/>
              <a:gd name="connsiteY24254" fmla="*/ 780197 h 4687251"/>
              <a:gd name="connsiteX24255" fmla="*/ 2572170 w 8079933"/>
              <a:gd name="connsiteY24255" fmla="*/ 781280 h 4687251"/>
              <a:gd name="connsiteX24256" fmla="*/ 2567721 w 8079933"/>
              <a:gd name="connsiteY24256" fmla="*/ 784853 h 4687251"/>
              <a:gd name="connsiteX24257" fmla="*/ 2571194 w 8079933"/>
              <a:gd name="connsiteY24257" fmla="*/ 784312 h 4687251"/>
              <a:gd name="connsiteX24258" fmla="*/ 2572495 w 8079933"/>
              <a:gd name="connsiteY24258" fmla="*/ 785395 h 4687251"/>
              <a:gd name="connsiteX24259" fmla="*/ 2569891 w 8079933"/>
              <a:gd name="connsiteY24259" fmla="*/ 789509 h 4687251"/>
              <a:gd name="connsiteX24260" fmla="*/ 2565008 w 8079933"/>
              <a:gd name="connsiteY24260" fmla="*/ 793731 h 4687251"/>
              <a:gd name="connsiteX24261" fmla="*/ 2561535 w 8079933"/>
              <a:gd name="connsiteY24261" fmla="*/ 796654 h 4687251"/>
              <a:gd name="connsiteX24262" fmla="*/ 2564574 w 8079933"/>
              <a:gd name="connsiteY24262" fmla="*/ 797196 h 4687251"/>
              <a:gd name="connsiteX24263" fmla="*/ 2570108 w 8079933"/>
              <a:gd name="connsiteY24263" fmla="*/ 793623 h 4687251"/>
              <a:gd name="connsiteX24264" fmla="*/ 2573907 w 8079933"/>
              <a:gd name="connsiteY24264" fmla="*/ 786261 h 4687251"/>
              <a:gd name="connsiteX24265" fmla="*/ 2577053 w 8079933"/>
              <a:gd name="connsiteY24265" fmla="*/ 782471 h 4687251"/>
              <a:gd name="connsiteX24266" fmla="*/ 2584216 w 8079933"/>
              <a:gd name="connsiteY24266" fmla="*/ 777058 h 4687251"/>
              <a:gd name="connsiteX24267" fmla="*/ 2585409 w 8079933"/>
              <a:gd name="connsiteY24267" fmla="*/ 778790 h 4687251"/>
              <a:gd name="connsiteX24268" fmla="*/ 2585409 w 8079933"/>
              <a:gd name="connsiteY24268" fmla="*/ 781280 h 4687251"/>
              <a:gd name="connsiteX24269" fmla="*/ 2589424 w 8079933"/>
              <a:gd name="connsiteY24269" fmla="*/ 779332 h 4687251"/>
              <a:gd name="connsiteX24270" fmla="*/ 2590075 w 8079933"/>
              <a:gd name="connsiteY24270" fmla="*/ 776083 h 4687251"/>
              <a:gd name="connsiteX24271" fmla="*/ 2595935 w 8079933"/>
              <a:gd name="connsiteY24271" fmla="*/ 772294 h 4687251"/>
              <a:gd name="connsiteX24272" fmla="*/ 2599082 w 8079933"/>
              <a:gd name="connsiteY24272" fmla="*/ 772618 h 4687251"/>
              <a:gd name="connsiteX24273" fmla="*/ 2598756 w 8079933"/>
              <a:gd name="connsiteY24273" fmla="*/ 775542 h 4687251"/>
              <a:gd name="connsiteX24274" fmla="*/ 2591486 w 8079933"/>
              <a:gd name="connsiteY24274" fmla="*/ 781713 h 4687251"/>
              <a:gd name="connsiteX24275" fmla="*/ 2583347 w 8079933"/>
              <a:gd name="connsiteY24275" fmla="*/ 787019 h 4687251"/>
              <a:gd name="connsiteX24276" fmla="*/ 2580091 w 8079933"/>
              <a:gd name="connsiteY24276" fmla="*/ 787885 h 4687251"/>
              <a:gd name="connsiteX24277" fmla="*/ 2580091 w 8079933"/>
              <a:gd name="connsiteY24277" fmla="*/ 790158 h 4687251"/>
              <a:gd name="connsiteX24278" fmla="*/ 2582153 w 8079933"/>
              <a:gd name="connsiteY24278" fmla="*/ 791241 h 4687251"/>
              <a:gd name="connsiteX24279" fmla="*/ 2579766 w 8079933"/>
              <a:gd name="connsiteY24279" fmla="*/ 795356 h 4687251"/>
              <a:gd name="connsiteX24280" fmla="*/ 2578790 w 8079933"/>
              <a:gd name="connsiteY24280" fmla="*/ 799578 h 4687251"/>
              <a:gd name="connsiteX24281" fmla="*/ 2580309 w 8079933"/>
              <a:gd name="connsiteY24281" fmla="*/ 800228 h 4687251"/>
              <a:gd name="connsiteX24282" fmla="*/ 2583021 w 8079933"/>
              <a:gd name="connsiteY24282" fmla="*/ 796330 h 4687251"/>
              <a:gd name="connsiteX24283" fmla="*/ 2583998 w 8079933"/>
              <a:gd name="connsiteY24283" fmla="*/ 792107 h 4687251"/>
              <a:gd name="connsiteX24284" fmla="*/ 2590509 w 8079933"/>
              <a:gd name="connsiteY24284" fmla="*/ 786694 h 4687251"/>
              <a:gd name="connsiteX24285" fmla="*/ 2595501 w 8079933"/>
              <a:gd name="connsiteY24285" fmla="*/ 783554 h 4687251"/>
              <a:gd name="connsiteX24286" fmla="*/ 2595284 w 8079933"/>
              <a:gd name="connsiteY24286" fmla="*/ 786694 h 4687251"/>
              <a:gd name="connsiteX24287" fmla="*/ 2595935 w 8079933"/>
              <a:gd name="connsiteY24287" fmla="*/ 789401 h 4687251"/>
              <a:gd name="connsiteX24288" fmla="*/ 2593548 w 8079933"/>
              <a:gd name="connsiteY24288" fmla="*/ 792432 h 4687251"/>
              <a:gd name="connsiteX24289" fmla="*/ 2587796 w 8079933"/>
              <a:gd name="connsiteY24289" fmla="*/ 797954 h 4687251"/>
              <a:gd name="connsiteX24290" fmla="*/ 2587146 w 8079933"/>
              <a:gd name="connsiteY24290" fmla="*/ 800877 h 4687251"/>
              <a:gd name="connsiteX24291" fmla="*/ 2583456 w 8079933"/>
              <a:gd name="connsiteY24291" fmla="*/ 807265 h 4687251"/>
              <a:gd name="connsiteX24292" fmla="*/ 2580960 w 8079933"/>
              <a:gd name="connsiteY24292" fmla="*/ 809431 h 4687251"/>
              <a:gd name="connsiteX24293" fmla="*/ 2581286 w 8079933"/>
              <a:gd name="connsiteY24293" fmla="*/ 810621 h 4687251"/>
              <a:gd name="connsiteX24294" fmla="*/ 2585517 w 8079933"/>
              <a:gd name="connsiteY24294" fmla="*/ 809431 h 4687251"/>
              <a:gd name="connsiteX24295" fmla="*/ 2587362 w 8079933"/>
              <a:gd name="connsiteY24295" fmla="*/ 805858 h 4687251"/>
              <a:gd name="connsiteX24296" fmla="*/ 2593222 w 8079933"/>
              <a:gd name="connsiteY24296" fmla="*/ 797954 h 4687251"/>
              <a:gd name="connsiteX24297" fmla="*/ 2596912 w 8079933"/>
              <a:gd name="connsiteY24297" fmla="*/ 796330 h 4687251"/>
              <a:gd name="connsiteX24298" fmla="*/ 2598865 w 8079933"/>
              <a:gd name="connsiteY24298" fmla="*/ 799362 h 4687251"/>
              <a:gd name="connsiteX24299" fmla="*/ 2600059 w 8079933"/>
              <a:gd name="connsiteY24299" fmla="*/ 800228 h 4687251"/>
              <a:gd name="connsiteX24300" fmla="*/ 2599841 w 8079933"/>
              <a:gd name="connsiteY24300" fmla="*/ 802718 h 4687251"/>
              <a:gd name="connsiteX24301" fmla="*/ 2596695 w 8079933"/>
              <a:gd name="connsiteY24301" fmla="*/ 803909 h 4687251"/>
              <a:gd name="connsiteX24302" fmla="*/ 2592463 w 8079933"/>
              <a:gd name="connsiteY24302" fmla="*/ 810080 h 4687251"/>
              <a:gd name="connsiteX24303" fmla="*/ 2591269 w 8079933"/>
              <a:gd name="connsiteY24303" fmla="*/ 816035 h 4687251"/>
              <a:gd name="connsiteX24304" fmla="*/ 2593114 w 8079933"/>
              <a:gd name="connsiteY24304" fmla="*/ 816793 h 4687251"/>
              <a:gd name="connsiteX24305" fmla="*/ 2594850 w 8079933"/>
              <a:gd name="connsiteY24305" fmla="*/ 813545 h 4687251"/>
              <a:gd name="connsiteX24306" fmla="*/ 2595827 w 8079933"/>
              <a:gd name="connsiteY24306" fmla="*/ 809864 h 4687251"/>
              <a:gd name="connsiteX24307" fmla="*/ 2598973 w 8079933"/>
              <a:gd name="connsiteY24307" fmla="*/ 805208 h 4687251"/>
              <a:gd name="connsiteX24308" fmla="*/ 2603857 w 8079933"/>
              <a:gd name="connsiteY24308" fmla="*/ 803042 h 4687251"/>
              <a:gd name="connsiteX24309" fmla="*/ 2603857 w 8079933"/>
              <a:gd name="connsiteY24309" fmla="*/ 798387 h 4687251"/>
              <a:gd name="connsiteX24310" fmla="*/ 2605702 w 8079933"/>
              <a:gd name="connsiteY24310" fmla="*/ 794706 h 4687251"/>
              <a:gd name="connsiteX24311" fmla="*/ 2609391 w 8079933"/>
              <a:gd name="connsiteY24311" fmla="*/ 792865 h 4687251"/>
              <a:gd name="connsiteX24312" fmla="*/ 2609934 w 8079933"/>
              <a:gd name="connsiteY24312" fmla="*/ 789401 h 4687251"/>
              <a:gd name="connsiteX24313" fmla="*/ 2611236 w 8079933"/>
              <a:gd name="connsiteY24313" fmla="*/ 787019 h 4687251"/>
              <a:gd name="connsiteX24314" fmla="*/ 2613298 w 8079933"/>
              <a:gd name="connsiteY24314" fmla="*/ 786152 h 4687251"/>
              <a:gd name="connsiteX24315" fmla="*/ 2615468 w 8079933"/>
              <a:gd name="connsiteY24315" fmla="*/ 782796 h 4687251"/>
              <a:gd name="connsiteX24316" fmla="*/ 2615793 w 8079933"/>
              <a:gd name="connsiteY24316" fmla="*/ 779440 h 4687251"/>
              <a:gd name="connsiteX24317" fmla="*/ 2617747 w 8079933"/>
              <a:gd name="connsiteY24317" fmla="*/ 778573 h 4687251"/>
              <a:gd name="connsiteX24318" fmla="*/ 2621328 w 8079933"/>
              <a:gd name="connsiteY24318" fmla="*/ 785828 h 4687251"/>
              <a:gd name="connsiteX24319" fmla="*/ 2624692 w 8079933"/>
              <a:gd name="connsiteY24319" fmla="*/ 787885 h 4687251"/>
              <a:gd name="connsiteX24320" fmla="*/ 2628815 w 8079933"/>
              <a:gd name="connsiteY24320" fmla="*/ 792107 h 4687251"/>
              <a:gd name="connsiteX24321" fmla="*/ 2629792 w 8079933"/>
              <a:gd name="connsiteY24321" fmla="*/ 796438 h 4687251"/>
              <a:gd name="connsiteX24322" fmla="*/ 2630769 w 8079933"/>
              <a:gd name="connsiteY24322" fmla="*/ 800985 h 4687251"/>
              <a:gd name="connsiteX24323" fmla="*/ 2635218 w 8079933"/>
              <a:gd name="connsiteY24323" fmla="*/ 805858 h 4687251"/>
              <a:gd name="connsiteX24324" fmla="*/ 2635543 w 8079933"/>
              <a:gd name="connsiteY24324" fmla="*/ 807915 h 4687251"/>
              <a:gd name="connsiteX24325" fmla="*/ 2632397 w 8079933"/>
              <a:gd name="connsiteY24325" fmla="*/ 811054 h 4687251"/>
              <a:gd name="connsiteX24326" fmla="*/ 2627839 w 8079933"/>
              <a:gd name="connsiteY24326" fmla="*/ 816685 h 4687251"/>
              <a:gd name="connsiteX24327" fmla="*/ 2625126 w 8079933"/>
              <a:gd name="connsiteY24327" fmla="*/ 816793 h 4687251"/>
              <a:gd name="connsiteX24328" fmla="*/ 2621979 w 8079933"/>
              <a:gd name="connsiteY24328" fmla="*/ 814195 h 4687251"/>
              <a:gd name="connsiteX24329" fmla="*/ 2617964 w 8079933"/>
              <a:gd name="connsiteY24329" fmla="*/ 810730 h 4687251"/>
              <a:gd name="connsiteX24330" fmla="*/ 2615685 w 8079933"/>
              <a:gd name="connsiteY24330" fmla="*/ 811054 h 4687251"/>
              <a:gd name="connsiteX24331" fmla="*/ 2613515 w 8079933"/>
              <a:gd name="connsiteY24331" fmla="*/ 812787 h 4687251"/>
              <a:gd name="connsiteX24332" fmla="*/ 2610694 w 8079933"/>
              <a:gd name="connsiteY24332" fmla="*/ 813870 h 4687251"/>
              <a:gd name="connsiteX24333" fmla="*/ 2608523 w 8079933"/>
              <a:gd name="connsiteY24333" fmla="*/ 818201 h 4687251"/>
              <a:gd name="connsiteX24334" fmla="*/ 2605159 w 8079933"/>
              <a:gd name="connsiteY24334" fmla="*/ 820150 h 4687251"/>
              <a:gd name="connsiteX24335" fmla="*/ 2602338 w 8079933"/>
              <a:gd name="connsiteY24335" fmla="*/ 820041 h 4687251"/>
              <a:gd name="connsiteX24336" fmla="*/ 2599733 w 8079933"/>
              <a:gd name="connsiteY24336" fmla="*/ 823181 h 4687251"/>
              <a:gd name="connsiteX24337" fmla="*/ 2604942 w 8079933"/>
              <a:gd name="connsiteY24337" fmla="*/ 822423 h 4687251"/>
              <a:gd name="connsiteX24338" fmla="*/ 2607329 w 8079933"/>
              <a:gd name="connsiteY24338" fmla="*/ 822423 h 4687251"/>
              <a:gd name="connsiteX24339" fmla="*/ 2608414 w 8079933"/>
              <a:gd name="connsiteY24339" fmla="*/ 825238 h 4687251"/>
              <a:gd name="connsiteX24340" fmla="*/ 2604725 w 8079933"/>
              <a:gd name="connsiteY24340" fmla="*/ 829352 h 4687251"/>
              <a:gd name="connsiteX24341" fmla="*/ 2600818 w 8079933"/>
              <a:gd name="connsiteY24341" fmla="*/ 831301 h 4687251"/>
              <a:gd name="connsiteX24342" fmla="*/ 2597020 w 8079933"/>
              <a:gd name="connsiteY24342" fmla="*/ 833250 h 4687251"/>
              <a:gd name="connsiteX24343" fmla="*/ 2602663 w 8079933"/>
              <a:gd name="connsiteY24343" fmla="*/ 833358 h 4687251"/>
              <a:gd name="connsiteX24344" fmla="*/ 2606461 w 8079933"/>
              <a:gd name="connsiteY24344" fmla="*/ 831085 h 4687251"/>
              <a:gd name="connsiteX24345" fmla="*/ 2611562 w 8079933"/>
              <a:gd name="connsiteY24345" fmla="*/ 830327 h 4687251"/>
              <a:gd name="connsiteX24346" fmla="*/ 2615360 w 8079933"/>
              <a:gd name="connsiteY24346" fmla="*/ 830976 h 4687251"/>
              <a:gd name="connsiteX24347" fmla="*/ 2619483 w 8079933"/>
              <a:gd name="connsiteY24347" fmla="*/ 827620 h 4687251"/>
              <a:gd name="connsiteX24348" fmla="*/ 2623716 w 8079933"/>
              <a:gd name="connsiteY24348" fmla="*/ 827728 h 4687251"/>
              <a:gd name="connsiteX24349" fmla="*/ 2626429 w 8079933"/>
              <a:gd name="connsiteY24349" fmla="*/ 829894 h 4687251"/>
              <a:gd name="connsiteX24350" fmla="*/ 2626862 w 8079933"/>
              <a:gd name="connsiteY24350" fmla="*/ 832059 h 4687251"/>
              <a:gd name="connsiteX24351" fmla="*/ 2626102 w 8079933"/>
              <a:gd name="connsiteY24351" fmla="*/ 833683 h 4687251"/>
              <a:gd name="connsiteX24352" fmla="*/ 2628056 w 8079933"/>
              <a:gd name="connsiteY24352" fmla="*/ 832492 h 4687251"/>
              <a:gd name="connsiteX24353" fmla="*/ 2629250 w 8079933"/>
              <a:gd name="connsiteY24353" fmla="*/ 827187 h 4687251"/>
              <a:gd name="connsiteX24354" fmla="*/ 2628815 w 8079933"/>
              <a:gd name="connsiteY24354" fmla="*/ 823181 h 4687251"/>
              <a:gd name="connsiteX24355" fmla="*/ 2631529 w 8079933"/>
              <a:gd name="connsiteY24355" fmla="*/ 819717 h 4687251"/>
              <a:gd name="connsiteX24356" fmla="*/ 2638365 w 8079933"/>
              <a:gd name="connsiteY24356" fmla="*/ 816468 h 4687251"/>
              <a:gd name="connsiteX24357" fmla="*/ 2639559 w 8079933"/>
              <a:gd name="connsiteY24357" fmla="*/ 817659 h 4687251"/>
              <a:gd name="connsiteX24358" fmla="*/ 2639016 w 8079933"/>
              <a:gd name="connsiteY24358" fmla="*/ 820799 h 4687251"/>
              <a:gd name="connsiteX24359" fmla="*/ 2640318 w 8079933"/>
              <a:gd name="connsiteY24359" fmla="*/ 824697 h 4687251"/>
              <a:gd name="connsiteX24360" fmla="*/ 2638148 w 8079933"/>
              <a:gd name="connsiteY24360" fmla="*/ 828811 h 4687251"/>
              <a:gd name="connsiteX24361" fmla="*/ 2633916 w 8079933"/>
              <a:gd name="connsiteY24361" fmla="*/ 834441 h 4687251"/>
              <a:gd name="connsiteX24362" fmla="*/ 2629141 w 8079933"/>
              <a:gd name="connsiteY24362" fmla="*/ 836282 h 4687251"/>
              <a:gd name="connsiteX24363" fmla="*/ 2625777 w 8079933"/>
              <a:gd name="connsiteY24363" fmla="*/ 839205 h 4687251"/>
              <a:gd name="connsiteX24364" fmla="*/ 2624909 w 8079933"/>
              <a:gd name="connsiteY24364" fmla="*/ 841262 h 4687251"/>
              <a:gd name="connsiteX24365" fmla="*/ 2620568 w 8079933"/>
              <a:gd name="connsiteY24365" fmla="*/ 841154 h 4687251"/>
              <a:gd name="connsiteX24366" fmla="*/ 2617964 w 8079933"/>
              <a:gd name="connsiteY24366" fmla="*/ 839963 h 4687251"/>
              <a:gd name="connsiteX24367" fmla="*/ 2615143 w 8079933"/>
              <a:gd name="connsiteY24367" fmla="*/ 840071 h 4687251"/>
              <a:gd name="connsiteX24368" fmla="*/ 2612755 w 8079933"/>
              <a:gd name="connsiteY24368" fmla="*/ 842994 h 4687251"/>
              <a:gd name="connsiteX24369" fmla="*/ 2611995 w 8079933"/>
              <a:gd name="connsiteY24369" fmla="*/ 846243 h 4687251"/>
              <a:gd name="connsiteX24370" fmla="*/ 2607764 w 8079933"/>
              <a:gd name="connsiteY24370" fmla="*/ 850465 h 4687251"/>
              <a:gd name="connsiteX24371" fmla="*/ 2607112 w 8079933"/>
              <a:gd name="connsiteY24371" fmla="*/ 853280 h 4687251"/>
              <a:gd name="connsiteX24372" fmla="*/ 2605811 w 8079933"/>
              <a:gd name="connsiteY24372" fmla="*/ 855987 h 4687251"/>
              <a:gd name="connsiteX24373" fmla="*/ 2608197 w 8079933"/>
              <a:gd name="connsiteY24373" fmla="*/ 855554 h 4687251"/>
              <a:gd name="connsiteX24374" fmla="*/ 2613623 w 8079933"/>
              <a:gd name="connsiteY24374" fmla="*/ 849707 h 4687251"/>
              <a:gd name="connsiteX24375" fmla="*/ 2617096 w 8079933"/>
              <a:gd name="connsiteY24375" fmla="*/ 843752 h 4687251"/>
              <a:gd name="connsiteX24376" fmla="*/ 2619591 w 8079933"/>
              <a:gd name="connsiteY24376" fmla="*/ 842670 h 4687251"/>
              <a:gd name="connsiteX24377" fmla="*/ 2620894 w 8079933"/>
              <a:gd name="connsiteY24377" fmla="*/ 843969 h 4687251"/>
              <a:gd name="connsiteX24378" fmla="*/ 2622630 w 8079933"/>
              <a:gd name="connsiteY24378" fmla="*/ 844186 h 4687251"/>
              <a:gd name="connsiteX24379" fmla="*/ 2623173 w 8079933"/>
              <a:gd name="connsiteY24379" fmla="*/ 846026 h 4687251"/>
              <a:gd name="connsiteX24380" fmla="*/ 2621003 w 8079933"/>
              <a:gd name="connsiteY24380" fmla="*/ 848408 h 4687251"/>
              <a:gd name="connsiteX24381" fmla="*/ 2618181 w 8079933"/>
              <a:gd name="connsiteY24381" fmla="*/ 853605 h 4687251"/>
              <a:gd name="connsiteX24382" fmla="*/ 2612321 w 8079933"/>
              <a:gd name="connsiteY24382" fmla="*/ 859452 h 4687251"/>
              <a:gd name="connsiteX24383" fmla="*/ 2608740 w 8079933"/>
              <a:gd name="connsiteY24383" fmla="*/ 862916 h 4687251"/>
              <a:gd name="connsiteX24384" fmla="*/ 2608849 w 8079933"/>
              <a:gd name="connsiteY24384" fmla="*/ 864324 h 4687251"/>
              <a:gd name="connsiteX24385" fmla="*/ 2616336 w 8079933"/>
              <a:gd name="connsiteY24385" fmla="*/ 860318 h 4687251"/>
              <a:gd name="connsiteX24386" fmla="*/ 2624258 w 8079933"/>
              <a:gd name="connsiteY24386" fmla="*/ 851439 h 4687251"/>
              <a:gd name="connsiteX24387" fmla="*/ 2627405 w 8079933"/>
              <a:gd name="connsiteY24387" fmla="*/ 844077 h 4687251"/>
              <a:gd name="connsiteX24388" fmla="*/ 2628165 w 8079933"/>
              <a:gd name="connsiteY24388" fmla="*/ 840937 h 4687251"/>
              <a:gd name="connsiteX24389" fmla="*/ 2630118 w 8079933"/>
              <a:gd name="connsiteY24389" fmla="*/ 838447 h 4687251"/>
              <a:gd name="connsiteX24390" fmla="*/ 2632722 w 8079933"/>
              <a:gd name="connsiteY24390" fmla="*/ 838447 h 4687251"/>
              <a:gd name="connsiteX24391" fmla="*/ 2639559 w 8079933"/>
              <a:gd name="connsiteY24391" fmla="*/ 833683 h 4687251"/>
              <a:gd name="connsiteX24392" fmla="*/ 2645744 w 8079933"/>
              <a:gd name="connsiteY24392" fmla="*/ 831193 h 4687251"/>
              <a:gd name="connsiteX24393" fmla="*/ 2648783 w 8079933"/>
              <a:gd name="connsiteY24393" fmla="*/ 830219 h 4687251"/>
              <a:gd name="connsiteX24394" fmla="*/ 2649217 w 8079933"/>
              <a:gd name="connsiteY24394" fmla="*/ 831843 h 4687251"/>
              <a:gd name="connsiteX24395" fmla="*/ 2647480 w 8079933"/>
              <a:gd name="connsiteY24395" fmla="*/ 834658 h 4687251"/>
              <a:gd name="connsiteX24396" fmla="*/ 2642597 w 8079933"/>
              <a:gd name="connsiteY24396" fmla="*/ 839746 h 4687251"/>
              <a:gd name="connsiteX24397" fmla="*/ 2637931 w 8079933"/>
              <a:gd name="connsiteY24397" fmla="*/ 839746 h 4687251"/>
              <a:gd name="connsiteX24398" fmla="*/ 2635218 w 8079933"/>
              <a:gd name="connsiteY24398" fmla="*/ 842020 h 4687251"/>
              <a:gd name="connsiteX24399" fmla="*/ 2634567 w 8079933"/>
              <a:gd name="connsiteY24399" fmla="*/ 846026 h 4687251"/>
              <a:gd name="connsiteX24400" fmla="*/ 2635652 w 8079933"/>
              <a:gd name="connsiteY24400" fmla="*/ 846892 h 4687251"/>
              <a:gd name="connsiteX24401" fmla="*/ 2638799 w 8079933"/>
              <a:gd name="connsiteY24401" fmla="*/ 843644 h 4687251"/>
              <a:gd name="connsiteX24402" fmla="*/ 2643574 w 8079933"/>
              <a:gd name="connsiteY24402" fmla="*/ 843103 h 4687251"/>
              <a:gd name="connsiteX24403" fmla="*/ 2647806 w 8079933"/>
              <a:gd name="connsiteY24403" fmla="*/ 839421 h 4687251"/>
              <a:gd name="connsiteX24404" fmla="*/ 2651170 w 8079933"/>
              <a:gd name="connsiteY24404" fmla="*/ 838339 h 4687251"/>
              <a:gd name="connsiteX24405" fmla="*/ 2653449 w 8079933"/>
              <a:gd name="connsiteY24405" fmla="*/ 836390 h 4687251"/>
              <a:gd name="connsiteX24406" fmla="*/ 2656813 w 8079933"/>
              <a:gd name="connsiteY24406" fmla="*/ 834225 h 4687251"/>
              <a:gd name="connsiteX24407" fmla="*/ 2660068 w 8079933"/>
              <a:gd name="connsiteY24407" fmla="*/ 834658 h 4687251"/>
              <a:gd name="connsiteX24408" fmla="*/ 2662131 w 8079933"/>
              <a:gd name="connsiteY24408" fmla="*/ 838988 h 4687251"/>
              <a:gd name="connsiteX24409" fmla="*/ 2667230 w 8079933"/>
              <a:gd name="connsiteY24409" fmla="*/ 844727 h 4687251"/>
              <a:gd name="connsiteX24410" fmla="*/ 2669835 w 8079933"/>
              <a:gd name="connsiteY24410" fmla="*/ 848841 h 4687251"/>
              <a:gd name="connsiteX24411" fmla="*/ 2673525 w 8079933"/>
              <a:gd name="connsiteY24411" fmla="*/ 850682 h 4687251"/>
              <a:gd name="connsiteX24412" fmla="*/ 2674393 w 8079933"/>
              <a:gd name="connsiteY24412" fmla="*/ 853280 h 4687251"/>
              <a:gd name="connsiteX24413" fmla="*/ 2673742 w 8079933"/>
              <a:gd name="connsiteY24413" fmla="*/ 857178 h 4687251"/>
              <a:gd name="connsiteX24414" fmla="*/ 2669075 w 8079933"/>
              <a:gd name="connsiteY24414" fmla="*/ 861617 h 4687251"/>
              <a:gd name="connsiteX24415" fmla="*/ 2667230 w 8079933"/>
              <a:gd name="connsiteY24415" fmla="*/ 860535 h 4687251"/>
              <a:gd name="connsiteX24416" fmla="*/ 2667665 w 8079933"/>
              <a:gd name="connsiteY24416" fmla="*/ 855878 h 4687251"/>
              <a:gd name="connsiteX24417" fmla="*/ 2664734 w 8079933"/>
              <a:gd name="connsiteY24417" fmla="*/ 856637 h 4687251"/>
              <a:gd name="connsiteX24418" fmla="*/ 2663975 w 8079933"/>
              <a:gd name="connsiteY24418" fmla="*/ 858910 h 4687251"/>
              <a:gd name="connsiteX24419" fmla="*/ 2661804 w 8079933"/>
              <a:gd name="connsiteY24419" fmla="*/ 861509 h 4687251"/>
              <a:gd name="connsiteX24420" fmla="*/ 2658766 w 8079933"/>
              <a:gd name="connsiteY24420" fmla="*/ 864324 h 4687251"/>
              <a:gd name="connsiteX24421" fmla="*/ 2651279 w 8079933"/>
              <a:gd name="connsiteY24421" fmla="*/ 864865 h 4687251"/>
              <a:gd name="connsiteX24422" fmla="*/ 2647915 w 8079933"/>
              <a:gd name="connsiteY24422" fmla="*/ 866381 h 4687251"/>
              <a:gd name="connsiteX24423" fmla="*/ 2642923 w 8079933"/>
              <a:gd name="connsiteY24423" fmla="*/ 866164 h 4687251"/>
              <a:gd name="connsiteX24424" fmla="*/ 2636520 w 8079933"/>
              <a:gd name="connsiteY24424" fmla="*/ 870387 h 4687251"/>
              <a:gd name="connsiteX24425" fmla="*/ 2632614 w 8079933"/>
              <a:gd name="connsiteY24425" fmla="*/ 870712 h 4687251"/>
              <a:gd name="connsiteX24426" fmla="*/ 2625994 w 8079933"/>
              <a:gd name="connsiteY24426" fmla="*/ 874501 h 4687251"/>
              <a:gd name="connsiteX24427" fmla="*/ 2630227 w 8079933"/>
              <a:gd name="connsiteY24427" fmla="*/ 873960 h 4687251"/>
              <a:gd name="connsiteX24428" fmla="*/ 2632505 w 8079933"/>
              <a:gd name="connsiteY24428" fmla="*/ 875151 h 4687251"/>
              <a:gd name="connsiteX24429" fmla="*/ 2631203 w 8079933"/>
              <a:gd name="connsiteY24429" fmla="*/ 878290 h 4687251"/>
              <a:gd name="connsiteX24430" fmla="*/ 2625234 w 8079933"/>
              <a:gd name="connsiteY24430" fmla="*/ 879590 h 4687251"/>
              <a:gd name="connsiteX24431" fmla="*/ 2623498 w 8079933"/>
              <a:gd name="connsiteY24431" fmla="*/ 881755 h 4687251"/>
              <a:gd name="connsiteX24432" fmla="*/ 2631529 w 8079933"/>
              <a:gd name="connsiteY24432" fmla="*/ 880672 h 4687251"/>
              <a:gd name="connsiteX24433" fmla="*/ 2636195 w 8079933"/>
              <a:gd name="connsiteY24433" fmla="*/ 875800 h 4687251"/>
              <a:gd name="connsiteX24434" fmla="*/ 2643140 w 8079933"/>
              <a:gd name="connsiteY24434" fmla="*/ 869737 h 4687251"/>
              <a:gd name="connsiteX24435" fmla="*/ 2648240 w 8079933"/>
              <a:gd name="connsiteY24435" fmla="*/ 869304 h 4687251"/>
              <a:gd name="connsiteX24436" fmla="*/ 2651821 w 8079933"/>
              <a:gd name="connsiteY24436" fmla="*/ 870387 h 4687251"/>
              <a:gd name="connsiteX24437" fmla="*/ 2655077 w 8079933"/>
              <a:gd name="connsiteY24437" fmla="*/ 869088 h 4687251"/>
              <a:gd name="connsiteX24438" fmla="*/ 2658115 w 8079933"/>
              <a:gd name="connsiteY24438" fmla="*/ 868980 h 4687251"/>
              <a:gd name="connsiteX24439" fmla="*/ 2658332 w 8079933"/>
              <a:gd name="connsiteY24439" fmla="*/ 870712 h 4687251"/>
              <a:gd name="connsiteX24440" fmla="*/ 2657898 w 8079933"/>
              <a:gd name="connsiteY24440" fmla="*/ 875692 h 4687251"/>
              <a:gd name="connsiteX24441" fmla="*/ 2654751 w 8079933"/>
              <a:gd name="connsiteY24441" fmla="*/ 877857 h 4687251"/>
              <a:gd name="connsiteX24442" fmla="*/ 2650627 w 8079933"/>
              <a:gd name="connsiteY24442" fmla="*/ 880456 h 4687251"/>
              <a:gd name="connsiteX24443" fmla="*/ 2648023 w 8079933"/>
              <a:gd name="connsiteY24443" fmla="*/ 880348 h 4687251"/>
              <a:gd name="connsiteX24444" fmla="*/ 2644442 w 8079933"/>
              <a:gd name="connsiteY24444" fmla="*/ 881972 h 4687251"/>
              <a:gd name="connsiteX24445" fmla="*/ 2641729 w 8079933"/>
              <a:gd name="connsiteY24445" fmla="*/ 886194 h 4687251"/>
              <a:gd name="connsiteX24446" fmla="*/ 2637931 w 8079933"/>
              <a:gd name="connsiteY24446" fmla="*/ 887818 h 4687251"/>
              <a:gd name="connsiteX24447" fmla="*/ 2634242 w 8079933"/>
              <a:gd name="connsiteY24447" fmla="*/ 885870 h 4687251"/>
              <a:gd name="connsiteX24448" fmla="*/ 2631637 w 8079933"/>
              <a:gd name="connsiteY24448" fmla="*/ 886953 h 4687251"/>
              <a:gd name="connsiteX24449" fmla="*/ 2627622 w 8079933"/>
              <a:gd name="connsiteY24449" fmla="*/ 890850 h 4687251"/>
              <a:gd name="connsiteX24450" fmla="*/ 2630118 w 8079933"/>
              <a:gd name="connsiteY24450" fmla="*/ 890309 h 4687251"/>
              <a:gd name="connsiteX24451" fmla="*/ 2634133 w 8079933"/>
              <a:gd name="connsiteY24451" fmla="*/ 888793 h 4687251"/>
              <a:gd name="connsiteX24452" fmla="*/ 2637388 w 8079933"/>
              <a:gd name="connsiteY24452" fmla="*/ 889659 h 4687251"/>
              <a:gd name="connsiteX24453" fmla="*/ 2639668 w 8079933"/>
              <a:gd name="connsiteY24453" fmla="*/ 891067 h 4687251"/>
              <a:gd name="connsiteX24454" fmla="*/ 2644442 w 8079933"/>
              <a:gd name="connsiteY24454" fmla="*/ 887169 h 4687251"/>
              <a:gd name="connsiteX24455" fmla="*/ 2647480 w 8079933"/>
              <a:gd name="connsiteY24455" fmla="*/ 882838 h 4687251"/>
              <a:gd name="connsiteX24456" fmla="*/ 2651604 w 8079933"/>
              <a:gd name="connsiteY24456" fmla="*/ 881431 h 4687251"/>
              <a:gd name="connsiteX24457" fmla="*/ 2654643 w 8079933"/>
              <a:gd name="connsiteY24457" fmla="*/ 882621 h 4687251"/>
              <a:gd name="connsiteX24458" fmla="*/ 2658875 w 8079933"/>
              <a:gd name="connsiteY24458" fmla="*/ 883488 h 4687251"/>
              <a:gd name="connsiteX24459" fmla="*/ 2661913 w 8079933"/>
              <a:gd name="connsiteY24459" fmla="*/ 879915 h 4687251"/>
              <a:gd name="connsiteX24460" fmla="*/ 2666471 w 8079933"/>
              <a:gd name="connsiteY24460" fmla="*/ 877857 h 4687251"/>
              <a:gd name="connsiteX24461" fmla="*/ 2668207 w 8079933"/>
              <a:gd name="connsiteY24461" fmla="*/ 876450 h 4687251"/>
              <a:gd name="connsiteX24462" fmla="*/ 2668207 w 8079933"/>
              <a:gd name="connsiteY24462" fmla="*/ 873635 h 4687251"/>
              <a:gd name="connsiteX24463" fmla="*/ 2666579 w 8079933"/>
              <a:gd name="connsiteY24463" fmla="*/ 872227 h 4687251"/>
              <a:gd name="connsiteX24464" fmla="*/ 2669292 w 8079933"/>
              <a:gd name="connsiteY24464" fmla="*/ 868329 h 4687251"/>
              <a:gd name="connsiteX24465" fmla="*/ 2669401 w 8079933"/>
              <a:gd name="connsiteY24465" fmla="*/ 865839 h 4687251"/>
              <a:gd name="connsiteX24466" fmla="*/ 2672548 w 8079933"/>
              <a:gd name="connsiteY24466" fmla="*/ 864974 h 4687251"/>
              <a:gd name="connsiteX24467" fmla="*/ 2673633 w 8079933"/>
              <a:gd name="connsiteY24467" fmla="*/ 865948 h 4687251"/>
              <a:gd name="connsiteX24468" fmla="*/ 2675478 w 8079933"/>
              <a:gd name="connsiteY24468" fmla="*/ 865298 h 4687251"/>
              <a:gd name="connsiteX24469" fmla="*/ 2676888 w 8079933"/>
              <a:gd name="connsiteY24469" fmla="*/ 870278 h 4687251"/>
              <a:gd name="connsiteX24470" fmla="*/ 2681121 w 8079933"/>
              <a:gd name="connsiteY24470" fmla="*/ 879698 h 4687251"/>
              <a:gd name="connsiteX24471" fmla="*/ 2682314 w 8079933"/>
              <a:gd name="connsiteY24471" fmla="*/ 885437 h 4687251"/>
              <a:gd name="connsiteX24472" fmla="*/ 2684919 w 8079933"/>
              <a:gd name="connsiteY24472" fmla="*/ 888901 h 4687251"/>
              <a:gd name="connsiteX24473" fmla="*/ 2684051 w 8079933"/>
              <a:gd name="connsiteY24473" fmla="*/ 892582 h 4687251"/>
              <a:gd name="connsiteX24474" fmla="*/ 2681989 w 8079933"/>
              <a:gd name="connsiteY24474" fmla="*/ 895831 h 4687251"/>
              <a:gd name="connsiteX24475" fmla="*/ 2676888 w 8079933"/>
              <a:gd name="connsiteY24475" fmla="*/ 895614 h 4687251"/>
              <a:gd name="connsiteX24476" fmla="*/ 2673742 w 8079933"/>
              <a:gd name="connsiteY24476" fmla="*/ 893340 h 4687251"/>
              <a:gd name="connsiteX24477" fmla="*/ 2667230 w 8079933"/>
              <a:gd name="connsiteY24477" fmla="*/ 892799 h 4687251"/>
              <a:gd name="connsiteX24478" fmla="*/ 2663758 w 8079933"/>
              <a:gd name="connsiteY24478" fmla="*/ 894639 h 4687251"/>
              <a:gd name="connsiteX24479" fmla="*/ 2660068 w 8079933"/>
              <a:gd name="connsiteY24479" fmla="*/ 897130 h 4687251"/>
              <a:gd name="connsiteX24480" fmla="*/ 2657138 w 8079933"/>
              <a:gd name="connsiteY24480" fmla="*/ 897238 h 4687251"/>
              <a:gd name="connsiteX24481" fmla="*/ 2655728 w 8079933"/>
              <a:gd name="connsiteY24481" fmla="*/ 896047 h 4687251"/>
              <a:gd name="connsiteX24482" fmla="*/ 2652038 w 8079933"/>
              <a:gd name="connsiteY24482" fmla="*/ 896263 h 4687251"/>
              <a:gd name="connsiteX24483" fmla="*/ 2649108 w 8079933"/>
              <a:gd name="connsiteY24483" fmla="*/ 899079 h 4687251"/>
              <a:gd name="connsiteX24484" fmla="*/ 2641838 w 8079933"/>
              <a:gd name="connsiteY24484" fmla="*/ 900161 h 4687251"/>
              <a:gd name="connsiteX24485" fmla="*/ 2644984 w 8079933"/>
              <a:gd name="connsiteY24485" fmla="*/ 901353 h 4687251"/>
              <a:gd name="connsiteX24486" fmla="*/ 2653232 w 8079933"/>
              <a:gd name="connsiteY24486" fmla="*/ 900161 h 4687251"/>
              <a:gd name="connsiteX24487" fmla="*/ 2657464 w 8079933"/>
              <a:gd name="connsiteY24487" fmla="*/ 901461 h 4687251"/>
              <a:gd name="connsiteX24488" fmla="*/ 2663867 w 8079933"/>
              <a:gd name="connsiteY24488" fmla="*/ 907416 h 4687251"/>
              <a:gd name="connsiteX24489" fmla="*/ 2667122 w 8079933"/>
              <a:gd name="connsiteY24489" fmla="*/ 909256 h 4687251"/>
              <a:gd name="connsiteX24490" fmla="*/ 2669618 w 8079933"/>
              <a:gd name="connsiteY24490" fmla="*/ 907957 h 4687251"/>
              <a:gd name="connsiteX24491" fmla="*/ 2672331 w 8079933"/>
              <a:gd name="connsiteY24491" fmla="*/ 907199 h 4687251"/>
              <a:gd name="connsiteX24492" fmla="*/ 2674610 w 8079933"/>
              <a:gd name="connsiteY24492" fmla="*/ 908823 h 4687251"/>
              <a:gd name="connsiteX24493" fmla="*/ 2678408 w 8079933"/>
              <a:gd name="connsiteY24493" fmla="*/ 911205 h 4687251"/>
              <a:gd name="connsiteX24494" fmla="*/ 2683182 w 8079933"/>
              <a:gd name="connsiteY24494" fmla="*/ 913045 h 4687251"/>
              <a:gd name="connsiteX24495" fmla="*/ 2683725 w 8079933"/>
              <a:gd name="connsiteY24495" fmla="*/ 916402 h 4687251"/>
              <a:gd name="connsiteX24496" fmla="*/ 2686004 w 8079933"/>
              <a:gd name="connsiteY24496" fmla="*/ 920191 h 4687251"/>
              <a:gd name="connsiteX24497" fmla="*/ 2686221 w 8079933"/>
              <a:gd name="connsiteY24497" fmla="*/ 925280 h 4687251"/>
              <a:gd name="connsiteX24498" fmla="*/ 2684376 w 8079933"/>
              <a:gd name="connsiteY24498" fmla="*/ 926796 h 4687251"/>
              <a:gd name="connsiteX24499" fmla="*/ 2681121 w 8079933"/>
              <a:gd name="connsiteY24499" fmla="*/ 926688 h 4687251"/>
              <a:gd name="connsiteX24500" fmla="*/ 2678842 w 8079933"/>
              <a:gd name="connsiteY24500" fmla="*/ 922898 h 4687251"/>
              <a:gd name="connsiteX24501" fmla="*/ 2677214 w 8079933"/>
              <a:gd name="connsiteY24501" fmla="*/ 923223 h 4687251"/>
              <a:gd name="connsiteX24502" fmla="*/ 2675152 w 8079933"/>
              <a:gd name="connsiteY24502" fmla="*/ 925713 h 4687251"/>
              <a:gd name="connsiteX24503" fmla="*/ 2672982 w 8079933"/>
              <a:gd name="connsiteY24503" fmla="*/ 924630 h 4687251"/>
              <a:gd name="connsiteX24504" fmla="*/ 2671463 w 8079933"/>
              <a:gd name="connsiteY24504" fmla="*/ 922140 h 4687251"/>
              <a:gd name="connsiteX24505" fmla="*/ 2668967 w 8079933"/>
              <a:gd name="connsiteY24505" fmla="*/ 923440 h 4687251"/>
              <a:gd name="connsiteX24506" fmla="*/ 2666037 w 8079933"/>
              <a:gd name="connsiteY24506" fmla="*/ 922681 h 4687251"/>
              <a:gd name="connsiteX24507" fmla="*/ 2660503 w 8079933"/>
              <a:gd name="connsiteY24507" fmla="*/ 916510 h 4687251"/>
              <a:gd name="connsiteX24508" fmla="*/ 2658224 w 8079933"/>
              <a:gd name="connsiteY24508" fmla="*/ 915752 h 4687251"/>
              <a:gd name="connsiteX24509" fmla="*/ 2655077 w 8079933"/>
              <a:gd name="connsiteY24509" fmla="*/ 916185 h 4687251"/>
              <a:gd name="connsiteX24510" fmla="*/ 2651170 w 8079933"/>
              <a:gd name="connsiteY24510" fmla="*/ 916618 h 4687251"/>
              <a:gd name="connsiteX24511" fmla="*/ 2647589 w 8079933"/>
              <a:gd name="connsiteY24511" fmla="*/ 914886 h 4687251"/>
              <a:gd name="connsiteX24512" fmla="*/ 2649000 w 8079933"/>
              <a:gd name="connsiteY24512" fmla="*/ 916943 h 4687251"/>
              <a:gd name="connsiteX24513" fmla="*/ 2653557 w 8079933"/>
              <a:gd name="connsiteY24513" fmla="*/ 918351 h 4687251"/>
              <a:gd name="connsiteX24514" fmla="*/ 2657247 w 8079933"/>
              <a:gd name="connsiteY24514" fmla="*/ 919108 h 4687251"/>
              <a:gd name="connsiteX24515" fmla="*/ 2656053 w 8079933"/>
              <a:gd name="connsiteY24515" fmla="*/ 921166 h 4687251"/>
              <a:gd name="connsiteX24516" fmla="*/ 2650410 w 8079933"/>
              <a:gd name="connsiteY24516" fmla="*/ 921599 h 4687251"/>
              <a:gd name="connsiteX24517" fmla="*/ 2648023 w 8079933"/>
              <a:gd name="connsiteY24517" fmla="*/ 922790 h 4687251"/>
              <a:gd name="connsiteX24518" fmla="*/ 2642814 w 8079933"/>
              <a:gd name="connsiteY24518" fmla="*/ 922790 h 4687251"/>
              <a:gd name="connsiteX24519" fmla="*/ 2639016 w 8079933"/>
              <a:gd name="connsiteY24519" fmla="*/ 925280 h 4687251"/>
              <a:gd name="connsiteX24520" fmla="*/ 2639668 w 8079933"/>
              <a:gd name="connsiteY24520" fmla="*/ 928312 h 4687251"/>
              <a:gd name="connsiteX24521" fmla="*/ 2641946 w 8079933"/>
              <a:gd name="connsiteY24521" fmla="*/ 927879 h 4687251"/>
              <a:gd name="connsiteX24522" fmla="*/ 2643031 w 8079933"/>
              <a:gd name="connsiteY24522" fmla="*/ 925822 h 4687251"/>
              <a:gd name="connsiteX24523" fmla="*/ 2648891 w 8079933"/>
              <a:gd name="connsiteY24523" fmla="*/ 925930 h 4687251"/>
              <a:gd name="connsiteX24524" fmla="*/ 2652581 w 8079933"/>
              <a:gd name="connsiteY24524" fmla="*/ 923873 h 4687251"/>
              <a:gd name="connsiteX24525" fmla="*/ 2656162 w 8079933"/>
              <a:gd name="connsiteY24525" fmla="*/ 923223 h 4687251"/>
              <a:gd name="connsiteX24526" fmla="*/ 2658549 w 8079933"/>
              <a:gd name="connsiteY24526" fmla="*/ 926579 h 4687251"/>
              <a:gd name="connsiteX24527" fmla="*/ 2658658 w 8079933"/>
              <a:gd name="connsiteY24527" fmla="*/ 928312 h 4687251"/>
              <a:gd name="connsiteX24528" fmla="*/ 2661479 w 8079933"/>
              <a:gd name="connsiteY24528" fmla="*/ 929611 h 4687251"/>
              <a:gd name="connsiteX24529" fmla="*/ 2661913 w 8079933"/>
              <a:gd name="connsiteY24529" fmla="*/ 931235 h 4687251"/>
              <a:gd name="connsiteX24530" fmla="*/ 2660828 w 8079933"/>
              <a:gd name="connsiteY24530" fmla="*/ 931777 h 4687251"/>
              <a:gd name="connsiteX24531" fmla="*/ 2656379 w 8079933"/>
              <a:gd name="connsiteY24531" fmla="*/ 931777 h 4687251"/>
              <a:gd name="connsiteX24532" fmla="*/ 2654208 w 8079933"/>
              <a:gd name="connsiteY24532" fmla="*/ 933400 h 4687251"/>
              <a:gd name="connsiteX24533" fmla="*/ 2652255 w 8079933"/>
              <a:gd name="connsiteY24533" fmla="*/ 932101 h 4687251"/>
              <a:gd name="connsiteX24534" fmla="*/ 2651062 w 8079933"/>
              <a:gd name="connsiteY24534" fmla="*/ 930369 h 4687251"/>
              <a:gd name="connsiteX24535" fmla="*/ 2648457 w 8079933"/>
              <a:gd name="connsiteY24535" fmla="*/ 930585 h 4687251"/>
              <a:gd name="connsiteX24536" fmla="*/ 2647264 w 8079933"/>
              <a:gd name="connsiteY24536" fmla="*/ 931560 h 4687251"/>
              <a:gd name="connsiteX24537" fmla="*/ 2650736 w 8079933"/>
              <a:gd name="connsiteY24537" fmla="*/ 934158 h 4687251"/>
              <a:gd name="connsiteX24538" fmla="*/ 2654100 w 8079933"/>
              <a:gd name="connsiteY24538" fmla="*/ 935566 h 4687251"/>
              <a:gd name="connsiteX24539" fmla="*/ 2655945 w 8079933"/>
              <a:gd name="connsiteY24539" fmla="*/ 937623 h 4687251"/>
              <a:gd name="connsiteX24540" fmla="*/ 2655836 w 8079933"/>
              <a:gd name="connsiteY24540" fmla="*/ 940546 h 4687251"/>
              <a:gd name="connsiteX24541" fmla="*/ 2657356 w 8079933"/>
              <a:gd name="connsiteY24541" fmla="*/ 942603 h 4687251"/>
              <a:gd name="connsiteX24542" fmla="*/ 2654860 w 8079933"/>
              <a:gd name="connsiteY24542" fmla="*/ 942928 h 4687251"/>
              <a:gd name="connsiteX24543" fmla="*/ 2645744 w 8079933"/>
              <a:gd name="connsiteY24543" fmla="*/ 940438 h 4687251"/>
              <a:gd name="connsiteX24544" fmla="*/ 2640101 w 8079933"/>
              <a:gd name="connsiteY24544" fmla="*/ 940222 h 4687251"/>
              <a:gd name="connsiteX24545" fmla="*/ 2631312 w 8079933"/>
              <a:gd name="connsiteY24545" fmla="*/ 936973 h 4687251"/>
              <a:gd name="connsiteX24546" fmla="*/ 2627622 w 8079933"/>
              <a:gd name="connsiteY24546" fmla="*/ 937514 h 4687251"/>
              <a:gd name="connsiteX24547" fmla="*/ 2628815 w 8079933"/>
              <a:gd name="connsiteY24547" fmla="*/ 939030 h 4687251"/>
              <a:gd name="connsiteX24548" fmla="*/ 2634025 w 8079933"/>
              <a:gd name="connsiteY24548" fmla="*/ 940438 h 4687251"/>
              <a:gd name="connsiteX24549" fmla="*/ 2646287 w 8079933"/>
              <a:gd name="connsiteY24549" fmla="*/ 946393 h 4687251"/>
              <a:gd name="connsiteX24550" fmla="*/ 2646938 w 8079933"/>
              <a:gd name="connsiteY24550" fmla="*/ 948883 h 4687251"/>
              <a:gd name="connsiteX24551" fmla="*/ 2644876 w 8079933"/>
              <a:gd name="connsiteY24551" fmla="*/ 949316 h 4687251"/>
              <a:gd name="connsiteX24552" fmla="*/ 2638148 w 8079933"/>
              <a:gd name="connsiteY24552" fmla="*/ 945202 h 4687251"/>
              <a:gd name="connsiteX24553" fmla="*/ 2636086 w 8079933"/>
              <a:gd name="connsiteY24553" fmla="*/ 945852 h 4687251"/>
              <a:gd name="connsiteX24554" fmla="*/ 2632831 w 8079933"/>
              <a:gd name="connsiteY24554" fmla="*/ 949532 h 4687251"/>
              <a:gd name="connsiteX24555" fmla="*/ 2635978 w 8079933"/>
              <a:gd name="connsiteY24555" fmla="*/ 948991 h 4687251"/>
              <a:gd name="connsiteX24556" fmla="*/ 2638040 w 8079933"/>
              <a:gd name="connsiteY24556" fmla="*/ 950399 h 4687251"/>
              <a:gd name="connsiteX24557" fmla="*/ 2640536 w 8079933"/>
              <a:gd name="connsiteY24557" fmla="*/ 952564 h 4687251"/>
              <a:gd name="connsiteX24558" fmla="*/ 2642163 w 8079933"/>
              <a:gd name="connsiteY24558" fmla="*/ 951698 h 4687251"/>
              <a:gd name="connsiteX24559" fmla="*/ 2644225 w 8079933"/>
              <a:gd name="connsiteY24559" fmla="*/ 952781 h 4687251"/>
              <a:gd name="connsiteX24560" fmla="*/ 2644551 w 8079933"/>
              <a:gd name="connsiteY24560" fmla="*/ 955921 h 4687251"/>
              <a:gd name="connsiteX24561" fmla="*/ 2646070 w 8079933"/>
              <a:gd name="connsiteY24561" fmla="*/ 958411 h 4687251"/>
              <a:gd name="connsiteX24562" fmla="*/ 2647806 w 8079933"/>
              <a:gd name="connsiteY24562" fmla="*/ 957220 h 4687251"/>
              <a:gd name="connsiteX24563" fmla="*/ 2648349 w 8079933"/>
              <a:gd name="connsiteY24563" fmla="*/ 954622 h 4687251"/>
              <a:gd name="connsiteX24564" fmla="*/ 2652255 w 8079933"/>
              <a:gd name="connsiteY24564" fmla="*/ 954622 h 4687251"/>
              <a:gd name="connsiteX24565" fmla="*/ 2651930 w 8079933"/>
              <a:gd name="connsiteY24565" fmla="*/ 957112 h 4687251"/>
              <a:gd name="connsiteX24566" fmla="*/ 2650410 w 8079933"/>
              <a:gd name="connsiteY24566" fmla="*/ 958952 h 4687251"/>
              <a:gd name="connsiteX24567" fmla="*/ 2650410 w 8079933"/>
              <a:gd name="connsiteY24567" fmla="*/ 960901 h 4687251"/>
              <a:gd name="connsiteX24568" fmla="*/ 2653015 w 8079933"/>
              <a:gd name="connsiteY24568" fmla="*/ 960685 h 4687251"/>
              <a:gd name="connsiteX24569" fmla="*/ 2653123 w 8079933"/>
              <a:gd name="connsiteY24569" fmla="*/ 956354 h 4687251"/>
              <a:gd name="connsiteX24570" fmla="*/ 2656379 w 8079933"/>
              <a:gd name="connsiteY24570" fmla="*/ 956354 h 4687251"/>
              <a:gd name="connsiteX24571" fmla="*/ 2661045 w 8079933"/>
              <a:gd name="connsiteY24571" fmla="*/ 958844 h 4687251"/>
              <a:gd name="connsiteX24572" fmla="*/ 2665386 w 8079933"/>
              <a:gd name="connsiteY24572" fmla="*/ 960144 h 4687251"/>
              <a:gd name="connsiteX24573" fmla="*/ 2669075 w 8079933"/>
              <a:gd name="connsiteY24573" fmla="*/ 960035 h 4687251"/>
              <a:gd name="connsiteX24574" fmla="*/ 2667447 w 8079933"/>
              <a:gd name="connsiteY24574" fmla="*/ 963824 h 4687251"/>
              <a:gd name="connsiteX24575" fmla="*/ 2666797 w 8079933"/>
              <a:gd name="connsiteY24575" fmla="*/ 965881 h 4687251"/>
              <a:gd name="connsiteX24576" fmla="*/ 2662673 w 8079933"/>
              <a:gd name="connsiteY24576" fmla="*/ 964474 h 4687251"/>
              <a:gd name="connsiteX24577" fmla="*/ 2660068 w 8079933"/>
              <a:gd name="connsiteY24577" fmla="*/ 962742 h 4687251"/>
              <a:gd name="connsiteX24578" fmla="*/ 2654751 w 8079933"/>
              <a:gd name="connsiteY24578" fmla="*/ 963608 h 4687251"/>
              <a:gd name="connsiteX24579" fmla="*/ 2647480 w 8079933"/>
              <a:gd name="connsiteY24579" fmla="*/ 967073 h 4687251"/>
              <a:gd name="connsiteX24580" fmla="*/ 2647264 w 8079933"/>
              <a:gd name="connsiteY24580" fmla="*/ 970429 h 4687251"/>
              <a:gd name="connsiteX24581" fmla="*/ 2650410 w 8079933"/>
              <a:gd name="connsiteY24581" fmla="*/ 967181 h 4687251"/>
              <a:gd name="connsiteX24582" fmla="*/ 2656053 w 8079933"/>
              <a:gd name="connsiteY24582" fmla="*/ 967181 h 4687251"/>
              <a:gd name="connsiteX24583" fmla="*/ 2660286 w 8079933"/>
              <a:gd name="connsiteY24583" fmla="*/ 968372 h 4687251"/>
              <a:gd name="connsiteX24584" fmla="*/ 2656379 w 8079933"/>
              <a:gd name="connsiteY24584" fmla="*/ 969130 h 4687251"/>
              <a:gd name="connsiteX24585" fmla="*/ 2655077 w 8079933"/>
              <a:gd name="connsiteY24585" fmla="*/ 972053 h 4687251"/>
              <a:gd name="connsiteX24586" fmla="*/ 2658006 w 8079933"/>
              <a:gd name="connsiteY24586" fmla="*/ 970646 h 4687251"/>
              <a:gd name="connsiteX24587" fmla="*/ 2663867 w 8079933"/>
              <a:gd name="connsiteY24587" fmla="*/ 970862 h 4687251"/>
              <a:gd name="connsiteX24588" fmla="*/ 2665929 w 8079933"/>
              <a:gd name="connsiteY24588" fmla="*/ 972919 h 4687251"/>
              <a:gd name="connsiteX24589" fmla="*/ 2664734 w 8079933"/>
              <a:gd name="connsiteY24589" fmla="*/ 974219 h 4687251"/>
              <a:gd name="connsiteX24590" fmla="*/ 2668641 w 8079933"/>
              <a:gd name="connsiteY24590" fmla="*/ 975842 h 4687251"/>
              <a:gd name="connsiteX24591" fmla="*/ 2670377 w 8079933"/>
              <a:gd name="connsiteY24591" fmla="*/ 978766 h 4687251"/>
              <a:gd name="connsiteX24592" fmla="*/ 2669075 w 8079933"/>
              <a:gd name="connsiteY24592" fmla="*/ 981364 h 4687251"/>
              <a:gd name="connsiteX24593" fmla="*/ 2666797 w 8079933"/>
              <a:gd name="connsiteY24593" fmla="*/ 986670 h 4687251"/>
              <a:gd name="connsiteX24594" fmla="*/ 2667339 w 8079933"/>
              <a:gd name="connsiteY24594" fmla="*/ 989593 h 4687251"/>
              <a:gd name="connsiteX24595" fmla="*/ 2668859 w 8079933"/>
              <a:gd name="connsiteY24595" fmla="*/ 988185 h 4687251"/>
              <a:gd name="connsiteX24596" fmla="*/ 2669401 w 8079933"/>
              <a:gd name="connsiteY24596" fmla="*/ 984937 h 4687251"/>
              <a:gd name="connsiteX24597" fmla="*/ 2672440 w 8079933"/>
              <a:gd name="connsiteY24597" fmla="*/ 981689 h 4687251"/>
              <a:gd name="connsiteX24598" fmla="*/ 2675695 w 8079933"/>
              <a:gd name="connsiteY24598" fmla="*/ 981364 h 4687251"/>
              <a:gd name="connsiteX24599" fmla="*/ 2676455 w 8079933"/>
              <a:gd name="connsiteY24599" fmla="*/ 984937 h 4687251"/>
              <a:gd name="connsiteX24600" fmla="*/ 2674718 w 8079933"/>
              <a:gd name="connsiteY24600" fmla="*/ 987536 h 4687251"/>
              <a:gd name="connsiteX24601" fmla="*/ 2670269 w 8079933"/>
              <a:gd name="connsiteY24601" fmla="*/ 995007 h 4687251"/>
              <a:gd name="connsiteX24602" fmla="*/ 2668424 w 8079933"/>
              <a:gd name="connsiteY24602" fmla="*/ 999229 h 4687251"/>
              <a:gd name="connsiteX24603" fmla="*/ 2668424 w 8079933"/>
              <a:gd name="connsiteY24603" fmla="*/ 1002585 h 4687251"/>
              <a:gd name="connsiteX24604" fmla="*/ 2670595 w 8079933"/>
              <a:gd name="connsiteY24604" fmla="*/ 1001286 h 4687251"/>
              <a:gd name="connsiteX24605" fmla="*/ 2673850 w 8079933"/>
              <a:gd name="connsiteY24605" fmla="*/ 995548 h 4687251"/>
              <a:gd name="connsiteX24606" fmla="*/ 2673850 w 8079933"/>
              <a:gd name="connsiteY24606" fmla="*/ 992841 h 4687251"/>
              <a:gd name="connsiteX24607" fmla="*/ 2676129 w 8079933"/>
              <a:gd name="connsiteY24607" fmla="*/ 989809 h 4687251"/>
              <a:gd name="connsiteX24608" fmla="*/ 2680469 w 8079933"/>
              <a:gd name="connsiteY24608" fmla="*/ 987752 h 4687251"/>
              <a:gd name="connsiteX24609" fmla="*/ 2680144 w 8079933"/>
              <a:gd name="connsiteY24609" fmla="*/ 986562 h 4687251"/>
              <a:gd name="connsiteX24610" fmla="*/ 2681772 w 8079933"/>
              <a:gd name="connsiteY24610" fmla="*/ 983421 h 4687251"/>
              <a:gd name="connsiteX24611" fmla="*/ 2685136 w 8079933"/>
              <a:gd name="connsiteY24611" fmla="*/ 980931 h 4687251"/>
              <a:gd name="connsiteX24612" fmla="*/ 2686329 w 8079933"/>
              <a:gd name="connsiteY24612" fmla="*/ 982014 h 4687251"/>
              <a:gd name="connsiteX24613" fmla="*/ 2685027 w 8079933"/>
              <a:gd name="connsiteY24613" fmla="*/ 985370 h 4687251"/>
              <a:gd name="connsiteX24614" fmla="*/ 2680795 w 8079933"/>
              <a:gd name="connsiteY24614" fmla="*/ 991109 h 4687251"/>
              <a:gd name="connsiteX24615" fmla="*/ 2678733 w 8079933"/>
              <a:gd name="connsiteY24615" fmla="*/ 994465 h 4687251"/>
              <a:gd name="connsiteX24616" fmla="*/ 2678625 w 8079933"/>
              <a:gd name="connsiteY24616" fmla="*/ 998796 h 4687251"/>
              <a:gd name="connsiteX24617" fmla="*/ 2679059 w 8079933"/>
              <a:gd name="connsiteY24617" fmla="*/ 1003127 h 4687251"/>
              <a:gd name="connsiteX24618" fmla="*/ 2681012 w 8079933"/>
              <a:gd name="connsiteY24618" fmla="*/ 1001719 h 4687251"/>
              <a:gd name="connsiteX24619" fmla="*/ 2680686 w 8079933"/>
              <a:gd name="connsiteY24619" fmla="*/ 998904 h 4687251"/>
              <a:gd name="connsiteX24620" fmla="*/ 2681121 w 8079933"/>
              <a:gd name="connsiteY24620" fmla="*/ 994682 h 4687251"/>
              <a:gd name="connsiteX24621" fmla="*/ 2684159 w 8079933"/>
              <a:gd name="connsiteY24621" fmla="*/ 992083 h 4687251"/>
              <a:gd name="connsiteX24622" fmla="*/ 2686764 w 8079933"/>
              <a:gd name="connsiteY24622" fmla="*/ 988619 h 4687251"/>
              <a:gd name="connsiteX24623" fmla="*/ 2692190 w 8079933"/>
              <a:gd name="connsiteY24623" fmla="*/ 984179 h 4687251"/>
              <a:gd name="connsiteX24624" fmla="*/ 2695879 w 8079933"/>
              <a:gd name="connsiteY24624" fmla="*/ 981256 h 4687251"/>
              <a:gd name="connsiteX24625" fmla="*/ 2696856 w 8079933"/>
              <a:gd name="connsiteY24625" fmla="*/ 982988 h 4687251"/>
              <a:gd name="connsiteX24626" fmla="*/ 2696638 w 8079933"/>
              <a:gd name="connsiteY24626" fmla="*/ 988185 h 4687251"/>
              <a:gd name="connsiteX24627" fmla="*/ 2694577 w 8079933"/>
              <a:gd name="connsiteY24627" fmla="*/ 990351 h 4687251"/>
              <a:gd name="connsiteX24628" fmla="*/ 2689368 w 8079933"/>
              <a:gd name="connsiteY24628" fmla="*/ 991542 h 4687251"/>
              <a:gd name="connsiteX24629" fmla="*/ 2688717 w 8079933"/>
              <a:gd name="connsiteY24629" fmla="*/ 995331 h 4687251"/>
              <a:gd name="connsiteX24630" fmla="*/ 2686980 w 8079933"/>
              <a:gd name="connsiteY24630" fmla="*/ 999121 h 4687251"/>
              <a:gd name="connsiteX24631" fmla="*/ 2688392 w 8079933"/>
              <a:gd name="connsiteY24631" fmla="*/ 999987 h 4687251"/>
              <a:gd name="connsiteX24632" fmla="*/ 2689802 w 8079933"/>
              <a:gd name="connsiteY24632" fmla="*/ 998471 h 4687251"/>
              <a:gd name="connsiteX24633" fmla="*/ 2691972 w 8079933"/>
              <a:gd name="connsiteY24633" fmla="*/ 999987 h 4687251"/>
              <a:gd name="connsiteX24634" fmla="*/ 2694360 w 8079933"/>
              <a:gd name="connsiteY24634" fmla="*/ 998254 h 4687251"/>
              <a:gd name="connsiteX24635" fmla="*/ 2699786 w 8079933"/>
              <a:gd name="connsiteY24635" fmla="*/ 996305 h 4687251"/>
              <a:gd name="connsiteX24636" fmla="*/ 2701413 w 8079933"/>
              <a:gd name="connsiteY24636" fmla="*/ 998904 h 4687251"/>
              <a:gd name="connsiteX24637" fmla="*/ 2702824 w 8079933"/>
              <a:gd name="connsiteY24637" fmla="*/ 1004643 h 4687251"/>
              <a:gd name="connsiteX24638" fmla="*/ 2702499 w 8079933"/>
              <a:gd name="connsiteY24638" fmla="*/ 1007349 h 4687251"/>
              <a:gd name="connsiteX24639" fmla="*/ 2698918 w 8079933"/>
              <a:gd name="connsiteY24639" fmla="*/ 1008974 h 4687251"/>
              <a:gd name="connsiteX24640" fmla="*/ 2698918 w 8079933"/>
              <a:gd name="connsiteY24640" fmla="*/ 1010381 h 4687251"/>
              <a:gd name="connsiteX24641" fmla="*/ 2701739 w 8079933"/>
              <a:gd name="connsiteY24641" fmla="*/ 1011031 h 4687251"/>
              <a:gd name="connsiteX24642" fmla="*/ 2703909 w 8079933"/>
              <a:gd name="connsiteY24642" fmla="*/ 1014820 h 4687251"/>
              <a:gd name="connsiteX24643" fmla="*/ 2700545 w 8079933"/>
              <a:gd name="connsiteY24643" fmla="*/ 1015903 h 4687251"/>
              <a:gd name="connsiteX24644" fmla="*/ 2697615 w 8079933"/>
              <a:gd name="connsiteY24644" fmla="*/ 1015361 h 4687251"/>
              <a:gd name="connsiteX24645" fmla="*/ 2700545 w 8079933"/>
              <a:gd name="connsiteY24645" fmla="*/ 1017202 h 4687251"/>
              <a:gd name="connsiteX24646" fmla="*/ 2704343 w 8079933"/>
              <a:gd name="connsiteY24646" fmla="*/ 1018935 h 4687251"/>
              <a:gd name="connsiteX24647" fmla="*/ 2695228 w 8079933"/>
              <a:gd name="connsiteY24647" fmla="*/ 1020992 h 4687251"/>
              <a:gd name="connsiteX24648" fmla="*/ 2690779 w 8079933"/>
              <a:gd name="connsiteY24648" fmla="*/ 1020666 h 4687251"/>
              <a:gd name="connsiteX24649" fmla="*/ 2692949 w 8079933"/>
              <a:gd name="connsiteY24649" fmla="*/ 1022941 h 4687251"/>
              <a:gd name="connsiteX24650" fmla="*/ 2697398 w 8079933"/>
              <a:gd name="connsiteY24650" fmla="*/ 1022615 h 4687251"/>
              <a:gd name="connsiteX24651" fmla="*/ 2703692 w 8079933"/>
              <a:gd name="connsiteY24651" fmla="*/ 1023915 h 4687251"/>
              <a:gd name="connsiteX24652" fmla="*/ 2705537 w 8079933"/>
              <a:gd name="connsiteY24652" fmla="*/ 1021858 h 4687251"/>
              <a:gd name="connsiteX24653" fmla="*/ 2709878 w 8079933"/>
              <a:gd name="connsiteY24653" fmla="*/ 1020992 h 4687251"/>
              <a:gd name="connsiteX24654" fmla="*/ 2710854 w 8079933"/>
              <a:gd name="connsiteY24654" fmla="*/ 1021316 h 4687251"/>
              <a:gd name="connsiteX24655" fmla="*/ 2707490 w 8079933"/>
              <a:gd name="connsiteY24655" fmla="*/ 1025972 h 4687251"/>
              <a:gd name="connsiteX24656" fmla="*/ 2705537 w 8079933"/>
              <a:gd name="connsiteY24656" fmla="*/ 1030627 h 4687251"/>
              <a:gd name="connsiteX24657" fmla="*/ 2709660 w 8079933"/>
              <a:gd name="connsiteY24657" fmla="*/ 1026513 h 4687251"/>
              <a:gd name="connsiteX24658" fmla="*/ 2713242 w 8079933"/>
              <a:gd name="connsiteY24658" fmla="*/ 1025322 h 4687251"/>
              <a:gd name="connsiteX24659" fmla="*/ 2716063 w 8079933"/>
              <a:gd name="connsiteY24659" fmla="*/ 1022182 h 4687251"/>
              <a:gd name="connsiteX24660" fmla="*/ 2720512 w 8079933"/>
              <a:gd name="connsiteY24660" fmla="*/ 1018935 h 4687251"/>
              <a:gd name="connsiteX24661" fmla="*/ 2723985 w 8079933"/>
              <a:gd name="connsiteY24661" fmla="*/ 1020017 h 4687251"/>
              <a:gd name="connsiteX24662" fmla="*/ 2723117 w 8079933"/>
              <a:gd name="connsiteY24662" fmla="*/ 1022182 h 4687251"/>
              <a:gd name="connsiteX24663" fmla="*/ 2720404 w 8079933"/>
              <a:gd name="connsiteY24663" fmla="*/ 1025322 h 4687251"/>
              <a:gd name="connsiteX24664" fmla="*/ 2718451 w 8079933"/>
              <a:gd name="connsiteY24664" fmla="*/ 1025539 h 4687251"/>
              <a:gd name="connsiteX24665" fmla="*/ 2716388 w 8079933"/>
              <a:gd name="connsiteY24665" fmla="*/ 1029112 h 4687251"/>
              <a:gd name="connsiteX24666" fmla="*/ 2714327 w 8079933"/>
              <a:gd name="connsiteY24666" fmla="*/ 1033767 h 4687251"/>
              <a:gd name="connsiteX24667" fmla="*/ 2709010 w 8079933"/>
              <a:gd name="connsiteY24667" fmla="*/ 1035825 h 4687251"/>
              <a:gd name="connsiteX24668" fmla="*/ 2706730 w 8079933"/>
              <a:gd name="connsiteY24668" fmla="*/ 1039939 h 4687251"/>
              <a:gd name="connsiteX24669" fmla="*/ 2706947 w 8079933"/>
              <a:gd name="connsiteY24669" fmla="*/ 1042862 h 4687251"/>
              <a:gd name="connsiteX24670" fmla="*/ 2709660 w 8079933"/>
              <a:gd name="connsiteY24670" fmla="*/ 1043404 h 4687251"/>
              <a:gd name="connsiteX24671" fmla="*/ 2713133 w 8079933"/>
              <a:gd name="connsiteY24671" fmla="*/ 1039722 h 4687251"/>
              <a:gd name="connsiteX24672" fmla="*/ 2713133 w 8079933"/>
              <a:gd name="connsiteY24672" fmla="*/ 1037882 h 4687251"/>
              <a:gd name="connsiteX24673" fmla="*/ 2717799 w 8079933"/>
              <a:gd name="connsiteY24673" fmla="*/ 1032143 h 4687251"/>
              <a:gd name="connsiteX24674" fmla="*/ 2721923 w 8079933"/>
              <a:gd name="connsiteY24674" fmla="*/ 1030627 h 4687251"/>
              <a:gd name="connsiteX24675" fmla="*/ 2721597 w 8079933"/>
              <a:gd name="connsiteY24675" fmla="*/ 1033876 h 4687251"/>
              <a:gd name="connsiteX24676" fmla="*/ 2718451 w 8079933"/>
              <a:gd name="connsiteY24676" fmla="*/ 1039072 h 4687251"/>
              <a:gd name="connsiteX24677" fmla="*/ 2717908 w 8079933"/>
              <a:gd name="connsiteY24677" fmla="*/ 1044053 h 4687251"/>
              <a:gd name="connsiteX24678" fmla="*/ 2716606 w 8079933"/>
              <a:gd name="connsiteY24678" fmla="*/ 1047193 h 4687251"/>
              <a:gd name="connsiteX24679" fmla="*/ 2719101 w 8079933"/>
              <a:gd name="connsiteY24679" fmla="*/ 1045244 h 4687251"/>
              <a:gd name="connsiteX24680" fmla="*/ 2722466 w 8079933"/>
              <a:gd name="connsiteY24680" fmla="*/ 1039398 h 4687251"/>
              <a:gd name="connsiteX24681" fmla="*/ 2722574 w 8079933"/>
              <a:gd name="connsiteY24681" fmla="*/ 1036474 h 4687251"/>
              <a:gd name="connsiteX24682" fmla="*/ 2724311 w 8079933"/>
              <a:gd name="connsiteY24682" fmla="*/ 1035608 h 4687251"/>
              <a:gd name="connsiteX24683" fmla="*/ 2725721 w 8079933"/>
              <a:gd name="connsiteY24683" fmla="*/ 1036690 h 4687251"/>
              <a:gd name="connsiteX24684" fmla="*/ 2726264 w 8079933"/>
              <a:gd name="connsiteY24684" fmla="*/ 1043186 h 4687251"/>
              <a:gd name="connsiteX24685" fmla="*/ 2728651 w 8079933"/>
              <a:gd name="connsiteY24685" fmla="*/ 1045244 h 4687251"/>
              <a:gd name="connsiteX24686" fmla="*/ 2730170 w 8079933"/>
              <a:gd name="connsiteY24686" fmla="*/ 1045135 h 4687251"/>
              <a:gd name="connsiteX24687" fmla="*/ 2729519 w 8079933"/>
              <a:gd name="connsiteY24687" fmla="*/ 1040047 h 4687251"/>
              <a:gd name="connsiteX24688" fmla="*/ 2731255 w 8079933"/>
              <a:gd name="connsiteY24688" fmla="*/ 1037232 h 4687251"/>
              <a:gd name="connsiteX24689" fmla="*/ 2737115 w 8079933"/>
              <a:gd name="connsiteY24689" fmla="*/ 1034092 h 4687251"/>
              <a:gd name="connsiteX24690" fmla="*/ 2738309 w 8079933"/>
              <a:gd name="connsiteY24690" fmla="*/ 1035608 h 4687251"/>
              <a:gd name="connsiteX24691" fmla="*/ 2736247 w 8079933"/>
              <a:gd name="connsiteY24691" fmla="*/ 1038423 h 4687251"/>
              <a:gd name="connsiteX24692" fmla="*/ 2737549 w 8079933"/>
              <a:gd name="connsiteY24692" fmla="*/ 1038856 h 4687251"/>
              <a:gd name="connsiteX24693" fmla="*/ 2741347 w 8079933"/>
              <a:gd name="connsiteY24693" fmla="*/ 1038748 h 4687251"/>
              <a:gd name="connsiteX24694" fmla="*/ 2743626 w 8079933"/>
              <a:gd name="connsiteY24694" fmla="*/ 1041671 h 4687251"/>
              <a:gd name="connsiteX24695" fmla="*/ 2741890 w 8079933"/>
              <a:gd name="connsiteY24695" fmla="*/ 1046435 h 4687251"/>
              <a:gd name="connsiteX24696" fmla="*/ 2745905 w 8079933"/>
              <a:gd name="connsiteY24696" fmla="*/ 1046002 h 4687251"/>
              <a:gd name="connsiteX24697" fmla="*/ 2747424 w 8079933"/>
              <a:gd name="connsiteY24697" fmla="*/ 1048167 h 4687251"/>
              <a:gd name="connsiteX24698" fmla="*/ 2747750 w 8079933"/>
              <a:gd name="connsiteY24698" fmla="*/ 1051307 h 4687251"/>
              <a:gd name="connsiteX24699" fmla="*/ 2750572 w 8079933"/>
              <a:gd name="connsiteY24699" fmla="*/ 1053689 h 4687251"/>
              <a:gd name="connsiteX24700" fmla="*/ 2751222 w 8079933"/>
              <a:gd name="connsiteY24700" fmla="*/ 1056504 h 4687251"/>
              <a:gd name="connsiteX24701" fmla="*/ 2749920 w 8079933"/>
              <a:gd name="connsiteY24701" fmla="*/ 1057912 h 4687251"/>
              <a:gd name="connsiteX24702" fmla="*/ 2748075 w 8079933"/>
              <a:gd name="connsiteY24702" fmla="*/ 1059427 h 4687251"/>
              <a:gd name="connsiteX24703" fmla="*/ 2743192 w 8079933"/>
              <a:gd name="connsiteY24703" fmla="*/ 1059427 h 4687251"/>
              <a:gd name="connsiteX24704" fmla="*/ 2743409 w 8079933"/>
              <a:gd name="connsiteY24704" fmla="*/ 1056504 h 4687251"/>
              <a:gd name="connsiteX24705" fmla="*/ 2741347 w 8079933"/>
              <a:gd name="connsiteY24705" fmla="*/ 1053473 h 4687251"/>
              <a:gd name="connsiteX24706" fmla="*/ 2738851 w 8079933"/>
              <a:gd name="connsiteY24706" fmla="*/ 1052173 h 4687251"/>
              <a:gd name="connsiteX24707" fmla="*/ 2737333 w 8079933"/>
              <a:gd name="connsiteY24707" fmla="*/ 1050874 h 4687251"/>
              <a:gd name="connsiteX24708" fmla="*/ 2735271 w 8079933"/>
              <a:gd name="connsiteY24708" fmla="*/ 1052715 h 4687251"/>
              <a:gd name="connsiteX24709" fmla="*/ 2732775 w 8079933"/>
              <a:gd name="connsiteY24709" fmla="*/ 1055963 h 4687251"/>
              <a:gd name="connsiteX24710" fmla="*/ 2735813 w 8079933"/>
              <a:gd name="connsiteY24710" fmla="*/ 1054663 h 4687251"/>
              <a:gd name="connsiteX24711" fmla="*/ 2738092 w 8079933"/>
              <a:gd name="connsiteY24711" fmla="*/ 1055205 h 4687251"/>
              <a:gd name="connsiteX24712" fmla="*/ 2739719 w 8079933"/>
              <a:gd name="connsiteY24712" fmla="*/ 1057262 h 4687251"/>
              <a:gd name="connsiteX24713" fmla="*/ 2738092 w 8079933"/>
              <a:gd name="connsiteY24713" fmla="*/ 1058128 h 4687251"/>
              <a:gd name="connsiteX24714" fmla="*/ 2740262 w 8079933"/>
              <a:gd name="connsiteY24714" fmla="*/ 1059319 h 4687251"/>
              <a:gd name="connsiteX24715" fmla="*/ 2741239 w 8079933"/>
              <a:gd name="connsiteY24715" fmla="*/ 1061810 h 4687251"/>
              <a:gd name="connsiteX24716" fmla="*/ 2739286 w 8079933"/>
              <a:gd name="connsiteY24716" fmla="*/ 1062675 h 4687251"/>
              <a:gd name="connsiteX24717" fmla="*/ 2735921 w 8079933"/>
              <a:gd name="connsiteY24717" fmla="*/ 1061810 h 4687251"/>
              <a:gd name="connsiteX24718" fmla="*/ 2733208 w 8079933"/>
              <a:gd name="connsiteY24718" fmla="*/ 1063433 h 4687251"/>
              <a:gd name="connsiteX24719" fmla="*/ 2734728 w 8079933"/>
              <a:gd name="connsiteY24719" fmla="*/ 1064733 h 4687251"/>
              <a:gd name="connsiteX24720" fmla="*/ 2740696 w 8079933"/>
              <a:gd name="connsiteY24720" fmla="*/ 1064841 h 4687251"/>
              <a:gd name="connsiteX24721" fmla="*/ 2742867 w 8079933"/>
              <a:gd name="connsiteY24721" fmla="*/ 1064841 h 4687251"/>
              <a:gd name="connsiteX24722" fmla="*/ 2743192 w 8079933"/>
              <a:gd name="connsiteY24722" fmla="*/ 1066573 h 4687251"/>
              <a:gd name="connsiteX24723" fmla="*/ 2741022 w 8079933"/>
              <a:gd name="connsiteY24723" fmla="*/ 1069388 h 4687251"/>
              <a:gd name="connsiteX24724" fmla="*/ 2737333 w 8079933"/>
              <a:gd name="connsiteY24724" fmla="*/ 1069388 h 4687251"/>
              <a:gd name="connsiteX24725" fmla="*/ 2733968 w 8079933"/>
              <a:gd name="connsiteY24725" fmla="*/ 1070146 h 4687251"/>
              <a:gd name="connsiteX24726" fmla="*/ 2729410 w 8079933"/>
              <a:gd name="connsiteY24726" fmla="*/ 1069496 h 4687251"/>
              <a:gd name="connsiteX24727" fmla="*/ 2725612 w 8079933"/>
              <a:gd name="connsiteY24727" fmla="*/ 1068739 h 4687251"/>
              <a:gd name="connsiteX24728" fmla="*/ 2726697 w 8079933"/>
              <a:gd name="connsiteY24728" fmla="*/ 1065274 h 4687251"/>
              <a:gd name="connsiteX24729" fmla="*/ 2726372 w 8079933"/>
              <a:gd name="connsiteY24729" fmla="*/ 1063217 h 4687251"/>
              <a:gd name="connsiteX24730" fmla="*/ 2723225 w 8079933"/>
              <a:gd name="connsiteY24730" fmla="*/ 1061484 h 4687251"/>
              <a:gd name="connsiteX24731" fmla="*/ 2721923 w 8079933"/>
              <a:gd name="connsiteY24731" fmla="*/ 1059861 h 4687251"/>
              <a:gd name="connsiteX24732" fmla="*/ 2719969 w 8079933"/>
              <a:gd name="connsiteY24732" fmla="*/ 1060510 h 4687251"/>
              <a:gd name="connsiteX24733" fmla="*/ 2720404 w 8079933"/>
              <a:gd name="connsiteY24733" fmla="*/ 1063000 h 4687251"/>
              <a:gd name="connsiteX24734" fmla="*/ 2722466 w 8079933"/>
              <a:gd name="connsiteY24734" fmla="*/ 1064516 h 4687251"/>
              <a:gd name="connsiteX24735" fmla="*/ 2723442 w 8079933"/>
              <a:gd name="connsiteY24735" fmla="*/ 1068197 h 4687251"/>
              <a:gd name="connsiteX24736" fmla="*/ 2722791 w 8079933"/>
              <a:gd name="connsiteY24736" fmla="*/ 1070038 h 4687251"/>
              <a:gd name="connsiteX24737" fmla="*/ 2719644 w 8079933"/>
              <a:gd name="connsiteY24737" fmla="*/ 1070363 h 4687251"/>
              <a:gd name="connsiteX24738" fmla="*/ 2716280 w 8079933"/>
              <a:gd name="connsiteY24738" fmla="*/ 1068197 h 4687251"/>
              <a:gd name="connsiteX24739" fmla="*/ 2715520 w 8079933"/>
              <a:gd name="connsiteY24739" fmla="*/ 1065816 h 4687251"/>
              <a:gd name="connsiteX24740" fmla="*/ 2714869 w 8079933"/>
              <a:gd name="connsiteY24740" fmla="*/ 1070038 h 4687251"/>
              <a:gd name="connsiteX24741" fmla="*/ 2717256 w 8079933"/>
              <a:gd name="connsiteY24741" fmla="*/ 1072528 h 4687251"/>
              <a:gd name="connsiteX24742" fmla="*/ 2721923 w 8079933"/>
              <a:gd name="connsiteY24742" fmla="*/ 1072528 h 4687251"/>
              <a:gd name="connsiteX24743" fmla="*/ 2724311 w 8079933"/>
              <a:gd name="connsiteY24743" fmla="*/ 1074694 h 4687251"/>
              <a:gd name="connsiteX24744" fmla="*/ 2727024 w 8079933"/>
              <a:gd name="connsiteY24744" fmla="*/ 1075559 h 4687251"/>
              <a:gd name="connsiteX24745" fmla="*/ 2727566 w 8079933"/>
              <a:gd name="connsiteY24745" fmla="*/ 1078267 h 4687251"/>
              <a:gd name="connsiteX24746" fmla="*/ 2726264 w 8079933"/>
              <a:gd name="connsiteY24746" fmla="*/ 1081514 h 4687251"/>
              <a:gd name="connsiteX24747" fmla="*/ 2719536 w 8079933"/>
              <a:gd name="connsiteY24747" fmla="*/ 1081298 h 4687251"/>
              <a:gd name="connsiteX24748" fmla="*/ 2717908 w 8079933"/>
              <a:gd name="connsiteY24748" fmla="*/ 1078483 h 4687251"/>
              <a:gd name="connsiteX24749" fmla="*/ 2713676 w 8079933"/>
              <a:gd name="connsiteY24749" fmla="*/ 1075776 h 4687251"/>
              <a:gd name="connsiteX24750" fmla="*/ 2711722 w 8079933"/>
              <a:gd name="connsiteY24750" fmla="*/ 1073719 h 4687251"/>
              <a:gd name="connsiteX24751" fmla="*/ 2710420 w 8079933"/>
              <a:gd name="connsiteY24751" fmla="*/ 1073828 h 4687251"/>
              <a:gd name="connsiteX24752" fmla="*/ 2711614 w 8079933"/>
              <a:gd name="connsiteY24752" fmla="*/ 1075776 h 4687251"/>
              <a:gd name="connsiteX24753" fmla="*/ 2716280 w 8079933"/>
              <a:gd name="connsiteY24753" fmla="*/ 1079241 h 4687251"/>
              <a:gd name="connsiteX24754" fmla="*/ 2718016 w 8079933"/>
              <a:gd name="connsiteY24754" fmla="*/ 1082814 h 4687251"/>
              <a:gd name="connsiteX24755" fmla="*/ 2717908 w 8079933"/>
              <a:gd name="connsiteY24755" fmla="*/ 1087902 h 4687251"/>
              <a:gd name="connsiteX24756" fmla="*/ 2716388 w 8079933"/>
              <a:gd name="connsiteY24756" fmla="*/ 1090609 h 4687251"/>
              <a:gd name="connsiteX24757" fmla="*/ 2714218 w 8079933"/>
              <a:gd name="connsiteY24757" fmla="*/ 1090285 h 4687251"/>
              <a:gd name="connsiteX24758" fmla="*/ 2713025 w 8079933"/>
              <a:gd name="connsiteY24758" fmla="*/ 1087036 h 4687251"/>
              <a:gd name="connsiteX24759" fmla="*/ 2710203 w 8079933"/>
              <a:gd name="connsiteY24759" fmla="*/ 1084763 h 4687251"/>
              <a:gd name="connsiteX24760" fmla="*/ 2706947 w 8079933"/>
              <a:gd name="connsiteY24760" fmla="*/ 1083572 h 4687251"/>
              <a:gd name="connsiteX24761" fmla="*/ 2707707 w 8079933"/>
              <a:gd name="connsiteY24761" fmla="*/ 1084871 h 4687251"/>
              <a:gd name="connsiteX24762" fmla="*/ 2709335 w 8079933"/>
              <a:gd name="connsiteY24762" fmla="*/ 1086387 h 4687251"/>
              <a:gd name="connsiteX24763" fmla="*/ 2709227 w 8079933"/>
              <a:gd name="connsiteY24763" fmla="*/ 1090609 h 4687251"/>
              <a:gd name="connsiteX24764" fmla="*/ 2709010 w 8079933"/>
              <a:gd name="connsiteY24764" fmla="*/ 1096240 h 4687251"/>
              <a:gd name="connsiteX24765" fmla="*/ 2707815 w 8079933"/>
              <a:gd name="connsiteY24765" fmla="*/ 1097106 h 4687251"/>
              <a:gd name="connsiteX24766" fmla="*/ 2705537 w 8079933"/>
              <a:gd name="connsiteY24766" fmla="*/ 1097106 h 4687251"/>
              <a:gd name="connsiteX24767" fmla="*/ 2704017 w 8079933"/>
              <a:gd name="connsiteY24767" fmla="*/ 1095590 h 4687251"/>
              <a:gd name="connsiteX24768" fmla="*/ 2704235 w 8079933"/>
              <a:gd name="connsiteY24768" fmla="*/ 1091259 h 4687251"/>
              <a:gd name="connsiteX24769" fmla="*/ 2702499 w 8079933"/>
              <a:gd name="connsiteY24769" fmla="*/ 1092017 h 4687251"/>
              <a:gd name="connsiteX24770" fmla="*/ 2701847 w 8079933"/>
              <a:gd name="connsiteY24770" fmla="*/ 1094616 h 4687251"/>
              <a:gd name="connsiteX24771" fmla="*/ 2698592 w 8079933"/>
              <a:gd name="connsiteY24771" fmla="*/ 1095373 h 4687251"/>
              <a:gd name="connsiteX24772" fmla="*/ 2696530 w 8079933"/>
              <a:gd name="connsiteY24772" fmla="*/ 1094507 h 4687251"/>
              <a:gd name="connsiteX24773" fmla="*/ 2697181 w 8079933"/>
              <a:gd name="connsiteY24773" fmla="*/ 1091367 h 4687251"/>
              <a:gd name="connsiteX24774" fmla="*/ 2695988 w 8079933"/>
              <a:gd name="connsiteY24774" fmla="*/ 1088010 h 4687251"/>
              <a:gd name="connsiteX24775" fmla="*/ 2695770 w 8079933"/>
              <a:gd name="connsiteY24775" fmla="*/ 1084438 h 4687251"/>
              <a:gd name="connsiteX24776" fmla="*/ 2694251 w 8079933"/>
              <a:gd name="connsiteY24776" fmla="*/ 1082706 h 4687251"/>
              <a:gd name="connsiteX24777" fmla="*/ 2693600 w 8079933"/>
              <a:gd name="connsiteY24777" fmla="*/ 1085196 h 4687251"/>
              <a:gd name="connsiteX24778" fmla="*/ 2693600 w 8079933"/>
              <a:gd name="connsiteY24778" fmla="*/ 1091584 h 4687251"/>
              <a:gd name="connsiteX24779" fmla="*/ 2691538 w 8079933"/>
              <a:gd name="connsiteY24779" fmla="*/ 1093316 h 4687251"/>
              <a:gd name="connsiteX24780" fmla="*/ 2688500 w 8079933"/>
              <a:gd name="connsiteY24780" fmla="*/ 1093424 h 4687251"/>
              <a:gd name="connsiteX24781" fmla="*/ 2689585 w 8079933"/>
              <a:gd name="connsiteY24781" fmla="*/ 1094616 h 4687251"/>
              <a:gd name="connsiteX24782" fmla="*/ 2692190 w 8079933"/>
              <a:gd name="connsiteY24782" fmla="*/ 1095048 h 4687251"/>
              <a:gd name="connsiteX24783" fmla="*/ 2692840 w 8079933"/>
              <a:gd name="connsiteY24783" fmla="*/ 1096997 h 4687251"/>
              <a:gd name="connsiteX24784" fmla="*/ 2690887 w 8079933"/>
              <a:gd name="connsiteY24784" fmla="*/ 1099487 h 4687251"/>
              <a:gd name="connsiteX24785" fmla="*/ 2688066 w 8079933"/>
              <a:gd name="connsiteY24785" fmla="*/ 1098838 h 4687251"/>
              <a:gd name="connsiteX24786" fmla="*/ 2686872 w 8079933"/>
              <a:gd name="connsiteY24786" fmla="*/ 1098080 h 4687251"/>
              <a:gd name="connsiteX24787" fmla="*/ 2686547 w 8079933"/>
              <a:gd name="connsiteY24787" fmla="*/ 1099487 h 4687251"/>
              <a:gd name="connsiteX24788" fmla="*/ 2689151 w 8079933"/>
              <a:gd name="connsiteY24788" fmla="*/ 1101545 h 4687251"/>
              <a:gd name="connsiteX24789" fmla="*/ 2691104 w 8079933"/>
              <a:gd name="connsiteY24789" fmla="*/ 1101545 h 4687251"/>
              <a:gd name="connsiteX24790" fmla="*/ 2691538 w 8079933"/>
              <a:gd name="connsiteY24790" fmla="*/ 1103493 h 4687251"/>
              <a:gd name="connsiteX24791" fmla="*/ 2691104 w 8079933"/>
              <a:gd name="connsiteY24791" fmla="*/ 1106308 h 4687251"/>
              <a:gd name="connsiteX24792" fmla="*/ 2689151 w 8079933"/>
              <a:gd name="connsiteY24792" fmla="*/ 1106958 h 4687251"/>
              <a:gd name="connsiteX24793" fmla="*/ 2688717 w 8079933"/>
              <a:gd name="connsiteY24793" fmla="*/ 1109124 h 4687251"/>
              <a:gd name="connsiteX24794" fmla="*/ 2690127 w 8079933"/>
              <a:gd name="connsiteY24794" fmla="*/ 1112480 h 4687251"/>
              <a:gd name="connsiteX24795" fmla="*/ 2690127 w 8079933"/>
              <a:gd name="connsiteY24795" fmla="*/ 1115079 h 4687251"/>
              <a:gd name="connsiteX24796" fmla="*/ 2688717 w 8079933"/>
              <a:gd name="connsiteY24796" fmla="*/ 1115079 h 4687251"/>
              <a:gd name="connsiteX24797" fmla="*/ 2686764 w 8079933"/>
              <a:gd name="connsiteY24797" fmla="*/ 1113671 h 4687251"/>
              <a:gd name="connsiteX24798" fmla="*/ 2685787 w 8079933"/>
              <a:gd name="connsiteY24798" fmla="*/ 1114104 h 4687251"/>
              <a:gd name="connsiteX24799" fmla="*/ 2688825 w 8079933"/>
              <a:gd name="connsiteY24799" fmla="*/ 1117352 h 4687251"/>
              <a:gd name="connsiteX24800" fmla="*/ 2689259 w 8079933"/>
              <a:gd name="connsiteY24800" fmla="*/ 1119951 h 4687251"/>
              <a:gd name="connsiteX24801" fmla="*/ 2688717 w 8079933"/>
              <a:gd name="connsiteY24801" fmla="*/ 1123524 h 4687251"/>
              <a:gd name="connsiteX24802" fmla="*/ 2684051 w 8079933"/>
              <a:gd name="connsiteY24802" fmla="*/ 1125040 h 4687251"/>
              <a:gd name="connsiteX24803" fmla="*/ 2682966 w 8079933"/>
              <a:gd name="connsiteY24803" fmla="*/ 1126880 h 4687251"/>
              <a:gd name="connsiteX24804" fmla="*/ 2681121 w 8079933"/>
              <a:gd name="connsiteY24804" fmla="*/ 1126122 h 4687251"/>
              <a:gd name="connsiteX24805" fmla="*/ 2680686 w 8079933"/>
              <a:gd name="connsiteY24805" fmla="*/ 1124173 h 4687251"/>
              <a:gd name="connsiteX24806" fmla="*/ 2679710 w 8079933"/>
              <a:gd name="connsiteY24806" fmla="*/ 1123199 h 4687251"/>
              <a:gd name="connsiteX24807" fmla="*/ 2679927 w 8079933"/>
              <a:gd name="connsiteY24807" fmla="*/ 1121250 h 4687251"/>
              <a:gd name="connsiteX24808" fmla="*/ 2677431 w 8079933"/>
              <a:gd name="connsiteY24808" fmla="*/ 1120383 h 4687251"/>
              <a:gd name="connsiteX24809" fmla="*/ 2676888 w 8079933"/>
              <a:gd name="connsiteY24809" fmla="*/ 1118760 h 4687251"/>
              <a:gd name="connsiteX24810" fmla="*/ 2678516 w 8079933"/>
              <a:gd name="connsiteY24810" fmla="*/ 1116377 h 4687251"/>
              <a:gd name="connsiteX24811" fmla="*/ 2678516 w 8079933"/>
              <a:gd name="connsiteY24811" fmla="*/ 1114429 h 4687251"/>
              <a:gd name="connsiteX24812" fmla="*/ 2677106 w 8079933"/>
              <a:gd name="connsiteY24812" fmla="*/ 1114646 h 4687251"/>
              <a:gd name="connsiteX24813" fmla="*/ 2673850 w 8079933"/>
              <a:gd name="connsiteY24813" fmla="*/ 1116053 h 4687251"/>
              <a:gd name="connsiteX24814" fmla="*/ 2672765 w 8079933"/>
              <a:gd name="connsiteY24814" fmla="*/ 1118543 h 4687251"/>
              <a:gd name="connsiteX24815" fmla="*/ 2671245 w 8079933"/>
              <a:gd name="connsiteY24815" fmla="*/ 1118326 h 4687251"/>
              <a:gd name="connsiteX24816" fmla="*/ 2669075 w 8079933"/>
              <a:gd name="connsiteY24816" fmla="*/ 1115620 h 4687251"/>
              <a:gd name="connsiteX24817" fmla="*/ 2670595 w 8079933"/>
              <a:gd name="connsiteY24817" fmla="*/ 1113454 h 4687251"/>
              <a:gd name="connsiteX24818" fmla="*/ 2668967 w 8079933"/>
              <a:gd name="connsiteY24818" fmla="*/ 1111289 h 4687251"/>
              <a:gd name="connsiteX24819" fmla="*/ 2668967 w 8079933"/>
              <a:gd name="connsiteY24819" fmla="*/ 1109773 h 4687251"/>
              <a:gd name="connsiteX24820" fmla="*/ 2670595 w 8079933"/>
              <a:gd name="connsiteY24820" fmla="*/ 1108257 h 4687251"/>
              <a:gd name="connsiteX24821" fmla="*/ 2670812 w 8079933"/>
              <a:gd name="connsiteY24821" fmla="*/ 1106417 h 4687251"/>
              <a:gd name="connsiteX24822" fmla="*/ 2671463 w 8079933"/>
              <a:gd name="connsiteY24822" fmla="*/ 1104360 h 4687251"/>
              <a:gd name="connsiteX24823" fmla="*/ 2670595 w 8079933"/>
              <a:gd name="connsiteY24823" fmla="*/ 1103926 h 4687251"/>
              <a:gd name="connsiteX24824" fmla="*/ 2668207 w 8079933"/>
              <a:gd name="connsiteY24824" fmla="*/ 1106417 h 4687251"/>
              <a:gd name="connsiteX24825" fmla="*/ 2666254 w 8079933"/>
              <a:gd name="connsiteY24825" fmla="*/ 1110964 h 4687251"/>
              <a:gd name="connsiteX24826" fmla="*/ 2663649 w 8079933"/>
              <a:gd name="connsiteY24826" fmla="*/ 1113887 h 4687251"/>
              <a:gd name="connsiteX24827" fmla="*/ 2662890 w 8079933"/>
              <a:gd name="connsiteY24827" fmla="*/ 1112805 h 4687251"/>
              <a:gd name="connsiteX24828" fmla="*/ 2662781 w 8079933"/>
              <a:gd name="connsiteY24828" fmla="*/ 1110098 h 4687251"/>
              <a:gd name="connsiteX24829" fmla="*/ 2661045 w 8079933"/>
              <a:gd name="connsiteY24829" fmla="*/ 1107175 h 4687251"/>
              <a:gd name="connsiteX24830" fmla="*/ 2660177 w 8079933"/>
              <a:gd name="connsiteY24830" fmla="*/ 1104360 h 4687251"/>
              <a:gd name="connsiteX24831" fmla="*/ 2661804 w 8079933"/>
              <a:gd name="connsiteY24831" fmla="*/ 1102628 h 4687251"/>
              <a:gd name="connsiteX24832" fmla="*/ 2666037 w 8079933"/>
              <a:gd name="connsiteY24832" fmla="*/ 1100895 h 4687251"/>
              <a:gd name="connsiteX24833" fmla="*/ 2666037 w 8079933"/>
              <a:gd name="connsiteY24833" fmla="*/ 1099812 h 4687251"/>
              <a:gd name="connsiteX24834" fmla="*/ 2668424 w 8079933"/>
              <a:gd name="connsiteY24834" fmla="*/ 1098946 h 4687251"/>
              <a:gd name="connsiteX24835" fmla="*/ 2667556 w 8079933"/>
              <a:gd name="connsiteY24835" fmla="*/ 1097755 h 4687251"/>
              <a:gd name="connsiteX24836" fmla="*/ 2664084 w 8079933"/>
              <a:gd name="connsiteY24836" fmla="*/ 1097430 h 4687251"/>
              <a:gd name="connsiteX24837" fmla="*/ 2661154 w 8079933"/>
              <a:gd name="connsiteY24837" fmla="*/ 1098188 h 4687251"/>
              <a:gd name="connsiteX24838" fmla="*/ 2658006 w 8079933"/>
              <a:gd name="connsiteY24838" fmla="*/ 1097430 h 4687251"/>
              <a:gd name="connsiteX24839" fmla="*/ 2657247 w 8079933"/>
              <a:gd name="connsiteY24839" fmla="*/ 1095914 h 4687251"/>
              <a:gd name="connsiteX24840" fmla="*/ 2658224 w 8079933"/>
              <a:gd name="connsiteY24840" fmla="*/ 1093749 h 4687251"/>
              <a:gd name="connsiteX24841" fmla="*/ 2661804 w 8079933"/>
              <a:gd name="connsiteY24841" fmla="*/ 1092883 h 4687251"/>
              <a:gd name="connsiteX24842" fmla="*/ 2664952 w 8079933"/>
              <a:gd name="connsiteY24842" fmla="*/ 1088877 h 4687251"/>
              <a:gd name="connsiteX24843" fmla="*/ 2662890 w 8079933"/>
              <a:gd name="connsiteY24843" fmla="*/ 1089526 h 4687251"/>
              <a:gd name="connsiteX24844" fmla="*/ 2660068 w 8079933"/>
              <a:gd name="connsiteY24844" fmla="*/ 1090718 h 4687251"/>
              <a:gd name="connsiteX24845" fmla="*/ 2658006 w 8079933"/>
              <a:gd name="connsiteY24845" fmla="*/ 1089743 h 4687251"/>
              <a:gd name="connsiteX24846" fmla="*/ 2657681 w 8079933"/>
              <a:gd name="connsiteY24846" fmla="*/ 1087469 h 4687251"/>
              <a:gd name="connsiteX24847" fmla="*/ 2660068 w 8079933"/>
              <a:gd name="connsiteY24847" fmla="*/ 1086495 h 4687251"/>
              <a:gd name="connsiteX24848" fmla="*/ 2663216 w 8079933"/>
              <a:gd name="connsiteY24848" fmla="*/ 1085196 h 4687251"/>
              <a:gd name="connsiteX24849" fmla="*/ 2666362 w 8079933"/>
              <a:gd name="connsiteY24849" fmla="*/ 1084222 h 4687251"/>
              <a:gd name="connsiteX24850" fmla="*/ 2663649 w 8079933"/>
              <a:gd name="connsiteY24850" fmla="*/ 1083030 h 4687251"/>
              <a:gd name="connsiteX24851" fmla="*/ 2660177 w 8079933"/>
              <a:gd name="connsiteY24851" fmla="*/ 1083139 h 4687251"/>
              <a:gd name="connsiteX24852" fmla="*/ 2657898 w 8079933"/>
              <a:gd name="connsiteY24852" fmla="*/ 1084655 h 4687251"/>
              <a:gd name="connsiteX24853" fmla="*/ 2656270 w 8079933"/>
              <a:gd name="connsiteY24853" fmla="*/ 1083572 h 4687251"/>
              <a:gd name="connsiteX24854" fmla="*/ 2656705 w 8079933"/>
              <a:gd name="connsiteY24854" fmla="*/ 1081514 h 4687251"/>
              <a:gd name="connsiteX24855" fmla="*/ 2660286 w 8079933"/>
              <a:gd name="connsiteY24855" fmla="*/ 1076426 h 4687251"/>
              <a:gd name="connsiteX24856" fmla="*/ 2662564 w 8079933"/>
              <a:gd name="connsiteY24856" fmla="*/ 1075559 h 4687251"/>
              <a:gd name="connsiteX24857" fmla="*/ 2667339 w 8079933"/>
              <a:gd name="connsiteY24857" fmla="*/ 1074694 h 4687251"/>
              <a:gd name="connsiteX24858" fmla="*/ 2671137 w 8079933"/>
              <a:gd name="connsiteY24858" fmla="*/ 1071553 h 4687251"/>
              <a:gd name="connsiteX24859" fmla="*/ 2674176 w 8079933"/>
              <a:gd name="connsiteY24859" fmla="*/ 1069605 h 4687251"/>
              <a:gd name="connsiteX24860" fmla="*/ 2676020 w 8079933"/>
              <a:gd name="connsiteY24860" fmla="*/ 1065816 h 4687251"/>
              <a:gd name="connsiteX24861" fmla="*/ 2679493 w 8079933"/>
              <a:gd name="connsiteY24861" fmla="*/ 1061918 h 4687251"/>
              <a:gd name="connsiteX24862" fmla="*/ 2681446 w 8079933"/>
              <a:gd name="connsiteY24862" fmla="*/ 1060835 h 4687251"/>
              <a:gd name="connsiteX24863" fmla="*/ 2681012 w 8079933"/>
              <a:gd name="connsiteY24863" fmla="*/ 1059211 h 4687251"/>
              <a:gd name="connsiteX24864" fmla="*/ 2679059 w 8079933"/>
              <a:gd name="connsiteY24864" fmla="*/ 1059535 h 4687251"/>
              <a:gd name="connsiteX24865" fmla="*/ 2674718 w 8079933"/>
              <a:gd name="connsiteY24865" fmla="*/ 1063000 h 4687251"/>
              <a:gd name="connsiteX24866" fmla="*/ 2672331 w 8079933"/>
              <a:gd name="connsiteY24866" fmla="*/ 1064300 h 4687251"/>
              <a:gd name="connsiteX24867" fmla="*/ 2670269 w 8079933"/>
              <a:gd name="connsiteY24867" fmla="*/ 1067765 h 4687251"/>
              <a:gd name="connsiteX24868" fmla="*/ 2664734 w 8079933"/>
              <a:gd name="connsiteY24868" fmla="*/ 1070363 h 4687251"/>
              <a:gd name="connsiteX24869" fmla="*/ 2661804 w 8079933"/>
              <a:gd name="connsiteY24869" fmla="*/ 1070363 h 4687251"/>
              <a:gd name="connsiteX24870" fmla="*/ 2655620 w 8079933"/>
              <a:gd name="connsiteY24870" fmla="*/ 1074694 h 4687251"/>
              <a:gd name="connsiteX24871" fmla="*/ 2651170 w 8079933"/>
              <a:gd name="connsiteY24871" fmla="*/ 1075343 h 4687251"/>
              <a:gd name="connsiteX24872" fmla="*/ 2648132 w 8079933"/>
              <a:gd name="connsiteY24872" fmla="*/ 1074152 h 4687251"/>
              <a:gd name="connsiteX24873" fmla="*/ 2648240 w 8079933"/>
              <a:gd name="connsiteY24873" fmla="*/ 1072420 h 4687251"/>
              <a:gd name="connsiteX24874" fmla="*/ 2654643 w 8079933"/>
              <a:gd name="connsiteY24874" fmla="*/ 1065707 h 4687251"/>
              <a:gd name="connsiteX24875" fmla="*/ 2659418 w 8079933"/>
              <a:gd name="connsiteY24875" fmla="*/ 1063108 h 4687251"/>
              <a:gd name="connsiteX24876" fmla="*/ 2660719 w 8079933"/>
              <a:gd name="connsiteY24876" fmla="*/ 1060835 h 4687251"/>
              <a:gd name="connsiteX24877" fmla="*/ 2662456 w 8079933"/>
              <a:gd name="connsiteY24877" fmla="*/ 1058886 h 4687251"/>
              <a:gd name="connsiteX24878" fmla="*/ 2662131 w 8079933"/>
              <a:gd name="connsiteY24878" fmla="*/ 1055638 h 4687251"/>
              <a:gd name="connsiteX24879" fmla="*/ 2658766 w 8079933"/>
              <a:gd name="connsiteY24879" fmla="*/ 1060618 h 4687251"/>
              <a:gd name="connsiteX24880" fmla="*/ 2649759 w 8079933"/>
              <a:gd name="connsiteY24880" fmla="*/ 1066032 h 4687251"/>
              <a:gd name="connsiteX24881" fmla="*/ 2646829 w 8079933"/>
              <a:gd name="connsiteY24881" fmla="*/ 1067547 h 4687251"/>
              <a:gd name="connsiteX24882" fmla="*/ 2644659 w 8079933"/>
              <a:gd name="connsiteY24882" fmla="*/ 1066790 h 4687251"/>
              <a:gd name="connsiteX24883" fmla="*/ 2643574 w 8079933"/>
              <a:gd name="connsiteY24883" fmla="*/ 1065057 h 4687251"/>
              <a:gd name="connsiteX24884" fmla="*/ 2644116 w 8079933"/>
              <a:gd name="connsiteY24884" fmla="*/ 1061810 h 4687251"/>
              <a:gd name="connsiteX24885" fmla="*/ 2642923 w 8079933"/>
              <a:gd name="connsiteY24885" fmla="*/ 1060185 h 4687251"/>
              <a:gd name="connsiteX24886" fmla="*/ 2640427 w 8079933"/>
              <a:gd name="connsiteY24886" fmla="*/ 1060943 h 4687251"/>
              <a:gd name="connsiteX24887" fmla="*/ 2638148 w 8079933"/>
              <a:gd name="connsiteY24887" fmla="*/ 1059535 h 4687251"/>
              <a:gd name="connsiteX24888" fmla="*/ 2639341 w 8079933"/>
              <a:gd name="connsiteY24888" fmla="*/ 1057804 h 4687251"/>
              <a:gd name="connsiteX24889" fmla="*/ 2641621 w 8079933"/>
              <a:gd name="connsiteY24889" fmla="*/ 1057045 h 4687251"/>
              <a:gd name="connsiteX24890" fmla="*/ 2641621 w 8079933"/>
              <a:gd name="connsiteY24890" fmla="*/ 1054772 h 4687251"/>
              <a:gd name="connsiteX24891" fmla="*/ 2639884 w 8079933"/>
              <a:gd name="connsiteY24891" fmla="*/ 1053473 h 4687251"/>
              <a:gd name="connsiteX24892" fmla="*/ 2637606 w 8079933"/>
              <a:gd name="connsiteY24892" fmla="*/ 1053473 h 4687251"/>
              <a:gd name="connsiteX24893" fmla="*/ 2637171 w 8079933"/>
              <a:gd name="connsiteY24893" fmla="*/ 1052282 h 4687251"/>
              <a:gd name="connsiteX24894" fmla="*/ 2637714 w 8079933"/>
              <a:gd name="connsiteY24894" fmla="*/ 1047843 h 4687251"/>
              <a:gd name="connsiteX24895" fmla="*/ 2639341 w 8079933"/>
              <a:gd name="connsiteY24895" fmla="*/ 1046868 h 4687251"/>
              <a:gd name="connsiteX24896" fmla="*/ 2639450 w 8079933"/>
              <a:gd name="connsiteY24896" fmla="*/ 1044270 h 4687251"/>
              <a:gd name="connsiteX24897" fmla="*/ 2636955 w 8079933"/>
              <a:gd name="connsiteY24897" fmla="*/ 1042862 h 4687251"/>
              <a:gd name="connsiteX24898" fmla="*/ 2635110 w 8079933"/>
              <a:gd name="connsiteY24898" fmla="*/ 1040480 h 4687251"/>
              <a:gd name="connsiteX24899" fmla="*/ 2634133 w 8079933"/>
              <a:gd name="connsiteY24899" fmla="*/ 1040696 h 4687251"/>
              <a:gd name="connsiteX24900" fmla="*/ 2634025 w 8079933"/>
              <a:gd name="connsiteY24900" fmla="*/ 1043837 h 4687251"/>
              <a:gd name="connsiteX24901" fmla="*/ 2634784 w 8079933"/>
              <a:gd name="connsiteY24901" fmla="*/ 1046327 h 4687251"/>
              <a:gd name="connsiteX24902" fmla="*/ 2631095 w 8079933"/>
              <a:gd name="connsiteY24902" fmla="*/ 1047734 h 4687251"/>
              <a:gd name="connsiteX24903" fmla="*/ 2629032 w 8079933"/>
              <a:gd name="connsiteY24903" fmla="*/ 1045785 h 4687251"/>
              <a:gd name="connsiteX24904" fmla="*/ 2626646 w 8079933"/>
              <a:gd name="connsiteY24904" fmla="*/ 1043512 h 4687251"/>
              <a:gd name="connsiteX24905" fmla="*/ 2622630 w 8079933"/>
              <a:gd name="connsiteY24905" fmla="*/ 1043620 h 4687251"/>
              <a:gd name="connsiteX24906" fmla="*/ 2627079 w 8079933"/>
              <a:gd name="connsiteY24906" fmla="*/ 1046327 h 4687251"/>
              <a:gd name="connsiteX24907" fmla="*/ 2629684 w 8079933"/>
              <a:gd name="connsiteY24907" fmla="*/ 1050766 h 4687251"/>
              <a:gd name="connsiteX24908" fmla="*/ 2630227 w 8079933"/>
              <a:gd name="connsiteY24908" fmla="*/ 1054772 h 4687251"/>
              <a:gd name="connsiteX24909" fmla="*/ 2627297 w 8079933"/>
              <a:gd name="connsiteY24909" fmla="*/ 1054014 h 4687251"/>
              <a:gd name="connsiteX24910" fmla="*/ 2626537 w 8079933"/>
              <a:gd name="connsiteY24910" fmla="*/ 1055313 h 4687251"/>
              <a:gd name="connsiteX24911" fmla="*/ 2627188 w 8079933"/>
              <a:gd name="connsiteY24911" fmla="*/ 1056504 h 4687251"/>
              <a:gd name="connsiteX24912" fmla="*/ 2623607 w 8079933"/>
              <a:gd name="connsiteY24912" fmla="*/ 1057045 h 4687251"/>
              <a:gd name="connsiteX24913" fmla="*/ 2621436 w 8079933"/>
              <a:gd name="connsiteY24913" fmla="*/ 1054447 h 4687251"/>
              <a:gd name="connsiteX24914" fmla="*/ 2620351 w 8079933"/>
              <a:gd name="connsiteY24914" fmla="*/ 1049792 h 4687251"/>
              <a:gd name="connsiteX24915" fmla="*/ 2618398 w 8079933"/>
              <a:gd name="connsiteY24915" fmla="*/ 1048384 h 4687251"/>
              <a:gd name="connsiteX24916" fmla="*/ 2617096 w 8079933"/>
              <a:gd name="connsiteY24916" fmla="*/ 1049683 h 4687251"/>
              <a:gd name="connsiteX24917" fmla="*/ 2619591 w 8079933"/>
              <a:gd name="connsiteY24917" fmla="*/ 1052173 h 4687251"/>
              <a:gd name="connsiteX24918" fmla="*/ 2620026 w 8079933"/>
              <a:gd name="connsiteY24918" fmla="*/ 1055313 h 4687251"/>
              <a:gd name="connsiteX24919" fmla="*/ 2618615 w 8079933"/>
              <a:gd name="connsiteY24919" fmla="*/ 1058669 h 4687251"/>
              <a:gd name="connsiteX24920" fmla="*/ 2621545 w 8079933"/>
              <a:gd name="connsiteY24920" fmla="*/ 1059319 h 4687251"/>
              <a:gd name="connsiteX24921" fmla="*/ 2624475 w 8079933"/>
              <a:gd name="connsiteY24921" fmla="*/ 1062892 h 4687251"/>
              <a:gd name="connsiteX24922" fmla="*/ 2625994 w 8079933"/>
              <a:gd name="connsiteY24922" fmla="*/ 1066898 h 4687251"/>
              <a:gd name="connsiteX24923" fmla="*/ 2625560 w 8079933"/>
              <a:gd name="connsiteY24923" fmla="*/ 1069930 h 4687251"/>
              <a:gd name="connsiteX24924" fmla="*/ 2627514 w 8079933"/>
              <a:gd name="connsiteY24924" fmla="*/ 1070471 h 4687251"/>
              <a:gd name="connsiteX24925" fmla="*/ 2627079 w 8079933"/>
              <a:gd name="connsiteY24925" fmla="*/ 1072528 h 4687251"/>
              <a:gd name="connsiteX24926" fmla="*/ 2624475 w 8079933"/>
              <a:gd name="connsiteY24926" fmla="*/ 1073394 h 4687251"/>
              <a:gd name="connsiteX24927" fmla="*/ 2619591 w 8079933"/>
              <a:gd name="connsiteY24927" fmla="*/ 1072853 h 4687251"/>
              <a:gd name="connsiteX24928" fmla="*/ 2617530 w 8079933"/>
              <a:gd name="connsiteY24928" fmla="*/ 1070255 h 4687251"/>
              <a:gd name="connsiteX24929" fmla="*/ 2616228 w 8079933"/>
              <a:gd name="connsiteY24929" fmla="*/ 1074369 h 4687251"/>
              <a:gd name="connsiteX24930" fmla="*/ 2614708 w 8079933"/>
              <a:gd name="connsiteY24930" fmla="*/ 1074369 h 4687251"/>
              <a:gd name="connsiteX24931" fmla="*/ 2610259 w 8079933"/>
              <a:gd name="connsiteY24931" fmla="*/ 1069280 h 4687251"/>
              <a:gd name="connsiteX24932" fmla="*/ 2609500 w 8079933"/>
              <a:gd name="connsiteY24932" fmla="*/ 1066140 h 4687251"/>
              <a:gd name="connsiteX24933" fmla="*/ 2611127 w 8079933"/>
              <a:gd name="connsiteY24933" fmla="*/ 1063433 h 4687251"/>
              <a:gd name="connsiteX24934" fmla="*/ 2610259 w 8079933"/>
              <a:gd name="connsiteY24934" fmla="*/ 1060618 h 4687251"/>
              <a:gd name="connsiteX24935" fmla="*/ 2606461 w 8079933"/>
              <a:gd name="connsiteY24935" fmla="*/ 1058237 h 4687251"/>
              <a:gd name="connsiteX24936" fmla="*/ 2602663 w 8079933"/>
              <a:gd name="connsiteY24936" fmla="*/ 1058453 h 4687251"/>
              <a:gd name="connsiteX24937" fmla="*/ 2602012 w 8079933"/>
              <a:gd name="connsiteY24937" fmla="*/ 1055963 h 4687251"/>
              <a:gd name="connsiteX24938" fmla="*/ 2600276 w 8079933"/>
              <a:gd name="connsiteY24938" fmla="*/ 1052715 h 4687251"/>
              <a:gd name="connsiteX24939" fmla="*/ 2597888 w 8079933"/>
              <a:gd name="connsiteY24939" fmla="*/ 1054447 h 4687251"/>
              <a:gd name="connsiteX24940" fmla="*/ 2593765 w 8079933"/>
              <a:gd name="connsiteY24940" fmla="*/ 1055529 h 4687251"/>
              <a:gd name="connsiteX24941" fmla="*/ 2588447 w 8079933"/>
              <a:gd name="connsiteY24941" fmla="*/ 1055096 h 4687251"/>
              <a:gd name="connsiteX24942" fmla="*/ 2590509 w 8079933"/>
              <a:gd name="connsiteY24942" fmla="*/ 1057587 h 4687251"/>
              <a:gd name="connsiteX24943" fmla="*/ 2596261 w 8079933"/>
              <a:gd name="connsiteY24943" fmla="*/ 1058020 h 4687251"/>
              <a:gd name="connsiteX24944" fmla="*/ 2599841 w 8079933"/>
              <a:gd name="connsiteY24944" fmla="*/ 1059535 h 4687251"/>
              <a:gd name="connsiteX24945" fmla="*/ 2604834 w 8079933"/>
              <a:gd name="connsiteY24945" fmla="*/ 1061051 h 4687251"/>
              <a:gd name="connsiteX24946" fmla="*/ 2604834 w 8079933"/>
              <a:gd name="connsiteY24946" fmla="*/ 1065816 h 4687251"/>
              <a:gd name="connsiteX24947" fmla="*/ 2602229 w 8079933"/>
              <a:gd name="connsiteY24947" fmla="*/ 1069063 h 4687251"/>
              <a:gd name="connsiteX24948" fmla="*/ 2602338 w 8079933"/>
              <a:gd name="connsiteY24948" fmla="*/ 1071770 h 4687251"/>
              <a:gd name="connsiteX24949" fmla="*/ 2604942 w 8079933"/>
              <a:gd name="connsiteY24949" fmla="*/ 1071229 h 4687251"/>
              <a:gd name="connsiteX24950" fmla="*/ 2606461 w 8079933"/>
              <a:gd name="connsiteY24950" fmla="*/ 1073394 h 4687251"/>
              <a:gd name="connsiteX24951" fmla="*/ 2604725 w 8079933"/>
              <a:gd name="connsiteY24951" fmla="*/ 1075885 h 4687251"/>
              <a:gd name="connsiteX24952" fmla="*/ 2606679 w 8079933"/>
              <a:gd name="connsiteY24952" fmla="*/ 1076751 h 4687251"/>
              <a:gd name="connsiteX24953" fmla="*/ 2610585 w 8079933"/>
              <a:gd name="connsiteY24953" fmla="*/ 1076751 h 4687251"/>
              <a:gd name="connsiteX24954" fmla="*/ 2610802 w 8079933"/>
              <a:gd name="connsiteY24954" fmla="*/ 1078808 h 4687251"/>
              <a:gd name="connsiteX24955" fmla="*/ 2608197 w 8079933"/>
              <a:gd name="connsiteY24955" fmla="*/ 1082922 h 4687251"/>
              <a:gd name="connsiteX24956" fmla="*/ 2601904 w 8079933"/>
              <a:gd name="connsiteY24956" fmla="*/ 1088336 h 4687251"/>
              <a:gd name="connsiteX24957" fmla="*/ 2597997 w 8079933"/>
              <a:gd name="connsiteY24957" fmla="*/ 1091584 h 4687251"/>
              <a:gd name="connsiteX24958" fmla="*/ 2606461 w 8079933"/>
              <a:gd name="connsiteY24958" fmla="*/ 1089526 h 4687251"/>
              <a:gd name="connsiteX24959" fmla="*/ 2609065 w 8079933"/>
              <a:gd name="connsiteY24959" fmla="*/ 1086495 h 4687251"/>
              <a:gd name="connsiteX24960" fmla="*/ 2609934 w 8079933"/>
              <a:gd name="connsiteY24960" fmla="*/ 1084438 h 4687251"/>
              <a:gd name="connsiteX24961" fmla="*/ 2616553 w 8079933"/>
              <a:gd name="connsiteY24961" fmla="*/ 1084546 h 4687251"/>
              <a:gd name="connsiteX24962" fmla="*/ 2618506 w 8079933"/>
              <a:gd name="connsiteY24962" fmla="*/ 1086712 h 4687251"/>
              <a:gd name="connsiteX24963" fmla="*/ 2618506 w 8079933"/>
              <a:gd name="connsiteY24963" fmla="*/ 1088336 h 4687251"/>
              <a:gd name="connsiteX24964" fmla="*/ 2614383 w 8079933"/>
              <a:gd name="connsiteY24964" fmla="*/ 1090501 h 4687251"/>
              <a:gd name="connsiteX24965" fmla="*/ 2612321 w 8079933"/>
              <a:gd name="connsiteY24965" fmla="*/ 1093424 h 4687251"/>
              <a:gd name="connsiteX24966" fmla="*/ 2614057 w 8079933"/>
              <a:gd name="connsiteY24966" fmla="*/ 1094724 h 4687251"/>
              <a:gd name="connsiteX24967" fmla="*/ 2618073 w 8079933"/>
              <a:gd name="connsiteY24967" fmla="*/ 1095265 h 4687251"/>
              <a:gd name="connsiteX24968" fmla="*/ 2620677 w 8079933"/>
              <a:gd name="connsiteY24968" fmla="*/ 1097863 h 4687251"/>
              <a:gd name="connsiteX24969" fmla="*/ 2618398 w 8079933"/>
              <a:gd name="connsiteY24969" fmla="*/ 1099271 h 4687251"/>
              <a:gd name="connsiteX24970" fmla="*/ 2614166 w 8079933"/>
              <a:gd name="connsiteY24970" fmla="*/ 1099812 h 4687251"/>
              <a:gd name="connsiteX24971" fmla="*/ 2612864 w 8079933"/>
              <a:gd name="connsiteY24971" fmla="*/ 1101761 h 4687251"/>
              <a:gd name="connsiteX24972" fmla="*/ 2615143 w 8079933"/>
              <a:gd name="connsiteY24972" fmla="*/ 1102519 h 4687251"/>
              <a:gd name="connsiteX24973" fmla="*/ 2615902 w 8079933"/>
              <a:gd name="connsiteY24973" fmla="*/ 1105334 h 4687251"/>
              <a:gd name="connsiteX24974" fmla="*/ 2615360 w 8079933"/>
              <a:gd name="connsiteY24974" fmla="*/ 1105875 h 4687251"/>
              <a:gd name="connsiteX24975" fmla="*/ 2615793 w 8079933"/>
              <a:gd name="connsiteY24975" fmla="*/ 1107391 h 4687251"/>
              <a:gd name="connsiteX24976" fmla="*/ 2617530 w 8079933"/>
              <a:gd name="connsiteY24976" fmla="*/ 1107391 h 4687251"/>
              <a:gd name="connsiteX24977" fmla="*/ 2616770 w 8079933"/>
              <a:gd name="connsiteY24977" fmla="*/ 1111181 h 4687251"/>
              <a:gd name="connsiteX24978" fmla="*/ 2618723 w 8079933"/>
              <a:gd name="connsiteY24978" fmla="*/ 1111614 h 4687251"/>
              <a:gd name="connsiteX24979" fmla="*/ 2619591 w 8079933"/>
              <a:gd name="connsiteY24979" fmla="*/ 1114862 h 4687251"/>
              <a:gd name="connsiteX24980" fmla="*/ 2620134 w 8079933"/>
              <a:gd name="connsiteY24980" fmla="*/ 1120601 h 4687251"/>
              <a:gd name="connsiteX24981" fmla="*/ 2621219 w 8079933"/>
              <a:gd name="connsiteY24981" fmla="*/ 1121358 h 4687251"/>
              <a:gd name="connsiteX24982" fmla="*/ 2622522 w 8079933"/>
              <a:gd name="connsiteY24982" fmla="*/ 1118760 h 4687251"/>
              <a:gd name="connsiteX24983" fmla="*/ 2622956 w 8079933"/>
              <a:gd name="connsiteY24983" fmla="*/ 1114320 h 4687251"/>
              <a:gd name="connsiteX24984" fmla="*/ 2625017 w 8079933"/>
              <a:gd name="connsiteY24984" fmla="*/ 1113021 h 4687251"/>
              <a:gd name="connsiteX24985" fmla="*/ 2627730 w 8079933"/>
              <a:gd name="connsiteY24985" fmla="*/ 1115512 h 4687251"/>
              <a:gd name="connsiteX24986" fmla="*/ 2628382 w 8079933"/>
              <a:gd name="connsiteY24986" fmla="*/ 1120383 h 4687251"/>
              <a:gd name="connsiteX24987" fmla="*/ 2630227 w 8079933"/>
              <a:gd name="connsiteY24987" fmla="*/ 1122549 h 4687251"/>
              <a:gd name="connsiteX24988" fmla="*/ 2629250 w 8079933"/>
              <a:gd name="connsiteY24988" fmla="*/ 1124173 h 4687251"/>
              <a:gd name="connsiteX24989" fmla="*/ 2625777 w 8079933"/>
              <a:gd name="connsiteY24989" fmla="*/ 1126338 h 4687251"/>
              <a:gd name="connsiteX24990" fmla="*/ 2626537 w 8079933"/>
              <a:gd name="connsiteY24990" fmla="*/ 1128071 h 4687251"/>
              <a:gd name="connsiteX24991" fmla="*/ 2632288 w 8079933"/>
              <a:gd name="connsiteY24991" fmla="*/ 1127205 h 4687251"/>
              <a:gd name="connsiteX24992" fmla="*/ 2633590 w 8079933"/>
              <a:gd name="connsiteY24992" fmla="*/ 1126122 h 4687251"/>
              <a:gd name="connsiteX24993" fmla="*/ 2633916 w 8079933"/>
              <a:gd name="connsiteY24993" fmla="*/ 1129154 h 4687251"/>
              <a:gd name="connsiteX24994" fmla="*/ 2635978 w 8079933"/>
              <a:gd name="connsiteY24994" fmla="*/ 1126014 h 4687251"/>
              <a:gd name="connsiteX24995" fmla="*/ 2636086 w 8079933"/>
              <a:gd name="connsiteY24995" fmla="*/ 1123524 h 4687251"/>
              <a:gd name="connsiteX24996" fmla="*/ 2638691 w 8079933"/>
              <a:gd name="connsiteY24996" fmla="*/ 1123848 h 4687251"/>
              <a:gd name="connsiteX24997" fmla="*/ 2640753 w 8079933"/>
              <a:gd name="connsiteY24997" fmla="*/ 1127313 h 4687251"/>
              <a:gd name="connsiteX24998" fmla="*/ 2639884 w 8079933"/>
              <a:gd name="connsiteY24998" fmla="*/ 1131319 h 4687251"/>
              <a:gd name="connsiteX24999" fmla="*/ 2636846 w 8079933"/>
              <a:gd name="connsiteY24999" fmla="*/ 1134350 h 4687251"/>
              <a:gd name="connsiteX25000" fmla="*/ 2636195 w 8079933"/>
              <a:gd name="connsiteY25000" fmla="*/ 1137058 h 4687251"/>
              <a:gd name="connsiteX25001" fmla="*/ 2635218 w 8079933"/>
              <a:gd name="connsiteY25001" fmla="*/ 1138465 h 4687251"/>
              <a:gd name="connsiteX25002" fmla="*/ 2637497 w 8079933"/>
              <a:gd name="connsiteY25002" fmla="*/ 1140522 h 4687251"/>
              <a:gd name="connsiteX25003" fmla="*/ 2643140 w 8079933"/>
              <a:gd name="connsiteY25003" fmla="*/ 1139981 h 4687251"/>
              <a:gd name="connsiteX25004" fmla="*/ 2645961 w 8079933"/>
              <a:gd name="connsiteY25004" fmla="*/ 1138573 h 4687251"/>
              <a:gd name="connsiteX25005" fmla="*/ 2647915 w 8079933"/>
              <a:gd name="connsiteY25005" fmla="*/ 1140414 h 4687251"/>
              <a:gd name="connsiteX25006" fmla="*/ 2644225 w 8079933"/>
              <a:gd name="connsiteY25006" fmla="*/ 1143121 h 4687251"/>
              <a:gd name="connsiteX25007" fmla="*/ 2643248 w 8079933"/>
              <a:gd name="connsiteY25007" fmla="*/ 1144744 h 4687251"/>
              <a:gd name="connsiteX25008" fmla="*/ 2638148 w 8079933"/>
              <a:gd name="connsiteY25008" fmla="*/ 1145611 h 4687251"/>
              <a:gd name="connsiteX25009" fmla="*/ 2640969 w 8079933"/>
              <a:gd name="connsiteY25009" fmla="*/ 1148859 h 4687251"/>
              <a:gd name="connsiteX25010" fmla="*/ 2643682 w 8079933"/>
              <a:gd name="connsiteY25010" fmla="*/ 1153839 h 4687251"/>
              <a:gd name="connsiteX25011" fmla="*/ 2642706 w 8079933"/>
              <a:gd name="connsiteY25011" fmla="*/ 1157304 h 4687251"/>
              <a:gd name="connsiteX25012" fmla="*/ 2644876 w 8079933"/>
              <a:gd name="connsiteY25012" fmla="*/ 1157845 h 4687251"/>
              <a:gd name="connsiteX25013" fmla="*/ 2645744 w 8079933"/>
              <a:gd name="connsiteY25013" fmla="*/ 1163692 h 4687251"/>
              <a:gd name="connsiteX25014" fmla="*/ 2650953 w 8079933"/>
              <a:gd name="connsiteY25014" fmla="*/ 1171812 h 4687251"/>
              <a:gd name="connsiteX25015" fmla="*/ 2652472 w 8079933"/>
              <a:gd name="connsiteY25015" fmla="*/ 1173111 h 4687251"/>
              <a:gd name="connsiteX25016" fmla="*/ 2649434 w 8079933"/>
              <a:gd name="connsiteY25016" fmla="*/ 1174844 h 4687251"/>
              <a:gd name="connsiteX25017" fmla="*/ 2648891 w 8079933"/>
              <a:gd name="connsiteY25017" fmla="*/ 1181448 h 4687251"/>
              <a:gd name="connsiteX25018" fmla="*/ 2646612 w 8079933"/>
              <a:gd name="connsiteY25018" fmla="*/ 1186212 h 4687251"/>
              <a:gd name="connsiteX25019" fmla="*/ 2647697 w 8079933"/>
              <a:gd name="connsiteY25019" fmla="*/ 1191193 h 4687251"/>
              <a:gd name="connsiteX25020" fmla="*/ 2646287 w 8079933"/>
              <a:gd name="connsiteY25020" fmla="*/ 1192925 h 4687251"/>
              <a:gd name="connsiteX25021" fmla="*/ 2640210 w 8079933"/>
              <a:gd name="connsiteY25021" fmla="*/ 1186104 h 4687251"/>
              <a:gd name="connsiteX25022" fmla="*/ 2638908 w 8079933"/>
              <a:gd name="connsiteY25022" fmla="*/ 1180690 h 4687251"/>
              <a:gd name="connsiteX25023" fmla="*/ 2639559 w 8079933"/>
              <a:gd name="connsiteY25023" fmla="*/ 1175927 h 4687251"/>
              <a:gd name="connsiteX25024" fmla="*/ 2638040 w 8079933"/>
              <a:gd name="connsiteY25024" fmla="*/ 1169213 h 4687251"/>
              <a:gd name="connsiteX25025" fmla="*/ 2637497 w 8079933"/>
              <a:gd name="connsiteY25025" fmla="*/ 1175168 h 4687251"/>
              <a:gd name="connsiteX25026" fmla="*/ 2636629 w 8079933"/>
              <a:gd name="connsiteY25026" fmla="*/ 1181882 h 4687251"/>
              <a:gd name="connsiteX25027" fmla="*/ 2639559 w 8079933"/>
              <a:gd name="connsiteY25027" fmla="*/ 1189785 h 4687251"/>
              <a:gd name="connsiteX25028" fmla="*/ 2639016 w 8079933"/>
              <a:gd name="connsiteY25028" fmla="*/ 1197256 h 4687251"/>
              <a:gd name="connsiteX25029" fmla="*/ 2637497 w 8079933"/>
              <a:gd name="connsiteY25029" fmla="*/ 1201045 h 4687251"/>
              <a:gd name="connsiteX25030" fmla="*/ 2640101 w 8079933"/>
              <a:gd name="connsiteY25030" fmla="*/ 1205484 h 4687251"/>
              <a:gd name="connsiteX25031" fmla="*/ 2638691 w 8079933"/>
              <a:gd name="connsiteY25031" fmla="*/ 1207000 h 4687251"/>
              <a:gd name="connsiteX25032" fmla="*/ 2634567 w 8079933"/>
              <a:gd name="connsiteY25032" fmla="*/ 1206134 h 4687251"/>
              <a:gd name="connsiteX25033" fmla="*/ 2632505 w 8079933"/>
              <a:gd name="connsiteY25033" fmla="*/ 1202669 h 4687251"/>
              <a:gd name="connsiteX25034" fmla="*/ 2628707 w 8079933"/>
              <a:gd name="connsiteY25034" fmla="*/ 1202669 h 4687251"/>
              <a:gd name="connsiteX25035" fmla="*/ 2631312 w 8079933"/>
              <a:gd name="connsiteY25035" fmla="*/ 1211439 h 4687251"/>
              <a:gd name="connsiteX25036" fmla="*/ 2630986 w 8079933"/>
              <a:gd name="connsiteY25036" fmla="*/ 1217178 h 4687251"/>
              <a:gd name="connsiteX25037" fmla="*/ 2632288 w 8079933"/>
              <a:gd name="connsiteY25037" fmla="*/ 1218585 h 4687251"/>
              <a:gd name="connsiteX25038" fmla="*/ 2632288 w 8079933"/>
              <a:gd name="connsiteY25038" fmla="*/ 1221617 h 4687251"/>
              <a:gd name="connsiteX25039" fmla="*/ 2628056 w 8079933"/>
              <a:gd name="connsiteY25039" fmla="*/ 1221075 h 4687251"/>
              <a:gd name="connsiteX25040" fmla="*/ 2625452 w 8079933"/>
              <a:gd name="connsiteY25040" fmla="*/ 1218152 h 4687251"/>
              <a:gd name="connsiteX25041" fmla="*/ 2623716 w 8079933"/>
              <a:gd name="connsiteY25041" fmla="*/ 1210790 h 4687251"/>
              <a:gd name="connsiteX25042" fmla="*/ 2625234 w 8079933"/>
              <a:gd name="connsiteY25042" fmla="*/ 1208624 h 4687251"/>
              <a:gd name="connsiteX25043" fmla="*/ 2625234 w 8079933"/>
              <a:gd name="connsiteY25043" fmla="*/ 1203968 h 4687251"/>
              <a:gd name="connsiteX25044" fmla="*/ 2623173 w 8079933"/>
              <a:gd name="connsiteY25044" fmla="*/ 1206459 h 4687251"/>
              <a:gd name="connsiteX25045" fmla="*/ 2619917 w 8079933"/>
              <a:gd name="connsiteY25045" fmla="*/ 1207000 h 4687251"/>
              <a:gd name="connsiteX25046" fmla="*/ 2617964 w 8079933"/>
              <a:gd name="connsiteY25046" fmla="*/ 1204294 h 4687251"/>
              <a:gd name="connsiteX25047" fmla="*/ 2617964 w 8079933"/>
              <a:gd name="connsiteY25047" fmla="*/ 1197364 h 4687251"/>
              <a:gd name="connsiteX25048" fmla="*/ 2615468 w 8079933"/>
              <a:gd name="connsiteY25048" fmla="*/ 1198880 h 4687251"/>
              <a:gd name="connsiteX25049" fmla="*/ 2615143 w 8079933"/>
              <a:gd name="connsiteY25049" fmla="*/ 1202345 h 4687251"/>
              <a:gd name="connsiteX25050" fmla="*/ 2614057 w 8079933"/>
              <a:gd name="connsiteY25050" fmla="*/ 1200829 h 4687251"/>
              <a:gd name="connsiteX25051" fmla="*/ 2614275 w 8079933"/>
              <a:gd name="connsiteY25051" fmla="*/ 1197905 h 4687251"/>
              <a:gd name="connsiteX25052" fmla="*/ 2612647 w 8079933"/>
              <a:gd name="connsiteY25052" fmla="*/ 1193574 h 4687251"/>
              <a:gd name="connsiteX25053" fmla="*/ 2609717 w 8079933"/>
              <a:gd name="connsiteY25053" fmla="*/ 1192925 h 4687251"/>
              <a:gd name="connsiteX25054" fmla="*/ 2609717 w 8079933"/>
              <a:gd name="connsiteY25054" fmla="*/ 1194766 h 4687251"/>
              <a:gd name="connsiteX25055" fmla="*/ 2611453 w 8079933"/>
              <a:gd name="connsiteY25055" fmla="*/ 1197039 h 4687251"/>
              <a:gd name="connsiteX25056" fmla="*/ 2610150 w 8079933"/>
              <a:gd name="connsiteY25056" fmla="*/ 1199746 h 4687251"/>
              <a:gd name="connsiteX25057" fmla="*/ 2607112 w 8079933"/>
              <a:gd name="connsiteY25057" fmla="*/ 1197689 h 4687251"/>
              <a:gd name="connsiteX25058" fmla="*/ 2604942 w 8079933"/>
              <a:gd name="connsiteY25058" fmla="*/ 1197039 h 4687251"/>
              <a:gd name="connsiteX25059" fmla="*/ 2604399 w 8079933"/>
              <a:gd name="connsiteY25059" fmla="*/ 1193250 h 4687251"/>
              <a:gd name="connsiteX25060" fmla="*/ 2604942 w 8079933"/>
              <a:gd name="connsiteY25060" fmla="*/ 1189135 h 4687251"/>
              <a:gd name="connsiteX25061" fmla="*/ 2602338 w 8079933"/>
              <a:gd name="connsiteY25061" fmla="*/ 1181882 h 4687251"/>
              <a:gd name="connsiteX25062" fmla="*/ 2602338 w 8079933"/>
              <a:gd name="connsiteY25062" fmla="*/ 1178958 h 4687251"/>
              <a:gd name="connsiteX25063" fmla="*/ 2601144 w 8079933"/>
              <a:gd name="connsiteY25063" fmla="*/ 1183180 h 4687251"/>
              <a:gd name="connsiteX25064" fmla="*/ 2601469 w 8079933"/>
              <a:gd name="connsiteY25064" fmla="*/ 1190218 h 4687251"/>
              <a:gd name="connsiteX25065" fmla="*/ 2602663 w 8079933"/>
              <a:gd name="connsiteY25065" fmla="*/ 1194657 h 4687251"/>
              <a:gd name="connsiteX25066" fmla="*/ 2600059 w 8079933"/>
              <a:gd name="connsiteY25066" fmla="*/ 1197364 h 4687251"/>
              <a:gd name="connsiteX25067" fmla="*/ 2596803 w 8079933"/>
              <a:gd name="connsiteY25067" fmla="*/ 1189677 h 4687251"/>
              <a:gd name="connsiteX25068" fmla="*/ 2593548 w 8079933"/>
              <a:gd name="connsiteY25068" fmla="*/ 1186429 h 4687251"/>
              <a:gd name="connsiteX25069" fmla="*/ 2593548 w 8079933"/>
              <a:gd name="connsiteY25069" fmla="*/ 1184155 h 4687251"/>
              <a:gd name="connsiteX25070" fmla="*/ 2590292 w 8079933"/>
              <a:gd name="connsiteY25070" fmla="*/ 1183505 h 4687251"/>
              <a:gd name="connsiteX25071" fmla="*/ 2588014 w 8079933"/>
              <a:gd name="connsiteY25071" fmla="*/ 1176035 h 4687251"/>
              <a:gd name="connsiteX25072" fmla="*/ 2585952 w 8079933"/>
              <a:gd name="connsiteY25072" fmla="*/ 1174194 h 4687251"/>
              <a:gd name="connsiteX25073" fmla="*/ 2585952 w 8079933"/>
              <a:gd name="connsiteY25073" fmla="*/ 1171812 h 4687251"/>
              <a:gd name="connsiteX25074" fmla="*/ 2583889 w 8079933"/>
              <a:gd name="connsiteY25074" fmla="*/ 1168348 h 4687251"/>
              <a:gd name="connsiteX25075" fmla="*/ 2581503 w 8079933"/>
              <a:gd name="connsiteY25075" fmla="*/ 1169755 h 4687251"/>
              <a:gd name="connsiteX25076" fmla="*/ 2581177 w 8079933"/>
              <a:gd name="connsiteY25076" fmla="*/ 1171812 h 4687251"/>
              <a:gd name="connsiteX25077" fmla="*/ 2583347 w 8079933"/>
              <a:gd name="connsiteY25077" fmla="*/ 1177334 h 4687251"/>
              <a:gd name="connsiteX25078" fmla="*/ 2583781 w 8079933"/>
              <a:gd name="connsiteY25078" fmla="*/ 1181015 h 4687251"/>
              <a:gd name="connsiteX25079" fmla="*/ 2581719 w 8079933"/>
              <a:gd name="connsiteY25079" fmla="*/ 1178958 h 4687251"/>
              <a:gd name="connsiteX25080" fmla="*/ 2581286 w 8079933"/>
              <a:gd name="connsiteY25080" fmla="*/ 1175927 h 4687251"/>
              <a:gd name="connsiteX25081" fmla="*/ 2578898 w 8079933"/>
              <a:gd name="connsiteY25081" fmla="*/ 1173870 h 4687251"/>
              <a:gd name="connsiteX25082" fmla="*/ 2573580 w 8079933"/>
              <a:gd name="connsiteY25082" fmla="*/ 1171271 h 4687251"/>
              <a:gd name="connsiteX25083" fmla="*/ 2570434 w 8079933"/>
              <a:gd name="connsiteY25083" fmla="*/ 1165316 h 4687251"/>
              <a:gd name="connsiteX25084" fmla="*/ 2570108 w 8079933"/>
              <a:gd name="connsiteY25084" fmla="*/ 1160768 h 4687251"/>
              <a:gd name="connsiteX25085" fmla="*/ 2565442 w 8079933"/>
              <a:gd name="connsiteY25085" fmla="*/ 1159686 h 4687251"/>
              <a:gd name="connsiteX25086" fmla="*/ 2563598 w 8079933"/>
              <a:gd name="connsiteY25086" fmla="*/ 1162826 h 4687251"/>
              <a:gd name="connsiteX25087" fmla="*/ 2560450 w 8079933"/>
              <a:gd name="connsiteY25087" fmla="*/ 1161093 h 4687251"/>
              <a:gd name="connsiteX25088" fmla="*/ 2559908 w 8079933"/>
              <a:gd name="connsiteY25088" fmla="*/ 1165099 h 4687251"/>
              <a:gd name="connsiteX25089" fmla="*/ 2561210 w 8079933"/>
              <a:gd name="connsiteY25089" fmla="*/ 1170946 h 4687251"/>
              <a:gd name="connsiteX25090" fmla="*/ 2567721 w 8079933"/>
              <a:gd name="connsiteY25090" fmla="*/ 1176468 h 4687251"/>
              <a:gd name="connsiteX25091" fmla="*/ 2567829 w 8079933"/>
              <a:gd name="connsiteY25091" fmla="*/ 1178633 h 4687251"/>
              <a:gd name="connsiteX25092" fmla="*/ 2568372 w 8079933"/>
              <a:gd name="connsiteY25092" fmla="*/ 1181882 h 4687251"/>
              <a:gd name="connsiteX25093" fmla="*/ 2568914 w 8079933"/>
              <a:gd name="connsiteY25093" fmla="*/ 1187619 h 4687251"/>
              <a:gd name="connsiteX25094" fmla="*/ 2570868 w 8079933"/>
              <a:gd name="connsiteY25094" fmla="*/ 1187295 h 4687251"/>
              <a:gd name="connsiteX25095" fmla="*/ 2576293 w 8079933"/>
              <a:gd name="connsiteY25095" fmla="*/ 1188270 h 4687251"/>
              <a:gd name="connsiteX25096" fmla="*/ 2579223 w 8079933"/>
              <a:gd name="connsiteY25096" fmla="*/ 1192276 h 4687251"/>
              <a:gd name="connsiteX25097" fmla="*/ 2578030 w 8079933"/>
              <a:gd name="connsiteY25097" fmla="*/ 1194766 h 4687251"/>
              <a:gd name="connsiteX25098" fmla="*/ 2580091 w 8079933"/>
              <a:gd name="connsiteY25098" fmla="*/ 1194441 h 4687251"/>
              <a:gd name="connsiteX25099" fmla="*/ 2583239 w 8079933"/>
              <a:gd name="connsiteY25099" fmla="*/ 1195199 h 4687251"/>
              <a:gd name="connsiteX25100" fmla="*/ 2580634 w 8079933"/>
              <a:gd name="connsiteY25100" fmla="*/ 1198555 h 4687251"/>
              <a:gd name="connsiteX25101" fmla="*/ 2584975 w 8079933"/>
              <a:gd name="connsiteY25101" fmla="*/ 1198772 h 4687251"/>
              <a:gd name="connsiteX25102" fmla="*/ 2586494 w 8079933"/>
              <a:gd name="connsiteY25102" fmla="*/ 1201803 h 4687251"/>
              <a:gd name="connsiteX25103" fmla="*/ 2588882 w 8079933"/>
              <a:gd name="connsiteY25103" fmla="*/ 1206351 h 4687251"/>
              <a:gd name="connsiteX25104" fmla="*/ 2588014 w 8079933"/>
              <a:gd name="connsiteY25104" fmla="*/ 1210249 h 4687251"/>
              <a:gd name="connsiteX25105" fmla="*/ 2591812 w 8079933"/>
              <a:gd name="connsiteY25105" fmla="*/ 1209815 h 4687251"/>
              <a:gd name="connsiteX25106" fmla="*/ 2594307 w 8079933"/>
              <a:gd name="connsiteY25106" fmla="*/ 1210790 h 4687251"/>
              <a:gd name="connsiteX25107" fmla="*/ 2595501 w 8079933"/>
              <a:gd name="connsiteY25107" fmla="*/ 1216204 h 4687251"/>
              <a:gd name="connsiteX25108" fmla="*/ 2591703 w 8079933"/>
              <a:gd name="connsiteY25108" fmla="*/ 1220426 h 4687251"/>
              <a:gd name="connsiteX25109" fmla="*/ 2594199 w 8079933"/>
              <a:gd name="connsiteY25109" fmla="*/ 1220318 h 4687251"/>
              <a:gd name="connsiteX25110" fmla="*/ 2595393 w 8079933"/>
              <a:gd name="connsiteY25110" fmla="*/ 1223349 h 4687251"/>
              <a:gd name="connsiteX25111" fmla="*/ 2595610 w 8079933"/>
              <a:gd name="connsiteY25111" fmla="*/ 1225623 h 4687251"/>
              <a:gd name="connsiteX25112" fmla="*/ 2599516 w 8079933"/>
              <a:gd name="connsiteY25112" fmla="*/ 1221833 h 4687251"/>
              <a:gd name="connsiteX25113" fmla="*/ 2600601 w 8079933"/>
              <a:gd name="connsiteY25113" fmla="*/ 1222916 h 4687251"/>
              <a:gd name="connsiteX25114" fmla="*/ 2600059 w 8079933"/>
              <a:gd name="connsiteY25114" fmla="*/ 1227896 h 4687251"/>
              <a:gd name="connsiteX25115" fmla="*/ 2601469 w 8079933"/>
              <a:gd name="connsiteY25115" fmla="*/ 1229737 h 4687251"/>
              <a:gd name="connsiteX25116" fmla="*/ 2603314 w 8079933"/>
              <a:gd name="connsiteY25116" fmla="*/ 1228546 h 4687251"/>
              <a:gd name="connsiteX25117" fmla="*/ 2604725 w 8079933"/>
              <a:gd name="connsiteY25117" fmla="*/ 1231253 h 4687251"/>
              <a:gd name="connsiteX25118" fmla="*/ 2603423 w 8079933"/>
              <a:gd name="connsiteY25118" fmla="*/ 1234176 h 4687251"/>
              <a:gd name="connsiteX25119" fmla="*/ 2599841 w 8079933"/>
              <a:gd name="connsiteY25119" fmla="*/ 1233310 h 4687251"/>
              <a:gd name="connsiteX25120" fmla="*/ 2597997 w 8079933"/>
              <a:gd name="connsiteY25120" fmla="*/ 1235367 h 4687251"/>
              <a:gd name="connsiteX25121" fmla="*/ 2599733 w 8079933"/>
              <a:gd name="connsiteY25121" fmla="*/ 1238398 h 4687251"/>
              <a:gd name="connsiteX25122" fmla="*/ 2602663 w 8079933"/>
              <a:gd name="connsiteY25122" fmla="*/ 1241647 h 4687251"/>
              <a:gd name="connsiteX25123" fmla="*/ 2602446 w 8079933"/>
              <a:gd name="connsiteY25123" fmla="*/ 1244353 h 4687251"/>
              <a:gd name="connsiteX25124" fmla="*/ 2601469 w 8079933"/>
              <a:gd name="connsiteY25124" fmla="*/ 1245545 h 4687251"/>
              <a:gd name="connsiteX25125" fmla="*/ 2597237 w 8079933"/>
              <a:gd name="connsiteY25125" fmla="*/ 1245545 h 4687251"/>
              <a:gd name="connsiteX25126" fmla="*/ 2593005 w 8079933"/>
              <a:gd name="connsiteY25126" fmla="*/ 1242946 h 4687251"/>
              <a:gd name="connsiteX25127" fmla="*/ 2585734 w 8079933"/>
              <a:gd name="connsiteY25127" fmla="*/ 1240455 h 4687251"/>
              <a:gd name="connsiteX25128" fmla="*/ 2582371 w 8079933"/>
              <a:gd name="connsiteY25128" fmla="*/ 1237857 h 4687251"/>
              <a:gd name="connsiteX25129" fmla="*/ 2579115 w 8079933"/>
              <a:gd name="connsiteY25129" fmla="*/ 1237316 h 4687251"/>
              <a:gd name="connsiteX25130" fmla="*/ 2572604 w 8079933"/>
              <a:gd name="connsiteY25130" fmla="*/ 1231686 h 4687251"/>
              <a:gd name="connsiteX25131" fmla="*/ 2571410 w 8079933"/>
              <a:gd name="connsiteY25131" fmla="*/ 1228979 h 4687251"/>
              <a:gd name="connsiteX25132" fmla="*/ 2567937 w 8079933"/>
              <a:gd name="connsiteY25132" fmla="*/ 1227030 h 4687251"/>
              <a:gd name="connsiteX25133" fmla="*/ 2565116 w 8079933"/>
              <a:gd name="connsiteY25133" fmla="*/ 1227355 h 4687251"/>
              <a:gd name="connsiteX25134" fmla="*/ 2562512 w 8079933"/>
              <a:gd name="connsiteY25134" fmla="*/ 1226272 h 4687251"/>
              <a:gd name="connsiteX25135" fmla="*/ 2560667 w 8079933"/>
              <a:gd name="connsiteY25135" fmla="*/ 1227788 h 4687251"/>
              <a:gd name="connsiteX25136" fmla="*/ 2553505 w 8079933"/>
              <a:gd name="connsiteY25136" fmla="*/ 1224757 h 4687251"/>
              <a:gd name="connsiteX25137" fmla="*/ 2552637 w 8079933"/>
              <a:gd name="connsiteY25137" fmla="*/ 1222266 h 4687251"/>
              <a:gd name="connsiteX25138" fmla="*/ 2550032 w 8079933"/>
              <a:gd name="connsiteY25138" fmla="*/ 1219776 h 4687251"/>
              <a:gd name="connsiteX25139" fmla="*/ 2546777 w 8079933"/>
              <a:gd name="connsiteY25139" fmla="*/ 1219776 h 4687251"/>
              <a:gd name="connsiteX25140" fmla="*/ 2541894 w 8079933"/>
              <a:gd name="connsiteY25140" fmla="*/ 1214146 h 4687251"/>
              <a:gd name="connsiteX25141" fmla="*/ 2542003 w 8079933"/>
              <a:gd name="connsiteY25141" fmla="*/ 1211006 h 4687251"/>
              <a:gd name="connsiteX25142" fmla="*/ 2539723 w 8079933"/>
              <a:gd name="connsiteY25142" fmla="*/ 1211223 h 4687251"/>
              <a:gd name="connsiteX25143" fmla="*/ 2536902 w 8079933"/>
              <a:gd name="connsiteY25143" fmla="*/ 1209274 h 4687251"/>
              <a:gd name="connsiteX25144" fmla="*/ 2534840 w 8079933"/>
              <a:gd name="connsiteY25144" fmla="*/ 1205160 h 4687251"/>
              <a:gd name="connsiteX25145" fmla="*/ 2536793 w 8079933"/>
              <a:gd name="connsiteY25145" fmla="*/ 1203319 h 4687251"/>
              <a:gd name="connsiteX25146" fmla="*/ 2539073 w 8079933"/>
              <a:gd name="connsiteY25146" fmla="*/ 1201803 h 4687251"/>
              <a:gd name="connsiteX25147" fmla="*/ 2534732 w 8079933"/>
              <a:gd name="connsiteY25147" fmla="*/ 1199963 h 4687251"/>
              <a:gd name="connsiteX25148" fmla="*/ 2533212 w 8079933"/>
              <a:gd name="connsiteY25148" fmla="*/ 1201045 h 4687251"/>
              <a:gd name="connsiteX25149" fmla="*/ 2532019 w 8079933"/>
              <a:gd name="connsiteY25149" fmla="*/ 1202778 h 4687251"/>
              <a:gd name="connsiteX25150" fmla="*/ 2529523 w 8079933"/>
              <a:gd name="connsiteY25150" fmla="*/ 1201262 h 4687251"/>
              <a:gd name="connsiteX25151" fmla="*/ 2529632 w 8079933"/>
              <a:gd name="connsiteY25151" fmla="*/ 1199313 h 4687251"/>
              <a:gd name="connsiteX25152" fmla="*/ 2525725 w 8079933"/>
              <a:gd name="connsiteY25152" fmla="*/ 1199313 h 4687251"/>
              <a:gd name="connsiteX25153" fmla="*/ 2518346 w 8079933"/>
              <a:gd name="connsiteY25153" fmla="*/ 1194333 h 4687251"/>
              <a:gd name="connsiteX25154" fmla="*/ 2515307 w 8079933"/>
              <a:gd name="connsiteY25154" fmla="*/ 1194116 h 4687251"/>
              <a:gd name="connsiteX25155" fmla="*/ 2512920 w 8079933"/>
              <a:gd name="connsiteY25155" fmla="*/ 1191843 h 4687251"/>
              <a:gd name="connsiteX25156" fmla="*/ 2508579 w 8079933"/>
              <a:gd name="connsiteY25156" fmla="*/ 1188270 h 4687251"/>
              <a:gd name="connsiteX25157" fmla="*/ 2508905 w 8079933"/>
              <a:gd name="connsiteY25157" fmla="*/ 1185779 h 4687251"/>
              <a:gd name="connsiteX25158" fmla="*/ 2505866 w 8079933"/>
              <a:gd name="connsiteY25158" fmla="*/ 1185346 h 4687251"/>
              <a:gd name="connsiteX25159" fmla="*/ 2503153 w 8079933"/>
              <a:gd name="connsiteY25159" fmla="*/ 1181990 h 4687251"/>
              <a:gd name="connsiteX25160" fmla="*/ 2500223 w 8079933"/>
              <a:gd name="connsiteY25160" fmla="*/ 1178092 h 4687251"/>
              <a:gd name="connsiteX25161" fmla="*/ 2499790 w 8079933"/>
              <a:gd name="connsiteY25161" fmla="*/ 1172462 h 4687251"/>
              <a:gd name="connsiteX25162" fmla="*/ 2495340 w 8079933"/>
              <a:gd name="connsiteY25162" fmla="*/ 1170188 h 4687251"/>
              <a:gd name="connsiteX25163" fmla="*/ 2496860 w 8079933"/>
              <a:gd name="connsiteY25163" fmla="*/ 1168348 h 4687251"/>
              <a:gd name="connsiteX25164" fmla="*/ 2503262 w 8079933"/>
              <a:gd name="connsiteY25164" fmla="*/ 1168672 h 4687251"/>
              <a:gd name="connsiteX25165" fmla="*/ 2511835 w 8079933"/>
              <a:gd name="connsiteY25165" fmla="*/ 1162826 h 4687251"/>
              <a:gd name="connsiteX25166" fmla="*/ 2513571 w 8079933"/>
              <a:gd name="connsiteY25166" fmla="*/ 1160444 h 4687251"/>
              <a:gd name="connsiteX25167" fmla="*/ 2506734 w 8079933"/>
              <a:gd name="connsiteY25167" fmla="*/ 1161310 h 4687251"/>
              <a:gd name="connsiteX25168" fmla="*/ 2503479 w 8079933"/>
              <a:gd name="connsiteY25168" fmla="*/ 1156329 h 4687251"/>
              <a:gd name="connsiteX25169" fmla="*/ 2501851 w 8079933"/>
              <a:gd name="connsiteY25169" fmla="*/ 1151133 h 4687251"/>
              <a:gd name="connsiteX25170" fmla="*/ 2502936 w 8079933"/>
              <a:gd name="connsiteY25170" fmla="*/ 1149292 h 4687251"/>
              <a:gd name="connsiteX25171" fmla="*/ 2500332 w 8079933"/>
              <a:gd name="connsiteY25171" fmla="*/ 1150483 h 4687251"/>
              <a:gd name="connsiteX25172" fmla="*/ 2498162 w 8079933"/>
              <a:gd name="connsiteY25172" fmla="*/ 1154814 h 4687251"/>
              <a:gd name="connsiteX25173" fmla="*/ 2497619 w 8079933"/>
              <a:gd name="connsiteY25173" fmla="*/ 1158170 h 4687251"/>
              <a:gd name="connsiteX25174" fmla="*/ 2493604 w 8079933"/>
              <a:gd name="connsiteY25174" fmla="*/ 1154272 h 4687251"/>
              <a:gd name="connsiteX25175" fmla="*/ 2496425 w 8079933"/>
              <a:gd name="connsiteY25175" fmla="*/ 1150807 h 4687251"/>
              <a:gd name="connsiteX25176" fmla="*/ 2497293 w 8079933"/>
              <a:gd name="connsiteY25176" fmla="*/ 1143554 h 4687251"/>
              <a:gd name="connsiteX25177" fmla="*/ 2494255 w 8079933"/>
              <a:gd name="connsiteY25177" fmla="*/ 1148750 h 4687251"/>
              <a:gd name="connsiteX25178" fmla="*/ 2492302 w 8079933"/>
              <a:gd name="connsiteY25178" fmla="*/ 1146693 h 4687251"/>
              <a:gd name="connsiteX25179" fmla="*/ 2492302 w 8079933"/>
              <a:gd name="connsiteY25179" fmla="*/ 1141497 h 4687251"/>
              <a:gd name="connsiteX25180" fmla="*/ 2488395 w 8079933"/>
              <a:gd name="connsiteY25180" fmla="*/ 1142254 h 4687251"/>
              <a:gd name="connsiteX25181" fmla="*/ 2487419 w 8079933"/>
              <a:gd name="connsiteY25181" fmla="*/ 1137924 h 4687251"/>
              <a:gd name="connsiteX25182" fmla="*/ 2487744 w 8079933"/>
              <a:gd name="connsiteY25182" fmla="*/ 1133809 h 4687251"/>
              <a:gd name="connsiteX25183" fmla="*/ 2485465 w 8079933"/>
              <a:gd name="connsiteY25183" fmla="*/ 1127638 h 4687251"/>
              <a:gd name="connsiteX25184" fmla="*/ 2481885 w 8079933"/>
              <a:gd name="connsiteY25184" fmla="*/ 1125581 h 4687251"/>
              <a:gd name="connsiteX25185" fmla="*/ 2482101 w 8079933"/>
              <a:gd name="connsiteY25185" fmla="*/ 1121899 h 4687251"/>
              <a:gd name="connsiteX25186" fmla="*/ 2487093 w 8079933"/>
              <a:gd name="connsiteY25186" fmla="*/ 1117136 h 4687251"/>
              <a:gd name="connsiteX25187" fmla="*/ 2485899 w 8079933"/>
              <a:gd name="connsiteY25187" fmla="*/ 1114862 h 4687251"/>
              <a:gd name="connsiteX25188" fmla="*/ 2477760 w 8079933"/>
              <a:gd name="connsiteY25188" fmla="*/ 1121791 h 4687251"/>
              <a:gd name="connsiteX25189" fmla="*/ 2477435 w 8079933"/>
              <a:gd name="connsiteY25189" fmla="*/ 1125905 h 4687251"/>
              <a:gd name="connsiteX25190" fmla="*/ 2476024 w 8079933"/>
              <a:gd name="connsiteY25190" fmla="*/ 1122658 h 4687251"/>
              <a:gd name="connsiteX25191" fmla="*/ 2478846 w 8079933"/>
              <a:gd name="connsiteY25191" fmla="*/ 1117136 h 4687251"/>
              <a:gd name="connsiteX25192" fmla="*/ 2475156 w 8079933"/>
              <a:gd name="connsiteY25192" fmla="*/ 1115944 h 4687251"/>
              <a:gd name="connsiteX25193" fmla="*/ 2472986 w 8079933"/>
              <a:gd name="connsiteY25193" fmla="*/ 1117244 h 4687251"/>
              <a:gd name="connsiteX25194" fmla="*/ 2471792 w 8079933"/>
              <a:gd name="connsiteY25194" fmla="*/ 1116053 h 4687251"/>
              <a:gd name="connsiteX25195" fmla="*/ 2469187 w 8079933"/>
              <a:gd name="connsiteY25195" fmla="*/ 1123957 h 4687251"/>
              <a:gd name="connsiteX25196" fmla="*/ 2465173 w 8079933"/>
              <a:gd name="connsiteY25196" fmla="*/ 1126447 h 4687251"/>
              <a:gd name="connsiteX25197" fmla="*/ 2464847 w 8079933"/>
              <a:gd name="connsiteY25197" fmla="*/ 1121466 h 4687251"/>
              <a:gd name="connsiteX25198" fmla="*/ 2468103 w 8079933"/>
              <a:gd name="connsiteY25198" fmla="*/ 1117460 h 4687251"/>
              <a:gd name="connsiteX25199" fmla="*/ 2467777 w 8079933"/>
              <a:gd name="connsiteY25199" fmla="*/ 1112805 h 4687251"/>
              <a:gd name="connsiteX25200" fmla="*/ 2468645 w 8079933"/>
              <a:gd name="connsiteY25200" fmla="*/ 1109881 h 4687251"/>
              <a:gd name="connsiteX25201" fmla="*/ 2464738 w 8079933"/>
              <a:gd name="connsiteY25201" fmla="*/ 1111289 h 4687251"/>
              <a:gd name="connsiteX25202" fmla="*/ 2461049 w 8079933"/>
              <a:gd name="connsiteY25202" fmla="*/ 1114862 h 4687251"/>
              <a:gd name="connsiteX25203" fmla="*/ 2458878 w 8079933"/>
              <a:gd name="connsiteY25203" fmla="*/ 1115079 h 4687251"/>
              <a:gd name="connsiteX25204" fmla="*/ 2456057 w 8079933"/>
              <a:gd name="connsiteY25204" fmla="*/ 1118868 h 4687251"/>
              <a:gd name="connsiteX25205" fmla="*/ 2454538 w 8079933"/>
              <a:gd name="connsiteY25205" fmla="*/ 1121575 h 4687251"/>
              <a:gd name="connsiteX25206" fmla="*/ 2448787 w 8079933"/>
              <a:gd name="connsiteY25206" fmla="*/ 1120383 h 4687251"/>
              <a:gd name="connsiteX25207" fmla="*/ 2445965 w 8079933"/>
              <a:gd name="connsiteY25207" fmla="*/ 1116919 h 4687251"/>
              <a:gd name="connsiteX25208" fmla="*/ 2442493 w 8079933"/>
              <a:gd name="connsiteY25208" fmla="*/ 1116919 h 4687251"/>
              <a:gd name="connsiteX25209" fmla="*/ 2437826 w 8079933"/>
              <a:gd name="connsiteY25209" fmla="*/ 1109232 h 4687251"/>
              <a:gd name="connsiteX25210" fmla="*/ 2435873 w 8079933"/>
              <a:gd name="connsiteY25210" fmla="*/ 1109015 h 4687251"/>
              <a:gd name="connsiteX25211" fmla="*/ 2434571 w 8079933"/>
              <a:gd name="connsiteY25211" fmla="*/ 1112480 h 4687251"/>
              <a:gd name="connsiteX25212" fmla="*/ 2434571 w 8079933"/>
              <a:gd name="connsiteY25212" fmla="*/ 1117136 h 4687251"/>
              <a:gd name="connsiteX25213" fmla="*/ 2432292 w 8079933"/>
              <a:gd name="connsiteY25213" fmla="*/ 1119409 h 4687251"/>
              <a:gd name="connsiteX25214" fmla="*/ 2428494 w 8079933"/>
              <a:gd name="connsiteY25214" fmla="*/ 1118002 h 4687251"/>
              <a:gd name="connsiteX25215" fmla="*/ 2425564 w 8079933"/>
              <a:gd name="connsiteY25215" fmla="*/ 1119193 h 4687251"/>
              <a:gd name="connsiteX25216" fmla="*/ 2420572 w 8079933"/>
              <a:gd name="connsiteY25216" fmla="*/ 1119409 h 4687251"/>
              <a:gd name="connsiteX25217" fmla="*/ 2418836 w 8079933"/>
              <a:gd name="connsiteY25217" fmla="*/ 1121791 h 4687251"/>
              <a:gd name="connsiteX25218" fmla="*/ 2414170 w 8079933"/>
              <a:gd name="connsiteY25218" fmla="*/ 1121466 h 4687251"/>
              <a:gd name="connsiteX25219" fmla="*/ 2412108 w 8079933"/>
              <a:gd name="connsiteY25219" fmla="*/ 1123632 h 4687251"/>
              <a:gd name="connsiteX25220" fmla="*/ 2407768 w 8079933"/>
              <a:gd name="connsiteY25220" fmla="*/ 1122116 h 4687251"/>
              <a:gd name="connsiteX25221" fmla="*/ 2400713 w 8079933"/>
              <a:gd name="connsiteY25221" fmla="*/ 1121575 h 4687251"/>
              <a:gd name="connsiteX25222" fmla="*/ 2401582 w 8079933"/>
              <a:gd name="connsiteY25222" fmla="*/ 1118652 h 4687251"/>
              <a:gd name="connsiteX25223" fmla="*/ 2396807 w 8079933"/>
              <a:gd name="connsiteY25223" fmla="*/ 1113130 h 4687251"/>
              <a:gd name="connsiteX25224" fmla="*/ 2394529 w 8079933"/>
              <a:gd name="connsiteY25224" fmla="*/ 1114754 h 4687251"/>
              <a:gd name="connsiteX25225" fmla="*/ 2390404 w 8079933"/>
              <a:gd name="connsiteY25225" fmla="*/ 1110748 h 4687251"/>
              <a:gd name="connsiteX25226" fmla="*/ 2387366 w 8079933"/>
              <a:gd name="connsiteY25226" fmla="*/ 1101653 h 4687251"/>
              <a:gd name="connsiteX25227" fmla="*/ 2389103 w 8079933"/>
              <a:gd name="connsiteY25227" fmla="*/ 1096348 h 4687251"/>
              <a:gd name="connsiteX25228" fmla="*/ 2392684 w 8079933"/>
              <a:gd name="connsiteY25228" fmla="*/ 1093857 h 4687251"/>
              <a:gd name="connsiteX25229" fmla="*/ 2392684 w 8079933"/>
              <a:gd name="connsiteY25229" fmla="*/ 1089418 h 4687251"/>
              <a:gd name="connsiteX25230" fmla="*/ 2396156 w 8079933"/>
              <a:gd name="connsiteY25230" fmla="*/ 1085845 h 4687251"/>
              <a:gd name="connsiteX25231" fmla="*/ 2401256 w 8079933"/>
              <a:gd name="connsiteY25231" fmla="*/ 1085304 h 4687251"/>
              <a:gd name="connsiteX25232" fmla="*/ 2404078 w 8079933"/>
              <a:gd name="connsiteY25232" fmla="*/ 1082164 h 4687251"/>
              <a:gd name="connsiteX25233" fmla="*/ 2408527 w 8079933"/>
              <a:gd name="connsiteY25233" fmla="*/ 1081406 h 4687251"/>
              <a:gd name="connsiteX25234" fmla="*/ 2410589 w 8079933"/>
              <a:gd name="connsiteY25234" fmla="*/ 1081731 h 4687251"/>
              <a:gd name="connsiteX25235" fmla="*/ 2411240 w 8079933"/>
              <a:gd name="connsiteY25235" fmla="*/ 1077941 h 4687251"/>
              <a:gd name="connsiteX25236" fmla="*/ 2409286 w 8079933"/>
              <a:gd name="connsiteY25236" fmla="*/ 1074910 h 4687251"/>
              <a:gd name="connsiteX25237" fmla="*/ 2409069 w 8079933"/>
              <a:gd name="connsiteY25237" fmla="*/ 1071987 h 4687251"/>
              <a:gd name="connsiteX25238" fmla="*/ 2410154 w 8079933"/>
              <a:gd name="connsiteY25238" fmla="*/ 1071120 h 4687251"/>
              <a:gd name="connsiteX25239" fmla="*/ 2412759 w 8079933"/>
              <a:gd name="connsiteY25239" fmla="*/ 1071770 h 4687251"/>
              <a:gd name="connsiteX25240" fmla="*/ 2413519 w 8079933"/>
              <a:gd name="connsiteY25240" fmla="*/ 1069605 h 4687251"/>
              <a:gd name="connsiteX25241" fmla="*/ 2413085 w 8079933"/>
              <a:gd name="connsiteY25241" fmla="*/ 1066790 h 4687251"/>
              <a:gd name="connsiteX25242" fmla="*/ 2414604 w 8079933"/>
              <a:gd name="connsiteY25242" fmla="*/ 1064949 h 4687251"/>
              <a:gd name="connsiteX25243" fmla="*/ 2419595 w 8079933"/>
              <a:gd name="connsiteY25243" fmla="*/ 1072420 h 4687251"/>
              <a:gd name="connsiteX25244" fmla="*/ 2424479 w 8079933"/>
              <a:gd name="connsiteY25244" fmla="*/ 1073286 h 4687251"/>
              <a:gd name="connsiteX25245" fmla="*/ 2429471 w 8079933"/>
              <a:gd name="connsiteY25245" fmla="*/ 1076859 h 4687251"/>
              <a:gd name="connsiteX25246" fmla="*/ 2432943 w 8079933"/>
              <a:gd name="connsiteY25246" fmla="*/ 1080757 h 4687251"/>
              <a:gd name="connsiteX25247" fmla="*/ 2435439 w 8079933"/>
              <a:gd name="connsiteY25247" fmla="*/ 1081406 h 4687251"/>
              <a:gd name="connsiteX25248" fmla="*/ 2440648 w 8079933"/>
              <a:gd name="connsiteY25248" fmla="*/ 1083896 h 4687251"/>
              <a:gd name="connsiteX25249" fmla="*/ 2443686 w 8079933"/>
              <a:gd name="connsiteY25249" fmla="*/ 1081190 h 4687251"/>
              <a:gd name="connsiteX25250" fmla="*/ 2447159 w 8079933"/>
              <a:gd name="connsiteY25250" fmla="*/ 1081298 h 4687251"/>
              <a:gd name="connsiteX25251" fmla="*/ 2449004 w 8079933"/>
              <a:gd name="connsiteY25251" fmla="*/ 1083896 h 4687251"/>
              <a:gd name="connsiteX25252" fmla="*/ 2452151 w 8079933"/>
              <a:gd name="connsiteY25252" fmla="*/ 1084005 h 4687251"/>
              <a:gd name="connsiteX25253" fmla="*/ 2457468 w 8079933"/>
              <a:gd name="connsiteY25253" fmla="*/ 1085087 h 4687251"/>
              <a:gd name="connsiteX25254" fmla="*/ 2460723 w 8079933"/>
              <a:gd name="connsiteY25254" fmla="*/ 1081514 h 4687251"/>
              <a:gd name="connsiteX25255" fmla="*/ 2463003 w 8079933"/>
              <a:gd name="connsiteY25255" fmla="*/ 1077075 h 4687251"/>
              <a:gd name="connsiteX25256" fmla="*/ 2468971 w 8079933"/>
              <a:gd name="connsiteY25256" fmla="*/ 1077075 h 4687251"/>
              <a:gd name="connsiteX25257" fmla="*/ 2468971 w 8079933"/>
              <a:gd name="connsiteY25257" fmla="*/ 1078916 h 4687251"/>
              <a:gd name="connsiteX25258" fmla="*/ 2467669 w 8079933"/>
              <a:gd name="connsiteY25258" fmla="*/ 1080865 h 4687251"/>
              <a:gd name="connsiteX25259" fmla="*/ 2470924 w 8079933"/>
              <a:gd name="connsiteY25259" fmla="*/ 1082706 h 4687251"/>
              <a:gd name="connsiteX25260" fmla="*/ 2475373 w 8079933"/>
              <a:gd name="connsiteY25260" fmla="*/ 1078916 h 4687251"/>
              <a:gd name="connsiteX25261" fmla="*/ 2477218 w 8079933"/>
              <a:gd name="connsiteY25261" fmla="*/ 1074694 h 4687251"/>
              <a:gd name="connsiteX25262" fmla="*/ 2481776 w 8079933"/>
              <a:gd name="connsiteY25262" fmla="*/ 1072095 h 4687251"/>
              <a:gd name="connsiteX25263" fmla="*/ 2483621 w 8079933"/>
              <a:gd name="connsiteY25263" fmla="*/ 1074694 h 4687251"/>
              <a:gd name="connsiteX25264" fmla="*/ 2483838 w 8079933"/>
              <a:gd name="connsiteY25264" fmla="*/ 1081190 h 4687251"/>
              <a:gd name="connsiteX25265" fmla="*/ 2485139 w 8079933"/>
              <a:gd name="connsiteY25265" fmla="*/ 1085087 h 4687251"/>
              <a:gd name="connsiteX25266" fmla="*/ 2486008 w 8079933"/>
              <a:gd name="connsiteY25266" fmla="*/ 1080324 h 4687251"/>
              <a:gd name="connsiteX25267" fmla="*/ 2488612 w 8079933"/>
              <a:gd name="connsiteY25267" fmla="*/ 1078267 h 4687251"/>
              <a:gd name="connsiteX25268" fmla="*/ 2490891 w 8079933"/>
              <a:gd name="connsiteY25268" fmla="*/ 1079457 h 4687251"/>
              <a:gd name="connsiteX25269" fmla="*/ 2493062 w 8079933"/>
              <a:gd name="connsiteY25269" fmla="*/ 1077400 h 4687251"/>
              <a:gd name="connsiteX25270" fmla="*/ 2491867 w 8079933"/>
              <a:gd name="connsiteY25270" fmla="*/ 1065598 h 4687251"/>
              <a:gd name="connsiteX25271" fmla="*/ 2487961 w 8079933"/>
              <a:gd name="connsiteY25271" fmla="*/ 1059535 h 4687251"/>
              <a:gd name="connsiteX25272" fmla="*/ 2487310 w 8079933"/>
              <a:gd name="connsiteY25272" fmla="*/ 1055422 h 4687251"/>
              <a:gd name="connsiteX25273" fmla="*/ 2484380 w 8079933"/>
              <a:gd name="connsiteY25273" fmla="*/ 1051090 h 4687251"/>
              <a:gd name="connsiteX25274" fmla="*/ 2485682 w 8079933"/>
              <a:gd name="connsiteY25274" fmla="*/ 1045569 h 4687251"/>
              <a:gd name="connsiteX25275" fmla="*/ 2487744 w 8079933"/>
              <a:gd name="connsiteY25275" fmla="*/ 1043512 h 4687251"/>
              <a:gd name="connsiteX25276" fmla="*/ 2490349 w 8079933"/>
              <a:gd name="connsiteY25276" fmla="*/ 1043404 h 4687251"/>
              <a:gd name="connsiteX25277" fmla="*/ 2497293 w 8079933"/>
              <a:gd name="connsiteY25277" fmla="*/ 1037882 h 4687251"/>
              <a:gd name="connsiteX25278" fmla="*/ 2505541 w 8079933"/>
              <a:gd name="connsiteY25278" fmla="*/ 1032901 h 4687251"/>
              <a:gd name="connsiteX25279" fmla="*/ 2508796 w 8079933"/>
              <a:gd name="connsiteY25279" fmla="*/ 1030952 h 4687251"/>
              <a:gd name="connsiteX25280" fmla="*/ 2514656 w 8079933"/>
              <a:gd name="connsiteY25280" fmla="*/ 1024997 h 4687251"/>
              <a:gd name="connsiteX25281" fmla="*/ 2517043 w 8079933"/>
              <a:gd name="connsiteY25281" fmla="*/ 1024997 h 4687251"/>
              <a:gd name="connsiteX25282" fmla="*/ 2519865 w 8079933"/>
              <a:gd name="connsiteY25282" fmla="*/ 1027271 h 4687251"/>
              <a:gd name="connsiteX25283" fmla="*/ 2523229 w 8079933"/>
              <a:gd name="connsiteY25283" fmla="*/ 1026188 h 4687251"/>
              <a:gd name="connsiteX25284" fmla="*/ 2525508 w 8079933"/>
              <a:gd name="connsiteY25284" fmla="*/ 1025864 h 4687251"/>
              <a:gd name="connsiteX25285" fmla="*/ 2519323 w 8079933"/>
              <a:gd name="connsiteY25285" fmla="*/ 1022399 h 4687251"/>
              <a:gd name="connsiteX25286" fmla="*/ 2519105 w 8079933"/>
              <a:gd name="connsiteY25286" fmla="*/ 1018826 h 4687251"/>
              <a:gd name="connsiteX25287" fmla="*/ 2527787 w 8079933"/>
              <a:gd name="connsiteY25287" fmla="*/ 1011897 h 4687251"/>
              <a:gd name="connsiteX25288" fmla="*/ 2528764 w 8079933"/>
              <a:gd name="connsiteY25288" fmla="*/ 1008432 h 4687251"/>
              <a:gd name="connsiteX25289" fmla="*/ 2531367 w 8079933"/>
              <a:gd name="connsiteY25289" fmla="*/ 1006916 h 4687251"/>
              <a:gd name="connsiteX25290" fmla="*/ 2538313 w 8079933"/>
              <a:gd name="connsiteY25290" fmla="*/ 1008432 h 4687251"/>
              <a:gd name="connsiteX25291" fmla="*/ 2545366 w 8079933"/>
              <a:gd name="connsiteY25291" fmla="*/ 1006050 h 4687251"/>
              <a:gd name="connsiteX25292" fmla="*/ 2546126 w 8079933"/>
              <a:gd name="connsiteY25292" fmla="*/ 1003019 h 4687251"/>
              <a:gd name="connsiteX25293" fmla="*/ 2543630 w 8079933"/>
              <a:gd name="connsiteY25293" fmla="*/ 998471 h 4687251"/>
              <a:gd name="connsiteX25294" fmla="*/ 2546017 w 8079933"/>
              <a:gd name="connsiteY25294" fmla="*/ 995115 h 4687251"/>
              <a:gd name="connsiteX25295" fmla="*/ 2546994 w 8079933"/>
              <a:gd name="connsiteY25295" fmla="*/ 986453 h 4687251"/>
              <a:gd name="connsiteX25296" fmla="*/ 2547428 w 8079933"/>
              <a:gd name="connsiteY25296" fmla="*/ 984829 h 4687251"/>
              <a:gd name="connsiteX25297" fmla="*/ 2546451 w 8079933"/>
              <a:gd name="connsiteY25297" fmla="*/ 983421 h 4687251"/>
              <a:gd name="connsiteX25298" fmla="*/ 2546451 w 8079933"/>
              <a:gd name="connsiteY25298" fmla="*/ 979632 h 4687251"/>
              <a:gd name="connsiteX25299" fmla="*/ 2548947 w 8079933"/>
              <a:gd name="connsiteY25299" fmla="*/ 975193 h 4687251"/>
              <a:gd name="connsiteX25300" fmla="*/ 2549056 w 8079933"/>
              <a:gd name="connsiteY25300" fmla="*/ 970970 h 4687251"/>
              <a:gd name="connsiteX25301" fmla="*/ 2545692 w 8079933"/>
              <a:gd name="connsiteY25301" fmla="*/ 969887 h 4687251"/>
              <a:gd name="connsiteX25302" fmla="*/ 2545584 w 8079933"/>
              <a:gd name="connsiteY25302" fmla="*/ 967938 h 4687251"/>
              <a:gd name="connsiteX25303" fmla="*/ 2547646 w 8079933"/>
              <a:gd name="connsiteY25303" fmla="*/ 961442 h 4687251"/>
              <a:gd name="connsiteX25304" fmla="*/ 2550901 w 8079933"/>
              <a:gd name="connsiteY25304" fmla="*/ 960793 h 4687251"/>
              <a:gd name="connsiteX25305" fmla="*/ 2551443 w 8079933"/>
              <a:gd name="connsiteY25305" fmla="*/ 957328 h 4687251"/>
              <a:gd name="connsiteX25306" fmla="*/ 2553722 w 8079933"/>
              <a:gd name="connsiteY25306" fmla="*/ 953322 h 4687251"/>
              <a:gd name="connsiteX25307" fmla="*/ 2553288 w 8079933"/>
              <a:gd name="connsiteY25307" fmla="*/ 950615 h 4687251"/>
              <a:gd name="connsiteX25308" fmla="*/ 2550901 w 8079933"/>
              <a:gd name="connsiteY25308" fmla="*/ 951048 h 4687251"/>
              <a:gd name="connsiteX25309" fmla="*/ 2548405 w 8079933"/>
              <a:gd name="connsiteY25309" fmla="*/ 953972 h 4687251"/>
              <a:gd name="connsiteX25310" fmla="*/ 2548296 w 8079933"/>
              <a:gd name="connsiteY25310" fmla="*/ 956679 h 4687251"/>
              <a:gd name="connsiteX25311" fmla="*/ 2546343 w 8079933"/>
              <a:gd name="connsiteY25311" fmla="*/ 957436 h 4687251"/>
              <a:gd name="connsiteX25312" fmla="*/ 2546017 w 8079933"/>
              <a:gd name="connsiteY25312" fmla="*/ 954405 h 4687251"/>
              <a:gd name="connsiteX25313" fmla="*/ 2546343 w 8079933"/>
              <a:gd name="connsiteY25313" fmla="*/ 950291 h 4687251"/>
              <a:gd name="connsiteX25314" fmla="*/ 2544607 w 8079933"/>
              <a:gd name="connsiteY25314" fmla="*/ 949100 h 4687251"/>
              <a:gd name="connsiteX25315" fmla="*/ 2535166 w 8079933"/>
              <a:gd name="connsiteY25315" fmla="*/ 948775 h 4687251"/>
              <a:gd name="connsiteX25316" fmla="*/ 2532127 w 8079933"/>
              <a:gd name="connsiteY25316" fmla="*/ 945635 h 4687251"/>
              <a:gd name="connsiteX25317" fmla="*/ 2533104 w 8079933"/>
              <a:gd name="connsiteY25317" fmla="*/ 943578 h 4687251"/>
              <a:gd name="connsiteX25318" fmla="*/ 2539941 w 8079933"/>
              <a:gd name="connsiteY25318" fmla="*/ 940763 h 4687251"/>
              <a:gd name="connsiteX25319" fmla="*/ 2539073 w 8079933"/>
              <a:gd name="connsiteY25319" fmla="*/ 938922 h 4687251"/>
              <a:gd name="connsiteX25320" fmla="*/ 2535600 w 8079933"/>
              <a:gd name="connsiteY25320" fmla="*/ 936865 h 4687251"/>
              <a:gd name="connsiteX25321" fmla="*/ 2538096 w 8079933"/>
              <a:gd name="connsiteY25321" fmla="*/ 932534 h 4687251"/>
              <a:gd name="connsiteX25322" fmla="*/ 2538096 w 8079933"/>
              <a:gd name="connsiteY25322" fmla="*/ 929286 h 4687251"/>
              <a:gd name="connsiteX25323" fmla="*/ 2532887 w 8079933"/>
              <a:gd name="connsiteY25323" fmla="*/ 925497 h 4687251"/>
              <a:gd name="connsiteX25324" fmla="*/ 2530934 w 8079933"/>
              <a:gd name="connsiteY25324" fmla="*/ 926255 h 4687251"/>
              <a:gd name="connsiteX25325" fmla="*/ 2530500 w 8079933"/>
              <a:gd name="connsiteY25325" fmla="*/ 929178 h 4687251"/>
              <a:gd name="connsiteX25326" fmla="*/ 2532127 w 8079933"/>
              <a:gd name="connsiteY25326" fmla="*/ 932101 h 4687251"/>
              <a:gd name="connsiteX25327" fmla="*/ 2530934 w 8079933"/>
              <a:gd name="connsiteY25327" fmla="*/ 934700 h 4687251"/>
              <a:gd name="connsiteX25328" fmla="*/ 2525399 w 8079933"/>
              <a:gd name="connsiteY25328" fmla="*/ 935999 h 4687251"/>
              <a:gd name="connsiteX25329" fmla="*/ 2523446 w 8079933"/>
              <a:gd name="connsiteY25329" fmla="*/ 931777 h 4687251"/>
              <a:gd name="connsiteX25330" fmla="*/ 2521385 w 8079933"/>
              <a:gd name="connsiteY25330" fmla="*/ 931018 h 4687251"/>
              <a:gd name="connsiteX25331" fmla="*/ 2520625 w 8079933"/>
              <a:gd name="connsiteY25331" fmla="*/ 925389 h 4687251"/>
              <a:gd name="connsiteX25332" fmla="*/ 2524423 w 8079933"/>
              <a:gd name="connsiteY25332" fmla="*/ 921707 h 4687251"/>
              <a:gd name="connsiteX25333" fmla="*/ 2523229 w 8079933"/>
              <a:gd name="connsiteY25333" fmla="*/ 918675 h 4687251"/>
              <a:gd name="connsiteX25334" fmla="*/ 2517043 w 8079933"/>
              <a:gd name="connsiteY25334" fmla="*/ 919434 h 4687251"/>
              <a:gd name="connsiteX25335" fmla="*/ 2517586 w 8079933"/>
              <a:gd name="connsiteY25335" fmla="*/ 918026 h 4687251"/>
              <a:gd name="connsiteX25336" fmla="*/ 2522578 w 8079933"/>
              <a:gd name="connsiteY25336" fmla="*/ 916402 h 4687251"/>
              <a:gd name="connsiteX25337" fmla="*/ 2523012 w 8079933"/>
              <a:gd name="connsiteY25337" fmla="*/ 914345 h 4687251"/>
              <a:gd name="connsiteX25338" fmla="*/ 2520408 w 8079933"/>
              <a:gd name="connsiteY25338" fmla="*/ 913371 h 4687251"/>
              <a:gd name="connsiteX25339" fmla="*/ 2522903 w 8079933"/>
              <a:gd name="connsiteY25339" fmla="*/ 911530 h 4687251"/>
              <a:gd name="connsiteX25340" fmla="*/ 2525725 w 8079933"/>
              <a:gd name="connsiteY25340" fmla="*/ 910122 h 4687251"/>
              <a:gd name="connsiteX25341" fmla="*/ 2526159 w 8079933"/>
              <a:gd name="connsiteY25341" fmla="*/ 907632 h 4687251"/>
              <a:gd name="connsiteX25342" fmla="*/ 2523771 w 8079933"/>
              <a:gd name="connsiteY25342" fmla="*/ 905683 h 4687251"/>
              <a:gd name="connsiteX25343" fmla="*/ 2519648 w 8079933"/>
              <a:gd name="connsiteY25343" fmla="*/ 908823 h 4687251"/>
              <a:gd name="connsiteX25344" fmla="*/ 2516392 w 8079933"/>
              <a:gd name="connsiteY25344" fmla="*/ 914020 h 4687251"/>
              <a:gd name="connsiteX25345" fmla="*/ 2513245 w 8079933"/>
              <a:gd name="connsiteY25345" fmla="*/ 916077 h 4687251"/>
              <a:gd name="connsiteX25346" fmla="*/ 2511617 w 8079933"/>
              <a:gd name="connsiteY25346" fmla="*/ 914561 h 4687251"/>
              <a:gd name="connsiteX25347" fmla="*/ 2511075 w 8079933"/>
              <a:gd name="connsiteY25347" fmla="*/ 909256 h 4687251"/>
              <a:gd name="connsiteX25348" fmla="*/ 2508796 w 8079933"/>
              <a:gd name="connsiteY25348" fmla="*/ 910663 h 4687251"/>
              <a:gd name="connsiteX25349" fmla="*/ 2506517 w 8079933"/>
              <a:gd name="connsiteY25349" fmla="*/ 914778 h 4687251"/>
              <a:gd name="connsiteX25350" fmla="*/ 2502936 w 8079933"/>
              <a:gd name="connsiteY25350" fmla="*/ 914886 h 4687251"/>
              <a:gd name="connsiteX25351" fmla="*/ 2500006 w 8079933"/>
              <a:gd name="connsiteY25351" fmla="*/ 916943 h 4687251"/>
              <a:gd name="connsiteX25352" fmla="*/ 2495665 w 8079933"/>
              <a:gd name="connsiteY25352" fmla="*/ 916835 h 4687251"/>
              <a:gd name="connsiteX25353" fmla="*/ 2492627 w 8079933"/>
              <a:gd name="connsiteY25353" fmla="*/ 918026 h 4687251"/>
              <a:gd name="connsiteX25354" fmla="*/ 2492085 w 8079933"/>
              <a:gd name="connsiteY25354" fmla="*/ 919542 h 4687251"/>
              <a:gd name="connsiteX25355" fmla="*/ 2489589 w 8079933"/>
              <a:gd name="connsiteY25355" fmla="*/ 919542 h 4687251"/>
              <a:gd name="connsiteX25356" fmla="*/ 2488829 w 8079933"/>
              <a:gd name="connsiteY25356" fmla="*/ 917051 h 4687251"/>
              <a:gd name="connsiteX25357" fmla="*/ 2491434 w 8079933"/>
              <a:gd name="connsiteY25357" fmla="*/ 913912 h 4687251"/>
              <a:gd name="connsiteX25358" fmla="*/ 2490999 w 8079933"/>
              <a:gd name="connsiteY25358" fmla="*/ 911746 h 4687251"/>
              <a:gd name="connsiteX25359" fmla="*/ 2489155 w 8079933"/>
              <a:gd name="connsiteY25359" fmla="*/ 910555 h 4687251"/>
              <a:gd name="connsiteX25360" fmla="*/ 2492519 w 8079933"/>
              <a:gd name="connsiteY25360" fmla="*/ 905791 h 4687251"/>
              <a:gd name="connsiteX25361" fmla="*/ 2494689 w 8079933"/>
              <a:gd name="connsiteY25361" fmla="*/ 905033 h 4687251"/>
              <a:gd name="connsiteX25362" fmla="*/ 2497619 w 8079933"/>
              <a:gd name="connsiteY25362" fmla="*/ 906441 h 4687251"/>
              <a:gd name="connsiteX25363" fmla="*/ 2500115 w 8079933"/>
              <a:gd name="connsiteY25363" fmla="*/ 907957 h 4687251"/>
              <a:gd name="connsiteX25364" fmla="*/ 2502503 w 8079933"/>
              <a:gd name="connsiteY25364" fmla="*/ 906766 h 4687251"/>
              <a:gd name="connsiteX25365" fmla="*/ 2505324 w 8079933"/>
              <a:gd name="connsiteY25365" fmla="*/ 906441 h 4687251"/>
              <a:gd name="connsiteX25366" fmla="*/ 2509122 w 8079933"/>
              <a:gd name="connsiteY25366" fmla="*/ 902977 h 4687251"/>
              <a:gd name="connsiteX25367" fmla="*/ 2510424 w 8079933"/>
              <a:gd name="connsiteY25367" fmla="*/ 898862 h 4687251"/>
              <a:gd name="connsiteX25368" fmla="*/ 2508905 w 8079933"/>
              <a:gd name="connsiteY25368" fmla="*/ 896155 h 4687251"/>
              <a:gd name="connsiteX25369" fmla="*/ 2506192 w 8079933"/>
              <a:gd name="connsiteY25369" fmla="*/ 893340 h 4687251"/>
              <a:gd name="connsiteX25370" fmla="*/ 2501634 w 8079933"/>
              <a:gd name="connsiteY25370" fmla="*/ 891824 h 4687251"/>
              <a:gd name="connsiteX25371" fmla="*/ 2499681 w 8079933"/>
              <a:gd name="connsiteY25371" fmla="*/ 888468 h 4687251"/>
              <a:gd name="connsiteX25372" fmla="*/ 2499464 w 8079933"/>
              <a:gd name="connsiteY25372" fmla="*/ 885437 h 4687251"/>
              <a:gd name="connsiteX25373" fmla="*/ 2498053 w 8079933"/>
              <a:gd name="connsiteY25373" fmla="*/ 883488 h 4687251"/>
              <a:gd name="connsiteX25374" fmla="*/ 2498162 w 8079933"/>
              <a:gd name="connsiteY25374" fmla="*/ 880348 h 4687251"/>
              <a:gd name="connsiteX25375" fmla="*/ 2493604 w 8079933"/>
              <a:gd name="connsiteY25375" fmla="*/ 879806 h 4687251"/>
              <a:gd name="connsiteX25376" fmla="*/ 2492953 w 8079933"/>
              <a:gd name="connsiteY25376" fmla="*/ 878616 h 4687251"/>
              <a:gd name="connsiteX25377" fmla="*/ 2490240 w 8079933"/>
              <a:gd name="connsiteY25377" fmla="*/ 876992 h 4687251"/>
              <a:gd name="connsiteX25378" fmla="*/ 2489372 w 8079933"/>
              <a:gd name="connsiteY25378" fmla="*/ 874068 h 4687251"/>
              <a:gd name="connsiteX25379" fmla="*/ 2492953 w 8079933"/>
              <a:gd name="connsiteY25379" fmla="*/ 872553 h 4687251"/>
              <a:gd name="connsiteX25380" fmla="*/ 2494580 w 8079933"/>
              <a:gd name="connsiteY25380" fmla="*/ 874826 h 4687251"/>
              <a:gd name="connsiteX25381" fmla="*/ 2496425 w 8079933"/>
              <a:gd name="connsiteY25381" fmla="*/ 873635 h 4687251"/>
              <a:gd name="connsiteX25382" fmla="*/ 2497185 w 8079933"/>
              <a:gd name="connsiteY25382" fmla="*/ 871037 h 4687251"/>
              <a:gd name="connsiteX25383" fmla="*/ 2501417 w 8079933"/>
              <a:gd name="connsiteY25383" fmla="*/ 868871 h 4687251"/>
              <a:gd name="connsiteX25384" fmla="*/ 2495232 w 8079933"/>
              <a:gd name="connsiteY25384" fmla="*/ 867680 h 4687251"/>
              <a:gd name="connsiteX25385" fmla="*/ 2492627 w 8079933"/>
              <a:gd name="connsiteY25385" fmla="*/ 864757 h 4687251"/>
              <a:gd name="connsiteX25386" fmla="*/ 2489697 w 8079933"/>
              <a:gd name="connsiteY25386" fmla="*/ 864649 h 4687251"/>
              <a:gd name="connsiteX25387" fmla="*/ 2489372 w 8079933"/>
              <a:gd name="connsiteY25387" fmla="*/ 863241 h 4687251"/>
              <a:gd name="connsiteX25388" fmla="*/ 2485465 w 8079933"/>
              <a:gd name="connsiteY25388" fmla="*/ 862266 h 4687251"/>
              <a:gd name="connsiteX25389" fmla="*/ 2483621 w 8079933"/>
              <a:gd name="connsiteY25389" fmla="*/ 866381 h 4687251"/>
              <a:gd name="connsiteX25390" fmla="*/ 2482101 w 8079933"/>
              <a:gd name="connsiteY25390" fmla="*/ 866814 h 4687251"/>
              <a:gd name="connsiteX25391" fmla="*/ 2482101 w 8079933"/>
              <a:gd name="connsiteY25391" fmla="*/ 864107 h 4687251"/>
              <a:gd name="connsiteX25392" fmla="*/ 2485465 w 8079933"/>
              <a:gd name="connsiteY25392" fmla="*/ 856637 h 4687251"/>
              <a:gd name="connsiteX25393" fmla="*/ 2489481 w 8079933"/>
              <a:gd name="connsiteY25393" fmla="*/ 850249 h 4687251"/>
              <a:gd name="connsiteX25394" fmla="*/ 2489806 w 8079933"/>
              <a:gd name="connsiteY25394" fmla="*/ 848408 h 4687251"/>
              <a:gd name="connsiteX25395" fmla="*/ 2492302 w 8079933"/>
              <a:gd name="connsiteY25395" fmla="*/ 842129 h 4687251"/>
              <a:gd name="connsiteX25396" fmla="*/ 2492410 w 8079933"/>
              <a:gd name="connsiteY25396" fmla="*/ 837581 h 4687251"/>
              <a:gd name="connsiteX25397" fmla="*/ 2493821 w 8079933"/>
              <a:gd name="connsiteY25397" fmla="*/ 835091 h 4687251"/>
              <a:gd name="connsiteX25398" fmla="*/ 2492302 w 8079933"/>
              <a:gd name="connsiteY25398" fmla="*/ 832492 h 4687251"/>
              <a:gd name="connsiteX25399" fmla="*/ 2488069 w 8079933"/>
              <a:gd name="connsiteY25399" fmla="*/ 834874 h 4687251"/>
              <a:gd name="connsiteX25400" fmla="*/ 2485465 w 8079933"/>
              <a:gd name="connsiteY25400" fmla="*/ 833033 h 4687251"/>
              <a:gd name="connsiteX25401" fmla="*/ 2483838 w 8079933"/>
              <a:gd name="connsiteY25401" fmla="*/ 834008 h 4687251"/>
              <a:gd name="connsiteX25402" fmla="*/ 2483403 w 8079933"/>
              <a:gd name="connsiteY25402" fmla="*/ 836715 h 4687251"/>
              <a:gd name="connsiteX25403" fmla="*/ 2480908 w 8079933"/>
              <a:gd name="connsiteY25403" fmla="*/ 836065 h 4687251"/>
              <a:gd name="connsiteX25404" fmla="*/ 2475047 w 8079933"/>
              <a:gd name="connsiteY25404" fmla="*/ 829894 h 4687251"/>
              <a:gd name="connsiteX25405" fmla="*/ 2474722 w 8079933"/>
              <a:gd name="connsiteY25405" fmla="*/ 826537 h 4687251"/>
              <a:gd name="connsiteX25406" fmla="*/ 2472552 w 8079933"/>
              <a:gd name="connsiteY25406" fmla="*/ 823723 h 4687251"/>
              <a:gd name="connsiteX25407" fmla="*/ 2470490 w 8079933"/>
              <a:gd name="connsiteY25407" fmla="*/ 822640 h 4687251"/>
              <a:gd name="connsiteX25408" fmla="*/ 2471358 w 8079933"/>
              <a:gd name="connsiteY25408" fmla="*/ 817442 h 4687251"/>
              <a:gd name="connsiteX25409" fmla="*/ 2475807 w 8079933"/>
              <a:gd name="connsiteY25409" fmla="*/ 815494 h 4687251"/>
              <a:gd name="connsiteX25410" fmla="*/ 2476675 w 8079933"/>
              <a:gd name="connsiteY25410" fmla="*/ 813328 h 4687251"/>
              <a:gd name="connsiteX25411" fmla="*/ 2475265 w 8079933"/>
              <a:gd name="connsiteY25411" fmla="*/ 810621 h 4687251"/>
              <a:gd name="connsiteX25412" fmla="*/ 2474830 w 8079933"/>
              <a:gd name="connsiteY25412" fmla="*/ 805858 h 4687251"/>
              <a:gd name="connsiteX25413" fmla="*/ 2472226 w 8079933"/>
              <a:gd name="connsiteY25413" fmla="*/ 806507 h 4687251"/>
              <a:gd name="connsiteX25414" fmla="*/ 2469622 w 8079933"/>
              <a:gd name="connsiteY25414" fmla="*/ 809106 h 4687251"/>
              <a:gd name="connsiteX25415" fmla="*/ 2469405 w 8079933"/>
              <a:gd name="connsiteY25415" fmla="*/ 815927 h 4687251"/>
              <a:gd name="connsiteX25416" fmla="*/ 2466909 w 8079933"/>
              <a:gd name="connsiteY25416" fmla="*/ 819825 h 4687251"/>
              <a:gd name="connsiteX25417" fmla="*/ 2465715 w 8079933"/>
              <a:gd name="connsiteY25417" fmla="*/ 815602 h 4687251"/>
              <a:gd name="connsiteX25418" fmla="*/ 2463436 w 8079933"/>
              <a:gd name="connsiteY25418" fmla="*/ 813762 h 4687251"/>
              <a:gd name="connsiteX25419" fmla="*/ 2462243 w 8079933"/>
              <a:gd name="connsiteY25419" fmla="*/ 814736 h 4687251"/>
              <a:gd name="connsiteX25420" fmla="*/ 2461917 w 8079933"/>
              <a:gd name="connsiteY25420" fmla="*/ 817659 h 4687251"/>
              <a:gd name="connsiteX25421" fmla="*/ 2459747 w 8079933"/>
              <a:gd name="connsiteY25421" fmla="*/ 818417 h 4687251"/>
              <a:gd name="connsiteX25422" fmla="*/ 2458878 w 8079933"/>
              <a:gd name="connsiteY25422" fmla="*/ 823505 h 4687251"/>
              <a:gd name="connsiteX25423" fmla="*/ 2462676 w 8079933"/>
              <a:gd name="connsiteY25423" fmla="*/ 828703 h 4687251"/>
              <a:gd name="connsiteX25424" fmla="*/ 2465389 w 8079933"/>
              <a:gd name="connsiteY25424" fmla="*/ 828270 h 4687251"/>
              <a:gd name="connsiteX25425" fmla="*/ 2469079 w 8079933"/>
              <a:gd name="connsiteY25425" fmla="*/ 836715 h 4687251"/>
              <a:gd name="connsiteX25426" fmla="*/ 2471467 w 8079933"/>
              <a:gd name="connsiteY25426" fmla="*/ 839313 h 4687251"/>
              <a:gd name="connsiteX25427" fmla="*/ 2469947 w 8079933"/>
              <a:gd name="connsiteY25427" fmla="*/ 843860 h 4687251"/>
              <a:gd name="connsiteX25428" fmla="*/ 2469622 w 8079933"/>
              <a:gd name="connsiteY25428" fmla="*/ 847650 h 4687251"/>
              <a:gd name="connsiteX25429" fmla="*/ 2466474 w 8079933"/>
              <a:gd name="connsiteY25429" fmla="*/ 852522 h 4687251"/>
              <a:gd name="connsiteX25430" fmla="*/ 2463220 w 8079933"/>
              <a:gd name="connsiteY25430" fmla="*/ 854904 h 4687251"/>
              <a:gd name="connsiteX25431" fmla="*/ 2452694 w 8079933"/>
              <a:gd name="connsiteY25431" fmla="*/ 854688 h 4687251"/>
              <a:gd name="connsiteX25432" fmla="*/ 2451282 w 8079933"/>
              <a:gd name="connsiteY25432" fmla="*/ 853388 h 4687251"/>
              <a:gd name="connsiteX25433" fmla="*/ 2447159 w 8079933"/>
              <a:gd name="connsiteY25433" fmla="*/ 853713 h 4687251"/>
              <a:gd name="connsiteX25434" fmla="*/ 2442384 w 8079933"/>
              <a:gd name="connsiteY25434" fmla="*/ 850682 h 4687251"/>
              <a:gd name="connsiteX25435" fmla="*/ 2443578 w 8079933"/>
              <a:gd name="connsiteY25435" fmla="*/ 848949 h 4687251"/>
              <a:gd name="connsiteX25436" fmla="*/ 2443578 w 8079933"/>
              <a:gd name="connsiteY25436" fmla="*/ 844619 h 4687251"/>
              <a:gd name="connsiteX25437" fmla="*/ 2436090 w 8079933"/>
              <a:gd name="connsiteY25437" fmla="*/ 844727 h 4687251"/>
              <a:gd name="connsiteX25438" fmla="*/ 2428277 w 8079933"/>
              <a:gd name="connsiteY25438" fmla="*/ 840829 h 4687251"/>
              <a:gd name="connsiteX25439" fmla="*/ 2421658 w 8079933"/>
              <a:gd name="connsiteY25439" fmla="*/ 840180 h 4687251"/>
              <a:gd name="connsiteX25440" fmla="*/ 2424804 w 8079933"/>
              <a:gd name="connsiteY25440" fmla="*/ 848733 h 4687251"/>
              <a:gd name="connsiteX25441" fmla="*/ 2426974 w 8079933"/>
              <a:gd name="connsiteY25441" fmla="*/ 853930 h 4687251"/>
              <a:gd name="connsiteX25442" fmla="*/ 2425998 w 8079933"/>
              <a:gd name="connsiteY25442" fmla="*/ 854904 h 4687251"/>
              <a:gd name="connsiteX25443" fmla="*/ 2422200 w 8079933"/>
              <a:gd name="connsiteY25443" fmla="*/ 854796 h 4687251"/>
              <a:gd name="connsiteX25444" fmla="*/ 2420030 w 8079933"/>
              <a:gd name="connsiteY25444" fmla="*/ 850140 h 4687251"/>
              <a:gd name="connsiteX25445" fmla="*/ 2416123 w 8079933"/>
              <a:gd name="connsiteY25445" fmla="*/ 845917 h 4687251"/>
              <a:gd name="connsiteX25446" fmla="*/ 2414495 w 8079933"/>
              <a:gd name="connsiteY25446" fmla="*/ 845160 h 4687251"/>
              <a:gd name="connsiteX25447" fmla="*/ 2413302 w 8079933"/>
              <a:gd name="connsiteY25447" fmla="*/ 841803 h 4687251"/>
              <a:gd name="connsiteX25448" fmla="*/ 2408744 w 8079933"/>
              <a:gd name="connsiteY25448" fmla="*/ 837040 h 4687251"/>
              <a:gd name="connsiteX25449" fmla="*/ 2405271 w 8079933"/>
              <a:gd name="connsiteY25449" fmla="*/ 832817 h 4687251"/>
              <a:gd name="connsiteX25450" fmla="*/ 2404511 w 8079933"/>
              <a:gd name="connsiteY25450" fmla="*/ 830435 h 4687251"/>
              <a:gd name="connsiteX25451" fmla="*/ 2401256 w 8079933"/>
              <a:gd name="connsiteY25451" fmla="*/ 829677 h 4687251"/>
              <a:gd name="connsiteX25452" fmla="*/ 2397350 w 8079933"/>
              <a:gd name="connsiteY25452" fmla="*/ 824697 h 4687251"/>
              <a:gd name="connsiteX25453" fmla="*/ 2394420 w 8079933"/>
              <a:gd name="connsiteY25453" fmla="*/ 823505 h 4687251"/>
              <a:gd name="connsiteX25454" fmla="*/ 2393009 w 8079933"/>
              <a:gd name="connsiteY25454" fmla="*/ 821665 h 4687251"/>
              <a:gd name="connsiteX25455" fmla="*/ 2389211 w 8079933"/>
              <a:gd name="connsiteY25455" fmla="*/ 819608 h 4687251"/>
              <a:gd name="connsiteX25456" fmla="*/ 2390079 w 8079933"/>
              <a:gd name="connsiteY25456" fmla="*/ 823181 h 4687251"/>
              <a:gd name="connsiteX25457" fmla="*/ 2399195 w 8079933"/>
              <a:gd name="connsiteY25457" fmla="*/ 830435 h 4687251"/>
              <a:gd name="connsiteX25458" fmla="*/ 2401256 w 8079933"/>
              <a:gd name="connsiteY25458" fmla="*/ 834008 h 4687251"/>
              <a:gd name="connsiteX25459" fmla="*/ 2404511 w 8079933"/>
              <a:gd name="connsiteY25459" fmla="*/ 837906 h 4687251"/>
              <a:gd name="connsiteX25460" fmla="*/ 2408201 w 8079933"/>
              <a:gd name="connsiteY25460" fmla="*/ 840396 h 4687251"/>
              <a:gd name="connsiteX25461" fmla="*/ 2409504 w 8079933"/>
              <a:gd name="connsiteY25461" fmla="*/ 843752 h 4687251"/>
              <a:gd name="connsiteX25462" fmla="*/ 2407116 w 8079933"/>
              <a:gd name="connsiteY25462" fmla="*/ 846892 h 4687251"/>
              <a:gd name="connsiteX25463" fmla="*/ 2405380 w 8079933"/>
              <a:gd name="connsiteY25463" fmla="*/ 845376 h 4687251"/>
              <a:gd name="connsiteX25464" fmla="*/ 2402993 w 8079933"/>
              <a:gd name="connsiteY25464" fmla="*/ 847758 h 4687251"/>
              <a:gd name="connsiteX25465" fmla="*/ 2396265 w 8079933"/>
              <a:gd name="connsiteY25465" fmla="*/ 843427 h 4687251"/>
              <a:gd name="connsiteX25466" fmla="*/ 2393660 w 8079933"/>
              <a:gd name="connsiteY25466" fmla="*/ 844186 h 4687251"/>
              <a:gd name="connsiteX25467" fmla="*/ 2391490 w 8079933"/>
              <a:gd name="connsiteY25467" fmla="*/ 840504 h 4687251"/>
              <a:gd name="connsiteX25468" fmla="*/ 2387149 w 8079933"/>
              <a:gd name="connsiteY25468" fmla="*/ 838988 h 4687251"/>
              <a:gd name="connsiteX25469" fmla="*/ 2385413 w 8079933"/>
              <a:gd name="connsiteY25469" fmla="*/ 834982 h 4687251"/>
              <a:gd name="connsiteX25470" fmla="*/ 2377708 w 8079933"/>
              <a:gd name="connsiteY25470" fmla="*/ 836065 h 4687251"/>
              <a:gd name="connsiteX25471" fmla="*/ 2373693 w 8079933"/>
              <a:gd name="connsiteY25471" fmla="*/ 838339 h 4687251"/>
              <a:gd name="connsiteX25472" fmla="*/ 2370221 w 8079933"/>
              <a:gd name="connsiteY25472" fmla="*/ 835415 h 4687251"/>
              <a:gd name="connsiteX25473" fmla="*/ 2365120 w 8079933"/>
              <a:gd name="connsiteY25473" fmla="*/ 834333 h 4687251"/>
              <a:gd name="connsiteX25474" fmla="*/ 2360780 w 8079933"/>
              <a:gd name="connsiteY25474" fmla="*/ 834658 h 4687251"/>
              <a:gd name="connsiteX25475" fmla="*/ 2358392 w 8079933"/>
              <a:gd name="connsiteY25475" fmla="*/ 831409 h 4687251"/>
              <a:gd name="connsiteX25476" fmla="*/ 2352858 w 8079933"/>
              <a:gd name="connsiteY25476" fmla="*/ 827837 h 4687251"/>
              <a:gd name="connsiteX25477" fmla="*/ 2352749 w 8079933"/>
              <a:gd name="connsiteY25477" fmla="*/ 824913 h 4687251"/>
              <a:gd name="connsiteX25478" fmla="*/ 2359369 w 8079933"/>
              <a:gd name="connsiteY25478" fmla="*/ 818742 h 4687251"/>
              <a:gd name="connsiteX25479" fmla="*/ 2362190 w 8079933"/>
              <a:gd name="connsiteY25479" fmla="*/ 817334 h 4687251"/>
              <a:gd name="connsiteX25480" fmla="*/ 2361973 w 8079933"/>
              <a:gd name="connsiteY25480" fmla="*/ 815385 h 4687251"/>
              <a:gd name="connsiteX25481" fmla="*/ 2358935 w 8079933"/>
              <a:gd name="connsiteY25481" fmla="*/ 815602 h 4687251"/>
              <a:gd name="connsiteX25482" fmla="*/ 2354811 w 8079933"/>
              <a:gd name="connsiteY25482" fmla="*/ 819933 h 4687251"/>
              <a:gd name="connsiteX25483" fmla="*/ 2351447 w 8079933"/>
              <a:gd name="connsiteY25483" fmla="*/ 823723 h 4687251"/>
              <a:gd name="connsiteX25484" fmla="*/ 2349060 w 8079933"/>
              <a:gd name="connsiteY25484" fmla="*/ 824588 h 4687251"/>
              <a:gd name="connsiteX25485" fmla="*/ 2345261 w 8079933"/>
              <a:gd name="connsiteY25485" fmla="*/ 821448 h 4687251"/>
              <a:gd name="connsiteX25486" fmla="*/ 2340813 w 8079933"/>
              <a:gd name="connsiteY25486" fmla="*/ 820582 h 4687251"/>
              <a:gd name="connsiteX25487" fmla="*/ 2338859 w 8079933"/>
              <a:gd name="connsiteY25487" fmla="*/ 821232 h 4687251"/>
              <a:gd name="connsiteX25488" fmla="*/ 2342875 w 8079933"/>
              <a:gd name="connsiteY25488" fmla="*/ 824047 h 4687251"/>
              <a:gd name="connsiteX25489" fmla="*/ 2340595 w 8079933"/>
              <a:gd name="connsiteY25489" fmla="*/ 825780 h 4687251"/>
              <a:gd name="connsiteX25490" fmla="*/ 2334410 w 8079933"/>
              <a:gd name="connsiteY25490" fmla="*/ 825346 h 4687251"/>
              <a:gd name="connsiteX25491" fmla="*/ 2328550 w 8079933"/>
              <a:gd name="connsiteY25491" fmla="*/ 820474 h 4687251"/>
              <a:gd name="connsiteX25492" fmla="*/ 2327682 w 8079933"/>
              <a:gd name="connsiteY25492" fmla="*/ 814086 h 4687251"/>
              <a:gd name="connsiteX25493" fmla="*/ 2323558 w 8079933"/>
              <a:gd name="connsiteY25493" fmla="*/ 810946 h 4687251"/>
              <a:gd name="connsiteX25494" fmla="*/ 2324318 w 8079933"/>
              <a:gd name="connsiteY25494" fmla="*/ 807048 h 4687251"/>
              <a:gd name="connsiteX25495" fmla="*/ 2332348 w 8079933"/>
              <a:gd name="connsiteY25495" fmla="*/ 802934 h 4687251"/>
              <a:gd name="connsiteX25496" fmla="*/ 2334302 w 8079933"/>
              <a:gd name="connsiteY25496" fmla="*/ 800011 h 4687251"/>
              <a:gd name="connsiteX25497" fmla="*/ 2332674 w 8079933"/>
              <a:gd name="connsiteY25497" fmla="*/ 798928 h 4687251"/>
              <a:gd name="connsiteX25498" fmla="*/ 2329093 w 8079933"/>
              <a:gd name="connsiteY25498" fmla="*/ 801635 h 4687251"/>
              <a:gd name="connsiteX25499" fmla="*/ 2323450 w 8079933"/>
              <a:gd name="connsiteY25499" fmla="*/ 802393 h 4687251"/>
              <a:gd name="connsiteX25500" fmla="*/ 2321388 w 8079933"/>
              <a:gd name="connsiteY25500" fmla="*/ 807374 h 4687251"/>
              <a:gd name="connsiteX25501" fmla="*/ 2318892 w 8079933"/>
              <a:gd name="connsiteY25501" fmla="*/ 807915 h 4687251"/>
              <a:gd name="connsiteX25502" fmla="*/ 2318024 w 8079933"/>
              <a:gd name="connsiteY25502" fmla="*/ 804450 h 4687251"/>
              <a:gd name="connsiteX25503" fmla="*/ 2319109 w 8079933"/>
              <a:gd name="connsiteY25503" fmla="*/ 800661 h 4687251"/>
              <a:gd name="connsiteX25504" fmla="*/ 2317156 w 8079933"/>
              <a:gd name="connsiteY25504" fmla="*/ 798928 h 4687251"/>
              <a:gd name="connsiteX25505" fmla="*/ 2314877 w 8079933"/>
              <a:gd name="connsiteY25505" fmla="*/ 799470 h 4687251"/>
              <a:gd name="connsiteX25506" fmla="*/ 2314009 w 8079933"/>
              <a:gd name="connsiteY25506" fmla="*/ 802501 h 4687251"/>
              <a:gd name="connsiteX25507" fmla="*/ 2314660 w 8079933"/>
              <a:gd name="connsiteY25507" fmla="*/ 804991 h 4687251"/>
              <a:gd name="connsiteX25508" fmla="*/ 2313466 w 8079933"/>
              <a:gd name="connsiteY25508" fmla="*/ 807482 h 4687251"/>
              <a:gd name="connsiteX25509" fmla="*/ 2310103 w 8079933"/>
              <a:gd name="connsiteY25509" fmla="*/ 806507 h 4687251"/>
              <a:gd name="connsiteX25510" fmla="*/ 2307281 w 8079933"/>
              <a:gd name="connsiteY25510" fmla="*/ 803260 h 4687251"/>
              <a:gd name="connsiteX25511" fmla="*/ 2303375 w 8079933"/>
              <a:gd name="connsiteY25511" fmla="*/ 802393 h 4687251"/>
              <a:gd name="connsiteX25512" fmla="*/ 2300227 w 8079933"/>
              <a:gd name="connsiteY25512" fmla="*/ 803260 h 4687251"/>
              <a:gd name="connsiteX25513" fmla="*/ 2299793 w 8079933"/>
              <a:gd name="connsiteY25513" fmla="*/ 806183 h 4687251"/>
              <a:gd name="connsiteX25514" fmla="*/ 2297297 w 8079933"/>
              <a:gd name="connsiteY25514" fmla="*/ 806291 h 4687251"/>
              <a:gd name="connsiteX25515" fmla="*/ 2294151 w 8079933"/>
              <a:gd name="connsiteY25515" fmla="*/ 802501 h 4687251"/>
              <a:gd name="connsiteX25516" fmla="*/ 2292848 w 8079933"/>
              <a:gd name="connsiteY25516" fmla="*/ 798712 h 4687251"/>
              <a:gd name="connsiteX25517" fmla="*/ 2294259 w 8079933"/>
              <a:gd name="connsiteY25517" fmla="*/ 798928 h 4687251"/>
              <a:gd name="connsiteX25518" fmla="*/ 2296646 w 8079933"/>
              <a:gd name="connsiteY25518" fmla="*/ 800661 h 4687251"/>
              <a:gd name="connsiteX25519" fmla="*/ 2296537 w 8079933"/>
              <a:gd name="connsiteY25519" fmla="*/ 798928 h 4687251"/>
              <a:gd name="connsiteX25520" fmla="*/ 2292089 w 8079933"/>
              <a:gd name="connsiteY25520" fmla="*/ 794706 h 4687251"/>
              <a:gd name="connsiteX25521" fmla="*/ 2286446 w 8079933"/>
              <a:gd name="connsiteY25521" fmla="*/ 791458 h 4687251"/>
              <a:gd name="connsiteX25522" fmla="*/ 2285795 w 8079933"/>
              <a:gd name="connsiteY25522" fmla="*/ 787452 h 4687251"/>
              <a:gd name="connsiteX25523" fmla="*/ 2286555 w 8079933"/>
              <a:gd name="connsiteY25523" fmla="*/ 782363 h 4687251"/>
              <a:gd name="connsiteX25524" fmla="*/ 2285903 w 8079933"/>
              <a:gd name="connsiteY25524" fmla="*/ 776516 h 4687251"/>
              <a:gd name="connsiteX25525" fmla="*/ 2283733 w 8079933"/>
              <a:gd name="connsiteY25525" fmla="*/ 769371 h 4687251"/>
              <a:gd name="connsiteX25526" fmla="*/ 2285143 w 8079933"/>
              <a:gd name="connsiteY25526" fmla="*/ 765906 h 4687251"/>
              <a:gd name="connsiteX25527" fmla="*/ 2288073 w 8079933"/>
              <a:gd name="connsiteY25527" fmla="*/ 765906 h 4687251"/>
              <a:gd name="connsiteX25528" fmla="*/ 2288073 w 8079933"/>
              <a:gd name="connsiteY25528" fmla="*/ 763199 h 4687251"/>
              <a:gd name="connsiteX25529" fmla="*/ 2286337 w 8079933"/>
              <a:gd name="connsiteY25529" fmla="*/ 757677 h 4687251"/>
              <a:gd name="connsiteX25530" fmla="*/ 2287096 w 8079933"/>
              <a:gd name="connsiteY25530" fmla="*/ 755728 h 4687251"/>
              <a:gd name="connsiteX25531" fmla="*/ 2291546 w 8079933"/>
              <a:gd name="connsiteY25531" fmla="*/ 757028 h 4687251"/>
              <a:gd name="connsiteX25532" fmla="*/ 2293282 w 8079933"/>
              <a:gd name="connsiteY25532" fmla="*/ 759410 h 4687251"/>
              <a:gd name="connsiteX25533" fmla="*/ 2300987 w 8079933"/>
              <a:gd name="connsiteY25533" fmla="*/ 759951 h 4687251"/>
              <a:gd name="connsiteX25534" fmla="*/ 2305111 w 8079933"/>
              <a:gd name="connsiteY25534" fmla="*/ 763199 h 4687251"/>
              <a:gd name="connsiteX25535" fmla="*/ 2306521 w 8079933"/>
              <a:gd name="connsiteY25535" fmla="*/ 767638 h 4687251"/>
              <a:gd name="connsiteX25536" fmla="*/ 2314986 w 8079933"/>
              <a:gd name="connsiteY25536" fmla="*/ 770887 h 4687251"/>
              <a:gd name="connsiteX25537" fmla="*/ 2322582 w 8079933"/>
              <a:gd name="connsiteY25537" fmla="*/ 770887 h 4687251"/>
              <a:gd name="connsiteX25538" fmla="*/ 2324752 w 8079933"/>
              <a:gd name="connsiteY25538" fmla="*/ 769587 h 4687251"/>
              <a:gd name="connsiteX25539" fmla="*/ 2331480 w 8079933"/>
              <a:gd name="connsiteY25539" fmla="*/ 769371 h 4687251"/>
              <a:gd name="connsiteX25540" fmla="*/ 2328550 w 8079933"/>
              <a:gd name="connsiteY25540" fmla="*/ 766989 h 4687251"/>
              <a:gd name="connsiteX25541" fmla="*/ 2327899 w 8079933"/>
              <a:gd name="connsiteY25541" fmla="*/ 763849 h 4687251"/>
              <a:gd name="connsiteX25542" fmla="*/ 2321713 w 8079933"/>
              <a:gd name="connsiteY25542" fmla="*/ 760059 h 4687251"/>
              <a:gd name="connsiteX25543" fmla="*/ 2320954 w 8079933"/>
              <a:gd name="connsiteY25543" fmla="*/ 753671 h 4687251"/>
              <a:gd name="connsiteX25544" fmla="*/ 2314769 w 8079933"/>
              <a:gd name="connsiteY25544" fmla="*/ 753671 h 4687251"/>
              <a:gd name="connsiteX25545" fmla="*/ 2309451 w 8079933"/>
              <a:gd name="connsiteY25545" fmla="*/ 750423 h 4687251"/>
              <a:gd name="connsiteX25546" fmla="*/ 2305870 w 8079933"/>
              <a:gd name="connsiteY25546" fmla="*/ 750423 h 4687251"/>
              <a:gd name="connsiteX25547" fmla="*/ 2300336 w 8079933"/>
              <a:gd name="connsiteY25547" fmla="*/ 746850 h 4687251"/>
              <a:gd name="connsiteX25548" fmla="*/ 2295669 w 8079933"/>
              <a:gd name="connsiteY25548" fmla="*/ 746634 h 4687251"/>
              <a:gd name="connsiteX25549" fmla="*/ 2287205 w 8079933"/>
              <a:gd name="connsiteY25549" fmla="*/ 741978 h 4687251"/>
              <a:gd name="connsiteX25550" fmla="*/ 2284926 w 8079933"/>
              <a:gd name="connsiteY25550" fmla="*/ 737755 h 4687251"/>
              <a:gd name="connsiteX25551" fmla="*/ 2286663 w 8079933"/>
              <a:gd name="connsiteY25551" fmla="*/ 730177 h 4687251"/>
              <a:gd name="connsiteX25552" fmla="*/ 2290678 w 8079933"/>
              <a:gd name="connsiteY25552" fmla="*/ 727578 h 4687251"/>
              <a:gd name="connsiteX25553" fmla="*/ 2290352 w 8079933"/>
              <a:gd name="connsiteY25553" fmla="*/ 724114 h 4687251"/>
              <a:gd name="connsiteX25554" fmla="*/ 2291871 w 8079933"/>
              <a:gd name="connsiteY25554" fmla="*/ 718808 h 4687251"/>
              <a:gd name="connsiteX25555" fmla="*/ 2295669 w 8079933"/>
              <a:gd name="connsiteY25555" fmla="*/ 718808 h 4687251"/>
              <a:gd name="connsiteX25556" fmla="*/ 2298057 w 8079933"/>
              <a:gd name="connsiteY25556" fmla="*/ 714153 h 4687251"/>
              <a:gd name="connsiteX25557" fmla="*/ 2298057 w 8079933"/>
              <a:gd name="connsiteY25557" fmla="*/ 705708 h 4687251"/>
              <a:gd name="connsiteX25558" fmla="*/ 2299685 w 8079933"/>
              <a:gd name="connsiteY25558" fmla="*/ 702351 h 4687251"/>
              <a:gd name="connsiteX25559" fmla="*/ 2303048 w 8079933"/>
              <a:gd name="connsiteY25559" fmla="*/ 701268 h 4687251"/>
              <a:gd name="connsiteX25560" fmla="*/ 2304243 w 8079933"/>
              <a:gd name="connsiteY25560" fmla="*/ 697154 h 4687251"/>
              <a:gd name="connsiteX25561" fmla="*/ 2310645 w 8079933"/>
              <a:gd name="connsiteY25561" fmla="*/ 693690 h 4687251"/>
              <a:gd name="connsiteX25562" fmla="*/ 2314443 w 8079933"/>
              <a:gd name="connsiteY25562" fmla="*/ 693364 h 4687251"/>
              <a:gd name="connsiteX25563" fmla="*/ 2315528 w 8079933"/>
              <a:gd name="connsiteY25563" fmla="*/ 690117 h 4687251"/>
              <a:gd name="connsiteX25564" fmla="*/ 2313900 w 8079933"/>
              <a:gd name="connsiteY25564" fmla="*/ 690333 h 4687251"/>
              <a:gd name="connsiteX25565" fmla="*/ 2311730 w 8079933"/>
              <a:gd name="connsiteY25565" fmla="*/ 691199 h 4687251"/>
              <a:gd name="connsiteX25566" fmla="*/ 2311187 w 8079933"/>
              <a:gd name="connsiteY25566" fmla="*/ 687301 h 4687251"/>
              <a:gd name="connsiteX25567" fmla="*/ 2315962 w 8079933"/>
              <a:gd name="connsiteY25567" fmla="*/ 680156 h 4687251"/>
              <a:gd name="connsiteX25568" fmla="*/ 2319652 w 8079933"/>
              <a:gd name="connsiteY25568" fmla="*/ 673227 h 4687251"/>
              <a:gd name="connsiteX25569" fmla="*/ 2321388 w 8079933"/>
              <a:gd name="connsiteY25569" fmla="*/ 671602 h 4687251"/>
              <a:gd name="connsiteX25570" fmla="*/ 2324969 w 8079933"/>
              <a:gd name="connsiteY25570" fmla="*/ 666946 h 4687251"/>
              <a:gd name="connsiteX25571" fmla="*/ 2328441 w 8079933"/>
              <a:gd name="connsiteY25571" fmla="*/ 666946 h 4687251"/>
              <a:gd name="connsiteX25572" fmla="*/ 2330178 w 8079933"/>
              <a:gd name="connsiteY25572" fmla="*/ 667380 h 4687251"/>
              <a:gd name="connsiteX25573" fmla="*/ 2332239 w 8079933"/>
              <a:gd name="connsiteY25573" fmla="*/ 660017 h 4687251"/>
              <a:gd name="connsiteX25574" fmla="*/ 2334410 w 8079933"/>
              <a:gd name="connsiteY25574" fmla="*/ 660342 h 4687251"/>
              <a:gd name="connsiteX25575" fmla="*/ 2336146 w 8079933"/>
              <a:gd name="connsiteY25575" fmla="*/ 664023 h 4687251"/>
              <a:gd name="connsiteX25576" fmla="*/ 2338534 w 8079933"/>
              <a:gd name="connsiteY25576" fmla="*/ 660667 h 4687251"/>
              <a:gd name="connsiteX25577" fmla="*/ 2336797 w 8079933"/>
              <a:gd name="connsiteY25577" fmla="*/ 657635 h 4687251"/>
              <a:gd name="connsiteX25578" fmla="*/ 2342332 w 8079933"/>
              <a:gd name="connsiteY25578" fmla="*/ 649082 h 4687251"/>
              <a:gd name="connsiteX25579" fmla="*/ 2346130 w 8079933"/>
              <a:gd name="connsiteY25579" fmla="*/ 649190 h 4687251"/>
              <a:gd name="connsiteX25580" fmla="*/ 2345804 w 8079933"/>
              <a:gd name="connsiteY25580" fmla="*/ 644860 h 4687251"/>
              <a:gd name="connsiteX25581" fmla="*/ 2349711 w 8079933"/>
              <a:gd name="connsiteY25581" fmla="*/ 639446 h 4687251"/>
              <a:gd name="connsiteX25582" fmla="*/ 2354811 w 8079933"/>
              <a:gd name="connsiteY25582" fmla="*/ 639229 h 4687251"/>
              <a:gd name="connsiteX25583" fmla="*/ 2357632 w 8079933"/>
              <a:gd name="connsiteY25583" fmla="*/ 635116 h 4687251"/>
              <a:gd name="connsiteX25584" fmla="*/ 2361322 w 8079933"/>
              <a:gd name="connsiteY25584" fmla="*/ 635224 h 4687251"/>
              <a:gd name="connsiteX25585" fmla="*/ 2364252 w 8079933"/>
              <a:gd name="connsiteY25585" fmla="*/ 636848 h 4687251"/>
              <a:gd name="connsiteX25586" fmla="*/ 2362733 w 8079933"/>
              <a:gd name="connsiteY25586" fmla="*/ 632517 h 4687251"/>
              <a:gd name="connsiteX25587" fmla="*/ 2363926 w 8079933"/>
              <a:gd name="connsiteY25587" fmla="*/ 628078 h 4687251"/>
              <a:gd name="connsiteX25588" fmla="*/ 2372391 w 8079933"/>
              <a:gd name="connsiteY25588" fmla="*/ 624289 h 4687251"/>
              <a:gd name="connsiteX25589" fmla="*/ 2380421 w 8079933"/>
              <a:gd name="connsiteY25589" fmla="*/ 617251 h 4687251"/>
              <a:gd name="connsiteX25590" fmla="*/ 2393334 w 8079933"/>
              <a:gd name="connsiteY25590" fmla="*/ 612920 h 4687251"/>
              <a:gd name="connsiteX25591" fmla="*/ 2401908 w 8079933"/>
              <a:gd name="connsiteY25591" fmla="*/ 612379 h 4687251"/>
              <a:gd name="connsiteX25592" fmla="*/ 5435707 w 8079933"/>
              <a:gd name="connsiteY25592" fmla="*/ 610865 h 4687251"/>
              <a:gd name="connsiteX25593" fmla="*/ 5439397 w 8079933"/>
              <a:gd name="connsiteY25593" fmla="*/ 612381 h 4687251"/>
              <a:gd name="connsiteX25594" fmla="*/ 5442327 w 8079933"/>
              <a:gd name="connsiteY25594" fmla="*/ 615520 h 4687251"/>
              <a:gd name="connsiteX25595" fmla="*/ 5440157 w 8079933"/>
              <a:gd name="connsiteY25595" fmla="*/ 618119 h 4687251"/>
              <a:gd name="connsiteX25596" fmla="*/ 5437769 w 8079933"/>
              <a:gd name="connsiteY25596" fmla="*/ 616820 h 4687251"/>
              <a:gd name="connsiteX25597" fmla="*/ 2214282 w 8079933"/>
              <a:gd name="connsiteY25597" fmla="*/ 604582 h 4687251"/>
              <a:gd name="connsiteX25598" fmla="*/ 2215475 w 8079933"/>
              <a:gd name="connsiteY25598" fmla="*/ 608372 h 4687251"/>
              <a:gd name="connsiteX25599" fmla="*/ 2216886 w 8079933"/>
              <a:gd name="connsiteY25599" fmla="*/ 610429 h 4687251"/>
              <a:gd name="connsiteX25600" fmla="*/ 2216343 w 8079933"/>
              <a:gd name="connsiteY25600" fmla="*/ 613677 h 4687251"/>
              <a:gd name="connsiteX25601" fmla="*/ 2212437 w 8079933"/>
              <a:gd name="connsiteY25601" fmla="*/ 618657 h 4687251"/>
              <a:gd name="connsiteX25602" fmla="*/ 2210158 w 8079933"/>
              <a:gd name="connsiteY25602" fmla="*/ 619415 h 4687251"/>
              <a:gd name="connsiteX25603" fmla="*/ 2207879 w 8079933"/>
              <a:gd name="connsiteY25603" fmla="*/ 616709 h 4687251"/>
              <a:gd name="connsiteX25604" fmla="*/ 2207337 w 8079933"/>
              <a:gd name="connsiteY25604" fmla="*/ 611295 h 4687251"/>
              <a:gd name="connsiteX25605" fmla="*/ 2209832 w 8079933"/>
              <a:gd name="connsiteY25605" fmla="*/ 609671 h 4687251"/>
              <a:gd name="connsiteX25606" fmla="*/ 2211026 w 8079933"/>
              <a:gd name="connsiteY25606" fmla="*/ 605990 h 4687251"/>
              <a:gd name="connsiteX25607" fmla="*/ 5419538 w 8079933"/>
              <a:gd name="connsiteY25607" fmla="*/ 602094 h 4687251"/>
              <a:gd name="connsiteX25608" fmla="*/ 5423662 w 8079933"/>
              <a:gd name="connsiteY25608" fmla="*/ 603611 h 4687251"/>
              <a:gd name="connsiteX25609" fmla="*/ 5420949 w 8079933"/>
              <a:gd name="connsiteY25609" fmla="*/ 607182 h 4687251"/>
              <a:gd name="connsiteX25610" fmla="*/ 5415740 w 8079933"/>
              <a:gd name="connsiteY25610" fmla="*/ 607507 h 4687251"/>
              <a:gd name="connsiteX25611" fmla="*/ 5417042 w 8079933"/>
              <a:gd name="connsiteY25611" fmla="*/ 605233 h 4687251"/>
              <a:gd name="connsiteX25612" fmla="*/ 5416717 w 8079933"/>
              <a:gd name="connsiteY25612" fmla="*/ 602959 h 4687251"/>
              <a:gd name="connsiteX25613" fmla="*/ 2213630 w 8079933"/>
              <a:gd name="connsiteY25613" fmla="*/ 599928 h 4687251"/>
              <a:gd name="connsiteX25614" fmla="*/ 2216559 w 8079933"/>
              <a:gd name="connsiteY25614" fmla="*/ 600252 h 4687251"/>
              <a:gd name="connsiteX25615" fmla="*/ 2215583 w 8079933"/>
              <a:gd name="connsiteY25615" fmla="*/ 602525 h 4687251"/>
              <a:gd name="connsiteX25616" fmla="*/ 2213305 w 8079933"/>
              <a:gd name="connsiteY25616" fmla="*/ 602202 h 4687251"/>
              <a:gd name="connsiteX25617" fmla="*/ 1568283 w 8079933"/>
              <a:gd name="connsiteY25617" fmla="*/ 593863 h 4687251"/>
              <a:gd name="connsiteX25618" fmla="*/ 1568391 w 8079933"/>
              <a:gd name="connsiteY25618" fmla="*/ 599169 h 4687251"/>
              <a:gd name="connsiteX25619" fmla="*/ 1563834 w 8079933"/>
              <a:gd name="connsiteY25619" fmla="*/ 601551 h 4687251"/>
              <a:gd name="connsiteX25620" fmla="*/ 1560904 w 8079933"/>
              <a:gd name="connsiteY25620" fmla="*/ 599927 h 4687251"/>
              <a:gd name="connsiteX25621" fmla="*/ 1563074 w 8079933"/>
              <a:gd name="connsiteY25621" fmla="*/ 596678 h 4687251"/>
              <a:gd name="connsiteX25622" fmla="*/ 5299952 w 8079933"/>
              <a:gd name="connsiteY25622" fmla="*/ 592242 h 4687251"/>
              <a:gd name="connsiteX25623" fmla="*/ 5303316 w 8079933"/>
              <a:gd name="connsiteY25623" fmla="*/ 593649 h 4687251"/>
              <a:gd name="connsiteX25624" fmla="*/ 5302991 w 8079933"/>
              <a:gd name="connsiteY25624" fmla="*/ 596464 h 4687251"/>
              <a:gd name="connsiteX25625" fmla="*/ 5304185 w 8079933"/>
              <a:gd name="connsiteY25625" fmla="*/ 600362 h 4687251"/>
              <a:gd name="connsiteX25626" fmla="*/ 5301038 w 8079933"/>
              <a:gd name="connsiteY25626" fmla="*/ 602419 h 4687251"/>
              <a:gd name="connsiteX25627" fmla="*/ 5297240 w 8079933"/>
              <a:gd name="connsiteY25627" fmla="*/ 600578 h 4687251"/>
              <a:gd name="connsiteX25628" fmla="*/ 5296263 w 8079933"/>
              <a:gd name="connsiteY25628" fmla="*/ 597006 h 4687251"/>
              <a:gd name="connsiteX25629" fmla="*/ 5293767 w 8079933"/>
              <a:gd name="connsiteY25629" fmla="*/ 595381 h 4687251"/>
              <a:gd name="connsiteX25630" fmla="*/ 5294852 w 8079933"/>
              <a:gd name="connsiteY25630" fmla="*/ 593107 h 4687251"/>
              <a:gd name="connsiteX25631" fmla="*/ 1324011 w 8079933"/>
              <a:gd name="connsiteY25631" fmla="*/ 590183 h 4687251"/>
              <a:gd name="connsiteX25632" fmla="*/ 1328677 w 8079933"/>
              <a:gd name="connsiteY25632" fmla="*/ 591807 h 4687251"/>
              <a:gd name="connsiteX25633" fmla="*/ 1333560 w 8079933"/>
              <a:gd name="connsiteY25633" fmla="*/ 598519 h 4687251"/>
              <a:gd name="connsiteX25634" fmla="*/ 1331824 w 8079933"/>
              <a:gd name="connsiteY25634" fmla="*/ 599711 h 4687251"/>
              <a:gd name="connsiteX25635" fmla="*/ 1327483 w 8079933"/>
              <a:gd name="connsiteY25635" fmla="*/ 597220 h 4687251"/>
              <a:gd name="connsiteX25636" fmla="*/ 1324445 w 8079933"/>
              <a:gd name="connsiteY25636" fmla="*/ 598195 h 4687251"/>
              <a:gd name="connsiteX25637" fmla="*/ 1320864 w 8079933"/>
              <a:gd name="connsiteY25637" fmla="*/ 592673 h 4687251"/>
              <a:gd name="connsiteX25638" fmla="*/ 5397618 w 8079933"/>
              <a:gd name="connsiteY25638" fmla="*/ 584770 h 4687251"/>
              <a:gd name="connsiteX25639" fmla="*/ 5400331 w 8079933"/>
              <a:gd name="connsiteY25639" fmla="*/ 584987 h 4687251"/>
              <a:gd name="connsiteX25640" fmla="*/ 5400222 w 8079933"/>
              <a:gd name="connsiteY25640" fmla="*/ 587152 h 4687251"/>
              <a:gd name="connsiteX25641" fmla="*/ 5397184 w 8079933"/>
              <a:gd name="connsiteY25641" fmla="*/ 588885 h 4687251"/>
              <a:gd name="connsiteX25642" fmla="*/ 5396533 w 8079933"/>
              <a:gd name="connsiteY25642" fmla="*/ 590292 h 4687251"/>
              <a:gd name="connsiteX25643" fmla="*/ 5397510 w 8079933"/>
              <a:gd name="connsiteY25643" fmla="*/ 591917 h 4687251"/>
              <a:gd name="connsiteX25644" fmla="*/ 5396316 w 8079933"/>
              <a:gd name="connsiteY25644" fmla="*/ 593649 h 4687251"/>
              <a:gd name="connsiteX25645" fmla="*/ 5391975 w 8079933"/>
              <a:gd name="connsiteY25645" fmla="*/ 591699 h 4687251"/>
              <a:gd name="connsiteX25646" fmla="*/ 5391975 w 8079933"/>
              <a:gd name="connsiteY25646" fmla="*/ 588993 h 4687251"/>
              <a:gd name="connsiteX25647" fmla="*/ 4923074 w 8079933"/>
              <a:gd name="connsiteY25647" fmla="*/ 582065 h 4687251"/>
              <a:gd name="connsiteX25648" fmla="*/ 4924593 w 8079933"/>
              <a:gd name="connsiteY25648" fmla="*/ 582173 h 4687251"/>
              <a:gd name="connsiteX25649" fmla="*/ 4923833 w 8079933"/>
              <a:gd name="connsiteY25649" fmla="*/ 585529 h 4687251"/>
              <a:gd name="connsiteX25650" fmla="*/ 4917323 w 8079933"/>
              <a:gd name="connsiteY25650" fmla="*/ 589860 h 4687251"/>
              <a:gd name="connsiteX25651" fmla="*/ 4916021 w 8079933"/>
              <a:gd name="connsiteY25651" fmla="*/ 592350 h 4687251"/>
              <a:gd name="connsiteX25652" fmla="*/ 4914176 w 8079933"/>
              <a:gd name="connsiteY25652" fmla="*/ 592782 h 4687251"/>
              <a:gd name="connsiteX25653" fmla="*/ 4912331 w 8079933"/>
              <a:gd name="connsiteY25653" fmla="*/ 589860 h 4687251"/>
              <a:gd name="connsiteX25654" fmla="*/ 4914935 w 8079933"/>
              <a:gd name="connsiteY25654" fmla="*/ 586720 h 4687251"/>
              <a:gd name="connsiteX25655" fmla="*/ 4917865 w 8079933"/>
              <a:gd name="connsiteY25655" fmla="*/ 585746 h 4687251"/>
              <a:gd name="connsiteX25656" fmla="*/ 2357198 w 8079933"/>
              <a:gd name="connsiteY25656" fmla="*/ 581196 h 4687251"/>
              <a:gd name="connsiteX25657" fmla="*/ 2363383 w 8079933"/>
              <a:gd name="connsiteY25657" fmla="*/ 582929 h 4687251"/>
              <a:gd name="connsiteX25658" fmla="*/ 2364143 w 8079933"/>
              <a:gd name="connsiteY25658" fmla="*/ 584986 h 4687251"/>
              <a:gd name="connsiteX25659" fmla="*/ 2361213 w 8079933"/>
              <a:gd name="connsiteY25659" fmla="*/ 586827 h 4687251"/>
              <a:gd name="connsiteX25660" fmla="*/ 2358934 w 8079933"/>
              <a:gd name="connsiteY25660" fmla="*/ 586285 h 4687251"/>
              <a:gd name="connsiteX25661" fmla="*/ 2355896 w 8079933"/>
              <a:gd name="connsiteY25661" fmla="*/ 583037 h 4687251"/>
              <a:gd name="connsiteX25662" fmla="*/ 5406842 w 8079933"/>
              <a:gd name="connsiteY25662" fmla="*/ 580657 h 4687251"/>
              <a:gd name="connsiteX25663" fmla="*/ 5411834 w 8079933"/>
              <a:gd name="connsiteY25663" fmla="*/ 580874 h 4687251"/>
              <a:gd name="connsiteX25664" fmla="*/ 5412810 w 8079933"/>
              <a:gd name="connsiteY25664" fmla="*/ 583798 h 4687251"/>
              <a:gd name="connsiteX25665" fmla="*/ 5412267 w 8079933"/>
              <a:gd name="connsiteY25665" fmla="*/ 585421 h 4687251"/>
              <a:gd name="connsiteX25666" fmla="*/ 5409772 w 8079933"/>
              <a:gd name="connsiteY25666" fmla="*/ 587045 h 4687251"/>
              <a:gd name="connsiteX25667" fmla="*/ 5406299 w 8079933"/>
              <a:gd name="connsiteY25667" fmla="*/ 586828 h 4687251"/>
              <a:gd name="connsiteX25668" fmla="*/ 5405431 w 8079933"/>
              <a:gd name="connsiteY25668" fmla="*/ 582821 h 4687251"/>
              <a:gd name="connsiteX25669" fmla="*/ 5420406 w 8079933"/>
              <a:gd name="connsiteY25669" fmla="*/ 576867 h 4687251"/>
              <a:gd name="connsiteX25670" fmla="*/ 5422577 w 8079933"/>
              <a:gd name="connsiteY25670" fmla="*/ 579575 h 4687251"/>
              <a:gd name="connsiteX25671" fmla="*/ 5422251 w 8079933"/>
              <a:gd name="connsiteY25671" fmla="*/ 582716 h 4687251"/>
              <a:gd name="connsiteX25672" fmla="*/ 5417801 w 8079933"/>
              <a:gd name="connsiteY25672" fmla="*/ 586504 h 4687251"/>
              <a:gd name="connsiteX25673" fmla="*/ 5415848 w 8079933"/>
              <a:gd name="connsiteY25673" fmla="*/ 587261 h 4687251"/>
              <a:gd name="connsiteX25674" fmla="*/ 5414763 w 8079933"/>
              <a:gd name="connsiteY25674" fmla="*/ 586178 h 4687251"/>
              <a:gd name="connsiteX25675" fmla="*/ 5416282 w 8079933"/>
              <a:gd name="connsiteY25675" fmla="*/ 583254 h 4687251"/>
              <a:gd name="connsiteX25676" fmla="*/ 5415522 w 8079933"/>
              <a:gd name="connsiteY25676" fmla="*/ 580441 h 4687251"/>
              <a:gd name="connsiteX25677" fmla="*/ 5416065 w 8079933"/>
              <a:gd name="connsiteY25677" fmla="*/ 577083 h 4687251"/>
              <a:gd name="connsiteX25678" fmla="*/ 5399680 w 8079933"/>
              <a:gd name="connsiteY25678" fmla="*/ 564524 h 4687251"/>
              <a:gd name="connsiteX25679" fmla="*/ 5402827 w 8079933"/>
              <a:gd name="connsiteY25679" fmla="*/ 565391 h 4687251"/>
              <a:gd name="connsiteX25680" fmla="*/ 5403913 w 8079933"/>
              <a:gd name="connsiteY25680" fmla="*/ 567230 h 4687251"/>
              <a:gd name="connsiteX25681" fmla="*/ 5400331 w 8079933"/>
              <a:gd name="connsiteY25681" fmla="*/ 571886 h 4687251"/>
              <a:gd name="connsiteX25682" fmla="*/ 5398269 w 8079933"/>
              <a:gd name="connsiteY25682" fmla="*/ 570047 h 4687251"/>
              <a:gd name="connsiteX25683" fmla="*/ 5392409 w 8079933"/>
              <a:gd name="connsiteY25683" fmla="*/ 568206 h 4687251"/>
              <a:gd name="connsiteX25684" fmla="*/ 5392192 w 8079933"/>
              <a:gd name="connsiteY25684" fmla="*/ 566905 h 4687251"/>
              <a:gd name="connsiteX25685" fmla="*/ 5396099 w 8079933"/>
              <a:gd name="connsiteY25685" fmla="*/ 565932 h 4687251"/>
              <a:gd name="connsiteX25686" fmla="*/ 2287097 w 8079933"/>
              <a:gd name="connsiteY25686" fmla="*/ 559759 h 4687251"/>
              <a:gd name="connsiteX25687" fmla="*/ 2289375 w 8079933"/>
              <a:gd name="connsiteY25687" fmla="*/ 561492 h 4687251"/>
              <a:gd name="connsiteX25688" fmla="*/ 2293716 w 8079933"/>
              <a:gd name="connsiteY25688" fmla="*/ 561492 h 4687251"/>
              <a:gd name="connsiteX25689" fmla="*/ 2294910 w 8079933"/>
              <a:gd name="connsiteY25689" fmla="*/ 564956 h 4687251"/>
              <a:gd name="connsiteX25690" fmla="*/ 2298165 w 8079933"/>
              <a:gd name="connsiteY25690" fmla="*/ 562249 h 4687251"/>
              <a:gd name="connsiteX25691" fmla="*/ 2304243 w 8079933"/>
              <a:gd name="connsiteY25691" fmla="*/ 562249 h 4687251"/>
              <a:gd name="connsiteX25692" fmla="*/ 2307389 w 8079933"/>
              <a:gd name="connsiteY25692" fmla="*/ 567555 h 4687251"/>
              <a:gd name="connsiteX25693" fmla="*/ 2312055 w 8079933"/>
              <a:gd name="connsiteY25693" fmla="*/ 568962 h 4687251"/>
              <a:gd name="connsiteX25694" fmla="*/ 2313032 w 8079933"/>
              <a:gd name="connsiteY25694" fmla="*/ 570153 h 4687251"/>
              <a:gd name="connsiteX25695" fmla="*/ 2315311 w 8079933"/>
              <a:gd name="connsiteY25695" fmla="*/ 570153 h 4687251"/>
              <a:gd name="connsiteX25696" fmla="*/ 2317915 w 8079933"/>
              <a:gd name="connsiteY25696" fmla="*/ 574592 h 4687251"/>
              <a:gd name="connsiteX25697" fmla="*/ 2317915 w 8079933"/>
              <a:gd name="connsiteY25697" fmla="*/ 578381 h 4687251"/>
              <a:gd name="connsiteX25698" fmla="*/ 2319760 w 8079933"/>
              <a:gd name="connsiteY25698" fmla="*/ 579897 h 4687251"/>
              <a:gd name="connsiteX25699" fmla="*/ 2323016 w 8079933"/>
              <a:gd name="connsiteY25699" fmla="*/ 578381 h 4687251"/>
              <a:gd name="connsiteX25700" fmla="*/ 2329744 w 8079933"/>
              <a:gd name="connsiteY25700" fmla="*/ 579031 h 4687251"/>
              <a:gd name="connsiteX25701" fmla="*/ 2340595 w 8079933"/>
              <a:gd name="connsiteY25701" fmla="*/ 580439 h 4687251"/>
              <a:gd name="connsiteX25702" fmla="*/ 2346998 w 8079933"/>
              <a:gd name="connsiteY25702" fmla="*/ 584445 h 4687251"/>
              <a:gd name="connsiteX25703" fmla="*/ 2346998 w 8079933"/>
              <a:gd name="connsiteY25703" fmla="*/ 588234 h 4687251"/>
              <a:gd name="connsiteX25704" fmla="*/ 2349927 w 8079933"/>
              <a:gd name="connsiteY25704" fmla="*/ 590291 h 4687251"/>
              <a:gd name="connsiteX25705" fmla="*/ 2351121 w 8079933"/>
              <a:gd name="connsiteY25705" fmla="*/ 594081 h 4687251"/>
              <a:gd name="connsiteX25706" fmla="*/ 2349277 w 8079933"/>
              <a:gd name="connsiteY25706" fmla="*/ 592890 h 4687251"/>
              <a:gd name="connsiteX25707" fmla="*/ 2347214 w 8079933"/>
              <a:gd name="connsiteY25707" fmla="*/ 592890 h 4687251"/>
              <a:gd name="connsiteX25708" fmla="*/ 2344936 w 8079933"/>
              <a:gd name="connsiteY25708" fmla="*/ 598195 h 4687251"/>
              <a:gd name="connsiteX25709" fmla="*/ 2337991 w 8079933"/>
              <a:gd name="connsiteY25709" fmla="*/ 604583 h 4687251"/>
              <a:gd name="connsiteX25710" fmla="*/ 2334410 w 8079933"/>
              <a:gd name="connsiteY25710" fmla="*/ 609780 h 4687251"/>
              <a:gd name="connsiteX25711" fmla="*/ 2330286 w 8079933"/>
              <a:gd name="connsiteY25711" fmla="*/ 610971 h 4687251"/>
              <a:gd name="connsiteX25712" fmla="*/ 2330286 w 8079933"/>
              <a:gd name="connsiteY25712" fmla="*/ 612811 h 4687251"/>
              <a:gd name="connsiteX25713" fmla="*/ 2320411 w 8079933"/>
              <a:gd name="connsiteY25713" fmla="*/ 620390 h 4687251"/>
              <a:gd name="connsiteX25714" fmla="*/ 2315420 w 8079933"/>
              <a:gd name="connsiteY25714" fmla="*/ 627320 h 4687251"/>
              <a:gd name="connsiteX25715" fmla="*/ 2310102 w 8079933"/>
              <a:gd name="connsiteY25715" fmla="*/ 627320 h 4687251"/>
              <a:gd name="connsiteX25716" fmla="*/ 2309451 w 8079933"/>
              <a:gd name="connsiteY25716" fmla="*/ 629593 h 4687251"/>
              <a:gd name="connsiteX25717" fmla="*/ 2311187 w 8079933"/>
              <a:gd name="connsiteY25717" fmla="*/ 631109 h 4687251"/>
              <a:gd name="connsiteX25718" fmla="*/ 2308800 w 8079933"/>
              <a:gd name="connsiteY25718" fmla="*/ 634574 h 4687251"/>
              <a:gd name="connsiteX25719" fmla="*/ 2301529 w 8079933"/>
              <a:gd name="connsiteY25719" fmla="*/ 639879 h 4687251"/>
              <a:gd name="connsiteX25720" fmla="*/ 2295670 w 8079933"/>
              <a:gd name="connsiteY25720" fmla="*/ 645942 h 4687251"/>
              <a:gd name="connsiteX25721" fmla="*/ 2287097 w 8079933"/>
              <a:gd name="connsiteY25721" fmla="*/ 651572 h 4687251"/>
              <a:gd name="connsiteX25722" fmla="*/ 2281454 w 8079933"/>
              <a:gd name="connsiteY25722" fmla="*/ 655037 h 4687251"/>
              <a:gd name="connsiteX25723" fmla="*/ 2278632 w 8079933"/>
              <a:gd name="connsiteY25723" fmla="*/ 653629 h 4687251"/>
              <a:gd name="connsiteX25724" fmla="*/ 2277656 w 8079933"/>
              <a:gd name="connsiteY25724" fmla="*/ 651464 h 4687251"/>
              <a:gd name="connsiteX25725" fmla="*/ 2274617 w 8079933"/>
              <a:gd name="connsiteY25725" fmla="*/ 651464 h 4687251"/>
              <a:gd name="connsiteX25726" fmla="*/ 2268323 w 8079933"/>
              <a:gd name="connsiteY25726" fmla="*/ 646375 h 4687251"/>
              <a:gd name="connsiteX25727" fmla="*/ 2267672 w 8079933"/>
              <a:gd name="connsiteY25727" fmla="*/ 642369 h 4687251"/>
              <a:gd name="connsiteX25728" fmla="*/ 2264308 w 8079933"/>
              <a:gd name="connsiteY25728" fmla="*/ 640854 h 4687251"/>
              <a:gd name="connsiteX25729" fmla="*/ 2260944 w 8079933"/>
              <a:gd name="connsiteY25729" fmla="*/ 642694 h 4687251"/>
              <a:gd name="connsiteX25730" fmla="*/ 2256387 w 8079933"/>
              <a:gd name="connsiteY25730" fmla="*/ 641503 h 4687251"/>
              <a:gd name="connsiteX25731" fmla="*/ 2252588 w 8079933"/>
              <a:gd name="connsiteY25731" fmla="*/ 641503 h 4687251"/>
              <a:gd name="connsiteX25732" fmla="*/ 2249224 w 8079933"/>
              <a:gd name="connsiteY25732" fmla="*/ 639554 h 4687251"/>
              <a:gd name="connsiteX25733" fmla="*/ 2245643 w 8079933"/>
              <a:gd name="connsiteY25733" fmla="*/ 639554 h 4687251"/>
              <a:gd name="connsiteX25734" fmla="*/ 2244992 w 8079933"/>
              <a:gd name="connsiteY25734" fmla="*/ 642478 h 4687251"/>
              <a:gd name="connsiteX25735" fmla="*/ 2246837 w 8079933"/>
              <a:gd name="connsiteY25735" fmla="*/ 644751 h 4687251"/>
              <a:gd name="connsiteX25736" fmla="*/ 2255952 w 8079933"/>
              <a:gd name="connsiteY25736" fmla="*/ 644751 h 4687251"/>
              <a:gd name="connsiteX25737" fmla="*/ 2254433 w 8079933"/>
              <a:gd name="connsiteY25737" fmla="*/ 648215 h 4687251"/>
              <a:gd name="connsiteX25738" fmla="*/ 2251177 w 8079933"/>
              <a:gd name="connsiteY25738" fmla="*/ 651788 h 4687251"/>
              <a:gd name="connsiteX25739" fmla="*/ 2253674 w 8079933"/>
              <a:gd name="connsiteY25739" fmla="*/ 654278 h 4687251"/>
              <a:gd name="connsiteX25740" fmla="*/ 2253674 w 8079933"/>
              <a:gd name="connsiteY25740" fmla="*/ 659476 h 4687251"/>
              <a:gd name="connsiteX25741" fmla="*/ 2251395 w 8079933"/>
              <a:gd name="connsiteY25741" fmla="*/ 663807 h 4687251"/>
              <a:gd name="connsiteX25742" fmla="*/ 2248247 w 8079933"/>
              <a:gd name="connsiteY25742" fmla="*/ 665864 h 4687251"/>
              <a:gd name="connsiteX25743" fmla="*/ 2245534 w 8079933"/>
              <a:gd name="connsiteY25743" fmla="*/ 668896 h 4687251"/>
              <a:gd name="connsiteX25744" fmla="*/ 2240977 w 8079933"/>
              <a:gd name="connsiteY25744" fmla="*/ 668896 h 4687251"/>
              <a:gd name="connsiteX25745" fmla="*/ 2238047 w 8079933"/>
              <a:gd name="connsiteY25745" fmla="*/ 671277 h 4687251"/>
              <a:gd name="connsiteX25746" fmla="*/ 2235768 w 8079933"/>
              <a:gd name="connsiteY25746" fmla="*/ 675825 h 4687251"/>
              <a:gd name="connsiteX25747" fmla="*/ 2232187 w 8079933"/>
              <a:gd name="connsiteY25747" fmla="*/ 679289 h 4687251"/>
              <a:gd name="connsiteX25748" fmla="*/ 2228715 w 8079933"/>
              <a:gd name="connsiteY25748" fmla="*/ 679289 h 4687251"/>
              <a:gd name="connsiteX25749" fmla="*/ 2228715 w 8079933"/>
              <a:gd name="connsiteY25749" fmla="*/ 683620 h 4687251"/>
              <a:gd name="connsiteX25750" fmla="*/ 2227304 w 8079933"/>
              <a:gd name="connsiteY25750" fmla="*/ 685353 h 4687251"/>
              <a:gd name="connsiteX25751" fmla="*/ 2220033 w 8079933"/>
              <a:gd name="connsiteY25751" fmla="*/ 679181 h 4687251"/>
              <a:gd name="connsiteX25752" fmla="*/ 2216561 w 8079933"/>
              <a:gd name="connsiteY25752" fmla="*/ 680588 h 4687251"/>
              <a:gd name="connsiteX25753" fmla="*/ 2208314 w 8079933"/>
              <a:gd name="connsiteY25753" fmla="*/ 679614 h 4687251"/>
              <a:gd name="connsiteX25754" fmla="*/ 2211569 w 8079933"/>
              <a:gd name="connsiteY25754" fmla="*/ 674526 h 4687251"/>
              <a:gd name="connsiteX25755" fmla="*/ 2215367 w 8079933"/>
              <a:gd name="connsiteY25755" fmla="*/ 672793 h 4687251"/>
              <a:gd name="connsiteX25756" fmla="*/ 2218080 w 8079933"/>
              <a:gd name="connsiteY25756" fmla="*/ 673984 h 4687251"/>
              <a:gd name="connsiteX25757" fmla="*/ 2219600 w 8079933"/>
              <a:gd name="connsiteY25757" fmla="*/ 672468 h 4687251"/>
              <a:gd name="connsiteX25758" fmla="*/ 2218948 w 8079933"/>
              <a:gd name="connsiteY25758" fmla="*/ 670411 h 4687251"/>
              <a:gd name="connsiteX25759" fmla="*/ 2214825 w 8079933"/>
              <a:gd name="connsiteY25759" fmla="*/ 670411 h 4687251"/>
              <a:gd name="connsiteX25760" fmla="*/ 2213631 w 8079933"/>
              <a:gd name="connsiteY25760" fmla="*/ 668679 h 4687251"/>
              <a:gd name="connsiteX25761" fmla="*/ 2219491 w 8079933"/>
              <a:gd name="connsiteY25761" fmla="*/ 660775 h 4687251"/>
              <a:gd name="connsiteX25762" fmla="*/ 2222095 w 8079933"/>
              <a:gd name="connsiteY25762" fmla="*/ 652871 h 4687251"/>
              <a:gd name="connsiteX25763" fmla="*/ 2222095 w 8079933"/>
              <a:gd name="connsiteY25763" fmla="*/ 648541 h 4687251"/>
              <a:gd name="connsiteX25764" fmla="*/ 2224483 w 8079933"/>
              <a:gd name="connsiteY25764" fmla="*/ 647133 h 4687251"/>
              <a:gd name="connsiteX25765" fmla="*/ 2224483 w 8079933"/>
              <a:gd name="connsiteY25765" fmla="*/ 644426 h 4687251"/>
              <a:gd name="connsiteX25766" fmla="*/ 2220685 w 8079933"/>
              <a:gd name="connsiteY25766" fmla="*/ 641503 h 4687251"/>
              <a:gd name="connsiteX25767" fmla="*/ 2223072 w 8079933"/>
              <a:gd name="connsiteY25767" fmla="*/ 638255 h 4687251"/>
              <a:gd name="connsiteX25768" fmla="*/ 2223072 w 8079933"/>
              <a:gd name="connsiteY25768" fmla="*/ 632733 h 4687251"/>
              <a:gd name="connsiteX25769" fmla="*/ 2227413 w 8079933"/>
              <a:gd name="connsiteY25769" fmla="*/ 623097 h 4687251"/>
              <a:gd name="connsiteX25770" fmla="*/ 2230668 w 8079933"/>
              <a:gd name="connsiteY25770" fmla="*/ 620824 h 4687251"/>
              <a:gd name="connsiteX25771" fmla="*/ 2230668 w 8079933"/>
              <a:gd name="connsiteY25771" fmla="*/ 616493 h 4687251"/>
              <a:gd name="connsiteX25772" fmla="*/ 2234683 w 8079933"/>
              <a:gd name="connsiteY25772" fmla="*/ 613569 h 4687251"/>
              <a:gd name="connsiteX25773" fmla="*/ 2236311 w 8079933"/>
              <a:gd name="connsiteY25773" fmla="*/ 608914 h 4687251"/>
              <a:gd name="connsiteX25774" fmla="*/ 2237830 w 8079933"/>
              <a:gd name="connsiteY25774" fmla="*/ 605774 h 4687251"/>
              <a:gd name="connsiteX25775" fmla="*/ 2238481 w 8079933"/>
              <a:gd name="connsiteY25775" fmla="*/ 600577 h 4687251"/>
              <a:gd name="connsiteX25776" fmla="*/ 2244558 w 8079933"/>
              <a:gd name="connsiteY25776" fmla="*/ 594081 h 4687251"/>
              <a:gd name="connsiteX25777" fmla="*/ 2245969 w 8079933"/>
              <a:gd name="connsiteY25777" fmla="*/ 587585 h 4687251"/>
              <a:gd name="connsiteX25778" fmla="*/ 2249984 w 8079933"/>
              <a:gd name="connsiteY25778" fmla="*/ 586935 h 4687251"/>
              <a:gd name="connsiteX25779" fmla="*/ 2249984 w 8079933"/>
              <a:gd name="connsiteY25779" fmla="*/ 583795 h 4687251"/>
              <a:gd name="connsiteX25780" fmla="*/ 2248791 w 8079933"/>
              <a:gd name="connsiteY25780" fmla="*/ 581955 h 4687251"/>
              <a:gd name="connsiteX25781" fmla="*/ 2252263 w 8079933"/>
              <a:gd name="connsiteY25781" fmla="*/ 576108 h 4687251"/>
              <a:gd name="connsiteX25782" fmla="*/ 2255193 w 8079933"/>
              <a:gd name="connsiteY25782" fmla="*/ 577191 h 4687251"/>
              <a:gd name="connsiteX25783" fmla="*/ 2258991 w 8079933"/>
              <a:gd name="connsiteY25783" fmla="*/ 582821 h 4687251"/>
              <a:gd name="connsiteX25784" fmla="*/ 2260185 w 8079933"/>
              <a:gd name="connsiteY25784" fmla="*/ 587260 h 4687251"/>
              <a:gd name="connsiteX25785" fmla="*/ 2265176 w 8079933"/>
              <a:gd name="connsiteY25785" fmla="*/ 587260 h 4687251"/>
              <a:gd name="connsiteX25786" fmla="*/ 2264308 w 8079933"/>
              <a:gd name="connsiteY25786" fmla="*/ 582063 h 4687251"/>
              <a:gd name="connsiteX25787" fmla="*/ 2260727 w 8079933"/>
              <a:gd name="connsiteY25787" fmla="*/ 577949 h 4687251"/>
              <a:gd name="connsiteX25788" fmla="*/ 2261378 w 8079933"/>
              <a:gd name="connsiteY25788" fmla="*/ 575891 h 4687251"/>
              <a:gd name="connsiteX25789" fmla="*/ 2264851 w 8079933"/>
              <a:gd name="connsiteY25789" fmla="*/ 574700 h 4687251"/>
              <a:gd name="connsiteX25790" fmla="*/ 2261053 w 8079933"/>
              <a:gd name="connsiteY25790" fmla="*/ 570045 h 4687251"/>
              <a:gd name="connsiteX25791" fmla="*/ 2265176 w 8079933"/>
              <a:gd name="connsiteY25791" fmla="*/ 563548 h 4687251"/>
              <a:gd name="connsiteX25792" fmla="*/ 2276028 w 8079933"/>
              <a:gd name="connsiteY25792" fmla="*/ 561167 h 4687251"/>
              <a:gd name="connsiteX25793" fmla="*/ 2283081 w 8079933"/>
              <a:gd name="connsiteY25793" fmla="*/ 561167 h 4687251"/>
              <a:gd name="connsiteX25794" fmla="*/ 2178798 w 8079933"/>
              <a:gd name="connsiteY25794" fmla="*/ 548931 h 4687251"/>
              <a:gd name="connsiteX25795" fmla="*/ 2184984 w 8079933"/>
              <a:gd name="connsiteY25795" fmla="*/ 549580 h 4687251"/>
              <a:gd name="connsiteX25796" fmla="*/ 2186394 w 8079933"/>
              <a:gd name="connsiteY25796" fmla="*/ 551855 h 4687251"/>
              <a:gd name="connsiteX25797" fmla="*/ 2184332 w 8079933"/>
              <a:gd name="connsiteY25797" fmla="*/ 553586 h 4687251"/>
              <a:gd name="connsiteX25798" fmla="*/ 2184332 w 8079933"/>
              <a:gd name="connsiteY25798" fmla="*/ 556510 h 4687251"/>
              <a:gd name="connsiteX25799" fmla="*/ 2187588 w 8079933"/>
              <a:gd name="connsiteY25799" fmla="*/ 558784 h 4687251"/>
              <a:gd name="connsiteX25800" fmla="*/ 2190843 w 8079933"/>
              <a:gd name="connsiteY25800" fmla="*/ 563439 h 4687251"/>
              <a:gd name="connsiteX25801" fmla="*/ 2194641 w 8079933"/>
              <a:gd name="connsiteY25801" fmla="*/ 562032 h 4687251"/>
              <a:gd name="connsiteX25802" fmla="*/ 2199416 w 8079933"/>
              <a:gd name="connsiteY25802" fmla="*/ 564306 h 4687251"/>
              <a:gd name="connsiteX25803" fmla="*/ 2205059 w 8079933"/>
              <a:gd name="connsiteY25803" fmla="*/ 564306 h 4687251"/>
              <a:gd name="connsiteX25804" fmla="*/ 2207447 w 8079933"/>
              <a:gd name="connsiteY25804" fmla="*/ 562032 h 4687251"/>
              <a:gd name="connsiteX25805" fmla="*/ 2211028 w 8079933"/>
              <a:gd name="connsiteY25805" fmla="*/ 562898 h 4687251"/>
              <a:gd name="connsiteX25806" fmla="*/ 2221879 w 8079933"/>
              <a:gd name="connsiteY25806" fmla="*/ 562898 h 4687251"/>
              <a:gd name="connsiteX25807" fmla="*/ 2225460 w 8079933"/>
              <a:gd name="connsiteY25807" fmla="*/ 566904 h 4687251"/>
              <a:gd name="connsiteX25808" fmla="*/ 2228390 w 8079933"/>
              <a:gd name="connsiteY25808" fmla="*/ 566038 h 4687251"/>
              <a:gd name="connsiteX25809" fmla="*/ 2229258 w 8079933"/>
              <a:gd name="connsiteY25809" fmla="*/ 568961 h 4687251"/>
              <a:gd name="connsiteX25810" fmla="*/ 2228607 w 8079933"/>
              <a:gd name="connsiteY25810" fmla="*/ 571559 h 4687251"/>
              <a:gd name="connsiteX25811" fmla="*/ 2229801 w 8079933"/>
              <a:gd name="connsiteY25811" fmla="*/ 575025 h 4687251"/>
              <a:gd name="connsiteX25812" fmla="*/ 2227522 w 8079933"/>
              <a:gd name="connsiteY25812" fmla="*/ 578814 h 4687251"/>
              <a:gd name="connsiteX25813" fmla="*/ 2221445 w 8079933"/>
              <a:gd name="connsiteY25813" fmla="*/ 582386 h 4687251"/>
              <a:gd name="connsiteX25814" fmla="*/ 2217864 w 8079933"/>
              <a:gd name="connsiteY25814" fmla="*/ 580871 h 4687251"/>
              <a:gd name="connsiteX25815" fmla="*/ 2216996 w 8079933"/>
              <a:gd name="connsiteY25815" fmla="*/ 578598 h 4687251"/>
              <a:gd name="connsiteX25816" fmla="*/ 2214608 w 8079933"/>
              <a:gd name="connsiteY25816" fmla="*/ 580979 h 4687251"/>
              <a:gd name="connsiteX25817" fmla="*/ 2211678 w 8079933"/>
              <a:gd name="connsiteY25817" fmla="*/ 581954 h 4687251"/>
              <a:gd name="connsiteX25818" fmla="*/ 2212764 w 8079933"/>
              <a:gd name="connsiteY25818" fmla="*/ 584552 h 4687251"/>
              <a:gd name="connsiteX25819" fmla="*/ 2217973 w 8079933"/>
              <a:gd name="connsiteY25819" fmla="*/ 587800 h 4687251"/>
              <a:gd name="connsiteX25820" fmla="*/ 2216236 w 8079933"/>
              <a:gd name="connsiteY25820" fmla="*/ 590724 h 4687251"/>
              <a:gd name="connsiteX25821" fmla="*/ 2215368 w 8079933"/>
              <a:gd name="connsiteY25821" fmla="*/ 596679 h 4687251"/>
              <a:gd name="connsiteX25822" fmla="*/ 2212981 w 8079933"/>
              <a:gd name="connsiteY25822" fmla="*/ 597869 h 4687251"/>
              <a:gd name="connsiteX25823" fmla="*/ 2211245 w 8079933"/>
              <a:gd name="connsiteY25823" fmla="*/ 596137 h 4687251"/>
              <a:gd name="connsiteX25824" fmla="*/ 2207772 w 8079933"/>
              <a:gd name="connsiteY25824" fmla="*/ 596137 h 4687251"/>
              <a:gd name="connsiteX25825" fmla="*/ 2202780 w 8079933"/>
              <a:gd name="connsiteY25825" fmla="*/ 597328 h 4687251"/>
              <a:gd name="connsiteX25826" fmla="*/ 2201044 w 8079933"/>
              <a:gd name="connsiteY25826" fmla="*/ 599927 h 4687251"/>
              <a:gd name="connsiteX25827" fmla="*/ 2191928 w 8079933"/>
              <a:gd name="connsiteY25827" fmla="*/ 601984 h 4687251"/>
              <a:gd name="connsiteX25828" fmla="*/ 2186394 w 8079933"/>
              <a:gd name="connsiteY25828" fmla="*/ 606423 h 4687251"/>
              <a:gd name="connsiteX25829" fmla="*/ 2183681 w 8079933"/>
              <a:gd name="connsiteY25829" fmla="*/ 606423 h 4687251"/>
              <a:gd name="connsiteX25830" fmla="*/ 2179883 w 8079933"/>
              <a:gd name="connsiteY25830" fmla="*/ 612269 h 4687251"/>
              <a:gd name="connsiteX25831" fmla="*/ 2179883 w 8079933"/>
              <a:gd name="connsiteY25831" fmla="*/ 614976 h 4687251"/>
              <a:gd name="connsiteX25832" fmla="*/ 2183031 w 8079933"/>
              <a:gd name="connsiteY25832" fmla="*/ 614976 h 4687251"/>
              <a:gd name="connsiteX25833" fmla="*/ 2184224 w 8079933"/>
              <a:gd name="connsiteY25833" fmla="*/ 612920 h 4687251"/>
              <a:gd name="connsiteX25834" fmla="*/ 2191277 w 8079933"/>
              <a:gd name="connsiteY25834" fmla="*/ 611404 h 4687251"/>
              <a:gd name="connsiteX25835" fmla="*/ 2193882 w 8079933"/>
              <a:gd name="connsiteY25835" fmla="*/ 610320 h 4687251"/>
              <a:gd name="connsiteX25836" fmla="*/ 2201152 w 8079933"/>
              <a:gd name="connsiteY25836" fmla="*/ 614435 h 4687251"/>
              <a:gd name="connsiteX25837" fmla="*/ 2202563 w 8079933"/>
              <a:gd name="connsiteY25837" fmla="*/ 619416 h 4687251"/>
              <a:gd name="connsiteX25838" fmla="*/ 2200501 w 8079933"/>
              <a:gd name="connsiteY25838" fmla="*/ 620931 h 4687251"/>
              <a:gd name="connsiteX25839" fmla="*/ 2197354 w 8079933"/>
              <a:gd name="connsiteY25839" fmla="*/ 620931 h 4687251"/>
              <a:gd name="connsiteX25840" fmla="*/ 2200827 w 8079933"/>
              <a:gd name="connsiteY25840" fmla="*/ 622447 h 4687251"/>
              <a:gd name="connsiteX25841" fmla="*/ 2201695 w 8079933"/>
              <a:gd name="connsiteY25841" fmla="*/ 626236 h 4687251"/>
              <a:gd name="connsiteX25842" fmla="*/ 2201695 w 8079933"/>
              <a:gd name="connsiteY25842" fmla="*/ 630675 h 4687251"/>
              <a:gd name="connsiteX25843" fmla="*/ 2198114 w 8079933"/>
              <a:gd name="connsiteY25843" fmla="*/ 633057 h 4687251"/>
              <a:gd name="connsiteX25844" fmla="*/ 2198114 w 8079933"/>
              <a:gd name="connsiteY25844" fmla="*/ 637930 h 4687251"/>
              <a:gd name="connsiteX25845" fmla="*/ 2199524 w 8079933"/>
              <a:gd name="connsiteY25845" fmla="*/ 639987 h 4687251"/>
              <a:gd name="connsiteX25846" fmla="*/ 2202237 w 8079933"/>
              <a:gd name="connsiteY25846" fmla="*/ 634681 h 4687251"/>
              <a:gd name="connsiteX25847" fmla="*/ 2207447 w 8079933"/>
              <a:gd name="connsiteY25847" fmla="*/ 632733 h 4687251"/>
              <a:gd name="connsiteX25848" fmla="*/ 2209183 w 8079933"/>
              <a:gd name="connsiteY25848" fmla="*/ 630675 h 4687251"/>
              <a:gd name="connsiteX25849" fmla="*/ 2211896 w 8079933"/>
              <a:gd name="connsiteY25849" fmla="*/ 630675 h 4687251"/>
              <a:gd name="connsiteX25850" fmla="*/ 2209292 w 8079933"/>
              <a:gd name="connsiteY25850" fmla="*/ 633815 h 4687251"/>
              <a:gd name="connsiteX25851" fmla="*/ 2209292 w 8079933"/>
              <a:gd name="connsiteY25851" fmla="*/ 640636 h 4687251"/>
              <a:gd name="connsiteX25852" fmla="*/ 2206579 w 8079933"/>
              <a:gd name="connsiteY25852" fmla="*/ 647891 h 4687251"/>
              <a:gd name="connsiteX25853" fmla="*/ 2206579 w 8079933"/>
              <a:gd name="connsiteY25853" fmla="*/ 652221 h 4687251"/>
              <a:gd name="connsiteX25854" fmla="*/ 2198656 w 8079933"/>
              <a:gd name="connsiteY25854" fmla="*/ 656877 h 4687251"/>
              <a:gd name="connsiteX25855" fmla="*/ 2195510 w 8079933"/>
              <a:gd name="connsiteY25855" fmla="*/ 656660 h 4687251"/>
              <a:gd name="connsiteX25856" fmla="*/ 2194099 w 8079933"/>
              <a:gd name="connsiteY25856" fmla="*/ 658934 h 4687251"/>
              <a:gd name="connsiteX25857" fmla="*/ 2195618 w 8079933"/>
              <a:gd name="connsiteY25857" fmla="*/ 661532 h 4687251"/>
              <a:gd name="connsiteX25858" fmla="*/ 2193556 w 8079933"/>
              <a:gd name="connsiteY25858" fmla="*/ 667921 h 4687251"/>
              <a:gd name="connsiteX25859" fmla="*/ 2190952 w 8079933"/>
              <a:gd name="connsiteY25859" fmla="*/ 668570 h 4687251"/>
              <a:gd name="connsiteX25860" fmla="*/ 2189758 w 8079933"/>
              <a:gd name="connsiteY25860" fmla="*/ 666513 h 4687251"/>
              <a:gd name="connsiteX25861" fmla="*/ 2186611 w 8079933"/>
              <a:gd name="connsiteY25861" fmla="*/ 668245 h 4687251"/>
              <a:gd name="connsiteX25862" fmla="*/ 2186611 w 8079933"/>
              <a:gd name="connsiteY25862" fmla="*/ 670303 h 4687251"/>
              <a:gd name="connsiteX25863" fmla="*/ 2192688 w 8079933"/>
              <a:gd name="connsiteY25863" fmla="*/ 673550 h 4687251"/>
              <a:gd name="connsiteX25864" fmla="*/ 2191495 w 8079933"/>
              <a:gd name="connsiteY25864" fmla="*/ 675932 h 4687251"/>
              <a:gd name="connsiteX25865" fmla="*/ 2186828 w 8079933"/>
              <a:gd name="connsiteY25865" fmla="*/ 675932 h 4687251"/>
              <a:gd name="connsiteX25866" fmla="*/ 2189541 w 8079933"/>
              <a:gd name="connsiteY25866" fmla="*/ 680264 h 4687251"/>
              <a:gd name="connsiteX25867" fmla="*/ 2184332 w 8079933"/>
              <a:gd name="connsiteY25867" fmla="*/ 684703 h 4687251"/>
              <a:gd name="connsiteX25868" fmla="*/ 2182271 w 8079933"/>
              <a:gd name="connsiteY25868" fmla="*/ 682645 h 4687251"/>
              <a:gd name="connsiteX25869" fmla="*/ 2179341 w 8079933"/>
              <a:gd name="connsiteY25869" fmla="*/ 685244 h 4687251"/>
              <a:gd name="connsiteX25870" fmla="*/ 2174891 w 8079933"/>
              <a:gd name="connsiteY25870" fmla="*/ 685244 h 4687251"/>
              <a:gd name="connsiteX25871" fmla="*/ 2169357 w 8079933"/>
              <a:gd name="connsiteY25871" fmla="*/ 687842 h 4687251"/>
              <a:gd name="connsiteX25872" fmla="*/ 2169357 w 8079933"/>
              <a:gd name="connsiteY25872" fmla="*/ 691415 h 4687251"/>
              <a:gd name="connsiteX25873" fmla="*/ 2162846 w 8079933"/>
              <a:gd name="connsiteY25873" fmla="*/ 693472 h 4687251"/>
              <a:gd name="connsiteX25874" fmla="*/ 2157311 w 8079933"/>
              <a:gd name="connsiteY25874" fmla="*/ 689683 h 4687251"/>
              <a:gd name="connsiteX25875" fmla="*/ 2152645 w 8079933"/>
              <a:gd name="connsiteY25875" fmla="*/ 692282 h 4687251"/>
              <a:gd name="connsiteX25876" fmla="*/ 2149498 w 8079933"/>
              <a:gd name="connsiteY25876" fmla="*/ 691199 h 4687251"/>
              <a:gd name="connsiteX25877" fmla="*/ 2147654 w 8079933"/>
              <a:gd name="connsiteY25877" fmla="*/ 681887 h 4687251"/>
              <a:gd name="connsiteX25878" fmla="*/ 2151777 w 8079933"/>
              <a:gd name="connsiteY25878" fmla="*/ 676041 h 4687251"/>
              <a:gd name="connsiteX25879" fmla="*/ 2151777 w 8079933"/>
              <a:gd name="connsiteY25879" fmla="*/ 672576 h 4687251"/>
              <a:gd name="connsiteX25880" fmla="*/ 2143856 w 8079933"/>
              <a:gd name="connsiteY25880" fmla="*/ 680155 h 4687251"/>
              <a:gd name="connsiteX25881" fmla="*/ 2143204 w 8079933"/>
              <a:gd name="connsiteY25881" fmla="*/ 684594 h 4687251"/>
              <a:gd name="connsiteX25882" fmla="*/ 2146677 w 8079933"/>
              <a:gd name="connsiteY25882" fmla="*/ 693472 h 4687251"/>
              <a:gd name="connsiteX25883" fmla="*/ 2149064 w 8079933"/>
              <a:gd name="connsiteY25883" fmla="*/ 695854 h 4687251"/>
              <a:gd name="connsiteX25884" fmla="*/ 2147870 w 8079933"/>
              <a:gd name="connsiteY25884" fmla="*/ 700185 h 4687251"/>
              <a:gd name="connsiteX25885" fmla="*/ 2141902 w 8079933"/>
              <a:gd name="connsiteY25885" fmla="*/ 706790 h 4687251"/>
              <a:gd name="connsiteX25886" fmla="*/ 2139623 w 8079933"/>
              <a:gd name="connsiteY25886" fmla="*/ 711770 h 4687251"/>
              <a:gd name="connsiteX25887" fmla="*/ 2133221 w 8079933"/>
              <a:gd name="connsiteY25887" fmla="*/ 713719 h 4687251"/>
              <a:gd name="connsiteX25888" fmla="*/ 2130291 w 8079933"/>
              <a:gd name="connsiteY25888" fmla="*/ 711337 h 4687251"/>
              <a:gd name="connsiteX25889" fmla="*/ 2130291 w 8079933"/>
              <a:gd name="connsiteY25889" fmla="*/ 706031 h 4687251"/>
              <a:gd name="connsiteX25890" fmla="*/ 2128337 w 8079933"/>
              <a:gd name="connsiteY25890" fmla="*/ 703974 h 4687251"/>
              <a:gd name="connsiteX25891" fmla="*/ 2125407 w 8079933"/>
              <a:gd name="connsiteY25891" fmla="*/ 706573 h 4687251"/>
              <a:gd name="connsiteX25892" fmla="*/ 2124322 w 8079933"/>
              <a:gd name="connsiteY25892" fmla="*/ 703974 h 4687251"/>
              <a:gd name="connsiteX25893" fmla="*/ 2125516 w 8079933"/>
              <a:gd name="connsiteY25893" fmla="*/ 699319 h 4687251"/>
              <a:gd name="connsiteX25894" fmla="*/ 2124431 w 8079933"/>
              <a:gd name="connsiteY25894" fmla="*/ 694339 h 4687251"/>
              <a:gd name="connsiteX25895" fmla="*/ 2121176 w 8079933"/>
              <a:gd name="connsiteY25895" fmla="*/ 690874 h 4687251"/>
              <a:gd name="connsiteX25896" fmla="*/ 2123888 w 8079933"/>
              <a:gd name="connsiteY25896" fmla="*/ 685568 h 4687251"/>
              <a:gd name="connsiteX25897" fmla="*/ 2123020 w 8079933"/>
              <a:gd name="connsiteY25897" fmla="*/ 678748 h 4687251"/>
              <a:gd name="connsiteX25898" fmla="*/ 2124539 w 8079933"/>
              <a:gd name="connsiteY25898" fmla="*/ 675824 h 4687251"/>
              <a:gd name="connsiteX25899" fmla="*/ 2121067 w 8079933"/>
              <a:gd name="connsiteY25899" fmla="*/ 674091 h 4687251"/>
              <a:gd name="connsiteX25900" fmla="*/ 2119005 w 8079933"/>
              <a:gd name="connsiteY25900" fmla="*/ 669978 h 4687251"/>
              <a:gd name="connsiteX25901" fmla="*/ 2119005 w 8079933"/>
              <a:gd name="connsiteY25901" fmla="*/ 666188 h 4687251"/>
              <a:gd name="connsiteX25902" fmla="*/ 2115098 w 8079933"/>
              <a:gd name="connsiteY25902" fmla="*/ 661207 h 4687251"/>
              <a:gd name="connsiteX25903" fmla="*/ 2115098 w 8079933"/>
              <a:gd name="connsiteY25903" fmla="*/ 653845 h 4687251"/>
              <a:gd name="connsiteX25904" fmla="*/ 2111952 w 8079933"/>
              <a:gd name="connsiteY25904" fmla="*/ 648215 h 4687251"/>
              <a:gd name="connsiteX25905" fmla="*/ 2109564 w 8079933"/>
              <a:gd name="connsiteY25905" fmla="*/ 648215 h 4687251"/>
              <a:gd name="connsiteX25906" fmla="*/ 2108045 w 8079933"/>
              <a:gd name="connsiteY25906" fmla="*/ 645942 h 4687251"/>
              <a:gd name="connsiteX25907" fmla="*/ 2108045 w 8079933"/>
              <a:gd name="connsiteY25907" fmla="*/ 640636 h 4687251"/>
              <a:gd name="connsiteX25908" fmla="*/ 2105441 w 8079933"/>
              <a:gd name="connsiteY25908" fmla="*/ 639229 h 4687251"/>
              <a:gd name="connsiteX25909" fmla="*/ 2101859 w 8079933"/>
              <a:gd name="connsiteY25909" fmla="*/ 641503 h 4687251"/>
              <a:gd name="connsiteX25910" fmla="*/ 2099906 w 8079933"/>
              <a:gd name="connsiteY25910" fmla="*/ 639662 h 4687251"/>
              <a:gd name="connsiteX25911" fmla="*/ 2096433 w 8079933"/>
              <a:gd name="connsiteY25911" fmla="*/ 640312 h 4687251"/>
              <a:gd name="connsiteX25912" fmla="*/ 2094155 w 8079933"/>
              <a:gd name="connsiteY25912" fmla="*/ 638038 h 4687251"/>
              <a:gd name="connsiteX25913" fmla="*/ 2094155 w 8079933"/>
              <a:gd name="connsiteY25913" fmla="*/ 632841 h 4687251"/>
              <a:gd name="connsiteX25914" fmla="*/ 2099038 w 8079933"/>
              <a:gd name="connsiteY25914" fmla="*/ 630243 h 4687251"/>
              <a:gd name="connsiteX25915" fmla="*/ 2100015 w 8079933"/>
              <a:gd name="connsiteY25915" fmla="*/ 623530 h 4687251"/>
              <a:gd name="connsiteX25916" fmla="*/ 2097627 w 8079933"/>
              <a:gd name="connsiteY25916" fmla="*/ 620282 h 4687251"/>
              <a:gd name="connsiteX25917" fmla="*/ 2098821 w 8079933"/>
              <a:gd name="connsiteY25917" fmla="*/ 617575 h 4687251"/>
              <a:gd name="connsiteX25918" fmla="*/ 2098821 w 8079933"/>
              <a:gd name="connsiteY25918" fmla="*/ 609454 h 4687251"/>
              <a:gd name="connsiteX25919" fmla="*/ 2097085 w 8079933"/>
              <a:gd name="connsiteY25919" fmla="*/ 606206 h 4687251"/>
              <a:gd name="connsiteX25920" fmla="*/ 2102728 w 8079933"/>
              <a:gd name="connsiteY25920" fmla="*/ 598953 h 4687251"/>
              <a:gd name="connsiteX25921" fmla="*/ 2107394 w 8079933"/>
              <a:gd name="connsiteY25921" fmla="*/ 597220 h 4687251"/>
              <a:gd name="connsiteX25922" fmla="*/ 2109239 w 8079933"/>
              <a:gd name="connsiteY25922" fmla="*/ 594080 h 4687251"/>
              <a:gd name="connsiteX25923" fmla="*/ 2111626 w 8079933"/>
              <a:gd name="connsiteY25923" fmla="*/ 593430 h 4687251"/>
              <a:gd name="connsiteX25924" fmla="*/ 2113037 w 8079933"/>
              <a:gd name="connsiteY25924" fmla="*/ 595704 h 4687251"/>
              <a:gd name="connsiteX25925" fmla="*/ 2120090 w 8079933"/>
              <a:gd name="connsiteY25925" fmla="*/ 593430 h 4687251"/>
              <a:gd name="connsiteX25926" fmla="*/ 2124214 w 8079933"/>
              <a:gd name="connsiteY25926" fmla="*/ 594621 h 4687251"/>
              <a:gd name="connsiteX25927" fmla="*/ 2126276 w 8079933"/>
              <a:gd name="connsiteY25927" fmla="*/ 597545 h 4687251"/>
              <a:gd name="connsiteX25928" fmla="*/ 2124431 w 8079933"/>
              <a:gd name="connsiteY25928" fmla="*/ 599818 h 4687251"/>
              <a:gd name="connsiteX25929" fmla="*/ 2122369 w 8079933"/>
              <a:gd name="connsiteY25929" fmla="*/ 600468 h 4687251"/>
              <a:gd name="connsiteX25930" fmla="*/ 2122369 w 8079933"/>
              <a:gd name="connsiteY25930" fmla="*/ 602849 h 4687251"/>
              <a:gd name="connsiteX25931" fmla="*/ 2126384 w 8079933"/>
              <a:gd name="connsiteY25931" fmla="*/ 603499 h 4687251"/>
              <a:gd name="connsiteX25932" fmla="*/ 2127252 w 8079933"/>
              <a:gd name="connsiteY25932" fmla="*/ 606206 h 4687251"/>
              <a:gd name="connsiteX25933" fmla="*/ 2127252 w 8079933"/>
              <a:gd name="connsiteY25933" fmla="*/ 610320 h 4687251"/>
              <a:gd name="connsiteX25934" fmla="*/ 2133112 w 8079933"/>
              <a:gd name="connsiteY25934" fmla="*/ 616708 h 4687251"/>
              <a:gd name="connsiteX25935" fmla="*/ 2133112 w 8079933"/>
              <a:gd name="connsiteY25935" fmla="*/ 620822 h 4687251"/>
              <a:gd name="connsiteX25936" fmla="*/ 2135825 w 8079933"/>
              <a:gd name="connsiteY25936" fmla="*/ 624829 h 4687251"/>
              <a:gd name="connsiteX25937" fmla="*/ 2140274 w 8079933"/>
              <a:gd name="connsiteY25937" fmla="*/ 625479 h 4687251"/>
              <a:gd name="connsiteX25938" fmla="*/ 2142336 w 8079933"/>
              <a:gd name="connsiteY25938" fmla="*/ 623746 h 4687251"/>
              <a:gd name="connsiteX25939" fmla="*/ 2141468 w 8079933"/>
              <a:gd name="connsiteY25939" fmla="*/ 619740 h 4687251"/>
              <a:gd name="connsiteX25940" fmla="*/ 2144072 w 8079933"/>
              <a:gd name="connsiteY25940" fmla="*/ 617900 h 4687251"/>
              <a:gd name="connsiteX25941" fmla="*/ 2147219 w 8079933"/>
              <a:gd name="connsiteY25941" fmla="*/ 612702 h 4687251"/>
              <a:gd name="connsiteX25942" fmla="*/ 2146351 w 8079933"/>
              <a:gd name="connsiteY25942" fmla="*/ 609563 h 4687251"/>
              <a:gd name="connsiteX25943" fmla="*/ 2149607 w 8079933"/>
              <a:gd name="connsiteY25943" fmla="*/ 606423 h 4687251"/>
              <a:gd name="connsiteX25944" fmla="*/ 2150258 w 8079933"/>
              <a:gd name="connsiteY25944" fmla="*/ 602959 h 4687251"/>
              <a:gd name="connsiteX25945" fmla="*/ 2148522 w 8079933"/>
              <a:gd name="connsiteY25945" fmla="*/ 598844 h 4687251"/>
              <a:gd name="connsiteX25946" fmla="*/ 2150258 w 8079933"/>
              <a:gd name="connsiteY25946" fmla="*/ 596786 h 4687251"/>
              <a:gd name="connsiteX25947" fmla="*/ 2154598 w 8079933"/>
              <a:gd name="connsiteY25947" fmla="*/ 595812 h 4687251"/>
              <a:gd name="connsiteX25948" fmla="*/ 2157746 w 8079933"/>
              <a:gd name="connsiteY25948" fmla="*/ 597003 h 4687251"/>
              <a:gd name="connsiteX25949" fmla="*/ 2160024 w 8079933"/>
              <a:gd name="connsiteY25949" fmla="*/ 601767 h 4687251"/>
              <a:gd name="connsiteX25950" fmla="*/ 2163280 w 8079933"/>
              <a:gd name="connsiteY25950" fmla="*/ 601767 h 4687251"/>
              <a:gd name="connsiteX25951" fmla="*/ 2163280 w 8079933"/>
              <a:gd name="connsiteY25951" fmla="*/ 598844 h 4687251"/>
              <a:gd name="connsiteX25952" fmla="*/ 2159808 w 8079933"/>
              <a:gd name="connsiteY25952" fmla="*/ 593214 h 4687251"/>
              <a:gd name="connsiteX25953" fmla="*/ 2158723 w 8079933"/>
              <a:gd name="connsiteY25953" fmla="*/ 588775 h 4687251"/>
              <a:gd name="connsiteX25954" fmla="*/ 2156986 w 8079933"/>
              <a:gd name="connsiteY25954" fmla="*/ 588775 h 4687251"/>
              <a:gd name="connsiteX25955" fmla="*/ 2154707 w 8079933"/>
              <a:gd name="connsiteY25955" fmla="*/ 593106 h 4687251"/>
              <a:gd name="connsiteX25956" fmla="*/ 2149390 w 8079933"/>
              <a:gd name="connsiteY25956" fmla="*/ 593106 h 4687251"/>
              <a:gd name="connsiteX25957" fmla="*/ 2145266 w 8079933"/>
              <a:gd name="connsiteY25957" fmla="*/ 587259 h 4687251"/>
              <a:gd name="connsiteX25958" fmla="*/ 2145266 w 8079933"/>
              <a:gd name="connsiteY25958" fmla="*/ 584119 h 4687251"/>
              <a:gd name="connsiteX25959" fmla="*/ 2141468 w 8079933"/>
              <a:gd name="connsiteY25959" fmla="*/ 579355 h 4687251"/>
              <a:gd name="connsiteX25960" fmla="*/ 2141468 w 8079933"/>
              <a:gd name="connsiteY25960" fmla="*/ 573833 h 4687251"/>
              <a:gd name="connsiteX25961" fmla="*/ 2144398 w 8079933"/>
              <a:gd name="connsiteY25961" fmla="*/ 570910 h 4687251"/>
              <a:gd name="connsiteX25962" fmla="*/ 2147979 w 8079933"/>
              <a:gd name="connsiteY25962" fmla="*/ 570910 h 4687251"/>
              <a:gd name="connsiteX25963" fmla="*/ 2149064 w 8079933"/>
              <a:gd name="connsiteY25963" fmla="*/ 567121 h 4687251"/>
              <a:gd name="connsiteX25964" fmla="*/ 2152645 w 8079933"/>
              <a:gd name="connsiteY25964" fmla="*/ 569178 h 4687251"/>
              <a:gd name="connsiteX25965" fmla="*/ 2155033 w 8079933"/>
              <a:gd name="connsiteY25965" fmla="*/ 573292 h 4687251"/>
              <a:gd name="connsiteX25966" fmla="*/ 2156552 w 8079933"/>
              <a:gd name="connsiteY25966" fmla="*/ 582604 h 4687251"/>
              <a:gd name="connsiteX25967" fmla="*/ 2157637 w 8079933"/>
              <a:gd name="connsiteY25967" fmla="*/ 582604 h 4687251"/>
              <a:gd name="connsiteX25968" fmla="*/ 2158614 w 8079933"/>
              <a:gd name="connsiteY25968" fmla="*/ 577623 h 4687251"/>
              <a:gd name="connsiteX25969" fmla="*/ 2160350 w 8079933"/>
              <a:gd name="connsiteY25969" fmla="*/ 575349 h 4687251"/>
              <a:gd name="connsiteX25970" fmla="*/ 2160350 w 8079933"/>
              <a:gd name="connsiteY25970" fmla="*/ 570368 h 4687251"/>
              <a:gd name="connsiteX25971" fmla="*/ 2156878 w 8079933"/>
              <a:gd name="connsiteY25971" fmla="*/ 568528 h 4687251"/>
              <a:gd name="connsiteX25972" fmla="*/ 2156878 w 8079933"/>
              <a:gd name="connsiteY25972" fmla="*/ 564089 h 4687251"/>
              <a:gd name="connsiteX25973" fmla="*/ 2155901 w 8079933"/>
              <a:gd name="connsiteY25973" fmla="*/ 559433 h 4687251"/>
              <a:gd name="connsiteX25974" fmla="*/ 2157963 w 8079933"/>
              <a:gd name="connsiteY25974" fmla="*/ 558243 h 4687251"/>
              <a:gd name="connsiteX25975" fmla="*/ 2159373 w 8079933"/>
              <a:gd name="connsiteY25975" fmla="*/ 553478 h 4687251"/>
              <a:gd name="connsiteX25976" fmla="*/ 2163822 w 8079933"/>
              <a:gd name="connsiteY25976" fmla="*/ 551746 h 4687251"/>
              <a:gd name="connsiteX25977" fmla="*/ 2165884 w 8079933"/>
              <a:gd name="connsiteY25977" fmla="*/ 552829 h 4687251"/>
              <a:gd name="connsiteX25978" fmla="*/ 2168163 w 8079933"/>
              <a:gd name="connsiteY25978" fmla="*/ 552180 h 4687251"/>
              <a:gd name="connsiteX25979" fmla="*/ 2171636 w 8079933"/>
              <a:gd name="connsiteY25979" fmla="*/ 557376 h 4687251"/>
              <a:gd name="connsiteX25980" fmla="*/ 2177279 w 8079933"/>
              <a:gd name="connsiteY25980" fmla="*/ 558784 h 4687251"/>
              <a:gd name="connsiteX25981" fmla="*/ 2179558 w 8079933"/>
              <a:gd name="connsiteY25981" fmla="*/ 554778 h 4687251"/>
              <a:gd name="connsiteX25982" fmla="*/ 2174891 w 8079933"/>
              <a:gd name="connsiteY25982" fmla="*/ 554778 h 4687251"/>
              <a:gd name="connsiteX25983" fmla="*/ 2172830 w 8079933"/>
              <a:gd name="connsiteY25983" fmla="*/ 552504 h 4687251"/>
              <a:gd name="connsiteX25984" fmla="*/ 2175217 w 8079933"/>
              <a:gd name="connsiteY25984" fmla="*/ 550664 h 4687251"/>
              <a:gd name="connsiteX25985" fmla="*/ 5417911 w 8079933"/>
              <a:gd name="connsiteY25985" fmla="*/ 548501 h 4687251"/>
              <a:gd name="connsiteX25986" fmla="*/ 5423662 w 8079933"/>
              <a:gd name="connsiteY25986" fmla="*/ 549259 h 4687251"/>
              <a:gd name="connsiteX25987" fmla="*/ 5426701 w 8079933"/>
              <a:gd name="connsiteY25987" fmla="*/ 552723 h 4687251"/>
              <a:gd name="connsiteX25988" fmla="*/ 5426484 w 8079933"/>
              <a:gd name="connsiteY25988" fmla="*/ 554673 h 4687251"/>
              <a:gd name="connsiteX25989" fmla="*/ 5422794 w 8079933"/>
              <a:gd name="connsiteY25989" fmla="*/ 555430 h 4687251"/>
              <a:gd name="connsiteX25990" fmla="*/ 5424639 w 8079933"/>
              <a:gd name="connsiteY25990" fmla="*/ 558136 h 4687251"/>
              <a:gd name="connsiteX25991" fmla="*/ 5424965 w 8079933"/>
              <a:gd name="connsiteY25991" fmla="*/ 559761 h 4687251"/>
              <a:gd name="connsiteX25992" fmla="*/ 5422903 w 8079933"/>
              <a:gd name="connsiteY25992" fmla="*/ 560735 h 4687251"/>
              <a:gd name="connsiteX25993" fmla="*/ 5419430 w 8079933"/>
              <a:gd name="connsiteY25993" fmla="*/ 558355 h 4687251"/>
              <a:gd name="connsiteX25994" fmla="*/ 5414764 w 8079933"/>
              <a:gd name="connsiteY25994" fmla="*/ 558136 h 4687251"/>
              <a:gd name="connsiteX25995" fmla="*/ 5412159 w 8079933"/>
              <a:gd name="connsiteY25995" fmla="*/ 556404 h 4687251"/>
              <a:gd name="connsiteX25996" fmla="*/ 5409772 w 8079933"/>
              <a:gd name="connsiteY25996" fmla="*/ 552399 h 4687251"/>
              <a:gd name="connsiteX25997" fmla="*/ 5411183 w 8079933"/>
              <a:gd name="connsiteY25997" fmla="*/ 551423 h 4687251"/>
              <a:gd name="connsiteX25998" fmla="*/ 5414655 w 8079933"/>
              <a:gd name="connsiteY25998" fmla="*/ 553481 h 4687251"/>
              <a:gd name="connsiteX25999" fmla="*/ 5415957 w 8079933"/>
              <a:gd name="connsiteY25999" fmla="*/ 553156 h 4687251"/>
              <a:gd name="connsiteX26000" fmla="*/ 5415523 w 8079933"/>
              <a:gd name="connsiteY26000" fmla="*/ 550016 h 4687251"/>
              <a:gd name="connsiteX26001" fmla="*/ 2223614 w 8079933"/>
              <a:gd name="connsiteY26001" fmla="*/ 544384 h 4687251"/>
              <a:gd name="connsiteX26002" fmla="*/ 2230450 w 8079933"/>
              <a:gd name="connsiteY26002" fmla="*/ 548390 h 4687251"/>
              <a:gd name="connsiteX26003" fmla="*/ 2230993 w 8079933"/>
              <a:gd name="connsiteY26003" fmla="*/ 551963 h 4687251"/>
              <a:gd name="connsiteX26004" fmla="*/ 2225133 w 8079933"/>
              <a:gd name="connsiteY26004" fmla="*/ 551639 h 4687251"/>
              <a:gd name="connsiteX26005" fmla="*/ 2221769 w 8079933"/>
              <a:gd name="connsiteY26005" fmla="*/ 555212 h 4687251"/>
              <a:gd name="connsiteX26006" fmla="*/ 2218405 w 8079933"/>
              <a:gd name="connsiteY26006" fmla="*/ 556078 h 4687251"/>
              <a:gd name="connsiteX26007" fmla="*/ 2214824 w 8079933"/>
              <a:gd name="connsiteY26007" fmla="*/ 554670 h 4687251"/>
              <a:gd name="connsiteX26008" fmla="*/ 2209073 w 8079933"/>
              <a:gd name="connsiteY26008" fmla="*/ 557594 h 4687251"/>
              <a:gd name="connsiteX26009" fmla="*/ 2204732 w 8079933"/>
              <a:gd name="connsiteY26009" fmla="*/ 555970 h 4687251"/>
              <a:gd name="connsiteX26010" fmla="*/ 2202671 w 8079933"/>
              <a:gd name="connsiteY26010" fmla="*/ 558460 h 4687251"/>
              <a:gd name="connsiteX26011" fmla="*/ 2196485 w 8079933"/>
              <a:gd name="connsiteY26011" fmla="*/ 553913 h 4687251"/>
              <a:gd name="connsiteX26012" fmla="*/ 2190625 w 8079933"/>
              <a:gd name="connsiteY26012" fmla="*/ 552288 h 4687251"/>
              <a:gd name="connsiteX26013" fmla="*/ 2188672 w 8079933"/>
              <a:gd name="connsiteY26013" fmla="*/ 549256 h 4687251"/>
              <a:gd name="connsiteX26014" fmla="*/ 2190191 w 8079933"/>
              <a:gd name="connsiteY26014" fmla="*/ 548607 h 4687251"/>
              <a:gd name="connsiteX26015" fmla="*/ 2195725 w 8079933"/>
              <a:gd name="connsiteY26015" fmla="*/ 549148 h 4687251"/>
              <a:gd name="connsiteX26016" fmla="*/ 2200608 w 8079933"/>
              <a:gd name="connsiteY26016" fmla="*/ 545684 h 4687251"/>
              <a:gd name="connsiteX26017" fmla="*/ 2207011 w 8079933"/>
              <a:gd name="connsiteY26017" fmla="*/ 548715 h 4687251"/>
              <a:gd name="connsiteX26018" fmla="*/ 2211786 w 8079933"/>
              <a:gd name="connsiteY26018" fmla="*/ 546009 h 4687251"/>
              <a:gd name="connsiteX26019" fmla="*/ 2214173 w 8079933"/>
              <a:gd name="connsiteY26019" fmla="*/ 547308 h 4687251"/>
              <a:gd name="connsiteX26020" fmla="*/ 2219708 w 8079933"/>
              <a:gd name="connsiteY26020" fmla="*/ 546550 h 4687251"/>
              <a:gd name="connsiteX26021" fmla="*/ 3646919 w 8079933"/>
              <a:gd name="connsiteY26021" fmla="*/ 541028 h 4687251"/>
              <a:gd name="connsiteX26022" fmla="*/ 3646919 w 8079933"/>
              <a:gd name="connsiteY26022" fmla="*/ 545899 h 4687251"/>
              <a:gd name="connsiteX26023" fmla="*/ 3645399 w 8079933"/>
              <a:gd name="connsiteY26023" fmla="*/ 548606 h 4687251"/>
              <a:gd name="connsiteX26024" fmla="*/ 3644857 w 8079933"/>
              <a:gd name="connsiteY26024" fmla="*/ 553262 h 4687251"/>
              <a:gd name="connsiteX26025" fmla="*/ 3645616 w 8079933"/>
              <a:gd name="connsiteY26025" fmla="*/ 555860 h 4687251"/>
              <a:gd name="connsiteX26026" fmla="*/ 3644206 w 8079933"/>
              <a:gd name="connsiteY26026" fmla="*/ 558350 h 4687251"/>
              <a:gd name="connsiteX26027" fmla="*/ 3640625 w 8079933"/>
              <a:gd name="connsiteY26027" fmla="*/ 558351 h 4687251"/>
              <a:gd name="connsiteX26028" fmla="*/ 3639648 w 8079933"/>
              <a:gd name="connsiteY26028" fmla="*/ 555752 h 4687251"/>
              <a:gd name="connsiteX26029" fmla="*/ 3642144 w 8079933"/>
              <a:gd name="connsiteY26029" fmla="*/ 551746 h 4687251"/>
              <a:gd name="connsiteX26030" fmla="*/ 3642144 w 8079933"/>
              <a:gd name="connsiteY26030" fmla="*/ 547091 h 4687251"/>
              <a:gd name="connsiteX26031" fmla="*/ 3609806 w 8079933"/>
              <a:gd name="connsiteY26031" fmla="*/ 536156 h 4687251"/>
              <a:gd name="connsiteX26032" fmla="*/ 3611759 w 8079933"/>
              <a:gd name="connsiteY26032" fmla="*/ 536373 h 4687251"/>
              <a:gd name="connsiteX26033" fmla="*/ 3615124 w 8079933"/>
              <a:gd name="connsiteY26033" fmla="*/ 540920 h 4687251"/>
              <a:gd name="connsiteX26034" fmla="*/ 3618488 w 8079933"/>
              <a:gd name="connsiteY26034" fmla="*/ 542760 h 4687251"/>
              <a:gd name="connsiteX26035" fmla="*/ 3618596 w 8079933"/>
              <a:gd name="connsiteY26035" fmla="*/ 545576 h 4687251"/>
              <a:gd name="connsiteX26036" fmla="*/ 3615774 w 8079933"/>
              <a:gd name="connsiteY26036" fmla="*/ 545251 h 4687251"/>
              <a:gd name="connsiteX26037" fmla="*/ 3612302 w 8079933"/>
              <a:gd name="connsiteY26037" fmla="*/ 543085 h 4687251"/>
              <a:gd name="connsiteX26038" fmla="*/ 3608938 w 8079933"/>
              <a:gd name="connsiteY26038" fmla="*/ 537455 h 4687251"/>
              <a:gd name="connsiteX26039" fmla="*/ 5322742 w 8079933"/>
              <a:gd name="connsiteY26039" fmla="*/ 529445 h 4687251"/>
              <a:gd name="connsiteX26040" fmla="*/ 5323935 w 8079933"/>
              <a:gd name="connsiteY26040" fmla="*/ 533344 h 4687251"/>
              <a:gd name="connsiteX26041" fmla="*/ 5323935 w 8079933"/>
              <a:gd name="connsiteY26041" fmla="*/ 536374 h 4687251"/>
              <a:gd name="connsiteX26042" fmla="*/ 5327300 w 8079933"/>
              <a:gd name="connsiteY26042" fmla="*/ 539623 h 4687251"/>
              <a:gd name="connsiteX26043" fmla="*/ 5327300 w 8079933"/>
              <a:gd name="connsiteY26043" fmla="*/ 542220 h 4687251"/>
              <a:gd name="connsiteX26044" fmla="*/ 5324044 w 8079933"/>
              <a:gd name="connsiteY26044" fmla="*/ 544386 h 4687251"/>
              <a:gd name="connsiteX26045" fmla="*/ 5325563 w 8079933"/>
              <a:gd name="connsiteY26045" fmla="*/ 549800 h 4687251"/>
              <a:gd name="connsiteX26046" fmla="*/ 5325129 w 8079933"/>
              <a:gd name="connsiteY26046" fmla="*/ 554563 h 4687251"/>
              <a:gd name="connsiteX26047" fmla="*/ 5322850 w 8079933"/>
              <a:gd name="connsiteY26047" fmla="*/ 551857 h 4687251"/>
              <a:gd name="connsiteX26048" fmla="*/ 5322308 w 8079933"/>
              <a:gd name="connsiteY26048" fmla="*/ 546878 h 4687251"/>
              <a:gd name="connsiteX26049" fmla="*/ 5320463 w 8079933"/>
              <a:gd name="connsiteY26049" fmla="*/ 545470 h 4687251"/>
              <a:gd name="connsiteX26050" fmla="*/ 5317967 w 8079933"/>
              <a:gd name="connsiteY26050" fmla="*/ 547634 h 4687251"/>
              <a:gd name="connsiteX26051" fmla="*/ 5314820 w 8079933"/>
              <a:gd name="connsiteY26051" fmla="*/ 546552 h 4687251"/>
              <a:gd name="connsiteX26052" fmla="*/ 5314386 w 8079933"/>
              <a:gd name="connsiteY26052" fmla="*/ 537565 h 4687251"/>
              <a:gd name="connsiteX26053" fmla="*/ 5316339 w 8079933"/>
              <a:gd name="connsiteY26053" fmla="*/ 539730 h 4687251"/>
              <a:gd name="connsiteX26054" fmla="*/ 5318509 w 8079933"/>
              <a:gd name="connsiteY26054" fmla="*/ 540705 h 4687251"/>
              <a:gd name="connsiteX26055" fmla="*/ 5319161 w 8079933"/>
              <a:gd name="connsiteY26055" fmla="*/ 537132 h 4687251"/>
              <a:gd name="connsiteX26056" fmla="*/ 5315688 w 8079933"/>
              <a:gd name="connsiteY26056" fmla="*/ 533451 h 4687251"/>
              <a:gd name="connsiteX26057" fmla="*/ 5317207 w 8079933"/>
              <a:gd name="connsiteY26057" fmla="*/ 531502 h 4687251"/>
              <a:gd name="connsiteX26058" fmla="*/ 5319377 w 8079933"/>
              <a:gd name="connsiteY26058" fmla="*/ 531502 h 4687251"/>
              <a:gd name="connsiteX26059" fmla="*/ 2062358 w 8079933"/>
              <a:gd name="connsiteY26059" fmla="*/ 526953 h 4687251"/>
              <a:gd name="connsiteX26060" fmla="*/ 2065940 w 8079933"/>
              <a:gd name="connsiteY26060" fmla="*/ 529875 h 4687251"/>
              <a:gd name="connsiteX26061" fmla="*/ 2069304 w 8079933"/>
              <a:gd name="connsiteY26061" fmla="*/ 530092 h 4687251"/>
              <a:gd name="connsiteX26062" fmla="*/ 2073427 w 8079933"/>
              <a:gd name="connsiteY26062" fmla="*/ 532799 h 4687251"/>
              <a:gd name="connsiteX26063" fmla="*/ 2076140 w 8079933"/>
              <a:gd name="connsiteY26063" fmla="*/ 531933 h 4687251"/>
              <a:gd name="connsiteX26064" fmla="*/ 2080807 w 8079933"/>
              <a:gd name="connsiteY26064" fmla="*/ 533881 h 4687251"/>
              <a:gd name="connsiteX26065" fmla="*/ 2083520 w 8079933"/>
              <a:gd name="connsiteY26065" fmla="*/ 533016 h 4687251"/>
              <a:gd name="connsiteX26066" fmla="*/ 2086992 w 8079933"/>
              <a:gd name="connsiteY26066" fmla="*/ 533124 h 4687251"/>
              <a:gd name="connsiteX26067" fmla="*/ 2091332 w 8079933"/>
              <a:gd name="connsiteY26067" fmla="*/ 539187 h 4687251"/>
              <a:gd name="connsiteX26068" fmla="*/ 2091116 w 8079933"/>
              <a:gd name="connsiteY26068" fmla="*/ 542652 h 4687251"/>
              <a:gd name="connsiteX26069" fmla="*/ 2089922 w 8079933"/>
              <a:gd name="connsiteY26069" fmla="*/ 544709 h 4687251"/>
              <a:gd name="connsiteX26070" fmla="*/ 2092743 w 8079933"/>
              <a:gd name="connsiteY26070" fmla="*/ 549473 h 4687251"/>
              <a:gd name="connsiteX26071" fmla="*/ 2092743 w 8079933"/>
              <a:gd name="connsiteY26071" fmla="*/ 552396 h 4687251"/>
              <a:gd name="connsiteX26072" fmla="*/ 2090681 w 8079933"/>
              <a:gd name="connsiteY26072" fmla="*/ 554345 h 4687251"/>
              <a:gd name="connsiteX26073" fmla="*/ 2090464 w 8079933"/>
              <a:gd name="connsiteY26073" fmla="*/ 557917 h 4687251"/>
              <a:gd name="connsiteX26074" fmla="*/ 2084930 w 8079933"/>
              <a:gd name="connsiteY26074" fmla="*/ 563440 h 4687251"/>
              <a:gd name="connsiteX26075" fmla="*/ 2082543 w 8079933"/>
              <a:gd name="connsiteY26075" fmla="*/ 563440 h 4687251"/>
              <a:gd name="connsiteX26076" fmla="*/ 2075815 w 8079933"/>
              <a:gd name="connsiteY26076" fmla="*/ 569827 h 4687251"/>
              <a:gd name="connsiteX26077" fmla="*/ 2069846 w 8079933"/>
              <a:gd name="connsiteY26077" fmla="*/ 573617 h 4687251"/>
              <a:gd name="connsiteX26078" fmla="*/ 2064312 w 8079933"/>
              <a:gd name="connsiteY26078" fmla="*/ 580221 h 4687251"/>
              <a:gd name="connsiteX26079" fmla="*/ 2059754 w 8079933"/>
              <a:gd name="connsiteY26079" fmla="*/ 580221 h 4687251"/>
              <a:gd name="connsiteX26080" fmla="*/ 2056824 w 8079933"/>
              <a:gd name="connsiteY26080" fmla="*/ 582279 h 4687251"/>
              <a:gd name="connsiteX26081" fmla="*/ 2057150 w 8079933"/>
              <a:gd name="connsiteY26081" fmla="*/ 585743 h 4687251"/>
              <a:gd name="connsiteX26082" fmla="*/ 2055522 w 8079933"/>
              <a:gd name="connsiteY26082" fmla="*/ 587151 h 4687251"/>
              <a:gd name="connsiteX26083" fmla="*/ 2052049 w 8079933"/>
              <a:gd name="connsiteY26083" fmla="*/ 582821 h 4687251"/>
              <a:gd name="connsiteX26084" fmla="*/ 2051507 w 8079933"/>
              <a:gd name="connsiteY26084" fmla="*/ 573076 h 4687251"/>
              <a:gd name="connsiteX26085" fmla="*/ 2048794 w 8079933"/>
              <a:gd name="connsiteY26085" fmla="*/ 568203 h 4687251"/>
              <a:gd name="connsiteX26086" fmla="*/ 2048794 w 8079933"/>
              <a:gd name="connsiteY26086" fmla="*/ 564414 h 4687251"/>
              <a:gd name="connsiteX26087" fmla="*/ 2049663 w 8079933"/>
              <a:gd name="connsiteY26087" fmla="*/ 561924 h 4687251"/>
              <a:gd name="connsiteX26088" fmla="*/ 2048251 w 8079933"/>
              <a:gd name="connsiteY26088" fmla="*/ 556402 h 4687251"/>
              <a:gd name="connsiteX26089" fmla="*/ 2048251 w 8079933"/>
              <a:gd name="connsiteY26089" fmla="*/ 550880 h 4687251"/>
              <a:gd name="connsiteX26090" fmla="*/ 2044453 w 8079933"/>
              <a:gd name="connsiteY26090" fmla="*/ 545358 h 4687251"/>
              <a:gd name="connsiteX26091" fmla="*/ 2040330 w 8079933"/>
              <a:gd name="connsiteY26091" fmla="*/ 541785 h 4687251"/>
              <a:gd name="connsiteX26092" fmla="*/ 2040438 w 8079933"/>
              <a:gd name="connsiteY26092" fmla="*/ 539187 h 4687251"/>
              <a:gd name="connsiteX26093" fmla="*/ 2047926 w 8079933"/>
              <a:gd name="connsiteY26093" fmla="*/ 533341 h 4687251"/>
              <a:gd name="connsiteX26094" fmla="*/ 2051507 w 8079933"/>
              <a:gd name="connsiteY26094" fmla="*/ 531933 h 4687251"/>
              <a:gd name="connsiteX26095" fmla="*/ 2055956 w 8079933"/>
              <a:gd name="connsiteY26095" fmla="*/ 527710 h 4687251"/>
              <a:gd name="connsiteX26096" fmla="*/ 2026548 w 8079933"/>
              <a:gd name="connsiteY26096" fmla="*/ 526629 h 4687251"/>
              <a:gd name="connsiteX26097" fmla="*/ 2032191 w 8079933"/>
              <a:gd name="connsiteY26097" fmla="*/ 527495 h 4687251"/>
              <a:gd name="connsiteX26098" fmla="*/ 2034144 w 8079933"/>
              <a:gd name="connsiteY26098" fmla="*/ 530310 h 4687251"/>
              <a:gd name="connsiteX26099" fmla="*/ 2032517 w 8079933"/>
              <a:gd name="connsiteY26099" fmla="*/ 532150 h 4687251"/>
              <a:gd name="connsiteX26100" fmla="*/ 2029152 w 8079933"/>
              <a:gd name="connsiteY26100" fmla="*/ 530742 h 4687251"/>
              <a:gd name="connsiteX26101" fmla="*/ 2026331 w 8079933"/>
              <a:gd name="connsiteY26101" fmla="*/ 531934 h 4687251"/>
              <a:gd name="connsiteX26102" fmla="*/ 2024921 w 8079933"/>
              <a:gd name="connsiteY26102" fmla="*/ 530418 h 4687251"/>
              <a:gd name="connsiteX26103" fmla="*/ 2024812 w 8079933"/>
              <a:gd name="connsiteY26103" fmla="*/ 527603 h 4687251"/>
              <a:gd name="connsiteX26104" fmla="*/ 2281019 w 8079933"/>
              <a:gd name="connsiteY26104" fmla="*/ 522405 h 4687251"/>
              <a:gd name="connsiteX26105" fmla="*/ 2282972 w 8079933"/>
              <a:gd name="connsiteY26105" fmla="*/ 523379 h 4687251"/>
              <a:gd name="connsiteX26106" fmla="*/ 2284817 w 8079933"/>
              <a:gd name="connsiteY26106" fmla="*/ 526953 h 4687251"/>
              <a:gd name="connsiteX26107" fmla="*/ 2283514 w 8079933"/>
              <a:gd name="connsiteY26107" fmla="*/ 531176 h 4687251"/>
              <a:gd name="connsiteX26108" fmla="*/ 2281887 w 8079933"/>
              <a:gd name="connsiteY26108" fmla="*/ 532475 h 4687251"/>
              <a:gd name="connsiteX26109" fmla="*/ 2280259 w 8079933"/>
              <a:gd name="connsiteY26109" fmla="*/ 530202 h 4687251"/>
              <a:gd name="connsiteX26110" fmla="*/ 2278849 w 8079933"/>
              <a:gd name="connsiteY26110" fmla="*/ 524895 h 4687251"/>
              <a:gd name="connsiteX26111" fmla="*/ 3629555 w 8079933"/>
              <a:gd name="connsiteY26111" fmla="*/ 520672 h 4687251"/>
              <a:gd name="connsiteX26112" fmla="*/ 3629881 w 8079933"/>
              <a:gd name="connsiteY26112" fmla="*/ 523595 h 4687251"/>
              <a:gd name="connsiteX26113" fmla="*/ 3628470 w 8079933"/>
              <a:gd name="connsiteY26113" fmla="*/ 528360 h 4687251"/>
              <a:gd name="connsiteX26114" fmla="*/ 3626517 w 8079933"/>
              <a:gd name="connsiteY26114" fmla="*/ 529442 h 4687251"/>
              <a:gd name="connsiteX26115" fmla="*/ 3625432 w 8079933"/>
              <a:gd name="connsiteY26115" fmla="*/ 528468 h 4687251"/>
              <a:gd name="connsiteX26116" fmla="*/ 3628036 w 8079933"/>
              <a:gd name="connsiteY26116" fmla="*/ 522296 h 4687251"/>
              <a:gd name="connsiteX26117" fmla="*/ 2242712 w 8079933"/>
              <a:gd name="connsiteY26117" fmla="*/ 515801 h 4687251"/>
              <a:gd name="connsiteX26118" fmla="*/ 2245968 w 8079933"/>
              <a:gd name="connsiteY26118" fmla="*/ 518075 h 4687251"/>
              <a:gd name="connsiteX26119" fmla="*/ 2244557 w 8079933"/>
              <a:gd name="connsiteY26119" fmla="*/ 520890 h 4687251"/>
              <a:gd name="connsiteX26120" fmla="*/ 2241193 w 8079933"/>
              <a:gd name="connsiteY26120" fmla="*/ 521108 h 4687251"/>
              <a:gd name="connsiteX26121" fmla="*/ 2237829 w 8079933"/>
              <a:gd name="connsiteY26121" fmla="*/ 523489 h 4687251"/>
              <a:gd name="connsiteX26122" fmla="*/ 2234031 w 8079933"/>
              <a:gd name="connsiteY26122" fmla="*/ 523056 h 4687251"/>
              <a:gd name="connsiteX26123" fmla="*/ 2237069 w 8079933"/>
              <a:gd name="connsiteY26123" fmla="*/ 518075 h 4687251"/>
              <a:gd name="connsiteX26124" fmla="*/ 1898715 w 8079933"/>
              <a:gd name="connsiteY26124" fmla="*/ 513202 h 4687251"/>
              <a:gd name="connsiteX26125" fmla="*/ 1902622 w 8079933"/>
              <a:gd name="connsiteY26125" fmla="*/ 513419 h 4687251"/>
              <a:gd name="connsiteX26126" fmla="*/ 1904032 w 8079933"/>
              <a:gd name="connsiteY26126" fmla="*/ 517641 h 4687251"/>
              <a:gd name="connsiteX26127" fmla="*/ 1902839 w 8079933"/>
              <a:gd name="connsiteY26127" fmla="*/ 521430 h 4687251"/>
              <a:gd name="connsiteX26128" fmla="*/ 1903381 w 8079933"/>
              <a:gd name="connsiteY26128" fmla="*/ 528577 h 4687251"/>
              <a:gd name="connsiteX26129" fmla="*/ 1899909 w 8079933"/>
              <a:gd name="connsiteY26129" fmla="*/ 535289 h 4687251"/>
              <a:gd name="connsiteX26130" fmla="*/ 1896111 w 8079933"/>
              <a:gd name="connsiteY26130" fmla="*/ 535289 h 4687251"/>
              <a:gd name="connsiteX26131" fmla="*/ 1894266 w 8079933"/>
              <a:gd name="connsiteY26131" fmla="*/ 537779 h 4687251"/>
              <a:gd name="connsiteX26132" fmla="*/ 1893940 w 8079933"/>
              <a:gd name="connsiteY26132" fmla="*/ 543301 h 4687251"/>
              <a:gd name="connsiteX26133" fmla="*/ 1890468 w 8079933"/>
              <a:gd name="connsiteY26133" fmla="*/ 547957 h 4687251"/>
              <a:gd name="connsiteX26134" fmla="*/ 1887538 w 8079933"/>
              <a:gd name="connsiteY26134" fmla="*/ 547308 h 4687251"/>
              <a:gd name="connsiteX26135" fmla="*/ 1883522 w 8079933"/>
              <a:gd name="connsiteY26135" fmla="*/ 548823 h 4687251"/>
              <a:gd name="connsiteX26136" fmla="*/ 1881786 w 8079933"/>
              <a:gd name="connsiteY26136" fmla="*/ 552938 h 4687251"/>
              <a:gd name="connsiteX26137" fmla="*/ 1874949 w 8079933"/>
              <a:gd name="connsiteY26137" fmla="*/ 554453 h 4687251"/>
              <a:gd name="connsiteX26138" fmla="*/ 1873213 w 8079933"/>
              <a:gd name="connsiteY26138" fmla="*/ 556185 h 4687251"/>
              <a:gd name="connsiteX26139" fmla="*/ 1875058 w 8079933"/>
              <a:gd name="connsiteY26139" fmla="*/ 557918 h 4687251"/>
              <a:gd name="connsiteX26140" fmla="*/ 1879941 w 8079933"/>
              <a:gd name="connsiteY26140" fmla="*/ 558134 h 4687251"/>
              <a:gd name="connsiteX26141" fmla="*/ 1882003 w 8079933"/>
              <a:gd name="connsiteY26141" fmla="*/ 556185 h 4687251"/>
              <a:gd name="connsiteX26142" fmla="*/ 1886670 w 8079933"/>
              <a:gd name="connsiteY26142" fmla="*/ 555861 h 4687251"/>
              <a:gd name="connsiteX26143" fmla="*/ 1890142 w 8079933"/>
              <a:gd name="connsiteY26143" fmla="*/ 558243 h 4687251"/>
              <a:gd name="connsiteX26144" fmla="*/ 1893723 w 8079933"/>
              <a:gd name="connsiteY26144" fmla="*/ 557593 h 4687251"/>
              <a:gd name="connsiteX26145" fmla="*/ 1893940 w 8079933"/>
              <a:gd name="connsiteY26145" fmla="*/ 559650 h 4687251"/>
              <a:gd name="connsiteX26146" fmla="*/ 1897196 w 8079933"/>
              <a:gd name="connsiteY26146" fmla="*/ 558134 h 4687251"/>
              <a:gd name="connsiteX26147" fmla="*/ 1900126 w 8079933"/>
              <a:gd name="connsiteY26147" fmla="*/ 557052 h 4687251"/>
              <a:gd name="connsiteX26148" fmla="*/ 1900234 w 8079933"/>
              <a:gd name="connsiteY26148" fmla="*/ 554020 h 4687251"/>
              <a:gd name="connsiteX26149" fmla="*/ 1898389 w 8079933"/>
              <a:gd name="connsiteY26149" fmla="*/ 552288 h 4687251"/>
              <a:gd name="connsiteX26150" fmla="*/ 1905877 w 8079933"/>
              <a:gd name="connsiteY26150" fmla="*/ 544492 h 4687251"/>
              <a:gd name="connsiteX26151" fmla="*/ 1909024 w 8079933"/>
              <a:gd name="connsiteY26151" fmla="*/ 544167 h 4687251"/>
              <a:gd name="connsiteX26152" fmla="*/ 1914232 w 8079933"/>
              <a:gd name="connsiteY26152" fmla="*/ 540378 h 4687251"/>
              <a:gd name="connsiteX26153" fmla="*/ 1918139 w 8079933"/>
              <a:gd name="connsiteY26153" fmla="*/ 540378 h 4687251"/>
              <a:gd name="connsiteX26154" fmla="*/ 1919224 w 8079933"/>
              <a:gd name="connsiteY26154" fmla="*/ 542977 h 4687251"/>
              <a:gd name="connsiteX26155" fmla="*/ 1926495 w 8079933"/>
              <a:gd name="connsiteY26155" fmla="*/ 549690 h 4687251"/>
              <a:gd name="connsiteX26156" fmla="*/ 1927146 w 8079933"/>
              <a:gd name="connsiteY26156" fmla="*/ 552938 h 4687251"/>
              <a:gd name="connsiteX26157" fmla="*/ 1932463 w 8079933"/>
              <a:gd name="connsiteY26157" fmla="*/ 554670 h 4687251"/>
              <a:gd name="connsiteX26158" fmla="*/ 1936479 w 8079933"/>
              <a:gd name="connsiteY26158" fmla="*/ 562573 h 4687251"/>
              <a:gd name="connsiteX26159" fmla="*/ 1939517 w 8079933"/>
              <a:gd name="connsiteY26159" fmla="*/ 565281 h 4687251"/>
              <a:gd name="connsiteX26160" fmla="*/ 1938649 w 8079933"/>
              <a:gd name="connsiteY26160" fmla="*/ 568095 h 4687251"/>
              <a:gd name="connsiteX26161" fmla="*/ 1938649 w 8079933"/>
              <a:gd name="connsiteY26161" fmla="*/ 571993 h 4687251"/>
              <a:gd name="connsiteX26162" fmla="*/ 1933874 w 8079933"/>
              <a:gd name="connsiteY26162" fmla="*/ 576107 h 4687251"/>
              <a:gd name="connsiteX26163" fmla="*/ 1930619 w 8079933"/>
              <a:gd name="connsiteY26163" fmla="*/ 575132 h 4687251"/>
              <a:gd name="connsiteX26164" fmla="*/ 1927471 w 8079933"/>
              <a:gd name="connsiteY26164" fmla="*/ 576107 h 4687251"/>
              <a:gd name="connsiteX26165" fmla="*/ 1927146 w 8079933"/>
              <a:gd name="connsiteY26165" fmla="*/ 579030 h 4687251"/>
              <a:gd name="connsiteX26166" fmla="*/ 1921829 w 8079933"/>
              <a:gd name="connsiteY26166" fmla="*/ 580438 h 4687251"/>
              <a:gd name="connsiteX26167" fmla="*/ 1918899 w 8079933"/>
              <a:gd name="connsiteY26167" fmla="*/ 579464 h 4687251"/>
              <a:gd name="connsiteX26168" fmla="*/ 1912822 w 8079933"/>
              <a:gd name="connsiteY26168" fmla="*/ 580114 h 4687251"/>
              <a:gd name="connsiteX26169" fmla="*/ 1909024 w 8079933"/>
              <a:gd name="connsiteY26169" fmla="*/ 583578 h 4687251"/>
              <a:gd name="connsiteX26170" fmla="*/ 1911303 w 8079933"/>
              <a:gd name="connsiteY26170" fmla="*/ 585635 h 4687251"/>
              <a:gd name="connsiteX26171" fmla="*/ 1916620 w 8079933"/>
              <a:gd name="connsiteY26171" fmla="*/ 584769 h 4687251"/>
              <a:gd name="connsiteX26172" fmla="*/ 1917705 w 8079933"/>
              <a:gd name="connsiteY26172" fmla="*/ 587367 h 4687251"/>
              <a:gd name="connsiteX26173" fmla="*/ 1923022 w 8079933"/>
              <a:gd name="connsiteY26173" fmla="*/ 587151 h 4687251"/>
              <a:gd name="connsiteX26174" fmla="*/ 1925952 w 8079933"/>
              <a:gd name="connsiteY26174" fmla="*/ 584228 h 4687251"/>
              <a:gd name="connsiteX26175" fmla="*/ 1928991 w 8079933"/>
              <a:gd name="connsiteY26175" fmla="*/ 583903 h 4687251"/>
              <a:gd name="connsiteX26176" fmla="*/ 1932246 w 8079933"/>
              <a:gd name="connsiteY26176" fmla="*/ 589533 h 4687251"/>
              <a:gd name="connsiteX26177" fmla="*/ 1937672 w 8079933"/>
              <a:gd name="connsiteY26177" fmla="*/ 584444 h 4687251"/>
              <a:gd name="connsiteX26178" fmla="*/ 1943858 w 8079933"/>
              <a:gd name="connsiteY26178" fmla="*/ 581954 h 4687251"/>
              <a:gd name="connsiteX26179" fmla="*/ 1945268 w 8079933"/>
              <a:gd name="connsiteY26179" fmla="*/ 583036 h 4687251"/>
              <a:gd name="connsiteX26180" fmla="*/ 1942339 w 8079933"/>
              <a:gd name="connsiteY26180" fmla="*/ 586068 h 4687251"/>
              <a:gd name="connsiteX26181" fmla="*/ 1942339 w 8079933"/>
              <a:gd name="connsiteY26181" fmla="*/ 591049 h 4687251"/>
              <a:gd name="connsiteX26182" fmla="*/ 1944183 w 8079933"/>
              <a:gd name="connsiteY26182" fmla="*/ 591915 h 4687251"/>
              <a:gd name="connsiteX26183" fmla="*/ 1946788 w 8079933"/>
              <a:gd name="connsiteY26183" fmla="*/ 587151 h 4687251"/>
              <a:gd name="connsiteX26184" fmla="*/ 1949718 w 8079933"/>
              <a:gd name="connsiteY26184" fmla="*/ 586609 h 4687251"/>
              <a:gd name="connsiteX26185" fmla="*/ 1949718 w 8079933"/>
              <a:gd name="connsiteY26185" fmla="*/ 590615 h 4687251"/>
              <a:gd name="connsiteX26186" fmla="*/ 1953624 w 8079933"/>
              <a:gd name="connsiteY26186" fmla="*/ 593647 h 4687251"/>
              <a:gd name="connsiteX26187" fmla="*/ 1954926 w 8079933"/>
              <a:gd name="connsiteY26187" fmla="*/ 588233 h 4687251"/>
              <a:gd name="connsiteX26188" fmla="*/ 1956988 w 8079933"/>
              <a:gd name="connsiteY26188" fmla="*/ 590291 h 4687251"/>
              <a:gd name="connsiteX26189" fmla="*/ 1957639 w 8079933"/>
              <a:gd name="connsiteY26189" fmla="*/ 592131 h 4687251"/>
              <a:gd name="connsiteX26190" fmla="*/ 1960027 w 8079933"/>
              <a:gd name="connsiteY26190" fmla="*/ 590399 h 4687251"/>
              <a:gd name="connsiteX26191" fmla="*/ 1958291 w 8079933"/>
              <a:gd name="connsiteY26191" fmla="*/ 584769 h 4687251"/>
              <a:gd name="connsiteX26192" fmla="*/ 1957097 w 8079933"/>
              <a:gd name="connsiteY26192" fmla="*/ 580763 h 4687251"/>
              <a:gd name="connsiteX26193" fmla="*/ 1955035 w 8079933"/>
              <a:gd name="connsiteY26193" fmla="*/ 579464 h 4687251"/>
              <a:gd name="connsiteX26194" fmla="*/ 1956771 w 8079933"/>
              <a:gd name="connsiteY26194" fmla="*/ 574266 h 4687251"/>
              <a:gd name="connsiteX26195" fmla="*/ 1960027 w 8079933"/>
              <a:gd name="connsiteY26195" fmla="*/ 574266 h 4687251"/>
              <a:gd name="connsiteX26196" fmla="*/ 1961546 w 8079933"/>
              <a:gd name="connsiteY26196" fmla="*/ 578706 h 4687251"/>
              <a:gd name="connsiteX26197" fmla="*/ 1964693 w 8079933"/>
              <a:gd name="connsiteY26197" fmla="*/ 578598 h 4687251"/>
              <a:gd name="connsiteX26198" fmla="*/ 1964693 w 8079933"/>
              <a:gd name="connsiteY26198" fmla="*/ 574916 h 4687251"/>
              <a:gd name="connsiteX26199" fmla="*/ 1962305 w 8079933"/>
              <a:gd name="connsiteY26199" fmla="*/ 571993 h 4687251"/>
              <a:gd name="connsiteX26200" fmla="*/ 1962414 w 8079933"/>
              <a:gd name="connsiteY26200" fmla="*/ 567879 h 4687251"/>
              <a:gd name="connsiteX26201" fmla="*/ 1957965 w 8079933"/>
              <a:gd name="connsiteY26201" fmla="*/ 564414 h 4687251"/>
              <a:gd name="connsiteX26202" fmla="*/ 1959484 w 8079933"/>
              <a:gd name="connsiteY26202" fmla="*/ 559434 h 4687251"/>
              <a:gd name="connsiteX26203" fmla="*/ 1966212 w 8079933"/>
              <a:gd name="connsiteY26203" fmla="*/ 557268 h 4687251"/>
              <a:gd name="connsiteX26204" fmla="*/ 1970553 w 8079933"/>
              <a:gd name="connsiteY26204" fmla="*/ 562898 h 4687251"/>
              <a:gd name="connsiteX26205" fmla="*/ 1973483 w 8079933"/>
              <a:gd name="connsiteY26205" fmla="*/ 563440 h 4687251"/>
              <a:gd name="connsiteX26206" fmla="*/ 1973157 w 8079933"/>
              <a:gd name="connsiteY26206" fmla="*/ 569069 h 4687251"/>
              <a:gd name="connsiteX26207" fmla="*/ 1971638 w 8079933"/>
              <a:gd name="connsiteY26207" fmla="*/ 571018 h 4687251"/>
              <a:gd name="connsiteX26208" fmla="*/ 1973700 w 8079933"/>
              <a:gd name="connsiteY26208" fmla="*/ 576540 h 4687251"/>
              <a:gd name="connsiteX26209" fmla="*/ 1976196 w 8079933"/>
              <a:gd name="connsiteY26209" fmla="*/ 578164 h 4687251"/>
              <a:gd name="connsiteX26210" fmla="*/ 1975762 w 8079933"/>
              <a:gd name="connsiteY26210" fmla="*/ 588017 h 4687251"/>
              <a:gd name="connsiteX26211" fmla="*/ 1972832 w 8079933"/>
              <a:gd name="connsiteY26211" fmla="*/ 591265 h 4687251"/>
              <a:gd name="connsiteX26212" fmla="*/ 1972397 w 8079933"/>
              <a:gd name="connsiteY26212" fmla="*/ 594730 h 4687251"/>
              <a:gd name="connsiteX26213" fmla="*/ 1974676 w 8079933"/>
              <a:gd name="connsiteY26213" fmla="*/ 595271 h 4687251"/>
              <a:gd name="connsiteX26214" fmla="*/ 1977389 w 8079933"/>
              <a:gd name="connsiteY26214" fmla="*/ 594730 h 4687251"/>
              <a:gd name="connsiteX26215" fmla="*/ 1976955 w 8079933"/>
              <a:gd name="connsiteY26215" fmla="*/ 600360 h 4687251"/>
              <a:gd name="connsiteX26216" fmla="*/ 1971421 w 8079933"/>
              <a:gd name="connsiteY26216" fmla="*/ 603283 h 4687251"/>
              <a:gd name="connsiteX26217" fmla="*/ 1968816 w 8079933"/>
              <a:gd name="connsiteY26217" fmla="*/ 613244 h 4687251"/>
              <a:gd name="connsiteX26218" fmla="*/ 1967623 w 8079933"/>
              <a:gd name="connsiteY26218" fmla="*/ 617250 h 4687251"/>
              <a:gd name="connsiteX26219" fmla="*/ 1967297 w 8079933"/>
              <a:gd name="connsiteY26219" fmla="*/ 621148 h 4687251"/>
              <a:gd name="connsiteX26220" fmla="*/ 1964042 w 8079933"/>
              <a:gd name="connsiteY26220" fmla="*/ 623963 h 4687251"/>
              <a:gd name="connsiteX26221" fmla="*/ 1963174 w 8079933"/>
              <a:gd name="connsiteY26221" fmla="*/ 629809 h 4687251"/>
              <a:gd name="connsiteX26222" fmla="*/ 1959701 w 8079933"/>
              <a:gd name="connsiteY26222" fmla="*/ 636847 h 4687251"/>
              <a:gd name="connsiteX26223" fmla="*/ 1959810 w 8079933"/>
              <a:gd name="connsiteY26223" fmla="*/ 643884 h 4687251"/>
              <a:gd name="connsiteX26224" fmla="*/ 1962414 w 8079933"/>
              <a:gd name="connsiteY26224" fmla="*/ 647024 h 4687251"/>
              <a:gd name="connsiteX26225" fmla="*/ 1961112 w 8079933"/>
              <a:gd name="connsiteY26225" fmla="*/ 650597 h 4687251"/>
              <a:gd name="connsiteX26226" fmla="*/ 1961546 w 8079933"/>
              <a:gd name="connsiteY26226" fmla="*/ 655361 h 4687251"/>
              <a:gd name="connsiteX26227" fmla="*/ 1964801 w 8079933"/>
              <a:gd name="connsiteY26227" fmla="*/ 657310 h 4687251"/>
              <a:gd name="connsiteX26228" fmla="*/ 1966971 w 8079933"/>
              <a:gd name="connsiteY26228" fmla="*/ 655253 h 4687251"/>
              <a:gd name="connsiteX26229" fmla="*/ 1966538 w 8079933"/>
              <a:gd name="connsiteY26229" fmla="*/ 650597 h 4687251"/>
              <a:gd name="connsiteX26230" fmla="*/ 1968708 w 8079933"/>
              <a:gd name="connsiteY26230" fmla="*/ 648323 h 4687251"/>
              <a:gd name="connsiteX26231" fmla="*/ 1971638 w 8079933"/>
              <a:gd name="connsiteY26231" fmla="*/ 649406 h 4687251"/>
              <a:gd name="connsiteX26232" fmla="*/ 1975327 w 8079933"/>
              <a:gd name="connsiteY26232" fmla="*/ 646808 h 4687251"/>
              <a:gd name="connsiteX26233" fmla="*/ 1978474 w 8079933"/>
              <a:gd name="connsiteY26233" fmla="*/ 646050 h 4687251"/>
              <a:gd name="connsiteX26234" fmla="*/ 1981405 w 8079933"/>
              <a:gd name="connsiteY26234" fmla="*/ 647457 h 4687251"/>
              <a:gd name="connsiteX26235" fmla="*/ 1981405 w 8079933"/>
              <a:gd name="connsiteY26235" fmla="*/ 643343 h 4687251"/>
              <a:gd name="connsiteX26236" fmla="*/ 1977281 w 8079933"/>
              <a:gd name="connsiteY26236" fmla="*/ 641503 h 4687251"/>
              <a:gd name="connsiteX26237" fmla="*/ 1975327 w 8079933"/>
              <a:gd name="connsiteY26237" fmla="*/ 639229 h 4687251"/>
              <a:gd name="connsiteX26238" fmla="*/ 1980428 w 8079933"/>
              <a:gd name="connsiteY26238" fmla="*/ 639229 h 4687251"/>
              <a:gd name="connsiteX26239" fmla="*/ 1981079 w 8079933"/>
              <a:gd name="connsiteY26239" fmla="*/ 635764 h 4687251"/>
              <a:gd name="connsiteX26240" fmla="*/ 1978692 w 8079933"/>
              <a:gd name="connsiteY26240" fmla="*/ 632191 h 4687251"/>
              <a:gd name="connsiteX26241" fmla="*/ 1982055 w 8079933"/>
              <a:gd name="connsiteY26241" fmla="*/ 627752 h 4687251"/>
              <a:gd name="connsiteX26242" fmla="*/ 1982598 w 8079933"/>
              <a:gd name="connsiteY26242" fmla="*/ 622880 h 4687251"/>
              <a:gd name="connsiteX26243" fmla="*/ 1984009 w 8079933"/>
              <a:gd name="connsiteY26243" fmla="*/ 618441 h 4687251"/>
              <a:gd name="connsiteX26244" fmla="*/ 1982490 w 8079933"/>
              <a:gd name="connsiteY26244" fmla="*/ 615734 h 4687251"/>
              <a:gd name="connsiteX26245" fmla="*/ 1985745 w 8079933"/>
              <a:gd name="connsiteY26245" fmla="*/ 607939 h 4687251"/>
              <a:gd name="connsiteX26246" fmla="*/ 1987807 w 8079933"/>
              <a:gd name="connsiteY26246" fmla="*/ 608805 h 4687251"/>
              <a:gd name="connsiteX26247" fmla="*/ 1991388 w 8079933"/>
              <a:gd name="connsiteY26247" fmla="*/ 606423 h 4687251"/>
              <a:gd name="connsiteX26248" fmla="*/ 1991931 w 8079933"/>
              <a:gd name="connsiteY26248" fmla="*/ 596787 h 4687251"/>
              <a:gd name="connsiteX26249" fmla="*/ 1995403 w 8079933"/>
              <a:gd name="connsiteY26249" fmla="*/ 594513 h 4687251"/>
              <a:gd name="connsiteX26250" fmla="*/ 1995729 w 8079933"/>
              <a:gd name="connsiteY26250" fmla="*/ 590615 h 4687251"/>
              <a:gd name="connsiteX26251" fmla="*/ 1997248 w 8079933"/>
              <a:gd name="connsiteY26251" fmla="*/ 589208 h 4687251"/>
              <a:gd name="connsiteX26252" fmla="*/ 1997574 w 8079933"/>
              <a:gd name="connsiteY26252" fmla="*/ 583578 h 4687251"/>
              <a:gd name="connsiteX26253" fmla="*/ 2000178 w 8079933"/>
              <a:gd name="connsiteY26253" fmla="*/ 579789 h 4687251"/>
              <a:gd name="connsiteX26254" fmla="*/ 2000178 w 8079933"/>
              <a:gd name="connsiteY26254" fmla="*/ 574916 h 4687251"/>
              <a:gd name="connsiteX26255" fmla="*/ 2003976 w 8079933"/>
              <a:gd name="connsiteY26255" fmla="*/ 563440 h 4687251"/>
              <a:gd name="connsiteX26256" fmla="*/ 2006906 w 8079933"/>
              <a:gd name="connsiteY26256" fmla="*/ 561707 h 4687251"/>
              <a:gd name="connsiteX26257" fmla="*/ 2006906 w 8079933"/>
              <a:gd name="connsiteY26257" fmla="*/ 558784 h 4687251"/>
              <a:gd name="connsiteX26258" fmla="*/ 2009293 w 8079933"/>
              <a:gd name="connsiteY26258" fmla="*/ 553154 h 4687251"/>
              <a:gd name="connsiteX26259" fmla="*/ 2012549 w 8079933"/>
              <a:gd name="connsiteY26259" fmla="*/ 554020 h 4687251"/>
              <a:gd name="connsiteX26260" fmla="*/ 2014285 w 8079933"/>
              <a:gd name="connsiteY26260" fmla="*/ 552720 h 4687251"/>
              <a:gd name="connsiteX26261" fmla="*/ 2013417 w 8079933"/>
              <a:gd name="connsiteY26261" fmla="*/ 546766 h 4687251"/>
              <a:gd name="connsiteX26262" fmla="*/ 2016564 w 8079933"/>
              <a:gd name="connsiteY26262" fmla="*/ 545034 h 4687251"/>
              <a:gd name="connsiteX26263" fmla="*/ 2019820 w 8079933"/>
              <a:gd name="connsiteY26263" fmla="*/ 548823 h 4687251"/>
              <a:gd name="connsiteX26264" fmla="*/ 2022966 w 8079933"/>
              <a:gd name="connsiteY26264" fmla="*/ 549364 h 4687251"/>
              <a:gd name="connsiteX26265" fmla="*/ 2027958 w 8079933"/>
              <a:gd name="connsiteY26265" fmla="*/ 558459 h 4687251"/>
              <a:gd name="connsiteX26266" fmla="*/ 2030129 w 8079933"/>
              <a:gd name="connsiteY26266" fmla="*/ 558567 h 4687251"/>
              <a:gd name="connsiteX26267" fmla="*/ 2030997 w 8079933"/>
              <a:gd name="connsiteY26267" fmla="*/ 552396 h 4687251"/>
              <a:gd name="connsiteX26268" fmla="*/ 2032950 w 8079933"/>
              <a:gd name="connsiteY26268" fmla="*/ 552071 h 4687251"/>
              <a:gd name="connsiteX26269" fmla="*/ 2034795 w 8079933"/>
              <a:gd name="connsiteY26269" fmla="*/ 554128 h 4687251"/>
              <a:gd name="connsiteX26270" fmla="*/ 2039135 w 8079933"/>
              <a:gd name="connsiteY26270" fmla="*/ 554994 h 4687251"/>
              <a:gd name="connsiteX26271" fmla="*/ 2042391 w 8079933"/>
              <a:gd name="connsiteY26271" fmla="*/ 563115 h 4687251"/>
              <a:gd name="connsiteX26272" fmla="*/ 2040872 w 8079933"/>
              <a:gd name="connsiteY26272" fmla="*/ 565281 h 4687251"/>
              <a:gd name="connsiteX26273" fmla="*/ 2042933 w 8079933"/>
              <a:gd name="connsiteY26273" fmla="*/ 572210 h 4687251"/>
              <a:gd name="connsiteX26274" fmla="*/ 2047057 w 8079933"/>
              <a:gd name="connsiteY26274" fmla="*/ 574375 h 4687251"/>
              <a:gd name="connsiteX26275" fmla="*/ 2047057 w 8079933"/>
              <a:gd name="connsiteY26275" fmla="*/ 578056 h 4687251"/>
              <a:gd name="connsiteX26276" fmla="*/ 2046298 w 8079933"/>
              <a:gd name="connsiteY26276" fmla="*/ 580979 h 4687251"/>
              <a:gd name="connsiteX26277" fmla="*/ 2048793 w 8079933"/>
              <a:gd name="connsiteY26277" fmla="*/ 585960 h 4687251"/>
              <a:gd name="connsiteX26278" fmla="*/ 2048468 w 8079933"/>
              <a:gd name="connsiteY26278" fmla="*/ 590615 h 4687251"/>
              <a:gd name="connsiteX26279" fmla="*/ 2045321 w 8079933"/>
              <a:gd name="connsiteY26279" fmla="*/ 591481 h 4687251"/>
              <a:gd name="connsiteX26280" fmla="*/ 2044778 w 8079933"/>
              <a:gd name="connsiteY26280" fmla="*/ 594730 h 4687251"/>
              <a:gd name="connsiteX26281" fmla="*/ 2045321 w 8079933"/>
              <a:gd name="connsiteY26281" fmla="*/ 599927 h 4687251"/>
              <a:gd name="connsiteX26282" fmla="*/ 2040112 w 8079933"/>
              <a:gd name="connsiteY26282" fmla="*/ 605665 h 4687251"/>
              <a:gd name="connsiteX26283" fmla="*/ 2040112 w 8079933"/>
              <a:gd name="connsiteY26283" fmla="*/ 610213 h 4687251"/>
              <a:gd name="connsiteX26284" fmla="*/ 2037182 w 8079933"/>
              <a:gd name="connsiteY26284" fmla="*/ 611403 h 4687251"/>
              <a:gd name="connsiteX26285" fmla="*/ 2037182 w 8079933"/>
              <a:gd name="connsiteY26285" fmla="*/ 620499 h 4687251"/>
              <a:gd name="connsiteX26286" fmla="*/ 2034686 w 8079933"/>
              <a:gd name="connsiteY26286" fmla="*/ 623638 h 4687251"/>
              <a:gd name="connsiteX26287" fmla="*/ 2034144 w 8079933"/>
              <a:gd name="connsiteY26287" fmla="*/ 627536 h 4687251"/>
              <a:gd name="connsiteX26288" fmla="*/ 2029261 w 8079933"/>
              <a:gd name="connsiteY26288" fmla="*/ 634032 h 4687251"/>
              <a:gd name="connsiteX26289" fmla="*/ 2028935 w 8079933"/>
              <a:gd name="connsiteY26289" fmla="*/ 640961 h 4687251"/>
              <a:gd name="connsiteX26290" fmla="*/ 2026005 w 8079933"/>
              <a:gd name="connsiteY26290" fmla="*/ 641503 h 4687251"/>
              <a:gd name="connsiteX26291" fmla="*/ 2024268 w 8079933"/>
              <a:gd name="connsiteY26291" fmla="*/ 647024 h 4687251"/>
              <a:gd name="connsiteX26292" fmla="*/ 2027741 w 8079933"/>
              <a:gd name="connsiteY26292" fmla="*/ 654712 h 4687251"/>
              <a:gd name="connsiteX26293" fmla="*/ 2026765 w 8079933"/>
              <a:gd name="connsiteY26293" fmla="*/ 657310 h 4687251"/>
              <a:gd name="connsiteX26294" fmla="*/ 2026765 w 8079933"/>
              <a:gd name="connsiteY26294" fmla="*/ 663481 h 4687251"/>
              <a:gd name="connsiteX26295" fmla="*/ 2022423 w 8079933"/>
              <a:gd name="connsiteY26295" fmla="*/ 672792 h 4687251"/>
              <a:gd name="connsiteX26296" fmla="*/ 2022207 w 8079933"/>
              <a:gd name="connsiteY26296" fmla="*/ 676907 h 4687251"/>
              <a:gd name="connsiteX26297" fmla="*/ 2019169 w 8079933"/>
              <a:gd name="connsiteY26297" fmla="*/ 678964 h 4687251"/>
              <a:gd name="connsiteX26298" fmla="*/ 2018300 w 8079933"/>
              <a:gd name="connsiteY26298" fmla="*/ 677557 h 4687251"/>
              <a:gd name="connsiteX26299" fmla="*/ 2015153 w 8079933"/>
              <a:gd name="connsiteY26299" fmla="*/ 677557 h 4687251"/>
              <a:gd name="connsiteX26300" fmla="*/ 2013634 w 8079933"/>
              <a:gd name="connsiteY26300" fmla="*/ 682537 h 4687251"/>
              <a:gd name="connsiteX26301" fmla="*/ 2008859 w 8079933"/>
              <a:gd name="connsiteY26301" fmla="*/ 683078 h 4687251"/>
              <a:gd name="connsiteX26302" fmla="*/ 2008859 w 8079933"/>
              <a:gd name="connsiteY26302" fmla="*/ 686326 h 4687251"/>
              <a:gd name="connsiteX26303" fmla="*/ 2010487 w 8079933"/>
              <a:gd name="connsiteY26303" fmla="*/ 689466 h 4687251"/>
              <a:gd name="connsiteX26304" fmla="*/ 2010704 w 8079933"/>
              <a:gd name="connsiteY26304" fmla="*/ 694014 h 4687251"/>
              <a:gd name="connsiteX26305" fmla="*/ 2013959 w 8079933"/>
              <a:gd name="connsiteY26305" fmla="*/ 698344 h 4687251"/>
              <a:gd name="connsiteX26306" fmla="*/ 2014827 w 8079933"/>
              <a:gd name="connsiteY26306" fmla="*/ 706140 h 4687251"/>
              <a:gd name="connsiteX26307" fmla="*/ 2017757 w 8079933"/>
              <a:gd name="connsiteY26307" fmla="*/ 707872 h 4687251"/>
              <a:gd name="connsiteX26308" fmla="*/ 2019169 w 8079933"/>
              <a:gd name="connsiteY26308" fmla="*/ 717616 h 4687251"/>
              <a:gd name="connsiteX26309" fmla="*/ 2024160 w 8079933"/>
              <a:gd name="connsiteY26309" fmla="*/ 720323 h 4687251"/>
              <a:gd name="connsiteX26310" fmla="*/ 2027741 w 8079933"/>
              <a:gd name="connsiteY26310" fmla="*/ 725412 h 4687251"/>
              <a:gd name="connsiteX26311" fmla="*/ 2027416 w 8079933"/>
              <a:gd name="connsiteY26311" fmla="*/ 720648 h 4687251"/>
              <a:gd name="connsiteX26312" fmla="*/ 2030129 w 8079933"/>
              <a:gd name="connsiteY26312" fmla="*/ 715234 h 4687251"/>
              <a:gd name="connsiteX26313" fmla="*/ 2032299 w 8079933"/>
              <a:gd name="connsiteY26313" fmla="*/ 722164 h 4687251"/>
              <a:gd name="connsiteX26314" fmla="*/ 2030129 w 8079933"/>
              <a:gd name="connsiteY26314" fmla="*/ 727252 h 4687251"/>
              <a:gd name="connsiteX26315" fmla="*/ 2030671 w 8079933"/>
              <a:gd name="connsiteY26315" fmla="*/ 733099 h 4687251"/>
              <a:gd name="connsiteX26316" fmla="*/ 2034035 w 8079933"/>
              <a:gd name="connsiteY26316" fmla="*/ 740354 h 4687251"/>
              <a:gd name="connsiteX26317" fmla="*/ 2034035 w 8079933"/>
              <a:gd name="connsiteY26317" fmla="*/ 743818 h 4687251"/>
              <a:gd name="connsiteX26318" fmla="*/ 2038375 w 8079933"/>
              <a:gd name="connsiteY26318" fmla="*/ 747391 h 4687251"/>
              <a:gd name="connsiteX26319" fmla="*/ 2039135 w 8079933"/>
              <a:gd name="connsiteY26319" fmla="*/ 749448 h 4687251"/>
              <a:gd name="connsiteX26320" fmla="*/ 2043585 w 8079933"/>
              <a:gd name="connsiteY26320" fmla="*/ 748907 h 4687251"/>
              <a:gd name="connsiteX26321" fmla="*/ 2044995 w 8079933"/>
              <a:gd name="connsiteY26321" fmla="*/ 751289 h 4687251"/>
              <a:gd name="connsiteX26322" fmla="*/ 2042933 w 8079933"/>
              <a:gd name="connsiteY26322" fmla="*/ 752696 h 4687251"/>
              <a:gd name="connsiteX26323" fmla="*/ 2042933 w 8079933"/>
              <a:gd name="connsiteY26323" fmla="*/ 757893 h 4687251"/>
              <a:gd name="connsiteX26324" fmla="*/ 2045646 w 8079933"/>
              <a:gd name="connsiteY26324" fmla="*/ 755728 h 4687251"/>
              <a:gd name="connsiteX26325" fmla="*/ 2048251 w 8079933"/>
              <a:gd name="connsiteY26325" fmla="*/ 757027 h 4687251"/>
              <a:gd name="connsiteX26326" fmla="*/ 2050964 w 8079933"/>
              <a:gd name="connsiteY26326" fmla="*/ 756702 h 4687251"/>
              <a:gd name="connsiteX26327" fmla="*/ 2051723 w 8079933"/>
              <a:gd name="connsiteY26327" fmla="*/ 759084 h 4687251"/>
              <a:gd name="connsiteX26328" fmla="*/ 2049987 w 8079933"/>
              <a:gd name="connsiteY26328" fmla="*/ 761141 h 4687251"/>
              <a:gd name="connsiteX26329" fmla="*/ 2051181 w 8079933"/>
              <a:gd name="connsiteY26329" fmla="*/ 766230 h 4687251"/>
              <a:gd name="connsiteX26330" fmla="*/ 2048902 w 8079933"/>
              <a:gd name="connsiteY26330" fmla="*/ 771211 h 4687251"/>
              <a:gd name="connsiteX26331" fmla="*/ 2047274 w 8079933"/>
              <a:gd name="connsiteY26331" fmla="*/ 778140 h 4687251"/>
              <a:gd name="connsiteX26332" fmla="*/ 2041848 w 8079933"/>
              <a:gd name="connsiteY26332" fmla="*/ 782796 h 4687251"/>
              <a:gd name="connsiteX26333" fmla="*/ 2039787 w 8079933"/>
              <a:gd name="connsiteY26333" fmla="*/ 786043 h 4687251"/>
              <a:gd name="connsiteX26334" fmla="*/ 2036857 w 8079933"/>
              <a:gd name="connsiteY26334" fmla="*/ 784095 h 4687251"/>
              <a:gd name="connsiteX26335" fmla="*/ 2033384 w 8079933"/>
              <a:gd name="connsiteY26335" fmla="*/ 783986 h 4687251"/>
              <a:gd name="connsiteX26336" fmla="*/ 2032407 w 8079933"/>
              <a:gd name="connsiteY26336" fmla="*/ 776624 h 4687251"/>
              <a:gd name="connsiteX26337" fmla="*/ 2036205 w 8079933"/>
              <a:gd name="connsiteY26337" fmla="*/ 772076 h 4687251"/>
              <a:gd name="connsiteX26338" fmla="*/ 2037182 w 8079933"/>
              <a:gd name="connsiteY26338" fmla="*/ 767096 h 4687251"/>
              <a:gd name="connsiteX26339" fmla="*/ 2034252 w 8079933"/>
              <a:gd name="connsiteY26339" fmla="*/ 768287 h 4687251"/>
              <a:gd name="connsiteX26340" fmla="*/ 2030671 w 8079933"/>
              <a:gd name="connsiteY26340" fmla="*/ 775325 h 4687251"/>
              <a:gd name="connsiteX26341" fmla="*/ 2028284 w 8079933"/>
              <a:gd name="connsiteY26341" fmla="*/ 777057 h 4687251"/>
              <a:gd name="connsiteX26342" fmla="*/ 2026222 w 8079933"/>
              <a:gd name="connsiteY26342" fmla="*/ 782254 h 4687251"/>
              <a:gd name="connsiteX26343" fmla="*/ 2023292 w 8079933"/>
              <a:gd name="connsiteY26343" fmla="*/ 782254 h 4687251"/>
              <a:gd name="connsiteX26344" fmla="*/ 2025354 w 8079933"/>
              <a:gd name="connsiteY26344" fmla="*/ 778464 h 4687251"/>
              <a:gd name="connsiteX26345" fmla="*/ 2023292 w 8079933"/>
              <a:gd name="connsiteY26345" fmla="*/ 777274 h 4687251"/>
              <a:gd name="connsiteX26346" fmla="*/ 2021339 w 8079933"/>
              <a:gd name="connsiteY26346" fmla="*/ 778356 h 4687251"/>
              <a:gd name="connsiteX26347" fmla="*/ 2021013 w 8079933"/>
              <a:gd name="connsiteY26347" fmla="*/ 772293 h 4687251"/>
              <a:gd name="connsiteX26348" fmla="*/ 2024486 w 8079933"/>
              <a:gd name="connsiteY26348" fmla="*/ 764714 h 4687251"/>
              <a:gd name="connsiteX26349" fmla="*/ 2020470 w 8079933"/>
              <a:gd name="connsiteY26349" fmla="*/ 768287 h 4687251"/>
              <a:gd name="connsiteX26350" fmla="*/ 2018734 w 8079933"/>
              <a:gd name="connsiteY26350" fmla="*/ 768179 h 4687251"/>
              <a:gd name="connsiteX26351" fmla="*/ 2017975 w 8079933"/>
              <a:gd name="connsiteY26351" fmla="*/ 764064 h 4687251"/>
              <a:gd name="connsiteX26352" fmla="*/ 2016347 w 8079933"/>
              <a:gd name="connsiteY26352" fmla="*/ 769045 h 4687251"/>
              <a:gd name="connsiteX26353" fmla="*/ 2012549 w 8079933"/>
              <a:gd name="connsiteY26353" fmla="*/ 772618 h 4687251"/>
              <a:gd name="connsiteX26354" fmla="*/ 2010161 w 8079933"/>
              <a:gd name="connsiteY26354" fmla="*/ 773268 h 4687251"/>
              <a:gd name="connsiteX26355" fmla="*/ 2008643 w 8079933"/>
              <a:gd name="connsiteY26355" fmla="*/ 771644 h 4687251"/>
              <a:gd name="connsiteX26356" fmla="*/ 2005387 w 8079933"/>
              <a:gd name="connsiteY26356" fmla="*/ 771752 h 4687251"/>
              <a:gd name="connsiteX26357" fmla="*/ 2005170 w 8079933"/>
              <a:gd name="connsiteY26357" fmla="*/ 773701 h 4687251"/>
              <a:gd name="connsiteX26358" fmla="*/ 2007774 w 8079933"/>
              <a:gd name="connsiteY26358" fmla="*/ 775866 h 4687251"/>
              <a:gd name="connsiteX26359" fmla="*/ 2005495 w 8079933"/>
              <a:gd name="connsiteY26359" fmla="*/ 781280 h 4687251"/>
              <a:gd name="connsiteX26360" fmla="*/ 2000720 w 8079933"/>
              <a:gd name="connsiteY26360" fmla="*/ 781388 h 4687251"/>
              <a:gd name="connsiteX26361" fmla="*/ 1998442 w 8079933"/>
              <a:gd name="connsiteY26361" fmla="*/ 782470 h 4687251"/>
              <a:gd name="connsiteX26362" fmla="*/ 1995403 w 8079933"/>
              <a:gd name="connsiteY26362" fmla="*/ 779331 h 4687251"/>
              <a:gd name="connsiteX26363" fmla="*/ 1993341 w 8079933"/>
              <a:gd name="connsiteY26363" fmla="*/ 772835 h 4687251"/>
              <a:gd name="connsiteX26364" fmla="*/ 1993992 w 8079933"/>
              <a:gd name="connsiteY26364" fmla="*/ 770236 h 4687251"/>
              <a:gd name="connsiteX26365" fmla="*/ 1990737 w 8079933"/>
              <a:gd name="connsiteY26365" fmla="*/ 770019 h 4687251"/>
              <a:gd name="connsiteX26366" fmla="*/ 1987916 w 8079933"/>
              <a:gd name="connsiteY26366" fmla="*/ 773701 h 4687251"/>
              <a:gd name="connsiteX26367" fmla="*/ 1991062 w 8079933"/>
              <a:gd name="connsiteY26367" fmla="*/ 779547 h 4687251"/>
              <a:gd name="connsiteX26368" fmla="*/ 1987048 w 8079933"/>
              <a:gd name="connsiteY26368" fmla="*/ 782470 h 4687251"/>
              <a:gd name="connsiteX26369" fmla="*/ 1987265 w 8079933"/>
              <a:gd name="connsiteY26369" fmla="*/ 786260 h 4687251"/>
              <a:gd name="connsiteX26370" fmla="*/ 1989326 w 8079933"/>
              <a:gd name="connsiteY26370" fmla="*/ 787235 h 4687251"/>
              <a:gd name="connsiteX26371" fmla="*/ 1991279 w 8079933"/>
              <a:gd name="connsiteY26371" fmla="*/ 784095 h 4687251"/>
              <a:gd name="connsiteX26372" fmla="*/ 1991388 w 8079933"/>
              <a:gd name="connsiteY26372" fmla="*/ 789508 h 4687251"/>
              <a:gd name="connsiteX26373" fmla="*/ 1988784 w 8079933"/>
              <a:gd name="connsiteY26373" fmla="*/ 792865 h 4687251"/>
              <a:gd name="connsiteX26374" fmla="*/ 1983683 w 8079933"/>
              <a:gd name="connsiteY26374" fmla="*/ 796004 h 4687251"/>
              <a:gd name="connsiteX26375" fmla="*/ 1983575 w 8079933"/>
              <a:gd name="connsiteY26375" fmla="*/ 798062 h 4687251"/>
              <a:gd name="connsiteX26376" fmla="*/ 1988133 w 8079933"/>
              <a:gd name="connsiteY26376" fmla="*/ 795139 h 4687251"/>
              <a:gd name="connsiteX26377" fmla="*/ 1993776 w 8079933"/>
              <a:gd name="connsiteY26377" fmla="*/ 789292 h 4687251"/>
              <a:gd name="connsiteX26378" fmla="*/ 1999527 w 8079933"/>
              <a:gd name="connsiteY26378" fmla="*/ 789508 h 4687251"/>
              <a:gd name="connsiteX26379" fmla="*/ 2002348 w 8079933"/>
              <a:gd name="connsiteY26379" fmla="*/ 791132 h 4687251"/>
              <a:gd name="connsiteX26380" fmla="*/ 2004085 w 8079933"/>
              <a:gd name="connsiteY26380" fmla="*/ 789400 h 4687251"/>
              <a:gd name="connsiteX26381" fmla="*/ 2004410 w 8079933"/>
              <a:gd name="connsiteY26381" fmla="*/ 786476 h 4687251"/>
              <a:gd name="connsiteX26382" fmla="*/ 2007448 w 8079933"/>
              <a:gd name="connsiteY26382" fmla="*/ 785394 h 4687251"/>
              <a:gd name="connsiteX26383" fmla="*/ 2012223 w 8079933"/>
              <a:gd name="connsiteY26383" fmla="*/ 788101 h 4687251"/>
              <a:gd name="connsiteX26384" fmla="*/ 2011789 w 8079933"/>
              <a:gd name="connsiteY26384" fmla="*/ 792107 h 4687251"/>
              <a:gd name="connsiteX26385" fmla="*/ 2008100 w 8079933"/>
              <a:gd name="connsiteY26385" fmla="*/ 792865 h 4687251"/>
              <a:gd name="connsiteX26386" fmla="*/ 2006580 w 8079933"/>
              <a:gd name="connsiteY26386" fmla="*/ 796654 h 4687251"/>
              <a:gd name="connsiteX26387" fmla="*/ 2007448 w 8079933"/>
              <a:gd name="connsiteY26387" fmla="*/ 800227 h 4687251"/>
              <a:gd name="connsiteX26388" fmla="*/ 2011138 w 8079933"/>
              <a:gd name="connsiteY26388" fmla="*/ 800335 h 4687251"/>
              <a:gd name="connsiteX26389" fmla="*/ 2011355 w 8079933"/>
              <a:gd name="connsiteY26389" fmla="*/ 803475 h 4687251"/>
              <a:gd name="connsiteX26390" fmla="*/ 2009184 w 8079933"/>
              <a:gd name="connsiteY26390" fmla="*/ 806182 h 4687251"/>
              <a:gd name="connsiteX26391" fmla="*/ 2009184 w 8079933"/>
              <a:gd name="connsiteY26391" fmla="*/ 808131 h 4687251"/>
              <a:gd name="connsiteX26392" fmla="*/ 2006255 w 8079933"/>
              <a:gd name="connsiteY26392" fmla="*/ 811487 h 4687251"/>
              <a:gd name="connsiteX26393" fmla="*/ 2007123 w 8079933"/>
              <a:gd name="connsiteY26393" fmla="*/ 814194 h 4687251"/>
              <a:gd name="connsiteX26394" fmla="*/ 2006580 w 8079933"/>
              <a:gd name="connsiteY26394" fmla="*/ 815926 h 4687251"/>
              <a:gd name="connsiteX26395" fmla="*/ 2004627 w 8079933"/>
              <a:gd name="connsiteY26395" fmla="*/ 816792 h 4687251"/>
              <a:gd name="connsiteX26396" fmla="*/ 2002782 w 8079933"/>
              <a:gd name="connsiteY26396" fmla="*/ 816035 h 4687251"/>
              <a:gd name="connsiteX26397" fmla="*/ 2001805 w 8079933"/>
              <a:gd name="connsiteY26397" fmla="*/ 814410 h 4687251"/>
              <a:gd name="connsiteX26398" fmla="*/ 1998659 w 8079933"/>
              <a:gd name="connsiteY26398" fmla="*/ 814086 h 4687251"/>
              <a:gd name="connsiteX26399" fmla="*/ 1996054 w 8079933"/>
              <a:gd name="connsiteY26399" fmla="*/ 816792 h 4687251"/>
              <a:gd name="connsiteX26400" fmla="*/ 1994861 w 8079933"/>
              <a:gd name="connsiteY26400" fmla="*/ 817333 h 4687251"/>
              <a:gd name="connsiteX26401" fmla="*/ 1993341 w 8079933"/>
              <a:gd name="connsiteY26401" fmla="*/ 819391 h 4687251"/>
              <a:gd name="connsiteX26402" fmla="*/ 1991388 w 8079933"/>
              <a:gd name="connsiteY26402" fmla="*/ 819499 h 4687251"/>
              <a:gd name="connsiteX26403" fmla="*/ 1990628 w 8079933"/>
              <a:gd name="connsiteY26403" fmla="*/ 816576 h 4687251"/>
              <a:gd name="connsiteX26404" fmla="*/ 1988784 w 8079933"/>
              <a:gd name="connsiteY26404" fmla="*/ 815493 h 4687251"/>
              <a:gd name="connsiteX26405" fmla="*/ 1986288 w 8079933"/>
              <a:gd name="connsiteY26405" fmla="*/ 818958 h 4687251"/>
              <a:gd name="connsiteX26406" fmla="*/ 1982598 w 8079933"/>
              <a:gd name="connsiteY26406" fmla="*/ 820041 h 4687251"/>
              <a:gd name="connsiteX26407" fmla="*/ 1980970 w 8079933"/>
              <a:gd name="connsiteY26407" fmla="*/ 819066 h 4687251"/>
              <a:gd name="connsiteX26408" fmla="*/ 1981187 w 8079933"/>
              <a:gd name="connsiteY26408" fmla="*/ 815818 h 4687251"/>
              <a:gd name="connsiteX26409" fmla="*/ 1979342 w 8079933"/>
              <a:gd name="connsiteY26409" fmla="*/ 814302 h 4687251"/>
              <a:gd name="connsiteX26410" fmla="*/ 1976087 w 8079933"/>
              <a:gd name="connsiteY26410" fmla="*/ 815493 h 4687251"/>
              <a:gd name="connsiteX26411" fmla="*/ 1973917 w 8079933"/>
              <a:gd name="connsiteY26411" fmla="*/ 815493 h 4687251"/>
              <a:gd name="connsiteX26412" fmla="*/ 1974134 w 8079933"/>
              <a:gd name="connsiteY26412" fmla="*/ 819282 h 4687251"/>
              <a:gd name="connsiteX26413" fmla="*/ 1972397 w 8079933"/>
              <a:gd name="connsiteY26413" fmla="*/ 819174 h 4687251"/>
              <a:gd name="connsiteX26414" fmla="*/ 1970336 w 8079933"/>
              <a:gd name="connsiteY26414" fmla="*/ 816684 h 4687251"/>
              <a:gd name="connsiteX26415" fmla="*/ 1966863 w 8079933"/>
              <a:gd name="connsiteY26415" fmla="*/ 816684 h 4687251"/>
              <a:gd name="connsiteX26416" fmla="*/ 1964801 w 8079933"/>
              <a:gd name="connsiteY26416" fmla="*/ 813653 h 4687251"/>
              <a:gd name="connsiteX26417" fmla="*/ 1961112 w 8079933"/>
              <a:gd name="connsiteY26417" fmla="*/ 812678 h 4687251"/>
              <a:gd name="connsiteX26418" fmla="*/ 1958399 w 8079933"/>
              <a:gd name="connsiteY26418" fmla="*/ 814519 h 4687251"/>
              <a:gd name="connsiteX26419" fmla="*/ 1955578 w 8079933"/>
              <a:gd name="connsiteY26419" fmla="*/ 813653 h 4687251"/>
              <a:gd name="connsiteX26420" fmla="*/ 1952973 w 8079933"/>
              <a:gd name="connsiteY26420" fmla="*/ 808997 h 4687251"/>
              <a:gd name="connsiteX26421" fmla="*/ 1953299 w 8079933"/>
              <a:gd name="connsiteY26421" fmla="*/ 805099 h 4687251"/>
              <a:gd name="connsiteX26422" fmla="*/ 1951779 w 8079933"/>
              <a:gd name="connsiteY26422" fmla="*/ 804991 h 4687251"/>
              <a:gd name="connsiteX26423" fmla="*/ 1948306 w 8079933"/>
              <a:gd name="connsiteY26423" fmla="*/ 809755 h 4687251"/>
              <a:gd name="connsiteX26424" fmla="*/ 1945377 w 8079933"/>
              <a:gd name="connsiteY26424" fmla="*/ 810729 h 4687251"/>
              <a:gd name="connsiteX26425" fmla="*/ 1941687 w 8079933"/>
              <a:gd name="connsiteY26425" fmla="*/ 807590 h 4687251"/>
              <a:gd name="connsiteX26426" fmla="*/ 1938757 w 8079933"/>
              <a:gd name="connsiteY26426" fmla="*/ 806939 h 4687251"/>
              <a:gd name="connsiteX26427" fmla="*/ 1936262 w 8079933"/>
              <a:gd name="connsiteY26427" fmla="*/ 806939 h 4687251"/>
              <a:gd name="connsiteX26428" fmla="*/ 1935719 w 8079933"/>
              <a:gd name="connsiteY26428" fmla="*/ 804666 h 4687251"/>
              <a:gd name="connsiteX26429" fmla="*/ 1938324 w 8079933"/>
              <a:gd name="connsiteY26429" fmla="*/ 801418 h 4687251"/>
              <a:gd name="connsiteX26430" fmla="*/ 1941796 w 8079933"/>
              <a:gd name="connsiteY26430" fmla="*/ 801418 h 4687251"/>
              <a:gd name="connsiteX26431" fmla="*/ 1944726 w 8079933"/>
              <a:gd name="connsiteY26431" fmla="*/ 798603 h 4687251"/>
              <a:gd name="connsiteX26432" fmla="*/ 1944726 w 8079933"/>
              <a:gd name="connsiteY26432" fmla="*/ 795571 h 4687251"/>
              <a:gd name="connsiteX26433" fmla="*/ 1941796 w 8079933"/>
              <a:gd name="connsiteY26433" fmla="*/ 794272 h 4687251"/>
              <a:gd name="connsiteX26434" fmla="*/ 1940385 w 8079933"/>
              <a:gd name="connsiteY26434" fmla="*/ 795680 h 4687251"/>
              <a:gd name="connsiteX26435" fmla="*/ 1940168 w 8079933"/>
              <a:gd name="connsiteY26435" fmla="*/ 797737 h 4687251"/>
              <a:gd name="connsiteX26436" fmla="*/ 1938215 w 8079933"/>
              <a:gd name="connsiteY26436" fmla="*/ 795896 h 4687251"/>
              <a:gd name="connsiteX26437" fmla="*/ 1936804 w 8079933"/>
              <a:gd name="connsiteY26437" fmla="*/ 791674 h 4687251"/>
              <a:gd name="connsiteX26438" fmla="*/ 1932898 w 8079933"/>
              <a:gd name="connsiteY26438" fmla="*/ 789725 h 4687251"/>
              <a:gd name="connsiteX26439" fmla="*/ 1929968 w 8079933"/>
              <a:gd name="connsiteY26439" fmla="*/ 790049 h 4687251"/>
              <a:gd name="connsiteX26440" fmla="*/ 1928557 w 8079933"/>
              <a:gd name="connsiteY26440" fmla="*/ 791241 h 4687251"/>
              <a:gd name="connsiteX26441" fmla="*/ 1924976 w 8079933"/>
              <a:gd name="connsiteY26441" fmla="*/ 788317 h 4687251"/>
              <a:gd name="connsiteX26442" fmla="*/ 1921829 w 8079933"/>
              <a:gd name="connsiteY26442" fmla="*/ 787668 h 4687251"/>
              <a:gd name="connsiteX26443" fmla="*/ 1921504 w 8079933"/>
              <a:gd name="connsiteY26443" fmla="*/ 786043 h 4687251"/>
              <a:gd name="connsiteX26444" fmla="*/ 1923782 w 8079933"/>
              <a:gd name="connsiteY26444" fmla="*/ 784419 h 4687251"/>
              <a:gd name="connsiteX26445" fmla="*/ 1925735 w 8079933"/>
              <a:gd name="connsiteY26445" fmla="*/ 781496 h 4687251"/>
              <a:gd name="connsiteX26446" fmla="*/ 1925735 w 8079933"/>
              <a:gd name="connsiteY26446" fmla="*/ 778573 h 4687251"/>
              <a:gd name="connsiteX26447" fmla="*/ 1929208 w 8079933"/>
              <a:gd name="connsiteY26447" fmla="*/ 776299 h 4687251"/>
              <a:gd name="connsiteX26448" fmla="*/ 1927580 w 8079933"/>
              <a:gd name="connsiteY26448" fmla="*/ 773917 h 4687251"/>
              <a:gd name="connsiteX26449" fmla="*/ 1927580 w 8079933"/>
              <a:gd name="connsiteY26449" fmla="*/ 771644 h 4687251"/>
              <a:gd name="connsiteX26450" fmla="*/ 1926061 w 8079933"/>
              <a:gd name="connsiteY26450" fmla="*/ 768937 h 4687251"/>
              <a:gd name="connsiteX26451" fmla="*/ 1923890 w 8079933"/>
              <a:gd name="connsiteY26451" fmla="*/ 769370 h 4687251"/>
              <a:gd name="connsiteX26452" fmla="*/ 1921829 w 8079933"/>
              <a:gd name="connsiteY26452" fmla="*/ 768504 h 4687251"/>
              <a:gd name="connsiteX26453" fmla="*/ 1922263 w 8079933"/>
              <a:gd name="connsiteY26453" fmla="*/ 770886 h 4687251"/>
              <a:gd name="connsiteX26454" fmla="*/ 1920635 w 8079933"/>
              <a:gd name="connsiteY26454" fmla="*/ 773376 h 4687251"/>
              <a:gd name="connsiteX26455" fmla="*/ 1917705 w 8079933"/>
              <a:gd name="connsiteY26455" fmla="*/ 773809 h 4687251"/>
              <a:gd name="connsiteX26456" fmla="*/ 1915861 w 8079933"/>
              <a:gd name="connsiteY26456" fmla="*/ 773051 h 4687251"/>
              <a:gd name="connsiteX26457" fmla="*/ 1914449 w 8079933"/>
              <a:gd name="connsiteY26457" fmla="*/ 774892 h 4687251"/>
              <a:gd name="connsiteX26458" fmla="*/ 1914667 w 8079933"/>
              <a:gd name="connsiteY26458" fmla="*/ 777815 h 4687251"/>
              <a:gd name="connsiteX26459" fmla="*/ 1910977 w 8079933"/>
              <a:gd name="connsiteY26459" fmla="*/ 779980 h 4687251"/>
              <a:gd name="connsiteX26460" fmla="*/ 1909566 w 8079933"/>
              <a:gd name="connsiteY26460" fmla="*/ 782579 h 4687251"/>
              <a:gd name="connsiteX26461" fmla="*/ 1908047 w 8079933"/>
              <a:gd name="connsiteY26461" fmla="*/ 780955 h 4687251"/>
              <a:gd name="connsiteX26462" fmla="*/ 1906311 w 8079933"/>
              <a:gd name="connsiteY26462" fmla="*/ 781063 h 4687251"/>
              <a:gd name="connsiteX26463" fmla="*/ 1904792 w 8079933"/>
              <a:gd name="connsiteY26463" fmla="*/ 783986 h 4687251"/>
              <a:gd name="connsiteX26464" fmla="*/ 1895351 w 8079933"/>
              <a:gd name="connsiteY26464" fmla="*/ 790158 h 4687251"/>
              <a:gd name="connsiteX26465" fmla="*/ 1886235 w 8079933"/>
              <a:gd name="connsiteY26465" fmla="*/ 790158 h 4687251"/>
              <a:gd name="connsiteX26466" fmla="*/ 1882980 w 8079933"/>
              <a:gd name="connsiteY26466" fmla="*/ 788425 h 4687251"/>
              <a:gd name="connsiteX26467" fmla="*/ 1879724 w 8079933"/>
              <a:gd name="connsiteY26467" fmla="*/ 788967 h 4687251"/>
              <a:gd name="connsiteX26468" fmla="*/ 1874949 w 8079933"/>
              <a:gd name="connsiteY26468" fmla="*/ 788101 h 4687251"/>
              <a:gd name="connsiteX26469" fmla="*/ 1871694 w 8079933"/>
              <a:gd name="connsiteY26469" fmla="*/ 787992 h 4687251"/>
              <a:gd name="connsiteX26470" fmla="*/ 1870609 w 8079933"/>
              <a:gd name="connsiteY26470" fmla="*/ 790049 h 4687251"/>
              <a:gd name="connsiteX26471" fmla="*/ 1866593 w 8079933"/>
              <a:gd name="connsiteY26471" fmla="*/ 791024 h 4687251"/>
              <a:gd name="connsiteX26472" fmla="*/ 1860951 w 8079933"/>
              <a:gd name="connsiteY26472" fmla="*/ 793514 h 4687251"/>
              <a:gd name="connsiteX26473" fmla="*/ 1856068 w 8079933"/>
              <a:gd name="connsiteY26473" fmla="*/ 798278 h 4687251"/>
              <a:gd name="connsiteX26474" fmla="*/ 1852595 w 8079933"/>
              <a:gd name="connsiteY26474" fmla="*/ 798278 h 4687251"/>
              <a:gd name="connsiteX26475" fmla="*/ 1848797 w 8079933"/>
              <a:gd name="connsiteY26475" fmla="*/ 799577 h 4687251"/>
              <a:gd name="connsiteX26476" fmla="*/ 1846084 w 8079933"/>
              <a:gd name="connsiteY26476" fmla="*/ 802500 h 4687251"/>
              <a:gd name="connsiteX26477" fmla="*/ 1840116 w 8079933"/>
              <a:gd name="connsiteY26477" fmla="*/ 803151 h 4687251"/>
              <a:gd name="connsiteX26478" fmla="*/ 1838162 w 8079933"/>
              <a:gd name="connsiteY26478" fmla="*/ 805208 h 4687251"/>
              <a:gd name="connsiteX26479" fmla="*/ 1835775 w 8079933"/>
              <a:gd name="connsiteY26479" fmla="*/ 805316 h 4687251"/>
              <a:gd name="connsiteX26480" fmla="*/ 1834907 w 8079933"/>
              <a:gd name="connsiteY26480" fmla="*/ 801743 h 4687251"/>
              <a:gd name="connsiteX26481" fmla="*/ 1832736 w 8079933"/>
              <a:gd name="connsiteY26481" fmla="*/ 800335 h 4687251"/>
              <a:gd name="connsiteX26482" fmla="*/ 1831000 w 8079933"/>
              <a:gd name="connsiteY26482" fmla="*/ 801418 h 4687251"/>
              <a:gd name="connsiteX26483" fmla="*/ 1828287 w 8079933"/>
              <a:gd name="connsiteY26483" fmla="*/ 801851 h 4687251"/>
              <a:gd name="connsiteX26484" fmla="*/ 1827636 w 8079933"/>
              <a:gd name="connsiteY26484" fmla="*/ 799036 h 4687251"/>
              <a:gd name="connsiteX26485" fmla="*/ 1825466 w 8079933"/>
              <a:gd name="connsiteY26485" fmla="*/ 798170 h 4687251"/>
              <a:gd name="connsiteX26486" fmla="*/ 1821994 w 8079933"/>
              <a:gd name="connsiteY26486" fmla="*/ 799036 h 4687251"/>
              <a:gd name="connsiteX26487" fmla="*/ 1820257 w 8079933"/>
              <a:gd name="connsiteY26487" fmla="*/ 800227 h 4687251"/>
              <a:gd name="connsiteX26488" fmla="*/ 1818955 w 8079933"/>
              <a:gd name="connsiteY26488" fmla="*/ 799794 h 4687251"/>
              <a:gd name="connsiteX26489" fmla="*/ 1817761 w 8079933"/>
              <a:gd name="connsiteY26489" fmla="*/ 797629 h 4687251"/>
              <a:gd name="connsiteX26490" fmla="*/ 1811685 w 8079933"/>
              <a:gd name="connsiteY26490" fmla="*/ 797304 h 4687251"/>
              <a:gd name="connsiteX26491" fmla="*/ 1808755 w 8079933"/>
              <a:gd name="connsiteY26491" fmla="*/ 800768 h 4687251"/>
              <a:gd name="connsiteX26492" fmla="*/ 1801267 w 8079933"/>
              <a:gd name="connsiteY26492" fmla="*/ 797304 h 4687251"/>
              <a:gd name="connsiteX26493" fmla="*/ 1795298 w 8079933"/>
              <a:gd name="connsiteY26493" fmla="*/ 797304 h 4687251"/>
              <a:gd name="connsiteX26494" fmla="*/ 1793236 w 8079933"/>
              <a:gd name="connsiteY26494" fmla="*/ 796004 h 4687251"/>
              <a:gd name="connsiteX26495" fmla="*/ 1790632 w 8079933"/>
              <a:gd name="connsiteY26495" fmla="*/ 796437 h 4687251"/>
              <a:gd name="connsiteX26496" fmla="*/ 1788679 w 8079933"/>
              <a:gd name="connsiteY26496" fmla="*/ 799145 h 4687251"/>
              <a:gd name="connsiteX26497" fmla="*/ 1787160 w 8079933"/>
              <a:gd name="connsiteY26497" fmla="*/ 797520 h 4687251"/>
              <a:gd name="connsiteX26498" fmla="*/ 1784880 w 8079933"/>
              <a:gd name="connsiteY26498" fmla="*/ 797196 h 4687251"/>
              <a:gd name="connsiteX26499" fmla="*/ 1781734 w 8079933"/>
              <a:gd name="connsiteY26499" fmla="*/ 798062 h 4687251"/>
              <a:gd name="connsiteX26500" fmla="*/ 1773812 w 8079933"/>
              <a:gd name="connsiteY26500" fmla="*/ 796546 h 4687251"/>
              <a:gd name="connsiteX26501" fmla="*/ 1772185 w 8079933"/>
              <a:gd name="connsiteY26501" fmla="*/ 794597 h 4687251"/>
              <a:gd name="connsiteX26502" fmla="*/ 1777719 w 8079933"/>
              <a:gd name="connsiteY26502" fmla="*/ 793406 h 4687251"/>
              <a:gd name="connsiteX26503" fmla="*/ 1778153 w 8079933"/>
              <a:gd name="connsiteY26503" fmla="*/ 790482 h 4687251"/>
              <a:gd name="connsiteX26504" fmla="*/ 1775656 w 8079933"/>
              <a:gd name="connsiteY26504" fmla="*/ 784961 h 4687251"/>
              <a:gd name="connsiteX26505" fmla="*/ 1775440 w 8079933"/>
              <a:gd name="connsiteY26505" fmla="*/ 779331 h 4687251"/>
              <a:gd name="connsiteX26506" fmla="*/ 1771750 w 8079933"/>
              <a:gd name="connsiteY26506" fmla="*/ 776732 h 4687251"/>
              <a:gd name="connsiteX26507" fmla="*/ 1773486 w 8079933"/>
              <a:gd name="connsiteY26507" fmla="*/ 773701 h 4687251"/>
              <a:gd name="connsiteX26508" fmla="*/ 1773812 w 8079933"/>
              <a:gd name="connsiteY26508" fmla="*/ 771319 h 4687251"/>
              <a:gd name="connsiteX26509" fmla="*/ 1779563 w 8079933"/>
              <a:gd name="connsiteY26509" fmla="*/ 768395 h 4687251"/>
              <a:gd name="connsiteX26510" fmla="*/ 1781299 w 8079933"/>
              <a:gd name="connsiteY26510" fmla="*/ 765364 h 4687251"/>
              <a:gd name="connsiteX26511" fmla="*/ 1780974 w 8079933"/>
              <a:gd name="connsiteY26511" fmla="*/ 762982 h 4687251"/>
              <a:gd name="connsiteX26512" fmla="*/ 1783253 w 8079933"/>
              <a:gd name="connsiteY26512" fmla="*/ 760600 h 4687251"/>
              <a:gd name="connsiteX26513" fmla="*/ 1782710 w 8079933"/>
              <a:gd name="connsiteY26513" fmla="*/ 757785 h 4687251"/>
              <a:gd name="connsiteX26514" fmla="*/ 1787810 w 8079933"/>
              <a:gd name="connsiteY26514" fmla="*/ 756161 h 4687251"/>
              <a:gd name="connsiteX26515" fmla="*/ 1786834 w 8079933"/>
              <a:gd name="connsiteY26515" fmla="*/ 753562 h 4687251"/>
              <a:gd name="connsiteX26516" fmla="*/ 1784012 w 8079933"/>
              <a:gd name="connsiteY26516" fmla="*/ 752588 h 4687251"/>
              <a:gd name="connsiteX26517" fmla="*/ 1780974 w 8079933"/>
              <a:gd name="connsiteY26517" fmla="*/ 747283 h 4687251"/>
              <a:gd name="connsiteX26518" fmla="*/ 1775874 w 8079933"/>
              <a:gd name="connsiteY26518" fmla="*/ 747283 h 4687251"/>
              <a:gd name="connsiteX26519" fmla="*/ 1772510 w 8079933"/>
              <a:gd name="connsiteY26519" fmla="*/ 743710 h 4687251"/>
              <a:gd name="connsiteX26520" fmla="*/ 1769472 w 8079933"/>
              <a:gd name="connsiteY26520" fmla="*/ 743601 h 4687251"/>
              <a:gd name="connsiteX26521" fmla="*/ 1764588 w 8079933"/>
              <a:gd name="connsiteY26521" fmla="*/ 745767 h 4687251"/>
              <a:gd name="connsiteX26522" fmla="*/ 1761441 w 8079933"/>
              <a:gd name="connsiteY26522" fmla="*/ 745009 h 4687251"/>
              <a:gd name="connsiteX26523" fmla="*/ 1758945 w 8079933"/>
              <a:gd name="connsiteY26523" fmla="*/ 742303 h 4687251"/>
              <a:gd name="connsiteX26524" fmla="*/ 1755038 w 8079933"/>
              <a:gd name="connsiteY26524" fmla="*/ 743277 h 4687251"/>
              <a:gd name="connsiteX26525" fmla="*/ 1752976 w 8079933"/>
              <a:gd name="connsiteY26525" fmla="*/ 741111 h 4687251"/>
              <a:gd name="connsiteX26526" fmla="*/ 1746140 w 8079933"/>
              <a:gd name="connsiteY26526" fmla="*/ 737105 h 4687251"/>
              <a:gd name="connsiteX26527" fmla="*/ 1745055 w 8079933"/>
              <a:gd name="connsiteY26527" fmla="*/ 734832 h 4687251"/>
              <a:gd name="connsiteX26528" fmla="*/ 1741583 w 8079933"/>
              <a:gd name="connsiteY26528" fmla="*/ 731908 h 4687251"/>
              <a:gd name="connsiteX26529" fmla="*/ 1738327 w 8079933"/>
              <a:gd name="connsiteY26529" fmla="*/ 722056 h 4687251"/>
              <a:gd name="connsiteX26530" fmla="*/ 1740063 w 8079933"/>
              <a:gd name="connsiteY26530" fmla="*/ 720648 h 4687251"/>
              <a:gd name="connsiteX26531" fmla="*/ 1740931 w 8079933"/>
              <a:gd name="connsiteY26531" fmla="*/ 718050 h 4687251"/>
              <a:gd name="connsiteX26532" fmla="*/ 1737676 w 8079933"/>
              <a:gd name="connsiteY26532" fmla="*/ 716642 h 4687251"/>
              <a:gd name="connsiteX26533" fmla="*/ 1736591 w 8079933"/>
              <a:gd name="connsiteY26533" fmla="*/ 714152 h 4687251"/>
              <a:gd name="connsiteX26534" fmla="*/ 1738110 w 8079933"/>
              <a:gd name="connsiteY26534" fmla="*/ 711337 h 4687251"/>
              <a:gd name="connsiteX26535" fmla="*/ 1736808 w 8079933"/>
              <a:gd name="connsiteY26535" fmla="*/ 704083 h 4687251"/>
              <a:gd name="connsiteX26536" fmla="*/ 1740931 w 8079933"/>
              <a:gd name="connsiteY26536" fmla="*/ 697587 h 4687251"/>
              <a:gd name="connsiteX26537" fmla="*/ 1741366 w 8079933"/>
              <a:gd name="connsiteY26537" fmla="*/ 690332 h 4687251"/>
              <a:gd name="connsiteX26538" fmla="*/ 1743970 w 8079933"/>
              <a:gd name="connsiteY26538" fmla="*/ 686651 h 4687251"/>
              <a:gd name="connsiteX26539" fmla="*/ 1749504 w 8079933"/>
              <a:gd name="connsiteY26539" fmla="*/ 685244 h 4687251"/>
              <a:gd name="connsiteX26540" fmla="*/ 1752543 w 8079933"/>
              <a:gd name="connsiteY26540" fmla="*/ 683944 h 4687251"/>
              <a:gd name="connsiteX26541" fmla="*/ 1771316 w 8079933"/>
              <a:gd name="connsiteY26541" fmla="*/ 684269 h 4687251"/>
              <a:gd name="connsiteX26542" fmla="*/ 1775983 w 8079933"/>
              <a:gd name="connsiteY26542" fmla="*/ 685677 h 4687251"/>
              <a:gd name="connsiteX26543" fmla="*/ 1782276 w 8079933"/>
              <a:gd name="connsiteY26543" fmla="*/ 686218 h 4687251"/>
              <a:gd name="connsiteX26544" fmla="*/ 1792803 w 8079933"/>
              <a:gd name="connsiteY26544" fmla="*/ 685785 h 4687251"/>
              <a:gd name="connsiteX26545" fmla="*/ 1795081 w 8079933"/>
              <a:gd name="connsiteY26545" fmla="*/ 687084 h 4687251"/>
              <a:gd name="connsiteX26546" fmla="*/ 1800182 w 8079933"/>
              <a:gd name="connsiteY26546" fmla="*/ 686759 h 4687251"/>
              <a:gd name="connsiteX26547" fmla="*/ 1802786 w 8079933"/>
              <a:gd name="connsiteY26547" fmla="*/ 687842 h 4687251"/>
              <a:gd name="connsiteX26548" fmla="*/ 1804631 w 8079933"/>
              <a:gd name="connsiteY26548" fmla="*/ 687842 h 4687251"/>
              <a:gd name="connsiteX26549" fmla="*/ 1805499 w 8079933"/>
              <a:gd name="connsiteY26549" fmla="*/ 691524 h 4687251"/>
              <a:gd name="connsiteX26550" fmla="*/ 1810708 w 8079933"/>
              <a:gd name="connsiteY26550" fmla="*/ 693473 h 4687251"/>
              <a:gd name="connsiteX26551" fmla="*/ 1812878 w 8079933"/>
              <a:gd name="connsiteY26551" fmla="*/ 695530 h 4687251"/>
              <a:gd name="connsiteX26552" fmla="*/ 1815591 w 8079933"/>
              <a:gd name="connsiteY26552" fmla="*/ 696287 h 4687251"/>
              <a:gd name="connsiteX26553" fmla="*/ 1820583 w 8079933"/>
              <a:gd name="connsiteY26553" fmla="*/ 695638 h 4687251"/>
              <a:gd name="connsiteX26554" fmla="*/ 1822753 w 8079933"/>
              <a:gd name="connsiteY26554" fmla="*/ 696396 h 4687251"/>
              <a:gd name="connsiteX26555" fmla="*/ 1825466 w 8079933"/>
              <a:gd name="connsiteY26555" fmla="*/ 700402 h 4687251"/>
              <a:gd name="connsiteX26556" fmla="*/ 1828505 w 8079933"/>
              <a:gd name="connsiteY26556" fmla="*/ 700510 h 4687251"/>
              <a:gd name="connsiteX26557" fmla="*/ 1831868 w 8079933"/>
              <a:gd name="connsiteY26557" fmla="*/ 704408 h 4687251"/>
              <a:gd name="connsiteX26558" fmla="*/ 1835233 w 8079933"/>
              <a:gd name="connsiteY26558" fmla="*/ 704408 h 4687251"/>
              <a:gd name="connsiteX26559" fmla="*/ 1836318 w 8079933"/>
              <a:gd name="connsiteY26559" fmla="*/ 703433 h 4687251"/>
              <a:gd name="connsiteX26560" fmla="*/ 1839899 w 8079933"/>
              <a:gd name="connsiteY26560" fmla="*/ 704624 h 4687251"/>
              <a:gd name="connsiteX26561" fmla="*/ 1843371 w 8079933"/>
              <a:gd name="connsiteY26561" fmla="*/ 703433 h 4687251"/>
              <a:gd name="connsiteX26562" fmla="*/ 1850316 w 8079933"/>
              <a:gd name="connsiteY26562" fmla="*/ 705491 h 4687251"/>
              <a:gd name="connsiteX26563" fmla="*/ 1858564 w 8079933"/>
              <a:gd name="connsiteY26563" fmla="*/ 707439 h 4687251"/>
              <a:gd name="connsiteX26564" fmla="*/ 1860842 w 8079933"/>
              <a:gd name="connsiteY26564" fmla="*/ 708630 h 4687251"/>
              <a:gd name="connsiteX26565" fmla="*/ 1859757 w 8079933"/>
              <a:gd name="connsiteY26565" fmla="*/ 706032 h 4687251"/>
              <a:gd name="connsiteX26566" fmla="*/ 1860951 w 8079933"/>
              <a:gd name="connsiteY26566" fmla="*/ 704732 h 4687251"/>
              <a:gd name="connsiteX26567" fmla="*/ 1860842 w 8079933"/>
              <a:gd name="connsiteY26567" fmla="*/ 702134 h 4687251"/>
              <a:gd name="connsiteX26568" fmla="*/ 1854766 w 8079933"/>
              <a:gd name="connsiteY26568" fmla="*/ 698236 h 4687251"/>
              <a:gd name="connsiteX26569" fmla="*/ 1850533 w 8079933"/>
              <a:gd name="connsiteY26569" fmla="*/ 693797 h 4687251"/>
              <a:gd name="connsiteX26570" fmla="*/ 1850968 w 8079933"/>
              <a:gd name="connsiteY26570" fmla="*/ 690332 h 4687251"/>
              <a:gd name="connsiteX26571" fmla="*/ 1851618 w 8079933"/>
              <a:gd name="connsiteY26571" fmla="*/ 688600 h 4687251"/>
              <a:gd name="connsiteX26572" fmla="*/ 1848905 w 8079933"/>
              <a:gd name="connsiteY26572" fmla="*/ 685569 h 4687251"/>
              <a:gd name="connsiteX26573" fmla="*/ 1846302 w 8079933"/>
              <a:gd name="connsiteY26573" fmla="*/ 684810 h 4687251"/>
              <a:gd name="connsiteX26574" fmla="*/ 1845216 w 8079933"/>
              <a:gd name="connsiteY26574" fmla="*/ 681563 h 4687251"/>
              <a:gd name="connsiteX26575" fmla="*/ 1842395 w 8079933"/>
              <a:gd name="connsiteY26575" fmla="*/ 680155 h 4687251"/>
              <a:gd name="connsiteX26576" fmla="*/ 1837946 w 8079933"/>
              <a:gd name="connsiteY26576" fmla="*/ 680155 h 4687251"/>
              <a:gd name="connsiteX26577" fmla="*/ 1836426 w 8079933"/>
              <a:gd name="connsiteY26577" fmla="*/ 678098 h 4687251"/>
              <a:gd name="connsiteX26578" fmla="*/ 1836209 w 8079933"/>
              <a:gd name="connsiteY26578" fmla="*/ 676257 h 4687251"/>
              <a:gd name="connsiteX26579" fmla="*/ 1832194 w 8079933"/>
              <a:gd name="connsiteY26579" fmla="*/ 673009 h 4687251"/>
              <a:gd name="connsiteX26580" fmla="*/ 1831543 w 8079933"/>
              <a:gd name="connsiteY26580" fmla="*/ 669003 h 4687251"/>
              <a:gd name="connsiteX26581" fmla="*/ 1828613 w 8079933"/>
              <a:gd name="connsiteY26581" fmla="*/ 670952 h 4687251"/>
              <a:gd name="connsiteX26582" fmla="*/ 1827093 w 8079933"/>
              <a:gd name="connsiteY26582" fmla="*/ 667596 h 4687251"/>
              <a:gd name="connsiteX26583" fmla="*/ 1823296 w 8079933"/>
              <a:gd name="connsiteY26583" fmla="*/ 665863 h 4687251"/>
              <a:gd name="connsiteX26584" fmla="*/ 1818413 w 8079933"/>
              <a:gd name="connsiteY26584" fmla="*/ 667163 h 4687251"/>
              <a:gd name="connsiteX26585" fmla="*/ 1812770 w 8079933"/>
              <a:gd name="connsiteY26585" fmla="*/ 666621 h 4687251"/>
              <a:gd name="connsiteX26586" fmla="*/ 1809948 w 8079933"/>
              <a:gd name="connsiteY26586" fmla="*/ 665430 h 4687251"/>
              <a:gd name="connsiteX26587" fmla="*/ 1806042 w 8079933"/>
              <a:gd name="connsiteY26587" fmla="*/ 667379 h 4687251"/>
              <a:gd name="connsiteX26588" fmla="*/ 1801701 w 8079933"/>
              <a:gd name="connsiteY26588" fmla="*/ 665539 h 4687251"/>
              <a:gd name="connsiteX26589" fmla="*/ 1798337 w 8079933"/>
              <a:gd name="connsiteY26589" fmla="*/ 666188 h 4687251"/>
              <a:gd name="connsiteX26590" fmla="*/ 1793236 w 8079933"/>
              <a:gd name="connsiteY26590" fmla="*/ 665971 h 4687251"/>
              <a:gd name="connsiteX26591" fmla="*/ 1791283 w 8079933"/>
              <a:gd name="connsiteY26591" fmla="*/ 664023 h 4687251"/>
              <a:gd name="connsiteX26592" fmla="*/ 1788462 w 8079933"/>
              <a:gd name="connsiteY26592" fmla="*/ 663914 h 4687251"/>
              <a:gd name="connsiteX26593" fmla="*/ 1784664 w 8079933"/>
              <a:gd name="connsiteY26593" fmla="*/ 664997 h 4687251"/>
              <a:gd name="connsiteX26594" fmla="*/ 1781734 w 8079933"/>
              <a:gd name="connsiteY26594" fmla="*/ 664131 h 4687251"/>
              <a:gd name="connsiteX26595" fmla="*/ 1781299 w 8079933"/>
              <a:gd name="connsiteY26595" fmla="*/ 661424 h 4687251"/>
              <a:gd name="connsiteX26596" fmla="*/ 1778587 w 8079933"/>
              <a:gd name="connsiteY26596" fmla="*/ 658934 h 4687251"/>
              <a:gd name="connsiteX26597" fmla="*/ 1776199 w 8079933"/>
              <a:gd name="connsiteY26597" fmla="*/ 659800 h 4687251"/>
              <a:gd name="connsiteX26598" fmla="*/ 1774355 w 8079933"/>
              <a:gd name="connsiteY26598" fmla="*/ 658068 h 4687251"/>
              <a:gd name="connsiteX26599" fmla="*/ 1771316 w 8079933"/>
              <a:gd name="connsiteY26599" fmla="*/ 656552 h 4687251"/>
              <a:gd name="connsiteX26600" fmla="*/ 1770340 w 8079933"/>
              <a:gd name="connsiteY26600" fmla="*/ 656985 h 4687251"/>
              <a:gd name="connsiteX26601" fmla="*/ 1769146 w 8079933"/>
              <a:gd name="connsiteY26601" fmla="*/ 658934 h 4687251"/>
              <a:gd name="connsiteX26602" fmla="*/ 1764914 w 8079933"/>
              <a:gd name="connsiteY26602" fmla="*/ 658826 h 4687251"/>
              <a:gd name="connsiteX26603" fmla="*/ 1762201 w 8079933"/>
              <a:gd name="connsiteY26603" fmla="*/ 656769 h 4687251"/>
              <a:gd name="connsiteX26604" fmla="*/ 1759705 w 8079933"/>
              <a:gd name="connsiteY26604" fmla="*/ 656769 h 4687251"/>
              <a:gd name="connsiteX26605" fmla="*/ 1755581 w 8079933"/>
              <a:gd name="connsiteY26605" fmla="*/ 657418 h 4687251"/>
              <a:gd name="connsiteX26606" fmla="*/ 1753520 w 8079933"/>
              <a:gd name="connsiteY26606" fmla="*/ 655578 h 4687251"/>
              <a:gd name="connsiteX26607" fmla="*/ 1752976 w 8079933"/>
              <a:gd name="connsiteY26607" fmla="*/ 652113 h 4687251"/>
              <a:gd name="connsiteX26608" fmla="*/ 1754822 w 8079933"/>
              <a:gd name="connsiteY26608" fmla="*/ 650922 h 4687251"/>
              <a:gd name="connsiteX26609" fmla="*/ 1754822 w 8079933"/>
              <a:gd name="connsiteY26609" fmla="*/ 645941 h 4687251"/>
              <a:gd name="connsiteX26610" fmla="*/ 1753736 w 8079933"/>
              <a:gd name="connsiteY26610" fmla="*/ 643343 h 4687251"/>
              <a:gd name="connsiteX26611" fmla="*/ 1752435 w 8079933"/>
              <a:gd name="connsiteY26611" fmla="*/ 630351 h 4687251"/>
              <a:gd name="connsiteX26612" fmla="*/ 1753953 w 8079933"/>
              <a:gd name="connsiteY26612" fmla="*/ 625262 h 4687251"/>
              <a:gd name="connsiteX26613" fmla="*/ 1762961 w 8079933"/>
              <a:gd name="connsiteY26613" fmla="*/ 623638 h 4687251"/>
              <a:gd name="connsiteX26614" fmla="*/ 1764805 w 8079933"/>
              <a:gd name="connsiteY26614" fmla="*/ 622013 h 4687251"/>
              <a:gd name="connsiteX26615" fmla="*/ 1776091 w 8079933"/>
              <a:gd name="connsiteY26615" fmla="*/ 621364 h 4687251"/>
              <a:gd name="connsiteX26616" fmla="*/ 1779672 w 8079933"/>
              <a:gd name="connsiteY26616" fmla="*/ 621689 h 4687251"/>
              <a:gd name="connsiteX26617" fmla="*/ 1783253 w 8079933"/>
              <a:gd name="connsiteY26617" fmla="*/ 620715 h 4687251"/>
              <a:gd name="connsiteX26618" fmla="*/ 1786074 w 8079933"/>
              <a:gd name="connsiteY26618" fmla="*/ 620715 h 4687251"/>
              <a:gd name="connsiteX26619" fmla="*/ 1789113 w 8079933"/>
              <a:gd name="connsiteY26619" fmla="*/ 622555 h 4687251"/>
              <a:gd name="connsiteX26620" fmla="*/ 1791935 w 8079933"/>
              <a:gd name="connsiteY26620" fmla="*/ 619957 h 4687251"/>
              <a:gd name="connsiteX26621" fmla="*/ 1802352 w 8079933"/>
              <a:gd name="connsiteY26621" fmla="*/ 618766 h 4687251"/>
              <a:gd name="connsiteX26622" fmla="*/ 1805824 w 8079933"/>
              <a:gd name="connsiteY26622" fmla="*/ 621689 h 4687251"/>
              <a:gd name="connsiteX26623" fmla="*/ 1813638 w 8079933"/>
              <a:gd name="connsiteY26623" fmla="*/ 621689 h 4687251"/>
              <a:gd name="connsiteX26624" fmla="*/ 1812227 w 8079933"/>
              <a:gd name="connsiteY26624" fmla="*/ 619091 h 4687251"/>
              <a:gd name="connsiteX26625" fmla="*/ 1806367 w 8079933"/>
              <a:gd name="connsiteY26625" fmla="*/ 617033 h 4687251"/>
              <a:gd name="connsiteX26626" fmla="*/ 1808103 w 8079933"/>
              <a:gd name="connsiteY26626" fmla="*/ 615301 h 4687251"/>
              <a:gd name="connsiteX26627" fmla="*/ 1817219 w 8079933"/>
              <a:gd name="connsiteY26627" fmla="*/ 615517 h 4687251"/>
              <a:gd name="connsiteX26628" fmla="*/ 1823730 w 8079933"/>
              <a:gd name="connsiteY26628" fmla="*/ 619848 h 4687251"/>
              <a:gd name="connsiteX26629" fmla="*/ 1827202 w 8079933"/>
              <a:gd name="connsiteY26629" fmla="*/ 619848 h 4687251"/>
              <a:gd name="connsiteX26630" fmla="*/ 1828722 w 8079933"/>
              <a:gd name="connsiteY26630" fmla="*/ 617358 h 4687251"/>
              <a:gd name="connsiteX26631" fmla="*/ 1825140 w 8079933"/>
              <a:gd name="connsiteY26631" fmla="*/ 616925 h 4687251"/>
              <a:gd name="connsiteX26632" fmla="*/ 1822427 w 8079933"/>
              <a:gd name="connsiteY26632" fmla="*/ 613027 h 4687251"/>
              <a:gd name="connsiteX26633" fmla="*/ 1817761 w 8079933"/>
              <a:gd name="connsiteY26633" fmla="*/ 610970 h 4687251"/>
              <a:gd name="connsiteX26634" fmla="*/ 1812661 w 8079933"/>
              <a:gd name="connsiteY26634" fmla="*/ 611945 h 4687251"/>
              <a:gd name="connsiteX26635" fmla="*/ 1805933 w 8079933"/>
              <a:gd name="connsiteY26635" fmla="*/ 609022 h 4687251"/>
              <a:gd name="connsiteX26636" fmla="*/ 1801375 w 8079933"/>
              <a:gd name="connsiteY26636" fmla="*/ 609022 h 4687251"/>
              <a:gd name="connsiteX26637" fmla="*/ 1793996 w 8079933"/>
              <a:gd name="connsiteY26637" fmla="*/ 611078 h 4687251"/>
              <a:gd name="connsiteX26638" fmla="*/ 1786074 w 8079933"/>
              <a:gd name="connsiteY26638" fmla="*/ 609671 h 4687251"/>
              <a:gd name="connsiteX26639" fmla="*/ 1782276 w 8079933"/>
              <a:gd name="connsiteY26639" fmla="*/ 610104 h 4687251"/>
              <a:gd name="connsiteX26640" fmla="*/ 1784121 w 8079933"/>
              <a:gd name="connsiteY26640" fmla="*/ 606748 h 4687251"/>
              <a:gd name="connsiteX26641" fmla="*/ 1782494 w 8079933"/>
              <a:gd name="connsiteY26641" fmla="*/ 604474 h 4687251"/>
              <a:gd name="connsiteX26642" fmla="*/ 1779781 w 8079933"/>
              <a:gd name="connsiteY26642" fmla="*/ 604582 h 4687251"/>
              <a:gd name="connsiteX26643" fmla="*/ 1778804 w 8079933"/>
              <a:gd name="connsiteY26643" fmla="*/ 608048 h 4687251"/>
              <a:gd name="connsiteX26644" fmla="*/ 1776091 w 8079933"/>
              <a:gd name="connsiteY26644" fmla="*/ 609779 h 4687251"/>
              <a:gd name="connsiteX26645" fmla="*/ 1767844 w 8079933"/>
              <a:gd name="connsiteY26645" fmla="*/ 605556 h 4687251"/>
              <a:gd name="connsiteX26646" fmla="*/ 1766867 w 8079933"/>
              <a:gd name="connsiteY26646" fmla="*/ 601226 h 4687251"/>
              <a:gd name="connsiteX26647" fmla="*/ 1770448 w 8079933"/>
              <a:gd name="connsiteY26647" fmla="*/ 599277 h 4687251"/>
              <a:gd name="connsiteX26648" fmla="*/ 1775656 w 8079933"/>
              <a:gd name="connsiteY26648" fmla="*/ 602200 h 4687251"/>
              <a:gd name="connsiteX26649" fmla="*/ 1781083 w 8079933"/>
              <a:gd name="connsiteY26649" fmla="*/ 599927 h 4687251"/>
              <a:gd name="connsiteX26650" fmla="*/ 1782602 w 8079933"/>
              <a:gd name="connsiteY26650" fmla="*/ 596354 h 4687251"/>
              <a:gd name="connsiteX26651" fmla="*/ 1778912 w 8079933"/>
              <a:gd name="connsiteY26651" fmla="*/ 593972 h 4687251"/>
              <a:gd name="connsiteX26652" fmla="*/ 1774463 w 8079933"/>
              <a:gd name="connsiteY26652" fmla="*/ 593539 h 4687251"/>
              <a:gd name="connsiteX26653" fmla="*/ 1770340 w 8079933"/>
              <a:gd name="connsiteY26653" fmla="*/ 596029 h 4687251"/>
              <a:gd name="connsiteX26654" fmla="*/ 1767518 w 8079933"/>
              <a:gd name="connsiteY26654" fmla="*/ 596570 h 4687251"/>
              <a:gd name="connsiteX26655" fmla="*/ 1766107 w 8079933"/>
              <a:gd name="connsiteY26655" fmla="*/ 595379 h 4687251"/>
              <a:gd name="connsiteX26656" fmla="*/ 1767844 w 8079933"/>
              <a:gd name="connsiteY26656" fmla="*/ 592348 h 4687251"/>
              <a:gd name="connsiteX26657" fmla="*/ 1764697 w 8079933"/>
              <a:gd name="connsiteY26657" fmla="*/ 589641 h 4687251"/>
              <a:gd name="connsiteX26658" fmla="*/ 1761332 w 8079933"/>
              <a:gd name="connsiteY26658" fmla="*/ 591373 h 4687251"/>
              <a:gd name="connsiteX26659" fmla="*/ 1761549 w 8079933"/>
              <a:gd name="connsiteY26659" fmla="*/ 585527 h 4687251"/>
              <a:gd name="connsiteX26660" fmla="*/ 1764479 w 8079933"/>
              <a:gd name="connsiteY26660" fmla="*/ 581738 h 4687251"/>
              <a:gd name="connsiteX26661" fmla="*/ 1770882 w 8079933"/>
              <a:gd name="connsiteY26661" fmla="*/ 576973 h 4687251"/>
              <a:gd name="connsiteX26662" fmla="*/ 1772076 w 8079933"/>
              <a:gd name="connsiteY26662" fmla="*/ 572751 h 4687251"/>
              <a:gd name="connsiteX26663" fmla="*/ 1775331 w 8079933"/>
              <a:gd name="connsiteY26663" fmla="*/ 569936 h 4687251"/>
              <a:gd name="connsiteX26664" fmla="*/ 1781951 w 8079933"/>
              <a:gd name="connsiteY26664" fmla="*/ 569611 h 4687251"/>
              <a:gd name="connsiteX26665" fmla="*/ 1789438 w 8079933"/>
              <a:gd name="connsiteY26665" fmla="*/ 562790 h 4687251"/>
              <a:gd name="connsiteX26666" fmla="*/ 1793996 w 8079933"/>
              <a:gd name="connsiteY26666" fmla="*/ 562790 h 4687251"/>
              <a:gd name="connsiteX26667" fmla="*/ 1798662 w 8079933"/>
              <a:gd name="connsiteY26667" fmla="*/ 559325 h 4687251"/>
              <a:gd name="connsiteX26668" fmla="*/ 1796166 w 8079933"/>
              <a:gd name="connsiteY26668" fmla="*/ 557377 h 4687251"/>
              <a:gd name="connsiteX26669" fmla="*/ 1792260 w 8079933"/>
              <a:gd name="connsiteY26669" fmla="*/ 557052 h 4687251"/>
              <a:gd name="connsiteX26670" fmla="*/ 1792803 w 8079933"/>
              <a:gd name="connsiteY26670" fmla="*/ 553479 h 4687251"/>
              <a:gd name="connsiteX26671" fmla="*/ 1798771 w 8079933"/>
              <a:gd name="connsiteY26671" fmla="*/ 547957 h 4687251"/>
              <a:gd name="connsiteX26672" fmla="*/ 1816134 w 8079933"/>
              <a:gd name="connsiteY26672" fmla="*/ 539837 h 4687251"/>
              <a:gd name="connsiteX26673" fmla="*/ 1829264 w 8079933"/>
              <a:gd name="connsiteY26673" fmla="*/ 536805 h 4687251"/>
              <a:gd name="connsiteX26674" fmla="*/ 1834798 w 8079933"/>
              <a:gd name="connsiteY26674" fmla="*/ 531933 h 4687251"/>
              <a:gd name="connsiteX26675" fmla="*/ 1856176 w 8079933"/>
              <a:gd name="connsiteY26675" fmla="*/ 523704 h 4687251"/>
              <a:gd name="connsiteX26676" fmla="*/ 1873539 w 8079933"/>
              <a:gd name="connsiteY26676" fmla="*/ 520998 h 4687251"/>
              <a:gd name="connsiteX26677" fmla="*/ 1882654 w 8079933"/>
              <a:gd name="connsiteY26677" fmla="*/ 517316 h 4687251"/>
              <a:gd name="connsiteX26678" fmla="*/ 1891444 w 8079933"/>
              <a:gd name="connsiteY26678" fmla="*/ 515476 h 4687251"/>
              <a:gd name="connsiteX26679" fmla="*/ 3630424 w 8079933"/>
              <a:gd name="connsiteY26679" fmla="*/ 511254 h 4687251"/>
              <a:gd name="connsiteX26680" fmla="*/ 3630207 w 8079933"/>
              <a:gd name="connsiteY26680" fmla="*/ 513420 h 4687251"/>
              <a:gd name="connsiteX26681" fmla="*/ 3629122 w 8079933"/>
              <a:gd name="connsiteY26681" fmla="*/ 514503 h 4687251"/>
              <a:gd name="connsiteX26682" fmla="*/ 3627277 w 8079933"/>
              <a:gd name="connsiteY26682" fmla="*/ 512987 h 4687251"/>
              <a:gd name="connsiteX26683" fmla="*/ 3628254 w 8079933"/>
              <a:gd name="connsiteY26683" fmla="*/ 511363 h 4687251"/>
              <a:gd name="connsiteX26684" fmla="*/ 5300387 w 8079933"/>
              <a:gd name="connsiteY26684" fmla="*/ 507141 h 4687251"/>
              <a:gd name="connsiteX26685" fmla="*/ 5303208 w 8079933"/>
              <a:gd name="connsiteY26685" fmla="*/ 508006 h 4687251"/>
              <a:gd name="connsiteX26686" fmla="*/ 5304836 w 8079933"/>
              <a:gd name="connsiteY26686" fmla="*/ 510822 h 4687251"/>
              <a:gd name="connsiteX26687" fmla="*/ 5311021 w 8079933"/>
              <a:gd name="connsiteY26687" fmla="*/ 512446 h 4687251"/>
              <a:gd name="connsiteX26688" fmla="*/ 5309176 w 8079933"/>
              <a:gd name="connsiteY26688" fmla="*/ 514830 h 4687251"/>
              <a:gd name="connsiteX26689" fmla="*/ 5304510 w 8079933"/>
              <a:gd name="connsiteY26689" fmla="*/ 514612 h 4687251"/>
              <a:gd name="connsiteX26690" fmla="*/ 5298976 w 8079933"/>
              <a:gd name="connsiteY26690" fmla="*/ 512121 h 4687251"/>
              <a:gd name="connsiteX26691" fmla="*/ 5298325 w 8079933"/>
              <a:gd name="connsiteY26691" fmla="*/ 509090 h 4687251"/>
              <a:gd name="connsiteX26692" fmla="*/ 4295415 w 8079933"/>
              <a:gd name="connsiteY26692" fmla="*/ 506382 h 4687251"/>
              <a:gd name="connsiteX26693" fmla="*/ 4297151 w 8079933"/>
              <a:gd name="connsiteY26693" fmla="*/ 511687 h 4687251"/>
              <a:gd name="connsiteX26694" fmla="*/ 4300949 w 8079933"/>
              <a:gd name="connsiteY26694" fmla="*/ 517317 h 4687251"/>
              <a:gd name="connsiteX26695" fmla="*/ 4300624 w 8079933"/>
              <a:gd name="connsiteY26695" fmla="*/ 519808 h 4687251"/>
              <a:gd name="connsiteX26696" fmla="*/ 4296934 w 8079933"/>
              <a:gd name="connsiteY26696" fmla="*/ 520783 h 4687251"/>
              <a:gd name="connsiteX26697" fmla="*/ 4295415 w 8079933"/>
              <a:gd name="connsiteY26697" fmla="*/ 523055 h 4687251"/>
              <a:gd name="connsiteX26698" fmla="*/ 4296500 w 8079933"/>
              <a:gd name="connsiteY26698" fmla="*/ 528902 h 4687251"/>
              <a:gd name="connsiteX26699" fmla="*/ 4302034 w 8079933"/>
              <a:gd name="connsiteY26699" fmla="*/ 534748 h 4687251"/>
              <a:gd name="connsiteX26700" fmla="*/ 4307460 w 8079933"/>
              <a:gd name="connsiteY26700" fmla="*/ 538214 h 4687251"/>
              <a:gd name="connsiteX26701" fmla="*/ 4310607 w 8079933"/>
              <a:gd name="connsiteY26701" fmla="*/ 535398 h 4687251"/>
              <a:gd name="connsiteX26702" fmla="*/ 4316141 w 8079933"/>
              <a:gd name="connsiteY26702" fmla="*/ 532476 h 4687251"/>
              <a:gd name="connsiteX26703" fmla="*/ 4320048 w 8079933"/>
              <a:gd name="connsiteY26703" fmla="*/ 534532 h 4687251"/>
              <a:gd name="connsiteX26704" fmla="*/ 4322111 w 8079933"/>
              <a:gd name="connsiteY26704" fmla="*/ 537132 h 4687251"/>
              <a:gd name="connsiteX26705" fmla="*/ 4326668 w 8079933"/>
              <a:gd name="connsiteY26705" fmla="*/ 539187 h 4687251"/>
              <a:gd name="connsiteX26706" fmla="*/ 4324932 w 8079933"/>
              <a:gd name="connsiteY26706" fmla="*/ 540920 h 4687251"/>
              <a:gd name="connsiteX26707" fmla="*/ 4319723 w 8079933"/>
              <a:gd name="connsiteY26707" fmla="*/ 542978 h 4687251"/>
              <a:gd name="connsiteX26708" fmla="*/ 4315382 w 8079933"/>
              <a:gd name="connsiteY26708" fmla="*/ 549798 h 4687251"/>
              <a:gd name="connsiteX26709" fmla="*/ 4314731 w 8079933"/>
              <a:gd name="connsiteY26709" fmla="*/ 554129 h 4687251"/>
              <a:gd name="connsiteX26710" fmla="*/ 4311584 w 8079933"/>
              <a:gd name="connsiteY26710" fmla="*/ 563765 h 4687251"/>
              <a:gd name="connsiteX26711" fmla="*/ 4307894 w 8079933"/>
              <a:gd name="connsiteY26711" fmla="*/ 564849 h 4687251"/>
              <a:gd name="connsiteX26712" fmla="*/ 4303554 w 8079933"/>
              <a:gd name="connsiteY26712" fmla="*/ 567338 h 4687251"/>
              <a:gd name="connsiteX26713" fmla="*/ 4301166 w 8079933"/>
              <a:gd name="connsiteY26713" fmla="*/ 571020 h 4687251"/>
              <a:gd name="connsiteX26714" fmla="*/ 4301166 w 8079933"/>
              <a:gd name="connsiteY26714" fmla="*/ 574917 h 4687251"/>
              <a:gd name="connsiteX26715" fmla="*/ 4297476 w 8079933"/>
              <a:gd name="connsiteY26715" fmla="*/ 577840 h 4687251"/>
              <a:gd name="connsiteX26716" fmla="*/ 4294763 w 8079933"/>
              <a:gd name="connsiteY26716" fmla="*/ 577732 h 4687251"/>
              <a:gd name="connsiteX26717" fmla="*/ 4293245 w 8079933"/>
              <a:gd name="connsiteY26717" fmla="*/ 573726 h 4687251"/>
              <a:gd name="connsiteX26718" fmla="*/ 4295849 w 8079933"/>
              <a:gd name="connsiteY26718" fmla="*/ 570152 h 4687251"/>
              <a:gd name="connsiteX26719" fmla="*/ 4294981 w 8079933"/>
              <a:gd name="connsiteY26719" fmla="*/ 564631 h 4687251"/>
              <a:gd name="connsiteX26720" fmla="*/ 4296934 w 8079933"/>
              <a:gd name="connsiteY26720" fmla="*/ 557702 h 4687251"/>
              <a:gd name="connsiteX26721" fmla="*/ 4296934 w 8079933"/>
              <a:gd name="connsiteY26721" fmla="*/ 552722 h 4687251"/>
              <a:gd name="connsiteX26722" fmla="*/ 4294981 w 8079933"/>
              <a:gd name="connsiteY26722" fmla="*/ 554346 h 4687251"/>
              <a:gd name="connsiteX26723" fmla="*/ 4291508 w 8079933"/>
              <a:gd name="connsiteY26723" fmla="*/ 553589 h 4687251"/>
              <a:gd name="connsiteX26724" fmla="*/ 4289120 w 8079933"/>
              <a:gd name="connsiteY26724" fmla="*/ 555320 h 4687251"/>
              <a:gd name="connsiteX26725" fmla="*/ 4286299 w 8079933"/>
              <a:gd name="connsiteY26725" fmla="*/ 560842 h 4687251"/>
              <a:gd name="connsiteX26726" fmla="*/ 4283261 w 8079933"/>
              <a:gd name="connsiteY26726" fmla="*/ 563441 h 4687251"/>
              <a:gd name="connsiteX26727" fmla="*/ 4279788 w 8079933"/>
              <a:gd name="connsiteY26727" fmla="*/ 563224 h 4687251"/>
              <a:gd name="connsiteX26728" fmla="*/ 4275230 w 8079933"/>
              <a:gd name="connsiteY26728" fmla="*/ 567555 h 4687251"/>
              <a:gd name="connsiteX26729" fmla="*/ 4270781 w 8079933"/>
              <a:gd name="connsiteY26729" fmla="*/ 568096 h 4687251"/>
              <a:gd name="connsiteX26730" fmla="*/ 4266874 w 8079933"/>
              <a:gd name="connsiteY26730" fmla="*/ 570152 h 4687251"/>
              <a:gd name="connsiteX26731" fmla="*/ 4264921 w 8079933"/>
              <a:gd name="connsiteY26731" fmla="*/ 569829 h 4687251"/>
              <a:gd name="connsiteX26732" fmla="*/ 4264379 w 8079933"/>
              <a:gd name="connsiteY26732" fmla="*/ 566147 h 4687251"/>
              <a:gd name="connsiteX26733" fmla="*/ 4265789 w 8079933"/>
              <a:gd name="connsiteY26733" fmla="*/ 563765 h 4687251"/>
              <a:gd name="connsiteX26734" fmla="*/ 4265247 w 8079933"/>
              <a:gd name="connsiteY26734" fmla="*/ 559435 h 4687251"/>
              <a:gd name="connsiteX26735" fmla="*/ 4268719 w 8079933"/>
              <a:gd name="connsiteY26735" fmla="*/ 556945 h 4687251"/>
              <a:gd name="connsiteX26736" fmla="*/ 4269805 w 8079933"/>
              <a:gd name="connsiteY26736" fmla="*/ 549798 h 4687251"/>
              <a:gd name="connsiteX26737" fmla="*/ 4273277 w 8079933"/>
              <a:gd name="connsiteY26737" fmla="*/ 543627 h 4687251"/>
              <a:gd name="connsiteX26738" fmla="*/ 4273385 w 8079933"/>
              <a:gd name="connsiteY26738" fmla="*/ 538971 h 4687251"/>
              <a:gd name="connsiteX26739" fmla="*/ 4274471 w 8079933"/>
              <a:gd name="connsiteY26739" fmla="*/ 536156 h 4687251"/>
              <a:gd name="connsiteX26740" fmla="*/ 4273603 w 8079933"/>
              <a:gd name="connsiteY26740" fmla="*/ 533558 h 4687251"/>
              <a:gd name="connsiteX26741" fmla="*/ 4269370 w 8079933"/>
              <a:gd name="connsiteY26741" fmla="*/ 533558 h 4687251"/>
              <a:gd name="connsiteX26742" fmla="*/ 4265681 w 8079933"/>
              <a:gd name="connsiteY26742" fmla="*/ 529552 h 4687251"/>
              <a:gd name="connsiteX26743" fmla="*/ 4261666 w 8079933"/>
              <a:gd name="connsiteY26743" fmla="*/ 527169 h 4687251"/>
              <a:gd name="connsiteX26744" fmla="*/ 4263944 w 8079933"/>
              <a:gd name="connsiteY26744" fmla="*/ 522298 h 4687251"/>
              <a:gd name="connsiteX26745" fmla="*/ 4268177 w 8079933"/>
              <a:gd name="connsiteY26745" fmla="*/ 518617 h 4687251"/>
              <a:gd name="connsiteX26746" fmla="*/ 4277509 w 8079933"/>
              <a:gd name="connsiteY26746" fmla="*/ 516451 h 4687251"/>
              <a:gd name="connsiteX26747" fmla="*/ 4282718 w 8079933"/>
              <a:gd name="connsiteY26747" fmla="*/ 516019 h 4687251"/>
              <a:gd name="connsiteX26748" fmla="*/ 4288687 w 8079933"/>
              <a:gd name="connsiteY26748" fmla="*/ 510821 h 4687251"/>
              <a:gd name="connsiteX26749" fmla="*/ 2612863 w 8079933"/>
              <a:gd name="connsiteY26749" fmla="*/ 502374 h 4687251"/>
              <a:gd name="connsiteX26750" fmla="*/ 2610042 w 8079933"/>
              <a:gd name="connsiteY26750" fmla="*/ 507139 h 4687251"/>
              <a:gd name="connsiteX26751" fmla="*/ 2603205 w 8079933"/>
              <a:gd name="connsiteY26751" fmla="*/ 512552 h 4687251"/>
              <a:gd name="connsiteX26752" fmla="*/ 2601795 w 8079933"/>
              <a:gd name="connsiteY26752" fmla="*/ 516125 h 4687251"/>
              <a:gd name="connsiteX26753" fmla="*/ 2603531 w 8079933"/>
              <a:gd name="connsiteY26753" fmla="*/ 519048 h 4687251"/>
              <a:gd name="connsiteX26754" fmla="*/ 2602988 w 8079933"/>
              <a:gd name="connsiteY26754" fmla="*/ 521539 h 4687251"/>
              <a:gd name="connsiteX26755" fmla="*/ 2600601 w 8079933"/>
              <a:gd name="connsiteY26755" fmla="*/ 520889 h 4687251"/>
              <a:gd name="connsiteX26756" fmla="*/ 2598756 w 8079933"/>
              <a:gd name="connsiteY26756" fmla="*/ 517858 h 4687251"/>
              <a:gd name="connsiteX26757" fmla="*/ 2596586 w 8079933"/>
              <a:gd name="connsiteY26757" fmla="*/ 519373 h 4687251"/>
              <a:gd name="connsiteX26758" fmla="*/ 2595066 w 8079933"/>
              <a:gd name="connsiteY26758" fmla="*/ 521647 h 4687251"/>
              <a:gd name="connsiteX26759" fmla="*/ 2593005 w 8079933"/>
              <a:gd name="connsiteY26759" fmla="*/ 521430 h 4687251"/>
              <a:gd name="connsiteX26760" fmla="*/ 2592571 w 8079933"/>
              <a:gd name="connsiteY26760" fmla="*/ 515801 h 4687251"/>
              <a:gd name="connsiteX26761" fmla="*/ 2594958 w 8079933"/>
              <a:gd name="connsiteY26761" fmla="*/ 514393 h 4687251"/>
              <a:gd name="connsiteX26762" fmla="*/ 2597888 w 8079933"/>
              <a:gd name="connsiteY26762" fmla="*/ 510062 h 4687251"/>
              <a:gd name="connsiteX26763" fmla="*/ 2608631 w 8079933"/>
              <a:gd name="connsiteY26763" fmla="*/ 503240 h 4687251"/>
              <a:gd name="connsiteX26764" fmla="*/ 5317316 w 8079933"/>
              <a:gd name="connsiteY26764" fmla="*/ 501186 h 4687251"/>
              <a:gd name="connsiteX26765" fmla="*/ 5320571 w 8079933"/>
              <a:gd name="connsiteY26765" fmla="*/ 503135 h 4687251"/>
              <a:gd name="connsiteX26766" fmla="*/ 5327951 w 8079933"/>
              <a:gd name="connsiteY26766" fmla="*/ 504216 h 4687251"/>
              <a:gd name="connsiteX26767" fmla="*/ 5327299 w 8079933"/>
              <a:gd name="connsiteY26767" fmla="*/ 506057 h 4687251"/>
              <a:gd name="connsiteX26768" fmla="*/ 5323067 w 8079933"/>
              <a:gd name="connsiteY26768" fmla="*/ 507790 h 4687251"/>
              <a:gd name="connsiteX26769" fmla="*/ 5319486 w 8079933"/>
              <a:gd name="connsiteY26769" fmla="*/ 507790 h 4687251"/>
              <a:gd name="connsiteX26770" fmla="*/ 5313951 w 8079933"/>
              <a:gd name="connsiteY26770" fmla="*/ 508765 h 4687251"/>
              <a:gd name="connsiteX26771" fmla="*/ 5311781 w 8079933"/>
              <a:gd name="connsiteY26771" fmla="*/ 507248 h 4687251"/>
              <a:gd name="connsiteX26772" fmla="*/ 5314385 w 8079933"/>
              <a:gd name="connsiteY26772" fmla="*/ 502052 h 4687251"/>
              <a:gd name="connsiteX26773" fmla="*/ 6051756 w 8079933"/>
              <a:gd name="connsiteY26773" fmla="*/ 498913 h 4687251"/>
              <a:gd name="connsiteX26774" fmla="*/ 6055446 w 8079933"/>
              <a:gd name="connsiteY26774" fmla="*/ 498913 h 4687251"/>
              <a:gd name="connsiteX26775" fmla="*/ 6060330 w 8079933"/>
              <a:gd name="connsiteY26775" fmla="*/ 502377 h 4687251"/>
              <a:gd name="connsiteX26776" fmla="*/ 6063368 w 8079933"/>
              <a:gd name="connsiteY26776" fmla="*/ 505409 h 4687251"/>
              <a:gd name="connsiteX26777" fmla="*/ 6063368 w 8079933"/>
              <a:gd name="connsiteY26777" fmla="*/ 507356 h 4687251"/>
              <a:gd name="connsiteX26778" fmla="*/ 6061415 w 8079933"/>
              <a:gd name="connsiteY26778" fmla="*/ 507356 h 4687251"/>
              <a:gd name="connsiteX26779" fmla="*/ 6059570 w 8079933"/>
              <a:gd name="connsiteY26779" fmla="*/ 508874 h 4687251"/>
              <a:gd name="connsiteX26780" fmla="*/ 6053385 w 8079933"/>
              <a:gd name="connsiteY26780" fmla="*/ 508874 h 4687251"/>
              <a:gd name="connsiteX26781" fmla="*/ 6053385 w 8079933"/>
              <a:gd name="connsiteY26781" fmla="*/ 505300 h 4687251"/>
              <a:gd name="connsiteX26782" fmla="*/ 6049586 w 8079933"/>
              <a:gd name="connsiteY26782" fmla="*/ 503026 h 4687251"/>
              <a:gd name="connsiteX26783" fmla="*/ 6049586 w 8079933"/>
              <a:gd name="connsiteY26783" fmla="*/ 500861 h 4687251"/>
              <a:gd name="connsiteX26784" fmla="*/ 2574014 w 8079933"/>
              <a:gd name="connsiteY26784" fmla="*/ 496747 h 4687251"/>
              <a:gd name="connsiteX26785" fmla="*/ 2575425 w 8079933"/>
              <a:gd name="connsiteY26785" fmla="*/ 498587 h 4687251"/>
              <a:gd name="connsiteX26786" fmla="*/ 2573689 w 8079933"/>
              <a:gd name="connsiteY26786" fmla="*/ 501186 h 4687251"/>
              <a:gd name="connsiteX26787" fmla="*/ 2571301 w 8079933"/>
              <a:gd name="connsiteY26787" fmla="*/ 501186 h 4687251"/>
              <a:gd name="connsiteX26788" fmla="*/ 2569348 w 8079933"/>
              <a:gd name="connsiteY26788" fmla="*/ 498912 h 4687251"/>
              <a:gd name="connsiteX26789" fmla="*/ 5053946 w 8079933"/>
              <a:gd name="connsiteY26789" fmla="*/ 492308 h 4687251"/>
              <a:gd name="connsiteX26790" fmla="*/ 5055791 w 8079933"/>
              <a:gd name="connsiteY26790" fmla="*/ 494798 h 4687251"/>
              <a:gd name="connsiteX26791" fmla="*/ 5055791 w 8079933"/>
              <a:gd name="connsiteY26791" fmla="*/ 498697 h 4687251"/>
              <a:gd name="connsiteX26792" fmla="*/ 5058395 w 8079933"/>
              <a:gd name="connsiteY26792" fmla="*/ 502161 h 4687251"/>
              <a:gd name="connsiteX26793" fmla="*/ 5062844 w 8079933"/>
              <a:gd name="connsiteY26793" fmla="*/ 502811 h 4687251"/>
              <a:gd name="connsiteX26794" fmla="*/ 5065232 w 8079933"/>
              <a:gd name="connsiteY26794" fmla="*/ 505409 h 4687251"/>
              <a:gd name="connsiteX26795" fmla="*/ 5070115 w 8079933"/>
              <a:gd name="connsiteY26795" fmla="*/ 506058 h 4687251"/>
              <a:gd name="connsiteX26796" fmla="*/ 5071525 w 8079933"/>
              <a:gd name="connsiteY26796" fmla="*/ 508116 h 4687251"/>
              <a:gd name="connsiteX26797" fmla="*/ 5069138 w 8079933"/>
              <a:gd name="connsiteY26797" fmla="*/ 513963 h 4687251"/>
              <a:gd name="connsiteX26798" fmla="*/ 5069138 w 8079933"/>
              <a:gd name="connsiteY26798" fmla="*/ 520027 h 4687251"/>
              <a:gd name="connsiteX26799" fmla="*/ 5072285 w 8079933"/>
              <a:gd name="connsiteY26799" fmla="*/ 520027 h 4687251"/>
              <a:gd name="connsiteX26800" fmla="*/ 5073804 w 8079933"/>
              <a:gd name="connsiteY26800" fmla="*/ 521218 h 4687251"/>
              <a:gd name="connsiteX26801" fmla="*/ 5073804 w 8079933"/>
              <a:gd name="connsiteY26801" fmla="*/ 527712 h 4687251"/>
              <a:gd name="connsiteX26802" fmla="*/ 5074455 w 8079933"/>
              <a:gd name="connsiteY26802" fmla="*/ 531719 h 4687251"/>
              <a:gd name="connsiteX26803" fmla="*/ 5072177 w 8079933"/>
              <a:gd name="connsiteY26803" fmla="*/ 536159 h 4687251"/>
              <a:gd name="connsiteX26804" fmla="*/ 5073587 w 8079933"/>
              <a:gd name="connsiteY26804" fmla="*/ 538432 h 4687251"/>
              <a:gd name="connsiteX26805" fmla="*/ 5073587 w 8079933"/>
              <a:gd name="connsiteY26805" fmla="*/ 541572 h 4687251"/>
              <a:gd name="connsiteX26806" fmla="*/ 5070006 w 8079933"/>
              <a:gd name="connsiteY26806" fmla="*/ 543088 h 4687251"/>
              <a:gd name="connsiteX26807" fmla="*/ 5067402 w 8079933"/>
              <a:gd name="connsiteY26807" fmla="*/ 543088 h 4687251"/>
              <a:gd name="connsiteX26808" fmla="*/ 5063604 w 8079933"/>
              <a:gd name="connsiteY26808" fmla="*/ 545469 h 4687251"/>
              <a:gd name="connsiteX26809" fmla="*/ 5056876 w 8079933"/>
              <a:gd name="connsiteY26809" fmla="*/ 553698 h 4687251"/>
              <a:gd name="connsiteX26810" fmla="*/ 5052426 w 8079933"/>
              <a:gd name="connsiteY26810" fmla="*/ 557272 h 4687251"/>
              <a:gd name="connsiteX26811" fmla="*/ 5044830 w 8079933"/>
              <a:gd name="connsiteY26811" fmla="*/ 559544 h 4687251"/>
              <a:gd name="connsiteX26812" fmla="*/ 5038428 w 8079933"/>
              <a:gd name="connsiteY26812" fmla="*/ 565066 h 4687251"/>
              <a:gd name="connsiteX26813" fmla="*/ 5035715 w 8079933"/>
              <a:gd name="connsiteY26813" fmla="*/ 565066 h 4687251"/>
              <a:gd name="connsiteX26814" fmla="*/ 5028010 w 8079933"/>
              <a:gd name="connsiteY26814" fmla="*/ 571238 h 4687251"/>
              <a:gd name="connsiteX26815" fmla="*/ 5018352 w 8079933"/>
              <a:gd name="connsiteY26815" fmla="*/ 582065 h 4687251"/>
              <a:gd name="connsiteX26816" fmla="*/ 5009562 w 8079933"/>
              <a:gd name="connsiteY26816" fmla="*/ 588561 h 4687251"/>
              <a:gd name="connsiteX26817" fmla="*/ 5005764 w 8079933"/>
              <a:gd name="connsiteY26817" fmla="*/ 588561 h 4687251"/>
              <a:gd name="connsiteX26818" fmla="*/ 5003051 w 8079933"/>
              <a:gd name="connsiteY26818" fmla="*/ 597114 h 4687251"/>
              <a:gd name="connsiteX26819" fmla="*/ 4999253 w 8079933"/>
              <a:gd name="connsiteY26819" fmla="*/ 603828 h 4687251"/>
              <a:gd name="connsiteX26820" fmla="*/ 4992308 w 8079933"/>
              <a:gd name="connsiteY26820" fmla="*/ 608158 h 4687251"/>
              <a:gd name="connsiteX26821" fmla="*/ 4991657 w 8079933"/>
              <a:gd name="connsiteY26821" fmla="*/ 614004 h 4687251"/>
              <a:gd name="connsiteX26822" fmla="*/ 4988944 w 8079933"/>
              <a:gd name="connsiteY26822" fmla="*/ 616603 h 4687251"/>
              <a:gd name="connsiteX26823" fmla="*/ 4987208 w 8079933"/>
              <a:gd name="connsiteY26823" fmla="*/ 621908 h 4687251"/>
              <a:gd name="connsiteX26824" fmla="*/ 4980479 w 8079933"/>
              <a:gd name="connsiteY26824" fmla="*/ 630462 h 4687251"/>
              <a:gd name="connsiteX26825" fmla="*/ 4977550 w 8079933"/>
              <a:gd name="connsiteY26825" fmla="*/ 632844 h 4687251"/>
              <a:gd name="connsiteX26826" fmla="*/ 4975271 w 8079933"/>
              <a:gd name="connsiteY26826" fmla="*/ 628729 h 4687251"/>
              <a:gd name="connsiteX26827" fmla="*/ 4972883 w 8079933"/>
              <a:gd name="connsiteY26827" fmla="*/ 632844 h 4687251"/>
              <a:gd name="connsiteX26828" fmla="*/ 4974837 w 8079933"/>
              <a:gd name="connsiteY26828" fmla="*/ 636308 h 4687251"/>
              <a:gd name="connsiteX26829" fmla="*/ 4978743 w 8079933"/>
              <a:gd name="connsiteY26829" fmla="*/ 638906 h 4687251"/>
              <a:gd name="connsiteX26830" fmla="*/ 4977550 w 8079933"/>
              <a:gd name="connsiteY26830" fmla="*/ 642370 h 4687251"/>
              <a:gd name="connsiteX26831" fmla="*/ 4971364 w 8079933"/>
              <a:gd name="connsiteY26831" fmla="*/ 645293 h 4687251"/>
              <a:gd name="connsiteX26832" fmla="*/ 4970496 w 8079933"/>
              <a:gd name="connsiteY26832" fmla="*/ 647242 h 4687251"/>
              <a:gd name="connsiteX26833" fmla="*/ 4972015 w 8079933"/>
              <a:gd name="connsiteY26833" fmla="*/ 648974 h 4687251"/>
              <a:gd name="connsiteX26834" fmla="*/ 4972015 w 8079933"/>
              <a:gd name="connsiteY26834" fmla="*/ 653738 h 4687251"/>
              <a:gd name="connsiteX26835" fmla="*/ 4968543 w 8079933"/>
              <a:gd name="connsiteY26835" fmla="*/ 656878 h 4687251"/>
              <a:gd name="connsiteX26836" fmla="*/ 4965830 w 8079933"/>
              <a:gd name="connsiteY26836" fmla="*/ 655470 h 4687251"/>
              <a:gd name="connsiteX26837" fmla="*/ 4962032 w 8079933"/>
              <a:gd name="connsiteY26837" fmla="*/ 655470 h 4687251"/>
              <a:gd name="connsiteX26838" fmla="*/ 4962032 w 8079933"/>
              <a:gd name="connsiteY26838" fmla="*/ 658069 h 4687251"/>
              <a:gd name="connsiteX26839" fmla="*/ 4965504 w 8079933"/>
              <a:gd name="connsiteY26839" fmla="*/ 660343 h 4687251"/>
              <a:gd name="connsiteX26840" fmla="*/ 4963551 w 8079933"/>
              <a:gd name="connsiteY26840" fmla="*/ 663050 h 4687251"/>
              <a:gd name="connsiteX26841" fmla="*/ 4957366 w 8079933"/>
              <a:gd name="connsiteY26841" fmla="*/ 660668 h 4687251"/>
              <a:gd name="connsiteX26842" fmla="*/ 4953242 w 8079933"/>
              <a:gd name="connsiteY26842" fmla="*/ 657744 h 4687251"/>
              <a:gd name="connsiteX26843" fmla="*/ 4950312 w 8079933"/>
              <a:gd name="connsiteY26843" fmla="*/ 658611 h 4687251"/>
              <a:gd name="connsiteX26844" fmla="*/ 4950312 w 8079933"/>
              <a:gd name="connsiteY26844" fmla="*/ 664566 h 4687251"/>
              <a:gd name="connsiteX26845" fmla="*/ 4953459 w 8079933"/>
              <a:gd name="connsiteY26845" fmla="*/ 664566 h 4687251"/>
              <a:gd name="connsiteX26846" fmla="*/ 4954653 w 8079933"/>
              <a:gd name="connsiteY26846" fmla="*/ 665973 h 4687251"/>
              <a:gd name="connsiteX26847" fmla="*/ 4952808 w 8079933"/>
              <a:gd name="connsiteY26847" fmla="*/ 671170 h 4687251"/>
              <a:gd name="connsiteX26848" fmla="*/ 4949552 w 8079933"/>
              <a:gd name="connsiteY26848" fmla="*/ 672036 h 4687251"/>
              <a:gd name="connsiteX26849" fmla="*/ 4945754 w 8079933"/>
              <a:gd name="connsiteY26849" fmla="*/ 668572 h 4687251"/>
              <a:gd name="connsiteX26850" fmla="*/ 4942282 w 8079933"/>
              <a:gd name="connsiteY26850" fmla="*/ 668572 h 4687251"/>
              <a:gd name="connsiteX26851" fmla="*/ 4947274 w 8079933"/>
              <a:gd name="connsiteY26851" fmla="*/ 674743 h 4687251"/>
              <a:gd name="connsiteX26852" fmla="*/ 4950855 w 8079933"/>
              <a:gd name="connsiteY26852" fmla="*/ 679182 h 4687251"/>
              <a:gd name="connsiteX26853" fmla="*/ 4950855 w 8079933"/>
              <a:gd name="connsiteY26853" fmla="*/ 683621 h 4687251"/>
              <a:gd name="connsiteX26854" fmla="*/ 4948142 w 8079933"/>
              <a:gd name="connsiteY26854" fmla="*/ 688385 h 4687251"/>
              <a:gd name="connsiteX26855" fmla="*/ 4948142 w 8079933"/>
              <a:gd name="connsiteY26855" fmla="*/ 691308 h 4687251"/>
              <a:gd name="connsiteX26856" fmla="*/ 4949987 w 8079933"/>
              <a:gd name="connsiteY26856" fmla="*/ 693149 h 4687251"/>
              <a:gd name="connsiteX26857" fmla="*/ 4949987 w 8079933"/>
              <a:gd name="connsiteY26857" fmla="*/ 696288 h 4687251"/>
              <a:gd name="connsiteX26858" fmla="*/ 4948793 w 8079933"/>
              <a:gd name="connsiteY26858" fmla="*/ 698996 h 4687251"/>
              <a:gd name="connsiteX26859" fmla="*/ 4944669 w 8079933"/>
              <a:gd name="connsiteY26859" fmla="*/ 697804 h 4687251"/>
              <a:gd name="connsiteX26860" fmla="*/ 4940220 w 8079933"/>
              <a:gd name="connsiteY26860" fmla="*/ 695747 h 4687251"/>
              <a:gd name="connsiteX26861" fmla="*/ 4939569 w 8079933"/>
              <a:gd name="connsiteY26861" fmla="*/ 692282 h 4687251"/>
              <a:gd name="connsiteX26862" fmla="*/ 4936313 w 8079933"/>
              <a:gd name="connsiteY26862" fmla="*/ 688493 h 4687251"/>
              <a:gd name="connsiteX26863" fmla="*/ 4934903 w 8079933"/>
              <a:gd name="connsiteY26863" fmla="*/ 691092 h 4687251"/>
              <a:gd name="connsiteX26864" fmla="*/ 4939569 w 8079933"/>
              <a:gd name="connsiteY26864" fmla="*/ 697588 h 4687251"/>
              <a:gd name="connsiteX26865" fmla="*/ 4944561 w 8079933"/>
              <a:gd name="connsiteY26865" fmla="*/ 704301 h 4687251"/>
              <a:gd name="connsiteX26866" fmla="*/ 4946406 w 8079933"/>
              <a:gd name="connsiteY26866" fmla="*/ 711338 h 4687251"/>
              <a:gd name="connsiteX26867" fmla="*/ 4944126 w 8079933"/>
              <a:gd name="connsiteY26867" fmla="*/ 714478 h 4687251"/>
              <a:gd name="connsiteX26868" fmla="*/ 4941739 w 8079933"/>
              <a:gd name="connsiteY26868" fmla="*/ 713071 h 4687251"/>
              <a:gd name="connsiteX26869" fmla="*/ 4941739 w 8079933"/>
              <a:gd name="connsiteY26869" fmla="*/ 710147 h 4687251"/>
              <a:gd name="connsiteX26870" fmla="*/ 4939135 w 8079933"/>
              <a:gd name="connsiteY26870" fmla="*/ 706358 h 4687251"/>
              <a:gd name="connsiteX26871" fmla="*/ 4935988 w 8079933"/>
              <a:gd name="connsiteY26871" fmla="*/ 707441 h 4687251"/>
              <a:gd name="connsiteX26872" fmla="*/ 4932190 w 8079933"/>
              <a:gd name="connsiteY26872" fmla="*/ 706358 h 4687251"/>
              <a:gd name="connsiteX26873" fmla="*/ 4929477 w 8079933"/>
              <a:gd name="connsiteY26873" fmla="*/ 707765 h 4687251"/>
              <a:gd name="connsiteX26874" fmla="*/ 4931213 w 8079933"/>
              <a:gd name="connsiteY26874" fmla="*/ 710039 h 4687251"/>
              <a:gd name="connsiteX26875" fmla="*/ 4934469 w 8079933"/>
              <a:gd name="connsiteY26875" fmla="*/ 710039 h 4687251"/>
              <a:gd name="connsiteX26876" fmla="*/ 4938918 w 8079933"/>
              <a:gd name="connsiteY26876" fmla="*/ 711121 h 4687251"/>
              <a:gd name="connsiteX26877" fmla="*/ 4941523 w 8079933"/>
              <a:gd name="connsiteY26877" fmla="*/ 716968 h 4687251"/>
              <a:gd name="connsiteX26878" fmla="*/ 4944777 w 8079933"/>
              <a:gd name="connsiteY26878" fmla="*/ 719892 h 4687251"/>
              <a:gd name="connsiteX26879" fmla="*/ 4944126 w 8079933"/>
              <a:gd name="connsiteY26879" fmla="*/ 724222 h 4687251"/>
              <a:gd name="connsiteX26880" fmla="*/ 4940980 w 8079933"/>
              <a:gd name="connsiteY26880" fmla="*/ 729419 h 4687251"/>
              <a:gd name="connsiteX26881" fmla="*/ 4940980 w 8079933"/>
              <a:gd name="connsiteY26881" fmla="*/ 734616 h 4687251"/>
              <a:gd name="connsiteX26882" fmla="*/ 4938592 w 8079933"/>
              <a:gd name="connsiteY26882" fmla="*/ 740463 h 4687251"/>
              <a:gd name="connsiteX26883" fmla="*/ 4935011 w 8079933"/>
              <a:gd name="connsiteY26883" fmla="*/ 741329 h 4687251"/>
              <a:gd name="connsiteX26884" fmla="*/ 4933817 w 8079933"/>
              <a:gd name="connsiteY26884" fmla="*/ 743928 h 4687251"/>
              <a:gd name="connsiteX26885" fmla="*/ 4926872 w 8079933"/>
              <a:gd name="connsiteY26885" fmla="*/ 743928 h 4687251"/>
              <a:gd name="connsiteX26886" fmla="*/ 4922858 w 8079933"/>
              <a:gd name="connsiteY26886" fmla="*/ 741871 h 4687251"/>
              <a:gd name="connsiteX26887" fmla="*/ 4920578 w 8079933"/>
              <a:gd name="connsiteY26887" fmla="*/ 737215 h 4687251"/>
              <a:gd name="connsiteX26888" fmla="*/ 4918517 w 8079933"/>
              <a:gd name="connsiteY26888" fmla="*/ 736565 h 4687251"/>
              <a:gd name="connsiteX26889" fmla="*/ 4918517 w 8079933"/>
              <a:gd name="connsiteY26889" fmla="*/ 740030 h 4687251"/>
              <a:gd name="connsiteX26890" fmla="*/ 4920578 w 8079933"/>
              <a:gd name="connsiteY26890" fmla="*/ 742628 h 4687251"/>
              <a:gd name="connsiteX26891" fmla="*/ 4916997 w 8079933"/>
              <a:gd name="connsiteY26891" fmla="*/ 744686 h 4687251"/>
              <a:gd name="connsiteX26892" fmla="*/ 4911680 w 8079933"/>
              <a:gd name="connsiteY26892" fmla="*/ 743494 h 4687251"/>
              <a:gd name="connsiteX26893" fmla="*/ 4909401 w 8079933"/>
              <a:gd name="connsiteY26893" fmla="*/ 740788 h 4687251"/>
              <a:gd name="connsiteX26894" fmla="*/ 4904952 w 8079933"/>
              <a:gd name="connsiteY26894" fmla="*/ 739705 h 4687251"/>
              <a:gd name="connsiteX26895" fmla="*/ 4899309 w 8079933"/>
              <a:gd name="connsiteY26895" fmla="*/ 742304 h 4687251"/>
              <a:gd name="connsiteX26896" fmla="*/ 4892472 w 8079933"/>
              <a:gd name="connsiteY26896" fmla="*/ 745769 h 4687251"/>
              <a:gd name="connsiteX26897" fmla="*/ 4885419 w 8079933"/>
              <a:gd name="connsiteY26897" fmla="*/ 745769 h 4687251"/>
              <a:gd name="connsiteX26898" fmla="*/ 4885419 w 8079933"/>
              <a:gd name="connsiteY26898" fmla="*/ 743494 h 4687251"/>
              <a:gd name="connsiteX26899" fmla="*/ 4886504 w 8079933"/>
              <a:gd name="connsiteY26899" fmla="*/ 741546 h 4687251"/>
              <a:gd name="connsiteX26900" fmla="*/ 4885202 w 8079933"/>
              <a:gd name="connsiteY26900" fmla="*/ 737539 h 4687251"/>
              <a:gd name="connsiteX26901" fmla="*/ 4886179 w 8079933"/>
              <a:gd name="connsiteY26901" fmla="*/ 733426 h 4687251"/>
              <a:gd name="connsiteX26902" fmla="*/ 4888783 w 8079933"/>
              <a:gd name="connsiteY26902" fmla="*/ 729528 h 4687251"/>
              <a:gd name="connsiteX26903" fmla="*/ 4895185 w 8079933"/>
              <a:gd name="connsiteY26903" fmla="*/ 725738 h 4687251"/>
              <a:gd name="connsiteX26904" fmla="*/ 4896813 w 8079933"/>
              <a:gd name="connsiteY26904" fmla="*/ 723031 h 4687251"/>
              <a:gd name="connsiteX26905" fmla="*/ 4899526 w 8079933"/>
              <a:gd name="connsiteY26905" fmla="*/ 723031 h 4687251"/>
              <a:gd name="connsiteX26906" fmla="*/ 4902456 w 8079933"/>
              <a:gd name="connsiteY26906" fmla="*/ 725414 h 4687251"/>
              <a:gd name="connsiteX26907" fmla="*/ 4904518 w 8079933"/>
              <a:gd name="connsiteY26907" fmla="*/ 725414 h 4687251"/>
              <a:gd name="connsiteX26908" fmla="*/ 4904518 w 8079933"/>
              <a:gd name="connsiteY26908" fmla="*/ 723139 h 4687251"/>
              <a:gd name="connsiteX26909" fmla="*/ 4902239 w 8079933"/>
              <a:gd name="connsiteY26909" fmla="*/ 721082 h 4687251"/>
              <a:gd name="connsiteX26910" fmla="*/ 4897356 w 8079933"/>
              <a:gd name="connsiteY26910" fmla="*/ 721082 h 4687251"/>
              <a:gd name="connsiteX26911" fmla="*/ 4892472 w 8079933"/>
              <a:gd name="connsiteY26911" fmla="*/ 722815 h 4687251"/>
              <a:gd name="connsiteX26912" fmla="*/ 4886396 w 8079933"/>
              <a:gd name="connsiteY26912" fmla="*/ 727687 h 4687251"/>
              <a:gd name="connsiteX26913" fmla="*/ 4883140 w 8079933"/>
              <a:gd name="connsiteY26913" fmla="*/ 729528 h 4687251"/>
              <a:gd name="connsiteX26914" fmla="*/ 4881946 w 8079933"/>
              <a:gd name="connsiteY26914" fmla="*/ 732235 h 4687251"/>
              <a:gd name="connsiteX26915" fmla="*/ 4879993 w 8079933"/>
              <a:gd name="connsiteY26915" fmla="*/ 733534 h 4687251"/>
              <a:gd name="connsiteX26916" fmla="*/ 4875652 w 8079933"/>
              <a:gd name="connsiteY26916" fmla="*/ 731260 h 4687251"/>
              <a:gd name="connsiteX26917" fmla="*/ 4870444 w 8079933"/>
              <a:gd name="connsiteY26917" fmla="*/ 726063 h 4687251"/>
              <a:gd name="connsiteX26918" fmla="*/ 4870444 w 8079933"/>
              <a:gd name="connsiteY26918" fmla="*/ 724547 h 4687251"/>
              <a:gd name="connsiteX26919" fmla="*/ 4874459 w 8079933"/>
              <a:gd name="connsiteY26919" fmla="*/ 723465 h 4687251"/>
              <a:gd name="connsiteX26920" fmla="*/ 4875870 w 8079933"/>
              <a:gd name="connsiteY26920" fmla="*/ 721516 h 4687251"/>
              <a:gd name="connsiteX26921" fmla="*/ 4875110 w 8079933"/>
              <a:gd name="connsiteY26921" fmla="*/ 719783 h 4687251"/>
              <a:gd name="connsiteX26922" fmla="*/ 4876520 w 8079933"/>
              <a:gd name="connsiteY26922" fmla="*/ 715994 h 4687251"/>
              <a:gd name="connsiteX26923" fmla="*/ 4879342 w 8079933"/>
              <a:gd name="connsiteY26923" fmla="*/ 712529 h 4687251"/>
              <a:gd name="connsiteX26924" fmla="*/ 4881513 w 8079933"/>
              <a:gd name="connsiteY26924" fmla="*/ 712529 h 4687251"/>
              <a:gd name="connsiteX26925" fmla="*/ 4884334 w 8079933"/>
              <a:gd name="connsiteY26925" fmla="*/ 711880 h 4687251"/>
              <a:gd name="connsiteX26926" fmla="*/ 4884985 w 8079933"/>
              <a:gd name="connsiteY26926" fmla="*/ 709714 h 4687251"/>
              <a:gd name="connsiteX26927" fmla="*/ 4883249 w 8079933"/>
              <a:gd name="connsiteY26927" fmla="*/ 707657 h 4687251"/>
              <a:gd name="connsiteX26928" fmla="*/ 4883249 w 8079933"/>
              <a:gd name="connsiteY26928" fmla="*/ 705058 h 4687251"/>
              <a:gd name="connsiteX26929" fmla="*/ 4885093 w 8079933"/>
              <a:gd name="connsiteY26929" fmla="*/ 703326 h 4687251"/>
              <a:gd name="connsiteX26930" fmla="*/ 4885853 w 8079933"/>
              <a:gd name="connsiteY26930" fmla="*/ 700186 h 4687251"/>
              <a:gd name="connsiteX26931" fmla="*/ 4888566 w 8079933"/>
              <a:gd name="connsiteY26931" fmla="*/ 697480 h 4687251"/>
              <a:gd name="connsiteX26932" fmla="*/ 4892690 w 8079933"/>
              <a:gd name="connsiteY26932" fmla="*/ 697480 h 4687251"/>
              <a:gd name="connsiteX26933" fmla="*/ 4896596 w 8079933"/>
              <a:gd name="connsiteY26933" fmla="*/ 699862 h 4687251"/>
              <a:gd name="connsiteX26934" fmla="*/ 4900828 w 8079933"/>
              <a:gd name="connsiteY26934" fmla="*/ 699862 h 4687251"/>
              <a:gd name="connsiteX26935" fmla="*/ 4905603 w 8079933"/>
              <a:gd name="connsiteY26935" fmla="*/ 701919 h 4687251"/>
              <a:gd name="connsiteX26936" fmla="*/ 4908751 w 8079933"/>
              <a:gd name="connsiteY26936" fmla="*/ 705600 h 4687251"/>
              <a:gd name="connsiteX26937" fmla="*/ 4908751 w 8079933"/>
              <a:gd name="connsiteY26937" fmla="*/ 702568 h 4687251"/>
              <a:gd name="connsiteX26938" fmla="*/ 4908751 w 8079933"/>
              <a:gd name="connsiteY26938" fmla="*/ 701161 h 4687251"/>
              <a:gd name="connsiteX26939" fmla="*/ 4904952 w 8079933"/>
              <a:gd name="connsiteY26939" fmla="*/ 699645 h 4687251"/>
              <a:gd name="connsiteX26940" fmla="*/ 4898333 w 8079933"/>
              <a:gd name="connsiteY26940" fmla="*/ 695423 h 4687251"/>
              <a:gd name="connsiteX26941" fmla="*/ 4892472 w 8079933"/>
              <a:gd name="connsiteY26941" fmla="*/ 694665 h 4687251"/>
              <a:gd name="connsiteX26942" fmla="*/ 4890954 w 8079933"/>
              <a:gd name="connsiteY26942" fmla="*/ 693690 h 4687251"/>
              <a:gd name="connsiteX26943" fmla="*/ 4890954 w 8079933"/>
              <a:gd name="connsiteY26943" fmla="*/ 691200 h 4687251"/>
              <a:gd name="connsiteX26944" fmla="*/ 4895728 w 8079933"/>
              <a:gd name="connsiteY26944" fmla="*/ 690442 h 4687251"/>
              <a:gd name="connsiteX26945" fmla="*/ 4898658 w 8079933"/>
              <a:gd name="connsiteY26945" fmla="*/ 689359 h 4687251"/>
              <a:gd name="connsiteX26946" fmla="*/ 4898658 w 8079933"/>
              <a:gd name="connsiteY26946" fmla="*/ 687411 h 4687251"/>
              <a:gd name="connsiteX26947" fmla="*/ 4893883 w 8079933"/>
              <a:gd name="connsiteY26947" fmla="*/ 687411 h 4687251"/>
              <a:gd name="connsiteX26948" fmla="*/ 4889759 w 8079933"/>
              <a:gd name="connsiteY26948" fmla="*/ 688060 h 4687251"/>
              <a:gd name="connsiteX26949" fmla="*/ 4887481 w 8079933"/>
              <a:gd name="connsiteY26949" fmla="*/ 686436 h 4687251"/>
              <a:gd name="connsiteX26950" fmla="*/ 4887481 w 8079933"/>
              <a:gd name="connsiteY26950" fmla="*/ 683837 h 4687251"/>
              <a:gd name="connsiteX26951" fmla="*/ 4890194 w 8079933"/>
              <a:gd name="connsiteY26951" fmla="*/ 681889 h 4687251"/>
              <a:gd name="connsiteX26952" fmla="*/ 4895837 w 8079933"/>
              <a:gd name="connsiteY26952" fmla="*/ 681889 h 4687251"/>
              <a:gd name="connsiteX26953" fmla="*/ 4901154 w 8079933"/>
              <a:gd name="connsiteY26953" fmla="*/ 679615 h 4687251"/>
              <a:gd name="connsiteX26954" fmla="*/ 4902239 w 8079933"/>
              <a:gd name="connsiteY26954" fmla="*/ 677774 h 4687251"/>
              <a:gd name="connsiteX26955" fmla="*/ 4900720 w 8079933"/>
              <a:gd name="connsiteY26955" fmla="*/ 676258 h 4687251"/>
              <a:gd name="connsiteX26956" fmla="*/ 4897573 w 8079933"/>
              <a:gd name="connsiteY26956" fmla="*/ 677558 h 4687251"/>
              <a:gd name="connsiteX26957" fmla="*/ 4894426 w 8079933"/>
              <a:gd name="connsiteY26957" fmla="*/ 676908 h 4687251"/>
              <a:gd name="connsiteX26958" fmla="*/ 4890736 w 8079933"/>
              <a:gd name="connsiteY26958" fmla="*/ 674851 h 4687251"/>
              <a:gd name="connsiteX26959" fmla="*/ 4889217 w 8079933"/>
              <a:gd name="connsiteY26959" fmla="*/ 669870 h 4687251"/>
              <a:gd name="connsiteX26960" fmla="*/ 4890954 w 8079933"/>
              <a:gd name="connsiteY26960" fmla="*/ 666839 h 4687251"/>
              <a:gd name="connsiteX26961" fmla="*/ 4893666 w 8079933"/>
              <a:gd name="connsiteY26961" fmla="*/ 667922 h 4687251"/>
              <a:gd name="connsiteX26962" fmla="*/ 4895837 w 8079933"/>
              <a:gd name="connsiteY26962" fmla="*/ 665215 h 4687251"/>
              <a:gd name="connsiteX26963" fmla="*/ 4901588 w 8079933"/>
              <a:gd name="connsiteY26963" fmla="*/ 665215 h 4687251"/>
              <a:gd name="connsiteX26964" fmla="*/ 4905278 w 8079933"/>
              <a:gd name="connsiteY26964" fmla="*/ 664349 h 4687251"/>
              <a:gd name="connsiteX26965" fmla="*/ 4906906 w 8079933"/>
              <a:gd name="connsiteY26965" fmla="*/ 661101 h 4687251"/>
              <a:gd name="connsiteX26966" fmla="*/ 4905494 w 8079933"/>
              <a:gd name="connsiteY26966" fmla="*/ 659909 h 4687251"/>
              <a:gd name="connsiteX26967" fmla="*/ 4902456 w 8079933"/>
              <a:gd name="connsiteY26967" fmla="*/ 661967 h 4687251"/>
              <a:gd name="connsiteX26968" fmla="*/ 4897681 w 8079933"/>
              <a:gd name="connsiteY26968" fmla="*/ 661967 h 4687251"/>
              <a:gd name="connsiteX26969" fmla="*/ 4895728 w 8079933"/>
              <a:gd name="connsiteY26969" fmla="*/ 660560 h 4687251"/>
              <a:gd name="connsiteX26970" fmla="*/ 4893666 w 8079933"/>
              <a:gd name="connsiteY26970" fmla="*/ 660560 h 4687251"/>
              <a:gd name="connsiteX26971" fmla="*/ 4891279 w 8079933"/>
              <a:gd name="connsiteY26971" fmla="*/ 663374 h 4687251"/>
              <a:gd name="connsiteX26972" fmla="*/ 4888349 w 8079933"/>
              <a:gd name="connsiteY26972" fmla="*/ 661858 h 4687251"/>
              <a:gd name="connsiteX26973" fmla="*/ 4887698 w 8079933"/>
              <a:gd name="connsiteY26973" fmla="*/ 659585 h 4687251"/>
              <a:gd name="connsiteX26974" fmla="*/ 4889977 w 8079933"/>
              <a:gd name="connsiteY26974" fmla="*/ 654605 h 4687251"/>
              <a:gd name="connsiteX26975" fmla="*/ 4889977 w 8079933"/>
              <a:gd name="connsiteY26975" fmla="*/ 651464 h 4687251"/>
              <a:gd name="connsiteX26976" fmla="*/ 4888457 w 8079933"/>
              <a:gd name="connsiteY26976" fmla="*/ 650815 h 4687251"/>
              <a:gd name="connsiteX26977" fmla="*/ 4885419 w 8079933"/>
              <a:gd name="connsiteY26977" fmla="*/ 651789 h 4687251"/>
              <a:gd name="connsiteX26978" fmla="*/ 4881187 w 8079933"/>
              <a:gd name="connsiteY26978" fmla="*/ 648325 h 4687251"/>
              <a:gd name="connsiteX26979" fmla="*/ 4880210 w 8079933"/>
              <a:gd name="connsiteY26979" fmla="*/ 643128 h 4687251"/>
              <a:gd name="connsiteX26980" fmla="*/ 4881513 w 8079933"/>
              <a:gd name="connsiteY26980" fmla="*/ 637067 h 4687251"/>
              <a:gd name="connsiteX26981" fmla="*/ 4883357 w 8079933"/>
              <a:gd name="connsiteY26981" fmla="*/ 636093 h 4687251"/>
              <a:gd name="connsiteX26982" fmla="*/ 4884551 w 8079933"/>
              <a:gd name="connsiteY26982" fmla="*/ 639340 h 4687251"/>
              <a:gd name="connsiteX26983" fmla="*/ 4887047 w 8079933"/>
              <a:gd name="connsiteY26983" fmla="*/ 642478 h 4687251"/>
              <a:gd name="connsiteX26984" fmla="*/ 4890411 w 8079933"/>
              <a:gd name="connsiteY26984" fmla="*/ 644319 h 4687251"/>
              <a:gd name="connsiteX26985" fmla="*/ 4894752 w 8079933"/>
              <a:gd name="connsiteY26985" fmla="*/ 640639 h 4687251"/>
              <a:gd name="connsiteX26986" fmla="*/ 4896813 w 8079933"/>
              <a:gd name="connsiteY26986" fmla="*/ 636634 h 4687251"/>
              <a:gd name="connsiteX26987" fmla="*/ 4896813 w 8079933"/>
              <a:gd name="connsiteY26987" fmla="*/ 633277 h 4687251"/>
              <a:gd name="connsiteX26988" fmla="*/ 4898115 w 8079933"/>
              <a:gd name="connsiteY26988" fmla="*/ 630029 h 4687251"/>
              <a:gd name="connsiteX26989" fmla="*/ 4903216 w 8079933"/>
              <a:gd name="connsiteY26989" fmla="*/ 627322 h 4687251"/>
              <a:gd name="connsiteX26990" fmla="*/ 4908967 w 8079933"/>
              <a:gd name="connsiteY26990" fmla="*/ 628622 h 4687251"/>
              <a:gd name="connsiteX26991" fmla="*/ 4911897 w 8079933"/>
              <a:gd name="connsiteY26991" fmla="*/ 629704 h 4687251"/>
              <a:gd name="connsiteX26992" fmla="*/ 4915044 w 8079933"/>
              <a:gd name="connsiteY26992" fmla="*/ 627105 h 4687251"/>
              <a:gd name="connsiteX26993" fmla="*/ 4915044 w 8079933"/>
              <a:gd name="connsiteY26993" fmla="*/ 623100 h 4687251"/>
              <a:gd name="connsiteX26994" fmla="*/ 4915804 w 8079933"/>
              <a:gd name="connsiteY26994" fmla="*/ 620718 h 4687251"/>
              <a:gd name="connsiteX26995" fmla="*/ 4914393 w 8079933"/>
              <a:gd name="connsiteY26995" fmla="*/ 618769 h 4687251"/>
              <a:gd name="connsiteX26996" fmla="*/ 4910920 w 8079933"/>
              <a:gd name="connsiteY26996" fmla="*/ 619418 h 4687251"/>
              <a:gd name="connsiteX26997" fmla="*/ 4908642 w 8079933"/>
              <a:gd name="connsiteY26997" fmla="*/ 619418 h 4687251"/>
              <a:gd name="connsiteX26998" fmla="*/ 4907882 w 8079933"/>
              <a:gd name="connsiteY26998" fmla="*/ 615845 h 4687251"/>
              <a:gd name="connsiteX26999" fmla="*/ 4908859 w 8079933"/>
              <a:gd name="connsiteY26999" fmla="*/ 609674 h 4687251"/>
              <a:gd name="connsiteX27000" fmla="*/ 4911463 w 8079933"/>
              <a:gd name="connsiteY27000" fmla="*/ 607617 h 4687251"/>
              <a:gd name="connsiteX27001" fmla="*/ 4918517 w 8079933"/>
              <a:gd name="connsiteY27001" fmla="*/ 607617 h 4687251"/>
              <a:gd name="connsiteX27002" fmla="*/ 4921990 w 8079933"/>
              <a:gd name="connsiteY27002" fmla="*/ 604260 h 4687251"/>
              <a:gd name="connsiteX27003" fmla="*/ 4919168 w 8079933"/>
              <a:gd name="connsiteY27003" fmla="*/ 604260 h 4687251"/>
              <a:gd name="connsiteX27004" fmla="*/ 4917865 w 8079933"/>
              <a:gd name="connsiteY27004" fmla="*/ 602744 h 4687251"/>
              <a:gd name="connsiteX27005" fmla="*/ 4918842 w 8079933"/>
              <a:gd name="connsiteY27005" fmla="*/ 596140 h 4687251"/>
              <a:gd name="connsiteX27006" fmla="*/ 4921555 w 8079933"/>
              <a:gd name="connsiteY27006" fmla="*/ 593325 h 4687251"/>
              <a:gd name="connsiteX27007" fmla="*/ 4925896 w 8079933"/>
              <a:gd name="connsiteY27007" fmla="*/ 591917 h 4687251"/>
              <a:gd name="connsiteX27008" fmla="*/ 4926547 w 8079933"/>
              <a:gd name="connsiteY27008" fmla="*/ 589103 h 4687251"/>
              <a:gd name="connsiteX27009" fmla="*/ 4929477 w 8079933"/>
              <a:gd name="connsiteY27009" fmla="*/ 586720 h 4687251"/>
              <a:gd name="connsiteX27010" fmla="*/ 4934794 w 8079933"/>
              <a:gd name="connsiteY27010" fmla="*/ 586720 h 4687251"/>
              <a:gd name="connsiteX27011" fmla="*/ 4936639 w 8079933"/>
              <a:gd name="connsiteY27011" fmla="*/ 582930 h 4687251"/>
              <a:gd name="connsiteX27012" fmla="*/ 4939026 w 8079933"/>
              <a:gd name="connsiteY27012" fmla="*/ 580982 h 4687251"/>
              <a:gd name="connsiteX27013" fmla="*/ 4935988 w 8079933"/>
              <a:gd name="connsiteY27013" fmla="*/ 579466 h 4687251"/>
              <a:gd name="connsiteX27014" fmla="*/ 4935988 w 8079933"/>
              <a:gd name="connsiteY27014" fmla="*/ 576109 h 4687251"/>
              <a:gd name="connsiteX27015" fmla="*/ 4939460 w 8079933"/>
              <a:gd name="connsiteY27015" fmla="*/ 573620 h 4687251"/>
              <a:gd name="connsiteX27016" fmla="*/ 4943367 w 8079933"/>
              <a:gd name="connsiteY27016" fmla="*/ 568314 h 4687251"/>
              <a:gd name="connsiteX27017" fmla="*/ 4946406 w 8079933"/>
              <a:gd name="connsiteY27017" fmla="*/ 568314 h 4687251"/>
              <a:gd name="connsiteX27018" fmla="*/ 4946406 w 8079933"/>
              <a:gd name="connsiteY27018" fmla="*/ 571671 h 4687251"/>
              <a:gd name="connsiteX27019" fmla="*/ 4944669 w 8079933"/>
              <a:gd name="connsiteY27019" fmla="*/ 573620 h 4687251"/>
              <a:gd name="connsiteX27020" fmla="*/ 4944669 w 8079933"/>
              <a:gd name="connsiteY27020" fmla="*/ 576326 h 4687251"/>
              <a:gd name="connsiteX27021" fmla="*/ 4946622 w 8079933"/>
              <a:gd name="connsiteY27021" fmla="*/ 576976 h 4687251"/>
              <a:gd name="connsiteX27022" fmla="*/ 4949552 w 8079933"/>
              <a:gd name="connsiteY27022" fmla="*/ 572862 h 4687251"/>
              <a:gd name="connsiteX27023" fmla="*/ 4951832 w 8079933"/>
              <a:gd name="connsiteY27023" fmla="*/ 571996 h 4687251"/>
              <a:gd name="connsiteX27024" fmla="*/ 4951832 w 8079933"/>
              <a:gd name="connsiteY27024" fmla="*/ 569938 h 4687251"/>
              <a:gd name="connsiteX27025" fmla="*/ 4949878 w 8079933"/>
              <a:gd name="connsiteY27025" fmla="*/ 567991 h 4687251"/>
              <a:gd name="connsiteX27026" fmla="*/ 4947165 w 8079933"/>
              <a:gd name="connsiteY27026" fmla="*/ 561927 h 4687251"/>
              <a:gd name="connsiteX27027" fmla="*/ 4948575 w 8079933"/>
              <a:gd name="connsiteY27027" fmla="*/ 559436 h 4687251"/>
              <a:gd name="connsiteX27028" fmla="*/ 4952048 w 8079933"/>
              <a:gd name="connsiteY27028" fmla="*/ 558787 h 4687251"/>
              <a:gd name="connsiteX27029" fmla="*/ 4953893 w 8079933"/>
              <a:gd name="connsiteY27029" fmla="*/ 557055 h 4687251"/>
              <a:gd name="connsiteX27030" fmla="*/ 4962900 w 8079933"/>
              <a:gd name="connsiteY27030" fmla="*/ 554673 h 4687251"/>
              <a:gd name="connsiteX27031" fmla="*/ 4970170 w 8079933"/>
              <a:gd name="connsiteY27031" fmla="*/ 553914 h 4687251"/>
              <a:gd name="connsiteX27032" fmla="*/ 4972450 w 8079933"/>
              <a:gd name="connsiteY27032" fmla="*/ 557920 h 4687251"/>
              <a:gd name="connsiteX27033" fmla="*/ 4973968 w 8079933"/>
              <a:gd name="connsiteY27033" fmla="*/ 562034 h 4687251"/>
              <a:gd name="connsiteX27034" fmla="*/ 4975488 w 8079933"/>
              <a:gd name="connsiteY27034" fmla="*/ 560409 h 4687251"/>
              <a:gd name="connsiteX27035" fmla="*/ 4974728 w 8079933"/>
              <a:gd name="connsiteY27035" fmla="*/ 555105 h 4687251"/>
              <a:gd name="connsiteX27036" fmla="*/ 4975488 w 8079933"/>
              <a:gd name="connsiteY27036" fmla="*/ 551966 h 4687251"/>
              <a:gd name="connsiteX27037" fmla="*/ 4977333 w 8079933"/>
              <a:gd name="connsiteY27037" fmla="*/ 551966 h 4687251"/>
              <a:gd name="connsiteX27038" fmla="*/ 4978852 w 8079933"/>
              <a:gd name="connsiteY27038" fmla="*/ 555430 h 4687251"/>
              <a:gd name="connsiteX27039" fmla="*/ 4980697 w 8079933"/>
              <a:gd name="connsiteY27039" fmla="*/ 556730 h 4687251"/>
              <a:gd name="connsiteX27040" fmla="*/ 4984278 w 8079933"/>
              <a:gd name="connsiteY27040" fmla="*/ 554347 h 4687251"/>
              <a:gd name="connsiteX27041" fmla="*/ 4988184 w 8079933"/>
              <a:gd name="connsiteY27041" fmla="*/ 548392 h 4687251"/>
              <a:gd name="connsiteX27042" fmla="*/ 4991765 w 8079933"/>
              <a:gd name="connsiteY27042" fmla="*/ 545685 h 4687251"/>
              <a:gd name="connsiteX27043" fmla="*/ 4995781 w 8079933"/>
              <a:gd name="connsiteY27043" fmla="*/ 545685 h 4687251"/>
              <a:gd name="connsiteX27044" fmla="*/ 4997625 w 8079933"/>
              <a:gd name="connsiteY27044" fmla="*/ 546552 h 4687251"/>
              <a:gd name="connsiteX27045" fmla="*/ 5000556 w 8079933"/>
              <a:gd name="connsiteY27045" fmla="*/ 544170 h 4687251"/>
              <a:gd name="connsiteX27046" fmla="*/ 5008803 w 8079933"/>
              <a:gd name="connsiteY27046" fmla="*/ 538757 h 4687251"/>
              <a:gd name="connsiteX27047" fmla="*/ 5011515 w 8079933"/>
              <a:gd name="connsiteY27047" fmla="*/ 535184 h 4687251"/>
              <a:gd name="connsiteX27048" fmla="*/ 5013795 w 8079933"/>
              <a:gd name="connsiteY27048" fmla="*/ 533559 h 4687251"/>
              <a:gd name="connsiteX27049" fmla="*/ 5013795 w 8079933"/>
              <a:gd name="connsiteY27049" fmla="*/ 530095 h 4687251"/>
              <a:gd name="connsiteX27050" fmla="*/ 5015856 w 8079933"/>
              <a:gd name="connsiteY27050" fmla="*/ 527712 h 4687251"/>
              <a:gd name="connsiteX27051" fmla="*/ 5019871 w 8079933"/>
              <a:gd name="connsiteY27051" fmla="*/ 527712 h 4687251"/>
              <a:gd name="connsiteX27052" fmla="*/ 5019871 w 8079933"/>
              <a:gd name="connsiteY27052" fmla="*/ 524572 h 4687251"/>
              <a:gd name="connsiteX27053" fmla="*/ 5017050 w 8079933"/>
              <a:gd name="connsiteY27053" fmla="*/ 519809 h 4687251"/>
              <a:gd name="connsiteX27054" fmla="*/ 5017050 w 8079933"/>
              <a:gd name="connsiteY27054" fmla="*/ 517426 h 4687251"/>
              <a:gd name="connsiteX27055" fmla="*/ 5020631 w 8079933"/>
              <a:gd name="connsiteY27055" fmla="*/ 513530 h 4687251"/>
              <a:gd name="connsiteX27056" fmla="*/ 5020631 w 8079933"/>
              <a:gd name="connsiteY27056" fmla="*/ 510174 h 4687251"/>
              <a:gd name="connsiteX27057" fmla="*/ 5023452 w 8079933"/>
              <a:gd name="connsiteY27057" fmla="*/ 507250 h 4687251"/>
              <a:gd name="connsiteX27058" fmla="*/ 5026925 w 8079933"/>
              <a:gd name="connsiteY27058" fmla="*/ 506600 h 4687251"/>
              <a:gd name="connsiteX27059" fmla="*/ 5029747 w 8079933"/>
              <a:gd name="connsiteY27059" fmla="*/ 504327 h 4687251"/>
              <a:gd name="connsiteX27060" fmla="*/ 5031048 w 8079933"/>
              <a:gd name="connsiteY27060" fmla="*/ 500212 h 4687251"/>
              <a:gd name="connsiteX27061" fmla="*/ 5036908 w 8079933"/>
              <a:gd name="connsiteY27061" fmla="*/ 496423 h 4687251"/>
              <a:gd name="connsiteX27062" fmla="*/ 5040924 w 8079933"/>
              <a:gd name="connsiteY27062" fmla="*/ 495340 h 4687251"/>
              <a:gd name="connsiteX27063" fmla="*/ 5044614 w 8079933"/>
              <a:gd name="connsiteY27063" fmla="*/ 497072 h 4687251"/>
              <a:gd name="connsiteX27064" fmla="*/ 5047543 w 8079933"/>
              <a:gd name="connsiteY27064" fmla="*/ 498155 h 4687251"/>
              <a:gd name="connsiteX27065" fmla="*/ 5048520 w 8079933"/>
              <a:gd name="connsiteY27065" fmla="*/ 495773 h 4687251"/>
              <a:gd name="connsiteX27066" fmla="*/ 6438510 w 8079933"/>
              <a:gd name="connsiteY27066" fmla="*/ 490033 h 4687251"/>
              <a:gd name="connsiteX27067" fmla="*/ 6440355 w 8079933"/>
              <a:gd name="connsiteY27067" fmla="*/ 495338 h 4687251"/>
              <a:gd name="connsiteX27068" fmla="*/ 6442091 w 8079933"/>
              <a:gd name="connsiteY27068" fmla="*/ 498479 h 4687251"/>
              <a:gd name="connsiteX27069" fmla="*/ 6440680 w 8079933"/>
              <a:gd name="connsiteY27069" fmla="*/ 500752 h 4687251"/>
              <a:gd name="connsiteX27070" fmla="*/ 6434277 w 8079933"/>
              <a:gd name="connsiteY27070" fmla="*/ 502701 h 4687251"/>
              <a:gd name="connsiteX27071" fmla="*/ 6434277 w 8079933"/>
              <a:gd name="connsiteY27071" fmla="*/ 505300 h 4687251"/>
              <a:gd name="connsiteX27072" fmla="*/ 6430045 w 8079933"/>
              <a:gd name="connsiteY27072" fmla="*/ 503676 h 4687251"/>
              <a:gd name="connsiteX27073" fmla="*/ 6425704 w 8079933"/>
              <a:gd name="connsiteY27073" fmla="*/ 498046 h 4687251"/>
              <a:gd name="connsiteX27074" fmla="*/ 6431239 w 8079933"/>
              <a:gd name="connsiteY27074" fmla="*/ 498046 h 4687251"/>
              <a:gd name="connsiteX27075" fmla="*/ 6435689 w 8079933"/>
              <a:gd name="connsiteY27075" fmla="*/ 494907 h 4687251"/>
              <a:gd name="connsiteX27076" fmla="*/ 6436557 w 8079933"/>
              <a:gd name="connsiteY27076" fmla="*/ 490900 h 4687251"/>
              <a:gd name="connsiteX27077" fmla="*/ 4275773 w 8079933"/>
              <a:gd name="connsiteY27077" fmla="*/ 486678 h 4687251"/>
              <a:gd name="connsiteX27078" fmla="*/ 4277509 w 8079933"/>
              <a:gd name="connsiteY27078" fmla="*/ 487543 h 4687251"/>
              <a:gd name="connsiteX27079" fmla="*/ 4279137 w 8079933"/>
              <a:gd name="connsiteY27079" fmla="*/ 490141 h 4687251"/>
              <a:gd name="connsiteX27080" fmla="*/ 4282827 w 8079933"/>
              <a:gd name="connsiteY27080" fmla="*/ 490683 h 4687251"/>
              <a:gd name="connsiteX27081" fmla="*/ 4284563 w 8079933"/>
              <a:gd name="connsiteY27081" fmla="*/ 494365 h 4687251"/>
              <a:gd name="connsiteX27082" fmla="*/ 4282935 w 8079933"/>
              <a:gd name="connsiteY27082" fmla="*/ 498262 h 4687251"/>
              <a:gd name="connsiteX27083" fmla="*/ 4280114 w 8079933"/>
              <a:gd name="connsiteY27083" fmla="*/ 500104 h 4687251"/>
              <a:gd name="connsiteX27084" fmla="*/ 4279462 w 8079933"/>
              <a:gd name="connsiteY27084" fmla="*/ 506166 h 4687251"/>
              <a:gd name="connsiteX27085" fmla="*/ 4280114 w 8079933"/>
              <a:gd name="connsiteY27085" fmla="*/ 508765 h 4687251"/>
              <a:gd name="connsiteX27086" fmla="*/ 4277184 w 8079933"/>
              <a:gd name="connsiteY27086" fmla="*/ 511362 h 4687251"/>
              <a:gd name="connsiteX27087" fmla="*/ 4274036 w 8079933"/>
              <a:gd name="connsiteY27087" fmla="*/ 511362 h 4687251"/>
              <a:gd name="connsiteX27088" fmla="*/ 4267743 w 8079933"/>
              <a:gd name="connsiteY27088" fmla="*/ 515152 h 4687251"/>
              <a:gd name="connsiteX27089" fmla="*/ 4265898 w 8079933"/>
              <a:gd name="connsiteY27089" fmla="*/ 516994 h 4687251"/>
              <a:gd name="connsiteX27090" fmla="*/ 4263511 w 8079933"/>
              <a:gd name="connsiteY27090" fmla="*/ 516018 h 4687251"/>
              <a:gd name="connsiteX27091" fmla="*/ 4260472 w 8079933"/>
              <a:gd name="connsiteY27091" fmla="*/ 516452 h 4687251"/>
              <a:gd name="connsiteX27092" fmla="*/ 4262534 w 8079933"/>
              <a:gd name="connsiteY27092" fmla="*/ 512770 h 4687251"/>
              <a:gd name="connsiteX27093" fmla="*/ 4260364 w 8079933"/>
              <a:gd name="connsiteY27093" fmla="*/ 511362 h 4687251"/>
              <a:gd name="connsiteX27094" fmla="*/ 4260689 w 8079933"/>
              <a:gd name="connsiteY27094" fmla="*/ 508765 h 4687251"/>
              <a:gd name="connsiteX27095" fmla="*/ 4259170 w 8079933"/>
              <a:gd name="connsiteY27095" fmla="*/ 506275 h 4687251"/>
              <a:gd name="connsiteX27096" fmla="*/ 4257325 w 8079933"/>
              <a:gd name="connsiteY27096" fmla="*/ 502161 h 4687251"/>
              <a:gd name="connsiteX27097" fmla="*/ 4252442 w 8079933"/>
              <a:gd name="connsiteY27097" fmla="*/ 502052 h 4687251"/>
              <a:gd name="connsiteX27098" fmla="*/ 4248427 w 8079933"/>
              <a:gd name="connsiteY27098" fmla="*/ 499995 h 4687251"/>
              <a:gd name="connsiteX27099" fmla="*/ 4251682 w 8079933"/>
              <a:gd name="connsiteY27099" fmla="*/ 497829 h 4687251"/>
              <a:gd name="connsiteX27100" fmla="*/ 4254395 w 8079933"/>
              <a:gd name="connsiteY27100" fmla="*/ 494473 h 4687251"/>
              <a:gd name="connsiteX27101" fmla="*/ 4258085 w 8079933"/>
              <a:gd name="connsiteY27101" fmla="*/ 495230 h 4687251"/>
              <a:gd name="connsiteX27102" fmla="*/ 4260038 w 8079933"/>
              <a:gd name="connsiteY27102" fmla="*/ 493606 h 4687251"/>
              <a:gd name="connsiteX27103" fmla="*/ 4260581 w 8079933"/>
              <a:gd name="connsiteY27103" fmla="*/ 490900 h 4687251"/>
              <a:gd name="connsiteX27104" fmla="*/ 4263945 w 8079933"/>
              <a:gd name="connsiteY27104" fmla="*/ 488626 h 4687251"/>
              <a:gd name="connsiteX27105" fmla="*/ 4266007 w 8079933"/>
              <a:gd name="connsiteY27105" fmla="*/ 489600 h 4687251"/>
              <a:gd name="connsiteX27106" fmla="*/ 4266657 w 8079933"/>
              <a:gd name="connsiteY27106" fmla="*/ 491983 h 4687251"/>
              <a:gd name="connsiteX27107" fmla="*/ 4273495 w 8079933"/>
              <a:gd name="connsiteY27107" fmla="*/ 488843 h 4687251"/>
              <a:gd name="connsiteX27108" fmla="*/ 4096829 w 8079933"/>
              <a:gd name="connsiteY27108" fmla="*/ 479098 h 4687251"/>
              <a:gd name="connsiteX27109" fmla="*/ 4099107 w 8079933"/>
              <a:gd name="connsiteY27109" fmla="*/ 479856 h 4687251"/>
              <a:gd name="connsiteX27110" fmla="*/ 4103773 w 8079933"/>
              <a:gd name="connsiteY27110" fmla="*/ 485378 h 4687251"/>
              <a:gd name="connsiteX27111" fmla="*/ 4103773 w 8079933"/>
              <a:gd name="connsiteY27111" fmla="*/ 489925 h 4687251"/>
              <a:gd name="connsiteX27112" fmla="*/ 4103122 w 8079933"/>
              <a:gd name="connsiteY27112" fmla="*/ 494690 h 4687251"/>
              <a:gd name="connsiteX27113" fmla="*/ 4106704 w 8079933"/>
              <a:gd name="connsiteY27113" fmla="*/ 500103 h 4687251"/>
              <a:gd name="connsiteX27114" fmla="*/ 4109308 w 8079933"/>
              <a:gd name="connsiteY27114" fmla="*/ 502485 h 4687251"/>
              <a:gd name="connsiteX27115" fmla="*/ 4111044 w 8079933"/>
              <a:gd name="connsiteY27115" fmla="*/ 502485 h 4687251"/>
              <a:gd name="connsiteX27116" fmla="*/ 4111695 w 8079933"/>
              <a:gd name="connsiteY27116" fmla="*/ 503892 h 4687251"/>
              <a:gd name="connsiteX27117" fmla="*/ 4113540 w 8079933"/>
              <a:gd name="connsiteY27117" fmla="*/ 503892 h 4687251"/>
              <a:gd name="connsiteX27118" fmla="*/ 4115168 w 8079933"/>
              <a:gd name="connsiteY27118" fmla="*/ 508656 h 4687251"/>
              <a:gd name="connsiteX27119" fmla="*/ 4118966 w 8079933"/>
              <a:gd name="connsiteY27119" fmla="*/ 514828 h 4687251"/>
              <a:gd name="connsiteX27120" fmla="*/ 4120376 w 8079933"/>
              <a:gd name="connsiteY27120" fmla="*/ 519266 h 4687251"/>
              <a:gd name="connsiteX27121" fmla="*/ 4119725 w 8079933"/>
              <a:gd name="connsiteY27121" fmla="*/ 522191 h 4687251"/>
              <a:gd name="connsiteX27122" fmla="*/ 4117446 w 8079933"/>
              <a:gd name="connsiteY27122" fmla="*/ 522839 h 4687251"/>
              <a:gd name="connsiteX27123" fmla="*/ 4115602 w 8079933"/>
              <a:gd name="connsiteY27123" fmla="*/ 521215 h 4687251"/>
              <a:gd name="connsiteX27124" fmla="*/ 4113323 w 8079933"/>
              <a:gd name="connsiteY27124" fmla="*/ 515369 h 4687251"/>
              <a:gd name="connsiteX27125" fmla="*/ 4111695 w 8079933"/>
              <a:gd name="connsiteY27125" fmla="*/ 514503 h 4687251"/>
              <a:gd name="connsiteX27126" fmla="*/ 4110068 w 8079933"/>
              <a:gd name="connsiteY27126" fmla="*/ 510064 h 4687251"/>
              <a:gd name="connsiteX27127" fmla="*/ 4105727 w 8079933"/>
              <a:gd name="connsiteY27127" fmla="*/ 506708 h 4687251"/>
              <a:gd name="connsiteX27128" fmla="*/ 4102146 w 8079933"/>
              <a:gd name="connsiteY27128" fmla="*/ 506708 h 4687251"/>
              <a:gd name="connsiteX27129" fmla="*/ 4099759 w 8079933"/>
              <a:gd name="connsiteY27129" fmla="*/ 503135 h 4687251"/>
              <a:gd name="connsiteX27130" fmla="*/ 4099759 w 8079933"/>
              <a:gd name="connsiteY27130" fmla="*/ 495338 h 4687251"/>
              <a:gd name="connsiteX27131" fmla="*/ 4097697 w 8079933"/>
              <a:gd name="connsiteY27131" fmla="*/ 490900 h 4687251"/>
              <a:gd name="connsiteX27132" fmla="*/ 4094984 w 8079933"/>
              <a:gd name="connsiteY27132" fmla="*/ 487436 h 4687251"/>
              <a:gd name="connsiteX27133" fmla="*/ 4094984 w 8079933"/>
              <a:gd name="connsiteY27133" fmla="*/ 481589 h 4687251"/>
              <a:gd name="connsiteX27134" fmla="*/ 2272773 w 8079933"/>
              <a:gd name="connsiteY27134" fmla="*/ 473576 h 4687251"/>
              <a:gd name="connsiteX27135" fmla="*/ 2273749 w 8079933"/>
              <a:gd name="connsiteY27135" fmla="*/ 475091 h 4687251"/>
              <a:gd name="connsiteX27136" fmla="*/ 2272773 w 8079933"/>
              <a:gd name="connsiteY27136" fmla="*/ 477473 h 4687251"/>
              <a:gd name="connsiteX27137" fmla="*/ 2271362 w 8079933"/>
              <a:gd name="connsiteY27137" fmla="*/ 478231 h 4687251"/>
              <a:gd name="connsiteX27138" fmla="*/ 2270928 w 8079933"/>
              <a:gd name="connsiteY27138" fmla="*/ 474658 h 4687251"/>
              <a:gd name="connsiteX27139" fmla="*/ 4346634 w 8079933"/>
              <a:gd name="connsiteY27139" fmla="*/ 472277 h 4687251"/>
              <a:gd name="connsiteX27140" fmla="*/ 4348045 w 8079933"/>
              <a:gd name="connsiteY27140" fmla="*/ 472710 h 4687251"/>
              <a:gd name="connsiteX27141" fmla="*/ 4348913 w 8079933"/>
              <a:gd name="connsiteY27141" fmla="*/ 478016 h 4687251"/>
              <a:gd name="connsiteX27142" fmla="*/ 4352494 w 8079933"/>
              <a:gd name="connsiteY27142" fmla="*/ 481264 h 4687251"/>
              <a:gd name="connsiteX27143" fmla="*/ 4352386 w 8079933"/>
              <a:gd name="connsiteY27143" fmla="*/ 483754 h 4687251"/>
              <a:gd name="connsiteX27144" fmla="*/ 4349130 w 8079933"/>
              <a:gd name="connsiteY27144" fmla="*/ 487651 h 4687251"/>
              <a:gd name="connsiteX27145" fmla="*/ 4346743 w 8079933"/>
              <a:gd name="connsiteY27145" fmla="*/ 487003 h 4687251"/>
              <a:gd name="connsiteX27146" fmla="*/ 4346417 w 8079933"/>
              <a:gd name="connsiteY27146" fmla="*/ 483320 h 4687251"/>
              <a:gd name="connsiteX27147" fmla="*/ 4344030 w 8079933"/>
              <a:gd name="connsiteY27147" fmla="*/ 479424 h 4687251"/>
              <a:gd name="connsiteX27148" fmla="*/ 4344030 w 8079933"/>
              <a:gd name="connsiteY27148" fmla="*/ 475418 h 4687251"/>
              <a:gd name="connsiteX27149" fmla="*/ 4345332 w 8079933"/>
              <a:gd name="connsiteY27149" fmla="*/ 474226 h 4687251"/>
              <a:gd name="connsiteX27150" fmla="*/ 2318240 w 8079933"/>
              <a:gd name="connsiteY27150" fmla="*/ 469353 h 4687251"/>
              <a:gd name="connsiteX27151" fmla="*/ 2324534 w 8079933"/>
              <a:gd name="connsiteY27151" fmla="*/ 472276 h 4687251"/>
              <a:gd name="connsiteX27152" fmla="*/ 2325619 w 8079933"/>
              <a:gd name="connsiteY27152" fmla="*/ 476174 h 4687251"/>
              <a:gd name="connsiteX27153" fmla="*/ 2327681 w 8079933"/>
              <a:gd name="connsiteY27153" fmla="*/ 478557 h 4687251"/>
              <a:gd name="connsiteX27154" fmla="*/ 2327681 w 8079933"/>
              <a:gd name="connsiteY27154" fmla="*/ 483321 h 4687251"/>
              <a:gd name="connsiteX27155" fmla="*/ 2331371 w 8079933"/>
              <a:gd name="connsiteY27155" fmla="*/ 486677 h 4687251"/>
              <a:gd name="connsiteX27156" fmla="*/ 2332781 w 8079933"/>
              <a:gd name="connsiteY27156" fmla="*/ 491333 h 4687251"/>
              <a:gd name="connsiteX27157" fmla="*/ 2331045 w 8079933"/>
              <a:gd name="connsiteY27157" fmla="*/ 493065 h 4687251"/>
              <a:gd name="connsiteX27158" fmla="*/ 2330937 w 8079933"/>
              <a:gd name="connsiteY27158" fmla="*/ 499020 h 4687251"/>
              <a:gd name="connsiteX27159" fmla="*/ 2328441 w 8079933"/>
              <a:gd name="connsiteY27159" fmla="*/ 507032 h 4687251"/>
              <a:gd name="connsiteX27160" fmla="*/ 2326813 w 8079933"/>
              <a:gd name="connsiteY27160" fmla="*/ 508764 h 4687251"/>
              <a:gd name="connsiteX27161" fmla="*/ 2323340 w 8079933"/>
              <a:gd name="connsiteY27161" fmla="*/ 515261 h 4687251"/>
              <a:gd name="connsiteX27162" fmla="*/ 2324426 w 8079933"/>
              <a:gd name="connsiteY27162" fmla="*/ 520241 h 4687251"/>
              <a:gd name="connsiteX27163" fmla="*/ 2322038 w 8079933"/>
              <a:gd name="connsiteY27163" fmla="*/ 526520 h 4687251"/>
              <a:gd name="connsiteX27164" fmla="*/ 2318023 w 8079933"/>
              <a:gd name="connsiteY27164" fmla="*/ 527820 h 4687251"/>
              <a:gd name="connsiteX27165" fmla="*/ 2319217 w 8079933"/>
              <a:gd name="connsiteY27165" fmla="*/ 531067 h 4687251"/>
              <a:gd name="connsiteX27166" fmla="*/ 2317915 w 8079933"/>
              <a:gd name="connsiteY27166" fmla="*/ 532583 h 4687251"/>
              <a:gd name="connsiteX27167" fmla="*/ 2316504 w 8079933"/>
              <a:gd name="connsiteY27167" fmla="*/ 531067 h 4687251"/>
              <a:gd name="connsiteX27168" fmla="*/ 2312163 w 8079933"/>
              <a:gd name="connsiteY27168" fmla="*/ 531176 h 4687251"/>
              <a:gd name="connsiteX27169" fmla="*/ 2306412 w 8079933"/>
              <a:gd name="connsiteY27169" fmla="*/ 527711 h 4687251"/>
              <a:gd name="connsiteX27170" fmla="*/ 2301963 w 8079933"/>
              <a:gd name="connsiteY27170" fmla="*/ 527820 h 4687251"/>
              <a:gd name="connsiteX27171" fmla="*/ 2300878 w 8079933"/>
              <a:gd name="connsiteY27171" fmla="*/ 523164 h 4687251"/>
              <a:gd name="connsiteX27172" fmla="*/ 2296428 w 8079933"/>
              <a:gd name="connsiteY27172" fmla="*/ 524030 h 4687251"/>
              <a:gd name="connsiteX27173" fmla="*/ 2295560 w 8079933"/>
              <a:gd name="connsiteY27173" fmla="*/ 521756 h 4687251"/>
              <a:gd name="connsiteX27174" fmla="*/ 2295886 w 8079933"/>
              <a:gd name="connsiteY27174" fmla="*/ 515585 h 4687251"/>
              <a:gd name="connsiteX27175" fmla="*/ 2292956 w 8079933"/>
              <a:gd name="connsiteY27175" fmla="*/ 514935 h 4687251"/>
              <a:gd name="connsiteX27176" fmla="*/ 2291219 w 8079933"/>
              <a:gd name="connsiteY27176" fmla="*/ 517534 h 4687251"/>
              <a:gd name="connsiteX27177" fmla="*/ 2289701 w 8079933"/>
              <a:gd name="connsiteY27177" fmla="*/ 517751 h 4687251"/>
              <a:gd name="connsiteX27178" fmla="*/ 2289158 w 8079933"/>
              <a:gd name="connsiteY27178" fmla="*/ 513528 h 4687251"/>
              <a:gd name="connsiteX27179" fmla="*/ 2287638 w 8079933"/>
              <a:gd name="connsiteY27179" fmla="*/ 512445 h 4687251"/>
              <a:gd name="connsiteX27180" fmla="*/ 2285685 w 8079933"/>
              <a:gd name="connsiteY27180" fmla="*/ 513419 h 4687251"/>
              <a:gd name="connsiteX27181" fmla="*/ 2282321 w 8079933"/>
              <a:gd name="connsiteY27181" fmla="*/ 511363 h 4687251"/>
              <a:gd name="connsiteX27182" fmla="*/ 2281670 w 8079933"/>
              <a:gd name="connsiteY27182" fmla="*/ 509197 h 4687251"/>
              <a:gd name="connsiteX27183" fmla="*/ 2283406 w 8079933"/>
              <a:gd name="connsiteY27183" fmla="*/ 504325 h 4687251"/>
              <a:gd name="connsiteX27184" fmla="*/ 2282321 w 8079933"/>
              <a:gd name="connsiteY27184" fmla="*/ 503675 h 4687251"/>
              <a:gd name="connsiteX27185" fmla="*/ 2279283 w 8079933"/>
              <a:gd name="connsiteY27185" fmla="*/ 507140 h 4687251"/>
              <a:gd name="connsiteX27186" fmla="*/ 2278197 w 8079933"/>
              <a:gd name="connsiteY27186" fmla="*/ 506815 h 4687251"/>
              <a:gd name="connsiteX27187" fmla="*/ 2278523 w 8079933"/>
              <a:gd name="connsiteY27187" fmla="*/ 503892 h 4687251"/>
              <a:gd name="connsiteX27188" fmla="*/ 2279500 w 8079933"/>
              <a:gd name="connsiteY27188" fmla="*/ 501510 h 4687251"/>
              <a:gd name="connsiteX27189" fmla="*/ 2277438 w 8079933"/>
              <a:gd name="connsiteY27189" fmla="*/ 501077 h 4687251"/>
              <a:gd name="connsiteX27190" fmla="*/ 2276570 w 8079933"/>
              <a:gd name="connsiteY27190" fmla="*/ 499778 h 4687251"/>
              <a:gd name="connsiteX27191" fmla="*/ 2277980 w 8079933"/>
              <a:gd name="connsiteY27191" fmla="*/ 498261 h 4687251"/>
              <a:gd name="connsiteX27192" fmla="*/ 2279934 w 8079933"/>
              <a:gd name="connsiteY27192" fmla="*/ 493714 h 4687251"/>
              <a:gd name="connsiteX27193" fmla="*/ 2283623 w 8079933"/>
              <a:gd name="connsiteY27193" fmla="*/ 490358 h 4687251"/>
              <a:gd name="connsiteX27194" fmla="*/ 2289049 w 8079933"/>
              <a:gd name="connsiteY27194" fmla="*/ 488951 h 4687251"/>
              <a:gd name="connsiteX27195" fmla="*/ 2294041 w 8079933"/>
              <a:gd name="connsiteY27195" fmla="*/ 490683 h 4687251"/>
              <a:gd name="connsiteX27196" fmla="*/ 2294258 w 8079933"/>
              <a:gd name="connsiteY27196" fmla="*/ 488951 h 4687251"/>
              <a:gd name="connsiteX27197" fmla="*/ 2293173 w 8079933"/>
              <a:gd name="connsiteY27197" fmla="*/ 488517 h 4687251"/>
              <a:gd name="connsiteX27198" fmla="*/ 2291002 w 8079933"/>
              <a:gd name="connsiteY27198" fmla="*/ 483862 h 4687251"/>
              <a:gd name="connsiteX27199" fmla="*/ 2293064 w 8079933"/>
              <a:gd name="connsiteY27199" fmla="*/ 482563 h 4687251"/>
              <a:gd name="connsiteX27200" fmla="*/ 2299250 w 8079933"/>
              <a:gd name="connsiteY27200" fmla="*/ 481804 h 4687251"/>
              <a:gd name="connsiteX27201" fmla="*/ 2299792 w 8079933"/>
              <a:gd name="connsiteY27201" fmla="*/ 479964 h 4687251"/>
              <a:gd name="connsiteX27202" fmla="*/ 2298165 w 8079933"/>
              <a:gd name="connsiteY27202" fmla="*/ 478015 h 4687251"/>
              <a:gd name="connsiteX27203" fmla="*/ 2294041 w 8079933"/>
              <a:gd name="connsiteY27203" fmla="*/ 477907 h 4687251"/>
              <a:gd name="connsiteX27204" fmla="*/ 2295669 w 8079933"/>
              <a:gd name="connsiteY27204" fmla="*/ 475308 h 4687251"/>
              <a:gd name="connsiteX27205" fmla="*/ 2299358 w 8079933"/>
              <a:gd name="connsiteY27205" fmla="*/ 475633 h 4687251"/>
              <a:gd name="connsiteX27206" fmla="*/ 2303265 w 8079933"/>
              <a:gd name="connsiteY27206" fmla="*/ 478665 h 4687251"/>
              <a:gd name="connsiteX27207" fmla="*/ 2305110 w 8079933"/>
              <a:gd name="connsiteY27207" fmla="*/ 478881 h 4687251"/>
              <a:gd name="connsiteX27208" fmla="*/ 2304893 w 8079933"/>
              <a:gd name="connsiteY27208" fmla="*/ 476391 h 4687251"/>
              <a:gd name="connsiteX27209" fmla="*/ 2302180 w 8079933"/>
              <a:gd name="connsiteY27209" fmla="*/ 472926 h 4687251"/>
              <a:gd name="connsiteX27210" fmla="*/ 2303590 w 8079933"/>
              <a:gd name="connsiteY27210" fmla="*/ 470653 h 4687251"/>
              <a:gd name="connsiteX27211" fmla="*/ 2309451 w 8079933"/>
              <a:gd name="connsiteY27211" fmla="*/ 470111 h 4687251"/>
              <a:gd name="connsiteX27212" fmla="*/ 2313574 w 8079933"/>
              <a:gd name="connsiteY27212" fmla="*/ 471303 h 4687251"/>
              <a:gd name="connsiteX27213" fmla="*/ 2286988 w 8079933"/>
              <a:gd name="connsiteY27213" fmla="*/ 464264 h 4687251"/>
              <a:gd name="connsiteX27214" fmla="*/ 2289592 w 8079933"/>
              <a:gd name="connsiteY27214" fmla="*/ 465889 h 4687251"/>
              <a:gd name="connsiteX27215" fmla="*/ 2290894 w 8079933"/>
              <a:gd name="connsiteY27215" fmla="*/ 467295 h 4687251"/>
              <a:gd name="connsiteX27216" fmla="*/ 2289700 w 8079933"/>
              <a:gd name="connsiteY27216" fmla="*/ 469461 h 4687251"/>
              <a:gd name="connsiteX27217" fmla="*/ 2289918 w 8079933"/>
              <a:gd name="connsiteY27217" fmla="*/ 472385 h 4687251"/>
              <a:gd name="connsiteX27218" fmla="*/ 2286988 w 8079933"/>
              <a:gd name="connsiteY27218" fmla="*/ 473142 h 4687251"/>
              <a:gd name="connsiteX27219" fmla="*/ 2285685 w 8079933"/>
              <a:gd name="connsiteY27219" fmla="*/ 475199 h 4687251"/>
              <a:gd name="connsiteX27220" fmla="*/ 2283949 w 8079933"/>
              <a:gd name="connsiteY27220" fmla="*/ 475849 h 4687251"/>
              <a:gd name="connsiteX27221" fmla="*/ 2281128 w 8079933"/>
              <a:gd name="connsiteY27221" fmla="*/ 474117 h 4687251"/>
              <a:gd name="connsiteX27222" fmla="*/ 2280260 w 8079933"/>
              <a:gd name="connsiteY27222" fmla="*/ 467837 h 4687251"/>
              <a:gd name="connsiteX27223" fmla="*/ 2282105 w 8079933"/>
              <a:gd name="connsiteY27223" fmla="*/ 466538 h 4687251"/>
              <a:gd name="connsiteX27224" fmla="*/ 2284058 w 8079933"/>
              <a:gd name="connsiteY27224" fmla="*/ 464806 h 4687251"/>
              <a:gd name="connsiteX27225" fmla="*/ 2295126 w 8079933"/>
              <a:gd name="connsiteY27225" fmla="*/ 462315 h 4687251"/>
              <a:gd name="connsiteX27226" fmla="*/ 2297514 w 8079933"/>
              <a:gd name="connsiteY27226" fmla="*/ 464590 h 4687251"/>
              <a:gd name="connsiteX27227" fmla="*/ 2299250 w 8079933"/>
              <a:gd name="connsiteY27227" fmla="*/ 467838 h 4687251"/>
              <a:gd name="connsiteX27228" fmla="*/ 2295343 w 8079933"/>
              <a:gd name="connsiteY27228" fmla="*/ 471085 h 4687251"/>
              <a:gd name="connsiteX27229" fmla="*/ 2293281 w 8079933"/>
              <a:gd name="connsiteY27229" fmla="*/ 471410 h 4687251"/>
              <a:gd name="connsiteX27230" fmla="*/ 2294040 w 8079933"/>
              <a:gd name="connsiteY27230" fmla="*/ 468379 h 4687251"/>
              <a:gd name="connsiteX27231" fmla="*/ 2292630 w 8079933"/>
              <a:gd name="connsiteY27231" fmla="*/ 466646 h 4687251"/>
              <a:gd name="connsiteX27232" fmla="*/ 2293390 w 8079933"/>
              <a:gd name="connsiteY27232" fmla="*/ 462748 h 4687251"/>
              <a:gd name="connsiteX27233" fmla="*/ 6954397 w 8079933"/>
              <a:gd name="connsiteY27233" fmla="*/ 461018 h 4687251"/>
              <a:gd name="connsiteX27234" fmla="*/ 6958630 w 8079933"/>
              <a:gd name="connsiteY27234" fmla="*/ 464482 h 4687251"/>
              <a:gd name="connsiteX27235" fmla="*/ 6960366 w 8079933"/>
              <a:gd name="connsiteY27235" fmla="*/ 470653 h 4687251"/>
              <a:gd name="connsiteX27236" fmla="*/ 6959063 w 8079933"/>
              <a:gd name="connsiteY27236" fmla="*/ 472711 h 4687251"/>
              <a:gd name="connsiteX27237" fmla="*/ 6956677 w 8079933"/>
              <a:gd name="connsiteY27237" fmla="*/ 468164 h 4687251"/>
              <a:gd name="connsiteX27238" fmla="*/ 6952770 w 8079933"/>
              <a:gd name="connsiteY27238" fmla="*/ 462966 h 4687251"/>
              <a:gd name="connsiteX27239" fmla="*/ 6952444 w 8079933"/>
              <a:gd name="connsiteY27239" fmla="*/ 461125 h 4687251"/>
              <a:gd name="connsiteX27240" fmla="*/ 4378536 w 8079933"/>
              <a:gd name="connsiteY27240" fmla="*/ 459610 h 4687251"/>
              <a:gd name="connsiteX27241" fmla="*/ 4379838 w 8079933"/>
              <a:gd name="connsiteY27241" fmla="*/ 462207 h 4687251"/>
              <a:gd name="connsiteX27242" fmla="*/ 4386675 w 8079933"/>
              <a:gd name="connsiteY27242" fmla="*/ 462966 h 4687251"/>
              <a:gd name="connsiteX27243" fmla="*/ 4389713 w 8079933"/>
              <a:gd name="connsiteY27243" fmla="*/ 462641 h 4687251"/>
              <a:gd name="connsiteX27244" fmla="*/ 4388303 w 8079933"/>
              <a:gd name="connsiteY27244" fmla="*/ 465889 h 4687251"/>
              <a:gd name="connsiteX27245" fmla="*/ 4384179 w 8079933"/>
              <a:gd name="connsiteY27245" fmla="*/ 468162 h 4687251"/>
              <a:gd name="connsiteX27246" fmla="*/ 4378536 w 8079933"/>
              <a:gd name="connsiteY27246" fmla="*/ 465132 h 4687251"/>
              <a:gd name="connsiteX27247" fmla="*/ 4375390 w 8079933"/>
              <a:gd name="connsiteY27247" fmla="*/ 465132 h 4687251"/>
              <a:gd name="connsiteX27248" fmla="*/ 4373110 w 8079933"/>
              <a:gd name="connsiteY27248" fmla="*/ 466757 h 4687251"/>
              <a:gd name="connsiteX27249" fmla="*/ 4370615 w 8079933"/>
              <a:gd name="connsiteY27249" fmla="*/ 466863 h 4687251"/>
              <a:gd name="connsiteX27250" fmla="*/ 4366600 w 8079933"/>
              <a:gd name="connsiteY27250" fmla="*/ 471844 h 4687251"/>
              <a:gd name="connsiteX27251" fmla="*/ 4364864 w 8079933"/>
              <a:gd name="connsiteY27251" fmla="*/ 471520 h 4687251"/>
              <a:gd name="connsiteX27252" fmla="*/ 4368445 w 8079933"/>
              <a:gd name="connsiteY27252" fmla="*/ 464697 h 4687251"/>
              <a:gd name="connsiteX27253" fmla="*/ 4372894 w 8079933"/>
              <a:gd name="connsiteY27253" fmla="*/ 461666 h 4687251"/>
              <a:gd name="connsiteX27254" fmla="*/ 4375390 w 8079933"/>
              <a:gd name="connsiteY27254" fmla="*/ 461666 h 4687251"/>
              <a:gd name="connsiteX27255" fmla="*/ 6944848 w 8079933"/>
              <a:gd name="connsiteY27255" fmla="*/ 457335 h 4687251"/>
              <a:gd name="connsiteX27256" fmla="*/ 6947778 w 8079933"/>
              <a:gd name="connsiteY27256" fmla="*/ 458852 h 4687251"/>
              <a:gd name="connsiteX27257" fmla="*/ 6949080 w 8079933"/>
              <a:gd name="connsiteY27257" fmla="*/ 463940 h 4687251"/>
              <a:gd name="connsiteX27258" fmla="*/ 6947778 w 8079933"/>
              <a:gd name="connsiteY27258" fmla="*/ 464590 h 4687251"/>
              <a:gd name="connsiteX27259" fmla="*/ 6946367 w 8079933"/>
              <a:gd name="connsiteY27259" fmla="*/ 467188 h 4687251"/>
              <a:gd name="connsiteX27260" fmla="*/ 6943329 w 8079933"/>
              <a:gd name="connsiteY27260" fmla="*/ 465023 h 4687251"/>
              <a:gd name="connsiteX27261" fmla="*/ 6940724 w 8079933"/>
              <a:gd name="connsiteY27261" fmla="*/ 460042 h 4687251"/>
              <a:gd name="connsiteX27262" fmla="*/ 6944197 w 8079933"/>
              <a:gd name="connsiteY27262" fmla="*/ 458635 h 4687251"/>
              <a:gd name="connsiteX27263" fmla="*/ 2290677 w 8079933"/>
              <a:gd name="connsiteY27263" fmla="*/ 456902 h 4687251"/>
              <a:gd name="connsiteX27264" fmla="*/ 2288615 w 8079933"/>
              <a:gd name="connsiteY27264" fmla="*/ 459825 h 4687251"/>
              <a:gd name="connsiteX27265" fmla="*/ 2286770 w 8079933"/>
              <a:gd name="connsiteY27265" fmla="*/ 460908 h 4687251"/>
              <a:gd name="connsiteX27266" fmla="*/ 2285902 w 8079933"/>
              <a:gd name="connsiteY27266" fmla="*/ 459068 h 4687251"/>
              <a:gd name="connsiteX27267" fmla="*/ 2288724 w 8079933"/>
              <a:gd name="connsiteY27267" fmla="*/ 457119 h 4687251"/>
              <a:gd name="connsiteX27268" fmla="*/ 4241264 w 8079933"/>
              <a:gd name="connsiteY27268" fmla="*/ 455603 h 4687251"/>
              <a:gd name="connsiteX27269" fmla="*/ 4249620 w 8079933"/>
              <a:gd name="connsiteY27269" fmla="*/ 457336 h 4687251"/>
              <a:gd name="connsiteX27270" fmla="*/ 4252333 w 8079933"/>
              <a:gd name="connsiteY27270" fmla="*/ 460583 h 4687251"/>
              <a:gd name="connsiteX27271" fmla="*/ 4252333 w 8079933"/>
              <a:gd name="connsiteY27271" fmla="*/ 464807 h 4687251"/>
              <a:gd name="connsiteX27272" fmla="*/ 4248101 w 8079933"/>
              <a:gd name="connsiteY27272" fmla="*/ 466104 h 4687251"/>
              <a:gd name="connsiteX27273" fmla="*/ 4243868 w 8079933"/>
              <a:gd name="connsiteY27273" fmla="*/ 465781 h 4687251"/>
              <a:gd name="connsiteX27274" fmla="*/ 4241047 w 8079933"/>
              <a:gd name="connsiteY27274" fmla="*/ 462425 h 4687251"/>
              <a:gd name="connsiteX27275" fmla="*/ 4239745 w 8079933"/>
              <a:gd name="connsiteY27275" fmla="*/ 457878 h 4687251"/>
              <a:gd name="connsiteX27276" fmla="*/ 4239745 w 8079933"/>
              <a:gd name="connsiteY27276" fmla="*/ 456470 h 4687251"/>
              <a:gd name="connsiteX27277" fmla="*/ 6953747 w 8079933"/>
              <a:gd name="connsiteY27277" fmla="*/ 454197 h 4687251"/>
              <a:gd name="connsiteX27278" fmla="*/ 6956786 w 8079933"/>
              <a:gd name="connsiteY27278" fmla="*/ 454304 h 4687251"/>
              <a:gd name="connsiteX27279" fmla="*/ 6958957 w 8079933"/>
              <a:gd name="connsiteY27279" fmla="*/ 458093 h 4687251"/>
              <a:gd name="connsiteX27280" fmla="*/ 6959174 w 8079933"/>
              <a:gd name="connsiteY27280" fmla="*/ 461667 h 4687251"/>
              <a:gd name="connsiteX27281" fmla="*/ 6956895 w 8079933"/>
              <a:gd name="connsiteY27281" fmla="*/ 460583 h 4687251"/>
              <a:gd name="connsiteX27282" fmla="*/ 6953422 w 8079933"/>
              <a:gd name="connsiteY27282" fmla="*/ 456470 h 4687251"/>
              <a:gd name="connsiteX27283" fmla="*/ 2300444 w 8079933"/>
              <a:gd name="connsiteY27283" fmla="*/ 449539 h 4687251"/>
              <a:gd name="connsiteX27284" fmla="*/ 2301203 w 8079933"/>
              <a:gd name="connsiteY27284" fmla="*/ 450731 h 4687251"/>
              <a:gd name="connsiteX27285" fmla="*/ 2298816 w 8079933"/>
              <a:gd name="connsiteY27285" fmla="*/ 452246 h 4687251"/>
              <a:gd name="connsiteX27286" fmla="*/ 2297731 w 8079933"/>
              <a:gd name="connsiteY27286" fmla="*/ 454411 h 4687251"/>
              <a:gd name="connsiteX27287" fmla="*/ 2295343 w 8079933"/>
              <a:gd name="connsiteY27287" fmla="*/ 454953 h 4687251"/>
              <a:gd name="connsiteX27288" fmla="*/ 2293716 w 8079933"/>
              <a:gd name="connsiteY27288" fmla="*/ 452896 h 4687251"/>
              <a:gd name="connsiteX27289" fmla="*/ 2295778 w 8079933"/>
              <a:gd name="connsiteY27289" fmla="*/ 450405 h 4687251"/>
              <a:gd name="connsiteX27290" fmla="*/ 5890175 w 8079933"/>
              <a:gd name="connsiteY27290" fmla="*/ 449108 h 4687251"/>
              <a:gd name="connsiteX27291" fmla="*/ 5893865 w 8079933"/>
              <a:gd name="connsiteY27291" fmla="*/ 449973 h 4687251"/>
              <a:gd name="connsiteX27292" fmla="*/ 5893973 w 8079933"/>
              <a:gd name="connsiteY27292" fmla="*/ 453006 h 4687251"/>
              <a:gd name="connsiteX27293" fmla="*/ 5896252 w 8079933"/>
              <a:gd name="connsiteY27293" fmla="*/ 457985 h 4687251"/>
              <a:gd name="connsiteX27294" fmla="*/ 5899182 w 8079933"/>
              <a:gd name="connsiteY27294" fmla="*/ 461125 h 4687251"/>
              <a:gd name="connsiteX27295" fmla="*/ 5899291 w 8079933"/>
              <a:gd name="connsiteY27295" fmla="*/ 469246 h 4687251"/>
              <a:gd name="connsiteX27296" fmla="*/ 5901895 w 8079933"/>
              <a:gd name="connsiteY27296" fmla="*/ 471953 h 4687251"/>
              <a:gd name="connsiteX27297" fmla="*/ 5901895 w 8079933"/>
              <a:gd name="connsiteY27297" fmla="*/ 474877 h 4687251"/>
              <a:gd name="connsiteX27298" fmla="*/ 5899508 w 8079933"/>
              <a:gd name="connsiteY27298" fmla="*/ 476934 h 4687251"/>
              <a:gd name="connsiteX27299" fmla="*/ 5898640 w 8079933"/>
              <a:gd name="connsiteY27299" fmla="*/ 480724 h 4687251"/>
              <a:gd name="connsiteX27300" fmla="*/ 5895167 w 8079933"/>
              <a:gd name="connsiteY27300" fmla="*/ 482672 h 4687251"/>
              <a:gd name="connsiteX27301" fmla="*/ 5892454 w 8079933"/>
              <a:gd name="connsiteY27301" fmla="*/ 481049 h 4687251"/>
              <a:gd name="connsiteX27302" fmla="*/ 5887137 w 8079933"/>
              <a:gd name="connsiteY27302" fmla="*/ 479856 h 4687251"/>
              <a:gd name="connsiteX27303" fmla="*/ 5875200 w 8079933"/>
              <a:gd name="connsiteY27303" fmla="*/ 477150 h 4687251"/>
              <a:gd name="connsiteX27304" fmla="*/ 5868472 w 8079933"/>
              <a:gd name="connsiteY27304" fmla="*/ 476718 h 4687251"/>
              <a:gd name="connsiteX27305" fmla="*/ 5866302 w 8079933"/>
              <a:gd name="connsiteY27305" fmla="*/ 474010 h 4687251"/>
              <a:gd name="connsiteX27306" fmla="*/ 5867061 w 8079933"/>
              <a:gd name="connsiteY27306" fmla="*/ 472604 h 4687251"/>
              <a:gd name="connsiteX27307" fmla="*/ 5871620 w 8079933"/>
              <a:gd name="connsiteY27307" fmla="*/ 473036 h 4687251"/>
              <a:gd name="connsiteX27308" fmla="*/ 5873681 w 8079933"/>
              <a:gd name="connsiteY27308" fmla="*/ 470546 h 4687251"/>
              <a:gd name="connsiteX27309" fmla="*/ 5872596 w 8079933"/>
              <a:gd name="connsiteY27309" fmla="*/ 466648 h 4687251"/>
              <a:gd name="connsiteX27310" fmla="*/ 5868689 w 8079933"/>
              <a:gd name="connsiteY27310" fmla="*/ 464266 h 4687251"/>
              <a:gd name="connsiteX27311" fmla="*/ 5867278 w 8079933"/>
              <a:gd name="connsiteY27311" fmla="*/ 459177 h 4687251"/>
              <a:gd name="connsiteX27312" fmla="*/ 5868472 w 8079933"/>
              <a:gd name="connsiteY27312" fmla="*/ 457011 h 4687251"/>
              <a:gd name="connsiteX27313" fmla="*/ 5873030 w 8079933"/>
              <a:gd name="connsiteY27313" fmla="*/ 456794 h 4687251"/>
              <a:gd name="connsiteX27314" fmla="*/ 5881385 w 8079933"/>
              <a:gd name="connsiteY27314" fmla="*/ 451707 h 4687251"/>
              <a:gd name="connsiteX27315" fmla="*/ 2328766 w 8079933"/>
              <a:gd name="connsiteY27315" fmla="*/ 448998 h 4687251"/>
              <a:gd name="connsiteX27316" fmla="*/ 2335277 w 8079933"/>
              <a:gd name="connsiteY27316" fmla="*/ 448998 h 4687251"/>
              <a:gd name="connsiteX27317" fmla="*/ 2332347 w 8079933"/>
              <a:gd name="connsiteY27317" fmla="*/ 459284 h 4687251"/>
              <a:gd name="connsiteX27318" fmla="*/ 2329851 w 8079933"/>
              <a:gd name="connsiteY27318" fmla="*/ 463723 h 4687251"/>
              <a:gd name="connsiteX27319" fmla="*/ 2328332 w 8079933"/>
              <a:gd name="connsiteY27319" fmla="*/ 465455 h 4687251"/>
              <a:gd name="connsiteX27320" fmla="*/ 2327464 w 8079933"/>
              <a:gd name="connsiteY27320" fmla="*/ 461666 h 4687251"/>
              <a:gd name="connsiteX27321" fmla="*/ 2325728 w 8079933"/>
              <a:gd name="connsiteY27321" fmla="*/ 460367 h 4687251"/>
              <a:gd name="connsiteX27322" fmla="*/ 2325728 w 8079933"/>
              <a:gd name="connsiteY27322" fmla="*/ 458093 h 4687251"/>
              <a:gd name="connsiteX27323" fmla="*/ 2327573 w 8079933"/>
              <a:gd name="connsiteY27323" fmla="*/ 456469 h 4687251"/>
              <a:gd name="connsiteX27324" fmla="*/ 2327573 w 8079933"/>
              <a:gd name="connsiteY27324" fmla="*/ 451164 h 4687251"/>
              <a:gd name="connsiteX27325" fmla="*/ 6959064 w 8079933"/>
              <a:gd name="connsiteY27325" fmla="*/ 448675 h 4687251"/>
              <a:gd name="connsiteX27326" fmla="*/ 6961561 w 8079933"/>
              <a:gd name="connsiteY27326" fmla="*/ 448891 h 4687251"/>
              <a:gd name="connsiteX27327" fmla="*/ 6963080 w 8079933"/>
              <a:gd name="connsiteY27327" fmla="*/ 452788 h 4687251"/>
              <a:gd name="connsiteX27328" fmla="*/ 6962103 w 8079933"/>
              <a:gd name="connsiteY27328" fmla="*/ 456578 h 4687251"/>
              <a:gd name="connsiteX27329" fmla="*/ 6960366 w 8079933"/>
              <a:gd name="connsiteY27329" fmla="*/ 456794 h 4687251"/>
              <a:gd name="connsiteX27330" fmla="*/ 6958304 w 8079933"/>
              <a:gd name="connsiteY27330" fmla="*/ 450623 h 4687251"/>
              <a:gd name="connsiteX27331" fmla="*/ 3656359 w 8079933"/>
              <a:gd name="connsiteY27331" fmla="*/ 447265 h 4687251"/>
              <a:gd name="connsiteX27332" fmla="*/ 3658530 w 8079933"/>
              <a:gd name="connsiteY27332" fmla="*/ 448781 h 4687251"/>
              <a:gd name="connsiteX27333" fmla="*/ 3657227 w 8079933"/>
              <a:gd name="connsiteY27333" fmla="*/ 452246 h 4687251"/>
              <a:gd name="connsiteX27334" fmla="*/ 3657662 w 8079933"/>
              <a:gd name="connsiteY27334" fmla="*/ 457226 h 4687251"/>
              <a:gd name="connsiteX27335" fmla="*/ 3655709 w 8079933"/>
              <a:gd name="connsiteY27335" fmla="*/ 463182 h 4687251"/>
              <a:gd name="connsiteX27336" fmla="*/ 3651476 w 8079933"/>
              <a:gd name="connsiteY27336" fmla="*/ 466321 h 4687251"/>
              <a:gd name="connsiteX27337" fmla="*/ 3651259 w 8079933"/>
              <a:gd name="connsiteY27337" fmla="*/ 464264 h 4687251"/>
              <a:gd name="connsiteX27338" fmla="*/ 3648981 w 8079933"/>
              <a:gd name="connsiteY27338" fmla="*/ 460150 h 4687251"/>
              <a:gd name="connsiteX27339" fmla="*/ 3652127 w 8079933"/>
              <a:gd name="connsiteY27339" fmla="*/ 453220 h 4687251"/>
              <a:gd name="connsiteX27340" fmla="*/ 3653321 w 8079933"/>
              <a:gd name="connsiteY27340" fmla="*/ 449323 h 4687251"/>
              <a:gd name="connsiteX27341" fmla="*/ 2758059 w 8079933"/>
              <a:gd name="connsiteY27341" fmla="*/ 444452 h 4687251"/>
              <a:gd name="connsiteX27342" fmla="*/ 2764787 w 8079933"/>
              <a:gd name="connsiteY27342" fmla="*/ 447049 h 4687251"/>
              <a:gd name="connsiteX27343" fmla="*/ 2770539 w 8079933"/>
              <a:gd name="connsiteY27343" fmla="*/ 452030 h 4687251"/>
              <a:gd name="connsiteX27344" fmla="*/ 2765005 w 8079933"/>
              <a:gd name="connsiteY27344" fmla="*/ 455170 h 4687251"/>
              <a:gd name="connsiteX27345" fmla="*/ 2760881 w 8079933"/>
              <a:gd name="connsiteY27345" fmla="*/ 452679 h 4687251"/>
              <a:gd name="connsiteX27346" fmla="*/ 2755346 w 8079933"/>
              <a:gd name="connsiteY27346" fmla="*/ 452572 h 4687251"/>
              <a:gd name="connsiteX27347" fmla="*/ 2750680 w 8079933"/>
              <a:gd name="connsiteY27347" fmla="*/ 447049 h 4687251"/>
              <a:gd name="connsiteX27348" fmla="*/ 2752416 w 8079933"/>
              <a:gd name="connsiteY27348" fmla="*/ 444993 h 4687251"/>
              <a:gd name="connsiteX27349" fmla="*/ 2774445 w 8079933"/>
              <a:gd name="connsiteY27349" fmla="*/ 444342 h 4687251"/>
              <a:gd name="connsiteX27350" fmla="*/ 2777593 w 8079933"/>
              <a:gd name="connsiteY27350" fmla="*/ 445316 h 4687251"/>
              <a:gd name="connsiteX27351" fmla="*/ 2781824 w 8079933"/>
              <a:gd name="connsiteY27351" fmla="*/ 444342 h 4687251"/>
              <a:gd name="connsiteX27352" fmla="*/ 2785623 w 8079933"/>
              <a:gd name="connsiteY27352" fmla="*/ 448890 h 4687251"/>
              <a:gd name="connsiteX27353" fmla="*/ 2788444 w 8079933"/>
              <a:gd name="connsiteY27353" fmla="*/ 448890 h 4687251"/>
              <a:gd name="connsiteX27354" fmla="*/ 2790940 w 8079933"/>
              <a:gd name="connsiteY27354" fmla="*/ 452896 h 4687251"/>
              <a:gd name="connsiteX27355" fmla="*/ 2787251 w 8079933"/>
              <a:gd name="connsiteY27355" fmla="*/ 452896 h 4687251"/>
              <a:gd name="connsiteX27356" fmla="*/ 2783452 w 8079933"/>
              <a:gd name="connsiteY27356" fmla="*/ 451164 h 4687251"/>
              <a:gd name="connsiteX27357" fmla="*/ 2776725 w 8079933"/>
              <a:gd name="connsiteY27357" fmla="*/ 450514 h 4687251"/>
              <a:gd name="connsiteX27358" fmla="*/ 2773903 w 8079933"/>
              <a:gd name="connsiteY27358" fmla="*/ 446400 h 4687251"/>
              <a:gd name="connsiteX27359" fmla="*/ 2209832 w 8079933"/>
              <a:gd name="connsiteY27359" fmla="*/ 440986 h 4687251"/>
              <a:gd name="connsiteX27360" fmla="*/ 2211568 w 8079933"/>
              <a:gd name="connsiteY27360" fmla="*/ 442827 h 4687251"/>
              <a:gd name="connsiteX27361" fmla="*/ 2210483 w 8079933"/>
              <a:gd name="connsiteY27361" fmla="*/ 445208 h 4687251"/>
              <a:gd name="connsiteX27362" fmla="*/ 2208747 w 8079933"/>
              <a:gd name="connsiteY27362" fmla="*/ 443152 h 4687251"/>
              <a:gd name="connsiteX27363" fmla="*/ 2332131 w 8079933"/>
              <a:gd name="connsiteY27363" fmla="*/ 436872 h 4687251"/>
              <a:gd name="connsiteX27364" fmla="*/ 2335712 w 8079933"/>
              <a:gd name="connsiteY27364" fmla="*/ 436872 h 4687251"/>
              <a:gd name="connsiteX27365" fmla="*/ 2334193 w 8079933"/>
              <a:gd name="connsiteY27365" fmla="*/ 441095 h 4687251"/>
              <a:gd name="connsiteX27366" fmla="*/ 2331263 w 8079933"/>
              <a:gd name="connsiteY27366" fmla="*/ 438929 h 4687251"/>
              <a:gd name="connsiteX27367" fmla="*/ 2161218 w 8079933"/>
              <a:gd name="connsiteY27367" fmla="*/ 434599 h 4687251"/>
              <a:gd name="connsiteX27368" fmla="*/ 2161326 w 8079933"/>
              <a:gd name="connsiteY27368" fmla="*/ 439146 h 4687251"/>
              <a:gd name="connsiteX27369" fmla="*/ 2162194 w 8079933"/>
              <a:gd name="connsiteY27369" fmla="*/ 441745 h 4687251"/>
              <a:gd name="connsiteX27370" fmla="*/ 2162194 w 8079933"/>
              <a:gd name="connsiteY27370" fmla="*/ 447916 h 4687251"/>
              <a:gd name="connsiteX27371" fmla="*/ 2161000 w 8079933"/>
              <a:gd name="connsiteY27371" fmla="*/ 452247 h 4687251"/>
              <a:gd name="connsiteX27372" fmla="*/ 2156768 w 8079933"/>
              <a:gd name="connsiteY27372" fmla="*/ 455929 h 4687251"/>
              <a:gd name="connsiteX27373" fmla="*/ 2152536 w 8079933"/>
              <a:gd name="connsiteY27373" fmla="*/ 455712 h 4687251"/>
              <a:gd name="connsiteX27374" fmla="*/ 2150257 w 8079933"/>
              <a:gd name="connsiteY27374" fmla="*/ 457119 h 4687251"/>
              <a:gd name="connsiteX27375" fmla="*/ 2146567 w 8079933"/>
              <a:gd name="connsiteY27375" fmla="*/ 457119 h 4687251"/>
              <a:gd name="connsiteX27376" fmla="*/ 2145157 w 8079933"/>
              <a:gd name="connsiteY27376" fmla="*/ 453655 h 4687251"/>
              <a:gd name="connsiteX27377" fmla="*/ 2141901 w 8079933"/>
              <a:gd name="connsiteY27377" fmla="*/ 451381 h 4687251"/>
              <a:gd name="connsiteX27378" fmla="*/ 2140491 w 8079933"/>
              <a:gd name="connsiteY27378" fmla="*/ 449323 h 4687251"/>
              <a:gd name="connsiteX27379" fmla="*/ 2141684 w 8079933"/>
              <a:gd name="connsiteY27379" fmla="*/ 447808 h 4687251"/>
              <a:gd name="connsiteX27380" fmla="*/ 2146676 w 8079933"/>
              <a:gd name="connsiteY27380" fmla="*/ 446184 h 4687251"/>
              <a:gd name="connsiteX27381" fmla="*/ 2148412 w 8079933"/>
              <a:gd name="connsiteY27381" fmla="*/ 442610 h 4687251"/>
              <a:gd name="connsiteX27382" fmla="*/ 2148412 w 8079933"/>
              <a:gd name="connsiteY27382" fmla="*/ 440445 h 4687251"/>
              <a:gd name="connsiteX27383" fmla="*/ 2155466 w 8079933"/>
              <a:gd name="connsiteY27383" fmla="*/ 436547 h 4687251"/>
              <a:gd name="connsiteX27384" fmla="*/ 2156768 w 8079933"/>
              <a:gd name="connsiteY27384" fmla="*/ 434814 h 4687251"/>
              <a:gd name="connsiteX27385" fmla="*/ 6115672 w 8079933"/>
              <a:gd name="connsiteY27385" fmla="*/ 432542 h 4687251"/>
              <a:gd name="connsiteX27386" fmla="*/ 6116215 w 8079933"/>
              <a:gd name="connsiteY27386" fmla="*/ 436440 h 4687251"/>
              <a:gd name="connsiteX27387" fmla="*/ 6115347 w 8079933"/>
              <a:gd name="connsiteY27387" fmla="*/ 441746 h 4687251"/>
              <a:gd name="connsiteX27388" fmla="*/ 6113068 w 8079933"/>
              <a:gd name="connsiteY27388" fmla="*/ 443154 h 4687251"/>
              <a:gd name="connsiteX27389" fmla="*/ 6111115 w 8079933"/>
              <a:gd name="connsiteY27389" fmla="*/ 441204 h 4687251"/>
              <a:gd name="connsiteX27390" fmla="*/ 6108836 w 8079933"/>
              <a:gd name="connsiteY27390" fmla="*/ 441097 h 4687251"/>
              <a:gd name="connsiteX27391" fmla="*/ 6107859 w 8079933"/>
              <a:gd name="connsiteY27391" fmla="*/ 436981 h 4687251"/>
              <a:gd name="connsiteX27392" fmla="*/ 6109270 w 8079933"/>
              <a:gd name="connsiteY27392" fmla="*/ 435466 h 4687251"/>
              <a:gd name="connsiteX27393" fmla="*/ 5545526 w 8079933"/>
              <a:gd name="connsiteY27393" fmla="*/ 426912 h 4687251"/>
              <a:gd name="connsiteX27394" fmla="*/ 5546827 w 8079933"/>
              <a:gd name="connsiteY27394" fmla="*/ 431025 h 4687251"/>
              <a:gd name="connsiteX27395" fmla="*/ 5545959 w 8079933"/>
              <a:gd name="connsiteY27395" fmla="*/ 433301 h 4687251"/>
              <a:gd name="connsiteX27396" fmla="*/ 5547479 w 8079933"/>
              <a:gd name="connsiteY27396" fmla="*/ 433735 h 4687251"/>
              <a:gd name="connsiteX27397" fmla="*/ 5547479 w 8079933"/>
              <a:gd name="connsiteY27397" fmla="*/ 435683 h 4687251"/>
              <a:gd name="connsiteX27398" fmla="*/ 5545742 w 8079933"/>
              <a:gd name="connsiteY27398" fmla="*/ 438714 h 4687251"/>
              <a:gd name="connsiteX27399" fmla="*/ 5542053 w 8079933"/>
              <a:gd name="connsiteY27399" fmla="*/ 439579 h 4687251"/>
              <a:gd name="connsiteX27400" fmla="*/ 5537278 w 8079933"/>
              <a:gd name="connsiteY27400" fmla="*/ 438931 h 4687251"/>
              <a:gd name="connsiteX27401" fmla="*/ 5534240 w 8079933"/>
              <a:gd name="connsiteY27401" fmla="*/ 440013 h 4687251"/>
              <a:gd name="connsiteX27402" fmla="*/ 5529790 w 8079933"/>
              <a:gd name="connsiteY27402" fmla="*/ 440121 h 4687251"/>
              <a:gd name="connsiteX27403" fmla="*/ 5527403 w 8079933"/>
              <a:gd name="connsiteY27403" fmla="*/ 437848 h 4687251"/>
              <a:gd name="connsiteX27404" fmla="*/ 5523822 w 8079933"/>
              <a:gd name="connsiteY27404" fmla="*/ 438605 h 4687251"/>
              <a:gd name="connsiteX27405" fmla="*/ 5522303 w 8079933"/>
              <a:gd name="connsiteY27405" fmla="*/ 436767 h 4687251"/>
              <a:gd name="connsiteX27406" fmla="*/ 5524473 w 8079933"/>
              <a:gd name="connsiteY27406" fmla="*/ 433518 h 4687251"/>
              <a:gd name="connsiteX27407" fmla="*/ 5528054 w 8079933"/>
              <a:gd name="connsiteY27407" fmla="*/ 434060 h 4687251"/>
              <a:gd name="connsiteX27408" fmla="*/ 5530442 w 8079933"/>
              <a:gd name="connsiteY27408" fmla="*/ 432760 h 4687251"/>
              <a:gd name="connsiteX27409" fmla="*/ 5532503 w 8079933"/>
              <a:gd name="connsiteY27409" fmla="*/ 429944 h 4687251"/>
              <a:gd name="connsiteX27410" fmla="*/ 5534348 w 8079933"/>
              <a:gd name="connsiteY27410" fmla="*/ 430052 h 4687251"/>
              <a:gd name="connsiteX27411" fmla="*/ 5535976 w 8079933"/>
              <a:gd name="connsiteY27411" fmla="*/ 432218 h 4687251"/>
              <a:gd name="connsiteX27412" fmla="*/ 5538363 w 8079933"/>
              <a:gd name="connsiteY27412" fmla="*/ 432868 h 4687251"/>
              <a:gd name="connsiteX27413" fmla="*/ 5539991 w 8079933"/>
              <a:gd name="connsiteY27413" fmla="*/ 431892 h 4687251"/>
              <a:gd name="connsiteX27414" fmla="*/ 5539232 w 8079933"/>
              <a:gd name="connsiteY27414" fmla="*/ 429509 h 4687251"/>
              <a:gd name="connsiteX27415" fmla="*/ 5541727 w 8079933"/>
              <a:gd name="connsiteY27415" fmla="*/ 427129 h 4687251"/>
              <a:gd name="connsiteX27416" fmla="*/ 2437067 w 8079933"/>
              <a:gd name="connsiteY27416" fmla="*/ 415434 h 4687251"/>
              <a:gd name="connsiteX27417" fmla="*/ 2444121 w 8079933"/>
              <a:gd name="connsiteY27417" fmla="*/ 418467 h 4687251"/>
              <a:gd name="connsiteX27418" fmla="*/ 2444880 w 8079933"/>
              <a:gd name="connsiteY27418" fmla="*/ 423988 h 4687251"/>
              <a:gd name="connsiteX27419" fmla="*/ 2441625 w 8079933"/>
              <a:gd name="connsiteY27419" fmla="*/ 433299 h 4687251"/>
              <a:gd name="connsiteX27420" fmla="*/ 2440539 w 8079933"/>
              <a:gd name="connsiteY27420" fmla="*/ 436005 h 4687251"/>
              <a:gd name="connsiteX27421" fmla="*/ 2441950 w 8079933"/>
              <a:gd name="connsiteY27421" fmla="*/ 437738 h 4687251"/>
              <a:gd name="connsiteX27422" fmla="*/ 2442818 w 8079933"/>
              <a:gd name="connsiteY27422" fmla="*/ 441419 h 4687251"/>
              <a:gd name="connsiteX27423" fmla="*/ 2440322 w 8079933"/>
              <a:gd name="connsiteY27423" fmla="*/ 441527 h 4687251"/>
              <a:gd name="connsiteX27424" fmla="*/ 2434788 w 8079933"/>
              <a:gd name="connsiteY27424" fmla="*/ 439578 h 4687251"/>
              <a:gd name="connsiteX27425" fmla="*/ 2434245 w 8079933"/>
              <a:gd name="connsiteY27425" fmla="*/ 434923 h 4687251"/>
              <a:gd name="connsiteX27426" fmla="*/ 2434897 w 8079933"/>
              <a:gd name="connsiteY27426" fmla="*/ 426153 h 4687251"/>
              <a:gd name="connsiteX27427" fmla="*/ 2433269 w 8079933"/>
              <a:gd name="connsiteY27427" fmla="*/ 423879 h 4687251"/>
              <a:gd name="connsiteX27428" fmla="*/ 2433160 w 8079933"/>
              <a:gd name="connsiteY27428" fmla="*/ 418574 h 4687251"/>
              <a:gd name="connsiteX27429" fmla="*/ 2432292 w 8079933"/>
              <a:gd name="connsiteY27429" fmla="*/ 417383 h 4687251"/>
              <a:gd name="connsiteX27430" fmla="*/ 2213631 w 8079933"/>
              <a:gd name="connsiteY27430" fmla="*/ 411861 h 4687251"/>
              <a:gd name="connsiteX27431" fmla="*/ 2216453 w 8079933"/>
              <a:gd name="connsiteY27431" fmla="*/ 411970 h 4687251"/>
              <a:gd name="connsiteX27432" fmla="*/ 2217429 w 8079933"/>
              <a:gd name="connsiteY27432" fmla="*/ 414568 h 4687251"/>
              <a:gd name="connsiteX27433" fmla="*/ 2213740 w 8079933"/>
              <a:gd name="connsiteY27433" fmla="*/ 417167 h 4687251"/>
              <a:gd name="connsiteX27434" fmla="*/ 2210158 w 8079933"/>
              <a:gd name="connsiteY27434" fmla="*/ 417708 h 4687251"/>
              <a:gd name="connsiteX27435" fmla="*/ 2204732 w 8079933"/>
              <a:gd name="connsiteY27435" fmla="*/ 418249 h 4687251"/>
              <a:gd name="connsiteX27436" fmla="*/ 2203430 w 8079933"/>
              <a:gd name="connsiteY27436" fmla="*/ 420523 h 4687251"/>
              <a:gd name="connsiteX27437" fmla="*/ 2198221 w 8079933"/>
              <a:gd name="connsiteY27437" fmla="*/ 423988 h 4687251"/>
              <a:gd name="connsiteX27438" fmla="*/ 2193447 w 8079933"/>
              <a:gd name="connsiteY27438" fmla="*/ 421389 h 4687251"/>
              <a:gd name="connsiteX27439" fmla="*/ 2189323 w 8079933"/>
              <a:gd name="connsiteY27439" fmla="*/ 421174 h 4687251"/>
              <a:gd name="connsiteX27440" fmla="*/ 2187369 w 8079933"/>
              <a:gd name="connsiteY27440" fmla="*/ 422580 h 4687251"/>
              <a:gd name="connsiteX27441" fmla="*/ 2185742 w 8079933"/>
              <a:gd name="connsiteY27441" fmla="*/ 421389 h 4687251"/>
              <a:gd name="connsiteX27442" fmla="*/ 2186284 w 8079933"/>
              <a:gd name="connsiteY27442" fmla="*/ 419333 h 4687251"/>
              <a:gd name="connsiteX27443" fmla="*/ 2189648 w 8079933"/>
              <a:gd name="connsiteY27443" fmla="*/ 418142 h 4687251"/>
              <a:gd name="connsiteX27444" fmla="*/ 2193230 w 8079933"/>
              <a:gd name="connsiteY27444" fmla="*/ 417925 h 4687251"/>
              <a:gd name="connsiteX27445" fmla="*/ 2198547 w 8079933"/>
              <a:gd name="connsiteY27445" fmla="*/ 414568 h 4687251"/>
              <a:gd name="connsiteX27446" fmla="*/ 2208422 w 8079933"/>
              <a:gd name="connsiteY27446" fmla="*/ 412511 h 4687251"/>
              <a:gd name="connsiteX27447" fmla="*/ 2210810 w 8079933"/>
              <a:gd name="connsiteY27447" fmla="*/ 413053 h 4687251"/>
              <a:gd name="connsiteX27448" fmla="*/ 1820366 w 8079933"/>
              <a:gd name="connsiteY27448" fmla="*/ 410887 h 4687251"/>
              <a:gd name="connsiteX27449" fmla="*/ 1833388 w 8079933"/>
              <a:gd name="connsiteY27449" fmla="*/ 414784 h 4687251"/>
              <a:gd name="connsiteX27450" fmla="*/ 1832086 w 8079933"/>
              <a:gd name="connsiteY27450" fmla="*/ 419873 h 4687251"/>
              <a:gd name="connsiteX27451" fmla="*/ 1835124 w 8079933"/>
              <a:gd name="connsiteY27451" fmla="*/ 422363 h 4687251"/>
              <a:gd name="connsiteX27452" fmla="*/ 1838271 w 8079933"/>
              <a:gd name="connsiteY27452" fmla="*/ 427776 h 4687251"/>
              <a:gd name="connsiteX27453" fmla="*/ 1850643 w 8079933"/>
              <a:gd name="connsiteY27453" fmla="*/ 434382 h 4687251"/>
              <a:gd name="connsiteX27454" fmla="*/ 1851402 w 8079933"/>
              <a:gd name="connsiteY27454" fmla="*/ 437845 h 4687251"/>
              <a:gd name="connsiteX27455" fmla="*/ 1848255 w 8079933"/>
              <a:gd name="connsiteY27455" fmla="*/ 441202 h 4687251"/>
              <a:gd name="connsiteX27456" fmla="*/ 1852053 w 8079933"/>
              <a:gd name="connsiteY27456" fmla="*/ 440553 h 4687251"/>
              <a:gd name="connsiteX27457" fmla="*/ 1856177 w 8079933"/>
              <a:gd name="connsiteY27457" fmla="*/ 438495 h 4687251"/>
              <a:gd name="connsiteX27458" fmla="*/ 1861060 w 8079933"/>
              <a:gd name="connsiteY27458" fmla="*/ 441202 h 4687251"/>
              <a:gd name="connsiteX27459" fmla="*/ 1859324 w 8079933"/>
              <a:gd name="connsiteY27459" fmla="*/ 447482 h 4687251"/>
              <a:gd name="connsiteX27460" fmla="*/ 1852813 w 8079933"/>
              <a:gd name="connsiteY27460" fmla="*/ 454303 h 4687251"/>
              <a:gd name="connsiteX27461" fmla="*/ 1853138 w 8079933"/>
              <a:gd name="connsiteY27461" fmla="*/ 456794 h 4687251"/>
              <a:gd name="connsiteX27462" fmla="*/ 1862470 w 8079933"/>
              <a:gd name="connsiteY27462" fmla="*/ 450839 h 4687251"/>
              <a:gd name="connsiteX27463" fmla="*/ 1862470 w 8079933"/>
              <a:gd name="connsiteY27463" fmla="*/ 445424 h 4687251"/>
              <a:gd name="connsiteX27464" fmla="*/ 1865835 w 8079933"/>
              <a:gd name="connsiteY27464" fmla="*/ 442285 h 4687251"/>
              <a:gd name="connsiteX27465" fmla="*/ 1872454 w 8079933"/>
              <a:gd name="connsiteY27465" fmla="*/ 442935 h 4687251"/>
              <a:gd name="connsiteX27466" fmla="*/ 1878640 w 8079933"/>
              <a:gd name="connsiteY27466" fmla="*/ 440878 h 4687251"/>
              <a:gd name="connsiteX27467" fmla="*/ 1881352 w 8079933"/>
              <a:gd name="connsiteY27467" fmla="*/ 441960 h 4687251"/>
              <a:gd name="connsiteX27468" fmla="*/ 1882763 w 8079933"/>
              <a:gd name="connsiteY27468" fmla="*/ 446399 h 4687251"/>
              <a:gd name="connsiteX27469" fmla="*/ 1891770 w 8079933"/>
              <a:gd name="connsiteY27469" fmla="*/ 455710 h 4687251"/>
              <a:gd name="connsiteX27470" fmla="*/ 1892747 w 8079933"/>
              <a:gd name="connsiteY27470" fmla="*/ 467404 h 4687251"/>
              <a:gd name="connsiteX27471" fmla="*/ 1890685 w 8079933"/>
              <a:gd name="connsiteY27471" fmla="*/ 471843 h 4687251"/>
              <a:gd name="connsiteX27472" fmla="*/ 1894157 w 8079933"/>
              <a:gd name="connsiteY27472" fmla="*/ 479854 h 4687251"/>
              <a:gd name="connsiteX27473" fmla="*/ 1893832 w 8079933"/>
              <a:gd name="connsiteY27473" fmla="*/ 486676 h 4687251"/>
              <a:gd name="connsiteX27474" fmla="*/ 1892096 w 8079933"/>
              <a:gd name="connsiteY27474" fmla="*/ 489057 h 4687251"/>
              <a:gd name="connsiteX27475" fmla="*/ 1894483 w 8079933"/>
              <a:gd name="connsiteY27475" fmla="*/ 492198 h 4687251"/>
              <a:gd name="connsiteX27476" fmla="*/ 1894483 w 8079933"/>
              <a:gd name="connsiteY27476" fmla="*/ 497070 h 4687251"/>
              <a:gd name="connsiteX27477" fmla="*/ 1895568 w 8079933"/>
              <a:gd name="connsiteY27477" fmla="*/ 501509 h 4687251"/>
              <a:gd name="connsiteX27478" fmla="*/ 1891444 w 8079933"/>
              <a:gd name="connsiteY27478" fmla="*/ 507031 h 4687251"/>
              <a:gd name="connsiteX27479" fmla="*/ 1882438 w 8079933"/>
              <a:gd name="connsiteY27479" fmla="*/ 509088 h 4687251"/>
              <a:gd name="connsiteX27480" fmla="*/ 1878965 w 8079933"/>
              <a:gd name="connsiteY27480" fmla="*/ 511470 h 4687251"/>
              <a:gd name="connsiteX27481" fmla="*/ 1868873 w 8079933"/>
              <a:gd name="connsiteY27481" fmla="*/ 512661 h 4687251"/>
              <a:gd name="connsiteX27482" fmla="*/ 1861711 w 8079933"/>
              <a:gd name="connsiteY27482" fmla="*/ 512012 h 4687251"/>
              <a:gd name="connsiteX27483" fmla="*/ 1848580 w 8079933"/>
              <a:gd name="connsiteY27483" fmla="*/ 517858 h 4687251"/>
              <a:gd name="connsiteX27484" fmla="*/ 1840116 w 8079933"/>
              <a:gd name="connsiteY27484" fmla="*/ 518615 h 4687251"/>
              <a:gd name="connsiteX27485" fmla="*/ 1829807 w 8079933"/>
              <a:gd name="connsiteY27485" fmla="*/ 523379 h 4687251"/>
              <a:gd name="connsiteX27486" fmla="*/ 1825683 w 8079933"/>
              <a:gd name="connsiteY27486" fmla="*/ 523487 h 4687251"/>
              <a:gd name="connsiteX27487" fmla="*/ 1820475 w 8079933"/>
              <a:gd name="connsiteY27487" fmla="*/ 526953 h 4687251"/>
              <a:gd name="connsiteX27488" fmla="*/ 1812228 w 8079933"/>
              <a:gd name="connsiteY27488" fmla="*/ 527277 h 4687251"/>
              <a:gd name="connsiteX27489" fmla="*/ 1808972 w 8079933"/>
              <a:gd name="connsiteY27489" fmla="*/ 529551 h 4687251"/>
              <a:gd name="connsiteX27490" fmla="*/ 1806476 w 8079933"/>
              <a:gd name="connsiteY27490" fmla="*/ 526953 h 4687251"/>
              <a:gd name="connsiteX27491" fmla="*/ 1803655 w 8079933"/>
              <a:gd name="connsiteY27491" fmla="*/ 528360 h 4687251"/>
              <a:gd name="connsiteX27492" fmla="*/ 1795516 w 8079933"/>
              <a:gd name="connsiteY27492" fmla="*/ 530093 h 4687251"/>
              <a:gd name="connsiteX27493" fmla="*/ 1793237 w 8079933"/>
              <a:gd name="connsiteY27493" fmla="*/ 536264 h 4687251"/>
              <a:gd name="connsiteX27494" fmla="*/ 1788896 w 8079933"/>
              <a:gd name="connsiteY27494" fmla="*/ 540920 h 4687251"/>
              <a:gd name="connsiteX27495" fmla="*/ 1786183 w 8079933"/>
              <a:gd name="connsiteY27495" fmla="*/ 541136 h 4687251"/>
              <a:gd name="connsiteX27496" fmla="*/ 1784447 w 8079933"/>
              <a:gd name="connsiteY27496" fmla="*/ 547740 h 4687251"/>
              <a:gd name="connsiteX27497" fmla="*/ 1778262 w 8079933"/>
              <a:gd name="connsiteY27497" fmla="*/ 549148 h 4687251"/>
              <a:gd name="connsiteX27498" fmla="*/ 1772945 w 8079933"/>
              <a:gd name="connsiteY27498" fmla="*/ 554020 h 4687251"/>
              <a:gd name="connsiteX27499" fmla="*/ 1766433 w 8079933"/>
              <a:gd name="connsiteY27499" fmla="*/ 553479 h 4687251"/>
              <a:gd name="connsiteX27500" fmla="*/ 1762310 w 8079933"/>
              <a:gd name="connsiteY27500" fmla="*/ 547308 h 4687251"/>
              <a:gd name="connsiteX27501" fmla="*/ 1759706 w 8079933"/>
              <a:gd name="connsiteY27501" fmla="*/ 553262 h 4687251"/>
              <a:gd name="connsiteX27502" fmla="*/ 1758946 w 8079933"/>
              <a:gd name="connsiteY27502" fmla="*/ 558134 h 4687251"/>
              <a:gd name="connsiteX27503" fmla="*/ 1753520 w 8079933"/>
              <a:gd name="connsiteY27503" fmla="*/ 560191 h 4687251"/>
              <a:gd name="connsiteX27504" fmla="*/ 1747443 w 8079933"/>
              <a:gd name="connsiteY27504" fmla="*/ 566363 h 4687251"/>
              <a:gd name="connsiteX27505" fmla="*/ 1746249 w 8079933"/>
              <a:gd name="connsiteY27505" fmla="*/ 569936 h 4687251"/>
              <a:gd name="connsiteX27506" fmla="*/ 1740715 w 8079933"/>
              <a:gd name="connsiteY27506" fmla="*/ 575999 h 4687251"/>
              <a:gd name="connsiteX27507" fmla="*/ 1741583 w 8079933"/>
              <a:gd name="connsiteY27507" fmla="*/ 579248 h 4687251"/>
              <a:gd name="connsiteX27508" fmla="*/ 1734638 w 8079933"/>
              <a:gd name="connsiteY27508" fmla="*/ 585743 h 4687251"/>
              <a:gd name="connsiteX27509" fmla="*/ 1730406 w 8079933"/>
              <a:gd name="connsiteY27509" fmla="*/ 590724 h 4687251"/>
              <a:gd name="connsiteX27510" fmla="*/ 1723352 w 8079933"/>
              <a:gd name="connsiteY27510" fmla="*/ 590291 h 4687251"/>
              <a:gd name="connsiteX27511" fmla="*/ 1717167 w 8079933"/>
              <a:gd name="connsiteY27511" fmla="*/ 593323 h 4687251"/>
              <a:gd name="connsiteX27512" fmla="*/ 1713151 w 8079933"/>
              <a:gd name="connsiteY27512" fmla="*/ 593539 h 4687251"/>
              <a:gd name="connsiteX27513" fmla="*/ 1710438 w 8079933"/>
              <a:gd name="connsiteY27513" fmla="*/ 589209 h 4687251"/>
              <a:gd name="connsiteX27514" fmla="*/ 1714020 w 8079933"/>
              <a:gd name="connsiteY27514" fmla="*/ 586285 h 4687251"/>
              <a:gd name="connsiteX27515" fmla="*/ 1713694 w 8079933"/>
              <a:gd name="connsiteY27515" fmla="*/ 580438 h 4687251"/>
              <a:gd name="connsiteX27516" fmla="*/ 1711090 w 8079933"/>
              <a:gd name="connsiteY27516" fmla="*/ 577731 h 4687251"/>
              <a:gd name="connsiteX27517" fmla="*/ 1707075 w 8079933"/>
              <a:gd name="connsiteY27517" fmla="*/ 581305 h 4687251"/>
              <a:gd name="connsiteX27518" fmla="*/ 1707292 w 8079933"/>
              <a:gd name="connsiteY27518" fmla="*/ 583578 h 4687251"/>
              <a:gd name="connsiteX27519" fmla="*/ 1704362 w 8079933"/>
              <a:gd name="connsiteY27519" fmla="*/ 584878 h 4687251"/>
              <a:gd name="connsiteX27520" fmla="*/ 1697308 w 8079933"/>
              <a:gd name="connsiteY27520" fmla="*/ 591266 h 4687251"/>
              <a:gd name="connsiteX27521" fmla="*/ 1691232 w 8079933"/>
              <a:gd name="connsiteY27521" fmla="*/ 592781 h 4687251"/>
              <a:gd name="connsiteX27522" fmla="*/ 1686999 w 8079933"/>
              <a:gd name="connsiteY27522" fmla="*/ 592023 h 4687251"/>
              <a:gd name="connsiteX27523" fmla="*/ 1682007 w 8079933"/>
              <a:gd name="connsiteY27523" fmla="*/ 593431 h 4687251"/>
              <a:gd name="connsiteX27524" fmla="*/ 1678209 w 8079933"/>
              <a:gd name="connsiteY27524" fmla="*/ 597003 h 4687251"/>
              <a:gd name="connsiteX27525" fmla="*/ 1675930 w 8079933"/>
              <a:gd name="connsiteY27525" fmla="*/ 595921 h 4687251"/>
              <a:gd name="connsiteX27526" fmla="*/ 1672132 w 8079933"/>
              <a:gd name="connsiteY27526" fmla="*/ 596029 h 4687251"/>
              <a:gd name="connsiteX27527" fmla="*/ 1672567 w 8079933"/>
              <a:gd name="connsiteY27527" fmla="*/ 593756 h 4687251"/>
              <a:gd name="connsiteX27528" fmla="*/ 1672567 w 8079933"/>
              <a:gd name="connsiteY27528" fmla="*/ 584878 h 4687251"/>
              <a:gd name="connsiteX27529" fmla="*/ 1676798 w 8079933"/>
              <a:gd name="connsiteY27529" fmla="*/ 577190 h 4687251"/>
              <a:gd name="connsiteX27530" fmla="*/ 1674736 w 8079933"/>
              <a:gd name="connsiteY27530" fmla="*/ 571344 h 4687251"/>
              <a:gd name="connsiteX27531" fmla="*/ 1676473 w 8079933"/>
              <a:gd name="connsiteY27531" fmla="*/ 564847 h 4687251"/>
              <a:gd name="connsiteX27532" fmla="*/ 1677124 w 8079933"/>
              <a:gd name="connsiteY27532" fmla="*/ 559326 h 4687251"/>
              <a:gd name="connsiteX27533" fmla="*/ 1673977 w 8079933"/>
              <a:gd name="connsiteY27533" fmla="*/ 556620 h 4687251"/>
              <a:gd name="connsiteX27534" fmla="*/ 1670179 w 8079933"/>
              <a:gd name="connsiteY27534" fmla="*/ 543843 h 4687251"/>
              <a:gd name="connsiteX27535" fmla="*/ 1675713 w 8079933"/>
              <a:gd name="connsiteY27535" fmla="*/ 545575 h 4687251"/>
              <a:gd name="connsiteX27536" fmla="*/ 1675713 w 8079933"/>
              <a:gd name="connsiteY27536" fmla="*/ 541461 h 4687251"/>
              <a:gd name="connsiteX27537" fmla="*/ 1667466 w 8079933"/>
              <a:gd name="connsiteY27537" fmla="*/ 541461 h 4687251"/>
              <a:gd name="connsiteX27538" fmla="*/ 1659544 w 8079933"/>
              <a:gd name="connsiteY27538" fmla="*/ 538646 h 4687251"/>
              <a:gd name="connsiteX27539" fmla="*/ 1659219 w 8079933"/>
              <a:gd name="connsiteY27539" fmla="*/ 534532 h 4687251"/>
              <a:gd name="connsiteX27540" fmla="*/ 1663017 w 8079933"/>
              <a:gd name="connsiteY27540" fmla="*/ 535939 h 4687251"/>
              <a:gd name="connsiteX27541" fmla="*/ 1667792 w 8079933"/>
              <a:gd name="connsiteY27541" fmla="*/ 532150 h 4687251"/>
              <a:gd name="connsiteX27542" fmla="*/ 1673977 w 8079933"/>
              <a:gd name="connsiteY27542" fmla="*/ 529010 h 4687251"/>
              <a:gd name="connsiteX27543" fmla="*/ 1674736 w 8079933"/>
              <a:gd name="connsiteY27543" fmla="*/ 525220 h 4687251"/>
              <a:gd name="connsiteX27544" fmla="*/ 1677450 w 8079933"/>
              <a:gd name="connsiteY27544" fmla="*/ 525220 h 4687251"/>
              <a:gd name="connsiteX27545" fmla="*/ 1681247 w 8079933"/>
              <a:gd name="connsiteY27545" fmla="*/ 520781 h 4687251"/>
              <a:gd name="connsiteX27546" fmla="*/ 1685372 w 8079933"/>
              <a:gd name="connsiteY27546" fmla="*/ 520132 h 4687251"/>
              <a:gd name="connsiteX27547" fmla="*/ 1687759 w 8079933"/>
              <a:gd name="connsiteY27547" fmla="*/ 513202 h 4687251"/>
              <a:gd name="connsiteX27548" fmla="*/ 1696766 w 8079933"/>
              <a:gd name="connsiteY27548" fmla="*/ 511144 h 4687251"/>
              <a:gd name="connsiteX27549" fmla="*/ 1697525 w 8079933"/>
              <a:gd name="connsiteY27549" fmla="*/ 509088 h 4687251"/>
              <a:gd name="connsiteX27550" fmla="*/ 1700564 w 8079933"/>
              <a:gd name="connsiteY27550" fmla="*/ 507681 h 4687251"/>
              <a:gd name="connsiteX27551" fmla="*/ 1704687 w 8079933"/>
              <a:gd name="connsiteY27551" fmla="*/ 501509 h 4687251"/>
              <a:gd name="connsiteX27552" fmla="*/ 1705447 w 8079933"/>
              <a:gd name="connsiteY27552" fmla="*/ 493605 h 4687251"/>
              <a:gd name="connsiteX27553" fmla="*/ 1706749 w 8079933"/>
              <a:gd name="connsiteY27553" fmla="*/ 496312 h 4687251"/>
              <a:gd name="connsiteX27554" fmla="*/ 1719879 w 8079933"/>
              <a:gd name="connsiteY27554" fmla="*/ 498044 h 4687251"/>
              <a:gd name="connsiteX27555" fmla="*/ 1720206 w 8079933"/>
              <a:gd name="connsiteY27555" fmla="*/ 491548 h 4687251"/>
              <a:gd name="connsiteX27556" fmla="*/ 1717493 w 8079933"/>
              <a:gd name="connsiteY27556" fmla="*/ 484618 h 4687251"/>
              <a:gd name="connsiteX27557" fmla="*/ 1717818 w 8079933"/>
              <a:gd name="connsiteY27557" fmla="*/ 481154 h 4687251"/>
              <a:gd name="connsiteX27558" fmla="*/ 1722701 w 8079933"/>
              <a:gd name="connsiteY27558" fmla="*/ 479422 h 4687251"/>
              <a:gd name="connsiteX27559" fmla="*/ 1733336 w 8079933"/>
              <a:gd name="connsiteY27559" fmla="*/ 471518 h 4687251"/>
              <a:gd name="connsiteX27560" fmla="*/ 1737894 w 8079933"/>
              <a:gd name="connsiteY27560" fmla="*/ 465022 h 4687251"/>
              <a:gd name="connsiteX27561" fmla="*/ 1747551 w 8079933"/>
              <a:gd name="connsiteY27561" fmla="*/ 461557 h 4687251"/>
              <a:gd name="connsiteX27562" fmla="*/ 1749613 w 8079933"/>
              <a:gd name="connsiteY27562" fmla="*/ 457118 h 4687251"/>
              <a:gd name="connsiteX27563" fmla="*/ 1755799 w 8079933"/>
              <a:gd name="connsiteY27563" fmla="*/ 450839 h 4687251"/>
              <a:gd name="connsiteX27564" fmla="*/ 1761333 w 8079933"/>
              <a:gd name="connsiteY27564" fmla="*/ 450839 h 4687251"/>
              <a:gd name="connsiteX27565" fmla="*/ 1764372 w 8079933"/>
              <a:gd name="connsiteY27565" fmla="*/ 447157 h 4687251"/>
              <a:gd name="connsiteX27566" fmla="*/ 1761007 w 8079933"/>
              <a:gd name="connsiteY27566" fmla="*/ 442610 h 4687251"/>
              <a:gd name="connsiteX27567" fmla="*/ 1762310 w 8079933"/>
              <a:gd name="connsiteY27567" fmla="*/ 432974 h 4687251"/>
              <a:gd name="connsiteX27568" fmla="*/ 1762310 w 8079933"/>
              <a:gd name="connsiteY27568" fmla="*/ 426478 h 4687251"/>
              <a:gd name="connsiteX27569" fmla="*/ 1764805 w 8079933"/>
              <a:gd name="connsiteY27569" fmla="*/ 421930 h 4687251"/>
              <a:gd name="connsiteX27570" fmla="*/ 1762744 w 8079933"/>
              <a:gd name="connsiteY27570" fmla="*/ 419548 h 4687251"/>
              <a:gd name="connsiteX27571" fmla="*/ 1764372 w 8079933"/>
              <a:gd name="connsiteY27571" fmla="*/ 415759 h 4687251"/>
              <a:gd name="connsiteX27572" fmla="*/ 1771642 w 8079933"/>
              <a:gd name="connsiteY27572" fmla="*/ 413702 h 4687251"/>
              <a:gd name="connsiteX27573" fmla="*/ 1775440 w 8079933"/>
              <a:gd name="connsiteY27573" fmla="*/ 414784 h 4687251"/>
              <a:gd name="connsiteX27574" fmla="*/ 1789981 w 8079933"/>
              <a:gd name="connsiteY27574" fmla="*/ 413702 h 4687251"/>
              <a:gd name="connsiteX27575" fmla="*/ 1793346 w 8079933"/>
              <a:gd name="connsiteY27575" fmla="*/ 415434 h 4687251"/>
              <a:gd name="connsiteX27576" fmla="*/ 1809298 w 8079933"/>
              <a:gd name="connsiteY27576" fmla="*/ 415434 h 4687251"/>
              <a:gd name="connsiteX27577" fmla="*/ 5499407 w 8079933"/>
              <a:gd name="connsiteY27577" fmla="*/ 407425 h 4687251"/>
              <a:gd name="connsiteX27578" fmla="*/ 5502553 w 8079933"/>
              <a:gd name="connsiteY27578" fmla="*/ 409697 h 4687251"/>
              <a:gd name="connsiteX27579" fmla="*/ 5502988 w 8079933"/>
              <a:gd name="connsiteY27579" fmla="*/ 412188 h 4687251"/>
              <a:gd name="connsiteX27580" fmla="*/ 5497995 w 8079933"/>
              <a:gd name="connsiteY27580" fmla="*/ 414029 h 4687251"/>
              <a:gd name="connsiteX27581" fmla="*/ 5493546 w 8079933"/>
              <a:gd name="connsiteY27581" fmla="*/ 414462 h 4687251"/>
              <a:gd name="connsiteX27582" fmla="*/ 5492244 w 8079933"/>
              <a:gd name="connsiteY27582" fmla="*/ 412405 h 4687251"/>
              <a:gd name="connsiteX27583" fmla="*/ 5497345 w 8079933"/>
              <a:gd name="connsiteY27583" fmla="*/ 410564 h 4687251"/>
              <a:gd name="connsiteX27584" fmla="*/ 2190843 w 8079933"/>
              <a:gd name="connsiteY27584" fmla="*/ 403524 h 4687251"/>
              <a:gd name="connsiteX27585" fmla="*/ 2196702 w 8079933"/>
              <a:gd name="connsiteY27585" fmla="*/ 403957 h 4687251"/>
              <a:gd name="connsiteX27586" fmla="*/ 2198330 w 8079933"/>
              <a:gd name="connsiteY27586" fmla="*/ 405906 h 4687251"/>
              <a:gd name="connsiteX27587" fmla="*/ 2202888 w 8079933"/>
              <a:gd name="connsiteY27587" fmla="*/ 404716 h 4687251"/>
              <a:gd name="connsiteX27588" fmla="*/ 2213522 w 8079933"/>
              <a:gd name="connsiteY27588" fmla="*/ 403524 h 4687251"/>
              <a:gd name="connsiteX27589" fmla="*/ 2216886 w 8079933"/>
              <a:gd name="connsiteY27589" fmla="*/ 404390 h 4687251"/>
              <a:gd name="connsiteX27590" fmla="*/ 2216778 w 8079933"/>
              <a:gd name="connsiteY27590" fmla="*/ 407531 h 4687251"/>
              <a:gd name="connsiteX27591" fmla="*/ 2212437 w 8079933"/>
              <a:gd name="connsiteY27591" fmla="*/ 408180 h 4687251"/>
              <a:gd name="connsiteX27592" fmla="*/ 2209181 w 8079933"/>
              <a:gd name="connsiteY27592" fmla="*/ 409696 h 4687251"/>
              <a:gd name="connsiteX27593" fmla="*/ 2207445 w 8079933"/>
              <a:gd name="connsiteY27593" fmla="*/ 408288 h 4687251"/>
              <a:gd name="connsiteX27594" fmla="*/ 2203213 w 8079933"/>
              <a:gd name="connsiteY27594" fmla="*/ 408288 h 4687251"/>
              <a:gd name="connsiteX27595" fmla="*/ 2198981 w 8079933"/>
              <a:gd name="connsiteY27595" fmla="*/ 410345 h 4687251"/>
              <a:gd name="connsiteX27596" fmla="*/ 2188021 w 8079933"/>
              <a:gd name="connsiteY27596" fmla="*/ 407206 h 4687251"/>
              <a:gd name="connsiteX27597" fmla="*/ 2187153 w 8079933"/>
              <a:gd name="connsiteY27597" fmla="*/ 404932 h 4687251"/>
              <a:gd name="connsiteX27598" fmla="*/ 5520025 w 8079933"/>
              <a:gd name="connsiteY27598" fmla="*/ 402010 h 4687251"/>
              <a:gd name="connsiteX27599" fmla="*/ 5522846 w 8079933"/>
              <a:gd name="connsiteY27599" fmla="*/ 402010 h 4687251"/>
              <a:gd name="connsiteX27600" fmla="*/ 5522521 w 8079933"/>
              <a:gd name="connsiteY27600" fmla="*/ 407316 h 4687251"/>
              <a:gd name="connsiteX27601" fmla="*/ 5524258 w 8079933"/>
              <a:gd name="connsiteY27601" fmla="*/ 408723 h 4687251"/>
              <a:gd name="connsiteX27602" fmla="*/ 5523823 w 8079933"/>
              <a:gd name="connsiteY27602" fmla="*/ 412405 h 4687251"/>
              <a:gd name="connsiteX27603" fmla="*/ 5521761 w 8079933"/>
              <a:gd name="connsiteY27603" fmla="*/ 414786 h 4687251"/>
              <a:gd name="connsiteX27604" fmla="*/ 5520568 w 8079933"/>
              <a:gd name="connsiteY27604" fmla="*/ 410348 h 4687251"/>
              <a:gd name="connsiteX27605" fmla="*/ 5518832 w 8079933"/>
              <a:gd name="connsiteY27605" fmla="*/ 408940 h 4687251"/>
              <a:gd name="connsiteX27606" fmla="*/ 5515901 w 8079933"/>
              <a:gd name="connsiteY27606" fmla="*/ 411647 h 4687251"/>
              <a:gd name="connsiteX27607" fmla="*/ 5513297 w 8079933"/>
              <a:gd name="connsiteY27607" fmla="*/ 412620 h 4687251"/>
              <a:gd name="connsiteX27608" fmla="*/ 5512537 w 8079933"/>
              <a:gd name="connsiteY27608" fmla="*/ 410889 h 4687251"/>
              <a:gd name="connsiteX27609" fmla="*/ 5516444 w 8079933"/>
              <a:gd name="connsiteY27609" fmla="*/ 407857 h 4687251"/>
              <a:gd name="connsiteX27610" fmla="*/ 5517746 w 8079933"/>
              <a:gd name="connsiteY27610" fmla="*/ 404176 h 4687251"/>
              <a:gd name="connsiteX27611" fmla="*/ 2681446 w 8079933"/>
              <a:gd name="connsiteY27611" fmla="*/ 397678 h 4687251"/>
              <a:gd name="connsiteX27612" fmla="*/ 2683833 w 8079933"/>
              <a:gd name="connsiteY27612" fmla="*/ 401684 h 4687251"/>
              <a:gd name="connsiteX27613" fmla="*/ 2679493 w 8079933"/>
              <a:gd name="connsiteY27613" fmla="*/ 401900 h 4687251"/>
              <a:gd name="connsiteX27614" fmla="*/ 2677648 w 8079933"/>
              <a:gd name="connsiteY27614" fmla="*/ 398870 h 4687251"/>
              <a:gd name="connsiteX27615" fmla="*/ 4175502 w 8079933"/>
              <a:gd name="connsiteY27615" fmla="*/ 395513 h 4687251"/>
              <a:gd name="connsiteX27616" fmla="*/ 4177238 w 8079933"/>
              <a:gd name="connsiteY27616" fmla="*/ 396271 h 4687251"/>
              <a:gd name="connsiteX27617" fmla="*/ 4181688 w 8079933"/>
              <a:gd name="connsiteY27617" fmla="*/ 402334 h 4687251"/>
              <a:gd name="connsiteX27618" fmla="*/ 4182664 w 8079933"/>
              <a:gd name="connsiteY27618" fmla="*/ 407855 h 4687251"/>
              <a:gd name="connsiteX27619" fmla="*/ 4184943 w 8079933"/>
              <a:gd name="connsiteY27619" fmla="*/ 409480 h 4687251"/>
              <a:gd name="connsiteX27620" fmla="*/ 4187005 w 8079933"/>
              <a:gd name="connsiteY27620" fmla="*/ 405799 h 4687251"/>
              <a:gd name="connsiteX27621" fmla="*/ 4190369 w 8079933"/>
              <a:gd name="connsiteY27621" fmla="*/ 403634 h 4687251"/>
              <a:gd name="connsiteX27622" fmla="*/ 4194058 w 8079933"/>
              <a:gd name="connsiteY27622" fmla="*/ 406232 h 4687251"/>
              <a:gd name="connsiteX27623" fmla="*/ 4198725 w 8079933"/>
              <a:gd name="connsiteY27623" fmla="*/ 412945 h 4687251"/>
              <a:gd name="connsiteX27624" fmla="*/ 4200678 w 8079933"/>
              <a:gd name="connsiteY27624" fmla="*/ 418250 h 4687251"/>
              <a:gd name="connsiteX27625" fmla="*/ 4200895 w 8079933"/>
              <a:gd name="connsiteY27625" fmla="*/ 423556 h 4687251"/>
              <a:gd name="connsiteX27626" fmla="*/ 4199050 w 8079933"/>
              <a:gd name="connsiteY27626" fmla="*/ 426045 h 4687251"/>
              <a:gd name="connsiteX27627" fmla="*/ 4198833 w 8079933"/>
              <a:gd name="connsiteY27627" fmla="*/ 436223 h 4687251"/>
              <a:gd name="connsiteX27628" fmla="*/ 4198942 w 8079933"/>
              <a:gd name="connsiteY27628" fmla="*/ 442179 h 4687251"/>
              <a:gd name="connsiteX27629" fmla="*/ 4198616 w 8079933"/>
              <a:gd name="connsiteY27629" fmla="*/ 444560 h 4687251"/>
              <a:gd name="connsiteX27630" fmla="*/ 4200244 w 8079933"/>
              <a:gd name="connsiteY27630" fmla="*/ 445426 h 4687251"/>
              <a:gd name="connsiteX27631" fmla="*/ 4203283 w 8079933"/>
              <a:gd name="connsiteY27631" fmla="*/ 442611 h 4687251"/>
              <a:gd name="connsiteX27632" fmla="*/ 4203174 w 8079933"/>
              <a:gd name="connsiteY27632" fmla="*/ 436764 h 4687251"/>
              <a:gd name="connsiteX27633" fmla="*/ 4202306 w 8079933"/>
              <a:gd name="connsiteY27633" fmla="*/ 427996 h 4687251"/>
              <a:gd name="connsiteX27634" fmla="*/ 4203499 w 8079933"/>
              <a:gd name="connsiteY27634" fmla="*/ 423664 h 4687251"/>
              <a:gd name="connsiteX27635" fmla="*/ 4206647 w 8079933"/>
              <a:gd name="connsiteY27635" fmla="*/ 421281 h 4687251"/>
              <a:gd name="connsiteX27636" fmla="*/ 4212615 w 8079933"/>
              <a:gd name="connsiteY27636" fmla="*/ 426370 h 4687251"/>
              <a:gd name="connsiteX27637" fmla="*/ 4216196 w 8079933"/>
              <a:gd name="connsiteY27637" fmla="*/ 435248 h 4687251"/>
              <a:gd name="connsiteX27638" fmla="*/ 4219235 w 8079933"/>
              <a:gd name="connsiteY27638" fmla="*/ 446076 h 4687251"/>
              <a:gd name="connsiteX27639" fmla="*/ 4219343 w 8079933"/>
              <a:gd name="connsiteY27639" fmla="*/ 449215 h 4687251"/>
              <a:gd name="connsiteX27640" fmla="*/ 4222164 w 8079933"/>
              <a:gd name="connsiteY27640" fmla="*/ 452356 h 4687251"/>
              <a:gd name="connsiteX27641" fmla="*/ 4227047 w 8079933"/>
              <a:gd name="connsiteY27641" fmla="*/ 452680 h 4687251"/>
              <a:gd name="connsiteX27642" fmla="*/ 4229435 w 8079933"/>
              <a:gd name="connsiteY27642" fmla="*/ 453872 h 4687251"/>
              <a:gd name="connsiteX27643" fmla="*/ 4235078 w 8079933"/>
              <a:gd name="connsiteY27643" fmla="*/ 460583 h 4687251"/>
              <a:gd name="connsiteX27644" fmla="*/ 4237900 w 8079933"/>
              <a:gd name="connsiteY27644" fmla="*/ 462966 h 4687251"/>
              <a:gd name="connsiteX27645" fmla="*/ 4244085 w 8079933"/>
              <a:gd name="connsiteY27645" fmla="*/ 469462 h 4687251"/>
              <a:gd name="connsiteX27646" fmla="*/ 4249185 w 8079933"/>
              <a:gd name="connsiteY27646" fmla="*/ 472277 h 4687251"/>
              <a:gd name="connsiteX27647" fmla="*/ 4259494 w 8079933"/>
              <a:gd name="connsiteY27647" fmla="*/ 474876 h 4687251"/>
              <a:gd name="connsiteX27648" fmla="*/ 4262858 w 8079933"/>
              <a:gd name="connsiteY27648" fmla="*/ 475850 h 4687251"/>
              <a:gd name="connsiteX27649" fmla="*/ 4263075 w 8079933"/>
              <a:gd name="connsiteY27649" fmla="*/ 481264 h 4687251"/>
              <a:gd name="connsiteX27650" fmla="*/ 4261556 w 8079933"/>
              <a:gd name="connsiteY27650" fmla="*/ 483862 h 4687251"/>
              <a:gd name="connsiteX27651" fmla="*/ 4260796 w 8079933"/>
              <a:gd name="connsiteY27651" fmla="*/ 487003 h 4687251"/>
              <a:gd name="connsiteX27652" fmla="*/ 4258843 w 8079933"/>
              <a:gd name="connsiteY27652" fmla="*/ 487544 h 4687251"/>
              <a:gd name="connsiteX27653" fmla="*/ 4256238 w 8079933"/>
              <a:gd name="connsiteY27653" fmla="*/ 483104 h 4687251"/>
              <a:gd name="connsiteX27654" fmla="*/ 4251464 w 8079933"/>
              <a:gd name="connsiteY27654" fmla="*/ 485270 h 4687251"/>
              <a:gd name="connsiteX27655" fmla="*/ 4248100 w 8079933"/>
              <a:gd name="connsiteY27655" fmla="*/ 484729 h 4687251"/>
              <a:gd name="connsiteX27656" fmla="*/ 4241589 w 8079933"/>
              <a:gd name="connsiteY27656" fmla="*/ 489925 h 4687251"/>
              <a:gd name="connsiteX27657" fmla="*/ 4237032 w 8079933"/>
              <a:gd name="connsiteY27657" fmla="*/ 490250 h 4687251"/>
              <a:gd name="connsiteX27658" fmla="*/ 4236272 w 8079933"/>
              <a:gd name="connsiteY27658" fmla="*/ 491983 h 4687251"/>
              <a:gd name="connsiteX27659" fmla="*/ 4237791 w 8079933"/>
              <a:gd name="connsiteY27659" fmla="*/ 494582 h 4687251"/>
              <a:gd name="connsiteX27660" fmla="*/ 4237574 w 8079933"/>
              <a:gd name="connsiteY27660" fmla="*/ 497287 h 4687251"/>
              <a:gd name="connsiteX27661" fmla="*/ 4232365 w 8079933"/>
              <a:gd name="connsiteY27661" fmla="*/ 501727 h 4687251"/>
              <a:gd name="connsiteX27662" fmla="*/ 4231497 w 8079933"/>
              <a:gd name="connsiteY27662" fmla="*/ 504217 h 4687251"/>
              <a:gd name="connsiteX27663" fmla="*/ 4232799 w 8079933"/>
              <a:gd name="connsiteY27663" fmla="*/ 509955 h 4687251"/>
              <a:gd name="connsiteX27664" fmla="*/ 4233016 w 8079933"/>
              <a:gd name="connsiteY27664" fmla="*/ 518619 h 4687251"/>
              <a:gd name="connsiteX27665" fmla="*/ 4232040 w 8079933"/>
              <a:gd name="connsiteY27665" fmla="*/ 522406 h 4687251"/>
              <a:gd name="connsiteX27666" fmla="*/ 4232473 w 8079933"/>
              <a:gd name="connsiteY27666" fmla="*/ 527820 h 4687251"/>
              <a:gd name="connsiteX27667" fmla="*/ 4233559 w 8079933"/>
              <a:gd name="connsiteY27667" fmla="*/ 529661 h 4687251"/>
              <a:gd name="connsiteX27668" fmla="*/ 4231388 w 8079933"/>
              <a:gd name="connsiteY27668" fmla="*/ 533125 h 4687251"/>
              <a:gd name="connsiteX27669" fmla="*/ 4227047 w 8079933"/>
              <a:gd name="connsiteY27669" fmla="*/ 531285 h 4687251"/>
              <a:gd name="connsiteX27670" fmla="*/ 4225202 w 8079933"/>
              <a:gd name="connsiteY27670" fmla="*/ 532584 h 4687251"/>
              <a:gd name="connsiteX27671" fmla="*/ 4224769 w 8079933"/>
              <a:gd name="connsiteY27671" fmla="*/ 537673 h 4687251"/>
              <a:gd name="connsiteX27672" fmla="*/ 4228133 w 8079933"/>
              <a:gd name="connsiteY27672" fmla="*/ 543520 h 4687251"/>
              <a:gd name="connsiteX27673" fmla="*/ 4228133 w 8079933"/>
              <a:gd name="connsiteY27673" fmla="*/ 548608 h 4687251"/>
              <a:gd name="connsiteX27674" fmla="*/ 4226722 w 8079933"/>
              <a:gd name="connsiteY27674" fmla="*/ 553805 h 4687251"/>
              <a:gd name="connsiteX27675" fmla="*/ 4226831 w 8079933"/>
              <a:gd name="connsiteY27675" fmla="*/ 560085 h 4687251"/>
              <a:gd name="connsiteX27676" fmla="*/ 4226397 w 8079933"/>
              <a:gd name="connsiteY27676" fmla="*/ 564740 h 4687251"/>
              <a:gd name="connsiteX27677" fmla="*/ 4224552 w 8079933"/>
              <a:gd name="connsiteY27677" fmla="*/ 564849 h 4687251"/>
              <a:gd name="connsiteX27678" fmla="*/ 4219560 w 8079933"/>
              <a:gd name="connsiteY27678" fmla="*/ 564307 h 4687251"/>
              <a:gd name="connsiteX27679" fmla="*/ 4215654 w 8079933"/>
              <a:gd name="connsiteY27679" fmla="*/ 567664 h 4687251"/>
              <a:gd name="connsiteX27680" fmla="*/ 4219994 w 8079933"/>
              <a:gd name="connsiteY27680" fmla="*/ 569830 h 4687251"/>
              <a:gd name="connsiteX27681" fmla="*/ 4219235 w 8079933"/>
              <a:gd name="connsiteY27681" fmla="*/ 571670 h 4687251"/>
              <a:gd name="connsiteX27682" fmla="*/ 4216196 w 8079933"/>
              <a:gd name="connsiteY27682" fmla="*/ 574701 h 4687251"/>
              <a:gd name="connsiteX27683" fmla="*/ 4216196 w 8079933"/>
              <a:gd name="connsiteY27683" fmla="*/ 578167 h 4687251"/>
              <a:gd name="connsiteX27684" fmla="*/ 4215545 w 8079933"/>
              <a:gd name="connsiteY27684" fmla="*/ 582173 h 4687251"/>
              <a:gd name="connsiteX27685" fmla="*/ 4215111 w 8079933"/>
              <a:gd name="connsiteY27685" fmla="*/ 597006 h 4687251"/>
              <a:gd name="connsiteX27686" fmla="*/ 4213266 w 8079933"/>
              <a:gd name="connsiteY27686" fmla="*/ 600903 h 4687251"/>
              <a:gd name="connsiteX27687" fmla="*/ 4211095 w 8079933"/>
              <a:gd name="connsiteY27687" fmla="*/ 603826 h 4687251"/>
              <a:gd name="connsiteX27688" fmla="*/ 4211747 w 8079933"/>
              <a:gd name="connsiteY27688" fmla="*/ 609240 h 4687251"/>
              <a:gd name="connsiteX27689" fmla="*/ 4213808 w 8079933"/>
              <a:gd name="connsiteY27689" fmla="*/ 615303 h 4687251"/>
              <a:gd name="connsiteX27690" fmla="*/ 4213808 w 8079933"/>
              <a:gd name="connsiteY27690" fmla="*/ 618335 h 4687251"/>
              <a:gd name="connsiteX27691" fmla="*/ 4212615 w 8079933"/>
              <a:gd name="connsiteY27691" fmla="*/ 619526 h 4687251"/>
              <a:gd name="connsiteX27692" fmla="*/ 4211964 w 8079933"/>
              <a:gd name="connsiteY27692" fmla="*/ 624614 h 4687251"/>
              <a:gd name="connsiteX27693" fmla="*/ 4209034 w 8079933"/>
              <a:gd name="connsiteY27693" fmla="*/ 628837 h 4687251"/>
              <a:gd name="connsiteX27694" fmla="*/ 4205344 w 8079933"/>
              <a:gd name="connsiteY27694" fmla="*/ 629487 h 4687251"/>
              <a:gd name="connsiteX27695" fmla="*/ 4202740 w 8079933"/>
              <a:gd name="connsiteY27695" fmla="*/ 626671 h 4687251"/>
              <a:gd name="connsiteX27696" fmla="*/ 4200895 w 8079933"/>
              <a:gd name="connsiteY27696" fmla="*/ 627322 h 4687251"/>
              <a:gd name="connsiteX27697" fmla="*/ 4199593 w 8079933"/>
              <a:gd name="connsiteY27697" fmla="*/ 629487 h 4687251"/>
              <a:gd name="connsiteX27698" fmla="*/ 4197965 w 8079933"/>
              <a:gd name="connsiteY27698" fmla="*/ 629811 h 4687251"/>
              <a:gd name="connsiteX27699" fmla="*/ 4197206 w 8079933"/>
              <a:gd name="connsiteY27699" fmla="*/ 626346 h 4687251"/>
              <a:gd name="connsiteX27700" fmla="*/ 4197640 w 8079933"/>
              <a:gd name="connsiteY27700" fmla="*/ 620175 h 4687251"/>
              <a:gd name="connsiteX27701" fmla="*/ 4196012 w 8079933"/>
              <a:gd name="connsiteY27701" fmla="*/ 617793 h 4687251"/>
              <a:gd name="connsiteX27702" fmla="*/ 4193625 w 8079933"/>
              <a:gd name="connsiteY27702" fmla="*/ 616602 h 4687251"/>
              <a:gd name="connsiteX27703" fmla="*/ 4186245 w 8079933"/>
              <a:gd name="connsiteY27703" fmla="*/ 609348 h 4687251"/>
              <a:gd name="connsiteX27704" fmla="*/ 4186245 w 8079933"/>
              <a:gd name="connsiteY27704" fmla="*/ 606966 h 4687251"/>
              <a:gd name="connsiteX27705" fmla="*/ 4190369 w 8079933"/>
              <a:gd name="connsiteY27705" fmla="*/ 603611 h 4687251"/>
              <a:gd name="connsiteX27706" fmla="*/ 4192431 w 8079933"/>
              <a:gd name="connsiteY27706" fmla="*/ 603502 h 4687251"/>
              <a:gd name="connsiteX27707" fmla="*/ 4194167 w 8079933"/>
              <a:gd name="connsiteY27707" fmla="*/ 601553 h 4687251"/>
              <a:gd name="connsiteX27708" fmla="*/ 4194602 w 8079933"/>
              <a:gd name="connsiteY27708" fmla="*/ 598630 h 4687251"/>
              <a:gd name="connsiteX27709" fmla="*/ 4193082 w 8079933"/>
              <a:gd name="connsiteY27709" fmla="*/ 597655 h 4687251"/>
              <a:gd name="connsiteX27710" fmla="*/ 4190477 w 8079933"/>
              <a:gd name="connsiteY27710" fmla="*/ 597980 h 4687251"/>
              <a:gd name="connsiteX27711" fmla="*/ 4188959 w 8079933"/>
              <a:gd name="connsiteY27711" fmla="*/ 596032 h 4687251"/>
              <a:gd name="connsiteX27712" fmla="*/ 4187114 w 8079933"/>
              <a:gd name="connsiteY27712" fmla="*/ 596032 h 4687251"/>
              <a:gd name="connsiteX27713" fmla="*/ 4185377 w 8079933"/>
              <a:gd name="connsiteY27713" fmla="*/ 599495 h 4687251"/>
              <a:gd name="connsiteX27714" fmla="*/ 4180386 w 8079933"/>
              <a:gd name="connsiteY27714" fmla="*/ 601228 h 4687251"/>
              <a:gd name="connsiteX27715" fmla="*/ 4175177 w 8079933"/>
              <a:gd name="connsiteY27715" fmla="*/ 597114 h 4687251"/>
              <a:gd name="connsiteX27716" fmla="*/ 4175068 w 8079933"/>
              <a:gd name="connsiteY27716" fmla="*/ 593649 h 4687251"/>
              <a:gd name="connsiteX27717" fmla="*/ 4173332 w 8079933"/>
              <a:gd name="connsiteY27717" fmla="*/ 592999 h 4687251"/>
              <a:gd name="connsiteX27718" fmla="*/ 4170727 w 8079933"/>
              <a:gd name="connsiteY27718" fmla="*/ 589860 h 4687251"/>
              <a:gd name="connsiteX27719" fmla="*/ 4167798 w 8079933"/>
              <a:gd name="connsiteY27719" fmla="*/ 589101 h 4687251"/>
              <a:gd name="connsiteX27720" fmla="*/ 4166604 w 8079933"/>
              <a:gd name="connsiteY27720" fmla="*/ 589209 h 4687251"/>
              <a:gd name="connsiteX27721" fmla="*/ 4164325 w 8079933"/>
              <a:gd name="connsiteY27721" fmla="*/ 586612 h 4687251"/>
              <a:gd name="connsiteX27722" fmla="*/ 4164108 w 8079933"/>
              <a:gd name="connsiteY27722" fmla="*/ 584338 h 4687251"/>
              <a:gd name="connsiteX27723" fmla="*/ 4161395 w 8079933"/>
              <a:gd name="connsiteY27723" fmla="*/ 581631 h 4687251"/>
              <a:gd name="connsiteX27724" fmla="*/ 4159768 w 8079933"/>
              <a:gd name="connsiteY27724" fmla="*/ 581848 h 4687251"/>
              <a:gd name="connsiteX27725" fmla="*/ 4159008 w 8079933"/>
              <a:gd name="connsiteY27725" fmla="*/ 580441 h 4687251"/>
              <a:gd name="connsiteX27726" fmla="*/ 4158682 w 8079933"/>
              <a:gd name="connsiteY27726" fmla="*/ 577408 h 4687251"/>
              <a:gd name="connsiteX27727" fmla="*/ 4155319 w 8079933"/>
              <a:gd name="connsiteY27727" fmla="*/ 575351 h 4687251"/>
              <a:gd name="connsiteX27728" fmla="*/ 4154775 w 8079933"/>
              <a:gd name="connsiteY27728" fmla="*/ 573619 h 4687251"/>
              <a:gd name="connsiteX27729" fmla="*/ 4154884 w 8079933"/>
              <a:gd name="connsiteY27729" fmla="*/ 571670 h 4687251"/>
              <a:gd name="connsiteX27730" fmla="*/ 4153907 w 8079933"/>
              <a:gd name="connsiteY27730" fmla="*/ 571128 h 4687251"/>
              <a:gd name="connsiteX27731" fmla="*/ 4154993 w 8079933"/>
              <a:gd name="connsiteY27731" fmla="*/ 568206 h 4687251"/>
              <a:gd name="connsiteX27732" fmla="*/ 4154884 w 8079933"/>
              <a:gd name="connsiteY27732" fmla="*/ 565823 h 4687251"/>
              <a:gd name="connsiteX27733" fmla="*/ 4152388 w 8079933"/>
              <a:gd name="connsiteY27733" fmla="*/ 563008 h 4687251"/>
              <a:gd name="connsiteX27734" fmla="*/ 4152497 w 8079933"/>
              <a:gd name="connsiteY27734" fmla="*/ 561601 h 4687251"/>
              <a:gd name="connsiteX27735" fmla="*/ 4158140 w 8079933"/>
              <a:gd name="connsiteY27735" fmla="*/ 557812 h 4687251"/>
              <a:gd name="connsiteX27736" fmla="*/ 4160527 w 8079933"/>
              <a:gd name="connsiteY27736" fmla="*/ 558028 h 4687251"/>
              <a:gd name="connsiteX27737" fmla="*/ 4163131 w 8079933"/>
              <a:gd name="connsiteY27737" fmla="*/ 561817 h 4687251"/>
              <a:gd name="connsiteX27738" fmla="*/ 4165085 w 8079933"/>
              <a:gd name="connsiteY27738" fmla="*/ 563550 h 4687251"/>
              <a:gd name="connsiteX27739" fmla="*/ 4166279 w 8079933"/>
              <a:gd name="connsiteY27739" fmla="*/ 563550 h 4687251"/>
              <a:gd name="connsiteX27740" fmla="*/ 4167580 w 8079933"/>
              <a:gd name="connsiteY27740" fmla="*/ 561492 h 4687251"/>
              <a:gd name="connsiteX27741" fmla="*/ 4171704 w 8079933"/>
              <a:gd name="connsiteY27741" fmla="*/ 562575 h 4687251"/>
              <a:gd name="connsiteX27742" fmla="*/ 4173875 w 8079933"/>
              <a:gd name="connsiteY27742" fmla="*/ 563767 h 4687251"/>
              <a:gd name="connsiteX27743" fmla="*/ 4177456 w 8079933"/>
              <a:gd name="connsiteY27743" fmla="*/ 563116 h 4687251"/>
              <a:gd name="connsiteX27744" fmla="*/ 4185594 w 8079933"/>
              <a:gd name="connsiteY27744" fmla="*/ 562575 h 4687251"/>
              <a:gd name="connsiteX27745" fmla="*/ 4185920 w 8079933"/>
              <a:gd name="connsiteY27745" fmla="*/ 560301 h 4687251"/>
              <a:gd name="connsiteX27746" fmla="*/ 4181471 w 8079933"/>
              <a:gd name="connsiteY27746" fmla="*/ 557162 h 4687251"/>
              <a:gd name="connsiteX27747" fmla="*/ 4177673 w 8079933"/>
              <a:gd name="connsiteY27747" fmla="*/ 557487 h 4687251"/>
              <a:gd name="connsiteX27748" fmla="*/ 4171379 w 8079933"/>
              <a:gd name="connsiteY27748" fmla="*/ 556404 h 4687251"/>
              <a:gd name="connsiteX27749" fmla="*/ 4167038 w 8079933"/>
              <a:gd name="connsiteY27749" fmla="*/ 554563 h 4687251"/>
              <a:gd name="connsiteX27750" fmla="*/ 4167038 w 8079933"/>
              <a:gd name="connsiteY27750" fmla="*/ 553047 h 4687251"/>
              <a:gd name="connsiteX27751" fmla="*/ 4170836 w 8079933"/>
              <a:gd name="connsiteY27751" fmla="*/ 552073 h 4687251"/>
              <a:gd name="connsiteX27752" fmla="*/ 4174200 w 8079933"/>
              <a:gd name="connsiteY27752" fmla="*/ 551966 h 4687251"/>
              <a:gd name="connsiteX27753" fmla="*/ 4181796 w 8079933"/>
              <a:gd name="connsiteY27753" fmla="*/ 548608 h 4687251"/>
              <a:gd name="connsiteX27754" fmla="*/ 4185703 w 8079933"/>
              <a:gd name="connsiteY27754" fmla="*/ 546119 h 4687251"/>
              <a:gd name="connsiteX27755" fmla="*/ 4191889 w 8079933"/>
              <a:gd name="connsiteY27755" fmla="*/ 546551 h 4687251"/>
              <a:gd name="connsiteX27756" fmla="*/ 4194927 w 8079933"/>
              <a:gd name="connsiteY27756" fmla="*/ 545035 h 4687251"/>
              <a:gd name="connsiteX27757" fmla="*/ 4196771 w 8079933"/>
              <a:gd name="connsiteY27757" fmla="*/ 544927 h 4687251"/>
              <a:gd name="connsiteX27758" fmla="*/ 4197748 w 8079933"/>
              <a:gd name="connsiteY27758" fmla="*/ 545793 h 4687251"/>
              <a:gd name="connsiteX27759" fmla="*/ 4198291 w 8079933"/>
              <a:gd name="connsiteY27759" fmla="*/ 542545 h 4687251"/>
              <a:gd name="connsiteX27760" fmla="*/ 4200678 w 8079933"/>
              <a:gd name="connsiteY27760" fmla="*/ 540704 h 4687251"/>
              <a:gd name="connsiteX27761" fmla="*/ 4200786 w 8079933"/>
              <a:gd name="connsiteY27761" fmla="*/ 538323 h 4687251"/>
              <a:gd name="connsiteX27762" fmla="*/ 4198725 w 8079933"/>
              <a:gd name="connsiteY27762" fmla="*/ 537565 h 4687251"/>
              <a:gd name="connsiteX27763" fmla="*/ 4195252 w 8079933"/>
              <a:gd name="connsiteY27763" fmla="*/ 539947 h 4687251"/>
              <a:gd name="connsiteX27764" fmla="*/ 4192865 w 8079933"/>
              <a:gd name="connsiteY27764" fmla="*/ 542220 h 4687251"/>
              <a:gd name="connsiteX27765" fmla="*/ 4183532 w 8079933"/>
              <a:gd name="connsiteY27765" fmla="*/ 542220 h 4687251"/>
              <a:gd name="connsiteX27766" fmla="*/ 4181037 w 8079933"/>
              <a:gd name="connsiteY27766" fmla="*/ 542436 h 4687251"/>
              <a:gd name="connsiteX27767" fmla="*/ 4180060 w 8079933"/>
              <a:gd name="connsiteY27767" fmla="*/ 541030 h 4687251"/>
              <a:gd name="connsiteX27768" fmla="*/ 4176153 w 8079933"/>
              <a:gd name="connsiteY27768" fmla="*/ 541030 h 4687251"/>
              <a:gd name="connsiteX27769" fmla="*/ 4174525 w 8079933"/>
              <a:gd name="connsiteY27769" fmla="*/ 542327 h 4687251"/>
              <a:gd name="connsiteX27770" fmla="*/ 4173224 w 8079933"/>
              <a:gd name="connsiteY27770" fmla="*/ 542653 h 4687251"/>
              <a:gd name="connsiteX27771" fmla="*/ 4169859 w 8079933"/>
              <a:gd name="connsiteY27771" fmla="*/ 546984 h 4687251"/>
              <a:gd name="connsiteX27772" fmla="*/ 4166061 w 8079933"/>
              <a:gd name="connsiteY27772" fmla="*/ 547634 h 4687251"/>
              <a:gd name="connsiteX27773" fmla="*/ 4163240 w 8079933"/>
              <a:gd name="connsiteY27773" fmla="*/ 547201 h 4687251"/>
              <a:gd name="connsiteX27774" fmla="*/ 4161070 w 8079933"/>
              <a:gd name="connsiteY27774" fmla="*/ 548608 h 4687251"/>
              <a:gd name="connsiteX27775" fmla="*/ 4156187 w 8079933"/>
              <a:gd name="connsiteY27775" fmla="*/ 549149 h 4687251"/>
              <a:gd name="connsiteX27776" fmla="*/ 4152714 w 8079933"/>
              <a:gd name="connsiteY27776" fmla="*/ 551099 h 4687251"/>
              <a:gd name="connsiteX27777" fmla="*/ 4149350 w 8079933"/>
              <a:gd name="connsiteY27777" fmla="*/ 551207 h 4687251"/>
              <a:gd name="connsiteX27778" fmla="*/ 4147939 w 8079933"/>
              <a:gd name="connsiteY27778" fmla="*/ 550016 h 4687251"/>
              <a:gd name="connsiteX27779" fmla="*/ 4147614 w 8079933"/>
              <a:gd name="connsiteY27779" fmla="*/ 543737 h 4687251"/>
              <a:gd name="connsiteX27780" fmla="*/ 4146202 w 8079933"/>
              <a:gd name="connsiteY27780" fmla="*/ 536807 h 4687251"/>
              <a:gd name="connsiteX27781" fmla="*/ 4146854 w 8079933"/>
              <a:gd name="connsiteY27781" fmla="*/ 534749 h 4687251"/>
              <a:gd name="connsiteX27782" fmla="*/ 4147071 w 8079933"/>
              <a:gd name="connsiteY27782" fmla="*/ 532584 h 4687251"/>
              <a:gd name="connsiteX27783" fmla="*/ 4149784 w 8079933"/>
              <a:gd name="connsiteY27783" fmla="*/ 531068 h 4687251"/>
              <a:gd name="connsiteX27784" fmla="*/ 4152931 w 8079933"/>
              <a:gd name="connsiteY27784" fmla="*/ 529553 h 4687251"/>
              <a:gd name="connsiteX27785" fmla="*/ 4154450 w 8079933"/>
              <a:gd name="connsiteY27785" fmla="*/ 531177 h 4687251"/>
              <a:gd name="connsiteX27786" fmla="*/ 4155427 w 8079933"/>
              <a:gd name="connsiteY27786" fmla="*/ 534209 h 4687251"/>
              <a:gd name="connsiteX27787" fmla="*/ 4157055 w 8079933"/>
              <a:gd name="connsiteY27787" fmla="*/ 533884 h 4687251"/>
              <a:gd name="connsiteX27788" fmla="*/ 4158140 w 8079933"/>
              <a:gd name="connsiteY27788" fmla="*/ 529986 h 4687251"/>
              <a:gd name="connsiteX27789" fmla="*/ 4162154 w 8079933"/>
              <a:gd name="connsiteY27789" fmla="*/ 527604 h 4687251"/>
              <a:gd name="connsiteX27790" fmla="*/ 4164216 w 8079933"/>
              <a:gd name="connsiteY27790" fmla="*/ 528254 h 4687251"/>
              <a:gd name="connsiteX27791" fmla="*/ 4167038 w 8079933"/>
              <a:gd name="connsiteY27791" fmla="*/ 524464 h 4687251"/>
              <a:gd name="connsiteX27792" fmla="*/ 4171053 w 8079933"/>
              <a:gd name="connsiteY27792" fmla="*/ 520024 h 4687251"/>
              <a:gd name="connsiteX27793" fmla="*/ 4175502 w 8079933"/>
              <a:gd name="connsiteY27793" fmla="*/ 518292 h 4687251"/>
              <a:gd name="connsiteX27794" fmla="*/ 4174852 w 8079933"/>
              <a:gd name="connsiteY27794" fmla="*/ 515369 h 4687251"/>
              <a:gd name="connsiteX27795" fmla="*/ 4176262 w 8079933"/>
              <a:gd name="connsiteY27795" fmla="*/ 513095 h 4687251"/>
              <a:gd name="connsiteX27796" fmla="*/ 4182339 w 8079933"/>
              <a:gd name="connsiteY27796" fmla="*/ 510606 h 4687251"/>
              <a:gd name="connsiteX27797" fmla="*/ 4189827 w 8079933"/>
              <a:gd name="connsiteY27797" fmla="*/ 510172 h 4687251"/>
              <a:gd name="connsiteX27798" fmla="*/ 4193625 w 8079933"/>
              <a:gd name="connsiteY27798" fmla="*/ 506816 h 4687251"/>
              <a:gd name="connsiteX27799" fmla="*/ 4197748 w 8079933"/>
              <a:gd name="connsiteY27799" fmla="*/ 505300 h 4687251"/>
              <a:gd name="connsiteX27800" fmla="*/ 4200244 w 8079933"/>
              <a:gd name="connsiteY27800" fmla="*/ 502918 h 4687251"/>
              <a:gd name="connsiteX27801" fmla="*/ 4200353 w 8079933"/>
              <a:gd name="connsiteY27801" fmla="*/ 500753 h 4687251"/>
              <a:gd name="connsiteX27802" fmla="*/ 4197748 w 8079933"/>
              <a:gd name="connsiteY27802" fmla="*/ 500753 h 4687251"/>
              <a:gd name="connsiteX27803" fmla="*/ 4194384 w 8079933"/>
              <a:gd name="connsiteY27803" fmla="*/ 504108 h 4687251"/>
              <a:gd name="connsiteX27804" fmla="*/ 4190586 w 8079933"/>
              <a:gd name="connsiteY27804" fmla="*/ 504867 h 4687251"/>
              <a:gd name="connsiteX27805" fmla="*/ 4187222 w 8079933"/>
              <a:gd name="connsiteY27805" fmla="*/ 503135 h 4687251"/>
              <a:gd name="connsiteX27806" fmla="*/ 4187331 w 8079933"/>
              <a:gd name="connsiteY27806" fmla="*/ 499778 h 4687251"/>
              <a:gd name="connsiteX27807" fmla="*/ 4189501 w 8079933"/>
              <a:gd name="connsiteY27807" fmla="*/ 495123 h 4687251"/>
              <a:gd name="connsiteX27808" fmla="*/ 4189827 w 8079933"/>
              <a:gd name="connsiteY27808" fmla="*/ 489708 h 4687251"/>
              <a:gd name="connsiteX27809" fmla="*/ 4187765 w 8079933"/>
              <a:gd name="connsiteY27809" fmla="*/ 486353 h 4687251"/>
              <a:gd name="connsiteX27810" fmla="*/ 4185594 w 8079933"/>
              <a:gd name="connsiteY27810" fmla="*/ 486244 h 4687251"/>
              <a:gd name="connsiteX27811" fmla="*/ 4184292 w 8079933"/>
              <a:gd name="connsiteY27811" fmla="*/ 488734 h 4687251"/>
              <a:gd name="connsiteX27812" fmla="*/ 4184401 w 8079933"/>
              <a:gd name="connsiteY27812" fmla="*/ 493931 h 4687251"/>
              <a:gd name="connsiteX27813" fmla="*/ 4182990 w 8079933"/>
              <a:gd name="connsiteY27813" fmla="*/ 498371 h 4687251"/>
              <a:gd name="connsiteX27814" fmla="*/ 4176262 w 8079933"/>
              <a:gd name="connsiteY27814" fmla="*/ 505191 h 4687251"/>
              <a:gd name="connsiteX27815" fmla="*/ 4172464 w 8079933"/>
              <a:gd name="connsiteY27815" fmla="*/ 506165 h 4687251"/>
              <a:gd name="connsiteX27816" fmla="*/ 4170402 w 8079933"/>
              <a:gd name="connsiteY27816" fmla="*/ 504867 h 4687251"/>
              <a:gd name="connsiteX27817" fmla="*/ 4169317 w 8079933"/>
              <a:gd name="connsiteY27817" fmla="*/ 498587 h 4687251"/>
              <a:gd name="connsiteX27818" fmla="*/ 4169968 w 8079933"/>
              <a:gd name="connsiteY27818" fmla="*/ 496422 h 4687251"/>
              <a:gd name="connsiteX27819" fmla="*/ 4172572 w 8079933"/>
              <a:gd name="connsiteY27819" fmla="*/ 493390 h 4687251"/>
              <a:gd name="connsiteX27820" fmla="*/ 4172572 w 8079933"/>
              <a:gd name="connsiteY27820" fmla="*/ 490575 h 4687251"/>
              <a:gd name="connsiteX27821" fmla="*/ 4171053 w 8079933"/>
              <a:gd name="connsiteY27821" fmla="*/ 488193 h 4687251"/>
              <a:gd name="connsiteX27822" fmla="*/ 4170402 w 8079933"/>
              <a:gd name="connsiteY27822" fmla="*/ 482347 h 4687251"/>
              <a:gd name="connsiteX27823" fmla="*/ 4168883 w 8079933"/>
              <a:gd name="connsiteY27823" fmla="*/ 479639 h 4687251"/>
              <a:gd name="connsiteX27824" fmla="*/ 4167472 w 8079933"/>
              <a:gd name="connsiteY27824" fmla="*/ 479748 h 4687251"/>
              <a:gd name="connsiteX27825" fmla="*/ 4165627 w 8079933"/>
              <a:gd name="connsiteY27825" fmla="*/ 482780 h 4687251"/>
              <a:gd name="connsiteX27826" fmla="*/ 4166604 w 8079933"/>
              <a:gd name="connsiteY27826" fmla="*/ 490142 h 4687251"/>
              <a:gd name="connsiteX27827" fmla="*/ 4165844 w 8079933"/>
              <a:gd name="connsiteY27827" fmla="*/ 493498 h 4687251"/>
              <a:gd name="connsiteX27828" fmla="*/ 4163023 w 8079933"/>
              <a:gd name="connsiteY27828" fmla="*/ 496314 h 4687251"/>
              <a:gd name="connsiteX27829" fmla="*/ 4162372 w 8079933"/>
              <a:gd name="connsiteY27829" fmla="*/ 493931 h 4687251"/>
              <a:gd name="connsiteX27830" fmla="*/ 4162914 w 8079933"/>
              <a:gd name="connsiteY27830" fmla="*/ 492199 h 4687251"/>
              <a:gd name="connsiteX27831" fmla="*/ 4160745 w 8079933"/>
              <a:gd name="connsiteY27831" fmla="*/ 488085 h 4687251"/>
              <a:gd name="connsiteX27832" fmla="*/ 4158357 w 8079933"/>
              <a:gd name="connsiteY27832" fmla="*/ 487003 h 4687251"/>
              <a:gd name="connsiteX27833" fmla="*/ 4156512 w 8079933"/>
              <a:gd name="connsiteY27833" fmla="*/ 488085 h 4687251"/>
              <a:gd name="connsiteX27834" fmla="*/ 4156403 w 8079933"/>
              <a:gd name="connsiteY27834" fmla="*/ 491333 h 4687251"/>
              <a:gd name="connsiteX27835" fmla="*/ 4157380 w 8079933"/>
              <a:gd name="connsiteY27835" fmla="*/ 494582 h 4687251"/>
              <a:gd name="connsiteX27836" fmla="*/ 4157380 w 8079933"/>
              <a:gd name="connsiteY27836" fmla="*/ 499669 h 4687251"/>
              <a:gd name="connsiteX27837" fmla="*/ 4159659 w 8079933"/>
              <a:gd name="connsiteY27837" fmla="*/ 503784 h 4687251"/>
              <a:gd name="connsiteX27838" fmla="*/ 4161721 w 8079933"/>
              <a:gd name="connsiteY27838" fmla="*/ 508549 h 4687251"/>
              <a:gd name="connsiteX27839" fmla="*/ 4161829 w 8079933"/>
              <a:gd name="connsiteY27839" fmla="*/ 511472 h 4687251"/>
              <a:gd name="connsiteX27840" fmla="*/ 4158465 w 8079933"/>
              <a:gd name="connsiteY27840" fmla="*/ 511147 h 4687251"/>
              <a:gd name="connsiteX27841" fmla="*/ 4155644 w 8079933"/>
              <a:gd name="connsiteY27841" fmla="*/ 512229 h 4687251"/>
              <a:gd name="connsiteX27842" fmla="*/ 4153582 w 8079933"/>
              <a:gd name="connsiteY27842" fmla="*/ 517535 h 4687251"/>
              <a:gd name="connsiteX27843" fmla="*/ 4153474 w 8079933"/>
              <a:gd name="connsiteY27843" fmla="*/ 520783 h 4687251"/>
              <a:gd name="connsiteX27844" fmla="*/ 4150327 w 8079933"/>
              <a:gd name="connsiteY27844" fmla="*/ 523273 h 4687251"/>
              <a:gd name="connsiteX27845" fmla="*/ 4141645 w 8079933"/>
              <a:gd name="connsiteY27845" fmla="*/ 524030 h 4687251"/>
              <a:gd name="connsiteX27846" fmla="*/ 4136762 w 8079933"/>
              <a:gd name="connsiteY27846" fmla="*/ 523490 h 4687251"/>
              <a:gd name="connsiteX27847" fmla="*/ 4137413 w 8079933"/>
              <a:gd name="connsiteY27847" fmla="*/ 521324 h 4687251"/>
              <a:gd name="connsiteX27848" fmla="*/ 4138824 w 8079933"/>
              <a:gd name="connsiteY27848" fmla="*/ 519266 h 4687251"/>
              <a:gd name="connsiteX27849" fmla="*/ 4136870 w 8079933"/>
              <a:gd name="connsiteY27849" fmla="*/ 515694 h 4687251"/>
              <a:gd name="connsiteX27850" fmla="*/ 4131336 w 8079933"/>
              <a:gd name="connsiteY27850" fmla="*/ 510280 h 4687251"/>
              <a:gd name="connsiteX27851" fmla="*/ 4127755 w 8079933"/>
              <a:gd name="connsiteY27851" fmla="*/ 509198 h 4687251"/>
              <a:gd name="connsiteX27852" fmla="*/ 4126561 w 8079933"/>
              <a:gd name="connsiteY27852" fmla="*/ 509740 h 4687251"/>
              <a:gd name="connsiteX27853" fmla="*/ 4124066 w 8079933"/>
              <a:gd name="connsiteY27853" fmla="*/ 505191 h 4687251"/>
              <a:gd name="connsiteX27854" fmla="*/ 4123523 w 8079933"/>
              <a:gd name="connsiteY27854" fmla="*/ 501186 h 4687251"/>
              <a:gd name="connsiteX27855" fmla="*/ 4128949 w 8079933"/>
              <a:gd name="connsiteY27855" fmla="*/ 500969 h 4687251"/>
              <a:gd name="connsiteX27856" fmla="*/ 4131662 w 8079933"/>
              <a:gd name="connsiteY27856" fmla="*/ 499021 h 4687251"/>
              <a:gd name="connsiteX27857" fmla="*/ 4130685 w 8079933"/>
              <a:gd name="connsiteY27857" fmla="*/ 497612 h 4687251"/>
              <a:gd name="connsiteX27858" fmla="*/ 4127104 w 8079933"/>
              <a:gd name="connsiteY27858" fmla="*/ 497287 h 4687251"/>
              <a:gd name="connsiteX27859" fmla="*/ 4124825 w 8079933"/>
              <a:gd name="connsiteY27859" fmla="*/ 497938 h 4687251"/>
              <a:gd name="connsiteX27860" fmla="*/ 4121461 w 8079933"/>
              <a:gd name="connsiteY27860" fmla="*/ 496314 h 4687251"/>
              <a:gd name="connsiteX27861" fmla="*/ 4120268 w 8079933"/>
              <a:gd name="connsiteY27861" fmla="*/ 493390 h 4687251"/>
              <a:gd name="connsiteX27862" fmla="*/ 4117555 w 8079933"/>
              <a:gd name="connsiteY27862" fmla="*/ 491333 h 4687251"/>
              <a:gd name="connsiteX27863" fmla="*/ 4113431 w 8079933"/>
              <a:gd name="connsiteY27863" fmla="*/ 489275 h 4687251"/>
              <a:gd name="connsiteX27864" fmla="*/ 4110935 w 8079933"/>
              <a:gd name="connsiteY27864" fmla="*/ 486244 h 4687251"/>
              <a:gd name="connsiteX27865" fmla="*/ 4112997 w 8079933"/>
              <a:gd name="connsiteY27865" fmla="*/ 483971 h 4687251"/>
              <a:gd name="connsiteX27866" fmla="*/ 4112889 w 8079933"/>
              <a:gd name="connsiteY27866" fmla="*/ 482780 h 4687251"/>
              <a:gd name="connsiteX27867" fmla="*/ 4110392 w 8079933"/>
              <a:gd name="connsiteY27867" fmla="*/ 480289 h 4687251"/>
              <a:gd name="connsiteX27868" fmla="*/ 4107137 w 8079933"/>
              <a:gd name="connsiteY27868" fmla="*/ 478665 h 4687251"/>
              <a:gd name="connsiteX27869" fmla="*/ 4104098 w 8079933"/>
              <a:gd name="connsiteY27869" fmla="*/ 474442 h 4687251"/>
              <a:gd name="connsiteX27870" fmla="*/ 4104424 w 8079933"/>
              <a:gd name="connsiteY27870" fmla="*/ 471303 h 4687251"/>
              <a:gd name="connsiteX27871" fmla="*/ 4106052 w 8079933"/>
              <a:gd name="connsiteY27871" fmla="*/ 470653 h 4687251"/>
              <a:gd name="connsiteX27872" fmla="*/ 4111804 w 8079933"/>
              <a:gd name="connsiteY27872" fmla="*/ 475309 h 4687251"/>
              <a:gd name="connsiteX27873" fmla="*/ 4113431 w 8079933"/>
              <a:gd name="connsiteY27873" fmla="*/ 477474 h 4687251"/>
              <a:gd name="connsiteX27874" fmla="*/ 4113539 w 8079933"/>
              <a:gd name="connsiteY27874" fmla="*/ 479098 h 4687251"/>
              <a:gd name="connsiteX27875" fmla="*/ 4115493 w 8079933"/>
              <a:gd name="connsiteY27875" fmla="*/ 479098 h 4687251"/>
              <a:gd name="connsiteX27876" fmla="*/ 4119074 w 8079933"/>
              <a:gd name="connsiteY27876" fmla="*/ 476392 h 4687251"/>
              <a:gd name="connsiteX27877" fmla="*/ 4119399 w 8079933"/>
              <a:gd name="connsiteY27877" fmla="*/ 472493 h 4687251"/>
              <a:gd name="connsiteX27878" fmla="*/ 4118097 w 8079933"/>
              <a:gd name="connsiteY27878" fmla="*/ 471518 h 4687251"/>
              <a:gd name="connsiteX27879" fmla="*/ 4115058 w 8079933"/>
              <a:gd name="connsiteY27879" fmla="*/ 471953 h 4687251"/>
              <a:gd name="connsiteX27880" fmla="*/ 4112997 w 8079933"/>
              <a:gd name="connsiteY27880" fmla="*/ 470653 h 4687251"/>
              <a:gd name="connsiteX27881" fmla="*/ 4112997 w 8079933"/>
              <a:gd name="connsiteY27881" fmla="*/ 469246 h 4687251"/>
              <a:gd name="connsiteX27882" fmla="*/ 4108873 w 8079933"/>
              <a:gd name="connsiteY27882" fmla="*/ 465782 h 4687251"/>
              <a:gd name="connsiteX27883" fmla="*/ 4108765 w 8079933"/>
              <a:gd name="connsiteY27883" fmla="*/ 462533 h 4687251"/>
              <a:gd name="connsiteX27884" fmla="*/ 4109633 w 8079933"/>
              <a:gd name="connsiteY27884" fmla="*/ 461775 h 4687251"/>
              <a:gd name="connsiteX27885" fmla="*/ 4111369 w 8079933"/>
              <a:gd name="connsiteY27885" fmla="*/ 455712 h 4687251"/>
              <a:gd name="connsiteX27886" fmla="*/ 4113648 w 8079933"/>
              <a:gd name="connsiteY27886" fmla="*/ 451056 h 4687251"/>
              <a:gd name="connsiteX27887" fmla="*/ 4112563 w 8079933"/>
              <a:gd name="connsiteY27887" fmla="*/ 450190 h 4687251"/>
              <a:gd name="connsiteX27888" fmla="*/ 4109416 w 8079933"/>
              <a:gd name="connsiteY27888" fmla="*/ 451922 h 4687251"/>
              <a:gd name="connsiteX27889" fmla="*/ 4106703 w 8079933"/>
              <a:gd name="connsiteY27889" fmla="*/ 449433 h 4687251"/>
              <a:gd name="connsiteX27890" fmla="*/ 4104858 w 8079933"/>
              <a:gd name="connsiteY27890" fmla="*/ 449757 h 4687251"/>
              <a:gd name="connsiteX27891" fmla="*/ 4104207 w 8079933"/>
              <a:gd name="connsiteY27891" fmla="*/ 454737 h 4687251"/>
              <a:gd name="connsiteX27892" fmla="*/ 4104858 w 8079933"/>
              <a:gd name="connsiteY27892" fmla="*/ 458960 h 4687251"/>
              <a:gd name="connsiteX27893" fmla="*/ 4102579 w 8079933"/>
              <a:gd name="connsiteY27893" fmla="*/ 462100 h 4687251"/>
              <a:gd name="connsiteX27894" fmla="*/ 4099541 w 8079933"/>
              <a:gd name="connsiteY27894" fmla="*/ 463615 h 4687251"/>
              <a:gd name="connsiteX27895" fmla="*/ 4098998 w 8079933"/>
              <a:gd name="connsiteY27895" fmla="*/ 459392 h 4687251"/>
              <a:gd name="connsiteX27896" fmla="*/ 4094224 w 8079933"/>
              <a:gd name="connsiteY27896" fmla="*/ 452356 h 4687251"/>
              <a:gd name="connsiteX27897" fmla="*/ 4093681 w 8079933"/>
              <a:gd name="connsiteY27897" fmla="*/ 447158 h 4687251"/>
              <a:gd name="connsiteX27898" fmla="*/ 4092162 w 8079933"/>
              <a:gd name="connsiteY27898" fmla="*/ 441203 h 4687251"/>
              <a:gd name="connsiteX27899" fmla="*/ 4092162 w 8079933"/>
              <a:gd name="connsiteY27899" fmla="*/ 437198 h 4687251"/>
              <a:gd name="connsiteX27900" fmla="*/ 4094983 w 8079933"/>
              <a:gd name="connsiteY27900" fmla="*/ 436547 h 4687251"/>
              <a:gd name="connsiteX27901" fmla="*/ 4098673 w 8079933"/>
              <a:gd name="connsiteY27901" fmla="*/ 433300 h 4687251"/>
              <a:gd name="connsiteX27902" fmla="*/ 4099975 w 8079933"/>
              <a:gd name="connsiteY27902" fmla="*/ 432434 h 4687251"/>
              <a:gd name="connsiteX27903" fmla="*/ 4099975 w 8079933"/>
              <a:gd name="connsiteY27903" fmla="*/ 428320 h 4687251"/>
              <a:gd name="connsiteX27904" fmla="*/ 4098673 w 8079933"/>
              <a:gd name="connsiteY27904" fmla="*/ 426045 h 4687251"/>
              <a:gd name="connsiteX27905" fmla="*/ 4098347 w 8079933"/>
              <a:gd name="connsiteY27905" fmla="*/ 420957 h 4687251"/>
              <a:gd name="connsiteX27906" fmla="*/ 4102579 w 8079933"/>
              <a:gd name="connsiteY27906" fmla="*/ 416301 h 4687251"/>
              <a:gd name="connsiteX27907" fmla="*/ 4105834 w 8079933"/>
              <a:gd name="connsiteY27907" fmla="*/ 416518 h 4687251"/>
              <a:gd name="connsiteX27908" fmla="*/ 4108439 w 8079933"/>
              <a:gd name="connsiteY27908" fmla="*/ 422906 h 4687251"/>
              <a:gd name="connsiteX27909" fmla="*/ 4110392 w 8079933"/>
              <a:gd name="connsiteY27909" fmla="*/ 427020 h 4687251"/>
              <a:gd name="connsiteX27910" fmla="*/ 4114190 w 8079933"/>
              <a:gd name="connsiteY27910" fmla="*/ 427670 h 4687251"/>
              <a:gd name="connsiteX27911" fmla="*/ 4115276 w 8079933"/>
              <a:gd name="connsiteY27911" fmla="*/ 425613 h 4687251"/>
              <a:gd name="connsiteX27912" fmla="*/ 4110392 w 8079933"/>
              <a:gd name="connsiteY27912" fmla="*/ 419333 h 4687251"/>
              <a:gd name="connsiteX27913" fmla="*/ 4110392 w 8079933"/>
              <a:gd name="connsiteY27913" fmla="*/ 414677 h 4687251"/>
              <a:gd name="connsiteX27914" fmla="*/ 4112345 w 8079933"/>
              <a:gd name="connsiteY27914" fmla="*/ 413703 h 4687251"/>
              <a:gd name="connsiteX27915" fmla="*/ 4115058 w 8079933"/>
              <a:gd name="connsiteY27915" fmla="*/ 415435 h 4687251"/>
              <a:gd name="connsiteX27916" fmla="*/ 4115493 w 8079933"/>
              <a:gd name="connsiteY27916" fmla="*/ 418250 h 4687251"/>
              <a:gd name="connsiteX27917" fmla="*/ 4117338 w 8079933"/>
              <a:gd name="connsiteY27917" fmla="*/ 420090 h 4687251"/>
              <a:gd name="connsiteX27918" fmla="*/ 4121027 w 8079933"/>
              <a:gd name="connsiteY27918" fmla="*/ 418359 h 4687251"/>
              <a:gd name="connsiteX27919" fmla="*/ 4130685 w 8079933"/>
              <a:gd name="connsiteY27919" fmla="*/ 410780 h 4687251"/>
              <a:gd name="connsiteX27920" fmla="*/ 4135460 w 8079933"/>
              <a:gd name="connsiteY27920" fmla="*/ 409697 h 4687251"/>
              <a:gd name="connsiteX27921" fmla="*/ 4138173 w 8079933"/>
              <a:gd name="connsiteY27921" fmla="*/ 411971 h 4687251"/>
              <a:gd name="connsiteX27922" fmla="*/ 4140994 w 8079933"/>
              <a:gd name="connsiteY27922" fmla="*/ 417276 h 4687251"/>
              <a:gd name="connsiteX27923" fmla="*/ 4140126 w 8079933"/>
              <a:gd name="connsiteY27923" fmla="*/ 420740 h 4687251"/>
              <a:gd name="connsiteX27924" fmla="*/ 4137522 w 8079933"/>
              <a:gd name="connsiteY27924" fmla="*/ 423556 h 4687251"/>
              <a:gd name="connsiteX27925" fmla="*/ 4134592 w 8079933"/>
              <a:gd name="connsiteY27925" fmla="*/ 423339 h 4687251"/>
              <a:gd name="connsiteX27926" fmla="*/ 4133290 w 8079933"/>
              <a:gd name="connsiteY27926" fmla="*/ 422148 h 4687251"/>
              <a:gd name="connsiteX27927" fmla="*/ 4131010 w 8079933"/>
              <a:gd name="connsiteY27927" fmla="*/ 422473 h 4687251"/>
              <a:gd name="connsiteX27928" fmla="*/ 4126019 w 8079933"/>
              <a:gd name="connsiteY27928" fmla="*/ 426478 h 4687251"/>
              <a:gd name="connsiteX27929" fmla="*/ 4125259 w 8079933"/>
              <a:gd name="connsiteY27929" fmla="*/ 428644 h 4687251"/>
              <a:gd name="connsiteX27930" fmla="*/ 4123306 w 8079933"/>
              <a:gd name="connsiteY27930" fmla="*/ 429078 h 4687251"/>
              <a:gd name="connsiteX27931" fmla="*/ 4122329 w 8079933"/>
              <a:gd name="connsiteY27931" fmla="*/ 432000 h 4687251"/>
              <a:gd name="connsiteX27932" fmla="*/ 4124825 w 8079933"/>
              <a:gd name="connsiteY27932" fmla="*/ 433842 h 4687251"/>
              <a:gd name="connsiteX27933" fmla="*/ 4128623 w 8079933"/>
              <a:gd name="connsiteY27933" fmla="*/ 431459 h 4687251"/>
              <a:gd name="connsiteX27934" fmla="*/ 4134157 w 8079933"/>
              <a:gd name="connsiteY27934" fmla="*/ 429078 h 4687251"/>
              <a:gd name="connsiteX27935" fmla="*/ 4136436 w 8079933"/>
              <a:gd name="connsiteY27935" fmla="*/ 430269 h 4687251"/>
              <a:gd name="connsiteX27936" fmla="*/ 4136328 w 8079933"/>
              <a:gd name="connsiteY27936" fmla="*/ 432000 h 4687251"/>
              <a:gd name="connsiteX27937" fmla="*/ 4131987 w 8079933"/>
              <a:gd name="connsiteY27937" fmla="*/ 435357 h 4687251"/>
              <a:gd name="connsiteX27938" fmla="*/ 4131554 w 8079933"/>
              <a:gd name="connsiteY27938" fmla="*/ 437631 h 4687251"/>
              <a:gd name="connsiteX27939" fmla="*/ 4133941 w 8079933"/>
              <a:gd name="connsiteY27939" fmla="*/ 438713 h 4687251"/>
              <a:gd name="connsiteX27940" fmla="*/ 4135351 w 8079933"/>
              <a:gd name="connsiteY27940" fmla="*/ 436981 h 4687251"/>
              <a:gd name="connsiteX27941" fmla="*/ 4137088 w 8079933"/>
              <a:gd name="connsiteY27941" fmla="*/ 437198 h 4687251"/>
              <a:gd name="connsiteX27942" fmla="*/ 4138932 w 8079933"/>
              <a:gd name="connsiteY27942" fmla="*/ 440337 h 4687251"/>
              <a:gd name="connsiteX27943" fmla="*/ 4140886 w 8079933"/>
              <a:gd name="connsiteY27943" fmla="*/ 441853 h 4687251"/>
              <a:gd name="connsiteX27944" fmla="*/ 4140560 w 8079933"/>
              <a:gd name="connsiteY27944" fmla="*/ 444777 h 4687251"/>
              <a:gd name="connsiteX27945" fmla="*/ 4141536 w 8079933"/>
              <a:gd name="connsiteY27945" fmla="*/ 450081 h 4687251"/>
              <a:gd name="connsiteX27946" fmla="*/ 4143924 w 8079933"/>
              <a:gd name="connsiteY27946" fmla="*/ 453006 h 4687251"/>
              <a:gd name="connsiteX27947" fmla="*/ 4145986 w 8079933"/>
              <a:gd name="connsiteY27947" fmla="*/ 453980 h 4687251"/>
              <a:gd name="connsiteX27948" fmla="*/ 4144901 w 8079933"/>
              <a:gd name="connsiteY27948" fmla="*/ 447267 h 4687251"/>
              <a:gd name="connsiteX27949" fmla="*/ 4142188 w 8079933"/>
              <a:gd name="connsiteY27949" fmla="*/ 441853 h 4687251"/>
              <a:gd name="connsiteX27950" fmla="*/ 4141428 w 8079933"/>
              <a:gd name="connsiteY27950" fmla="*/ 436439 h 4687251"/>
              <a:gd name="connsiteX27951" fmla="*/ 4142622 w 8079933"/>
              <a:gd name="connsiteY27951" fmla="*/ 431025 h 4687251"/>
              <a:gd name="connsiteX27952" fmla="*/ 4147397 w 8079933"/>
              <a:gd name="connsiteY27952" fmla="*/ 423556 h 4687251"/>
              <a:gd name="connsiteX27953" fmla="*/ 4148265 w 8079933"/>
              <a:gd name="connsiteY27953" fmla="*/ 418899 h 4687251"/>
              <a:gd name="connsiteX27954" fmla="*/ 4150435 w 8079933"/>
              <a:gd name="connsiteY27954" fmla="*/ 416951 h 4687251"/>
              <a:gd name="connsiteX27955" fmla="*/ 4152714 w 8079933"/>
              <a:gd name="connsiteY27955" fmla="*/ 417925 h 4687251"/>
              <a:gd name="connsiteX27956" fmla="*/ 4156946 w 8079933"/>
              <a:gd name="connsiteY27956" fmla="*/ 422798 h 4687251"/>
              <a:gd name="connsiteX27957" fmla="*/ 4162046 w 8079933"/>
              <a:gd name="connsiteY27957" fmla="*/ 426370 h 4687251"/>
              <a:gd name="connsiteX27958" fmla="*/ 4162589 w 8079933"/>
              <a:gd name="connsiteY27958" fmla="*/ 429078 h 4687251"/>
              <a:gd name="connsiteX27959" fmla="*/ 4162589 w 8079933"/>
              <a:gd name="connsiteY27959" fmla="*/ 438171 h 4687251"/>
              <a:gd name="connsiteX27960" fmla="*/ 4166496 w 8079933"/>
              <a:gd name="connsiteY27960" fmla="*/ 447917 h 4687251"/>
              <a:gd name="connsiteX27961" fmla="*/ 4166496 w 8079933"/>
              <a:gd name="connsiteY27961" fmla="*/ 451922 h 4687251"/>
              <a:gd name="connsiteX27962" fmla="*/ 4165411 w 8079933"/>
              <a:gd name="connsiteY27962" fmla="*/ 454954 h 4687251"/>
              <a:gd name="connsiteX27963" fmla="*/ 4161938 w 8079933"/>
              <a:gd name="connsiteY27963" fmla="*/ 458203 h 4687251"/>
              <a:gd name="connsiteX27964" fmla="*/ 4162372 w 8079933"/>
              <a:gd name="connsiteY27964" fmla="*/ 460044 h 4687251"/>
              <a:gd name="connsiteX27965" fmla="*/ 4163999 w 8079933"/>
              <a:gd name="connsiteY27965" fmla="*/ 460800 h 4687251"/>
              <a:gd name="connsiteX27966" fmla="*/ 4167364 w 8079933"/>
              <a:gd name="connsiteY27966" fmla="*/ 458744 h 4687251"/>
              <a:gd name="connsiteX27967" fmla="*/ 4169751 w 8079933"/>
              <a:gd name="connsiteY27967" fmla="*/ 459176 h 4687251"/>
              <a:gd name="connsiteX27968" fmla="*/ 4172681 w 8079933"/>
              <a:gd name="connsiteY27968" fmla="*/ 463508 h 4687251"/>
              <a:gd name="connsiteX27969" fmla="*/ 4175828 w 8079933"/>
              <a:gd name="connsiteY27969" fmla="*/ 471086 h 4687251"/>
              <a:gd name="connsiteX27970" fmla="*/ 4177890 w 8079933"/>
              <a:gd name="connsiteY27970" fmla="*/ 473143 h 4687251"/>
              <a:gd name="connsiteX27971" fmla="*/ 4181145 w 8079933"/>
              <a:gd name="connsiteY27971" fmla="*/ 473035 h 4687251"/>
              <a:gd name="connsiteX27972" fmla="*/ 4182013 w 8079933"/>
              <a:gd name="connsiteY27972" fmla="*/ 469246 h 4687251"/>
              <a:gd name="connsiteX27973" fmla="*/ 4177456 w 8079933"/>
              <a:gd name="connsiteY27973" fmla="*/ 463833 h 4687251"/>
              <a:gd name="connsiteX27974" fmla="*/ 4176697 w 8079933"/>
              <a:gd name="connsiteY27974" fmla="*/ 459068 h 4687251"/>
              <a:gd name="connsiteX27975" fmla="*/ 4172681 w 8079933"/>
              <a:gd name="connsiteY27975" fmla="*/ 452572 h 4687251"/>
              <a:gd name="connsiteX27976" fmla="*/ 4170945 w 8079933"/>
              <a:gd name="connsiteY27976" fmla="*/ 447267 h 4687251"/>
              <a:gd name="connsiteX27977" fmla="*/ 4170836 w 8079933"/>
              <a:gd name="connsiteY27977" fmla="*/ 440554 h 4687251"/>
              <a:gd name="connsiteX27978" fmla="*/ 4171053 w 8079933"/>
              <a:gd name="connsiteY27978" fmla="*/ 426370 h 4687251"/>
              <a:gd name="connsiteX27979" fmla="*/ 4169642 w 8079933"/>
              <a:gd name="connsiteY27979" fmla="*/ 423556 h 4687251"/>
              <a:gd name="connsiteX27980" fmla="*/ 4167580 w 8079933"/>
              <a:gd name="connsiteY27980" fmla="*/ 422256 h 4687251"/>
              <a:gd name="connsiteX27981" fmla="*/ 4168666 w 8079933"/>
              <a:gd name="connsiteY27981" fmla="*/ 417276 h 4687251"/>
              <a:gd name="connsiteX27982" fmla="*/ 4168340 w 8079933"/>
              <a:gd name="connsiteY27982" fmla="*/ 412838 h 4687251"/>
              <a:gd name="connsiteX27983" fmla="*/ 4170402 w 8079933"/>
              <a:gd name="connsiteY27983" fmla="*/ 408723 h 4687251"/>
              <a:gd name="connsiteX27984" fmla="*/ 4169859 w 8079933"/>
              <a:gd name="connsiteY27984" fmla="*/ 401685 h 4687251"/>
              <a:gd name="connsiteX27985" fmla="*/ 4172681 w 8079933"/>
              <a:gd name="connsiteY27985" fmla="*/ 396705 h 4687251"/>
              <a:gd name="connsiteX27986" fmla="*/ 5536519 w 8079933"/>
              <a:gd name="connsiteY27986" fmla="*/ 393782 h 4687251"/>
              <a:gd name="connsiteX27987" fmla="*/ 5538364 w 8079933"/>
              <a:gd name="connsiteY27987" fmla="*/ 393891 h 4687251"/>
              <a:gd name="connsiteX27988" fmla="*/ 5540426 w 8079933"/>
              <a:gd name="connsiteY27988" fmla="*/ 397463 h 4687251"/>
              <a:gd name="connsiteX27989" fmla="*/ 5544441 w 8079933"/>
              <a:gd name="connsiteY27989" fmla="*/ 398872 h 4687251"/>
              <a:gd name="connsiteX27990" fmla="*/ 5543464 w 8079933"/>
              <a:gd name="connsiteY27990" fmla="*/ 401578 h 4687251"/>
              <a:gd name="connsiteX27991" fmla="*/ 5541511 w 8079933"/>
              <a:gd name="connsiteY27991" fmla="*/ 402660 h 4687251"/>
              <a:gd name="connsiteX27992" fmla="*/ 5539449 w 8079933"/>
              <a:gd name="connsiteY27992" fmla="*/ 402770 h 4687251"/>
              <a:gd name="connsiteX27993" fmla="*/ 5538581 w 8079933"/>
              <a:gd name="connsiteY27993" fmla="*/ 398546 h 4687251"/>
              <a:gd name="connsiteX27994" fmla="*/ 5536085 w 8079933"/>
              <a:gd name="connsiteY27994" fmla="*/ 395839 h 4687251"/>
              <a:gd name="connsiteX27995" fmla="*/ 2328875 w 8079933"/>
              <a:gd name="connsiteY27995" fmla="*/ 393130 h 4687251"/>
              <a:gd name="connsiteX27996" fmla="*/ 2329201 w 8079933"/>
              <a:gd name="connsiteY27996" fmla="*/ 396920 h 4687251"/>
              <a:gd name="connsiteX27997" fmla="*/ 2326705 w 8079933"/>
              <a:gd name="connsiteY27997" fmla="*/ 399301 h 4687251"/>
              <a:gd name="connsiteX27998" fmla="*/ 2324535 w 8079933"/>
              <a:gd name="connsiteY27998" fmla="*/ 399735 h 4687251"/>
              <a:gd name="connsiteX27999" fmla="*/ 2327465 w 8079933"/>
              <a:gd name="connsiteY27999" fmla="*/ 396379 h 4687251"/>
              <a:gd name="connsiteX28000" fmla="*/ 7107190 w 8079933"/>
              <a:gd name="connsiteY28000" fmla="*/ 388152 h 4687251"/>
              <a:gd name="connsiteX28001" fmla="*/ 7106430 w 8079933"/>
              <a:gd name="connsiteY28001" fmla="*/ 391617 h 4687251"/>
              <a:gd name="connsiteX28002" fmla="*/ 7103392 w 8079933"/>
              <a:gd name="connsiteY28002" fmla="*/ 394429 h 4687251"/>
              <a:gd name="connsiteX28003" fmla="*/ 7101438 w 8079933"/>
              <a:gd name="connsiteY28003" fmla="*/ 391617 h 4687251"/>
              <a:gd name="connsiteX28004" fmla="*/ 7102957 w 8079933"/>
              <a:gd name="connsiteY28004" fmla="*/ 389342 h 4687251"/>
              <a:gd name="connsiteX28005" fmla="*/ 2556976 w 8079933"/>
              <a:gd name="connsiteY28005" fmla="*/ 387934 h 4687251"/>
              <a:gd name="connsiteX28006" fmla="*/ 2559146 w 8079933"/>
              <a:gd name="connsiteY28006" fmla="*/ 390640 h 4687251"/>
              <a:gd name="connsiteX28007" fmla="*/ 2559146 w 8079933"/>
              <a:gd name="connsiteY28007" fmla="*/ 394863 h 4687251"/>
              <a:gd name="connsiteX28008" fmla="*/ 2557627 w 8079933"/>
              <a:gd name="connsiteY28008" fmla="*/ 396595 h 4687251"/>
              <a:gd name="connsiteX28009" fmla="*/ 2556217 w 8079933"/>
              <a:gd name="connsiteY28009" fmla="*/ 396703 h 4687251"/>
              <a:gd name="connsiteX28010" fmla="*/ 2554047 w 8079933"/>
              <a:gd name="connsiteY28010" fmla="*/ 390965 h 4687251"/>
              <a:gd name="connsiteX28011" fmla="*/ 2554264 w 8079933"/>
              <a:gd name="connsiteY28011" fmla="*/ 388150 h 4687251"/>
              <a:gd name="connsiteX28012" fmla="*/ 2444989 w 8079933"/>
              <a:gd name="connsiteY28012" fmla="*/ 387176 h 4687251"/>
              <a:gd name="connsiteX28013" fmla="*/ 2445639 w 8079933"/>
              <a:gd name="connsiteY28013" fmla="*/ 390425 h 4687251"/>
              <a:gd name="connsiteX28014" fmla="*/ 2447592 w 8079933"/>
              <a:gd name="connsiteY28014" fmla="*/ 391724 h 4687251"/>
              <a:gd name="connsiteX28015" fmla="*/ 2448026 w 8079933"/>
              <a:gd name="connsiteY28015" fmla="*/ 394430 h 4687251"/>
              <a:gd name="connsiteX28016" fmla="*/ 2446616 w 8079933"/>
              <a:gd name="connsiteY28016" fmla="*/ 396162 h 4687251"/>
              <a:gd name="connsiteX28017" fmla="*/ 2443904 w 8079933"/>
              <a:gd name="connsiteY28017" fmla="*/ 394539 h 4687251"/>
              <a:gd name="connsiteX28018" fmla="*/ 2442927 w 8079933"/>
              <a:gd name="connsiteY28018" fmla="*/ 390425 h 4687251"/>
              <a:gd name="connsiteX28019" fmla="*/ 2443686 w 8079933"/>
              <a:gd name="connsiteY28019" fmla="*/ 387718 h 4687251"/>
              <a:gd name="connsiteX28020" fmla="*/ 5536085 w 8079933"/>
              <a:gd name="connsiteY28020" fmla="*/ 386852 h 4687251"/>
              <a:gd name="connsiteX28021" fmla="*/ 5539558 w 8079933"/>
              <a:gd name="connsiteY28021" fmla="*/ 387718 h 4687251"/>
              <a:gd name="connsiteX28022" fmla="*/ 5537170 w 8079933"/>
              <a:gd name="connsiteY28022" fmla="*/ 391183 h 4687251"/>
              <a:gd name="connsiteX28023" fmla="*/ 5531962 w 8079933"/>
              <a:gd name="connsiteY28023" fmla="*/ 392160 h 4687251"/>
              <a:gd name="connsiteX28024" fmla="*/ 5530985 w 8079933"/>
              <a:gd name="connsiteY28024" fmla="*/ 390860 h 4687251"/>
              <a:gd name="connsiteX28025" fmla="*/ 5532287 w 8079933"/>
              <a:gd name="connsiteY28025" fmla="*/ 388477 h 4687251"/>
              <a:gd name="connsiteX28026" fmla="*/ 5381233 w 8079933"/>
              <a:gd name="connsiteY28026" fmla="*/ 385877 h 4687251"/>
              <a:gd name="connsiteX28027" fmla="*/ 5384271 w 8079933"/>
              <a:gd name="connsiteY28027" fmla="*/ 386095 h 4687251"/>
              <a:gd name="connsiteX28028" fmla="*/ 5387635 w 8079933"/>
              <a:gd name="connsiteY28028" fmla="*/ 389126 h 4687251"/>
              <a:gd name="connsiteX28029" fmla="*/ 5388070 w 8079933"/>
              <a:gd name="connsiteY28029" fmla="*/ 395405 h 4687251"/>
              <a:gd name="connsiteX28030" fmla="*/ 5386550 w 8079933"/>
              <a:gd name="connsiteY28030" fmla="*/ 398437 h 4687251"/>
              <a:gd name="connsiteX28031" fmla="*/ 5382317 w 8079933"/>
              <a:gd name="connsiteY28031" fmla="*/ 400386 h 4687251"/>
              <a:gd name="connsiteX28032" fmla="*/ 5379930 w 8079933"/>
              <a:gd name="connsiteY28032" fmla="*/ 400062 h 4687251"/>
              <a:gd name="connsiteX28033" fmla="*/ 5379062 w 8079933"/>
              <a:gd name="connsiteY28033" fmla="*/ 397138 h 4687251"/>
              <a:gd name="connsiteX28034" fmla="*/ 5379388 w 8079933"/>
              <a:gd name="connsiteY28034" fmla="*/ 392481 h 4687251"/>
              <a:gd name="connsiteX28035" fmla="*/ 5378845 w 8079933"/>
              <a:gd name="connsiteY28035" fmla="*/ 388368 h 4687251"/>
              <a:gd name="connsiteX28036" fmla="*/ 2194314 w 8079933"/>
              <a:gd name="connsiteY28036" fmla="*/ 384685 h 4687251"/>
              <a:gd name="connsiteX28037" fmla="*/ 2197895 w 8079933"/>
              <a:gd name="connsiteY28037" fmla="*/ 385010 h 4687251"/>
              <a:gd name="connsiteX28038" fmla="*/ 2202127 w 8079933"/>
              <a:gd name="connsiteY28038" fmla="*/ 386093 h 4687251"/>
              <a:gd name="connsiteX28039" fmla="*/ 2208095 w 8079933"/>
              <a:gd name="connsiteY28039" fmla="*/ 385660 h 4687251"/>
              <a:gd name="connsiteX28040" fmla="*/ 2213956 w 8079933"/>
              <a:gd name="connsiteY28040" fmla="*/ 388150 h 4687251"/>
              <a:gd name="connsiteX28041" fmla="*/ 2218079 w 8079933"/>
              <a:gd name="connsiteY28041" fmla="*/ 387608 h 4687251"/>
              <a:gd name="connsiteX28042" fmla="*/ 2221335 w 8079933"/>
              <a:gd name="connsiteY28042" fmla="*/ 391831 h 4687251"/>
              <a:gd name="connsiteX28043" fmla="*/ 2217971 w 8079933"/>
              <a:gd name="connsiteY28043" fmla="*/ 398544 h 4687251"/>
              <a:gd name="connsiteX28044" fmla="*/ 2214607 w 8079933"/>
              <a:gd name="connsiteY28044" fmla="*/ 401466 h 4687251"/>
              <a:gd name="connsiteX28045" fmla="*/ 2205166 w 8079933"/>
              <a:gd name="connsiteY28045" fmla="*/ 400601 h 4687251"/>
              <a:gd name="connsiteX28046" fmla="*/ 2199740 w 8079933"/>
              <a:gd name="connsiteY28046" fmla="*/ 399952 h 4687251"/>
              <a:gd name="connsiteX28047" fmla="*/ 2196050 w 8079933"/>
              <a:gd name="connsiteY28047" fmla="*/ 397677 h 4687251"/>
              <a:gd name="connsiteX28048" fmla="*/ 2192252 w 8079933"/>
              <a:gd name="connsiteY28048" fmla="*/ 396920 h 4687251"/>
              <a:gd name="connsiteX28049" fmla="*/ 2190841 w 8079933"/>
              <a:gd name="connsiteY28049" fmla="*/ 394213 h 4687251"/>
              <a:gd name="connsiteX28050" fmla="*/ 2188997 w 8079933"/>
              <a:gd name="connsiteY28050" fmla="*/ 393780 h 4687251"/>
              <a:gd name="connsiteX28051" fmla="*/ 2188237 w 8079933"/>
              <a:gd name="connsiteY28051" fmla="*/ 391831 h 4687251"/>
              <a:gd name="connsiteX28052" fmla="*/ 2188888 w 8079933"/>
              <a:gd name="connsiteY28052" fmla="*/ 388367 h 4687251"/>
              <a:gd name="connsiteX28053" fmla="*/ 2191818 w 8079933"/>
              <a:gd name="connsiteY28053" fmla="*/ 386851 h 4687251"/>
              <a:gd name="connsiteX28054" fmla="*/ 7063023 w 8079933"/>
              <a:gd name="connsiteY28054" fmla="*/ 382196 h 4687251"/>
              <a:gd name="connsiteX28055" fmla="*/ 7067906 w 8079933"/>
              <a:gd name="connsiteY28055" fmla="*/ 382412 h 4687251"/>
              <a:gd name="connsiteX28056" fmla="*/ 7072138 w 8079933"/>
              <a:gd name="connsiteY28056" fmla="*/ 384579 h 4687251"/>
              <a:gd name="connsiteX28057" fmla="*/ 7076153 w 8079933"/>
              <a:gd name="connsiteY28057" fmla="*/ 385012 h 4687251"/>
              <a:gd name="connsiteX28058" fmla="*/ 7077238 w 8079933"/>
              <a:gd name="connsiteY28058" fmla="*/ 382955 h 4687251"/>
              <a:gd name="connsiteX28059" fmla="*/ 7082230 w 8079933"/>
              <a:gd name="connsiteY28059" fmla="*/ 386311 h 4687251"/>
              <a:gd name="connsiteX28060" fmla="*/ 7084074 w 8079933"/>
              <a:gd name="connsiteY28060" fmla="*/ 390859 h 4687251"/>
              <a:gd name="connsiteX28061" fmla="*/ 7082556 w 8079933"/>
              <a:gd name="connsiteY28061" fmla="*/ 392373 h 4687251"/>
              <a:gd name="connsiteX28062" fmla="*/ 7086354 w 8079933"/>
              <a:gd name="connsiteY28062" fmla="*/ 396813 h 4687251"/>
              <a:gd name="connsiteX28063" fmla="*/ 7087222 w 8079933"/>
              <a:gd name="connsiteY28063" fmla="*/ 402009 h 4687251"/>
              <a:gd name="connsiteX28064" fmla="*/ 7084401 w 8079933"/>
              <a:gd name="connsiteY28064" fmla="*/ 406664 h 4687251"/>
              <a:gd name="connsiteX28065" fmla="*/ 7078975 w 8079933"/>
              <a:gd name="connsiteY28065" fmla="*/ 407965 h 4687251"/>
              <a:gd name="connsiteX28066" fmla="*/ 7073874 w 8079933"/>
              <a:gd name="connsiteY28066" fmla="*/ 405473 h 4687251"/>
              <a:gd name="connsiteX28067" fmla="*/ 7067906 w 8079933"/>
              <a:gd name="connsiteY28067" fmla="*/ 400926 h 4687251"/>
              <a:gd name="connsiteX28068" fmla="*/ 7062046 w 8079933"/>
              <a:gd name="connsiteY28068" fmla="*/ 399736 h 4687251"/>
              <a:gd name="connsiteX28069" fmla="*/ 7057596 w 8079933"/>
              <a:gd name="connsiteY28069" fmla="*/ 400494 h 4687251"/>
              <a:gd name="connsiteX28070" fmla="*/ 7055317 w 8079933"/>
              <a:gd name="connsiteY28070" fmla="*/ 399086 h 4687251"/>
              <a:gd name="connsiteX28071" fmla="*/ 7054992 w 8079933"/>
              <a:gd name="connsiteY28071" fmla="*/ 390965 h 4687251"/>
              <a:gd name="connsiteX28072" fmla="*/ 7056512 w 8079933"/>
              <a:gd name="connsiteY28072" fmla="*/ 386852 h 4687251"/>
              <a:gd name="connsiteX28073" fmla="*/ 7060092 w 8079933"/>
              <a:gd name="connsiteY28073" fmla="*/ 386527 h 4687251"/>
              <a:gd name="connsiteX28074" fmla="*/ 7059441 w 8079933"/>
              <a:gd name="connsiteY28074" fmla="*/ 384795 h 4687251"/>
              <a:gd name="connsiteX28075" fmla="*/ 7062371 w 8079933"/>
              <a:gd name="connsiteY28075" fmla="*/ 384253 h 4687251"/>
              <a:gd name="connsiteX28076" fmla="*/ 1076051 w 8079933"/>
              <a:gd name="connsiteY28076" fmla="*/ 381873 h 4687251"/>
              <a:gd name="connsiteX28077" fmla="*/ 1078329 w 8079933"/>
              <a:gd name="connsiteY28077" fmla="*/ 382307 h 4687251"/>
              <a:gd name="connsiteX28078" fmla="*/ 1077461 w 8079933"/>
              <a:gd name="connsiteY28078" fmla="*/ 384146 h 4687251"/>
              <a:gd name="connsiteX28079" fmla="*/ 1074966 w 8079933"/>
              <a:gd name="connsiteY28079" fmla="*/ 385012 h 4687251"/>
              <a:gd name="connsiteX28080" fmla="*/ 1074098 w 8079933"/>
              <a:gd name="connsiteY28080" fmla="*/ 386420 h 4687251"/>
              <a:gd name="connsiteX28081" fmla="*/ 1075725 w 8079933"/>
              <a:gd name="connsiteY28081" fmla="*/ 387722 h 4687251"/>
              <a:gd name="connsiteX28082" fmla="*/ 1077461 w 8079933"/>
              <a:gd name="connsiteY28082" fmla="*/ 389562 h 4687251"/>
              <a:gd name="connsiteX28083" fmla="*/ 1077787 w 8079933"/>
              <a:gd name="connsiteY28083" fmla="*/ 393458 h 4687251"/>
              <a:gd name="connsiteX28084" fmla="*/ 1079632 w 8079933"/>
              <a:gd name="connsiteY28084" fmla="*/ 393351 h 4687251"/>
              <a:gd name="connsiteX28085" fmla="*/ 1085275 w 8079933"/>
              <a:gd name="connsiteY28085" fmla="*/ 395731 h 4687251"/>
              <a:gd name="connsiteX28086" fmla="*/ 1086360 w 8079933"/>
              <a:gd name="connsiteY28086" fmla="*/ 397787 h 4687251"/>
              <a:gd name="connsiteX28087" fmla="*/ 1085057 w 8079933"/>
              <a:gd name="connsiteY28087" fmla="*/ 400063 h 4687251"/>
              <a:gd name="connsiteX28088" fmla="*/ 1084515 w 8079933"/>
              <a:gd name="connsiteY28088" fmla="*/ 402230 h 4687251"/>
              <a:gd name="connsiteX28089" fmla="*/ 1079740 w 8079933"/>
              <a:gd name="connsiteY28089" fmla="*/ 406991 h 4687251"/>
              <a:gd name="connsiteX28090" fmla="*/ 1075399 w 8079933"/>
              <a:gd name="connsiteY28090" fmla="*/ 408182 h 4687251"/>
              <a:gd name="connsiteX28091" fmla="*/ 1068888 w 8079933"/>
              <a:gd name="connsiteY28091" fmla="*/ 410890 h 4687251"/>
              <a:gd name="connsiteX28092" fmla="*/ 1063680 w 8079933"/>
              <a:gd name="connsiteY28092" fmla="*/ 406883 h 4687251"/>
              <a:gd name="connsiteX28093" fmla="*/ 1058905 w 8079933"/>
              <a:gd name="connsiteY28093" fmla="*/ 408074 h 4687251"/>
              <a:gd name="connsiteX28094" fmla="*/ 1053479 w 8079933"/>
              <a:gd name="connsiteY28094" fmla="*/ 412297 h 4687251"/>
              <a:gd name="connsiteX28095" fmla="*/ 1052611 w 8079933"/>
              <a:gd name="connsiteY28095" fmla="*/ 415436 h 4687251"/>
              <a:gd name="connsiteX28096" fmla="*/ 1056952 w 8079933"/>
              <a:gd name="connsiteY28096" fmla="*/ 414896 h 4687251"/>
              <a:gd name="connsiteX28097" fmla="*/ 1059664 w 8079933"/>
              <a:gd name="connsiteY28097" fmla="*/ 419442 h 4687251"/>
              <a:gd name="connsiteX28098" fmla="*/ 1056952 w 8079933"/>
              <a:gd name="connsiteY28098" fmla="*/ 426481 h 4687251"/>
              <a:gd name="connsiteX28099" fmla="*/ 1060532 w 8079933"/>
              <a:gd name="connsiteY28099" fmla="*/ 425506 h 4687251"/>
              <a:gd name="connsiteX28100" fmla="*/ 1061835 w 8079933"/>
              <a:gd name="connsiteY28100" fmla="*/ 422368 h 4687251"/>
              <a:gd name="connsiteX28101" fmla="*/ 1064982 w 8079933"/>
              <a:gd name="connsiteY28101" fmla="*/ 419116 h 4687251"/>
              <a:gd name="connsiteX28102" fmla="*/ 1067043 w 8079933"/>
              <a:gd name="connsiteY28102" fmla="*/ 419766 h 4687251"/>
              <a:gd name="connsiteX28103" fmla="*/ 1064765 w 8079933"/>
              <a:gd name="connsiteY28103" fmla="*/ 423884 h 4687251"/>
              <a:gd name="connsiteX28104" fmla="*/ 1064873 w 8079933"/>
              <a:gd name="connsiteY28104" fmla="*/ 428753 h 4687251"/>
              <a:gd name="connsiteX28105" fmla="*/ 1066610 w 8079933"/>
              <a:gd name="connsiteY28105" fmla="*/ 433627 h 4687251"/>
              <a:gd name="connsiteX28106" fmla="*/ 1066827 w 8079933"/>
              <a:gd name="connsiteY28106" fmla="*/ 428863 h 4687251"/>
              <a:gd name="connsiteX28107" fmla="*/ 1069431 w 8079933"/>
              <a:gd name="connsiteY28107" fmla="*/ 422910 h 4687251"/>
              <a:gd name="connsiteX28108" fmla="*/ 1070733 w 8079933"/>
              <a:gd name="connsiteY28108" fmla="*/ 424750 h 4687251"/>
              <a:gd name="connsiteX28109" fmla="*/ 1072904 w 8079933"/>
              <a:gd name="connsiteY28109" fmla="*/ 424423 h 4687251"/>
              <a:gd name="connsiteX28110" fmla="*/ 1076051 w 8079933"/>
              <a:gd name="connsiteY28110" fmla="*/ 421067 h 4687251"/>
              <a:gd name="connsiteX28111" fmla="*/ 1075074 w 8079933"/>
              <a:gd name="connsiteY28111" fmla="*/ 416302 h 4687251"/>
              <a:gd name="connsiteX28112" fmla="*/ 1076051 w 8079933"/>
              <a:gd name="connsiteY28112" fmla="*/ 413923 h 4687251"/>
              <a:gd name="connsiteX28113" fmla="*/ 1080825 w 8079933"/>
              <a:gd name="connsiteY28113" fmla="*/ 412081 h 4687251"/>
              <a:gd name="connsiteX28114" fmla="*/ 1084081 w 8079933"/>
              <a:gd name="connsiteY28114" fmla="*/ 414464 h 4687251"/>
              <a:gd name="connsiteX28115" fmla="*/ 1085275 w 8079933"/>
              <a:gd name="connsiteY28115" fmla="*/ 414356 h 4687251"/>
              <a:gd name="connsiteX28116" fmla="*/ 1086468 w 8079933"/>
              <a:gd name="connsiteY28116" fmla="*/ 410242 h 4687251"/>
              <a:gd name="connsiteX28117" fmla="*/ 1092111 w 8079933"/>
              <a:gd name="connsiteY28117" fmla="*/ 404827 h 4687251"/>
              <a:gd name="connsiteX28118" fmla="*/ 1093631 w 8079933"/>
              <a:gd name="connsiteY28118" fmla="*/ 405042 h 4687251"/>
              <a:gd name="connsiteX28119" fmla="*/ 1095041 w 8079933"/>
              <a:gd name="connsiteY28119" fmla="*/ 407749 h 4687251"/>
              <a:gd name="connsiteX28120" fmla="*/ 1093631 w 8079933"/>
              <a:gd name="connsiteY28120" fmla="*/ 411865 h 4687251"/>
              <a:gd name="connsiteX28121" fmla="*/ 1093196 w 8079933"/>
              <a:gd name="connsiteY28121" fmla="*/ 416302 h 4687251"/>
              <a:gd name="connsiteX28122" fmla="*/ 1090809 w 8079933"/>
              <a:gd name="connsiteY28122" fmla="*/ 417710 h 4687251"/>
              <a:gd name="connsiteX28123" fmla="*/ 1089181 w 8079933"/>
              <a:gd name="connsiteY28123" fmla="*/ 420960 h 4687251"/>
              <a:gd name="connsiteX28124" fmla="*/ 1089506 w 8079933"/>
              <a:gd name="connsiteY28124" fmla="*/ 424965 h 4687251"/>
              <a:gd name="connsiteX28125" fmla="*/ 1087445 w 8079933"/>
              <a:gd name="connsiteY28125" fmla="*/ 426264 h 4687251"/>
              <a:gd name="connsiteX28126" fmla="*/ 1085708 w 8079933"/>
              <a:gd name="connsiteY28126" fmla="*/ 430160 h 4687251"/>
              <a:gd name="connsiteX28127" fmla="*/ 1088530 w 8079933"/>
              <a:gd name="connsiteY28127" fmla="*/ 434060 h 4687251"/>
              <a:gd name="connsiteX28128" fmla="*/ 1088530 w 8079933"/>
              <a:gd name="connsiteY28128" fmla="*/ 432005 h 4687251"/>
              <a:gd name="connsiteX28129" fmla="*/ 1091026 w 8079933"/>
              <a:gd name="connsiteY28129" fmla="*/ 428104 h 4687251"/>
              <a:gd name="connsiteX28130" fmla="*/ 1096452 w 8079933"/>
              <a:gd name="connsiteY28130" fmla="*/ 427996 h 4687251"/>
              <a:gd name="connsiteX28131" fmla="*/ 1099924 w 8079933"/>
              <a:gd name="connsiteY28131" fmla="*/ 426805 h 4687251"/>
              <a:gd name="connsiteX28132" fmla="*/ 1102637 w 8079933"/>
              <a:gd name="connsiteY28132" fmla="*/ 427672 h 4687251"/>
              <a:gd name="connsiteX28133" fmla="*/ 1108063 w 8079933"/>
              <a:gd name="connsiteY28133" fmla="*/ 430052 h 4687251"/>
              <a:gd name="connsiteX28134" fmla="*/ 1112621 w 8079933"/>
              <a:gd name="connsiteY28134" fmla="*/ 429510 h 4687251"/>
              <a:gd name="connsiteX28135" fmla="*/ 1116311 w 8079933"/>
              <a:gd name="connsiteY28135" fmla="*/ 431353 h 4687251"/>
              <a:gd name="connsiteX28136" fmla="*/ 1118047 w 8079933"/>
              <a:gd name="connsiteY28136" fmla="*/ 434494 h 4687251"/>
              <a:gd name="connsiteX28137" fmla="*/ 1120542 w 8079933"/>
              <a:gd name="connsiteY28137" fmla="*/ 433301 h 4687251"/>
              <a:gd name="connsiteX28138" fmla="*/ 1122713 w 8079933"/>
              <a:gd name="connsiteY28138" fmla="*/ 433518 h 4687251"/>
              <a:gd name="connsiteX28139" fmla="*/ 1125317 w 8079933"/>
              <a:gd name="connsiteY28139" fmla="*/ 438607 h 4687251"/>
              <a:gd name="connsiteX28140" fmla="*/ 1127705 w 8079933"/>
              <a:gd name="connsiteY28140" fmla="*/ 441311 h 4687251"/>
              <a:gd name="connsiteX28141" fmla="*/ 1124449 w 8079933"/>
              <a:gd name="connsiteY28141" fmla="*/ 444997 h 4687251"/>
              <a:gd name="connsiteX28142" fmla="*/ 1118047 w 8079933"/>
              <a:gd name="connsiteY28142" fmla="*/ 448028 h 4687251"/>
              <a:gd name="connsiteX28143" fmla="*/ 1115551 w 8079933"/>
              <a:gd name="connsiteY28143" fmla="*/ 451814 h 4687251"/>
              <a:gd name="connsiteX28144" fmla="*/ 1116744 w 8079933"/>
              <a:gd name="connsiteY28144" fmla="*/ 454740 h 4687251"/>
              <a:gd name="connsiteX28145" fmla="*/ 1128356 w 8079933"/>
              <a:gd name="connsiteY28145" fmla="*/ 461235 h 4687251"/>
              <a:gd name="connsiteX28146" fmla="*/ 1128681 w 8079933"/>
              <a:gd name="connsiteY28146" fmla="*/ 463075 h 4687251"/>
              <a:gd name="connsiteX28147" fmla="*/ 1124883 w 8079933"/>
              <a:gd name="connsiteY28147" fmla="*/ 463292 h 4687251"/>
              <a:gd name="connsiteX28148" fmla="*/ 1120434 w 8079933"/>
              <a:gd name="connsiteY28148" fmla="*/ 465025 h 4687251"/>
              <a:gd name="connsiteX28149" fmla="*/ 1120434 w 8079933"/>
              <a:gd name="connsiteY28149" fmla="*/ 466974 h 4687251"/>
              <a:gd name="connsiteX28150" fmla="*/ 1128030 w 8079933"/>
              <a:gd name="connsiteY28150" fmla="*/ 471522 h 4687251"/>
              <a:gd name="connsiteX28151" fmla="*/ 1128247 w 8079933"/>
              <a:gd name="connsiteY28151" fmla="*/ 475526 h 4687251"/>
              <a:gd name="connsiteX28152" fmla="*/ 1127270 w 8079933"/>
              <a:gd name="connsiteY28152" fmla="*/ 481051 h 4687251"/>
              <a:gd name="connsiteX28153" fmla="*/ 1128030 w 8079933"/>
              <a:gd name="connsiteY28153" fmla="*/ 487436 h 4687251"/>
              <a:gd name="connsiteX28154" fmla="*/ 1123472 w 8079933"/>
              <a:gd name="connsiteY28154" fmla="*/ 492417 h 4687251"/>
              <a:gd name="connsiteX28155" fmla="*/ 1129006 w 8079933"/>
              <a:gd name="connsiteY28155" fmla="*/ 488195 h 4687251"/>
              <a:gd name="connsiteX28156" fmla="*/ 1135409 w 8079933"/>
              <a:gd name="connsiteY28156" fmla="*/ 481267 h 4687251"/>
              <a:gd name="connsiteX28157" fmla="*/ 1142137 w 8079933"/>
              <a:gd name="connsiteY28157" fmla="*/ 480184 h 4687251"/>
              <a:gd name="connsiteX28158" fmla="*/ 1143982 w 8079933"/>
              <a:gd name="connsiteY28158" fmla="*/ 478776 h 4687251"/>
              <a:gd name="connsiteX28159" fmla="*/ 1147780 w 8079933"/>
              <a:gd name="connsiteY28159" fmla="*/ 478776 h 4687251"/>
              <a:gd name="connsiteX28160" fmla="*/ 1153857 w 8079933"/>
              <a:gd name="connsiteY28160" fmla="*/ 476392 h 4687251"/>
              <a:gd name="connsiteX28161" fmla="*/ 1159717 w 8079933"/>
              <a:gd name="connsiteY28161" fmla="*/ 476392 h 4687251"/>
              <a:gd name="connsiteX28162" fmla="*/ 1166011 w 8079933"/>
              <a:gd name="connsiteY28162" fmla="*/ 480833 h 4687251"/>
              <a:gd name="connsiteX28163" fmla="*/ 1169158 w 8079933"/>
              <a:gd name="connsiteY28163" fmla="*/ 482890 h 4687251"/>
              <a:gd name="connsiteX28164" fmla="*/ 1167964 w 8079933"/>
              <a:gd name="connsiteY28164" fmla="*/ 488737 h 4687251"/>
              <a:gd name="connsiteX28165" fmla="*/ 1162647 w 8079933"/>
              <a:gd name="connsiteY28165" fmla="*/ 494042 h 4687251"/>
              <a:gd name="connsiteX28166" fmla="*/ 1157221 w 8079933"/>
              <a:gd name="connsiteY28166" fmla="*/ 502164 h 4687251"/>
              <a:gd name="connsiteX28167" fmla="*/ 1148431 w 8079933"/>
              <a:gd name="connsiteY28167" fmla="*/ 508223 h 4687251"/>
              <a:gd name="connsiteX28168" fmla="*/ 1158524 w 8079933"/>
              <a:gd name="connsiteY28168" fmla="*/ 503245 h 4687251"/>
              <a:gd name="connsiteX28169" fmla="*/ 1167747 w 8079933"/>
              <a:gd name="connsiteY28169" fmla="*/ 494581 h 4687251"/>
              <a:gd name="connsiteX28170" fmla="*/ 1169918 w 8079933"/>
              <a:gd name="connsiteY28170" fmla="*/ 492852 h 4687251"/>
              <a:gd name="connsiteX28171" fmla="*/ 1172956 w 8079933"/>
              <a:gd name="connsiteY28171" fmla="*/ 493716 h 4687251"/>
              <a:gd name="connsiteX28172" fmla="*/ 1174367 w 8079933"/>
              <a:gd name="connsiteY28172" fmla="*/ 495448 h 4687251"/>
              <a:gd name="connsiteX28173" fmla="*/ 1173607 w 8079933"/>
              <a:gd name="connsiteY28173" fmla="*/ 496855 h 4687251"/>
              <a:gd name="connsiteX28174" fmla="*/ 1176862 w 8079933"/>
              <a:gd name="connsiteY28174" fmla="*/ 500971 h 4687251"/>
              <a:gd name="connsiteX28175" fmla="*/ 1180878 w 8079933"/>
              <a:gd name="connsiteY28175" fmla="*/ 503570 h 4687251"/>
              <a:gd name="connsiteX28176" fmla="*/ 1181203 w 8079933"/>
              <a:gd name="connsiteY28176" fmla="*/ 505301 h 4687251"/>
              <a:gd name="connsiteX28177" fmla="*/ 1180010 w 8079933"/>
              <a:gd name="connsiteY28177" fmla="*/ 507358 h 4687251"/>
              <a:gd name="connsiteX28178" fmla="*/ 1183482 w 8079933"/>
              <a:gd name="connsiteY28178" fmla="*/ 506492 h 4687251"/>
              <a:gd name="connsiteX28179" fmla="*/ 1187280 w 8079933"/>
              <a:gd name="connsiteY28179" fmla="*/ 508007 h 4687251"/>
              <a:gd name="connsiteX28180" fmla="*/ 1188583 w 8079933"/>
              <a:gd name="connsiteY28180" fmla="*/ 510065 h 4687251"/>
              <a:gd name="connsiteX28181" fmla="*/ 1186955 w 8079933"/>
              <a:gd name="connsiteY28181" fmla="*/ 511257 h 4687251"/>
              <a:gd name="connsiteX28182" fmla="*/ 1186738 w 8079933"/>
              <a:gd name="connsiteY28182" fmla="*/ 514180 h 4687251"/>
              <a:gd name="connsiteX28183" fmla="*/ 1189125 w 8079933"/>
              <a:gd name="connsiteY28183" fmla="*/ 515912 h 4687251"/>
              <a:gd name="connsiteX28184" fmla="*/ 1191946 w 8079933"/>
              <a:gd name="connsiteY28184" fmla="*/ 511691 h 4687251"/>
              <a:gd name="connsiteX28185" fmla="*/ 1195311 w 8079933"/>
              <a:gd name="connsiteY28185" fmla="*/ 513531 h 4687251"/>
              <a:gd name="connsiteX28186" fmla="*/ 1196070 w 8079933"/>
              <a:gd name="connsiteY28186" fmla="*/ 515372 h 4687251"/>
              <a:gd name="connsiteX28187" fmla="*/ 1195527 w 8079933"/>
              <a:gd name="connsiteY28187" fmla="*/ 517102 h 4687251"/>
              <a:gd name="connsiteX28188" fmla="*/ 1197807 w 8079933"/>
              <a:gd name="connsiteY28188" fmla="*/ 515048 h 4687251"/>
              <a:gd name="connsiteX28189" fmla="*/ 1199868 w 8079933"/>
              <a:gd name="connsiteY28189" fmla="*/ 515048 h 4687251"/>
              <a:gd name="connsiteX28190" fmla="*/ 1201713 w 8079933"/>
              <a:gd name="connsiteY28190" fmla="*/ 516452 h 4687251"/>
              <a:gd name="connsiteX28191" fmla="*/ 1203232 w 8079933"/>
              <a:gd name="connsiteY28191" fmla="*/ 515912 h 4687251"/>
              <a:gd name="connsiteX28192" fmla="*/ 1210394 w 8079933"/>
              <a:gd name="connsiteY28192" fmla="*/ 521108 h 4687251"/>
              <a:gd name="connsiteX28193" fmla="*/ 1213758 w 8079933"/>
              <a:gd name="connsiteY28193" fmla="*/ 524572 h 4687251"/>
              <a:gd name="connsiteX28194" fmla="*/ 1213433 w 8079933"/>
              <a:gd name="connsiteY28194" fmla="*/ 526956 h 4687251"/>
              <a:gd name="connsiteX28195" fmla="*/ 1217014 w 8079933"/>
              <a:gd name="connsiteY28195" fmla="*/ 527605 h 4687251"/>
              <a:gd name="connsiteX28196" fmla="*/ 1219835 w 8079933"/>
              <a:gd name="connsiteY28196" fmla="*/ 527279 h 4687251"/>
              <a:gd name="connsiteX28197" fmla="*/ 1221572 w 8079933"/>
              <a:gd name="connsiteY28197" fmla="*/ 529119 h 4687251"/>
              <a:gd name="connsiteX28198" fmla="*/ 1219510 w 8079933"/>
              <a:gd name="connsiteY28198" fmla="*/ 530744 h 4687251"/>
              <a:gd name="connsiteX28199" fmla="*/ 1218750 w 8079933"/>
              <a:gd name="connsiteY28199" fmla="*/ 532259 h 4687251"/>
              <a:gd name="connsiteX28200" fmla="*/ 1221897 w 8079933"/>
              <a:gd name="connsiteY28200" fmla="*/ 533455 h 4687251"/>
              <a:gd name="connsiteX28201" fmla="*/ 1224610 w 8079933"/>
              <a:gd name="connsiteY28201" fmla="*/ 531936 h 4687251"/>
              <a:gd name="connsiteX28202" fmla="*/ 1228734 w 8079933"/>
              <a:gd name="connsiteY28202" fmla="*/ 534644 h 4687251"/>
              <a:gd name="connsiteX28203" fmla="*/ 1228408 w 8079933"/>
              <a:gd name="connsiteY28203" fmla="*/ 536916 h 4687251"/>
              <a:gd name="connsiteX28204" fmla="*/ 1226238 w 8079933"/>
              <a:gd name="connsiteY28204" fmla="*/ 537350 h 4687251"/>
              <a:gd name="connsiteX28205" fmla="*/ 1226563 w 8079933"/>
              <a:gd name="connsiteY28205" fmla="*/ 538647 h 4687251"/>
              <a:gd name="connsiteX28206" fmla="*/ 1229276 w 8079933"/>
              <a:gd name="connsiteY28206" fmla="*/ 539190 h 4687251"/>
              <a:gd name="connsiteX28207" fmla="*/ 1230796 w 8079933"/>
              <a:gd name="connsiteY28207" fmla="*/ 537784 h 4687251"/>
              <a:gd name="connsiteX28208" fmla="*/ 1232857 w 8079933"/>
              <a:gd name="connsiteY28208" fmla="*/ 538973 h 4687251"/>
              <a:gd name="connsiteX28209" fmla="*/ 1234811 w 8079933"/>
              <a:gd name="connsiteY28209" fmla="*/ 538324 h 4687251"/>
              <a:gd name="connsiteX28210" fmla="*/ 1237524 w 8079933"/>
              <a:gd name="connsiteY28210" fmla="*/ 540380 h 4687251"/>
              <a:gd name="connsiteX28211" fmla="*/ 1243600 w 8079933"/>
              <a:gd name="connsiteY28211" fmla="*/ 538973 h 4687251"/>
              <a:gd name="connsiteX28212" fmla="*/ 1250437 w 8079933"/>
              <a:gd name="connsiteY28212" fmla="*/ 539842 h 4687251"/>
              <a:gd name="connsiteX28213" fmla="*/ 1251848 w 8079933"/>
              <a:gd name="connsiteY28213" fmla="*/ 538432 h 4687251"/>
              <a:gd name="connsiteX28214" fmla="*/ 1260312 w 8079933"/>
              <a:gd name="connsiteY28214" fmla="*/ 538756 h 4687251"/>
              <a:gd name="connsiteX28215" fmla="*/ 1262373 w 8079933"/>
              <a:gd name="connsiteY28215" fmla="*/ 540814 h 4687251"/>
              <a:gd name="connsiteX28216" fmla="*/ 1265521 w 8079933"/>
              <a:gd name="connsiteY28216" fmla="*/ 546985 h 4687251"/>
              <a:gd name="connsiteX28217" fmla="*/ 1266498 w 8079933"/>
              <a:gd name="connsiteY28217" fmla="*/ 552182 h 4687251"/>
              <a:gd name="connsiteX28218" fmla="*/ 1269644 w 8079933"/>
              <a:gd name="connsiteY28218" fmla="*/ 554022 h 4687251"/>
              <a:gd name="connsiteX28219" fmla="*/ 1272141 w 8079933"/>
              <a:gd name="connsiteY28219" fmla="*/ 559004 h 4687251"/>
              <a:gd name="connsiteX28220" fmla="*/ 1273877 w 8079933"/>
              <a:gd name="connsiteY28220" fmla="*/ 568317 h 4687251"/>
              <a:gd name="connsiteX28221" fmla="*/ 1276481 w 8079933"/>
              <a:gd name="connsiteY28221" fmla="*/ 571239 h 4687251"/>
              <a:gd name="connsiteX28222" fmla="*/ 1280279 w 8079933"/>
              <a:gd name="connsiteY28222" fmla="*/ 570591 h 4687251"/>
              <a:gd name="connsiteX28223" fmla="*/ 1285271 w 8079933"/>
              <a:gd name="connsiteY28223" fmla="*/ 572105 h 4687251"/>
              <a:gd name="connsiteX28224" fmla="*/ 1286030 w 8079933"/>
              <a:gd name="connsiteY28224" fmla="*/ 574160 h 4687251"/>
              <a:gd name="connsiteX28225" fmla="*/ 1286030 w 8079933"/>
              <a:gd name="connsiteY28225" fmla="*/ 574159 h 4687251"/>
              <a:gd name="connsiteX28226" fmla="*/ 1287223 w 8079933"/>
              <a:gd name="connsiteY28226" fmla="*/ 577300 h 4687251"/>
              <a:gd name="connsiteX28227" fmla="*/ 1289936 w 8079933"/>
              <a:gd name="connsiteY28227" fmla="*/ 577300 h 4687251"/>
              <a:gd name="connsiteX28228" fmla="*/ 1303392 w 8079933"/>
              <a:gd name="connsiteY28228" fmla="*/ 587152 h 4687251"/>
              <a:gd name="connsiteX28229" fmla="*/ 1307516 w 8079933"/>
              <a:gd name="connsiteY28229" fmla="*/ 587260 h 4687251"/>
              <a:gd name="connsiteX28230" fmla="*/ 1311856 w 8079933"/>
              <a:gd name="connsiteY28230" fmla="*/ 591050 h 4687251"/>
              <a:gd name="connsiteX28231" fmla="*/ 1313593 w 8079933"/>
              <a:gd name="connsiteY28231" fmla="*/ 594514 h 4687251"/>
              <a:gd name="connsiteX28232" fmla="*/ 1315438 w 8079933"/>
              <a:gd name="connsiteY28232" fmla="*/ 594298 h 4687251"/>
              <a:gd name="connsiteX28233" fmla="*/ 1320104 w 8079933"/>
              <a:gd name="connsiteY28233" fmla="*/ 597979 h 4687251"/>
              <a:gd name="connsiteX28234" fmla="*/ 1320104 w 8079933"/>
              <a:gd name="connsiteY28234" fmla="*/ 601985 h 4687251"/>
              <a:gd name="connsiteX28235" fmla="*/ 1325422 w 8079933"/>
              <a:gd name="connsiteY28235" fmla="*/ 607724 h 4687251"/>
              <a:gd name="connsiteX28236" fmla="*/ 1324445 w 8079933"/>
              <a:gd name="connsiteY28236" fmla="*/ 610430 h 4687251"/>
              <a:gd name="connsiteX28237" fmla="*/ 1325096 w 8079933"/>
              <a:gd name="connsiteY28237" fmla="*/ 612054 h 4687251"/>
              <a:gd name="connsiteX28238" fmla="*/ 1322817 w 8079933"/>
              <a:gd name="connsiteY28238" fmla="*/ 617359 h 4687251"/>
              <a:gd name="connsiteX28239" fmla="*/ 1324770 w 8079933"/>
              <a:gd name="connsiteY28239" fmla="*/ 622340 h 4687251"/>
              <a:gd name="connsiteX28240" fmla="*/ 1326940 w 8079933"/>
              <a:gd name="connsiteY28240" fmla="*/ 623314 h 4687251"/>
              <a:gd name="connsiteX28241" fmla="*/ 1328677 w 8079933"/>
              <a:gd name="connsiteY28241" fmla="*/ 621149 h 4687251"/>
              <a:gd name="connsiteX28242" fmla="*/ 1330088 w 8079933"/>
              <a:gd name="connsiteY28242" fmla="*/ 622015 h 4687251"/>
              <a:gd name="connsiteX28243" fmla="*/ 1330196 w 8079933"/>
              <a:gd name="connsiteY28243" fmla="*/ 629378 h 4687251"/>
              <a:gd name="connsiteX28244" fmla="*/ 1331933 w 8079933"/>
              <a:gd name="connsiteY28244" fmla="*/ 636415 h 4687251"/>
              <a:gd name="connsiteX28245" fmla="*/ 1339854 w 8079933"/>
              <a:gd name="connsiteY28245" fmla="*/ 644643 h 4687251"/>
              <a:gd name="connsiteX28246" fmla="*/ 1344087 w 8079933"/>
              <a:gd name="connsiteY28246" fmla="*/ 647891 h 4687251"/>
              <a:gd name="connsiteX28247" fmla="*/ 1345823 w 8079933"/>
              <a:gd name="connsiteY28247" fmla="*/ 646592 h 4687251"/>
              <a:gd name="connsiteX28248" fmla="*/ 1348861 w 8079933"/>
              <a:gd name="connsiteY28248" fmla="*/ 648433 h 4687251"/>
              <a:gd name="connsiteX28249" fmla="*/ 1349512 w 8079933"/>
              <a:gd name="connsiteY28249" fmla="*/ 652438 h 4687251"/>
              <a:gd name="connsiteX28250" fmla="*/ 1352659 w 8079933"/>
              <a:gd name="connsiteY28250" fmla="*/ 653954 h 4687251"/>
              <a:gd name="connsiteX28251" fmla="*/ 1353853 w 8079933"/>
              <a:gd name="connsiteY28251" fmla="*/ 653629 h 4687251"/>
              <a:gd name="connsiteX28252" fmla="*/ 1358844 w 8079933"/>
              <a:gd name="connsiteY28252" fmla="*/ 660884 h 4687251"/>
              <a:gd name="connsiteX28253" fmla="*/ 1359387 w 8079933"/>
              <a:gd name="connsiteY28253" fmla="*/ 667055 h 4687251"/>
              <a:gd name="connsiteX28254" fmla="*/ 1362100 w 8079933"/>
              <a:gd name="connsiteY28254" fmla="*/ 668246 h 4687251"/>
              <a:gd name="connsiteX28255" fmla="*/ 1364162 w 8079933"/>
              <a:gd name="connsiteY28255" fmla="*/ 672035 h 4687251"/>
              <a:gd name="connsiteX28256" fmla="*/ 1367635 w 8079933"/>
              <a:gd name="connsiteY28256" fmla="*/ 672144 h 4687251"/>
              <a:gd name="connsiteX28257" fmla="*/ 1372952 w 8079933"/>
              <a:gd name="connsiteY28257" fmla="*/ 679398 h 4687251"/>
              <a:gd name="connsiteX28258" fmla="*/ 1372952 w 8079933"/>
              <a:gd name="connsiteY28258" fmla="*/ 682538 h 4687251"/>
              <a:gd name="connsiteX28259" fmla="*/ 1375447 w 8079933"/>
              <a:gd name="connsiteY28259" fmla="*/ 683729 h 4687251"/>
              <a:gd name="connsiteX28260" fmla="*/ 1374579 w 8079933"/>
              <a:gd name="connsiteY28260" fmla="*/ 687302 h 4687251"/>
              <a:gd name="connsiteX28261" fmla="*/ 1369913 w 8079933"/>
              <a:gd name="connsiteY28261" fmla="*/ 692823 h 4687251"/>
              <a:gd name="connsiteX28262" fmla="*/ 1366983 w 8079933"/>
              <a:gd name="connsiteY28262" fmla="*/ 697154 h 4687251"/>
              <a:gd name="connsiteX28263" fmla="*/ 1376967 w 8079933"/>
              <a:gd name="connsiteY28263" fmla="*/ 688492 h 4687251"/>
              <a:gd name="connsiteX28264" fmla="*/ 1380548 w 8079933"/>
              <a:gd name="connsiteY28264" fmla="*/ 686652 h 4687251"/>
              <a:gd name="connsiteX28265" fmla="*/ 1382827 w 8079933"/>
              <a:gd name="connsiteY28265" fmla="*/ 687518 h 4687251"/>
              <a:gd name="connsiteX28266" fmla="*/ 1384020 w 8079933"/>
              <a:gd name="connsiteY28266" fmla="*/ 681131 h 4687251"/>
              <a:gd name="connsiteX28267" fmla="*/ 1383152 w 8079933"/>
              <a:gd name="connsiteY28267" fmla="*/ 667921 h 4687251"/>
              <a:gd name="connsiteX28268" fmla="*/ 1383695 w 8079933"/>
              <a:gd name="connsiteY28268" fmla="*/ 660126 h 4687251"/>
              <a:gd name="connsiteX28269" fmla="*/ 1386300 w 8079933"/>
              <a:gd name="connsiteY28269" fmla="*/ 655687 h 4687251"/>
              <a:gd name="connsiteX28270" fmla="*/ 1394221 w 8079933"/>
              <a:gd name="connsiteY28270" fmla="*/ 653088 h 4687251"/>
              <a:gd name="connsiteX28271" fmla="*/ 1400407 w 8079933"/>
              <a:gd name="connsiteY28271" fmla="*/ 649623 h 4687251"/>
              <a:gd name="connsiteX28272" fmla="*/ 1404205 w 8079933"/>
              <a:gd name="connsiteY28272" fmla="*/ 646267 h 4687251"/>
              <a:gd name="connsiteX28273" fmla="*/ 1408654 w 8079933"/>
              <a:gd name="connsiteY28273" fmla="*/ 645076 h 4687251"/>
              <a:gd name="connsiteX28274" fmla="*/ 1410824 w 8079933"/>
              <a:gd name="connsiteY28274" fmla="*/ 641936 h 4687251"/>
              <a:gd name="connsiteX28275" fmla="*/ 1414188 w 8079933"/>
              <a:gd name="connsiteY28275" fmla="*/ 641396 h 4687251"/>
              <a:gd name="connsiteX28276" fmla="*/ 1417552 w 8079933"/>
              <a:gd name="connsiteY28276" fmla="*/ 639663 h 4687251"/>
              <a:gd name="connsiteX28277" fmla="*/ 1423086 w 8079933"/>
              <a:gd name="connsiteY28277" fmla="*/ 639663 h 4687251"/>
              <a:gd name="connsiteX28278" fmla="*/ 1424280 w 8079933"/>
              <a:gd name="connsiteY28278" fmla="*/ 640422 h 4687251"/>
              <a:gd name="connsiteX28279" fmla="*/ 1429163 w 8079933"/>
              <a:gd name="connsiteY28279" fmla="*/ 640422 h 4687251"/>
              <a:gd name="connsiteX28280" fmla="*/ 1431225 w 8079933"/>
              <a:gd name="connsiteY28280" fmla="*/ 642045 h 4687251"/>
              <a:gd name="connsiteX28281" fmla="*/ 1437302 w 8079933"/>
              <a:gd name="connsiteY28281" fmla="*/ 635440 h 4687251"/>
              <a:gd name="connsiteX28282" fmla="*/ 1439472 w 8079933"/>
              <a:gd name="connsiteY28282" fmla="*/ 630244 h 4687251"/>
              <a:gd name="connsiteX28283" fmla="*/ 1442620 w 8079933"/>
              <a:gd name="connsiteY28283" fmla="*/ 629702 h 4687251"/>
              <a:gd name="connsiteX28284" fmla="*/ 1446743 w 8079933"/>
              <a:gd name="connsiteY28284" fmla="*/ 630785 h 4687251"/>
              <a:gd name="connsiteX28285" fmla="*/ 1449348 w 8079933"/>
              <a:gd name="connsiteY28285" fmla="*/ 629053 h 4687251"/>
              <a:gd name="connsiteX28286" fmla="*/ 1448588 w 8079933"/>
              <a:gd name="connsiteY28286" fmla="*/ 627104 h 4687251"/>
              <a:gd name="connsiteX28287" fmla="*/ 1452061 w 8079933"/>
              <a:gd name="connsiteY28287" fmla="*/ 626995 h 4687251"/>
              <a:gd name="connsiteX28288" fmla="*/ 1454339 w 8079933"/>
              <a:gd name="connsiteY28288" fmla="*/ 629594 h 4687251"/>
              <a:gd name="connsiteX28289" fmla="*/ 1467904 w 8079933"/>
              <a:gd name="connsiteY28289" fmla="*/ 628295 h 4687251"/>
              <a:gd name="connsiteX28290" fmla="*/ 1479081 w 8079933"/>
              <a:gd name="connsiteY28290" fmla="*/ 624722 h 4687251"/>
              <a:gd name="connsiteX28291" fmla="*/ 1483205 w 8079933"/>
              <a:gd name="connsiteY28291" fmla="*/ 622015 h 4687251"/>
              <a:gd name="connsiteX28292" fmla="*/ 1485483 w 8079933"/>
              <a:gd name="connsiteY28292" fmla="*/ 621798 h 4687251"/>
              <a:gd name="connsiteX28293" fmla="*/ 1487871 w 8079933"/>
              <a:gd name="connsiteY28293" fmla="*/ 625588 h 4687251"/>
              <a:gd name="connsiteX28294" fmla="*/ 1491017 w 8079933"/>
              <a:gd name="connsiteY28294" fmla="*/ 623855 h 4687251"/>
              <a:gd name="connsiteX28295" fmla="*/ 1492754 w 8079933"/>
              <a:gd name="connsiteY28295" fmla="*/ 619092 h 4687251"/>
              <a:gd name="connsiteX28296" fmla="*/ 1500676 w 8079933"/>
              <a:gd name="connsiteY28296" fmla="*/ 615627 h 4687251"/>
              <a:gd name="connsiteX28297" fmla="*/ 1505668 w 8079933"/>
              <a:gd name="connsiteY28297" fmla="*/ 615627 h 4687251"/>
              <a:gd name="connsiteX28298" fmla="*/ 1507078 w 8079933"/>
              <a:gd name="connsiteY28298" fmla="*/ 617467 h 4687251"/>
              <a:gd name="connsiteX28299" fmla="*/ 1509466 w 8079933"/>
              <a:gd name="connsiteY28299" fmla="*/ 617467 h 4687251"/>
              <a:gd name="connsiteX28300" fmla="*/ 1510659 w 8079933"/>
              <a:gd name="connsiteY28300" fmla="*/ 620067 h 4687251"/>
              <a:gd name="connsiteX28301" fmla="*/ 1514566 w 8079933"/>
              <a:gd name="connsiteY28301" fmla="*/ 619200 h 4687251"/>
              <a:gd name="connsiteX28302" fmla="*/ 1514783 w 8079933"/>
              <a:gd name="connsiteY28302" fmla="*/ 615953 h 4687251"/>
              <a:gd name="connsiteX28303" fmla="*/ 1516302 w 8079933"/>
              <a:gd name="connsiteY28303" fmla="*/ 613569 h 4687251"/>
              <a:gd name="connsiteX28304" fmla="*/ 1519775 w 8079933"/>
              <a:gd name="connsiteY28304" fmla="*/ 615627 h 4687251"/>
              <a:gd name="connsiteX28305" fmla="*/ 1519775 w 8079933"/>
              <a:gd name="connsiteY28305" fmla="*/ 620067 h 4687251"/>
              <a:gd name="connsiteX28306" fmla="*/ 1522162 w 8079933"/>
              <a:gd name="connsiteY28306" fmla="*/ 622340 h 4687251"/>
              <a:gd name="connsiteX28307" fmla="*/ 1520317 w 8079933"/>
              <a:gd name="connsiteY28307" fmla="*/ 624614 h 4687251"/>
              <a:gd name="connsiteX28308" fmla="*/ 1518038 w 8079933"/>
              <a:gd name="connsiteY28308" fmla="*/ 624614 h 4687251"/>
              <a:gd name="connsiteX28309" fmla="*/ 1516845 w 8079933"/>
              <a:gd name="connsiteY28309" fmla="*/ 629053 h 4687251"/>
              <a:gd name="connsiteX28310" fmla="*/ 1506210 w 8079933"/>
              <a:gd name="connsiteY28310" fmla="*/ 631975 h 4687251"/>
              <a:gd name="connsiteX28311" fmla="*/ 1496878 w 8079933"/>
              <a:gd name="connsiteY28311" fmla="*/ 634683 h 4687251"/>
              <a:gd name="connsiteX28312" fmla="*/ 1493731 w 8079933"/>
              <a:gd name="connsiteY28312" fmla="*/ 638797 h 4687251"/>
              <a:gd name="connsiteX28313" fmla="*/ 1488088 w 8079933"/>
              <a:gd name="connsiteY28313" fmla="*/ 640422 h 4687251"/>
              <a:gd name="connsiteX28314" fmla="*/ 1484290 w 8079933"/>
              <a:gd name="connsiteY28314" fmla="*/ 639880 h 4687251"/>
              <a:gd name="connsiteX28315" fmla="*/ 1480817 w 8079933"/>
              <a:gd name="connsiteY28315" fmla="*/ 642478 h 4687251"/>
              <a:gd name="connsiteX28316" fmla="*/ 1478430 w 8079933"/>
              <a:gd name="connsiteY28316" fmla="*/ 642478 h 4687251"/>
              <a:gd name="connsiteX28317" fmla="*/ 1476694 w 8079933"/>
              <a:gd name="connsiteY28317" fmla="*/ 639122 h 4687251"/>
              <a:gd name="connsiteX28318" fmla="*/ 1469314 w 8079933"/>
              <a:gd name="connsiteY28318" fmla="*/ 642586 h 4687251"/>
              <a:gd name="connsiteX28319" fmla="*/ 1462044 w 8079933"/>
              <a:gd name="connsiteY28319" fmla="*/ 642261 h 4687251"/>
              <a:gd name="connsiteX28320" fmla="*/ 1460633 w 8079933"/>
              <a:gd name="connsiteY28320" fmla="*/ 643993 h 4687251"/>
              <a:gd name="connsiteX28321" fmla="*/ 1452277 w 8079933"/>
              <a:gd name="connsiteY28321" fmla="*/ 643344 h 4687251"/>
              <a:gd name="connsiteX28322" fmla="*/ 1447068 w 8079933"/>
              <a:gd name="connsiteY28322" fmla="*/ 645293 h 4687251"/>
              <a:gd name="connsiteX28323" fmla="*/ 1443488 w 8079933"/>
              <a:gd name="connsiteY28323" fmla="*/ 650815 h 4687251"/>
              <a:gd name="connsiteX28324" fmla="*/ 1432419 w 8079933"/>
              <a:gd name="connsiteY28324" fmla="*/ 655687 h 4687251"/>
              <a:gd name="connsiteX28325" fmla="*/ 1431768 w 8079933"/>
              <a:gd name="connsiteY28325" fmla="*/ 653629 h 4687251"/>
              <a:gd name="connsiteX28326" fmla="*/ 1426016 w 8079933"/>
              <a:gd name="connsiteY28326" fmla="*/ 657744 h 4687251"/>
              <a:gd name="connsiteX28327" fmla="*/ 1425148 w 8079933"/>
              <a:gd name="connsiteY28327" fmla="*/ 661209 h 4687251"/>
              <a:gd name="connsiteX28328" fmla="*/ 1421567 w 8079933"/>
              <a:gd name="connsiteY28328" fmla="*/ 662941 h 4687251"/>
              <a:gd name="connsiteX28329" fmla="*/ 1419180 w 8079933"/>
              <a:gd name="connsiteY28329" fmla="*/ 660450 h 4687251"/>
              <a:gd name="connsiteX28330" fmla="*/ 1414731 w 8079933"/>
              <a:gd name="connsiteY28330" fmla="*/ 664240 h 4687251"/>
              <a:gd name="connsiteX28331" fmla="*/ 1411801 w 8079933"/>
              <a:gd name="connsiteY28331" fmla="*/ 668896 h 4687251"/>
              <a:gd name="connsiteX28332" fmla="*/ 1408436 w 8079933"/>
              <a:gd name="connsiteY28332" fmla="*/ 669112 h 4687251"/>
              <a:gd name="connsiteX28333" fmla="*/ 1406050 w 8079933"/>
              <a:gd name="connsiteY28333" fmla="*/ 673010 h 4687251"/>
              <a:gd name="connsiteX28334" fmla="*/ 1410173 w 8079933"/>
              <a:gd name="connsiteY28334" fmla="*/ 678315 h 4687251"/>
              <a:gd name="connsiteX28335" fmla="*/ 1414839 w 8079933"/>
              <a:gd name="connsiteY28335" fmla="*/ 680805 h 4687251"/>
              <a:gd name="connsiteX28336" fmla="*/ 1410064 w 8079933"/>
              <a:gd name="connsiteY28336" fmla="*/ 675284 h 4687251"/>
              <a:gd name="connsiteX28337" fmla="*/ 1410824 w 8079933"/>
              <a:gd name="connsiteY28337" fmla="*/ 673551 h 4687251"/>
              <a:gd name="connsiteX28338" fmla="*/ 1415273 w 8079933"/>
              <a:gd name="connsiteY28338" fmla="*/ 674959 h 4687251"/>
              <a:gd name="connsiteX28339" fmla="*/ 1417660 w 8079933"/>
              <a:gd name="connsiteY28339" fmla="*/ 673227 h 4687251"/>
              <a:gd name="connsiteX28340" fmla="*/ 1421784 w 8079933"/>
              <a:gd name="connsiteY28340" fmla="*/ 674634 h 4687251"/>
              <a:gd name="connsiteX28341" fmla="*/ 1420048 w 8079933"/>
              <a:gd name="connsiteY28341" fmla="*/ 670411 h 4687251"/>
              <a:gd name="connsiteX28342" fmla="*/ 1425908 w 8079933"/>
              <a:gd name="connsiteY28342" fmla="*/ 664240 h 4687251"/>
              <a:gd name="connsiteX28343" fmla="*/ 1433938 w 8079933"/>
              <a:gd name="connsiteY28343" fmla="*/ 662183 h 4687251"/>
              <a:gd name="connsiteX28344" fmla="*/ 1438387 w 8079933"/>
              <a:gd name="connsiteY28344" fmla="*/ 662183 h 4687251"/>
              <a:gd name="connsiteX28345" fmla="*/ 1450758 w 8079933"/>
              <a:gd name="connsiteY28345" fmla="*/ 654279 h 4687251"/>
              <a:gd name="connsiteX28346" fmla="*/ 1451843 w 8079933"/>
              <a:gd name="connsiteY28346" fmla="*/ 650490 h 4687251"/>
              <a:gd name="connsiteX28347" fmla="*/ 1455641 w 8079933"/>
              <a:gd name="connsiteY28347" fmla="*/ 649407 h 4687251"/>
              <a:gd name="connsiteX28348" fmla="*/ 1458788 w 8079933"/>
              <a:gd name="connsiteY28348" fmla="*/ 652872 h 4687251"/>
              <a:gd name="connsiteX28349" fmla="*/ 1461827 w 8079933"/>
              <a:gd name="connsiteY28349" fmla="*/ 650490 h 4687251"/>
              <a:gd name="connsiteX28350" fmla="*/ 1465299 w 8079933"/>
              <a:gd name="connsiteY28350" fmla="*/ 649840 h 4687251"/>
              <a:gd name="connsiteX28351" fmla="*/ 1465950 w 8079933"/>
              <a:gd name="connsiteY28351" fmla="*/ 651897 h 4687251"/>
              <a:gd name="connsiteX28352" fmla="*/ 1473221 w 8079933"/>
              <a:gd name="connsiteY28352" fmla="*/ 647025 h 4687251"/>
              <a:gd name="connsiteX28353" fmla="*/ 1474957 w 8079933"/>
              <a:gd name="connsiteY28353" fmla="*/ 649840 h 4687251"/>
              <a:gd name="connsiteX28354" fmla="*/ 1469098 w 8079933"/>
              <a:gd name="connsiteY28354" fmla="*/ 657419 h 4687251"/>
              <a:gd name="connsiteX28355" fmla="*/ 1469749 w 8079933"/>
              <a:gd name="connsiteY28355" fmla="*/ 661209 h 4687251"/>
              <a:gd name="connsiteX28356" fmla="*/ 1474957 w 8079933"/>
              <a:gd name="connsiteY28356" fmla="*/ 652872 h 4687251"/>
              <a:gd name="connsiteX28357" fmla="*/ 1482553 w 8079933"/>
              <a:gd name="connsiteY28357" fmla="*/ 651139 h 4687251"/>
              <a:gd name="connsiteX28358" fmla="*/ 1496335 w 8079933"/>
              <a:gd name="connsiteY28358" fmla="*/ 640854 h 4687251"/>
              <a:gd name="connsiteX28359" fmla="*/ 1503606 w 8079933"/>
              <a:gd name="connsiteY28359" fmla="*/ 640854 h 4687251"/>
              <a:gd name="connsiteX28360" fmla="*/ 1509140 w 8079933"/>
              <a:gd name="connsiteY28360" fmla="*/ 637389 h 4687251"/>
              <a:gd name="connsiteX28361" fmla="*/ 1517713 w 8079933"/>
              <a:gd name="connsiteY28361" fmla="*/ 637064 h 4687251"/>
              <a:gd name="connsiteX28362" fmla="*/ 1521945 w 8079933"/>
              <a:gd name="connsiteY28362" fmla="*/ 634683 h 4687251"/>
              <a:gd name="connsiteX28363" fmla="*/ 1526069 w 8079933"/>
              <a:gd name="connsiteY28363" fmla="*/ 634683 h 4687251"/>
              <a:gd name="connsiteX28364" fmla="*/ 1524658 w 8079933"/>
              <a:gd name="connsiteY28364" fmla="*/ 639446 h 4687251"/>
              <a:gd name="connsiteX28365" fmla="*/ 1518472 w 8079933"/>
              <a:gd name="connsiteY28365" fmla="*/ 641504 h 4687251"/>
              <a:gd name="connsiteX28366" fmla="*/ 1518472 w 8079933"/>
              <a:gd name="connsiteY28366" fmla="*/ 645293 h 4687251"/>
              <a:gd name="connsiteX28367" fmla="*/ 1522271 w 8079933"/>
              <a:gd name="connsiteY28367" fmla="*/ 648107 h 4687251"/>
              <a:gd name="connsiteX28368" fmla="*/ 1528131 w 8079933"/>
              <a:gd name="connsiteY28368" fmla="*/ 641504 h 4687251"/>
              <a:gd name="connsiteX28369" fmla="*/ 1539199 w 8079933"/>
              <a:gd name="connsiteY28369" fmla="*/ 636307 h 4687251"/>
              <a:gd name="connsiteX28370" fmla="*/ 1541586 w 8079933"/>
              <a:gd name="connsiteY28370" fmla="*/ 636740 h 4687251"/>
              <a:gd name="connsiteX28371" fmla="*/ 1541261 w 8079933"/>
              <a:gd name="connsiteY28371" fmla="*/ 633600 h 4687251"/>
              <a:gd name="connsiteX28372" fmla="*/ 1545710 w 8079933"/>
              <a:gd name="connsiteY28372" fmla="*/ 630136 h 4687251"/>
              <a:gd name="connsiteX28373" fmla="*/ 1549508 w 8079933"/>
              <a:gd name="connsiteY28373" fmla="*/ 631868 h 4687251"/>
              <a:gd name="connsiteX28374" fmla="*/ 1549834 w 8079933"/>
              <a:gd name="connsiteY28374" fmla="*/ 628078 h 4687251"/>
              <a:gd name="connsiteX28375" fmla="*/ 1551244 w 8079933"/>
              <a:gd name="connsiteY28375" fmla="*/ 625371 h 4687251"/>
              <a:gd name="connsiteX28376" fmla="*/ 1554283 w 8079933"/>
              <a:gd name="connsiteY28376" fmla="*/ 628403 h 4687251"/>
              <a:gd name="connsiteX28377" fmla="*/ 1558081 w 8079933"/>
              <a:gd name="connsiteY28377" fmla="*/ 629485 h 4687251"/>
              <a:gd name="connsiteX28378" fmla="*/ 1559166 w 8079933"/>
              <a:gd name="connsiteY28378" fmla="*/ 622232 h 4687251"/>
              <a:gd name="connsiteX28379" fmla="*/ 1557105 w 8079933"/>
              <a:gd name="connsiteY28379" fmla="*/ 617035 h 4687251"/>
              <a:gd name="connsiteX28380" fmla="*/ 1559492 w 8079933"/>
              <a:gd name="connsiteY28380" fmla="*/ 614328 h 4687251"/>
              <a:gd name="connsiteX28381" fmla="*/ 1556779 w 8079933"/>
              <a:gd name="connsiteY28381" fmla="*/ 611188 h 4687251"/>
              <a:gd name="connsiteX28382" fmla="*/ 1560903 w 8079933"/>
              <a:gd name="connsiteY28382" fmla="*/ 605017 h 4687251"/>
              <a:gd name="connsiteX28383" fmla="*/ 1567739 w 8079933"/>
              <a:gd name="connsiteY28383" fmla="*/ 602310 h 4687251"/>
              <a:gd name="connsiteX28384" fmla="*/ 1567739 w 8079933"/>
              <a:gd name="connsiteY28384" fmla="*/ 608481 h 4687251"/>
              <a:gd name="connsiteX28385" fmla="*/ 1569150 w 8079933"/>
              <a:gd name="connsiteY28385" fmla="*/ 626671 h 4687251"/>
              <a:gd name="connsiteX28386" fmla="*/ 1566437 w 8079933"/>
              <a:gd name="connsiteY28386" fmla="*/ 631868 h 4687251"/>
              <a:gd name="connsiteX28387" fmla="*/ 1567088 w 8079933"/>
              <a:gd name="connsiteY28387" fmla="*/ 646700 h 4687251"/>
              <a:gd name="connsiteX28388" fmla="*/ 1562964 w 8079933"/>
              <a:gd name="connsiteY28388" fmla="*/ 655254 h 4687251"/>
              <a:gd name="connsiteX28389" fmla="*/ 1562639 w 8079933"/>
              <a:gd name="connsiteY28389" fmla="*/ 676691 h 4687251"/>
              <a:gd name="connsiteX28390" fmla="*/ 1564701 w 8079933"/>
              <a:gd name="connsiteY28390" fmla="*/ 682538 h 4687251"/>
              <a:gd name="connsiteX28391" fmla="*/ 1569801 w 8079933"/>
              <a:gd name="connsiteY28391" fmla="*/ 684270 h 4687251"/>
              <a:gd name="connsiteX28392" fmla="*/ 1572948 w 8079933"/>
              <a:gd name="connsiteY28392" fmla="*/ 691091 h 4687251"/>
              <a:gd name="connsiteX28393" fmla="*/ 1580544 w 8079933"/>
              <a:gd name="connsiteY28393" fmla="*/ 686976 h 4687251"/>
              <a:gd name="connsiteX28394" fmla="*/ 1578157 w 8079933"/>
              <a:gd name="connsiteY28394" fmla="*/ 683512 h 4687251"/>
              <a:gd name="connsiteX28395" fmla="*/ 1573707 w 8079933"/>
              <a:gd name="connsiteY28395" fmla="*/ 683512 h 4687251"/>
              <a:gd name="connsiteX28396" fmla="*/ 1572297 w 8079933"/>
              <a:gd name="connsiteY28396" fmla="*/ 680480 h 4687251"/>
              <a:gd name="connsiteX28397" fmla="*/ 1576746 w 8079933"/>
              <a:gd name="connsiteY28397" fmla="*/ 677666 h 4687251"/>
              <a:gd name="connsiteX28398" fmla="*/ 1581303 w 8079933"/>
              <a:gd name="connsiteY28398" fmla="*/ 679398 h 4687251"/>
              <a:gd name="connsiteX28399" fmla="*/ 1582606 w 8079933"/>
              <a:gd name="connsiteY28399" fmla="*/ 674201 h 4687251"/>
              <a:gd name="connsiteX28400" fmla="*/ 1579893 w 8079933"/>
              <a:gd name="connsiteY28400" fmla="*/ 673227 h 4687251"/>
              <a:gd name="connsiteX28401" fmla="*/ 1584668 w 8079933"/>
              <a:gd name="connsiteY28401" fmla="*/ 669112 h 4687251"/>
              <a:gd name="connsiteX28402" fmla="*/ 1590853 w 8079933"/>
              <a:gd name="connsiteY28402" fmla="*/ 669437 h 4687251"/>
              <a:gd name="connsiteX28403" fmla="*/ 1591612 w 8079933"/>
              <a:gd name="connsiteY28403" fmla="*/ 673227 h 4687251"/>
              <a:gd name="connsiteX28404" fmla="*/ 1595411 w 8079933"/>
              <a:gd name="connsiteY28404" fmla="*/ 669762 h 4687251"/>
              <a:gd name="connsiteX28405" fmla="*/ 1590527 w 8079933"/>
              <a:gd name="connsiteY28405" fmla="*/ 660776 h 4687251"/>
              <a:gd name="connsiteX28406" fmla="*/ 1595085 w 8079933"/>
              <a:gd name="connsiteY28406" fmla="*/ 661533 h 4687251"/>
              <a:gd name="connsiteX28407" fmla="*/ 1603984 w 8079933"/>
              <a:gd name="connsiteY28407" fmla="*/ 656011 h 4687251"/>
              <a:gd name="connsiteX28408" fmla="*/ 1603984 w 8079933"/>
              <a:gd name="connsiteY28408" fmla="*/ 652222 h 4687251"/>
              <a:gd name="connsiteX28409" fmla="*/ 1609518 w 8079933"/>
              <a:gd name="connsiteY28409" fmla="*/ 650815 h 4687251"/>
              <a:gd name="connsiteX28410" fmla="*/ 1610603 w 8079933"/>
              <a:gd name="connsiteY28410" fmla="*/ 656336 h 4687251"/>
              <a:gd name="connsiteX28411" fmla="*/ 1610386 w 8079933"/>
              <a:gd name="connsiteY28411" fmla="*/ 659801 h 4687251"/>
              <a:gd name="connsiteX28412" fmla="*/ 1605937 w 8079933"/>
              <a:gd name="connsiteY28412" fmla="*/ 664132 h 4687251"/>
              <a:gd name="connsiteX28413" fmla="*/ 1606479 w 8079933"/>
              <a:gd name="connsiteY28413" fmla="*/ 666622 h 4687251"/>
              <a:gd name="connsiteX28414" fmla="*/ 1601922 w 8079933"/>
              <a:gd name="connsiteY28414" fmla="*/ 670519 h 4687251"/>
              <a:gd name="connsiteX28415" fmla="*/ 1601271 w 8079933"/>
              <a:gd name="connsiteY28415" fmla="*/ 673335 h 4687251"/>
              <a:gd name="connsiteX28416" fmla="*/ 1603116 w 8079933"/>
              <a:gd name="connsiteY28416" fmla="*/ 675284 h 4687251"/>
              <a:gd name="connsiteX28417" fmla="*/ 1606588 w 8079933"/>
              <a:gd name="connsiteY28417" fmla="*/ 674201 h 4687251"/>
              <a:gd name="connsiteX28418" fmla="*/ 1607782 w 8079933"/>
              <a:gd name="connsiteY28418" fmla="*/ 676799 h 4687251"/>
              <a:gd name="connsiteX28419" fmla="*/ 1606696 w 8079933"/>
              <a:gd name="connsiteY28419" fmla="*/ 678748 h 4687251"/>
              <a:gd name="connsiteX28420" fmla="*/ 1603116 w 8079933"/>
              <a:gd name="connsiteY28420" fmla="*/ 680480 h 4687251"/>
              <a:gd name="connsiteX28421" fmla="*/ 1598883 w 8079933"/>
              <a:gd name="connsiteY28421" fmla="*/ 684703 h 4687251"/>
              <a:gd name="connsiteX28422" fmla="*/ 1595954 w 8079933"/>
              <a:gd name="connsiteY28422" fmla="*/ 684270 h 4687251"/>
              <a:gd name="connsiteX28423" fmla="*/ 1594325 w 8079933"/>
              <a:gd name="connsiteY28423" fmla="*/ 686652 h 4687251"/>
              <a:gd name="connsiteX28424" fmla="*/ 1590853 w 8079933"/>
              <a:gd name="connsiteY28424" fmla="*/ 691091 h 4687251"/>
              <a:gd name="connsiteX28425" fmla="*/ 1593675 w 8079933"/>
              <a:gd name="connsiteY28425" fmla="*/ 693906 h 4687251"/>
              <a:gd name="connsiteX28426" fmla="*/ 1600620 w 8079933"/>
              <a:gd name="connsiteY28426" fmla="*/ 694880 h 4687251"/>
              <a:gd name="connsiteX28427" fmla="*/ 1604309 w 8079933"/>
              <a:gd name="connsiteY28427" fmla="*/ 697696 h 4687251"/>
              <a:gd name="connsiteX28428" fmla="*/ 1608867 w 8079933"/>
              <a:gd name="connsiteY28428" fmla="*/ 697263 h 4687251"/>
              <a:gd name="connsiteX28429" fmla="*/ 1612990 w 8079933"/>
              <a:gd name="connsiteY28429" fmla="*/ 693582 h 4687251"/>
              <a:gd name="connsiteX28430" fmla="*/ 1617873 w 8079933"/>
              <a:gd name="connsiteY28430" fmla="*/ 692498 h 4687251"/>
              <a:gd name="connsiteX28431" fmla="*/ 1622648 w 8079933"/>
              <a:gd name="connsiteY28431" fmla="*/ 683837 h 4687251"/>
              <a:gd name="connsiteX28432" fmla="*/ 1628183 w 8079933"/>
              <a:gd name="connsiteY28432" fmla="*/ 678315 h 4687251"/>
              <a:gd name="connsiteX28433" fmla="*/ 1633392 w 8079933"/>
              <a:gd name="connsiteY28433" fmla="*/ 676691 h 4687251"/>
              <a:gd name="connsiteX28434" fmla="*/ 1636430 w 8079933"/>
              <a:gd name="connsiteY28434" fmla="*/ 679398 h 4687251"/>
              <a:gd name="connsiteX28435" fmla="*/ 1641313 w 8079933"/>
              <a:gd name="connsiteY28435" fmla="*/ 680047 h 4687251"/>
              <a:gd name="connsiteX28436" fmla="*/ 1645111 w 8079933"/>
              <a:gd name="connsiteY28436" fmla="*/ 683188 h 4687251"/>
              <a:gd name="connsiteX28437" fmla="*/ 1649235 w 8079933"/>
              <a:gd name="connsiteY28437" fmla="*/ 683512 h 4687251"/>
              <a:gd name="connsiteX28438" fmla="*/ 1655095 w 8079933"/>
              <a:gd name="connsiteY28438" fmla="*/ 688060 h 4687251"/>
              <a:gd name="connsiteX28439" fmla="*/ 1659218 w 8079933"/>
              <a:gd name="connsiteY28439" fmla="*/ 688060 h 4687251"/>
              <a:gd name="connsiteX28440" fmla="*/ 1659218 w 8079933"/>
              <a:gd name="connsiteY28440" fmla="*/ 692498 h 4687251"/>
              <a:gd name="connsiteX28441" fmla="*/ 1663342 w 8079933"/>
              <a:gd name="connsiteY28441" fmla="*/ 703867 h 4687251"/>
              <a:gd name="connsiteX28442" fmla="*/ 1663342 w 8079933"/>
              <a:gd name="connsiteY28442" fmla="*/ 710039 h 4687251"/>
              <a:gd name="connsiteX28443" fmla="*/ 1668877 w 8079933"/>
              <a:gd name="connsiteY28443" fmla="*/ 718267 h 4687251"/>
              <a:gd name="connsiteX28444" fmla="*/ 1688192 w 8079933"/>
              <a:gd name="connsiteY28444" fmla="*/ 730393 h 4687251"/>
              <a:gd name="connsiteX28445" fmla="*/ 1689604 w 8079933"/>
              <a:gd name="connsiteY28445" fmla="*/ 734832 h 4687251"/>
              <a:gd name="connsiteX28446" fmla="*/ 1696223 w 8079933"/>
              <a:gd name="connsiteY28446" fmla="*/ 737973 h 4687251"/>
              <a:gd name="connsiteX28447" fmla="*/ 1703276 w 8079933"/>
              <a:gd name="connsiteY28447" fmla="*/ 745551 h 4687251"/>
              <a:gd name="connsiteX28448" fmla="*/ 1705664 w 8079933"/>
              <a:gd name="connsiteY28448" fmla="*/ 745551 h 4687251"/>
              <a:gd name="connsiteX28449" fmla="*/ 1710547 w 8079933"/>
              <a:gd name="connsiteY28449" fmla="*/ 748799 h 4687251"/>
              <a:gd name="connsiteX28450" fmla="*/ 1712175 w 8079933"/>
              <a:gd name="connsiteY28450" fmla="*/ 753022 h 4687251"/>
              <a:gd name="connsiteX28451" fmla="*/ 1715213 w 8079933"/>
              <a:gd name="connsiteY28451" fmla="*/ 754863 h 4687251"/>
              <a:gd name="connsiteX28452" fmla="*/ 1717601 w 8079933"/>
              <a:gd name="connsiteY28452" fmla="*/ 752589 h 4687251"/>
              <a:gd name="connsiteX28453" fmla="*/ 1719120 w 8079933"/>
              <a:gd name="connsiteY28453" fmla="*/ 755512 h 4687251"/>
              <a:gd name="connsiteX28454" fmla="*/ 1726174 w 8079933"/>
              <a:gd name="connsiteY28454" fmla="*/ 760167 h 4687251"/>
              <a:gd name="connsiteX28455" fmla="*/ 1730189 w 8079933"/>
              <a:gd name="connsiteY28455" fmla="*/ 760167 h 4687251"/>
              <a:gd name="connsiteX28456" fmla="*/ 1730189 w 8079933"/>
              <a:gd name="connsiteY28456" fmla="*/ 764824 h 4687251"/>
              <a:gd name="connsiteX28457" fmla="*/ 1733444 w 8079933"/>
              <a:gd name="connsiteY28457" fmla="*/ 769154 h 4687251"/>
              <a:gd name="connsiteX28458" fmla="*/ 1735180 w 8079933"/>
              <a:gd name="connsiteY28458" fmla="*/ 764824 h 4687251"/>
              <a:gd name="connsiteX28459" fmla="*/ 1733118 w 8079933"/>
              <a:gd name="connsiteY28459" fmla="*/ 761900 h 4687251"/>
              <a:gd name="connsiteX28460" fmla="*/ 1734095 w 8079933"/>
              <a:gd name="connsiteY28460" fmla="*/ 759302 h 4687251"/>
              <a:gd name="connsiteX28461" fmla="*/ 1729755 w 8079933"/>
              <a:gd name="connsiteY28461" fmla="*/ 755728 h 4687251"/>
              <a:gd name="connsiteX28462" fmla="*/ 1729755 w 8079933"/>
              <a:gd name="connsiteY28462" fmla="*/ 753130 h 4687251"/>
              <a:gd name="connsiteX28463" fmla="*/ 1736700 w 8079933"/>
              <a:gd name="connsiteY28463" fmla="*/ 756703 h 4687251"/>
              <a:gd name="connsiteX28464" fmla="*/ 1738219 w 8079933"/>
              <a:gd name="connsiteY28464" fmla="*/ 760385 h 4687251"/>
              <a:gd name="connsiteX28465" fmla="*/ 1740281 w 8079933"/>
              <a:gd name="connsiteY28465" fmla="*/ 760167 h 4687251"/>
              <a:gd name="connsiteX28466" fmla="*/ 1741691 w 8079933"/>
              <a:gd name="connsiteY28466" fmla="*/ 756595 h 4687251"/>
              <a:gd name="connsiteX28467" fmla="*/ 1743536 w 8079933"/>
              <a:gd name="connsiteY28467" fmla="*/ 756053 h 4687251"/>
              <a:gd name="connsiteX28468" fmla="*/ 1749938 w 8079933"/>
              <a:gd name="connsiteY28468" fmla="*/ 762225 h 4687251"/>
              <a:gd name="connsiteX28469" fmla="*/ 1751024 w 8079933"/>
              <a:gd name="connsiteY28469" fmla="*/ 765581 h 4687251"/>
              <a:gd name="connsiteX28470" fmla="*/ 1754062 w 8079933"/>
              <a:gd name="connsiteY28470" fmla="*/ 766881 h 4687251"/>
              <a:gd name="connsiteX28471" fmla="*/ 1756667 w 8079933"/>
              <a:gd name="connsiteY28471" fmla="*/ 772944 h 4687251"/>
              <a:gd name="connsiteX28472" fmla="*/ 1759054 w 8079933"/>
              <a:gd name="connsiteY28472" fmla="*/ 777058 h 4687251"/>
              <a:gd name="connsiteX28473" fmla="*/ 1759596 w 8079933"/>
              <a:gd name="connsiteY28473" fmla="*/ 782905 h 4687251"/>
              <a:gd name="connsiteX28474" fmla="*/ 1761876 w 8079933"/>
              <a:gd name="connsiteY28474" fmla="*/ 788318 h 4687251"/>
              <a:gd name="connsiteX28475" fmla="*/ 1759596 w 8079933"/>
              <a:gd name="connsiteY28475" fmla="*/ 793082 h 4687251"/>
              <a:gd name="connsiteX28476" fmla="*/ 1759054 w 8079933"/>
              <a:gd name="connsiteY28476" fmla="*/ 798387 h 4687251"/>
              <a:gd name="connsiteX28477" fmla="*/ 1754822 w 8079933"/>
              <a:gd name="connsiteY28477" fmla="*/ 803151 h 4687251"/>
              <a:gd name="connsiteX28478" fmla="*/ 1744296 w 8079933"/>
              <a:gd name="connsiteY28478" fmla="*/ 799362 h 4687251"/>
              <a:gd name="connsiteX28479" fmla="*/ 1738436 w 8079933"/>
              <a:gd name="connsiteY28479" fmla="*/ 798820 h 4687251"/>
              <a:gd name="connsiteX28480" fmla="*/ 1738545 w 8079933"/>
              <a:gd name="connsiteY28480" fmla="*/ 800769 h 4687251"/>
              <a:gd name="connsiteX28481" fmla="*/ 1736483 w 8079933"/>
              <a:gd name="connsiteY28481" fmla="*/ 802285 h 4687251"/>
              <a:gd name="connsiteX28482" fmla="*/ 1730514 w 8079933"/>
              <a:gd name="connsiteY28482" fmla="*/ 799903 h 4687251"/>
              <a:gd name="connsiteX28483" fmla="*/ 1726499 w 8079933"/>
              <a:gd name="connsiteY28483" fmla="*/ 799687 h 4687251"/>
              <a:gd name="connsiteX28484" fmla="*/ 1727692 w 8079933"/>
              <a:gd name="connsiteY28484" fmla="*/ 803368 h 4687251"/>
              <a:gd name="connsiteX28485" fmla="*/ 1723786 w 8079933"/>
              <a:gd name="connsiteY28485" fmla="*/ 806074 h 4687251"/>
              <a:gd name="connsiteX28486" fmla="*/ 1723244 w 8079933"/>
              <a:gd name="connsiteY28486" fmla="*/ 811055 h 4687251"/>
              <a:gd name="connsiteX28487" fmla="*/ 1718251 w 8079933"/>
              <a:gd name="connsiteY28487" fmla="*/ 810513 h 4687251"/>
              <a:gd name="connsiteX28488" fmla="*/ 1713911 w 8079933"/>
              <a:gd name="connsiteY28488" fmla="*/ 812138 h 4687251"/>
              <a:gd name="connsiteX28489" fmla="*/ 1715647 w 8079933"/>
              <a:gd name="connsiteY28489" fmla="*/ 814519 h 4687251"/>
              <a:gd name="connsiteX28490" fmla="*/ 1720313 w 8079933"/>
              <a:gd name="connsiteY28490" fmla="*/ 816577 h 4687251"/>
              <a:gd name="connsiteX28491" fmla="*/ 1721724 w 8079933"/>
              <a:gd name="connsiteY28491" fmla="*/ 821882 h 4687251"/>
              <a:gd name="connsiteX28492" fmla="*/ 1725631 w 8079933"/>
              <a:gd name="connsiteY28492" fmla="*/ 825130 h 4687251"/>
              <a:gd name="connsiteX28493" fmla="*/ 1728560 w 8079933"/>
              <a:gd name="connsiteY28493" fmla="*/ 823290 h 4687251"/>
              <a:gd name="connsiteX28494" fmla="*/ 1734095 w 8079933"/>
              <a:gd name="connsiteY28494" fmla="*/ 827729 h 4687251"/>
              <a:gd name="connsiteX28495" fmla="*/ 1734421 w 8079933"/>
              <a:gd name="connsiteY28495" fmla="*/ 831843 h 4687251"/>
              <a:gd name="connsiteX28496" fmla="*/ 1741040 w 8079933"/>
              <a:gd name="connsiteY28496" fmla="*/ 831843 h 4687251"/>
              <a:gd name="connsiteX28497" fmla="*/ 1748419 w 8079933"/>
              <a:gd name="connsiteY28497" fmla="*/ 836390 h 4687251"/>
              <a:gd name="connsiteX28498" fmla="*/ 1756341 w 8079933"/>
              <a:gd name="connsiteY28498" fmla="*/ 836823 h 4687251"/>
              <a:gd name="connsiteX28499" fmla="*/ 1766325 w 8079933"/>
              <a:gd name="connsiteY28499" fmla="*/ 841370 h 4687251"/>
              <a:gd name="connsiteX28500" fmla="*/ 1772402 w 8079933"/>
              <a:gd name="connsiteY28500" fmla="*/ 841696 h 4687251"/>
              <a:gd name="connsiteX28501" fmla="*/ 1772402 w 8079933"/>
              <a:gd name="connsiteY28501" fmla="*/ 839097 h 4687251"/>
              <a:gd name="connsiteX28502" fmla="*/ 1774789 w 8079933"/>
              <a:gd name="connsiteY28502" fmla="*/ 838772 h 4687251"/>
              <a:gd name="connsiteX28503" fmla="*/ 1779021 w 8079933"/>
              <a:gd name="connsiteY28503" fmla="*/ 841154 h 4687251"/>
              <a:gd name="connsiteX28504" fmla="*/ 1778696 w 8079933"/>
              <a:gd name="connsiteY28504" fmla="*/ 844944 h 4687251"/>
              <a:gd name="connsiteX28505" fmla="*/ 1785641 w 8079933"/>
              <a:gd name="connsiteY28505" fmla="*/ 839422 h 4687251"/>
              <a:gd name="connsiteX28506" fmla="*/ 1788028 w 8079933"/>
              <a:gd name="connsiteY28506" fmla="*/ 842129 h 4687251"/>
              <a:gd name="connsiteX28507" fmla="*/ 1790958 w 8079933"/>
              <a:gd name="connsiteY28507" fmla="*/ 841804 h 4687251"/>
              <a:gd name="connsiteX28508" fmla="*/ 1794213 w 8079933"/>
              <a:gd name="connsiteY28508" fmla="*/ 838014 h 4687251"/>
              <a:gd name="connsiteX28509" fmla="*/ 1796275 w 8079933"/>
              <a:gd name="connsiteY28509" fmla="*/ 838231 h 4687251"/>
              <a:gd name="connsiteX28510" fmla="*/ 1796167 w 8079933"/>
              <a:gd name="connsiteY28510" fmla="*/ 840505 h 4687251"/>
              <a:gd name="connsiteX28511" fmla="*/ 1798663 w 8079933"/>
              <a:gd name="connsiteY28511" fmla="*/ 841479 h 4687251"/>
              <a:gd name="connsiteX28512" fmla="*/ 1806259 w 8079933"/>
              <a:gd name="connsiteY28512" fmla="*/ 837582 h 4687251"/>
              <a:gd name="connsiteX28513" fmla="*/ 1819389 w 8079933"/>
              <a:gd name="connsiteY28513" fmla="*/ 832709 h 4687251"/>
              <a:gd name="connsiteX28514" fmla="*/ 1823404 w 8079933"/>
              <a:gd name="connsiteY28514" fmla="*/ 831843 h 4687251"/>
              <a:gd name="connsiteX28515" fmla="*/ 1823187 w 8079933"/>
              <a:gd name="connsiteY28515" fmla="*/ 836390 h 4687251"/>
              <a:gd name="connsiteX28516" fmla="*/ 1821994 w 8079933"/>
              <a:gd name="connsiteY28516" fmla="*/ 838772 h 4687251"/>
              <a:gd name="connsiteX28517" fmla="*/ 1821994 w 8079933"/>
              <a:gd name="connsiteY28517" fmla="*/ 840505 h 4687251"/>
              <a:gd name="connsiteX28518" fmla="*/ 1824164 w 8079933"/>
              <a:gd name="connsiteY28518" fmla="*/ 840613 h 4687251"/>
              <a:gd name="connsiteX28519" fmla="*/ 1824598 w 8079933"/>
              <a:gd name="connsiteY28519" fmla="*/ 845593 h 4687251"/>
              <a:gd name="connsiteX28520" fmla="*/ 1823839 w 8079933"/>
              <a:gd name="connsiteY28520" fmla="*/ 849274 h 4687251"/>
              <a:gd name="connsiteX28521" fmla="*/ 1825032 w 8079933"/>
              <a:gd name="connsiteY28521" fmla="*/ 851764 h 4687251"/>
              <a:gd name="connsiteX28522" fmla="*/ 1826660 w 8079933"/>
              <a:gd name="connsiteY28522" fmla="*/ 852847 h 4687251"/>
              <a:gd name="connsiteX28523" fmla="*/ 1829373 w 8079933"/>
              <a:gd name="connsiteY28523" fmla="*/ 849924 h 4687251"/>
              <a:gd name="connsiteX28524" fmla="*/ 1832303 w 8079933"/>
              <a:gd name="connsiteY28524" fmla="*/ 852523 h 4687251"/>
              <a:gd name="connsiteX28525" fmla="*/ 1831651 w 8079933"/>
              <a:gd name="connsiteY28525" fmla="*/ 856637 h 4687251"/>
              <a:gd name="connsiteX28526" fmla="*/ 1828505 w 8079933"/>
              <a:gd name="connsiteY28526" fmla="*/ 864216 h 4687251"/>
              <a:gd name="connsiteX28527" fmla="*/ 1829590 w 8079933"/>
              <a:gd name="connsiteY28527" fmla="*/ 869196 h 4687251"/>
              <a:gd name="connsiteX28528" fmla="*/ 1830892 w 8079933"/>
              <a:gd name="connsiteY28528" fmla="*/ 870171 h 4687251"/>
              <a:gd name="connsiteX28529" fmla="*/ 1834365 w 8079933"/>
              <a:gd name="connsiteY28529" fmla="*/ 866814 h 4687251"/>
              <a:gd name="connsiteX28530" fmla="*/ 1835016 w 8079933"/>
              <a:gd name="connsiteY28530" fmla="*/ 860968 h 4687251"/>
              <a:gd name="connsiteX28531" fmla="*/ 1836752 w 8079933"/>
              <a:gd name="connsiteY28531" fmla="*/ 858045 h 4687251"/>
              <a:gd name="connsiteX28532" fmla="*/ 1838163 w 8079933"/>
              <a:gd name="connsiteY28532" fmla="*/ 858045 h 4687251"/>
              <a:gd name="connsiteX28533" fmla="*/ 1837620 w 8079933"/>
              <a:gd name="connsiteY28533" fmla="*/ 864324 h 4687251"/>
              <a:gd name="connsiteX28534" fmla="*/ 1834365 w 8079933"/>
              <a:gd name="connsiteY28534" fmla="*/ 872120 h 4687251"/>
              <a:gd name="connsiteX28535" fmla="*/ 1830892 w 8079933"/>
              <a:gd name="connsiteY28535" fmla="*/ 877316 h 4687251"/>
              <a:gd name="connsiteX28536" fmla="*/ 1830567 w 8079933"/>
              <a:gd name="connsiteY28536" fmla="*/ 885653 h 4687251"/>
              <a:gd name="connsiteX28537" fmla="*/ 1833822 w 8079933"/>
              <a:gd name="connsiteY28537" fmla="*/ 890851 h 4687251"/>
              <a:gd name="connsiteX28538" fmla="*/ 1834039 w 8079933"/>
              <a:gd name="connsiteY28538" fmla="*/ 899079 h 4687251"/>
              <a:gd name="connsiteX28539" fmla="*/ 1832303 w 8079933"/>
              <a:gd name="connsiteY28539" fmla="*/ 904926 h 4687251"/>
              <a:gd name="connsiteX28540" fmla="*/ 1837294 w 8079933"/>
              <a:gd name="connsiteY28540" fmla="*/ 908498 h 4687251"/>
              <a:gd name="connsiteX28541" fmla="*/ 1837294 w 8079933"/>
              <a:gd name="connsiteY28541" fmla="*/ 911530 h 4687251"/>
              <a:gd name="connsiteX28542" fmla="*/ 1835233 w 8079933"/>
              <a:gd name="connsiteY28542" fmla="*/ 915428 h 4687251"/>
              <a:gd name="connsiteX28543" fmla="*/ 1837294 w 8079933"/>
              <a:gd name="connsiteY28543" fmla="*/ 917810 h 4687251"/>
              <a:gd name="connsiteX28544" fmla="*/ 1839899 w 8079933"/>
              <a:gd name="connsiteY28544" fmla="*/ 924847 h 4687251"/>
              <a:gd name="connsiteX28545" fmla="*/ 1840767 w 8079933"/>
              <a:gd name="connsiteY28545" fmla="*/ 939681 h 4687251"/>
              <a:gd name="connsiteX28546" fmla="*/ 1841093 w 8079933"/>
              <a:gd name="connsiteY28546" fmla="*/ 924847 h 4687251"/>
              <a:gd name="connsiteX28547" fmla="*/ 1838488 w 8079933"/>
              <a:gd name="connsiteY28547" fmla="*/ 913154 h 4687251"/>
              <a:gd name="connsiteX28548" fmla="*/ 1839899 w 8079933"/>
              <a:gd name="connsiteY28548" fmla="*/ 902869 h 4687251"/>
              <a:gd name="connsiteX28549" fmla="*/ 1845433 w 8079933"/>
              <a:gd name="connsiteY28549" fmla="*/ 892908 h 4687251"/>
              <a:gd name="connsiteX28550" fmla="*/ 1848689 w 8079933"/>
              <a:gd name="connsiteY28550" fmla="*/ 893016 h 4687251"/>
              <a:gd name="connsiteX28551" fmla="*/ 1848689 w 8079933"/>
              <a:gd name="connsiteY28551" fmla="*/ 897347 h 4687251"/>
              <a:gd name="connsiteX28552" fmla="*/ 1846952 w 8079933"/>
              <a:gd name="connsiteY28552" fmla="*/ 897996 h 4687251"/>
              <a:gd name="connsiteX28553" fmla="*/ 1846302 w 8079933"/>
              <a:gd name="connsiteY28553" fmla="*/ 901894 h 4687251"/>
              <a:gd name="connsiteX28554" fmla="*/ 1847929 w 8079933"/>
              <a:gd name="connsiteY28554" fmla="*/ 903085 h 4687251"/>
              <a:gd name="connsiteX28555" fmla="*/ 1851076 w 8079933"/>
              <a:gd name="connsiteY28555" fmla="*/ 901028 h 4687251"/>
              <a:gd name="connsiteX28556" fmla="*/ 1852270 w 8079933"/>
              <a:gd name="connsiteY28556" fmla="*/ 902869 h 4687251"/>
              <a:gd name="connsiteX28557" fmla="*/ 1854331 w 8079933"/>
              <a:gd name="connsiteY28557" fmla="*/ 900703 h 4687251"/>
              <a:gd name="connsiteX28558" fmla="*/ 1854331 w 8079933"/>
              <a:gd name="connsiteY28558" fmla="*/ 895831 h 4687251"/>
              <a:gd name="connsiteX28559" fmla="*/ 1851618 w 8079933"/>
              <a:gd name="connsiteY28559" fmla="*/ 891500 h 4687251"/>
              <a:gd name="connsiteX28560" fmla="*/ 1851402 w 8079933"/>
              <a:gd name="connsiteY28560" fmla="*/ 888793 h 4687251"/>
              <a:gd name="connsiteX28561" fmla="*/ 1855959 w 8079933"/>
              <a:gd name="connsiteY28561" fmla="*/ 887602 h 4687251"/>
              <a:gd name="connsiteX28562" fmla="*/ 1857153 w 8079933"/>
              <a:gd name="connsiteY28562" fmla="*/ 885112 h 4687251"/>
              <a:gd name="connsiteX28563" fmla="*/ 1852813 w 8079933"/>
              <a:gd name="connsiteY28563" fmla="*/ 881755 h 4687251"/>
              <a:gd name="connsiteX28564" fmla="*/ 1853138 w 8079933"/>
              <a:gd name="connsiteY28564" fmla="*/ 878508 h 4687251"/>
              <a:gd name="connsiteX28565" fmla="*/ 1855417 w 8079933"/>
              <a:gd name="connsiteY28565" fmla="*/ 869521 h 4687251"/>
              <a:gd name="connsiteX28566" fmla="*/ 1859541 w 8079933"/>
              <a:gd name="connsiteY28566" fmla="*/ 857503 h 4687251"/>
              <a:gd name="connsiteX28567" fmla="*/ 1858456 w 8079933"/>
              <a:gd name="connsiteY28567" fmla="*/ 853497 h 4687251"/>
              <a:gd name="connsiteX28568" fmla="*/ 1858456 w 8079933"/>
              <a:gd name="connsiteY28568" fmla="*/ 849708 h 4687251"/>
              <a:gd name="connsiteX28569" fmla="*/ 1861602 w 8079933"/>
              <a:gd name="connsiteY28569" fmla="*/ 847325 h 4687251"/>
              <a:gd name="connsiteX28570" fmla="*/ 1868330 w 8079933"/>
              <a:gd name="connsiteY28570" fmla="*/ 846676 h 4687251"/>
              <a:gd name="connsiteX28571" fmla="*/ 1868656 w 8079933"/>
              <a:gd name="connsiteY28571" fmla="*/ 845160 h 4687251"/>
              <a:gd name="connsiteX28572" fmla="*/ 1870718 w 8079933"/>
              <a:gd name="connsiteY28572" fmla="*/ 842345 h 4687251"/>
              <a:gd name="connsiteX28573" fmla="*/ 1873973 w 8079933"/>
              <a:gd name="connsiteY28573" fmla="*/ 841804 h 4687251"/>
              <a:gd name="connsiteX28574" fmla="*/ 1876035 w 8079933"/>
              <a:gd name="connsiteY28574" fmla="*/ 844294 h 4687251"/>
              <a:gd name="connsiteX28575" fmla="*/ 1879507 w 8079933"/>
              <a:gd name="connsiteY28575" fmla="*/ 842670 h 4687251"/>
              <a:gd name="connsiteX28576" fmla="*/ 1882437 w 8079933"/>
              <a:gd name="connsiteY28576" fmla="*/ 838772 h 4687251"/>
              <a:gd name="connsiteX28577" fmla="*/ 1884717 w 8079933"/>
              <a:gd name="connsiteY28577" fmla="*/ 838556 h 4687251"/>
              <a:gd name="connsiteX28578" fmla="*/ 1884717 w 8079933"/>
              <a:gd name="connsiteY28578" fmla="*/ 841804 h 4687251"/>
              <a:gd name="connsiteX28579" fmla="*/ 1887103 w 8079933"/>
              <a:gd name="connsiteY28579" fmla="*/ 840613 h 4687251"/>
              <a:gd name="connsiteX28580" fmla="*/ 1892313 w 8079933"/>
              <a:gd name="connsiteY28580" fmla="*/ 839747 h 4687251"/>
              <a:gd name="connsiteX28581" fmla="*/ 1894700 w 8079933"/>
              <a:gd name="connsiteY28581" fmla="*/ 835091 h 4687251"/>
              <a:gd name="connsiteX28582" fmla="*/ 1897413 w 8079933"/>
              <a:gd name="connsiteY28582" fmla="*/ 835091 h 4687251"/>
              <a:gd name="connsiteX28583" fmla="*/ 1899041 w 8079933"/>
              <a:gd name="connsiteY28583" fmla="*/ 838772 h 4687251"/>
              <a:gd name="connsiteX28584" fmla="*/ 1901211 w 8079933"/>
              <a:gd name="connsiteY28584" fmla="*/ 839313 h 4687251"/>
              <a:gd name="connsiteX28585" fmla="*/ 1902404 w 8079933"/>
              <a:gd name="connsiteY28585" fmla="*/ 845268 h 4687251"/>
              <a:gd name="connsiteX28586" fmla="*/ 1902296 w 8079933"/>
              <a:gd name="connsiteY28586" fmla="*/ 839313 h 4687251"/>
              <a:gd name="connsiteX28587" fmla="*/ 1900668 w 8079933"/>
              <a:gd name="connsiteY28587" fmla="*/ 834117 h 4687251"/>
              <a:gd name="connsiteX28588" fmla="*/ 1904467 w 8079933"/>
              <a:gd name="connsiteY28588" fmla="*/ 826862 h 4687251"/>
              <a:gd name="connsiteX28589" fmla="*/ 1907830 w 8079933"/>
              <a:gd name="connsiteY28589" fmla="*/ 826754 h 4687251"/>
              <a:gd name="connsiteX28590" fmla="*/ 1910001 w 8079933"/>
              <a:gd name="connsiteY28590" fmla="*/ 828486 h 4687251"/>
              <a:gd name="connsiteX28591" fmla="*/ 1914016 w 8079933"/>
              <a:gd name="connsiteY28591" fmla="*/ 828270 h 4687251"/>
              <a:gd name="connsiteX28592" fmla="*/ 1916620 w 8079933"/>
              <a:gd name="connsiteY28592" fmla="*/ 826538 h 4687251"/>
              <a:gd name="connsiteX28593" fmla="*/ 1919442 w 8079933"/>
              <a:gd name="connsiteY28593" fmla="*/ 828811 h 4687251"/>
              <a:gd name="connsiteX28594" fmla="*/ 1924867 w 8079933"/>
              <a:gd name="connsiteY28594" fmla="*/ 822964 h 4687251"/>
              <a:gd name="connsiteX28595" fmla="*/ 1923131 w 8079933"/>
              <a:gd name="connsiteY28595" fmla="*/ 819825 h 4687251"/>
              <a:gd name="connsiteX28596" fmla="*/ 1926170 w 8079933"/>
              <a:gd name="connsiteY28596" fmla="*/ 816577 h 4687251"/>
              <a:gd name="connsiteX28597" fmla="*/ 1921937 w 8079933"/>
              <a:gd name="connsiteY28597" fmla="*/ 816252 h 4687251"/>
              <a:gd name="connsiteX28598" fmla="*/ 1921395 w 8079933"/>
              <a:gd name="connsiteY28598" fmla="*/ 814844 h 4687251"/>
              <a:gd name="connsiteX28599" fmla="*/ 1917814 w 8079933"/>
              <a:gd name="connsiteY28599" fmla="*/ 815061 h 4687251"/>
              <a:gd name="connsiteX28600" fmla="*/ 1908156 w 8079933"/>
              <a:gd name="connsiteY28600" fmla="*/ 818417 h 4687251"/>
              <a:gd name="connsiteX28601" fmla="*/ 1905335 w 8079933"/>
              <a:gd name="connsiteY28601" fmla="*/ 818093 h 4687251"/>
              <a:gd name="connsiteX28602" fmla="*/ 1904032 w 8079933"/>
              <a:gd name="connsiteY28602" fmla="*/ 821341 h 4687251"/>
              <a:gd name="connsiteX28603" fmla="*/ 1899801 w 8079933"/>
              <a:gd name="connsiteY28603" fmla="*/ 821774 h 4687251"/>
              <a:gd name="connsiteX28604" fmla="*/ 1899801 w 8079933"/>
              <a:gd name="connsiteY28604" fmla="*/ 824697 h 4687251"/>
              <a:gd name="connsiteX28605" fmla="*/ 1898824 w 8079933"/>
              <a:gd name="connsiteY28605" fmla="*/ 827079 h 4687251"/>
              <a:gd name="connsiteX28606" fmla="*/ 1894808 w 8079933"/>
              <a:gd name="connsiteY28606" fmla="*/ 822207 h 4687251"/>
              <a:gd name="connsiteX28607" fmla="*/ 1895351 w 8079933"/>
              <a:gd name="connsiteY28607" fmla="*/ 818417 h 4687251"/>
              <a:gd name="connsiteX28608" fmla="*/ 1892638 w 8079933"/>
              <a:gd name="connsiteY28608" fmla="*/ 820691 h 4687251"/>
              <a:gd name="connsiteX28609" fmla="*/ 1891553 w 8079933"/>
              <a:gd name="connsiteY28609" fmla="*/ 824805 h 4687251"/>
              <a:gd name="connsiteX28610" fmla="*/ 1888297 w 8079933"/>
              <a:gd name="connsiteY28610" fmla="*/ 826213 h 4687251"/>
              <a:gd name="connsiteX28611" fmla="*/ 1883849 w 8079933"/>
              <a:gd name="connsiteY28611" fmla="*/ 823290 h 4687251"/>
              <a:gd name="connsiteX28612" fmla="*/ 1880159 w 8079933"/>
              <a:gd name="connsiteY28612" fmla="*/ 823290 h 4687251"/>
              <a:gd name="connsiteX28613" fmla="*/ 1879507 w 8079933"/>
              <a:gd name="connsiteY28613" fmla="*/ 821016 h 4687251"/>
              <a:gd name="connsiteX28614" fmla="*/ 1876469 w 8079933"/>
              <a:gd name="connsiteY28614" fmla="*/ 821882 h 4687251"/>
              <a:gd name="connsiteX28615" fmla="*/ 1875926 w 8079933"/>
              <a:gd name="connsiteY28615" fmla="*/ 824697 h 4687251"/>
              <a:gd name="connsiteX28616" fmla="*/ 1879182 w 8079933"/>
              <a:gd name="connsiteY28616" fmla="*/ 827945 h 4687251"/>
              <a:gd name="connsiteX28617" fmla="*/ 1879182 w 8079933"/>
              <a:gd name="connsiteY28617" fmla="*/ 830652 h 4687251"/>
              <a:gd name="connsiteX28618" fmla="*/ 1874190 w 8079933"/>
              <a:gd name="connsiteY28618" fmla="*/ 832276 h 4687251"/>
              <a:gd name="connsiteX28619" fmla="*/ 1872780 w 8079933"/>
              <a:gd name="connsiteY28619" fmla="*/ 830002 h 4687251"/>
              <a:gd name="connsiteX28620" fmla="*/ 1866377 w 8079933"/>
              <a:gd name="connsiteY28620" fmla="*/ 829136 h 4687251"/>
              <a:gd name="connsiteX28621" fmla="*/ 1865509 w 8079933"/>
              <a:gd name="connsiteY28621" fmla="*/ 826754 h 4687251"/>
              <a:gd name="connsiteX28622" fmla="*/ 1868547 w 8079933"/>
              <a:gd name="connsiteY28622" fmla="*/ 824156 h 4687251"/>
              <a:gd name="connsiteX28623" fmla="*/ 1869850 w 8079933"/>
              <a:gd name="connsiteY28623" fmla="*/ 819825 h 4687251"/>
              <a:gd name="connsiteX28624" fmla="*/ 1868005 w 8079933"/>
              <a:gd name="connsiteY28624" fmla="*/ 819609 h 4687251"/>
              <a:gd name="connsiteX28625" fmla="*/ 1865184 w 8079933"/>
              <a:gd name="connsiteY28625" fmla="*/ 821341 h 4687251"/>
              <a:gd name="connsiteX28626" fmla="*/ 1861602 w 8079933"/>
              <a:gd name="connsiteY28626" fmla="*/ 819500 h 4687251"/>
              <a:gd name="connsiteX28627" fmla="*/ 1863447 w 8079933"/>
              <a:gd name="connsiteY28627" fmla="*/ 815711 h 4687251"/>
              <a:gd name="connsiteX28628" fmla="*/ 1867788 w 8079933"/>
              <a:gd name="connsiteY28628" fmla="*/ 813112 h 4687251"/>
              <a:gd name="connsiteX28629" fmla="*/ 1873864 w 8079933"/>
              <a:gd name="connsiteY28629" fmla="*/ 804558 h 4687251"/>
              <a:gd name="connsiteX28630" fmla="*/ 1878097 w 8079933"/>
              <a:gd name="connsiteY28630" fmla="*/ 804558 h 4687251"/>
              <a:gd name="connsiteX28631" fmla="*/ 1883306 w 8079933"/>
              <a:gd name="connsiteY28631" fmla="*/ 805966 h 4687251"/>
              <a:gd name="connsiteX28632" fmla="*/ 1900668 w 8079933"/>
              <a:gd name="connsiteY28632" fmla="*/ 805209 h 4687251"/>
              <a:gd name="connsiteX28633" fmla="*/ 1912931 w 8079933"/>
              <a:gd name="connsiteY28633" fmla="*/ 801419 h 4687251"/>
              <a:gd name="connsiteX28634" fmla="*/ 1916186 w 8079933"/>
              <a:gd name="connsiteY28634" fmla="*/ 802177 h 4687251"/>
              <a:gd name="connsiteX28635" fmla="*/ 1922263 w 8079933"/>
              <a:gd name="connsiteY28635" fmla="*/ 800011 h 4687251"/>
              <a:gd name="connsiteX28636" fmla="*/ 1924433 w 8079933"/>
              <a:gd name="connsiteY28636" fmla="*/ 803476 h 4687251"/>
              <a:gd name="connsiteX28637" fmla="*/ 1927363 w 8079933"/>
              <a:gd name="connsiteY28637" fmla="*/ 806074 h 4687251"/>
              <a:gd name="connsiteX28638" fmla="*/ 1929642 w 8079933"/>
              <a:gd name="connsiteY28638" fmla="*/ 806291 h 4687251"/>
              <a:gd name="connsiteX28639" fmla="*/ 1931053 w 8079933"/>
              <a:gd name="connsiteY28639" fmla="*/ 810080 h 4687251"/>
              <a:gd name="connsiteX28640" fmla="*/ 1930185 w 8079933"/>
              <a:gd name="connsiteY28640" fmla="*/ 819609 h 4687251"/>
              <a:gd name="connsiteX28641" fmla="*/ 1928991 w 8079933"/>
              <a:gd name="connsiteY28641" fmla="*/ 822748 h 4687251"/>
              <a:gd name="connsiteX28642" fmla="*/ 1931270 w 8079933"/>
              <a:gd name="connsiteY28642" fmla="*/ 824156 h 4687251"/>
              <a:gd name="connsiteX28643" fmla="*/ 1930510 w 8079933"/>
              <a:gd name="connsiteY28643" fmla="*/ 825996 h 4687251"/>
              <a:gd name="connsiteX28644" fmla="*/ 1926712 w 8079933"/>
              <a:gd name="connsiteY28644" fmla="*/ 828486 h 4687251"/>
              <a:gd name="connsiteX28645" fmla="*/ 1927255 w 8079933"/>
              <a:gd name="connsiteY28645" fmla="*/ 830111 h 4687251"/>
              <a:gd name="connsiteX28646" fmla="*/ 1928991 w 8079933"/>
              <a:gd name="connsiteY28646" fmla="*/ 831518 h 4687251"/>
              <a:gd name="connsiteX28647" fmla="*/ 1930185 w 8079933"/>
              <a:gd name="connsiteY28647" fmla="*/ 840829 h 4687251"/>
              <a:gd name="connsiteX28648" fmla="*/ 1933766 w 8079933"/>
              <a:gd name="connsiteY28648" fmla="*/ 840937 h 4687251"/>
              <a:gd name="connsiteX28649" fmla="*/ 1936696 w 8079933"/>
              <a:gd name="connsiteY28649" fmla="*/ 842345 h 4687251"/>
              <a:gd name="connsiteX28650" fmla="*/ 1936696 w 8079933"/>
              <a:gd name="connsiteY28650" fmla="*/ 844727 h 4687251"/>
              <a:gd name="connsiteX28651" fmla="*/ 1932898 w 8079933"/>
              <a:gd name="connsiteY28651" fmla="*/ 847542 h 4687251"/>
              <a:gd name="connsiteX28652" fmla="*/ 1932572 w 8079933"/>
              <a:gd name="connsiteY28652" fmla="*/ 851115 h 4687251"/>
              <a:gd name="connsiteX28653" fmla="*/ 1930728 w 8079933"/>
              <a:gd name="connsiteY28653" fmla="*/ 854255 h 4687251"/>
              <a:gd name="connsiteX28654" fmla="*/ 1935394 w 8079933"/>
              <a:gd name="connsiteY28654" fmla="*/ 854039 h 4687251"/>
              <a:gd name="connsiteX28655" fmla="*/ 1939626 w 8079933"/>
              <a:gd name="connsiteY28655" fmla="*/ 855988 h 4687251"/>
              <a:gd name="connsiteX28656" fmla="*/ 1940494 w 8079933"/>
              <a:gd name="connsiteY28656" fmla="*/ 857719 h 4687251"/>
              <a:gd name="connsiteX28657" fmla="*/ 1942447 w 8079933"/>
              <a:gd name="connsiteY28657" fmla="*/ 857178 h 4687251"/>
              <a:gd name="connsiteX28658" fmla="*/ 1945703 w 8079933"/>
              <a:gd name="connsiteY28658" fmla="*/ 860751 h 4687251"/>
              <a:gd name="connsiteX28659" fmla="*/ 1950694 w 8079933"/>
              <a:gd name="connsiteY28659" fmla="*/ 860968 h 4687251"/>
              <a:gd name="connsiteX28660" fmla="*/ 1954818 w 8079933"/>
              <a:gd name="connsiteY28660" fmla="*/ 858478 h 4687251"/>
              <a:gd name="connsiteX28661" fmla="*/ 1956554 w 8079933"/>
              <a:gd name="connsiteY28661" fmla="*/ 859560 h 4687251"/>
              <a:gd name="connsiteX28662" fmla="*/ 1956229 w 8079933"/>
              <a:gd name="connsiteY28662" fmla="*/ 862808 h 4687251"/>
              <a:gd name="connsiteX28663" fmla="*/ 1957423 w 8079933"/>
              <a:gd name="connsiteY28663" fmla="*/ 864216 h 4687251"/>
              <a:gd name="connsiteX28664" fmla="*/ 1959592 w 8079933"/>
              <a:gd name="connsiteY28664" fmla="*/ 863349 h 4687251"/>
              <a:gd name="connsiteX28665" fmla="*/ 1962089 w 8079933"/>
              <a:gd name="connsiteY28665" fmla="*/ 866273 h 4687251"/>
              <a:gd name="connsiteX28666" fmla="*/ 1960787 w 8079933"/>
              <a:gd name="connsiteY28666" fmla="*/ 868547 h 4687251"/>
              <a:gd name="connsiteX28667" fmla="*/ 1960787 w 8079933"/>
              <a:gd name="connsiteY28667" fmla="*/ 871362 h 4687251"/>
              <a:gd name="connsiteX28668" fmla="*/ 1962849 w 8079933"/>
              <a:gd name="connsiteY28668" fmla="*/ 872228 h 4687251"/>
              <a:gd name="connsiteX28669" fmla="*/ 1963825 w 8079933"/>
              <a:gd name="connsiteY28669" fmla="*/ 875151 h 4687251"/>
              <a:gd name="connsiteX28670" fmla="*/ 1970336 w 8079933"/>
              <a:gd name="connsiteY28670" fmla="*/ 881431 h 4687251"/>
              <a:gd name="connsiteX28671" fmla="*/ 1970336 w 8079933"/>
              <a:gd name="connsiteY28671" fmla="*/ 884787 h 4687251"/>
              <a:gd name="connsiteX28672" fmla="*/ 1975436 w 8079933"/>
              <a:gd name="connsiteY28672" fmla="*/ 881214 h 4687251"/>
              <a:gd name="connsiteX28673" fmla="*/ 1977172 w 8079933"/>
              <a:gd name="connsiteY28673" fmla="*/ 882622 h 4687251"/>
              <a:gd name="connsiteX28674" fmla="*/ 1977932 w 8079933"/>
              <a:gd name="connsiteY28674" fmla="*/ 886736 h 4687251"/>
              <a:gd name="connsiteX28675" fmla="*/ 1979126 w 8079933"/>
              <a:gd name="connsiteY28675" fmla="*/ 887277 h 4687251"/>
              <a:gd name="connsiteX28676" fmla="*/ 1984118 w 8079933"/>
              <a:gd name="connsiteY28676" fmla="*/ 891392 h 4687251"/>
              <a:gd name="connsiteX28677" fmla="*/ 1989435 w 8079933"/>
              <a:gd name="connsiteY28677" fmla="*/ 888577 h 4687251"/>
              <a:gd name="connsiteX28678" fmla="*/ 1997357 w 8079933"/>
              <a:gd name="connsiteY28678" fmla="*/ 888902 h 4687251"/>
              <a:gd name="connsiteX28679" fmla="*/ 1999744 w 8079933"/>
              <a:gd name="connsiteY28679" fmla="*/ 885112 h 4687251"/>
              <a:gd name="connsiteX28680" fmla="*/ 2006146 w 8079933"/>
              <a:gd name="connsiteY28680" fmla="*/ 881755 h 4687251"/>
              <a:gd name="connsiteX28681" fmla="*/ 2007557 w 8079933"/>
              <a:gd name="connsiteY28681" fmla="*/ 881755 h 4687251"/>
              <a:gd name="connsiteX28682" fmla="*/ 2008968 w 8079933"/>
              <a:gd name="connsiteY28682" fmla="*/ 884463 h 4687251"/>
              <a:gd name="connsiteX28683" fmla="*/ 2018192 w 8079933"/>
              <a:gd name="connsiteY28683" fmla="*/ 883921 h 4687251"/>
              <a:gd name="connsiteX28684" fmla="*/ 2026113 w 8079933"/>
              <a:gd name="connsiteY28684" fmla="*/ 890200 h 4687251"/>
              <a:gd name="connsiteX28685" fmla="*/ 2029694 w 8079933"/>
              <a:gd name="connsiteY28685" fmla="*/ 891175 h 4687251"/>
              <a:gd name="connsiteX28686" fmla="*/ 2033384 w 8079933"/>
              <a:gd name="connsiteY28686" fmla="*/ 894640 h 4687251"/>
              <a:gd name="connsiteX28687" fmla="*/ 2035446 w 8079933"/>
              <a:gd name="connsiteY28687" fmla="*/ 892908 h 4687251"/>
              <a:gd name="connsiteX28688" fmla="*/ 2044019 w 8079933"/>
              <a:gd name="connsiteY28688" fmla="*/ 891067 h 4687251"/>
              <a:gd name="connsiteX28689" fmla="*/ 2047166 w 8079933"/>
              <a:gd name="connsiteY28689" fmla="*/ 895181 h 4687251"/>
              <a:gd name="connsiteX28690" fmla="*/ 2049553 w 8079933"/>
              <a:gd name="connsiteY28690" fmla="*/ 893557 h 4687251"/>
              <a:gd name="connsiteX28691" fmla="*/ 2048902 w 8079933"/>
              <a:gd name="connsiteY28691" fmla="*/ 888468 h 4687251"/>
              <a:gd name="connsiteX28692" fmla="*/ 2045213 w 8079933"/>
              <a:gd name="connsiteY28692" fmla="*/ 884354 h 4687251"/>
              <a:gd name="connsiteX28693" fmla="*/ 2043910 w 8079933"/>
              <a:gd name="connsiteY28693" fmla="*/ 877749 h 4687251"/>
              <a:gd name="connsiteX28694" fmla="*/ 2045646 w 8079933"/>
              <a:gd name="connsiteY28694" fmla="*/ 875692 h 4687251"/>
              <a:gd name="connsiteX28695" fmla="*/ 2048359 w 8079933"/>
              <a:gd name="connsiteY28695" fmla="*/ 876234 h 4687251"/>
              <a:gd name="connsiteX28696" fmla="*/ 2050964 w 8079933"/>
              <a:gd name="connsiteY28696" fmla="*/ 883921 h 4687251"/>
              <a:gd name="connsiteX28697" fmla="*/ 2052158 w 8079933"/>
              <a:gd name="connsiteY28697" fmla="*/ 890200 h 4687251"/>
              <a:gd name="connsiteX28698" fmla="*/ 2058669 w 8079933"/>
              <a:gd name="connsiteY28698" fmla="*/ 897996 h 4687251"/>
              <a:gd name="connsiteX28699" fmla="*/ 2061924 w 8079933"/>
              <a:gd name="connsiteY28699" fmla="*/ 900703 h 4687251"/>
              <a:gd name="connsiteX28700" fmla="*/ 2063552 w 8079933"/>
              <a:gd name="connsiteY28700" fmla="*/ 906008 h 4687251"/>
              <a:gd name="connsiteX28701" fmla="*/ 2063877 w 8079933"/>
              <a:gd name="connsiteY28701" fmla="*/ 896155 h 4687251"/>
              <a:gd name="connsiteX28702" fmla="*/ 2061490 w 8079933"/>
              <a:gd name="connsiteY28702" fmla="*/ 892908 h 4687251"/>
              <a:gd name="connsiteX28703" fmla="*/ 2054871 w 8079933"/>
              <a:gd name="connsiteY28703" fmla="*/ 890200 h 4687251"/>
              <a:gd name="connsiteX28704" fmla="*/ 2053351 w 8079933"/>
              <a:gd name="connsiteY28704" fmla="*/ 883271 h 4687251"/>
              <a:gd name="connsiteX28705" fmla="*/ 2050964 w 8079933"/>
              <a:gd name="connsiteY28705" fmla="*/ 873852 h 4687251"/>
              <a:gd name="connsiteX28706" fmla="*/ 2052158 w 8079933"/>
              <a:gd name="connsiteY28706" fmla="*/ 870604 h 4687251"/>
              <a:gd name="connsiteX28707" fmla="*/ 2054002 w 8079933"/>
              <a:gd name="connsiteY28707" fmla="*/ 871037 h 4687251"/>
              <a:gd name="connsiteX28708" fmla="*/ 2054219 w 8079933"/>
              <a:gd name="connsiteY28708" fmla="*/ 874176 h 4687251"/>
              <a:gd name="connsiteX28709" fmla="*/ 2056064 w 8079933"/>
              <a:gd name="connsiteY28709" fmla="*/ 876017 h 4687251"/>
              <a:gd name="connsiteX28710" fmla="*/ 2058669 w 8079933"/>
              <a:gd name="connsiteY28710" fmla="*/ 873960 h 4687251"/>
              <a:gd name="connsiteX28711" fmla="*/ 2058669 w 8079933"/>
              <a:gd name="connsiteY28711" fmla="*/ 870712 h 4687251"/>
              <a:gd name="connsiteX28712" fmla="*/ 2056607 w 8079933"/>
              <a:gd name="connsiteY28712" fmla="*/ 866814 h 4687251"/>
              <a:gd name="connsiteX28713" fmla="*/ 2058234 w 8079933"/>
              <a:gd name="connsiteY28713" fmla="*/ 864216 h 4687251"/>
              <a:gd name="connsiteX28714" fmla="*/ 2056824 w 8079933"/>
              <a:gd name="connsiteY28714" fmla="*/ 861617 h 4687251"/>
              <a:gd name="connsiteX28715" fmla="*/ 2057692 w 8079933"/>
              <a:gd name="connsiteY28715" fmla="*/ 858694 h 4687251"/>
              <a:gd name="connsiteX28716" fmla="*/ 2061273 w 8079933"/>
              <a:gd name="connsiteY28716" fmla="*/ 858911 h 4687251"/>
              <a:gd name="connsiteX28717" fmla="*/ 2063877 w 8079933"/>
              <a:gd name="connsiteY28717" fmla="*/ 862484 h 4687251"/>
              <a:gd name="connsiteX28718" fmla="*/ 2063660 w 8079933"/>
              <a:gd name="connsiteY28718" fmla="*/ 865515 h 4687251"/>
              <a:gd name="connsiteX28719" fmla="*/ 2065722 w 8079933"/>
              <a:gd name="connsiteY28719" fmla="*/ 866814 h 4687251"/>
              <a:gd name="connsiteX28720" fmla="*/ 2066590 w 8079933"/>
              <a:gd name="connsiteY28720" fmla="*/ 864865 h 4687251"/>
              <a:gd name="connsiteX28721" fmla="*/ 2071474 w 8079933"/>
              <a:gd name="connsiteY28721" fmla="*/ 862159 h 4687251"/>
              <a:gd name="connsiteX28722" fmla="*/ 2073210 w 8079933"/>
              <a:gd name="connsiteY28722" fmla="*/ 857286 h 4687251"/>
              <a:gd name="connsiteX28723" fmla="*/ 2077334 w 8079933"/>
              <a:gd name="connsiteY28723" fmla="*/ 857286 h 4687251"/>
              <a:gd name="connsiteX28724" fmla="*/ 2079504 w 8079933"/>
              <a:gd name="connsiteY28724" fmla="*/ 861292 h 4687251"/>
              <a:gd name="connsiteX28725" fmla="*/ 2077984 w 8079933"/>
              <a:gd name="connsiteY28725" fmla="*/ 864000 h 4687251"/>
              <a:gd name="connsiteX28726" fmla="*/ 2077984 w 8079933"/>
              <a:gd name="connsiteY28726" fmla="*/ 866814 h 4687251"/>
              <a:gd name="connsiteX28727" fmla="*/ 2079179 w 8079933"/>
              <a:gd name="connsiteY28727" fmla="*/ 863674 h 4687251"/>
              <a:gd name="connsiteX28728" fmla="*/ 2081565 w 8079933"/>
              <a:gd name="connsiteY28728" fmla="*/ 863025 h 4687251"/>
              <a:gd name="connsiteX28729" fmla="*/ 2085255 w 8079933"/>
              <a:gd name="connsiteY28729" fmla="*/ 866056 h 4687251"/>
              <a:gd name="connsiteX28730" fmla="*/ 2084495 w 8079933"/>
              <a:gd name="connsiteY28730" fmla="*/ 871362 h 4687251"/>
              <a:gd name="connsiteX28731" fmla="*/ 2082976 w 8079933"/>
              <a:gd name="connsiteY28731" fmla="*/ 874502 h 4687251"/>
              <a:gd name="connsiteX28732" fmla="*/ 2085798 w 8079933"/>
              <a:gd name="connsiteY28732" fmla="*/ 877749 h 4687251"/>
              <a:gd name="connsiteX28733" fmla="*/ 2089596 w 8079933"/>
              <a:gd name="connsiteY28733" fmla="*/ 876775 h 4687251"/>
              <a:gd name="connsiteX28734" fmla="*/ 2092634 w 8079933"/>
              <a:gd name="connsiteY28734" fmla="*/ 878508 h 4687251"/>
              <a:gd name="connsiteX28735" fmla="*/ 2091441 w 8079933"/>
              <a:gd name="connsiteY28735" fmla="*/ 882188 h 4687251"/>
              <a:gd name="connsiteX28736" fmla="*/ 2085906 w 8079933"/>
              <a:gd name="connsiteY28736" fmla="*/ 884463 h 4687251"/>
              <a:gd name="connsiteX28737" fmla="*/ 2085038 w 8079933"/>
              <a:gd name="connsiteY28737" fmla="*/ 886303 h 4687251"/>
              <a:gd name="connsiteX28738" fmla="*/ 2088294 w 8079933"/>
              <a:gd name="connsiteY28738" fmla="*/ 887710 h 4687251"/>
              <a:gd name="connsiteX28739" fmla="*/ 2093719 w 8079933"/>
              <a:gd name="connsiteY28739" fmla="*/ 884137 h 4687251"/>
              <a:gd name="connsiteX28740" fmla="*/ 2096649 w 8079933"/>
              <a:gd name="connsiteY28740" fmla="*/ 879374 h 4687251"/>
              <a:gd name="connsiteX28741" fmla="*/ 2102510 w 8079933"/>
              <a:gd name="connsiteY28741" fmla="*/ 877749 h 4687251"/>
              <a:gd name="connsiteX28742" fmla="*/ 2107284 w 8079933"/>
              <a:gd name="connsiteY28742" fmla="*/ 878291 h 4687251"/>
              <a:gd name="connsiteX28743" fmla="*/ 2107176 w 8079933"/>
              <a:gd name="connsiteY28743" fmla="*/ 880240 h 4687251"/>
              <a:gd name="connsiteX28744" fmla="*/ 2103811 w 8079933"/>
              <a:gd name="connsiteY28744" fmla="*/ 881214 h 4687251"/>
              <a:gd name="connsiteX28745" fmla="*/ 2100882 w 8079933"/>
              <a:gd name="connsiteY28745" fmla="*/ 883813 h 4687251"/>
              <a:gd name="connsiteX28746" fmla="*/ 2100447 w 8079933"/>
              <a:gd name="connsiteY28746" fmla="*/ 889443 h 4687251"/>
              <a:gd name="connsiteX28747" fmla="*/ 2093394 w 8079933"/>
              <a:gd name="connsiteY28747" fmla="*/ 893774 h 4687251"/>
              <a:gd name="connsiteX28748" fmla="*/ 2092851 w 8079933"/>
              <a:gd name="connsiteY28748" fmla="*/ 896697 h 4687251"/>
              <a:gd name="connsiteX28749" fmla="*/ 2085906 w 8079933"/>
              <a:gd name="connsiteY28749" fmla="*/ 903085 h 4687251"/>
              <a:gd name="connsiteX28750" fmla="*/ 2085906 w 8079933"/>
              <a:gd name="connsiteY28750" fmla="*/ 906116 h 4687251"/>
              <a:gd name="connsiteX28751" fmla="*/ 2084062 w 8079933"/>
              <a:gd name="connsiteY28751" fmla="*/ 908715 h 4687251"/>
              <a:gd name="connsiteX28752" fmla="*/ 2082976 w 8079933"/>
              <a:gd name="connsiteY28752" fmla="*/ 904709 h 4687251"/>
              <a:gd name="connsiteX28753" fmla="*/ 2080047 w 8079933"/>
              <a:gd name="connsiteY28753" fmla="*/ 909040 h 4687251"/>
              <a:gd name="connsiteX28754" fmla="*/ 2078202 w 8079933"/>
              <a:gd name="connsiteY28754" fmla="*/ 916944 h 4687251"/>
              <a:gd name="connsiteX28755" fmla="*/ 2078635 w 8079933"/>
              <a:gd name="connsiteY28755" fmla="*/ 919759 h 4687251"/>
              <a:gd name="connsiteX28756" fmla="*/ 2082433 w 8079933"/>
              <a:gd name="connsiteY28756" fmla="*/ 917810 h 4687251"/>
              <a:gd name="connsiteX28757" fmla="*/ 2085255 w 8079933"/>
              <a:gd name="connsiteY28757" fmla="*/ 917702 h 4687251"/>
              <a:gd name="connsiteX28758" fmla="*/ 2085038 w 8079933"/>
              <a:gd name="connsiteY28758" fmla="*/ 921924 h 4687251"/>
              <a:gd name="connsiteX28759" fmla="*/ 2080047 w 8079933"/>
              <a:gd name="connsiteY28759" fmla="*/ 925389 h 4687251"/>
              <a:gd name="connsiteX28760" fmla="*/ 2079720 w 8079933"/>
              <a:gd name="connsiteY28760" fmla="*/ 928095 h 4687251"/>
              <a:gd name="connsiteX28761" fmla="*/ 2086123 w 8079933"/>
              <a:gd name="connsiteY28761" fmla="*/ 926255 h 4687251"/>
              <a:gd name="connsiteX28762" fmla="*/ 2089379 w 8079933"/>
              <a:gd name="connsiteY28762" fmla="*/ 923115 h 4687251"/>
              <a:gd name="connsiteX28763" fmla="*/ 2092851 w 8079933"/>
              <a:gd name="connsiteY28763" fmla="*/ 923548 h 4687251"/>
              <a:gd name="connsiteX28764" fmla="*/ 2089704 w 8079933"/>
              <a:gd name="connsiteY28764" fmla="*/ 928528 h 4687251"/>
              <a:gd name="connsiteX28765" fmla="*/ 2086449 w 8079933"/>
              <a:gd name="connsiteY28765" fmla="*/ 930910 h 4687251"/>
              <a:gd name="connsiteX28766" fmla="*/ 2089379 w 8079933"/>
              <a:gd name="connsiteY28766" fmla="*/ 931777 h 4687251"/>
              <a:gd name="connsiteX28767" fmla="*/ 2093177 w 8079933"/>
              <a:gd name="connsiteY28767" fmla="*/ 930153 h 4687251"/>
              <a:gd name="connsiteX28768" fmla="*/ 2091115 w 8079933"/>
              <a:gd name="connsiteY28768" fmla="*/ 936216 h 4687251"/>
              <a:gd name="connsiteX28769" fmla="*/ 2090572 w 8079933"/>
              <a:gd name="connsiteY28769" fmla="*/ 940005 h 4687251"/>
              <a:gd name="connsiteX28770" fmla="*/ 2087317 w 8079933"/>
              <a:gd name="connsiteY28770" fmla="*/ 942712 h 4687251"/>
              <a:gd name="connsiteX28771" fmla="*/ 2082108 w 8079933"/>
              <a:gd name="connsiteY28771" fmla="*/ 940655 h 4687251"/>
              <a:gd name="connsiteX28772" fmla="*/ 2079938 w 8079933"/>
              <a:gd name="connsiteY28772" fmla="*/ 936324 h 4687251"/>
              <a:gd name="connsiteX28773" fmla="*/ 2074186 w 8079933"/>
              <a:gd name="connsiteY28773" fmla="*/ 939139 h 4687251"/>
              <a:gd name="connsiteX28774" fmla="*/ 2072124 w 8079933"/>
              <a:gd name="connsiteY28774" fmla="*/ 932643 h 4687251"/>
              <a:gd name="connsiteX28775" fmla="*/ 2070280 w 8079933"/>
              <a:gd name="connsiteY28775" fmla="*/ 932751 h 4687251"/>
              <a:gd name="connsiteX28776" fmla="*/ 2068652 w 8079933"/>
              <a:gd name="connsiteY28776" fmla="*/ 939356 h 4687251"/>
              <a:gd name="connsiteX28777" fmla="*/ 2071799 w 8079933"/>
              <a:gd name="connsiteY28777" fmla="*/ 944011 h 4687251"/>
              <a:gd name="connsiteX28778" fmla="*/ 2073644 w 8079933"/>
              <a:gd name="connsiteY28778" fmla="*/ 950183 h 4687251"/>
              <a:gd name="connsiteX28779" fmla="*/ 2072016 w 8079933"/>
              <a:gd name="connsiteY28779" fmla="*/ 960468 h 4687251"/>
              <a:gd name="connsiteX28780" fmla="*/ 2076140 w 8079933"/>
              <a:gd name="connsiteY28780" fmla="*/ 950940 h 4687251"/>
              <a:gd name="connsiteX28781" fmla="*/ 2074729 w 8079933"/>
              <a:gd name="connsiteY28781" fmla="*/ 943578 h 4687251"/>
              <a:gd name="connsiteX28782" fmla="*/ 2077659 w 8079933"/>
              <a:gd name="connsiteY28782" fmla="*/ 940979 h 4687251"/>
              <a:gd name="connsiteX28783" fmla="*/ 2080589 w 8079933"/>
              <a:gd name="connsiteY28783" fmla="*/ 944011 h 4687251"/>
              <a:gd name="connsiteX28784" fmla="*/ 2085798 w 8079933"/>
              <a:gd name="connsiteY28784" fmla="*/ 944336 h 4687251"/>
              <a:gd name="connsiteX28785" fmla="*/ 2089704 w 8079933"/>
              <a:gd name="connsiteY28785" fmla="*/ 947259 h 4687251"/>
              <a:gd name="connsiteX28786" fmla="*/ 2092960 w 8079933"/>
              <a:gd name="connsiteY28786" fmla="*/ 944444 h 4687251"/>
              <a:gd name="connsiteX28787" fmla="*/ 2093502 w 8079933"/>
              <a:gd name="connsiteY28787" fmla="*/ 939139 h 4687251"/>
              <a:gd name="connsiteX28788" fmla="*/ 2099688 w 8079933"/>
              <a:gd name="connsiteY28788" fmla="*/ 937299 h 4687251"/>
              <a:gd name="connsiteX28789" fmla="*/ 2103811 w 8079933"/>
              <a:gd name="connsiteY28789" fmla="*/ 932643 h 4687251"/>
              <a:gd name="connsiteX28790" fmla="*/ 2108478 w 8079933"/>
              <a:gd name="connsiteY28790" fmla="*/ 932426 h 4687251"/>
              <a:gd name="connsiteX28791" fmla="*/ 2111733 w 8079933"/>
              <a:gd name="connsiteY28791" fmla="*/ 928095 h 4687251"/>
              <a:gd name="connsiteX28792" fmla="*/ 2107826 w 8079933"/>
              <a:gd name="connsiteY28792" fmla="*/ 930910 h 4687251"/>
              <a:gd name="connsiteX28793" fmla="*/ 2103160 w 8079933"/>
              <a:gd name="connsiteY28793" fmla="*/ 930153 h 4687251"/>
              <a:gd name="connsiteX28794" fmla="*/ 2100882 w 8079933"/>
              <a:gd name="connsiteY28794" fmla="*/ 933617 h 4687251"/>
              <a:gd name="connsiteX28795" fmla="*/ 2097843 w 8079933"/>
              <a:gd name="connsiteY28795" fmla="*/ 935024 h 4687251"/>
              <a:gd name="connsiteX28796" fmla="*/ 2096215 w 8079933"/>
              <a:gd name="connsiteY28796" fmla="*/ 935024 h 4687251"/>
              <a:gd name="connsiteX28797" fmla="*/ 2098385 w 8079933"/>
              <a:gd name="connsiteY28797" fmla="*/ 929720 h 4687251"/>
              <a:gd name="connsiteX28798" fmla="*/ 2101424 w 8079933"/>
              <a:gd name="connsiteY28798" fmla="*/ 927338 h 4687251"/>
              <a:gd name="connsiteX28799" fmla="*/ 2099688 w 8079933"/>
              <a:gd name="connsiteY28799" fmla="*/ 924414 h 4687251"/>
              <a:gd name="connsiteX28800" fmla="*/ 2099905 w 8079933"/>
              <a:gd name="connsiteY28800" fmla="*/ 921058 h 4687251"/>
              <a:gd name="connsiteX28801" fmla="*/ 2102618 w 8079933"/>
              <a:gd name="connsiteY28801" fmla="*/ 914237 h 4687251"/>
              <a:gd name="connsiteX28802" fmla="*/ 2102292 w 8079933"/>
              <a:gd name="connsiteY28802" fmla="*/ 910772 h 4687251"/>
              <a:gd name="connsiteX28803" fmla="*/ 2099905 w 8079933"/>
              <a:gd name="connsiteY28803" fmla="*/ 908065 h 4687251"/>
              <a:gd name="connsiteX28804" fmla="*/ 2101424 w 8079933"/>
              <a:gd name="connsiteY28804" fmla="*/ 906008 h 4687251"/>
              <a:gd name="connsiteX28805" fmla="*/ 2105331 w 8079933"/>
              <a:gd name="connsiteY28805" fmla="*/ 899945 h 4687251"/>
              <a:gd name="connsiteX28806" fmla="*/ 2107176 w 8079933"/>
              <a:gd name="connsiteY28806" fmla="*/ 893882 h 4687251"/>
              <a:gd name="connsiteX28807" fmla="*/ 2111951 w 8079933"/>
              <a:gd name="connsiteY28807" fmla="*/ 889984 h 4687251"/>
              <a:gd name="connsiteX28808" fmla="*/ 2113361 w 8079933"/>
              <a:gd name="connsiteY28808" fmla="*/ 891825 h 4687251"/>
              <a:gd name="connsiteX28809" fmla="*/ 2112059 w 8079933"/>
              <a:gd name="connsiteY28809" fmla="*/ 893882 h 4687251"/>
              <a:gd name="connsiteX28810" fmla="*/ 2114880 w 8079933"/>
              <a:gd name="connsiteY28810" fmla="*/ 893016 h 4687251"/>
              <a:gd name="connsiteX28811" fmla="*/ 2117485 w 8079933"/>
              <a:gd name="connsiteY28811" fmla="*/ 889335 h 4687251"/>
              <a:gd name="connsiteX28812" fmla="*/ 2118679 w 8079933"/>
              <a:gd name="connsiteY28812" fmla="*/ 891500 h 4687251"/>
              <a:gd name="connsiteX28813" fmla="*/ 2120523 w 8079933"/>
              <a:gd name="connsiteY28813" fmla="*/ 891716 h 4687251"/>
              <a:gd name="connsiteX28814" fmla="*/ 2121933 w 8079933"/>
              <a:gd name="connsiteY28814" fmla="*/ 894098 h 4687251"/>
              <a:gd name="connsiteX28815" fmla="*/ 2126275 w 8079933"/>
              <a:gd name="connsiteY28815" fmla="*/ 893232 h 4687251"/>
              <a:gd name="connsiteX28816" fmla="*/ 2128988 w 8079933"/>
              <a:gd name="connsiteY28816" fmla="*/ 889335 h 4687251"/>
              <a:gd name="connsiteX28817" fmla="*/ 2139839 w 8079933"/>
              <a:gd name="connsiteY28817" fmla="*/ 884787 h 4687251"/>
              <a:gd name="connsiteX28818" fmla="*/ 2142118 w 8079933"/>
              <a:gd name="connsiteY28818" fmla="*/ 880673 h 4687251"/>
              <a:gd name="connsiteX28819" fmla="*/ 2141901 w 8079933"/>
              <a:gd name="connsiteY28819" fmla="*/ 878291 h 4687251"/>
              <a:gd name="connsiteX28820" fmla="*/ 2144831 w 8079933"/>
              <a:gd name="connsiteY28820" fmla="*/ 877425 h 4687251"/>
              <a:gd name="connsiteX28821" fmla="*/ 2149280 w 8079933"/>
              <a:gd name="connsiteY28821" fmla="*/ 872661 h 4687251"/>
              <a:gd name="connsiteX28822" fmla="*/ 2156008 w 8079933"/>
              <a:gd name="connsiteY28822" fmla="*/ 871903 h 4687251"/>
              <a:gd name="connsiteX28823" fmla="*/ 2159372 w 8079933"/>
              <a:gd name="connsiteY28823" fmla="*/ 868114 h 4687251"/>
              <a:gd name="connsiteX28824" fmla="*/ 2158938 w 8079933"/>
              <a:gd name="connsiteY28824" fmla="*/ 865190 h 4687251"/>
              <a:gd name="connsiteX28825" fmla="*/ 2160132 w 8079933"/>
              <a:gd name="connsiteY28825" fmla="*/ 859019 h 4687251"/>
              <a:gd name="connsiteX28826" fmla="*/ 2163496 w 8079933"/>
              <a:gd name="connsiteY28826" fmla="*/ 853389 h 4687251"/>
              <a:gd name="connsiteX28827" fmla="*/ 2164255 w 8079933"/>
              <a:gd name="connsiteY28827" fmla="*/ 849058 h 4687251"/>
              <a:gd name="connsiteX28828" fmla="*/ 2162628 w 8079933"/>
              <a:gd name="connsiteY28828" fmla="*/ 846784 h 4687251"/>
              <a:gd name="connsiteX28829" fmla="*/ 2159806 w 8079933"/>
              <a:gd name="connsiteY28829" fmla="*/ 848950 h 4687251"/>
              <a:gd name="connsiteX28830" fmla="*/ 2156008 w 8079933"/>
              <a:gd name="connsiteY28830" fmla="*/ 849599 h 4687251"/>
              <a:gd name="connsiteX28831" fmla="*/ 2156876 w 8079933"/>
              <a:gd name="connsiteY28831" fmla="*/ 851440 h 4687251"/>
              <a:gd name="connsiteX28832" fmla="*/ 2154706 w 8079933"/>
              <a:gd name="connsiteY28832" fmla="*/ 855446 h 4687251"/>
              <a:gd name="connsiteX28833" fmla="*/ 2150148 w 8079933"/>
              <a:gd name="connsiteY28833" fmla="*/ 856312 h 4687251"/>
              <a:gd name="connsiteX28834" fmla="*/ 2147761 w 8079933"/>
              <a:gd name="connsiteY28834" fmla="*/ 854363 h 4687251"/>
              <a:gd name="connsiteX28835" fmla="*/ 2144614 w 8079933"/>
              <a:gd name="connsiteY28835" fmla="*/ 854363 h 4687251"/>
              <a:gd name="connsiteX28836" fmla="*/ 2143637 w 8079933"/>
              <a:gd name="connsiteY28836" fmla="*/ 852631 h 4687251"/>
              <a:gd name="connsiteX28837" fmla="*/ 2146893 w 8079933"/>
              <a:gd name="connsiteY28837" fmla="*/ 846459 h 4687251"/>
              <a:gd name="connsiteX28838" fmla="*/ 2149823 w 8079933"/>
              <a:gd name="connsiteY28838" fmla="*/ 846459 h 4687251"/>
              <a:gd name="connsiteX28839" fmla="*/ 2152644 w 8079933"/>
              <a:gd name="connsiteY28839" fmla="*/ 842995 h 4687251"/>
              <a:gd name="connsiteX28840" fmla="*/ 2158830 w 8079933"/>
              <a:gd name="connsiteY28840" fmla="*/ 840288 h 4687251"/>
              <a:gd name="connsiteX28841" fmla="*/ 2159155 w 8079933"/>
              <a:gd name="connsiteY28841" fmla="*/ 837256 h 4687251"/>
              <a:gd name="connsiteX28842" fmla="*/ 2156550 w 8079933"/>
              <a:gd name="connsiteY28842" fmla="*/ 834983 h 4687251"/>
              <a:gd name="connsiteX28843" fmla="*/ 2160674 w 8079933"/>
              <a:gd name="connsiteY28843" fmla="*/ 829786 h 4687251"/>
              <a:gd name="connsiteX28844" fmla="*/ 2165991 w 8079933"/>
              <a:gd name="connsiteY28844" fmla="*/ 828811 h 4687251"/>
              <a:gd name="connsiteX28845" fmla="*/ 2171417 w 8079933"/>
              <a:gd name="connsiteY28845" fmla="*/ 830327 h 4687251"/>
              <a:gd name="connsiteX28846" fmla="*/ 2167402 w 8079933"/>
              <a:gd name="connsiteY28846" fmla="*/ 832925 h 4687251"/>
              <a:gd name="connsiteX28847" fmla="*/ 2166751 w 8079933"/>
              <a:gd name="connsiteY28847" fmla="*/ 837690 h 4687251"/>
              <a:gd name="connsiteX28848" fmla="*/ 2168271 w 8079933"/>
              <a:gd name="connsiteY28848" fmla="*/ 838772 h 4687251"/>
              <a:gd name="connsiteX28849" fmla="*/ 2173045 w 8079933"/>
              <a:gd name="connsiteY28849" fmla="*/ 836390 h 4687251"/>
              <a:gd name="connsiteX28850" fmla="*/ 2177277 w 8079933"/>
              <a:gd name="connsiteY28850" fmla="*/ 827403 h 4687251"/>
              <a:gd name="connsiteX28851" fmla="*/ 2177385 w 8079933"/>
              <a:gd name="connsiteY28851" fmla="*/ 823615 h 4687251"/>
              <a:gd name="connsiteX28852" fmla="*/ 2172394 w 8079933"/>
              <a:gd name="connsiteY28852" fmla="*/ 822423 h 4687251"/>
              <a:gd name="connsiteX28853" fmla="*/ 2168271 w 8079933"/>
              <a:gd name="connsiteY28853" fmla="*/ 822640 h 4687251"/>
              <a:gd name="connsiteX28854" fmla="*/ 2165341 w 8079933"/>
              <a:gd name="connsiteY28854" fmla="*/ 820366 h 4687251"/>
              <a:gd name="connsiteX28855" fmla="*/ 2158612 w 8079933"/>
              <a:gd name="connsiteY28855" fmla="*/ 818850 h 4687251"/>
              <a:gd name="connsiteX28856" fmla="*/ 2156225 w 8079933"/>
              <a:gd name="connsiteY28856" fmla="*/ 812138 h 4687251"/>
              <a:gd name="connsiteX28857" fmla="*/ 2157202 w 8079933"/>
              <a:gd name="connsiteY28857" fmla="*/ 806832 h 4687251"/>
              <a:gd name="connsiteX28858" fmla="*/ 2153837 w 8079933"/>
              <a:gd name="connsiteY28858" fmla="*/ 811705 h 4687251"/>
              <a:gd name="connsiteX28859" fmla="*/ 2151233 w 8079933"/>
              <a:gd name="connsiteY28859" fmla="*/ 811705 h 4687251"/>
              <a:gd name="connsiteX28860" fmla="*/ 2148846 w 8079933"/>
              <a:gd name="connsiteY28860" fmla="*/ 807482 h 4687251"/>
              <a:gd name="connsiteX28861" fmla="*/ 2144505 w 8079933"/>
              <a:gd name="connsiteY28861" fmla="*/ 804883 h 4687251"/>
              <a:gd name="connsiteX28862" fmla="*/ 2143311 w 8079933"/>
              <a:gd name="connsiteY28862" fmla="*/ 799578 h 4687251"/>
              <a:gd name="connsiteX28863" fmla="*/ 2141250 w 8079933"/>
              <a:gd name="connsiteY28863" fmla="*/ 798495 h 4687251"/>
              <a:gd name="connsiteX28864" fmla="*/ 2137777 w 8079933"/>
              <a:gd name="connsiteY28864" fmla="*/ 799037 h 4687251"/>
              <a:gd name="connsiteX28865" fmla="*/ 2136800 w 8079933"/>
              <a:gd name="connsiteY28865" fmla="*/ 795248 h 4687251"/>
              <a:gd name="connsiteX28866" fmla="*/ 2135173 w 8079933"/>
              <a:gd name="connsiteY28866" fmla="*/ 793190 h 4687251"/>
              <a:gd name="connsiteX28867" fmla="*/ 2137452 w 8079933"/>
              <a:gd name="connsiteY28867" fmla="*/ 789293 h 4687251"/>
              <a:gd name="connsiteX28868" fmla="*/ 2137235 w 8079933"/>
              <a:gd name="connsiteY28868" fmla="*/ 785503 h 4687251"/>
              <a:gd name="connsiteX28869" fmla="*/ 2135390 w 8079933"/>
              <a:gd name="connsiteY28869" fmla="*/ 780956 h 4687251"/>
              <a:gd name="connsiteX28870" fmla="*/ 2136041 w 8079933"/>
              <a:gd name="connsiteY28870" fmla="*/ 769479 h 4687251"/>
              <a:gd name="connsiteX28871" fmla="*/ 2139405 w 8079933"/>
              <a:gd name="connsiteY28871" fmla="*/ 765581 h 4687251"/>
              <a:gd name="connsiteX28872" fmla="*/ 2147326 w 8079933"/>
              <a:gd name="connsiteY28872" fmla="*/ 758544 h 4687251"/>
              <a:gd name="connsiteX28873" fmla="*/ 2151993 w 8079933"/>
              <a:gd name="connsiteY28873" fmla="*/ 756703 h 4687251"/>
              <a:gd name="connsiteX28874" fmla="*/ 2155791 w 8079933"/>
              <a:gd name="connsiteY28874" fmla="*/ 756811 h 4687251"/>
              <a:gd name="connsiteX28875" fmla="*/ 2156225 w 8079933"/>
              <a:gd name="connsiteY28875" fmla="*/ 755079 h 4687251"/>
              <a:gd name="connsiteX28876" fmla="*/ 2160023 w 8079933"/>
              <a:gd name="connsiteY28876" fmla="*/ 752047 h 4687251"/>
              <a:gd name="connsiteX28877" fmla="*/ 2160457 w 8079933"/>
              <a:gd name="connsiteY28877" fmla="*/ 749232 h 4687251"/>
              <a:gd name="connsiteX28878" fmla="*/ 2157853 w 8079933"/>
              <a:gd name="connsiteY28878" fmla="*/ 749232 h 4687251"/>
              <a:gd name="connsiteX28879" fmla="*/ 2154164 w 8079933"/>
              <a:gd name="connsiteY28879" fmla="*/ 751722 h 4687251"/>
              <a:gd name="connsiteX28880" fmla="*/ 2151667 w 8079933"/>
              <a:gd name="connsiteY28880" fmla="*/ 750532 h 4687251"/>
              <a:gd name="connsiteX28881" fmla="*/ 2151776 w 8079933"/>
              <a:gd name="connsiteY28881" fmla="*/ 747608 h 4687251"/>
              <a:gd name="connsiteX28882" fmla="*/ 2150039 w 8079933"/>
              <a:gd name="connsiteY28882" fmla="*/ 742628 h 4687251"/>
              <a:gd name="connsiteX28883" fmla="*/ 2150691 w 8079933"/>
              <a:gd name="connsiteY28883" fmla="*/ 737647 h 4687251"/>
              <a:gd name="connsiteX28884" fmla="*/ 2156767 w 8079933"/>
              <a:gd name="connsiteY28884" fmla="*/ 730935 h 4687251"/>
              <a:gd name="connsiteX28885" fmla="*/ 2160566 w 8079933"/>
              <a:gd name="connsiteY28885" fmla="*/ 722598 h 4687251"/>
              <a:gd name="connsiteX28886" fmla="*/ 2163496 w 8079933"/>
              <a:gd name="connsiteY28886" fmla="*/ 721298 h 4687251"/>
              <a:gd name="connsiteX28887" fmla="*/ 2166751 w 8079933"/>
              <a:gd name="connsiteY28887" fmla="*/ 715127 h 4687251"/>
              <a:gd name="connsiteX28888" fmla="*/ 2169789 w 8079933"/>
              <a:gd name="connsiteY28888" fmla="*/ 715019 h 4687251"/>
              <a:gd name="connsiteX28889" fmla="*/ 2173262 w 8079933"/>
              <a:gd name="connsiteY28889" fmla="*/ 709714 h 4687251"/>
              <a:gd name="connsiteX28890" fmla="*/ 2178905 w 8079933"/>
              <a:gd name="connsiteY28890" fmla="*/ 707223 h 4687251"/>
              <a:gd name="connsiteX28891" fmla="*/ 2182269 w 8079933"/>
              <a:gd name="connsiteY28891" fmla="*/ 710039 h 4687251"/>
              <a:gd name="connsiteX28892" fmla="*/ 2180533 w 8079933"/>
              <a:gd name="connsiteY28892" fmla="*/ 715127 h 4687251"/>
              <a:gd name="connsiteX28893" fmla="*/ 2183137 w 8079933"/>
              <a:gd name="connsiteY28893" fmla="*/ 717726 h 4687251"/>
              <a:gd name="connsiteX28894" fmla="*/ 2182052 w 8079933"/>
              <a:gd name="connsiteY28894" fmla="*/ 721190 h 4687251"/>
              <a:gd name="connsiteX28895" fmla="*/ 2186935 w 8079933"/>
              <a:gd name="connsiteY28895" fmla="*/ 718592 h 4687251"/>
              <a:gd name="connsiteX28896" fmla="*/ 2187586 w 8079933"/>
              <a:gd name="connsiteY28896" fmla="*/ 715452 h 4687251"/>
              <a:gd name="connsiteX28897" fmla="*/ 2193121 w 8079933"/>
              <a:gd name="connsiteY28897" fmla="*/ 707223 h 4687251"/>
              <a:gd name="connsiteX28898" fmla="*/ 2193121 w 8079933"/>
              <a:gd name="connsiteY28898" fmla="*/ 705166 h 4687251"/>
              <a:gd name="connsiteX28899" fmla="*/ 2189323 w 8079933"/>
              <a:gd name="connsiteY28899" fmla="*/ 704625 h 4687251"/>
              <a:gd name="connsiteX28900" fmla="*/ 2185308 w 8079933"/>
              <a:gd name="connsiteY28900" fmla="*/ 703001 h 4687251"/>
              <a:gd name="connsiteX28901" fmla="*/ 2182269 w 8079933"/>
              <a:gd name="connsiteY28901" fmla="*/ 698670 h 4687251"/>
              <a:gd name="connsiteX28902" fmla="*/ 2186393 w 8079933"/>
              <a:gd name="connsiteY28902" fmla="*/ 694880 h 4687251"/>
              <a:gd name="connsiteX28903" fmla="*/ 2192687 w 8079933"/>
              <a:gd name="connsiteY28903" fmla="*/ 694880 h 4687251"/>
              <a:gd name="connsiteX28904" fmla="*/ 2194423 w 8079933"/>
              <a:gd name="connsiteY28904" fmla="*/ 692066 h 4687251"/>
              <a:gd name="connsiteX28905" fmla="*/ 2201043 w 8079933"/>
              <a:gd name="connsiteY28905" fmla="*/ 687843 h 4687251"/>
              <a:gd name="connsiteX28906" fmla="*/ 2200825 w 8079933"/>
              <a:gd name="connsiteY28906" fmla="*/ 683837 h 4687251"/>
              <a:gd name="connsiteX28907" fmla="*/ 2204298 w 8079933"/>
              <a:gd name="connsiteY28907" fmla="*/ 682105 h 4687251"/>
              <a:gd name="connsiteX28908" fmla="*/ 2209615 w 8079933"/>
              <a:gd name="connsiteY28908" fmla="*/ 684053 h 4687251"/>
              <a:gd name="connsiteX28909" fmla="*/ 2217428 w 8079933"/>
              <a:gd name="connsiteY28909" fmla="*/ 685786 h 4687251"/>
              <a:gd name="connsiteX28910" fmla="*/ 2217862 w 8079933"/>
              <a:gd name="connsiteY28910" fmla="*/ 690225 h 4687251"/>
              <a:gd name="connsiteX28911" fmla="*/ 2216886 w 8079933"/>
              <a:gd name="connsiteY28911" fmla="*/ 692282 h 4687251"/>
              <a:gd name="connsiteX28912" fmla="*/ 2219816 w 8079933"/>
              <a:gd name="connsiteY28912" fmla="*/ 693473 h 4687251"/>
              <a:gd name="connsiteX28913" fmla="*/ 2223614 w 8079933"/>
              <a:gd name="connsiteY28913" fmla="*/ 697263 h 4687251"/>
              <a:gd name="connsiteX28914" fmla="*/ 2227195 w 8079933"/>
              <a:gd name="connsiteY28914" fmla="*/ 699645 h 4687251"/>
              <a:gd name="connsiteX28915" fmla="*/ 2225459 w 8079933"/>
              <a:gd name="connsiteY28915" fmla="*/ 704300 h 4687251"/>
              <a:gd name="connsiteX28916" fmla="*/ 2223288 w 8079933"/>
              <a:gd name="connsiteY28916" fmla="*/ 705383 h 4687251"/>
              <a:gd name="connsiteX28917" fmla="*/ 2224156 w 8079933"/>
              <a:gd name="connsiteY28917" fmla="*/ 709497 h 4687251"/>
              <a:gd name="connsiteX28918" fmla="*/ 2223397 w 8079933"/>
              <a:gd name="connsiteY28918" fmla="*/ 713070 h 4687251"/>
              <a:gd name="connsiteX28919" fmla="*/ 2227412 w 8079933"/>
              <a:gd name="connsiteY28919" fmla="*/ 716859 h 4687251"/>
              <a:gd name="connsiteX28920" fmla="*/ 2228714 w 8079933"/>
              <a:gd name="connsiteY28920" fmla="*/ 720649 h 4687251"/>
              <a:gd name="connsiteX28921" fmla="*/ 2227846 w 8079933"/>
              <a:gd name="connsiteY28921" fmla="*/ 728877 h 4687251"/>
              <a:gd name="connsiteX28922" fmla="*/ 2230776 w 8079933"/>
              <a:gd name="connsiteY28922" fmla="*/ 730935 h 4687251"/>
              <a:gd name="connsiteX28923" fmla="*/ 2230776 w 8079933"/>
              <a:gd name="connsiteY28923" fmla="*/ 733208 h 4687251"/>
              <a:gd name="connsiteX28924" fmla="*/ 2227412 w 8079933"/>
              <a:gd name="connsiteY28924" fmla="*/ 737864 h 4687251"/>
              <a:gd name="connsiteX28925" fmla="*/ 2227195 w 8079933"/>
              <a:gd name="connsiteY28925" fmla="*/ 741437 h 4687251"/>
              <a:gd name="connsiteX28926" fmla="*/ 2223614 w 8079933"/>
              <a:gd name="connsiteY28926" fmla="*/ 746959 h 4687251"/>
              <a:gd name="connsiteX28927" fmla="*/ 2223397 w 8079933"/>
              <a:gd name="connsiteY28927" fmla="*/ 753022 h 4687251"/>
              <a:gd name="connsiteX28928" fmla="*/ 2221010 w 8079933"/>
              <a:gd name="connsiteY28928" fmla="*/ 754538 h 4687251"/>
              <a:gd name="connsiteX28929" fmla="*/ 2223288 w 8079933"/>
              <a:gd name="connsiteY28929" fmla="*/ 758760 h 4687251"/>
              <a:gd name="connsiteX28930" fmla="*/ 2221552 w 8079933"/>
              <a:gd name="connsiteY28930" fmla="*/ 763416 h 4687251"/>
              <a:gd name="connsiteX28931" fmla="*/ 2226327 w 8079933"/>
              <a:gd name="connsiteY28931" fmla="*/ 769154 h 4687251"/>
              <a:gd name="connsiteX28932" fmla="*/ 2226327 w 8079933"/>
              <a:gd name="connsiteY28932" fmla="*/ 772944 h 4687251"/>
              <a:gd name="connsiteX28933" fmla="*/ 2224916 w 8079933"/>
              <a:gd name="connsiteY28933" fmla="*/ 774676 h 4687251"/>
              <a:gd name="connsiteX28934" fmla="*/ 2226327 w 8079933"/>
              <a:gd name="connsiteY28934" fmla="*/ 778791 h 4687251"/>
              <a:gd name="connsiteX28935" fmla="*/ 2224916 w 8079933"/>
              <a:gd name="connsiteY28935" fmla="*/ 783013 h 4687251"/>
              <a:gd name="connsiteX28936" fmla="*/ 2224916 w 8079933"/>
              <a:gd name="connsiteY28936" fmla="*/ 786369 h 4687251"/>
              <a:gd name="connsiteX28937" fmla="*/ 2228063 w 8079933"/>
              <a:gd name="connsiteY28937" fmla="*/ 787127 h 4687251"/>
              <a:gd name="connsiteX28938" fmla="*/ 2231102 w 8079933"/>
              <a:gd name="connsiteY28938" fmla="*/ 791458 h 4687251"/>
              <a:gd name="connsiteX28939" fmla="*/ 2230667 w 8079933"/>
              <a:gd name="connsiteY28939" fmla="*/ 795464 h 4687251"/>
              <a:gd name="connsiteX28940" fmla="*/ 2227195 w 8079933"/>
              <a:gd name="connsiteY28940" fmla="*/ 798495 h 4687251"/>
              <a:gd name="connsiteX28941" fmla="*/ 2224265 w 8079933"/>
              <a:gd name="connsiteY28941" fmla="*/ 796980 h 4687251"/>
              <a:gd name="connsiteX28942" fmla="*/ 2220141 w 8079933"/>
              <a:gd name="connsiteY28942" fmla="*/ 797846 h 4687251"/>
              <a:gd name="connsiteX28943" fmla="*/ 2217754 w 8079933"/>
              <a:gd name="connsiteY28943" fmla="*/ 793407 h 4687251"/>
              <a:gd name="connsiteX28944" fmla="*/ 2219273 w 8079933"/>
              <a:gd name="connsiteY28944" fmla="*/ 788210 h 4687251"/>
              <a:gd name="connsiteX28945" fmla="*/ 2213739 w 8079933"/>
              <a:gd name="connsiteY28945" fmla="*/ 790591 h 4687251"/>
              <a:gd name="connsiteX28946" fmla="*/ 2211569 w 8079933"/>
              <a:gd name="connsiteY28946" fmla="*/ 795572 h 4687251"/>
              <a:gd name="connsiteX28947" fmla="*/ 2207445 w 8079933"/>
              <a:gd name="connsiteY28947" fmla="*/ 797305 h 4687251"/>
              <a:gd name="connsiteX28948" fmla="*/ 2207445 w 8079933"/>
              <a:gd name="connsiteY28948" fmla="*/ 799362 h 4687251"/>
              <a:gd name="connsiteX28949" fmla="*/ 2213414 w 8079933"/>
              <a:gd name="connsiteY28949" fmla="*/ 797846 h 4687251"/>
              <a:gd name="connsiteX28950" fmla="*/ 2216560 w 8079933"/>
              <a:gd name="connsiteY28950" fmla="*/ 800986 h 4687251"/>
              <a:gd name="connsiteX28951" fmla="*/ 2215800 w 8079933"/>
              <a:gd name="connsiteY28951" fmla="*/ 803368 h 4687251"/>
              <a:gd name="connsiteX28952" fmla="*/ 2203105 w 8079933"/>
              <a:gd name="connsiteY28952" fmla="*/ 812246 h 4687251"/>
              <a:gd name="connsiteX28953" fmla="*/ 2199848 w 8079933"/>
              <a:gd name="connsiteY28953" fmla="*/ 812787 h 4687251"/>
              <a:gd name="connsiteX28954" fmla="*/ 2199089 w 8079933"/>
              <a:gd name="connsiteY28954" fmla="*/ 815386 h 4687251"/>
              <a:gd name="connsiteX28955" fmla="*/ 2196159 w 8079933"/>
              <a:gd name="connsiteY28955" fmla="*/ 816793 h 4687251"/>
              <a:gd name="connsiteX28956" fmla="*/ 2194965 w 8079933"/>
              <a:gd name="connsiteY28956" fmla="*/ 821341 h 4687251"/>
              <a:gd name="connsiteX28957" fmla="*/ 2197353 w 8079933"/>
              <a:gd name="connsiteY28957" fmla="*/ 823939 h 4687251"/>
              <a:gd name="connsiteX28958" fmla="*/ 2202019 w 8079933"/>
              <a:gd name="connsiteY28958" fmla="*/ 822748 h 4687251"/>
              <a:gd name="connsiteX28959" fmla="*/ 2204949 w 8079933"/>
              <a:gd name="connsiteY28959" fmla="*/ 823831 h 4687251"/>
              <a:gd name="connsiteX28960" fmla="*/ 2205491 w 8079933"/>
              <a:gd name="connsiteY28960" fmla="*/ 828270 h 4687251"/>
              <a:gd name="connsiteX28961" fmla="*/ 2209832 w 8079933"/>
              <a:gd name="connsiteY28961" fmla="*/ 832601 h 4687251"/>
              <a:gd name="connsiteX28962" fmla="*/ 2215800 w 8079933"/>
              <a:gd name="connsiteY28962" fmla="*/ 830652 h 4687251"/>
              <a:gd name="connsiteX28963" fmla="*/ 2216669 w 8079933"/>
              <a:gd name="connsiteY28963" fmla="*/ 827079 h 4687251"/>
              <a:gd name="connsiteX28964" fmla="*/ 2220250 w 8079933"/>
              <a:gd name="connsiteY28964" fmla="*/ 826213 h 4687251"/>
              <a:gd name="connsiteX28965" fmla="*/ 2221878 w 8079933"/>
              <a:gd name="connsiteY28965" fmla="*/ 828054 h 4687251"/>
              <a:gd name="connsiteX28966" fmla="*/ 2219598 w 8079933"/>
              <a:gd name="connsiteY28966" fmla="*/ 830002 h 4687251"/>
              <a:gd name="connsiteX28967" fmla="*/ 2219598 w 8079933"/>
              <a:gd name="connsiteY28967" fmla="*/ 831301 h 4687251"/>
              <a:gd name="connsiteX28968" fmla="*/ 2223723 w 8079933"/>
              <a:gd name="connsiteY28968" fmla="*/ 832925 h 4687251"/>
              <a:gd name="connsiteX28969" fmla="*/ 2226653 w 8079933"/>
              <a:gd name="connsiteY28969" fmla="*/ 835957 h 4687251"/>
              <a:gd name="connsiteX28970" fmla="*/ 2230993 w 8079933"/>
              <a:gd name="connsiteY28970" fmla="*/ 832709 h 4687251"/>
              <a:gd name="connsiteX28971" fmla="*/ 2234249 w 8079933"/>
              <a:gd name="connsiteY28971" fmla="*/ 834658 h 4687251"/>
              <a:gd name="connsiteX28972" fmla="*/ 2231102 w 8079933"/>
              <a:gd name="connsiteY28972" fmla="*/ 838014 h 4687251"/>
              <a:gd name="connsiteX28973" fmla="*/ 2226653 w 8079933"/>
              <a:gd name="connsiteY28973" fmla="*/ 838231 h 4687251"/>
              <a:gd name="connsiteX28974" fmla="*/ 2221878 w 8079933"/>
              <a:gd name="connsiteY28974" fmla="*/ 843753 h 4687251"/>
              <a:gd name="connsiteX28975" fmla="*/ 2220141 w 8079933"/>
              <a:gd name="connsiteY28975" fmla="*/ 845268 h 4687251"/>
              <a:gd name="connsiteX28976" fmla="*/ 2219057 w 8079933"/>
              <a:gd name="connsiteY28976" fmla="*/ 839639 h 4687251"/>
              <a:gd name="connsiteX28977" fmla="*/ 2216886 w 8079933"/>
              <a:gd name="connsiteY28977" fmla="*/ 839747 h 4687251"/>
              <a:gd name="connsiteX28978" fmla="*/ 2214932 w 8079933"/>
              <a:gd name="connsiteY28978" fmla="*/ 838772 h 4687251"/>
              <a:gd name="connsiteX28979" fmla="*/ 2214932 w 8079933"/>
              <a:gd name="connsiteY28979" fmla="*/ 841154 h 4687251"/>
              <a:gd name="connsiteX28980" fmla="*/ 2217537 w 8079933"/>
              <a:gd name="connsiteY28980" fmla="*/ 845485 h 4687251"/>
              <a:gd name="connsiteX28981" fmla="*/ 2217537 w 8079933"/>
              <a:gd name="connsiteY28981" fmla="*/ 849058 h 4687251"/>
              <a:gd name="connsiteX28982" fmla="*/ 2221986 w 8079933"/>
              <a:gd name="connsiteY28982" fmla="*/ 856096 h 4687251"/>
              <a:gd name="connsiteX28983" fmla="*/ 2221227 w 8079933"/>
              <a:gd name="connsiteY28983" fmla="*/ 861725 h 4687251"/>
              <a:gd name="connsiteX28984" fmla="*/ 2221986 w 8079933"/>
              <a:gd name="connsiteY28984" fmla="*/ 862808 h 4687251"/>
              <a:gd name="connsiteX28985" fmla="*/ 2221552 w 8079933"/>
              <a:gd name="connsiteY28985" fmla="*/ 867572 h 4687251"/>
              <a:gd name="connsiteX28986" fmla="*/ 2218188 w 8079933"/>
              <a:gd name="connsiteY28986" fmla="*/ 869521 h 4687251"/>
              <a:gd name="connsiteX28987" fmla="*/ 2217971 w 8079933"/>
              <a:gd name="connsiteY28987" fmla="*/ 874069 h 4687251"/>
              <a:gd name="connsiteX28988" fmla="*/ 2217320 w 8079933"/>
              <a:gd name="connsiteY28988" fmla="*/ 878941 h 4687251"/>
              <a:gd name="connsiteX28989" fmla="*/ 2212762 w 8079933"/>
              <a:gd name="connsiteY28989" fmla="*/ 884571 h 4687251"/>
              <a:gd name="connsiteX28990" fmla="*/ 2213956 w 8079933"/>
              <a:gd name="connsiteY28990" fmla="*/ 887169 h 4687251"/>
              <a:gd name="connsiteX28991" fmla="*/ 2214282 w 8079933"/>
              <a:gd name="connsiteY28991" fmla="*/ 892258 h 4687251"/>
              <a:gd name="connsiteX28992" fmla="*/ 2211352 w 8079933"/>
              <a:gd name="connsiteY28992" fmla="*/ 893557 h 4687251"/>
              <a:gd name="connsiteX28993" fmla="*/ 2211786 w 8079933"/>
              <a:gd name="connsiteY28993" fmla="*/ 896805 h 4687251"/>
              <a:gd name="connsiteX28994" fmla="*/ 2214607 w 8079933"/>
              <a:gd name="connsiteY28994" fmla="*/ 896697 h 4687251"/>
              <a:gd name="connsiteX28995" fmla="*/ 2218405 w 8079933"/>
              <a:gd name="connsiteY28995" fmla="*/ 892366 h 4687251"/>
              <a:gd name="connsiteX28996" fmla="*/ 2220141 w 8079933"/>
              <a:gd name="connsiteY28996" fmla="*/ 889118 h 4687251"/>
              <a:gd name="connsiteX28997" fmla="*/ 2226218 w 8079933"/>
              <a:gd name="connsiteY28997" fmla="*/ 885978 h 4687251"/>
              <a:gd name="connsiteX28998" fmla="*/ 2227195 w 8079933"/>
              <a:gd name="connsiteY28998" fmla="*/ 883921 h 4687251"/>
              <a:gd name="connsiteX28999" fmla="*/ 2226327 w 8079933"/>
              <a:gd name="connsiteY28999" fmla="*/ 882622 h 4687251"/>
              <a:gd name="connsiteX29000" fmla="*/ 2229039 w 8079933"/>
              <a:gd name="connsiteY29000" fmla="*/ 879374 h 4687251"/>
              <a:gd name="connsiteX29001" fmla="*/ 2231861 w 8079933"/>
              <a:gd name="connsiteY29001" fmla="*/ 881539 h 4687251"/>
              <a:gd name="connsiteX29002" fmla="*/ 2234140 w 8079933"/>
              <a:gd name="connsiteY29002" fmla="*/ 879374 h 4687251"/>
              <a:gd name="connsiteX29003" fmla="*/ 2234140 w 8079933"/>
              <a:gd name="connsiteY29003" fmla="*/ 871037 h 4687251"/>
              <a:gd name="connsiteX29004" fmla="*/ 2235117 w 8079933"/>
              <a:gd name="connsiteY29004" fmla="*/ 866381 h 4687251"/>
              <a:gd name="connsiteX29005" fmla="*/ 2241193 w 8079933"/>
              <a:gd name="connsiteY29005" fmla="*/ 861401 h 4687251"/>
              <a:gd name="connsiteX29006" fmla="*/ 2246619 w 8079933"/>
              <a:gd name="connsiteY29006" fmla="*/ 853064 h 4687251"/>
              <a:gd name="connsiteX29007" fmla="*/ 2248356 w 8079933"/>
              <a:gd name="connsiteY29007" fmla="*/ 848192 h 4687251"/>
              <a:gd name="connsiteX29008" fmla="*/ 2250417 w 8079933"/>
              <a:gd name="connsiteY29008" fmla="*/ 847867 h 4687251"/>
              <a:gd name="connsiteX29009" fmla="*/ 2252479 w 8079933"/>
              <a:gd name="connsiteY29009" fmla="*/ 849924 h 4687251"/>
              <a:gd name="connsiteX29010" fmla="*/ 2253347 w 8079933"/>
              <a:gd name="connsiteY29010" fmla="*/ 854255 h 4687251"/>
              <a:gd name="connsiteX29011" fmla="*/ 2257037 w 8079933"/>
              <a:gd name="connsiteY29011" fmla="*/ 862267 h 4687251"/>
              <a:gd name="connsiteX29012" fmla="*/ 2257905 w 8079933"/>
              <a:gd name="connsiteY29012" fmla="*/ 868547 h 4687251"/>
              <a:gd name="connsiteX29013" fmla="*/ 2262138 w 8079933"/>
              <a:gd name="connsiteY29013" fmla="*/ 873852 h 4687251"/>
              <a:gd name="connsiteX29014" fmla="*/ 2262138 w 8079933"/>
              <a:gd name="connsiteY29014" fmla="*/ 878941 h 4687251"/>
              <a:gd name="connsiteX29015" fmla="*/ 2260510 w 8079933"/>
              <a:gd name="connsiteY29015" fmla="*/ 883488 h 4687251"/>
              <a:gd name="connsiteX29016" fmla="*/ 2262029 w 8079933"/>
              <a:gd name="connsiteY29016" fmla="*/ 893016 h 4687251"/>
              <a:gd name="connsiteX29017" fmla="*/ 2259099 w 8079933"/>
              <a:gd name="connsiteY29017" fmla="*/ 897888 h 4687251"/>
              <a:gd name="connsiteX29018" fmla="*/ 2255627 w 8079933"/>
              <a:gd name="connsiteY29018" fmla="*/ 899404 h 4687251"/>
              <a:gd name="connsiteX29019" fmla="*/ 2252914 w 8079933"/>
              <a:gd name="connsiteY29019" fmla="*/ 897022 h 4687251"/>
              <a:gd name="connsiteX29020" fmla="*/ 2250092 w 8079933"/>
              <a:gd name="connsiteY29020" fmla="*/ 899404 h 4687251"/>
              <a:gd name="connsiteX29021" fmla="*/ 2248030 w 8079933"/>
              <a:gd name="connsiteY29021" fmla="*/ 903518 h 4687251"/>
              <a:gd name="connsiteX29022" fmla="*/ 2249224 w 8079933"/>
              <a:gd name="connsiteY29022" fmla="*/ 908498 h 4687251"/>
              <a:gd name="connsiteX29023" fmla="*/ 2245860 w 8079933"/>
              <a:gd name="connsiteY29023" fmla="*/ 912829 h 4687251"/>
              <a:gd name="connsiteX29024" fmla="*/ 2243689 w 8079933"/>
              <a:gd name="connsiteY29024" fmla="*/ 918676 h 4687251"/>
              <a:gd name="connsiteX29025" fmla="*/ 2245318 w 8079933"/>
              <a:gd name="connsiteY29025" fmla="*/ 921816 h 4687251"/>
              <a:gd name="connsiteX29026" fmla="*/ 2245426 w 8079933"/>
              <a:gd name="connsiteY29026" fmla="*/ 929720 h 4687251"/>
              <a:gd name="connsiteX29027" fmla="*/ 2249224 w 8079933"/>
              <a:gd name="connsiteY29027" fmla="*/ 946177 h 4687251"/>
              <a:gd name="connsiteX29028" fmla="*/ 2252914 w 8079933"/>
              <a:gd name="connsiteY29028" fmla="*/ 953106 h 4687251"/>
              <a:gd name="connsiteX29029" fmla="*/ 2251502 w 8079933"/>
              <a:gd name="connsiteY29029" fmla="*/ 957654 h 4687251"/>
              <a:gd name="connsiteX29030" fmla="*/ 2255084 w 8079933"/>
              <a:gd name="connsiteY29030" fmla="*/ 961334 h 4687251"/>
              <a:gd name="connsiteX29031" fmla="*/ 2258557 w 8079933"/>
              <a:gd name="connsiteY29031" fmla="*/ 961334 h 4687251"/>
              <a:gd name="connsiteX29032" fmla="*/ 2257688 w 8079933"/>
              <a:gd name="connsiteY29032" fmla="*/ 955488 h 4687251"/>
              <a:gd name="connsiteX29033" fmla="*/ 2256169 w 8079933"/>
              <a:gd name="connsiteY29033" fmla="*/ 953756 h 4687251"/>
              <a:gd name="connsiteX29034" fmla="*/ 2259533 w 8079933"/>
              <a:gd name="connsiteY29034" fmla="*/ 950291 h 4687251"/>
              <a:gd name="connsiteX29035" fmla="*/ 2262571 w 8079933"/>
              <a:gd name="connsiteY29035" fmla="*/ 949966 h 4687251"/>
              <a:gd name="connsiteX29036" fmla="*/ 2264959 w 8079933"/>
              <a:gd name="connsiteY29036" fmla="*/ 955705 h 4687251"/>
              <a:gd name="connsiteX29037" fmla="*/ 2267346 w 8079933"/>
              <a:gd name="connsiteY29037" fmla="*/ 955163 h 4687251"/>
              <a:gd name="connsiteX29038" fmla="*/ 2268431 w 8079933"/>
              <a:gd name="connsiteY29038" fmla="*/ 949750 h 4687251"/>
              <a:gd name="connsiteX29039" fmla="*/ 2271795 w 8079933"/>
              <a:gd name="connsiteY29039" fmla="*/ 946068 h 4687251"/>
              <a:gd name="connsiteX29040" fmla="*/ 2272555 w 8079933"/>
              <a:gd name="connsiteY29040" fmla="*/ 938598 h 4687251"/>
              <a:gd name="connsiteX29041" fmla="*/ 2276353 w 8079933"/>
              <a:gd name="connsiteY29041" fmla="*/ 936865 h 4687251"/>
              <a:gd name="connsiteX29042" fmla="*/ 2280802 w 8079933"/>
              <a:gd name="connsiteY29042" fmla="*/ 930694 h 4687251"/>
              <a:gd name="connsiteX29043" fmla="*/ 2282538 w 8079933"/>
              <a:gd name="connsiteY29043" fmla="*/ 930369 h 4687251"/>
              <a:gd name="connsiteX29044" fmla="*/ 2285143 w 8079933"/>
              <a:gd name="connsiteY29044" fmla="*/ 926255 h 4687251"/>
              <a:gd name="connsiteX29045" fmla="*/ 2293499 w 8079933"/>
              <a:gd name="connsiteY29045" fmla="*/ 920083 h 4687251"/>
              <a:gd name="connsiteX29046" fmla="*/ 2299250 w 8079933"/>
              <a:gd name="connsiteY29046" fmla="*/ 910447 h 4687251"/>
              <a:gd name="connsiteX29047" fmla="*/ 2303374 w 8079933"/>
              <a:gd name="connsiteY29047" fmla="*/ 900270 h 4687251"/>
              <a:gd name="connsiteX29048" fmla="*/ 2307280 w 8079933"/>
              <a:gd name="connsiteY29048" fmla="*/ 891825 h 4687251"/>
              <a:gd name="connsiteX29049" fmla="*/ 2311838 w 8079933"/>
              <a:gd name="connsiteY29049" fmla="*/ 888577 h 4687251"/>
              <a:gd name="connsiteX29050" fmla="*/ 2315202 w 8079933"/>
              <a:gd name="connsiteY29050" fmla="*/ 893557 h 4687251"/>
              <a:gd name="connsiteX29051" fmla="*/ 2318132 w 8079933"/>
              <a:gd name="connsiteY29051" fmla="*/ 890851 h 4687251"/>
              <a:gd name="connsiteX29052" fmla="*/ 2320736 w 8079933"/>
              <a:gd name="connsiteY29052" fmla="*/ 892691 h 4687251"/>
              <a:gd name="connsiteX29053" fmla="*/ 2325294 w 8079933"/>
              <a:gd name="connsiteY29053" fmla="*/ 892041 h 4687251"/>
              <a:gd name="connsiteX29054" fmla="*/ 2325402 w 8079933"/>
              <a:gd name="connsiteY29054" fmla="*/ 889335 h 4687251"/>
              <a:gd name="connsiteX29055" fmla="*/ 2322798 w 8079933"/>
              <a:gd name="connsiteY29055" fmla="*/ 889118 h 4687251"/>
              <a:gd name="connsiteX29056" fmla="*/ 2318891 w 8079933"/>
              <a:gd name="connsiteY29056" fmla="*/ 885112 h 4687251"/>
              <a:gd name="connsiteX29057" fmla="*/ 2320736 w 8079933"/>
              <a:gd name="connsiteY29057" fmla="*/ 882406 h 4687251"/>
              <a:gd name="connsiteX29058" fmla="*/ 2325728 w 8079933"/>
              <a:gd name="connsiteY29058" fmla="*/ 881755 h 4687251"/>
              <a:gd name="connsiteX29059" fmla="*/ 2328332 w 8079933"/>
              <a:gd name="connsiteY29059" fmla="*/ 883921 h 4687251"/>
              <a:gd name="connsiteX29060" fmla="*/ 2330394 w 8079933"/>
              <a:gd name="connsiteY29060" fmla="*/ 882188 h 4687251"/>
              <a:gd name="connsiteX29061" fmla="*/ 2333867 w 8079933"/>
              <a:gd name="connsiteY29061" fmla="*/ 882622 h 4687251"/>
              <a:gd name="connsiteX29062" fmla="*/ 2335712 w 8079933"/>
              <a:gd name="connsiteY29062" fmla="*/ 881214 h 4687251"/>
              <a:gd name="connsiteX29063" fmla="*/ 2333541 w 8079933"/>
              <a:gd name="connsiteY29063" fmla="*/ 876775 h 4687251"/>
              <a:gd name="connsiteX29064" fmla="*/ 2331479 w 8079933"/>
              <a:gd name="connsiteY29064" fmla="*/ 876342 h 4687251"/>
              <a:gd name="connsiteX29065" fmla="*/ 2329201 w 8079933"/>
              <a:gd name="connsiteY29065" fmla="*/ 872228 h 4687251"/>
              <a:gd name="connsiteX29066" fmla="*/ 2326596 w 8079933"/>
              <a:gd name="connsiteY29066" fmla="*/ 872120 h 4687251"/>
              <a:gd name="connsiteX29067" fmla="*/ 2326922 w 8079933"/>
              <a:gd name="connsiteY29067" fmla="*/ 865082 h 4687251"/>
              <a:gd name="connsiteX29068" fmla="*/ 2329744 w 8079933"/>
              <a:gd name="connsiteY29068" fmla="*/ 861942 h 4687251"/>
              <a:gd name="connsiteX29069" fmla="*/ 2330286 w 8079933"/>
              <a:gd name="connsiteY29069" fmla="*/ 857719 h 4687251"/>
              <a:gd name="connsiteX29070" fmla="*/ 2333541 w 8079933"/>
              <a:gd name="connsiteY29070" fmla="*/ 857503 h 4687251"/>
              <a:gd name="connsiteX29071" fmla="*/ 2331045 w 8079933"/>
              <a:gd name="connsiteY29071" fmla="*/ 853713 h 4687251"/>
              <a:gd name="connsiteX29072" fmla="*/ 2331588 w 8079933"/>
              <a:gd name="connsiteY29072" fmla="*/ 850574 h 4687251"/>
              <a:gd name="connsiteX29073" fmla="*/ 2335060 w 8079933"/>
              <a:gd name="connsiteY29073" fmla="*/ 847001 h 4687251"/>
              <a:gd name="connsiteX29074" fmla="*/ 2333541 w 8079933"/>
              <a:gd name="connsiteY29074" fmla="*/ 845268 h 4687251"/>
              <a:gd name="connsiteX29075" fmla="*/ 2333324 w 8079933"/>
              <a:gd name="connsiteY29075" fmla="*/ 843861 h 4687251"/>
              <a:gd name="connsiteX29076" fmla="*/ 2337773 w 8079933"/>
              <a:gd name="connsiteY29076" fmla="*/ 843861 h 4687251"/>
              <a:gd name="connsiteX29077" fmla="*/ 2339401 w 8079933"/>
              <a:gd name="connsiteY29077" fmla="*/ 839639 h 4687251"/>
              <a:gd name="connsiteX29078" fmla="*/ 2335712 w 8079933"/>
              <a:gd name="connsiteY29078" fmla="*/ 837582 h 4687251"/>
              <a:gd name="connsiteX29079" fmla="*/ 2334518 w 8079933"/>
              <a:gd name="connsiteY29079" fmla="*/ 835091 h 4687251"/>
              <a:gd name="connsiteX29080" fmla="*/ 2339401 w 8079933"/>
              <a:gd name="connsiteY29080" fmla="*/ 835849 h 4687251"/>
              <a:gd name="connsiteX29081" fmla="*/ 2341463 w 8079933"/>
              <a:gd name="connsiteY29081" fmla="*/ 839313 h 4687251"/>
              <a:gd name="connsiteX29082" fmla="*/ 2345044 w 8079933"/>
              <a:gd name="connsiteY29082" fmla="*/ 839639 h 4687251"/>
              <a:gd name="connsiteX29083" fmla="*/ 2348082 w 8079933"/>
              <a:gd name="connsiteY29083" fmla="*/ 837582 h 4687251"/>
              <a:gd name="connsiteX29084" fmla="*/ 2355570 w 8079933"/>
              <a:gd name="connsiteY29084" fmla="*/ 838014 h 4687251"/>
              <a:gd name="connsiteX29085" fmla="*/ 2362081 w 8079933"/>
              <a:gd name="connsiteY29085" fmla="*/ 842886 h 4687251"/>
              <a:gd name="connsiteX29086" fmla="*/ 2362624 w 8079933"/>
              <a:gd name="connsiteY29086" fmla="*/ 845268 h 4687251"/>
              <a:gd name="connsiteX29087" fmla="*/ 2364686 w 8079933"/>
              <a:gd name="connsiteY29087" fmla="*/ 848192 h 4687251"/>
              <a:gd name="connsiteX29088" fmla="*/ 2373692 w 8079933"/>
              <a:gd name="connsiteY29088" fmla="*/ 852631 h 4687251"/>
              <a:gd name="connsiteX29089" fmla="*/ 2377816 w 8079933"/>
              <a:gd name="connsiteY29089" fmla="*/ 849924 h 4687251"/>
              <a:gd name="connsiteX29090" fmla="*/ 2382374 w 8079933"/>
              <a:gd name="connsiteY29090" fmla="*/ 853172 h 4687251"/>
              <a:gd name="connsiteX29091" fmla="*/ 2388342 w 8079933"/>
              <a:gd name="connsiteY29091" fmla="*/ 855662 h 4687251"/>
              <a:gd name="connsiteX29092" fmla="*/ 2388342 w 8079933"/>
              <a:gd name="connsiteY29092" fmla="*/ 858153 h 4687251"/>
              <a:gd name="connsiteX29093" fmla="*/ 2385846 w 8079933"/>
              <a:gd name="connsiteY29093" fmla="*/ 859776 h 4687251"/>
              <a:gd name="connsiteX29094" fmla="*/ 2388668 w 8079933"/>
              <a:gd name="connsiteY29094" fmla="*/ 862808 h 4687251"/>
              <a:gd name="connsiteX29095" fmla="*/ 2385738 w 8079933"/>
              <a:gd name="connsiteY29095" fmla="*/ 864324 h 4687251"/>
              <a:gd name="connsiteX29096" fmla="*/ 2382374 w 8079933"/>
              <a:gd name="connsiteY29096" fmla="*/ 861292 h 4687251"/>
              <a:gd name="connsiteX29097" fmla="*/ 2379118 w 8079933"/>
              <a:gd name="connsiteY29097" fmla="*/ 860968 h 4687251"/>
              <a:gd name="connsiteX29098" fmla="*/ 2379661 w 8079933"/>
              <a:gd name="connsiteY29098" fmla="*/ 863458 h 4687251"/>
              <a:gd name="connsiteX29099" fmla="*/ 2389644 w 8079933"/>
              <a:gd name="connsiteY29099" fmla="*/ 869846 h 4687251"/>
              <a:gd name="connsiteX29100" fmla="*/ 2390187 w 8079933"/>
              <a:gd name="connsiteY29100" fmla="*/ 874826 h 4687251"/>
              <a:gd name="connsiteX29101" fmla="*/ 2386280 w 8079933"/>
              <a:gd name="connsiteY29101" fmla="*/ 876342 h 4687251"/>
              <a:gd name="connsiteX29102" fmla="*/ 2388668 w 8079933"/>
              <a:gd name="connsiteY29102" fmla="*/ 877749 h 4687251"/>
              <a:gd name="connsiteX29103" fmla="*/ 2392792 w 8079933"/>
              <a:gd name="connsiteY29103" fmla="*/ 876342 h 4687251"/>
              <a:gd name="connsiteX29104" fmla="*/ 2399845 w 8079933"/>
              <a:gd name="connsiteY29104" fmla="*/ 878074 h 4687251"/>
              <a:gd name="connsiteX29105" fmla="*/ 2401364 w 8079933"/>
              <a:gd name="connsiteY29105" fmla="*/ 880890 h 4687251"/>
              <a:gd name="connsiteX29106" fmla="*/ 2403969 w 8079933"/>
              <a:gd name="connsiteY29106" fmla="*/ 881864 h 4687251"/>
              <a:gd name="connsiteX29107" fmla="*/ 2404728 w 8079933"/>
              <a:gd name="connsiteY29107" fmla="*/ 883921 h 4687251"/>
              <a:gd name="connsiteX29108" fmla="*/ 2401798 w 8079933"/>
              <a:gd name="connsiteY29108" fmla="*/ 888577 h 4687251"/>
              <a:gd name="connsiteX29109" fmla="*/ 2394419 w 8079933"/>
              <a:gd name="connsiteY29109" fmla="*/ 894315 h 4687251"/>
              <a:gd name="connsiteX29110" fmla="*/ 2389970 w 8079933"/>
              <a:gd name="connsiteY29110" fmla="*/ 895181 h 4687251"/>
              <a:gd name="connsiteX29111" fmla="*/ 2386606 w 8079933"/>
              <a:gd name="connsiteY29111" fmla="*/ 896805 h 4687251"/>
              <a:gd name="connsiteX29112" fmla="*/ 2393008 w 8079933"/>
              <a:gd name="connsiteY29112" fmla="*/ 896914 h 4687251"/>
              <a:gd name="connsiteX29113" fmla="*/ 2395396 w 8079933"/>
              <a:gd name="connsiteY29113" fmla="*/ 898429 h 4687251"/>
              <a:gd name="connsiteX29114" fmla="*/ 2395830 w 8079933"/>
              <a:gd name="connsiteY29114" fmla="*/ 902002 h 4687251"/>
              <a:gd name="connsiteX29115" fmla="*/ 2397566 w 8079933"/>
              <a:gd name="connsiteY29115" fmla="*/ 901894 h 4687251"/>
              <a:gd name="connsiteX29116" fmla="*/ 2399194 w 8079933"/>
              <a:gd name="connsiteY29116" fmla="*/ 903193 h 4687251"/>
              <a:gd name="connsiteX29117" fmla="*/ 2396155 w 8079933"/>
              <a:gd name="connsiteY29117" fmla="*/ 907849 h 4687251"/>
              <a:gd name="connsiteX29118" fmla="*/ 2397891 w 8079933"/>
              <a:gd name="connsiteY29118" fmla="*/ 909581 h 4687251"/>
              <a:gd name="connsiteX29119" fmla="*/ 2392249 w 8079933"/>
              <a:gd name="connsiteY29119" fmla="*/ 913371 h 4687251"/>
              <a:gd name="connsiteX29120" fmla="*/ 2385738 w 8079933"/>
              <a:gd name="connsiteY29120" fmla="*/ 915536 h 4687251"/>
              <a:gd name="connsiteX29121" fmla="*/ 2382266 w 8079933"/>
              <a:gd name="connsiteY29121" fmla="*/ 914887 h 4687251"/>
              <a:gd name="connsiteX29122" fmla="*/ 2379986 w 8079933"/>
              <a:gd name="connsiteY29122" fmla="*/ 917810 h 4687251"/>
              <a:gd name="connsiteX29123" fmla="*/ 2376405 w 8079933"/>
              <a:gd name="connsiteY29123" fmla="*/ 916618 h 4687251"/>
              <a:gd name="connsiteX29124" fmla="*/ 2372607 w 8079933"/>
              <a:gd name="connsiteY29124" fmla="*/ 912180 h 4687251"/>
              <a:gd name="connsiteX29125" fmla="*/ 2368267 w 8079933"/>
              <a:gd name="connsiteY29125" fmla="*/ 911963 h 4687251"/>
              <a:gd name="connsiteX29126" fmla="*/ 2366964 w 8079933"/>
              <a:gd name="connsiteY29126" fmla="*/ 909581 h 4687251"/>
              <a:gd name="connsiteX29127" fmla="*/ 2364034 w 8079933"/>
              <a:gd name="connsiteY29127" fmla="*/ 909906 h 4687251"/>
              <a:gd name="connsiteX29128" fmla="*/ 2363818 w 8079933"/>
              <a:gd name="connsiteY29128" fmla="*/ 913695 h 4687251"/>
              <a:gd name="connsiteX29129" fmla="*/ 2361756 w 8079933"/>
              <a:gd name="connsiteY29129" fmla="*/ 915103 h 4687251"/>
              <a:gd name="connsiteX29130" fmla="*/ 2365662 w 8079933"/>
              <a:gd name="connsiteY29130" fmla="*/ 915969 h 4687251"/>
              <a:gd name="connsiteX29131" fmla="*/ 2368701 w 8079933"/>
              <a:gd name="connsiteY29131" fmla="*/ 918351 h 4687251"/>
              <a:gd name="connsiteX29132" fmla="*/ 2367290 w 8079933"/>
              <a:gd name="connsiteY29132" fmla="*/ 921599 h 4687251"/>
              <a:gd name="connsiteX29133" fmla="*/ 2364469 w 8079933"/>
              <a:gd name="connsiteY29133" fmla="*/ 924522 h 4687251"/>
              <a:gd name="connsiteX29134" fmla="*/ 2368484 w 8079933"/>
              <a:gd name="connsiteY29134" fmla="*/ 924847 h 4687251"/>
              <a:gd name="connsiteX29135" fmla="*/ 2365662 w 8079933"/>
              <a:gd name="connsiteY29135" fmla="*/ 928961 h 4687251"/>
              <a:gd name="connsiteX29136" fmla="*/ 2366096 w 8079933"/>
              <a:gd name="connsiteY29136" fmla="*/ 931885 h 4687251"/>
              <a:gd name="connsiteX29137" fmla="*/ 2367615 w 8079933"/>
              <a:gd name="connsiteY29137" fmla="*/ 932318 h 4687251"/>
              <a:gd name="connsiteX29138" fmla="*/ 2370545 w 8079933"/>
              <a:gd name="connsiteY29138" fmla="*/ 929287 h 4687251"/>
              <a:gd name="connsiteX29139" fmla="*/ 2372065 w 8079933"/>
              <a:gd name="connsiteY29139" fmla="*/ 929503 h 4687251"/>
              <a:gd name="connsiteX29140" fmla="*/ 2370871 w 8079933"/>
              <a:gd name="connsiteY29140" fmla="*/ 932967 h 4687251"/>
              <a:gd name="connsiteX29141" fmla="*/ 2365228 w 8079933"/>
              <a:gd name="connsiteY29141" fmla="*/ 935241 h 4687251"/>
              <a:gd name="connsiteX29142" fmla="*/ 2363058 w 8079933"/>
              <a:gd name="connsiteY29142" fmla="*/ 939572 h 4687251"/>
              <a:gd name="connsiteX29143" fmla="*/ 2364034 w 8079933"/>
              <a:gd name="connsiteY29143" fmla="*/ 944661 h 4687251"/>
              <a:gd name="connsiteX29144" fmla="*/ 2369460 w 8079933"/>
              <a:gd name="connsiteY29144" fmla="*/ 948775 h 4687251"/>
              <a:gd name="connsiteX29145" fmla="*/ 2368701 w 8079933"/>
              <a:gd name="connsiteY29145" fmla="*/ 952023 h 4687251"/>
              <a:gd name="connsiteX29146" fmla="*/ 2373801 w 8079933"/>
              <a:gd name="connsiteY29146" fmla="*/ 962201 h 4687251"/>
              <a:gd name="connsiteX29147" fmla="*/ 2373150 w 8079933"/>
              <a:gd name="connsiteY29147" fmla="*/ 968048 h 4687251"/>
              <a:gd name="connsiteX29148" fmla="*/ 2371414 w 8079933"/>
              <a:gd name="connsiteY29148" fmla="*/ 969238 h 4687251"/>
              <a:gd name="connsiteX29149" fmla="*/ 2370762 w 8079933"/>
              <a:gd name="connsiteY29149" fmla="*/ 972703 h 4687251"/>
              <a:gd name="connsiteX29150" fmla="*/ 2364360 w 8079933"/>
              <a:gd name="connsiteY29150" fmla="*/ 978117 h 4687251"/>
              <a:gd name="connsiteX29151" fmla="*/ 2365554 w 8079933"/>
              <a:gd name="connsiteY29151" fmla="*/ 982447 h 4687251"/>
              <a:gd name="connsiteX29152" fmla="*/ 2363275 w 8079933"/>
              <a:gd name="connsiteY29152" fmla="*/ 985587 h 4687251"/>
              <a:gd name="connsiteX29153" fmla="*/ 2359151 w 8079933"/>
              <a:gd name="connsiteY29153" fmla="*/ 983854 h 4687251"/>
              <a:gd name="connsiteX29154" fmla="*/ 2351772 w 8079933"/>
              <a:gd name="connsiteY29154" fmla="*/ 983963 h 4687251"/>
              <a:gd name="connsiteX29155" fmla="*/ 2348517 w 8079933"/>
              <a:gd name="connsiteY29155" fmla="*/ 986237 h 4687251"/>
              <a:gd name="connsiteX29156" fmla="*/ 2347323 w 8079933"/>
              <a:gd name="connsiteY29156" fmla="*/ 991758 h 4687251"/>
              <a:gd name="connsiteX29157" fmla="*/ 2342656 w 8079933"/>
              <a:gd name="connsiteY29157" fmla="*/ 994466 h 4687251"/>
              <a:gd name="connsiteX29158" fmla="*/ 2340378 w 8079933"/>
              <a:gd name="connsiteY29158" fmla="*/ 997605 h 4687251"/>
              <a:gd name="connsiteX29159" fmla="*/ 2336580 w 8079933"/>
              <a:gd name="connsiteY29159" fmla="*/ 997713 h 4687251"/>
              <a:gd name="connsiteX29160" fmla="*/ 2329852 w 8079933"/>
              <a:gd name="connsiteY29160" fmla="*/ 1004968 h 4687251"/>
              <a:gd name="connsiteX29161" fmla="*/ 2327464 w 8079933"/>
              <a:gd name="connsiteY29161" fmla="*/ 1004101 h 4687251"/>
              <a:gd name="connsiteX29162" fmla="*/ 2323558 w 8079933"/>
              <a:gd name="connsiteY29162" fmla="*/ 1004318 h 4687251"/>
              <a:gd name="connsiteX29163" fmla="*/ 2321062 w 8079933"/>
              <a:gd name="connsiteY29163" fmla="*/ 1008974 h 4687251"/>
              <a:gd name="connsiteX29164" fmla="*/ 2309559 w 8079933"/>
              <a:gd name="connsiteY29164" fmla="*/ 1012221 h 4687251"/>
              <a:gd name="connsiteX29165" fmla="*/ 2307280 w 8079933"/>
              <a:gd name="connsiteY29165" fmla="*/ 1010164 h 4687251"/>
              <a:gd name="connsiteX29166" fmla="*/ 2309017 w 8079933"/>
              <a:gd name="connsiteY29166" fmla="*/ 1007241 h 4687251"/>
              <a:gd name="connsiteX29167" fmla="*/ 2307497 w 8079933"/>
              <a:gd name="connsiteY29167" fmla="*/ 1001503 h 4687251"/>
              <a:gd name="connsiteX29168" fmla="*/ 2304242 w 8079933"/>
              <a:gd name="connsiteY29168" fmla="*/ 997930 h 4687251"/>
              <a:gd name="connsiteX29169" fmla="*/ 2304242 w 8079933"/>
              <a:gd name="connsiteY29169" fmla="*/ 995331 h 4687251"/>
              <a:gd name="connsiteX29170" fmla="*/ 2306954 w 8079933"/>
              <a:gd name="connsiteY29170" fmla="*/ 994357 h 4687251"/>
              <a:gd name="connsiteX29171" fmla="*/ 2307172 w 8079933"/>
              <a:gd name="connsiteY29171" fmla="*/ 990568 h 4687251"/>
              <a:gd name="connsiteX29172" fmla="*/ 2310970 w 8079933"/>
              <a:gd name="connsiteY29172" fmla="*/ 983963 h 4687251"/>
              <a:gd name="connsiteX29173" fmla="*/ 2305978 w 8079933"/>
              <a:gd name="connsiteY29173" fmla="*/ 988835 h 4687251"/>
              <a:gd name="connsiteX29174" fmla="*/ 2304242 w 8079933"/>
              <a:gd name="connsiteY29174" fmla="*/ 989376 h 4687251"/>
              <a:gd name="connsiteX29175" fmla="*/ 2303699 w 8079933"/>
              <a:gd name="connsiteY29175" fmla="*/ 979415 h 4687251"/>
              <a:gd name="connsiteX29176" fmla="*/ 2301420 w 8079933"/>
              <a:gd name="connsiteY29176" fmla="*/ 978550 h 4687251"/>
              <a:gd name="connsiteX29177" fmla="*/ 2298708 w 8079933"/>
              <a:gd name="connsiteY29177" fmla="*/ 974002 h 4687251"/>
              <a:gd name="connsiteX29178" fmla="*/ 2294258 w 8079933"/>
              <a:gd name="connsiteY29178" fmla="*/ 976601 h 4687251"/>
              <a:gd name="connsiteX29179" fmla="*/ 2292630 w 8079933"/>
              <a:gd name="connsiteY29179" fmla="*/ 975085 h 4687251"/>
              <a:gd name="connsiteX29180" fmla="*/ 2288507 w 8079933"/>
              <a:gd name="connsiteY29180" fmla="*/ 975409 h 4687251"/>
              <a:gd name="connsiteX29181" fmla="*/ 2284274 w 8079933"/>
              <a:gd name="connsiteY29181" fmla="*/ 981906 h 4687251"/>
              <a:gd name="connsiteX29182" fmla="*/ 2286445 w 8079933"/>
              <a:gd name="connsiteY29182" fmla="*/ 982447 h 4687251"/>
              <a:gd name="connsiteX29183" fmla="*/ 2292630 w 8079933"/>
              <a:gd name="connsiteY29183" fmla="*/ 978333 h 4687251"/>
              <a:gd name="connsiteX29184" fmla="*/ 2295127 w 8079933"/>
              <a:gd name="connsiteY29184" fmla="*/ 979524 h 4687251"/>
              <a:gd name="connsiteX29185" fmla="*/ 2294801 w 8079933"/>
              <a:gd name="connsiteY29185" fmla="*/ 983638 h 4687251"/>
              <a:gd name="connsiteX29186" fmla="*/ 2298925 w 8079933"/>
              <a:gd name="connsiteY29186" fmla="*/ 985587 h 4687251"/>
              <a:gd name="connsiteX29187" fmla="*/ 2301854 w 8079933"/>
              <a:gd name="connsiteY29187" fmla="*/ 992733 h 4687251"/>
              <a:gd name="connsiteX29188" fmla="*/ 2300552 w 8079933"/>
              <a:gd name="connsiteY29188" fmla="*/ 999662 h 4687251"/>
              <a:gd name="connsiteX29189" fmla="*/ 2302831 w 8079933"/>
              <a:gd name="connsiteY29189" fmla="*/ 1001070 h 4687251"/>
              <a:gd name="connsiteX29190" fmla="*/ 2303916 w 8079933"/>
              <a:gd name="connsiteY29190" fmla="*/ 1007566 h 4687251"/>
              <a:gd name="connsiteX29191" fmla="*/ 2301963 w 8079933"/>
              <a:gd name="connsiteY29191" fmla="*/ 1010490 h 4687251"/>
              <a:gd name="connsiteX29192" fmla="*/ 2303483 w 8079933"/>
              <a:gd name="connsiteY29192" fmla="*/ 1012221 h 4687251"/>
              <a:gd name="connsiteX29193" fmla="*/ 2303156 w 8079933"/>
              <a:gd name="connsiteY29193" fmla="*/ 1016011 h 4687251"/>
              <a:gd name="connsiteX29194" fmla="*/ 2300770 w 8079933"/>
              <a:gd name="connsiteY29194" fmla="*/ 1016119 h 4687251"/>
              <a:gd name="connsiteX29195" fmla="*/ 2293173 w 8079933"/>
              <a:gd name="connsiteY29195" fmla="*/ 1009623 h 4687251"/>
              <a:gd name="connsiteX29196" fmla="*/ 2292522 w 8079933"/>
              <a:gd name="connsiteY29196" fmla="*/ 1005725 h 4687251"/>
              <a:gd name="connsiteX29197" fmla="*/ 2289267 w 8079933"/>
              <a:gd name="connsiteY29197" fmla="*/ 1004426 h 4687251"/>
              <a:gd name="connsiteX29198" fmla="*/ 2288181 w 8079933"/>
              <a:gd name="connsiteY29198" fmla="*/ 1000637 h 4687251"/>
              <a:gd name="connsiteX29199" fmla="*/ 2285468 w 8079933"/>
              <a:gd name="connsiteY29199" fmla="*/ 1004643 h 4687251"/>
              <a:gd name="connsiteX29200" fmla="*/ 2289917 w 8079933"/>
              <a:gd name="connsiteY29200" fmla="*/ 1008757 h 4687251"/>
              <a:gd name="connsiteX29201" fmla="*/ 2288832 w 8079933"/>
              <a:gd name="connsiteY29201" fmla="*/ 1012655 h 4687251"/>
              <a:gd name="connsiteX29202" fmla="*/ 2283406 w 8079933"/>
              <a:gd name="connsiteY29202" fmla="*/ 1009623 h 4687251"/>
              <a:gd name="connsiteX29203" fmla="*/ 2279717 w 8079933"/>
              <a:gd name="connsiteY29203" fmla="*/ 1008757 h 4687251"/>
              <a:gd name="connsiteX29204" fmla="*/ 2278849 w 8079933"/>
              <a:gd name="connsiteY29204" fmla="*/ 1006484 h 4687251"/>
              <a:gd name="connsiteX29205" fmla="*/ 2275593 w 8079933"/>
              <a:gd name="connsiteY29205" fmla="*/ 1008107 h 4687251"/>
              <a:gd name="connsiteX29206" fmla="*/ 2275485 w 8079933"/>
              <a:gd name="connsiteY29206" fmla="*/ 1004859 h 4687251"/>
              <a:gd name="connsiteX29207" fmla="*/ 2277655 w 8079933"/>
              <a:gd name="connsiteY29207" fmla="*/ 997930 h 4687251"/>
              <a:gd name="connsiteX29208" fmla="*/ 2278740 w 8079933"/>
              <a:gd name="connsiteY29208" fmla="*/ 996739 h 4687251"/>
              <a:gd name="connsiteX29209" fmla="*/ 2276136 w 8079933"/>
              <a:gd name="connsiteY29209" fmla="*/ 995548 h 4687251"/>
              <a:gd name="connsiteX29210" fmla="*/ 2275919 w 8079933"/>
              <a:gd name="connsiteY29210" fmla="*/ 993274 h 4687251"/>
              <a:gd name="connsiteX29211" fmla="*/ 2269082 w 8079933"/>
              <a:gd name="connsiteY29211" fmla="*/ 996089 h 4687251"/>
              <a:gd name="connsiteX29212" fmla="*/ 2263548 w 8079933"/>
              <a:gd name="connsiteY29212" fmla="*/ 996089 h 4687251"/>
              <a:gd name="connsiteX29213" fmla="*/ 2259533 w 8079933"/>
              <a:gd name="connsiteY29213" fmla="*/ 993166 h 4687251"/>
              <a:gd name="connsiteX29214" fmla="*/ 2255627 w 8079933"/>
              <a:gd name="connsiteY29214" fmla="*/ 993815 h 4687251"/>
              <a:gd name="connsiteX29215" fmla="*/ 2250417 w 8079933"/>
              <a:gd name="connsiteY29215" fmla="*/ 990351 h 4687251"/>
              <a:gd name="connsiteX29216" fmla="*/ 2249658 w 8079933"/>
              <a:gd name="connsiteY29216" fmla="*/ 994032 h 4687251"/>
              <a:gd name="connsiteX29217" fmla="*/ 2250960 w 8079933"/>
              <a:gd name="connsiteY29217" fmla="*/ 996956 h 4687251"/>
              <a:gd name="connsiteX29218" fmla="*/ 2248681 w 8079933"/>
              <a:gd name="connsiteY29218" fmla="*/ 998472 h 4687251"/>
              <a:gd name="connsiteX29219" fmla="*/ 2249115 w 8079933"/>
              <a:gd name="connsiteY29219" fmla="*/ 1003127 h 4687251"/>
              <a:gd name="connsiteX29220" fmla="*/ 2251286 w 8079933"/>
              <a:gd name="connsiteY29220" fmla="*/ 1006484 h 4687251"/>
              <a:gd name="connsiteX29221" fmla="*/ 2257145 w 8079933"/>
              <a:gd name="connsiteY29221" fmla="*/ 1007566 h 4687251"/>
              <a:gd name="connsiteX29222" fmla="*/ 2259750 w 8079933"/>
              <a:gd name="connsiteY29222" fmla="*/ 1011897 h 4687251"/>
              <a:gd name="connsiteX29223" fmla="*/ 2255952 w 8079933"/>
              <a:gd name="connsiteY29223" fmla="*/ 1018393 h 4687251"/>
              <a:gd name="connsiteX29224" fmla="*/ 2252914 w 8079933"/>
              <a:gd name="connsiteY29224" fmla="*/ 1019368 h 4687251"/>
              <a:gd name="connsiteX29225" fmla="*/ 2241628 w 8079933"/>
              <a:gd name="connsiteY29225" fmla="*/ 1027488 h 4687251"/>
              <a:gd name="connsiteX29226" fmla="*/ 2236853 w 8079933"/>
              <a:gd name="connsiteY29226" fmla="*/ 1033659 h 4687251"/>
              <a:gd name="connsiteX29227" fmla="*/ 2231319 w 8079933"/>
              <a:gd name="connsiteY29227" fmla="*/ 1040588 h 4687251"/>
              <a:gd name="connsiteX29228" fmla="*/ 2227846 w 8079933"/>
              <a:gd name="connsiteY29228" fmla="*/ 1039181 h 4687251"/>
              <a:gd name="connsiteX29229" fmla="*/ 2224265 w 8079933"/>
              <a:gd name="connsiteY29229" fmla="*/ 1041563 h 4687251"/>
              <a:gd name="connsiteX29230" fmla="*/ 2222420 w 8079933"/>
              <a:gd name="connsiteY29230" fmla="*/ 1047302 h 4687251"/>
              <a:gd name="connsiteX29231" fmla="*/ 2218080 w 8079933"/>
              <a:gd name="connsiteY29231" fmla="*/ 1049033 h 4687251"/>
              <a:gd name="connsiteX29232" fmla="*/ 2203105 w 8079933"/>
              <a:gd name="connsiteY29232" fmla="*/ 1045677 h 4687251"/>
              <a:gd name="connsiteX29233" fmla="*/ 2199848 w 8079933"/>
              <a:gd name="connsiteY29233" fmla="*/ 1041130 h 4687251"/>
              <a:gd name="connsiteX29234" fmla="*/ 2197787 w 8079933"/>
              <a:gd name="connsiteY29234" fmla="*/ 1035933 h 4687251"/>
              <a:gd name="connsiteX29235" fmla="*/ 2190299 w 8079933"/>
              <a:gd name="connsiteY29235" fmla="*/ 1032684 h 4687251"/>
              <a:gd name="connsiteX29236" fmla="*/ 2190516 w 8079933"/>
              <a:gd name="connsiteY29236" fmla="*/ 1030411 h 4687251"/>
              <a:gd name="connsiteX29237" fmla="*/ 2192904 w 8079933"/>
              <a:gd name="connsiteY29237" fmla="*/ 1030303 h 4687251"/>
              <a:gd name="connsiteX29238" fmla="*/ 2194749 w 8079933"/>
              <a:gd name="connsiteY29238" fmla="*/ 1028678 h 4687251"/>
              <a:gd name="connsiteX29239" fmla="*/ 2192361 w 8079933"/>
              <a:gd name="connsiteY29239" fmla="*/ 1026080 h 4687251"/>
              <a:gd name="connsiteX29240" fmla="*/ 2187912 w 8079933"/>
              <a:gd name="connsiteY29240" fmla="*/ 1024890 h 4687251"/>
              <a:gd name="connsiteX29241" fmla="*/ 2182920 w 8079933"/>
              <a:gd name="connsiteY29241" fmla="*/ 1015470 h 4687251"/>
              <a:gd name="connsiteX29242" fmla="*/ 2177060 w 8079933"/>
              <a:gd name="connsiteY29242" fmla="*/ 1010814 h 4687251"/>
              <a:gd name="connsiteX29243" fmla="*/ 2167402 w 8079933"/>
              <a:gd name="connsiteY29243" fmla="*/ 1010814 h 4687251"/>
              <a:gd name="connsiteX29244" fmla="*/ 2160566 w 8079933"/>
              <a:gd name="connsiteY29244" fmla="*/ 1006700 h 4687251"/>
              <a:gd name="connsiteX29245" fmla="*/ 2149497 w 8079933"/>
              <a:gd name="connsiteY29245" fmla="*/ 1006050 h 4687251"/>
              <a:gd name="connsiteX29246" fmla="*/ 2145156 w 8079933"/>
              <a:gd name="connsiteY29246" fmla="*/ 1004643 h 4687251"/>
              <a:gd name="connsiteX29247" fmla="*/ 2145048 w 8079933"/>
              <a:gd name="connsiteY29247" fmla="*/ 1007891 h 4687251"/>
              <a:gd name="connsiteX29248" fmla="*/ 2147978 w 8079933"/>
              <a:gd name="connsiteY29248" fmla="*/ 1011139 h 4687251"/>
              <a:gd name="connsiteX29249" fmla="*/ 2149606 w 8079933"/>
              <a:gd name="connsiteY29249" fmla="*/ 1008974 h 4687251"/>
              <a:gd name="connsiteX29250" fmla="*/ 2152644 w 8079933"/>
              <a:gd name="connsiteY29250" fmla="*/ 1008433 h 4687251"/>
              <a:gd name="connsiteX29251" fmla="*/ 2163278 w 8079933"/>
              <a:gd name="connsiteY29251" fmla="*/ 1012221 h 4687251"/>
              <a:gd name="connsiteX29252" fmla="*/ 2173045 w 8079933"/>
              <a:gd name="connsiteY29252" fmla="*/ 1012005 h 4687251"/>
              <a:gd name="connsiteX29253" fmla="*/ 2176192 w 8079933"/>
              <a:gd name="connsiteY29253" fmla="*/ 1014062 h 4687251"/>
              <a:gd name="connsiteX29254" fmla="*/ 2175107 w 8079933"/>
              <a:gd name="connsiteY29254" fmla="*/ 1016878 h 4687251"/>
              <a:gd name="connsiteX29255" fmla="*/ 2173262 w 8079933"/>
              <a:gd name="connsiteY29255" fmla="*/ 1016661 h 4687251"/>
              <a:gd name="connsiteX29256" fmla="*/ 2171743 w 8079933"/>
              <a:gd name="connsiteY29256" fmla="*/ 1018610 h 4687251"/>
              <a:gd name="connsiteX29257" fmla="*/ 2173045 w 8079933"/>
              <a:gd name="connsiteY29257" fmla="*/ 1019909 h 4687251"/>
              <a:gd name="connsiteX29258" fmla="*/ 2173805 w 8079933"/>
              <a:gd name="connsiteY29258" fmla="*/ 1027813 h 4687251"/>
              <a:gd name="connsiteX29259" fmla="*/ 2175867 w 8079933"/>
              <a:gd name="connsiteY29259" fmla="*/ 1028029 h 4687251"/>
              <a:gd name="connsiteX29260" fmla="*/ 2181075 w 8079933"/>
              <a:gd name="connsiteY29260" fmla="*/ 1038098 h 4687251"/>
              <a:gd name="connsiteX29261" fmla="*/ 2184114 w 8079933"/>
              <a:gd name="connsiteY29261" fmla="*/ 1045244 h 4687251"/>
              <a:gd name="connsiteX29262" fmla="*/ 2192904 w 8079933"/>
              <a:gd name="connsiteY29262" fmla="*/ 1048167 h 4687251"/>
              <a:gd name="connsiteX29263" fmla="*/ 2202236 w 8079933"/>
              <a:gd name="connsiteY29263" fmla="*/ 1049792 h 4687251"/>
              <a:gd name="connsiteX29264" fmla="*/ 2219273 w 8079933"/>
              <a:gd name="connsiteY29264" fmla="*/ 1054664 h 4687251"/>
              <a:gd name="connsiteX29265" fmla="*/ 2219925 w 8079933"/>
              <a:gd name="connsiteY29265" fmla="*/ 1059861 h 4687251"/>
              <a:gd name="connsiteX29266" fmla="*/ 2217862 w 8079933"/>
              <a:gd name="connsiteY29266" fmla="*/ 1061593 h 4687251"/>
              <a:gd name="connsiteX29267" fmla="*/ 2212545 w 8079933"/>
              <a:gd name="connsiteY29267" fmla="*/ 1065491 h 4687251"/>
              <a:gd name="connsiteX29268" fmla="*/ 2208204 w 8079933"/>
              <a:gd name="connsiteY29268" fmla="*/ 1067765 h 4687251"/>
              <a:gd name="connsiteX29269" fmla="*/ 2201368 w 8079933"/>
              <a:gd name="connsiteY29269" fmla="*/ 1076859 h 4687251"/>
              <a:gd name="connsiteX29270" fmla="*/ 2200283 w 8079933"/>
              <a:gd name="connsiteY29270" fmla="*/ 1074910 h 4687251"/>
              <a:gd name="connsiteX29271" fmla="*/ 2198221 w 8079933"/>
              <a:gd name="connsiteY29271" fmla="*/ 1076426 h 4687251"/>
              <a:gd name="connsiteX29272" fmla="*/ 2197570 w 8079933"/>
              <a:gd name="connsiteY29272" fmla="*/ 1079349 h 4687251"/>
              <a:gd name="connsiteX29273" fmla="*/ 2182378 w 8079933"/>
              <a:gd name="connsiteY29273" fmla="*/ 1095049 h 4687251"/>
              <a:gd name="connsiteX29274" fmla="*/ 2176192 w 8079933"/>
              <a:gd name="connsiteY29274" fmla="*/ 1097972 h 4687251"/>
              <a:gd name="connsiteX29275" fmla="*/ 2172069 w 8079933"/>
              <a:gd name="connsiteY29275" fmla="*/ 1105226 h 4687251"/>
              <a:gd name="connsiteX29276" fmla="*/ 2167945 w 8079933"/>
              <a:gd name="connsiteY29276" fmla="*/ 1106093 h 4687251"/>
              <a:gd name="connsiteX29277" fmla="*/ 2165666 w 8079933"/>
              <a:gd name="connsiteY29277" fmla="*/ 1104360 h 4687251"/>
              <a:gd name="connsiteX29278" fmla="*/ 2162953 w 8079933"/>
              <a:gd name="connsiteY29278" fmla="*/ 1104360 h 4687251"/>
              <a:gd name="connsiteX29279" fmla="*/ 2161868 w 8079933"/>
              <a:gd name="connsiteY29279" fmla="*/ 1106958 h 4687251"/>
              <a:gd name="connsiteX29280" fmla="*/ 2156008 w 8079933"/>
              <a:gd name="connsiteY29280" fmla="*/ 1100029 h 4687251"/>
              <a:gd name="connsiteX29281" fmla="*/ 2152427 w 8079933"/>
              <a:gd name="connsiteY29281" fmla="*/ 1098513 h 4687251"/>
              <a:gd name="connsiteX29282" fmla="*/ 2149606 w 8079933"/>
              <a:gd name="connsiteY29282" fmla="*/ 1101978 h 4687251"/>
              <a:gd name="connsiteX29283" fmla="*/ 2148521 w 8079933"/>
              <a:gd name="connsiteY29283" fmla="*/ 1098622 h 4687251"/>
              <a:gd name="connsiteX29284" fmla="*/ 2146567 w 8079933"/>
              <a:gd name="connsiteY29284" fmla="*/ 1097755 h 4687251"/>
              <a:gd name="connsiteX29285" fmla="*/ 2150039 w 8079933"/>
              <a:gd name="connsiteY29285" fmla="*/ 1093208 h 4687251"/>
              <a:gd name="connsiteX29286" fmla="*/ 2148521 w 8079933"/>
              <a:gd name="connsiteY29286" fmla="*/ 1092017 h 4687251"/>
              <a:gd name="connsiteX29287" fmla="*/ 2147435 w 8079933"/>
              <a:gd name="connsiteY29287" fmla="*/ 1089527 h 4687251"/>
              <a:gd name="connsiteX29288" fmla="*/ 2142769 w 8079933"/>
              <a:gd name="connsiteY29288" fmla="*/ 1092126 h 4687251"/>
              <a:gd name="connsiteX29289" fmla="*/ 2139188 w 8079933"/>
              <a:gd name="connsiteY29289" fmla="*/ 1101545 h 4687251"/>
              <a:gd name="connsiteX29290" fmla="*/ 2138862 w 8079933"/>
              <a:gd name="connsiteY29290" fmla="*/ 1097322 h 4687251"/>
              <a:gd name="connsiteX29291" fmla="*/ 2136258 w 8079933"/>
              <a:gd name="connsiteY29291" fmla="*/ 1089744 h 4687251"/>
              <a:gd name="connsiteX29292" fmla="*/ 2134196 w 8079933"/>
              <a:gd name="connsiteY29292" fmla="*/ 1096456 h 4687251"/>
              <a:gd name="connsiteX29293" fmla="*/ 2136584 w 8079933"/>
              <a:gd name="connsiteY29293" fmla="*/ 1099379 h 4687251"/>
              <a:gd name="connsiteX29294" fmla="*/ 2136041 w 8079933"/>
              <a:gd name="connsiteY29294" fmla="*/ 1108258 h 4687251"/>
              <a:gd name="connsiteX29295" fmla="*/ 2130398 w 8079933"/>
              <a:gd name="connsiteY29295" fmla="*/ 1116161 h 4687251"/>
              <a:gd name="connsiteX29296" fmla="*/ 2127251 w 8079933"/>
              <a:gd name="connsiteY29296" fmla="*/ 1115403 h 4687251"/>
              <a:gd name="connsiteX29297" fmla="*/ 2126275 w 8079933"/>
              <a:gd name="connsiteY29297" fmla="*/ 1112372 h 4687251"/>
              <a:gd name="connsiteX29298" fmla="*/ 2122802 w 8079933"/>
              <a:gd name="connsiteY29298" fmla="*/ 1106742 h 4687251"/>
              <a:gd name="connsiteX29299" fmla="*/ 2121608 w 8079933"/>
              <a:gd name="connsiteY29299" fmla="*/ 1111073 h 4687251"/>
              <a:gd name="connsiteX29300" fmla="*/ 2124864 w 8079933"/>
              <a:gd name="connsiteY29300" fmla="*/ 1113671 h 4687251"/>
              <a:gd name="connsiteX29301" fmla="*/ 2120089 w 8079933"/>
              <a:gd name="connsiteY29301" fmla="*/ 1116161 h 4687251"/>
              <a:gd name="connsiteX29302" fmla="*/ 2119547 w 8079933"/>
              <a:gd name="connsiteY29302" fmla="*/ 1121358 h 4687251"/>
              <a:gd name="connsiteX29303" fmla="*/ 2117810 w 8079933"/>
              <a:gd name="connsiteY29303" fmla="*/ 1119626 h 4687251"/>
              <a:gd name="connsiteX29304" fmla="*/ 2112601 w 8079933"/>
              <a:gd name="connsiteY29304" fmla="*/ 1117894 h 4687251"/>
              <a:gd name="connsiteX29305" fmla="*/ 2111951 w 8079933"/>
              <a:gd name="connsiteY29305" fmla="*/ 1114429 h 4687251"/>
              <a:gd name="connsiteX29306" fmla="*/ 2107935 w 8079933"/>
              <a:gd name="connsiteY29306" fmla="*/ 1111939 h 4687251"/>
              <a:gd name="connsiteX29307" fmla="*/ 2103269 w 8079933"/>
              <a:gd name="connsiteY29307" fmla="*/ 1105659 h 4687251"/>
              <a:gd name="connsiteX29308" fmla="*/ 2093828 w 8079933"/>
              <a:gd name="connsiteY29308" fmla="*/ 1102303 h 4687251"/>
              <a:gd name="connsiteX29309" fmla="*/ 2084930 w 8079933"/>
              <a:gd name="connsiteY29309" fmla="*/ 1097106 h 4687251"/>
              <a:gd name="connsiteX29310" fmla="*/ 2082000 w 8079933"/>
              <a:gd name="connsiteY29310" fmla="*/ 1090068 h 4687251"/>
              <a:gd name="connsiteX29311" fmla="*/ 2078202 w 8079933"/>
              <a:gd name="connsiteY29311" fmla="*/ 1088661 h 4687251"/>
              <a:gd name="connsiteX29312" fmla="*/ 2071582 w 8079933"/>
              <a:gd name="connsiteY29312" fmla="*/ 1083680 h 4687251"/>
              <a:gd name="connsiteX29313" fmla="*/ 2069411 w 8079933"/>
              <a:gd name="connsiteY29313" fmla="*/ 1079891 h 4687251"/>
              <a:gd name="connsiteX29314" fmla="*/ 2069086 w 8079933"/>
              <a:gd name="connsiteY29314" fmla="*/ 1086928 h 4687251"/>
              <a:gd name="connsiteX29315" fmla="*/ 2064854 w 8079933"/>
              <a:gd name="connsiteY29315" fmla="*/ 1085954 h 4687251"/>
              <a:gd name="connsiteX29316" fmla="*/ 2067458 w 8079933"/>
              <a:gd name="connsiteY29316" fmla="*/ 1092775 h 4687251"/>
              <a:gd name="connsiteX29317" fmla="*/ 2071582 w 8079933"/>
              <a:gd name="connsiteY29317" fmla="*/ 1096456 h 4687251"/>
              <a:gd name="connsiteX29318" fmla="*/ 2073210 w 8079933"/>
              <a:gd name="connsiteY29318" fmla="*/ 1094507 h 4687251"/>
              <a:gd name="connsiteX29319" fmla="*/ 2071256 w 8079933"/>
              <a:gd name="connsiteY29319" fmla="*/ 1091043 h 4687251"/>
              <a:gd name="connsiteX29320" fmla="*/ 2072124 w 8079933"/>
              <a:gd name="connsiteY29320" fmla="*/ 1088985 h 4687251"/>
              <a:gd name="connsiteX29321" fmla="*/ 2074078 w 8079933"/>
              <a:gd name="connsiteY29321" fmla="*/ 1089202 h 4687251"/>
              <a:gd name="connsiteX29322" fmla="*/ 2083627 w 8079933"/>
              <a:gd name="connsiteY29322" fmla="*/ 1099163 h 4687251"/>
              <a:gd name="connsiteX29323" fmla="*/ 2092309 w 8079933"/>
              <a:gd name="connsiteY29323" fmla="*/ 1104468 h 4687251"/>
              <a:gd name="connsiteX29324" fmla="*/ 2093177 w 8079933"/>
              <a:gd name="connsiteY29324" fmla="*/ 1106526 h 4687251"/>
              <a:gd name="connsiteX29325" fmla="*/ 2087426 w 8079933"/>
              <a:gd name="connsiteY29325" fmla="*/ 1110315 h 4687251"/>
              <a:gd name="connsiteX29326" fmla="*/ 2081783 w 8079933"/>
              <a:gd name="connsiteY29326" fmla="*/ 1111181 h 4687251"/>
              <a:gd name="connsiteX29327" fmla="*/ 2078635 w 8079933"/>
              <a:gd name="connsiteY29327" fmla="*/ 1110315 h 4687251"/>
              <a:gd name="connsiteX29328" fmla="*/ 2079720 w 8079933"/>
              <a:gd name="connsiteY29328" fmla="*/ 1113238 h 4687251"/>
              <a:gd name="connsiteX29329" fmla="*/ 2079720 w 8079933"/>
              <a:gd name="connsiteY29329" fmla="*/ 1114862 h 4687251"/>
              <a:gd name="connsiteX29330" fmla="*/ 2082108 w 8079933"/>
              <a:gd name="connsiteY29330" fmla="*/ 1113671 h 4687251"/>
              <a:gd name="connsiteX29331" fmla="*/ 2091441 w 8079933"/>
              <a:gd name="connsiteY29331" fmla="*/ 1112913 h 4687251"/>
              <a:gd name="connsiteX29332" fmla="*/ 2096432 w 8079933"/>
              <a:gd name="connsiteY29332" fmla="*/ 1107933 h 4687251"/>
              <a:gd name="connsiteX29333" fmla="*/ 2098711 w 8079933"/>
              <a:gd name="connsiteY29333" fmla="*/ 1107391 h 4687251"/>
              <a:gd name="connsiteX29334" fmla="*/ 2101641 w 8079933"/>
              <a:gd name="connsiteY29334" fmla="*/ 1110856 h 4687251"/>
              <a:gd name="connsiteX29335" fmla="*/ 2102618 w 8079933"/>
              <a:gd name="connsiteY29335" fmla="*/ 1116919 h 4687251"/>
              <a:gd name="connsiteX29336" fmla="*/ 2111624 w 8079933"/>
              <a:gd name="connsiteY29336" fmla="*/ 1127422 h 4687251"/>
              <a:gd name="connsiteX29337" fmla="*/ 2110756 w 8079933"/>
              <a:gd name="connsiteY29337" fmla="*/ 1138248 h 4687251"/>
              <a:gd name="connsiteX29338" fmla="*/ 2104571 w 8079933"/>
              <a:gd name="connsiteY29338" fmla="*/ 1144745 h 4687251"/>
              <a:gd name="connsiteX29339" fmla="*/ 2100556 w 8079933"/>
              <a:gd name="connsiteY29339" fmla="*/ 1145070 h 4687251"/>
              <a:gd name="connsiteX29340" fmla="*/ 2097843 w 8079933"/>
              <a:gd name="connsiteY29340" fmla="*/ 1147343 h 4687251"/>
              <a:gd name="connsiteX29341" fmla="*/ 2092309 w 8079933"/>
              <a:gd name="connsiteY29341" fmla="*/ 1147019 h 4687251"/>
              <a:gd name="connsiteX29342" fmla="*/ 2088294 w 8079933"/>
              <a:gd name="connsiteY29342" fmla="*/ 1144203 h 4687251"/>
              <a:gd name="connsiteX29343" fmla="*/ 2077659 w 8079933"/>
              <a:gd name="connsiteY29343" fmla="*/ 1142146 h 4687251"/>
              <a:gd name="connsiteX29344" fmla="*/ 2071474 w 8079933"/>
              <a:gd name="connsiteY29344" fmla="*/ 1134134 h 4687251"/>
              <a:gd name="connsiteX29345" fmla="*/ 2069194 w 8079933"/>
              <a:gd name="connsiteY29345" fmla="*/ 1126339 h 4687251"/>
              <a:gd name="connsiteX29346" fmla="*/ 2065722 w 8079933"/>
              <a:gd name="connsiteY29346" fmla="*/ 1123091 h 4687251"/>
              <a:gd name="connsiteX29347" fmla="*/ 2064528 w 8079933"/>
              <a:gd name="connsiteY29347" fmla="*/ 1124931 h 4687251"/>
              <a:gd name="connsiteX29348" fmla="*/ 2065288 w 8079933"/>
              <a:gd name="connsiteY29348" fmla="*/ 1128071 h 4687251"/>
              <a:gd name="connsiteX29349" fmla="*/ 2065071 w 8079933"/>
              <a:gd name="connsiteY29349" fmla="*/ 1132727 h 4687251"/>
              <a:gd name="connsiteX29350" fmla="*/ 2069194 w 8079933"/>
              <a:gd name="connsiteY29350" fmla="*/ 1137815 h 4687251"/>
              <a:gd name="connsiteX29351" fmla="*/ 2072667 w 8079933"/>
              <a:gd name="connsiteY29351" fmla="*/ 1147668 h 4687251"/>
              <a:gd name="connsiteX29352" fmla="*/ 2077442 w 8079933"/>
              <a:gd name="connsiteY29352" fmla="*/ 1155897 h 4687251"/>
              <a:gd name="connsiteX29353" fmla="*/ 2074729 w 8079933"/>
              <a:gd name="connsiteY29353" fmla="*/ 1158279 h 4687251"/>
              <a:gd name="connsiteX29354" fmla="*/ 2072016 w 8079933"/>
              <a:gd name="connsiteY29354" fmla="*/ 1156980 h 4687251"/>
              <a:gd name="connsiteX29355" fmla="*/ 2067458 w 8079933"/>
              <a:gd name="connsiteY29355" fmla="*/ 1157629 h 4687251"/>
              <a:gd name="connsiteX29356" fmla="*/ 2065940 w 8079933"/>
              <a:gd name="connsiteY29356" fmla="*/ 1151458 h 4687251"/>
              <a:gd name="connsiteX29357" fmla="*/ 2065071 w 8079933"/>
              <a:gd name="connsiteY29357" fmla="*/ 1154489 h 4687251"/>
              <a:gd name="connsiteX29358" fmla="*/ 2063227 w 8079933"/>
              <a:gd name="connsiteY29358" fmla="*/ 1155897 h 4687251"/>
              <a:gd name="connsiteX29359" fmla="*/ 2064745 w 8079933"/>
              <a:gd name="connsiteY29359" fmla="*/ 1158820 h 4687251"/>
              <a:gd name="connsiteX29360" fmla="*/ 2068652 w 8079933"/>
              <a:gd name="connsiteY29360" fmla="*/ 1160552 h 4687251"/>
              <a:gd name="connsiteX29361" fmla="*/ 2070063 w 8079933"/>
              <a:gd name="connsiteY29361" fmla="*/ 1163476 h 4687251"/>
              <a:gd name="connsiteX29362" fmla="*/ 2061598 w 8079933"/>
              <a:gd name="connsiteY29362" fmla="*/ 1161419 h 4687251"/>
              <a:gd name="connsiteX29363" fmla="*/ 2059537 w 8079933"/>
              <a:gd name="connsiteY29363" fmla="*/ 1159686 h 4687251"/>
              <a:gd name="connsiteX29364" fmla="*/ 2059211 w 8079933"/>
              <a:gd name="connsiteY29364" fmla="*/ 1163801 h 4687251"/>
              <a:gd name="connsiteX29365" fmla="*/ 2061924 w 8079933"/>
              <a:gd name="connsiteY29365" fmla="*/ 1166182 h 4687251"/>
              <a:gd name="connsiteX29366" fmla="*/ 2061924 w 8079933"/>
              <a:gd name="connsiteY29366" fmla="*/ 1169864 h 4687251"/>
              <a:gd name="connsiteX29367" fmla="*/ 2058343 w 8079933"/>
              <a:gd name="connsiteY29367" fmla="*/ 1174411 h 4687251"/>
              <a:gd name="connsiteX29368" fmla="*/ 2057475 w 8079933"/>
              <a:gd name="connsiteY29368" fmla="*/ 1168997 h 4687251"/>
              <a:gd name="connsiteX29369" fmla="*/ 2054545 w 8079933"/>
              <a:gd name="connsiteY29369" fmla="*/ 1168456 h 4687251"/>
              <a:gd name="connsiteX29370" fmla="*/ 2056064 w 8079933"/>
              <a:gd name="connsiteY29370" fmla="*/ 1170513 h 4687251"/>
              <a:gd name="connsiteX29371" fmla="*/ 2055304 w 8079933"/>
              <a:gd name="connsiteY29371" fmla="*/ 1174086 h 4687251"/>
              <a:gd name="connsiteX29372" fmla="*/ 2053677 w 8079933"/>
              <a:gd name="connsiteY29372" fmla="*/ 1172895 h 4687251"/>
              <a:gd name="connsiteX29373" fmla="*/ 2047817 w 8079933"/>
              <a:gd name="connsiteY29373" fmla="*/ 1172570 h 4687251"/>
              <a:gd name="connsiteX29374" fmla="*/ 2045646 w 8079933"/>
              <a:gd name="connsiteY29374" fmla="*/ 1175494 h 4687251"/>
              <a:gd name="connsiteX29375" fmla="*/ 2038484 w 8079933"/>
              <a:gd name="connsiteY29375" fmla="*/ 1178309 h 4687251"/>
              <a:gd name="connsiteX29376" fmla="*/ 2042391 w 8079933"/>
              <a:gd name="connsiteY29376" fmla="*/ 1180691 h 4687251"/>
              <a:gd name="connsiteX29377" fmla="*/ 2043150 w 8079933"/>
              <a:gd name="connsiteY29377" fmla="*/ 1184047 h 4687251"/>
              <a:gd name="connsiteX29378" fmla="*/ 2041089 w 8079933"/>
              <a:gd name="connsiteY29378" fmla="*/ 1184913 h 4687251"/>
              <a:gd name="connsiteX29379" fmla="*/ 2040220 w 8079933"/>
              <a:gd name="connsiteY29379" fmla="*/ 1182856 h 4687251"/>
              <a:gd name="connsiteX29380" fmla="*/ 2034904 w 8079933"/>
              <a:gd name="connsiteY29380" fmla="*/ 1178958 h 4687251"/>
              <a:gd name="connsiteX29381" fmla="*/ 2031105 w 8079933"/>
              <a:gd name="connsiteY29381" fmla="*/ 1178309 h 4687251"/>
              <a:gd name="connsiteX29382" fmla="*/ 2030780 w 8079933"/>
              <a:gd name="connsiteY29382" fmla="*/ 1181123 h 4687251"/>
              <a:gd name="connsiteX29383" fmla="*/ 2028393 w 8079933"/>
              <a:gd name="connsiteY29383" fmla="*/ 1182531 h 4687251"/>
              <a:gd name="connsiteX29384" fmla="*/ 2034253 w 8079933"/>
              <a:gd name="connsiteY29384" fmla="*/ 1186862 h 4687251"/>
              <a:gd name="connsiteX29385" fmla="*/ 2032191 w 8079933"/>
              <a:gd name="connsiteY29385" fmla="*/ 1189461 h 4687251"/>
              <a:gd name="connsiteX29386" fmla="*/ 2032191 w 8079933"/>
              <a:gd name="connsiteY29386" fmla="*/ 1192059 h 4687251"/>
              <a:gd name="connsiteX29387" fmla="*/ 2027524 w 8079933"/>
              <a:gd name="connsiteY29387" fmla="*/ 1191843 h 4687251"/>
              <a:gd name="connsiteX29388" fmla="*/ 2023727 w 8079933"/>
              <a:gd name="connsiteY29388" fmla="*/ 1198014 h 4687251"/>
              <a:gd name="connsiteX29389" fmla="*/ 2017866 w 8079933"/>
              <a:gd name="connsiteY29389" fmla="*/ 1201154 h 4687251"/>
              <a:gd name="connsiteX29390" fmla="*/ 2020254 w 8079933"/>
              <a:gd name="connsiteY29390" fmla="*/ 1204186 h 4687251"/>
              <a:gd name="connsiteX29391" fmla="*/ 2019060 w 8079933"/>
              <a:gd name="connsiteY29391" fmla="*/ 1207000 h 4687251"/>
              <a:gd name="connsiteX29392" fmla="*/ 2016021 w 8079933"/>
              <a:gd name="connsiteY29392" fmla="*/ 1207000 h 4687251"/>
              <a:gd name="connsiteX29393" fmla="*/ 2013200 w 8079933"/>
              <a:gd name="connsiteY29393" fmla="*/ 1210573 h 4687251"/>
              <a:gd name="connsiteX29394" fmla="*/ 2014068 w 8079933"/>
              <a:gd name="connsiteY29394" fmla="*/ 1214471 h 4687251"/>
              <a:gd name="connsiteX29395" fmla="*/ 2009945 w 8079933"/>
              <a:gd name="connsiteY29395" fmla="*/ 1216204 h 4687251"/>
              <a:gd name="connsiteX29396" fmla="*/ 2002891 w 8079933"/>
              <a:gd name="connsiteY29396" fmla="*/ 1224107 h 4687251"/>
              <a:gd name="connsiteX29397" fmla="*/ 1997791 w 8079933"/>
              <a:gd name="connsiteY29397" fmla="*/ 1225515 h 4687251"/>
              <a:gd name="connsiteX29398" fmla="*/ 1997466 w 8079933"/>
              <a:gd name="connsiteY29398" fmla="*/ 1229629 h 4687251"/>
              <a:gd name="connsiteX29399" fmla="*/ 1992582 w 8079933"/>
              <a:gd name="connsiteY29399" fmla="*/ 1234068 h 4687251"/>
              <a:gd name="connsiteX29400" fmla="*/ 1987373 w 8079933"/>
              <a:gd name="connsiteY29400" fmla="*/ 1230604 h 4687251"/>
              <a:gd name="connsiteX29401" fmla="*/ 1987048 w 8079933"/>
              <a:gd name="connsiteY29401" fmla="*/ 1233418 h 4687251"/>
              <a:gd name="connsiteX29402" fmla="*/ 1989435 w 8079933"/>
              <a:gd name="connsiteY29402" fmla="*/ 1238832 h 4687251"/>
              <a:gd name="connsiteX29403" fmla="*/ 1984985 w 8079933"/>
              <a:gd name="connsiteY29403" fmla="*/ 1243379 h 4687251"/>
              <a:gd name="connsiteX29404" fmla="*/ 1983250 w 8079933"/>
              <a:gd name="connsiteY29404" fmla="*/ 1251933 h 4687251"/>
              <a:gd name="connsiteX29405" fmla="*/ 1980537 w 8079933"/>
              <a:gd name="connsiteY29405" fmla="*/ 1256480 h 4687251"/>
              <a:gd name="connsiteX29406" fmla="*/ 1978475 w 8079933"/>
              <a:gd name="connsiteY29406" fmla="*/ 1262652 h 4687251"/>
              <a:gd name="connsiteX29407" fmla="*/ 1974676 w 8079933"/>
              <a:gd name="connsiteY29407" fmla="*/ 1264708 h 4687251"/>
              <a:gd name="connsiteX29408" fmla="*/ 1971204 w 8079933"/>
              <a:gd name="connsiteY29408" fmla="*/ 1274345 h 4687251"/>
              <a:gd name="connsiteX29409" fmla="*/ 1973049 w 8079933"/>
              <a:gd name="connsiteY29409" fmla="*/ 1276402 h 4687251"/>
              <a:gd name="connsiteX29410" fmla="*/ 1973049 w 8079933"/>
              <a:gd name="connsiteY29410" fmla="*/ 1283331 h 4687251"/>
              <a:gd name="connsiteX29411" fmla="*/ 1968816 w 8079933"/>
              <a:gd name="connsiteY29411" fmla="*/ 1290693 h 4687251"/>
              <a:gd name="connsiteX29412" fmla="*/ 1967189 w 8079933"/>
              <a:gd name="connsiteY29412" fmla="*/ 1294808 h 4687251"/>
              <a:gd name="connsiteX29413" fmla="*/ 1962849 w 8079933"/>
              <a:gd name="connsiteY29413" fmla="*/ 1296215 h 4687251"/>
              <a:gd name="connsiteX29414" fmla="*/ 1960787 w 8079933"/>
              <a:gd name="connsiteY29414" fmla="*/ 1298381 h 4687251"/>
              <a:gd name="connsiteX29415" fmla="*/ 1965887 w 8079933"/>
              <a:gd name="connsiteY29415" fmla="*/ 1299464 h 4687251"/>
              <a:gd name="connsiteX29416" fmla="*/ 1967080 w 8079933"/>
              <a:gd name="connsiteY29416" fmla="*/ 1303036 h 4687251"/>
              <a:gd name="connsiteX29417" fmla="*/ 1965670 w 8079933"/>
              <a:gd name="connsiteY29417" fmla="*/ 1307367 h 4687251"/>
              <a:gd name="connsiteX29418" fmla="*/ 1968057 w 8079933"/>
              <a:gd name="connsiteY29418" fmla="*/ 1310291 h 4687251"/>
              <a:gd name="connsiteX29419" fmla="*/ 1967840 w 8079933"/>
              <a:gd name="connsiteY29419" fmla="*/ 1316462 h 4687251"/>
              <a:gd name="connsiteX29420" fmla="*/ 1969793 w 8079933"/>
              <a:gd name="connsiteY29420" fmla="*/ 1317545 h 4687251"/>
              <a:gd name="connsiteX29421" fmla="*/ 1965344 w 8079933"/>
              <a:gd name="connsiteY29421" fmla="*/ 1328697 h 4687251"/>
              <a:gd name="connsiteX29422" fmla="*/ 1959050 w 8079933"/>
              <a:gd name="connsiteY29422" fmla="*/ 1334652 h 4687251"/>
              <a:gd name="connsiteX29423" fmla="*/ 1946137 w 8079933"/>
              <a:gd name="connsiteY29423" fmla="*/ 1337575 h 4687251"/>
              <a:gd name="connsiteX29424" fmla="*/ 1944292 w 8079933"/>
              <a:gd name="connsiteY29424" fmla="*/ 1342447 h 4687251"/>
              <a:gd name="connsiteX29425" fmla="*/ 1950694 w 8079933"/>
              <a:gd name="connsiteY29425" fmla="*/ 1337142 h 4687251"/>
              <a:gd name="connsiteX29426" fmla="*/ 1961655 w 8079933"/>
              <a:gd name="connsiteY29426" fmla="*/ 1335734 h 4687251"/>
              <a:gd name="connsiteX29427" fmla="*/ 1970010 w 8079933"/>
              <a:gd name="connsiteY29427" fmla="*/ 1325556 h 4687251"/>
              <a:gd name="connsiteX29428" fmla="*/ 1975979 w 8079933"/>
              <a:gd name="connsiteY29428" fmla="*/ 1313755 h 4687251"/>
              <a:gd name="connsiteX29429" fmla="*/ 1989760 w 8079933"/>
              <a:gd name="connsiteY29429" fmla="*/ 1313214 h 4687251"/>
              <a:gd name="connsiteX29430" fmla="*/ 1993884 w 8079933"/>
              <a:gd name="connsiteY29430" fmla="*/ 1315054 h 4687251"/>
              <a:gd name="connsiteX29431" fmla="*/ 1993884 w 8079933"/>
              <a:gd name="connsiteY29431" fmla="*/ 1319601 h 4687251"/>
              <a:gd name="connsiteX29432" fmla="*/ 1992039 w 8079933"/>
              <a:gd name="connsiteY29432" fmla="*/ 1324691 h 4687251"/>
              <a:gd name="connsiteX29433" fmla="*/ 1992039 w 8079933"/>
              <a:gd name="connsiteY29433" fmla="*/ 1330429 h 4687251"/>
              <a:gd name="connsiteX29434" fmla="*/ 1994753 w 8079933"/>
              <a:gd name="connsiteY29434" fmla="*/ 1336709 h 4687251"/>
              <a:gd name="connsiteX29435" fmla="*/ 1994753 w 8079933"/>
              <a:gd name="connsiteY29435" fmla="*/ 1346345 h 4687251"/>
              <a:gd name="connsiteX29436" fmla="*/ 1991171 w 8079933"/>
              <a:gd name="connsiteY29436" fmla="*/ 1355656 h 4687251"/>
              <a:gd name="connsiteX29437" fmla="*/ 1994101 w 8079933"/>
              <a:gd name="connsiteY29437" fmla="*/ 1359770 h 4687251"/>
              <a:gd name="connsiteX29438" fmla="*/ 1995837 w 8079933"/>
              <a:gd name="connsiteY29438" fmla="*/ 1369082 h 4687251"/>
              <a:gd name="connsiteX29439" fmla="*/ 1993884 w 8079933"/>
              <a:gd name="connsiteY29439" fmla="*/ 1373845 h 4687251"/>
              <a:gd name="connsiteX29440" fmla="*/ 1979234 w 8079933"/>
              <a:gd name="connsiteY29440" fmla="*/ 1387812 h 4687251"/>
              <a:gd name="connsiteX29441" fmla="*/ 1972181 w 8079933"/>
              <a:gd name="connsiteY29441" fmla="*/ 1390194 h 4687251"/>
              <a:gd name="connsiteX29442" fmla="*/ 1967080 w 8079933"/>
              <a:gd name="connsiteY29442" fmla="*/ 1389328 h 4687251"/>
              <a:gd name="connsiteX29443" fmla="*/ 1972398 w 8079933"/>
              <a:gd name="connsiteY29443" fmla="*/ 1391602 h 4687251"/>
              <a:gd name="connsiteX29444" fmla="*/ 1979451 w 8079933"/>
              <a:gd name="connsiteY29444" fmla="*/ 1391710 h 4687251"/>
              <a:gd name="connsiteX29445" fmla="*/ 1996489 w 8079933"/>
              <a:gd name="connsiteY29445" fmla="*/ 1386296 h 4687251"/>
              <a:gd name="connsiteX29446" fmla="*/ 2013743 w 8079933"/>
              <a:gd name="connsiteY29446" fmla="*/ 1380558 h 4687251"/>
              <a:gd name="connsiteX29447" fmla="*/ 2022207 w 8079933"/>
              <a:gd name="connsiteY29447" fmla="*/ 1379692 h 4687251"/>
              <a:gd name="connsiteX29448" fmla="*/ 2033059 w 8079933"/>
              <a:gd name="connsiteY29448" fmla="*/ 1386730 h 4687251"/>
              <a:gd name="connsiteX29449" fmla="*/ 2040112 w 8079933"/>
              <a:gd name="connsiteY29449" fmla="*/ 1393118 h 4687251"/>
              <a:gd name="connsiteX29450" fmla="*/ 2050421 w 8079933"/>
              <a:gd name="connsiteY29450" fmla="*/ 1396257 h 4687251"/>
              <a:gd name="connsiteX29451" fmla="*/ 2053243 w 8079933"/>
              <a:gd name="connsiteY29451" fmla="*/ 1398639 h 4687251"/>
              <a:gd name="connsiteX29452" fmla="*/ 2057801 w 8079933"/>
              <a:gd name="connsiteY29452" fmla="*/ 1399830 h 4687251"/>
              <a:gd name="connsiteX29453" fmla="*/ 2065397 w 8079933"/>
              <a:gd name="connsiteY29453" fmla="*/ 1407518 h 4687251"/>
              <a:gd name="connsiteX29454" fmla="*/ 2069086 w 8079933"/>
              <a:gd name="connsiteY29454" fmla="*/ 1409141 h 4687251"/>
              <a:gd name="connsiteX29455" fmla="*/ 2072884 w 8079933"/>
              <a:gd name="connsiteY29455" fmla="*/ 1416179 h 4687251"/>
              <a:gd name="connsiteX29456" fmla="*/ 2077008 w 8079933"/>
              <a:gd name="connsiteY29456" fmla="*/ 1418778 h 4687251"/>
              <a:gd name="connsiteX29457" fmla="*/ 2077008 w 8079933"/>
              <a:gd name="connsiteY29457" fmla="*/ 1422892 h 4687251"/>
              <a:gd name="connsiteX29458" fmla="*/ 2080047 w 8079933"/>
              <a:gd name="connsiteY29458" fmla="*/ 1426357 h 4687251"/>
              <a:gd name="connsiteX29459" fmla="*/ 2083302 w 8079933"/>
              <a:gd name="connsiteY29459" fmla="*/ 1434369 h 4687251"/>
              <a:gd name="connsiteX29460" fmla="*/ 2083193 w 8079933"/>
              <a:gd name="connsiteY29460" fmla="*/ 1436642 h 4687251"/>
              <a:gd name="connsiteX29461" fmla="*/ 2086449 w 8079933"/>
              <a:gd name="connsiteY29461" fmla="*/ 1435235 h 4687251"/>
              <a:gd name="connsiteX29462" fmla="*/ 2088728 w 8079933"/>
              <a:gd name="connsiteY29462" fmla="*/ 1437834 h 4687251"/>
              <a:gd name="connsiteX29463" fmla="*/ 2098494 w 8079933"/>
              <a:gd name="connsiteY29463" fmla="*/ 1444330 h 4687251"/>
              <a:gd name="connsiteX29464" fmla="*/ 2101967 w 8079933"/>
              <a:gd name="connsiteY29464" fmla="*/ 1445196 h 4687251"/>
              <a:gd name="connsiteX29465" fmla="*/ 2109020 w 8079933"/>
              <a:gd name="connsiteY29465" fmla="*/ 1450176 h 4687251"/>
              <a:gd name="connsiteX29466" fmla="*/ 2112601 w 8079933"/>
              <a:gd name="connsiteY29466" fmla="*/ 1451367 h 4687251"/>
              <a:gd name="connsiteX29467" fmla="*/ 2120740 w 8079933"/>
              <a:gd name="connsiteY29467" fmla="*/ 1458621 h 4687251"/>
              <a:gd name="connsiteX29468" fmla="*/ 2121608 w 8079933"/>
              <a:gd name="connsiteY29468" fmla="*/ 1462086 h 4687251"/>
              <a:gd name="connsiteX29469" fmla="*/ 2127576 w 8079933"/>
              <a:gd name="connsiteY29469" fmla="*/ 1467932 h 4687251"/>
              <a:gd name="connsiteX29470" fmla="*/ 2126708 w 8079933"/>
              <a:gd name="connsiteY29470" fmla="*/ 1470098 h 4687251"/>
              <a:gd name="connsiteX29471" fmla="*/ 2128336 w 8079933"/>
              <a:gd name="connsiteY29471" fmla="*/ 1471722 h 4687251"/>
              <a:gd name="connsiteX29472" fmla="*/ 2135824 w 8079933"/>
              <a:gd name="connsiteY29472" fmla="*/ 1471830 h 4687251"/>
              <a:gd name="connsiteX29473" fmla="*/ 2138103 w 8079933"/>
              <a:gd name="connsiteY29473" fmla="*/ 1472697 h 4687251"/>
              <a:gd name="connsiteX29474" fmla="*/ 2143528 w 8079933"/>
              <a:gd name="connsiteY29474" fmla="*/ 1471505 h 4687251"/>
              <a:gd name="connsiteX29475" fmla="*/ 2153621 w 8079933"/>
              <a:gd name="connsiteY29475" fmla="*/ 1471830 h 4687251"/>
              <a:gd name="connsiteX29476" fmla="*/ 2156008 w 8079933"/>
              <a:gd name="connsiteY29476" fmla="*/ 1474104 h 4687251"/>
              <a:gd name="connsiteX29477" fmla="*/ 2157962 w 8079933"/>
              <a:gd name="connsiteY29477" fmla="*/ 1474104 h 4687251"/>
              <a:gd name="connsiteX29478" fmla="*/ 2165341 w 8079933"/>
              <a:gd name="connsiteY29478" fmla="*/ 1476378 h 4687251"/>
              <a:gd name="connsiteX29479" fmla="*/ 2173479 w 8079933"/>
              <a:gd name="connsiteY29479" fmla="*/ 1477893 h 4687251"/>
              <a:gd name="connsiteX29480" fmla="*/ 2179339 w 8079933"/>
              <a:gd name="connsiteY29480" fmla="*/ 1475944 h 4687251"/>
              <a:gd name="connsiteX29481" fmla="*/ 2182703 w 8079933"/>
              <a:gd name="connsiteY29481" fmla="*/ 1475944 h 4687251"/>
              <a:gd name="connsiteX29482" fmla="*/ 2182595 w 8079933"/>
              <a:gd name="connsiteY29482" fmla="*/ 1477677 h 4687251"/>
              <a:gd name="connsiteX29483" fmla="*/ 2184114 w 8079933"/>
              <a:gd name="connsiteY29483" fmla="*/ 1476811 h 4687251"/>
              <a:gd name="connsiteX29484" fmla="*/ 2186501 w 8079933"/>
              <a:gd name="connsiteY29484" fmla="*/ 1476811 h 4687251"/>
              <a:gd name="connsiteX29485" fmla="*/ 2187369 w 8079933"/>
              <a:gd name="connsiteY29485" fmla="*/ 1483956 h 4687251"/>
              <a:gd name="connsiteX29486" fmla="*/ 2181184 w 8079933"/>
              <a:gd name="connsiteY29486" fmla="*/ 1495542 h 4687251"/>
              <a:gd name="connsiteX29487" fmla="*/ 2180858 w 8079933"/>
              <a:gd name="connsiteY29487" fmla="*/ 1499656 h 4687251"/>
              <a:gd name="connsiteX29488" fmla="*/ 2177603 w 8079933"/>
              <a:gd name="connsiteY29488" fmla="*/ 1504203 h 4687251"/>
              <a:gd name="connsiteX29489" fmla="*/ 2174130 w 8079933"/>
              <a:gd name="connsiteY29489" fmla="*/ 1510483 h 4687251"/>
              <a:gd name="connsiteX29490" fmla="*/ 2174998 w 8079933"/>
              <a:gd name="connsiteY29490" fmla="*/ 1515896 h 4687251"/>
              <a:gd name="connsiteX29491" fmla="*/ 2176518 w 8079933"/>
              <a:gd name="connsiteY29491" fmla="*/ 1517196 h 4687251"/>
              <a:gd name="connsiteX29492" fmla="*/ 2176844 w 8079933"/>
              <a:gd name="connsiteY29492" fmla="*/ 1527590 h 4687251"/>
              <a:gd name="connsiteX29493" fmla="*/ 2170658 w 8079933"/>
              <a:gd name="connsiteY29493" fmla="*/ 1537117 h 4687251"/>
              <a:gd name="connsiteX29494" fmla="*/ 2170658 w 8079933"/>
              <a:gd name="connsiteY29494" fmla="*/ 1541340 h 4687251"/>
              <a:gd name="connsiteX29495" fmla="*/ 2168813 w 8079933"/>
              <a:gd name="connsiteY29495" fmla="*/ 1547511 h 4687251"/>
              <a:gd name="connsiteX29496" fmla="*/ 2164146 w 8079933"/>
              <a:gd name="connsiteY29496" fmla="*/ 1551409 h 4687251"/>
              <a:gd name="connsiteX29497" fmla="*/ 2161542 w 8079933"/>
              <a:gd name="connsiteY29497" fmla="*/ 1560937 h 4687251"/>
              <a:gd name="connsiteX29498" fmla="*/ 2163605 w 8079933"/>
              <a:gd name="connsiteY29498" fmla="*/ 1564835 h 4687251"/>
              <a:gd name="connsiteX29499" fmla="*/ 2168488 w 8079933"/>
              <a:gd name="connsiteY29499" fmla="*/ 1568624 h 4687251"/>
              <a:gd name="connsiteX29500" fmla="*/ 2168488 w 8079933"/>
              <a:gd name="connsiteY29500" fmla="*/ 1574471 h 4687251"/>
              <a:gd name="connsiteX29501" fmla="*/ 2172069 w 8079933"/>
              <a:gd name="connsiteY29501" fmla="*/ 1576420 h 4687251"/>
              <a:gd name="connsiteX29502" fmla="*/ 2174782 w 8079933"/>
              <a:gd name="connsiteY29502" fmla="*/ 1580318 h 4687251"/>
              <a:gd name="connsiteX29503" fmla="*/ 2173805 w 8079933"/>
              <a:gd name="connsiteY29503" fmla="*/ 1584324 h 4687251"/>
              <a:gd name="connsiteX29504" fmla="*/ 2174456 w 8079933"/>
              <a:gd name="connsiteY29504" fmla="*/ 1586381 h 4687251"/>
              <a:gd name="connsiteX29505" fmla="*/ 2174130 w 8079933"/>
              <a:gd name="connsiteY29505" fmla="*/ 1589737 h 4687251"/>
              <a:gd name="connsiteX29506" fmla="*/ 2178580 w 8079933"/>
              <a:gd name="connsiteY29506" fmla="*/ 1591469 h 4687251"/>
              <a:gd name="connsiteX29507" fmla="*/ 2184331 w 8079933"/>
              <a:gd name="connsiteY29507" fmla="*/ 1594392 h 4687251"/>
              <a:gd name="connsiteX29508" fmla="*/ 2185524 w 8079933"/>
              <a:gd name="connsiteY29508" fmla="*/ 1594392 h 4687251"/>
              <a:gd name="connsiteX29509" fmla="*/ 2186176 w 8079933"/>
              <a:gd name="connsiteY29509" fmla="*/ 1597641 h 4687251"/>
              <a:gd name="connsiteX29510" fmla="*/ 2189106 w 8079933"/>
              <a:gd name="connsiteY29510" fmla="*/ 1601647 h 4687251"/>
              <a:gd name="connsiteX29511" fmla="*/ 2189974 w 8079933"/>
              <a:gd name="connsiteY29511" fmla="*/ 1609226 h 4687251"/>
              <a:gd name="connsiteX29512" fmla="*/ 2191167 w 8079933"/>
              <a:gd name="connsiteY29512" fmla="*/ 1612257 h 4687251"/>
              <a:gd name="connsiteX29513" fmla="*/ 2189323 w 8079933"/>
              <a:gd name="connsiteY29513" fmla="*/ 1618970 h 4687251"/>
              <a:gd name="connsiteX29514" fmla="*/ 2180207 w 8079933"/>
              <a:gd name="connsiteY29514" fmla="*/ 1627091 h 4687251"/>
              <a:gd name="connsiteX29515" fmla="*/ 2187044 w 8079933"/>
              <a:gd name="connsiteY29515" fmla="*/ 1623626 h 4687251"/>
              <a:gd name="connsiteX29516" fmla="*/ 2192904 w 8079933"/>
              <a:gd name="connsiteY29516" fmla="*/ 1619295 h 4687251"/>
              <a:gd name="connsiteX29517" fmla="*/ 2199306 w 8079933"/>
              <a:gd name="connsiteY29517" fmla="*/ 1621569 h 4687251"/>
              <a:gd name="connsiteX29518" fmla="*/ 2203430 w 8079933"/>
              <a:gd name="connsiteY29518" fmla="*/ 1625575 h 4687251"/>
              <a:gd name="connsiteX29519" fmla="*/ 2207445 w 8079933"/>
              <a:gd name="connsiteY29519" fmla="*/ 1625899 h 4687251"/>
              <a:gd name="connsiteX29520" fmla="*/ 2208747 w 8079933"/>
              <a:gd name="connsiteY29520" fmla="*/ 1621893 h 4687251"/>
              <a:gd name="connsiteX29521" fmla="*/ 2208747 w 8079933"/>
              <a:gd name="connsiteY29521" fmla="*/ 1617779 h 4687251"/>
              <a:gd name="connsiteX29522" fmla="*/ 2216886 w 8079933"/>
              <a:gd name="connsiteY29522" fmla="*/ 1607818 h 4687251"/>
              <a:gd name="connsiteX29523" fmla="*/ 2218730 w 8079933"/>
              <a:gd name="connsiteY29523" fmla="*/ 1607710 h 4687251"/>
              <a:gd name="connsiteX29524" fmla="*/ 2217754 w 8079933"/>
              <a:gd name="connsiteY29524" fmla="*/ 1611608 h 4687251"/>
              <a:gd name="connsiteX29525" fmla="*/ 2218405 w 8079933"/>
              <a:gd name="connsiteY29525" fmla="*/ 1614206 h 4687251"/>
              <a:gd name="connsiteX29526" fmla="*/ 2221227 w 8079933"/>
              <a:gd name="connsiteY29526" fmla="*/ 1614856 h 4687251"/>
              <a:gd name="connsiteX29527" fmla="*/ 2222854 w 8079933"/>
              <a:gd name="connsiteY29527" fmla="*/ 1623301 h 4687251"/>
              <a:gd name="connsiteX29528" fmla="*/ 2221986 w 8079933"/>
              <a:gd name="connsiteY29528" fmla="*/ 1629797 h 4687251"/>
              <a:gd name="connsiteX29529" fmla="*/ 2227521 w 8079933"/>
              <a:gd name="connsiteY29529" fmla="*/ 1634128 h 4687251"/>
              <a:gd name="connsiteX29530" fmla="*/ 2235659 w 8079933"/>
              <a:gd name="connsiteY29530" fmla="*/ 1634994 h 4687251"/>
              <a:gd name="connsiteX29531" fmla="*/ 2231102 w 8079933"/>
              <a:gd name="connsiteY29531" fmla="*/ 1632937 h 4687251"/>
              <a:gd name="connsiteX29532" fmla="*/ 2226544 w 8079933"/>
              <a:gd name="connsiteY29532" fmla="*/ 1627740 h 4687251"/>
              <a:gd name="connsiteX29533" fmla="*/ 2225676 w 8079933"/>
              <a:gd name="connsiteY29533" fmla="*/ 1622110 h 4687251"/>
              <a:gd name="connsiteX29534" fmla="*/ 2226653 w 8079933"/>
              <a:gd name="connsiteY29534" fmla="*/ 1614748 h 4687251"/>
              <a:gd name="connsiteX29535" fmla="*/ 2229039 w 8079933"/>
              <a:gd name="connsiteY29535" fmla="*/ 1611499 h 4687251"/>
              <a:gd name="connsiteX29536" fmla="*/ 2226653 w 8079933"/>
              <a:gd name="connsiteY29536" fmla="*/ 1608467 h 4687251"/>
              <a:gd name="connsiteX29537" fmla="*/ 2226327 w 8079933"/>
              <a:gd name="connsiteY29537" fmla="*/ 1603920 h 4687251"/>
              <a:gd name="connsiteX29538" fmla="*/ 2228172 w 8079933"/>
              <a:gd name="connsiteY29538" fmla="*/ 1604895 h 4687251"/>
              <a:gd name="connsiteX29539" fmla="*/ 2230776 w 8079933"/>
              <a:gd name="connsiteY29539" fmla="*/ 1604028 h 4687251"/>
              <a:gd name="connsiteX29540" fmla="*/ 2233055 w 8079933"/>
              <a:gd name="connsiteY29540" fmla="*/ 1597208 h 4687251"/>
              <a:gd name="connsiteX29541" fmla="*/ 2238698 w 8079933"/>
              <a:gd name="connsiteY29541" fmla="*/ 1591686 h 4687251"/>
              <a:gd name="connsiteX29542" fmla="*/ 2237070 w 8079933"/>
              <a:gd name="connsiteY29542" fmla="*/ 1589737 h 4687251"/>
              <a:gd name="connsiteX29543" fmla="*/ 2236310 w 8079933"/>
              <a:gd name="connsiteY29543" fmla="*/ 1582699 h 4687251"/>
              <a:gd name="connsiteX29544" fmla="*/ 2233597 w 8079933"/>
              <a:gd name="connsiteY29544" fmla="*/ 1581184 h 4687251"/>
              <a:gd name="connsiteX29545" fmla="*/ 2233706 w 8079933"/>
              <a:gd name="connsiteY29545" fmla="*/ 1576203 h 4687251"/>
              <a:gd name="connsiteX29546" fmla="*/ 2238263 w 8079933"/>
              <a:gd name="connsiteY29546" fmla="*/ 1570681 h 4687251"/>
              <a:gd name="connsiteX29547" fmla="*/ 2236310 w 8079933"/>
              <a:gd name="connsiteY29547" fmla="*/ 1568083 h 4687251"/>
              <a:gd name="connsiteX29548" fmla="*/ 2236527 w 8079933"/>
              <a:gd name="connsiteY29548" fmla="*/ 1565376 h 4687251"/>
              <a:gd name="connsiteX29549" fmla="*/ 2234140 w 8079933"/>
              <a:gd name="connsiteY29549" fmla="*/ 1564510 h 4687251"/>
              <a:gd name="connsiteX29550" fmla="*/ 2233380 w 8079933"/>
              <a:gd name="connsiteY29550" fmla="*/ 1561370 h 4687251"/>
              <a:gd name="connsiteX29551" fmla="*/ 2237178 w 8079933"/>
              <a:gd name="connsiteY29551" fmla="*/ 1549677 h 4687251"/>
              <a:gd name="connsiteX29552" fmla="*/ 2235985 w 8079933"/>
              <a:gd name="connsiteY29552" fmla="*/ 1545129 h 4687251"/>
              <a:gd name="connsiteX29553" fmla="*/ 2237178 w 8079933"/>
              <a:gd name="connsiteY29553" fmla="*/ 1537117 h 4687251"/>
              <a:gd name="connsiteX29554" fmla="*/ 2239783 w 8079933"/>
              <a:gd name="connsiteY29554" fmla="*/ 1534627 h 4687251"/>
              <a:gd name="connsiteX29555" fmla="*/ 2238698 w 8079933"/>
              <a:gd name="connsiteY29555" fmla="*/ 1530080 h 4687251"/>
              <a:gd name="connsiteX29556" fmla="*/ 2240976 w 8079933"/>
              <a:gd name="connsiteY29556" fmla="*/ 1528564 h 4687251"/>
              <a:gd name="connsiteX29557" fmla="*/ 2239240 w 8079933"/>
              <a:gd name="connsiteY29557" fmla="*/ 1524666 h 4687251"/>
              <a:gd name="connsiteX29558" fmla="*/ 2242061 w 8079933"/>
              <a:gd name="connsiteY29558" fmla="*/ 1522609 h 4687251"/>
              <a:gd name="connsiteX29559" fmla="*/ 2239457 w 8079933"/>
              <a:gd name="connsiteY29559" fmla="*/ 1521851 h 4687251"/>
              <a:gd name="connsiteX29560" fmla="*/ 2237938 w 8079933"/>
              <a:gd name="connsiteY29560" fmla="*/ 1518819 h 4687251"/>
              <a:gd name="connsiteX29561" fmla="*/ 2240325 w 8079933"/>
              <a:gd name="connsiteY29561" fmla="*/ 1517412 h 4687251"/>
              <a:gd name="connsiteX29562" fmla="*/ 2238372 w 8079933"/>
              <a:gd name="connsiteY29562" fmla="*/ 1513839 h 4687251"/>
              <a:gd name="connsiteX29563" fmla="*/ 2238589 w 8079933"/>
              <a:gd name="connsiteY29563" fmla="*/ 1509509 h 4687251"/>
              <a:gd name="connsiteX29564" fmla="*/ 2236527 w 8079933"/>
              <a:gd name="connsiteY29564" fmla="*/ 1505719 h 4687251"/>
              <a:gd name="connsiteX29565" fmla="*/ 2235985 w 8079933"/>
              <a:gd name="connsiteY29565" fmla="*/ 1500955 h 4687251"/>
              <a:gd name="connsiteX29566" fmla="*/ 2234465 w 8079933"/>
              <a:gd name="connsiteY29566" fmla="*/ 1498356 h 4687251"/>
              <a:gd name="connsiteX29567" fmla="*/ 2240868 w 8079933"/>
              <a:gd name="connsiteY29567" fmla="*/ 1495433 h 4687251"/>
              <a:gd name="connsiteX29568" fmla="*/ 2250309 w 8079933"/>
              <a:gd name="connsiteY29568" fmla="*/ 1493809 h 4687251"/>
              <a:gd name="connsiteX29569" fmla="*/ 2254975 w 8079933"/>
              <a:gd name="connsiteY29569" fmla="*/ 1490236 h 4687251"/>
              <a:gd name="connsiteX29570" fmla="*/ 2260510 w 8079933"/>
              <a:gd name="connsiteY29570" fmla="*/ 1490453 h 4687251"/>
              <a:gd name="connsiteX29571" fmla="*/ 2263006 w 8079933"/>
              <a:gd name="connsiteY29571" fmla="*/ 1488395 h 4687251"/>
              <a:gd name="connsiteX29572" fmla="*/ 2272338 w 8079933"/>
              <a:gd name="connsiteY29572" fmla="*/ 1483740 h 4687251"/>
              <a:gd name="connsiteX29573" fmla="*/ 2287204 w 8079933"/>
              <a:gd name="connsiteY29573" fmla="*/ 1478218 h 4687251"/>
              <a:gd name="connsiteX29574" fmla="*/ 2287313 w 8079933"/>
              <a:gd name="connsiteY29574" fmla="*/ 1476486 h 4687251"/>
              <a:gd name="connsiteX29575" fmla="*/ 2290460 w 8079933"/>
              <a:gd name="connsiteY29575" fmla="*/ 1473562 h 4687251"/>
              <a:gd name="connsiteX29576" fmla="*/ 2301638 w 8079933"/>
              <a:gd name="connsiteY29576" fmla="*/ 1468799 h 4687251"/>
              <a:gd name="connsiteX29577" fmla="*/ 2302288 w 8079933"/>
              <a:gd name="connsiteY29577" fmla="*/ 1464685 h 4687251"/>
              <a:gd name="connsiteX29578" fmla="*/ 2307822 w 8079933"/>
              <a:gd name="connsiteY29578" fmla="*/ 1462086 h 4687251"/>
              <a:gd name="connsiteX29579" fmla="*/ 2314442 w 8079933"/>
              <a:gd name="connsiteY29579" fmla="*/ 1451800 h 4687251"/>
              <a:gd name="connsiteX29580" fmla="*/ 2317263 w 8079933"/>
              <a:gd name="connsiteY29580" fmla="*/ 1452125 h 4687251"/>
              <a:gd name="connsiteX29581" fmla="*/ 2319543 w 8079933"/>
              <a:gd name="connsiteY29581" fmla="*/ 1454291 h 4687251"/>
              <a:gd name="connsiteX29582" fmla="*/ 2324318 w 8079933"/>
              <a:gd name="connsiteY29582" fmla="*/ 1453965 h 4687251"/>
              <a:gd name="connsiteX29583" fmla="*/ 2328007 w 8079933"/>
              <a:gd name="connsiteY29583" fmla="*/ 1450068 h 4687251"/>
              <a:gd name="connsiteX29584" fmla="*/ 2323666 w 8079933"/>
              <a:gd name="connsiteY29584" fmla="*/ 1444546 h 4687251"/>
              <a:gd name="connsiteX29585" fmla="*/ 2323341 w 8079933"/>
              <a:gd name="connsiteY29585" fmla="*/ 1438483 h 4687251"/>
              <a:gd name="connsiteX29586" fmla="*/ 2320411 w 8079933"/>
              <a:gd name="connsiteY29586" fmla="*/ 1441081 h 4687251"/>
              <a:gd name="connsiteX29587" fmla="*/ 2319435 w 8079933"/>
              <a:gd name="connsiteY29587" fmla="*/ 1445845 h 4687251"/>
              <a:gd name="connsiteX29588" fmla="*/ 2317263 w 8079933"/>
              <a:gd name="connsiteY29588" fmla="*/ 1446387 h 4687251"/>
              <a:gd name="connsiteX29589" fmla="*/ 2319000 w 8079933"/>
              <a:gd name="connsiteY29589" fmla="*/ 1440215 h 4687251"/>
              <a:gd name="connsiteX29590" fmla="*/ 2323341 w 8079933"/>
              <a:gd name="connsiteY29590" fmla="*/ 1428738 h 4687251"/>
              <a:gd name="connsiteX29591" fmla="*/ 2325077 w 8079933"/>
              <a:gd name="connsiteY29591" fmla="*/ 1426790 h 4687251"/>
              <a:gd name="connsiteX29592" fmla="*/ 2325077 w 8079933"/>
              <a:gd name="connsiteY29592" fmla="*/ 1418561 h 4687251"/>
              <a:gd name="connsiteX29593" fmla="*/ 2325728 w 8079933"/>
              <a:gd name="connsiteY29593" fmla="*/ 1412714 h 4687251"/>
              <a:gd name="connsiteX29594" fmla="*/ 2321930 w 8079933"/>
              <a:gd name="connsiteY29594" fmla="*/ 1405461 h 4687251"/>
              <a:gd name="connsiteX29595" fmla="*/ 2322689 w 8079933"/>
              <a:gd name="connsiteY29595" fmla="*/ 1391061 h 4687251"/>
              <a:gd name="connsiteX29596" fmla="*/ 2321062 w 8079933"/>
              <a:gd name="connsiteY29596" fmla="*/ 1378392 h 4687251"/>
              <a:gd name="connsiteX29597" fmla="*/ 2313900 w 8079933"/>
              <a:gd name="connsiteY29597" fmla="*/ 1367133 h 4687251"/>
              <a:gd name="connsiteX29598" fmla="*/ 2308691 w 8079933"/>
              <a:gd name="connsiteY29598" fmla="*/ 1363776 h 4687251"/>
              <a:gd name="connsiteX29599" fmla="*/ 2307280 w 8079933"/>
              <a:gd name="connsiteY29599" fmla="*/ 1358688 h 4687251"/>
              <a:gd name="connsiteX29600" fmla="*/ 2302506 w 8079933"/>
              <a:gd name="connsiteY29600" fmla="*/ 1357280 h 4687251"/>
              <a:gd name="connsiteX29601" fmla="*/ 2301095 w 8079933"/>
              <a:gd name="connsiteY29601" fmla="*/ 1353599 h 4687251"/>
              <a:gd name="connsiteX29602" fmla="*/ 2303916 w 8079933"/>
              <a:gd name="connsiteY29602" fmla="*/ 1344288 h 4687251"/>
              <a:gd name="connsiteX29603" fmla="*/ 2308582 w 8079933"/>
              <a:gd name="connsiteY29603" fmla="*/ 1342231 h 4687251"/>
              <a:gd name="connsiteX29604" fmla="*/ 2321062 w 8079933"/>
              <a:gd name="connsiteY29604" fmla="*/ 1329130 h 4687251"/>
              <a:gd name="connsiteX29605" fmla="*/ 2325077 w 8079933"/>
              <a:gd name="connsiteY29605" fmla="*/ 1328697 h 4687251"/>
              <a:gd name="connsiteX29606" fmla="*/ 2328115 w 8079933"/>
              <a:gd name="connsiteY29606" fmla="*/ 1325123 h 4687251"/>
              <a:gd name="connsiteX29607" fmla="*/ 2328007 w 8079933"/>
              <a:gd name="connsiteY29607" fmla="*/ 1321768 h 4687251"/>
              <a:gd name="connsiteX29608" fmla="*/ 2326271 w 8079933"/>
              <a:gd name="connsiteY29608" fmla="*/ 1320793 h 4687251"/>
              <a:gd name="connsiteX29609" fmla="*/ 2326054 w 8079933"/>
              <a:gd name="connsiteY29609" fmla="*/ 1318844 h 4687251"/>
              <a:gd name="connsiteX29610" fmla="*/ 2331045 w 8079933"/>
              <a:gd name="connsiteY29610" fmla="*/ 1312348 h 4687251"/>
              <a:gd name="connsiteX29611" fmla="*/ 2333650 w 8079933"/>
              <a:gd name="connsiteY29611" fmla="*/ 1312348 h 4687251"/>
              <a:gd name="connsiteX29612" fmla="*/ 2336580 w 8079933"/>
              <a:gd name="connsiteY29612" fmla="*/ 1317978 h 4687251"/>
              <a:gd name="connsiteX29613" fmla="*/ 2339726 w 8079933"/>
              <a:gd name="connsiteY29613" fmla="*/ 1319601 h 4687251"/>
              <a:gd name="connsiteX29614" fmla="*/ 2337990 w 8079933"/>
              <a:gd name="connsiteY29614" fmla="*/ 1317003 h 4687251"/>
              <a:gd name="connsiteX29615" fmla="*/ 2338316 w 8079933"/>
              <a:gd name="connsiteY29615" fmla="*/ 1311481 h 4687251"/>
              <a:gd name="connsiteX29616" fmla="*/ 2343525 w 8079933"/>
              <a:gd name="connsiteY29616" fmla="*/ 1309208 h 4687251"/>
              <a:gd name="connsiteX29617" fmla="*/ 2348517 w 8079933"/>
              <a:gd name="connsiteY29617" fmla="*/ 1300113 h 4687251"/>
              <a:gd name="connsiteX29618" fmla="*/ 2347649 w 8079933"/>
              <a:gd name="connsiteY29618" fmla="*/ 1297081 h 4687251"/>
              <a:gd name="connsiteX29619" fmla="*/ 2341138 w 8079933"/>
              <a:gd name="connsiteY29619" fmla="*/ 1297081 h 4687251"/>
              <a:gd name="connsiteX29620" fmla="*/ 2340595 w 8079933"/>
              <a:gd name="connsiteY29620" fmla="*/ 1295024 h 4687251"/>
              <a:gd name="connsiteX29621" fmla="*/ 2344827 w 8079933"/>
              <a:gd name="connsiteY29621" fmla="*/ 1289503 h 4687251"/>
              <a:gd name="connsiteX29622" fmla="*/ 2342331 w 8079933"/>
              <a:gd name="connsiteY29622" fmla="*/ 1287446 h 4687251"/>
              <a:gd name="connsiteX29623" fmla="*/ 2340703 w 8079933"/>
              <a:gd name="connsiteY29623" fmla="*/ 1283981 h 4687251"/>
              <a:gd name="connsiteX29624" fmla="*/ 2343959 w 8079933"/>
              <a:gd name="connsiteY29624" fmla="*/ 1280191 h 4687251"/>
              <a:gd name="connsiteX29625" fmla="*/ 2348625 w 8079933"/>
              <a:gd name="connsiteY29625" fmla="*/ 1278675 h 4687251"/>
              <a:gd name="connsiteX29626" fmla="*/ 2343525 w 8079933"/>
              <a:gd name="connsiteY29626" fmla="*/ 1277809 h 4687251"/>
              <a:gd name="connsiteX29627" fmla="*/ 2343199 w 8079933"/>
              <a:gd name="connsiteY29627" fmla="*/ 1275211 h 4687251"/>
              <a:gd name="connsiteX29628" fmla="*/ 2345261 w 8079933"/>
              <a:gd name="connsiteY29628" fmla="*/ 1268498 h 4687251"/>
              <a:gd name="connsiteX29629" fmla="*/ 2348842 w 8079933"/>
              <a:gd name="connsiteY29629" fmla="*/ 1266224 h 4687251"/>
              <a:gd name="connsiteX29630" fmla="*/ 2346021 w 8079933"/>
              <a:gd name="connsiteY29630" fmla="*/ 1265791 h 4687251"/>
              <a:gd name="connsiteX29631" fmla="*/ 2338208 w 8079933"/>
              <a:gd name="connsiteY29631" fmla="*/ 1266441 h 4687251"/>
              <a:gd name="connsiteX29632" fmla="*/ 2335928 w 8079933"/>
              <a:gd name="connsiteY29632" fmla="*/ 1265467 h 4687251"/>
              <a:gd name="connsiteX29633" fmla="*/ 2336254 w 8079933"/>
              <a:gd name="connsiteY29633" fmla="*/ 1261785 h 4687251"/>
              <a:gd name="connsiteX29634" fmla="*/ 2346455 w 8079933"/>
              <a:gd name="connsiteY29634" fmla="*/ 1253773 h 4687251"/>
              <a:gd name="connsiteX29635" fmla="*/ 2352749 w 8079933"/>
              <a:gd name="connsiteY29635" fmla="*/ 1244571 h 4687251"/>
              <a:gd name="connsiteX29636" fmla="*/ 2353834 w 8079933"/>
              <a:gd name="connsiteY29636" fmla="*/ 1239049 h 4687251"/>
              <a:gd name="connsiteX29637" fmla="*/ 2356873 w 8079933"/>
              <a:gd name="connsiteY29637" fmla="*/ 1239590 h 4687251"/>
              <a:gd name="connsiteX29638" fmla="*/ 2359043 w 8079933"/>
              <a:gd name="connsiteY29638" fmla="*/ 1236991 h 4687251"/>
              <a:gd name="connsiteX29639" fmla="*/ 2359043 w 8079933"/>
              <a:gd name="connsiteY29639" fmla="*/ 1231578 h 4687251"/>
              <a:gd name="connsiteX29640" fmla="*/ 2356438 w 8079933"/>
              <a:gd name="connsiteY29640" fmla="*/ 1230495 h 4687251"/>
              <a:gd name="connsiteX29641" fmla="*/ 2356113 w 8079933"/>
              <a:gd name="connsiteY29641" fmla="*/ 1228438 h 4687251"/>
              <a:gd name="connsiteX29642" fmla="*/ 2353617 w 8079933"/>
              <a:gd name="connsiteY29642" fmla="*/ 1227896 h 4687251"/>
              <a:gd name="connsiteX29643" fmla="*/ 2350687 w 8079933"/>
              <a:gd name="connsiteY29643" fmla="*/ 1223241 h 4687251"/>
              <a:gd name="connsiteX29644" fmla="*/ 2350904 w 8079933"/>
              <a:gd name="connsiteY29644" fmla="*/ 1214147 h 4687251"/>
              <a:gd name="connsiteX29645" fmla="*/ 2354160 w 8079933"/>
              <a:gd name="connsiteY29645" fmla="*/ 1207109 h 4687251"/>
              <a:gd name="connsiteX29646" fmla="*/ 2354377 w 8079933"/>
              <a:gd name="connsiteY29646" fmla="*/ 1201154 h 4687251"/>
              <a:gd name="connsiteX29647" fmla="*/ 2358175 w 8079933"/>
              <a:gd name="connsiteY29647" fmla="*/ 1199096 h 4687251"/>
              <a:gd name="connsiteX29648" fmla="*/ 2360019 w 8079933"/>
              <a:gd name="connsiteY29648" fmla="*/ 1200396 h 4687251"/>
              <a:gd name="connsiteX29649" fmla="*/ 2362841 w 8079933"/>
              <a:gd name="connsiteY29649" fmla="*/ 1200288 h 4687251"/>
              <a:gd name="connsiteX29650" fmla="*/ 2362841 w 8079933"/>
              <a:gd name="connsiteY29650" fmla="*/ 1197364 h 4687251"/>
              <a:gd name="connsiteX29651" fmla="*/ 2366096 w 8079933"/>
              <a:gd name="connsiteY29651" fmla="*/ 1194116 h 4687251"/>
              <a:gd name="connsiteX29652" fmla="*/ 2369026 w 8079933"/>
              <a:gd name="connsiteY29652" fmla="*/ 1193683 h 4687251"/>
              <a:gd name="connsiteX29653" fmla="*/ 2371956 w 8079933"/>
              <a:gd name="connsiteY29653" fmla="*/ 1192492 h 4687251"/>
              <a:gd name="connsiteX29654" fmla="*/ 2374886 w 8079933"/>
              <a:gd name="connsiteY29654" fmla="*/ 1194441 h 4687251"/>
              <a:gd name="connsiteX29655" fmla="*/ 2382808 w 8079933"/>
              <a:gd name="connsiteY29655" fmla="*/ 1194874 h 4687251"/>
              <a:gd name="connsiteX29656" fmla="*/ 2390838 w 8079933"/>
              <a:gd name="connsiteY29656" fmla="*/ 1199313 h 4687251"/>
              <a:gd name="connsiteX29657" fmla="*/ 2401473 w 8079933"/>
              <a:gd name="connsiteY29657" fmla="*/ 1205160 h 4687251"/>
              <a:gd name="connsiteX29658" fmla="*/ 2407332 w 8079933"/>
              <a:gd name="connsiteY29658" fmla="*/ 1205160 h 4687251"/>
              <a:gd name="connsiteX29659" fmla="*/ 2406031 w 8079933"/>
              <a:gd name="connsiteY29659" fmla="*/ 1209599 h 4687251"/>
              <a:gd name="connsiteX29660" fmla="*/ 2399845 w 8079933"/>
              <a:gd name="connsiteY29660" fmla="*/ 1211981 h 4687251"/>
              <a:gd name="connsiteX29661" fmla="*/ 2407767 w 8079933"/>
              <a:gd name="connsiteY29661" fmla="*/ 1211656 h 4687251"/>
              <a:gd name="connsiteX29662" fmla="*/ 2414278 w 8079933"/>
              <a:gd name="connsiteY29662" fmla="*/ 1206892 h 4687251"/>
              <a:gd name="connsiteX29663" fmla="*/ 2418727 w 8079933"/>
              <a:gd name="connsiteY29663" fmla="*/ 1207217 h 4687251"/>
              <a:gd name="connsiteX29664" fmla="*/ 2421223 w 8079933"/>
              <a:gd name="connsiteY29664" fmla="*/ 1209924 h 4687251"/>
              <a:gd name="connsiteX29665" fmla="*/ 2424587 w 8079933"/>
              <a:gd name="connsiteY29665" fmla="*/ 1209924 h 4687251"/>
              <a:gd name="connsiteX29666" fmla="*/ 2428059 w 8079933"/>
              <a:gd name="connsiteY29666" fmla="*/ 1214796 h 4687251"/>
              <a:gd name="connsiteX29667" fmla="*/ 2428059 w 8079933"/>
              <a:gd name="connsiteY29667" fmla="*/ 1209599 h 4687251"/>
              <a:gd name="connsiteX29668" fmla="*/ 2433593 w 8079933"/>
              <a:gd name="connsiteY29668" fmla="*/ 1211981 h 4687251"/>
              <a:gd name="connsiteX29669" fmla="*/ 2435981 w 8079933"/>
              <a:gd name="connsiteY29669" fmla="*/ 1209274 h 4687251"/>
              <a:gd name="connsiteX29670" fmla="*/ 2439779 w 8079933"/>
              <a:gd name="connsiteY29670" fmla="*/ 1208949 h 4687251"/>
              <a:gd name="connsiteX29671" fmla="*/ 2446073 w 8079933"/>
              <a:gd name="connsiteY29671" fmla="*/ 1205160 h 4687251"/>
              <a:gd name="connsiteX29672" fmla="*/ 2454320 w 8079933"/>
              <a:gd name="connsiteY29672" fmla="*/ 1211656 h 4687251"/>
              <a:gd name="connsiteX29673" fmla="*/ 2454320 w 8079933"/>
              <a:gd name="connsiteY29673" fmla="*/ 1216528 h 4687251"/>
              <a:gd name="connsiteX29674" fmla="*/ 2459854 w 8079933"/>
              <a:gd name="connsiteY29674" fmla="*/ 1220967 h 4687251"/>
              <a:gd name="connsiteX29675" fmla="*/ 2463979 w 8079933"/>
              <a:gd name="connsiteY29675" fmla="*/ 1220967 h 4687251"/>
              <a:gd name="connsiteX29676" fmla="*/ 2463979 w 8079933"/>
              <a:gd name="connsiteY29676" fmla="*/ 1228546 h 4687251"/>
              <a:gd name="connsiteX29677" fmla="*/ 2461266 w 8079933"/>
              <a:gd name="connsiteY29677" fmla="*/ 1232336 h 4687251"/>
              <a:gd name="connsiteX29678" fmla="*/ 2461266 w 8079933"/>
              <a:gd name="connsiteY29678" fmla="*/ 1235800 h 4687251"/>
              <a:gd name="connsiteX29679" fmla="*/ 2464304 w 8079933"/>
              <a:gd name="connsiteY29679" fmla="*/ 1233743 h 4687251"/>
              <a:gd name="connsiteX29680" fmla="*/ 2469513 w 8079933"/>
              <a:gd name="connsiteY29680" fmla="*/ 1238507 h 4687251"/>
              <a:gd name="connsiteX29681" fmla="*/ 2471900 w 8079933"/>
              <a:gd name="connsiteY29681" fmla="*/ 1243704 h 4687251"/>
              <a:gd name="connsiteX29682" fmla="*/ 2468102 w 8079933"/>
              <a:gd name="connsiteY29682" fmla="*/ 1244787 h 4687251"/>
              <a:gd name="connsiteX29683" fmla="*/ 2472225 w 8079933"/>
              <a:gd name="connsiteY29683" fmla="*/ 1247818 h 4687251"/>
              <a:gd name="connsiteX29684" fmla="*/ 2475698 w 8079933"/>
              <a:gd name="connsiteY29684" fmla="*/ 1244787 h 4687251"/>
              <a:gd name="connsiteX29685" fmla="*/ 2479822 w 8079933"/>
              <a:gd name="connsiteY29685" fmla="*/ 1250634 h 4687251"/>
              <a:gd name="connsiteX29686" fmla="*/ 2479171 w 8079933"/>
              <a:gd name="connsiteY29686" fmla="*/ 1253340 h 4687251"/>
              <a:gd name="connsiteX29687" fmla="*/ 2475047 w 8079933"/>
              <a:gd name="connsiteY29687" fmla="*/ 1250200 h 4687251"/>
              <a:gd name="connsiteX29688" fmla="*/ 2472985 w 8079933"/>
              <a:gd name="connsiteY29688" fmla="*/ 1254748 h 4687251"/>
              <a:gd name="connsiteX29689" fmla="*/ 2468753 w 8079933"/>
              <a:gd name="connsiteY29689" fmla="*/ 1254748 h 4687251"/>
              <a:gd name="connsiteX29690" fmla="*/ 2474613 w 8079933"/>
              <a:gd name="connsiteY29690" fmla="*/ 1260594 h 4687251"/>
              <a:gd name="connsiteX29691" fmla="*/ 2474613 w 8079933"/>
              <a:gd name="connsiteY29691" fmla="*/ 1265034 h 4687251"/>
              <a:gd name="connsiteX29692" fmla="*/ 2478845 w 8079933"/>
              <a:gd name="connsiteY29692" fmla="*/ 1261244 h 4687251"/>
              <a:gd name="connsiteX29693" fmla="*/ 2478845 w 8079933"/>
              <a:gd name="connsiteY29693" fmla="*/ 1265034 h 4687251"/>
              <a:gd name="connsiteX29694" fmla="*/ 2482643 w 8079933"/>
              <a:gd name="connsiteY29694" fmla="*/ 1262652 h 4687251"/>
              <a:gd name="connsiteX29695" fmla="*/ 2490240 w 8079933"/>
              <a:gd name="connsiteY29695" fmla="*/ 1269148 h 4687251"/>
              <a:gd name="connsiteX29696" fmla="*/ 2492952 w 8079933"/>
              <a:gd name="connsiteY29696" fmla="*/ 1268173 h 4687251"/>
              <a:gd name="connsiteX29697" fmla="*/ 2494688 w 8079933"/>
              <a:gd name="connsiteY29697" fmla="*/ 1270555 h 4687251"/>
              <a:gd name="connsiteX29698" fmla="*/ 2499897 w 8079933"/>
              <a:gd name="connsiteY29698" fmla="*/ 1268173 h 4687251"/>
              <a:gd name="connsiteX29699" fmla="*/ 2506083 w 8079933"/>
              <a:gd name="connsiteY29699" fmla="*/ 1270230 h 4687251"/>
              <a:gd name="connsiteX29700" fmla="*/ 2504997 w 8079933"/>
              <a:gd name="connsiteY29700" fmla="*/ 1278784 h 4687251"/>
              <a:gd name="connsiteX29701" fmla="*/ 2507494 w 8079933"/>
              <a:gd name="connsiteY29701" fmla="*/ 1282573 h 4687251"/>
              <a:gd name="connsiteX29702" fmla="*/ 2512920 w 8079933"/>
              <a:gd name="connsiteY29702" fmla="*/ 1278459 h 4687251"/>
              <a:gd name="connsiteX29703" fmla="*/ 2514005 w 8079933"/>
              <a:gd name="connsiteY29703" fmla="*/ 1271313 h 4687251"/>
              <a:gd name="connsiteX29704" fmla="*/ 2517803 w 8079933"/>
              <a:gd name="connsiteY29704" fmla="*/ 1270880 h 4687251"/>
              <a:gd name="connsiteX29705" fmla="*/ 2518128 w 8079933"/>
              <a:gd name="connsiteY29705" fmla="*/ 1279217 h 4687251"/>
              <a:gd name="connsiteX29706" fmla="*/ 2516826 w 8079933"/>
              <a:gd name="connsiteY29706" fmla="*/ 1287120 h 4687251"/>
              <a:gd name="connsiteX29707" fmla="*/ 2510532 w 8079933"/>
              <a:gd name="connsiteY29707" fmla="*/ 1288420 h 4687251"/>
              <a:gd name="connsiteX29708" fmla="*/ 2506083 w 8079933"/>
              <a:gd name="connsiteY29708" fmla="*/ 1295350 h 4687251"/>
              <a:gd name="connsiteX29709" fmla="*/ 2507060 w 8079933"/>
              <a:gd name="connsiteY29709" fmla="*/ 1307042 h 4687251"/>
              <a:gd name="connsiteX29710" fmla="*/ 2504997 w 8079933"/>
              <a:gd name="connsiteY29710" fmla="*/ 1311156 h 4687251"/>
              <a:gd name="connsiteX29711" fmla="*/ 2504021 w 8079933"/>
              <a:gd name="connsiteY29711" fmla="*/ 1304985 h 4687251"/>
              <a:gd name="connsiteX29712" fmla="*/ 2501959 w 8079933"/>
              <a:gd name="connsiteY29712" fmla="*/ 1307801 h 4687251"/>
              <a:gd name="connsiteX29713" fmla="*/ 2500549 w 8079933"/>
              <a:gd name="connsiteY29713" fmla="*/ 1314946 h 4687251"/>
              <a:gd name="connsiteX29714" fmla="*/ 2490240 w 8079933"/>
              <a:gd name="connsiteY29714" fmla="*/ 1313647 h 4687251"/>
              <a:gd name="connsiteX29715" fmla="*/ 2477760 w 8079933"/>
              <a:gd name="connsiteY29715" fmla="*/ 1309858 h 4687251"/>
              <a:gd name="connsiteX29716" fmla="*/ 2488829 w 8079933"/>
              <a:gd name="connsiteY29716" fmla="*/ 1315704 h 4687251"/>
              <a:gd name="connsiteX29717" fmla="*/ 2497836 w 8079933"/>
              <a:gd name="connsiteY29717" fmla="*/ 1317436 h 4687251"/>
              <a:gd name="connsiteX29718" fmla="*/ 2504238 w 8079933"/>
              <a:gd name="connsiteY29718" fmla="*/ 1322850 h 4687251"/>
              <a:gd name="connsiteX29719" fmla="*/ 2503696 w 8079933"/>
              <a:gd name="connsiteY29719" fmla="*/ 1331078 h 4687251"/>
              <a:gd name="connsiteX29720" fmla="*/ 2499572 w 8079933"/>
              <a:gd name="connsiteY29720" fmla="*/ 1337142 h 4687251"/>
              <a:gd name="connsiteX29721" fmla="*/ 2498921 w 8079933"/>
              <a:gd name="connsiteY29721" fmla="*/ 1340065 h 4687251"/>
              <a:gd name="connsiteX29722" fmla="*/ 2493929 w 8079933"/>
              <a:gd name="connsiteY29722" fmla="*/ 1346345 h 4687251"/>
              <a:gd name="connsiteX29723" fmla="*/ 2495231 w 8079933"/>
              <a:gd name="connsiteY29723" fmla="*/ 1347103 h 4687251"/>
              <a:gd name="connsiteX29724" fmla="*/ 2501199 w 8079933"/>
              <a:gd name="connsiteY29724" fmla="*/ 1356305 h 4687251"/>
              <a:gd name="connsiteX29725" fmla="*/ 2505106 w 8079933"/>
              <a:gd name="connsiteY29725" fmla="*/ 1357496 h 4687251"/>
              <a:gd name="connsiteX29726" fmla="*/ 2502719 w 8079933"/>
              <a:gd name="connsiteY29726" fmla="*/ 1358579 h 4687251"/>
              <a:gd name="connsiteX29727" fmla="*/ 2494471 w 8079933"/>
              <a:gd name="connsiteY29727" fmla="*/ 1354573 h 4687251"/>
              <a:gd name="connsiteX29728" fmla="*/ 2499897 w 8079933"/>
              <a:gd name="connsiteY29728" fmla="*/ 1362910 h 4687251"/>
              <a:gd name="connsiteX29729" fmla="*/ 2504238 w 8079933"/>
              <a:gd name="connsiteY29729" fmla="*/ 1365941 h 4687251"/>
              <a:gd name="connsiteX29730" fmla="*/ 2505757 w 8079933"/>
              <a:gd name="connsiteY29730" fmla="*/ 1365833 h 4687251"/>
              <a:gd name="connsiteX29731" fmla="*/ 2504238 w 8079933"/>
              <a:gd name="connsiteY29731" fmla="*/ 1360853 h 4687251"/>
              <a:gd name="connsiteX29732" fmla="*/ 2508579 w 8079933"/>
              <a:gd name="connsiteY29732" fmla="*/ 1360637 h 4687251"/>
              <a:gd name="connsiteX29733" fmla="*/ 2513353 w 8079933"/>
              <a:gd name="connsiteY29733" fmla="*/ 1364751 h 4687251"/>
              <a:gd name="connsiteX29734" fmla="*/ 2515958 w 8079933"/>
              <a:gd name="connsiteY29734" fmla="*/ 1369623 h 4687251"/>
              <a:gd name="connsiteX29735" fmla="*/ 2514873 w 8079933"/>
              <a:gd name="connsiteY29735" fmla="*/ 1374712 h 4687251"/>
              <a:gd name="connsiteX29736" fmla="*/ 2515306 w 8079933"/>
              <a:gd name="connsiteY29736" fmla="*/ 1380125 h 4687251"/>
              <a:gd name="connsiteX29737" fmla="*/ 2510098 w 8079933"/>
              <a:gd name="connsiteY29737" fmla="*/ 1388137 h 4687251"/>
              <a:gd name="connsiteX29738" fmla="*/ 2509122 w 8079933"/>
              <a:gd name="connsiteY29738" fmla="*/ 1393334 h 4687251"/>
              <a:gd name="connsiteX29739" fmla="*/ 2505649 w 8079933"/>
              <a:gd name="connsiteY29739" fmla="*/ 1397773 h 4687251"/>
              <a:gd name="connsiteX29740" fmla="*/ 2510640 w 8079933"/>
              <a:gd name="connsiteY29740" fmla="*/ 1395175 h 4687251"/>
              <a:gd name="connsiteX29741" fmla="*/ 2516826 w 8079933"/>
              <a:gd name="connsiteY29741" fmla="*/ 1382615 h 4687251"/>
              <a:gd name="connsiteX29742" fmla="*/ 2523011 w 8079933"/>
              <a:gd name="connsiteY29742" fmla="*/ 1376444 h 4687251"/>
              <a:gd name="connsiteX29743" fmla="*/ 2524422 w 8079933"/>
              <a:gd name="connsiteY29743" fmla="*/ 1376985 h 4687251"/>
              <a:gd name="connsiteX29744" fmla="*/ 2523662 w 8079933"/>
              <a:gd name="connsiteY29744" fmla="*/ 1381641 h 4687251"/>
              <a:gd name="connsiteX29745" fmla="*/ 2524205 w 8079933"/>
              <a:gd name="connsiteY29745" fmla="*/ 1391277 h 4687251"/>
              <a:gd name="connsiteX29746" fmla="*/ 2522903 w 8079933"/>
              <a:gd name="connsiteY29746" fmla="*/ 1393118 h 4687251"/>
              <a:gd name="connsiteX29747" fmla="*/ 2523229 w 8079933"/>
              <a:gd name="connsiteY29747" fmla="*/ 1397124 h 4687251"/>
              <a:gd name="connsiteX29748" fmla="*/ 2521275 w 8079933"/>
              <a:gd name="connsiteY29748" fmla="*/ 1401779 h 4687251"/>
              <a:gd name="connsiteX29749" fmla="*/ 2526592 w 8079933"/>
              <a:gd name="connsiteY29749" fmla="*/ 1395716 h 4687251"/>
              <a:gd name="connsiteX29750" fmla="*/ 2527352 w 8079933"/>
              <a:gd name="connsiteY29750" fmla="*/ 1390194 h 4687251"/>
              <a:gd name="connsiteX29751" fmla="*/ 2532453 w 8079933"/>
              <a:gd name="connsiteY29751" fmla="*/ 1386080 h 4687251"/>
              <a:gd name="connsiteX29752" fmla="*/ 2536793 w 8079933"/>
              <a:gd name="connsiteY29752" fmla="*/ 1385539 h 4687251"/>
              <a:gd name="connsiteX29753" fmla="*/ 2540917 w 8079933"/>
              <a:gd name="connsiteY29753" fmla="*/ 1381749 h 4687251"/>
              <a:gd name="connsiteX29754" fmla="*/ 2544389 w 8079933"/>
              <a:gd name="connsiteY29754" fmla="*/ 1382290 h 4687251"/>
              <a:gd name="connsiteX29755" fmla="*/ 2545040 w 8079933"/>
              <a:gd name="connsiteY29755" fmla="*/ 1384564 h 4687251"/>
              <a:gd name="connsiteX29756" fmla="*/ 2547102 w 8079933"/>
              <a:gd name="connsiteY29756" fmla="*/ 1382182 h 4687251"/>
              <a:gd name="connsiteX29757" fmla="*/ 2551443 w 8079933"/>
              <a:gd name="connsiteY29757" fmla="*/ 1381100 h 4687251"/>
              <a:gd name="connsiteX29758" fmla="*/ 2552094 w 8079933"/>
              <a:gd name="connsiteY29758" fmla="*/ 1376661 h 4687251"/>
              <a:gd name="connsiteX29759" fmla="*/ 2555241 w 8079933"/>
              <a:gd name="connsiteY29759" fmla="*/ 1372329 h 4687251"/>
              <a:gd name="connsiteX29760" fmla="*/ 2561644 w 8079933"/>
              <a:gd name="connsiteY29760" fmla="*/ 1367674 h 4687251"/>
              <a:gd name="connsiteX29761" fmla="*/ 2564682 w 8079933"/>
              <a:gd name="connsiteY29761" fmla="*/ 1370814 h 4687251"/>
              <a:gd name="connsiteX29762" fmla="*/ 2566092 w 8079933"/>
              <a:gd name="connsiteY29762" fmla="*/ 1377635 h 4687251"/>
              <a:gd name="connsiteX29763" fmla="*/ 2565224 w 8079933"/>
              <a:gd name="connsiteY29763" fmla="*/ 1383157 h 4687251"/>
              <a:gd name="connsiteX29764" fmla="*/ 2568480 w 8079933"/>
              <a:gd name="connsiteY29764" fmla="*/ 1375794 h 4687251"/>
              <a:gd name="connsiteX29765" fmla="*/ 2568155 w 8079933"/>
              <a:gd name="connsiteY29765" fmla="*/ 1368757 h 4687251"/>
              <a:gd name="connsiteX29766" fmla="*/ 2570216 w 8079933"/>
              <a:gd name="connsiteY29766" fmla="*/ 1368215 h 4687251"/>
              <a:gd name="connsiteX29767" fmla="*/ 2569673 w 8079933"/>
              <a:gd name="connsiteY29767" fmla="*/ 1365941 h 4687251"/>
              <a:gd name="connsiteX29768" fmla="*/ 2572495 w 8079933"/>
              <a:gd name="connsiteY29768" fmla="*/ 1361502 h 4687251"/>
              <a:gd name="connsiteX29769" fmla="*/ 2576401 w 8079933"/>
              <a:gd name="connsiteY29769" fmla="*/ 1360853 h 4687251"/>
              <a:gd name="connsiteX29770" fmla="*/ 2577596 w 8079933"/>
              <a:gd name="connsiteY29770" fmla="*/ 1354573 h 4687251"/>
              <a:gd name="connsiteX29771" fmla="*/ 2581285 w 8079933"/>
              <a:gd name="connsiteY29771" fmla="*/ 1352192 h 4687251"/>
              <a:gd name="connsiteX29772" fmla="*/ 2584215 w 8079933"/>
              <a:gd name="connsiteY29772" fmla="*/ 1347752 h 4687251"/>
              <a:gd name="connsiteX29773" fmla="*/ 2585734 w 8079933"/>
              <a:gd name="connsiteY29773" fmla="*/ 1344612 h 4687251"/>
              <a:gd name="connsiteX29774" fmla="*/ 2588338 w 8079933"/>
              <a:gd name="connsiteY29774" fmla="*/ 1344504 h 4687251"/>
              <a:gd name="connsiteX29775" fmla="*/ 2592245 w 8079933"/>
              <a:gd name="connsiteY29775" fmla="*/ 1348619 h 4687251"/>
              <a:gd name="connsiteX29776" fmla="*/ 2592462 w 8079933"/>
              <a:gd name="connsiteY29776" fmla="*/ 1345695 h 4687251"/>
              <a:gd name="connsiteX29777" fmla="*/ 2590400 w 8079933"/>
              <a:gd name="connsiteY29777" fmla="*/ 1342122 h 4687251"/>
              <a:gd name="connsiteX29778" fmla="*/ 2586385 w 8079933"/>
              <a:gd name="connsiteY29778" fmla="*/ 1341906 h 4687251"/>
              <a:gd name="connsiteX29779" fmla="*/ 2586277 w 8079933"/>
              <a:gd name="connsiteY29779" fmla="*/ 1338982 h 4687251"/>
              <a:gd name="connsiteX29780" fmla="*/ 2589315 w 8079933"/>
              <a:gd name="connsiteY29780" fmla="*/ 1331728 h 4687251"/>
              <a:gd name="connsiteX29781" fmla="*/ 2591811 w 8079933"/>
              <a:gd name="connsiteY29781" fmla="*/ 1330537 h 4687251"/>
              <a:gd name="connsiteX29782" fmla="*/ 2594524 w 8079933"/>
              <a:gd name="connsiteY29782" fmla="*/ 1333460 h 4687251"/>
              <a:gd name="connsiteX29783" fmla="*/ 2594198 w 8079933"/>
              <a:gd name="connsiteY29783" fmla="*/ 1329021 h 4687251"/>
              <a:gd name="connsiteX29784" fmla="*/ 2597128 w 8079933"/>
              <a:gd name="connsiteY29784" fmla="*/ 1326964 h 4687251"/>
              <a:gd name="connsiteX29785" fmla="*/ 2597671 w 8079933"/>
              <a:gd name="connsiteY29785" fmla="*/ 1323391 h 4687251"/>
              <a:gd name="connsiteX29786" fmla="*/ 2602771 w 8079933"/>
              <a:gd name="connsiteY29786" fmla="*/ 1317653 h 4687251"/>
              <a:gd name="connsiteX29787" fmla="*/ 2605050 w 8079933"/>
              <a:gd name="connsiteY29787" fmla="*/ 1313755 h 4687251"/>
              <a:gd name="connsiteX29788" fmla="*/ 2603965 w 8079933"/>
              <a:gd name="connsiteY29788" fmla="*/ 1310399 h 4687251"/>
              <a:gd name="connsiteX29789" fmla="*/ 2608088 w 8079933"/>
              <a:gd name="connsiteY29789" fmla="*/ 1304985 h 4687251"/>
              <a:gd name="connsiteX29790" fmla="*/ 2612971 w 8079933"/>
              <a:gd name="connsiteY29790" fmla="*/ 1303361 h 4687251"/>
              <a:gd name="connsiteX29791" fmla="*/ 2614816 w 8079933"/>
              <a:gd name="connsiteY29791" fmla="*/ 1305310 h 4687251"/>
              <a:gd name="connsiteX29792" fmla="*/ 2611018 w 8079933"/>
              <a:gd name="connsiteY29792" fmla="*/ 1308558 h 4687251"/>
              <a:gd name="connsiteX29793" fmla="*/ 2615251 w 8079933"/>
              <a:gd name="connsiteY29793" fmla="*/ 1306826 h 4687251"/>
              <a:gd name="connsiteX29794" fmla="*/ 2616770 w 8079933"/>
              <a:gd name="connsiteY29794" fmla="*/ 1308883 h 4687251"/>
              <a:gd name="connsiteX29795" fmla="*/ 2613840 w 8079933"/>
              <a:gd name="connsiteY29795" fmla="*/ 1310940 h 4687251"/>
              <a:gd name="connsiteX29796" fmla="*/ 2613298 w 8079933"/>
              <a:gd name="connsiteY29796" fmla="*/ 1314188 h 4687251"/>
              <a:gd name="connsiteX29797" fmla="*/ 2616444 w 8079933"/>
              <a:gd name="connsiteY29797" fmla="*/ 1316246 h 4687251"/>
              <a:gd name="connsiteX29798" fmla="*/ 2613623 w 8079933"/>
              <a:gd name="connsiteY29798" fmla="*/ 1320035 h 4687251"/>
              <a:gd name="connsiteX29799" fmla="*/ 2611018 w 8079933"/>
              <a:gd name="connsiteY29799" fmla="*/ 1320576 h 4687251"/>
              <a:gd name="connsiteX29800" fmla="*/ 2610910 w 8079933"/>
              <a:gd name="connsiteY29800" fmla="*/ 1321659 h 4687251"/>
              <a:gd name="connsiteX29801" fmla="*/ 2613840 w 8079933"/>
              <a:gd name="connsiteY29801" fmla="*/ 1322309 h 4687251"/>
              <a:gd name="connsiteX29802" fmla="*/ 2616770 w 8079933"/>
              <a:gd name="connsiteY29802" fmla="*/ 1322850 h 4687251"/>
              <a:gd name="connsiteX29803" fmla="*/ 2615359 w 8079933"/>
              <a:gd name="connsiteY29803" fmla="*/ 1326748 h 4687251"/>
              <a:gd name="connsiteX29804" fmla="*/ 2613948 w 8079933"/>
              <a:gd name="connsiteY29804" fmla="*/ 1328697 h 4687251"/>
              <a:gd name="connsiteX29805" fmla="*/ 2617421 w 8079933"/>
              <a:gd name="connsiteY29805" fmla="*/ 1328480 h 4687251"/>
              <a:gd name="connsiteX29806" fmla="*/ 2617746 w 8079933"/>
              <a:gd name="connsiteY29806" fmla="*/ 1332594 h 4687251"/>
              <a:gd name="connsiteX29807" fmla="*/ 2614708 w 8079933"/>
              <a:gd name="connsiteY29807" fmla="*/ 1334652 h 4687251"/>
              <a:gd name="connsiteX29808" fmla="*/ 2615684 w 8079933"/>
              <a:gd name="connsiteY29808" fmla="*/ 1339307 h 4687251"/>
              <a:gd name="connsiteX29809" fmla="*/ 2620134 w 8079933"/>
              <a:gd name="connsiteY29809" fmla="*/ 1343421 h 4687251"/>
              <a:gd name="connsiteX29810" fmla="*/ 2620459 w 8079933"/>
              <a:gd name="connsiteY29810" fmla="*/ 1349376 h 4687251"/>
              <a:gd name="connsiteX29811" fmla="*/ 2618614 w 8079933"/>
              <a:gd name="connsiteY29811" fmla="*/ 1351217 h 4687251"/>
              <a:gd name="connsiteX29812" fmla="*/ 2616336 w 8079933"/>
              <a:gd name="connsiteY29812" fmla="*/ 1349160 h 4687251"/>
              <a:gd name="connsiteX29813" fmla="*/ 2613189 w 8079933"/>
              <a:gd name="connsiteY29813" fmla="*/ 1350459 h 4687251"/>
              <a:gd name="connsiteX29814" fmla="*/ 2616336 w 8079933"/>
              <a:gd name="connsiteY29814" fmla="*/ 1353274 h 4687251"/>
              <a:gd name="connsiteX29815" fmla="*/ 2617313 w 8079933"/>
              <a:gd name="connsiteY29815" fmla="*/ 1356198 h 4687251"/>
              <a:gd name="connsiteX29816" fmla="*/ 2619374 w 8079933"/>
              <a:gd name="connsiteY29816" fmla="*/ 1356198 h 4687251"/>
              <a:gd name="connsiteX29817" fmla="*/ 2622412 w 8079933"/>
              <a:gd name="connsiteY29817" fmla="*/ 1353166 h 4687251"/>
              <a:gd name="connsiteX29818" fmla="*/ 2622847 w 8079933"/>
              <a:gd name="connsiteY29818" fmla="*/ 1356414 h 4687251"/>
              <a:gd name="connsiteX29819" fmla="*/ 2626211 w 8079933"/>
              <a:gd name="connsiteY29819" fmla="*/ 1358363 h 4687251"/>
              <a:gd name="connsiteX29820" fmla="*/ 2622630 w 8079933"/>
              <a:gd name="connsiteY29820" fmla="*/ 1364318 h 4687251"/>
              <a:gd name="connsiteX29821" fmla="*/ 2618397 w 8079933"/>
              <a:gd name="connsiteY29821" fmla="*/ 1365509 h 4687251"/>
              <a:gd name="connsiteX29822" fmla="*/ 2613406 w 8079933"/>
              <a:gd name="connsiteY29822" fmla="*/ 1364643 h 4687251"/>
              <a:gd name="connsiteX29823" fmla="*/ 2611018 w 8079933"/>
              <a:gd name="connsiteY29823" fmla="*/ 1367566 h 4687251"/>
              <a:gd name="connsiteX29824" fmla="*/ 2614599 w 8079933"/>
              <a:gd name="connsiteY29824" fmla="*/ 1369731 h 4687251"/>
              <a:gd name="connsiteX29825" fmla="*/ 2625560 w 8079933"/>
              <a:gd name="connsiteY29825" fmla="*/ 1366700 h 4687251"/>
              <a:gd name="connsiteX29826" fmla="*/ 2629141 w 8079933"/>
              <a:gd name="connsiteY29826" fmla="*/ 1367457 h 4687251"/>
              <a:gd name="connsiteX29827" fmla="*/ 2627838 w 8079933"/>
              <a:gd name="connsiteY29827" fmla="*/ 1371680 h 4687251"/>
              <a:gd name="connsiteX29828" fmla="*/ 2623607 w 8079933"/>
              <a:gd name="connsiteY29828" fmla="*/ 1376444 h 4687251"/>
              <a:gd name="connsiteX29829" fmla="*/ 2627079 w 8079933"/>
              <a:gd name="connsiteY29829" fmla="*/ 1378068 h 4687251"/>
              <a:gd name="connsiteX29830" fmla="*/ 2631094 w 8079933"/>
              <a:gd name="connsiteY29830" fmla="*/ 1375578 h 4687251"/>
              <a:gd name="connsiteX29831" fmla="*/ 2631094 w 8079933"/>
              <a:gd name="connsiteY29831" fmla="*/ 1380883 h 4687251"/>
              <a:gd name="connsiteX29832" fmla="*/ 2627079 w 8079933"/>
              <a:gd name="connsiteY29832" fmla="*/ 1386622 h 4687251"/>
              <a:gd name="connsiteX29833" fmla="*/ 2619700 w 8079933"/>
              <a:gd name="connsiteY29833" fmla="*/ 1386622 h 4687251"/>
              <a:gd name="connsiteX29834" fmla="*/ 2616227 w 8079933"/>
              <a:gd name="connsiteY29834" fmla="*/ 1384023 h 4687251"/>
              <a:gd name="connsiteX29835" fmla="*/ 2614383 w 8079933"/>
              <a:gd name="connsiteY29835" fmla="*/ 1387271 h 4687251"/>
              <a:gd name="connsiteX29836" fmla="*/ 2615359 w 8079933"/>
              <a:gd name="connsiteY29836" fmla="*/ 1390519 h 4687251"/>
              <a:gd name="connsiteX29837" fmla="*/ 2613623 w 8079933"/>
              <a:gd name="connsiteY29837" fmla="*/ 1394308 h 4687251"/>
              <a:gd name="connsiteX29838" fmla="*/ 2620242 w 8079933"/>
              <a:gd name="connsiteY29838" fmla="*/ 1391385 h 4687251"/>
              <a:gd name="connsiteX29839" fmla="*/ 2627622 w 8079933"/>
              <a:gd name="connsiteY29839" fmla="*/ 1391602 h 4687251"/>
              <a:gd name="connsiteX29840" fmla="*/ 2632830 w 8079933"/>
              <a:gd name="connsiteY29840" fmla="*/ 1389328 h 4687251"/>
              <a:gd name="connsiteX29841" fmla="*/ 2634133 w 8079933"/>
              <a:gd name="connsiteY29841" fmla="*/ 1390735 h 4687251"/>
              <a:gd name="connsiteX29842" fmla="*/ 2631420 w 8079933"/>
              <a:gd name="connsiteY29842" fmla="*/ 1393767 h 4687251"/>
              <a:gd name="connsiteX29843" fmla="*/ 2631420 w 8079933"/>
              <a:gd name="connsiteY29843" fmla="*/ 1396041 h 4687251"/>
              <a:gd name="connsiteX29844" fmla="*/ 2627296 w 8079933"/>
              <a:gd name="connsiteY29844" fmla="*/ 1398639 h 4687251"/>
              <a:gd name="connsiteX29845" fmla="*/ 2622739 w 8079933"/>
              <a:gd name="connsiteY29845" fmla="*/ 1398639 h 4687251"/>
              <a:gd name="connsiteX29846" fmla="*/ 2615902 w 8079933"/>
              <a:gd name="connsiteY29846" fmla="*/ 1407085 h 4687251"/>
              <a:gd name="connsiteX29847" fmla="*/ 2623498 w 8079933"/>
              <a:gd name="connsiteY29847" fmla="*/ 1403620 h 4687251"/>
              <a:gd name="connsiteX29848" fmla="*/ 2628598 w 8079933"/>
              <a:gd name="connsiteY29848" fmla="*/ 1403620 h 4687251"/>
              <a:gd name="connsiteX29849" fmla="*/ 2632071 w 8079933"/>
              <a:gd name="connsiteY29849" fmla="*/ 1402429 h 4687251"/>
              <a:gd name="connsiteX29850" fmla="*/ 2636411 w 8079933"/>
              <a:gd name="connsiteY29850" fmla="*/ 1403295 h 4687251"/>
              <a:gd name="connsiteX29851" fmla="*/ 2636411 w 8079933"/>
              <a:gd name="connsiteY29851" fmla="*/ 1407518 h 4687251"/>
              <a:gd name="connsiteX29852" fmla="*/ 2632613 w 8079933"/>
              <a:gd name="connsiteY29852" fmla="*/ 1408059 h 4687251"/>
              <a:gd name="connsiteX29853" fmla="*/ 2627622 w 8079933"/>
              <a:gd name="connsiteY29853" fmla="*/ 1411307 h 4687251"/>
              <a:gd name="connsiteX29854" fmla="*/ 2626211 w 8079933"/>
              <a:gd name="connsiteY29854" fmla="*/ 1415963 h 4687251"/>
              <a:gd name="connsiteX29855" fmla="*/ 2629141 w 8079933"/>
              <a:gd name="connsiteY29855" fmla="*/ 1413039 h 4687251"/>
              <a:gd name="connsiteX29856" fmla="*/ 2633590 w 8079933"/>
              <a:gd name="connsiteY29856" fmla="*/ 1414447 h 4687251"/>
              <a:gd name="connsiteX29857" fmla="*/ 2636194 w 8079933"/>
              <a:gd name="connsiteY29857" fmla="*/ 1411524 h 4687251"/>
              <a:gd name="connsiteX29858" fmla="*/ 2640644 w 8079933"/>
              <a:gd name="connsiteY29858" fmla="*/ 1415638 h 4687251"/>
              <a:gd name="connsiteX29859" fmla="*/ 2642922 w 8079933"/>
              <a:gd name="connsiteY29859" fmla="*/ 1423542 h 4687251"/>
              <a:gd name="connsiteX29860" fmla="*/ 2638147 w 8079933"/>
              <a:gd name="connsiteY29860" fmla="*/ 1427548 h 4687251"/>
              <a:gd name="connsiteX29861" fmla="*/ 2634892 w 8079933"/>
              <a:gd name="connsiteY29861" fmla="*/ 1426357 h 4687251"/>
              <a:gd name="connsiteX29862" fmla="*/ 2632396 w 8079933"/>
              <a:gd name="connsiteY29862" fmla="*/ 1428414 h 4687251"/>
              <a:gd name="connsiteX29863" fmla="*/ 2627730 w 8079933"/>
              <a:gd name="connsiteY29863" fmla="*/ 1428414 h 4687251"/>
              <a:gd name="connsiteX29864" fmla="*/ 2631203 w 8079933"/>
              <a:gd name="connsiteY29864" fmla="*/ 1431446 h 4687251"/>
              <a:gd name="connsiteX29865" fmla="*/ 2634458 w 8079933"/>
              <a:gd name="connsiteY29865" fmla="*/ 1430796 h 4687251"/>
              <a:gd name="connsiteX29866" fmla="*/ 2636520 w 8079933"/>
              <a:gd name="connsiteY29866" fmla="*/ 1432095 h 4687251"/>
              <a:gd name="connsiteX29867" fmla="*/ 2641729 w 8079933"/>
              <a:gd name="connsiteY29867" fmla="*/ 1432312 h 4687251"/>
              <a:gd name="connsiteX29868" fmla="*/ 2643790 w 8079933"/>
              <a:gd name="connsiteY29868" fmla="*/ 1434369 h 4687251"/>
              <a:gd name="connsiteX29869" fmla="*/ 2642380 w 8079933"/>
              <a:gd name="connsiteY29869" fmla="*/ 1438158 h 4687251"/>
              <a:gd name="connsiteX29870" fmla="*/ 2639124 w 8079933"/>
              <a:gd name="connsiteY29870" fmla="*/ 1440432 h 4687251"/>
              <a:gd name="connsiteX29871" fmla="*/ 2643465 w 8079933"/>
              <a:gd name="connsiteY29871" fmla="*/ 1441948 h 4687251"/>
              <a:gd name="connsiteX29872" fmla="*/ 2646937 w 8079933"/>
              <a:gd name="connsiteY29872" fmla="*/ 1441298 h 4687251"/>
              <a:gd name="connsiteX29873" fmla="*/ 2651386 w 8079933"/>
              <a:gd name="connsiteY29873" fmla="*/ 1445196 h 4687251"/>
              <a:gd name="connsiteX29874" fmla="*/ 2650301 w 8079933"/>
              <a:gd name="connsiteY29874" fmla="*/ 1449310 h 4687251"/>
              <a:gd name="connsiteX29875" fmla="*/ 2646720 w 8079933"/>
              <a:gd name="connsiteY29875" fmla="*/ 1451259 h 4687251"/>
              <a:gd name="connsiteX29876" fmla="*/ 2640861 w 8079933"/>
              <a:gd name="connsiteY29876" fmla="*/ 1456022 h 4687251"/>
              <a:gd name="connsiteX29877" fmla="*/ 2637279 w 8079933"/>
              <a:gd name="connsiteY29877" fmla="*/ 1454615 h 4687251"/>
              <a:gd name="connsiteX29878" fmla="*/ 2635869 w 8079933"/>
              <a:gd name="connsiteY29878" fmla="*/ 1456781 h 4687251"/>
              <a:gd name="connsiteX29879" fmla="*/ 2640209 w 8079933"/>
              <a:gd name="connsiteY29879" fmla="*/ 1458621 h 4687251"/>
              <a:gd name="connsiteX29880" fmla="*/ 2640535 w 8079933"/>
              <a:gd name="connsiteY29880" fmla="*/ 1461544 h 4687251"/>
              <a:gd name="connsiteX29881" fmla="*/ 2635543 w 8079933"/>
              <a:gd name="connsiteY29881" fmla="*/ 1462086 h 4687251"/>
              <a:gd name="connsiteX29882" fmla="*/ 2629358 w 8079933"/>
              <a:gd name="connsiteY29882" fmla="*/ 1458513 h 4687251"/>
              <a:gd name="connsiteX29883" fmla="*/ 2622630 w 8079933"/>
              <a:gd name="connsiteY29883" fmla="*/ 1458621 h 4687251"/>
              <a:gd name="connsiteX29884" fmla="*/ 2628815 w 8079933"/>
              <a:gd name="connsiteY29884" fmla="*/ 1462086 h 4687251"/>
              <a:gd name="connsiteX29885" fmla="*/ 2628923 w 8079933"/>
              <a:gd name="connsiteY29885" fmla="*/ 1466525 h 4687251"/>
              <a:gd name="connsiteX29886" fmla="*/ 2633807 w 8079933"/>
              <a:gd name="connsiteY29886" fmla="*/ 1470964 h 4687251"/>
              <a:gd name="connsiteX29887" fmla="*/ 2635869 w 8079933"/>
              <a:gd name="connsiteY29887" fmla="*/ 1473779 h 4687251"/>
              <a:gd name="connsiteX29888" fmla="*/ 2635001 w 8079933"/>
              <a:gd name="connsiteY29888" fmla="*/ 1475944 h 4687251"/>
              <a:gd name="connsiteX29889" fmla="*/ 2629792 w 8079933"/>
              <a:gd name="connsiteY29889" fmla="*/ 1476703 h 4687251"/>
              <a:gd name="connsiteX29890" fmla="*/ 2627947 w 8079933"/>
              <a:gd name="connsiteY29890" fmla="*/ 1479409 h 4687251"/>
              <a:gd name="connsiteX29891" fmla="*/ 2621436 w 8079933"/>
              <a:gd name="connsiteY29891" fmla="*/ 1478868 h 4687251"/>
              <a:gd name="connsiteX29892" fmla="*/ 2629792 w 8079933"/>
              <a:gd name="connsiteY29892" fmla="*/ 1481358 h 4687251"/>
              <a:gd name="connsiteX29893" fmla="*/ 2632939 w 8079933"/>
              <a:gd name="connsiteY29893" fmla="*/ 1480600 h 4687251"/>
              <a:gd name="connsiteX29894" fmla="*/ 2633481 w 8079933"/>
              <a:gd name="connsiteY29894" fmla="*/ 1478868 h 4687251"/>
              <a:gd name="connsiteX29895" fmla="*/ 2639992 w 8079933"/>
              <a:gd name="connsiteY29895" fmla="*/ 1477569 h 4687251"/>
              <a:gd name="connsiteX29896" fmla="*/ 2642597 w 8079933"/>
              <a:gd name="connsiteY29896" fmla="*/ 1478001 h 4687251"/>
              <a:gd name="connsiteX29897" fmla="*/ 2642597 w 8079933"/>
              <a:gd name="connsiteY29897" fmla="*/ 1481358 h 4687251"/>
              <a:gd name="connsiteX29898" fmla="*/ 2644442 w 8079933"/>
              <a:gd name="connsiteY29898" fmla="*/ 1483523 h 4687251"/>
              <a:gd name="connsiteX29899" fmla="*/ 2642271 w 8079933"/>
              <a:gd name="connsiteY29899" fmla="*/ 1485581 h 4687251"/>
              <a:gd name="connsiteX29900" fmla="*/ 2645201 w 8079933"/>
              <a:gd name="connsiteY29900" fmla="*/ 1486014 h 4687251"/>
              <a:gd name="connsiteX29901" fmla="*/ 2646070 w 8079933"/>
              <a:gd name="connsiteY29901" fmla="*/ 1487313 h 4687251"/>
              <a:gd name="connsiteX29902" fmla="*/ 2645201 w 8079933"/>
              <a:gd name="connsiteY29902" fmla="*/ 1490994 h 4687251"/>
              <a:gd name="connsiteX29903" fmla="*/ 2646503 w 8079933"/>
              <a:gd name="connsiteY29903" fmla="*/ 1492619 h 4687251"/>
              <a:gd name="connsiteX29904" fmla="*/ 2651061 w 8079933"/>
              <a:gd name="connsiteY29904" fmla="*/ 1489695 h 4687251"/>
              <a:gd name="connsiteX29905" fmla="*/ 2652580 w 8079933"/>
              <a:gd name="connsiteY29905" fmla="*/ 1490561 h 4687251"/>
              <a:gd name="connsiteX29906" fmla="*/ 2655727 w 8079933"/>
              <a:gd name="connsiteY29906" fmla="*/ 1491427 h 4687251"/>
              <a:gd name="connsiteX29907" fmla="*/ 2655293 w 8079933"/>
              <a:gd name="connsiteY29907" fmla="*/ 1497490 h 4687251"/>
              <a:gd name="connsiteX29908" fmla="*/ 2653666 w 8079933"/>
              <a:gd name="connsiteY29908" fmla="*/ 1500197 h 4687251"/>
              <a:gd name="connsiteX29909" fmla="*/ 2653666 w 8079933"/>
              <a:gd name="connsiteY29909" fmla="*/ 1502471 h 4687251"/>
              <a:gd name="connsiteX29910" fmla="*/ 2655836 w 8079933"/>
              <a:gd name="connsiteY29910" fmla="*/ 1502146 h 4687251"/>
              <a:gd name="connsiteX29911" fmla="*/ 2660502 w 8079933"/>
              <a:gd name="connsiteY29911" fmla="*/ 1495758 h 4687251"/>
              <a:gd name="connsiteX29912" fmla="*/ 2661587 w 8079933"/>
              <a:gd name="connsiteY29912" fmla="*/ 1496408 h 4687251"/>
              <a:gd name="connsiteX29913" fmla="*/ 2660827 w 8079933"/>
              <a:gd name="connsiteY29913" fmla="*/ 1500413 h 4687251"/>
              <a:gd name="connsiteX29914" fmla="*/ 2663649 w 8079933"/>
              <a:gd name="connsiteY29914" fmla="*/ 1503445 h 4687251"/>
              <a:gd name="connsiteX29915" fmla="*/ 2657897 w 8079933"/>
              <a:gd name="connsiteY29915" fmla="*/ 1507127 h 4687251"/>
              <a:gd name="connsiteX29916" fmla="*/ 2650736 w 8079933"/>
              <a:gd name="connsiteY29916" fmla="*/ 1516546 h 4687251"/>
              <a:gd name="connsiteX29917" fmla="*/ 2646503 w 8079933"/>
              <a:gd name="connsiteY29917" fmla="*/ 1519794 h 4687251"/>
              <a:gd name="connsiteX29918" fmla="*/ 2641512 w 8079933"/>
              <a:gd name="connsiteY29918" fmla="*/ 1518495 h 4687251"/>
              <a:gd name="connsiteX29919" fmla="*/ 2646178 w 8079933"/>
              <a:gd name="connsiteY29919" fmla="*/ 1521202 h 4687251"/>
              <a:gd name="connsiteX29920" fmla="*/ 2650301 w 8079933"/>
              <a:gd name="connsiteY29920" fmla="*/ 1520011 h 4687251"/>
              <a:gd name="connsiteX29921" fmla="*/ 2659091 w 8079933"/>
              <a:gd name="connsiteY29921" fmla="*/ 1511566 h 4687251"/>
              <a:gd name="connsiteX29922" fmla="*/ 2662564 w 8079933"/>
              <a:gd name="connsiteY29922" fmla="*/ 1511566 h 4687251"/>
              <a:gd name="connsiteX29923" fmla="*/ 2662781 w 8079933"/>
              <a:gd name="connsiteY29923" fmla="*/ 1514164 h 4687251"/>
              <a:gd name="connsiteX29924" fmla="*/ 2658766 w 8079933"/>
              <a:gd name="connsiteY29924" fmla="*/ 1517087 h 4687251"/>
              <a:gd name="connsiteX29925" fmla="*/ 2656596 w 8079933"/>
              <a:gd name="connsiteY29925" fmla="*/ 1521418 h 4687251"/>
              <a:gd name="connsiteX29926" fmla="*/ 2658982 w 8079933"/>
              <a:gd name="connsiteY29926" fmla="*/ 1522176 h 4687251"/>
              <a:gd name="connsiteX29927" fmla="*/ 2663757 w 8079933"/>
              <a:gd name="connsiteY29927" fmla="*/ 1516762 h 4687251"/>
              <a:gd name="connsiteX29928" fmla="*/ 2667881 w 8079933"/>
              <a:gd name="connsiteY29928" fmla="*/ 1511890 h 4687251"/>
              <a:gd name="connsiteX29929" fmla="*/ 2673090 w 8079933"/>
              <a:gd name="connsiteY29929" fmla="*/ 1511025 h 4687251"/>
              <a:gd name="connsiteX29930" fmla="*/ 2673090 w 8079933"/>
              <a:gd name="connsiteY29930" fmla="*/ 1513082 h 4687251"/>
              <a:gd name="connsiteX29931" fmla="*/ 2669509 w 8079933"/>
              <a:gd name="connsiteY29931" fmla="*/ 1515139 h 4687251"/>
              <a:gd name="connsiteX29932" fmla="*/ 2667447 w 8079933"/>
              <a:gd name="connsiteY29932" fmla="*/ 1517196 h 4687251"/>
              <a:gd name="connsiteX29933" fmla="*/ 2668966 w 8079933"/>
              <a:gd name="connsiteY29933" fmla="*/ 1518278 h 4687251"/>
              <a:gd name="connsiteX29934" fmla="*/ 2675369 w 8079933"/>
              <a:gd name="connsiteY29934" fmla="*/ 1515572 h 4687251"/>
              <a:gd name="connsiteX29935" fmla="*/ 2677431 w 8079933"/>
              <a:gd name="connsiteY29935" fmla="*/ 1517412 h 4687251"/>
              <a:gd name="connsiteX29936" fmla="*/ 2670486 w 8079933"/>
              <a:gd name="connsiteY29936" fmla="*/ 1522609 h 4687251"/>
              <a:gd name="connsiteX29937" fmla="*/ 2667556 w 8079933"/>
              <a:gd name="connsiteY29937" fmla="*/ 1526182 h 4687251"/>
              <a:gd name="connsiteX29938" fmla="*/ 2669835 w 8079933"/>
              <a:gd name="connsiteY29938" fmla="*/ 1526723 h 4687251"/>
              <a:gd name="connsiteX29939" fmla="*/ 2673633 w 8079933"/>
              <a:gd name="connsiteY29939" fmla="*/ 1523584 h 4687251"/>
              <a:gd name="connsiteX29940" fmla="*/ 2682531 w 8079933"/>
              <a:gd name="connsiteY29940" fmla="*/ 1515896 h 4687251"/>
              <a:gd name="connsiteX29941" fmla="*/ 2684267 w 8079933"/>
              <a:gd name="connsiteY29941" fmla="*/ 1516546 h 4687251"/>
              <a:gd name="connsiteX29942" fmla="*/ 2681880 w 8079933"/>
              <a:gd name="connsiteY29942" fmla="*/ 1518603 h 4687251"/>
              <a:gd name="connsiteX29943" fmla="*/ 2681337 w 8079933"/>
              <a:gd name="connsiteY29943" fmla="*/ 1520985 h 4687251"/>
              <a:gd name="connsiteX29944" fmla="*/ 2687848 w 8079933"/>
              <a:gd name="connsiteY29944" fmla="*/ 1516546 h 4687251"/>
              <a:gd name="connsiteX29945" fmla="*/ 2687197 w 8079933"/>
              <a:gd name="connsiteY29945" fmla="*/ 1518928 h 4687251"/>
              <a:gd name="connsiteX29946" fmla="*/ 2687088 w 8079933"/>
              <a:gd name="connsiteY29946" fmla="*/ 1526507 h 4687251"/>
              <a:gd name="connsiteX29947" fmla="*/ 2684267 w 8079933"/>
              <a:gd name="connsiteY29947" fmla="*/ 1527373 h 4687251"/>
              <a:gd name="connsiteX29948" fmla="*/ 2685027 w 8079933"/>
              <a:gd name="connsiteY29948" fmla="*/ 1530296 h 4687251"/>
              <a:gd name="connsiteX29949" fmla="*/ 2690127 w 8079933"/>
              <a:gd name="connsiteY29949" fmla="*/ 1529647 h 4687251"/>
              <a:gd name="connsiteX29950" fmla="*/ 2695661 w 8079933"/>
              <a:gd name="connsiteY29950" fmla="*/ 1532895 h 4687251"/>
              <a:gd name="connsiteX29951" fmla="*/ 2699242 w 8079933"/>
              <a:gd name="connsiteY29951" fmla="*/ 1528564 h 4687251"/>
              <a:gd name="connsiteX29952" fmla="*/ 2705970 w 8079933"/>
              <a:gd name="connsiteY29952" fmla="*/ 1526831 h 4687251"/>
              <a:gd name="connsiteX29953" fmla="*/ 2709118 w 8079933"/>
              <a:gd name="connsiteY29953" fmla="*/ 1528023 h 4687251"/>
              <a:gd name="connsiteX29954" fmla="*/ 2706838 w 8079933"/>
              <a:gd name="connsiteY29954" fmla="*/ 1532570 h 4687251"/>
              <a:gd name="connsiteX29955" fmla="*/ 2703908 w 8079933"/>
              <a:gd name="connsiteY29955" fmla="*/ 1532570 h 4687251"/>
              <a:gd name="connsiteX29956" fmla="*/ 2702172 w 8079933"/>
              <a:gd name="connsiteY29956" fmla="*/ 1534411 h 4687251"/>
              <a:gd name="connsiteX29957" fmla="*/ 2713567 w 8079933"/>
              <a:gd name="connsiteY29957" fmla="*/ 1537659 h 4687251"/>
              <a:gd name="connsiteX29958" fmla="*/ 2718016 w 8079933"/>
              <a:gd name="connsiteY29958" fmla="*/ 1541665 h 4687251"/>
              <a:gd name="connsiteX29959" fmla="*/ 2710528 w 8079933"/>
              <a:gd name="connsiteY29959" fmla="*/ 1542639 h 4687251"/>
              <a:gd name="connsiteX29960" fmla="*/ 2710528 w 8079933"/>
              <a:gd name="connsiteY29960" fmla="*/ 1544372 h 4687251"/>
              <a:gd name="connsiteX29961" fmla="*/ 2701195 w 8079933"/>
              <a:gd name="connsiteY29961" fmla="*/ 1546104 h 4687251"/>
              <a:gd name="connsiteX29962" fmla="*/ 2699242 w 8079933"/>
              <a:gd name="connsiteY29962" fmla="*/ 1544372 h 4687251"/>
              <a:gd name="connsiteX29963" fmla="*/ 2691863 w 8079933"/>
              <a:gd name="connsiteY29963" fmla="*/ 1547295 h 4687251"/>
              <a:gd name="connsiteX29964" fmla="*/ 2687848 w 8079933"/>
              <a:gd name="connsiteY29964" fmla="*/ 1551626 h 4687251"/>
              <a:gd name="connsiteX29965" fmla="*/ 2678733 w 8079933"/>
              <a:gd name="connsiteY29965" fmla="*/ 1551951 h 4687251"/>
              <a:gd name="connsiteX29966" fmla="*/ 2666362 w 8079933"/>
              <a:gd name="connsiteY29966" fmla="*/ 1554224 h 4687251"/>
              <a:gd name="connsiteX29967" fmla="*/ 2665711 w 8079933"/>
              <a:gd name="connsiteY29967" fmla="*/ 1557473 h 4687251"/>
              <a:gd name="connsiteX29968" fmla="*/ 2674826 w 8079933"/>
              <a:gd name="connsiteY29968" fmla="*/ 1555415 h 4687251"/>
              <a:gd name="connsiteX29969" fmla="*/ 2683942 w 8079933"/>
              <a:gd name="connsiteY29969" fmla="*/ 1552708 h 4687251"/>
              <a:gd name="connsiteX29970" fmla="*/ 2687088 w 8079933"/>
              <a:gd name="connsiteY29970" fmla="*/ 1553466 h 4687251"/>
              <a:gd name="connsiteX29971" fmla="*/ 2687740 w 8079933"/>
              <a:gd name="connsiteY29971" fmla="*/ 1555523 h 4687251"/>
              <a:gd name="connsiteX29972" fmla="*/ 2678624 w 8079933"/>
              <a:gd name="connsiteY29972" fmla="*/ 1556931 h 4687251"/>
              <a:gd name="connsiteX29973" fmla="*/ 2669835 w 8079933"/>
              <a:gd name="connsiteY29973" fmla="*/ 1558663 h 4687251"/>
              <a:gd name="connsiteX29974" fmla="*/ 2661913 w 8079933"/>
              <a:gd name="connsiteY29974" fmla="*/ 1562778 h 4687251"/>
              <a:gd name="connsiteX29975" fmla="*/ 2658766 w 8079933"/>
              <a:gd name="connsiteY29975" fmla="*/ 1565701 h 4687251"/>
              <a:gd name="connsiteX29976" fmla="*/ 2653231 w 8079933"/>
              <a:gd name="connsiteY29976" fmla="*/ 1565918 h 4687251"/>
              <a:gd name="connsiteX29977" fmla="*/ 2652580 w 8079933"/>
              <a:gd name="connsiteY29977" fmla="*/ 1570140 h 4687251"/>
              <a:gd name="connsiteX29978" fmla="*/ 2650736 w 8079933"/>
              <a:gd name="connsiteY29978" fmla="*/ 1572630 h 4687251"/>
              <a:gd name="connsiteX29979" fmla="*/ 2642271 w 8079933"/>
              <a:gd name="connsiteY29979" fmla="*/ 1566892 h 4687251"/>
              <a:gd name="connsiteX29980" fmla="*/ 2637279 w 8079933"/>
              <a:gd name="connsiteY29980" fmla="*/ 1558339 h 4687251"/>
              <a:gd name="connsiteX29981" fmla="*/ 2637605 w 8079933"/>
              <a:gd name="connsiteY29981" fmla="*/ 1562345 h 4687251"/>
              <a:gd name="connsiteX29982" fmla="*/ 2636303 w 8079933"/>
              <a:gd name="connsiteY29982" fmla="*/ 1564726 h 4687251"/>
              <a:gd name="connsiteX29983" fmla="*/ 2639775 w 8079933"/>
              <a:gd name="connsiteY29983" fmla="*/ 1566242 h 4687251"/>
              <a:gd name="connsiteX29984" fmla="*/ 2640644 w 8079933"/>
              <a:gd name="connsiteY29984" fmla="*/ 1568300 h 4687251"/>
              <a:gd name="connsiteX29985" fmla="*/ 2650193 w 8079933"/>
              <a:gd name="connsiteY29985" fmla="*/ 1576203 h 4687251"/>
              <a:gd name="connsiteX29986" fmla="*/ 2648782 w 8079933"/>
              <a:gd name="connsiteY29986" fmla="*/ 1579126 h 4687251"/>
              <a:gd name="connsiteX29987" fmla="*/ 2646070 w 8079933"/>
              <a:gd name="connsiteY29987" fmla="*/ 1578261 h 4687251"/>
              <a:gd name="connsiteX29988" fmla="*/ 2642922 w 8079933"/>
              <a:gd name="connsiteY29988" fmla="*/ 1580967 h 4687251"/>
              <a:gd name="connsiteX29989" fmla="*/ 2644875 w 8079933"/>
              <a:gd name="connsiteY29989" fmla="*/ 1584648 h 4687251"/>
              <a:gd name="connsiteX29990" fmla="*/ 2647263 w 8079933"/>
              <a:gd name="connsiteY29990" fmla="*/ 1585190 h 4687251"/>
              <a:gd name="connsiteX29991" fmla="*/ 2649000 w 8079933"/>
              <a:gd name="connsiteY29991" fmla="*/ 1583132 h 4687251"/>
              <a:gd name="connsiteX29992" fmla="*/ 2652038 w 8079933"/>
              <a:gd name="connsiteY29992" fmla="*/ 1583241 h 4687251"/>
              <a:gd name="connsiteX29993" fmla="*/ 2656053 w 8079933"/>
              <a:gd name="connsiteY29993" fmla="*/ 1575012 h 4687251"/>
              <a:gd name="connsiteX29994" fmla="*/ 2663107 w 8079933"/>
              <a:gd name="connsiteY29994" fmla="*/ 1575337 h 4687251"/>
              <a:gd name="connsiteX29995" fmla="*/ 2668098 w 8079933"/>
              <a:gd name="connsiteY29995" fmla="*/ 1571006 h 4687251"/>
              <a:gd name="connsiteX29996" fmla="*/ 2671679 w 8079933"/>
              <a:gd name="connsiteY29996" fmla="*/ 1570681 h 4687251"/>
              <a:gd name="connsiteX29997" fmla="*/ 2673633 w 8079933"/>
              <a:gd name="connsiteY29997" fmla="*/ 1566242 h 4687251"/>
              <a:gd name="connsiteX29998" fmla="*/ 2678299 w 8079933"/>
              <a:gd name="connsiteY29998" fmla="*/ 1561045 h 4687251"/>
              <a:gd name="connsiteX29999" fmla="*/ 2683725 w 8079933"/>
              <a:gd name="connsiteY29999" fmla="*/ 1560396 h 4687251"/>
              <a:gd name="connsiteX30000" fmla="*/ 2691321 w 8079933"/>
              <a:gd name="connsiteY30000" fmla="*/ 1557147 h 4687251"/>
              <a:gd name="connsiteX30001" fmla="*/ 2697506 w 8079933"/>
              <a:gd name="connsiteY30001" fmla="*/ 1557797 h 4687251"/>
              <a:gd name="connsiteX30002" fmla="*/ 2702498 w 8079933"/>
              <a:gd name="connsiteY30002" fmla="*/ 1557473 h 4687251"/>
              <a:gd name="connsiteX30003" fmla="*/ 2700436 w 8079933"/>
              <a:gd name="connsiteY30003" fmla="*/ 1556065 h 4687251"/>
              <a:gd name="connsiteX30004" fmla="*/ 2694902 w 8079933"/>
              <a:gd name="connsiteY30004" fmla="*/ 1556065 h 4687251"/>
              <a:gd name="connsiteX30005" fmla="*/ 2693383 w 8079933"/>
              <a:gd name="connsiteY30005" fmla="*/ 1554765 h 4687251"/>
              <a:gd name="connsiteX30006" fmla="*/ 2696856 w 8079933"/>
              <a:gd name="connsiteY30006" fmla="*/ 1553358 h 4687251"/>
              <a:gd name="connsiteX30007" fmla="*/ 2706838 w 8079933"/>
              <a:gd name="connsiteY30007" fmla="*/ 1552167 h 4687251"/>
              <a:gd name="connsiteX30008" fmla="*/ 2714977 w 8079933"/>
              <a:gd name="connsiteY30008" fmla="*/ 1554224 h 4687251"/>
              <a:gd name="connsiteX30009" fmla="*/ 2718342 w 8079933"/>
              <a:gd name="connsiteY30009" fmla="*/ 1561803 h 4687251"/>
              <a:gd name="connsiteX30010" fmla="*/ 2717691 w 8079933"/>
              <a:gd name="connsiteY30010" fmla="*/ 1566026 h 4687251"/>
              <a:gd name="connsiteX30011" fmla="*/ 2712373 w 8079933"/>
              <a:gd name="connsiteY30011" fmla="*/ 1570898 h 4687251"/>
              <a:gd name="connsiteX30012" fmla="*/ 2709768 w 8079933"/>
              <a:gd name="connsiteY30012" fmla="*/ 1571006 h 4687251"/>
              <a:gd name="connsiteX30013" fmla="*/ 2706296 w 8079933"/>
              <a:gd name="connsiteY30013" fmla="*/ 1574687 h 4687251"/>
              <a:gd name="connsiteX30014" fmla="*/ 2712373 w 8079933"/>
              <a:gd name="connsiteY30014" fmla="*/ 1575012 h 4687251"/>
              <a:gd name="connsiteX30015" fmla="*/ 2714109 w 8079933"/>
              <a:gd name="connsiteY30015" fmla="*/ 1578910 h 4687251"/>
              <a:gd name="connsiteX30016" fmla="*/ 2716497 w 8079933"/>
              <a:gd name="connsiteY30016" fmla="*/ 1576745 h 4687251"/>
              <a:gd name="connsiteX30017" fmla="*/ 2718016 w 8079933"/>
              <a:gd name="connsiteY30017" fmla="*/ 1572630 h 4687251"/>
              <a:gd name="connsiteX30018" fmla="*/ 2724961 w 8079933"/>
              <a:gd name="connsiteY30018" fmla="*/ 1568949 h 4687251"/>
              <a:gd name="connsiteX30019" fmla="*/ 2730170 w 8079933"/>
              <a:gd name="connsiteY30019" fmla="*/ 1569165 h 4687251"/>
              <a:gd name="connsiteX30020" fmla="*/ 2730929 w 8079933"/>
              <a:gd name="connsiteY30020" fmla="*/ 1571006 h 4687251"/>
              <a:gd name="connsiteX30021" fmla="*/ 2729193 w 8079933"/>
              <a:gd name="connsiteY30021" fmla="*/ 1571764 h 4687251"/>
              <a:gd name="connsiteX30022" fmla="*/ 2728542 w 8079933"/>
              <a:gd name="connsiteY30022" fmla="*/ 1574687 h 4687251"/>
              <a:gd name="connsiteX30023" fmla="*/ 2735161 w 8079933"/>
              <a:gd name="connsiteY30023" fmla="*/ 1575012 h 4687251"/>
              <a:gd name="connsiteX30024" fmla="*/ 2741130 w 8079933"/>
              <a:gd name="connsiteY30024" fmla="*/ 1577719 h 4687251"/>
              <a:gd name="connsiteX30025" fmla="*/ 2742215 w 8079933"/>
              <a:gd name="connsiteY30025" fmla="*/ 1580534 h 4687251"/>
              <a:gd name="connsiteX30026" fmla="*/ 2737874 w 8079933"/>
              <a:gd name="connsiteY30026" fmla="*/ 1578261 h 4687251"/>
              <a:gd name="connsiteX30027" fmla="*/ 2735596 w 8079933"/>
              <a:gd name="connsiteY30027" fmla="*/ 1578910 h 4687251"/>
              <a:gd name="connsiteX30028" fmla="*/ 2736789 w 8079933"/>
              <a:gd name="connsiteY30028" fmla="*/ 1583241 h 4687251"/>
              <a:gd name="connsiteX30029" fmla="*/ 2743408 w 8079933"/>
              <a:gd name="connsiteY30029" fmla="*/ 1586056 h 4687251"/>
              <a:gd name="connsiteX30030" fmla="*/ 2744603 w 8079933"/>
              <a:gd name="connsiteY30030" fmla="*/ 1589412 h 4687251"/>
              <a:gd name="connsiteX30031" fmla="*/ 2740804 w 8079933"/>
              <a:gd name="connsiteY30031" fmla="*/ 1592552 h 4687251"/>
              <a:gd name="connsiteX30032" fmla="*/ 2737006 w 8079933"/>
              <a:gd name="connsiteY30032" fmla="*/ 1591361 h 4687251"/>
              <a:gd name="connsiteX30033" fmla="*/ 2733208 w 8079933"/>
              <a:gd name="connsiteY30033" fmla="*/ 1594718 h 4687251"/>
              <a:gd name="connsiteX30034" fmla="*/ 2740262 w 8079933"/>
              <a:gd name="connsiteY30034" fmla="*/ 1596991 h 4687251"/>
              <a:gd name="connsiteX30035" fmla="*/ 2738417 w 8079933"/>
              <a:gd name="connsiteY30035" fmla="*/ 1601430 h 4687251"/>
              <a:gd name="connsiteX30036" fmla="*/ 2735270 w 8079933"/>
              <a:gd name="connsiteY30036" fmla="*/ 1602512 h 4687251"/>
              <a:gd name="connsiteX30037" fmla="*/ 2733859 w 8079933"/>
              <a:gd name="connsiteY30037" fmla="*/ 1606627 h 4687251"/>
              <a:gd name="connsiteX30038" fmla="*/ 2729953 w 8079933"/>
              <a:gd name="connsiteY30038" fmla="*/ 1608576 h 4687251"/>
              <a:gd name="connsiteX30039" fmla="*/ 2724310 w 8079933"/>
              <a:gd name="connsiteY30039" fmla="*/ 1604895 h 4687251"/>
              <a:gd name="connsiteX30040" fmla="*/ 2726697 w 8079933"/>
              <a:gd name="connsiteY30040" fmla="*/ 1608685 h 4687251"/>
              <a:gd name="connsiteX30041" fmla="*/ 2733317 w 8079933"/>
              <a:gd name="connsiteY30041" fmla="*/ 1611608 h 4687251"/>
              <a:gd name="connsiteX30042" fmla="*/ 2737224 w 8079933"/>
              <a:gd name="connsiteY30042" fmla="*/ 1611283 h 4687251"/>
              <a:gd name="connsiteX30043" fmla="*/ 2740587 w 8079933"/>
              <a:gd name="connsiteY30043" fmla="*/ 1615072 h 4687251"/>
              <a:gd name="connsiteX30044" fmla="*/ 2737115 w 8079933"/>
              <a:gd name="connsiteY30044" fmla="*/ 1616263 h 4687251"/>
              <a:gd name="connsiteX30045" fmla="*/ 2732883 w 8079933"/>
              <a:gd name="connsiteY30045" fmla="*/ 1615505 h 4687251"/>
              <a:gd name="connsiteX30046" fmla="*/ 2730495 w 8079933"/>
              <a:gd name="connsiteY30046" fmla="*/ 1615722 h 4687251"/>
              <a:gd name="connsiteX30047" fmla="*/ 2733859 w 8079933"/>
              <a:gd name="connsiteY30047" fmla="*/ 1618320 h 4687251"/>
              <a:gd name="connsiteX30048" fmla="*/ 2737657 w 8079933"/>
              <a:gd name="connsiteY30048" fmla="*/ 1617238 h 4687251"/>
              <a:gd name="connsiteX30049" fmla="*/ 2740587 w 8079933"/>
              <a:gd name="connsiteY30049" fmla="*/ 1618862 h 4687251"/>
              <a:gd name="connsiteX30050" fmla="*/ 2738200 w 8079933"/>
              <a:gd name="connsiteY30050" fmla="*/ 1623301 h 4687251"/>
              <a:gd name="connsiteX30051" fmla="*/ 2737549 w 8079933"/>
              <a:gd name="connsiteY30051" fmla="*/ 1627632 h 4687251"/>
              <a:gd name="connsiteX30052" fmla="*/ 2734076 w 8079933"/>
              <a:gd name="connsiteY30052" fmla="*/ 1627740 h 4687251"/>
              <a:gd name="connsiteX30053" fmla="*/ 2732340 w 8079933"/>
              <a:gd name="connsiteY30053" fmla="*/ 1631529 h 4687251"/>
              <a:gd name="connsiteX30054" fmla="*/ 2725829 w 8079933"/>
              <a:gd name="connsiteY30054" fmla="*/ 1636401 h 4687251"/>
              <a:gd name="connsiteX30055" fmla="*/ 2720404 w 8079933"/>
              <a:gd name="connsiteY30055" fmla="*/ 1636726 h 4687251"/>
              <a:gd name="connsiteX30056" fmla="*/ 2715846 w 8079933"/>
              <a:gd name="connsiteY30056" fmla="*/ 1640624 h 4687251"/>
              <a:gd name="connsiteX30057" fmla="*/ 2713784 w 8079933"/>
              <a:gd name="connsiteY30057" fmla="*/ 1640624 h 4687251"/>
              <a:gd name="connsiteX30058" fmla="*/ 2710094 w 8079933"/>
              <a:gd name="connsiteY30058" fmla="*/ 1644413 h 4687251"/>
              <a:gd name="connsiteX30059" fmla="*/ 2707381 w 8079933"/>
              <a:gd name="connsiteY30059" fmla="*/ 1644630 h 4687251"/>
              <a:gd name="connsiteX30060" fmla="*/ 2706296 w 8079933"/>
              <a:gd name="connsiteY30060" fmla="*/ 1647229 h 4687251"/>
              <a:gd name="connsiteX30061" fmla="*/ 2702172 w 8079933"/>
              <a:gd name="connsiteY30061" fmla="*/ 1647878 h 4687251"/>
              <a:gd name="connsiteX30062" fmla="*/ 2699677 w 8079933"/>
              <a:gd name="connsiteY30062" fmla="*/ 1645280 h 4687251"/>
              <a:gd name="connsiteX30063" fmla="*/ 2696204 w 8079933"/>
              <a:gd name="connsiteY30063" fmla="*/ 1647337 h 4687251"/>
              <a:gd name="connsiteX30064" fmla="*/ 2692406 w 8079933"/>
              <a:gd name="connsiteY30064" fmla="*/ 1646795 h 4687251"/>
              <a:gd name="connsiteX30065" fmla="*/ 2691213 w 8079933"/>
              <a:gd name="connsiteY30065" fmla="*/ 1645171 h 4687251"/>
              <a:gd name="connsiteX30066" fmla="*/ 2686329 w 8079933"/>
              <a:gd name="connsiteY30066" fmla="*/ 1648528 h 4687251"/>
              <a:gd name="connsiteX30067" fmla="*/ 2681012 w 8079933"/>
              <a:gd name="connsiteY30067" fmla="*/ 1647878 h 4687251"/>
              <a:gd name="connsiteX30068" fmla="*/ 2678733 w 8079933"/>
              <a:gd name="connsiteY30068" fmla="*/ 1644413 h 4687251"/>
              <a:gd name="connsiteX30069" fmla="*/ 2677214 w 8079933"/>
              <a:gd name="connsiteY30069" fmla="*/ 1645821 h 4687251"/>
              <a:gd name="connsiteX30070" fmla="*/ 2677756 w 8079933"/>
              <a:gd name="connsiteY30070" fmla="*/ 1648744 h 4687251"/>
              <a:gd name="connsiteX30071" fmla="*/ 2673198 w 8079933"/>
              <a:gd name="connsiteY30071" fmla="*/ 1649827 h 4687251"/>
              <a:gd name="connsiteX30072" fmla="*/ 2668424 w 8079933"/>
              <a:gd name="connsiteY30072" fmla="*/ 1649394 h 4687251"/>
              <a:gd name="connsiteX30073" fmla="*/ 2666905 w 8079933"/>
              <a:gd name="connsiteY30073" fmla="*/ 1651343 h 4687251"/>
              <a:gd name="connsiteX30074" fmla="*/ 2668749 w 8079933"/>
              <a:gd name="connsiteY30074" fmla="*/ 1651993 h 4687251"/>
              <a:gd name="connsiteX30075" fmla="*/ 2668098 w 8079933"/>
              <a:gd name="connsiteY30075" fmla="*/ 1654807 h 4687251"/>
              <a:gd name="connsiteX30076" fmla="*/ 2664517 w 8079933"/>
              <a:gd name="connsiteY30076" fmla="*/ 1658164 h 4687251"/>
              <a:gd name="connsiteX30077" fmla="*/ 2661695 w 8079933"/>
              <a:gd name="connsiteY30077" fmla="*/ 1657731 h 4687251"/>
              <a:gd name="connsiteX30078" fmla="*/ 2661587 w 8079933"/>
              <a:gd name="connsiteY30078" fmla="*/ 1661845 h 4687251"/>
              <a:gd name="connsiteX30079" fmla="*/ 2658332 w 8079933"/>
              <a:gd name="connsiteY30079" fmla="*/ 1668450 h 4687251"/>
              <a:gd name="connsiteX30080" fmla="*/ 2654534 w 8079933"/>
              <a:gd name="connsiteY30080" fmla="*/ 1667800 h 4687251"/>
              <a:gd name="connsiteX30081" fmla="*/ 2653123 w 8079933"/>
              <a:gd name="connsiteY30081" fmla="*/ 1669857 h 4687251"/>
              <a:gd name="connsiteX30082" fmla="*/ 2649000 w 8079933"/>
              <a:gd name="connsiteY30082" fmla="*/ 1672131 h 4687251"/>
              <a:gd name="connsiteX30083" fmla="*/ 2645852 w 8079933"/>
              <a:gd name="connsiteY30083" fmla="*/ 1676786 h 4687251"/>
              <a:gd name="connsiteX30084" fmla="*/ 2644007 w 8079933"/>
              <a:gd name="connsiteY30084" fmla="*/ 1676137 h 4687251"/>
              <a:gd name="connsiteX30085" fmla="*/ 2641186 w 8079933"/>
              <a:gd name="connsiteY30085" fmla="*/ 1677761 h 4687251"/>
              <a:gd name="connsiteX30086" fmla="*/ 2636194 w 8079933"/>
              <a:gd name="connsiteY30086" fmla="*/ 1677652 h 4687251"/>
              <a:gd name="connsiteX30087" fmla="*/ 2635218 w 8079933"/>
              <a:gd name="connsiteY30087" fmla="*/ 1680684 h 4687251"/>
              <a:gd name="connsiteX30088" fmla="*/ 2630877 w 8079933"/>
              <a:gd name="connsiteY30088" fmla="*/ 1682633 h 4687251"/>
              <a:gd name="connsiteX30089" fmla="*/ 2627730 w 8079933"/>
              <a:gd name="connsiteY30089" fmla="*/ 1680684 h 4687251"/>
              <a:gd name="connsiteX30090" fmla="*/ 2620242 w 8079933"/>
              <a:gd name="connsiteY30090" fmla="*/ 1680576 h 4687251"/>
              <a:gd name="connsiteX30091" fmla="*/ 2618289 w 8079933"/>
              <a:gd name="connsiteY30091" fmla="*/ 1678952 h 4687251"/>
              <a:gd name="connsiteX30092" fmla="*/ 2612971 w 8079933"/>
              <a:gd name="connsiteY30092" fmla="*/ 1680684 h 4687251"/>
              <a:gd name="connsiteX30093" fmla="*/ 2610367 w 8079933"/>
              <a:gd name="connsiteY30093" fmla="*/ 1680576 h 4687251"/>
              <a:gd name="connsiteX30094" fmla="*/ 2599516 w 8079933"/>
              <a:gd name="connsiteY30094" fmla="*/ 1684366 h 4687251"/>
              <a:gd name="connsiteX30095" fmla="*/ 2595066 w 8079933"/>
              <a:gd name="connsiteY30095" fmla="*/ 1683174 h 4687251"/>
              <a:gd name="connsiteX30096" fmla="*/ 2596043 w 8079933"/>
              <a:gd name="connsiteY30096" fmla="*/ 1680576 h 4687251"/>
              <a:gd name="connsiteX30097" fmla="*/ 2592679 w 8079933"/>
              <a:gd name="connsiteY30097" fmla="*/ 1679710 h 4687251"/>
              <a:gd name="connsiteX30098" fmla="*/ 2588338 w 8079933"/>
              <a:gd name="connsiteY30098" fmla="*/ 1681442 h 4687251"/>
              <a:gd name="connsiteX30099" fmla="*/ 2584757 w 8079933"/>
              <a:gd name="connsiteY30099" fmla="*/ 1681550 h 4687251"/>
              <a:gd name="connsiteX30100" fmla="*/ 2577813 w 8079933"/>
              <a:gd name="connsiteY30100" fmla="*/ 1678519 h 4687251"/>
              <a:gd name="connsiteX30101" fmla="*/ 2575533 w 8079933"/>
              <a:gd name="connsiteY30101" fmla="*/ 1679168 h 4687251"/>
              <a:gd name="connsiteX30102" fmla="*/ 2570108 w 8079933"/>
              <a:gd name="connsiteY30102" fmla="*/ 1678519 h 4687251"/>
              <a:gd name="connsiteX30103" fmla="*/ 2566092 w 8079933"/>
              <a:gd name="connsiteY30103" fmla="*/ 1675595 h 4687251"/>
              <a:gd name="connsiteX30104" fmla="*/ 2563705 w 8079933"/>
              <a:gd name="connsiteY30104" fmla="*/ 1675595 h 4687251"/>
              <a:gd name="connsiteX30105" fmla="*/ 2560449 w 8079933"/>
              <a:gd name="connsiteY30105" fmla="*/ 1678194 h 4687251"/>
              <a:gd name="connsiteX30106" fmla="*/ 2553288 w 8079933"/>
              <a:gd name="connsiteY30106" fmla="*/ 1677436 h 4687251"/>
              <a:gd name="connsiteX30107" fmla="*/ 2547645 w 8079933"/>
              <a:gd name="connsiteY30107" fmla="*/ 1673863 h 4687251"/>
              <a:gd name="connsiteX30108" fmla="*/ 2543847 w 8079933"/>
              <a:gd name="connsiteY30108" fmla="*/ 1676245 h 4687251"/>
              <a:gd name="connsiteX30109" fmla="*/ 2539614 w 8079933"/>
              <a:gd name="connsiteY30109" fmla="*/ 1676462 h 4687251"/>
              <a:gd name="connsiteX30110" fmla="*/ 2535925 w 8079933"/>
              <a:gd name="connsiteY30110" fmla="*/ 1673539 h 4687251"/>
              <a:gd name="connsiteX30111" fmla="*/ 2530608 w 8079933"/>
              <a:gd name="connsiteY30111" fmla="*/ 1676462 h 4687251"/>
              <a:gd name="connsiteX30112" fmla="*/ 2527895 w 8079933"/>
              <a:gd name="connsiteY30112" fmla="*/ 1675595 h 4687251"/>
              <a:gd name="connsiteX30113" fmla="*/ 2524747 w 8079933"/>
              <a:gd name="connsiteY30113" fmla="*/ 1675704 h 4687251"/>
              <a:gd name="connsiteX30114" fmla="*/ 2517477 w 8079933"/>
              <a:gd name="connsiteY30114" fmla="*/ 1672780 h 4687251"/>
              <a:gd name="connsiteX30115" fmla="*/ 2507710 w 8079933"/>
              <a:gd name="connsiteY30115" fmla="*/ 1674405 h 4687251"/>
              <a:gd name="connsiteX30116" fmla="*/ 2501851 w 8079933"/>
              <a:gd name="connsiteY30116" fmla="*/ 1672672 h 4687251"/>
              <a:gd name="connsiteX30117" fmla="*/ 2497510 w 8079933"/>
              <a:gd name="connsiteY30117" fmla="*/ 1668341 h 4687251"/>
              <a:gd name="connsiteX30118" fmla="*/ 2493712 w 8079933"/>
              <a:gd name="connsiteY30118" fmla="*/ 1670182 h 4687251"/>
              <a:gd name="connsiteX30119" fmla="*/ 2491325 w 8079933"/>
              <a:gd name="connsiteY30119" fmla="*/ 1672997 h 4687251"/>
              <a:gd name="connsiteX30120" fmla="*/ 2493603 w 8079933"/>
              <a:gd name="connsiteY30120" fmla="*/ 1675162 h 4687251"/>
              <a:gd name="connsiteX30121" fmla="*/ 2491542 w 8079933"/>
              <a:gd name="connsiteY30121" fmla="*/ 1677328 h 4687251"/>
              <a:gd name="connsiteX30122" fmla="*/ 2487201 w 8079933"/>
              <a:gd name="connsiteY30122" fmla="*/ 1678194 h 4687251"/>
              <a:gd name="connsiteX30123" fmla="*/ 2478628 w 8079933"/>
              <a:gd name="connsiteY30123" fmla="*/ 1685990 h 4687251"/>
              <a:gd name="connsiteX30124" fmla="*/ 2473093 w 8079933"/>
              <a:gd name="connsiteY30124" fmla="*/ 1688588 h 4687251"/>
              <a:gd name="connsiteX30125" fmla="*/ 2472768 w 8079933"/>
              <a:gd name="connsiteY30125" fmla="*/ 1692269 h 4687251"/>
              <a:gd name="connsiteX30126" fmla="*/ 2470706 w 8079933"/>
              <a:gd name="connsiteY30126" fmla="*/ 1694759 h 4687251"/>
              <a:gd name="connsiteX30127" fmla="*/ 2469947 w 8079933"/>
              <a:gd name="connsiteY30127" fmla="*/ 1700606 h 4687251"/>
              <a:gd name="connsiteX30128" fmla="*/ 2467017 w 8079933"/>
              <a:gd name="connsiteY30128" fmla="*/ 1704612 h 4687251"/>
              <a:gd name="connsiteX30129" fmla="*/ 2459854 w 8079933"/>
              <a:gd name="connsiteY30129" fmla="*/ 1704612 h 4687251"/>
              <a:gd name="connsiteX30130" fmla="*/ 2455948 w 8079933"/>
              <a:gd name="connsiteY30130" fmla="*/ 1706453 h 4687251"/>
              <a:gd name="connsiteX30131" fmla="*/ 2447700 w 8079933"/>
              <a:gd name="connsiteY30131" fmla="*/ 1706994 h 4687251"/>
              <a:gd name="connsiteX30132" fmla="*/ 2443903 w 8079933"/>
              <a:gd name="connsiteY30132" fmla="*/ 1712408 h 4687251"/>
              <a:gd name="connsiteX30133" fmla="*/ 2441190 w 8079933"/>
              <a:gd name="connsiteY30133" fmla="*/ 1713057 h 4687251"/>
              <a:gd name="connsiteX30134" fmla="*/ 2439236 w 8079933"/>
              <a:gd name="connsiteY30134" fmla="*/ 1711108 h 4687251"/>
              <a:gd name="connsiteX30135" fmla="*/ 2435330 w 8079933"/>
              <a:gd name="connsiteY30135" fmla="*/ 1713490 h 4687251"/>
              <a:gd name="connsiteX30136" fmla="*/ 2433485 w 8079933"/>
              <a:gd name="connsiteY30136" fmla="*/ 1718363 h 4687251"/>
              <a:gd name="connsiteX30137" fmla="*/ 2428819 w 8079933"/>
              <a:gd name="connsiteY30137" fmla="*/ 1719445 h 4687251"/>
              <a:gd name="connsiteX30138" fmla="*/ 2423827 w 8079933"/>
              <a:gd name="connsiteY30138" fmla="*/ 1723126 h 4687251"/>
              <a:gd name="connsiteX30139" fmla="*/ 2422634 w 8079933"/>
              <a:gd name="connsiteY30139" fmla="*/ 1725616 h 4687251"/>
              <a:gd name="connsiteX30140" fmla="*/ 2420029 w 8079933"/>
              <a:gd name="connsiteY30140" fmla="*/ 1726483 h 4687251"/>
              <a:gd name="connsiteX30141" fmla="*/ 2414278 w 8079933"/>
              <a:gd name="connsiteY30141" fmla="*/ 1735036 h 4687251"/>
              <a:gd name="connsiteX30142" fmla="*/ 2404837 w 8079933"/>
              <a:gd name="connsiteY30142" fmla="*/ 1739800 h 4687251"/>
              <a:gd name="connsiteX30143" fmla="*/ 2402449 w 8079933"/>
              <a:gd name="connsiteY30143" fmla="*/ 1748137 h 4687251"/>
              <a:gd name="connsiteX30144" fmla="*/ 2396047 w 8079933"/>
              <a:gd name="connsiteY30144" fmla="*/ 1751385 h 4687251"/>
              <a:gd name="connsiteX30145" fmla="*/ 2390730 w 8079933"/>
              <a:gd name="connsiteY30145" fmla="*/ 1756907 h 4687251"/>
              <a:gd name="connsiteX30146" fmla="*/ 2385846 w 8079933"/>
              <a:gd name="connsiteY30146" fmla="*/ 1758098 h 4687251"/>
              <a:gd name="connsiteX30147" fmla="*/ 2384219 w 8079933"/>
              <a:gd name="connsiteY30147" fmla="*/ 1764053 h 4687251"/>
              <a:gd name="connsiteX30148" fmla="*/ 2380854 w 8079933"/>
              <a:gd name="connsiteY30148" fmla="*/ 1769033 h 4687251"/>
              <a:gd name="connsiteX30149" fmla="*/ 2369894 w 8079933"/>
              <a:gd name="connsiteY30149" fmla="*/ 1775638 h 4687251"/>
              <a:gd name="connsiteX30150" fmla="*/ 2369135 w 8079933"/>
              <a:gd name="connsiteY30150" fmla="*/ 1779318 h 4687251"/>
              <a:gd name="connsiteX30151" fmla="*/ 2356547 w 8079933"/>
              <a:gd name="connsiteY30151" fmla="*/ 1784732 h 4687251"/>
              <a:gd name="connsiteX30152" fmla="*/ 2349385 w 8079933"/>
              <a:gd name="connsiteY30152" fmla="*/ 1786465 h 4687251"/>
              <a:gd name="connsiteX30153" fmla="*/ 2355136 w 8079933"/>
              <a:gd name="connsiteY30153" fmla="*/ 1786681 h 4687251"/>
              <a:gd name="connsiteX30154" fmla="*/ 2367399 w 8079933"/>
              <a:gd name="connsiteY30154" fmla="*/ 1781267 h 4687251"/>
              <a:gd name="connsiteX30155" fmla="*/ 2378141 w 8079933"/>
              <a:gd name="connsiteY30155" fmla="*/ 1776071 h 4687251"/>
              <a:gd name="connsiteX30156" fmla="*/ 2386280 w 8079933"/>
              <a:gd name="connsiteY30156" fmla="*/ 1771090 h 4687251"/>
              <a:gd name="connsiteX30157" fmla="*/ 2392575 w 8079933"/>
              <a:gd name="connsiteY30157" fmla="*/ 1763078 h 4687251"/>
              <a:gd name="connsiteX30158" fmla="*/ 2397891 w 8079933"/>
              <a:gd name="connsiteY30158" fmla="*/ 1757340 h 4687251"/>
              <a:gd name="connsiteX30159" fmla="*/ 2401907 w 8079933"/>
              <a:gd name="connsiteY30159" fmla="*/ 1755499 h 4687251"/>
              <a:gd name="connsiteX30160" fmla="*/ 2413843 w 8079933"/>
              <a:gd name="connsiteY30160" fmla="*/ 1744455 h 4687251"/>
              <a:gd name="connsiteX30161" fmla="*/ 2430013 w 8079933"/>
              <a:gd name="connsiteY30161" fmla="*/ 1733304 h 4687251"/>
              <a:gd name="connsiteX30162" fmla="*/ 2440648 w 8079933"/>
              <a:gd name="connsiteY30162" fmla="*/ 1726483 h 4687251"/>
              <a:gd name="connsiteX30163" fmla="*/ 2447592 w 8079933"/>
              <a:gd name="connsiteY30163" fmla="*/ 1725616 h 4687251"/>
              <a:gd name="connsiteX30164" fmla="*/ 2453778 w 8079933"/>
              <a:gd name="connsiteY30164" fmla="*/ 1721935 h 4687251"/>
              <a:gd name="connsiteX30165" fmla="*/ 2466040 w 8079933"/>
              <a:gd name="connsiteY30165" fmla="*/ 1719878 h 4687251"/>
              <a:gd name="connsiteX30166" fmla="*/ 2481016 w 8079933"/>
              <a:gd name="connsiteY30166" fmla="*/ 1714790 h 4687251"/>
              <a:gd name="connsiteX30167" fmla="*/ 2486007 w 8079933"/>
              <a:gd name="connsiteY30167" fmla="*/ 1714465 h 4687251"/>
              <a:gd name="connsiteX30168" fmla="*/ 2490673 w 8079933"/>
              <a:gd name="connsiteY30168" fmla="*/ 1711866 h 4687251"/>
              <a:gd name="connsiteX30169" fmla="*/ 2506842 w 8079933"/>
              <a:gd name="connsiteY30169" fmla="*/ 1712191 h 4687251"/>
              <a:gd name="connsiteX30170" fmla="*/ 2515415 w 8079933"/>
              <a:gd name="connsiteY30170" fmla="*/ 1715439 h 4687251"/>
              <a:gd name="connsiteX30171" fmla="*/ 2524965 w 8079933"/>
              <a:gd name="connsiteY30171" fmla="*/ 1721177 h 4687251"/>
              <a:gd name="connsiteX30172" fmla="*/ 2524965 w 8079933"/>
              <a:gd name="connsiteY30172" fmla="*/ 1723343 h 4687251"/>
              <a:gd name="connsiteX30173" fmla="*/ 2517694 w 8079933"/>
              <a:gd name="connsiteY30173" fmla="*/ 1721935 h 4687251"/>
              <a:gd name="connsiteX30174" fmla="*/ 2518237 w 8079933"/>
              <a:gd name="connsiteY30174" fmla="*/ 1723018 h 4687251"/>
              <a:gd name="connsiteX30175" fmla="*/ 2517477 w 8079933"/>
              <a:gd name="connsiteY30175" fmla="*/ 1724534 h 4687251"/>
              <a:gd name="connsiteX30176" fmla="*/ 2521275 w 8079933"/>
              <a:gd name="connsiteY30176" fmla="*/ 1724209 h 4687251"/>
              <a:gd name="connsiteX30177" fmla="*/ 2526484 w 8079933"/>
              <a:gd name="connsiteY30177" fmla="*/ 1726266 h 4687251"/>
              <a:gd name="connsiteX30178" fmla="*/ 2528329 w 8079933"/>
              <a:gd name="connsiteY30178" fmla="*/ 1729190 h 4687251"/>
              <a:gd name="connsiteX30179" fmla="*/ 2525399 w 8079933"/>
              <a:gd name="connsiteY30179" fmla="*/ 1730381 h 4687251"/>
              <a:gd name="connsiteX30180" fmla="*/ 2527678 w 8079933"/>
              <a:gd name="connsiteY30180" fmla="*/ 1732113 h 4687251"/>
              <a:gd name="connsiteX30181" fmla="*/ 2524097 w 8079933"/>
              <a:gd name="connsiteY30181" fmla="*/ 1740341 h 4687251"/>
              <a:gd name="connsiteX30182" fmla="*/ 2518888 w 8079933"/>
              <a:gd name="connsiteY30182" fmla="*/ 1741532 h 4687251"/>
              <a:gd name="connsiteX30183" fmla="*/ 2514113 w 8079933"/>
              <a:gd name="connsiteY30183" fmla="*/ 1745538 h 4687251"/>
              <a:gd name="connsiteX30184" fmla="*/ 2510315 w 8079933"/>
              <a:gd name="connsiteY30184" fmla="*/ 1745863 h 4687251"/>
              <a:gd name="connsiteX30185" fmla="*/ 2503912 w 8079933"/>
              <a:gd name="connsiteY30185" fmla="*/ 1750735 h 4687251"/>
              <a:gd name="connsiteX30186" fmla="*/ 2498704 w 8079933"/>
              <a:gd name="connsiteY30186" fmla="*/ 1750518 h 4687251"/>
              <a:gd name="connsiteX30187" fmla="*/ 2494797 w 8079933"/>
              <a:gd name="connsiteY30187" fmla="*/ 1747271 h 4687251"/>
              <a:gd name="connsiteX30188" fmla="*/ 2489588 w 8079933"/>
              <a:gd name="connsiteY30188" fmla="*/ 1745322 h 4687251"/>
              <a:gd name="connsiteX30189" fmla="*/ 2486116 w 8079933"/>
              <a:gd name="connsiteY30189" fmla="*/ 1747595 h 4687251"/>
              <a:gd name="connsiteX30190" fmla="*/ 2481016 w 8079933"/>
              <a:gd name="connsiteY30190" fmla="*/ 1748570 h 4687251"/>
              <a:gd name="connsiteX30191" fmla="*/ 2475806 w 8079933"/>
              <a:gd name="connsiteY30191" fmla="*/ 1747595 h 4687251"/>
              <a:gd name="connsiteX30192" fmla="*/ 2469404 w 8079933"/>
              <a:gd name="connsiteY30192" fmla="*/ 1750518 h 4687251"/>
              <a:gd name="connsiteX30193" fmla="*/ 2476132 w 8079933"/>
              <a:gd name="connsiteY30193" fmla="*/ 1749653 h 4687251"/>
              <a:gd name="connsiteX30194" fmla="*/ 2482643 w 8079933"/>
              <a:gd name="connsiteY30194" fmla="*/ 1750302 h 4687251"/>
              <a:gd name="connsiteX30195" fmla="*/ 2491976 w 8079933"/>
              <a:gd name="connsiteY30195" fmla="*/ 1752900 h 4687251"/>
              <a:gd name="connsiteX30196" fmla="*/ 2493386 w 8079933"/>
              <a:gd name="connsiteY30196" fmla="*/ 1757340 h 4687251"/>
              <a:gd name="connsiteX30197" fmla="*/ 2495123 w 8079933"/>
              <a:gd name="connsiteY30197" fmla="*/ 1760479 h 4687251"/>
              <a:gd name="connsiteX30198" fmla="*/ 2500440 w 8079933"/>
              <a:gd name="connsiteY30198" fmla="*/ 1758098 h 4687251"/>
              <a:gd name="connsiteX30199" fmla="*/ 2505106 w 8079933"/>
              <a:gd name="connsiteY30199" fmla="*/ 1754849 h 4687251"/>
              <a:gd name="connsiteX30200" fmla="*/ 2509772 w 8079933"/>
              <a:gd name="connsiteY30200" fmla="*/ 1754849 h 4687251"/>
              <a:gd name="connsiteX30201" fmla="*/ 2511183 w 8079933"/>
              <a:gd name="connsiteY30201" fmla="*/ 1756907 h 4687251"/>
              <a:gd name="connsiteX30202" fmla="*/ 2514547 w 8079933"/>
              <a:gd name="connsiteY30202" fmla="*/ 1756582 h 4687251"/>
              <a:gd name="connsiteX30203" fmla="*/ 2515633 w 8079933"/>
              <a:gd name="connsiteY30203" fmla="*/ 1759614 h 4687251"/>
              <a:gd name="connsiteX30204" fmla="*/ 2511183 w 8079933"/>
              <a:gd name="connsiteY30204" fmla="*/ 1763403 h 4687251"/>
              <a:gd name="connsiteX30205" fmla="*/ 2505106 w 8079933"/>
              <a:gd name="connsiteY30205" fmla="*/ 1775421 h 4687251"/>
              <a:gd name="connsiteX30206" fmla="*/ 2502176 w 8079933"/>
              <a:gd name="connsiteY30206" fmla="*/ 1775962 h 4687251"/>
              <a:gd name="connsiteX30207" fmla="*/ 2499029 w 8079933"/>
              <a:gd name="connsiteY30207" fmla="*/ 1778994 h 4687251"/>
              <a:gd name="connsiteX30208" fmla="*/ 2508036 w 8079933"/>
              <a:gd name="connsiteY30208" fmla="*/ 1779210 h 4687251"/>
              <a:gd name="connsiteX30209" fmla="*/ 2508036 w 8079933"/>
              <a:gd name="connsiteY30209" fmla="*/ 1781484 h 4687251"/>
              <a:gd name="connsiteX30210" fmla="*/ 2505323 w 8079933"/>
              <a:gd name="connsiteY30210" fmla="*/ 1785382 h 4687251"/>
              <a:gd name="connsiteX30211" fmla="*/ 2508579 w 8079933"/>
              <a:gd name="connsiteY30211" fmla="*/ 1789063 h 4687251"/>
              <a:gd name="connsiteX30212" fmla="*/ 2507819 w 8079933"/>
              <a:gd name="connsiteY30212" fmla="*/ 1793285 h 4687251"/>
              <a:gd name="connsiteX30213" fmla="*/ 2508362 w 8079933"/>
              <a:gd name="connsiteY30213" fmla="*/ 1799890 h 4687251"/>
              <a:gd name="connsiteX30214" fmla="*/ 2510640 w 8079933"/>
              <a:gd name="connsiteY30214" fmla="*/ 1801514 h 4687251"/>
              <a:gd name="connsiteX30215" fmla="*/ 2513245 w 8079933"/>
              <a:gd name="connsiteY30215" fmla="*/ 1807577 h 4687251"/>
              <a:gd name="connsiteX30216" fmla="*/ 2518019 w 8079933"/>
              <a:gd name="connsiteY30216" fmla="*/ 1807577 h 4687251"/>
              <a:gd name="connsiteX30217" fmla="*/ 2520081 w 8079933"/>
              <a:gd name="connsiteY30217" fmla="*/ 1809526 h 4687251"/>
              <a:gd name="connsiteX30218" fmla="*/ 2527027 w 8079933"/>
              <a:gd name="connsiteY30218" fmla="*/ 1809851 h 4687251"/>
              <a:gd name="connsiteX30219" fmla="*/ 2525724 w 8079933"/>
              <a:gd name="connsiteY30219" fmla="*/ 1813207 h 4687251"/>
              <a:gd name="connsiteX30220" fmla="*/ 2520407 w 8079933"/>
              <a:gd name="connsiteY30220" fmla="*/ 1814940 h 4687251"/>
              <a:gd name="connsiteX30221" fmla="*/ 2527027 w 8079933"/>
              <a:gd name="connsiteY30221" fmla="*/ 1819487 h 4687251"/>
              <a:gd name="connsiteX30222" fmla="*/ 2534406 w 8079933"/>
              <a:gd name="connsiteY30222" fmla="*/ 1819487 h 4687251"/>
              <a:gd name="connsiteX30223" fmla="*/ 2538855 w 8079933"/>
              <a:gd name="connsiteY30223" fmla="*/ 1821544 h 4687251"/>
              <a:gd name="connsiteX30224" fmla="*/ 2540917 w 8079933"/>
              <a:gd name="connsiteY30224" fmla="*/ 1820137 h 4687251"/>
              <a:gd name="connsiteX30225" fmla="*/ 2547428 w 8079933"/>
              <a:gd name="connsiteY30225" fmla="*/ 1822519 h 4687251"/>
              <a:gd name="connsiteX30226" fmla="*/ 2548730 w 8079933"/>
              <a:gd name="connsiteY30226" fmla="*/ 1825117 h 4687251"/>
              <a:gd name="connsiteX30227" fmla="*/ 2556760 w 8079933"/>
              <a:gd name="connsiteY30227" fmla="*/ 1826525 h 4687251"/>
              <a:gd name="connsiteX30228" fmla="*/ 2558279 w 8079933"/>
              <a:gd name="connsiteY30228" fmla="*/ 1824251 h 4687251"/>
              <a:gd name="connsiteX30229" fmla="*/ 2565224 w 8079933"/>
              <a:gd name="connsiteY30229" fmla="*/ 1819487 h 4687251"/>
              <a:gd name="connsiteX30230" fmla="*/ 2565875 w 8079933"/>
              <a:gd name="connsiteY30230" fmla="*/ 1823385 h 4687251"/>
              <a:gd name="connsiteX30231" fmla="*/ 2564682 w 8079933"/>
              <a:gd name="connsiteY30231" fmla="*/ 1825334 h 4687251"/>
              <a:gd name="connsiteX30232" fmla="*/ 2570542 w 8079933"/>
              <a:gd name="connsiteY30232" fmla="*/ 1826092 h 4687251"/>
              <a:gd name="connsiteX30233" fmla="*/ 2578681 w 8079933"/>
              <a:gd name="connsiteY30233" fmla="*/ 1830314 h 4687251"/>
              <a:gd name="connsiteX30234" fmla="*/ 2578897 w 8079933"/>
              <a:gd name="connsiteY30234" fmla="*/ 1832696 h 4687251"/>
              <a:gd name="connsiteX30235" fmla="*/ 2575533 w 8079933"/>
              <a:gd name="connsiteY30235" fmla="*/ 1833562 h 4687251"/>
              <a:gd name="connsiteX30236" fmla="*/ 2573471 w 8079933"/>
              <a:gd name="connsiteY30236" fmla="*/ 1833995 h 4687251"/>
              <a:gd name="connsiteX30237" fmla="*/ 2577921 w 8079933"/>
              <a:gd name="connsiteY30237" fmla="*/ 1836594 h 4687251"/>
              <a:gd name="connsiteX30238" fmla="*/ 2582696 w 8079933"/>
              <a:gd name="connsiteY30238" fmla="*/ 1836269 h 4687251"/>
              <a:gd name="connsiteX30239" fmla="*/ 2584866 w 8079933"/>
              <a:gd name="connsiteY30239" fmla="*/ 1838868 h 4687251"/>
              <a:gd name="connsiteX30240" fmla="*/ 2581068 w 8079933"/>
              <a:gd name="connsiteY30240" fmla="*/ 1840600 h 4687251"/>
              <a:gd name="connsiteX30241" fmla="*/ 2578138 w 8079933"/>
              <a:gd name="connsiteY30241" fmla="*/ 1839409 h 4687251"/>
              <a:gd name="connsiteX30242" fmla="*/ 2573689 w 8079933"/>
              <a:gd name="connsiteY30242" fmla="*/ 1839842 h 4687251"/>
              <a:gd name="connsiteX30243" fmla="*/ 2566744 w 8079933"/>
              <a:gd name="connsiteY30243" fmla="*/ 1841791 h 4687251"/>
              <a:gd name="connsiteX30244" fmla="*/ 2555892 w 8079933"/>
              <a:gd name="connsiteY30244" fmla="*/ 1847854 h 4687251"/>
              <a:gd name="connsiteX30245" fmla="*/ 2551660 w 8079933"/>
              <a:gd name="connsiteY30245" fmla="*/ 1847962 h 4687251"/>
              <a:gd name="connsiteX30246" fmla="*/ 2543412 w 8079933"/>
              <a:gd name="connsiteY30246" fmla="*/ 1850236 h 4687251"/>
              <a:gd name="connsiteX30247" fmla="*/ 2535925 w 8079933"/>
              <a:gd name="connsiteY30247" fmla="*/ 1851860 h 4687251"/>
              <a:gd name="connsiteX30248" fmla="*/ 2528546 w 8079933"/>
              <a:gd name="connsiteY30248" fmla="*/ 1856082 h 4687251"/>
              <a:gd name="connsiteX30249" fmla="*/ 2524747 w 8079933"/>
              <a:gd name="connsiteY30249" fmla="*/ 1856082 h 4687251"/>
              <a:gd name="connsiteX30250" fmla="*/ 2525290 w 8079933"/>
              <a:gd name="connsiteY30250" fmla="*/ 1858248 h 4687251"/>
              <a:gd name="connsiteX30251" fmla="*/ 2518888 w 8079933"/>
              <a:gd name="connsiteY30251" fmla="*/ 1857598 h 4687251"/>
              <a:gd name="connsiteX30252" fmla="*/ 2516826 w 8079933"/>
              <a:gd name="connsiteY30252" fmla="*/ 1852618 h 4687251"/>
              <a:gd name="connsiteX30253" fmla="*/ 2514547 w 8079933"/>
              <a:gd name="connsiteY30253" fmla="*/ 1852293 h 4687251"/>
              <a:gd name="connsiteX30254" fmla="*/ 2512811 w 8079933"/>
              <a:gd name="connsiteY30254" fmla="*/ 1855000 h 4687251"/>
              <a:gd name="connsiteX30255" fmla="*/ 2510098 w 8079933"/>
              <a:gd name="connsiteY30255" fmla="*/ 1854675 h 4687251"/>
              <a:gd name="connsiteX30256" fmla="*/ 2506517 w 8079933"/>
              <a:gd name="connsiteY30256" fmla="*/ 1860197 h 4687251"/>
              <a:gd name="connsiteX30257" fmla="*/ 2508253 w 8079933"/>
              <a:gd name="connsiteY30257" fmla="*/ 1862578 h 4687251"/>
              <a:gd name="connsiteX30258" fmla="*/ 2500983 w 8079933"/>
              <a:gd name="connsiteY30258" fmla="*/ 1868425 h 4687251"/>
              <a:gd name="connsiteX30259" fmla="*/ 2494580 w 8079933"/>
              <a:gd name="connsiteY30259" fmla="*/ 1876871 h 4687251"/>
              <a:gd name="connsiteX30260" fmla="*/ 2489913 w 8079933"/>
              <a:gd name="connsiteY30260" fmla="*/ 1877737 h 4687251"/>
              <a:gd name="connsiteX30261" fmla="*/ 2484597 w 8079933"/>
              <a:gd name="connsiteY30261" fmla="*/ 1881851 h 4687251"/>
              <a:gd name="connsiteX30262" fmla="*/ 2481884 w 8079933"/>
              <a:gd name="connsiteY30262" fmla="*/ 1881526 h 4687251"/>
              <a:gd name="connsiteX30263" fmla="*/ 2479931 w 8079933"/>
              <a:gd name="connsiteY30263" fmla="*/ 1882717 h 4687251"/>
              <a:gd name="connsiteX30264" fmla="*/ 2479496 w 8079933"/>
              <a:gd name="connsiteY30264" fmla="*/ 1887048 h 4687251"/>
              <a:gd name="connsiteX30265" fmla="*/ 2477326 w 8079933"/>
              <a:gd name="connsiteY30265" fmla="*/ 1888888 h 4687251"/>
              <a:gd name="connsiteX30266" fmla="*/ 2474938 w 8079933"/>
              <a:gd name="connsiteY30266" fmla="*/ 1886615 h 4687251"/>
              <a:gd name="connsiteX30267" fmla="*/ 2472334 w 8079933"/>
              <a:gd name="connsiteY30267" fmla="*/ 1888564 h 4687251"/>
              <a:gd name="connsiteX30268" fmla="*/ 2468536 w 8079933"/>
              <a:gd name="connsiteY30268" fmla="*/ 1885857 h 4687251"/>
              <a:gd name="connsiteX30269" fmla="*/ 2468102 w 8079933"/>
              <a:gd name="connsiteY30269" fmla="*/ 1880335 h 4687251"/>
              <a:gd name="connsiteX30270" fmla="*/ 2465606 w 8079933"/>
              <a:gd name="connsiteY30270" fmla="*/ 1878711 h 4687251"/>
              <a:gd name="connsiteX30271" fmla="*/ 2463219 w 8079933"/>
              <a:gd name="connsiteY30271" fmla="*/ 1880335 h 4687251"/>
              <a:gd name="connsiteX30272" fmla="*/ 2462567 w 8079933"/>
              <a:gd name="connsiteY30272" fmla="*/ 1875463 h 4687251"/>
              <a:gd name="connsiteX30273" fmla="*/ 2461048 w 8079933"/>
              <a:gd name="connsiteY30273" fmla="*/ 1871024 h 4687251"/>
              <a:gd name="connsiteX30274" fmla="*/ 2461374 w 8079933"/>
              <a:gd name="connsiteY30274" fmla="*/ 1865502 h 4687251"/>
              <a:gd name="connsiteX30275" fmla="*/ 2464738 w 8079933"/>
              <a:gd name="connsiteY30275" fmla="*/ 1858140 h 4687251"/>
              <a:gd name="connsiteX30276" fmla="*/ 2470706 w 8079933"/>
              <a:gd name="connsiteY30276" fmla="*/ 1853484 h 4687251"/>
              <a:gd name="connsiteX30277" fmla="*/ 2471466 w 8079933"/>
              <a:gd name="connsiteY30277" fmla="*/ 1849695 h 4687251"/>
              <a:gd name="connsiteX30278" fmla="*/ 2480473 w 8079933"/>
              <a:gd name="connsiteY30278" fmla="*/ 1844714 h 4687251"/>
              <a:gd name="connsiteX30279" fmla="*/ 2490673 w 8079933"/>
              <a:gd name="connsiteY30279" fmla="*/ 1842115 h 4687251"/>
              <a:gd name="connsiteX30280" fmla="*/ 2498595 w 8079933"/>
              <a:gd name="connsiteY30280" fmla="*/ 1836594 h 4687251"/>
              <a:gd name="connsiteX30281" fmla="*/ 2506083 w 8079933"/>
              <a:gd name="connsiteY30281" fmla="*/ 1834753 h 4687251"/>
              <a:gd name="connsiteX30282" fmla="*/ 2509230 w 8079933"/>
              <a:gd name="connsiteY30282" fmla="*/ 1835944 h 4687251"/>
              <a:gd name="connsiteX30283" fmla="*/ 2510098 w 8079933"/>
              <a:gd name="connsiteY30283" fmla="*/ 1840275 h 4687251"/>
              <a:gd name="connsiteX30284" fmla="*/ 2513028 w 8079933"/>
              <a:gd name="connsiteY30284" fmla="*/ 1842440 h 4687251"/>
              <a:gd name="connsiteX30285" fmla="*/ 2512485 w 8079933"/>
              <a:gd name="connsiteY30285" fmla="*/ 1840275 h 4687251"/>
              <a:gd name="connsiteX30286" fmla="*/ 2513245 w 8079933"/>
              <a:gd name="connsiteY30286" fmla="*/ 1837460 h 4687251"/>
              <a:gd name="connsiteX30287" fmla="*/ 2517803 w 8079933"/>
              <a:gd name="connsiteY30287" fmla="*/ 1836594 h 4687251"/>
              <a:gd name="connsiteX30288" fmla="*/ 2524205 w 8079933"/>
              <a:gd name="connsiteY30288" fmla="*/ 1835836 h 4687251"/>
              <a:gd name="connsiteX30289" fmla="*/ 2529522 w 8079933"/>
              <a:gd name="connsiteY30289" fmla="*/ 1833237 h 4687251"/>
              <a:gd name="connsiteX30290" fmla="*/ 2522361 w 8079933"/>
              <a:gd name="connsiteY30290" fmla="*/ 1833670 h 4687251"/>
              <a:gd name="connsiteX30291" fmla="*/ 2512377 w 8079933"/>
              <a:gd name="connsiteY30291" fmla="*/ 1832805 h 4687251"/>
              <a:gd name="connsiteX30292" fmla="*/ 2508904 w 8079933"/>
              <a:gd name="connsiteY30292" fmla="*/ 1830639 h 4687251"/>
              <a:gd name="connsiteX30293" fmla="*/ 2504455 w 8079933"/>
              <a:gd name="connsiteY30293" fmla="*/ 1830639 h 4687251"/>
              <a:gd name="connsiteX30294" fmla="*/ 2501308 w 8079933"/>
              <a:gd name="connsiteY30294" fmla="*/ 1834537 h 4687251"/>
              <a:gd name="connsiteX30295" fmla="*/ 2495774 w 8079933"/>
              <a:gd name="connsiteY30295" fmla="*/ 1833021 h 4687251"/>
              <a:gd name="connsiteX30296" fmla="*/ 2500657 w 8079933"/>
              <a:gd name="connsiteY30296" fmla="*/ 1827066 h 4687251"/>
              <a:gd name="connsiteX30297" fmla="*/ 2505323 w 8079933"/>
              <a:gd name="connsiteY30297" fmla="*/ 1825983 h 4687251"/>
              <a:gd name="connsiteX30298" fmla="*/ 2510315 w 8079933"/>
              <a:gd name="connsiteY30298" fmla="*/ 1820786 h 4687251"/>
              <a:gd name="connsiteX30299" fmla="*/ 2510423 w 8079933"/>
              <a:gd name="connsiteY30299" fmla="*/ 1818296 h 4687251"/>
              <a:gd name="connsiteX30300" fmla="*/ 2507385 w 8079933"/>
              <a:gd name="connsiteY30300" fmla="*/ 1819920 h 4687251"/>
              <a:gd name="connsiteX30301" fmla="*/ 2506842 w 8079933"/>
              <a:gd name="connsiteY30301" fmla="*/ 1817213 h 4687251"/>
              <a:gd name="connsiteX30302" fmla="*/ 2501634 w 8079933"/>
              <a:gd name="connsiteY30302" fmla="*/ 1824468 h 4687251"/>
              <a:gd name="connsiteX30303" fmla="*/ 2497727 w 8079933"/>
              <a:gd name="connsiteY30303" fmla="*/ 1825442 h 4687251"/>
              <a:gd name="connsiteX30304" fmla="*/ 2492735 w 8079933"/>
              <a:gd name="connsiteY30304" fmla="*/ 1830639 h 4687251"/>
              <a:gd name="connsiteX30305" fmla="*/ 2486658 w 8079933"/>
              <a:gd name="connsiteY30305" fmla="*/ 1831180 h 4687251"/>
              <a:gd name="connsiteX30306" fmla="*/ 2484922 w 8079933"/>
              <a:gd name="connsiteY30306" fmla="*/ 1833995 h 4687251"/>
              <a:gd name="connsiteX30307" fmla="*/ 2474288 w 8079933"/>
              <a:gd name="connsiteY30307" fmla="*/ 1836811 h 4687251"/>
              <a:gd name="connsiteX30308" fmla="*/ 2472334 w 8079933"/>
              <a:gd name="connsiteY30308" fmla="*/ 1835619 h 4687251"/>
              <a:gd name="connsiteX30309" fmla="*/ 2473419 w 8079933"/>
              <a:gd name="connsiteY30309" fmla="*/ 1833237 h 4687251"/>
              <a:gd name="connsiteX30310" fmla="*/ 2471792 w 8079933"/>
              <a:gd name="connsiteY30310" fmla="*/ 1833021 h 4687251"/>
              <a:gd name="connsiteX30311" fmla="*/ 2474830 w 8079933"/>
              <a:gd name="connsiteY30311" fmla="*/ 1828149 h 4687251"/>
              <a:gd name="connsiteX30312" fmla="*/ 2470706 w 8079933"/>
              <a:gd name="connsiteY30312" fmla="*/ 1832696 h 4687251"/>
              <a:gd name="connsiteX30313" fmla="*/ 2468210 w 8079933"/>
              <a:gd name="connsiteY30313" fmla="*/ 1837135 h 4687251"/>
              <a:gd name="connsiteX30314" fmla="*/ 2462567 w 8079933"/>
              <a:gd name="connsiteY30314" fmla="*/ 1838543 h 4687251"/>
              <a:gd name="connsiteX30315" fmla="*/ 2458878 w 8079933"/>
              <a:gd name="connsiteY30315" fmla="*/ 1836811 h 4687251"/>
              <a:gd name="connsiteX30316" fmla="*/ 2456491 w 8079933"/>
              <a:gd name="connsiteY30316" fmla="*/ 1839842 h 4687251"/>
              <a:gd name="connsiteX30317" fmla="*/ 2453778 w 8079933"/>
              <a:gd name="connsiteY30317" fmla="*/ 1839192 h 4687251"/>
              <a:gd name="connsiteX30318" fmla="*/ 2452693 w 8079933"/>
              <a:gd name="connsiteY30318" fmla="*/ 1835836 h 4687251"/>
              <a:gd name="connsiteX30319" fmla="*/ 2447375 w 8079933"/>
              <a:gd name="connsiteY30319" fmla="*/ 1836485 h 4687251"/>
              <a:gd name="connsiteX30320" fmla="*/ 2440559 w 8079933"/>
              <a:gd name="connsiteY30320" fmla="*/ 1834998 h 4687251"/>
              <a:gd name="connsiteX30321" fmla="*/ 2449329 w 8079933"/>
              <a:gd name="connsiteY30321" fmla="*/ 1840058 h 4687251"/>
              <a:gd name="connsiteX30322" fmla="*/ 2447701 w 8079933"/>
              <a:gd name="connsiteY30322" fmla="*/ 1845364 h 4687251"/>
              <a:gd name="connsiteX30323" fmla="*/ 2451066 w 8079933"/>
              <a:gd name="connsiteY30323" fmla="*/ 1849044 h 4687251"/>
              <a:gd name="connsiteX30324" fmla="*/ 2453019 w 8079933"/>
              <a:gd name="connsiteY30324" fmla="*/ 1845688 h 4687251"/>
              <a:gd name="connsiteX30325" fmla="*/ 2457577 w 8079933"/>
              <a:gd name="connsiteY30325" fmla="*/ 1848395 h 4687251"/>
              <a:gd name="connsiteX30326" fmla="*/ 2454429 w 8079933"/>
              <a:gd name="connsiteY30326" fmla="*/ 1852401 h 4687251"/>
              <a:gd name="connsiteX30327" fmla="*/ 2450197 w 8079933"/>
              <a:gd name="connsiteY30327" fmla="*/ 1852942 h 4687251"/>
              <a:gd name="connsiteX30328" fmla="*/ 2448570 w 8079933"/>
              <a:gd name="connsiteY30328" fmla="*/ 1850127 h 4687251"/>
              <a:gd name="connsiteX30329" fmla="*/ 2442710 w 8079933"/>
              <a:gd name="connsiteY30329" fmla="*/ 1853484 h 4687251"/>
              <a:gd name="connsiteX30330" fmla="*/ 2439129 w 8079933"/>
              <a:gd name="connsiteY30330" fmla="*/ 1853159 h 4687251"/>
              <a:gd name="connsiteX30331" fmla="*/ 2434788 w 8079933"/>
              <a:gd name="connsiteY30331" fmla="*/ 1856082 h 4687251"/>
              <a:gd name="connsiteX30332" fmla="*/ 2432184 w 8079933"/>
              <a:gd name="connsiteY30332" fmla="*/ 1857382 h 4687251"/>
              <a:gd name="connsiteX30333" fmla="*/ 2428603 w 8079933"/>
              <a:gd name="connsiteY30333" fmla="*/ 1855866 h 4687251"/>
              <a:gd name="connsiteX30334" fmla="*/ 2424696 w 8079933"/>
              <a:gd name="connsiteY30334" fmla="*/ 1861171 h 4687251"/>
              <a:gd name="connsiteX30335" fmla="*/ 2421332 w 8079933"/>
              <a:gd name="connsiteY30335" fmla="*/ 1861171 h 4687251"/>
              <a:gd name="connsiteX30336" fmla="*/ 2420030 w 8079933"/>
              <a:gd name="connsiteY30336" fmla="*/ 1855866 h 4687251"/>
              <a:gd name="connsiteX30337" fmla="*/ 2414604 w 8079933"/>
              <a:gd name="connsiteY30337" fmla="*/ 1855866 h 4687251"/>
              <a:gd name="connsiteX30338" fmla="*/ 2410480 w 8079933"/>
              <a:gd name="connsiteY30338" fmla="*/ 1860413 h 4687251"/>
              <a:gd name="connsiteX30339" fmla="*/ 2406031 w 8079933"/>
              <a:gd name="connsiteY30339" fmla="*/ 1861062 h 4687251"/>
              <a:gd name="connsiteX30340" fmla="*/ 2404837 w 8079933"/>
              <a:gd name="connsiteY30340" fmla="*/ 1857273 h 4687251"/>
              <a:gd name="connsiteX30341" fmla="*/ 2406248 w 8079933"/>
              <a:gd name="connsiteY30341" fmla="*/ 1852617 h 4687251"/>
              <a:gd name="connsiteX30342" fmla="*/ 2399954 w 8079933"/>
              <a:gd name="connsiteY30342" fmla="*/ 1860413 h 4687251"/>
              <a:gd name="connsiteX30343" fmla="*/ 2395505 w 8079933"/>
              <a:gd name="connsiteY30343" fmla="*/ 1867776 h 4687251"/>
              <a:gd name="connsiteX30344" fmla="*/ 2392792 w 8079933"/>
              <a:gd name="connsiteY30344" fmla="*/ 1869616 h 4687251"/>
              <a:gd name="connsiteX30345" fmla="*/ 2391381 w 8079933"/>
              <a:gd name="connsiteY30345" fmla="*/ 1867450 h 4687251"/>
              <a:gd name="connsiteX30346" fmla="*/ 2388668 w 8079933"/>
              <a:gd name="connsiteY30346" fmla="*/ 1872756 h 4687251"/>
              <a:gd name="connsiteX30347" fmla="*/ 2385847 w 8079933"/>
              <a:gd name="connsiteY30347" fmla="*/ 1872756 h 4687251"/>
              <a:gd name="connsiteX30348" fmla="*/ 2385196 w 8079933"/>
              <a:gd name="connsiteY30348" fmla="*/ 1867776 h 4687251"/>
              <a:gd name="connsiteX30349" fmla="*/ 2382592 w 8079933"/>
              <a:gd name="connsiteY30349" fmla="*/ 1872539 h 4687251"/>
              <a:gd name="connsiteX30350" fmla="*/ 2380312 w 8079933"/>
              <a:gd name="connsiteY30350" fmla="*/ 1875462 h 4687251"/>
              <a:gd name="connsiteX30351" fmla="*/ 2377057 w 8079933"/>
              <a:gd name="connsiteY30351" fmla="*/ 1874488 h 4687251"/>
              <a:gd name="connsiteX30352" fmla="*/ 2376731 w 8079933"/>
              <a:gd name="connsiteY30352" fmla="*/ 1871348 h 4687251"/>
              <a:gd name="connsiteX30353" fmla="*/ 2374019 w 8079933"/>
              <a:gd name="connsiteY30353" fmla="*/ 1875679 h 4687251"/>
              <a:gd name="connsiteX30354" fmla="*/ 2371414 w 8079933"/>
              <a:gd name="connsiteY30354" fmla="*/ 1875679 h 4687251"/>
              <a:gd name="connsiteX30355" fmla="*/ 2368485 w 8079933"/>
              <a:gd name="connsiteY30355" fmla="*/ 1881959 h 4687251"/>
              <a:gd name="connsiteX30356" fmla="*/ 2359694 w 8079933"/>
              <a:gd name="connsiteY30356" fmla="*/ 1888888 h 4687251"/>
              <a:gd name="connsiteX30357" fmla="*/ 2356548 w 8079933"/>
              <a:gd name="connsiteY30357" fmla="*/ 1897333 h 4687251"/>
              <a:gd name="connsiteX30358" fmla="*/ 2353618 w 8079933"/>
              <a:gd name="connsiteY30358" fmla="*/ 1900906 h 4687251"/>
              <a:gd name="connsiteX30359" fmla="*/ 2352641 w 8079933"/>
              <a:gd name="connsiteY30359" fmla="*/ 1904371 h 4687251"/>
              <a:gd name="connsiteX30360" fmla="*/ 2350253 w 8079933"/>
              <a:gd name="connsiteY30360" fmla="*/ 1906212 h 4687251"/>
              <a:gd name="connsiteX30361" fmla="*/ 2349711 w 8079933"/>
              <a:gd name="connsiteY30361" fmla="*/ 1909135 h 4687251"/>
              <a:gd name="connsiteX30362" fmla="*/ 2352749 w 8079933"/>
              <a:gd name="connsiteY30362" fmla="*/ 1909135 h 4687251"/>
              <a:gd name="connsiteX30363" fmla="*/ 2353183 w 8079933"/>
              <a:gd name="connsiteY30363" fmla="*/ 1912816 h 4687251"/>
              <a:gd name="connsiteX30364" fmla="*/ 2344719 w 8079933"/>
              <a:gd name="connsiteY30364" fmla="*/ 1920394 h 4687251"/>
              <a:gd name="connsiteX30365" fmla="*/ 2344719 w 8079933"/>
              <a:gd name="connsiteY30365" fmla="*/ 1922561 h 4687251"/>
              <a:gd name="connsiteX30366" fmla="*/ 2350688 w 8079933"/>
              <a:gd name="connsiteY30366" fmla="*/ 1926025 h 4687251"/>
              <a:gd name="connsiteX30367" fmla="*/ 2353292 w 8079933"/>
              <a:gd name="connsiteY30367" fmla="*/ 1933712 h 4687251"/>
              <a:gd name="connsiteX30368" fmla="*/ 2354051 w 8079933"/>
              <a:gd name="connsiteY30368" fmla="*/ 1937718 h 4687251"/>
              <a:gd name="connsiteX30369" fmla="*/ 2360888 w 8079933"/>
              <a:gd name="connsiteY30369" fmla="*/ 1937502 h 4687251"/>
              <a:gd name="connsiteX30370" fmla="*/ 2362842 w 8079933"/>
              <a:gd name="connsiteY30370" fmla="*/ 1932196 h 4687251"/>
              <a:gd name="connsiteX30371" fmla="*/ 2362299 w 8079933"/>
              <a:gd name="connsiteY30371" fmla="*/ 1928082 h 4687251"/>
              <a:gd name="connsiteX30372" fmla="*/ 2364469 w 8079933"/>
              <a:gd name="connsiteY30372" fmla="*/ 1927432 h 4687251"/>
              <a:gd name="connsiteX30373" fmla="*/ 2366748 w 8079933"/>
              <a:gd name="connsiteY30373" fmla="*/ 1935445 h 4687251"/>
              <a:gd name="connsiteX30374" fmla="*/ 2363818 w 8079933"/>
              <a:gd name="connsiteY30374" fmla="*/ 1940425 h 4687251"/>
              <a:gd name="connsiteX30375" fmla="*/ 2352641 w 8079933"/>
              <a:gd name="connsiteY30375" fmla="*/ 1945947 h 4687251"/>
              <a:gd name="connsiteX30376" fmla="*/ 2349711 w 8079933"/>
              <a:gd name="connsiteY30376" fmla="*/ 1944864 h 4687251"/>
              <a:gd name="connsiteX30377" fmla="*/ 2349819 w 8079933"/>
              <a:gd name="connsiteY30377" fmla="*/ 1941616 h 4687251"/>
              <a:gd name="connsiteX30378" fmla="*/ 2347649 w 8079933"/>
              <a:gd name="connsiteY30378" fmla="*/ 1937177 h 4687251"/>
              <a:gd name="connsiteX30379" fmla="*/ 2343200 w 8079933"/>
              <a:gd name="connsiteY30379" fmla="*/ 1945405 h 4687251"/>
              <a:gd name="connsiteX30380" fmla="*/ 2338859 w 8079933"/>
              <a:gd name="connsiteY30380" fmla="*/ 1949953 h 4687251"/>
              <a:gd name="connsiteX30381" fmla="*/ 2335713 w 8079933"/>
              <a:gd name="connsiteY30381" fmla="*/ 1949412 h 4687251"/>
              <a:gd name="connsiteX30382" fmla="*/ 2336254 w 8079933"/>
              <a:gd name="connsiteY30382" fmla="*/ 1946163 h 4687251"/>
              <a:gd name="connsiteX30383" fmla="*/ 2336254 w 8079933"/>
              <a:gd name="connsiteY30383" fmla="*/ 1941508 h 4687251"/>
              <a:gd name="connsiteX30384" fmla="*/ 2331480 w 8079933"/>
              <a:gd name="connsiteY30384" fmla="*/ 1936310 h 4687251"/>
              <a:gd name="connsiteX30385" fmla="*/ 2331480 w 8079933"/>
              <a:gd name="connsiteY30385" fmla="*/ 1941832 h 4687251"/>
              <a:gd name="connsiteX30386" fmla="*/ 2330720 w 8079933"/>
              <a:gd name="connsiteY30386" fmla="*/ 1948220 h 4687251"/>
              <a:gd name="connsiteX30387" fmla="*/ 2332674 w 8079933"/>
              <a:gd name="connsiteY30387" fmla="*/ 1950386 h 4687251"/>
              <a:gd name="connsiteX30388" fmla="*/ 2329852 w 8079933"/>
              <a:gd name="connsiteY30388" fmla="*/ 1951469 h 4687251"/>
              <a:gd name="connsiteX30389" fmla="*/ 2320086 w 8079933"/>
              <a:gd name="connsiteY30389" fmla="*/ 1952118 h 4687251"/>
              <a:gd name="connsiteX30390" fmla="*/ 2314009 w 8079933"/>
              <a:gd name="connsiteY30390" fmla="*/ 1953526 h 4687251"/>
              <a:gd name="connsiteX30391" fmla="*/ 2309560 w 8079933"/>
              <a:gd name="connsiteY30391" fmla="*/ 1952335 h 4687251"/>
              <a:gd name="connsiteX30392" fmla="*/ 2300119 w 8079933"/>
              <a:gd name="connsiteY30392" fmla="*/ 1952985 h 4687251"/>
              <a:gd name="connsiteX30393" fmla="*/ 2298166 w 8079933"/>
              <a:gd name="connsiteY30393" fmla="*/ 1951469 h 4687251"/>
              <a:gd name="connsiteX30394" fmla="*/ 2295453 w 8079933"/>
              <a:gd name="connsiteY30394" fmla="*/ 1951577 h 4687251"/>
              <a:gd name="connsiteX30395" fmla="*/ 2287857 w 8079933"/>
              <a:gd name="connsiteY30395" fmla="*/ 1956991 h 4687251"/>
              <a:gd name="connsiteX30396" fmla="*/ 2282647 w 8079933"/>
              <a:gd name="connsiteY30396" fmla="*/ 1957099 h 4687251"/>
              <a:gd name="connsiteX30397" fmla="*/ 2275268 w 8079933"/>
              <a:gd name="connsiteY30397" fmla="*/ 1961105 h 4687251"/>
              <a:gd name="connsiteX30398" fmla="*/ 2271036 w 8079933"/>
              <a:gd name="connsiteY30398" fmla="*/ 1962404 h 4687251"/>
              <a:gd name="connsiteX30399" fmla="*/ 2267130 w 8079933"/>
              <a:gd name="connsiteY30399" fmla="*/ 1965760 h 4687251"/>
              <a:gd name="connsiteX30400" fmla="*/ 2267021 w 8079933"/>
              <a:gd name="connsiteY30400" fmla="*/ 1968901 h 4687251"/>
              <a:gd name="connsiteX30401" fmla="*/ 2260619 w 8079933"/>
              <a:gd name="connsiteY30401" fmla="*/ 1972473 h 4687251"/>
              <a:gd name="connsiteX30402" fmla="*/ 2262572 w 8079933"/>
              <a:gd name="connsiteY30402" fmla="*/ 1975721 h 4687251"/>
              <a:gd name="connsiteX30403" fmla="*/ 2265502 w 8079933"/>
              <a:gd name="connsiteY30403" fmla="*/ 1978211 h 4687251"/>
              <a:gd name="connsiteX30404" fmla="*/ 2266262 w 8079933"/>
              <a:gd name="connsiteY30404" fmla="*/ 1981134 h 4687251"/>
              <a:gd name="connsiteX30405" fmla="*/ 2263549 w 8079933"/>
              <a:gd name="connsiteY30405" fmla="*/ 1984491 h 4687251"/>
              <a:gd name="connsiteX30406" fmla="*/ 2263766 w 8079933"/>
              <a:gd name="connsiteY30406" fmla="*/ 1986115 h 4687251"/>
              <a:gd name="connsiteX30407" fmla="*/ 2261704 w 8079933"/>
              <a:gd name="connsiteY30407" fmla="*/ 1990662 h 4687251"/>
              <a:gd name="connsiteX30408" fmla="*/ 2262355 w 8079933"/>
              <a:gd name="connsiteY30408" fmla="*/ 1992828 h 4687251"/>
              <a:gd name="connsiteX30409" fmla="*/ 2260510 w 8079933"/>
              <a:gd name="connsiteY30409" fmla="*/ 1995860 h 4687251"/>
              <a:gd name="connsiteX30410" fmla="*/ 2258666 w 8079933"/>
              <a:gd name="connsiteY30410" fmla="*/ 2000840 h 4687251"/>
              <a:gd name="connsiteX30411" fmla="*/ 2256603 w 8079933"/>
              <a:gd name="connsiteY30411" fmla="*/ 2000840 h 4687251"/>
              <a:gd name="connsiteX30412" fmla="*/ 2254216 w 8079933"/>
              <a:gd name="connsiteY30412" fmla="*/ 2003546 h 4687251"/>
              <a:gd name="connsiteX30413" fmla="*/ 2252155 w 8079933"/>
              <a:gd name="connsiteY30413" fmla="*/ 2010693 h 4687251"/>
              <a:gd name="connsiteX30414" fmla="*/ 2248790 w 8079933"/>
              <a:gd name="connsiteY30414" fmla="*/ 2011667 h 4687251"/>
              <a:gd name="connsiteX30415" fmla="*/ 2246945 w 8079933"/>
              <a:gd name="connsiteY30415" fmla="*/ 2014482 h 4687251"/>
              <a:gd name="connsiteX30416" fmla="*/ 2244992 w 8079933"/>
              <a:gd name="connsiteY30416" fmla="*/ 2014374 h 4687251"/>
              <a:gd name="connsiteX30417" fmla="*/ 2244450 w 8079933"/>
              <a:gd name="connsiteY30417" fmla="*/ 2017405 h 4687251"/>
              <a:gd name="connsiteX30418" fmla="*/ 2240652 w 8079933"/>
              <a:gd name="connsiteY30418" fmla="*/ 2022170 h 4687251"/>
              <a:gd name="connsiteX30419" fmla="*/ 2240218 w 8079933"/>
              <a:gd name="connsiteY30419" fmla="*/ 2020870 h 4687251"/>
              <a:gd name="connsiteX30420" fmla="*/ 2236745 w 8079933"/>
              <a:gd name="connsiteY30420" fmla="*/ 2023468 h 4687251"/>
              <a:gd name="connsiteX30421" fmla="*/ 2239349 w 8079933"/>
              <a:gd name="connsiteY30421" fmla="*/ 2017080 h 4687251"/>
              <a:gd name="connsiteX30422" fmla="*/ 2237288 w 8079933"/>
              <a:gd name="connsiteY30422" fmla="*/ 2014915 h 4687251"/>
              <a:gd name="connsiteX30423" fmla="*/ 2233815 w 8079933"/>
              <a:gd name="connsiteY30423" fmla="*/ 2015781 h 4687251"/>
              <a:gd name="connsiteX30424" fmla="*/ 2228280 w 8079933"/>
              <a:gd name="connsiteY30424" fmla="*/ 2010260 h 4687251"/>
              <a:gd name="connsiteX30425" fmla="*/ 2226327 w 8079933"/>
              <a:gd name="connsiteY30425" fmla="*/ 2006795 h 4687251"/>
              <a:gd name="connsiteX30426" fmla="*/ 2227738 w 8079933"/>
              <a:gd name="connsiteY30426" fmla="*/ 2003222 h 4687251"/>
              <a:gd name="connsiteX30427" fmla="*/ 2235443 w 8079933"/>
              <a:gd name="connsiteY30427" fmla="*/ 1994885 h 4687251"/>
              <a:gd name="connsiteX30428" fmla="*/ 2230343 w 8079933"/>
              <a:gd name="connsiteY30428" fmla="*/ 1997484 h 4687251"/>
              <a:gd name="connsiteX30429" fmla="*/ 2226002 w 8079933"/>
              <a:gd name="connsiteY30429" fmla="*/ 2001381 h 4687251"/>
              <a:gd name="connsiteX30430" fmla="*/ 2223723 w 8079933"/>
              <a:gd name="connsiteY30430" fmla="*/ 2005929 h 4687251"/>
              <a:gd name="connsiteX30431" fmla="*/ 2224374 w 8079933"/>
              <a:gd name="connsiteY30431" fmla="*/ 2010801 h 4687251"/>
              <a:gd name="connsiteX30432" fmla="*/ 2226544 w 8079933"/>
              <a:gd name="connsiteY30432" fmla="*/ 2013074 h 4687251"/>
              <a:gd name="connsiteX30433" fmla="*/ 2227195 w 8079933"/>
              <a:gd name="connsiteY30433" fmla="*/ 2019571 h 4687251"/>
              <a:gd name="connsiteX30434" fmla="*/ 2229475 w 8079933"/>
              <a:gd name="connsiteY30434" fmla="*/ 2022061 h 4687251"/>
              <a:gd name="connsiteX30435" fmla="*/ 2232513 w 8079933"/>
              <a:gd name="connsiteY30435" fmla="*/ 2030073 h 4687251"/>
              <a:gd name="connsiteX30436" fmla="*/ 2232405 w 8079933"/>
              <a:gd name="connsiteY30436" fmla="*/ 2036028 h 4687251"/>
              <a:gd name="connsiteX30437" fmla="*/ 2228389 w 8079933"/>
              <a:gd name="connsiteY30437" fmla="*/ 2045014 h 4687251"/>
              <a:gd name="connsiteX30438" fmla="*/ 2223072 w 8079933"/>
              <a:gd name="connsiteY30438" fmla="*/ 2048046 h 4687251"/>
              <a:gd name="connsiteX30439" fmla="*/ 2219274 w 8079933"/>
              <a:gd name="connsiteY30439" fmla="*/ 2057682 h 4687251"/>
              <a:gd name="connsiteX30440" fmla="*/ 2216561 w 8079933"/>
              <a:gd name="connsiteY30440" fmla="*/ 2062337 h 4687251"/>
              <a:gd name="connsiteX30441" fmla="*/ 2216561 w 8079933"/>
              <a:gd name="connsiteY30441" fmla="*/ 2065261 h 4687251"/>
              <a:gd name="connsiteX30442" fmla="*/ 2215150 w 8079933"/>
              <a:gd name="connsiteY30442" fmla="*/ 2067210 h 4687251"/>
              <a:gd name="connsiteX30443" fmla="*/ 2214825 w 8079933"/>
              <a:gd name="connsiteY30443" fmla="*/ 2065261 h 4687251"/>
              <a:gd name="connsiteX30444" fmla="*/ 2214282 w 8079933"/>
              <a:gd name="connsiteY30444" fmla="*/ 2063529 h 4687251"/>
              <a:gd name="connsiteX30445" fmla="*/ 2209399 w 8079933"/>
              <a:gd name="connsiteY30445" fmla="*/ 2072082 h 4687251"/>
              <a:gd name="connsiteX30446" fmla="*/ 2208965 w 8079933"/>
              <a:gd name="connsiteY30446" fmla="*/ 2074356 h 4687251"/>
              <a:gd name="connsiteX30447" fmla="*/ 2207771 w 8079933"/>
              <a:gd name="connsiteY30447" fmla="*/ 2076196 h 4687251"/>
              <a:gd name="connsiteX30448" fmla="*/ 2207228 w 8079933"/>
              <a:gd name="connsiteY30448" fmla="*/ 2071649 h 4687251"/>
              <a:gd name="connsiteX30449" fmla="*/ 2208422 w 8079933"/>
              <a:gd name="connsiteY30449" fmla="*/ 2066343 h 4687251"/>
              <a:gd name="connsiteX30450" fmla="*/ 2211135 w 8079933"/>
              <a:gd name="connsiteY30450" fmla="*/ 2061796 h 4687251"/>
              <a:gd name="connsiteX30451" fmla="*/ 2210484 w 8079933"/>
              <a:gd name="connsiteY30451" fmla="*/ 2058765 h 4687251"/>
              <a:gd name="connsiteX30452" fmla="*/ 2213414 w 8079933"/>
              <a:gd name="connsiteY30452" fmla="*/ 2054975 h 4687251"/>
              <a:gd name="connsiteX30453" fmla="*/ 2212655 w 8079933"/>
              <a:gd name="connsiteY30453" fmla="*/ 2053892 h 4687251"/>
              <a:gd name="connsiteX30454" fmla="*/ 2216778 w 8079933"/>
              <a:gd name="connsiteY30454" fmla="*/ 2051619 h 4687251"/>
              <a:gd name="connsiteX30455" fmla="*/ 2211027 w 8079933"/>
              <a:gd name="connsiteY30455" fmla="*/ 2051727 h 4687251"/>
              <a:gd name="connsiteX30456" fmla="*/ 2209399 w 8079933"/>
              <a:gd name="connsiteY30456" fmla="*/ 2048371 h 4687251"/>
              <a:gd name="connsiteX30457" fmla="*/ 2210918 w 8079933"/>
              <a:gd name="connsiteY30457" fmla="*/ 2046097 h 4687251"/>
              <a:gd name="connsiteX30458" fmla="*/ 2210701 w 8079933"/>
              <a:gd name="connsiteY30458" fmla="*/ 2045123 h 4687251"/>
              <a:gd name="connsiteX30459" fmla="*/ 2208530 w 8079933"/>
              <a:gd name="connsiteY30459" fmla="*/ 2045231 h 4687251"/>
              <a:gd name="connsiteX30460" fmla="*/ 2207988 w 8079933"/>
              <a:gd name="connsiteY30460" fmla="*/ 2043282 h 4687251"/>
              <a:gd name="connsiteX30461" fmla="*/ 2206360 w 8079933"/>
              <a:gd name="connsiteY30461" fmla="*/ 2045123 h 4687251"/>
              <a:gd name="connsiteX30462" fmla="*/ 2202562 w 8079933"/>
              <a:gd name="connsiteY30462" fmla="*/ 2040251 h 4687251"/>
              <a:gd name="connsiteX30463" fmla="*/ 2202454 w 8079933"/>
              <a:gd name="connsiteY30463" fmla="*/ 2035811 h 4687251"/>
              <a:gd name="connsiteX30464" fmla="*/ 2205817 w 8079933"/>
              <a:gd name="connsiteY30464" fmla="*/ 2030831 h 4687251"/>
              <a:gd name="connsiteX30465" fmla="*/ 2206903 w 8079933"/>
              <a:gd name="connsiteY30465" fmla="*/ 2024010 h 4687251"/>
              <a:gd name="connsiteX30466" fmla="*/ 2203105 w 8079933"/>
              <a:gd name="connsiteY30466" fmla="*/ 2017730 h 4687251"/>
              <a:gd name="connsiteX30467" fmla="*/ 2205817 w 8079933"/>
              <a:gd name="connsiteY30467" fmla="*/ 2012642 h 4687251"/>
              <a:gd name="connsiteX30468" fmla="*/ 2209833 w 8079933"/>
              <a:gd name="connsiteY30468" fmla="*/ 2010260 h 4687251"/>
              <a:gd name="connsiteX30469" fmla="*/ 2208530 w 8079933"/>
              <a:gd name="connsiteY30469" fmla="*/ 2008744 h 4687251"/>
              <a:gd name="connsiteX30470" fmla="*/ 2209724 w 8079933"/>
              <a:gd name="connsiteY30470" fmla="*/ 2004197 h 4687251"/>
              <a:gd name="connsiteX30471" fmla="*/ 2208422 w 8079933"/>
              <a:gd name="connsiteY30471" fmla="*/ 2002356 h 4687251"/>
              <a:gd name="connsiteX30472" fmla="*/ 2208530 w 8079933"/>
              <a:gd name="connsiteY30472" fmla="*/ 2003764 h 4687251"/>
              <a:gd name="connsiteX30473" fmla="*/ 2207337 w 8079933"/>
              <a:gd name="connsiteY30473" fmla="*/ 2008311 h 4687251"/>
              <a:gd name="connsiteX30474" fmla="*/ 2202562 w 8079933"/>
              <a:gd name="connsiteY30474" fmla="*/ 2012100 h 4687251"/>
              <a:gd name="connsiteX30475" fmla="*/ 2199415 w 8079933"/>
              <a:gd name="connsiteY30475" fmla="*/ 2014266 h 4687251"/>
              <a:gd name="connsiteX30476" fmla="*/ 2197462 w 8079933"/>
              <a:gd name="connsiteY30476" fmla="*/ 2014049 h 4687251"/>
              <a:gd name="connsiteX30477" fmla="*/ 2199741 w 8079933"/>
              <a:gd name="connsiteY30477" fmla="*/ 2017405 h 4687251"/>
              <a:gd name="connsiteX30478" fmla="*/ 2198873 w 8079933"/>
              <a:gd name="connsiteY30478" fmla="*/ 2020112 h 4687251"/>
              <a:gd name="connsiteX30479" fmla="*/ 2198113 w 8079933"/>
              <a:gd name="connsiteY30479" fmla="*/ 2027041 h 4687251"/>
              <a:gd name="connsiteX30480" fmla="*/ 2199089 w 8079933"/>
              <a:gd name="connsiteY30480" fmla="*/ 2029856 h 4687251"/>
              <a:gd name="connsiteX30481" fmla="*/ 2198439 w 8079933"/>
              <a:gd name="connsiteY30481" fmla="*/ 2033105 h 4687251"/>
              <a:gd name="connsiteX30482" fmla="*/ 2198764 w 8079933"/>
              <a:gd name="connsiteY30482" fmla="*/ 2037760 h 4687251"/>
              <a:gd name="connsiteX30483" fmla="*/ 2198221 w 8079933"/>
              <a:gd name="connsiteY30483" fmla="*/ 2047072 h 4687251"/>
              <a:gd name="connsiteX30484" fmla="*/ 2196919 w 8079933"/>
              <a:gd name="connsiteY30484" fmla="*/ 2047396 h 4687251"/>
              <a:gd name="connsiteX30485" fmla="*/ 2191168 w 8079933"/>
              <a:gd name="connsiteY30485" fmla="*/ 2040684 h 4687251"/>
              <a:gd name="connsiteX30486" fmla="*/ 2186502 w 8079933"/>
              <a:gd name="connsiteY30486" fmla="*/ 2040034 h 4687251"/>
              <a:gd name="connsiteX30487" fmla="*/ 2183572 w 8079933"/>
              <a:gd name="connsiteY30487" fmla="*/ 2034621 h 4687251"/>
              <a:gd name="connsiteX30488" fmla="*/ 2181401 w 8079933"/>
              <a:gd name="connsiteY30488" fmla="*/ 2034512 h 4687251"/>
              <a:gd name="connsiteX30489" fmla="*/ 2180533 w 8079933"/>
              <a:gd name="connsiteY30489" fmla="*/ 2032131 h 4687251"/>
              <a:gd name="connsiteX30490" fmla="*/ 2182596 w 8079933"/>
              <a:gd name="connsiteY30490" fmla="*/ 2027041 h 4687251"/>
              <a:gd name="connsiteX30491" fmla="*/ 2179123 w 8079933"/>
              <a:gd name="connsiteY30491" fmla="*/ 2031697 h 4687251"/>
              <a:gd name="connsiteX30492" fmla="*/ 2179123 w 8079933"/>
              <a:gd name="connsiteY30492" fmla="*/ 2035811 h 4687251"/>
              <a:gd name="connsiteX30493" fmla="*/ 2182596 w 8079933"/>
              <a:gd name="connsiteY30493" fmla="*/ 2037435 h 4687251"/>
              <a:gd name="connsiteX30494" fmla="*/ 2185308 w 8079933"/>
              <a:gd name="connsiteY30494" fmla="*/ 2041874 h 4687251"/>
              <a:gd name="connsiteX30495" fmla="*/ 2190625 w 8079933"/>
              <a:gd name="connsiteY30495" fmla="*/ 2043931 h 4687251"/>
              <a:gd name="connsiteX30496" fmla="*/ 2196051 w 8079933"/>
              <a:gd name="connsiteY30496" fmla="*/ 2050428 h 4687251"/>
              <a:gd name="connsiteX30497" fmla="*/ 2199415 w 8079933"/>
              <a:gd name="connsiteY30497" fmla="*/ 2052485 h 4687251"/>
              <a:gd name="connsiteX30498" fmla="*/ 2200175 w 8079933"/>
              <a:gd name="connsiteY30498" fmla="*/ 2056708 h 4687251"/>
              <a:gd name="connsiteX30499" fmla="*/ 2198764 w 8079933"/>
              <a:gd name="connsiteY30499" fmla="*/ 2061580 h 4687251"/>
              <a:gd name="connsiteX30500" fmla="*/ 2195292 w 8079933"/>
              <a:gd name="connsiteY30500" fmla="*/ 2061255 h 4687251"/>
              <a:gd name="connsiteX30501" fmla="*/ 2193773 w 8079933"/>
              <a:gd name="connsiteY30501" fmla="*/ 2057141 h 4687251"/>
              <a:gd name="connsiteX30502" fmla="*/ 2191493 w 8079933"/>
              <a:gd name="connsiteY30502" fmla="*/ 2056166 h 4687251"/>
              <a:gd name="connsiteX30503" fmla="*/ 2193664 w 8079933"/>
              <a:gd name="connsiteY30503" fmla="*/ 2062013 h 4687251"/>
              <a:gd name="connsiteX30504" fmla="*/ 2198764 w 8079933"/>
              <a:gd name="connsiteY30504" fmla="*/ 2065261 h 4687251"/>
              <a:gd name="connsiteX30505" fmla="*/ 2200175 w 8079933"/>
              <a:gd name="connsiteY30505" fmla="*/ 2068509 h 4687251"/>
              <a:gd name="connsiteX30506" fmla="*/ 2198547 w 8079933"/>
              <a:gd name="connsiteY30506" fmla="*/ 2069917 h 4687251"/>
              <a:gd name="connsiteX30507" fmla="*/ 2198221 w 8079933"/>
              <a:gd name="connsiteY30507" fmla="*/ 2072082 h 4687251"/>
              <a:gd name="connsiteX30508" fmla="*/ 2193230 w 8079933"/>
              <a:gd name="connsiteY30508" fmla="*/ 2071108 h 4687251"/>
              <a:gd name="connsiteX30509" fmla="*/ 2199307 w 8079933"/>
              <a:gd name="connsiteY30509" fmla="*/ 2076196 h 4687251"/>
              <a:gd name="connsiteX30510" fmla="*/ 2197353 w 8079933"/>
              <a:gd name="connsiteY30510" fmla="*/ 2079553 h 4687251"/>
              <a:gd name="connsiteX30511" fmla="*/ 2194423 w 8079933"/>
              <a:gd name="connsiteY30511" fmla="*/ 2078145 h 4687251"/>
              <a:gd name="connsiteX30512" fmla="*/ 2192036 w 8079933"/>
              <a:gd name="connsiteY30512" fmla="*/ 2073814 h 4687251"/>
              <a:gd name="connsiteX30513" fmla="*/ 2186176 w 8079933"/>
              <a:gd name="connsiteY30513" fmla="*/ 2073706 h 4687251"/>
              <a:gd name="connsiteX30514" fmla="*/ 2182269 w 8079933"/>
              <a:gd name="connsiteY30514" fmla="*/ 2071757 h 4687251"/>
              <a:gd name="connsiteX30515" fmla="*/ 2185525 w 8079933"/>
              <a:gd name="connsiteY30515" fmla="*/ 2075763 h 4687251"/>
              <a:gd name="connsiteX30516" fmla="*/ 2189323 w 8079933"/>
              <a:gd name="connsiteY30516" fmla="*/ 2077063 h 4687251"/>
              <a:gd name="connsiteX30517" fmla="*/ 2192253 w 8079933"/>
              <a:gd name="connsiteY30517" fmla="*/ 2077171 h 4687251"/>
              <a:gd name="connsiteX30518" fmla="*/ 2194098 w 8079933"/>
              <a:gd name="connsiteY30518" fmla="*/ 2082909 h 4687251"/>
              <a:gd name="connsiteX30519" fmla="*/ 2198221 w 8079933"/>
              <a:gd name="connsiteY30519" fmla="*/ 2083992 h 4687251"/>
              <a:gd name="connsiteX30520" fmla="*/ 2201586 w 8079933"/>
              <a:gd name="connsiteY30520" fmla="*/ 2083125 h 4687251"/>
              <a:gd name="connsiteX30521" fmla="*/ 2203756 w 8079933"/>
              <a:gd name="connsiteY30521" fmla="*/ 2085075 h 4687251"/>
              <a:gd name="connsiteX30522" fmla="*/ 2204949 w 8079933"/>
              <a:gd name="connsiteY30522" fmla="*/ 2089514 h 4687251"/>
              <a:gd name="connsiteX30523" fmla="*/ 2203105 w 8079933"/>
              <a:gd name="connsiteY30523" fmla="*/ 2094061 h 4687251"/>
              <a:gd name="connsiteX30524" fmla="*/ 2200609 w 8079933"/>
              <a:gd name="connsiteY30524" fmla="*/ 2092870 h 4687251"/>
              <a:gd name="connsiteX30525" fmla="*/ 2200501 w 8079933"/>
              <a:gd name="connsiteY30525" fmla="*/ 2095143 h 4687251"/>
              <a:gd name="connsiteX30526" fmla="*/ 2202454 w 8079933"/>
              <a:gd name="connsiteY30526" fmla="*/ 2097200 h 4687251"/>
              <a:gd name="connsiteX30527" fmla="*/ 2203322 w 8079933"/>
              <a:gd name="connsiteY30527" fmla="*/ 2102398 h 4687251"/>
              <a:gd name="connsiteX30528" fmla="*/ 2201802 w 8079933"/>
              <a:gd name="connsiteY30528" fmla="*/ 2104888 h 4687251"/>
              <a:gd name="connsiteX30529" fmla="*/ 2198764 w 8079933"/>
              <a:gd name="connsiteY30529" fmla="*/ 2104888 h 4687251"/>
              <a:gd name="connsiteX30530" fmla="*/ 2197571 w 8079933"/>
              <a:gd name="connsiteY30530" fmla="*/ 2106187 h 4687251"/>
              <a:gd name="connsiteX30531" fmla="*/ 2191277 w 8079933"/>
              <a:gd name="connsiteY30531" fmla="*/ 2107920 h 4687251"/>
              <a:gd name="connsiteX30532" fmla="*/ 2188780 w 8079933"/>
              <a:gd name="connsiteY30532" fmla="*/ 2110085 h 4687251"/>
              <a:gd name="connsiteX30533" fmla="*/ 2185742 w 8079933"/>
              <a:gd name="connsiteY30533" fmla="*/ 2109110 h 4687251"/>
              <a:gd name="connsiteX30534" fmla="*/ 2183463 w 8079933"/>
              <a:gd name="connsiteY30534" fmla="*/ 2104130 h 4687251"/>
              <a:gd name="connsiteX30535" fmla="*/ 2181836 w 8079933"/>
              <a:gd name="connsiteY30535" fmla="*/ 2105104 h 4687251"/>
              <a:gd name="connsiteX30536" fmla="*/ 2181619 w 8079933"/>
              <a:gd name="connsiteY30536" fmla="*/ 2112251 h 4687251"/>
              <a:gd name="connsiteX30537" fmla="*/ 2180751 w 8079933"/>
              <a:gd name="connsiteY30537" fmla="*/ 2115065 h 4687251"/>
              <a:gd name="connsiteX30538" fmla="*/ 2185525 w 8079933"/>
              <a:gd name="connsiteY30538" fmla="*/ 2113550 h 4687251"/>
              <a:gd name="connsiteX30539" fmla="*/ 2195183 w 8079933"/>
              <a:gd name="connsiteY30539" fmla="*/ 2112142 h 4687251"/>
              <a:gd name="connsiteX30540" fmla="*/ 2197136 w 8079933"/>
              <a:gd name="connsiteY30540" fmla="*/ 2113008 h 4687251"/>
              <a:gd name="connsiteX30541" fmla="*/ 2197788 w 8079933"/>
              <a:gd name="connsiteY30541" fmla="*/ 2120046 h 4687251"/>
              <a:gd name="connsiteX30542" fmla="*/ 2200175 w 8079933"/>
              <a:gd name="connsiteY30542" fmla="*/ 2121020 h 4687251"/>
              <a:gd name="connsiteX30543" fmla="*/ 2200392 w 8079933"/>
              <a:gd name="connsiteY30543" fmla="*/ 2118097 h 4687251"/>
              <a:gd name="connsiteX30544" fmla="*/ 2202888 w 8079933"/>
              <a:gd name="connsiteY30544" fmla="*/ 2113333 h 4687251"/>
              <a:gd name="connsiteX30545" fmla="*/ 2204082 w 8079933"/>
              <a:gd name="connsiteY30545" fmla="*/ 2113008 h 4687251"/>
              <a:gd name="connsiteX30546" fmla="*/ 2205926 w 8079933"/>
              <a:gd name="connsiteY30546" fmla="*/ 2117014 h 4687251"/>
              <a:gd name="connsiteX30547" fmla="*/ 2204732 w 8079933"/>
              <a:gd name="connsiteY30547" fmla="*/ 2122103 h 4687251"/>
              <a:gd name="connsiteX30548" fmla="*/ 2203214 w 8079933"/>
              <a:gd name="connsiteY30548" fmla="*/ 2122211 h 4687251"/>
              <a:gd name="connsiteX30549" fmla="*/ 2198221 w 8079933"/>
              <a:gd name="connsiteY30549" fmla="*/ 2126434 h 4687251"/>
              <a:gd name="connsiteX30550" fmla="*/ 2196485 w 8079933"/>
              <a:gd name="connsiteY30550" fmla="*/ 2129899 h 4687251"/>
              <a:gd name="connsiteX30551" fmla="*/ 2194423 w 8079933"/>
              <a:gd name="connsiteY30551" fmla="*/ 2131631 h 4687251"/>
              <a:gd name="connsiteX30552" fmla="*/ 2191168 w 8079933"/>
              <a:gd name="connsiteY30552" fmla="*/ 2129573 h 4687251"/>
              <a:gd name="connsiteX30553" fmla="*/ 2187912 w 8079933"/>
              <a:gd name="connsiteY30553" fmla="*/ 2130115 h 4687251"/>
              <a:gd name="connsiteX30554" fmla="*/ 2185959 w 8079933"/>
              <a:gd name="connsiteY30554" fmla="*/ 2124918 h 4687251"/>
              <a:gd name="connsiteX30555" fmla="*/ 2185525 w 8079933"/>
              <a:gd name="connsiteY30555" fmla="*/ 2128166 h 4687251"/>
              <a:gd name="connsiteX30556" fmla="*/ 2182269 w 8079933"/>
              <a:gd name="connsiteY30556" fmla="*/ 2129573 h 4687251"/>
              <a:gd name="connsiteX30557" fmla="*/ 2178906 w 8079933"/>
              <a:gd name="connsiteY30557" fmla="*/ 2127950 h 4687251"/>
              <a:gd name="connsiteX30558" fmla="*/ 2175650 w 8079933"/>
              <a:gd name="connsiteY30558" fmla="*/ 2127842 h 4687251"/>
              <a:gd name="connsiteX30559" fmla="*/ 2178254 w 8079933"/>
              <a:gd name="connsiteY30559" fmla="*/ 2130873 h 4687251"/>
              <a:gd name="connsiteX30560" fmla="*/ 2183897 w 8079933"/>
              <a:gd name="connsiteY30560" fmla="*/ 2131956 h 4687251"/>
              <a:gd name="connsiteX30561" fmla="*/ 2185525 w 8079933"/>
              <a:gd name="connsiteY30561" fmla="*/ 2134338 h 4687251"/>
              <a:gd name="connsiteX30562" fmla="*/ 2183137 w 8079933"/>
              <a:gd name="connsiteY30562" fmla="*/ 2136395 h 4687251"/>
              <a:gd name="connsiteX30563" fmla="*/ 2184114 w 8079933"/>
              <a:gd name="connsiteY30563" fmla="*/ 2138127 h 4687251"/>
              <a:gd name="connsiteX30564" fmla="*/ 2177712 w 8079933"/>
              <a:gd name="connsiteY30564" fmla="*/ 2140834 h 4687251"/>
              <a:gd name="connsiteX30565" fmla="*/ 2173480 w 8079933"/>
              <a:gd name="connsiteY30565" fmla="*/ 2139210 h 4687251"/>
              <a:gd name="connsiteX30566" fmla="*/ 2177061 w 8079933"/>
              <a:gd name="connsiteY30566" fmla="*/ 2142566 h 4687251"/>
              <a:gd name="connsiteX30567" fmla="*/ 2183137 w 8079933"/>
              <a:gd name="connsiteY30567" fmla="*/ 2143108 h 4687251"/>
              <a:gd name="connsiteX30568" fmla="*/ 2187370 w 8079933"/>
              <a:gd name="connsiteY30568" fmla="*/ 2139210 h 4687251"/>
              <a:gd name="connsiteX30569" fmla="*/ 2188455 w 8079933"/>
              <a:gd name="connsiteY30569" fmla="*/ 2140834 h 4687251"/>
              <a:gd name="connsiteX30570" fmla="*/ 2190192 w 8079933"/>
              <a:gd name="connsiteY30570" fmla="*/ 2141592 h 4687251"/>
              <a:gd name="connsiteX30571" fmla="*/ 2185634 w 8079933"/>
              <a:gd name="connsiteY30571" fmla="*/ 2146789 h 4687251"/>
              <a:gd name="connsiteX30572" fmla="*/ 2181510 w 8079933"/>
              <a:gd name="connsiteY30572" fmla="*/ 2146897 h 4687251"/>
              <a:gd name="connsiteX30573" fmla="*/ 2181076 w 8079933"/>
              <a:gd name="connsiteY30573" fmla="*/ 2145381 h 4687251"/>
              <a:gd name="connsiteX30574" fmla="*/ 2178146 w 8079933"/>
              <a:gd name="connsiteY30574" fmla="*/ 2145706 h 4687251"/>
              <a:gd name="connsiteX30575" fmla="*/ 2176518 w 8079933"/>
              <a:gd name="connsiteY30575" fmla="*/ 2146897 h 4687251"/>
              <a:gd name="connsiteX30576" fmla="*/ 2170658 w 8079933"/>
              <a:gd name="connsiteY30576" fmla="*/ 2147438 h 4687251"/>
              <a:gd name="connsiteX30577" fmla="*/ 2159481 w 8079933"/>
              <a:gd name="connsiteY30577" fmla="*/ 2154152 h 4687251"/>
              <a:gd name="connsiteX30578" fmla="*/ 2147436 w 8079933"/>
              <a:gd name="connsiteY30578" fmla="*/ 2163895 h 4687251"/>
              <a:gd name="connsiteX30579" fmla="*/ 2143529 w 8079933"/>
              <a:gd name="connsiteY30579" fmla="*/ 2171366 h 4687251"/>
              <a:gd name="connsiteX30580" fmla="*/ 2141359 w 8079933"/>
              <a:gd name="connsiteY30580" fmla="*/ 2171691 h 4687251"/>
              <a:gd name="connsiteX30581" fmla="*/ 2138971 w 8079933"/>
              <a:gd name="connsiteY30581" fmla="*/ 2170175 h 4687251"/>
              <a:gd name="connsiteX30582" fmla="*/ 2132135 w 8079933"/>
              <a:gd name="connsiteY30582" fmla="*/ 2170933 h 4687251"/>
              <a:gd name="connsiteX30583" fmla="*/ 2127469 w 8079933"/>
              <a:gd name="connsiteY30583" fmla="*/ 2175048 h 4687251"/>
              <a:gd name="connsiteX30584" fmla="*/ 2118462 w 8079933"/>
              <a:gd name="connsiteY30584" fmla="*/ 2186957 h 4687251"/>
              <a:gd name="connsiteX30585" fmla="*/ 2118462 w 8079933"/>
              <a:gd name="connsiteY30585" fmla="*/ 2189664 h 4687251"/>
              <a:gd name="connsiteX30586" fmla="*/ 2114663 w 8079933"/>
              <a:gd name="connsiteY30586" fmla="*/ 2193021 h 4687251"/>
              <a:gd name="connsiteX30587" fmla="*/ 2112277 w 8079933"/>
              <a:gd name="connsiteY30587" fmla="*/ 2192803 h 4687251"/>
              <a:gd name="connsiteX30588" fmla="*/ 2111950 w 8079933"/>
              <a:gd name="connsiteY30588" fmla="*/ 2195835 h 4687251"/>
              <a:gd name="connsiteX30589" fmla="*/ 2107827 w 8079933"/>
              <a:gd name="connsiteY30589" fmla="*/ 2200599 h 4687251"/>
              <a:gd name="connsiteX30590" fmla="*/ 2105006 w 8079933"/>
              <a:gd name="connsiteY30590" fmla="*/ 2199300 h 4687251"/>
              <a:gd name="connsiteX30591" fmla="*/ 2102510 w 8079933"/>
              <a:gd name="connsiteY30591" fmla="*/ 2200058 h 4687251"/>
              <a:gd name="connsiteX30592" fmla="*/ 2101208 w 8079933"/>
              <a:gd name="connsiteY30592" fmla="*/ 2202223 h 4687251"/>
              <a:gd name="connsiteX30593" fmla="*/ 2096216 w 8079933"/>
              <a:gd name="connsiteY30593" fmla="*/ 2201790 h 4687251"/>
              <a:gd name="connsiteX30594" fmla="*/ 2093720 w 8079933"/>
              <a:gd name="connsiteY30594" fmla="*/ 2205147 h 4687251"/>
              <a:gd name="connsiteX30595" fmla="*/ 2086449 w 8079933"/>
              <a:gd name="connsiteY30595" fmla="*/ 2206013 h 4687251"/>
              <a:gd name="connsiteX30596" fmla="*/ 2085256 w 8079933"/>
              <a:gd name="connsiteY30596" fmla="*/ 2208611 h 4687251"/>
              <a:gd name="connsiteX30597" fmla="*/ 2080589 w 8079933"/>
              <a:gd name="connsiteY30597" fmla="*/ 2208286 h 4687251"/>
              <a:gd name="connsiteX30598" fmla="*/ 2079721 w 8079933"/>
              <a:gd name="connsiteY30598" fmla="*/ 2211209 h 4687251"/>
              <a:gd name="connsiteX30599" fmla="*/ 2074079 w 8079933"/>
              <a:gd name="connsiteY30599" fmla="*/ 2211209 h 4687251"/>
              <a:gd name="connsiteX30600" fmla="*/ 2072668 w 8079933"/>
              <a:gd name="connsiteY30600" fmla="*/ 2212401 h 4687251"/>
              <a:gd name="connsiteX30601" fmla="*/ 2074404 w 8079933"/>
              <a:gd name="connsiteY30601" fmla="*/ 2213592 h 4687251"/>
              <a:gd name="connsiteX30602" fmla="*/ 2073862 w 8079933"/>
              <a:gd name="connsiteY30602" fmla="*/ 2217598 h 4687251"/>
              <a:gd name="connsiteX30603" fmla="*/ 2070606 w 8079933"/>
              <a:gd name="connsiteY30603" fmla="*/ 2222253 h 4687251"/>
              <a:gd name="connsiteX30604" fmla="*/ 2068544 w 8079933"/>
              <a:gd name="connsiteY30604" fmla="*/ 2222578 h 4687251"/>
              <a:gd name="connsiteX30605" fmla="*/ 2066482 w 8079933"/>
              <a:gd name="connsiteY30605" fmla="*/ 2225502 h 4687251"/>
              <a:gd name="connsiteX30606" fmla="*/ 2062468 w 8079933"/>
              <a:gd name="connsiteY30606" fmla="*/ 2226476 h 4687251"/>
              <a:gd name="connsiteX30607" fmla="*/ 2058343 w 8079933"/>
              <a:gd name="connsiteY30607" fmla="*/ 2233188 h 4687251"/>
              <a:gd name="connsiteX30608" fmla="*/ 2054871 w 8079933"/>
              <a:gd name="connsiteY30608" fmla="*/ 2240118 h 4687251"/>
              <a:gd name="connsiteX30609" fmla="*/ 2054871 w 8079933"/>
              <a:gd name="connsiteY30609" fmla="*/ 2248130 h 4687251"/>
              <a:gd name="connsiteX30610" fmla="*/ 2053677 w 8079933"/>
              <a:gd name="connsiteY30610" fmla="*/ 2262963 h 4687251"/>
              <a:gd name="connsiteX30611" fmla="*/ 2054437 w 8079933"/>
              <a:gd name="connsiteY30611" fmla="*/ 2269676 h 4687251"/>
              <a:gd name="connsiteX30612" fmla="*/ 2053026 w 8079933"/>
              <a:gd name="connsiteY30612" fmla="*/ 2279961 h 4687251"/>
              <a:gd name="connsiteX30613" fmla="*/ 2055630 w 8079933"/>
              <a:gd name="connsiteY30613" fmla="*/ 2286458 h 4687251"/>
              <a:gd name="connsiteX30614" fmla="*/ 2056607 w 8079933"/>
              <a:gd name="connsiteY30614" fmla="*/ 2296852 h 4687251"/>
              <a:gd name="connsiteX30615" fmla="*/ 2058669 w 8079933"/>
              <a:gd name="connsiteY30615" fmla="*/ 2301075 h 4687251"/>
              <a:gd name="connsiteX30616" fmla="*/ 2061165 w 8079933"/>
              <a:gd name="connsiteY30616" fmla="*/ 2312659 h 4687251"/>
              <a:gd name="connsiteX30617" fmla="*/ 2064203 w 8079933"/>
              <a:gd name="connsiteY30617" fmla="*/ 2316773 h 4687251"/>
              <a:gd name="connsiteX30618" fmla="*/ 2065939 w 8079933"/>
              <a:gd name="connsiteY30618" fmla="*/ 2320996 h 4687251"/>
              <a:gd name="connsiteX30619" fmla="*/ 2063878 w 8079933"/>
              <a:gd name="connsiteY30619" fmla="*/ 2326518 h 4687251"/>
              <a:gd name="connsiteX30620" fmla="*/ 2063227 w 8079933"/>
              <a:gd name="connsiteY30620" fmla="*/ 2333772 h 4687251"/>
              <a:gd name="connsiteX30621" fmla="*/ 2064854 w 8079933"/>
              <a:gd name="connsiteY30621" fmla="*/ 2336154 h 4687251"/>
              <a:gd name="connsiteX30622" fmla="*/ 2067459 w 8079933"/>
              <a:gd name="connsiteY30622" fmla="*/ 2351529 h 4687251"/>
              <a:gd name="connsiteX30623" fmla="*/ 2072342 w 8079933"/>
              <a:gd name="connsiteY30623" fmla="*/ 2354560 h 4687251"/>
              <a:gd name="connsiteX30624" fmla="*/ 2073862 w 8079933"/>
              <a:gd name="connsiteY30624" fmla="*/ 2361597 h 4687251"/>
              <a:gd name="connsiteX30625" fmla="*/ 2071149 w 8079933"/>
              <a:gd name="connsiteY30625" fmla="*/ 2364305 h 4687251"/>
              <a:gd name="connsiteX30626" fmla="*/ 2072342 w 8079933"/>
              <a:gd name="connsiteY30626" fmla="*/ 2366145 h 4687251"/>
              <a:gd name="connsiteX30627" fmla="*/ 2071474 w 8079933"/>
              <a:gd name="connsiteY30627" fmla="*/ 2374482 h 4687251"/>
              <a:gd name="connsiteX30628" fmla="*/ 2070280 w 8079933"/>
              <a:gd name="connsiteY30628" fmla="*/ 2376756 h 4687251"/>
              <a:gd name="connsiteX30629" fmla="*/ 2070714 w 8079933"/>
              <a:gd name="connsiteY30629" fmla="*/ 2380870 h 4687251"/>
              <a:gd name="connsiteX30630" fmla="*/ 2066591 w 8079933"/>
              <a:gd name="connsiteY30630" fmla="*/ 2389315 h 4687251"/>
              <a:gd name="connsiteX30631" fmla="*/ 2064421 w 8079933"/>
              <a:gd name="connsiteY30631" fmla="*/ 2394945 h 4687251"/>
              <a:gd name="connsiteX30632" fmla="*/ 2061491 w 8079933"/>
              <a:gd name="connsiteY30632" fmla="*/ 2399276 h 4687251"/>
              <a:gd name="connsiteX30633" fmla="*/ 2060731 w 8079933"/>
              <a:gd name="connsiteY30633" fmla="*/ 2405231 h 4687251"/>
              <a:gd name="connsiteX30634" fmla="*/ 2056825 w 8079933"/>
              <a:gd name="connsiteY30634" fmla="*/ 2406639 h 4687251"/>
              <a:gd name="connsiteX30635" fmla="*/ 2052375 w 8079933"/>
              <a:gd name="connsiteY30635" fmla="*/ 2408154 h 4687251"/>
              <a:gd name="connsiteX30636" fmla="*/ 2047818 w 8079933"/>
              <a:gd name="connsiteY30636" fmla="*/ 2406963 h 4687251"/>
              <a:gd name="connsiteX30637" fmla="*/ 2045647 w 8079933"/>
              <a:gd name="connsiteY30637" fmla="*/ 2404040 h 4687251"/>
              <a:gd name="connsiteX30638" fmla="*/ 2040655 w 8079933"/>
              <a:gd name="connsiteY30638" fmla="*/ 2402741 h 4687251"/>
              <a:gd name="connsiteX30639" fmla="*/ 2043368 w 8079933"/>
              <a:gd name="connsiteY30639" fmla="*/ 2401550 h 4687251"/>
              <a:gd name="connsiteX30640" fmla="*/ 2037617 w 8079933"/>
              <a:gd name="connsiteY30640" fmla="*/ 2396786 h 4687251"/>
              <a:gd name="connsiteX30641" fmla="*/ 2038160 w 8079933"/>
              <a:gd name="connsiteY30641" fmla="*/ 2392780 h 4687251"/>
              <a:gd name="connsiteX30642" fmla="*/ 2036423 w 8079933"/>
              <a:gd name="connsiteY30642" fmla="*/ 2389640 h 4687251"/>
              <a:gd name="connsiteX30643" fmla="*/ 2032408 w 8079933"/>
              <a:gd name="connsiteY30643" fmla="*/ 2389423 h 4687251"/>
              <a:gd name="connsiteX30644" fmla="*/ 2030564 w 8079933"/>
              <a:gd name="connsiteY30644" fmla="*/ 2387799 h 4687251"/>
              <a:gd name="connsiteX30645" fmla="*/ 2030889 w 8079933"/>
              <a:gd name="connsiteY30645" fmla="*/ 2381519 h 4687251"/>
              <a:gd name="connsiteX30646" fmla="*/ 2030129 w 8079933"/>
              <a:gd name="connsiteY30646" fmla="*/ 2376647 h 4687251"/>
              <a:gd name="connsiteX30647" fmla="*/ 2024269 w 8079933"/>
              <a:gd name="connsiteY30647" fmla="*/ 2372100 h 4687251"/>
              <a:gd name="connsiteX30648" fmla="*/ 2023835 w 8079933"/>
              <a:gd name="connsiteY30648" fmla="*/ 2369285 h 4687251"/>
              <a:gd name="connsiteX30649" fmla="*/ 2025789 w 8079933"/>
              <a:gd name="connsiteY30649" fmla="*/ 2367119 h 4687251"/>
              <a:gd name="connsiteX30650" fmla="*/ 2026657 w 8079933"/>
              <a:gd name="connsiteY30650" fmla="*/ 2363113 h 4687251"/>
              <a:gd name="connsiteX30651" fmla="*/ 2030129 w 8079933"/>
              <a:gd name="connsiteY30651" fmla="*/ 2359649 h 4687251"/>
              <a:gd name="connsiteX30652" fmla="*/ 2025680 w 8079933"/>
              <a:gd name="connsiteY30652" fmla="*/ 2360840 h 4687251"/>
              <a:gd name="connsiteX30653" fmla="*/ 2023726 w 8079933"/>
              <a:gd name="connsiteY30653" fmla="*/ 2359540 h 4687251"/>
              <a:gd name="connsiteX30654" fmla="*/ 2023726 w 8079933"/>
              <a:gd name="connsiteY30654" fmla="*/ 2361489 h 4687251"/>
              <a:gd name="connsiteX30655" fmla="*/ 2022208 w 8079933"/>
              <a:gd name="connsiteY30655" fmla="*/ 2363655 h 4687251"/>
              <a:gd name="connsiteX30656" fmla="*/ 2021014 w 8079933"/>
              <a:gd name="connsiteY30656" fmla="*/ 2359216 h 4687251"/>
              <a:gd name="connsiteX30657" fmla="*/ 2019060 w 8079933"/>
              <a:gd name="connsiteY30657" fmla="*/ 2359757 h 4687251"/>
              <a:gd name="connsiteX30658" fmla="*/ 2018192 w 8079933"/>
              <a:gd name="connsiteY30658" fmla="*/ 2357375 h 4687251"/>
              <a:gd name="connsiteX30659" fmla="*/ 2015262 w 8079933"/>
              <a:gd name="connsiteY30659" fmla="*/ 2353911 h 4687251"/>
              <a:gd name="connsiteX30660" fmla="*/ 2014937 w 8079933"/>
              <a:gd name="connsiteY30660" fmla="*/ 2349364 h 4687251"/>
              <a:gd name="connsiteX30661" fmla="*/ 2013526 w 8079933"/>
              <a:gd name="connsiteY30661" fmla="*/ 2346440 h 4687251"/>
              <a:gd name="connsiteX30662" fmla="*/ 2019386 w 8079933"/>
              <a:gd name="connsiteY30662" fmla="*/ 2338103 h 4687251"/>
              <a:gd name="connsiteX30663" fmla="*/ 2019169 w 8079933"/>
              <a:gd name="connsiteY30663" fmla="*/ 2333664 h 4687251"/>
              <a:gd name="connsiteX30664" fmla="*/ 2015697 w 8079933"/>
              <a:gd name="connsiteY30664" fmla="*/ 2332256 h 4687251"/>
              <a:gd name="connsiteX30665" fmla="*/ 2013960 w 8079933"/>
              <a:gd name="connsiteY30665" fmla="*/ 2333664 h 4687251"/>
              <a:gd name="connsiteX30666" fmla="*/ 2014828 w 8079933"/>
              <a:gd name="connsiteY30666" fmla="*/ 2335721 h 4687251"/>
              <a:gd name="connsiteX30667" fmla="*/ 2012007 w 8079933"/>
              <a:gd name="connsiteY30667" fmla="*/ 2339511 h 4687251"/>
              <a:gd name="connsiteX30668" fmla="*/ 2010705 w 8079933"/>
              <a:gd name="connsiteY30668" fmla="*/ 2340810 h 4687251"/>
              <a:gd name="connsiteX30669" fmla="*/ 2007883 w 8079933"/>
              <a:gd name="connsiteY30669" fmla="*/ 2335938 h 4687251"/>
              <a:gd name="connsiteX30670" fmla="*/ 2008101 w 8079933"/>
              <a:gd name="connsiteY30670" fmla="*/ 2332365 h 4687251"/>
              <a:gd name="connsiteX30671" fmla="*/ 2012767 w 8079933"/>
              <a:gd name="connsiteY30671" fmla="*/ 2323703 h 4687251"/>
              <a:gd name="connsiteX30672" fmla="*/ 2015914 w 8079933"/>
              <a:gd name="connsiteY30672" fmla="*/ 2312551 h 4687251"/>
              <a:gd name="connsiteX30673" fmla="*/ 2016348 w 8079933"/>
              <a:gd name="connsiteY30673" fmla="*/ 2307030 h 4687251"/>
              <a:gd name="connsiteX30674" fmla="*/ 2013201 w 8079933"/>
              <a:gd name="connsiteY30674" fmla="*/ 2301075 h 4687251"/>
              <a:gd name="connsiteX30675" fmla="*/ 2009728 w 8079933"/>
              <a:gd name="connsiteY30675" fmla="*/ 2300425 h 4687251"/>
              <a:gd name="connsiteX30676" fmla="*/ 2007558 w 8079933"/>
              <a:gd name="connsiteY30676" fmla="*/ 2297069 h 4687251"/>
              <a:gd name="connsiteX30677" fmla="*/ 2007666 w 8079933"/>
              <a:gd name="connsiteY30677" fmla="*/ 2295336 h 4687251"/>
              <a:gd name="connsiteX30678" fmla="*/ 2005604 w 8079933"/>
              <a:gd name="connsiteY30678" fmla="*/ 2295336 h 4687251"/>
              <a:gd name="connsiteX30679" fmla="*/ 2002240 w 8079933"/>
              <a:gd name="connsiteY30679" fmla="*/ 2292846 h 4687251"/>
              <a:gd name="connsiteX30680" fmla="*/ 2001589 w 8079933"/>
              <a:gd name="connsiteY30680" fmla="*/ 2287865 h 4687251"/>
              <a:gd name="connsiteX30681" fmla="*/ 1999962 w 8079933"/>
              <a:gd name="connsiteY30681" fmla="*/ 2287324 h 4687251"/>
              <a:gd name="connsiteX30682" fmla="*/ 1997465 w 8079933"/>
              <a:gd name="connsiteY30682" fmla="*/ 2284834 h 4687251"/>
              <a:gd name="connsiteX30683" fmla="*/ 1995079 w 8079933"/>
              <a:gd name="connsiteY30683" fmla="*/ 2276605 h 4687251"/>
              <a:gd name="connsiteX30684" fmla="*/ 1989544 w 8079933"/>
              <a:gd name="connsiteY30684" fmla="*/ 2274657 h 4687251"/>
              <a:gd name="connsiteX30685" fmla="*/ 1986506 w 8079933"/>
              <a:gd name="connsiteY30685" fmla="*/ 2272924 h 4687251"/>
              <a:gd name="connsiteX30686" fmla="*/ 1981731 w 8079933"/>
              <a:gd name="connsiteY30686" fmla="*/ 2273790 h 4687251"/>
              <a:gd name="connsiteX30687" fmla="*/ 1978584 w 8079933"/>
              <a:gd name="connsiteY30687" fmla="*/ 2276281 h 4687251"/>
              <a:gd name="connsiteX30688" fmla="*/ 1978584 w 8079933"/>
              <a:gd name="connsiteY30688" fmla="*/ 2277363 h 4687251"/>
              <a:gd name="connsiteX30689" fmla="*/ 1977715 w 8079933"/>
              <a:gd name="connsiteY30689" fmla="*/ 2278121 h 4687251"/>
              <a:gd name="connsiteX30690" fmla="*/ 1975762 w 8079933"/>
              <a:gd name="connsiteY30690" fmla="*/ 2277255 h 4687251"/>
              <a:gd name="connsiteX30691" fmla="*/ 1969686 w 8079933"/>
              <a:gd name="connsiteY30691" fmla="*/ 2283426 h 4687251"/>
              <a:gd name="connsiteX30692" fmla="*/ 1965236 w 8079933"/>
              <a:gd name="connsiteY30692" fmla="*/ 2283967 h 4687251"/>
              <a:gd name="connsiteX30693" fmla="*/ 1958400 w 8079933"/>
              <a:gd name="connsiteY30693" fmla="*/ 2284942 h 4687251"/>
              <a:gd name="connsiteX30694" fmla="*/ 1957206 w 8079933"/>
              <a:gd name="connsiteY30694" fmla="*/ 2283210 h 4687251"/>
              <a:gd name="connsiteX30695" fmla="*/ 1957857 w 8079933"/>
              <a:gd name="connsiteY30695" fmla="*/ 2281369 h 4687251"/>
              <a:gd name="connsiteX30696" fmla="*/ 1958508 w 8079933"/>
              <a:gd name="connsiteY30696" fmla="*/ 2282993 h 4687251"/>
              <a:gd name="connsiteX30697" fmla="*/ 1959593 w 8079933"/>
              <a:gd name="connsiteY30697" fmla="*/ 2282560 h 4687251"/>
              <a:gd name="connsiteX30698" fmla="*/ 1958400 w 8079933"/>
              <a:gd name="connsiteY30698" fmla="*/ 2280286 h 4687251"/>
              <a:gd name="connsiteX30699" fmla="*/ 1956121 w 8079933"/>
              <a:gd name="connsiteY30699" fmla="*/ 2276930 h 4687251"/>
              <a:gd name="connsiteX30700" fmla="*/ 1950261 w 8079933"/>
              <a:gd name="connsiteY30700" fmla="*/ 2272924 h 4687251"/>
              <a:gd name="connsiteX30701" fmla="*/ 1951021 w 8079933"/>
              <a:gd name="connsiteY30701" fmla="*/ 2272599 h 4687251"/>
              <a:gd name="connsiteX30702" fmla="*/ 1954167 w 8079933"/>
              <a:gd name="connsiteY30702" fmla="*/ 2274115 h 4687251"/>
              <a:gd name="connsiteX30703" fmla="*/ 1954927 w 8079933"/>
              <a:gd name="connsiteY30703" fmla="*/ 2272491 h 4687251"/>
              <a:gd name="connsiteX30704" fmla="*/ 1950369 w 8079933"/>
              <a:gd name="connsiteY30704" fmla="*/ 2269351 h 4687251"/>
              <a:gd name="connsiteX30705" fmla="*/ 1949501 w 8079933"/>
              <a:gd name="connsiteY30705" fmla="*/ 2266861 h 4687251"/>
              <a:gd name="connsiteX30706" fmla="*/ 1947440 w 8079933"/>
              <a:gd name="connsiteY30706" fmla="*/ 2266536 h 4687251"/>
              <a:gd name="connsiteX30707" fmla="*/ 1946897 w 8079933"/>
              <a:gd name="connsiteY30707" fmla="*/ 2268702 h 4687251"/>
              <a:gd name="connsiteX30708" fmla="*/ 1949176 w 8079933"/>
              <a:gd name="connsiteY30708" fmla="*/ 2271949 h 4687251"/>
              <a:gd name="connsiteX30709" fmla="*/ 1945594 w 8079933"/>
              <a:gd name="connsiteY30709" fmla="*/ 2269892 h 4687251"/>
              <a:gd name="connsiteX30710" fmla="*/ 1941905 w 8079933"/>
              <a:gd name="connsiteY30710" fmla="*/ 2266536 h 4687251"/>
              <a:gd name="connsiteX30711" fmla="*/ 1935720 w 8079933"/>
              <a:gd name="connsiteY30711" fmla="*/ 2266536 h 4687251"/>
              <a:gd name="connsiteX30712" fmla="*/ 1929534 w 8079933"/>
              <a:gd name="connsiteY30712" fmla="*/ 2265670 h 4687251"/>
              <a:gd name="connsiteX30713" fmla="*/ 1930402 w 8079933"/>
              <a:gd name="connsiteY30713" fmla="*/ 2264479 h 4687251"/>
              <a:gd name="connsiteX30714" fmla="*/ 1936045 w 8079933"/>
              <a:gd name="connsiteY30714" fmla="*/ 2264912 h 4687251"/>
              <a:gd name="connsiteX30715" fmla="*/ 1938867 w 8079933"/>
              <a:gd name="connsiteY30715" fmla="*/ 2264046 h 4687251"/>
              <a:gd name="connsiteX30716" fmla="*/ 1937673 w 8079933"/>
              <a:gd name="connsiteY30716" fmla="*/ 2262530 h 4687251"/>
              <a:gd name="connsiteX30717" fmla="*/ 1932572 w 8079933"/>
              <a:gd name="connsiteY30717" fmla="*/ 2262206 h 4687251"/>
              <a:gd name="connsiteX30718" fmla="*/ 1927256 w 8079933"/>
              <a:gd name="connsiteY30718" fmla="*/ 2265886 h 4687251"/>
              <a:gd name="connsiteX30719" fmla="*/ 1925085 w 8079933"/>
              <a:gd name="connsiteY30719" fmla="*/ 2264804 h 4687251"/>
              <a:gd name="connsiteX30720" fmla="*/ 1917923 w 8079933"/>
              <a:gd name="connsiteY30720" fmla="*/ 2265670 h 4687251"/>
              <a:gd name="connsiteX30721" fmla="*/ 1915210 w 8079933"/>
              <a:gd name="connsiteY30721" fmla="*/ 2263721 h 4687251"/>
              <a:gd name="connsiteX30722" fmla="*/ 1911737 w 8079933"/>
              <a:gd name="connsiteY30722" fmla="*/ 2265129 h 4687251"/>
              <a:gd name="connsiteX30723" fmla="*/ 1905010 w 8079933"/>
              <a:gd name="connsiteY30723" fmla="*/ 2264804 h 4687251"/>
              <a:gd name="connsiteX30724" fmla="*/ 1901211 w 8079933"/>
              <a:gd name="connsiteY30724" fmla="*/ 2266428 h 4687251"/>
              <a:gd name="connsiteX30725" fmla="*/ 1896545 w 8079933"/>
              <a:gd name="connsiteY30725" fmla="*/ 2262422 h 4687251"/>
              <a:gd name="connsiteX30726" fmla="*/ 1896437 w 8079933"/>
              <a:gd name="connsiteY30726" fmla="*/ 2259715 h 4687251"/>
              <a:gd name="connsiteX30727" fmla="*/ 1897088 w 8079933"/>
              <a:gd name="connsiteY30727" fmla="*/ 2256575 h 4687251"/>
              <a:gd name="connsiteX30728" fmla="*/ 1894158 w 8079933"/>
              <a:gd name="connsiteY30728" fmla="*/ 2256033 h 4687251"/>
              <a:gd name="connsiteX30729" fmla="*/ 1892096 w 8079933"/>
              <a:gd name="connsiteY30729" fmla="*/ 2260148 h 4687251"/>
              <a:gd name="connsiteX30730" fmla="*/ 1889817 w 8079933"/>
              <a:gd name="connsiteY30730" fmla="*/ 2263938 h 4687251"/>
              <a:gd name="connsiteX30731" fmla="*/ 1886453 w 8079933"/>
              <a:gd name="connsiteY30731" fmla="*/ 2263288 h 4687251"/>
              <a:gd name="connsiteX30732" fmla="*/ 1883523 w 8079933"/>
              <a:gd name="connsiteY30732" fmla="*/ 2264371 h 4687251"/>
              <a:gd name="connsiteX30733" fmla="*/ 1878097 w 8079933"/>
              <a:gd name="connsiteY30733" fmla="*/ 2263504 h 4687251"/>
              <a:gd name="connsiteX30734" fmla="*/ 1863990 w 8079933"/>
              <a:gd name="connsiteY30734" fmla="*/ 2265994 h 4687251"/>
              <a:gd name="connsiteX30735" fmla="*/ 1860084 w 8079933"/>
              <a:gd name="connsiteY30735" fmla="*/ 2269459 h 4687251"/>
              <a:gd name="connsiteX30736" fmla="*/ 1852162 w 8079933"/>
              <a:gd name="connsiteY30736" fmla="*/ 2272708 h 4687251"/>
              <a:gd name="connsiteX30737" fmla="*/ 1847821 w 8079933"/>
              <a:gd name="connsiteY30737" fmla="*/ 2277255 h 4687251"/>
              <a:gd name="connsiteX30738" fmla="*/ 1847821 w 8079933"/>
              <a:gd name="connsiteY30738" fmla="*/ 2280503 h 4687251"/>
              <a:gd name="connsiteX30739" fmla="*/ 1850968 w 8079933"/>
              <a:gd name="connsiteY30739" fmla="*/ 2279312 h 4687251"/>
              <a:gd name="connsiteX30740" fmla="*/ 1853681 w 8079933"/>
              <a:gd name="connsiteY30740" fmla="*/ 2276497 h 4687251"/>
              <a:gd name="connsiteX30741" fmla="*/ 1855201 w 8079933"/>
              <a:gd name="connsiteY30741" fmla="*/ 2276822 h 4687251"/>
              <a:gd name="connsiteX30742" fmla="*/ 1856937 w 8079933"/>
              <a:gd name="connsiteY30742" fmla="*/ 2279096 h 4687251"/>
              <a:gd name="connsiteX30743" fmla="*/ 1861060 w 8079933"/>
              <a:gd name="connsiteY30743" fmla="*/ 2280828 h 4687251"/>
              <a:gd name="connsiteX30744" fmla="*/ 1859541 w 8079933"/>
              <a:gd name="connsiteY30744" fmla="*/ 2282560 h 4687251"/>
              <a:gd name="connsiteX30745" fmla="*/ 1851945 w 8079933"/>
              <a:gd name="connsiteY30745" fmla="*/ 2285483 h 4687251"/>
              <a:gd name="connsiteX30746" fmla="*/ 1852162 w 8079933"/>
              <a:gd name="connsiteY30746" fmla="*/ 2289598 h 4687251"/>
              <a:gd name="connsiteX30747" fmla="*/ 1853464 w 8079933"/>
              <a:gd name="connsiteY30747" fmla="*/ 2293063 h 4687251"/>
              <a:gd name="connsiteX30748" fmla="*/ 1861060 w 8079933"/>
              <a:gd name="connsiteY30748" fmla="*/ 2295553 h 4687251"/>
              <a:gd name="connsiteX30749" fmla="*/ 1866811 w 8079933"/>
              <a:gd name="connsiteY30749" fmla="*/ 2299883 h 4687251"/>
              <a:gd name="connsiteX30750" fmla="*/ 1866378 w 8079933"/>
              <a:gd name="connsiteY30750" fmla="*/ 2301399 h 4687251"/>
              <a:gd name="connsiteX30751" fmla="*/ 1862797 w 8079933"/>
              <a:gd name="connsiteY30751" fmla="*/ 2302482 h 4687251"/>
              <a:gd name="connsiteX30752" fmla="*/ 1861277 w 8079933"/>
              <a:gd name="connsiteY30752" fmla="*/ 2305405 h 4687251"/>
              <a:gd name="connsiteX30753" fmla="*/ 1861060 w 8079933"/>
              <a:gd name="connsiteY30753" fmla="*/ 2300750 h 4687251"/>
              <a:gd name="connsiteX30754" fmla="*/ 1858673 w 8079933"/>
              <a:gd name="connsiteY30754" fmla="*/ 2299234 h 4687251"/>
              <a:gd name="connsiteX30755" fmla="*/ 1855960 w 8079933"/>
              <a:gd name="connsiteY30755" fmla="*/ 2299559 h 4687251"/>
              <a:gd name="connsiteX30756" fmla="*/ 1853464 w 8079933"/>
              <a:gd name="connsiteY30756" fmla="*/ 2296310 h 4687251"/>
              <a:gd name="connsiteX30757" fmla="*/ 1850100 w 8079933"/>
              <a:gd name="connsiteY30757" fmla="*/ 2294903 h 4687251"/>
              <a:gd name="connsiteX30758" fmla="*/ 1846628 w 8079933"/>
              <a:gd name="connsiteY30758" fmla="*/ 2289706 h 4687251"/>
              <a:gd name="connsiteX30759" fmla="*/ 1842287 w 8079933"/>
              <a:gd name="connsiteY30759" fmla="*/ 2290139 h 4687251"/>
              <a:gd name="connsiteX30760" fmla="*/ 1844348 w 8079933"/>
              <a:gd name="connsiteY30760" fmla="*/ 2294037 h 4687251"/>
              <a:gd name="connsiteX30761" fmla="*/ 1844240 w 8079933"/>
              <a:gd name="connsiteY30761" fmla="*/ 2299883 h 4687251"/>
              <a:gd name="connsiteX30762" fmla="*/ 1840550 w 8079933"/>
              <a:gd name="connsiteY30762" fmla="*/ 2301940 h 4687251"/>
              <a:gd name="connsiteX30763" fmla="*/ 1838706 w 8079933"/>
              <a:gd name="connsiteY30763" fmla="*/ 2298909 h 4687251"/>
              <a:gd name="connsiteX30764" fmla="*/ 1834691 w 8079933"/>
              <a:gd name="connsiteY30764" fmla="*/ 2296094 h 4687251"/>
              <a:gd name="connsiteX30765" fmla="*/ 1831218 w 8079933"/>
              <a:gd name="connsiteY30765" fmla="*/ 2298692 h 4687251"/>
              <a:gd name="connsiteX30766" fmla="*/ 1828831 w 8079933"/>
              <a:gd name="connsiteY30766" fmla="*/ 2301399 h 4687251"/>
              <a:gd name="connsiteX30767" fmla="*/ 1822862 w 8079933"/>
              <a:gd name="connsiteY30767" fmla="*/ 2299667 h 4687251"/>
              <a:gd name="connsiteX30768" fmla="*/ 1819607 w 8079933"/>
              <a:gd name="connsiteY30768" fmla="*/ 2297610 h 4687251"/>
              <a:gd name="connsiteX30769" fmla="*/ 1815592 w 8079933"/>
              <a:gd name="connsiteY30769" fmla="*/ 2298367 h 4687251"/>
              <a:gd name="connsiteX30770" fmla="*/ 1813096 w 8079933"/>
              <a:gd name="connsiteY30770" fmla="*/ 2297177 h 4687251"/>
              <a:gd name="connsiteX30771" fmla="*/ 1814941 w 8079933"/>
              <a:gd name="connsiteY30771" fmla="*/ 2294795 h 4687251"/>
              <a:gd name="connsiteX30772" fmla="*/ 1818196 w 8079933"/>
              <a:gd name="connsiteY30772" fmla="*/ 2292304 h 4687251"/>
              <a:gd name="connsiteX30773" fmla="*/ 1816569 w 8079933"/>
              <a:gd name="connsiteY30773" fmla="*/ 2289706 h 4687251"/>
              <a:gd name="connsiteX30774" fmla="*/ 1811685 w 8079933"/>
              <a:gd name="connsiteY30774" fmla="*/ 2290247 h 4687251"/>
              <a:gd name="connsiteX30775" fmla="*/ 1810275 w 8079933"/>
              <a:gd name="connsiteY30775" fmla="*/ 2288406 h 4687251"/>
              <a:gd name="connsiteX30776" fmla="*/ 1810275 w 8079933"/>
              <a:gd name="connsiteY30776" fmla="*/ 2284834 h 4687251"/>
              <a:gd name="connsiteX30777" fmla="*/ 1808646 w 8079933"/>
              <a:gd name="connsiteY30777" fmla="*/ 2283102 h 4687251"/>
              <a:gd name="connsiteX30778" fmla="*/ 1805391 w 8079933"/>
              <a:gd name="connsiteY30778" fmla="*/ 2284401 h 4687251"/>
              <a:gd name="connsiteX30779" fmla="*/ 1802787 w 8079933"/>
              <a:gd name="connsiteY30779" fmla="*/ 2283535 h 4687251"/>
              <a:gd name="connsiteX30780" fmla="*/ 1804632 w 8079933"/>
              <a:gd name="connsiteY30780" fmla="*/ 2280720 h 4687251"/>
              <a:gd name="connsiteX30781" fmla="*/ 1802027 w 8079933"/>
              <a:gd name="connsiteY30781" fmla="*/ 2279637 h 4687251"/>
              <a:gd name="connsiteX30782" fmla="*/ 1797252 w 8079933"/>
              <a:gd name="connsiteY30782" fmla="*/ 2281369 h 4687251"/>
              <a:gd name="connsiteX30783" fmla="*/ 1796819 w 8079933"/>
              <a:gd name="connsiteY30783" fmla="*/ 2283859 h 4687251"/>
              <a:gd name="connsiteX30784" fmla="*/ 1797687 w 8079933"/>
              <a:gd name="connsiteY30784" fmla="*/ 2286783 h 4687251"/>
              <a:gd name="connsiteX30785" fmla="*/ 1793346 w 8079933"/>
              <a:gd name="connsiteY30785" fmla="*/ 2287324 h 4687251"/>
              <a:gd name="connsiteX30786" fmla="*/ 1779564 w 8079933"/>
              <a:gd name="connsiteY30786" fmla="*/ 2286025 h 4687251"/>
              <a:gd name="connsiteX30787" fmla="*/ 1777719 w 8079933"/>
              <a:gd name="connsiteY30787" fmla="*/ 2283751 h 4687251"/>
              <a:gd name="connsiteX30788" fmla="*/ 1766542 w 8079933"/>
              <a:gd name="connsiteY30788" fmla="*/ 2281044 h 4687251"/>
              <a:gd name="connsiteX30789" fmla="*/ 1760249 w 8079933"/>
              <a:gd name="connsiteY30789" fmla="*/ 2281044 h 4687251"/>
              <a:gd name="connsiteX30790" fmla="*/ 1752218 w 8079933"/>
              <a:gd name="connsiteY30790" fmla="*/ 2282669 h 4687251"/>
              <a:gd name="connsiteX30791" fmla="*/ 1748963 w 8079933"/>
              <a:gd name="connsiteY30791" fmla="*/ 2284942 h 4687251"/>
              <a:gd name="connsiteX30792" fmla="*/ 1745490 w 8079933"/>
              <a:gd name="connsiteY30792" fmla="*/ 2285267 h 4687251"/>
              <a:gd name="connsiteX30793" fmla="*/ 1741475 w 8079933"/>
              <a:gd name="connsiteY30793" fmla="*/ 2291005 h 4687251"/>
              <a:gd name="connsiteX30794" fmla="*/ 1736158 w 8079933"/>
              <a:gd name="connsiteY30794" fmla="*/ 2291655 h 4687251"/>
              <a:gd name="connsiteX30795" fmla="*/ 1737026 w 8079933"/>
              <a:gd name="connsiteY30795" fmla="*/ 2287324 h 4687251"/>
              <a:gd name="connsiteX30796" fmla="*/ 1735832 w 8079933"/>
              <a:gd name="connsiteY30796" fmla="*/ 2283751 h 4687251"/>
              <a:gd name="connsiteX30797" fmla="*/ 1738545 w 8079933"/>
              <a:gd name="connsiteY30797" fmla="*/ 2279961 h 4687251"/>
              <a:gd name="connsiteX30798" fmla="*/ 1736917 w 8079933"/>
              <a:gd name="connsiteY30798" fmla="*/ 2274981 h 4687251"/>
              <a:gd name="connsiteX30799" fmla="*/ 1736483 w 8079933"/>
              <a:gd name="connsiteY30799" fmla="*/ 2277904 h 4687251"/>
              <a:gd name="connsiteX30800" fmla="*/ 1731817 w 8079933"/>
              <a:gd name="connsiteY30800" fmla="*/ 2281802 h 4687251"/>
              <a:gd name="connsiteX30801" fmla="*/ 1729430 w 8079933"/>
              <a:gd name="connsiteY30801" fmla="*/ 2281802 h 4687251"/>
              <a:gd name="connsiteX30802" fmla="*/ 1726825 w 8079933"/>
              <a:gd name="connsiteY30802" fmla="*/ 2278446 h 4687251"/>
              <a:gd name="connsiteX30803" fmla="*/ 1729646 w 8079933"/>
              <a:gd name="connsiteY30803" fmla="*/ 2285483 h 4687251"/>
              <a:gd name="connsiteX30804" fmla="*/ 1729430 w 8079933"/>
              <a:gd name="connsiteY30804" fmla="*/ 2290247 h 4687251"/>
              <a:gd name="connsiteX30805" fmla="*/ 1730515 w 8079933"/>
              <a:gd name="connsiteY30805" fmla="*/ 2295120 h 4687251"/>
              <a:gd name="connsiteX30806" fmla="*/ 1727368 w 8079933"/>
              <a:gd name="connsiteY30806" fmla="*/ 2297718 h 4687251"/>
              <a:gd name="connsiteX30807" fmla="*/ 1724329 w 8079933"/>
              <a:gd name="connsiteY30807" fmla="*/ 2297718 h 4687251"/>
              <a:gd name="connsiteX30808" fmla="*/ 1716733 w 8079933"/>
              <a:gd name="connsiteY30808" fmla="*/ 2304539 h 4687251"/>
              <a:gd name="connsiteX30809" fmla="*/ 1706532 w 8079933"/>
              <a:gd name="connsiteY30809" fmla="*/ 2309520 h 4687251"/>
              <a:gd name="connsiteX30810" fmla="*/ 1703385 w 8079933"/>
              <a:gd name="connsiteY30810" fmla="*/ 2309303 h 4687251"/>
              <a:gd name="connsiteX30811" fmla="*/ 1698936 w 8079933"/>
              <a:gd name="connsiteY30811" fmla="*/ 2313201 h 4687251"/>
              <a:gd name="connsiteX30812" fmla="*/ 1695681 w 8079933"/>
              <a:gd name="connsiteY30812" fmla="*/ 2313526 h 4687251"/>
              <a:gd name="connsiteX30813" fmla="*/ 1699804 w 8079933"/>
              <a:gd name="connsiteY30813" fmla="*/ 2309844 h 4687251"/>
              <a:gd name="connsiteX30814" fmla="*/ 1696223 w 8079933"/>
              <a:gd name="connsiteY30814" fmla="*/ 2307246 h 4687251"/>
              <a:gd name="connsiteX30815" fmla="*/ 1693945 w 8079933"/>
              <a:gd name="connsiteY30815" fmla="*/ 2308545 h 4687251"/>
              <a:gd name="connsiteX30816" fmla="*/ 1692208 w 8079933"/>
              <a:gd name="connsiteY30816" fmla="*/ 2307246 h 4687251"/>
              <a:gd name="connsiteX30817" fmla="*/ 1687759 w 8079933"/>
              <a:gd name="connsiteY30817" fmla="*/ 2309844 h 4687251"/>
              <a:gd name="connsiteX30818" fmla="*/ 1690363 w 8079933"/>
              <a:gd name="connsiteY30818" fmla="*/ 2312226 h 4687251"/>
              <a:gd name="connsiteX30819" fmla="*/ 1685372 w 8079933"/>
              <a:gd name="connsiteY30819" fmla="*/ 2314175 h 4687251"/>
              <a:gd name="connsiteX30820" fmla="*/ 1682767 w 8079933"/>
              <a:gd name="connsiteY30820" fmla="*/ 2312118 h 4687251"/>
              <a:gd name="connsiteX30821" fmla="*/ 1683093 w 8079933"/>
              <a:gd name="connsiteY30821" fmla="*/ 2318073 h 4687251"/>
              <a:gd name="connsiteX30822" fmla="*/ 1678752 w 8079933"/>
              <a:gd name="connsiteY30822" fmla="*/ 2320130 h 4687251"/>
              <a:gd name="connsiteX30823" fmla="*/ 1676365 w 8079933"/>
              <a:gd name="connsiteY30823" fmla="*/ 2318614 h 4687251"/>
              <a:gd name="connsiteX30824" fmla="*/ 1672133 w 8079933"/>
              <a:gd name="connsiteY30824" fmla="*/ 2323920 h 4687251"/>
              <a:gd name="connsiteX30825" fmla="*/ 1674846 w 8079933"/>
              <a:gd name="connsiteY30825" fmla="*/ 2327059 h 4687251"/>
              <a:gd name="connsiteX30826" fmla="*/ 1670071 w 8079933"/>
              <a:gd name="connsiteY30826" fmla="*/ 2330849 h 4687251"/>
              <a:gd name="connsiteX30827" fmla="*/ 1666598 w 8079933"/>
              <a:gd name="connsiteY30827" fmla="*/ 2332365 h 4687251"/>
              <a:gd name="connsiteX30828" fmla="*/ 1668118 w 8079933"/>
              <a:gd name="connsiteY30828" fmla="*/ 2341459 h 4687251"/>
              <a:gd name="connsiteX30829" fmla="*/ 1664862 w 8079933"/>
              <a:gd name="connsiteY30829" fmla="*/ 2346115 h 4687251"/>
              <a:gd name="connsiteX30830" fmla="*/ 1662800 w 8079933"/>
              <a:gd name="connsiteY30830" fmla="*/ 2353044 h 4687251"/>
              <a:gd name="connsiteX30831" fmla="*/ 1659979 w 8079933"/>
              <a:gd name="connsiteY30831" fmla="*/ 2358891 h 4687251"/>
              <a:gd name="connsiteX30832" fmla="*/ 1662041 w 8079933"/>
              <a:gd name="connsiteY30832" fmla="*/ 2362464 h 4687251"/>
              <a:gd name="connsiteX30833" fmla="*/ 1661607 w 8079933"/>
              <a:gd name="connsiteY30833" fmla="*/ 2372750 h 4687251"/>
              <a:gd name="connsiteX30834" fmla="*/ 1662800 w 8079933"/>
              <a:gd name="connsiteY30834" fmla="*/ 2376106 h 4687251"/>
              <a:gd name="connsiteX30835" fmla="*/ 1661281 w 8079933"/>
              <a:gd name="connsiteY30835" fmla="*/ 2381195 h 4687251"/>
              <a:gd name="connsiteX30836" fmla="*/ 1658785 w 8079933"/>
              <a:gd name="connsiteY30836" fmla="*/ 2388233 h 4687251"/>
              <a:gd name="connsiteX30837" fmla="*/ 1656723 w 8079933"/>
              <a:gd name="connsiteY30837" fmla="*/ 2387258 h 4687251"/>
              <a:gd name="connsiteX30838" fmla="*/ 1655204 w 8079933"/>
              <a:gd name="connsiteY30838" fmla="*/ 2384335 h 4687251"/>
              <a:gd name="connsiteX30839" fmla="*/ 1650863 w 8079933"/>
              <a:gd name="connsiteY30839" fmla="*/ 2383252 h 4687251"/>
              <a:gd name="connsiteX30840" fmla="*/ 1646414 w 8079933"/>
              <a:gd name="connsiteY30840" fmla="*/ 2380978 h 4687251"/>
              <a:gd name="connsiteX30841" fmla="*/ 1638601 w 8079933"/>
              <a:gd name="connsiteY30841" fmla="*/ 2378380 h 4687251"/>
              <a:gd name="connsiteX30842" fmla="*/ 1634694 w 8079933"/>
              <a:gd name="connsiteY30842" fmla="*/ 2374590 h 4687251"/>
              <a:gd name="connsiteX30843" fmla="*/ 1631656 w 8079933"/>
              <a:gd name="connsiteY30843" fmla="*/ 2372858 h 4687251"/>
              <a:gd name="connsiteX30844" fmla="*/ 1634694 w 8079933"/>
              <a:gd name="connsiteY30844" fmla="*/ 2374590 h 4687251"/>
              <a:gd name="connsiteX30845" fmla="*/ 1638600 w 8079933"/>
              <a:gd name="connsiteY30845" fmla="*/ 2378380 h 4687251"/>
              <a:gd name="connsiteX30846" fmla="*/ 1646413 w 8079933"/>
              <a:gd name="connsiteY30846" fmla="*/ 2380978 h 4687251"/>
              <a:gd name="connsiteX30847" fmla="*/ 1650863 w 8079933"/>
              <a:gd name="connsiteY30847" fmla="*/ 2383252 h 4687251"/>
              <a:gd name="connsiteX30848" fmla="*/ 1655204 w 8079933"/>
              <a:gd name="connsiteY30848" fmla="*/ 2384335 h 4687251"/>
              <a:gd name="connsiteX30849" fmla="*/ 1656722 w 8079933"/>
              <a:gd name="connsiteY30849" fmla="*/ 2387258 h 4687251"/>
              <a:gd name="connsiteX30850" fmla="*/ 1658785 w 8079933"/>
              <a:gd name="connsiteY30850" fmla="*/ 2388233 h 4687251"/>
              <a:gd name="connsiteX30851" fmla="*/ 1657591 w 8079933"/>
              <a:gd name="connsiteY30851" fmla="*/ 2391697 h 4687251"/>
              <a:gd name="connsiteX30852" fmla="*/ 1661715 w 8079933"/>
              <a:gd name="connsiteY30852" fmla="*/ 2388990 h 4687251"/>
              <a:gd name="connsiteX30853" fmla="*/ 1663125 w 8079933"/>
              <a:gd name="connsiteY30853" fmla="*/ 2382061 h 4687251"/>
              <a:gd name="connsiteX30854" fmla="*/ 1666381 w 8079933"/>
              <a:gd name="connsiteY30854" fmla="*/ 2379354 h 4687251"/>
              <a:gd name="connsiteX30855" fmla="*/ 1665730 w 8079933"/>
              <a:gd name="connsiteY30855" fmla="*/ 2381737 h 4687251"/>
              <a:gd name="connsiteX30856" fmla="*/ 1664970 w 8079933"/>
              <a:gd name="connsiteY30856" fmla="*/ 2387908 h 4687251"/>
              <a:gd name="connsiteX30857" fmla="*/ 1663125 w 8079933"/>
              <a:gd name="connsiteY30857" fmla="*/ 2389965 h 4687251"/>
              <a:gd name="connsiteX30858" fmla="*/ 1661715 w 8079933"/>
              <a:gd name="connsiteY30858" fmla="*/ 2395270 h 4687251"/>
              <a:gd name="connsiteX30859" fmla="*/ 1658134 w 8079933"/>
              <a:gd name="connsiteY30859" fmla="*/ 2400467 h 4687251"/>
              <a:gd name="connsiteX30860" fmla="*/ 1657482 w 8079933"/>
              <a:gd name="connsiteY30860" fmla="*/ 2404581 h 4687251"/>
              <a:gd name="connsiteX30861" fmla="*/ 1654661 w 8079933"/>
              <a:gd name="connsiteY30861" fmla="*/ 2404906 h 4687251"/>
              <a:gd name="connsiteX30862" fmla="*/ 1655529 w 8079933"/>
              <a:gd name="connsiteY30862" fmla="*/ 2402524 h 4687251"/>
              <a:gd name="connsiteX30863" fmla="*/ 1656289 w 8079933"/>
              <a:gd name="connsiteY30863" fmla="*/ 2398194 h 4687251"/>
              <a:gd name="connsiteX30864" fmla="*/ 1652056 w 8079933"/>
              <a:gd name="connsiteY30864" fmla="*/ 2397869 h 4687251"/>
              <a:gd name="connsiteX30865" fmla="*/ 1652056 w 8079933"/>
              <a:gd name="connsiteY30865" fmla="*/ 2404581 h 4687251"/>
              <a:gd name="connsiteX30866" fmla="*/ 1649126 w 8079933"/>
              <a:gd name="connsiteY30866" fmla="*/ 2408155 h 4687251"/>
              <a:gd name="connsiteX30867" fmla="*/ 1652274 w 8079933"/>
              <a:gd name="connsiteY30867" fmla="*/ 2410645 h 4687251"/>
              <a:gd name="connsiteX30868" fmla="*/ 1651188 w 8079933"/>
              <a:gd name="connsiteY30868" fmla="*/ 2412810 h 4687251"/>
              <a:gd name="connsiteX30869" fmla="*/ 1649669 w 8079933"/>
              <a:gd name="connsiteY30869" fmla="*/ 2419523 h 4687251"/>
              <a:gd name="connsiteX30870" fmla="*/ 1647281 w 8079933"/>
              <a:gd name="connsiteY30870" fmla="*/ 2421904 h 4687251"/>
              <a:gd name="connsiteX30871" fmla="*/ 1647281 w 8079933"/>
              <a:gd name="connsiteY30871" fmla="*/ 2427643 h 4687251"/>
              <a:gd name="connsiteX30872" fmla="*/ 1648801 w 8079933"/>
              <a:gd name="connsiteY30872" fmla="*/ 2429700 h 4687251"/>
              <a:gd name="connsiteX30873" fmla="*/ 1647065 w 8079933"/>
              <a:gd name="connsiteY30873" fmla="*/ 2432948 h 4687251"/>
              <a:gd name="connsiteX30874" fmla="*/ 1647390 w 8079933"/>
              <a:gd name="connsiteY30874" fmla="*/ 2436413 h 4687251"/>
              <a:gd name="connsiteX30875" fmla="*/ 1644895 w 8079933"/>
              <a:gd name="connsiteY30875" fmla="*/ 2448214 h 4687251"/>
              <a:gd name="connsiteX30876" fmla="*/ 1646088 w 8079933"/>
              <a:gd name="connsiteY30876" fmla="*/ 2455685 h 4687251"/>
              <a:gd name="connsiteX30877" fmla="*/ 1644895 w 8079933"/>
              <a:gd name="connsiteY30877" fmla="*/ 2466946 h 4687251"/>
              <a:gd name="connsiteX30878" fmla="*/ 1641097 w 8079933"/>
              <a:gd name="connsiteY30878" fmla="*/ 2471926 h 4687251"/>
              <a:gd name="connsiteX30879" fmla="*/ 1642290 w 8079933"/>
              <a:gd name="connsiteY30879" fmla="*/ 2475715 h 4687251"/>
              <a:gd name="connsiteX30880" fmla="*/ 1643809 w 8079933"/>
              <a:gd name="connsiteY30880" fmla="*/ 2484810 h 4687251"/>
              <a:gd name="connsiteX30881" fmla="*/ 1643158 w 8079933"/>
              <a:gd name="connsiteY30881" fmla="*/ 2490007 h 4687251"/>
              <a:gd name="connsiteX30882" fmla="*/ 1649344 w 8079933"/>
              <a:gd name="connsiteY30882" fmla="*/ 2499860 h 4687251"/>
              <a:gd name="connsiteX30883" fmla="*/ 1649452 w 8079933"/>
              <a:gd name="connsiteY30883" fmla="*/ 2506897 h 4687251"/>
              <a:gd name="connsiteX30884" fmla="*/ 1647933 w 8079933"/>
              <a:gd name="connsiteY30884" fmla="*/ 2508196 h 4687251"/>
              <a:gd name="connsiteX30885" fmla="*/ 1647281 w 8079933"/>
              <a:gd name="connsiteY30885" fmla="*/ 2499860 h 4687251"/>
              <a:gd name="connsiteX30886" fmla="*/ 1641965 w 8079933"/>
              <a:gd name="connsiteY30886" fmla="*/ 2492930 h 4687251"/>
              <a:gd name="connsiteX30887" fmla="*/ 1641205 w 8079933"/>
              <a:gd name="connsiteY30887" fmla="*/ 2498127 h 4687251"/>
              <a:gd name="connsiteX30888" fmla="*/ 1644895 w 8079933"/>
              <a:gd name="connsiteY30888" fmla="*/ 2501375 h 4687251"/>
              <a:gd name="connsiteX30889" fmla="*/ 1647608 w 8079933"/>
              <a:gd name="connsiteY30889" fmla="*/ 2511119 h 4687251"/>
              <a:gd name="connsiteX30890" fmla="*/ 1648801 w 8079933"/>
              <a:gd name="connsiteY30890" fmla="*/ 2514476 h 4687251"/>
              <a:gd name="connsiteX30891" fmla="*/ 1647065 w 8079933"/>
              <a:gd name="connsiteY30891" fmla="*/ 2517724 h 4687251"/>
              <a:gd name="connsiteX30892" fmla="*/ 1649886 w 8079933"/>
              <a:gd name="connsiteY30892" fmla="*/ 2521838 h 4687251"/>
              <a:gd name="connsiteX30893" fmla="*/ 1650863 w 8079933"/>
              <a:gd name="connsiteY30893" fmla="*/ 2526494 h 4687251"/>
              <a:gd name="connsiteX30894" fmla="*/ 1663993 w 8079933"/>
              <a:gd name="connsiteY30894" fmla="*/ 2540569 h 4687251"/>
              <a:gd name="connsiteX30895" fmla="*/ 1666163 w 8079933"/>
              <a:gd name="connsiteY30895" fmla="*/ 2545874 h 4687251"/>
              <a:gd name="connsiteX30896" fmla="*/ 1670613 w 8079933"/>
              <a:gd name="connsiteY30896" fmla="*/ 2552371 h 4687251"/>
              <a:gd name="connsiteX30897" fmla="*/ 1670179 w 8079933"/>
              <a:gd name="connsiteY30897" fmla="*/ 2555943 h 4687251"/>
              <a:gd name="connsiteX30898" fmla="*/ 1671481 w 8079933"/>
              <a:gd name="connsiteY30898" fmla="*/ 2559841 h 4687251"/>
              <a:gd name="connsiteX30899" fmla="*/ 1681465 w 8079933"/>
              <a:gd name="connsiteY30899" fmla="*/ 2571643 h 4687251"/>
              <a:gd name="connsiteX30900" fmla="*/ 1684611 w 8079933"/>
              <a:gd name="connsiteY30900" fmla="*/ 2575000 h 4687251"/>
              <a:gd name="connsiteX30901" fmla="*/ 1686890 w 8079933"/>
              <a:gd name="connsiteY30901" fmla="*/ 2574458 h 4687251"/>
              <a:gd name="connsiteX30902" fmla="*/ 1693510 w 8079933"/>
              <a:gd name="connsiteY30902" fmla="*/ 2574566 h 4687251"/>
              <a:gd name="connsiteX30903" fmla="*/ 1695029 w 8079933"/>
              <a:gd name="connsiteY30903" fmla="*/ 2576407 h 4687251"/>
              <a:gd name="connsiteX30904" fmla="*/ 1701974 w 8079933"/>
              <a:gd name="connsiteY30904" fmla="*/ 2579330 h 4687251"/>
              <a:gd name="connsiteX30905" fmla="*/ 1707400 w 8079933"/>
              <a:gd name="connsiteY30905" fmla="*/ 2586909 h 4687251"/>
              <a:gd name="connsiteX30906" fmla="*/ 1709244 w 8079933"/>
              <a:gd name="connsiteY30906" fmla="*/ 2592864 h 4687251"/>
              <a:gd name="connsiteX30907" fmla="*/ 1714996 w 8079933"/>
              <a:gd name="connsiteY30907" fmla="*/ 2590265 h 4687251"/>
              <a:gd name="connsiteX30908" fmla="*/ 1723026 w 8079933"/>
              <a:gd name="connsiteY30908" fmla="*/ 2588533 h 4687251"/>
              <a:gd name="connsiteX30909" fmla="*/ 1725088 w 8079933"/>
              <a:gd name="connsiteY30909" fmla="*/ 2590915 h 4687251"/>
              <a:gd name="connsiteX30910" fmla="*/ 1727909 w 8079933"/>
              <a:gd name="connsiteY30910" fmla="*/ 2590915 h 4687251"/>
              <a:gd name="connsiteX30911" fmla="*/ 1737893 w 8079933"/>
              <a:gd name="connsiteY30911" fmla="*/ 2585285 h 4687251"/>
              <a:gd name="connsiteX30912" fmla="*/ 1739304 w 8079933"/>
              <a:gd name="connsiteY30912" fmla="*/ 2583228 h 4687251"/>
              <a:gd name="connsiteX30913" fmla="*/ 1747768 w 8079933"/>
              <a:gd name="connsiteY30913" fmla="*/ 2582470 h 4687251"/>
              <a:gd name="connsiteX30914" fmla="*/ 1753194 w 8079933"/>
              <a:gd name="connsiteY30914" fmla="*/ 2582362 h 4687251"/>
              <a:gd name="connsiteX30915" fmla="*/ 1757535 w 8079933"/>
              <a:gd name="connsiteY30915" fmla="*/ 2578680 h 4687251"/>
              <a:gd name="connsiteX30916" fmla="*/ 1763937 w 8079933"/>
              <a:gd name="connsiteY30916" fmla="*/ 2578572 h 4687251"/>
              <a:gd name="connsiteX30917" fmla="*/ 1769038 w 8079933"/>
              <a:gd name="connsiteY30917" fmla="*/ 2580088 h 4687251"/>
              <a:gd name="connsiteX30918" fmla="*/ 1771099 w 8079933"/>
              <a:gd name="connsiteY30918" fmla="*/ 2577381 h 4687251"/>
              <a:gd name="connsiteX30919" fmla="*/ 1777827 w 8079933"/>
              <a:gd name="connsiteY30919" fmla="*/ 2579222 h 4687251"/>
              <a:gd name="connsiteX30920" fmla="*/ 1773269 w 8079933"/>
              <a:gd name="connsiteY30920" fmla="*/ 2581604 h 4687251"/>
              <a:gd name="connsiteX30921" fmla="*/ 1771967 w 8079933"/>
              <a:gd name="connsiteY30921" fmla="*/ 2584527 h 4687251"/>
              <a:gd name="connsiteX30922" fmla="*/ 1777502 w 8079933"/>
              <a:gd name="connsiteY30922" fmla="*/ 2587018 h 4687251"/>
              <a:gd name="connsiteX30923" fmla="*/ 1780323 w 8079933"/>
              <a:gd name="connsiteY30923" fmla="*/ 2589724 h 4687251"/>
              <a:gd name="connsiteX30924" fmla="*/ 1781300 w 8079933"/>
              <a:gd name="connsiteY30924" fmla="*/ 2587126 h 4687251"/>
              <a:gd name="connsiteX30925" fmla="*/ 1784121 w 8079933"/>
              <a:gd name="connsiteY30925" fmla="*/ 2587018 h 4687251"/>
              <a:gd name="connsiteX30926" fmla="*/ 1788679 w 8079933"/>
              <a:gd name="connsiteY30926" fmla="*/ 2581496 h 4687251"/>
              <a:gd name="connsiteX30927" fmla="*/ 1788896 w 8079933"/>
              <a:gd name="connsiteY30927" fmla="*/ 2574566 h 4687251"/>
              <a:gd name="connsiteX30928" fmla="*/ 1790089 w 8079933"/>
              <a:gd name="connsiteY30928" fmla="*/ 2570452 h 4687251"/>
              <a:gd name="connsiteX30929" fmla="*/ 1785423 w 8079933"/>
              <a:gd name="connsiteY30929" fmla="*/ 2573592 h 4687251"/>
              <a:gd name="connsiteX30930" fmla="*/ 1784555 w 8079933"/>
              <a:gd name="connsiteY30930" fmla="*/ 2572725 h 4687251"/>
              <a:gd name="connsiteX30931" fmla="*/ 1795299 w 8079933"/>
              <a:gd name="connsiteY30931" fmla="*/ 2566987 h 4687251"/>
              <a:gd name="connsiteX30932" fmla="*/ 1798880 w 8079933"/>
              <a:gd name="connsiteY30932" fmla="*/ 2566229 h 4687251"/>
              <a:gd name="connsiteX30933" fmla="*/ 1803437 w 8079933"/>
              <a:gd name="connsiteY30933" fmla="*/ 2560707 h 4687251"/>
              <a:gd name="connsiteX30934" fmla="*/ 1803437 w 8079933"/>
              <a:gd name="connsiteY30934" fmla="*/ 2552371 h 4687251"/>
              <a:gd name="connsiteX30935" fmla="*/ 1812119 w 8079933"/>
              <a:gd name="connsiteY30935" fmla="*/ 2543060 h 4687251"/>
              <a:gd name="connsiteX30936" fmla="*/ 1811467 w 8079933"/>
              <a:gd name="connsiteY30936" fmla="*/ 2541327 h 4687251"/>
              <a:gd name="connsiteX30937" fmla="*/ 1812119 w 8079933"/>
              <a:gd name="connsiteY30937" fmla="*/ 2526602 h 4687251"/>
              <a:gd name="connsiteX30938" fmla="*/ 1821125 w 8079933"/>
              <a:gd name="connsiteY30938" fmla="*/ 2516641 h 4687251"/>
              <a:gd name="connsiteX30939" fmla="*/ 1817327 w 8079933"/>
              <a:gd name="connsiteY30939" fmla="*/ 2516209 h 4687251"/>
              <a:gd name="connsiteX30940" fmla="*/ 1817327 w 8079933"/>
              <a:gd name="connsiteY30940" fmla="*/ 2512852 h 4687251"/>
              <a:gd name="connsiteX30941" fmla="*/ 1832845 w 8079933"/>
              <a:gd name="connsiteY30941" fmla="*/ 2509062 h 4687251"/>
              <a:gd name="connsiteX30942" fmla="*/ 1853138 w 8079933"/>
              <a:gd name="connsiteY30942" fmla="*/ 2509387 h 4687251"/>
              <a:gd name="connsiteX30943" fmla="*/ 1856610 w 8079933"/>
              <a:gd name="connsiteY30943" fmla="*/ 2504515 h 4687251"/>
              <a:gd name="connsiteX30944" fmla="*/ 1862470 w 8079933"/>
              <a:gd name="connsiteY30944" fmla="*/ 2503866 h 4687251"/>
              <a:gd name="connsiteX30945" fmla="*/ 1864532 w 8079933"/>
              <a:gd name="connsiteY30945" fmla="*/ 2505923 h 4687251"/>
              <a:gd name="connsiteX30946" fmla="*/ 1870392 w 8079933"/>
              <a:gd name="connsiteY30946" fmla="*/ 2503216 h 4687251"/>
              <a:gd name="connsiteX30947" fmla="*/ 1870066 w 8079933"/>
              <a:gd name="connsiteY30947" fmla="*/ 2500726 h 4687251"/>
              <a:gd name="connsiteX30948" fmla="*/ 1879399 w 8079933"/>
              <a:gd name="connsiteY30948" fmla="*/ 2500401 h 4687251"/>
              <a:gd name="connsiteX30949" fmla="*/ 1890467 w 8079933"/>
              <a:gd name="connsiteY30949" fmla="*/ 2503216 h 4687251"/>
              <a:gd name="connsiteX30950" fmla="*/ 1893180 w 8079933"/>
              <a:gd name="connsiteY30950" fmla="*/ 2502133 h 4687251"/>
              <a:gd name="connsiteX30951" fmla="*/ 1892204 w 8079933"/>
              <a:gd name="connsiteY30951" fmla="*/ 2499427 h 4687251"/>
              <a:gd name="connsiteX30952" fmla="*/ 1896653 w 8079933"/>
              <a:gd name="connsiteY30952" fmla="*/ 2498993 h 4687251"/>
              <a:gd name="connsiteX30953" fmla="*/ 1903598 w 8079933"/>
              <a:gd name="connsiteY30953" fmla="*/ 2507763 h 4687251"/>
              <a:gd name="connsiteX30954" fmla="*/ 1904032 w 8079933"/>
              <a:gd name="connsiteY30954" fmla="*/ 2513068 h 4687251"/>
              <a:gd name="connsiteX30955" fmla="*/ 1900234 w 8079933"/>
              <a:gd name="connsiteY30955" fmla="*/ 2519023 h 4687251"/>
              <a:gd name="connsiteX30956" fmla="*/ 1894808 w 8079933"/>
              <a:gd name="connsiteY30956" fmla="*/ 2528010 h 4687251"/>
              <a:gd name="connsiteX30957" fmla="*/ 1884391 w 8079933"/>
              <a:gd name="connsiteY30957" fmla="*/ 2537429 h 4687251"/>
              <a:gd name="connsiteX30958" fmla="*/ 1882329 w 8079933"/>
              <a:gd name="connsiteY30958" fmla="*/ 2540894 h 4687251"/>
              <a:gd name="connsiteX30959" fmla="*/ 1881786 w 8079933"/>
              <a:gd name="connsiteY30959" fmla="*/ 2547282 h 4687251"/>
              <a:gd name="connsiteX30960" fmla="*/ 1877120 w 8079933"/>
              <a:gd name="connsiteY30960" fmla="*/ 2550205 h 4687251"/>
              <a:gd name="connsiteX30961" fmla="*/ 1875600 w 8079933"/>
              <a:gd name="connsiteY30961" fmla="*/ 2551937 h 4687251"/>
              <a:gd name="connsiteX30962" fmla="*/ 1878639 w 8079933"/>
              <a:gd name="connsiteY30962" fmla="*/ 2554536 h 4687251"/>
              <a:gd name="connsiteX30963" fmla="*/ 1882654 w 8079933"/>
              <a:gd name="connsiteY30963" fmla="*/ 2554536 h 4687251"/>
              <a:gd name="connsiteX30964" fmla="*/ 1881786 w 8079933"/>
              <a:gd name="connsiteY30964" fmla="*/ 2557892 h 4687251"/>
              <a:gd name="connsiteX30965" fmla="*/ 1876468 w 8079933"/>
              <a:gd name="connsiteY30965" fmla="*/ 2563631 h 4687251"/>
              <a:gd name="connsiteX30966" fmla="*/ 1876468 w 8079933"/>
              <a:gd name="connsiteY30966" fmla="*/ 2565472 h 4687251"/>
              <a:gd name="connsiteX30967" fmla="*/ 1878531 w 8079933"/>
              <a:gd name="connsiteY30967" fmla="*/ 2566554 h 4687251"/>
              <a:gd name="connsiteX30968" fmla="*/ 1880918 w 8079933"/>
              <a:gd name="connsiteY30968" fmla="*/ 2564064 h 4687251"/>
              <a:gd name="connsiteX30969" fmla="*/ 1883088 w 8079933"/>
              <a:gd name="connsiteY30969" fmla="*/ 2563739 h 4687251"/>
              <a:gd name="connsiteX30970" fmla="*/ 1880701 w 8079933"/>
              <a:gd name="connsiteY30970" fmla="*/ 2567745 h 4687251"/>
              <a:gd name="connsiteX30971" fmla="*/ 1876903 w 8079933"/>
              <a:gd name="connsiteY30971" fmla="*/ 2582686 h 4687251"/>
              <a:gd name="connsiteX30972" fmla="*/ 1872454 w 8079933"/>
              <a:gd name="connsiteY30972" fmla="*/ 2590374 h 4687251"/>
              <a:gd name="connsiteX30973" fmla="*/ 1871477 w 8079933"/>
              <a:gd name="connsiteY30973" fmla="*/ 2591457 h 4687251"/>
              <a:gd name="connsiteX30974" fmla="*/ 1869524 w 8079933"/>
              <a:gd name="connsiteY30974" fmla="*/ 2587018 h 4687251"/>
              <a:gd name="connsiteX30975" fmla="*/ 1864206 w 8079933"/>
              <a:gd name="connsiteY30975" fmla="*/ 2583661 h 4687251"/>
              <a:gd name="connsiteX30976" fmla="*/ 1863989 w 8079933"/>
              <a:gd name="connsiteY30976" fmla="*/ 2582362 h 4687251"/>
              <a:gd name="connsiteX30977" fmla="*/ 1866268 w 8079933"/>
              <a:gd name="connsiteY30977" fmla="*/ 2580088 h 4687251"/>
              <a:gd name="connsiteX30978" fmla="*/ 1866811 w 8079933"/>
              <a:gd name="connsiteY30978" fmla="*/ 2575324 h 4687251"/>
              <a:gd name="connsiteX30979" fmla="*/ 1863989 w 8079933"/>
              <a:gd name="connsiteY30979" fmla="*/ 2576190 h 4687251"/>
              <a:gd name="connsiteX30980" fmla="*/ 1858781 w 8079933"/>
              <a:gd name="connsiteY30980" fmla="*/ 2582145 h 4687251"/>
              <a:gd name="connsiteX30981" fmla="*/ 1854657 w 8079933"/>
              <a:gd name="connsiteY30981" fmla="*/ 2585718 h 4687251"/>
              <a:gd name="connsiteX30982" fmla="*/ 1854765 w 8079933"/>
              <a:gd name="connsiteY30982" fmla="*/ 2585826 h 4687251"/>
              <a:gd name="connsiteX30983" fmla="*/ 1854766 w 8079933"/>
              <a:gd name="connsiteY30983" fmla="*/ 2585826 h 4687251"/>
              <a:gd name="connsiteX30984" fmla="*/ 1855959 w 8079933"/>
              <a:gd name="connsiteY30984" fmla="*/ 2587991 h 4687251"/>
              <a:gd name="connsiteX30985" fmla="*/ 1858347 w 8079933"/>
              <a:gd name="connsiteY30985" fmla="*/ 2585718 h 4687251"/>
              <a:gd name="connsiteX30986" fmla="*/ 1861385 w 8079933"/>
              <a:gd name="connsiteY30986" fmla="*/ 2585718 h 4687251"/>
              <a:gd name="connsiteX30987" fmla="*/ 1861928 w 8079933"/>
              <a:gd name="connsiteY30987" fmla="*/ 2588316 h 4687251"/>
              <a:gd name="connsiteX30988" fmla="*/ 1861277 w 8079933"/>
              <a:gd name="connsiteY30988" fmla="*/ 2590914 h 4687251"/>
              <a:gd name="connsiteX30989" fmla="*/ 1860626 w 8079933"/>
              <a:gd name="connsiteY30989" fmla="*/ 2602608 h 4687251"/>
              <a:gd name="connsiteX30990" fmla="*/ 1858021 w 8079933"/>
              <a:gd name="connsiteY30990" fmla="*/ 2606939 h 4687251"/>
              <a:gd name="connsiteX30991" fmla="*/ 1856936 w 8079933"/>
              <a:gd name="connsiteY30991" fmla="*/ 2613977 h 4687251"/>
              <a:gd name="connsiteX30992" fmla="*/ 1859541 w 8079933"/>
              <a:gd name="connsiteY30992" fmla="*/ 2616575 h 4687251"/>
              <a:gd name="connsiteX30993" fmla="*/ 1859324 w 8079933"/>
              <a:gd name="connsiteY30993" fmla="*/ 2624479 h 4687251"/>
              <a:gd name="connsiteX30994" fmla="*/ 1856936 w 8079933"/>
              <a:gd name="connsiteY30994" fmla="*/ 2630975 h 4687251"/>
              <a:gd name="connsiteX30995" fmla="*/ 1850208 w 8079933"/>
              <a:gd name="connsiteY30995" fmla="*/ 2640286 h 4687251"/>
              <a:gd name="connsiteX30996" fmla="*/ 1847603 w 8079933"/>
              <a:gd name="connsiteY30996" fmla="*/ 2638013 h 4687251"/>
              <a:gd name="connsiteX30997" fmla="*/ 1843155 w 8079933"/>
              <a:gd name="connsiteY30997" fmla="*/ 2642668 h 4687251"/>
              <a:gd name="connsiteX30998" fmla="*/ 1841310 w 8079933"/>
              <a:gd name="connsiteY30998" fmla="*/ 2646673 h 4687251"/>
              <a:gd name="connsiteX30999" fmla="*/ 1842830 w 8079933"/>
              <a:gd name="connsiteY30999" fmla="*/ 2649380 h 4687251"/>
              <a:gd name="connsiteX31000" fmla="*/ 1846302 w 8079933"/>
              <a:gd name="connsiteY31000" fmla="*/ 2649380 h 4687251"/>
              <a:gd name="connsiteX31001" fmla="*/ 1850100 w 8079933"/>
              <a:gd name="connsiteY31001" fmla="*/ 2651978 h 4687251"/>
              <a:gd name="connsiteX31002" fmla="*/ 1851294 w 8079933"/>
              <a:gd name="connsiteY31002" fmla="*/ 2649055 h 4687251"/>
              <a:gd name="connsiteX31003" fmla="*/ 1855526 w 8079933"/>
              <a:gd name="connsiteY31003" fmla="*/ 2649597 h 4687251"/>
              <a:gd name="connsiteX31004" fmla="*/ 1857479 w 8079933"/>
              <a:gd name="connsiteY31004" fmla="*/ 2651113 h 4687251"/>
              <a:gd name="connsiteX31005" fmla="*/ 1857479 w 8079933"/>
              <a:gd name="connsiteY31005" fmla="*/ 2651113 h 4687251"/>
              <a:gd name="connsiteX31006" fmla="*/ 1860409 w 8079933"/>
              <a:gd name="connsiteY31006" fmla="*/ 2653495 h 4687251"/>
              <a:gd name="connsiteX31007" fmla="*/ 1866594 w 8079933"/>
              <a:gd name="connsiteY31007" fmla="*/ 2650030 h 4687251"/>
              <a:gd name="connsiteX31008" fmla="*/ 1880701 w 8079933"/>
              <a:gd name="connsiteY31008" fmla="*/ 2649706 h 4687251"/>
              <a:gd name="connsiteX31009" fmla="*/ 1890902 w 8079933"/>
              <a:gd name="connsiteY31009" fmla="*/ 2650571 h 4687251"/>
              <a:gd name="connsiteX31010" fmla="*/ 1898823 w 8079933"/>
              <a:gd name="connsiteY31010" fmla="*/ 2648514 h 4687251"/>
              <a:gd name="connsiteX31011" fmla="*/ 1902730 w 8079933"/>
              <a:gd name="connsiteY31011" fmla="*/ 2649922 h 4687251"/>
              <a:gd name="connsiteX31012" fmla="*/ 1905226 w 8079933"/>
              <a:gd name="connsiteY31012" fmla="*/ 2648190 h 4687251"/>
              <a:gd name="connsiteX31013" fmla="*/ 1908916 w 8079933"/>
              <a:gd name="connsiteY31013" fmla="*/ 2646674 h 4687251"/>
              <a:gd name="connsiteX31014" fmla="*/ 1907071 w 8079933"/>
              <a:gd name="connsiteY31014" fmla="*/ 2645267 h 4687251"/>
              <a:gd name="connsiteX31015" fmla="*/ 1908156 w 8079933"/>
              <a:gd name="connsiteY31015" fmla="*/ 2642343 h 4687251"/>
              <a:gd name="connsiteX31016" fmla="*/ 1913147 w 8079933"/>
              <a:gd name="connsiteY31016" fmla="*/ 2644725 h 4687251"/>
              <a:gd name="connsiteX31017" fmla="*/ 1918682 w 8079933"/>
              <a:gd name="connsiteY31017" fmla="*/ 2649380 h 4687251"/>
              <a:gd name="connsiteX31018" fmla="*/ 1928774 w 8079933"/>
              <a:gd name="connsiteY31018" fmla="*/ 2649922 h 4687251"/>
              <a:gd name="connsiteX31019" fmla="*/ 1939300 w 8079933"/>
              <a:gd name="connsiteY31019" fmla="*/ 2650896 h 4687251"/>
              <a:gd name="connsiteX31020" fmla="*/ 1942447 w 8079933"/>
              <a:gd name="connsiteY31020" fmla="*/ 2653170 h 4687251"/>
              <a:gd name="connsiteX31021" fmla="*/ 1943424 w 8079933"/>
              <a:gd name="connsiteY31021" fmla="*/ 2650247 h 4687251"/>
              <a:gd name="connsiteX31022" fmla="*/ 1946028 w 8079933"/>
              <a:gd name="connsiteY31022" fmla="*/ 2651437 h 4687251"/>
              <a:gd name="connsiteX31023" fmla="*/ 1949935 w 8079933"/>
              <a:gd name="connsiteY31023" fmla="*/ 2650571 h 4687251"/>
              <a:gd name="connsiteX31024" fmla="*/ 1954167 w 8079933"/>
              <a:gd name="connsiteY31024" fmla="*/ 2650896 h 4687251"/>
              <a:gd name="connsiteX31025" fmla="*/ 1960027 w 8079933"/>
              <a:gd name="connsiteY31025" fmla="*/ 2654145 h 4687251"/>
              <a:gd name="connsiteX31026" fmla="*/ 1964259 w 8079933"/>
              <a:gd name="connsiteY31026" fmla="*/ 2657610 h 4687251"/>
              <a:gd name="connsiteX31027" fmla="*/ 1963391 w 8079933"/>
              <a:gd name="connsiteY31027" fmla="*/ 2658259 h 4687251"/>
              <a:gd name="connsiteX31028" fmla="*/ 1957097 w 8079933"/>
              <a:gd name="connsiteY31028" fmla="*/ 2656418 h 4687251"/>
              <a:gd name="connsiteX31029" fmla="*/ 1953299 w 8079933"/>
              <a:gd name="connsiteY31029" fmla="*/ 2655552 h 4687251"/>
              <a:gd name="connsiteX31030" fmla="*/ 1951237 w 8079933"/>
              <a:gd name="connsiteY31030" fmla="*/ 2656094 h 4687251"/>
              <a:gd name="connsiteX31031" fmla="*/ 1951562 w 8079933"/>
              <a:gd name="connsiteY31031" fmla="*/ 2658259 h 4687251"/>
              <a:gd name="connsiteX31032" fmla="*/ 1948416 w 8079933"/>
              <a:gd name="connsiteY31032" fmla="*/ 2659125 h 4687251"/>
              <a:gd name="connsiteX31033" fmla="*/ 1947439 w 8079933"/>
              <a:gd name="connsiteY31033" fmla="*/ 2661074 h 4687251"/>
              <a:gd name="connsiteX31034" fmla="*/ 1951346 w 8079933"/>
              <a:gd name="connsiteY31034" fmla="*/ 2661074 h 4687251"/>
              <a:gd name="connsiteX31035" fmla="*/ 1955795 w 8079933"/>
              <a:gd name="connsiteY31035" fmla="*/ 2661615 h 4687251"/>
              <a:gd name="connsiteX31036" fmla="*/ 1958291 w 8079933"/>
              <a:gd name="connsiteY31036" fmla="*/ 2663456 h 4687251"/>
              <a:gd name="connsiteX31037" fmla="*/ 1964476 w 8079933"/>
              <a:gd name="connsiteY31037" fmla="*/ 2664106 h 4687251"/>
              <a:gd name="connsiteX31038" fmla="*/ 1969576 w 8079933"/>
              <a:gd name="connsiteY31038" fmla="*/ 2664322 h 4687251"/>
              <a:gd name="connsiteX31039" fmla="*/ 1967514 w 8079933"/>
              <a:gd name="connsiteY31039" fmla="*/ 2660424 h 4687251"/>
              <a:gd name="connsiteX31040" fmla="*/ 1967840 w 8079933"/>
              <a:gd name="connsiteY31040" fmla="*/ 2659558 h 4687251"/>
              <a:gd name="connsiteX31041" fmla="*/ 1973049 w 8079933"/>
              <a:gd name="connsiteY31041" fmla="*/ 2661723 h 4687251"/>
              <a:gd name="connsiteX31042" fmla="*/ 1978583 w 8079933"/>
              <a:gd name="connsiteY31042" fmla="*/ 2666271 h 4687251"/>
              <a:gd name="connsiteX31043" fmla="*/ 1979994 w 8079933"/>
              <a:gd name="connsiteY31043" fmla="*/ 2668653 h 4687251"/>
              <a:gd name="connsiteX31044" fmla="*/ 1978475 w 8079933"/>
              <a:gd name="connsiteY31044" fmla="*/ 2670169 h 4687251"/>
              <a:gd name="connsiteX31045" fmla="*/ 1976305 w 8079933"/>
              <a:gd name="connsiteY31045" fmla="*/ 2670602 h 4687251"/>
              <a:gd name="connsiteX31046" fmla="*/ 1977823 w 8079933"/>
              <a:gd name="connsiteY31046" fmla="*/ 2670602 h 4687251"/>
              <a:gd name="connsiteX31047" fmla="*/ 1976412 w 8079933"/>
              <a:gd name="connsiteY31047" fmla="*/ 2672118 h 4687251"/>
              <a:gd name="connsiteX31048" fmla="*/ 1975002 w 8079933"/>
              <a:gd name="connsiteY31048" fmla="*/ 2674716 h 4687251"/>
              <a:gd name="connsiteX31049" fmla="*/ 1975002 w 8079933"/>
              <a:gd name="connsiteY31049" fmla="*/ 2681104 h 4687251"/>
              <a:gd name="connsiteX31050" fmla="*/ 1975653 w 8079933"/>
              <a:gd name="connsiteY31050" fmla="*/ 2685110 h 4687251"/>
              <a:gd name="connsiteX31051" fmla="*/ 1974242 w 8079933"/>
              <a:gd name="connsiteY31051" fmla="*/ 2688141 h 4687251"/>
              <a:gd name="connsiteX31052" fmla="*/ 1974242 w 8079933"/>
              <a:gd name="connsiteY31052" fmla="*/ 2690198 h 4687251"/>
              <a:gd name="connsiteX31053" fmla="*/ 1976521 w 8079933"/>
              <a:gd name="connsiteY31053" fmla="*/ 2691823 h 4687251"/>
              <a:gd name="connsiteX31054" fmla="*/ 1976521 w 8079933"/>
              <a:gd name="connsiteY31054" fmla="*/ 2694205 h 4687251"/>
              <a:gd name="connsiteX31055" fmla="*/ 1974676 w 8079933"/>
              <a:gd name="connsiteY31055" fmla="*/ 2697453 h 4687251"/>
              <a:gd name="connsiteX31056" fmla="*/ 1970769 w 8079933"/>
              <a:gd name="connsiteY31056" fmla="*/ 2702325 h 4687251"/>
              <a:gd name="connsiteX31057" fmla="*/ 1969250 w 8079933"/>
              <a:gd name="connsiteY31057" fmla="*/ 2708280 h 4687251"/>
              <a:gd name="connsiteX31058" fmla="*/ 1968382 w 8079933"/>
              <a:gd name="connsiteY31058" fmla="*/ 2706764 h 4687251"/>
              <a:gd name="connsiteX31059" fmla="*/ 1966863 w 8079933"/>
              <a:gd name="connsiteY31059" fmla="*/ 2706764 h 4687251"/>
              <a:gd name="connsiteX31060" fmla="*/ 1965235 w 8079933"/>
              <a:gd name="connsiteY31060" fmla="*/ 2708496 h 4687251"/>
              <a:gd name="connsiteX31061" fmla="*/ 1965235 w 8079933"/>
              <a:gd name="connsiteY31061" fmla="*/ 2710879 h 4687251"/>
              <a:gd name="connsiteX31062" fmla="*/ 1966755 w 8079933"/>
              <a:gd name="connsiteY31062" fmla="*/ 2711528 h 4687251"/>
              <a:gd name="connsiteX31063" fmla="*/ 1968600 w 8079933"/>
              <a:gd name="connsiteY31063" fmla="*/ 2714235 h 4687251"/>
              <a:gd name="connsiteX31064" fmla="*/ 1967731 w 8079933"/>
              <a:gd name="connsiteY31064" fmla="*/ 2716617 h 4687251"/>
              <a:gd name="connsiteX31065" fmla="*/ 1967731 w 8079933"/>
              <a:gd name="connsiteY31065" fmla="*/ 2727444 h 4687251"/>
              <a:gd name="connsiteX31066" fmla="*/ 1966646 w 8079933"/>
              <a:gd name="connsiteY31066" fmla="*/ 2736647 h 4687251"/>
              <a:gd name="connsiteX31067" fmla="*/ 1964802 w 8079933"/>
              <a:gd name="connsiteY31067" fmla="*/ 2739787 h 4687251"/>
              <a:gd name="connsiteX31068" fmla="*/ 1963499 w 8079933"/>
              <a:gd name="connsiteY31068" fmla="*/ 2739787 h 4687251"/>
              <a:gd name="connsiteX31069" fmla="*/ 1963499 w 8079933"/>
              <a:gd name="connsiteY31069" fmla="*/ 2734807 h 4687251"/>
              <a:gd name="connsiteX31070" fmla="*/ 1963499 w 8079933"/>
              <a:gd name="connsiteY31070" fmla="*/ 2731017 h 4687251"/>
              <a:gd name="connsiteX31071" fmla="*/ 1964367 w 8079933"/>
              <a:gd name="connsiteY31071" fmla="*/ 2729177 h 4687251"/>
              <a:gd name="connsiteX31072" fmla="*/ 1962305 w 8079933"/>
              <a:gd name="connsiteY31072" fmla="*/ 2729177 h 4687251"/>
              <a:gd name="connsiteX31073" fmla="*/ 1959592 w 8079933"/>
              <a:gd name="connsiteY31073" fmla="*/ 2736214 h 4687251"/>
              <a:gd name="connsiteX31074" fmla="*/ 1959592 w 8079933"/>
              <a:gd name="connsiteY31074" fmla="*/ 2739462 h 4687251"/>
              <a:gd name="connsiteX31075" fmla="*/ 1960244 w 8079933"/>
              <a:gd name="connsiteY31075" fmla="*/ 2742602 h 4687251"/>
              <a:gd name="connsiteX31076" fmla="*/ 1957965 w 8079933"/>
              <a:gd name="connsiteY31076" fmla="*/ 2747799 h 4687251"/>
              <a:gd name="connsiteX31077" fmla="*/ 1956771 w 8079933"/>
              <a:gd name="connsiteY31077" fmla="*/ 2751588 h 4687251"/>
              <a:gd name="connsiteX31078" fmla="*/ 1956771 w 8079933"/>
              <a:gd name="connsiteY31078" fmla="*/ 2755053 h 4687251"/>
              <a:gd name="connsiteX31079" fmla="*/ 1959159 w 8079933"/>
              <a:gd name="connsiteY31079" fmla="*/ 2753646 h 4687251"/>
              <a:gd name="connsiteX31080" fmla="*/ 1959809 w 8079933"/>
              <a:gd name="connsiteY31080" fmla="*/ 2751372 h 4687251"/>
              <a:gd name="connsiteX31081" fmla="*/ 1961220 w 8079933"/>
              <a:gd name="connsiteY31081" fmla="*/ 2748665 h 4687251"/>
              <a:gd name="connsiteX31082" fmla="*/ 1961220 w 8079933"/>
              <a:gd name="connsiteY31082" fmla="*/ 2753646 h 4687251"/>
              <a:gd name="connsiteX31083" fmla="*/ 1959701 w 8079933"/>
              <a:gd name="connsiteY31083" fmla="*/ 2757435 h 4687251"/>
              <a:gd name="connsiteX31084" fmla="*/ 1956771 w 8079933"/>
              <a:gd name="connsiteY31084" fmla="*/ 2763065 h 4687251"/>
              <a:gd name="connsiteX31085" fmla="*/ 1957965 w 8079933"/>
              <a:gd name="connsiteY31085" fmla="*/ 2768046 h 4687251"/>
              <a:gd name="connsiteX31086" fmla="*/ 1960569 w 8079933"/>
              <a:gd name="connsiteY31086" fmla="*/ 2771185 h 4687251"/>
              <a:gd name="connsiteX31087" fmla="*/ 1961220 w 8079933"/>
              <a:gd name="connsiteY31087" fmla="*/ 2774758 h 4687251"/>
              <a:gd name="connsiteX31088" fmla="*/ 1958941 w 8079933"/>
              <a:gd name="connsiteY31088" fmla="*/ 2776166 h 4687251"/>
              <a:gd name="connsiteX31089" fmla="*/ 1958562 w 8079933"/>
              <a:gd name="connsiteY31089" fmla="*/ 2776166 h 4687251"/>
              <a:gd name="connsiteX31090" fmla="*/ 1957749 w 8079933"/>
              <a:gd name="connsiteY31090" fmla="*/ 2777464 h 4687251"/>
              <a:gd name="connsiteX31091" fmla="*/ 1962740 w 8079933"/>
              <a:gd name="connsiteY31091" fmla="*/ 2777464 h 4687251"/>
              <a:gd name="connsiteX31092" fmla="*/ 1963392 w 8079933"/>
              <a:gd name="connsiteY31092" fmla="*/ 2775191 h 4687251"/>
              <a:gd name="connsiteX31093" fmla="*/ 1965670 w 8079933"/>
              <a:gd name="connsiteY31093" fmla="*/ 2774758 h 4687251"/>
              <a:gd name="connsiteX31094" fmla="*/ 1967298 w 8079933"/>
              <a:gd name="connsiteY31094" fmla="*/ 2778980 h 4687251"/>
              <a:gd name="connsiteX31095" fmla="*/ 1968058 w 8079933"/>
              <a:gd name="connsiteY31095" fmla="*/ 2784068 h 4687251"/>
              <a:gd name="connsiteX31096" fmla="*/ 1970988 w 8079933"/>
              <a:gd name="connsiteY31096" fmla="*/ 2788725 h 4687251"/>
              <a:gd name="connsiteX31097" fmla="*/ 1975762 w 8079933"/>
              <a:gd name="connsiteY31097" fmla="*/ 2793596 h 4687251"/>
              <a:gd name="connsiteX31098" fmla="*/ 1977282 w 8079933"/>
              <a:gd name="connsiteY31098" fmla="*/ 2797494 h 4687251"/>
              <a:gd name="connsiteX31099" fmla="*/ 1979886 w 8079933"/>
              <a:gd name="connsiteY31099" fmla="*/ 2800634 h 4687251"/>
              <a:gd name="connsiteX31100" fmla="*/ 1983684 w 8079933"/>
              <a:gd name="connsiteY31100" fmla="*/ 2801825 h 4687251"/>
              <a:gd name="connsiteX31101" fmla="*/ 1987048 w 8079933"/>
              <a:gd name="connsiteY31101" fmla="*/ 2804315 h 4687251"/>
              <a:gd name="connsiteX31102" fmla="*/ 1987482 w 8079933"/>
              <a:gd name="connsiteY31102" fmla="*/ 2805506 h 4687251"/>
              <a:gd name="connsiteX31103" fmla="*/ 1983358 w 8079933"/>
              <a:gd name="connsiteY31103" fmla="*/ 2805290 h 4687251"/>
              <a:gd name="connsiteX31104" fmla="*/ 1981080 w 8079933"/>
              <a:gd name="connsiteY31104" fmla="*/ 2806805 h 4687251"/>
              <a:gd name="connsiteX31105" fmla="*/ 1981080 w 8079933"/>
              <a:gd name="connsiteY31105" fmla="*/ 2806806 h 4687251"/>
              <a:gd name="connsiteX31106" fmla="*/ 1983358 w 8079933"/>
              <a:gd name="connsiteY31106" fmla="*/ 2805291 h 4687251"/>
              <a:gd name="connsiteX31107" fmla="*/ 1987481 w 8079933"/>
              <a:gd name="connsiteY31107" fmla="*/ 2805507 h 4687251"/>
              <a:gd name="connsiteX31108" fmla="*/ 1988458 w 8079933"/>
              <a:gd name="connsiteY31108" fmla="*/ 2808106 h 4687251"/>
              <a:gd name="connsiteX31109" fmla="*/ 1991063 w 8079933"/>
              <a:gd name="connsiteY31109" fmla="*/ 2810812 h 4687251"/>
              <a:gd name="connsiteX31110" fmla="*/ 1993992 w 8079933"/>
              <a:gd name="connsiteY31110" fmla="*/ 2811787 h 4687251"/>
              <a:gd name="connsiteX31111" fmla="*/ 1995946 w 8079933"/>
              <a:gd name="connsiteY31111" fmla="*/ 2811679 h 4687251"/>
              <a:gd name="connsiteX31112" fmla="*/ 1997140 w 8079933"/>
              <a:gd name="connsiteY31112" fmla="*/ 2813086 h 4687251"/>
              <a:gd name="connsiteX31113" fmla="*/ 1995512 w 8079933"/>
              <a:gd name="connsiteY31113" fmla="*/ 2813628 h 4687251"/>
              <a:gd name="connsiteX31114" fmla="*/ 1994644 w 8079933"/>
              <a:gd name="connsiteY31114" fmla="*/ 2814602 h 4687251"/>
              <a:gd name="connsiteX31115" fmla="*/ 1995837 w 8079933"/>
              <a:gd name="connsiteY31115" fmla="*/ 2816442 h 4687251"/>
              <a:gd name="connsiteX31116" fmla="*/ 1999744 w 8079933"/>
              <a:gd name="connsiteY31116" fmla="*/ 2818499 h 4687251"/>
              <a:gd name="connsiteX31117" fmla="*/ 2003542 w 8079933"/>
              <a:gd name="connsiteY31117" fmla="*/ 2817850 h 4687251"/>
              <a:gd name="connsiteX31118" fmla="*/ 2003542 w 8079933"/>
              <a:gd name="connsiteY31118" fmla="*/ 2815468 h 4687251"/>
              <a:gd name="connsiteX31119" fmla="*/ 2000829 w 8079933"/>
              <a:gd name="connsiteY31119" fmla="*/ 2813736 h 4687251"/>
              <a:gd name="connsiteX31120" fmla="*/ 2002240 w 8079933"/>
              <a:gd name="connsiteY31120" fmla="*/ 2812545 h 4687251"/>
              <a:gd name="connsiteX31121" fmla="*/ 2007666 w 8079933"/>
              <a:gd name="connsiteY31121" fmla="*/ 2815035 h 4687251"/>
              <a:gd name="connsiteX31122" fmla="*/ 2016022 w 8079933"/>
              <a:gd name="connsiteY31122" fmla="*/ 2820773 h 4687251"/>
              <a:gd name="connsiteX31123" fmla="*/ 2023726 w 8079933"/>
              <a:gd name="connsiteY31123" fmla="*/ 2821098 h 4687251"/>
              <a:gd name="connsiteX31124" fmla="*/ 2027850 w 8079933"/>
              <a:gd name="connsiteY31124" fmla="*/ 2820557 h 4687251"/>
              <a:gd name="connsiteX31125" fmla="*/ 2032191 w 8079933"/>
              <a:gd name="connsiteY31125" fmla="*/ 2816442 h 4687251"/>
              <a:gd name="connsiteX31126" fmla="*/ 2046840 w 8079933"/>
              <a:gd name="connsiteY31126" fmla="*/ 2809080 h 4687251"/>
              <a:gd name="connsiteX31127" fmla="*/ 2054002 w 8079933"/>
              <a:gd name="connsiteY31127" fmla="*/ 2807348 h 4687251"/>
              <a:gd name="connsiteX31128" fmla="*/ 2060730 w 8079933"/>
              <a:gd name="connsiteY31128" fmla="*/ 2802584 h 4687251"/>
              <a:gd name="connsiteX31129" fmla="*/ 2063226 w 8079933"/>
              <a:gd name="connsiteY31129" fmla="*/ 2802151 h 4687251"/>
              <a:gd name="connsiteX31130" fmla="*/ 2066807 w 8079933"/>
              <a:gd name="connsiteY31130" fmla="*/ 2803775 h 4687251"/>
              <a:gd name="connsiteX31131" fmla="*/ 2068218 w 8079933"/>
              <a:gd name="connsiteY31131" fmla="*/ 2806049 h 4687251"/>
              <a:gd name="connsiteX31132" fmla="*/ 2071582 w 8079933"/>
              <a:gd name="connsiteY31132" fmla="*/ 2806806 h 4687251"/>
              <a:gd name="connsiteX31133" fmla="*/ 2082108 w 8079933"/>
              <a:gd name="connsiteY31133" fmla="*/ 2806806 h 4687251"/>
              <a:gd name="connsiteX31134" fmla="*/ 2087968 w 8079933"/>
              <a:gd name="connsiteY31134" fmla="*/ 2808214 h 4687251"/>
              <a:gd name="connsiteX31135" fmla="*/ 2097951 w 8079933"/>
              <a:gd name="connsiteY31135" fmla="*/ 2814061 h 4687251"/>
              <a:gd name="connsiteX31136" fmla="*/ 2102292 w 8079933"/>
              <a:gd name="connsiteY31136" fmla="*/ 2819041 h 4687251"/>
              <a:gd name="connsiteX31137" fmla="*/ 2103160 w 8079933"/>
              <a:gd name="connsiteY31137" fmla="*/ 2821639 h 4687251"/>
              <a:gd name="connsiteX31138" fmla="*/ 2106415 w 8079933"/>
              <a:gd name="connsiteY31138" fmla="*/ 2823480 h 4687251"/>
              <a:gd name="connsiteX31139" fmla="*/ 2108369 w 8079933"/>
              <a:gd name="connsiteY31139" fmla="*/ 2825212 h 4687251"/>
              <a:gd name="connsiteX31140" fmla="*/ 2107392 w 8079933"/>
              <a:gd name="connsiteY31140" fmla="*/ 2829434 h 4687251"/>
              <a:gd name="connsiteX31141" fmla="*/ 2108151 w 8079933"/>
              <a:gd name="connsiteY31141" fmla="*/ 2832466 h 4687251"/>
              <a:gd name="connsiteX31142" fmla="*/ 2110322 w 8079933"/>
              <a:gd name="connsiteY31142" fmla="*/ 2838421 h 4687251"/>
              <a:gd name="connsiteX31143" fmla="*/ 2107939 w 8079933"/>
              <a:gd name="connsiteY31143" fmla="*/ 2842657 h 4687251"/>
              <a:gd name="connsiteX31144" fmla="*/ 2110323 w 8079933"/>
              <a:gd name="connsiteY31144" fmla="*/ 2838421 h 4687251"/>
              <a:gd name="connsiteX31145" fmla="*/ 2108152 w 8079933"/>
              <a:gd name="connsiteY31145" fmla="*/ 2832466 h 4687251"/>
              <a:gd name="connsiteX31146" fmla="*/ 2107393 w 8079933"/>
              <a:gd name="connsiteY31146" fmla="*/ 2829434 h 4687251"/>
              <a:gd name="connsiteX31147" fmla="*/ 2108369 w 8079933"/>
              <a:gd name="connsiteY31147" fmla="*/ 2825211 h 4687251"/>
              <a:gd name="connsiteX31148" fmla="*/ 2113687 w 8079933"/>
              <a:gd name="connsiteY31148" fmla="*/ 2829867 h 4687251"/>
              <a:gd name="connsiteX31149" fmla="*/ 2115206 w 8079933"/>
              <a:gd name="connsiteY31149" fmla="*/ 2834415 h 4687251"/>
              <a:gd name="connsiteX31150" fmla="*/ 2118787 w 8079933"/>
              <a:gd name="connsiteY31150" fmla="*/ 2835931 h 4687251"/>
              <a:gd name="connsiteX31151" fmla="*/ 2117268 w 8079933"/>
              <a:gd name="connsiteY31151" fmla="*/ 2838637 h 4687251"/>
              <a:gd name="connsiteX31152" fmla="*/ 2116725 w 8079933"/>
              <a:gd name="connsiteY31152" fmla="*/ 2840370 h 4687251"/>
              <a:gd name="connsiteX31153" fmla="*/ 2121066 w 8079933"/>
              <a:gd name="connsiteY31153" fmla="*/ 2843943 h 4687251"/>
              <a:gd name="connsiteX31154" fmla="*/ 2123670 w 8079933"/>
              <a:gd name="connsiteY31154" fmla="*/ 2844159 h 4687251"/>
              <a:gd name="connsiteX31155" fmla="*/ 2126057 w 8079933"/>
              <a:gd name="connsiteY31155" fmla="*/ 2838962 h 4687251"/>
              <a:gd name="connsiteX31156" fmla="*/ 2126057 w 8079933"/>
              <a:gd name="connsiteY31156" fmla="*/ 2833115 h 4687251"/>
              <a:gd name="connsiteX31157" fmla="*/ 2121934 w 8079933"/>
              <a:gd name="connsiteY31157" fmla="*/ 2828460 h 4687251"/>
              <a:gd name="connsiteX31158" fmla="*/ 2120523 w 8079933"/>
              <a:gd name="connsiteY31158" fmla="*/ 2824021 h 4687251"/>
              <a:gd name="connsiteX31159" fmla="*/ 2124539 w 8079933"/>
              <a:gd name="connsiteY31159" fmla="*/ 2823804 h 4687251"/>
              <a:gd name="connsiteX31160" fmla="*/ 2127252 w 8079933"/>
              <a:gd name="connsiteY31160" fmla="*/ 2823479 h 4687251"/>
              <a:gd name="connsiteX31161" fmla="*/ 2131918 w 8079933"/>
              <a:gd name="connsiteY31161" fmla="*/ 2816658 h 4687251"/>
              <a:gd name="connsiteX31162" fmla="*/ 2134522 w 8079933"/>
              <a:gd name="connsiteY31162" fmla="*/ 2815250 h 4687251"/>
              <a:gd name="connsiteX31163" fmla="*/ 2140707 w 8079933"/>
              <a:gd name="connsiteY31163" fmla="*/ 2809296 h 4687251"/>
              <a:gd name="connsiteX31164" fmla="*/ 2144180 w 8079933"/>
              <a:gd name="connsiteY31164" fmla="*/ 2807347 h 4687251"/>
              <a:gd name="connsiteX31165" fmla="*/ 2148629 w 8079933"/>
              <a:gd name="connsiteY31165" fmla="*/ 2807023 h 4687251"/>
              <a:gd name="connsiteX31166" fmla="*/ 2152102 w 8079933"/>
              <a:gd name="connsiteY31166" fmla="*/ 2805290 h 4687251"/>
              <a:gd name="connsiteX31167" fmla="*/ 2153404 w 8079933"/>
              <a:gd name="connsiteY31167" fmla="*/ 2800959 h 4687251"/>
              <a:gd name="connsiteX31168" fmla="*/ 2152753 w 8079933"/>
              <a:gd name="connsiteY31168" fmla="*/ 2797061 h 4687251"/>
              <a:gd name="connsiteX31169" fmla="*/ 2151017 w 8079933"/>
              <a:gd name="connsiteY31169" fmla="*/ 2795113 h 4687251"/>
              <a:gd name="connsiteX31170" fmla="*/ 2149172 w 8079933"/>
              <a:gd name="connsiteY31170" fmla="*/ 2795979 h 4687251"/>
              <a:gd name="connsiteX31171" fmla="*/ 2150040 w 8079933"/>
              <a:gd name="connsiteY31171" fmla="*/ 2792622 h 4687251"/>
              <a:gd name="connsiteX31172" fmla="*/ 2156443 w 8079933"/>
              <a:gd name="connsiteY31172" fmla="*/ 2780496 h 4687251"/>
              <a:gd name="connsiteX31173" fmla="*/ 2161759 w 8079933"/>
              <a:gd name="connsiteY31173" fmla="*/ 2774324 h 4687251"/>
              <a:gd name="connsiteX31174" fmla="*/ 2163604 w 8079933"/>
              <a:gd name="connsiteY31174" fmla="*/ 2771076 h 4687251"/>
              <a:gd name="connsiteX31175" fmla="*/ 2171526 w 8079933"/>
              <a:gd name="connsiteY31175" fmla="*/ 2766204 h 4687251"/>
              <a:gd name="connsiteX31176" fmla="*/ 2174673 w 8079933"/>
              <a:gd name="connsiteY31176" fmla="*/ 2766096 h 4687251"/>
              <a:gd name="connsiteX31177" fmla="*/ 2180642 w 8079933"/>
              <a:gd name="connsiteY31177" fmla="*/ 2768695 h 4687251"/>
              <a:gd name="connsiteX31178" fmla="*/ 2185634 w 8079933"/>
              <a:gd name="connsiteY31178" fmla="*/ 2769128 h 4687251"/>
              <a:gd name="connsiteX31179" fmla="*/ 2182269 w 8079933"/>
              <a:gd name="connsiteY31179" fmla="*/ 2770426 h 4687251"/>
              <a:gd name="connsiteX31180" fmla="*/ 2182704 w 8079933"/>
              <a:gd name="connsiteY31180" fmla="*/ 2771618 h 4687251"/>
              <a:gd name="connsiteX31181" fmla="*/ 2181835 w 8079933"/>
              <a:gd name="connsiteY31181" fmla="*/ 2775407 h 4687251"/>
              <a:gd name="connsiteX31182" fmla="*/ 2184331 w 8079933"/>
              <a:gd name="connsiteY31182" fmla="*/ 2776381 h 4687251"/>
              <a:gd name="connsiteX31183" fmla="*/ 2187912 w 8079933"/>
              <a:gd name="connsiteY31183" fmla="*/ 2773134 h 4687251"/>
              <a:gd name="connsiteX31184" fmla="*/ 2188455 w 8079933"/>
              <a:gd name="connsiteY31184" fmla="*/ 2769344 h 4687251"/>
              <a:gd name="connsiteX31185" fmla="*/ 2186935 w 8079933"/>
              <a:gd name="connsiteY31185" fmla="*/ 2765554 h 4687251"/>
              <a:gd name="connsiteX31186" fmla="*/ 2186502 w 8079933"/>
              <a:gd name="connsiteY31186" fmla="*/ 2762631 h 4687251"/>
              <a:gd name="connsiteX31187" fmla="*/ 2191385 w 8079933"/>
              <a:gd name="connsiteY31187" fmla="*/ 2760032 h 4687251"/>
              <a:gd name="connsiteX31188" fmla="*/ 2199089 w 8079933"/>
              <a:gd name="connsiteY31188" fmla="*/ 2760899 h 4687251"/>
              <a:gd name="connsiteX31189" fmla="*/ 2206143 w 8079933"/>
              <a:gd name="connsiteY31189" fmla="*/ 2760357 h 4687251"/>
              <a:gd name="connsiteX31190" fmla="*/ 2212546 w 8079933"/>
              <a:gd name="connsiteY31190" fmla="*/ 2759058 h 4687251"/>
              <a:gd name="connsiteX31191" fmla="*/ 2218080 w 8079933"/>
              <a:gd name="connsiteY31191" fmla="*/ 2755052 h 4687251"/>
              <a:gd name="connsiteX31192" fmla="*/ 2226327 w 8079933"/>
              <a:gd name="connsiteY31192" fmla="*/ 2750071 h 4687251"/>
              <a:gd name="connsiteX31193" fmla="*/ 2232513 w 8079933"/>
              <a:gd name="connsiteY31193" fmla="*/ 2747040 h 4687251"/>
              <a:gd name="connsiteX31194" fmla="*/ 2234141 w 8079933"/>
              <a:gd name="connsiteY31194" fmla="*/ 2744767 h 4687251"/>
              <a:gd name="connsiteX31195" fmla="*/ 2232078 w 8079933"/>
              <a:gd name="connsiteY31195" fmla="*/ 2742385 h 4687251"/>
              <a:gd name="connsiteX31196" fmla="*/ 2233923 w 8079933"/>
              <a:gd name="connsiteY31196" fmla="*/ 2740111 h 4687251"/>
              <a:gd name="connsiteX31197" fmla="*/ 2237396 w 8079933"/>
              <a:gd name="connsiteY31197" fmla="*/ 2738704 h 4687251"/>
              <a:gd name="connsiteX31198" fmla="*/ 2241302 w 8079933"/>
              <a:gd name="connsiteY31198" fmla="*/ 2739245 h 4687251"/>
              <a:gd name="connsiteX31199" fmla="*/ 2243255 w 8079933"/>
              <a:gd name="connsiteY31199" fmla="*/ 2737729 h 4687251"/>
              <a:gd name="connsiteX31200" fmla="*/ 2246837 w 8079933"/>
              <a:gd name="connsiteY31200" fmla="*/ 2737188 h 4687251"/>
              <a:gd name="connsiteX31201" fmla="*/ 2247162 w 8079933"/>
              <a:gd name="connsiteY31201" fmla="*/ 2735022 h 4687251"/>
              <a:gd name="connsiteX31202" fmla="*/ 2248356 w 8079933"/>
              <a:gd name="connsiteY31202" fmla="*/ 2732857 h 4687251"/>
              <a:gd name="connsiteX31203" fmla="*/ 2251828 w 8079933"/>
              <a:gd name="connsiteY31203" fmla="*/ 2733073 h 4687251"/>
              <a:gd name="connsiteX31204" fmla="*/ 2260510 w 8079933"/>
              <a:gd name="connsiteY31204" fmla="*/ 2737729 h 4687251"/>
              <a:gd name="connsiteX31205" fmla="*/ 2263223 w 8079933"/>
              <a:gd name="connsiteY31205" fmla="*/ 2741302 h 4687251"/>
              <a:gd name="connsiteX31206" fmla="*/ 2262138 w 8079933"/>
              <a:gd name="connsiteY31206" fmla="*/ 2744117 h 4687251"/>
              <a:gd name="connsiteX31207" fmla="*/ 2259425 w 8079933"/>
              <a:gd name="connsiteY31207" fmla="*/ 2746174 h 4687251"/>
              <a:gd name="connsiteX31208" fmla="*/ 2258774 w 8079933"/>
              <a:gd name="connsiteY31208" fmla="*/ 2746932 h 4687251"/>
              <a:gd name="connsiteX31209" fmla="*/ 2253782 w 8079933"/>
              <a:gd name="connsiteY31209" fmla="*/ 2752670 h 4687251"/>
              <a:gd name="connsiteX31210" fmla="*/ 2248031 w 8079933"/>
              <a:gd name="connsiteY31210" fmla="*/ 2754078 h 4687251"/>
              <a:gd name="connsiteX31211" fmla="*/ 2242496 w 8079933"/>
              <a:gd name="connsiteY31211" fmla="*/ 2756460 h 4687251"/>
              <a:gd name="connsiteX31212" fmla="*/ 2241303 w 8079933"/>
              <a:gd name="connsiteY31212" fmla="*/ 2759708 h 4687251"/>
              <a:gd name="connsiteX31213" fmla="*/ 2243256 w 8079933"/>
              <a:gd name="connsiteY31213" fmla="*/ 2763714 h 4687251"/>
              <a:gd name="connsiteX31214" fmla="*/ 2247054 w 8079933"/>
              <a:gd name="connsiteY31214" fmla="*/ 2766421 h 4687251"/>
              <a:gd name="connsiteX31215" fmla="*/ 2247163 w 8079933"/>
              <a:gd name="connsiteY31215" fmla="*/ 2769344 h 4687251"/>
              <a:gd name="connsiteX31216" fmla="*/ 2246837 w 8079933"/>
              <a:gd name="connsiteY31216" fmla="*/ 2771618 h 4687251"/>
              <a:gd name="connsiteX31217" fmla="*/ 2249659 w 8079933"/>
              <a:gd name="connsiteY31217" fmla="*/ 2776490 h 4687251"/>
              <a:gd name="connsiteX31218" fmla="*/ 2249659 w 8079933"/>
              <a:gd name="connsiteY31218" fmla="*/ 2784069 h 4687251"/>
              <a:gd name="connsiteX31219" fmla="*/ 2240651 w 8079933"/>
              <a:gd name="connsiteY31219" fmla="*/ 2793055 h 4687251"/>
              <a:gd name="connsiteX31220" fmla="*/ 2240326 w 8079933"/>
              <a:gd name="connsiteY31220" fmla="*/ 2795871 h 4687251"/>
              <a:gd name="connsiteX31221" fmla="*/ 2235877 w 8079933"/>
              <a:gd name="connsiteY31221" fmla="*/ 2799660 h 4687251"/>
              <a:gd name="connsiteX31222" fmla="*/ 2237287 w 8079933"/>
              <a:gd name="connsiteY31222" fmla="*/ 2804423 h 4687251"/>
              <a:gd name="connsiteX31223" fmla="*/ 2242062 w 8079933"/>
              <a:gd name="connsiteY31223" fmla="*/ 2809945 h 4687251"/>
              <a:gd name="connsiteX31224" fmla="*/ 2242062 w 8079933"/>
              <a:gd name="connsiteY31224" fmla="*/ 2816875 h 4687251"/>
              <a:gd name="connsiteX31225" fmla="*/ 2246186 w 8079933"/>
              <a:gd name="connsiteY31225" fmla="*/ 2817524 h 4687251"/>
              <a:gd name="connsiteX31226" fmla="*/ 2254542 w 8079933"/>
              <a:gd name="connsiteY31226" fmla="*/ 2812652 h 4687251"/>
              <a:gd name="connsiteX31227" fmla="*/ 2257906 w 8079933"/>
              <a:gd name="connsiteY31227" fmla="*/ 2805506 h 4687251"/>
              <a:gd name="connsiteX31228" fmla="*/ 2255844 w 8079933"/>
              <a:gd name="connsiteY31228" fmla="*/ 2799984 h 4687251"/>
              <a:gd name="connsiteX31229" fmla="*/ 2254867 w 8079933"/>
              <a:gd name="connsiteY31229" fmla="*/ 2793380 h 4687251"/>
              <a:gd name="connsiteX31230" fmla="*/ 2254867 w 8079933"/>
              <a:gd name="connsiteY31230" fmla="*/ 2783744 h 4687251"/>
              <a:gd name="connsiteX31231" fmla="*/ 2252154 w 8079933"/>
              <a:gd name="connsiteY31231" fmla="*/ 2778872 h 4687251"/>
              <a:gd name="connsiteX31232" fmla="*/ 2252154 w 8079933"/>
              <a:gd name="connsiteY31232" fmla="*/ 2774866 h 4687251"/>
              <a:gd name="connsiteX31233" fmla="*/ 2255410 w 8079933"/>
              <a:gd name="connsiteY31233" fmla="*/ 2770751 h 4687251"/>
              <a:gd name="connsiteX31234" fmla="*/ 2265936 w 8079933"/>
              <a:gd name="connsiteY31234" fmla="*/ 2766204 h 4687251"/>
              <a:gd name="connsiteX31235" fmla="*/ 2276462 w 8079933"/>
              <a:gd name="connsiteY31235" fmla="*/ 2764364 h 4687251"/>
              <a:gd name="connsiteX31236" fmla="*/ 2281996 w 8079933"/>
              <a:gd name="connsiteY31236" fmla="*/ 2761441 h 4687251"/>
              <a:gd name="connsiteX31237" fmla="*/ 2282213 w 8079933"/>
              <a:gd name="connsiteY31237" fmla="*/ 2759600 h 4687251"/>
              <a:gd name="connsiteX31238" fmla="*/ 2283190 w 8079933"/>
              <a:gd name="connsiteY31238" fmla="*/ 2758192 h 4687251"/>
              <a:gd name="connsiteX31239" fmla="*/ 2285469 w 8079933"/>
              <a:gd name="connsiteY31239" fmla="*/ 2759708 h 4687251"/>
              <a:gd name="connsiteX31240" fmla="*/ 2290244 w 8079933"/>
              <a:gd name="connsiteY31240" fmla="*/ 2761982 h 4687251"/>
              <a:gd name="connsiteX31241" fmla="*/ 2294367 w 8079933"/>
              <a:gd name="connsiteY31241" fmla="*/ 2760790 h 4687251"/>
              <a:gd name="connsiteX31242" fmla="*/ 2295127 w 8079933"/>
              <a:gd name="connsiteY31242" fmla="*/ 2757867 h 4687251"/>
              <a:gd name="connsiteX31243" fmla="*/ 2291329 w 8079933"/>
              <a:gd name="connsiteY31243" fmla="*/ 2753753 h 4687251"/>
              <a:gd name="connsiteX31244" fmla="*/ 2286988 w 8079933"/>
              <a:gd name="connsiteY31244" fmla="*/ 2753428 h 4687251"/>
              <a:gd name="connsiteX31245" fmla="*/ 2282539 w 8079933"/>
              <a:gd name="connsiteY31245" fmla="*/ 2755810 h 4687251"/>
              <a:gd name="connsiteX31246" fmla="*/ 2280260 w 8079933"/>
              <a:gd name="connsiteY31246" fmla="*/ 2753753 h 4687251"/>
              <a:gd name="connsiteX31247" fmla="*/ 2278741 w 8079933"/>
              <a:gd name="connsiteY31247" fmla="*/ 2748556 h 4687251"/>
              <a:gd name="connsiteX31248" fmla="*/ 2285252 w 8079933"/>
              <a:gd name="connsiteY31248" fmla="*/ 2740869 h 4687251"/>
              <a:gd name="connsiteX31249" fmla="*/ 2291980 w 8079933"/>
              <a:gd name="connsiteY31249" fmla="*/ 2738054 h 4687251"/>
              <a:gd name="connsiteX31250" fmla="*/ 2294259 w 8079933"/>
              <a:gd name="connsiteY31250" fmla="*/ 2738920 h 4687251"/>
              <a:gd name="connsiteX31251" fmla="*/ 2295887 w 8079933"/>
              <a:gd name="connsiteY31251" fmla="*/ 2746823 h 4687251"/>
              <a:gd name="connsiteX31252" fmla="*/ 2295887 w 8079933"/>
              <a:gd name="connsiteY31252" fmla="*/ 2753211 h 4687251"/>
              <a:gd name="connsiteX31253" fmla="*/ 2299901 w 8079933"/>
              <a:gd name="connsiteY31253" fmla="*/ 2759600 h 4687251"/>
              <a:gd name="connsiteX31254" fmla="*/ 2303049 w 8079933"/>
              <a:gd name="connsiteY31254" fmla="*/ 2758517 h 4687251"/>
              <a:gd name="connsiteX31255" fmla="*/ 2306738 w 8079933"/>
              <a:gd name="connsiteY31255" fmla="*/ 2758733 h 4687251"/>
              <a:gd name="connsiteX31256" fmla="*/ 2311947 w 8079933"/>
              <a:gd name="connsiteY31256" fmla="*/ 2761657 h 4687251"/>
              <a:gd name="connsiteX31257" fmla="*/ 2323341 w 8079933"/>
              <a:gd name="connsiteY31257" fmla="*/ 2760790 h 4687251"/>
              <a:gd name="connsiteX31258" fmla="*/ 2327790 w 8079933"/>
              <a:gd name="connsiteY31258" fmla="*/ 2761982 h 4687251"/>
              <a:gd name="connsiteX31259" fmla="*/ 2332674 w 8079933"/>
              <a:gd name="connsiteY31259" fmla="*/ 2768478 h 4687251"/>
              <a:gd name="connsiteX31260" fmla="*/ 2333108 w 8079933"/>
              <a:gd name="connsiteY31260" fmla="*/ 2773350 h 4687251"/>
              <a:gd name="connsiteX31261" fmla="*/ 2330395 w 8079933"/>
              <a:gd name="connsiteY31261" fmla="*/ 2773458 h 4687251"/>
              <a:gd name="connsiteX31262" fmla="*/ 2330395 w 8079933"/>
              <a:gd name="connsiteY31262" fmla="*/ 2777573 h 4687251"/>
              <a:gd name="connsiteX31263" fmla="*/ 2332131 w 8079933"/>
              <a:gd name="connsiteY31263" fmla="*/ 2781037 h 4687251"/>
              <a:gd name="connsiteX31264" fmla="*/ 2336472 w 8079933"/>
              <a:gd name="connsiteY31264" fmla="*/ 2783311 h 4687251"/>
              <a:gd name="connsiteX31265" fmla="*/ 2347432 w 8079933"/>
              <a:gd name="connsiteY31265" fmla="*/ 2783311 h 4687251"/>
              <a:gd name="connsiteX31266" fmla="*/ 2370003 w 8079933"/>
              <a:gd name="connsiteY31266" fmla="*/ 2779521 h 4687251"/>
              <a:gd name="connsiteX31267" fmla="*/ 2381723 w 8079933"/>
              <a:gd name="connsiteY31267" fmla="*/ 2778655 h 4687251"/>
              <a:gd name="connsiteX31268" fmla="*/ 2384871 w 8079933"/>
              <a:gd name="connsiteY31268" fmla="*/ 2779196 h 4687251"/>
              <a:gd name="connsiteX31269" fmla="*/ 2386932 w 8079933"/>
              <a:gd name="connsiteY31269" fmla="*/ 2783419 h 4687251"/>
              <a:gd name="connsiteX31270" fmla="*/ 2397458 w 8079933"/>
              <a:gd name="connsiteY31270" fmla="*/ 2790457 h 4687251"/>
              <a:gd name="connsiteX31271" fmla="*/ 2401039 w 8079933"/>
              <a:gd name="connsiteY31271" fmla="*/ 2791756 h 4687251"/>
              <a:gd name="connsiteX31272" fmla="*/ 2403318 w 8079933"/>
              <a:gd name="connsiteY31272" fmla="*/ 2790349 h 4687251"/>
              <a:gd name="connsiteX31273" fmla="*/ 2410372 w 8079933"/>
              <a:gd name="connsiteY31273" fmla="*/ 2789483 h 4687251"/>
              <a:gd name="connsiteX31274" fmla="*/ 2412433 w 8079933"/>
              <a:gd name="connsiteY31274" fmla="*/ 2786884 h 4687251"/>
              <a:gd name="connsiteX31275" fmla="*/ 2417751 w 8079933"/>
              <a:gd name="connsiteY31275" fmla="*/ 2784177 h 4687251"/>
              <a:gd name="connsiteX31276" fmla="*/ 2422200 w 8079933"/>
              <a:gd name="connsiteY31276" fmla="*/ 2783094 h 4687251"/>
              <a:gd name="connsiteX31277" fmla="*/ 2430990 w 8079933"/>
              <a:gd name="connsiteY31277" fmla="*/ 2776923 h 4687251"/>
              <a:gd name="connsiteX31278" fmla="*/ 2435331 w 8079933"/>
              <a:gd name="connsiteY31278" fmla="*/ 2776382 h 4687251"/>
              <a:gd name="connsiteX31279" fmla="*/ 2438911 w 8079933"/>
              <a:gd name="connsiteY31279" fmla="*/ 2777898 h 4687251"/>
              <a:gd name="connsiteX31280" fmla="*/ 2449438 w 8079933"/>
              <a:gd name="connsiteY31280" fmla="*/ 2774216 h 4687251"/>
              <a:gd name="connsiteX31281" fmla="*/ 2454646 w 8079933"/>
              <a:gd name="connsiteY31281" fmla="*/ 2774541 h 4687251"/>
              <a:gd name="connsiteX31282" fmla="*/ 2462351 w 8079933"/>
              <a:gd name="connsiteY31282" fmla="*/ 2773458 h 4687251"/>
              <a:gd name="connsiteX31283" fmla="*/ 2473094 w 8079933"/>
              <a:gd name="connsiteY31283" fmla="*/ 2775732 h 4687251"/>
              <a:gd name="connsiteX31284" fmla="*/ 2479279 w 8079933"/>
              <a:gd name="connsiteY31284" fmla="*/ 2774541 h 4687251"/>
              <a:gd name="connsiteX31285" fmla="*/ 2478629 w 8079933"/>
              <a:gd name="connsiteY31285" fmla="*/ 2778439 h 4687251"/>
              <a:gd name="connsiteX31286" fmla="*/ 2471792 w 8079933"/>
              <a:gd name="connsiteY31286" fmla="*/ 2779196 h 4687251"/>
              <a:gd name="connsiteX31287" fmla="*/ 2467885 w 8079933"/>
              <a:gd name="connsiteY31287" fmla="*/ 2781795 h 4687251"/>
              <a:gd name="connsiteX31288" fmla="*/ 2457251 w 8079933"/>
              <a:gd name="connsiteY31288" fmla="*/ 2781363 h 4687251"/>
              <a:gd name="connsiteX31289" fmla="*/ 2454646 w 8079933"/>
              <a:gd name="connsiteY31289" fmla="*/ 2783419 h 4687251"/>
              <a:gd name="connsiteX31290" fmla="*/ 2455949 w 8079933"/>
              <a:gd name="connsiteY31290" fmla="*/ 2786018 h 4687251"/>
              <a:gd name="connsiteX31291" fmla="*/ 2460832 w 8079933"/>
              <a:gd name="connsiteY31291" fmla="*/ 2788400 h 4687251"/>
              <a:gd name="connsiteX31292" fmla="*/ 2462677 w 8079933"/>
              <a:gd name="connsiteY31292" fmla="*/ 2793055 h 4687251"/>
              <a:gd name="connsiteX31293" fmla="*/ 2465824 w 8079933"/>
              <a:gd name="connsiteY31293" fmla="*/ 2797169 h 4687251"/>
              <a:gd name="connsiteX31294" fmla="*/ 2465607 w 8079933"/>
              <a:gd name="connsiteY31294" fmla="*/ 2793272 h 4687251"/>
              <a:gd name="connsiteX31295" fmla="*/ 2468211 w 8079933"/>
              <a:gd name="connsiteY31295" fmla="*/ 2793055 h 4687251"/>
              <a:gd name="connsiteX31296" fmla="*/ 2473094 w 8079933"/>
              <a:gd name="connsiteY31296" fmla="*/ 2795112 h 4687251"/>
              <a:gd name="connsiteX31297" fmla="*/ 2474613 w 8079933"/>
              <a:gd name="connsiteY31297" fmla="*/ 2797386 h 4687251"/>
              <a:gd name="connsiteX31298" fmla="*/ 2479279 w 8079933"/>
              <a:gd name="connsiteY31298" fmla="*/ 2797603 h 4687251"/>
              <a:gd name="connsiteX31299" fmla="*/ 2482210 w 8079933"/>
              <a:gd name="connsiteY31299" fmla="*/ 2799443 h 4687251"/>
              <a:gd name="connsiteX31300" fmla="*/ 2484597 w 8079933"/>
              <a:gd name="connsiteY31300" fmla="*/ 2801825 h 4687251"/>
              <a:gd name="connsiteX31301" fmla="*/ 2492519 w 8079933"/>
              <a:gd name="connsiteY31301" fmla="*/ 2803882 h 4687251"/>
              <a:gd name="connsiteX31302" fmla="*/ 2499030 w 8079933"/>
              <a:gd name="connsiteY31302" fmla="*/ 2807347 h 4687251"/>
              <a:gd name="connsiteX31303" fmla="*/ 2500441 w 8079933"/>
              <a:gd name="connsiteY31303" fmla="*/ 2811136 h 4687251"/>
              <a:gd name="connsiteX31304" fmla="*/ 2500115 w 8079933"/>
              <a:gd name="connsiteY31304" fmla="*/ 2812652 h 4687251"/>
              <a:gd name="connsiteX31305" fmla="*/ 2503370 w 8079933"/>
              <a:gd name="connsiteY31305" fmla="*/ 2814926 h 4687251"/>
              <a:gd name="connsiteX31306" fmla="*/ 2502394 w 8079933"/>
              <a:gd name="connsiteY31306" fmla="*/ 2817308 h 4687251"/>
              <a:gd name="connsiteX31307" fmla="*/ 2497402 w 8079933"/>
              <a:gd name="connsiteY31307" fmla="*/ 2821097 h 4687251"/>
              <a:gd name="connsiteX31308" fmla="*/ 2495231 w 8079933"/>
              <a:gd name="connsiteY31308" fmla="*/ 2824887 h 4687251"/>
              <a:gd name="connsiteX31309" fmla="*/ 2491868 w 8079933"/>
              <a:gd name="connsiteY31309" fmla="*/ 2827161 h 4687251"/>
              <a:gd name="connsiteX31310" fmla="*/ 2489046 w 8079933"/>
              <a:gd name="connsiteY31310" fmla="*/ 2826727 h 4687251"/>
              <a:gd name="connsiteX31311" fmla="*/ 2484054 w 8079933"/>
              <a:gd name="connsiteY31311" fmla="*/ 2827702 h 4687251"/>
              <a:gd name="connsiteX31312" fmla="*/ 2486985 w 8079933"/>
              <a:gd name="connsiteY31312" fmla="*/ 2828027 h 4687251"/>
              <a:gd name="connsiteX31313" fmla="*/ 2492519 w 8079933"/>
              <a:gd name="connsiteY31313" fmla="*/ 2828677 h 4687251"/>
              <a:gd name="connsiteX31314" fmla="*/ 2500224 w 8079933"/>
              <a:gd name="connsiteY31314" fmla="*/ 2827377 h 4687251"/>
              <a:gd name="connsiteX31315" fmla="*/ 2504130 w 8079933"/>
              <a:gd name="connsiteY31315" fmla="*/ 2825645 h 4687251"/>
              <a:gd name="connsiteX31316" fmla="*/ 2506735 w 8079933"/>
              <a:gd name="connsiteY31316" fmla="*/ 2825645 h 4687251"/>
              <a:gd name="connsiteX31317" fmla="*/ 2511618 w 8079933"/>
              <a:gd name="connsiteY31317" fmla="*/ 2826619 h 4687251"/>
              <a:gd name="connsiteX31318" fmla="*/ 2514873 w 8079933"/>
              <a:gd name="connsiteY31318" fmla="*/ 2825320 h 4687251"/>
              <a:gd name="connsiteX31319" fmla="*/ 2518129 w 8079933"/>
              <a:gd name="connsiteY31319" fmla="*/ 2825428 h 4687251"/>
              <a:gd name="connsiteX31320" fmla="*/ 2527244 w 8079933"/>
              <a:gd name="connsiteY31320" fmla="*/ 2829542 h 4687251"/>
              <a:gd name="connsiteX31321" fmla="*/ 2528437 w 8079933"/>
              <a:gd name="connsiteY31321" fmla="*/ 2830409 h 4687251"/>
              <a:gd name="connsiteX31322" fmla="*/ 2529848 w 8079933"/>
              <a:gd name="connsiteY31322" fmla="*/ 2831166 h 4687251"/>
              <a:gd name="connsiteX31323" fmla="*/ 2534188 w 8079933"/>
              <a:gd name="connsiteY31323" fmla="*/ 2832140 h 4687251"/>
              <a:gd name="connsiteX31324" fmla="*/ 2538855 w 8079933"/>
              <a:gd name="connsiteY31324" fmla="*/ 2836580 h 4687251"/>
              <a:gd name="connsiteX31325" fmla="*/ 2539397 w 8079933"/>
              <a:gd name="connsiteY31325" fmla="*/ 2840370 h 4687251"/>
              <a:gd name="connsiteX31326" fmla="*/ 2545692 w 8079933"/>
              <a:gd name="connsiteY31326" fmla="*/ 2847407 h 4687251"/>
              <a:gd name="connsiteX31327" fmla="*/ 2555133 w 8079933"/>
              <a:gd name="connsiteY31327" fmla="*/ 2853254 h 4687251"/>
              <a:gd name="connsiteX31328" fmla="*/ 2558714 w 8079933"/>
              <a:gd name="connsiteY31328" fmla="*/ 2855960 h 4687251"/>
              <a:gd name="connsiteX31329" fmla="*/ 2561209 w 8079933"/>
              <a:gd name="connsiteY31329" fmla="*/ 2863864 h 4687251"/>
              <a:gd name="connsiteX31330" fmla="*/ 2559582 w 8079933"/>
              <a:gd name="connsiteY31330" fmla="*/ 2868086 h 4687251"/>
              <a:gd name="connsiteX31331" fmla="*/ 2558605 w 8079933"/>
              <a:gd name="connsiteY31331" fmla="*/ 2875557 h 4687251"/>
              <a:gd name="connsiteX31332" fmla="*/ 2559473 w 8079933"/>
              <a:gd name="connsiteY31332" fmla="*/ 2881188 h 4687251"/>
              <a:gd name="connsiteX31333" fmla="*/ 2560450 w 8079933"/>
              <a:gd name="connsiteY31333" fmla="*/ 2876749 h 4687251"/>
              <a:gd name="connsiteX31334" fmla="*/ 2563705 w 8079933"/>
              <a:gd name="connsiteY31334" fmla="*/ 2873067 h 4687251"/>
              <a:gd name="connsiteX31335" fmla="*/ 2568588 w 8079933"/>
              <a:gd name="connsiteY31335" fmla="*/ 2871443 h 4687251"/>
              <a:gd name="connsiteX31336" fmla="*/ 2571518 w 8079933"/>
              <a:gd name="connsiteY31336" fmla="*/ 2869927 h 4687251"/>
              <a:gd name="connsiteX31337" fmla="*/ 2575968 w 8079933"/>
              <a:gd name="connsiteY31337" fmla="*/ 2873392 h 4687251"/>
              <a:gd name="connsiteX31338" fmla="*/ 2583672 w 8079933"/>
              <a:gd name="connsiteY31338" fmla="*/ 2881404 h 4687251"/>
              <a:gd name="connsiteX31339" fmla="*/ 2592679 w 8079933"/>
              <a:gd name="connsiteY31339" fmla="*/ 2883894 h 4687251"/>
              <a:gd name="connsiteX31340" fmla="*/ 2594199 w 8079933"/>
              <a:gd name="connsiteY31340" fmla="*/ 2887467 h 4687251"/>
              <a:gd name="connsiteX31341" fmla="*/ 2594199 w 8079933"/>
              <a:gd name="connsiteY31341" fmla="*/ 2893314 h 4687251"/>
              <a:gd name="connsiteX31342" fmla="*/ 2595609 w 8079933"/>
              <a:gd name="connsiteY31342" fmla="*/ 2898077 h 4687251"/>
              <a:gd name="connsiteX31343" fmla="*/ 2595609 w 8079933"/>
              <a:gd name="connsiteY31343" fmla="*/ 2898078 h 4687251"/>
              <a:gd name="connsiteX31344" fmla="*/ 2596586 w 8079933"/>
              <a:gd name="connsiteY31344" fmla="*/ 2892556 h 4687251"/>
              <a:gd name="connsiteX31345" fmla="*/ 2602663 w 8079933"/>
              <a:gd name="connsiteY31345" fmla="*/ 2890390 h 4687251"/>
              <a:gd name="connsiteX31346" fmla="*/ 2613189 w 8079933"/>
              <a:gd name="connsiteY31346" fmla="*/ 2890174 h 4687251"/>
              <a:gd name="connsiteX31347" fmla="*/ 2620894 w 8079933"/>
              <a:gd name="connsiteY31347" fmla="*/ 2892448 h 4687251"/>
              <a:gd name="connsiteX31348" fmla="*/ 2630226 w 8079933"/>
              <a:gd name="connsiteY31348" fmla="*/ 2890499 h 4687251"/>
              <a:gd name="connsiteX31349" fmla="*/ 2637605 w 8079933"/>
              <a:gd name="connsiteY31349" fmla="*/ 2891256 h 4687251"/>
              <a:gd name="connsiteX31350" fmla="*/ 2641946 w 8079933"/>
              <a:gd name="connsiteY31350" fmla="*/ 2889307 h 4687251"/>
              <a:gd name="connsiteX31351" fmla="*/ 2644985 w 8079933"/>
              <a:gd name="connsiteY31351" fmla="*/ 2888983 h 4687251"/>
              <a:gd name="connsiteX31352" fmla="*/ 2654534 w 8079933"/>
              <a:gd name="connsiteY31352" fmla="*/ 2892556 h 4687251"/>
              <a:gd name="connsiteX31353" fmla="*/ 2662781 w 8079933"/>
              <a:gd name="connsiteY31353" fmla="*/ 2893964 h 4687251"/>
              <a:gd name="connsiteX31354" fmla="*/ 2667773 w 8079933"/>
              <a:gd name="connsiteY31354" fmla="*/ 2896237 h 4687251"/>
              <a:gd name="connsiteX31355" fmla="*/ 2668099 w 8079933"/>
              <a:gd name="connsiteY31355" fmla="*/ 2899485 h 4687251"/>
              <a:gd name="connsiteX31356" fmla="*/ 2663433 w 8079933"/>
              <a:gd name="connsiteY31356" fmla="*/ 2905115 h 4687251"/>
              <a:gd name="connsiteX31357" fmla="*/ 2663215 w 8079933"/>
              <a:gd name="connsiteY31357" fmla="*/ 2905332 h 4687251"/>
              <a:gd name="connsiteX31358" fmla="*/ 2661370 w 8079933"/>
              <a:gd name="connsiteY31358" fmla="*/ 2907389 h 4687251"/>
              <a:gd name="connsiteX31359" fmla="*/ 2658570 w 8079933"/>
              <a:gd name="connsiteY31359" fmla="*/ 2911141 h 4687251"/>
              <a:gd name="connsiteX31360" fmla="*/ 2661370 w 8079933"/>
              <a:gd name="connsiteY31360" fmla="*/ 2907390 h 4687251"/>
              <a:gd name="connsiteX31361" fmla="*/ 2663215 w 8079933"/>
              <a:gd name="connsiteY31361" fmla="*/ 2905333 h 4687251"/>
              <a:gd name="connsiteX31362" fmla="*/ 2663432 w 8079933"/>
              <a:gd name="connsiteY31362" fmla="*/ 2905117 h 4687251"/>
              <a:gd name="connsiteX31363" fmla="*/ 2667773 w 8079933"/>
              <a:gd name="connsiteY31363" fmla="*/ 2902734 h 4687251"/>
              <a:gd name="connsiteX31364" fmla="*/ 2672113 w 8079933"/>
              <a:gd name="connsiteY31364" fmla="*/ 2899703 h 4687251"/>
              <a:gd name="connsiteX31365" fmla="*/ 2679059 w 8079933"/>
              <a:gd name="connsiteY31365" fmla="*/ 2900352 h 4687251"/>
              <a:gd name="connsiteX31366" fmla="*/ 2685135 w 8079933"/>
              <a:gd name="connsiteY31366" fmla="*/ 2903925 h 4687251"/>
              <a:gd name="connsiteX31367" fmla="*/ 2698591 w 8079933"/>
              <a:gd name="connsiteY31367" fmla="*/ 2907390 h 4687251"/>
              <a:gd name="connsiteX31368" fmla="*/ 2704125 w 8079933"/>
              <a:gd name="connsiteY31368" fmla="*/ 2912695 h 4687251"/>
              <a:gd name="connsiteX31369" fmla="*/ 2706296 w 8079933"/>
              <a:gd name="connsiteY31369" fmla="*/ 2913561 h 4687251"/>
              <a:gd name="connsiteX31370" fmla="*/ 2714760 w 8079933"/>
              <a:gd name="connsiteY31370" fmla="*/ 2922331 h 4687251"/>
              <a:gd name="connsiteX31371" fmla="*/ 2715303 w 8079933"/>
              <a:gd name="connsiteY31371" fmla="*/ 2926121 h 4687251"/>
              <a:gd name="connsiteX31372" fmla="*/ 2718233 w 8079933"/>
              <a:gd name="connsiteY31372" fmla="*/ 2928719 h 4687251"/>
              <a:gd name="connsiteX31373" fmla="*/ 2720295 w 8079933"/>
              <a:gd name="connsiteY31373" fmla="*/ 2926445 h 4687251"/>
              <a:gd name="connsiteX31374" fmla="*/ 2724635 w 8079933"/>
              <a:gd name="connsiteY31374" fmla="*/ 2931317 h 4687251"/>
              <a:gd name="connsiteX31375" fmla="*/ 2724948 w 8079933"/>
              <a:gd name="connsiteY31375" fmla="*/ 2937044 h 4687251"/>
              <a:gd name="connsiteX31376" fmla="*/ 2725829 w 8079933"/>
              <a:gd name="connsiteY31376" fmla="*/ 2935648 h 4687251"/>
              <a:gd name="connsiteX31377" fmla="*/ 2725829 w 8079933"/>
              <a:gd name="connsiteY31377" fmla="*/ 2931858 h 4687251"/>
              <a:gd name="connsiteX31378" fmla="*/ 2727023 w 8079933"/>
              <a:gd name="connsiteY31378" fmla="*/ 2931209 h 4687251"/>
              <a:gd name="connsiteX31379" fmla="*/ 2729953 w 8079933"/>
              <a:gd name="connsiteY31379" fmla="*/ 2936839 h 4687251"/>
              <a:gd name="connsiteX31380" fmla="*/ 2730712 w 8079933"/>
              <a:gd name="connsiteY31380" fmla="*/ 2941494 h 4687251"/>
              <a:gd name="connsiteX31381" fmla="*/ 2732666 w 8079933"/>
              <a:gd name="connsiteY31381" fmla="*/ 2943335 h 4687251"/>
              <a:gd name="connsiteX31382" fmla="*/ 2733860 w 8079933"/>
              <a:gd name="connsiteY31382" fmla="*/ 2948316 h 4687251"/>
              <a:gd name="connsiteX31383" fmla="*/ 2733860 w 8079933"/>
              <a:gd name="connsiteY31383" fmla="*/ 2953296 h 4687251"/>
              <a:gd name="connsiteX31384" fmla="*/ 2737332 w 8079933"/>
              <a:gd name="connsiteY31384" fmla="*/ 2962390 h 4687251"/>
              <a:gd name="connsiteX31385" fmla="*/ 2742215 w 8079933"/>
              <a:gd name="connsiteY31385" fmla="*/ 2969212 h 4687251"/>
              <a:gd name="connsiteX31386" fmla="*/ 2747532 w 8079933"/>
              <a:gd name="connsiteY31386" fmla="*/ 2982421 h 4687251"/>
              <a:gd name="connsiteX31387" fmla="*/ 2750680 w 8079933"/>
              <a:gd name="connsiteY31387" fmla="*/ 2991407 h 4687251"/>
              <a:gd name="connsiteX31388" fmla="*/ 2752958 w 8079933"/>
              <a:gd name="connsiteY31388" fmla="*/ 2995197 h 4687251"/>
              <a:gd name="connsiteX31389" fmla="*/ 2754478 w 8079933"/>
              <a:gd name="connsiteY31389" fmla="*/ 2993465 h 4687251"/>
              <a:gd name="connsiteX31390" fmla="*/ 2759469 w 8079933"/>
              <a:gd name="connsiteY31390" fmla="*/ 2993465 h 4687251"/>
              <a:gd name="connsiteX31391" fmla="*/ 2763919 w 8079933"/>
              <a:gd name="connsiteY31391" fmla="*/ 2996712 h 4687251"/>
              <a:gd name="connsiteX31392" fmla="*/ 2763919 w 8079933"/>
              <a:gd name="connsiteY31392" fmla="*/ 3001368 h 4687251"/>
              <a:gd name="connsiteX31393" fmla="*/ 2762399 w 8079933"/>
              <a:gd name="connsiteY31393" fmla="*/ 3002667 h 4687251"/>
              <a:gd name="connsiteX31394" fmla="*/ 2761531 w 8079933"/>
              <a:gd name="connsiteY31394" fmla="*/ 3005916 h 4687251"/>
              <a:gd name="connsiteX31395" fmla="*/ 2763919 w 8079933"/>
              <a:gd name="connsiteY31395" fmla="*/ 3009055 h 4687251"/>
              <a:gd name="connsiteX31396" fmla="*/ 2761639 w 8079933"/>
              <a:gd name="connsiteY31396" fmla="*/ 3010787 h 4687251"/>
              <a:gd name="connsiteX31397" fmla="*/ 2760989 w 8079933"/>
              <a:gd name="connsiteY31397" fmla="*/ 3013495 h 4687251"/>
              <a:gd name="connsiteX31398" fmla="*/ 2750137 w 8079933"/>
              <a:gd name="connsiteY31398" fmla="*/ 3024322 h 4687251"/>
              <a:gd name="connsiteX31399" fmla="*/ 2745687 w 8079933"/>
              <a:gd name="connsiteY31399" fmla="*/ 3031034 h 4687251"/>
              <a:gd name="connsiteX31400" fmla="*/ 2742107 w 8079933"/>
              <a:gd name="connsiteY31400" fmla="*/ 3032550 h 4687251"/>
              <a:gd name="connsiteX31401" fmla="*/ 2737114 w 8079933"/>
              <a:gd name="connsiteY31401" fmla="*/ 3036123 h 4687251"/>
              <a:gd name="connsiteX31402" fmla="*/ 2732448 w 8079933"/>
              <a:gd name="connsiteY31402" fmla="*/ 3038721 h 4687251"/>
              <a:gd name="connsiteX31403" fmla="*/ 2729302 w 8079933"/>
              <a:gd name="connsiteY31403" fmla="*/ 3043052 h 4687251"/>
              <a:gd name="connsiteX31404" fmla="*/ 2727240 w 8079933"/>
              <a:gd name="connsiteY31404" fmla="*/ 3050090 h 4687251"/>
              <a:gd name="connsiteX31405" fmla="*/ 2718776 w 8079933"/>
              <a:gd name="connsiteY31405" fmla="*/ 3060917 h 4687251"/>
              <a:gd name="connsiteX31406" fmla="*/ 2718124 w 8079933"/>
              <a:gd name="connsiteY31406" fmla="*/ 3066547 h 4687251"/>
              <a:gd name="connsiteX31407" fmla="*/ 2714327 w 8079933"/>
              <a:gd name="connsiteY31407" fmla="*/ 3073801 h 4687251"/>
              <a:gd name="connsiteX31408" fmla="*/ 2718233 w 8079933"/>
              <a:gd name="connsiteY31408" fmla="*/ 3071203 h 4687251"/>
              <a:gd name="connsiteX31409" fmla="*/ 2720621 w 8079933"/>
              <a:gd name="connsiteY31409" fmla="*/ 3065031 h 4687251"/>
              <a:gd name="connsiteX31410" fmla="*/ 2723008 w 8079933"/>
              <a:gd name="connsiteY31410" fmla="*/ 3059509 h 4687251"/>
              <a:gd name="connsiteX31411" fmla="*/ 2727782 w 8079933"/>
              <a:gd name="connsiteY31411" fmla="*/ 3055611 h 4687251"/>
              <a:gd name="connsiteX31412" fmla="*/ 2730170 w 8079933"/>
              <a:gd name="connsiteY31412" fmla="*/ 3055611 h 4687251"/>
              <a:gd name="connsiteX31413" fmla="*/ 2730170 w 8079933"/>
              <a:gd name="connsiteY31413" fmla="*/ 3059076 h 4687251"/>
              <a:gd name="connsiteX31414" fmla="*/ 2728976 w 8079933"/>
              <a:gd name="connsiteY31414" fmla="*/ 3061891 h 4687251"/>
              <a:gd name="connsiteX31415" fmla="*/ 2728976 w 8079933"/>
              <a:gd name="connsiteY31415" fmla="*/ 3066872 h 4687251"/>
              <a:gd name="connsiteX31416" fmla="*/ 2723442 w 8079933"/>
              <a:gd name="connsiteY31416" fmla="*/ 3074559 h 4687251"/>
              <a:gd name="connsiteX31417" fmla="*/ 2730821 w 8079933"/>
              <a:gd name="connsiteY31417" fmla="*/ 3066114 h 4687251"/>
              <a:gd name="connsiteX31418" fmla="*/ 2736355 w 8079933"/>
              <a:gd name="connsiteY31418" fmla="*/ 3058427 h 4687251"/>
              <a:gd name="connsiteX31419" fmla="*/ 2741564 w 8079933"/>
              <a:gd name="connsiteY31419" fmla="*/ 3056369 h 4687251"/>
              <a:gd name="connsiteX31420" fmla="*/ 2743843 w 8079933"/>
              <a:gd name="connsiteY31420" fmla="*/ 3057236 h 4687251"/>
              <a:gd name="connsiteX31421" fmla="*/ 2745037 w 8079933"/>
              <a:gd name="connsiteY31421" fmla="*/ 3060809 h 4687251"/>
              <a:gd name="connsiteX31422" fmla="*/ 2746773 w 8079933"/>
              <a:gd name="connsiteY31422" fmla="*/ 3056695 h 4687251"/>
              <a:gd name="connsiteX31423" fmla="*/ 2748726 w 8079933"/>
              <a:gd name="connsiteY31423" fmla="*/ 3055720 h 4687251"/>
              <a:gd name="connsiteX31424" fmla="*/ 2751873 w 8079933"/>
              <a:gd name="connsiteY31424" fmla="*/ 3055720 h 4687251"/>
              <a:gd name="connsiteX31425" fmla="*/ 2750462 w 8079933"/>
              <a:gd name="connsiteY31425" fmla="*/ 3053446 h 4687251"/>
              <a:gd name="connsiteX31426" fmla="*/ 2748292 w 8079933"/>
              <a:gd name="connsiteY31426" fmla="*/ 3051823 h 4687251"/>
              <a:gd name="connsiteX31427" fmla="*/ 2748292 w 8079933"/>
              <a:gd name="connsiteY31427" fmla="*/ 3049115 h 4687251"/>
              <a:gd name="connsiteX31428" fmla="*/ 2754803 w 8079933"/>
              <a:gd name="connsiteY31428" fmla="*/ 3042186 h 4687251"/>
              <a:gd name="connsiteX31429" fmla="*/ 2763810 w 8079933"/>
              <a:gd name="connsiteY31429" fmla="*/ 3042836 h 4687251"/>
              <a:gd name="connsiteX31430" fmla="*/ 2772057 w 8079933"/>
              <a:gd name="connsiteY31430" fmla="*/ 3046301 h 4687251"/>
              <a:gd name="connsiteX31431" fmla="*/ 2777917 w 8079933"/>
              <a:gd name="connsiteY31431" fmla="*/ 3046301 h 4687251"/>
              <a:gd name="connsiteX31432" fmla="*/ 2784862 w 8079933"/>
              <a:gd name="connsiteY31432" fmla="*/ 3042186 h 4687251"/>
              <a:gd name="connsiteX31433" fmla="*/ 2789637 w 8079933"/>
              <a:gd name="connsiteY31433" fmla="*/ 3042186 h 4687251"/>
              <a:gd name="connsiteX31434" fmla="*/ 2794846 w 8079933"/>
              <a:gd name="connsiteY31434" fmla="*/ 3046301 h 4687251"/>
              <a:gd name="connsiteX31435" fmla="*/ 2801357 w 8079933"/>
              <a:gd name="connsiteY31435" fmla="*/ 3047708 h 4687251"/>
              <a:gd name="connsiteX31436" fmla="*/ 2801357 w 8079933"/>
              <a:gd name="connsiteY31436" fmla="*/ 3051823 h 4687251"/>
              <a:gd name="connsiteX31437" fmla="*/ 2798969 w 8079933"/>
              <a:gd name="connsiteY31437" fmla="*/ 3055287 h 4687251"/>
              <a:gd name="connsiteX31438" fmla="*/ 2798969 w 8079933"/>
              <a:gd name="connsiteY31438" fmla="*/ 3060484 h 4687251"/>
              <a:gd name="connsiteX31439" fmla="*/ 2793001 w 8079933"/>
              <a:gd name="connsiteY31439" fmla="*/ 3064815 h 4687251"/>
              <a:gd name="connsiteX31440" fmla="*/ 2793001 w 8079933"/>
              <a:gd name="connsiteY31440" fmla="*/ 3070336 h 4687251"/>
              <a:gd name="connsiteX31441" fmla="*/ 2786055 w 8079933"/>
              <a:gd name="connsiteY31441" fmla="*/ 3072719 h 4687251"/>
              <a:gd name="connsiteX31442" fmla="*/ 2781932 w 8079933"/>
              <a:gd name="connsiteY31442" fmla="*/ 3075100 h 4687251"/>
              <a:gd name="connsiteX31443" fmla="*/ 2779544 w 8079933"/>
              <a:gd name="connsiteY31443" fmla="*/ 3075858 h 4687251"/>
              <a:gd name="connsiteX31444" fmla="*/ 2777266 w 8079933"/>
              <a:gd name="connsiteY31444" fmla="*/ 3074126 h 4687251"/>
              <a:gd name="connsiteX31445" fmla="*/ 2775313 w 8079933"/>
              <a:gd name="connsiteY31445" fmla="*/ 3074126 h 4687251"/>
              <a:gd name="connsiteX31446" fmla="*/ 2771515 w 8079933"/>
              <a:gd name="connsiteY31446" fmla="*/ 3078890 h 4687251"/>
              <a:gd name="connsiteX31447" fmla="*/ 2767391 w 8079933"/>
              <a:gd name="connsiteY31447" fmla="*/ 3079864 h 4687251"/>
              <a:gd name="connsiteX31448" fmla="*/ 2760229 w 8079933"/>
              <a:gd name="connsiteY31448" fmla="*/ 3078565 h 4687251"/>
              <a:gd name="connsiteX31449" fmla="*/ 2755997 w 8079933"/>
              <a:gd name="connsiteY31449" fmla="*/ 3079539 h 4687251"/>
              <a:gd name="connsiteX31450" fmla="*/ 2751982 w 8079933"/>
              <a:gd name="connsiteY31450" fmla="*/ 3082571 h 4687251"/>
              <a:gd name="connsiteX31451" fmla="*/ 2748509 w 8079933"/>
              <a:gd name="connsiteY31451" fmla="*/ 3082571 h 4687251"/>
              <a:gd name="connsiteX31452" fmla="*/ 2751548 w 8079933"/>
              <a:gd name="connsiteY31452" fmla="*/ 3085170 h 4687251"/>
              <a:gd name="connsiteX31453" fmla="*/ 2755888 w 8079933"/>
              <a:gd name="connsiteY31453" fmla="*/ 3084087 h 4687251"/>
              <a:gd name="connsiteX31454" fmla="*/ 2761206 w 8079933"/>
              <a:gd name="connsiteY31454" fmla="*/ 3084087 h 4687251"/>
              <a:gd name="connsiteX31455" fmla="*/ 2767391 w 8079933"/>
              <a:gd name="connsiteY31455" fmla="*/ 3085927 h 4687251"/>
              <a:gd name="connsiteX31456" fmla="*/ 2773034 w 8079933"/>
              <a:gd name="connsiteY31456" fmla="*/ 3083978 h 4687251"/>
              <a:gd name="connsiteX31457" fmla="*/ 2775855 w 8079933"/>
              <a:gd name="connsiteY31457" fmla="*/ 3083978 h 4687251"/>
              <a:gd name="connsiteX31458" fmla="*/ 2775855 w 8079933"/>
              <a:gd name="connsiteY31458" fmla="*/ 3086902 h 4687251"/>
              <a:gd name="connsiteX31459" fmla="*/ 2773902 w 8079933"/>
              <a:gd name="connsiteY31459" fmla="*/ 3092423 h 4687251"/>
              <a:gd name="connsiteX31460" fmla="*/ 2774553 w 8079933"/>
              <a:gd name="connsiteY31460" fmla="*/ 3099028 h 4687251"/>
              <a:gd name="connsiteX31461" fmla="*/ 2770647 w 8079933"/>
              <a:gd name="connsiteY31461" fmla="*/ 3102168 h 4687251"/>
              <a:gd name="connsiteX31462" fmla="*/ 2767391 w 8079933"/>
              <a:gd name="connsiteY31462" fmla="*/ 3106282 h 4687251"/>
              <a:gd name="connsiteX31463" fmla="*/ 2767391 w 8079933"/>
              <a:gd name="connsiteY31463" fmla="*/ 3110288 h 4687251"/>
              <a:gd name="connsiteX31464" fmla="*/ 2770647 w 8079933"/>
              <a:gd name="connsiteY31464" fmla="*/ 3115594 h 4687251"/>
              <a:gd name="connsiteX31465" fmla="*/ 2772166 w 8079933"/>
              <a:gd name="connsiteY31465" fmla="*/ 3121007 h 4687251"/>
              <a:gd name="connsiteX31466" fmla="*/ 2773034 w 8079933"/>
              <a:gd name="connsiteY31466" fmla="*/ 3112021 h 4687251"/>
              <a:gd name="connsiteX31467" fmla="*/ 2772274 w 8079933"/>
              <a:gd name="connsiteY31467" fmla="*/ 3107149 h 4687251"/>
              <a:gd name="connsiteX31468" fmla="*/ 2772274 w 8079933"/>
              <a:gd name="connsiteY31468" fmla="*/ 3104333 h 4687251"/>
              <a:gd name="connsiteX31469" fmla="*/ 2776181 w 8079933"/>
              <a:gd name="connsiteY31469" fmla="*/ 3100219 h 4687251"/>
              <a:gd name="connsiteX31470" fmla="*/ 2778459 w 8079933"/>
              <a:gd name="connsiteY31470" fmla="*/ 3096755 h 4687251"/>
              <a:gd name="connsiteX31471" fmla="*/ 2779436 w 8079933"/>
              <a:gd name="connsiteY31471" fmla="*/ 3090258 h 4687251"/>
              <a:gd name="connsiteX31472" fmla="*/ 2782041 w 8079933"/>
              <a:gd name="connsiteY31472" fmla="*/ 3083545 h 4687251"/>
              <a:gd name="connsiteX31473" fmla="*/ 2786164 w 8079933"/>
              <a:gd name="connsiteY31473" fmla="*/ 3078348 h 4687251"/>
              <a:gd name="connsiteX31474" fmla="*/ 2794737 w 8079933"/>
              <a:gd name="connsiteY31474" fmla="*/ 3073368 h 4687251"/>
              <a:gd name="connsiteX31475" fmla="*/ 2801466 w 8079933"/>
              <a:gd name="connsiteY31475" fmla="*/ 3069362 h 4687251"/>
              <a:gd name="connsiteX31476" fmla="*/ 2806674 w 8079933"/>
              <a:gd name="connsiteY31476" fmla="*/ 3064165 h 4687251"/>
              <a:gd name="connsiteX31477" fmla="*/ 2806674 w 8079933"/>
              <a:gd name="connsiteY31477" fmla="*/ 3061458 h 4687251"/>
              <a:gd name="connsiteX31478" fmla="*/ 2809279 w 8079933"/>
              <a:gd name="connsiteY31478" fmla="*/ 3056803 h 4687251"/>
              <a:gd name="connsiteX31479" fmla="*/ 2813945 w 8079933"/>
              <a:gd name="connsiteY31479" fmla="*/ 3054204 h 4687251"/>
              <a:gd name="connsiteX31480" fmla="*/ 2819479 w 8079933"/>
              <a:gd name="connsiteY31480" fmla="*/ 3054204 h 4687251"/>
              <a:gd name="connsiteX31481" fmla="*/ 2820672 w 8079933"/>
              <a:gd name="connsiteY31481" fmla="*/ 3057452 h 4687251"/>
              <a:gd name="connsiteX31482" fmla="*/ 2822952 w 8079933"/>
              <a:gd name="connsiteY31482" fmla="*/ 3057452 h 4687251"/>
              <a:gd name="connsiteX31483" fmla="*/ 2823602 w 8079933"/>
              <a:gd name="connsiteY31483" fmla="*/ 3054529 h 4687251"/>
              <a:gd name="connsiteX31484" fmla="*/ 2826750 w 8079933"/>
              <a:gd name="connsiteY31484" fmla="*/ 3054529 h 4687251"/>
              <a:gd name="connsiteX31485" fmla="*/ 2831090 w 8079933"/>
              <a:gd name="connsiteY31485" fmla="*/ 3057452 h 4687251"/>
              <a:gd name="connsiteX31486" fmla="*/ 2832284 w 8079933"/>
              <a:gd name="connsiteY31486" fmla="*/ 3055395 h 4687251"/>
              <a:gd name="connsiteX31487" fmla="*/ 2834346 w 8079933"/>
              <a:gd name="connsiteY31487" fmla="*/ 3055395 h 4687251"/>
              <a:gd name="connsiteX31488" fmla="*/ 2841399 w 8079933"/>
              <a:gd name="connsiteY31488" fmla="*/ 3059509 h 4687251"/>
              <a:gd name="connsiteX31489" fmla="*/ 2846717 w 8079933"/>
              <a:gd name="connsiteY31489" fmla="*/ 3061025 h 4687251"/>
              <a:gd name="connsiteX31490" fmla="*/ 2849647 w 8079933"/>
              <a:gd name="connsiteY31490" fmla="*/ 3059834 h 4687251"/>
              <a:gd name="connsiteX31491" fmla="*/ 2851383 w 8079933"/>
              <a:gd name="connsiteY31491" fmla="*/ 3063299 h 4687251"/>
              <a:gd name="connsiteX31492" fmla="*/ 2853987 w 8079933"/>
              <a:gd name="connsiteY31492" fmla="*/ 3064815 h 4687251"/>
              <a:gd name="connsiteX31493" fmla="*/ 2853987 w 8079933"/>
              <a:gd name="connsiteY31493" fmla="*/ 3066872 h 4687251"/>
              <a:gd name="connsiteX31494" fmla="*/ 2855832 w 8079933"/>
              <a:gd name="connsiteY31494" fmla="*/ 3064489 h 4687251"/>
              <a:gd name="connsiteX31495" fmla="*/ 2859088 w 8079933"/>
              <a:gd name="connsiteY31495" fmla="*/ 3065681 h 4687251"/>
              <a:gd name="connsiteX31496" fmla="*/ 2860932 w 8079933"/>
              <a:gd name="connsiteY31496" fmla="*/ 3068063 h 4687251"/>
              <a:gd name="connsiteX31497" fmla="*/ 2864730 w 8079933"/>
              <a:gd name="connsiteY31497" fmla="*/ 3068063 h 4687251"/>
              <a:gd name="connsiteX31498" fmla="*/ 2867443 w 8079933"/>
              <a:gd name="connsiteY31498" fmla="*/ 3070228 h 4687251"/>
              <a:gd name="connsiteX31499" fmla="*/ 2868420 w 8079933"/>
              <a:gd name="connsiteY31499" fmla="*/ 3073693 h 4687251"/>
              <a:gd name="connsiteX31500" fmla="*/ 2870698 w 8079933"/>
              <a:gd name="connsiteY31500" fmla="*/ 3075100 h 4687251"/>
              <a:gd name="connsiteX31501" fmla="*/ 2872218 w 8079933"/>
              <a:gd name="connsiteY31501" fmla="*/ 3078673 h 4687251"/>
              <a:gd name="connsiteX31502" fmla="*/ 2875256 w 8079933"/>
              <a:gd name="connsiteY31502" fmla="*/ 3077158 h 4687251"/>
              <a:gd name="connsiteX31503" fmla="*/ 2878404 w 8079933"/>
              <a:gd name="connsiteY31503" fmla="*/ 3073152 h 4687251"/>
              <a:gd name="connsiteX31504" fmla="*/ 2883720 w 8079933"/>
              <a:gd name="connsiteY31504" fmla="*/ 3074017 h 4687251"/>
              <a:gd name="connsiteX31505" fmla="*/ 2887302 w 8079933"/>
              <a:gd name="connsiteY31505" fmla="*/ 3074017 h 4687251"/>
              <a:gd name="connsiteX31506" fmla="*/ 2891100 w 8079933"/>
              <a:gd name="connsiteY31506" fmla="*/ 3079972 h 4687251"/>
              <a:gd name="connsiteX31507" fmla="*/ 2897611 w 8079933"/>
              <a:gd name="connsiteY31507" fmla="*/ 3087010 h 4687251"/>
              <a:gd name="connsiteX31508" fmla="*/ 2892619 w 8079933"/>
              <a:gd name="connsiteY31508" fmla="*/ 3092640 h 4687251"/>
              <a:gd name="connsiteX31509" fmla="*/ 2896418 w 8079933"/>
              <a:gd name="connsiteY31509" fmla="*/ 3092640 h 4687251"/>
              <a:gd name="connsiteX31510" fmla="*/ 2898154 w 8079933"/>
              <a:gd name="connsiteY31510" fmla="*/ 3094156 h 4687251"/>
              <a:gd name="connsiteX31511" fmla="*/ 2896091 w 8079933"/>
              <a:gd name="connsiteY31511" fmla="*/ 3096105 h 4687251"/>
              <a:gd name="connsiteX31512" fmla="*/ 2893705 w 8079933"/>
              <a:gd name="connsiteY31512" fmla="*/ 3103792 h 4687251"/>
              <a:gd name="connsiteX31513" fmla="*/ 2894573 w 8079933"/>
              <a:gd name="connsiteY31513" fmla="*/ 3109097 h 4687251"/>
              <a:gd name="connsiteX31514" fmla="*/ 2893053 w 8079933"/>
              <a:gd name="connsiteY31514" fmla="*/ 3115160 h 4687251"/>
              <a:gd name="connsiteX31515" fmla="*/ 2894464 w 8079933"/>
              <a:gd name="connsiteY31515" fmla="*/ 3121115 h 4687251"/>
              <a:gd name="connsiteX31516" fmla="*/ 2894464 w 8079933"/>
              <a:gd name="connsiteY31516" fmla="*/ 3114727 h 4687251"/>
              <a:gd name="connsiteX31517" fmla="*/ 2898371 w 8079933"/>
              <a:gd name="connsiteY31517" fmla="*/ 3107149 h 4687251"/>
              <a:gd name="connsiteX31518" fmla="*/ 2898371 w 8079933"/>
              <a:gd name="connsiteY31518" fmla="*/ 3102709 h 4687251"/>
              <a:gd name="connsiteX31519" fmla="*/ 2900758 w 8079933"/>
              <a:gd name="connsiteY31519" fmla="*/ 3101735 h 4687251"/>
              <a:gd name="connsiteX31520" fmla="*/ 2902169 w 8079933"/>
              <a:gd name="connsiteY31520" fmla="*/ 3105308 h 4687251"/>
              <a:gd name="connsiteX31521" fmla="*/ 2904556 w 8079933"/>
              <a:gd name="connsiteY31521" fmla="*/ 3109422 h 4687251"/>
              <a:gd name="connsiteX31522" fmla="*/ 2905207 w 8079933"/>
              <a:gd name="connsiteY31522" fmla="*/ 3103792 h 4687251"/>
              <a:gd name="connsiteX31523" fmla="*/ 2906835 w 8079933"/>
              <a:gd name="connsiteY31523" fmla="*/ 3101410 h 4687251"/>
              <a:gd name="connsiteX31524" fmla="*/ 2911393 w 8079933"/>
              <a:gd name="connsiteY31524" fmla="*/ 3099244 h 4687251"/>
              <a:gd name="connsiteX31525" fmla="*/ 2912152 w 8079933"/>
              <a:gd name="connsiteY31525" fmla="*/ 3097296 h 4687251"/>
              <a:gd name="connsiteX31526" fmla="*/ 2913346 w 8079933"/>
              <a:gd name="connsiteY31526" fmla="*/ 3096646 h 4687251"/>
              <a:gd name="connsiteX31527" fmla="*/ 2916059 w 8079933"/>
              <a:gd name="connsiteY31527" fmla="*/ 3098162 h 4687251"/>
              <a:gd name="connsiteX31528" fmla="*/ 2917144 w 8079933"/>
              <a:gd name="connsiteY31528" fmla="*/ 3096862 h 4687251"/>
              <a:gd name="connsiteX31529" fmla="*/ 2916059 w 8079933"/>
              <a:gd name="connsiteY31529" fmla="*/ 3094156 h 4687251"/>
              <a:gd name="connsiteX31530" fmla="*/ 2916059 w 8079933"/>
              <a:gd name="connsiteY31530" fmla="*/ 3092749 h 4687251"/>
              <a:gd name="connsiteX31531" fmla="*/ 2921050 w 8079933"/>
              <a:gd name="connsiteY31531" fmla="*/ 3092749 h 4687251"/>
              <a:gd name="connsiteX31532" fmla="*/ 2934181 w 8079933"/>
              <a:gd name="connsiteY31532" fmla="*/ 3098920 h 4687251"/>
              <a:gd name="connsiteX31533" fmla="*/ 2940149 w 8079933"/>
              <a:gd name="connsiteY31533" fmla="*/ 3100003 h 4687251"/>
              <a:gd name="connsiteX31534" fmla="*/ 2942429 w 8079933"/>
              <a:gd name="connsiteY31534" fmla="*/ 3100003 h 4687251"/>
              <a:gd name="connsiteX31535" fmla="*/ 2949482 w 8079933"/>
              <a:gd name="connsiteY31535" fmla="*/ 3102709 h 4687251"/>
              <a:gd name="connsiteX31536" fmla="*/ 2950893 w 8079933"/>
              <a:gd name="connsiteY31536" fmla="*/ 3101735 h 4687251"/>
              <a:gd name="connsiteX31537" fmla="*/ 2950025 w 8079933"/>
              <a:gd name="connsiteY31537" fmla="*/ 3099353 h 4687251"/>
              <a:gd name="connsiteX31538" fmla="*/ 2952846 w 8079933"/>
              <a:gd name="connsiteY31538" fmla="*/ 3100111 h 4687251"/>
              <a:gd name="connsiteX31539" fmla="*/ 2953497 w 8079933"/>
              <a:gd name="connsiteY31539" fmla="*/ 3102493 h 4687251"/>
              <a:gd name="connsiteX31540" fmla="*/ 2957295 w 8079933"/>
              <a:gd name="connsiteY31540" fmla="*/ 3105633 h 4687251"/>
              <a:gd name="connsiteX31541" fmla="*/ 2957295 w 8079933"/>
              <a:gd name="connsiteY31541" fmla="*/ 3103251 h 4687251"/>
              <a:gd name="connsiteX31542" fmla="*/ 2958381 w 8079933"/>
              <a:gd name="connsiteY31542" fmla="*/ 3100111 h 4687251"/>
              <a:gd name="connsiteX31543" fmla="*/ 2961093 w 8079933"/>
              <a:gd name="connsiteY31543" fmla="*/ 3102493 h 4687251"/>
              <a:gd name="connsiteX31544" fmla="*/ 2962179 w 8079933"/>
              <a:gd name="connsiteY31544" fmla="*/ 3100435 h 4687251"/>
              <a:gd name="connsiteX31545" fmla="*/ 2968690 w 8079933"/>
              <a:gd name="connsiteY31545" fmla="*/ 3105308 h 4687251"/>
              <a:gd name="connsiteX31546" fmla="*/ 2971402 w 8079933"/>
              <a:gd name="connsiteY31546" fmla="*/ 3108015 h 4687251"/>
              <a:gd name="connsiteX31547" fmla="*/ 2973464 w 8079933"/>
              <a:gd name="connsiteY31547" fmla="*/ 3104875 h 4687251"/>
              <a:gd name="connsiteX31548" fmla="*/ 2977913 w 8079933"/>
              <a:gd name="connsiteY31548" fmla="*/ 3102817 h 4687251"/>
              <a:gd name="connsiteX31549" fmla="*/ 2982037 w 8079933"/>
              <a:gd name="connsiteY31549" fmla="*/ 3104875 h 4687251"/>
              <a:gd name="connsiteX31550" fmla="*/ 2988982 w 8079933"/>
              <a:gd name="connsiteY31550" fmla="*/ 3104875 h 4687251"/>
              <a:gd name="connsiteX31551" fmla="*/ 2993431 w 8079933"/>
              <a:gd name="connsiteY31551" fmla="*/ 3102493 h 4687251"/>
              <a:gd name="connsiteX31552" fmla="*/ 3000702 w 8079933"/>
              <a:gd name="connsiteY31552" fmla="*/ 3105633 h 4687251"/>
              <a:gd name="connsiteX31553" fmla="*/ 3007213 w 8079933"/>
              <a:gd name="connsiteY31553" fmla="*/ 3105633 h 4687251"/>
              <a:gd name="connsiteX31554" fmla="*/ 3021754 w 8079933"/>
              <a:gd name="connsiteY31554" fmla="*/ 3116460 h 4687251"/>
              <a:gd name="connsiteX31555" fmla="*/ 3026963 w 8079933"/>
              <a:gd name="connsiteY31555" fmla="*/ 3116460 h 4687251"/>
              <a:gd name="connsiteX31556" fmla="*/ 3032822 w 8079933"/>
              <a:gd name="connsiteY31556" fmla="*/ 3121982 h 4687251"/>
              <a:gd name="connsiteX31557" fmla="*/ 3036946 w 8079933"/>
              <a:gd name="connsiteY31557" fmla="*/ 3123064 h 4687251"/>
              <a:gd name="connsiteX31558" fmla="*/ 3045519 w 8079933"/>
              <a:gd name="connsiteY31558" fmla="*/ 3135082 h 4687251"/>
              <a:gd name="connsiteX31559" fmla="*/ 3056371 w 8079933"/>
              <a:gd name="connsiteY31559" fmla="*/ 3146451 h 4687251"/>
              <a:gd name="connsiteX31560" fmla="*/ 3061254 w 8079933"/>
              <a:gd name="connsiteY31560" fmla="*/ 3147100 h 4687251"/>
              <a:gd name="connsiteX31561" fmla="*/ 3068199 w 8079933"/>
              <a:gd name="connsiteY31561" fmla="*/ 3150565 h 4687251"/>
              <a:gd name="connsiteX31562" fmla="*/ 3073408 w 8079933"/>
              <a:gd name="connsiteY31562" fmla="*/ 3156412 h 4687251"/>
              <a:gd name="connsiteX31563" fmla="*/ 3078617 w 8079933"/>
              <a:gd name="connsiteY31563" fmla="*/ 3157386 h 4687251"/>
              <a:gd name="connsiteX31564" fmla="*/ 3083066 w 8079933"/>
              <a:gd name="connsiteY31564" fmla="*/ 3163557 h 4687251"/>
              <a:gd name="connsiteX31565" fmla="*/ 3089576 w 8079933"/>
              <a:gd name="connsiteY31565" fmla="*/ 3160742 h 4687251"/>
              <a:gd name="connsiteX31566" fmla="*/ 3098583 w 8079933"/>
              <a:gd name="connsiteY31566" fmla="*/ 3160742 h 4687251"/>
              <a:gd name="connsiteX31567" fmla="*/ 3114101 w 8079933"/>
              <a:gd name="connsiteY31567" fmla="*/ 3167671 h 4687251"/>
              <a:gd name="connsiteX31568" fmla="*/ 3115512 w 8079933"/>
              <a:gd name="connsiteY31568" fmla="*/ 3175251 h 4687251"/>
              <a:gd name="connsiteX31569" fmla="*/ 3115512 w 8079933"/>
              <a:gd name="connsiteY31569" fmla="*/ 3181422 h 4687251"/>
              <a:gd name="connsiteX31570" fmla="*/ 3123760 w 8079933"/>
              <a:gd name="connsiteY31570" fmla="*/ 3199720 h 4687251"/>
              <a:gd name="connsiteX31571" fmla="*/ 3124845 w 8079933"/>
              <a:gd name="connsiteY31571" fmla="*/ 3205566 h 4687251"/>
              <a:gd name="connsiteX31572" fmla="*/ 3127558 w 8079933"/>
              <a:gd name="connsiteY31572" fmla="*/ 3207299 h 4687251"/>
              <a:gd name="connsiteX31573" fmla="*/ 3128317 w 8079933"/>
              <a:gd name="connsiteY31573" fmla="*/ 3219100 h 4687251"/>
              <a:gd name="connsiteX31574" fmla="*/ 3125713 w 8079933"/>
              <a:gd name="connsiteY31574" fmla="*/ 3221373 h 4687251"/>
              <a:gd name="connsiteX31575" fmla="*/ 3124519 w 8079933"/>
              <a:gd name="connsiteY31575" fmla="*/ 3226138 h 4687251"/>
              <a:gd name="connsiteX31576" fmla="*/ 3127666 w 8079933"/>
              <a:gd name="connsiteY31576" fmla="*/ 3230793 h 4687251"/>
              <a:gd name="connsiteX31577" fmla="*/ 3127666 w 8079933"/>
              <a:gd name="connsiteY31577" fmla="*/ 3234908 h 4687251"/>
              <a:gd name="connsiteX31578" fmla="*/ 3124736 w 8079933"/>
              <a:gd name="connsiteY31578" fmla="*/ 3239022 h 4687251"/>
              <a:gd name="connsiteX31579" fmla="*/ 3123217 w 8079933"/>
              <a:gd name="connsiteY31579" fmla="*/ 3244652 h 4687251"/>
              <a:gd name="connsiteX31580" fmla="*/ 3117357 w 8079933"/>
              <a:gd name="connsiteY31580" fmla="*/ 3257537 h 4687251"/>
              <a:gd name="connsiteX31581" fmla="*/ 3114969 w 8079933"/>
              <a:gd name="connsiteY31581" fmla="*/ 3261001 h 4687251"/>
              <a:gd name="connsiteX31582" fmla="*/ 3105528 w 8079933"/>
              <a:gd name="connsiteY31582" fmla="*/ 3273777 h 4687251"/>
              <a:gd name="connsiteX31583" fmla="*/ 3094677 w 8079933"/>
              <a:gd name="connsiteY31583" fmla="*/ 3283413 h 4687251"/>
              <a:gd name="connsiteX31584" fmla="*/ 3091964 w 8079933"/>
              <a:gd name="connsiteY31584" fmla="*/ 3287852 h 4687251"/>
              <a:gd name="connsiteX31585" fmla="*/ 3087841 w 8079933"/>
              <a:gd name="connsiteY31585" fmla="*/ 3289801 h 4687251"/>
              <a:gd name="connsiteX31586" fmla="*/ 3086322 w 8079933"/>
              <a:gd name="connsiteY31586" fmla="*/ 3293915 h 4687251"/>
              <a:gd name="connsiteX31587" fmla="*/ 3073733 w 8079933"/>
              <a:gd name="connsiteY31587" fmla="*/ 3302469 h 4687251"/>
              <a:gd name="connsiteX31588" fmla="*/ 3070261 w 8079933"/>
              <a:gd name="connsiteY31588" fmla="*/ 3309506 h 4687251"/>
              <a:gd name="connsiteX31589" fmla="*/ 3067223 w 8079933"/>
              <a:gd name="connsiteY31589" fmla="*/ 3316761 h 4687251"/>
              <a:gd name="connsiteX31590" fmla="*/ 3064075 w 8079933"/>
              <a:gd name="connsiteY31590" fmla="*/ 3319467 h 4687251"/>
              <a:gd name="connsiteX31591" fmla="*/ 3062882 w 8079933"/>
              <a:gd name="connsiteY31591" fmla="*/ 3324989 h 4687251"/>
              <a:gd name="connsiteX31592" fmla="*/ 3059300 w 8079933"/>
              <a:gd name="connsiteY31592" fmla="*/ 3334084 h 4687251"/>
              <a:gd name="connsiteX31593" fmla="*/ 3051162 w 8079933"/>
              <a:gd name="connsiteY31593" fmla="*/ 3346426 h 4687251"/>
              <a:gd name="connsiteX31594" fmla="*/ 3044760 w 8079933"/>
              <a:gd name="connsiteY31594" fmla="*/ 3349675 h 4687251"/>
              <a:gd name="connsiteX31595" fmla="*/ 3040094 w 8079933"/>
              <a:gd name="connsiteY31595" fmla="*/ 3354005 h 4687251"/>
              <a:gd name="connsiteX31596" fmla="*/ 3037706 w 8079933"/>
              <a:gd name="connsiteY31596" fmla="*/ 3354005 h 4687251"/>
              <a:gd name="connsiteX31597" fmla="*/ 3038574 w 8079933"/>
              <a:gd name="connsiteY31597" fmla="*/ 3351082 h 4687251"/>
              <a:gd name="connsiteX31598" fmla="*/ 3042047 w 8079933"/>
              <a:gd name="connsiteY31598" fmla="*/ 3348483 h 4687251"/>
              <a:gd name="connsiteX31599" fmla="*/ 3044651 w 8079933"/>
              <a:gd name="connsiteY31599" fmla="*/ 3344910 h 4687251"/>
              <a:gd name="connsiteX31600" fmla="*/ 3042264 w 8079933"/>
              <a:gd name="connsiteY31600" fmla="*/ 3343720 h 4687251"/>
              <a:gd name="connsiteX31601" fmla="*/ 3040853 w 8079933"/>
              <a:gd name="connsiteY31601" fmla="*/ 3340797 h 4687251"/>
              <a:gd name="connsiteX31602" fmla="*/ 3037597 w 8079933"/>
              <a:gd name="connsiteY31602" fmla="*/ 3340797 h 4687251"/>
              <a:gd name="connsiteX31603" fmla="*/ 3036187 w 8079933"/>
              <a:gd name="connsiteY31603" fmla="*/ 3345993 h 4687251"/>
              <a:gd name="connsiteX31604" fmla="*/ 3032714 w 8079933"/>
              <a:gd name="connsiteY31604" fmla="*/ 3344803 h 4687251"/>
              <a:gd name="connsiteX31605" fmla="*/ 3028916 w 8079933"/>
              <a:gd name="connsiteY31605" fmla="*/ 3342529 h 4687251"/>
              <a:gd name="connsiteX31606" fmla="*/ 3027722 w 8079933"/>
              <a:gd name="connsiteY31606" fmla="*/ 3339930 h 4687251"/>
              <a:gd name="connsiteX31607" fmla="*/ 3026854 w 8079933"/>
              <a:gd name="connsiteY31607" fmla="*/ 3341987 h 4687251"/>
              <a:gd name="connsiteX31608" fmla="*/ 3025010 w 8079933"/>
              <a:gd name="connsiteY31608" fmla="*/ 3343503 h 4687251"/>
              <a:gd name="connsiteX31609" fmla="*/ 3031412 w 8079933"/>
              <a:gd name="connsiteY31609" fmla="*/ 3346426 h 4687251"/>
              <a:gd name="connsiteX31610" fmla="*/ 3034667 w 8079933"/>
              <a:gd name="connsiteY31610" fmla="*/ 3351732 h 4687251"/>
              <a:gd name="connsiteX31611" fmla="*/ 3034016 w 8079933"/>
              <a:gd name="connsiteY31611" fmla="*/ 3357362 h 4687251"/>
              <a:gd name="connsiteX31612" fmla="*/ 3030869 w 8079933"/>
              <a:gd name="connsiteY31612" fmla="*/ 3358228 h 4687251"/>
              <a:gd name="connsiteX31613" fmla="*/ 3030001 w 8079933"/>
              <a:gd name="connsiteY31613" fmla="*/ 3361801 h 4687251"/>
              <a:gd name="connsiteX31614" fmla="*/ 3030869 w 8079933"/>
              <a:gd name="connsiteY31614" fmla="*/ 3367106 h 4687251"/>
              <a:gd name="connsiteX31615" fmla="*/ 3027396 w 8079933"/>
              <a:gd name="connsiteY31615" fmla="*/ 3372411 h 4687251"/>
              <a:gd name="connsiteX31616" fmla="*/ 3027396 w 8079933"/>
              <a:gd name="connsiteY31616" fmla="*/ 3375118 h 4687251"/>
              <a:gd name="connsiteX31617" fmla="*/ 3031195 w 8079933"/>
              <a:gd name="connsiteY31617" fmla="*/ 3377825 h 4687251"/>
              <a:gd name="connsiteX31618" fmla="*/ 3033256 w 8079933"/>
              <a:gd name="connsiteY31618" fmla="*/ 3375552 h 4687251"/>
              <a:gd name="connsiteX31619" fmla="*/ 3033256 w 8079933"/>
              <a:gd name="connsiteY31619" fmla="*/ 3379882 h 4687251"/>
              <a:gd name="connsiteX31620" fmla="*/ 3031303 w 8079933"/>
              <a:gd name="connsiteY31620" fmla="*/ 3384430 h 4687251"/>
              <a:gd name="connsiteX31621" fmla="*/ 3031303 w 8079933"/>
              <a:gd name="connsiteY31621" fmla="*/ 3390384 h 4687251"/>
              <a:gd name="connsiteX31622" fmla="*/ 3033691 w 8079933"/>
              <a:gd name="connsiteY31622" fmla="*/ 3422866 h 4687251"/>
              <a:gd name="connsiteX31623" fmla="*/ 3031629 w 8079933"/>
              <a:gd name="connsiteY31623" fmla="*/ 3431852 h 4687251"/>
              <a:gd name="connsiteX31624" fmla="*/ 3031629 w 8079933"/>
              <a:gd name="connsiteY31624" fmla="*/ 3435317 h 4687251"/>
              <a:gd name="connsiteX31625" fmla="*/ 3030218 w 8079933"/>
              <a:gd name="connsiteY31625" fmla="*/ 3441488 h 4687251"/>
              <a:gd name="connsiteX31626" fmla="*/ 3031303 w 8079933"/>
              <a:gd name="connsiteY31626" fmla="*/ 3449717 h 4687251"/>
              <a:gd name="connsiteX31627" fmla="*/ 3027505 w 8079933"/>
              <a:gd name="connsiteY31627" fmla="*/ 3460544 h 4687251"/>
              <a:gd name="connsiteX31628" fmla="*/ 3029350 w 8079933"/>
              <a:gd name="connsiteY31628" fmla="*/ 3469421 h 4687251"/>
              <a:gd name="connsiteX31629" fmla="*/ 3028373 w 8079933"/>
              <a:gd name="connsiteY31629" fmla="*/ 3472129 h 4687251"/>
              <a:gd name="connsiteX31630" fmla="*/ 3021320 w 8079933"/>
              <a:gd name="connsiteY31630" fmla="*/ 3477759 h 4687251"/>
              <a:gd name="connsiteX31631" fmla="*/ 3021320 w 8079933"/>
              <a:gd name="connsiteY31631" fmla="*/ 3480898 h 4687251"/>
              <a:gd name="connsiteX31632" fmla="*/ 3018932 w 8079933"/>
              <a:gd name="connsiteY31632" fmla="*/ 3484471 h 4687251"/>
              <a:gd name="connsiteX31633" fmla="*/ 3016002 w 8079933"/>
              <a:gd name="connsiteY31633" fmla="*/ 3493566 h 4687251"/>
              <a:gd name="connsiteX31634" fmla="*/ 3017088 w 8079933"/>
              <a:gd name="connsiteY31634" fmla="*/ 3495839 h 4687251"/>
              <a:gd name="connsiteX31635" fmla="*/ 3018932 w 8079933"/>
              <a:gd name="connsiteY31635" fmla="*/ 3510998 h 4687251"/>
              <a:gd name="connsiteX31636" fmla="*/ 3018932 w 8079933"/>
              <a:gd name="connsiteY31636" fmla="*/ 3515761 h 4687251"/>
              <a:gd name="connsiteX31637" fmla="*/ 3009817 w 8079933"/>
              <a:gd name="connsiteY31637" fmla="*/ 3526589 h 4687251"/>
              <a:gd name="connsiteX31638" fmla="*/ 3003089 w 8079933"/>
              <a:gd name="connsiteY31638" fmla="*/ 3537416 h 4687251"/>
              <a:gd name="connsiteX31639" fmla="*/ 3004283 w 8079933"/>
              <a:gd name="connsiteY31639" fmla="*/ 3538065 h 4687251"/>
              <a:gd name="connsiteX31640" fmla="*/ 3003415 w 8079933"/>
              <a:gd name="connsiteY31640" fmla="*/ 3542830 h 4687251"/>
              <a:gd name="connsiteX31641" fmla="*/ 2999399 w 8079933"/>
              <a:gd name="connsiteY31641" fmla="*/ 3545644 h 4687251"/>
              <a:gd name="connsiteX31642" fmla="*/ 2997121 w 8079933"/>
              <a:gd name="connsiteY31642" fmla="*/ 3547485 h 4687251"/>
              <a:gd name="connsiteX31643" fmla="*/ 2997121 w 8079933"/>
              <a:gd name="connsiteY31643" fmla="*/ 3552140 h 4687251"/>
              <a:gd name="connsiteX31644" fmla="*/ 2993756 w 8079933"/>
              <a:gd name="connsiteY31644" fmla="*/ 3556255 h 4687251"/>
              <a:gd name="connsiteX31645" fmla="*/ 2990826 w 8079933"/>
              <a:gd name="connsiteY31645" fmla="*/ 3562426 h 4687251"/>
              <a:gd name="connsiteX31646" fmla="*/ 2994842 w 8079933"/>
              <a:gd name="connsiteY31646" fmla="*/ 3571521 h 4687251"/>
              <a:gd name="connsiteX31647" fmla="*/ 2996144 w 8079933"/>
              <a:gd name="connsiteY31647" fmla="*/ 3573362 h 4687251"/>
              <a:gd name="connsiteX31648" fmla="*/ 2994733 w 8079933"/>
              <a:gd name="connsiteY31648" fmla="*/ 3576285 h 4687251"/>
              <a:gd name="connsiteX31649" fmla="*/ 2990067 w 8079933"/>
              <a:gd name="connsiteY31649" fmla="*/ 3579100 h 4687251"/>
              <a:gd name="connsiteX31650" fmla="*/ 2981060 w 8079933"/>
              <a:gd name="connsiteY31650" fmla="*/ 3582348 h 4687251"/>
              <a:gd name="connsiteX31651" fmla="*/ 2970208 w 8079933"/>
              <a:gd name="connsiteY31651" fmla="*/ 3589711 h 4687251"/>
              <a:gd name="connsiteX31652" fmla="*/ 2969558 w 8079933"/>
              <a:gd name="connsiteY31652" fmla="*/ 3592093 h 4687251"/>
              <a:gd name="connsiteX31653" fmla="*/ 2970751 w 8079933"/>
              <a:gd name="connsiteY31653" fmla="*/ 3593283 h 4687251"/>
              <a:gd name="connsiteX31654" fmla="*/ 2970751 w 8079933"/>
              <a:gd name="connsiteY31654" fmla="*/ 3595666 h 4687251"/>
              <a:gd name="connsiteX31655" fmla="*/ 2965977 w 8079933"/>
              <a:gd name="connsiteY31655" fmla="*/ 3598913 h 4687251"/>
              <a:gd name="connsiteX31656" fmla="*/ 2958054 w 8079933"/>
              <a:gd name="connsiteY31656" fmla="*/ 3598047 h 4687251"/>
              <a:gd name="connsiteX31657" fmla="*/ 2951543 w 8079933"/>
              <a:gd name="connsiteY31657" fmla="*/ 3598047 h 4687251"/>
              <a:gd name="connsiteX31658" fmla="*/ 2947637 w 8079933"/>
              <a:gd name="connsiteY31658" fmla="*/ 3600213 h 4687251"/>
              <a:gd name="connsiteX31659" fmla="*/ 2940692 w 8079933"/>
              <a:gd name="connsiteY31659" fmla="*/ 3599239 h 4687251"/>
              <a:gd name="connsiteX31660" fmla="*/ 2940041 w 8079933"/>
              <a:gd name="connsiteY31660" fmla="*/ 3595124 h 4687251"/>
              <a:gd name="connsiteX31661" fmla="*/ 2941017 w 8079933"/>
              <a:gd name="connsiteY31661" fmla="*/ 3592417 h 4687251"/>
              <a:gd name="connsiteX31662" fmla="*/ 2938304 w 8079933"/>
              <a:gd name="connsiteY31662" fmla="*/ 3592417 h 4687251"/>
              <a:gd name="connsiteX31663" fmla="*/ 2935375 w 8079933"/>
              <a:gd name="connsiteY31663" fmla="*/ 3594907 h 4687251"/>
              <a:gd name="connsiteX31664" fmla="*/ 2936351 w 8079933"/>
              <a:gd name="connsiteY31664" fmla="*/ 3596748 h 4687251"/>
              <a:gd name="connsiteX31665" fmla="*/ 2925500 w 8079933"/>
              <a:gd name="connsiteY31665" fmla="*/ 3601187 h 4687251"/>
              <a:gd name="connsiteX31666" fmla="*/ 2916276 w 8079933"/>
              <a:gd name="connsiteY31666" fmla="*/ 3604652 h 4687251"/>
              <a:gd name="connsiteX31667" fmla="*/ 2914323 w 8079933"/>
              <a:gd name="connsiteY31667" fmla="*/ 3603136 h 4687251"/>
              <a:gd name="connsiteX31668" fmla="*/ 2915516 w 8079933"/>
              <a:gd name="connsiteY31668" fmla="*/ 3601729 h 4687251"/>
              <a:gd name="connsiteX31669" fmla="*/ 2921593 w 8079933"/>
              <a:gd name="connsiteY31669" fmla="*/ 3600538 h 4687251"/>
              <a:gd name="connsiteX31670" fmla="*/ 2927345 w 8079933"/>
              <a:gd name="connsiteY31670" fmla="*/ 3597289 h 4687251"/>
              <a:gd name="connsiteX31671" fmla="*/ 2927345 w 8079933"/>
              <a:gd name="connsiteY31671" fmla="*/ 3595340 h 4687251"/>
              <a:gd name="connsiteX31672" fmla="*/ 2923329 w 8079933"/>
              <a:gd name="connsiteY31672" fmla="*/ 3595340 h 4687251"/>
              <a:gd name="connsiteX31673" fmla="*/ 2920399 w 8079933"/>
              <a:gd name="connsiteY31673" fmla="*/ 3597614 h 4687251"/>
              <a:gd name="connsiteX31674" fmla="*/ 2916384 w 8079933"/>
              <a:gd name="connsiteY31674" fmla="*/ 3597614 h 4687251"/>
              <a:gd name="connsiteX31675" fmla="*/ 2912803 w 8079933"/>
              <a:gd name="connsiteY31675" fmla="*/ 3596640 h 4687251"/>
              <a:gd name="connsiteX31676" fmla="*/ 2906618 w 8079933"/>
              <a:gd name="connsiteY31676" fmla="*/ 3600429 h 4687251"/>
              <a:gd name="connsiteX31677" fmla="*/ 2903037 w 8079933"/>
              <a:gd name="connsiteY31677" fmla="*/ 3601296 h 4687251"/>
              <a:gd name="connsiteX31678" fmla="*/ 2904556 w 8079933"/>
              <a:gd name="connsiteY31678" fmla="*/ 3604218 h 4687251"/>
              <a:gd name="connsiteX31679" fmla="*/ 2907812 w 8079933"/>
              <a:gd name="connsiteY31679" fmla="*/ 3604869 h 4687251"/>
              <a:gd name="connsiteX31680" fmla="*/ 2910199 w 8079933"/>
              <a:gd name="connsiteY31680" fmla="*/ 3606384 h 4687251"/>
              <a:gd name="connsiteX31681" fmla="*/ 2910199 w 8079933"/>
              <a:gd name="connsiteY31681" fmla="*/ 3608225 h 4687251"/>
              <a:gd name="connsiteX31682" fmla="*/ 2906292 w 8079933"/>
              <a:gd name="connsiteY31682" fmla="*/ 3609416 h 4687251"/>
              <a:gd name="connsiteX31683" fmla="*/ 2896091 w 8079933"/>
              <a:gd name="connsiteY31683" fmla="*/ 3615803 h 4687251"/>
              <a:gd name="connsiteX31684" fmla="*/ 2892511 w 8079933"/>
              <a:gd name="connsiteY31684" fmla="*/ 3622192 h 4687251"/>
              <a:gd name="connsiteX31685" fmla="*/ 2892511 w 8079933"/>
              <a:gd name="connsiteY31685" fmla="*/ 3625657 h 4687251"/>
              <a:gd name="connsiteX31686" fmla="*/ 2888930 w 8079933"/>
              <a:gd name="connsiteY31686" fmla="*/ 3624790 h 4687251"/>
              <a:gd name="connsiteX31687" fmla="*/ 2885782 w 8079933"/>
              <a:gd name="connsiteY31687" fmla="*/ 3622192 h 4687251"/>
              <a:gd name="connsiteX31688" fmla="*/ 2879706 w 8079933"/>
              <a:gd name="connsiteY31688" fmla="*/ 3622192 h 4687251"/>
              <a:gd name="connsiteX31689" fmla="*/ 2874497 w 8079933"/>
              <a:gd name="connsiteY31689" fmla="*/ 3626306 h 4687251"/>
              <a:gd name="connsiteX31690" fmla="*/ 2869831 w 8079933"/>
              <a:gd name="connsiteY31690" fmla="*/ 3630745 h 4687251"/>
              <a:gd name="connsiteX31691" fmla="*/ 2861257 w 8079933"/>
              <a:gd name="connsiteY31691" fmla="*/ 3631828 h 4687251"/>
              <a:gd name="connsiteX31692" fmla="*/ 2851491 w 8079933"/>
              <a:gd name="connsiteY31692" fmla="*/ 3642655 h 4687251"/>
              <a:gd name="connsiteX31693" fmla="*/ 2844112 w 8079933"/>
              <a:gd name="connsiteY31693" fmla="*/ 3647419 h 4687251"/>
              <a:gd name="connsiteX31694" fmla="*/ 2837710 w 8079933"/>
              <a:gd name="connsiteY31694" fmla="*/ 3652940 h 4687251"/>
              <a:gd name="connsiteX31695" fmla="*/ 2837710 w 8079933"/>
              <a:gd name="connsiteY31695" fmla="*/ 3655322 h 4687251"/>
              <a:gd name="connsiteX31696" fmla="*/ 2833261 w 8079933"/>
              <a:gd name="connsiteY31696" fmla="*/ 3658246 h 4687251"/>
              <a:gd name="connsiteX31697" fmla="*/ 2825664 w 8079933"/>
              <a:gd name="connsiteY31697" fmla="*/ 3665283 h 4687251"/>
              <a:gd name="connsiteX31698" fmla="*/ 2823277 w 8079933"/>
              <a:gd name="connsiteY31698" fmla="*/ 3663443 h 4687251"/>
              <a:gd name="connsiteX31699" fmla="*/ 2820130 w 8079933"/>
              <a:gd name="connsiteY31699" fmla="*/ 3667882 h 4687251"/>
              <a:gd name="connsiteX31700" fmla="*/ 2815355 w 8079933"/>
              <a:gd name="connsiteY31700" fmla="*/ 3669289 h 4687251"/>
              <a:gd name="connsiteX31701" fmla="*/ 2821215 w 8079933"/>
              <a:gd name="connsiteY31701" fmla="*/ 3671888 h 4687251"/>
              <a:gd name="connsiteX31702" fmla="*/ 2821215 w 8079933"/>
              <a:gd name="connsiteY31702" fmla="*/ 3676544 h 4687251"/>
              <a:gd name="connsiteX31703" fmla="*/ 2815573 w 8079933"/>
              <a:gd name="connsiteY31703" fmla="*/ 3677952 h 4687251"/>
              <a:gd name="connsiteX31704" fmla="*/ 2818502 w 8079933"/>
              <a:gd name="connsiteY31704" fmla="*/ 3679683 h 4687251"/>
              <a:gd name="connsiteX31705" fmla="*/ 2820021 w 8079933"/>
              <a:gd name="connsiteY31705" fmla="*/ 3683689 h 4687251"/>
              <a:gd name="connsiteX31706" fmla="*/ 2813945 w 8079933"/>
              <a:gd name="connsiteY31706" fmla="*/ 3684880 h 4687251"/>
              <a:gd name="connsiteX31707" fmla="*/ 2812100 w 8079933"/>
              <a:gd name="connsiteY31707" fmla="*/ 3686613 h 4687251"/>
              <a:gd name="connsiteX31708" fmla="*/ 2814487 w 8079933"/>
              <a:gd name="connsiteY31708" fmla="*/ 3693867 h 4687251"/>
              <a:gd name="connsiteX31709" fmla="*/ 2816006 w 8079933"/>
              <a:gd name="connsiteY31709" fmla="*/ 3700688 h 4687251"/>
              <a:gd name="connsiteX31710" fmla="*/ 2816874 w 8079933"/>
              <a:gd name="connsiteY31710" fmla="*/ 3703828 h 4687251"/>
              <a:gd name="connsiteX31711" fmla="*/ 2816006 w 8079933"/>
              <a:gd name="connsiteY31711" fmla="*/ 3706751 h 4687251"/>
              <a:gd name="connsiteX31712" fmla="*/ 2816006 w 8079933"/>
              <a:gd name="connsiteY31712" fmla="*/ 3709675 h 4687251"/>
              <a:gd name="connsiteX31713" fmla="*/ 2820672 w 8079933"/>
              <a:gd name="connsiteY31713" fmla="*/ 3716171 h 4687251"/>
              <a:gd name="connsiteX31714" fmla="*/ 2820672 w 8079933"/>
              <a:gd name="connsiteY31714" fmla="*/ 3720934 h 4687251"/>
              <a:gd name="connsiteX31715" fmla="*/ 2821758 w 8079933"/>
              <a:gd name="connsiteY31715" fmla="*/ 3722558 h 4687251"/>
              <a:gd name="connsiteX31716" fmla="*/ 2822843 w 8079933"/>
              <a:gd name="connsiteY31716" fmla="*/ 3723966 h 4687251"/>
              <a:gd name="connsiteX31717" fmla="*/ 2821758 w 8079933"/>
              <a:gd name="connsiteY31717" fmla="*/ 3727106 h 4687251"/>
              <a:gd name="connsiteX31718" fmla="*/ 2822843 w 8079933"/>
              <a:gd name="connsiteY31718" fmla="*/ 3731436 h 4687251"/>
              <a:gd name="connsiteX31719" fmla="*/ 2819696 w 8079933"/>
              <a:gd name="connsiteY31719" fmla="*/ 3733278 h 4687251"/>
              <a:gd name="connsiteX31720" fmla="*/ 2817959 w 8079933"/>
              <a:gd name="connsiteY31720" fmla="*/ 3738583 h 4687251"/>
              <a:gd name="connsiteX31721" fmla="*/ 2815681 w 8079933"/>
              <a:gd name="connsiteY31721" fmla="*/ 3739232 h 4687251"/>
              <a:gd name="connsiteX31722" fmla="*/ 2815681 w 8079933"/>
              <a:gd name="connsiteY31722" fmla="*/ 3742480 h 4687251"/>
              <a:gd name="connsiteX31723" fmla="*/ 2816766 w 8079933"/>
              <a:gd name="connsiteY31723" fmla="*/ 3743779 h 4687251"/>
              <a:gd name="connsiteX31724" fmla="*/ 2815030 w 8079933"/>
              <a:gd name="connsiteY31724" fmla="*/ 3747569 h 4687251"/>
              <a:gd name="connsiteX31725" fmla="*/ 2804178 w 8079933"/>
              <a:gd name="connsiteY31725" fmla="*/ 3760237 h 4687251"/>
              <a:gd name="connsiteX31726" fmla="*/ 2793327 w 8079933"/>
              <a:gd name="connsiteY31726" fmla="*/ 3780916 h 4687251"/>
              <a:gd name="connsiteX31727" fmla="*/ 2788986 w 8079933"/>
              <a:gd name="connsiteY31727" fmla="*/ 3793259 h 4687251"/>
              <a:gd name="connsiteX31728" fmla="*/ 2784645 w 8079933"/>
              <a:gd name="connsiteY31728" fmla="*/ 3802896 h 4687251"/>
              <a:gd name="connsiteX31729" fmla="*/ 2773793 w 8079933"/>
              <a:gd name="connsiteY31729" fmla="*/ 3821951 h 4687251"/>
              <a:gd name="connsiteX31730" fmla="*/ 2766089 w 8079933"/>
              <a:gd name="connsiteY31730" fmla="*/ 3830721 h 4687251"/>
              <a:gd name="connsiteX31731" fmla="*/ 2750897 w 8079933"/>
              <a:gd name="connsiteY31731" fmla="*/ 3842522 h 4687251"/>
              <a:gd name="connsiteX31732" fmla="*/ 2746231 w 8079933"/>
              <a:gd name="connsiteY31732" fmla="*/ 3841115 h 4687251"/>
              <a:gd name="connsiteX31733" fmla="*/ 2746231 w 8079933"/>
              <a:gd name="connsiteY31733" fmla="*/ 3838516 h 4687251"/>
              <a:gd name="connsiteX31734" fmla="*/ 2748184 w 8079933"/>
              <a:gd name="connsiteY31734" fmla="*/ 3836676 h 4687251"/>
              <a:gd name="connsiteX31735" fmla="*/ 2752090 w 8079933"/>
              <a:gd name="connsiteY31735" fmla="*/ 3836026 h 4687251"/>
              <a:gd name="connsiteX31736" fmla="*/ 2752090 w 8079933"/>
              <a:gd name="connsiteY31736" fmla="*/ 3833428 h 4687251"/>
              <a:gd name="connsiteX31737" fmla="*/ 2755671 w 8079933"/>
              <a:gd name="connsiteY31737" fmla="*/ 3830288 h 4687251"/>
              <a:gd name="connsiteX31738" fmla="*/ 2760663 w 8079933"/>
              <a:gd name="connsiteY31738" fmla="*/ 3827581 h 4687251"/>
              <a:gd name="connsiteX31739" fmla="*/ 2762182 w 8079933"/>
              <a:gd name="connsiteY31739" fmla="*/ 3827581 h 4687251"/>
              <a:gd name="connsiteX31740" fmla="*/ 2763919 w 8079933"/>
              <a:gd name="connsiteY31740" fmla="*/ 3824333 h 4687251"/>
              <a:gd name="connsiteX31741" fmla="*/ 2764569 w 8079933"/>
              <a:gd name="connsiteY31741" fmla="*/ 3818270 h 4687251"/>
              <a:gd name="connsiteX31742" fmla="*/ 2769562 w 8079933"/>
              <a:gd name="connsiteY31742" fmla="*/ 3818270 h 4687251"/>
              <a:gd name="connsiteX31743" fmla="*/ 2775096 w 8079933"/>
              <a:gd name="connsiteY31743" fmla="*/ 3808742 h 4687251"/>
              <a:gd name="connsiteX31744" fmla="*/ 2777375 w 8079933"/>
              <a:gd name="connsiteY31744" fmla="*/ 3800513 h 4687251"/>
              <a:gd name="connsiteX31745" fmla="*/ 2779219 w 8079933"/>
              <a:gd name="connsiteY31745" fmla="*/ 3800513 h 4687251"/>
              <a:gd name="connsiteX31746" fmla="*/ 2779219 w 8079933"/>
              <a:gd name="connsiteY31746" fmla="*/ 3796399 h 4687251"/>
              <a:gd name="connsiteX31747" fmla="*/ 2777700 w 8079933"/>
              <a:gd name="connsiteY31747" fmla="*/ 3794884 h 4687251"/>
              <a:gd name="connsiteX31748" fmla="*/ 2775313 w 8079933"/>
              <a:gd name="connsiteY31748" fmla="*/ 3796291 h 4687251"/>
              <a:gd name="connsiteX31749" fmla="*/ 2773034 w 8079933"/>
              <a:gd name="connsiteY31749" fmla="*/ 3796291 h 4687251"/>
              <a:gd name="connsiteX31750" fmla="*/ 2767391 w 8079933"/>
              <a:gd name="connsiteY31750" fmla="*/ 3790120 h 4687251"/>
              <a:gd name="connsiteX31751" fmla="*/ 2764678 w 8079933"/>
              <a:gd name="connsiteY31751" fmla="*/ 3784489 h 4687251"/>
              <a:gd name="connsiteX31752" fmla="*/ 2762291 w 8079933"/>
              <a:gd name="connsiteY31752" fmla="*/ 3783840 h 4687251"/>
              <a:gd name="connsiteX31753" fmla="*/ 2764352 w 8079933"/>
              <a:gd name="connsiteY31753" fmla="*/ 3785680 h 4687251"/>
              <a:gd name="connsiteX31754" fmla="*/ 2764352 w 8079933"/>
              <a:gd name="connsiteY31754" fmla="*/ 3792935 h 4687251"/>
              <a:gd name="connsiteX31755" fmla="*/ 2766957 w 8079933"/>
              <a:gd name="connsiteY31755" fmla="*/ 3795641 h 4687251"/>
              <a:gd name="connsiteX31756" fmla="*/ 2768150 w 8079933"/>
              <a:gd name="connsiteY31756" fmla="*/ 3799105 h 4687251"/>
              <a:gd name="connsiteX31757" fmla="*/ 2766414 w 8079933"/>
              <a:gd name="connsiteY31757" fmla="*/ 3803761 h 4687251"/>
              <a:gd name="connsiteX31758" fmla="*/ 2762616 w 8079933"/>
              <a:gd name="connsiteY31758" fmla="*/ 3803761 h 4687251"/>
              <a:gd name="connsiteX31759" fmla="*/ 2760880 w 8079933"/>
              <a:gd name="connsiteY31759" fmla="*/ 3806035 h 4687251"/>
              <a:gd name="connsiteX31760" fmla="*/ 2760880 w 8079933"/>
              <a:gd name="connsiteY31760" fmla="*/ 3811557 h 4687251"/>
              <a:gd name="connsiteX31761" fmla="*/ 2759361 w 8079933"/>
              <a:gd name="connsiteY31761" fmla="*/ 3813181 h 4687251"/>
              <a:gd name="connsiteX31762" fmla="*/ 2759361 w 8079933"/>
              <a:gd name="connsiteY31762" fmla="*/ 3817945 h 4687251"/>
              <a:gd name="connsiteX31763" fmla="*/ 2755346 w 8079933"/>
              <a:gd name="connsiteY31763" fmla="*/ 3822600 h 4687251"/>
              <a:gd name="connsiteX31764" fmla="*/ 2752090 w 8079933"/>
              <a:gd name="connsiteY31764" fmla="*/ 3822600 h 4687251"/>
              <a:gd name="connsiteX31765" fmla="*/ 2749703 w 8079933"/>
              <a:gd name="connsiteY31765" fmla="*/ 3820652 h 4687251"/>
              <a:gd name="connsiteX31766" fmla="*/ 2749703 w 8079933"/>
              <a:gd name="connsiteY31766" fmla="*/ 3824116 h 4687251"/>
              <a:gd name="connsiteX31767" fmla="*/ 2745687 w 8079933"/>
              <a:gd name="connsiteY31767" fmla="*/ 3828555 h 4687251"/>
              <a:gd name="connsiteX31768" fmla="*/ 2745687 w 8079933"/>
              <a:gd name="connsiteY31768" fmla="*/ 3831587 h 4687251"/>
              <a:gd name="connsiteX31769" fmla="*/ 2742215 w 8079933"/>
              <a:gd name="connsiteY31769" fmla="*/ 3833320 h 4687251"/>
              <a:gd name="connsiteX31770" fmla="*/ 2740479 w 8079933"/>
              <a:gd name="connsiteY31770" fmla="*/ 3838083 h 4687251"/>
              <a:gd name="connsiteX31771" fmla="*/ 2743951 w 8079933"/>
              <a:gd name="connsiteY31771" fmla="*/ 3843714 h 4687251"/>
              <a:gd name="connsiteX31772" fmla="*/ 2746013 w 8079933"/>
              <a:gd name="connsiteY31772" fmla="*/ 3846312 h 4687251"/>
              <a:gd name="connsiteX31773" fmla="*/ 2744494 w 8079933"/>
              <a:gd name="connsiteY31773" fmla="*/ 3848585 h 4687251"/>
              <a:gd name="connsiteX31774" fmla="*/ 2740913 w 8079933"/>
              <a:gd name="connsiteY31774" fmla="*/ 3859412 h 4687251"/>
              <a:gd name="connsiteX31775" fmla="*/ 2736898 w 8079933"/>
              <a:gd name="connsiteY31775" fmla="*/ 3876087 h 4687251"/>
              <a:gd name="connsiteX31776" fmla="*/ 2733860 w 8079933"/>
              <a:gd name="connsiteY31776" fmla="*/ 3883340 h 4687251"/>
              <a:gd name="connsiteX31777" fmla="*/ 2725178 w 8079933"/>
              <a:gd name="connsiteY31777" fmla="*/ 3890486 h 4687251"/>
              <a:gd name="connsiteX31778" fmla="*/ 2723876 w 8079933"/>
              <a:gd name="connsiteY31778" fmla="*/ 3889403 h 4687251"/>
              <a:gd name="connsiteX31779" fmla="*/ 2721054 w 8079933"/>
              <a:gd name="connsiteY31779" fmla="*/ 3885722 h 4687251"/>
              <a:gd name="connsiteX31780" fmla="*/ 2720403 w 8079933"/>
              <a:gd name="connsiteY31780" fmla="*/ 3884531 h 4687251"/>
              <a:gd name="connsiteX31781" fmla="*/ 2719535 w 8079933"/>
              <a:gd name="connsiteY31781" fmla="*/ 3882799 h 4687251"/>
              <a:gd name="connsiteX31782" fmla="*/ 2717256 w 8079933"/>
              <a:gd name="connsiteY31782" fmla="*/ 3875545 h 4687251"/>
              <a:gd name="connsiteX31783" fmla="*/ 2721706 w 8079933"/>
              <a:gd name="connsiteY31783" fmla="*/ 3869374 h 4687251"/>
              <a:gd name="connsiteX31784" fmla="*/ 2722672 w 8079933"/>
              <a:gd name="connsiteY31784" fmla="*/ 3862727 h 4687251"/>
              <a:gd name="connsiteX31785" fmla="*/ 2721598 w 8079933"/>
              <a:gd name="connsiteY31785" fmla="*/ 3869373 h 4687251"/>
              <a:gd name="connsiteX31786" fmla="*/ 2717148 w 8079933"/>
              <a:gd name="connsiteY31786" fmla="*/ 3875546 h 4687251"/>
              <a:gd name="connsiteX31787" fmla="*/ 2719427 w 8079933"/>
              <a:gd name="connsiteY31787" fmla="*/ 3882799 h 4687251"/>
              <a:gd name="connsiteX31788" fmla="*/ 2720295 w 8079933"/>
              <a:gd name="connsiteY31788" fmla="*/ 3884532 h 4687251"/>
              <a:gd name="connsiteX31789" fmla="*/ 2720946 w 8079933"/>
              <a:gd name="connsiteY31789" fmla="*/ 3885723 h 4687251"/>
              <a:gd name="connsiteX31790" fmla="*/ 2723659 w 8079933"/>
              <a:gd name="connsiteY31790" fmla="*/ 3889512 h 4687251"/>
              <a:gd name="connsiteX31791" fmla="*/ 2725070 w 8079933"/>
              <a:gd name="connsiteY31791" fmla="*/ 3890595 h 4687251"/>
              <a:gd name="connsiteX31792" fmla="*/ 2723008 w 8079933"/>
              <a:gd name="connsiteY31792" fmla="*/ 3892218 h 4687251"/>
              <a:gd name="connsiteX31793" fmla="*/ 2719210 w 8079933"/>
              <a:gd name="connsiteY31793" fmla="*/ 3896658 h 4687251"/>
              <a:gd name="connsiteX31794" fmla="*/ 2719210 w 8079933"/>
              <a:gd name="connsiteY31794" fmla="*/ 3903371 h 4687251"/>
              <a:gd name="connsiteX31795" fmla="*/ 2714652 w 8079933"/>
              <a:gd name="connsiteY31795" fmla="*/ 3907701 h 4687251"/>
              <a:gd name="connsiteX31796" fmla="*/ 2712265 w 8079933"/>
              <a:gd name="connsiteY31796" fmla="*/ 3911383 h 4687251"/>
              <a:gd name="connsiteX31797" fmla="*/ 2713134 w 8079933"/>
              <a:gd name="connsiteY31797" fmla="*/ 3912140 h 4687251"/>
              <a:gd name="connsiteX31798" fmla="*/ 2711614 w 8079933"/>
              <a:gd name="connsiteY31798" fmla="*/ 3914631 h 4687251"/>
              <a:gd name="connsiteX31799" fmla="*/ 2705863 w 8079933"/>
              <a:gd name="connsiteY31799" fmla="*/ 3921344 h 4687251"/>
              <a:gd name="connsiteX31800" fmla="*/ 2696965 w 8079933"/>
              <a:gd name="connsiteY31800" fmla="*/ 3924592 h 4687251"/>
              <a:gd name="connsiteX31801" fmla="*/ 2694902 w 8079933"/>
              <a:gd name="connsiteY31801" fmla="*/ 3922860 h 4687251"/>
              <a:gd name="connsiteX31802" fmla="*/ 2693709 w 8079933"/>
              <a:gd name="connsiteY31802" fmla="*/ 3923726 h 4687251"/>
              <a:gd name="connsiteX31803" fmla="*/ 2693166 w 8079933"/>
              <a:gd name="connsiteY31803" fmla="*/ 3926540 h 4687251"/>
              <a:gd name="connsiteX31804" fmla="*/ 2690779 w 8079933"/>
              <a:gd name="connsiteY31804" fmla="*/ 3928273 h 4687251"/>
              <a:gd name="connsiteX31805" fmla="*/ 2687306 w 8079933"/>
              <a:gd name="connsiteY31805" fmla="*/ 3927948 h 4687251"/>
              <a:gd name="connsiteX31806" fmla="*/ 2683725 w 8079933"/>
              <a:gd name="connsiteY31806" fmla="*/ 3926540 h 4687251"/>
              <a:gd name="connsiteX31807" fmla="*/ 2681230 w 8079933"/>
              <a:gd name="connsiteY31807" fmla="*/ 3927082 h 4687251"/>
              <a:gd name="connsiteX31808" fmla="*/ 2678191 w 8079933"/>
              <a:gd name="connsiteY31808" fmla="*/ 3925350 h 4687251"/>
              <a:gd name="connsiteX31809" fmla="*/ 2673525 w 8079933"/>
              <a:gd name="connsiteY31809" fmla="*/ 3923617 h 4687251"/>
              <a:gd name="connsiteX31810" fmla="*/ 2666796 w 8079933"/>
              <a:gd name="connsiteY31810" fmla="*/ 3924809 h 4687251"/>
              <a:gd name="connsiteX31811" fmla="*/ 2661588 w 8079933"/>
              <a:gd name="connsiteY31811" fmla="*/ 3928056 h 4687251"/>
              <a:gd name="connsiteX31812" fmla="*/ 2656705 w 8079933"/>
              <a:gd name="connsiteY31812" fmla="*/ 3927840 h 4687251"/>
              <a:gd name="connsiteX31813" fmla="*/ 2656813 w 8079933"/>
              <a:gd name="connsiteY31813" fmla="*/ 3925350 h 4687251"/>
              <a:gd name="connsiteX31814" fmla="*/ 2657464 w 8079933"/>
              <a:gd name="connsiteY31814" fmla="*/ 3923509 h 4687251"/>
              <a:gd name="connsiteX31815" fmla="*/ 2656270 w 8079933"/>
              <a:gd name="connsiteY31815" fmla="*/ 3922318 h 4687251"/>
              <a:gd name="connsiteX31816" fmla="*/ 2652581 w 8079933"/>
              <a:gd name="connsiteY31816" fmla="*/ 3922101 h 4687251"/>
              <a:gd name="connsiteX31817" fmla="*/ 2648891 w 8079933"/>
              <a:gd name="connsiteY31817" fmla="*/ 3921452 h 4687251"/>
              <a:gd name="connsiteX31818" fmla="*/ 2643248 w 8079933"/>
              <a:gd name="connsiteY31818" fmla="*/ 3917554 h 4687251"/>
              <a:gd name="connsiteX31819" fmla="*/ 2637063 w 8079933"/>
              <a:gd name="connsiteY31819" fmla="*/ 3917121 h 4687251"/>
              <a:gd name="connsiteX31820" fmla="*/ 2626537 w 8079933"/>
              <a:gd name="connsiteY31820" fmla="*/ 3918095 h 4687251"/>
              <a:gd name="connsiteX31821" fmla="*/ 2622956 w 8079933"/>
              <a:gd name="connsiteY31821" fmla="*/ 3917229 h 4687251"/>
              <a:gd name="connsiteX31822" fmla="*/ 2616336 w 8079933"/>
              <a:gd name="connsiteY31822" fmla="*/ 3910625 h 4687251"/>
              <a:gd name="connsiteX31823" fmla="*/ 2613949 w 8079933"/>
              <a:gd name="connsiteY31823" fmla="*/ 3910084 h 4687251"/>
              <a:gd name="connsiteX31824" fmla="*/ 2606895 w 8079933"/>
              <a:gd name="connsiteY31824" fmla="*/ 3900339 h 4687251"/>
              <a:gd name="connsiteX31825" fmla="*/ 2603640 w 8079933"/>
              <a:gd name="connsiteY31825" fmla="*/ 3891894 h 4687251"/>
              <a:gd name="connsiteX31826" fmla="*/ 2603423 w 8079933"/>
              <a:gd name="connsiteY31826" fmla="*/ 3881283 h 4687251"/>
              <a:gd name="connsiteX31827" fmla="*/ 2603531 w 8079933"/>
              <a:gd name="connsiteY31827" fmla="*/ 3880850 h 4687251"/>
              <a:gd name="connsiteX31828" fmla="*/ 2604400 w 8079933"/>
              <a:gd name="connsiteY31828" fmla="*/ 3879226 h 4687251"/>
              <a:gd name="connsiteX31829" fmla="*/ 2607981 w 8079933"/>
              <a:gd name="connsiteY31829" fmla="*/ 3875978 h 4687251"/>
              <a:gd name="connsiteX31830" fmla="*/ 2609499 w 8079933"/>
              <a:gd name="connsiteY31830" fmla="*/ 3872514 h 4687251"/>
              <a:gd name="connsiteX31831" fmla="*/ 2609499 w 8079933"/>
              <a:gd name="connsiteY31831" fmla="*/ 3872513 h 4687251"/>
              <a:gd name="connsiteX31832" fmla="*/ 2607981 w 8079933"/>
              <a:gd name="connsiteY31832" fmla="*/ 3875977 h 4687251"/>
              <a:gd name="connsiteX31833" fmla="*/ 2604399 w 8079933"/>
              <a:gd name="connsiteY31833" fmla="*/ 3879226 h 4687251"/>
              <a:gd name="connsiteX31834" fmla="*/ 2603531 w 8079933"/>
              <a:gd name="connsiteY31834" fmla="*/ 3880850 h 4687251"/>
              <a:gd name="connsiteX31835" fmla="*/ 2603423 w 8079933"/>
              <a:gd name="connsiteY31835" fmla="*/ 3881283 h 4687251"/>
              <a:gd name="connsiteX31836" fmla="*/ 2602229 w 8079933"/>
              <a:gd name="connsiteY31836" fmla="*/ 3891027 h 4687251"/>
              <a:gd name="connsiteX31837" fmla="*/ 2603965 w 8079933"/>
              <a:gd name="connsiteY31837" fmla="*/ 3899689 h 4687251"/>
              <a:gd name="connsiteX31838" fmla="*/ 2602988 w 8079933"/>
              <a:gd name="connsiteY31838" fmla="*/ 3902287 h 4687251"/>
              <a:gd name="connsiteX31839" fmla="*/ 2606027 w 8079933"/>
              <a:gd name="connsiteY31839" fmla="*/ 3905427 h 4687251"/>
              <a:gd name="connsiteX31840" fmla="*/ 2606244 w 8079933"/>
              <a:gd name="connsiteY31840" fmla="*/ 3909542 h 4687251"/>
              <a:gd name="connsiteX31841" fmla="*/ 2604724 w 8079933"/>
              <a:gd name="connsiteY31841" fmla="*/ 3911058 h 4687251"/>
              <a:gd name="connsiteX31842" fmla="*/ 2607112 w 8079933"/>
              <a:gd name="connsiteY31842" fmla="*/ 3915388 h 4687251"/>
              <a:gd name="connsiteX31843" fmla="*/ 2617095 w 8079933"/>
              <a:gd name="connsiteY31843" fmla="*/ 3923184 h 4687251"/>
              <a:gd name="connsiteX31844" fmla="*/ 2627079 w 8079933"/>
              <a:gd name="connsiteY31844" fmla="*/ 3926974 h 4687251"/>
              <a:gd name="connsiteX31845" fmla="*/ 2639450 w 8079933"/>
              <a:gd name="connsiteY31845" fmla="*/ 3936501 h 4687251"/>
              <a:gd name="connsiteX31846" fmla="*/ 2642271 w 8079933"/>
              <a:gd name="connsiteY31846" fmla="*/ 3939966 h 4687251"/>
              <a:gd name="connsiteX31847" fmla="*/ 2641946 w 8079933"/>
              <a:gd name="connsiteY31847" fmla="*/ 3944838 h 4687251"/>
              <a:gd name="connsiteX31848" fmla="*/ 2636086 w 8079933"/>
              <a:gd name="connsiteY31848" fmla="*/ 3956531 h 4687251"/>
              <a:gd name="connsiteX31849" fmla="*/ 2635652 w 8079933"/>
              <a:gd name="connsiteY31849" fmla="*/ 3959996 h 4687251"/>
              <a:gd name="connsiteX31850" fmla="*/ 2639341 w 8079933"/>
              <a:gd name="connsiteY31850" fmla="*/ 3966817 h 4687251"/>
              <a:gd name="connsiteX31851" fmla="*/ 2645527 w 8079933"/>
              <a:gd name="connsiteY31851" fmla="*/ 3970931 h 4687251"/>
              <a:gd name="connsiteX31852" fmla="*/ 2650736 w 8079933"/>
              <a:gd name="connsiteY31852" fmla="*/ 3971147 h 4687251"/>
              <a:gd name="connsiteX31853" fmla="*/ 2653774 w 8079933"/>
              <a:gd name="connsiteY31853" fmla="*/ 3967900 h 4687251"/>
              <a:gd name="connsiteX31854" fmla="*/ 2654968 w 8079933"/>
              <a:gd name="connsiteY31854" fmla="*/ 3968007 h 4687251"/>
              <a:gd name="connsiteX31855" fmla="*/ 2656053 w 8079933"/>
              <a:gd name="connsiteY31855" fmla="*/ 3972013 h 4687251"/>
              <a:gd name="connsiteX31856" fmla="*/ 2656053 w 8079933"/>
              <a:gd name="connsiteY31856" fmla="*/ 3982083 h 4687251"/>
              <a:gd name="connsiteX31857" fmla="*/ 2654968 w 8079933"/>
              <a:gd name="connsiteY31857" fmla="*/ 3986739 h 4687251"/>
              <a:gd name="connsiteX31858" fmla="*/ 2650302 w 8079933"/>
              <a:gd name="connsiteY31858" fmla="*/ 3994318 h 4687251"/>
              <a:gd name="connsiteX31859" fmla="*/ 2648674 w 8079933"/>
              <a:gd name="connsiteY31859" fmla="*/ 4001896 h 4687251"/>
              <a:gd name="connsiteX31860" fmla="*/ 2646937 w 8079933"/>
              <a:gd name="connsiteY31860" fmla="*/ 4004278 h 4687251"/>
              <a:gd name="connsiteX31861" fmla="*/ 2646178 w 8079933"/>
              <a:gd name="connsiteY31861" fmla="*/ 4001680 h 4687251"/>
              <a:gd name="connsiteX31862" fmla="*/ 2644442 w 8079933"/>
              <a:gd name="connsiteY31862" fmla="*/ 4003304 h 4687251"/>
              <a:gd name="connsiteX31863" fmla="*/ 2642054 w 8079933"/>
              <a:gd name="connsiteY31863" fmla="*/ 4010666 h 4687251"/>
              <a:gd name="connsiteX31864" fmla="*/ 2643465 w 8079933"/>
              <a:gd name="connsiteY31864" fmla="*/ 4016188 h 4687251"/>
              <a:gd name="connsiteX31865" fmla="*/ 2641512 w 8079933"/>
              <a:gd name="connsiteY31865" fmla="*/ 4020843 h 4687251"/>
              <a:gd name="connsiteX31866" fmla="*/ 2628490 w 8079933"/>
              <a:gd name="connsiteY31866" fmla="*/ 4028855 h 4687251"/>
              <a:gd name="connsiteX31867" fmla="*/ 2618290 w 8079933"/>
              <a:gd name="connsiteY31867" fmla="*/ 4032320 h 4687251"/>
              <a:gd name="connsiteX31868" fmla="*/ 2616445 w 8079933"/>
              <a:gd name="connsiteY31868" fmla="*/ 4029722 h 4687251"/>
              <a:gd name="connsiteX31869" fmla="*/ 2615685 w 8079933"/>
              <a:gd name="connsiteY31869" fmla="*/ 4032862 h 4687251"/>
              <a:gd name="connsiteX31870" fmla="*/ 2601035 w 8079933"/>
              <a:gd name="connsiteY31870" fmla="*/ 4038816 h 4687251"/>
              <a:gd name="connsiteX31871" fmla="*/ 2584324 w 8079933"/>
              <a:gd name="connsiteY31871" fmla="*/ 4043147 h 4687251"/>
              <a:gd name="connsiteX31872" fmla="*/ 2574340 w 8079933"/>
              <a:gd name="connsiteY31872" fmla="*/ 4043689 h 4687251"/>
              <a:gd name="connsiteX31873" fmla="*/ 2566418 w 8079933"/>
              <a:gd name="connsiteY31873" fmla="*/ 4042498 h 4687251"/>
              <a:gd name="connsiteX31874" fmla="*/ 2559039 w 8079933"/>
              <a:gd name="connsiteY31874" fmla="*/ 4043797 h 4687251"/>
              <a:gd name="connsiteX31875" fmla="*/ 2554373 w 8079933"/>
              <a:gd name="connsiteY31875" fmla="*/ 4043797 h 4687251"/>
              <a:gd name="connsiteX31876" fmla="*/ 2549056 w 8079933"/>
              <a:gd name="connsiteY31876" fmla="*/ 4040441 h 4687251"/>
              <a:gd name="connsiteX31877" fmla="*/ 2542328 w 8079933"/>
              <a:gd name="connsiteY31877" fmla="*/ 4038167 h 4687251"/>
              <a:gd name="connsiteX31878" fmla="*/ 2539072 w 8079933"/>
              <a:gd name="connsiteY31878" fmla="*/ 4038167 h 4687251"/>
              <a:gd name="connsiteX31879" fmla="*/ 2537010 w 8079933"/>
              <a:gd name="connsiteY31879" fmla="*/ 4035352 h 4687251"/>
              <a:gd name="connsiteX31880" fmla="*/ 2535382 w 8079933"/>
              <a:gd name="connsiteY31880" fmla="*/ 4036976 h 4687251"/>
              <a:gd name="connsiteX31881" fmla="*/ 2535382 w 8079933"/>
              <a:gd name="connsiteY31881" fmla="*/ 4040874 h 4687251"/>
              <a:gd name="connsiteX31882" fmla="*/ 2536685 w 8079933"/>
              <a:gd name="connsiteY31882" fmla="*/ 4043689 h 4687251"/>
              <a:gd name="connsiteX31883" fmla="*/ 2536685 w 8079933"/>
              <a:gd name="connsiteY31883" fmla="*/ 4052026 h 4687251"/>
              <a:gd name="connsiteX31884" fmla="*/ 2538855 w 8079933"/>
              <a:gd name="connsiteY31884" fmla="*/ 4055382 h 4687251"/>
              <a:gd name="connsiteX31885" fmla="*/ 2538312 w 8079933"/>
              <a:gd name="connsiteY31885" fmla="*/ 4057873 h 4687251"/>
              <a:gd name="connsiteX31886" fmla="*/ 2542328 w 8079933"/>
              <a:gd name="connsiteY31886" fmla="*/ 4058305 h 4687251"/>
              <a:gd name="connsiteX31887" fmla="*/ 2543196 w 8079933"/>
              <a:gd name="connsiteY31887" fmla="*/ 4062420 h 4687251"/>
              <a:gd name="connsiteX31888" fmla="*/ 2542436 w 8079933"/>
              <a:gd name="connsiteY31888" fmla="*/ 4065451 h 4687251"/>
              <a:gd name="connsiteX31889" fmla="*/ 2540808 w 8079933"/>
              <a:gd name="connsiteY31889" fmla="*/ 4065993 h 4687251"/>
              <a:gd name="connsiteX31890" fmla="*/ 2540917 w 8079933"/>
              <a:gd name="connsiteY31890" fmla="*/ 4067617 h 4687251"/>
              <a:gd name="connsiteX31891" fmla="*/ 2536685 w 8079933"/>
              <a:gd name="connsiteY31891" fmla="*/ 4071839 h 4687251"/>
              <a:gd name="connsiteX31892" fmla="*/ 2537662 w 8079933"/>
              <a:gd name="connsiteY31892" fmla="*/ 4074113 h 4687251"/>
              <a:gd name="connsiteX31893" fmla="*/ 2535925 w 8079933"/>
              <a:gd name="connsiteY31893" fmla="*/ 4077361 h 4687251"/>
              <a:gd name="connsiteX31894" fmla="*/ 2535925 w 8079933"/>
              <a:gd name="connsiteY31894" fmla="*/ 4081692 h 4687251"/>
              <a:gd name="connsiteX31895" fmla="*/ 2538855 w 8079933"/>
              <a:gd name="connsiteY31895" fmla="*/ 4086672 h 4687251"/>
              <a:gd name="connsiteX31896" fmla="*/ 2542979 w 8079933"/>
              <a:gd name="connsiteY31896" fmla="*/ 4087863 h 4687251"/>
              <a:gd name="connsiteX31897" fmla="*/ 2541676 w 8079933"/>
              <a:gd name="connsiteY31897" fmla="*/ 4091761 h 4687251"/>
              <a:gd name="connsiteX31898" fmla="*/ 2540266 w 8079933"/>
              <a:gd name="connsiteY31898" fmla="*/ 4094360 h 4687251"/>
              <a:gd name="connsiteX31899" fmla="*/ 2541460 w 8079933"/>
              <a:gd name="connsiteY31899" fmla="*/ 4097825 h 4687251"/>
              <a:gd name="connsiteX31900" fmla="*/ 2540375 w 8079933"/>
              <a:gd name="connsiteY31900" fmla="*/ 4102264 h 4687251"/>
              <a:gd name="connsiteX31901" fmla="*/ 2534949 w 8079933"/>
              <a:gd name="connsiteY31901" fmla="*/ 4106270 h 4687251"/>
              <a:gd name="connsiteX31902" fmla="*/ 2535600 w 8079933"/>
              <a:gd name="connsiteY31902" fmla="*/ 4107785 h 4687251"/>
              <a:gd name="connsiteX31903" fmla="*/ 2527461 w 8079933"/>
              <a:gd name="connsiteY31903" fmla="*/ 4113307 h 4687251"/>
              <a:gd name="connsiteX31904" fmla="*/ 2514113 w 8079933"/>
              <a:gd name="connsiteY31904" fmla="*/ 4113415 h 4687251"/>
              <a:gd name="connsiteX31905" fmla="*/ 2506843 w 8079933"/>
              <a:gd name="connsiteY31905" fmla="*/ 4111683 h 4687251"/>
              <a:gd name="connsiteX31906" fmla="*/ 2498378 w 8079933"/>
              <a:gd name="connsiteY31906" fmla="*/ 4104645 h 4687251"/>
              <a:gd name="connsiteX31907" fmla="*/ 2489263 w 8079933"/>
              <a:gd name="connsiteY31907" fmla="*/ 4101722 h 4687251"/>
              <a:gd name="connsiteX31908" fmla="*/ 2483946 w 8079933"/>
              <a:gd name="connsiteY31908" fmla="*/ 4102264 h 4687251"/>
              <a:gd name="connsiteX31909" fmla="*/ 2482535 w 8079933"/>
              <a:gd name="connsiteY31909" fmla="*/ 4101397 h 4687251"/>
              <a:gd name="connsiteX31910" fmla="*/ 2484054 w 8079933"/>
              <a:gd name="connsiteY31910" fmla="*/ 4098691 h 4687251"/>
              <a:gd name="connsiteX31911" fmla="*/ 2480473 w 8079933"/>
              <a:gd name="connsiteY31911" fmla="*/ 4098799 h 4687251"/>
              <a:gd name="connsiteX31912" fmla="*/ 2475590 w 8079933"/>
              <a:gd name="connsiteY31912" fmla="*/ 4103671 h 4687251"/>
              <a:gd name="connsiteX31913" fmla="*/ 2475481 w 8079933"/>
              <a:gd name="connsiteY31913" fmla="*/ 4112116 h 4687251"/>
              <a:gd name="connsiteX31914" fmla="*/ 2480690 w 8079933"/>
              <a:gd name="connsiteY31914" fmla="*/ 4116772 h 4687251"/>
              <a:gd name="connsiteX31915" fmla="*/ 2482535 w 8079933"/>
              <a:gd name="connsiteY31915" fmla="*/ 4125325 h 4687251"/>
              <a:gd name="connsiteX31916" fmla="*/ 2482318 w 8079933"/>
              <a:gd name="connsiteY31916" fmla="*/ 4136585 h 4687251"/>
              <a:gd name="connsiteX31917" fmla="*/ 2483946 w 8079933"/>
              <a:gd name="connsiteY31917" fmla="*/ 4140916 h 4687251"/>
              <a:gd name="connsiteX31918" fmla="*/ 2489480 w 8079933"/>
              <a:gd name="connsiteY31918" fmla="*/ 4144056 h 4687251"/>
              <a:gd name="connsiteX31919" fmla="*/ 2496642 w 8079933"/>
              <a:gd name="connsiteY31919" fmla="*/ 4143515 h 4687251"/>
              <a:gd name="connsiteX31920" fmla="*/ 2499247 w 8079933"/>
              <a:gd name="connsiteY31920" fmla="*/ 4144922 h 4687251"/>
              <a:gd name="connsiteX31921" fmla="*/ 2496534 w 8079933"/>
              <a:gd name="connsiteY31921" fmla="*/ 4146438 h 4687251"/>
              <a:gd name="connsiteX31922" fmla="*/ 2494255 w 8079933"/>
              <a:gd name="connsiteY31922" fmla="*/ 4148711 h 4687251"/>
              <a:gd name="connsiteX31923" fmla="*/ 2497835 w 8079933"/>
              <a:gd name="connsiteY31923" fmla="*/ 4150011 h 4687251"/>
              <a:gd name="connsiteX31924" fmla="*/ 2505974 w 8079933"/>
              <a:gd name="connsiteY31924" fmla="*/ 4147629 h 4687251"/>
              <a:gd name="connsiteX31925" fmla="*/ 2506300 w 8079933"/>
              <a:gd name="connsiteY31925" fmla="*/ 4145030 h 4687251"/>
              <a:gd name="connsiteX31926" fmla="*/ 2502393 w 8079933"/>
              <a:gd name="connsiteY31926" fmla="*/ 4144056 h 4687251"/>
              <a:gd name="connsiteX31927" fmla="*/ 2500983 w 8079933"/>
              <a:gd name="connsiteY31927" fmla="*/ 4142973 h 4687251"/>
              <a:gd name="connsiteX31928" fmla="*/ 2503261 w 8079933"/>
              <a:gd name="connsiteY31928" fmla="*/ 4141133 h 4687251"/>
              <a:gd name="connsiteX31929" fmla="*/ 2506843 w 8079933"/>
              <a:gd name="connsiteY31929" fmla="*/ 4140916 h 4687251"/>
              <a:gd name="connsiteX31930" fmla="*/ 2511509 w 8079933"/>
              <a:gd name="connsiteY31930" fmla="*/ 4137884 h 4687251"/>
              <a:gd name="connsiteX31931" fmla="*/ 2515090 w 8079933"/>
              <a:gd name="connsiteY31931" fmla="*/ 4138209 h 4687251"/>
              <a:gd name="connsiteX31932" fmla="*/ 2518345 w 8079933"/>
              <a:gd name="connsiteY31932" fmla="*/ 4143731 h 4687251"/>
              <a:gd name="connsiteX31933" fmla="*/ 2517369 w 8079933"/>
              <a:gd name="connsiteY31933" fmla="*/ 4147954 h 4687251"/>
              <a:gd name="connsiteX31934" fmla="*/ 2515415 w 8079933"/>
              <a:gd name="connsiteY31934" fmla="*/ 4148819 h 4687251"/>
              <a:gd name="connsiteX31935" fmla="*/ 2518562 w 8079933"/>
              <a:gd name="connsiteY31935" fmla="*/ 4152609 h 4687251"/>
              <a:gd name="connsiteX31936" fmla="*/ 2520733 w 8079933"/>
              <a:gd name="connsiteY31936" fmla="*/ 4157590 h 4687251"/>
              <a:gd name="connsiteX31937" fmla="*/ 2519430 w 8079933"/>
              <a:gd name="connsiteY31937" fmla="*/ 4162245 h 4687251"/>
              <a:gd name="connsiteX31938" fmla="*/ 2510098 w 8079933"/>
              <a:gd name="connsiteY31938" fmla="*/ 4167551 h 4687251"/>
              <a:gd name="connsiteX31939" fmla="*/ 2506626 w 8079933"/>
              <a:gd name="connsiteY31939" fmla="*/ 4166359 h 4687251"/>
              <a:gd name="connsiteX31940" fmla="*/ 2504781 w 8079933"/>
              <a:gd name="connsiteY31940" fmla="*/ 4161704 h 4687251"/>
              <a:gd name="connsiteX31941" fmla="*/ 2505649 w 8079933"/>
              <a:gd name="connsiteY31941" fmla="*/ 4159647 h 4687251"/>
              <a:gd name="connsiteX31942" fmla="*/ 2505649 w 8079933"/>
              <a:gd name="connsiteY31942" fmla="*/ 4156940 h 4687251"/>
              <a:gd name="connsiteX31943" fmla="*/ 2499789 w 8079933"/>
              <a:gd name="connsiteY31943" fmla="*/ 4153800 h 4687251"/>
              <a:gd name="connsiteX31944" fmla="*/ 2493387 w 8079933"/>
              <a:gd name="connsiteY31944" fmla="*/ 4156290 h 4687251"/>
              <a:gd name="connsiteX31945" fmla="*/ 2489046 w 8079933"/>
              <a:gd name="connsiteY31945" fmla="*/ 4159539 h 4687251"/>
              <a:gd name="connsiteX31946" fmla="*/ 2488178 w 8079933"/>
              <a:gd name="connsiteY31946" fmla="*/ 4162137 h 4687251"/>
              <a:gd name="connsiteX31947" fmla="*/ 2490239 w 8079933"/>
              <a:gd name="connsiteY31947" fmla="*/ 4165494 h 4687251"/>
              <a:gd name="connsiteX31948" fmla="*/ 2495123 w 8079933"/>
              <a:gd name="connsiteY31948" fmla="*/ 4165710 h 4687251"/>
              <a:gd name="connsiteX31949" fmla="*/ 2502176 w 8079933"/>
              <a:gd name="connsiteY31949" fmla="*/ 4167767 h 4687251"/>
              <a:gd name="connsiteX31950" fmla="*/ 2502393 w 8079933"/>
              <a:gd name="connsiteY31950" fmla="*/ 4170149 h 4687251"/>
              <a:gd name="connsiteX31951" fmla="*/ 2497185 w 8079933"/>
              <a:gd name="connsiteY31951" fmla="*/ 4175021 h 4687251"/>
              <a:gd name="connsiteX31952" fmla="*/ 2489806 w 8079933"/>
              <a:gd name="connsiteY31952" fmla="*/ 4177727 h 4687251"/>
              <a:gd name="connsiteX31953" fmla="*/ 2486984 w 8079933"/>
              <a:gd name="connsiteY31953" fmla="*/ 4180868 h 4687251"/>
              <a:gd name="connsiteX31954" fmla="*/ 2488721 w 8079933"/>
              <a:gd name="connsiteY31954" fmla="*/ 4182708 h 4687251"/>
              <a:gd name="connsiteX31955" fmla="*/ 2486876 w 8079933"/>
              <a:gd name="connsiteY31955" fmla="*/ 4187364 h 4687251"/>
              <a:gd name="connsiteX31956" fmla="*/ 2483078 w 8079933"/>
              <a:gd name="connsiteY31956" fmla="*/ 4191262 h 4687251"/>
              <a:gd name="connsiteX31957" fmla="*/ 2484597 w 8079933"/>
              <a:gd name="connsiteY31957" fmla="*/ 4197325 h 4687251"/>
              <a:gd name="connsiteX31958" fmla="*/ 2486333 w 8079933"/>
              <a:gd name="connsiteY31958" fmla="*/ 4199924 h 4687251"/>
              <a:gd name="connsiteX31959" fmla="*/ 2486333 w 8079933"/>
              <a:gd name="connsiteY31959" fmla="*/ 4203171 h 4687251"/>
              <a:gd name="connsiteX31960" fmla="*/ 2485465 w 8079933"/>
              <a:gd name="connsiteY31960" fmla="*/ 4206095 h 4687251"/>
              <a:gd name="connsiteX31961" fmla="*/ 2491107 w 8079933"/>
              <a:gd name="connsiteY31961" fmla="*/ 4212266 h 4687251"/>
              <a:gd name="connsiteX31962" fmla="*/ 2490999 w 8079933"/>
              <a:gd name="connsiteY31962" fmla="*/ 4214540 h 4687251"/>
              <a:gd name="connsiteX31963" fmla="*/ 2488721 w 8079933"/>
              <a:gd name="connsiteY31963" fmla="*/ 4217788 h 4687251"/>
              <a:gd name="connsiteX31964" fmla="*/ 2489914 w 8079933"/>
              <a:gd name="connsiteY31964" fmla="*/ 4219196 h 4687251"/>
              <a:gd name="connsiteX31965" fmla="*/ 2483403 w 8079933"/>
              <a:gd name="connsiteY31965" fmla="*/ 4223418 h 4687251"/>
              <a:gd name="connsiteX31966" fmla="*/ 2482535 w 8079933"/>
              <a:gd name="connsiteY31966" fmla="*/ 4227099 h 4687251"/>
              <a:gd name="connsiteX31967" fmla="*/ 2481884 w 8079933"/>
              <a:gd name="connsiteY31967" fmla="*/ 4229157 h 4687251"/>
              <a:gd name="connsiteX31968" fmla="*/ 2486441 w 8079933"/>
              <a:gd name="connsiteY31968" fmla="*/ 4230889 h 4687251"/>
              <a:gd name="connsiteX31969" fmla="*/ 2488721 w 8079933"/>
              <a:gd name="connsiteY31969" fmla="*/ 4233054 h 4687251"/>
              <a:gd name="connsiteX31970" fmla="*/ 2488394 w 8079933"/>
              <a:gd name="connsiteY31970" fmla="*/ 4235111 h 4687251"/>
              <a:gd name="connsiteX31971" fmla="*/ 2480798 w 8079933"/>
              <a:gd name="connsiteY31971" fmla="*/ 4236519 h 4687251"/>
              <a:gd name="connsiteX31972" fmla="*/ 2476567 w 8079933"/>
              <a:gd name="connsiteY31972" fmla="*/ 4235869 h 4687251"/>
              <a:gd name="connsiteX31973" fmla="*/ 2469621 w 8079933"/>
              <a:gd name="connsiteY31973" fmla="*/ 4236844 h 4687251"/>
              <a:gd name="connsiteX31974" fmla="*/ 2465172 w 8079933"/>
              <a:gd name="connsiteY31974" fmla="*/ 4241716 h 4687251"/>
              <a:gd name="connsiteX31975" fmla="*/ 2459855 w 8079933"/>
              <a:gd name="connsiteY31975" fmla="*/ 4242365 h 4687251"/>
              <a:gd name="connsiteX31976" fmla="*/ 2455840 w 8079933"/>
              <a:gd name="connsiteY31976" fmla="*/ 4247021 h 4687251"/>
              <a:gd name="connsiteX31977" fmla="*/ 2452693 w 8079933"/>
              <a:gd name="connsiteY31977" fmla="*/ 4247671 h 4687251"/>
              <a:gd name="connsiteX31978" fmla="*/ 2451065 w 8079933"/>
              <a:gd name="connsiteY31978" fmla="*/ 4253409 h 4687251"/>
              <a:gd name="connsiteX31979" fmla="*/ 2449112 w 8079933"/>
              <a:gd name="connsiteY31979" fmla="*/ 4257524 h 4687251"/>
              <a:gd name="connsiteX31980" fmla="*/ 2443795 w 8079933"/>
              <a:gd name="connsiteY31980" fmla="*/ 4261312 h 4687251"/>
              <a:gd name="connsiteX31981" fmla="*/ 2443469 w 8079933"/>
              <a:gd name="connsiteY31981" fmla="*/ 4264236 h 4687251"/>
              <a:gd name="connsiteX31982" fmla="*/ 2446399 w 8079933"/>
              <a:gd name="connsiteY31982" fmla="*/ 4268134 h 4687251"/>
              <a:gd name="connsiteX31983" fmla="*/ 2446399 w 8079933"/>
              <a:gd name="connsiteY31983" fmla="*/ 4273331 h 4687251"/>
              <a:gd name="connsiteX31984" fmla="*/ 2451499 w 8079933"/>
              <a:gd name="connsiteY31984" fmla="*/ 4281884 h 4687251"/>
              <a:gd name="connsiteX31985" fmla="*/ 2456382 w 8079933"/>
              <a:gd name="connsiteY31985" fmla="*/ 4285890 h 4687251"/>
              <a:gd name="connsiteX31986" fmla="*/ 2459638 w 8079933"/>
              <a:gd name="connsiteY31986" fmla="*/ 4286865 h 4687251"/>
              <a:gd name="connsiteX31987" fmla="*/ 2466040 w 8079933"/>
              <a:gd name="connsiteY31987" fmla="*/ 4292387 h 4687251"/>
              <a:gd name="connsiteX31988" fmla="*/ 2475481 w 8079933"/>
              <a:gd name="connsiteY31988" fmla="*/ 4301156 h 4687251"/>
              <a:gd name="connsiteX31989" fmla="*/ 2483403 w 8079933"/>
              <a:gd name="connsiteY31989" fmla="*/ 4300507 h 4687251"/>
              <a:gd name="connsiteX31990" fmla="*/ 2487744 w 8079933"/>
              <a:gd name="connsiteY31990" fmla="*/ 4300615 h 4687251"/>
              <a:gd name="connsiteX31991" fmla="*/ 2489806 w 8079933"/>
              <a:gd name="connsiteY31991" fmla="*/ 4299640 h 4687251"/>
              <a:gd name="connsiteX31992" fmla="*/ 2493604 w 8079933"/>
              <a:gd name="connsiteY31992" fmla="*/ 4300832 h 4687251"/>
              <a:gd name="connsiteX31993" fmla="*/ 2495123 w 8079933"/>
              <a:gd name="connsiteY31993" fmla="*/ 4303430 h 4687251"/>
              <a:gd name="connsiteX31994" fmla="*/ 2493387 w 8079933"/>
              <a:gd name="connsiteY31994" fmla="*/ 4305271 h 4687251"/>
              <a:gd name="connsiteX31995" fmla="*/ 2493387 w 8079933"/>
              <a:gd name="connsiteY31995" fmla="*/ 4307870 h 4687251"/>
              <a:gd name="connsiteX31996" fmla="*/ 2496208 w 8079933"/>
              <a:gd name="connsiteY31996" fmla="*/ 4313499 h 4687251"/>
              <a:gd name="connsiteX31997" fmla="*/ 2496208 w 8079933"/>
              <a:gd name="connsiteY31997" fmla="*/ 4317289 h 4687251"/>
              <a:gd name="connsiteX31998" fmla="*/ 2491976 w 8079933"/>
              <a:gd name="connsiteY31998" fmla="*/ 4321295 h 4687251"/>
              <a:gd name="connsiteX31999" fmla="*/ 2494797 w 8079933"/>
              <a:gd name="connsiteY31999" fmla="*/ 4321295 h 4687251"/>
              <a:gd name="connsiteX32000" fmla="*/ 2499030 w 8079933"/>
              <a:gd name="connsiteY32000" fmla="*/ 4325192 h 4687251"/>
              <a:gd name="connsiteX32001" fmla="*/ 2496208 w 8079933"/>
              <a:gd name="connsiteY32001" fmla="*/ 4327250 h 4687251"/>
              <a:gd name="connsiteX32002" fmla="*/ 2495665 w 8079933"/>
              <a:gd name="connsiteY32002" fmla="*/ 4330390 h 4687251"/>
              <a:gd name="connsiteX32003" fmla="*/ 2496534 w 8079933"/>
              <a:gd name="connsiteY32003" fmla="*/ 4332122 h 4687251"/>
              <a:gd name="connsiteX32004" fmla="*/ 2492736 w 8079933"/>
              <a:gd name="connsiteY32004" fmla="*/ 4336452 h 4687251"/>
              <a:gd name="connsiteX32005" fmla="*/ 2488937 w 8079933"/>
              <a:gd name="connsiteY32005" fmla="*/ 4338294 h 4687251"/>
              <a:gd name="connsiteX32006" fmla="*/ 2488069 w 8079933"/>
              <a:gd name="connsiteY32006" fmla="*/ 4342083 h 4687251"/>
              <a:gd name="connsiteX32007" fmla="*/ 2485682 w 8079933"/>
              <a:gd name="connsiteY32007" fmla="*/ 4342949 h 4687251"/>
              <a:gd name="connsiteX32008" fmla="*/ 2482210 w 8079933"/>
              <a:gd name="connsiteY32008" fmla="*/ 4347604 h 4687251"/>
              <a:gd name="connsiteX32009" fmla="*/ 2480473 w 8079933"/>
              <a:gd name="connsiteY32009" fmla="*/ 4353126 h 4687251"/>
              <a:gd name="connsiteX32010" fmla="*/ 2475807 w 8079933"/>
              <a:gd name="connsiteY32010" fmla="*/ 4353451 h 4687251"/>
              <a:gd name="connsiteX32011" fmla="*/ 2470272 w 8079933"/>
              <a:gd name="connsiteY32011" fmla="*/ 4358756 h 4687251"/>
              <a:gd name="connsiteX32012" fmla="*/ 2469296 w 8079933"/>
              <a:gd name="connsiteY32012" fmla="*/ 4364062 h 4687251"/>
              <a:gd name="connsiteX32013" fmla="*/ 2467559 w 8079933"/>
              <a:gd name="connsiteY32013" fmla="*/ 4369259 h 4687251"/>
              <a:gd name="connsiteX32014" fmla="*/ 2463436 w 8079933"/>
              <a:gd name="connsiteY32014" fmla="*/ 4373157 h 4687251"/>
              <a:gd name="connsiteX32015" fmla="*/ 2462351 w 8079933"/>
              <a:gd name="connsiteY32015" fmla="*/ 4376296 h 4687251"/>
              <a:gd name="connsiteX32016" fmla="*/ 2464630 w 8079933"/>
              <a:gd name="connsiteY32016" fmla="*/ 4374564 h 4687251"/>
              <a:gd name="connsiteX32017" fmla="*/ 2468211 w 8079933"/>
              <a:gd name="connsiteY32017" fmla="*/ 4375430 h 4687251"/>
              <a:gd name="connsiteX32018" fmla="*/ 2469838 w 8079933"/>
              <a:gd name="connsiteY32018" fmla="*/ 4382685 h 4687251"/>
              <a:gd name="connsiteX32019" fmla="*/ 2468428 w 8079933"/>
              <a:gd name="connsiteY32019" fmla="*/ 4386474 h 4687251"/>
              <a:gd name="connsiteX32020" fmla="*/ 2464087 w 8079933"/>
              <a:gd name="connsiteY32020" fmla="*/ 4391454 h 4687251"/>
              <a:gd name="connsiteX32021" fmla="*/ 2463436 w 8079933"/>
              <a:gd name="connsiteY32021" fmla="*/ 4395136 h 4687251"/>
              <a:gd name="connsiteX32022" fmla="*/ 2458444 w 8079933"/>
              <a:gd name="connsiteY32022" fmla="*/ 4399358 h 4687251"/>
              <a:gd name="connsiteX32023" fmla="*/ 2454754 w 8079933"/>
              <a:gd name="connsiteY32023" fmla="*/ 4398059 h 4687251"/>
              <a:gd name="connsiteX32024" fmla="*/ 2451716 w 8079933"/>
              <a:gd name="connsiteY32024" fmla="*/ 4394594 h 4687251"/>
              <a:gd name="connsiteX32025" fmla="*/ 2448569 w 8079933"/>
              <a:gd name="connsiteY32025" fmla="*/ 4392970 h 4687251"/>
              <a:gd name="connsiteX32026" fmla="*/ 2450848 w 8079933"/>
              <a:gd name="connsiteY32026" fmla="*/ 4395893 h 4687251"/>
              <a:gd name="connsiteX32027" fmla="*/ 2450848 w 8079933"/>
              <a:gd name="connsiteY32027" fmla="*/ 4400224 h 4687251"/>
              <a:gd name="connsiteX32028" fmla="*/ 2452584 w 8079933"/>
              <a:gd name="connsiteY32028" fmla="*/ 4402065 h 4687251"/>
              <a:gd name="connsiteX32029" fmla="*/ 2450523 w 8079933"/>
              <a:gd name="connsiteY32029" fmla="*/ 4405854 h 4687251"/>
              <a:gd name="connsiteX32030" fmla="*/ 2444663 w 8079933"/>
              <a:gd name="connsiteY32030" fmla="*/ 4410618 h 4687251"/>
              <a:gd name="connsiteX32031" fmla="*/ 2441841 w 8079933"/>
              <a:gd name="connsiteY32031" fmla="*/ 4418630 h 4687251"/>
              <a:gd name="connsiteX32032" fmla="*/ 2442709 w 8079933"/>
              <a:gd name="connsiteY32032" fmla="*/ 4425668 h 4687251"/>
              <a:gd name="connsiteX32033" fmla="*/ 2447376 w 8079933"/>
              <a:gd name="connsiteY32033" fmla="*/ 4432814 h 4687251"/>
              <a:gd name="connsiteX32034" fmla="*/ 2451391 w 8079933"/>
              <a:gd name="connsiteY32034" fmla="*/ 4443857 h 4687251"/>
              <a:gd name="connsiteX32035" fmla="*/ 2451391 w 8079933"/>
              <a:gd name="connsiteY32035" fmla="*/ 4447214 h 4687251"/>
              <a:gd name="connsiteX32036" fmla="*/ 2452693 w 8079933"/>
              <a:gd name="connsiteY32036" fmla="*/ 4447972 h 4687251"/>
              <a:gd name="connsiteX32037" fmla="*/ 2451824 w 8079933"/>
              <a:gd name="connsiteY32037" fmla="*/ 4451111 h 4687251"/>
              <a:gd name="connsiteX32038" fmla="*/ 2448244 w 8079933"/>
              <a:gd name="connsiteY32038" fmla="*/ 4453168 h 4687251"/>
              <a:gd name="connsiteX32039" fmla="*/ 2450848 w 8079933"/>
              <a:gd name="connsiteY32039" fmla="*/ 4455659 h 4687251"/>
              <a:gd name="connsiteX32040" fmla="*/ 2453561 w 8079933"/>
              <a:gd name="connsiteY32040" fmla="*/ 4454793 h 4687251"/>
              <a:gd name="connsiteX32041" fmla="*/ 2457685 w 8079933"/>
              <a:gd name="connsiteY32041" fmla="*/ 4458799 h 4687251"/>
              <a:gd name="connsiteX32042" fmla="*/ 2458553 w 8079933"/>
              <a:gd name="connsiteY32042" fmla="*/ 4463454 h 4687251"/>
              <a:gd name="connsiteX32043" fmla="*/ 2466691 w 8079933"/>
              <a:gd name="connsiteY32043" fmla="*/ 4468434 h 4687251"/>
              <a:gd name="connsiteX32044" fmla="*/ 2471466 w 8079933"/>
              <a:gd name="connsiteY32044" fmla="*/ 4472224 h 4687251"/>
              <a:gd name="connsiteX32045" fmla="*/ 2472009 w 8079933"/>
              <a:gd name="connsiteY32045" fmla="*/ 4476663 h 4687251"/>
              <a:gd name="connsiteX32046" fmla="*/ 2469947 w 8079933"/>
              <a:gd name="connsiteY32046" fmla="*/ 4476555 h 4687251"/>
              <a:gd name="connsiteX32047" fmla="*/ 2464413 w 8079933"/>
              <a:gd name="connsiteY32047" fmla="*/ 4473956 h 4687251"/>
              <a:gd name="connsiteX32048" fmla="*/ 2460504 w 8079933"/>
              <a:gd name="connsiteY32048" fmla="*/ 4470440 h 4687251"/>
              <a:gd name="connsiteX32049" fmla="*/ 2464413 w 8079933"/>
              <a:gd name="connsiteY32049" fmla="*/ 4473957 h 4687251"/>
              <a:gd name="connsiteX32050" fmla="*/ 2463545 w 8079933"/>
              <a:gd name="connsiteY32050" fmla="*/ 4473632 h 4687251"/>
              <a:gd name="connsiteX32051" fmla="*/ 2460615 w 8079933"/>
              <a:gd name="connsiteY32051" fmla="*/ 4475256 h 4687251"/>
              <a:gd name="connsiteX32052" fmla="*/ 2454430 w 8079933"/>
              <a:gd name="connsiteY32052" fmla="*/ 4471684 h 4687251"/>
              <a:gd name="connsiteX32053" fmla="*/ 2449112 w 8079933"/>
              <a:gd name="connsiteY32053" fmla="*/ 4473091 h 4687251"/>
              <a:gd name="connsiteX32054" fmla="*/ 2446399 w 8079933"/>
              <a:gd name="connsiteY32054" fmla="*/ 4475690 h 4687251"/>
              <a:gd name="connsiteX32055" fmla="*/ 2446834 w 8079933"/>
              <a:gd name="connsiteY32055" fmla="*/ 4481644 h 4687251"/>
              <a:gd name="connsiteX32056" fmla="*/ 2444989 w 8079933"/>
              <a:gd name="connsiteY32056" fmla="*/ 4483593 h 4687251"/>
              <a:gd name="connsiteX32057" fmla="*/ 2440106 w 8079933"/>
              <a:gd name="connsiteY32057" fmla="*/ 4483593 h 4687251"/>
              <a:gd name="connsiteX32058" fmla="*/ 2436850 w 8079933"/>
              <a:gd name="connsiteY32058" fmla="*/ 4484892 h 4687251"/>
              <a:gd name="connsiteX32059" fmla="*/ 2431424 w 8079933"/>
              <a:gd name="connsiteY32059" fmla="*/ 4491388 h 4687251"/>
              <a:gd name="connsiteX32060" fmla="*/ 2425456 w 8079933"/>
              <a:gd name="connsiteY32060" fmla="*/ 4494854 h 4687251"/>
              <a:gd name="connsiteX32061" fmla="*/ 2424804 w 8079933"/>
              <a:gd name="connsiteY32061" fmla="*/ 4498210 h 4687251"/>
              <a:gd name="connsiteX32062" fmla="*/ 2425999 w 8079933"/>
              <a:gd name="connsiteY32062" fmla="*/ 4502974 h 4687251"/>
              <a:gd name="connsiteX32063" fmla="*/ 2425564 w 8079933"/>
              <a:gd name="connsiteY32063" fmla="*/ 4510119 h 4687251"/>
              <a:gd name="connsiteX32064" fmla="*/ 2424804 w 8079933"/>
              <a:gd name="connsiteY32064" fmla="*/ 4516400 h 4687251"/>
              <a:gd name="connsiteX32065" fmla="*/ 2425130 w 8079933"/>
              <a:gd name="connsiteY32065" fmla="*/ 4519539 h 4687251"/>
              <a:gd name="connsiteX32066" fmla="*/ 2424479 w 8079933"/>
              <a:gd name="connsiteY32066" fmla="*/ 4523004 h 4687251"/>
              <a:gd name="connsiteX32067" fmla="*/ 2426867 w 8079933"/>
              <a:gd name="connsiteY32067" fmla="*/ 4530258 h 4687251"/>
              <a:gd name="connsiteX32068" fmla="*/ 2424045 w 8079933"/>
              <a:gd name="connsiteY32068" fmla="*/ 4535563 h 4687251"/>
              <a:gd name="connsiteX32069" fmla="*/ 2421874 w 8079933"/>
              <a:gd name="connsiteY32069" fmla="*/ 4537837 h 4687251"/>
              <a:gd name="connsiteX32070" fmla="*/ 2418728 w 8079933"/>
              <a:gd name="connsiteY32070" fmla="*/ 4536213 h 4687251"/>
              <a:gd name="connsiteX32071" fmla="*/ 2415798 w 8079933"/>
              <a:gd name="connsiteY32071" fmla="*/ 4536429 h 4687251"/>
              <a:gd name="connsiteX32072" fmla="*/ 2411349 w 8079933"/>
              <a:gd name="connsiteY32072" fmla="*/ 4533939 h 4687251"/>
              <a:gd name="connsiteX32073" fmla="*/ 2404512 w 8079933"/>
              <a:gd name="connsiteY32073" fmla="*/ 4532748 h 4687251"/>
              <a:gd name="connsiteX32074" fmla="*/ 2396807 w 8079933"/>
              <a:gd name="connsiteY32074" fmla="*/ 4525386 h 4687251"/>
              <a:gd name="connsiteX32075" fmla="*/ 2394420 w 8079933"/>
              <a:gd name="connsiteY32075" fmla="*/ 4521380 h 4687251"/>
              <a:gd name="connsiteX32076" fmla="*/ 2396265 w 8079933"/>
              <a:gd name="connsiteY32076" fmla="*/ 4519106 h 4687251"/>
              <a:gd name="connsiteX32077" fmla="*/ 2398869 w 8079933"/>
              <a:gd name="connsiteY32077" fmla="*/ 4518890 h 4687251"/>
              <a:gd name="connsiteX32078" fmla="*/ 2400606 w 8079933"/>
              <a:gd name="connsiteY32078" fmla="*/ 4519539 h 4687251"/>
              <a:gd name="connsiteX32079" fmla="*/ 2401365 w 8079933"/>
              <a:gd name="connsiteY32079" fmla="*/ 4516400 h 4687251"/>
              <a:gd name="connsiteX32080" fmla="*/ 2403536 w 8079933"/>
              <a:gd name="connsiteY32080" fmla="*/ 4514776 h 4687251"/>
              <a:gd name="connsiteX32081" fmla="*/ 2405163 w 8079933"/>
              <a:gd name="connsiteY32081" fmla="*/ 4515641 h 4687251"/>
              <a:gd name="connsiteX32082" fmla="*/ 2405054 w 8079933"/>
              <a:gd name="connsiteY32082" fmla="*/ 4521596 h 4687251"/>
              <a:gd name="connsiteX32083" fmla="*/ 2402993 w 8079933"/>
              <a:gd name="connsiteY32083" fmla="*/ 4523004 h 4687251"/>
              <a:gd name="connsiteX32084" fmla="*/ 2402884 w 8079933"/>
              <a:gd name="connsiteY32084" fmla="*/ 4525061 h 4687251"/>
              <a:gd name="connsiteX32085" fmla="*/ 2406682 w 8079933"/>
              <a:gd name="connsiteY32085" fmla="*/ 4523329 h 4687251"/>
              <a:gd name="connsiteX32086" fmla="*/ 2409070 w 8079933"/>
              <a:gd name="connsiteY32086" fmla="*/ 4520622 h 4687251"/>
              <a:gd name="connsiteX32087" fmla="*/ 2407767 w 8079933"/>
              <a:gd name="connsiteY32087" fmla="*/ 4517374 h 4687251"/>
              <a:gd name="connsiteX32088" fmla="*/ 2407767 w 8079933"/>
              <a:gd name="connsiteY32088" fmla="*/ 4512502 h 4687251"/>
              <a:gd name="connsiteX32089" fmla="*/ 2411783 w 8079933"/>
              <a:gd name="connsiteY32089" fmla="*/ 4508387 h 4687251"/>
              <a:gd name="connsiteX32090" fmla="*/ 2412651 w 8079933"/>
              <a:gd name="connsiteY32090" fmla="*/ 4505572 h 4687251"/>
              <a:gd name="connsiteX32091" fmla="*/ 2414930 w 8079933"/>
              <a:gd name="connsiteY32091" fmla="*/ 4501674 h 4687251"/>
              <a:gd name="connsiteX32092" fmla="*/ 2418185 w 8079933"/>
              <a:gd name="connsiteY32092" fmla="*/ 4500376 h 4687251"/>
              <a:gd name="connsiteX32093" fmla="*/ 2417643 w 8079933"/>
              <a:gd name="connsiteY32093" fmla="*/ 4499184 h 4687251"/>
              <a:gd name="connsiteX32094" fmla="*/ 2414930 w 8079933"/>
              <a:gd name="connsiteY32094" fmla="*/ 4499184 h 4687251"/>
              <a:gd name="connsiteX32095" fmla="*/ 2411674 w 8079933"/>
              <a:gd name="connsiteY32095" fmla="*/ 4497452 h 4687251"/>
              <a:gd name="connsiteX32096" fmla="*/ 2410915 w 8079933"/>
              <a:gd name="connsiteY32096" fmla="*/ 4496152 h 4687251"/>
              <a:gd name="connsiteX32097" fmla="*/ 2407984 w 8079933"/>
              <a:gd name="connsiteY32097" fmla="*/ 4497993 h 4687251"/>
              <a:gd name="connsiteX32098" fmla="*/ 2403861 w 8079933"/>
              <a:gd name="connsiteY32098" fmla="*/ 4503948 h 4687251"/>
              <a:gd name="connsiteX32099" fmla="*/ 2400063 w 8079933"/>
              <a:gd name="connsiteY32099" fmla="*/ 4507413 h 4687251"/>
              <a:gd name="connsiteX32100" fmla="*/ 2393768 w 8079933"/>
              <a:gd name="connsiteY32100" fmla="*/ 4508712 h 4687251"/>
              <a:gd name="connsiteX32101" fmla="*/ 2397458 w 8079933"/>
              <a:gd name="connsiteY32101" fmla="*/ 4512827 h 4687251"/>
              <a:gd name="connsiteX32102" fmla="*/ 2397025 w 8079933"/>
              <a:gd name="connsiteY32102" fmla="*/ 4514776 h 4687251"/>
              <a:gd name="connsiteX32103" fmla="*/ 2393877 w 8079933"/>
              <a:gd name="connsiteY32103" fmla="*/ 4515533 h 4687251"/>
              <a:gd name="connsiteX32104" fmla="*/ 2391164 w 8079933"/>
              <a:gd name="connsiteY32104" fmla="*/ 4518890 h 4687251"/>
              <a:gd name="connsiteX32105" fmla="*/ 2392141 w 8079933"/>
              <a:gd name="connsiteY32105" fmla="*/ 4522463 h 4687251"/>
              <a:gd name="connsiteX32106" fmla="*/ 2391164 w 8079933"/>
              <a:gd name="connsiteY32106" fmla="*/ 4524628 h 4687251"/>
              <a:gd name="connsiteX32107" fmla="*/ 2389645 w 8079933"/>
              <a:gd name="connsiteY32107" fmla="*/ 4524520 h 4687251"/>
              <a:gd name="connsiteX32108" fmla="*/ 2384654 w 8079933"/>
              <a:gd name="connsiteY32108" fmla="*/ 4520189 h 4687251"/>
              <a:gd name="connsiteX32109" fmla="*/ 2377708 w 8079933"/>
              <a:gd name="connsiteY32109" fmla="*/ 4517807 h 4687251"/>
              <a:gd name="connsiteX32110" fmla="*/ 2377708 w 8079933"/>
              <a:gd name="connsiteY32110" fmla="*/ 4515966 h 4687251"/>
              <a:gd name="connsiteX32111" fmla="*/ 2379445 w 8079933"/>
              <a:gd name="connsiteY32111" fmla="*/ 4513801 h 4687251"/>
              <a:gd name="connsiteX32112" fmla="*/ 2377383 w 8079933"/>
              <a:gd name="connsiteY32112" fmla="*/ 4512502 h 4687251"/>
              <a:gd name="connsiteX32113" fmla="*/ 2377275 w 8079933"/>
              <a:gd name="connsiteY32113" fmla="*/ 4510661 h 4687251"/>
              <a:gd name="connsiteX32114" fmla="*/ 2378576 w 8079933"/>
              <a:gd name="connsiteY32114" fmla="*/ 4508821 h 4687251"/>
              <a:gd name="connsiteX32115" fmla="*/ 2380096 w 8079933"/>
              <a:gd name="connsiteY32115" fmla="*/ 4505789 h 4687251"/>
              <a:gd name="connsiteX32116" fmla="*/ 2379445 w 8079933"/>
              <a:gd name="connsiteY32116" fmla="*/ 4502866 h 4687251"/>
              <a:gd name="connsiteX32117" fmla="*/ 2382266 w 8079933"/>
              <a:gd name="connsiteY32117" fmla="*/ 4499834 h 4687251"/>
              <a:gd name="connsiteX32118" fmla="*/ 2384436 w 8079933"/>
              <a:gd name="connsiteY32118" fmla="*/ 4500267 h 4687251"/>
              <a:gd name="connsiteX32119" fmla="*/ 2386172 w 8079933"/>
              <a:gd name="connsiteY32119" fmla="*/ 4499942 h 4687251"/>
              <a:gd name="connsiteX32120" fmla="*/ 2393552 w 8079933"/>
              <a:gd name="connsiteY32120" fmla="*/ 4493446 h 4687251"/>
              <a:gd name="connsiteX32121" fmla="*/ 2396699 w 8079933"/>
              <a:gd name="connsiteY32121" fmla="*/ 4492580 h 4687251"/>
              <a:gd name="connsiteX32122" fmla="*/ 2399629 w 8079933"/>
              <a:gd name="connsiteY32122" fmla="*/ 4494854 h 4687251"/>
              <a:gd name="connsiteX32123" fmla="*/ 2402341 w 8079933"/>
              <a:gd name="connsiteY32123" fmla="*/ 4495611 h 4687251"/>
              <a:gd name="connsiteX32124" fmla="*/ 2404404 w 8079933"/>
              <a:gd name="connsiteY32124" fmla="*/ 4492580 h 4687251"/>
              <a:gd name="connsiteX32125" fmla="*/ 2407008 w 8079933"/>
              <a:gd name="connsiteY32125" fmla="*/ 4491388 h 4687251"/>
              <a:gd name="connsiteX32126" fmla="*/ 2406574 w 8079933"/>
              <a:gd name="connsiteY32126" fmla="*/ 4489657 h 4687251"/>
              <a:gd name="connsiteX32127" fmla="*/ 2402559 w 8079933"/>
              <a:gd name="connsiteY32127" fmla="*/ 4489331 h 4687251"/>
              <a:gd name="connsiteX32128" fmla="*/ 2397893 w 8079933"/>
              <a:gd name="connsiteY32128" fmla="*/ 4489764 h 4687251"/>
              <a:gd name="connsiteX32129" fmla="*/ 2393768 w 8079933"/>
              <a:gd name="connsiteY32129" fmla="*/ 4488465 h 4687251"/>
              <a:gd name="connsiteX32130" fmla="*/ 2389102 w 8079933"/>
              <a:gd name="connsiteY32130" fmla="*/ 4489548 h 4687251"/>
              <a:gd name="connsiteX32131" fmla="*/ 2387909 w 8079933"/>
              <a:gd name="connsiteY32131" fmla="*/ 4491930 h 4687251"/>
              <a:gd name="connsiteX32132" fmla="*/ 2385522 w 8079933"/>
              <a:gd name="connsiteY32132" fmla="*/ 4490847 h 4687251"/>
              <a:gd name="connsiteX32133" fmla="*/ 2384654 w 8079933"/>
              <a:gd name="connsiteY32133" fmla="*/ 4488356 h 4687251"/>
              <a:gd name="connsiteX32134" fmla="*/ 2382374 w 8079933"/>
              <a:gd name="connsiteY32134" fmla="*/ 4489764 h 4687251"/>
              <a:gd name="connsiteX32135" fmla="*/ 2377057 w 8079933"/>
              <a:gd name="connsiteY32135" fmla="*/ 4488032 h 4687251"/>
              <a:gd name="connsiteX32136" fmla="*/ 2374995 w 8079933"/>
              <a:gd name="connsiteY32136" fmla="*/ 4489115 h 4687251"/>
              <a:gd name="connsiteX32137" fmla="*/ 2375104 w 8079933"/>
              <a:gd name="connsiteY32137" fmla="*/ 4491930 h 4687251"/>
              <a:gd name="connsiteX32138" fmla="*/ 2372391 w 8079933"/>
              <a:gd name="connsiteY32138" fmla="*/ 4493771 h 4687251"/>
              <a:gd name="connsiteX32139" fmla="*/ 2371197 w 8079933"/>
              <a:gd name="connsiteY32139" fmla="*/ 4495070 h 4687251"/>
              <a:gd name="connsiteX32140" fmla="*/ 2374670 w 8079933"/>
              <a:gd name="connsiteY32140" fmla="*/ 4495611 h 4687251"/>
              <a:gd name="connsiteX32141" fmla="*/ 2376515 w 8079933"/>
              <a:gd name="connsiteY32141" fmla="*/ 4494529 h 4687251"/>
              <a:gd name="connsiteX32142" fmla="*/ 2377816 w 8079933"/>
              <a:gd name="connsiteY32142" fmla="*/ 4498318 h 4687251"/>
              <a:gd name="connsiteX32143" fmla="*/ 2376623 w 8079933"/>
              <a:gd name="connsiteY32143" fmla="*/ 4501891 h 4687251"/>
              <a:gd name="connsiteX32144" fmla="*/ 2378576 w 8079933"/>
              <a:gd name="connsiteY32144" fmla="*/ 4506763 h 4687251"/>
              <a:gd name="connsiteX32145" fmla="*/ 2376515 w 8079933"/>
              <a:gd name="connsiteY32145" fmla="*/ 4509686 h 4687251"/>
              <a:gd name="connsiteX32146" fmla="*/ 2374236 w 8079933"/>
              <a:gd name="connsiteY32146" fmla="*/ 4510553 h 4687251"/>
              <a:gd name="connsiteX32147" fmla="*/ 2367616 w 8079933"/>
              <a:gd name="connsiteY32147" fmla="*/ 4506872 h 4687251"/>
              <a:gd name="connsiteX32148" fmla="*/ 2361973 w 8079933"/>
              <a:gd name="connsiteY32148" fmla="*/ 4506330 h 4687251"/>
              <a:gd name="connsiteX32149" fmla="*/ 2360996 w 8079933"/>
              <a:gd name="connsiteY32149" fmla="*/ 4503840 h 4687251"/>
              <a:gd name="connsiteX32150" fmla="*/ 2364361 w 8079933"/>
              <a:gd name="connsiteY32150" fmla="*/ 4500917 h 4687251"/>
              <a:gd name="connsiteX32151" fmla="*/ 2367725 w 8079933"/>
              <a:gd name="connsiteY32151" fmla="*/ 4499617 h 4687251"/>
              <a:gd name="connsiteX32152" fmla="*/ 2367725 w 8079933"/>
              <a:gd name="connsiteY32152" fmla="*/ 4498318 h 4687251"/>
              <a:gd name="connsiteX32153" fmla="*/ 2364144 w 8079933"/>
              <a:gd name="connsiteY32153" fmla="*/ 4497019 h 4687251"/>
              <a:gd name="connsiteX32154" fmla="*/ 2361973 w 8079933"/>
              <a:gd name="connsiteY32154" fmla="*/ 4495719 h 4687251"/>
              <a:gd name="connsiteX32155" fmla="*/ 2360128 w 8079933"/>
              <a:gd name="connsiteY32155" fmla="*/ 4499293 h 4687251"/>
              <a:gd name="connsiteX32156" fmla="*/ 2356981 w 8079933"/>
              <a:gd name="connsiteY32156" fmla="*/ 4498751 h 4687251"/>
              <a:gd name="connsiteX32157" fmla="*/ 2356222 w 8079933"/>
              <a:gd name="connsiteY32157" fmla="*/ 4497127 h 4687251"/>
              <a:gd name="connsiteX32158" fmla="*/ 2357633 w 8079933"/>
              <a:gd name="connsiteY32158" fmla="*/ 4494637 h 4687251"/>
              <a:gd name="connsiteX32159" fmla="*/ 2356873 w 8079933"/>
              <a:gd name="connsiteY32159" fmla="*/ 4491821 h 4687251"/>
              <a:gd name="connsiteX32160" fmla="*/ 2354811 w 8079933"/>
              <a:gd name="connsiteY32160" fmla="*/ 4488249 h 4687251"/>
              <a:gd name="connsiteX32161" fmla="*/ 2354486 w 8079933"/>
              <a:gd name="connsiteY32161" fmla="*/ 4482510 h 4687251"/>
              <a:gd name="connsiteX32162" fmla="*/ 2350362 w 8079933"/>
              <a:gd name="connsiteY32162" fmla="*/ 4479478 h 4687251"/>
              <a:gd name="connsiteX32163" fmla="*/ 2354811 w 8079933"/>
              <a:gd name="connsiteY32163" fmla="*/ 4477638 h 4687251"/>
              <a:gd name="connsiteX32164" fmla="*/ 2360237 w 8079933"/>
              <a:gd name="connsiteY32164" fmla="*/ 4477638 h 4687251"/>
              <a:gd name="connsiteX32165" fmla="*/ 2363818 w 8079933"/>
              <a:gd name="connsiteY32165" fmla="*/ 4475148 h 4687251"/>
              <a:gd name="connsiteX32166" fmla="*/ 2366423 w 8079933"/>
              <a:gd name="connsiteY32166" fmla="*/ 4475148 h 4687251"/>
              <a:gd name="connsiteX32167" fmla="*/ 2367399 w 8079933"/>
              <a:gd name="connsiteY32167" fmla="*/ 4479045 h 4687251"/>
              <a:gd name="connsiteX32168" fmla="*/ 2369027 w 8079933"/>
              <a:gd name="connsiteY32168" fmla="*/ 4480994 h 4687251"/>
              <a:gd name="connsiteX32169" fmla="*/ 2370872 w 8079933"/>
              <a:gd name="connsiteY32169" fmla="*/ 4477313 h 4687251"/>
              <a:gd name="connsiteX32170" fmla="*/ 2368810 w 8079933"/>
              <a:gd name="connsiteY32170" fmla="*/ 4474498 h 4687251"/>
              <a:gd name="connsiteX32171" fmla="*/ 2369136 w 8079933"/>
              <a:gd name="connsiteY32171" fmla="*/ 4470600 h 4687251"/>
              <a:gd name="connsiteX32172" fmla="*/ 2371089 w 8079933"/>
              <a:gd name="connsiteY32172" fmla="*/ 4467677 h 4687251"/>
              <a:gd name="connsiteX32173" fmla="*/ 2374345 w 8079933"/>
              <a:gd name="connsiteY32173" fmla="*/ 4470492 h 4687251"/>
              <a:gd name="connsiteX32174" fmla="*/ 2377600 w 8079933"/>
              <a:gd name="connsiteY32174" fmla="*/ 4478179 h 4687251"/>
              <a:gd name="connsiteX32175" fmla="*/ 2375863 w 8079933"/>
              <a:gd name="connsiteY32175" fmla="*/ 4483701 h 4687251"/>
              <a:gd name="connsiteX32176" fmla="*/ 2379336 w 8079933"/>
              <a:gd name="connsiteY32176" fmla="*/ 4481103 h 4687251"/>
              <a:gd name="connsiteX32177" fmla="*/ 2379661 w 8079933"/>
              <a:gd name="connsiteY32177" fmla="*/ 4477638 h 4687251"/>
              <a:gd name="connsiteX32178" fmla="*/ 2376515 w 8079933"/>
              <a:gd name="connsiteY32178" fmla="*/ 4471358 h 4687251"/>
              <a:gd name="connsiteX32179" fmla="*/ 2376732 w 8079933"/>
              <a:gd name="connsiteY32179" fmla="*/ 4467677 h 4687251"/>
              <a:gd name="connsiteX32180" fmla="*/ 2379879 w 8079933"/>
              <a:gd name="connsiteY32180" fmla="*/ 4464321 h 4687251"/>
              <a:gd name="connsiteX32181" fmla="*/ 2378685 w 8079933"/>
              <a:gd name="connsiteY32181" fmla="*/ 4458582 h 4687251"/>
              <a:gd name="connsiteX32182" fmla="*/ 2371089 w 8079933"/>
              <a:gd name="connsiteY32182" fmla="*/ 4454360 h 4687251"/>
              <a:gd name="connsiteX32183" fmla="*/ 2363601 w 8079933"/>
              <a:gd name="connsiteY32183" fmla="*/ 4451544 h 4687251"/>
              <a:gd name="connsiteX32184" fmla="*/ 2361105 w 8079933"/>
              <a:gd name="connsiteY32184" fmla="*/ 4452627 h 4687251"/>
              <a:gd name="connsiteX32185" fmla="*/ 2361431 w 8079933"/>
              <a:gd name="connsiteY32185" fmla="*/ 4454685 h 4687251"/>
              <a:gd name="connsiteX32186" fmla="*/ 2369895 w 8079933"/>
              <a:gd name="connsiteY32186" fmla="*/ 4455226 h 4687251"/>
              <a:gd name="connsiteX32187" fmla="*/ 2374453 w 8079933"/>
              <a:gd name="connsiteY32187" fmla="*/ 4457608 h 4687251"/>
              <a:gd name="connsiteX32188" fmla="*/ 2375755 w 8079933"/>
              <a:gd name="connsiteY32188" fmla="*/ 4461506 h 4687251"/>
              <a:gd name="connsiteX32189" fmla="*/ 2370872 w 8079933"/>
              <a:gd name="connsiteY32189" fmla="*/ 4461397 h 4687251"/>
              <a:gd name="connsiteX32190" fmla="*/ 2369678 w 8079933"/>
              <a:gd name="connsiteY32190" fmla="*/ 4459665 h 4687251"/>
              <a:gd name="connsiteX32191" fmla="*/ 2362082 w 8079933"/>
              <a:gd name="connsiteY32191" fmla="*/ 4457391 h 4687251"/>
              <a:gd name="connsiteX32192" fmla="*/ 2358501 w 8079933"/>
              <a:gd name="connsiteY32192" fmla="*/ 4457391 h 4687251"/>
              <a:gd name="connsiteX32193" fmla="*/ 2358501 w 8079933"/>
              <a:gd name="connsiteY32193" fmla="*/ 4459340 h 4687251"/>
              <a:gd name="connsiteX32194" fmla="*/ 2364144 w 8079933"/>
              <a:gd name="connsiteY32194" fmla="*/ 4460207 h 4687251"/>
              <a:gd name="connsiteX32195" fmla="*/ 2367291 w 8079933"/>
              <a:gd name="connsiteY32195" fmla="*/ 4461181 h 4687251"/>
              <a:gd name="connsiteX32196" fmla="*/ 2367399 w 8079933"/>
              <a:gd name="connsiteY32196" fmla="*/ 4464321 h 4687251"/>
              <a:gd name="connsiteX32197" fmla="*/ 2364469 w 8079933"/>
              <a:gd name="connsiteY32197" fmla="*/ 4467244 h 4687251"/>
              <a:gd name="connsiteX32198" fmla="*/ 2362841 w 8079933"/>
              <a:gd name="connsiteY32198" fmla="*/ 4471900 h 4687251"/>
              <a:gd name="connsiteX32199" fmla="*/ 2360020 w 8079933"/>
              <a:gd name="connsiteY32199" fmla="*/ 4468110 h 4687251"/>
              <a:gd name="connsiteX32200" fmla="*/ 2359369 w 8079933"/>
              <a:gd name="connsiteY32200" fmla="*/ 4464321 h 4687251"/>
              <a:gd name="connsiteX32201" fmla="*/ 2355354 w 8079933"/>
              <a:gd name="connsiteY32201" fmla="*/ 4461506 h 4687251"/>
              <a:gd name="connsiteX32202" fmla="*/ 2356548 w 8079933"/>
              <a:gd name="connsiteY32202" fmla="*/ 4465187 h 4687251"/>
              <a:gd name="connsiteX32203" fmla="*/ 2355571 w 8079933"/>
              <a:gd name="connsiteY32203" fmla="*/ 4467894 h 4687251"/>
              <a:gd name="connsiteX32204" fmla="*/ 2357850 w 8079933"/>
              <a:gd name="connsiteY32204" fmla="*/ 4474282 h 4687251"/>
              <a:gd name="connsiteX32205" fmla="*/ 2354486 w 8079933"/>
              <a:gd name="connsiteY32205" fmla="*/ 4474823 h 4687251"/>
              <a:gd name="connsiteX32206" fmla="*/ 2350362 w 8079933"/>
              <a:gd name="connsiteY32206" fmla="*/ 4471033 h 4687251"/>
              <a:gd name="connsiteX32207" fmla="*/ 2348300 w 8079933"/>
              <a:gd name="connsiteY32207" fmla="*/ 4468219 h 4687251"/>
              <a:gd name="connsiteX32208" fmla="*/ 2346781 w 8079933"/>
              <a:gd name="connsiteY32208" fmla="*/ 4463238 h 4687251"/>
              <a:gd name="connsiteX32209" fmla="*/ 2345262 w 8079933"/>
              <a:gd name="connsiteY32209" fmla="*/ 4462805 h 4687251"/>
              <a:gd name="connsiteX32210" fmla="*/ 2340921 w 8079933"/>
              <a:gd name="connsiteY32210" fmla="*/ 4457500 h 4687251"/>
              <a:gd name="connsiteX32211" fmla="*/ 2341898 w 8079933"/>
              <a:gd name="connsiteY32211" fmla="*/ 4454793 h 4687251"/>
              <a:gd name="connsiteX32212" fmla="*/ 2344177 w 8079933"/>
              <a:gd name="connsiteY32212" fmla="*/ 4454468 h 4687251"/>
              <a:gd name="connsiteX32213" fmla="*/ 2346239 w 8079933"/>
              <a:gd name="connsiteY32213" fmla="*/ 4455984 h 4687251"/>
              <a:gd name="connsiteX32214" fmla="*/ 2348517 w 8079933"/>
              <a:gd name="connsiteY32214" fmla="*/ 4456092 h 4687251"/>
              <a:gd name="connsiteX32215" fmla="*/ 2347107 w 8079933"/>
              <a:gd name="connsiteY32215" fmla="*/ 4451544 h 4687251"/>
              <a:gd name="connsiteX32216" fmla="*/ 2347541 w 8079933"/>
              <a:gd name="connsiteY32216" fmla="*/ 4446998 h 4687251"/>
              <a:gd name="connsiteX32217" fmla="*/ 2344828 w 8079933"/>
              <a:gd name="connsiteY32217" fmla="*/ 4449704 h 4687251"/>
              <a:gd name="connsiteX32218" fmla="*/ 2342658 w 8079933"/>
              <a:gd name="connsiteY32218" fmla="*/ 4449813 h 4687251"/>
              <a:gd name="connsiteX32219" fmla="*/ 2338968 w 8079933"/>
              <a:gd name="connsiteY32219" fmla="*/ 4445590 h 4687251"/>
              <a:gd name="connsiteX32220" fmla="*/ 2338968 w 8079933"/>
              <a:gd name="connsiteY32220" fmla="*/ 4442666 h 4687251"/>
              <a:gd name="connsiteX32221" fmla="*/ 2335603 w 8079933"/>
              <a:gd name="connsiteY32221" fmla="*/ 4442666 h 4687251"/>
              <a:gd name="connsiteX32222" fmla="*/ 2333108 w 8079933"/>
              <a:gd name="connsiteY32222" fmla="*/ 4441042 h 4687251"/>
              <a:gd name="connsiteX32223" fmla="*/ 2335930 w 8079933"/>
              <a:gd name="connsiteY32223" fmla="*/ 4437253 h 4687251"/>
              <a:gd name="connsiteX32224" fmla="*/ 2339728 w 8079933"/>
              <a:gd name="connsiteY32224" fmla="*/ 4435954 h 4687251"/>
              <a:gd name="connsiteX32225" fmla="*/ 2340704 w 8079933"/>
              <a:gd name="connsiteY32225" fmla="*/ 4433031 h 4687251"/>
              <a:gd name="connsiteX32226" fmla="*/ 2340921 w 8079933"/>
              <a:gd name="connsiteY32226" fmla="*/ 4429457 h 4687251"/>
              <a:gd name="connsiteX32227" fmla="*/ 2337123 w 8079933"/>
              <a:gd name="connsiteY32227" fmla="*/ 4433680 h 4687251"/>
              <a:gd name="connsiteX32228" fmla="*/ 2335387 w 8079933"/>
              <a:gd name="connsiteY32228" fmla="*/ 4431299 h 4687251"/>
              <a:gd name="connsiteX32229" fmla="*/ 2333976 w 8079933"/>
              <a:gd name="connsiteY32229" fmla="*/ 4426859 h 4687251"/>
              <a:gd name="connsiteX32230" fmla="*/ 2336146 w 8079933"/>
              <a:gd name="connsiteY32230" fmla="*/ 4426642 h 4687251"/>
              <a:gd name="connsiteX32231" fmla="*/ 2336798 w 8079933"/>
              <a:gd name="connsiteY32231" fmla="*/ 4424369 h 4687251"/>
              <a:gd name="connsiteX32232" fmla="*/ 2333108 w 8079933"/>
              <a:gd name="connsiteY32232" fmla="*/ 4421662 h 4687251"/>
              <a:gd name="connsiteX32233" fmla="*/ 2323993 w 8079933"/>
              <a:gd name="connsiteY32233" fmla="*/ 4419713 h 4687251"/>
              <a:gd name="connsiteX32234" fmla="*/ 2317481 w 8079933"/>
              <a:gd name="connsiteY32234" fmla="*/ 4414949 h 4687251"/>
              <a:gd name="connsiteX32235" fmla="*/ 2317156 w 8079933"/>
              <a:gd name="connsiteY32235" fmla="*/ 4411809 h 4687251"/>
              <a:gd name="connsiteX32236" fmla="*/ 2319001 w 8079933"/>
              <a:gd name="connsiteY32236" fmla="*/ 4407695 h 4687251"/>
              <a:gd name="connsiteX32237" fmla="*/ 2321496 w 8079933"/>
              <a:gd name="connsiteY32237" fmla="*/ 4406071 h 4687251"/>
              <a:gd name="connsiteX32238" fmla="*/ 2321496 w 8079933"/>
              <a:gd name="connsiteY32238" fmla="*/ 4401849 h 4687251"/>
              <a:gd name="connsiteX32239" fmla="*/ 2322473 w 8079933"/>
              <a:gd name="connsiteY32239" fmla="*/ 4397626 h 4687251"/>
              <a:gd name="connsiteX32240" fmla="*/ 2321822 w 8079933"/>
              <a:gd name="connsiteY32240" fmla="*/ 4395136 h 4687251"/>
              <a:gd name="connsiteX32241" fmla="*/ 2325946 w 8079933"/>
              <a:gd name="connsiteY32241" fmla="*/ 4391455 h 4687251"/>
              <a:gd name="connsiteX32242" fmla="*/ 2331480 w 8079933"/>
              <a:gd name="connsiteY32242" fmla="*/ 4390156 h 4687251"/>
              <a:gd name="connsiteX32243" fmla="*/ 2332674 w 8079933"/>
              <a:gd name="connsiteY32243" fmla="*/ 4388965 h 4687251"/>
              <a:gd name="connsiteX32244" fmla="*/ 2329527 w 8079933"/>
              <a:gd name="connsiteY32244" fmla="*/ 4389181 h 4687251"/>
              <a:gd name="connsiteX32245" fmla="*/ 2325946 w 8079933"/>
              <a:gd name="connsiteY32245" fmla="*/ 4386799 h 4687251"/>
              <a:gd name="connsiteX32246" fmla="*/ 2325621 w 8079933"/>
              <a:gd name="connsiteY32246" fmla="*/ 4384200 h 4687251"/>
              <a:gd name="connsiteX32247" fmla="*/ 2328333 w 8079933"/>
              <a:gd name="connsiteY32247" fmla="*/ 4374240 h 4687251"/>
              <a:gd name="connsiteX32248" fmla="*/ 2330612 w 8079933"/>
              <a:gd name="connsiteY32248" fmla="*/ 4374023 h 4687251"/>
              <a:gd name="connsiteX32249" fmla="*/ 2329419 w 8079933"/>
              <a:gd name="connsiteY32249" fmla="*/ 4371966 h 4687251"/>
              <a:gd name="connsiteX32250" fmla="*/ 2326054 w 8079933"/>
              <a:gd name="connsiteY32250" fmla="*/ 4374240 h 4687251"/>
              <a:gd name="connsiteX32251" fmla="*/ 2323667 w 8079933"/>
              <a:gd name="connsiteY32251" fmla="*/ 4383118 h 4687251"/>
              <a:gd name="connsiteX32252" fmla="*/ 2323667 w 8079933"/>
              <a:gd name="connsiteY32252" fmla="*/ 4391022 h 4687251"/>
              <a:gd name="connsiteX32253" fmla="*/ 2319869 w 8079933"/>
              <a:gd name="connsiteY32253" fmla="*/ 4389506 h 4687251"/>
              <a:gd name="connsiteX32254" fmla="*/ 2317156 w 8079933"/>
              <a:gd name="connsiteY32254" fmla="*/ 4384850 h 4687251"/>
              <a:gd name="connsiteX32255" fmla="*/ 2317265 w 8079933"/>
              <a:gd name="connsiteY32255" fmla="*/ 4379545 h 4687251"/>
              <a:gd name="connsiteX32256" fmla="*/ 2314768 w 8079933"/>
              <a:gd name="connsiteY32256" fmla="*/ 4376297 h 4687251"/>
              <a:gd name="connsiteX32257" fmla="*/ 2311947 w 8079933"/>
              <a:gd name="connsiteY32257" fmla="*/ 4364712 h 4687251"/>
              <a:gd name="connsiteX32258" fmla="*/ 2312273 w 8079933"/>
              <a:gd name="connsiteY32258" fmla="*/ 4361681 h 4687251"/>
              <a:gd name="connsiteX32259" fmla="*/ 2314877 w 8079933"/>
              <a:gd name="connsiteY32259" fmla="*/ 4361464 h 4687251"/>
              <a:gd name="connsiteX32260" fmla="*/ 2316288 w 8079933"/>
              <a:gd name="connsiteY32260" fmla="*/ 4358757 h 4687251"/>
              <a:gd name="connsiteX32261" fmla="*/ 2315528 w 8079933"/>
              <a:gd name="connsiteY32261" fmla="*/ 4356700 h 4687251"/>
              <a:gd name="connsiteX32262" fmla="*/ 2315420 w 8079933"/>
              <a:gd name="connsiteY32262" fmla="*/ 4354318 h 4687251"/>
              <a:gd name="connsiteX32263" fmla="*/ 2319001 w 8079933"/>
              <a:gd name="connsiteY32263" fmla="*/ 4350853 h 4687251"/>
              <a:gd name="connsiteX32264" fmla="*/ 2319543 w 8079933"/>
              <a:gd name="connsiteY32264" fmla="*/ 4348255 h 4687251"/>
              <a:gd name="connsiteX32265" fmla="*/ 2316071 w 8079933"/>
              <a:gd name="connsiteY32265" fmla="*/ 4350204 h 4687251"/>
              <a:gd name="connsiteX32266" fmla="*/ 2311947 w 8079933"/>
              <a:gd name="connsiteY32266" fmla="*/ 4349121 h 4687251"/>
              <a:gd name="connsiteX32267" fmla="*/ 2311079 w 8079933"/>
              <a:gd name="connsiteY32267" fmla="*/ 4345115 h 4687251"/>
              <a:gd name="connsiteX32268" fmla="*/ 2306413 w 8079933"/>
              <a:gd name="connsiteY32268" fmla="*/ 4342300 h 4687251"/>
              <a:gd name="connsiteX32269" fmla="*/ 2305653 w 8079933"/>
              <a:gd name="connsiteY32269" fmla="*/ 4339809 h 4687251"/>
              <a:gd name="connsiteX32270" fmla="*/ 2307281 w 8079933"/>
              <a:gd name="connsiteY32270" fmla="*/ 4336453 h 4687251"/>
              <a:gd name="connsiteX32271" fmla="*/ 2314552 w 8079933"/>
              <a:gd name="connsiteY32271" fmla="*/ 4334504 h 4687251"/>
              <a:gd name="connsiteX32272" fmla="*/ 2317807 w 8079933"/>
              <a:gd name="connsiteY32272" fmla="*/ 4337103 h 4687251"/>
              <a:gd name="connsiteX32273" fmla="*/ 2319001 w 8079933"/>
              <a:gd name="connsiteY32273" fmla="*/ 4335371 h 4687251"/>
              <a:gd name="connsiteX32274" fmla="*/ 2323341 w 8079933"/>
              <a:gd name="connsiteY32274" fmla="*/ 4335154 h 4687251"/>
              <a:gd name="connsiteX32275" fmla="*/ 2324861 w 8079933"/>
              <a:gd name="connsiteY32275" fmla="*/ 4334180 h 4687251"/>
              <a:gd name="connsiteX32276" fmla="*/ 2323993 w 8079933"/>
              <a:gd name="connsiteY32276" fmla="*/ 4332447 h 4687251"/>
              <a:gd name="connsiteX32277" fmla="*/ 2325729 w 8079933"/>
              <a:gd name="connsiteY32277" fmla="*/ 4329307 h 4687251"/>
              <a:gd name="connsiteX32278" fmla="*/ 2321822 w 8079933"/>
              <a:gd name="connsiteY32278" fmla="*/ 4331039 h 4687251"/>
              <a:gd name="connsiteX32279" fmla="*/ 2319435 w 8079933"/>
              <a:gd name="connsiteY32279" fmla="*/ 4331257 h 4687251"/>
              <a:gd name="connsiteX32280" fmla="*/ 2316830 w 8079933"/>
              <a:gd name="connsiteY32280" fmla="*/ 4328658 h 4687251"/>
              <a:gd name="connsiteX32281" fmla="*/ 2310428 w 8079933"/>
              <a:gd name="connsiteY32281" fmla="*/ 4331906 h 4687251"/>
              <a:gd name="connsiteX32282" fmla="*/ 2304026 w 8079933"/>
              <a:gd name="connsiteY32282" fmla="*/ 4330931 h 4687251"/>
              <a:gd name="connsiteX32283" fmla="*/ 2302506 w 8079933"/>
              <a:gd name="connsiteY32283" fmla="*/ 4327575 h 4687251"/>
              <a:gd name="connsiteX32284" fmla="*/ 2298925 w 8079933"/>
              <a:gd name="connsiteY32284" fmla="*/ 4324327 h 4687251"/>
              <a:gd name="connsiteX32285" fmla="*/ 2299251 w 8079933"/>
              <a:gd name="connsiteY32285" fmla="*/ 4320646 h 4687251"/>
              <a:gd name="connsiteX32286" fmla="*/ 2301855 w 8079933"/>
              <a:gd name="connsiteY32286" fmla="*/ 4320213 h 4687251"/>
              <a:gd name="connsiteX32287" fmla="*/ 2303374 w 8079933"/>
              <a:gd name="connsiteY32287" fmla="*/ 4322486 h 4687251"/>
              <a:gd name="connsiteX32288" fmla="*/ 2307715 w 8079933"/>
              <a:gd name="connsiteY32288" fmla="*/ 4324327 h 4687251"/>
              <a:gd name="connsiteX32289" fmla="*/ 2308366 w 8079933"/>
              <a:gd name="connsiteY32289" fmla="*/ 4323027 h 4687251"/>
              <a:gd name="connsiteX32290" fmla="*/ 2304026 w 8079933"/>
              <a:gd name="connsiteY32290" fmla="*/ 4320213 h 4687251"/>
              <a:gd name="connsiteX32291" fmla="*/ 2302181 w 8079933"/>
              <a:gd name="connsiteY32291" fmla="*/ 4317506 h 4687251"/>
              <a:gd name="connsiteX32292" fmla="*/ 2304243 w 8079933"/>
              <a:gd name="connsiteY32292" fmla="*/ 4314258 h 4687251"/>
              <a:gd name="connsiteX32293" fmla="*/ 2306956 w 8079933"/>
              <a:gd name="connsiteY32293" fmla="*/ 4312201 h 4687251"/>
              <a:gd name="connsiteX32294" fmla="*/ 2304894 w 8079933"/>
              <a:gd name="connsiteY32294" fmla="*/ 4309386 h 4687251"/>
              <a:gd name="connsiteX32295" fmla="*/ 2306087 w 8079933"/>
              <a:gd name="connsiteY32295" fmla="*/ 4307003 h 4687251"/>
              <a:gd name="connsiteX32296" fmla="*/ 2308692 w 8079933"/>
              <a:gd name="connsiteY32296" fmla="*/ 4306462 h 4687251"/>
              <a:gd name="connsiteX32297" fmla="*/ 2306304 w 8079933"/>
              <a:gd name="connsiteY32297" fmla="*/ 4303756 h 4687251"/>
              <a:gd name="connsiteX32298" fmla="*/ 2300119 w 8079933"/>
              <a:gd name="connsiteY32298" fmla="*/ 4300615 h 4687251"/>
              <a:gd name="connsiteX32299" fmla="*/ 2298383 w 8079933"/>
              <a:gd name="connsiteY32299" fmla="*/ 4297909 h 4687251"/>
              <a:gd name="connsiteX32300" fmla="*/ 2295453 w 8079933"/>
              <a:gd name="connsiteY32300" fmla="*/ 4296718 h 4687251"/>
              <a:gd name="connsiteX32301" fmla="*/ 2293174 w 8079933"/>
              <a:gd name="connsiteY32301" fmla="*/ 4299100 h 4687251"/>
              <a:gd name="connsiteX32302" fmla="*/ 2287856 w 8079933"/>
              <a:gd name="connsiteY32302" fmla="*/ 4299317 h 4687251"/>
              <a:gd name="connsiteX32303" fmla="*/ 2283408 w 8079933"/>
              <a:gd name="connsiteY32303" fmla="*/ 4296285 h 4687251"/>
              <a:gd name="connsiteX32304" fmla="*/ 2282322 w 8079933"/>
              <a:gd name="connsiteY32304" fmla="*/ 4290872 h 4687251"/>
              <a:gd name="connsiteX32305" fmla="*/ 2281128 w 8079933"/>
              <a:gd name="connsiteY32305" fmla="*/ 4292388 h 4687251"/>
              <a:gd name="connsiteX32306" fmla="*/ 2275052 w 8079933"/>
              <a:gd name="connsiteY32306" fmla="*/ 4292929 h 4687251"/>
              <a:gd name="connsiteX32307" fmla="*/ 2272881 w 8079933"/>
              <a:gd name="connsiteY32307" fmla="*/ 4297368 h 4687251"/>
              <a:gd name="connsiteX32308" fmla="*/ 2273424 w 8079933"/>
              <a:gd name="connsiteY32308" fmla="*/ 4299750 h 4687251"/>
              <a:gd name="connsiteX32309" fmla="*/ 2277656 w 8079933"/>
              <a:gd name="connsiteY32309" fmla="*/ 4301049 h 4687251"/>
              <a:gd name="connsiteX32310" fmla="*/ 2277982 w 8079933"/>
              <a:gd name="connsiteY32310" fmla="*/ 4303972 h 4687251"/>
              <a:gd name="connsiteX32311" fmla="*/ 2275811 w 8079933"/>
              <a:gd name="connsiteY32311" fmla="*/ 4306354 h 4687251"/>
              <a:gd name="connsiteX32312" fmla="*/ 2272122 w 8079933"/>
              <a:gd name="connsiteY32312" fmla="*/ 4305813 h 4687251"/>
              <a:gd name="connsiteX32313" fmla="*/ 2265611 w 8079933"/>
              <a:gd name="connsiteY32313" fmla="*/ 4298558 h 4687251"/>
              <a:gd name="connsiteX32314" fmla="*/ 2265936 w 8079933"/>
              <a:gd name="connsiteY32314" fmla="*/ 4294986 h 4687251"/>
              <a:gd name="connsiteX32315" fmla="*/ 2272122 w 8079933"/>
              <a:gd name="connsiteY32315" fmla="*/ 4291521 h 4687251"/>
              <a:gd name="connsiteX32316" fmla="*/ 2273858 w 8079933"/>
              <a:gd name="connsiteY32316" fmla="*/ 4287515 h 4687251"/>
              <a:gd name="connsiteX32317" fmla="*/ 2277113 w 8079933"/>
              <a:gd name="connsiteY32317" fmla="*/ 4285133 h 4687251"/>
              <a:gd name="connsiteX32318" fmla="*/ 2278741 w 8079933"/>
              <a:gd name="connsiteY32318" fmla="*/ 4280694 h 4687251"/>
              <a:gd name="connsiteX32319" fmla="*/ 2281671 w 8079933"/>
              <a:gd name="connsiteY32319" fmla="*/ 4280152 h 4687251"/>
              <a:gd name="connsiteX32320" fmla="*/ 2280586 w 8079933"/>
              <a:gd name="connsiteY32320" fmla="*/ 4276472 h 4687251"/>
              <a:gd name="connsiteX32321" fmla="*/ 2278850 w 8079933"/>
              <a:gd name="connsiteY32321" fmla="*/ 4276254 h 4687251"/>
              <a:gd name="connsiteX32322" fmla="*/ 2276462 w 8079933"/>
              <a:gd name="connsiteY32322" fmla="*/ 4271274 h 4687251"/>
              <a:gd name="connsiteX32323" fmla="*/ 2276679 w 8079933"/>
              <a:gd name="connsiteY32323" fmla="*/ 4268568 h 4687251"/>
              <a:gd name="connsiteX32324" fmla="*/ 2279935 w 8079933"/>
              <a:gd name="connsiteY32324" fmla="*/ 4267701 h 4687251"/>
              <a:gd name="connsiteX32325" fmla="*/ 2282648 w 8079933"/>
              <a:gd name="connsiteY32325" fmla="*/ 4268568 h 4687251"/>
              <a:gd name="connsiteX32326" fmla="*/ 2291112 w 8079933"/>
              <a:gd name="connsiteY32326" fmla="*/ 4268134 h 4687251"/>
              <a:gd name="connsiteX32327" fmla="*/ 2295887 w 8079933"/>
              <a:gd name="connsiteY32327" fmla="*/ 4266402 h 4687251"/>
              <a:gd name="connsiteX32328" fmla="*/ 2297732 w 8079933"/>
              <a:gd name="connsiteY32328" fmla="*/ 4267701 h 4687251"/>
              <a:gd name="connsiteX32329" fmla="*/ 2297732 w 8079933"/>
              <a:gd name="connsiteY32329" fmla="*/ 4274197 h 4687251"/>
              <a:gd name="connsiteX32330" fmla="*/ 2294910 w 8079933"/>
              <a:gd name="connsiteY32330" fmla="*/ 4276254 h 4687251"/>
              <a:gd name="connsiteX32331" fmla="*/ 2290569 w 8079933"/>
              <a:gd name="connsiteY32331" fmla="*/ 4277770 h 4687251"/>
              <a:gd name="connsiteX32332" fmla="*/ 2290461 w 8079933"/>
              <a:gd name="connsiteY32332" fmla="*/ 4279828 h 4687251"/>
              <a:gd name="connsiteX32333" fmla="*/ 2293065 w 8079933"/>
              <a:gd name="connsiteY32333" fmla="*/ 4280152 h 4687251"/>
              <a:gd name="connsiteX32334" fmla="*/ 2297515 w 8079933"/>
              <a:gd name="connsiteY32334" fmla="*/ 4277121 h 4687251"/>
              <a:gd name="connsiteX32335" fmla="*/ 2303699 w 8079933"/>
              <a:gd name="connsiteY32335" fmla="*/ 4275064 h 4687251"/>
              <a:gd name="connsiteX32336" fmla="*/ 2305762 w 8079933"/>
              <a:gd name="connsiteY32336" fmla="*/ 4275713 h 4687251"/>
              <a:gd name="connsiteX32337" fmla="*/ 2304894 w 8079933"/>
              <a:gd name="connsiteY32337" fmla="*/ 4278095 h 4687251"/>
              <a:gd name="connsiteX32338" fmla="*/ 2305653 w 8079933"/>
              <a:gd name="connsiteY32338" fmla="*/ 4282101 h 4687251"/>
              <a:gd name="connsiteX32339" fmla="*/ 2304243 w 8079933"/>
              <a:gd name="connsiteY32339" fmla="*/ 4289680 h 4687251"/>
              <a:gd name="connsiteX32340" fmla="*/ 2302506 w 8079933"/>
              <a:gd name="connsiteY32340" fmla="*/ 4291846 h 4687251"/>
              <a:gd name="connsiteX32341" fmla="*/ 2304243 w 8079933"/>
              <a:gd name="connsiteY32341" fmla="*/ 4294661 h 4687251"/>
              <a:gd name="connsiteX32342" fmla="*/ 2305111 w 8079933"/>
              <a:gd name="connsiteY32342" fmla="*/ 4290005 h 4687251"/>
              <a:gd name="connsiteX32343" fmla="*/ 2308366 w 8079933"/>
              <a:gd name="connsiteY32343" fmla="*/ 4288273 h 4687251"/>
              <a:gd name="connsiteX32344" fmla="*/ 2308692 w 8079933"/>
              <a:gd name="connsiteY32344" fmla="*/ 4279395 h 4687251"/>
              <a:gd name="connsiteX32345" fmla="*/ 2309885 w 8079933"/>
              <a:gd name="connsiteY32345" fmla="*/ 4276579 h 4687251"/>
              <a:gd name="connsiteX32346" fmla="*/ 2307281 w 8079933"/>
              <a:gd name="connsiteY32346" fmla="*/ 4275389 h 4687251"/>
              <a:gd name="connsiteX32347" fmla="*/ 2307498 w 8079933"/>
              <a:gd name="connsiteY32347" fmla="*/ 4270084 h 4687251"/>
              <a:gd name="connsiteX32348" fmla="*/ 2310102 w 8079933"/>
              <a:gd name="connsiteY32348" fmla="*/ 4262613 h 4687251"/>
              <a:gd name="connsiteX32349" fmla="*/ 2313467 w 8079933"/>
              <a:gd name="connsiteY32349" fmla="*/ 4258499 h 4687251"/>
              <a:gd name="connsiteX32350" fmla="*/ 2311622 w 8079933"/>
              <a:gd name="connsiteY32350" fmla="*/ 4257307 h 4687251"/>
              <a:gd name="connsiteX32351" fmla="*/ 2311405 w 8079933"/>
              <a:gd name="connsiteY32351" fmla="*/ 4254384 h 4687251"/>
              <a:gd name="connsiteX32352" fmla="*/ 2313141 w 8079933"/>
              <a:gd name="connsiteY32352" fmla="*/ 4252111 h 4687251"/>
              <a:gd name="connsiteX32353" fmla="*/ 2311296 w 8079933"/>
              <a:gd name="connsiteY32353" fmla="*/ 4247022 h 4687251"/>
              <a:gd name="connsiteX32354" fmla="*/ 2311839 w 8079933"/>
              <a:gd name="connsiteY32354" fmla="*/ 4242366 h 4687251"/>
              <a:gd name="connsiteX32355" fmla="*/ 2314552 w 8079933"/>
              <a:gd name="connsiteY32355" fmla="*/ 4242366 h 4687251"/>
              <a:gd name="connsiteX32356" fmla="*/ 2320737 w 8079933"/>
              <a:gd name="connsiteY32356" fmla="*/ 4238577 h 4687251"/>
              <a:gd name="connsiteX32357" fmla="*/ 2324209 w 8079933"/>
              <a:gd name="connsiteY32357" fmla="*/ 4233379 h 4687251"/>
              <a:gd name="connsiteX32358" fmla="*/ 2324752 w 8079933"/>
              <a:gd name="connsiteY32358" fmla="*/ 4225909 h 4687251"/>
              <a:gd name="connsiteX32359" fmla="*/ 2322799 w 8079933"/>
              <a:gd name="connsiteY32359" fmla="*/ 4222985 h 4687251"/>
              <a:gd name="connsiteX32360" fmla="*/ 2318675 w 8079933"/>
              <a:gd name="connsiteY32360" fmla="*/ 4222228 h 4687251"/>
              <a:gd name="connsiteX32361" fmla="*/ 2318133 w 8079933"/>
              <a:gd name="connsiteY32361" fmla="*/ 4218655 h 4687251"/>
              <a:gd name="connsiteX32362" fmla="*/ 2315203 w 8079933"/>
              <a:gd name="connsiteY32362" fmla="*/ 4215732 h 4687251"/>
              <a:gd name="connsiteX32363" fmla="*/ 2310645 w 8079933"/>
              <a:gd name="connsiteY32363" fmla="*/ 4215515 h 4687251"/>
              <a:gd name="connsiteX32364" fmla="*/ 2308149 w 8079933"/>
              <a:gd name="connsiteY32364" fmla="*/ 4213133 h 4687251"/>
              <a:gd name="connsiteX32365" fmla="*/ 2308366 w 8079933"/>
              <a:gd name="connsiteY32365" fmla="*/ 4210210 h 4687251"/>
              <a:gd name="connsiteX32366" fmla="*/ 2311296 w 8079933"/>
              <a:gd name="connsiteY32366" fmla="*/ 4206637 h 4687251"/>
              <a:gd name="connsiteX32367" fmla="*/ 2312164 w 8079933"/>
              <a:gd name="connsiteY32367" fmla="*/ 4200790 h 4687251"/>
              <a:gd name="connsiteX32368" fmla="*/ 2313467 w 8079933"/>
              <a:gd name="connsiteY32368" fmla="*/ 4196784 h 4687251"/>
              <a:gd name="connsiteX32369" fmla="*/ 2308366 w 8079933"/>
              <a:gd name="connsiteY32369" fmla="*/ 4193536 h 4687251"/>
              <a:gd name="connsiteX32370" fmla="*/ 2307715 w 8079933"/>
              <a:gd name="connsiteY32370" fmla="*/ 4191154 h 4687251"/>
              <a:gd name="connsiteX32371" fmla="*/ 2311839 w 8079933"/>
              <a:gd name="connsiteY32371" fmla="*/ 4186715 h 4687251"/>
              <a:gd name="connsiteX32372" fmla="*/ 2310102 w 8079933"/>
              <a:gd name="connsiteY32372" fmla="*/ 4185308 h 4687251"/>
              <a:gd name="connsiteX32373" fmla="*/ 2310428 w 8079933"/>
              <a:gd name="connsiteY32373" fmla="*/ 4182059 h 4687251"/>
              <a:gd name="connsiteX32374" fmla="*/ 2314009 w 8079933"/>
              <a:gd name="connsiteY32374" fmla="*/ 4177945 h 4687251"/>
              <a:gd name="connsiteX32375" fmla="*/ 2310102 w 8079933"/>
              <a:gd name="connsiteY32375" fmla="*/ 4174155 h 4687251"/>
              <a:gd name="connsiteX32376" fmla="*/ 2309669 w 8079933"/>
              <a:gd name="connsiteY32376" fmla="*/ 4168309 h 4687251"/>
              <a:gd name="connsiteX32377" fmla="*/ 2311839 w 8079933"/>
              <a:gd name="connsiteY32377" fmla="*/ 4166576 h 4687251"/>
              <a:gd name="connsiteX32378" fmla="*/ 2314877 w 8079933"/>
              <a:gd name="connsiteY32378" fmla="*/ 4165494 h 4687251"/>
              <a:gd name="connsiteX32379" fmla="*/ 2314009 w 8079933"/>
              <a:gd name="connsiteY32379" fmla="*/ 4163112 h 4687251"/>
              <a:gd name="connsiteX32380" fmla="*/ 2309560 w 8079933"/>
              <a:gd name="connsiteY32380" fmla="*/ 4159864 h 4687251"/>
              <a:gd name="connsiteX32381" fmla="*/ 2309234 w 8079933"/>
              <a:gd name="connsiteY32381" fmla="*/ 4157482 h 4687251"/>
              <a:gd name="connsiteX32382" fmla="*/ 2310645 w 8079933"/>
              <a:gd name="connsiteY32382" fmla="*/ 4155100 h 4687251"/>
              <a:gd name="connsiteX32383" fmla="*/ 2313358 w 8079933"/>
              <a:gd name="connsiteY32383" fmla="*/ 4156291 h 4687251"/>
              <a:gd name="connsiteX32384" fmla="*/ 2315094 w 8079933"/>
              <a:gd name="connsiteY32384" fmla="*/ 4160188 h 4687251"/>
              <a:gd name="connsiteX32385" fmla="*/ 2317265 w 8079933"/>
              <a:gd name="connsiteY32385" fmla="*/ 4162570 h 4687251"/>
              <a:gd name="connsiteX32386" fmla="*/ 2318567 w 8079933"/>
              <a:gd name="connsiteY32386" fmla="*/ 4161380 h 4687251"/>
              <a:gd name="connsiteX32387" fmla="*/ 2316288 w 8079933"/>
              <a:gd name="connsiteY32387" fmla="*/ 4158673 h 4687251"/>
              <a:gd name="connsiteX32388" fmla="*/ 2315745 w 8079933"/>
              <a:gd name="connsiteY32388" fmla="*/ 4150336 h 4687251"/>
              <a:gd name="connsiteX32389" fmla="*/ 2315203 w 8079933"/>
              <a:gd name="connsiteY32389" fmla="*/ 4146763 h 4687251"/>
              <a:gd name="connsiteX32390" fmla="*/ 2312490 w 8079933"/>
              <a:gd name="connsiteY32390" fmla="*/ 4148496 h 4687251"/>
              <a:gd name="connsiteX32391" fmla="*/ 2308583 w 8079933"/>
              <a:gd name="connsiteY32391" fmla="*/ 4146763 h 4687251"/>
              <a:gd name="connsiteX32392" fmla="*/ 2308583 w 8079933"/>
              <a:gd name="connsiteY32392" fmla="*/ 4143731 h 4687251"/>
              <a:gd name="connsiteX32393" fmla="*/ 2313684 w 8079933"/>
              <a:gd name="connsiteY32393" fmla="*/ 4139076 h 4687251"/>
              <a:gd name="connsiteX32394" fmla="*/ 2316071 w 8079933"/>
              <a:gd name="connsiteY32394" fmla="*/ 4135503 h 4687251"/>
              <a:gd name="connsiteX32395" fmla="*/ 2313032 w 8079933"/>
              <a:gd name="connsiteY32395" fmla="*/ 4135936 h 4687251"/>
              <a:gd name="connsiteX32396" fmla="*/ 2311405 w 8079933"/>
              <a:gd name="connsiteY32396" fmla="*/ 4137019 h 4687251"/>
              <a:gd name="connsiteX32397" fmla="*/ 2307824 w 8079933"/>
              <a:gd name="connsiteY32397" fmla="*/ 4132688 h 4687251"/>
              <a:gd name="connsiteX32398" fmla="*/ 2303483 w 8079933"/>
              <a:gd name="connsiteY32398" fmla="*/ 4132580 h 4687251"/>
              <a:gd name="connsiteX32399" fmla="*/ 2302506 w 8079933"/>
              <a:gd name="connsiteY32399" fmla="*/ 4133879 h 4687251"/>
              <a:gd name="connsiteX32400" fmla="*/ 2302181 w 8079933"/>
              <a:gd name="connsiteY32400" fmla="*/ 4140592 h 4687251"/>
              <a:gd name="connsiteX32401" fmla="*/ 2295453 w 8079933"/>
              <a:gd name="connsiteY32401" fmla="*/ 4142324 h 4687251"/>
              <a:gd name="connsiteX32402" fmla="*/ 2288507 w 8079933"/>
              <a:gd name="connsiteY32402" fmla="*/ 4139401 h 4687251"/>
              <a:gd name="connsiteX32403" fmla="*/ 2286771 w 8079933"/>
              <a:gd name="connsiteY32403" fmla="*/ 4135828 h 4687251"/>
              <a:gd name="connsiteX32404" fmla="*/ 2284601 w 8079933"/>
              <a:gd name="connsiteY32404" fmla="*/ 4133554 h 4687251"/>
              <a:gd name="connsiteX32405" fmla="*/ 2277113 w 8079933"/>
              <a:gd name="connsiteY32405" fmla="*/ 4122078 h 4687251"/>
              <a:gd name="connsiteX32406" fmla="*/ 2275594 w 8079933"/>
              <a:gd name="connsiteY32406" fmla="*/ 4119587 h 4687251"/>
              <a:gd name="connsiteX32407" fmla="*/ 2276679 w 8079933"/>
              <a:gd name="connsiteY32407" fmla="*/ 4118072 h 4687251"/>
              <a:gd name="connsiteX32408" fmla="*/ 2277656 w 8079933"/>
              <a:gd name="connsiteY32408" fmla="*/ 4114823 h 4687251"/>
              <a:gd name="connsiteX32409" fmla="*/ 2275052 w 8079933"/>
              <a:gd name="connsiteY32409" fmla="*/ 4112550 h 4687251"/>
              <a:gd name="connsiteX32410" fmla="*/ 2277330 w 8079933"/>
              <a:gd name="connsiteY32410" fmla="*/ 4109843 h 4687251"/>
              <a:gd name="connsiteX32411" fmla="*/ 2276462 w 8079933"/>
              <a:gd name="connsiteY32411" fmla="*/ 4105512 h 4687251"/>
              <a:gd name="connsiteX32412" fmla="*/ 2279067 w 8079933"/>
              <a:gd name="connsiteY32412" fmla="*/ 4095768 h 4687251"/>
              <a:gd name="connsiteX32413" fmla="*/ 2275920 w 8079933"/>
              <a:gd name="connsiteY32413" fmla="*/ 4093169 h 4687251"/>
              <a:gd name="connsiteX32414" fmla="*/ 2274726 w 8079933"/>
              <a:gd name="connsiteY32414" fmla="*/ 4088730 h 4687251"/>
              <a:gd name="connsiteX32415" fmla="*/ 2276354 w 8079933"/>
              <a:gd name="connsiteY32415" fmla="*/ 4084399 h 4687251"/>
              <a:gd name="connsiteX32416" fmla="*/ 2278850 w 8079933"/>
              <a:gd name="connsiteY32416" fmla="*/ 4084075 h 4687251"/>
              <a:gd name="connsiteX32417" fmla="*/ 2280586 w 8079933"/>
              <a:gd name="connsiteY32417" fmla="*/ 4085049 h 4687251"/>
              <a:gd name="connsiteX32418" fmla="*/ 2281454 w 8079933"/>
              <a:gd name="connsiteY32418" fmla="*/ 4082017 h 4687251"/>
              <a:gd name="connsiteX32419" fmla="*/ 2280586 w 8079933"/>
              <a:gd name="connsiteY32419" fmla="*/ 4078661 h 4687251"/>
              <a:gd name="connsiteX32420" fmla="*/ 2282539 w 8079933"/>
              <a:gd name="connsiteY32420" fmla="*/ 4077145 h 4687251"/>
              <a:gd name="connsiteX32421" fmla="*/ 2284601 w 8079933"/>
              <a:gd name="connsiteY32421" fmla="*/ 4066643 h 4687251"/>
              <a:gd name="connsiteX32422" fmla="*/ 2284601 w 8079933"/>
              <a:gd name="connsiteY32422" fmla="*/ 4058631 h 4687251"/>
              <a:gd name="connsiteX32423" fmla="*/ 2281671 w 8079933"/>
              <a:gd name="connsiteY32423" fmla="*/ 4055924 h 4687251"/>
              <a:gd name="connsiteX32424" fmla="*/ 2280477 w 8079933"/>
              <a:gd name="connsiteY32424" fmla="*/ 4052460 h 4687251"/>
              <a:gd name="connsiteX32425" fmla="*/ 2272990 w 8079933"/>
              <a:gd name="connsiteY32425" fmla="*/ 4039900 h 4687251"/>
              <a:gd name="connsiteX32426" fmla="*/ 2273858 w 8079933"/>
              <a:gd name="connsiteY32426" fmla="*/ 4033512 h 4687251"/>
              <a:gd name="connsiteX32427" fmla="*/ 2273207 w 8079933"/>
              <a:gd name="connsiteY32427" fmla="*/ 4028531 h 4687251"/>
              <a:gd name="connsiteX32428" fmla="*/ 2267998 w 8079933"/>
              <a:gd name="connsiteY32428" fmla="*/ 4024200 h 4687251"/>
              <a:gd name="connsiteX32429" fmla="*/ 2264743 w 8079933"/>
              <a:gd name="connsiteY32429" fmla="*/ 4019437 h 4687251"/>
              <a:gd name="connsiteX32430" fmla="*/ 2264634 w 8079933"/>
              <a:gd name="connsiteY32430" fmla="*/ 4012183 h 4687251"/>
              <a:gd name="connsiteX32431" fmla="*/ 2263766 w 8079933"/>
              <a:gd name="connsiteY32431" fmla="*/ 4006986 h 4687251"/>
              <a:gd name="connsiteX32432" fmla="*/ 2264200 w 8079933"/>
              <a:gd name="connsiteY32432" fmla="*/ 4004063 h 4687251"/>
              <a:gd name="connsiteX32433" fmla="*/ 2267672 w 8079933"/>
              <a:gd name="connsiteY32433" fmla="*/ 4003304 h 4687251"/>
              <a:gd name="connsiteX32434" fmla="*/ 2270602 w 8079933"/>
              <a:gd name="connsiteY32434" fmla="*/ 4005470 h 4687251"/>
              <a:gd name="connsiteX32435" fmla="*/ 2273424 w 8079933"/>
              <a:gd name="connsiteY32435" fmla="*/ 4005145 h 4687251"/>
              <a:gd name="connsiteX32436" fmla="*/ 2276137 w 8079933"/>
              <a:gd name="connsiteY32436" fmla="*/ 4001247 h 4687251"/>
              <a:gd name="connsiteX32437" fmla="*/ 2275920 w 8079933"/>
              <a:gd name="connsiteY32437" fmla="*/ 3996375 h 4687251"/>
              <a:gd name="connsiteX32438" fmla="*/ 2274400 w 8079933"/>
              <a:gd name="connsiteY32438" fmla="*/ 3992478 h 4687251"/>
              <a:gd name="connsiteX32439" fmla="*/ 2274726 w 8079933"/>
              <a:gd name="connsiteY32439" fmla="*/ 3989013 h 4687251"/>
              <a:gd name="connsiteX32440" fmla="*/ 2276354 w 8079933"/>
              <a:gd name="connsiteY32440" fmla="*/ 3986090 h 4687251"/>
              <a:gd name="connsiteX32441" fmla="*/ 2276354 w 8079933"/>
              <a:gd name="connsiteY32441" fmla="*/ 3981651 h 4687251"/>
              <a:gd name="connsiteX32442" fmla="*/ 2279610 w 8079933"/>
              <a:gd name="connsiteY32442" fmla="*/ 3979377 h 4687251"/>
              <a:gd name="connsiteX32443" fmla="*/ 2280151 w 8079933"/>
              <a:gd name="connsiteY32443" fmla="*/ 3975371 h 4687251"/>
              <a:gd name="connsiteX32444" fmla="*/ 2280260 w 8079933"/>
              <a:gd name="connsiteY32444" fmla="*/ 3968874 h 4687251"/>
              <a:gd name="connsiteX32445" fmla="*/ 2283190 w 8079933"/>
              <a:gd name="connsiteY32445" fmla="*/ 3964544 h 4687251"/>
              <a:gd name="connsiteX32446" fmla="*/ 2281454 w 8079933"/>
              <a:gd name="connsiteY32446" fmla="*/ 3961837 h 4687251"/>
              <a:gd name="connsiteX32447" fmla="*/ 2281128 w 8079933"/>
              <a:gd name="connsiteY32447" fmla="*/ 3959238 h 4687251"/>
              <a:gd name="connsiteX32448" fmla="*/ 2283841 w 8079933"/>
              <a:gd name="connsiteY32448" fmla="*/ 3956315 h 4687251"/>
              <a:gd name="connsiteX32449" fmla="*/ 2284384 w 8079933"/>
              <a:gd name="connsiteY32449" fmla="*/ 3950468 h 4687251"/>
              <a:gd name="connsiteX32450" fmla="*/ 2285578 w 8079933"/>
              <a:gd name="connsiteY32450" fmla="*/ 3948411 h 4687251"/>
              <a:gd name="connsiteX32451" fmla="*/ 2285252 w 8079933"/>
              <a:gd name="connsiteY32451" fmla="*/ 3944081 h 4687251"/>
              <a:gd name="connsiteX32452" fmla="*/ 2287314 w 8079933"/>
              <a:gd name="connsiteY32452" fmla="*/ 3940183 h 4687251"/>
              <a:gd name="connsiteX32453" fmla="*/ 2287965 w 8079933"/>
              <a:gd name="connsiteY32453" fmla="*/ 3932929 h 4687251"/>
              <a:gd name="connsiteX32454" fmla="*/ 2287965 w 8079933"/>
              <a:gd name="connsiteY32454" fmla="*/ 3929031 h 4687251"/>
              <a:gd name="connsiteX32455" fmla="*/ 2290787 w 8079933"/>
              <a:gd name="connsiteY32455" fmla="*/ 3925891 h 4687251"/>
              <a:gd name="connsiteX32456" fmla="*/ 2292522 w 8079933"/>
              <a:gd name="connsiteY32456" fmla="*/ 3920261 h 4687251"/>
              <a:gd name="connsiteX32457" fmla="*/ 2290569 w 8079933"/>
              <a:gd name="connsiteY32457" fmla="*/ 3917987 h 4687251"/>
              <a:gd name="connsiteX32458" fmla="*/ 2290569 w 8079933"/>
              <a:gd name="connsiteY32458" fmla="*/ 3915930 h 4687251"/>
              <a:gd name="connsiteX32459" fmla="*/ 2293825 w 8079933"/>
              <a:gd name="connsiteY32459" fmla="*/ 3909217 h 4687251"/>
              <a:gd name="connsiteX32460" fmla="*/ 2297515 w 8079933"/>
              <a:gd name="connsiteY32460" fmla="*/ 3907052 h 4687251"/>
              <a:gd name="connsiteX32461" fmla="*/ 2300119 w 8079933"/>
              <a:gd name="connsiteY32461" fmla="*/ 3902830 h 4687251"/>
              <a:gd name="connsiteX32462" fmla="*/ 2299360 w 8079933"/>
              <a:gd name="connsiteY32462" fmla="*/ 3898715 h 4687251"/>
              <a:gd name="connsiteX32463" fmla="*/ 2294042 w 8079933"/>
              <a:gd name="connsiteY32463" fmla="*/ 3891353 h 4687251"/>
              <a:gd name="connsiteX32464" fmla="*/ 2292631 w 8079933"/>
              <a:gd name="connsiteY32464" fmla="*/ 3888971 h 4687251"/>
              <a:gd name="connsiteX32465" fmla="*/ 2293825 w 8079933"/>
              <a:gd name="connsiteY32465" fmla="*/ 3884857 h 4687251"/>
              <a:gd name="connsiteX32466" fmla="*/ 2294585 w 8079933"/>
              <a:gd name="connsiteY32466" fmla="*/ 3881175 h 4687251"/>
              <a:gd name="connsiteX32467" fmla="*/ 2293390 w 8079933"/>
              <a:gd name="connsiteY32467" fmla="*/ 3877061 h 4687251"/>
              <a:gd name="connsiteX32468" fmla="*/ 2293174 w 8079933"/>
              <a:gd name="connsiteY32468" fmla="*/ 3874679 h 4687251"/>
              <a:gd name="connsiteX32469" fmla="*/ 2294802 w 8079933"/>
              <a:gd name="connsiteY32469" fmla="*/ 3868832 h 4687251"/>
              <a:gd name="connsiteX32470" fmla="*/ 2294367 w 8079933"/>
              <a:gd name="connsiteY32470" fmla="*/ 3860387 h 4687251"/>
              <a:gd name="connsiteX32471" fmla="*/ 2289376 w 8079933"/>
              <a:gd name="connsiteY32471" fmla="*/ 3853133 h 4687251"/>
              <a:gd name="connsiteX32472" fmla="*/ 2288833 w 8079933"/>
              <a:gd name="connsiteY32472" fmla="*/ 3848911 h 4687251"/>
              <a:gd name="connsiteX32473" fmla="*/ 2291112 w 8079933"/>
              <a:gd name="connsiteY32473" fmla="*/ 3846312 h 4687251"/>
              <a:gd name="connsiteX32474" fmla="*/ 2291112 w 8079933"/>
              <a:gd name="connsiteY32474" fmla="*/ 3838408 h 4687251"/>
              <a:gd name="connsiteX32475" fmla="*/ 2285578 w 8079933"/>
              <a:gd name="connsiteY32475" fmla="*/ 3824117 h 4687251"/>
              <a:gd name="connsiteX32476" fmla="*/ 2285144 w 8079933"/>
              <a:gd name="connsiteY32476" fmla="*/ 3819137 h 4687251"/>
              <a:gd name="connsiteX32477" fmla="*/ 2284058 w 8079933"/>
              <a:gd name="connsiteY32477" fmla="*/ 3813831 h 4687251"/>
              <a:gd name="connsiteX32478" fmla="*/ 2284276 w 8079933"/>
              <a:gd name="connsiteY32478" fmla="*/ 3807660 h 4687251"/>
              <a:gd name="connsiteX32479" fmla="*/ 2287531 w 8079933"/>
              <a:gd name="connsiteY32479" fmla="*/ 3806252 h 4687251"/>
              <a:gd name="connsiteX32480" fmla="*/ 2291004 w 8079933"/>
              <a:gd name="connsiteY32480" fmla="*/ 3802138 h 4687251"/>
              <a:gd name="connsiteX32481" fmla="*/ 2287639 w 8079933"/>
              <a:gd name="connsiteY32481" fmla="*/ 3798023 h 4687251"/>
              <a:gd name="connsiteX32482" fmla="*/ 2289701 w 8079933"/>
              <a:gd name="connsiteY32482" fmla="*/ 3792719 h 4687251"/>
              <a:gd name="connsiteX32483" fmla="*/ 2293174 w 8079933"/>
              <a:gd name="connsiteY32483" fmla="*/ 3790228 h 4687251"/>
              <a:gd name="connsiteX32484" fmla="*/ 2290461 w 8079933"/>
              <a:gd name="connsiteY32484" fmla="*/ 3786005 h 4687251"/>
              <a:gd name="connsiteX32485" fmla="*/ 2289593 w 8079933"/>
              <a:gd name="connsiteY32485" fmla="*/ 3779076 h 4687251"/>
              <a:gd name="connsiteX32486" fmla="*/ 2285252 w 8079933"/>
              <a:gd name="connsiteY32486" fmla="*/ 3772364 h 4687251"/>
              <a:gd name="connsiteX32487" fmla="*/ 2285252 w 8079933"/>
              <a:gd name="connsiteY32487" fmla="*/ 3768574 h 4687251"/>
              <a:gd name="connsiteX32488" fmla="*/ 2289267 w 8079933"/>
              <a:gd name="connsiteY32488" fmla="*/ 3759695 h 4687251"/>
              <a:gd name="connsiteX32489" fmla="*/ 2290135 w 8079933"/>
              <a:gd name="connsiteY32489" fmla="*/ 3756340 h 4687251"/>
              <a:gd name="connsiteX32490" fmla="*/ 2288724 w 8079933"/>
              <a:gd name="connsiteY32490" fmla="*/ 3748869 h 4687251"/>
              <a:gd name="connsiteX32491" fmla="*/ 2291112 w 8079933"/>
              <a:gd name="connsiteY32491" fmla="*/ 3744863 h 4687251"/>
              <a:gd name="connsiteX32492" fmla="*/ 2291437 w 8079933"/>
              <a:gd name="connsiteY32492" fmla="*/ 3738691 h 4687251"/>
              <a:gd name="connsiteX32493" fmla="*/ 2295453 w 8079933"/>
              <a:gd name="connsiteY32493" fmla="*/ 3732628 h 4687251"/>
              <a:gd name="connsiteX32494" fmla="*/ 2295453 w 8079933"/>
              <a:gd name="connsiteY32494" fmla="*/ 3729813 h 4687251"/>
              <a:gd name="connsiteX32495" fmla="*/ 2294259 w 8079933"/>
              <a:gd name="connsiteY32495" fmla="*/ 3726348 h 4687251"/>
              <a:gd name="connsiteX32496" fmla="*/ 2294259 w 8079933"/>
              <a:gd name="connsiteY32496" fmla="*/ 3719744 h 4687251"/>
              <a:gd name="connsiteX32497" fmla="*/ 2296863 w 8079933"/>
              <a:gd name="connsiteY32497" fmla="*/ 3715305 h 4687251"/>
              <a:gd name="connsiteX32498" fmla="*/ 2297297 w 8079933"/>
              <a:gd name="connsiteY32498" fmla="*/ 3703287 h 4687251"/>
              <a:gd name="connsiteX32499" fmla="*/ 2298383 w 8079933"/>
              <a:gd name="connsiteY32499" fmla="*/ 3698306 h 4687251"/>
              <a:gd name="connsiteX32500" fmla="*/ 2293825 w 8079933"/>
              <a:gd name="connsiteY32500" fmla="*/ 3690186 h 4687251"/>
              <a:gd name="connsiteX32501" fmla="*/ 2293825 w 8079933"/>
              <a:gd name="connsiteY32501" fmla="*/ 3684014 h 4687251"/>
              <a:gd name="connsiteX32502" fmla="*/ 2297840 w 8079933"/>
              <a:gd name="connsiteY32502" fmla="*/ 3677627 h 4687251"/>
              <a:gd name="connsiteX32503" fmla="*/ 2298708 w 8079933"/>
              <a:gd name="connsiteY32503" fmla="*/ 3671455 h 4687251"/>
              <a:gd name="connsiteX32504" fmla="*/ 2297948 w 8079933"/>
              <a:gd name="connsiteY32504" fmla="*/ 3664093 h 4687251"/>
              <a:gd name="connsiteX32505" fmla="*/ 2294585 w 8079933"/>
              <a:gd name="connsiteY32505" fmla="*/ 3654673 h 4687251"/>
              <a:gd name="connsiteX32506" fmla="*/ 2294367 w 8079933"/>
              <a:gd name="connsiteY32506" fmla="*/ 3629662 h 4687251"/>
              <a:gd name="connsiteX32507" fmla="*/ 2297297 w 8079933"/>
              <a:gd name="connsiteY32507" fmla="*/ 3626956 h 4687251"/>
              <a:gd name="connsiteX32508" fmla="*/ 2295453 w 8079933"/>
              <a:gd name="connsiteY32508" fmla="*/ 3625223 h 4687251"/>
              <a:gd name="connsiteX32509" fmla="*/ 2292306 w 8079933"/>
              <a:gd name="connsiteY32509" fmla="*/ 3627498 h 4687251"/>
              <a:gd name="connsiteX32510" fmla="*/ 2290787 w 8079933"/>
              <a:gd name="connsiteY32510" fmla="*/ 3625115 h 4687251"/>
              <a:gd name="connsiteX32511" fmla="*/ 2290244 w 8079933"/>
              <a:gd name="connsiteY32511" fmla="*/ 3615588 h 4687251"/>
              <a:gd name="connsiteX32512" fmla="*/ 2293499 w 8079933"/>
              <a:gd name="connsiteY32512" fmla="*/ 3613422 h 4687251"/>
              <a:gd name="connsiteX32513" fmla="*/ 2296972 w 8079933"/>
              <a:gd name="connsiteY32513" fmla="*/ 3611365 h 4687251"/>
              <a:gd name="connsiteX32514" fmla="*/ 2296972 w 8079933"/>
              <a:gd name="connsiteY32514" fmla="*/ 3607251 h 4687251"/>
              <a:gd name="connsiteX32515" fmla="*/ 2296103 w 8079933"/>
              <a:gd name="connsiteY32515" fmla="*/ 3590360 h 4687251"/>
              <a:gd name="connsiteX32516" fmla="*/ 2297189 w 8079933"/>
              <a:gd name="connsiteY32516" fmla="*/ 3588087 h 4687251"/>
              <a:gd name="connsiteX32517" fmla="*/ 2298491 w 8079933"/>
              <a:gd name="connsiteY32517" fmla="*/ 3584730 h 4687251"/>
              <a:gd name="connsiteX32518" fmla="*/ 2298491 w 8079933"/>
              <a:gd name="connsiteY32518" fmla="*/ 3572279 h 4687251"/>
              <a:gd name="connsiteX32519" fmla="*/ 2295453 w 8079933"/>
              <a:gd name="connsiteY32519" fmla="*/ 3564700 h 4687251"/>
              <a:gd name="connsiteX32520" fmla="*/ 2292522 w 8079933"/>
              <a:gd name="connsiteY32520" fmla="*/ 3555822 h 4687251"/>
              <a:gd name="connsiteX32521" fmla="*/ 2290569 w 8079933"/>
              <a:gd name="connsiteY32521" fmla="*/ 3546728 h 4687251"/>
              <a:gd name="connsiteX32522" fmla="*/ 2293174 w 8079933"/>
              <a:gd name="connsiteY32522" fmla="*/ 3543912 h 4687251"/>
              <a:gd name="connsiteX32523" fmla="*/ 2294585 w 8079933"/>
              <a:gd name="connsiteY32523" fmla="*/ 3539149 h 4687251"/>
              <a:gd name="connsiteX32524" fmla="*/ 2294585 w 8079933"/>
              <a:gd name="connsiteY32524" fmla="*/ 3532436 h 4687251"/>
              <a:gd name="connsiteX32525" fmla="*/ 2290787 w 8079933"/>
              <a:gd name="connsiteY32525" fmla="*/ 3514571 h 4687251"/>
              <a:gd name="connsiteX32526" fmla="*/ 2289593 w 8079933"/>
              <a:gd name="connsiteY32526" fmla="*/ 3507859 h 4687251"/>
              <a:gd name="connsiteX32527" fmla="*/ 2290244 w 8079933"/>
              <a:gd name="connsiteY32527" fmla="*/ 3502878 h 4687251"/>
              <a:gd name="connsiteX32528" fmla="*/ 2289701 w 8079933"/>
              <a:gd name="connsiteY32528" fmla="*/ 3496165 h 4687251"/>
              <a:gd name="connsiteX32529" fmla="*/ 2287639 w 8079933"/>
              <a:gd name="connsiteY32529" fmla="*/ 3494216 h 4687251"/>
              <a:gd name="connsiteX32530" fmla="*/ 2293608 w 8079933"/>
              <a:gd name="connsiteY32530" fmla="*/ 3491402 h 4687251"/>
              <a:gd name="connsiteX32531" fmla="*/ 2298816 w 8079933"/>
              <a:gd name="connsiteY32531" fmla="*/ 3487937 h 4687251"/>
              <a:gd name="connsiteX32532" fmla="*/ 2301964 w 8079933"/>
              <a:gd name="connsiteY32532" fmla="*/ 3488586 h 4687251"/>
              <a:gd name="connsiteX32533" fmla="*/ 2306521 w 8079933"/>
              <a:gd name="connsiteY32533" fmla="*/ 3485663 h 4687251"/>
              <a:gd name="connsiteX32534" fmla="*/ 2308258 w 8079933"/>
              <a:gd name="connsiteY32534" fmla="*/ 3481765 h 4687251"/>
              <a:gd name="connsiteX32535" fmla="*/ 2308257 w 8079933"/>
              <a:gd name="connsiteY32535" fmla="*/ 3481765 h 4687251"/>
              <a:gd name="connsiteX32536" fmla="*/ 2306521 w 8079933"/>
              <a:gd name="connsiteY32536" fmla="*/ 3485663 h 4687251"/>
              <a:gd name="connsiteX32537" fmla="*/ 2301963 w 8079933"/>
              <a:gd name="connsiteY32537" fmla="*/ 3488586 h 4687251"/>
              <a:gd name="connsiteX32538" fmla="*/ 2298816 w 8079933"/>
              <a:gd name="connsiteY32538" fmla="*/ 3487936 h 4687251"/>
              <a:gd name="connsiteX32539" fmla="*/ 2293608 w 8079933"/>
              <a:gd name="connsiteY32539" fmla="*/ 3491401 h 4687251"/>
              <a:gd name="connsiteX32540" fmla="*/ 2287639 w 8079933"/>
              <a:gd name="connsiteY32540" fmla="*/ 3494216 h 4687251"/>
              <a:gd name="connsiteX32541" fmla="*/ 2286771 w 8079933"/>
              <a:gd name="connsiteY32541" fmla="*/ 3493350 h 4687251"/>
              <a:gd name="connsiteX32542" fmla="*/ 2282648 w 8079933"/>
              <a:gd name="connsiteY32542" fmla="*/ 3492050 h 4687251"/>
              <a:gd name="connsiteX32543" fmla="*/ 2276462 w 8079933"/>
              <a:gd name="connsiteY32543" fmla="*/ 3486420 h 4687251"/>
              <a:gd name="connsiteX32544" fmla="*/ 2269950 w 8079933"/>
              <a:gd name="connsiteY32544" fmla="*/ 3479708 h 4687251"/>
              <a:gd name="connsiteX32545" fmla="*/ 2264525 w 8079933"/>
              <a:gd name="connsiteY32545" fmla="*/ 3477434 h 4687251"/>
              <a:gd name="connsiteX32546" fmla="*/ 2259099 w 8079933"/>
              <a:gd name="connsiteY32546" fmla="*/ 3476351 h 4687251"/>
              <a:gd name="connsiteX32547" fmla="*/ 2258991 w 8079933"/>
              <a:gd name="connsiteY32547" fmla="*/ 3472995 h 4687251"/>
              <a:gd name="connsiteX32548" fmla="*/ 2259316 w 8079933"/>
              <a:gd name="connsiteY32548" fmla="*/ 3470505 h 4687251"/>
              <a:gd name="connsiteX32549" fmla="*/ 2257797 w 8079933"/>
              <a:gd name="connsiteY32549" fmla="*/ 3467473 h 4687251"/>
              <a:gd name="connsiteX32550" fmla="*/ 2254541 w 8079933"/>
              <a:gd name="connsiteY32550" fmla="*/ 3466174 h 4687251"/>
              <a:gd name="connsiteX32551" fmla="*/ 2249441 w 8079933"/>
              <a:gd name="connsiteY32551" fmla="*/ 3461302 h 4687251"/>
              <a:gd name="connsiteX32552" fmla="*/ 2245751 w 8079933"/>
              <a:gd name="connsiteY32552" fmla="*/ 3459028 h 4687251"/>
              <a:gd name="connsiteX32553" fmla="*/ 2239241 w 8079933"/>
              <a:gd name="connsiteY32553" fmla="*/ 3454264 h 4687251"/>
              <a:gd name="connsiteX32554" fmla="*/ 2237938 w 8079933"/>
              <a:gd name="connsiteY32554" fmla="*/ 3451124 h 4687251"/>
              <a:gd name="connsiteX32555" fmla="*/ 2235768 w 8079933"/>
              <a:gd name="connsiteY32555" fmla="*/ 3449934 h 4687251"/>
              <a:gd name="connsiteX32556" fmla="*/ 2231319 w 8079933"/>
              <a:gd name="connsiteY32556" fmla="*/ 3449717 h 4687251"/>
              <a:gd name="connsiteX32557" fmla="*/ 2225024 w 8079933"/>
              <a:gd name="connsiteY32557" fmla="*/ 3447335 h 4687251"/>
              <a:gd name="connsiteX32558" fmla="*/ 2215801 w 8079933"/>
              <a:gd name="connsiteY32558" fmla="*/ 3441704 h 4687251"/>
              <a:gd name="connsiteX32559" fmla="*/ 2211677 w 8079933"/>
              <a:gd name="connsiteY32559" fmla="*/ 3440622 h 4687251"/>
              <a:gd name="connsiteX32560" fmla="*/ 2209615 w 8079933"/>
              <a:gd name="connsiteY32560" fmla="*/ 3441380 h 4687251"/>
              <a:gd name="connsiteX32561" fmla="*/ 2203864 w 8079933"/>
              <a:gd name="connsiteY32561" fmla="*/ 3439323 h 4687251"/>
              <a:gd name="connsiteX32562" fmla="*/ 2200175 w 8079933"/>
              <a:gd name="connsiteY32562" fmla="*/ 3436941 h 4687251"/>
              <a:gd name="connsiteX32563" fmla="*/ 2199632 w 8079933"/>
              <a:gd name="connsiteY32563" fmla="*/ 3433368 h 4687251"/>
              <a:gd name="connsiteX32564" fmla="*/ 2196160 w 8079933"/>
              <a:gd name="connsiteY32564" fmla="*/ 3430120 h 4687251"/>
              <a:gd name="connsiteX32565" fmla="*/ 2188454 w 8079933"/>
              <a:gd name="connsiteY32565" fmla="*/ 3426114 h 4687251"/>
              <a:gd name="connsiteX32566" fmla="*/ 2184331 w 8079933"/>
              <a:gd name="connsiteY32566" fmla="*/ 3421458 h 4687251"/>
              <a:gd name="connsiteX32567" fmla="*/ 2185742 w 8079933"/>
              <a:gd name="connsiteY32567" fmla="*/ 3417344 h 4687251"/>
              <a:gd name="connsiteX32568" fmla="*/ 2183463 w 8079933"/>
              <a:gd name="connsiteY32568" fmla="*/ 3420159 h 4687251"/>
              <a:gd name="connsiteX32569" fmla="*/ 2176192 w 8079933"/>
              <a:gd name="connsiteY32569" fmla="*/ 3420484 h 4687251"/>
              <a:gd name="connsiteX32570" fmla="*/ 2173154 w 8079933"/>
              <a:gd name="connsiteY32570" fmla="*/ 3418535 h 4687251"/>
              <a:gd name="connsiteX32571" fmla="*/ 2171417 w 8079933"/>
              <a:gd name="connsiteY32571" fmla="*/ 3414529 h 4687251"/>
              <a:gd name="connsiteX32572" fmla="*/ 2169681 w 8079933"/>
              <a:gd name="connsiteY32572" fmla="*/ 3412255 h 4687251"/>
              <a:gd name="connsiteX32573" fmla="*/ 2165123 w 8079933"/>
              <a:gd name="connsiteY32573" fmla="*/ 3411713 h 4687251"/>
              <a:gd name="connsiteX32574" fmla="*/ 2161543 w 8079933"/>
              <a:gd name="connsiteY32574" fmla="*/ 3407275 h 4687251"/>
              <a:gd name="connsiteX32575" fmla="*/ 2161217 w 8079933"/>
              <a:gd name="connsiteY32575" fmla="*/ 3404027 h 4687251"/>
              <a:gd name="connsiteX32576" fmla="*/ 2153621 w 8079933"/>
              <a:gd name="connsiteY32576" fmla="*/ 3400237 h 4687251"/>
              <a:gd name="connsiteX32577" fmla="*/ 2145699 w 8079933"/>
              <a:gd name="connsiteY32577" fmla="*/ 3394715 h 4687251"/>
              <a:gd name="connsiteX32578" fmla="*/ 2146784 w 8079933"/>
              <a:gd name="connsiteY32578" fmla="*/ 3392333 h 4687251"/>
              <a:gd name="connsiteX32579" fmla="*/ 2146024 w 8079933"/>
              <a:gd name="connsiteY32579" fmla="*/ 3389193 h 4687251"/>
              <a:gd name="connsiteX32580" fmla="*/ 2142986 w 8079933"/>
              <a:gd name="connsiteY32580" fmla="*/ 3387136 h 4687251"/>
              <a:gd name="connsiteX32581" fmla="*/ 2140165 w 8079933"/>
              <a:gd name="connsiteY32581" fmla="*/ 3387678 h 4687251"/>
              <a:gd name="connsiteX32582" fmla="*/ 2140165 w 8079933"/>
              <a:gd name="connsiteY32582" fmla="*/ 3384105 h 4687251"/>
              <a:gd name="connsiteX32583" fmla="*/ 2139297 w 8079933"/>
              <a:gd name="connsiteY32583" fmla="*/ 3380099 h 4687251"/>
              <a:gd name="connsiteX32584" fmla="*/ 2139513 w 8079933"/>
              <a:gd name="connsiteY32584" fmla="*/ 3377717 h 4687251"/>
              <a:gd name="connsiteX32585" fmla="*/ 2141793 w 8079933"/>
              <a:gd name="connsiteY32585" fmla="*/ 3379232 h 4687251"/>
              <a:gd name="connsiteX32586" fmla="*/ 2143854 w 8079933"/>
              <a:gd name="connsiteY32586" fmla="*/ 3378366 h 4687251"/>
              <a:gd name="connsiteX32587" fmla="*/ 2143637 w 8079933"/>
              <a:gd name="connsiteY32587" fmla="*/ 3373927 h 4687251"/>
              <a:gd name="connsiteX32588" fmla="*/ 2135715 w 8079933"/>
              <a:gd name="connsiteY32588" fmla="*/ 3362775 h 4687251"/>
              <a:gd name="connsiteX32589" fmla="*/ 2133979 w 8079933"/>
              <a:gd name="connsiteY32589" fmla="*/ 3357254 h 4687251"/>
              <a:gd name="connsiteX32590" fmla="*/ 2127143 w 8079933"/>
              <a:gd name="connsiteY32590" fmla="*/ 3346210 h 4687251"/>
              <a:gd name="connsiteX32591" fmla="*/ 2125841 w 8079933"/>
              <a:gd name="connsiteY32591" fmla="*/ 3340580 h 4687251"/>
              <a:gd name="connsiteX32592" fmla="*/ 2119655 w 8079933"/>
              <a:gd name="connsiteY32592" fmla="*/ 3338306 h 4687251"/>
              <a:gd name="connsiteX32593" fmla="*/ 2117485 w 8079933"/>
              <a:gd name="connsiteY32593" fmla="*/ 3335383 h 4687251"/>
              <a:gd name="connsiteX32594" fmla="*/ 2116617 w 8079933"/>
              <a:gd name="connsiteY32594" fmla="*/ 3328671 h 4687251"/>
              <a:gd name="connsiteX32595" fmla="*/ 2114555 w 8079933"/>
              <a:gd name="connsiteY32595" fmla="*/ 3324447 h 4687251"/>
              <a:gd name="connsiteX32596" fmla="*/ 2106416 w 8079933"/>
              <a:gd name="connsiteY32596" fmla="*/ 3317194 h 4687251"/>
              <a:gd name="connsiteX32597" fmla="*/ 2103269 w 8079933"/>
              <a:gd name="connsiteY32597" fmla="*/ 3316220 h 4687251"/>
              <a:gd name="connsiteX32598" fmla="*/ 2102510 w 8079933"/>
              <a:gd name="connsiteY32598" fmla="*/ 3312863 h 4687251"/>
              <a:gd name="connsiteX32599" fmla="*/ 2103703 w 8079933"/>
              <a:gd name="connsiteY32599" fmla="*/ 3308965 h 4687251"/>
              <a:gd name="connsiteX32600" fmla="*/ 2100773 w 8079933"/>
              <a:gd name="connsiteY32600" fmla="*/ 3303985 h 4687251"/>
              <a:gd name="connsiteX32601" fmla="*/ 2093177 w 8079933"/>
              <a:gd name="connsiteY32601" fmla="*/ 3294457 h 4687251"/>
              <a:gd name="connsiteX32602" fmla="*/ 2089379 w 8079933"/>
              <a:gd name="connsiteY32602" fmla="*/ 3286228 h 4687251"/>
              <a:gd name="connsiteX32603" fmla="*/ 2090789 w 8079933"/>
              <a:gd name="connsiteY32603" fmla="*/ 3284388 h 4687251"/>
              <a:gd name="connsiteX32604" fmla="*/ 2089921 w 8079933"/>
              <a:gd name="connsiteY32604" fmla="*/ 3278649 h 4687251"/>
              <a:gd name="connsiteX32605" fmla="*/ 2085581 w 8079933"/>
              <a:gd name="connsiteY32605" fmla="*/ 3270962 h 4687251"/>
              <a:gd name="connsiteX32606" fmla="*/ 2081783 w 8079933"/>
              <a:gd name="connsiteY32606" fmla="*/ 3268688 h 4687251"/>
              <a:gd name="connsiteX32607" fmla="*/ 2078527 w 8079933"/>
              <a:gd name="connsiteY32607" fmla="*/ 3263384 h 4687251"/>
              <a:gd name="connsiteX32608" fmla="*/ 2077659 w 8079933"/>
              <a:gd name="connsiteY32608" fmla="*/ 3255588 h 4687251"/>
              <a:gd name="connsiteX32609" fmla="*/ 2074946 w 8079933"/>
              <a:gd name="connsiteY32609" fmla="*/ 3251040 h 4687251"/>
              <a:gd name="connsiteX32610" fmla="*/ 2073536 w 8079933"/>
              <a:gd name="connsiteY32610" fmla="*/ 3244111 h 4687251"/>
              <a:gd name="connsiteX32611" fmla="*/ 2069194 w 8079933"/>
              <a:gd name="connsiteY32611" fmla="*/ 3237074 h 4687251"/>
              <a:gd name="connsiteX32612" fmla="*/ 2059537 w 8079933"/>
              <a:gd name="connsiteY32612" fmla="*/ 3232093 h 4687251"/>
              <a:gd name="connsiteX32613" fmla="*/ 2056824 w 8079933"/>
              <a:gd name="connsiteY32613" fmla="*/ 3227329 h 4687251"/>
              <a:gd name="connsiteX32614" fmla="*/ 2056064 w 8079933"/>
              <a:gd name="connsiteY32614" fmla="*/ 3220725 h 4687251"/>
              <a:gd name="connsiteX32615" fmla="*/ 2050747 w 8079933"/>
              <a:gd name="connsiteY32615" fmla="*/ 3213254 h 4687251"/>
              <a:gd name="connsiteX32616" fmla="*/ 2049553 w 8079933"/>
              <a:gd name="connsiteY32616" fmla="*/ 3209248 h 4687251"/>
              <a:gd name="connsiteX32617" fmla="*/ 2044778 w 8079933"/>
              <a:gd name="connsiteY32617" fmla="*/ 3208057 h 4687251"/>
              <a:gd name="connsiteX32618" fmla="*/ 2034903 w 8079933"/>
              <a:gd name="connsiteY32618" fmla="*/ 3201561 h 4687251"/>
              <a:gd name="connsiteX32619" fmla="*/ 2028393 w 8079933"/>
              <a:gd name="connsiteY32619" fmla="*/ 3200695 h 4687251"/>
              <a:gd name="connsiteX32620" fmla="*/ 2021339 w 8079933"/>
              <a:gd name="connsiteY32620" fmla="*/ 3194632 h 4687251"/>
              <a:gd name="connsiteX32621" fmla="*/ 2016456 w 8079933"/>
              <a:gd name="connsiteY32621" fmla="*/ 3192791 h 4687251"/>
              <a:gd name="connsiteX32622" fmla="*/ 2012549 w 8079933"/>
              <a:gd name="connsiteY32622" fmla="*/ 3189001 h 4687251"/>
              <a:gd name="connsiteX32623" fmla="*/ 2013959 w 8079933"/>
              <a:gd name="connsiteY32623" fmla="*/ 3185320 h 4687251"/>
              <a:gd name="connsiteX32624" fmla="*/ 2017757 w 8079933"/>
              <a:gd name="connsiteY32624" fmla="*/ 3183696 h 4687251"/>
              <a:gd name="connsiteX32625" fmla="*/ 2021339 w 8079933"/>
              <a:gd name="connsiteY32625" fmla="*/ 3183479 h 4687251"/>
              <a:gd name="connsiteX32626" fmla="*/ 2021773 w 8079933"/>
              <a:gd name="connsiteY32626" fmla="*/ 3178824 h 4687251"/>
              <a:gd name="connsiteX32627" fmla="*/ 2018192 w 8079933"/>
              <a:gd name="connsiteY32627" fmla="*/ 3172111 h 4687251"/>
              <a:gd name="connsiteX32628" fmla="*/ 2013526 w 8079933"/>
              <a:gd name="connsiteY32628" fmla="*/ 3167997 h 4687251"/>
              <a:gd name="connsiteX32629" fmla="*/ 2013526 w 8079933"/>
              <a:gd name="connsiteY32629" fmla="*/ 3165398 h 4687251"/>
              <a:gd name="connsiteX32630" fmla="*/ 2016456 w 8079933"/>
              <a:gd name="connsiteY32630" fmla="*/ 3163342 h 4687251"/>
              <a:gd name="connsiteX32631" fmla="*/ 2016021 w 8079933"/>
              <a:gd name="connsiteY32631" fmla="*/ 3159877 h 4687251"/>
              <a:gd name="connsiteX32632" fmla="*/ 2012223 w 8079933"/>
              <a:gd name="connsiteY32632" fmla="*/ 3156845 h 4687251"/>
              <a:gd name="connsiteX32633" fmla="*/ 2011681 w 8079933"/>
              <a:gd name="connsiteY32633" fmla="*/ 3154571 h 4687251"/>
              <a:gd name="connsiteX32634" fmla="*/ 2013526 w 8079933"/>
              <a:gd name="connsiteY32634" fmla="*/ 3149916 h 4687251"/>
              <a:gd name="connsiteX32635" fmla="*/ 2015262 w 8079933"/>
              <a:gd name="connsiteY32635" fmla="*/ 3143961 h 4687251"/>
              <a:gd name="connsiteX32636" fmla="*/ 2023509 w 8079933"/>
              <a:gd name="connsiteY32636" fmla="*/ 3135841 h 4687251"/>
              <a:gd name="connsiteX32637" fmla="*/ 2027850 w 8079933"/>
              <a:gd name="connsiteY32637" fmla="*/ 3131835 h 4687251"/>
              <a:gd name="connsiteX32638" fmla="*/ 2039570 w 8079933"/>
              <a:gd name="connsiteY32638" fmla="*/ 3126746 h 4687251"/>
              <a:gd name="connsiteX32639" fmla="*/ 2039895 w 8079933"/>
              <a:gd name="connsiteY32639" fmla="*/ 3126421 h 4687251"/>
              <a:gd name="connsiteX32640" fmla="*/ 2042065 w 8079933"/>
              <a:gd name="connsiteY32640" fmla="*/ 3127612 h 4687251"/>
              <a:gd name="connsiteX32641" fmla="*/ 2044127 w 8079933"/>
              <a:gd name="connsiteY32641" fmla="*/ 3134108 h 4687251"/>
              <a:gd name="connsiteX32642" fmla="*/ 2039135 w 8079933"/>
              <a:gd name="connsiteY32642" fmla="*/ 3136707 h 4687251"/>
              <a:gd name="connsiteX32643" fmla="*/ 2035120 w 8079933"/>
              <a:gd name="connsiteY32643" fmla="*/ 3141146 h 4687251"/>
              <a:gd name="connsiteX32644" fmla="*/ 2035880 w 8079933"/>
              <a:gd name="connsiteY32644" fmla="*/ 3145802 h 4687251"/>
              <a:gd name="connsiteX32645" fmla="*/ 2040655 w 8079933"/>
              <a:gd name="connsiteY32645" fmla="*/ 3146018 h 4687251"/>
              <a:gd name="connsiteX32646" fmla="*/ 2035881 w 8079933"/>
              <a:gd name="connsiteY32646" fmla="*/ 3145801 h 4687251"/>
              <a:gd name="connsiteX32647" fmla="*/ 2035121 w 8079933"/>
              <a:gd name="connsiteY32647" fmla="*/ 3141145 h 4687251"/>
              <a:gd name="connsiteX32648" fmla="*/ 2039136 w 8079933"/>
              <a:gd name="connsiteY32648" fmla="*/ 3136706 h 4687251"/>
              <a:gd name="connsiteX32649" fmla="*/ 2044128 w 8079933"/>
              <a:gd name="connsiteY32649" fmla="*/ 3134108 h 4687251"/>
              <a:gd name="connsiteX32650" fmla="*/ 2042066 w 8079933"/>
              <a:gd name="connsiteY32650" fmla="*/ 3127612 h 4687251"/>
              <a:gd name="connsiteX32651" fmla="*/ 2039896 w 8079933"/>
              <a:gd name="connsiteY32651" fmla="*/ 3126421 h 4687251"/>
              <a:gd name="connsiteX32652" fmla="*/ 2046081 w 8079933"/>
              <a:gd name="connsiteY32652" fmla="*/ 3121224 h 4687251"/>
              <a:gd name="connsiteX32653" fmla="*/ 2048577 w 8079933"/>
              <a:gd name="connsiteY32653" fmla="*/ 3115160 h 4687251"/>
              <a:gd name="connsiteX32654" fmla="*/ 2047817 w 8079933"/>
              <a:gd name="connsiteY32654" fmla="*/ 3111588 h 4687251"/>
              <a:gd name="connsiteX32655" fmla="*/ 2049012 w 8079933"/>
              <a:gd name="connsiteY32655" fmla="*/ 3104875 h 4687251"/>
              <a:gd name="connsiteX32656" fmla="*/ 2047492 w 8079933"/>
              <a:gd name="connsiteY32656" fmla="*/ 3098704 h 4687251"/>
              <a:gd name="connsiteX32657" fmla="*/ 2045973 w 8079933"/>
              <a:gd name="connsiteY32657" fmla="*/ 3098379 h 4687251"/>
              <a:gd name="connsiteX32658" fmla="*/ 2046299 w 8079933"/>
              <a:gd name="connsiteY32658" fmla="*/ 3102168 h 4687251"/>
              <a:gd name="connsiteX32659" fmla="*/ 2045431 w 8079933"/>
              <a:gd name="connsiteY32659" fmla="*/ 3104442 h 4687251"/>
              <a:gd name="connsiteX32660" fmla="*/ 2044888 w 8079933"/>
              <a:gd name="connsiteY32660" fmla="*/ 3100761 h 4687251"/>
              <a:gd name="connsiteX32661" fmla="*/ 2044779 w 8079933"/>
              <a:gd name="connsiteY32661" fmla="*/ 3096647 h 4687251"/>
              <a:gd name="connsiteX32662" fmla="*/ 2041306 w 8079933"/>
              <a:gd name="connsiteY32662" fmla="*/ 3100111 h 4687251"/>
              <a:gd name="connsiteX32663" fmla="*/ 2039788 w 8079933"/>
              <a:gd name="connsiteY32663" fmla="*/ 3103035 h 4687251"/>
              <a:gd name="connsiteX32664" fmla="*/ 2037726 w 8079933"/>
              <a:gd name="connsiteY32664" fmla="*/ 3108664 h 4687251"/>
              <a:gd name="connsiteX32665" fmla="*/ 2035772 w 8079933"/>
              <a:gd name="connsiteY32665" fmla="*/ 3110072 h 4687251"/>
              <a:gd name="connsiteX32666" fmla="*/ 2031865 w 8079933"/>
              <a:gd name="connsiteY32666" fmla="*/ 3107474 h 4687251"/>
              <a:gd name="connsiteX32667" fmla="*/ 2026982 w 8079933"/>
              <a:gd name="connsiteY32667" fmla="*/ 3102493 h 4687251"/>
              <a:gd name="connsiteX32668" fmla="*/ 2021774 w 8079933"/>
              <a:gd name="connsiteY32668" fmla="*/ 3100436 h 4687251"/>
              <a:gd name="connsiteX32669" fmla="*/ 2019061 w 8079933"/>
              <a:gd name="connsiteY32669" fmla="*/ 3096863 h 4687251"/>
              <a:gd name="connsiteX32670" fmla="*/ 2021448 w 8079933"/>
              <a:gd name="connsiteY32670" fmla="*/ 3094589 h 4687251"/>
              <a:gd name="connsiteX32671" fmla="*/ 2024053 w 8079933"/>
              <a:gd name="connsiteY32671" fmla="*/ 3090150 h 4687251"/>
              <a:gd name="connsiteX32672" fmla="*/ 2023184 w 8079933"/>
              <a:gd name="connsiteY32672" fmla="*/ 3083113 h 4687251"/>
              <a:gd name="connsiteX32673" fmla="*/ 2023727 w 8079933"/>
              <a:gd name="connsiteY32673" fmla="*/ 3079323 h 4687251"/>
              <a:gd name="connsiteX32674" fmla="*/ 2021883 w 8079933"/>
              <a:gd name="connsiteY32674" fmla="*/ 3074343 h 4687251"/>
              <a:gd name="connsiteX32675" fmla="*/ 2020146 w 8079933"/>
              <a:gd name="connsiteY32675" fmla="*/ 3070554 h 4687251"/>
              <a:gd name="connsiteX32676" fmla="*/ 2024378 w 8079933"/>
              <a:gd name="connsiteY32676" fmla="*/ 3064707 h 4687251"/>
              <a:gd name="connsiteX32677" fmla="*/ 2029479 w 8079933"/>
              <a:gd name="connsiteY32677" fmla="*/ 3064057 h 4687251"/>
              <a:gd name="connsiteX32678" fmla="*/ 2034036 w 8079933"/>
              <a:gd name="connsiteY32678" fmla="*/ 3057452 h 4687251"/>
              <a:gd name="connsiteX32679" fmla="*/ 2031974 w 8079933"/>
              <a:gd name="connsiteY32679" fmla="*/ 3054746 h 4687251"/>
              <a:gd name="connsiteX32680" fmla="*/ 2032625 w 8079933"/>
              <a:gd name="connsiteY32680" fmla="*/ 3050632 h 4687251"/>
              <a:gd name="connsiteX32681" fmla="*/ 2041632 w 8079933"/>
              <a:gd name="connsiteY32681" fmla="*/ 3040995 h 4687251"/>
              <a:gd name="connsiteX32682" fmla="*/ 2042934 w 8079933"/>
              <a:gd name="connsiteY32682" fmla="*/ 3034391 h 4687251"/>
              <a:gd name="connsiteX32683" fmla="*/ 2040873 w 8079933"/>
              <a:gd name="connsiteY32683" fmla="*/ 3030926 h 4687251"/>
              <a:gd name="connsiteX32684" fmla="*/ 2040547 w 8079933"/>
              <a:gd name="connsiteY32684" fmla="*/ 3027570 h 4687251"/>
              <a:gd name="connsiteX32685" fmla="*/ 2037400 w 8079933"/>
              <a:gd name="connsiteY32685" fmla="*/ 3022048 h 4687251"/>
              <a:gd name="connsiteX32686" fmla="*/ 2043694 w 8079933"/>
              <a:gd name="connsiteY32686" fmla="*/ 3018908 h 4687251"/>
              <a:gd name="connsiteX32687" fmla="*/ 2049554 w 8079933"/>
              <a:gd name="connsiteY32687" fmla="*/ 3018583 h 4687251"/>
              <a:gd name="connsiteX32688" fmla="*/ 2060948 w 8079933"/>
              <a:gd name="connsiteY32688" fmla="*/ 3010680 h 4687251"/>
              <a:gd name="connsiteX32689" fmla="*/ 2067785 w 8079933"/>
              <a:gd name="connsiteY32689" fmla="*/ 3010355 h 4687251"/>
              <a:gd name="connsiteX32690" fmla="*/ 2069195 w 8079933"/>
              <a:gd name="connsiteY32690" fmla="*/ 3004725 h 4687251"/>
              <a:gd name="connsiteX32691" fmla="*/ 2076140 w 8079933"/>
              <a:gd name="connsiteY32691" fmla="*/ 3007324 h 4687251"/>
              <a:gd name="connsiteX32692" fmla="*/ 2081966 w 8079933"/>
              <a:gd name="connsiteY32692" fmla="*/ 3011359 h 4687251"/>
              <a:gd name="connsiteX32693" fmla="*/ 2076140 w 8079933"/>
              <a:gd name="connsiteY32693" fmla="*/ 3007323 h 4687251"/>
              <a:gd name="connsiteX32694" fmla="*/ 2069195 w 8079933"/>
              <a:gd name="connsiteY32694" fmla="*/ 3004724 h 4687251"/>
              <a:gd name="connsiteX32695" fmla="*/ 2070280 w 8079933"/>
              <a:gd name="connsiteY32695" fmla="*/ 3000393 h 4687251"/>
              <a:gd name="connsiteX32696" fmla="*/ 2071257 w 8079933"/>
              <a:gd name="connsiteY32696" fmla="*/ 2992382 h 4687251"/>
              <a:gd name="connsiteX32697" fmla="*/ 2077876 w 8079933"/>
              <a:gd name="connsiteY32697" fmla="*/ 2982421 h 4687251"/>
              <a:gd name="connsiteX32698" fmla="*/ 2084712 w 8079933"/>
              <a:gd name="connsiteY32698" fmla="*/ 2977224 h 4687251"/>
              <a:gd name="connsiteX32699" fmla="*/ 2093720 w 8079933"/>
              <a:gd name="connsiteY32699" fmla="*/ 2975275 h 4687251"/>
              <a:gd name="connsiteX32700" fmla="*/ 2100448 w 8079933"/>
              <a:gd name="connsiteY32700" fmla="*/ 2968779 h 4687251"/>
              <a:gd name="connsiteX32701" fmla="*/ 2102835 w 8079933"/>
              <a:gd name="connsiteY32701" fmla="*/ 2963798 h 4687251"/>
              <a:gd name="connsiteX32702" fmla="*/ 2111733 w 8079933"/>
              <a:gd name="connsiteY32702" fmla="*/ 2954812 h 4687251"/>
              <a:gd name="connsiteX32703" fmla="*/ 2113795 w 8079933"/>
              <a:gd name="connsiteY32703" fmla="*/ 2949507 h 4687251"/>
              <a:gd name="connsiteX32704" fmla="*/ 2116291 w 8079933"/>
              <a:gd name="connsiteY32704" fmla="*/ 2946475 h 4687251"/>
              <a:gd name="connsiteX32705" fmla="*/ 2116074 w 8079933"/>
              <a:gd name="connsiteY32705" fmla="*/ 2944201 h 4687251"/>
              <a:gd name="connsiteX32706" fmla="*/ 2113578 w 8079933"/>
              <a:gd name="connsiteY32706" fmla="*/ 2944418 h 4687251"/>
              <a:gd name="connsiteX32707" fmla="*/ 2111082 w 8079933"/>
              <a:gd name="connsiteY32707" fmla="*/ 2940953 h 4687251"/>
              <a:gd name="connsiteX32708" fmla="*/ 2111733 w 8079933"/>
              <a:gd name="connsiteY32708" fmla="*/ 2938354 h 4687251"/>
              <a:gd name="connsiteX32709" fmla="*/ 2107501 w 8079933"/>
              <a:gd name="connsiteY32709" fmla="*/ 2940195 h 4687251"/>
              <a:gd name="connsiteX32710" fmla="*/ 2104680 w 8079933"/>
              <a:gd name="connsiteY32710" fmla="*/ 2936189 h 4687251"/>
              <a:gd name="connsiteX32711" fmla="*/ 2105222 w 8079933"/>
              <a:gd name="connsiteY32711" fmla="*/ 2932832 h 4687251"/>
              <a:gd name="connsiteX32712" fmla="*/ 2108587 w 8079933"/>
              <a:gd name="connsiteY32712" fmla="*/ 2928935 h 4687251"/>
              <a:gd name="connsiteX32713" fmla="*/ 2108152 w 8079933"/>
              <a:gd name="connsiteY32713" fmla="*/ 2917783 h 4687251"/>
              <a:gd name="connsiteX32714" fmla="*/ 2108695 w 8079933"/>
              <a:gd name="connsiteY32714" fmla="*/ 2909771 h 4687251"/>
              <a:gd name="connsiteX32715" fmla="*/ 2106850 w 8079933"/>
              <a:gd name="connsiteY32715" fmla="*/ 2905440 h 4687251"/>
              <a:gd name="connsiteX32716" fmla="*/ 2104897 w 8079933"/>
              <a:gd name="connsiteY32716" fmla="*/ 2904574 h 4687251"/>
              <a:gd name="connsiteX32717" fmla="*/ 2106850 w 8079933"/>
              <a:gd name="connsiteY32717" fmla="*/ 2901110 h 4687251"/>
              <a:gd name="connsiteX32718" fmla="*/ 2109888 w 8079933"/>
              <a:gd name="connsiteY32718" fmla="*/ 2898835 h 4687251"/>
              <a:gd name="connsiteX32719" fmla="*/ 2109888 w 8079933"/>
              <a:gd name="connsiteY32719" fmla="*/ 2892231 h 4687251"/>
              <a:gd name="connsiteX32720" fmla="*/ 2107067 w 8079933"/>
              <a:gd name="connsiteY32720" fmla="*/ 2889091 h 4687251"/>
              <a:gd name="connsiteX32721" fmla="*/ 2107175 w 8079933"/>
              <a:gd name="connsiteY32721" fmla="*/ 2887034 h 4687251"/>
              <a:gd name="connsiteX32722" fmla="*/ 2110105 w 8079933"/>
              <a:gd name="connsiteY32722" fmla="*/ 2883786 h 4687251"/>
              <a:gd name="connsiteX32723" fmla="*/ 2109455 w 8079933"/>
              <a:gd name="connsiteY32723" fmla="*/ 2878480 h 4687251"/>
              <a:gd name="connsiteX32724" fmla="*/ 2108152 w 8079933"/>
              <a:gd name="connsiteY32724" fmla="*/ 2876316 h 4687251"/>
              <a:gd name="connsiteX32725" fmla="*/ 2105874 w 8079933"/>
              <a:gd name="connsiteY32725" fmla="*/ 2877506 h 4687251"/>
              <a:gd name="connsiteX32726" fmla="*/ 2104029 w 8079933"/>
              <a:gd name="connsiteY32726" fmla="*/ 2877723 h 4687251"/>
              <a:gd name="connsiteX32727" fmla="*/ 2099363 w 8079933"/>
              <a:gd name="connsiteY32727" fmla="*/ 2871876 h 4687251"/>
              <a:gd name="connsiteX32728" fmla="*/ 2098820 w 8079933"/>
              <a:gd name="connsiteY32728" fmla="*/ 2866463 h 4687251"/>
              <a:gd name="connsiteX32729" fmla="*/ 2097843 w 8079933"/>
              <a:gd name="connsiteY32729" fmla="*/ 2860941 h 4687251"/>
              <a:gd name="connsiteX32730" fmla="*/ 2096866 w 8079933"/>
              <a:gd name="connsiteY32730" fmla="*/ 2860075 h 4687251"/>
              <a:gd name="connsiteX32731" fmla="*/ 2099905 w 8079933"/>
              <a:gd name="connsiteY32731" fmla="*/ 2852821 h 4687251"/>
              <a:gd name="connsiteX32732" fmla="*/ 2099905 w 8079933"/>
              <a:gd name="connsiteY32732" fmla="*/ 2852821 h 4687251"/>
              <a:gd name="connsiteX32733" fmla="*/ 2096866 w 8079933"/>
              <a:gd name="connsiteY32733" fmla="*/ 2860075 h 4687251"/>
              <a:gd name="connsiteX32734" fmla="*/ 2091874 w 8079933"/>
              <a:gd name="connsiteY32734" fmla="*/ 2855636 h 4687251"/>
              <a:gd name="connsiteX32735" fmla="*/ 2086557 w 8079933"/>
              <a:gd name="connsiteY32735" fmla="*/ 2848166 h 4687251"/>
              <a:gd name="connsiteX32736" fmla="*/ 2084495 w 8079933"/>
              <a:gd name="connsiteY32736" fmla="*/ 2841994 h 4687251"/>
              <a:gd name="connsiteX32737" fmla="*/ 2086448 w 8079933"/>
              <a:gd name="connsiteY32737" fmla="*/ 2840154 h 4687251"/>
              <a:gd name="connsiteX32738" fmla="*/ 2090355 w 8079933"/>
              <a:gd name="connsiteY32738" fmla="*/ 2834199 h 4687251"/>
              <a:gd name="connsiteX32739" fmla="*/ 2092851 w 8079933"/>
              <a:gd name="connsiteY32739" fmla="*/ 2833873 h 4687251"/>
              <a:gd name="connsiteX32740" fmla="*/ 2094804 w 8079933"/>
              <a:gd name="connsiteY32740" fmla="*/ 2831816 h 4687251"/>
              <a:gd name="connsiteX32741" fmla="*/ 2093719 w 8079933"/>
              <a:gd name="connsiteY32741" fmla="*/ 2828569 h 4687251"/>
              <a:gd name="connsiteX32742" fmla="*/ 2091114 w 8079933"/>
              <a:gd name="connsiteY32742" fmla="*/ 2828677 h 4687251"/>
              <a:gd name="connsiteX32743" fmla="*/ 2087968 w 8079933"/>
              <a:gd name="connsiteY32743" fmla="*/ 2832250 h 4687251"/>
              <a:gd name="connsiteX32744" fmla="*/ 2086557 w 8079933"/>
              <a:gd name="connsiteY32744" fmla="*/ 2833441 h 4687251"/>
              <a:gd name="connsiteX32745" fmla="*/ 2084061 w 8079933"/>
              <a:gd name="connsiteY32745" fmla="*/ 2831492 h 4687251"/>
              <a:gd name="connsiteX32746" fmla="*/ 2082433 w 8079933"/>
              <a:gd name="connsiteY32746" fmla="*/ 2827053 h 4687251"/>
              <a:gd name="connsiteX32747" fmla="*/ 2078201 w 8079933"/>
              <a:gd name="connsiteY32747" fmla="*/ 2821531 h 4687251"/>
              <a:gd name="connsiteX32748" fmla="*/ 2075054 w 8079933"/>
              <a:gd name="connsiteY32748" fmla="*/ 2820989 h 4687251"/>
              <a:gd name="connsiteX32749" fmla="*/ 2070714 w 8079933"/>
              <a:gd name="connsiteY32749" fmla="*/ 2816659 h 4687251"/>
              <a:gd name="connsiteX32750" fmla="*/ 2067675 w 8079933"/>
              <a:gd name="connsiteY32750" fmla="*/ 2815035 h 4687251"/>
              <a:gd name="connsiteX32751" fmla="*/ 2061923 w 8079933"/>
              <a:gd name="connsiteY32751" fmla="*/ 2815576 h 4687251"/>
              <a:gd name="connsiteX32752" fmla="*/ 2054762 w 8079933"/>
              <a:gd name="connsiteY32752" fmla="*/ 2819365 h 4687251"/>
              <a:gd name="connsiteX32753" fmla="*/ 2054219 w 8079933"/>
              <a:gd name="connsiteY32753" fmla="*/ 2824021 h 4687251"/>
              <a:gd name="connsiteX32754" fmla="*/ 2055630 w 8079933"/>
              <a:gd name="connsiteY32754" fmla="*/ 2825104 h 4687251"/>
              <a:gd name="connsiteX32755" fmla="*/ 2055847 w 8079933"/>
              <a:gd name="connsiteY32755" fmla="*/ 2827269 h 4687251"/>
              <a:gd name="connsiteX32756" fmla="*/ 2049119 w 8079933"/>
              <a:gd name="connsiteY32756" fmla="*/ 2833441 h 4687251"/>
              <a:gd name="connsiteX32757" fmla="*/ 2041632 w 8079933"/>
              <a:gd name="connsiteY32757" fmla="*/ 2835065 h 4687251"/>
              <a:gd name="connsiteX32758" fmla="*/ 2037725 w 8079933"/>
              <a:gd name="connsiteY32758" fmla="*/ 2837122 h 4687251"/>
              <a:gd name="connsiteX32759" fmla="*/ 2036857 w 8079933"/>
              <a:gd name="connsiteY32759" fmla="*/ 2839829 h 4687251"/>
              <a:gd name="connsiteX32760" fmla="*/ 2038702 w 8079933"/>
              <a:gd name="connsiteY32760" fmla="*/ 2843726 h 4687251"/>
              <a:gd name="connsiteX32761" fmla="*/ 2042717 w 8079933"/>
              <a:gd name="connsiteY32761" fmla="*/ 2846541 h 4687251"/>
              <a:gd name="connsiteX32762" fmla="*/ 2046406 w 8079933"/>
              <a:gd name="connsiteY32762" fmla="*/ 2849789 h 4687251"/>
              <a:gd name="connsiteX32763" fmla="*/ 2046080 w 8079933"/>
              <a:gd name="connsiteY32763" fmla="*/ 2854662 h 4687251"/>
              <a:gd name="connsiteX32764" fmla="*/ 2043585 w 8079933"/>
              <a:gd name="connsiteY32764" fmla="*/ 2855419 h 4687251"/>
              <a:gd name="connsiteX32765" fmla="*/ 2039352 w 8079933"/>
              <a:gd name="connsiteY32765" fmla="*/ 2854770 h 4687251"/>
              <a:gd name="connsiteX32766" fmla="*/ 2036097 w 8079933"/>
              <a:gd name="connsiteY32766" fmla="*/ 2858127 h 4687251"/>
              <a:gd name="connsiteX32767" fmla="*/ 2033167 w 8079933"/>
              <a:gd name="connsiteY32767" fmla="*/ 2862565 h 4687251"/>
              <a:gd name="connsiteX32768" fmla="*/ 2026439 w 8079933"/>
              <a:gd name="connsiteY32768" fmla="*/ 2861591 h 4687251"/>
              <a:gd name="connsiteX32769" fmla="*/ 2024920 w 8079933"/>
              <a:gd name="connsiteY32769" fmla="*/ 2858884 h 4687251"/>
              <a:gd name="connsiteX32770" fmla="*/ 2025788 w 8079933"/>
              <a:gd name="connsiteY32770" fmla="*/ 2855419 h 4687251"/>
              <a:gd name="connsiteX32771" fmla="*/ 2024595 w 8079933"/>
              <a:gd name="connsiteY32771" fmla="*/ 2850656 h 4687251"/>
              <a:gd name="connsiteX32772" fmla="*/ 2025463 w 8079933"/>
              <a:gd name="connsiteY32772" fmla="*/ 2848057 h 4687251"/>
              <a:gd name="connsiteX32773" fmla="*/ 2023943 w 8079933"/>
              <a:gd name="connsiteY32773" fmla="*/ 2846000 h 4687251"/>
              <a:gd name="connsiteX32774" fmla="*/ 2020796 w 8079933"/>
              <a:gd name="connsiteY32774" fmla="*/ 2845458 h 4687251"/>
              <a:gd name="connsiteX32775" fmla="*/ 2019169 w 8079933"/>
              <a:gd name="connsiteY32775" fmla="*/ 2848057 h 4687251"/>
              <a:gd name="connsiteX32776" fmla="*/ 2020796 w 8079933"/>
              <a:gd name="connsiteY32776" fmla="*/ 2849789 h 4687251"/>
              <a:gd name="connsiteX32777" fmla="*/ 2019385 w 8079933"/>
              <a:gd name="connsiteY32777" fmla="*/ 2852713 h 4687251"/>
              <a:gd name="connsiteX32778" fmla="*/ 2015371 w 8079933"/>
              <a:gd name="connsiteY32778" fmla="*/ 2852821 h 4687251"/>
              <a:gd name="connsiteX32779" fmla="*/ 2011572 w 8079933"/>
              <a:gd name="connsiteY32779" fmla="*/ 2850656 h 4687251"/>
              <a:gd name="connsiteX32780" fmla="*/ 2008534 w 8079933"/>
              <a:gd name="connsiteY32780" fmla="*/ 2844484 h 4687251"/>
              <a:gd name="connsiteX32781" fmla="*/ 2007449 w 8079933"/>
              <a:gd name="connsiteY32781" fmla="*/ 2838313 h 4687251"/>
              <a:gd name="connsiteX32782" fmla="*/ 1998767 w 8079933"/>
              <a:gd name="connsiteY32782" fmla="*/ 2837122 h 4687251"/>
              <a:gd name="connsiteX32783" fmla="*/ 1996054 w 8079933"/>
              <a:gd name="connsiteY32783" fmla="*/ 2836364 h 4687251"/>
              <a:gd name="connsiteX32784" fmla="*/ 1996380 w 8079933"/>
              <a:gd name="connsiteY32784" fmla="*/ 2834632 h 4687251"/>
              <a:gd name="connsiteX32785" fmla="*/ 1994209 w 8079933"/>
              <a:gd name="connsiteY32785" fmla="*/ 2832466 h 4687251"/>
              <a:gd name="connsiteX32786" fmla="*/ 1992039 w 8079933"/>
              <a:gd name="connsiteY32786" fmla="*/ 2834091 h 4687251"/>
              <a:gd name="connsiteX32787" fmla="*/ 1987590 w 8079933"/>
              <a:gd name="connsiteY32787" fmla="*/ 2834848 h 4687251"/>
              <a:gd name="connsiteX32788" fmla="*/ 1983575 w 8079933"/>
              <a:gd name="connsiteY32788" fmla="*/ 2834199 h 4687251"/>
              <a:gd name="connsiteX32789" fmla="*/ 1980211 w 8079933"/>
              <a:gd name="connsiteY32789" fmla="*/ 2834523 h 4687251"/>
              <a:gd name="connsiteX32790" fmla="*/ 1980210 w 8079933"/>
              <a:gd name="connsiteY32790" fmla="*/ 2834522 h 4687251"/>
              <a:gd name="connsiteX32791" fmla="*/ 1979452 w 8079933"/>
              <a:gd name="connsiteY32791" fmla="*/ 2834522 h 4687251"/>
              <a:gd name="connsiteX32792" fmla="*/ 1979777 w 8079933"/>
              <a:gd name="connsiteY32792" fmla="*/ 2837337 h 4687251"/>
              <a:gd name="connsiteX32793" fmla="*/ 1979018 w 8079933"/>
              <a:gd name="connsiteY32793" fmla="*/ 2839611 h 4687251"/>
              <a:gd name="connsiteX32794" fmla="*/ 1975979 w 8079933"/>
              <a:gd name="connsiteY32794" fmla="*/ 2839503 h 4687251"/>
              <a:gd name="connsiteX32795" fmla="*/ 1974243 w 8079933"/>
              <a:gd name="connsiteY32795" fmla="*/ 2837554 h 4687251"/>
              <a:gd name="connsiteX32796" fmla="*/ 1972941 w 8079933"/>
              <a:gd name="connsiteY32796" fmla="*/ 2836796 h 4687251"/>
              <a:gd name="connsiteX32797" fmla="*/ 1971313 w 8079933"/>
              <a:gd name="connsiteY32797" fmla="*/ 2835930 h 4687251"/>
              <a:gd name="connsiteX32798" fmla="*/ 1971530 w 8079933"/>
              <a:gd name="connsiteY32798" fmla="*/ 2831599 h 4687251"/>
              <a:gd name="connsiteX32799" fmla="*/ 1967407 w 8079933"/>
              <a:gd name="connsiteY32799" fmla="*/ 2826619 h 4687251"/>
              <a:gd name="connsiteX32800" fmla="*/ 1964802 w 8079933"/>
              <a:gd name="connsiteY32800" fmla="*/ 2824670 h 4687251"/>
              <a:gd name="connsiteX32801" fmla="*/ 1963066 w 8079933"/>
              <a:gd name="connsiteY32801" fmla="*/ 2825969 h 4687251"/>
              <a:gd name="connsiteX32802" fmla="*/ 1963066 w 8079933"/>
              <a:gd name="connsiteY32802" fmla="*/ 2826727 h 4687251"/>
              <a:gd name="connsiteX32803" fmla="*/ 1967190 w 8079933"/>
              <a:gd name="connsiteY32803" fmla="*/ 2828784 h 4687251"/>
              <a:gd name="connsiteX32804" fmla="*/ 1969468 w 8079933"/>
              <a:gd name="connsiteY32804" fmla="*/ 2831708 h 4687251"/>
              <a:gd name="connsiteX32805" fmla="*/ 1968926 w 8079933"/>
              <a:gd name="connsiteY32805" fmla="*/ 2835714 h 4687251"/>
              <a:gd name="connsiteX32806" fmla="*/ 1967081 w 8079933"/>
              <a:gd name="connsiteY32806" fmla="*/ 2836796 h 4687251"/>
              <a:gd name="connsiteX32807" fmla="*/ 1963283 w 8079933"/>
              <a:gd name="connsiteY32807" fmla="*/ 2834414 h 4687251"/>
              <a:gd name="connsiteX32808" fmla="*/ 1957532 w 8079933"/>
              <a:gd name="connsiteY32808" fmla="*/ 2832249 h 4687251"/>
              <a:gd name="connsiteX32809" fmla="*/ 1955470 w 8079933"/>
              <a:gd name="connsiteY32809" fmla="*/ 2829000 h 4687251"/>
              <a:gd name="connsiteX32810" fmla="*/ 1955470 w 8079933"/>
              <a:gd name="connsiteY32810" fmla="*/ 2825753 h 4687251"/>
              <a:gd name="connsiteX32811" fmla="*/ 1958617 w 8079933"/>
              <a:gd name="connsiteY32811" fmla="*/ 2821855 h 4687251"/>
              <a:gd name="connsiteX32812" fmla="*/ 1957749 w 8079933"/>
              <a:gd name="connsiteY32812" fmla="*/ 2819581 h 4687251"/>
              <a:gd name="connsiteX32813" fmla="*/ 1952539 w 8079933"/>
              <a:gd name="connsiteY32813" fmla="*/ 2813518 h 4687251"/>
              <a:gd name="connsiteX32814" fmla="*/ 1949501 w 8079933"/>
              <a:gd name="connsiteY32814" fmla="*/ 2811678 h 4687251"/>
              <a:gd name="connsiteX32815" fmla="*/ 1945378 w 8079933"/>
              <a:gd name="connsiteY32815" fmla="*/ 2807888 h 4687251"/>
              <a:gd name="connsiteX32816" fmla="*/ 1939844 w 8079933"/>
              <a:gd name="connsiteY32816" fmla="*/ 2804748 h 4687251"/>
              <a:gd name="connsiteX32817" fmla="*/ 1938324 w 8079933"/>
              <a:gd name="connsiteY32817" fmla="*/ 2799984 h 4687251"/>
              <a:gd name="connsiteX32818" fmla="*/ 1933658 w 8079933"/>
              <a:gd name="connsiteY32818" fmla="*/ 2796736 h 4687251"/>
              <a:gd name="connsiteX32819" fmla="*/ 1933333 w 8079933"/>
              <a:gd name="connsiteY32819" fmla="*/ 2792730 h 4687251"/>
              <a:gd name="connsiteX32820" fmla="*/ 1928775 w 8079933"/>
              <a:gd name="connsiteY32820" fmla="*/ 2790457 h 4687251"/>
              <a:gd name="connsiteX32821" fmla="*/ 1924651 w 8079933"/>
              <a:gd name="connsiteY32821" fmla="*/ 2787209 h 4687251"/>
              <a:gd name="connsiteX32822" fmla="*/ 1922589 w 8079933"/>
              <a:gd name="connsiteY32822" fmla="*/ 2788941 h 4687251"/>
              <a:gd name="connsiteX32823" fmla="*/ 1924108 w 8079933"/>
              <a:gd name="connsiteY32823" fmla="*/ 2791539 h 4687251"/>
              <a:gd name="connsiteX32824" fmla="*/ 1930511 w 8079933"/>
              <a:gd name="connsiteY32824" fmla="*/ 2796195 h 4687251"/>
              <a:gd name="connsiteX32825" fmla="*/ 1931704 w 8079933"/>
              <a:gd name="connsiteY32825" fmla="*/ 2800309 h 4687251"/>
              <a:gd name="connsiteX32826" fmla="*/ 1928991 w 8079933"/>
              <a:gd name="connsiteY32826" fmla="*/ 2805073 h 4687251"/>
              <a:gd name="connsiteX32827" fmla="*/ 1926713 w 8079933"/>
              <a:gd name="connsiteY32827" fmla="*/ 2805073 h 4687251"/>
              <a:gd name="connsiteX32828" fmla="*/ 1924434 w 8079933"/>
              <a:gd name="connsiteY32828" fmla="*/ 2801176 h 4687251"/>
              <a:gd name="connsiteX32829" fmla="*/ 1920744 w 8079933"/>
              <a:gd name="connsiteY32829" fmla="*/ 2798793 h 4687251"/>
              <a:gd name="connsiteX32830" fmla="*/ 1914342 w 8079933"/>
              <a:gd name="connsiteY32830" fmla="*/ 2798577 h 4687251"/>
              <a:gd name="connsiteX32831" fmla="*/ 1907940 w 8079933"/>
              <a:gd name="connsiteY32831" fmla="*/ 2793055 h 4687251"/>
              <a:gd name="connsiteX32832" fmla="*/ 1906963 w 8079933"/>
              <a:gd name="connsiteY32832" fmla="*/ 2788399 h 4687251"/>
              <a:gd name="connsiteX32833" fmla="*/ 1909133 w 8079933"/>
              <a:gd name="connsiteY32833" fmla="*/ 2782986 h 4687251"/>
              <a:gd name="connsiteX32834" fmla="*/ 1913257 w 8079933"/>
              <a:gd name="connsiteY32834" fmla="*/ 2780495 h 4687251"/>
              <a:gd name="connsiteX32835" fmla="*/ 1912280 w 8079933"/>
              <a:gd name="connsiteY32835" fmla="*/ 2775732 h 4687251"/>
              <a:gd name="connsiteX32836" fmla="*/ 1908590 w 8079933"/>
              <a:gd name="connsiteY32836" fmla="*/ 2774866 h 4687251"/>
              <a:gd name="connsiteX32837" fmla="*/ 1907288 w 8079933"/>
              <a:gd name="connsiteY32837" fmla="*/ 2773675 h 4687251"/>
              <a:gd name="connsiteX32838" fmla="*/ 1908808 w 8079933"/>
              <a:gd name="connsiteY32838" fmla="*/ 2772267 h 4687251"/>
              <a:gd name="connsiteX32839" fmla="*/ 1910218 w 8079933"/>
              <a:gd name="connsiteY32839" fmla="*/ 2766962 h 4687251"/>
              <a:gd name="connsiteX32840" fmla="*/ 1909676 w 8079933"/>
              <a:gd name="connsiteY32840" fmla="*/ 2766637 h 4687251"/>
              <a:gd name="connsiteX32841" fmla="*/ 1911303 w 8079933"/>
              <a:gd name="connsiteY32841" fmla="*/ 2765879 h 4687251"/>
              <a:gd name="connsiteX32842" fmla="*/ 1911303 w 8079933"/>
              <a:gd name="connsiteY32842" fmla="*/ 2764581 h 4687251"/>
              <a:gd name="connsiteX32843" fmla="*/ 1911303 w 8079933"/>
              <a:gd name="connsiteY32843" fmla="*/ 2764581 h 4687251"/>
              <a:gd name="connsiteX32844" fmla="*/ 1910543 w 8079933"/>
              <a:gd name="connsiteY32844" fmla="*/ 2763715 h 4687251"/>
              <a:gd name="connsiteX32845" fmla="*/ 1908915 w 8079933"/>
              <a:gd name="connsiteY32845" fmla="*/ 2764364 h 4687251"/>
              <a:gd name="connsiteX32846" fmla="*/ 1907179 w 8079933"/>
              <a:gd name="connsiteY32846" fmla="*/ 2763174 h 4687251"/>
              <a:gd name="connsiteX32847" fmla="*/ 1904249 w 8079933"/>
              <a:gd name="connsiteY32847" fmla="*/ 2763174 h 4687251"/>
              <a:gd name="connsiteX32848" fmla="*/ 1893398 w 8079933"/>
              <a:gd name="connsiteY32848" fmla="*/ 2751155 h 4687251"/>
              <a:gd name="connsiteX32849" fmla="*/ 1887321 w 8079933"/>
              <a:gd name="connsiteY32849" fmla="*/ 2742927 h 4687251"/>
              <a:gd name="connsiteX32850" fmla="*/ 1880484 w 8079933"/>
              <a:gd name="connsiteY32850" fmla="*/ 2736756 h 4687251"/>
              <a:gd name="connsiteX32851" fmla="*/ 1880484 w 8079933"/>
              <a:gd name="connsiteY32851" fmla="*/ 2733832 h 4687251"/>
              <a:gd name="connsiteX32852" fmla="*/ 1876361 w 8079933"/>
              <a:gd name="connsiteY32852" fmla="*/ 2731125 h 4687251"/>
              <a:gd name="connsiteX32853" fmla="*/ 1867788 w 8079933"/>
              <a:gd name="connsiteY32853" fmla="*/ 2720298 h 4687251"/>
              <a:gd name="connsiteX32854" fmla="*/ 1868656 w 8079933"/>
              <a:gd name="connsiteY32854" fmla="*/ 2718783 h 4687251"/>
              <a:gd name="connsiteX32855" fmla="*/ 1872996 w 8079933"/>
              <a:gd name="connsiteY32855" fmla="*/ 2720298 h 4687251"/>
              <a:gd name="connsiteX32856" fmla="*/ 1874841 w 8079933"/>
              <a:gd name="connsiteY32856" fmla="*/ 2720298 h 4687251"/>
              <a:gd name="connsiteX32857" fmla="*/ 1874841 w 8079933"/>
              <a:gd name="connsiteY32857" fmla="*/ 2717700 h 4687251"/>
              <a:gd name="connsiteX32858" fmla="*/ 1874918 w 8079933"/>
              <a:gd name="connsiteY32858" fmla="*/ 2717687 h 4687251"/>
              <a:gd name="connsiteX32859" fmla="*/ 1874516 w 8079933"/>
              <a:gd name="connsiteY32859" fmla="*/ 2716725 h 4687251"/>
              <a:gd name="connsiteX32860" fmla="*/ 1874516 w 8079933"/>
              <a:gd name="connsiteY32860" fmla="*/ 2713802 h 4687251"/>
              <a:gd name="connsiteX32861" fmla="*/ 1872671 w 8079933"/>
              <a:gd name="connsiteY32861" fmla="*/ 2712828 h 4687251"/>
              <a:gd name="connsiteX32862" fmla="*/ 1871586 w 8079933"/>
              <a:gd name="connsiteY32862" fmla="*/ 2714343 h 4687251"/>
              <a:gd name="connsiteX32863" fmla="*/ 1869524 w 8079933"/>
              <a:gd name="connsiteY32863" fmla="*/ 2714560 h 4687251"/>
              <a:gd name="connsiteX32864" fmla="*/ 1868330 w 8079933"/>
              <a:gd name="connsiteY32864" fmla="*/ 2712828 h 4687251"/>
              <a:gd name="connsiteX32865" fmla="*/ 1865726 w 8079933"/>
              <a:gd name="connsiteY32865" fmla="*/ 2711420 h 4687251"/>
              <a:gd name="connsiteX32866" fmla="*/ 1865618 w 8079933"/>
              <a:gd name="connsiteY32866" fmla="*/ 2711636 h 4687251"/>
              <a:gd name="connsiteX32867" fmla="*/ 1865618 w 8079933"/>
              <a:gd name="connsiteY32867" fmla="*/ 2711636 h 4687251"/>
              <a:gd name="connsiteX32868" fmla="*/ 1865617 w 8079933"/>
              <a:gd name="connsiteY32868" fmla="*/ 2711636 h 4687251"/>
              <a:gd name="connsiteX32869" fmla="*/ 1865617 w 8079933"/>
              <a:gd name="connsiteY32869" fmla="*/ 2711637 h 4687251"/>
              <a:gd name="connsiteX32870" fmla="*/ 1864207 w 8079933"/>
              <a:gd name="connsiteY32870" fmla="*/ 2712936 h 4687251"/>
              <a:gd name="connsiteX32871" fmla="*/ 1865401 w 8079933"/>
              <a:gd name="connsiteY32871" fmla="*/ 2715209 h 4687251"/>
              <a:gd name="connsiteX32872" fmla="*/ 1862254 w 8079933"/>
              <a:gd name="connsiteY32872" fmla="*/ 2719540 h 4687251"/>
              <a:gd name="connsiteX32873" fmla="*/ 1851402 w 8079933"/>
              <a:gd name="connsiteY32873" fmla="*/ 2719323 h 4687251"/>
              <a:gd name="connsiteX32874" fmla="*/ 1848906 w 8079933"/>
              <a:gd name="connsiteY32874" fmla="*/ 2717158 h 4687251"/>
              <a:gd name="connsiteX32875" fmla="*/ 1845217 w 8079933"/>
              <a:gd name="connsiteY32875" fmla="*/ 2712286 h 4687251"/>
              <a:gd name="connsiteX32876" fmla="*/ 1840876 w 8079933"/>
              <a:gd name="connsiteY32876" fmla="*/ 2712070 h 4687251"/>
              <a:gd name="connsiteX32877" fmla="*/ 1839248 w 8079933"/>
              <a:gd name="connsiteY32877" fmla="*/ 2713152 h 4687251"/>
              <a:gd name="connsiteX32878" fmla="*/ 1842613 w 8079933"/>
              <a:gd name="connsiteY32878" fmla="*/ 2715101 h 4687251"/>
              <a:gd name="connsiteX32879" fmla="*/ 1841636 w 8079933"/>
              <a:gd name="connsiteY32879" fmla="*/ 2717158 h 4687251"/>
              <a:gd name="connsiteX32880" fmla="*/ 1834040 w 8079933"/>
              <a:gd name="connsiteY32880" fmla="*/ 2712936 h 4687251"/>
              <a:gd name="connsiteX32881" fmla="*/ 1825901 w 8079933"/>
              <a:gd name="connsiteY32881" fmla="*/ 2709363 h 4687251"/>
              <a:gd name="connsiteX32882" fmla="*/ 1823948 w 8079933"/>
              <a:gd name="connsiteY32882" fmla="*/ 2709471 h 4687251"/>
              <a:gd name="connsiteX32883" fmla="*/ 1823188 w 8079933"/>
              <a:gd name="connsiteY32883" fmla="*/ 2709579 h 4687251"/>
              <a:gd name="connsiteX32884" fmla="*/ 1817653 w 8079933"/>
              <a:gd name="connsiteY32884" fmla="*/ 2708389 h 4687251"/>
              <a:gd name="connsiteX32885" fmla="*/ 1813855 w 8079933"/>
              <a:gd name="connsiteY32885" fmla="*/ 2704707 h 4687251"/>
              <a:gd name="connsiteX32886" fmla="*/ 1809189 w 8079933"/>
              <a:gd name="connsiteY32886" fmla="*/ 2704707 h 4687251"/>
              <a:gd name="connsiteX32887" fmla="*/ 1807019 w 8079933"/>
              <a:gd name="connsiteY32887" fmla="*/ 2703950 h 4687251"/>
              <a:gd name="connsiteX32888" fmla="*/ 1808755 w 8079933"/>
              <a:gd name="connsiteY32888" fmla="*/ 2701242 h 4687251"/>
              <a:gd name="connsiteX32889" fmla="*/ 1807019 w 8079933"/>
              <a:gd name="connsiteY32889" fmla="*/ 2703949 h 4687251"/>
              <a:gd name="connsiteX32890" fmla="*/ 1797903 w 8079933"/>
              <a:gd name="connsiteY32890" fmla="*/ 2700808 h 4687251"/>
              <a:gd name="connsiteX32891" fmla="*/ 1792152 w 8079933"/>
              <a:gd name="connsiteY32891" fmla="*/ 2701458 h 4687251"/>
              <a:gd name="connsiteX32892" fmla="*/ 1784773 w 8079933"/>
              <a:gd name="connsiteY32892" fmla="*/ 2701350 h 4687251"/>
              <a:gd name="connsiteX32893" fmla="*/ 1772185 w 8079933"/>
              <a:gd name="connsiteY32893" fmla="*/ 2696478 h 4687251"/>
              <a:gd name="connsiteX32894" fmla="*/ 1768929 w 8079933"/>
              <a:gd name="connsiteY32894" fmla="*/ 2692580 h 4687251"/>
              <a:gd name="connsiteX32895" fmla="*/ 1765240 w 8079933"/>
              <a:gd name="connsiteY32895" fmla="*/ 2692147 h 4687251"/>
              <a:gd name="connsiteX32896" fmla="*/ 1762418 w 8079933"/>
              <a:gd name="connsiteY32896" fmla="*/ 2687383 h 4687251"/>
              <a:gd name="connsiteX32897" fmla="*/ 1758513 w 8079933"/>
              <a:gd name="connsiteY32897" fmla="*/ 2682620 h 4687251"/>
              <a:gd name="connsiteX32898" fmla="*/ 1758512 w 8079933"/>
              <a:gd name="connsiteY32898" fmla="*/ 2682621 h 4687251"/>
              <a:gd name="connsiteX32899" fmla="*/ 1754822 w 8079933"/>
              <a:gd name="connsiteY32899" fmla="*/ 2678073 h 4687251"/>
              <a:gd name="connsiteX32900" fmla="*/ 1748094 w 8079933"/>
              <a:gd name="connsiteY32900" fmla="*/ 2672876 h 4687251"/>
              <a:gd name="connsiteX32901" fmla="*/ 1747334 w 8079933"/>
              <a:gd name="connsiteY32901" fmla="*/ 2670169 h 4687251"/>
              <a:gd name="connsiteX32902" fmla="*/ 1742234 w 8079933"/>
              <a:gd name="connsiteY32902" fmla="*/ 2668654 h 4687251"/>
              <a:gd name="connsiteX32903" fmla="*/ 1725631 w 8079933"/>
              <a:gd name="connsiteY32903" fmla="*/ 2654903 h 4687251"/>
              <a:gd name="connsiteX32904" fmla="*/ 1723569 w 8079933"/>
              <a:gd name="connsiteY32904" fmla="*/ 2652088 h 4687251"/>
              <a:gd name="connsiteX32905" fmla="*/ 1723569 w 8079933"/>
              <a:gd name="connsiteY32905" fmla="*/ 2650030 h 4687251"/>
              <a:gd name="connsiteX32906" fmla="*/ 1719445 w 8079933"/>
              <a:gd name="connsiteY32906" fmla="*/ 2644834 h 4687251"/>
              <a:gd name="connsiteX32907" fmla="*/ 1715322 w 8079933"/>
              <a:gd name="connsiteY32907" fmla="*/ 2641261 h 4687251"/>
              <a:gd name="connsiteX32908" fmla="*/ 1710656 w 8079933"/>
              <a:gd name="connsiteY32908" fmla="*/ 2640395 h 4687251"/>
              <a:gd name="connsiteX32909" fmla="*/ 1709787 w 8079933"/>
              <a:gd name="connsiteY32909" fmla="*/ 2639528 h 4687251"/>
              <a:gd name="connsiteX32910" fmla="*/ 1708051 w 8079933"/>
              <a:gd name="connsiteY32910" fmla="*/ 2639745 h 4687251"/>
              <a:gd name="connsiteX32911" fmla="*/ 1708485 w 8079933"/>
              <a:gd name="connsiteY32911" fmla="*/ 2641152 h 4687251"/>
              <a:gd name="connsiteX32912" fmla="*/ 1716190 w 8079933"/>
              <a:gd name="connsiteY32912" fmla="*/ 2644509 h 4687251"/>
              <a:gd name="connsiteX32913" fmla="*/ 1721724 w 8079933"/>
              <a:gd name="connsiteY32913" fmla="*/ 2650030 h 4687251"/>
              <a:gd name="connsiteX32914" fmla="*/ 1721724 w 8079933"/>
              <a:gd name="connsiteY32914" fmla="*/ 2651438 h 4687251"/>
              <a:gd name="connsiteX32915" fmla="*/ 1718360 w 8079933"/>
              <a:gd name="connsiteY32915" fmla="*/ 2648515 h 4687251"/>
              <a:gd name="connsiteX32916" fmla="*/ 1711198 w 8079933"/>
              <a:gd name="connsiteY32916" fmla="*/ 2643859 h 4687251"/>
              <a:gd name="connsiteX32917" fmla="*/ 1706858 w 8079933"/>
              <a:gd name="connsiteY32917" fmla="*/ 2642344 h 4687251"/>
              <a:gd name="connsiteX32918" fmla="*/ 1703385 w 8079933"/>
              <a:gd name="connsiteY32918" fmla="*/ 2642452 h 4687251"/>
              <a:gd name="connsiteX32919" fmla="*/ 1701757 w 8079933"/>
              <a:gd name="connsiteY32919" fmla="*/ 2641694 h 4687251"/>
              <a:gd name="connsiteX32920" fmla="*/ 1702733 w 8079933"/>
              <a:gd name="connsiteY32920" fmla="*/ 2640611 h 4687251"/>
              <a:gd name="connsiteX32921" fmla="*/ 1705121 w 8079933"/>
              <a:gd name="connsiteY32921" fmla="*/ 2640395 h 4687251"/>
              <a:gd name="connsiteX32922" fmla="*/ 1705121 w 8079933"/>
              <a:gd name="connsiteY32922" fmla="*/ 2638446 h 4687251"/>
              <a:gd name="connsiteX32923" fmla="*/ 1702083 w 8079933"/>
              <a:gd name="connsiteY32923" fmla="*/ 2638446 h 4687251"/>
              <a:gd name="connsiteX32924" fmla="*/ 1699153 w 8079933"/>
              <a:gd name="connsiteY32924" fmla="*/ 2639962 h 4687251"/>
              <a:gd name="connsiteX32925" fmla="*/ 1699153 w 8079933"/>
              <a:gd name="connsiteY32925" fmla="*/ 2637363 h 4687251"/>
              <a:gd name="connsiteX32926" fmla="*/ 1697417 w 8079933"/>
              <a:gd name="connsiteY32926" fmla="*/ 2636497 h 4687251"/>
              <a:gd name="connsiteX32927" fmla="*/ 1692099 w 8079933"/>
              <a:gd name="connsiteY32927" fmla="*/ 2639528 h 4687251"/>
              <a:gd name="connsiteX32928" fmla="*/ 1691882 w 8079933"/>
              <a:gd name="connsiteY32928" fmla="*/ 2641802 h 4687251"/>
              <a:gd name="connsiteX32929" fmla="*/ 1695897 w 8079933"/>
              <a:gd name="connsiteY32929" fmla="*/ 2641802 h 4687251"/>
              <a:gd name="connsiteX32930" fmla="*/ 1700563 w 8079933"/>
              <a:gd name="connsiteY32930" fmla="*/ 2642452 h 4687251"/>
              <a:gd name="connsiteX32931" fmla="*/ 1700563 w 8079933"/>
              <a:gd name="connsiteY32931" fmla="*/ 2643859 h 4687251"/>
              <a:gd name="connsiteX32932" fmla="*/ 1698067 w 8079933"/>
              <a:gd name="connsiteY32932" fmla="*/ 2643534 h 4687251"/>
              <a:gd name="connsiteX32933" fmla="*/ 1692099 w 8079933"/>
              <a:gd name="connsiteY32933" fmla="*/ 2644076 h 4687251"/>
              <a:gd name="connsiteX32934" fmla="*/ 1687216 w 8079933"/>
              <a:gd name="connsiteY32934" fmla="*/ 2644834 h 4687251"/>
              <a:gd name="connsiteX32935" fmla="*/ 1680705 w 8079933"/>
              <a:gd name="connsiteY32935" fmla="*/ 2649165 h 4687251"/>
              <a:gd name="connsiteX32936" fmla="*/ 1675496 w 8079933"/>
              <a:gd name="connsiteY32936" fmla="*/ 2649597 h 4687251"/>
              <a:gd name="connsiteX32937" fmla="*/ 1663342 w 8079933"/>
              <a:gd name="connsiteY32937" fmla="*/ 2654687 h 4687251"/>
              <a:gd name="connsiteX32938" fmla="*/ 1658459 w 8079933"/>
              <a:gd name="connsiteY32938" fmla="*/ 2655011 h 4687251"/>
              <a:gd name="connsiteX32939" fmla="*/ 1646631 w 8079933"/>
              <a:gd name="connsiteY32939" fmla="*/ 2650789 h 4687251"/>
              <a:gd name="connsiteX32940" fmla="*/ 1640228 w 8079933"/>
              <a:gd name="connsiteY32940" fmla="*/ 2647324 h 4687251"/>
              <a:gd name="connsiteX32941" fmla="*/ 1631873 w 8079933"/>
              <a:gd name="connsiteY32941" fmla="*/ 2647324 h 4687251"/>
              <a:gd name="connsiteX32942" fmla="*/ 1623191 w 8079933"/>
              <a:gd name="connsiteY32942" fmla="*/ 2643859 h 4687251"/>
              <a:gd name="connsiteX32943" fmla="*/ 1618634 w 8079933"/>
              <a:gd name="connsiteY32943" fmla="*/ 2641152 h 4687251"/>
              <a:gd name="connsiteX32944" fmla="*/ 1616789 w 8079933"/>
              <a:gd name="connsiteY32944" fmla="*/ 2641694 h 4687251"/>
              <a:gd name="connsiteX32945" fmla="*/ 1612774 w 8079933"/>
              <a:gd name="connsiteY32945" fmla="*/ 2641261 h 4687251"/>
              <a:gd name="connsiteX32946" fmla="*/ 1606805 w 8079933"/>
              <a:gd name="connsiteY32946" fmla="*/ 2638554 h 4687251"/>
              <a:gd name="connsiteX32947" fmla="*/ 1603550 w 8079933"/>
              <a:gd name="connsiteY32947" fmla="*/ 2633249 h 4687251"/>
              <a:gd name="connsiteX32948" fmla="*/ 1602139 w 8079933"/>
              <a:gd name="connsiteY32948" fmla="*/ 2632166 h 4687251"/>
              <a:gd name="connsiteX32949" fmla="*/ 1598666 w 8079933"/>
              <a:gd name="connsiteY32949" fmla="*/ 2633573 h 4687251"/>
              <a:gd name="connsiteX32950" fmla="*/ 1592481 w 8079933"/>
              <a:gd name="connsiteY32950" fmla="*/ 2630650 h 4687251"/>
              <a:gd name="connsiteX32951" fmla="*/ 1585753 w 8079933"/>
              <a:gd name="connsiteY32951" fmla="*/ 2630109 h 4687251"/>
              <a:gd name="connsiteX32952" fmla="*/ 1582823 w 8079933"/>
              <a:gd name="connsiteY32952" fmla="*/ 2625345 h 4687251"/>
              <a:gd name="connsiteX32953" fmla="*/ 1577180 w 8079933"/>
              <a:gd name="connsiteY32953" fmla="*/ 2622422 h 4687251"/>
              <a:gd name="connsiteX32954" fmla="*/ 1565243 w 8079933"/>
              <a:gd name="connsiteY32954" fmla="*/ 2620689 h 4687251"/>
              <a:gd name="connsiteX32955" fmla="*/ 1554934 w 8079933"/>
              <a:gd name="connsiteY32955" fmla="*/ 2616575 h 4687251"/>
              <a:gd name="connsiteX32956" fmla="*/ 1547989 w 8079933"/>
              <a:gd name="connsiteY32956" fmla="*/ 2609538 h 4687251"/>
              <a:gd name="connsiteX32957" fmla="*/ 1544950 w 8079933"/>
              <a:gd name="connsiteY32957" fmla="*/ 2608996 h 4687251"/>
              <a:gd name="connsiteX32958" fmla="*/ 1533231 w 8079933"/>
              <a:gd name="connsiteY32958" fmla="*/ 2597628 h 4687251"/>
              <a:gd name="connsiteX32959" fmla="*/ 1531061 w 8079933"/>
              <a:gd name="connsiteY32959" fmla="*/ 2594813 h 4687251"/>
              <a:gd name="connsiteX32960" fmla="*/ 1528456 w 8079933"/>
              <a:gd name="connsiteY32960" fmla="*/ 2595029 h 4687251"/>
              <a:gd name="connsiteX32961" fmla="*/ 1527154 w 8079933"/>
              <a:gd name="connsiteY32961" fmla="*/ 2596870 h 4687251"/>
              <a:gd name="connsiteX32962" fmla="*/ 1523573 w 8079933"/>
              <a:gd name="connsiteY32962" fmla="*/ 2596653 h 4687251"/>
              <a:gd name="connsiteX32963" fmla="*/ 1514349 w 8079933"/>
              <a:gd name="connsiteY32963" fmla="*/ 2593080 h 4687251"/>
              <a:gd name="connsiteX32964" fmla="*/ 1511311 w 8079933"/>
              <a:gd name="connsiteY32964" fmla="*/ 2592755 h 4687251"/>
              <a:gd name="connsiteX32965" fmla="*/ 1506536 w 8079933"/>
              <a:gd name="connsiteY32965" fmla="*/ 2590806 h 4687251"/>
              <a:gd name="connsiteX32966" fmla="*/ 1504582 w 8079933"/>
              <a:gd name="connsiteY32966" fmla="*/ 2591457 h 4687251"/>
              <a:gd name="connsiteX32967" fmla="*/ 1499807 w 8079933"/>
              <a:gd name="connsiteY32967" fmla="*/ 2589724 h 4687251"/>
              <a:gd name="connsiteX32968" fmla="*/ 1496335 w 8079933"/>
              <a:gd name="connsiteY32968" fmla="*/ 2584419 h 4687251"/>
              <a:gd name="connsiteX32969" fmla="*/ 1492211 w 8079933"/>
              <a:gd name="connsiteY32969" fmla="*/ 2577814 h 4687251"/>
              <a:gd name="connsiteX32970" fmla="*/ 1486135 w 8079933"/>
              <a:gd name="connsiteY32970" fmla="*/ 2572184 h 4687251"/>
              <a:gd name="connsiteX32971" fmla="*/ 1480275 w 8079933"/>
              <a:gd name="connsiteY32971" fmla="*/ 2570127 h 4687251"/>
              <a:gd name="connsiteX32972" fmla="*/ 1480275 w 8079933"/>
              <a:gd name="connsiteY32972" fmla="*/ 2568070 h 4687251"/>
              <a:gd name="connsiteX32973" fmla="*/ 1482554 w 8079933"/>
              <a:gd name="connsiteY32973" fmla="*/ 2565147 h 4687251"/>
              <a:gd name="connsiteX32974" fmla="*/ 1479624 w 8079933"/>
              <a:gd name="connsiteY32974" fmla="*/ 2564605 h 4687251"/>
              <a:gd name="connsiteX32975" fmla="*/ 1474414 w 8079933"/>
              <a:gd name="connsiteY32975" fmla="*/ 2565688 h 4687251"/>
              <a:gd name="connsiteX32976" fmla="*/ 1466927 w 8079933"/>
              <a:gd name="connsiteY32976" fmla="*/ 2563739 h 4687251"/>
              <a:gd name="connsiteX32977" fmla="*/ 1465517 w 8079933"/>
              <a:gd name="connsiteY32977" fmla="*/ 2561033 h 4687251"/>
              <a:gd name="connsiteX32978" fmla="*/ 1461935 w 8079933"/>
              <a:gd name="connsiteY32978" fmla="*/ 2561033 h 4687251"/>
              <a:gd name="connsiteX32979" fmla="*/ 1459657 w 8079933"/>
              <a:gd name="connsiteY32979" fmla="*/ 2559084 h 4687251"/>
              <a:gd name="connsiteX32980" fmla="*/ 1457921 w 8079933"/>
              <a:gd name="connsiteY32980" fmla="*/ 2553237 h 4687251"/>
              <a:gd name="connsiteX32981" fmla="*/ 1453471 w 8079933"/>
              <a:gd name="connsiteY32981" fmla="*/ 2547390 h 4687251"/>
              <a:gd name="connsiteX32982" fmla="*/ 1453471 w 8079933"/>
              <a:gd name="connsiteY32982" fmla="*/ 2544034 h 4687251"/>
              <a:gd name="connsiteX32983" fmla="*/ 1450324 w 8079933"/>
              <a:gd name="connsiteY32983" fmla="*/ 2540894 h 4687251"/>
              <a:gd name="connsiteX32984" fmla="*/ 1447069 w 8079933"/>
              <a:gd name="connsiteY32984" fmla="*/ 2532449 h 4687251"/>
              <a:gd name="connsiteX32985" fmla="*/ 1447069 w 8079933"/>
              <a:gd name="connsiteY32985" fmla="*/ 2530176 h 4687251"/>
              <a:gd name="connsiteX32986" fmla="*/ 1449998 w 8079933"/>
              <a:gd name="connsiteY32986" fmla="*/ 2528551 h 4687251"/>
              <a:gd name="connsiteX32987" fmla="*/ 1455533 w 8079933"/>
              <a:gd name="connsiteY32987" fmla="*/ 2528660 h 4687251"/>
              <a:gd name="connsiteX32988" fmla="*/ 1457594 w 8079933"/>
              <a:gd name="connsiteY32988" fmla="*/ 2526278 h 4687251"/>
              <a:gd name="connsiteX32989" fmla="*/ 1454773 w 8079933"/>
              <a:gd name="connsiteY32989" fmla="*/ 2523679 h 4687251"/>
              <a:gd name="connsiteX32990" fmla="*/ 1452386 w 8079933"/>
              <a:gd name="connsiteY32990" fmla="*/ 2523354 h 4687251"/>
              <a:gd name="connsiteX32991" fmla="*/ 1453146 w 8079933"/>
              <a:gd name="connsiteY32991" fmla="*/ 2520648 h 4687251"/>
              <a:gd name="connsiteX32992" fmla="*/ 1458571 w 8079933"/>
              <a:gd name="connsiteY32992" fmla="*/ 2515775 h 4687251"/>
              <a:gd name="connsiteX32993" fmla="*/ 1461175 w 8079933"/>
              <a:gd name="connsiteY32993" fmla="*/ 2511552 h 4687251"/>
              <a:gd name="connsiteX32994" fmla="*/ 1460850 w 8079933"/>
              <a:gd name="connsiteY32994" fmla="*/ 2506139 h 4687251"/>
              <a:gd name="connsiteX32995" fmla="*/ 1455641 w 8079933"/>
              <a:gd name="connsiteY32995" fmla="*/ 2493146 h 4687251"/>
              <a:gd name="connsiteX32996" fmla="*/ 1453146 w 8079933"/>
              <a:gd name="connsiteY32996" fmla="*/ 2486217 h 4687251"/>
              <a:gd name="connsiteX32997" fmla="*/ 1451409 w 8079933"/>
              <a:gd name="connsiteY32997" fmla="*/ 2482969 h 4687251"/>
              <a:gd name="connsiteX32998" fmla="*/ 1453146 w 8079933"/>
              <a:gd name="connsiteY32998" fmla="*/ 2478530 h 4687251"/>
              <a:gd name="connsiteX32999" fmla="*/ 1452278 w 8079933"/>
              <a:gd name="connsiteY32999" fmla="*/ 2473875 h 4687251"/>
              <a:gd name="connsiteX33000" fmla="*/ 1443487 w 8079933"/>
              <a:gd name="connsiteY33000" fmla="*/ 2462831 h 4687251"/>
              <a:gd name="connsiteX33001" fmla="*/ 1443270 w 8079933"/>
              <a:gd name="connsiteY33001" fmla="*/ 2458067 h 4687251"/>
              <a:gd name="connsiteX33002" fmla="*/ 1435566 w 8079933"/>
              <a:gd name="connsiteY33002" fmla="*/ 2450163 h 4687251"/>
              <a:gd name="connsiteX33003" fmla="*/ 1430140 w 8079933"/>
              <a:gd name="connsiteY33003" fmla="*/ 2440310 h 4687251"/>
              <a:gd name="connsiteX33004" fmla="*/ 1422978 w 8079933"/>
              <a:gd name="connsiteY33004" fmla="*/ 2430891 h 4687251"/>
              <a:gd name="connsiteX33005" fmla="*/ 1416576 w 8079933"/>
              <a:gd name="connsiteY33005" fmla="*/ 2425369 h 4687251"/>
              <a:gd name="connsiteX33006" fmla="*/ 1414296 w 8079933"/>
              <a:gd name="connsiteY33006" fmla="*/ 2423853 h 4687251"/>
              <a:gd name="connsiteX33007" fmla="*/ 1413971 w 8079933"/>
              <a:gd name="connsiteY33007" fmla="*/ 2420930 h 4687251"/>
              <a:gd name="connsiteX33008" fmla="*/ 1406917 w 8079933"/>
              <a:gd name="connsiteY33008" fmla="*/ 2418007 h 4687251"/>
              <a:gd name="connsiteX33009" fmla="*/ 1403010 w 8079933"/>
              <a:gd name="connsiteY33009" fmla="*/ 2415733 h 4687251"/>
              <a:gd name="connsiteX33010" fmla="*/ 1402577 w 8079933"/>
              <a:gd name="connsiteY33010" fmla="*/ 2414001 h 4687251"/>
              <a:gd name="connsiteX33011" fmla="*/ 1405507 w 8079933"/>
              <a:gd name="connsiteY33011" fmla="*/ 2412810 h 4687251"/>
              <a:gd name="connsiteX33012" fmla="*/ 1407460 w 8079933"/>
              <a:gd name="connsiteY33012" fmla="*/ 2408696 h 4687251"/>
              <a:gd name="connsiteX33013" fmla="*/ 1405507 w 8079933"/>
              <a:gd name="connsiteY33013" fmla="*/ 2405772 h 4687251"/>
              <a:gd name="connsiteX33014" fmla="*/ 1403770 w 8079933"/>
              <a:gd name="connsiteY33014" fmla="*/ 2401333 h 4687251"/>
              <a:gd name="connsiteX33015" fmla="*/ 1402577 w 8079933"/>
              <a:gd name="connsiteY33015" fmla="*/ 2398518 h 4687251"/>
              <a:gd name="connsiteX33016" fmla="*/ 1399647 w 8079933"/>
              <a:gd name="connsiteY33016" fmla="*/ 2398518 h 4687251"/>
              <a:gd name="connsiteX33017" fmla="*/ 1394221 w 8079933"/>
              <a:gd name="connsiteY33017" fmla="*/ 2397219 h 4687251"/>
              <a:gd name="connsiteX33018" fmla="*/ 1384672 w 8079933"/>
              <a:gd name="connsiteY33018" fmla="*/ 2389749 h 4687251"/>
              <a:gd name="connsiteX33019" fmla="*/ 1381959 w 8079933"/>
              <a:gd name="connsiteY33019" fmla="*/ 2387366 h 4687251"/>
              <a:gd name="connsiteX33020" fmla="*/ 1377618 w 8079933"/>
              <a:gd name="connsiteY33020" fmla="*/ 2387041 h 4687251"/>
              <a:gd name="connsiteX33021" fmla="*/ 1373711 w 8079933"/>
              <a:gd name="connsiteY33021" fmla="*/ 2384335 h 4687251"/>
              <a:gd name="connsiteX33022" fmla="*/ 1372951 w 8079933"/>
              <a:gd name="connsiteY33022" fmla="*/ 2379463 h 4687251"/>
              <a:gd name="connsiteX33023" fmla="*/ 1375448 w 8079933"/>
              <a:gd name="connsiteY33023" fmla="*/ 2372750 h 4687251"/>
              <a:gd name="connsiteX33024" fmla="*/ 1379571 w 8079933"/>
              <a:gd name="connsiteY33024" fmla="*/ 2368311 h 4687251"/>
              <a:gd name="connsiteX33025" fmla="*/ 1382610 w 8079933"/>
              <a:gd name="connsiteY33025" fmla="*/ 2367336 h 4687251"/>
              <a:gd name="connsiteX33026" fmla="*/ 1384997 w 8079933"/>
              <a:gd name="connsiteY33026" fmla="*/ 2369827 h 4687251"/>
              <a:gd name="connsiteX33027" fmla="*/ 1386950 w 8079933"/>
              <a:gd name="connsiteY33027" fmla="*/ 2367661 h 4687251"/>
              <a:gd name="connsiteX33028" fmla="*/ 1386299 w 8079933"/>
              <a:gd name="connsiteY33028" fmla="*/ 2364521 h 4687251"/>
              <a:gd name="connsiteX33029" fmla="*/ 1384997 w 8079933"/>
              <a:gd name="connsiteY33029" fmla="*/ 2363005 h 4687251"/>
              <a:gd name="connsiteX33030" fmla="*/ 1383478 w 8079933"/>
              <a:gd name="connsiteY33030" fmla="*/ 2364521 h 4687251"/>
              <a:gd name="connsiteX33031" fmla="*/ 1380222 w 8079933"/>
              <a:gd name="connsiteY33031" fmla="*/ 2362789 h 4687251"/>
              <a:gd name="connsiteX33032" fmla="*/ 1379571 w 8079933"/>
              <a:gd name="connsiteY33032" fmla="*/ 2359216 h 4687251"/>
              <a:gd name="connsiteX33033" fmla="*/ 1375448 w 8079933"/>
              <a:gd name="connsiteY33033" fmla="*/ 2354019 h 4687251"/>
              <a:gd name="connsiteX33034" fmla="*/ 1371650 w 8079933"/>
              <a:gd name="connsiteY33034" fmla="*/ 2354560 h 4687251"/>
              <a:gd name="connsiteX33035" fmla="*/ 1367526 w 8079933"/>
              <a:gd name="connsiteY33035" fmla="*/ 2353478 h 4687251"/>
              <a:gd name="connsiteX33036" fmla="*/ 1365355 w 8079933"/>
              <a:gd name="connsiteY33036" fmla="*/ 2349580 h 4687251"/>
              <a:gd name="connsiteX33037" fmla="*/ 1366440 w 8079933"/>
              <a:gd name="connsiteY33037" fmla="*/ 2345249 h 4687251"/>
              <a:gd name="connsiteX33038" fmla="*/ 1363511 w 8079933"/>
              <a:gd name="connsiteY33038" fmla="*/ 2344275 h 4687251"/>
              <a:gd name="connsiteX33039" fmla="*/ 1360581 w 8079933"/>
              <a:gd name="connsiteY33039" fmla="*/ 2344599 h 4687251"/>
              <a:gd name="connsiteX33040" fmla="*/ 1352333 w 8079933"/>
              <a:gd name="connsiteY33040" fmla="*/ 2337237 h 4687251"/>
              <a:gd name="connsiteX33041" fmla="*/ 1351465 w 8079933"/>
              <a:gd name="connsiteY33041" fmla="*/ 2330632 h 4687251"/>
              <a:gd name="connsiteX33042" fmla="*/ 1353310 w 8079933"/>
              <a:gd name="connsiteY33042" fmla="*/ 2327709 h 4687251"/>
              <a:gd name="connsiteX33043" fmla="*/ 1353527 w 8079933"/>
              <a:gd name="connsiteY33043" fmla="*/ 2322295 h 4687251"/>
              <a:gd name="connsiteX33044" fmla="*/ 1350923 w 8079933"/>
              <a:gd name="connsiteY33044" fmla="*/ 2320130 h 4687251"/>
              <a:gd name="connsiteX33045" fmla="*/ 1347667 w 8079933"/>
              <a:gd name="connsiteY33045" fmla="*/ 2321538 h 4687251"/>
              <a:gd name="connsiteX33046" fmla="*/ 1345931 w 8079933"/>
              <a:gd name="connsiteY33046" fmla="*/ 2320130 h 4687251"/>
              <a:gd name="connsiteX33047" fmla="*/ 1342784 w 8079933"/>
              <a:gd name="connsiteY33047" fmla="*/ 2320022 h 4687251"/>
              <a:gd name="connsiteX33048" fmla="*/ 1341807 w 8079933"/>
              <a:gd name="connsiteY33048" fmla="*/ 2317748 h 4687251"/>
              <a:gd name="connsiteX33049" fmla="*/ 1338661 w 8079933"/>
              <a:gd name="connsiteY33049" fmla="*/ 2315258 h 4687251"/>
              <a:gd name="connsiteX33050" fmla="*/ 1337358 w 8079933"/>
              <a:gd name="connsiteY33050" fmla="*/ 2311144 h 4687251"/>
              <a:gd name="connsiteX33051" fmla="*/ 1334754 w 8079933"/>
              <a:gd name="connsiteY33051" fmla="*/ 2305514 h 4687251"/>
              <a:gd name="connsiteX33052" fmla="*/ 1331607 w 8079933"/>
              <a:gd name="connsiteY33052" fmla="*/ 2304756 h 4687251"/>
              <a:gd name="connsiteX33053" fmla="*/ 1329762 w 8079933"/>
              <a:gd name="connsiteY33053" fmla="*/ 2302699 h 4687251"/>
              <a:gd name="connsiteX33054" fmla="*/ 1329220 w 8079933"/>
              <a:gd name="connsiteY33054" fmla="*/ 2297177 h 4687251"/>
              <a:gd name="connsiteX33055" fmla="*/ 1327809 w 8079933"/>
              <a:gd name="connsiteY33055" fmla="*/ 2293387 h 4687251"/>
              <a:gd name="connsiteX33056" fmla="*/ 1324554 w 8079933"/>
              <a:gd name="connsiteY33056" fmla="*/ 2291871 h 4687251"/>
              <a:gd name="connsiteX33057" fmla="*/ 1321949 w 8079933"/>
              <a:gd name="connsiteY33057" fmla="*/ 2284077 h 4687251"/>
              <a:gd name="connsiteX33058" fmla="*/ 1320321 w 8079933"/>
              <a:gd name="connsiteY33058" fmla="*/ 2281477 h 4687251"/>
              <a:gd name="connsiteX33059" fmla="*/ 1318368 w 8079933"/>
              <a:gd name="connsiteY33059" fmla="*/ 2281477 h 4687251"/>
              <a:gd name="connsiteX33060" fmla="*/ 1316849 w 8079933"/>
              <a:gd name="connsiteY33060" fmla="*/ 2278230 h 4687251"/>
              <a:gd name="connsiteX33061" fmla="*/ 1318151 w 8079933"/>
              <a:gd name="connsiteY33061" fmla="*/ 2276064 h 4687251"/>
              <a:gd name="connsiteX33062" fmla="*/ 1318585 w 8079933"/>
              <a:gd name="connsiteY33062" fmla="*/ 2273574 h 4687251"/>
              <a:gd name="connsiteX33063" fmla="*/ 1312725 w 8079933"/>
              <a:gd name="connsiteY33063" fmla="*/ 2265345 h 4687251"/>
              <a:gd name="connsiteX33064" fmla="*/ 1310988 w 8079933"/>
              <a:gd name="connsiteY33064" fmla="*/ 2261231 h 4687251"/>
              <a:gd name="connsiteX33065" fmla="*/ 1311965 w 8079933"/>
              <a:gd name="connsiteY33065" fmla="*/ 2258091 h 4687251"/>
              <a:gd name="connsiteX33066" fmla="*/ 1311315 w 8079933"/>
              <a:gd name="connsiteY33066" fmla="*/ 2252461 h 4687251"/>
              <a:gd name="connsiteX33067" fmla="*/ 1309252 w 8079933"/>
              <a:gd name="connsiteY33067" fmla="*/ 2248672 h 4687251"/>
              <a:gd name="connsiteX33068" fmla="*/ 1308059 w 8079933"/>
              <a:gd name="connsiteY33068" fmla="*/ 2240443 h 4687251"/>
              <a:gd name="connsiteX33069" fmla="*/ 1305563 w 8079933"/>
              <a:gd name="connsiteY33069" fmla="*/ 2234705 h 4687251"/>
              <a:gd name="connsiteX33070" fmla="*/ 1305237 w 8079933"/>
              <a:gd name="connsiteY33070" fmla="*/ 2230590 h 4687251"/>
              <a:gd name="connsiteX33071" fmla="*/ 1308493 w 8079933"/>
              <a:gd name="connsiteY33071" fmla="*/ 2226801 h 4687251"/>
              <a:gd name="connsiteX33072" fmla="*/ 1308493 w 8079933"/>
              <a:gd name="connsiteY33072" fmla="*/ 2224419 h 4687251"/>
              <a:gd name="connsiteX33073" fmla="*/ 1303609 w 8079933"/>
              <a:gd name="connsiteY33073" fmla="*/ 2221712 h 4687251"/>
              <a:gd name="connsiteX33074" fmla="*/ 1298943 w 8079933"/>
              <a:gd name="connsiteY33074" fmla="*/ 2221496 h 4687251"/>
              <a:gd name="connsiteX33075" fmla="*/ 1297533 w 8079933"/>
              <a:gd name="connsiteY33075" fmla="*/ 2218789 h 4687251"/>
              <a:gd name="connsiteX33076" fmla="*/ 1293518 w 8079933"/>
              <a:gd name="connsiteY33076" fmla="*/ 2215000 h 4687251"/>
              <a:gd name="connsiteX33077" fmla="*/ 1291347 w 8079933"/>
              <a:gd name="connsiteY33077" fmla="*/ 2216732 h 4687251"/>
              <a:gd name="connsiteX33078" fmla="*/ 1287332 w 8079933"/>
              <a:gd name="connsiteY33078" fmla="*/ 2217382 h 4687251"/>
              <a:gd name="connsiteX33079" fmla="*/ 1284619 w 8079933"/>
              <a:gd name="connsiteY33079" fmla="*/ 2215000 h 4687251"/>
              <a:gd name="connsiteX33080" fmla="*/ 1280279 w 8079933"/>
              <a:gd name="connsiteY33080" fmla="*/ 2208287 h 4687251"/>
              <a:gd name="connsiteX33081" fmla="*/ 1273876 w 8079933"/>
              <a:gd name="connsiteY33081" fmla="*/ 2205364 h 4687251"/>
              <a:gd name="connsiteX33082" fmla="*/ 1270838 w 8079933"/>
              <a:gd name="connsiteY33082" fmla="*/ 2199842 h 4687251"/>
              <a:gd name="connsiteX33083" fmla="*/ 1272574 w 8079933"/>
              <a:gd name="connsiteY33083" fmla="*/ 2205364 h 4687251"/>
              <a:gd name="connsiteX33084" fmla="*/ 1273442 w 8079933"/>
              <a:gd name="connsiteY33084" fmla="*/ 2209803 h 4687251"/>
              <a:gd name="connsiteX33085" fmla="*/ 1271163 w 8079933"/>
              <a:gd name="connsiteY33085" fmla="*/ 2218031 h 4687251"/>
              <a:gd name="connsiteX33086" fmla="*/ 1269102 w 8079933"/>
              <a:gd name="connsiteY33086" fmla="*/ 2223445 h 4687251"/>
              <a:gd name="connsiteX33087" fmla="*/ 1270295 w 8079933"/>
              <a:gd name="connsiteY33087" fmla="*/ 2233514 h 4687251"/>
              <a:gd name="connsiteX33088" fmla="*/ 1270946 w 8079933"/>
              <a:gd name="connsiteY33088" fmla="*/ 2250188 h 4687251"/>
              <a:gd name="connsiteX33089" fmla="*/ 1268884 w 8079933"/>
              <a:gd name="connsiteY33089" fmla="*/ 2254194 h 4687251"/>
              <a:gd name="connsiteX33090" fmla="*/ 1271488 w 8079933"/>
              <a:gd name="connsiteY33090" fmla="*/ 2256900 h 4687251"/>
              <a:gd name="connsiteX33091" fmla="*/ 1274745 w 8079933"/>
              <a:gd name="connsiteY33091" fmla="*/ 2263830 h 4687251"/>
              <a:gd name="connsiteX33092" fmla="*/ 1274636 w 8079933"/>
              <a:gd name="connsiteY33092" fmla="*/ 2268485 h 4687251"/>
              <a:gd name="connsiteX33093" fmla="*/ 1277240 w 8079933"/>
              <a:gd name="connsiteY33093" fmla="*/ 2268594 h 4687251"/>
              <a:gd name="connsiteX33094" fmla="*/ 1279411 w 8079933"/>
              <a:gd name="connsiteY33094" fmla="*/ 2272058 h 4687251"/>
              <a:gd name="connsiteX33095" fmla="*/ 1285922 w 8079933"/>
              <a:gd name="connsiteY33095" fmla="*/ 2276497 h 4687251"/>
              <a:gd name="connsiteX33096" fmla="*/ 1287332 w 8079933"/>
              <a:gd name="connsiteY33096" fmla="*/ 2282885 h 4687251"/>
              <a:gd name="connsiteX33097" fmla="*/ 1286464 w 8079933"/>
              <a:gd name="connsiteY33097" fmla="*/ 2286025 h 4687251"/>
              <a:gd name="connsiteX33098" fmla="*/ 1287658 w 8079933"/>
              <a:gd name="connsiteY33098" fmla="*/ 2290248 h 4687251"/>
              <a:gd name="connsiteX33099" fmla="*/ 1291673 w 8079933"/>
              <a:gd name="connsiteY33099" fmla="*/ 2292197 h 4687251"/>
              <a:gd name="connsiteX33100" fmla="*/ 1294711 w 8079933"/>
              <a:gd name="connsiteY33100" fmla="*/ 2295444 h 4687251"/>
              <a:gd name="connsiteX33101" fmla="*/ 1295254 w 8079933"/>
              <a:gd name="connsiteY33101" fmla="*/ 2300534 h 4687251"/>
              <a:gd name="connsiteX33102" fmla="*/ 1297207 w 8079933"/>
              <a:gd name="connsiteY33102" fmla="*/ 2302699 h 4687251"/>
              <a:gd name="connsiteX33103" fmla="*/ 1300246 w 8079933"/>
              <a:gd name="connsiteY33103" fmla="*/ 2303348 h 4687251"/>
              <a:gd name="connsiteX33104" fmla="*/ 1304261 w 8079933"/>
              <a:gd name="connsiteY33104" fmla="*/ 2309520 h 4687251"/>
              <a:gd name="connsiteX33105" fmla="*/ 1303718 w 8079933"/>
              <a:gd name="connsiteY33105" fmla="*/ 2314501 h 4687251"/>
              <a:gd name="connsiteX33106" fmla="*/ 1303935 w 8079933"/>
              <a:gd name="connsiteY33106" fmla="*/ 2320130 h 4687251"/>
              <a:gd name="connsiteX33107" fmla="*/ 1308384 w 8079933"/>
              <a:gd name="connsiteY33107" fmla="*/ 2324353 h 4687251"/>
              <a:gd name="connsiteX33108" fmla="*/ 1310229 w 8079933"/>
              <a:gd name="connsiteY33108" fmla="*/ 2325003 h 4687251"/>
              <a:gd name="connsiteX33109" fmla="*/ 1314245 w 8079933"/>
              <a:gd name="connsiteY33109" fmla="*/ 2331391 h 4687251"/>
              <a:gd name="connsiteX33110" fmla="*/ 1315655 w 8079933"/>
              <a:gd name="connsiteY33110" fmla="*/ 2341027 h 4687251"/>
              <a:gd name="connsiteX33111" fmla="*/ 1317717 w 8079933"/>
              <a:gd name="connsiteY33111" fmla="*/ 2341135 h 4687251"/>
              <a:gd name="connsiteX33112" fmla="*/ 1319019 w 8079933"/>
              <a:gd name="connsiteY33112" fmla="*/ 2343625 h 4687251"/>
              <a:gd name="connsiteX33113" fmla="*/ 1317500 w 8079933"/>
              <a:gd name="connsiteY33113" fmla="*/ 2346982 h 4687251"/>
              <a:gd name="connsiteX33114" fmla="*/ 1317825 w 8079933"/>
              <a:gd name="connsiteY33114" fmla="*/ 2350121 h 4687251"/>
              <a:gd name="connsiteX33115" fmla="*/ 1322166 w 8079933"/>
              <a:gd name="connsiteY33115" fmla="*/ 2356617 h 4687251"/>
              <a:gd name="connsiteX33116" fmla="*/ 1323902 w 8079933"/>
              <a:gd name="connsiteY33116" fmla="*/ 2355102 h 4687251"/>
              <a:gd name="connsiteX33117" fmla="*/ 1323685 w 8079933"/>
              <a:gd name="connsiteY33117" fmla="*/ 2352287 h 4687251"/>
              <a:gd name="connsiteX33118" fmla="*/ 1323902 w 8079933"/>
              <a:gd name="connsiteY33118" fmla="*/ 2350446 h 4687251"/>
              <a:gd name="connsiteX33119" fmla="*/ 1325639 w 8079933"/>
              <a:gd name="connsiteY33119" fmla="*/ 2350771 h 4687251"/>
              <a:gd name="connsiteX33120" fmla="*/ 1326940 w 8079933"/>
              <a:gd name="connsiteY33120" fmla="*/ 2354019 h 4687251"/>
              <a:gd name="connsiteX33121" fmla="*/ 1329870 w 8079933"/>
              <a:gd name="connsiteY33121" fmla="*/ 2358891 h 4687251"/>
              <a:gd name="connsiteX33122" fmla="*/ 1331281 w 8079933"/>
              <a:gd name="connsiteY33122" fmla="*/ 2367770 h 4687251"/>
              <a:gd name="connsiteX33123" fmla="*/ 1330196 w 8079933"/>
              <a:gd name="connsiteY33123" fmla="*/ 2371234 h 4687251"/>
              <a:gd name="connsiteX33124" fmla="*/ 1330738 w 8079933"/>
              <a:gd name="connsiteY33124" fmla="*/ 2377298 h 4687251"/>
              <a:gd name="connsiteX33125" fmla="*/ 1332150 w 8079933"/>
              <a:gd name="connsiteY33125" fmla="*/ 2379463 h 4687251"/>
              <a:gd name="connsiteX33126" fmla="*/ 1332150 w 8079933"/>
              <a:gd name="connsiteY33126" fmla="*/ 2384118 h 4687251"/>
              <a:gd name="connsiteX33127" fmla="*/ 1334863 w 8079933"/>
              <a:gd name="connsiteY33127" fmla="*/ 2387258 h 4687251"/>
              <a:gd name="connsiteX33128" fmla="*/ 1334754 w 8079933"/>
              <a:gd name="connsiteY33128" fmla="*/ 2390614 h 4687251"/>
              <a:gd name="connsiteX33129" fmla="*/ 1337033 w 8079933"/>
              <a:gd name="connsiteY33129" fmla="*/ 2393321 h 4687251"/>
              <a:gd name="connsiteX33130" fmla="*/ 1337141 w 8079933"/>
              <a:gd name="connsiteY33130" fmla="*/ 2396245 h 4687251"/>
              <a:gd name="connsiteX33131" fmla="*/ 1336164 w 8079933"/>
              <a:gd name="connsiteY33131" fmla="*/ 2399492 h 4687251"/>
              <a:gd name="connsiteX33132" fmla="*/ 1339746 w 8079933"/>
              <a:gd name="connsiteY33132" fmla="*/ 2404473 h 4687251"/>
              <a:gd name="connsiteX33133" fmla="*/ 1339854 w 8079933"/>
              <a:gd name="connsiteY33133" fmla="*/ 2409453 h 4687251"/>
              <a:gd name="connsiteX33134" fmla="*/ 1337467 w 8079933"/>
              <a:gd name="connsiteY33134" fmla="*/ 2414434 h 4687251"/>
              <a:gd name="connsiteX33135" fmla="*/ 1338009 w 8079933"/>
              <a:gd name="connsiteY33135" fmla="*/ 2417249 h 4687251"/>
              <a:gd name="connsiteX33136" fmla="*/ 1342133 w 8079933"/>
              <a:gd name="connsiteY33136" fmla="*/ 2422337 h 4687251"/>
              <a:gd name="connsiteX33137" fmla="*/ 1345822 w 8079933"/>
              <a:gd name="connsiteY33137" fmla="*/ 2425261 h 4687251"/>
              <a:gd name="connsiteX33138" fmla="*/ 1346474 w 8079933"/>
              <a:gd name="connsiteY33138" fmla="*/ 2427968 h 4687251"/>
              <a:gd name="connsiteX33139" fmla="*/ 1348535 w 8079933"/>
              <a:gd name="connsiteY33139" fmla="*/ 2427102 h 4687251"/>
              <a:gd name="connsiteX33140" fmla="*/ 1348318 w 8079933"/>
              <a:gd name="connsiteY33140" fmla="*/ 2423853 h 4687251"/>
              <a:gd name="connsiteX33141" fmla="*/ 1349729 w 8079933"/>
              <a:gd name="connsiteY33141" fmla="*/ 2422771 h 4687251"/>
              <a:gd name="connsiteX33142" fmla="*/ 1352008 w 8079933"/>
              <a:gd name="connsiteY33142" fmla="*/ 2423962 h 4687251"/>
              <a:gd name="connsiteX33143" fmla="*/ 1354395 w 8079933"/>
              <a:gd name="connsiteY33143" fmla="*/ 2427102 h 4687251"/>
              <a:gd name="connsiteX33144" fmla="*/ 1355914 w 8079933"/>
              <a:gd name="connsiteY33144" fmla="*/ 2430242 h 4687251"/>
              <a:gd name="connsiteX33145" fmla="*/ 1359496 w 8079933"/>
              <a:gd name="connsiteY33145" fmla="*/ 2432298 h 4687251"/>
              <a:gd name="connsiteX33146" fmla="*/ 1360906 w 8079933"/>
              <a:gd name="connsiteY33146" fmla="*/ 2436738 h 4687251"/>
              <a:gd name="connsiteX33147" fmla="*/ 1363185 w 8079933"/>
              <a:gd name="connsiteY33147" fmla="*/ 2439012 h 4687251"/>
              <a:gd name="connsiteX33148" fmla="*/ 1364596 w 8079933"/>
              <a:gd name="connsiteY33148" fmla="*/ 2443234 h 4687251"/>
              <a:gd name="connsiteX33149" fmla="*/ 1367526 w 8079933"/>
              <a:gd name="connsiteY33149" fmla="*/ 2445183 h 4687251"/>
              <a:gd name="connsiteX33150" fmla="*/ 1367092 w 8079933"/>
              <a:gd name="connsiteY33150" fmla="*/ 2451138 h 4687251"/>
              <a:gd name="connsiteX33151" fmla="*/ 1362751 w 8079933"/>
              <a:gd name="connsiteY33151" fmla="*/ 2457742 h 4687251"/>
              <a:gd name="connsiteX33152" fmla="*/ 1355589 w 8079933"/>
              <a:gd name="connsiteY33152" fmla="*/ 2460991 h 4687251"/>
              <a:gd name="connsiteX33153" fmla="*/ 1352659 w 8079933"/>
              <a:gd name="connsiteY33153" fmla="*/ 2460124 h 4687251"/>
              <a:gd name="connsiteX33154" fmla="*/ 1350597 w 8079933"/>
              <a:gd name="connsiteY33154" fmla="*/ 2455144 h 4687251"/>
              <a:gd name="connsiteX33155" fmla="*/ 1350272 w 8079933"/>
              <a:gd name="connsiteY33155" fmla="*/ 2451571 h 4687251"/>
              <a:gd name="connsiteX33156" fmla="*/ 1347450 w 8079933"/>
              <a:gd name="connsiteY33156" fmla="*/ 2449297 h 4687251"/>
              <a:gd name="connsiteX33157" fmla="*/ 1347017 w 8079933"/>
              <a:gd name="connsiteY33157" fmla="*/ 2442909 h 4687251"/>
              <a:gd name="connsiteX33158" fmla="*/ 1344737 w 8079933"/>
              <a:gd name="connsiteY33158" fmla="*/ 2439877 h 4687251"/>
              <a:gd name="connsiteX33159" fmla="*/ 1339746 w 8079933"/>
              <a:gd name="connsiteY33159" fmla="*/ 2439336 h 4687251"/>
              <a:gd name="connsiteX33160" fmla="*/ 1336164 w 8079933"/>
              <a:gd name="connsiteY33160" fmla="*/ 2435006 h 4687251"/>
              <a:gd name="connsiteX33161" fmla="*/ 1334428 w 8079933"/>
              <a:gd name="connsiteY33161" fmla="*/ 2431757 h 4687251"/>
              <a:gd name="connsiteX33162" fmla="*/ 1330738 w 8079933"/>
              <a:gd name="connsiteY33162" fmla="*/ 2430242 h 4687251"/>
              <a:gd name="connsiteX33163" fmla="*/ 1320647 w 8079933"/>
              <a:gd name="connsiteY33163" fmla="*/ 2419198 h 4687251"/>
              <a:gd name="connsiteX33164" fmla="*/ 1318368 w 8079933"/>
              <a:gd name="connsiteY33164" fmla="*/ 2414542 h 4687251"/>
              <a:gd name="connsiteX33165" fmla="*/ 1313701 w 8079933"/>
              <a:gd name="connsiteY33165" fmla="*/ 2413568 h 4687251"/>
              <a:gd name="connsiteX33166" fmla="*/ 1312508 w 8079933"/>
              <a:gd name="connsiteY33166" fmla="*/ 2410320 h 4687251"/>
              <a:gd name="connsiteX33167" fmla="*/ 1310446 w 8079933"/>
              <a:gd name="connsiteY33167" fmla="*/ 2410753 h 4687251"/>
              <a:gd name="connsiteX33168" fmla="*/ 1305780 w 8079933"/>
              <a:gd name="connsiteY33168" fmla="*/ 2406963 h 4687251"/>
              <a:gd name="connsiteX33169" fmla="*/ 1305129 w 8079933"/>
              <a:gd name="connsiteY33169" fmla="*/ 2403174 h 4687251"/>
              <a:gd name="connsiteX33170" fmla="*/ 1309035 w 8079933"/>
              <a:gd name="connsiteY33170" fmla="*/ 2396461 h 4687251"/>
              <a:gd name="connsiteX33171" fmla="*/ 1310663 w 8079933"/>
              <a:gd name="connsiteY33171" fmla="*/ 2388774 h 4687251"/>
              <a:gd name="connsiteX33172" fmla="*/ 1309903 w 8079933"/>
              <a:gd name="connsiteY33172" fmla="*/ 2379029 h 4687251"/>
              <a:gd name="connsiteX33173" fmla="*/ 1306974 w 8079933"/>
              <a:gd name="connsiteY33173" fmla="*/ 2369827 h 4687251"/>
              <a:gd name="connsiteX33174" fmla="*/ 1304586 w 8079933"/>
              <a:gd name="connsiteY33174" fmla="*/ 2366254 h 4687251"/>
              <a:gd name="connsiteX33175" fmla="*/ 1302199 w 8079933"/>
              <a:gd name="connsiteY33175" fmla="*/ 2366903 h 4687251"/>
              <a:gd name="connsiteX33176" fmla="*/ 1298726 w 8079933"/>
              <a:gd name="connsiteY33176" fmla="*/ 2365388 h 4687251"/>
              <a:gd name="connsiteX33177" fmla="*/ 1290479 w 8079933"/>
              <a:gd name="connsiteY33177" fmla="*/ 2357484 h 4687251"/>
              <a:gd name="connsiteX33178" fmla="*/ 1289285 w 8079933"/>
              <a:gd name="connsiteY33178" fmla="*/ 2349905 h 4687251"/>
              <a:gd name="connsiteX33179" fmla="*/ 1290805 w 8079933"/>
              <a:gd name="connsiteY33179" fmla="*/ 2346007 h 4687251"/>
              <a:gd name="connsiteX33180" fmla="*/ 1288960 w 8079933"/>
              <a:gd name="connsiteY33180" fmla="*/ 2345466 h 4687251"/>
              <a:gd name="connsiteX33181" fmla="*/ 1284727 w 8079933"/>
              <a:gd name="connsiteY33181" fmla="*/ 2350229 h 4687251"/>
              <a:gd name="connsiteX33182" fmla="*/ 1281689 w 8079933"/>
              <a:gd name="connsiteY33182" fmla="*/ 2350446 h 4687251"/>
              <a:gd name="connsiteX33183" fmla="*/ 1278543 w 8079933"/>
              <a:gd name="connsiteY33183" fmla="*/ 2351854 h 4687251"/>
              <a:gd name="connsiteX33184" fmla="*/ 1276806 w 8079933"/>
              <a:gd name="connsiteY33184" fmla="*/ 2348389 h 4687251"/>
              <a:gd name="connsiteX33185" fmla="*/ 1277566 w 8079933"/>
              <a:gd name="connsiteY33185" fmla="*/ 2346656 h 4687251"/>
              <a:gd name="connsiteX33186" fmla="*/ 1274418 w 8079933"/>
              <a:gd name="connsiteY33186" fmla="*/ 2345466 h 4687251"/>
              <a:gd name="connsiteX33187" fmla="*/ 1271380 w 8079933"/>
              <a:gd name="connsiteY33187" fmla="*/ 2345574 h 4687251"/>
              <a:gd name="connsiteX33188" fmla="*/ 1271380 w 8079933"/>
              <a:gd name="connsiteY33188" fmla="*/ 2343192 h 4687251"/>
              <a:gd name="connsiteX33189" fmla="*/ 1265846 w 8079933"/>
              <a:gd name="connsiteY33189" fmla="*/ 2340701 h 4687251"/>
              <a:gd name="connsiteX33190" fmla="*/ 1261722 w 8079933"/>
              <a:gd name="connsiteY33190" fmla="*/ 2339294 h 4687251"/>
              <a:gd name="connsiteX33191" fmla="*/ 1259226 w 8079933"/>
              <a:gd name="connsiteY33191" fmla="*/ 2334964 h 4687251"/>
              <a:gd name="connsiteX33192" fmla="*/ 1258901 w 8079933"/>
              <a:gd name="connsiteY33192" fmla="*/ 2330308 h 4687251"/>
              <a:gd name="connsiteX33193" fmla="*/ 1254560 w 8079933"/>
              <a:gd name="connsiteY33193" fmla="*/ 2328467 h 4687251"/>
              <a:gd name="connsiteX33194" fmla="*/ 1249785 w 8079933"/>
              <a:gd name="connsiteY33194" fmla="*/ 2322079 h 4687251"/>
              <a:gd name="connsiteX33195" fmla="*/ 1250979 w 8079933"/>
              <a:gd name="connsiteY33195" fmla="*/ 2320671 h 4687251"/>
              <a:gd name="connsiteX33196" fmla="*/ 1257165 w 8079933"/>
              <a:gd name="connsiteY33196" fmla="*/ 2320130 h 4687251"/>
              <a:gd name="connsiteX33197" fmla="*/ 1260854 w 8079933"/>
              <a:gd name="connsiteY33197" fmla="*/ 2321538 h 4687251"/>
              <a:gd name="connsiteX33198" fmla="*/ 1266714 w 8079933"/>
              <a:gd name="connsiteY33198" fmla="*/ 2322621 h 4687251"/>
              <a:gd name="connsiteX33199" fmla="*/ 1269970 w 8079933"/>
              <a:gd name="connsiteY33199" fmla="*/ 2324678 h 4687251"/>
              <a:gd name="connsiteX33200" fmla="*/ 1271706 w 8079933"/>
              <a:gd name="connsiteY33200" fmla="*/ 2322295 h 4687251"/>
              <a:gd name="connsiteX33201" fmla="*/ 1272357 w 8079933"/>
              <a:gd name="connsiteY33201" fmla="*/ 2319372 h 4687251"/>
              <a:gd name="connsiteX33202" fmla="*/ 1268450 w 8079933"/>
              <a:gd name="connsiteY33202" fmla="*/ 2318614 h 4687251"/>
              <a:gd name="connsiteX33203" fmla="*/ 1267907 w 8079933"/>
              <a:gd name="connsiteY33203" fmla="*/ 2317424 h 4687251"/>
              <a:gd name="connsiteX33204" fmla="*/ 1270295 w 8079933"/>
              <a:gd name="connsiteY33204" fmla="*/ 2314825 h 4687251"/>
              <a:gd name="connsiteX33205" fmla="*/ 1273008 w 8079933"/>
              <a:gd name="connsiteY33205" fmla="*/ 2316016 h 4687251"/>
              <a:gd name="connsiteX33206" fmla="*/ 1274310 w 8079933"/>
              <a:gd name="connsiteY33206" fmla="*/ 2312226 h 4687251"/>
              <a:gd name="connsiteX33207" fmla="*/ 1272574 w 8079933"/>
              <a:gd name="connsiteY33207" fmla="*/ 2309520 h 4687251"/>
              <a:gd name="connsiteX33208" fmla="*/ 1272682 w 8079933"/>
              <a:gd name="connsiteY33208" fmla="*/ 2306921 h 4687251"/>
              <a:gd name="connsiteX33209" fmla="*/ 1275504 w 8079933"/>
              <a:gd name="connsiteY33209" fmla="*/ 2303348 h 4687251"/>
              <a:gd name="connsiteX33210" fmla="*/ 1272357 w 8079933"/>
              <a:gd name="connsiteY33210" fmla="*/ 2298151 h 4687251"/>
              <a:gd name="connsiteX33211" fmla="*/ 1270295 w 8079933"/>
              <a:gd name="connsiteY33211" fmla="*/ 2297285 h 4687251"/>
              <a:gd name="connsiteX33212" fmla="*/ 1267907 w 8079933"/>
              <a:gd name="connsiteY33212" fmla="*/ 2290140 h 4687251"/>
              <a:gd name="connsiteX33213" fmla="*/ 1262048 w 8079933"/>
              <a:gd name="connsiteY33213" fmla="*/ 2284293 h 4687251"/>
              <a:gd name="connsiteX33214" fmla="*/ 1260963 w 8079933"/>
              <a:gd name="connsiteY33214" fmla="*/ 2280503 h 4687251"/>
              <a:gd name="connsiteX33215" fmla="*/ 1257598 w 8079933"/>
              <a:gd name="connsiteY33215" fmla="*/ 2275631 h 4687251"/>
              <a:gd name="connsiteX33216" fmla="*/ 1250870 w 8079933"/>
              <a:gd name="connsiteY33216" fmla="*/ 2268918 h 4687251"/>
              <a:gd name="connsiteX33217" fmla="*/ 1248049 w 8079933"/>
              <a:gd name="connsiteY33217" fmla="*/ 2269135 h 4687251"/>
              <a:gd name="connsiteX33218" fmla="*/ 1243926 w 8079933"/>
              <a:gd name="connsiteY33218" fmla="*/ 2265129 h 4687251"/>
              <a:gd name="connsiteX33219" fmla="*/ 1241646 w 8079933"/>
              <a:gd name="connsiteY33219" fmla="*/ 2258633 h 4687251"/>
              <a:gd name="connsiteX33220" fmla="*/ 1241538 w 8079933"/>
              <a:gd name="connsiteY33220" fmla="*/ 2250620 h 4687251"/>
              <a:gd name="connsiteX33221" fmla="*/ 1240128 w 8079933"/>
              <a:gd name="connsiteY33221" fmla="*/ 2247806 h 4687251"/>
              <a:gd name="connsiteX33222" fmla="*/ 1237198 w 8079933"/>
              <a:gd name="connsiteY33222" fmla="*/ 2245207 h 4687251"/>
              <a:gd name="connsiteX33223" fmla="*/ 1237523 w 8079933"/>
              <a:gd name="connsiteY33223" fmla="*/ 2240443 h 4687251"/>
              <a:gd name="connsiteX33224" fmla="*/ 1239151 w 8079933"/>
              <a:gd name="connsiteY33224" fmla="*/ 2238169 h 4687251"/>
              <a:gd name="connsiteX33225" fmla="*/ 1238391 w 8079933"/>
              <a:gd name="connsiteY33225" fmla="*/ 2233514 h 4687251"/>
              <a:gd name="connsiteX33226" fmla="*/ 1233400 w 8079933"/>
              <a:gd name="connsiteY33226" fmla="*/ 2229075 h 4687251"/>
              <a:gd name="connsiteX33227" fmla="*/ 1232423 w 8079933"/>
              <a:gd name="connsiteY33227" fmla="*/ 2226151 h 4687251"/>
              <a:gd name="connsiteX33228" fmla="*/ 1233942 w 8079933"/>
              <a:gd name="connsiteY33228" fmla="*/ 2224635 h 4687251"/>
              <a:gd name="connsiteX33229" fmla="*/ 1234159 w 8079933"/>
              <a:gd name="connsiteY33229" fmla="*/ 2222037 h 4687251"/>
              <a:gd name="connsiteX33230" fmla="*/ 1227757 w 8079933"/>
              <a:gd name="connsiteY33230" fmla="*/ 2214242 h 4687251"/>
              <a:gd name="connsiteX33231" fmla="*/ 1226237 w 8079933"/>
              <a:gd name="connsiteY33231" fmla="*/ 2209803 h 4687251"/>
              <a:gd name="connsiteX33232" fmla="*/ 1226889 w 8079933"/>
              <a:gd name="connsiteY33232" fmla="*/ 2206013 h 4687251"/>
              <a:gd name="connsiteX33233" fmla="*/ 1228734 w 8079933"/>
              <a:gd name="connsiteY33233" fmla="*/ 2204605 h 4687251"/>
              <a:gd name="connsiteX33234" fmla="*/ 1226237 w 8079933"/>
              <a:gd name="connsiteY33234" fmla="*/ 2201249 h 4687251"/>
              <a:gd name="connsiteX33235" fmla="*/ 1223416 w 8079933"/>
              <a:gd name="connsiteY33235" fmla="*/ 2196052 h 4687251"/>
              <a:gd name="connsiteX33236" fmla="*/ 1220161 w 8079933"/>
              <a:gd name="connsiteY33236" fmla="*/ 2183926 h 4687251"/>
              <a:gd name="connsiteX33237" fmla="*/ 1219401 w 8079933"/>
              <a:gd name="connsiteY33237" fmla="*/ 2178079 h 4687251"/>
              <a:gd name="connsiteX33238" fmla="*/ 1219401 w 8079933"/>
              <a:gd name="connsiteY33238" fmla="*/ 2178079 h 4687251"/>
              <a:gd name="connsiteX33239" fmla="*/ 1218967 w 8079933"/>
              <a:gd name="connsiteY33239" fmla="*/ 2174289 h 4687251"/>
              <a:gd name="connsiteX33240" fmla="*/ 1220160 w 8079933"/>
              <a:gd name="connsiteY33240" fmla="*/ 2168443 h 4687251"/>
              <a:gd name="connsiteX33241" fmla="*/ 1219075 w 8079933"/>
              <a:gd name="connsiteY33241" fmla="*/ 2161189 h 4687251"/>
              <a:gd name="connsiteX33242" fmla="*/ 1210828 w 8079933"/>
              <a:gd name="connsiteY33242" fmla="*/ 2148630 h 4687251"/>
              <a:gd name="connsiteX33243" fmla="*/ 1205511 w 8079933"/>
              <a:gd name="connsiteY33243" fmla="*/ 2143108 h 4687251"/>
              <a:gd name="connsiteX33244" fmla="*/ 1202473 w 8079933"/>
              <a:gd name="connsiteY33244" fmla="*/ 2143757 h 4687251"/>
              <a:gd name="connsiteX33245" fmla="*/ 1199977 w 8079933"/>
              <a:gd name="connsiteY33245" fmla="*/ 2143974 h 4687251"/>
              <a:gd name="connsiteX33246" fmla="*/ 1198457 w 8079933"/>
              <a:gd name="connsiteY33246" fmla="*/ 2143108 h 4687251"/>
              <a:gd name="connsiteX33247" fmla="*/ 1198674 w 8079933"/>
              <a:gd name="connsiteY33247" fmla="*/ 2138993 h 4687251"/>
              <a:gd name="connsiteX33248" fmla="*/ 1197589 w 8079933"/>
              <a:gd name="connsiteY33248" fmla="*/ 2136395 h 4687251"/>
              <a:gd name="connsiteX33249" fmla="*/ 1191729 w 8079933"/>
              <a:gd name="connsiteY33249" fmla="*/ 2134663 h 4687251"/>
              <a:gd name="connsiteX33250" fmla="*/ 1187823 w 8079933"/>
              <a:gd name="connsiteY33250" fmla="*/ 2134554 h 4687251"/>
              <a:gd name="connsiteX33251" fmla="*/ 1181420 w 8079933"/>
              <a:gd name="connsiteY33251" fmla="*/ 2131089 h 4687251"/>
              <a:gd name="connsiteX33252" fmla="*/ 1181420 w 8079933"/>
              <a:gd name="connsiteY33252" fmla="*/ 2126975 h 4687251"/>
              <a:gd name="connsiteX33253" fmla="*/ 1178490 w 8079933"/>
              <a:gd name="connsiteY33253" fmla="*/ 2123727 h 4687251"/>
              <a:gd name="connsiteX33254" fmla="*/ 1172088 w 8079933"/>
              <a:gd name="connsiteY33254" fmla="*/ 2123727 h 4687251"/>
              <a:gd name="connsiteX33255" fmla="*/ 1168615 w 8079933"/>
              <a:gd name="connsiteY33255" fmla="*/ 2123077 h 4687251"/>
              <a:gd name="connsiteX33256" fmla="*/ 1164817 w 8079933"/>
              <a:gd name="connsiteY33256" fmla="*/ 2120696 h 4687251"/>
              <a:gd name="connsiteX33257" fmla="*/ 1159934 w 8079933"/>
              <a:gd name="connsiteY33257" fmla="*/ 2119396 h 4687251"/>
              <a:gd name="connsiteX33258" fmla="*/ 1151795 w 8079933"/>
              <a:gd name="connsiteY33258" fmla="*/ 2119396 h 4687251"/>
              <a:gd name="connsiteX33259" fmla="*/ 1149299 w 8079933"/>
              <a:gd name="connsiteY33259" fmla="*/ 2117664 h 4687251"/>
              <a:gd name="connsiteX33260" fmla="*/ 1147997 w 8079933"/>
              <a:gd name="connsiteY33260" fmla="*/ 2113766 h 4687251"/>
              <a:gd name="connsiteX33261" fmla="*/ 1149083 w 8079933"/>
              <a:gd name="connsiteY33261" fmla="*/ 2113008 h 4687251"/>
              <a:gd name="connsiteX33262" fmla="*/ 1150276 w 8079933"/>
              <a:gd name="connsiteY33262" fmla="*/ 2109219 h 4687251"/>
              <a:gd name="connsiteX33263" fmla="*/ 1152012 w 8079933"/>
              <a:gd name="connsiteY33263" fmla="*/ 2101965 h 4687251"/>
              <a:gd name="connsiteX33264" fmla="*/ 1150493 w 8079933"/>
              <a:gd name="connsiteY33264" fmla="*/ 2096984 h 4687251"/>
              <a:gd name="connsiteX33265" fmla="*/ 1146695 w 8079933"/>
              <a:gd name="connsiteY33265" fmla="*/ 2092653 h 4687251"/>
              <a:gd name="connsiteX33266" fmla="*/ 1146261 w 8079933"/>
              <a:gd name="connsiteY33266" fmla="*/ 2091354 h 4687251"/>
              <a:gd name="connsiteX33267" fmla="*/ 1147238 w 8079933"/>
              <a:gd name="connsiteY33267" fmla="*/ 2089622 h 4687251"/>
              <a:gd name="connsiteX33268" fmla="*/ 1145176 w 8079933"/>
              <a:gd name="connsiteY33268" fmla="*/ 2088106 h 4687251"/>
              <a:gd name="connsiteX33269" fmla="*/ 1141595 w 8079933"/>
              <a:gd name="connsiteY33269" fmla="*/ 2083125 h 4687251"/>
              <a:gd name="connsiteX33270" fmla="*/ 1136603 w 8079933"/>
              <a:gd name="connsiteY33270" fmla="*/ 2072515 h 4687251"/>
              <a:gd name="connsiteX33271" fmla="*/ 1135517 w 8079933"/>
              <a:gd name="connsiteY33271" fmla="*/ 2064178 h 4687251"/>
              <a:gd name="connsiteX33272" fmla="*/ 1131828 w 8079933"/>
              <a:gd name="connsiteY33272" fmla="*/ 2061472 h 4687251"/>
              <a:gd name="connsiteX33273" fmla="*/ 1131068 w 8079933"/>
              <a:gd name="connsiteY33273" fmla="*/ 2058549 h 4687251"/>
              <a:gd name="connsiteX33274" fmla="*/ 1131394 w 8079933"/>
              <a:gd name="connsiteY33274" fmla="*/ 2054109 h 4687251"/>
              <a:gd name="connsiteX33275" fmla="*/ 1130200 w 8079933"/>
              <a:gd name="connsiteY33275" fmla="*/ 2049129 h 4687251"/>
              <a:gd name="connsiteX33276" fmla="*/ 1130418 w 8079933"/>
              <a:gd name="connsiteY33276" fmla="*/ 2047072 h 4687251"/>
              <a:gd name="connsiteX33277" fmla="*/ 1132479 w 8079933"/>
              <a:gd name="connsiteY33277" fmla="*/ 2047396 h 4687251"/>
              <a:gd name="connsiteX33278" fmla="*/ 1135517 w 8079933"/>
              <a:gd name="connsiteY33278" fmla="*/ 2043931 h 4687251"/>
              <a:gd name="connsiteX33279" fmla="*/ 1135409 w 8079933"/>
              <a:gd name="connsiteY33279" fmla="*/ 2040142 h 4687251"/>
              <a:gd name="connsiteX33280" fmla="*/ 1132804 w 8079933"/>
              <a:gd name="connsiteY33280" fmla="*/ 2037544 h 4687251"/>
              <a:gd name="connsiteX33281" fmla="*/ 1129224 w 8079933"/>
              <a:gd name="connsiteY33281" fmla="*/ 2035378 h 4687251"/>
              <a:gd name="connsiteX33282" fmla="*/ 1128138 w 8079933"/>
              <a:gd name="connsiteY33282" fmla="*/ 2030723 h 4687251"/>
              <a:gd name="connsiteX33283" fmla="*/ 1125860 w 8079933"/>
              <a:gd name="connsiteY33283" fmla="*/ 2029532 h 4687251"/>
              <a:gd name="connsiteX33284" fmla="*/ 1125426 w 8079933"/>
              <a:gd name="connsiteY33284" fmla="*/ 2025742 h 4687251"/>
              <a:gd name="connsiteX33285" fmla="*/ 1126620 w 8079933"/>
              <a:gd name="connsiteY33285" fmla="*/ 2021411 h 4687251"/>
              <a:gd name="connsiteX33286" fmla="*/ 1126077 w 8079933"/>
              <a:gd name="connsiteY33286" fmla="*/ 2019246 h 4687251"/>
              <a:gd name="connsiteX33287" fmla="*/ 1128356 w 8079933"/>
              <a:gd name="connsiteY33287" fmla="*/ 2016972 h 4687251"/>
              <a:gd name="connsiteX33288" fmla="*/ 1127813 w 8079933"/>
              <a:gd name="connsiteY33288" fmla="*/ 2014049 h 4687251"/>
              <a:gd name="connsiteX33289" fmla="*/ 1129549 w 8079933"/>
              <a:gd name="connsiteY33289" fmla="*/ 2011558 h 4687251"/>
              <a:gd name="connsiteX33290" fmla="*/ 1131611 w 8079933"/>
              <a:gd name="connsiteY33290" fmla="*/ 2012966 h 4687251"/>
              <a:gd name="connsiteX33291" fmla="*/ 1133673 w 8079933"/>
              <a:gd name="connsiteY33291" fmla="*/ 2017297 h 4687251"/>
              <a:gd name="connsiteX33292" fmla="*/ 1137579 w 8079933"/>
              <a:gd name="connsiteY33292" fmla="*/ 2019354 h 4687251"/>
              <a:gd name="connsiteX33293" fmla="*/ 1136061 w 8079933"/>
              <a:gd name="connsiteY33293" fmla="*/ 2017297 h 4687251"/>
              <a:gd name="connsiteX33294" fmla="*/ 1134541 w 8079933"/>
              <a:gd name="connsiteY33294" fmla="*/ 2013725 h 4687251"/>
              <a:gd name="connsiteX33295" fmla="*/ 1133781 w 8079933"/>
              <a:gd name="connsiteY33295" fmla="*/ 2007444 h 4687251"/>
              <a:gd name="connsiteX33296" fmla="*/ 1131936 w 8079933"/>
              <a:gd name="connsiteY33296" fmla="*/ 2006145 h 4687251"/>
              <a:gd name="connsiteX33297" fmla="*/ 1132262 w 8079933"/>
              <a:gd name="connsiteY33297" fmla="*/ 2002897 h 4687251"/>
              <a:gd name="connsiteX33298" fmla="*/ 1134324 w 8079933"/>
              <a:gd name="connsiteY33298" fmla="*/ 2002897 h 4687251"/>
              <a:gd name="connsiteX33299" fmla="*/ 1136061 w 8079933"/>
              <a:gd name="connsiteY33299" fmla="*/ 2004413 h 4687251"/>
              <a:gd name="connsiteX33300" fmla="*/ 1140184 w 8079933"/>
              <a:gd name="connsiteY33300" fmla="*/ 2003222 h 4687251"/>
              <a:gd name="connsiteX33301" fmla="*/ 1144525 w 8079933"/>
              <a:gd name="connsiteY33301" fmla="*/ 2002139 h 4687251"/>
              <a:gd name="connsiteX33302" fmla="*/ 1138556 w 8079933"/>
              <a:gd name="connsiteY33302" fmla="*/ 2001489 h 4687251"/>
              <a:gd name="connsiteX33303" fmla="*/ 1137254 w 8079933"/>
              <a:gd name="connsiteY33303" fmla="*/ 1999758 h 4687251"/>
              <a:gd name="connsiteX33304" fmla="*/ 1133456 w 8079933"/>
              <a:gd name="connsiteY33304" fmla="*/ 1999649 h 4687251"/>
              <a:gd name="connsiteX33305" fmla="*/ 1133022 w 8079933"/>
              <a:gd name="connsiteY33305" fmla="*/ 1997700 h 4687251"/>
              <a:gd name="connsiteX33306" fmla="*/ 1131828 w 8079933"/>
              <a:gd name="connsiteY33306" fmla="*/ 1998675 h 4687251"/>
              <a:gd name="connsiteX33307" fmla="*/ 1128681 w 8079933"/>
              <a:gd name="connsiteY33307" fmla="*/ 1996834 h 4687251"/>
              <a:gd name="connsiteX33308" fmla="*/ 1128464 w 8079933"/>
              <a:gd name="connsiteY33308" fmla="*/ 2002139 h 4687251"/>
              <a:gd name="connsiteX33309" fmla="*/ 1128464 w 8079933"/>
              <a:gd name="connsiteY33309" fmla="*/ 2007336 h 4687251"/>
              <a:gd name="connsiteX33310" fmla="*/ 1127270 w 8079933"/>
              <a:gd name="connsiteY33310" fmla="*/ 2006687 h 4687251"/>
              <a:gd name="connsiteX33311" fmla="*/ 1125426 w 8079933"/>
              <a:gd name="connsiteY33311" fmla="*/ 2006795 h 4687251"/>
              <a:gd name="connsiteX33312" fmla="*/ 1124558 w 8079933"/>
              <a:gd name="connsiteY33312" fmla="*/ 2004413 h 4687251"/>
              <a:gd name="connsiteX33313" fmla="*/ 1119023 w 8079933"/>
              <a:gd name="connsiteY33313" fmla="*/ 1999216 h 4687251"/>
              <a:gd name="connsiteX33314" fmla="*/ 1117829 w 8079933"/>
              <a:gd name="connsiteY33314" fmla="*/ 1995860 h 4687251"/>
              <a:gd name="connsiteX33315" fmla="*/ 1119240 w 8079933"/>
              <a:gd name="connsiteY33315" fmla="*/ 1992828 h 4687251"/>
              <a:gd name="connsiteX33316" fmla="*/ 1118480 w 8079933"/>
              <a:gd name="connsiteY33316" fmla="*/ 1988281 h 4687251"/>
              <a:gd name="connsiteX33317" fmla="*/ 1108497 w 8079933"/>
              <a:gd name="connsiteY33317" fmla="*/ 1972906 h 4687251"/>
              <a:gd name="connsiteX33318" fmla="*/ 1107520 w 8079933"/>
              <a:gd name="connsiteY33318" fmla="*/ 1970199 h 4687251"/>
              <a:gd name="connsiteX33319" fmla="*/ 1108388 w 8079933"/>
              <a:gd name="connsiteY33319" fmla="*/ 1967059 h 4687251"/>
              <a:gd name="connsiteX33320" fmla="*/ 1110450 w 8079933"/>
              <a:gd name="connsiteY33320" fmla="*/ 1963487 h 4687251"/>
              <a:gd name="connsiteX33321" fmla="*/ 1109908 w 8079933"/>
              <a:gd name="connsiteY33321" fmla="*/ 1958722 h 4687251"/>
              <a:gd name="connsiteX33322" fmla="*/ 1107846 w 8079933"/>
              <a:gd name="connsiteY33322" fmla="*/ 1954608 h 4687251"/>
              <a:gd name="connsiteX33323" fmla="*/ 1107846 w 8079933"/>
              <a:gd name="connsiteY33323" fmla="*/ 1952335 h 4687251"/>
              <a:gd name="connsiteX33324" fmla="*/ 1110559 w 8079933"/>
              <a:gd name="connsiteY33324" fmla="*/ 1948004 h 4687251"/>
              <a:gd name="connsiteX33325" fmla="*/ 1111427 w 8079933"/>
              <a:gd name="connsiteY33325" fmla="*/ 1942698 h 4687251"/>
              <a:gd name="connsiteX33326" fmla="*/ 1111101 w 8079933"/>
              <a:gd name="connsiteY33326" fmla="*/ 1933063 h 4687251"/>
              <a:gd name="connsiteX33327" fmla="*/ 1107303 w 8079933"/>
              <a:gd name="connsiteY33327" fmla="*/ 1924292 h 4687251"/>
              <a:gd name="connsiteX33328" fmla="*/ 1103180 w 8079933"/>
              <a:gd name="connsiteY33328" fmla="*/ 1918663 h 4687251"/>
              <a:gd name="connsiteX33329" fmla="*/ 1103180 w 8079933"/>
              <a:gd name="connsiteY33329" fmla="*/ 1913249 h 4687251"/>
              <a:gd name="connsiteX33330" fmla="*/ 1105784 w 8079933"/>
              <a:gd name="connsiteY33330" fmla="*/ 1907835 h 4687251"/>
              <a:gd name="connsiteX33331" fmla="*/ 1112838 w 8079933"/>
              <a:gd name="connsiteY33331" fmla="*/ 1902963 h 4687251"/>
              <a:gd name="connsiteX33332" fmla="*/ 1115225 w 8079933"/>
              <a:gd name="connsiteY33332" fmla="*/ 1896684 h 4687251"/>
              <a:gd name="connsiteX33333" fmla="*/ 1113706 w 8079933"/>
              <a:gd name="connsiteY33333" fmla="*/ 1895601 h 4687251"/>
              <a:gd name="connsiteX33334" fmla="*/ 1112946 w 8079933"/>
              <a:gd name="connsiteY33334" fmla="*/ 1892461 h 4687251"/>
              <a:gd name="connsiteX33335" fmla="*/ 1115551 w 8079933"/>
              <a:gd name="connsiteY33335" fmla="*/ 1889971 h 4687251"/>
              <a:gd name="connsiteX33336" fmla="*/ 1118155 w 8079933"/>
              <a:gd name="connsiteY33336" fmla="*/ 1884557 h 4687251"/>
              <a:gd name="connsiteX33337" fmla="*/ 1119240 w 8079933"/>
              <a:gd name="connsiteY33337" fmla="*/ 1874813 h 4687251"/>
              <a:gd name="connsiteX33338" fmla="*/ 1117504 w 8079933"/>
              <a:gd name="connsiteY33338" fmla="*/ 1868966 h 4687251"/>
              <a:gd name="connsiteX33339" fmla="*/ 1117612 w 8079933"/>
              <a:gd name="connsiteY33339" fmla="*/ 1865177 h 4687251"/>
              <a:gd name="connsiteX33340" fmla="*/ 1119674 w 8079933"/>
              <a:gd name="connsiteY33340" fmla="*/ 1862362 h 4687251"/>
              <a:gd name="connsiteX33341" fmla="*/ 1116419 w 8079933"/>
              <a:gd name="connsiteY33341" fmla="*/ 1857273 h 4687251"/>
              <a:gd name="connsiteX33342" fmla="*/ 1116744 w 8079933"/>
              <a:gd name="connsiteY33342" fmla="*/ 1851102 h 4687251"/>
              <a:gd name="connsiteX33343" fmla="*/ 1119240 w 8079933"/>
              <a:gd name="connsiteY33343" fmla="*/ 1842007 h 4687251"/>
              <a:gd name="connsiteX33344" fmla="*/ 1118480 w 8079933"/>
              <a:gd name="connsiteY33344" fmla="*/ 1832804 h 4687251"/>
              <a:gd name="connsiteX33345" fmla="*/ 1120217 w 8079933"/>
              <a:gd name="connsiteY33345" fmla="*/ 1828689 h 4687251"/>
              <a:gd name="connsiteX33346" fmla="*/ 1126402 w 8079933"/>
              <a:gd name="connsiteY33346" fmla="*/ 1820786 h 4687251"/>
              <a:gd name="connsiteX33347" fmla="*/ 1127813 w 8079933"/>
              <a:gd name="connsiteY33347" fmla="*/ 1815914 h 4687251"/>
              <a:gd name="connsiteX33348" fmla="*/ 1130200 w 8079933"/>
              <a:gd name="connsiteY33348" fmla="*/ 1813532 h 4687251"/>
              <a:gd name="connsiteX33349" fmla="*/ 1133022 w 8079933"/>
              <a:gd name="connsiteY33349" fmla="*/ 1805628 h 4687251"/>
              <a:gd name="connsiteX33350" fmla="*/ 1137471 w 8079933"/>
              <a:gd name="connsiteY33350" fmla="*/ 1800431 h 4687251"/>
              <a:gd name="connsiteX33351" fmla="*/ 1140618 w 8079933"/>
              <a:gd name="connsiteY33351" fmla="*/ 1794260 h 4687251"/>
              <a:gd name="connsiteX33352" fmla="*/ 1142354 w 8079933"/>
              <a:gd name="connsiteY33352" fmla="*/ 1781483 h 4687251"/>
              <a:gd name="connsiteX33353" fmla="*/ 1148214 w 8079933"/>
              <a:gd name="connsiteY33353" fmla="*/ 1770115 h 4687251"/>
              <a:gd name="connsiteX33354" fmla="*/ 1149191 w 8079933"/>
              <a:gd name="connsiteY33354" fmla="*/ 1759504 h 4687251"/>
              <a:gd name="connsiteX33355" fmla="*/ 1155702 w 8079933"/>
              <a:gd name="connsiteY33355" fmla="*/ 1744996 h 4687251"/>
              <a:gd name="connsiteX33356" fmla="*/ 1158197 w 8079933"/>
              <a:gd name="connsiteY33356" fmla="*/ 1739800 h 4687251"/>
              <a:gd name="connsiteX33357" fmla="*/ 1161887 w 8079933"/>
              <a:gd name="connsiteY33357" fmla="*/ 1733303 h 4687251"/>
              <a:gd name="connsiteX33358" fmla="*/ 1161453 w 8079933"/>
              <a:gd name="connsiteY33358" fmla="*/ 1729839 h 4687251"/>
              <a:gd name="connsiteX33359" fmla="*/ 1161453 w 8079933"/>
              <a:gd name="connsiteY33359" fmla="*/ 1726266 h 4687251"/>
              <a:gd name="connsiteX33360" fmla="*/ 1166228 w 8079933"/>
              <a:gd name="connsiteY33360" fmla="*/ 1720094 h 4687251"/>
              <a:gd name="connsiteX33361" fmla="*/ 1166011 w 8079933"/>
              <a:gd name="connsiteY33361" fmla="*/ 1716305 h 4687251"/>
              <a:gd name="connsiteX33362" fmla="*/ 1167638 w 8079933"/>
              <a:gd name="connsiteY33362" fmla="*/ 1715114 h 4687251"/>
              <a:gd name="connsiteX33363" fmla="*/ 1170351 w 8079933"/>
              <a:gd name="connsiteY33363" fmla="*/ 1717171 h 4687251"/>
              <a:gd name="connsiteX33364" fmla="*/ 1178490 w 8079933"/>
              <a:gd name="connsiteY33364" fmla="*/ 1717496 h 4687251"/>
              <a:gd name="connsiteX33365" fmla="*/ 1181963 w 8079933"/>
              <a:gd name="connsiteY33365" fmla="*/ 1719878 h 4687251"/>
              <a:gd name="connsiteX33366" fmla="*/ 1184893 w 8079933"/>
              <a:gd name="connsiteY33366" fmla="*/ 1719445 h 4687251"/>
              <a:gd name="connsiteX33367" fmla="*/ 1189125 w 8079933"/>
              <a:gd name="connsiteY33367" fmla="*/ 1721935 h 4687251"/>
              <a:gd name="connsiteX33368" fmla="*/ 1191404 w 8079933"/>
              <a:gd name="connsiteY33368" fmla="*/ 1727349 h 4687251"/>
              <a:gd name="connsiteX33369" fmla="*/ 1190536 w 8079933"/>
              <a:gd name="connsiteY33369" fmla="*/ 1721502 h 4687251"/>
              <a:gd name="connsiteX33370" fmla="*/ 1188148 w 8079933"/>
              <a:gd name="connsiteY33370" fmla="*/ 1718362 h 4687251"/>
              <a:gd name="connsiteX33371" fmla="*/ 1183157 w 8079933"/>
              <a:gd name="connsiteY33371" fmla="*/ 1717496 h 4687251"/>
              <a:gd name="connsiteX33372" fmla="*/ 1179142 w 8079933"/>
              <a:gd name="connsiteY33372" fmla="*/ 1714247 h 4687251"/>
              <a:gd name="connsiteX33373" fmla="*/ 1172631 w 8079933"/>
              <a:gd name="connsiteY33373" fmla="*/ 1713706 h 4687251"/>
              <a:gd name="connsiteX33374" fmla="*/ 1166011 w 8079933"/>
              <a:gd name="connsiteY33374" fmla="*/ 1711974 h 4687251"/>
              <a:gd name="connsiteX33375" fmla="*/ 1165577 w 8079933"/>
              <a:gd name="connsiteY33375" fmla="*/ 1709376 h 4687251"/>
              <a:gd name="connsiteX33376" fmla="*/ 1167205 w 8079933"/>
              <a:gd name="connsiteY33376" fmla="*/ 1707535 h 4687251"/>
              <a:gd name="connsiteX33377" fmla="*/ 1168833 w 8079933"/>
              <a:gd name="connsiteY33377" fmla="*/ 1708184 h 4687251"/>
              <a:gd name="connsiteX33378" fmla="*/ 1171545 w 8079933"/>
              <a:gd name="connsiteY33378" fmla="*/ 1704937 h 4687251"/>
              <a:gd name="connsiteX33379" fmla="*/ 1171762 w 8079933"/>
              <a:gd name="connsiteY33379" fmla="*/ 1700280 h 4687251"/>
              <a:gd name="connsiteX33380" fmla="*/ 1173173 w 8079933"/>
              <a:gd name="connsiteY33380" fmla="*/ 1696708 h 4687251"/>
              <a:gd name="connsiteX33381" fmla="*/ 1169375 w 8079933"/>
              <a:gd name="connsiteY33381" fmla="*/ 1695192 h 4687251"/>
              <a:gd name="connsiteX33382" fmla="*/ 1167638 w 8079933"/>
              <a:gd name="connsiteY33382" fmla="*/ 1693135 h 4687251"/>
              <a:gd name="connsiteX33383" fmla="*/ 1168833 w 8079933"/>
              <a:gd name="connsiteY33383" fmla="*/ 1689345 h 4687251"/>
              <a:gd name="connsiteX33384" fmla="*/ 1171219 w 8079933"/>
              <a:gd name="connsiteY33384" fmla="*/ 1689345 h 4687251"/>
              <a:gd name="connsiteX33385" fmla="*/ 1173173 w 8079933"/>
              <a:gd name="connsiteY33385" fmla="*/ 1686531 h 4687251"/>
              <a:gd name="connsiteX33386" fmla="*/ 1172739 w 8079933"/>
              <a:gd name="connsiteY33386" fmla="*/ 1684798 h 4687251"/>
              <a:gd name="connsiteX33387" fmla="*/ 1169701 w 8079933"/>
              <a:gd name="connsiteY33387" fmla="*/ 1683932 h 4687251"/>
              <a:gd name="connsiteX33388" fmla="*/ 1169375 w 8079933"/>
              <a:gd name="connsiteY33388" fmla="*/ 1680900 h 4687251"/>
              <a:gd name="connsiteX33389" fmla="*/ 1170351 w 8079933"/>
              <a:gd name="connsiteY33389" fmla="*/ 1674837 h 4687251"/>
              <a:gd name="connsiteX33390" fmla="*/ 1169158 w 8079933"/>
              <a:gd name="connsiteY33390" fmla="*/ 1668666 h 4687251"/>
              <a:gd name="connsiteX33391" fmla="*/ 1171545 w 8079933"/>
              <a:gd name="connsiteY33391" fmla="*/ 1656539 h 4687251"/>
              <a:gd name="connsiteX33392" fmla="*/ 1168941 w 8079933"/>
              <a:gd name="connsiteY33392" fmla="*/ 1647661 h 4687251"/>
              <a:gd name="connsiteX33393" fmla="*/ 1168833 w 8079933"/>
              <a:gd name="connsiteY33393" fmla="*/ 1643438 h 4687251"/>
              <a:gd name="connsiteX33394" fmla="*/ 1172631 w 8079933"/>
              <a:gd name="connsiteY33394" fmla="*/ 1634669 h 4687251"/>
              <a:gd name="connsiteX33395" fmla="*/ 1173281 w 8079933"/>
              <a:gd name="connsiteY33395" fmla="*/ 1629797 h 4687251"/>
              <a:gd name="connsiteX33396" fmla="*/ 1175017 w 8079933"/>
              <a:gd name="connsiteY33396" fmla="*/ 1629364 h 4687251"/>
              <a:gd name="connsiteX33397" fmla="*/ 1186086 w 8079933"/>
              <a:gd name="connsiteY33397" fmla="*/ 1638999 h 4687251"/>
              <a:gd name="connsiteX33398" fmla="*/ 1191946 w 8079933"/>
              <a:gd name="connsiteY33398" fmla="*/ 1642681 h 4687251"/>
              <a:gd name="connsiteX33399" fmla="*/ 1202581 w 8079933"/>
              <a:gd name="connsiteY33399" fmla="*/ 1643438 h 4687251"/>
              <a:gd name="connsiteX33400" fmla="*/ 1206379 w 8079933"/>
              <a:gd name="connsiteY33400" fmla="*/ 1645279 h 4687251"/>
              <a:gd name="connsiteX33401" fmla="*/ 1208658 w 8079933"/>
              <a:gd name="connsiteY33401" fmla="*/ 1649610 h 4687251"/>
              <a:gd name="connsiteX33402" fmla="*/ 1210828 w 8079933"/>
              <a:gd name="connsiteY33402" fmla="*/ 1648527 h 4687251"/>
              <a:gd name="connsiteX33403" fmla="*/ 1213107 w 8079933"/>
              <a:gd name="connsiteY33403" fmla="*/ 1648744 h 4687251"/>
              <a:gd name="connsiteX33404" fmla="*/ 1214626 w 8079933"/>
              <a:gd name="connsiteY33404" fmla="*/ 1651668 h 4687251"/>
              <a:gd name="connsiteX33405" fmla="*/ 1213324 w 8079933"/>
              <a:gd name="connsiteY33405" fmla="*/ 1654374 h 4687251"/>
              <a:gd name="connsiteX33406" fmla="*/ 1208224 w 8079933"/>
              <a:gd name="connsiteY33406" fmla="*/ 1656323 h 4687251"/>
              <a:gd name="connsiteX33407" fmla="*/ 1203775 w 8079933"/>
              <a:gd name="connsiteY33407" fmla="*/ 1660762 h 4687251"/>
              <a:gd name="connsiteX33408" fmla="*/ 1203666 w 8079933"/>
              <a:gd name="connsiteY33408" fmla="*/ 1663144 h 4687251"/>
              <a:gd name="connsiteX33409" fmla="*/ 1207464 w 8079933"/>
              <a:gd name="connsiteY33409" fmla="*/ 1663144 h 4687251"/>
              <a:gd name="connsiteX33410" fmla="*/ 1209092 w 8079933"/>
              <a:gd name="connsiteY33410" fmla="*/ 1660221 h 4687251"/>
              <a:gd name="connsiteX33411" fmla="*/ 1214084 w 8079933"/>
              <a:gd name="connsiteY33411" fmla="*/ 1656106 h 4687251"/>
              <a:gd name="connsiteX33412" fmla="*/ 1216580 w 8079933"/>
              <a:gd name="connsiteY33412" fmla="*/ 1655565 h 4687251"/>
              <a:gd name="connsiteX33413" fmla="*/ 1217014 w 8079933"/>
              <a:gd name="connsiteY33413" fmla="*/ 1659354 h 4687251"/>
              <a:gd name="connsiteX33414" fmla="*/ 1213432 w 8079933"/>
              <a:gd name="connsiteY33414" fmla="*/ 1662494 h 4687251"/>
              <a:gd name="connsiteX33415" fmla="*/ 1210719 w 8079933"/>
              <a:gd name="connsiteY33415" fmla="*/ 1668125 h 4687251"/>
              <a:gd name="connsiteX33416" fmla="*/ 1210503 w 8079933"/>
              <a:gd name="connsiteY33416" fmla="*/ 1673971 h 4687251"/>
              <a:gd name="connsiteX33417" fmla="*/ 1208983 w 8079933"/>
              <a:gd name="connsiteY33417" fmla="*/ 1675703 h 4687251"/>
              <a:gd name="connsiteX33418" fmla="*/ 1208224 w 8079933"/>
              <a:gd name="connsiteY33418" fmla="*/ 1672131 h 4687251"/>
              <a:gd name="connsiteX33419" fmla="*/ 1205185 w 8079933"/>
              <a:gd name="connsiteY33419" fmla="*/ 1674729 h 4687251"/>
              <a:gd name="connsiteX33420" fmla="*/ 1204100 w 8079933"/>
              <a:gd name="connsiteY33420" fmla="*/ 1672780 h 4687251"/>
              <a:gd name="connsiteX33421" fmla="*/ 1200737 w 8079933"/>
              <a:gd name="connsiteY33421" fmla="*/ 1677111 h 4687251"/>
              <a:gd name="connsiteX33422" fmla="*/ 1202038 w 8079933"/>
              <a:gd name="connsiteY33422" fmla="*/ 1679493 h 4687251"/>
              <a:gd name="connsiteX33423" fmla="*/ 1206053 w 8079933"/>
              <a:gd name="connsiteY33423" fmla="*/ 1681550 h 4687251"/>
              <a:gd name="connsiteX33424" fmla="*/ 1211154 w 8079933"/>
              <a:gd name="connsiteY33424" fmla="*/ 1678193 h 4687251"/>
              <a:gd name="connsiteX33425" fmla="*/ 1212782 w 8079933"/>
              <a:gd name="connsiteY33425" fmla="*/ 1673971 h 4687251"/>
              <a:gd name="connsiteX33426" fmla="*/ 1215386 w 8079933"/>
              <a:gd name="connsiteY33426" fmla="*/ 1671048 h 4687251"/>
              <a:gd name="connsiteX33427" fmla="*/ 1215494 w 8079933"/>
              <a:gd name="connsiteY33427" fmla="*/ 1665742 h 4687251"/>
              <a:gd name="connsiteX33428" fmla="*/ 1218316 w 8079933"/>
              <a:gd name="connsiteY33428" fmla="*/ 1663360 h 4687251"/>
              <a:gd name="connsiteX33429" fmla="*/ 1219618 w 8079933"/>
              <a:gd name="connsiteY33429" fmla="*/ 1657297 h 4687251"/>
              <a:gd name="connsiteX33430" fmla="*/ 1223633 w 8079933"/>
              <a:gd name="connsiteY33430" fmla="*/ 1654807 h 4687251"/>
              <a:gd name="connsiteX33431" fmla="*/ 1227540 w 8079933"/>
              <a:gd name="connsiteY33431" fmla="*/ 1649935 h 4687251"/>
              <a:gd name="connsiteX33432" fmla="*/ 1225370 w 8079933"/>
              <a:gd name="connsiteY33432" fmla="*/ 1647228 h 4687251"/>
              <a:gd name="connsiteX33433" fmla="*/ 1224935 w 8079933"/>
              <a:gd name="connsiteY33433" fmla="*/ 1643872 h 4687251"/>
              <a:gd name="connsiteX33434" fmla="*/ 1223416 w 8079933"/>
              <a:gd name="connsiteY33434" fmla="*/ 1642572 h 4687251"/>
              <a:gd name="connsiteX33435" fmla="*/ 1226238 w 8079933"/>
              <a:gd name="connsiteY33435" fmla="*/ 1638783 h 4687251"/>
              <a:gd name="connsiteX33436" fmla="*/ 1227757 w 8079933"/>
              <a:gd name="connsiteY33436" fmla="*/ 1636834 h 4687251"/>
              <a:gd name="connsiteX33437" fmla="*/ 1224285 w 8079933"/>
              <a:gd name="connsiteY33437" fmla="*/ 1634452 h 4687251"/>
              <a:gd name="connsiteX33438" fmla="*/ 1223633 w 8079933"/>
              <a:gd name="connsiteY33438" fmla="*/ 1630554 h 4687251"/>
              <a:gd name="connsiteX33439" fmla="*/ 1227757 w 8079933"/>
              <a:gd name="connsiteY33439" fmla="*/ 1627414 h 4687251"/>
              <a:gd name="connsiteX33440" fmla="*/ 1228299 w 8079933"/>
              <a:gd name="connsiteY33440" fmla="*/ 1624166 h 4687251"/>
              <a:gd name="connsiteX33441" fmla="*/ 1223091 w 8079933"/>
              <a:gd name="connsiteY33441" fmla="*/ 1620377 h 4687251"/>
              <a:gd name="connsiteX33442" fmla="*/ 1221246 w 8079933"/>
              <a:gd name="connsiteY33442" fmla="*/ 1611933 h 4687251"/>
              <a:gd name="connsiteX33443" fmla="*/ 1221245 w 8079933"/>
              <a:gd name="connsiteY33443" fmla="*/ 1611932 h 4687251"/>
              <a:gd name="connsiteX33444" fmla="*/ 1221245 w 8079933"/>
              <a:gd name="connsiteY33444" fmla="*/ 1611824 h 4687251"/>
              <a:gd name="connsiteX33445" fmla="*/ 1217556 w 8079933"/>
              <a:gd name="connsiteY33445" fmla="*/ 1611066 h 4687251"/>
              <a:gd name="connsiteX33446" fmla="*/ 1216036 w 8079933"/>
              <a:gd name="connsiteY33446" fmla="*/ 1603054 h 4687251"/>
              <a:gd name="connsiteX33447" fmla="*/ 1220486 w 8079933"/>
              <a:gd name="connsiteY33447" fmla="*/ 1593418 h 4687251"/>
              <a:gd name="connsiteX33448" fmla="*/ 1221897 w 8079933"/>
              <a:gd name="connsiteY33448" fmla="*/ 1587355 h 4687251"/>
              <a:gd name="connsiteX33449" fmla="*/ 1218966 w 8079933"/>
              <a:gd name="connsiteY33449" fmla="*/ 1590170 h 4687251"/>
              <a:gd name="connsiteX33450" fmla="*/ 1213432 w 8079933"/>
              <a:gd name="connsiteY33450" fmla="*/ 1592010 h 4687251"/>
              <a:gd name="connsiteX33451" fmla="*/ 1207572 w 8079933"/>
              <a:gd name="connsiteY33451" fmla="*/ 1595259 h 4687251"/>
              <a:gd name="connsiteX33452" fmla="*/ 1203232 w 8079933"/>
              <a:gd name="connsiteY33452" fmla="*/ 1589087 h 4687251"/>
              <a:gd name="connsiteX33453" fmla="*/ 1203449 w 8079933"/>
              <a:gd name="connsiteY33453" fmla="*/ 1584324 h 4687251"/>
              <a:gd name="connsiteX33454" fmla="*/ 1206053 w 8079933"/>
              <a:gd name="connsiteY33454" fmla="*/ 1584757 h 4687251"/>
              <a:gd name="connsiteX33455" fmla="*/ 1207789 w 8079933"/>
              <a:gd name="connsiteY33455" fmla="*/ 1588763 h 4687251"/>
              <a:gd name="connsiteX33456" fmla="*/ 1209960 w 8079933"/>
              <a:gd name="connsiteY33456" fmla="*/ 1589304 h 4687251"/>
              <a:gd name="connsiteX33457" fmla="*/ 1210393 w 8079933"/>
              <a:gd name="connsiteY33457" fmla="*/ 1586489 h 4687251"/>
              <a:gd name="connsiteX33458" fmla="*/ 1208115 w 8079933"/>
              <a:gd name="connsiteY33458" fmla="*/ 1582591 h 4687251"/>
              <a:gd name="connsiteX33459" fmla="*/ 1206921 w 8079933"/>
              <a:gd name="connsiteY33459" fmla="*/ 1578585 h 4687251"/>
              <a:gd name="connsiteX33460" fmla="*/ 1203449 w 8079933"/>
              <a:gd name="connsiteY33460" fmla="*/ 1578585 h 4687251"/>
              <a:gd name="connsiteX33461" fmla="*/ 1200302 w 8079933"/>
              <a:gd name="connsiteY33461" fmla="*/ 1580642 h 4687251"/>
              <a:gd name="connsiteX33462" fmla="*/ 1195310 w 8079933"/>
              <a:gd name="connsiteY33462" fmla="*/ 1578261 h 4687251"/>
              <a:gd name="connsiteX33463" fmla="*/ 1191946 w 8079933"/>
              <a:gd name="connsiteY33463" fmla="*/ 1572089 h 4687251"/>
              <a:gd name="connsiteX33464" fmla="*/ 1192055 w 8079933"/>
              <a:gd name="connsiteY33464" fmla="*/ 1569816 h 4687251"/>
              <a:gd name="connsiteX33465" fmla="*/ 1198131 w 8079933"/>
              <a:gd name="connsiteY33465" fmla="*/ 1565701 h 4687251"/>
              <a:gd name="connsiteX33466" fmla="*/ 1200736 w 8079933"/>
              <a:gd name="connsiteY33466" fmla="*/ 1560071 h 4687251"/>
              <a:gd name="connsiteX33467" fmla="*/ 1203774 w 8079933"/>
              <a:gd name="connsiteY33467" fmla="*/ 1556931 h 4687251"/>
              <a:gd name="connsiteX33468" fmla="*/ 1202472 w 8079933"/>
              <a:gd name="connsiteY33468" fmla="*/ 1555523 h 4687251"/>
              <a:gd name="connsiteX33469" fmla="*/ 1197914 w 8079933"/>
              <a:gd name="connsiteY33469" fmla="*/ 1556931 h 4687251"/>
              <a:gd name="connsiteX33470" fmla="*/ 1192814 w 8079933"/>
              <a:gd name="connsiteY33470" fmla="*/ 1556931 h 4687251"/>
              <a:gd name="connsiteX33471" fmla="*/ 1191512 w 8079933"/>
              <a:gd name="connsiteY33471" fmla="*/ 1555090 h 4687251"/>
              <a:gd name="connsiteX33472" fmla="*/ 1194984 w 8079933"/>
              <a:gd name="connsiteY33472" fmla="*/ 1551409 h 4687251"/>
              <a:gd name="connsiteX33473" fmla="*/ 1199108 w 8079933"/>
              <a:gd name="connsiteY33473" fmla="*/ 1545129 h 4687251"/>
              <a:gd name="connsiteX33474" fmla="*/ 1199325 w 8079933"/>
              <a:gd name="connsiteY33474" fmla="*/ 1538417 h 4687251"/>
              <a:gd name="connsiteX33475" fmla="*/ 1201170 w 8079933"/>
              <a:gd name="connsiteY33475" fmla="*/ 1535927 h 4687251"/>
              <a:gd name="connsiteX33476" fmla="*/ 1201170 w 8079933"/>
              <a:gd name="connsiteY33476" fmla="*/ 1533112 h 4687251"/>
              <a:gd name="connsiteX33477" fmla="*/ 1198239 w 8079933"/>
              <a:gd name="connsiteY33477" fmla="*/ 1533869 h 4687251"/>
              <a:gd name="connsiteX33478" fmla="*/ 1196395 w 8079933"/>
              <a:gd name="connsiteY33478" fmla="*/ 1537875 h 4687251"/>
              <a:gd name="connsiteX33479" fmla="*/ 1195744 w 8079933"/>
              <a:gd name="connsiteY33479" fmla="*/ 1546212 h 4687251"/>
              <a:gd name="connsiteX33480" fmla="*/ 1190535 w 8079933"/>
              <a:gd name="connsiteY33480" fmla="*/ 1553358 h 4687251"/>
              <a:gd name="connsiteX33481" fmla="*/ 1187605 w 8079933"/>
              <a:gd name="connsiteY33481" fmla="*/ 1553900 h 4687251"/>
              <a:gd name="connsiteX33482" fmla="*/ 1184784 w 8079933"/>
              <a:gd name="connsiteY33482" fmla="*/ 1551951 h 4687251"/>
              <a:gd name="connsiteX33483" fmla="*/ 1182179 w 8079933"/>
              <a:gd name="connsiteY33483" fmla="*/ 1550976 h 4687251"/>
              <a:gd name="connsiteX33484" fmla="*/ 1182179 w 8079933"/>
              <a:gd name="connsiteY33484" fmla="*/ 1548594 h 4687251"/>
              <a:gd name="connsiteX33485" fmla="*/ 1183699 w 8079933"/>
              <a:gd name="connsiteY33485" fmla="*/ 1546537 h 4687251"/>
              <a:gd name="connsiteX33486" fmla="*/ 1183699 w 8079933"/>
              <a:gd name="connsiteY33486" fmla="*/ 1544372 h 4687251"/>
              <a:gd name="connsiteX33487" fmla="*/ 1179901 w 8079933"/>
              <a:gd name="connsiteY33487" fmla="*/ 1546862 h 4687251"/>
              <a:gd name="connsiteX33488" fmla="*/ 1177730 w 8079933"/>
              <a:gd name="connsiteY33488" fmla="*/ 1549785 h 4687251"/>
              <a:gd name="connsiteX33489" fmla="*/ 1176211 w 8079933"/>
              <a:gd name="connsiteY33489" fmla="*/ 1549894 h 4687251"/>
              <a:gd name="connsiteX33490" fmla="*/ 1175018 w 8079933"/>
              <a:gd name="connsiteY33490" fmla="*/ 1547186 h 4687251"/>
              <a:gd name="connsiteX33491" fmla="*/ 1172413 w 8079933"/>
              <a:gd name="connsiteY33491" fmla="*/ 1547945 h 4687251"/>
              <a:gd name="connsiteX33492" fmla="*/ 1169917 w 8079933"/>
              <a:gd name="connsiteY33492" fmla="*/ 1550002 h 4687251"/>
              <a:gd name="connsiteX33493" fmla="*/ 1166662 w 8079933"/>
              <a:gd name="connsiteY33493" fmla="*/ 1548161 h 4687251"/>
              <a:gd name="connsiteX33494" fmla="*/ 1166553 w 8079933"/>
              <a:gd name="connsiteY33494" fmla="*/ 1546429 h 4687251"/>
              <a:gd name="connsiteX33495" fmla="*/ 1169917 w 8079933"/>
              <a:gd name="connsiteY33495" fmla="*/ 1542747 h 4687251"/>
              <a:gd name="connsiteX33496" fmla="*/ 1173823 w 8079933"/>
              <a:gd name="connsiteY33496" fmla="*/ 1542531 h 4687251"/>
              <a:gd name="connsiteX33497" fmla="*/ 1179466 w 8079933"/>
              <a:gd name="connsiteY33497" fmla="*/ 1541015 h 4687251"/>
              <a:gd name="connsiteX33498" fmla="*/ 1185760 w 8079933"/>
              <a:gd name="connsiteY33498" fmla="*/ 1536468 h 4687251"/>
              <a:gd name="connsiteX33499" fmla="*/ 1187930 w 8079933"/>
              <a:gd name="connsiteY33499" fmla="*/ 1532029 h 4687251"/>
              <a:gd name="connsiteX33500" fmla="*/ 1187822 w 8079933"/>
              <a:gd name="connsiteY33500" fmla="*/ 1527048 h 4687251"/>
              <a:gd name="connsiteX33501" fmla="*/ 1187062 w 8079933"/>
              <a:gd name="connsiteY33501" fmla="*/ 1531162 h 4687251"/>
              <a:gd name="connsiteX33502" fmla="*/ 1182830 w 8079933"/>
              <a:gd name="connsiteY33502" fmla="*/ 1534086 h 4687251"/>
              <a:gd name="connsiteX33503" fmla="*/ 1180009 w 8079933"/>
              <a:gd name="connsiteY33503" fmla="*/ 1539066 h 4687251"/>
              <a:gd name="connsiteX33504" fmla="*/ 1177404 w 8079933"/>
              <a:gd name="connsiteY33504" fmla="*/ 1540798 h 4687251"/>
              <a:gd name="connsiteX33505" fmla="*/ 1170893 w 8079933"/>
              <a:gd name="connsiteY33505" fmla="*/ 1538525 h 4687251"/>
              <a:gd name="connsiteX33506" fmla="*/ 1169483 w 8079933"/>
              <a:gd name="connsiteY33506" fmla="*/ 1535168 h 4687251"/>
              <a:gd name="connsiteX33507" fmla="*/ 1165359 w 8079933"/>
              <a:gd name="connsiteY33507" fmla="*/ 1534735 h 4687251"/>
              <a:gd name="connsiteX33508" fmla="*/ 1165359 w 8079933"/>
              <a:gd name="connsiteY33508" fmla="*/ 1533112 h 4687251"/>
              <a:gd name="connsiteX33509" fmla="*/ 1168832 w 8079933"/>
              <a:gd name="connsiteY33509" fmla="*/ 1531704 h 4687251"/>
              <a:gd name="connsiteX33510" fmla="*/ 1166879 w 8079933"/>
              <a:gd name="connsiteY33510" fmla="*/ 1529972 h 4687251"/>
              <a:gd name="connsiteX33511" fmla="*/ 1160910 w 8079933"/>
              <a:gd name="connsiteY33511" fmla="*/ 1531162 h 4687251"/>
              <a:gd name="connsiteX33512" fmla="*/ 1157112 w 8079933"/>
              <a:gd name="connsiteY33512" fmla="*/ 1529105 h 4687251"/>
              <a:gd name="connsiteX33513" fmla="*/ 1153856 w 8079933"/>
              <a:gd name="connsiteY33513" fmla="*/ 1529430 h 4687251"/>
              <a:gd name="connsiteX33514" fmla="*/ 1152988 w 8079933"/>
              <a:gd name="connsiteY33514" fmla="*/ 1533112 h 4687251"/>
              <a:gd name="connsiteX33515" fmla="*/ 1147454 w 8079933"/>
              <a:gd name="connsiteY33515" fmla="*/ 1529322 h 4687251"/>
              <a:gd name="connsiteX33516" fmla="*/ 1145175 w 8079933"/>
              <a:gd name="connsiteY33516" fmla="*/ 1524666 h 4687251"/>
              <a:gd name="connsiteX33517" fmla="*/ 1146912 w 8079933"/>
              <a:gd name="connsiteY33517" fmla="*/ 1522934 h 4687251"/>
              <a:gd name="connsiteX33518" fmla="*/ 1149842 w 8079933"/>
              <a:gd name="connsiteY33518" fmla="*/ 1525100 h 4687251"/>
              <a:gd name="connsiteX33519" fmla="*/ 1155376 w 8079933"/>
              <a:gd name="connsiteY33519" fmla="*/ 1526507 h 4687251"/>
              <a:gd name="connsiteX33520" fmla="*/ 1160910 w 8079933"/>
              <a:gd name="connsiteY33520" fmla="*/ 1525533 h 4687251"/>
              <a:gd name="connsiteX33521" fmla="*/ 1161236 w 8079933"/>
              <a:gd name="connsiteY33521" fmla="*/ 1523150 h 4687251"/>
              <a:gd name="connsiteX33522" fmla="*/ 1158631 w 8079933"/>
              <a:gd name="connsiteY33522" fmla="*/ 1523476 h 4687251"/>
              <a:gd name="connsiteX33523" fmla="*/ 1152228 w 8079933"/>
              <a:gd name="connsiteY33523" fmla="*/ 1523259 h 4687251"/>
              <a:gd name="connsiteX33524" fmla="*/ 1150710 w 8079933"/>
              <a:gd name="connsiteY33524" fmla="*/ 1522068 h 4687251"/>
              <a:gd name="connsiteX33525" fmla="*/ 1151578 w 8079933"/>
              <a:gd name="connsiteY33525" fmla="*/ 1520877 h 4687251"/>
              <a:gd name="connsiteX33526" fmla="*/ 1155701 w 8079933"/>
              <a:gd name="connsiteY33526" fmla="*/ 1521851 h 4687251"/>
              <a:gd name="connsiteX33527" fmla="*/ 1160367 w 8079933"/>
              <a:gd name="connsiteY33527" fmla="*/ 1520877 h 4687251"/>
              <a:gd name="connsiteX33528" fmla="*/ 1161127 w 8079933"/>
              <a:gd name="connsiteY33528" fmla="*/ 1518819 h 4687251"/>
              <a:gd name="connsiteX33529" fmla="*/ 1155050 w 8079933"/>
              <a:gd name="connsiteY33529" fmla="*/ 1518928 h 4687251"/>
              <a:gd name="connsiteX33530" fmla="*/ 1151903 w 8079933"/>
              <a:gd name="connsiteY33530" fmla="*/ 1517087 h 4687251"/>
              <a:gd name="connsiteX33531" fmla="*/ 1146803 w 8079933"/>
              <a:gd name="connsiteY33531" fmla="*/ 1518278 h 4687251"/>
              <a:gd name="connsiteX33532" fmla="*/ 1143547 w 8079933"/>
              <a:gd name="connsiteY33532" fmla="*/ 1518278 h 4687251"/>
              <a:gd name="connsiteX33533" fmla="*/ 1141269 w 8079933"/>
              <a:gd name="connsiteY33533" fmla="*/ 1516438 h 4687251"/>
              <a:gd name="connsiteX33534" fmla="*/ 1142246 w 8079933"/>
              <a:gd name="connsiteY33534" fmla="*/ 1512215 h 4687251"/>
              <a:gd name="connsiteX33535" fmla="*/ 1146586 w 8079933"/>
              <a:gd name="connsiteY33535" fmla="*/ 1511241 h 4687251"/>
              <a:gd name="connsiteX33536" fmla="*/ 1149516 w 8079933"/>
              <a:gd name="connsiteY33536" fmla="*/ 1513298 h 4687251"/>
              <a:gd name="connsiteX33537" fmla="*/ 1154182 w 8079933"/>
              <a:gd name="connsiteY33537" fmla="*/ 1513623 h 4687251"/>
              <a:gd name="connsiteX33538" fmla="*/ 1156895 w 8079933"/>
              <a:gd name="connsiteY33538" fmla="*/ 1511025 h 4687251"/>
              <a:gd name="connsiteX33539" fmla="*/ 1152228 w 8079933"/>
              <a:gd name="connsiteY33539" fmla="*/ 1511025 h 4687251"/>
              <a:gd name="connsiteX33540" fmla="*/ 1148865 w 8079933"/>
              <a:gd name="connsiteY33540" fmla="*/ 1509184 h 4687251"/>
              <a:gd name="connsiteX33541" fmla="*/ 1143114 w 8079933"/>
              <a:gd name="connsiteY33541" fmla="*/ 1508967 h 4687251"/>
              <a:gd name="connsiteX33542" fmla="*/ 1143656 w 8079933"/>
              <a:gd name="connsiteY33542" fmla="*/ 1507235 h 4687251"/>
              <a:gd name="connsiteX33543" fmla="*/ 1150384 w 8079933"/>
              <a:gd name="connsiteY33543" fmla="*/ 1505503 h 4687251"/>
              <a:gd name="connsiteX33544" fmla="*/ 1152988 w 8079933"/>
              <a:gd name="connsiteY33544" fmla="*/ 1506801 h 4687251"/>
              <a:gd name="connsiteX33545" fmla="*/ 1155918 w 8079933"/>
              <a:gd name="connsiteY33545" fmla="*/ 1505935 h 4687251"/>
              <a:gd name="connsiteX33546" fmla="*/ 1155050 w 8079933"/>
              <a:gd name="connsiteY33546" fmla="*/ 1503662 h 4687251"/>
              <a:gd name="connsiteX33547" fmla="*/ 1155050 w 8079933"/>
              <a:gd name="connsiteY33547" fmla="*/ 1501280 h 4687251"/>
              <a:gd name="connsiteX33548" fmla="*/ 1157763 w 8079933"/>
              <a:gd name="connsiteY33548" fmla="*/ 1498681 h 4687251"/>
              <a:gd name="connsiteX33549" fmla="*/ 1163840 w 8079933"/>
              <a:gd name="connsiteY33549" fmla="*/ 1498681 h 4687251"/>
              <a:gd name="connsiteX33550" fmla="*/ 1167963 w 8079933"/>
              <a:gd name="connsiteY33550" fmla="*/ 1499548 h 4687251"/>
              <a:gd name="connsiteX33551" fmla="*/ 1169375 w 8079933"/>
              <a:gd name="connsiteY33551" fmla="*/ 1498140 h 4687251"/>
              <a:gd name="connsiteX33552" fmla="*/ 1161887 w 8079933"/>
              <a:gd name="connsiteY33552" fmla="*/ 1497166 h 4687251"/>
              <a:gd name="connsiteX33553" fmla="*/ 1159716 w 8079933"/>
              <a:gd name="connsiteY33553" fmla="*/ 1494784 h 4687251"/>
              <a:gd name="connsiteX33554" fmla="*/ 1157438 w 8079933"/>
              <a:gd name="connsiteY33554" fmla="*/ 1494026 h 4687251"/>
              <a:gd name="connsiteX33555" fmla="*/ 1155050 w 8079933"/>
              <a:gd name="connsiteY33555" fmla="*/ 1497815 h 4687251"/>
              <a:gd name="connsiteX33556" fmla="*/ 1150710 w 8079933"/>
              <a:gd name="connsiteY33556" fmla="*/ 1499872 h 4687251"/>
              <a:gd name="connsiteX33557" fmla="*/ 1147562 w 8079933"/>
              <a:gd name="connsiteY33557" fmla="*/ 1502146 h 4687251"/>
              <a:gd name="connsiteX33558" fmla="*/ 1146044 w 8079933"/>
              <a:gd name="connsiteY33558" fmla="*/ 1500739 h 4687251"/>
              <a:gd name="connsiteX33559" fmla="*/ 1146369 w 8079933"/>
              <a:gd name="connsiteY33559" fmla="*/ 1497274 h 4687251"/>
              <a:gd name="connsiteX33560" fmla="*/ 1145718 w 8079933"/>
              <a:gd name="connsiteY33560" fmla="*/ 1493809 h 4687251"/>
              <a:gd name="connsiteX33561" fmla="*/ 1147454 w 8079933"/>
              <a:gd name="connsiteY33561" fmla="*/ 1490128 h 4687251"/>
              <a:gd name="connsiteX33562" fmla="*/ 1153531 w 8079933"/>
              <a:gd name="connsiteY33562" fmla="*/ 1487097 h 4687251"/>
              <a:gd name="connsiteX33563" fmla="*/ 1156027 w 8079933"/>
              <a:gd name="connsiteY33563" fmla="*/ 1483956 h 4687251"/>
              <a:gd name="connsiteX33564" fmla="*/ 1167095 w 8079933"/>
              <a:gd name="connsiteY33564" fmla="*/ 1475836 h 4687251"/>
              <a:gd name="connsiteX33565" fmla="*/ 1170568 w 8079933"/>
              <a:gd name="connsiteY33565" fmla="*/ 1474104 h 4687251"/>
              <a:gd name="connsiteX33566" fmla="*/ 1172413 w 8079933"/>
              <a:gd name="connsiteY33566" fmla="*/ 1477027 h 4687251"/>
              <a:gd name="connsiteX33567" fmla="*/ 1172630 w 8079933"/>
              <a:gd name="connsiteY33567" fmla="*/ 1483523 h 4687251"/>
              <a:gd name="connsiteX33568" fmla="*/ 1175234 w 8079933"/>
              <a:gd name="connsiteY33568" fmla="*/ 1487313 h 4687251"/>
              <a:gd name="connsiteX33569" fmla="*/ 1176753 w 8079933"/>
              <a:gd name="connsiteY33569" fmla="*/ 1486122 h 4687251"/>
              <a:gd name="connsiteX33570" fmla="*/ 1175234 w 8079933"/>
              <a:gd name="connsiteY33570" fmla="*/ 1480275 h 4687251"/>
              <a:gd name="connsiteX33571" fmla="*/ 1175234 w 8079933"/>
              <a:gd name="connsiteY33571" fmla="*/ 1473454 h 4687251"/>
              <a:gd name="connsiteX33572" fmla="*/ 1179684 w 8079933"/>
              <a:gd name="connsiteY33572" fmla="*/ 1471505 h 4687251"/>
              <a:gd name="connsiteX33573" fmla="*/ 1185000 w 8079933"/>
              <a:gd name="connsiteY33573" fmla="*/ 1471505 h 4687251"/>
              <a:gd name="connsiteX33574" fmla="*/ 1180660 w 8079933"/>
              <a:gd name="connsiteY33574" fmla="*/ 1470098 h 4687251"/>
              <a:gd name="connsiteX33575" fmla="*/ 1175234 w 8079933"/>
              <a:gd name="connsiteY33575" fmla="*/ 1470098 h 4687251"/>
              <a:gd name="connsiteX33576" fmla="*/ 1171978 w 8079933"/>
              <a:gd name="connsiteY33576" fmla="*/ 1471181 h 4687251"/>
              <a:gd name="connsiteX33577" fmla="*/ 1169700 w 8079933"/>
              <a:gd name="connsiteY33577" fmla="*/ 1468474 h 4687251"/>
              <a:gd name="connsiteX33578" fmla="*/ 1170893 w 8079933"/>
              <a:gd name="connsiteY33578" fmla="*/ 1465334 h 4687251"/>
              <a:gd name="connsiteX33579" fmla="*/ 1175668 w 8079933"/>
              <a:gd name="connsiteY33579" fmla="*/ 1463385 h 4687251"/>
              <a:gd name="connsiteX33580" fmla="*/ 1180552 w 8079933"/>
              <a:gd name="connsiteY33580" fmla="*/ 1460029 h 4687251"/>
              <a:gd name="connsiteX33581" fmla="*/ 1184132 w 8079933"/>
              <a:gd name="connsiteY33581" fmla="*/ 1453965 h 4687251"/>
              <a:gd name="connsiteX33582" fmla="*/ 1182939 w 8079933"/>
              <a:gd name="connsiteY33582" fmla="*/ 1450501 h 4687251"/>
              <a:gd name="connsiteX33583" fmla="*/ 1181420 w 8079933"/>
              <a:gd name="connsiteY33583" fmla="*/ 1451367 h 4687251"/>
              <a:gd name="connsiteX33584" fmla="*/ 1180226 w 8079933"/>
              <a:gd name="connsiteY33584" fmla="*/ 1455481 h 4687251"/>
              <a:gd name="connsiteX33585" fmla="*/ 1176211 w 8079933"/>
              <a:gd name="connsiteY33585" fmla="*/ 1459163 h 4687251"/>
              <a:gd name="connsiteX33586" fmla="*/ 1171436 w 8079933"/>
              <a:gd name="connsiteY33586" fmla="*/ 1459487 h 4687251"/>
              <a:gd name="connsiteX33587" fmla="*/ 1166879 w 8079933"/>
              <a:gd name="connsiteY33587" fmla="*/ 1465442 h 4687251"/>
              <a:gd name="connsiteX33588" fmla="*/ 1160259 w 8079933"/>
              <a:gd name="connsiteY33588" fmla="*/ 1470423 h 4687251"/>
              <a:gd name="connsiteX33589" fmla="*/ 1153531 w 8079933"/>
              <a:gd name="connsiteY33589" fmla="*/ 1472913 h 4687251"/>
              <a:gd name="connsiteX33590" fmla="*/ 1150167 w 8079933"/>
              <a:gd name="connsiteY33590" fmla="*/ 1468799 h 4687251"/>
              <a:gd name="connsiteX33591" fmla="*/ 1151252 w 8079933"/>
              <a:gd name="connsiteY33591" fmla="*/ 1466525 h 4687251"/>
              <a:gd name="connsiteX33592" fmla="*/ 1155050 w 8079933"/>
              <a:gd name="connsiteY33592" fmla="*/ 1465442 h 4687251"/>
              <a:gd name="connsiteX33593" fmla="*/ 1151469 w 8079933"/>
              <a:gd name="connsiteY33593" fmla="*/ 1464685 h 4687251"/>
              <a:gd name="connsiteX33594" fmla="*/ 1144741 w 8079933"/>
              <a:gd name="connsiteY33594" fmla="*/ 1467066 h 4687251"/>
              <a:gd name="connsiteX33595" fmla="*/ 1142246 w 8079933"/>
              <a:gd name="connsiteY33595" fmla="*/ 1464793 h 4687251"/>
              <a:gd name="connsiteX33596" fmla="*/ 1143331 w 8079933"/>
              <a:gd name="connsiteY33596" fmla="*/ 1462627 h 4687251"/>
              <a:gd name="connsiteX33597" fmla="*/ 1149190 w 8079933"/>
              <a:gd name="connsiteY33597" fmla="*/ 1458621 h 4687251"/>
              <a:gd name="connsiteX33598" fmla="*/ 1153097 w 8079933"/>
              <a:gd name="connsiteY33598" fmla="*/ 1456781 h 4687251"/>
              <a:gd name="connsiteX33599" fmla="*/ 1157112 w 8079933"/>
              <a:gd name="connsiteY33599" fmla="*/ 1457430 h 4687251"/>
              <a:gd name="connsiteX33600" fmla="*/ 1158631 w 8079933"/>
              <a:gd name="connsiteY33600" fmla="*/ 1455481 h 4687251"/>
              <a:gd name="connsiteX33601" fmla="*/ 1158848 w 8079933"/>
              <a:gd name="connsiteY33601" fmla="*/ 1453316 h 4687251"/>
              <a:gd name="connsiteX33602" fmla="*/ 1156027 w 8079933"/>
              <a:gd name="connsiteY33602" fmla="*/ 1451259 h 4687251"/>
              <a:gd name="connsiteX33603" fmla="*/ 1156895 w 8079933"/>
              <a:gd name="connsiteY33603" fmla="*/ 1449310 h 4687251"/>
              <a:gd name="connsiteX33604" fmla="*/ 1159174 w 8079933"/>
              <a:gd name="connsiteY33604" fmla="*/ 1447253 h 4687251"/>
              <a:gd name="connsiteX33605" fmla="*/ 1157221 w 8079933"/>
              <a:gd name="connsiteY33605" fmla="*/ 1445412 h 4687251"/>
              <a:gd name="connsiteX33606" fmla="*/ 1153531 w 8079933"/>
              <a:gd name="connsiteY33606" fmla="*/ 1447469 h 4687251"/>
              <a:gd name="connsiteX33607" fmla="*/ 1151252 w 8079933"/>
              <a:gd name="connsiteY33607" fmla="*/ 1447469 h 4687251"/>
              <a:gd name="connsiteX33608" fmla="*/ 1149516 w 8079933"/>
              <a:gd name="connsiteY33608" fmla="*/ 1443680 h 4687251"/>
              <a:gd name="connsiteX33609" fmla="*/ 1148865 w 8079933"/>
              <a:gd name="connsiteY33609" fmla="*/ 1433719 h 4687251"/>
              <a:gd name="connsiteX33610" fmla="*/ 1146586 w 8079933"/>
              <a:gd name="connsiteY33610" fmla="*/ 1430471 h 4687251"/>
              <a:gd name="connsiteX33611" fmla="*/ 1146260 w 8079933"/>
              <a:gd name="connsiteY33611" fmla="*/ 1426681 h 4687251"/>
              <a:gd name="connsiteX33612" fmla="*/ 1147997 w 8079933"/>
              <a:gd name="connsiteY33612" fmla="*/ 1423216 h 4687251"/>
              <a:gd name="connsiteX33613" fmla="*/ 1153965 w 8079933"/>
              <a:gd name="connsiteY33613" fmla="*/ 1423758 h 4687251"/>
              <a:gd name="connsiteX33614" fmla="*/ 1158523 w 8079933"/>
              <a:gd name="connsiteY33614" fmla="*/ 1425815 h 4687251"/>
              <a:gd name="connsiteX33615" fmla="*/ 1164382 w 8079933"/>
              <a:gd name="connsiteY33615" fmla="*/ 1425491 h 4687251"/>
              <a:gd name="connsiteX33616" fmla="*/ 1169483 w 8079933"/>
              <a:gd name="connsiteY33616" fmla="*/ 1427981 h 4687251"/>
              <a:gd name="connsiteX33617" fmla="*/ 1167747 w 8079933"/>
              <a:gd name="connsiteY33617" fmla="*/ 1425491 h 4687251"/>
              <a:gd name="connsiteX33618" fmla="*/ 1163949 w 8079933"/>
              <a:gd name="connsiteY33618" fmla="*/ 1424191 h 4687251"/>
              <a:gd name="connsiteX33619" fmla="*/ 1159499 w 8079933"/>
              <a:gd name="connsiteY33619" fmla="*/ 1424191 h 4687251"/>
              <a:gd name="connsiteX33620" fmla="*/ 1156244 w 8079933"/>
              <a:gd name="connsiteY33620" fmla="*/ 1420835 h 4687251"/>
              <a:gd name="connsiteX33621" fmla="*/ 1152228 w 8079933"/>
              <a:gd name="connsiteY33621" fmla="*/ 1417695 h 4687251"/>
              <a:gd name="connsiteX33622" fmla="*/ 1152120 w 8079933"/>
              <a:gd name="connsiteY33622" fmla="*/ 1415530 h 4687251"/>
              <a:gd name="connsiteX33623" fmla="*/ 1155050 w 8079933"/>
              <a:gd name="connsiteY33623" fmla="*/ 1410657 h 4687251"/>
              <a:gd name="connsiteX33624" fmla="*/ 1157654 w 8079933"/>
              <a:gd name="connsiteY33624" fmla="*/ 1409683 h 4687251"/>
              <a:gd name="connsiteX33625" fmla="*/ 1159825 w 8079933"/>
              <a:gd name="connsiteY33625" fmla="*/ 1405352 h 4687251"/>
              <a:gd name="connsiteX33626" fmla="*/ 1159499 w 8079933"/>
              <a:gd name="connsiteY33626" fmla="*/ 1400372 h 4687251"/>
              <a:gd name="connsiteX33627" fmla="*/ 1157654 w 8079933"/>
              <a:gd name="connsiteY33627" fmla="*/ 1400804 h 4687251"/>
              <a:gd name="connsiteX33628" fmla="*/ 1153314 w 8079933"/>
              <a:gd name="connsiteY33628" fmla="*/ 1406002 h 4687251"/>
              <a:gd name="connsiteX33629" fmla="*/ 1149190 w 8079933"/>
              <a:gd name="connsiteY33629" fmla="*/ 1408925 h 4687251"/>
              <a:gd name="connsiteX33630" fmla="*/ 1141919 w 8079933"/>
              <a:gd name="connsiteY33630" fmla="*/ 1411198 h 4687251"/>
              <a:gd name="connsiteX33631" fmla="*/ 1138339 w 8079933"/>
              <a:gd name="connsiteY33631" fmla="*/ 1414988 h 4687251"/>
              <a:gd name="connsiteX33632" fmla="*/ 1137471 w 8079933"/>
              <a:gd name="connsiteY33632" fmla="*/ 1418561 h 4687251"/>
              <a:gd name="connsiteX33633" fmla="*/ 1134649 w 8079933"/>
              <a:gd name="connsiteY33633" fmla="*/ 1417912 h 4687251"/>
              <a:gd name="connsiteX33634" fmla="*/ 1131285 w 8079933"/>
              <a:gd name="connsiteY33634" fmla="*/ 1410983 h 4687251"/>
              <a:gd name="connsiteX33635" fmla="*/ 1129223 w 8079933"/>
              <a:gd name="connsiteY33635" fmla="*/ 1403945 h 4687251"/>
              <a:gd name="connsiteX33636" fmla="*/ 1130200 w 8079933"/>
              <a:gd name="connsiteY33636" fmla="*/ 1391710 h 4687251"/>
              <a:gd name="connsiteX33637" fmla="*/ 1131936 w 8079933"/>
              <a:gd name="connsiteY33637" fmla="*/ 1384023 h 4687251"/>
              <a:gd name="connsiteX33638" fmla="*/ 1131285 w 8079933"/>
              <a:gd name="connsiteY33638" fmla="*/ 1380883 h 4687251"/>
              <a:gd name="connsiteX33639" fmla="*/ 1127162 w 8079933"/>
              <a:gd name="connsiteY33639" fmla="*/ 1380450 h 4687251"/>
              <a:gd name="connsiteX33640" fmla="*/ 1126944 w 8079933"/>
              <a:gd name="connsiteY33640" fmla="*/ 1373737 h 4687251"/>
              <a:gd name="connsiteX33641" fmla="*/ 1130417 w 8079933"/>
              <a:gd name="connsiteY33641" fmla="*/ 1371463 h 4687251"/>
              <a:gd name="connsiteX33642" fmla="*/ 1132696 w 8079933"/>
              <a:gd name="connsiteY33642" fmla="*/ 1373521 h 4687251"/>
              <a:gd name="connsiteX33643" fmla="*/ 1135191 w 8079933"/>
              <a:gd name="connsiteY33643" fmla="*/ 1374604 h 4687251"/>
              <a:gd name="connsiteX33644" fmla="*/ 1134215 w 8079933"/>
              <a:gd name="connsiteY33644" fmla="*/ 1369623 h 4687251"/>
              <a:gd name="connsiteX33645" fmla="*/ 1138881 w 8079933"/>
              <a:gd name="connsiteY33645" fmla="*/ 1365833 h 4687251"/>
              <a:gd name="connsiteX33646" fmla="*/ 1141269 w 8079933"/>
              <a:gd name="connsiteY33646" fmla="*/ 1359445 h 4687251"/>
              <a:gd name="connsiteX33647" fmla="*/ 1145067 w 8079933"/>
              <a:gd name="connsiteY33647" fmla="*/ 1358579 h 4687251"/>
              <a:gd name="connsiteX33648" fmla="*/ 1150167 w 8079933"/>
              <a:gd name="connsiteY33648" fmla="*/ 1359445 h 4687251"/>
              <a:gd name="connsiteX33649" fmla="*/ 1152771 w 8079933"/>
              <a:gd name="connsiteY33649" fmla="*/ 1357172 h 4687251"/>
              <a:gd name="connsiteX33650" fmla="*/ 1149733 w 8079933"/>
              <a:gd name="connsiteY33650" fmla="*/ 1356847 h 4687251"/>
              <a:gd name="connsiteX33651" fmla="*/ 1149190 w 8079933"/>
              <a:gd name="connsiteY33651" fmla="*/ 1355331 h 4687251"/>
              <a:gd name="connsiteX33652" fmla="*/ 1155701 w 8079933"/>
              <a:gd name="connsiteY33652" fmla="*/ 1347968 h 4687251"/>
              <a:gd name="connsiteX33653" fmla="*/ 1158306 w 8079933"/>
              <a:gd name="connsiteY33653" fmla="*/ 1343746 h 4687251"/>
              <a:gd name="connsiteX33654" fmla="*/ 1164817 w 8079933"/>
              <a:gd name="connsiteY33654" fmla="*/ 1340065 h 4687251"/>
              <a:gd name="connsiteX33655" fmla="*/ 1165359 w 8079933"/>
              <a:gd name="connsiteY33655" fmla="*/ 1337791 h 4687251"/>
              <a:gd name="connsiteX33656" fmla="*/ 1162321 w 8079933"/>
              <a:gd name="connsiteY33656" fmla="*/ 1337142 h 4687251"/>
              <a:gd name="connsiteX33657" fmla="*/ 1161452 w 8079933"/>
              <a:gd name="connsiteY33657" fmla="*/ 1334652 h 4687251"/>
              <a:gd name="connsiteX33658" fmla="*/ 1155593 w 8079933"/>
              <a:gd name="connsiteY33658" fmla="*/ 1339523 h 4687251"/>
              <a:gd name="connsiteX33659" fmla="*/ 1154725 w 8079933"/>
              <a:gd name="connsiteY33659" fmla="*/ 1344612 h 4687251"/>
              <a:gd name="connsiteX33660" fmla="*/ 1146803 w 8079933"/>
              <a:gd name="connsiteY33660" fmla="*/ 1353599 h 4687251"/>
              <a:gd name="connsiteX33661" fmla="*/ 1145175 w 8079933"/>
              <a:gd name="connsiteY33661" fmla="*/ 1353599 h 4687251"/>
              <a:gd name="connsiteX33662" fmla="*/ 1145718 w 8079933"/>
              <a:gd name="connsiteY33662" fmla="*/ 1350351 h 4687251"/>
              <a:gd name="connsiteX33663" fmla="*/ 1150710 w 8079933"/>
              <a:gd name="connsiteY33663" fmla="*/ 1343638 h 4687251"/>
              <a:gd name="connsiteX33664" fmla="*/ 1151578 w 8079933"/>
              <a:gd name="connsiteY33664" fmla="*/ 1335842 h 4687251"/>
              <a:gd name="connsiteX33665" fmla="*/ 1157763 w 8079933"/>
              <a:gd name="connsiteY33665" fmla="*/ 1324149 h 4687251"/>
              <a:gd name="connsiteX33666" fmla="*/ 1160042 w 8079933"/>
              <a:gd name="connsiteY33666" fmla="*/ 1319060 h 4687251"/>
              <a:gd name="connsiteX33667" fmla="*/ 1158739 w 8079933"/>
              <a:gd name="connsiteY33667" fmla="*/ 1318411 h 4687251"/>
              <a:gd name="connsiteX33668" fmla="*/ 1158632 w 8079933"/>
              <a:gd name="connsiteY33668" fmla="*/ 1318411 h 4687251"/>
              <a:gd name="connsiteX33669" fmla="*/ 1156787 w 8079933"/>
              <a:gd name="connsiteY33669" fmla="*/ 1319927 h 4687251"/>
              <a:gd name="connsiteX33670" fmla="*/ 1151469 w 8079933"/>
              <a:gd name="connsiteY33670" fmla="*/ 1331079 h 4687251"/>
              <a:gd name="connsiteX33671" fmla="*/ 1149516 w 8079933"/>
              <a:gd name="connsiteY33671" fmla="*/ 1340823 h 4687251"/>
              <a:gd name="connsiteX33672" fmla="*/ 1144525 w 8079933"/>
              <a:gd name="connsiteY33672" fmla="*/ 1348185 h 4687251"/>
              <a:gd name="connsiteX33673" fmla="*/ 1138665 w 8079933"/>
              <a:gd name="connsiteY33673" fmla="*/ 1355006 h 4687251"/>
              <a:gd name="connsiteX33674" fmla="*/ 1134324 w 8079933"/>
              <a:gd name="connsiteY33674" fmla="*/ 1356847 h 4687251"/>
              <a:gd name="connsiteX33675" fmla="*/ 1131177 w 8079933"/>
              <a:gd name="connsiteY33675" fmla="*/ 1356306 h 4687251"/>
              <a:gd name="connsiteX33676" fmla="*/ 1130526 w 8079933"/>
              <a:gd name="connsiteY33676" fmla="*/ 1359662 h 4687251"/>
              <a:gd name="connsiteX33677" fmla="*/ 1127488 w 8079933"/>
              <a:gd name="connsiteY33677" fmla="*/ 1361287 h 4687251"/>
              <a:gd name="connsiteX33678" fmla="*/ 1125208 w 8079933"/>
              <a:gd name="connsiteY33678" fmla="*/ 1356522 h 4687251"/>
              <a:gd name="connsiteX33679" fmla="*/ 1126294 w 8079933"/>
              <a:gd name="connsiteY33679" fmla="*/ 1351000 h 4687251"/>
              <a:gd name="connsiteX33680" fmla="*/ 1128681 w 8079933"/>
              <a:gd name="connsiteY33680" fmla="*/ 1349051 h 4687251"/>
              <a:gd name="connsiteX33681" fmla="*/ 1131069 w 8079933"/>
              <a:gd name="connsiteY33681" fmla="*/ 1348943 h 4687251"/>
              <a:gd name="connsiteX33682" fmla="*/ 1134324 w 8079933"/>
              <a:gd name="connsiteY33682" fmla="*/ 1349377 h 4687251"/>
              <a:gd name="connsiteX33683" fmla="*/ 1138231 w 8079933"/>
              <a:gd name="connsiteY33683" fmla="*/ 1345912 h 4687251"/>
              <a:gd name="connsiteX33684" fmla="*/ 1137797 w 8079933"/>
              <a:gd name="connsiteY33684" fmla="*/ 1344612 h 4687251"/>
              <a:gd name="connsiteX33685" fmla="*/ 1133131 w 8079933"/>
              <a:gd name="connsiteY33685" fmla="*/ 1344396 h 4687251"/>
              <a:gd name="connsiteX33686" fmla="*/ 1130960 w 8079933"/>
              <a:gd name="connsiteY33686" fmla="*/ 1345479 h 4687251"/>
              <a:gd name="connsiteX33687" fmla="*/ 1127379 w 8079933"/>
              <a:gd name="connsiteY33687" fmla="*/ 1344937 h 4687251"/>
              <a:gd name="connsiteX33688" fmla="*/ 1127270 w 8079933"/>
              <a:gd name="connsiteY33688" fmla="*/ 1343097 h 4687251"/>
              <a:gd name="connsiteX33689" fmla="*/ 1130526 w 8079933"/>
              <a:gd name="connsiteY33689" fmla="*/ 1339416 h 4687251"/>
              <a:gd name="connsiteX33690" fmla="*/ 1134867 w 8079933"/>
              <a:gd name="connsiteY33690" fmla="*/ 1339091 h 4687251"/>
              <a:gd name="connsiteX33691" fmla="*/ 1138231 w 8079933"/>
              <a:gd name="connsiteY33691" fmla="*/ 1339524 h 4687251"/>
              <a:gd name="connsiteX33692" fmla="*/ 1137146 w 8079933"/>
              <a:gd name="connsiteY33692" fmla="*/ 1337250 h 4687251"/>
              <a:gd name="connsiteX33693" fmla="*/ 1135952 w 8079933"/>
              <a:gd name="connsiteY33693" fmla="*/ 1334760 h 4687251"/>
              <a:gd name="connsiteX33694" fmla="*/ 1137471 w 8079933"/>
              <a:gd name="connsiteY33694" fmla="*/ 1331404 h 4687251"/>
              <a:gd name="connsiteX33695" fmla="*/ 1140727 w 8079933"/>
              <a:gd name="connsiteY33695" fmla="*/ 1325882 h 4687251"/>
              <a:gd name="connsiteX33696" fmla="*/ 1139859 w 8079933"/>
              <a:gd name="connsiteY33696" fmla="*/ 1322850 h 4687251"/>
              <a:gd name="connsiteX33697" fmla="*/ 1139859 w 8079933"/>
              <a:gd name="connsiteY33697" fmla="*/ 1318736 h 4687251"/>
              <a:gd name="connsiteX33698" fmla="*/ 1144742 w 8079933"/>
              <a:gd name="connsiteY33698" fmla="*/ 1314188 h 4687251"/>
              <a:gd name="connsiteX33699" fmla="*/ 1144742 w 8079933"/>
              <a:gd name="connsiteY33699" fmla="*/ 1312348 h 4687251"/>
              <a:gd name="connsiteX33700" fmla="*/ 1139207 w 8079933"/>
              <a:gd name="connsiteY33700" fmla="*/ 1312131 h 4687251"/>
              <a:gd name="connsiteX33701" fmla="*/ 1138556 w 8079933"/>
              <a:gd name="connsiteY33701" fmla="*/ 1310616 h 4687251"/>
              <a:gd name="connsiteX33702" fmla="*/ 1142137 w 8079933"/>
              <a:gd name="connsiteY33702" fmla="*/ 1306502 h 4687251"/>
              <a:gd name="connsiteX33703" fmla="*/ 1136277 w 8079933"/>
              <a:gd name="connsiteY33703" fmla="*/ 1307043 h 4687251"/>
              <a:gd name="connsiteX33704" fmla="*/ 1132696 w 8079933"/>
              <a:gd name="connsiteY33704" fmla="*/ 1307367 h 4687251"/>
              <a:gd name="connsiteX33705" fmla="*/ 1131611 w 8079933"/>
              <a:gd name="connsiteY33705" fmla="*/ 1305419 h 4687251"/>
              <a:gd name="connsiteX33706" fmla="*/ 1126077 w 8079933"/>
              <a:gd name="connsiteY33706" fmla="*/ 1310941 h 4687251"/>
              <a:gd name="connsiteX33707" fmla="*/ 1122279 w 8079933"/>
              <a:gd name="connsiteY33707" fmla="*/ 1311806 h 4687251"/>
              <a:gd name="connsiteX33708" fmla="*/ 1121953 w 8079933"/>
              <a:gd name="connsiteY33708" fmla="*/ 1313864 h 4687251"/>
              <a:gd name="connsiteX33709" fmla="*/ 1119024 w 8079933"/>
              <a:gd name="connsiteY33709" fmla="*/ 1320576 h 4687251"/>
              <a:gd name="connsiteX33710" fmla="*/ 1114031 w 8079933"/>
              <a:gd name="connsiteY33710" fmla="*/ 1324908 h 4687251"/>
              <a:gd name="connsiteX33711" fmla="*/ 1112078 w 8079933"/>
              <a:gd name="connsiteY33711" fmla="*/ 1320468 h 4687251"/>
              <a:gd name="connsiteX33712" fmla="*/ 1112078 w 8079933"/>
              <a:gd name="connsiteY33712" fmla="*/ 1315812 h 4687251"/>
              <a:gd name="connsiteX33713" fmla="*/ 1117504 w 8079933"/>
              <a:gd name="connsiteY33713" fmla="*/ 1311482 h 4687251"/>
              <a:gd name="connsiteX33714" fmla="*/ 1124666 w 8079933"/>
              <a:gd name="connsiteY33714" fmla="*/ 1303794 h 4687251"/>
              <a:gd name="connsiteX33715" fmla="*/ 1127596 w 8079933"/>
              <a:gd name="connsiteY33715" fmla="*/ 1297515 h 4687251"/>
              <a:gd name="connsiteX33716" fmla="*/ 1130960 w 8079933"/>
              <a:gd name="connsiteY33716" fmla="*/ 1296757 h 4687251"/>
              <a:gd name="connsiteX33717" fmla="*/ 1136061 w 8079933"/>
              <a:gd name="connsiteY33717" fmla="*/ 1297731 h 4687251"/>
              <a:gd name="connsiteX33718" fmla="*/ 1141052 w 8079933"/>
              <a:gd name="connsiteY33718" fmla="*/ 1295025 h 4687251"/>
              <a:gd name="connsiteX33719" fmla="*/ 1138339 w 8079933"/>
              <a:gd name="connsiteY33719" fmla="*/ 1293942 h 4687251"/>
              <a:gd name="connsiteX33720" fmla="*/ 1133131 w 8079933"/>
              <a:gd name="connsiteY33720" fmla="*/ 1294158 h 4687251"/>
              <a:gd name="connsiteX33721" fmla="*/ 1129549 w 8079933"/>
              <a:gd name="connsiteY33721" fmla="*/ 1291668 h 4687251"/>
              <a:gd name="connsiteX33722" fmla="*/ 1125534 w 8079933"/>
              <a:gd name="connsiteY33722" fmla="*/ 1284739 h 4687251"/>
              <a:gd name="connsiteX33723" fmla="*/ 1124883 w 8079933"/>
              <a:gd name="connsiteY33723" fmla="*/ 1279542 h 4687251"/>
              <a:gd name="connsiteX33724" fmla="*/ 1127705 w 8079933"/>
              <a:gd name="connsiteY33724" fmla="*/ 1275752 h 4687251"/>
              <a:gd name="connsiteX33725" fmla="*/ 1130635 w 8079933"/>
              <a:gd name="connsiteY33725" fmla="*/ 1275319 h 4687251"/>
              <a:gd name="connsiteX33726" fmla="*/ 1133456 w 8079933"/>
              <a:gd name="connsiteY33726" fmla="*/ 1274129 h 4687251"/>
              <a:gd name="connsiteX33727" fmla="*/ 1131069 w 8079933"/>
              <a:gd name="connsiteY33727" fmla="*/ 1274020 h 4687251"/>
              <a:gd name="connsiteX33728" fmla="*/ 1127270 w 8079933"/>
              <a:gd name="connsiteY33728" fmla="*/ 1270664 h 4687251"/>
              <a:gd name="connsiteX33729" fmla="*/ 1125643 w 8079933"/>
              <a:gd name="connsiteY33729" fmla="*/ 1266658 h 4687251"/>
              <a:gd name="connsiteX33730" fmla="*/ 1122279 w 8079933"/>
              <a:gd name="connsiteY33730" fmla="*/ 1264384 h 4687251"/>
              <a:gd name="connsiteX33731" fmla="*/ 1121302 w 8079933"/>
              <a:gd name="connsiteY33731" fmla="*/ 1261786 h 4687251"/>
              <a:gd name="connsiteX33732" fmla="*/ 1122930 w 8079933"/>
              <a:gd name="connsiteY33732" fmla="*/ 1260378 h 4687251"/>
              <a:gd name="connsiteX33733" fmla="*/ 1126836 w 8079933"/>
              <a:gd name="connsiteY33733" fmla="*/ 1260811 h 4687251"/>
              <a:gd name="connsiteX33734" fmla="*/ 1126620 w 8079933"/>
              <a:gd name="connsiteY33734" fmla="*/ 1259187 h 4687251"/>
              <a:gd name="connsiteX33735" fmla="*/ 1124232 w 8079933"/>
              <a:gd name="connsiteY33735" fmla="*/ 1257346 h 4687251"/>
              <a:gd name="connsiteX33736" fmla="*/ 1121410 w 8079933"/>
              <a:gd name="connsiteY33736" fmla="*/ 1257780 h 4687251"/>
              <a:gd name="connsiteX33737" fmla="*/ 1118264 w 8079933"/>
              <a:gd name="connsiteY33737" fmla="*/ 1254748 h 4687251"/>
              <a:gd name="connsiteX33738" fmla="*/ 1116961 w 8079933"/>
              <a:gd name="connsiteY33738" fmla="*/ 1250742 h 4687251"/>
              <a:gd name="connsiteX33739" fmla="*/ 1114249 w 8079933"/>
              <a:gd name="connsiteY33739" fmla="*/ 1251066 h 4687251"/>
              <a:gd name="connsiteX33740" fmla="*/ 1111536 w 8079933"/>
              <a:gd name="connsiteY33740" fmla="*/ 1250742 h 4687251"/>
              <a:gd name="connsiteX33741" fmla="*/ 1110776 w 8079933"/>
              <a:gd name="connsiteY33741" fmla="*/ 1248901 h 4687251"/>
              <a:gd name="connsiteX33742" fmla="*/ 1112946 w 8079933"/>
              <a:gd name="connsiteY33742" fmla="*/ 1245220 h 4687251"/>
              <a:gd name="connsiteX33743" fmla="*/ 1116093 w 8079933"/>
              <a:gd name="connsiteY33743" fmla="*/ 1244679 h 4687251"/>
              <a:gd name="connsiteX33744" fmla="*/ 1117721 w 8079933"/>
              <a:gd name="connsiteY33744" fmla="*/ 1242405 h 4687251"/>
              <a:gd name="connsiteX33745" fmla="*/ 1116419 w 8079933"/>
              <a:gd name="connsiteY33745" fmla="*/ 1240781 h 4687251"/>
              <a:gd name="connsiteX33746" fmla="*/ 1116202 w 8079933"/>
              <a:gd name="connsiteY33746" fmla="*/ 1235584 h 4687251"/>
              <a:gd name="connsiteX33747" fmla="*/ 1118697 w 8079933"/>
              <a:gd name="connsiteY33747" fmla="*/ 1231903 h 4687251"/>
              <a:gd name="connsiteX33748" fmla="*/ 1117504 w 8079933"/>
              <a:gd name="connsiteY33748" fmla="*/ 1228979 h 4687251"/>
              <a:gd name="connsiteX33749" fmla="*/ 1118806 w 8079933"/>
              <a:gd name="connsiteY33749" fmla="*/ 1227356 h 4687251"/>
              <a:gd name="connsiteX33750" fmla="*/ 1120434 w 8079933"/>
              <a:gd name="connsiteY33750" fmla="*/ 1231036 h 4687251"/>
              <a:gd name="connsiteX33751" fmla="*/ 1124015 w 8079933"/>
              <a:gd name="connsiteY33751" fmla="*/ 1233744 h 4687251"/>
              <a:gd name="connsiteX33752" fmla="*/ 1125860 w 8079933"/>
              <a:gd name="connsiteY33752" fmla="*/ 1232985 h 4687251"/>
              <a:gd name="connsiteX33753" fmla="*/ 1125860 w 8079933"/>
              <a:gd name="connsiteY33753" fmla="*/ 1228330 h 4687251"/>
              <a:gd name="connsiteX33754" fmla="*/ 1122604 w 8079933"/>
              <a:gd name="connsiteY33754" fmla="*/ 1222916 h 4687251"/>
              <a:gd name="connsiteX33755" fmla="*/ 1122279 w 8079933"/>
              <a:gd name="connsiteY33755" fmla="*/ 1220426 h 4687251"/>
              <a:gd name="connsiteX33756" fmla="*/ 1125860 w 8079933"/>
              <a:gd name="connsiteY33756" fmla="*/ 1219885 h 4687251"/>
              <a:gd name="connsiteX33757" fmla="*/ 1128030 w 8079933"/>
              <a:gd name="connsiteY33757" fmla="*/ 1218152 h 4687251"/>
              <a:gd name="connsiteX33758" fmla="*/ 1124883 w 8079933"/>
              <a:gd name="connsiteY33758" fmla="*/ 1215770 h 4687251"/>
              <a:gd name="connsiteX33759" fmla="*/ 1124883 w 8079933"/>
              <a:gd name="connsiteY33759" fmla="*/ 1213713 h 4687251"/>
              <a:gd name="connsiteX33760" fmla="*/ 1127270 w 8079933"/>
              <a:gd name="connsiteY33760" fmla="*/ 1212630 h 4687251"/>
              <a:gd name="connsiteX33761" fmla="*/ 1133673 w 8079933"/>
              <a:gd name="connsiteY33761" fmla="*/ 1208516 h 4687251"/>
              <a:gd name="connsiteX33762" fmla="*/ 1133781 w 8079933"/>
              <a:gd name="connsiteY33762" fmla="*/ 1207109 h 4687251"/>
              <a:gd name="connsiteX33763" fmla="*/ 1128030 w 8079933"/>
              <a:gd name="connsiteY33763" fmla="*/ 1207434 h 4687251"/>
              <a:gd name="connsiteX33764" fmla="*/ 1124015 w 8079933"/>
              <a:gd name="connsiteY33764" fmla="*/ 1209166 h 4687251"/>
              <a:gd name="connsiteX33765" fmla="*/ 1121410 w 8079933"/>
              <a:gd name="connsiteY33765" fmla="*/ 1207650 h 4687251"/>
              <a:gd name="connsiteX33766" fmla="*/ 1118915 w 8079933"/>
              <a:gd name="connsiteY33766" fmla="*/ 1209491 h 4687251"/>
              <a:gd name="connsiteX33767" fmla="*/ 1115442 w 8079933"/>
              <a:gd name="connsiteY33767" fmla="*/ 1206567 h 4687251"/>
              <a:gd name="connsiteX33768" fmla="*/ 1115008 w 8079933"/>
              <a:gd name="connsiteY33768" fmla="*/ 1201479 h 4687251"/>
              <a:gd name="connsiteX33769" fmla="*/ 1112838 w 8079933"/>
              <a:gd name="connsiteY33769" fmla="*/ 1201479 h 4687251"/>
              <a:gd name="connsiteX33770" fmla="*/ 1112078 w 8079933"/>
              <a:gd name="connsiteY33770" fmla="*/ 1195957 h 4687251"/>
              <a:gd name="connsiteX33771" fmla="*/ 1107955 w 8079933"/>
              <a:gd name="connsiteY33771" fmla="*/ 1192059 h 4687251"/>
              <a:gd name="connsiteX33772" fmla="*/ 1106978 w 8079933"/>
              <a:gd name="connsiteY33772" fmla="*/ 1187187 h 4687251"/>
              <a:gd name="connsiteX33773" fmla="*/ 1106110 w 8079933"/>
              <a:gd name="connsiteY33773" fmla="*/ 1183181 h 4687251"/>
              <a:gd name="connsiteX33774" fmla="*/ 1106435 w 8079933"/>
              <a:gd name="connsiteY33774" fmla="*/ 1176252 h 4687251"/>
              <a:gd name="connsiteX33775" fmla="*/ 1109583 w 8079933"/>
              <a:gd name="connsiteY33775" fmla="*/ 1173437 h 4687251"/>
              <a:gd name="connsiteX33776" fmla="*/ 1107955 w 8079933"/>
              <a:gd name="connsiteY33776" fmla="*/ 1170514 h 4687251"/>
              <a:gd name="connsiteX33777" fmla="*/ 1108497 w 8079933"/>
              <a:gd name="connsiteY33777" fmla="*/ 1164883 h 4687251"/>
              <a:gd name="connsiteX33778" fmla="*/ 1112946 w 8079933"/>
              <a:gd name="connsiteY33778" fmla="*/ 1156114 h 4687251"/>
              <a:gd name="connsiteX33779" fmla="*/ 1111644 w 8079933"/>
              <a:gd name="connsiteY33779" fmla="*/ 1149400 h 4687251"/>
              <a:gd name="connsiteX33780" fmla="*/ 1113489 w 8079933"/>
              <a:gd name="connsiteY33780" fmla="*/ 1141172 h 4687251"/>
              <a:gd name="connsiteX33781" fmla="*/ 1116744 w 8079933"/>
              <a:gd name="connsiteY33781" fmla="*/ 1134567 h 4687251"/>
              <a:gd name="connsiteX33782" fmla="*/ 1111753 w 8079933"/>
              <a:gd name="connsiteY33782" fmla="*/ 1138249 h 4687251"/>
              <a:gd name="connsiteX33783" fmla="*/ 1109365 w 8079933"/>
              <a:gd name="connsiteY33783" fmla="*/ 1144095 h 4687251"/>
              <a:gd name="connsiteX33784" fmla="*/ 1106761 w 8079933"/>
              <a:gd name="connsiteY33784" fmla="*/ 1143012 h 4687251"/>
              <a:gd name="connsiteX33785" fmla="*/ 1104590 w 8079933"/>
              <a:gd name="connsiteY33785" fmla="*/ 1137166 h 4687251"/>
              <a:gd name="connsiteX33786" fmla="*/ 1102854 w 8079933"/>
              <a:gd name="connsiteY33786" fmla="*/ 1136300 h 4687251"/>
              <a:gd name="connsiteX33787" fmla="*/ 1102529 w 8079933"/>
              <a:gd name="connsiteY33787" fmla="*/ 1137166 h 4687251"/>
              <a:gd name="connsiteX33788" fmla="*/ 1104157 w 8079933"/>
              <a:gd name="connsiteY33788" fmla="*/ 1140631 h 4687251"/>
              <a:gd name="connsiteX33789" fmla="*/ 1105458 w 8079933"/>
              <a:gd name="connsiteY33789" fmla="*/ 1147451 h 4687251"/>
              <a:gd name="connsiteX33790" fmla="*/ 1105458 w 8079933"/>
              <a:gd name="connsiteY33790" fmla="*/ 1157412 h 4687251"/>
              <a:gd name="connsiteX33791" fmla="*/ 1101986 w 8079933"/>
              <a:gd name="connsiteY33791" fmla="*/ 1167590 h 4687251"/>
              <a:gd name="connsiteX33792" fmla="*/ 1101118 w 8079933"/>
              <a:gd name="connsiteY33792" fmla="*/ 1179067 h 4687251"/>
              <a:gd name="connsiteX33793" fmla="*/ 1099382 w 8079933"/>
              <a:gd name="connsiteY33793" fmla="*/ 1182532 h 4687251"/>
              <a:gd name="connsiteX33794" fmla="*/ 1098839 w 8079933"/>
              <a:gd name="connsiteY33794" fmla="*/ 1188595 h 4687251"/>
              <a:gd name="connsiteX33795" fmla="*/ 1094716 w 8079933"/>
              <a:gd name="connsiteY33795" fmla="*/ 1196499 h 4687251"/>
              <a:gd name="connsiteX33796" fmla="*/ 1091677 w 8079933"/>
              <a:gd name="connsiteY33796" fmla="*/ 1194224 h 4687251"/>
              <a:gd name="connsiteX33797" fmla="*/ 1090049 w 8079933"/>
              <a:gd name="connsiteY33797" fmla="*/ 1188269 h 4687251"/>
              <a:gd name="connsiteX33798" fmla="*/ 1091460 w 8079933"/>
              <a:gd name="connsiteY33798" fmla="*/ 1186538 h 4687251"/>
              <a:gd name="connsiteX33799" fmla="*/ 1090918 w 8079933"/>
              <a:gd name="connsiteY33799" fmla="*/ 1183073 h 4687251"/>
              <a:gd name="connsiteX33800" fmla="*/ 1088530 w 8079933"/>
              <a:gd name="connsiteY33800" fmla="*/ 1186862 h 4687251"/>
              <a:gd name="connsiteX33801" fmla="*/ 1087879 w 8079933"/>
              <a:gd name="connsiteY33801" fmla="*/ 1188919 h 4687251"/>
              <a:gd name="connsiteX33802" fmla="*/ 1082887 w 8079933"/>
              <a:gd name="connsiteY33802" fmla="*/ 1187512 h 4687251"/>
              <a:gd name="connsiteX33803" fmla="*/ 1081477 w 8079933"/>
              <a:gd name="connsiteY33803" fmla="*/ 1185130 h 4687251"/>
              <a:gd name="connsiteX33804" fmla="*/ 1083213 w 8079933"/>
              <a:gd name="connsiteY33804" fmla="*/ 1180149 h 4687251"/>
              <a:gd name="connsiteX33805" fmla="*/ 1082019 w 8079933"/>
              <a:gd name="connsiteY33805" fmla="*/ 1175818 h 4687251"/>
              <a:gd name="connsiteX33806" fmla="*/ 1081802 w 8079933"/>
              <a:gd name="connsiteY33806" fmla="*/ 1172246 h 4687251"/>
              <a:gd name="connsiteX33807" fmla="*/ 1085275 w 8079933"/>
              <a:gd name="connsiteY33807" fmla="*/ 1169106 h 4687251"/>
              <a:gd name="connsiteX33808" fmla="*/ 1086685 w 8079933"/>
              <a:gd name="connsiteY33808" fmla="*/ 1165424 h 4687251"/>
              <a:gd name="connsiteX33809" fmla="*/ 1084515 w 8079933"/>
              <a:gd name="connsiteY33809" fmla="*/ 1165749 h 4687251"/>
              <a:gd name="connsiteX33810" fmla="*/ 1080391 w 8079933"/>
              <a:gd name="connsiteY33810" fmla="*/ 1169647 h 4687251"/>
              <a:gd name="connsiteX33811" fmla="*/ 1077896 w 8079933"/>
              <a:gd name="connsiteY33811" fmla="*/ 1168998 h 4687251"/>
              <a:gd name="connsiteX33812" fmla="*/ 1076811 w 8079933"/>
              <a:gd name="connsiteY33812" fmla="*/ 1165424 h 4687251"/>
              <a:gd name="connsiteX33813" fmla="*/ 1078547 w 8079933"/>
              <a:gd name="connsiteY33813" fmla="*/ 1160661 h 4687251"/>
              <a:gd name="connsiteX33814" fmla="*/ 1076811 w 8079933"/>
              <a:gd name="connsiteY33814" fmla="*/ 1157412 h 4687251"/>
              <a:gd name="connsiteX33815" fmla="*/ 1075399 w 8079933"/>
              <a:gd name="connsiteY33815" fmla="*/ 1154706 h 4687251"/>
              <a:gd name="connsiteX33816" fmla="*/ 1072686 w 8079933"/>
              <a:gd name="connsiteY33816" fmla="*/ 1159145 h 4687251"/>
              <a:gd name="connsiteX33817" fmla="*/ 1071168 w 8079933"/>
              <a:gd name="connsiteY33817" fmla="*/ 1156222 h 4687251"/>
              <a:gd name="connsiteX33818" fmla="*/ 1070841 w 8079933"/>
              <a:gd name="connsiteY33818" fmla="*/ 1151457 h 4687251"/>
              <a:gd name="connsiteX33819" fmla="*/ 1068020 w 8079933"/>
              <a:gd name="connsiteY33819" fmla="*/ 1151133 h 4687251"/>
              <a:gd name="connsiteX33820" fmla="*/ 1067370 w 8079933"/>
              <a:gd name="connsiteY33820" fmla="*/ 1156438 h 4687251"/>
              <a:gd name="connsiteX33821" fmla="*/ 1065633 w 8079933"/>
              <a:gd name="connsiteY33821" fmla="*/ 1158712 h 4687251"/>
              <a:gd name="connsiteX33822" fmla="*/ 1065742 w 8079933"/>
              <a:gd name="connsiteY33822" fmla="*/ 1161094 h 4687251"/>
              <a:gd name="connsiteX33823" fmla="*/ 1068997 w 8079933"/>
              <a:gd name="connsiteY33823" fmla="*/ 1162501 h 4687251"/>
              <a:gd name="connsiteX33824" fmla="*/ 1070408 w 8079933"/>
              <a:gd name="connsiteY33824" fmla="*/ 1165749 h 4687251"/>
              <a:gd name="connsiteX33825" fmla="*/ 1070841 w 8079933"/>
              <a:gd name="connsiteY33825" fmla="*/ 1168781 h 4687251"/>
              <a:gd name="connsiteX33826" fmla="*/ 1067478 w 8079933"/>
              <a:gd name="connsiteY33826" fmla="*/ 1173112 h 4687251"/>
              <a:gd name="connsiteX33827" fmla="*/ 1069106 w 8079933"/>
              <a:gd name="connsiteY33827" fmla="*/ 1174628 h 4687251"/>
              <a:gd name="connsiteX33828" fmla="*/ 1070841 w 8079933"/>
              <a:gd name="connsiteY33828" fmla="*/ 1173653 h 4687251"/>
              <a:gd name="connsiteX33829" fmla="*/ 1073338 w 8079933"/>
              <a:gd name="connsiteY33829" fmla="*/ 1173437 h 4687251"/>
              <a:gd name="connsiteX33830" fmla="*/ 1076159 w 8079933"/>
              <a:gd name="connsiteY33830" fmla="*/ 1180149 h 4687251"/>
              <a:gd name="connsiteX33831" fmla="*/ 1074423 w 8079933"/>
              <a:gd name="connsiteY33831" fmla="*/ 1183939 h 4687251"/>
              <a:gd name="connsiteX33832" fmla="*/ 1071601 w 8079933"/>
              <a:gd name="connsiteY33832" fmla="*/ 1183181 h 4687251"/>
              <a:gd name="connsiteX33833" fmla="*/ 1069756 w 8079933"/>
              <a:gd name="connsiteY33833" fmla="*/ 1181016 h 4687251"/>
              <a:gd name="connsiteX33834" fmla="*/ 1068346 w 8079933"/>
              <a:gd name="connsiteY33834" fmla="*/ 1183073 h 4687251"/>
              <a:gd name="connsiteX33835" fmla="*/ 1069865 w 8079933"/>
              <a:gd name="connsiteY33835" fmla="*/ 1185130 h 4687251"/>
              <a:gd name="connsiteX33836" fmla="*/ 1066501 w 8079933"/>
              <a:gd name="connsiteY33836" fmla="*/ 1186320 h 4687251"/>
              <a:gd name="connsiteX33837" fmla="*/ 1063897 w 8079933"/>
              <a:gd name="connsiteY33837" fmla="*/ 1183073 h 4687251"/>
              <a:gd name="connsiteX33838" fmla="*/ 1061292 w 8079933"/>
              <a:gd name="connsiteY33838" fmla="*/ 1185130 h 4687251"/>
              <a:gd name="connsiteX33839" fmla="*/ 1060750 w 8079933"/>
              <a:gd name="connsiteY33839" fmla="*/ 1182532 h 4687251"/>
              <a:gd name="connsiteX33840" fmla="*/ 1058254 w 8079933"/>
              <a:gd name="connsiteY33840" fmla="*/ 1181340 h 4687251"/>
              <a:gd name="connsiteX33841" fmla="*/ 1051091 w 8079933"/>
              <a:gd name="connsiteY33841" fmla="*/ 1173220 h 4687251"/>
              <a:gd name="connsiteX33842" fmla="*/ 1049790 w 8079933"/>
              <a:gd name="connsiteY33842" fmla="*/ 1169106 h 4687251"/>
              <a:gd name="connsiteX33843" fmla="*/ 1050983 w 8079933"/>
              <a:gd name="connsiteY33843" fmla="*/ 1165208 h 4687251"/>
              <a:gd name="connsiteX33844" fmla="*/ 1047728 w 8079933"/>
              <a:gd name="connsiteY33844" fmla="*/ 1164991 h 4687251"/>
              <a:gd name="connsiteX33845" fmla="*/ 1045340 w 8079933"/>
              <a:gd name="connsiteY33845" fmla="*/ 1162610 h 4687251"/>
              <a:gd name="connsiteX33846" fmla="*/ 1045449 w 8079933"/>
              <a:gd name="connsiteY33846" fmla="*/ 1151782 h 4687251"/>
              <a:gd name="connsiteX33847" fmla="*/ 1047185 w 8079933"/>
              <a:gd name="connsiteY33847" fmla="*/ 1149184 h 4687251"/>
              <a:gd name="connsiteX33848" fmla="*/ 1043604 w 8079933"/>
              <a:gd name="connsiteY33848" fmla="*/ 1146586 h 4687251"/>
              <a:gd name="connsiteX33849" fmla="*/ 1042845 w 8079933"/>
              <a:gd name="connsiteY33849" fmla="*/ 1143879 h 4687251"/>
              <a:gd name="connsiteX33850" fmla="*/ 1046208 w 8079933"/>
              <a:gd name="connsiteY33850" fmla="*/ 1139981 h 4687251"/>
              <a:gd name="connsiteX33851" fmla="*/ 1048705 w 8079933"/>
              <a:gd name="connsiteY33851" fmla="*/ 1138573 h 4687251"/>
              <a:gd name="connsiteX33852" fmla="*/ 1049898 w 8079933"/>
              <a:gd name="connsiteY33852" fmla="*/ 1135325 h 4687251"/>
              <a:gd name="connsiteX33853" fmla="*/ 1049898 w 8079933"/>
              <a:gd name="connsiteY33853" fmla="*/ 1129912 h 4687251"/>
              <a:gd name="connsiteX33854" fmla="*/ 1052503 w 8079933"/>
              <a:gd name="connsiteY33854" fmla="*/ 1122225 h 4687251"/>
              <a:gd name="connsiteX33855" fmla="*/ 1046968 w 8079933"/>
              <a:gd name="connsiteY33855" fmla="*/ 1132186 h 4687251"/>
              <a:gd name="connsiteX33856" fmla="*/ 1044798 w 8079933"/>
              <a:gd name="connsiteY33856" fmla="*/ 1136841 h 4687251"/>
              <a:gd name="connsiteX33857" fmla="*/ 1039372 w 8079933"/>
              <a:gd name="connsiteY33857" fmla="*/ 1136192 h 4687251"/>
              <a:gd name="connsiteX33858" fmla="*/ 1037202 w 8079933"/>
              <a:gd name="connsiteY33858" fmla="*/ 1137490 h 4687251"/>
              <a:gd name="connsiteX33859" fmla="*/ 1030257 w 8079933"/>
              <a:gd name="connsiteY33859" fmla="*/ 1130778 h 4687251"/>
              <a:gd name="connsiteX33860" fmla="*/ 1030257 w 8079933"/>
              <a:gd name="connsiteY33860" fmla="*/ 1129045 h 4687251"/>
              <a:gd name="connsiteX33861" fmla="*/ 1033078 w 8079933"/>
              <a:gd name="connsiteY33861" fmla="*/ 1129045 h 4687251"/>
              <a:gd name="connsiteX33862" fmla="*/ 1034380 w 8079933"/>
              <a:gd name="connsiteY33862" fmla="*/ 1126122 h 4687251"/>
              <a:gd name="connsiteX33863" fmla="*/ 1031668 w 8079933"/>
              <a:gd name="connsiteY33863" fmla="*/ 1124606 h 4687251"/>
              <a:gd name="connsiteX33864" fmla="*/ 1027761 w 8079933"/>
              <a:gd name="connsiteY33864" fmla="*/ 1125798 h 4687251"/>
              <a:gd name="connsiteX33865" fmla="*/ 1024830 w 8079933"/>
              <a:gd name="connsiteY33865" fmla="*/ 1123416 h 4687251"/>
              <a:gd name="connsiteX33866" fmla="*/ 1023529 w 8079933"/>
              <a:gd name="connsiteY33866" fmla="*/ 1118868 h 4687251"/>
              <a:gd name="connsiteX33867" fmla="*/ 1020273 w 8079933"/>
              <a:gd name="connsiteY33867" fmla="*/ 1113238 h 4687251"/>
              <a:gd name="connsiteX33868" fmla="*/ 1022009 w 8079933"/>
              <a:gd name="connsiteY33868" fmla="*/ 1112588 h 4687251"/>
              <a:gd name="connsiteX33869" fmla="*/ 1027001 w 8079933"/>
              <a:gd name="connsiteY33869" fmla="*/ 1115404 h 4687251"/>
              <a:gd name="connsiteX33870" fmla="*/ 1030148 w 8079933"/>
              <a:gd name="connsiteY33870" fmla="*/ 1114862 h 4687251"/>
              <a:gd name="connsiteX33871" fmla="*/ 1032210 w 8079933"/>
              <a:gd name="connsiteY33871" fmla="*/ 1109882 h 4687251"/>
              <a:gd name="connsiteX33872" fmla="*/ 1033078 w 8079933"/>
              <a:gd name="connsiteY33872" fmla="*/ 1101545 h 4687251"/>
              <a:gd name="connsiteX33873" fmla="*/ 1037527 w 8079933"/>
              <a:gd name="connsiteY33873" fmla="*/ 1098188 h 4687251"/>
              <a:gd name="connsiteX33874" fmla="*/ 1039372 w 8079933"/>
              <a:gd name="connsiteY33874" fmla="*/ 1095265 h 4687251"/>
              <a:gd name="connsiteX33875" fmla="*/ 1036984 w 8079933"/>
              <a:gd name="connsiteY33875" fmla="*/ 1095049 h 4687251"/>
              <a:gd name="connsiteX33876" fmla="*/ 1030799 w 8079933"/>
              <a:gd name="connsiteY33876" fmla="*/ 1099488 h 4687251"/>
              <a:gd name="connsiteX33877" fmla="*/ 1028086 w 8079933"/>
              <a:gd name="connsiteY33877" fmla="*/ 1103169 h 4687251"/>
              <a:gd name="connsiteX33878" fmla="*/ 1026893 w 8079933"/>
              <a:gd name="connsiteY33878" fmla="*/ 1100678 h 4687251"/>
              <a:gd name="connsiteX33879" fmla="*/ 1023094 w 8079933"/>
              <a:gd name="connsiteY33879" fmla="*/ 1102086 h 4687251"/>
              <a:gd name="connsiteX33880" fmla="*/ 1014305 w 8079933"/>
              <a:gd name="connsiteY33880" fmla="*/ 1104143 h 4687251"/>
              <a:gd name="connsiteX33881" fmla="*/ 1007143 w 8079933"/>
              <a:gd name="connsiteY33881" fmla="*/ 1101870 h 4687251"/>
              <a:gd name="connsiteX33882" fmla="*/ 1004321 w 8079933"/>
              <a:gd name="connsiteY33882" fmla="*/ 1099163 h 4687251"/>
              <a:gd name="connsiteX33883" fmla="*/ 1003127 w 8079933"/>
              <a:gd name="connsiteY33883" fmla="*/ 1094940 h 4687251"/>
              <a:gd name="connsiteX33884" fmla="*/ 996183 w 8079933"/>
              <a:gd name="connsiteY33884" fmla="*/ 1093208 h 4687251"/>
              <a:gd name="connsiteX33885" fmla="*/ 995314 w 8079933"/>
              <a:gd name="connsiteY33885" fmla="*/ 1090935 h 4687251"/>
              <a:gd name="connsiteX33886" fmla="*/ 999764 w 8079933"/>
              <a:gd name="connsiteY33886" fmla="*/ 1089743 h 4687251"/>
              <a:gd name="connsiteX33887" fmla="*/ 1003236 w 8079933"/>
              <a:gd name="connsiteY33887" fmla="*/ 1086929 h 4687251"/>
              <a:gd name="connsiteX33888" fmla="*/ 1003562 w 8079933"/>
              <a:gd name="connsiteY33888" fmla="*/ 1083356 h 4687251"/>
              <a:gd name="connsiteX33889" fmla="*/ 1001174 w 8079933"/>
              <a:gd name="connsiteY33889" fmla="*/ 1082164 h 4687251"/>
              <a:gd name="connsiteX33890" fmla="*/ 999764 w 8079933"/>
              <a:gd name="connsiteY33890" fmla="*/ 1083680 h 4687251"/>
              <a:gd name="connsiteX33891" fmla="*/ 993253 w 8079933"/>
              <a:gd name="connsiteY33891" fmla="*/ 1086929 h 4687251"/>
              <a:gd name="connsiteX33892" fmla="*/ 989128 w 8079933"/>
              <a:gd name="connsiteY33892" fmla="*/ 1087145 h 4687251"/>
              <a:gd name="connsiteX33893" fmla="*/ 987935 w 8079933"/>
              <a:gd name="connsiteY33893" fmla="*/ 1083897 h 4687251"/>
              <a:gd name="connsiteX33894" fmla="*/ 984788 w 8079933"/>
              <a:gd name="connsiteY33894" fmla="*/ 1081623 h 4687251"/>
              <a:gd name="connsiteX33895" fmla="*/ 981751 w 8079933"/>
              <a:gd name="connsiteY33895" fmla="*/ 1077834 h 4687251"/>
              <a:gd name="connsiteX33896" fmla="*/ 978496 w 8079933"/>
              <a:gd name="connsiteY33896" fmla="*/ 1077509 h 4687251"/>
              <a:gd name="connsiteX33897" fmla="*/ 978604 w 8079933"/>
              <a:gd name="connsiteY33897" fmla="*/ 1074044 h 4687251"/>
              <a:gd name="connsiteX33898" fmla="*/ 976216 w 8079933"/>
              <a:gd name="connsiteY33898" fmla="*/ 1073286 h 4687251"/>
              <a:gd name="connsiteX33899" fmla="*/ 970898 w 8079933"/>
              <a:gd name="connsiteY33899" fmla="*/ 1074260 h 4687251"/>
              <a:gd name="connsiteX33900" fmla="*/ 964931 w 8079933"/>
              <a:gd name="connsiteY33900" fmla="*/ 1073719 h 4687251"/>
              <a:gd name="connsiteX33901" fmla="*/ 960156 w 8079933"/>
              <a:gd name="connsiteY33901" fmla="*/ 1074260 h 4687251"/>
              <a:gd name="connsiteX33902" fmla="*/ 956576 w 8079933"/>
              <a:gd name="connsiteY33902" fmla="*/ 1073395 h 4687251"/>
              <a:gd name="connsiteX33903" fmla="*/ 953210 w 8079933"/>
              <a:gd name="connsiteY33903" fmla="*/ 1074802 h 4687251"/>
              <a:gd name="connsiteX33904" fmla="*/ 941816 w 8079933"/>
              <a:gd name="connsiteY33904" fmla="*/ 1072528 h 4687251"/>
              <a:gd name="connsiteX33905" fmla="*/ 940298 w 8079933"/>
              <a:gd name="connsiteY33905" fmla="*/ 1069713 h 4687251"/>
              <a:gd name="connsiteX33906" fmla="*/ 943227 w 8079933"/>
              <a:gd name="connsiteY33906" fmla="*/ 1068631 h 4687251"/>
              <a:gd name="connsiteX33907" fmla="*/ 945723 w 8079933"/>
              <a:gd name="connsiteY33907" fmla="*/ 1069605 h 4687251"/>
              <a:gd name="connsiteX33908" fmla="*/ 947785 w 8079933"/>
              <a:gd name="connsiteY33908" fmla="*/ 1068414 h 4687251"/>
              <a:gd name="connsiteX33909" fmla="*/ 943118 w 8079933"/>
              <a:gd name="connsiteY33909" fmla="*/ 1064083 h 4687251"/>
              <a:gd name="connsiteX33910" fmla="*/ 949195 w 8079933"/>
              <a:gd name="connsiteY33910" fmla="*/ 1058128 h 4687251"/>
              <a:gd name="connsiteX33911" fmla="*/ 948760 w 8079933"/>
              <a:gd name="connsiteY33911" fmla="*/ 1055205 h 4687251"/>
              <a:gd name="connsiteX33912" fmla="*/ 952235 w 8079933"/>
              <a:gd name="connsiteY33912" fmla="*/ 1050766 h 4687251"/>
              <a:gd name="connsiteX33913" fmla="*/ 946374 w 8079933"/>
              <a:gd name="connsiteY33913" fmla="*/ 1050550 h 4687251"/>
              <a:gd name="connsiteX33914" fmla="*/ 945180 w 8079933"/>
              <a:gd name="connsiteY33914" fmla="*/ 1052607 h 4687251"/>
              <a:gd name="connsiteX33915" fmla="*/ 946590 w 8079933"/>
              <a:gd name="connsiteY33915" fmla="*/ 1054664 h 4687251"/>
              <a:gd name="connsiteX33916" fmla="*/ 943444 w 8079933"/>
              <a:gd name="connsiteY33916" fmla="*/ 1059428 h 4687251"/>
              <a:gd name="connsiteX33917" fmla="*/ 939647 w 8079933"/>
              <a:gd name="connsiteY33917" fmla="*/ 1058128 h 4687251"/>
              <a:gd name="connsiteX33918" fmla="*/ 938996 w 8079933"/>
              <a:gd name="connsiteY33918" fmla="*/ 1055205 h 4687251"/>
              <a:gd name="connsiteX33919" fmla="*/ 936932 w 8079933"/>
              <a:gd name="connsiteY33919" fmla="*/ 1054339 h 4687251"/>
              <a:gd name="connsiteX33920" fmla="*/ 936173 w 8079933"/>
              <a:gd name="connsiteY33920" fmla="*/ 1051632 h 4687251"/>
              <a:gd name="connsiteX33921" fmla="*/ 939104 w 8079933"/>
              <a:gd name="connsiteY33921" fmla="*/ 1049575 h 4687251"/>
              <a:gd name="connsiteX33922" fmla="*/ 939104 w 8079933"/>
              <a:gd name="connsiteY33922" fmla="*/ 1047301 h 4687251"/>
              <a:gd name="connsiteX33923" fmla="*/ 937042 w 8079933"/>
              <a:gd name="connsiteY33923" fmla="*/ 1044486 h 4687251"/>
              <a:gd name="connsiteX33924" fmla="*/ 930313 w 8079933"/>
              <a:gd name="connsiteY33924" fmla="*/ 1047085 h 4687251"/>
              <a:gd name="connsiteX33925" fmla="*/ 926189 w 8079933"/>
              <a:gd name="connsiteY33925" fmla="*/ 1045244 h 4687251"/>
              <a:gd name="connsiteX33926" fmla="*/ 922067 w 8079933"/>
              <a:gd name="connsiteY33926" fmla="*/ 1041563 h 4687251"/>
              <a:gd name="connsiteX33927" fmla="*/ 917292 w 8079933"/>
              <a:gd name="connsiteY33927" fmla="*/ 1043620 h 4687251"/>
              <a:gd name="connsiteX33928" fmla="*/ 912627 w 8079933"/>
              <a:gd name="connsiteY33928" fmla="*/ 1043620 h 4687251"/>
              <a:gd name="connsiteX33929" fmla="*/ 912084 w 8079933"/>
              <a:gd name="connsiteY33929" fmla="*/ 1041130 h 4687251"/>
              <a:gd name="connsiteX33930" fmla="*/ 915882 w 8079933"/>
              <a:gd name="connsiteY33930" fmla="*/ 1039722 h 4687251"/>
              <a:gd name="connsiteX33931" fmla="*/ 919462 w 8079933"/>
              <a:gd name="connsiteY33931" fmla="*/ 1038531 h 4687251"/>
              <a:gd name="connsiteX33932" fmla="*/ 917292 w 8079933"/>
              <a:gd name="connsiteY33932" fmla="*/ 1035391 h 4687251"/>
              <a:gd name="connsiteX33933" fmla="*/ 910673 w 8079933"/>
              <a:gd name="connsiteY33933" fmla="*/ 1033659 h 4687251"/>
              <a:gd name="connsiteX33934" fmla="*/ 910238 w 8079933"/>
              <a:gd name="connsiteY33934" fmla="*/ 1030303 h 4687251"/>
              <a:gd name="connsiteX33935" fmla="*/ 915229 w 8079933"/>
              <a:gd name="connsiteY33935" fmla="*/ 1030086 h 4687251"/>
              <a:gd name="connsiteX33936" fmla="*/ 917400 w 8079933"/>
              <a:gd name="connsiteY33936" fmla="*/ 1028895 h 4687251"/>
              <a:gd name="connsiteX33937" fmla="*/ 913602 w 8079933"/>
              <a:gd name="connsiteY33937" fmla="*/ 1026080 h 4687251"/>
              <a:gd name="connsiteX33938" fmla="*/ 909695 w 8079933"/>
              <a:gd name="connsiteY33938" fmla="*/ 1028354 h 4687251"/>
              <a:gd name="connsiteX33939" fmla="*/ 906223 w 8079933"/>
              <a:gd name="connsiteY33939" fmla="*/ 1027163 h 4687251"/>
              <a:gd name="connsiteX33940" fmla="*/ 906765 w 8079933"/>
              <a:gd name="connsiteY33940" fmla="*/ 1023157 h 4687251"/>
              <a:gd name="connsiteX33941" fmla="*/ 910673 w 8079933"/>
              <a:gd name="connsiteY33941" fmla="*/ 1021316 h 4687251"/>
              <a:gd name="connsiteX33942" fmla="*/ 917074 w 8079933"/>
              <a:gd name="connsiteY33942" fmla="*/ 1021966 h 4687251"/>
              <a:gd name="connsiteX33943" fmla="*/ 922283 w 8079933"/>
              <a:gd name="connsiteY33943" fmla="*/ 1026297 h 4687251"/>
              <a:gd name="connsiteX33944" fmla="*/ 922826 w 8079933"/>
              <a:gd name="connsiteY33944" fmla="*/ 1023915 h 4687251"/>
              <a:gd name="connsiteX33945" fmla="*/ 919678 w 8079933"/>
              <a:gd name="connsiteY33945" fmla="*/ 1020775 h 4687251"/>
              <a:gd name="connsiteX33946" fmla="*/ 910673 w 8079933"/>
              <a:gd name="connsiteY33946" fmla="*/ 1018934 h 4687251"/>
              <a:gd name="connsiteX33947" fmla="*/ 908828 w 8079933"/>
              <a:gd name="connsiteY33947" fmla="*/ 1016336 h 4687251"/>
              <a:gd name="connsiteX33948" fmla="*/ 911215 w 8079933"/>
              <a:gd name="connsiteY33948" fmla="*/ 1013088 h 4687251"/>
              <a:gd name="connsiteX33949" fmla="*/ 914472 w 8079933"/>
              <a:gd name="connsiteY33949" fmla="*/ 1013088 h 4687251"/>
              <a:gd name="connsiteX33950" fmla="*/ 919462 w 8079933"/>
              <a:gd name="connsiteY33950" fmla="*/ 1007891 h 4687251"/>
              <a:gd name="connsiteX33951" fmla="*/ 924455 w 8079933"/>
              <a:gd name="connsiteY33951" fmla="*/ 1007783 h 4687251"/>
              <a:gd name="connsiteX33952" fmla="*/ 925323 w 8079933"/>
              <a:gd name="connsiteY33952" fmla="*/ 1006050 h 4687251"/>
              <a:gd name="connsiteX33953" fmla="*/ 921415 w 8079933"/>
              <a:gd name="connsiteY33953" fmla="*/ 1004643 h 4687251"/>
              <a:gd name="connsiteX33954" fmla="*/ 916098 w 8079933"/>
              <a:gd name="connsiteY33954" fmla="*/ 1005726 h 4687251"/>
              <a:gd name="connsiteX33955" fmla="*/ 911432 w 8079933"/>
              <a:gd name="connsiteY33955" fmla="*/ 1008973 h 4687251"/>
              <a:gd name="connsiteX33956" fmla="*/ 909479 w 8079933"/>
              <a:gd name="connsiteY33956" fmla="*/ 1009082 h 4687251"/>
              <a:gd name="connsiteX33957" fmla="*/ 904921 w 8079933"/>
              <a:gd name="connsiteY33957" fmla="*/ 1012546 h 4687251"/>
              <a:gd name="connsiteX33958" fmla="*/ 901231 w 8079933"/>
              <a:gd name="connsiteY33958" fmla="*/ 1009840 h 4687251"/>
              <a:gd name="connsiteX33959" fmla="*/ 900037 w 8079933"/>
              <a:gd name="connsiteY33959" fmla="*/ 1012546 h 4687251"/>
              <a:gd name="connsiteX33960" fmla="*/ 894395 w 8079933"/>
              <a:gd name="connsiteY33960" fmla="*/ 1016661 h 4687251"/>
              <a:gd name="connsiteX33961" fmla="*/ 893526 w 8079933"/>
              <a:gd name="connsiteY33961" fmla="*/ 1013629 h 4687251"/>
              <a:gd name="connsiteX33962" fmla="*/ 895913 w 8079933"/>
              <a:gd name="connsiteY33962" fmla="*/ 1009948 h 4687251"/>
              <a:gd name="connsiteX33963" fmla="*/ 897433 w 8079933"/>
              <a:gd name="connsiteY33963" fmla="*/ 1007024 h 4687251"/>
              <a:gd name="connsiteX33964" fmla="*/ 895262 w 8079933"/>
              <a:gd name="connsiteY33964" fmla="*/ 1007024 h 4687251"/>
              <a:gd name="connsiteX33965" fmla="*/ 891574 w 8079933"/>
              <a:gd name="connsiteY33965" fmla="*/ 1009407 h 4687251"/>
              <a:gd name="connsiteX33966" fmla="*/ 888643 w 8079933"/>
              <a:gd name="connsiteY33966" fmla="*/ 1018610 h 4687251"/>
              <a:gd name="connsiteX33967" fmla="*/ 886581 w 8079933"/>
              <a:gd name="connsiteY33967" fmla="*/ 1019042 h 4687251"/>
              <a:gd name="connsiteX33968" fmla="*/ 885063 w 8079933"/>
              <a:gd name="connsiteY33968" fmla="*/ 1011139 h 4687251"/>
              <a:gd name="connsiteX33969" fmla="*/ 884520 w 8079933"/>
              <a:gd name="connsiteY33969" fmla="*/ 1007241 h 4687251"/>
              <a:gd name="connsiteX33970" fmla="*/ 893309 w 8079933"/>
              <a:gd name="connsiteY33970" fmla="*/ 1001178 h 4687251"/>
              <a:gd name="connsiteX33971" fmla="*/ 887449 w 8079933"/>
              <a:gd name="connsiteY33971" fmla="*/ 1001178 h 4687251"/>
              <a:gd name="connsiteX33972" fmla="*/ 884194 w 8079933"/>
              <a:gd name="connsiteY33972" fmla="*/ 1002044 h 4687251"/>
              <a:gd name="connsiteX33973" fmla="*/ 879744 w 8079933"/>
              <a:gd name="connsiteY33973" fmla="*/ 998796 h 4687251"/>
              <a:gd name="connsiteX33974" fmla="*/ 871931 w 8079933"/>
              <a:gd name="connsiteY33974" fmla="*/ 1002044 h 4687251"/>
              <a:gd name="connsiteX33975" fmla="*/ 873667 w 8079933"/>
              <a:gd name="connsiteY33975" fmla="*/ 1007566 h 4687251"/>
              <a:gd name="connsiteX33976" fmla="*/ 873016 w 8079933"/>
              <a:gd name="connsiteY33976" fmla="*/ 1009840 h 4687251"/>
              <a:gd name="connsiteX33977" fmla="*/ 870954 w 8079933"/>
              <a:gd name="connsiteY33977" fmla="*/ 1008432 h 4687251"/>
              <a:gd name="connsiteX33978" fmla="*/ 868134 w 8079933"/>
              <a:gd name="connsiteY33978" fmla="*/ 1009840 h 4687251"/>
              <a:gd name="connsiteX33979" fmla="*/ 861947 w 8079933"/>
              <a:gd name="connsiteY33979" fmla="*/ 1010489 h 4687251"/>
              <a:gd name="connsiteX33980" fmla="*/ 862166 w 8079933"/>
              <a:gd name="connsiteY33980" fmla="*/ 1014279 h 4687251"/>
              <a:gd name="connsiteX33981" fmla="*/ 866940 w 8079933"/>
              <a:gd name="connsiteY33981" fmla="*/ 1018177 h 4687251"/>
              <a:gd name="connsiteX33982" fmla="*/ 871065 w 8079933"/>
              <a:gd name="connsiteY33982" fmla="*/ 1016552 h 4687251"/>
              <a:gd name="connsiteX33983" fmla="*/ 871065 w 8079933"/>
              <a:gd name="connsiteY33983" fmla="*/ 1020450 h 4687251"/>
              <a:gd name="connsiteX33984" fmla="*/ 869001 w 8079933"/>
              <a:gd name="connsiteY33984" fmla="*/ 1023157 h 4687251"/>
              <a:gd name="connsiteX33985" fmla="*/ 865421 w 8079933"/>
              <a:gd name="connsiteY33985" fmla="*/ 1021858 h 4687251"/>
              <a:gd name="connsiteX33986" fmla="*/ 861298 w 8079933"/>
              <a:gd name="connsiteY33986" fmla="*/ 1021966 h 4687251"/>
              <a:gd name="connsiteX33987" fmla="*/ 859343 w 8079933"/>
              <a:gd name="connsiteY33987" fmla="*/ 1024889 h 4687251"/>
              <a:gd name="connsiteX33988" fmla="*/ 864770 w 8079933"/>
              <a:gd name="connsiteY33988" fmla="*/ 1025648 h 4687251"/>
              <a:gd name="connsiteX33989" fmla="*/ 867810 w 8079933"/>
              <a:gd name="connsiteY33989" fmla="*/ 1027704 h 4687251"/>
              <a:gd name="connsiteX33990" fmla="*/ 872149 w 8079933"/>
              <a:gd name="connsiteY33990" fmla="*/ 1026946 h 4687251"/>
              <a:gd name="connsiteX33991" fmla="*/ 871931 w 8079933"/>
              <a:gd name="connsiteY33991" fmla="*/ 1031602 h 4687251"/>
              <a:gd name="connsiteX33992" fmla="*/ 870412 w 8079933"/>
              <a:gd name="connsiteY33992" fmla="*/ 1034850 h 4687251"/>
              <a:gd name="connsiteX33993" fmla="*/ 861623 w 8079933"/>
              <a:gd name="connsiteY33993" fmla="*/ 1037990 h 4687251"/>
              <a:gd name="connsiteX33994" fmla="*/ 860104 w 8079933"/>
              <a:gd name="connsiteY33994" fmla="*/ 1042970 h 4687251"/>
              <a:gd name="connsiteX33995" fmla="*/ 863033 w 8079933"/>
              <a:gd name="connsiteY33995" fmla="*/ 1044486 h 4687251"/>
              <a:gd name="connsiteX33996" fmla="*/ 859018 w 8079933"/>
              <a:gd name="connsiteY33996" fmla="*/ 1047301 h 4687251"/>
              <a:gd name="connsiteX33997" fmla="*/ 852615 w 8079933"/>
              <a:gd name="connsiteY33997" fmla="*/ 1047951 h 4687251"/>
              <a:gd name="connsiteX33998" fmla="*/ 850554 w 8079933"/>
              <a:gd name="connsiteY33998" fmla="*/ 1053256 h 4687251"/>
              <a:gd name="connsiteX33999" fmla="*/ 846756 w 8079933"/>
              <a:gd name="connsiteY33999" fmla="*/ 1056396 h 4687251"/>
              <a:gd name="connsiteX34000" fmla="*/ 844693 w 8079933"/>
              <a:gd name="connsiteY34000" fmla="*/ 1054664 h 4687251"/>
              <a:gd name="connsiteX34001" fmla="*/ 839593 w 8079933"/>
              <a:gd name="connsiteY34001" fmla="*/ 1054014 h 4687251"/>
              <a:gd name="connsiteX34002" fmla="*/ 839919 w 8079933"/>
              <a:gd name="connsiteY34002" fmla="*/ 1050874 h 4687251"/>
              <a:gd name="connsiteX34003" fmla="*/ 838291 w 8079933"/>
              <a:gd name="connsiteY34003" fmla="*/ 1048060 h 4687251"/>
              <a:gd name="connsiteX34004" fmla="*/ 832322 w 8079933"/>
              <a:gd name="connsiteY34004" fmla="*/ 1053797 h 4687251"/>
              <a:gd name="connsiteX34005" fmla="*/ 831998 w 8079933"/>
              <a:gd name="connsiteY34005" fmla="*/ 1051848 h 4687251"/>
              <a:gd name="connsiteX34006" fmla="*/ 835145 w 8079933"/>
              <a:gd name="connsiteY34006" fmla="*/ 1046219 h 4687251"/>
              <a:gd name="connsiteX34007" fmla="*/ 835253 w 8079933"/>
              <a:gd name="connsiteY34007" fmla="*/ 1042754 h 4687251"/>
              <a:gd name="connsiteX34008" fmla="*/ 831890 w 8079933"/>
              <a:gd name="connsiteY34008" fmla="*/ 1044703 h 4687251"/>
              <a:gd name="connsiteX34009" fmla="*/ 828850 w 8079933"/>
              <a:gd name="connsiteY34009" fmla="*/ 1052607 h 4687251"/>
              <a:gd name="connsiteX34010" fmla="*/ 823860 w 8079933"/>
              <a:gd name="connsiteY34010" fmla="*/ 1059319 h 4687251"/>
              <a:gd name="connsiteX34011" fmla="*/ 820928 w 8079933"/>
              <a:gd name="connsiteY34011" fmla="*/ 1061376 h 4687251"/>
              <a:gd name="connsiteX34012" fmla="*/ 820820 w 8079933"/>
              <a:gd name="connsiteY34012" fmla="*/ 1057587 h 4687251"/>
              <a:gd name="connsiteX34013" fmla="*/ 826463 w 8079933"/>
              <a:gd name="connsiteY34013" fmla="*/ 1051524 h 4687251"/>
              <a:gd name="connsiteX34014" fmla="*/ 824076 w 8079933"/>
              <a:gd name="connsiteY34014" fmla="*/ 1051091 h 4687251"/>
              <a:gd name="connsiteX34015" fmla="*/ 818759 w 8079933"/>
              <a:gd name="connsiteY34015" fmla="*/ 1054664 h 4687251"/>
              <a:gd name="connsiteX34016" fmla="*/ 816696 w 8079933"/>
              <a:gd name="connsiteY34016" fmla="*/ 1063109 h 4687251"/>
              <a:gd name="connsiteX34017" fmla="*/ 813766 w 8079933"/>
              <a:gd name="connsiteY34017" fmla="*/ 1065166 h 4687251"/>
              <a:gd name="connsiteX34018" fmla="*/ 812572 w 8079933"/>
              <a:gd name="connsiteY34018" fmla="*/ 1062351 h 4687251"/>
              <a:gd name="connsiteX34019" fmla="*/ 807364 w 8079933"/>
              <a:gd name="connsiteY34019" fmla="*/ 1062568 h 4687251"/>
              <a:gd name="connsiteX34020" fmla="*/ 800094 w 8079933"/>
              <a:gd name="connsiteY34020" fmla="*/ 1068414 h 4687251"/>
              <a:gd name="connsiteX34021" fmla="*/ 794775 w 8079933"/>
              <a:gd name="connsiteY34021" fmla="*/ 1068631 h 4687251"/>
              <a:gd name="connsiteX34022" fmla="*/ 792714 w 8079933"/>
              <a:gd name="connsiteY34022" fmla="*/ 1065815 h 4687251"/>
              <a:gd name="connsiteX34023" fmla="*/ 794451 w 8079933"/>
              <a:gd name="connsiteY34023" fmla="*/ 1063434 h 4687251"/>
              <a:gd name="connsiteX34024" fmla="*/ 793908 w 8079933"/>
              <a:gd name="connsiteY34024" fmla="*/ 1061052 h 4687251"/>
              <a:gd name="connsiteX34025" fmla="*/ 790653 w 8079933"/>
              <a:gd name="connsiteY34025" fmla="*/ 1064083 h 4687251"/>
              <a:gd name="connsiteX34026" fmla="*/ 790110 w 8079933"/>
              <a:gd name="connsiteY34026" fmla="*/ 1069280 h 4687251"/>
              <a:gd name="connsiteX34027" fmla="*/ 785443 w 8079933"/>
              <a:gd name="connsiteY34027" fmla="*/ 1072745 h 4687251"/>
              <a:gd name="connsiteX34028" fmla="*/ 781862 w 8079933"/>
              <a:gd name="connsiteY34028" fmla="*/ 1074369 h 4687251"/>
              <a:gd name="connsiteX34029" fmla="*/ 780997 w 8079933"/>
              <a:gd name="connsiteY34029" fmla="*/ 1077184 h 4687251"/>
              <a:gd name="connsiteX34030" fmla="*/ 778065 w 8079933"/>
              <a:gd name="connsiteY34030" fmla="*/ 1079025 h 4687251"/>
              <a:gd name="connsiteX34031" fmla="*/ 778282 w 8079933"/>
              <a:gd name="connsiteY34031" fmla="*/ 1075127 h 4687251"/>
              <a:gd name="connsiteX34032" fmla="*/ 774809 w 8079933"/>
              <a:gd name="connsiteY34032" fmla="*/ 1074911 h 4687251"/>
              <a:gd name="connsiteX34033" fmla="*/ 773072 w 8079933"/>
              <a:gd name="connsiteY34033" fmla="*/ 1080324 h 4687251"/>
              <a:gd name="connsiteX34034" fmla="*/ 770468 w 8079933"/>
              <a:gd name="connsiteY34034" fmla="*/ 1077509 h 4687251"/>
              <a:gd name="connsiteX34035" fmla="*/ 768299 w 8079933"/>
              <a:gd name="connsiteY34035" fmla="*/ 1080757 h 4687251"/>
              <a:gd name="connsiteX34036" fmla="*/ 766237 w 8079933"/>
              <a:gd name="connsiteY34036" fmla="*/ 1081840 h 4687251"/>
              <a:gd name="connsiteX34037" fmla="*/ 759617 w 8079933"/>
              <a:gd name="connsiteY34037" fmla="*/ 1074586 h 4687251"/>
              <a:gd name="connsiteX34038" fmla="*/ 759401 w 8079933"/>
              <a:gd name="connsiteY34038" fmla="*/ 1068739 h 4687251"/>
              <a:gd name="connsiteX34039" fmla="*/ 763197 w 8079933"/>
              <a:gd name="connsiteY34039" fmla="*/ 1067873 h 4687251"/>
              <a:gd name="connsiteX34040" fmla="*/ 766345 w 8079933"/>
              <a:gd name="connsiteY34040" fmla="*/ 1068739 h 4687251"/>
              <a:gd name="connsiteX34041" fmla="*/ 766345 w 8079933"/>
              <a:gd name="connsiteY34041" fmla="*/ 1064625 h 4687251"/>
              <a:gd name="connsiteX34042" fmla="*/ 769927 w 8079933"/>
              <a:gd name="connsiteY34042" fmla="*/ 1063217 h 4687251"/>
              <a:gd name="connsiteX34043" fmla="*/ 773615 w 8079933"/>
              <a:gd name="connsiteY34043" fmla="*/ 1063109 h 4687251"/>
              <a:gd name="connsiteX34044" fmla="*/ 778065 w 8079933"/>
              <a:gd name="connsiteY34044" fmla="*/ 1065166 h 4687251"/>
              <a:gd name="connsiteX34045" fmla="*/ 780343 w 8079933"/>
              <a:gd name="connsiteY34045" fmla="*/ 1060835 h 4687251"/>
              <a:gd name="connsiteX34046" fmla="*/ 784033 w 8079933"/>
              <a:gd name="connsiteY34046" fmla="*/ 1060727 h 4687251"/>
              <a:gd name="connsiteX34047" fmla="*/ 792388 w 8079933"/>
              <a:gd name="connsiteY34047" fmla="*/ 1054122 h 4687251"/>
              <a:gd name="connsiteX34048" fmla="*/ 792388 w 8079933"/>
              <a:gd name="connsiteY34048" fmla="*/ 1051524 h 4687251"/>
              <a:gd name="connsiteX34049" fmla="*/ 788808 w 8079933"/>
              <a:gd name="connsiteY34049" fmla="*/ 1050874 h 4687251"/>
              <a:gd name="connsiteX34050" fmla="*/ 784468 w 8079933"/>
              <a:gd name="connsiteY34050" fmla="*/ 1053797 h 4687251"/>
              <a:gd name="connsiteX34051" fmla="*/ 781972 w 8079933"/>
              <a:gd name="connsiteY34051" fmla="*/ 1054014 h 4687251"/>
              <a:gd name="connsiteX34052" fmla="*/ 779475 w 8079933"/>
              <a:gd name="connsiteY34052" fmla="*/ 1057695 h 4687251"/>
              <a:gd name="connsiteX34053" fmla="*/ 774809 w 8079933"/>
              <a:gd name="connsiteY34053" fmla="*/ 1051091 h 4687251"/>
              <a:gd name="connsiteX34054" fmla="*/ 774266 w 8079933"/>
              <a:gd name="connsiteY34054" fmla="*/ 1047626 h 4687251"/>
              <a:gd name="connsiteX34055" fmla="*/ 777849 w 8079933"/>
              <a:gd name="connsiteY34055" fmla="*/ 1042754 h 4687251"/>
              <a:gd name="connsiteX34056" fmla="*/ 791628 w 8079933"/>
              <a:gd name="connsiteY34056" fmla="*/ 1030952 h 4687251"/>
              <a:gd name="connsiteX34057" fmla="*/ 793908 w 8079933"/>
              <a:gd name="connsiteY34057" fmla="*/ 1024348 h 4687251"/>
              <a:gd name="connsiteX34058" fmla="*/ 799441 w 8079933"/>
              <a:gd name="connsiteY34058" fmla="*/ 1021100 h 4687251"/>
              <a:gd name="connsiteX34059" fmla="*/ 803240 w 8079933"/>
              <a:gd name="connsiteY34059" fmla="*/ 1013738 h 4687251"/>
              <a:gd name="connsiteX34060" fmla="*/ 802373 w 8079933"/>
              <a:gd name="connsiteY34060" fmla="*/ 1011356 h 4687251"/>
              <a:gd name="connsiteX34061" fmla="*/ 802697 w 8079933"/>
              <a:gd name="connsiteY34061" fmla="*/ 1006700 h 4687251"/>
              <a:gd name="connsiteX34062" fmla="*/ 807582 w 8079933"/>
              <a:gd name="connsiteY34062" fmla="*/ 1002261 h 4687251"/>
              <a:gd name="connsiteX34063" fmla="*/ 813875 w 8079933"/>
              <a:gd name="connsiteY34063" fmla="*/ 1002261 h 4687251"/>
              <a:gd name="connsiteX34064" fmla="*/ 820820 w 8079933"/>
              <a:gd name="connsiteY34064" fmla="*/ 997389 h 4687251"/>
              <a:gd name="connsiteX34065" fmla="*/ 824619 w 8079933"/>
              <a:gd name="connsiteY34065" fmla="*/ 997063 h 4687251"/>
              <a:gd name="connsiteX34066" fmla="*/ 832215 w 8079933"/>
              <a:gd name="connsiteY34066" fmla="*/ 993599 h 4687251"/>
              <a:gd name="connsiteX34067" fmla="*/ 833408 w 8079933"/>
              <a:gd name="connsiteY34067" fmla="*/ 999662 h 4687251"/>
              <a:gd name="connsiteX34068" fmla="*/ 838185 w 8079933"/>
              <a:gd name="connsiteY34068" fmla="*/ 1002910 h 4687251"/>
              <a:gd name="connsiteX34069" fmla="*/ 841764 w 8079933"/>
              <a:gd name="connsiteY34069" fmla="*/ 1002910 h 4687251"/>
              <a:gd name="connsiteX34070" fmla="*/ 844043 w 8079933"/>
              <a:gd name="connsiteY34070" fmla="*/ 1001828 h 4687251"/>
              <a:gd name="connsiteX34071" fmla="*/ 847841 w 8079933"/>
              <a:gd name="connsiteY34071" fmla="*/ 1002261 h 4687251"/>
              <a:gd name="connsiteX34072" fmla="*/ 852834 w 8079933"/>
              <a:gd name="connsiteY34072" fmla="*/ 1006050 h 4687251"/>
              <a:gd name="connsiteX34073" fmla="*/ 851421 w 8079933"/>
              <a:gd name="connsiteY34073" fmla="*/ 1000637 h 4687251"/>
              <a:gd name="connsiteX34074" fmla="*/ 846322 w 8079933"/>
              <a:gd name="connsiteY34074" fmla="*/ 993166 h 4687251"/>
              <a:gd name="connsiteX34075" fmla="*/ 847190 w 8079933"/>
              <a:gd name="connsiteY34075" fmla="*/ 988943 h 4687251"/>
              <a:gd name="connsiteX34076" fmla="*/ 857500 w 8079933"/>
              <a:gd name="connsiteY34076" fmla="*/ 978333 h 4687251"/>
              <a:gd name="connsiteX34077" fmla="*/ 863141 w 8079933"/>
              <a:gd name="connsiteY34077" fmla="*/ 977792 h 4687251"/>
              <a:gd name="connsiteX34078" fmla="*/ 870630 w 8079933"/>
              <a:gd name="connsiteY34078" fmla="*/ 973353 h 4687251"/>
              <a:gd name="connsiteX34079" fmla="*/ 872473 w 8079933"/>
              <a:gd name="connsiteY34079" fmla="*/ 968372 h 4687251"/>
              <a:gd name="connsiteX34080" fmla="*/ 869328 w 8079933"/>
              <a:gd name="connsiteY34080" fmla="*/ 971837 h 4687251"/>
              <a:gd name="connsiteX34081" fmla="*/ 859561 w 8079933"/>
              <a:gd name="connsiteY34081" fmla="*/ 974760 h 4687251"/>
              <a:gd name="connsiteX34082" fmla="*/ 854895 w 8079933"/>
              <a:gd name="connsiteY34082" fmla="*/ 976492 h 4687251"/>
              <a:gd name="connsiteX34083" fmla="*/ 848927 w 8079933"/>
              <a:gd name="connsiteY34083" fmla="*/ 982989 h 4687251"/>
              <a:gd name="connsiteX34084" fmla="*/ 847515 w 8079933"/>
              <a:gd name="connsiteY34084" fmla="*/ 981256 h 4687251"/>
              <a:gd name="connsiteX34085" fmla="*/ 843934 w 8079933"/>
              <a:gd name="connsiteY34085" fmla="*/ 980606 h 4687251"/>
              <a:gd name="connsiteX34086" fmla="*/ 841438 w 8079933"/>
              <a:gd name="connsiteY34086" fmla="*/ 979199 h 4687251"/>
              <a:gd name="connsiteX34087" fmla="*/ 841113 w 8079933"/>
              <a:gd name="connsiteY34087" fmla="*/ 973894 h 4687251"/>
              <a:gd name="connsiteX34088" fmla="*/ 843934 w 8079933"/>
              <a:gd name="connsiteY34088" fmla="*/ 967722 h 4687251"/>
              <a:gd name="connsiteX34089" fmla="*/ 835796 w 8079933"/>
              <a:gd name="connsiteY34089" fmla="*/ 977792 h 4687251"/>
              <a:gd name="connsiteX34090" fmla="*/ 828526 w 8079933"/>
              <a:gd name="connsiteY34090" fmla="*/ 978549 h 4687251"/>
              <a:gd name="connsiteX34091" fmla="*/ 818759 w 8079933"/>
              <a:gd name="connsiteY34091" fmla="*/ 987320 h 4687251"/>
              <a:gd name="connsiteX34092" fmla="*/ 810294 w 8079933"/>
              <a:gd name="connsiteY34092" fmla="*/ 988077 h 4687251"/>
              <a:gd name="connsiteX34093" fmla="*/ 800094 w 8079933"/>
              <a:gd name="connsiteY34093" fmla="*/ 995656 h 4687251"/>
              <a:gd name="connsiteX34094" fmla="*/ 800094 w 8079933"/>
              <a:gd name="connsiteY34094" fmla="*/ 998471 h 4687251"/>
              <a:gd name="connsiteX34095" fmla="*/ 798031 w 8079933"/>
              <a:gd name="connsiteY34095" fmla="*/ 1000637 h 4687251"/>
              <a:gd name="connsiteX34096" fmla="*/ 793041 w 8079933"/>
              <a:gd name="connsiteY34096" fmla="*/ 1001069 h 4687251"/>
              <a:gd name="connsiteX34097" fmla="*/ 787181 w 8079933"/>
              <a:gd name="connsiteY34097" fmla="*/ 1006050 h 4687251"/>
              <a:gd name="connsiteX34098" fmla="*/ 776328 w 8079933"/>
              <a:gd name="connsiteY34098" fmla="*/ 1011463 h 4687251"/>
              <a:gd name="connsiteX34099" fmla="*/ 776545 w 8079933"/>
              <a:gd name="connsiteY34099" fmla="*/ 1014279 h 4687251"/>
              <a:gd name="connsiteX34100" fmla="*/ 771878 w 8079933"/>
              <a:gd name="connsiteY34100" fmla="*/ 1018610 h 4687251"/>
              <a:gd name="connsiteX34101" fmla="*/ 765477 w 8079933"/>
              <a:gd name="connsiteY34101" fmla="*/ 1019042 h 4687251"/>
              <a:gd name="connsiteX34102" fmla="*/ 762004 w 8079933"/>
              <a:gd name="connsiteY34102" fmla="*/ 1016011 h 4687251"/>
              <a:gd name="connsiteX34103" fmla="*/ 756035 w 8079933"/>
              <a:gd name="connsiteY34103" fmla="*/ 1016552 h 4687251"/>
              <a:gd name="connsiteX34104" fmla="*/ 752780 w 8079933"/>
              <a:gd name="connsiteY34104" fmla="*/ 1019042 h 4687251"/>
              <a:gd name="connsiteX34105" fmla="*/ 752780 w 8079933"/>
              <a:gd name="connsiteY34105" fmla="*/ 1020234 h 4687251"/>
              <a:gd name="connsiteX34106" fmla="*/ 755387 w 8079933"/>
              <a:gd name="connsiteY34106" fmla="*/ 1018177 h 4687251"/>
              <a:gd name="connsiteX34107" fmla="*/ 758099 w 8079933"/>
              <a:gd name="connsiteY34107" fmla="*/ 1017852 h 4687251"/>
              <a:gd name="connsiteX34108" fmla="*/ 764934 w 8079933"/>
              <a:gd name="connsiteY34108" fmla="*/ 1022507 h 4687251"/>
              <a:gd name="connsiteX34109" fmla="*/ 766888 w 8079933"/>
              <a:gd name="connsiteY34109" fmla="*/ 1027813 h 4687251"/>
              <a:gd name="connsiteX34110" fmla="*/ 765151 w 8079933"/>
              <a:gd name="connsiteY34110" fmla="*/ 1034201 h 4687251"/>
              <a:gd name="connsiteX34111" fmla="*/ 756905 w 8079933"/>
              <a:gd name="connsiteY34111" fmla="*/ 1036799 h 4687251"/>
              <a:gd name="connsiteX34112" fmla="*/ 752347 w 8079933"/>
              <a:gd name="connsiteY34112" fmla="*/ 1035067 h 4687251"/>
              <a:gd name="connsiteX34113" fmla="*/ 749958 w 8079933"/>
              <a:gd name="connsiteY34113" fmla="*/ 1035933 h 4687251"/>
              <a:gd name="connsiteX34114" fmla="*/ 750829 w 8079933"/>
              <a:gd name="connsiteY34114" fmla="*/ 1038315 h 4687251"/>
              <a:gd name="connsiteX34115" fmla="*/ 753215 w 8079933"/>
              <a:gd name="connsiteY34115" fmla="*/ 1039181 h 4687251"/>
              <a:gd name="connsiteX34116" fmla="*/ 754625 w 8079933"/>
              <a:gd name="connsiteY34116" fmla="*/ 1041238 h 4687251"/>
              <a:gd name="connsiteX34117" fmla="*/ 749417 w 8079933"/>
              <a:gd name="connsiteY34117" fmla="*/ 1046760 h 4687251"/>
              <a:gd name="connsiteX34118" fmla="*/ 746704 w 8079933"/>
              <a:gd name="connsiteY34118" fmla="*/ 1047085 h 4687251"/>
              <a:gd name="connsiteX34119" fmla="*/ 745509 w 8079933"/>
              <a:gd name="connsiteY34119" fmla="*/ 1044486 h 4687251"/>
              <a:gd name="connsiteX34120" fmla="*/ 746161 w 8079933"/>
              <a:gd name="connsiteY34120" fmla="*/ 1041130 h 4687251"/>
              <a:gd name="connsiteX34121" fmla="*/ 740300 w 8079933"/>
              <a:gd name="connsiteY34121" fmla="*/ 1044378 h 4687251"/>
              <a:gd name="connsiteX34122" fmla="*/ 736069 w 8079933"/>
              <a:gd name="connsiteY34122" fmla="*/ 1040589 h 4687251"/>
              <a:gd name="connsiteX34123" fmla="*/ 729992 w 8079933"/>
              <a:gd name="connsiteY34123" fmla="*/ 1044811 h 4687251"/>
              <a:gd name="connsiteX34124" fmla="*/ 725216 w 8079933"/>
              <a:gd name="connsiteY34124" fmla="*/ 1043836 h 4687251"/>
              <a:gd name="connsiteX34125" fmla="*/ 722612 w 8079933"/>
              <a:gd name="connsiteY34125" fmla="*/ 1045677 h 4687251"/>
              <a:gd name="connsiteX34126" fmla="*/ 723808 w 8079933"/>
              <a:gd name="connsiteY34126" fmla="*/ 1046219 h 4687251"/>
              <a:gd name="connsiteX34127" fmla="*/ 722612 w 8079933"/>
              <a:gd name="connsiteY34127" fmla="*/ 1049142 h 4687251"/>
              <a:gd name="connsiteX34128" fmla="*/ 719356 w 8079933"/>
              <a:gd name="connsiteY34128" fmla="*/ 1049791 h 4687251"/>
              <a:gd name="connsiteX34129" fmla="*/ 718056 w 8079933"/>
              <a:gd name="connsiteY34129" fmla="*/ 1052282 h 4687251"/>
              <a:gd name="connsiteX34130" fmla="*/ 711761 w 8079933"/>
              <a:gd name="connsiteY34130" fmla="*/ 1054772 h 4687251"/>
              <a:gd name="connsiteX34131" fmla="*/ 712086 w 8079933"/>
              <a:gd name="connsiteY34131" fmla="*/ 1059319 h 4687251"/>
              <a:gd name="connsiteX34132" fmla="*/ 711110 w 8079933"/>
              <a:gd name="connsiteY34132" fmla="*/ 1063758 h 4687251"/>
              <a:gd name="connsiteX34133" fmla="*/ 717403 w 8079933"/>
              <a:gd name="connsiteY34133" fmla="*/ 1063542 h 4687251"/>
              <a:gd name="connsiteX34134" fmla="*/ 719791 w 8079933"/>
              <a:gd name="connsiteY34134" fmla="*/ 1065166 h 4687251"/>
              <a:gd name="connsiteX34135" fmla="*/ 721528 w 8079933"/>
              <a:gd name="connsiteY34135" fmla="*/ 1070363 h 4687251"/>
              <a:gd name="connsiteX34136" fmla="*/ 722938 w 8079933"/>
              <a:gd name="connsiteY34136" fmla="*/ 1070363 h 4687251"/>
              <a:gd name="connsiteX34137" fmla="*/ 724783 w 8079933"/>
              <a:gd name="connsiteY34137" fmla="*/ 1071987 h 4687251"/>
              <a:gd name="connsiteX34138" fmla="*/ 724783 w 8079933"/>
              <a:gd name="connsiteY34138" fmla="*/ 1079025 h 4687251"/>
              <a:gd name="connsiteX34139" fmla="*/ 719140 w 8079933"/>
              <a:gd name="connsiteY34139" fmla="*/ 1084438 h 4687251"/>
              <a:gd name="connsiteX34140" fmla="*/ 715668 w 8079933"/>
              <a:gd name="connsiteY34140" fmla="*/ 1085088 h 4687251"/>
              <a:gd name="connsiteX34141" fmla="*/ 710894 w 8079933"/>
              <a:gd name="connsiteY34141" fmla="*/ 1088986 h 4687251"/>
              <a:gd name="connsiteX34142" fmla="*/ 705141 w 8079933"/>
              <a:gd name="connsiteY34142" fmla="*/ 1088986 h 4687251"/>
              <a:gd name="connsiteX34143" fmla="*/ 700149 w 8079933"/>
              <a:gd name="connsiteY34143" fmla="*/ 1094074 h 4687251"/>
              <a:gd name="connsiteX34144" fmla="*/ 695918 w 8079933"/>
              <a:gd name="connsiteY34144" fmla="*/ 1092450 h 4687251"/>
              <a:gd name="connsiteX34145" fmla="*/ 693421 w 8079933"/>
              <a:gd name="connsiteY34145" fmla="*/ 1093641 h 4687251"/>
              <a:gd name="connsiteX34146" fmla="*/ 696243 w 8079933"/>
              <a:gd name="connsiteY34146" fmla="*/ 1095049 h 4687251"/>
              <a:gd name="connsiteX34147" fmla="*/ 697979 w 8079933"/>
              <a:gd name="connsiteY34147" fmla="*/ 1097755 h 4687251"/>
              <a:gd name="connsiteX34148" fmla="*/ 697112 w 8079933"/>
              <a:gd name="connsiteY34148" fmla="*/ 1099163 h 4687251"/>
              <a:gd name="connsiteX34149" fmla="*/ 695374 w 8079933"/>
              <a:gd name="connsiteY34149" fmla="*/ 1097755 h 4687251"/>
              <a:gd name="connsiteX34150" fmla="*/ 692987 w 8079933"/>
              <a:gd name="connsiteY34150" fmla="*/ 1097755 h 4687251"/>
              <a:gd name="connsiteX34151" fmla="*/ 688321 w 8079933"/>
              <a:gd name="connsiteY34151" fmla="*/ 1101545 h 4687251"/>
              <a:gd name="connsiteX34152" fmla="*/ 686802 w 8079933"/>
              <a:gd name="connsiteY34152" fmla="*/ 1105009 h 4687251"/>
              <a:gd name="connsiteX34153" fmla="*/ 689190 w 8079933"/>
              <a:gd name="connsiteY34153" fmla="*/ 1104035 h 4687251"/>
              <a:gd name="connsiteX34154" fmla="*/ 691252 w 8079933"/>
              <a:gd name="connsiteY34154" fmla="*/ 1104035 h 4687251"/>
              <a:gd name="connsiteX34155" fmla="*/ 688973 w 8079933"/>
              <a:gd name="connsiteY34155" fmla="*/ 1110639 h 4687251"/>
              <a:gd name="connsiteX34156" fmla="*/ 687237 w 8079933"/>
              <a:gd name="connsiteY34156" fmla="*/ 1111939 h 4687251"/>
              <a:gd name="connsiteX34157" fmla="*/ 685176 w 8079933"/>
              <a:gd name="connsiteY34157" fmla="*/ 1109990 h 4687251"/>
              <a:gd name="connsiteX34158" fmla="*/ 682787 w 8079933"/>
              <a:gd name="connsiteY34158" fmla="*/ 1112047 h 4687251"/>
              <a:gd name="connsiteX34159" fmla="*/ 681050 w 8079933"/>
              <a:gd name="connsiteY34159" fmla="*/ 1112264 h 4687251"/>
              <a:gd name="connsiteX34160" fmla="*/ 680726 w 8079933"/>
              <a:gd name="connsiteY34160" fmla="*/ 1109882 h 4687251"/>
              <a:gd name="connsiteX34161" fmla="*/ 678664 w 8079933"/>
              <a:gd name="connsiteY34161" fmla="*/ 1109990 h 4687251"/>
              <a:gd name="connsiteX34162" fmla="*/ 677252 w 8079933"/>
              <a:gd name="connsiteY34162" fmla="*/ 1114104 h 4687251"/>
              <a:gd name="connsiteX34163" fmla="*/ 670415 w 8079933"/>
              <a:gd name="connsiteY34163" fmla="*/ 1113455 h 4687251"/>
              <a:gd name="connsiteX34164" fmla="*/ 669222 w 8079933"/>
              <a:gd name="connsiteY34164" fmla="*/ 1112264 h 4687251"/>
              <a:gd name="connsiteX34165" fmla="*/ 667811 w 8079933"/>
              <a:gd name="connsiteY34165" fmla="*/ 1114104 h 4687251"/>
              <a:gd name="connsiteX34166" fmla="*/ 663689 w 8079933"/>
              <a:gd name="connsiteY34166" fmla="*/ 1115187 h 4687251"/>
              <a:gd name="connsiteX34167" fmla="*/ 663796 w 8079933"/>
              <a:gd name="connsiteY34167" fmla="*/ 1118110 h 4687251"/>
              <a:gd name="connsiteX34168" fmla="*/ 661951 w 8079933"/>
              <a:gd name="connsiteY34168" fmla="*/ 1119626 h 4687251"/>
              <a:gd name="connsiteX34169" fmla="*/ 657937 w 8079933"/>
              <a:gd name="connsiteY34169" fmla="*/ 1119626 h 4687251"/>
              <a:gd name="connsiteX34170" fmla="*/ 656742 w 8079933"/>
              <a:gd name="connsiteY34170" fmla="*/ 1123090 h 4687251"/>
              <a:gd name="connsiteX34171" fmla="*/ 654681 w 8079933"/>
              <a:gd name="connsiteY34171" fmla="*/ 1121900 h 4687251"/>
              <a:gd name="connsiteX34172" fmla="*/ 653163 w 8079933"/>
              <a:gd name="connsiteY34172" fmla="*/ 1119084 h 4687251"/>
              <a:gd name="connsiteX34173" fmla="*/ 649907 w 8079933"/>
              <a:gd name="connsiteY34173" fmla="*/ 1119626 h 4687251"/>
              <a:gd name="connsiteX34174" fmla="*/ 648280 w 8079933"/>
              <a:gd name="connsiteY34174" fmla="*/ 1121900 h 4687251"/>
              <a:gd name="connsiteX34175" fmla="*/ 645568 w 8079933"/>
              <a:gd name="connsiteY34175" fmla="*/ 1122874 h 4687251"/>
              <a:gd name="connsiteX34176" fmla="*/ 644155 w 8079933"/>
              <a:gd name="connsiteY34176" fmla="*/ 1126555 h 4687251"/>
              <a:gd name="connsiteX34177" fmla="*/ 639924 w 8079933"/>
              <a:gd name="connsiteY34177" fmla="*/ 1128396 h 4687251"/>
              <a:gd name="connsiteX34178" fmla="*/ 634930 w 8079933"/>
              <a:gd name="connsiteY34178" fmla="*/ 1133593 h 4687251"/>
              <a:gd name="connsiteX34179" fmla="*/ 633304 w 8079933"/>
              <a:gd name="connsiteY34179" fmla="*/ 1131861 h 4687251"/>
              <a:gd name="connsiteX34180" fmla="*/ 631568 w 8079933"/>
              <a:gd name="connsiteY34180" fmla="*/ 1131427 h 4687251"/>
              <a:gd name="connsiteX34181" fmla="*/ 628203 w 8079933"/>
              <a:gd name="connsiteY34181" fmla="*/ 1135434 h 4687251"/>
              <a:gd name="connsiteX34182" fmla="*/ 623861 w 8079933"/>
              <a:gd name="connsiteY34182" fmla="*/ 1137057 h 4687251"/>
              <a:gd name="connsiteX34183" fmla="*/ 617351 w 8079933"/>
              <a:gd name="connsiteY34183" fmla="*/ 1141822 h 4687251"/>
              <a:gd name="connsiteX34184" fmla="*/ 618220 w 8079933"/>
              <a:gd name="connsiteY34184" fmla="*/ 1142471 h 4687251"/>
              <a:gd name="connsiteX34185" fmla="*/ 621476 w 8079933"/>
              <a:gd name="connsiteY34185" fmla="*/ 1142363 h 4687251"/>
              <a:gd name="connsiteX34186" fmla="*/ 622886 w 8079933"/>
              <a:gd name="connsiteY34186" fmla="*/ 1142471 h 4687251"/>
              <a:gd name="connsiteX34187" fmla="*/ 622670 w 8079933"/>
              <a:gd name="connsiteY34187" fmla="*/ 1146261 h 4687251"/>
              <a:gd name="connsiteX34188" fmla="*/ 617677 w 8079933"/>
              <a:gd name="connsiteY34188" fmla="*/ 1152324 h 4687251"/>
              <a:gd name="connsiteX34189" fmla="*/ 613662 w 8079933"/>
              <a:gd name="connsiteY34189" fmla="*/ 1153190 h 4687251"/>
              <a:gd name="connsiteX34190" fmla="*/ 611491 w 8079933"/>
              <a:gd name="connsiteY34190" fmla="*/ 1150700 h 4687251"/>
              <a:gd name="connsiteX34191" fmla="*/ 609864 w 8079933"/>
              <a:gd name="connsiteY34191" fmla="*/ 1151782 h 4687251"/>
              <a:gd name="connsiteX34192" fmla="*/ 607367 w 8079933"/>
              <a:gd name="connsiteY34192" fmla="*/ 1155788 h 4687251"/>
              <a:gd name="connsiteX34193" fmla="*/ 603895 w 8079933"/>
              <a:gd name="connsiteY34193" fmla="*/ 1155572 h 4687251"/>
              <a:gd name="connsiteX34194" fmla="*/ 601834 w 8079933"/>
              <a:gd name="connsiteY34194" fmla="*/ 1159037 h 4687251"/>
              <a:gd name="connsiteX34195" fmla="*/ 595974 w 8079933"/>
              <a:gd name="connsiteY34195" fmla="*/ 1162718 h 4687251"/>
              <a:gd name="connsiteX34196" fmla="*/ 593586 w 8079933"/>
              <a:gd name="connsiteY34196" fmla="*/ 1161094 h 4687251"/>
              <a:gd name="connsiteX34197" fmla="*/ 593586 w 8079933"/>
              <a:gd name="connsiteY34197" fmla="*/ 1157954 h 4687251"/>
              <a:gd name="connsiteX34198" fmla="*/ 591851 w 8079933"/>
              <a:gd name="connsiteY34198" fmla="*/ 1155897 h 4687251"/>
              <a:gd name="connsiteX34199" fmla="*/ 589898 w 8079933"/>
              <a:gd name="connsiteY34199" fmla="*/ 1157629 h 4687251"/>
              <a:gd name="connsiteX34200" fmla="*/ 589787 w 8079933"/>
              <a:gd name="connsiteY34200" fmla="*/ 1161743 h 4687251"/>
              <a:gd name="connsiteX34201" fmla="*/ 586315 w 8079933"/>
              <a:gd name="connsiteY34201" fmla="*/ 1164559 h 4687251"/>
              <a:gd name="connsiteX34202" fmla="*/ 587183 w 8079933"/>
              <a:gd name="connsiteY34202" fmla="*/ 1166074 h 4687251"/>
              <a:gd name="connsiteX34203" fmla="*/ 585448 w 8079933"/>
              <a:gd name="connsiteY34203" fmla="*/ 1169106 h 4687251"/>
              <a:gd name="connsiteX34204" fmla="*/ 583168 w 8079933"/>
              <a:gd name="connsiteY34204" fmla="*/ 1169106 h 4687251"/>
              <a:gd name="connsiteX34205" fmla="*/ 581976 w 8079933"/>
              <a:gd name="connsiteY34205" fmla="*/ 1165208 h 4687251"/>
              <a:gd name="connsiteX34206" fmla="*/ 579588 w 8079933"/>
              <a:gd name="connsiteY34206" fmla="*/ 1164991 h 4687251"/>
              <a:gd name="connsiteX34207" fmla="*/ 576657 w 8079933"/>
              <a:gd name="connsiteY34207" fmla="*/ 1167049 h 4687251"/>
              <a:gd name="connsiteX34208" fmla="*/ 573076 w 8079933"/>
              <a:gd name="connsiteY34208" fmla="*/ 1167806 h 4687251"/>
              <a:gd name="connsiteX34209" fmla="*/ 570799 w 8079933"/>
              <a:gd name="connsiteY34209" fmla="*/ 1169106 h 4687251"/>
              <a:gd name="connsiteX34210" fmla="*/ 572642 w 8079933"/>
              <a:gd name="connsiteY34210" fmla="*/ 1169647 h 4687251"/>
              <a:gd name="connsiteX34211" fmla="*/ 573184 w 8079933"/>
              <a:gd name="connsiteY34211" fmla="*/ 1172787 h 4687251"/>
              <a:gd name="connsiteX34212" fmla="*/ 571015 w 8079933"/>
              <a:gd name="connsiteY34212" fmla="*/ 1174844 h 4687251"/>
              <a:gd name="connsiteX34213" fmla="*/ 561683 w 8079933"/>
              <a:gd name="connsiteY34213" fmla="*/ 1175169 h 4687251"/>
              <a:gd name="connsiteX34214" fmla="*/ 554303 w 8079933"/>
              <a:gd name="connsiteY34214" fmla="*/ 1179067 h 4687251"/>
              <a:gd name="connsiteX34215" fmla="*/ 548334 w 8079933"/>
              <a:gd name="connsiteY34215" fmla="*/ 1180691 h 4687251"/>
              <a:gd name="connsiteX34216" fmla="*/ 549855 w 8079933"/>
              <a:gd name="connsiteY34216" fmla="*/ 1182098 h 4687251"/>
              <a:gd name="connsiteX34217" fmla="*/ 557233 w 8079933"/>
              <a:gd name="connsiteY34217" fmla="*/ 1182206 h 4687251"/>
              <a:gd name="connsiteX34218" fmla="*/ 557450 w 8079933"/>
              <a:gd name="connsiteY34218" fmla="*/ 1184263 h 4687251"/>
              <a:gd name="connsiteX34219" fmla="*/ 553762 w 8079933"/>
              <a:gd name="connsiteY34219" fmla="*/ 1186971 h 4687251"/>
              <a:gd name="connsiteX34220" fmla="*/ 555605 w 8079933"/>
              <a:gd name="connsiteY34220" fmla="*/ 1188053 h 4687251"/>
              <a:gd name="connsiteX34221" fmla="*/ 551916 w 8079933"/>
              <a:gd name="connsiteY34221" fmla="*/ 1192059 h 4687251"/>
              <a:gd name="connsiteX34222" fmla="*/ 549312 w 8079933"/>
              <a:gd name="connsiteY34222" fmla="*/ 1193250 h 4687251"/>
              <a:gd name="connsiteX34223" fmla="*/ 549096 w 8079933"/>
              <a:gd name="connsiteY34223" fmla="*/ 1189028 h 4687251"/>
              <a:gd name="connsiteX34224" fmla="*/ 549855 w 8079933"/>
              <a:gd name="connsiteY34224" fmla="*/ 1185779 h 4687251"/>
              <a:gd name="connsiteX34225" fmla="*/ 548988 w 8079933"/>
              <a:gd name="connsiteY34225" fmla="*/ 1184372 h 4687251"/>
              <a:gd name="connsiteX34226" fmla="*/ 546273 w 8079933"/>
              <a:gd name="connsiteY34226" fmla="*/ 1186646 h 4687251"/>
              <a:gd name="connsiteX34227" fmla="*/ 543887 w 8079933"/>
              <a:gd name="connsiteY34227" fmla="*/ 1192059 h 4687251"/>
              <a:gd name="connsiteX34228" fmla="*/ 542801 w 8079933"/>
              <a:gd name="connsiteY34228" fmla="*/ 1190760 h 4687251"/>
              <a:gd name="connsiteX34229" fmla="*/ 541282 w 8079933"/>
              <a:gd name="connsiteY34229" fmla="*/ 1191193 h 4687251"/>
              <a:gd name="connsiteX34230" fmla="*/ 537049 w 8079933"/>
              <a:gd name="connsiteY34230" fmla="*/ 1196281 h 4687251"/>
              <a:gd name="connsiteX34231" fmla="*/ 532166 w 8079933"/>
              <a:gd name="connsiteY34231" fmla="*/ 1196499 h 4687251"/>
              <a:gd name="connsiteX34232" fmla="*/ 528803 w 8079933"/>
              <a:gd name="connsiteY34232" fmla="*/ 1195632 h 4687251"/>
              <a:gd name="connsiteX34233" fmla="*/ 525871 w 8079933"/>
              <a:gd name="connsiteY34233" fmla="*/ 1197364 h 4687251"/>
              <a:gd name="connsiteX34234" fmla="*/ 523267 w 8079933"/>
              <a:gd name="connsiteY34234" fmla="*/ 1194441 h 4687251"/>
              <a:gd name="connsiteX34235" fmla="*/ 522507 w 8079933"/>
              <a:gd name="connsiteY34235" fmla="*/ 1195957 h 4687251"/>
              <a:gd name="connsiteX34236" fmla="*/ 522183 w 8079933"/>
              <a:gd name="connsiteY34236" fmla="*/ 1203211 h 4687251"/>
              <a:gd name="connsiteX34237" fmla="*/ 515672 w 8079933"/>
              <a:gd name="connsiteY34237" fmla="*/ 1210032 h 4687251"/>
              <a:gd name="connsiteX34238" fmla="*/ 513393 w 8079933"/>
              <a:gd name="connsiteY34238" fmla="*/ 1209924 h 4687251"/>
              <a:gd name="connsiteX34239" fmla="*/ 513284 w 8079933"/>
              <a:gd name="connsiteY34239" fmla="*/ 1207975 h 4687251"/>
              <a:gd name="connsiteX34240" fmla="*/ 516215 w 8079933"/>
              <a:gd name="connsiteY34240" fmla="*/ 1202886 h 4687251"/>
              <a:gd name="connsiteX34241" fmla="*/ 519471 w 8079933"/>
              <a:gd name="connsiteY34241" fmla="*/ 1198555 h 4687251"/>
              <a:gd name="connsiteX34242" fmla="*/ 519471 w 8079933"/>
              <a:gd name="connsiteY34242" fmla="*/ 1195740 h 4687251"/>
              <a:gd name="connsiteX34243" fmla="*/ 516323 w 8079933"/>
              <a:gd name="connsiteY34243" fmla="*/ 1194550 h 4687251"/>
              <a:gd name="connsiteX34244" fmla="*/ 512089 w 8079933"/>
              <a:gd name="connsiteY34244" fmla="*/ 1197040 h 4687251"/>
              <a:gd name="connsiteX34245" fmla="*/ 507532 w 8079933"/>
              <a:gd name="connsiteY34245" fmla="*/ 1203536 h 4687251"/>
              <a:gd name="connsiteX34246" fmla="*/ 503409 w 8079933"/>
              <a:gd name="connsiteY34246" fmla="*/ 1203536 h 4687251"/>
              <a:gd name="connsiteX34247" fmla="*/ 499829 w 8079933"/>
              <a:gd name="connsiteY34247" fmla="*/ 1206459 h 4687251"/>
              <a:gd name="connsiteX34248" fmla="*/ 496246 w 8079933"/>
              <a:gd name="connsiteY34248" fmla="*/ 1205918 h 4687251"/>
              <a:gd name="connsiteX34249" fmla="*/ 492883 w 8079933"/>
              <a:gd name="connsiteY34249" fmla="*/ 1210790 h 4687251"/>
              <a:gd name="connsiteX34250" fmla="*/ 491256 w 8079933"/>
              <a:gd name="connsiteY34250" fmla="*/ 1210357 h 4687251"/>
              <a:gd name="connsiteX34251" fmla="*/ 492774 w 8079933"/>
              <a:gd name="connsiteY34251" fmla="*/ 1207325 h 4687251"/>
              <a:gd name="connsiteX34252" fmla="*/ 491689 w 8079933"/>
              <a:gd name="connsiteY34252" fmla="*/ 1204402 h 4687251"/>
              <a:gd name="connsiteX34253" fmla="*/ 489303 w 8079933"/>
              <a:gd name="connsiteY34253" fmla="*/ 1204185 h 4687251"/>
              <a:gd name="connsiteX34254" fmla="*/ 488216 w 8079933"/>
              <a:gd name="connsiteY34254" fmla="*/ 1206784 h 4687251"/>
              <a:gd name="connsiteX34255" fmla="*/ 487025 w 8079933"/>
              <a:gd name="connsiteY34255" fmla="*/ 1204510 h 4687251"/>
              <a:gd name="connsiteX34256" fmla="*/ 484311 w 8079933"/>
              <a:gd name="connsiteY34256" fmla="*/ 1205701 h 4687251"/>
              <a:gd name="connsiteX34257" fmla="*/ 483227 w 8079933"/>
              <a:gd name="connsiteY34257" fmla="*/ 1209166 h 4687251"/>
              <a:gd name="connsiteX34258" fmla="*/ 476388 w 8079933"/>
              <a:gd name="connsiteY34258" fmla="*/ 1213822 h 4687251"/>
              <a:gd name="connsiteX34259" fmla="*/ 474870 w 8079933"/>
              <a:gd name="connsiteY34259" fmla="*/ 1212847 h 4687251"/>
              <a:gd name="connsiteX34260" fmla="*/ 474870 w 8079933"/>
              <a:gd name="connsiteY34260" fmla="*/ 1208732 h 4687251"/>
              <a:gd name="connsiteX34261" fmla="*/ 477583 w 8079933"/>
              <a:gd name="connsiteY34261" fmla="*/ 1204726 h 4687251"/>
              <a:gd name="connsiteX34262" fmla="*/ 481162 w 8079933"/>
              <a:gd name="connsiteY34262" fmla="*/ 1204077 h 4687251"/>
              <a:gd name="connsiteX34263" fmla="*/ 482573 w 8079933"/>
              <a:gd name="connsiteY34263" fmla="*/ 1202020 h 4687251"/>
              <a:gd name="connsiteX34264" fmla="*/ 477799 w 8079933"/>
              <a:gd name="connsiteY34264" fmla="*/ 1198230 h 4687251"/>
              <a:gd name="connsiteX34265" fmla="*/ 475303 w 8079933"/>
              <a:gd name="connsiteY34265" fmla="*/ 1198339 h 4687251"/>
              <a:gd name="connsiteX34266" fmla="*/ 471396 w 8079933"/>
              <a:gd name="connsiteY34266" fmla="*/ 1202886 h 4687251"/>
              <a:gd name="connsiteX34267" fmla="*/ 467599 w 8079933"/>
              <a:gd name="connsiteY34267" fmla="*/ 1205052 h 4687251"/>
              <a:gd name="connsiteX34268" fmla="*/ 468249 w 8079933"/>
              <a:gd name="connsiteY34268" fmla="*/ 1209058 h 4687251"/>
              <a:gd name="connsiteX34269" fmla="*/ 465536 w 8079933"/>
              <a:gd name="connsiteY34269" fmla="*/ 1214363 h 4687251"/>
              <a:gd name="connsiteX34270" fmla="*/ 461088 w 8079933"/>
              <a:gd name="connsiteY34270" fmla="*/ 1217070 h 4687251"/>
              <a:gd name="connsiteX34271" fmla="*/ 456422 w 8079933"/>
              <a:gd name="connsiteY34271" fmla="*/ 1216853 h 4687251"/>
              <a:gd name="connsiteX34272" fmla="*/ 453491 w 8079933"/>
              <a:gd name="connsiteY34272" fmla="*/ 1218802 h 4687251"/>
              <a:gd name="connsiteX34273" fmla="*/ 452623 w 8079933"/>
              <a:gd name="connsiteY34273" fmla="*/ 1222158 h 4687251"/>
              <a:gd name="connsiteX34274" fmla="*/ 451105 w 8079933"/>
              <a:gd name="connsiteY34274" fmla="*/ 1221725 h 4687251"/>
              <a:gd name="connsiteX34275" fmla="*/ 450562 w 8079933"/>
              <a:gd name="connsiteY34275" fmla="*/ 1218802 h 4687251"/>
              <a:gd name="connsiteX34276" fmla="*/ 447958 w 8079933"/>
              <a:gd name="connsiteY34276" fmla="*/ 1223133 h 4687251"/>
              <a:gd name="connsiteX34277" fmla="*/ 443943 w 8079933"/>
              <a:gd name="connsiteY34277" fmla="*/ 1223350 h 4687251"/>
              <a:gd name="connsiteX34278" fmla="*/ 443292 w 8079933"/>
              <a:gd name="connsiteY34278" fmla="*/ 1221401 h 4687251"/>
              <a:gd name="connsiteX34279" fmla="*/ 444159 w 8079933"/>
              <a:gd name="connsiteY34279" fmla="*/ 1218802 h 4687251"/>
              <a:gd name="connsiteX34280" fmla="*/ 442313 w 8079933"/>
              <a:gd name="connsiteY34280" fmla="*/ 1215554 h 4687251"/>
              <a:gd name="connsiteX34281" fmla="*/ 440252 w 8079933"/>
              <a:gd name="connsiteY34281" fmla="*/ 1216745 h 4687251"/>
              <a:gd name="connsiteX34282" fmla="*/ 436345 w 8079933"/>
              <a:gd name="connsiteY34282" fmla="*/ 1224107 h 4687251"/>
              <a:gd name="connsiteX34283" fmla="*/ 432004 w 8079933"/>
              <a:gd name="connsiteY34283" fmla="*/ 1224324 h 4687251"/>
              <a:gd name="connsiteX34284" fmla="*/ 431680 w 8079933"/>
              <a:gd name="connsiteY34284" fmla="*/ 1222808 h 4687251"/>
              <a:gd name="connsiteX34285" fmla="*/ 432004 w 8079933"/>
              <a:gd name="connsiteY34285" fmla="*/ 1219560 h 4687251"/>
              <a:gd name="connsiteX34286" fmla="*/ 430812 w 8079933"/>
              <a:gd name="connsiteY34286" fmla="*/ 1217828 h 4687251"/>
              <a:gd name="connsiteX34287" fmla="*/ 427557 w 8079933"/>
              <a:gd name="connsiteY34287" fmla="*/ 1219560 h 4687251"/>
              <a:gd name="connsiteX34288" fmla="*/ 428100 w 8079933"/>
              <a:gd name="connsiteY34288" fmla="*/ 1222483 h 4687251"/>
              <a:gd name="connsiteX34289" fmla="*/ 426687 w 8079933"/>
              <a:gd name="connsiteY34289" fmla="*/ 1225515 h 4687251"/>
              <a:gd name="connsiteX34290" fmla="*/ 423542 w 8079933"/>
              <a:gd name="connsiteY34290" fmla="*/ 1226814 h 4687251"/>
              <a:gd name="connsiteX34291" fmla="*/ 422455 w 8079933"/>
              <a:gd name="connsiteY34291" fmla="*/ 1223891 h 4687251"/>
              <a:gd name="connsiteX34292" fmla="*/ 423434 w 8079933"/>
              <a:gd name="connsiteY34292" fmla="*/ 1218802 h 4687251"/>
              <a:gd name="connsiteX34293" fmla="*/ 424952 w 8079933"/>
              <a:gd name="connsiteY34293" fmla="*/ 1215770 h 4687251"/>
              <a:gd name="connsiteX34294" fmla="*/ 429618 w 8079933"/>
              <a:gd name="connsiteY34294" fmla="*/ 1214471 h 4687251"/>
              <a:gd name="connsiteX34295" fmla="*/ 433741 w 8079933"/>
              <a:gd name="connsiteY34295" fmla="*/ 1215662 h 4687251"/>
              <a:gd name="connsiteX34296" fmla="*/ 435802 w 8079933"/>
              <a:gd name="connsiteY34296" fmla="*/ 1215229 h 4687251"/>
              <a:gd name="connsiteX34297" fmla="*/ 436237 w 8079933"/>
              <a:gd name="connsiteY34297" fmla="*/ 1212414 h 4687251"/>
              <a:gd name="connsiteX34298" fmla="*/ 439493 w 8079933"/>
              <a:gd name="connsiteY34298" fmla="*/ 1209924 h 4687251"/>
              <a:gd name="connsiteX34299" fmla="*/ 445245 w 8079933"/>
              <a:gd name="connsiteY34299" fmla="*/ 1207867 h 4687251"/>
              <a:gd name="connsiteX34300" fmla="*/ 447522 w 8079933"/>
              <a:gd name="connsiteY34300" fmla="*/ 1208408 h 4687251"/>
              <a:gd name="connsiteX34301" fmla="*/ 449368 w 8079933"/>
              <a:gd name="connsiteY34301" fmla="*/ 1206134 h 4687251"/>
              <a:gd name="connsiteX34302" fmla="*/ 448175 w 8079933"/>
              <a:gd name="connsiteY34302" fmla="*/ 1204185 h 4687251"/>
              <a:gd name="connsiteX34303" fmla="*/ 454034 w 8079933"/>
              <a:gd name="connsiteY34303" fmla="*/ 1198014 h 4687251"/>
              <a:gd name="connsiteX34304" fmla="*/ 459460 w 8079933"/>
              <a:gd name="connsiteY34304" fmla="*/ 1194550 h 4687251"/>
              <a:gd name="connsiteX34305" fmla="*/ 465646 w 8079933"/>
              <a:gd name="connsiteY34305" fmla="*/ 1192059 h 4687251"/>
              <a:gd name="connsiteX34306" fmla="*/ 468575 w 8079933"/>
              <a:gd name="connsiteY34306" fmla="*/ 1188053 h 4687251"/>
              <a:gd name="connsiteX34307" fmla="*/ 472917 w 8079933"/>
              <a:gd name="connsiteY34307" fmla="*/ 1186212 h 4687251"/>
              <a:gd name="connsiteX34308" fmla="*/ 479971 w 8079933"/>
              <a:gd name="connsiteY34308" fmla="*/ 1185346 h 4687251"/>
              <a:gd name="connsiteX34309" fmla="*/ 484637 w 8079933"/>
              <a:gd name="connsiteY34309" fmla="*/ 1184047 h 4687251"/>
              <a:gd name="connsiteX34310" fmla="*/ 486914 w 8079933"/>
              <a:gd name="connsiteY34310" fmla="*/ 1185130 h 4687251"/>
              <a:gd name="connsiteX34311" fmla="*/ 491580 w 8079933"/>
              <a:gd name="connsiteY34311" fmla="*/ 1184697 h 4687251"/>
              <a:gd name="connsiteX34312" fmla="*/ 494944 w 8079933"/>
              <a:gd name="connsiteY34312" fmla="*/ 1186429 h 4687251"/>
              <a:gd name="connsiteX34313" fmla="*/ 493210 w 8079933"/>
              <a:gd name="connsiteY34313" fmla="*/ 1189569 h 4687251"/>
              <a:gd name="connsiteX34314" fmla="*/ 493210 w 8079933"/>
              <a:gd name="connsiteY34314" fmla="*/ 1193791 h 4687251"/>
              <a:gd name="connsiteX34315" fmla="*/ 495814 w 8079933"/>
              <a:gd name="connsiteY34315" fmla="*/ 1197148 h 4687251"/>
              <a:gd name="connsiteX34316" fmla="*/ 498092 w 8079933"/>
              <a:gd name="connsiteY34316" fmla="*/ 1195849 h 4687251"/>
              <a:gd name="connsiteX34317" fmla="*/ 497440 w 8079933"/>
              <a:gd name="connsiteY34317" fmla="*/ 1192384 h 4687251"/>
              <a:gd name="connsiteX34318" fmla="*/ 498200 w 8079933"/>
              <a:gd name="connsiteY34318" fmla="*/ 1190110 h 4687251"/>
              <a:gd name="connsiteX34319" fmla="*/ 500696 w 8079933"/>
              <a:gd name="connsiteY34319" fmla="*/ 1190110 h 4687251"/>
              <a:gd name="connsiteX34320" fmla="*/ 503409 w 8079933"/>
              <a:gd name="connsiteY34320" fmla="*/ 1194116 h 4687251"/>
              <a:gd name="connsiteX34321" fmla="*/ 504928 w 8079933"/>
              <a:gd name="connsiteY34321" fmla="*/ 1193034 h 4687251"/>
              <a:gd name="connsiteX34322" fmla="*/ 505254 w 8079933"/>
              <a:gd name="connsiteY34322" fmla="*/ 1189677 h 4687251"/>
              <a:gd name="connsiteX34323" fmla="*/ 503300 w 8079933"/>
              <a:gd name="connsiteY34323" fmla="*/ 1185888 h 4687251"/>
              <a:gd name="connsiteX34324" fmla="*/ 503734 w 8079933"/>
              <a:gd name="connsiteY34324" fmla="*/ 1183397 h 4687251"/>
              <a:gd name="connsiteX34325" fmla="*/ 506665 w 8079933"/>
              <a:gd name="connsiteY34325" fmla="*/ 1176793 h 4687251"/>
              <a:gd name="connsiteX34326" fmla="*/ 514260 w 8079933"/>
              <a:gd name="connsiteY34326" fmla="*/ 1170730 h 4687251"/>
              <a:gd name="connsiteX34327" fmla="*/ 525329 w 8079933"/>
              <a:gd name="connsiteY34327" fmla="*/ 1166724 h 4687251"/>
              <a:gd name="connsiteX34328" fmla="*/ 531839 w 8079933"/>
              <a:gd name="connsiteY34328" fmla="*/ 1160661 h 4687251"/>
              <a:gd name="connsiteX34329" fmla="*/ 538568 w 8079933"/>
              <a:gd name="connsiteY34329" fmla="*/ 1160661 h 4687251"/>
              <a:gd name="connsiteX34330" fmla="*/ 542476 w 8079933"/>
              <a:gd name="connsiteY34330" fmla="*/ 1158928 h 4687251"/>
              <a:gd name="connsiteX34331" fmla="*/ 543125 w 8079933"/>
              <a:gd name="connsiteY34331" fmla="*/ 1155463 h 4687251"/>
              <a:gd name="connsiteX34332" fmla="*/ 547466 w 8079933"/>
              <a:gd name="connsiteY34332" fmla="*/ 1153731 h 4687251"/>
              <a:gd name="connsiteX34333" fmla="*/ 552784 w 8079933"/>
              <a:gd name="connsiteY34333" fmla="*/ 1150050 h 4687251"/>
              <a:gd name="connsiteX34334" fmla="*/ 559730 w 8079933"/>
              <a:gd name="connsiteY34334" fmla="*/ 1146910 h 4687251"/>
              <a:gd name="connsiteX34335" fmla="*/ 559730 w 8079933"/>
              <a:gd name="connsiteY34335" fmla="*/ 1151674 h 4687251"/>
              <a:gd name="connsiteX34336" fmla="*/ 563418 w 8079933"/>
              <a:gd name="connsiteY34336" fmla="*/ 1153190 h 4687251"/>
              <a:gd name="connsiteX34337" fmla="*/ 565047 w 8079933"/>
              <a:gd name="connsiteY34337" fmla="*/ 1151133 h 4687251"/>
              <a:gd name="connsiteX34338" fmla="*/ 564396 w 8079933"/>
              <a:gd name="connsiteY34338" fmla="*/ 1148318 h 4687251"/>
              <a:gd name="connsiteX34339" fmla="*/ 567109 w 8079933"/>
              <a:gd name="connsiteY34339" fmla="*/ 1143445 h 4687251"/>
              <a:gd name="connsiteX34340" fmla="*/ 577635 w 8079933"/>
              <a:gd name="connsiteY34340" fmla="*/ 1135109 h 4687251"/>
              <a:gd name="connsiteX34341" fmla="*/ 580348 w 8079933"/>
              <a:gd name="connsiteY34341" fmla="*/ 1133376 h 4687251"/>
              <a:gd name="connsiteX34342" fmla="*/ 581325 w 8079933"/>
              <a:gd name="connsiteY34342" fmla="*/ 1135867 h 4687251"/>
              <a:gd name="connsiteX34343" fmla="*/ 584689 w 8079933"/>
              <a:gd name="connsiteY34343" fmla="*/ 1136516 h 4687251"/>
              <a:gd name="connsiteX34344" fmla="*/ 586642 w 8079933"/>
              <a:gd name="connsiteY34344" fmla="*/ 1133160 h 4687251"/>
              <a:gd name="connsiteX34345" fmla="*/ 584689 w 8079933"/>
              <a:gd name="connsiteY34345" fmla="*/ 1130237 h 4687251"/>
              <a:gd name="connsiteX34346" fmla="*/ 591200 w 8079933"/>
              <a:gd name="connsiteY34346" fmla="*/ 1126555 h 4687251"/>
              <a:gd name="connsiteX34347" fmla="*/ 594672 w 8079933"/>
              <a:gd name="connsiteY34347" fmla="*/ 1121900 h 4687251"/>
              <a:gd name="connsiteX34348" fmla="*/ 597819 w 8079933"/>
              <a:gd name="connsiteY34348" fmla="*/ 1122441 h 4687251"/>
              <a:gd name="connsiteX34349" fmla="*/ 599122 w 8079933"/>
              <a:gd name="connsiteY34349" fmla="*/ 1125581 h 4687251"/>
              <a:gd name="connsiteX34350" fmla="*/ 602267 w 8079933"/>
              <a:gd name="connsiteY34350" fmla="*/ 1126664 h 4687251"/>
              <a:gd name="connsiteX34351" fmla="*/ 603026 w 8079933"/>
              <a:gd name="connsiteY34351" fmla="*/ 1123199 h 4687251"/>
              <a:gd name="connsiteX34352" fmla="*/ 601399 w 8079933"/>
              <a:gd name="connsiteY34352" fmla="*/ 1121359 h 4687251"/>
              <a:gd name="connsiteX34353" fmla="*/ 599989 w 8079933"/>
              <a:gd name="connsiteY34353" fmla="*/ 1118868 h 4687251"/>
              <a:gd name="connsiteX34354" fmla="*/ 602810 w 8079933"/>
              <a:gd name="connsiteY34354" fmla="*/ 1114429 h 4687251"/>
              <a:gd name="connsiteX34355" fmla="*/ 608888 w 8079933"/>
              <a:gd name="connsiteY34355" fmla="*/ 1107500 h 4687251"/>
              <a:gd name="connsiteX34356" fmla="*/ 610515 w 8079933"/>
              <a:gd name="connsiteY34356" fmla="*/ 1101653 h 4687251"/>
              <a:gd name="connsiteX34357" fmla="*/ 614747 w 8079933"/>
              <a:gd name="connsiteY34357" fmla="*/ 1096131 h 4687251"/>
              <a:gd name="connsiteX34358" fmla="*/ 617786 w 8079933"/>
              <a:gd name="connsiteY34358" fmla="*/ 1094940 h 4687251"/>
              <a:gd name="connsiteX34359" fmla="*/ 625707 w 8079933"/>
              <a:gd name="connsiteY34359" fmla="*/ 1096348 h 4687251"/>
              <a:gd name="connsiteX34360" fmla="*/ 621258 w 8079933"/>
              <a:gd name="connsiteY34360" fmla="*/ 1093425 h 4687251"/>
              <a:gd name="connsiteX34361" fmla="*/ 619415 w 8079933"/>
              <a:gd name="connsiteY34361" fmla="*/ 1089419 h 4687251"/>
              <a:gd name="connsiteX34362" fmla="*/ 620174 w 8079933"/>
              <a:gd name="connsiteY34362" fmla="*/ 1084871 h 4687251"/>
              <a:gd name="connsiteX34363" fmla="*/ 624079 w 8079933"/>
              <a:gd name="connsiteY34363" fmla="*/ 1077509 h 4687251"/>
              <a:gd name="connsiteX34364" fmla="*/ 630049 w 8079933"/>
              <a:gd name="connsiteY34364" fmla="*/ 1072528 h 4687251"/>
              <a:gd name="connsiteX34365" fmla="*/ 643287 w 8079933"/>
              <a:gd name="connsiteY34365" fmla="*/ 1065382 h 4687251"/>
              <a:gd name="connsiteX34366" fmla="*/ 646543 w 8079933"/>
              <a:gd name="connsiteY34366" fmla="*/ 1062242 h 4687251"/>
              <a:gd name="connsiteX34367" fmla="*/ 646435 w 8079933"/>
              <a:gd name="connsiteY34367" fmla="*/ 1059644 h 4687251"/>
              <a:gd name="connsiteX34368" fmla="*/ 651642 w 8079933"/>
              <a:gd name="connsiteY34368" fmla="*/ 1053581 h 4687251"/>
              <a:gd name="connsiteX34369" fmla="*/ 654681 w 8079933"/>
              <a:gd name="connsiteY34369" fmla="*/ 1052174 h 4687251"/>
              <a:gd name="connsiteX34370" fmla="*/ 651860 w 8079933"/>
              <a:gd name="connsiteY34370" fmla="*/ 1052174 h 4687251"/>
              <a:gd name="connsiteX34371" fmla="*/ 643503 w 8079933"/>
              <a:gd name="connsiteY34371" fmla="*/ 1056287 h 4687251"/>
              <a:gd name="connsiteX34372" fmla="*/ 640575 w 8079933"/>
              <a:gd name="connsiteY34372" fmla="*/ 1056396 h 4687251"/>
              <a:gd name="connsiteX34373" fmla="*/ 636125 w 8079933"/>
              <a:gd name="connsiteY34373" fmla="*/ 1059860 h 4687251"/>
              <a:gd name="connsiteX34374" fmla="*/ 626685 w 8079933"/>
              <a:gd name="connsiteY34374" fmla="*/ 1061268 h 4687251"/>
              <a:gd name="connsiteX34375" fmla="*/ 619847 w 8079933"/>
              <a:gd name="connsiteY34375" fmla="*/ 1064733 h 4687251"/>
              <a:gd name="connsiteX34376" fmla="*/ 616808 w 8079933"/>
              <a:gd name="connsiteY34376" fmla="*/ 1063975 h 4687251"/>
              <a:gd name="connsiteX34377" fmla="*/ 610950 w 8079933"/>
              <a:gd name="connsiteY34377" fmla="*/ 1057154 h 4687251"/>
              <a:gd name="connsiteX34378" fmla="*/ 611166 w 8079933"/>
              <a:gd name="connsiteY34378" fmla="*/ 1054556 h 4687251"/>
              <a:gd name="connsiteX34379" fmla="*/ 617786 w 8079933"/>
              <a:gd name="connsiteY34379" fmla="*/ 1047518 h 4687251"/>
              <a:gd name="connsiteX34380" fmla="*/ 623861 w 8079933"/>
              <a:gd name="connsiteY34380" fmla="*/ 1044595 h 4687251"/>
              <a:gd name="connsiteX34381" fmla="*/ 616918 w 8079933"/>
              <a:gd name="connsiteY34381" fmla="*/ 1044919 h 4687251"/>
              <a:gd name="connsiteX34382" fmla="*/ 612144 w 8079933"/>
              <a:gd name="connsiteY34382" fmla="*/ 1048384 h 4687251"/>
              <a:gd name="connsiteX34383" fmla="*/ 610623 w 8079933"/>
              <a:gd name="connsiteY34383" fmla="*/ 1048601 h 4687251"/>
              <a:gd name="connsiteX34384" fmla="*/ 605414 w 8079933"/>
              <a:gd name="connsiteY34384" fmla="*/ 1052823 h 4687251"/>
              <a:gd name="connsiteX34385" fmla="*/ 604654 w 8079933"/>
              <a:gd name="connsiteY34385" fmla="*/ 1056721 h 4687251"/>
              <a:gd name="connsiteX34386" fmla="*/ 600313 w 8079933"/>
              <a:gd name="connsiteY34386" fmla="*/ 1063650 h 4687251"/>
              <a:gd name="connsiteX34387" fmla="*/ 600856 w 8079933"/>
              <a:gd name="connsiteY34387" fmla="*/ 1068414 h 4687251"/>
              <a:gd name="connsiteX34388" fmla="*/ 598686 w 8079933"/>
              <a:gd name="connsiteY34388" fmla="*/ 1074152 h 4687251"/>
              <a:gd name="connsiteX34389" fmla="*/ 595974 w 8079933"/>
              <a:gd name="connsiteY34389" fmla="*/ 1073719 h 4687251"/>
              <a:gd name="connsiteX34390" fmla="*/ 593694 w 8079933"/>
              <a:gd name="connsiteY34390" fmla="*/ 1067656 h 4687251"/>
              <a:gd name="connsiteX34391" fmla="*/ 594780 w 8079933"/>
              <a:gd name="connsiteY34391" fmla="*/ 1063325 h 4687251"/>
              <a:gd name="connsiteX34392" fmla="*/ 593261 w 8079933"/>
              <a:gd name="connsiteY34392" fmla="*/ 1055854 h 4687251"/>
              <a:gd name="connsiteX34393" fmla="*/ 590222 w 8079933"/>
              <a:gd name="connsiteY34393" fmla="*/ 1050333 h 4687251"/>
              <a:gd name="connsiteX34394" fmla="*/ 591851 w 8079933"/>
              <a:gd name="connsiteY34394" fmla="*/ 1047951 h 4687251"/>
              <a:gd name="connsiteX34395" fmla="*/ 590114 w 8079933"/>
              <a:gd name="connsiteY34395" fmla="*/ 1045785 h 4687251"/>
              <a:gd name="connsiteX34396" fmla="*/ 587836 w 8079933"/>
              <a:gd name="connsiteY34396" fmla="*/ 1049358 h 4687251"/>
              <a:gd name="connsiteX34397" fmla="*/ 583819 w 8079933"/>
              <a:gd name="connsiteY34397" fmla="*/ 1052282 h 4687251"/>
              <a:gd name="connsiteX34398" fmla="*/ 580455 w 8079933"/>
              <a:gd name="connsiteY34398" fmla="*/ 1050441 h 4687251"/>
              <a:gd name="connsiteX34399" fmla="*/ 581215 w 8079933"/>
              <a:gd name="connsiteY34399" fmla="*/ 1047842 h 4687251"/>
              <a:gd name="connsiteX34400" fmla="*/ 580239 w 8079933"/>
              <a:gd name="connsiteY34400" fmla="*/ 1043295 h 4687251"/>
              <a:gd name="connsiteX34401" fmla="*/ 576657 w 8079933"/>
              <a:gd name="connsiteY34401" fmla="*/ 1041779 h 4687251"/>
              <a:gd name="connsiteX34402" fmla="*/ 576657 w 8079933"/>
              <a:gd name="connsiteY34402" fmla="*/ 1040047 h 4687251"/>
              <a:gd name="connsiteX34403" fmla="*/ 580023 w 8079933"/>
              <a:gd name="connsiteY34403" fmla="*/ 1037990 h 4687251"/>
              <a:gd name="connsiteX34404" fmla="*/ 580998 w 8079933"/>
              <a:gd name="connsiteY34404" fmla="*/ 1034742 h 4687251"/>
              <a:gd name="connsiteX34405" fmla="*/ 573295 w 8079933"/>
              <a:gd name="connsiteY34405" fmla="*/ 1037665 h 4687251"/>
              <a:gd name="connsiteX34406" fmla="*/ 569929 w 8079933"/>
              <a:gd name="connsiteY34406" fmla="*/ 1041238 h 4687251"/>
              <a:gd name="connsiteX34407" fmla="*/ 566241 w 8079933"/>
              <a:gd name="connsiteY34407" fmla="*/ 1040697 h 4687251"/>
              <a:gd name="connsiteX34408" fmla="*/ 564288 w 8079933"/>
              <a:gd name="connsiteY34408" fmla="*/ 1040264 h 4687251"/>
              <a:gd name="connsiteX34409" fmla="*/ 554413 w 8079933"/>
              <a:gd name="connsiteY34409" fmla="*/ 1046544 h 4687251"/>
              <a:gd name="connsiteX34410" fmla="*/ 549204 w 8079933"/>
              <a:gd name="connsiteY34410" fmla="*/ 1051632 h 4687251"/>
              <a:gd name="connsiteX34411" fmla="*/ 546273 w 8079933"/>
              <a:gd name="connsiteY34411" fmla="*/ 1049250 h 4687251"/>
              <a:gd name="connsiteX34412" fmla="*/ 541823 w 8079933"/>
              <a:gd name="connsiteY34412" fmla="*/ 1048709 h 4687251"/>
              <a:gd name="connsiteX34413" fmla="*/ 538893 w 8079933"/>
              <a:gd name="connsiteY34413" fmla="*/ 1046327 h 4687251"/>
              <a:gd name="connsiteX34414" fmla="*/ 540847 w 8079933"/>
              <a:gd name="connsiteY34414" fmla="*/ 1045352 h 4687251"/>
              <a:gd name="connsiteX34415" fmla="*/ 543887 w 8079933"/>
              <a:gd name="connsiteY34415" fmla="*/ 1046219 h 4687251"/>
              <a:gd name="connsiteX34416" fmla="*/ 548229 w 8079933"/>
              <a:gd name="connsiteY34416" fmla="*/ 1043512 h 4687251"/>
              <a:gd name="connsiteX34417" fmla="*/ 552025 w 8079933"/>
              <a:gd name="connsiteY34417" fmla="*/ 1042754 h 4687251"/>
              <a:gd name="connsiteX34418" fmla="*/ 554737 w 8079933"/>
              <a:gd name="connsiteY34418" fmla="*/ 1040589 h 4687251"/>
              <a:gd name="connsiteX34419" fmla="*/ 553543 w 8079933"/>
              <a:gd name="connsiteY34419" fmla="*/ 1037124 h 4687251"/>
              <a:gd name="connsiteX34420" fmla="*/ 554194 w 8079933"/>
              <a:gd name="connsiteY34420" fmla="*/ 1035175 h 4687251"/>
              <a:gd name="connsiteX34421" fmla="*/ 553110 w 8079933"/>
              <a:gd name="connsiteY34421" fmla="*/ 1032577 h 4687251"/>
              <a:gd name="connsiteX34422" fmla="*/ 555064 w 8079933"/>
              <a:gd name="connsiteY34422" fmla="*/ 1030411 h 4687251"/>
              <a:gd name="connsiteX34423" fmla="*/ 560489 w 8079933"/>
              <a:gd name="connsiteY34423" fmla="*/ 1030519 h 4687251"/>
              <a:gd name="connsiteX34424" fmla="*/ 562985 w 8079933"/>
              <a:gd name="connsiteY34424" fmla="*/ 1027596 h 4687251"/>
              <a:gd name="connsiteX34425" fmla="*/ 562226 w 8079933"/>
              <a:gd name="connsiteY34425" fmla="*/ 1024997 h 4687251"/>
              <a:gd name="connsiteX34426" fmla="*/ 558860 w 8079933"/>
              <a:gd name="connsiteY34426" fmla="*/ 1025106 h 4687251"/>
              <a:gd name="connsiteX34427" fmla="*/ 554521 w 8079933"/>
              <a:gd name="connsiteY34427" fmla="*/ 1026513 h 4687251"/>
              <a:gd name="connsiteX34428" fmla="*/ 552349 w 8079933"/>
              <a:gd name="connsiteY34428" fmla="*/ 1025648 h 4687251"/>
              <a:gd name="connsiteX34429" fmla="*/ 552132 w 8079933"/>
              <a:gd name="connsiteY34429" fmla="*/ 1020775 h 4687251"/>
              <a:gd name="connsiteX34430" fmla="*/ 550506 w 8079933"/>
              <a:gd name="connsiteY34430" fmla="*/ 1016011 h 4687251"/>
              <a:gd name="connsiteX34431" fmla="*/ 552459 w 8079933"/>
              <a:gd name="connsiteY34431" fmla="*/ 1014604 h 4687251"/>
              <a:gd name="connsiteX34432" fmla="*/ 554737 w 8079933"/>
              <a:gd name="connsiteY34432" fmla="*/ 1015469 h 4687251"/>
              <a:gd name="connsiteX34433" fmla="*/ 555931 w 8079933"/>
              <a:gd name="connsiteY34433" fmla="*/ 1011789 h 4687251"/>
              <a:gd name="connsiteX34434" fmla="*/ 558755 w 8079933"/>
              <a:gd name="connsiteY34434" fmla="*/ 1009407 h 4687251"/>
              <a:gd name="connsiteX34435" fmla="*/ 565263 w 8079933"/>
              <a:gd name="connsiteY34435" fmla="*/ 1007349 h 4687251"/>
              <a:gd name="connsiteX34436" fmla="*/ 564504 w 8079933"/>
              <a:gd name="connsiteY34436" fmla="*/ 1002044 h 4687251"/>
              <a:gd name="connsiteX34437" fmla="*/ 564829 w 8079933"/>
              <a:gd name="connsiteY34437" fmla="*/ 998038 h 4687251"/>
              <a:gd name="connsiteX34438" fmla="*/ 564504 w 8079933"/>
              <a:gd name="connsiteY34438" fmla="*/ 995656 h 4687251"/>
              <a:gd name="connsiteX34439" fmla="*/ 566025 w 8079933"/>
              <a:gd name="connsiteY34439" fmla="*/ 991109 h 4687251"/>
              <a:gd name="connsiteX34440" fmla="*/ 564829 w 8079933"/>
              <a:gd name="connsiteY34440" fmla="*/ 985046 h 4687251"/>
              <a:gd name="connsiteX34441" fmla="*/ 565482 w 8079933"/>
              <a:gd name="connsiteY34441" fmla="*/ 979957 h 4687251"/>
              <a:gd name="connsiteX34442" fmla="*/ 570689 w 8079933"/>
              <a:gd name="connsiteY34442" fmla="*/ 976709 h 4687251"/>
              <a:gd name="connsiteX34443" fmla="*/ 574596 w 8079933"/>
              <a:gd name="connsiteY34443" fmla="*/ 969888 h 4687251"/>
              <a:gd name="connsiteX34444" fmla="*/ 574704 w 8079933"/>
              <a:gd name="connsiteY34444" fmla="*/ 967073 h 4687251"/>
              <a:gd name="connsiteX34445" fmla="*/ 570799 w 8079933"/>
              <a:gd name="connsiteY34445" fmla="*/ 963716 h 4687251"/>
              <a:gd name="connsiteX34446" fmla="*/ 571124 w 8079933"/>
              <a:gd name="connsiteY34446" fmla="*/ 961010 h 4687251"/>
              <a:gd name="connsiteX34447" fmla="*/ 577200 w 8079933"/>
              <a:gd name="connsiteY34447" fmla="*/ 957328 h 4687251"/>
              <a:gd name="connsiteX34448" fmla="*/ 587183 w 8079933"/>
              <a:gd name="connsiteY34448" fmla="*/ 947476 h 4687251"/>
              <a:gd name="connsiteX34449" fmla="*/ 591959 w 8079933"/>
              <a:gd name="connsiteY34449" fmla="*/ 947043 h 4687251"/>
              <a:gd name="connsiteX34450" fmla="*/ 587509 w 8079933"/>
              <a:gd name="connsiteY34450" fmla="*/ 946068 h 4687251"/>
              <a:gd name="connsiteX34451" fmla="*/ 576875 w 8079933"/>
              <a:gd name="connsiteY34451" fmla="*/ 952998 h 4687251"/>
              <a:gd name="connsiteX34452" fmla="*/ 569929 w 8079933"/>
              <a:gd name="connsiteY34452" fmla="*/ 958303 h 4687251"/>
              <a:gd name="connsiteX34453" fmla="*/ 563744 w 8079933"/>
              <a:gd name="connsiteY34453" fmla="*/ 961551 h 4687251"/>
              <a:gd name="connsiteX34454" fmla="*/ 563636 w 8079933"/>
              <a:gd name="connsiteY34454" fmla="*/ 963608 h 4687251"/>
              <a:gd name="connsiteX34455" fmla="*/ 566131 w 8079933"/>
              <a:gd name="connsiteY34455" fmla="*/ 967073 h 4687251"/>
              <a:gd name="connsiteX34456" fmla="*/ 566025 w 8079933"/>
              <a:gd name="connsiteY34456" fmla="*/ 971187 h 4687251"/>
              <a:gd name="connsiteX34457" fmla="*/ 559622 w 8079933"/>
              <a:gd name="connsiteY34457" fmla="*/ 979740 h 4687251"/>
              <a:gd name="connsiteX34458" fmla="*/ 556799 w 8079933"/>
              <a:gd name="connsiteY34458" fmla="*/ 979957 h 4687251"/>
              <a:gd name="connsiteX34459" fmla="*/ 554086 w 8079933"/>
              <a:gd name="connsiteY34459" fmla="*/ 978333 h 4687251"/>
              <a:gd name="connsiteX34460" fmla="*/ 550288 w 8079933"/>
              <a:gd name="connsiteY34460" fmla="*/ 979957 h 4687251"/>
              <a:gd name="connsiteX34461" fmla="*/ 543235 w 8079933"/>
              <a:gd name="connsiteY34461" fmla="*/ 982880 h 4687251"/>
              <a:gd name="connsiteX34462" fmla="*/ 537159 w 8079933"/>
              <a:gd name="connsiteY34462" fmla="*/ 982880 h 4687251"/>
              <a:gd name="connsiteX34463" fmla="*/ 521422 w 8079933"/>
              <a:gd name="connsiteY34463" fmla="*/ 975734 h 4687251"/>
              <a:gd name="connsiteX34464" fmla="*/ 522834 w 8079933"/>
              <a:gd name="connsiteY34464" fmla="*/ 973136 h 4687251"/>
              <a:gd name="connsiteX34465" fmla="*/ 528151 w 8079933"/>
              <a:gd name="connsiteY34465" fmla="*/ 972378 h 4687251"/>
              <a:gd name="connsiteX34466" fmla="*/ 528041 w 8079933"/>
              <a:gd name="connsiteY34466" fmla="*/ 970645 h 4687251"/>
              <a:gd name="connsiteX34467" fmla="*/ 523594 w 8079933"/>
              <a:gd name="connsiteY34467" fmla="*/ 966856 h 4687251"/>
              <a:gd name="connsiteX34468" fmla="*/ 523702 w 8079933"/>
              <a:gd name="connsiteY34468" fmla="*/ 963175 h 4687251"/>
              <a:gd name="connsiteX34469" fmla="*/ 522942 w 8079933"/>
              <a:gd name="connsiteY34469" fmla="*/ 960577 h 4687251"/>
              <a:gd name="connsiteX34470" fmla="*/ 522507 w 8079933"/>
              <a:gd name="connsiteY34470" fmla="*/ 952457 h 4687251"/>
              <a:gd name="connsiteX34471" fmla="*/ 519252 w 8079933"/>
              <a:gd name="connsiteY34471" fmla="*/ 952131 h 4687251"/>
              <a:gd name="connsiteX34472" fmla="*/ 517841 w 8079933"/>
              <a:gd name="connsiteY34472" fmla="*/ 947909 h 4687251"/>
              <a:gd name="connsiteX34473" fmla="*/ 518820 w 8079933"/>
              <a:gd name="connsiteY34473" fmla="*/ 941629 h 4687251"/>
              <a:gd name="connsiteX34474" fmla="*/ 521640 w 8079933"/>
              <a:gd name="connsiteY34474" fmla="*/ 937948 h 4687251"/>
              <a:gd name="connsiteX34475" fmla="*/ 519252 w 8079933"/>
              <a:gd name="connsiteY34475" fmla="*/ 937623 h 4687251"/>
              <a:gd name="connsiteX34476" fmla="*/ 516866 w 8079933"/>
              <a:gd name="connsiteY34476" fmla="*/ 933833 h 4687251"/>
              <a:gd name="connsiteX34477" fmla="*/ 517734 w 8079933"/>
              <a:gd name="connsiteY34477" fmla="*/ 930586 h 4687251"/>
              <a:gd name="connsiteX34478" fmla="*/ 522726 w 8079933"/>
              <a:gd name="connsiteY34478" fmla="*/ 931776 h 4687251"/>
              <a:gd name="connsiteX34479" fmla="*/ 526306 w 8079933"/>
              <a:gd name="connsiteY34479" fmla="*/ 929286 h 4687251"/>
              <a:gd name="connsiteX34480" fmla="*/ 527500 w 8079933"/>
              <a:gd name="connsiteY34480" fmla="*/ 925388 h 4687251"/>
              <a:gd name="connsiteX34481" fmla="*/ 531515 w 8079933"/>
              <a:gd name="connsiteY34481" fmla="*/ 924523 h 4687251"/>
              <a:gd name="connsiteX34482" fmla="*/ 535206 w 8079933"/>
              <a:gd name="connsiteY34482" fmla="*/ 921707 h 4687251"/>
              <a:gd name="connsiteX34483" fmla="*/ 537483 w 8079933"/>
              <a:gd name="connsiteY34483" fmla="*/ 924955 h 4687251"/>
              <a:gd name="connsiteX34484" fmla="*/ 544103 w 8079933"/>
              <a:gd name="connsiteY34484" fmla="*/ 926147 h 4687251"/>
              <a:gd name="connsiteX34485" fmla="*/ 546381 w 8079933"/>
              <a:gd name="connsiteY34485" fmla="*/ 929936 h 4687251"/>
              <a:gd name="connsiteX34486" fmla="*/ 550722 w 8079933"/>
              <a:gd name="connsiteY34486" fmla="*/ 929611 h 4687251"/>
              <a:gd name="connsiteX34487" fmla="*/ 552784 w 8079933"/>
              <a:gd name="connsiteY34487" fmla="*/ 932101 h 4687251"/>
              <a:gd name="connsiteX34488" fmla="*/ 552784 w 8079933"/>
              <a:gd name="connsiteY34488" fmla="*/ 935025 h 4687251"/>
              <a:gd name="connsiteX34489" fmla="*/ 554956 w 8079933"/>
              <a:gd name="connsiteY34489" fmla="*/ 936974 h 4687251"/>
              <a:gd name="connsiteX34490" fmla="*/ 561140 w 8079933"/>
              <a:gd name="connsiteY34490" fmla="*/ 935349 h 4687251"/>
              <a:gd name="connsiteX34491" fmla="*/ 560814 w 8079933"/>
              <a:gd name="connsiteY34491" fmla="*/ 931993 h 4687251"/>
              <a:gd name="connsiteX34492" fmla="*/ 556366 w 8079933"/>
              <a:gd name="connsiteY34492" fmla="*/ 927121 h 4687251"/>
              <a:gd name="connsiteX34493" fmla="*/ 559403 w 8079933"/>
              <a:gd name="connsiteY34493" fmla="*/ 923981 h 4687251"/>
              <a:gd name="connsiteX34494" fmla="*/ 560273 w 8079933"/>
              <a:gd name="connsiteY34494" fmla="*/ 919433 h 4687251"/>
              <a:gd name="connsiteX34495" fmla="*/ 567868 w 8079933"/>
              <a:gd name="connsiteY34495" fmla="*/ 911963 h 4687251"/>
              <a:gd name="connsiteX34496" fmla="*/ 571666 w 8079933"/>
              <a:gd name="connsiteY34496" fmla="*/ 911421 h 4687251"/>
              <a:gd name="connsiteX34497" fmla="*/ 575898 w 8079933"/>
              <a:gd name="connsiteY34497" fmla="*/ 906549 h 4687251"/>
              <a:gd name="connsiteX34498" fmla="*/ 572317 w 8079933"/>
              <a:gd name="connsiteY34498" fmla="*/ 909148 h 4687251"/>
              <a:gd name="connsiteX34499" fmla="*/ 563636 w 8079933"/>
              <a:gd name="connsiteY34499" fmla="*/ 909148 h 4687251"/>
              <a:gd name="connsiteX34500" fmla="*/ 560597 w 8079933"/>
              <a:gd name="connsiteY34500" fmla="*/ 912504 h 4687251"/>
              <a:gd name="connsiteX34501" fmla="*/ 558643 w 8079933"/>
              <a:gd name="connsiteY34501" fmla="*/ 921274 h 4687251"/>
              <a:gd name="connsiteX34502" fmla="*/ 554845 w 8079933"/>
              <a:gd name="connsiteY34502" fmla="*/ 924631 h 4687251"/>
              <a:gd name="connsiteX34503" fmla="*/ 549855 w 8079933"/>
              <a:gd name="connsiteY34503" fmla="*/ 924955 h 4687251"/>
              <a:gd name="connsiteX34504" fmla="*/ 545948 w 8079933"/>
              <a:gd name="connsiteY34504" fmla="*/ 922357 h 4687251"/>
              <a:gd name="connsiteX34505" fmla="*/ 540847 w 8079933"/>
              <a:gd name="connsiteY34505" fmla="*/ 921707 h 4687251"/>
              <a:gd name="connsiteX34506" fmla="*/ 540412 w 8079933"/>
              <a:gd name="connsiteY34506" fmla="*/ 919109 h 4687251"/>
              <a:gd name="connsiteX34507" fmla="*/ 538893 w 8079933"/>
              <a:gd name="connsiteY34507" fmla="*/ 917376 h 4687251"/>
              <a:gd name="connsiteX34508" fmla="*/ 536073 w 8079933"/>
              <a:gd name="connsiteY34508" fmla="*/ 917485 h 4687251"/>
              <a:gd name="connsiteX34509" fmla="*/ 533904 w 8079933"/>
              <a:gd name="connsiteY34509" fmla="*/ 919433 h 4687251"/>
              <a:gd name="connsiteX34510" fmla="*/ 530756 w 8079933"/>
              <a:gd name="connsiteY34510" fmla="*/ 919975 h 4687251"/>
              <a:gd name="connsiteX34511" fmla="*/ 529346 w 8079933"/>
              <a:gd name="connsiteY34511" fmla="*/ 918135 h 4687251"/>
              <a:gd name="connsiteX34512" fmla="*/ 531080 w 8079933"/>
              <a:gd name="connsiteY34512" fmla="*/ 915752 h 4687251"/>
              <a:gd name="connsiteX34513" fmla="*/ 533361 w 8079933"/>
              <a:gd name="connsiteY34513" fmla="*/ 914453 h 4687251"/>
              <a:gd name="connsiteX34514" fmla="*/ 532599 w 8079933"/>
              <a:gd name="connsiteY34514" fmla="*/ 907849 h 4687251"/>
              <a:gd name="connsiteX34515" fmla="*/ 531515 w 8079933"/>
              <a:gd name="connsiteY34515" fmla="*/ 905250 h 4687251"/>
              <a:gd name="connsiteX34516" fmla="*/ 528803 w 8079933"/>
              <a:gd name="connsiteY34516" fmla="*/ 908931 h 4687251"/>
              <a:gd name="connsiteX34517" fmla="*/ 525871 w 8079933"/>
              <a:gd name="connsiteY34517" fmla="*/ 909581 h 4687251"/>
              <a:gd name="connsiteX34518" fmla="*/ 524896 w 8079933"/>
              <a:gd name="connsiteY34518" fmla="*/ 905684 h 4687251"/>
              <a:gd name="connsiteX34519" fmla="*/ 527065 w 8079933"/>
              <a:gd name="connsiteY34519" fmla="*/ 901460 h 4687251"/>
              <a:gd name="connsiteX34520" fmla="*/ 528041 w 8079933"/>
              <a:gd name="connsiteY34520" fmla="*/ 897563 h 4687251"/>
              <a:gd name="connsiteX34521" fmla="*/ 527282 w 8079933"/>
              <a:gd name="connsiteY34521" fmla="*/ 891608 h 4687251"/>
              <a:gd name="connsiteX34522" fmla="*/ 523158 w 8079933"/>
              <a:gd name="connsiteY34522" fmla="*/ 885437 h 4687251"/>
              <a:gd name="connsiteX34523" fmla="*/ 523158 w 8079933"/>
              <a:gd name="connsiteY34523" fmla="*/ 882513 h 4687251"/>
              <a:gd name="connsiteX34524" fmla="*/ 528803 w 8079933"/>
              <a:gd name="connsiteY34524" fmla="*/ 875801 h 4687251"/>
              <a:gd name="connsiteX34525" fmla="*/ 531080 w 8079933"/>
              <a:gd name="connsiteY34525" fmla="*/ 871362 h 4687251"/>
              <a:gd name="connsiteX34526" fmla="*/ 533142 w 8079933"/>
              <a:gd name="connsiteY34526" fmla="*/ 871036 h 4687251"/>
              <a:gd name="connsiteX34527" fmla="*/ 535530 w 8079933"/>
              <a:gd name="connsiteY34527" fmla="*/ 875151 h 4687251"/>
              <a:gd name="connsiteX34528" fmla="*/ 538350 w 8079933"/>
              <a:gd name="connsiteY34528" fmla="*/ 874826 h 4687251"/>
              <a:gd name="connsiteX34529" fmla="*/ 539545 w 8079933"/>
              <a:gd name="connsiteY34529" fmla="*/ 871470 h 4687251"/>
              <a:gd name="connsiteX34530" fmla="*/ 534663 w 8079933"/>
              <a:gd name="connsiteY34530" fmla="*/ 866056 h 4687251"/>
              <a:gd name="connsiteX34531" fmla="*/ 535747 w 8079933"/>
              <a:gd name="connsiteY34531" fmla="*/ 864865 h 4687251"/>
              <a:gd name="connsiteX34532" fmla="*/ 540412 w 8079933"/>
              <a:gd name="connsiteY34532" fmla="*/ 866489 h 4687251"/>
              <a:gd name="connsiteX34533" fmla="*/ 545514 w 8079933"/>
              <a:gd name="connsiteY34533" fmla="*/ 865299 h 4687251"/>
              <a:gd name="connsiteX34534" fmla="*/ 547575 w 8079933"/>
              <a:gd name="connsiteY34534" fmla="*/ 863783 h 4687251"/>
              <a:gd name="connsiteX34535" fmla="*/ 549529 w 8079933"/>
              <a:gd name="connsiteY34535" fmla="*/ 856528 h 4687251"/>
              <a:gd name="connsiteX34536" fmla="*/ 560055 w 8079933"/>
              <a:gd name="connsiteY34536" fmla="*/ 847001 h 4687251"/>
              <a:gd name="connsiteX34537" fmla="*/ 562769 w 8079933"/>
              <a:gd name="connsiteY34537" fmla="*/ 846784 h 4687251"/>
              <a:gd name="connsiteX34538" fmla="*/ 565698 w 8079933"/>
              <a:gd name="connsiteY34538" fmla="*/ 845485 h 4687251"/>
              <a:gd name="connsiteX34539" fmla="*/ 568302 w 8079933"/>
              <a:gd name="connsiteY34539" fmla="*/ 839638 h 4687251"/>
              <a:gd name="connsiteX34540" fmla="*/ 575247 w 8079933"/>
              <a:gd name="connsiteY34540" fmla="*/ 832817 h 4687251"/>
              <a:gd name="connsiteX34541" fmla="*/ 577310 w 8079933"/>
              <a:gd name="connsiteY34541" fmla="*/ 832709 h 4687251"/>
              <a:gd name="connsiteX34542" fmla="*/ 581325 w 8079933"/>
              <a:gd name="connsiteY34542" fmla="*/ 837473 h 4687251"/>
              <a:gd name="connsiteX34543" fmla="*/ 583062 w 8079933"/>
              <a:gd name="connsiteY34543" fmla="*/ 841804 h 4687251"/>
              <a:gd name="connsiteX34544" fmla="*/ 585448 w 8079933"/>
              <a:gd name="connsiteY34544" fmla="*/ 841804 h 4687251"/>
              <a:gd name="connsiteX34545" fmla="*/ 587617 w 8079933"/>
              <a:gd name="connsiteY34545" fmla="*/ 838014 h 4687251"/>
              <a:gd name="connsiteX34546" fmla="*/ 584689 w 8079933"/>
              <a:gd name="connsiteY34546" fmla="*/ 835416 h 4687251"/>
              <a:gd name="connsiteX34547" fmla="*/ 583711 w 8079933"/>
              <a:gd name="connsiteY34547" fmla="*/ 831951 h 4687251"/>
              <a:gd name="connsiteX34548" fmla="*/ 586750 w 8079933"/>
              <a:gd name="connsiteY34548" fmla="*/ 830327 h 4687251"/>
              <a:gd name="connsiteX34549" fmla="*/ 593586 w 8079933"/>
              <a:gd name="connsiteY34549" fmla="*/ 830652 h 4687251"/>
              <a:gd name="connsiteX34550" fmla="*/ 599122 w 8079933"/>
              <a:gd name="connsiteY34550" fmla="*/ 836606 h 4687251"/>
              <a:gd name="connsiteX34551" fmla="*/ 599663 w 8079933"/>
              <a:gd name="connsiteY34551" fmla="*/ 839746 h 4687251"/>
              <a:gd name="connsiteX34552" fmla="*/ 603136 w 8079933"/>
              <a:gd name="connsiteY34552" fmla="*/ 836282 h 4687251"/>
              <a:gd name="connsiteX34553" fmla="*/ 606392 w 8079933"/>
              <a:gd name="connsiteY34553" fmla="*/ 828053 h 4687251"/>
              <a:gd name="connsiteX34554" fmla="*/ 606608 w 8079933"/>
              <a:gd name="connsiteY34554" fmla="*/ 822098 h 4687251"/>
              <a:gd name="connsiteX34555" fmla="*/ 609648 w 8079933"/>
              <a:gd name="connsiteY34555" fmla="*/ 819716 h 4687251"/>
              <a:gd name="connsiteX34556" fmla="*/ 615181 w 8079933"/>
              <a:gd name="connsiteY34556" fmla="*/ 819283 h 4687251"/>
              <a:gd name="connsiteX34557" fmla="*/ 621041 w 8079933"/>
              <a:gd name="connsiteY34557" fmla="*/ 814953 h 4687251"/>
              <a:gd name="connsiteX34558" fmla="*/ 628419 w 8079933"/>
              <a:gd name="connsiteY34558" fmla="*/ 814953 h 4687251"/>
              <a:gd name="connsiteX34559" fmla="*/ 632869 w 8079933"/>
              <a:gd name="connsiteY34559" fmla="*/ 816252 h 4687251"/>
              <a:gd name="connsiteX34560" fmla="*/ 637101 w 8079933"/>
              <a:gd name="connsiteY34560" fmla="*/ 816035 h 4687251"/>
              <a:gd name="connsiteX34561" fmla="*/ 639924 w 8079933"/>
              <a:gd name="connsiteY34561" fmla="*/ 813545 h 4687251"/>
              <a:gd name="connsiteX34562" fmla="*/ 649583 w 8079933"/>
              <a:gd name="connsiteY34562" fmla="*/ 810189 h 4687251"/>
              <a:gd name="connsiteX34563" fmla="*/ 653054 w 8079933"/>
              <a:gd name="connsiteY34563" fmla="*/ 805425 h 4687251"/>
              <a:gd name="connsiteX34564" fmla="*/ 658587 w 8079933"/>
              <a:gd name="connsiteY34564" fmla="*/ 801851 h 4687251"/>
              <a:gd name="connsiteX34565" fmla="*/ 663146 w 8079933"/>
              <a:gd name="connsiteY34565" fmla="*/ 795680 h 4687251"/>
              <a:gd name="connsiteX34566" fmla="*/ 664664 w 8079933"/>
              <a:gd name="connsiteY34566" fmla="*/ 795031 h 4687251"/>
              <a:gd name="connsiteX34567" fmla="*/ 668354 w 8079933"/>
              <a:gd name="connsiteY34567" fmla="*/ 799253 h 4687251"/>
              <a:gd name="connsiteX34568" fmla="*/ 670308 w 8079933"/>
              <a:gd name="connsiteY34568" fmla="*/ 801635 h 4687251"/>
              <a:gd name="connsiteX34569" fmla="*/ 672478 w 8079933"/>
              <a:gd name="connsiteY34569" fmla="*/ 800661 h 4687251"/>
              <a:gd name="connsiteX34570" fmla="*/ 679532 w 8079933"/>
              <a:gd name="connsiteY34570" fmla="*/ 804775 h 4687251"/>
              <a:gd name="connsiteX34571" fmla="*/ 684524 w 8079933"/>
              <a:gd name="connsiteY34571" fmla="*/ 805533 h 4687251"/>
              <a:gd name="connsiteX34572" fmla="*/ 688212 w 8079933"/>
              <a:gd name="connsiteY34572" fmla="*/ 804234 h 4687251"/>
              <a:gd name="connsiteX34573" fmla="*/ 693095 w 8079933"/>
              <a:gd name="connsiteY34573" fmla="*/ 799794 h 4687251"/>
              <a:gd name="connsiteX34574" fmla="*/ 696134 w 8079933"/>
              <a:gd name="connsiteY34574" fmla="*/ 798171 h 4687251"/>
              <a:gd name="connsiteX34575" fmla="*/ 700691 w 8079933"/>
              <a:gd name="connsiteY34575" fmla="*/ 798604 h 4687251"/>
              <a:gd name="connsiteX34576" fmla="*/ 704707 w 8079933"/>
              <a:gd name="connsiteY34576" fmla="*/ 795572 h 4687251"/>
              <a:gd name="connsiteX34577" fmla="*/ 709156 w 8079933"/>
              <a:gd name="connsiteY34577" fmla="*/ 789834 h 4687251"/>
              <a:gd name="connsiteX34578" fmla="*/ 710675 w 8079933"/>
              <a:gd name="connsiteY34578" fmla="*/ 785070 h 4687251"/>
              <a:gd name="connsiteX34579" fmla="*/ 709915 w 8079933"/>
              <a:gd name="connsiteY34579" fmla="*/ 781388 h 4687251"/>
              <a:gd name="connsiteX34580" fmla="*/ 708724 w 8079933"/>
              <a:gd name="connsiteY34580" fmla="*/ 779223 h 4687251"/>
              <a:gd name="connsiteX34581" fmla="*/ 709915 w 8079933"/>
              <a:gd name="connsiteY34581" fmla="*/ 776408 h 4687251"/>
              <a:gd name="connsiteX34582" fmla="*/ 712196 w 8079933"/>
              <a:gd name="connsiteY34582" fmla="*/ 772835 h 4687251"/>
              <a:gd name="connsiteX34583" fmla="*/ 713498 w 8079933"/>
              <a:gd name="connsiteY34583" fmla="*/ 767205 h 4687251"/>
              <a:gd name="connsiteX34584" fmla="*/ 720985 w 8079933"/>
              <a:gd name="connsiteY34584" fmla="*/ 758760 h 4687251"/>
              <a:gd name="connsiteX34585" fmla="*/ 721528 w 8079933"/>
              <a:gd name="connsiteY34585" fmla="*/ 752264 h 4687251"/>
              <a:gd name="connsiteX34586" fmla="*/ 718597 w 8079933"/>
              <a:gd name="connsiteY34586" fmla="*/ 749015 h 4687251"/>
              <a:gd name="connsiteX34587" fmla="*/ 713498 w 8079933"/>
              <a:gd name="connsiteY34587" fmla="*/ 748366 h 4687251"/>
              <a:gd name="connsiteX34588" fmla="*/ 712955 w 8079933"/>
              <a:gd name="connsiteY34588" fmla="*/ 747175 h 4687251"/>
              <a:gd name="connsiteX34589" fmla="*/ 719356 w 8079933"/>
              <a:gd name="connsiteY34589" fmla="*/ 742195 h 4687251"/>
              <a:gd name="connsiteX34590" fmla="*/ 722287 w 8079933"/>
              <a:gd name="connsiteY34590" fmla="*/ 742519 h 4687251"/>
              <a:gd name="connsiteX34591" fmla="*/ 724457 w 8079933"/>
              <a:gd name="connsiteY34591" fmla="*/ 744685 h 4687251"/>
              <a:gd name="connsiteX34592" fmla="*/ 731403 w 8079933"/>
              <a:gd name="connsiteY34592" fmla="*/ 743710 h 4687251"/>
              <a:gd name="connsiteX34593" fmla="*/ 735635 w 8079933"/>
              <a:gd name="connsiteY34593" fmla="*/ 735807 h 4687251"/>
              <a:gd name="connsiteX34594" fmla="*/ 733138 w 8079933"/>
              <a:gd name="connsiteY34594" fmla="*/ 734399 h 4687251"/>
              <a:gd name="connsiteX34595" fmla="*/ 732922 w 8079933"/>
              <a:gd name="connsiteY34595" fmla="*/ 732558 h 4687251"/>
              <a:gd name="connsiteX34596" fmla="*/ 738238 w 8079933"/>
              <a:gd name="connsiteY34596" fmla="*/ 728769 h 4687251"/>
              <a:gd name="connsiteX34597" fmla="*/ 740300 w 8079933"/>
              <a:gd name="connsiteY34597" fmla="*/ 725304 h 4687251"/>
              <a:gd name="connsiteX34598" fmla="*/ 737914 w 8079933"/>
              <a:gd name="connsiteY34598" fmla="*/ 727037 h 4687251"/>
              <a:gd name="connsiteX34599" fmla="*/ 731727 w 8079933"/>
              <a:gd name="connsiteY34599" fmla="*/ 727362 h 4687251"/>
              <a:gd name="connsiteX34600" fmla="*/ 723589 w 8079933"/>
              <a:gd name="connsiteY34600" fmla="*/ 732342 h 4687251"/>
              <a:gd name="connsiteX34601" fmla="*/ 721201 w 8079933"/>
              <a:gd name="connsiteY34601" fmla="*/ 731476 h 4687251"/>
              <a:gd name="connsiteX34602" fmla="*/ 720225 w 8079933"/>
              <a:gd name="connsiteY34602" fmla="*/ 728552 h 4687251"/>
              <a:gd name="connsiteX34603" fmla="*/ 718272 w 8079933"/>
              <a:gd name="connsiteY34603" fmla="*/ 728552 h 4687251"/>
              <a:gd name="connsiteX34604" fmla="*/ 715233 w 8079933"/>
              <a:gd name="connsiteY34604" fmla="*/ 733317 h 4687251"/>
              <a:gd name="connsiteX34605" fmla="*/ 708287 w 8079933"/>
              <a:gd name="connsiteY34605" fmla="*/ 734074 h 4687251"/>
              <a:gd name="connsiteX34606" fmla="*/ 698414 w 8079933"/>
              <a:gd name="connsiteY34606" fmla="*/ 740029 h 4687251"/>
              <a:gd name="connsiteX34607" fmla="*/ 690709 w 8079933"/>
              <a:gd name="connsiteY34607" fmla="*/ 741762 h 4687251"/>
              <a:gd name="connsiteX34608" fmla="*/ 688973 w 8079933"/>
              <a:gd name="connsiteY34608" fmla="*/ 744576 h 4687251"/>
              <a:gd name="connsiteX34609" fmla="*/ 682787 w 8079933"/>
              <a:gd name="connsiteY34609" fmla="*/ 749882 h 4687251"/>
              <a:gd name="connsiteX34610" fmla="*/ 680399 w 8079933"/>
              <a:gd name="connsiteY34610" fmla="*/ 749665 h 4687251"/>
              <a:gd name="connsiteX34611" fmla="*/ 680182 w 8079933"/>
              <a:gd name="connsiteY34611" fmla="*/ 745226 h 4687251"/>
              <a:gd name="connsiteX34612" fmla="*/ 685065 w 8079933"/>
              <a:gd name="connsiteY34612" fmla="*/ 739380 h 4687251"/>
              <a:gd name="connsiteX34613" fmla="*/ 685176 w 8079933"/>
              <a:gd name="connsiteY34613" fmla="*/ 736672 h 4687251"/>
              <a:gd name="connsiteX34614" fmla="*/ 680399 w 8079933"/>
              <a:gd name="connsiteY34614" fmla="*/ 734941 h 4687251"/>
              <a:gd name="connsiteX34615" fmla="*/ 678772 w 8079933"/>
              <a:gd name="connsiteY34615" fmla="*/ 736998 h 4687251"/>
              <a:gd name="connsiteX34616" fmla="*/ 679205 w 8079933"/>
              <a:gd name="connsiteY34616" fmla="*/ 743494 h 4687251"/>
              <a:gd name="connsiteX34617" fmla="*/ 677143 w 8079933"/>
              <a:gd name="connsiteY34617" fmla="*/ 745876 h 4687251"/>
              <a:gd name="connsiteX34618" fmla="*/ 674539 w 8079933"/>
              <a:gd name="connsiteY34618" fmla="*/ 744576 h 4687251"/>
              <a:gd name="connsiteX34619" fmla="*/ 673020 w 8079933"/>
              <a:gd name="connsiteY34619" fmla="*/ 738838 h 4687251"/>
              <a:gd name="connsiteX34620" fmla="*/ 669005 w 8079933"/>
              <a:gd name="connsiteY34620" fmla="*/ 736131 h 4687251"/>
              <a:gd name="connsiteX34621" fmla="*/ 658371 w 8079933"/>
              <a:gd name="connsiteY34621" fmla="*/ 734724 h 4687251"/>
              <a:gd name="connsiteX34622" fmla="*/ 652838 w 8079933"/>
              <a:gd name="connsiteY34622" fmla="*/ 731692 h 4687251"/>
              <a:gd name="connsiteX34623" fmla="*/ 646109 w 8079933"/>
              <a:gd name="connsiteY34623" fmla="*/ 733858 h 4687251"/>
              <a:gd name="connsiteX34624" fmla="*/ 639924 w 8079933"/>
              <a:gd name="connsiteY34624" fmla="*/ 738297 h 4687251"/>
              <a:gd name="connsiteX34625" fmla="*/ 636776 w 8079933"/>
              <a:gd name="connsiteY34625" fmla="*/ 738188 h 4687251"/>
              <a:gd name="connsiteX34626" fmla="*/ 631568 w 8079933"/>
              <a:gd name="connsiteY34626" fmla="*/ 732558 h 4687251"/>
              <a:gd name="connsiteX34627" fmla="*/ 623755 w 8079933"/>
              <a:gd name="connsiteY34627" fmla="*/ 729419 h 4687251"/>
              <a:gd name="connsiteX34628" fmla="*/ 615397 w 8079933"/>
              <a:gd name="connsiteY34628" fmla="*/ 720107 h 4687251"/>
              <a:gd name="connsiteX34629" fmla="*/ 614747 w 8079933"/>
              <a:gd name="connsiteY34629" fmla="*/ 713828 h 4687251"/>
              <a:gd name="connsiteX34630" fmla="*/ 615940 w 8079933"/>
              <a:gd name="connsiteY34630" fmla="*/ 707115 h 4687251"/>
              <a:gd name="connsiteX34631" fmla="*/ 619738 w 8079933"/>
              <a:gd name="connsiteY34631" fmla="*/ 701052 h 4687251"/>
              <a:gd name="connsiteX34632" fmla="*/ 624948 w 8079933"/>
              <a:gd name="connsiteY34632" fmla="*/ 696288 h 4687251"/>
              <a:gd name="connsiteX34633" fmla="*/ 624732 w 8079933"/>
              <a:gd name="connsiteY34633" fmla="*/ 692607 h 4687251"/>
              <a:gd name="connsiteX34634" fmla="*/ 623319 w 8079933"/>
              <a:gd name="connsiteY34634" fmla="*/ 690874 h 4687251"/>
              <a:gd name="connsiteX34635" fmla="*/ 622343 w 8079933"/>
              <a:gd name="connsiteY34635" fmla="*/ 681238 h 4687251"/>
              <a:gd name="connsiteX34636" fmla="*/ 625924 w 8079933"/>
              <a:gd name="connsiteY34636" fmla="*/ 676366 h 4687251"/>
              <a:gd name="connsiteX34637" fmla="*/ 629722 w 8079933"/>
              <a:gd name="connsiteY34637" fmla="*/ 675933 h 4687251"/>
              <a:gd name="connsiteX34638" fmla="*/ 629722 w 8079933"/>
              <a:gd name="connsiteY34638" fmla="*/ 677882 h 4687251"/>
              <a:gd name="connsiteX34639" fmla="*/ 625599 w 8079933"/>
              <a:gd name="connsiteY34639" fmla="*/ 682321 h 4687251"/>
              <a:gd name="connsiteX34640" fmla="*/ 628855 w 8079933"/>
              <a:gd name="connsiteY34640" fmla="*/ 686977 h 4687251"/>
              <a:gd name="connsiteX34641" fmla="*/ 631784 w 8079933"/>
              <a:gd name="connsiteY34641" fmla="*/ 686977 h 4687251"/>
              <a:gd name="connsiteX34642" fmla="*/ 637101 w 8079933"/>
              <a:gd name="connsiteY34642" fmla="*/ 681455 h 4687251"/>
              <a:gd name="connsiteX34643" fmla="*/ 639381 w 8079933"/>
              <a:gd name="connsiteY34643" fmla="*/ 681130 h 4687251"/>
              <a:gd name="connsiteX34644" fmla="*/ 642636 w 8079933"/>
              <a:gd name="connsiteY34644" fmla="*/ 683728 h 4687251"/>
              <a:gd name="connsiteX34645" fmla="*/ 648170 w 8079933"/>
              <a:gd name="connsiteY34645" fmla="*/ 687518 h 4687251"/>
              <a:gd name="connsiteX34646" fmla="*/ 649039 w 8079933"/>
              <a:gd name="connsiteY34646" fmla="*/ 692282 h 4687251"/>
              <a:gd name="connsiteX34647" fmla="*/ 657069 w 8079933"/>
              <a:gd name="connsiteY34647" fmla="*/ 692065 h 4687251"/>
              <a:gd name="connsiteX34648" fmla="*/ 658806 w 8079933"/>
              <a:gd name="connsiteY34648" fmla="*/ 690766 h 4687251"/>
              <a:gd name="connsiteX34649" fmla="*/ 653270 w 8079933"/>
              <a:gd name="connsiteY34649" fmla="*/ 687842 h 4687251"/>
              <a:gd name="connsiteX34650" fmla="*/ 648496 w 8079933"/>
              <a:gd name="connsiteY34650" fmla="*/ 686652 h 4687251"/>
              <a:gd name="connsiteX34651" fmla="*/ 646435 w 8079933"/>
              <a:gd name="connsiteY34651" fmla="*/ 680913 h 4687251"/>
              <a:gd name="connsiteX34652" fmla="*/ 641226 w 8079933"/>
              <a:gd name="connsiteY34652" fmla="*/ 678207 h 4687251"/>
              <a:gd name="connsiteX34653" fmla="*/ 636233 w 8079933"/>
              <a:gd name="connsiteY34653" fmla="*/ 671277 h 4687251"/>
              <a:gd name="connsiteX34654" fmla="*/ 629505 w 8079933"/>
              <a:gd name="connsiteY34654" fmla="*/ 669545 h 4687251"/>
              <a:gd name="connsiteX34655" fmla="*/ 623319 w 8079933"/>
              <a:gd name="connsiteY34655" fmla="*/ 660017 h 4687251"/>
              <a:gd name="connsiteX34656" fmla="*/ 616808 w 8079933"/>
              <a:gd name="connsiteY34656" fmla="*/ 651897 h 4687251"/>
              <a:gd name="connsiteX34657" fmla="*/ 616918 w 8079933"/>
              <a:gd name="connsiteY34657" fmla="*/ 650165 h 4687251"/>
              <a:gd name="connsiteX34658" fmla="*/ 620717 w 8079933"/>
              <a:gd name="connsiteY34658" fmla="*/ 644534 h 4687251"/>
              <a:gd name="connsiteX34659" fmla="*/ 624732 w 8079933"/>
              <a:gd name="connsiteY34659" fmla="*/ 642802 h 4687251"/>
              <a:gd name="connsiteX34660" fmla="*/ 623537 w 8079933"/>
              <a:gd name="connsiteY34660" fmla="*/ 645726 h 4687251"/>
              <a:gd name="connsiteX34661" fmla="*/ 622343 w 8079933"/>
              <a:gd name="connsiteY34661" fmla="*/ 647458 h 4687251"/>
              <a:gd name="connsiteX34662" fmla="*/ 625273 w 8079933"/>
              <a:gd name="connsiteY34662" fmla="*/ 646916 h 4687251"/>
              <a:gd name="connsiteX34663" fmla="*/ 630265 w 8079933"/>
              <a:gd name="connsiteY34663" fmla="*/ 643669 h 4687251"/>
              <a:gd name="connsiteX34664" fmla="*/ 637427 w 8079933"/>
              <a:gd name="connsiteY34664" fmla="*/ 640422 h 4687251"/>
              <a:gd name="connsiteX34665" fmla="*/ 641116 w 8079933"/>
              <a:gd name="connsiteY34665" fmla="*/ 639014 h 4687251"/>
              <a:gd name="connsiteX34666" fmla="*/ 641116 w 8079933"/>
              <a:gd name="connsiteY34666" fmla="*/ 636418 h 4687251"/>
              <a:gd name="connsiteX34667" fmla="*/ 647845 w 8079933"/>
              <a:gd name="connsiteY34667" fmla="*/ 632518 h 4687251"/>
              <a:gd name="connsiteX34668" fmla="*/ 651425 w 8079933"/>
              <a:gd name="connsiteY34668" fmla="*/ 632518 h 4687251"/>
              <a:gd name="connsiteX34669" fmla="*/ 652511 w 8079933"/>
              <a:gd name="connsiteY34669" fmla="*/ 634036 h 4687251"/>
              <a:gd name="connsiteX34670" fmla="*/ 657285 w 8079933"/>
              <a:gd name="connsiteY34670" fmla="*/ 633819 h 4687251"/>
              <a:gd name="connsiteX34671" fmla="*/ 657610 w 8079933"/>
              <a:gd name="connsiteY34671" fmla="*/ 631436 h 4687251"/>
              <a:gd name="connsiteX34672" fmla="*/ 660758 w 8079933"/>
              <a:gd name="connsiteY34672" fmla="*/ 628836 h 4687251"/>
              <a:gd name="connsiteX34673" fmla="*/ 669873 w 8079933"/>
              <a:gd name="connsiteY34673" fmla="*/ 627430 h 4687251"/>
              <a:gd name="connsiteX34674" fmla="*/ 678337 w 8079933"/>
              <a:gd name="connsiteY34674" fmla="*/ 628836 h 4687251"/>
              <a:gd name="connsiteX34675" fmla="*/ 682787 w 8079933"/>
              <a:gd name="connsiteY34675" fmla="*/ 630461 h 4687251"/>
              <a:gd name="connsiteX34676" fmla="*/ 684524 w 8079933"/>
              <a:gd name="connsiteY34676" fmla="*/ 632844 h 4687251"/>
              <a:gd name="connsiteX34677" fmla="*/ 688647 w 8079933"/>
              <a:gd name="connsiteY34677" fmla="*/ 632844 h 4687251"/>
              <a:gd name="connsiteX34678" fmla="*/ 692662 w 8079933"/>
              <a:gd name="connsiteY34678" fmla="*/ 633494 h 4687251"/>
              <a:gd name="connsiteX34679" fmla="*/ 693421 w 8079933"/>
              <a:gd name="connsiteY34679" fmla="*/ 631978 h 4687251"/>
              <a:gd name="connsiteX34680" fmla="*/ 688104 w 8079933"/>
              <a:gd name="connsiteY34680" fmla="*/ 627106 h 4687251"/>
              <a:gd name="connsiteX34681" fmla="*/ 685935 w 8079933"/>
              <a:gd name="connsiteY34681" fmla="*/ 624725 h 4687251"/>
              <a:gd name="connsiteX34682" fmla="*/ 686910 w 8079933"/>
              <a:gd name="connsiteY34682" fmla="*/ 622343 h 4687251"/>
              <a:gd name="connsiteX34683" fmla="*/ 701235 w 8079933"/>
              <a:gd name="connsiteY34683" fmla="*/ 616495 h 4687251"/>
              <a:gd name="connsiteX34684" fmla="*/ 705358 w 8079933"/>
              <a:gd name="connsiteY34684" fmla="*/ 616278 h 4687251"/>
              <a:gd name="connsiteX34685" fmla="*/ 709264 w 8079933"/>
              <a:gd name="connsiteY34685" fmla="*/ 619093 h 4687251"/>
              <a:gd name="connsiteX34686" fmla="*/ 713606 w 8079933"/>
              <a:gd name="connsiteY34686" fmla="*/ 618877 h 4687251"/>
              <a:gd name="connsiteX34687" fmla="*/ 721201 w 8079933"/>
              <a:gd name="connsiteY34687" fmla="*/ 614764 h 4687251"/>
              <a:gd name="connsiteX34688" fmla="*/ 725868 w 8079933"/>
              <a:gd name="connsiteY34688" fmla="*/ 614982 h 4687251"/>
              <a:gd name="connsiteX34689" fmla="*/ 729666 w 8079933"/>
              <a:gd name="connsiteY34689" fmla="*/ 616603 h 4687251"/>
              <a:gd name="connsiteX34690" fmla="*/ 735853 w 8079933"/>
              <a:gd name="connsiteY34690" fmla="*/ 623210 h 4687251"/>
              <a:gd name="connsiteX34691" fmla="*/ 736177 w 8079933"/>
              <a:gd name="connsiteY34691" fmla="*/ 626133 h 4687251"/>
              <a:gd name="connsiteX34692" fmla="*/ 733248 w 8079933"/>
              <a:gd name="connsiteY34692" fmla="*/ 629596 h 4687251"/>
              <a:gd name="connsiteX34693" fmla="*/ 730536 w 8079933"/>
              <a:gd name="connsiteY34693" fmla="*/ 630029 h 4687251"/>
              <a:gd name="connsiteX34694" fmla="*/ 725542 w 8079933"/>
              <a:gd name="connsiteY34694" fmla="*/ 637285 h 4687251"/>
              <a:gd name="connsiteX34695" fmla="*/ 721201 w 8079933"/>
              <a:gd name="connsiteY34695" fmla="*/ 638797 h 4687251"/>
              <a:gd name="connsiteX34696" fmla="*/ 720985 w 8079933"/>
              <a:gd name="connsiteY34696" fmla="*/ 641614 h 4687251"/>
              <a:gd name="connsiteX34697" fmla="*/ 722938 w 8079933"/>
              <a:gd name="connsiteY34697" fmla="*/ 645292 h 4687251"/>
              <a:gd name="connsiteX34698" fmla="*/ 723265 w 8079933"/>
              <a:gd name="connsiteY34698" fmla="*/ 650489 h 4687251"/>
              <a:gd name="connsiteX34699" fmla="*/ 725326 w 8079933"/>
              <a:gd name="connsiteY34699" fmla="*/ 650814 h 4687251"/>
              <a:gd name="connsiteX34700" fmla="*/ 728582 w 8079933"/>
              <a:gd name="connsiteY34700" fmla="*/ 648973 h 4687251"/>
              <a:gd name="connsiteX34701" fmla="*/ 731838 w 8079933"/>
              <a:gd name="connsiteY34701" fmla="*/ 651247 h 4687251"/>
              <a:gd name="connsiteX34702" fmla="*/ 732379 w 8079933"/>
              <a:gd name="connsiteY34702" fmla="*/ 654928 h 4687251"/>
              <a:gd name="connsiteX34703" fmla="*/ 736504 w 8079933"/>
              <a:gd name="connsiteY34703" fmla="*/ 655145 h 4687251"/>
              <a:gd name="connsiteX34704" fmla="*/ 739108 w 8079933"/>
              <a:gd name="connsiteY34704" fmla="*/ 654171 h 4687251"/>
              <a:gd name="connsiteX34705" fmla="*/ 742364 w 8079933"/>
              <a:gd name="connsiteY34705" fmla="*/ 654928 h 4687251"/>
              <a:gd name="connsiteX34706" fmla="*/ 743123 w 8079933"/>
              <a:gd name="connsiteY34706" fmla="*/ 660017 h 4687251"/>
              <a:gd name="connsiteX34707" fmla="*/ 746161 w 8079933"/>
              <a:gd name="connsiteY34707" fmla="*/ 661533 h 4687251"/>
              <a:gd name="connsiteX34708" fmla="*/ 752237 w 8079933"/>
              <a:gd name="connsiteY34708" fmla="*/ 660991 h 4687251"/>
              <a:gd name="connsiteX34709" fmla="*/ 754082 w 8079933"/>
              <a:gd name="connsiteY34709" fmla="*/ 662074 h 4687251"/>
              <a:gd name="connsiteX34710" fmla="*/ 755387 w 8079933"/>
              <a:gd name="connsiteY34710" fmla="*/ 666513 h 4687251"/>
              <a:gd name="connsiteX34711" fmla="*/ 759617 w 8079933"/>
              <a:gd name="connsiteY34711" fmla="*/ 664456 h 4687251"/>
              <a:gd name="connsiteX34712" fmla="*/ 763959 w 8079933"/>
              <a:gd name="connsiteY34712" fmla="*/ 662940 h 4687251"/>
              <a:gd name="connsiteX34713" fmla="*/ 764500 w 8079933"/>
              <a:gd name="connsiteY34713" fmla="*/ 658718 h 4687251"/>
              <a:gd name="connsiteX34714" fmla="*/ 771662 w 8079933"/>
              <a:gd name="connsiteY34714" fmla="*/ 653088 h 4687251"/>
              <a:gd name="connsiteX34715" fmla="*/ 774485 w 8079933"/>
              <a:gd name="connsiteY34715" fmla="*/ 650706 h 4687251"/>
              <a:gd name="connsiteX34716" fmla="*/ 776328 w 8079933"/>
              <a:gd name="connsiteY34716" fmla="*/ 652438 h 4687251"/>
              <a:gd name="connsiteX34717" fmla="*/ 779475 w 8079933"/>
              <a:gd name="connsiteY34717" fmla="*/ 653954 h 4687251"/>
              <a:gd name="connsiteX34718" fmla="*/ 779800 w 8079933"/>
              <a:gd name="connsiteY34718" fmla="*/ 656661 h 4687251"/>
              <a:gd name="connsiteX34719" fmla="*/ 773615 w 8079933"/>
              <a:gd name="connsiteY34719" fmla="*/ 664565 h 4687251"/>
              <a:gd name="connsiteX34720" fmla="*/ 780451 w 8079933"/>
              <a:gd name="connsiteY34720" fmla="*/ 662074 h 4687251"/>
              <a:gd name="connsiteX34721" fmla="*/ 785335 w 8079933"/>
              <a:gd name="connsiteY34721" fmla="*/ 656661 h 4687251"/>
              <a:gd name="connsiteX34722" fmla="*/ 785660 w 8079933"/>
              <a:gd name="connsiteY34722" fmla="*/ 648324 h 4687251"/>
              <a:gd name="connsiteX34723" fmla="*/ 783274 w 8079933"/>
              <a:gd name="connsiteY34723" fmla="*/ 642802 h 4687251"/>
              <a:gd name="connsiteX34724" fmla="*/ 777414 w 8079933"/>
              <a:gd name="connsiteY34724" fmla="*/ 642802 h 4687251"/>
              <a:gd name="connsiteX34725" fmla="*/ 775134 w 8079933"/>
              <a:gd name="connsiteY34725" fmla="*/ 640529 h 4687251"/>
              <a:gd name="connsiteX34726" fmla="*/ 771878 w 8079933"/>
              <a:gd name="connsiteY34726" fmla="*/ 640529 h 4687251"/>
              <a:gd name="connsiteX34727" fmla="*/ 768733 w 8079933"/>
              <a:gd name="connsiteY34727" fmla="*/ 645509 h 4687251"/>
              <a:gd name="connsiteX34728" fmla="*/ 768733 w 8079933"/>
              <a:gd name="connsiteY34728" fmla="*/ 641721 h 4687251"/>
              <a:gd name="connsiteX34729" fmla="*/ 773072 w 8079933"/>
              <a:gd name="connsiteY34729" fmla="*/ 636959 h 4687251"/>
              <a:gd name="connsiteX34730" fmla="*/ 775352 w 8079933"/>
              <a:gd name="connsiteY34730" fmla="*/ 627863 h 4687251"/>
              <a:gd name="connsiteX34731" fmla="*/ 775786 w 8079933"/>
              <a:gd name="connsiteY34731" fmla="*/ 613897 h 4687251"/>
              <a:gd name="connsiteX34732" fmla="*/ 779910 w 8079933"/>
              <a:gd name="connsiteY34732" fmla="*/ 609457 h 4687251"/>
              <a:gd name="connsiteX34733" fmla="*/ 781862 w 8079933"/>
              <a:gd name="connsiteY34733" fmla="*/ 609565 h 4687251"/>
              <a:gd name="connsiteX34734" fmla="*/ 782515 w 8079933"/>
              <a:gd name="connsiteY34734" fmla="*/ 614115 h 4687251"/>
              <a:gd name="connsiteX34735" fmla="*/ 777414 w 8079933"/>
              <a:gd name="connsiteY34735" fmla="*/ 628189 h 4687251"/>
              <a:gd name="connsiteX34736" fmla="*/ 776655 w 8079933"/>
              <a:gd name="connsiteY34736" fmla="*/ 635444 h 4687251"/>
              <a:gd name="connsiteX34737" fmla="*/ 782404 w 8079933"/>
              <a:gd name="connsiteY34737" fmla="*/ 639881 h 4687251"/>
              <a:gd name="connsiteX34738" fmla="*/ 784576 w 8079933"/>
              <a:gd name="connsiteY34738" fmla="*/ 639556 h 4687251"/>
              <a:gd name="connsiteX34739" fmla="*/ 788808 w 8079933"/>
              <a:gd name="connsiteY34739" fmla="*/ 641071 h 4687251"/>
              <a:gd name="connsiteX34740" fmla="*/ 790977 w 8079933"/>
              <a:gd name="connsiteY34740" fmla="*/ 647783 h 4687251"/>
              <a:gd name="connsiteX34741" fmla="*/ 793582 w 8079933"/>
              <a:gd name="connsiteY34741" fmla="*/ 650381 h 4687251"/>
              <a:gd name="connsiteX34742" fmla="*/ 799768 w 8079933"/>
              <a:gd name="connsiteY34742" fmla="*/ 651030 h 4687251"/>
              <a:gd name="connsiteX34743" fmla="*/ 802697 w 8079933"/>
              <a:gd name="connsiteY34743" fmla="*/ 649298 h 4687251"/>
              <a:gd name="connsiteX34744" fmla="*/ 807582 w 8079933"/>
              <a:gd name="connsiteY34744" fmla="*/ 652114 h 4687251"/>
              <a:gd name="connsiteX34745" fmla="*/ 806823 w 8079933"/>
              <a:gd name="connsiteY34745" fmla="*/ 655361 h 4687251"/>
              <a:gd name="connsiteX34746" fmla="*/ 814744 w 8079933"/>
              <a:gd name="connsiteY34746" fmla="*/ 654495 h 4687251"/>
              <a:gd name="connsiteX34747" fmla="*/ 816263 w 8079933"/>
              <a:gd name="connsiteY34747" fmla="*/ 649623 h 4687251"/>
              <a:gd name="connsiteX34748" fmla="*/ 814961 w 8079933"/>
              <a:gd name="connsiteY34748" fmla="*/ 644318 h 4687251"/>
              <a:gd name="connsiteX34749" fmla="*/ 821148 w 8079933"/>
              <a:gd name="connsiteY34749" fmla="*/ 641071 h 4687251"/>
              <a:gd name="connsiteX34750" fmla="*/ 814744 w 8079933"/>
              <a:gd name="connsiteY34750" fmla="*/ 637609 h 4687251"/>
              <a:gd name="connsiteX34751" fmla="*/ 807364 w 8079933"/>
              <a:gd name="connsiteY34751" fmla="*/ 635444 h 4687251"/>
              <a:gd name="connsiteX34752" fmla="*/ 801179 w 8079933"/>
              <a:gd name="connsiteY34752" fmla="*/ 637285 h 4687251"/>
              <a:gd name="connsiteX34753" fmla="*/ 799441 w 8079933"/>
              <a:gd name="connsiteY34753" fmla="*/ 634146 h 4687251"/>
              <a:gd name="connsiteX34754" fmla="*/ 795643 w 8079933"/>
              <a:gd name="connsiteY34754" fmla="*/ 632518 h 4687251"/>
              <a:gd name="connsiteX34755" fmla="*/ 790218 w 8079933"/>
              <a:gd name="connsiteY34755" fmla="*/ 634036 h 4687251"/>
              <a:gd name="connsiteX34756" fmla="*/ 786746 w 8079933"/>
              <a:gd name="connsiteY34756" fmla="*/ 636959 h 4687251"/>
              <a:gd name="connsiteX34757" fmla="*/ 784358 w 8079933"/>
              <a:gd name="connsiteY34757" fmla="*/ 635011 h 4687251"/>
              <a:gd name="connsiteX34758" fmla="*/ 783817 w 8079933"/>
              <a:gd name="connsiteY34758" fmla="*/ 629596 h 4687251"/>
              <a:gd name="connsiteX34759" fmla="*/ 784468 w 8079933"/>
              <a:gd name="connsiteY34759" fmla="*/ 617254 h 4687251"/>
              <a:gd name="connsiteX34760" fmla="*/ 785878 w 8079933"/>
              <a:gd name="connsiteY34760" fmla="*/ 613897 h 4687251"/>
              <a:gd name="connsiteX34761" fmla="*/ 790869 w 8079933"/>
              <a:gd name="connsiteY34761" fmla="*/ 614546 h 4687251"/>
              <a:gd name="connsiteX34762" fmla="*/ 793690 w 8079933"/>
              <a:gd name="connsiteY34762" fmla="*/ 612599 h 4687251"/>
              <a:gd name="connsiteX34763" fmla="*/ 781972 w 8079933"/>
              <a:gd name="connsiteY34763" fmla="*/ 603287 h 4687251"/>
              <a:gd name="connsiteX34764" fmla="*/ 782404 w 8079933"/>
              <a:gd name="connsiteY34764" fmla="*/ 600147 h 4687251"/>
              <a:gd name="connsiteX34765" fmla="*/ 785878 w 8079933"/>
              <a:gd name="connsiteY34765" fmla="*/ 597223 h 4687251"/>
              <a:gd name="connsiteX34766" fmla="*/ 782404 w 8079933"/>
              <a:gd name="connsiteY34766" fmla="*/ 597223 h 4687251"/>
              <a:gd name="connsiteX34767" fmla="*/ 778606 w 8079933"/>
              <a:gd name="connsiteY34767" fmla="*/ 599607 h 4687251"/>
              <a:gd name="connsiteX34768" fmla="*/ 776220 w 8079933"/>
              <a:gd name="connsiteY34768" fmla="*/ 597441 h 4687251"/>
              <a:gd name="connsiteX34769" fmla="*/ 776328 w 8079933"/>
              <a:gd name="connsiteY34769" fmla="*/ 602529 h 4687251"/>
              <a:gd name="connsiteX34770" fmla="*/ 771338 w 8079933"/>
              <a:gd name="connsiteY34770" fmla="*/ 600363 h 4687251"/>
              <a:gd name="connsiteX34771" fmla="*/ 762330 w 8079933"/>
              <a:gd name="connsiteY34771" fmla="*/ 589536 h 4687251"/>
              <a:gd name="connsiteX34772" fmla="*/ 762330 w 8079933"/>
              <a:gd name="connsiteY34772" fmla="*/ 586936 h 4687251"/>
              <a:gd name="connsiteX34773" fmla="*/ 766561 w 8079933"/>
              <a:gd name="connsiteY34773" fmla="*/ 580875 h 4687251"/>
              <a:gd name="connsiteX34774" fmla="*/ 771989 w 8079933"/>
              <a:gd name="connsiteY34774" fmla="*/ 570914 h 4687251"/>
              <a:gd name="connsiteX34775" fmla="*/ 773399 w 8079933"/>
              <a:gd name="connsiteY34775" fmla="*/ 557921 h 4687251"/>
              <a:gd name="connsiteX34776" fmla="*/ 771010 w 8079933"/>
              <a:gd name="connsiteY34776" fmla="*/ 543412 h 4687251"/>
              <a:gd name="connsiteX34777" fmla="*/ 765151 w 8079933"/>
              <a:gd name="connsiteY34777" fmla="*/ 527172 h 4687251"/>
              <a:gd name="connsiteX34778" fmla="*/ 759291 w 8079933"/>
              <a:gd name="connsiteY34778" fmla="*/ 506167 h 4687251"/>
              <a:gd name="connsiteX34779" fmla="*/ 754951 w 8079933"/>
              <a:gd name="connsiteY34779" fmla="*/ 496205 h 4687251"/>
              <a:gd name="connsiteX34780" fmla="*/ 757772 w 8079933"/>
              <a:gd name="connsiteY34780" fmla="*/ 494258 h 4687251"/>
              <a:gd name="connsiteX34781" fmla="*/ 760812 w 8079933"/>
              <a:gd name="connsiteY34781" fmla="*/ 496532 h 4687251"/>
              <a:gd name="connsiteX34782" fmla="*/ 764500 w 8079933"/>
              <a:gd name="connsiteY34782" fmla="*/ 496963 h 4687251"/>
              <a:gd name="connsiteX34783" fmla="*/ 766888 w 8079933"/>
              <a:gd name="connsiteY34783" fmla="*/ 491227 h 4687251"/>
              <a:gd name="connsiteX34784" fmla="*/ 771554 w 8079933"/>
              <a:gd name="connsiteY34784" fmla="*/ 486680 h 4687251"/>
              <a:gd name="connsiteX34785" fmla="*/ 773723 w 8079933"/>
              <a:gd name="connsiteY34785" fmla="*/ 481267 h 4687251"/>
              <a:gd name="connsiteX34786" fmla="*/ 782188 w 8079933"/>
              <a:gd name="connsiteY34786" fmla="*/ 472060 h 4687251"/>
              <a:gd name="connsiteX34787" fmla="*/ 787940 w 8079933"/>
              <a:gd name="connsiteY34787" fmla="*/ 466542 h 4687251"/>
              <a:gd name="connsiteX34788" fmla="*/ 790653 w 8079933"/>
              <a:gd name="connsiteY34788" fmla="*/ 465892 h 4687251"/>
              <a:gd name="connsiteX34789" fmla="*/ 797923 w 8079933"/>
              <a:gd name="connsiteY34789" fmla="*/ 469573 h 4687251"/>
              <a:gd name="connsiteX34790" fmla="*/ 802697 w 8079933"/>
              <a:gd name="connsiteY34790" fmla="*/ 472060 h 4687251"/>
              <a:gd name="connsiteX34791" fmla="*/ 809208 w 8079933"/>
              <a:gd name="connsiteY34791" fmla="*/ 476068 h 4687251"/>
              <a:gd name="connsiteX34792" fmla="*/ 816263 w 8079933"/>
              <a:gd name="connsiteY34792" fmla="*/ 476718 h 4687251"/>
              <a:gd name="connsiteX34793" fmla="*/ 819951 w 8079933"/>
              <a:gd name="connsiteY34793" fmla="*/ 479426 h 4687251"/>
              <a:gd name="connsiteX34794" fmla="*/ 827005 w 8079933"/>
              <a:gd name="connsiteY34794" fmla="*/ 479317 h 4687251"/>
              <a:gd name="connsiteX34795" fmla="*/ 835145 w 8079933"/>
              <a:gd name="connsiteY34795" fmla="*/ 474335 h 4687251"/>
              <a:gd name="connsiteX34796" fmla="*/ 840462 w 8079933"/>
              <a:gd name="connsiteY34796" fmla="*/ 474011 h 4687251"/>
              <a:gd name="connsiteX34797" fmla="*/ 847190 w 8079933"/>
              <a:gd name="connsiteY34797" fmla="*/ 470006 h 4687251"/>
              <a:gd name="connsiteX34798" fmla="*/ 851313 w 8079933"/>
              <a:gd name="connsiteY34798" fmla="*/ 469357 h 4687251"/>
              <a:gd name="connsiteX34799" fmla="*/ 859234 w 8079933"/>
              <a:gd name="connsiteY34799" fmla="*/ 466107 h 4687251"/>
              <a:gd name="connsiteX34800" fmla="*/ 871281 w 8079933"/>
              <a:gd name="connsiteY34800" fmla="*/ 455281 h 4687251"/>
              <a:gd name="connsiteX34801" fmla="*/ 881264 w 8079933"/>
              <a:gd name="connsiteY34801" fmla="*/ 446294 h 4687251"/>
              <a:gd name="connsiteX34802" fmla="*/ 890705 w 8079933"/>
              <a:gd name="connsiteY34802" fmla="*/ 439256 h 4687251"/>
              <a:gd name="connsiteX34803" fmla="*/ 904487 w 8079933"/>
              <a:gd name="connsiteY34803" fmla="*/ 432760 h 4687251"/>
              <a:gd name="connsiteX34804" fmla="*/ 916966 w 8079933"/>
              <a:gd name="connsiteY34804" fmla="*/ 422368 h 4687251"/>
              <a:gd name="connsiteX34805" fmla="*/ 926732 w 8079933"/>
              <a:gd name="connsiteY34805" fmla="*/ 417603 h 4687251"/>
              <a:gd name="connsiteX34806" fmla="*/ 934871 w 8079933"/>
              <a:gd name="connsiteY34806" fmla="*/ 418792 h 4687251"/>
              <a:gd name="connsiteX34807" fmla="*/ 941708 w 8079933"/>
              <a:gd name="connsiteY34807" fmla="*/ 420525 h 4687251"/>
              <a:gd name="connsiteX34808" fmla="*/ 944095 w 8079933"/>
              <a:gd name="connsiteY34808" fmla="*/ 419116 h 4687251"/>
              <a:gd name="connsiteX34809" fmla="*/ 941599 w 8079933"/>
              <a:gd name="connsiteY34809" fmla="*/ 416086 h 4687251"/>
              <a:gd name="connsiteX34810" fmla="*/ 934546 w 8079933"/>
              <a:gd name="connsiteY34810" fmla="*/ 412946 h 4687251"/>
              <a:gd name="connsiteX34811" fmla="*/ 934003 w 8079933"/>
              <a:gd name="connsiteY34811" fmla="*/ 411216 h 4687251"/>
              <a:gd name="connsiteX34812" fmla="*/ 936932 w 8079933"/>
              <a:gd name="connsiteY34812" fmla="*/ 411108 h 4687251"/>
              <a:gd name="connsiteX34813" fmla="*/ 942575 w 8079933"/>
              <a:gd name="connsiteY34813" fmla="*/ 412405 h 4687251"/>
              <a:gd name="connsiteX34814" fmla="*/ 946266 w 8079933"/>
              <a:gd name="connsiteY34814" fmla="*/ 417276 h 4687251"/>
              <a:gd name="connsiteX34815" fmla="*/ 949303 w 8079933"/>
              <a:gd name="connsiteY34815" fmla="*/ 418792 h 4687251"/>
              <a:gd name="connsiteX34816" fmla="*/ 954296 w 8079933"/>
              <a:gd name="connsiteY34816" fmla="*/ 418792 h 4687251"/>
              <a:gd name="connsiteX34817" fmla="*/ 966340 w 8079933"/>
              <a:gd name="connsiteY34817" fmla="*/ 413598 h 4687251"/>
              <a:gd name="connsiteX34818" fmla="*/ 968837 w 8079933"/>
              <a:gd name="connsiteY34818" fmla="*/ 413813 h 4687251"/>
              <a:gd name="connsiteX34819" fmla="*/ 968405 w 8079933"/>
              <a:gd name="connsiteY34819" fmla="*/ 416952 h 4687251"/>
              <a:gd name="connsiteX34820" fmla="*/ 961350 w 8079933"/>
              <a:gd name="connsiteY34820" fmla="*/ 427563 h 4687251"/>
              <a:gd name="connsiteX34821" fmla="*/ 959829 w 8079933"/>
              <a:gd name="connsiteY34821" fmla="*/ 435684 h 4687251"/>
              <a:gd name="connsiteX34822" fmla="*/ 960915 w 8079933"/>
              <a:gd name="connsiteY34822" fmla="*/ 437417 h 4687251"/>
              <a:gd name="connsiteX34823" fmla="*/ 963085 w 8079933"/>
              <a:gd name="connsiteY34823" fmla="*/ 436983 h 4687251"/>
              <a:gd name="connsiteX34824" fmla="*/ 965690 w 8079933"/>
              <a:gd name="connsiteY34824" fmla="*/ 428971 h 4687251"/>
              <a:gd name="connsiteX34825" fmla="*/ 970355 w 8079933"/>
              <a:gd name="connsiteY34825" fmla="*/ 418468 h 4687251"/>
              <a:gd name="connsiteX34826" fmla="*/ 976324 w 8079933"/>
              <a:gd name="connsiteY34826" fmla="*/ 413272 h 4687251"/>
              <a:gd name="connsiteX34827" fmla="*/ 982618 w 8079933"/>
              <a:gd name="connsiteY34827" fmla="*/ 413272 h 4687251"/>
              <a:gd name="connsiteX34828" fmla="*/ 985874 w 8079933"/>
              <a:gd name="connsiteY34828" fmla="*/ 410564 h 4687251"/>
              <a:gd name="connsiteX34829" fmla="*/ 980122 w 8079933"/>
              <a:gd name="connsiteY34829" fmla="*/ 409155 h 4687251"/>
              <a:gd name="connsiteX34830" fmla="*/ 979147 w 8079933"/>
              <a:gd name="connsiteY34830" fmla="*/ 405042 h 4687251"/>
              <a:gd name="connsiteX34831" fmla="*/ 981533 w 8079933"/>
              <a:gd name="connsiteY34831" fmla="*/ 400063 h 4687251"/>
              <a:gd name="connsiteX34832" fmla="*/ 988043 w 8079933"/>
              <a:gd name="connsiteY34832" fmla="*/ 396813 h 4687251"/>
              <a:gd name="connsiteX34833" fmla="*/ 997051 w 8079933"/>
              <a:gd name="connsiteY34833" fmla="*/ 391944 h 4687251"/>
              <a:gd name="connsiteX34834" fmla="*/ 1002694 w 8079933"/>
              <a:gd name="connsiteY34834" fmla="*/ 390319 h 4687251"/>
              <a:gd name="connsiteX34835" fmla="*/ 1004972 w 8079933"/>
              <a:gd name="connsiteY34835" fmla="*/ 392267 h 4687251"/>
              <a:gd name="connsiteX34836" fmla="*/ 1000849 w 8079933"/>
              <a:gd name="connsiteY34836" fmla="*/ 393999 h 4687251"/>
              <a:gd name="connsiteX34837" fmla="*/ 999764 w 8079933"/>
              <a:gd name="connsiteY34837" fmla="*/ 396922 h 4687251"/>
              <a:gd name="connsiteX34838" fmla="*/ 1001066 w 8079933"/>
              <a:gd name="connsiteY34838" fmla="*/ 400063 h 4687251"/>
              <a:gd name="connsiteX34839" fmla="*/ 1003453 w 8079933"/>
              <a:gd name="connsiteY34839" fmla="*/ 399846 h 4687251"/>
              <a:gd name="connsiteX34840" fmla="*/ 1004755 w 8079933"/>
              <a:gd name="connsiteY34840" fmla="*/ 396163 h 4687251"/>
              <a:gd name="connsiteX34841" fmla="*/ 1008770 w 8079933"/>
              <a:gd name="connsiteY34841" fmla="*/ 394216 h 4687251"/>
              <a:gd name="connsiteX34842" fmla="*/ 1013545 w 8079933"/>
              <a:gd name="connsiteY34842" fmla="*/ 398329 h 4687251"/>
              <a:gd name="connsiteX34843" fmla="*/ 1017018 w 8079933"/>
              <a:gd name="connsiteY34843" fmla="*/ 398872 h 4687251"/>
              <a:gd name="connsiteX34844" fmla="*/ 1017560 w 8079933"/>
              <a:gd name="connsiteY34844" fmla="*/ 396272 h 4687251"/>
              <a:gd name="connsiteX34845" fmla="*/ 1020164 w 8079933"/>
              <a:gd name="connsiteY34845" fmla="*/ 398222 h 4687251"/>
              <a:gd name="connsiteX34846" fmla="*/ 1026350 w 8079933"/>
              <a:gd name="connsiteY34846" fmla="*/ 402120 h 4687251"/>
              <a:gd name="connsiteX34847" fmla="*/ 1037527 w 8079933"/>
              <a:gd name="connsiteY34847" fmla="*/ 402230 h 4687251"/>
              <a:gd name="connsiteX34848" fmla="*/ 1043604 w 8079933"/>
              <a:gd name="connsiteY34848" fmla="*/ 399955 h 4687251"/>
              <a:gd name="connsiteX34849" fmla="*/ 1053805 w 8079933"/>
              <a:gd name="connsiteY34849" fmla="*/ 391727 h 4687251"/>
              <a:gd name="connsiteX34850" fmla="*/ 1058797 w 8079933"/>
              <a:gd name="connsiteY34850" fmla="*/ 388696 h 4687251"/>
              <a:gd name="connsiteX34851" fmla="*/ 1064982 w 8079933"/>
              <a:gd name="connsiteY34851" fmla="*/ 388152 h 4687251"/>
              <a:gd name="connsiteX34852" fmla="*/ 1067152 w 8079933"/>
              <a:gd name="connsiteY34852" fmla="*/ 386203 h 4687251"/>
              <a:gd name="connsiteX34853" fmla="*/ 6871382 w 8079933"/>
              <a:gd name="connsiteY34853" fmla="*/ 378407 h 4687251"/>
              <a:gd name="connsiteX34854" fmla="*/ 6874963 w 8079933"/>
              <a:gd name="connsiteY34854" fmla="*/ 379490 h 4687251"/>
              <a:gd name="connsiteX34855" fmla="*/ 6875940 w 8079933"/>
              <a:gd name="connsiteY34855" fmla="*/ 383605 h 4687251"/>
              <a:gd name="connsiteX34856" fmla="*/ 6874312 w 8079933"/>
              <a:gd name="connsiteY34856" fmla="*/ 385228 h 4687251"/>
              <a:gd name="connsiteX34857" fmla="*/ 6872250 w 8079933"/>
              <a:gd name="connsiteY34857" fmla="*/ 385337 h 4687251"/>
              <a:gd name="connsiteX34858" fmla="*/ 6869320 w 8079933"/>
              <a:gd name="connsiteY34858" fmla="*/ 381656 h 4687251"/>
              <a:gd name="connsiteX34859" fmla="*/ 6908820 w 8079933"/>
              <a:gd name="connsiteY34859" fmla="*/ 377215 h 4687251"/>
              <a:gd name="connsiteX34860" fmla="*/ 6911317 w 8079933"/>
              <a:gd name="connsiteY34860" fmla="*/ 379273 h 4687251"/>
              <a:gd name="connsiteX34861" fmla="*/ 6910231 w 8079933"/>
              <a:gd name="connsiteY34861" fmla="*/ 382087 h 4687251"/>
              <a:gd name="connsiteX34862" fmla="*/ 6908495 w 8079933"/>
              <a:gd name="connsiteY34862" fmla="*/ 382629 h 4687251"/>
              <a:gd name="connsiteX34863" fmla="*/ 6907084 w 8079933"/>
              <a:gd name="connsiteY34863" fmla="*/ 379273 h 4687251"/>
              <a:gd name="connsiteX34864" fmla="*/ 2272771 w 8079933"/>
              <a:gd name="connsiteY34864" fmla="*/ 376674 h 4687251"/>
              <a:gd name="connsiteX34865" fmla="*/ 2275918 w 8079933"/>
              <a:gd name="connsiteY34865" fmla="*/ 376674 h 4687251"/>
              <a:gd name="connsiteX34866" fmla="*/ 2277112 w 8079933"/>
              <a:gd name="connsiteY34866" fmla="*/ 380031 h 4687251"/>
              <a:gd name="connsiteX34867" fmla="*/ 2280693 w 8079933"/>
              <a:gd name="connsiteY34867" fmla="*/ 381872 h 4687251"/>
              <a:gd name="connsiteX34868" fmla="*/ 2283840 w 8079933"/>
              <a:gd name="connsiteY34868" fmla="*/ 380788 h 4687251"/>
              <a:gd name="connsiteX34869" fmla="*/ 2286119 w 8079933"/>
              <a:gd name="connsiteY34869" fmla="*/ 383279 h 4687251"/>
              <a:gd name="connsiteX34870" fmla="*/ 2284708 w 8079933"/>
              <a:gd name="connsiteY34870" fmla="*/ 392807 h 4687251"/>
              <a:gd name="connsiteX34871" fmla="*/ 2281669 w 8079933"/>
              <a:gd name="connsiteY34871" fmla="*/ 396380 h 4687251"/>
              <a:gd name="connsiteX34872" fmla="*/ 2281669 w 8079933"/>
              <a:gd name="connsiteY34872" fmla="*/ 399736 h 4687251"/>
              <a:gd name="connsiteX34873" fmla="*/ 2284165 w 8079933"/>
              <a:gd name="connsiteY34873" fmla="*/ 399736 h 4687251"/>
              <a:gd name="connsiteX34874" fmla="*/ 2286010 w 8079933"/>
              <a:gd name="connsiteY34874" fmla="*/ 397245 h 4687251"/>
              <a:gd name="connsiteX34875" fmla="*/ 2288289 w 8079933"/>
              <a:gd name="connsiteY34875" fmla="*/ 397245 h 4687251"/>
              <a:gd name="connsiteX34876" fmla="*/ 2290677 w 8079933"/>
              <a:gd name="connsiteY34876" fmla="*/ 394972 h 4687251"/>
              <a:gd name="connsiteX34877" fmla="*/ 2290677 w 8079933"/>
              <a:gd name="connsiteY34877" fmla="*/ 387935 h 4687251"/>
              <a:gd name="connsiteX34878" fmla="*/ 2294040 w 8079933"/>
              <a:gd name="connsiteY34878" fmla="*/ 385011 h 4687251"/>
              <a:gd name="connsiteX34879" fmla="*/ 2297621 w 8079933"/>
              <a:gd name="connsiteY34879" fmla="*/ 387718 h 4687251"/>
              <a:gd name="connsiteX34880" fmla="*/ 2301202 w 8079933"/>
              <a:gd name="connsiteY34880" fmla="*/ 386635 h 4687251"/>
              <a:gd name="connsiteX34881" fmla="*/ 2301202 w 8079933"/>
              <a:gd name="connsiteY34881" fmla="*/ 382412 h 4687251"/>
              <a:gd name="connsiteX34882" fmla="*/ 2300226 w 8079933"/>
              <a:gd name="connsiteY34882" fmla="*/ 380681 h 4687251"/>
              <a:gd name="connsiteX34883" fmla="*/ 2303590 w 8079933"/>
              <a:gd name="connsiteY34883" fmla="*/ 380681 h 4687251"/>
              <a:gd name="connsiteX34884" fmla="*/ 2305109 w 8079933"/>
              <a:gd name="connsiteY34884" fmla="*/ 384145 h 4687251"/>
              <a:gd name="connsiteX34885" fmla="*/ 2304349 w 8079933"/>
              <a:gd name="connsiteY34885" fmla="*/ 387284 h 4687251"/>
              <a:gd name="connsiteX34886" fmla="*/ 2305326 w 8079933"/>
              <a:gd name="connsiteY34886" fmla="*/ 389234 h 4687251"/>
              <a:gd name="connsiteX34887" fmla="*/ 2304241 w 8079933"/>
              <a:gd name="connsiteY34887" fmla="*/ 391399 h 4687251"/>
              <a:gd name="connsiteX34888" fmla="*/ 2301745 w 8079933"/>
              <a:gd name="connsiteY34888" fmla="*/ 391399 h 4687251"/>
              <a:gd name="connsiteX34889" fmla="*/ 2304024 w 8079933"/>
              <a:gd name="connsiteY34889" fmla="*/ 395513 h 4687251"/>
              <a:gd name="connsiteX34890" fmla="*/ 2308473 w 8079933"/>
              <a:gd name="connsiteY34890" fmla="*/ 397029 h 4687251"/>
              <a:gd name="connsiteX34891" fmla="*/ 2310318 w 8079933"/>
              <a:gd name="connsiteY34891" fmla="*/ 401252 h 4687251"/>
              <a:gd name="connsiteX34892" fmla="*/ 2309124 w 8079933"/>
              <a:gd name="connsiteY34892" fmla="*/ 405799 h 4687251"/>
              <a:gd name="connsiteX34893" fmla="*/ 2304675 w 8079933"/>
              <a:gd name="connsiteY34893" fmla="*/ 408831 h 4687251"/>
              <a:gd name="connsiteX34894" fmla="*/ 2300660 w 8079933"/>
              <a:gd name="connsiteY34894" fmla="*/ 416085 h 4687251"/>
              <a:gd name="connsiteX34895" fmla="*/ 2301311 w 8079933"/>
              <a:gd name="connsiteY34895" fmla="*/ 421282 h 4687251"/>
              <a:gd name="connsiteX34896" fmla="*/ 2300009 w 8079933"/>
              <a:gd name="connsiteY34896" fmla="*/ 424422 h 4687251"/>
              <a:gd name="connsiteX34897" fmla="*/ 2295776 w 8079933"/>
              <a:gd name="connsiteY34897" fmla="*/ 426804 h 4687251"/>
              <a:gd name="connsiteX34898" fmla="*/ 2290568 w 8079933"/>
              <a:gd name="connsiteY34898" fmla="*/ 432650 h 4687251"/>
              <a:gd name="connsiteX34899" fmla="*/ 2289157 w 8079933"/>
              <a:gd name="connsiteY34899" fmla="*/ 435357 h 4687251"/>
              <a:gd name="connsiteX34900" fmla="*/ 2284600 w 8079933"/>
              <a:gd name="connsiteY34900" fmla="*/ 440338 h 4687251"/>
              <a:gd name="connsiteX34901" fmla="*/ 2284600 w 8079933"/>
              <a:gd name="connsiteY34901" fmla="*/ 442178 h 4687251"/>
              <a:gd name="connsiteX34902" fmla="*/ 2283189 w 8079933"/>
              <a:gd name="connsiteY34902" fmla="*/ 446076 h 4687251"/>
              <a:gd name="connsiteX34903" fmla="*/ 2279934 w 8079933"/>
              <a:gd name="connsiteY34903" fmla="*/ 446076 h 4687251"/>
              <a:gd name="connsiteX34904" fmla="*/ 2277329 w 8079933"/>
              <a:gd name="connsiteY34904" fmla="*/ 445426 h 4687251"/>
              <a:gd name="connsiteX34905" fmla="*/ 2274941 w 8079933"/>
              <a:gd name="connsiteY34905" fmla="*/ 447268 h 4687251"/>
              <a:gd name="connsiteX34906" fmla="*/ 2274941 w 8079933"/>
              <a:gd name="connsiteY34906" fmla="*/ 449324 h 4687251"/>
              <a:gd name="connsiteX34907" fmla="*/ 2280584 w 8079933"/>
              <a:gd name="connsiteY34907" fmla="*/ 452356 h 4687251"/>
              <a:gd name="connsiteX34908" fmla="*/ 2280584 w 8079933"/>
              <a:gd name="connsiteY34908" fmla="*/ 454738 h 4687251"/>
              <a:gd name="connsiteX34909" fmla="*/ 2274941 w 8079933"/>
              <a:gd name="connsiteY34909" fmla="*/ 462858 h 4687251"/>
              <a:gd name="connsiteX34910" fmla="*/ 2273205 w 8079933"/>
              <a:gd name="connsiteY34910" fmla="*/ 465457 h 4687251"/>
              <a:gd name="connsiteX34911" fmla="*/ 2273205 w 8079933"/>
              <a:gd name="connsiteY34911" fmla="*/ 462425 h 4687251"/>
              <a:gd name="connsiteX34912" fmla="*/ 2273205 w 8079933"/>
              <a:gd name="connsiteY34912" fmla="*/ 459611 h 4687251"/>
              <a:gd name="connsiteX34913" fmla="*/ 2270275 w 8079933"/>
              <a:gd name="connsiteY34913" fmla="*/ 458419 h 4687251"/>
              <a:gd name="connsiteX34914" fmla="*/ 2267888 w 8079933"/>
              <a:gd name="connsiteY34914" fmla="*/ 459718 h 4687251"/>
              <a:gd name="connsiteX34915" fmla="*/ 2267888 w 8079933"/>
              <a:gd name="connsiteY34915" fmla="*/ 462858 h 4687251"/>
              <a:gd name="connsiteX34916" fmla="*/ 2265067 w 8079933"/>
              <a:gd name="connsiteY34916" fmla="*/ 464590 h 4687251"/>
              <a:gd name="connsiteX34917" fmla="*/ 2262679 w 8079933"/>
              <a:gd name="connsiteY34917" fmla="*/ 467730 h 4687251"/>
              <a:gd name="connsiteX34918" fmla="*/ 2258013 w 8079933"/>
              <a:gd name="connsiteY34918" fmla="*/ 468596 h 4687251"/>
              <a:gd name="connsiteX34919" fmla="*/ 2256386 w 8079933"/>
              <a:gd name="connsiteY34919" fmla="*/ 472819 h 4687251"/>
              <a:gd name="connsiteX34920" fmla="*/ 2259316 w 8079933"/>
              <a:gd name="connsiteY34920" fmla="*/ 474443 h 4687251"/>
              <a:gd name="connsiteX34921" fmla="*/ 2263439 w 8079933"/>
              <a:gd name="connsiteY34921" fmla="*/ 473794 h 4687251"/>
              <a:gd name="connsiteX34922" fmla="*/ 2262788 w 8079933"/>
              <a:gd name="connsiteY34922" fmla="*/ 476392 h 4687251"/>
              <a:gd name="connsiteX34923" fmla="*/ 2260726 w 8079933"/>
              <a:gd name="connsiteY34923" fmla="*/ 479207 h 4687251"/>
              <a:gd name="connsiteX34924" fmla="*/ 2260726 w 8079933"/>
              <a:gd name="connsiteY34924" fmla="*/ 481264 h 4687251"/>
              <a:gd name="connsiteX34925" fmla="*/ 2260726 w 8079933"/>
              <a:gd name="connsiteY34925" fmla="*/ 485595 h 4687251"/>
              <a:gd name="connsiteX34926" fmla="*/ 2259207 w 8079933"/>
              <a:gd name="connsiteY34926" fmla="*/ 487544 h 4687251"/>
              <a:gd name="connsiteX34927" fmla="*/ 2256494 w 8079933"/>
              <a:gd name="connsiteY34927" fmla="*/ 482997 h 4687251"/>
              <a:gd name="connsiteX34928" fmla="*/ 2256494 w 8079933"/>
              <a:gd name="connsiteY34928" fmla="*/ 478449 h 4687251"/>
              <a:gd name="connsiteX34929" fmla="*/ 2255409 w 8079933"/>
              <a:gd name="connsiteY34929" fmla="*/ 475850 h 4687251"/>
              <a:gd name="connsiteX34930" fmla="*/ 2253781 w 8079933"/>
              <a:gd name="connsiteY34930" fmla="*/ 478125 h 4687251"/>
              <a:gd name="connsiteX34931" fmla="*/ 2253130 w 8079933"/>
              <a:gd name="connsiteY34931" fmla="*/ 481914 h 4687251"/>
              <a:gd name="connsiteX34932" fmla="*/ 2254215 w 8079933"/>
              <a:gd name="connsiteY34932" fmla="*/ 484946 h 4687251"/>
              <a:gd name="connsiteX34933" fmla="*/ 2250851 w 8079933"/>
              <a:gd name="connsiteY34933" fmla="*/ 489493 h 4687251"/>
              <a:gd name="connsiteX34934" fmla="*/ 2238372 w 8079933"/>
              <a:gd name="connsiteY34934" fmla="*/ 488843 h 4687251"/>
              <a:gd name="connsiteX34935" fmla="*/ 2237721 w 8079933"/>
              <a:gd name="connsiteY34935" fmla="*/ 484946 h 4687251"/>
              <a:gd name="connsiteX34936" fmla="*/ 2236201 w 8079933"/>
              <a:gd name="connsiteY34936" fmla="*/ 482780 h 4687251"/>
              <a:gd name="connsiteX34937" fmla="*/ 2232946 w 8079933"/>
              <a:gd name="connsiteY34937" fmla="*/ 486353 h 4687251"/>
              <a:gd name="connsiteX34938" fmla="*/ 2229365 w 8079933"/>
              <a:gd name="connsiteY34938" fmla="*/ 486353 h 4687251"/>
              <a:gd name="connsiteX34939" fmla="*/ 2228714 w 8079933"/>
              <a:gd name="connsiteY34939" fmla="*/ 483538 h 4687251"/>
              <a:gd name="connsiteX34940" fmla="*/ 2232186 w 8079933"/>
              <a:gd name="connsiteY34940" fmla="*/ 479207 h 4687251"/>
              <a:gd name="connsiteX34941" fmla="*/ 2226327 w 8079933"/>
              <a:gd name="connsiteY34941" fmla="*/ 481698 h 4687251"/>
              <a:gd name="connsiteX34942" fmla="*/ 2224590 w 8079933"/>
              <a:gd name="connsiteY34942" fmla="*/ 484946 h 4687251"/>
              <a:gd name="connsiteX34943" fmla="*/ 2222745 w 8079933"/>
              <a:gd name="connsiteY34943" fmla="*/ 484946 h 4687251"/>
              <a:gd name="connsiteX34944" fmla="*/ 2220358 w 8079933"/>
              <a:gd name="connsiteY34944" fmla="*/ 482563 h 4687251"/>
              <a:gd name="connsiteX34945" fmla="*/ 2216018 w 8079933"/>
              <a:gd name="connsiteY34945" fmla="*/ 482563 h 4687251"/>
              <a:gd name="connsiteX34946" fmla="*/ 2213304 w 8079933"/>
              <a:gd name="connsiteY34946" fmla="*/ 479965 h 4687251"/>
              <a:gd name="connsiteX34947" fmla="*/ 2213304 w 8079933"/>
              <a:gd name="connsiteY34947" fmla="*/ 475310 h 4687251"/>
              <a:gd name="connsiteX34948" fmla="*/ 2214716 w 8079933"/>
              <a:gd name="connsiteY34948" fmla="*/ 473469 h 4687251"/>
              <a:gd name="connsiteX34949" fmla="*/ 2214716 w 8079933"/>
              <a:gd name="connsiteY34949" fmla="*/ 471086 h 4687251"/>
              <a:gd name="connsiteX34950" fmla="*/ 2216777 w 8079933"/>
              <a:gd name="connsiteY34950" fmla="*/ 466431 h 4687251"/>
              <a:gd name="connsiteX34951" fmla="*/ 2218514 w 8079933"/>
              <a:gd name="connsiteY34951" fmla="*/ 466431 h 4687251"/>
              <a:gd name="connsiteX34952" fmla="*/ 2220792 w 8079933"/>
              <a:gd name="connsiteY34952" fmla="*/ 469463 h 4687251"/>
              <a:gd name="connsiteX34953" fmla="*/ 2222854 w 8079933"/>
              <a:gd name="connsiteY34953" fmla="*/ 469463 h 4687251"/>
              <a:gd name="connsiteX34954" fmla="*/ 2220250 w 8079933"/>
              <a:gd name="connsiteY34954" fmla="*/ 465998 h 4687251"/>
              <a:gd name="connsiteX34955" fmla="*/ 2221444 w 8079933"/>
              <a:gd name="connsiteY34955" fmla="*/ 463292 h 4687251"/>
              <a:gd name="connsiteX34956" fmla="*/ 2217971 w 8079933"/>
              <a:gd name="connsiteY34956" fmla="*/ 462425 h 4687251"/>
              <a:gd name="connsiteX34957" fmla="*/ 2215366 w 8079933"/>
              <a:gd name="connsiteY34957" fmla="*/ 460043 h 4687251"/>
              <a:gd name="connsiteX34958" fmla="*/ 2215366 w 8079933"/>
              <a:gd name="connsiteY34958" fmla="*/ 457661 h 4687251"/>
              <a:gd name="connsiteX34959" fmla="*/ 2214716 w 8079933"/>
              <a:gd name="connsiteY34959" fmla="*/ 455929 h 4687251"/>
              <a:gd name="connsiteX34960" fmla="*/ 2216451 w 8079933"/>
              <a:gd name="connsiteY34960" fmla="*/ 455929 h 4687251"/>
              <a:gd name="connsiteX34961" fmla="*/ 2218839 w 8079933"/>
              <a:gd name="connsiteY34961" fmla="*/ 458310 h 4687251"/>
              <a:gd name="connsiteX34962" fmla="*/ 2220250 w 8079933"/>
              <a:gd name="connsiteY34962" fmla="*/ 456578 h 4687251"/>
              <a:gd name="connsiteX34963" fmla="*/ 2219599 w 8079933"/>
              <a:gd name="connsiteY34963" fmla="*/ 454304 h 4687251"/>
              <a:gd name="connsiteX34964" fmla="*/ 2222312 w 8079933"/>
              <a:gd name="connsiteY34964" fmla="*/ 452572 h 4687251"/>
              <a:gd name="connsiteX34965" fmla="*/ 2225892 w 8079933"/>
              <a:gd name="connsiteY34965" fmla="*/ 453980 h 4687251"/>
              <a:gd name="connsiteX34966" fmla="*/ 2233271 w 8079933"/>
              <a:gd name="connsiteY34966" fmla="*/ 455712 h 4687251"/>
              <a:gd name="connsiteX34967" fmla="*/ 2235551 w 8079933"/>
              <a:gd name="connsiteY34967" fmla="*/ 454304 h 4687251"/>
              <a:gd name="connsiteX34968" fmla="*/ 2232946 w 8079933"/>
              <a:gd name="connsiteY34968" fmla="*/ 452031 h 4687251"/>
              <a:gd name="connsiteX34969" fmla="*/ 2231535 w 8079933"/>
              <a:gd name="connsiteY34969" fmla="*/ 452031 h 4687251"/>
              <a:gd name="connsiteX34970" fmla="*/ 2238806 w 8079933"/>
              <a:gd name="connsiteY34970" fmla="*/ 450949 h 4687251"/>
              <a:gd name="connsiteX34971" fmla="*/ 2243472 w 8079933"/>
              <a:gd name="connsiteY34971" fmla="*/ 448350 h 4687251"/>
              <a:gd name="connsiteX34972" fmla="*/ 2249332 w 8079933"/>
              <a:gd name="connsiteY34972" fmla="*/ 448350 h 4687251"/>
              <a:gd name="connsiteX34973" fmla="*/ 2254541 w 8079933"/>
              <a:gd name="connsiteY34973" fmla="*/ 449000 h 4687251"/>
              <a:gd name="connsiteX34974" fmla="*/ 2258013 w 8079933"/>
              <a:gd name="connsiteY34974" fmla="*/ 446617 h 4687251"/>
              <a:gd name="connsiteX34975" fmla="*/ 2255409 w 8079933"/>
              <a:gd name="connsiteY34975" fmla="*/ 444560 h 4687251"/>
              <a:gd name="connsiteX34976" fmla="*/ 2236093 w 8079933"/>
              <a:gd name="connsiteY34976" fmla="*/ 441096 h 4687251"/>
              <a:gd name="connsiteX34977" fmla="*/ 2231318 w 8079933"/>
              <a:gd name="connsiteY34977" fmla="*/ 441096 h 4687251"/>
              <a:gd name="connsiteX34978" fmla="*/ 2227737 w 8079933"/>
              <a:gd name="connsiteY34978" fmla="*/ 439364 h 4687251"/>
              <a:gd name="connsiteX34979" fmla="*/ 2221335 w 8079933"/>
              <a:gd name="connsiteY34979" fmla="*/ 440229 h 4687251"/>
              <a:gd name="connsiteX34980" fmla="*/ 2216343 w 8079933"/>
              <a:gd name="connsiteY34980" fmla="*/ 437631 h 4687251"/>
              <a:gd name="connsiteX34981" fmla="*/ 2213413 w 8079933"/>
              <a:gd name="connsiteY34981" fmla="*/ 438281 h 4687251"/>
              <a:gd name="connsiteX34982" fmla="*/ 2210266 w 8079933"/>
              <a:gd name="connsiteY34982" fmla="*/ 436873 h 4687251"/>
              <a:gd name="connsiteX34983" fmla="*/ 2205925 w 8079933"/>
              <a:gd name="connsiteY34983" fmla="*/ 436873 h 4687251"/>
              <a:gd name="connsiteX34984" fmla="*/ 2203864 w 8079933"/>
              <a:gd name="connsiteY34984" fmla="*/ 438389 h 4687251"/>
              <a:gd name="connsiteX34985" fmla="*/ 2201477 w 8079933"/>
              <a:gd name="connsiteY34985" fmla="*/ 437306 h 4687251"/>
              <a:gd name="connsiteX34986" fmla="*/ 2198764 w 8079933"/>
              <a:gd name="connsiteY34986" fmla="*/ 437306 h 4687251"/>
              <a:gd name="connsiteX34987" fmla="*/ 2196919 w 8079933"/>
              <a:gd name="connsiteY34987" fmla="*/ 435466 h 4687251"/>
              <a:gd name="connsiteX34988" fmla="*/ 2196919 w 8079933"/>
              <a:gd name="connsiteY34988" fmla="*/ 430160 h 4687251"/>
              <a:gd name="connsiteX34989" fmla="*/ 2200500 w 8079933"/>
              <a:gd name="connsiteY34989" fmla="*/ 430810 h 4687251"/>
              <a:gd name="connsiteX34990" fmla="*/ 2203212 w 8079933"/>
              <a:gd name="connsiteY34990" fmla="*/ 428211 h 4687251"/>
              <a:gd name="connsiteX34991" fmla="*/ 2205925 w 8079933"/>
              <a:gd name="connsiteY34991" fmla="*/ 429944 h 4687251"/>
              <a:gd name="connsiteX34992" fmla="*/ 2208638 w 8079933"/>
              <a:gd name="connsiteY34992" fmla="*/ 428861 h 4687251"/>
              <a:gd name="connsiteX34993" fmla="*/ 2206793 w 8079933"/>
              <a:gd name="connsiteY34993" fmla="*/ 426263 h 4687251"/>
              <a:gd name="connsiteX34994" fmla="*/ 2208205 w 8079933"/>
              <a:gd name="connsiteY34994" fmla="*/ 423122 h 4687251"/>
              <a:gd name="connsiteX34995" fmla="*/ 2210809 w 8079933"/>
              <a:gd name="connsiteY34995" fmla="*/ 421066 h 4687251"/>
              <a:gd name="connsiteX34996" fmla="*/ 2215475 w 8079933"/>
              <a:gd name="connsiteY34996" fmla="*/ 421066 h 4687251"/>
              <a:gd name="connsiteX34997" fmla="*/ 2217754 w 8079933"/>
              <a:gd name="connsiteY34997" fmla="*/ 419982 h 4687251"/>
              <a:gd name="connsiteX34998" fmla="*/ 2217754 w 8079933"/>
              <a:gd name="connsiteY34998" fmla="*/ 424097 h 4687251"/>
              <a:gd name="connsiteX34999" fmla="*/ 2220141 w 8079933"/>
              <a:gd name="connsiteY34999" fmla="*/ 425505 h 4687251"/>
              <a:gd name="connsiteX35000" fmla="*/ 2220141 w 8079933"/>
              <a:gd name="connsiteY35000" fmla="*/ 432001 h 4687251"/>
              <a:gd name="connsiteX35001" fmla="*/ 2221877 w 8079933"/>
              <a:gd name="connsiteY35001" fmla="*/ 432976 h 4687251"/>
              <a:gd name="connsiteX35002" fmla="*/ 2223939 w 8079933"/>
              <a:gd name="connsiteY35002" fmla="*/ 430377 h 4687251"/>
              <a:gd name="connsiteX35003" fmla="*/ 2223288 w 8079933"/>
              <a:gd name="connsiteY35003" fmla="*/ 425721 h 4687251"/>
              <a:gd name="connsiteX35004" fmla="*/ 2220901 w 8079933"/>
              <a:gd name="connsiteY35004" fmla="*/ 422473 h 4687251"/>
              <a:gd name="connsiteX35005" fmla="*/ 2222420 w 8079933"/>
              <a:gd name="connsiteY35005" fmla="*/ 418575 h 4687251"/>
              <a:gd name="connsiteX35006" fmla="*/ 2227412 w 8079933"/>
              <a:gd name="connsiteY35006" fmla="*/ 416843 h 4687251"/>
              <a:gd name="connsiteX35007" fmla="*/ 2227412 w 8079933"/>
              <a:gd name="connsiteY35007" fmla="*/ 414244 h 4687251"/>
              <a:gd name="connsiteX35008" fmla="*/ 2223397 w 8079933"/>
              <a:gd name="connsiteY35008" fmla="*/ 412728 h 4687251"/>
              <a:gd name="connsiteX35009" fmla="*/ 2224807 w 8079933"/>
              <a:gd name="connsiteY35009" fmla="*/ 406557 h 4687251"/>
              <a:gd name="connsiteX35010" fmla="*/ 2229473 w 8079933"/>
              <a:gd name="connsiteY35010" fmla="*/ 404825 h 4687251"/>
              <a:gd name="connsiteX35011" fmla="*/ 2230450 w 8079933"/>
              <a:gd name="connsiteY35011" fmla="*/ 401901 h 4687251"/>
              <a:gd name="connsiteX35012" fmla="*/ 2235225 w 8079933"/>
              <a:gd name="connsiteY35012" fmla="*/ 400386 h 4687251"/>
              <a:gd name="connsiteX35013" fmla="*/ 2232621 w 8079933"/>
              <a:gd name="connsiteY35013" fmla="*/ 397138 h 4687251"/>
              <a:gd name="connsiteX35014" fmla="*/ 2230233 w 8079933"/>
              <a:gd name="connsiteY35014" fmla="*/ 397138 h 4687251"/>
              <a:gd name="connsiteX35015" fmla="*/ 2227846 w 8079933"/>
              <a:gd name="connsiteY35015" fmla="*/ 396272 h 4687251"/>
              <a:gd name="connsiteX35016" fmla="*/ 2228497 w 8079933"/>
              <a:gd name="connsiteY35016" fmla="*/ 393564 h 4687251"/>
              <a:gd name="connsiteX35017" fmla="*/ 2232838 w 8079933"/>
              <a:gd name="connsiteY35017" fmla="*/ 389884 h 4687251"/>
              <a:gd name="connsiteX35018" fmla="*/ 2233923 w 8079933"/>
              <a:gd name="connsiteY35018" fmla="*/ 387935 h 4687251"/>
              <a:gd name="connsiteX35019" fmla="*/ 2239240 w 8079933"/>
              <a:gd name="connsiteY35019" fmla="*/ 387935 h 4687251"/>
              <a:gd name="connsiteX35020" fmla="*/ 2241302 w 8079933"/>
              <a:gd name="connsiteY35020" fmla="*/ 389559 h 4687251"/>
              <a:gd name="connsiteX35021" fmla="*/ 2241953 w 8079933"/>
              <a:gd name="connsiteY35021" fmla="*/ 393673 h 4687251"/>
              <a:gd name="connsiteX35022" fmla="*/ 2244232 w 8079933"/>
              <a:gd name="connsiteY35022" fmla="*/ 395946 h 4687251"/>
              <a:gd name="connsiteX35023" fmla="*/ 2244232 w 8079933"/>
              <a:gd name="connsiteY35023" fmla="*/ 399736 h 4687251"/>
              <a:gd name="connsiteX35024" fmla="*/ 2243038 w 8079933"/>
              <a:gd name="connsiteY35024" fmla="*/ 401468 h 4687251"/>
              <a:gd name="connsiteX35025" fmla="*/ 2244232 w 8079933"/>
              <a:gd name="connsiteY35025" fmla="*/ 404933 h 4687251"/>
              <a:gd name="connsiteX35026" fmla="*/ 2246945 w 8079933"/>
              <a:gd name="connsiteY35026" fmla="*/ 408074 h 4687251"/>
              <a:gd name="connsiteX35027" fmla="*/ 2248355 w 8079933"/>
              <a:gd name="connsiteY35027" fmla="*/ 421066 h 4687251"/>
              <a:gd name="connsiteX35028" fmla="*/ 2247270 w 8079933"/>
              <a:gd name="connsiteY35028" fmla="*/ 425288 h 4687251"/>
              <a:gd name="connsiteX35029" fmla="*/ 2247270 w 8079933"/>
              <a:gd name="connsiteY35029" fmla="*/ 427670 h 4687251"/>
              <a:gd name="connsiteX35030" fmla="*/ 2251393 w 8079933"/>
              <a:gd name="connsiteY35030" fmla="*/ 430269 h 4687251"/>
              <a:gd name="connsiteX35031" fmla="*/ 2256168 w 8079933"/>
              <a:gd name="connsiteY35031" fmla="*/ 426696 h 4687251"/>
              <a:gd name="connsiteX35032" fmla="*/ 2253890 w 8079933"/>
              <a:gd name="connsiteY35032" fmla="*/ 423447 h 4687251"/>
              <a:gd name="connsiteX35033" fmla="*/ 2255192 w 8079933"/>
              <a:gd name="connsiteY35033" fmla="*/ 416410 h 4687251"/>
              <a:gd name="connsiteX35034" fmla="*/ 2259098 w 8079933"/>
              <a:gd name="connsiteY35034" fmla="*/ 415543 h 4687251"/>
              <a:gd name="connsiteX35035" fmla="*/ 2259098 w 8079933"/>
              <a:gd name="connsiteY35035" fmla="*/ 411754 h 4687251"/>
              <a:gd name="connsiteX35036" fmla="*/ 2251720 w 8079933"/>
              <a:gd name="connsiteY35036" fmla="*/ 406666 h 4687251"/>
              <a:gd name="connsiteX35037" fmla="*/ 2252696 w 8079933"/>
              <a:gd name="connsiteY35037" fmla="*/ 404500 h 4687251"/>
              <a:gd name="connsiteX35038" fmla="*/ 2256386 w 8079933"/>
              <a:gd name="connsiteY35038" fmla="*/ 404500 h 4687251"/>
              <a:gd name="connsiteX35039" fmla="*/ 2260617 w 8079933"/>
              <a:gd name="connsiteY35039" fmla="*/ 406991 h 4687251"/>
              <a:gd name="connsiteX35040" fmla="*/ 2259749 w 8079933"/>
              <a:gd name="connsiteY35040" fmla="*/ 403525 h 4687251"/>
              <a:gd name="connsiteX35041" fmla="*/ 2255409 w 8079933"/>
              <a:gd name="connsiteY35041" fmla="*/ 398762 h 4687251"/>
              <a:gd name="connsiteX35042" fmla="*/ 2254106 w 8079933"/>
              <a:gd name="connsiteY35042" fmla="*/ 392807 h 4687251"/>
              <a:gd name="connsiteX35043" fmla="*/ 2255192 w 8079933"/>
              <a:gd name="connsiteY35043" fmla="*/ 390209 h 4687251"/>
              <a:gd name="connsiteX35044" fmla="*/ 2255192 w 8079933"/>
              <a:gd name="connsiteY35044" fmla="*/ 383929 h 4687251"/>
              <a:gd name="connsiteX35045" fmla="*/ 2257904 w 8079933"/>
              <a:gd name="connsiteY35045" fmla="*/ 381980 h 4687251"/>
              <a:gd name="connsiteX35046" fmla="*/ 2261920 w 8079933"/>
              <a:gd name="connsiteY35046" fmla="*/ 381980 h 4687251"/>
              <a:gd name="connsiteX35047" fmla="*/ 2263656 w 8079933"/>
              <a:gd name="connsiteY35047" fmla="*/ 379598 h 4687251"/>
              <a:gd name="connsiteX35048" fmla="*/ 2267780 w 8079933"/>
              <a:gd name="connsiteY35048" fmla="*/ 379598 h 4687251"/>
              <a:gd name="connsiteX35049" fmla="*/ 2272771 w 8079933"/>
              <a:gd name="connsiteY35049" fmla="*/ 376674 h 4687251"/>
              <a:gd name="connsiteX35050" fmla="*/ 3644531 w 8079933"/>
              <a:gd name="connsiteY35050" fmla="*/ 376456 h 4687251"/>
              <a:gd name="connsiteX35051" fmla="*/ 3647895 w 8079933"/>
              <a:gd name="connsiteY35051" fmla="*/ 379813 h 4687251"/>
              <a:gd name="connsiteX35052" fmla="*/ 3647678 w 8079933"/>
              <a:gd name="connsiteY35052" fmla="*/ 385118 h 4687251"/>
              <a:gd name="connsiteX35053" fmla="*/ 3644422 w 8079933"/>
              <a:gd name="connsiteY35053" fmla="*/ 388799 h 4687251"/>
              <a:gd name="connsiteX35054" fmla="*/ 3638671 w 8079933"/>
              <a:gd name="connsiteY35054" fmla="*/ 388366 h 4687251"/>
              <a:gd name="connsiteX35055" fmla="*/ 3637043 w 8079933"/>
              <a:gd name="connsiteY35055" fmla="*/ 390315 h 4687251"/>
              <a:gd name="connsiteX35056" fmla="*/ 3635198 w 8079933"/>
              <a:gd name="connsiteY35056" fmla="*/ 390423 h 4687251"/>
              <a:gd name="connsiteX35057" fmla="*/ 3634873 w 8079933"/>
              <a:gd name="connsiteY35057" fmla="*/ 386201 h 4687251"/>
              <a:gd name="connsiteX35058" fmla="*/ 3636718 w 8079933"/>
              <a:gd name="connsiteY35058" fmla="*/ 379705 h 4687251"/>
              <a:gd name="connsiteX35059" fmla="*/ 6889177 w 8079933"/>
              <a:gd name="connsiteY35059" fmla="*/ 374293 h 4687251"/>
              <a:gd name="connsiteX35060" fmla="*/ 6894929 w 8079933"/>
              <a:gd name="connsiteY35060" fmla="*/ 375916 h 4687251"/>
              <a:gd name="connsiteX35061" fmla="*/ 6893301 w 8079933"/>
              <a:gd name="connsiteY35061" fmla="*/ 378515 h 4687251"/>
              <a:gd name="connsiteX35062" fmla="*/ 6890371 w 8079933"/>
              <a:gd name="connsiteY35062" fmla="*/ 378948 h 4687251"/>
              <a:gd name="connsiteX35063" fmla="*/ 6887984 w 8079933"/>
              <a:gd name="connsiteY35063" fmla="*/ 376566 h 4687251"/>
              <a:gd name="connsiteX35064" fmla="*/ 4347719 w 8079933"/>
              <a:gd name="connsiteY35064" fmla="*/ 373751 h 4687251"/>
              <a:gd name="connsiteX35065" fmla="*/ 4350866 w 8079933"/>
              <a:gd name="connsiteY35065" fmla="*/ 375592 h 4687251"/>
              <a:gd name="connsiteX35066" fmla="*/ 4352385 w 8079933"/>
              <a:gd name="connsiteY35066" fmla="*/ 379382 h 4687251"/>
              <a:gd name="connsiteX35067" fmla="*/ 4350432 w 8079933"/>
              <a:gd name="connsiteY35067" fmla="*/ 381655 h 4687251"/>
              <a:gd name="connsiteX35068" fmla="*/ 4347611 w 8079933"/>
              <a:gd name="connsiteY35068" fmla="*/ 381546 h 4687251"/>
              <a:gd name="connsiteX35069" fmla="*/ 4345224 w 8079933"/>
              <a:gd name="connsiteY35069" fmla="*/ 377216 h 4687251"/>
              <a:gd name="connsiteX35070" fmla="*/ 4345874 w 8079933"/>
              <a:gd name="connsiteY35070" fmla="*/ 374835 h 4687251"/>
              <a:gd name="connsiteX35071" fmla="*/ 4207081 w 8079933"/>
              <a:gd name="connsiteY35071" fmla="*/ 371802 h 4687251"/>
              <a:gd name="connsiteX35072" fmla="*/ 4209577 w 8079933"/>
              <a:gd name="connsiteY35072" fmla="*/ 372777 h 4687251"/>
              <a:gd name="connsiteX35073" fmla="*/ 4211856 w 8079933"/>
              <a:gd name="connsiteY35073" fmla="*/ 376674 h 4687251"/>
              <a:gd name="connsiteX35074" fmla="*/ 4211530 w 8079933"/>
              <a:gd name="connsiteY35074" fmla="*/ 379165 h 4687251"/>
              <a:gd name="connsiteX35075" fmla="*/ 4209685 w 8079933"/>
              <a:gd name="connsiteY35075" fmla="*/ 381330 h 4687251"/>
              <a:gd name="connsiteX35076" fmla="*/ 4208167 w 8079933"/>
              <a:gd name="connsiteY35076" fmla="*/ 381655 h 4687251"/>
              <a:gd name="connsiteX35077" fmla="*/ 4204260 w 8079933"/>
              <a:gd name="connsiteY35077" fmla="*/ 379165 h 4687251"/>
              <a:gd name="connsiteX35078" fmla="*/ 4203500 w 8079933"/>
              <a:gd name="connsiteY35078" fmla="*/ 376891 h 4687251"/>
              <a:gd name="connsiteX35079" fmla="*/ 4204260 w 8079933"/>
              <a:gd name="connsiteY35079" fmla="*/ 373969 h 4687251"/>
              <a:gd name="connsiteX35080" fmla="*/ 2356005 w 8079933"/>
              <a:gd name="connsiteY35080" fmla="*/ 371584 h 4687251"/>
              <a:gd name="connsiteX35081" fmla="*/ 2361105 w 8079933"/>
              <a:gd name="connsiteY35081" fmla="*/ 374183 h 4687251"/>
              <a:gd name="connsiteX35082" fmla="*/ 2365771 w 8079933"/>
              <a:gd name="connsiteY35082" fmla="*/ 374183 h 4687251"/>
              <a:gd name="connsiteX35083" fmla="*/ 2369786 w 8079933"/>
              <a:gd name="connsiteY35083" fmla="*/ 378513 h 4687251"/>
              <a:gd name="connsiteX35084" fmla="*/ 2377491 w 8079933"/>
              <a:gd name="connsiteY35084" fmla="*/ 381004 h 4687251"/>
              <a:gd name="connsiteX35085" fmla="*/ 2378250 w 8079933"/>
              <a:gd name="connsiteY35085" fmla="*/ 383927 h 4687251"/>
              <a:gd name="connsiteX35086" fmla="*/ 2378359 w 8079933"/>
              <a:gd name="connsiteY35086" fmla="*/ 388258 h 4687251"/>
              <a:gd name="connsiteX35087" fmla="*/ 2380746 w 8079933"/>
              <a:gd name="connsiteY35087" fmla="*/ 390640 h 4687251"/>
              <a:gd name="connsiteX35088" fmla="*/ 2385955 w 8079933"/>
              <a:gd name="connsiteY35088" fmla="*/ 390965 h 4687251"/>
              <a:gd name="connsiteX35089" fmla="*/ 2388017 w 8079933"/>
              <a:gd name="connsiteY35089" fmla="*/ 388583 h 4687251"/>
              <a:gd name="connsiteX35090" fmla="*/ 2391489 w 8079933"/>
              <a:gd name="connsiteY35090" fmla="*/ 392697 h 4687251"/>
              <a:gd name="connsiteX35091" fmla="*/ 2390079 w 8079933"/>
              <a:gd name="connsiteY35091" fmla="*/ 394105 h 4687251"/>
              <a:gd name="connsiteX35092" fmla="*/ 2389862 w 8079933"/>
              <a:gd name="connsiteY35092" fmla="*/ 404607 h 4687251"/>
              <a:gd name="connsiteX35093" fmla="*/ 2392140 w 8079933"/>
              <a:gd name="connsiteY35093" fmla="*/ 409262 h 4687251"/>
              <a:gd name="connsiteX35094" fmla="*/ 2391272 w 8079933"/>
              <a:gd name="connsiteY35094" fmla="*/ 412186 h 4687251"/>
              <a:gd name="connsiteX35095" fmla="*/ 2381506 w 8079933"/>
              <a:gd name="connsiteY35095" fmla="*/ 421388 h 4687251"/>
              <a:gd name="connsiteX35096" fmla="*/ 2378901 w 8079933"/>
              <a:gd name="connsiteY35096" fmla="*/ 422471 h 4687251"/>
              <a:gd name="connsiteX35097" fmla="*/ 2375646 w 8079933"/>
              <a:gd name="connsiteY35097" fmla="*/ 426803 h 4687251"/>
              <a:gd name="connsiteX35098" fmla="*/ 2375755 w 8079933"/>
              <a:gd name="connsiteY35098" fmla="*/ 430051 h 4687251"/>
              <a:gd name="connsiteX35099" fmla="*/ 2379227 w 8079933"/>
              <a:gd name="connsiteY35099" fmla="*/ 427994 h 4687251"/>
              <a:gd name="connsiteX35100" fmla="*/ 2380421 w 8079933"/>
              <a:gd name="connsiteY35100" fmla="*/ 424313 h 4687251"/>
              <a:gd name="connsiteX35101" fmla="*/ 2387041 w 8079933"/>
              <a:gd name="connsiteY35101" fmla="*/ 420956 h 4687251"/>
              <a:gd name="connsiteX35102" fmla="*/ 2391815 w 8079933"/>
              <a:gd name="connsiteY35102" fmla="*/ 413702 h 4687251"/>
              <a:gd name="connsiteX35103" fmla="*/ 2394745 w 8079933"/>
              <a:gd name="connsiteY35103" fmla="*/ 417491 h 4687251"/>
              <a:gd name="connsiteX35104" fmla="*/ 2398000 w 8079933"/>
              <a:gd name="connsiteY35104" fmla="*/ 416841 h 4687251"/>
              <a:gd name="connsiteX35105" fmla="*/ 2402124 w 8079933"/>
              <a:gd name="connsiteY35105" fmla="*/ 419873 h 4687251"/>
              <a:gd name="connsiteX35106" fmla="*/ 2406464 w 8079933"/>
              <a:gd name="connsiteY35106" fmla="*/ 419873 h 4687251"/>
              <a:gd name="connsiteX35107" fmla="*/ 2411782 w 8079933"/>
              <a:gd name="connsiteY35107" fmla="*/ 416624 h 4687251"/>
              <a:gd name="connsiteX35108" fmla="*/ 2416557 w 8079933"/>
              <a:gd name="connsiteY35108" fmla="*/ 416409 h 4687251"/>
              <a:gd name="connsiteX35109" fmla="*/ 2417859 w 8079933"/>
              <a:gd name="connsiteY35109" fmla="*/ 417491 h 4687251"/>
              <a:gd name="connsiteX35110" fmla="*/ 2421766 w 8079933"/>
              <a:gd name="connsiteY35110" fmla="*/ 417274 h 4687251"/>
              <a:gd name="connsiteX35111" fmla="*/ 2427083 w 8079933"/>
              <a:gd name="connsiteY35111" fmla="*/ 424205 h 4687251"/>
              <a:gd name="connsiteX35112" fmla="*/ 2429036 w 8079933"/>
              <a:gd name="connsiteY35112" fmla="*/ 431892 h 4687251"/>
              <a:gd name="connsiteX35113" fmla="*/ 2427300 w 8079933"/>
              <a:gd name="connsiteY35113" fmla="*/ 435248 h 4687251"/>
              <a:gd name="connsiteX35114" fmla="*/ 2424587 w 8079933"/>
              <a:gd name="connsiteY35114" fmla="*/ 434814 h 4687251"/>
              <a:gd name="connsiteX35115" fmla="*/ 2423502 w 8079933"/>
              <a:gd name="connsiteY35115" fmla="*/ 430700 h 4687251"/>
              <a:gd name="connsiteX35116" fmla="*/ 2420246 w 8079933"/>
              <a:gd name="connsiteY35116" fmla="*/ 430700 h 4687251"/>
              <a:gd name="connsiteX35117" fmla="*/ 2416991 w 8079933"/>
              <a:gd name="connsiteY35117" fmla="*/ 426803 h 4687251"/>
              <a:gd name="connsiteX35118" fmla="*/ 2413518 w 8079933"/>
              <a:gd name="connsiteY35118" fmla="*/ 425612 h 4687251"/>
              <a:gd name="connsiteX35119" fmla="*/ 2411999 w 8079933"/>
              <a:gd name="connsiteY35119" fmla="*/ 428318 h 4687251"/>
              <a:gd name="connsiteX35120" fmla="*/ 2414061 w 8079933"/>
              <a:gd name="connsiteY35120" fmla="*/ 430700 h 4687251"/>
              <a:gd name="connsiteX35121" fmla="*/ 2416231 w 8079933"/>
              <a:gd name="connsiteY35121" fmla="*/ 430916 h 4687251"/>
              <a:gd name="connsiteX35122" fmla="*/ 2420572 w 8079933"/>
              <a:gd name="connsiteY35122" fmla="*/ 435248 h 4687251"/>
              <a:gd name="connsiteX35123" fmla="*/ 2421657 w 8079933"/>
              <a:gd name="connsiteY35123" fmla="*/ 439361 h 4687251"/>
              <a:gd name="connsiteX35124" fmla="*/ 2424587 w 8079933"/>
              <a:gd name="connsiteY35124" fmla="*/ 438821 h 4687251"/>
              <a:gd name="connsiteX35125" fmla="*/ 2428710 w 8079933"/>
              <a:gd name="connsiteY35125" fmla="*/ 443259 h 4687251"/>
              <a:gd name="connsiteX35126" fmla="*/ 2438260 w 8079933"/>
              <a:gd name="connsiteY35126" fmla="*/ 450514 h 4687251"/>
              <a:gd name="connsiteX35127" fmla="*/ 2439888 w 8079933"/>
              <a:gd name="connsiteY35127" fmla="*/ 455818 h 4687251"/>
              <a:gd name="connsiteX35128" fmla="*/ 2438151 w 8079933"/>
              <a:gd name="connsiteY35128" fmla="*/ 459825 h 4687251"/>
              <a:gd name="connsiteX35129" fmla="*/ 2433160 w 8079933"/>
              <a:gd name="connsiteY35129" fmla="*/ 459825 h 4687251"/>
              <a:gd name="connsiteX35130" fmla="*/ 2425781 w 8079933"/>
              <a:gd name="connsiteY35130" fmla="*/ 458093 h 4687251"/>
              <a:gd name="connsiteX35131" fmla="*/ 2422959 w 8079933"/>
              <a:gd name="connsiteY35131" fmla="*/ 454736 h 4687251"/>
              <a:gd name="connsiteX35132" fmla="*/ 2420572 w 8079933"/>
              <a:gd name="connsiteY35132" fmla="*/ 457551 h 4687251"/>
              <a:gd name="connsiteX35133" fmla="*/ 2416557 w 8079933"/>
              <a:gd name="connsiteY35133" fmla="*/ 453545 h 4687251"/>
              <a:gd name="connsiteX35134" fmla="*/ 2410914 w 8079933"/>
              <a:gd name="connsiteY35134" fmla="*/ 452030 h 4687251"/>
              <a:gd name="connsiteX35135" fmla="*/ 2406248 w 8079933"/>
              <a:gd name="connsiteY35135" fmla="*/ 447265 h 4687251"/>
              <a:gd name="connsiteX35136" fmla="*/ 2404077 w 8079933"/>
              <a:gd name="connsiteY35136" fmla="*/ 442610 h 4687251"/>
              <a:gd name="connsiteX35137" fmla="*/ 2401581 w 8079933"/>
              <a:gd name="connsiteY35137" fmla="*/ 442610 h 4687251"/>
              <a:gd name="connsiteX35138" fmla="*/ 2401148 w 8079933"/>
              <a:gd name="connsiteY35138" fmla="*/ 445641 h 4687251"/>
              <a:gd name="connsiteX35139" fmla="*/ 2398543 w 8079933"/>
              <a:gd name="connsiteY35139" fmla="*/ 446400 h 4687251"/>
              <a:gd name="connsiteX35140" fmla="*/ 2403209 w 8079933"/>
              <a:gd name="connsiteY35140" fmla="*/ 448890 h 4687251"/>
              <a:gd name="connsiteX35141" fmla="*/ 2408852 w 8079933"/>
              <a:gd name="connsiteY35141" fmla="*/ 454736 h 4687251"/>
              <a:gd name="connsiteX35142" fmla="*/ 2406464 w 8079933"/>
              <a:gd name="connsiteY35142" fmla="*/ 456360 h 4687251"/>
              <a:gd name="connsiteX35143" fmla="*/ 2410805 w 8079933"/>
              <a:gd name="connsiteY35143" fmla="*/ 456901 h 4687251"/>
              <a:gd name="connsiteX35144" fmla="*/ 2414929 w 8079933"/>
              <a:gd name="connsiteY35144" fmla="*/ 461449 h 4687251"/>
              <a:gd name="connsiteX35145" fmla="*/ 2415580 w 8079933"/>
              <a:gd name="connsiteY35145" fmla="*/ 464264 h 4687251"/>
              <a:gd name="connsiteX35146" fmla="*/ 2409069 w 8079933"/>
              <a:gd name="connsiteY35146" fmla="*/ 464264 h 4687251"/>
              <a:gd name="connsiteX35147" fmla="*/ 2405054 w 8079933"/>
              <a:gd name="connsiteY35147" fmla="*/ 460150 h 4687251"/>
              <a:gd name="connsiteX35148" fmla="*/ 2401907 w 8079933"/>
              <a:gd name="connsiteY35148" fmla="*/ 459933 h 4687251"/>
              <a:gd name="connsiteX35149" fmla="*/ 2400930 w 8079933"/>
              <a:gd name="connsiteY35149" fmla="*/ 463506 h 4687251"/>
              <a:gd name="connsiteX35150" fmla="*/ 2398651 w 8079933"/>
              <a:gd name="connsiteY35150" fmla="*/ 467296 h 4687251"/>
              <a:gd name="connsiteX35151" fmla="*/ 2395830 w 8079933"/>
              <a:gd name="connsiteY35151" fmla="*/ 468920 h 4687251"/>
              <a:gd name="connsiteX35152" fmla="*/ 2395830 w 8079933"/>
              <a:gd name="connsiteY35152" fmla="*/ 471301 h 4687251"/>
              <a:gd name="connsiteX35153" fmla="*/ 2401473 w 8079933"/>
              <a:gd name="connsiteY35153" fmla="*/ 470219 h 4687251"/>
              <a:gd name="connsiteX35154" fmla="*/ 2404403 w 8079933"/>
              <a:gd name="connsiteY35154" fmla="*/ 467296 h 4687251"/>
              <a:gd name="connsiteX35155" fmla="*/ 2408201 w 8079933"/>
              <a:gd name="connsiteY35155" fmla="*/ 467296 h 4687251"/>
              <a:gd name="connsiteX35156" fmla="*/ 2408852 w 8079933"/>
              <a:gd name="connsiteY35156" fmla="*/ 469569 h 4687251"/>
              <a:gd name="connsiteX35157" fmla="*/ 2406248 w 8079933"/>
              <a:gd name="connsiteY35157" fmla="*/ 471627 h 4687251"/>
              <a:gd name="connsiteX35158" fmla="*/ 2410371 w 8079933"/>
              <a:gd name="connsiteY35158" fmla="*/ 471518 h 4687251"/>
              <a:gd name="connsiteX35159" fmla="*/ 2412107 w 8079933"/>
              <a:gd name="connsiteY35159" fmla="*/ 470111 h 4687251"/>
              <a:gd name="connsiteX35160" fmla="*/ 2416231 w 8079933"/>
              <a:gd name="connsiteY35160" fmla="*/ 471301 h 4687251"/>
              <a:gd name="connsiteX35161" fmla="*/ 2419595 w 8079933"/>
              <a:gd name="connsiteY35161" fmla="*/ 469894 h 4687251"/>
              <a:gd name="connsiteX35162" fmla="*/ 2420029 w 8079933"/>
              <a:gd name="connsiteY35162" fmla="*/ 473467 h 4687251"/>
              <a:gd name="connsiteX35163" fmla="*/ 2417641 w 8079933"/>
              <a:gd name="connsiteY35163" fmla="*/ 478881 h 4687251"/>
              <a:gd name="connsiteX35164" fmla="*/ 2414061 w 8079933"/>
              <a:gd name="connsiteY35164" fmla="*/ 480396 h 4687251"/>
              <a:gd name="connsiteX35165" fmla="*/ 2414061 w 8079933"/>
              <a:gd name="connsiteY35165" fmla="*/ 482995 h 4687251"/>
              <a:gd name="connsiteX35166" fmla="*/ 2419595 w 8079933"/>
              <a:gd name="connsiteY35166" fmla="*/ 480722 h 4687251"/>
              <a:gd name="connsiteX35167" fmla="*/ 2422851 w 8079933"/>
              <a:gd name="connsiteY35167" fmla="*/ 484186 h 4687251"/>
              <a:gd name="connsiteX35168" fmla="*/ 2420029 w 8079933"/>
              <a:gd name="connsiteY35168" fmla="*/ 491224 h 4687251"/>
              <a:gd name="connsiteX35169" fmla="*/ 2420029 w 8079933"/>
              <a:gd name="connsiteY35169" fmla="*/ 494363 h 4687251"/>
              <a:gd name="connsiteX35170" fmla="*/ 2418185 w 8079933"/>
              <a:gd name="connsiteY35170" fmla="*/ 498153 h 4687251"/>
              <a:gd name="connsiteX35171" fmla="*/ 2420029 w 8079933"/>
              <a:gd name="connsiteY35171" fmla="*/ 502376 h 4687251"/>
              <a:gd name="connsiteX35172" fmla="*/ 2423176 w 8079933"/>
              <a:gd name="connsiteY35172" fmla="*/ 502268 h 4687251"/>
              <a:gd name="connsiteX35173" fmla="*/ 2422634 w 8079933"/>
              <a:gd name="connsiteY35173" fmla="*/ 496529 h 4687251"/>
              <a:gd name="connsiteX35174" fmla="*/ 2427517 w 8079933"/>
              <a:gd name="connsiteY35174" fmla="*/ 491007 h 4687251"/>
              <a:gd name="connsiteX35175" fmla="*/ 2432617 w 8079933"/>
              <a:gd name="connsiteY35175" fmla="*/ 489708 h 4687251"/>
              <a:gd name="connsiteX35176" fmla="*/ 2432834 w 8079933"/>
              <a:gd name="connsiteY35176" fmla="*/ 494797 h 4687251"/>
              <a:gd name="connsiteX35177" fmla="*/ 2433377 w 8079933"/>
              <a:gd name="connsiteY35177" fmla="*/ 497070 h 4687251"/>
              <a:gd name="connsiteX35178" fmla="*/ 2431966 w 8079933"/>
              <a:gd name="connsiteY35178" fmla="*/ 501401 h 4687251"/>
              <a:gd name="connsiteX35179" fmla="*/ 2435222 w 8079933"/>
              <a:gd name="connsiteY35179" fmla="*/ 501401 h 4687251"/>
              <a:gd name="connsiteX35180" fmla="*/ 2437935 w 8079933"/>
              <a:gd name="connsiteY35180" fmla="*/ 499344 h 4687251"/>
              <a:gd name="connsiteX35181" fmla="*/ 2442492 w 8079933"/>
              <a:gd name="connsiteY35181" fmla="*/ 500534 h 4687251"/>
              <a:gd name="connsiteX35182" fmla="*/ 2442926 w 8079933"/>
              <a:gd name="connsiteY35182" fmla="*/ 503459 h 4687251"/>
              <a:gd name="connsiteX35183" fmla="*/ 2441298 w 8079933"/>
              <a:gd name="connsiteY35183" fmla="*/ 506381 h 4687251"/>
              <a:gd name="connsiteX35184" fmla="*/ 2445205 w 8079933"/>
              <a:gd name="connsiteY35184" fmla="*/ 507681 h 4687251"/>
              <a:gd name="connsiteX35185" fmla="*/ 2446399 w 8079933"/>
              <a:gd name="connsiteY35185" fmla="*/ 504974 h 4687251"/>
              <a:gd name="connsiteX35186" fmla="*/ 2445422 w 8079933"/>
              <a:gd name="connsiteY35186" fmla="*/ 501726 h 4687251"/>
              <a:gd name="connsiteX35187" fmla="*/ 2451065 w 8079933"/>
              <a:gd name="connsiteY35187" fmla="*/ 498477 h 4687251"/>
              <a:gd name="connsiteX35188" fmla="*/ 2452584 w 8079933"/>
              <a:gd name="connsiteY35188" fmla="*/ 500968 h 4687251"/>
              <a:gd name="connsiteX35189" fmla="*/ 2452150 w 8079933"/>
              <a:gd name="connsiteY35189" fmla="*/ 504000 h 4687251"/>
              <a:gd name="connsiteX35190" fmla="*/ 2457142 w 8079933"/>
              <a:gd name="connsiteY35190" fmla="*/ 509629 h 4687251"/>
              <a:gd name="connsiteX35191" fmla="*/ 2456925 w 8079933"/>
              <a:gd name="connsiteY35191" fmla="*/ 513203 h 4687251"/>
              <a:gd name="connsiteX35192" fmla="*/ 2451933 w 8079933"/>
              <a:gd name="connsiteY35192" fmla="*/ 515152 h 4687251"/>
              <a:gd name="connsiteX35193" fmla="*/ 2454646 w 8079933"/>
              <a:gd name="connsiteY35193" fmla="*/ 516667 h 4687251"/>
              <a:gd name="connsiteX35194" fmla="*/ 2460940 w 8079933"/>
              <a:gd name="connsiteY35194" fmla="*/ 515152 h 4687251"/>
              <a:gd name="connsiteX35195" fmla="*/ 2464196 w 8079933"/>
              <a:gd name="connsiteY35195" fmla="*/ 516018 h 4687251"/>
              <a:gd name="connsiteX35196" fmla="*/ 2466040 w 8079933"/>
              <a:gd name="connsiteY35196" fmla="*/ 519049 h 4687251"/>
              <a:gd name="connsiteX35197" fmla="*/ 2471032 w 8079933"/>
              <a:gd name="connsiteY35197" fmla="*/ 520132 h 4687251"/>
              <a:gd name="connsiteX35198" fmla="*/ 2467234 w 8079933"/>
              <a:gd name="connsiteY35198" fmla="*/ 516884 h 4687251"/>
              <a:gd name="connsiteX35199" fmla="*/ 2467451 w 8079933"/>
              <a:gd name="connsiteY35199" fmla="*/ 513203 h 4687251"/>
              <a:gd name="connsiteX35200" fmla="*/ 2464196 w 8079933"/>
              <a:gd name="connsiteY35200" fmla="*/ 509954 h 4687251"/>
              <a:gd name="connsiteX35201" fmla="*/ 2465497 w 8079933"/>
              <a:gd name="connsiteY35201" fmla="*/ 508546 h 4687251"/>
              <a:gd name="connsiteX35202" fmla="*/ 2475915 w 8079933"/>
              <a:gd name="connsiteY35202" fmla="*/ 510171 h 4687251"/>
              <a:gd name="connsiteX35203" fmla="*/ 2480365 w 8079933"/>
              <a:gd name="connsiteY35203" fmla="*/ 508763 h 4687251"/>
              <a:gd name="connsiteX35204" fmla="*/ 2482426 w 8079933"/>
              <a:gd name="connsiteY35204" fmla="*/ 510820 h 4687251"/>
              <a:gd name="connsiteX35205" fmla="*/ 2482426 w 8079933"/>
              <a:gd name="connsiteY35205" fmla="*/ 513960 h 4687251"/>
              <a:gd name="connsiteX35206" fmla="*/ 2484379 w 8079933"/>
              <a:gd name="connsiteY35206" fmla="*/ 512228 h 4687251"/>
              <a:gd name="connsiteX35207" fmla="*/ 2484162 w 8079933"/>
              <a:gd name="connsiteY35207" fmla="*/ 509305 h 4687251"/>
              <a:gd name="connsiteX35208" fmla="*/ 2489697 w 8079933"/>
              <a:gd name="connsiteY35208" fmla="*/ 508439 h 4687251"/>
              <a:gd name="connsiteX35209" fmla="*/ 2494146 w 8079933"/>
              <a:gd name="connsiteY35209" fmla="*/ 506706 h 4687251"/>
              <a:gd name="connsiteX35210" fmla="*/ 2497944 w 8079933"/>
              <a:gd name="connsiteY35210" fmla="*/ 509089 h 4687251"/>
              <a:gd name="connsiteX35211" fmla="*/ 2500331 w 8079933"/>
              <a:gd name="connsiteY35211" fmla="*/ 512012 h 4687251"/>
              <a:gd name="connsiteX35212" fmla="*/ 2502285 w 8079933"/>
              <a:gd name="connsiteY35212" fmla="*/ 507572 h 4687251"/>
              <a:gd name="connsiteX35213" fmla="*/ 2507602 w 8079933"/>
              <a:gd name="connsiteY35213" fmla="*/ 507356 h 4687251"/>
              <a:gd name="connsiteX35214" fmla="*/ 2510207 w 8079933"/>
              <a:gd name="connsiteY35214" fmla="*/ 506165 h 4687251"/>
              <a:gd name="connsiteX35215" fmla="*/ 2513462 w 8079933"/>
              <a:gd name="connsiteY35215" fmla="*/ 506489 h 4687251"/>
              <a:gd name="connsiteX35216" fmla="*/ 2517694 w 8079933"/>
              <a:gd name="connsiteY35216" fmla="*/ 503783 h 4687251"/>
              <a:gd name="connsiteX35217" fmla="*/ 2520299 w 8079933"/>
              <a:gd name="connsiteY35217" fmla="*/ 505191 h 4687251"/>
              <a:gd name="connsiteX35218" fmla="*/ 2521492 w 8079933"/>
              <a:gd name="connsiteY35218" fmla="*/ 508763 h 4687251"/>
              <a:gd name="connsiteX35219" fmla="*/ 2529631 w 8079933"/>
              <a:gd name="connsiteY35219" fmla="*/ 514393 h 4687251"/>
              <a:gd name="connsiteX35220" fmla="*/ 2536901 w 8079933"/>
              <a:gd name="connsiteY35220" fmla="*/ 512336 h 4687251"/>
              <a:gd name="connsiteX35221" fmla="*/ 2543087 w 8079933"/>
              <a:gd name="connsiteY35221" fmla="*/ 512336 h 4687251"/>
              <a:gd name="connsiteX35222" fmla="*/ 2546668 w 8079933"/>
              <a:gd name="connsiteY35222" fmla="*/ 510171 h 4687251"/>
              <a:gd name="connsiteX35223" fmla="*/ 2550467 w 8079933"/>
              <a:gd name="connsiteY35223" fmla="*/ 510171 h 4687251"/>
              <a:gd name="connsiteX35224" fmla="*/ 2558063 w 8079933"/>
              <a:gd name="connsiteY35224" fmla="*/ 516343 h 4687251"/>
              <a:gd name="connsiteX35225" fmla="*/ 2559582 w 8079933"/>
              <a:gd name="connsiteY35225" fmla="*/ 520673 h 4687251"/>
              <a:gd name="connsiteX35226" fmla="*/ 2557194 w 8079933"/>
              <a:gd name="connsiteY35226" fmla="*/ 521648 h 4687251"/>
              <a:gd name="connsiteX35227" fmla="*/ 2556651 w 8079933"/>
              <a:gd name="connsiteY35227" fmla="*/ 524462 h 4687251"/>
              <a:gd name="connsiteX35228" fmla="*/ 2558605 w 8079933"/>
              <a:gd name="connsiteY35228" fmla="*/ 527278 h 4687251"/>
              <a:gd name="connsiteX35229" fmla="*/ 2567829 w 8079933"/>
              <a:gd name="connsiteY35229" fmla="*/ 527169 h 4687251"/>
              <a:gd name="connsiteX35230" fmla="*/ 2572061 w 8079933"/>
              <a:gd name="connsiteY35230" fmla="*/ 529876 h 4687251"/>
              <a:gd name="connsiteX35231" fmla="*/ 2571627 w 8079933"/>
              <a:gd name="connsiteY35231" fmla="*/ 534315 h 4687251"/>
              <a:gd name="connsiteX35232" fmla="*/ 2568914 w 8079933"/>
              <a:gd name="connsiteY35232" fmla="*/ 535398 h 4687251"/>
              <a:gd name="connsiteX35233" fmla="*/ 2567178 w 8079933"/>
              <a:gd name="connsiteY35233" fmla="*/ 539187 h 4687251"/>
              <a:gd name="connsiteX35234" fmla="*/ 2571627 w 8079933"/>
              <a:gd name="connsiteY35234" fmla="*/ 538213 h 4687251"/>
              <a:gd name="connsiteX35235" fmla="*/ 2577378 w 8079933"/>
              <a:gd name="connsiteY35235" fmla="*/ 539729 h 4687251"/>
              <a:gd name="connsiteX35236" fmla="*/ 2576619 w 8079933"/>
              <a:gd name="connsiteY35236" fmla="*/ 541894 h 4687251"/>
              <a:gd name="connsiteX35237" fmla="*/ 2573906 w 8079933"/>
              <a:gd name="connsiteY35237" fmla="*/ 542652 h 4687251"/>
              <a:gd name="connsiteX35238" fmla="*/ 2574991 w 8079933"/>
              <a:gd name="connsiteY35238" fmla="*/ 545576 h 4687251"/>
              <a:gd name="connsiteX35239" fmla="*/ 2572495 w 8079933"/>
              <a:gd name="connsiteY35239" fmla="*/ 550231 h 4687251"/>
              <a:gd name="connsiteX35240" fmla="*/ 2573255 w 8079933"/>
              <a:gd name="connsiteY35240" fmla="*/ 552938 h 4687251"/>
              <a:gd name="connsiteX35241" fmla="*/ 2570650 w 8079933"/>
              <a:gd name="connsiteY35241" fmla="*/ 557377 h 4687251"/>
              <a:gd name="connsiteX35242" fmla="*/ 2567720 w 8079933"/>
              <a:gd name="connsiteY35242" fmla="*/ 557918 h 4687251"/>
              <a:gd name="connsiteX35243" fmla="*/ 2565116 w 8079933"/>
              <a:gd name="connsiteY35243" fmla="*/ 555537 h 4687251"/>
              <a:gd name="connsiteX35244" fmla="*/ 2562403 w 8079933"/>
              <a:gd name="connsiteY35244" fmla="*/ 559650 h 4687251"/>
              <a:gd name="connsiteX35245" fmla="*/ 2557411 w 8079933"/>
              <a:gd name="connsiteY35245" fmla="*/ 561383 h 4687251"/>
              <a:gd name="connsiteX35246" fmla="*/ 2554481 w 8079933"/>
              <a:gd name="connsiteY35246" fmla="*/ 560192 h 4687251"/>
              <a:gd name="connsiteX35247" fmla="*/ 2552203 w 8079933"/>
              <a:gd name="connsiteY35247" fmla="*/ 561599 h 4687251"/>
              <a:gd name="connsiteX35248" fmla="*/ 2553396 w 8079933"/>
              <a:gd name="connsiteY35248" fmla="*/ 565497 h 4687251"/>
              <a:gd name="connsiteX35249" fmla="*/ 2558931 w 8079933"/>
              <a:gd name="connsiteY35249" fmla="*/ 565173 h 4687251"/>
              <a:gd name="connsiteX35250" fmla="*/ 2564139 w 8079933"/>
              <a:gd name="connsiteY35250" fmla="*/ 563440 h 4687251"/>
              <a:gd name="connsiteX35251" fmla="*/ 2567069 w 8079933"/>
              <a:gd name="connsiteY35251" fmla="*/ 565605 h 4687251"/>
              <a:gd name="connsiteX35252" fmla="*/ 2566527 w 8079933"/>
              <a:gd name="connsiteY35252" fmla="*/ 568745 h 4687251"/>
              <a:gd name="connsiteX35253" fmla="*/ 2567829 w 8079933"/>
              <a:gd name="connsiteY35253" fmla="*/ 573942 h 4687251"/>
              <a:gd name="connsiteX35254" fmla="*/ 2567069 w 8079933"/>
              <a:gd name="connsiteY35254" fmla="*/ 576541 h 4687251"/>
              <a:gd name="connsiteX35255" fmla="*/ 2564791 w 8079933"/>
              <a:gd name="connsiteY35255" fmla="*/ 575242 h 4687251"/>
              <a:gd name="connsiteX35256" fmla="*/ 2561644 w 8079933"/>
              <a:gd name="connsiteY35256" fmla="*/ 575999 h 4687251"/>
              <a:gd name="connsiteX35257" fmla="*/ 2558714 w 8079933"/>
              <a:gd name="connsiteY35257" fmla="*/ 575458 h 4687251"/>
              <a:gd name="connsiteX35258" fmla="*/ 2556651 w 8079933"/>
              <a:gd name="connsiteY35258" fmla="*/ 578706 h 4687251"/>
              <a:gd name="connsiteX35259" fmla="*/ 2552745 w 8079933"/>
              <a:gd name="connsiteY35259" fmla="*/ 573077 h 4687251"/>
              <a:gd name="connsiteX35260" fmla="*/ 2552853 w 8079933"/>
              <a:gd name="connsiteY35260" fmla="*/ 570153 h 4687251"/>
              <a:gd name="connsiteX35261" fmla="*/ 2550141 w 8079933"/>
              <a:gd name="connsiteY35261" fmla="*/ 567230 h 4687251"/>
              <a:gd name="connsiteX35262" fmla="*/ 2550141 w 8079933"/>
              <a:gd name="connsiteY35262" fmla="*/ 572535 h 4687251"/>
              <a:gd name="connsiteX35263" fmla="*/ 2552528 w 8079933"/>
              <a:gd name="connsiteY35263" fmla="*/ 577732 h 4687251"/>
              <a:gd name="connsiteX35264" fmla="*/ 2552420 w 8079933"/>
              <a:gd name="connsiteY35264" fmla="*/ 580439 h 4687251"/>
              <a:gd name="connsiteX35265" fmla="*/ 2549490 w 8079933"/>
              <a:gd name="connsiteY35265" fmla="*/ 580656 h 4687251"/>
              <a:gd name="connsiteX35266" fmla="*/ 2546342 w 8079933"/>
              <a:gd name="connsiteY35266" fmla="*/ 586610 h 4687251"/>
              <a:gd name="connsiteX35267" fmla="*/ 2546560 w 8079933"/>
              <a:gd name="connsiteY35267" fmla="*/ 588992 h 4687251"/>
              <a:gd name="connsiteX35268" fmla="*/ 2543847 w 8079933"/>
              <a:gd name="connsiteY35268" fmla="*/ 591482 h 4687251"/>
              <a:gd name="connsiteX35269" fmla="*/ 2541134 w 8079933"/>
              <a:gd name="connsiteY35269" fmla="*/ 589966 h 4687251"/>
              <a:gd name="connsiteX35270" fmla="*/ 2536901 w 8079933"/>
              <a:gd name="connsiteY35270" fmla="*/ 590508 h 4687251"/>
              <a:gd name="connsiteX35271" fmla="*/ 2529631 w 8079933"/>
              <a:gd name="connsiteY35271" fmla="*/ 587043 h 4687251"/>
              <a:gd name="connsiteX35272" fmla="*/ 2525507 w 8079933"/>
              <a:gd name="connsiteY35272" fmla="*/ 587476 h 4687251"/>
              <a:gd name="connsiteX35273" fmla="*/ 2517151 w 8079933"/>
              <a:gd name="connsiteY35273" fmla="*/ 592998 h 4687251"/>
              <a:gd name="connsiteX35274" fmla="*/ 2512703 w 8079933"/>
              <a:gd name="connsiteY35274" fmla="*/ 592782 h 4687251"/>
              <a:gd name="connsiteX35275" fmla="*/ 2511835 w 8079933"/>
              <a:gd name="connsiteY35275" fmla="*/ 590832 h 4687251"/>
              <a:gd name="connsiteX35276" fmla="*/ 2507385 w 8079933"/>
              <a:gd name="connsiteY35276" fmla="*/ 590832 h 4687251"/>
              <a:gd name="connsiteX35277" fmla="*/ 2506517 w 8079933"/>
              <a:gd name="connsiteY35277" fmla="*/ 586068 h 4687251"/>
              <a:gd name="connsiteX35278" fmla="*/ 2501851 w 8079933"/>
              <a:gd name="connsiteY35278" fmla="*/ 588125 h 4687251"/>
              <a:gd name="connsiteX35279" fmla="*/ 2497076 w 8079933"/>
              <a:gd name="connsiteY35279" fmla="*/ 586610 h 4687251"/>
              <a:gd name="connsiteX35280" fmla="*/ 2496208 w 8079933"/>
              <a:gd name="connsiteY35280" fmla="*/ 576649 h 4687251"/>
              <a:gd name="connsiteX35281" fmla="*/ 2498595 w 8079933"/>
              <a:gd name="connsiteY35281" fmla="*/ 570261 h 4687251"/>
              <a:gd name="connsiteX35282" fmla="*/ 2502068 w 8079933"/>
              <a:gd name="connsiteY35282" fmla="*/ 567230 h 4687251"/>
              <a:gd name="connsiteX35283" fmla="*/ 2501742 w 8079933"/>
              <a:gd name="connsiteY35283" fmla="*/ 564847 h 4687251"/>
              <a:gd name="connsiteX35284" fmla="*/ 2498921 w 8079933"/>
              <a:gd name="connsiteY35284" fmla="*/ 564306 h 4687251"/>
              <a:gd name="connsiteX35285" fmla="*/ 2498595 w 8079933"/>
              <a:gd name="connsiteY35285" fmla="*/ 558568 h 4687251"/>
              <a:gd name="connsiteX35286" fmla="*/ 2496751 w 8079933"/>
              <a:gd name="connsiteY35286" fmla="*/ 557918 h 4687251"/>
              <a:gd name="connsiteX35287" fmla="*/ 2494688 w 8079933"/>
              <a:gd name="connsiteY35287" fmla="*/ 561925 h 4687251"/>
              <a:gd name="connsiteX35288" fmla="*/ 2496859 w 8079933"/>
              <a:gd name="connsiteY35288" fmla="*/ 566580 h 4687251"/>
              <a:gd name="connsiteX35289" fmla="*/ 2495231 w 8079933"/>
              <a:gd name="connsiteY35289" fmla="*/ 569611 h 4687251"/>
              <a:gd name="connsiteX35290" fmla="*/ 2490674 w 8079933"/>
              <a:gd name="connsiteY35290" fmla="*/ 573726 h 4687251"/>
              <a:gd name="connsiteX35291" fmla="*/ 2490674 w 8079933"/>
              <a:gd name="connsiteY35291" fmla="*/ 578706 h 4687251"/>
              <a:gd name="connsiteX35292" fmla="*/ 2487418 w 8079933"/>
              <a:gd name="connsiteY35292" fmla="*/ 580656 h 4687251"/>
              <a:gd name="connsiteX35293" fmla="*/ 2481884 w 8079933"/>
              <a:gd name="connsiteY35293" fmla="*/ 582171 h 4687251"/>
              <a:gd name="connsiteX35294" fmla="*/ 2480690 w 8079933"/>
              <a:gd name="connsiteY35294" fmla="*/ 579464 h 4687251"/>
              <a:gd name="connsiteX35295" fmla="*/ 2477543 w 8079933"/>
              <a:gd name="connsiteY35295" fmla="*/ 580439 h 4687251"/>
              <a:gd name="connsiteX35296" fmla="*/ 2473528 w 8079933"/>
              <a:gd name="connsiteY35296" fmla="*/ 581954 h 4687251"/>
              <a:gd name="connsiteX35297" fmla="*/ 2466909 w 8079933"/>
              <a:gd name="connsiteY35297" fmla="*/ 578166 h 4687251"/>
              <a:gd name="connsiteX35298" fmla="*/ 2462459 w 8079933"/>
              <a:gd name="connsiteY35298" fmla="*/ 578057 h 4687251"/>
              <a:gd name="connsiteX35299" fmla="*/ 2461591 w 8079933"/>
              <a:gd name="connsiteY35299" fmla="*/ 574809 h 4687251"/>
              <a:gd name="connsiteX35300" fmla="*/ 2462785 w 8079933"/>
              <a:gd name="connsiteY35300" fmla="*/ 564956 h 4687251"/>
              <a:gd name="connsiteX35301" fmla="*/ 2460940 w 8079933"/>
              <a:gd name="connsiteY35301" fmla="*/ 567771 h 4687251"/>
              <a:gd name="connsiteX35302" fmla="*/ 2458987 w 8079933"/>
              <a:gd name="connsiteY35302" fmla="*/ 574268 h 4687251"/>
              <a:gd name="connsiteX35303" fmla="*/ 2453452 w 8079933"/>
              <a:gd name="connsiteY35303" fmla="*/ 575242 h 4687251"/>
              <a:gd name="connsiteX35304" fmla="*/ 2453452 w 8079933"/>
              <a:gd name="connsiteY35304" fmla="*/ 571884 h 4687251"/>
              <a:gd name="connsiteX35305" fmla="*/ 2455515 w 8079933"/>
              <a:gd name="connsiteY35305" fmla="*/ 568962 h 4687251"/>
              <a:gd name="connsiteX35306" fmla="*/ 2454863 w 8079933"/>
              <a:gd name="connsiteY35306" fmla="*/ 565173 h 4687251"/>
              <a:gd name="connsiteX35307" fmla="*/ 2451608 w 8079933"/>
              <a:gd name="connsiteY35307" fmla="*/ 572318 h 4687251"/>
              <a:gd name="connsiteX35308" fmla="*/ 2447918 w 8079933"/>
              <a:gd name="connsiteY35308" fmla="*/ 574917 h 4687251"/>
              <a:gd name="connsiteX35309" fmla="*/ 2441733 w 8079933"/>
              <a:gd name="connsiteY35309" fmla="*/ 574809 h 4687251"/>
              <a:gd name="connsiteX35310" fmla="*/ 2441624 w 8079933"/>
              <a:gd name="connsiteY35310" fmla="*/ 571019 h 4687251"/>
              <a:gd name="connsiteX35311" fmla="*/ 2443794 w 8079933"/>
              <a:gd name="connsiteY35311" fmla="*/ 569070 h 4687251"/>
              <a:gd name="connsiteX35312" fmla="*/ 2444011 w 8079933"/>
              <a:gd name="connsiteY35312" fmla="*/ 566364 h 4687251"/>
              <a:gd name="connsiteX35313" fmla="*/ 2440539 w 8079933"/>
              <a:gd name="connsiteY35313" fmla="*/ 566905 h 4687251"/>
              <a:gd name="connsiteX35314" fmla="*/ 2439020 w 8079933"/>
              <a:gd name="connsiteY35314" fmla="*/ 569395 h 4687251"/>
              <a:gd name="connsiteX35315" fmla="*/ 2437826 w 8079933"/>
              <a:gd name="connsiteY35315" fmla="*/ 574051 h 4687251"/>
              <a:gd name="connsiteX35316" fmla="*/ 2434570 w 8079933"/>
              <a:gd name="connsiteY35316" fmla="*/ 574268 h 4687251"/>
              <a:gd name="connsiteX35317" fmla="*/ 2433485 w 8079933"/>
              <a:gd name="connsiteY35317" fmla="*/ 569286 h 4687251"/>
              <a:gd name="connsiteX35318" fmla="*/ 2434679 w 8079933"/>
              <a:gd name="connsiteY35318" fmla="*/ 565173 h 4687251"/>
              <a:gd name="connsiteX35319" fmla="*/ 2433485 w 8079933"/>
              <a:gd name="connsiteY35319" fmla="*/ 561707 h 4687251"/>
              <a:gd name="connsiteX35320" fmla="*/ 2430555 w 8079933"/>
              <a:gd name="connsiteY35320" fmla="*/ 565822 h 4687251"/>
              <a:gd name="connsiteX35321" fmla="*/ 2430772 w 8079933"/>
              <a:gd name="connsiteY35321" fmla="*/ 569611 h 4687251"/>
              <a:gd name="connsiteX35322" fmla="*/ 2431749 w 8079933"/>
              <a:gd name="connsiteY35322" fmla="*/ 572318 h 4687251"/>
              <a:gd name="connsiteX35323" fmla="*/ 2428819 w 8079933"/>
              <a:gd name="connsiteY35323" fmla="*/ 574268 h 4687251"/>
              <a:gd name="connsiteX35324" fmla="*/ 2425564 w 8079933"/>
              <a:gd name="connsiteY35324" fmla="*/ 571884 h 4687251"/>
              <a:gd name="connsiteX35325" fmla="*/ 2422091 w 8079933"/>
              <a:gd name="connsiteY35325" fmla="*/ 570802 h 4687251"/>
              <a:gd name="connsiteX35326" fmla="*/ 2421657 w 8079933"/>
              <a:gd name="connsiteY35326" fmla="*/ 568420 h 4687251"/>
              <a:gd name="connsiteX35327" fmla="*/ 2423176 w 8079933"/>
              <a:gd name="connsiteY35327" fmla="*/ 566148 h 4687251"/>
              <a:gd name="connsiteX35328" fmla="*/ 2418293 w 8079933"/>
              <a:gd name="connsiteY35328" fmla="*/ 565605 h 4687251"/>
              <a:gd name="connsiteX35329" fmla="*/ 2416991 w 8079933"/>
              <a:gd name="connsiteY35329" fmla="*/ 569070 h 4687251"/>
              <a:gd name="connsiteX35330" fmla="*/ 2411999 w 8079933"/>
              <a:gd name="connsiteY35330" fmla="*/ 568637 h 4687251"/>
              <a:gd name="connsiteX35331" fmla="*/ 2410589 w 8079933"/>
              <a:gd name="connsiteY35331" fmla="*/ 567013 h 4687251"/>
              <a:gd name="connsiteX35332" fmla="*/ 2406464 w 8079933"/>
              <a:gd name="connsiteY35332" fmla="*/ 567338 h 4687251"/>
              <a:gd name="connsiteX35333" fmla="*/ 2402449 w 8079933"/>
              <a:gd name="connsiteY35333" fmla="*/ 564090 h 4687251"/>
              <a:gd name="connsiteX35334" fmla="*/ 2397350 w 8079933"/>
              <a:gd name="connsiteY35334" fmla="*/ 562358 h 4687251"/>
              <a:gd name="connsiteX35335" fmla="*/ 2397458 w 8079933"/>
              <a:gd name="connsiteY35335" fmla="*/ 558785 h 4687251"/>
              <a:gd name="connsiteX35336" fmla="*/ 2400279 w 8079933"/>
              <a:gd name="connsiteY35336" fmla="*/ 555861 h 4687251"/>
              <a:gd name="connsiteX35337" fmla="*/ 2406464 w 8079933"/>
              <a:gd name="connsiteY35337" fmla="*/ 547741 h 4687251"/>
              <a:gd name="connsiteX35338" fmla="*/ 2407659 w 8079933"/>
              <a:gd name="connsiteY35338" fmla="*/ 542652 h 4687251"/>
              <a:gd name="connsiteX35339" fmla="*/ 2406248 w 8079933"/>
              <a:gd name="connsiteY35339" fmla="*/ 540378 h 4687251"/>
              <a:gd name="connsiteX35340" fmla="*/ 2403535 w 8079933"/>
              <a:gd name="connsiteY35340" fmla="*/ 541570 h 4687251"/>
              <a:gd name="connsiteX35341" fmla="*/ 2400713 w 8079933"/>
              <a:gd name="connsiteY35341" fmla="*/ 548499 h 4687251"/>
              <a:gd name="connsiteX35342" fmla="*/ 2398326 w 8079933"/>
              <a:gd name="connsiteY35342" fmla="*/ 549473 h 4687251"/>
              <a:gd name="connsiteX35343" fmla="*/ 2398000 w 8079933"/>
              <a:gd name="connsiteY35343" fmla="*/ 545684 h 4687251"/>
              <a:gd name="connsiteX35344" fmla="*/ 2399086 w 8079933"/>
              <a:gd name="connsiteY35344" fmla="*/ 544168 h 4687251"/>
              <a:gd name="connsiteX35345" fmla="*/ 2398218 w 8079933"/>
              <a:gd name="connsiteY35345" fmla="*/ 541461 h 4687251"/>
              <a:gd name="connsiteX35346" fmla="*/ 2396155 w 8079933"/>
              <a:gd name="connsiteY35346" fmla="*/ 543519 h 4687251"/>
              <a:gd name="connsiteX35347" fmla="*/ 2393334 w 8079933"/>
              <a:gd name="connsiteY35347" fmla="*/ 543627 h 4687251"/>
              <a:gd name="connsiteX35348" fmla="*/ 2393660 w 8079933"/>
              <a:gd name="connsiteY35348" fmla="*/ 549148 h 4687251"/>
              <a:gd name="connsiteX35349" fmla="*/ 2388126 w 8079933"/>
              <a:gd name="connsiteY35349" fmla="*/ 551206 h 4687251"/>
              <a:gd name="connsiteX35350" fmla="*/ 2385413 w 8079933"/>
              <a:gd name="connsiteY35350" fmla="*/ 553804 h 4687251"/>
              <a:gd name="connsiteX35351" fmla="*/ 2379553 w 8079933"/>
              <a:gd name="connsiteY35351" fmla="*/ 553154 h 4687251"/>
              <a:gd name="connsiteX35352" fmla="*/ 2378359 w 8079933"/>
              <a:gd name="connsiteY35352" fmla="*/ 551206 h 4687251"/>
              <a:gd name="connsiteX35353" fmla="*/ 2373910 w 8079933"/>
              <a:gd name="connsiteY35353" fmla="*/ 552613 h 4687251"/>
              <a:gd name="connsiteX35354" fmla="*/ 2369352 w 8079933"/>
              <a:gd name="connsiteY35354" fmla="*/ 547091 h 4687251"/>
              <a:gd name="connsiteX35355" fmla="*/ 2368918 w 8079933"/>
              <a:gd name="connsiteY35355" fmla="*/ 544492 h 4687251"/>
              <a:gd name="connsiteX35356" fmla="*/ 2367182 w 8079933"/>
              <a:gd name="connsiteY35356" fmla="*/ 542327 h 4687251"/>
              <a:gd name="connsiteX35357" fmla="*/ 2367832 w 8079933"/>
              <a:gd name="connsiteY35357" fmla="*/ 540054 h 4687251"/>
              <a:gd name="connsiteX35358" fmla="*/ 2371957 w 8079933"/>
              <a:gd name="connsiteY35358" fmla="*/ 538971 h 4687251"/>
              <a:gd name="connsiteX35359" fmla="*/ 2374452 w 8079933"/>
              <a:gd name="connsiteY35359" fmla="*/ 532799 h 4687251"/>
              <a:gd name="connsiteX35360" fmla="*/ 2372825 w 8079933"/>
              <a:gd name="connsiteY35360" fmla="*/ 530958 h 4687251"/>
              <a:gd name="connsiteX35361" fmla="*/ 2368592 w 8079933"/>
              <a:gd name="connsiteY35361" fmla="*/ 536589 h 4687251"/>
              <a:gd name="connsiteX35362" fmla="*/ 2366422 w 8079933"/>
              <a:gd name="connsiteY35362" fmla="*/ 536805 h 4687251"/>
              <a:gd name="connsiteX35363" fmla="*/ 2364251 w 8079933"/>
              <a:gd name="connsiteY35363" fmla="*/ 535073 h 4687251"/>
              <a:gd name="connsiteX35364" fmla="*/ 2362733 w 8079933"/>
              <a:gd name="connsiteY35364" fmla="*/ 537455 h 4687251"/>
              <a:gd name="connsiteX35365" fmla="*/ 2362190 w 8079933"/>
              <a:gd name="connsiteY35365" fmla="*/ 541787 h 4687251"/>
              <a:gd name="connsiteX35366" fmla="*/ 2359585 w 8079933"/>
              <a:gd name="connsiteY35366" fmla="*/ 542327 h 4687251"/>
              <a:gd name="connsiteX35367" fmla="*/ 2355787 w 8079933"/>
              <a:gd name="connsiteY35367" fmla="*/ 538862 h 4687251"/>
              <a:gd name="connsiteX35368" fmla="*/ 2355787 w 8079933"/>
              <a:gd name="connsiteY35368" fmla="*/ 535723 h 4687251"/>
              <a:gd name="connsiteX35369" fmla="*/ 2352857 w 8079933"/>
              <a:gd name="connsiteY35369" fmla="*/ 534857 h 4687251"/>
              <a:gd name="connsiteX35370" fmla="*/ 2350796 w 8079933"/>
              <a:gd name="connsiteY35370" fmla="*/ 529876 h 4687251"/>
              <a:gd name="connsiteX35371" fmla="*/ 2351989 w 8079933"/>
              <a:gd name="connsiteY35371" fmla="*/ 525654 h 4687251"/>
              <a:gd name="connsiteX35372" fmla="*/ 2355462 w 8079933"/>
              <a:gd name="connsiteY35372" fmla="*/ 521107 h 4687251"/>
              <a:gd name="connsiteX35373" fmla="*/ 2353183 w 8079933"/>
              <a:gd name="connsiteY35373" fmla="*/ 518940 h 4687251"/>
              <a:gd name="connsiteX35374" fmla="*/ 2354051 w 8079933"/>
              <a:gd name="connsiteY35374" fmla="*/ 515476 h 4687251"/>
              <a:gd name="connsiteX35375" fmla="*/ 2358392 w 8079933"/>
              <a:gd name="connsiteY35375" fmla="*/ 513636 h 4687251"/>
              <a:gd name="connsiteX35376" fmla="*/ 2358392 w 8079933"/>
              <a:gd name="connsiteY35376" fmla="*/ 510495 h 4687251"/>
              <a:gd name="connsiteX35377" fmla="*/ 2355137 w 8079933"/>
              <a:gd name="connsiteY35377" fmla="*/ 509413 h 4687251"/>
              <a:gd name="connsiteX35378" fmla="*/ 2354810 w 8079933"/>
              <a:gd name="connsiteY35378" fmla="*/ 504324 h 4687251"/>
              <a:gd name="connsiteX35379" fmla="*/ 2357307 w 8079933"/>
              <a:gd name="connsiteY35379" fmla="*/ 500318 h 4687251"/>
              <a:gd name="connsiteX35380" fmla="*/ 2361539 w 8079933"/>
              <a:gd name="connsiteY35380" fmla="*/ 497611 h 4687251"/>
              <a:gd name="connsiteX35381" fmla="*/ 2361322 w 8079933"/>
              <a:gd name="connsiteY35381" fmla="*/ 494472 h 4687251"/>
              <a:gd name="connsiteX35382" fmla="*/ 2366314 w 8079933"/>
              <a:gd name="connsiteY35382" fmla="*/ 488300 h 4687251"/>
              <a:gd name="connsiteX35383" fmla="*/ 2367182 w 8079933"/>
              <a:gd name="connsiteY35383" fmla="*/ 484294 h 4687251"/>
              <a:gd name="connsiteX35384" fmla="*/ 2373042 w 8079933"/>
              <a:gd name="connsiteY35384" fmla="*/ 482995 h 4687251"/>
              <a:gd name="connsiteX35385" fmla="*/ 2379553 w 8079933"/>
              <a:gd name="connsiteY35385" fmla="*/ 478339 h 4687251"/>
              <a:gd name="connsiteX35386" fmla="*/ 2381506 w 8079933"/>
              <a:gd name="connsiteY35386" fmla="*/ 472818 h 4687251"/>
              <a:gd name="connsiteX35387" fmla="*/ 2381506 w 8079933"/>
              <a:gd name="connsiteY35387" fmla="*/ 469569 h 4687251"/>
              <a:gd name="connsiteX35388" fmla="*/ 2383025 w 8079933"/>
              <a:gd name="connsiteY35388" fmla="*/ 463939 h 4687251"/>
              <a:gd name="connsiteX35389" fmla="*/ 2379878 w 8079933"/>
              <a:gd name="connsiteY35389" fmla="*/ 459284 h 4687251"/>
              <a:gd name="connsiteX35390" fmla="*/ 2379878 w 8079933"/>
              <a:gd name="connsiteY35390" fmla="*/ 455169 h 4687251"/>
              <a:gd name="connsiteX35391" fmla="*/ 2381831 w 8079933"/>
              <a:gd name="connsiteY35391" fmla="*/ 449323 h 4687251"/>
              <a:gd name="connsiteX35392" fmla="*/ 2381831 w 8079933"/>
              <a:gd name="connsiteY35392" fmla="*/ 440878 h 4687251"/>
              <a:gd name="connsiteX35393" fmla="*/ 2383676 w 8079933"/>
              <a:gd name="connsiteY35393" fmla="*/ 436547 h 4687251"/>
              <a:gd name="connsiteX35394" fmla="*/ 2382700 w 8079933"/>
              <a:gd name="connsiteY35394" fmla="*/ 433515 h 4687251"/>
              <a:gd name="connsiteX35395" fmla="*/ 2379444 w 8079933"/>
              <a:gd name="connsiteY35395" fmla="*/ 432758 h 4687251"/>
              <a:gd name="connsiteX35396" fmla="*/ 2374887 w 8079933"/>
              <a:gd name="connsiteY35396" fmla="*/ 435356 h 4687251"/>
              <a:gd name="connsiteX35397" fmla="*/ 2373042 w 8079933"/>
              <a:gd name="connsiteY35397" fmla="*/ 433515 h 4687251"/>
              <a:gd name="connsiteX35398" fmla="*/ 2372716 w 8079933"/>
              <a:gd name="connsiteY35398" fmla="*/ 436547 h 4687251"/>
              <a:gd name="connsiteX35399" fmla="*/ 2370220 w 8079933"/>
              <a:gd name="connsiteY35399" fmla="*/ 436763 h 4687251"/>
              <a:gd name="connsiteX35400" fmla="*/ 2363926 w 8079933"/>
              <a:gd name="connsiteY35400" fmla="*/ 431567 h 4687251"/>
              <a:gd name="connsiteX35401" fmla="*/ 2363166 w 8079933"/>
              <a:gd name="connsiteY35401" fmla="*/ 428535 h 4687251"/>
              <a:gd name="connsiteX35402" fmla="*/ 2358066 w 8079933"/>
              <a:gd name="connsiteY35402" fmla="*/ 427452 h 4687251"/>
              <a:gd name="connsiteX35403" fmla="*/ 2357307 w 8079933"/>
              <a:gd name="connsiteY35403" fmla="*/ 424313 h 4687251"/>
              <a:gd name="connsiteX35404" fmla="*/ 2349711 w 8079933"/>
              <a:gd name="connsiteY35404" fmla="*/ 427127 h 4687251"/>
              <a:gd name="connsiteX35405" fmla="*/ 2346672 w 8079933"/>
              <a:gd name="connsiteY35405" fmla="*/ 424528 h 4687251"/>
              <a:gd name="connsiteX35406" fmla="*/ 2340270 w 8079933"/>
              <a:gd name="connsiteY35406" fmla="*/ 427127 h 4687251"/>
              <a:gd name="connsiteX35407" fmla="*/ 2341680 w 8079933"/>
              <a:gd name="connsiteY35407" fmla="*/ 423555 h 4687251"/>
              <a:gd name="connsiteX35408" fmla="*/ 2344284 w 8079933"/>
              <a:gd name="connsiteY35408" fmla="*/ 421606 h 4687251"/>
              <a:gd name="connsiteX35409" fmla="*/ 2344284 w 8079933"/>
              <a:gd name="connsiteY35409" fmla="*/ 419223 h 4687251"/>
              <a:gd name="connsiteX35410" fmla="*/ 2351664 w 8079933"/>
              <a:gd name="connsiteY35410" fmla="*/ 419765 h 4687251"/>
              <a:gd name="connsiteX35411" fmla="*/ 2353400 w 8079933"/>
              <a:gd name="connsiteY35411" fmla="*/ 421606 h 4687251"/>
              <a:gd name="connsiteX35412" fmla="*/ 2353509 w 8079933"/>
              <a:gd name="connsiteY35412" fmla="*/ 418357 h 4687251"/>
              <a:gd name="connsiteX35413" fmla="*/ 2348951 w 8079933"/>
              <a:gd name="connsiteY35413" fmla="*/ 416409 h 4687251"/>
              <a:gd name="connsiteX35414" fmla="*/ 2343091 w 8079933"/>
              <a:gd name="connsiteY35414" fmla="*/ 408721 h 4687251"/>
              <a:gd name="connsiteX35415" fmla="*/ 2343959 w 8079933"/>
              <a:gd name="connsiteY35415" fmla="*/ 404066 h 4687251"/>
              <a:gd name="connsiteX35416" fmla="*/ 2347866 w 8079933"/>
              <a:gd name="connsiteY35416" fmla="*/ 404282 h 4687251"/>
              <a:gd name="connsiteX35417" fmla="*/ 2350687 w 8079933"/>
              <a:gd name="connsiteY35417" fmla="*/ 401684 h 4687251"/>
              <a:gd name="connsiteX35418" fmla="*/ 2346346 w 8079933"/>
              <a:gd name="connsiteY35418" fmla="*/ 401684 h 4687251"/>
              <a:gd name="connsiteX35419" fmla="*/ 2341897 w 8079933"/>
              <a:gd name="connsiteY35419" fmla="*/ 393564 h 4687251"/>
              <a:gd name="connsiteX35420" fmla="*/ 2337014 w 8079933"/>
              <a:gd name="connsiteY35420" fmla="*/ 391506 h 4687251"/>
              <a:gd name="connsiteX35421" fmla="*/ 2335495 w 8079933"/>
              <a:gd name="connsiteY35421" fmla="*/ 387067 h 4687251"/>
              <a:gd name="connsiteX35422" fmla="*/ 2336472 w 8079933"/>
              <a:gd name="connsiteY35422" fmla="*/ 382087 h 4687251"/>
              <a:gd name="connsiteX35423" fmla="*/ 2341897 w 8079933"/>
              <a:gd name="connsiteY35423" fmla="*/ 389666 h 4687251"/>
              <a:gd name="connsiteX35424" fmla="*/ 2345153 w 8079933"/>
              <a:gd name="connsiteY35424" fmla="*/ 389774 h 4687251"/>
              <a:gd name="connsiteX35425" fmla="*/ 2343091 w 8079933"/>
              <a:gd name="connsiteY35425" fmla="*/ 385334 h 4687251"/>
              <a:gd name="connsiteX35426" fmla="*/ 2339944 w 8079933"/>
              <a:gd name="connsiteY35426" fmla="*/ 381004 h 4687251"/>
              <a:gd name="connsiteX35427" fmla="*/ 2341897 w 8079933"/>
              <a:gd name="connsiteY35427" fmla="*/ 376781 h 4687251"/>
              <a:gd name="connsiteX35428" fmla="*/ 2344284 w 8079933"/>
              <a:gd name="connsiteY35428" fmla="*/ 376565 h 4687251"/>
              <a:gd name="connsiteX35429" fmla="*/ 2345261 w 8079933"/>
              <a:gd name="connsiteY35429" fmla="*/ 374833 h 4687251"/>
              <a:gd name="connsiteX35430" fmla="*/ 2353942 w 8079933"/>
              <a:gd name="connsiteY35430" fmla="*/ 373858 h 4687251"/>
              <a:gd name="connsiteX35431" fmla="*/ 2284493 w 8079933"/>
              <a:gd name="connsiteY35431" fmla="*/ 368879 h 4687251"/>
              <a:gd name="connsiteX35432" fmla="*/ 2286446 w 8079933"/>
              <a:gd name="connsiteY35432" fmla="*/ 369095 h 4687251"/>
              <a:gd name="connsiteX35433" fmla="*/ 2289376 w 8079933"/>
              <a:gd name="connsiteY35433" fmla="*/ 372235 h 4687251"/>
              <a:gd name="connsiteX35434" fmla="*/ 2290352 w 8079933"/>
              <a:gd name="connsiteY35434" fmla="*/ 376459 h 4687251"/>
              <a:gd name="connsiteX35435" fmla="*/ 2287964 w 8079933"/>
              <a:gd name="connsiteY35435" fmla="*/ 377432 h 4687251"/>
              <a:gd name="connsiteX35436" fmla="*/ 2287096 w 8079933"/>
              <a:gd name="connsiteY35436" fmla="*/ 374942 h 4687251"/>
              <a:gd name="connsiteX35437" fmla="*/ 2284384 w 8079933"/>
              <a:gd name="connsiteY35437" fmla="*/ 371044 h 4687251"/>
              <a:gd name="connsiteX35438" fmla="*/ 2456057 w 8079933"/>
              <a:gd name="connsiteY35438" fmla="*/ 367470 h 4687251"/>
              <a:gd name="connsiteX35439" fmla="*/ 2459530 w 8079933"/>
              <a:gd name="connsiteY35439" fmla="*/ 367579 h 4687251"/>
              <a:gd name="connsiteX35440" fmla="*/ 2461917 w 8079933"/>
              <a:gd name="connsiteY35440" fmla="*/ 372450 h 4687251"/>
              <a:gd name="connsiteX35441" fmla="*/ 2465607 w 8079933"/>
              <a:gd name="connsiteY35441" fmla="*/ 372667 h 4687251"/>
              <a:gd name="connsiteX35442" fmla="*/ 2467994 w 8079933"/>
              <a:gd name="connsiteY35442" fmla="*/ 376240 h 4687251"/>
              <a:gd name="connsiteX35443" fmla="*/ 2467343 w 8079933"/>
              <a:gd name="connsiteY35443" fmla="*/ 378297 h 4687251"/>
              <a:gd name="connsiteX35444" fmla="*/ 2469296 w 8079933"/>
              <a:gd name="connsiteY35444" fmla="*/ 380137 h 4687251"/>
              <a:gd name="connsiteX35445" fmla="*/ 2468754 w 8079933"/>
              <a:gd name="connsiteY35445" fmla="*/ 382953 h 4687251"/>
              <a:gd name="connsiteX35446" fmla="*/ 2463979 w 8079933"/>
              <a:gd name="connsiteY35446" fmla="*/ 391072 h 4687251"/>
              <a:gd name="connsiteX35447" fmla="*/ 2458662 w 8079933"/>
              <a:gd name="connsiteY35447" fmla="*/ 393238 h 4687251"/>
              <a:gd name="connsiteX35448" fmla="*/ 2453344 w 8079933"/>
              <a:gd name="connsiteY35448" fmla="*/ 393130 h 4687251"/>
              <a:gd name="connsiteX35449" fmla="*/ 2450089 w 8079933"/>
              <a:gd name="connsiteY35449" fmla="*/ 389665 h 4687251"/>
              <a:gd name="connsiteX35450" fmla="*/ 2449980 w 8079933"/>
              <a:gd name="connsiteY35450" fmla="*/ 385768 h 4687251"/>
              <a:gd name="connsiteX35451" fmla="*/ 2448461 w 8079933"/>
              <a:gd name="connsiteY35451" fmla="*/ 380679 h 4687251"/>
              <a:gd name="connsiteX35452" fmla="*/ 2450414 w 8079933"/>
              <a:gd name="connsiteY35452" fmla="*/ 376023 h 4687251"/>
              <a:gd name="connsiteX35453" fmla="*/ 2450957 w 8079933"/>
              <a:gd name="connsiteY35453" fmla="*/ 371044 h 4687251"/>
              <a:gd name="connsiteX35454" fmla="*/ 5506242 w 8079933"/>
              <a:gd name="connsiteY35454" fmla="*/ 366824 h 4687251"/>
              <a:gd name="connsiteX35455" fmla="*/ 5507870 w 8079933"/>
              <a:gd name="connsiteY35455" fmla="*/ 368339 h 4687251"/>
              <a:gd name="connsiteX35456" fmla="*/ 5508087 w 8079933"/>
              <a:gd name="connsiteY35456" fmla="*/ 373751 h 4687251"/>
              <a:gd name="connsiteX35457" fmla="*/ 5505374 w 8079933"/>
              <a:gd name="connsiteY35457" fmla="*/ 375592 h 4687251"/>
              <a:gd name="connsiteX35458" fmla="*/ 5505049 w 8079933"/>
              <a:gd name="connsiteY35458" fmla="*/ 379707 h 4687251"/>
              <a:gd name="connsiteX35459" fmla="*/ 5500925 w 8079933"/>
              <a:gd name="connsiteY35459" fmla="*/ 384471 h 4687251"/>
              <a:gd name="connsiteX35460" fmla="*/ 5495933 w 8079933"/>
              <a:gd name="connsiteY35460" fmla="*/ 387829 h 4687251"/>
              <a:gd name="connsiteX35461" fmla="*/ 5497453 w 8079933"/>
              <a:gd name="connsiteY35461" fmla="*/ 385229 h 4687251"/>
              <a:gd name="connsiteX35462" fmla="*/ 5497127 w 8079933"/>
              <a:gd name="connsiteY35462" fmla="*/ 383064 h 4687251"/>
              <a:gd name="connsiteX35463" fmla="*/ 5494957 w 8079933"/>
              <a:gd name="connsiteY35463" fmla="*/ 383496 h 4687251"/>
              <a:gd name="connsiteX35464" fmla="*/ 5491810 w 8079933"/>
              <a:gd name="connsiteY35464" fmla="*/ 387071 h 4687251"/>
              <a:gd name="connsiteX35465" fmla="*/ 5487469 w 8079933"/>
              <a:gd name="connsiteY35465" fmla="*/ 388586 h 4687251"/>
              <a:gd name="connsiteX35466" fmla="*/ 5485082 w 8079933"/>
              <a:gd name="connsiteY35466" fmla="*/ 388586 h 4687251"/>
              <a:gd name="connsiteX35467" fmla="*/ 5487252 w 8079933"/>
              <a:gd name="connsiteY35467" fmla="*/ 383172 h 4687251"/>
              <a:gd name="connsiteX35468" fmla="*/ 5491918 w 8079933"/>
              <a:gd name="connsiteY35468" fmla="*/ 376784 h 4687251"/>
              <a:gd name="connsiteX35469" fmla="*/ 5497778 w 8079933"/>
              <a:gd name="connsiteY35469" fmla="*/ 373751 h 4687251"/>
              <a:gd name="connsiteX35470" fmla="*/ 5502119 w 8079933"/>
              <a:gd name="connsiteY35470" fmla="*/ 370072 h 4687251"/>
              <a:gd name="connsiteX35471" fmla="*/ 5503746 w 8079933"/>
              <a:gd name="connsiteY35471" fmla="*/ 367907 h 4687251"/>
              <a:gd name="connsiteX35472" fmla="*/ 2333541 w 8079933"/>
              <a:gd name="connsiteY35472" fmla="*/ 366822 h 4687251"/>
              <a:gd name="connsiteX35473" fmla="*/ 2336580 w 8079933"/>
              <a:gd name="connsiteY35473" fmla="*/ 367795 h 4687251"/>
              <a:gd name="connsiteX35474" fmla="*/ 2336580 w 8079933"/>
              <a:gd name="connsiteY35474" fmla="*/ 369961 h 4687251"/>
              <a:gd name="connsiteX35475" fmla="*/ 2333325 w 8079933"/>
              <a:gd name="connsiteY35475" fmla="*/ 370827 h 4687251"/>
              <a:gd name="connsiteX35476" fmla="*/ 2331263 w 8079933"/>
              <a:gd name="connsiteY35476" fmla="*/ 368879 h 4687251"/>
              <a:gd name="connsiteX35477" fmla="*/ 2268431 w 8079933"/>
              <a:gd name="connsiteY35477" fmla="*/ 364764 h 4687251"/>
              <a:gd name="connsiteX35478" fmla="*/ 2275376 w 8079933"/>
              <a:gd name="connsiteY35478" fmla="*/ 365630 h 4687251"/>
              <a:gd name="connsiteX35479" fmla="*/ 2276896 w 8079933"/>
              <a:gd name="connsiteY35479" fmla="*/ 367146 h 4687251"/>
              <a:gd name="connsiteX35480" fmla="*/ 2272663 w 8079933"/>
              <a:gd name="connsiteY35480" fmla="*/ 368987 h 4687251"/>
              <a:gd name="connsiteX35481" fmla="*/ 2268974 w 8079933"/>
              <a:gd name="connsiteY35481" fmla="*/ 368987 h 4687251"/>
              <a:gd name="connsiteX35482" fmla="*/ 2262029 w 8079933"/>
              <a:gd name="connsiteY35482" fmla="*/ 373101 h 4687251"/>
              <a:gd name="connsiteX35483" fmla="*/ 2258665 w 8079933"/>
              <a:gd name="connsiteY35483" fmla="*/ 372126 h 4687251"/>
              <a:gd name="connsiteX35484" fmla="*/ 2253781 w 8079933"/>
              <a:gd name="connsiteY35484" fmla="*/ 373209 h 4687251"/>
              <a:gd name="connsiteX35485" fmla="*/ 2250526 w 8079933"/>
              <a:gd name="connsiteY35485" fmla="*/ 375482 h 4687251"/>
              <a:gd name="connsiteX35486" fmla="*/ 2248464 w 8079933"/>
              <a:gd name="connsiteY35486" fmla="*/ 373317 h 4687251"/>
              <a:gd name="connsiteX35487" fmla="*/ 2248464 w 8079933"/>
              <a:gd name="connsiteY35487" fmla="*/ 370611 h 4687251"/>
              <a:gd name="connsiteX35488" fmla="*/ 2251068 w 8079933"/>
              <a:gd name="connsiteY35488" fmla="*/ 368987 h 4687251"/>
              <a:gd name="connsiteX35489" fmla="*/ 2255517 w 8079933"/>
              <a:gd name="connsiteY35489" fmla="*/ 367579 h 4687251"/>
              <a:gd name="connsiteX35490" fmla="*/ 2258990 w 8079933"/>
              <a:gd name="connsiteY35490" fmla="*/ 368337 h 4687251"/>
              <a:gd name="connsiteX35491" fmla="*/ 2263114 w 8079933"/>
              <a:gd name="connsiteY35491" fmla="*/ 365847 h 4687251"/>
              <a:gd name="connsiteX35492" fmla="*/ 4424874 w 8079933"/>
              <a:gd name="connsiteY35492" fmla="*/ 358269 h 4687251"/>
              <a:gd name="connsiteX35493" fmla="*/ 4429214 w 8079933"/>
              <a:gd name="connsiteY35493" fmla="*/ 358269 h 4687251"/>
              <a:gd name="connsiteX35494" fmla="*/ 4430516 w 8079933"/>
              <a:gd name="connsiteY35494" fmla="*/ 360001 h 4687251"/>
              <a:gd name="connsiteX35495" fmla="*/ 4430516 w 8079933"/>
              <a:gd name="connsiteY35495" fmla="*/ 362167 h 4687251"/>
              <a:gd name="connsiteX35496" fmla="*/ 4423788 w 8079933"/>
              <a:gd name="connsiteY35496" fmla="*/ 366929 h 4687251"/>
              <a:gd name="connsiteX35497" fmla="*/ 4420316 w 8079933"/>
              <a:gd name="connsiteY35497" fmla="*/ 368662 h 4687251"/>
              <a:gd name="connsiteX35498" fmla="*/ 4414130 w 8079933"/>
              <a:gd name="connsiteY35498" fmla="*/ 373967 h 4687251"/>
              <a:gd name="connsiteX35499" fmla="*/ 4408814 w 8079933"/>
              <a:gd name="connsiteY35499" fmla="*/ 375375 h 4687251"/>
              <a:gd name="connsiteX35500" fmla="*/ 4406209 w 8079933"/>
              <a:gd name="connsiteY35500" fmla="*/ 374726 h 4687251"/>
              <a:gd name="connsiteX35501" fmla="*/ 4405124 w 8079933"/>
              <a:gd name="connsiteY35501" fmla="*/ 372777 h 4687251"/>
              <a:gd name="connsiteX35502" fmla="*/ 4407837 w 8079933"/>
              <a:gd name="connsiteY35502" fmla="*/ 369852 h 4687251"/>
              <a:gd name="connsiteX35503" fmla="*/ 4412503 w 8079933"/>
              <a:gd name="connsiteY35503" fmla="*/ 368554 h 4687251"/>
              <a:gd name="connsiteX35504" fmla="*/ 4416083 w 8079933"/>
              <a:gd name="connsiteY35504" fmla="*/ 365847 h 4687251"/>
              <a:gd name="connsiteX35505" fmla="*/ 4420208 w 8079933"/>
              <a:gd name="connsiteY35505" fmla="*/ 360867 h 4687251"/>
              <a:gd name="connsiteX35506" fmla="*/ 2203214 w 8079933"/>
              <a:gd name="connsiteY35506" fmla="*/ 355669 h 4687251"/>
              <a:gd name="connsiteX35507" fmla="*/ 2209507 w 8079933"/>
              <a:gd name="connsiteY35507" fmla="*/ 355669 h 4687251"/>
              <a:gd name="connsiteX35508" fmla="*/ 2211352 w 8079933"/>
              <a:gd name="connsiteY35508" fmla="*/ 357076 h 4687251"/>
              <a:gd name="connsiteX35509" fmla="*/ 2213197 w 8079933"/>
              <a:gd name="connsiteY35509" fmla="*/ 358266 h 4687251"/>
              <a:gd name="connsiteX35510" fmla="*/ 2214173 w 8079933"/>
              <a:gd name="connsiteY35510" fmla="*/ 360541 h 4687251"/>
              <a:gd name="connsiteX35511" fmla="*/ 2211244 w 8079933"/>
              <a:gd name="connsiteY35511" fmla="*/ 362056 h 4687251"/>
              <a:gd name="connsiteX35512" fmla="*/ 2210158 w 8079933"/>
              <a:gd name="connsiteY35512" fmla="*/ 364654 h 4687251"/>
              <a:gd name="connsiteX35513" fmla="*/ 2212112 w 8079933"/>
              <a:gd name="connsiteY35513" fmla="*/ 365305 h 4687251"/>
              <a:gd name="connsiteX35514" fmla="*/ 2216452 w 8079933"/>
              <a:gd name="connsiteY35514" fmla="*/ 365196 h 4687251"/>
              <a:gd name="connsiteX35515" fmla="*/ 2216344 w 8079933"/>
              <a:gd name="connsiteY35515" fmla="*/ 367361 h 4687251"/>
              <a:gd name="connsiteX35516" fmla="*/ 2214608 w 8079933"/>
              <a:gd name="connsiteY35516" fmla="*/ 370068 h 4687251"/>
              <a:gd name="connsiteX35517" fmla="*/ 2216344 w 8079933"/>
              <a:gd name="connsiteY35517" fmla="*/ 373425 h 4687251"/>
              <a:gd name="connsiteX35518" fmla="*/ 2216344 w 8079933"/>
              <a:gd name="connsiteY35518" fmla="*/ 378080 h 4687251"/>
              <a:gd name="connsiteX35519" fmla="*/ 2214716 w 8079933"/>
              <a:gd name="connsiteY35519" fmla="*/ 381869 h 4687251"/>
              <a:gd name="connsiteX35520" fmla="*/ 2211678 w 8079933"/>
              <a:gd name="connsiteY35520" fmla="*/ 383169 h 4687251"/>
              <a:gd name="connsiteX35521" fmla="*/ 2209182 w 8079933"/>
              <a:gd name="connsiteY35521" fmla="*/ 380354 h 4687251"/>
              <a:gd name="connsiteX35522" fmla="*/ 2202454 w 8079933"/>
              <a:gd name="connsiteY35522" fmla="*/ 379704 h 4687251"/>
              <a:gd name="connsiteX35523" fmla="*/ 2197788 w 8079933"/>
              <a:gd name="connsiteY35523" fmla="*/ 378297 h 4687251"/>
              <a:gd name="connsiteX35524" fmla="*/ 2196486 w 8079933"/>
              <a:gd name="connsiteY35524" fmla="*/ 371909 h 4687251"/>
              <a:gd name="connsiteX35525" fmla="*/ 2200175 w 8079933"/>
              <a:gd name="connsiteY35525" fmla="*/ 368444 h 4687251"/>
              <a:gd name="connsiteX35526" fmla="*/ 2200826 w 8079933"/>
              <a:gd name="connsiteY35526" fmla="*/ 365088 h 4687251"/>
              <a:gd name="connsiteX35527" fmla="*/ 2199741 w 8079933"/>
              <a:gd name="connsiteY35527" fmla="*/ 362489 h 4687251"/>
              <a:gd name="connsiteX35528" fmla="*/ 2200392 w 8079933"/>
              <a:gd name="connsiteY35528" fmla="*/ 357834 h 4687251"/>
              <a:gd name="connsiteX35529" fmla="*/ 4268502 w 8079933"/>
              <a:gd name="connsiteY35529" fmla="*/ 355344 h 4687251"/>
              <a:gd name="connsiteX35530" fmla="*/ 4270021 w 8079933"/>
              <a:gd name="connsiteY35530" fmla="*/ 355344 h 4687251"/>
              <a:gd name="connsiteX35531" fmla="*/ 4272299 w 8079933"/>
              <a:gd name="connsiteY35531" fmla="*/ 358593 h 4687251"/>
              <a:gd name="connsiteX35532" fmla="*/ 4277074 w 8079933"/>
              <a:gd name="connsiteY35532" fmla="*/ 361299 h 4687251"/>
              <a:gd name="connsiteX35533" fmla="*/ 4277943 w 8079933"/>
              <a:gd name="connsiteY35533" fmla="*/ 364547 h 4687251"/>
              <a:gd name="connsiteX35534" fmla="*/ 4277943 w 8079933"/>
              <a:gd name="connsiteY35534" fmla="*/ 373858 h 4687251"/>
              <a:gd name="connsiteX35535" fmla="*/ 4276749 w 8079933"/>
              <a:gd name="connsiteY35535" fmla="*/ 378838 h 4687251"/>
              <a:gd name="connsiteX35536" fmla="*/ 4276749 w 8079933"/>
              <a:gd name="connsiteY35536" fmla="*/ 382304 h 4687251"/>
              <a:gd name="connsiteX35537" fmla="*/ 4278159 w 8079933"/>
              <a:gd name="connsiteY35537" fmla="*/ 384902 h 4687251"/>
              <a:gd name="connsiteX35538" fmla="*/ 4279244 w 8079933"/>
              <a:gd name="connsiteY35538" fmla="*/ 382195 h 4687251"/>
              <a:gd name="connsiteX35539" fmla="*/ 4279244 w 8079933"/>
              <a:gd name="connsiteY35539" fmla="*/ 379489 h 4687251"/>
              <a:gd name="connsiteX35540" fmla="*/ 4280438 w 8079933"/>
              <a:gd name="connsiteY35540" fmla="*/ 379489 h 4687251"/>
              <a:gd name="connsiteX35541" fmla="*/ 4281957 w 8079933"/>
              <a:gd name="connsiteY35541" fmla="*/ 382195 h 4687251"/>
              <a:gd name="connsiteX35542" fmla="*/ 4285213 w 8079933"/>
              <a:gd name="connsiteY35542" fmla="*/ 383711 h 4687251"/>
              <a:gd name="connsiteX35543" fmla="*/ 4286081 w 8079933"/>
              <a:gd name="connsiteY35543" fmla="*/ 380572 h 4687251"/>
              <a:gd name="connsiteX35544" fmla="*/ 4286081 w 8079933"/>
              <a:gd name="connsiteY35544" fmla="*/ 376458 h 4687251"/>
              <a:gd name="connsiteX35545" fmla="*/ 4289011 w 8079933"/>
              <a:gd name="connsiteY35545" fmla="*/ 373209 h 4687251"/>
              <a:gd name="connsiteX35546" fmla="*/ 4289880 w 8079933"/>
              <a:gd name="connsiteY35546" fmla="*/ 370937 h 4687251"/>
              <a:gd name="connsiteX35547" fmla="*/ 4288794 w 8079933"/>
              <a:gd name="connsiteY35547" fmla="*/ 369204 h 4687251"/>
              <a:gd name="connsiteX35548" fmla="*/ 4290856 w 8079933"/>
              <a:gd name="connsiteY35548" fmla="*/ 366929 h 4687251"/>
              <a:gd name="connsiteX35549" fmla="*/ 4291941 w 8079933"/>
              <a:gd name="connsiteY35549" fmla="*/ 366929 h 4687251"/>
              <a:gd name="connsiteX35550" fmla="*/ 4292809 w 8079933"/>
              <a:gd name="connsiteY35550" fmla="*/ 372235 h 4687251"/>
              <a:gd name="connsiteX35551" fmla="*/ 4294871 w 8079933"/>
              <a:gd name="connsiteY35551" fmla="*/ 371152 h 4687251"/>
              <a:gd name="connsiteX35552" fmla="*/ 4296282 w 8079933"/>
              <a:gd name="connsiteY35552" fmla="*/ 367146 h 4687251"/>
              <a:gd name="connsiteX35553" fmla="*/ 4298994 w 8079933"/>
              <a:gd name="connsiteY35553" fmla="*/ 365198 h 4687251"/>
              <a:gd name="connsiteX35554" fmla="*/ 4298994 w 8079933"/>
              <a:gd name="connsiteY35554" fmla="*/ 367687 h 4687251"/>
              <a:gd name="connsiteX35555" fmla="*/ 4298994 w 8079933"/>
              <a:gd name="connsiteY35555" fmla="*/ 370937 h 4687251"/>
              <a:gd name="connsiteX35556" fmla="*/ 4298994 w 8079933"/>
              <a:gd name="connsiteY35556" fmla="*/ 372992 h 4687251"/>
              <a:gd name="connsiteX35557" fmla="*/ 4303010 w 8079933"/>
              <a:gd name="connsiteY35557" fmla="*/ 370393 h 4687251"/>
              <a:gd name="connsiteX35558" fmla="*/ 4304529 w 8079933"/>
              <a:gd name="connsiteY35558" fmla="*/ 371801 h 4687251"/>
              <a:gd name="connsiteX35559" fmla="*/ 4304529 w 8079933"/>
              <a:gd name="connsiteY35559" fmla="*/ 373967 h 4687251"/>
              <a:gd name="connsiteX35560" fmla="*/ 4307893 w 8079933"/>
              <a:gd name="connsiteY35560" fmla="*/ 376023 h 4687251"/>
              <a:gd name="connsiteX35561" fmla="*/ 4312125 w 8079933"/>
              <a:gd name="connsiteY35561" fmla="*/ 376023 h 4687251"/>
              <a:gd name="connsiteX35562" fmla="*/ 4315489 w 8079933"/>
              <a:gd name="connsiteY35562" fmla="*/ 378189 h 4687251"/>
              <a:gd name="connsiteX35563" fmla="*/ 4319939 w 8079933"/>
              <a:gd name="connsiteY35563" fmla="*/ 378838 h 4687251"/>
              <a:gd name="connsiteX35564" fmla="*/ 4328077 w 8079933"/>
              <a:gd name="connsiteY35564" fmla="*/ 378189 h 4687251"/>
              <a:gd name="connsiteX35565" fmla="*/ 4330573 w 8079933"/>
              <a:gd name="connsiteY35565" fmla="*/ 378189 h 4687251"/>
              <a:gd name="connsiteX35566" fmla="*/ 4334371 w 8079933"/>
              <a:gd name="connsiteY35566" fmla="*/ 381438 h 4687251"/>
              <a:gd name="connsiteX35567" fmla="*/ 4340882 w 8079933"/>
              <a:gd name="connsiteY35567" fmla="*/ 381438 h 4687251"/>
              <a:gd name="connsiteX35568" fmla="*/ 4342510 w 8079933"/>
              <a:gd name="connsiteY35568" fmla="*/ 382521 h 4687251"/>
              <a:gd name="connsiteX35569" fmla="*/ 4342510 w 8079933"/>
              <a:gd name="connsiteY35569" fmla="*/ 385227 h 4687251"/>
              <a:gd name="connsiteX35570" fmla="*/ 4341099 w 8079933"/>
              <a:gd name="connsiteY35570" fmla="*/ 387826 h 4687251"/>
              <a:gd name="connsiteX35571" fmla="*/ 4341750 w 8079933"/>
              <a:gd name="connsiteY35571" fmla="*/ 391290 h 4687251"/>
              <a:gd name="connsiteX35572" fmla="*/ 4343269 w 8079933"/>
              <a:gd name="connsiteY35572" fmla="*/ 395187 h 4687251"/>
              <a:gd name="connsiteX35573" fmla="*/ 4343269 w 8079933"/>
              <a:gd name="connsiteY35573" fmla="*/ 398652 h 4687251"/>
              <a:gd name="connsiteX35574" fmla="*/ 4341967 w 8079933"/>
              <a:gd name="connsiteY35574" fmla="*/ 402442 h 4687251"/>
              <a:gd name="connsiteX35575" fmla="*/ 4336976 w 8079933"/>
              <a:gd name="connsiteY35575" fmla="*/ 408289 h 4687251"/>
              <a:gd name="connsiteX35576" fmla="*/ 4333937 w 8079933"/>
              <a:gd name="connsiteY35576" fmla="*/ 412294 h 4687251"/>
              <a:gd name="connsiteX35577" fmla="*/ 4330356 w 8079933"/>
              <a:gd name="connsiteY35577" fmla="*/ 419765 h 4687251"/>
              <a:gd name="connsiteX35578" fmla="*/ 4326992 w 8079933"/>
              <a:gd name="connsiteY35578" fmla="*/ 422905 h 4687251"/>
              <a:gd name="connsiteX35579" fmla="*/ 4324387 w 8079933"/>
              <a:gd name="connsiteY35579" fmla="*/ 425828 h 4687251"/>
              <a:gd name="connsiteX35580" fmla="*/ 4325473 w 8079933"/>
              <a:gd name="connsiteY35580" fmla="*/ 429509 h 4687251"/>
              <a:gd name="connsiteX35581" fmla="*/ 4326558 w 8079933"/>
              <a:gd name="connsiteY35581" fmla="*/ 435789 h 4687251"/>
              <a:gd name="connsiteX35582" fmla="*/ 4325039 w 8079933"/>
              <a:gd name="connsiteY35582" fmla="*/ 437955 h 4687251"/>
              <a:gd name="connsiteX35583" fmla="*/ 4320047 w 8079933"/>
              <a:gd name="connsiteY35583" fmla="*/ 441527 h 4687251"/>
              <a:gd name="connsiteX35584" fmla="*/ 4315598 w 8079933"/>
              <a:gd name="connsiteY35584" fmla="*/ 441527 h 4687251"/>
              <a:gd name="connsiteX35585" fmla="*/ 4311908 w 8079933"/>
              <a:gd name="connsiteY35585" fmla="*/ 439146 h 4687251"/>
              <a:gd name="connsiteX35586" fmla="*/ 4308870 w 8079933"/>
              <a:gd name="connsiteY35586" fmla="*/ 436547 h 4687251"/>
              <a:gd name="connsiteX35587" fmla="*/ 4305940 w 8079933"/>
              <a:gd name="connsiteY35587" fmla="*/ 437088 h 4687251"/>
              <a:gd name="connsiteX35588" fmla="*/ 4301599 w 8079933"/>
              <a:gd name="connsiteY35588" fmla="*/ 441311 h 4687251"/>
              <a:gd name="connsiteX35589" fmla="*/ 4299754 w 8079933"/>
              <a:gd name="connsiteY35589" fmla="*/ 444452 h 4687251"/>
              <a:gd name="connsiteX35590" fmla="*/ 4299754 w 8079933"/>
              <a:gd name="connsiteY35590" fmla="*/ 447049 h 4687251"/>
              <a:gd name="connsiteX35591" fmla="*/ 4300297 w 8079933"/>
              <a:gd name="connsiteY35591" fmla="*/ 449107 h 4687251"/>
              <a:gd name="connsiteX35592" fmla="*/ 4298777 w 8079933"/>
              <a:gd name="connsiteY35592" fmla="*/ 451379 h 4687251"/>
              <a:gd name="connsiteX35593" fmla="*/ 4291615 w 8079933"/>
              <a:gd name="connsiteY35593" fmla="*/ 453546 h 4687251"/>
              <a:gd name="connsiteX35594" fmla="*/ 4286298 w 8079933"/>
              <a:gd name="connsiteY35594" fmla="*/ 452896 h 4687251"/>
              <a:gd name="connsiteX35595" fmla="*/ 4281306 w 8079933"/>
              <a:gd name="connsiteY35595" fmla="*/ 449323 h 4687251"/>
              <a:gd name="connsiteX35596" fmla="*/ 4280330 w 8079933"/>
              <a:gd name="connsiteY35596" fmla="*/ 444884 h 4687251"/>
              <a:gd name="connsiteX35597" fmla="*/ 4281089 w 8079933"/>
              <a:gd name="connsiteY35597" fmla="*/ 440878 h 4687251"/>
              <a:gd name="connsiteX35598" fmla="*/ 4281089 w 8079933"/>
              <a:gd name="connsiteY35598" fmla="*/ 438389 h 4687251"/>
              <a:gd name="connsiteX35599" fmla="*/ 4275012 w 8079933"/>
              <a:gd name="connsiteY35599" fmla="*/ 439578 h 4687251"/>
              <a:gd name="connsiteX35600" fmla="*/ 4270238 w 8079933"/>
              <a:gd name="connsiteY35600" fmla="*/ 439578 h 4687251"/>
              <a:gd name="connsiteX35601" fmla="*/ 4263727 w 8079933"/>
              <a:gd name="connsiteY35601" fmla="*/ 442068 h 4687251"/>
              <a:gd name="connsiteX35602" fmla="*/ 4257216 w 8079933"/>
              <a:gd name="connsiteY35602" fmla="*/ 442068 h 4687251"/>
              <a:gd name="connsiteX35603" fmla="*/ 4252875 w 8079933"/>
              <a:gd name="connsiteY35603" fmla="*/ 443476 h 4687251"/>
              <a:gd name="connsiteX35604" fmla="*/ 4249620 w 8079933"/>
              <a:gd name="connsiteY35604" fmla="*/ 442393 h 4687251"/>
              <a:gd name="connsiteX35605" fmla="*/ 4249620 w 8079933"/>
              <a:gd name="connsiteY35605" fmla="*/ 438711 h 4687251"/>
              <a:gd name="connsiteX35606" fmla="*/ 4247666 w 8079933"/>
              <a:gd name="connsiteY35606" fmla="*/ 434166 h 4687251"/>
              <a:gd name="connsiteX35607" fmla="*/ 4245279 w 8079933"/>
              <a:gd name="connsiteY35607" fmla="*/ 433407 h 4687251"/>
              <a:gd name="connsiteX35608" fmla="*/ 4241372 w 8079933"/>
              <a:gd name="connsiteY35608" fmla="*/ 435465 h 4687251"/>
              <a:gd name="connsiteX35609" fmla="*/ 4238551 w 8079933"/>
              <a:gd name="connsiteY35609" fmla="*/ 434814 h 4687251"/>
              <a:gd name="connsiteX35610" fmla="*/ 4229978 w 8079933"/>
              <a:gd name="connsiteY35610" fmla="*/ 427235 h 4687251"/>
              <a:gd name="connsiteX35611" fmla="*/ 4227156 w 8079933"/>
              <a:gd name="connsiteY35611" fmla="*/ 425721 h 4687251"/>
              <a:gd name="connsiteX35612" fmla="*/ 4227156 w 8079933"/>
              <a:gd name="connsiteY35612" fmla="*/ 423229 h 4687251"/>
              <a:gd name="connsiteX35613" fmla="*/ 4233016 w 8079933"/>
              <a:gd name="connsiteY35613" fmla="*/ 421498 h 4687251"/>
              <a:gd name="connsiteX35614" fmla="*/ 4237574 w 8079933"/>
              <a:gd name="connsiteY35614" fmla="*/ 422364 h 4687251"/>
              <a:gd name="connsiteX35615" fmla="*/ 4242240 w 8079933"/>
              <a:gd name="connsiteY35615" fmla="*/ 425937 h 4687251"/>
              <a:gd name="connsiteX35616" fmla="*/ 4244845 w 8079933"/>
              <a:gd name="connsiteY35616" fmla="*/ 425937 h 4687251"/>
              <a:gd name="connsiteX35617" fmla="*/ 4246039 w 8079933"/>
              <a:gd name="connsiteY35617" fmla="*/ 424312 h 4687251"/>
              <a:gd name="connsiteX35618" fmla="*/ 4250921 w 8079933"/>
              <a:gd name="connsiteY35618" fmla="*/ 426262 h 4687251"/>
              <a:gd name="connsiteX35619" fmla="*/ 4253309 w 8079933"/>
              <a:gd name="connsiteY35619" fmla="*/ 426262 h 4687251"/>
              <a:gd name="connsiteX35620" fmla="*/ 4253309 w 8079933"/>
              <a:gd name="connsiteY35620" fmla="*/ 424095 h 4687251"/>
              <a:gd name="connsiteX35621" fmla="*/ 4250921 w 8079933"/>
              <a:gd name="connsiteY35621" fmla="*/ 422255 h 4687251"/>
              <a:gd name="connsiteX35622" fmla="*/ 4243868 w 8079933"/>
              <a:gd name="connsiteY35622" fmla="*/ 420416 h 4687251"/>
              <a:gd name="connsiteX35623" fmla="*/ 4241915 w 8079933"/>
              <a:gd name="connsiteY35623" fmla="*/ 419008 h 4687251"/>
              <a:gd name="connsiteX35624" fmla="*/ 4242892 w 8079933"/>
              <a:gd name="connsiteY35624" fmla="*/ 417274 h 4687251"/>
              <a:gd name="connsiteX35625" fmla="*/ 4247232 w 8079933"/>
              <a:gd name="connsiteY35625" fmla="*/ 418249 h 4687251"/>
              <a:gd name="connsiteX35626" fmla="*/ 4252875 w 8079933"/>
              <a:gd name="connsiteY35626" fmla="*/ 418249 h 4687251"/>
              <a:gd name="connsiteX35627" fmla="*/ 4257867 w 8079933"/>
              <a:gd name="connsiteY35627" fmla="*/ 419333 h 4687251"/>
              <a:gd name="connsiteX35628" fmla="*/ 4260471 w 8079933"/>
              <a:gd name="connsiteY35628" fmla="*/ 417817 h 4687251"/>
              <a:gd name="connsiteX35629" fmla="*/ 4261991 w 8079933"/>
              <a:gd name="connsiteY35629" fmla="*/ 415001 h 4687251"/>
              <a:gd name="connsiteX35630" fmla="*/ 4263510 w 8079933"/>
              <a:gd name="connsiteY35630" fmla="*/ 413269 h 4687251"/>
              <a:gd name="connsiteX35631" fmla="*/ 4263510 w 8079933"/>
              <a:gd name="connsiteY35631" fmla="*/ 411320 h 4687251"/>
              <a:gd name="connsiteX35632" fmla="*/ 4261556 w 8079933"/>
              <a:gd name="connsiteY35632" fmla="*/ 409913 h 4687251"/>
              <a:gd name="connsiteX35633" fmla="*/ 4258952 w 8079933"/>
              <a:gd name="connsiteY35633" fmla="*/ 409913 h 4687251"/>
              <a:gd name="connsiteX35634" fmla="*/ 4255371 w 8079933"/>
              <a:gd name="connsiteY35634" fmla="*/ 412510 h 4687251"/>
              <a:gd name="connsiteX35635" fmla="*/ 4248752 w 8079933"/>
              <a:gd name="connsiteY35635" fmla="*/ 412510 h 4687251"/>
              <a:gd name="connsiteX35636" fmla="*/ 4240287 w 8079933"/>
              <a:gd name="connsiteY35636" fmla="*/ 413269 h 4687251"/>
              <a:gd name="connsiteX35637" fmla="*/ 4237574 w 8079933"/>
              <a:gd name="connsiteY35637" fmla="*/ 414352 h 4687251"/>
              <a:gd name="connsiteX35638" fmla="*/ 4232256 w 8079933"/>
              <a:gd name="connsiteY35638" fmla="*/ 418140 h 4687251"/>
              <a:gd name="connsiteX35639" fmla="*/ 4230303 w 8079933"/>
              <a:gd name="connsiteY35639" fmla="*/ 418140 h 4687251"/>
              <a:gd name="connsiteX35640" fmla="*/ 4227374 w 8079933"/>
              <a:gd name="connsiteY35640" fmla="*/ 415867 h 4687251"/>
              <a:gd name="connsiteX35641" fmla="*/ 4223575 w 8079933"/>
              <a:gd name="connsiteY35641" fmla="*/ 417383 h 4687251"/>
              <a:gd name="connsiteX35642" fmla="*/ 4217716 w 8079933"/>
              <a:gd name="connsiteY35642" fmla="*/ 417383 h 4687251"/>
              <a:gd name="connsiteX35643" fmla="*/ 4213592 w 8079933"/>
              <a:gd name="connsiteY35643" fmla="*/ 414785 h 4687251"/>
              <a:gd name="connsiteX35644" fmla="*/ 4210120 w 8079933"/>
              <a:gd name="connsiteY35644" fmla="*/ 413377 h 4687251"/>
              <a:gd name="connsiteX35645" fmla="*/ 4205128 w 8079933"/>
              <a:gd name="connsiteY35645" fmla="*/ 405690 h 4687251"/>
              <a:gd name="connsiteX35646" fmla="*/ 4205128 w 8079933"/>
              <a:gd name="connsiteY35646" fmla="*/ 403092 h 4687251"/>
              <a:gd name="connsiteX35647" fmla="*/ 4211530 w 8079933"/>
              <a:gd name="connsiteY35647" fmla="*/ 398976 h 4687251"/>
              <a:gd name="connsiteX35648" fmla="*/ 4210336 w 8079933"/>
              <a:gd name="connsiteY35648" fmla="*/ 397245 h 4687251"/>
              <a:gd name="connsiteX35649" fmla="*/ 4206213 w 8079933"/>
              <a:gd name="connsiteY35649" fmla="*/ 397245 h 4687251"/>
              <a:gd name="connsiteX35650" fmla="*/ 4205019 w 8079933"/>
              <a:gd name="connsiteY35650" fmla="*/ 395513 h 4687251"/>
              <a:gd name="connsiteX35651" fmla="*/ 4206538 w 8079933"/>
              <a:gd name="connsiteY35651" fmla="*/ 392913 h 4687251"/>
              <a:gd name="connsiteX35652" fmla="*/ 4203934 w 8079933"/>
              <a:gd name="connsiteY35652" fmla="*/ 390315 h 4687251"/>
              <a:gd name="connsiteX35653" fmla="*/ 4200570 w 8079933"/>
              <a:gd name="connsiteY35653" fmla="*/ 390858 h 4687251"/>
              <a:gd name="connsiteX35654" fmla="*/ 4198834 w 8079933"/>
              <a:gd name="connsiteY35654" fmla="*/ 386202 h 4687251"/>
              <a:gd name="connsiteX35655" fmla="*/ 4202524 w 8079933"/>
              <a:gd name="connsiteY35655" fmla="*/ 383170 h 4687251"/>
              <a:gd name="connsiteX35656" fmla="*/ 4205779 w 8079933"/>
              <a:gd name="connsiteY35656" fmla="*/ 385552 h 4687251"/>
              <a:gd name="connsiteX35657" fmla="*/ 4214026 w 8079933"/>
              <a:gd name="connsiteY35657" fmla="*/ 384469 h 4687251"/>
              <a:gd name="connsiteX35658" fmla="*/ 4215763 w 8079933"/>
              <a:gd name="connsiteY35658" fmla="*/ 386526 h 4687251"/>
              <a:gd name="connsiteX35659" fmla="*/ 4217824 w 8079933"/>
              <a:gd name="connsiteY35659" fmla="*/ 392048 h 4687251"/>
              <a:gd name="connsiteX35660" fmla="*/ 4219344 w 8079933"/>
              <a:gd name="connsiteY35660" fmla="*/ 392913 h 4687251"/>
              <a:gd name="connsiteX35661" fmla="*/ 4220537 w 8079933"/>
              <a:gd name="connsiteY35661" fmla="*/ 389449 h 4687251"/>
              <a:gd name="connsiteX35662" fmla="*/ 4220537 w 8079933"/>
              <a:gd name="connsiteY35662" fmla="*/ 385985 h 4687251"/>
              <a:gd name="connsiteX35663" fmla="*/ 4218149 w 8079933"/>
              <a:gd name="connsiteY35663" fmla="*/ 382521 h 4687251"/>
              <a:gd name="connsiteX35664" fmla="*/ 4217173 w 8079933"/>
              <a:gd name="connsiteY35664" fmla="*/ 377323 h 4687251"/>
              <a:gd name="connsiteX35665" fmla="*/ 4217173 w 8079933"/>
              <a:gd name="connsiteY35665" fmla="*/ 373317 h 4687251"/>
              <a:gd name="connsiteX35666" fmla="*/ 4218692 w 8079933"/>
              <a:gd name="connsiteY35666" fmla="*/ 374833 h 4687251"/>
              <a:gd name="connsiteX35667" fmla="*/ 4220103 w 8079933"/>
              <a:gd name="connsiteY35667" fmla="*/ 378948 h 4687251"/>
              <a:gd name="connsiteX35668" fmla="*/ 4222816 w 8079933"/>
              <a:gd name="connsiteY35668" fmla="*/ 382087 h 4687251"/>
              <a:gd name="connsiteX35669" fmla="*/ 4224878 w 8079933"/>
              <a:gd name="connsiteY35669" fmla="*/ 380896 h 4687251"/>
              <a:gd name="connsiteX35670" fmla="*/ 4223467 w 8079933"/>
              <a:gd name="connsiteY35670" fmla="*/ 374726 h 4687251"/>
              <a:gd name="connsiteX35671" fmla="*/ 4220754 w 8079933"/>
              <a:gd name="connsiteY35671" fmla="*/ 369744 h 4687251"/>
              <a:gd name="connsiteX35672" fmla="*/ 4219886 w 8079933"/>
              <a:gd name="connsiteY35672" fmla="*/ 364764 h 4687251"/>
              <a:gd name="connsiteX35673" fmla="*/ 4220537 w 8079933"/>
              <a:gd name="connsiteY35673" fmla="*/ 358269 h 4687251"/>
              <a:gd name="connsiteX35674" fmla="*/ 4222924 w 8079933"/>
              <a:gd name="connsiteY35674" fmla="*/ 355560 h 4687251"/>
              <a:gd name="connsiteX35675" fmla="*/ 4224878 w 8079933"/>
              <a:gd name="connsiteY35675" fmla="*/ 356427 h 4687251"/>
              <a:gd name="connsiteX35676" fmla="*/ 4226397 w 8079933"/>
              <a:gd name="connsiteY35676" fmla="*/ 360325 h 4687251"/>
              <a:gd name="connsiteX35677" fmla="*/ 4225312 w 8079933"/>
              <a:gd name="connsiteY35677" fmla="*/ 363898 h 4687251"/>
              <a:gd name="connsiteX35678" fmla="*/ 4228025 w 8079933"/>
              <a:gd name="connsiteY35678" fmla="*/ 366821 h 4687251"/>
              <a:gd name="connsiteX35679" fmla="*/ 4229869 w 8079933"/>
              <a:gd name="connsiteY35679" fmla="*/ 365954 h 4687251"/>
              <a:gd name="connsiteX35680" fmla="*/ 4233125 w 8079933"/>
              <a:gd name="connsiteY35680" fmla="*/ 367362 h 4687251"/>
              <a:gd name="connsiteX35681" fmla="*/ 4234536 w 8079933"/>
              <a:gd name="connsiteY35681" fmla="*/ 371693 h 4687251"/>
              <a:gd name="connsiteX35682" fmla="*/ 4237249 w 8079933"/>
              <a:gd name="connsiteY35682" fmla="*/ 375483 h 4687251"/>
              <a:gd name="connsiteX35683" fmla="*/ 4239853 w 8079933"/>
              <a:gd name="connsiteY35683" fmla="*/ 375483 h 4687251"/>
              <a:gd name="connsiteX35684" fmla="*/ 4239853 w 8079933"/>
              <a:gd name="connsiteY35684" fmla="*/ 377540 h 4687251"/>
              <a:gd name="connsiteX35685" fmla="*/ 4239853 w 8079933"/>
              <a:gd name="connsiteY35685" fmla="*/ 379922 h 4687251"/>
              <a:gd name="connsiteX35686" fmla="*/ 4243108 w 8079933"/>
              <a:gd name="connsiteY35686" fmla="*/ 381438 h 4687251"/>
              <a:gd name="connsiteX35687" fmla="*/ 4246907 w 8079933"/>
              <a:gd name="connsiteY35687" fmla="*/ 378838 h 4687251"/>
              <a:gd name="connsiteX35688" fmla="*/ 4248100 w 8079933"/>
              <a:gd name="connsiteY35688" fmla="*/ 377107 h 4687251"/>
              <a:gd name="connsiteX35689" fmla="*/ 4249945 w 8079933"/>
              <a:gd name="connsiteY35689" fmla="*/ 377107 h 4687251"/>
              <a:gd name="connsiteX35690" fmla="*/ 4254286 w 8079933"/>
              <a:gd name="connsiteY35690" fmla="*/ 374508 h 4687251"/>
              <a:gd name="connsiteX35691" fmla="*/ 4256999 w 8079933"/>
              <a:gd name="connsiteY35691" fmla="*/ 376023 h 4687251"/>
              <a:gd name="connsiteX35692" fmla="*/ 4256999 w 8079933"/>
              <a:gd name="connsiteY35692" fmla="*/ 378297 h 4687251"/>
              <a:gd name="connsiteX35693" fmla="*/ 4255154 w 8079933"/>
              <a:gd name="connsiteY35693" fmla="*/ 381546 h 4687251"/>
              <a:gd name="connsiteX35694" fmla="*/ 4255805 w 8079933"/>
              <a:gd name="connsiteY35694" fmla="*/ 384686 h 4687251"/>
              <a:gd name="connsiteX35695" fmla="*/ 4260146 w 8079933"/>
              <a:gd name="connsiteY35695" fmla="*/ 387284 h 4687251"/>
              <a:gd name="connsiteX35696" fmla="*/ 4264269 w 8079933"/>
              <a:gd name="connsiteY35696" fmla="*/ 390858 h 4687251"/>
              <a:gd name="connsiteX35697" fmla="*/ 4265789 w 8079933"/>
              <a:gd name="connsiteY35697" fmla="*/ 395295 h 4687251"/>
              <a:gd name="connsiteX35698" fmla="*/ 4267633 w 8079933"/>
              <a:gd name="connsiteY35698" fmla="*/ 395295 h 4687251"/>
              <a:gd name="connsiteX35699" fmla="*/ 4269153 w 8079933"/>
              <a:gd name="connsiteY35699" fmla="*/ 391398 h 4687251"/>
              <a:gd name="connsiteX35700" fmla="*/ 4266548 w 8079933"/>
              <a:gd name="connsiteY35700" fmla="*/ 384902 h 4687251"/>
              <a:gd name="connsiteX35701" fmla="*/ 4266548 w 8079933"/>
              <a:gd name="connsiteY35701" fmla="*/ 379380 h 4687251"/>
              <a:gd name="connsiteX35702" fmla="*/ 4267417 w 8079933"/>
              <a:gd name="connsiteY35702" fmla="*/ 375267 h 4687251"/>
              <a:gd name="connsiteX35703" fmla="*/ 4267417 w 8079933"/>
              <a:gd name="connsiteY35703" fmla="*/ 370827 h 4687251"/>
              <a:gd name="connsiteX35704" fmla="*/ 4263944 w 8079933"/>
              <a:gd name="connsiteY35704" fmla="*/ 367037 h 4687251"/>
              <a:gd name="connsiteX35705" fmla="*/ 4263944 w 8079933"/>
              <a:gd name="connsiteY35705" fmla="*/ 362382 h 4687251"/>
              <a:gd name="connsiteX35706" fmla="*/ 4266005 w 8079933"/>
              <a:gd name="connsiteY35706" fmla="*/ 360866 h 4687251"/>
              <a:gd name="connsiteX35707" fmla="*/ 4267958 w 8079933"/>
              <a:gd name="connsiteY35707" fmla="*/ 363248 h 4687251"/>
              <a:gd name="connsiteX35708" fmla="*/ 4271431 w 8079933"/>
              <a:gd name="connsiteY35708" fmla="*/ 364115 h 4687251"/>
              <a:gd name="connsiteX35709" fmla="*/ 4270238 w 8079933"/>
              <a:gd name="connsiteY35709" fmla="*/ 361190 h 4687251"/>
              <a:gd name="connsiteX35710" fmla="*/ 4267633 w 8079933"/>
              <a:gd name="connsiteY35710" fmla="*/ 358484 h 4687251"/>
              <a:gd name="connsiteX35711" fmla="*/ 5404454 w 8079933"/>
              <a:gd name="connsiteY35711" fmla="*/ 350365 h 4687251"/>
              <a:gd name="connsiteX35712" fmla="*/ 5407819 w 8079933"/>
              <a:gd name="connsiteY35712" fmla="*/ 351664 h 4687251"/>
              <a:gd name="connsiteX35713" fmla="*/ 5407927 w 8079933"/>
              <a:gd name="connsiteY35713" fmla="*/ 354912 h 4687251"/>
              <a:gd name="connsiteX35714" fmla="*/ 5405757 w 8079933"/>
              <a:gd name="connsiteY35714" fmla="*/ 355455 h 4687251"/>
              <a:gd name="connsiteX35715" fmla="*/ 5402501 w 8079933"/>
              <a:gd name="connsiteY35715" fmla="*/ 351664 h 4687251"/>
              <a:gd name="connsiteX35716" fmla="*/ 2763485 w 8079933"/>
              <a:gd name="connsiteY35716" fmla="*/ 345925 h 4687251"/>
              <a:gd name="connsiteX35717" fmla="*/ 2765655 w 8079933"/>
              <a:gd name="connsiteY35717" fmla="*/ 345925 h 4687251"/>
              <a:gd name="connsiteX35718" fmla="*/ 2768693 w 8079933"/>
              <a:gd name="connsiteY35718" fmla="*/ 347658 h 4687251"/>
              <a:gd name="connsiteX35719" fmla="*/ 2768476 w 8079933"/>
              <a:gd name="connsiteY35719" fmla="*/ 350580 h 4687251"/>
              <a:gd name="connsiteX35720" fmla="*/ 2763810 w 8079933"/>
              <a:gd name="connsiteY35720" fmla="*/ 350580 h 4687251"/>
              <a:gd name="connsiteX35721" fmla="*/ 2761640 w 8079933"/>
              <a:gd name="connsiteY35721" fmla="*/ 347766 h 4687251"/>
              <a:gd name="connsiteX35722" fmla="*/ 6275083 w 8079933"/>
              <a:gd name="connsiteY35722" fmla="*/ 345816 h 4687251"/>
              <a:gd name="connsiteX35723" fmla="*/ 6278556 w 8079933"/>
              <a:gd name="connsiteY35723" fmla="*/ 346682 h 4687251"/>
              <a:gd name="connsiteX35724" fmla="*/ 6284415 w 8079933"/>
              <a:gd name="connsiteY35724" fmla="*/ 351772 h 4687251"/>
              <a:gd name="connsiteX35725" fmla="*/ 6289950 w 8079933"/>
              <a:gd name="connsiteY35725" fmla="*/ 351988 h 4687251"/>
              <a:gd name="connsiteX35726" fmla="*/ 6294942 w 8079933"/>
              <a:gd name="connsiteY35726" fmla="*/ 353720 h 4687251"/>
              <a:gd name="connsiteX35727" fmla="*/ 6301669 w 8079933"/>
              <a:gd name="connsiteY35727" fmla="*/ 360216 h 4687251"/>
              <a:gd name="connsiteX35728" fmla="*/ 6301344 w 8079933"/>
              <a:gd name="connsiteY35728" fmla="*/ 363464 h 4687251"/>
              <a:gd name="connsiteX35729" fmla="*/ 6298414 w 8079933"/>
              <a:gd name="connsiteY35729" fmla="*/ 363248 h 4687251"/>
              <a:gd name="connsiteX35730" fmla="*/ 6293530 w 8079933"/>
              <a:gd name="connsiteY35730" fmla="*/ 358808 h 4687251"/>
              <a:gd name="connsiteX35731" fmla="*/ 6288105 w 8079933"/>
              <a:gd name="connsiteY35731" fmla="*/ 358267 h 4687251"/>
              <a:gd name="connsiteX35732" fmla="*/ 6283547 w 8079933"/>
              <a:gd name="connsiteY35732" fmla="*/ 354911 h 4687251"/>
              <a:gd name="connsiteX35733" fmla="*/ 6278556 w 8079933"/>
              <a:gd name="connsiteY35733" fmla="*/ 355019 h 4687251"/>
              <a:gd name="connsiteX35734" fmla="*/ 6275843 w 8079933"/>
              <a:gd name="connsiteY35734" fmla="*/ 351447 h 4687251"/>
              <a:gd name="connsiteX35735" fmla="*/ 6274106 w 8079933"/>
              <a:gd name="connsiteY35735" fmla="*/ 347116 h 4687251"/>
              <a:gd name="connsiteX35736" fmla="*/ 4230087 w 8079933"/>
              <a:gd name="connsiteY35736" fmla="*/ 337697 h 4687251"/>
              <a:gd name="connsiteX35737" fmla="*/ 4233669 w 8079933"/>
              <a:gd name="connsiteY35737" fmla="*/ 338888 h 4687251"/>
              <a:gd name="connsiteX35738" fmla="*/ 4238768 w 8079933"/>
              <a:gd name="connsiteY35738" fmla="*/ 341811 h 4687251"/>
              <a:gd name="connsiteX35739" fmla="*/ 4243760 w 8079933"/>
              <a:gd name="connsiteY35739" fmla="*/ 341054 h 4687251"/>
              <a:gd name="connsiteX35740" fmla="*/ 4245822 w 8079933"/>
              <a:gd name="connsiteY35740" fmla="*/ 342894 h 4687251"/>
              <a:gd name="connsiteX35741" fmla="*/ 4243869 w 8079933"/>
              <a:gd name="connsiteY35741" fmla="*/ 346250 h 4687251"/>
              <a:gd name="connsiteX35742" fmla="*/ 4241807 w 8079933"/>
              <a:gd name="connsiteY35742" fmla="*/ 347658 h 4687251"/>
              <a:gd name="connsiteX35743" fmla="*/ 4238335 w 8079933"/>
              <a:gd name="connsiteY35743" fmla="*/ 346901 h 4687251"/>
              <a:gd name="connsiteX35744" fmla="*/ 4230847 w 8079933"/>
              <a:gd name="connsiteY35744" fmla="*/ 341054 h 4687251"/>
              <a:gd name="connsiteX35745" fmla="*/ 4229002 w 8079933"/>
              <a:gd name="connsiteY35745" fmla="*/ 339322 h 4687251"/>
              <a:gd name="connsiteX35746" fmla="*/ 4693670 w 8079933"/>
              <a:gd name="connsiteY35746" fmla="*/ 334665 h 4687251"/>
              <a:gd name="connsiteX35747" fmla="*/ 4698879 w 8079933"/>
              <a:gd name="connsiteY35747" fmla="*/ 342353 h 4687251"/>
              <a:gd name="connsiteX35748" fmla="*/ 4698879 w 8079933"/>
              <a:gd name="connsiteY35748" fmla="*/ 347116 h 4687251"/>
              <a:gd name="connsiteX35749" fmla="*/ 4704196 w 8079933"/>
              <a:gd name="connsiteY35749" fmla="*/ 347982 h 4687251"/>
              <a:gd name="connsiteX35750" fmla="*/ 4705390 w 8079933"/>
              <a:gd name="connsiteY35750" fmla="*/ 351447 h 4687251"/>
              <a:gd name="connsiteX35751" fmla="*/ 4703546 w 8079933"/>
              <a:gd name="connsiteY35751" fmla="*/ 354263 h 4687251"/>
              <a:gd name="connsiteX35752" fmla="*/ 4696491 w 8079933"/>
              <a:gd name="connsiteY35752" fmla="*/ 354263 h 4687251"/>
              <a:gd name="connsiteX35753" fmla="*/ 4692910 w 8079933"/>
              <a:gd name="connsiteY35753" fmla="*/ 356536 h 4687251"/>
              <a:gd name="connsiteX35754" fmla="*/ 4688787 w 8079933"/>
              <a:gd name="connsiteY35754" fmla="*/ 356536 h 4687251"/>
              <a:gd name="connsiteX35755" fmla="*/ 4687702 w 8079933"/>
              <a:gd name="connsiteY35755" fmla="*/ 352422 h 4687251"/>
              <a:gd name="connsiteX35756" fmla="*/ 4682927 w 8079933"/>
              <a:gd name="connsiteY35756" fmla="*/ 348849 h 4687251"/>
              <a:gd name="connsiteX35757" fmla="*/ 4685314 w 8079933"/>
              <a:gd name="connsiteY35757" fmla="*/ 347766 h 4687251"/>
              <a:gd name="connsiteX35758" fmla="*/ 4690957 w 8079933"/>
              <a:gd name="connsiteY35758" fmla="*/ 347766 h 4687251"/>
              <a:gd name="connsiteX35759" fmla="*/ 4692476 w 8079933"/>
              <a:gd name="connsiteY35759" fmla="*/ 344844 h 4687251"/>
              <a:gd name="connsiteX35760" fmla="*/ 4692476 w 8079933"/>
              <a:gd name="connsiteY35760" fmla="*/ 336940 h 4687251"/>
              <a:gd name="connsiteX35761" fmla="*/ 4812495 w 8079933"/>
              <a:gd name="connsiteY35761" fmla="*/ 332717 h 4687251"/>
              <a:gd name="connsiteX35762" fmla="*/ 4816728 w 8079933"/>
              <a:gd name="connsiteY35762" fmla="*/ 332717 h 4687251"/>
              <a:gd name="connsiteX35763" fmla="*/ 4821068 w 8079933"/>
              <a:gd name="connsiteY35763" fmla="*/ 337155 h 4687251"/>
              <a:gd name="connsiteX35764" fmla="*/ 4819006 w 8079933"/>
              <a:gd name="connsiteY35764" fmla="*/ 338779 h 4687251"/>
              <a:gd name="connsiteX35765" fmla="*/ 4816728 w 8079933"/>
              <a:gd name="connsiteY35765" fmla="*/ 337479 h 4687251"/>
              <a:gd name="connsiteX35766" fmla="*/ 4811953 w 8079933"/>
              <a:gd name="connsiteY35766" fmla="*/ 335965 h 4687251"/>
              <a:gd name="connsiteX35767" fmla="*/ 2387148 w 8079933"/>
              <a:gd name="connsiteY35767" fmla="*/ 331741 h 4687251"/>
              <a:gd name="connsiteX35768" fmla="*/ 2390730 w 8079933"/>
              <a:gd name="connsiteY35768" fmla="*/ 332932 h 4687251"/>
              <a:gd name="connsiteX35769" fmla="*/ 2394203 w 8079933"/>
              <a:gd name="connsiteY35769" fmla="*/ 332175 h 4687251"/>
              <a:gd name="connsiteX35770" fmla="*/ 2396807 w 8079933"/>
              <a:gd name="connsiteY35770" fmla="*/ 332932 h 4687251"/>
              <a:gd name="connsiteX35771" fmla="*/ 2397349 w 8079933"/>
              <a:gd name="connsiteY35771" fmla="*/ 335531 h 4687251"/>
              <a:gd name="connsiteX35772" fmla="*/ 2401473 w 8079933"/>
              <a:gd name="connsiteY35772" fmla="*/ 335964 h 4687251"/>
              <a:gd name="connsiteX35773" fmla="*/ 2403209 w 8079933"/>
              <a:gd name="connsiteY35773" fmla="*/ 334664 h 4687251"/>
              <a:gd name="connsiteX35774" fmla="*/ 2406790 w 8079933"/>
              <a:gd name="connsiteY35774" fmla="*/ 336722 h 4687251"/>
              <a:gd name="connsiteX35775" fmla="*/ 2410371 w 8079933"/>
              <a:gd name="connsiteY35775" fmla="*/ 337155 h 4687251"/>
              <a:gd name="connsiteX35776" fmla="*/ 2415255 w 8079933"/>
              <a:gd name="connsiteY35776" fmla="*/ 343001 h 4687251"/>
              <a:gd name="connsiteX35777" fmla="*/ 2418619 w 8079933"/>
              <a:gd name="connsiteY35777" fmla="*/ 344951 h 4687251"/>
              <a:gd name="connsiteX35778" fmla="*/ 2416774 w 8079933"/>
              <a:gd name="connsiteY35778" fmla="*/ 346791 h 4687251"/>
              <a:gd name="connsiteX35779" fmla="*/ 2418185 w 8079933"/>
              <a:gd name="connsiteY35779" fmla="*/ 349065 h 4687251"/>
              <a:gd name="connsiteX35780" fmla="*/ 2421440 w 8079933"/>
              <a:gd name="connsiteY35780" fmla="*/ 349065 h 4687251"/>
              <a:gd name="connsiteX35781" fmla="*/ 2424913 w 8079933"/>
              <a:gd name="connsiteY35781" fmla="*/ 347224 h 4687251"/>
              <a:gd name="connsiteX35782" fmla="*/ 2427843 w 8079933"/>
              <a:gd name="connsiteY35782" fmla="*/ 351122 h 4687251"/>
              <a:gd name="connsiteX35783" fmla="*/ 2430773 w 8079933"/>
              <a:gd name="connsiteY35783" fmla="*/ 353504 h 4687251"/>
              <a:gd name="connsiteX35784" fmla="*/ 2430231 w 8079933"/>
              <a:gd name="connsiteY35784" fmla="*/ 356426 h 4687251"/>
              <a:gd name="connsiteX35785" fmla="*/ 2431207 w 8079933"/>
              <a:gd name="connsiteY35785" fmla="*/ 358700 h 4687251"/>
              <a:gd name="connsiteX35786" fmla="*/ 2429145 w 8079933"/>
              <a:gd name="connsiteY35786" fmla="*/ 360541 h 4687251"/>
              <a:gd name="connsiteX35787" fmla="*/ 2424045 w 8079933"/>
              <a:gd name="connsiteY35787" fmla="*/ 359242 h 4687251"/>
              <a:gd name="connsiteX35788" fmla="*/ 2417968 w 8079933"/>
              <a:gd name="connsiteY35788" fmla="*/ 364655 h 4687251"/>
              <a:gd name="connsiteX35789" fmla="*/ 2413844 w 8079933"/>
              <a:gd name="connsiteY35789" fmla="*/ 365738 h 4687251"/>
              <a:gd name="connsiteX35790" fmla="*/ 2407984 w 8079933"/>
              <a:gd name="connsiteY35790" fmla="*/ 361949 h 4687251"/>
              <a:gd name="connsiteX35791" fmla="*/ 2400930 w 8079933"/>
              <a:gd name="connsiteY35791" fmla="*/ 361840 h 4687251"/>
              <a:gd name="connsiteX35792" fmla="*/ 2394419 w 8079933"/>
              <a:gd name="connsiteY35792" fmla="*/ 357185 h 4687251"/>
              <a:gd name="connsiteX35793" fmla="*/ 2389102 w 8079933"/>
              <a:gd name="connsiteY35793" fmla="*/ 357185 h 4687251"/>
              <a:gd name="connsiteX35794" fmla="*/ 2384435 w 8079933"/>
              <a:gd name="connsiteY35794" fmla="*/ 354694 h 4687251"/>
              <a:gd name="connsiteX35795" fmla="*/ 2381289 w 8079933"/>
              <a:gd name="connsiteY35795" fmla="*/ 350580 h 4687251"/>
              <a:gd name="connsiteX35796" fmla="*/ 2376297 w 8079933"/>
              <a:gd name="connsiteY35796" fmla="*/ 351122 h 4687251"/>
              <a:gd name="connsiteX35797" fmla="*/ 2373367 w 8079933"/>
              <a:gd name="connsiteY35797" fmla="*/ 350580 h 4687251"/>
              <a:gd name="connsiteX35798" fmla="*/ 2372716 w 8079933"/>
              <a:gd name="connsiteY35798" fmla="*/ 343543 h 4687251"/>
              <a:gd name="connsiteX35799" fmla="*/ 2375212 w 8079933"/>
              <a:gd name="connsiteY35799" fmla="*/ 336180 h 4687251"/>
              <a:gd name="connsiteX35800" fmla="*/ 2378901 w 8079933"/>
              <a:gd name="connsiteY35800" fmla="*/ 332175 h 4687251"/>
              <a:gd name="connsiteX35801" fmla="*/ 2383676 w 8079933"/>
              <a:gd name="connsiteY35801" fmla="*/ 332390 h 4687251"/>
              <a:gd name="connsiteX35802" fmla="*/ 2227086 w 8079933"/>
              <a:gd name="connsiteY35802" fmla="*/ 327518 h 4687251"/>
              <a:gd name="connsiteX35803" fmla="*/ 2234031 w 8079933"/>
              <a:gd name="connsiteY35803" fmla="*/ 327518 h 4687251"/>
              <a:gd name="connsiteX35804" fmla="*/ 2232295 w 8079933"/>
              <a:gd name="connsiteY35804" fmla="*/ 331201 h 4687251"/>
              <a:gd name="connsiteX35805" fmla="*/ 2226761 w 8079933"/>
              <a:gd name="connsiteY35805" fmla="*/ 332607 h 4687251"/>
              <a:gd name="connsiteX35806" fmla="*/ 2223614 w 8079933"/>
              <a:gd name="connsiteY35806" fmla="*/ 330334 h 4687251"/>
              <a:gd name="connsiteX35807" fmla="*/ 4675331 w 8079933"/>
              <a:gd name="connsiteY35807" fmla="*/ 327410 h 4687251"/>
              <a:gd name="connsiteX35808" fmla="*/ 4679455 w 8079933"/>
              <a:gd name="connsiteY35808" fmla="*/ 329793 h 4687251"/>
              <a:gd name="connsiteX35809" fmla="*/ 4684772 w 8079933"/>
              <a:gd name="connsiteY35809" fmla="*/ 331524 h 4687251"/>
              <a:gd name="connsiteX35810" fmla="*/ 4684989 w 8079933"/>
              <a:gd name="connsiteY35810" fmla="*/ 335965 h 4687251"/>
              <a:gd name="connsiteX35811" fmla="*/ 4682710 w 8079933"/>
              <a:gd name="connsiteY35811" fmla="*/ 339862 h 4687251"/>
              <a:gd name="connsiteX35812" fmla="*/ 4681733 w 8079933"/>
              <a:gd name="connsiteY35812" fmla="*/ 344084 h 4687251"/>
              <a:gd name="connsiteX35813" fmla="*/ 4674788 w 8079933"/>
              <a:gd name="connsiteY35813" fmla="*/ 340294 h 4687251"/>
              <a:gd name="connsiteX35814" fmla="*/ 4673269 w 8079933"/>
              <a:gd name="connsiteY35814" fmla="*/ 336180 h 4687251"/>
              <a:gd name="connsiteX35815" fmla="*/ 4674246 w 8079933"/>
              <a:gd name="connsiteY35815" fmla="*/ 333366 h 4687251"/>
              <a:gd name="connsiteX35816" fmla="*/ 1962305 w 8079933"/>
              <a:gd name="connsiteY35816" fmla="*/ 324162 h 4687251"/>
              <a:gd name="connsiteX35817" fmla="*/ 1964367 w 8079933"/>
              <a:gd name="connsiteY35817" fmla="*/ 324596 h 4687251"/>
              <a:gd name="connsiteX35818" fmla="*/ 1962956 w 8079933"/>
              <a:gd name="connsiteY35818" fmla="*/ 328060 h 4687251"/>
              <a:gd name="connsiteX35819" fmla="*/ 1955903 w 8079933"/>
              <a:gd name="connsiteY35819" fmla="*/ 333474 h 4687251"/>
              <a:gd name="connsiteX35820" fmla="*/ 1948524 w 8079933"/>
              <a:gd name="connsiteY35820" fmla="*/ 338237 h 4687251"/>
              <a:gd name="connsiteX35821" fmla="*/ 1934308 w 8079933"/>
              <a:gd name="connsiteY35821" fmla="*/ 348956 h 4687251"/>
              <a:gd name="connsiteX35822" fmla="*/ 1929751 w 8079933"/>
              <a:gd name="connsiteY35822" fmla="*/ 354694 h 4687251"/>
              <a:gd name="connsiteX35823" fmla="*/ 1925953 w 8079933"/>
              <a:gd name="connsiteY35823" fmla="*/ 355994 h 4687251"/>
              <a:gd name="connsiteX35824" fmla="*/ 1923131 w 8079933"/>
              <a:gd name="connsiteY35824" fmla="*/ 355994 h 4687251"/>
              <a:gd name="connsiteX35825" fmla="*/ 1920960 w 8079933"/>
              <a:gd name="connsiteY35825" fmla="*/ 359025 h 4687251"/>
              <a:gd name="connsiteX35826" fmla="*/ 1918899 w 8079933"/>
              <a:gd name="connsiteY35826" fmla="*/ 359241 h 4687251"/>
              <a:gd name="connsiteX35827" fmla="*/ 1916945 w 8079933"/>
              <a:gd name="connsiteY35827" fmla="*/ 354044 h 4687251"/>
              <a:gd name="connsiteX35828" fmla="*/ 1913907 w 8079933"/>
              <a:gd name="connsiteY35828" fmla="*/ 353179 h 4687251"/>
              <a:gd name="connsiteX35829" fmla="*/ 1911303 w 8079933"/>
              <a:gd name="connsiteY35829" fmla="*/ 353936 h 4687251"/>
              <a:gd name="connsiteX35830" fmla="*/ 1909241 w 8079933"/>
              <a:gd name="connsiteY35830" fmla="*/ 352312 h 4687251"/>
              <a:gd name="connsiteX35831" fmla="*/ 1911845 w 8079933"/>
              <a:gd name="connsiteY35831" fmla="*/ 347007 h 4687251"/>
              <a:gd name="connsiteX35832" fmla="*/ 1921286 w 8079933"/>
              <a:gd name="connsiteY35832" fmla="*/ 339103 h 4687251"/>
              <a:gd name="connsiteX35833" fmla="*/ 1927797 w 8079933"/>
              <a:gd name="connsiteY35833" fmla="*/ 337047 h 4687251"/>
              <a:gd name="connsiteX35834" fmla="*/ 1931812 w 8079933"/>
              <a:gd name="connsiteY35834" fmla="*/ 333798 h 4687251"/>
              <a:gd name="connsiteX35835" fmla="*/ 1934742 w 8079933"/>
              <a:gd name="connsiteY35835" fmla="*/ 333474 h 4687251"/>
              <a:gd name="connsiteX35836" fmla="*/ 1941145 w 8079933"/>
              <a:gd name="connsiteY35836" fmla="*/ 328926 h 4687251"/>
              <a:gd name="connsiteX35837" fmla="*/ 1948198 w 8079933"/>
              <a:gd name="connsiteY35837" fmla="*/ 327735 h 4687251"/>
              <a:gd name="connsiteX35838" fmla="*/ 1951779 w 8079933"/>
              <a:gd name="connsiteY35838" fmla="*/ 325895 h 4687251"/>
              <a:gd name="connsiteX35839" fmla="*/ 1954167 w 8079933"/>
              <a:gd name="connsiteY35839" fmla="*/ 326219 h 4687251"/>
              <a:gd name="connsiteX35840" fmla="*/ 2534405 w 8079933"/>
              <a:gd name="connsiteY35840" fmla="*/ 323839 h 4687251"/>
              <a:gd name="connsiteX35841" fmla="*/ 2536141 w 8079933"/>
              <a:gd name="connsiteY35841" fmla="*/ 325138 h 4687251"/>
              <a:gd name="connsiteX35842" fmla="*/ 2534405 w 8079933"/>
              <a:gd name="connsiteY35842" fmla="*/ 328169 h 4687251"/>
              <a:gd name="connsiteX35843" fmla="*/ 2533862 w 8079933"/>
              <a:gd name="connsiteY35843" fmla="*/ 330876 h 4687251"/>
              <a:gd name="connsiteX35844" fmla="*/ 2528979 w 8079933"/>
              <a:gd name="connsiteY35844" fmla="*/ 335315 h 4687251"/>
              <a:gd name="connsiteX35845" fmla="*/ 2527026 w 8079933"/>
              <a:gd name="connsiteY35845" fmla="*/ 335748 h 4687251"/>
              <a:gd name="connsiteX35846" fmla="*/ 2527786 w 8079933"/>
              <a:gd name="connsiteY35846" fmla="*/ 331526 h 4687251"/>
              <a:gd name="connsiteX35847" fmla="*/ 2530932 w 8079933"/>
              <a:gd name="connsiteY35847" fmla="*/ 328386 h 4687251"/>
              <a:gd name="connsiteX35848" fmla="*/ 2531366 w 8079933"/>
              <a:gd name="connsiteY35848" fmla="*/ 325246 h 4687251"/>
              <a:gd name="connsiteX35849" fmla="*/ 6400746 w 8079933"/>
              <a:gd name="connsiteY35849" fmla="*/ 322755 h 4687251"/>
              <a:gd name="connsiteX35850" fmla="*/ 6404327 w 8079933"/>
              <a:gd name="connsiteY35850" fmla="*/ 322755 h 4687251"/>
              <a:gd name="connsiteX35851" fmla="*/ 6411054 w 8079933"/>
              <a:gd name="connsiteY35851" fmla="*/ 325462 h 4687251"/>
              <a:gd name="connsiteX35852" fmla="*/ 6414202 w 8079933"/>
              <a:gd name="connsiteY35852" fmla="*/ 323405 h 4687251"/>
              <a:gd name="connsiteX35853" fmla="*/ 6418434 w 8079933"/>
              <a:gd name="connsiteY35853" fmla="*/ 323405 h 4687251"/>
              <a:gd name="connsiteX35854" fmla="*/ 6423101 w 8079933"/>
              <a:gd name="connsiteY35854" fmla="*/ 328061 h 4687251"/>
              <a:gd name="connsiteX35855" fmla="*/ 6429720 w 8079933"/>
              <a:gd name="connsiteY35855" fmla="*/ 329793 h 4687251"/>
              <a:gd name="connsiteX35856" fmla="*/ 6436014 w 8079933"/>
              <a:gd name="connsiteY35856" fmla="*/ 330334 h 4687251"/>
              <a:gd name="connsiteX35857" fmla="*/ 6445671 w 8079933"/>
              <a:gd name="connsiteY35857" fmla="*/ 338021 h 4687251"/>
              <a:gd name="connsiteX35858" fmla="*/ 6451423 w 8079933"/>
              <a:gd name="connsiteY35858" fmla="*/ 345383 h 4687251"/>
              <a:gd name="connsiteX35859" fmla="*/ 6453485 w 8079933"/>
              <a:gd name="connsiteY35859" fmla="*/ 349931 h 4687251"/>
              <a:gd name="connsiteX35860" fmla="*/ 6457718 w 8079933"/>
              <a:gd name="connsiteY35860" fmla="*/ 353505 h 4687251"/>
              <a:gd name="connsiteX35861" fmla="*/ 6453485 w 8079933"/>
              <a:gd name="connsiteY35861" fmla="*/ 357293 h 4687251"/>
              <a:gd name="connsiteX35862" fmla="*/ 6448601 w 8079933"/>
              <a:gd name="connsiteY35862" fmla="*/ 356101 h 4687251"/>
              <a:gd name="connsiteX35863" fmla="*/ 6441005 w 8079933"/>
              <a:gd name="connsiteY35863" fmla="*/ 356752 h 4687251"/>
              <a:gd name="connsiteX35864" fmla="*/ 6436556 w 8079933"/>
              <a:gd name="connsiteY35864" fmla="*/ 359675 h 4687251"/>
              <a:gd name="connsiteX35865" fmla="*/ 6425596 w 8079933"/>
              <a:gd name="connsiteY35865" fmla="*/ 359567 h 4687251"/>
              <a:gd name="connsiteX35866" fmla="*/ 6418977 w 8079933"/>
              <a:gd name="connsiteY35866" fmla="*/ 360867 h 4687251"/>
              <a:gd name="connsiteX35867" fmla="*/ 6409318 w 8079933"/>
              <a:gd name="connsiteY35867" fmla="*/ 360758 h 4687251"/>
              <a:gd name="connsiteX35868" fmla="*/ 6402156 w 8079933"/>
              <a:gd name="connsiteY35868" fmla="*/ 359135 h 4687251"/>
              <a:gd name="connsiteX35869" fmla="*/ 6394886 w 8079933"/>
              <a:gd name="connsiteY35869" fmla="*/ 363465 h 4687251"/>
              <a:gd name="connsiteX35870" fmla="*/ 6391304 w 8079933"/>
              <a:gd name="connsiteY35870" fmla="*/ 368987 h 4687251"/>
              <a:gd name="connsiteX35871" fmla="*/ 6388158 w 8079933"/>
              <a:gd name="connsiteY35871" fmla="*/ 370719 h 4687251"/>
              <a:gd name="connsiteX35872" fmla="*/ 6384685 w 8079933"/>
              <a:gd name="connsiteY35872" fmla="*/ 370176 h 4687251"/>
              <a:gd name="connsiteX35873" fmla="*/ 6385011 w 8079933"/>
              <a:gd name="connsiteY35873" fmla="*/ 366063 h 4687251"/>
              <a:gd name="connsiteX35874" fmla="*/ 6389894 w 8079933"/>
              <a:gd name="connsiteY35874" fmla="*/ 361948 h 4687251"/>
              <a:gd name="connsiteX35875" fmla="*/ 6393041 w 8079933"/>
              <a:gd name="connsiteY35875" fmla="*/ 350580 h 4687251"/>
              <a:gd name="connsiteX35876" fmla="*/ 6393150 w 8079933"/>
              <a:gd name="connsiteY35876" fmla="*/ 340620 h 4687251"/>
              <a:gd name="connsiteX35877" fmla="*/ 6391630 w 8079933"/>
              <a:gd name="connsiteY35877" fmla="*/ 335423 h 4687251"/>
              <a:gd name="connsiteX35878" fmla="*/ 6396947 w 8079933"/>
              <a:gd name="connsiteY35878" fmla="*/ 327953 h 4687251"/>
              <a:gd name="connsiteX35879" fmla="*/ 1896437 w 8079933"/>
              <a:gd name="connsiteY35879" fmla="*/ 318748 h 4687251"/>
              <a:gd name="connsiteX35880" fmla="*/ 1896437 w 8079933"/>
              <a:gd name="connsiteY35880" fmla="*/ 320913 h 4687251"/>
              <a:gd name="connsiteX35881" fmla="*/ 1891554 w 8079933"/>
              <a:gd name="connsiteY35881" fmla="*/ 324486 h 4687251"/>
              <a:gd name="connsiteX35882" fmla="*/ 1891554 w 8079933"/>
              <a:gd name="connsiteY35882" fmla="*/ 322646 h 4687251"/>
              <a:gd name="connsiteX35883" fmla="*/ 4826710 w 8079933"/>
              <a:gd name="connsiteY35883" fmla="*/ 316910 h 4687251"/>
              <a:gd name="connsiteX35884" fmla="*/ 4830943 w 8079933"/>
              <a:gd name="connsiteY35884" fmla="*/ 319183 h 4687251"/>
              <a:gd name="connsiteX35885" fmla="*/ 4832787 w 8079933"/>
              <a:gd name="connsiteY35885" fmla="*/ 326221 h 4687251"/>
              <a:gd name="connsiteX35886" fmla="*/ 4828881 w 8079933"/>
              <a:gd name="connsiteY35886" fmla="*/ 333257 h 4687251"/>
              <a:gd name="connsiteX35887" fmla="*/ 4823021 w 8079933"/>
              <a:gd name="connsiteY35887" fmla="*/ 332717 h 4687251"/>
              <a:gd name="connsiteX35888" fmla="*/ 4819006 w 8079933"/>
              <a:gd name="connsiteY35888" fmla="*/ 328603 h 4687251"/>
              <a:gd name="connsiteX35889" fmla="*/ 4813689 w 8079933"/>
              <a:gd name="connsiteY35889" fmla="*/ 325679 h 4687251"/>
              <a:gd name="connsiteX35890" fmla="*/ 4814014 w 8079933"/>
              <a:gd name="connsiteY35890" fmla="*/ 322756 h 4687251"/>
              <a:gd name="connsiteX35891" fmla="*/ 4820742 w 8079933"/>
              <a:gd name="connsiteY35891" fmla="*/ 318425 h 4687251"/>
              <a:gd name="connsiteX35892" fmla="*/ 4737836 w 8079933"/>
              <a:gd name="connsiteY35892" fmla="*/ 316585 h 4687251"/>
              <a:gd name="connsiteX35893" fmla="*/ 4740657 w 8079933"/>
              <a:gd name="connsiteY35893" fmla="*/ 317558 h 4687251"/>
              <a:gd name="connsiteX35894" fmla="*/ 4742718 w 8079933"/>
              <a:gd name="connsiteY35894" fmla="*/ 321131 h 4687251"/>
              <a:gd name="connsiteX35895" fmla="*/ 4742501 w 8079933"/>
              <a:gd name="connsiteY35895" fmla="*/ 325787 h 4687251"/>
              <a:gd name="connsiteX35896" fmla="*/ 4739572 w 8079933"/>
              <a:gd name="connsiteY35896" fmla="*/ 324596 h 4687251"/>
              <a:gd name="connsiteX35897" fmla="*/ 4738053 w 8079933"/>
              <a:gd name="connsiteY35897" fmla="*/ 320483 h 4687251"/>
              <a:gd name="connsiteX35898" fmla="*/ 4726009 w 8079933"/>
              <a:gd name="connsiteY35898" fmla="*/ 316151 h 4687251"/>
              <a:gd name="connsiteX35899" fmla="*/ 4729807 w 8079933"/>
              <a:gd name="connsiteY35899" fmla="*/ 320483 h 4687251"/>
              <a:gd name="connsiteX35900" fmla="*/ 4733171 w 8079933"/>
              <a:gd name="connsiteY35900" fmla="*/ 320374 h 4687251"/>
              <a:gd name="connsiteX35901" fmla="*/ 4734256 w 8079933"/>
              <a:gd name="connsiteY35901" fmla="*/ 324489 h 4687251"/>
              <a:gd name="connsiteX35902" fmla="*/ 4731977 w 8079933"/>
              <a:gd name="connsiteY35902" fmla="*/ 330011 h 4687251"/>
              <a:gd name="connsiteX35903" fmla="*/ 4727203 w 8079933"/>
              <a:gd name="connsiteY35903" fmla="*/ 333366 h 4687251"/>
              <a:gd name="connsiteX35904" fmla="*/ 4720149 w 8079933"/>
              <a:gd name="connsiteY35904" fmla="*/ 331634 h 4687251"/>
              <a:gd name="connsiteX35905" fmla="*/ 4718087 w 8079933"/>
              <a:gd name="connsiteY35905" fmla="*/ 328929 h 4687251"/>
              <a:gd name="connsiteX35906" fmla="*/ 4722210 w 8079933"/>
              <a:gd name="connsiteY35906" fmla="*/ 325790 h 4687251"/>
              <a:gd name="connsiteX35907" fmla="*/ 4722210 w 8079933"/>
              <a:gd name="connsiteY35907" fmla="*/ 322432 h 4687251"/>
              <a:gd name="connsiteX35908" fmla="*/ 4719823 w 8079933"/>
              <a:gd name="connsiteY35908" fmla="*/ 318641 h 4687251"/>
              <a:gd name="connsiteX35909" fmla="*/ 4723187 w 8079933"/>
              <a:gd name="connsiteY35909" fmla="*/ 316369 h 4687251"/>
              <a:gd name="connsiteX35910" fmla="*/ 2014611 w 8079933"/>
              <a:gd name="connsiteY35910" fmla="*/ 313876 h 4687251"/>
              <a:gd name="connsiteX35911" fmla="*/ 2018735 w 8079933"/>
              <a:gd name="connsiteY35911" fmla="*/ 314850 h 4687251"/>
              <a:gd name="connsiteX35912" fmla="*/ 2026331 w 8079933"/>
              <a:gd name="connsiteY35912" fmla="*/ 314525 h 4687251"/>
              <a:gd name="connsiteX35913" fmla="*/ 2031214 w 8079933"/>
              <a:gd name="connsiteY35913" fmla="*/ 318640 h 4687251"/>
              <a:gd name="connsiteX35914" fmla="*/ 2033276 w 8079933"/>
              <a:gd name="connsiteY35914" fmla="*/ 325895 h 4687251"/>
              <a:gd name="connsiteX35915" fmla="*/ 2029478 w 8079933"/>
              <a:gd name="connsiteY35915" fmla="*/ 327952 h 4687251"/>
              <a:gd name="connsiteX35916" fmla="*/ 2025680 w 8079933"/>
              <a:gd name="connsiteY35916" fmla="*/ 333798 h 4687251"/>
              <a:gd name="connsiteX35917" fmla="*/ 2026982 w 8079933"/>
              <a:gd name="connsiteY35917" fmla="*/ 337912 h 4687251"/>
              <a:gd name="connsiteX35918" fmla="*/ 2036206 w 8079933"/>
              <a:gd name="connsiteY35918" fmla="*/ 337371 h 4687251"/>
              <a:gd name="connsiteX35919" fmla="*/ 2039136 w 8079933"/>
              <a:gd name="connsiteY35919" fmla="*/ 335531 h 4687251"/>
              <a:gd name="connsiteX35920" fmla="*/ 2042065 w 8079933"/>
              <a:gd name="connsiteY35920" fmla="*/ 337371 h 4687251"/>
              <a:gd name="connsiteX35921" fmla="*/ 2044996 w 8079933"/>
              <a:gd name="connsiteY35921" fmla="*/ 337371 h 4687251"/>
              <a:gd name="connsiteX35922" fmla="*/ 2046515 w 8079933"/>
              <a:gd name="connsiteY35922" fmla="*/ 340511 h 4687251"/>
              <a:gd name="connsiteX35923" fmla="*/ 2047275 w 8079933"/>
              <a:gd name="connsiteY35923" fmla="*/ 343218 h 4687251"/>
              <a:gd name="connsiteX35924" fmla="*/ 2049988 w 8079933"/>
              <a:gd name="connsiteY35924" fmla="*/ 345925 h 4687251"/>
              <a:gd name="connsiteX35925" fmla="*/ 2049662 w 8079933"/>
              <a:gd name="connsiteY35925" fmla="*/ 349281 h 4687251"/>
              <a:gd name="connsiteX35926" fmla="*/ 2046732 w 8079933"/>
              <a:gd name="connsiteY35926" fmla="*/ 350796 h 4687251"/>
              <a:gd name="connsiteX35927" fmla="*/ 2044996 w 8079933"/>
              <a:gd name="connsiteY35927" fmla="*/ 354044 h 4687251"/>
              <a:gd name="connsiteX35928" fmla="*/ 2049120 w 8079933"/>
              <a:gd name="connsiteY35928" fmla="*/ 359350 h 4687251"/>
              <a:gd name="connsiteX35929" fmla="*/ 2049771 w 8079933"/>
              <a:gd name="connsiteY35929" fmla="*/ 369202 h 4687251"/>
              <a:gd name="connsiteX35930" fmla="*/ 2048143 w 8079933"/>
              <a:gd name="connsiteY35930" fmla="*/ 372451 h 4687251"/>
              <a:gd name="connsiteX35931" fmla="*/ 2043260 w 8079933"/>
              <a:gd name="connsiteY35931" fmla="*/ 370935 h 4687251"/>
              <a:gd name="connsiteX35932" fmla="*/ 2038919 w 8079933"/>
              <a:gd name="connsiteY35932" fmla="*/ 372667 h 4687251"/>
              <a:gd name="connsiteX35933" fmla="*/ 2040112 w 8079933"/>
              <a:gd name="connsiteY35933" fmla="*/ 375590 h 4687251"/>
              <a:gd name="connsiteX35934" fmla="*/ 2044453 w 8079933"/>
              <a:gd name="connsiteY35934" fmla="*/ 374616 h 4687251"/>
              <a:gd name="connsiteX35935" fmla="*/ 2049771 w 8079933"/>
              <a:gd name="connsiteY35935" fmla="*/ 376890 h 4687251"/>
              <a:gd name="connsiteX35936" fmla="*/ 2053026 w 8079933"/>
              <a:gd name="connsiteY35936" fmla="*/ 376890 h 4687251"/>
              <a:gd name="connsiteX35937" fmla="*/ 2049771 w 8079933"/>
              <a:gd name="connsiteY35937" fmla="*/ 386742 h 4687251"/>
              <a:gd name="connsiteX35938" fmla="*/ 2046190 w 8079933"/>
              <a:gd name="connsiteY35938" fmla="*/ 389774 h 4687251"/>
              <a:gd name="connsiteX35939" fmla="*/ 2045864 w 8079933"/>
              <a:gd name="connsiteY35939" fmla="*/ 398436 h 4687251"/>
              <a:gd name="connsiteX35940" fmla="*/ 2048468 w 8079933"/>
              <a:gd name="connsiteY35940" fmla="*/ 399735 h 4687251"/>
              <a:gd name="connsiteX35941" fmla="*/ 2053786 w 8079933"/>
              <a:gd name="connsiteY35941" fmla="*/ 398436 h 4687251"/>
              <a:gd name="connsiteX35942" fmla="*/ 2056499 w 8079933"/>
              <a:gd name="connsiteY35942" fmla="*/ 395188 h 4687251"/>
              <a:gd name="connsiteX35943" fmla="*/ 2058560 w 8079933"/>
              <a:gd name="connsiteY35943" fmla="*/ 397245 h 4687251"/>
              <a:gd name="connsiteX35944" fmla="*/ 2059645 w 8079933"/>
              <a:gd name="connsiteY35944" fmla="*/ 400601 h 4687251"/>
              <a:gd name="connsiteX35945" fmla="*/ 2064963 w 8079933"/>
              <a:gd name="connsiteY35945" fmla="*/ 401359 h 4687251"/>
              <a:gd name="connsiteX35946" fmla="*/ 2067676 w 8079933"/>
              <a:gd name="connsiteY35946" fmla="*/ 400601 h 4687251"/>
              <a:gd name="connsiteX35947" fmla="*/ 2076357 w 8079933"/>
              <a:gd name="connsiteY35947" fmla="*/ 402874 h 4687251"/>
              <a:gd name="connsiteX35948" fmla="*/ 2079830 w 8079933"/>
              <a:gd name="connsiteY35948" fmla="*/ 408180 h 4687251"/>
              <a:gd name="connsiteX35949" fmla="*/ 2082868 w 8079933"/>
              <a:gd name="connsiteY35949" fmla="*/ 407206 h 4687251"/>
              <a:gd name="connsiteX35950" fmla="*/ 2082217 w 8079933"/>
              <a:gd name="connsiteY35950" fmla="*/ 404066 h 4687251"/>
              <a:gd name="connsiteX35951" fmla="*/ 2080698 w 8079933"/>
              <a:gd name="connsiteY35951" fmla="*/ 402659 h 4687251"/>
              <a:gd name="connsiteX35952" fmla="*/ 2087860 w 8079933"/>
              <a:gd name="connsiteY35952" fmla="*/ 399085 h 4687251"/>
              <a:gd name="connsiteX35953" fmla="*/ 2086015 w 8079933"/>
              <a:gd name="connsiteY35953" fmla="*/ 391181 h 4687251"/>
              <a:gd name="connsiteX35954" fmla="*/ 2081675 w 8079933"/>
              <a:gd name="connsiteY35954" fmla="*/ 386418 h 4687251"/>
              <a:gd name="connsiteX35955" fmla="*/ 2082000 w 8079933"/>
              <a:gd name="connsiteY35955" fmla="*/ 382953 h 4687251"/>
              <a:gd name="connsiteX35956" fmla="*/ 2079287 w 8079933"/>
              <a:gd name="connsiteY35956" fmla="*/ 378947 h 4687251"/>
              <a:gd name="connsiteX35957" fmla="*/ 2081457 w 8079933"/>
              <a:gd name="connsiteY35957" fmla="*/ 376565 h 4687251"/>
              <a:gd name="connsiteX35958" fmla="*/ 2084387 w 8079933"/>
              <a:gd name="connsiteY35958" fmla="*/ 376565 h 4687251"/>
              <a:gd name="connsiteX35959" fmla="*/ 2091333 w 8079933"/>
              <a:gd name="connsiteY35959" fmla="*/ 373858 h 4687251"/>
              <a:gd name="connsiteX35960" fmla="*/ 2096324 w 8079933"/>
              <a:gd name="connsiteY35960" fmla="*/ 374292 h 4687251"/>
              <a:gd name="connsiteX35961" fmla="*/ 2098712 w 8079933"/>
              <a:gd name="connsiteY35961" fmla="*/ 367578 h 4687251"/>
              <a:gd name="connsiteX35962" fmla="*/ 2095673 w 8079933"/>
              <a:gd name="connsiteY35962" fmla="*/ 360541 h 4687251"/>
              <a:gd name="connsiteX35963" fmla="*/ 2093394 w 8079933"/>
              <a:gd name="connsiteY35963" fmla="*/ 358159 h 4687251"/>
              <a:gd name="connsiteX35964" fmla="*/ 2093720 w 8079933"/>
              <a:gd name="connsiteY35964" fmla="*/ 352854 h 4687251"/>
              <a:gd name="connsiteX35965" fmla="*/ 2091549 w 8079933"/>
              <a:gd name="connsiteY35965" fmla="*/ 347223 h 4687251"/>
              <a:gd name="connsiteX35966" fmla="*/ 2095782 w 8079933"/>
              <a:gd name="connsiteY35966" fmla="*/ 341160 h 4687251"/>
              <a:gd name="connsiteX35967" fmla="*/ 2099580 w 8079933"/>
              <a:gd name="connsiteY35967" fmla="*/ 338778 h 4687251"/>
              <a:gd name="connsiteX35968" fmla="*/ 2101967 w 8079933"/>
              <a:gd name="connsiteY35968" fmla="*/ 339645 h 4687251"/>
              <a:gd name="connsiteX35969" fmla="*/ 2106850 w 8079933"/>
              <a:gd name="connsiteY35969" fmla="*/ 339754 h 4687251"/>
              <a:gd name="connsiteX35970" fmla="*/ 2105656 w 8079933"/>
              <a:gd name="connsiteY35970" fmla="*/ 337047 h 4687251"/>
              <a:gd name="connsiteX35971" fmla="*/ 2107718 w 8079933"/>
              <a:gd name="connsiteY35971" fmla="*/ 332932 h 4687251"/>
              <a:gd name="connsiteX35972" fmla="*/ 2113253 w 8079933"/>
              <a:gd name="connsiteY35972" fmla="*/ 330983 h 4687251"/>
              <a:gd name="connsiteX35973" fmla="*/ 2123888 w 8079933"/>
              <a:gd name="connsiteY35973" fmla="*/ 321023 h 4687251"/>
              <a:gd name="connsiteX35974" fmla="*/ 2127034 w 8079933"/>
              <a:gd name="connsiteY35974" fmla="*/ 321347 h 4687251"/>
              <a:gd name="connsiteX35975" fmla="*/ 2133762 w 8079933"/>
              <a:gd name="connsiteY35975" fmla="*/ 324595 h 4687251"/>
              <a:gd name="connsiteX35976" fmla="*/ 2132677 w 8079933"/>
              <a:gd name="connsiteY35976" fmla="*/ 327411 h 4687251"/>
              <a:gd name="connsiteX35977" fmla="*/ 2134631 w 8079933"/>
              <a:gd name="connsiteY35977" fmla="*/ 331201 h 4687251"/>
              <a:gd name="connsiteX35978" fmla="*/ 2133220 w 8079933"/>
              <a:gd name="connsiteY35978" fmla="*/ 334123 h 4687251"/>
              <a:gd name="connsiteX35979" fmla="*/ 2128879 w 8079933"/>
              <a:gd name="connsiteY35979" fmla="*/ 334231 h 4687251"/>
              <a:gd name="connsiteX35980" fmla="*/ 2126166 w 8079933"/>
              <a:gd name="connsiteY35980" fmla="*/ 337047 h 4687251"/>
              <a:gd name="connsiteX35981" fmla="*/ 2126166 w 8079933"/>
              <a:gd name="connsiteY35981" fmla="*/ 340836 h 4687251"/>
              <a:gd name="connsiteX35982" fmla="*/ 2124755 w 8079933"/>
              <a:gd name="connsiteY35982" fmla="*/ 345492 h 4687251"/>
              <a:gd name="connsiteX35983" fmla="*/ 2124755 w 8079933"/>
              <a:gd name="connsiteY35983" fmla="*/ 351338 h 4687251"/>
              <a:gd name="connsiteX35984" fmla="*/ 2126166 w 8079933"/>
              <a:gd name="connsiteY35984" fmla="*/ 353070 h 4687251"/>
              <a:gd name="connsiteX35985" fmla="*/ 2126166 w 8079933"/>
              <a:gd name="connsiteY35985" fmla="*/ 364547 h 4687251"/>
              <a:gd name="connsiteX35986" fmla="*/ 2123888 w 8079933"/>
              <a:gd name="connsiteY35986" fmla="*/ 366604 h 4687251"/>
              <a:gd name="connsiteX35987" fmla="*/ 2121500 w 8079933"/>
              <a:gd name="connsiteY35987" fmla="*/ 366604 h 4687251"/>
              <a:gd name="connsiteX35988" fmla="*/ 2114772 w 8079933"/>
              <a:gd name="connsiteY35988" fmla="*/ 372667 h 4687251"/>
              <a:gd name="connsiteX35989" fmla="*/ 2110974 w 8079933"/>
              <a:gd name="connsiteY35989" fmla="*/ 375374 h 4687251"/>
              <a:gd name="connsiteX35990" fmla="*/ 2110974 w 8079933"/>
              <a:gd name="connsiteY35990" fmla="*/ 377106 h 4687251"/>
              <a:gd name="connsiteX35991" fmla="*/ 2113361 w 8079933"/>
              <a:gd name="connsiteY35991" fmla="*/ 377215 h 4687251"/>
              <a:gd name="connsiteX35992" fmla="*/ 2117485 w 8079933"/>
              <a:gd name="connsiteY35992" fmla="*/ 376024 h 4687251"/>
              <a:gd name="connsiteX35993" fmla="*/ 2124430 w 8079933"/>
              <a:gd name="connsiteY35993" fmla="*/ 376457 h 4687251"/>
              <a:gd name="connsiteX35994" fmla="*/ 2125623 w 8079933"/>
              <a:gd name="connsiteY35994" fmla="*/ 378838 h 4687251"/>
              <a:gd name="connsiteX35995" fmla="*/ 2122151 w 8079933"/>
              <a:gd name="connsiteY35995" fmla="*/ 384144 h 4687251"/>
              <a:gd name="connsiteX35996" fmla="*/ 2114555 w 8079933"/>
              <a:gd name="connsiteY35996" fmla="*/ 388475 h 4687251"/>
              <a:gd name="connsiteX35997" fmla="*/ 2108044 w 8079933"/>
              <a:gd name="connsiteY35997" fmla="*/ 394322 h 4687251"/>
              <a:gd name="connsiteX35998" fmla="*/ 2106525 w 8079933"/>
              <a:gd name="connsiteY35998" fmla="*/ 398544 h 4687251"/>
              <a:gd name="connsiteX35999" fmla="*/ 2108369 w 8079933"/>
              <a:gd name="connsiteY35999" fmla="*/ 400926 h 4687251"/>
              <a:gd name="connsiteX36000" fmla="*/ 2110648 w 8079933"/>
              <a:gd name="connsiteY36000" fmla="*/ 396487 h 4687251"/>
              <a:gd name="connsiteX36001" fmla="*/ 2118895 w 8079933"/>
              <a:gd name="connsiteY36001" fmla="*/ 392698 h 4687251"/>
              <a:gd name="connsiteX36002" fmla="*/ 2121934 w 8079933"/>
              <a:gd name="connsiteY36002" fmla="*/ 389666 h 4687251"/>
              <a:gd name="connsiteX36003" fmla="*/ 2124864 w 8079933"/>
              <a:gd name="connsiteY36003" fmla="*/ 388475 h 4687251"/>
              <a:gd name="connsiteX36004" fmla="*/ 2131266 w 8079933"/>
              <a:gd name="connsiteY36004" fmla="*/ 391506 h 4687251"/>
              <a:gd name="connsiteX36005" fmla="*/ 2130616 w 8079933"/>
              <a:gd name="connsiteY36005" fmla="*/ 397569 h 4687251"/>
              <a:gd name="connsiteX36006" fmla="*/ 2127034 w 8079933"/>
              <a:gd name="connsiteY36006" fmla="*/ 404390 h 4687251"/>
              <a:gd name="connsiteX36007" fmla="*/ 2128011 w 8079933"/>
              <a:gd name="connsiteY36007" fmla="*/ 406989 h 4687251"/>
              <a:gd name="connsiteX36008" fmla="*/ 2132460 w 8079933"/>
              <a:gd name="connsiteY36008" fmla="*/ 402225 h 4687251"/>
              <a:gd name="connsiteX36009" fmla="*/ 2136259 w 8079933"/>
              <a:gd name="connsiteY36009" fmla="*/ 402659 h 4687251"/>
              <a:gd name="connsiteX36010" fmla="*/ 2137127 w 8079933"/>
              <a:gd name="connsiteY36010" fmla="*/ 399952 h 4687251"/>
              <a:gd name="connsiteX36011" fmla="*/ 2136150 w 8079933"/>
              <a:gd name="connsiteY36011" fmla="*/ 398761 h 4687251"/>
              <a:gd name="connsiteX36012" fmla="*/ 2138863 w 8079933"/>
              <a:gd name="connsiteY36012" fmla="*/ 394322 h 4687251"/>
              <a:gd name="connsiteX36013" fmla="*/ 2139622 w 8079933"/>
              <a:gd name="connsiteY36013" fmla="*/ 389449 h 4687251"/>
              <a:gd name="connsiteX36014" fmla="*/ 2147001 w 8079933"/>
              <a:gd name="connsiteY36014" fmla="*/ 384144 h 4687251"/>
              <a:gd name="connsiteX36015" fmla="*/ 2149931 w 8079933"/>
              <a:gd name="connsiteY36015" fmla="*/ 383927 h 4687251"/>
              <a:gd name="connsiteX36016" fmla="*/ 2155791 w 8079933"/>
              <a:gd name="connsiteY36016" fmla="*/ 387717 h 4687251"/>
              <a:gd name="connsiteX36017" fmla="*/ 2158504 w 8079933"/>
              <a:gd name="connsiteY36017" fmla="*/ 395295 h 4687251"/>
              <a:gd name="connsiteX36018" fmla="*/ 2160566 w 8079933"/>
              <a:gd name="connsiteY36018" fmla="*/ 398869 h 4687251"/>
              <a:gd name="connsiteX36019" fmla="*/ 2159264 w 8079933"/>
              <a:gd name="connsiteY36019" fmla="*/ 405581 h 4687251"/>
              <a:gd name="connsiteX36020" fmla="*/ 2153187 w 8079933"/>
              <a:gd name="connsiteY36020" fmla="*/ 416841 h 4687251"/>
              <a:gd name="connsiteX36021" fmla="*/ 2147653 w 8079933"/>
              <a:gd name="connsiteY36021" fmla="*/ 421606 h 4687251"/>
              <a:gd name="connsiteX36022" fmla="*/ 2143203 w 8079933"/>
              <a:gd name="connsiteY36022" fmla="*/ 423663 h 4687251"/>
              <a:gd name="connsiteX36023" fmla="*/ 2139948 w 8079933"/>
              <a:gd name="connsiteY36023" fmla="*/ 423988 h 4687251"/>
              <a:gd name="connsiteX36024" fmla="*/ 2138754 w 8079933"/>
              <a:gd name="connsiteY36024" fmla="*/ 426045 h 4687251"/>
              <a:gd name="connsiteX36025" fmla="*/ 2139405 w 8079933"/>
              <a:gd name="connsiteY36025" fmla="*/ 429726 h 4687251"/>
              <a:gd name="connsiteX36026" fmla="*/ 2134414 w 8079933"/>
              <a:gd name="connsiteY36026" fmla="*/ 436547 h 4687251"/>
              <a:gd name="connsiteX36027" fmla="*/ 2130616 w 8079933"/>
              <a:gd name="connsiteY36027" fmla="*/ 436763 h 4687251"/>
              <a:gd name="connsiteX36028" fmla="*/ 2126166 w 8079933"/>
              <a:gd name="connsiteY36028" fmla="*/ 440012 h 4687251"/>
              <a:gd name="connsiteX36029" fmla="*/ 2126275 w 8079933"/>
              <a:gd name="connsiteY36029" fmla="*/ 443909 h 4687251"/>
              <a:gd name="connsiteX36030" fmla="*/ 2124538 w 8079933"/>
              <a:gd name="connsiteY36030" fmla="*/ 446400 h 4687251"/>
              <a:gd name="connsiteX36031" fmla="*/ 2121825 w 8079933"/>
              <a:gd name="connsiteY36031" fmla="*/ 446507 h 4687251"/>
              <a:gd name="connsiteX36032" fmla="*/ 2119655 w 8079933"/>
              <a:gd name="connsiteY36032" fmla="*/ 447807 h 4687251"/>
              <a:gd name="connsiteX36033" fmla="*/ 2119655 w 8079933"/>
              <a:gd name="connsiteY36033" fmla="*/ 450406 h 4687251"/>
              <a:gd name="connsiteX36034" fmla="*/ 2117485 w 8079933"/>
              <a:gd name="connsiteY36034" fmla="*/ 451597 h 4687251"/>
              <a:gd name="connsiteX36035" fmla="*/ 2114121 w 8079933"/>
              <a:gd name="connsiteY36035" fmla="*/ 448781 h 4687251"/>
              <a:gd name="connsiteX36036" fmla="*/ 2109998 w 8079933"/>
              <a:gd name="connsiteY36036" fmla="*/ 450622 h 4687251"/>
              <a:gd name="connsiteX36037" fmla="*/ 2106633 w 8079933"/>
              <a:gd name="connsiteY36037" fmla="*/ 449864 h 4687251"/>
              <a:gd name="connsiteX36038" fmla="*/ 2098820 w 8079933"/>
              <a:gd name="connsiteY36038" fmla="*/ 453762 h 4687251"/>
              <a:gd name="connsiteX36039" fmla="*/ 2091766 w 8079933"/>
              <a:gd name="connsiteY36039" fmla="*/ 454845 h 4687251"/>
              <a:gd name="connsiteX36040" fmla="*/ 2086123 w 8079933"/>
              <a:gd name="connsiteY36040" fmla="*/ 452354 h 4687251"/>
              <a:gd name="connsiteX36041" fmla="*/ 2084821 w 8079933"/>
              <a:gd name="connsiteY36041" fmla="*/ 449215 h 4687251"/>
              <a:gd name="connsiteX36042" fmla="*/ 2087643 w 8079933"/>
              <a:gd name="connsiteY36042" fmla="*/ 445317 h 4687251"/>
              <a:gd name="connsiteX36043" fmla="*/ 2087209 w 8079933"/>
              <a:gd name="connsiteY36043" fmla="*/ 442502 h 4687251"/>
              <a:gd name="connsiteX36044" fmla="*/ 2085690 w 8079933"/>
              <a:gd name="connsiteY36044" fmla="*/ 442177 h 4687251"/>
              <a:gd name="connsiteX36045" fmla="*/ 2080698 w 8079933"/>
              <a:gd name="connsiteY36045" fmla="*/ 444450 h 4687251"/>
              <a:gd name="connsiteX36046" fmla="*/ 2079612 w 8079933"/>
              <a:gd name="connsiteY36046" fmla="*/ 447374 h 4687251"/>
              <a:gd name="connsiteX36047" fmla="*/ 2075923 w 8079933"/>
              <a:gd name="connsiteY36047" fmla="*/ 448781 h 4687251"/>
              <a:gd name="connsiteX36048" fmla="*/ 2069955 w 8079933"/>
              <a:gd name="connsiteY36048" fmla="*/ 446940 h 4687251"/>
              <a:gd name="connsiteX36049" fmla="*/ 2069955 w 8079933"/>
              <a:gd name="connsiteY36049" fmla="*/ 444126 h 4687251"/>
              <a:gd name="connsiteX36050" fmla="*/ 2071908 w 8079933"/>
              <a:gd name="connsiteY36050" fmla="*/ 441636 h 4687251"/>
              <a:gd name="connsiteX36051" fmla="*/ 2070606 w 8079933"/>
              <a:gd name="connsiteY36051" fmla="*/ 438171 h 4687251"/>
              <a:gd name="connsiteX36052" fmla="*/ 2067459 w 8079933"/>
              <a:gd name="connsiteY36052" fmla="*/ 437089 h 4687251"/>
              <a:gd name="connsiteX36053" fmla="*/ 2067133 w 8079933"/>
              <a:gd name="connsiteY36053" fmla="*/ 439903 h 4687251"/>
              <a:gd name="connsiteX36054" fmla="*/ 2064312 w 8079933"/>
              <a:gd name="connsiteY36054" fmla="*/ 441744 h 4687251"/>
              <a:gd name="connsiteX36055" fmla="*/ 2060839 w 8079933"/>
              <a:gd name="connsiteY36055" fmla="*/ 441744 h 4687251"/>
              <a:gd name="connsiteX36056" fmla="*/ 2053243 w 8079933"/>
              <a:gd name="connsiteY36056" fmla="*/ 445101 h 4687251"/>
              <a:gd name="connsiteX36057" fmla="*/ 2050964 w 8079933"/>
              <a:gd name="connsiteY36057" fmla="*/ 446940 h 4687251"/>
              <a:gd name="connsiteX36058" fmla="*/ 2045972 w 8079933"/>
              <a:gd name="connsiteY36058" fmla="*/ 446832 h 4687251"/>
              <a:gd name="connsiteX36059" fmla="*/ 2044237 w 8079933"/>
              <a:gd name="connsiteY36059" fmla="*/ 445209 h 4687251"/>
              <a:gd name="connsiteX36060" fmla="*/ 2038159 w 8079933"/>
              <a:gd name="connsiteY36060" fmla="*/ 445966 h 4687251"/>
              <a:gd name="connsiteX36061" fmla="*/ 2035229 w 8079933"/>
              <a:gd name="connsiteY36061" fmla="*/ 443801 h 4687251"/>
              <a:gd name="connsiteX36062" fmla="*/ 2033276 w 8079933"/>
              <a:gd name="connsiteY36062" fmla="*/ 446616 h 4687251"/>
              <a:gd name="connsiteX36063" fmla="*/ 2029803 w 8079933"/>
              <a:gd name="connsiteY36063" fmla="*/ 446400 h 4687251"/>
              <a:gd name="connsiteX36064" fmla="*/ 2026440 w 8079933"/>
              <a:gd name="connsiteY36064" fmla="*/ 448024 h 4687251"/>
              <a:gd name="connsiteX36065" fmla="*/ 2025680 w 8079933"/>
              <a:gd name="connsiteY36065" fmla="*/ 451813 h 4687251"/>
              <a:gd name="connsiteX36066" fmla="*/ 2023292 w 8079933"/>
              <a:gd name="connsiteY36066" fmla="*/ 453762 h 4687251"/>
              <a:gd name="connsiteX36067" fmla="*/ 2017649 w 8079933"/>
              <a:gd name="connsiteY36067" fmla="*/ 453870 h 4687251"/>
              <a:gd name="connsiteX36068" fmla="*/ 2016564 w 8079933"/>
              <a:gd name="connsiteY36068" fmla="*/ 456360 h 4687251"/>
              <a:gd name="connsiteX36069" fmla="*/ 2011681 w 8079933"/>
              <a:gd name="connsiteY36069" fmla="*/ 457877 h 4687251"/>
              <a:gd name="connsiteX36070" fmla="*/ 2010053 w 8079933"/>
              <a:gd name="connsiteY36070" fmla="*/ 457118 h 4687251"/>
              <a:gd name="connsiteX36071" fmla="*/ 2005062 w 8079933"/>
              <a:gd name="connsiteY36071" fmla="*/ 459283 h 4687251"/>
              <a:gd name="connsiteX36072" fmla="*/ 1999744 w 8079933"/>
              <a:gd name="connsiteY36072" fmla="*/ 459283 h 4687251"/>
              <a:gd name="connsiteX36073" fmla="*/ 1998117 w 8079933"/>
              <a:gd name="connsiteY36073" fmla="*/ 456685 h 4687251"/>
              <a:gd name="connsiteX36074" fmla="*/ 1991606 w 8079933"/>
              <a:gd name="connsiteY36074" fmla="*/ 456794 h 4687251"/>
              <a:gd name="connsiteX36075" fmla="*/ 1985312 w 8079933"/>
              <a:gd name="connsiteY36075" fmla="*/ 458742 h 4687251"/>
              <a:gd name="connsiteX36076" fmla="*/ 1978258 w 8079933"/>
              <a:gd name="connsiteY36076" fmla="*/ 458742 h 4687251"/>
              <a:gd name="connsiteX36077" fmla="*/ 1971204 w 8079933"/>
              <a:gd name="connsiteY36077" fmla="*/ 455278 h 4687251"/>
              <a:gd name="connsiteX36078" fmla="*/ 1965019 w 8079933"/>
              <a:gd name="connsiteY36078" fmla="*/ 454087 h 4687251"/>
              <a:gd name="connsiteX36079" fmla="*/ 1961981 w 8079933"/>
              <a:gd name="connsiteY36079" fmla="*/ 449648 h 4687251"/>
              <a:gd name="connsiteX36080" fmla="*/ 1957314 w 8079933"/>
              <a:gd name="connsiteY36080" fmla="*/ 444667 h 4687251"/>
              <a:gd name="connsiteX36081" fmla="*/ 1958725 w 8079933"/>
              <a:gd name="connsiteY36081" fmla="*/ 439470 h 4687251"/>
              <a:gd name="connsiteX36082" fmla="*/ 1958074 w 8079933"/>
              <a:gd name="connsiteY36082" fmla="*/ 435789 h 4687251"/>
              <a:gd name="connsiteX36083" fmla="*/ 1958725 w 8079933"/>
              <a:gd name="connsiteY36083" fmla="*/ 428210 h 4687251"/>
              <a:gd name="connsiteX36084" fmla="*/ 1965887 w 8079933"/>
              <a:gd name="connsiteY36084" fmla="*/ 426802 h 4687251"/>
              <a:gd name="connsiteX36085" fmla="*/ 1973158 w 8079933"/>
              <a:gd name="connsiteY36085" fmla="*/ 428860 h 4687251"/>
              <a:gd name="connsiteX36086" fmla="*/ 1976631 w 8079933"/>
              <a:gd name="connsiteY36086" fmla="*/ 426478 h 4687251"/>
              <a:gd name="connsiteX36087" fmla="*/ 1982165 w 8079933"/>
              <a:gd name="connsiteY36087" fmla="*/ 427777 h 4687251"/>
              <a:gd name="connsiteX36088" fmla="*/ 1986614 w 8079933"/>
              <a:gd name="connsiteY36088" fmla="*/ 427128 h 4687251"/>
              <a:gd name="connsiteX36089" fmla="*/ 1992908 w 8079933"/>
              <a:gd name="connsiteY36089" fmla="*/ 423663 h 4687251"/>
              <a:gd name="connsiteX36090" fmla="*/ 2000395 w 8079933"/>
              <a:gd name="connsiteY36090" fmla="*/ 423663 h 4687251"/>
              <a:gd name="connsiteX36091" fmla="*/ 2007666 w 8079933"/>
              <a:gd name="connsiteY36091" fmla="*/ 426478 h 4687251"/>
              <a:gd name="connsiteX36092" fmla="*/ 2013526 w 8079933"/>
              <a:gd name="connsiteY36092" fmla="*/ 426478 h 4687251"/>
              <a:gd name="connsiteX36093" fmla="*/ 2016673 w 8079933"/>
              <a:gd name="connsiteY36093" fmla="*/ 427777 h 4687251"/>
              <a:gd name="connsiteX36094" fmla="*/ 2020471 w 8079933"/>
              <a:gd name="connsiteY36094" fmla="*/ 424420 h 4687251"/>
              <a:gd name="connsiteX36095" fmla="*/ 2032191 w 8079933"/>
              <a:gd name="connsiteY36095" fmla="*/ 423988 h 4687251"/>
              <a:gd name="connsiteX36096" fmla="*/ 2033276 w 8079933"/>
              <a:gd name="connsiteY36096" fmla="*/ 420956 h 4687251"/>
              <a:gd name="connsiteX36097" fmla="*/ 2035989 w 8079933"/>
              <a:gd name="connsiteY36097" fmla="*/ 418574 h 4687251"/>
              <a:gd name="connsiteX36098" fmla="*/ 2034253 w 8079933"/>
              <a:gd name="connsiteY36098" fmla="*/ 416084 h 4687251"/>
              <a:gd name="connsiteX36099" fmla="*/ 2031214 w 8079933"/>
              <a:gd name="connsiteY36099" fmla="*/ 419549 h 4687251"/>
              <a:gd name="connsiteX36100" fmla="*/ 2024595 w 8079933"/>
              <a:gd name="connsiteY36100" fmla="*/ 419549 h 4687251"/>
              <a:gd name="connsiteX36101" fmla="*/ 2024269 w 8079933"/>
              <a:gd name="connsiteY36101" fmla="*/ 416841 h 4687251"/>
              <a:gd name="connsiteX36102" fmla="*/ 2017324 w 8079933"/>
              <a:gd name="connsiteY36102" fmla="*/ 419873 h 4687251"/>
              <a:gd name="connsiteX36103" fmla="*/ 2011464 w 8079933"/>
              <a:gd name="connsiteY36103" fmla="*/ 419873 h 4687251"/>
              <a:gd name="connsiteX36104" fmla="*/ 2011464 w 8079933"/>
              <a:gd name="connsiteY36104" fmla="*/ 416084 h 4687251"/>
              <a:gd name="connsiteX36105" fmla="*/ 2008426 w 8079933"/>
              <a:gd name="connsiteY36105" fmla="*/ 413702 h 4687251"/>
              <a:gd name="connsiteX36106" fmla="*/ 2004953 w 8079933"/>
              <a:gd name="connsiteY36106" fmla="*/ 416517 h 4687251"/>
              <a:gd name="connsiteX36107" fmla="*/ 1999744 w 8079933"/>
              <a:gd name="connsiteY36107" fmla="*/ 417166 h 4687251"/>
              <a:gd name="connsiteX36108" fmla="*/ 1995946 w 8079933"/>
              <a:gd name="connsiteY36108" fmla="*/ 418141 h 4687251"/>
              <a:gd name="connsiteX36109" fmla="*/ 1993559 w 8079933"/>
              <a:gd name="connsiteY36109" fmla="*/ 416517 h 4687251"/>
              <a:gd name="connsiteX36110" fmla="*/ 1989110 w 8079933"/>
              <a:gd name="connsiteY36110" fmla="*/ 417491 h 4687251"/>
              <a:gd name="connsiteX36111" fmla="*/ 1983141 w 8079933"/>
              <a:gd name="connsiteY36111" fmla="*/ 415759 h 4687251"/>
              <a:gd name="connsiteX36112" fmla="*/ 1983141 w 8079933"/>
              <a:gd name="connsiteY36112" fmla="*/ 411645 h 4687251"/>
              <a:gd name="connsiteX36113" fmla="*/ 1988350 w 8079933"/>
              <a:gd name="connsiteY36113" fmla="*/ 407855 h 4687251"/>
              <a:gd name="connsiteX36114" fmla="*/ 1993884 w 8079933"/>
              <a:gd name="connsiteY36114" fmla="*/ 403741 h 4687251"/>
              <a:gd name="connsiteX36115" fmla="*/ 1990846 w 8079933"/>
              <a:gd name="connsiteY36115" fmla="*/ 403416 h 4687251"/>
              <a:gd name="connsiteX36116" fmla="*/ 1985637 w 8079933"/>
              <a:gd name="connsiteY36116" fmla="*/ 404390 h 4687251"/>
              <a:gd name="connsiteX36117" fmla="*/ 1982490 w 8079933"/>
              <a:gd name="connsiteY36117" fmla="*/ 408180 h 4687251"/>
              <a:gd name="connsiteX36118" fmla="*/ 1980102 w 8079933"/>
              <a:gd name="connsiteY36118" fmla="*/ 403092 h 4687251"/>
              <a:gd name="connsiteX36119" fmla="*/ 1978366 w 8079933"/>
              <a:gd name="connsiteY36119" fmla="*/ 405040 h 4687251"/>
              <a:gd name="connsiteX36120" fmla="*/ 1977716 w 8079933"/>
              <a:gd name="connsiteY36120" fmla="*/ 409587 h 4687251"/>
              <a:gd name="connsiteX36121" fmla="*/ 1969685 w 8079933"/>
              <a:gd name="connsiteY36121" fmla="*/ 413702 h 4687251"/>
              <a:gd name="connsiteX36122" fmla="*/ 1968383 w 8079933"/>
              <a:gd name="connsiteY36122" fmla="*/ 416841 h 4687251"/>
              <a:gd name="connsiteX36123" fmla="*/ 1964259 w 8079933"/>
              <a:gd name="connsiteY36123" fmla="*/ 417816 h 4687251"/>
              <a:gd name="connsiteX36124" fmla="*/ 1958725 w 8079933"/>
              <a:gd name="connsiteY36124" fmla="*/ 414026 h 4687251"/>
              <a:gd name="connsiteX36125" fmla="*/ 1959051 w 8079933"/>
              <a:gd name="connsiteY36125" fmla="*/ 410237 h 4687251"/>
              <a:gd name="connsiteX36126" fmla="*/ 1961438 w 8079933"/>
              <a:gd name="connsiteY36126" fmla="*/ 406773 h 4687251"/>
              <a:gd name="connsiteX36127" fmla="*/ 1957314 w 8079933"/>
              <a:gd name="connsiteY36127" fmla="*/ 407206 h 4687251"/>
              <a:gd name="connsiteX36128" fmla="*/ 1955252 w 8079933"/>
              <a:gd name="connsiteY36128" fmla="*/ 405473 h 4687251"/>
              <a:gd name="connsiteX36129" fmla="*/ 1954601 w 8079933"/>
              <a:gd name="connsiteY36129" fmla="*/ 411645 h 4687251"/>
              <a:gd name="connsiteX36130" fmla="*/ 1951455 w 8079933"/>
              <a:gd name="connsiteY36130" fmla="*/ 414026 h 4687251"/>
              <a:gd name="connsiteX36131" fmla="*/ 1947005 w 8079933"/>
              <a:gd name="connsiteY36131" fmla="*/ 411969 h 4687251"/>
              <a:gd name="connsiteX36132" fmla="*/ 1947331 w 8079933"/>
              <a:gd name="connsiteY36132" fmla="*/ 406448 h 4687251"/>
              <a:gd name="connsiteX36133" fmla="*/ 1942122 w 8079933"/>
              <a:gd name="connsiteY36133" fmla="*/ 402659 h 4687251"/>
              <a:gd name="connsiteX36134" fmla="*/ 1943532 w 8079933"/>
              <a:gd name="connsiteY36134" fmla="*/ 398869 h 4687251"/>
              <a:gd name="connsiteX36135" fmla="*/ 1940711 w 8079933"/>
              <a:gd name="connsiteY36135" fmla="*/ 397894 h 4687251"/>
              <a:gd name="connsiteX36136" fmla="*/ 1940060 w 8079933"/>
              <a:gd name="connsiteY36136" fmla="*/ 402659 h 4687251"/>
              <a:gd name="connsiteX36137" fmla="*/ 1937347 w 8079933"/>
              <a:gd name="connsiteY36137" fmla="*/ 402333 h 4687251"/>
              <a:gd name="connsiteX36138" fmla="*/ 1932464 w 8079933"/>
              <a:gd name="connsiteY36138" fmla="*/ 395404 h 4687251"/>
              <a:gd name="connsiteX36139" fmla="*/ 1924217 w 8079933"/>
              <a:gd name="connsiteY36139" fmla="*/ 390316 h 4687251"/>
              <a:gd name="connsiteX36140" fmla="*/ 1924217 w 8079933"/>
              <a:gd name="connsiteY36140" fmla="*/ 388259 h 4687251"/>
              <a:gd name="connsiteX36141" fmla="*/ 1929751 w 8079933"/>
              <a:gd name="connsiteY36141" fmla="*/ 387933 h 4687251"/>
              <a:gd name="connsiteX36142" fmla="*/ 1929751 w 8079933"/>
              <a:gd name="connsiteY36142" fmla="*/ 383386 h 4687251"/>
              <a:gd name="connsiteX36143" fmla="*/ 1927580 w 8079933"/>
              <a:gd name="connsiteY36143" fmla="*/ 380355 h 4687251"/>
              <a:gd name="connsiteX36144" fmla="*/ 1936913 w 8079933"/>
              <a:gd name="connsiteY36144" fmla="*/ 374075 h 4687251"/>
              <a:gd name="connsiteX36145" fmla="*/ 1942122 w 8079933"/>
              <a:gd name="connsiteY36145" fmla="*/ 372776 h 4687251"/>
              <a:gd name="connsiteX36146" fmla="*/ 1944509 w 8079933"/>
              <a:gd name="connsiteY36146" fmla="*/ 374075 h 4687251"/>
              <a:gd name="connsiteX36147" fmla="*/ 1953191 w 8079933"/>
              <a:gd name="connsiteY36147" fmla="*/ 373749 h 4687251"/>
              <a:gd name="connsiteX36148" fmla="*/ 1959051 w 8079933"/>
              <a:gd name="connsiteY36148" fmla="*/ 377540 h 4687251"/>
              <a:gd name="connsiteX36149" fmla="*/ 1964910 w 8079933"/>
              <a:gd name="connsiteY36149" fmla="*/ 378297 h 4687251"/>
              <a:gd name="connsiteX36150" fmla="*/ 1968383 w 8079933"/>
              <a:gd name="connsiteY36150" fmla="*/ 375482 h 4687251"/>
              <a:gd name="connsiteX36151" fmla="*/ 1974243 w 8079933"/>
              <a:gd name="connsiteY36151" fmla="*/ 375157 h 4687251"/>
              <a:gd name="connsiteX36152" fmla="*/ 1979777 w 8079933"/>
              <a:gd name="connsiteY36152" fmla="*/ 371367 h 4687251"/>
              <a:gd name="connsiteX36153" fmla="*/ 1976304 w 8079933"/>
              <a:gd name="connsiteY36153" fmla="*/ 368987 h 4687251"/>
              <a:gd name="connsiteX36154" fmla="*/ 1973917 w 8079933"/>
              <a:gd name="connsiteY36154" fmla="*/ 366929 h 4687251"/>
              <a:gd name="connsiteX36155" fmla="*/ 1968708 w 8079933"/>
              <a:gd name="connsiteY36155" fmla="*/ 366929 h 4687251"/>
              <a:gd name="connsiteX36156" fmla="*/ 1963825 w 8079933"/>
              <a:gd name="connsiteY36156" fmla="*/ 368228 h 4687251"/>
              <a:gd name="connsiteX36157" fmla="*/ 1955904 w 8079933"/>
              <a:gd name="connsiteY36157" fmla="*/ 365197 h 4687251"/>
              <a:gd name="connsiteX36158" fmla="*/ 1950803 w 8079933"/>
              <a:gd name="connsiteY36158" fmla="*/ 365197 h 4687251"/>
              <a:gd name="connsiteX36159" fmla="*/ 1949393 w 8079933"/>
              <a:gd name="connsiteY36159" fmla="*/ 363464 h 4687251"/>
              <a:gd name="connsiteX36160" fmla="*/ 1956229 w 8079933"/>
              <a:gd name="connsiteY36160" fmla="*/ 356860 h 4687251"/>
              <a:gd name="connsiteX36161" fmla="*/ 1961764 w 8079933"/>
              <a:gd name="connsiteY36161" fmla="*/ 350364 h 4687251"/>
              <a:gd name="connsiteX36162" fmla="*/ 1966647 w 8079933"/>
              <a:gd name="connsiteY36162" fmla="*/ 349714 h 4687251"/>
              <a:gd name="connsiteX36163" fmla="*/ 1969685 w 8079933"/>
              <a:gd name="connsiteY36163" fmla="*/ 350688 h 4687251"/>
              <a:gd name="connsiteX36164" fmla="*/ 1978692 w 8079933"/>
              <a:gd name="connsiteY36164" fmla="*/ 348956 h 4687251"/>
              <a:gd name="connsiteX36165" fmla="*/ 1989110 w 8079933"/>
              <a:gd name="connsiteY36165" fmla="*/ 350039 h 4687251"/>
              <a:gd name="connsiteX36166" fmla="*/ 1994969 w 8079933"/>
              <a:gd name="connsiteY36166" fmla="*/ 351771 h 4687251"/>
              <a:gd name="connsiteX36167" fmla="*/ 1997357 w 8079933"/>
              <a:gd name="connsiteY36167" fmla="*/ 350688 h 4687251"/>
              <a:gd name="connsiteX36168" fmla="*/ 1995946 w 8079933"/>
              <a:gd name="connsiteY36168" fmla="*/ 347982 h 4687251"/>
              <a:gd name="connsiteX36169" fmla="*/ 1993233 w 8079933"/>
              <a:gd name="connsiteY36169" fmla="*/ 347982 h 4687251"/>
              <a:gd name="connsiteX36170" fmla="*/ 1988350 w 8079933"/>
              <a:gd name="connsiteY36170" fmla="*/ 345492 h 4687251"/>
              <a:gd name="connsiteX36171" fmla="*/ 1983575 w 8079933"/>
              <a:gd name="connsiteY36171" fmla="*/ 345492 h 4687251"/>
              <a:gd name="connsiteX36172" fmla="*/ 1973917 w 8079933"/>
              <a:gd name="connsiteY36172" fmla="*/ 342784 h 4687251"/>
              <a:gd name="connsiteX36173" fmla="*/ 1970770 w 8079933"/>
              <a:gd name="connsiteY36173" fmla="*/ 338671 h 4687251"/>
              <a:gd name="connsiteX36174" fmla="*/ 1976304 w 8079933"/>
              <a:gd name="connsiteY36174" fmla="*/ 334556 h 4687251"/>
              <a:gd name="connsiteX36175" fmla="*/ 1979017 w 8079933"/>
              <a:gd name="connsiteY36175" fmla="*/ 330334 h 4687251"/>
              <a:gd name="connsiteX36176" fmla="*/ 1982165 w 8079933"/>
              <a:gd name="connsiteY36176" fmla="*/ 327952 h 4687251"/>
              <a:gd name="connsiteX36177" fmla="*/ 1985312 w 8079933"/>
              <a:gd name="connsiteY36177" fmla="*/ 327952 h 4687251"/>
              <a:gd name="connsiteX36178" fmla="*/ 1990846 w 8079933"/>
              <a:gd name="connsiteY36178" fmla="*/ 325246 h 4687251"/>
              <a:gd name="connsiteX36179" fmla="*/ 1994969 w 8079933"/>
              <a:gd name="connsiteY36179" fmla="*/ 325246 h 4687251"/>
              <a:gd name="connsiteX36180" fmla="*/ 1996706 w 8079933"/>
              <a:gd name="connsiteY36180" fmla="*/ 327627 h 4687251"/>
              <a:gd name="connsiteX36181" fmla="*/ 2000829 w 8079933"/>
              <a:gd name="connsiteY36181" fmla="*/ 327627 h 4687251"/>
              <a:gd name="connsiteX36182" fmla="*/ 2005930 w 8079933"/>
              <a:gd name="connsiteY36182" fmla="*/ 332065 h 4687251"/>
              <a:gd name="connsiteX36183" fmla="*/ 2009077 w 8079933"/>
              <a:gd name="connsiteY36183" fmla="*/ 333473 h 4687251"/>
              <a:gd name="connsiteX36184" fmla="*/ 2007015 w 8079933"/>
              <a:gd name="connsiteY36184" fmla="*/ 329034 h 4687251"/>
              <a:gd name="connsiteX36185" fmla="*/ 2001806 w 8079933"/>
              <a:gd name="connsiteY36185" fmla="*/ 325246 h 4687251"/>
              <a:gd name="connsiteX36186" fmla="*/ 2001155 w 8079933"/>
              <a:gd name="connsiteY36186" fmla="*/ 321455 h 4687251"/>
              <a:gd name="connsiteX36187" fmla="*/ 1999093 w 8079933"/>
              <a:gd name="connsiteY36187" fmla="*/ 319399 h 4687251"/>
              <a:gd name="connsiteX36188" fmla="*/ 2001806 w 8079933"/>
              <a:gd name="connsiteY36188" fmla="*/ 316583 h 4687251"/>
              <a:gd name="connsiteX36189" fmla="*/ 4755850 w 8079933"/>
              <a:gd name="connsiteY36189" fmla="*/ 309763 h 4687251"/>
              <a:gd name="connsiteX36190" fmla="*/ 4757912 w 8079933"/>
              <a:gd name="connsiteY36190" fmla="*/ 312470 h 4687251"/>
              <a:gd name="connsiteX36191" fmla="*/ 4758563 w 8079933"/>
              <a:gd name="connsiteY36191" fmla="*/ 316151 h 4687251"/>
              <a:gd name="connsiteX36192" fmla="*/ 4757043 w 8079933"/>
              <a:gd name="connsiteY36192" fmla="*/ 318858 h 4687251"/>
              <a:gd name="connsiteX36193" fmla="*/ 4753680 w 8079933"/>
              <a:gd name="connsiteY36193" fmla="*/ 319618 h 4687251"/>
              <a:gd name="connsiteX36194" fmla="*/ 4748688 w 8079933"/>
              <a:gd name="connsiteY36194" fmla="*/ 318208 h 4687251"/>
              <a:gd name="connsiteX36195" fmla="*/ 4747386 w 8079933"/>
              <a:gd name="connsiteY36195" fmla="*/ 315177 h 4687251"/>
              <a:gd name="connsiteX36196" fmla="*/ 4750749 w 8079933"/>
              <a:gd name="connsiteY36196" fmla="*/ 314094 h 4687251"/>
              <a:gd name="connsiteX36197" fmla="*/ 4753462 w 8079933"/>
              <a:gd name="connsiteY36197" fmla="*/ 310630 h 4687251"/>
              <a:gd name="connsiteX36198" fmla="*/ 6366671 w 8079933"/>
              <a:gd name="connsiteY36198" fmla="*/ 305325 h 4687251"/>
              <a:gd name="connsiteX36199" fmla="*/ 6370035 w 8079933"/>
              <a:gd name="connsiteY36199" fmla="*/ 306081 h 4687251"/>
              <a:gd name="connsiteX36200" fmla="*/ 6372313 w 8079933"/>
              <a:gd name="connsiteY36200" fmla="*/ 311712 h 4687251"/>
              <a:gd name="connsiteX36201" fmla="*/ 6378716 w 8079933"/>
              <a:gd name="connsiteY36201" fmla="*/ 318208 h 4687251"/>
              <a:gd name="connsiteX36202" fmla="*/ 6379694 w 8079933"/>
              <a:gd name="connsiteY36202" fmla="*/ 322864 h 4687251"/>
              <a:gd name="connsiteX36203" fmla="*/ 6377088 w 8079933"/>
              <a:gd name="connsiteY36203" fmla="*/ 326871 h 4687251"/>
              <a:gd name="connsiteX36204" fmla="*/ 6375352 w 8079933"/>
              <a:gd name="connsiteY36204" fmla="*/ 331525 h 4687251"/>
              <a:gd name="connsiteX36205" fmla="*/ 6376437 w 8079933"/>
              <a:gd name="connsiteY36205" fmla="*/ 333259 h 4687251"/>
              <a:gd name="connsiteX36206" fmla="*/ 6374159 w 8079933"/>
              <a:gd name="connsiteY36206" fmla="*/ 335099 h 4687251"/>
              <a:gd name="connsiteX36207" fmla="*/ 6369709 w 8079933"/>
              <a:gd name="connsiteY36207" fmla="*/ 333042 h 4687251"/>
              <a:gd name="connsiteX36208" fmla="*/ 6365369 w 8079933"/>
              <a:gd name="connsiteY36208" fmla="*/ 327196 h 4687251"/>
              <a:gd name="connsiteX36209" fmla="*/ 6361462 w 8079933"/>
              <a:gd name="connsiteY36209" fmla="*/ 326005 h 4687251"/>
              <a:gd name="connsiteX36210" fmla="*/ 6359726 w 8079933"/>
              <a:gd name="connsiteY36210" fmla="*/ 323081 h 4687251"/>
              <a:gd name="connsiteX36211" fmla="*/ 6360485 w 8079933"/>
              <a:gd name="connsiteY36211" fmla="*/ 320483 h 4687251"/>
              <a:gd name="connsiteX36212" fmla="*/ 6357122 w 8079933"/>
              <a:gd name="connsiteY36212" fmla="*/ 315393 h 4687251"/>
              <a:gd name="connsiteX36213" fmla="*/ 6356579 w 8079933"/>
              <a:gd name="connsiteY36213" fmla="*/ 311279 h 4687251"/>
              <a:gd name="connsiteX36214" fmla="*/ 6361137 w 8079933"/>
              <a:gd name="connsiteY36214" fmla="*/ 306732 h 4687251"/>
              <a:gd name="connsiteX36215" fmla="*/ 4739356 w 8079933"/>
              <a:gd name="connsiteY36215" fmla="*/ 301642 h 4687251"/>
              <a:gd name="connsiteX36216" fmla="*/ 4743154 w 8079933"/>
              <a:gd name="connsiteY36216" fmla="*/ 303160 h 4687251"/>
              <a:gd name="connsiteX36217" fmla="*/ 4743588 w 8079933"/>
              <a:gd name="connsiteY36217" fmla="*/ 305866 h 4687251"/>
              <a:gd name="connsiteX36218" fmla="*/ 4742177 w 8079933"/>
              <a:gd name="connsiteY36218" fmla="*/ 310847 h 4687251"/>
              <a:gd name="connsiteX36219" fmla="*/ 4740224 w 8079933"/>
              <a:gd name="connsiteY36219" fmla="*/ 312254 h 4687251"/>
              <a:gd name="connsiteX36220" fmla="*/ 4737294 w 8079933"/>
              <a:gd name="connsiteY36220" fmla="*/ 309548 h 4687251"/>
              <a:gd name="connsiteX36221" fmla="*/ 4738704 w 8079933"/>
              <a:gd name="connsiteY36221" fmla="*/ 306190 h 4687251"/>
              <a:gd name="connsiteX36222" fmla="*/ 4738379 w 8079933"/>
              <a:gd name="connsiteY36222" fmla="*/ 303700 h 4687251"/>
              <a:gd name="connsiteX36223" fmla="*/ 2434353 w 8079933"/>
              <a:gd name="connsiteY36223" fmla="*/ 301425 h 4687251"/>
              <a:gd name="connsiteX36224" fmla="*/ 2435330 w 8079933"/>
              <a:gd name="connsiteY36224" fmla="*/ 309438 h 4687251"/>
              <a:gd name="connsiteX36225" fmla="*/ 2434136 w 8079933"/>
              <a:gd name="connsiteY36225" fmla="*/ 313119 h 4687251"/>
              <a:gd name="connsiteX36226" fmla="*/ 2431966 w 8079933"/>
              <a:gd name="connsiteY36226" fmla="*/ 313444 h 4687251"/>
              <a:gd name="connsiteX36227" fmla="*/ 2430664 w 8079933"/>
              <a:gd name="connsiteY36227" fmla="*/ 309655 h 4687251"/>
              <a:gd name="connsiteX36228" fmla="*/ 2430555 w 8079933"/>
              <a:gd name="connsiteY36228" fmla="*/ 304132 h 4687251"/>
              <a:gd name="connsiteX36229" fmla="*/ 2431748 w 8079933"/>
              <a:gd name="connsiteY36229" fmla="*/ 301534 h 4687251"/>
              <a:gd name="connsiteX36230" fmla="*/ 4777010 w 8079933"/>
              <a:gd name="connsiteY36230" fmla="*/ 301102 h 4687251"/>
              <a:gd name="connsiteX36231" fmla="*/ 4780375 w 8079933"/>
              <a:gd name="connsiteY36231" fmla="*/ 303807 h 4687251"/>
              <a:gd name="connsiteX36232" fmla="*/ 4784064 w 8079933"/>
              <a:gd name="connsiteY36232" fmla="*/ 309871 h 4687251"/>
              <a:gd name="connsiteX36233" fmla="*/ 4783305 w 8079933"/>
              <a:gd name="connsiteY36233" fmla="*/ 313769 h 4687251"/>
              <a:gd name="connsiteX36234" fmla="*/ 4784064 w 8079933"/>
              <a:gd name="connsiteY36234" fmla="*/ 319290 h 4687251"/>
              <a:gd name="connsiteX36235" fmla="*/ 4786994 w 8079933"/>
              <a:gd name="connsiteY36235" fmla="*/ 323406 h 4687251"/>
              <a:gd name="connsiteX36236" fmla="*/ 4786668 w 8079933"/>
              <a:gd name="connsiteY36236" fmla="*/ 326545 h 4687251"/>
              <a:gd name="connsiteX36237" fmla="*/ 4780917 w 8079933"/>
              <a:gd name="connsiteY36237" fmla="*/ 326219 h 4687251"/>
              <a:gd name="connsiteX36238" fmla="*/ 4774081 w 8079933"/>
              <a:gd name="connsiteY36238" fmla="*/ 328926 h 4687251"/>
              <a:gd name="connsiteX36239" fmla="*/ 4770717 w 8079933"/>
              <a:gd name="connsiteY36239" fmla="*/ 327736 h 4687251"/>
              <a:gd name="connsiteX36240" fmla="*/ 4767678 w 8079933"/>
              <a:gd name="connsiteY36240" fmla="*/ 324813 h 4687251"/>
              <a:gd name="connsiteX36241" fmla="*/ 4766268 w 8079933"/>
              <a:gd name="connsiteY36241" fmla="*/ 316909 h 4687251"/>
              <a:gd name="connsiteX36242" fmla="*/ 4762361 w 8079933"/>
              <a:gd name="connsiteY36242" fmla="*/ 311279 h 4687251"/>
              <a:gd name="connsiteX36243" fmla="*/ 4763555 w 8079933"/>
              <a:gd name="connsiteY36243" fmla="*/ 307489 h 4687251"/>
              <a:gd name="connsiteX36244" fmla="*/ 4768872 w 8079933"/>
              <a:gd name="connsiteY36244" fmla="*/ 304024 h 4687251"/>
              <a:gd name="connsiteX36245" fmla="*/ 4774732 w 8079933"/>
              <a:gd name="connsiteY36245" fmla="*/ 303267 h 4687251"/>
              <a:gd name="connsiteX36246" fmla="*/ 4753680 w 8079933"/>
              <a:gd name="connsiteY36246" fmla="*/ 299910 h 4687251"/>
              <a:gd name="connsiteX36247" fmla="*/ 4753463 w 8079933"/>
              <a:gd name="connsiteY36247" fmla="*/ 303160 h 4687251"/>
              <a:gd name="connsiteX36248" fmla="*/ 4751618 w 8079933"/>
              <a:gd name="connsiteY36248" fmla="*/ 305864 h 4687251"/>
              <a:gd name="connsiteX36249" fmla="*/ 4749882 w 8079933"/>
              <a:gd name="connsiteY36249" fmla="*/ 306407 h 4687251"/>
              <a:gd name="connsiteX36250" fmla="*/ 4750859 w 8079933"/>
              <a:gd name="connsiteY36250" fmla="*/ 301535 h 4687251"/>
              <a:gd name="connsiteX36251" fmla="*/ 4763663 w 8079933"/>
              <a:gd name="connsiteY36251" fmla="*/ 299586 h 4687251"/>
              <a:gd name="connsiteX36252" fmla="*/ 4765182 w 8079933"/>
              <a:gd name="connsiteY36252" fmla="*/ 301425 h 4687251"/>
              <a:gd name="connsiteX36253" fmla="*/ 4763771 w 8079933"/>
              <a:gd name="connsiteY36253" fmla="*/ 304024 h 4687251"/>
              <a:gd name="connsiteX36254" fmla="*/ 4760299 w 8079933"/>
              <a:gd name="connsiteY36254" fmla="*/ 305107 h 4687251"/>
              <a:gd name="connsiteX36255" fmla="*/ 4757260 w 8079933"/>
              <a:gd name="connsiteY36255" fmla="*/ 304240 h 4687251"/>
              <a:gd name="connsiteX36256" fmla="*/ 4756718 w 8079933"/>
              <a:gd name="connsiteY36256" fmla="*/ 302508 h 4687251"/>
              <a:gd name="connsiteX36257" fmla="*/ 4759540 w 8079933"/>
              <a:gd name="connsiteY36257" fmla="*/ 301425 h 4687251"/>
              <a:gd name="connsiteX36258" fmla="*/ 4760516 w 8079933"/>
              <a:gd name="connsiteY36258" fmla="*/ 299693 h 4687251"/>
              <a:gd name="connsiteX36259" fmla="*/ 5669452 w 8079933"/>
              <a:gd name="connsiteY36259" fmla="*/ 297854 h 4687251"/>
              <a:gd name="connsiteX36260" fmla="*/ 5674335 w 8079933"/>
              <a:gd name="connsiteY36260" fmla="*/ 298503 h 4687251"/>
              <a:gd name="connsiteX36261" fmla="*/ 5677374 w 8079933"/>
              <a:gd name="connsiteY36261" fmla="*/ 305324 h 4687251"/>
              <a:gd name="connsiteX36262" fmla="*/ 5675854 w 8079933"/>
              <a:gd name="connsiteY36262" fmla="*/ 310304 h 4687251"/>
              <a:gd name="connsiteX36263" fmla="*/ 5671405 w 8079933"/>
              <a:gd name="connsiteY36263" fmla="*/ 312252 h 4687251"/>
              <a:gd name="connsiteX36264" fmla="*/ 5670863 w 8079933"/>
              <a:gd name="connsiteY36264" fmla="*/ 310196 h 4687251"/>
              <a:gd name="connsiteX36265" fmla="*/ 5671839 w 8079933"/>
              <a:gd name="connsiteY36265" fmla="*/ 308354 h 4687251"/>
              <a:gd name="connsiteX36266" fmla="*/ 5667390 w 8079933"/>
              <a:gd name="connsiteY36266" fmla="*/ 302618 h 4687251"/>
              <a:gd name="connsiteX36267" fmla="*/ 5667390 w 8079933"/>
              <a:gd name="connsiteY36267" fmla="*/ 298827 h 4687251"/>
              <a:gd name="connsiteX36268" fmla="*/ 4721884 w 8079933"/>
              <a:gd name="connsiteY36268" fmla="*/ 295039 h 4687251"/>
              <a:gd name="connsiteX36269" fmla="*/ 4724379 w 8079933"/>
              <a:gd name="connsiteY36269" fmla="*/ 296122 h 4687251"/>
              <a:gd name="connsiteX36270" fmla="*/ 4724706 w 8079933"/>
              <a:gd name="connsiteY36270" fmla="*/ 302835 h 4687251"/>
              <a:gd name="connsiteX36271" fmla="*/ 4727527 w 8079933"/>
              <a:gd name="connsiteY36271" fmla="*/ 306949 h 4687251"/>
              <a:gd name="connsiteX36272" fmla="*/ 4725465 w 8079933"/>
              <a:gd name="connsiteY36272" fmla="*/ 308465 h 4687251"/>
              <a:gd name="connsiteX36273" fmla="*/ 4721125 w 8079933"/>
              <a:gd name="connsiteY36273" fmla="*/ 306624 h 4687251"/>
              <a:gd name="connsiteX36274" fmla="*/ 4719280 w 8079933"/>
              <a:gd name="connsiteY36274" fmla="*/ 303700 h 4687251"/>
              <a:gd name="connsiteX36275" fmla="*/ 4720799 w 8079933"/>
              <a:gd name="connsiteY36275" fmla="*/ 302077 h 4687251"/>
              <a:gd name="connsiteX36276" fmla="*/ 4739790 w 8079933"/>
              <a:gd name="connsiteY36276" fmla="*/ 294714 h 4687251"/>
              <a:gd name="connsiteX36277" fmla="*/ 4743805 w 8079933"/>
              <a:gd name="connsiteY36277" fmla="*/ 295579 h 4687251"/>
              <a:gd name="connsiteX36278" fmla="*/ 4746843 w 8079933"/>
              <a:gd name="connsiteY36278" fmla="*/ 299586 h 4687251"/>
              <a:gd name="connsiteX36279" fmla="*/ 4746301 w 8079933"/>
              <a:gd name="connsiteY36279" fmla="*/ 301751 h 4687251"/>
              <a:gd name="connsiteX36280" fmla="*/ 4741851 w 8079933"/>
              <a:gd name="connsiteY36280" fmla="*/ 300344 h 4687251"/>
              <a:gd name="connsiteX36281" fmla="*/ 4738271 w 8079933"/>
              <a:gd name="connsiteY36281" fmla="*/ 296230 h 4687251"/>
              <a:gd name="connsiteX36282" fmla="*/ 1869958 w 8079933"/>
              <a:gd name="connsiteY36282" fmla="*/ 293955 h 4687251"/>
              <a:gd name="connsiteX36283" fmla="*/ 1874733 w 8079933"/>
              <a:gd name="connsiteY36283" fmla="*/ 295471 h 4687251"/>
              <a:gd name="connsiteX36284" fmla="*/ 1875492 w 8079933"/>
              <a:gd name="connsiteY36284" fmla="*/ 298178 h 4687251"/>
              <a:gd name="connsiteX36285" fmla="*/ 1873648 w 8079933"/>
              <a:gd name="connsiteY36285" fmla="*/ 299261 h 4687251"/>
              <a:gd name="connsiteX36286" fmla="*/ 1869415 w 8079933"/>
              <a:gd name="connsiteY36286" fmla="*/ 297421 h 4687251"/>
              <a:gd name="connsiteX36287" fmla="*/ 1868222 w 8079933"/>
              <a:gd name="connsiteY36287" fmla="*/ 295471 h 4687251"/>
              <a:gd name="connsiteX36288" fmla="*/ 4730458 w 8079933"/>
              <a:gd name="connsiteY36288" fmla="*/ 293524 h 4687251"/>
              <a:gd name="connsiteX36289" fmla="*/ 4733930 w 8079933"/>
              <a:gd name="connsiteY36289" fmla="*/ 298505 h 4687251"/>
              <a:gd name="connsiteX36290" fmla="*/ 4735666 w 8079933"/>
              <a:gd name="connsiteY36290" fmla="*/ 302836 h 4687251"/>
              <a:gd name="connsiteX36291" fmla="*/ 4734364 w 8079933"/>
              <a:gd name="connsiteY36291" fmla="*/ 305542 h 4687251"/>
              <a:gd name="connsiteX36292" fmla="*/ 4732194 w 8079933"/>
              <a:gd name="connsiteY36292" fmla="*/ 305218 h 4687251"/>
              <a:gd name="connsiteX36293" fmla="*/ 4727853 w 8079933"/>
              <a:gd name="connsiteY36293" fmla="*/ 298505 h 4687251"/>
              <a:gd name="connsiteX36294" fmla="*/ 4727853 w 8079933"/>
              <a:gd name="connsiteY36294" fmla="*/ 294064 h 4687251"/>
              <a:gd name="connsiteX36295" fmla="*/ 5097026 w 8079933"/>
              <a:gd name="connsiteY36295" fmla="*/ 292873 h 4687251"/>
              <a:gd name="connsiteX36296" fmla="*/ 5099847 w 8079933"/>
              <a:gd name="connsiteY36296" fmla="*/ 294822 h 4687251"/>
              <a:gd name="connsiteX36297" fmla="*/ 5103754 w 8079933"/>
              <a:gd name="connsiteY36297" fmla="*/ 296121 h 4687251"/>
              <a:gd name="connsiteX36298" fmla="*/ 5109940 w 8079933"/>
              <a:gd name="connsiteY36298" fmla="*/ 294497 h 4687251"/>
              <a:gd name="connsiteX36299" fmla="*/ 5112544 w 8079933"/>
              <a:gd name="connsiteY36299" fmla="*/ 295688 h 4687251"/>
              <a:gd name="connsiteX36300" fmla="*/ 5112001 w 8079933"/>
              <a:gd name="connsiteY36300" fmla="*/ 298286 h 4687251"/>
              <a:gd name="connsiteX36301" fmla="*/ 5105165 w 8079933"/>
              <a:gd name="connsiteY36301" fmla="*/ 301317 h 4687251"/>
              <a:gd name="connsiteX36302" fmla="*/ 5102777 w 8079933"/>
              <a:gd name="connsiteY36302" fmla="*/ 301428 h 4687251"/>
              <a:gd name="connsiteX36303" fmla="*/ 5099304 w 8079933"/>
              <a:gd name="connsiteY36303" fmla="*/ 298395 h 4687251"/>
              <a:gd name="connsiteX36304" fmla="*/ 5094421 w 8079933"/>
              <a:gd name="connsiteY36304" fmla="*/ 297528 h 4687251"/>
              <a:gd name="connsiteX36305" fmla="*/ 5093228 w 8079933"/>
              <a:gd name="connsiteY36305" fmla="*/ 296121 h 4687251"/>
              <a:gd name="connsiteX36306" fmla="*/ 5094096 w 8079933"/>
              <a:gd name="connsiteY36306" fmla="*/ 293522 h 4687251"/>
              <a:gd name="connsiteX36307" fmla="*/ 5605860 w 8079933"/>
              <a:gd name="connsiteY36307" fmla="*/ 289191 h 4687251"/>
              <a:gd name="connsiteX36308" fmla="*/ 5609117 w 8079933"/>
              <a:gd name="connsiteY36308" fmla="*/ 289191 h 4687251"/>
              <a:gd name="connsiteX36309" fmla="*/ 5614868 w 8079933"/>
              <a:gd name="connsiteY36309" fmla="*/ 295904 h 4687251"/>
              <a:gd name="connsiteX36310" fmla="*/ 5619426 w 8079933"/>
              <a:gd name="connsiteY36310" fmla="*/ 291356 h 4687251"/>
              <a:gd name="connsiteX36311" fmla="*/ 5623549 w 8079933"/>
              <a:gd name="connsiteY36311" fmla="*/ 291356 h 4687251"/>
              <a:gd name="connsiteX36312" fmla="*/ 5626046 w 8079933"/>
              <a:gd name="connsiteY36312" fmla="*/ 298177 h 4687251"/>
              <a:gd name="connsiteX36313" fmla="*/ 5632556 w 8079933"/>
              <a:gd name="connsiteY36313" fmla="*/ 299260 h 4687251"/>
              <a:gd name="connsiteX36314" fmla="*/ 5638958 w 8079933"/>
              <a:gd name="connsiteY36314" fmla="*/ 293846 h 4687251"/>
              <a:gd name="connsiteX36315" fmla="*/ 5641129 w 8079933"/>
              <a:gd name="connsiteY36315" fmla="*/ 294605 h 4687251"/>
              <a:gd name="connsiteX36316" fmla="*/ 5641129 w 8079933"/>
              <a:gd name="connsiteY36316" fmla="*/ 301426 h 4687251"/>
              <a:gd name="connsiteX36317" fmla="*/ 5642974 w 8079933"/>
              <a:gd name="connsiteY36317" fmla="*/ 303591 h 4687251"/>
              <a:gd name="connsiteX36318" fmla="*/ 5650244 w 8079933"/>
              <a:gd name="connsiteY36318" fmla="*/ 305432 h 4687251"/>
              <a:gd name="connsiteX36319" fmla="*/ 5650244 w 8079933"/>
              <a:gd name="connsiteY36319" fmla="*/ 307381 h 4687251"/>
              <a:gd name="connsiteX36320" fmla="*/ 5645578 w 8079933"/>
              <a:gd name="connsiteY36320" fmla="*/ 310304 h 4687251"/>
              <a:gd name="connsiteX36321" fmla="*/ 5645578 w 8079933"/>
              <a:gd name="connsiteY36321" fmla="*/ 312470 h 4687251"/>
              <a:gd name="connsiteX36322" fmla="*/ 5643190 w 8079933"/>
              <a:gd name="connsiteY36322" fmla="*/ 316584 h 4687251"/>
              <a:gd name="connsiteX36323" fmla="*/ 5644601 w 8079933"/>
              <a:gd name="connsiteY36323" fmla="*/ 321672 h 4687251"/>
              <a:gd name="connsiteX36324" fmla="*/ 5639501 w 8079933"/>
              <a:gd name="connsiteY36324" fmla="*/ 329468 h 4687251"/>
              <a:gd name="connsiteX36325" fmla="*/ 5634292 w 8079933"/>
              <a:gd name="connsiteY36325" fmla="*/ 330550 h 4687251"/>
              <a:gd name="connsiteX36326" fmla="*/ 5630494 w 8079933"/>
              <a:gd name="connsiteY36326" fmla="*/ 336830 h 4687251"/>
              <a:gd name="connsiteX36327" fmla="*/ 5634292 w 8079933"/>
              <a:gd name="connsiteY36327" fmla="*/ 337913 h 4687251"/>
              <a:gd name="connsiteX36328" fmla="*/ 5645144 w 8079933"/>
              <a:gd name="connsiteY36328" fmla="*/ 333582 h 4687251"/>
              <a:gd name="connsiteX36329" fmla="*/ 5652957 w 8079933"/>
              <a:gd name="connsiteY36329" fmla="*/ 321997 h 4687251"/>
              <a:gd name="connsiteX36330" fmla="*/ 5656430 w 8079933"/>
              <a:gd name="connsiteY36330" fmla="*/ 322755 h 4687251"/>
              <a:gd name="connsiteX36331" fmla="*/ 5656430 w 8079933"/>
              <a:gd name="connsiteY36331" fmla="*/ 326219 h 4687251"/>
              <a:gd name="connsiteX36332" fmla="*/ 5652957 w 8079933"/>
              <a:gd name="connsiteY36332" fmla="*/ 331092 h 4687251"/>
              <a:gd name="connsiteX36333" fmla="*/ 5652957 w 8079933"/>
              <a:gd name="connsiteY36333" fmla="*/ 334556 h 4687251"/>
              <a:gd name="connsiteX36334" fmla="*/ 5656430 w 8079933"/>
              <a:gd name="connsiteY36334" fmla="*/ 334556 h 4687251"/>
              <a:gd name="connsiteX36335" fmla="*/ 5660553 w 8079933"/>
              <a:gd name="connsiteY36335" fmla="*/ 328277 h 4687251"/>
              <a:gd name="connsiteX36336" fmla="*/ 5665219 w 8079933"/>
              <a:gd name="connsiteY36336" fmla="*/ 325787 h 4687251"/>
              <a:gd name="connsiteX36337" fmla="*/ 5667499 w 8079933"/>
              <a:gd name="connsiteY36337" fmla="*/ 327952 h 4687251"/>
              <a:gd name="connsiteX36338" fmla="*/ 5673467 w 8079933"/>
              <a:gd name="connsiteY36338" fmla="*/ 327411 h 4687251"/>
              <a:gd name="connsiteX36339" fmla="*/ 5674769 w 8079933"/>
              <a:gd name="connsiteY36339" fmla="*/ 321997 h 4687251"/>
              <a:gd name="connsiteX36340" fmla="*/ 5677265 w 8079933"/>
              <a:gd name="connsiteY36340" fmla="*/ 321997 h 4687251"/>
              <a:gd name="connsiteX36341" fmla="*/ 5680520 w 8079933"/>
              <a:gd name="connsiteY36341" fmla="*/ 324162 h 4687251"/>
              <a:gd name="connsiteX36342" fmla="*/ 5684319 w 8079933"/>
              <a:gd name="connsiteY36342" fmla="*/ 321997 h 4687251"/>
              <a:gd name="connsiteX36343" fmla="*/ 5690612 w 8079933"/>
              <a:gd name="connsiteY36343" fmla="*/ 328277 h 4687251"/>
              <a:gd name="connsiteX36344" fmla="*/ 5690612 w 8079933"/>
              <a:gd name="connsiteY36344" fmla="*/ 332933 h 4687251"/>
              <a:gd name="connsiteX36345" fmla="*/ 5693434 w 8079933"/>
              <a:gd name="connsiteY36345" fmla="*/ 340186 h 4687251"/>
              <a:gd name="connsiteX36346" fmla="*/ 5691698 w 8079933"/>
              <a:gd name="connsiteY36346" fmla="*/ 343110 h 4687251"/>
              <a:gd name="connsiteX36347" fmla="*/ 5691698 w 8079933"/>
              <a:gd name="connsiteY36347" fmla="*/ 347657 h 4687251"/>
              <a:gd name="connsiteX36348" fmla="*/ 5688442 w 8079933"/>
              <a:gd name="connsiteY36348" fmla="*/ 354478 h 4687251"/>
              <a:gd name="connsiteX36349" fmla="*/ 5694193 w 8079933"/>
              <a:gd name="connsiteY36349" fmla="*/ 364006 h 4687251"/>
              <a:gd name="connsiteX36350" fmla="*/ 5693651 w 8079933"/>
              <a:gd name="connsiteY36350" fmla="*/ 369419 h 4687251"/>
              <a:gd name="connsiteX36351" fmla="*/ 5689853 w 8079933"/>
              <a:gd name="connsiteY36351" fmla="*/ 370827 h 4687251"/>
              <a:gd name="connsiteX36352" fmla="*/ 5685838 w 8079933"/>
              <a:gd name="connsiteY36352" fmla="*/ 374076 h 4687251"/>
              <a:gd name="connsiteX36353" fmla="*/ 5689094 w 8079933"/>
              <a:gd name="connsiteY36353" fmla="*/ 374833 h 4687251"/>
              <a:gd name="connsiteX36354" fmla="*/ 5698317 w 8079933"/>
              <a:gd name="connsiteY36354" fmla="*/ 372668 h 4687251"/>
              <a:gd name="connsiteX36355" fmla="*/ 5703960 w 8079933"/>
              <a:gd name="connsiteY36355" fmla="*/ 367037 h 4687251"/>
              <a:gd name="connsiteX36356" fmla="*/ 5711230 w 8079933"/>
              <a:gd name="connsiteY36356" fmla="*/ 367037 h 4687251"/>
              <a:gd name="connsiteX36357" fmla="*/ 5714486 w 8079933"/>
              <a:gd name="connsiteY36357" fmla="*/ 360325 h 4687251"/>
              <a:gd name="connsiteX36358" fmla="*/ 5713726 w 8079933"/>
              <a:gd name="connsiteY36358" fmla="*/ 351772 h 4687251"/>
              <a:gd name="connsiteX36359" fmla="*/ 5711339 w 8079933"/>
              <a:gd name="connsiteY36359" fmla="*/ 345276 h 4687251"/>
              <a:gd name="connsiteX36360" fmla="*/ 5708735 w 8079933"/>
              <a:gd name="connsiteY36360" fmla="*/ 345276 h 4687251"/>
              <a:gd name="connsiteX36361" fmla="*/ 5705154 w 8079933"/>
              <a:gd name="connsiteY36361" fmla="*/ 343868 h 4687251"/>
              <a:gd name="connsiteX36362" fmla="*/ 5705154 w 8079933"/>
              <a:gd name="connsiteY36362" fmla="*/ 338996 h 4687251"/>
              <a:gd name="connsiteX36363" fmla="*/ 5707215 w 8079933"/>
              <a:gd name="connsiteY36363" fmla="*/ 337264 h 4687251"/>
              <a:gd name="connsiteX36364" fmla="*/ 5710797 w 8079933"/>
              <a:gd name="connsiteY36364" fmla="*/ 337264 h 4687251"/>
              <a:gd name="connsiteX36365" fmla="*/ 5713075 w 8079933"/>
              <a:gd name="connsiteY36365" fmla="*/ 338996 h 4687251"/>
              <a:gd name="connsiteX36366" fmla="*/ 5716332 w 8079933"/>
              <a:gd name="connsiteY36366" fmla="*/ 337805 h 4687251"/>
              <a:gd name="connsiteX36367" fmla="*/ 5724470 w 8079933"/>
              <a:gd name="connsiteY36367" fmla="*/ 335747 h 4687251"/>
              <a:gd name="connsiteX36368" fmla="*/ 5730438 w 8079933"/>
              <a:gd name="connsiteY36368" fmla="*/ 329468 h 4687251"/>
              <a:gd name="connsiteX36369" fmla="*/ 5733910 w 8079933"/>
              <a:gd name="connsiteY36369" fmla="*/ 330225 h 4687251"/>
              <a:gd name="connsiteX36370" fmla="*/ 5740422 w 8079933"/>
              <a:gd name="connsiteY36370" fmla="*/ 330225 h 4687251"/>
              <a:gd name="connsiteX36371" fmla="*/ 5742158 w 8079933"/>
              <a:gd name="connsiteY36371" fmla="*/ 325570 h 4687251"/>
              <a:gd name="connsiteX36372" fmla="*/ 5746499 w 8079933"/>
              <a:gd name="connsiteY36372" fmla="*/ 321564 h 4687251"/>
              <a:gd name="connsiteX36373" fmla="*/ 5748235 w 8079933"/>
              <a:gd name="connsiteY36373" fmla="*/ 322647 h 4687251"/>
              <a:gd name="connsiteX36374" fmla="*/ 5751925 w 8079933"/>
              <a:gd name="connsiteY36374" fmla="*/ 319074 h 4687251"/>
              <a:gd name="connsiteX36375" fmla="*/ 5756808 w 8079933"/>
              <a:gd name="connsiteY36375" fmla="*/ 317991 h 4687251"/>
              <a:gd name="connsiteX36376" fmla="*/ 5758761 w 8079933"/>
              <a:gd name="connsiteY36376" fmla="*/ 319832 h 4687251"/>
              <a:gd name="connsiteX36377" fmla="*/ 5763753 w 8079933"/>
              <a:gd name="connsiteY36377" fmla="*/ 318749 h 4687251"/>
              <a:gd name="connsiteX36378" fmla="*/ 5764620 w 8079933"/>
              <a:gd name="connsiteY36378" fmla="*/ 321780 h 4687251"/>
              <a:gd name="connsiteX36379" fmla="*/ 5762993 w 8079933"/>
              <a:gd name="connsiteY36379" fmla="*/ 324271 h 4687251"/>
              <a:gd name="connsiteX36380" fmla="*/ 5763861 w 8079933"/>
              <a:gd name="connsiteY36380" fmla="*/ 328169 h 4687251"/>
              <a:gd name="connsiteX36381" fmla="*/ 5774712 w 8079933"/>
              <a:gd name="connsiteY36381" fmla="*/ 327303 h 4687251"/>
              <a:gd name="connsiteX36382" fmla="*/ 5776015 w 8079933"/>
              <a:gd name="connsiteY36382" fmla="*/ 328710 h 4687251"/>
              <a:gd name="connsiteX36383" fmla="*/ 5780790 w 8079933"/>
              <a:gd name="connsiteY36383" fmla="*/ 330442 h 4687251"/>
              <a:gd name="connsiteX36384" fmla="*/ 5798695 w 8079933"/>
              <a:gd name="connsiteY36384" fmla="*/ 341270 h 4687251"/>
              <a:gd name="connsiteX36385" fmla="*/ 5802819 w 8079933"/>
              <a:gd name="connsiteY36385" fmla="*/ 342136 h 4687251"/>
              <a:gd name="connsiteX36386" fmla="*/ 5805423 w 8079933"/>
              <a:gd name="connsiteY36386" fmla="*/ 347224 h 4687251"/>
              <a:gd name="connsiteX36387" fmla="*/ 5805423 w 8079933"/>
              <a:gd name="connsiteY36387" fmla="*/ 350689 h 4687251"/>
              <a:gd name="connsiteX36388" fmla="*/ 5813670 w 8079933"/>
              <a:gd name="connsiteY36388" fmla="*/ 360325 h 4687251"/>
              <a:gd name="connsiteX36389" fmla="*/ 5815732 w 8079933"/>
              <a:gd name="connsiteY36389" fmla="*/ 359242 h 4687251"/>
              <a:gd name="connsiteX36390" fmla="*/ 5815732 w 8079933"/>
              <a:gd name="connsiteY36390" fmla="*/ 355778 h 4687251"/>
              <a:gd name="connsiteX36391" fmla="*/ 5818445 w 8079933"/>
              <a:gd name="connsiteY36391" fmla="*/ 353937 h 4687251"/>
              <a:gd name="connsiteX36392" fmla="*/ 5819204 w 8079933"/>
              <a:gd name="connsiteY36392" fmla="*/ 351447 h 4687251"/>
              <a:gd name="connsiteX36393" fmla="*/ 5816166 w 8079933"/>
              <a:gd name="connsiteY36393" fmla="*/ 349282 h 4687251"/>
              <a:gd name="connsiteX36394" fmla="*/ 5811826 w 8079933"/>
              <a:gd name="connsiteY36394" fmla="*/ 349282 h 4687251"/>
              <a:gd name="connsiteX36395" fmla="*/ 5811826 w 8079933"/>
              <a:gd name="connsiteY36395" fmla="*/ 344734 h 4687251"/>
              <a:gd name="connsiteX36396" fmla="*/ 5815732 w 8079933"/>
              <a:gd name="connsiteY36396" fmla="*/ 342027 h 4687251"/>
              <a:gd name="connsiteX36397" fmla="*/ 5819747 w 8079933"/>
              <a:gd name="connsiteY36397" fmla="*/ 342027 h 4687251"/>
              <a:gd name="connsiteX36398" fmla="*/ 5822243 w 8079933"/>
              <a:gd name="connsiteY36398" fmla="*/ 345817 h 4687251"/>
              <a:gd name="connsiteX36399" fmla="*/ 5825824 w 8079933"/>
              <a:gd name="connsiteY36399" fmla="*/ 348956 h 4687251"/>
              <a:gd name="connsiteX36400" fmla="*/ 5825824 w 8079933"/>
              <a:gd name="connsiteY36400" fmla="*/ 352962 h 4687251"/>
              <a:gd name="connsiteX36401" fmla="*/ 5832661 w 8079933"/>
              <a:gd name="connsiteY36401" fmla="*/ 359242 h 4687251"/>
              <a:gd name="connsiteX36402" fmla="*/ 5833638 w 8079933"/>
              <a:gd name="connsiteY36402" fmla="*/ 364439 h 4687251"/>
              <a:gd name="connsiteX36403" fmla="*/ 5836784 w 8079933"/>
              <a:gd name="connsiteY36403" fmla="*/ 365739 h 4687251"/>
              <a:gd name="connsiteX36404" fmla="*/ 5839389 w 8079933"/>
              <a:gd name="connsiteY36404" fmla="*/ 364114 h 4687251"/>
              <a:gd name="connsiteX36405" fmla="*/ 5841233 w 8079933"/>
              <a:gd name="connsiteY36405" fmla="*/ 364114 h 4687251"/>
              <a:gd name="connsiteX36406" fmla="*/ 5844272 w 8079933"/>
              <a:gd name="connsiteY36406" fmla="*/ 366063 h 4687251"/>
              <a:gd name="connsiteX36407" fmla="*/ 5847419 w 8079933"/>
              <a:gd name="connsiteY36407" fmla="*/ 370610 h 4687251"/>
              <a:gd name="connsiteX36408" fmla="*/ 5847419 w 8079933"/>
              <a:gd name="connsiteY36408" fmla="*/ 375158 h 4687251"/>
              <a:gd name="connsiteX36409" fmla="*/ 5851326 w 8079933"/>
              <a:gd name="connsiteY36409" fmla="*/ 380139 h 4687251"/>
              <a:gd name="connsiteX36410" fmla="*/ 5851326 w 8079933"/>
              <a:gd name="connsiteY36410" fmla="*/ 383712 h 4687251"/>
              <a:gd name="connsiteX36411" fmla="*/ 5849481 w 8079933"/>
              <a:gd name="connsiteY36411" fmla="*/ 383712 h 4687251"/>
              <a:gd name="connsiteX36412" fmla="*/ 5848830 w 8079933"/>
              <a:gd name="connsiteY36412" fmla="*/ 381113 h 4687251"/>
              <a:gd name="connsiteX36413" fmla="*/ 5846877 w 8079933"/>
              <a:gd name="connsiteY36413" fmla="*/ 378298 h 4687251"/>
              <a:gd name="connsiteX36414" fmla="*/ 5845032 w 8079933"/>
              <a:gd name="connsiteY36414" fmla="*/ 378298 h 4687251"/>
              <a:gd name="connsiteX36415" fmla="*/ 5842862 w 8079933"/>
              <a:gd name="connsiteY36415" fmla="*/ 380788 h 4687251"/>
              <a:gd name="connsiteX36416" fmla="*/ 5839063 w 8079933"/>
              <a:gd name="connsiteY36416" fmla="*/ 377323 h 4687251"/>
              <a:gd name="connsiteX36417" fmla="*/ 5830816 w 8079933"/>
              <a:gd name="connsiteY36417" fmla="*/ 374076 h 4687251"/>
              <a:gd name="connsiteX36418" fmla="*/ 5824413 w 8079933"/>
              <a:gd name="connsiteY36418" fmla="*/ 374076 h 4687251"/>
              <a:gd name="connsiteX36419" fmla="*/ 5823437 w 8079933"/>
              <a:gd name="connsiteY36419" fmla="*/ 375482 h 4687251"/>
              <a:gd name="connsiteX36420" fmla="*/ 5826692 w 8079933"/>
              <a:gd name="connsiteY36420" fmla="*/ 379814 h 4687251"/>
              <a:gd name="connsiteX36421" fmla="*/ 5832878 w 8079933"/>
              <a:gd name="connsiteY36421" fmla="*/ 380572 h 4687251"/>
              <a:gd name="connsiteX36422" fmla="*/ 5835156 w 8079933"/>
              <a:gd name="connsiteY36422" fmla="*/ 382196 h 4687251"/>
              <a:gd name="connsiteX36423" fmla="*/ 5834180 w 8079933"/>
              <a:gd name="connsiteY36423" fmla="*/ 383495 h 4687251"/>
              <a:gd name="connsiteX36424" fmla="*/ 5837110 w 8079933"/>
              <a:gd name="connsiteY36424" fmla="*/ 389125 h 4687251"/>
              <a:gd name="connsiteX36425" fmla="*/ 5839714 w 8079933"/>
              <a:gd name="connsiteY36425" fmla="*/ 390965 h 4687251"/>
              <a:gd name="connsiteX36426" fmla="*/ 5841668 w 8079933"/>
              <a:gd name="connsiteY36426" fmla="*/ 389233 h 4687251"/>
              <a:gd name="connsiteX36427" fmla="*/ 5844272 w 8079933"/>
              <a:gd name="connsiteY36427" fmla="*/ 383820 h 4687251"/>
              <a:gd name="connsiteX36428" fmla="*/ 5845683 w 8079933"/>
              <a:gd name="connsiteY36428" fmla="*/ 383820 h 4687251"/>
              <a:gd name="connsiteX36429" fmla="*/ 5847961 w 8079933"/>
              <a:gd name="connsiteY36429" fmla="*/ 387501 h 4687251"/>
              <a:gd name="connsiteX36430" fmla="*/ 5851326 w 8079933"/>
              <a:gd name="connsiteY36430" fmla="*/ 389449 h 4687251"/>
              <a:gd name="connsiteX36431" fmla="*/ 5853713 w 8079933"/>
              <a:gd name="connsiteY36431" fmla="*/ 388043 h 4687251"/>
              <a:gd name="connsiteX36432" fmla="*/ 5856426 w 8079933"/>
              <a:gd name="connsiteY36432" fmla="*/ 388909 h 4687251"/>
              <a:gd name="connsiteX36433" fmla="*/ 5857511 w 8079933"/>
              <a:gd name="connsiteY36433" fmla="*/ 392265 h 4687251"/>
              <a:gd name="connsiteX36434" fmla="*/ 5856100 w 8079933"/>
              <a:gd name="connsiteY36434" fmla="*/ 394863 h 4687251"/>
              <a:gd name="connsiteX36435" fmla="*/ 5860441 w 8079933"/>
              <a:gd name="connsiteY36435" fmla="*/ 402334 h 4687251"/>
              <a:gd name="connsiteX36436" fmla="*/ 5862069 w 8079933"/>
              <a:gd name="connsiteY36436" fmla="*/ 410563 h 4687251"/>
              <a:gd name="connsiteX36437" fmla="*/ 5862069 w 8079933"/>
              <a:gd name="connsiteY36437" fmla="*/ 419765 h 4687251"/>
              <a:gd name="connsiteX36438" fmla="*/ 5858705 w 8079933"/>
              <a:gd name="connsiteY36438" fmla="*/ 427453 h 4687251"/>
              <a:gd name="connsiteX36439" fmla="*/ 5856752 w 8079933"/>
              <a:gd name="connsiteY36439" fmla="*/ 428211 h 4687251"/>
              <a:gd name="connsiteX36440" fmla="*/ 5854798 w 8079933"/>
              <a:gd name="connsiteY36440" fmla="*/ 432108 h 4687251"/>
              <a:gd name="connsiteX36441" fmla="*/ 5855992 w 8079933"/>
              <a:gd name="connsiteY36441" fmla="*/ 436656 h 4687251"/>
              <a:gd name="connsiteX36442" fmla="*/ 5852411 w 8079933"/>
              <a:gd name="connsiteY36442" fmla="*/ 442611 h 4687251"/>
              <a:gd name="connsiteX36443" fmla="*/ 5852411 w 8079933"/>
              <a:gd name="connsiteY36443" fmla="*/ 444885 h 4687251"/>
              <a:gd name="connsiteX36444" fmla="*/ 5855449 w 8079933"/>
              <a:gd name="connsiteY36444" fmla="*/ 448132 h 4687251"/>
              <a:gd name="connsiteX36445" fmla="*/ 5855449 w 8079933"/>
              <a:gd name="connsiteY36445" fmla="*/ 452030 h 4687251"/>
              <a:gd name="connsiteX36446" fmla="*/ 5849372 w 8079933"/>
              <a:gd name="connsiteY36446" fmla="*/ 454954 h 4687251"/>
              <a:gd name="connsiteX36447" fmla="*/ 5847419 w 8079933"/>
              <a:gd name="connsiteY36447" fmla="*/ 459718 h 4687251"/>
              <a:gd name="connsiteX36448" fmla="*/ 5848721 w 8079933"/>
              <a:gd name="connsiteY36448" fmla="*/ 462099 h 4687251"/>
              <a:gd name="connsiteX36449" fmla="*/ 5845141 w 8079933"/>
              <a:gd name="connsiteY36449" fmla="*/ 469787 h 4687251"/>
              <a:gd name="connsiteX36450" fmla="*/ 5842428 w 8079933"/>
              <a:gd name="connsiteY36450" fmla="*/ 472926 h 4687251"/>
              <a:gd name="connsiteX36451" fmla="*/ 5843187 w 8079933"/>
              <a:gd name="connsiteY36451" fmla="*/ 475525 h 4687251"/>
              <a:gd name="connsiteX36452" fmla="*/ 5841016 w 8079933"/>
              <a:gd name="connsiteY36452" fmla="*/ 480289 h 4687251"/>
              <a:gd name="connsiteX36453" fmla="*/ 5836784 w 8079933"/>
              <a:gd name="connsiteY36453" fmla="*/ 482346 h 4687251"/>
              <a:gd name="connsiteX36454" fmla="*/ 5831250 w 8079933"/>
              <a:gd name="connsiteY36454" fmla="*/ 487001 h 4687251"/>
              <a:gd name="connsiteX36455" fmla="*/ 5826258 w 8079933"/>
              <a:gd name="connsiteY36455" fmla="*/ 487001 h 4687251"/>
              <a:gd name="connsiteX36456" fmla="*/ 5831684 w 8079933"/>
              <a:gd name="connsiteY36456" fmla="*/ 488734 h 4687251"/>
              <a:gd name="connsiteX36457" fmla="*/ 5835482 w 8079933"/>
              <a:gd name="connsiteY36457" fmla="*/ 488734 h 4687251"/>
              <a:gd name="connsiteX36458" fmla="*/ 5838413 w 8079933"/>
              <a:gd name="connsiteY36458" fmla="*/ 485486 h 4687251"/>
              <a:gd name="connsiteX36459" fmla="*/ 5839931 w 8079933"/>
              <a:gd name="connsiteY36459" fmla="*/ 485486 h 4687251"/>
              <a:gd name="connsiteX36460" fmla="*/ 5842428 w 8079933"/>
              <a:gd name="connsiteY36460" fmla="*/ 492307 h 4687251"/>
              <a:gd name="connsiteX36461" fmla="*/ 5838520 w 8079933"/>
              <a:gd name="connsiteY36461" fmla="*/ 500427 h 4687251"/>
              <a:gd name="connsiteX36462" fmla="*/ 5834831 w 8079933"/>
              <a:gd name="connsiteY36462" fmla="*/ 505516 h 4687251"/>
              <a:gd name="connsiteX36463" fmla="*/ 5832010 w 8079933"/>
              <a:gd name="connsiteY36463" fmla="*/ 516992 h 4687251"/>
              <a:gd name="connsiteX36464" fmla="*/ 5834614 w 8079933"/>
              <a:gd name="connsiteY36464" fmla="*/ 522082 h 4687251"/>
              <a:gd name="connsiteX36465" fmla="*/ 5835374 w 8079933"/>
              <a:gd name="connsiteY36465" fmla="*/ 526087 h 4687251"/>
              <a:gd name="connsiteX36466" fmla="*/ 5831141 w 8079933"/>
              <a:gd name="connsiteY36466" fmla="*/ 536914 h 4687251"/>
              <a:gd name="connsiteX36467" fmla="*/ 5824739 w 8079933"/>
              <a:gd name="connsiteY36467" fmla="*/ 539188 h 4687251"/>
              <a:gd name="connsiteX36468" fmla="*/ 5822786 w 8079933"/>
              <a:gd name="connsiteY36468" fmla="*/ 538430 h 4687251"/>
              <a:gd name="connsiteX36469" fmla="*/ 5819639 w 8079933"/>
              <a:gd name="connsiteY36469" fmla="*/ 538430 h 4687251"/>
              <a:gd name="connsiteX36470" fmla="*/ 5817903 w 8079933"/>
              <a:gd name="connsiteY36470" fmla="*/ 541353 h 4687251"/>
              <a:gd name="connsiteX36471" fmla="*/ 5819313 w 8079933"/>
              <a:gd name="connsiteY36471" fmla="*/ 544060 h 4687251"/>
              <a:gd name="connsiteX36472" fmla="*/ 5822026 w 8079933"/>
              <a:gd name="connsiteY36472" fmla="*/ 553480 h 4687251"/>
              <a:gd name="connsiteX36473" fmla="*/ 5820181 w 8079933"/>
              <a:gd name="connsiteY36473" fmla="*/ 557702 h 4687251"/>
              <a:gd name="connsiteX36474" fmla="*/ 5815515 w 8079933"/>
              <a:gd name="connsiteY36474" fmla="*/ 560626 h 4687251"/>
              <a:gd name="connsiteX36475" fmla="*/ 5813237 w 8079933"/>
              <a:gd name="connsiteY36475" fmla="*/ 567014 h 4687251"/>
              <a:gd name="connsiteX36476" fmla="*/ 5815515 w 8079933"/>
              <a:gd name="connsiteY36476" fmla="*/ 573726 h 4687251"/>
              <a:gd name="connsiteX36477" fmla="*/ 5815515 w 8079933"/>
              <a:gd name="connsiteY36477" fmla="*/ 579465 h 4687251"/>
              <a:gd name="connsiteX36478" fmla="*/ 5813453 w 8079933"/>
              <a:gd name="connsiteY36478" fmla="*/ 581955 h 4687251"/>
              <a:gd name="connsiteX36479" fmla="*/ 5813453 w 8079933"/>
              <a:gd name="connsiteY36479" fmla="*/ 585853 h 4687251"/>
              <a:gd name="connsiteX36480" fmla="*/ 5816709 w 8079933"/>
              <a:gd name="connsiteY36480" fmla="*/ 588126 h 4687251"/>
              <a:gd name="connsiteX36481" fmla="*/ 5813453 w 8079933"/>
              <a:gd name="connsiteY36481" fmla="*/ 600686 h 4687251"/>
              <a:gd name="connsiteX36482" fmla="*/ 5809547 w 8079933"/>
              <a:gd name="connsiteY36482" fmla="*/ 603718 h 4687251"/>
              <a:gd name="connsiteX36483" fmla="*/ 5808462 w 8079933"/>
              <a:gd name="connsiteY36483" fmla="*/ 608156 h 4687251"/>
              <a:gd name="connsiteX36484" fmla="*/ 5810089 w 8079933"/>
              <a:gd name="connsiteY36484" fmla="*/ 605124 h 4687251"/>
              <a:gd name="connsiteX36485" fmla="*/ 5814647 w 8079933"/>
              <a:gd name="connsiteY36485" fmla="*/ 605124 h 4687251"/>
              <a:gd name="connsiteX36486" fmla="*/ 5819204 w 8079933"/>
              <a:gd name="connsiteY36486" fmla="*/ 600577 h 4687251"/>
              <a:gd name="connsiteX36487" fmla="*/ 5821376 w 8079933"/>
              <a:gd name="connsiteY36487" fmla="*/ 596138 h 4687251"/>
              <a:gd name="connsiteX36488" fmla="*/ 5820290 w 8079933"/>
              <a:gd name="connsiteY36488" fmla="*/ 594189 h 4687251"/>
              <a:gd name="connsiteX36489" fmla="*/ 5821917 w 8079933"/>
              <a:gd name="connsiteY36489" fmla="*/ 590941 h 4687251"/>
              <a:gd name="connsiteX36490" fmla="*/ 5828212 w 8079933"/>
              <a:gd name="connsiteY36490" fmla="*/ 590941 h 4687251"/>
              <a:gd name="connsiteX36491" fmla="*/ 5831684 w 8079933"/>
              <a:gd name="connsiteY36491" fmla="*/ 589859 h 4687251"/>
              <a:gd name="connsiteX36492" fmla="*/ 5828103 w 8079933"/>
              <a:gd name="connsiteY36492" fmla="*/ 588884 h 4687251"/>
              <a:gd name="connsiteX36493" fmla="*/ 5820073 w 8079933"/>
              <a:gd name="connsiteY36493" fmla="*/ 580547 h 4687251"/>
              <a:gd name="connsiteX36494" fmla="*/ 5817686 w 8079933"/>
              <a:gd name="connsiteY36494" fmla="*/ 574268 h 4687251"/>
              <a:gd name="connsiteX36495" fmla="*/ 5820398 w 8079933"/>
              <a:gd name="connsiteY36495" fmla="*/ 569071 h 4687251"/>
              <a:gd name="connsiteX36496" fmla="*/ 5828537 w 8079933"/>
              <a:gd name="connsiteY36496" fmla="*/ 568313 h 4687251"/>
              <a:gd name="connsiteX36497" fmla="*/ 5837110 w 8079933"/>
              <a:gd name="connsiteY36497" fmla="*/ 567230 h 4687251"/>
              <a:gd name="connsiteX36498" fmla="*/ 5844164 w 8079933"/>
              <a:gd name="connsiteY36498" fmla="*/ 561059 h 4687251"/>
              <a:gd name="connsiteX36499" fmla="*/ 5847745 w 8079933"/>
              <a:gd name="connsiteY36499" fmla="*/ 561059 h 4687251"/>
              <a:gd name="connsiteX36500" fmla="*/ 5850458 w 8079933"/>
              <a:gd name="connsiteY36500" fmla="*/ 558676 h 4687251"/>
              <a:gd name="connsiteX36501" fmla="*/ 5847745 w 8079933"/>
              <a:gd name="connsiteY36501" fmla="*/ 554671 h 4687251"/>
              <a:gd name="connsiteX36502" fmla="*/ 5854798 w 8079933"/>
              <a:gd name="connsiteY36502" fmla="*/ 549041 h 4687251"/>
              <a:gd name="connsiteX36503" fmla="*/ 5858270 w 8079933"/>
              <a:gd name="connsiteY36503" fmla="*/ 543410 h 4687251"/>
              <a:gd name="connsiteX36504" fmla="*/ 5855775 w 8079933"/>
              <a:gd name="connsiteY36504" fmla="*/ 538322 h 4687251"/>
              <a:gd name="connsiteX36505" fmla="*/ 5855775 w 8079933"/>
              <a:gd name="connsiteY36505" fmla="*/ 536481 h 4687251"/>
              <a:gd name="connsiteX36506" fmla="*/ 5860875 w 8079933"/>
              <a:gd name="connsiteY36506" fmla="*/ 539405 h 4687251"/>
              <a:gd name="connsiteX36507" fmla="*/ 5866627 w 8079933"/>
              <a:gd name="connsiteY36507" fmla="*/ 537564 h 4687251"/>
              <a:gd name="connsiteX36508" fmla="*/ 5870099 w 8079933"/>
              <a:gd name="connsiteY36508" fmla="*/ 532367 h 4687251"/>
              <a:gd name="connsiteX36509" fmla="*/ 5867386 w 8079933"/>
              <a:gd name="connsiteY36509" fmla="*/ 528794 h 4687251"/>
              <a:gd name="connsiteX36510" fmla="*/ 5876285 w 8079933"/>
              <a:gd name="connsiteY36510" fmla="*/ 522082 h 4687251"/>
              <a:gd name="connsiteX36511" fmla="*/ 5876827 w 8079933"/>
              <a:gd name="connsiteY36511" fmla="*/ 516884 h 4687251"/>
              <a:gd name="connsiteX36512" fmla="*/ 5874874 w 8079933"/>
              <a:gd name="connsiteY36512" fmla="*/ 513311 h 4687251"/>
              <a:gd name="connsiteX36513" fmla="*/ 5865975 w 8079933"/>
              <a:gd name="connsiteY36513" fmla="*/ 518400 h 4687251"/>
              <a:gd name="connsiteX36514" fmla="*/ 5865216 w 8079933"/>
              <a:gd name="connsiteY36514" fmla="*/ 521648 h 4687251"/>
              <a:gd name="connsiteX36515" fmla="*/ 5858162 w 8079933"/>
              <a:gd name="connsiteY36515" fmla="*/ 526845 h 4687251"/>
              <a:gd name="connsiteX36516" fmla="*/ 5852953 w 8079933"/>
              <a:gd name="connsiteY36516" fmla="*/ 524355 h 4687251"/>
              <a:gd name="connsiteX36517" fmla="*/ 5849481 w 8079933"/>
              <a:gd name="connsiteY36517" fmla="*/ 518184 h 4687251"/>
              <a:gd name="connsiteX36518" fmla="*/ 5853279 w 8079933"/>
              <a:gd name="connsiteY36518" fmla="*/ 512770 h 4687251"/>
              <a:gd name="connsiteX36519" fmla="*/ 5852194 w 8079933"/>
              <a:gd name="connsiteY36519" fmla="*/ 504866 h 4687251"/>
              <a:gd name="connsiteX36520" fmla="*/ 5856860 w 8079933"/>
              <a:gd name="connsiteY36520" fmla="*/ 500860 h 4687251"/>
              <a:gd name="connsiteX36521" fmla="*/ 5863697 w 8079933"/>
              <a:gd name="connsiteY36521" fmla="*/ 500860 h 4687251"/>
              <a:gd name="connsiteX36522" fmla="*/ 5871835 w 8079933"/>
              <a:gd name="connsiteY36522" fmla="*/ 506274 h 4687251"/>
              <a:gd name="connsiteX36523" fmla="*/ 5875090 w 8079933"/>
              <a:gd name="connsiteY36523" fmla="*/ 502484 h 4687251"/>
              <a:gd name="connsiteX36524" fmla="*/ 5875090 w 8079933"/>
              <a:gd name="connsiteY36524" fmla="*/ 497070 h 4687251"/>
              <a:gd name="connsiteX36525" fmla="*/ 5881602 w 8079933"/>
              <a:gd name="connsiteY36525" fmla="*/ 494364 h 4687251"/>
              <a:gd name="connsiteX36526" fmla="*/ 5882362 w 8079933"/>
              <a:gd name="connsiteY36526" fmla="*/ 498153 h 4687251"/>
              <a:gd name="connsiteX36527" fmla="*/ 5879649 w 8079933"/>
              <a:gd name="connsiteY36527" fmla="*/ 501185 h 4687251"/>
              <a:gd name="connsiteX36528" fmla="*/ 5879649 w 8079933"/>
              <a:gd name="connsiteY36528" fmla="*/ 505841 h 4687251"/>
              <a:gd name="connsiteX36529" fmla="*/ 5892670 w 8079933"/>
              <a:gd name="connsiteY36529" fmla="*/ 516668 h 4687251"/>
              <a:gd name="connsiteX36530" fmla="*/ 5899072 w 8079933"/>
              <a:gd name="connsiteY36530" fmla="*/ 516668 h 4687251"/>
              <a:gd name="connsiteX36531" fmla="*/ 5902328 w 8079933"/>
              <a:gd name="connsiteY36531" fmla="*/ 514719 h 4687251"/>
              <a:gd name="connsiteX36532" fmla="*/ 5911335 w 8079933"/>
              <a:gd name="connsiteY36532" fmla="*/ 513094 h 4687251"/>
              <a:gd name="connsiteX36533" fmla="*/ 5915351 w 8079933"/>
              <a:gd name="connsiteY36533" fmla="*/ 508764 h 4687251"/>
              <a:gd name="connsiteX36534" fmla="*/ 5914591 w 8079933"/>
              <a:gd name="connsiteY36534" fmla="*/ 503675 h 4687251"/>
              <a:gd name="connsiteX36535" fmla="*/ 5907211 w 8079933"/>
              <a:gd name="connsiteY36535" fmla="*/ 495231 h 4687251"/>
              <a:gd name="connsiteX36536" fmla="*/ 5907211 w 8079933"/>
              <a:gd name="connsiteY36536" fmla="*/ 492307 h 4687251"/>
              <a:gd name="connsiteX36537" fmla="*/ 5909707 w 8079933"/>
              <a:gd name="connsiteY36537" fmla="*/ 492307 h 4687251"/>
              <a:gd name="connsiteX36538" fmla="*/ 5918932 w 8079933"/>
              <a:gd name="connsiteY36538" fmla="*/ 501293 h 4687251"/>
              <a:gd name="connsiteX36539" fmla="*/ 5922187 w 8079933"/>
              <a:gd name="connsiteY36539" fmla="*/ 501293 h 4687251"/>
              <a:gd name="connsiteX36540" fmla="*/ 5927287 w 8079933"/>
              <a:gd name="connsiteY36540" fmla="*/ 505841 h 4687251"/>
              <a:gd name="connsiteX36541" fmla="*/ 5926202 w 8079933"/>
              <a:gd name="connsiteY36541" fmla="*/ 509413 h 4687251"/>
              <a:gd name="connsiteX36542" fmla="*/ 5927287 w 8079933"/>
              <a:gd name="connsiteY36542" fmla="*/ 512878 h 4687251"/>
              <a:gd name="connsiteX36543" fmla="*/ 5933581 w 8079933"/>
              <a:gd name="connsiteY36543" fmla="*/ 517967 h 4687251"/>
              <a:gd name="connsiteX36544" fmla="*/ 5934449 w 8079933"/>
              <a:gd name="connsiteY36544" fmla="*/ 526953 h 4687251"/>
              <a:gd name="connsiteX36545" fmla="*/ 5936294 w 8079933"/>
              <a:gd name="connsiteY36545" fmla="*/ 528577 h 4687251"/>
              <a:gd name="connsiteX36546" fmla="*/ 5936294 w 8079933"/>
              <a:gd name="connsiteY36546" fmla="*/ 526087 h 4687251"/>
              <a:gd name="connsiteX36547" fmla="*/ 5940635 w 8079933"/>
              <a:gd name="connsiteY36547" fmla="*/ 521432 h 4687251"/>
              <a:gd name="connsiteX36548" fmla="*/ 5943130 w 8079933"/>
              <a:gd name="connsiteY36548" fmla="*/ 520890 h 4687251"/>
              <a:gd name="connsiteX36549" fmla="*/ 5945519 w 8079933"/>
              <a:gd name="connsiteY36549" fmla="*/ 517317 h 4687251"/>
              <a:gd name="connsiteX36550" fmla="*/ 5943565 w 8079933"/>
              <a:gd name="connsiteY36550" fmla="*/ 515909 h 4687251"/>
              <a:gd name="connsiteX36551" fmla="*/ 5939767 w 8079933"/>
              <a:gd name="connsiteY36551" fmla="*/ 517750 h 4687251"/>
              <a:gd name="connsiteX36552" fmla="*/ 5936294 w 8079933"/>
              <a:gd name="connsiteY36552" fmla="*/ 516668 h 4687251"/>
              <a:gd name="connsiteX36553" fmla="*/ 5933256 w 8079933"/>
              <a:gd name="connsiteY36553" fmla="*/ 510713 h 4687251"/>
              <a:gd name="connsiteX36554" fmla="*/ 5939441 w 8079933"/>
              <a:gd name="connsiteY36554" fmla="*/ 504975 h 4687251"/>
              <a:gd name="connsiteX36555" fmla="*/ 5944542 w 8079933"/>
              <a:gd name="connsiteY36555" fmla="*/ 502051 h 4687251"/>
              <a:gd name="connsiteX36556" fmla="*/ 5946929 w 8079933"/>
              <a:gd name="connsiteY36556" fmla="*/ 498803 h 4687251"/>
              <a:gd name="connsiteX36557" fmla="*/ 5949968 w 8079933"/>
              <a:gd name="connsiteY36557" fmla="*/ 498803 h 4687251"/>
              <a:gd name="connsiteX36558" fmla="*/ 5951921 w 8079933"/>
              <a:gd name="connsiteY36558" fmla="*/ 495338 h 4687251"/>
              <a:gd name="connsiteX36559" fmla="*/ 5961904 w 8079933"/>
              <a:gd name="connsiteY36559" fmla="*/ 493498 h 4687251"/>
              <a:gd name="connsiteX36560" fmla="*/ 5977639 w 8079933"/>
              <a:gd name="connsiteY36560" fmla="*/ 489384 h 4687251"/>
              <a:gd name="connsiteX36561" fmla="*/ 5996629 w 8079933"/>
              <a:gd name="connsiteY36561" fmla="*/ 488626 h 4687251"/>
              <a:gd name="connsiteX36562" fmla="*/ 6011280 w 8079933"/>
              <a:gd name="connsiteY36562" fmla="*/ 482129 h 4687251"/>
              <a:gd name="connsiteX36563" fmla="*/ 6018550 w 8079933"/>
              <a:gd name="connsiteY36563" fmla="*/ 482129 h 4687251"/>
              <a:gd name="connsiteX36564" fmla="*/ 6025278 w 8079933"/>
              <a:gd name="connsiteY36564" fmla="*/ 484620 h 4687251"/>
              <a:gd name="connsiteX36565" fmla="*/ 6025278 w 8079933"/>
              <a:gd name="connsiteY36565" fmla="*/ 488409 h 4687251"/>
              <a:gd name="connsiteX36566" fmla="*/ 6023433 w 8079933"/>
              <a:gd name="connsiteY36566" fmla="*/ 489276 h 4687251"/>
              <a:gd name="connsiteX36567" fmla="*/ 6020395 w 8079933"/>
              <a:gd name="connsiteY36567" fmla="*/ 494905 h 4687251"/>
              <a:gd name="connsiteX36568" fmla="*/ 6023108 w 8079933"/>
              <a:gd name="connsiteY36568" fmla="*/ 503892 h 4687251"/>
              <a:gd name="connsiteX36569" fmla="*/ 6029401 w 8079933"/>
              <a:gd name="connsiteY36569" fmla="*/ 508980 h 4687251"/>
              <a:gd name="connsiteX36570" fmla="*/ 6051105 w 8079933"/>
              <a:gd name="connsiteY36570" fmla="*/ 509847 h 4687251"/>
              <a:gd name="connsiteX36571" fmla="*/ 6055229 w 8079933"/>
              <a:gd name="connsiteY36571" fmla="*/ 511146 h 4687251"/>
              <a:gd name="connsiteX36572" fmla="*/ 6056856 w 8079933"/>
              <a:gd name="connsiteY36572" fmla="*/ 510280 h 4687251"/>
              <a:gd name="connsiteX36573" fmla="*/ 6064561 w 8079933"/>
              <a:gd name="connsiteY36573" fmla="*/ 510280 h 4687251"/>
              <a:gd name="connsiteX36574" fmla="*/ 6070313 w 8079933"/>
              <a:gd name="connsiteY36574" fmla="*/ 512120 h 4687251"/>
              <a:gd name="connsiteX36575" fmla="*/ 6085070 w 8079933"/>
              <a:gd name="connsiteY36575" fmla="*/ 509739 h 4687251"/>
              <a:gd name="connsiteX36576" fmla="*/ 6095922 w 8079933"/>
              <a:gd name="connsiteY36576" fmla="*/ 504109 h 4687251"/>
              <a:gd name="connsiteX36577" fmla="*/ 6099611 w 8079933"/>
              <a:gd name="connsiteY36577" fmla="*/ 505407 h 4687251"/>
              <a:gd name="connsiteX36578" fmla="*/ 6104603 w 8079933"/>
              <a:gd name="connsiteY36578" fmla="*/ 505407 h 4687251"/>
              <a:gd name="connsiteX36579" fmla="*/ 6107425 w 8079933"/>
              <a:gd name="connsiteY36579" fmla="*/ 500752 h 4687251"/>
              <a:gd name="connsiteX36580" fmla="*/ 6105580 w 8079933"/>
              <a:gd name="connsiteY36580" fmla="*/ 497396 h 4687251"/>
              <a:gd name="connsiteX36581" fmla="*/ 6110029 w 8079933"/>
              <a:gd name="connsiteY36581" fmla="*/ 496313 h 4687251"/>
              <a:gd name="connsiteX36582" fmla="*/ 6114262 w 8079933"/>
              <a:gd name="connsiteY36582" fmla="*/ 497504 h 4687251"/>
              <a:gd name="connsiteX36583" fmla="*/ 6120772 w 8079933"/>
              <a:gd name="connsiteY36583" fmla="*/ 495663 h 4687251"/>
              <a:gd name="connsiteX36584" fmla="*/ 6122292 w 8079933"/>
              <a:gd name="connsiteY36584" fmla="*/ 499344 h 4687251"/>
              <a:gd name="connsiteX36585" fmla="*/ 6124679 w 8079933"/>
              <a:gd name="connsiteY36585" fmla="*/ 500103 h 4687251"/>
              <a:gd name="connsiteX36586" fmla="*/ 6127718 w 8079933"/>
              <a:gd name="connsiteY36586" fmla="*/ 495446 h 4687251"/>
              <a:gd name="connsiteX36587" fmla="*/ 6126198 w 8079933"/>
              <a:gd name="connsiteY36587" fmla="*/ 491874 h 4687251"/>
              <a:gd name="connsiteX36588" fmla="*/ 6122183 w 8079933"/>
              <a:gd name="connsiteY36588" fmla="*/ 488084 h 4687251"/>
              <a:gd name="connsiteX36589" fmla="*/ 6122183 w 8079933"/>
              <a:gd name="connsiteY36589" fmla="*/ 483429 h 4687251"/>
              <a:gd name="connsiteX36590" fmla="*/ 6119796 w 8079933"/>
              <a:gd name="connsiteY36590" fmla="*/ 479856 h 4687251"/>
              <a:gd name="connsiteX36591" fmla="*/ 6114479 w 8079933"/>
              <a:gd name="connsiteY36591" fmla="*/ 478773 h 4687251"/>
              <a:gd name="connsiteX36592" fmla="*/ 6113719 w 8079933"/>
              <a:gd name="connsiteY36592" fmla="*/ 472601 h 4687251"/>
              <a:gd name="connsiteX36593" fmla="*/ 6111222 w 8079933"/>
              <a:gd name="connsiteY36593" fmla="*/ 471519 h 4687251"/>
              <a:gd name="connsiteX36594" fmla="*/ 6110029 w 8079933"/>
              <a:gd name="connsiteY36594" fmla="*/ 466755 h 4687251"/>
              <a:gd name="connsiteX36595" fmla="*/ 6106774 w 8079933"/>
              <a:gd name="connsiteY36595" fmla="*/ 463074 h 4687251"/>
              <a:gd name="connsiteX36596" fmla="*/ 6106014 w 8079933"/>
              <a:gd name="connsiteY36596" fmla="*/ 457010 h 4687251"/>
              <a:gd name="connsiteX36597" fmla="*/ 6108510 w 8079933"/>
              <a:gd name="connsiteY36597" fmla="*/ 452571 h 4687251"/>
              <a:gd name="connsiteX36598" fmla="*/ 6109269 w 8079933"/>
              <a:gd name="connsiteY36598" fmla="*/ 455387 h 4687251"/>
              <a:gd name="connsiteX36599" fmla="*/ 6111549 w 8079933"/>
              <a:gd name="connsiteY36599" fmla="*/ 456794 h 4687251"/>
              <a:gd name="connsiteX36600" fmla="*/ 6116866 w 8079933"/>
              <a:gd name="connsiteY36600" fmla="*/ 452463 h 4687251"/>
              <a:gd name="connsiteX36601" fmla="*/ 6115781 w 8079933"/>
              <a:gd name="connsiteY36601" fmla="*/ 450623 h 4687251"/>
              <a:gd name="connsiteX36602" fmla="*/ 6114695 w 8079933"/>
              <a:gd name="connsiteY36602" fmla="*/ 446509 h 4687251"/>
              <a:gd name="connsiteX36603" fmla="*/ 6118494 w 8079933"/>
              <a:gd name="connsiteY36603" fmla="*/ 446509 h 4687251"/>
              <a:gd name="connsiteX36604" fmla="*/ 6124136 w 8079933"/>
              <a:gd name="connsiteY36604" fmla="*/ 450948 h 4687251"/>
              <a:gd name="connsiteX36605" fmla="*/ 6126958 w 8079933"/>
              <a:gd name="connsiteY36605" fmla="*/ 448891 h 4687251"/>
              <a:gd name="connsiteX36606" fmla="*/ 6127935 w 8079933"/>
              <a:gd name="connsiteY36606" fmla="*/ 444885 h 4687251"/>
              <a:gd name="connsiteX36607" fmla="*/ 6129779 w 8079933"/>
              <a:gd name="connsiteY36607" fmla="*/ 447699 h 4687251"/>
              <a:gd name="connsiteX36608" fmla="*/ 6135965 w 8079933"/>
              <a:gd name="connsiteY36608" fmla="*/ 447699 h 4687251"/>
              <a:gd name="connsiteX36609" fmla="*/ 6139546 w 8079933"/>
              <a:gd name="connsiteY36609" fmla="*/ 446942 h 4687251"/>
              <a:gd name="connsiteX36610" fmla="*/ 6141065 w 8079933"/>
              <a:gd name="connsiteY36610" fmla="*/ 444018 h 4687251"/>
              <a:gd name="connsiteX36611" fmla="*/ 6145406 w 8079933"/>
              <a:gd name="connsiteY36611" fmla="*/ 448565 h 4687251"/>
              <a:gd name="connsiteX36612" fmla="*/ 6149421 w 8079933"/>
              <a:gd name="connsiteY36612" fmla="*/ 449865 h 4687251"/>
              <a:gd name="connsiteX36613" fmla="*/ 6152351 w 8079933"/>
              <a:gd name="connsiteY36613" fmla="*/ 453762 h 4687251"/>
              <a:gd name="connsiteX36614" fmla="*/ 6155280 w 8079933"/>
              <a:gd name="connsiteY36614" fmla="*/ 451489 h 4687251"/>
              <a:gd name="connsiteX36615" fmla="*/ 6155280 w 8079933"/>
              <a:gd name="connsiteY36615" fmla="*/ 447050 h 4687251"/>
              <a:gd name="connsiteX36616" fmla="*/ 6159513 w 8079933"/>
              <a:gd name="connsiteY36616" fmla="*/ 447916 h 4687251"/>
              <a:gd name="connsiteX36617" fmla="*/ 6162226 w 8079933"/>
              <a:gd name="connsiteY36617" fmla="*/ 452463 h 4687251"/>
              <a:gd name="connsiteX36618" fmla="*/ 6159296 w 8079933"/>
              <a:gd name="connsiteY36618" fmla="*/ 454954 h 4687251"/>
              <a:gd name="connsiteX36619" fmla="*/ 6157234 w 8079933"/>
              <a:gd name="connsiteY36619" fmla="*/ 458960 h 4687251"/>
              <a:gd name="connsiteX36620" fmla="*/ 6158862 w 8079933"/>
              <a:gd name="connsiteY36620" fmla="*/ 460367 h 4687251"/>
              <a:gd name="connsiteX36621" fmla="*/ 6164179 w 8079933"/>
              <a:gd name="connsiteY36621" fmla="*/ 459176 h 4687251"/>
              <a:gd name="connsiteX36622" fmla="*/ 6165589 w 8079933"/>
              <a:gd name="connsiteY36622" fmla="*/ 459934 h 4687251"/>
              <a:gd name="connsiteX36623" fmla="*/ 6165589 w 8079933"/>
              <a:gd name="connsiteY36623" fmla="*/ 456361 h 4687251"/>
              <a:gd name="connsiteX36624" fmla="*/ 6167760 w 8079933"/>
              <a:gd name="connsiteY36624" fmla="*/ 455170 h 4687251"/>
              <a:gd name="connsiteX36625" fmla="*/ 6170907 w 8079933"/>
              <a:gd name="connsiteY36625" fmla="*/ 455928 h 4687251"/>
              <a:gd name="connsiteX36626" fmla="*/ 6169280 w 8079933"/>
              <a:gd name="connsiteY36626" fmla="*/ 450948 h 4687251"/>
              <a:gd name="connsiteX36627" fmla="*/ 6166675 w 8079933"/>
              <a:gd name="connsiteY36627" fmla="*/ 448782 h 4687251"/>
              <a:gd name="connsiteX36628" fmla="*/ 6167760 w 8079933"/>
              <a:gd name="connsiteY36628" fmla="*/ 446617 h 4687251"/>
              <a:gd name="connsiteX36629" fmla="*/ 6172101 w 8079933"/>
              <a:gd name="connsiteY36629" fmla="*/ 446617 h 4687251"/>
              <a:gd name="connsiteX36630" fmla="*/ 6179154 w 8079933"/>
              <a:gd name="connsiteY36630" fmla="*/ 444559 h 4687251"/>
              <a:gd name="connsiteX36631" fmla="*/ 6181433 w 8079933"/>
              <a:gd name="connsiteY36631" fmla="*/ 446725 h 4687251"/>
              <a:gd name="connsiteX36632" fmla="*/ 6184255 w 8079933"/>
              <a:gd name="connsiteY36632" fmla="*/ 445209 h 4687251"/>
              <a:gd name="connsiteX36633" fmla="*/ 6190766 w 8079933"/>
              <a:gd name="connsiteY36633" fmla="*/ 445209 h 4687251"/>
              <a:gd name="connsiteX36634" fmla="*/ 6190766 w 8079933"/>
              <a:gd name="connsiteY36634" fmla="*/ 448565 h 4687251"/>
              <a:gd name="connsiteX36635" fmla="*/ 6192176 w 8079933"/>
              <a:gd name="connsiteY36635" fmla="*/ 454845 h 4687251"/>
              <a:gd name="connsiteX36636" fmla="*/ 6193370 w 8079933"/>
              <a:gd name="connsiteY36636" fmla="*/ 451922 h 4687251"/>
              <a:gd name="connsiteX36637" fmla="*/ 6195649 w 8079933"/>
              <a:gd name="connsiteY36637" fmla="*/ 451922 h 4687251"/>
              <a:gd name="connsiteX36638" fmla="*/ 6199773 w 8079933"/>
              <a:gd name="connsiteY36638" fmla="*/ 448024 h 4687251"/>
              <a:gd name="connsiteX36639" fmla="*/ 6201618 w 8079933"/>
              <a:gd name="connsiteY36639" fmla="*/ 454629 h 4687251"/>
              <a:gd name="connsiteX36640" fmla="*/ 6204439 w 8079933"/>
              <a:gd name="connsiteY36640" fmla="*/ 454629 h 4687251"/>
              <a:gd name="connsiteX36641" fmla="*/ 6208888 w 8079933"/>
              <a:gd name="connsiteY36641" fmla="*/ 451273 h 4687251"/>
              <a:gd name="connsiteX36642" fmla="*/ 6213446 w 8079933"/>
              <a:gd name="connsiteY36642" fmla="*/ 455062 h 4687251"/>
              <a:gd name="connsiteX36643" fmla="*/ 6214965 w 8079933"/>
              <a:gd name="connsiteY36643" fmla="*/ 464264 h 4687251"/>
              <a:gd name="connsiteX36644" fmla="*/ 6218112 w 8079933"/>
              <a:gd name="connsiteY36644" fmla="*/ 458526 h 4687251"/>
              <a:gd name="connsiteX36645" fmla="*/ 6220934 w 8079933"/>
              <a:gd name="connsiteY36645" fmla="*/ 456144 h 4687251"/>
              <a:gd name="connsiteX36646" fmla="*/ 6223104 w 8079933"/>
              <a:gd name="connsiteY36646" fmla="*/ 458202 h 4687251"/>
              <a:gd name="connsiteX36647" fmla="*/ 6220499 w 8079933"/>
              <a:gd name="connsiteY36647" fmla="*/ 464373 h 4687251"/>
              <a:gd name="connsiteX36648" fmla="*/ 6224080 w 8079933"/>
              <a:gd name="connsiteY36648" fmla="*/ 467297 h 4687251"/>
              <a:gd name="connsiteX36649" fmla="*/ 6225708 w 8079933"/>
              <a:gd name="connsiteY36649" fmla="*/ 469354 h 4687251"/>
              <a:gd name="connsiteX36650" fmla="*/ 6230157 w 8079933"/>
              <a:gd name="connsiteY36650" fmla="*/ 469354 h 4687251"/>
              <a:gd name="connsiteX36651" fmla="*/ 6231459 w 8079933"/>
              <a:gd name="connsiteY36651" fmla="*/ 473901 h 4687251"/>
              <a:gd name="connsiteX36652" fmla="*/ 6233412 w 8079933"/>
              <a:gd name="connsiteY36652" fmla="*/ 472060 h 4687251"/>
              <a:gd name="connsiteX36653" fmla="*/ 6235257 w 8079933"/>
              <a:gd name="connsiteY36653" fmla="*/ 471519 h 4687251"/>
              <a:gd name="connsiteX36654" fmla="*/ 6236885 w 8079933"/>
              <a:gd name="connsiteY36654" fmla="*/ 476715 h 4687251"/>
              <a:gd name="connsiteX36655" fmla="*/ 6233304 w 8079933"/>
              <a:gd name="connsiteY36655" fmla="*/ 480722 h 4687251"/>
              <a:gd name="connsiteX36656" fmla="*/ 6233847 w 8079933"/>
              <a:gd name="connsiteY36656" fmla="*/ 486244 h 4687251"/>
              <a:gd name="connsiteX36657" fmla="*/ 6240358 w 8079933"/>
              <a:gd name="connsiteY36657" fmla="*/ 479748 h 4687251"/>
              <a:gd name="connsiteX36658" fmla="*/ 6244264 w 8079933"/>
              <a:gd name="connsiteY36658" fmla="*/ 479748 h 4687251"/>
              <a:gd name="connsiteX36659" fmla="*/ 6245024 w 8079933"/>
              <a:gd name="connsiteY36659" fmla="*/ 483321 h 4687251"/>
              <a:gd name="connsiteX36660" fmla="*/ 6236017 w 8079933"/>
              <a:gd name="connsiteY36660" fmla="*/ 491441 h 4687251"/>
              <a:gd name="connsiteX36661" fmla="*/ 6236668 w 8079933"/>
              <a:gd name="connsiteY36661" fmla="*/ 497937 h 4687251"/>
              <a:gd name="connsiteX36662" fmla="*/ 6244373 w 8079933"/>
              <a:gd name="connsiteY36662" fmla="*/ 499019 h 4687251"/>
              <a:gd name="connsiteX36663" fmla="*/ 6246434 w 8079933"/>
              <a:gd name="connsiteY36663" fmla="*/ 496421 h 4687251"/>
              <a:gd name="connsiteX36664" fmla="*/ 6249690 w 8079933"/>
              <a:gd name="connsiteY36664" fmla="*/ 494364 h 4687251"/>
              <a:gd name="connsiteX36665" fmla="*/ 6252512 w 8079933"/>
              <a:gd name="connsiteY36665" fmla="*/ 495880 h 4687251"/>
              <a:gd name="connsiteX36666" fmla="*/ 6253489 w 8079933"/>
              <a:gd name="connsiteY36666" fmla="*/ 499886 h 4687251"/>
              <a:gd name="connsiteX36667" fmla="*/ 6256961 w 8079933"/>
              <a:gd name="connsiteY36667" fmla="*/ 497829 h 4687251"/>
              <a:gd name="connsiteX36668" fmla="*/ 6262278 w 8079933"/>
              <a:gd name="connsiteY36668" fmla="*/ 503567 h 4687251"/>
              <a:gd name="connsiteX36669" fmla="*/ 6260650 w 8079933"/>
              <a:gd name="connsiteY36669" fmla="*/ 510713 h 4687251"/>
              <a:gd name="connsiteX36670" fmla="*/ 6265208 w 8079933"/>
              <a:gd name="connsiteY36670" fmla="*/ 509955 h 4687251"/>
              <a:gd name="connsiteX36671" fmla="*/ 6266293 w 8079933"/>
              <a:gd name="connsiteY36671" fmla="*/ 513528 h 4687251"/>
              <a:gd name="connsiteX36672" fmla="*/ 6270091 w 8079933"/>
              <a:gd name="connsiteY36672" fmla="*/ 511904 h 4687251"/>
              <a:gd name="connsiteX36673" fmla="*/ 6270091 w 8079933"/>
              <a:gd name="connsiteY36673" fmla="*/ 515476 h 4687251"/>
              <a:gd name="connsiteX36674" fmla="*/ 6265967 w 8079933"/>
              <a:gd name="connsiteY36674" fmla="*/ 522839 h 4687251"/>
              <a:gd name="connsiteX36675" fmla="*/ 6260759 w 8079933"/>
              <a:gd name="connsiteY36675" fmla="*/ 525004 h 4687251"/>
              <a:gd name="connsiteX36676" fmla="*/ 6256418 w 8079933"/>
              <a:gd name="connsiteY36676" fmla="*/ 521757 h 4687251"/>
              <a:gd name="connsiteX36677" fmla="*/ 6247194 w 8079933"/>
              <a:gd name="connsiteY36677" fmla="*/ 519374 h 4687251"/>
              <a:gd name="connsiteX36678" fmla="*/ 6236343 w 8079933"/>
              <a:gd name="connsiteY36678" fmla="*/ 519374 h 4687251"/>
              <a:gd name="connsiteX36679" fmla="*/ 6240467 w 8079933"/>
              <a:gd name="connsiteY36679" fmla="*/ 522082 h 4687251"/>
              <a:gd name="connsiteX36680" fmla="*/ 6242311 w 8079933"/>
              <a:gd name="connsiteY36680" fmla="*/ 527170 h 4687251"/>
              <a:gd name="connsiteX36681" fmla="*/ 6251535 w 8079933"/>
              <a:gd name="connsiteY36681" fmla="*/ 528253 h 4687251"/>
              <a:gd name="connsiteX36682" fmla="*/ 6253380 w 8079933"/>
              <a:gd name="connsiteY36682" fmla="*/ 531825 h 4687251"/>
              <a:gd name="connsiteX36683" fmla="*/ 6262278 w 8079933"/>
              <a:gd name="connsiteY36683" fmla="*/ 538539 h 4687251"/>
              <a:gd name="connsiteX36684" fmla="*/ 6271176 w 8079933"/>
              <a:gd name="connsiteY36684" fmla="*/ 540920 h 4687251"/>
              <a:gd name="connsiteX36685" fmla="*/ 6276820 w 8079933"/>
              <a:gd name="connsiteY36685" fmla="*/ 537131 h 4687251"/>
              <a:gd name="connsiteX36686" fmla="*/ 6276820 w 8079933"/>
              <a:gd name="connsiteY36686" fmla="*/ 532259 h 4687251"/>
              <a:gd name="connsiteX36687" fmla="*/ 6272262 w 8079933"/>
              <a:gd name="connsiteY36687" fmla="*/ 527928 h 4687251"/>
              <a:gd name="connsiteX36688" fmla="*/ 6270851 w 8079933"/>
              <a:gd name="connsiteY36688" fmla="*/ 524896 h 4687251"/>
              <a:gd name="connsiteX36689" fmla="*/ 6272262 w 8079933"/>
              <a:gd name="connsiteY36689" fmla="*/ 524896 h 4687251"/>
              <a:gd name="connsiteX36690" fmla="*/ 6277688 w 8079933"/>
              <a:gd name="connsiteY36690" fmla="*/ 530310 h 4687251"/>
              <a:gd name="connsiteX36691" fmla="*/ 6283330 w 8079933"/>
              <a:gd name="connsiteY36691" fmla="*/ 533017 h 4687251"/>
              <a:gd name="connsiteX36692" fmla="*/ 6286586 w 8079933"/>
              <a:gd name="connsiteY36692" fmla="*/ 535182 h 4687251"/>
              <a:gd name="connsiteX36693" fmla="*/ 6282462 w 8079933"/>
              <a:gd name="connsiteY36693" fmla="*/ 535182 h 4687251"/>
              <a:gd name="connsiteX36694" fmla="*/ 6273022 w 8079933"/>
              <a:gd name="connsiteY36694" fmla="*/ 544060 h 4687251"/>
              <a:gd name="connsiteX36695" fmla="*/ 6275192 w 8079933"/>
              <a:gd name="connsiteY36695" fmla="*/ 546984 h 4687251"/>
              <a:gd name="connsiteX36696" fmla="*/ 6279315 w 8079933"/>
              <a:gd name="connsiteY36696" fmla="*/ 546984 h 4687251"/>
              <a:gd name="connsiteX36697" fmla="*/ 6282354 w 8079933"/>
              <a:gd name="connsiteY36697" fmla="*/ 544602 h 4687251"/>
              <a:gd name="connsiteX36698" fmla="*/ 6289191 w 8079933"/>
              <a:gd name="connsiteY36698" fmla="*/ 544602 h 4687251"/>
              <a:gd name="connsiteX36699" fmla="*/ 6304708 w 8079933"/>
              <a:gd name="connsiteY36699" fmla="*/ 558893 h 4687251"/>
              <a:gd name="connsiteX36700" fmla="*/ 6308724 w 8079933"/>
              <a:gd name="connsiteY36700" fmla="*/ 560517 h 4687251"/>
              <a:gd name="connsiteX36701" fmla="*/ 6313607 w 8079933"/>
              <a:gd name="connsiteY36701" fmla="*/ 566797 h 4687251"/>
              <a:gd name="connsiteX36702" fmla="*/ 6324458 w 8079933"/>
              <a:gd name="connsiteY36702" fmla="*/ 567880 h 4687251"/>
              <a:gd name="connsiteX36703" fmla="*/ 6331295 w 8079933"/>
              <a:gd name="connsiteY36703" fmla="*/ 575784 h 4687251"/>
              <a:gd name="connsiteX36704" fmla="*/ 6338348 w 8079933"/>
              <a:gd name="connsiteY36704" fmla="*/ 577408 h 4687251"/>
              <a:gd name="connsiteX36705" fmla="*/ 6339976 w 8079933"/>
              <a:gd name="connsiteY36705" fmla="*/ 574376 h 4687251"/>
              <a:gd name="connsiteX36706" fmla="*/ 6338132 w 8079933"/>
              <a:gd name="connsiteY36706" fmla="*/ 571128 h 4687251"/>
              <a:gd name="connsiteX36707" fmla="*/ 6340628 w 8079933"/>
              <a:gd name="connsiteY36707" fmla="*/ 569287 h 4687251"/>
              <a:gd name="connsiteX36708" fmla="*/ 6344751 w 8079933"/>
              <a:gd name="connsiteY36708" fmla="*/ 573618 h 4687251"/>
              <a:gd name="connsiteX36709" fmla="*/ 6345835 w 8079933"/>
              <a:gd name="connsiteY36709" fmla="*/ 577408 h 4687251"/>
              <a:gd name="connsiteX36710" fmla="*/ 6348766 w 8079933"/>
              <a:gd name="connsiteY36710" fmla="*/ 581738 h 4687251"/>
              <a:gd name="connsiteX36711" fmla="*/ 6351696 w 8079933"/>
              <a:gd name="connsiteY36711" fmla="*/ 581738 h 4687251"/>
              <a:gd name="connsiteX36712" fmla="*/ 6352998 w 8079933"/>
              <a:gd name="connsiteY36712" fmla="*/ 576324 h 4687251"/>
              <a:gd name="connsiteX36713" fmla="*/ 6348115 w 8079933"/>
              <a:gd name="connsiteY36713" fmla="*/ 551098 h 4687251"/>
              <a:gd name="connsiteX36714" fmla="*/ 6343015 w 8079933"/>
              <a:gd name="connsiteY36714" fmla="*/ 540271 h 4687251"/>
              <a:gd name="connsiteX36715" fmla="*/ 6336286 w 8079933"/>
              <a:gd name="connsiteY36715" fmla="*/ 525979 h 4687251"/>
              <a:gd name="connsiteX36716" fmla="*/ 6334876 w 8079933"/>
              <a:gd name="connsiteY36716" fmla="*/ 513311 h 4687251"/>
              <a:gd name="connsiteX36717" fmla="*/ 6331295 w 8079933"/>
              <a:gd name="connsiteY36717" fmla="*/ 505516 h 4687251"/>
              <a:gd name="connsiteX36718" fmla="*/ 6331295 w 8079933"/>
              <a:gd name="connsiteY36718" fmla="*/ 501943 h 4687251"/>
              <a:gd name="connsiteX36719" fmla="*/ 6335635 w 8079933"/>
              <a:gd name="connsiteY36719" fmla="*/ 503784 h 4687251"/>
              <a:gd name="connsiteX36720" fmla="*/ 6338565 w 8079933"/>
              <a:gd name="connsiteY36720" fmla="*/ 509955 h 4687251"/>
              <a:gd name="connsiteX36721" fmla="*/ 6343774 w 8079933"/>
              <a:gd name="connsiteY36721" fmla="*/ 515585 h 4687251"/>
              <a:gd name="connsiteX36722" fmla="*/ 6349526 w 8079933"/>
              <a:gd name="connsiteY36722" fmla="*/ 516992 h 4687251"/>
              <a:gd name="connsiteX36723" fmla="*/ 6354626 w 8079933"/>
              <a:gd name="connsiteY36723" fmla="*/ 522731 h 4687251"/>
              <a:gd name="connsiteX36724" fmla="*/ 6363524 w 8079933"/>
              <a:gd name="connsiteY36724" fmla="*/ 523597 h 4687251"/>
              <a:gd name="connsiteX36725" fmla="*/ 6382298 w 8079933"/>
              <a:gd name="connsiteY36725" fmla="*/ 521432 h 4687251"/>
              <a:gd name="connsiteX36726" fmla="*/ 6386421 w 8079933"/>
              <a:gd name="connsiteY36726" fmla="*/ 523056 h 4687251"/>
              <a:gd name="connsiteX36727" fmla="*/ 6390002 w 8079933"/>
              <a:gd name="connsiteY36727" fmla="*/ 521215 h 4687251"/>
              <a:gd name="connsiteX36728" fmla="*/ 6394668 w 8079933"/>
              <a:gd name="connsiteY36728" fmla="*/ 525221 h 4687251"/>
              <a:gd name="connsiteX36729" fmla="*/ 6395536 w 8079933"/>
              <a:gd name="connsiteY36729" fmla="*/ 523922 h 4687251"/>
              <a:gd name="connsiteX36730" fmla="*/ 6391955 w 8079933"/>
              <a:gd name="connsiteY36730" fmla="*/ 518508 h 4687251"/>
              <a:gd name="connsiteX36731" fmla="*/ 6393040 w 8079933"/>
              <a:gd name="connsiteY36731" fmla="*/ 515476 h 4687251"/>
              <a:gd name="connsiteX36732" fmla="*/ 6389460 w 8079933"/>
              <a:gd name="connsiteY36732" fmla="*/ 512012 h 4687251"/>
              <a:gd name="connsiteX36733" fmla="*/ 6391413 w 8079933"/>
              <a:gd name="connsiteY36733" fmla="*/ 509630 h 4687251"/>
              <a:gd name="connsiteX36734" fmla="*/ 6392172 w 8079933"/>
              <a:gd name="connsiteY36734" fmla="*/ 505083 h 4687251"/>
              <a:gd name="connsiteX36735" fmla="*/ 6408233 w 8079933"/>
              <a:gd name="connsiteY36735" fmla="*/ 498370 h 4687251"/>
              <a:gd name="connsiteX36736" fmla="*/ 6410729 w 8079933"/>
              <a:gd name="connsiteY36736" fmla="*/ 499669 h 4687251"/>
              <a:gd name="connsiteX36737" fmla="*/ 6414744 w 8079933"/>
              <a:gd name="connsiteY36737" fmla="*/ 498911 h 4687251"/>
              <a:gd name="connsiteX36738" fmla="*/ 6419844 w 8079933"/>
              <a:gd name="connsiteY36738" fmla="*/ 501835 h 4687251"/>
              <a:gd name="connsiteX36739" fmla="*/ 6427223 w 8079933"/>
              <a:gd name="connsiteY36739" fmla="*/ 501835 h 4687251"/>
              <a:gd name="connsiteX36740" fmla="*/ 6432866 w 8079933"/>
              <a:gd name="connsiteY36740" fmla="*/ 507465 h 4687251"/>
              <a:gd name="connsiteX36741" fmla="*/ 6438510 w 8079933"/>
              <a:gd name="connsiteY36741" fmla="*/ 509089 h 4687251"/>
              <a:gd name="connsiteX36742" fmla="*/ 6441547 w 8079933"/>
              <a:gd name="connsiteY36742" fmla="*/ 514178 h 4687251"/>
              <a:gd name="connsiteX36743" fmla="*/ 6449469 w 8079933"/>
              <a:gd name="connsiteY36743" fmla="*/ 514178 h 4687251"/>
              <a:gd name="connsiteX36744" fmla="*/ 6451965 w 8079933"/>
              <a:gd name="connsiteY36744" fmla="*/ 518833 h 4687251"/>
              <a:gd name="connsiteX36745" fmla="*/ 6462817 w 8079933"/>
              <a:gd name="connsiteY36745" fmla="*/ 518833 h 4687251"/>
              <a:gd name="connsiteX36746" fmla="*/ 6456089 w 8079933"/>
              <a:gd name="connsiteY36746" fmla="*/ 515044 h 4687251"/>
              <a:gd name="connsiteX36747" fmla="*/ 6456089 w 8079933"/>
              <a:gd name="connsiteY36747" fmla="*/ 512662 h 4687251"/>
              <a:gd name="connsiteX36748" fmla="*/ 6462600 w 8079933"/>
              <a:gd name="connsiteY36748" fmla="*/ 514502 h 4687251"/>
              <a:gd name="connsiteX36749" fmla="*/ 6466941 w 8079933"/>
              <a:gd name="connsiteY36749" fmla="*/ 511037 h 4687251"/>
              <a:gd name="connsiteX36750" fmla="*/ 6461732 w 8079933"/>
              <a:gd name="connsiteY36750" fmla="*/ 508331 h 4687251"/>
              <a:gd name="connsiteX36751" fmla="*/ 6465530 w 8079933"/>
              <a:gd name="connsiteY36751" fmla="*/ 505083 h 4687251"/>
              <a:gd name="connsiteX36752" fmla="*/ 6461406 w 8079933"/>
              <a:gd name="connsiteY36752" fmla="*/ 500752 h 4687251"/>
              <a:gd name="connsiteX36753" fmla="*/ 6455221 w 8079933"/>
              <a:gd name="connsiteY36753" fmla="*/ 504000 h 4687251"/>
              <a:gd name="connsiteX36754" fmla="*/ 6449795 w 8079933"/>
              <a:gd name="connsiteY36754" fmla="*/ 502593 h 4687251"/>
              <a:gd name="connsiteX36755" fmla="*/ 6449035 w 8079933"/>
              <a:gd name="connsiteY36755" fmla="*/ 495013 h 4687251"/>
              <a:gd name="connsiteX36756" fmla="*/ 6446865 w 8079933"/>
              <a:gd name="connsiteY36756" fmla="*/ 489600 h 4687251"/>
              <a:gd name="connsiteX36757" fmla="*/ 6449795 w 8079933"/>
              <a:gd name="connsiteY36757" fmla="*/ 487218 h 4687251"/>
              <a:gd name="connsiteX36758" fmla="*/ 6452725 w 8079933"/>
              <a:gd name="connsiteY36758" fmla="*/ 489708 h 4687251"/>
              <a:gd name="connsiteX36759" fmla="*/ 6456848 w 8079933"/>
              <a:gd name="connsiteY36759" fmla="*/ 487001 h 4687251"/>
              <a:gd name="connsiteX36760" fmla="*/ 6454353 w 8079933"/>
              <a:gd name="connsiteY36760" fmla="*/ 483212 h 4687251"/>
              <a:gd name="connsiteX36761" fmla="*/ 6457934 w 8079933"/>
              <a:gd name="connsiteY36761" fmla="*/ 481913 h 4687251"/>
              <a:gd name="connsiteX36762" fmla="*/ 6465312 w 8079933"/>
              <a:gd name="connsiteY36762" fmla="*/ 487543 h 4687251"/>
              <a:gd name="connsiteX36763" fmla="*/ 6467266 w 8079933"/>
              <a:gd name="connsiteY36763" fmla="*/ 492740 h 4687251"/>
              <a:gd name="connsiteX36764" fmla="*/ 6470305 w 8079933"/>
              <a:gd name="connsiteY36764" fmla="*/ 491658 h 4687251"/>
              <a:gd name="connsiteX36765" fmla="*/ 6473018 w 8079933"/>
              <a:gd name="connsiteY36765" fmla="*/ 494040 h 4687251"/>
              <a:gd name="connsiteX36766" fmla="*/ 6475948 w 8079933"/>
              <a:gd name="connsiteY36766" fmla="*/ 492415 h 4687251"/>
              <a:gd name="connsiteX36767" fmla="*/ 6474320 w 8079933"/>
              <a:gd name="connsiteY36767" fmla="*/ 486785 h 4687251"/>
              <a:gd name="connsiteX36768" fmla="*/ 6479420 w 8079933"/>
              <a:gd name="connsiteY36768" fmla="*/ 484836 h 4687251"/>
              <a:gd name="connsiteX36769" fmla="*/ 6483001 w 8079933"/>
              <a:gd name="connsiteY36769" fmla="*/ 487326 h 4687251"/>
              <a:gd name="connsiteX36770" fmla="*/ 6484303 w 8079933"/>
              <a:gd name="connsiteY36770" fmla="*/ 482995 h 4687251"/>
              <a:gd name="connsiteX36771" fmla="*/ 6476924 w 8079933"/>
              <a:gd name="connsiteY36771" fmla="*/ 474334 h 4687251"/>
              <a:gd name="connsiteX36772" fmla="*/ 6471064 w 8079933"/>
              <a:gd name="connsiteY36772" fmla="*/ 473793 h 4687251"/>
              <a:gd name="connsiteX36773" fmla="*/ 6465312 w 8079933"/>
              <a:gd name="connsiteY36773" fmla="*/ 467838 h 4687251"/>
              <a:gd name="connsiteX36774" fmla="*/ 6466398 w 8079933"/>
              <a:gd name="connsiteY36774" fmla="*/ 462424 h 4687251"/>
              <a:gd name="connsiteX36775" fmla="*/ 6463902 w 8079933"/>
              <a:gd name="connsiteY36775" fmla="*/ 458634 h 4687251"/>
              <a:gd name="connsiteX36776" fmla="*/ 6458910 w 8079933"/>
              <a:gd name="connsiteY36776" fmla="*/ 460800 h 4687251"/>
              <a:gd name="connsiteX36777" fmla="*/ 6454027 w 8079933"/>
              <a:gd name="connsiteY36777" fmla="*/ 459501 h 4687251"/>
              <a:gd name="connsiteX36778" fmla="*/ 6459996 w 8079933"/>
              <a:gd name="connsiteY36778" fmla="*/ 456036 h 4687251"/>
              <a:gd name="connsiteX36779" fmla="*/ 6457825 w 8079933"/>
              <a:gd name="connsiteY36779" fmla="*/ 451922 h 4687251"/>
              <a:gd name="connsiteX36780" fmla="*/ 6458910 w 8079933"/>
              <a:gd name="connsiteY36780" fmla="*/ 450623 h 4687251"/>
              <a:gd name="connsiteX36781" fmla="*/ 6455112 w 8079933"/>
              <a:gd name="connsiteY36781" fmla="*/ 444885 h 4687251"/>
              <a:gd name="connsiteX36782" fmla="*/ 6463251 w 8079933"/>
              <a:gd name="connsiteY36782" fmla="*/ 444885 h 4687251"/>
              <a:gd name="connsiteX36783" fmla="*/ 6464879 w 8079933"/>
              <a:gd name="connsiteY36783" fmla="*/ 436222 h 4687251"/>
              <a:gd name="connsiteX36784" fmla="*/ 6455980 w 8079933"/>
              <a:gd name="connsiteY36784" fmla="*/ 438929 h 4687251"/>
              <a:gd name="connsiteX36785" fmla="*/ 6450881 w 8079933"/>
              <a:gd name="connsiteY36785" fmla="*/ 444018 h 4687251"/>
              <a:gd name="connsiteX36786" fmla="*/ 6450012 w 8079933"/>
              <a:gd name="connsiteY36786" fmla="*/ 449215 h 4687251"/>
              <a:gd name="connsiteX36787" fmla="*/ 6441547 w 8079933"/>
              <a:gd name="connsiteY36787" fmla="*/ 446833 h 4687251"/>
              <a:gd name="connsiteX36788" fmla="*/ 6436448 w 8079933"/>
              <a:gd name="connsiteY36788" fmla="*/ 437630 h 4687251"/>
              <a:gd name="connsiteX36789" fmla="*/ 6439160 w 8079933"/>
              <a:gd name="connsiteY36789" fmla="*/ 433083 h 4687251"/>
              <a:gd name="connsiteX36790" fmla="*/ 6440028 w 8079933"/>
              <a:gd name="connsiteY36790" fmla="*/ 426370 h 4687251"/>
              <a:gd name="connsiteX36791" fmla="*/ 6448167 w 8079933"/>
              <a:gd name="connsiteY36791" fmla="*/ 423338 h 4687251"/>
              <a:gd name="connsiteX36792" fmla="*/ 6453268 w 8079933"/>
              <a:gd name="connsiteY36792" fmla="*/ 424096 h 4687251"/>
              <a:gd name="connsiteX36793" fmla="*/ 6461623 w 8079933"/>
              <a:gd name="connsiteY36793" fmla="*/ 416301 h 4687251"/>
              <a:gd name="connsiteX36794" fmla="*/ 6461623 w 8079933"/>
              <a:gd name="connsiteY36794" fmla="*/ 412836 h 4687251"/>
              <a:gd name="connsiteX36795" fmla="*/ 6456740 w 8079933"/>
              <a:gd name="connsiteY36795" fmla="*/ 407098 h 4687251"/>
              <a:gd name="connsiteX36796" fmla="*/ 6452182 w 8079933"/>
              <a:gd name="connsiteY36796" fmla="*/ 407856 h 4687251"/>
              <a:gd name="connsiteX36797" fmla="*/ 6447624 w 8079933"/>
              <a:gd name="connsiteY36797" fmla="*/ 406015 h 4687251"/>
              <a:gd name="connsiteX36798" fmla="*/ 6439486 w 8079933"/>
              <a:gd name="connsiteY36798" fmla="*/ 406015 h 4687251"/>
              <a:gd name="connsiteX36799" fmla="*/ 6434277 w 8079933"/>
              <a:gd name="connsiteY36799" fmla="*/ 399735 h 4687251"/>
              <a:gd name="connsiteX36800" fmla="*/ 6441114 w 8079933"/>
              <a:gd name="connsiteY36800" fmla="*/ 397028 h 4687251"/>
              <a:gd name="connsiteX36801" fmla="*/ 6450555 w 8079933"/>
              <a:gd name="connsiteY36801" fmla="*/ 395621 h 4687251"/>
              <a:gd name="connsiteX36802" fmla="*/ 6461406 w 8079933"/>
              <a:gd name="connsiteY36802" fmla="*/ 400277 h 4687251"/>
              <a:gd name="connsiteX36803" fmla="*/ 6471390 w 8079933"/>
              <a:gd name="connsiteY36803" fmla="*/ 398328 h 4687251"/>
              <a:gd name="connsiteX36804" fmla="*/ 6487451 w 8079933"/>
              <a:gd name="connsiteY36804" fmla="*/ 398328 h 4687251"/>
              <a:gd name="connsiteX36805" fmla="*/ 6515122 w 8079933"/>
              <a:gd name="connsiteY36805" fmla="*/ 396379 h 4687251"/>
              <a:gd name="connsiteX36806" fmla="*/ 6519679 w 8079933"/>
              <a:gd name="connsiteY36806" fmla="*/ 393673 h 4687251"/>
              <a:gd name="connsiteX36807" fmla="*/ 6540081 w 8079933"/>
              <a:gd name="connsiteY36807" fmla="*/ 393673 h 4687251"/>
              <a:gd name="connsiteX36808" fmla="*/ 6549304 w 8079933"/>
              <a:gd name="connsiteY36808" fmla="*/ 394755 h 4687251"/>
              <a:gd name="connsiteX36809" fmla="*/ 6556141 w 8079933"/>
              <a:gd name="connsiteY36809" fmla="*/ 393673 h 4687251"/>
              <a:gd name="connsiteX36810" fmla="*/ 6567752 w 8079933"/>
              <a:gd name="connsiteY36810" fmla="*/ 393673 h 4687251"/>
              <a:gd name="connsiteX36811" fmla="*/ 6561567 w 8079933"/>
              <a:gd name="connsiteY36811" fmla="*/ 395621 h 4687251"/>
              <a:gd name="connsiteX36812" fmla="*/ 6545615 w 8079933"/>
              <a:gd name="connsiteY36812" fmla="*/ 402659 h 4687251"/>
              <a:gd name="connsiteX36813" fmla="*/ 6540298 w 8079933"/>
              <a:gd name="connsiteY36813" fmla="*/ 399952 h 4687251"/>
              <a:gd name="connsiteX36814" fmla="*/ 6537802 w 8079933"/>
              <a:gd name="connsiteY36814" fmla="*/ 400818 h 4687251"/>
              <a:gd name="connsiteX36815" fmla="*/ 6532702 w 8079933"/>
              <a:gd name="connsiteY36815" fmla="*/ 398869 h 4687251"/>
              <a:gd name="connsiteX36816" fmla="*/ 6529663 w 8079933"/>
              <a:gd name="connsiteY36816" fmla="*/ 408938 h 4687251"/>
              <a:gd name="connsiteX36817" fmla="*/ 6534546 w 8079933"/>
              <a:gd name="connsiteY36817" fmla="*/ 414352 h 4687251"/>
              <a:gd name="connsiteX36818" fmla="*/ 6530531 w 8079933"/>
              <a:gd name="connsiteY36818" fmla="*/ 415976 h 4687251"/>
              <a:gd name="connsiteX36819" fmla="*/ 6529446 w 8079933"/>
              <a:gd name="connsiteY36819" fmla="*/ 419549 h 4687251"/>
              <a:gd name="connsiteX36820" fmla="*/ 6534112 w 8079933"/>
              <a:gd name="connsiteY36820" fmla="*/ 422473 h 4687251"/>
              <a:gd name="connsiteX36821" fmla="*/ 6541165 w 8079933"/>
              <a:gd name="connsiteY36821" fmla="*/ 417383 h 4687251"/>
              <a:gd name="connsiteX36822" fmla="*/ 6541165 w 8079933"/>
              <a:gd name="connsiteY36822" fmla="*/ 412295 h 4687251"/>
              <a:gd name="connsiteX36823" fmla="*/ 6553645 w 8079933"/>
              <a:gd name="connsiteY36823" fmla="*/ 403850 h 4687251"/>
              <a:gd name="connsiteX36824" fmla="*/ 6569706 w 8079933"/>
              <a:gd name="connsiteY36824" fmla="*/ 397570 h 4687251"/>
              <a:gd name="connsiteX36825" fmla="*/ 6572093 w 8079933"/>
              <a:gd name="connsiteY36825" fmla="*/ 406232 h 4687251"/>
              <a:gd name="connsiteX36826" fmla="*/ 6572853 w 8079933"/>
              <a:gd name="connsiteY36826" fmla="*/ 418467 h 4687251"/>
              <a:gd name="connsiteX36827" fmla="*/ 6571442 w 8079933"/>
              <a:gd name="connsiteY36827" fmla="*/ 421173 h 4687251"/>
              <a:gd name="connsiteX36828" fmla="*/ 6568512 w 8079933"/>
              <a:gd name="connsiteY36828" fmla="*/ 413377 h 4687251"/>
              <a:gd name="connsiteX36829" fmla="*/ 6563846 w 8079933"/>
              <a:gd name="connsiteY36829" fmla="*/ 408830 h 4687251"/>
              <a:gd name="connsiteX36830" fmla="*/ 6563846 w 8079933"/>
              <a:gd name="connsiteY36830" fmla="*/ 403741 h 4687251"/>
              <a:gd name="connsiteX36831" fmla="*/ 6558962 w 8079933"/>
              <a:gd name="connsiteY36831" fmla="*/ 408073 h 4687251"/>
              <a:gd name="connsiteX36832" fmla="*/ 6555708 w 8079933"/>
              <a:gd name="connsiteY36832" fmla="*/ 406773 h 4687251"/>
              <a:gd name="connsiteX36833" fmla="*/ 6558854 w 8079933"/>
              <a:gd name="connsiteY36833" fmla="*/ 415218 h 4687251"/>
              <a:gd name="connsiteX36834" fmla="*/ 6563737 w 8079933"/>
              <a:gd name="connsiteY36834" fmla="*/ 417167 h 4687251"/>
              <a:gd name="connsiteX36835" fmla="*/ 6565582 w 8079933"/>
              <a:gd name="connsiteY36835" fmla="*/ 426695 h 4687251"/>
              <a:gd name="connsiteX36836" fmla="*/ 6562110 w 8079933"/>
              <a:gd name="connsiteY36836" fmla="*/ 434274 h 4687251"/>
              <a:gd name="connsiteX36837" fmla="*/ 6558854 w 8079933"/>
              <a:gd name="connsiteY36837" fmla="*/ 432866 h 4687251"/>
              <a:gd name="connsiteX36838" fmla="*/ 6555381 w 8079933"/>
              <a:gd name="connsiteY36838" fmla="*/ 435790 h 4687251"/>
              <a:gd name="connsiteX36839" fmla="*/ 6561024 w 8079933"/>
              <a:gd name="connsiteY36839" fmla="*/ 439579 h 4687251"/>
              <a:gd name="connsiteX36840" fmla="*/ 6561024 w 8079933"/>
              <a:gd name="connsiteY36840" fmla="*/ 442827 h 4687251"/>
              <a:gd name="connsiteX36841" fmla="*/ 6563195 w 8079933"/>
              <a:gd name="connsiteY36841" fmla="*/ 445209 h 4687251"/>
              <a:gd name="connsiteX36842" fmla="*/ 6567210 w 8079933"/>
              <a:gd name="connsiteY36842" fmla="*/ 445209 h 4687251"/>
              <a:gd name="connsiteX36843" fmla="*/ 6573396 w 8079933"/>
              <a:gd name="connsiteY36843" fmla="*/ 440337 h 4687251"/>
              <a:gd name="connsiteX36844" fmla="*/ 6573396 w 8079933"/>
              <a:gd name="connsiteY36844" fmla="*/ 433191 h 4687251"/>
              <a:gd name="connsiteX36845" fmla="*/ 6578062 w 8079933"/>
              <a:gd name="connsiteY36845" fmla="*/ 426153 h 4687251"/>
              <a:gd name="connsiteX36846" fmla="*/ 6576217 w 8079933"/>
              <a:gd name="connsiteY36846" fmla="*/ 421606 h 4687251"/>
              <a:gd name="connsiteX36847" fmla="*/ 6576759 w 8079933"/>
              <a:gd name="connsiteY36847" fmla="*/ 415110 h 4687251"/>
              <a:gd name="connsiteX36848" fmla="*/ 6574915 w 8079933"/>
              <a:gd name="connsiteY36848" fmla="*/ 390749 h 4687251"/>
              <a:gd name="connsiteX36849" fmla="*/ 6583270 w 8079933"/>
              <a:gd name="connsiteY36849" fmla="*/ 384037 h 4687251"/>
              <a:gd name="connsiteX36850" fmla="*/ 6595967 w 8079933"/>
              <a:gd name="connsiteY36850" fmla="*/ 381329 h 4687251"/>
              <a:gd name="connsiteX36851" fmla="*/ 6609857 w 8079933"/>
              <a:gd name="connsiteY36851" fmla="*/ 377757 h 4687251"/>
              <a:gd name="connsiteX36852" fmla="*/ 6622662 w 8079933"/>
              <a:gd name="connsiteY36852" fmla="*/ 379380 h 4687251"/>
              <a:gd name="connsiteX36853" fmla="*/ 6638614 w 8079933"/>
              <a:gd name="connsiteY36853" fmla="*/ 385119 h 4687251"/>
              <a:gd name="connsiteX36854" fmla="*/ 6646536 w 8079933"/>
              <a:gd name="connsiteY36854" fmla="*/ 395946 h 4687251"/>
              <a:gd name="connsiteX36855" fmla="*/ 6645776 w 8079933"/>
              <a:gd name="connsiteY36855" fmla="*/ 401359 h 4687251"/>
              <a:gd name="connsiteX36856" fmla="*/ 6641760 w 8079933"/>
              <a:gd name="connsiteY36856" fmla="*/ 404283 h 4687251"/>
              <a:gd name="connsiteX36857" fmla="*/ 6633080 w 8079933"/>
              <a:gd name="connsiteY36857" fmla="*/ 397570 h 4687251"/>
              <a:gd name="connsiteX36858" fmla="*/ 6632211 w 8079933"/>
              <a:gd name="connsiteY36858" fmla="*/ 398978 h 4687251"/>
              <a:gd name="connsiteX36859" fmla="*/ 6633840 w 8079933"/>
              <a:gd name="connsiteY36859" fmla="*/ 404066 h 4687251"/>
              <a:gd name="connsiteX36860" fmla="*/ 6633840 w 8079933"/>
              <a:gd name="connsiteY36860" fmla="*/ 408722 h 4687251"/>
              <a:gd name="connsiteX36861" fmla="*/ 6634924 w 8079933"/>
              <a:gd name="connsiteY36861" fmla="*/ 413269 h 4687251"/>
              <a:gd name="connsiteX36862" fmla="*/ 6630800 w 8079933"/>
              <a:gd name="connsiteY36862" fmla="*/ 416734 h 4687251"/>
              <a:gd name="connsiteX36863" fmla="*/ 6634273 w 8079933"/>
              <a:gd name="connsiteY36863" fmla="*/ 418141 h 4687251"/>
              <a:gd name="connsiteX36864" fmla="*/ 6639482 w 8079933"/>
              <a:gd name="connsiteY36864" fmla="*/ 414893 h 4687251"/>
              <a:gd name="connsiteX36865" fmla="*/ 6647620 w 8079933"/>
              <a:gd name="connsiteY36865" fmla="*/ 414352 h 4687251"/>
              <a:gd name="connsiteX36866" fmla="*/ 6652504 w 8079933"/>
              <a:gd name="connsiteY36866" fmla="*/ 409479 h 4687251"/>
              <a:gd name="connsiteX36867" fmla="*/ 6654674 w 8079933"/>
              <a:gd name="connsiteY36867" fmla="*/ 416517 h 4687251"/>
              <a:gd name="connsiteX36868" fmla="*/ 6657387 w 8079933"/>
              <a:gd name="connsiteY36868" fmla="*/ 421606 h 4687251"/>
              <a:gd name="connsiteX36869" fmla="*/ 6658147 w 8079933"/>
              <a:gd name="connsiteY36869" fmla="*/ 427561 h 4687251"/>
              <a:gd name="connsiteX36870" fmla="*/ 6661077 w 8079933"/>
              <a:gd name="connsiteY36870" fmla="*/ 430593 h 4687251"/>
              <a:gd name="connsiteX36871" fmla="*/ 6664115 w 8079933"/>
              <a:gd name="connsiteY36871" fmla="*/ 425179 h 4687251"/>
              <a:gd name="connsiteX36872" fmla="*/ 6663247 w 8079933"/>
              <a:gd name="connsiteY36872" fmla="*/ 421931 h 4687251"/>
              <a:gd name="connsiteX36873" fmla="*/ 6668998 w 8079933"/>
              <a:gd name="connsiteY36873" fmla="*/ 416734 h 4687251"/>
              <a:gd name="connsiteX36874" fmla="*/ 6674750 w 8079933"/>
              <a:gd name="connsiteY36874" fmla="*/ 419657 h 4687251"/>
              <a:gd name="connsiteX36875" fmla="*/ 6676920 w 8079933"/>
              <a:gd name="connsiteY36875" fmla="*/ 425612 h 4687251"/>
              <a:gd name="connsiteX36876" fmla="*/ 6674750 w 8079933"/>
              <a:gd name="connsiteY36876" fmla="*/ 428860 h 4687251"/>
              <a:gd name="connsiteX36877" fmla="*/ 6672905 w 8079933"/>
              <a:gd name="connsiteY36877" fmla="*/ 435573 h 4687251"/>
              <a:gd name="connsiteX36878" fmla="*/ 6674316 w 8079933"/>
              <a:gd name="connsiteY36878" fmla="*/ 437955 h 4687251"/>
              <a:gd name="connsiteX36879" fmla="*/ 6677788 w 8079933"/>
              <a:gd name="connsiteY36879" fmla="*/ 436114 h 4687251"/>
              <a:gd name="connsiteX36880" fmla="*/ 6680284 w 8079933"/>
              <a:gd name="connsiteY36880" fmla="*/ 430159 h 4687251"/>
              <a:gd name="connsiteX36881" fmla="*/ 6682781 w 8079933"/>
              <a:gd name="connsiteY36881" fmla="*/ 429077 h 4687251"/>
              <a:gd name="connsiteX36882" fmla="*/ 6684734 w 8079933"/>
              <a:gd name="connsiteY36882" fmla="*/ 432650 h 4687251"/>
              <a:gd name="connsiteX36883" fmla="*/ 6684734 w 8079933"/>
              <a:gd name="connsiteY36883" fmla="*/ 427236 h 4687251"/>
              <a:gd name="connsiteX36884" fmla="*/ 6689400 w 8079933"/>
              <a:gd name="connsiteY36884" fmla="*/ 417708 h 4687251"/>
              <a:gd name="connsiteX36885" fmla="*/ 6691353 w 8079933"/>
              <a:gd name="connsiteY36885" fmla="*/ 415759 h 4687251"/>
              <a:gd name="connsiteX36886" fmla="*/ 6694934 w 8079933"/>
              <a:gd name="connsiteY36886" fmla="*/ 417600 h 4687251"/>
              <a:gd name="connsiteX36887" fmla="*/ 6705786 w 8079933"/>
              <a:gd name="connsiteY36887" fmla="*/ 425179 h 4687251"/>
              <a:gd name="connsiteX36888" fmla="*/ 6717940 w 8079933"/>
              <a:gd name="connsiteY36888" fmla="*/ 428102 h 4687251"/>
              <a:gd name="connsiteX36889" fmla="*/ 6724668 w 8079933"/>
              <a:gd name="connsiteY36889" fmla="*/ 436006 h 4687251"/>
              <a:gd name="connsiteX36890" fmla="*/ 6723582 w 8079933"/>
              <a:gd name="connsiteY36890" fmla="*/ 440120 h 4687251"/>
              <a:gd name="connsiteX36891" fmla="*/ 6715769 w 8079933"/>
              <a:gd name="connsiteY36891" fmla="*/ 444777 h 4687251"/>
              <a:gd name="connsiteX36892" fmla="*/ 6710560 w 8079933"/>
              <a:gd name="connsiteY36892" fmla="*/ 450189 h 4687251"/>
              <a:gd name="connsiteX36893" fmla="*/ 6717398 w 8079933"/>
              <a:gd name="connsiteY36893" fmla="*/ 446725 h 4687251"/>
              <a:gd name="connsiteX36894" fmla="*/ 6727489 w 8079933"/>
              <a:gd name="connsiteY36894" fmla="*/ 444559 h 4687251"/>
              <a:gd name="connsiteX36895" fmla="*/ 6734218 w 8079933"/>
              <a:gd name="connsiteY36895" fmla="*/ 446942 h 4687251"/>
              <a:gd name="connsiteX36896" fmla="*/ 6742138 w 8079933"/>
              <a:gd name="connsiteY36896" fmla="*/ 444993 h 4687251"/>
              <a:gd name="connsiteX36897" fmla="*/ 6747890 w 8079933"/>
              <a:gd name="connsiteY36897" fmla="*/ 439795 h 4687251"/>
              <a:gd name="connsiteX36898" fmla="*/ 6753316 w 8079933"/>
              <a:gd name="connsiteY36898" fmla="*/ 437306 h 4687251"/>
              <a:gd name="connsiteX36899" fmla="*/ 6762866 w 8079933"/>
              <a:gd name="connsiteY36899" fmla="*/ 429402 h 4687251"/>
              <a:gd name="connsiteX36900" fmla="*/ 6767532 w 8079933"/>
              <a:gd name="connsiteY36900" fmla="*/ 427561 h 4687251"/>
              <a:gd name="connsiteX36901" fmla="*/ 6775344 w 8079933"/>
              <a:gd name="connsiteY36901" fmla="*/ 419765 h 4687251"/>
              <a:gd name="connsiteX36902" fmla="*/ 6782073 w 8079933"/>
              <a:gd name="connsiteY36902" fmla="*/ 418141 h 4687251"/>
              <a:gd name="connsiteX36903" fmla="*/ 6799978 w 8079933"/>
              <a:gd name="connsiteY36903" fmla="*/ 409155 h 4687251"/>
              <a:gd name="connsiteX36904" fmla="*/ 6808877 w 8079933"/>
              <a:gd name="connsiteY36904" fmla="*/ 406124 h 4687251"/>
              <a:gd name="connsiteX36905" fmla="*/ 6814085 w 8079933"/>
              <a:gd name="connsiteY36905" fmla="*/ 407206 h 4687251"/>
              <a:gd name="connsiteX36906" fmla="*/ 6814085 w 8079933"/>
              <a:gd name="connsiteY36906" fmla="*/ 405257 h 4687251"/>
              <a:gd name="connsiteX36907" fmla="*/ 6824178 w 8079933"/>
              <a:gd name="connsiteY36907" fmla="*/ 398544 h 4687251"/>
              <a:gd name="connsiteX36908" fmla="*/ 6829820 w 8079933"/>
              <a:gd name="connsiteY36908" fmla="*/ 397462 h 4687251"/>
              <a:gd name="connsiteX36909" fmla="*/ 6842082 w 8079933"/>
              <a:gd name="connsiteY36909" fmla="*/ 397462 h 4687251"/>
              <a:gd name="connsiteX36910" fmla="*/ 6865414 w 8079933"/>
              <a:gd name="connsiteY36910" fmla="*/ 405257 h 4687251"/>
              <a:gd name="connsiteX36911" fmla="*/ 6875397 w 8079933"/>
              <a:gd name="connsiteY36911" fmla="*/ 416084 h 4687251"/>
              <a:gd name="connsiteX36912" fmla="*/ 6885490 w 8079933"/>
              <a:gd name="connsiteY36912" fmla="*/ 421281 h 4687251"/>
              <a:gd name="connsiteX36913" fmla="*/ 6893953 w 8079933"/>
              <a:gd name="connsiteY36913" fmla="*/ 431026 h 4687251"/>
              <a:gd name="connsiteX36914" fmla="*/ 6898512 w 8079933"/>
              <a:gd name="connsiteY36914" fmla="*/ 439471 h 4687251"/>
              <a:gd name="connsiteX36915" fmla="*/ 6898512 w 8079933"/>
              <a:gd name="connsiteY36915" fmla="*/ 444018 h 4687251"/>
              <a:gd name="connsiteX36916" fmla="*/ 6900681 w 8079933"/>
              <a:gd name="connsiteY36916" fmla="*/ 446509 h 4687251"/>
              <a:gd name="connsiteX36917" fmla="*/ 6900681 w 8079933"/>
              <a:gd name="connsiteY36917" fmla="*/ 453330 h 4687251"/>
              <a:gd name="connsiteX36918" fmla="*/ 6905564 w 8079933"/>
              <a:gd name="connsiteY36918" fmla="*/ 462749 h 4687251"/>
              <a:gd name="connsiteX36919" fmla="*/ 6905564 w 8079933"/>
              <a:gd name="connsiteY36919" fmla="*/ 467297 h 4687251"/>
              <a:gd name="connsiteX36920" fmla="*/ 6902092 w 8079933"/>
              <a:gd name="connsiteY36920" fmla="*/ 472385 h 4687251"/>
              <a:gd name="connsiteX36921" fmla="*/ 6907518 w 8079933"/>
              <a:gd name="connsiteY36921" fmla="*/ 471085 h 4687251"/>
              <a:gd name="connsiteX36922" fmla="*/ 6913161 w 8079933"/>
              <a:gd name="connsiteY36922" fmla="*/ 464373 h 4687251"/>
              <a:gd name="connsiteX36923" fmla="*/ 6919672 w 8079933"/>
              <a:gd name="connsiteY36923" fmla="*/ 464373 h 4687251"/>
              <a:gd name="connsiteX36924" fmla="*/ 6922710 w 8079933"/>
              <a:gd name="connsiteY36924" fmla="*/ 467405 h 4687251"/>
              <a:gd name="connsiteX36925" fmla="*/ 6922710 w 8079933"/>
              <a:gd name="connsiteY36925" fmla="*/ 463940 h 4687251"/>
              <a:gd name="connsiteX36926" fmla="*/ 6929221 w 8079933"/>
              <a:gd name="connsiteY36926" fmla="*/ 463074 h 4687251"/>
              <a:gd name="connsiteX36927" fmla="*/ 6934431 w 8079933"/>
              <a:gd name="connsiteY36927" fmla="*/ 466106 h 4687251"/>
              <a:gd name="connsiteX36928" fmla="*/ 6936600 w 8079933"/>
              <a:gd name="connsiteY36928" fmla="*/ 471844 h 4687251"/>
              <a:gd name="connsiteX36929" fmla="*/ 6937686 w 8079933"/>
              <a:gd name="connsiteY36929" fmla="*/ 467297 h 4687251"/>
              <a:gd name="connsiteX36930" fmla="*/ 6935732 w 8079933"/>
              <a:gd name="connsiteY36930" fmla="*/ 459934 h 4687251"/>
              <a:gd name="connsiteX36931" fmla="*/ 6939856 w 8079933"/>
              <a:gd name="connsiteY36931" fmla="*/ 459934 h 4687251"/>
              <a:gd name="connsiteX36932" fmla="*/ 6943437 w 8079933"/>
              <a:gd name="connsiteY36932" fmla="*/ 466213 h 4687251"/>
              <a:gd name="connsiteX36933" fmla="*/ 6951359 w 8079933"/>
              <a:gd name="connsiteY36933" fmla="*/ 473793 h 4687251"/>
              <a:gd name="connsiteX36934" fmla="*/ 6952770 w 8079933"/>
              <a:gd name="connsiteY36934" fmla="*/ 482454 h 4687251"/>
              <a:gd name="connsiteX36935" fmla="*/ 6957110 w 8079933"/>
              <a:gd name="connsiteY36935" fmla="*/ 482454 h 4687251"/>
              <a:gd name="connsiteX36936" fmla="*/ 6964164 w 8079933"/>
              <a:gd name="connsiteY36936" fmla="*/ 491333 h 4687251"/>
              <a:gd name="connsiteX36937" fmla="*/ 6964164 w 8079933"/>
              <a:gd name="connsiteY36937" fmla="*/ 488626 h 4687251"/>
              <a:gd name="connsiteX36938" fmla="*/ 6961776 w 8079933"/>
              <a:gd name="connsiteY36938" fmla="*/ 481046 h 4687251"/>
              <a:gd name="connsiteX36939" fmla="*/ 6957110 w 8079933"/>
              <a:gd name="connsiteY36939" fmla="*/ 478881 h 4687251"/>
              <a:gd name="connsiteX36940" fmla="*/ 6956242 w 8079933"/>
              <a:gd name="connsiteY36940" fmla="*/ 474550 h 4687251"/>
              <a:gd name="connsiteX36941" fmla="*/ 6961342 w 8079933"/>
              <a:gd name="connsiteY36941" fmla="*/ 477474 h 4687251"/>
              <a:gd name="connsiteX36942" fmla="*/ 6965358 w 8079933"/>
              <a:gd name="connsiteY36942" fmla="*/ 476932 h 4687251"/>
              <a:gd name="connsiteX36943" fmla="*/ 6970241 w 8079933"/>
              <a:gd name="connsiteY36943" fmla="*/ 481805 h 4687251"/>
              <a:gd name="connsiteX36944" fmla="*/ 6976752 w 8079933"/>
              <a:gd name="connsiteY36944" fmla="*/ 490791 h 4687251"/>
              <a:gd name="connsiteX36945" fmla="*/ 6975450 w 8079933"/>
              <a:gd name="connsiteY36945" fmla="*/ 483537 h 4687251"/>
              <a:gd name="connsiteX36946" fmla="*/ 6966551 w 8079933"/>
              <a:gd name="connsiteY36946" fmla="*/ 471085 h 4687251"/>
              <a:gd name="connsiteX36947" fmla="*/ 6966551 w 8079933"/>
              <a:gd name="connsiteY36947" fmla="*/ 460258 h 4687251"/>
              <a:gd name="connsiteX36948" fmla="*/ 6966551 w 8079933"/>
              <a:gd name="connsiteY36948" fmla="*/ 451164 h 4687251"/>
              <a:gd name="connsiteX36949" fmla="*/ 6972303 w 8079933"/>
              <a:gd name="connsiteY36949" fmla="*/ 444559 h 4687251"/>
              <a:gd name="connsiteX36950" fmla="*/ 6981852 w 8079933"/>
              <a:gd name="connsiteY36950" fmla="*/ 443585 h 4687251"/>
              <a:gd name="connsiteX36951" fmla="*/ 6986301 w 8079933"/>
              <a:gd name="connsiteY36951" fmla="*/ 440120 h 4687251"/>
              <a:gd name="connsiteX36952" fmla="*/ 6994549 w 8079933"/>
              <a:gd name="connsiteY36952" fmla="*/ 436764 h 4687251"/>
              <a:gd name="connsiteX36953" fmla="*/ 6994006 w 8079933"/>
              <a:gd name="connsiteY36953" fmla="*/ 433191 h 4687251"/>
              <a:gd name="connsiteX36954" fmla="*/ 6995633 w 8079933"/>
              <a:gd name="connsiteY36954" fmla="*/ 431350 h 4687251"/>
              <a:gd name="connsiteX36955" fmla="*/ 6998890 w 8079933"/>
              <a:gd name="connsiteY36955" fmla="*/ 431350 h 4687251"/>
              <a:gd name="connsiteX36956" fmla="*/ 7003664 w 8079933"/>
              <a:gd name="connsiteY36956" fmla="*/ 435898 h 4687251"/>
              <a:gd name="connsiteX36957" fmla="*/ 7007679 w 8079933"/>
              <a:gd name="connsiteY36957" fmla="*/ 437197 h 4687251"/>
              <a:gd name="connsiteX36958" fmla="*/ 7014624 w 8079933"/>
              <a:gd name="connsiteY36958" fmla="*/ 435790 h 4687251"/>
              <a:gd name="connsiteX36959" fmla="*/ 7021026 w 8079933"/>
              <a:gd name="connsiteY36959" fmla="*/ 430810 h 4687251"/>
              <a:gd name="connsiteX36960" fmla="*/ 7024499 w 8079933"/>
              <a:gd name="connsiteY36960" fmla="*/ 432000 h 4687251"/>
              <a:gd name="connsiteX36961" fmla="*/ 7033072 w 8079933"/>
              <a:gd name="connsiteY36961" fmla="*/ 428860 h 4687251"/>
              <a:gd name="connsiteX36962" fmla="*/ 7043055 w 8079933"/>
              <a:gd name="connsiteY36962" fmla="*/ 429618 h 4687251"/>
              <a:gd name="connsiteX36963" fmla="*/ 7047504 w 8079933"/>
              <a:gd name="connsiteY36963" fmla="*/ 426695 h 4687251"/>
              <a:gd name="connsiteX36964" fmla="*/ 7049783 w 8079933"/>
              <a:gd name="connsiteY36964" fmla="*/ 426695 h 4687251"/>
              <a:gd name="connsiteX36965" fmla="*/ 7050434 w 8079933"/>
              <a:gd name="connsiteY36965" fmla="*/ 429618 h 4687251"/>
              <a:gd name="connsiteX36966" fmla="*/ 7053473 w 8079933"/>
              <a:gd name="connsiteY36966" fmla="*/ 432758 h 4687251"/>
              <a:gd name="connsiteX36967" fmla="*/ 7055535 w 8079933"/>
              <a:gd name="connsiteY36967" fmla="*/ 427669 h 4687251"/>
              <a:gd name="connsiteX36968" fmla="*/ 7061069 w 8079933"/>
              <a:gd name="connsiteY36968" fmla="*/ 419982 h 4687251"/>
              <a:gd name="connsiteX36969" fmla="*/ 7060201 w 8079933"/>
              <a:gd name="connsiteY36969" fmla="*/ 416517 h 4687251"/>
              <a:gd name="connsiteX36970" fmla="*/ 7060201 w 8079933"/>
              <a:gd name="connsiteY36970" fmla="*/ 410130 h 4687251"/>
              <a:gd name="connsiteX36971" fmla="*/ 7060201 w 8079933"/>
              <a:gd name="connsiteY36971" fmla="*/ 404824 h 4687251"/>
              <a:gd name="connsiteX36972" fmla="*/ 7062696 w 8079933"/>
              <a:gd name="connsiteY36972" fmla="*/ 402550 h 4687251"/>
              <a:gd name="connsiteX36973" fmla="*/ 7070293 w 8079933"/>
              <a:gd name="connsiteY36973" fmla="*/ 404392 h 4687251"/>
              <a:gd name="connsiteX36974" fmla="*/ 7072789 w 8079933"/>
              <a:gd name="connsiteY36974" fmla="*/ 409804 h 4687251"/>
              <a:gd name="connsiteX36975" fmla="*/ 7073874 w 8079933"/>
              <a:gd name="connsiteY36975" fmla="*/ 412728 h 4687251"/>
              <a:gd name="connsiteX36976" fmla="*/ 7080060 w 8079933"/>
              <a:gd name="connsiteY36976" fmla="*/ 413486 h 4687251"/>
              <a:gd name="connsiteX36977" fmla="*/ 7084400 w 8079933"/>
              <a:gd name="connsiteY36977" fmla="*/ 416951 h 4687251"/>
              <a:gd name="connsiteX36978" fmla="*/ 7084400 w 8079933"/>
              <a:gd name="connsiteY36978" fmla="*/ 422689 h 4687251"/>
              <a:gd name="connsiteX36979" fmla="*/ 7091237 w 8079933"/>
              <a:gd name="connsiteY36979" fmla="*/ 430268 h 4687251"/>
              <a:gd name="connsiteX36980" fmla="*/ 7094709 w 8079933"/>
              <a:gd name="connsiteY36980" fmla="*/ 432650 h 4687251"/>
              <a:gd name="connsiteX36981" fmla="*/ 7101980 w 8079933"/>
              <a:gd name="connsiteY36981" fmla="*/ 431567 h 4687251"/>
              <a:gd name="connsiteX36982" fmla="*/ 7112832 w 8079933"/>
              <a:gd name="connsiteY36982" fmla="*/ 434057 h 4687251"/>
              <a:gd name="connsiteX36983" fmla="*/ 7114460 w 8079933"/>
              <a:gd name="connsiteY36983" fmla="*/ 432650 h 4687251"/>
              <a:gd name="connsiteX36984" fmla="*/ 7117932 w 8079933"/>
              <a:gd name="connsiteY36984" fmla="*/ 432650 h 4687251"/>
              <a:gd name="connsiteX36985" fmla="*/ 7125853 w 8079933"/>
              <a:gd name="connsiteY36985" fmla="*/ 443477 h 4687251"/>
              <a:gd name="connsiteX36986" fmla="*/ 7125853 w 8079933"/>
              <a:gd name="connsiteY36986" fmla="*/ 448674 h 4687251"/>
              <a:gd name="connsiteX36987" fmla="*/ 7128892 w 8079933"/>
              <a:gd name="connsiteY36987" fmla="*/ 451597 h 4687251"/>
              <a:gd name="connsiteX36988" fmla="*/ 7136814 w 8079933"/>
              <a:gd name="connsiteY36988" fmla="*/ 452679 h 4687251"/>
              <a:gd name="connsiteX36989" fmla="*/ 7140612 w 8079933"/>
              <a:gd name="connsiteY36989" fmla="*/ 449973 h 4687251"/>
              <a:gd name="connsiteX36990" fmla="*/ 7146581 w 8079933"/>
              <a:gd name="connsiteY36990" fmla="*/ 449215 h 4687251"/>
              <a:gd name="connsiteX36991" fmla="*/ 7145821 w 8079933"/>
              <a:gd name="connsiteY36991" fmla="*/ 445426 h 4687251"/>
              <a:gd name="connsiteX36992" fmla="*/ 7151464 w 8079933"/>
              <a:gd name="connsiteY36992" fmla="*/ 441853 h 4687251"/>
              <a:gd name="connsiteX36993" fmla="*/ 7154719 w 8079933"/>
              <a:gd name="connsiteY36993" fmla="*/ 442935 h 4687251"/>
              <a:gd name="connsiteX36994" fmla="*/ 7156672 w 8079933"/>
              <a:gd name="connsiteY36994" fmla="*/ 440987 h 4687251"/>
              <a:gd name="connsiteX36995" fmla="*/ 7153417 w 8079933"/>
              <a:gd name="connsiteY36995" fmla="*/ 436439 h 4687251"/>
              <a:gd name="connsiteX36996" fmla="*/ 7155586 w 8079933"/>
              <a:gd name="connsiteY36996" fmla="*/ 434491 h 4687251"/>
              <a:gd name="connsiteX36997" fmla="*/ 7154177 w 8079933"/>
              <a:gd name="connsiteY36997" fmla="*/ 431567 h 4687251"/>
              <a:gd name="connsiteX36998" fmla="*/ 7154177 w 8079933"/>
              <a:gd name="connsiteY36998" fmla="*/ 428319 h 4687251"/>
              <a:gd name="connsiteX36999" fmla="*/ 7149510 w 8079933"/>
              <a:gd name="connsiteY36999" fmla="*/ 422364 h 4687251"/>
              <a:gd name="connsiteX37000" fmla="*/ 7142674 w 8079933"/>
              <a:gd name="connsiteY37000" fmla="*/ 419982 h 4687251"/>
              <a:gd name="connsiteX37001" fmla="*/ 7141046 w 8079933"/>
              <a:gd name="connsiteY37001" fmla="*/ 412403 h 4687251"/>
              <a:gd name="connsiteX37002" fmla="*/ 7132365 w 8079933"/>
              <a:gd name="connsiteY37002" fmla="*/ 403958 h 4687251"/>
              <a:gd name="connsiteX37003" fmla="*/ 7128892 w 8079933"/>
              <a:gd name="connsiteY37003" fmla="*/ 403092 h 4687251"/>
              <a:gd name="connsiteX37004" fmla="*/ 7126722 w 8079933"/>
              <a:gd name="connsiteY37004" fmla="*/ 399519 h 4687251"/>
              <a:gd name="connsiteX37005" fmla="*/ 7118258 w 8079933"/>
              <a:gd name="connsiteY37005" fmla="*/ 395512 h 4687251"/>
              <a:gd name="connsiteX37006" fmla="*/ 7113917 w 8079933"/>
              <a:gd name="connsiteY37006" fmla="*/ 399302 h 4687251"/>
              <a:gd name="connsiteX37007" fmla="*/ 7111204 w 8079933"/>
              <a:gd name="connsiteY37007" fmla="*/ 399302 h 4687251"/>
              <a:gd name="connsiteX37008" fmla="*/ 7111204 w 8079933"/>
              <a:gd name="connsiteY37008" fmla="*/ 393131 h 4687251"/>
              <a:gd name="connsiteX37009" fmla="*/ 7113157 w 8079933"/>
              <a:gd name="connsiteY37009" fmla="*/ 390208 h 4687251"/>
              <a:gd name="connsiteX37010" fmla="*/ 7109576 w 8079933"/>
              <a:gd name="connsiteY37010" fmla="*/ 382953 h 4687251"/>
              <a:gd name="connsiteX37011" fmla="*/ 7108165 w 8079933"/>
              <a:gd name="connsiteY37011" fmla="*/ 378081 h 4687251"/>
              <a:gd name="connsiteX37012" fmla="*/ 7105236 w 8079933"/>
              <a:gd name="connsiteY37012" fmla="*/ 375916 h 4687251"/>
              <a:gd name="connsiteX37013" fmla="*/ 7102197 w 8079933"/>
              <a:gd name="connsiteY37013" fmla="*/ 368120 h 4687251"/>
              <a:gd name="connsiteX37014" fmla="*/ 7095578 w 8079933"/>
              <a:gd name="connsiteY37014" fmla="*/ 363248 h 4687251"/>
              <a:gd name="connsiteX37015" fmla="*/ 7096662 w 8079933"/>
              <a:gd name="connsiteY37015" fmla="*/ 361949 h 4687251"/>
              <a:gd name="connsiteX37016" fmla="*/ 7107514 w 8079933"/>
              <a:gd name="connsiteY37016" fmla="*/ 360217 h 4687251"/>
              <a:gd name="connsiteX37017" fmla="*/ 7110662 w 8079933"/>
              <a:gd name="connsiteY37017" fmla="*/ 362165 h 4687251"/>
              <a:gd name="connsiteX37018" fmla="*/ 7123683 w 8079933"/>
              <a:gd name="connsiteY37018" fmla="*/ 360866 h 4687251"/>
              <a:gd name="connsiteX37019" fmla="*/ 7134535 w 8079933"/>
              <a:gd name="connsiteY37019" fmla="*/ 360866 h 4687251"/>
              <a:gd name="connsiteX37020" fmla="*/ 7134535 w 8079933"/>
              <a:gd name="connsiteY37020" fmla="*/ 357402 h 4687251"/>
              <a:gd name="connsiteX37021" fmla="*/ 7140178 w 8079933"/>
              <a:gd name="connsiteY37021" fmla="*/ 355453 h 4687251"/>
              <a:gd name="connsiteX37022" fmla="*/ 7146472 w 8079933"/>
              <a:gd name="connsiteY37022" fmla="*/ 359567 h 4687251"/>
              <a:gd name="connsiteX37023" fmla="*/ 7150487 w 8079933"/>
              <a:gd name="connsiteY37023" fmla="*/ 357727 h 4687251"/>
              <a:gd name="connsiteX37024" fmla="*/ 7153742 w 8079933"/>
              <a:gd name="connsiteY37024" fmla="*/ 357727 h 4687251"/>
              <a:gd name="connsiteX37025" fmla="*/ 7153742 w 8079933"/>
              <a:gd name="connsiteY37025" fmla="*/ 353179 h 4687251"/>
              <a:gd name="connsiteX37026" fmla="*/ 7160470 w 8079933"/>
              <a:gd name="connsiteY37026" fmla="*/ 352421 h 4687251"/>
              <a:gd name="connsiteX37027" fmla="*/ 7162316 w 8079933"/>
              <a:gd name="connsiteY37027" fmla="*/ 355669 h 4687251"/>
              <a:gd name="connsiteX37028" fmla="*/ 7164160 w 8079933"/>
              <a:gd name="connsiteY37028" fmla="*/ 355669 h 4687251"/>
              <a:gd name="connsiteX37029" fmla="*/ 7166655 w 8079933"/>
              <a:gd name="connsiteY37029" fmla="*/ 350256 h 4687251"/>
              <a:gd name="connsiteX37030" fmla="*/ 7171213 w 8079933"/>
              <a:gd name="connsiteY37030" fmla="*/ 351880 h 4687251"/>
              <a:gd name="connsiteX37031" fmla="*/ 7171213 w 8079933"/>
              <a:gd name="connsiteY37031" fmla="*/ 347224 h 4687251"/>
              <a:gd name="connsiteX37032" fmla="*/ 7190420 w 8079933"/>
              <a:gd name="connsiteY37032" fmla="*/ 342136 h 4687251"/>
              <a:gd name="connsiteX37033" fmla="*/ 7192809 w 8079933"/>
              <a:gd name="connsiteY37033" fmla="*/ 346682 h 4687251"/>
              <a:gd name="connsiteX37034" fmla="*/ 7193893 w 8079933"/>
              <a:gd name="connsiteY37034" fmla="*/ 342894 h 4687251"/>
              <a:gd name="connsiteX37035" fmla="*/ 7195955 w 8079933"/>
              <a:gd name="connsiteY37035" fmla="*/ 340511 h 4687251"/>
              <a:gd name="connsiteX37036" fmla="*/ 7197800 w 8079933"/>
              <a:gd name="connsiteY37036" fmla="*/ 341811 h 4687251"/>
              <a:gd name="connsiteX37037" fmla="*/ 7204528 w 8079933"/>
              <a:gd name="connsiteY37037" fmla="*/ 340945 h 4687251"/>
              <a:gd name="connsiteX37038" fmla="*/ 7207784 w 8079933"/>
              <a:gd name="connsiteY37038" fmla="*/ 340403 h 4687251"/>
              <a:gd name="connsiteX37039" fmla="*/ 7211906 w 8079933"/>
              <a:gd name="connsiteY37039" fmla="*/ 343976 h 4687251"/>
              <a:gd name="connsiteX37040" fmla="*/ 7220805 w 8079933"/>
              <a:gd name="connsiteY37040" fmla="*/ 343976 h 4687251"/>
              <a:gd name="connsiteX37041" fmla="*/ 7225364 w 8079933"/>
              <a:gd name="connsiteY37041" fmla="*/ 341919 h 4687251"/>
              <a:gd name="connsiteX37042" fmla="*/ 7227750 w 8079933"/>
              <a:gd name="connsiteY37042" fmla="*/ 344951 h 4687251"/>
              <a:gd name="connsiteX37043" fmla="*/ 7231223 w 8079933"/>
              <a:gd name="connsiteY37043" fmla="*/ 346250 h 4687251"/>
              <a:gd name="connsiteX37044" fmla="*/ 7233936 w 8079933"/>
              <a:gd name="connsiteY37044" fmla="*/ 343001 h 4687251"/>
              <a:gd name="connsiteX37045" fmla="*/ 7241749 w 8079933"/>
              <a:gd name="connsiteY37045" fmla="*/ 342136 h 4687251"/>
              <a:gd name="connsiteX37046" fmla="*/ 7256617 w 8079933"/>
              <a:gd name="connsiteY37046" fmla="*/ 346791 h 4687251"/>
              <a:gd name="connsiteX37047" fmla="*/ 7262042 w 8079933"/>
              <a:gd name="connsiteY37047" fmla="*/ 349282 h 4687251"/>
              <a:gd name="connsiteX37048" fmla="*/ 7265514 w 8079933"/>
              <a:gd name="connsiteY37048" fmla="*/ 348198 h 4687251"/>
              <a:gd name="connsiteX37049" fmla="*/ 7263887 w 8079933"/>
              <a:gd name="connsiteY37049" fmla="*/ 346791 h 4687251"/>
              <a:gd name="connsiteX37050" fmla="*/ 7268987 w 8079933"/>
              <a:gd name="connsiteY37050" fmla="*/ 345492 h 4687251"/>
              <a:gd name="connsiteX37051" fmla="*/ 7272785 w 8079933"/>
              <a:gd name="connsiteY37051" fmla="*/ 348198 h 4687251"/>
              <a:gd name="connsiteX37052" fmla="*/ 7270072 w 8079933"/>
              <a:gd name="connsiteY37052" fmla="*/ 350689 h 4687251"/>
              <a:gd name="connsiteX37053" fmla="*/ 7272459 w 8079933"/>
              <a:gd name="connsiteY37053" fmla="*/ 352313 h 4687251"/>
              <a:gd name="connsiteX37054" fmla="*/ 7279513 w 8079933"/>
              <a:gd name="connsiteY37054" fmla="*/ 350472 h 4687251"/>
              <a:gd name="connsiteX37055" fmla="*/ 7296007 w 8079933"/>
              <a:gd name="connsiteY37055" fmla="*/ 352313 h 4687251"/>
              <a:gd name="connsiteX37056" fmla="*/ 7309898 w 8079933"/>
              <a:gd name="connsiteY37056" fmla="*/ 361733 h 4687251"/>
              <a:gd name="connsiteX37057" fmla="*/ 7309138 w 8079933"/>
              <a:gd name="connsiteY37057" fmla="*/ 363898 h 4687251"/>
              <a:gd name="connsiteX37058" fmla="*/ 7304797 w 8079933"/>
              <a:gd name="connsiteY37058" fmla="*/ 361733 h 4687251"/>
              <a:gd name="connsiteX37059" fmla="*/ 7296442 w 8079933"/>
              <a:gd name="connsiteY37059" fmla="*/ 358701 h 4687251"/>
              <a:gd name="connsiteX37060" fmla="*/ 7295900 w 8079933"/>
              <a:gd name="connsiteY37060" fmla="*/ 360541 h 4687251"/>
              <a:gd name="connsiteX37061" fmla="*/ 7310223 w 8079933"/>
              <a:gd name="connsiteY37061" fmla="*/ 365630 h 4687251"/>
              <a:gd name="connsiteX37062" fmla="*/ 7317494 w 8079933"/>
              <a:gd name="connsiteY37062" fmla="*/ 365630 h 4687251"/>
              <a:gd name="connsiteX37063" fmla="*/ 7319122 w 8079933"/>
              <a:gd name="connsiteY37063" fmla="*/ 361841 h 4687251"/>
              <a:gd name="connsiteX37064" fmla="*/ 7325307 w 8079933"/>
              <a:gd name="connsiteY37064" fmla="*/ 361300 h 4687251"/>
              <a:gd name="connsiteX37065" fmla="*/ 7332144 w 8079933"/>
              <a:gd name="connsiteY37065" fmla="*/ 361300 h 4687251"/>
              <a:gd name="connsiteX37066" fmla="*/ 7330841 w 8079933"/>
              <a:gd name="connsiteY37066" fmla="*/ 357294 h 4687251"/>
              <a:gd name="connsiteX37067" fmla="*/ 7333771 w 8079933"/>
              <a:gd name="connsiteY37067" fmla="*/ 355886 h 4687251"/>
              <a:gd name="connsiteX37068" fmla="*/ 7338112 w 8079933"/>
              <a:gd name="connsiteY37068" fmla="*/ 359351 h 4687251"/>
              <a:gd name="connsiteX37069" fmla="*/ 7342670 w 8079933"/>
              <a:gd name="connsiteY37069" fmla="*/ 360758 h 4687251"/>
              <a:gd name="connsiteX37070" fmla="*/ 7345166 w 8079933"/>
              <a:gd name="connsiteY37070" fmla="*/ 362382 h 4687251"/>
              <a:gd name="connsiteX37071" fmla="*/ 7345166 w 8079933"/>
              <a:gd name="connsiteY37071" fmla="*/ 359892 h 4687251"/>
              <a:gd name="connsiteX37072" fmla="*/ 7345925 w 8079933"/>
              <a:gd name="connsiteY37072" fmla="*/ 358593 h 4687251"/>
              <a:gd name="connsiteX37073" fmla="*/ 7352979 w 8079933"/>
              <a:gd name="connsiteY37073" fmla="*/ 360433 h 4687251"/>
              <a:gd name="connsiteX37074" fmla="*/ 7352979 w 8079933"/>
              <a:gd name="connsiteY37074" fmla="*/ 363465 h 4687251"/>
              <a:gd name="connsiteX37075" fmla="*/ 7360792 w 8079933"/>
              <a:gd name="connsiteY37075" fmla="*/ 366172 h 4687251"/>
              <a:gd name="connsiteX37076" fmla="*/ 7366435 w 8079933"/>
              <a:gd name="connsiteY37076" fmla="*/ 364006 h 4687251"/>
              <a:gd name="connsiteX37077" fmla="*/ 7386836 w 8079933"/>
              <a:gd name="connsiteY37077" fmla="*/ 368012 h 4687251"/>
              <a:gd name="connsiteX37078" fmla="*/ 7384666 w 8079933"/>
              <a:gd name="connsiteY37078" fmla="*/ 364223 h 4687251"/>
              <a:gd name="connsiteX37079" fmla="*/ 7391502 w 8079933"/>
              <a:gd name="connsiteY37079" fmla="*/ 364223 h 4687251"/>
              <a:gd name="connsiteX37080" fmla="*/ 7393456 w 8079933"/>
              <a:gd name="connsiteY37080" fmla="*/ 368337 h 4687251"/>
              <a:gd name="connsiteX37081" fmla="*/ 7397471 w 8079933"/>
              <a:gd name="connsiteY37081" fmla="*/ 369636 h 4687251"/>
              <a:gd name="connsiteX37082" fmla="*/ 7396602 w 8079933"/>
              <a:gd name="connsiteY37082" fmla="*/ 365089 h 4687251"/>
              <a:gd name="connsiteX37083" fmla="*/ 7398447 w 8079933"/>
              <a:gd name="connsiteY37083" fmla="*/ 364331 h 4687251"/>
              <a:gd name="connsiteX37084" fmla="*/ 7406260 w 8079933"/>
              <a:gd name="connsiteY37084" fmla="*/ 365739 h 4687251"/>
              <a:gd name="connsiteX37085" fmla="*/ 7404850 w 8079933"/>
              <a:gd name="connsiteY37085" fmla="*/ 368120 h 4687251"/>
              <a:gd name="connsiteX37086" fmla="*/ 7408648 w 8079933"/>
              <a:gd name="connsiteY37086" fmla="*/ 372776 h 4687251"/>
              <a:gd name="connsiteX37087" fmla="*/ 7415375 w 8079933"/>
              <a:gd name="connsiteY37087" fmla="*/ 370935 h 4687251"/>
              <a:gd name="connsiteX37088" fmla="*/ 7415375 w 8079933"/>
              <a:gd name="connsiteY37088" fmla="*/ 368445 h 4687251"/>
              <a:gd name="connsiteX37089" fmla="*/ 7412880 w 8079933"/>
              <a:gd name="connsiteY37089" fmla="*/ 366821 h 4687251"/>
              <a:gd name="connsiteX37090" fmla="*/ 7420476 w 8079933"/>
              <a:gd name="connsiteY37090" fmla="*/ 366821 h 4687251"/>
              <a:gd name="connsiteX37091" fmla="*/ 7422863 w 8079933"/>
              <a:gd name="connsiteY37091" fmla="*/ 368445 h 4687251"/>
              <a:gd name="connsiteX37092" fmla="*/ 7421779 w 8079933"/>
              <a:gd name="connsiteY37092" fmla="*/ 371910 h 4687251"/>
              <a:gd name="connsiteX37093" fmla="*/ 7426119 w 8079933"/>
              <a:gd name="connsiteY37093" fmla="*/ 376241 h 4687251"/>
              <a:gd name="connsiteX37094" fmla="*/ 7434474 w 8079933"/>
              <a:gd name="connsiteY37094" fmla="*/ 379706 h 4687251"/>
              <a:gd name="connsiteX37095" fmla="*/ 7440986 w 8079933"/>
              <a:gd name="connsiteY37095" fmla="*/ 377215 h 4687251"/>
              <a:gd name="connsiteX37096" fmla="*/ 7431979 w 8079933"/>
              <a:gd name="connsiteY37096" fmla="*/ 373967 h 4687251"/>
              <a:gd name="connsiteX37097" fmla="*/ 7427855 w 8079933"/>
              <a:gd name="connsiteY37097" fmla="*/ 371586 h 4687251"/>
              <a:gd name="connsiteX37098" fmla="*/ 7426878 w 8079933"/>
              <a:gd name="connsiteY37098" fmla="*/ 368445 h 4687251"/>
              <a:gd name="connsiteX37099" fmla="*/ 7431762 w 8079933"/>
              <a:gd name="connsiteY37099" fmla="*/ 367362 h 4687251"/>
              <a:gd name="connsiteX37100" fmla="*/ 7437404 w 8079933"/>
              <a:gd name="connsiteY37100" fmla="*/ 368012 h 4687251"/>
              <a:gd name="connsiteX37101" fmla="*/ 7446846 w 8079933"/>
              <a:gd name="connsiteY37101" fmla="*/ 373209 h 4687251"/>
              <a:gd name="connsiteX37102" fmla="*/ 7449016 w 8079933"/>
              <a:gd name="connsiteY37102" fmla="*/ 378406 h 4687251"/>
              <a:gd name="connsiteX37103" fmla="*/ 7451078 w 8079933"/>
              <a:gd name="connsiteY37103" fmla="*/ 379814 h 4687251"/>
              <a:gd name="connsiteX37104" fmla="*/ 7452488 w 8079933"/>
              <a:gd name="connsiteY37104" fmla="*/ 375808 h 4687251"/>
              <a:gd name="connsiteX37105" fmla="*/ 7451187 w 8079933"/>
              <a:gd name="connsiteY37105" fmla="*/ 373967 h 4687251"/>
              <a:gd name="connsiteX37106" fmla="*/ 7455093 w 8079933"/>
              <a:gd name="connsiteY37106" fmla="*/ 374833 h 4687251"/>
              <a:gd name="connsiteX37107" fmla="*/ 7458132 w 8079933"/>
              <a:gd name="connsiteY37107" fmla="*/ 377649 h 4687251"/>
              <a:gd name="connsiteX37108" fmla="*/ 7457372 w 8079933"/>
              <a:gd name="connsiteY37108" fmla="*/ 379706 h 4687251"/>
              <a:gd name="connsiteX37109" fmla="*/ 7462255 w 8079933"/>
              <a:gd name="connsiteY37109" fmla="*/ 385227 h 4687251"/>
              <a:gd name="connsiteX37110" fmla="*/ 7469851 w 8079933"/>
              <a:gd name="connsiteY37110" fmla="*/ 398869 h 4687251"/>
              <a:gd name="connsiteX37111" fmla="*/ 7478099 w 8079933"/>
              <a:gd name="connsiteY37111" fmla="*/ 401576 h 4687251"/>
              <a:gd name="connsiteX37112" fmla="*/ 7479509 w 8079933"/>
              <a:gd name="connsiteY37112" fmla="*/ 406773 h 4687251"/>
              <a:gd name="connsiteX37113" fmla="*/ 7483850 w 8079933"/>
              <a:gd name="connsiteY37113" fmla="*/ 410563 h 4687251"/>
              <a:gd name="connsiteX37114" fmla="*/ 7486780 w 8079933"/>
              <a:gd name="connsiteY37114" fmla="*/ 415543 h 4687251"/>
              <a:gd name="connsiteX37115" fmla="*/ 7484610 w 8079933"/>
              <a:gd name="connsiteY37115" fmla="*/ 417925 h 4687251"/>
              <a:gd name="connsiteX37116" fmla="*/ 7486128 w 8079933"/>
              <a:gd name="connsiteY37116" fmla="*/ 423014 h 4687251"/>
              <a:gd name="connsiteX37117" fmla="*/ 7489818 w 8079933"/>
              <a:gd name="connsiteY37117" fmla="*/ 424530 h 4687251"/>
              <a:gd name="connsiteX37118" fmla="*/ 7494593 w 8079933"/>
              <a:gd name="connsiteY37118" fmla="*/ 420198 h 4687251"/>
              <a:gd name="connsiteX37119" fmla="*/ 7500779 w 8079933"/>
              <a:gd name="connsiteY37119" fmla="*/ 421065 h 4687251"/>
              <a:gd name="connsiteX37120" fmla="*/ 7504685 w 8079933"/>
              <a:gd name="connsiteY37120" fmla="*/ 427777 h 4687251"/>
              <a:gd name="connsiteX37121" fmla="*/ 7508809 w 8079933"/>
              <a:gd name="connsiteY37121" fmla="*/ 428860 h 4687251"/>
              <a:gd name="connsiteX37122" fmla="*/ 7509676 w 8079933"/>
              <a:gd name="connsiteY37122" fmla="*/ 427344 h 4687251"/>
              <a:gd name="connsiteX37123" fmla="*/ 7507507 w 8079933"/>
              <a:gd name="connsiteY37123" fmla="*/ 425828 h 4687251"/>
              <a:gd name="connsiteX37124" fmla="*/ 7506096 w 8079933"/>
              <a:gd name="connsiteY37124" fmla="*/ 421389 h 4687251"/>
              <a:gd name="connsiteX37125" fmla="*/ 7508809 w 8079933"/>
              <a:gd name="connsiteY37125" fmla="*/ 417383 h 4687251"/>
              <a:gd name="connsiteX37126" fmla="*/ 7511739 w 8079933"/>
              <a:gd name="connsiteY37126" fmla="*/ 418683 h 4687251"/>
              <a:gd name="connsiteX37127" fmla="*/ 7514452 w 8079933"/>
              <a:gd name="connsiteY37127" fmla="*/ 424746 h 4687251"/>
              <a:gd name="connsiteX37128" fmla="*/ 7518792 w 8079933"/>
              <a:gd name="connsiteY37128" fmla="*/ 429293 h 4687251"/>
              <a:gd name="connsiteX37129" fmla="*/ 7518792 w 8079933"/>
              <a:gd name="connsiteY37129" fmla="*/ 427236 h 4687251"/>
              <a:gd name="connsiteX37130" fmla="*/ 7515646 w 8079933"/>
              <a:gd name="connsiteY37130" fmla="*/ 419549 h 4687251"/>
              <a:gd name="connsiteX37131" fmla="*/ 7515646 w 8079933"/>
              <a:gd name="connsiteY37131" fmla="*/ 415326 h 4687251"/>
              <a:gd name="connsiteX37132" fmla="*/ 7512173 w 8079933"/>
              <a:gd name="connsiteY37132" fmla="*/ 411320 h 4687251"/>
              <a:gd name="connsiteX37133" fmla="*/ 7506096 w 8079933"/>
              <a:gd name="connsiteY37133" fmla="*/ 414569 h 4687251"/>
              <a:gd name="connsiteX37134" fmla="*/ 7499802 w 8079933"/>
              <a:gd name="connsiteY37134" fmla="*/ 415759 h 4687251"/>
              <a:gd name="connsiteX37135" fmla="*/ 7498825 w 8079933"/>
              <a:gd name="connsiteY37135" fmla="*/ 411861 h 4687251"/>
              <a:gd name="connsiteX37136" fmla="*/ 7502081 w 8079933"/>
              <a:gd name="connsiteY37136" fmla="*/ 408181 h 4687251"/>
              <a:gd name="connsiteX37137" fmla="*/ 7500670 w 8079933"/>
              <a:gd name="connsiteY37137" fmla="*/ 402659 h 4687251"/>
              <a:gd name="connsiteX37138" fmla="*/ 7492097 w 8079933"/>
              <a:gd name="connsiteY37138" fmla="*/ 396596 h 4687251"/>
              <a:gd name="connsiteX37139" fmla="*/ 7487540 w 8079933"/>
              <a:gd name="connsiteY37139" fmla="*/ 392590 h 4687251"/>
              <a:gd name="connsiteX37140" fmla="*/ 7485369 w 8079933"/>
              <a:gd name="connsiteY37140" fmla="*/ 387718 h 4687251"/>
              <a:gd name="connsiteX37141" fmla="*/ 7482331 w 8079933"/>
              <a:gd name="connsiteY37141" fmla="*/ 387718 h 4687251"/>
              <a:gd name="connsiteX37142" fmla="*/ 7476146 w 8079933"/>
              <a:gd name="connsiteY37142" fmla="*/ 392698 h 4687251"/>
              <a:gd name="connsiteX37143" fmla="*/ 7475277 w 8079933"/>
              <a:gd name="connsiteY37143" fmla="*/ 390208 h 4687251"/>
              <a:gd name="connsiteX37144" fmla="*/ 7480161 w 8079933"/>
              <a:gd name="connsiteY37144" fmla="*/ 386202 h 4687251"/>
              <a:gd name="connsiteX37145" fmla="*/ 7483633 w 8079933"/>
              <a:gd name="connsiteY37145" fmla="*/ 379164 h 4687251"/>
              <a:gd name="connsiteX37146" fmla="*/ 7489818 w 8079933"/>
              <a:gd name="connsiteY37146" fmla="*/ 370394 h 4687251"/>
              <a:gd name="connsiteX37147" fmla="*/ 7492966 w 8079933"/>
              <a:gd name="connsiteY37147" fmla="*/ 369636 h 4687251"/>
              <a:gd name="connsiteX37148" fmla="*/ 7492314 w 8079933"/>
              <a:gd name="connsiteY37148" fmla="*/ 372343 h 4687251"/>
              <a:gd name="connsiteX37149" fmla="*/ 7496004 w 8079933"/>
              <a:gd name="connsiteY37149" fmla="*/ 381221 h 4687251"/>
              <a:gd name="connsiteX37150" fmla="*/ 7500887 w 8079933"/>
              <a:gd name="connsiteY37150" fmla="*/ 382520 h 4687251"/>
              <a:gd name="connsiteX37151" fmla="*/ 7502189 w 8079933"/>
              <a:gd name="connsiteY37151" fmla="*/ 380572 h 4687251"/>
              <a:gd name="connsiteX37152" fmla="*/ 7497849 w 8079933"/>
              <a:gd name="connsiteY37152" fmla="*/ 376998 h 4687251"/>
              <a:gd name="connsiteX37153" fmla="*/ 7496221 w 8079933"/>
              <a:gd name="connsiteY37153" fmla="*/ 372776 h 4687251"/>
              <a:gd name="connsiteX37154" fmla="*/ 7498608 w 8079933"/>
              <a:gd name="connsiteY37154" fmla="*/ 372776 h 4687251"/>
              <a:gd name="connsiteX37155" fmla="*/ 7504142 w 8079933"/>
              <a:gd name="connsiteY37155" fmla="*/ 369312 h 4687251"/>
              <a:gd name="connsiteX37156" fmla="*/ 7505878 w 8079933"/>
              <a:gd name="connsiteY37156" fmla="*/ 365847 h 4687251"/>
              <a:gd name="connsiteX37157" fmla="*/ 7499911 w 8079933"/>
              <a:gd name="connsiteY37157" fmla="*/ 365847 h 4687251"/>
              <a:gd name="connsiteX37158" fmla="*/ 7502406 w 8079933"/>
              <a:gd name="connsiteY37158" fmla="*/ 363790 h 4687251"/>
              <a:gd name="connsiteX37159" fmla="*/ 7504685 w 8079933"/>
              <a:gd name="connsiteY37159" fmla="*/ 362490 h 4687251"/>
              <a:gd name="connsiteX37160" fmla="*/ 7509351 w 8079933"/>
              <a:gd name="connsiteY37160" fmla="*/ 361408 h 4687251"/>
              <a:gd name="connsiteX37161" fmla="*/ 7513475 w 8079933"/>
              <a:gd name="connsiteY37161" fmla="*/ 354586 h 4687251"/>
              <a:gd name="connsiteX37162" fmla="*/ 7517599 w 8079933"/>
              <a:gd name="connsiteY37162" fmla="*/ 354586 h 4687251"/>
              <a:gd name="connsiteX37163" fmla="*/ 7519444 w 8079933"/>
              <a:gd name="connsiteY37163" fmla="*/ 357402 h 4687251"/>
              <a:gd name="connsiteX37164" fmla="*/ 7521830 w 8079933"/>
              <a:gd name="connsiteY37164" fmla="*/ 356535 h 4687251"/>
              <a:gd name="connsiteX37165" fmla="*/ 7526063 w 8079933"/>
              <a:gd name="connsiteY37165" fmla="*/ 357619 h 4687251"/>
              <a:gd name="connsiteX37166" fmla="*/ 7526714 w 8079933"/>
              <a:gd name="connsiteY37166" fmla="*/ 359892 h 4687251"/>
              <a:gd name="connsiteX37167" fmla="*/ 7530838 w 8079933"/>
              <a:gd name="connsiteY37167" fmla="*/ 363898 h 4687251"/>
              <a:gd name="connsiteX37168" fmla="*/ 7537782 w 8079933"/>
              <a:gd name="connsiteY37168" fmla="*/ 365197 h 4687251"/>
              <a:gd name="connsiteX37169" fmla="*/ 7541038 w 8079933"/>
              <a:gd name="connsiteY37169" fmla="*/ 363465 h 4687251"/>
              <a:gd name="connsiteX37170" fmla="*/ 7555796 w 8079933"/>
              <a:gd name="connsiteY37170" fmla="*/ 366063 h 4687251"/>
              <a:gd name="connsiteX37171" fmla="*/ 7554711 w 8079933"/>
              <a:gd name="connsiteY37171" fmla="*/ 371152 h 4687251"/>
              <a:gd name="connsiteX37172" fmla="*/ 7556014 w 8079933"/>
              <a:gd name="connsiteY37172" fmla="*/ 373426 h 4687251"/>
              <a:gd name="connsiteX37173" fmla="*/ 7558944 w 8079933"/>
              <a:gd name="connsiteY37173" fmla="*/ 372235 h 4687251"/>
              <a:gd name="connsiteX37174" fmla="*/ 7558944 w 8079933"/>
              <a:gd name="connsiteY37174" fmla="*/ 368770 h 4687251"/>
              <a:gd name="connsiteX37175" fmla="*/ 7563176 w 8079933"/>
              <a:gd name="connsiteY37175" fmla="*/ 368770 h 4687251"/>
              <a:gd name="connsiteX37176" fmla="*/ 7563176 w 8079933"/>
              <a:gd name="connsiteY37176" fmla="*/ 374833 h 4687251"/>
              <a:gd name="connsiteX37177" fmla="*/ 7567191 w 8079933"/>
              <a:gd name="connsiteY37177" fmla="*/ 371910 h 4687251"/>
              <a:gd name="connsiteX37178" fmla="*/ 7571748 w 8079933"/>
              <a:gd name="connsiteY37178" fmla="*/ 366713 h 4687251"/>
              <a:gd name="connsiteX37179" fmla="*/ 7576306 w 8079933"/>
              <a:gd name="connsiteY37179" fmla="*/ 368337 h 4687251"/>
              <a:gd name="connsiteX37180" fmla="*/ 7576306 w 8079933"/>
              <a:gd name="connsiteY37180" fmla="*/ 371802 h 4687251"/>
              <a:gd name="connsiteX37181" fmla="*/ 7573702 w 8079933"/>
              <a:gd name="connsiteY37181" fmla="*/ 375374 h 4687251"/>
              <a:gd name="connsiteX37182" fmla="*/ 7573268 w 8079933"/>
              <a:gd name="connsiteY37182" fmla="*/ 377540 h 4687251"/>
              <a:gd name="connsiteX37183" fmla="*/ 7577283 w 8079933"/>
              <a:gd name="connsiteY37183" fmla="*/ 390316 h 4687251"/>
              <a:gd name="connsiteX37184" fmla="*/ 7575546 w 8079933"/>
              <a:gd name="connsiteY37184" fmla="*/ 396487 h 4687251"/>
              <a:gd name="connsiteX37185" fmla="*/ 7576089 w 8079933"/>
              <a:gd name="connsiteY37185" fmla="*/ 399302 h 4687251"/>
              <a:gd name="connsiteX37186" fmla="*/ 7580539 w 8079933"/>
              <a:gd name="connsiteY37186" fmla="*/ 398220 h 4687251"/>
              <a:gd name="connsiteX37187" fmla="*/ 7583469 w 8079933"/>
              <a:gd name="connsiteY37187" fmla="*/ 403200 h 4687251"/>
              <a:gd name="connsiteX37188" fmla="*/ 7588678 w 8079933"/>
              <a:gd name="connsiteY37188" fmla="*/ 405582 h 4687251"/>
              <a:gd name="connsiteX37189" fmla="*/ 7590522 w 8079933"/>
              <a:gd name="connsiteY37189" fmla="*/ 410563 h 4687251"/>
              <a:gd name="connsiteX37190" fmla="*/ 7587918 w 8079933"/>
              <a:gd name="connsiteY37190" fmla="*/ 413486 h 4687251"/>
              <a:gd name="connsiteX37191" fmla="*/ 7580321 w 8079933"/>
              <a:gd name="connsiteY37191" fmla="*/ 413486 h 4687251"/>
              <a:gd name="connsiteX37192" fmla="*/ 7572291 w 8079933"/>
              <a:gd name="connsiteY37192" fmla="*/ 414893 h 4687251"/>
              <a:gd name="connsiteX37193" fmla="*/ 7583143 w 8079933"/>
              <a:gd name="connsiteY37193" fmla="*/ 417275 h 4687251"/>
              <a:gd name="connsiteX37194" fmla="*/ 7586073 w 8079933"/>
              <a:gd name="connsiteY37194" fmla="*/ 421498 h 4687251"/>
              <a:gd name="connsiteX37195" fmla="*/ 7584879 w 8079933"/>
              <a:gd name="connsiteY37195" fmla="*/ 425504 h 4687251"/>
              <a:gd name="connsiteX37196" fmla="*/ 7579454 w 8079933"/>
              <a:gd name="connsiteY37196" fmla="*/ 426803 h 4687251"/>
              <a:gd name="connsiteX37197" fmla="*/ 7574895 w 8079933"/>
              <a:gd name="connsiteY37197" fmla="*/ 434815 h 4687251"/>
              <a:gd name="connsiteX37198" fmla="*/ 7573268 w 8079933"/>
              <a:gd name="connsiteY37198" fmla="*/ 432216 h 4687251"/>
              <a:gd name="connsiteX37199" fmla="*/ 7567516 w 8079933"/>
              <a:gd name="connsiteY37199" fmla="*/ 436872 h 4687251"/>
              <a:gd name="connsiteX37200" fmla="*/ 7561114 w 8079933"/>
              <a:gd name="connsiteY37200" fmla="*/ 436872 h 4687251"/>
              <a:gd name="connsiteX37201" fmla="*/ 7556122 w 8079933"/>
              <a:gd name="connsiteY37201" fmla="*/ 441420 h 4687251"/>
              <a:gd name="connsiteX37202" fmla="*/ 7562850 w 8079933"/>
              <a:gd name="connsiteY37202" fmla="*/ 440337 h 4687251"/>
              <a:gd name="connsiteX37203" fmla="*/ 7566540 w 8079933"/>
              <a:gd name="connsiteY37203" fmla="*/ 441528 h 4687251"/>
              <a:gd name="connsiteX37204" fmla="*/ 7569036 w 8079933"/>
              <a:gd name="connsiteY37204" fmla="*/ 445209 h 4687251"/>
              <a:gd name="connsiteX37205" fmla="*/ 7572725 w 8079933"/>
              <a:gd name="connsiteY37205" fmla="*/ 441420 h 4687251"/>
              <a:gd name="connsiteX37206" fmla="*/ 7575004 w 8079933"/>
              <a:gd name="connsiteY37206" fmla="*/ 441420 h 4687251"/>
              <a:gd name="connsiteX37207" fmla="*/ 7575004 w 8079933"/>
              <a:gd name="connsiteY37207" fmla="*/ 445534 h 4687251"/>
              <a:gd name="connsiteX37208" fmla="*/ 7579561 w 8079933"/>
              <a:gd name="connsiteY37208" fmla="*/ 451597 h 4687251"/>
              <a:gd name="connsiteX37209" fmla="*/ 7575546 w 8079933"/>
              <a:gd name="connsiteY37209" fmla="*/ 454087 h 4687251"/>
              <a:gd name="connsiteX37210" fmla="*/ 7574462 w 8079933"/>
              <a:gd name="connsiteY37210" fmla="*/ 461558 h 4687251"/>
              <a:gd name="connsiteX37211" fmla="*/ 7580104 w 8079933"/>
              <a:gd name="connsiteY37211" fmla="*/ 455711 h 4687251"/>
              <a:gd name="connsiteX37212" fmla="*/ 7586073 w 8079933"/>
              <a:gd name="connsiteY37212" fmla="*/ 455062 h 4687251"/>
              <a:gd name="connsiteX37213" fmla="*/ 7592475 w 8079933"/>
              <a:gd name="connsiteY37213" fmla="*/ 460475 h 4687251"/>
              <a:gd name="connsiteX37214" fmla="*/ 7591715 w 8079933"/>
              <a:gd name="connsiteY37214" fmla="*/ 463940 h 4687251"/>
              <a:gd name="connsiteX37215" fmla="*/ 7595296 w 8079933"/>
              <a:gd name="connsiteY37215" fmla="*/ 470111 h 4687251"/>
              <a:gd name="connsiteX37216" fmla="*/ 7589654 w 8079933"/>
              <a:gd name="connsiteY37216" fmla="*/ 474117 h 4687251"/>
              <a:gd name="connsiteX37217" fmla="*/ 7592584 w 8079933"/>
              <a:gd name="connsiteY37217" fmla="*/ 475525 h 4687251"/>
              <a:gd name="connsiteX37218" fmla="*/ 7593886 w 8079933"/>
              <a:gd name="connsiteY37218" fmla="*/ 482779 h 4687251"/>
              <a:gd name="connsiteX37219" fmla="*/ 7588678 w 8079933"/>
              <a:gd name="connsiteY37219" fmla="*/ 485160 h 4687251"/>
              <a:gd name="connsiteX37220" fmla="*/ 7588678 w 8079933"/>
              <a:gd name="connsiteY37220" fmla="*/ 488626 h 4687251"/>
              <a:gd name="connsiteX37221" fmla="*/ 7590630 w 8079933"/>
              <a:gd name="connsiteY37221" fmla="*/ 491658 h 4687251"/>
              <a:gd name="connsiteX37222" fmla="*/ 7590630 w 8079933"/>
              <a:gd name="connsiteY37222" fmla="*/ 487868 h 4687251"/>
              <a:gd name="connsiteX37223" fmla="*/ 7594754 w 8079933"/>
              <a:gd name="connsiteY37223" fmla="*/ 486785 h 4687251"/>
              <a:gd name="connsiteX37224" fmla="*/ 7597684 w 8079933"/>
              <a:gd name="connsiteY37224" fmla="*/ 490033 h 4687251"/>
              <a:gd name="connsiteX37225" fmla="*/ 7596816 w 8079933"/>
              <a:gd name="connsiteY37225" fmla="*/ 496205 h 4687251"/>
              <a:gd name="connsiteX37226" fmla="*/ 7602242 w 8079933"/>
              <a:gd name="connsiteY37226" fmla="*/ 494905 h 4687251"/>
              <a:gd name="connsiteX37227" fmla="*/ 7603978 w 8079933"/>
              <a:gd name="connsiteY37227" fmla="*/ 498370 h 4687251"/>
              <a:gd name="connsiteX37228" fmla="*/ 7603978 w 8079933"/>
              <a:gd name="connsiteY37228" fmla="*/ 494364 h 4687251"/>
              <a:gd name="connsiteX37229" fmla="*/ 7606908 w 8079933"/>
              <a:gd name="connsiteY37229" fmla="*/ 491874 h 4687251"/>
              <a:gd name="connsiteX37230" fmla="*/ 7610380 w 8079933"/>
              <a:gd name="connsiteY37230" fmla="*/ 493715 h 4687251"/>
              <a:gd name="connsiteX37231" fmla="*/ 7615264 w 8079933"/>
              <a:gd name="connsiteY37231" fmla="*/ 494472 h 4687251"/>
              <a:gd name="connsiteX37232" fmla="*/ 7615264 w 8079933"/>
              <a:gd name="connsiteY37232" fmla="*/ 500968 h 4687251"/>
              <a:gd name="connsiteX37233" fmla="*/ 7611683 w 8079933"/>
              <a:gd name="connsiteY37233" fmla="*/ 502593 h 4687251"/>
              <a:gd name="connsiteX37234" fmla="*/ 7607342 w 8079933"/>
              <a:gd name="connsiteY37234" fmla="*/ 499886 h 4687251"/>
              <a:gd name="connsiteX37235" fmla="*/ 7604303 w 8079933"/>
              <a:gd name="connsiteY37235" fmla="*/ 504000 h 4687251"/>
              <a:gd name="connsiteX37236" fmla="*/ 7609729 w 8079933"/>
              <a:gd name="connsiteY37236" fmla="*/ 507248 h 4687251"/>
              <a:gd name="connsiteX37237" fmla="*/ 7613744 w 8079933"/>
              <a:gd name="connsiteY37237" fmla="*/ 506491 h 4687251"/>
              <a:gd name="connsiteX37238" fmla="*/ 7617109 w 8079933"/>
              <a:gd name="connsiteY37238" fmla="*/ 512878 h 4687251"/>
              <a:gd name="connsiteX37239" fmla="*/ 7617109 w 8079933"/>
              <a:gd name="connsiteY37239" fmla="*/ 516126 h 4687251"/>
              <a:gd name="connsiteX37240" fmla="*/ 7607885 w 8079933"/>
              <a:gd name="connsiteY37240" fmla="*/ 521215 h 4687251"/>
              <a:gd name="connsiteX37241" fmla="*/ 7602676 w 8079933"/>
              <a:gd name="connsiteY37241" fmla="*/ 513419 h 4687251"/>
              <a:gd name="connsiteX37242" fmla="*/ 7601048 w 8079933"/>
              <a:gd name="connsiteY37242" fmla="*/ 512337 h 4687251"/>
              <a:gd name="connsiteX37243" fmla="*/ 7603544 w 8079933"/>
              <a:gd name="connsiteY37243" fmla="*/ 521215 h 4687251"/>
              <a:gd name="connsiteX37244" fmla="*/ 7599963 w 8079933"/>
              <a:gd name="connsiteY37244" fmla="*/ 524680 h 4687251"/>
              <a:gd name="connsiteX37245" fmla="*/ 7597576 w 8079933"/>
              <a:gd name="connsiteY37245" fmla="*/ 524680 h 4687251"/>
              <a:gd name="connsiteX37246" fmla="*/ 7596274 w 8079933"/>
              <a:gd name="connsiteY37246" fmla="*/ 522731 h 4687251"/>
              <a:gd name="connsiteX37247" fmla="*/ 7592475 w 8079933"/>
              <a:gd name="connsiteY37247" fmla="*/ 522731 h 4687251"/>
              <a:gd name="connsiteX37248" fmla="*/ 7589437 w 8079933"/>
              <a:gd name="connsiteY37248" fmla="*/ 520782 h 4687251"/>
              <a:gd name="connsiteX37249" fmla="*/ 7578585 w 8079933"/>
              <a:gd name="connsiteY37249" fmla="*/ 519916 h 4687251"/>
              <a:gd name="connsiteX37250" fmla="*/ 7574462 w 8079933"/>
              <a:gd name="connsiteY37250" fmla="*/ 522298 h 4687251"/>
              <a:gd name="connsiteX37251" fmla="*/ 7569795 w 8079933"/>
              <a:gd name="connsiteY37251" fmla="*/ 522298 h 4687251"/>
              <a:gd name="connsiteX37252" fmla="*/ 7571098 w 8079933"/>
              <a:gd name="connsiteY37252" fmla="*/ 518833 h 4687251"/>
              <a:gd name="connsiteX37253" fmla="*/ 7569253 w 8079933"/>
              <a:gd name="connsiteY37253" fmla="*/ 515585 h 4687251"/>
              <a:gd name="connsiteX37254" fmla="*/ 7565672 w 8079933"/>
              <a:gd name="connsiteY37254" fmla="*/ 514935 h 4687251"/>
              <a:gd name="connsiteX37255" fmla="*/ 7566756 w 8079933"/>
              <a:gd name="connsiteY37255" fmla="*/ 521107 h 4687251"/>
              <a:gd name="connsiteX37256" fmla="*/ 7563827 w 8079933"/>
              <a:gd name="connsiteY37256" fmla="*/ 521107 h 4687251"/>
              <a:gd name="connsiteX37257" fmla="*/ 7562959 w 8079933"/>
              <a:gd name="connsiteY37257" fmla="*/ 522514 h 4687251"/>
              <a:gd name="connsiteX37258" fmla="*/ 7565237 w 8079933"/>
              <a:gd name="connsiteY37258" fmla="*/ 526412 h 4687251"/>
              <a:gd name="connsiteX37259" fmla="*/ 7561440 w 8079933"/>
              <a:gd name="connsiteY37259" fmla="*/ 530959 h 4687251"/>
              <a:gd name="connsiteX37260" fmla="*/ 7560028 w 8079933"/>
              <a:gd name="connsiteY37260" fmla="*/ 530959 h 4687251"/>
              <a:gd name="connsiteX37261" fmla="*/ 7560028 w 8079933"/>
              <a:gd name="connsiteY37261" fmla="*/ 528577 h 4687251"/>
              <a:gd name="connsiteX37262" fmla="*/ 7558184 w 8079933"/>
              <a:gd name="connsiteY37262" fmla="*/ 527278 h 4687251"/>
              <a:gd name="connsiteX37263" fmla="*/ 7548200 w 8079933"/>
              <a:gd name="connsiteY37263" fmla="*/ 529768 h 4687251"/>
              <a:gd name="connsiteX37264" fmla="*/ 7545596 w 8079933"/>
              <a:gd name="connsiteY37264" fmla="*/ 528361 h 4687251"/>
              <a:gd name="connsiteX37265" fmla="*/ 7545596 w 8079933"/>
              <a:gd name="connsiteY37265" fmla="*/ 525654 h 4687251"/>
              <a:gd name="connsiteX37266" fmla="*/ 7543642 w 8079933"/>
              <a:gd name="connsiteY37266" fmla="*/ 519591 h 4687251"/>
              <a:gd name="connsiteX37267" fmla="*/ 7541907 w 8079933"/>
              <a:gd name="connsiteY37267" fmla="*/ 518400 h 4687251"/>
              <a:gd name="connsiteX37268" fmla="*/ 7530404 w 8079933"/>
              <a:gd name="connsiteY37268" fmla="*/ 509955 h 4687251"/>
              <a:gd name="connsiteX37269" fmla="*/ 7528993 w 8079933"/>
              <a:gd name="connsiteY37269" fmla="*/ 508115 h 4687251"/>
              <a:gd name="connsiteX37270" fmla="*/ 7530186 w 8079933"/>
              <a:gd name="connsiteY37270" fmla="*/ 506382 h 4687251"/>
              <a:gd name="connsiteX37271" fmla="*/ 7522048 w 8079933"/>
              <a:gd name="connsiteY37271" fmla="*/ 503675 h 4687251"/>
              <a:gd name="connsiteX37272" fmla="*/ 7520962 w 8079933"/>
              <a:gd name="connsiteY37272" fmla="*/ 508656 h 4687251"/>
              <a:gd name="connsiteX37273" fmla="*/ 7512824 w 8079933"/>
              <a:gd name="connsiteY37273" fmla="*/ 510821 h 4687251"/>
              <a:gd name="connsiteX37274" fmla="*/ 7508700 w 8079933"/>
              <a:gd name="connsiteY37274" fmla="*/ 514935 h 4687251"/>
              <a:gd name="connsiteX37275" fmla="*/ 7505878 w 8079933"/>
              <a:gd name="connsiteY37275" fmla="*/ 514935 h 4687251"/>
              <a:gd name="connsiteX37276" fmla="*/ 7505878 w 8079933"/>
              <a:gd name="connsiteY37276" fmla="*/ 508872 h 4687251"/>
              <a:gd name="connsiteX37277" fmla="*/ 7503384 w 8079933"/>
              <a:gd name="connsiteY37277" fmla="*/ 504217 h 4687251"/>
              <a:gd name="connsiteX37278" fmla="*/ 7504685 w 8079933"/>
              <a:gd name="connsiteY37278" fmla="*/ 508764 h 4687251"/>
              <a:gd name="connsiteX37279" fmla="*/ 7503708 w 8079933"/>
              <a:gd name="connsiteY37279" fmla="*/ 518292 h 4687251"/>
              <a:gd name="connsiteX37280" fmla="*/ 7505770 w 8079933"/>
              <a:gd name="connsiteY37280" fmla="*/ 523597 h 4687251"/>
              <a:gd name="connsiteX37281" fmla="*/ 7504034 w 8079933"/>
              <a:gd name="connsiteY37281" fmla="*/ 529227 h 4687251"/>
              <a:gd name="connsiteX37282" fmla="*/ 7495244 w 8079933"/>
              <a:gd name="connsiteY37282" fmla="*/ 541570 h 4687251"/>
              <a:gd name="connsiteX37283" fmla="*/ 7490795 w 8079933"/>
              <a:gd name="connsiteY37283" fmla="*/ 541570 h 4687251"/>
              <a:gd name="connsiteX37284" fmla="*/ 7490795 w 8079933"/>
              <a:gd name="connsiteY37284" fmla="*/ 533017 h 4687251"/>
              <a:gd name="connsiteX37285" fmla="*/ 7485695 w 8079933"/>
              <a:gd name="connsiteY37285" fmla="*/ 531068 h 4687251"/>
              <a:gd name="connsiteX37286" fmla="*/ 7481354 w 8079933"/>
              <a:gd name="connsiteY37286" fmla="*/ 533666 h 4687251"/>
              <a:gd name="connsiteX37287" fmla="*/ 7469634 w 8079933"/>
              <a:gd name="connsiteY37287" fmla="*/ 524788 h 4687251"/>
              <a:gd name="connsiteX37288" fmla="*/ 7470394 w 8079933"/>
              <a:gd name="connsiteY37288" fmla="*/ 520998 h 4687251"/>
              <a:gd name="connsiteX37289" fmla="*/ 7468658 w 8079933"/>
              <a:gd name="connsiteY37289" fmla="*/ 509521 h 4687251"/>
              <a:gd name="connsiteX37290" fmla="*/ 7464208 w 8079933"/>
              <a:gd name="connsiteY37290" fmla="*/ 507898 h 4687251"/>
              <a:gd name="connsiteX37291" fmla="*/ 7462581 w 8079933"/>
              <a:gd name="connsiteY37291" fmla="*/ 504649 h 4687251"/>
              <a:gd name="connsiteX37292" fmla="*/ 7459976 w 8079933"/>
              <a:gd name="connsiteY37292" fmla="*/ 501727 h 4687251"/>
              <a:gd name="connsiteX37293" fmla="*/ 7457589 w 8079933"/>
              <a:gd name="connsiteY37293" fmla="*/ 504109 h 4687251"/>
              <a:gd name="connsiteX37294" fmla="*/ 7459217 w 8079933"/>
              <a:gd name="connsiteY37294" fmla="*/ 507790 h 4687251"/>
              <a:gd name="connsiteX37295" fmla="*/ 7459217 w 8079933"/>
              <a:gd name="connsiteY37295" fmla="*/ 511796 h 4687251"/>
              <a:gd name="connsiteX37296" fmla="*/ 7462146 w 8079933"/>
              <a:gd name="connsiteY37296" fmla="*/ 515152 h 4687251"/>
              <a:gd name="connsiteX37297" fmla="*/ 7460844 w 8079933"/>
              <a:gd name="connsiteY37297" fmla="*/ 518508 h 4687251"/>
              <a:gd name="connsiteX37298" fmla="*/ 7453356 w 8079933"/>
              <a:gd name="connsiteY37298" fmla="*/ 514286 h 4687251"/>
              <a:gd name="connsiteX37299" fmla="*/ 7448039 w 8079933"/>
              <a:gd name="connsiteY37299" fmla="*/ 507790 h 4687251"/>
              <a:gd name="connsiteX37300" fmla="*/ 7447063 w 8079933"/>
              <a:gd name="connsiteY37300" fmla="*/ 508331 h 4687251"/>
              <a:gd name="connsiteX37301" fmla="*/ 7449776 w 8079933"/>
              <a:gd name="connsiteY37301" fmla="*/ 514502 h 4687251"/>
              <a:gd name="connsiteX37302" fmla="*/ 7446737 w 8079933"/>
              <a:gd name="connsiteY37302" fmla="*/ 516884 h 4687251"/>
              <a:gd name="connsiteX37303" fmla="*/ 7448908 w 8079933"/>
              <a:gd name="connsiteY37303" fmla="*/ 518725 h 4687251"/>
              <a:gd name="connsiteX37304" fmla="*/ 7454551 w 8079933"/>
              <a:gd name="connsiteY37304" fmla="*/ 518725 h 4687251"/>
              <a:gd name="connsiteX37305" fmla="*/ 7457697 w 8079933"/>
              <a:gd name="connsiteY37305" fmla="*/ 522514 h 4687251"/>
              <a:gd name="connsiteX37306" fmla="*/ 7455853 w 8079933"/>
              <a:gd name="connsiteY37306" fmla="*/ 527603 h 4687251"/>
              <a:gd name="connsiteX37307" fmla="*/ 7448799 w 8079933"/>
              <a:gd name="connsiteY37307" fmla="*/ 527603 h 4687251"/>
              <a:gd name="connsiteX37308" fmla="*/ 7448039 w 8079933"/>
              <a:gd name="connsiteY37308" fmla="*/ 530635 h 4687251"/>
              <a:gd name="connsiteX37309" fmla="*/ 7451187 w 8079933"/>
              <a:gd name="connsiteY37309" fmla="*/ 532259 h 4687251"/>
              <a:gd name="connsiteX37310" fmla="*/ 7464425 w 8079933"/>
              <a:gd name="connsiteY37310" fmla="*/ 547958 h 4687251"/>
              <a:gd name="connsiteX37311" fmla="*/ 7474084 w 8079933"/>
              <a:gd name="connsiteY37311" fmla="*/ 550556 h 4687251"/>
              <a:gd name="connsiteX37312" fmla="*/ 7479618 w 8079933"/>
              <a:gd name="connsiteY37312" fmla="*/ 548282 h 4687251"/>
              <a:gd name="connsiteX37313" fmla="*/ 7485695 w 8079933"/>
              <a:gd name="connsiteY37313" fmla="*/ 551314 h 4687251"/>
              <a:gd name="connsiteX37314" fmla="*/ 7487431 w 8079933"/>
              <a:gd name="connsiteY37314" fmla="*/ 558027 h 4687251"/>
              <a:gd name="connsiteX37315" fmla="*/ 7486454 w 8079933"/>
              <a:gd name="connsiteY37315" fmla="*/ 558027 h 4687251"/>
              <a:gd name="connsiteX37316" fmla="*/ 7482114 w 8079933"/>
              <a:gd name="connsiteY37316" fmla="*/ 552288 h 4687251"/>
              <a:gd name="connsiteX37317" fmla="*/ 7479835 w 8079933"/>
              <a:gd name="connsiteY37317" fmla="*/ 552288 h 4687251"/>
              <a:gd name="connsiteX37318" fmla="*/ 7482874 w 8079933"/>
              <a:gd name="connsiteY37318" fmla="*/ 559435 h 4687251"/>
              <a:gd name="connsiteX37319" fmla="*/ 7489710 w 8079933"/>
              <a:gd name="connsiteY37319" fmla="*/ 564631 h 4687251"/>
              <a:gd name="connsiteX37320" fmla="*/ 7491554 w 8079933"/>
              <a:gd name="connsiteY37320" fmla="*/ 570586 h 4687251"/>
              <a:gd name="connsiteX37321" fmla="*/ 7496004 w 8079933"/>
              <a:gd name="connsiteY37321" fmla="*/ 575892 h 4687251"/>
              <a:gd name="connsiteX37322" fmla="*/ 7496004 w 8079933"/>
              <a:gd name="connsiteY37322" fmla="*/ 586069 h 4687251"/>
              <a:gd name="connsiteX37323" fmla="*/ 7492097 w 8079933"/>
              <a:gd name="connsiteY37323" fmla="*/ 601768 h 4687251"/>
              <a:gd name="connsiteX37324" fmla="*/ 7494485 w 8079933"/>
              <a:gd name="connsiteY37324" fmla="*/ 610971 h 4687251"/>
              <a:gd name="connsiteX37325" fmla="*/ 7494485 w 8079933"/>
              <a:gd name="connsiteY37325" fmla="*/ 617467 h 4687251"/>
              <a:gd name="connsiteX37326" fmla="*/ 7495896 w 8079933"/>
              <a:gd name="connsiteY37326" fmla="*/ 620716 h 4687251"/>
              <a:gd name="connsiteX37327" fmla="*/ 7490144 w 8079933"/>
              <a:gd name="connsiteY37327" fmla="*/ 629594 h 4687251"/>
              <a:gd name="connsiteX37328" fmla="*/ 7490144 w 8079933"/>
              <a:gd name="connsiteY37328" fmla="*/ 635332 h 4687251"/>
              <a:gd name="connsiteX37329" fmla="*/ 7486020 w 8079933"/>
              <a:gd name="connsiteY37329" fmla="*/ 638364 h 4687251"/>
              <a:gd name="connsiteX37330" fmla="*/ 7487322 w 8079933"/>
              <a:gd name="connsiteY37330" fmla="*/ 633925 h 4687251"/>
              <a:gd name="connsiteX37331" fmla="*/ 7486020 w 8079933"/>
              <a:gd name="connsiteY37331" fmla="*/ 632084 h 4687251"/>
              <a:gd name="connsiteX37332" fmla="*/ 7475169 w 8079933"/>
              <a:gd name="connsiteY37332" fmla="*/ 640421 h 4687251"/>
              <a:gd name="connsiteX37333" fmla="*/ 7472456 w 8079933"/>
              <a:gd name="connsiteY37333" fmla="*/ 637173 h 4687251"/>
              <a:gd name="connsiteX37334" fmla="*/ 7467356 w 8079933"/>
              <a:gd name="connsiteY37334" fmla="*/ 640746 h 4687251"/>
              <a:gd name="connsiteX37335" fmla="*/ 7463774 w 8079933"/>
              <a:gd name="connsiteY37335" fmla="*/ 639880 h 4687251"/>
              <a:gd name="connsiteX37336" fmla="*/ 7461170 w 8079933"/>
              <a:gd name="connsiteY37336" fmla="*/ 635332 h 4687251"/>
              <a:gd name="connsiteX37337" fmla="*/ 7456070 w 8079933"/>
              <a:gd name="connsiteY37337" fmla="*/ 635332 h 4687251"/>
              <a:gd name="connsiteX37338" fmla="*/ 7449234 w 8079933"/>
              <a:gd name="connsiteY37338" fmla="*/ 628078 h 4687251"/>
              <a:gd name="connsiteX37339" fmla="*/ 7443699 w 8079933"/>
              <a:gd name="connsiteY37339" fmla="*/ 624181 h 4687251"/>
              <a:gd name="connsiteX37340" fmla="*/ 7437514 w 8079933"/>
              <a:gd name="connsiteY37340" fmla="*/ 623422 h 4687251"/>
              <a:gd name="connsiteX37341" fmla="*/ 7433607 w 8079933"/>
              <a:gd name="connsiteY37341" fmla="*/ 620824 h 4687251"/>
              <a:gd name="connsiteX37342" fmla="*/ 7429483 w 8079933"/>
              <a:gd name="connsiteY37342" fmla="*/ 621907 h 4687251"/>
              <a:gd name="connsiteX37343" fmla="*/ 7425142 w 8079933"/>
              <a:gd name="connsiteY37343" fmla="*/ 627645 h 4687251"/>
              <a:gd name="connsiteX37344" fmla="*/ 7419934 w 8079933"/>
              <a:gd name="connsiteY37344" fmla="*/ 627645 h 4687251"/>
              <a:gd name="connsiteX37345" fmla="*/ 7425251 w 8079933"/>
              <a:gd name="connsiteY37345" fmla="*/ 630027 h 4687251"/>
              <a:gd name="connsiteX37346" fmla="*/ 7431979 w 8079933"/>
              <a:gd name="connsiteY37346" fmla="*/ 630027 h 4687251"/>
              <a:gd name="connsiteX37347" fmla="*/ 7435126 w 8079933"/>
              <a:gd name="connsiteY37347" fmla="*/ 625155 h 4687251"/>
              <a:gd name="connsiteX37348" fmla="*/ 7447822 w 8079933"/>
              <a:gd name="connsiteY37348" fmla="*/ 630460 h 4687251"/>
              <a:gd name="connsiteX37349" fmla="*/ 7450210 w 8079933"/>
              <a:gd name="connsiteY37349" fmla="*/ 634791 h 4687251"/>
              <a:gd name="connsiteX37350" fmla="*/ 7443916 w 8079933"/>
              <a:gd name="connsiteY37350" fmla="*/ 639122 h 4687251"/>
              <a:gd name="connsiteX37351" fmla="*/ 7439792 w 8079933"/>
              <a:gd name="connsiteY37351" fmla="*/ 636415 h 4687251"/>
              <a:gd name="connsiteX37352" fmla="*/ 7434366 w 8079933"/>
              <a:gd name="connsiteY37352" fmla="*/ 636415 h 4687251"/>
              <a:gd name="connsiteX37353" fmla="*/ 7434366 w 8079933"/>
              <a:gd name="connsiteY37353" fmla="*/ 641287 h 4687251"/>
              <a:gd name="connsiteX37354" fmla="*/ 7429808 w 8079933"/>
              <a:gd name="connsiteY37354" fmla="*/ 636090 h 4687251"/>
              <a:gd name="connsiteX37355" fmla="*/ 7425468 w 8079933"/>
              <a:gd name="connsiteY37355" fmla="*/ 636632 h 4687251"/>
              <a:gd name="connsiteX37356" fmla="*/ 7427638 w 8079933"/>
              <a:gd name="connsiteY37356" fmla="*/ 636632 h 4687251"/>
              <a:gd name="connsiteX37357" fmla="*/ 7430026 w 8079933"/>
              <a:gd name="connsiteY37357" fmla="*/ 642911 h 4687251"/>
              <a:gd name="connsiteX37358" fmla="*/ 7437296 w 8079933"/>
              <a:gd name="connsiteY37358" fmla="*/ 646701 h 4687251"/>
              <a:gd name="connsiteX37359" fmla="*/ 7435452 w 8079933"/>
              <a:gd name="connsiteY37359" fmla="*/ 653521 h 4687251"/>
              <a:gd name="connsiteX37360" fmla="*/ 7438382 w 8079933"/>
              <a:gd name="connsiteY37360" fmla="*/ 661858 h 4687251"/>
              <a:gd name="connsiteX37361" fmla="*/ 7442939 w 8079933"/>
              <a:gd name="connsiteY37361" fmla="*/ 664240 h 4687251"/>
              <a:gd name="connsiteX37362" fmla="*/ 7440226 w 8079933"/>
              <a:gd name="connsiteY37362" fmla="*/ 661533 h 4687251"/>
              <a:gd name="connsiteX37363" fmla="*/ 7440226 w 8079933"/>
              <a:gd name="connsiteY37363" fmla="*/ 651572 h 4687251"/>
              <a:gd name="connsiteX37364" fmla="*/ 7443482 w 8079933"/>
              <a:gd name="connsiteY37364" fmla="*/ 649624 h 4687251"/>
              <a:gd name="connsiteX37365" fmla="*/ 7447605 w 8079933"/>
              <a:gd name="connsiteY37365" fmla="*/ 650707 h 4687251"/>
              <a:gd name="connsiteX37366" fmla="*/ 7447605 w 8079933"/>
              <a:gd name="connsiteY37366" fmla="*/ 647999 h 4687251"/>
              <a:gd name="connsiteX37367" fmla="*/ 7454984 w 8079933"/>
              <a:gd name="connsiteY37367" fmla="*/ 641287 h 4687251"/>
              <a:gd name="connsiteX37368" fmla="*/ 7459000 w 8079933"/>
              <a:gd name="connsiteY37368" fmla="*/ 640205 h 4687251"/>
              <a:gd name="connsiteX37369" fmla="*/ 7462038 w 8079933"/>
              <a:gd name="connsiteY37369" fmla="*/ 642695 h 4687251"/>
              <a:gd name="connsiteX37370" fmla="*/ 7462038 w 8079933"/>
              <a:gd name="connsiteY37370" fmla="*/ 645726 h 4687251"/>
              <a:gd name="connsiteX37371" fmla="*/ 7468007 w 8079933"/>
              <a:gd name="connsiteY37371" fmla="*/ 654929 h 4687251"/>
              <a:gd name="connsiteX37372" fmla="*/ 7473975 w 8079933"/>
              <a:gd name="connsiteY37372" fmla="*/ 656553 h 4687251"/>
              <a:gd name="connsiteX37373" fmla="*/ 7479726 w 8079933"/>
              <a:gd name="connsiteY37373" fmla="*/ 662184 h 4687251"/>
              <a:gd name="connsiteX37374" fmla="*/ 7486454 w 8079933"/>
              <a:gd name="connsiteY37374" fmla="*/ 661209 h 4687251"/>
              <a:gd name="connsiteX37375" fmla="*/ 7488408 w 8079933"/>
              <a:gd name="connsiteY37375" fmla="*/ 657203 h 4687251"/>
              <a:gd name="connsiteX37376" fmla="*/ 7487106 w 8079933"/>
              <a:gd name="connsiteY37376" fmla="*/ 653738 h 4687251"/>
              <a:gd name="connsiteX37377" fmla="*/ 7489276 w 8079933"/>
              <a:gd name="connsiteY37377" fmla="*/ 653738 h 4687251"/>
              <a:gd name="connsiteX37378" fmla="*/ 7501755 w 8079933"/>
              <a:gd name="connsiteY37378" fmla="*/ 663807 h 4687251"/>
              <a:gd name="connsiteX37379" fmla="*/ 7503926 w 8079933"/>
              <a:gd name="connsiteY37379" fmla="*/ 667813 h 4687251"/>
              <a:gd name="connsiteX37380" fmla="*/ 7499259 w 8079933"/>
              <a:gd name="connsiteY37380" fmla="*/ 667055 h 4687251"/>
              <a:gd name="connsiteX37381" fmla="*/ 7499259 w 8079933"/>
              <a:gd name="connsiteY37381" fmla="*/ 671603 h 4687251"/>
              <a:gd name="connsiteX37382" fmla="*/ 7507940 w 8079933"/>
              <a:gd name="connsiteY37382" fmla="*/ 680048 h 4687251"/>
              <a:gd name="connsiteX37383" fmla="*/ 7511196 w 8079933"/>
              <a:gd name="connsiteY37383" fmla="*/ 680048 h 4687251"/>
              <a:gd name="connsiteX37384" fmla="*/ 7511196 w 8079933"/>
              <a:gd name="connsiteY37384" fmla="*/ 678099 h 4687251"/>
              <a:gd name="connsiteX37385" fmla="*/ 7511196 w 8079933"/>
              <a:gd name="connsiteY37385" fmla="*/ 671061 h 4687251"/>
              <a:gd name="connsiteX37386" fmla="*/ 7518032 w 8079933"/>
              <a:gd name="connsiteY37386" fmla="*/ 676258 h 4687251"/>
              <a:gd name="connsiteX37387" fmla="*/ 7527582 w 8079933"/>
              <a:gd name="connsiteY37387" fmla="*/ 691200 h 4687251"/>
              <a:gd name="connsiteX37388" fmla="*/ 7524001 w 8079933"/>
              <a:gd name="connsiteY37388" fmla="*/ 687951 h 4687251"/>
              <a:gd name="connsiteX37389" fmla="*/ 7520962 w 8079933"/>
              <a:gd name="connsiteY37389" fmla="*/ 687951 h 4687251"/>
              <a:gd name="connsiteX37390" fmla="*/ 7519877 w 8079933"/>
              <a:gd name="connsiteY37390" fmla="*/ 689576 h 4687251"/>
              <a:gd name="connsiteX37391" fmla="*/ 7523567 w 8079933"/>
              <a:gd name="connsiteY37391" fmla="*/ 694448 h 4687251"/>
              <a:gd name="connsiteX37392" fmla="*/ 7518684 w 8079933"/>
              <a:gd name="connsiteY37392" fmla="*/ 697912 h 4687251"/>
              <a:gd name="connsiteX37393" fmla="*/ 7518684 w 8079933"/>
              <a:gd name="connsiteY37393" fmla="*/ 703110 h 4687251"/>
              <a:gd name="connsiteX37394" fmla="*/ 7520421 w 8079933"/>
              <a:gd name="connsiteY37394" fmla="*/ 706141 h 4687251"/>
              <a:gd name="connsiteX37395" fmla="*/ 7525303 w 8079933"/>
              <a:gd name="connsiteY37395" fmla="*/ 704517 h 4687251"/>
              <a:gd name="connsiteX37396" fmla="*/ 7526171 w 8079933"/>
              <a:gd name="connsiteY37396" fmla="*/ 699104 h 4687251"/>
              <a:gd name="connsiteX37397" fmla="*/ 7528016 w 8079933"/>
              <a:gd name="connsiteY37397" fmla="*/ 697696 h 4687251"/>
              <a:gd name="connsiteX37398" fmla="*/ 7531489 w 8079933"/>
              <a:gd name="connsiteY37398" fmla="*/ 699104 h 4687251"/>
              <a:gd name="connsiteX37399" fmla="*/ 7532791 w 8079933"/>
              <a:gd name="connsiteY37399" fmla="*/ 694556 h 4687251"/>
              <a:gd name="connsiteX37400" fmla="*/ 7536806 w 8079933"/>
              <a:gd name="connsiteY37400" fmla="*/ 701594 h 4687251"/>
              <a:gd name="connsiteX37401" fmla="*/ 7547658 w 8079933"/>
              <a:gd name="connsiteY37401" fmla="*/ 708631 h 4687251"/>
              <a:gd name="connsiteX37402" fmla="*/ 7558510 w 8079933"/>
              <a:gd name="connsiteY37402" fmla="*/ 711121 h 4687251"/>
              <a:gd name="connsiteX37403" fmla="*/ 7564803 w 8079933"/>
              <a:gd name="connsiteY37403" fmla="*/ 716751 h 4687251"/>
              <a:gd name="connsiteX37404" fmla="*/ 7561440 w 8079933"/>
              <a:gd name="connsiteY37404" fmla="*/ 720324 h 4687251"/>
              <a:gd name="connsiteX37405" fmla="*/ 7567625 w 8079933"/>
              <a:gd name="connsiteY37405" fmla="*/ 728986 h 4687251"/>
              <a:gd name="connsiteX37406" fmla="*/ 7572834 w 8079933"/>
              <a:gd name="connsiteY37406" fmla="*/ 730285 h 4687251"/>
              <a:gd name="connsiteX37407" fmla="*/ 7579128 w 8079933"/>
              <a:gd name="connsiteY37407" fmla="*/ 740030 h 4687251"/>
              <a:gd name="connsiteX37408" fmla="*/ 7579128 w 8079933"/>
              <a:gd name="connsiteY37408" fmla="*/ 754322 h 4687251"/>
              <a:gd name="connsiteX37409" fmla="*/ 7575872 w 8079933"/>
              <a:gd name="connsiteY37409" fmla="*/ 755404 h 4687251"/>
              <a:gd name="connsiteX37410" fmla="*/ 7575872 w 8079933"/>
              <a:gd name="connsiteY37410" fmla="*/ 757786 h 4687251"/>
              <a:gd name="connsiteX37411" fmla="*/ 7580647 w 8079933"/>
              <a:gd name="connsiteY37411" fmla="*/ 760709 h 4687251"/>
              <a:gd name="connsiteX37412" fmla="*/ 7583143 w 8079933"/>
              <a:gd name="connsiteY37412" fmla="*/ 766881 h 4687251"/>
              <a:gd name="connsiteX37413" fmla="*/ 7580756 w 8079933"/>
              <a:gd name="connsiteY37413" fmla="*/ 767747 h 4687251"/>
              <a:gd name="connsiteX37414" fmla="*/ 7577717 w 8079933"/>
              <a:gd name="connsiteY37414" fmla="*/ 765040 h 4687251"/>
              <a:gd name="connsiteX37415" fmla="*/ 7560137 w 8079933"/>
              <a:gd name="connsiteY37415" fmla="*/ 765040 h 4687251"/>
              <a:gd name="connsiteX37416" fmla="*/ 7554928 w 8079933"/>
              <a:gd name="connsiteY37416" fmla="*/ 761792 h 4687251"/>
              <a:gd name="connsiteX37417" fmla="*/ 7551456 w 8079933"/>
              <a:gd name="connsiteY37417" fmla="*/ 763957 h 4687251"/>
              <a:gd name="connsiteX37418" fmla="*/ 7547115 w 8079933"/>
              <a:gd name="connsiteY37418" fmla="*/ 762550 h 4687251"/>
              <a:gd name="connsiteX37419" fmla="*/ 7546246 w 8079933"/>
              <a:gd name="connsiteY37419" fmla="*/ 758436 h 4687251"/>
              <a:gd name="connsiteX37420" fmla="*/ 7543534 w 8079933"/>
              <a:gd name="connsiteY37420" fmla="*/ 756812 h 4687251"/>
              <a:gd name="connsiteX37421" fmla="*/ 7542231 w 8079933"/>
              <a:gd name="connsiteY37421" fmla="*/ 758761 h 4687251"/>
              <a:gd name="connsiteX37422" fmla="*/ 7544402 w 8079933"/>
              <a:gd name="connsiteY37422" fmla="*/ 762334 h 4687251"/>
              <a:gd name="connsiteX37423" fmla="*/ 7536806 w 8079933"/>
              <a:gd name="connsiteY37423" fmla="*/ 766989 h 4687251"/>
              <a:gd name="connsiteX37424" fmla="*/ 7530838 w 8079933"/>
              <a:gd name="connsiteY37424" fmla="*/ 766989 h 4687251"/>
              <a:gd name="connsiteX37425" fmla="*/ 7528993 w 8079933"/>
              <a:gd name="connsiteY37425" fmla="*/ 768938 h 4687251"/>
              <a:gd name="connsiteX37426" fmla="*/ 7532466 w 8079933"/>
              <a:gd name="connsiteY37426" fmla="*/ 771103 h 4687251"/>
              <a:gd name="connsiteX37427" fmla="*/ 7524327 w 8079933"/>
              <a:gd name="connsiteY37427" fmla="*/ 778466 h 4687251"/>
              <a:gd name="connsiteX37428" fmla="*/ 7519986 w 8079933"/>
              <a:gd name="connsiteY37428" fmla="*/ 778466 h 4687251"/>
              <a:gd name="connsiteX37429" fmla="*/ 7519986 w 8079933"/>
              <a:gd name="connsiteY37429" fmla="*/ 782797 h 4687251"/>
              <a:gd name="connsiteX37430" fmla="*/ 7523024 w 8079933"/>
              <a:gd name="connsiteY37430" fmla="*/ 783879 h 4687251"/>
              <a:gd name="connsiteX37431" fmla="*/ 7515754 w 8079933"/>
              <a:gd name="connsiteY37431" fmla="*/ 793082 h 4687251"/>
              <a:gd name="connsiteX37432" fmla="*/ 7513041 w 8079933"/>
              <a:gd name="connsiteY37432" fmla="*/ 795789 h 4687251"/>
              <a:gd name="connsiteX37433" fmla="*/ 7512282 w 8079933"/>
              <a:gd name="connsiteY37433" fmla="*/ 794490 h 4687251"/>
              <a:gd name="connsiteX37434" fmla="*/ 7508266 w 8079933"/>
              <a:gd name="connsiteY37434" fmla="*/ 794490 h 4687251"/>
              <a:gd name="connsiteX37435" fmla="*/ 7508266 w 8079933"/>
              <a:gd name="connsiteY37435" fmla="*/ 801311 h 4687251"/>
              <a:gd name="connsiteX37436" fmla="*/ 7511305 w 8079933"/>
              <a:gd name="connsiteY37436" fmla="*/ 808132 h 4687251"/>
              <a:gd name="connsiteX37437" fmla="*/ 7506421 w 8079933"/>
              <a:gd name="connsiteY37437" fmla="*/ 812787 h 4687251"/>
              <a:gd name="connsiteX37438" fmla="*/ 7503708 w 8079933"/>
              <a:gd name="connsiteY37438" fmla="*/ 809864 h 4687251"/>
              <a:gd name="connsiteX37439" fmla="*/ 7502840 w 8079933"/>
              <a:gd name="connsiteY37439" fmla="*/ 814736 h 4687251"/>
              <a:gd name="connsiteX37440" fmla="*/ 7505010 w 8079933"/>
              <a:gd name="connsiteY37440" fmla="*/ 818201 h 4687251"/>
              <a:gd name="connsiteX37441" fmla="*/ 7499585 w 8079933"/>
              <a:gd name="connsiteY37441" fmla="*/ 823831 h 4687251"/>
              <a:gd name="connsiteX37442" fmla="*/ 7495570 w 8079933"/>
              <a:gd name="connsiteY37442" fmla="*/ 824914 h 4687251"/>
              <a:gd name="connsiteX37443" fmla="*/ 7498066 w 8079933"/>
              <a:gd name="connsiteY37443" fmla="*/ 827296 h 4687251"/>
              <a:gd name="connsiteX37444" fmla="*/ 7496763 w 8079933"/>
              <a:gd name="connsiteY37444" fmla="*/ 829786 h 4687251"/>
              <a:gd name="connsiteX37445" fmla="*/ 7494919 w 8079933"/>
              <a:gd name="connsiteY37445" fmla="*/ 833900 h 4687251"/>
              <a:gd name="connsiteX37446" fmla="*/ 7491989 w 8079933"/>
              <a:gd name="connsiteY37446" fmla="*/ 832493 h 4687251"/>
              <a:gd name="connsiteX37447" fmla="*/ 7488408 w 8079933"/>
              <a:gd name="connsiteY37447" fmla="*/ 834333 h 4687251"/>
              <a:gd name="connsiteX37448" fmla="*/ 7491337 w 8079933"/>
              <a:gd name="connsiteY37448" fmla="*/ 837798 h 4687251"/>
              <a:gd name="connsiteX37449" fmla="*/ 7491337 w 8079933"/>
              <a:gd name="connsiteY37449" fmla="*/ 841588 h 4687251"/>
              <a:gd name="connsiteX37450" fmla="*/ 7486454 w 8079933"/>
              <a:gd name="connsiteY37450" fmla="*/ 845377 h 4687251"/>
              <a:gd name="connsiteX37451" fmla="*/ 7488842 w 8079933"/>
              <a:gd name="connsiteY37451" fmla="*/ 848842 h 4687251"/>
              <a:gd name="connsiteX37452" fmla="*/ 7487757 w 8079933"/>
              <a:gd name="connsiteY37452" fmla="*/ 852631 h 4687251"/>
              <a:gd name="connsiteX37453" fmla="*/ 7484502 w 8079933"/>
              <a:gd name="connsiteY37453" fmla="*/ 853389 h 4687251"/>
              <a:gd name="connsiteX37454" fmla="*/ 7482005 w 8079933"/>
              <a:gd name="connsiteY37454" fmla="*/ 850899 h 4687251"/>
              <a:gd name="connsiteX37455" fmla="*/ 7478967 w 8079933"/>
              <a:gd name="connsiteY37455" fmla="*/ 851982 h 4687251"/>
              <a:gd name="connsiteX37456" fmla="*/ 7481462 w 8079933"/>
              <a:gd name="connsiteY37456" fmla="*/ 855771 h 4687251"/>
              <a:gd name="connsiteX37457" fmla="*/ 7488517 w 8079933"/>
              <a:gd name="connsiteY37457" fmla="*/ 859019 h 4687251"/>
              <a:gd name="connsiteX37458" fmla="*/ 7486128 w 8079933"/>
              <a:gd name="connsiteY37458" fmla="*/ 864216 h 4687251"/>
              <a:gd name="connsiteX37459" fmla="*/ 7479401 w 8079933"/>
              <a:gd name="connsiteY37459" fmla="*/ 864216 h 4687251"/>
              <a:gd name="connsiteX37460" fmla="*/ 7479401 w 8079933"/>
              <a:gd name="connsiteY37460" fmla="*/ 866706 h 4687251"/>
              <a:gd name="connsiteX37461" fmla="*/ 7482656 w 8079933"/>
              <a:gd name="connsiteY37461" fmla="*/ 868547 h 4687251"/>
              <a:gd name="connsiteX37462" fmla="*/ 7486128 w 8079933"/>
              <a:gd name="connsiteY37462" fmla="*/ 876343 h 4687251"/>
              <a:gd name="connsiteX37463" fmla="*/ 7483198 w 8079933"/>
              <a:gd name="connsiteY37463" fmla="*/ 878724 h 4687251"/>
              <a:gd name="connsiteX37464" fmla="*/ 7485044 w 8079933"/>
              <a:gd name="connsiteY37464" fmla="*/ 881973 h 4687251"/>
              <a:gd name="connsiteX37465" fmla="*/ 7479943 w 8079933"/>
              <a:gd name="connsiteY37465" fmla="*/ 889227 h 4687251"/>
              <a:gd name="connsiteX37466" fmla="*/ 7481245 w 8079933"/>
              <a:gd name="connsiteY37466" fmla="*/ 893016 h 4687251"/>
              <a:gd name="connsiteX37467" fmla="*/ 7477990 w 8079933"/>
              <a:gd name="connsiteY37467" fmla="*/ 901353 h 4687251"/>
              <a:gd name="connsiteX37468" fmla="*/ 7476146 w 8079933"/>
              <a:gd name="connsiteY37468" fmla="*/ 912180 h 4687251"/>
              <a:gd name="connsiteX37469" fmla="*/ 7473433 w 8079933"/>
              <a:gd name="connsiteY37469" fmla="*/ 916294 h 4687251"/>
              <a:gd name="connsiteX37470" fmla="*/ 7473433 w 8079933"/>
              <a:gd name="connsiteY37470" fmla="*/ 920625 h 4687251"/>
              <a:gd name="connsiteX37471" fmla="*/ 7476470 w 8079933"/>
              <a:gd name="connsiteY37471" fmla="*/ 921708 h 4687251"/>
              <a:gd name="connsiteX37472" fmla="*/ 7477882 w 8079933"/>
              <a:gd name="connsiteY37472" fmla="*/ 924631 h 4687251"/>
              <a:gd name="connsiteX37473" fmla="*/ 7476037 w 8079933"/>
              <a:gd name="connsiteY37473" fmla="*/ 927554 h 4687251"/>
              <a:gd name="connsiteX37474" fmla="*/ 7481245 w 8079933"/>
              <a:gd name="connsiteY37474" fmla="*/ 937840 h 4687251"/>
              <a:gd name="connsiteX37475" fmla="*/ 7481245 w 8079933"/>
              <a:gd name="connsiteY37475" fmla="*/ 941846 h 4687251"/>
              <a:gd name="connsiteX37476" fmla="*/ 7477447 w 8079933"/>
              <a:gd name="connsiteY37476" fmla="*/ 940547 h 4687251"/>
              <a:gd name="connsiteX37477" fmla="*/ 7471804 w 8079933"/>
              <a:gd name="connsiteY37477" fmla="*/ 941413 h 4687251"/>
              <a:gd name="connsiteX37478" fmla="*/ 7467681 w 8079933"/>
              <a:gd name="connsiteY37478" fmla="*/ 937299 h 4687251"/>
              <a:gd name="connsiteX37479" fmla="*/ 7465185 w 8079933"/>
              <a:gd name="connsiteY37479" fmla="*/ 939681 h 4687251"/>
              <a:gd name="connsiteX37480" fmla="*/ 7458349 w 8079933"/>
              <a:gd name="connsiteY37480" fmla="*/ 931885 h 4687251"/>
              <a:gd name="connsiteX37481" fmla="*/ 7460519 w 8079933"/>
              <a:gd name="connsiteY37481" fmla="*/ 930261 h 4687251"/>
              <a:gd name="connsiteX37482" fmla="*/ 7458132 w 8079933"/>
              <a:gd name="connsiteY37482" fmla="*/ 928962 h 4687251"/>
              <a:gd name="connsiteX37483" fmla="*/ 7454007 w 8079933"/>
              <a:gd name="connsiteY37483" fmla="*/ 929828 h 4687251"/>
              <a:gd name="connsiteX37484" fmla="*/ 7450318 w 8079933"/>
              <a:gd name="connsiteY37484" fmla="*/ 929287 h 4687251"/>
              <a:gd name="connsiteX37485" fmla="*/ 7449450 w 8079933"/>
              <a:gd name="connsiteY37485" fmla="*/ 925173 h 4687251"/>
              <a:gd name="connsiteX37486" fmla="*/ 7436754 w 8079933"/>
              <a:gd name="connsiteY37486" fmla="*/ 917810 h 4687251"/>
              <a:gd name="connsiteX37487" fmla="*/ 7430026 w 8079933"/>
              <a:gd name="connsiteY37487" fmla="*/ 916511 h 4687251"/>
              <a:gd name="connsiteX37488" fmla="*/ 7422104 w 8079933"/>
              <a:gd name="connsiteY37488" fmla="*/ 921600 h 4687251"/>
              <a:gd name="connsiteX37489" fmla="*/ 7419608 w 8079933"/>
              <a:gd name="connsiteY37489" fmla="*/ 919651 h 4687251"/>
              <a:gd name="connsiteX37490" fmla="*/ 7414508 w 8079933"/>
              <a:gd name="connsiteY37490" fmla="*/ 921058 h 4687251"/>
              <a:gd name="connsiteX37491" fmla="*/ 7409408 w 8079933"/>
              <a:gd name="connsiteY37491" fmla="*/ 927554 h 4687251"/>
              <a:gd name="connsiteX37492" fmla="*/ 7404741 w 8079933"/>
              <a:gd name="connsiteY37492" fmla="*/ 927554 h 4687251"/>
              <a:gd name="connsiteX37493" fmla="*/ 7402354 w 8079933"/>
              <a:gd name="connsiteY37493" fmla="*/ 936432 h 4687251"/>
              <a:gd name="connsiteX37494" fmla="*/ 7399098 w 8079933"/>
              <a:gd name="connsiteY37494" fmla="*/ 939464 h 4687251"/>
              <a:gd name="connsiteX37495" fmla="*/ 7394432 w 8079933"/>
              <a:gd name="connsiteY37495" fmla="*/ 936974 h 4687251"/>
              <a:gd name="connsiteX37496" fmla="*/ 7398122 w 8079933"/>
              <a:gd name="connsiteY37496" fmla="*/ 943470 h 4687251"/>
              <a:gd name="connsiteX37497" fmla="*/ 7395409 w 8079933"/>
              <a:gd name="connsiteY37497" fmla="*/ 947476 h 4687251"/>
              <a:gd name="connsiteX37498" fmla="*/ 7396494 w 8079933"/>
              <a:gd name="connsiteY37498" fmla="*/ 952889 h 4687251"/>
              <a:gd name="connsiteX37499" fmla="*/ 7394866 w 8079933"/>
              <a:gd name="connsiteY37499" fmla="*/ 957004 h 4687251"/>
              <a:gd name="connsiteX37500" fmla="*/ 7393238 w 8079933"/>
              <a:gd name="connsiteY37500" fmla="*/ 969672 h 4687251"/>
              <a:gd name="connsiteX37501" fmla="*/ 7390852 w 8079933"/>
              <a:gd name="connsiteY37501" fmla="*/ 971621 h 4687251"/>
              <a:gd name="connsiteX37502" fmla="*/ 7387813 w 8079933"/>
              <a:gd name="connsiteY37502" fmla="*/ 967831 h 4687251"/>
              <a:gd name="connsiteX37503" fmla="*/ 7382062 w 8079933"/>
              <a:gd name="connsiteY37503" fmla="*/ 952457 h 4687251"/>
              <a:gd name="connsiteX37504" fmla="*/ 7382062 w 8079933"/>
              <a:gd name="connsiteY37504" fmla="*/ 947260 h 4687251"/>
              <a:gd name="connsiteX37505" fmla="*/ 7377721 w 8079933"/>
              <a:gd name="connsiteY37505" fmla="*/ 944878 h 4687251"/>
              <a:gd name="connsiteX37506" fmla="*/ 7374139 w 8079933"/>
              <a:gd name="connsiteY37506" fmla="*/ 940222 h 4687251"/>
              <a:gd name="connsiteX37507" fmla="*/ 7374139 w 8079933"/>
              <a:gd name="connsiteY37507" fmla="*/ 945636 h 4687251"/>
              <a:gd name="connsiteX37508" fmla="*/ 7368280 w 8079933"/>
              <a:gd name="connsiteY37508" fmla="*/ 955705 h 4687251"/>
              <a:gd name="connsiteX37509" fmla="*/ 7364481 w 8079933"/>
              <a:gd name="connsiteY37509" fmla="*/ 958087 h 4687251"/>
              <a:gd name="connsiteX37510" fmla="*/ 7363614 w 8079933"/>
              <a:gd name="connsiteY37510" fmla="*/ 962742 h 4687251"/>
              <a:gd name="connsiteX37511" fmla="*/ 7368822 w 8079933"/>
              <a:gd name="connsiteY37511" fmla="*/ 964691 h 4687251"/>
              <a:gd name="connsiteX37512" fmla="*/ 7363830 w 8079933"/>
              <a:gd name="connsiteY37512" fmla="*/ 975518 h 4687251"/>
              <a:gd name="connsiteX37513" fmla="*/ 7360249 w 8079933"/>
              <a:gd name="connsiteY37513" fmla="*/ 970321 h 4687251"/>
              <a:gd name="connsiteX37514" fmla="*/ 7357754 w 8079933"/>
              <a:gd name="connsiteY37514" fmla="*/ 970321 h 4687251"/>
              <a:gd name="connsiteX37515" fmla="*/ 7355366 w 8079933"/>
              <a:gd name="connsiteY37515" fmla="*/ 966856 h 4687251"/>
              <a:gd name="connsiteX37516" fmla="*/ 7351785 w 8079933"/>
              <a:gd name="connsiteY37516" fmla="*/ 966856 h 4687251"/>
              <a:gd name="connsiteX37517" fmla="*/ 7349832 w 8079933"/>
              <a:gd name="connsiteY37517" fmla="*/ 973678 h 4687251"/>
              <a:gd name="connsiteX37518" fmla="*/ 7347119 w 8079933"/>
              <a:gd name="connsiteY37518" fmla="*/ 974544 h 4687251"/>
              <a:gd name="connsiteX37519" fmla="*/ 7342344 w 8079933"/>
              <a:gd name="connsiteY37519" fmla="*/ 971837 h 4687251"/>
              <a:gd name="connsiteX37520" fmla="*/ 7338872 w 8079933"/>
              <a:gd name="connsiteY37520" fmla="*/ 971837 h 4687251"/>
              <a:gd name="connsiteX37521" fmla="*/ 7338221 w 8079933"/>
              <a:gd name="connsiteY37521" fmla="*/ 974869 h 4687251"/>
              <a:gd name="connsiteX37522" fmla="*/ 7341368 w 8079933"/>
              <a:gd name="connsiteY37522" fmla="*/ 979416 h 4687251"/>
              <a:gd name="connsiteX37523" fmla="*/ 7338980 w 8079933"/>
              <a:gd name="connsiteY37523" fmla="*/ 981256 h 4687251"/>
              <a:gd name="connsiteX37524" fmla="*/ 7337461 w 8079933"/>
              <a:gd name="connsiteY37524" fmla="*/ 985371 h 4687251"/>
              <a:gd name="connsiteX37525" fmla="*/ 7336810 w 8079933"/>
              <a:gd name="connsiteY37525" fmla="*/ 989377 h 4687251"/>
              <a:gd name="connsiteX37526" fmla="*/ 7341151 w 8079933"/>
              <a:gd name="connsiteY37526" fmla="*/ 994249 h 4687251"/>
              <a:gd name="connsiteX37527" fmla="*/ 7342344 w 8079933"/>
              <a:gd name="connsiteY37527" fmla="*/ 999879 h 4687251"/>
              <a:gd name="connsiteX37528" fmla="*/ 7339957 w 8079933"/>
              <a:gd name="connsiteY37528" fmla="*/ 1000745 h 4687251"/>
              <a:gd name="connsiteX37529" fmla="*/ 7341151 w 8079933"/>
              <a:gd name="connsiteY37529" fmla="*/ 1003993 h 4687251"/>
              <a:gd name="connsiteX37530" fmla="*/ 7346142 w 8079933"/>
              <a:gd name="connsiteY37530" fmla="*/ 1005509 h 4687251"/>
              <a:gd name="connsiteX37531" fmla="*/ 7349723 w 8079933"/>
              <a:gd name="connsiteY37531" fmla="*/ 1009299 h 4687251"/>
              <a:gd name="connsiteX37532" fmla="*/ 7350591 w 8079933"/>
              <a:gd name="connsiteY37532" fmla="*/ 1012330 h 4687251"/>
              <a:gd name="connsiteX37533" fmla="*/ 7348747 w 8079933"/>
              <a:gd name="connsiteY37533" fmla="*/ 1012330 h 4687251"/>
              <a:gd name="connsiteX37534" fmla="*/ 7347228 w 8079933"/>
              <a:gd name="connsiteY37534" fmla="*/ 1015578 h 4687251"/>
              <a:gd name="connsiteX37535" fmla="*/ 7351026 w 8079933"/>
              <a:gd name="connsiteY37535" fmla="*/ 1019043 h 4687251"/>
              <a:gd name="connsiteX37536" fmla="*/ 7354606 w 8079933"/>
              <a:gd name="connsiteY37536" fmla="*/ 1021966 h 4687251"/>
              <a:gd name="connsiteX37537" fmla="*/ 7354606 w 8079933"/>
              <a:gd name="connsiteY37537" fmla="*/ 1023915 h 4687251"/>
              <a:gd name="connsiteX37538" fmla="*/ 7350266 w 8079933"/>
              <a:gd name="connsiteY37538" fmla="*/ 1020992 h 4687251"/>
              <a:gd name="connsiteX37539" fmla="*/ 7346901 w 8079933"/>
              <a:gd name="connsiteY37539" fmla="*/ 1022183 h 4687251"/>
              <a:gd name="connsiteX37540" fmla="*/ 7346250 w 8079933"/>
              <a:gd name="connsiteY37540" fmla="*/ 1024023 h 4687251"/>
              <a:gd name="connsiteX37541" fmla="*/ 7350916 w 8079933"/>
              <a:gd name="connsiteY37541" fmla="*/ 1029112 h 4687251"/>
              <a:gd name="connsiteX37542" fmla="*/ 7353413 w 8079933"/>
              <a:gd name="connsiteY37542" fmla="*/ 1027596 h 4687251"/>
              <a:gd name="connsiteX37543" fmla="*/ 7353413 w 8079933"/>
              <a:gd name="connsiteY37543" fmla="*/ 1032577 h 4687251"/>
              <a:gd name="connsiteX37544" fmla="*/ 7352002 w 8079933"/>
              <a:gd name="connsiteY37544" fmla="*/ 1037990 h 4687251"/>
              <a:gd name="connsiteX37545" fmla="*/ 7352002 w 8079933"/>
              <a:gd name="connsiteY37545" fmla="*/ 1042213 h 4687251"/>
              <a:gd name="connsiteX37546" fmla="*/ 7349072 w 8079933"/>
              <a:gd name="connsiteY37546" fmla="*/ 1046111 h 4687251"/>
              <a:gd name="connsiteX37547" fmla="*/ 7351460 w 8079933"/>
              <a:gd name="connsiteY37547" fmla="*/ 1053257 h 4687251"/>
              <a:gd name="connsiteX37548" fmla="*/ 7349723 w 8079933"/>
              <a:gd name="connsiteY37548" fmla="*/ 1056613 h 4687251"/>
              <a:gd name="connsiteX37549" fmla="*/ 7352111 w 8079933"/>
              <a:gd name="connsiteY37549" fmla="*/ 1061485 h 4687251"/>
              <a:gd name="connsiteX37550" fmla="*/ 7352111 w 8079933"/>
              <a:gd name="connsiteY37550" fmla="*/ 1064300 h 4687251"/>
              <a:gd name="connsiteX37551" fmla="*/ 7352111 w 8079933"/>
              <a:gd name="connsiteY37551" fmla="*/ 1069389 h 4687251"/>
              <a:gd name="connsiteX37552" fmla="*/ 7356018 w 8079933"/>
              <a:gd name="connsiteY37552" fmla="*/ 1077942 h 4687251"/>
              <a:gd name="connsiteX37553" fmla="*/ 7354173 w 8079933"/>
              <a:gd name="connsiteY37553" fmla="*/ 1080324 h 4687251"/>
              <a:gd name="connsiteX37554" fmla="*/ 7357862 w 8079933"/>
              <a:gd name="connsiteY37554" fmla="*/ 1082814 h 4687251"/>
              <a:gd name="connsiteX37555" fmla="*/ 7362202 w 8079933"/>
              <a:gd name="connsiteY37555" fmla="*/ 1087253 h 4687251"/>
              <a:gd name="connsiteX37556" fmla="*/ 7368605 w 8079933"/>
              <a:gd name="connsiteY37556" fmla="*/ 1095699 h 4687251"/>
              <a:gd name="connsiteX37557" fmla="*/ 7374466 w 8079933"/>
              <a:gd name="connsiteY37557" fmla="*/ 1098405 h 4687251"/>
              <a:gd name="connsiteX37558" fmla="*/ 7376418 w 8079933"/>
              <a:gd name="connsiteY37558" fmla="*/ 1096781 h 4687251"/>
              <a:gd name="connsiteX37559" fmla="*/ 7377178 w 8079933"/>
              <a:gd name="connsiteY37559" fmla="*/ 1092559 h 4687251"/>
              <a:gd name="connsiteX37560" fmla="*/ 7371210 w 8079933"/>
              <a:gd name="connsiteY37560" fmla="*/ 1085846 h 4687251"/>
              <a:gd name="connsiteX37561" fmla="*/ 7371210 w 8079933"/>
              <a:gd name="connsiteY37561" fmla="*/ 1082490 h 4687251"/>
              <a:gd name="connsiteX37562" fmla="*/ 7374682 w 8079933"/>
              <a:gd name="connsiteY37562" fmla="*/ 1079675 h 4687251"/>
              <a:gd name="connsiteX37563" fmla="*/ 7379674 w 8079933"/>
              <a:gd name="connsiteY37563" fmla="*/ 1079675 h 4687251"/>
              <a:gd name="connsiteX37564" fmla="*/ 7387813 w 8079933"/>
              <a:gd name="connsiteY37564" fmla="*/ 1085846 h 4687251"/>
              <a:gd name="connsiteX37565" fmla="*/ 7391828 w 8079933"/>
              <a:gd name="connsiteY37565" fmla="*/ 1085088 h 4687251"/>
              <a:gd name="connsiteX37566" fmla="*/ 7395192 w 8079933"/>
              <a:gd name="connsiteY37566" fmla="*/ 1086820 h 4687251"/>
              <a:gd name="connsiteX37567" fmla="*/ 7395192 w 8079933"/>
              <a:gd name="connsiteY37567" fmla="*/ 1091043 h 4687251"/>
              <a:gd name="connsiteX37568" fmla="*/ 7393998 w 8079933"/>
              <a:gd name="connsiteY37568" fmla="*/ 1093858 h 4687251"/>
              <a:gd name="connsiteX37569" fmla="*/ 7397036 w 8079933"/>
              <a:gd name="connsiteY37569" fmla="*/ 1097431 h 4687251"/>
              <a:gd name="connsiteX37570" fmla="*/ 7394106 w 8079933"/>
              <a:gd name="connsiteY37570" fmla="*/ 1101870 h 4687251"/>
              <a:gd name="connsiteX37571" fmla="*/ 7395409 w 8079933"/>
              <a:gd name="connsiteY37571" fmla="*/ 1105767 h 4687251"/>
              <a:gd name="connsiteX37572" fmla="*/ 7393672 w 8079933"/>
              <a:gd name="connsiteY37572" fmla="*/ 1107175 h 4687251"/>
              <a:gd name="connsiteX37573" fmla="*/ 7390200 w 8079933"/>
              <a:gd name="connsiteY37573" fmla="*/ 1111289 h 4687251"/>
              <a:gd name="connsiteX37574" fmla="*/ 7394649 w 8079933"/>
              <a:gd name="connsiteY37574" fmla="*/ 1120168 h 4687251"/>
              <a:gd name="connsiteX37575" fmla="*/ 7398122 w 8079933"/>
              <a:gd name="connsiteY37575" fmla="*/ 1125365 h 4687251"/>
              <a:gd name="connsiteX37576" fmla="*/ 7398122 w 8079933"/>
              <a:gd name="connsiteY37576" fmla="*/ 1133810 h 4687251"/>
              <a:gd name="connsiteX37577" fmla="*/ 7403222 w 8079933"/>
              <a:gd name="connsiteY37577" fmla="*/ 1137383 h 4687251"/>
              <a:gd name="connsiteX37578" fmla="*/ 7405718 w 8079933"/>
              <a:gd name="connsiteY37578" fmla="*/ 1135542 h 4687251"/>
              <a:gd name="connsiteX37579" fmla="*/ 7405718 w 8079933"/>
              <a:gd name="connsiteY37579" fmla="*/ 1133052 h 4687251"/>
              <a:gd name="connsiteX37580" fmla="*/ 7409516 w 8079933"/>
              <a:gd name="connsiteY37580" fmla="*/ 1130128 h 4687251"/>
              <a:gd name="connsiteX37581" fmla="*/ 7410926 w 8079933"/>
              <a:gd name="connsiteY37581" fmla="*/ 1128180 h 4687251"/>
              <a:gd name="connsiteX37582" fmla="*/ 7412229 w 8079933"/>
              <a:gd name="connsiteY37582" fmla="*/ 1129479 h 4687251"/>
              <a:gd name="connsiteX37583" fmla="*/ 7417329 w 8079933"/>
              <a:gd name="connsiteY37583" fmla="*/ 1131970 h 4687251"/>
              <a:gd name="connsiteX37584" fmla="*/ 7417329 w 8079933"/>
              <a:gd name="connsiteY37584" fmla="*/ 1142797 h 4687251"/>
              <a:gd name="connsiteX37585" fmla="*/ 7428182 w 8079933"/>
              <a:gd name="connsiteY37585" fmla="*/ 1152216 h 4687251"/>
              <a:gd name="connsiteX37586" fmla="*/ 7431979 w 8079933"/>
              <a:gd name="connsiteY37586" fmla="*/ 1159795 h 4687251"/>
              <a:gd name="connsiteX37587" fmla="*/ 7429808 w 8079933"/>
              <a:gd name="connsiteY37587" fmla="*/ 1162827 h 4687251"/>
              <a:gd name="connsiteX37588" fmla="*/ 7429808 w 8079933"/>
              <a:gd name="connsiteY37588" fmla="*/ 1169323 h 4687251"/>
              <a:gd name="connsiteX37589" fmla="*/ 7426553 w 8079933"/>
              <a:gd name="connsiteY37589" fmla="*/ 1170622 h 4687251"/>
              <a:gd name="connsiteX37590" fmla="*/ 7420368 w 8079933"/>
              <a:gd name="connsiteY37590" fmla="*/ 1166074 h 4687251"/>
              <a:gd name="connsiteX37591" fmla="*/ 7413098 w 8079933"/>
              <a:gd name="connsiteY37591" fmla="*/ 1163368 h 4687251"/>
              <a:gd name="connsiteX37592" fmla="*/ 7413098 w 8079933"/>
              <a:gd name="connsiteY37592" fmla="*/ 1156546 h 4687251"/>
              <a:gd name="connsiteX37593" fmla="*/ 7415268 w 8079933"/>
              <a:gd name="connsiteY37593" fmla="*/ 1151674 h 4687251"/>
              <a:gd name="connsiteX37594" fmla="*/ 7415268 w 8079933"/>
              <a:gd name="connsiteY37594" fmla="*/ 1145720 h 4687251"/>
              <a:gd name="connsiteX37595" fmla="*/ 7413966 w 8079933"/>
              <a:gd name="connsiteY37595" fmla="*/ 1141172 h 4687251"/>
              <a:gd name="connsiteX37596" fmla="*/ 7410926 w 8079933"/>
              <a:gd name="connsiteY37596" fmla="*/ 1144095 h 4687251"/>
              <a:gd name="connsiteX37597" fmla="*/ 7411795 w 8079933"/>
              <a:gd name="connsiteY37597" fmla="*/ 1146152 h 4687251"/>
              <a:gd name="connsiteX37598" fmla="*/ 7411795 w 8079933"/>
              <a:gd name="connsiteY37598" fmla="*/ 1149726 h 4687251"/>
              <a:gd name="connsiteX37599" fmla="*/ 7407129 w 8079933"/>
              <a:gd name="connsiteY37599" fmla="*/ 1150592 h 4687251"/>
              <a:gd name="connsiteX37600" fmla="*/ 7402570 w 8079933"/>
              <a:gd name="connsiteY37600" fmla="*/ 1157305 h 4687251"/>
              <a:gd name="connsiteX37601" fmla="*/ 7403873 w 8079933"/>
              <a:gd name="connsiteY37601" fmla="*/ 1160228 h 4687251"/>
              <a:gd name="connsiteX37602" fmla="*/ 7409516 w 8079933"/>
              <a:gd name="connsiteY37602" fmla="*/ 1158929 h 4687251"/>
              <a:gd name="connsiteX37603" fmla="*/ 7409516 w 8079933"/>
              <a:gd name="connsiteY37603" fmla="*/ 1163801 h 4687251"/>
              <a:gd name="connsiteX37604" fmla="*/ 7406043 w 8079933"/>
              <a:gd name="connsiteY37604" fmla="*/ 1169215 h 4687251"/>
              <a:gd name="connsiteX37605" fmla="*/ 7407996 w 8079933"/>
              <a:gd name="connsiteY37605" fmla="*/ 1176793 h 4687251"/>
              <a:gd name="connsiteX37606" fmla="*/ 7406912 w 8079933"/>
              <a:gd name="connsiteY37606" fmla="*/ 1178959 h 4687251"/>
              <a:gd name="connsiteX37607" fmla="*/ 7407454 w 8079933"/>
              <a:gd name="connsiteY37607" fmla="*/ 1195741 h 4687251"/>
              <a:gd name="connsiteX37608" fmla="*/ 7410926 w 8079933"/>
              <a:gd name="connsiteY37608" fmla="*/ 1199205 h 4687251"/>
              <a:gd name="connsiteX37609" fmla="*/ 7410926 w 8079933"/>
              <a:gd name="connsiteY37609" fmla="*/ 1203211 h 4687251"/>
              <a:gd name="connsiteX37610" fmla="*/ 7423623 w 8079933"/>
              <a:gd name="connsiteY37610" fmla="*/ 1221076 h 4687251"/>
              <a:gd name="connsiteX37611" fmla="*/ 7427204 w 8079933"/>
              <a:gd name="connsiteY37611" fmla="*/ 1221076 h 4687251"/>
              <a:gd name="connsiteX37612" fmla="*/ 7435343 w 8079933"/>
              <a:gd name="connsiteY37612" fmla="*/ 1232445 h 4687251"/>
              <a:gd name="connsiteX37613" fmla="*/ 7440769 w 8079933"/>
              <a:gd name="connsiteY37613" fmla="*/ 1235476 h 4687251"/>
              <a:gd name="connsiteX37614" fmla="*/ 7437514 w 8079933"/>
              <a:gd name="connsiteY37614" fmla="*/ 1239265 h 4687251"/>
              <a:gd name="connsiteX37615" fmla="*/ 7437514 w 8079933"/>
              <a:gd name="connsiteY37615" fmla="*/ 1245437 h 4687251"/>
              <a:gd name="connsiteX37616" fmla="*/ 7423406 w 8079933"/>
              <a:gd name="connsiteY37616" fmla="*/ 1250851 h 4687251"/>
              <a:gd name="connsiteX37617" fmla="*/ 7422320 w 8079933"/>
              <a:gd name="connsiteY37617" fmla="*/ 1248360 h 4687251"/>
              <a:gd name="connsiteX37618" fmla="*/ 7414508 w 8079933"/>
              <a:gd name="connsiteY37618" fmla="*/ 1253232 h 4687251"/>
              <a:gd name="connsiteX37619" fmla="*/ 7410926 w 8079933"/>
              <a:gd name="connsiteY37619" fmla="*/ 1252367 h 4687251"/>
              <a:gd name="connsiteX37620" fmla="*/ 7411252 w 8079933"/>
              <a:gd name="connsiteY37620" fmla="*/ 1251500 h 4687251"/>
              <a:gd name="connsiteX37621" fmla="*/ 7406912 w 8079933"/>
              <a:gd name="connsiteY37621" fmla="*/ 1260703 h 4687251"/>
              <a:gd name="connsiteX37622" fmla="*/ 7406043 w 8079933"/>
              <a:gd name="connsiteY37622" fmla="*/ 1266983 h 4687251"/>
              <a:gd name="connsiteX37623" fmla="*/ 7403005 w 8079933"/>
              <a:gd name="connsiteY37623" fmla="*/ 1269906 h 4687251"/>
              <a:gd name="connsiteX37624" fmla="*/ 7406912 w 8079933"/>
              <a:gd name="connsiteY37624" fmla="*/ 1274020 h 4687251"/>
              <a:gd name="connsiteX37625" fmla="*/ 7403982 w 8079933"/>
              <a:gd name="connsiteY37625" fmla="*/ 1286147 h 4687251"/>
              <a:gd name="connsiteX37626" fmla="*/ 7408540 w 8079933"/>
              <a:gd name="connsiteY37626" fmla="*/ 1299897 h 4687251"/>
              <a:gd name="connsiteX37627" fmla="*/ 7415050 w 8079933"/>
              <a:gd name="connsiteY37627" fmla="*/ 1303470 h 4687251"/>
              <a:gd name="connsiteX37628" fmla="*/ 7415050 w 8079933"/>
              <a:gd name="connsiteY37628" fmla="*/ 1309424 h 4687251"/>
              <a:gd name="connsiteX37629" fmla="*/ 7421887 w 8079933"/>
              <a:gd name="connsiteY37629" fmla="*/ 1312889 h 4687251"/>
              <a:gd name="connsiteX37630" fmla="*/ 7425360 w 8079933"/>
              <a:gd name="connsiteY37630" fmla="*/ 1317545 h 4687251"/>
              <a:gd name="connsiteX37631" fmla="*/ 7419934 w 8079933"/>
              <a:gd name="connsiteY37631" fmla="*/ 1317004 h 4687251"/>
              <a:gd name="connsiteX37632" fmla="*/ 7418306 w 8079933"/>
              <a:gd name="connsiteY37632" fmla="*/ 1315380 h 4687251"/>
              <a:gd name="connsiteX37633" fmla="*/ 7413748 w 8079933"/>
              <a:gd name="connsiteY37633" fmla="*/ 1318303 h 4687251"/>
              <a:gd name="connsiteX37634" fmla="*/ 7409733 w 8079933"/>
              <a:gd name="connsiteY37634" fmla="*/ 1322093 h 4687251"/>
              <a:gd name="connsiteX37635" fmla="*/ 7406152 w 8079933"/>
              <a:gd name="connsiteY37635" fmla="*/ 1321334 h 4687251"/>
              <a:gd name="connsiteX37636" fmla="*/ 7399098 w 8079933"/>
              <a:gd name="connsiteY37636" fmla="*/ 1327831 h 4687251"/>
              <a:gd name="connsiteX37637" fmla="*/ 7394432 w 8079933"/>
              <a:gd name="connsiteY37637" fmla="*/ 1324041 h 4687251"/>
              <a:gd name="connsiteX37638" fmla="*/ 7391936 w 8079933"/>
              <a:gd name="connsiteY37638" fmla="*/ 1328697 h 4687251"/>
              <a:gd name="connsiteX37639" fmla="*/ 7394866 w 8079933"/>
              <a:gd name="connsiteY37639" fmla="*/ 1331187 h 4687251"/>
              <a:gd name="connsiteX37640" fmla="*/ 7399966 w 8079933"/>
              <a:gd name="connsiteY37640" fmla="*/ 1331187 h 4687251"/>
              <a:gd name="connsiteX37641" fmla="*/ 7398773 w 8079933"/>
              <a:gd name="connsiteY37641" fmla="*/ 1336384 h 4687251"/>
              <a:gd name="connsiteX37642" fmla="*/ 7397688 w 8079933"/>
              <a:gd name="connsiteY37642" fmla="*/ 1339524 h 4687251"/>
              <a:gd name="connsiteX37643" fmla="*/ 7402354 w 8079933"/>
              <a:gd name="connsiteY37643" fmla="*/ 1344180 h 4687251"/>
              <a:gd name="connsiteX37644" fmla="*/ 7400509 w 8079933"/>
              <a:gd name="connsiteY37644" fmla="*/ 1346562 h 4687251"/>
              <a:gd name="connsiteX37645" fmla="*/ 7397796 w 8079933"/>
              <a:gd name="connsiteY37645" fmla="*/ 1345695 h 4687251"/>
              <a:gd name="connsiteX37646" fmla="*/ 7401052 w 8079933"/>
              <a:gd name="connsiteY37646" fmla="*/ 1352517 h 4687251"/>
              <a:gd name="connsiteX37647" fmla="*/ 7399424 w 8079933"/>
              <a:gd name="connsiteY37647" fmla="*/ 1356089 h 4687251"/>
              <a:gd name="connsiteX37648" fmla="*/ 7402462 w 8079933"/>
              <a:gd name="connsiteY37648" fmla="*/ 1356847 h 4687251"/>
              <a:gd name="connsiteX37649" fmla="*/ 7405175 w 8079933"/>
              <a:gd name="connsiteY37649" fmla="*/ 1355440 h 4687251"/>
              <a:gd name="connsiteX37650" fmla="*/ 7409516 w 8079933"/>
              <a:gd name="connsiteY37650" fmla="*/ 1359988 h 4687251"/>
              <a:gd name="connsiteX37651" fmla="*/ 7405610 w 8079933"/>
              <a:gd name="connsiteY37651" fmla="*/ 1363560 h 4687251"/>
              <a:gd name="connsiteX37652" fmla="*/ 7405067 w 8079933"/>
              <a:gd name="connsiteY37652" fmla="*/ 1370598 h 4687251"/>
              <a:gd name="connsiteX37653" fmla="*/ 7407780 w 8079933"/>
              <a:gd name="connsiteY37653" fmla="*/ 1374929 h 4687251"/>
              <a:gd name="connsiteX37654" fmla="*/ 7406152 w 8079933"/>
              <a:gd name="connsiteY37654" fmla="*/ 1385755 h 4687251"/>
              <a:gd name="connsiteX37655" fmla="*/ 7404199 w 8079933"/>
              <a:gd name="connsiteY37655" fmla="*/ 1389761 h 4687251"/>
              <a:gd name="connsiteX37656" fmla="*/ 7405284 w 8079933"/>
              <a:gd name="connsiteY37656" fmla="*/ 1391927 h 4687251"/>
              <a:gd name="connsiteX37657" fmla="*/ 7404199 w 8079933"/>
              <a:gd name="connsiteY37657" fmla="*/ 1396258 h 4687251"/>
              <a:gd name="connsiteX37658" fmla="*/ 7398447 w 8079933"/>
              <a:gd name="connsiteY37658" fmla="*/ 1401347 h 4687251"/>
              <a:gd name="connsiteX37659" fmla="*/ 7398447 w 8079933"/>
              <a:gd name="connsiteY37659" fmla="*/ 1406219 h 4687251"/>
              <a:gd name="connsiteX37660" fmla="*/ 7397036 w 8079933"/>
              <a:gd name="connsiteY37660" fmla="*/ 1407085 h 4687251"/>
              <a:gd name="connsiteX37661" fmla="*/ 7394541 w 8079933"/>
              <a:gd name="connsiteY37661" fmla="*/ 1417912 h 4687251"/>
              <a:gd name="connsiteX37662" fmla="*/ 7389440 w 8079933"/>
              <a:gd name="connsiteY37662" fmla="*/ 1428739 h 4687251"/>
              <a:gd name="connsiteX37663" fmla="*/ 7390308 w 8079933"/>
              <a:gd name="connsiteY37663" fmla="*/ 1423650 h 4687251"/>
              <a:gd name="connsiteX37664" fmla="*/ 7389006 w 8079933"/>
              <a:gd name="connsiteY37664" fmla="*/ 1420077 h 4687251"/>
              <a:gd name="connsiteX37665" fmla="*/ 7389006 w 8079933"/>
              <a:gd name="connsiteY37665" fmla="*/ 1415205 h 4687251"/>
              <a:gd name="connsiteX37666" fmla="*/ 7387596 w 8079933"/>
              <a:gd name="connsiteY37666" fmla="*/ 1411957 h 4687251"/>
              <a:gd name="connsiteX37667" fmla="*/ 7378154 w 8079933"/>
              <a:gd name="connsiteY37667" fmla="*/ 1410875 h 4687251"/>
              <a:gd name="connsiteX37668" fmla="*/ 7373055 w 8079933"/>
              <a:gd name="connsiteY37668" fmla="*/ 1403512 h 4687251"/>
              <a:gd name="connsiteX37669" fmla="*/ 7371969 w 8079933"/>
              <a:gd name="connsiteY37669" fmla="*/ 1395067 h 4687251"/>
              <a:gd name="connsiteX37670" fmla="*/ 7362745 w 8079933"/>
              <a:gd name="connsiteY37670" fmla="*/ 1374712 h 4687251"/>
              <a:gd name="connsiteX37671" fmla="*/ 7356560 w 8079933"/>
              <a:gd name="connsiteY37671" fmla="*/ 1364968 h 4687251"/>
              <a:gd name="connsiteX37672" fmla="*/ 7360032 w 8079933"/>
              <a:gd name="connsiteY37672" fmla="*/ 1364968 h 4687251"/>
              <a:gd name="connsiteX37673" fmla="*/ 7364048 w 8079933"/>
              <a:gd name="connsiteY37673" fmla="*/ 1362802 h 4687251"/>
              <a:gd name="connsiteX37674" fmla="*/ 7365892 w 8079933"/>
              <a:gd name="connsiteY37674" fmla="*/ 1358796 h 4687251"/>
              <a:gd name="connsiteX37675" fmla="*/ 7362094 w 8079933"/>
              <a:gd name="connsiteY37675" fmla="*/ 1360637 h 4687251"/>
              <a:gd name="connsiteX37676" fmla="*/ 7355800 w 8079933"/>
              <a:gd name="connsiteY37676" fmla="*/ 1360637 h 4687251"/>
              <a:gd name="connsiteX37677" fmla="*/ 7347336 w 8079933"/>
              <a:gd name="connsiteY37677" fmla="*/ 1356306 h 4687251"/>
              <a:gd name="connsiteX37678" fmla="*/ 7328888 w 8079933"/>
              <a:gd name="connsiteY37678" fmla="*/ 1322958 h 4687251"/>
              <a:gd name="connsiteX37679" fmla="*/ 7312068 w 8079933"/>
              <a:gd name="connsiteY37679" fmla="*/ 1303254 h 4687251"/>
              <a:gd name="connsiteX37680" fmla="*/ 7312068 w 8079933"/>
              <a:gd name="connsiteY37680" fmla="*/ 1295999 h 4687251"/>
              <a:gd name="connsiteX37681" fmla="*/ 7305882 w 8079933"/>
              <a:gd name="connsiteY37681" fmla="*/ 1289178 h 4687251"/>
              <a:gd name="connsiteX37682" fmla="*/ 7292644 w 8079933"/>
              <a:gd name="connsiteY37682" fmla="*/ 1268391 h 4687251"/>
              <a:gd name="connsiteX37683" fmla="*/ 7279947 w 8079933"/>
              <a:gd name="connsiteY37683" fmla="*/ 1243055 h 4687251"/>
              <a:gd name="connsiteX37684" fmla="*/ 7269095 w 8079933"/>
              <a:gd name="connsiteY37684" fmla="*/ 1219235 h 4687251"/>
              <a:gd name="connsiteX37685" fmla="*/ 7269095 w 8079933"/>
              <a:gd name="connsiteY37685" fmla="*/ 1210898 h 4687251"/>
              <a:gd name="connsiteX37686" fmla="*/ 7262584 w 8079933"/>
              <a:gd name="connsiteY37686" fmla="*/ 1200072 h 4687251"/>
              <a:gd name="connsiteX37687" fmla="*/ 7260414 w 8079933"/>
              <a:gd name="connsiteY37687" fmla="*/ 1183398 h 4687251"/>
              <a:gd name="connsiteX37688" fmla="*/ 7256399 w 8079933"/>
              <a:gd name="connsiteY37688" fmla="*/ 1175061 h 4687251"/>
              <a:gd name="connsiteX37689" fmla="*/ 7257484 w 8079933"/>
              <a:gd name="connsiteY37689" fmla="*/ 1165209 h 4687251"/>
              <a:gd name="connsiteX37690" fmla="*/ 7262802 w 8079933"/>
              <a:gd name="connsiteY37690" fmla="*/ 1158820 h 4687251"/>
              <a:gd name="connsiteX37691" fmla="*/ 7264103 w 8079933"/>
              <a:gd name="connsiteY37691" fmla="*/ 1150700 h 4687251"/>
              <a:gd name="connsiteX37692" fmla="*/ 7267902 w 8079933"/>
              <a:gd name="connsiteY37692" fmla="*/ 1149293 h 4687251"/>
              <a:gd name="connsiteX37693" fmla="*/ 7265189 w 8079933"/>
              <a:gd name="connsiteY37693" fmla="*/ 1146044 h 4687251"/>
              <a:gd name="connsiteX37694" fmla="*/ 7267142 w 8079933"/>
              <a:gd name="connsiteY37694" fmla="*/ 1143121 h 4687251"/>
              <a:gd name="connsiteX37695" fmla="*/ 7267142 w 8079933"/>
              <a:gd name="connsiteY37695" fmla="*/ 1131428 h 4687251"/>
              <a:gd name="connsiteX37696" fmla="*/ 7258135 w 8079933"/>
              <a:gd name="connsiteY37696" fmla="*/ 1118977 h 4687251"/>
              <a:gd name="connsiteX37697" fmla="*/ 7251949 w 8079933"/>
              <a:gd name="connsiteY37697" fmla="*/ 1118977 h 4687251"/>
              <a:gd name="connsiteX37698" fmla="*/ 7251949 w 8079933"/>
              <a:gd name="connsiteY37698" fmla="*/ 1115512 h 4687251"/>
              <a:gd name="connsiteX37699" fmla="*/ 7256617 w 8079933"/>
              <a:gd name="connsiteY37699" fmla="*/ 1111181 h 4687251"/>
              <a:gd name="connsiteX37700" fmla="*/ 7266057 w 8079933"/>
              <a:gd name="connsiteY37700" fmla="*/ 1115729 h 4687251"/>
              <a:gd name="connsiteX37701" fmla="*/ 7271266 w 8079933"/>
              <a:gd name="connsiteY37701" fmla="*/ 1109991 h 4687251"/>
              <a:gd name="connsiteX37702" fmla="*/ 7269964 w 8079933"/>
              <a:gd name="connsiteY37702" fmla="*/ 1106201 h 4687251"/>
              <a:gd name="connsiteX37703" fmla="*/ 7269964 w 8079933"/>
              <a:gd name="connsiteY37703" fmla="*/ 1096998 h 4687251"/>
              <a:gd name="connsiteX37704" fmla="*/ 7278103 w 8079933"/>
              <a:gd name="connsiteY37704" fmla="*/ 1095915 h 4687251"/>
              <a:gd name="connsiteX37705" fmla="*/ 7282660 w 8079933"/>
              <a:gd name="connsiteY37705" fmla="*/ 1097215 h 4687251"/>
              <a:gd name="connsiteX37706" fmla="*/ 7278644 w 8079933"/>
              <a:gd name="connsiteY37706" fmla="*/ 1091584 h 4687251"/>
              <a:gd name="connsiteX37707" fmla="*/ 7286024 w 8079933"/>
              <a:gd name="connsiteY37707" fmla="*/ 1077292 h 4687251"/>
              <a:gd name="connsiteX37708" fmla="*/ 7282986 w 8079933"/>
              <a:gd name="connsiteY37708" fmla="*/ 1068414 h 4687251"/>
              <a:gd name="connsiteX37709" fmla="*/ 7282986 w 8079933"/>
              <a:gd name="connsiteY37709" fmla="*/ 1058995 h 4687251"/>
              <a:gd name="connsiteX37710" fmla="*/ 7280056 w 8079933"/>
              <a:gd name="connsiteY37710" fmla="*/ 1053906 h 4687251"/>
              <a:gd name="connsiteX37711" fmla="*/ 7284071 w 8079933"/>
              <a:gd name="connsiteY37711" fmla="*/ 1049575 h 4687251"/>
              <a:gd name="connsiteX37712" fmla="*/ 7284071 w 8079933"/>
              <a:gd name="connsiteY37712" fmla="*/ 1043621 h 4687251"/>
              <a:gd name="connsiteX37713" fmla="*/ 7282443 w 8079933"/>
              <a:gd name="connsiteY37713" fmla="*/ 1040914 h 4687251"/>
              <a:gd name="connsiteX37714" fmla="*/ 7283962 w 8079933"/>
              <a:gd name="connsiteY37714" fmla="*/ 1032902 h 4687251"/>
              <a:gd name="connsiteX37715" fmla="*/ 7287652 w 8079933"/>
              <a:gd name="connsiteY37715" fmla="*/ 1032902 h 4687251"/>
              <a:gd name="connsiteX37716" fmla="*/ 7283202 w 8079933"/>
              <a:gd name="connsiteY37716" fmla="*/ 1028463 h 4687251"/>
              <a:gd name="connsiteX37717" fmla="*/ 7282226 w 8079933"/>
              <a:gd name="connsiteY37717" fmla="*/ 1024673 h 4687251"/>
              <a:gd name="connsiteX37718" fmla="*/ 7283746 w 8079933"/>
              <a:gd name="connsiteY37718" fmla="*/ 1022507 h 4687251"/>
              <a:gd name="connsiteX37719" fmla="*/ 7284939 w 8079933"/>
              <a:gd name="connsiteY37719" fmla="*/ 1013305 h 4687251"/>
              <a:gd name="connsiteX37720" fmla="*/ 7282877 w 8079933"/>
              <a:gd name="connsiteY37720" fmla="*/ 1011464 h 4687251"/>
              <a:gd name="connsiteX37721" fmla="*/ 7283637 w 8079933"/>
              <a:gd name="connsiteY37721" fmla="*/ 1006700 h 4687251"/>
              <a:gd name="connsiteX37722" fmla="*/ 7289062 w 8079933"/>
              <a:gd name="connsiteY37722" fmla="*/ 1004643 h 4687251"/>
              <a:gd name="connsiteX37723" fmla="*/ 7291341 w 8079933"/>
              <a:gd name="connsiteY37723" fmla="*/ 1001287 h 4687251"/>
              <a:gd name="connsiteX37724" fmla="*/ 7289822 w 8079933"/>
              <a:gd name="connsiteY37724" fmla="*/ 993599 h 4687251"/>
              <a:gd name="connsiteX37725" fmla="*/ 7291450 w 8079933"/>
              <a:gd name="connsiteY37725" fmla="*/ 983422 h 4687251"/>
              <a:gd name="connsiteX37726" fmla="*/ 7288954 w 8079933"/>
              <a:gd name="connsiteY37726" fmla="*/ 981906 h 4687251"/>
              <a:gd name="connsiteX37727" fmla="*/ 7288086 w 8079933"/>
              <a:gd name="connsiteY37727" fmla="*/ 978875 h 4687251"/>
              <a:gd name="connsiteX37728" fmla="*/ 7292210 w 8079933"/>
              <a:gd name="connsiteY37728" fmla="*/ 971404 h 4687251"/>
              <a:gd name="connsiteX37729" fmla="*/ 7292210 w 8079933"/>
              <a:gd name="connsiteY37729" fmla="*/ 964799 h 4687251"/>
              <a:gd name="connsiteX37730" fmla="*/ 7288737 w 8079933"/>
              <a:gd name="connsiteY37730" fmla="*/ 965991 h 4687251"/>
              <a:gd name="connsiteX37731" fmla="*/ 7286892 w 8079933"/>
              <a:gd name="connsiteY37731" fmla="*/ 960036 h 4687251"/>
              <a:gd name="connsiteX37732" fmla="*/ 7289388 w 8079933"/>
              <a:gd name="connsiteY37732" fmla="*/ 956354 h 4687251"/>
              <a:gd name="connsiteX37733" fmla="*/ 7289388 w 8079933"/>
              <a:gd name="connsiteY37733" fmla="*/ 951699 h 4687251"/>
              <a:gd name="connsiteX37734" fmla="*/ 7293078 w 8079933"/>
              <a:gd name="connsiteY37734" fmla="*/ 950399 h 4687251"/>
              <a:gd name="connsiteX37735" fmla="*/ 7294054 w 8079933"/>
              <a:gd name="connsiteY37735" fmla="*/ 948018 h 4687251"/>
              <a:gd name="connsiteX37736" fmla="*/ 7299480 w 8079933"/>
              <a:gd name="connsiteY37736" fmla="*/ 944661 h 4687251"/>
              <a:gd name="connsiteX37737" fmla="*/ 7300023 w 8079933"/>
              <a:gd name="connsiteY37737" fmla="*/ 940114 h 4687251"/>
              <a:gd name="connsiteX37738" fmla="*/ 7305992 w 8079933"/>
              <a:gd name="connsiteY37738" fmla="*/ 934484 h 4687251"/>
              <a:gd name="connsiteX37739" fmla="*/ 7307510 w 8079933"/>
              <a:gd name="connsiteY37739" fmla="*/ 934484 h 4687251"/>
              <a:gd name="connsiteX37740" fmla="*/ 7311960 w 8079933"/>
              <a:gd name="connsiteY37740" fmla="*/ 931127 h 4687251"/>
              <a:gd name="connsiteX37741" fmla="*/ 7314781 w 8079933"/>
              <a:gd name="connsiteY37741" fmla="*/ 931127 h 4687251"/>
              <a:gd name="connsiteX37742" fmla="*/ 7315757 w 8079933"/>
              <a:gd name="connsiteY37742" fmla="*/ 928096 h 4687251"/>
              <a:gd name="connsiteX37743" fmla="*/ 7314564 w 8079933"/>
              <a:gd name="connsiteY37743" fmla="*/ 926255 h 4687251"/>
              <a:gd name="connsiteX37744" fmla="*/ 7310007 w 8079933"/>
              <a:gd name="connsiteY37744" fmla="*/ 925606 h 4687251"/>
              <a:gd name="connsiteX37745" fmla="*/ 7306968 w 8079933"/>
              <a:gd name="connsiteY37745" fmla="*/ 927554 h 4687251"/>
              <a:gd name="connsiteX37746" fmla="*/ 7303278 w 8079933"/>
              <a:gd name="connsiteY37746" fmla="*/ 924739 h 4687251"/>
              <a:gd name="connsiteX37747" fmla="*/ 7303278 w 8079933"/>
              <a:gd name="connsiteY37747" fmla="*/ 915536 h 4687251"/>
              <a:gd name="connsiteX37748" fmla="*/ 7306100 w 8079933"/>
              <a:gd name="connsiteY37748" fmla="*/ 908282 h 4687251"/>
              <a:gd name="connsiteX37749" fmla="*/ 7304363 w 8079933"/>
              <a:gd name="connsiteY37749" fmla="*/ 905359 h 4687251"/>
              <a:gd name="connsiteX37750" fmla="*/ 7301650 w 8079933"/>
              <a:gd name="connsiteY37750" fmla="*/ 900487 h 4687251"/>
              <a:gd name="connsiteX37751" fmla="*/ 7299914 w 8079933"/>
              <a:gd name="connsiteY37751" fmla="*/ 900487 h 4687251"/>
              <a:gd name="connsiteX37752" fmla="*/ 7298178 w 8079933"/>
              <a:gd name="connsiteY37752" fmla="*/ 903735 h 4687251"/>
              <a:gd name="connsiteX37753" fmla="*/ 7296442 w 8079933"/>
              <a:gd name="connsiteY37753" fmla="*/ 903085 h 4687251"/>
              <a:gd name="connsiteX37754" fmla="*/ 7295356 w 8079933"/>
              <a:gd name="connsiteY37754" fmla="*/ 892258 h 4687251"/>
              <a:gd name="connsiteX37755" fmla="*/ 7297310 w 8079933"/>
              <a:gd name="connsiteY37755" fmla="*/ 889768 h 4687251"/>
              <a:gd name="connsiteX37756" fmla="*/ 7297310 w 8079933"/>
              <a:gd name="connsiteY37756" fmla="*/ 887061 h 4687251"/>
              <a:gd name="connsiteX37757" fmla="*/ 7296007 w 8079933"/>
              <a:gd name="connsiteY37757" fmla="*/ 881431 h 4687251"/>
              <a:gd name="connsiteX37758" fmla="*/ 7291016 w 8079933"/>
              <a:gd name="connsiteY37758" fmla="*/ 879374 h 4687251"/>
              <a:gd name="connsiteX37759" fmla="*/ 7292210 w 8079933"/>
              <a:gd name="connsiteY37759" fmla="*/ 877425 h 4687251"/>
              <a:gd name="connsiteX37760" fmla="*/ 7291558 w 8079933"/>
              <a:gd name="connsiteY37760" fmla="*/ 877425 h 4687251"/>
              <a:gd name="connsiteX37761" fmla="*/ 7291558 w 8079933"/>
              <a:gd name="connsiteY37761" fmla="*/ 874935 h 4687251"/>
              <a:gd name="connsiteX37762" fmla="*/ 7286242 w 8079933"/>
              <a:gd name="connsiteY37762" fmla="*/ 868763 h 4687251"/>
              <a:gd name="connsiteX37763" fmla="*/ 7285482 w 8079933"/>
              <a:gd name="connsiteY37763" fmla="*/ 865190 h 4687251"/>
              <a:gd name="connsiteX37764" fmla="*/ 7282552 w 8079933"/>
              <a:gd name="connsiteY37764" fmla="*/ 862484 h 4687251"/>
              <a:gd name="connsiteX37765" fmla="*/ 7282552 w 8079933"/>
              <a:gd name="connsiteY37765" fmla="*/ 857503 h 4687251"/>
              <a:gd name="connsiteX37766" fmla="*/ 7279947 w 8079933"/>
              <a:gd name="connsiteY37766" fmla="*/ 851549 h 4687251"/>
              <a:gd name="connsiteX37767" fmla="*/ 7279947 w 8079933"/>
              <a:gd name="connsiteY37767" fmla="*/ 847976 h 4687251"/>
              <a:gd name="connsiteX37768" fmla="*/ 7286350 w 8079933"/>
              <a:gd name="connsiteY37768" fmla="*/ 841371 h 4687251"/>
              <a:gd name="connsiteX37769" fmla="*/ 7291884 w 8079933"/>
              <a:gd name="connsiteY37769" fmla="*/ 842670 h 4687251"/>
              <a:gd name="connsiteX37770" fmla="*/ 7296767 w 8079933"/>
              <a:gd name="connsiteY37770" fmla="*/ 840938 h 4687251"/>
              <a:gd name="connsiteX37771" fmla="*/ 7293838 w 8079933"/>
              <a:gd name="connsiteY37771" fmla="*/ 838556 h 4687251"/>
              <a:gd name="connsiteX37772" fmla="*/ 7299914 w 8079933"/>
              <a:gd name="connsiteY37772" fmla="*/ 835091 h 4687251"/>
              <a:gd name="connsiteX37773" fmla="*/ 7297093 w 8079933"/>
              <a:gd name="connsiteY37773" fmla="*/ 835849 h 4687251"/>
              <a:gd name="connsiteX37774" fmla="*/ 7292210 w 8079933"/>
              <a:gd name="connsiteY37774" fmla="*/ 835308 h 4687251"/>
              <a:gd name="connsiteX37775" fmla="*/ 7289605 w 8079933"/>
              <a:gd name="connsiteY37775" fmla="*/ 834009 h 4687251"/>
              <a:gd name="connsiteX37776" fmla="*/ 7282986 w 8079933"/>
              <a:gd name="connsiteY37776" fmla="*/ 834009 h 4687251"/>
              <a:gd name="connsiteX37777" fmla="*/ 7276041 w 8079933"/>
              <a:gd name="connsiteY37777" fmla="*/ 828378 h 4687251"/>
              <a:gd name="connsiteX37778" fmla="*/ 7274196 w 8079933"/>
              <a:gd name="connsiteY37778" fmla="*/ 830111 h 4687251"/>
              <a:gd name="connsiteX37779" fmla="*/ 7268010 w 8079933"/>
              <a:gd name="connsiteY37779" fmla="*/ 830111 h 4687251"/>
              <a:gd name="connsiteX37780" fmla="*/ 7263670 w 8079933"/>
              <a:gd name="connsiteY37780" fmla="*/ 835200 h 4687251"/>
              <a:gd name="connsiteX37781" fmla="*/ 7258678 w 8079933"/>
              <a:gd name="connsiteY37781" fmla="*/ 835200 h 4687251"/>
              <a:gd name="connsiteX37782" fmla="*/ 7252384 w 8079933"/>
              <a:gd name="connsiteY37782" fmla="*/ 841154 h 4687251"/>
              <a:gd name="connsiteX37783" fmla="*/ 7254555 w 8079933"/>
              <a:gd name="connsiteY37783" fmla="*/ 843536 h 4687251"/>
              <a:gd name="connsiteX37784" fmla="*/ 7253904 w 8079933"/>
              <a:gd name="connsiteY37784" fmla="*/ 847542 h 4687251"/>
              <a:gd name="connsiteX37785" fmla="*/ 7259221 w 8079933"/>
              <a:gd name="connsiteY37785" fmla="*/ 851765 h 4687251"/>
              <a:gd name="connsiteX37786" fmla="*/ 7260306 w 8079933"/>
              <a:gd name="connsiteY37786" fmla="*/ 856745 h 4687251"/>
              <a:gd name="connsiteX37787" fmla="*/ 7258461 w 8079933"/>
              <a:gd name="connsiteY37787" fmla="*/ 858694 h 4687251"/>
              <a:gd name="connsiteX37788" fmla="*/ 7259980 w 8079933"/>
              <a:gd name="connsiteY37788" fmla="*/ 865623 h 4687251"/>
              <a:gd name="connsiteX37789" fmla="*/ 7264429 w 8079933"/>
              <a:gd name="connsiteY37789" fmla="*/ 869088 h 4687251"/>
              <a:gd name="connsiteX37790" fmla="*/ 7264429 w 8079933"/>
              <a:gd name="connsiteY37790" fmla="*/ 871686 h 4687251"/>
              <a:gd name="connsiteX37791" fmla="*/ 7267576 w 8079933"/>
              <a:gd name="connsiteY37791" fmla="*/ 873528 h 4687251"/>
              <a:gd name="connsiteX37792" fmla="*/ 7269964 w 8079933"/>
              <a:gd name="connsiteY37792" fmla="*/ 883380 h 4687251"/>
              <a:gd name="connsiteX37793" fmla="*/ 7277017 w 8079933"/>
              <a:gd name="connsiteY37793" fmla="*/ 886845 h 4687251"/>
              <a:gd name="connsiteX37794" fmla="*/ 7276150 w 8079933"/>
              <a:gd name="connsiteY37794" fmla="*/ 891826 h 4687251"/>
              <a:gd name="connsiteX37795" fmla="*/ 7279187 w 8079933"/>
              <a:gd name="connsiteY37795" fmla="*/ 895290 h 4687251"/>
              <a:gd name="connsiteX37796" fmla="*/ 7277343 w 8079933"/>
              <a:gd name="connsiteY37796" fmla="*/ 898213 h 4687251"/>
              <a:gd name="connsiteX37797" fmla="*/ 7273762 w 8079933"/>
              <a:gd name="connsiteY37797" fmla="*/ 895290 h 4687251"/>
              <a:gd name="connsiteX37798" fmla="*/ 7272026 w 8079933"/>
              <a:gd name="connsiteY37798" fmla="*/ 891500 h 4687251"/>
              <a:gd name="connsiteX37799" fmla="*/ 7265514 w 8079933"/>
              <a:gd name="connsiteY37799" fmla="*/ 893016 h 4687251"/>
              <a:gd name="connsiteX37800" fmla="*/ 7261825 w 8079933"/>
              <a:gd name="connsiteY37800" fmla="*/ 895831 h 4687251"/>
              <a:gd name="connsiteX37801" fmla="*/ 7259221 w 8079933"/>
              <a:gd name="connsiteY37801" fmla="*/ 903085 h 4687251"/>
              <a:gd name="connsiteX37802" fmla="*/ 7262042 w 8079933"/>
              <a:gd name="connsiteY37802" fmla="*/ 906008 h 4687251"/>
              <a:gd name="connsiteX37803" fmla="*/ 7260740 w 8079933"/>
              <a:gd name="connsiteY37803" fmla="*/ 913155 h 4687251"/>
              <a:gd name="connsiteX37804" fmla="*/ 7259004 w 8079933"/>
              <a:gd name="connsiteY37804" fmla="*/ 914454 h 4687251"/>
              <a:gd name="connsiteX37805" fmla="*/ 7259004 w 8079933"/>
              <a:gd name="connsiteY37805" fmla="*/ 916078 h 4687251"/>
              <a:gd name="connsiteX37806" fmla="*/ 7260740 w 8079933"/>
              <a:gd name="connsiteY37806" fmla="*/ 917269 h 4687251"/>
              <a:gd name="connsiteX37807" fmla="*/ 7260740 w 8079933"/>
              <a:gd name="connsiteY37807" fmla="*/ 921058 h 4687251"/>
              <a:gd name="connsiteX37808" fmla="*/ 7256724 w 8079933"/>
              <a:gd name="connsiteY37808" fmla="*/ 924848 h 4687251"/>
              <a:gd name="connsiteX37809" fmla="*/ 7260089 w 8079933"/>
              <a:gd name="connsiteY37809" fmla="*/ 927879 h 4687251"/>
              <a:gd name="connsiteX37810" fmla="*/ 7256942 w 8079933"/>
              <a:gd name="connsiteY37810" fmla="*/ 931236 h 4687251"/>
              <a:gd name="connsiteX37811" fmla="*/ 7256942 w 8079933"/>
              <a:gd name="connsiteY37811" fmla="*/ 943254 h 4687251"/>
              <a:gd name="connsiteX37812" fmla="*/ 7255097 w 8079933"/>
              <a:gd name="connsiteY37812" fmla="*/ 946177 h 4687251"/>
              <a:gd name="connsiteX37813" fmla="*/ 7255097 w 8079933"/>
              <a:gd name="connsiteY37813" fmla="*/ 949100 h 4687251"/>
              <a:gd name="connsiteX37814" fmla="*/ 7251624 w 8079933"/>
              <a:gd name="connsiteY37814" fmla="*/ 951266 h 4687251"/>
              <a:gd name="connsiteX37815" fmla="*/ 7248803 w 8079933"/>
              <a:gd name="connsiteY37815" fmla="*/ 958411 h 4687251"/>
              <a:gd name="connsiteX37816" fmla="*/ 7247283 w 8079933"/>
              <a:gd name="connsiteY37816" fmla="*/ 953106 h 4687251"/>
              <a:gd name="connsiteX37817" fmla="*/ 7243052 w 8079933"/>
              <a:gd name="connsiteY37817" fmla="*/ 949317 h 4687251"/>
              <a:gd name="connsiteX37818" fmla="*/ 7246958 w 8079933"/>
              <a:gd name="connsiteY37818" fmla="*/ 942279 h 4687251"/>
              <a:gd name="connsiteX37819" fmla="*/ 7244896 w 8079933"/>
              <a:gd name="connsiteY37819" fmla="*/ 939681 h 4687251"/>
              <a:gd name="connsiteX37820" fmla="*/ 7241641 w 8079933"/>
              <a:gd name="connsiteY37820" fmla="*/ 939681 h 4687251"/>
              <a:gd name="connsiteX37821" fmla="*/ 7237408 w 8079933"/>
              <a:gd name="connsiteY37821" fmla="*/ 943579 h 4687251"/>
              <a:gd name="connsiteX37822" fmla="*/ 7237408 w 8079933"/>
              <a:gd name="connsiteY37822" fmla="*/ 947260 h 4687251"/>
              <a:gd name="connsiteX37823" fmla="*/ 7235021 w 8079933"/>
              <a:gd name="connsiteY37823" fmla="*/ 949100 h 4687251"/>
              <a:gd name="connsiteX37824" fmla="*/ 7234261 w 8079933"/>
              <a:gd name="connsiteY37824" fmla="*/ 940655 h 4687251"/>
              <a:gd name="connsiteX37825" fmla="*/ 7229487 w 8079933"/>
              <a:gd name="connsiteY37825" fmla="*/ 939464 h 4687251"/>
              <a:gd name="connsiteX37826" fmla="*/ 7227859 w 8079933"/>
              <a:gd name="connsiteY37826" fmla="*/ 936108 h 4687251"/>
              <a:gd name="connsiteX37827" fmla="*/ 7223736 w 8079933"/>
              <a:gd name="connsiteY37827" fmla="*/ 940006 h 4687251"/>
              <a:gd name="connsiteX37828" fmla="*/ 7222216 w 8079933"/>
              <a:gd name="connsiteY37828" fmla="*/ 937624 h 4687251"/>
              <a:gd name="connsiteX37829" fmla="*/ 7223627 w 8079933"/>
              <a:gd name="connsiteY37829" fmla="*/ 935783 h 4687251"/>
              <a:gd name="connsiteX37830" fmla="*/ 7225689 w 8079933"/>
              <a:gd name="connsiteY37830" fmla="*/ 932752 h 4687251"/>
              <a:gd name="connsiteX37831" fmla="*/ 7224278 w 8079933"/>
              <a:gd name="connsiteY37831" fmla="*/ 930802 h 4687251"/>
              <a:gd name="connsiteX37832" fmla="*/ 7224278 w 8079933"/>
              <a:gd name="connsiteY37832" fmla="*/ 927122 h 4687251"/>
              <a:gd name="connsiteX37833" fmla="*/ 7225689 w 8079933"/>
              <a:gd name="connsiteY37833" fmla="*/ 927122 h 4687251"/>
              <a:gd name="connsiteX37834" fmla="*/ 7224278 w 8079933"/>
              <a:gd name="connsiteY37834" fmla="*/ 922032 h 4687251"/>
              <a:gd name="connsiteX37835" fmla="*/ 7222108 w 8079933"/>
              <a:gd name="connsiteY37835" fmla="*/ 920625 h 4687251"/>
              <a:gd name="connsiteX37836" fmla="*/ 7225255 w 8079933"/>
              <a:gd name="connsiteY37836" fmla="*/ 917161 h 4687251"/>
              <a:gd name="connsiteX37837" fmla="*/ 7223736 w 8079933"/>
              <a:gd name="connsiteY37837" fmla="*/ 912830 h 4687251"/>
              <a:gd name="connsiteX37838" fmla="*/ 7221674 w 8079933"/>
              <a:gd name="connsiteY37838" fmla="*/ 910340 h 4687251"/>
              <a:gd name="connsiteX37839" fmla="*/ 7223084 w 8079933"/>
              <a:gd name="connsiteY37839" fmla="*/ 908282 h 4687251"/>
              <a:gd name="connsiteX37840" fmla="*/ 7223084 w 8079933"/>
              <a:gd name="connsiteY37840" fmla="*/ 902544 h 4687251"/>
              <a:gd name="connsiteX37841" fmla="*/ 7218092 w 8079933"/>
              <a:gd name="connsiteY37841" fmla="*/ 898971 h 4687251"/>
              <a:gd name="connsiteX37842" fmla="*/ 7216682 w 8079933"/>
              <a:gd name="connsiteY37842" fmla="*/ 894965 h 4687251"/>
              <a:gd name="connsiteX37843" fmla="*/ 7214620 w 8079933"/>
              <a:gd name="connsiteY37843" fmla="*/ 894965 h 4687251"/>
              <a:gd name="connsiteX37844" fmla="*/ 7213643 w 8079933"/>
              <a:gd name="connsiteY37844" fmla="*/ 900703 h 4687251"/>
              <a:gd name="connsiteX37845" fmla="*/ 7210497 w 8079933"/>
              <a:gd name="connsiteY37845" fmla="*/ 901569 h 4687251"/>
              <a:gd name="connsiteX37846" fmla="*/ 7210497 w 8079933"/>
              <a:gd name="connsiteY37846" fmla="*/ 907524 h 4687251"/>
              <a:gd name="connsiteX37847" fmla="*/ 7206481 w 8079933"/>
              <a:gd name="connsiteY37847" fmla="*/ 912504 h 4687251"/>
              <a:gd name="connsiteX37848" fmla="*/ 7204636 w 8079933"/>
              <a:gd name="connsiteY37848" fmla="*/ 912504 h 4687251"/>
              <a:gd name="connsiteX37849" fmla="*/ 7201815 w 8079933"/>
              <a:gd name="connsiteY37849" fmla="*/ 906658 h 4687251"/>
              <a:gd name="connsiteX37850" fmla="*/ 7199970 w 8079933"/>
              <a:gd name="connsiteY37850" fmla="*/ 906658 h 4687251"/>
              <a:gd name="connsiteX37851" fmla="*/ 7197800 w 8079933"/>
              <a:gd name="connsiteY37851" fmla="*/ 908174 h 4687251"/>
              <a:gd name="connsiteX37852" fmla="*/ 7196823 w 8079933"/>
              <a:gd name="connsiteY37852" fmla="*/ 903626 h 4687251"/>
              <a:gd name="connsiteX37853" fmla="*/ 7191289 w 8079933"/>
              <a:gd name="connsiteY37853" fmla="*/ 903626 h 4687251"/>
              <a:gd name="connsiteX37854" fmla="*/ 7189661 w 8079933"/>
              <a:gd name="connsiteY37854" fmla="*/ 905251 h 4687251"/>
              <a:gd name="connsiteX37855" fmla="*/ 7187600 w 8079933"/>
              <a:gd name="connsiteY37855" fmla="*/ 905251 h 4687251"/>
              <a:gd name="connsiteX37856" fmla="*/ 7186623 w 8079933"/>
              <a:gd name="connsiteY37856" fmla="*/ 909798 h 4687251"/>
              <a:gd name="connsiteX37857" fmla="*/ 7183042 w 8079933"/>
              <a:gd name="connsiteY37857" fmla="*/ 910773 h 4687251"/>
              <a:gd name="connsiteX37858" fmla="*/ 7182391 w 8079933"/>
              <a:gd name="connsiteY37858" fmla="*/ 913046 h 4687251"/>
              <a:gd name="connsiteX37859" fmla="*/ 7173710 w 8079933"/>
              <a:gd name="connsiteY37859" fmla="*/ 913046 h 4687251"/>
              <a:gd name="connsiteX37860" fmla="*/ 7171213 w 8079933"/>
              <a:gd name="connsiteY37860" fmla="*/ 916619 h 4687251"/>
              <a:gd name="connsiteX37861" fmla="*/ 7167850 w 8079933"/>
              <a:gd name="connsiteY37861" fmla="*/ 915428 h 4687251"/>
              <a:gd name="connsiteX37862" fmla="*/ 7165028 w 8079933"/>
              <a:gd name="connsiteY37862" fmla="*/ 917485 h 4687251"/>
              <a:gd name="connsiteX37863" fmla="*/ 7159385 w 8079933"/>
              <a:gd name="connsiteY37863" fmla="*/ 916728 h 4687251"/>
              <a:gd name="connsiteX37864" fmla="*/ 7154177 w 8079933"/>
              <a:gd name="connsiteY37864" fmla="*/ 925173 h 4687251"/>
              <a:gd name="connsiteX37865" fmla="*/ 7151247 w 8079933"/>
              <a:gd name="connsiteY37865" fmla="*/ 926905 h 4687251"/>
              <a:gd name="connsiteX37866" fmla="*/ 7151898 w 8079933"/>
              <a:gd name="connsiteY37866" fmla="*/ 933401 h 4687251"/>
              <a:gd name="connsiteX37867" fmla="*/ 7147665 w 8079933"/>
              <a:gd name="connsiteY37867" fmla="*/ 936649 h 4687251"/>
              <a:gd name="connsiteX37868" fmla="*/ 7147665 w 8079933"/>
              <a:gd name="connsiteY37868" fmla="*/ 939031 h 4687251"/>
              <a:gd name="connsiteX37869" fmla="*/ 7150920 w 8079933"/>
              <a:gd name="connsiteY37869" fmla="*/ 941413 h 4687251"/>
              <a:gd name="connsiteX37870" fmla="*/ 7151789 w 8079933"/>
              <a:gd name="connsiteY37870" fmla="*/ 947585 h 4687251"/>
              <a:gd name="connsiteX37871" fmla="*/ 7156672 w 8079933"/>
              <a:gd name="connsiteY37871" fmla="*/ 954297 h 4687251"/>
              <a:gd name="connsiteX37872" fmla="*/ 7152766 w 8079933"/>
              <a:gd name="connsiteY37872" fmla="*/ 957654 h 4687251"/>
              <a:gd name="connsiteX37873" fmla="*/ 7150270 w 8079933"/>
              <a:gd name="connsiteY37873" fmla="*/ 974436 h 4687251"/>
              <a:gd name="connsiteX37874" fmla="*/ 7156239 w 8079933"/>
              <a:gd name="connsiteY37874" fmla="*/ 981148 h 4687251"/>
              <a:gd name="connsiteX37875" fmla="*/ 7151355 w 8079933"/>
              <a:gd name="connsiteY37875" fmla="*/ 982989 h 4687251"/>
              <a:gd name="connsiteX37876" fmla="*/ 7152766 w 8079933"/>
              <a:gd name="connsiteY37876" fmla="*/ 983855 h 4687251"/>
              <a:gd name="connsiteX37877" fmla="*/ 7152766 w 8079933"/>
              <a:gd name="connsiteY37877" fmla="*/ 989160 h 4687251"/>
              <a:gd name="connsiteX37878" fmla="*/ 7148208 w 8079933"/>
              <a:gd name="connsiteY37878" fmla="*/ 994033 h 4687251"/>
              <a:gd name="connsiteX37879" fmla="*/ 7148208 w 8079933"/>
              <a:gd name="connsiteY37879" fmla="*/ 1001287 h 4687251"/>
              <a:gd name="connsiteX37880" fmla="*/ 7144735 w 8079933"/>
              <a:gd name="connsiteY37880" fmla="*/ 1005617 h 4687251"/>
              <a:gd name="connsiteX37881" fmla="*/ 7144735 w 8079933"/>
              <a:gd name="connsiteY37881" fmla="*/ 1010923 h 4687251"/>
              <a:gd name="connsiteX37882" fmla="*/ 7142456 w 8079933"/>
              <a:gd name="connsiteY37882" fmla="*/ 1019260 h 4687251"/>
              <a:gd name="connsiteX37883" fmla="*/ 7146905 w 8079933"/>
              <a:gd name="connsiteY37883" fmla="*/ 1025323 h 4687251"/>
              <a:gd name="connsiteX37884" fmla="*/ 7143108 w 8079933"/>
              <a:gd name="connsiteY37884" fmla="*/ 1028246 h 4687251"/>
              <a:gd name="connsiteX37885" fmla="*/ 7149510 w 8079933"/>
              <a:gd name="connsiteY37885" fmla="*/ 1037016 h 4687251"/>
              <a:gd name="connsiteX37886" fmla="*/ 7147232 w 8079933"/>
              <a:gd name="connsiteY37886" fmla="*/ 1038316 h 4687251"/>
              <a:gd name="connsiteX37887" fmla="*/ 7145929 w 8079933"/>
              <a:gd name="connsiteY37887" fmla="*/ 1042429 h 4687251"/>
              <a:gd name="connsiteX37888" fmla="*/ 7149727 w 8079933"/>
              <a:gd name="connsiteY37888" fmla="*/ 1044486 h 4687251"/>
              <a:gd name="connsiteX37889" fmla="*/ 7151571 w 8079933"/>
              <a:gd name="connsiteY37889" fmla="*/ 1042755 h 4687251"/>
              <a:gd name="connsiteX37890" fmla="*/ 7156130 w 8079933"/>
              <a:gd name="connsiteY37890" fmla="*/ 1042755 h 4687251"/>
              <a:gd name="connsiteX37891" fmla="*/ 7156130 w 8079933"/>
              <a:gd name="connsiteY37891" fmla="*/ 1040373 h 4687251"/>
              <a:gd name="connsiteX37892" fmla="*/ 7157432 w 8079933"/>
              <a:gd name="connsiteY37892" fmla="*/ 1039614 h 4687251"/>
              <a:gd name="connsiteX37893" fmla="*/ 7161664 w 8079933"/>
              <a:gd name="connsiteY37893" fmla="*/ 1041888 h 4687251"/>
              <a:gd name="connsiteX37894" fmla="*/ 7164378 w 8079933"/>
              <a:gd name="connsiteY37894" fmla="*/ 1041888 h 4687251"/>
              <a:gd name="connsiteX37895" fmla="*/ 7164378 w 8079933"/>
              <a:gd name="connsiteY37895" fmla="*/ 1039939 h 4687251"/>
              <a:gd name="connsiteX37896" fmla="*/ 7164378 w 8079933"/>
              <a:gd name="connsiteY37896" fmla="*/ 1038965 h 4687251"/>
              <a:gd name="connsiteX37897" fmla="*/ 7167090 w 8079933"/>
              <a:gd name="connsiteY37897" fmla="*/ 1040805 h 4687251"/>
              <a:gd name="connsiteX37898" fmla="*/ 7171973 w 8079933"/>
              <a:gd name="connsiteY37898" fmla="*/ 1042755 h 4687251"/>
              <a:gd name="connsiteX37899" fmla="*/ 7171973 w 8079933"/>
              <a:gd name="connsiteY37899" fmla="*/ 1045245 h 4687251"/>
              <a:gd name="connsiteX37900" fmla="*/ 7171105 w 8079933"/>
              <a:gd name="connsiteY37900" fmla="*/ 1046977 h 4687251"/>
              <a:gd name="connsiteX37901" fmla="*/ 7175229 w 8079933"/>
              <a:gd name="connsiteY37901" fmla="*/ 1051416 h 4687251"/>
              <a:gd name="connsiteX37902" fmla="*/ 7174360 w 8079933"/>
              <a:gd name="connsiteY37902" fmla="*/ 1053798 h 4687251"/>
              <a:gd name="connsiteX37903" fmla="*/ 7171213 w 8079933"/>
              <a:gd name="connsiteY37903" fmla="*/ 1053798 h 4687251"/>
              <a:gd name="connsiteX37904" fmla="*/ 7168284 w 8079933"/>
              <a:gd name="connsiteY37904" fmla="*/ 1055747 h 4687251"/>
              <a:gd name="connsiteX37905" fmla="*/ 7164920 w 8079933"/>
              <a:gd name="connsiteY37905" fmla="*/ 1054339 h 4687251"/>
              <a:gd name="connsiteX37906" fmla="*/ 7161230 w 8079933"/>
              <a:gd name="connsiteY37906" fmla="*/ 1056721 h 4687251"/>
              <a:gd name="connsiteX37907" fmla="*/ 7161230 w 8079933"/>
              <a:gd name="connsiteY37907" fmla="*/ 1058237 h 4687251"/>
              <a:gd name="connsiteX37908" fmla="*/ 7164160 w 8079933"/>
              <a:gd name="connsiteY37908" fmla="*/ 1060835 h 4687251"/>
              <a:gd name="connsiteX37909" fmla="*/ 7157866 w 8079933"/>
              <a:gd name="connsiteY37909" fmla="*/ 1066898 h 4687251"/>
              <a:gd name="connsiteX37910" fmla="*/ 7154610 w 8079933"/>
              <a:gd name="connsiteY37910" fmla="*/ 1065166 h 4687251"/>
              <a:gd name="connsiteX37911" fmla="*/ 7153960 w 8079933"/>
              <a:gd name="connsiteY37911" fmla="*/ 1061485 h 4687251"/>
              <a:gd name="connsiteX37912" fmla="*/ 7151464 w 8079933"/>
              <a:gd name="connsiteY37912" fmla="*/ 1059212 h 4687251"/>
              <a:gd name="connsiteX37913" fmla="*/ 7148100 w 8079933"/>
              <a:gd name="connsiteY37913" fmla="*/ 1061161 h 4687251"/>
              <a:gd name="connsiteX37914" fmla="*/ 7145278 w 8079933"/>
              <a:gd name="connsiteY37914" fmla="*/ 1059103 h 4687251"/>
              <a:gd name="connsiteX37915" fmla="*/ 7142022 w 8079933"/>
              <a:gd name="connsiteY37915" fmla="*/ 1060402 h 4687251"/>
              <a:gd name="connsiteX37916" fmla="*/ 7142782 w 8079933"/>
              <a:gd name="connsiteY37916" fmla="*/ 1063542 h 4687251"/>
              <a:gd name="connsiteX37917" fmla="*/ 7142782 w 8079933"/>
              <a:gd name="connsiteY37917" fmla="*/ 1067657 h 4687251"/>
              <a:gd name="connsiteX37918" fmla="*/ 7141371 w 8079933"/>
              <a:gd name="connsiteY37918" fmla="*/ 1067657 h 4687251"/>
              <a:gd name="connsiteX37919" fmla="*/ 7139093 w 8079933"/>
              <a:gd name="connsiteY37919" fmla="*/ 1070797 h 4687251"/>
              <a:gd name="connsiteX37920" fmla="*/ 7135946 w 8079933"/>
              <a:gd name="connsiteY37920" fmla="*/ 1073070 h 4687251"/>
              <a:gd name="connsiteX37921" fmla="*/ 7138116 w 8079933"/>
              <a:gd name="connsiteY37921" fmla="*/ 1075236 h 4687251"/>
              <a:gd name="connsiteX37922" fmla="*/ 7135946 w 8079933"/>
              <a:gd name="connsiteY37922" fmla="*/ 1078267 h 4687251"/>
              <a:gd name="connsiteX37923" fmla="*/ 7132474 w 8079933"/>
              <a:gd name="connsiteY37923" fmla="*/ 1077726 h 4687251"/>
              <a:gd name="connsiteX37924" fmla="*/ 7126504 w 8079933"/>
              <a:gd name="connsiteY37924" fmla="*/ 1071555 h 4687251"/>
              <a:gd name="connsiteX37925" fmla="*/ 7123575 w 8079933"/>
              <a:gd name="connsiteY37925" fmla="*/ 1071555 h 4687251"/>
              <a:gd name="connsiteX37926" fmla="*/ 7127155 w 8079933"/>
              <a:gd name="connsiteY37926" fmla="*/ 1076643 h 4687251"/>
              <a:gd name="connsiteX37927" fmla="*/ 7122273 w 8079933"/>
              <a:gd name="connsiteY37927" fmla="*/ 1079025 h 4687251"/>
              <a:gd name="connsiteX37928" fmla="*/ 7123358 w 8079933"/>
              <a:gd name="connsiteY37928" fmla="*/ 1080865 h 4687251"/>
              <a:gd name="connsiteX37929" fmla="*/ 7120319 w 8079933"/>
              <a:gd name="connsiteY37929" fmla="*/ 1084871 h 4687251"/>
              <a:gd name="connsiteX37930" fmla="*/ 7113048 w 8079933"/>
              <a:gd name="connsiteY37930" fmla="*/ 1087037 h 4687251"/>
              <a:gd name="connsiteX37931" fmla="*/ 7111095 w 8079933"/>
              <a:gd name="connsiteY37931" fmla="*/ 1089419 h 4687251"/>
              <a:gd name="connsiteX37932" fmla="*/ 7104801 w 8079933"/>
              <a:gd name="connsiteY37932" fmla="*/ 1080757 h 4687251"/>
              <a:gd name="connsiteX37933" fmla="*/ 7101003 w 8079933"/>
              <a:gd name="connsiteY37933" fmla="*/ 1080757 h 4687251"/>
              <a:gd name="connsiteX37934" fmla="*/ 7099050 w 8079933"/>
              <a:gd name="connsiteY37934" fmla="*/ 1079458 h 4687251"/>
              <a:gd name="connsiteX37935" fmla="*/ 7100352 w 8079933"/>
              <a:gd name="connsiteY37935" fmla="*/ 1077076 h 4687251"/>
              <a:gd name="connsiteX37936" fmla="*/ 7104367 w 8079933"/>
              <a:gd name="connsiteY37936" fmla="*/ 1077076 h 4687251"/>
              <a:gd name="connsiteX37937" fmla="*/ 7104367 w 8079933"/>
              <a:gd name="connsiteY37937" fmla="*/ 1072204 h 4687251"/>
              <a:gd name="connsiteX37938" fmla="*/ 7106212 w 8079933"/>
              <a:gd name="connsiteY37938" fmla="*/ 1069714 h 4687251"/>
              <a:gd name="connsiteX37939" fmla="*/ 7113591 w 8079933"/>
              <a:gd name="connsiteY37939" fmla="*/ 1069714 h 4687251"/>
              <a:gd name="connsiteX37940" fmla="*/ 7121947 w 8079933"/>
              <a:gd name="connsiteY37940" fmla="*/ 1063542 h 4687251"/>
              <a:gd name="connsiteX37941" fmla="*/ 7120862 w 8079933"/>
              <a:gd name="connsiteY37941" fmla="*/ 1060619 h 4687251"/>
              <a:gd name="connsiteX37942" fmla="*/ 7117064 w 8079933"/>
              <a:gd name="connsiteY37942" fmla="*/ 1059861 h 4687251"/>
              <a:gd name="connsiteX37943" fmla="*/ 7112940 w 8079933"/>
              <a:gd name="connsiteY37943" fmla="*/ 1063867 h 4687251"/>
              <a:gd name="connsiteX37944" fmla="*/ 7106972 w 8079933"/>
              <a:gd name="connsiteY37944" fmla="*/ 1062784 h 4687251"/>
              <a:gd name="connsiteX37945" fmla="*/ 7106972 w 8079933"/>
              <a:gd name="connsiteY37945" fmla="*/ 1060619 h 4687251"/>
              <a:gd name="connsiteX37946" fmla="*/ 7102414 w 8079933"/>
              <a:gd name="connsiteY37946" fmla="*/ 1057155 h 4687251"/>
              <a:gd name="connsiteX37947" fmla="*/ 7098073 w 8079933"/>
              <a:gd name="connsiteY37947" fmla="*/ 1057155 h 4687251"/>
              <a:gd name="connsiteX37948" fmla="*/ 7091237 w 8079933"/>
              <a:gd name="connsiteY37948" fmla="*/ 1055855 h 4687251"/>
              <a:gd name="connsiteX37949" fmla="*/ 7084183 w 8079933"/>
              <a:gd name="connsiteY37949" fmla="*/ 1055855 h 4687251"/>
              <a:gd name="connsiteX37950" fmla="*/ 7086136 w 8079933"/>
              <a:gd name="connsiteY37950" fmla="*/ 1059320 h 4687251"/>
              <a:gd name="connsiteX37951" fmla="*/ 7083098 w 8079933"/>
              <a:gd name="connsiteY37951" fmla="*/ 1060186 h 4687251"/>
              <a:gd name="connsiteX37952" fmla="*/ 7080060 w 8079933"/>
              <a:gd name="connsiteY37952" fmla="*/ 1058020 h 4687251"/>
              <a:gd name="connsiteX37953" fmla="*/ 7080060 w 8079933"/>
              <a:gd name="connsiteY37953" fmla="*/ 1055639 h 4687251"/>
              <a:gd name="connsiteX37954" fmla="*/ 7073548 w 8079933"/>
              <a:gd name="connsiteY37954" fmla="*/ 1055639 h 4687251"/>
              <a:gd name="connsiteX37955" fmla="*/ 7065084 w 8079933"/>
              <a:gd name="connsiteY37955" fmla="*/ 1053473 h 4687251"/>
              <a:gd name="connsiteX37956" fmla="*/ 7061287 w 8079933"/>
              <a:gd name="connsiteY37956" fmla="*/ 1055422 h 4687251"/>
              <a:gd name="connsiteX37957" fmla="*/ 7057705 w 8079933"/>
              <a:gd name="connsiteY37957" fmla="*/ 1052715 h 4687251"/>
              <a:gd name="connsiteX37958" fmla="*/ 7050869 w 8079933"/>
              <a:gd name="connsiteY37958" fmla="*/ 1052715 h 4687251"/>
              <a:gd name="connsiteX37959" fmla="*/ 7044574 w 8079933"/>
              <a:gd name="connsiteY37959" fmla="*/ 1060294 h 4687251"/>
              <a:gd name="connsiteX37960" fmla="*/ 7041536 w 8079933"/>
              <a:gd name="connsiteY37960" fmla="*/ 1060294 h 4687251"/>
              <a:gd name="connsiteX37961" fmla="*/ 7041536 w 8079933"/>
              <a:gd name="connsiteY37961" fmla="*/ 1063326 h 4687251"/>
              <a:gd name="connsiteX37962" fmla="*/ 7047830 w 8079933"/>
              <a:gd name="connsiteY37962" fmla="*/ 1067332 h 4687251"/>
              <a:gd name="connsiteX37963" fmla="*/ 7040994 w 8079933"/>
              <a:gd name="connsiteY37963" fmla="*/ 1070039 h 4687251"/>
              <a:gd name="connsiteX37964" fmla="*/ 7039908 w 8079933"/>
              <a:gd name="connsiteY37964" fmla="*/ 1066574 h 4687251"/>
              <a:gd name="connsiteX37965" fmla="*/ 7036327 w 8079933"/>
              <a:gd name="connsiteY37965" fmla="*/ 1072204 h 4687251"/>
              <a:gd name="connsiteX37966" fmla="*/ 7042078 w 8079933"/>
              <a:gd name="connsiteY37966" fmla="*/ 1075236 h 4687251"/>
              <a:gd name="connsiteX37967" fmla="*/ 7044032 w 8079933"/>
              <a:gd name="connsiteY37967" fmla="*/ 1073612 h 4687251"/>
              <a:gd name="connsiteX37968" fmla="*/ 7046962 w 8079933"/>
              <a:gd name="connsiteY37968" fmla="*/ 1075236 h 4687251"/>
              <a:gd name="connsiteX37969" fmla="*/ 7046962 w 8079933"/>
              <a:gd name="connsiteY37969" fmla="*/ 1078808 h 4687251"/>
              <a:gd name="connsiteX37970" fmla="*/ 7037738 w 8079933"/>
              <a:gd name="connsiteY37970" fmla="*/ 1082381 h 4687251"/>
              <a:gd name="connsiteX37971" fmla="*/ 7034482 w 8079933"/>
              <a:gd name="connsiteY37971" fmla="*/ 1078375 h 4687251"/>
              <a:gd name="connsiteX37972" fmla="*/ 7026670 w 8079933"/>
              <a:gd name="connsiteY37972" fmla="*/ 1078375 h 4687251"/>
              <a:gd name="connsiteX37973" fmla="*/ 7023739 w 8079933"/>
              <a:gd name="connsiteY37973" fmla="*/ 1080541 h 4687251"/>
              <a:gd name="connsiteX37974" fmla="*/ 7025042 w 8079933"/>
              <a:gd name="connsiteY37974" fmla="*/ 1084547 h 4687251"/>
              <a:gd name="connsiteX37975" fmla="*/ 7021460 w 8079933"/>
              <a:gd name="connsiteY37975" fmla="*/ 1084547 h 4687251"/>
              <a:gd name="connsiteX37976" fmla="*/ 7018748 w 8079933"/>
              <a:gd name="connsiteY37976" fmla="*/ 1087470 h 4687251"/>
              <a:gd name="connsiteX37977" fmla="*/ 7016360 w 8079933"/>
              <a:gd name="connsiteY37977" fmla="*/ 1087470 h 4687251"/>
              <a:gd name="connsiteX37978" fmla="*/ 7014732 w 8079933"/>
              <a:gd name="connsiteY37978" fmla="*/ 1084006 h 4687251"/>
              <a:gd name="connsiteX37979" fmla="*/ 7004966 w 8079933"/>
              <a:gd name="connsiteY37979" fmla="*/ 1084006 h 4687251"/>
              <a:gd name="connsiteX37980" fmla="*/ 7000951 w 8079933"/>
              <a:gd name="connsiteY37980" fmla="*/ 1086387 h 4687251"/>
              <a:gd name="connsiteX37981" fmla="*/ 6991727 w 8079933"/>
              <a:gd name="connsiteY37981" fmla="*/ 1085088 h 4687251"/>
              <a:gd name="connsiteX37982" fmla="*/ 6986301 w 8079933"/>
              <a:gd name="connsiteY37982" fmla="*/ 1088012 h 4687251"/>
              <a:gd name="connsiteX37983" fmla="*/ 6986301 w 8079933"/>
              <a:gd name="connsiteY37983" fmla="*/ 1090393 h 4687251"/>
              <a:gd name="connsiteX37984" fmla="*/ 6993138 w 8079933"/>
              <a:gd name="connsiteY37984" fmla="*/ 1095590 h 4687251"/>
              <a:gd name="connsiteX37985" fmla="*/ 6989340 w 8079933"/>
              <a:gd name="connsiteY37985" fmla="*/ 1098838 h 4687251"/>
              <a:gd name="connsiteX37986" fmla="*/ 6986952 w 8079933"/>
              <a:gd name="connsiteY37986" fmla="*/ 1103494 h 4687251"/>
              <a:gd name="connsiteX37987" fmla="*/ 6982612 w 8079933"/>
              <a:gd name="connsiteY37987" fmla="*/ 1099380 h 4687251"/>
              <a:gd name="connsiteX37988" fmla="*/ 6979139 w 8079933"/>
              <a:gd name="connsiteY37988" fmla="*/ 1098081 h 4687251"/>
              <a:gd name="connsiteX37989" fmla="*/ 6981092 w 8079933"/>
              <a:gd name="connsiteY37989" fmla="*/ 1092883 h 4687251"/>
              <a:gd name="connsiteX37990" fmla="*/ 6976969 w 8079933"/>
              <a:gd name="connsiteY37990" fmla="*/ 1090177 h 4687251"/>
              <a:gd name="connsiteX37991" fmla="*/ 6974798 w 8079933"/>
              <a:gd name="connsiteY37991" fmla="*/ 1093750 h 4687251"/>
              <a:gd name="connsiteX37992" fmla="*/ 6970674 w 8079933"/>
              <a:gd name="connsiteY37992" fmla="*/ 1094291 h 4687251"/>
              <a:gd name="connsiteX37993" fmla="*/ 6966551 w 8079933"/>
              <a:gd name="connsiteY37993" fmla="*/ 1094291 h 4687251"/>
              <a:gd name="connsiteX37994" fmla="*/ 6961668 w 8079933"/>
              <a:gd name="connsiteY37994" fmla="*/ 1097756 h 4687251"/>
              <a:gd name="connsiteX37995" fmla="*/ 6956785 w 8079933"/>
              <a:gd name="connsiteY37995" fmla="*/ 1097756 h 4687251"/>
              <a:gd name="connsiteX37996" fmla="*/ 6949731 w 8079933"/>
              <a:gd name="connsiteY37996" fmla="*/ 1102087 h 4687251"/>
              <a:gd name="connsiteX37997" fmla="*/ 6942677 w 8079933"/>
              <a:gd name="connsiteY37997" fmla="*/ 1102087 h 4687251"/>
              <a:gd name="connsiteX37998" fmla="*/ 6934322 w 8079933"/>
              <a:gd name="connsiteY37998" fmla="*/ 1108799 h 4687251"/>
              <a:gd name="connsiteX37999" fmla="*/ 6929330 w 8079933"/>
              <a:gd name="connsiteY37999" fmla="*/ 1109666 h 4687251"/>
              <a:gd name="connsiteX38000" fmla="*/ 6926075 w 8079933"/>
              <a:gd name="connsiteY38000" fmla="*/ 1106201 h 4687251"/>
              <a:gd name="connsiteX38001" fmla="*/ 6923036 w 8079933"/>
              <a:gd name="connsiteY38001" fmla="*/ 1106201 h 4687251"/>
              <a:gd name="connsiteX38002" fmla="*/ 6921734 w 8079933"/>
              <a:gd name="connsiteY38002" fmla="*/ 1110857 h 4687251"/>
              <a:gd name="connsiteX38003" fmla="*/ 6913052 w 8079933"/>
              <a:gd name="connsiteY38003" fmla="*/ 1117353 h 4687251"/>
              <a:gd name="connsiteX38004" fmla="*/ 6911750 w 8079933"/>
              <a:gd name="connsiteY38004" fmla="*/ 1122442 h 4687251"/>
              <a:gd name="connsiteX38005" fmla="*/ 6902743 w 8079933"/>
              <a:gd name="connsiteY38005" fmla="*/ 1126772 h 4687251"/>
              <a:gd name="connsiteX38006" fmla="*/ 6901875 w 8079933"/>
              <a:gd name="connsiteY38006" fmla="*/ 1132185 h 4687251"/>
              <a:gd name="connsiteX38007" fmla="*/ 6908060 w 8079933"/>
              <a:gd name="connsiteY38007" fmla="*/ 1141714 h 4687251"/>
              <a:gd name="connsiteX38008" fmla="*/ 6906433 w 8079933"/>
              <a:gd name="connsiteY38008" fmla="*/ 1150917 h 4687251"/>
              <a:gd name="connsiteX38009" fmla="*/ 6899380 w 8079933"/>
              <a:gd name="connsiteY38009" fmla="*/ 1158820 h 4687251"/>
              <a:gd name="connsiteX38010" fmla="*/ 6895907 w 8079933"/>
              <a:gd name="connsiteY38010" fmla="*/ 1166399 h 4687251"/>
              <a:gd name="connsiteX38011" fmla="*/ 6897318 w 8079933"/>
              <a:gd name="connsiteY38011" fmla="*/ 1172354 h 4687251"/>
              <a:gd name="connsiteX38012" fmla="*/ 6897318 w 8079933"/>
              <a:gd name="connsiteY38012" fmla="*/ 1181774 h 4687251"/>
              <a:gd name="connsiteX38013" fmla="*/ 6899488 w 8079933"/>
              <a:gd name="connsiteY38013" fmla="*/ 1185347 h 4687251"/>
              <a:gd name="connsiteX38014" fmla="*/ 6899488 w 8079933"/>
              <a:gd name="connsiteY38014" fmla="*/ 1190544 h 4687251"/>
              <a:gd name="connsiteX38015" fmla="*/ 6897318 w 8079933"/>
              <a:gd name="connsiteY38015" fmla="*/ 1190544 h 4687251"/>
              <a:gd name="connsiteX38016" fmla="*/ 6894279 w 8079933"/>
              <a:gd name="connsiteY38016" fmla="*/ 1192384 h 4687251"/>
              <a:gd name="connsiteX38017" fmla="*/ 6894279 w 8079933"/>
              <a:gd name="connsiteY38017" fmla="*/ 1198014 h 4687251"/>
              <a:gd name="connsiteX38018" fmla="*/ 6891892 w 8079933"/>
              <a:gd name="connsiteY38018" fmla="*/ 1199855 h 4687251"/>
              <a:gd name="connsiteX38019" fmla="*/ 6894604 w 8079933"/>
              <a:gd name="connsiteY38019" fmla="*/ 1207975 h 4687251"/>
              <a:gd name="connsiteX38020" fmla="*/ 6889938 w 8079933"/>
              <a:gd name="connsiteY38020" fmla="*/ 1211440 h 4687251"/>
              <a:gd name="connsiteX38021" fmla="*/ 6889179 w 8079933"/>
              <a:gd name="connsiteY38021" fmla="*/ 1217612 h 4687251"/>
              <a:gd name="connsiteX38022" fmla="*/ 6882668 w 8079933"/>
              <a:gd name="connsiteY38022" fmla="*/ 1225515 h 4687251"/>
              <a:gd name="connsiteX38023" fmla="*/ 6883753 w 8079933"/>
              <a:gd name="connsiteY38023" fmla="*/ 1230712 h 4687251"/>
              <a:gd name="connsiteX38024" fmla="*/ 6879955 w 8079933"/>
              <a:gd name="connsiteY38024" fmla="*/ 1232661 h 4687251"/>
              <a:gd name="connsiteX38025" fmla="*/ 6878652 w 8079933"/>
              <a:gd name="connsiteY38025" fmla="*/ 1241539 h 4687251"/>
              <a:gd name="connsiteX38026" fmla="*/ 6876808 w 8079933"/>
              <a:gd name="connsiteY38026" fmla="*/ 1241539 h 4687251"/>
              <a:gd name="connsiteX38027" fmla="*/ 6874096 w 8079933"/>
              <a:gd name="connsiteY38027" fmla="*/ 1253124 h 4687251"/>
              <a:gd name="connsiteX38028" fmla="*/ 6874096 w 8079933"/>
              <a:gd name="connsiteY38028" fmla="*/ 1261786 h 4687251"/>
              <a:gd name="connsiteX38029" fmla="*/ 6872467 w 8079933"/>
              <a:gd name="connsiteY38029" fmla="*/ 1264709 h 4687251"/>
              <a:gd name="connsiteX38030" fmla="*/ 6874420 w 8079933"/>
              <a:gd name="connsiteY38030" fmla="*/ 1270123 h 4687251"/>
              <a:gd name="connsiteX38031" fmla="*/ 6870948 w 8079933"/>
              <a:gd name="connsiteY38031" fmla="*/ 1275320 h 4687251"/>
              <a:gd name="connsiteX38032" fmla="*/ 6870080 w 8079933"/>
              <a:gd name="connsiteY38032" fmla="*/ 1280733 h 4687251"/>
              <a:gd name="connsiteX38033" fmla="*/ 6865522 w 8079933"/>
              <a:gd name="connsiteY38033" fmla="*/ 1287771 h 4687251"/>
              <a:gd name="connsiteX38034" fmla="*/ 6865522 w 8079933"/>
              <a:gd name="connsiteY38034" fmla="*/ 1290261 h 4687251"/>
              <a:gd name="connsiteX38035" fmla="*/ 6863135 w 8079933"/>
              <a:gd name="connsiteY38035" fmla="*/ 1291127 h 4687251"/>
              <a:gd name="connsiteX38036" fmla="*/ 6863135 w 8079933"/>
              <a:gd name="connsiteY38036" fmla="*/ 1297299 h 4687251"/>
              <a:gd name="connsiteX38037" fmla="*/ 6855864 w 8079933"/>
              <a:gd name="connsiteY38037" fmla="*/ 1303254 h 4687251"/>
              <a:gd name="connsiteX38038" fmla="*/ 6855864 w 8079933"/>
              <a:gd name="connsiteY38038" fmla="*/ 1311157 h 4687251"/>
              <a:gd name="connsiteX38039" fmla="*/ 6849136 w 8079933"/>
              <a:gd name="connsiteY38039" fmla="*/ 1317329 h 4687251"/>
              <a:gd name="connsiteX38040" fmla="*/ 6849136 w 8079933"/>
              <a:gd name="connsiteY38040" fmla="*/ 1321551 h 4687251"/>
              <a:gd name="connsiteX38041" fmla="*/ 6844470 w 8079933"/>
              <a:gd name="connsiteY38041" fmla="*/ 1328805 h 4687251"/>
              <a:gd name="connsiteX38042" fmla="*/ 6843168 w 8079933"/>
              <a:gd name="connsiteY38042" fmla="*/ 1333785 h 4687251"/>
              <a:gd name="connsiteX38043" fmla="*/ 6840780 w 8079933"/>
              <a:gd name="connsiteY38043" fmla="*/ 1338008 h 4687251"/>
              <a:gd name="connsiteX38044" fmla="*/ 6843385 w 8079933"/>
              <a:gd name="connsiteY38044" fmla="*/ 1342447 h 4687251"/>
              <a:gd name="connsiteX38045" fmla="*/ 6847834 w 8079933"/>
              <a:gd name="connsiteY38045" fmla="*/ 1345479 h 4687251"/>
              <a:gd name="connsiteX38046" fmla="*/ 6852392 w 8079933"/>
              <a:gd name="connsiteY38046" fmla="*/ 1343747 h 4687251"/>
              <a:gd name="connsiteX38047" fmla="*/ 6856407 w 8079933"/>
              <a:gd name="connsiteY38047" fmla="*/ 1347319 h 4687251"/>
              <a:gd name="connsiteX38048" fmla="*/ 6861073 w 8079933"/>
              <a:gd name="connsiteY38048" fmla="*/ 1347319 h 4687251"/>
              <a:gd name="connsiteX38049" fmla="*/ 6867041 w 8079933"/>
              <a:gd name="connsiteY38049" fmla="*/ 1342989 h 4687251"/>
              <a:gd name="connsiteX38050" fmla="*/ 6870730 w 8079933"/>
              <a:gd name="connsiteY38050" fmla="*/ 1341690 h 4687251"/>
              <a:gd name="connsiteX38051" fmla="*/ 6874746 w 8079933"/>
              <a:gd name="connsiteY38051" fmla="*/ 1338983 h 4687251"/>
              <a:gd name="connsiteX38052" fmla="*/ 6876916 w 8079933"/>
              <a:gd name="connsiteY38052" fmla="*/ 1338983 h 4687251"/>
              <a:gd name="connsiteX38053" fmla="*/ 6882125 w 8079933"/>
              <a:gd name="connsiteY38053" fmla="*/ 1337575 h 4687251"/>
              <a:gd name="connsiteX38054" fmla="*/ 6882125 w 8079933"/>
              <a:gd name="connsiteY38054" fmla="*/ 1349810 h 4687251"/>
              <a:gd name="connsiteX38055" fmla="*/ 6887551 w 8079933"/>
              <a:gd name="connsiteY38055" fmla="*/ 1357064 h 4687251"/>
              <a:gd name="connsiteX38056" fmla="*/ 6889504 w 8079933"/>
              <a:gd name="connsiteY38056" fmla="*/ 1364426 h 4687251"/>
              <a:gd name="connsiteX38057" fmla="*/ 6888636 w 8079933"/>
              <a:gd name="connsiteY38057" fmla="*/ 1370598 h 4687251"/>
              <a:gd name="connsiteX38058" fmla="*/ 6894822 w 8079933"/>
              <a:gd name="connsiteY38058" fmla="*/ 1375794 h 4687251"/>
              <a:gd name="connsiteX38059" fmla="*/ 6898077 w 8079933"/>
              <a:gd name="connsiteY38059" fmla="*/ 1371788 h 4687251"/>
              <a:gd name="connsiteX38060" fmla="*/ 6899380 w 8079933"/>
              <a:gd name="connsiteY38060" fmla="*/ 1371788 h 4687251"/>
              <a:gd name="connsiteX38061" fmla="*/ 6902310 w 8079933"/>
              <a:gd name="connsiteY38061" fmla="*/ 1369840 h 4687251"/>
              <a:gd name="connsiteX38062" fmla="*/ 6904480 w 8079933"/>
              <a:gd name="connsiteY38062" fmla="*/ 1365184 h 4687251"/>
              <a:gd name="connsiteX38063" fmla="*/ 6905401 w 8079933"/>
              <a:gd name="connsiteY38063" fmla="*/ 1364817 h 4687251"/>
              <a:gd name="connsiteX38064" fmla="*/ 6901985 w 8079933"/>
              <a:gd name="connsiteY38064" fmla="*/ 1362260 h 4687251"/>
              <a:gd name="connsiteX38065" fmla="*/ 6901442 w 8079933"/>
              <a:gd name="connsiteY38065" fmla="*/ 1358795 h 4687251"/>
              <a:gd name="connsiteX38066" fmla="*/ 6905457 w 8079933"/>
              <a:gd name="connsiteY38066" fmla="*/ 1353381 h 4687251"/>
              <a:gd name="connsiteX38067" fmla="*/ 6912510 w 8079933"/>
              <a:gd name="connsiteY38067" fmla="*/ 1351649 h 4687251"/>
              <a:gd name="connsiteX38068" fmla="*/ 6911208 w 8079933"/>
              <a:gd name="connsiteY38068" fmla="*/ 1354573 h 4687251"/>
              <a:gd name="connsiteX38069" fmla="*/ 6912293 w 8079933"/>
              <a:gd name="connsiteY38069" fmla="*/ 1355871 h 4687251"/>
              <a:gd name="connsiteX38070" fmla="*/ 6910774 w 8079933"/>
              <a:gd name="connsiteY38070" fmla="*/ 1359661 h 4687251"/>
              <a:gd name="connsiteX38071" fmla="*/ 6908170 w 8079933"/>
              <a:gd name="connsiteY38071" fmla="*/ 1360419 h 4687251"/>
              <a:gd name="connsiteX38072" fmla="*/ 6905509 w 8079933"/>
              <a:gd name="connsiteY38072" fmla="*/ 1364774 h 4687251"/>
              <a:gd name="connsiteX38073" fmla="*/ 6907735 w 8079933"/>
              <a:gd name="connsiteY38073" fmla="*/ 1363885 h 4687251"/>
              <a:gd name="connsiteX38074" fmla="*/ 6909580 w 8079933"/>
              <a:gd name="connsiteY38074" fmla="*/ 1366592 h 4687251"/>
              <a:gd name="connsiteX38075" fmla="*/ 6912292 w 8079933"/>
              <a:gd name="connsiteY38075" fmla="*/ 1364102 h 4687251"/>
              <a:gd name="connsiteX38076" fmla="*/ 6917502 w 8079933"/>
              <a:gd name="connsiteY38076" fmla="*/ 1364102 h 4687251"/>
              <a:gd name="connsiteX38077" fmla="*/ 6915548 w 8079933"/>
              <a:gd name="connsiteY38077" fmla="*/ 1366050 h 4687251"/>
              <a:gd name="connsiteX38078" fmla="*/ 6913378 w 8079933"/>
              <a:gd name="connsiteY38078" fmla="*/ 1369623 h 4687251"/>
              <a:gd name="connsiteX38079" fmla="*/ 6913378 w 8079933"/>
              <a:gd name="connsiteY38079" fmla="*/ 1376444 h 4687251"/>
              <a:gd name="connsiteX38080" fmla="*/ 6910666 w 8079933"/>
              <a:gd name="connsiteY38080" fmla="*/ 1376444 h 4687251"/>
              <a:gd name="connsiteX38081" fmla="*/ 6906867 w 8079933"/>
              <a:gd name="connsiteY38081" fmla="*/ 1380017 h 4687251"/>
              <a:gd name="connsiteX38082" fmla="*/ 6908278 w 8079933"/>
              <a:gd name="connsiteY38082" fmla="*/ 1382182 h 4687251"/>
              <a:gd name="connsiteX38083" fmla="*/ 6919130 w 8079933"/>
              <a:gd name="connsiteY38083" fmla="*/ 1380559 h 4687251"/>
              <a:gd name="connsiteX38084" fmla="*/ 6924772 w 8079933"/>
              <a:gd name="connsiteY38084" fmla="*/ 1377094 h 4687251"/>
              <a:gd name="connsiteX38085" fmla="*/ 6926726 w 8079933"/>
              <a:gd name="connsiteY38085" fmla="*/ 1369840 h 4687251"/>
              <a:gd name="connsiteX38086" fmla="*/ 6925857 w 8079933"/>
              <a:gd name="connsiteY38086" fmla="*/ 1365184 h 4687251"/>
              <a:gd name="connsiteX38087" fmla="*/ 6927702 w 8079933"/>
              <a:gd name="connsiteY38087" fmla="*/ 1361719 h 4687251"/>
              <a:gd name="connsiteX38088" fmla="*/ 6930632 w 8079933"/>
              <a:gd name="connsiteY38088" fmla="*/ 1368216 h 4687251"/>
              <a:gd name="connsiteX38089" fmla="*/ 6929764 w 8079933"/>
              <a:gd name="connsiteY38089" fmla="*/ 1374170 h 4687251"/>
              <a:gd name="connsiteX38090" fmla="*/ 6929764 w 8079933"/>
              <a:gd name="connsiteY38090" fmla="*/ 1380125 h 4687251"/>
              <a:gd name="connsiteX38091" fmla="*/ 6932802 w 8079933"/>
              <a:gd name="connsiteY38091" fmla="*/ 1378176 h 4687251"/>
              <a:gd name="connsiteX38092" fmla="*/ 6934647 w 8079933"/>
              <a:gd name="connsiteY38092" fmla="*/ 1371680 h 4687251"/>
              <a:gd name="connsiteX38093" fmla="*/ 6932042 w 8079933"/>
              <a:gd name="connsiteY38093" fmla="*/ 1363668 h 4687251"/>
              <a:gd name="connsiteX38094" fmla="*/ 6933996 w 8079933"/>
              <a:gd name="connsiteY38094" fmla="*/ 1359554 h 4687251"/>
              <a:gd name="connsiteX38095" fmla="*/ 6929872 w 8079933"/>
              <a:gd name="connsiteY38095" fmla="*/ 1355115 h 4687251"/>
              <a:gd name="connsiteX38096" fmla="*/ 6927594 w 8079933"/>
              <a:gd name="connsiteY38096" fmla="*/ 1346995 h 4687251"/>
              <a:gd name="connsiteX38097" fmla="*/ 6932260 w 8079933"/>
              <a:gd name="connsiteY38097" fmla="*/ 1346995 h 4687251"/>
              <a:gd name="connsiteX38098" fmla="*/ 6936818 w 8079933"/>
              <a:gd name="connsiteY38098" fmla="*/ 1349594 h 4687251"/>
              <a:gd name="connsiteX38099" fmla="*/ 6936818 w 8079933"/>
              <a:gd name="connsiteY38099" fmla="*/ 1351758 h 4687251"/>
              <a:gd name="connsiteX38100" fmla="*/ 6938554 w 8079933"/>
              <a:gd name="connsiteY38100" fmla="*/ 1353924 h 4687251"/>
              <a:gd name="connsiteX38101" fmla="*/ 6941266 w 8079933"/>
              <a:gd name="connsiteY38101" fmla="*/ 1353924 h 4687251"/>
              <a:gd name="connsiteX38102" fmla="*/ 6943220 w 8079933"/>
              <a:gd name="connsiteY38102" fmla="*/ 1350892 h 4687251"/>
              <a:gd name="connsiteX38103" fmla="*/ 6947778 w 8079933"/>
              <a:gd name="connsiteY38103" fmla="*/ 1350892 h 4687251"/>
              <a:gd name="connsiteX38104" fmla="*/ 6953312 w 8079933"/>
              <a:gd name="connsiteY38104" fmla="*/ 1346670 h 4687251"/>
              <a:gd name="connsiteX38105" fmla="*/ 6958738 w 8079933"/>
              <a:gd name="connsiteY38105" fmla="*/ 1351109 h 4687251"/>
              <a:gd name="connsiteX38106" fmla="*/ 6964272 w 8079933"/>
              <a:gd name="connsiteY38106" fmla="*/ 1351109 h 4687251"/>
              <a:gd name="connsiteX38107" fmla="*/ 6967744 w 8079933"/>
              <a:gd name="connsiteY38107" fmla="*/ 1354249 h 4687251"/>
              <a:gd name="connsiteX38108" fmla="*/ 6970458 w 8079933"/>
              <a:gd name="connsiteY38108" fmla="*/ 1359988 h 4687251"/>
              <a:gd name="connsiteX38109" fmla="*/ 6973388 w 8079933"/>
              <a:gd name="connsiteY38109" fmla="*/ 1361936 h 4687251"/>
              <a:gd name="connsiteX38110" fmla="*/ 6980007 w 8079933"/>
              <a:gd name="connsiteY38110" fmla="*/ 1362802 h 4687251"/>
              <a:gd name="connsiteX38111" fmla="*/ 6982503 w 8079933"/>
              <a:gd name="connsiteY38111" fmla="*/ 1366050 h 4687251"/>
              <a:gd name="connsiteX38112" fmla="*/ 6993355 w 8079933"/>
              <a:gd name="connsiteY38112" fmla="*/ 1369840 h 4687251"/>
              <a:gd name="connsiteX38113" fmla="*/ 6994657 w 8079933"/>
              <a:gd name="connsiteY38113" fmla="*/ 1372980 h 4687251"/>
              <a:gd name="connsiteX38114" fmla="*/ 6998563 w 8079933"/>
              <a:gd name="connsiteY38114" fmla="*/ 1373629 h 4687251"/>
              <a:gd name="connsiteX38115" fmla="*/ 7001602 w 8079933"/>
              <a:gd name="connsiteY38115" fmla="*/ 1377419 h 4687251"/>
              <a:gd name="connsiteX38116" fmla="*/ 7004424 w 8079933"/>
              <a:gd name="connsiteY38116" fmla="*/ 1377419 h 4687251"/>
              <a:gd name="connsiteX38117" fmla="*/ 7008438 w 8079933"/>
              <a:gd name="connsiteY38117" fmla="*/ 1384998 h 4687251"/>
              <a:gd name="connsiteX38118" fmla="*/ 7005942 w 8079933"/>
              <a:gd name="connsiteY38118" fmla="*/ 1389004 h 4687251"/>
              <a:gd name="connsiteX38119" fmla="*/ 7005942 w 8079933"/>
              <a:gd name="connsiteY38119" fmla="*/ 1393010 h 4687251"/>
              <a:gd name="connsiteX38120" fmla="*/ 7002688 w 8079933"/>
              <a:gd name="connsiteY38120" fmla="*/ 1394959 h 4687251"/>
              <a:gd name="connsiteX38121" fmla="*/ 7007354 w 8079933"/>
              <a:gd name="connsiteY38121" fmla="*/ 1400155 h 4687251"/>
              <a:gd name="connsiteX38122" fmla="*/ 7010826 w 8079933"/>
              <a:gd name="connsiteY38122" fmla="*/ 1400155 h 4687251"/>
              <a:gd name="connsiteX38123" fmla="*/ 7017120 w 8079933"/>
              <a:gd name="connsiteY38123" fmla="*/ 1408276 h 4687251"/>
              <a:gd name="connsiteX38124" fmla="*/ 7017120 w 8079933"/>
              <a:gd name="connsiteY38124" fmla="*/ 1412606 h 4687251"/>
              <a:gd name="connsiteX38125" fmla="*/ 7014407 w 8079933"/>
              <a:gd name="connsiteY38125" fmla="*/ 1415855 h 4687251"/>
              <a:gd name="connsiteX38126" fmla="*/ 7014407 w 8079933"/>
              <a:gd name="connsiteY38126" fmla="*/ 1421051 h 4687251"/>
              <a:gd name="connsiteX38127" fmla="*/ 7019290 w 8079933"/>
              <a:gd name="connsiteY38127" fmla="*/ 1425166 h 4687251"/>
              <a:gd name="connsiteX38128" fmla="*/ 7023306 w 8079933"/>
              <a:gd name="connsiteY38128" fmla="*/ 1426249 h 4687251"/>
              <a:gd name="connsiteX38129" fmla="*/ 7026344 w 8079933"/>
              <a:gd name="connsiteY38129" fmla="*/ 1423542 h 4687251"/>
              <a:gd name="connsiteX38130" fmla="*/ 7027212 w 8079933"/>
              <a:gd name="connsiteY38130" fmla="*/ 1427656 h 4687251"/>
              <a:gd name="connsiteX38131" fmla="*/ 7025042 w 8079933"/>
              <a:gd name="connsiteY38131" fmla="*/ 1430363 h 4687251"/>
              <a:gd name="connsiteX38132" fmla="*/ 7025801 w 8079933"/>
              <a:gd name="connsiteY38132" fmla="*/ 1436101 h 4687251"/>
              <a:gd name="connsiteX38133" fmla="*/ 7029816 w 8079933"/>
              <a:gd name="connsiteY38133" fmla="*/ 1439674 h 4687251"/>
              <a:gd name="connsiteX38134" fmla="*/ 7026886 w 8079933"/>
              <a:gd name="connsiteY38134" fmla="*/ 1442056 h 4687251"/>
              <a:gd name="connsiteX38135" fmla="*/ 7026886 w 8079933"/>
              <a:gd name="connsiteY38135" fmla="*/ 1445521 h 4687251"/>
              <a:gd name="connsiteX38136" fmla="*/ 7028840 w 8079933"/>
              <a:gd name="connsiteY38136" fmla="*/ 1449636 h 4687251"/>
              <a:gd name="connsiteX38137" fmla="*/ 7026344 w 8079933"/>
              <a:gd name="connsiteY38137" fmla="*/ 1454507 h 4687251"/>
              <a:gd name="connsiteX38138" fmla="*/ 7028297 w 8079933"/>
              <a:gd name="connsiteY38138" fmla="*/ 1456132 h 4687251"/>
              <a:gd name="connsiteX38139" fmla="*/ 7028297 w 8079933"/>
              <a:gd name="connsiteY38139" fmla="*/ 1459379 h 4687251"/>
              <a:gd name="connsiteX38140" fmla="*/ 7027212 w 8079933"/>
              <a:gd name="connsiteY38140" fmla="*/ 1461761 h 4687251"/>
              <a:gd name="connsiteX38141" fmla="*/ 7029708 w 8079933"/>
              <a:gd name="connsiteY38141" fmla="*/ 1463385 h 4687251"/>
              <a:gd name="connsiteX38142" fmla="*/ 7026778 w 8079933"/>
              <a:gd name="connsiteY38142" fmla="*/ 1466850 h 4687251"/>
              <a:gd name="connsiteX38143" fmla="*/ 7030576 w 8079933"/>
              <a:gd name="connsiteY38143" fmla="*/ 1478218 h 4687251"/>
              <a:gd name="connsiteX38144" fmla="*/ 7028948 w 8079933"/>
              <a:gd name="connsiteY38144" fmla="*/ 1481467 h 4687251"/>
              <a:gd name="connsiteX38145" fmla="*/ 7029816 w 8079933"/>
              <a:gd name="connsiteY38145" fmla="*/ 1490345 h 4687251"/>
              <a:gd name="connsiteX38146" fmla="*/ 7030576 w 8079933"/>
              <a:gd name="connsiteY38146" fmla="*/ 1493809 h 4687251"/>
              <a:gd name="connsiteX38147" fmla="*/ 7030576 w 8079933"/>
              <a:gd name="connsiteY38147" fmla="*/ 1497815 h 4687251"/>
              <a:gd name="connsiteX38148" fmla="*/ 7035460 w 8079933"/>
              <a:gd name="connsiteY38148" fmla="*/ 1513515 h 4687251"/>
              <a:gd name="connsiteX38149" fmla="*/ 7039258 w 8079933"/>
              <a:gd name="connsiteY38149" fmla="*/ 1514273 h 4687251"/>
              <a:gd name="connsiteX38150" fmla="*/ 7043598 w 8079933"/>
              <a:gd name="connsiteY38150" fmla="*/ 1511241 h 4687251"/>
              <a:gd name="connsiteX38151" fmla="*/ 7043598 w 8079933"/>
              <a:gd name="connsiteY38151" fmla="*/ 1513407 h 4687251"/>
              <a:gd name="connsiteX38152" fmla="*/ 7040017 w 8079933"/>
              <a:gd name="connsiteY38152" fmla="*/ 1519578 h 4687251"/>
              <a:gd name="connsiteX38153" fmla="*/ 7038064 w 8079933"/>
              <a:gd name="connsiteY38153" fmla="*/ 1521743 h 4687251"/>
              <a:gd name="connsiteX38154" fmla="*/ 7040451 w 8079933"/>
              <a:gd name="connsiteY38154" fmla="*/ 1525858 h 4687251"/>
              <a:gd name="connsiteX38155" fmla="*/ 7042621 w 8079933"/>
              <a:gd name="connsiteY38155" fmla="*/ 1525858 h 4687251"/>
              <a:gd name="connsiteX38156" fmla="*/ 7049349 w 8079933"/>
              <a:gd name="connsiteY38156" fmla="*/ 1533220 h 4687251"/>
              <a:gd name="connsiteX38157" fmla="*/ 7049349 w 8079933"/>
              <a:gd name="connsiteY38157" fmla="*/ 1542207 h 4687251"/>
              <a:gd name="connsiteX38158" fmla="*/ 7050977 w 8079933"/>
              <a:gd name="connsiteY38158" fmla="*/ 1545455 h 4687251"/>
              <a:gd name="connsiteX38159" fmla="*/ 7050977 w 8079933"/>
              <a:gd name="connsiteY38159" fmla="*/ 1548486 h 4687251"/>
              <a:gd name="connsiteX38160" fmla="*/ 7052605 w 8079933"/>
              <a:gd name="connsiteY38160" fmla="*/ 1560071 h 4687251"/>
              <a:gd name="connsiteX38161" fmla="*/ 7056186 w 8079933"/>
              <a:gd name="connsiteY38161" fmla="*/ 1560071 h 4687251"/>
              <a:gd name="connsiteX38162" fmla="*/ 7056186 w 8079933"/>
              <a:gd name="connsiteY38162" fmla="*/ 1565702 h 4687251"/>
              <a:gd name="connsiteX38163" fmla="*/ 7054558 w 8079933"/>
              <a:gd name="connsiteY38163" fmla="*/ 1567542 h 4687251"/>
              <a:gd name="connsiteX38164" fmla="*/ 7054558 w 8079933"/>
              <a:gd name="connsiteY38164" fmla="*/ 1574796 h 4687251"/>
              <a:gd name="connsiteX38165" fmla="*/ 7056946 w 8079933"/>
              <a:gd name="connsiteY38165" fmla="*/ 1579344 h 4687251"/>
              <a:gd name="connsiteX38166" fmla="*/ 7056946 w 8079933"/>
              <a:gd name="connsiteY38166" fmla="*/ 1585623 h 4687251"/>
              <a:gd name="connsiteX38167" fmla="*/ 7050109 w 8079933"/>
              <a:gd name="connsiteY38167" fmla="*/ 1592877 h 4687251"/>
              <a:gd name="connsiteX38168" fmla="*/ 7050109 w 8079933"/>
              <a:gd name="connsiteY38168" fmla="*/ 1599698 h 4687251"/>
              <a:gd name="connsiteX38169" fmla="*/ 7047070 w 8079933"/>
              <a:gd name="connsiteY38169" fmla="*/ 1607277 h 4687251"/>
              <a:gd name="connsiteX38170" fmla="*/ 7047939 w 8079933"/>
              <a:gd name="connsiteY38170" fmla="*/ 1615181 h 4687251"/>
              <a:gd name="connsiteX38171" fmla="*/ 7049240 w 8079933"/>
              <a:gd name="connsiteY38171" fmla="*/ 1615939 h 4687251"/>
              <a:gd name="connsiteX38172" fmla="*/ 7049240 w 8079933"/>
              <a:gd name="connsiteY38172" fmla="*/ 1622977 h 4687251"/>
              <a:gd name="connsiteX38173" fmla="*/ 7044683 w 8079933"/>
              <a:gd name="connsiteY38173" fmla="*/ 1627307 h 4687251"/>
              <a:gd name="connsiteX38174" fmla="*/ 7044683 w 8079933"/>
              <a:gd name="connsiteY38174" fmla="*/ 1633479 h 4687251"/>
              <a:gd name="connsiteX38175" fmla="*/ 7041210 w 8079933"/>
              <a:gd name="connsiteY38175" fmla="*/ 1641274 h 4687251"/>
              <a:gd name="connsiteX38176" fmla="*/ 7043164 w 8079933"/>
              <a:gd name="connsiteY38176" fmla="*/ 1641274 h 4687251"/>
              <a:gd name="connsiteX38177" fmla="*/ 7043164 w 8079933"/>
              <a:gd name="connsiteY38177" fmla="*/ 1644847 h 4687251"/>
              <a:gd name="connsiteX38178" fmla="*/ 7039040 w 8079933"/>
              <a:gd name="connsiteY38178" fmla="*/ 1649936 h 4687251"/>
              <a:gd name="connsiteX38179" fmla="*/ 7041536 w 8079933"/>
              <a:gd name="connsiteY38179" fmla="*/ 1660763 h 4687251"/>
              <a:gd name="connsiteX38180" fmla="*/ 7036436 w 8079933"/>
              <a:gd name="connsiteY38180" fmla="*/ 1665852 h 4687251"/>
              <a:gd name="connsiteX38181" fmla="*/ 7038064 w 8079933"/>
              <a:gd name="connsiteY38181" fmla="*/ 1672131 h 4687251"/>
              <a:gd name="connsiteX38182" fmla="*/ 7040451 w 8079933"/>
              <a:gd name="connsiteY38182" fmla="*/ 1672889 h 4687251"/>
              <a:gd name="connsiteX38183" fmla="*/ 7040451 w 8079933"/>
              <a:gd name="connsiteY38183" fmla="*/ 1677762 h 4687251"/>
              <a:gd name="connsiteX38184" fmla="*/ 7034700 w 8079933"/>
              <a:gd name="connsiteY38184" fmla="*/ 1684799 h 4687251"/>
              <a:gd name="connsiteX38185" fmla="*/ 7033614 w 8079933"/>
              <a:gd name="connsiteY38185" fmla="*/ 1690429 h 4687251"/>
              <a:gd name="connsiteX38186" fmla="*/ 7028731 w 8079933"/>
              <a:gd name="connsiteY38186" fmla="*/ 1694760 h 4687251"/>
              <a:gd name="connsiteX38187" fmla="*/ 7028731 w 8079933"/>
              <a:gd name="connsiteY38187" fmla="*/ 1699091 h 4687251"/>
              <a:gd name="connsiteX38188" fmla="*/ 7023848 w 8079933"/>
              <a:gd name="connsiteY38188" fmla="*/ 1705370 h 4687251"/>
              <a:gd name="connsiteX38189" fmla="*/ 7019290 w 8079933"/>
              <a:gd name="connsiteY38189" fmla="*/ 1725725 h 4687251"/>
              <a:gd name="connsiteX38190" fmla="*/ 7016577 w 8079933"/>
              <a:gd name="connsiteY38190" fmla="*/ 1727349 h 4687251"/>
              <a:gd name="connsiteX38191" fmla="*/ 7015709 w 8079933"/>
              <a:gd name="connsiteY38191" fmla="*/ 1732980 h 4687251"/>
              <a:gd name="connsiteX38192" fmla="*/ 7017662 w 8079933"/>
              <a:gd name="connsiteY38192" fmla="*/ 1734820 h 4687251"/>
              <a:gd name="connsiteX38193" fmla="*/ 7016794 w 8079933"/>
              <a:gd name="connsiteY38193" fmla="*/ 1737202 h 4687251"/>
              <a:gd name="connsiteX38194" fmla="*/ 7010284 w 8079933"/>
              <a:gd name="connsiteY38194" fmla="*/ 1741533 h 4687251"/>
              <a:gd name="connsiteX38195" fmla="*/ 7010284 w 8079933"/>
              <a:gd name="connsiteY38195" fmla="*/ 1746405 h 4687251"/>
              <a:gd name="connsiteX38196" fmla="*/ 7005942 w 8079933"/>
              <a:gd name="connsiteY38196" fmla="*/ 1748787 h 4687251"/>
              <a:gd name="connsiteX38197" fmla="*/ 7005942 w 8079933"/>
              <a:gd name="connsiteY38197" fmla="*/ 1756149 h 4687251"/>
              <a:gd name="connsiteX38198" fmla="*/ 7003447 w 8079933"/>
              <a:gd name="connsiteY38198" fmla="*/ 1756907 h 4687251"/>
              <a:gd name="connsiteX38199" fmla="*/ 7005834 w 8079933"/>
              <a:gd name="connsiteY38199" fmla="*/ 1761455 h 4687251"/>
              <a:gd name="connsiteX38200" fmla="*/ 7000192 w 8079933"/>
              <a:gd name="connsiteY38200" fmla="*/ 1769359 h 4687251"/>
              <a:gd name="connsiteX38201" fmla="*/ 7000192 w 8079933"/>
              <a:gd name="connsiteY38201" fmla="*/ 1768059 h 4687251"/>
              <a:gd name="connsiteX38202" fmla="*/ 6996610 w 8079933"/>
              <a:gd name="connsiteY38202" fmla="*/ 1766977 h 4687251"/>
              <a:gd name="connsiteX38203" fmla="*/ 6998455 w 8079933"/>
              <a:gd name="connsiteY38203" fmla="*/ 1772065 h 4687251"/>
              <a:gd name="connsiteX38204" fmla="*/ 6998455 w 8079933"/>
              <a:gd name="connsiteY38204" fmla="*/ 1778995 h 4687251"/>
              <a:gd name="connsiteX38205" fmla="*/ 6992812 w 8079933"/>
              <a:gd name="connsiteY38205" fmla="*/ 1781485 h 4687251"/>
              <a:gd name="connsiteX38206" fmla="*/ 6994223 w 8079933"/>
              <a:gd name="connsiteY38206" fmla="*/ 1783975 h 4687251"/>
              <a:gd name="connsiteX38207" fmla="*/ 6986301 w 8079933"/>
              <a:gd name="connsiteY38207" fmla="*/ 1793719 h 4687251"/>
              <a:gd name="connsiteX38208" fmla="*/ 6982720 w 8079933"/>
              <a:gd name="connsiteY38208" fmla="*/ 1799891 h 4687251"/>
              <a:gd name="connsiteX38209" fmla="*/ 6979247 w 8079933"/>
              <a:gd name="connsiteY38209" fmla="*/ 1799891 h 4687251"/>
              <a:gd name="connsiteX38210" fmla="*/ 6978380 w 8079933"/>
              <a:gd name="connsiteY38210" fmla="*/ 1803139 h 4687251"/>
              <a:gd name="connsiteX38211" fmla="*/ 6971652 w 8079933"/>
              <a:gd name="connsiteY38211" fmla="*/ 1804222 h 4687251"/>
              <a:gd name="connsiteX38212" fmla="*/ 6966226 w 8079933"/>
              <a:gd name="connsiteY38212" fmla="*/ 1809852 h 4687251"/>
              <a:gd name="connsiteX38213" fmla="*/ 6963296 w 8079933"/>
              <a:gd name="connsiteY38213" fmla="*/ 1806820 h 4687251"/>
              <a:gd name="connsiteX38214" fmla="*/ 6960583 w 8079933"/>
              <a:gd name="connsiteY38214" fmla="*/ 1809526 h 4687251"/>
              <a:gd name="connsiteX38215" fmla="*/ 6953204 w 8079933"/>
              <a:gd name="connsiteY38215" fmla="*/ 1804871 h 4687251"/>
              <a:gd name="connsiteX38216" fmla="*/ 6945825 w 8079933"/>
              <a:gd name="connsiteY38216" fmla="*/ 1802922 h 4687251"/>
              <a:gd name="connsiteX38217" fmla="*/ 6945825 w 8079933"/>
              <a:gd name="connsiteY38217" fmla="*/ 1794477 h 4687251"/>
              <a:gd name="connsiteX38218" fmla="*/ 6943112 w 8079933"/>
              <a:gd name="connsiteY38218" fmla="*/ 1792095 h 4687251"/>
              <a:gd name="connsiteX38219" fmla="*/ 6937360 w 8079933"/>
              <a:gd name="connsiteY38219" fmla="*/ 1794585 h 4687251"/>
              <a:gd name="connsiteX38220" fmla="*/ 6932260 w 8079933"/>
              <a:gd name="connsiteY38220" fmla="*/ 1791338 h 4687251"/>
              <a:gd name="connsiteX38221" fmla="*/ 6930849 w 8079933"/>
              <a:gd name="connsiteY38221" fmla="*/ 1793828 h 4687251"/>
              <a:gd name="connsiteX38222" fmla="*/ 6930849 w 8079933"/>
              <a:gd name="connsiteY38222" fmla="*/ 1798158 h 4687251"/>
              <a:gd name="connsiteX38223" fmla="*/ 6926508 w 8079933"/>
              <a:gd name="connsiteY38223" fmla="*/ 1801623 h 4687251"/>
              <a:gd name="connsiteX38224" fmla="*/ 6926508 w 8079933"/>
              <a:gd name="connsiteY38224" fmla="*/ 1810285 h 4687251"/>
              <a:gd name="connsiteX38225" fmla="*/ 6923470 w 8079933"/>
              <a:gd name="connsiteY38225" fmla="*/ 1812450 h 4687251"/>
              <a:gd name="connsiteX38226" fmla="*/ 6921517 w 8079933"/>
              <a:gd name="connsiteY38226" fmla="*/ 1820354 h 4687251"/>
              <a:gd name="connsiteX38227" fmla="*/ 6919563 w 8079933"/>
              <a:gd name="connsiteY38227" fmla="*/ 1818189 h 4687251"/>
              <a:gd name="connsiteX38228" fmla="*/ 6913378 w 8079933"/>
              <a:gd name="connsiteY38228" fmla="*/ 1819271 h 4687251"/>
              <a:gd name="connsiteX38229" fmla="*/ 6911750 w 8079933"/>
              <a:gd name="connsiteY38229" fmla="*/ 1826309 h 4687251"/>
              <a:gd name="connsiteX38230" fmla="*/ 6910122 w 8079933"/>
              <a:gd name="connsiteY38230" fmla="*/ 1826309 h 4687251"/>
              <a:gd name="connsiteX38231" fmla="*/ 6909492 w 8079933"/>
              <a:gd name="connsiteY38231" fmla="*/ 1825432 h 4687251"/>
              <a:gd name="connsiteX38232" fmla="*/ 6901768 w 8079933"/>
              <a:gd name="connsiteY38232" fmla="*/ 1833995 h 4687251"/>
              <a:gd name="connsiteX38233" fmla="*/ 6898838 w 8079933"/>
              <a:gd name="connsiteY38233" fmla="*/ 1833454 h 4687251"/>
              <a:gd name="connsiteX38234" fmla="*/ 6898729 w 8079933"/>
              <a:gd name="connsiteY38234" fmla="*/ 1839193 h 4687251"/>
              <a:gd name="connsiteX38235" fmla="*/ 6895474 w 8079933"/>
              <a:gd name="connsiteY38235" fmla="*/ 1851102 h 4687251"/>
              <a:gd name="connsiteX38236" fmla="*/ 6895799 w 8079933"/>
              <a:gd name="connsiteY38236" fmla="*/ 1857923 h 4687251"/>
              <a:gd name="connsiteX38237" fmla="*/ 6900683 w 8079933"/>
              <a:gd name="connsiteY38237" fmla="*/ 1861821 h 4687251"/>
              <a:gd name="connsiteX38238" fmla="*/ 6900791 w 8079933"/>
              <a:gd name="connsiteY38238" fmla="*/ 1874164 h 4687251"/>
              <a:gd name="connsiteX38239" fmla="*/ 6904698 w 8079933"/>
              <a:gd name="connsiteY38239" fmla="*/ 1877087 h 4687251"/>
              <a:gd name="connsiteX38240" fmla="*/ 6902636 w 8079933"/>
              <a:gd name="connsiteY38240" fmla="*/ 1882717 h 4687251"/>
              <a:gd name="connsiteX38241" fmla="*/ 6896559 w 8079933"/>
              <a:gd name="connsiteY38241" fmla="*/ 1887914 h 4687251"/>
              <a:gd name="connsiteX38242" fmla="*/ 6897753 w 8079933"/>
              <a:gd name="connsiteY38242" fmla="*/ 1889754 h 4687251"/>
              <a:gd name="connsiteX38243" fmla="*/ 6885816 w 8079933"/>
              <a:gd name="connsiteY38243" fmla="*/ 1902206 h 4687251"/>
              <a:gd name="connsiteX38244" fmla="*/ 6887335 w 8079933"/>
              <a:gd name="connsiteY38244" fmla="*/ 1905778 h 4687251"/>
              <a:gd name="connsiteX38245" fmla="*/ 6883863 w 8079933"/>
              <a:gd name="connsiteY38245" fmla="*/ 1908810 h 4687251"/>
              <a:gd name="connsiteX38246" fmla="*/ 6882778 w 8079933"/>
              <a:gd name="connsiteY38246" fmla="*/ 1911409 h 4687251"/>
              <a:gd name="connsiteX38247" fmla="*/ 6877894 w 8079933"/>
              <a:gd name="connsiteY38247" fmla="*/ 1911192 h 4687251"/>
              <a:gd name="connsiteX38248" fmla="*/ 6873228 w 8079933"/>
              <a:gd name="connsiteY38248" fmla="*/ 1914224 h 4687251"/>
              <a:gd name="connsiteX38249" fmla="*/ 6871166 w 8079933"/>
              <a:gd name="connsiteY38249" fmla="*/ 1919529 h 4687251"/>
              <a:gd name="connsiteX38250" fmla="*/ 6864872 w 8079933"/>
              <a:gd name="connsiteY38250" fmla="*/ 1923427 h 4687251"/>
              <a:gd name="connsiteX38251" fmla="*/ 6864872 w 8079933"/>
              <a:gd name="connsiteY38251" fmla="*/ 1929382 h 4687251"/>
              <a:gd name="connsiteX38252" fmla="*/ 6866717 w 8079933"/>
              <a:gd name="connsiteY38252" fmla="*/ 1934904 h 4687251"/>
              <a:gd name="connsiteX38253" fmla="*/ 6864330 w 8079933"/>
              <a:gd name="connsiteY38253" fmla="*/ 1937394 h 4687251"/>
              <a:gd name="connsiteX38254" fmla="*/ 6865740 w 8079933"/>
              <a:gd name="connsiteY38254" fmla="*/ 1943673 h 4687251"/>
              <a:gd name="connsiteX38255" fmla="*/ 6874530 w 8079933"/>
              <a:gd name="connsiteY38255" fmla="*/ 1945298 h 4687251"/>
              <a:gd name="connsiteX38256" fmla="*/ 6877026 w 8079933"/>
              <a:gd name="connsiteY38256" fmla="*/ 1949304 h 4687251"/>
              <a:gd name="connsiteX38257" fmla="*/ 6894498 w 8079933"/>
              <a:gd name="connsiteY38257" fmla="*/ 1959373 h 4687251"/>
              <a:gd name="connsiteX38258" fmla="*/ 6897318 w 8079933"/>
              <a:gd name="connsiteY38258" fmla="*/ 1964569 h 4687251"/>
              <a:gd name="connsiteX38259" fmla="*/ 6897317 w 8079933"/>
              <a:gd name="connsiteY38259" fmla="*/ 1964570 h 4687251"/>
              <a:gd name="connsiteX38260" fmla="*/ 6906107 w 8079933"/>
              <a:gd name="connsiteY38260" fmla="*/ 1980701 h 4687251"/>
              <a:gd name="connsiteX38261" fmla="*/ 6918912 w 8079933"/>
              <a:gd name="connsiteY38261" fmla="*/ 1994018 h 4687251"/>
              <a:gd name="connsiteX38262" fmla="*/ 6933019 w 8079933"/>
              <a:gd name="connsiteY38262" fmla="*/ 2011666 h 4687251"/>
              <a:gd name="connsiteX38263" fmla="*/ 6933453 w 8079933"/>
              <a:gd name="connsiteY38263" fmla="*/ 2022385 h 4687251"/>
              <a:gd name="connsiteX38264" fmla="*/ 6937034 w 8079933"/>
              <a:gd name="connsiteY38264" fmla="*/ 2026174 h 4687251"/>
              <a:gd name="connsiteX38265" fmla="*/ 6940289 w 8079933"/>
              <a:gd name="connsiteY38265" fmla="*/ 2042957 h 4687251"/>
              <a:gd name="connsiteX38266" fmla="*/ 6940507 w 8079933"/>
              <a:gd name="connsiteY38266" fmla="*/ 2048478 h 4687251"/>
              <a:gd name="connsiteX38267" fmla="*/ 6942134 w 8079933"/>
              <a:gd name="connsiteY38267" fmla="*/ 2046746 h 4687251"/>
              <a:gd name="connsiteX38268" fmla="*/ 6943762 w 8079933"/>
              <a:gd name="connsiteY38268" fmla="*/ 2046746 h 4687251"/>
              <a:gd name="connsiteX38269" fmla="*/ 6944956 w 8079933"/>
              <a:gd name="connsiteY38269" fmla="*/ 2064935 h 4687251"/>
              <a:gd name="connsiteX38270" fmla="*/ 6941700 w 8079933"/>
              <a:gd name="connsiteY38270" fmla="*/ 2067426 h 4687251"/>
              <a:gd name="connsiteX38271" fmla="*/ 6943220 w 8079933"/>
              <a:gd name="connsiteY38271" fmla="*/ 2070024 h 4687251"/>
              <a:gd name="connsiteX38272" fmla="*/ 6936708 w 8079933"/>
              <a:gd name="connsiteY38272" fmla="*/ 2078253 h 4687251"/>
              <a:gd name="connsiteX38273" fmla="*/ 6931282 w 8079933"/>
              <a:gd name="connsiteY38273" fmla="*/ 2078253 h 4687251"/>
              <a:gd name="connsiteX38274" fmla="*/ 6925423 w 8079933"/>
              <a:gd name="connsiteY38274" fmla="*/ 2081934 h 4687251"/>
              <a:gd name="connsiteX38275" fmla="*/ 6927267 w 8079933"/>
              <a:gd name="connsiteY38275" fmla="*/ 2085290 h 4687251"/>
              <a:gd name="connsiteX38276" fmla="*/ 6924880 w 8079933"/>
              <a:gd name="connsiteY38276" fmla="*/ 2086914 h 4687251"/>
              <a:gd name="connsiteX38277" fmla="*/ 6923144 w 8079933"/>
              <a:gd name="connsiteY38277" fmla="*/ 2084749 h 4687251"/>
              <a:gd name="connsiteX38278" fmla="*/ 6918586 w 8079933"/>
              <a:gd name="connsiteY38278" fmla="*/ 2086589 h 4687251"/>
              <a:gd name="connsiteX38279" fmla="*/ 6916199 w 8079933"/>
              <a:gd name="connsiteY38279" fmla="*/ 2081934 h 4687251"/>
              <a:gd name="connsiteX38280" fmla="*/ 6913703 w 8079933"/>
              <a:gd name="connsiteY38280" fmla="*/ 2081501 h 4687251"/>
              <a:gd name="connsiteX38281" fmla="*/ 6910447 w 8079933"/>
              <a:gd name="connsiteY38281" fmla="*/ 2085506 h 4687251"/>
              <a:gd name="connsiteX38282" fmla="*/ 6909687 w 8079933"/>
              <a:gd name="connsiteY38282" fmla="*/ 2083016 h 4687251"/>
              <a:gd name="connsiteX38283" fmla="*/ 6905347 w 8079933"/>
              <a:gd name="connsiteY38283" fmla="*/ 2083883 h 4687251"/>
              <a:gd name="connsiteX38284" fmla="*/ 6894712 w 8079933"/>
              <a:gd name="connsiteY38284" fmla="*/ 2093086 h 4687251"/>
              <a:gd name="connsiteX38285" fmla="*/ 6891240 w 8079933"/>
              <a:gd name="connsiteY38285" fmla="*/ 2097958 h 4687251"/>
              <a:gd name="connsiteX38286" fmla="*/ 6889070 w 8079933"/>
              <a:gd name="connsiteY38286" fmla="*/ 2095034 h 4687251"/>
              <a:gd name="connsiteX38287" fmla="*/ 6888744 w 8079933"/>
              <a:gd name="connsiteY38287" fmla="*/ 2101206 h 4687251"/>
              <a:gd name="connsiteX38288" fmla="*/ 6885271 w 8079933"/>
              <a:gd name="connsiteY38288" fmla="*/ 2103696 h 4687251"/>
              <a:gd name="connsiteX38289" fmla="*/ 6885489 w 8079933"/>
              <a:gd name="connsiteY38289" fmla="*/ 2099582 h 4687251"/>
              <a:gd name="connsiteX38290" fmla="*/ 6883644 w 8079933"/>
              <a:gd name="connsiteY38290" fmla="*/ 2098175 h 4687251"/>
              <a:gd name="connsiteX38291" fmla="*/ 6882558 w 8079933"/>
              <a:gd name="connsiteY38291" fmla="*/ 2092653 h 4687251"/>
              <a:gd name="connsiteX38292" fmla="*/ 6879195 w 8079933"/>
              <a:gd name="connsiteY38292" fmla="*/ 2092328 h 4687251"/>
              <a:gd name="connsiteX38293" fmla="*/ 6873335 w 8079933"/>
              <a:gd name="connsiteY38293" fmla="*/ 2081176 h 4687251"/>
              <a:gd name="connsiteX38294" fmla="*/ 6876481 w 8079933"/>
              <a:gd name="connsiteY38294" fmla="*/ 2080959 h 4687251"/>
              <a:gd name="connsiteX38295" fmla="*/ 6873986 w 8079933"/>
              <a:gd name="connsiteY38295" fmla="*/ 2076520 h 4687251"/>
              <a:gd name="connsiteX38296" fmla="*/ 6873986 w 8079933"/>
              <a:gd name="connsiteY38296" fmla="*/ 2071973 h 4687251"/>
              <a:gd name="connsiteX38297" fmla="*/ 6876807 w 8079933"/>
              <a:gd name="connsiteY38297" fmla="*/ 2070349 h 4687251"/>
              <a:gd name="connsiteX38298" fmla="*/ 6876590 w 8079933"/>
              <a:gd name="connsiteY38298" fmla="*/ 2066235 h 4687251"/>
              <a:gd name="connsiteX38299" fmla="*/ 6873335 w 8079933"/>
              <a:gd name="connsiteY38299" fmla="*/ 2063636 h 4687251"/>
              <a:gd name="connsiteX38300" fmla="*/ 6873551 w 8079933"/>
              <a:gd name="connsiteY38300" fmla="*/ 2060930 h 4687251"/>
              <a:gd name="connsiteX38301" fmla="*/ 6881365 w 8079933"/>
              <a:gd name="connsiteY38301" fmla="*/ 2055733 h 4687251"/>
              <a:gd name="connsiteX38302" fmla="*/ 6877133 w 8079933"/>
              <a:gd name="connsiteY38302" fmla="*/ 2047612 h 4687251"/>
              <a:gd name="connsiteX38303" fmla="*/ 6875397 w 8079933"/>
              <a:gd name="connsiteY38303" fmla="*/ 2049236 h 4687251"/>
              <a:gd name="connsiteX38304" fmla="*/ 6872684 w 8079933"/>
              <a:gd name="connsiteY38304" fmla="*/ 2047396 h 4687251"/>
              <a:gd name="connsiteX38305" fmla="*/ 6872467 w 8079933"/>
              <a:gd name="connsiteY38305" fmla="*/ 2037543 h 4687251"/>
              <a:gd name="connsiteX38306" fmla="*/ 6870079 w 8079933"/>
              <a:gd name="connsiteY38306" fmla="*/ 2032238 h 4687251"/>
              <a:gd name="connsiteX38307" fmla="*/ 6867366 w 8079933"/>
              <a:gd name="connsiteY38307" fmla="*/ 2033212 h 4687251"/>
              <a:gd name="connsiteX38308" fmla="*/ 6856948 w 8079933"/>
              <a:gd name="connsiteY38308" fmla="*/ 2028340 h 4687251"/>
              <a:gd name="connsiteX38309" fmla="*/ 6861832 w 8079933"/>
              <a:gd name="connsiteY38309" fmla="*/ 2021411 h 4687251"/>
              <a:gd name="connsiteX38310" fmla="*/ 6865196 w 8079933"/>
              <a:gd name="connsiteY38310" fmla="*/ 2022385 h 4687251"/>
              <a:gd name="connsiteX38311" fmla="*/ 6866824 w 8079933"/>
              <a:gd name="connsiteY38311" fmla="*/ 2018162 h 4687251"/>
              <a:gd name="connsiteX38312" fmla="*/ 6868451 w 8079933"/>
              <a:gd name="connsiteY38312" fmla="*/ 2020544 h 4687251"/>
              <a:gd name="connsiteX38313" fmla="*/ 6876481 w 8079933"/>
              <a:gd name="connsiteY38313" fmla="*/ 2023251 h 4687251"/>
              <a:gd name="connsiteX38314" fmla="*/ 6874528 w 8079933"/>
              <a:gd name="connsiteY38314" fmla="*/ 2019137 h 4687251"/>
              <a:gd name="connsiteX38315" fmla="*/ 6871055 w 8079933"/>
              <a:gd name="connsiteY38315" fmla="*/ 2014265 h 4687251"/>
              <a:gd name="connsiteX38316" fmla="*/ 6872684 w 8079933"/>
              <a:gd name="connsiteY38316" fmla="*/ 2011666 h 4687251"/>
              <a:gd name="connsiteX38317" fmla="*/ 6869428 w 8079933"/>
              <a:gd name="connsiteY38317" fmla="*/ 2011017 h 4687251"/>
              <a:gd name="connsiteX38318" fmla="*/ 6863243 w 8079933"/>
              <a:gd name="connsiteY38318" fmla="*/ 2002138 h 4687251"/>
              <a:gd name="connsiteX38319" fmla="*/ 6853802 w 8079933"/>
              <a:gd name="connsiteY38319" fmla="*/ 1994235 h 4687251"/>
              <a:gd name="connsiteX38320" fmla="*/ 6857274 w 8079933"/>
              <a:gd name="connsiteY38320" fmla="*/ 1992395 h 4687251"/>
              <a:gd name="connsiteX38321" fmla="*/ 6850112 w 8079933"/>
              <a:gd name="connsiteY38321" fmla="*/ 1992178 h 4687251"/>
              <a:gd name="connsiteX38322" fmla="*/ 6846097 w 8079933"/>
              <a:gd name="connsiteY38322" fmla="*/ 1995101 h 4687251"/>
              <a:gd name="connsiteX38323" fmla="*/ 6845446 w 8079933"/>
              <a:gd name="connsiteY38323" fmla="*/ 1994452 h 4687251"/>
              <a:gd name="connsiteX38324" fmla="*/ 6845446 w 8079933"/>
              <a:gd name="connsiteY38324" fmla="*/ 1994451 h 4687251"/>
              <a:gd name="connsiteX38325" fmla="*/ 6840130 w 8079933"/>
              <a:gd name="connsiteY38325" fmla="*/ 1988606 h 4687251"/>
              <a:gd name="connsiteX38326" fmla="*/ 6837417 w 8079933"/>
              <a:gd name="connsiteY38326" fmla="*/ 1990446 h 4687251"/>
              <a:gd name="connsiteX38327" fmla="*/ 6838611 w 8079933"/>
              <a:gd name="connsiteY38327" fmla="*/ 1992936 h 4687251"/>
              <a:gd name="connsiteX38328" fmla="*/ 6834270 w 8079933"/>
              <a:gd name="connsiteY38328" fmla="*/ 1998567 h 4687251"/>
              <a:gd name="connsiteX38329" fmla="*/ 6831450 w 8079933"/>
              <a:gd name="connsiteY38329" fmla="*/ 1996510 h 4687251"/>
              <a:gd name="connsiteX38330" fmla="*/ 6826566 w 8079933"/>
              <a:gd name="connsiteY38330" fmla="*/ 2000516 h 4687251"/>
              <a:gd name="connsiteX38331" fmla="*/ 6824504 w 8079933"/>
              <a:gd name="connsiteY38331" fmla="*/ 1997267 h 4687251"/>
              <a:gd name="connsiteX38332" fmla="*/ 6828844 w 8079933"/>
              <a:gd name="connsiteY38332" fmla="*/ 1990446 h 4687251"/>
              <a:gd name="connsiteX38333" fmla="*/ 6823853 w 8079933"/>
              <a:gd name="connsiteY38333" fmla="*/ 1988606 h 4687251"/>
              <a:gd name="connsiteX38334" fmla="*/ 6819621 w 8079933"/>
              <a:gd name="connsiteY38334" fmla="*/ 1990988 h 4687251"/>
              <a:gd name="connsiteX38335" fmla="*/ 6817559 w 8079933"/>
              <a:gd name="connsiteY38335" fmla="*/ 1990446 h 4687251"/>
              <a:gd name="connsiteX38336" fmla="*/ 6818753 w 8079933"/>
              <a:gd name="connsiteY38336" fmla="*/ 1986116 h 4687251"/>
              <a:gd name="connsiteX38337" fmla="*/ 6819079 w 8079933"/>
              <a:gd name="connsiteY38337" fmla="*/ 1976155 h 4687251"/>
              <a:gd name="connsiteX38338" fmla="*/ 6822333 w 8079933"/>
              <a:gd name="connsiteY38338" fmla="*/ 1969442 h 4687251"/>
              <a:gd name="connsiteX38339" fmla="*/ 6828519 w 8079933"/>
              <a:gd name="connsiteY38339" fmla="*/ 1968900 h 4687251"/>
              <a:gd name="connsiteX38340" fmla="*/ 6833619 w 8079933"/>
              <a:gd name="connsiteY38340" fmla="*/ 1964245 h 4687251"/>
              <a:gd name="connsiteX38341" fmla="*/ 6828844 w 8079933"/>
              <a:gd name="connsiteY38341" fmla="*/ 1966627 h 4687251"/>
              <a:gd name="connsiteX38342" fmla="*/ 6820055 w 8079933"/>
              <a:gd name="connsiteY38342" fmla="*/ 1966410 h 4687251"/>
              <a:gd name="connsiteX38343" fmla="*/ 6818427 w 8079933"/>
              <a:gd name="connsiteY38343" fmla="*/ 1964461 h 4687251"/>
              <a:gd name="connsiteX38344" fmla="*/ 6817993 w 8079933"/>
              <a:gd name="connsiteY38344" fmla="*/ 1953093 h 4687251"/>
              <a:gd name="connsiteX38345" fmla="*/ 6823853 w 8079933"/>
              <a:gd name="connsiteY38345" fmla="*/ 1943673 h 4687251"/>
              <a:gd name="connsiteX38346" fmla="*/ 6820706 w 8079933"/>
              <a:gd name="connsiteY38346" fmla="*/ 1939126 h 4687251"/>
              <a:gd name="connsiteX38347" fmla="*/ 6823962 w 8079933"/>
              <a:gd name="connsiteY38347" fmla="*/ 1936961 h 4687251"/>
              <a:gd name="connsiteX38348" fmla="*/ 6825264 w 8079933"/>
              <a:gd name="connsiteY38348" fmla="*/ 1932847 h 4687251"/>
              <a:gd name="connsiteX38349" fmla="*/ 6822225 w 8079933"/>
              <a:gd name="connsiteY38349" fmla="*/ 1933171 h 4687251"/>
              <a:gd name="connsiteX38350" fmla="*/ 6819621 w 8079933"/>
              <a:gd name="connsiteY38350" fmla="*/ 1936419 h 4687251"/>
              <a:gd name="connsiteX38351" fmla="*/ 6811916 w 8079933"/>
              <a:gd name="connsiteY38351" fmla="*/ 1937502 h 4687251"/>
              <a:gd name="connsiteX38352" fmla="*/ 6809746 w 8079933"/>
              <a:gd name="connsiteY38352" fmla="*/ 1934470 h 4687251"/>
              <a:gd name="connsiteX38353" fmla="*/ 6804428 w 8079933"/>
              <a:gd name="connsiteY38353" fmla="*/ 1931547 h 4687251"/>
              <a:gd name="connsiteX38354" fmla="*/ 6804103 w 8079933"/>
              <a:gd name="connsiteY38354" fmla="*/ 1935228 h 4687251"/>
              <a:gd name="connsiteX38355" fmla="*/ 6800739 w 8079933"/>
              <a:gd name="connsiteY38355" fmla="*/ 1937502 h 4687251"/>
              <a:gd name="connsiteX38356" fmla="*/ 6798460 w 8079933"/>
              <a:gd name="connsiteY38356" fmla="*/ 1929057 h 4687251"/>
              <a:gd name="connsiteX38357" fmla="*/ 6797375 w 8079933"/>
              <a:gd name="connsiteY38357" fmla="*/ 1929598 h 4687251"/>
              <a:gd name="connsiteX38358" fmla="*/ 6796724 w 8079933"/>
              <a:gd name="connsiteY38358" fmla="*/ 1927974 h 4687251"/>
              <a:gd name="connsiteX38359" fmla="*/ 6796724 w 8079933"/>
              <a:gd name="connsiteY38359" fmla="*/ 1927649 h 4687251"/>
              <a:gd name="connsiteX38360" fmla="*/ 6796724 w 8079933"/>
              <a:gd name="connsiteY38360" fmla="*/ 1914224 h 4687251"/>
              <a:gd name="connsiteX38361" fmla="*/ 6803018 w 8079933"/>
              <a:gd name="connsiteY38361" fmla="*/ 1909027 h 4687251"/>
              <a:gd name="connsiteX38362" fmla="*/ 6805731 w 8079933"/>
              <a:gd name="connsiteY38362" fmla="*/ 1902855 h 4687251"/>
              <a:gd name="connsiteX38363" fmla="*/ 6805731 w 8079933"/>
              <a:gd name="connsiteY38363" fmla="*/ 1898741 h 4687251"/>
              <a:gd name="connsiteX38364" fmla="*/ 6811916 w 8079933"/>
              <a:gd name="connsiteY38364" fmla="*/ 1894627 h 4687251"/>
              <a:gd name="connsiteX38365" fmla="*/ 6816148 w 8079933"/>
              <a:gd name="connsiteY38365" fmla="*/ 1886723 h 4687251"/>
              <a:gd name="connsiteX38366" fmla="*/ 6820597 w 8079933"/>
              <a:gd name="connsiteY38366" fmla="*/ 1884666 h 4687251"/>
              <a:gd name="connsiteX38367" fmla="*/ 6824395 w 8079933"/>
              <a:gd name="connsiteY38367" fmla="*/ 1872973 h 4687251"/>
              <a:gd name="connsiteX38368" fmla="*/ 6826458 w 8079933"/>
              <a:gd name="connsiteY38368" fmla="*/ 1868750 h 4687251"/>
              <a:gd name="connsiteX38369" fmla="*/ 6826131 w 8079933"/>
              <a:gd name="connsiteY38369" fmla="*/ 1866368 h 4687251"/>
              <a:gd name="connsiteX38370" fmla="*/ 6826458 w 8079933"/>
              <a:gd name="connsiteY38370" fmla="*/ 1858464 h 4687251"/>
              <a:gd name="connsiteX38371" fmla="*/ 6830906 w 8079933"/>
              <a:gd name="connsiteY38371" fmla="*/ 1852943 h 4687251"/>
              <a:gd name="connsiteX38372" fmla="*/ 6830905 w 8079933"/>
              <a:gd name="connsiteY38372" fmla="*/ 1852941 h 4687251"/>
              <a:gd name="connsiteX38373" fmla="*/ 6826456 w 8079933"/>
              <a:gd name="connsiteY38373" fmla="*/ 1858463 h 4687251"/>
              <a:gd name="connsiteX38374" fmla="*/ 6826130 w 8079933"/>
              <a:gd name="connsiteY38374" fmla="*/ 1866367 h 4687251"/>
              <a:gd name="connsiteX38375" fmla="*/ 6826456 w 8079933"/>
              <a:gd name="connsiteY38375" fmla="*/ 1868749 h 4687251"/>
              <a:gd name="connsiteX38376" fmla="*/ 6824394 w 8079933"/>
              <a:gd name="connsiteY38376" fmla="*/ 1872972 h 4687251"/>
              <a:gd name="connsiteX38377" fmla="*/ 6820597 w 8079933"/>
              <a:gd name="connsiteY38377" fmla="*/ 1884665 h 4687251"/>
              <a:gd name="connsiteX38378" fmla="*/ 6816147 w 8079933"/>
              <a:gd name="connsiteY38378" fmla="*/ 1886722 h 4687251"/>
              <a:gd name="connsiteX38379" fmla="*/ 6811915 w 8079933"/>
              <a:gd name="connsiteY38379" fmla="*/ 1894626 h 4687251"/>
              <a:gd name="connsiteX38380" fmla="*/ 6805729 w 8079933"/>
              <a:gd name="connsiteY38380" fmla="*/ 1898740 h 4687251"/>
              <a:gd name="connsiteX38381" fmla="*/ 6805729 w 8079933"/>
              <a:gd name="connsiteY38381" fmla="*/ 1902855 h 4687251"/>
              <a:gd name="connsiteX38382" fmla="*/ 6803016 w 8079933"/>
              <a:gd name="connsiteY38382" fmla="*/ 1909026 h 4687251"/>
              <a:gd name="connsiteX38383" fmla="*/ 6796722 w 8079933"/>
              <a:gd name="connsiteY38383" fmla="*/ 1914223 h 4687251"/>
              <a:gd name="connsiteX38384" fmla="*/ 6796722 w 8079933"/>
              <a:gd name="connsiteY38384" fmla="*/ 1927648 h 4687251"/>
              <a:gd name="connsiteX38385" fmla="*/ 6795204 w 8079933"/>
              <a:gd name="connsiteY38385" fmla="*/ 1923534 h 4687251"/>
              <a:gd name="connsiteX38386" fmla="*/ 6788258 w 8079933"/>
              <a:gd name="connsiteY38386" fmla="*/ 1931546 h 4687251"/>
              <a:gd name="connsiteX38387" fmla="*/ 6783050 w 8079933"/>
              <a:gd name="connsiteY38387" fmla="*/ 1931871 h 4687251"/>
              <a:gd name="connsiteX38388" fmla="*/ 6780337 w 8079933"/>
              <a:gd name="connsiteY38388" fmla="*/ 1932737 h 4687251"/>
              <a:gd name="connsiteX38389" fmla="*/ 6777841 w 8079933"/>
              <a:gd name="connsiteY38389" fmla="*/ 1930571 h 4687251"/>
              <a:gd name="connsiteX38390" fmla="*/ 6771438 w 8079933"/>
              <a:gd name="connsiteY38390" fmla="*/ 1935119 h 4687251"/>
              <a:gd name="connsiteX38391" fmla="*/ 6766013 w 8079933"/>
              <a:gd name="connsiteY38391" fmla="*/ 1935119 h 4687251"/>
              <a:gd name="connsiteX38392" fmla="*/ 6765144 w 8079933"/>
              <a:gd name="connsiteY38392" fmla="*/ 1939991 h 4687251"/>
              <a:gd name="connsiteX38393" fmla="*/ 6762106 w 8079933"/>
              <a:gd name="connsiteY38393" fmla="*/ 1939667 h 4687251"/>
              <a:gd name="connsiteX38394" fmla="*/ 6751580 w 8079933"/>
              <a:gd name="connsiteY38394" fmla="*/ 1947570 h 4687251"/>
              <a:gd name="connsiteX38395" fmla="*/ 6745611 w 8079933"/>
              <a:gd name="connsiteY38395" fmla="*/ 1952009 h 4687251"/>
              <a:gd name="connsiteX38396" fmla="*/ 6747564 w 8079933"/>
              <a:gd name="connsiteY38396" fmla="*/ 1956773 h 4687251"/>
              <a:gd name="connsiteX38397" fmla="*/ 6746913 w 8079933"/>
              <a:gd name="connsiteY38397" fmla="*/ 1958614 h 4687251"/>
              <a:gd name="connsiteX38398" fmla="*/ 6740077 w 8079933"/>
              <a:gd name="connsiteY38398" fmla="*/ 1961537 h 4687251"/>
              <a:gd name="connsiteX38399" fmla="*/ 6736279 w 8079933"/>
              <a:gd name="connsiteY38399" fmla="*/ 1967384 h 4687251"/>
              <a:gd name="connsiteX38400" fmla="*/ 6733457 w 8079933"/>
              <a:gd name="connsiteY38400" fmla="*/ 1967275 h 4687251"/>
              <a:gd name="connsiteX38401" fmla="*/ 6730636 w 8079933"/>
              <a:gd name="connsiteY38401" fmla="*/ 1970956 h 4687251"/>
              <a:gd name="connsiteX38402" fmla="*/ 6727598 w 8079933"/>
              <a:gd name="connsiteY38402" fmla="*/ 1971498 h 4687251"/>
              <a:gd name="connsiteX38403" fmla="*/ 6726947 w 8079933"/>
              <a:gd name="connsiteY38403" fmla="*/ 1967709 h 4687251"/>
              <a:gd name="connsiteX38404" fmla="*/ 6723257 w 8079933"/>
              <a:gd name="connsiteY38404" fmla="*/ 1965110 h 4687251"/>
              <a:gd name="connsiteX38405" fmla="*/ 6725210 w 8079933"/>
              <a:gd name="connsiteY38405" fmla="*/ 1961537 h 4687251"/>
              <a:gd name="connsiteX38406" fmla="*/ 6729116 w 8079933"/>
              <a:gd name="connsiteY38406" fmla="*/ 1961320 h 4687251"/>
              <a:gd name="connsiteX38407" fmla="*/ 6731504 w 8079933"/>
              <a:gd name="connsiteY38407" fmla="*/ 1957964 h 4687251"/>
              <a:gd name="connsiteX38408" fmla="*/ 6736930 w 8079933"/>
              <a:gd name="connsiteY38408" fmla="*/ 1958722 h 4687251"/>
              <a:gd name="connsiteX38409" fmla="*/ 6738883 w 8079933"/>
              <a:gd name="connsiteY38409" fmla="*/ 1957315 h 4687251"/>
              <a:gd name="connsiteX38410" fmla="*/ 6739426 w 8079933"/>
              <a:gd name="connsiteY38410" fmla="*/ 1954608 h 4687251"/>
              <a:gd name="connsiteX38411" fmla="*/ 6736713 w 8079933"/>
              <a:gd name="connsiteY38411" fmla="*/ 1954066 h 4687251"/>
              <a:gd name="connsiteX38412" fmla="*/ 6736170 w 8079933"/>
              <a:gd name="connsiteY38412" fmla="*/ 1951685 h 4687251"/>
              <a:gd name="connsiteX38413" fmla="*/ 6740728 w 8079933"/>
              <a:gd name="connsiteY38413" fmla="*/ 1948653 h 4687251"/>
              <a:gd name="connsiteX38414" fmla="*/ 6742898 w 8079933"/>
              <a:gd name="connsiteY38414" fmla="*/ 1944322 h 4687251"/>
              <a:gd name="connsiteX38415" fmla="*/ 6737255 w 8079933"/>
              <a:gd name="connsiteY38415" fmla="*/ 1948653 h 4687251"/>
              <a:gd name="connsiteX38416" fmla="*/ 6732047 w 8079933"/>
              <a:gd name="connsiteY38416" fmla="*/ 1950385 h 4687251"/>
              <a:gd name="connsiteX38417" fmla="*/ 6729876 w 8079933"/>
              <a:gd name="connsiteY38417" fmla="*/ 1947895 h 4687251"/>
              <a:gd name="connsiteX38418" fmla="*/ 6729876 w 8079933"/>
              <a:gd name="connsiteY38418" fmla="*/ 1945080 h 4687251"/>
              <a:gd name="connsiteX38419" fmla="*/ 6731829 w 8079933"/>
              <a:gd name="connsiteY38419" fmla="*/ 1944105 h 4687251"/>
              <a:gd name="connsiteX38420" fmla="*/ 6732264 w 8079933"/>
              <a:gd name="connsiteY38420" fmla="*/ 1940857 h 4687251"/>
              <a:gd name="connsiteX38421" fmla="*/ 6726947 w 8079933"/>
              <a:gd name="connsiteY38421" fmla="*/ 1935660 h 4687251"/>
              <a:gd name="connsiteX38422" fmla="*/ 6728031 w 8079933"/>
              <a:gd name="connsiteY38422" fmla="*/ 1929489 h 4687251"/>
              <a:gd name="connsiteX38423" fmla="*/ 6727489 w 8079933"/>
              <a:gd name="connsiteY38423" fmla="*/ 1927648 h 4687251"/>
              <a:gd name="connsiteX38424" fmla="*/ 6732047 w 8079933"/>
              <a:gd name="connsiteY38424" fmla="*/ 1927540 h 4687251"/>
              <a:gd name="connsiteX38425" fmla="*/ 6732589 w 8079933"/>
              <a:gd name="connsiteY38425" fmla="*/ 1921585 h 4687251"/>
              <a:gd name="connsiteX38426" fmla="*/ 6737690 w 8079933"/>
              <a:gd name="connsiteY38426" fmla="*/ 1915089 h 4687251"/>
              <a:gd name="connsiteX38427" fmla="*/ 6738775 w 8079933"/>
              <a:gd name="connsiteY38427" fmla="*/ 1911841 h 4687251"/>
              <a:gd name="connsiteX38428" fmla="*/ 6741596 w 8079933"/>
              <a:gd name="connsiteY38428" fmla="*/ 1910217 h 4687251"/>
              <a:gd name="connsiteX38429" fmla="*/ 6741054 w 8079933"/>
              <a:gd name="connsiteY38429" fmla="*/ 1906211 h 4687251"/>
              <a:gd name="connsiteX38430" fmla="*/ 6730419 w 8079933"/>
              <a:gd name="connsiteY38430" fmla="*/ 1899931 h 4687251"/>
              <a:gd name="connsiteX38431" fmla="*/ 6723039 w 8079933"/>
              <a:gd name="connsiteY38431" fmla="*/ 1891053 h 4687251"/>
              <a:gd name="connsiteX38432" fmla="*/ 6721412 w 8079933"/>
              <a:gd name="connsiteY38432" fmla="*/ 1895708 h 4687251"/>
              <a:gd name="connsiteX38433" fmla="*/ 6717180 w 8079933"/>
              <a:gd name="connsiteY38433" fmla="*/ 1895708 h 4687251"/>
              <a:gd name="connsiteX38434" fmla="*/ 6715010 w 8079933"/>
              <a:gd name="connsiteY38434" fmla="*/ 1894301 h 4687251"/>
              <a:gd name="connsiteX38435" fmla="*/ 6709584 w 8079933"/>
              <a:gd name="connsiteY38435" fmla="*/ 1894518 h 4687251"/>
              <a:gd name="connsiteX38436" fmla="*/ 6706545 w 8079933"/>
              <a:gd name="connsiteY38436" fmla="*/ 1899714 h 4687251"/>
              <a:gd name="connsiteX38437" fmla="*/ 6704592 w 8079933"/>
              <a:gd name="connsiteY38437" fmla="*/ 1900797 h 4687251"/>
              <a:gd name="connsiteX38438" fmla="*/ 6703615 w 8079933"/>
              <a:gd name="connsiteY38438" fmla="*/ 1906211 h 4687251"/>
              <a:gd name="connsiteX38439" fmla="*/ 6698732 w 8079933"/>
              <a:gd name="connsiteY38439" fmla="*/ 1911624 h 4687251"/>
              <a:gd name="connsiteX38440" fmla="*/ 6698190 w 8079933"/>
              <a:gd name="connsiteY38440" fmla="*/ 1921044 h 4687251"/>
              <a:gd name="connsiteX38441" fmla="*/ 6695694 w 8079933"/>
              <a:gd name="connsiteY38441" fmla="*/ 1921585 h 4687251"/>
              <a:gd name="connsiteX38442" fmla="*/ 6691895 w 8079933"/>
              <a:gd name="connsiteY38442" fmla="*/ 1928081 h 4687251"/>
              <a:gd name="connsiteX38443" fmla="*/ 6686795 w 8079933"/>
              <a:gd name="connsiteY38443" fmla="*/ 1928190 h 4687251"/>
              <a:gd name="connsiteX38444" fmla="*/ 6678330 w 8079933"/>
              <a:gd name="connsiteY38444" fmla="*/ 1932954 h 4687251"/>
              <a:gd name="connsiteX38445" fmla="*/ 6675835 w 8079933"/>
              <a:gd name="connsiteY38445" fmla="*/ 1945080 h 4687251"/>
              <a:gd name="connsiteX38446" fmla="*/ 6673991 w 8079933"/>
              <a:gd name="connsiteY38446" fmla="*/ 1947787 h 4687251"/>
              <a:gd name="connsiteX38447" fmla="*/ 6675401 w 8079933"/>
              <a:gd name="connsiteY38447" fmla="*/ 1948977 h 4687251"/>
              <a:gd name="connsiteX38448" fmla="*/ 6676377 w 8079933"/>
              <a:gd name="connsiteY38448" fmla="*/ 1954716 h 4687251"/>
              <a:gd name="connsiteX38449" fmla="*/ 6672905 w 8079933"/>
              <a:gd name="connsiteY38449" fmla="*/ 1954716 h 4687251"/>
              <a:gd name="connsiteX38450" fmla="*/ 6674315 w 8079933"/>
              <a:gd name="connsiteY38450" fmla="*/ 1957098 h 4687251"/>
              <a:gd name="connsiteX38451" fmla="*/ 6672038 w 8079933"/>
              <a:gd name="connsiteY38451" fmla="*/ 1962187 h 4687251"/>
              <a:gd name="connsiteX38452" fmla="*/ 6665852 w 8079933"/>
              <a:gd name="connsiteY38452" fmla="*/ 1962403 h 4687251"/>
              <a:gd name="connsiteX38453" fmla="*/ 6658038 w 8079933"/>
              <a:gd name="connsiteY38453" fmla="*/ 1962511 h 4687251"/>
              <a:gd name="connsiteX38454" fmla="*/ 6649031 w 8079933"/>
              <a:gd name="connsiteY38454" fmla="*/ 1959264 h 4687251"/>
              <a:gd name="connsiteX38455" fmla="*/ 6648489 w 8079933"/>
              <a:gd name="connsiteY38455" fmla="*/ 1961970 h 4687251"/>
              <a:gd name="connsiteX38456" fmla="*/ 6645559 w 8079933"/>
              <a:gd name="connsiteY38456" fmla="*/ 1964136 h 4687251"/>
              <a:gd name="connsiteX38457" fmla="*/ 6645016 w 8079933"/>
              <a:gd name="connsiteY38457" fmla="*/ 1969008 h 4687251"/>
              <a:gd name="connsiteX38458" fmla="*/ 6644365 w 8079933"/>
              <a:gd name="connsiteY38458" fmla="*/ 1971607 h 4687251"/>
              <a:gd name="connsiteX38459" fmla="*/ 6644473 w 8079933"/>
              <a:gd name="connsiteY38459" fmla="*/ 1973880 h 4687251"/>
              <a:gd name="connsiteX38460" fmla="*/ 6642303 w 8079933"/>
              <a:gd name="connsiteY38460" fmla="*/ 1975937 h 4687251"/>
              <a:gd name="connsiteX38461" fmla="*/ 6644908 w 8079933"/>
              <a:gd name="connsiteY38461" fmla="*/ 1981459 h 4687251"/>
              <a:gd name="connsiteX38462" fmla="*/ 6645450 w 8079933"/>
              <a:gd name="connsiteY38462" fmla="*/ 1986764 h 4687251"/>
              <a:gd name="connsiteX38463" fmla="*/ 6650442 w 8079933"/>
              <a:gd name="connsiteY38463" fmla="*/ 1989579 h 4687251"/>
              <a:gd name="connsiteX38464" fmla="*/ 6658473 w 8079933"/>
              <a:gd name="connsiteY38464" fmla="*/ 1994993 h 4687251"/>
              <a:gd name="connsiteX38465" fmla="*/ 6659340 w 8079933"/>
              <a:gd name="connsiteY38465" fmla="*/ 1997916 h 4687251"/>
              <a:gd name="connsiteX38466" fmla="*/ 6662922 w 8079933"/>
              <a:gd name="connsiteY38466" fmla="*/ 2004088 h 4687251"/>
              <a:gd name="connsiteX38467" fmla="*/ 6663139 w 8079933"/>
              <a:gd name="connsiteY38467" fmla="*/ 2001813 h 4687251"/>
              <a:gd name="connsiteX38468" fmla="*/ 6664766 w 8079933"/>
              <a:gd name="connsiteY38468" fmla="*/ 2004412 h 4687251"/>
              <a:gd name="connsiteX38469" fmla="*/ 6666719 w 8079933"/>
              <a:gd name="connsiteY38469" fmla="*/ 2001489 h 4687251"/>
              <a:gd name="connsiteX38470" fmla="*/ 6669432 w 8079933"/>
              <a:gd name="connsiteY38470" fmla="*/ 2001489 h 4687251"/>
              <a:gd name="connsiteX38471" fmla="*/ 6669866 w 8079933"/>
              <a:gd name="connsiteY38471" fmla="*/ 2003871 h 4687251"/>
              <a:gd name="connsiteX38472" fmla="*/ 6672362 w 8079933"/>
              <a:gd name="connsiteY38472" fmla="*/ 2002355 h 4687251"/>
              <a:gd name="connsiteX38473" fmla="*/ 6678657 w 8079933"/>
              <a:gd name="connsiteY38473" fmla="*/ 2002247 h 4687251"/>
              <a:gd name="connsiteX38474" fmla="*/ 6679742 w 8079933"/>
              <a:gd name="connsiteY38474" fmla="*/ 2006686 h 4687251"/>
              <a:gd name="connsiteX38475" fmla="*/ 6679742 w 8079933"/>
              <a:gd name="connsiteY38475" fmla="*/ 2013182 h 4687251"/>
              <a:gd name="connsiteX38476" fmla="*/ 6686253 w 8079933"/>
              <a:gd name="connsiteY38476" fmla="*/ 2025850 h 4687251"/>
              <a:gd name="connsiteX38477" fmla="*/ 6692655 w 8079933"/>
              <a:gd name="connsiteY38477" fmla="*/ 2026066 h 4687251"/>
              <a:gd name="connsiteX38478" fmla="*/ 6697104 w 8079933"/>
              <a:gd name="connsiteY38478" fmla="*/ 2023360 h 4687251"/>
              <a:gd name="connsiteX38479" fmla="*/ 6701879 w 8079933"/>
              <a:gd name="connsiteY38479" fmla="*/ 2025092 h 4687251"/>
              <a:gd name="connsiteX38480" fmla="*/ 6704049 w 8079933"/>
              <a:gd name="connsiteY38480" fmla="*/ 2023143 h 4687251"/>
              <a:gd name="connsiteX38481" fmla="*/ 6706545 w 8079933"/>
              <a:gd name="connsiteY38481" fmla="*/ 2018704 h 4687251"/>
              <a:gd name="connsiteX38482" fmla="*/ 6704375 w 8079933"/>
              <a:gd name="connsiteY38482" fmla="*/ 2015780 h 4687251"/>
              <a:gd name="connsiteX38483" fmla="*/ 6703289 w 8079933"/>
              <a:gd name="connsiteY38483" fmla="*/ 2015023 h 4687251"/>
              <a:gd name="connsiteX38484" fmla="*/ 6709801 w 8079933"/>
              <a:gd name="connsiteY38484" fmla="*/ 2012533 h 4687251"/>
              <a:gd name="connsiteX38485" fmla="*/ 6713056 w 8079933"/>
              <a:gd name="connsiteY38485" fmla="*/ 2009826 h 4687251"/>
              <a:gd name="connsiteX38486" fmla="*/ 6713056 w 8079933"/>
              <a:gd name="connsiteY38486" fmla="*/ 2005495 h 4687251"/>
              <a:gd name="connsiteX38487" fmla="*/ 6711103 w 8079933"/>
              <a:gd name="connsiteY38487" fmla="*/ 2003871 h 4687251"/>
              <a:gd name="connsiteX38488" fmla="*/ 6716854 w 8079933"/>
              <a:gd name="connsiteY38488" fmla="*/ 2003654 h 4687251"/>
              <a:gd name="connsiteX38489" fmla="*/ 6727706 w 8079933"/>
              <a:gd name="connsiteY38489" fmla="*/ 1998566 h 4687251"/>
              <a:gd name="connsiteX38490" fmla="*/ 6729116 w 8079933"/>
              <a:gd name="connsiteY38490" fmla="*/ 2000623 h 4687251"/>
              <a:gd name="connsiteX38491" fmla="*/ 6731829 w 8079933"/>
              <a:gd name="connsiteY38491" fmla="*/ 2001706 h 4687251"/>
              <a:gd name="connsiteX38492" fmla="*/ 6734542 w 8079933"/>
              <a:gd name="connsiteY38492" fmla="*/ 2005819 h 4687251"/>
              <a:gd name="connsiteX38493" fmla="*/ 6737472 w 8079933"/>
              <a:gd name="connsiteY38493" fmla="*/ 2007119 h 4687251"/>
              <a:gd name="connsiteX38494" fmla="*/ 6740511 w 8079933"/>
              <a:gd name="connsiteY38494" fmla="*/ 2009826 h 4687251"/>
              <a:gd name="connsiteX38495" fmla="*/ 6755703 w 8079933"/>
              <a:gd name="connsiteY38495" fmla="*/ 2009284 h 4687251"/>
              <a:gd name="connsiteX38496" fmla="*/ 6757765 w 8079933"/>
              <a:gd name="connsiteY38496" fmla="*/ 2007119 h 4687251"/>
              <a:gd name="connsiteX38497" fmla="*/ 6762974 w 8079933"/>
              <a:gd name="connsiteY38497" fmla="*/ 2006903 h 4687251"/>
              <a:gd name="connsiteX38498" fmla="*/ 6762648 w 8079933"/>
              <a:gd name="connsiteY38498" fmla="*/ 2008851 h 4687251"/>
              <a:gd name="connsiteX38499" fmla="*/ 6769267 w 8079933"/>
              <a:gd name="connsiteY38499" fmla="*/ 2008743 h 4687251"/>
              <a:gd name="connsiteX38500" fmla="*/ 6774911 w 8079933"/>
              <a:gd name="connsiteY38500" fmla="*/ 2007660 h 4687251"/>
              <a:gd name="connsiteX38501" fmla="*/ 6777949 w 8079933"/>
              <a:gd name="connsiteY38501" fmla="*/ 2009068 h 4687251"/>
              <a:gd name="connsiteX38502" fmla="*/ 6772740 w 8079933"/>
              <a:gd name="connsiteY38502" fmla="*/ 2010692 h 4687251"/>
              <a:gd name="connsiteX38503" fmla="*/ 6772415 w 8079933"/>
              <a:gd name="connsiteY38503" fmla="*/ 2013399 h 4687251"/>
              <a:gd name="connsiteX38504" fmla="*/ 6776322 w 8079933"/>
              <a:gd name="connsiteY38504" fmla="*/ 2019029 h 4687251"/>
              <a:gd name="connsiteX38505" fmla="*/ 6773825 w 8079933"/>
              <a:gd name="connsiteY38505" fmla="*/ 2019029 h 4687251"/>
              <a:gd name="connsiteX38506" fmla="*/ 6770787 w 8079933"/>
              <a:gd name="connsiteY38506" fmla="*/ 2020653 h 4687251"/>
              <a:gd name="connsiteX38507" fmla="*/ 6771330 w 8079933"/>
              <a:gd name="connsiteY38507" fmla="*/ 2025633 h 4687251"/>
              <a:gd name="connsiteX38508" fmla="*/ 6775128 w 8079933"/>
              <a:gd name="connsiteY38508" fmla="*/ 2026392 h 4687251"/>
              <a:gd name="connsiteX38509" fmla="*/ 6775128 w 8079933"/>
              <a:gd name="connsiteY38509" fmla="*/ 2028557 h 4687251"/>
              <a:gd name="connsiteX38510" fmla="*/ 6769159 w 8079933"/>
              <a:gd name="connsiteY38510" fmla="*/ 2033645 h 4687251"/>
              <a:gd name="connsiteX38511" fmla="*/ 6763300 w 8079933"/>
              <a:gd name="connsiteY38511" fmla="*/ 2029639 h 4687251"/>
              <a:gd name="connsiteX38512" fmla="*/ 6762757 w 8079933"/>
              <a:gd name="connsiteY38512" fmla="*/ 2027149 h 4687251"/>
              <a:gd name="connsiteX38513" fmla="*/ 6760587 w 8079933"/>
              <a:gd name="connsiteY38513" fmla="*/ 2029856 h 4687251"/>
              <a:gd name="connsiteX38514" fmla="*/ 6758851 w 8079933"/>
              <a:gd name="connsiteY38514" fmla="*/ 2026933 h 4687251"/>
              <a:gd name="connsiteX38515" fmla="*/ 6753750 w 8079933"/>
              <a:gd name="connsiteY38515" fmla="*/ 2033645 h 4687251"/>
              <a:gd name="connsiteX38516" fmla="*/ 6750712 w 8079933"/>
              <a:gd name="connsiteY38516" fmla="*/ 2033645 h 4687251"/>
              <a:gd name="connsiteX38517" fmla="*/ 6746371 w 8079933"/>
              <a:gd name="connsiteY38517" fmla="*/ 2037218 h 4687251"/>
              <a:gd name="connsiteX38518" fmla="*/ 6742030 w 8079933"/>
              <a:gd name="connsiteY38518" fmla="*/ 2037110 h 4687251"/>
              <a:gd name="connsiteX38519" fmla="*/ 6740945 w 8079933"/>
              <a:gd name="connsiteY38519" fmla="*/ 2039925 h 4687251"/>
              <a:gd name="connsiteX38520" fmla="*/ 6736930 w 8079933"/>
              <a:gd name="connsiteY38520" fmla="*/ 2036894 h 4687251"/>
              <a:gd name="connsiteX38521" fmla="*/ 6731504 w 8079933"/>
              <a:gd name="connsiteY38521" fmla="*/ 2037543 h 4687251"/>
              <a:gd name="connsiteX38522" fmla="*/ 6736930 w 8079933"/>
              <a:gd name="connsiteY38522" fmla="*/ 2041008 h 4687251"/>
              <a:gd name="connsiteX38523" fmla="*/ 6737472 w 8079933"/>
              <a:gd name="connsiteY38523" fmla="*/ 2044798 h 4687251"/>
              <a:gd name="connsiteX38524" fmla="*/ 6731504 w 8079933"/>
              <a:gd name="connsiteY38524" fmla="*/ 2045880 h 4687251"/>
              <a:gd name="connsiteX38525" fmla="*/ 6731287 w 8079933"/>
              <a:gd name="connsiteY38525" fmla="*/ 2050969 h 4687251"/>
              <a:gd name="connsiteX38526" fmla="*/ 6724125 w 8079933"/>
              <a:gd name="connsiteY38526" fmla="*/ 2050535 h 4687251"/>
              <a:gd name="connsiteX38527" fmla="*/ 6720326 w 8079933"/>
              <a:gd name="connsiteY38527" fmla="*/ 2054758 h 4687251"/>
              <a:gd name="connsiteX38528" fmla="*/ 6722497 w 8079933"/>
              <a:gd name="connsiteY38528" fmla="*/ 2057573 h 4687251"/>
              <a:gd name="connsiteX38529" fmla="*/ 6726947 w 8079933"/>
              <a:gd name="connsiteY38529" fmla="*/ 2060388 h 4687251"/>
              <a:gd name="connsiteX38530" fmla="*/ 6722606 w 8079933"/>
              <a:gd name="connsiteY38530" fmla="*/ 2065369 h 4687251"/>
              <a:gd name="connsiteX38531" fmla="*/ 6720326 w 8079933"/>
              <a:gd name="connsiteY38531" fmla="*/ 2063961 h 4687251"/>
              <a:gd name="connsiteX38532" fmla="*/ 6715986 w 8079933"/>
              <a:gd name="connsiteY38532" fmla="*/ 2070998 h 4687251"/>
              <a:gd name="connsiteX38533" fmla="*/ 6712514 w 8079933"/>
              <a:gd name="connsiteY38533" fmla="*/ 2072081 h 4687251"/>
              <a:gd name="connsiteX38534" fmla="*/ 6710886 w 8079933"/>
              <a:gd name="connsiteY38534" fmla="*/ 2070998 h 4687251"/>
              <a:gd name="connsiteX38535" fmla="*/ 6709584 w 8079933"/>
              <a:gd name="connsiteY38535" fmla="*/ 2077820 h 4687251"/>
              <a:gd name="connsiteX38536" fmla="*/ 6711645 w 8079933"/>
              <a:gd name="connsiteY38536" fmla="*/ 2083234 h 4687251"/>
              <a:gd name="connsiteX38537" fmla="*/ 6709584 w 8079933"/>
              <a:gd name="connsiteY38537" fmla="*/ 2091354 h 4687251"/>
              <a:gd name="connsiteX38538" fmla="*/ 6709801 w 8079933"/>
              <a:gd name="connsiteY38538" fmla="*/ 2103263 h 4687251"/>
              <a:gd name="connsiteX38539" fmla="*/ 6711645 w 8079933"/>
              <a:gd name="connsiteY38539" fmla="*/ 2103155 h 4687251"/>
              <a:gd name="connsiteX38540" fmla="*/ 6723908 w 8079933"/>
              <a:gd name="connsiteY38540" fmla="*/ 2108893 h 4687251"/>
              <a:gd name="connsiteX38541" fmla="*/ 6723908 w 8079933"/>
              <a:gd name="connsiteY38541" fmla="*/ 2112358 h 4687251"/>
              <a:gd name="connsiteX38542" fmla="*/ 6727380 w 8079933"/>
              <a:gd name="connsiteY38542" fmla="*/ 2110301 h 4687251"/>
              <a:gd name="connsiteX38543" fmla="*/ 6740511 w 8079933"/>
              <a:gd name="connsiteY38543" fmla="*/ 2117014 h 4687251"/>
              <a:gd name="connsiteX38544" fmla="*/ 6747781 w 8079933"/>
              <a:gd name="connsiteY38544" fmla="*/ 2131955 h 4687251"/>
              <a:gd name="connsiteX38545" fmla="*/ 6749409 w 8079933"/>
              <a:gd name="connsiteY38545" fmla="*/ 2132388 h 4687251"/>
              <a:gd name="connsiteX38546" fmla="*/ 6747022 w 8079933"/>
              <a:gd name="connsiteY38546" fmla="*/ 2137910 h 4687251"/>
              <a:gd name="connsiteX38547" fmla="*/ 6751797 w 8079933"/>
              <a:gd name="connsiteY38547" fmla="*/ 2139534 h 4687251"/>
              <a:gd name="connsiteX38548" fmla="*/ 6752339 w 8079933"/>
              <a:gd name="connsiteY38548" fmla="*/ 2146572 h 4687251"/>
              <a:gd name="connsiteX38549" fmla="*/ 6761129 w 8079933"/>
              <a:gd name="connsiteY38549" fmla="*/ 2153068 h 4687251"/>
              <a:gd name="connsiteX38550" fmla="*/ 6761346 w 8079933"/>
              <a:gd name="connsiteY38550" fmla="*/ 2160105 h 4687251"/>
              <a:gd name="connsiteX38551" fmla="*/ 6767640 w 8079933"/>
              <a:gd name="connsiteY38551" fmla="*/ 2169092 h 4687251"/>
              <a:gd name="connsiteX38552" fmla="*/ 6772415 w 8079933"/>
              <a:gd name="connsiteY38552" fmla="*/ 2171149 h 4687251"/>
              <a:gd name="connsiteX38553" fmla="*/ 6777298 w 8079933"/>
              <a:gd name="connsiteY38553" fmla="*/ 2170825 h 4687251"/>
              <a:gd name="connsiteX38554" fmla="*/ 6779794 w 8079933"/>
              <a:gd name="connsiteY38554" fmla="*/ 2172773 h 4687251"/>
              <a:gd name="connsiteX38555" fmla="*/ 6779794 w 8079933"/>
              <a:gd name="connsiteY38555" fmla="*/ 2174505 h 4687251"/>
              <a:gd name="connsiteX38556" fmla="*/ 6785436 w 8079933"/>
              <a:gd name="connsiteY38556" fmla="*/ 2181435 h 4687251"/>
              <a:gd name="connsiteX38557" fmla="*/ 6788476 w 8079933"/>
              <a:gd name="connsiteY38557" fmla="*/ 2182625 h 4687251"/>
              <a:gd name="connsiteX38558" fmla="*/ 6791948 w 8079933"/>
              <a:gd name="connsiteY38558" fmla="*/ 2189555 h 4687251"/>
              <a:gd name="connsiteX38559" fmla="*/ 6789235 w 8079933"/>
              <a:gd name="connsiteY38559" fmla="*/ 2191179 h 4687251"/>
              <a:gd name="connsiteX38560" fmla="*/ 6779468 w 8079933"/>
              <a:gd name="connsiteY38560" fmla="*/ 2187498 h 4687251"/>
              <a:gd name="connsiteX38561" fmla="*/ 6772523 w 8079933"/>
              <a:gd name="connsiteY38561" fmla="*/ 2191504 h 4687251"/>
              <a:gd name="connsiteX38562" fmla="*/ 6767857 w 8079933"/>
              <a:gd name="connsiteY38562" fmla="*/ 2186632 h 4687251"/>
              <a:gd name="connsiteX38563" fmla="*/ 6764277 w 8079933"/>
              <a:gd name="connsiteY38563" fmla="*/ 2186415 h 4687251"/>
              <a:gd name="connsiteX38564" fmla="*/ 6758958 w 8079933"/>
              <a:gd name="connsiteY38564" fmla="*/ 2182843 h 4687251"/>
              <a:gd name="connsiteX38565" fmla="*/ 6751363 w 8079933"/>
              <a:gd name="connsiteY38565" fmla="*/ 2181760 h 4687251"/>
              <a:gd name="connsiteX38566" fmla="*/ 6748324 w 8079933"/>
              <a:gd name="connsiteY38566" fmla="*/ 2185874 h 4687251"/>
              <a:gd name="connsiteX38567" fmla="*/ 6743658 w 8079933"/>
              <a:gd name="connsiteY38567" fmla="*/ 2185874 h 4687251"/>
              <a:gd name="connsiteX38568" fmla="*/ 6740511 w 8079933"/>
              <a:gd name="connsiteY38568" fmla="*/ 2183384 h 4687251"/>
              <a:gd name="connsiteX38569" fmla="*/ 6737690 w 8079933"/>
              <a:gd name="connsiteY38569" fmla="*/ 2176129 h 4687251"/>
              <a:gd name="connsiteX38570" fmla="*/ 6731287 w 8079933"/>
              <a:gd name="connsiteY38570" fmla="*/ 2178728 h 4687251"/>
              <a:gd name="connsiteX38571" fmla="*/ 6727706 w 8079933"/>
              <a:gd name="connsiteY38571" fmla="*/ 2177212 h 4687251"/>
              <a:gd name="connsiteX38572" fmla="*/ 6726404 w 8079933"/>
              <a:gd name="connsiteY38572" fmla="*/ 2178728 h 4687251"/>
              <a:gd name="connsiteX38573" fmla="*/ 6723365 w 8079933"/>
              <a:gd name="connsiteY38573" fmla="*/ 2178728 h 4687251"/>
              <a:gd name="connsiteX38574" fmla="*/ 6720435 w 8079933"/>
              <a:gd name="connsiteY38574" fmla="*/ 2177862 h 4687251"/>
              <a:gd name="connsiteX38575" fmla="*/ 6716095 w 8079933"/>
              <a:gd name="connsiteY38575" fmla="*/ 2179919 h 4687251"/>
              <a:gd name="connsiteX38576" fmla="*/ 6710561 w 8079933"/>
              <a:gd name="connsiteY38576" fmla="*/ 2190855 h 4687251"/>
              <a:gd name="connsiteX38577" fmla="*/ 6717180 w 8079933"/>
              <a:gd name="connsiteY38577" fmla="*/ 2182625 h 4687251"/>
              <a:gd name="connsiteX38578" fmla="*/ 6722497 w 8079933"/>
              <a:gd name="connsiteY38578" fmla="*/ 2180893 h 4687251"/>
              <a:gd name="connsiteX38579" fmla="*/ 6728574 w 8079933"/>
              <a:gd name="connsiteY38579" fmla="*/ 2181651 h 4687251"/>
              <a:gd name="connsiteX38580" fmla="*/ 6734000 w 8079933"/>
              <a:gd name="connsiteY38580" fmla="*/ 2179378 h 4687251"/>
              <a:gd name="connsiteX38581" fmla="*/ 6736604 w 8079933"/>
              <a:gd name="connsiteY38581" fmla="*/ 2180568 h 4687251"/>
              <a:gd name="connsiteX38582" fmla="*/ 6736713 w 8079933"/>
              <a:gd name="connsiteY38582" fmla="*/ 2183059 h 4687251"/>
              <a:gd name="connsiteX38583" fmla="*/ 6742898 w 8079933"/>
              <a:gd name="connsiteY38583" fmla="*/ 2188580 h 4687251"/>
              <a:gd name="connsiteX38584" fmla="*/ 6746696 w 8079933"/>
              <a:gd name="connsiteY38584" fmla="*/ 2189555 h 4687251"/>
              <a:gd name="connsiteX38585" fmla="*/ 6754510 w 8079933"/>
              <a:gd name="connsiteY38585" fmla="*/ 2184141 h 4687251"/>
              <a:gd name="connsiteX38586" fmla="*/ 6759176 w 8079933"/>
              <a:gd name="connsiteY38586" fmla="*/ 2184358 h 4687251"/>
              <a:gd name="connsiteX38587" fmla="*/ 6768726 w 8079933"/>
              <a:gd name="connsiteY38587" fmla="*/ 2193669 h 4687251"/>
              <a:gd name="connsiteX38588" fmla="*/ 6776755 w 8079933"/>
              <a:gd name="connsiteY38588" fmla="*/ 2198217 h 4687251"/>
              <a:gd name="connsiteX38589" fmla="*/ 6789018 w 8079933"/>
              <a:gd name="connsiteY38589" fmla="*/ 2205796 h 4687251"/>
              <a:gd name="connsiteX38590" fmla="*/ 6794769 w 8079933"/>
              <a:gd name="connsiteY38590" fmla="*/ 2215216 h 4687251"/>
              <a:gd name="connsiteX38591" fmla="*/ 6794661 w 8079933"/>
              <a:gd name="connsiteY38591" fmla="*/ 2218572 h 4687251"/>
              <a:gd name="connsiteX38592" fmla="*/ 6788150 w 8079933"/>
              <a:gd name="connsiteY38592" fmla="*/ 2219329 h 4687251"/>
              <a:gd name="connsiteX38593" fmla="*/ 6782507 w 8079933"/>
              <a:gd name="connsiteY38593" fmla="*/ 2225826 h 4687251"/>
              <a:gd name="connsiteX38594" fmla="*/ 6779577 w 8079933"/>
              <a:gd name="connsiteY38594" fmla="*/ 2225392 h 4687251"/>
              <a:gd name="connsiteX38595" fmla="*/ 6777298 w 8079933"/>
              <a:gd name="connsiteY38595" fmla="*/ 2227667 h 4687251"/>
              <a:gd name="connsiteX38596" fmla="*/ 6776864 w 8079933"/>
              <a:gd name="connsiteY38596" fmla="*/ 2231781 h 4687251"/>
              <a:gd name="connsiteX38597" fmla="*/ 6772740 w 8079933"/>
              <a:gd name="connsiteY38597" fmla="*/ 2233729 h 4687251"/>
              <a:gd name="connsiteX38598" fmla="*/ 6766990 w 8079933"/>
              <a:gd name="connsiteY38598" fmla="*/ 2230806 h 4687251"/>
              <a:gd name="connsiteX38599" fmla="*/ 6763733 w 8079933"/>
              <a:gd name="connsiteY38599" fmla="*/ 2233188 h 4687251"/>
              <a:gd name="connsiteX38600" fmla="*/ 6760587 w 8079933"/>
              <a:gd name="connsiteY38600" fmla="*/ 2233080 h 4687251"/>
              <a:gd name="connsiteX38601" fmla="*/ 6755160 w 8079933"/>
              <a:gd name="connsiteY38601" fmla="*/ 2237519 h 4687251"/>
              <a:gd name="connsiteX38602" fmla="*/ 6754618 w 8079933"/>
              <a:gd name="connsiteY38602" fmla="*/ 2243149 h 4687251"/>
              <a:gd name="connsiteX38603" fmla="*/ 6756137 w 8079933"/>
              <a:gd name="connsiteY38603" fmla="*/ 2239035 h 4687251"/>
              <a:gd name="connsiteX38604" fmla="*/ 6761020 w 8079933"/>
              <a:gd name="connsiteY38604" fmla="*/ 2235029 h 4687251"/>
              <a:gd name="connsiteX38605" fmla="*/ 6765904 w 8079933"/>
              <a:gd name="connsiteY38605" fmla="*/ 2233946 h 4687251"/>
              <a:gd name="connsiteX38606" fmla="*/ 6770787 w 8079933"/>
              <a:gd name="connsiteY38606" fmla="*/ 2240984 h 4687251"/>
              <a:gd name="connsiteX38607" fmla="*/ 6774585 w 8079933"/>
              <a:gd name="connsiteY38607" fmla="*/ 2242283 h 4687251"/>
              <a:gd name="connsiteX38608" fmla="*/ 6781964 w 8079933"/>
              <a:gd name="connsiteY38608" fmla="*/ 2235895 h 4687251"/>
              <a:gd name="connsiteX38609" fmla="*/ 6787607 w 8079933"/>
              <a:gd name="connsiteY38609" fmla="*/ 2236761 h 4687251"/>
              <a:gd name="connsiteX38610" fmla="*/ 6795312 w 8079933"/>
              <a:gd name="connsiteY38610" fmla="*/ 2246722 h 4687251"/>
              <a:gd name="connsiteX38611" fmla="*/ 6796614 w 8079933"/>
              <a:gd name="connsiteY38611" fmla="*/ 2244557 h 4687251"/>
              <a:gd name="connsiteX38612" fmla="*/ 6798567 w 8079933"/>
              <a:gd name="connsiteY38612" fmla="*/ 2247047 h 4687251"/>
              <a:gd name="connsiteX38613" fmla="*/ 6803342 w 8079933"/>
              <a:gd name="connsiteY38613" fmla="*/ 2247047 h 4687251"/>
              <a:gd name="connsiteX38614" fmla="*/ 6803993 w 8079933"/>
              <a:gd name="connsiteY38614" fmla="*/ 2248563 h 4687251"/>
              <a:gd name="connsiteX38615" fmla="*/ 6793359 w 8079933"/>
              <a:gd name="connsiteY38615" fmla="*/ 2258524 h 4687251"/>
              <a:gd name="connsiteX38616" fmla="*/ 6786847 w 8079933"/>
              <a:gd name="connsiteY38616" fmla="*/ 2259714 h 4687251"/>
              <a:gd name="connsiteX38617" fmla="*/ 6786847 w 8079933"/>
              <a:gd name="connsiteY38617" fmla="*/ 2264045 h 4687251"/>
              <a:gd name="connsiteX38618" fmla="*/ 6790103 w 8079933"/>
              <a:gd name="connsiteY38618" fmla="*/ 2264587 h 4687251"/>
              <a:gd name="connsiteX38619" fmla="*/ 6796288 w 8079933"/>
              <a:gd name="connsiteY38619" fmla="*/ 2259390 h 4687251"/>
              <a:gd name="connsiteX38620" fmla="*/ 6801280 w 8079933"/>
              <a:gd name="connsiteY38620" fmla="*/ 2260473 h 4687251"/>
              <a:gd name="connsiteX38621" fmla="*/ 6801280 w 8079933"/>
              <a:gd name="connsiteY38621" fmla="*/ 2258307 h 4687251"/>
              <a:gd name="connsiteX38622" fmla="*/ 6800412 w 8079933"/>
              <a:gd name="connsiteY38622" fmla="*/ 2257008 h 4687251"/>
              <a:gd name="connsiteX38623" fmla="*/ 6803342 w 8079933"/>
              <a:gd name="connsiteY38623" fmla="*/ 2254193 h 4687251"/>
              <a:gd name="connsiteX38624" fmla="*/ 6805838 w 8079933"/>
              <a:gd name="connsiteY38624" fmla="*/ 2255816 h 4687251"/>
              <a:gd name="connsiteX38625" fmla="*/ 6806489 w 8079933"/>
              <a:gd name="connsiteY38625" fmla="*/ 2262854 h 4687251"/>
              <a:gd name="connsiteX38626" fmla="*/ 6807900 w 8079933"/>
              <a:gd name="connsiteY38626" fmla="*/ 2265777 h 4687251"/>
              <a:gd name="connsiteX38627" fmla="*/ 6804970 w 8079933"/>
              <a:gd name="connsiteY38627" fmla="*/ 2268160 h 4687251"/>
              <a:gd name="connsiteX38628" fmla="*/ 6804644 w 8079933"/>
              <a:gd name="connsiteY38628" fmla="*/ 2266428 h 4687251"/>
              <a:gd name="connsiteX38629" fmla="*/ 6801823 w 8079933"/>
              <a:gd name="connsiteY38629" fmla="*/ 2264912 h 4687251"/>
              <a:gd name="connsiteX38630" fmla="*/ 6801171 w 8079933"/>
              <a:gd name="connsiteY38630" fmla="*/ 2267293 h 4687251"/>
              <a:gd name="connsiteX38631" fmla="*/ 6799761 w 8079933"/>
              <a:gd name="connsiteY38631" fmla="*/ 2268376 h 4687251"/>
              <a:gd name="connsiteX38632" fmla="*/ 6795095 w 8079933"/>
              <a:gd name="connsiteY38632" fmla="*/ 2267293 h 4687251"/>
              <a:gd name="connsiteX38633" fmla="*/ 6790103 w 8079933"/>
              <a:gd name="connsiteY38633" fmla="*/ 2271516 h 4687251"/>
              <a:gd name="connsiteX38634" fmla="*/ 6789669 w 8079933"/>
              <a:gd name="connsiteY38634" fmla="*/ 2273681 h 4687251"/>
              <a:gd name="connsiteX38635" fmla="*/ 6797482 w 8079933"/>
              <a:gd name="connsiteY38635" fmla="*/ 2273357 h 4687251"/>
              <a:gd name="connsiteX38636" fmla="*/ 6800087 w 8079933"/>
              <a:gd name="connsiteY38636" fmla="*/ 2275847 h 4687251"/>
              <a:gd name="connsiteX38637" fmla="*/ 6799435 w 8079933"/>
              <a:gd name="connsiteY38637" fmla="*/ 2277796 h 4687251"/>
              <a:gd name="connsiteX38638" fmla="*/ 6797808 w 8079933"/>
              <a:gd name="connsiteY38638" fmla="*/ 2277363 h 4687251"/>
              <a:gd name="connsiteX38639" fmla="*/ 6794552 w 8079933"/>
              <a:gd name="connsiteY38639" fmla="*/ 2280394 h 4687251"/>
              <a:gd name="connsiteX38640" fmla="*/ 6797590 w 8079933"/>
              <a:gd name="connsiteY38640" fmla="*/ 2281910 h 4687251"/>
              <a:gd name="connsiteX38641" fmla="*/ 6799761 w 8079933"/>
              <a:gd name="connsiteY38641" fmla="*/ 2284292 h 4687251"/>
              <a:gd name="connsiteX38642" fmla="*/ 6797048 w 8079933"/>
              <a:gd name="connsiteY38642" fmla="*/ 2286782 h 4687251"/>
              <a:gd name="connsiteX38643" fmla="*/ 6793792 w 8079933"/>
              <a:gd name="connsiteY38643" fmla="*/ 2286132 h 4687251"/>
              <a:gd name="connsiteX38644" fmla="*/ 6791839 w 8079933"/>
              <a:gd name="connsiteY38644" fmla="*/ 2287756 h 4687251"/>
              <a:gd name="connsiteX38645" fmla="*/ 6793901 w 8079933"/>
              <a:gd name="connsiteY38645" fmla="*/ 2289705 h 4687251"/>
              <a:gd name="connsiteX38646" fmla="*/ 6798350 w 8079933"/>
              <a:gd name="connsiteY38646" fmla="*/ 2290138 h 4687251"/>
              <a:gd name="connsiteX38647" fmla="*/ 6800954 w 8079933"/>
              <a:gd name="connsiteY38647" fmla="*/ 2294577 h 4687251"/>
              <a:gd name="connsiteX38648" fmla="*/ 6797699 w 8079933"/>
              <a:gd name="connsiteY38648" fmla="*/ 2296634 h 4687251"/>
              <a:gd name="connsiteX38649" fmla="*/ 6796722 w 8079933"/>
              <a:gd name="connsiteY38649" fmla="*/ 2301399 h 4687251"/>
              <a:gd name="connsiteX38650" fmla="*/ 6795528 w 8079933"/>
              <a:gd name="connsiteY38650" fmla="*/ 2299775 h 4687251"/>
              <a:gd name="connsiteX38651" fmla="*/ 6794661 w 8079933"/>
              <a:gd name="connsiteY38651" fmla="*/ 2295877 h 4687251"/>
              <a:gd name="connsiteX38652" fmla="*/ 6790754 w 8079933"/>
              <a:gd name="connsiteY38652" fmla="*/ 2296418 h 4687251"/>
              <a:gd name="connsiteX38653" fmla="*/ 6787173 w 8079933"/>
              <a:gd name="connsiteY38653" fmla="*/ 2304864 h 4687251"/>
              <a:gd name="connsiteX38654" fmla="*/ 6784460 w 8079933"/>
              <a:gd name="connsiteY38654" fmla="*/ 2307029 h 4687251"/>
              <a:gd name="connsiteX38655" fmla="*/ 6777949 w 8079933"/>
              <a:gd name="connsiteY38655" fmla="*/ 2304972 h 4687251"/>
              <a:gd name="connsiteX38656" fmla="*/ 6782507 w 8079933"/>
              <a:gd name="connsiteY38656" fmla="*/ 2307570 h 4687251"/>
              <a:gd name="connsiteX38657" fmla="*/ 6782507 w 8079933"/>
              <a:gd name="connsiteY38657" fmla="*/ 2310060 h 4687251"/>
              <a:gd name="connsiteX38658" fmla="*/ 6784351 w 8079933"/>
              <a:gd name="connsiteY38658" fmla="*/ 2312984 h 4687251"/>
              <a:gd name="connsiteX38659" fmla="*/ 6781638 w 8079933"/>
              <a:gd name="connsiteY38659" fmla="*/ 2314824 h 4687251"/>
              <a:gd name="connsiteX38660" fmla="*/ 6781205 w 8079933"/>
              <a:gd name="connsiteY38660" fmla="*/ 2318072 h 4687251"/>
              <a:gd name="connsiteX38661" fmla="*/ 6783267 w 8079933"/>
              <a:gd name="connsiteY38661" fmla="*/ 2320779 h 4687251"/>
              <a:gd name="connsiteX38662" fmla="*/ 6781638 w 8079933"/>
              <a:gd name="connsiteY38662" fmla="*/ 2322511 h 4687251"/>
              <a:gd name="connsiteX38663" fmla="*/ 6781747 w 8079933"/>
              <a:gd name="connsiteY38663" fmla="*/ 2326734 h 4687251"/>
              <a:gd name="connsiteX38664" fmla="*/ 6777841 w 8079933"/>
              <a:gd name="connsiteY38664" fmla="*/ 2328683 h 4687251"/>
              <a:gd name="connsiteX38665" fmla="*/ 6774585 w 8079933"/>
              <a:gd name="connsiteY38665" fmla="*/ 2325218 h 4687251"/>
              <a:gd name="connsiteX38666" fmla="*/ 6773500 w 8079933"/>
              <a:gd name="connsiteY38666" fmla="*/ 2329440 h 4687251"/>
              <a:gd name="connsiteX38667" fmla="*/ 6777081 w 8079933"/>
              <a:gd name="connsiteY38667" fmla="*/ 2329766 h 4687251"/>
              <a:gd name="connsiteX38668" fmla="*/ 6780337 w 8079933"/>
              <a:gd name="connsiteY38668" fmla="*/ 2333772 h 4687251"/>
              <a:gd name="connsiteX38669" fmla="*/ 6774911 w 8079933"/>
              <a:gd name="connsiteY38669" fmla="*/ 2333338 h 4687251"/>
              <a:gd name="connsiteX38670" fmla="*/ 6774585 w 8079933"/>
              <a:gd name="connsiteY38670" fmla="*/ 2336262 h 4687251"/>
              <a:gd name="connsiteX38671" fmla="*/ 6768617 w 8079933"/>
              <a:gd name="connsiteY38671" fmla="*/ 2342541 h 4687251"/>
              <a:gd name="connsiteX38672" fmla="*/ 6765470 w 8079933"/>
              <a:gd name="connsiteY38672" fmla="*/ 2342541 h 4687251"/>
              <a:gd name="connsiteX38673" fmla="*/ 6765904 w 8079933"/>
              <a:gd name="connsiteY38673" fmla="*/ 2337886 h 4687251"/>
              <a:gd name="connsiteX38674" fmla="*/ 6763300 w 8079933"/>
              <a:gd name="connsiteY38674" fmla="*/ 2338211 h 4687251"/>
              <a:gd name="connsiteX38675" fmla="*/ 6761888 w 8079933"/>
              <a:gd name="connsiteY38675" fmla="*/ 2337886 h 4687251"/>
              <a:gd name="connsiteX38676" fmla="*/ 6761020 w 8079933"/>
              <a:gd name="connsiteY38676" fmla="*/ 2341892 h 4687251"/>
              <a:gd name="connsiteX38677" fmla="*/ 6757874 w 8079933"/>
              <a:gd name="connsiteY38677" fmla="*/ 2341134 h 4687251"/>
              <a:gd name="connsiteX38678" fmla="*/ 6759935 w 8079933"/>
              <a:gd name="connsiteY38678" fmla="*/ 2343624 h 4687251"/>
              <a:gd name="connsiteX38679" fmla="*/ 6757331 w 8079933"/>
              <a:gd name="connsiteY38679" fmla="*/ 2345790 h 4687251"/>
              <a:gd name="connsiteX38680" fmla="*/ 6761129 w 8079933"/>
              <a:gd name="connsiteY38680" fmla="*/ 2346223 h 4687251"/>
              <a:gd name="connsiteX38681" fmla="*/ 6764384 w 8079933"/>
              <a:gd name="connsiteY38681" fmla="*/ 2350554 h 4687251"/>
              <a:gd name="connsiteX38682" fmla="*/ 6759393 w 8079933"/>
              <a:gd name="connsiteY38682" fmla="*/ 2350554 h 4687251"/>
              <a:gd name="connsiteX38683" fmla="*/ 6765144 w 8079933"/>
              <a:gd name="connsiteY38683" fmla="*/ 2355534 h 4687251"/>
              <a:gd name="connsiteX38684" fmla="*/ 6768074 w 8079933"/>
              <a:gd name="connsiteY38684" fmla="*/ 2352827 h 4687251"/>
              <a:gd name="connsiteX38685" fmla="*/ 6770570 w 8079933"/>
              <a:gd name="connsiteY38685" fmla="*/ 2355534 h 4687251"/>
              <a:gd name="connsiteX38686" fmla="*/ 6762648 w 8079933"/>
              <a:gd name="connsiteY38686" fmla="*/ 2358999 h 4687251"/>
              <a:gd name="connsiteX38687" fmla="*/ 6757765 w 8079933"/>
              <a:gd name="connsiteY38687" fmla="*/ 2362463 h 4687251"/>
              <a:gd name="connsiteX38688" fmla="*/ 6756896 w 8079933"/>
              <a:gd name="connsiteY38688" fmla="*/ 2366145 h 4687251"/>
              <a:gd name="connsiteX38689" fmla="*/ 6758742 w 8079933"/>
              <a:gd name="connsiteY38689" fmla="*/ 2364304 h 4687251"/>
              <a:gd name="connsiteX38690" fmla="*/ 6762431 w 8079933"/>
              <a:gd name="connsiteY38690" fmla="*/ 2364088 h 4687251"/>
              <a:gd name="connsiteX38691" fmla="*/ 6765144 w 8079933"/>
              <a:gd name="connsiteY38691" fmla="*/ 2366794 h 4687251"/>
              <a:gd name="connsiteX38692" fmla="*/ 6759610 w 8079933"/>
              <a:gd name="connsiteY38692" fmla="*/ 2371341 h 4687251"/>
              <a:gd name="connsiteX38693" fmla="*/ 6763517 w 8079933"/>
              <a:gd name="connsiteY38693" fmla="*/ 2372641 h 4687251"/>
              <a:gd name="connsiteX38694" fmla="*/ 6762974 w 8079933"/>
              <a:gd name="connsiteY38694" fmla="*/ 2375780 h 4687251"/>
              <a:gd name="connsiteX38695" fmla="*/ 6759718 w 8079933"/>
              <a:gd name="connsiteY38695" fmla="*/ 2376647 h 4687251"/>
              <a:gd name="connsiteX38696" fmla="*/ 6760587 w 8079933"/>
              <a:gd name="connsiteY38696" fmla="*/ 2379353 h 4687251"/>
              <a:gd name="connsiteX38697" fmla="*/ 6762974 w 8079933"/>
              <a:gd name="connsiteY38697" fmla="*/ 2379353 h 4687251"/>
              <a:gd name="connsiteX38698" fmla="*/ 6764818 w 8079933"/>
              <a:gd name="connsiteY38698" fmla="*/ 2382818 h 4687251"/>
              <a:gd name="connsiteX38699" fmla="*/ 6764384 w 8079933"/>
              <a:gd name="connsiteY38699" fmla="*/ 2388557 h 4687251"/>
              <a:gd name="connsiteX38700" fmla="*/ 6761888 w 8079933"/>
              <a:gd name="connsiteY38700" fmla="*/ 2384659 h 4687251"/>
              <a:gd name="connsiteX38701" fmla="*/ 6759393 w 8079933"/>
              <a:gd name="connsiteY38701" fmla="*/ 2384659 h 4687251"/>
              <a:gd name="connsiteX38702" fmla="*/ 6759393 w 8079933"/>
              <a:gd name="connsiteY38702" fmla="*/ 2381411 h 4687251"/>
              <a:gd name="connsiteX38703" fmla="*/ 6755703 w 8079933"/>
              <a:gd name="connsiteY38703" fmla="*/ 2378162 h 4687251"/>
              <a:gd name="connsiteX38704" fmla="*/ 6754076 w 8079933"/>
              <a:gd name="connsiteY38704" fmla="*/ 2380978 h 4687251"/>
              <a:gd name="connsiteX38705" fmla="*/ 6751580 w 8079933"/>
              <a:gd name="connsiteY38705" fmla="*/ 2380978 h 4687251"/>
              <a:gd name="connsiteX38706" fmla="*/ 6751146 w 8079933"/>
              <a:gd name="connsiteY38706" fmla="*/ 2384767 h 4687251"/>
              <a:gd name="connsiteX38707" fmla="*/ 6755378 w 8079933"/>
              <a:gd name="connsiteY38707" fmla="*/ 2387907 h 4687251"/>
              <a:gd name="connsiteX38708" fmla="*/ 6755160 w 8079933"/>
              <a:gd name="connsiteY38708" fmla="*/ 2391804 h 4687251"/>
              <a:gd name="connsiteX38709" fmla="*/ 6753533 w 8079933"/>
              <a:gd name="connsiteY38709" fmla="*/ 2389531 h 4687251"/>
              <a:gd name="connsiteX38710" fmla="*/ 6751146 w 8079933"/>
              <a:gd name="connsiteY38710" fmla="*/ 2389531 h 4687251"/>
              <a:gd name="connsiteX38711" fmla="*/ 6749409 w 8079933"/>
              <a:gd name="connsiteY38711" fmla="*/ 2387149 h 4687251"/>
              <a:gd name="connsiteX38712" fmla="*/ 6745937 w 8079933"/>
              <a:gd name="connsiteY38712" fmla="*/ 2388015 h 4687251"/>
              <a:gd name="connsiteX38713" fmla="*/ 6748541 w 8079933"/>
              <a:gd name="connsiteY38713" fmla="*/ 2390072 h 4687251"/>
              <a:gd name="connsiteX38714" fmla="*/ 6749193 w 8079933"/>
              <a:gd name="connsiteY38714" fmla="*/ 2394403 h 4687251"/>
              <a:gd name="connsiteX38715" fmla="*/ 6752447 w 8079933"/>
              <a:gd name="connsiteY38715" fmla="*/ 2394403 h 4687251"/>
              <a:gd name="connsiteX38716" fmla="*/ 6752990 w 8079933"/>
              <a:gd name="connsiteY38716" fmla="*/ 2395594 h 4687251"/>
              <a:gd name="connsiteX38717" fmla="*/ 6750277 w 8079933"/>
              <a:gd name="connsiteY38717" fmla="*/ 2398842 h 4687251"/>
              <a:gd name="connsiteX38718" fmla="*/ 6745394 w 8079933"/>
              <a:gd name="connsiteY38718" fmla="*/ 2395486 h 4687251"/>
              <a:gd name="connsiteX38719" fmla="*/ 6744743 w 8079933"/>
              <a:gd name="connsiteY38719" fmla="*/ 2398518 h 4687251"/>
              <a:gd name="connsiteX38720" fmla="*/ 6746371 w 8079933"/>
              <a:gd name="connsiteY38720" fmla="*/ 2400900 h 4687251"/>
              <a:gd name="connsiteX38721" fmla="*/ 6750277 w 8079933"/>
              <a:gd name="connsiteY38721" fmla="*/ 2402090 h 4687251"/>
              <a:gd name="connsiteX38722" fmla="*/ 6748541 w 8079933"/>
              <a:gd name="connsiteY38722" fmla="*/ 2407179 h 4687251"/>
              <a:gd name="connsiteX38723" fmla="*/ 6742030 w 8079933"/>
              <a:gd name="connsiteY38723" fmla="*/ 2403173 h 4687251"/>
              <a:gd name="connsiteX38724" fmla="*/ 6739426 w 8079933"/>
              <a:gd name="connsiteY38724" fmla="*/ 2405555 h 4687251"/>
              <a:gd name="connsiteX38725" fmla="*/ 6737690 w 8079933"/>
              <a:gd name="connsiteY38725" fmla="*/ 2403714 h 4687251"/>
              <a:gd name="connsiteX38726" fmla="*/ 6734000 w 8079933"/>
              <a:gd name="connsiteY38726" fmla="*/ 2408803 h 4687251"/>
              <a:gd name="connsiteX38727" fmla="*/ 6726078 w 8079933"/>
              <a:gd name="connsiteY38727" fmla="*/ 2409128 h 4687251"/>
              <a:gd name="connsiteX38728" fmla="*/ 6732047 w 8079933"/>
              <a:gd name="connsiteY38728" fmla="*/ 2413675 h 4687251"/>
              <a:gd name="connsiteX38729" fmla="*/ 6735519 w 8079933"/>
              <a:gd name="connsiteY38729" fmla="*/ 2412376 h 4687251"/>
              <a:gd name="connsiteX38730" fmla="*/ 6739643 w 8079933"/>
              <a:gd name="connsiteY38730" fmla="*/ 2413351 h 4687251"/>
              <a:gd name="connsiteX38731" fmla="*/ 6737798 w 8079933"/>
              <a:gd name="connsiteY38731" fmla="*/ 2417140 h 4687251"/>
              <a:gd name="connsiteX38732" fmla="*/ 6735086 w 8079933"/>
              <a:gd name="connsiteY38732" fmla="*/ 2417465 h 4687251"/>
              <a:gd name="connsiteX38733" fmla="*/ 6734434 w 8079933"/>
              <a:gd name="connsiteY38733" fmla="*/ 2422337 h 4687251"/>
              <a:gd name="connsiteX38734" fmla="*/ 6731721 w 8079933"/>
              <a:gd name="connsiteY38734" fmla="*/ 2419089 h 4687251"/>
              <a:gd name="connsiteX38735" fmla="*/ 6728791 w 8079933"/>
              <a:gd name="connsiteY38735" fmla="*/ 2423420 h 4687251"/>
              <a:gd name="connsiteX38736" fmla="*/ 6727380 w 8079933"/>
              <a:gd name="connsiteY38736" fmla="*/ 2424286 h 4687251"/>
              <a:gd name="connsiteX38737" fmla="*/ 6726947 w 8079933"/>
              <a:gd name="connsiteY38737" fmla="*/ 2422337 h 4687251"/>
              <a:gd name="connsiteX38738" fmla="*/ 6724776 w 8079933"/>
              <a:gd name="connsiteY38738" fmla="*/ 2422553 h 4687251"/>
              <a:gd name="connsiteX38739" fmla="*/ 6724125 w 8079933"/>
              <a:gd name="connsiteY38739" fmla="*/ 2426343 h 4687251"/>
              <a:gd name="connsiteX38740" fmla="*/ 6721738 w 8079933"/>
              <a:gd name="connsiteY38740" fmla="*/ 2426343 h 4687251"/>
              <a:gd name="connsiteX38741" fmla="*/ 6720652 w 8079933"/>
              <a:gd name="connsiteY38741" fmla="*/ 2431865 h 4687251"/>
              <a:gd name="connsiteX38742" fmla="*/ 6716095 w 8079933"/>
              <a:gd name="connsiteY38742" fmla="*/ 2431865 h 4687251"/>
              <a:gd name="connsiteX38743" fmla="*/ 6715552 w 8079933"/>
              <a:gd name="connsiteY38743" fmla="*/ 2429699 h 4687251"/>
              <a:gd name="connsiteX38744" fmla="*/ 6709584 w 8079933"/>
              <a:gd name="connsiteY38744" fmla="*/ 2430674 h 4687251"/>
              <a:gd name="connsiteX38745" fmla="*/ 6707956 w 8079933"/>
              <a:gd name="connsiteY38745" fmla="*/ 2433164 h 4687251"/>
              <a:gd name="connsiteX38746" fmla="*/ 6705677 w 8079933"/>
              <a:gd name="connsiteY38746" fmla="*/ 2432406 h 4687251"/>
              <a:gd name="connsiteX38747" fmla="*/ 6707848 w 8079933"/>
              <a:gd name="connsiteY38747" fmla="*/ 2437279 h 4687251"/>
              <a:gd name="connsiteX38748" fmla="*/ 6706219 w 8079933"/>
              <a:gd name="connsiteY38748" fmla="*/ 2442367 h 4687251"/>
              <a:gd name="connsiteX38749" fmla="*/ 6704158 w 8079933"/>
              <a:gd name="connsiteY38749" fmla="*/ 2445182 h 4687251"/>
              <a:gd name="connsiteX38750" fmla="*/ 6706002 w 8079933"/>
              <a:gd name="connsiteY38750" fmla="*/ 2448322 h 4687251"/>
              <a:gd name="connsiteX38751" fmla="*/ 6701988 w 8079933"/>
              <a:gd name="connsiteY38751" fmla="*/ 2450163 h 4687251"/>
              <a:gd name="connsiteX38752" fmla="*/ 6699492 w 8079933"/>
              <a:gd name="connsiteY38752" fmla="*/ 2449404 h 4687251"/>
              <a:gd name="connsiteX38753" fmla="*/ 6697863 w 8079933"/>
              <a:gd name="connsiteY38753" fmla="*/ 2451570 h 4687251"/>
              <a:gd name="connsiteX38754" fmla="*/ 6697321 w 8079933"/>
              <a:gd name="connsiteY38754" fmla="*/ 2448863 h 4687251"/>
              <a:gd name="connsiteX38755" fmla="*/ 6695150 w 8079933"/>
              <a:gd name="connsiteY38755" fmla="*/ 2450812 h 4687251"/>
              <a:gd name="connsiteX38756" fmla="*/ 6692221 w 8079933"/>
              <a:gd name="connsiteY38756" fmla="*/ 2453736 h 4687251"/>
              <a:gd name="connsiteX38757" fmla="*/ 6686795 w 8079933"/>
              <a:gd name="connsiteY38757" fmla="*/ 2454385 h 4687251"/>
              <a:gd name="connsiteX38758" fmla="*/ 6686253 w 8079933"/>
              <a:gd name="connsiteY38758" fmla="*/ 2456767 h 4687251"/>
              <a:gd name="connsiteX38759" fmla="*/ 6682346 w 8079933"/>
              <a:gd name="connsiteY38759" fmla="*/ 2456767 h 4687251"/>
              <a:gd name="connsiteX38760" fmla="*/ 6681912 w 8079933"/>
              <a:gd name="connsiteY38760" fmla="*/ 2455359 h 4687251"/>
              <a:gd name="connsiteX38761" fmla="*/ 6679416 w 8079933"/>
              <a:gd name="connsiteY38761" fmla="*/ 2455359 h 4687251"/>
              <a:gd name="connsiteX38762" fmla="*/ 6678657 w 8079933"/>
              <a:gd name="connsiteY38762" fmla="*/ 2459474 h 4687251"/>
              <a:gd name="connsiteX38763" fmla="*/ 6676377 w 8079933"/>
              <a:gd name="connsiteY38763" fmla="*/ 2461531 h 4687251"/>
              <a:gd name="connsiteX38764" fmla="*/ 6672688 w 8079933"/>
              <a:gd name="connsiteY38764" fmla="*/ 2457524 h 4687251"/>
              <a:gd name="connsiteX38765" fmla="*/ 6670952 w 8079933"/>
              <a:gd name="connsiteY38765" fmla="*/ 2454601 h 4687251"/>
              <a:gd name="connsiteX38766" fmla="*/ 6669866 w 8079933"/>
              <a:gd name="connsiteY38766" fmla="*/ 2456983 h 4687251"/>
              <a:gd name="connsiteX38767" fmla="*/ 6665960 w 8079933"/>
              <a:gd name="connsiteY38767" fmla="*/ 2457850 h 4687251"/>
              <a:gd name="connsiteX38768" fmla="*/ 6665635 w 8079933"/>
              <a:gd name="connsiteY38768" fmla="*/ 2461098 h 4687251"/>
              <a:gd name="connsiteX38769" fmla="*/ 6661837 w 8079933"/>
              <a:gd name="connsiteY38769" fmla="*/ 2462072 h 4687251"/>
              <a:gd name="connsiteX38770" fmla="*/ 6658038 w 8079933"/>
              <a:gd name="connsiteY38770" fmla="*/ 2459799 h 4687251"/>
              <a:gd name="connsiteX38771" fmla="*/ 6655868 w 8079933"/>
              <a:gd name="connsiteY38771" fmla="*/ 2461856 h 4687251"/>
              <a:gd name="connsiteX38772" fmla="*/ 6651528 w 8079933"/>
              <a:gd name="connsiteY38772" fmla="*/ 2463263 h 4687251"/>
              <a:gd name="connsiteX38773" fmla="*/ 6650985 w 8079933"/>
              <a:gd name="connsiteY38773" fmla="*/ 2468027 h 4687251"/>
              <a:gd name="connsiteX38774" fmla="*/ 6642520 w 8079933"/>
              <a:gd name="connsiteY38774" fmla="*/ 2472142 h 4687251"/>
              <a:gd name="connsiteX38775" fmla="*/ 6641978 w 8079933"/>
              <a:gd name="connsiteY38775" fmla="*/ 2470193 h 4687251"/>
              <a:gd name="connsiteX38776" fmla="*/ 6645016 w 8079933"/>
              <a:gd name="connsiteY38776" fmla="*/ 2468677 h 4687251"/>
              <a:gd name="connsiteX38777" fmla="*/ 6647404 w 8079933"/>
              <a:gd name="connsiteY38777" fmla="*/ 2465320 h 4687251"/>
              <a:gd name="connsiteX38778" fmla="*/ 6644257 w 8079933"/>
              <a:gd name="connsiteY38778" fmla="*/ 2466078 h 4687251"/>
              <a:gd name="connsiteX38779" fmla="*/ 6639374 w 8079933"/>
              <a:gd name="connsiteY38779" fmla="*/ 2461314 h 4687251"/>
              <a:gd name="connsiteX38780" fmla="*/ 6638614 w 8079933"/>
              <a:gd name="connsiteY38780" fmla="*/ 2458283 h 4687251"/>
              <a:gd name="connsiteX38781" fmla="*/ 6632754 w 8079933"/>
              <a:gd name="connsiteY38781" fmla="*/ 2455251 h 4687251"/>
              <a:gd name="connsiteX38782" fmla="*/ 6630366 w 8079933"/>
              <a:gd name="connsiteY38782" fmla="*/ 2453302 h 4687251"/>
              <a:gd name="connsiteX38783" fmla="*/ 6631452 w 8079933"/>
              <a:gd name="connsiteY38783" fmla="*/ 2455793 h 4687251"/>
              <a:gd name="connsiteX38784" fmla="*/ 6631126 w 8079933"/>
              <a:gd name="connsiteY38784" fmla="*/ 2459257 h 4687251"/>
              <a:gd name="connsiteX38785" fmla="*/ 6632211 w 8079933"/>
              <a:gd name="connsiteY38785" fmla="*/ 2463479 h 4687251"/>
              <a:gd name="connsiteX38786" fmla="*/ 6632971 w 8079933"/>
              <a:gd name="connsiteY38786" fmla="*/ 2469218 h 4687251"/>
              <a:gd name="connsiteX38787" fmla="*/ 6629173 w 8079933"/>
              <a:gd name="connsiteY38787" fmla="*/ 2471275 h 4687251"/>
              <a:gd name="connsiteX38788" fmla="*/ 6627003 w 8079933"/>
              <a:gd name="connsiteY38788" fmla="*/ 2474848 h 4687251"/>
              <a:gd name="connsiteX38789" fmla="*/ 6624832 w 8079933"/>
              <a:gd name="connsiteY38789" fmla="*/ 2476581 h 4687251"/>
              <a:gd name="connsiteX38790" fmla="*/ 6622770 w 8079933"/>
              <a:gd name="connsiteY38790" fmla="*/ 2474956 h 4687251"/>
              <a:gd name="connsiteX38791" fmla="*/ 6621468 w 8079933"/>
              <a:gd name="connsiteY38791" fmla="*/ 2473765 h 4687251"/>
              <a:gd name="connsiteX38792" fmla="*/ 6621034 w 8079933"/>
              <a:gd name="connsiteY38792" fmla="*/ 2475606 h 4687251"/>
              <a:gd name="connsiteX38793" fmla="*/ 6617995 w 8079933"/>
              <a:gd name="connsiteY38793" fmla="*/ 2479720 h 4687251"/>
              <a:gd name="connsiteX38794" fmla="*/ 6613438 w 8079933"/>
              <a:gd name="connsiteY38794" fmla="*/ 2484268 h 4687251"/>
              <a:gd name="connsiteX38795" fmla="*/ 6608230 w 8079933"/>
              <a:gd name="connsiteY38795" fmla="*/ 2486866 h 4687251"/>
              <a:gd name="connsiteX38796" fmla="*/ 6605408 w 8079933"/>
              <a:gd name="connsiteY38796" fmla="*/ 2487732 h 4687251"/>
              <a:gd name="connsiteX38797" fmla="*/ 6600742 w 8079933"/>
              <a:gd name="connsiteY38797" fmla="*/ 2486109 h 4687251"/>
              <a:gd name="connsiteX38798" fmla="*/ 6596076 w 8079933"/>
              <a:gd name="connsiteY38798" fmla="*/ 2487407 h 4687251"/>
              <a:gd name="connsiteX38799" fmla="*/ 6592060 w 8079933"/>
              <a:gd name="connsiteY38799" fmla="*/ 2487299 h 4687251"/>
              <a:gd name="connsiteX38800" fmla="*/ 6593796 w 8079933"/>
              <a:gd name="connsiteY38800" fmla="*/ 2490439 h 4687251"/>
              <a:gd name="connsiteX38801" fmla="*/ 6588696 w 8079933"/>
              <a:gd name="connsiteY38801" fmla="*/ 2493254 h 4687251"/>
              <a:gd name="connsiteX38802" fmla="*/ 6584355 w 8079933"/>
              <a:gd name="connsiteY38802" fmla="*/ 2494770 h 4687251"/>
              <a:gd name="connsiteX38803" fmla="*/ 6580449 w 8079933"/>
              <a:gd name="connsiteY38803" fmla="*/ 2493362 h 4687251"/>
              <a:gd name="connsiteX38804" fmla="*/ 6578712 w 8079933"/>
              <a:gd name="connsiteY38804" fmla="*/ 2496827 h 4687251"/>
              <a:gd name="connsiteX38805" fmla="*/ 6574046 w 8079933"/>
              <a:gd name="connsiteY38805" fmla="*/ 2497585 h 4687251"/>
              <a:gd name="connsiteX38806" fmla="*/ 6571551 w 8079933"/>
              <a:gd name="connsiteY38806" fmla="*/ 2500183 h 4687251"/>
              <a:gd name="connsiteX38807" fmla="*/ 6570356 w 8079933"/>
              <a:gd name="connsiteY38807" fmla="*/ 2499967 h 4687251"/>
              <a:gd name="connsiteX38808" fmla="*/ 6571334 w 8079933"/>
              <a:gd name="connsiteY38808" fmla="*/ 2498776 h 4687251"/>
              <a:gd name="connsiteX38809" fmla="*/ 6569163 w 8079933"/>
              <a:gd name="connsiteY38809" fmla="*/ 2498343 h 4687251"/>
              <a:gd name="connsiteX38810" fmla="*/ 6568838 w 8079933"/>
              <a:gd name="connsiteY38810" fmla="*/ 2497368 h 4687251"/>
              <a:gd name="connsiteX38811" fmla="*/ 6569706 w 8079933"/>
              <a:gd name="connsiteY38811" fmla="*/ 2496611 h 4687251"/>
              <a:gd name="connsiteX38812" fmla="*/ 6568403 w 8079933"/>
              <a:gd name="connsiteY38812" fmla="*/ 2496611 h 4687251"/>
              <a:gd name="connsiteX38813" fmla="*/ 6567318 w 8079933"/>
              <a:gd name="connsiteY38813" fmla="*/ 2494770 h 4687251"/>
              <a:gd name="connsiteX38814" fmla="*/ 6566885 w 8079933"/>
              <a:gd name="connsiteY38814" fmla="*/ 2493579 h 4687251"/>
              <a:gd name="connsiteX38815" fmla="*/ 6565257 w 8079933"/>
              <a:gd name="connsiteY38815" fmla="*/ 2495311 h 4687251"/>
              <a:gd name="connsiteX38816" fmla="*/ 6564063 w 8079933"/>
              <a:gd name="connsiteY38816" fmla="*/ 2495419 h 4687251"/>
              <a:gd name="connsiteX38817" fmla="*/ 6564822 w 8079933"/>
              <a:gd name="connsiteY38817" fmla="*/ 2497910 h 4687251"/>
              <a:gd name="connsiteX38818" fmla="*/ 6563954 w 8079933"/>
              <a:gd name="connsiteY38818" fmla="*/ 2501050 h 4687251"/>
              <a:gd name="connsiteX38819" fmla="*/ 6560699 w 8079933"/>
              <a:gd name="connsiteY38819" fmla="*/ 2503756 h 4687251"/>
              <a:gd name="connsiteX38820" fmla="*/ 6559613 w 8079933"/>
              <a:gd name="connsiteY38820" fmla="*/ 2505705 h 4687251"/>
              <a:gd name="connsiteX38821" fmla="*/ 6561350 w 8079933"/>
              <a:gd name="connsiteY38821" fmla="*/ 2510144 h 4687251"/>
              <a:gd name="connsiteX38822" fmla="*/ 6564172 w 8079933"/>
              <a:gd name="connsiteY38822" fmla="*/ 2510144 h 4687251"/>
              <a:gd name="connsiteX38823" fmla="*/ 6566667 w 8079933"/>
              <a:gd name="connsiteY38823" fmla="*/ 2514908 h 4687251"/>
              <a:gd name="connsiteX38824" fmla="*/ 6566667 w 8079933"/>
              <a:gd name="connsiteY38824" fmla="*/ 2516207 h 4687251"/>
              <a:gd name="connsiteX38825" fmla="*/ 6568620 w 8079933"/>
              <a:gd name="connsiteY38825" fmla="*/ 2516641 h 4687251"/>
              <a:gd name="connsiteX38826" fmla="*/ 6569814 w 8079933"/>
              <a:gd name="connsiteY38826" fmla="*/ 2518698 h 4687251"/>
              <a:gd name="connsiteX38827" fmla="*/ 6565582 w 8079933"/>
              <a:gd name="connsiteY38827" fmla="*/ 2523895 h 4687251"/>
              <a:gd name="connsiteX38828" fmla="*/ 6562869 w 8079933"/>
              <a:gd name="connsiteY38828" fmla="*/ 2523895 h 4687251"/>
              <a:gd name="connsiteX38829" fmla="*/ 6562869 w 8079933"/>
              <a:gd name="connsiteY38829" fmla="*/ 2522596 h 4687251"/>
              <a:gd name="connsiteX38830" fmla="*/ 6557552 w 8079933"/>
              <a:gd name="connsiteY38830" fmla="*/ 2521621 h 4687251"/>
              <a:gd name="connsiteX38831" fmla="*/ 6555707 w 8079933"/>
              <a:gd name="connsiteY38831" fmla="*/ 2524869 h 4687251"/>
              <a:gd name="connsiteX38832" fmla="*/ 6554731 w 8079933"/>
              <a:gd name="connsiteY38832" fmla="*/ 2525844 h 4687251"/>
              <a:gd name="connsiteX38833" fmla="*/ 6553971 w 8079933"/>
              <a:gd name="connsiteY38833" fmla="*/ 2520755 h 4687251"/>
              <a:gd name="connsiteX38834" fmla="*/ 6554187 w 8079933"/>
              <a:gd name="connsiteY38834" fmla="*/ 2518482 h 4687251"/>
              <a:gd name="connsiteX38835" fmla="*/ 6550715 w 8079933"/>
              <a:gd name="connsiteY38835" fmla="*/ 2516424 h 4687251"/>
              <a:gd name="connsiteX38836" fmla="*/ 6544964 w 8079933"/>
              <a:gd name="connsiteY38836" fmla="*/ 2508521 h 4687251"/>
              <a:gd name="connsiteX38837" fmla="*/ 6545072 w 8079933"/>
              <a:gd name="connsiteY38837" fmla="*/ 2505705 h 4687251"/>
              <a:gd name="connsiteX38838" fmla="*/ 6548437 w 8079933"/>
              <a:gd name="connsiteY38838" fmla="*/ 2501483 h 4687251"/>
              <a:gd name="connsiteX38839" fmla="*/ 6549197 w 8079933"/>
              <a:gd name="connsiteY38839" fmla="*/ 2497368 h 4687251"/>
              <a:gd name="connsiteX38840" fmla="*/ 6552669 w 8079933"/>
              <a:gd name="connsiteY38840" fmla="*/ 2496827 h 4687251"/>
              <a:gd name="connsiteX38841" fmla="*/ 6552451 w 8079933"/>
              <a:gd name="connsiteY38841" fmla="*/ 2495311 h 4687251"/>
              <a:gd name="connsiteX38842" fmla="*/ 6549956 w 8079933"/>
              <a:gd name="connsiteY38842" fmla="*/ 2494121 h 4687251"/>
              <a:gd name="connsiteX38843" fmla="*/ 6546484 w 8079933"/>
              <a:gd name="connsiteY38843" fmla="*/ 2495311 h 4687251"/>
              <a:gd name="connsiteX38844" fmla="*/ 6543119 w 8079933"/>
              <a:gd name="connsiteY38844" fmla="*/ 2492171 h 4687251"/>
              <a:gd name="connsiteX38845" fmla="*/ 6540623 w 8079933"/>
              <a:gd name="connsiteY38845" fmla="*/ 2496286 h 4687251"/>
              <a:gd name="connsiteX38846" fmla="*/ 6537367 w 8079933"/>
              <a:gd name="connsiteY38846" fmla="*/ 2495961 h 4687251"/>
              <a:gd name="connsiteX38847" fmla="*/ 6534872 w 8079933"/>
              <a:gd name="connsiteY38847" fmla="*/ 2496827 h 4687251"/>
              <a:gd name="connsiteX38848" fmla="*/ 6529012 w 8079933"/>
              <a:gd name="connsiteY38848" fmla="*/ 2491955 h 4687251"/>
              <a:gd name="connsiteX38849" fmla="*/ 6526625 w 8079933"/>
              <a:gd name="connsiteY38849" fmla="*/ 2492713 h 4687251"/>
              <a:gd name="connsiteX38850" fmla="*/ 6522283 w 8079933"/>
              <a:gd name="connsiteY38850" fmla="*/ 2488274 h 4687251"/>
              <a:gd name="connsiteX38851" fmla="*/ 6519897 w 8079933"/>
              <a:gd name="connsiteY38851" fmla="*/ 2483943 h 4687251"/>
              <a:gd name="connsiteX38852" fmla="*/ 6518811 w 8079933"/>
              <a:gd name="connsiteY38852" fmla="*/ 2488599 h 4687251"/>
              <a:gd name="connsiteX38853" fmla="*/ 6519029 w 8079933"/>
              <a:gd name="connsiteY38853" fmla="*/ 2491089 h 4687251"/>
              <a:gd name="connsiteX38854" fmla="*/ 6515122 w 8079933"/>
              <a:gd name="connsiteY38854" fmla="*/ 2492713 h 4687251"/>
              <a:gd name="connsiteX38855" fmla="*/ 6512192 w 8079933"/>
              <a:gd name="connsiteY38855" fmla="*/ 2491413 h 4687251"/>
              <a:gd name="connsiteX38856" fmla="*/ 6510456 w 8079933"/>
              <a:gd name="connsiteY38856" fmla="*/ 2492496 h 4687251"/>
              <a:gd name="connsiteX38857" fmla="*/ 6509045 w 8079933"/>
              <a:gd name="connsiteY38857" fmla="*/ 2492171 h 4687251"/>
              <a:gd name="connsiteX38858" fmla="*/ 6504922 w 8079933"/>
              <a:gd name="connsiteY38858" fmla="*/ 2490006 h 4687251"/>
              <a:gd name="connsiteX38859" fmla="*/ 6503286 w 8079933"/>
              <a:gd name="connsiteY38859" fmla="*/ 2490489 h 4687251"/>
              <a:gd name="connsiteX38860" fmla="*/ 6504922 w 8079933"/>
              <a:gd name="connsiteY38860" fmla="*/ 2490006 h 4687251"/>
              <a:gd name="connsiteX38861" fmla="*/ 6509045 w 8079933"/>
              <a:gd name="connsiteY38861" fmla="*/ 2492171 h 4687251"/>
              <a:gd name="connsiteX38862" fmla="*/ 6509154 w 8079933"/>
              <a:gd name="connsiteY38862" fmla="*/ 2492280 h 4687251"/>
              <a:gd name="connsiteX38863" fmla="*/ 6508938 w 8079933"/>
              <a:gd name="connsiteY38863" fmla="*/ 2492172 h 4687251"/>
              <a:gd name="connsiteX38864" fmla="*/ 6508938 w 8079933"/>
              <a:gd name="connsiteY38864" fmla="*/ 2492281 h 4687251"/>
              <a:gd name="connsiteX38865" fmla="*/ 6508828 w 8079933"/>
              <a:gd name="connsiteY38865" fmla="*/ 2492172 h 4687251"/>
              <a:gd name="connsiteX38866" fmla="*/ 6509696 w 8079933"/>
              <a:gd name="connsiteY38866" fmla="*/ 2494012 h 4687251"/>
              <a:gd name="connsiteX38867" fmla="*/ 6508068 w 8079933"/>
              <a:gd name="connsiteY38867" fmla="*/ 2496719 h 4687251"/>
              <a:gd name="connsiteX38868" fmla="*/ 6505573 w 8079933"/>
              <a:gd name="connsiteY38868" fmla="*/ 2497802 h 4687251"/>
              <a:gd name="connsiteX38869" fmla="*/ 6503619 w 8079933"/>
              <a:gd name="connsiteY38869" fmla="*/ 2497693 h 4687251"/>
              <a:gd name="connsiteX38870" fmla="*/ 6499387 w 8079933"/>
              <a:gd name="connsiteY38870" fmla="*/ 2500400 h 4687251"/>
              <a:gd name="connsiteX38871" fmla="*/ 6495264 w 8079933"/>
              <a:gd name="connsiteY38871" fmla="*/ 2500075 h 4687251"/>
              <a:gd name="connsiteX38872" fmla="*/ 6490923 w 8079933"/>
              <a:gd name="connsiteY38872" fmla="*/ 2500833 h 4687251"/>
              <a:gd name="connsiteX38873" fmla="*/ 6489729 w 8079933"/>
              <a:gd name="connsiteY38873" fmla="*/ 2503107 h 4687251"/>
              <a:gd name="connsiteX38874" fmla="*/ 6490706 w 8079933"/>
              <a:gd name="connsiteY38874" fmla="*/ 2506463 h 4687251"/>
              <a:gd name="connsiteX38875" fmla="*/ 6488318 w 8079933"/>
              <a:gd name="connsiteY38875" fmla="*/ 2508087 h 4687251"/>
              <a:gd name="connsiteX38876" fmla="*/ 6487450 w 8079933"/>
              <a:gd name="connsiteY38876" fmla="*/ 2509712 h 4687251"/>
              <a:gd name="connsiteX38877" fmla="*/ 6485172 w 8079933"/>
              <a:gd name="connsiteY38877" fmla="*/ 2508412 h 4687251"/>
              <a:gd name="connsiteX38878" fmla="*/ 6481590 w 8079933"/>
              <a:gd name="connsiteY38878" fmla="*/ 2509170 h 4687251"/>
              <a:gd name="connsiteX38879" fmla="*/ 6479312 w 8079933"/>
              <a:gd name="connsiteY38879" fmla="*/ 2511335 h 4687251"/>
              <a:gd name="connsiteX38880" fmla="*/ 6477684 w 8079933"/>
              <a:gd name="connsiteY38880" fmla="*/ 2511985 h 4687251"/>
              <a:gd name="connsiteX38881" fmla="*/ 6476164 w 8079933"/>
              <a:gd name="connsiteY38881" fmla="*/ 2509712 h 4687251"/>
              <a:gd name="connsiteX38882" fmla="*/ 6474537 w 8079933"/>
              <a:gd name="connsiteY38882" fmla="*/ 2509170 h 4687251"/>
              <a:gd name="connsiteX38883" fmla="*/ 6474211 w 8079933"/>
              <a:gd name="connsiteY38883" fmla="*/ 2512526 h 4687251"/>
              <a:gd name="connsiteX38884" fmla="*/ 6472366 w 8079933"/>
              <a:gd name="connsiteY38884" fmla="*/ 2515016 h 4687251"/>
              <a:gd name="connsiteX38885" fmla="*/ 6473669 w 8079933"/>
              <a:gd name="connsiteY38885" fmla="*/ 2516424 h 4687251"/>
              <a:gd name="connsiteX38886" fmla="*/ 6473018 w 8079933"/>
              <a:gd name="connsiteY38886" fmla="*/ 2519997 h 4687251"/>
              <a:gd name="connsiteX38887" fmla="*/ 6473235 w 8079933"/>
              <a:gd name="connsiteY38887" fmla="*/ 2523787 h 4687251"/>
              <a:gd name="connsiteX38888" fmla="*/ 6472583 w 8079933"/>
              <a:gd name="connsiteY38888" fmla="*/ 2524761 h 4687251"/>
              <a:gd name="connsiteX38889" fmla="*/ 6473886 w 8079933"/>
              <a:gd name="connsiteY38889" fmla="*/ 2527468 h 4687251"/>
              <a:gd name="connsiteX38890" fmla="*/ 6472692 w 8079933"/>
              <a:gd name="connsiteY38890" fmla="*/ 2529634 h 4687251"/>
              <a:gd name="connsiteX38891" fmla="*/ 6470847 w 8079933"/>
              <a:gd name="connsiteY38891" fmla="*/ 2530175 h 4687251"/>
              <a:gd name="connsiteX38892" fmla="*/ 6467375 w 8079933"/>
              <a:gd name="connsiteY38892" fmla="*/ 2535805 h 4687251"/>
              <a:gd name="connsiteX38893" fmla="*/ 6464228 w 8079933"/>
              <a:gd name="connsiteY38893" fmla="*/ 2535913 h 4687251"/>
              <a:gd name="connsiteX38894" fmla="*/ 6463034 w 8079933"/>
              <a:gd name="connsiteY38894" fmla="*/ 2534289 h 4687251"/>
              <a:gd name="connsiteX38895" fmla="*/ 6462926 w 8079933"/>
              <a:gd name="connsiteY38895" fmla="*/ 2536238 h 4687251"/>
              <a:gd name="connsiteX38896" fmla="*/ 6460755 w 8079933"/>
              <a:gd name="connsiteY38896" fmla="*/ 2537861 h 4687251"/>
              <a:gd name="connsiteX38897" fmla="*/ 6459453 w 8079933"/>
              <a:gd name="connsiteY38897" fmla="*/ 2541976 h 4687251"/>
              <a:gd name="connsiteX38898" fmla="*/ 6457391 w 8079933"/>
              <a:gd name="connsiteY38898" fmla="*/ 2543709 h 4687251"/>
              <a:gd name="connsiteX38899" fmla="*/ 6457174 w 8079933"/>
              <a:gd name="connsiteY38899" fmla="*/ 2547931 h 4687251"/>
              <a:gd name="connsiteX38900" fmla="*/ 6459019 w 8079933"/>
              <a:gd name="connsiteY38900" fmla="*/ 2548364 h 4687251"/>
              <a:gd name="connsiteX38901" fmla="*/ 6460864 w 8079933"/>
              <a:gd name="connsiteY38901" fmla="*/ 2550746 h 4687251"/>
              <a:gd name="connsiteX38902" fmla="*/ 6458476 w 8079933"/>
              <a:gd name="connsiteY38902" fmla="*/ 2558650 h 4687251"/>
              <a:gd name="connsiteX38903" fmla="*/ 6455763 w 8079933"/>
              <a:gd name="connsiteY38903" fmla="*/ 2562656 h 4687251"/>
              <a:gd name="connsiteX38904" fmla="*/ 6460864 w 8079933"/>
              <a:gd name="connsiteY38904" fmla="*/ 2566987 h 4687251"/>
              <a:gd name="connsiteX38905" fmla="*/ 6460321 w 8079933"/>
              <a:gd name="connsiteY38905" fmla="*/ 2569477 h 4687251"/>
              <a:gd name="connsiteX38906" fmla="*/ 6456306 w 8079933"/>
              <a:gd name="connsiteY38906" fmla="*/ 2570560 h 4687251"/>
              <a:gd name="connsiteX38907" fmla="*/ 6460430 w 8079933"/>
              <a:gd name="connsiteY38907" fmla="*/ 2571750 h 4687251"/>
              <a:gd name="connsiteX38908" fmla="*/ 6467592 w 8079933"/>
              <a:gd name="connsiteY38908" fmla="*/ 2575973 h 4687251"/>
              <a:gd name="connsiteX38909" fmla="*/ 6473886 w 8079933"/>
              <a:gd name="connsiteY38909" fmla="*/ 2582144 h 4687251"/>
              <a:gd name="connsiteX38910" fmla="*/ 6476164 w 8079933"/>
              <a:gd name="connsiteY38910" fmla="*/ 2581928 h 4687251"/>
              <a:gd name="connsiteX38911" fmla="*/ 6479312 w 8079933"/>
              <a:gd name="connsiteY38911" fmla="*/ 2587342 h 4687251"/>
              <a:gd name="connsiteX38912" fmla="*/ 6479312 w 8079933"/>
              <a:gd name="connsiteY38912" fmla="*/ 2590048 h 4687251"/>
              <a:gd name="connsiteX38913" fmla="*/ 6478335 w 8079933"/>
              <a:gd name="connsiteY38913" fmla="*/ 2591672 h 4687251"/>
              <a:gd name="connsiteX38914" fmla="*/ 6480397 w 8079933"/>
              <a:gd name="connsiteY38914" fmla="*/ 2597086 h 4687251"/>
              <a:gd name="connsiteX38915" fmla="*/ 6481265 w 8079933"/>
              <a:gd name="connsiteY38915" fmla="*/ 2600009 h 4687251"/>
              <a:gd name="connsiteX38916" fmla="*/ 6490706 w 8079933"/>
              <a:gd name="connsiteY38916" fmla="*/ 2607588 h 4687251"/>
              <a:gd name="connsiteX38917" fmla="*/ 6495914 w 8079933"/>
              <a:gd name="connsiteY38917" fmla="*/ 2610619 h 4687251"/>
              <a:gd name="connsiteX38918" fmla="*/ 6496457 w 8079933"/>
              <a:gd name="connsiteY38918" fmla="*/ 2612244 h 4687251"/>
              <a:gd name="connsiteX38919" fmla="*/ 6509262 w 8079933"/>
              <a:gd name="connsiteY38919" fmla="*/ 2619282 h 4687251"/>
              <a:gd name="connsiteX38920" fmla="*/ 6520873 w 8079933"/>
              <a:gd name="connsiteY38920" fmla="*/ 2627727 h 4687251"/>
              <a:gd name="connsiteX38921" fmla="*/ 6523369 w 8079933"/>
              <a:gd name="connsiteY38921" fmla="*/ 2632274 h 4687251"/>
              <a:gd name="connsiteX38922" fmla="*/ 6534113 w 8079933"/>
              <a:gd name="connsiteY38922" fmla="*/ 2640178 h 4687251"/>
              <a:gd name="connsiteX38923" fmla="*/ 6537476 w 8079933"/>
              <a:gd name="connsiteY38923" fmla="*/ 2646349 h 4687251"/>
              <a:gd name="connsiteX38924" fmla="*/ 6538236 w 8079933"/>
              <a:gd name="connsiteY38924" fmla="*/ 2650139 h 4687251"/>
              <a:gd name="connsiteX38925" fmla="*/ 6539647 w 8079933"/>
              <a:gd name="connsiteY38925" fmla="*/ 2650139 h 4687251"/>
              <a:gd name="connsiteX38926" fmla="*/ 6539539 w 8079933"/>
              <a:gd name="connsiteY38926" fmla="*/ 2653386 h 4687251"/>
              <a:gd name="connsiteX38927" fmla="*/ 6544964 w 8079933"/>
              <a:gd name="connsiteY38927" fmla="*/ 2658908 h 4687251"/>
              <a:gd name="connsiteX38928" fmla="*/ 6544964 w 8079933"/>
              <a:gd name="connsiteY38928" fmla="*/ 2661507 h 4687251"/>
              <a:gd name="connsiteX38929" fmla="*/ 6546158 w 8079933"/>
              <a:gd name="connsiteY38929" fmla="*/ 2663455 h 4687251"/>
              <a:gd name="connsiteX38930" fmla="*/ 6545073 w 8079933"/>
              <a:gd name="connsiteY38930" fmla="*/ 2665404 h 4687251"/>
              <a:gd name="connsiteX38931" fmla="*/ 6549305 w 8079933"/>
              <a:gd name="connsiteY38931" fmla="*/ 2670493 h 4687251"/>
              <a:gd name="connsiteX38932" fmla="*/ 6550390 w 8079933"/>
              <a:gd name="connsiteY38932" fmla="*/ 2679263 h 4687251"/>
              <a:gd name="connsiteX38933" fmla="*/ 6552126 w 8079933"/>
              <a:gd name="connsiteY38933" fmla="*/ 2680671 h 4687251"/>
              <a:gd name="connsiteX38934" fmla="*/ 6554079 w 8079933"/>
              <a:gd name="connsiteY38934" fmla="*/ 2688249 h 4687251"/>
              <a:gd name="connsiteX38935" fmla="*/ 6555599 w 8079933"/>
              <a:gd name="connsiteY38935" fmla="*/ 2689873 h 4687251"/>
              <a:gd name="connsiteX38936" fmla="*/ 6555816 w 8079933"/>
              <a:gd name="connsiteY38936" fmla="*/ 2694096 h 4687251"/>
              <a:gd name="connsiteX38937" fmla="*/ 6554947 w 8079933"/>
              <a:gd name="connsiteY38937" fmla="*/ 2696803 h 4687251"/>
              <a:gd name="connsiteX38938" fmla="*/ 6556576 w 8079933"/>
              <a:gd name="connsiteY38938" fmla="*/ 2700809 h 4687251"/>
              <a:gd name="connsiteX38939" fmla="*/ 6555382 w 8079933"/>
              <a:gd name="connsiteY38939" fmla="*/ 2702433 h 4687251"/>
              <a:gd name="connsiteX38940" fmla="*/ 6557118 w 8079933"/>
              <a:gd name="connsiteY38940" fmla="*/ 2708497 h 4687251"/>
              <a:gd name="connsiteX38941" fmla="*/ 6557335 w 8079933"/>
              <a:gd name="connsiteY38941" fmla="*/ 2710770 h 4687251"/>
              <a:gd name="connsiteX38942" fmla="*/ 6559505 w 8079933"/>
              <a:gd name="connsiteY38942" fmla="*/ 2711744 h 4687251"/>
              <a:gd name="connsiteX38943" fmla="*/ 6560590 w 8079933"/>
              <a:gd name="connsiteY38943" fmla="*/ 2715101 h 4687251"/>
              <a:gd name="connsiteX38944" fmla="*/ 6563412 w 8079933"/>
              <a:gd name="connsiteY38944" fmla="*/ 2720622 h 4687251"/>
              <a:gd name="connsiteX38945" fmla="*/ 6562869 w 8079933"/>
              <a:gd name="connsiteY38945" fmla="*/ 2724195 h 4687251"/>
              <a:gd name="connsiteX38946" fmla="*/ 6561675 w 8079933"/>
              <a:gd name="connsiteY38946" fmla="*/ 2724087 h 4687251"/>
              <a:gd name="connsiteX38947" fmla="*/ 6561675 w 8079933"/>
              <a:gd name="connsiteY38947" fmla="*/ 2722355 h 4687251"/>
              <a:gd name="connsiteX38948" fmla="*/ 6560157 w 8079933"/>
              <a:gd name="connsiteY38948" fmla="*/ 2720514 h 4687251"/>
              <a:gd name="connsiteX38949" fmla="*/ 6558095 w 8079933"/>
              <a:gd name="connsiteY38949" fmla="*/ 2721705 h 4687251"/>
              <a:gd name="connsiteX38950" fmla="*/ 6558420 w 8079933"/>
              <a:gd name="connsiteY38950" fmla="*/ 2725387 h 4687251"/>
              <a:gd name="connsiteX38951" fmla="*/ 6560699 w 8079933"/>
              <a:gd name="connsiteY38951" fmla="*/ 2727768 h 4687251"/>
              <a:gd name="connsiteX38952" fmla="*/ 6560157 w 8079933"/>
              <a:gd name="connsiteY38952" fmla="*/ 2729826 h 4687251"/>
              <a:gd name="connsiteX38953" fmla="*/ 6557769 w 8079933"/>
              <a:gd name="connsiteY38953" fmla="*/ 2731775 h 4687251"/>
              <a:gd name="connsiteX38954" fmla="*/ 6557552 w 8079933"/>
              <a:gd name="connsiteY38954" fmla="*/ 2734481 h 4687251"/>
              <a:gd name="connsiteX38955" fmla="*/ 6553863 w 8079933"/>
              <a:gd name="connsiteY38955" fmla="*/ 2737297 h 4687251"/>
              <a:gd name="connsiteX38956" fmla="*/ 6557118 w 8079933"/>
              <a:gd name="connsiteY38956" fmla="*/ 2742385 h 4687251"/>
              <a:gd name="connsiteX38957" fmla="*/ 6555382 w 8079933"/>
              <a:gd name="connsiteY38957" fmla="*/ 2746607 h 4687251"/>
              <a:gd name="connsiteX38958" fmla="*/ 6556900 w 8079933"/>
              <a:gd name="connsiteY38958" fmla="*/ 2748556 h 4687251"/>
              <a:gd name="connsiteX38959" fmla="*/ 6553754 w 8079933"/>
              <a:gd name="connsiteY38959" fmla="*/ 2751588 h 4687251"/>
              <a:gd name="connsiteX38960" fmla="*/ 6551150 w 8079933"/>
              <a:gd name="connsiteY38960" fmla="*/ 2752562 h 4687251"/>
              <a:gd name="connsiteX38961" fmla="*/ 6550390 w 8079933"/>
              <a:gd name="connsiteY38961" fmla="*/ 2758409 h 4687251"/>
              <a:gd name="connsiteX38962" fmla="*/ 6547894 w 8079933"/>
              <a:gd name="connsiteY38962" fmla="*/ 2759383 h 4687251"/>
              <a:gd name="connsiteX38963" fmla="*/ 6542469 w 8079933"/>
              <a:gd name="connsiteY38963" fmla="*/ 2764905 h 4687251"/>
              <a:gd name="connsiteX38964" fmla="*/ 6538887 w 8079933"/>
              <a:gd name="connsiteY38964" fmla="*/ 2766746 h 4687251"/>
              <a:gd name="connsiteX38965" fmla="*/ 6534113 w 8079933"/>
              <a:gd name="connsiteY38965" fmla="*/ 2770102 h 4687251"/>
              <a:gd name="connsiteX38966" fmla="*/ 6533570 w 8079933"/>
              <a:gd name="connsiteY38966" fmla="*/ 2774108 h 4687251"/>
              <a:gd name="connsiteX38967" fmla="*/ 6529229 w 8079933"/>
              <a:gd name="connsiteY38967" fmla="*/ 2774108 h 4687251"/>
              <a:gd name="connsiteX38968" fmla="*/ 6526516 w 8079933"/>
              <a:gd name="connsiteY38968" fmla="*/ 2777248 h 4687251"/>
              <a:gd name="connsiteX38969" fmla="*/ 6516098 w 8079933"/>
              <a:gd name="connsiteY38969" fmla="*/ 2783311 h 4687251"/>
              <a:gd name="connsiteX38970" fmla="*/ 6509913 w 8079933"/>
              <a:gd name="connsiteY38970" fmla="*/ 2783961 h 4687251"/>
              <a:gd name="connsiteX38971" fmla="*/ 6507200 w 8079933"/>
              <a:gd name="connsiteY38971" fmla="*/ 2782553 h 4687251"/>
              <a:gd name="connsiteX38972" fmla="*/ 6502642 w 8079933"/>
              <a:gd name="connsiteY38972" fmla="*/ 2783744 h 4687251"/>
              <a:gd name="connsiteX38973" fmla="*/ 6501774 w 8079933"/>
              <a:gd name="connsiteY38973" fmla="*/ 2782878 h 4687251"/>
              <a:gd name="connsiteX38974" fmla="*/ 6502426 w 8079933"/>
              <a:gd name="connsiteY38974" fmla="*/ 2779847 h 4687251"/>
              <a:gd name="connsiteX38975" fmla="*/ 6502209 w 8079933"/>
              <a:gd name="connsiteY38975" fmla="*/ 2777031 h 4687251"/>
              <a:gd name="connsiteX38976" fmla="*/ 6501124 w 8079933"/>
              <a:gd name="connsiteY38976" fmla="*/ 2779847 h 4687251"/>
              <a:gd name="connsiteX38977" fmla="*/ 6500364 w 8079933"/>
              <a:gd name="connsiteY38977" fmla="*/ 2780929 h 4687251"/>
              <a:gd name="connsiteX38978" fmla="*/ 6496349 w 8079933"/>
              <a:gd name="connsiteY38978" fmla="*/ 2779847 h 4687251"/>
              <a:gd name="connsiteX38979" fmla="*/ 6499062 w 8079933"/>
              <a:gd name="connsiteY38979" fmla="*/ 2782012 h 4687251"/>
              <a:gd name="connsiteX38980" fmla="*/ 6498953 w 8079933"/>
              <a:gd name="connsiteY38980" fmla="*/ 2783744 h 4687251"/>
              <a:gd name="connsiteX38981" fmla="*/ 6497760 w 8079933"/>
              <a:gd name="connsiteY38981" fmla="*/ 2784610 h 4687251"/>
              <a:gd name="connsiteX38982" fmla="*/ 6493852 w 8079933"/>
              <a:gd name="connsiteY38982" fmla="*/ 2783961 h 4687251"/>
              <a:gd name="connsiteX38983" fmla="*/ 6500364 w 8079933"/>
              <a:gd name="connsiteY38983" fmla="*/ 2786992 h 4687251"/>
              <a:gd name="connsiteX38984" fmla="*/ 6498844 w 8079933"/>
              <a:gd name="connsiteY38984" fmla="*/ 2789158 h 4687251"/>
              <a:gd name="connsiteX38985" fmla="*/ 6500689 w 8079933"/>
              <a:gd name="connsiteY38985" fmla="*/ 2792947 h 4687251"/>
              <a:gd name="connsiteX38986" fmla="*/ 6497217 w 8079933"/>
              <a:gd name="connsiteY38986" fmla="*/ 2794788 h 4687251"/>
              <a:gd name="connsiteX38987" fmla="*/ 6492008 w 8079933"/>
              <a:gd name="connsiteY38987" fmla="*/ 2790890 h 4687251"/>
              <a:gd name="connsiteX38988" fmla="*/ 6496349 w 8079933"/>
              <a:gd name="connsiteY38988" fmla="*/ 2795654 h 4687251"/>
              <a:gd name="connsiteX38989" fmla="*/ 6495914 w 8079933"/>
              <a:gd name="connsiteY38989" fmla="*/ 2797928 h 4687251"/>
              <a:gd name="connsiteX38990" fmla="*/ 6493961 w 8079933"/>
              <a:gd name="connsiteY38990" fmla="*/ 2800635 h 4687251"/>
              <a:gd name="connsiteX38991" fmla="*/ 6491899 w 8079933"/>
              <a:gd name="connsiteY38991" fmla="*/ 2799876 h 4687251"/>
              <a:gd name="connsiteX38992" fmla="*/ 6489946 w 8079933"/>
              <a:gd name="connsiteY38992" fmla="*/ 2797062 h 4687251"/>
              <a:gd name="connsiteX38993" fmla="*/ 6487233 w 8079933"/>
              <a:gd name="connsiteY38993" fmla="*/ 2797494 h 4687251"/>
              <a:gd name="connsiteX38994" fmla="*/ 6488535 w 8079933"/>
              <a:gd name="connsiteY38994" fmla="*/ 2801068 h 4687251"/>
              <a:gd name="connsiteX38995" fmla="*/ 6488318 w 8079933"/>
              <a:gd name="connsiteY38995" fmla="*/ 2802259 h 4687251"/>
              <a:gd name="connsiteX38996" fmla="*/ 6489295 w 8079933"/>
              <a:gd name="connsiteY38996" fmla="*/ 2803558 h 4687251"/>
              <a:gd name="connsiteX38997" fmla="*/ 6487450 w 8079933"/>
              <a:gd name="connsiteY38997" fmla="*/ 2804857 h 4687251"/>
              <a:gd name="connsiteX38998" fmla="*/ 6486149 w 8079933"/>
              <a:gd name="connsiteY38998" fmla="*/ 2806698 h 4687251"/>
              <a:gd name="connsiteX38999" fmla="*/ 6483760 w 8079933"/>
              <a:gd name="connsiteY38999" fmla="*/ 2806914 h 4687251"/>
              <a:gd name="connsiteX39000" fmla="*/ 6479203 w 8079933"/>
              <a:gd name="connsiteY39000" fmla="*/ 2810920 h 4687251"/>
              <a:gd name="connsiteX39001" fmla="*/ 6477141 w 8079933"/>
              <a:gd name="connsiteY39001" fmla="*/ 2812328 h 4687251"/>
              <a:gd name="connsiteX39002" fmla="*/ 6473995 w 8079933"/>
              <a:gd name="connsiteY39002" fmla="*/ 2811894 h 4687251"/>
              <a:gd name="connsiteX39003" fmla="*/ 6472909 w 8079933"/>
              <a:gd name="connsiteY39003" fmla="*/ 2814493 h 4687251"/>
              <a:gd name="connsiteX39004" fmla="*/ 6472258 w 8079933"/>
              <a:gd name="connsiteY39004" fmla="*/ 2819582 h 4687251"/>
              <a:gd name="connsiteX39005" fmla="*/ 6469328 w 8079933"/>
              <a:gd name="connsiteY39005" fmla="*/ 2822289 h 4687251"/>
              <a:gd name="connsiteX39006" fmla="*/ 6468134 w 8079933"/>
              <a:gd name="connsiteY39006" fmla="*/ 2822180 h 4687251"/>
              <a:gd name="connsiteX39007" fmla="*/ 6468460 w 8079933"/>
              <a:gd name="connsiteY39007" fmla="*/ 2823263 h 4687251"/>
              <a:gd name="connsiteX39008" fmla="*/ 6457825 w 8079933"/>
              <a:gd name="connsiteY39008" fmla="*/ 2828027 h 4687251"/>
              <a:gd name="connsiteX39009" fmla="*/ 6452183 w 8079933"/>
              <a:gd name="connsiteY39009" fmla="*/ 2827161 h 4687251"/>
              <a:gd name="connsiteX39010" fmla="*/ 6455763 w 8079933"/>
              <a:gd name="connsiteY39010" fmla="*/ 2824996 h 4687251"/>
              <a:gd name="connsiteX39011" fmla="*/ 6460104 w 8079933"/>
              <a:gd name="connsiteY39011" fmla="*/ 2823047 h 4687251"/>
              <a:gd name="connsiteX39012" fmla="*/ 6462492 w 8079933"/>
              <a:gd name="connsiteY39012" fmla="*/ 2820339 h 4687251"/>
              <a:gd name="connsiteX39013" fmla="*/ 6459995 w 8079933"/>
              <a:gd name="connsiteY39013" fmla="*/ 2821314 h 4687251"/>
              <a:gd name="connsiteX39014" fmla="*/ 6456740 w 8079933"/>
              <a:gd name="connsiteY39014" fmla="*/ 2819582 h 4687251"/>
              <a:gd name="connsiteX39015" fmla="*/ 6457174 w 8079933"/>
              <a:gd name="connsiteY39015" fmla="*/ 2812328 h 4687251"/>
              <a:gd name="connsiteX39016" fmla="*/ 6457825 w 8079933"/>
              <a:gd name="connsiteY39016" fmla="*/ 2811570 h 4687251"/>
              <a:gd name="connsiteX39017" fmla="*/ 6456414 w 8079933"/>
              <a:gd name="connsiteY39017" fmla="*/ 2811137 h 4687251"/>
              <a:gd name="connsiteX39018" fmla="*/ 6457282 w 8079933"/>
              <a:gd name="connsiteY39018" fmla="*/ 2808105 h 4687251"/>
              <a:gd name="connsiteX39019" fmla="*/ 6456849 w 8079933"/>
              <a:gd name="connsiteY39019" fmla="*/ 2800526 h 4687251"/>
              <a:gd name="connsiteX39020" fmla="*/ 6460430 w 8079933"/>
              <a:gd name="connsiteY39020" fmla="*/ 2794788 h 4687251"/>
              <a:gd name="connsiteX39021" fmla="*/ 6467049 w 8079933"/>
              <a:gd name="connsiteY39021" fmla="*/ 2789483 h 4687251"/>
              <a:gd name="connsiteX39022" fmla="*/ 6469111 w 8079933"/>
              <a:gd name="connsiteY39022" fmla="*/ 2787101 h 4687251"/>
              <a:gd name="connsiteX39023" fmla="*/ 6465747 w 8079933"/>
              <a:gd name="connsiteY39023" fmla="*/ 2788617 h 4687251"/>
              <a:gd name="connsiteX39024" fmla="*/ 6460647 w 8079933"/>
              <a:gd name="connsiteY39024" fmla="*/ 2787858 h 4687251"/>
              <a:gd name="connsiteX39025" fmla="*/ 6457066 w 8079933"/>
              <a:gd name="connsiteY39025" fmla="*/ 2789049 h 4687251"/>
              <a:gd name="connsiteX39026" fmla="*/ 6454787 w 8079933"/>
              <a:gd name="connsiteY39026" fmla="*/ 2787642 h 4687251"/>
              <a:gd name="connsiteX39027" fmla="*/ 6452508 w 8079933"/>
              <a:gd name="connsiteY39027" fmla="*/ 2788508 h 4687251"/>
              <a:gd name="connsiteX39028" fmla="*/ 6447950 w 8079933"/>
              <a:gd name="connsiteY39028" fmla="*/ 2787317 h 4687251"/>
              <a:gd name="connsiteX39029" fmla="*/ 6448601 w 8079933"/>
              <a:gd name="connsiteY39029" fmla="*/ 2786126 h 4687251"/>
              <a:gd name="connsiteX39030" fmla="*/ 6448493 w 8079933"/>
              <a:gd name="connsiteY39030" fmla="*/ 2782120 h 4687251"/>
              <a:gd name="connsiteX39031" fmla="*/ 6447299 w 8079933"/>
              <a:gd name="connsiteY39031" fmla="*/ 2781254 h 4687251"/>
              <a:gd name="connsiteX39032" fmla="*/ 6451748 w 8079933"/>
              <a:gd name="connsiteY39032" fmla="*/ 2775841 h 4687251"/>
              <a:gd name="connsiteX39033" fmla="*/ 6456958 w 8079933"/>
              <a:gd name="connsiteY39033" fmla="*/ 2774974 h 4687251"/>
              <a:gd name="connsiteX39034" fmla="*/ 6459670 w 8079933"/>
              <a:gd name="connsiteY39034" fmla="*/ 2768153 h 4687251"/>
              <a:gd name="connsiteX39035" fmla="*/ 6456957 w 8079933"/>
              <a:gd name="connsiteY39035" fmla="*/ 2774974 h 4687251"/>
              <a:gd name="connsiteX39036" fmla="*/ 6451747 w 8079933"/>
              <a:gd name="connsiteY39036" fmla="*/ 2775841 h 4687251"/>
              <a:gd name="connsiteX39037" fmla="*/ 6447298 w 8079933"/>
              <a:gd name="connsiteY39037" fmla="*/ 2781254 h 4687251"/>
              <a:gd name="connsiteX39038" fmla="*/ 6442958 w 8079933"/>
              <a:gd name="connsiteY39038" fmla="*/ 2778114 h 4687251"/>
              <a:gd name="connsiteX39039" fmla="*/ 6441547 w 8079933"/>
              <a:gd name="connsiteY39039" fmla="*/ 2778980 h 4687251"/>
              <a:gd name="connsiteX39040" fmla="*/ 6436772 w 8079933"/>
              <a:gd name="connsiteY39040" fmla="*/ 2777464 h 4687251"/>
              <a:gd name="connsiteX39041" fmla="*/ 6434168 w 8079933"/>
              <a:gd name="connsiteY39041" fmla="*/ 2775515 h 4687251"/>
              <a:gd name="connsiteX39042" fmla="*/ 6433734 w 8079933"/>
              <a:gd name="connsiteY39042" fmla="*/ 2776815 h 4687251"/>
              <a:gd name="connsiteX39043" fmla="*/ 6429936 w 8079933"/>
              <a:gd name="connsiteY39043" fmla="*/ 2780388 h 4687251"/>
              <a:gd name="connsiteX39044" fmla="*/ 6427331 w 8079933"/>
              <a:gd name="connsiteY39044" fmla="*/ 2780280 h 4687251"/>
              <a:gd name="connsiteX39045" fmla="*/ 6426680 w 8079933"/>
              <a:gd name="connsiteY39045" fmla="*/ 2778439 h 4687251"/>
              <a:gd name="connsiteX39046" fmla="*/ 6425162 w 8079933"/>
              <a:gd name="connsiteY39046" fmla="*/ 2776165 h 4687251"/>
              <a:gd name="connsiteX39047" fmla="*/ 6428091 w 8079933"/>
              <a:gd name="connsiteY39047" fmla="*/ 2772809 h 4687251"/>
              <a:gd name="connsiteX39048" fmla="*/ 6428416 w 8079933"/>
              <a:gd name="connsiteY39048" fmla="*/ 2769669 h 4687251"/>
              <a:gd name="connsiteX39049" fmla="*/ 6426789 w 8079933"/>
              <a:gd name="connsiteY39049" fmla="*/ 2765988 h 4687251"/>
              <a:gd name="connsiteX39050" fmla="*/ 6426789 w 8079933"/>
              <a:gd name="connsiteY39050" fmla="*/ 2763173 h 4687251"/>
              <a:gd name="connsiteX39051" fmla="*/ 6424836 w 8079933"/>
              <a:gd name="connsiteY39051" fmla="*/ 2764472 h 4687251"/>
              <a:gd name="connsiteX39052" fmla="*/ 6421906 w 8079933"/>
              <a:gd name="connsiteY39052" fmla="*/ 2766962 h 4687251"/>
              <a:gd name="connsiteX39053" fmla="*/ 6421906 w 8079933"/>
              <a:gd name="connsiteY39053" fmla="*/ 2771076 h 4687251"/>
              <a:gd name="connsiteX39054" fmla="*/ 6418867 w 8079933"/>
              <a:gd name="connsiteY39054" fmla="*/ 2771509 h 4687251"/>
              <a:gd name="connsiteX39055" fmla="*/ 6415177 w 8079933"/>
              <a:gd name="connsiteY39055" fmla="*/ 2771076 h 4687251"/>
              <a:gd name="connsiteX39056" fmla="*/ 6414527 w 8079933"/>
              <a:gd name="connsiteY39056" fmla="*/ 2767503 h 4687251"/>
              <a:gd name="connsiteX39057" fmla="*/ 6413007 w 8079933"/>
              <a:gd name="connsiteY39057" fmla="*/ 2764797 h 4687251"/>
              <a:gd name="connsiteX39058" fmla="*/ 6413333 w 8079933"/>
              <a:gd name="connsiteY39058" fmla="*/ 2761007 h 4687251"/>
              <a:gd name="connsiteX39059" fmla="*/ 6411488 w 8079933"/>
              <a:gd name="connsiteY39059" fmla="*/ 2757543 h 4687251"/>
              <a:gd name="connsiteX39060" fmla="*/ 6409643 w 8079933"/>
              <a:gd name="connsiteY39060" fmla="*/ 2758192 h 4687251"/>
              <a:gd name="connsiteX39061" fmla="*/ 6406279 w 8079933"/>
              <a:gd name="connsiteY39061" fmla="*/ 2753428 h 4687251"/>
              <a:gd name="connsiteX39062" fmla="*/ 6406063 w 8079933"/>
              <a:gd name="connsiteY39062" fmla="*/ 2748881 h 4687251"/>
              <a:gd name="connsiteX39063" fmla="*/ 6402915 w 8079933"/>
              <a:gd name="connsiteY39063" fmla="*/ 2746066 h 4687251"/>
              <a:gd name="connsiteX39064" fmla="*/ 6402807 w 8079933"/>
              <a:gd name="connsiteY39064" fmla="*/ 2741519 h 4687251"/>
              <a:gd name="connsiteX39065" fmla="*/ 6399551 w 8079933"/>
              <a:gd name="connsiteY39065" fmla="*/ 2737729 h 4687251"/>
              <a:gd name="connsiteX39066" fmla="*/ 6399443 w 8079933"/>
              <a:gd name="connsiteY39066" fmla="*/ 2737729 h 4687251"/>
              <a:gd name="connsiteX39067" fmla="*/ 6399768 w 8079933"/>
              <a:gd name="connsiteY39067" fmla="*/ 2735889 h 4687251"/>
              <a:gd name="connsiteX39068" fmla="*/ 6399443 w 8079933"/>
              <a:gd name="connsiteY39068" fmla="*/ 2737729 h 4687251"/>
              <a:gd name="connsiteX39069" fmla="*/ 6397382 w 8079933"/>
              <a:gd name="connsiteY39069" fmla="*/ 2737513 h 4687251"/>
              <a:gd name="connsiteX39070" fmla="*/ 6397055 w 8079933"/>
              <a:gd name="connsiteY39070" fmla="*/ 2740869 h 4687251"/>
              <a:gd name="connsiteX39071" fmla="*/ 6396187 w 8079933"/>
              <a:gd name="connsiteY39071" fmla="*/ 2741194 h 4687251"/>
              <a:gd name="connsiteX39072" fmla="*/ 6395428 w 8079933"/>
              <a:gd name="connsiteY39072" fmla="*/ 2740003 h 4687251"/>
              <a:gd name="connsiteX39073" fmla="*/ 6390436 w 8079933"/>
              <a:gd name="connsiteY39073" fmla="*/ 2735889 h 4687251"/>
              <a:gd name="connsiteX39074" fmla="*/ 6388591 w 8079933"/>
              <a:gd name="connsiteY39074" fmla="*/ 2735780 h 4687251"/>
              <a:gd name="connsiteX39075" fmla="*/ 6388700 w 8079933"/>
              <a:gd name="connsiteY39075" fmla="*/ 2733615 h 4687251"/>
              <a:gd name="connsiteX39076" fmla="*/ 6385770 w 8079933"/>
              <a:gd name="connsiteY39076" fmla="*/ 2732099 h 4687251"/>
              <a:gd name="connsiteX39077" fmla="*/ 6379476 w 8079933"/>
              <a:gd name="connsiteY39077" fmla="*/ 2726036 h 4687251"/>
              <a:gd name="connsiteX39078" fmla="*/ 6376003 w 8079933"/>
              <a:gd name="connsiteY39078" fmla="*/ 2724737 h 4687251"/>
              <a:gd name="connsiteX39079" fmla="*/ 6373290 w 8079933"/>
              <a:gd name="connsiteY39079" fmla="*/ 2727010 h 4687251"/>
              <a:gd name="connsiteX39080" fmla="*/ 6373833 w 8079933"/>
              <a:gd name="connsiteY39080" fmla="*/ 2728093 h 4687251"/>
              <a:gd name="connsiteX39081" fmla="*/ 6373399 w 8079933"/>
              <a:gd name="connsiteY39081" fmla="*/ 2728959 h 4687251"/>
              <a:gd name="connsiteX39082" fmla="*/ 6371337 w 8079933"/>
              <a:gd name="connsiteY39082" fmla="*/ 2727552 h 4687251"/>
              <a:gd name="connsiteX39083" fmla="*/ 6366128 w 8079933"/>
              <a:gd name="connsiteY39083" fmla="*/ 2726253 h 4687251"/>
              <a:gd name="connsiteX39084" fmla="*/ 6361354 w 8079933"/>
              <a:gd name="connsiteY39084" fmla="*/ 2727443 h 4687251"/>
              <a:gd name="connsiteX39085" fmla="*/ 6357990 w 8079933"/>
              <a:gd name="connsiteY39085" fmla="*/ 2726253 h 4687251"/>
              <a:gd name="connsiteX39086" fmla="*/ 6354409 w 8079933"/>
              <a:gd name="connsiteY39086" fmla="*/ 2726577 h 4687251"/>
              <a:gd name="connsiteX39087" fmla="*/ 6355711 w 8079933"/>
              <a:gd name="connsiteY39087" fmla="*/ 2722896 h 4687251"/>
              <a:gd name="connsiteX39088" fmla="*/ 6357230 w 8079933"/>
              <a:gd name="connsiteY39088" fmla="*/ 2721272 h 4687251"/>
              <a:gd name="connsiteX39089" fmla="*/ 6355060 w 8079933"/>
              <a:gd name="connsiteY39089" fmla="*/ 2717483 h 4687251"/>
              <a:gd name="connsiteX39090" fmla="*/ 6355385 w 8079933"/>
              <a:gd name="connsiteY39090" fmla="*/ 2711203 h 4687251"/>
              <a:gd name="connsiteX39091" fmla="*/ 6356796 w 8079933"/>
              <a:gd name="connsiteY39091" fmla="*/ 2709688 h 4687251"/>
              <a:gd name="connsiteX39092" fmla="*/ 6355493 w 8079933"/>
              <a:gd name="connsiteY39092" fmla="*/ 2706547 h 4687251"/>
              <a:gd name="connsiteX39093" fmla="*/ 6351370 w 8079933"/>
              <a:gd name="connsiteY39093" fmla="*/ 2705790 h 4687251"/>
              <a:gd name="connsiteX39094" fmla="*/ 6350610 w 8079933"/>
              <a:gd name="connsiteY39094" fmla="*/ 2705140 h 4687251"/>
              <a:gd name="connsiteX39095" fmla="*/ 6348983 w 8079933"/>
              <a:gd name="connsiteY39095" fmla="*/ 2705573 h 4687251"/>
              <a:gd name="connsiteX39096" fmla="*/ 6347246 w 8079933"/>
              <a:gd name="connsiteY39096" fmla="*/ 2704274 h 4687251"/>
              <a:gd name="connsiteX39097" fmla="*/ 6343557 w 8079933"/>
              <a:gd name="connsiteY39097" fmla="*/ 2706006 h 4687251"/>
              <a:gd name="connsiteX39098" fmla="*/ 6340735 w 8079933"/>
              <a:gd name="connsiteY39098" fmla="*/ 2706331 h 4687251"/>
              <a:gd name="connsiteX39099" fmla="*/ 6339000 w 8079933"/>
              <a:gd name="connsiteY39099" fmla="*/ 2704815 h 4687251"/>
              <a:gd name="connsiteX39100" fmla="*/ 6337480 w 8079933"/>
              <a:gd name="connsiteY39100" fmla="*/ 2706764 h 4687251"/>
              <a:gd name="connsiteX39101" fmla="*/ 6334767 w 8079933"/>
              <a:gd name="connsiteY39101" fmla="*/ 2706764 h 4687251"/>
              <a:gd name="connsiteX39102" fmla="*/ 6333357 w 8079933"/>
              <a:gd name="connsiteY39102" fmla="*/ 2706114 h 4687251"/>
              <a:gd name="connsiteX39103" fmla="*/ 6333357 w 8079933"/>
              <a:gd name="connsiteY39103" fmla="*/ 2707089 h 4687251"/>
              <a:gd name="connsiteX39104" fmla="*/ 6332271 w 8079933"/>
              <a:gd name="connsiteY39104" fmla="*/ 2710445 h 4687251"/>
              <a:gd name="connsiteX39105" fmla="*/ 6336287 w 8079933"/>
              <a:gd name="connsiteY39105" fmla="*/ 2712394 h 4687251"/>
              <a:gd name="connsiteX39106" fmla="*/ 6336937 w 8079933"/>
              <a:gd name="connsiteY39106" fmla="*/ 2716725 h 4687251"/>
              <a:gd name="connsiteX39107" fmla="*/ 6334442 w 8079933"/>
              <a:gd name="connsiteY39107" fmla="*/ 2720839 h 4687251"/>
              <a:gd name="connsiteX39108" fmla="*/ 6334659 w 8079933"/>
              <a:gd name="connsiteY39108" fmla="*/ 2726036 h 4687251"/>
              <a:gd name="connsiteX39109" fmla="*/ 6333682 w 8079933"/>
              <a:gd name="connsiteY39109" fmla="*/ 2728959 h 4687251"/>
              <a:gd name="connsiteX39110" fmla="*/ 6335527 w 8079933"/>
              <a:gd name="connsiteY39110" fmla="*/ 2730475 h 4687251"/>
              <a:gd name="connsiteX39111" fmla="*/ 6334767 w 8079933"/>
              <a:gd name="connsiteY39111" fmla="*/ 2737080 h 4687251"/>
              <a:gd name="connsiteX39112" fmla="*/ 6331403 w 8079933"/>
              <a:gd name="connsiteY39112" fmla="*/ 2741410 h 4687251"/>
              <a:gd name="connsiteX39113" fmla="*/ 6330644 w 8079933"/>
              <a:gd name="connsiteY39113" fmla="*/ 2746283 h 4687251"/>
              <a:gd name="connsiteX39114" fmla="*/ 6327171 w 8079933"/>
              <a:gd name="connsiteY39114" fmla="*/ 2751371 h 4687251"/>
              <a:gd name="connsiteX39115" fmla="*/ 6325978 w 8079933"/>
              <a:gd name="connsiteY39115" fmla="*/ 2769452 h 4687251"/>
              <a:gd name="connsiteX39116" fmla="*/ 6320226 w 8079933"/>
              <a:gd name="connsiteY39116" fmla="*/ 2776706 h 4687251"/>
              <a:gd name="connsiteX39117" fmla="*/ 6320226 w 8079933"/>
              <a:gd name="connsiteY39117" fmla="*/ 2781795 h 4687251"/>
              <a:gd name="connsiteX39118" fmla="*/ 6317947 w 8079933"/>
              <a:gd name="connsiteY39118" fmla="*/ 2786559 h 4687251"/>
              <a:gd name="connsiteX39119" fmla="*/ 6320443 w 8079933"/>
              <a:gd name="connsiteY39119" fmla="*/ 2786992 h 4687251"/>
              <a:gd name="connsiteX39120" fmla="*/ 6321094 w 8079933"/>
              <a:gd name="connsiteY39120" fmla="*/ 2788183 h 4687251"/>
              <a:gd name="connsiteX39121" fmla="*/ 6318923 w 8079933"/>
              <a:gd name="connsiteY39121" fmla="*/ 2790999 h 4687251"/>
              <a:gd name="connsiteX39122" fmla="*/ 6319250 w 8079933"/>
              <a:gd name="connsiteY39122" fmla="*/ 2793164 h 4687251"/>
              <a:gd name="connsiteX39123" fmla="*/ 6320443 w 8079933"/>
              <a:gd name="connsiteY39123" fmla="*/ 2798144 h 4687251"/>
              <a:gd name="connsiteX39124" fmla="*/ 6320443 w 8079933"/>
              <a:gd name="connsiteY39124" fmla="*/ 2801284 h 4687251"/>
              <a:gd name="connsiteX39125" fmla="*/ 6325109 w 8079933"/>
              <a:gd name="connsiteY39125" fmla="*/ 2808105 h 4687251"/>
              <a:gd name="connsiteX39126" fmla="*/ 6322722 w 8079933"/>
              <a:gd name="connsiteY39126" fmla="*/ 2812760 h 4687251"/>
              <a:gd name="connsiteX39127" fmla="*/ 6324241 w 8079933"/>
              <a:gd name="connsiteY39127" fmla="*/ 2814493 h 4687251"/>
              <a:gd name="connsiteX39128" fmla="*/ 6326846 w 8079933"/>
              <a:gd name="connsiteY39128" fmla="*/ 2813735 h 4687251"/>
              <a:gd name="connsiteX39129" fmla="*/ 6327497 w 8079933"/>
              <a:gd name="connsiteY39129" fmla="*/ 2811786 h 4687251"/>
              <a:gd name="connsiteX39130" fmla="*/ 6329775 w 8079933"/>
              <a:gd name="connsiteY39130" fmla="*/ 2809187 h 4687251"/>
              <a:gd name="connsiteX39131" fmla="*/ 6330969 w 8079933"/>
              <a:gd name="connsiteY39131" fmla="*/ 2810054 h 4687251"/>
              <a:gd name="connsiteX39132" fmla="*/ 6334550 w 8079933"/>
              <a:gd name="connsiteY39132" fmla="*/ 2810703 h 4687251"/>
              <a:gd name="connsiteX39133" fmla="*/ 6336612 w 8079933"/>
              <a:gd name="connsiteY39133" fmla="*/ 2812760 h 4687251"/>
              <a:gd name="connsiteX39134" fmla="*/ 6337155 w 8079933"/>
              <a:gd name="connsiteY39134" fmla="*/ 2817633 h 4687251"/>
              <a:gd name="connsiteX39135" fmla="*/ 6339325 w 8079933"/>
              <a:gd name="connsiteY39135" fmla="*/ 2820556 h 4687251"/>
              <a:gd name="connsiteX39136" fmla="*/ 6338891 w 8079933"/>
              <a:gd name="connsiteY39136" fmla="*/ 2825645 h 4687251"/>
              <a:gd name="connsiteX39137" fmla="*/ 6341495 w 8079933"/>
              <a:gd name="connsiteY39137" fmla="*/ 2826619 h 4687251"/>
              <a:gd name="connsiteX39138" fmla="*/ 6343882 w 8079933"/>
              <a:gd name="connsiteY39138" fmla="*/ 2831925 h 4687251"/>
              <a:gd name="connsiteX39139" fmla="*/ 6346487 w 8079933"/>
              <a:gd name="connsiteY39139" fmla="*/ 2831816 h 4687251"/>
              <a:gd name="connsiteX39140" fmla="*/ 6346378 w 8079933"/>
              <a:gd name="connsiteY39140" fmla="*/ 2829217 h 4687251"/>
              <a:gd name="connsiteX39141" fmla="*/ 6346813 w 8079933"/>
              <a:gd name="connsiteY39141" fmla="*/ 2827160 h 4687251"/>
              <a:gd name="connsiteX39142" fmla="*/ 6347897 w 8079933"/>
              <a:gd name="connsiteY39142" fmla="*/ 2830950 h 4687251"/>
              <a:gd name="connsiteX39143" fmla="*/ 6350610 w 8079933"/>
              <a:gd name="connsiteY39143" fmla="*/ 2834848 h 4687251"/>
              <a:gd name="connsiteX39144" fmla="*/ 6350719 w 8079933"/>
              <a:gd name="connsiteY39144" fmla="*/ 2838854 h 4687251"/>
              <a:gd name="connsiteX39145" fmla="*/ 6352998 w 8079933"/>
              <a:gd name="connsiteY39145" fmla="*/ 2840045 h 4687251"/>
              <a:gd name="connsiteX39146" fmla="*/ 6354843 w 8079933"/>
              <a:gd name="connsiteY39146" fmla="*/ 2849898 h 4687251"/>
              <a:gd name="connsiteX39147" fmla="*/ 6353975 w 8079933"/>
              <a:gd name="connsiteY39147" fmla="*/ 2851196 h 4687251"/>
              <a:gd name="connsiteX39148" fmla="*/ 6353215 w 8079933"/>
              <a:gd name="connsiteY39148" fmla="*/ 2852929 h 4687251"/>
              <a:gd name="connsiteX39149" fmla="*/ 6352021 w 8079933"/>
              <a:gd name="connsiteY39149" fmla="*/ 2851305 h 4687251"/>
              <a:gd name="connsiteX39150" fmla="*/ 6348223 w 8079933"/>
              <a:gd name="connsiteY39150" fmla="*/ 2853795 h 4687251"/>
              <a:gd name="connsiteX39151" fmla="*/ 6347572 w 8079933"/>
              <a:gd name="connsiteY39151" fmla="*/ 2857260 h 4687251"/>
              <a:gd name="connsiteX39152" fmla="*/ 6354517 w 8079933"/>
              <a:gd name="connsiteY39152" fmla="*/ 2859859 h 4687251"/>
              <a:gd name="connsiteX39153" fmla="*/ 6355385 w 8079933"/>
              <a:gd name="connsiteY39153" fmla="*/ 2856286 h 4687251"/>
              <a:gd name="connsiteX39154" fmla="*/ 6356796 w 8079933"/>
              <a:gd name="connsiteY39154" fmla="*/ 2857368 h 4687251"/>
              <a:gd name="connsiteX39155" fmla="*/ 6357230 w 8079933"/>
              <a:gd name="connsiteY39155" fmla="*/ 2861590 h 4687251"/>
              <a:gd name="connsiteX39156" fmla="*/ 6360377 w 8079933"/>
              <a:gd name="connsiteY39156" fmla="*/ 2864189 h 4687251"/>
              <a:gd name="connsiteX39157" fmla="*/ 6367214 w 8079933"/>
              <a:gd name="connsiteY39157" fmla="*/ 2870902 h 4687251"/>
              <a:gd name="connsiteX39158" fmla="*/ 6370035 w 8079933"/>
              <a:gd name="connsiteY39158" fmla="*/ 2873175 h 4687251"/>
              <a:gd name="connsiteX39159" fmla="*/ 6372097 w 8079933"/>
              <a:gd name="connsiteY39159" fmla="*/ 2871768 h 4687251"/>
              <a:gd name="connsiteX39160" fmla="*/ 6376872 w 8079933"/>
              <a:gd name="connsiteY39160" fmla="*/ 2872310 h 4687251"/>
              <a:gd name="connsiteX39161" fmla="*/ 6381321 w 8079933"/>
              <a:gd name="connsiteY39161" fmla="*/ 2873933 h 4687251"/>
              <a:gd name="connsiteX39162" fmla="*/ 6384468 w 8079933"/>
              <a:gd name="connsiteY39162" fmla="*/ 2880863 h 4687251"/>
              <a:gd name="connsiteX39163" fmla="*/ 6387073 w 8079933"/>
              <a:gd name="connsiteY39163" fmla="*/ 2884219 h 4687251"/>
              <a:gd name="connsiteX39164" fmla="*/ 6391412 w 8079933"/>
              <a:gd name="connsiteY39164" fmla="*/ 2887034 h 4687251"/>
              <a:gd name="connsiteX39165" fmla="*/ 6391956 w 8079933"/>
              <a:gd name="connsiteY39165" fmla="*/ 2889308 h 4687251"/>
              <a:gd name="connsiteX39166" fmla="*/ 6390762 w 8079933"/>
              <a:gd name="connsiteY39166" fmla="*/ 2890499 h 4687251"/>
              <a:gd name="connsiteX39167" fmla="*/ 6390762 w 8079933"/>
              <a:gd name="connsiteY39167" fmla="*/ 2890500 h 4687251"/>
              <a:gd name="connsiteX39168" fmla="*/ 6391956 w 8079933"/>
              <a:gd name="connsiteY39168" fmla="*/ 2889308 h 4687251"/>
              <a:gd name="connsiteX39169" fmla="*/ 6391956 w 8079933"/>
              <a:gd name="connsiteY39169" fmla="*/ 2889417 h 4687251"/>
              <a:gd name="connsiteX39170" fmla="*/ 6395428 w 8079933"/>
              <a:gd name="connsiteY39170" fmla="*/ 2889200 h 4687251"/>
              <a:gd name="connsiteX39171" fmla="*/ 6397490 w 8079933"/>
              <a:gd name="connsiteY39171" fmla="*/ 2886818 h 4687251"/>
              <a:gd name="connsiteX39172" fmla="*/ 6399552 w 8079933"/>
              <a:gd name="connsiteY39172" fmla="*/ 2886276 h 4687251"/>
              <a:gd name="connsiteX39173" fmla="*/ 6403133 w 8079933"/>
              <a:gd name="connsiteY39173" fmla="*/ 2892881 h 4687251"/>
              <a:gd name="connsiteX39174" fmla="*/ 6420495 w 8079933"/>
              <a:gd name="connsiteY39174" fmla="*/ 2910530 h 4687251"/>
              <a:gd name="connsiteX39175" fmla="*/ 6425705 w 8079933"/>
              <a:gd name="connsiteY39175" fmla="*/ 2918867 h 4687251"/>
              <a:gd name="connsiteX39176" fmla="*/ 6428092 w 8079933"/>
              <a:gd name="connsiteY39176" fmla="*/ 2928503 h 4687251"/>
              <a:gd name="connsiteX39177" fmla="*/ 6426138 w 8079933"/>
              <a:gd name="connsiteY39177" fmla="*/ 2931101 h 4687251"/>
              <a:gd name="connsiteX39178" fmla="*/ 6426790 w 8079933"/>
              <a:gd name="connsiteY39178" fmla="*/ 2942794 h 4687251"/>
              <a:gd name="connsiteX39179" fmla="*/ 6425596 w 8079933"/>
              <a:gd name="connsiteY39179" fmla="*/ 2944851 h 4687251"/>
              <a:gd name="connsiteX39180" fmla="*/ 6425596 w 8079933"/>
              <a:gd name="connsiteY39180" fmla="*/ 2949074 h 4687251"/>
              <a:gd name="connsiteX39181" fmla="*/ 6427332 w 8079933"/>
              <a:gd name="connsiteY39181" fmla="*/ 2952214 h 4687251"/>
              <a:gd name="connsiteX39182" fmla="*/ 6427332 w 8079933"/>
              <a:gd name="connsiteY39182" fmla="*/ 2964016 h 4687251"/>
              <a:gd name="connsiteX39183" fmla="*/ 6430480 w 8079933"/>
              <a:gd name="connsiteY39183" fmla="*/ 2970295 h 4687251"/>
              <a:gd name="connsiteX39184" fmla="*/ 6435906 w 8079933"/>
              <a:gd name="connsiteY39184" fmla="*/ 2975275 h 4687251"/>
              <a:gd name="connsiteX39185" fmla="*/ 6439703 w 8079933"/>
              <a:gd name="connsiteY39185" fmla="*/ 2975275 h 4687251"/>
              <a:gd name="connsiteX39186" fmla="*/ 6440789 w 8079933"/>
              <a:gd name="connsiteY39186" fmla="*/ 2977332 h 4687251"/>
              <a:gd name="connsiteX39187" fmla="*/ 6440137 w 8079933"/>
              <a:gd name="connsiteY39187" fmla="*/ 2979173 h 4687251"/>
              <a:gd name="connsiteX39188" fmla="*/ 6441114 w 8079933"/>
              <a:gd name="connsiteY39188" fmla="*/ 2986319 h 4687251"/>
              <a:gd name="connsiteX39189" fmla="*/ 6442742 w 8079933"/>
              <a:gd name="connsiteY39189" fmla="*/ 2987727 h 4687251"/>
              <a:gd name="connsiteX39190" fmla="*/ 6443718 w 8079933"/>
              <a:gd name="connsiteY39190" fmla="*/ 2989567 h 4687251"/>
              <a:gd name="connsiteX39191" fmla="*/ 6443610 w 8079933"/>
              <a:gd name="connsiteY39191" fmla="*/ 2990975 h 4687251"/>
              <a:gd name="connsiteX39192" fmla="*/ 6445020 w 8079933"/>
              <a:gd name="connsiteY39192" fmla="*/ 2991624 h 4687251"/>
              <a:gd name="connsiteX39193" fmla="*/ 6450121 w 8079933"/>
              <a:gd name="connsiteY39193" fmla="*/ 3001585 h 4687251"/>
              <a:gd name="connsiteX39194" fmla="*/ 6450230 w 8079933"/>
              <a:gd name="connsiteY39194" fmla="*/ 3007540 h 4687251"/>
              <a:gd name="connsiteX39195" fmla="*/ 6446540 w 8079933"/>
              <a:gd name="connsiteY39195" fmla="*/ 3006891 h 4687251"/>
              <a:gd name="connsiteX39196" fmla="*/ 6445671 w 8079933"/>
              <a:gd name="connsiteY39196" fmla="*/ 3005050 h 4687251"/>
              <a:gd name="connsiteX39197" fmla="*/ 6445888 w 8079933"/>
              <a:gd name="connsiteY39197" fmla="*/ 3002452 h 4687251"/>
              <a:gd name="connsiteX39198" fmla="*/ 6443284 w 8079933"/>
              <a:gd name="connsiteY39198" fmla="*/ 3000503 h 4687251"/>
              <a:gd name="connsiteX39199" fmla="*/ 6444695 w 8079933"/>
              <a:gd name="connsiteY39199" fmla="*/ 3002343 h 4687251"/>
              <a:gd name="connsiteX39200" fmla="*/ 6444369 w 8079933"/>
              <a:gd name="connsiteY39200" fmla="*/ 3004942 h 4687251"/>
              <a:gd name="connsiteX39201" fmla="*/ 6442850 w 8079933"/>
              <a:gd name="connsiteY39201" fmla="*/ 3005483 h 4687251"/>
              <a:gd name="connsiteX39202" fmla="*/ 6445020 w 8079933"/>
              <a:gd name="connsiteY39202" fmla="*/ 3005808 h 4687251"/>
              <a:gd name="connsiteX39203" fmla="*/ 6445020 w 8079933"/>
              <a:gd name="connsiteY39203" fmla="*/ 3006891 h 4687251"/>
              <a:gd name="connsiteX39204" fmla="*/ 6440245 w 8079933"/>
              <a:gd name="connsiteY39204" fmla="*/ 3009814 h 4687251"/>
              <a:gd name="connsiteX39205" fmla="*/ 6438618 w 8079933"/>
              <a:gd name="connsiteY39205" fmla="*/ 3007324 h 4687251"/>
              <a:gd name="connsiteX39206" fmla="*/ 6436990 w 8079933"/>
              <a:gd name="connsiteY39206" fmla="*/ 3008948 h 4687251"/>
              <a:gd name="connsiteX39207" fmla="*/ 6432324 w 8079933"/>
              <a:gd name="connsiteY39207" fmla="*/ 3006674 h 4687251"/>
              <a:gd name="connsiteX39208" fmla="*/ 6429285 w 8079933"/>
              <a:gd name="connsiteY39208" fmla="*/ 3003101 h 4687251"/>
              <a:gd name="connsiteX39209" fmla="*/ 6421472 w 8079933"/>
              <a:gd name="connsiteY39209" fmla="*/ 3001585 h 4687251"/>
              <a:gd name="connsiteX39210" fmla="*/ 6414202 w 8079933"/>
              <a:gd name="connsiteY39210" fmla="*/ 2997796 h 4687251"/>
              <a:gd name="connsiteX39211" fmla="*/ 6410621 w 8079933"/>
              <a:gd name="connsiteY39211" fmla="*/ 2993898 h 4687251"/>
              <a:gd name="connsiteX39212" fmla="*/ 6408016 w 8079933"/>
              <a:gd name="connsiteY39212" fmla="*/ 2991733 h 4687251"/>
              <a:gd name="connsiteX39213" fmla="*/ 6404652 w 8079933"/>
              <a:gd name="connsiteY39213" fmla="*/ 2992599 h 4687251"/>
              <a:gd name="connsiteX39214" fmla="*/ 6401180 w 8079933"/>
              <a:gd name="connsiteY39214" fmla="*/ 2992383 h 4687251"/>
              <a:gd name="connsiteX39215" fmla="*/ 6395428 w 8079933"/>
              <a:gd name="connsiteY39215" fmla="*/ 2986319 h 4687251"/>
              <a:gd name="connsiteX39216" fmla="*/ 6395863 w 8079933"/>
              <a:gd name="connsiteY39216" fmla="*/ 2981880 h 4687251"/>
              <a:gd name="connsiteX39217" fmla="*/ 6388592 w 8079933"/>
              <a:gd name="connsiteY39217" fmla="*/ 2976142 h 4687251"/>
              <a:gd name="connsiteX39218" fmla="*/ 6380019 w 8079933"/>
              <a:gd name="connsiteY39218" fmla="*/ 2972785 h 4687251"/>
              <a:gd name="connsiteX39219" fmla="*/ 6377089 w 8079933"/>
              <a:gd name="connsiteY39219" fmla="*/ 2970079 h 4687251"/>
              <a:gd name="connsiteX39220" fmla="*/ 6377632 w 8079933"/>
              <a:gd name="connsiteY39220" fmla="*/ 2966830 h 4687251"/>
              <a:gd name="connsiteX39221" fmla="*/ 6381213 w 8079933"/>
              <a:gd name="connsiteY39221" fmla="*/ 2963366 h 4687251"/>
              <a:gd name="connsiteX39222" fmla="*/ 6378391 w 8079933"/>
              <a:gd name="connsiteY39222" fmla="*/ 2959035 h 4687251"/>
              <a:gd name="connsiteX39223" fmla="*/ 6374051 w 8079933"/>
              <a:gd name="connsiteY39223" fmla="*/ 2956545 h 4687251"/>
              <a:gd name="connsiteX39224" fmla="*/ 6369927 w 8079933"/>
              <a:gd name="connsiteY39224" fmla="*/ 2950048 h 4687251"/>
              <a:gd name="connsiteX39225" fmla="*/ 6363416 w 8079933"/>
              <a:gd name="connsiteY39225" fmla="*/ 2946259 h 4687251"/>
              <a:gd name="connsiteX39226" fmla="*/ 6360486 w 8079933"/>
              <a:gd name="connsiteY39226" fmla="*/ 2942036 h 4687251"/>
              <a:gd name="connsiteX39227" fmla="*/ 6361788 w 8079933"/>
              <a:gd name="connsiteY39227" fmla="*/ 2939871 h 4687251"/>
              <a:gd name="connsiteX39228" fmla="*/ 6358098 w 8079933"/>
              <a:gd name="connsiteY39228" fmla="*/ 2936514 h 4687251"/>
              <a:gd name="connsiteX39229" fmla="*/ 6357556 w 8079933"/>
              <a:gd name="connsiteY39229" fmla="*/ 2931209 h 4687251"/>
              <a:gd name="connsiteX39230" fmla="*/ 6359075 w 8079933"/>
              <a:gd name="connsiteY39230" fmla="*/ 2930018 h 4687251"/>
              <a:gd name="connsiteX39231" fmla="*/ 6359944 w 8079933"/>
              <a:gd name="connsiteY39231" fmla="*/ 2922223 h 4687251"/>
              <a:gd name="connsiteX39232" fmla="*/ 6357014 w 8079933"/>
              <a:gd name="connsiteY39232" fmla="*/ 2916268 h 4687251"/>
              <a:gd name="connsiteX39233" fmla="*/ 6354301 w 8079933"/>
              <a:gd name="connsiteY39233" fmla="*/ 2909772 h 4687251"/>
              <a:gd name="connsiteX39234" fmla="*/ 6351805 w 8079933"/>
              <a:gd name="connsiteY39234" fmla="*/ 2890066 h 4687251"/>
              <a:gd name="connsiteX39235" fmla="*/ 6346813 w 8079933"/>
              <a:gd name="connsiteY39235" fmla="*/ 2882055 h 4687251"/>
              <a:gd name="connsiteX39236" fmla="*/ 6348441 w 8079933"/>
              <a:gd name="connsiteY39236" fmla="*/ 2876641 h 4687251"/>
              <a:gd name="connsiteX39237" fmla="*/ 6351479 w 8079933"/>
              <a:gd name="connsiteY39237" fmla="*/ 2872635 h 4687251"/>
              <a:gd name="connsiteX39238" fmla="*/ 6354188 w 8079933"/>
              <a:gd name="connsiteY39238" fmla="*/ 2875016 h 4687251"/>
              <a:gd name="connsiteX39239" fmla="*/ 6351479 w 8079933"/>
              <a:gd name="connsiteY39239" fmla="*/ 2872634 h 4687251"/>
              <a:gd name="connsiteX39240" fmla="*/ 6348441 w 8079933"/>
              <a:gd name="connsiteY39240" fmla="*/ 2876640 h 4687251"/>
              <a:gd name="connsiteX39241" fmla="*/ 6346813 w 8079933"/>
              <a:gd name="connsiteY39241" fmla="*/ 2882053 h 4687251"/>
              <a:gd name="connsiteX39242" fmla="*/ 6344859 w 8079933"/>
              <a:gd name="connsiteY39242" fmla="*/ 2878806 h 4687251"/>
              <a:gd name="connsiteX39243" fmla="*/ 6334550 w 8079933"/>
              <a:gd name="connsiteY39243" fmla="*/ 2871443 h 4687251"/>
              <a:gd name="connsiteX39244" fmla="*/ 6334225 w 8079933"/>
              <a:gd name="connsiteY39244" fmla="*/ 2869494 h 4687251"/>
              <a:gd name="connsiteX39245" fmla="*/ 6336287 w 8079933"/>
              <a:gd name="connsiteY39245" fmla="*/ 2867221 h 4687251"/>
              <a:gd name="connsiteX39246" fmla="*/ 6336395 w 8079933"/>
              <a:gd name="connsiteY39246" fmla="*/ 2864622 h 4687251"/>
              <a:gd name="connsiteX39247" fmla="*/ 6333899 w 8079933"/>
              <a:gd name="connsiteY39247" fmla="*/ 2864297 h 4687251"/>
              <a:gd name="connsiteX39248" fmla="*/ 6332271 w 8079933"/>
              <a:gd name="connsiteY39248" fmla="*/ 2860400 h 4687251"/>
              <a:gd name="connsiteX39249" fmla="*/ 6327605 w 8079933"/>
              <a:gd name="connsiteY39249" fmla="*/ 2859641 h 4687251"/>
              <a:gd name="connsiteX39250" fmla="*/ 6327605 w 8079933"/>
              <a:gd name="connsiteY39250" fmla="*/ 2856394 h 4687251"/>
              <a:gd name="connsiteX39251" fmla="*/ 6322179 w 8079933"/>
              <a:gd name="connsiteY39251" fmla="*/ 2849139 h 4687251"/>
              <a:gd name="connsiteX39252" fmla="*/ 6318707 w 8079933"/>
              <a:gd name="connsiteY39252" fmla="*/ 2849139 h 4687251"/>
              <a:gd name="connsiteX39253" fmla="*/ 6315994 w 8079933"/>
              <a:gd name="connsiteY39253" fmla="*/ 2840478 h 4687251"/>
              <a:gd name="connsiteX39254" fmla="*/ 6311653 w 8079933"/>
              <a:gd name="connsiteY39254" fmla="*/ 2839720 h 4687251"/>
              <a:gd name="connsiteX39255" fmla="*/ 6311653 w 8079933"/>
              <a:gd name="connsiteY39255" fmla="*/ 2836147 h 4687251"/>
              <a:gd name="connsiteX39256" fmla="*/ 6308941 w 8079933"/>
              <a:gd name="connsiteY39256" fmla="*/ 2834198 h 4687251"/>
              <a:gd name="connsiteX39257" fmla="*/ 6309049 w 8079933"/>
              <a:gd name="connsiteY39257" fmla="*/ 2831816 h 4687251"/>
              <a:gd name="connsiteX39258" fmla="*/ 6304599 w 8079933"/>
              <a:gd name="connsiteY39258" fmla="*/ 2833982 h 4687251"/>
              <a:gd name="connsiteX39259" fmla="*/ 6304708 w 8079933"/>
              <a:gd name="connsiteY39259" fmla="*/ 2838529 h 4687251"/>
              <a:gd name="connsiteX39260" fmla="*/ 6301670 w 8079933"/>
              <a:gd name="connsiteY39260" fmla="*/ 2838096 h 4687251"/>
              <a:gd name="connsiteX39261" fmla="*/ 6299500 w 8079933"/>
              <a:gd name="connsiteY39261" fmla="*/ 2834848 h 4687251"/>
              <a:gd name="connsiteX39262" fmla="*/ 6298197 w 8079933"/>
              <a:gd name="connsiteY39262" fmla="*/ 2826727 h 4687251"/>
              <a:gd name="connsiteX39263" fmla="*/ 6299391 w 8079933"/>
              <a:gd name="connsiteY39263" fmla="*/ 2824562 h 4687251"/>
              <a:gd name="connsiteX39264" fmla="*/ 6298631 w 8079933"/>
              <a:gd name="connsiteY39264" fmla="*/ 2817741 h 4687251"/>
              <a:gd name="connsiteX39265" fmla="*/ 6301670 w 8079933"/>
              <a:gd name="connsiteY39265" fmla="*/ 2816333 h 4687251"/>
              <a:gd name="connsiteX39266" fmla="*/ 6301562 w 8079933"/>
              <a:gd name="connsiteY39266" fmla="*/ 2807130 h 4687251"/>
              <a:gd name="connsiteX39267" fmla="*/ 6304057 w 8079933"/>
              <a:gd name="connsiteY39267" fmla="*/ 2807672 h 4687251"/>
              <a:gd name="connsiteX39268" fmla="*/ 6305902 w 8079933"/>
              <a:gd name="connsiteY39268" fmla="*/ 2803991 h 4687251"/>
              <a:gd name="connsiteX39269" fmla="*/ 6303189 w 8079933"/>
              <a:gd name="connsiteY39269" fmla="*/ 2803450 h 4687251"/>
              <a:gd name="connsiteX39270" fmla="*/ 6306552 w 8079933"/>
              <a:gd name="connsiteY39270" fmla="*/ 2798578 h 4687251"/>
              <a:gd name="connsiteX39271" fmla="*/ 6305468 w 8079933"/>
              <a:gd name="connsiteY39271" fmla="*/ 2796628 h 4687251"/>
              <a:gd name="connsiteX39272" fmla="*/ 6308614 w 8079933"/>
              <a:gd name="connsiteY39272" fmla="*/ 2792081 h 4687251"/>
              <a:gd name="connsiteX39273" fmla="*/ 6305902 w 8079933"/>
              <a:gd name="connsiteY39273" fmla="*/ 2791756 h 4687251"/>
              <a:gd name="connsiteX39274" fmla="*/ 6306878 w 8079933"/>
              <a:gd name="connsiteY39274" fmla="*/ 2783961 h 4687251"/>
              <a:gd name="connsiteX39275" fmla="*/ 6306880 w 8079933"/>
              <a:gd name="connsiteY39275" fmla="*/ 2783956 h 4687251"/>
              <a:gd name="connsiteX39276" fmla="*/ 6306988 w 8079933"/>
              <a:gd name="connsiteY39276" fmla="*/ 2783095 h 4687251"/>
              <a:gd name="connsiteX39277" fmla="*/ 6304708 w 8079933"/>
              <a:gd name="connsiteY39277" fmla="*/ 2787967 h 4687251"/>
              <a:gd name="connsiteX39278" fmla="*/ 6304166 w 8079933"/>
              <a:gd name="connsiteY39278" fmla="*/ 2795005 h 4687251"/>
              <a:gd name="connsiteX39279" fmla="*/ 6301886 w 8079933"/>
              <a:gd name="connsiteY39279" fmla="*/ 2787643 h 4687251"/>
              <a:gd name="connsiteX39280" fmla="*/ 6301670 w 8079933"/>
              <a:gd name="connsiteY39280" fmla="*/ 2780713 h 4687251"/>
              <a:gd name="connsiteX39281" fmla="*/ 6300042 w 8079933"/>
              <a:gd name="connsiteY39281" fmla="*/ 2777898 h 4687251"/>
              <a:gd name="connsiteX39282" fmla="*/ 6299825 w 8079933"/>
              <a:gd name="connsiteY39282" fmla="*/ 2775516 h 4687251"/>
              <a:gd name="connsiteX39283" fmla="*/ 6301670 w 8079933"/>
              <a:gd name="connsiteY39283" fmla="*/ 2776275 h 4687251"/>
              <a:gd name="connsiteX39284" fmla="*/ 6303515 w 8079933"/>
              <a:gd name="connsiteY39284" fmla="*/ 2774650 h 4687251"/>
              <a:gd name="connsiteX39285" fmla="*/ 6306336 w 8079933"/>
              <a:gd name="connsiteY39285" fmla="*/ 2769886 h 4687251"/>
              <a:gd name="connsiteX39286" fmla="*/ 6306336 w 8079933"/>
              <a:gd name="connsiteY39286" fmla="*/ 2765988 h 4687251"/>
              <a:gd name="connsiteX39287" fmla="*/ 6304925 w 8079933"/>
              <a:gd name="connsiteY39287" fmla="*/ 2764690 h 4687251"/>
              <a:gd name="connsiteX39288" fmla="*/ 6305685 w 8079933"/>
              <a:gd name="connsiteY39288" fmla="*/ 2758410 h 4687251"/>
              <a:gd name="connsiteX39289" fmla="*/ 6307312 w 8079933"/>
              <a:gd name="connsiteY39289" fmla="*/ 2757652 h 4687251"/>
              <a:gd name="connsiteX39290" fmla="*/ 6308507 w 8079933"/>
              <a:gd name="connsiteY39290" fmla="*/ 2754837 h 4687251"/>
              <a:gd name="connsiteX39291" fmla="*/ 6306228 w 8079933"/>
              <a:gd name="connsiteY39291" fmla="*/ 2748341 h 4687251"/>
              <a:gd name="connsiteX39292" fmla="*/ 6309592 w 8079933"/>
              <a:gd name="connsiteY39292" fmla="*/ 2745742 h 4687251"/>
              <a:gd name="connsiteX39293" fmla="*/ 6306011 w 8079933"/>
              <a:gd name="connsiteY39293" fmla="*/ 2741952 h 4687251"/>
              <a:gd name="connsiteX39294" fmla="*/ 6303732 w 8079933"/>
              <a:gd name="connsiteY39294" fmla="*/ 2738596 h 4687251"/>
              <a:gd name="connsiteX39295" fmla="*/ 6303515 w 8079933"/>
              <a:gd name="connsiteY39295" fmla="*/ 2732425 h 4687251"/>
              <a:gd name="connsiteX39296" fmla="*/ 6305143 w 8079933"/>
              <a:gd name="connsiteY39296" fmla="*/ 2730042 h 4687251"/>
              <a:gd name="connsiteX39297" fmla="*/ 6303732 w 8079933"/>
              <a:gd name="connsiteY39297" fmla="*/ 2725712 h 4687251"/>
              <a:gd name="connsiteX39298" fmla="*/ 6301345 w 8079933"/>
              <a:gd name="connsiteY39298" fmla="*/ 2723980 h 4687251"/>
              <a:gd name="connsiteX39299" fmla="*/ 6299717 w 8079933"/>
              <a:gd name="connsiteY39299" fmla="*/ 2709363 h 4687251"/>
              <a:gd name="connsiteX39300" fmla="*/ 6296461 w 8079933"/>
              <a:gd name="connsiteY39300" fmla="*/ 2706440 h 4687251"/>
              <a:gd name="connsiteX39301" fmla="*/ 6295376 w 8079933"/>
              <a:gd name="connsiteY39301" fmla="*/ 2701351 h 4687251"/>
              <a:gd name="connsiteX39302" fmla="*/ 6291904 w 8079933"/>
              <a:gd name="connsiteY39302" fmla="*/ 2695613 h 4687251"/>
              <a:gd name="connsiteX39303" fmla="*/ 6291035 w 8079933"/>
              <a:gd name="connsiteY39303" fmla="*/ 2703191 h 4687251"/>
              <a:gd name="connsiteX39304" fmla="*/ 6289624 w 8079933"/>
              <a:gd name="connsiteY39304" fmla="*/ 2704274 h 4687251"/>
              <a:gd name="connsiteX39305" fmla="*/ 6289733 w 8079933"/>
              <a:gd name="connsiteY39305" fmla="*/ 2700052 h 4687251"/>
              <a:gd name="connsiteX39306" fmla="*/ 6287562 w 8079933"/>
              <a:gd name="connsiteY39306" fmla="*/ 2695721 h 4687251"/>
              <a:gd name="connsiteX39307" fmla="*/ 6287997 w 8079933"/>
              <a:gd name="connsiteY39307" fmla="*/ 2685327 h 4687251"/>
              <a:gd name="connsiteX39308" fmla="*/ 6284525 w 8079933"/>
              <a:gd name="connsiteY39308" fmla="*/ 2681105 h 4687251"/>
              <a:gd name="connsiteX39309" fmla="*/ 6284198 w 8079933"/>
              <a:gd name="connsiteY39309" fmla="*/ 2676340 h 4687251"/>
              <a:gd name="connsiteX39310" fmla="*/ 6285935 w 8079933"/>
              <a:gd name="connsiteY39310" fmla="*/ 2674500 h 4687251"/>
              <a:gd name="connsiteX39311" fmla="*/ 6279967 w 8079933"/>
              <a:gd name="connsiteY39311" fmla="*/ 2671036 h 4687251"/>
              <a:gd name="connsiteX39312" fmla="*/ 6279858 w 8079933"/>
              <a:gd name="connsiteY39312" fmla="*/ 2662807 h 4687251"/>
              <a:gd name="connsiteX39313" fmla="*/ 6278121 w 8079933"/>
              <a:gd name="connsiteY39313" fmla="*/ 2662590 h 4687251"/>
              <a:gd name="connsiteX39314" fmla="*/ 6276168 w 8079933"/>
              <a:gd name="connsiteY39314" fmla="*/ 2644834 h 4687251"/>
              <a:gd name="connsiteX39315" fmla="*/ 6273347 w 8079933"/>
              <a:gd name="connsiteY39315" fmla="*/ 2642885 h 4687251"/>
              <a:gd name="connsiteX39316" fmla="*/ 6272371 w 8079933"/>
              <a:gd name="connsiteY39316" fmla="*/ 2638446 h 4687251"/>
              <a:gd name="connsiteX39317" fmla="*/ 6274215 w 8079933"/>
              <a:gd name="connsiteY39317" fmla="*/ 2637688 h 4687251"/>
              <a:gd name="connsiteX39318" fmla="*/ 6274215 w 8079933"/>
              <a:gd name="connsiteY39318" fmla="*/ 2634765 h 4687251"/>
              <a:gd name="connsiteX39319" fmla="*/ 6271285 w 8079933"/>
              <a:gd name="connsiteY39319" fmla="*/ 2629243 h 4687251"/>
              <a:gd name="connsiteX39320" fmla="*/ 6272588 w 8079933"/>
              <a:gd name="connsiteY39320" fmla="*/ 2627077 h 4687251"/>
              <a:gd name="connsiteX39321" fmla="*/ 6272695 w 8079933"/>
              <a:gd name="connsiteY39321" fmla="*/ 2624371 h 4687251"/>
              <a:gd name="connsiteX39322" fmla="*/ 6271177 w 8079933"/>
              <a:gd name="connsiteY39322" fmla="*/ 2627186 h 4687251"/>
              <a:gd name="connsiteX39323" fmla="*/ 6267921 w 8079933"/>
              <a:gd name="connsiteY39323" fmla="*/ 2628485 h 4687251"/>
              <a:gd name="connsiteX39324" fmla="*/ 6263689 w 8079933"/>
              <a:gd name="connsiteY39324" fmla="*/ 2628485 h 4687251"/>
              <a:gd name="connsiteX39325" fmla="*/ 6262495 w 8079933"/>
              <a:gd name="connsiteY39325" fmla="*/ 2622747 h 4687251"/>
              <a:gd name="connsiteX39326" fmla="*/ 6260433 w 8079933"/>
              <a:gd name="connsiteY39326" fmla="*/ 2620148 h 4687251"/>
              <a:gd name="connsiteX39327" fmla="*/ 6255767 w 8079933"/>
              <a:gd name="connsiteY39327" fmla="*/ 2610945 h 4687251"/>
              <a:gd name="connsiteX39328" fmla="*/ 6254791 w 8079933"/>
              <a:gd name="connsiteY39328" fmla="*/ 2608455 h 4687251"/>
              <a:gd name="connsiteX39329" fmla="*/ 6252512 w 8079933"/>
              <a:gd name="connsiteY39329" fmla="*/ 2608238 h 4687251"/>
              <a:gd name="connsiteX39330" fmla="*/ 6252512 w 8079933"/>
              <a:gd name="connsiteY39330" fmla="*/ 2605531 h 4687251"/>
              <a:gd name="connsiteX39331" fmla="*/ 6248172 w 8079933"/>
              <a:gd name="connsiteY39331" fmla="*/ 2603041 h 4687251"/>
              <a:gd name="connsiteX39332" fmla="*/ 6250885 w 8079933"/>
              <a:gd name="connsiteY39332" fmla="*/ 2606073 h 4687251"/>
              <a:gd name="connsiteX39333" fmla="*/ 6250016 w 8079933"/>
              <a:gd name="connsiteY39333" fmla="*/ 2607697 h 4687251"/>
              <a:gd name="connsiteX39334" fmla="*/ 6249582 w 8079933"/>
              <a:gd name="connsiteY39334" fmla="*/ 2610404 h 4687251"/>
              <a:gd name="connsiteX39335" fmla="*/ 6252295 w 8079933"/>
              <a:gd name="connsiteY39335" fmla="*/ 2612461 h 4687251"/>
              <a:gd name="connsiteX39336" fmla="*/ 6251752 w 8079933"/>
              <a:gd name="connsiteY39336" fmla="*/ 2617333 h 4687251"/>
              <a:gd name="connsiteX39337" fmla="*/ 6249582 w 8079933"/>
              <a:gd name="connsiteY39337" fmla="*/ 2619606 h 4687251"/>
              <a:gd name="connsiteX39338" fmla="*/ 6250559 w 8079933"/>
              <a:gd name="connsiteY39338" fmla="*/ 2622530 h 4687251"/>
              <a:gd name="connsiteX39339" fmla="*/ 6244373 w 8079933"/>
              <a:gd name="connsiteY39339" fmla="*/ 2627618 h 4687251"/>
              <a:gd name="connsiteX39340" fmla="*/ 6240358 w 8079933"/>
              <a:gd name="connsiteY39340" fmla="*/ 2626861 h 4687251"/>
              <a:gd name="connsiteX39341" fmla="*/ 6237645 w 8079933"/>
              <a:gd name="connsiteY39341" fmla="*/ 2623396 h 4687251"/>
              <a:gd name="connsiteX39342" fmla="*/ 6236017 w 8079933"/>
              <a:gd name="connsiteY39342" fmla="*/ 2623396 h 4687251"/>
              <a:gd name="connsiteX39343" fmla="*/ 6237862 w 8079933"/>
              <a:gd name="connsiteY39343" fmla="*/ 2627186 h 4687251"/>
              <a:gd name="connsiteX39344" fmla="*/ 6237428 w 8079933"/>
              <a:gd name="connsiteY39344" fmla="*/ 2628810 h 4687251"/>
              <a:gd name="connsiteX39345" fmla="*/ 6241226 w 8079933"/>
              <a:gd name="connsiteY39345" fmla="*/ 2629892 h 4687251"/>
              <a:gd name="connsiteX39346" fmla="*/ 6236017 w 8079933"/>
              <a:gd name="connsiteY39346" fmla="*/ 2633032 h 4687251"/>
              <a:gd name="connsiteX39347" fmla="*/ 6232653 w 8079933"/>
              <a:gd name="connsiteY39347" fmla="*/ 2633032 h 4687251"/>
              <a:gd name="connsiteX39348" fmla="*/ 6230266 w 8079933"/>
              <a:gd name="connsiteY39348" fmla="*/ 2631408 h 4687251"/>
              <a:gd name="connsiteX39349" fmla="*/ 6228964 w 8079933"/>
              <a:gd name="connsiteY39349" fmla="*/ 2635522 h 4687251"/>
              <a:gd name="connsiteX39350" fmla="*/ 6219414 w 8079933"/>
              <a:gd name="connsiteY39350" fmla="*/ 2642018 h 4687251"/>
              <a:gd name="connsiteX39351" fmla="*/ 6214748 w 8079933"/>
              <a:gd name="connsiteY39351" fmla="*/ 2641477 h 4687251"/>
              <a:gd name="connsiteX39352" fmla="*/ 6213989 w 8079933"/>
              <a:gd name="connsiteY39352" fmla="*/ 2642560 h 4687251"/>
              <a:gd name="connsiteX39353" fmla="*/ 6211493 w 8079933"/>
              <a:gd name="connsiteY39353" fmla="*/ 2642560 h 4687251"/>
              <a:gd name="connsiteX39354" fmla="*/ 6211276 w 8079933"/>
              <a:gd name="connsiteY39354" fmla="*/ 2641261 h 4687251"/>
              <a:gd name="connsiteX39355" fmla="*/ 6210733 w 8079933"/>
              <a:gd name="connsiteY39355" fmla="*/ 2643643 h 4687251"/>
              <a:gd name="connsiteX39356" fmla="*/ 6208346 w 8079933"/>
              <a:gd name="connsiteY39356" fmla="*/ 2644184 h 4687251"/>
              <a:gd name="connsiteX39357" fmla="*/ 6205633 w 8079933"/>
              <a:gd name="connsiteY39357" fmla="*/ 2640720 h 4687251"/>
              <a:gd name="connsiteX39358" fmla="*/ 6199122 w 8079933"/>
              <a:gd name="connsiteY39358" fmla="*/ 2644184 h 4687251"/>
              <a:gd name="connsiteX39359" fmla="*/ 6198471 w 8079933"/>
              <a:gd name="connsiteY39359" fmla="*/ 2647432 h 4687251"/>
              <a:gd name="connsiteX39360" fmla="*/ 6195758 w 8079933"/>
              <a:gd name="connsiteY39360" fmla="*/ 2647540 h 4687251"/>
              <a:gd name="connsiteX39361" fmla="*/ 6195758 w 8079933"/>
              <a:gd name="connsiteY39361" fmla="*/ 2641153 h 4687251"/>
              <a:gd name="connsiteX39362" fmla="*/ 6202052 w 8079933"/>
              <a:gd name="connsiteY39362" fmla="*/ 2635089 h 4687251"/>
              <a:gd name="connsiteX39363" fmla="*/ 6202377 w 8079933"/>
              <a:gd name="connsiteY39363" fmla="*/ 2627402 h 4687251"/>
              <a:gd name="connsiteX39364" fmla="*/ 6199447 w 8079933"/>
              <a:gd name="connsiteY39364" fmla="*/ 2634440 h 4687251"/>
              <a:gd name="connsiteX39365" fmla="*/ 6194456 w 8079933"/>
              <a:gd name="connsiteY39365" fmla="*/ 2638771 h 4687251"/>
              <a:gd name="connsiteX39366" fmla="*/ 6190874 w 8079933"/>
              <a:gd name="connsiteY39366" fmla="*/ 2644509 h 4687251"/>
              <a:gd name="connsiteX39367" fmla="*/ 6190332 w 8079933"/>
              <a:gd name="connsiteY39367" fmla="*/ 2642344 h 4687251"/>
              <a:gd name="connsiteX39368" fmla="*/ 6190983 w 8079933"/>
              <a:gd name="connsiteY39368" fmla="*/ 2640611 h 4687251"/>
              <a:gd name="connsiteX39369" fmla="*/ 6189572 w 8079933"/>
              <a:gd name="connsiteY39369" fmla="*/ 2635522 h 4687251"/>
              <a:gd name="connsiteX39370" fmla="*/ 6193479 w 8079933"/>
              <a:gd name="connsiteY39370" fmla="*/ 2611811 h 4687251"/>
              <a:gd name="connsiteX39371" fmla="*/ 6198905 w 8079933"/>
              <a:gd name="connsiteY39371" fmla="*/ 2608455 h 4687251"/>
              <a:gd name="connsiteX39372" fmla="*/ 6196734 w 8079933"/>
              <a:gd name="connsiteY39372" fmla="*/ 2606289 h 4687251"/>
              <a:gd name="connsiteX39373" fmla="*/ 6192394 w 8079933"/>
              <a:gd name="connsiteY39373" fmla="*/ 2595787 h 4687251"/>
              <a:gd name="connsiteX39374" fmla="*/ 6191959 w 8079933"/>
              <a:gd name="connsiteY39374" fmla="*/ 2586476 h 4687251"/>
              <a:gd name="connsiteX39375" fmla="*/ 6189572 w 8079933"/>
              <a:gd name="connsiteY39375" fmla="*/ 2585284 h 4687251"/>
              <a:gd name="connsiteX39376" fmla="*/ 6188161 w 8079933"/>
              <a:gd name="connsiteY39376" fmla="*/ 2582794 h 4687251"/>
              <a:gd name="connsiteX39377" fmla="*/ 6189572 w 8079933"/>
              <a:gd name="connsiteY39377" fmla="*/ 2581929 h 4687251"/>
              <a:gd name="connsiteX39378" fmla="*/ 6186100 w 8079933"/>
              <a:gd name="connsiteY39378" fmla="*/ 2579221 h 4687251"/>
              <a:gd name="connsiteX39379" fmla="*/ 6184364 w 8079933"/>
              <a:gd name="connsiteY39379" fmla="*/ 2572401 h 4687251"/>
              <a:gd name="connsiteX39380" fmla="*/ 6181542 w 8079933"/>
              <a:gd name="connsiteY39380" fmla="*/ 2568719 h 4687251"/>
              <a:gd name="connsiteX39381" fmla="*/ 6179805 w 8079933"/>
              <a:gd name="connsiteY39381" fmla="*/ 2564930 h 4687251"/>
              <a:gd name="connsiteX39382" fmla="*/ 6179805 w 8079933"/>
              <a:gd name="connsiteY39382" fmla="*/ 2560815 h 4687251"/>
              <a:gd name="connsiteX39383" fmla="*/ 6174054 w 8079933"/>
              <a:gd name="connsiteY39383" fmla="*/ 2557243 h 4687251"/>
              <a:gd name="connsiteX39384" fmla="*/ 6176007 w 8079933"/>
              <a:gd name="connsiteY39384" fmla="*/ 2561141 h 4687251"/>
              <a:gd name="connsiteX39385" fmla="*/ 6177092 w 8079933"/>
              <a:gd name="connsiteY39385" fmla="*/ 2569478 h 4687251"/>
              <a:gd name="connsiteX39386" fmla="*/ 6168194 w 8079933"/>
              <a:gd name="connsiteY39386" fmla="*/ 2566987 h 4687251"/>
              <a:gd name="connsiteX39387" fmla="*/ 6164071 w 8079933"/>
              <a:gd name="connsiteY39387" fmla="*/ 2561898 h 4687251"/>
              <a:gd name="connsiteX39388" fmla="*/ 6163745 w 8079933"/>
              <a:gd name="connsiteY39388" fmla="*/ 2559192 h 4687251"/>
              <a:gd name="connsiteX39389" fmla="*/ 6159187 w 8079933"/>
              <a:gd name="connsiteY39389" fmla="*/ 2555186 h 4687251"/>
              <a:gd name="connsiteX39390" fmla="*/ 6158645 w 8079933"/>
              <a:gd name="connsiteY39390" fmla="*/ 2552695 h 4687251"/>
              <a:gd name="connsiteX39391" fmla="*/ 6162985 w 8079933"/>
              <a:gd name="connsiteY39391" fmla="*/ 2553020 h 4687251"/>
              <a:gd name="connsiteX39392" fmla="*/ 6164614 w 8079933"/>
              <a:gd name="connsiteY39392" fmla="*/ 2556593 h 4687251"/>
              <a:gd name="connsiteX39393" fmla="*/ 6168194 w 8079933"/>
              <a:gd name="connsiteY39393" fmla="*/ 2558434 h 4687251"/>
              <a:gd name="connsiteX39394" fmla="*/ 6169605 w 8079933"/>
              <a:gd name="connsiteY39394" fmla="*/ 2556809 h 4687251"/>
              <a:gd name="connsiteX39395" fmla="*/ 6168194 w 8079933"/>
              <a:gd name="connsiteY39395" fmla="*/ 2556160 h 4687251"/>
              <a:gd name="connsiteX39396" fmla="*/ 6164830 w 8079933"/>
              <a:gd name="connsiteY39396" fmla="*/ 2552803 h 4687251"/>
              <a:gd name="connsiteX39397" fmla="*/ 6168411 w 8079933"/>
              <a:gd name="connsiteY39397" fmla="*/ 2550746 h 4687251"/>
              <a:gd name="connsiteX39398" fmla="*/ 6171124 w 8079933"/>
              <a:gd name="connsiteY39398" fmla="*/ 2553453 h 4687251"/>
              <a:gd name="connsiteX39399" fmla="*/ 6174054 w 8079933"/>
              <a:gd name="connsiteY39399" fmla="*/ 2552370 h 4687251"/>
              <a:gd name="connsiteX39400" fmla="*/ 6173837 w 8079933"/>
              <a:gd name="connsiteY39400" fmla="*/ 2548364 h 4687251"/>
              <a:gd name="connsiteX39401" fmla="*/ 6169171 w 8079933"/>
              <a:gd name="connsiteY39401" fmla="*/ 2541435 h 4687251"/>
              <a:gd name="connsiteX39402" fmla="*/ 6161683 w 8079933"/>
              <a:gd name="connsiteY39402" fmla="*/ 2540028 h 4687251"/>
              <a:gd name="connsiteX39403" fmla="*/ 6159730 w 8079933"/>
              <a:gd name="connsiteY39403" fmla="*/ 2536996 h 4687251"/>
              <a:gd name="connsiteX39404" fmla="*/ 6155606 w 8079933"/>
              <a:gd name="connsiteY39404" fmla="*/ 2536238 h 4687251"/>
              <a:gd name="connsiteX39405" fmla="*/ 6154413 w 8079933"/>
              <a:gd name="connsiteY39405" fmla="*/ 2533207 h 4687251"/>
              <a:gd name="connsiteX39406" fmla="*/ 6153979 w 8079933"/>
              <a:gd name="connsiteY39406" fmla="*/ 2536238 h 4687251"/>
              <a:gd name="connsiteX39407" fmla="*/ 6149638 w 8079933"/>
              <a:gd name="connsiteY39407" fmla="*/ 2536780 h 4687251"/>
              <a:gd name="connsiteX39408" fmla="*/ 6149204 w 8079933"/>
              <a:gd name="connsiteY39408" fmla="*/ 2534831 h 4687251"/>
              <a:gd name="connsiteX39409" fmla="*/ 6152894 w 8079933"/>
              <a:gd name="connsiteY39409" fmla="*/ 2530608 h 4687251"/>
              <a:gd name="connsiteX39410" fmla="*/ 6148336 w 8079933"/>
              <a:gd name="connsiteY39410" fmla="*/ 2531041 h 4687251"/>
              <a:gd name="connsiteX39411" fmla="*/ 6144538 w 8079933"/>
              <a:gd name="connsiteY39411" fmla="*/ 2527901 h 4687251"/>
              <a:gd name="connsiteX39412" fmla="*/ 6144538 w 8079933"/>
              <a:gd name="connsiteY39412" fmla="*/ 2530175 h 4687251"/>
              <a:gd name="connsiteX39413" fmla="*/ 6146925 w 8079933"/>
              <a:gd name="connsiteY39413" fmla="*/ 2534289 h 4687251"/>
              <a:gd name="connsiteX39414" fmla="*/ 6136290 w 8079933"/>
              <a:gd name="connsiteY39414" fmla="*/ 2524762 h 4687251"/>
              <a:gd name="connsiteX39415" fmla="*/ 6134446 w 8079933"/>
              <a:gd name="connsiteY39415" fmla="*/ 2518482 h 4687251"/>
              <a:gd name="connsiteX39416" fmla="*/ 6132058 w 8079933"/>
              <a:gd name="connsiteY39416" fmla="*/ 2513501 h 4687251"/>
              <a:gd name="connsiteX39417" fmla="*/ 6131951 w 8079933"/>
              <a:gd name="connsiteY39417" fmla="*/ 2513609 h 4687251"/>
              <a:gd name="connsiteX39418" fmla="*/ 6131951 w 8079933"/>
              <a:gd name="connsiteY39418" fmla="*/ 2513609 h 4687251"/>
              <a:gd name="connsiteX39419" fmla="*/ 6131517 w 8079933"/>
              <a:gd name="connsiteY39419" fmla="*/ 2514150 h 4687251"/>
              <a:gd name="connsiteX39420" fmla="*/ 6132602 w 8079933"/>
              <a:gd name="connsiteY39420" fmla="*/ 2519997 h 4687251"/>
              <a:gd name="connsiteX39421" fmla="*/ 6131842 w 8079933"/>
              <a:gd name="connsiteY39421" fmla="*/ 2520430 h 4687251"/>
              <a:gd name="connsiteX39422" fmla="*/ 6128479 w 8079933"/>
              <a:gd name="connsiteY39422" fmla="*/ 2511985 h 4687251"/>
              <a:gd name="connsiteX39423" fmla="*/ 6124137 w 8079933"/>
              <a:gd name="connsiteY39423" fmla="*/ 2505813 h 4687251"/>
              <a:gd name="connsiteX39424" fmla="*/ 6122075 w 8079933"/>
              <a:gd name="connsiteY39424" fmla="*/ 2503215 h 4687251"/>
              <a:gd name="connsiteX39425" fmla="*/ 6123378 w 8079933"/>
              <a:gd name="connsiteY39425" fmla="*/ 2500400 h 4687251"/>
              <a:gd name="connsiteX39426" fmla="*/ 6123595 w 8079933"/>
              <a:gd name="connsiteY39426" fmla="*/ 2496503 h 4687251"/>
              <a:gd name="connsiteX39427" fmla="*/ 6122835 w 8079933"/>
              <a:gd name="connsiteY39427" fmla="*/ 2498560 h 4687251"/>
              <a:gd name="connsiteX39428" fmla="*/ 6119906 w 8079933"/>
              <a:gd name="connsiteY39428" fmla="*/ 2501266 h 4687251"/>
              <a:gd name="connsiteX39429" fmla="*/ 6119038 w 8079933"/>
              <a:gd name="connsiteY39429" fmla="*/ 2499750 h 4687251"/>
              <a:gd name="connsiteX39430" fmla="*/ 6120339 w 8079933"/>
              <a:gd name="connsiteY39430" fmla="*/ 2492713 h 4687251"/>
              <a:gd name="connsiteX39431" fmla="*/ 6118712 w 8079933"/>
              <a:gd name="connsiteY39431" fmla="*/ 2491630 h 4687251"/>
              <a:gd name="connsiteX39432" fmla="*/ 6119797 w 8079933"/>
              <a:gd name="connsiteY39432" fmla="*/ 2486217 h 4687251"/>
              <a:gd name="connsiteX39433" fmla="*/ 6119906 w 8079933"/>
              <a:gd name="connsiteY39433" fmla="*/ 2482968 h 4687251"/>
              <a:gd name="connsiteX39434" fmla="*/ 6116867 w 8079933"/>
              <a:gd name="connsiteY39434" fmla="*/ 2480911 h 4687251"/>
              <a:gd name="connsiteX39435" fmla="*/ 6109488 w 8079933"/>
              <a:gd name="connsiteY39435" fmla="*/ 2464454 h 4687251"/>
              <a:gd name="connsiteX39436" fmla="*/ 6107426 w 8079933"/>
              <a:gd name="connsiteY39436" fmla="*/ 2464454 h 4687251"/>
              <a:gd name="connsiteX39437" fmla="*/ 6107643 w 8079933"/>
              <a:gd name="connsiteY39437" fmla="*/ 2465862 h 4687251"/>
              <a:gd name="connsiteX39438" fmla="*/ 6106015 w 8079933"/>
              <a:gd name="connsiteY39438" fmla="*/ 2465212 h 4687251"/>
              <a:gd name="connsiteX39439" fmla="*/ 6101458 w 8079933"/>
              <a:gd name="connsiteY39439" fmla="*/ 2467919 h 4687251"/>
              <a:gd name="connsiteX39440" fmla="*/ 6092993 w 8079933"/>
              <a:gd name="connsiteY39440" fmla="*/ 2463913 h 4687251"/>
              <a:gd name="connsiteX39441" fmla="*/ 6092126 w 8079933"/>
              <a:gd name="connsiteY39441" fmla="*/ 2462289 h 4687251"/>
              <a:gd name="connsiteX39442" fmla="*/ 6089304 w 8079933"/>
              <a:gd name="connsiteY39442" fmla="*/ 2462505 h 4687251"/>
              <a:gd name="connsiteX39443" fmla="*/ 6085072 w 8079933"/>
              <a:gd name="connsiteY39443" fmla="*/ 2458499 h 4687251"/>
              <a:gd name="connsiteX39444" fmla="*/ 6083009 w 8079933"/>
              <a:gd name="connsiteY39444" fmla="*/ 2451461 h 4687251"/>
              <a:gd name="connsiteX39445" fmla="*/ 6083878 w 8079933"/>
              <a:gd name="connsiteY39445" fmla="*/ 2459799 h 4687251"/>
              <a:gd name="connsiteX39446" fmla="*/ 6087242 w 8079933"/>
              <a:gd name="connsiteY39446" fmla="*/ 2464671 h 4687251"/>
              <a:gd name="connsiteX39447" fmla="*/ 6086482 w 8079933"/>
              <a:gd name="connsiteY39447" fmla="*/ 2467161 h 4687251"/>
              <a:gd name="connsiteX39448" fmla="*/ 6081599 w 8079933"/>
              <a:gd name="connsiteY39448" fmla="*/ 2469001 h 4687251"/>
              <a:gd name="connsiteX39449" fmla="*/ 6084638 w 8079933"/>
              <a:gd name="connsiteY39449" fmla="*/ 2470193 h 4687251"/>
              <a:gd name="connsiteX39450" fmla="*/ 6087893 w 8079933"/>
              <a:gd name="connsiteY39450" fmla="*/ 2475498 h 4687251"/>
              <a:gd name="connsiteX39451" fmla="*/ 6087458 w 8079933"/>
              <a:gd name="connsiteY39451" fmla="*/ 2481885 h 4687251"/>
              <a:gd name="connsiteX39452" fmla="*/ 6082792 w 8079933"/>
              <a:gd name="connsiteY39452" fmla="*/ 2483726 h 4687251"/>
              <a:gd name="connsiteX39453" fmla="*/ 6078995 w 8079933"/>
              <a:gd name="connsiteY39453" fmla="*/ 2490872 h 4687251"/>
              <a:gd name="connsiteX39454" fmla="*/ 6075197 w 8079933"/>
              <a:gd name="connsiteY39454" fmla="*/ 2488274 h 4687251"/>
              <a:gd name="connsiteX39455" fmla="*/ 6077475 w 8079933"/>
              <a:gd name="connsiteY39455" fmla="*/ 2484160 h 4687251"/>
              <a:gd name="connsiteX39456" fmla="*/ 6079537 w 8079933"/>
              <a:gd name="connsiteY39456" fmla="*/ 2483293 h 4687251"/>
              <a:gd name="connsiteX39457" fmla="*/ 6080514 w 8079933"/>
              <a:gd name="connsiteY39457" fmla="*/ 2481128 h 4687251"/>
              <a:gd name="connsiteX39458" fmla="*/ 6077150 w 8079933"/>
              <a:gd name="connsiteY39458" fmla="*/ 2482752 h 4687251"/>
              <a:gd name="connsiteX39459" fmla="*/ 6074220 w 8079933"/>
              <a:gd name="connsiteY39459" fmla="*/ 2487624 h 4687251"/>
              <a:gd name="connsiteX39460" fmla="*/ 6071073 w 8079933"/>
              <a:gd name="connsiteY39460" fmla="*/ 2483185 h 4687251"/>
              <a:gd name="connsiteX39461" fmla="*/ 6073460 w 8079933"/>
              <a:gd name="connsiteY39461" fmla="*/ 2475173 h 4687251"/>
              <a:gd name="connsiteX39462" fmla="*/ 6073460 w 8079933"/>
              <a:gd name="connsiteY39462" fmla="*/ 2473657 h 4687251"/>
              <a:gd name="connsiteX39463" fmla="*/ 6071724 w 8079933"/>
              <a:gd name="connsiteY39463" fmla="*/ 2471600 h 4687251"/>
              <a:gd name="connsiteX39464" fmla="*/ 6072809 w 8079933"/>
              <a:gd name="connsiteY39464" fmla="*/ 2473765 h 4687251"/>
              <a:gd name="connsiteX39465" fmla="*/ 6070964 w 8079933"/>
              <a:gd name="connsiteY39465" fmla="*/ 2476797 h 4687251"/>
              <a:gd name="connsiteX39466" fmla="*/ 6070422 w 8079933"/>
              <a:gd name="connsiteY39466" fmla="*/ 2481669 h 4687251"/>
              <a:gd name="connsiteX39467" fmla="*/ 6069120 w 8079933"/>
              <a:gd name="connsiteY39467" fmla="*/ 2481777 h 4687251"/>
              <a:gd name="connsiteX39468" fmla="*/ 6071616 w 8079933"/>
              <a:gd name="connsiteY39468" fmla="*/ 2487407 h 4687251"/>
              <a:gd name="connsiteX39469" fmla="*/ 6071290 w 8079933"/>
              <a:gd name="connsiteY39469" fmla="*/ 2491630 h 4687251"/>
              <a:gd name="connsiteX39470" fmla="*/ 6068903 w 8079933"/>
              <a:gd name="connsiteY39470" fmla="*/ 2492929 h 4687251"/>
              <a:gd name="connsiteX39471" fmla="*/ 6068577 w 8079933"/>
              <a:gd name="connsiteY39471" fmla="*/ 2492280 h 4687251"/>
              <a:gd name="connsiteX39472" fmla="*/ 6065430 w 8079933"/>
              <a:gd name="connsiteY39472" fmla="*/ 2490223 h 4687251"/>
              <a:gd name="connsiteX39473" fmla="*/ 6063368 w 8079933"/>
              <a:gd name="connsiteY39473" fmla="*/ 2491089 h 4687251"/>
              <a:gd name="connsiteX39474" fmla="*/ 6062283 w 8079933"/>
              <a:gd name="connsiteY39474" fmla="*/ 2494554 h 4687251"/>
              <a:gd name="connsiteX39475" fmla="*/ 6059462 w 8079933"/>
              <a:gd name="connsiteY39475" fmla="*/ 2494554 h 4687251"/>
              <a:gd name="connsiteX39476" fmla="*/ 6058485 w 8079933"/>
              <a:gd name="connsiteY39476" fmla="*/ 2492388 h 4687251"/>
              <a:gd name="connsiteX39477" fmla="*/ 6056640 w 8079933"/>
              <a:gd name="connsiteY39477" fmla="*/ 2487732 h 4687251"/>
              <a:gd name="connsiteX39478" fmla="*/ 6054253 w 8079933"/>
              <a:gd name="connsiteY39478" fmla="*/ 2488490 h 4687251"/>
              <a:gd name="connsiteX39479" fmla="*/ 6053631 w 8079933"/>
              <a:gd name="connsiteY39479" fmla="*/ 2481466 h 4687251"/>
              <a:gd name="connsiteX39480" fmla="*/ 6054252 w 8079933"/>
              <a:gd name="connsiteY39480" fmla="*/ 2488489 h 4687251"/>
              <a:gd name="connsiteX39481" fmla="*/ 6053167 w 8079933"/>
              <a:gd name="connsiteY39481" fmla="*/ 2488923 h 4687251"/>
              <a:gd name="connsiteX39482" fmla="*/ 6055880 w 8079933"/>
              <a:gd name="connsiteY39482" fmla="*/ 2494336 h 4687251"/>
              <a:gd name="connsiteX39483" fmla="*/ 6053385 w 8079933"/>
              <a:gd name="connsiteY39483" fmla="*/ 2498667 h 4687251"/>
              <a:gd name="connsiteX39484" fmla="*/ 6049586 w 8079933"/>
              <a:gd name="connsiteY39484" fmla="*/ 2494661 h 4687251"/>
              <a:gd name="connsiteX39485" fmla="*/ 6049586 w 8079933"/>
              <a:gd name="connsiteY39485" fmla="*/ 2497260 h 4687251"/>
              <a:gd name="connsiteX39486" fmla="*/ 6046981 w 8079933"/>
              <a:gd name="connsiteY39486" fmla="*/ 2495852 h 4687251"/>
              <a:gd name="connsiteX39487" fmla="*/ 6045354 w 8079933"/>
              <a:gd name="connsiteY39487" fmla="*/ 2490439 h 4687251"/>
              <a:gd name="connsiteX39488" fmla="*/ 6044377 w 8079933"/>
              <a:gd name="connsiteY39488" fmla="*/ 2487732 h 4687251"/>
              <a:gd name="connsiteX39489" fmla="*/ 6043726 w 8079933"/>
              <a:gd name="connsiteY39489" fmla="*/ 2489680 h 4687251"/>
              <a:gd name="connsiteX39490" fmla="*/ 6043075 w 8079933"/>
              <a:gd name="connsiteY39490" fmla="*/ 2492496 h 4687251"/>
              <a:gd name="connsiteX39491" fmla="*/ 6042532 w 8079933"/>
              <a:gd name="connsiteY39491" fmla="*/ 2491305 h 4687251"/>
              <a:gd name="connsiteX39492" fmla="*/ 6041664 w 8079933"/>
              <a:gd name="connsiteY39492" fmla="*/ 2492929 h 4687251"/>
              <a:gd name="connsiteX39493" fmla="*/ 6037866 w 8079933"/>
              <a:gd name="connsiteY39493" fmla="*/ 2492929 h 4687251"/>
              <a:gd name="connsiteX39494" fmla="*/ 6037432 w 8079933"/>
              <a:gd name="connsiteY39494" fmla="*/ 2493686 h 4687251"/>
              <a:gd name="connsiteX39495" fmla="*/ 6033526 w 8079933"/>
              <a:gd name="connsiteY39495" fmla="*/ 2492387 h 4687251"/>
              <a:gd name="connsiteX39496" fmla="*/ 6032223 w 8079933"/>
              <a:gd name="connsiteY39496" fmla="*/ 2486432 h 4687251"/>
              <a:gd name="connsiteX39497" fmla="*/ 6033200 w 8079933"/>
              <a:gd name="connsiteY39497" fmla="*/ 2482751 h 4687251"/>
              <a:gd name="connsiteX39498" fmla="*/ 6029619 w 8079933"/>
              <a:gd name="connsiteY39498" fmla="*/ 2479611 h 4687251"/>
              <a:gd name="connsiteX39499" fmla="*/ 6025495 w 8079933"/>
              <a:gd name="connsiteY39499" fmla="*/ 2479611 h 4687251"/>
              <a:gd name="connsiteX39500" fmla="*/ 6025821 w 8079933"/>
              <a:gd name="connsiteY39500" fmla="*/ 2480911 h 4687251"/>
              <a:gd name="connsiteX39501" fmla="*/ 6028643 w 8079933"/>
              <a:gd name="connsiteY39501" fmla="*/ 2481668 h 4687251"/>
              <a:gd name="connsiteX39502" fmla="*/ 6030487 w 8079933"/>
              <a:gd name="connsiteY39502" fmla="*/ 2483834 h 4687251"/>
              <a:gd name="connsiteX39503" fmla="*/ 6029077 w 8079933"/>
              <a:gd name="connsiteY39503" fmla="*/ 2485241 h 4687251"/>
              <a:gd name="connsiteX39504" fmla="*/ 6027666 w 8079933"/>
              <a:gd name="connsiteY39504" fmla="*/ 2488598 h 4687251"/>
              <a:gd name="connsiteX39505" fmla="*/ 6027231 w 8079933"/>
              <a:gd name="connsiteY39505" fmla="*/ 2491954 h 4687251"/>
              <a:gd name="connsiteX39506" fmla="*/ 6023759 w 8079933"/>
              <a:gd name="connsiteY39506" fmla="*/ 2495960 h 4687251"/>
              <a:gd name="connsiteX39507" fmla="*/ 6008892 w 8079933"/>
              <a:gd name="connsiteY39507" fmla="*/ 2501374 h 4687251"/>
              <a:gd name="connsiteX39508" fmla="*/ 6006397 w 8079933"/>
              <a:gd name="connsiteY39508" fmla="*/ 2503539 h 4687251"/>
              <a:gd name="connsiteX39509" fmla="*/ 6005312 w 8079933"/>
              <a:gd name="connsiteY39509" fmla="*/ 2507112 h 4687251"/>
              <a:gd name="connsiteX39510" fmla="*/ 6003032 w 8079933"/>
              <a:gd name="connsiteY39510" fmla="*/ 2511768 h 4687251"/>
              <a:gd name="connsiteX39511" fmla="*/ 6003792 w 8079933"/>
              <a:gd name="connsiteY39511" fmla="*/ 2514691 h 4687251"/>
              <a:gd name="connsiteX39512" fmla="*/ 6006397 w 8079933"/>
              <a:gd name="connsiteY39512" fmla="*/ 2519672 h 4687251"/>
              <a:gd name="connsiteX39513" fmla="*/ 6006071 w 8079933"/>
              <a:gd name="connsiteY39513" fmla="*/ 2521188 h 4687251"/>
              <a:gd name="connsiteX39514" fmla="*/ 6007590 w 8079933"/>
              <a:gd name="connsiteY39514" fmla="*/ 2521945 h 4687251"/>
              <a:gd name="connsiteX39515" fmla="*/ 6002164 w 8079933"/>
              <a:gd name="connsiteY39515" fmla="*/ 2526601 h 4687251"/>
              <a:gd name="connsiteX39516" fmla="*/ 6000971 w 8079933"/>
              <a:gd name="connsiteY39516" fmla="*/ 2530931 h 4687251"/>
              <a:gd name="connsiteX39517" fmla="*/ 5998366 w 8079933"/>
              <a:gd name="connsiteY39517" fmla="*/ 2531148 h 4687251"/>
              <a:gd name="connsiteX39518" fmla="*/ 5999451 w 8079933"/>
              <a:gd name="connsiteY39518" fmla="*/ 2534180 h 4687251"/>
              <a:gd name="connsiteX39519" fmla="*/ 5990661 w 8079933"/>
              <a:gd name="connsiteY39519" fmla="*/ 2540351 h 4687251"/>
              <a:gd name="connsiteX39520" fmla="*/ 5990228 w 8079933"/>
              <a:gd name="connsiteY39520" fmla="*/ 2543383 h 4687251"/>
              <a:gd name="connsiteX39521" fmla="*/ 5977206 w 8079933"/>
              <a:gd name="connsiteY39521" fmla="*/ 2550096 h 4687251"/>
              <a:gd name="connsiteX39522" fmla="*/ 5975794 w 8079933"/>
              <a:gd name="connsiteY39522" fmla="*/ 2548255 h 4687251"/>
              <a:gd name="connsiteX39523" fmla="*/ 5975686 w 8079933"/>
              <a:gd name="connsiteY39523" fmla="*/ 2545873 h 4687251"/>
              <a:gd name="connsiteX39524" fmla="*/ 5974710 w 8079933"/>
              <a:gd name="connsiteY39524" fmla="*/ 2544682 h 4687251"/>
              <a:gd name="connsiteX39525" fmla="*/ 5972864 w 8079933"/>
              <a:gd name="connsiteY39525" fmla="*/ 2544682 h 4687251"/>
              <a:gd name="connsiteX39526" fmla="*/ 5968849 w 8079933"/>
              <a:gd name="connsiteY39526" fmla="*/ 2547930 h 4687251"/>
              <a:gd name="connsiteX39527" fmla="*/ 5966245 w 8079933"/>
              <a:gd name="connsiteY39527" fmla="*/ 2548255 h 4687251"/>
              <a:gd name="connsiteX39528" fmla="*/ 5965269 w 8079933"/>
              <a:gd name="connsiteY39528" fmla="*/ 2554643 h 4687251"/>
              <a:gd name="connsiteX39529" fmla="*/ 5969067 w 8079933"/>
              <a:gd name="connsiteY39529" fmla="*/ 2553127 h 4687251"/>
              <a:gd name="connsiteX39530" fmla="*/ 5970369 w 8079933"/>
              <a:gd name="connsiteY39530" fmla="*/ 2551503 h 4687251"/>
              <a:gd name="connsiteX39531" fmla="*/ 5972540 w 8079933"/>
              <a:gd name="connsiteY39531" fmla="*/ 2552477 h 4687251"/>
              <a:gd name="connsiteX39532" fmla="*/ 5956262 w 8079933"/>
              <a:gd name="connsiteY39532" fmla="*/ 2566986 h 4687251"/>
              <a:gd name="connsiteX39533" fmla="*/ 5952138 w 8079933"/>
              <a:gd name="connsiteY39533" fmla="*/ 2578246 h 4687251"/>
              <a:gd name="connsiteX39534" fmla="*/ 5930760 w 8079933"/>
              <a:gd name="connsiteY39534" fmla="*/ 2595461 h 4687251"/>
              <a:gd name="connsiteX39535" fmla="*/ 5927505 w 8079933"/>
              <a:gd name="connsiteY39535" fmla="*/ 2601524 h 4687251"/>
              <a:gd name="connsiteX39536" fmla="*/ 5922622 w 8079933"/>
              <a:gd name="connsiteY39536" fmla="*/ 2606505 h 4687251"/>
              <a:gd name="connsiteX39537" fmla="*/ 5913615 w 8079933"/>
              <a:gd name="connsiteY39537" fmla="*/ 2609536 h 4687251"/>
              <a:gd name="connsiteX39538" fmla="*/ 5906887 w 8079933"/>
              <a:gd name="connsiteY39538" fmla="*/ 2615166 h 4687251"/>
              <a:gd name="connsiteX39539" fmla="*/ 5906127 w 8079933"/>
              <a:gd name="connsiteY39539" fmla="*/ 2620146 h 4687251"/>
              <a:gd name="connsiteX39540" fmla="*/ 5907103 w 8079933"/>
              <a:gd name="connsiteY39540" fmla="*/ 2625777 h 4687251"/>
              <a:gd name="connsiteX39541" fmla="*/ 5903088 w 8079933"/>
              <a:gd name="connsiteY39541" fmla="*/ 2631515 h 4687251"/>
              <a:gd name="connsiteX39542" fmla="*/ 5897446 w 8079933"/>
              <a:gd name="connsiteY39542" fmla="*/ 2635088 h 4687251"/>
              <a:gd name="connsiteX39543" fmla="*/ 5886811 w 8079933"/>
              <a:gd name="connsiteY39543" fmla="*/ 2633464 h 4687251"/>
              <a:gd name="connsiteX39544" fmla="*/ 5882145 w 8079933"/>
              <a:gd name="connsiteY39544" fmla="*/ 2637470 h 4687251"/>
              <a:gd name="connsiteX39545" fmla="*/ 5882145 w 8079933"/>
              <a:gd name="connsiteY39545" fmla="*/ 2642558 h 4687251"/>
              <a:gd name="connsiteX39546" fmla="*/ 5875634 w 8079933"/>
              <a:gd name="connsiteY39546" fmla="*/ 2650895 h 4687251"/>
              <a:gd name="connsiteX39547" fmla="*/ 5871944 w 8079933"/>
              <a:gd name="connsiteY39547" fmla="*/ 2650462 h 4687251"/>
              <a:gd name="connsiteX39548" fmla="*/ 5869448 w 8079933"/>
              <a:gd name="connsiteY39548" fmla="*/ 2646889 h 4687251"/>
              <a:gd name="connsiteX39549" fmla="*/ 5867495 w 8079933"/>
              <a:gd name="connsiteY39549" fmla="*/ 2646889 h 4687251"/>
              <a:gd name="connsiteX39550" fmla="*/ 5859465 w 8079933"/>
              <a:gd name="connsiteY39550" fmla="*/ 2654793 h 4687251"/>
              <a:gd name="connsiteX39551" fmla="*/ 5857186 w 8079933"/>
              <a:gd name="connsiteY39551" fmla="*/ 2659124 h 4687251"/>
              <a:gd name="connsiteX39552" fmla="*/ 5857295 w 8079933"/>
              <a:gd name="connsiteY39552" fmla="*/ 2667569 h 4687251"/>
              <a:gd name="connsiteX39553" fmla="*/ 5861309 w 8079933"/>
              <a:gd name="connsiteY39553" fmla="*/ 2679370 h 4687251"/>
              <a:gd name="connsiteX39554" fmla="*/ 5857512 w 8079933"/>
              <a:gd name="connsiteY39554" fmla="*/ 2683701 h 4687251"/>
              <a:gd name="connsiteX39555" fmla="*/ 5858271 w 8079933"/>
              <a:gd name="connsiteY39555" fmla="*/ 2690198 h 4687251"/>
              <a:gd name="connsiteX39556" fmla="*/ 5858271 w 8079933"/>
              <a:gd name="connsiteY39556" fmla="*/ 2708604 h 4687251"/>
              <a:gd name="connsiteX39557" fmla="*/ 5864240 w 8079933"/>
              <a:gd name="connsiteY39557" fmla="*/ 2710553 h 4687251"/>
              <a:gd name="connsiteX39558" fmla="*/ 5865108 w 8079933"/>
              <a:gd name="connsiteY39558" fmla="*/ 2722354 h 4687251"/>
              <a:gd name="connsiteX39559" fmla="*/ 5859682 w 8079933"/>
              <a:gd name="connsiteY39559" fmla="*/ 2738053 h 4687251"/>
              <a:gd name="connsiteX39560" fmla="*/ 5853496 w 8079933"/>
              <a:gd name="connsiteY39560" fmla="*/ 2748988 h 4687251"/>
              <a:gd name="connsiteX39561" fmla="*/ 5853496 w 8079933"/>
              <a:gd name="connsiteY39561" fmla="*/ 2758191 h 4687251"/>
              <a:gd name="connsiteX39562" fmla="*/ 5855884 w 8079933"/>
              <a:gd name="connsiteY39562" fmla="*/ 2761873 h 4687251"/>
              <a:gd name="connsiteX39563" fmla="*/ 5857729 w 8079933"/>
              <a:gd name="connsiteY39563" fmla="*/ 2781686 h 4687251"/>
              <a:gd name="connsiteX39564" fmla="*/ 5857729 w 8079933"/>
              <a:gd name="connsiteY39564" fmla="*/ 2787100 h 4687251"/>
              <a:gd name="connsiteX39565" fmla="*/ 5853171 w 8079933"/>
              <a:gd name="connsiteY39565" fmla="*/ 2788832 h 4687251"/>
              <a:gd name="connsiteX39566" fmla="*/ 5850675 w 8079933"/>
              <a:gd name="connsiteY39566" fmla="*/ 2787641 h 4687251"/>
              <a:gd name="connsiteX39567" fmla="*/ 5844381 w 8079933"/>
              <a:gd name="connsiteY39567" fmla="*/ 2788615 h 4687251"/>
              <a:gd name="connsiteX39568" fmla="*/ 5841668 w 8079933"/>
              <a:gd name="connsiteY39568" fmla="*/ 2793379 h 4687251"/>
              <a:gd name="connsiteX39569" fmla="*/ 5842862 w 8079933"/>
              <a:gd name="connsiteY39569" fmla="*/ 2795328 h 4687251"/>
              <a:gd name="connsiteX39570" fmla="*/ 5836676 w 8079933"/>
              <a:gd name="connsiteY39570" fmla="*/ 2803448 h 4687251"/>
              <a:gd name="connsiteX39571" fmla="*/ 5834506 w 8079933"/>
              <a:gd name="connsiteY39571" fmla="*/ 2806156 h 4687251"/>
              <a:gd name="connsiteX39572" fmla="*/ 5835266 w 8079933"/>
              <a:gd name="connsiteY39572" fmla="*/ 2809295 h 4687251"/>
              <a:gd name="connsiteX39573" fmla="*/ 5843079 w 8079933"/>
              <a:gd name="connsiteY39573" fmla="*/ 2813193 h 4687251"/>
              <a:gd name="connsiteX39574" fmla="*/ 5843948 w 8079933"/>
              <a:gd name="connsiteY39574" fmla="*/ 2814601 h 4687251"/>
              <a:gd name="connsiteX39575" fmla="*/ 5844055 w 8079933"/>
              <a:gd name="connsiteY39575" fmla="*/ 2816333 h 4687251"/>
              <a:gd name="connsiteX39576" fmla="*/ 5843079 w 8079933"/>
              <a:gd name="connsiteY39576" fmla="*/ 2814168 h 4687251"/>
              <a:gd name="connsiteX39577" fmla="*/ 5839389 w 8079933"/>
              <a:gd name="connsiteY39577" fmla="*/ 2812760 h 4687251"/>
              <a:gd name="connsiteX39578" fmla="*/ 5829080 w 8079933"/>
              <a:gd name="connsiteY39578" fmla="*/ 2816333 h 4687251"/>
              <a:gd name="connsiteX39579" fmla="*/ 5827452 w 8079933"/>
              <a:gd name="connsiteY39579" fmla="*/ 2816117 h 4687251"/>
              <a:gd name="connsiteX39580" fmla="*/ 5819205 w 8079933"/>
              <a:gd name="connsiteY39580" fmla="*/ 2819797 h 4687251"/>
              <a:gd name="connsiteX39581" fmla="*/ 5816493 w 8079933"/>
              <a:gd name="connsiteY39581" fmla="*/ 2824020 h 4687251"/>
              <a:gd name="connsiteX39582" fmla="*/ 5816058 w 8079933"/>
              <a:gd name="connsiteY39582" fmla="*/ 2826619 h 4687251"/>
              <a:gd name="connsiteX39583" fmla="*/ 5814973 w 8079933"/>
              <a:gd name="connsiteY39583" fmla="*/ 2827701 h 4687251"/>
              <a:gd name="connsiteX39584" fmla="*/ 5816058 w 8079933"/>
              <a:gd name="connsiteY39584" fmla="*/ 2829433 h 4687251"/>
              <a:gd name="connsiteX39585" fmla="*/ 5813888 w 8079933"/>
              <a:gd name="connsiteY39585" fmla="*/ 2835821 h 4687251"/>
              <a:gd name="connsiteX39586" fmla="*/ 5804556 w 8079933"/>
              <a:gd name="connsiteY39586" fmla="*/ 2841560 h 4687251"/>
              <a:gd name="connsiteX39587" fmla="*/ 5796742 w 8079933"/>
              <a:gd name="connsiteY39587" fmla="*/ 2840802 h 4687251"/>
              <a:gd name="connsiteX39588" fmla="*/ 5789472 w 8079933"/>
              <a:gd name="connsiteY39588" fmla="*/ 2835821 h 4687251"/>
              <a:gd name="connsiteX39589" fmla="*/ 5782418 w 8079933"/>
              <a:gd name="connsiteY39589" fmla="*/ 2827485 h 4687251"/>
              <a:gd name="connsiteX39590" fmla="*/ 5773954 w 8079933"/>
              <a:gd name="connsiteY39590" fmla="*/ 2809836 h 4687251"/>
              <a:gd name="connsiteX39591" fmla="*/ 5773412 w 8079933"/>
              <a:gd name="connsiteY39591" fmla="*/ 2799876 h 4687251"/>
              <a:gd name="connsiteX39592" fmla="*/ 5770915 w 8079933"/>
              <a:gd name="connsiteY39592" fmla="*/ 2790889 h 4687251"/>
              <a:gd name="connsiteX39593" fmla="*/ 5765489 w 8079933"/>
              <a:gd name="connsiteY39593" fmla="*/ 2780928 h 4687251"/>
              <a:gd name="connsiteX39594" fmla="*/ 5765489 w 8079933"/>
              <a:gd name="connsiteY39594" fmla="*/ 2776489 h 4687251"/>
              <a:gd name="connsiteX39595" fmla="*/ 5763427 w 8079933"/>
              <a:gd name="connsiteY39595" fmla="*/ 2776273 h 4687251"/>
              <a:gd name="connsiteX39596" fmla="*/ 5761149 w 8079933"/>
              <a:gd name="connsiteY39596" fmla="*/ 2769560 h 4687251"/>
              <a:gd name="connsiteX39597" fmla="*/ 5758978 w 8079933"/>
              <a:gd name="connsiteY39597" fmla="*/ 2761440 h 4687251"/>
              <a:gd name="connsiteX39598" fmla="*/ 5751925 w 8079933"/>
              <a:gd name="connsiteY39598" fmla="*/ 2753320 h 4687251"/>
              <a:gd name="connsiteX39599" fmla="*/ 5747692 w 8079933"/>
              <a:gd name="connsiteY39599" fmla="*/ 2746714 h 4687251"/>
              <a:gd name="connsiteX39600" fmla="*/ 5745956 w 8079933"/>
              <a:gd name="connsiteY39600" fmla="*/ 2746498 h 4687251"/>
              <a:gd name="connsiteX39601" fmla="*/ 5739446 w 8079933"/>
              <a:gd name="connsiteY39601" fmla="*/ 2739569 h 4687251"/>
              <a:gd name="connsiteX39602" fmla="*/ 5736515 w 8079933"/>
              <a:gd name="connsiteY39602" fmla="*/ 2733506 h 4687251"/>
              <a:gd name="connsiteX39603" fmla="*/ 5734345 w 8079933"/>
              <a:gd name="connsiteY39603" fmla="*/ 2731449 h 4687251"/>
              <a:gd name="connsiteX39604" fmla="*/ 5733585 w 8079933"/>
              <a:gd name="connsiteY39604" fmla="*/ 2721596 h 4687251"/>
              <a:gd name="connsiteX39605" fmla="*/ 5730872 w 8079933"/>
              <a:gd name="connsiteY39605" fmla="*/ 2717482 h 4687251"/>
              <a:gd name="connsiteX39606" fmla="*/ 5726749 w 8079933"/>
              <a:gd name="connsiteY39606" fmla="*/ 2706547 h 4687251"/>
              <a:gd name="connsiteX39607" fmla="*/ 5725555 w 8079933"/>
              <a:gd name="connsiteY39607" fmla="*/ 2699184 h 4687251"/>
              <a:gd name="connsiteX39608" fmla="*/ 5722951 w 8079933"/>
              <a:gd name="connsiteY39608" fmla="*/ 2693987 h 4687251"/>
              <a:gd name="connsiteX39609" fmla="*/ 5720455 w 8079933"/>
              <a:gd name="connsiteY39609" fmla="*/ 2690198 h 4687251"/>
              <a:gd name="connsiteX39610" fmla="*/ 5719912 w 8079933"/>
              <a:gd name="connsiteY39610" fmla="*/ 2681536 h 4687251"/>
              <a:gd name="connsiteX39611" fmla="*/ 5718393 w 8079933"/>
              <a:gd name="connsiteY39611" fmla="*/ 2681103 h 4687251"/>
              <a:gd name="connsiteX39612" fmla="*/ 5712317 w 8079933"/>
              <a:gd name="connsiteY39612" fmla="*/ 2674066 h 4687251"/>
              <a:gd name="connsiteX39613" fmla="*/ 5712317 w 8079933"/>
              <a:gd name="connsiteY39613" fmla="*/ 2671358 h 4687251"/>
              <a:gd name="connsiteX39614" fmla="*/ 5710689 w 8079933"/>
              <a:gd name="connsiteY39614" fmla="*/ 2671034 h 4687251"/>
              <a:gd name="connsiteX39615" fmla="*/ 5705045 w 8079933"/>
              <a:gd name="connsiteY39615" fmla="*/ 2660964 h 4687251"/>
              <a:gd name="connsiteX39616" fmla="*/ 5704829 w 8079933"/>
              <a:gd name="connsiteY39616" fmla="*/ 2657825 h 4687251"/>
              <a:gd name="connsiteX39617" fmla="*/ 5701790 w 8079933"/>
              <a:gd name="connsiteY39617" fmla="*/ 2656092 h 4687251"/>
              <a:gd name="connsiteX39618" fmla="*/ 5699945 w 8079933"/>
              <a:gd name="connsiteY39618" fmla="*/ 2649055 h 4687251"/>
              <a:gd name="connsiteX39619" fmla="*/ 5696039 w 8079933"/>
              <a:gd name="connsiteY39619" fmla="*/ 2646456 h 4687251"/>
              <a:gd name="connsiteX39620" fmla="*/ 5692240 w 8079933"/>
              <a:gd name="connsiteY39620" fmla="*/ 2636279 h 4687251"/>
              <a:gd name="connsiteX39621" fmla="*/ 5692024 w 8079933"/>
              <a:gd name="connsiteY39621" fmla="*/ 2622854 h 4687251"/>
              <a:gd name="connsiteX39622" fmla="*/ 5681931 w 8079933"/>
              <a:gd name="connsiteY39622" fmla="*/ 2603256 h 4687251"/>
              <a:gd name="connsiteX39623" fmla="*/ 5681931 w 8079933"/>
              <a:gd name="connsiteY39623" fmla="*/ 2596760 h 4687251"/>
              <a:gd name="connsiteX39624" fmla="*/ 5677374 w 8079933"/>
              <a:gd name="connsiteY39624" fmla="*/ 2589831 h 4687251"/>
              <a:gd name="connsiteX39625" fmla="*/ 5682582 w 8079933"/>
              <a:gd name="connsiteY39625" fmla="*/ 2589506 h 4687251"/>
              <a:gd name="connsiteX39626" fmla="*/ 5675529 w 8079933"/>
              <a:gd name="connsiteY39626" fmla="*/ 2580520 h 4687251"/>
              <a:gd name="connsiteX39627" fmla="*/ 5675747 w 8079933"/>
              <a:gd name="connsiteY39627" fmla="*/ 2575431 h 4687251"/>
              <a:gd name="connsiteX39628" fmla="*/ 5679002 w 8079933"/>
              <a:gd name="connsiteY39628" fmla="*/ 2574673 h 4687251"/>
              <a:gd name="connsiteX39629" fmla="*/ 5676506 w 8079933"/>
              <a:gd name="connsiteY39629" fmla="*/ 2571208 h 4687251"/>
              <a:gd name="connsiteX39630" fmla="*/ 5676072 w 8079933"/>
              <a:gd name="connsiteY39630" fmla="*/ 2566986 h 4687251"/>
              <a:gd name="connsiteX39631" fmla="*/ 5668910 w 8079933"/>
              <a:gd name="connsiteY39631" fmla="*/ 2553993 h 4687251"/>
              <a:gd name="connsiteX39632" fmla="*/ 5667824 w 8079933"/>
              <a:gd name="connsiteY39632" fmla="*/ 2545765 h 4687251"/>
              <a:gd name="connsiteX39633" fmla="*/ 5672165 w 8079933"/>
              <a:gd name="connsiteY39633" fmla="*/ 2543708 h 4687251"/>
              <a:gd name="connsiteX39634" fmla="*/ 5668367 w 8079933"/>
              <a:gd name="connsiteY39634" fmla="*/ 2541433 h 4687251"/>
              <a:gd name="connsiteX39635" fmla="*/ 5668150 w 8079933"/>
              <a:gd name="connsiteY39635" fmla="*/ 2537320 h 4687251"/>
              <a:gd name="connsiteX39636" fmla="*/ 5670754 w 8079933"/>
              <a:gd name="connsiteY39636" fmla="*/ 2531906 h 4687251"/>
              <a:gd name="connsiteX39637" fmla="*/ 5670212 w 8079933"/>
              <a:gd name="connsiteY39637" fmla="*/ 2525085 h 4687251"/>
              <a:gd name="connsiteX39638" fmla="*/ 5667933 w 8079933"/>
              <a:gd name="connsiteY39638" fmla="*/ 2518156 h 4687251"/>
              <a:gd name="connsiteX39639" fmla="*/ 5665220 w 8079933"/>
              <a:gd name="connsiteY39639" fmla="*/ 2516423 h 4687251"/>
              <a:gd name="connsiteX39640" fmla="*/ 5663158 w 8079933"/>
              <a:gd name="connsiteY39640" fmla="*/ 2505163 h 4687251"/>
              <a:gd name="connsiteX39641" fmla="*/ 5668259 w 8079933"/>
              <a:gd name="connsiteY39641" fmla="*/ 2501915 h 4687251"/>
              <a:gd name="connsiteX39642" fmla="*/ 5670104 w 8079933"/>
              <a:gd name="connsiteY39642" fmla="*/ 2499317 h 4687251"/>
              <a:gd name="connsiteX39643" fmla="*/ 5674010 w 8079933"/>
              <a:gd name="connsiteY39643" fmla="*/ 2499317 h 4687251"/>
              <a:gd name="connsiteX39644" fmla="*/ 5669886 w 8079933"/>
              <a:gd name="connsiteY39644" fmla="*/ 2498342 h 4687251"/>
              <a:gd name="connsiteX39645" fmla="*/ 5664243 w 8079933"/>
              <a:gd name="connsiteY39645" fmla="*/ 2499208 h 4687251"/>
              <a:gd name="connsiteX39646" fmla="*/ 5661205 w 8079933"/>
              <a:gd name="connsiteY39646" fmla="*/ 2498992 h 4687251"/>
              <a:gd name="connsiteX39647" fmla="*/ 5661856 w 8079933"/>
              <a:gd name="connsiteY39647" fmla="*/ 2494444 h 4687251"/>
              <a:gd name="connsiteX39648" fmla="*/ 5659577 w 8079933"/>
              <a:gd name="connsiteY39648" fmla="*/ 2490546 h 4687251"/>
              <a:gd name="connsiteX39649" fmla="*/ 5660336 w 8079933"/>
              <a:gd name="connsiteY39649" fmla="*/ 2485891 h 4687251"/>
              <a:gd name="connsiteX39650" fmla="*/ 5661639 w 8079933"/>
              <a:gd name="connsiteY39650" fmla="*/ 2484917 h 4687251"/>
              <a:gd name="connsiteX39651" fmla="*/ 5664786 w 8079933"/>
              <a:gd name="connsiteY39651" fmla="*/ 2485566 h 4687251"/>
              <a:gd name="connsiteX39652" fmla="*/ 5668692 w 8079933"/>
              <a:gd name="connsiteY39652" fmla="*/ 2481668 h 4687251"/>
              <a:gd name="connsiteX39653" fmla="*/ 5670646 w 8079933"/>
              <a:gd name="connsiteY39653" fmla="*/ 2478637 h 4687251"/>
              <a:gd name="connsiteX39654" fmla="*/ 5666414 w 8079933"/>
              <a:gd name="connsiteY39654" fmla="*/ 2481127 h 4687251"/>
              <a:gd name="connsiteX39655" fmla="*/ 5663484 w 8079933"/>
              <a:gd name="connsiteY39655" fmla="*/ 2479828 h 4687251"/>
              <a:gd name="connsiteX39656" fmla="*/ 5657732 w 8079933"/>
              <a:gd name="connsiteY39656" fmla="*/ 2480586 h 4687251"/>
              <a:gd name="connsiteX39657" fmla="*/ 5655997 w 8079933"/>
              <a:gd name="connsiteY39657" fmla="*/ 2476688 h 4687251"/>
              <a:gd name="connsiteX39658" fmla="*/ 5655345 w 8079933"/>
              <a:gd name="connsiteY39658" fmla="*/ 2479611 h 4687251"/>
              <a:gd name="connsiteX39659" fmla="*/ 5655020 w 8079933"/>
              <a:gd name="connsiteY39659" fmla="*/ 2484484 h 4687251"/>
              <a:gd name="connsiteX39660" fmla="*/ 5651547 w 8079933"/>
              <a:gd name="connsiteY39660" fmla="*/ 2493578 h 4687251"/>
              <a:gd name="connsiteX39661" fmla="*/ 5655128 w 8079933"/>
              <a:gd name="connsiteY39661" fmla="*/ 2498017 h 4687251"/>
              <a:gd name="connsiteX39662" fmla="*/ 5654260 w 8079933"/>
              <a:gd name="connsiteY39662" fmla="*/ 2506462 h 4687251"/>
              <a:gd name="connsiteX39663" fmla="*/ 5650571 w 8079933"/>
              <a:gd name="connsiteY39663" fmla="*/ 2510252 h 4687251"/>
              <a:gd name="connsiteX39664" fmla="*/ 5650462 w 8079933"/>
              <a:gd name="connsiteY39664" fmla="*/ 2512850 h 4687251"/>
              <a:gd name="connsiteX39665" fmla="*/ 5642323 w 8079933"/>
              <a:gd name="connsiteY39665" fmla="*/ 2516965 h 4687251"/>
              <a:gd name="connsiteX39666" fmla="*/ 5629952 w 8079933"/>
              <a:gd name="connsiteY39666" fmla="*/ 2524652 h 4687251"/>
              <a:gd name="connsiteX39667" fmla="*/ 5624201 w 8079933"/>
              <a:gd name="connsiteY39667" fmla="*/ 2526601 h 4687251"/>
              <a:gd name="connsiteX39668" fmla="*/ 5615520 w 8079933"/>
              <a:gd name="connsiteY39668" fmla="*/ 2524760 h 4687251"/>
              <a:gd name="connsiteX39669" fmla="*/ 5597180 w 8079933"/>
              <a:gd name="connsiteY39669" fmla="*/ 2509927 h 4687251"/>
              <a:gd name="connsiteX39670" fmla="*/ 5589584 w 8079933"/>
              <a:gd name="connsiteY39670" fmla="*/ 2500074 h 4687251"/>
              <a:gd name="connsiteX39671" fmla="*/ 5589476 w 8079933"/>
              <a:gd name="connsiteY39671" fmla="*/ 2498342 h 4687251"/>
              <a:gd name="connsiteX39672" fmla="*/ 5587196 w 8079933"/>
              <a:gd name="connsiteY39672" fmla="*/ 2498559 h 4687251"/>
              <a:gd name="connsiteX39673" fmla="*/ 5584050 w 8079933"/>
              <a:gd name="connsiteY39673" fmla="*/ 2496827 h 4687251"/>
              <a:gd name="connsiteX39674" fmla="*/ 5573523 w 8079933"/>
              <a:gd name="connsiteY39674" fmla="*/ 2486324 h 4687251"/>
              <a:gd name="connsiteX39675" fmla="*/ 5572656 w 8079933"/>
              <a:gd name="connsiteY39675" fmla="*/ 2483076 h 4687251"/>
              <a:gd name="connsiteX39676" fmla="*/ 5573523 w 8079933"/>
              <a:gd name="connsiteY39676" fmla="*/ 2480478 h 4687251"/>
              <a:gd name="connsiteX39677" fmla="*/ 5576454 w 8079933"/>
              <a:gd name="connsiteY39677" fmla="*/ 2480153 h 4687251"/>
              <a:gd name="connsiteX39678" fmla="*/ 5577322 w 8079933"/>
              <a:gd name="connsiteY39678" fmla="*/ 2481668 h 4687251"/>
              <a:gd name="connsiteX39679" fmla="*/ 5580143 w 8079933"/>
              <a:gd name="connsiteY39679" fmla="*/ 2480803 h 4687251"/>
              <a:gd name="connsiteX39680" fmla="*/ 5580143 w 8079933"/>
              <a:gd name="connsiteY39680" fmla="*/ 2486107 h 4687251"/>
              <a:gd name="connsiteX39681" fmla="*/ 5584050 w 8079933"/>
              <a:gd name="connsiteY39681" fmla="*/ 2486541 h 4687251"/>
              <a:gd name="connsiteX39682" fmla="*/ 5586654 w 8079933"/>
              <a:gd name="connsiteY39682" fmla="*/ 2484267 h 4687251"/>
              <a:gd name="connsiteX39683" fmla="*/ 5588173 w 8079933"/>
              <a:gd name="connsiteY39683" fmla="*/ 2484050 h 4687251"/>
              <a:gd name="connsiteX39684" fmla="*/ 5590886 w 8079933"/>
              <a:gd name="connsiteY39684" fmla="*/ 2485674 h 4687251"/>
              <a:gd name="connsiteX39685" fmla="*/ 5591320 w 8079933"/>
              <a:gd name="connsiteY39685" fmla="*/ 2483834 h 4687251"/>
              <a:gd name="connsiteX39686" fmla="*/ 5601195 w 8079933"/>
              <a:gd name="connsiteY39686" fmla="*/ 2476146 h 4687251"/>
              <a:gd name="connsiteX39687" fmla="*/ 5604125 w 8079933"/>
              <a:gd name="connsiteY39687" fmla="*/ 2476038 h 4687251"/>
              <a:gd name="connsiteX39688" fmla="*/ 5608791 w 8079933"/>
              <a:gd name="connsiteY39688" fmla="*/ 2469001 h 4687251"/>
              <a:gd name="connsiteX39689" fmla="*/ 5610202 w 8079933"/>
              <a:gd name="connsiteY39689" fmla="*/ 2469326 h 4687251"/>
              <a:gd name="connsiteX39690" fmla="*/ 5612047 w 8079933"/>
              <a:gd name="connsiteY39690" fmla="*/ 2464670 h 4687251"/>
              <a:gd name="connsiteX39691" fmla="*/ 5607272 w 8079933"/>
              <a:gd name="connsiteY39691" fmla="*/ 2464345 h 4687251"/>
              <a:gd name="connsiteX39692" fmla="*/ 5605753 w 8079933"/>
              <a:gd name="connsiteY39692" fmla="*/ 2463587 h 4687251"/>
              <a:gd name="connsiteX39693" fmla="*/ 5606513 w 8079933"/>
              <a:gd name="connsiteY39693" fmla="*/ 2465103 h 4687251"/>
              <a:gd name="connsiteX39694" fmla="*/ 5606078 w 8079933"/>
              <a:gd name="connsiteY39694" fmla="*/ 2467160 h 4687251"/>
              <a:gd name="connsiteX39695" fmla="*/ 5596204 w 8079933"/>
              <a:gd name="connsiteY39695" fmla="*/ 2471383 h 4687251"/>
              <a:gd name="connsiteX39696" fmla="*/ 5590343 w 8079933"/>
              <a:gd name="connsiteY39696" fmla="*/ 2471383 h 4687251"/>
              <a:gd name="connsiteX39697" fmla="*/ 5585894 w 8079933"/>
              <a:gd name="connsiteY39697" fmla="*/ 2472899 h 4687251"/>
              <a:gd name="connsiteX39698" fmla="*/ 5570268 w 8079933"/>
              <a:gd name="connsiteY39698" fmla="*/ 2467485 h 4687251"/>
              <a:gd name="connsiteX39699" fmla="*/ 5562889 w 8079933"/>
              <a:gd name="connsiteY39699" fmla="*/ 2459798 h 4687251"/>
              <a:gd name="connsiteX39700" fmla="*/ 5559850 w 8079933"/>
              <a:gd name="connsiteY39700" fmla="*/ 2458282 h 4687251"/>
              <a:gd name="connsiteX39701" fmla="*/ 5560176 w 8079933"/>
              <a:gd name="connsiteY39701" fmla="*/ 2453410 h 4687251"/>
              <a:gd name="connsiteX39702" fmla="*/ 5564842 w 8079933"/>
              <a:gd name="connsiteY39702" fmla="*/ 2447347 h 4687251"/>
              <a:gd name="connsiteX39703" fmla="*/ 5570159 w 8079933"/>
              <a:gd name="connsiteY39703" fmla="*/ 2444424 h 4687251"/>
              <a:gd name="connsiteX39704" fmla="*/ 5563431 w 8079933"/>
              <a:gd name="connsiteY39704" fmla="*/ 2445506 h 4687251"/>
              <a:gd name="connsiteX39705" fmla="*/ 5556812 w 8079933"/>
              <a:gd name="connsiteY39705" fmla="*/ 2449728 h 4687251"/>
              <a:gd name="connsiteX39706" fmla="*/ 5556812 w 8079933"/>
              <a:gd name="connsiteY39706" fmla="*/ 2449729 h 4687251"/>
              <a:gd name="connsiteX39707" fmla="*/ 5552905 w 8079933"/>
              <a:gd name="connsiteY39707" fmla="*/ 2452219 h 4687251"/>
              <a:gd name="connsiteX39708" fmla="*/ 5553449 w 8079933"/>
              <a:gd name="connsiteY39708" fmla="*/ 2449296 h 4687251"/>
              <a:gd name="connsiteX39709" fmla="*/ 5544984 w 8079933"/>
              <a:gd name="connsiteY39709" fmla="*/ 2445182 h 4687251"/>
              <a:gd name="connsiteX39710" fmla="*/ 5538147 w 8079933"/>
              <a:gd name="connsiteY39710" fmla="*/ 2445290 h 4687251"/>
              <a:gd name="connsiteX39711" fmla="*/ 5533807 w 8079933"/>
              <a:gd name="connsiteY39711" fmla="*/ 2445723 h 4687251"/>
              <a:gd name="connsiteX39712" fmla="*/ 5532179 w 8079933"/>
              <a:gd name="connsiteY39712" fmla="*/ 2440634 h 4687251"/>
              <a:gd name="connsiteX39713" fmla="*/ 5530225 w 8079933"/>
              <a:gd name="connsiteY39713" fmla="*/ 2440634 h 4687251"/>
              <a:gd name="connsiteX39714" fmla="*/ 5528706 w 8079933"/>
              <a:gd name="connsiteY39714" fmla="*/ 2440093 h 4687251"/>
              <a:gd name="connsiteX39715" fmla="*/ 5530551 w 8079933"/>
              <a:gd name="connsiteY39715" fmla="*/ 2438794 h 4687251"/>
              <a:gd name="connsiteX39716" fmla="*/ 5530768 w 8079933"/>
              <a:gd name="connsiteY39716" fmla="*/ 2435545 h 4687251"/>
              <a:gd name="connsiteX39717" fmla="*/ 5529792 w 8079933"/>
              <a:gd name="connsiteY39717" fmla="*/ 2434679 h 4687251"/>
              <a:gd name="connsiteX39718" fmla="*/ 5528489 w 8079933"/>
              <a:gd name="connsiteY39718" fmla="*/ 2426234 h 4687251"/>
              <a:gd name="connsiteX39719" fmla="*/ 5523172 w 8079933"/>
              <a:gd name="connsiteY39719" fmla="*/ 2420171 h 4687251"/>
              <a:gd name="connsiteX39720" fmla="*/ 5523281 w 8079933"/>
              <a:gd name="connsiteY39720" fmla="*/ 2415299 h 4687251"/>
              <a:gd name="connsiteX39721" fmla="*/ 5516227 w 8079933"/>
              <a:gd name="connsiteY39721" fmla="*/ 2418439 h 4687251"/>
              <a:gd name="connsiteX39722" fmla="*/ 5512212 w 8079933"/>
              <a:gd name="connsiteY39722" fmla="*/ 2418439 h 4687251"/>
              <a:gd name="connsiteX39723" fmla="*/ 5512212 w 8079933"/>
              <a:gd name="connsiteY39723" fmla="*/ 2416706 h 4687251"/>
              <a:gd name="connsiteX39724" fmla="*/ 5513405 w 8079933"/>
              <a:gd name="connsiteY39724" fmla="*/ 2416165 h 4687251"/>
              <a:gd name="connsiteX39725" fmla="*/ 5512646 w 8079933"/>
              <a:gd name="connsiteY39725" fmla="*/ 2415407 h 4687251"/>
              <a:gd name="connsiteX39726" fmla="*/ 5513405 w 8079933"/>
              <a:gd name="connsiteY39726" fmla="*/ 2411509 h 4687251"/>
              <a:gd name="connsiteX39727" fmla="*/ 5511344 w 8079933"/>
              <a:gd name="connsiteY39727" fmla="*/ 2406204 h 4687251"/>
              <a:gd name="connsiteX39728" fmla="*/ 5506352 w 8079933"/>
              <a:gd name="connsiteY39728" fmla="*/ 2402198 h 4687251"/>
              <a:gd name="connsiteX39729" fmla="*/ 5499190 w 8079933"/>
              <a:gd name="connsiteY39729" fmla="*/ 2402415 h 4687251"/>
              <a:gd name="connsiteX39730" fmla="*/ 5493439 w 8079933"/>
              <a:gd name="connsiteY39730" fmla="*/ 2404580 h 4687251"/>
              <a:gd name="connsiteX39731" fmla="*/ 5486602 w 8079933"/>
              <a:gd name="connsiteY39731" fmla="*/ 2403606 h 4687251"/>
              <a:gd name="connsiteX39732" fmla="*/ 5484757 w 8079933"/>
              <a:gd name="connsiteY39732" fmla="*/ 2402198 h 4687251"/>
              <a:gd name="connsiteX39733" fmla="*/ 5483997 w 8079933"/>
              <a:gd name="connsiteY39733" fmla="*/ 2403931 h 4687251"/>
              <a:gd name="connsiteX39734" fmla="*/ 5480200 w 8079933"/>
              <a:gd name="connsiteY39734" fmla="*/ 2403931 h 4687251"/>
              <a:gd name="connsiteX39735" fmla="*/ 5476618 w 8079933"/>
              <a:gd name="connsiteY39735" fmla="*/ 2406313 h 4687251"/>
              <a:gd name="connsiteX39736" fmla="*/ 5472820 w 8079933"/>
              <a:gd name="connsiteY39736" fmla="*/ 2405230 h 4687251"/>
              <a:gd name="connsiteX39737" fmla="*/ 5466526 w 8079933"/>
              <a:gd name="connsiteY39737" fmla="*/ 2405230 h 4687251"/>
              <a:gd name="connsiteX39738" fmla="*/ 5461100 w 8079933"/>
              <a:gd name="connsiteY39738" fmla="*/ 2410427 h 4687251"/>
              <a:gd name="connsiteX39739" fmla="*/ 5457302 w 8079933"/>
              <a:gd name="connsiteY39739" fmla="*/ 2410427 h 4687251"/>
              <a:gd name="connsiteX39740" fmla="*/ 5454047 w 8079933"/>
              <a:gd name="connsiteY39740" fmla="*/ 2408153 h 4687251"/>
              <a:gd name="connsiteX39741" fmla="*/ 5450249 w 8079933"/>
              <a:gd name="connsiteY39741" fmla="*/ 2408153 h 4687251"/>
              <a:gd name="connsiteX39742" fmla="*/ 5448838 w 8079933"/>
              <a:gd name="connsiteY39742" fmla="*/ 2405446 h 4687251"/>
              <a:gd name="connsiteX39743" fmla="*/ 5446234 w 8079933"/>
              <a:gd name="connsiteY39743" fmla="*/ 2404905 h 4687251"/>
              <a:gd name="connsiteX39744" fmla="*/ 5445691 w 8079933"/>
              <a:gd name="connsiteY39744" fmla="*/ 2406854 h 4687251"/>
              <a:gd name="connsiteX39745" fmla="*/ 5442435 w 8079933"/>
              <a:gd name="connsiteY39745" fmla="*/ 2406854 h 4687251"/>
              <a:gd name="connsiteX39746" fmla="*/ 5437769 w 8079933"/>
              <a:gd name="connsiteY39746" fmla="*/ 2403822 h 4687251"/>
              <a:gd name="connsiteX39747" fmla="*/ 5435816 w 8079933"/>
              <a:gd name="connsiteY39747" fmla="*/ 2406313 h 4687251"/>
              <a:gd name="connsiteX39748" fmla="*/ 5435274 w 8079933"/>
              <a:gd name="connsiteY39748" fmla="*/ 2408911 h 4687251"/>
              <a:gd name="connsiteX39749" fmla="*/ 5432560 w 8079933"/>
              <a:gd name="connsiteY39749" fmla="*/ 2408911 h 4687251"/>
              <a:gd name="connsiteX39750" fmla="*/ 5429631 w 8079933"/>
              <a:gd name="connsiteY39750" fmla="*/ 2408478 h 4687251"/>
              <a:gd name="connsiteX39751" fmla="*/ 5425615 w 8079933"/>
              <a:gd name="connsiteY39751" fmla="*/ 2409560 h 4687251"/>
              <a:gd name="connsiteX39752" fmla="*/ 5423228 w 8079933"/>
              <a:gd name="connsiteY39752" fmla="*/ 2408911 h 4687251"/>
              <a:gd name="connsiteX39753" fmla="*/ 5418019 w 8079933"/>
              <a:gd name="connsiteY39753" fmla="*/ 2408478 h 4687251"/>
              <a:gd name="connsiteX39754" fmla="*/ 5414547 w 8079933"/>
              <a:gd name="connsiteY39754" fmla="*/ 2411401 h 4687251"/>
              <a:gd name="connsiteX39755" fmla="*/ 5412594 w 8079933"/>
              <a:gd name="connsiteY39755" fmla="*/ 2412051 h 4687251"/>
              <a:gd name="connsiteX39756" fmla="*/ 5412268 w 8079933"/>
              <a:gd name="connsiteY39756" fmla="*/ 2409994 h 4687251"/>
              <a:gd name="connsiteX39757" fmla="*/ 5406842 w 8079933"/>
              <a:gd name="connsiteY39757" fmla="*/ 2410319 h 4687251"/>
              <a:gd name="connsiteX39758" fmla="*/ 5399897 w 8079933"/>
              <a:gd name="connsiteY39758" fmla="*/ 2414433 h 4687251"/>
              <a:gd name="connsiteX39759" fmla="*/ 5397727 w 8079933"/>
              <a:gd name="connsiteY39759" fmla="*/ 2413566 h 4687251"/>
              <a:gd name="connsiteX39760" fmla="*/ 5397944 w 8079933"/>
              <a:gd name="connsiteY39760" fmla="*/ 2410102 h 4687251"/>
              <a:gd name="connsiteX39761" fmla="*/ 5395122 w 8079933"/>
              <a:gd name="connsiteY39761" fmla="*/ 2410102 h 4687251"/>
              <a:gd name="connsiteX39762" fmla="*/ 5395122 w 8079933"/>
              <a:gd name="connsiteY39762" fmla="*/ 2406313 h 4687251"/>
              <a:gd name="connsiteX39763" fmla="*/ 5396099 w 8079933"/>
              <a:gd name="connsiteY39763" fmla="*/ 2397868 h 4687251"/>
              <a:gd name="connsiteX39764" fmla="*/ 5393820 w 8079933"/>
              <a:gd name="connsiteY39764" fmla="*/ 2392021 h 4687251"/>
              <a:gd name="connsiteX39765" fmla="*/ 5397494 w 8079933"/>
              <a:gd name="connsiteY39765" fmla="*/ 2387062 h 4687251"/>
              <a:gd name="connsiteX39766" fmla="*/ 5393819 w 8079933"/>
              <a:gd name="connsiteY39766" fmla="*/ 2392022 h 4687251"/>
              <a:gd name="connsiteX39767" fmla="*/ 5396098 w 8079933"/>
              <a:gd name="connsiteY39767" fmla="*/ 2397868 h 4687251"/>
              <a:gd name="connsiteX39768" fmla="*/ 5395121 w 8079933"/>
              <a:gd name="connsiteY39768" fmla="*/ 2406314 h 4687251"/>
              <a:gd name="connsiteX39769" fmla="*/ 5395121 w 8079933"/>
              <a:gd name="connsiteY39769" fmla="*/ 2410103 h 4687251"/>
              <a:gd name="connsiteX39770" fmla="*/ 5393819 w 8079933"/>
              <a:gd name="connsiteY39770" fmla="*/ 2410103 h 4687251"/>
              <a:gd name="connsiteX39771" fmla="*/ 5392735 w 8079933"/>
              <a:gd name="connsiteY39771" fmla="*/ 2412052 h 4687251"/>
              <a:gd name="connsiteX39772" fmla="*/ 5389153 w 8079933"/>
              <a:gd name="connsiteY39772" fmla="*/ 2414109 h 4687251"/>
              <a:gd name="connsiteX39773" fmla="*/ 5381123 w 8079933"/>
              <a:gd name="connsiteY39773" fmla="*/ 2411186 h 4687251"/>
              <a:gd name="connsiteX39774" fmla="*/ 5375154 w 8079933"/>
              <a:gd name="connsiteY39774" fmla="*/ 2409020 h 4687251"/>
              <a:gd name="connsiteX39775" fmla="*/ 5372876 w 8079933"/>
              <a:gd name="connsiteY39775" fmla="*/ 2404906 h 4687251"/>
              <a:gd name="connsiteX39776" fmla="*/ 5369728 w 8079933"/>
              <a:gd name="connsiteY39776" fmla="*/ 2405447 h 4687251"/>
              <a:gd name="connsiteX39777" fmla="*/ 5368643 w 8079933"/>
              <a:gd name="connsiteY39777" fmla="*/ 2409562 h 4687251"/>
              <a:gd name="connsiteX39778" fmla="*/ 5367233 w 8079933"/>
              <a:gd name="connsiteY39778" fmla="*/ 2409778 h 4687251"/>
              <a:gd name="connsiteX39779" fmla="*/ 5363760 w 8079933"/>
              <a:gd name="connsiteY39779" fmla="*/ 2406855 h 4687251"/>
              <a:gd name="connsiteX39780" fmla="*/ 5361590 w 8079933"/>
              <a:gd name="connsiteY39780" fmla="*/ 2407613 h 4687251"/>
              <a:gd name="connsiteX39781" fmla="*/ 5357466 w 8079933"/>
              <a:gd name="connsiteY39781" fmla="*/ 2406206 h 4687251"/>
              <a:gd name="connsiteX39782" fmla="*/ 5346940 w 8079933"/>
              <a:gd name="connsiteY39782" fmla="*/ 2405772 h 4687251"/>
              <a:gd name="connsiteX39783" fmla="*/ 5339561 w 8079933"/>
              <a:gd name="connsiteY39783" fmla="*/ 2402524 h 4687251"/>
              <a:gd name="connsiteX39784" fmla="*/ 5326322 w 8079933"/>
              <a:gd name="connsiteY39784" fmla="*/ 2403498 h 4687251"/>
              <a:gd name="connsiteX39785" fmla="*/ 5320028 w 8079933"/>
              <a:gd name="connsiteY39785" fmla="*/ 2397544 h 4687251"/>
              <a:gd name="connsiteX39786" fmla="*/ 5318075 w 8079933"/>
              <a:gd name="connsiteY39786" fmla="*/ 2397327 h 4687251"/>
              <a:gd name="connsiteX39787" fmla="*/ 5312431 w 8079933"/>
              <a:gd name="connsiteY39787" fmla="*/ 2401983 h 4687251"/>
              <a:gd name="connsiteX39788" fmla="*/ 5307874 w 8079933"/>
              <a:gd name="connsiteY39788" fmla="*/ 2398518 h 4687251"/>
              <a:gd name="connsiteX39789" fmla="*/ 5302665 w 8079933"/>
              <a:gd name="connsiteY39789" fmla="*/ 2398735 h 4687251"/>
              <a:gd name="connsiteX39790" fmla="*/ 5289969 w 8079933"/>
              <a:gd name="connsiteY39790" fmla="*/ 2398951 h 4687251"/>
              <a:gd name="connsiteX39791" fmla="*/ 5289100 w 8079933"/>
              <a:gd name="connsiteY39791" fmla="*/ 2396461 h 4687251"/>
              <a:gd name="connsiteX39792" fmla="*/ 5286388 w 8079933"/>
              <a:gd name="connsiteY39792" fmla="*/ 2394621 h 4687251"/>
              <a:gd name="connsiteX39793" fmla="*/ 5286062 w 8079933"/>
              <a:gd name="connsiteY39793" fmla="*/ 2388233 h 4687251"/>
              <a:gd name="connsiteX39794" fmla="*/ 5281287 w 8079933"/>
              <a:gd name="connsiteY39794" fmla="*/ 2379246 h 4687251"/>
              <a:gd name="connsiteX39795" fmla="*/ 5278791 w 8079933"/>
              <a:gd name="connsiteY39795" fmla="*/ 2370584 h 4687251"/>
              <a:gd name="connsiteX39796" fmla="*/ 5274451 w 8079933"/>
              <a:gd name="connsiteY39796" fmla="*/ 2364521 h 4687251"/>
              <a:gd name="connsiteX39797" fmla="*/ 5273908 w 8079933"/>
              <a:gd name="connsiteY39797" fmla="*/ 2361923 h 4687251"/>
              <a:gd name="connsiteX39798" fmla="*/ 5271738 w 8079933"/>
              <a:gd name="connsiteY39798" fmla="*/ 2362139 h 4687251"/>
              <a:gd name="connsiteX39799" fmla="*/ 5271738 w 8079933"/>
              <a:gd name="connsiteY39799" fmla="*/ 2360515 h 4687251"/>
              <a:gd name="connsiteX39800" fmla="*/ 5263599 w 8079933"/>
              <a:gd name="connsiteY39800" fmla="*/ 2359432 h 4687251"/>
              <a:gd name="connsiteX39801" fmla="*/ 5258716 w 8079933"/>
              <a:gd name="connsiteY39801" fmla="*/ 2360840 h 4687251"/>
              <a:gd name="connsiteX39802" fmla="*/ 5252313 w 8079933"/>
              <a:gd name="connsiteY39802" fmla="*/ 2365604 h 4687251"/>
              <a:gd name="connsiteX39803" fmla="*/ 5247430 w 8079933"/>
              <a:gd name="connsiteY39803" fmla="*/ 2365712 h 4687251"/>
              <a:gd name="connsiteX39804" fmla="*/ 5246887 w 8079933"/>
              <a:gd name="connsiteY39804" fmla="*/ 2363547 h 4687251"/>
              <a:gd name="connsiteX39805" fmla="*/ 5246779 w 8079933"/>
              <a:gd name="connsiteY39805" fmla="*/ 2366254 h 4687251"/>
              <a:gd name="connsiteX39806" fmla="*/ 5236796 w 8079933"/>
              <a:gd name="connsiteY39806" fmla="*/ 2372425 h 4687251"/>
              <a:gd name="connsiteX39807" fmla="*/ 5228440 w 8079933"/>
              <a:gd name="connsiteY39807" fmla="*/ 2379246 h 4687251"/>
              <a:gd name="connsiteX39808" fmla="*/ 5219108 w 8079933"/>
              <a:gd name="connsiteY39808" fmla="*/ 2372966 h 4687251"/>
              <a:gd name="connsiteX39809" fmla="*/ 5211077 w 8079933"/>
              <a:gd name="connsiteY39809" fmla="*/ 2371017 h 4687251"/>
              <a:gd name="connsiteX39810" fmla="*/ 5205326 w 8079933"/>
              <a:gd name="connsiteY39810" fmla="*/ 2371884 h 4687251"/>
              <a:gd name="connsiteX39811" fmla="*/ 5202938 w 8079933"/>
              <a:gd name="connsiteY39811" fmla="*/ 2373183 h 4687251"/>
              <a:gd name="connsiteX39812" fmla="*/ 5194692 w 8079933"/>
              <a:gd name="connsiteY39812" fmla="*/ 2365712 h 4687251"/>
              <a:gd name="connsiteX39813" fmla="*/ 5190676 w 8079933"/>
              <a:gd name="connsiteY39813" fmla="*/ 2365171 h 4687251"/>
              <a:gd name="connsiteX39814" fmla="*/ 5186878 w 8079933"/>
              <a:gd name="connsiteY39814" fmla="*/ 2362681 h 4687251"/>
              <a:gd name="connsiteX39815" fmla="*/ 5181234 w 8079933"/>
              <a:gd name="connsiteY39815" fmla="*/ 2361382 h 4687251"/>
              <a:gd name="connsiteX39816" fmla="*/ 5174182 w 8079933"/>
              <a:gd name="connsiteY39816" fmla="*/ 2354019 h 4687251"/>
              <a:gd name="connsiteX39817" fmla="*/ 5177111 w 8079933"/>
              <a:gd name="connsiteY39817" fmla="*/ 2351529 h 4687251"/>
              <a:gd name="connsiteX39818" fmla="*/ 5176352 w 8079933"/>
              <a:gd name="connsiteY39818" fmla="*/ 2349364 h 4687251"/>
              <a:gd name="connsiteX39819" fmla="*/ 5171902 w 8079933"/>
              <a:gd name="connsiteY39819" fmla="*/ 2348930 h 4687251"/>
              <a:gd name="connsiteX39820" fmla="*/ 5170817 w 8079933"/>
              <a:gd name="connsiteY39820" fmla="*/ 2347307 h 4687251"/>
              <a:gd name="connsiteX39821" fmla="*/ 5163221 w 8079933"/>
              <a:gd name="connsiteY39821" fmla="*/ 2346981 h 4687251"/>
              <a:gd name="connsiteX39822" fmla="*/ 5160725 w 8079933"/>
              <a:gd name="connsiteY39822" fmla="*/ 2344275 h 4687251"/>
              <a:gd name="connsiteX39823" fmla="*/ 5154540 w 8079933"/>
              <a:gd name="connsiteY39823" fmla="*/ 2342326 h 4687251"/>
              <a:gd name="connsiteX39824" fmla="*/ 5145858 w 8079933"/>
              <a:gd name="connsiteY39824" fmla="*/ 2343192 h 4687251"/>
              <a:gd name="connsiteX39825" fmla="*/ 5140975 w 8079933"/>
              <a:gd name="connsiteY39825" fmla="*/ 2340269 h 4687251"/>
              <a:gd name="connsiteX39826" fmla="*/ 5133705 w 8079933"/>
              <a:gd name="connsiteY39826" fmla="*/ 2324244 h 4687251"/>
              <a:gd name="connsiteX39827" fmla="*/ 5132837 w 8079933"/>
              <a:gd name="connsiteY39827" fmla="*/ 2320455 h 4687251"/>
              <a:gd name="connsiteX39828" fmla="*/ 5130666 w 8079933"/>
              <a:gd name="connsiteY39828" fmla="*/ 2321213 h 4687251"/>
              <a:gd name="connsiteX39829" fmla="*/ 5126326 w 8079933"/>
              <a:gd name="connsiteY39829" fmla="*/ 2317532 h 4687251"/>
              <a:gd name="connsiteX39830" fmla="*/ 5127411 w 8079933"/>
              <a:gd name="connsiteY39830" fmla="*/ 2316341 h 4687251"/>
              <a:gd name="connsiteX39831" fmla="*/ 5129038 w 8079933"/>
              <a:gd name="connsiteY39831" fmla="*/ 2317424 h 4687251"/>
              <a:gd name="connsiteX39832" fmla="*/ 5130883 w 8079933"/>
              <a:gd name="connsiteY39832" fmla="*/ 2317424 h 4687251"/>
              <a:gd name="connsiteX39833" fmla="*/ 5128279 w 8079933"/>
              <a:gd name="connsiteY39833" fmla="*/ 2313093 h 4687251"/>
              <a:gd name="connsiteX39834" fmla="*/ 5124698 w 8079933"/>
              <a:gd name="connsiteY39834" fmla="*/ 2313634 h 4687251"/>
              <a:gd name="connsiteX39835" fmla="*/ 5122201 w 8079933"/>
              <a:gd name="connsiteY39835" fmla="*/ 2312010 h 4687251"/>
              <a:gd name="connsiteX39836" fmla="*/ 5121442 w 8079933"/>
              <a:gd name="connsiteY39836" fmla="*/ 2304540 h 4687251"/>
              <a:gd name="connsiteX39837" fmla="*/ 5112760 w 8079933"/>
              <a:gd name="connsiteY39837" fmla="*/ 2294145 h 4687251"/>
              <a:gd name="connsiteX39838" fmla="*/ 5112218 w 8079933"/>
              <a:gd name="connsiteY39838" fmla="*/ 2289598 h 4687251"/>
              <a:gd name="connsiteX39839" fmla="*/ 5107118 w 8079933"/>
              <a:gd name="connsiteY39839" fmla="*/ 2282885 h 4687251"/>
              <a:gd name="connsiteX39840" fmla="*/ 5104622 w 8079933"/>
              <a:gd name="connsiteY39840" fmla="*/ 2281694 h 4687251"/>
              <a:gd name="connsiteX39841" fmla="*/ 5097134 w 8079933"/>
              <a:gd name="connsiteY39841" fmla="*/ 2287757 h 4687251"/>
              <a:gd name="connsiteX39842" fmla="*/ 5094855 w 8079933"/>
              <a:gd name="connsiteY39842" fmla="*/ 2287649 h 4687251"/>
              <a:gd name="connsiteX39843" fmla="*/ 5092468 w 8079933"/>
              <a:gd name="connsiteY39843" fmla="*/ 2283318 h 4687251"/>
              <a:gd name="connsiteX39844" fmla="*/ 5090297 w 8079933"/>
              <a:gd name="connsiteY39844" fmla="*/ 2284184 h 4687251"/>
              <a:gd name="connsiteX39845" fmla="*/ 5084872 w 8079933"/>
              <a:gd name="connsiteY39845" fmla="*/ 2281694 h 4687251"/>
              <a:gd name="connsiteX39846" fmla="*/ 5085631 w 8079933"/>
              <a:gd name="connsiteY39846" fmla="*/ 2278987 h 4687251"/>
              <a:gd name="connsiteX39847" fmla="*/ 5086500 w 8079933"/>
              <a:gd name="connsiteY39847" fmla="*/ 2276281 h 4687251"/>
              <a:gd name="connsiteX39848" fmla="*/ 5085306 w 8079933"/>
              <a:gd name="connsiteY39848" fmla="*/ 2277688 h 4687251"/>
              <a:gd name="connsiteX39849" fmla="*/ 5082051 w 8079933"/>
              <a:gd name="connsiteY39849" fmla="*/ 2277904 h 4687251"/>
              <a:gd name="connsiteX39850" fmla="*/ 5079120 w 8079933"/>
              <a:gd name="connsiteY39850" fmla="*/ 2277472 h 4687251"/>
              <a:gd name="connsiteX39851" fmla="*/ 5082702 w 8079933"/>
              <a:gd name="connsiteY39851" fmla="*/ 2280395 h 4687251"/>
              <a:gd name="connsiteX39852" fmla="*/ 5082593 w 8079933"/>
              <a:gd name="connsiteY39852" fmla="*/ 2284942 h 4687251"/>
              <a:gd name="connsiteX39853" fmla="*/ 5079880 w 8079933"/>
              <a:gd name="connsiteY39853" fmla="*/ 2287216 h 4687251"/>
              <a:gd name="connsiteX39854" fmla="*/ 5076950 w 8079933"/>
              <a:gd name="connsiteY39854" fmla="*/ 2287432 h 4687251"/>
              <a:gd name="connsiteX39855" fmla="*/ 5073369 w 8079933"/>
              <a:gd name="connsiteY39855" fmla="*/ 2282777 h 4687251"/>
              <a:gd name="connsiteX39856" fmla="*/ 5073477 w 8079933"/>
              <a:gd name="connsiteY39856" fmla="*/ 2281261 h 4687251"/>
              <a:gd name="connsiteX39857" fmla="*/ 5071307 w 8079933"/>
              <a:gd name="connsiteY39857" fmla="*/ 2282235 h 4687251"/>
              <a:gd name="connsiteX39858" fmla="*/ 5069571 w 8079933"/>
              <a:gd name="connsiteY39858" fmla="*/ 2280720 h 4687251"/>
              <a:gd name="connsiteX39859" fmla="*/ 5066280 w 8079933"/>
              <a:gd name="connsiteY39859" fmla="*/ 2279393 h 4687251"/>
              <a:gd name="connsiteX39860" fmla="*/ 5069571 w 8079933"/>
              <a:gd name="connsiteY39860" fmla="*/ 2280720 h 4687251"/>
              <a:gd name="connsiteX39861" fmla="*/ 5071307 w 8079933"/>
              <a:gd name="connsiteY39861" fmla="*/ 2282236 h 4687251"/>
              <a:gd name="connsiteX39862" fmla="*/ 5068812 w 8079933"/>
              <a:gd name="connsiteY39862" fmla="*/ 2283318 h 4687251"/>
              <a:gd name="connsiteX39863" fmla="*/ 5066316 w 8079933"/>
              <a:gd name="connsiteY39863" fmla="*/ 2288839 h 4687251"/>
              <a:gd name="connsiteX39864" fmla="*/ 5066317 w 8079933"/>
              <a:gd name="connsiteY39864" fmla="*/ 2288840 h 4687251"/>
              <a:gd name="connsiteX39865" fmla="*/ 5065774 w 8079933"/>
              <a:gd name="connsiteY39865" fmla="*/ 2290139 h 4687251"/>
              <a:gd name="connsiteX39866" fmla="*/ 5068053 w 8079933"/>
              <a:gd name="connsiteY39866" fmla="*/ 2300750 h 4687251"/>
              <a:gd name="connsiteX39867" fmla="*/ 5054272 w 8079933"/>
              <a:gd name="connsiteY39867" fmla="*/ 2303456 h 4687251"/>
              <a:gd name="connsiteX39868" fmla="*/ 5063713 w 8079933"/>
              <a:gd name="connsiteY39868" fmla="*/ 2309628 h 4687251"/>
              <a:gd name="connsiteX39869" fmla="*/ 5064798 w 8079933"/>
              <a:gd name="connsiteY39869" fmla="*/ 2307462 h 4687251"/>
              <a:gd name="connsiteX39870" fmla="*/ 5066426 w 8079933"/>
              <a:gd name="connsiteY39870" fmla="*/ 2311035 h 4687251"/>
              <a:gd name="connsiteX39871" fmla="*/ 5066642 w 8079933"/>
              <a:gd name="connsiteY39871" fmla="*/ 2315041 h 4687251"/>
              <a:gd name="connsiteX39872" fmla="*/ 5069355 w 8079933"/>
              <a:gd name="connsiteY39872" fmla="*/ 2318073 h 4687251"/>
              <a:gd name="connsiteX39873" fmla="*/ 5068487 w 8079933"/>
              <a:gd name="connsiteY39873" fmla="*/ 2318073 h 4687251"/>
              <a:gd name="connsiteX39874" fmla="*/ 5067511 w 8079933"/>
              <a:gd name="connsiteY39874" fmla="*/ 2318615 h 4687251"/>
              <a:gd name="connsiteX39875" fmla="*/ 5070006 w 8079933"/>
              <a:gd name="connsiteY39875" fmla="*/ 2321755 h 4687251"/>
              <a:gd name="connsiteX39876" fmla="*/ 5070006 w 8079933"/>
              <a:gd name="connsiteY39876" fmla="*/ 2321755 h 4687251"/>
              <a:gd name="connsiteX39877" fmla="*/ 5071850 w 8079933"/>
              <a:gd name="connsiteY39877" fmla="*/ 2324027 h 4687251"/>
              <a:gd name="connsiteX39878" fmla="*/ 5073478 w 8079933"/>
              <a:gd name="connsiteY39878" fmla="*/ 2323162 h 4687251"/>
              <a:gd name="connsiteX39879" fmla="*/ 5073478 w 8079933"/>
              <a:gd name="connsiteY39879" fmla="*/ 2327168 h 4687251"/>
              <a:gd name="connsiteX39880" fmla="*/ 5076625 w 8079933"/>
              <a:gd name="connsiteY39880" fmla="*/ 2328791 h 4687251"/>
              <a:gd name="connsiteX39881" fmla="*/ 5079121 w 8079933"/>
              <a:gd name="connsiteY39881" fmla="*/ 2334530 h 4687251"/>
              <a:gd name="connsiteX39882" fmla="*/ 5083679 w 8079933"/>
              <a:gd name="connsiteY39882" fmla="*/ 2346656 h 4687251"/>
              <a:gd name="connsiteX39883" fmla="*/ 5091708 w 8079933"/>
              <a:gd name="connsiteY39883" fmla="*/ 2348605 h 4687251"/>
              <a:gd name="connsiteX39884" fmla="*/ 5095724 w 8079933"/>
              <a:gd name="connsiteY39884" fmla="*/ 2349363 h 4687251"/>
              <a:gd name="connsiteX39885" fmla="*/ 5097786 w 8079933"/>
              <a:gd name="connsiteY39885" fmla="*/ 2352178 h 4687251"/>
              <a:gd name="connsiteX39886" fmla="*/ 5095724 w 8079933"/>
              <a:gd name="connsiteY39886" fmla="*/ 2350987 h 4687251"/>
              <a:gd name="connsiteX39887" fmla="*/ 5094313 w 8079933"/>
              <a:gd name="connsiteY39887" fmla="*/ 2351312 h 4687251"/>
              <a:gd name="connsiteX39888" fmla="*/ 5093988 w 8079933"/>
              <a:gd name="connsiteY39888" fmla="*/ 2352935 h 4687251"/>
              <a:gd name="connsiteX39889" fmla="*/ 5097352 w 8079933"/>
              <a:gd name="connsiteY39889" fmla="*/ 2356725 h 4687251"/>
              <a:gd name="connsiteX39890" fmla="*/ 5100281 w 8079933"/>
              <a:gd name="connsiteY39890" fmla="*/ 2356942 h 4687251"/>
              <a:gd name="connsiteX39891" fmla="*/ 5107986 w 8079933"/>
              <a:gd name="connsiteY39891" fmla="*/ 2368094 h 4687251"/>
              <a:gd name="connsiteX39892" fmla="*/ 5110265 w 8079933"/>
              <a:gd name="connsiteY39892" fmla="*/ 2368094 h 4687251"/>
              <a:gd name="connsiteX39893" fmla="*/ 5113304 w 8079933"/>
              <a:gd name="connsiteY39893" fmla="*/ 2372749 h 4687251"/>
              <a:gd name="connsiteX39894" fmla="*/ 5113304 w 8079933"/>
              <a:gd name="connsiteY39894" fmla="*/ 2375456 h 4687251"/>
              <a:gd name="connsiteX39895" fmla="*/ 5117644 w 8079933"/>
              <a:gd name="connsiteY39895" fmla="*/ 2387041 h 4687251"/>
              <a:gd name="connsiteX39896" fmla="*/ 5117644 w 8079933"/>
              <a:gd name="connsiteY39896" fmla="*/ 2389747 h 4687251"/>
              <a:gd name="connsiteX39897" fmla="*/ 5114931 w 8079933"/>
              <a:gd name="connsiteY39897" fmla="*/ 2388990 h 4687251"/>
              <a:gd name="connsiteX39898" fmla="*/ 5117970 w 8079933"/>
              <a:gd name="connsiteY39898" fmla="*/ 2394836 h 4687251"/>
              <a:gd name="connsiteX39899" fmla="*/ 5130124 w 8079933"/>
              <a:gd name="connsiteY39899" fmla="*/ 2409994 h 4687251"/>
              <a:gd name="connsiteX39900" fmla="*/ 5131209 w 8079933"/>
              <a:gd name="connsiteY39900" fmla="*/ 2416057 h 4687251"/>
              <a:gd name="connsiteX39901" fmla="*/ 5135224 w 8079933"/>
              <a:gd name="connsiteY39901" fmla="*/ 2421687 h 4687251"/>
              <a:gd name="connsiteX39902" fmla="*/ 5136526 w 8079933"/>
              <a:gd name="connsiteY39902" fmla="*/ 2420822 h 4687251"/>
              <a:gd name="connsiteX39903" fmla="*/ 5136526 w 8079933"/>
              <a:gd name="connsiteY39903" fmla="*/ 2420822 h 4687251"/>
              <a:gd name="connsiteX39904" fmla="*/ 5137720 w 8079933"/>
              <a:gd name="connsiteY39904" fmla="*/ 2420063 h 4687251"/>
              <a:gd name="connsiteX39905" fmla="*/ 5137720 w 8079933"/>
              <a:gd name="connsiteY39905" fmla="*/ 2415192 h 4687251"/>
              <a:gd name="connsiteX39906" fmla="*/ 5136092 w 8079933"/>
              <a:gd name="connsiteY39906" fmla="*/ 2413243 h 4687251"/>
              <a:gd name="connsiteX39907" fmla="*/ 5135007 w 8079933"/>
              <a:gd name="connsiteY39907" fmla="*/ 2409778 h 4687251"/>
              <a:gd name="connsiteX39908" fmla="*/ 5135766 w 8079933"/>
              <a:gd name="connsiteY39908" fmla="*/ 2402524 h 4687251"/>
              <a:gd name="connsiteX39909" fmla="*/ 5137720 w 8079933"/>
              <a:gd name="connsiteY39909" fmla="*/ 2402524 h 4687251"/>
              <a:gd name="connsiteX39910" fmla="*/ 5138913 w 8079933"/>
              <a:gd name="connsiteY39910" fmla="*/ 2403498 h 4687251"/>
              <a:gd name="connsiteX39911" fmla="*/ 5137720 w 8079933"/>
              <a:gd name="connsiteY39911" fmla="*/ 2396245 h 4687251"/>
              <a:gd name="connsiteX39912" fmla="*/ 5138805 w 8079933"/>
              <a:gd name="connsiteY39912" fmla="*/ 2396245 h 4687251"/>
              <a:gd name="connsiteX39913" fmla="*/ 5137937 w 8079933"/>
              <a:gd name="connsiteY39913" fmla="*/ 2392455 h 4687251"/>
              <a:gd name="connsiteX39914" fmla="*/ 5139565 w 8079933"/>
              <a:gd name="connsiteY39914" fmla="*/ 2391156 h 4687251"/>
              <a:gd name="connsiteX39915" fmla="*/ 5139565 w 8079933"/>
              <a:gd name="connsiteY39915" fmla="*/ 2389207 h 4687251"/>
              <a:gd name="connsiteX39916" fmla="*/ 5141301 w 8079933"/>
              <a:gd name="connsiteY39916" fmla="*/ 2388990 h 4687251"/>
              <a:gd name="connsiteX39917" fmla="*/ 5142060 w 8079933"/>
              <a:gd name="connsiteY39917" fmla="*/ 2386825 h 4687251"/>
              <a:gd name="connsiteX39918" fmla="*/ 5143905 w 8079933"/>
              <a:gd name="connsiteY39918" fmla="*/ 2386825 h 4687251"/>
              <a:gd name="connsiteX39919" fmla="*/ 5148029 w 8079933"/>
              <a:gd name="connsiteY39919" fmla="*/ 2390073 h 4687251"/>
              <a:gd name="connsiteX39920" fmla="*/ 5148354 w 8079933"/>
              <a:gd name="connsiteY39920" fmla="*/ 2392672 h 4687251"/>
              <a:gd name="connsiteX39921" fmla="*/ 5150416 w 8079933"/>
              <a:gd name="connsiteY39921" fmla="*/ 2392672 h 4687251"/>
              <a:gd name="connsiteX39922" fmla="*/ 5151284 w 8079933"/>
              <a:gd name="connsiteY39922" fmla="*/ 2394187 h 4687251"/>
              <a:gd name="connsiteX39923" fmla="*/ 5149656 w 8079933"/>
              <a:gd name="connsiteY39923" fmla="*/ 2401983 h 4687251"/>
              <a:gd name="connsiteX39924" fmla="*/ 5148571 w 8079933"/>
              <a:gd name="connsiteY39924" fmla="*/ 2401983 h 4687251"/>
              <a:gd name="connsiteX39925" fmla="*/ 5149439 w 8079933"/>
              <a:gd name="connsiteY39925" fmla="*/ 2410103 h 4687251"/>
              <a:gd name="connsiteX39926" fmla="*/ 5151067 w 8079933"/>
              <a:gd name="connsiteY39926" fmla="*/ 2410103 h 4687251"/>
              <a:gd name="connsiteX39927" fmla="*/ 5153672 w 8079933"/>
              <a:gd name="connsiteY39927" fmla="*/ 2414867 h 4687251"/>
              <a:gd name="connsiteX39928" fmla="*/ 5151827 w 8079933"/>
              <a:gd name="connsiteY39928" fmla="*/ 2426560 h 4687251"/>
              <a:gd name="connsiteX39929" fmla="*/ 5149114 w 8079933"/>
              <a:gd name="connsiteY39929" fmla="*/ 2427101 h 4687251"/>
              <a:gd name="connsiteX39930" fmla="*/ 5149223 w 8079933"/>
              <a:gd name="connsiteY39930" fmla="*/ 2427210 h 4687251"/>
              <a:gd name="connsiteX39931" fmla="*/ 5149222 w 8079933"/>
              <a:gd name="connsiteY39931" fmla="*/ 2427210 h 4687251"/>
              <a:gd name="connsiteX39932" fmla="*/ 5149874 w 8079933"/>
              <a:gd name="connsiteY39932" fmla="*/ 2428400 h 4687251"/>
              <a:gd name="connsiteX39933" fmla="*/ 5153780 w 8079933"/>
              <a:gd name="connsiteY39933" fmla="*/ 2427967 h 4687251"/>
              <a:gd name="connsiteX39934" fmla="*/ 5151610 w 8079933"/>
              <a:gd name="connsiteY39934" fmla="*/ 2430674 h 4687251"/>
              <a:gd name="connsiteX39935" fmla="*/ 5151502 w 8079933"/>
              <a:gd name="connsiteY39935" fmla="*/ 2433056 h 4687251"/>
              <a:gd name="connsiteX39936" fmla="*/ 5153672 w 8079933"/>
              <a:gd name="connsiteY39936" fmla="*/ 2436846 h 4687251"/>
              <a:gd name="connsiteX39937" fmla="*/ 5154865 w 8079933"/>
              <a:gd name="connsiteY39937" fmla="*/ 2436304 h 4687251"/>
              <a:gd name="connsiteX39938" fmla="*/ 5155083 w 8079933"/>
              <a:gd name="connsiteY39938" fmla="*/ 2436412 h 4687251"/>
              <a:gd name="connsiteX39939" fmla="*/ 5155083 w 8079933"/>
              <a:gd name="connsiteY39939" fmla="*/ 2436412 h 4687251"/>
              <a:gd name="connsiteX39940" fmla="*/ 5156928 w 8079933"/>
              <a:gd name="connsiteY39940" fmla="*/ 2437602 h 4687251"/>
              <a:gd name="connsiteX39941" fmla="*/ 5158881 w 8079933"/>
              <a:gd name="connsiteY39941" fmla="*/ 2435437 h 4687251"/>
              <a:gd name="connsiteX39942" fmla="*/ 5160292 w 8079933"/>
              <a:gd name="connsiteY39942" fmla="*/ 2446265 h 4687251"/>
              <a:gd name="connsiteX39943" fmla="*/ 5164090 w 8079933"/>
              <a:gd name="connsiteY39943" fmla="*/ 2444532 h 4687251"/>
              <a:gd name="connsiteX39944" fmla="*/ 5167670 w 8079933"/>
              <a:gd name="connsiteY39944" fmla="*/ 2444965 h 4687251"/>
              <a:gd name="connsiteX39945" fmla="*/ 5171468 w 8079933"/>
              <a:gd name="connsiteY39945" fmla="*/ 2446047 h 4687251"/>
              <a:gd name="connsiteX39946" fmla="*/ 5181235 w 8079933"/>
              <a:gd name="connsiteY39946" fmla="*/ 2438469 h 4687251"/>
              <a:gd name="connsiteX39947" fmla="*/ 5189374 w 8079933"/>
              <a:gd name="connsiteY39947" fmla="*/ 2440310 h 4687251"/>
              <a:gd name="connsiteX39948" fmla="*/ 5192846 w 8079933"/>
              <a:gd name="connsiteY39948" fmla="*/ 2439551 h 4687251"/>
              <a:gd name="connsiteX39949" fmla="*/ 5194909 w 8079933"/>
              <a:gd name="connsiteY39949" fmla="*/ 2440634 h 4687251"/>
              <a:gd name="connsiteX39950" fmla="*/ 5199575 w 8079933"/>
              <a:gd name="connsiteY39950" fmla="*/ 2440310 h 4687251"/>
              <a:gd name="connsiteX39951" fmla="*/ 5201745 w 8079933"/>
              <a:gd name="connsiteY39951" fmla="*/ 2443016 h 4687251"/>
              <a:gd name="connsiteX39952" fmla="*/ 5206845 w 8079933"/>
              <a:gd name="connsiteY39952" fmla="*/ 2442475 h 4687251"/>
              <a:gd name="connsiteX39953" fmla="*/ 5213790 w 8079933"/>
              <a:gd name="connsiteY39953" fmla="*/ 2441176 h 4687251"/>
              <a:gd name="connsiteX39954" fmla="*/ 5214984 w 8079933"/>
              <a:gd name="connsiteY39954" fmla="*/ 2439010 h 4687251"/>
              <a:gd name="connsiteX39955" fmla="*/ 5216395 w 8079933"/>
              <a:gd name="connsiteY39955" fmla="*/ 2438685 h 4687251"/>
              <a:gd name="connsiteX39956" fmla="*/ 5216069 w 8079933"/>
              <a:gd name="connsiteY39956" fmla="*/ 2434896 h 4687251"/>
              <a:gd name="connsiteX39957" fmla="*/ 5219108 w 8079933"/>
              <a:gd name="connsiteY39957" fmla="*/ 2434896 h 4687251"/>
              <a:gd name="connsiteX39958" fmla="*/ 5221061 w 8079933"/>
              <a:gd name="connsiteY39958" fmla="*/ 2433380 h 4687251"/>
              <a:gd name="connsiteX39959" fmla="*/ 5223231 w 8079933"/>
              <a:gd name="connsiteY39959" fmla="*/ 2436412 h 4687251"/>
              <a:gd name="connsiteX39960" fmla="*/ 5229416 w 8079933"/>
              <a:gd name="connsiteY39960" fmla="*/ 2430024 h 4687251"/>
              <a:gd name="connsiteX39961" fmla="*/ 5228115 w 8079933"/>
              <a:gd name="connsiteY39961" fmla="*/ 2427100 h 4687251"/>
              <a:gd name="connsiteX39962" fmla="*/ 5226162 w 8079933"/>
              <a:gd name="connsiteY39962" fmla="*/ 2426343 h 4687251"/>
              <a:gd name="connsiteX39963" fmla="*/ 5228331 w 8079933"/>
              <a:gd name="connsiteY39963" fmla="*/ 2422878 h 4687251"/>
              <a:gd name="connsiteX39964" fmla="*/ 5242113 w 8079933"/>
              <a:gd name="connsiteY39964" fmla="*/ 2411185 h 4687251"/>
              <a:gd name="connsiteX39965" fmla="*/ 5242113 w 8079933"/>
              <a:gd name="connsiteY39965" fmla="*/ 2404688 h 4687251"/>
              <a:gd name="connsiteX39966" fmla="*/ 5256871 w 8079933"/>
              <a:gd name="connsiteY39966" fmla="*/ 2395811 h 4687251"/>
              <a:gd name="connsiteX39967" fmla="*/ 5258282 w 8079933"/>
              <a:gd name="connsiteY39967" fmla="*/ 2393429 h 4687251"/>
              <a:gd name="connsiteX39968" fmla="*/ 5258282 w 8079933"/>
              <a:gd name="connsiteY39968" fmla="*/ 2389964 h 4687251"/>
              <a:gd name="connsiteX39969" fmla="*/ 5258391 w 8079933"/>
              <a:gd name="connsiteY39969" fmla="*/ 2387907 h 4687251"/>
              <a:gd name="connsiteX39970" fmla="*/ 5259150 w 8079933"/>
              <a:gd name="connsiteY39970" fmla="*/ 2385633 h 4687251"/>
              <a:gd name="connsiteX39971" fmla="*/ 5260452 w 8079933"/>
              <a:gd name="connsiteY39971" fmla="*/ 2387149 h 4687251"/>
              <a:gd name="connsiteX39972" fmla="*/ 5261646 w 8079933"/>
              <a:gd name="connsiteY39972" fmla="*/ 2385633 h 4687251"/>
              <a:gd name="connsiteX39973" fmla="*/ 5262732 w 8079933"/>
              <a:gd name="connsiteY39973" fmla="*/ 2379137 h 4687251"/>
              <a:gd name="connsiteX39974" fmla="*/ 5264793 w 8079933"/>
              <a:gd name="connsiteY39974" fmla="*/ 2379354 h 4687251"/>
              <a:gd name="connsiteX39975" fmla="*/ 5266421 w 8079933"/>
              <a:gd name="connsiteY39975" fmla="*/ 2378921 h 4687251"/>
              <a:gd name="connsiteX39976" fmla="*/ 5267506 w 8079933"/>
              <a:gd name="connsiteY39976" fmla="*/ 2380653 h 4687251"/>
              <a:gd name="connsiteX39977" fmla="*/ 5266530 w 8079933"/>
              <a:gd name="connsiteY39977" fmla="*/ 2380545 h 4687251"/>
              <a:gd name="connsiteX39978" fmla="*/ 5265553 w 8079933"/>
              <a:gd name="connsiteY39978" fmla="*/ 2381303 h 4687251"/>
              <a:gd name="connsiteX39979" fmla="*/ 5266746 w 8079933"/>
              <a:gd name="connsiteY39979" fmla="*/ 2382710 h 4687251"/>
              <a:gd name="connsiteX39980" fmla="*/ 5265770 w 8079933"/>
              <a:gd name="connsiteY39980" fmla="*/ 2385417 h 4687251"/>
              <a:gd name="connsiteX39981" fmla="*/ 5266963 w 8079933"/>
              <a:gd name="connsiteY39981" fmla="*/ 2386067 h 4687251"/>
              <a:gd name="connsiteX39982" fmla="*/ 5266313 w 8079933"/>
              <a:gd name="connsiteY39982" fmla="*/ 2392779 h 4687251"/>
              <a:gd name="connsiteX39983" fmla="*/ 5264359 w 8079933"/>
              <a:gd name="connsiteY39983" fmla="*/ 2396569 h 4687251"/>
              <a:gd name="connsiteX39984" fmla="*/ 5264142 w 8079933"/>
              <a:gd name="connsiteY39984" fmla="*/ 2399492 h 4687251"/>
              <a:gd name="connsiteX39985" fmla="*/ 5264142 w 8079933"/>
              <a:gd name="connsiteY39985" fmla="*/ 2400250 h 4687251"/>
              <a:gd name="connsiteX39986" fmla="*/ 5265335 w 8079933"/>
              <a:gd name="connsiteY39986" fmla="*/ 2401332 h 4687251"/>
              <a:gd name="connsiteX39987" fmla="*/ 5267615 w 8079933"/>
              <a:gd name="connsiteY39987" fmla="*/ 2400574 h 4687251"/>
              <a:gd name="connsiteX39988" fmla="*/ 5268265 w 8079933"/>
              <a:gd name="connsiteY39988" fmla="*/ 2403823 h 4687251"/>
              <a:gd name="connsiteX39989" fmla="*/ 5268808 w 8079933"/>
              <a:gd name="connsiteY39989" fmla="*/ 2409778 h 4687251"/>
              <a:gd name="connsiteX39990" fmla="*/ 5264142 w 8079933"/>
              <a:gd name="connsiteY39990" fmla="*/ 2410427 h 4687251"/>
              <a:gd name="connsiteX39991" fmla="*/ 5263491 w 8079933"/>
              <a:gd name="connsiteY39991" fmla="*/ 2412441 h 4687251"/>
              <a:gd name="connsiteX39992" fmla="*/ 5264143 w 8079933"/>
              <a:gd name="connsiteY39992" fmla="*/ 2410427 h 4687251"/>
              <a:gd name="connsiteX39993" fmla="*/ 5268809 w 8079933"/>
              <a:gd name="connsiteY39993" fmla="*/ 2409778 h 4687251"/>
              <a:gd name="connsiteX39994" fmla="*/ 5270111 w 8079933"/>
              <a:gd name="connsiteY39994" fmla="*/ 2424070 h 4687251"/>
              <a:gd name="connsiteX39995" fmla="*/ 5278033 w 8079933"/>
              <a:gd name="connsiteY39995" fmla="*/ 2433706 h 4687251"/>
              <a:gd name="connsiteX39996" fmla="*/ 5278793 w 8079933"/>
              <a:gd name="connsiteY39996" fmla="*/ 2437062 h 4687251"/>
              <a:gd name="connsiteX39997" fmla="*/ 5292140 w 8079933"/>
              <a:gd name="connsiteY39997" fmla="*/ 2448214 h 4687251"/>
              <a:gd name="connsiteX39998" fmla="*/ 5298109 w 8079933"/>
              <a:gd name="connsiteY39998" fmla="*/ 2449838 h 4687251"/>
              <a:gd name="connsiteX39999" fmla="*/ 5301255 w 8079933"/>
              <a:gd name="connsiteY39999" fmla="*/ 2448430 h 4687251"/>
              <a:gd name="connsiteX40000" fmla="*/ 5305705 w 8079933"/>
              <a:gd name="connsiteY40000" fmla="*/ 2448214 h 4687251"/>
              <a:gd name="connsiteX40001" fmla="*/ 5316448 w 8079933"/>
              <a:gd name="connsiteY40001" fmla="*/ 2450163 h 4687251"/>
              <a:gd name="connsiteX40002" fmla="*/ 5322308 w 8079933"/>
              <a:gd name="connsiteY40002" fmla="*/ 2448972 h 4687251"/>
              <a:gd name="connsiteX40003" fmla="*/ 5325563 w 8079933"/>
              <a:gd name="connsiteY40003" fmla="*/ 2449080 h 4687251"/>
              <a:gd name="connsiteX40004" fmla="*/ 5332291 w 8079933"/>
              <a:gd name="connsiteY40004" fmla="*/ 2457958 h 4687251"/>
              <a:gd name="connsiteX40005" fmla="*/ 5334136 w 8079933"/>
              <a:gd name="connsiteY40005" fmla="*/ 2464130 h 4687251"/>
              <a:gd name="connsiteX40006" fmla="*/ 5338260 w 8079933"/>
              <a:gd name="connsiteY40006" fmla="*/ 2467919 h 4687251"/>
              <a:gd name="connsiteX40007" fmla="*/ 5340430 w 8079933"/>
              <a:gd name="connsiteY40007" fmla="*/ 2472250 h 4687251"/>
              <a:gd name="connsiteX40008" fmla="*/ 5349329 w 8079933"/>
              <a:gd name="connsiteY40008" fmla="*/ 2479396 h 4687251"/>
              <a:gd name="connsiteX40009" fmla="*/ 5353669 w 8079933"/>
              <a:gd name="connsiteY40009" fmla="*/ 2480154 h 4687251"/>
              <a:gd name="connsiteX40010" fmla="*/ 5355189 w 8079933"/>
              <a:gd name="connsiteY40010" fmla="*/ 2481886 h 4687251"/>
              <a:gd name="connsiteX40011" fmla="*/ 5354972 w 8079933"/>
              <a:gd name="connsiteY40011" fmla="*/ 2486542 h 4687251"/>
              <a:gd name="connsiteX40012" fmla="*/ 5352041 w 8079933"/>
              <a:gd name="connsiteY40012" fmla="*/ 2491738 h 4687251"/>
              <a:gd name="connsiteX40013" fmla="*/ 5352476 w 8079933"/>
              <a:gd name="connsiteY40013" fmla="*/ 2494770 h 4687251"/>
              <a:gd name="connsiteX40014" fmla="*/ 5351608 w 8079933"/>
              <a:gd name="connsiteY40014" fmla="*/ 2498343 h 4687251"/>
              <a:gd name="connsiteX40015" fmla="*/ 5342818 w 8079933"/>
              <a:gd name="connsiteY40015" fmla="*/ 2512418 h 4687251"/>
              <a:gd name="connsiteX40016" fmla="*/ 5336957 w 8079933"/>
              <a:gd name="connsiteY40016" fmla="*/ 2517615 h 4687251"/>
              <a:gd name="connsiteX40017" fmla="*/ 5334353 w 8079933"/>
              <a:gd name="connsiteY40017" fmla="*/ 2523245 h 4687251"/>
              <a:gd name="connsiteX40018" fmla="*/ 5331532 w 8079933"/>
              <a:gd name="connsiteY40018" fmla="*/ 2525627 h 4687251"/>
              <a:gd name="connsiteX40019" fmla="*/ 5328819 w 8079933"/>
              <a:gd name="connsiteY40019" fmla="*/ 2534722 h 4687251"/>
              <a:gd name="connsiteX40020" fmla="*/ 5326106 w 8079933"/>
              <a:gd name="connsiteY40020" fmla="*/ 2534505 h 4687251"/>
              <a:gd name="connsiteX40021" fmla="*/ 5323502 w 8079933"/>
              <a:gd name="connsiteY40021" fmla="*/ 2533098 h 4687251"/>
              <a:gd name="connsiteX40022" fmla="*/ 5324044 w 8079933"/>
              <a:gd name="connsiteY40022" fmla="*/ 2530499 h 4687251"/>
              <a:gd name="connsiteX40023" fmla="*/ 5325130 w 8079933"/>
              <a:gd name="connsiteY40023" fmla="*/ 2528117 h 4687251"/>
              <a:gd name="connsiteX40024" fmla="*/ 5322959 w 8079933"/>
              <a:gd name="connsiteY40024" fmla="*/ 2527360 h 4687251"/>
              <a:gd name="connsiteX40025" fmla="*/ 5320680 w 8079933"/>
              <a:gd name="connsiteY40025" fmla="*/ 2529200 h 4687251"/>
              <a:gd name="connsiteX40026" fmla="*/ 5317751 w 8079933"/>
              <a:gd name="connsiteY40026" fmla="*/ 2534505 h 4687251"/>
              <a:gd name="connsiteX40027" fmla="*/ 5316665 w 8079933"/>
              <a:gd name="connsiteY40027" fmla="*/ 2534722 h 4687251"/>
              <a:gd name="connsiteX40028" fmla="*/ 5318401 w 8079933"/>
              <a:gd name="connsiteY40028" fmla="*/ 2537754 h 4687251"/>
              <a:gd name="connsiteX40029" fmla="*/ 5315580 w 8079933"/>
              <a:gd name="connsiteY40029" fmla="*/ 2538511 h 4687251"/>
              <a:gd name="connsiteX40030" fmla="*/ 5311565 w 8079933"/>
              <a:gd name="connsiteY40030" fmla="*/ 2546199 h 4687251"/>
              <a:gd name="connsiteX40031" fmla="*/ 5311565 w 8079933"/>
              <a:gd name="connsiteY40031" fmla="*/ 2550313 h 4687251"/>
              <a:gd name="connsiteX40032" fmla="*/ 5310046 w 8079933"/>
              <a:gd name="connsiteY40032" fmla="*/ 2554102 h 4687251"/>
              <a:gd name="connsiteX40033" fmla="*/ 5311022 w 8079933"/>
              <a:gd name="connsiteY40033" fmla="*/ 2554427 h 4687251"/>
              <a:gd name="connsiteX40034" fmla="*/ 5313301 w 8079933"/>
              <a:gd name="connsiteY40034" fmla="*/ 2558758 h 4687251"/>
              <a:gd name="connsiteX40035" fmla="*/ 5311890 w 8079933"/>
              <a:gd name="connsiteY40035" fmla="*/ 2558974 h 4687251"/>
              <a:gd name="connsiteX40036" fmla="*/ 5314929 w 8079933"/>
              <a:gd name="connsiteY40036" fmla="*/ 2567528 h 4687251"/>
              <a:gd name="connsiteX40037" fmla="*/ 5316882 w 8079933"/>
              <a:gd name="connsiteY40037" fmla="*/ 2569368 h 4687251"/>
              <a:gd name="connsiteX40038" fmla="*/ 5316014 w 8079933"/>
              <a:gd name="connsiteY40038" fmla="*/ 2571750 h 4687251"/>
              <a:gd name="connsiteX40039" fmla="*/ 5304077 w 8079933"/>
              <a:gd name="connsiteY40039" fmla="*/ 2572725 h 4687251"/>
              <a:gd name="connsiteX40040" fmla="*/ 5301581 w 8079933"/>
              <a:gd name="connsiteY40040" fmla="*/ 2574349 h 4687251"/>
              <a:gd name="connsiteX40041" fmla="*/ 5298326 w 8079933"/>
              <a:gd name="connsiteY40041" fmla="*/ 2572833 h 4687251"/>
              <a:gd name="connsiteX40042" fmla="*/ 5292900 w 8079933"/>
              <a:gd name="connsiteY40042" fmla="*/ 2574241 h 4687251"/>
              <a:gd name="connsiteX40043" fmla="*/ 5284110 w 8079933"/>
              <a:gd name="connsiteY40043" fmla="*/ 2584851 h 4687251"/>
              <a:gd name="connsiteX40044" fmla="*/ 5284110 w 8079933"/>
              <a:gd name="connsiteY40044" fmla="*/ 2592214 h 4687251"/>
              <a:gd name="connsiteX40045" fmla="*/ 5281940 w 8079933"/>
              <a:gd name="connsiteY40045" fmla="*/ 2594163 h 4687251"/>
              <a:gd name="connsiteX40046" fmla="*/ 5277490 w 8079933"/>
              <a:gd name="connsiteY40046" fmla="*/ 2598818 h 4687251"/>
              <a:gd name="connsiteX40047" fmla="*/ 5274561 w 8079933"/>
              <a:gd name="connsiteY40047" fmla="*/ 2597627 h 4687251"/>
              <a:gd name="connsiteX40048" fmla="*/ 5268592 w 8079933"/>
              <a:gd name="connsiteY40048" fmla="*/ 2598602 h 4687251"/>
              <a:gd name="connsiteX40049" fmla="*/ 5260345 w 8079933"/>
              <a:gd name="connsiteY40049" fmla="*/ 2598385 h 4687251"/>
              <a:gd name="connsiteX40050" fmla="*/ 5258174 w 8079933"/>
              <a:gd name="connsiteY40050" fmla="*/ 2600659 h 4687251"/>
              <a:gd name="connsiteX40051" fmla="*/ 5254811 w 8079933"/>
              <a:gd name="connsiteY40051" fmla="*/ 2604015 h 4687251"/>
              <a:gd name="connsiteX40052" fmla="*/ 5255461 w 8079933"/>
              <a:gd name="connsiteY40052" fmla="*/ 2606289 h 4687251"/>
              <a:gd name="connsiteX40053" fmla="*/ 5255028 w 8079933"/>
              <a:gd name="connsiteY40053" fmla="*/ 2609320 h 4687251"/>
              <a:gd name="connsiteX40054" fmla="*/ 5257306 w 8079933"/>
              <a:gd name="connsiteY40054" fmla="*/ 2610512 h 4687251"/>
              <a:gd name="connsiteX40055" fmla="*/ 5256981 w 8079933"/>
              <a:gd name="connsiteY40055" fmla="*/ 2613326 h 4687251"/>
              <a:gd name="connsiteX40056" fmla="*/ 5255787 w 8079933"/>
              <a:gd name="connsiteY40056" fmla="*/ 2613651 h 4687251"/>
              <a:gd name="connsiteX40057" fmla="*/ 5256112 w 8079933"/>
              <a:gd name="connsiteY40057" fmla="*/ 2614626 h 4687251"/>
              <a:gd name="connsiteX40058" fmla="*/ 5250361 w 8079933"/>
              <a:gd name="connsiteY40058" fmla="*/ 2623179 h 4687251"/>
              <a:gd name="connsiteX40059" fmla="*/ 5247431 w 8079933"/>
              <a:gd name="connsiteY40059" fmla="*/ 2623395 h 4687251"/>
              <a:gd name="connsiteX40060" fmla="*/ 5243633 w 8079933"/>
              <a:gd name="connsiteY40060" fmla="*/ 2621122 h 4687251"/>
              <a:gd name="connsiteX40061" fmla="*/ 5239618 w 8079933"/>
              <a:gd name="connsiteY40061" fmla="*/ 2621879 h 4687251"/>
              <a:gd name="connsiteX40062" fmla="*/ 5234843 w 8079933"/>
              <a:gd name="connsiteY40062" fmla="*/ 2621555 h 4687251"/>
              <a:gd name="connsiteX40063" fmla="*/ 5226379 w 8079933"/>
              <a:gd name="connsiteY40063" fmla="*/ 2626102 h 4687251"/>
              <a:gd name="connsiteX40064" fmla="*/ 5221062 w 8079933"/>
              <a:gd name="connsiteY40064" fmla="*/ 2625994 h 4687251"/>
              <a:gd name="connsiteX40065" fmla="*/ 5218023 w 8079933"/>
              <a:gd name="connsiteY40065" fmla="*/ 2630975 h 4687251"/>
              <a:gd name="connsiteX40066" fmla="*/ 5213357 w 8079933"/>
              <a:gd name="connsiteY40066" fmla="*/ 2630975 h 4687251"/>
              <a:gd name="connsiteX40067" fmla="*/ 5212055 w 8079933"/>
              <a:gd name="connsiteY40067" fmla="*/ 2630108 h 4687251"/>
              <a:gd name="connsiteX40068" fmla="*/ 5208799 w 8079933"/>
              <a:gd name="connsiteY40068" fmla="*/ 2630866 h 4687251"/>
              <a:gd name="connsiteX40069" fmla="*/ 5203482 w 8079933"/>
              <a:gd name="connsiteY40069" fmla="*/ 2632273 h 4687251"/>
              <a:gd name="connsiteX40070" fmla="*/ 5194367 w 8079933"/>
              <a:gd name="connsiteY40070" fmla="*/ 2634222 h 4687251"/>
              <a:gd name="connsiteX40071" fmla="*/ 5186228 w 8079933"/>
              <a:gd name="connsiteY40071" fmla="*/ 2644183 h 4687251"/>
              <a:gd name="connsiteX40072" fmla="*/ 5185468 w 8079933"/>
              <a:gd name="connsiteY40072" fmla="*/ 2650138 h 4687251"/>
              <a:gd name="connsiteX40073" fmla="*/ 5187422 w 8079933"/>
              <a:gd name="connsiteY40073" fmla="*/ 2652087 h 4687251"/>
              <a:gd name="connsiteX40074" fmla="*/ 5186662 w 8079933"/>
              <a:gd name="connsiteY40074" fmla="*/ 2653495 h 4687251"/>
              <a:gd name="connsiteX40075" fmla="*/ 5187638 w 8079933"/>
              <a:gd name="connsiteY40075" fmla="*/ 2656201 h 4687251"/>
              <a:gd name="connsiteX40076" fmla="*/ 5177329 w 8079933"/>
              <a:gd name="connsiteY40076" fmla="*/ 2658367 h 4687251"/>
              <a:gd name="connsiteX40077" fmla="*/ 5172663 w 8079933"/>
              <a:gd name="connsiteY40077" fmla="*/ 2662806 h 4687251"/>
              <a:gd name="connsiteX40078" fmla="*/ 5163222 w 8079933"/>
              <a:gd name="connsiteY40078" fmla="*/ 2667461 h 4687251"/>
              <a:gd name="connsiteX40079" fmla="*/ 5148355 w 8079933"/>
              <a:gd name="connsiteY40079" fmla="*/ 2670168 h 4687251"/>
              <a:gd name="connsiteX40080" fmla="*/ 5146077 w 8079933"/>
              <a:gd name="connsiteY40080" fmla="*/ 2672658 h 4687251"/>
              <a:gd name="connsiteX40081" fmla="*/ 5119707 w 8079933"/>
              <a:gd name="connsiteY40081" fmla="*/ 2680454 h 4687251"/>
              <a:gd name="connsiteX40082" fmla="*/ 5117102 w 8079933"/>
              <a:gd name="connsiteY40082" fmla="*/ 2680129 h 4687251"/>
              <a:gd name="connsiteX40083" fmla="*/ 5112653 w 8079933"/>
              <a:gd name="connsiteY40083" fmla="*/ 2682403 h 4687251"/>
              <a:gd name="connsiteX40084" fmla="*/ 5107770 w 8079933"/>
              <a:gd name="connsiteY40084" fmla="*/ 2690415 h 4687251"/>
              <a:gd name="connsiteX40085" fmla="*/ 5100825 w 8079933"/>
              <a:gd name="connsiteY40085" fmla="*/ 2696262 h 4687251"/>
              <a:gd name="connsiteX40086" fmla="*/ 5097461 w 8079933"/>
              <a:gd name="connsiteY40086" fmla="*/ 2696262 h 4687251"/>
              <a:gd name="connsiteX40087" fmla="*/ 5096050 w 8079933"/>
              <a:gd name="connsiteY40087" fmla="*/ 2694854 h 4687251"/>
              <a:gd name="connsiteX40088" fmla="*/ 5093771 w 8079933"/>
              <a:gd name="connsiteY40088" fmla="*/ 2697019 h 4687251"/>
              <a:gd name="connsiteX40089" fmla="*/ 5090298 w 8079933"/>
              <a:gd name="connsiteY40089" fmla="*/ 2697669 h 4687251"/>
              <a:gd name="connsiteX40090" fmla="*/ 5087369 w 8079933"/>
              <a:gd name="connsiteY40090" fmla="*/ 2695395 h 4687251"/>
              <a:gd name="connsiteX40091" fmla="*/ 5083679 w 8079933"/>
              <a:gd name="connsiteY40091" fmla="*/ 2695287 h 4687251"/>
              <a:gd name="connsiteX40092" fmla="*/ 5075106 w 8079933"/>
              <a:gd name="connsiteY40092" fmla="*/ 2701891 h 4687251"/>
              <a:gd name="connsiteX40093" fmla="*/ 5074564 w 8079933"/>
              <a:gd name="connsiteY40093" fmla="*/ 2704815 h 4687251"/>
              <a:gd name="connsiteX40094" fmla="*/ 5071525 w 8079933"/>
              <a:gd name="connsiteY40094" fmla="*/ 2707305 h 4687251"/>
              <a:gd name="connsiteX40095" fmla="*/ 5062519 w 8079933"/>
              <a:gd name="connsiteY40095" fmla="*/ 2708172 h 4687251"/>
              <a:gd name="connsiteX40096" fmla="*/ 5051233 w 8079933"/>
              <a:gd name="connsiteY40096" fmla="*/ 2712502 h 4687251"/>
              <a:gd name="connsiteX40097" fmla="*/ 5046567 w 8079933"/>
              <a:gd name="connsiteY40097" fmla="*/ 2711527 h 4687251"/>
              <a:gd name="connsiteX40098" fmla="*/ 5045156 w 8079933"/>
              <a:gd name="connsiteY40098" fmla="*/ 2709687 h 4687251"/>
              <a:gd name="connsiteX40099" fmla="*/ 5038211 w 8079933"/>
              <a:gd name="connsiteY40099" fmla="*/ 2710011 h 4687251"/>
              <a:gd name="connsiteX40100" fmla="*/ 5037343 w 8079933"/>
              <a:gd name="connsiteY40100" fmla="*/ 2708604 h 4687251"/>
              <a:gd name="connsiteX40101" fmla="*/ 5033545 w 8079933"/>
              <a:gd name="connsiteY40101" fmla="*/ 2708388 h 4687251"/>
              <a:gd name="connsiteX40102" fmla="*/ 5030506 w 8079933"/>
              <a:gd name="connsiteY40102" fmla="*/ 2709362 h 4687251"/>
              <a:gd name="connsiteX40103" fmla="*/ 5024429 w 8079933"/>
              <a:gd name="connsiteY40103" fmla="*/ 2713152 h 4687251"/>
              <a:gd name="connsiteX40104" fmla="*/ 5021824 w 8079933"/>
              <a:gd name="connsiteY40104" fmla="*/ 2719431 h 4687251"/>
              <a:gd name="connsiteX40105" fmla="*/ 5019437 w 8079933"/>
              <a:gd name="connsiteY40105" fmla="*/ 2719756 h 4687251"/>
              <a:gd name="connsiteX40106" fmla="*/ 5014880 w 8079933"/>
              <a:gd name="connsiteY40106" fmla="*/ 2726036 h 4687251"/>
              <a:gd name="connsiteX40107" fmla="*/ 5010430 w 8079933"/>
              <a:gd name="connsiteY40107" fmla="*/ 2727876 h 4687251"/>
              <a:gd name="connsiteX40108" fmla="*/ 5007826 w 8079933"/>
              <a:gd name="connsiteY40108" fmla="*/ 2725386 h 4687251"/>
              <a:gd name="connsiteX40109" fmla="*/ 5003160 w 8079933"/>
              <a:gd name="connsiteY40109" fmla="*/ 2725386 h 4687251"/>
              <a:gd name="connsiteX40110" fmla="*/ 4998277 w 8079933"/>
              <a:gd name="connsiteY40110" fmla="*/ 2729501 h 4687251"/>
              <a:gd name="connsiteX40111" fmla="*/ 4994262 w 8079933"/>
              <a:gd name="connsiteY40111" fmla="*/ 2730475 h 4687251"/>
              <a:gd name="connsiteX40112" fmla="*/ 4987642 w 8079933"/>
              <a:gd name="connsiteY40112" fmla="*/ 2728309 h 4687251"/>
              <a:gd name="connsiteX40113" fmla="*/ 4986340 w 8079933"/>
              <a:gd name="connsiteY40113" fmla="*/ 2729825 h 4687251"/>
              <a:gd name="connsiteX40114" fmla="*/ 4981456 w 8079933"/>
              <a:gd name="connsiteY40114" fmla="*/ 2730583 h 4687251"/>
              <a:gd name="connsiteX40115" fmla="*/ 4979503 w 8079933"/>
              <a:gd name="connsiteY40115" fmla="*/ 2726578 h 4687251"/>
              <a:gd name="connsiteX40116" fmla="*/ 4978526 w 8079933"/>
              <a:gd name="connsiteY40116" fmla="*/ 2720623 h 4687251"/>
              <a:gd name="connsiteX40117" fmla="*/ 4973535 w 8079933"/>
              <a:gd name="connsiteY40117" fmla="*/ 2715209 h 4687251"/>
              <a:gd name="connsiteX40118" fmla="*/ 4970930 w 8079933"/>
              <a:gd name="connsiteY40118" fmla="*/ 2708821 h 4687251"/>
              <a:gd name="connsiteX40119" fmla="*/ 4973535 w 8079933"/>
              <a:gd name="connsiteY40119" fmla="*/ 2707088 h 4687251"/>
              <a:gd name="connsiteX40120" fmla="*/ 4973100 w 8079933"/>
              <a:gd name="connsiteY40120" fmla="*/ 2700484 h 4687251"/>
              <a:gd name="connsiteX40121" fmla="*/ 4966915 w 8079933"/>
              <a:gd name="connsiteY40121" fmla="*/ 2694854 h 4687251"/>
              <a:gd name="connsiteX40122" fmla="*/ 4963877 w 8079933"/>
              <a:gd name="connsiteY40122" fmla="*/ 2672658 h 4687251"/>
              <a:gd name="connsiteX40123" fmla="*/ 4958125 w 8079933"/>
              <a:gd name="connsiteY40123" fmla="*/ 2665296 h 4687251"/>
              <a:gd name="connsiteX40124" fmla="*/ 4957908 w 8079933"/>
              <a:gd name="connsiteY40124" fmla="*/ 2661723 h 4687251"/>
              <a:gd name="connsiteX40125" fmla="*/ 4955412 w 8079933"/>
              <a:gd name="connsiteY40125" fmla="*/ 2661723 h 4687251"/>
              <a:gd name="connsiteX40126" fmla="*/ 4953785 w 8079933"/>
              <a:gd name="connsiteY40126" fmla="*/ 2658258 h 4687251"/>
              <a:gd name="connsiteX40127" fmla="*/ 4957583 w 8079933"/>
              <a:gd name="connsiteY40127" fmla="*/ 2659341 h 4687251"/>
              <a:gd name="connsiteX40128" fmla="*/ 4957583 w 8079933"/>
              <a:gd name="connsiteY40128" fmla="*/ 2656742 h 4687251"/>
              <a:gd name="connsiteX40129" fmla="*/ 4960296 w 8079933"/>
              <a:gd name="connsiteY40129" fmla="*/ 2656742 h 4687251"/>
              <a:gd name="connsiteX40130" fmla="*/ 4960621 w 8079933"/>
              <a:gd name="connsiteY40130" fmla="*/ 2649597 h 4687251"/>
              <a:gd name="connsiteX40131" fmla="*/ 4958451 w 8079933"/>
              <a:gd name="connsiteY40131" fmla="*/ 2637471 h 4687251"/>
              <a:gd name="connsiteX40132" fmla="*/ 4956932 w 8079933"/>
              <a:gd name="connsiteY40132" fmla="*/ 2633140 h 4687251"/>
              <a:gd name="connsiteX40133" fmla="*/ 4960646 w 8079933"/>
              <a:gd name="connsiteY40133" fmla="*/ 2633425 h 4687251"/>
              <a:gd name="connsiteX40134" fmla="*/ 4956932 w 8079933"/>
              <a:gd name="connsiteY40134" fmla="*/ 2633140 h 4687251"/>
              <a:gd name="connsiteX40135" fmla="*/ 4952699 w 8079933"/>
              <a:gd name="connsiteY40135" fmla="*/ 2620905 h 4687251"/>
              <a:gd name="connsiteX40136" fmla="*/ 4945103 w 8079933"/>
              <a:gd name="connsiteY40136" fmla="*/ 2618740 h 4687251"/>
              <a:gd name="connsiteX40137" fmla="*/ 4943475 w 8079933"/>
              <a:gd name="connsiteY40137" fmla="*/ 2608454 h 4687251"/>
              <a:gd name="connsiteX40138" fmla="*/ 4940762 w 8079933"/>
              <a:gd name="connsiteY40138" fmla="*/ 2608454 h 4687251"/>
              <a:gd name="connsiteX40139" fmla="*/ 4922640 w 8079933"/>
              <a:gd name="connsiteY40139" fmla="*/ 2590265 h 4687251"/>
              <a:gd name="connsiteX40140" fmla="*/ 4922315 w 8079933"/>
              <a:gd name="connsiteY40140" fmla="*/ 2584093 h 4687251"/>
              <a:gd name="connsiteX40141" fmla="*/ 4917215 w 8079933"/>
              <a:gd name="connsiteY40141" fmla="*/ 2581061 h 4687251"/>
              <a:gd name="connsiteX40142" fmla="*/ 4911680 w 8079933"/>
              <a:gd name="connsiteY40142" fmla="*/ 2560490 h 4687251"/>
              <a:gd name="connsiteX40143" fmla="*/ 4908533 w 8079933"/>
              <a:gd name="connsiteY40143" fmla="*/ 2559191 h 4687251"/>
              <a:gd name="connsiteX40144" fmla="*/ 4909292 w 8079933"/>
              <a:gd name="connsiteY40144" fmla="*/ 2555726 h 4687251"/>
              <a:gd name="connsiteX40145" fmla="*/ 4903324 w 8079933"/>
              <a:gd name="connsiteY40145" fmla="*/ 2554643 h 4687251"/>
              <a:gd name="connsiteX40146" fmla="*/ 4903107 w 8079933"/>
              <a:gd name="connsiteY40146" fmla="*/ 2551071 h 4687251"/>
              <a:gd name="connsiteX40147" fmla="*/ 4896053 w 8079933"/>
              <a:gd name="connsiteY40147" fmla="*/ 2545116 h 4687251"/>
              <a:gd name="connsiteX40148" fmla="*/ 4893775 w 8079933"/>
              <a:gd name="connsiteY40148" fmla="*/ 2545116 h 4687251"/>
              <a:gd name="connsiteX40149" fmla="*/ 4890519 w 8079933"/>
              <a:gd name="connsiteY40149" fmla="*/ 2540461 h 4687251"/>
              <a:gd name="connsiteX40150" fmla="*/ 4885636 w 8079933"/>
              <a:gd name="connsiteY40150" fmla="*/ 2540027 h 4687251"/>
              <a:gd name="connsiteX40151" fmla="*/ 4881621 w 8079933"/>
              <a:gd name="connsiteY40151" fmla="*/ 2538295 h 4687251"/>
              <a:gd name="connsiteX40152" fmla="*/ 4869467 w 8079933"/>
              <a:gd name="connsiteY40152" fmla="*/ 2525411 h 4687251"/>
              <a:gd name="connsiteX40153" fmla="*/ 4868707 w 8079933"/>
              <a:gd name="connsiteY40153" fmla="*/ 2522055 h 4687251"/>
              <a:gd name="connsiteX40154" fmla="*/ 4864367 w 8079933"/>
              <a:gd name="connsiteY40154" fmla="*/ 2518265 h 4687251"/>
              <a:gd name="connsiteX40155" fmla="*/ 4863390 w 8079933"/>
              <a:gd name="connsiteY40155" fmla="*/ 2509170 h 4687251"/>
              <a:gd name="connsiteX40156" fmla="*/ 4861003 w 8079933"/>
              <a:gd name="connsiteY40156" fmla="*/ 2500508 h 4687251"/>
              <a:gd name="connsiteX40157" fmla="*/ 4859267 w 8079933"/>
              <a:gd name="connsiteY40157" fmla="*/ 2496719 h 4687251"/>
              <a:gd name="connsiteX40158" fmla="*/ 4861003 w 8079933"/>
              <a:gd name="connsiteY40158" fmla="*/ 2495095 h 4687251"/>
              <a:gd name="connsiteX40159" fmla="*/ 4862848 w 8079933"/>
              <a:gd name="connsiteY40159" fmla="*/ 2487299 h 4687251"/>
              <a:gd name="connsiteX40160" fmla="*/ 4861437 w 8079933"/>
              <a:gd name="connsiteY40160" fmla="*/ 2484701 h 4687251"/>
              <a:gd name="connsiteX40161" fmla="*/ 4859918 w 8079933"/>
              <a:gd name="connsiteY40161" fmla="*/ 2476364 h 4687251"/>
              <a:gd name="connsiteX40162" fmla="*/ 4855252 w 8079933"/>
              <a:gd name="connsiteY40162" fmla="*/ 2472250 h 4687251"/>
              <a:gd name="connsiteX40163" fmla="*/ 4853190 w 8079933"/>
              <a:gd name="connsiteY40163" fmla="*/ 2464130 h 4687251"/>
              <a:gd name="connsiteX40164" fmla="*/ 4850910 w 8079933"/>
              <a:gd name="connsiteY40164" fmla="*/ 2462072 h 4687251"/>
              <a:gd name="connsiteX40165" fmla="*/ 4850151 w 8079933"/>
              <a:gd name="connsiteY40165" fmla="*/ 2456117 h 4687251"/>
              <a:gd name="connsiteX40166" fmla="*/ 4848306 w 8079933"/>
              <a:gd name="connsiteY40166" fmla="*/ 2455793 h 4687251"/>
              <a:gd name="connsiteX40167" fmla="*/ 4846570 w 8079933"/>
              <a:gd name="connsiteY40167" fmla="*/ 2450595 h 4687251"/>
              <a:gd name="connsiteX40168" fmla="*/ 4840602 w 8079933"/>
              <a:gd name="connsiteY40168" fmla="*/ 2444424 h 4687251"/>
              <a:gd name="connsiteX40169" fmla="*/ 4833005 w 8079933"/>
              <a:gd name="connsiteY40169" fmla="*/ 2440960 h 4687251"/>
              <a:gd name="connsiteX40170" fmla="*/ 4827905 w 8079933"/>
              <a:gd name="connsiteY40170" fmla="*/ 2436846 h 4687251"/>
              <a:gd name="connsiteX40171" fmla="*/ 4824324 w 8079933"/>
              <a:gd name="connsiteY40171" fmla="*/ 2440418 h 4687251"/>
              <a:gd name="connsiteX40172" fmla="*/ 4821069 w 8079933"/>
              <a:gd name="connsiteY40172" fmla="*/ 2438469 h 4687251"/>
              <a:gd name="connsiteX40173" fmla="*/ 4820851 w 8079933"/>
              <a:gd name="connsiteY40173" fmla="*/ 2434464 h 4687251"/>
              <a:gd name="connsiteX40174" fmla="*/ 4815752 w 8079933"/>
              <a:gd name="connsiteY40174" fmla="*/ 2430891 h 4687251"/>
              <a:gd name="connsiteX40175" fmla="*/ 4815752 w 8079933"/>
              <a:gd name="connsiteY40175" fmla="*/ 2427426 h 4687251"/>
              <a:gd name="connsiteX40176" fmla="*/ 4817271 w 8079933"/>
              <a:gd name="connsiteY40176" fmla="*/ 2424394 h 4687251"/>
              <a:gd name="connsiteX40177" fmla="*/ 4815752 w 8079933"/>
              <a:gd name="connsiteY40177" fmla="*/ 2417140 h 4687251"/>
              <a:gd name="connsiteX40178" fmla="*/ 4812387 w 8079933"/>
              <a:gd name="connsiteY40178" fmla="*/ 2414867 h 4687251"/>
              <a:gd name="connsiteX40179" fmla="*/ 4808047 w 8079933"/>
              <a:gd name="connsiteY40179" fmla="*/ 2403498 h 4687251"/>
              <a:gd name="connsiteX40180" fmla="*/ 4802621 w 8079933"/>
              <a:gd name="connsiteY40180" fmla="*/ 2401116 h 4687251"/>
              <a:gd name="connsiteX40181" fmla="*/ 4800233 w 8079933"/>
              <a:gd name="connsiteY40181" fmla="*/ 2397868 h 4687251"/>
              <a:gd name="connsiteX40182" fmla="*/ 4799148 w 8079933"/>
              <a:gd name="connsiteY40182" fmla="*/ 2391913 h 4687251"/>
              <a:gd name="connsiteX40183" fmla="*/ 4795350 w 8079933"/>
              <a:gd name="connsiteY40183" fmla="*/ 2391155 h 4687251"/>
              <a:gd name="connsiteX40184" fmla="*/ 4793506 w 8079933"/>
              <a:gd name="connsiteY40184" fmla="*/ 2387041 h 4687251"/>
              <a:gd name="connsiteX40185" fmla="*/ 4793397 w 8079933"/>
              <a:gd name="connsiteY40185" fmla="*/ 2383251 h 4687251"/>
              <a:gd name="connsiteX40186" fmla="*/ 4786452 w 8079933"/>
              <a:gd name="connsiteY40186" fmla="*/ 2371450 h 4687251"/>
              <a:gd name="connsiteX40187" fmla="*/ 4783956 w 8079933"/>
              <a:gd name="connsiteY40187" fmla="*/ 2371341 h 4687251"/>
              <a:gd name="connsiteX40188" fmla="*/ 4778747 w 8079933"/>
              <a:gd name="connsiteY40188" fmla="*/ 2366686 h 4687251"/>
              <a:gd name="connsiteX40189" fmla="*/ 4777771 w 8079933"/>
              <a:gd name="connsiteY40189" fmla="*/ 2361706 h 4687251"/>
              <a:gd name="connsiteX40190" fmla="*/ 4775492 w 8079933"/>
              <a:gd name="connsiteY40190" fmla="*/ 2360731 h 4687251"/>
              <a:gd name="connsiteX40191" fmla="*/ 4774407 w 8079933"/>
              <a:gd name="connsiteY40191" fmla="*/ 2355643 h 4687251"/>
              <a:gd name="connsiteX40192" fmla="*/ 4763881 w 8079933"/>
              <a:gd name="connsiteY40192" fmla="*/ 2343949 h 4687251"/>
              <a:gd name="connsiteX40193" fmla="*/ 4765291 w 8079933"/>
              <a:gd name="connsiteY40193" fmla="*/ 2342975 h 4687251"/>
              <a:gd name="connsiteX40194" fmla="*/ 4759865 w 8079933"/>
              <a:gd name="connsiteY40194" fmla="*/ 2339943 h 4687251"/>
              <a:gd name="connsiteX40195" fmla="*/ 4756827 w 8079933"/>
              <a:gd name="connsiteY40195" fmla="*/ 2342109 h 4687251"/>
              <a:gd name="connsiteX40196" fmla="*/ 4755742 w 8079933"/>
              <a:gd name="connsiteY40196" fmla="*/ 2340268 h 4687251"/>
              <a:gd name="connsiteX40197" fmla="*/ 4752269 w 8079933"/>
              <a:gd name="connsiteY40197" fmla="*/ 2341567 h 4687251"/>
              <a:gd name="connsiteX40198" fmla="*/ 4751727 w 8079933"/>
              <a:gd name="connsiteY40198" fmla="*/ 2338968 h 4687251"/>
              <a:gd name="connsiteX40199" fmla="*/ 4754331 w 8079933"/>
              <a:gd name="connsiteY40199" fmla="*/ 2332148 h 4687251"/>
              <a:gd name="connsiteX40200" fmla="*/ 4753897 w 8079933"/>
              <a:gd name="connsiteY40200" fmla="*/ 2322078 h 4687251"/>
              <a:gd name="connsiteX40201" fmla="*/ 4754549 w 8079933"/>
              <a:gd name="connsiteY40201" fmla="*/ 2313309 h 4687251"/>
              <a:gd name="connsiteX40202" fmla="*/ 4762035 w 8079933"/>
              <a:gd name="connsiteY40202" fmla="*/ 2312984 h 4687251"/>
              <a:gd name="connsiteX40203" fmla="*/ 4754548 w 8079933"/>
              <a:gd name="connsiteY40203" fmla="*/ 2313309 h 4687251"/>
              <a:gd name="connsiteX40204" fmla="*/ 4754656 w 8079933"/>
              <a:gd name="connsiteY40204" fmla="*/ 2312335 h 4687251"/>
              <a:gd name="connsiteX40205" fmla="*/ 4756718 w 8079933"/>
              <a:gd name="connsiteY40205" fmla="*/ 2306380 h 4687251"/>
              <a:gd name="connsiteX40206" fmla="*/ 4756501 w 8079933"/>
              <a:gd name="connsiteY40206" fmla="*/ 2304106 h 4687251"/>
              <a:gd name="connsiteX40207" fmla="*/ 4756393 w 8079933"/>
              <a:gd name="connsiteY40207" fmla="*/ 2304323 h 4687251"/>
              <a:gd name="connsiteX40208" fmla="*/ 4756501 w 8079933"/>
              <a:gd name="connsiteY40208" fmla="*/ 2303673 h 4687251"/>
              <a:gd name="connsiteX40209" fmla="*/ 4756501 w 8079933"/>
              <a:gd name="connsiteY40209" fmla="*/ 2303673 h 4687251"/>
              <a:gd name="connsiteX40210" fmla="*/ 4756392 w 8079933"/>
              <a:gd name="connsiteY40210" fmla="*/ 2304323 h 4687251"/>
              <a:gd name="connsiteX40211" fmla="*/ 4753570 w 8079933"/>
              <a:gd name="connsiteY40211" fmla="*/ 2308762 h 4687251"/>
              <a:gd name="connsiteX40212" fmla="*/ 4753570 w 8079933"/>
              <a:gd name="connsiteY40212" fmla="*/ 2308761 h 4687251"/>
              <a:gd name="connsiteX40213" fmla="*/ 4752702 w 8079933"/>
              <a:gd name="connsiteY40213" fmla="*/ 2310169 h 4687251"/>
              <a:gd name="connsiteX40214" fmla="*/ 4749013 w 8079933"/>
              <a:gd name="connsiteY40214" fmla="*/ 2323378 h 4687251"/>
              <a:gd name="connsiteX40215" fmla="*/ 4748470 w 8079933"/>
              <a:gd name="connsiteY40215" fmla="*/ 2328359 h 4687251"/>
              <a:gd name="connsiteX40216" fmla="*/ 4745649 w 8079933"/>
              <a:gd name="connsiteY40216" fmla="*/ 2335612 h 4687251"/>
              <a:gd name="connsiteX40217" fmla="*/ 4747819 w 8079933"/>
              <a:gd name="connsiteY40217" fmla="*/ 2337778 h 4687251"/>
              <a:gd name="connsiteX40218" fmla="*/ 4745974 w 8079933"/>
              <a:gd name="connsiteY40218" fmla="*/ 2346223 h 4687251"/>
              <a:gd name="connsiteX40219" fmla="*/ 4742719 w 8079933"/>
              <a:gd name="connsiteY40219" fmla="*/ 2349363 h 4687251"/>
              <a:gd name="connsiteX40220" fmla="*/ 4741851 w 8079933"/>
              <a:gd name="connsiteY40220" fmla="*/ 2352178 h 4687251"/>
              <a:gd name="connsiteX40221" fmla="*/ 4741091 w 8079933"/>
              <a:gd name="connsiteY40221" fmla="*/ 2350771 h 4687251"/>
              <a:gd name="connsiteX40222" fmla="*/ 4734797 w 8079933"/>
              <a:gd name="connsiteY40222" fmla="*/ 2347306 h 4687251"/>
              <a:gd name="connsiteX40223" fmla="*/ 4723403 w 8079933"/>
              <a:gd name="connsiteY40223" fmla="*/ 2335288 h 4687251"/>
              <a:gd name="connsiteX40224" fmla="*/ 4721884 w 8079933"/>
              <a:gd name="connsiteY40224" fmla="*/ 2330740 h 4687251"/>
              <a:gd name="connsiteX40225" fmla="*/ 4715590 w 8079933"/>
              <a:gd name="connsiteY40225" fmla="*/ 2327817 h 4687251"/>
              <a:gd name="connsiteX40226" fmla="*/ 4713202 w 8079933"/>
              <a:gd name="connsiteY40226" fmla="*/ 2323161 h 4687251"/>
              <a:gd name="connsiteX40227" fmla="*/ 4713202 w 8079933"/>
              <a:gd name="connsiteY40227" fmla="*/ 2318506 h 4687251"/>
              <a:gd name="connsiteX40228" fmla="*/ 4703979 w 8079933"/>
              <a:gd name="connsiteY40228" fmla="*/ 2310710 h 4687251"/>
              <a:gd name="connsiteX40229" fmla="*/ 4703436 w 8079933"/>
              <a:gd name="connsiteY40229" fmla="*/ 2307679 h 4687251"/>
              <a:gd name="connsiteX40230" fmla="*/ 4701266 w 8079933"/>
              <a:gd name="connsiteY40230" fmla="*/ 2305080 h 4687251"/>
              <a:gd name="connsiteX40231" fmla="*/ 4699638 w 8079933"/>
              <a:gd name="connsiteY40231" fmla="*/ 2299017 h 4687251"/>
              <a:gd name="connsiteX40232" fmla="*/ 4697359 w 8079933"/>
              <a:gd name="connsiteY40232" fmla="*/ 2299017 h 4687251"/>
              <a:gd name="connsiteX40233" fmla="*/ 4696382 w 8079933"/>
              <a:gd name="connsiteY40233" fmla="*/ 2297502 h 4687251"/>
              <a:gd name="connsiteX40234" fmla="*/ 4695406 w 8079933"/>
              <a:gd name="connsiteY40234" fmla="*/ 2299125 h 4687251"/>
              <a:gd name="connsiteX40235" fmla="*/ 4695732 w 8079933"/>
              <a:gd name="connsiteY40235" fmla="*/ 2302373 h 4687251"/>
              <a:gd name="connsiteX40236" fmla="*/ 4695189 w 8079933"/>
              <a:gd name="connsiteY40236" fmla="*/ 2305622 h 4687251"/>
              <a:gd name="connsiteX40237" fmla="*/ 4700180 w 8079933"/>
              <a:gd name="connsiteY40237" fmla="*/ 2312118 h 4687251"/>
              <a:gd name="connsiteX40238" fmla="*/ 4700180 w 8079933"/>
              <a:gd name="connsiteY40238" fmla="*/ 2317531 h 4687251"/>
              <a:gd name="connsiteX40239" fmla="*/ 4709079 w 8079933"/>
              <a:gd name="connsiteY40239" fmla="*/ 2328034 h 4687251"/>
              <a:gd name="connsiteX40240" fmla="*/ 4710164 w 8079933"/>
              <a:gd name="connsiteY40240" fmla="*/ 2331823 h 4687251"/>
              <a:gd name="connsiteX40241" fmla="*/ 4724054 w 8079933"/>
              <a:gd name="connsiteY40241" fmla="*/ 2343516 h 4687251"/>
              <a:gd name="connsiteX40242" fmla="*/ 4726116 w 8079933"/>
              <a:gd name="connsiteY40242" fmla="*/ 2347306 h 4687251"/>
              <a:gd name="connsiteX40243" fmla="*/ 4725139 w 8079933"/>
              <a:gd name="connsiteY40243" fmla="*/ 2351095 h 4687251"/>
              <a:gd name="connsiteX40244" fmla="*/ 4725573 w 8079933"/>
              <a:gd name="connsiteY40244" fmla="*/ 2354560 h 4687251"/>
              <a:gd name="connsiteX40245" fmla="*/ 4733712 w 8079933"/>
              <a:gd name="connsiteY40245" fmla="*/ 2363330 h 4687251"/>
              <a:gd name="connsiteX40246" fmla="*/ 4733712 w 8079933"/>
              <a:gd name="connsiteY40246" fmla="*/ 2366145 h 4687251"/>
              <a:gd name="connsiteX40247" fmla="*/ 4736208 w 8079933"/>
              <a:gd name="connsiteY40247" fmla="*/ 2369177 h 4687251"/>
              <a:gd name="connsiteX40248" fmla="*/ 4737076 w 8079933"/>
              <a:gd name="connsiteY40248" fmla="*/ 2378379 h 4687251"/>
              <a:gd name="connsiteX40249" fmla="*/ 4739680 w 8079933"/>
              <a:gd name="connsiteY40249" fmla="*/ 2382277 h 4687251"/>
              <a:gd name="connsiteX40250" fmla="*/ 4739463 w 8079933"/>
              <a:gd name="connsiteY40250" fmla="*/ 2387366 h 4687251"/>
              <a:gd name="connsiteX40251" fmla="*/ 4754439 w 8079933"/>
              <a:gd name="connsiteY40251" fmla="*/ 2409345 h 4687251"/>
              <a:gd name="connsiteX40252" fmla="*/ 4755524 w 8079933"/>
              <a:gd name="connsiteY40252" fmla="*/ 2416058 h 4687251"/>
              <a:gd name="connsiteX40253" fmla="*/ 4759539 w 8079933"/>
              <a:gd name="connsiteY40253" fmla="*/ 2418656 h 4687251"/>
              <a:gd name="connsiteX40254" fmla="*/ 4769089 w 8079933"/>
              <a:gd name="connsiteY40254" fmla="*/ 2432515 h 4687251"/>
              <a:gd name="connsiteX40255" fmla="*/ 4771151 w 8079933"/>
              <a:gd name="connsiteY40255" fmla="*/ 2438903 h 4687251"/>
              <a:gd name="connsiteX40256" fmla="*/ 4773864 w 8079933"/>
              <a:gd name="connsiteY40256" fmla="*/ 2442151 h 4687251"/>
              <a:gd name="connsiteX40257" fmla="*/ 4774080 w 8079933"/>
              <a:gd name="connsiteY40257" fmla="*/ 2440527 h 4687251"/>
              <a:gd name="connsiteX40258" fmla="*/ 4775708 w 8079933"/>
              <a:gd name="connsiteY40258" fmla="*/ 2441718 h 4687251"/>
              <a:gd name="connsiteX40259" fmla="*/ 4779615 w 8079933"/>
              <a:gd name="connsiteY40259" fmla="*/ 2447673 h 4687251"/>
              <a:gd name="connsiteX40260" fmla="*/ 4781893 w 8079933"/>
              <a:gd name="connsiteY40260" fmla="*/ 2448106 h 4687251"/>
              <a:gd name="connsiteX40261" fmla="*/ 4784606 w 8079933"/>
              <a:gd name="connsiteY40261" fmla="*/ 2451029 h 4687251"/>
              <a:gd name="connsiteX40262" fmla="*/ 4777553 w 8079933"/>
              <a:gd name="connsiteY40262" fmla="*/ 2450596 h 4687251"/>
              <a:gd name="connsiteX40263" fmla="*/ 4775708 w 8079933"/>
              <a:gd name="connsiteY40263" fmla="*/ 2449080 h 4687251"/>
              <a:gd name="connsiteX40264" fmla="*/ 4775274 w 8079933"/>
              <a:gd name="connsiteY40264" fmla="*/ 2451245 h 4687251"/>
              <a:gd name="connsiteX40265" fmla="*/ 4776793 w 8079933"/>
              <a:gd name="connsiteY40265" fmla="*/ 2454386 h 4687251"/>
              <a:gd name="connsiteX40266" fmla="*/ 4777118 w 8079933"/>
              <a:gd name="connsiteY40266" fmla="*/ 2460340 h 4687251"/>
              <a:gd name="connsiteX40267" fmla="*/ 4776250 w 8079933"/>
              <a:gd name="connsiteY40267" fmla="*/ 2463588 h 4687251"/>
              <a:gd name="connsiteX40268" fmla="*/ 4779940 w 8079933"/>
              <a:gd name="connsiteY40268" fmla="*/ 2476039 h 4687251"/>
              <a:gd name="connsiteX40269" fmla="*/ 4787319 w 8079933"/>
              <a:gd name="connsiteY40269" fmla="*/ 2480804 h 4687251"/>
              <a:gd name="connsiteX40270" fmla="*/ 4791877 w 8079933"/>
              <a:gd name="connsiteY40270" fmla="*/ 2481020 h 4687251"/>
              <a:gd name="connsiteX40271" fmla="*/ 4794807 w 8079933"/>
              <a:gd name="connsiteY40271" fmla="*/ 2479612 h 4687251"/>
              <a:gd name="connsiteX40272" fmla="*/ 4797845 w 8079933"/>
              <a:gd name="connsiteY40272" fmla="*/ 2486000 h 4687251"/>
              <a:gd name="connsiteX40273" fmla="*/ 4802729 w 8079933"/>
              <a:gd name="connsiteY40273" fmla="*/ 2487408 h 4687251"/>
              <a:gd name="connsiteX40274" fmla="*/ 4804248 w 8079933"/>
              <a:gd name="connsiteY40274" fmla="*/ 2490331 h 4687251"/>
              <a:gd name="connsiteX40275" fmla="*/ 4809782 w 8079933"/>
              <a:gd name="connsiteY40275" fmla="*/ 2496069 h 4687251"/>
              <a:gd name="connsiteX40276" fmla="*/ 4814014 w 8079933"/>
              <a:gd name="connsiteY40276" fmla="*/ 2497694 h 4687251"/>
              <a:gd name="connsiteX40277" fmla="*/ 4813906 w 8079933"/>
              <a:gd name="connsiteY40277" fmla="*/ 2498127 h 4687251"/>
              <a:gd name="connsiteX40278" fmla="*/ 4813580 w 8079933"/>
              <a:gd name="connsiteY40278" fmla="*/ 2500183 h 4687251"/>
              <a:gd name="connsiteX40279" fmla="*/ 4813038 w 8079933"/>
              <a:gd name="connsiteY40279" fmla="*/ 2502348 h 4687251"/>
              <a:gd name="connsiteX40280" fmla="*/ 4814340 w 8079933"/>
              <a:gd name="connsiteY40280" fmla="*/ 2504081 h 4687251"/>
              <a:gd name="connsiteX40281" fmla="*/ 4813689 w 8079933"/>
              <a:gd name="connsiteY40281" fmla="*/ 2505380 h 4687251"/>
              <a:gd name="connsiteX40282" fmla="*/ 4814557 w 8079933"/>
              <a:gd name="connsiteY40282" fmla="*/ 2506463 h 4687251"/>
              <a:gd name="connsiteX40283" fmla="*/ 4814557 w 8079933"/>
              <a:gd name="connsiteY40283" fmla="*/ 2507437 h 4687251"/>
              <a:gd name="connsiteX40284" fmla="*/ 4815534 w 8079933"/>
              <a:gd name="connsiteY40284" fmla="*/ 2508844 h 4687251"/>
              <a:gd name="connsiteX40285" fmla="*/ 4817053 w 8079933"/>
              <a:gd name="connsiteY40285" fmla="*/ 2515450 h 4687251"/>
              <a:gd name="connsiteX40286" fmla="*/ 4821719 w 8079933"/>
              <a:gd name="connsiteY40286" fmla="*/ 2520863 h 4687251"/>
              <a:gd name="connsiteX40287" fmla="*/ 4821611 w 8079933"/>
              <a:gd name="connsiteY40287" fmla="*/ 2523244 h 4687251"/>
              <a:gd name="connsiteX40288" fmla="*/ 4820417 w 8079933"/>
              <a:gd name="connsiteY40288" fmla="*/ 2523244 h 4687251"/>
              <a:gd name="connsiteX40289" fmla="*/ 4819874 w 8079933"/>
              <a:gd name="connsiteY40289" fmla="*/ 2521729 h 4687251"/>
              <a:gd name="connsiteX40290" fmla="*/ 4817921 w 8079933"/>
              <a:gd name="connsiteY40290" fmla="*/ 2519347 h 4687251"/>
              <a:gd name="connsiteX40291" fmla="*/ 4817161 w 8079933"/>
              <a:gd name="connsiteY40291" fmla="*/ 2520213 h 4687251"/>
              <a:gd name="connsiteX40292" fmla="*/ 4817813 w 8079933"/>
              <a:gd name="connsiteY40292" fmla="*/ 2524544 h 4687251"/>
              <a:gd name="connsiteX40293" fmla="*/ 4823564 w 8079933"/>
              <a:gd name="connsiteY40293" fmla="*/ 2541650 h 4687251"/>
              <a:gd name="connsiteX40294" fmla="*/ 4824866 w 8079933"/>
              <a:gd name="connsiteY40294" fmla="*/ 2551070 h 4687251"/>
              <a:gd name="connsiteX40295" fmla="*/ 4823456 w 8079933"/>
              <a:gd name="connsiteY40295" fmla="*/ 2559948 h 4687251"/>
              <a:gd name="connsiteX40296" fmla="*/ 4826711 w 8079933"/>
              <a:gd name="connsiteY40296" fmla="*/ 2570126 h 4687251"/>
              <a:gd name="connsiteX40297" fmla="*/ 4830943 w 8079933"/>
              <a:gd name="connsiteY40297" fmla="*/ 2578247 h 4687251"/>
              <a:gd name="connsiteX40298" fmla="*/ 4834958 w 8079933"/>
              <a:gd name="connsiteY40298" fmla="*/ 2579221 h 4687251"/>
              <a:gd name="connsiteX40299" fmla="*/ 4845376 w 8079933"/>
              <a:gd name="connsiteY40299" fmla="*/ 2586258 h 4687251"/>
              <a:gd name="connsiteX40300" fmla="*/ 4845376 w 8079933"/>
              <a:gd name="connsiteY40300" fmla="*/ 2590806 h 4687251"/>
              <a:gd name="connsiteX40301" fmla="*/ 4850367 w 8079933"/>
              <a:gd name="connsiteY40301" fmla="*/ 2590914 h 4687251"/>
              <a:gd name="connsiteX40302" fmla="*/ 4855577 w 8079933"/>
              <a:gd name="connsiteY40302" fmla="*/ 2593621 h 4687251"/>
              <a:gd name="connsiteX40303" fmla="*/ 4855577 w 8079933"/>
              <a:gd name="connsiteY40303" fmla="*/ 2596869 h 4687251"/>
              <a:gd name="connsiteX40304" fmla="*/ 4857204 w 8079933"/>
              <a:gd name="connsiteY40304" fmla="*/ 2596869 h 4687251"/>
              <a:gd name="connsiteX40305" fmla="*/ 4854057 w 8079933"/>
              <a:gd name="connsiteY40305" fmla="*/ 2601741 h 4687251"/>
              <a:gd name="connsiteX40306" fmla="*/ 4850042 w 8079933"/>
              <a:gd name="connsiteY40306" fmla="*/ 2603798 h 4687251"/>
              <a:gd name="connsiteX40307" fmla="*/ 4850043 w 8079933"/>
              <a:gd name="connsiteY40307" fmla="*/ 2603798 h 4687251"/>
              <a:gd name="connsiteX40308" fmla="*/ 4854058 w 8079933"/>
              <a:gd name="connsiteY40308" fmla="*/ 2601741 h 4687251"/>
              <a:gd name="connsiteX40309" fmla="*/ 4857205 w 8079933"/>
              <a:gd name="connsiteY40309" fmla="*/ 2596869 h 4687251"/>
              <a:gd name="connsiteX40310" fmla="*/ 4857421 w 8079933"/>
              <a:gd name="connsiteY40310" fmla="*/ 2596869 h 4687251"/>
              <a:gd name="connsiteX40311" fmla="*/ 4862956 w 8079933"/>
              <a:gd name="connsiteY40311" fmla="*/ 2602824 h 4687251"/>
              <a:gd name="connsiteX40312" fmla="*/ 4872939 w 8079933"/>
              <a:gd name="connsiteY40312" fmla="*/ 2629025 h 4687251"/>
              <a:gd name="connsiteX40313" fmla="*/ 4876195 w 8079933"/>
              <a:gd name="connsiteY40313" fmla="*/ 2646132 h 4687251"/>
              <a:gd name="connsiteX40314" fmla="*/ 4878040 w 8079933"/>
              <a:gd name="connsiteY40314" fmla="*/ 2646673 h 4687251"/>
              <a:gd name="connsiteX40315" fmla="*/ 4879234 w 8079933"/>
              <a:gd name="connsiteY40315" fmla="*/ 2652953 h 4687251"/>
              <a:gd name="connsiteX40316" fmla="*/ 4879234 w 8079933"/>
              <a:gd name="connsiteY40316" fmla="*/ 2655118 h 4687251"/>
              <a:gd name="connsiteX40317" fmla="*/ 4882489 w 8079933"/>
              <a:gd name="connsiteY40317" fmla="*/ 2656201 h 4687251"/>
              <a:gd name="connsiteX40318" fmla="*/ 4884551 w 8079933"/>
              <a:gd name="connsiteY40318" fmla="*/ 2661290 h 4687251"/>
              <a:gd name="connsiteX40319" fmla="*/ 4885745 w 8079933"/>
              <a:gd name="connsiteY40319" fmla="*/ 2668652 h 4687251"/>
              <a:gd name="connsiteX40320" fmla="*/ 4889977 w 8079933"/>
              <a:gd name="connsiteY40320" fmla="*/ 2669735 h 4687251"/>
              <a:gd name="connsiteX40321" fmla="*/ 4889543 w 8079933"/>
              <a:gd name="connsiteY40321" fmla="*/ 2663130 h 4687251"/>
              <a:gd name="connsiteX40322" fmla="*/ 4888458 w 8079933"/>
              <a:gd name="connsiteY40322" fmla="*/ 2663238 h 4687251"/>
              <a:gd name="connsiteX40323" fmla="*/ 4888891 w 8079933"/>
              <a:gd name="connsiteY40323" fmla="*/ 2658366 h 4687251"/>
              <a:gd name="connsiteX40324" fmla="*/ 4890628 w 8079933"/>
              <a:gd name="connsiteY40324" fmla="*/ 2657717 h 4687251"/>
              <a:gd name="connsiteX40325" fmla="*/ 4894969 w 8079933"/>
              <a:gd name="connsiteY40325" fmla="*/ 2663780 h 4687251"/>
              <a:gd name="connsiteX40326" fmla="*/ 4893341 w 8079933"/>
              <a:gd name="connsiteY40326" fmla="*/ 2665621 h 4687251"/>
              <a:gd name="connsiteX40327" fmla="*/ 4897356 w 8079933"/>
              <a:gd name="connsiteY40327" fmla="*/ 2671684 h 4687251"/>
              <a:gd name="connsiteX40328" fmla="*/ 4900177 w 8079933"/>
              <a:gd name="connsiteY40328" fmla="*/ 2674391 h 4687251"/>
              <a:gd name="connsiteX40329" fmla="*/ 4902456 w 8079933"/>
              <a:gd name="connsiteY40329" fmla="*/ 2672875 h 4687251"/>
              <a:gd name="connsiteX40330" fmla="*/ 4906037 w 8079933"/>
              <a:gd name="connsiteY40330" fmla="*/ 2672333 h 4687251"/>
              <a:gd name="connsiteX40331" fmla="*/ 4907556 w 8079933"/>
              <a:gd name="connsiteY40331" fmla="*/ 2673308 h 4687251"/>
              <a:gd name="connsiteX40332" fmla="*/ 4910595 w 8079933"/>
              <a:gd name="connsiteY40332" fmla="*/ 2672225 h 4687251"/>
              <a:gd name="connsiteX40333" fmla="*/ 4915044 w 8079933"/>
              <a:gd name="connsiteY40333" fmla="*/ 2677097 h 4687251"/>
              <a:gd name="connsiteX40334" fmla="*/ 4917323 w 8079933"/>
              <a:gd name="connsiteY40334" fmla="*/ 2679913 h 4687251"/>
              <a:gd name="connsiteX40335" fmla="*/ 4923943 w 8079933"/>
              <a:gd name="connsiteY40335" fmla="*/ 2681429 h 4687251"/>
              <a:gd name="connsiteX40336" fmla="*/ 4925462 w 8079933"/>
              <a:gd name="connsiteY40336" fmla="*/ 2684027 h 4687251"/>
              <a:gd name="connsiteX40337" fmla="*/ 4933493 w 8079933"/>
              <a:gd name="connsiteY40337" fmla="*/ 2693013 h 4687251"/>
              <a:gd name="connsiteX40338" fmla="*/ 4936964 w 8079933"/>
              <a:gd name="connsiteY40338" fmla="*/ 2698968 h 4687251"/>
              <a:gd name="connsiteX40339" fmla="*/ 4941957 w 8079933"/>
              <a:gd name="connsiteY40339" fmla="*/ 2701025 h 4687251"/>
              <a:gd name="connsiteX40340" fmla="*/ 4945320 w 8079933"/>
              <a:gd name="connsiteY40340" fmla="*/ 2705356 h 4687251"/>
              <a:gd name="connsiteX40341" fmla="*/ 4947274 w 8079933"/>
              <a:gd name="connsiteY40341" fmla="*/ 2705356 h 4687251"/>
              <a:gd name="connsiteX40342" fmla="*/ 4947491 w 8079933"/>
              <a:gd name="connsiteY40342" fmla="*/ 2703840 h 4687251"/>
              <a:gd name="connsiteX40343" fmla="*/ 4949118 w 8079933"/>
              <a:gd name="connsiteY40343" fmla="*/ 2706114 h 4687251"/>
              <a:gd name="connsiteX40344" fmla="*/ 4953134 w 8079933"/>
              <a:gd name="connsiteY40344" fmla="*/ 2715967 h 4687251"/>
              <a:gd name="connsiteX40345" fmla="*/ 4956064 w 8079933"/>
              <a:gd name="connsiteY40345" fmla="*/ 2716833 h 4687251"/>
              <a:gd name="connsiteX40346" fmla="*/ 4959536 w 8079933"/>
              <a:gd name="connsiteY40346" fmla="*/ 2721272 h 4687251"/>
              <a:gd name="connsiteX40347" fmla="*/ 4958559 w 8079933"/>
              <a:gd name="connsiteY40347" fmla="*/ 2722679 h 4687251"/>
              <a:gd name="connsiteX40348" fmla="*/ 4960730 w 8079933"/>
              <a:gd name="connsiteY40348" fmla="*/ 2727335 h 4687251"/>
              <a:gd name="connsiteX40349" fmla="*/ 4963334 w 8079933"/>
              <a:gd name="connsiteY40349" fmla="*/ 2727335 h 4687251"/>
              <a:gd name="connsiteX40350" fmla="*/ 4965938 w 8079933"/>
              <a:gd name="connsiteY40350" fmla="*/ 2728743 h 4687251"/>
              <a:gd name="connsiteX40351" fmla="*/ 4967783 w 8079933"/>
              <a:gd name="connsiteY40351" fmla="*/ 2727010 h 4687251"/>
              <a:gd name="connsiteX40352" fmla="*/ 4968651 w 8079933"/>
              <a:gd name="connsiteY40352" fmla="*/ 2728310 h 4687251"/>
              <a:gd name="connsiteX40353" fmla="*/ 4969845 w 8079933"/>
              <a:gd name="connsiteY40353" fmla="*/ 2728959 h 4687251"/>
              <a:gd name="connsiteX40354" fmla="*/ 4969845 w 8079933"/>
              <a:gd name="connsiteY40354" fmla="*/ 2728960 h 4687251"/>
              <a:gd name="connsiteX40355" fmla="*/ 4969952 w 8079933"/>
              <a:gd name="connsiteY40355" fmla="*/ 2728960 h 4687251"/>
              <a:gd name="connsiteX40356" fmla="*/ 4969844 w 8079933"/>
              <a:gd name="connsiteY40356" fmla="*/ 2730801 h 4687251"/>
              <a:gd name="connsiteX40357" fmla="*/ 4975378 w 8079933"/>
              <a:gd name="connsiteY40357" fmla="*/ 2736106 h 4687251"/>
              <a:gd name="connsiteX40358" fmla="*/ 4976898 w 8079933"/>
              <a:gd name="connsiteY40358" fmla="*/ 2736106 h 4687251"/>
              <a:gd name="connsiteX40359" fmla="*/ 4976138 w 8079933"/>
              <a:gd name="connsiteY40359" fmla="*/ 2738380 h 4687251"/>
              <a:gd name="connsiteX40360" fmla="*/ 4977006 w 8079933"/>
              <a:gd name="connsiteY40360" fmla="*/ 2745742 h 4687251"/>
              <a:gd name="connsiteX40361" fmla="*/ 4974619 w 8079933"/>
              <a:gd name="connsiteY40361" fmla="*/ 2746716 h 4687251"/>
              <a:gd name="connsiteX40362" fmla="*/ 4970169 w 8079933"/>
              <a:gd name="connsiteY40362" fmla="*/ 2751697 h 4687251"/>
              <a:gd name="connsiteX40363" fmla="*/ 4966806 w 8079933"/>
              <a:gd name="connsiteY40363" fmla="*/ 2751805 h 4687251"/>
              <a:gd name="connsiteX40364" fmla="*/ 4964418 w 8079933"/>
              <a:gd name="connsiteY40364" fmla="*/ 2755378 h 4687251"/>
              <a:gd name="connsiteX40365" fmla="*/ 4959210 w 8079933"/>
              <a:gd name="connsiteY40365" fmla="*/ 2755378 h 4687251"/>
              <a:gd name="connsiteX40366" fmla="*/ 4961814 w 8079933"/>
              <a:gd name="connsiteY40366" fmla="*/ 2758626 h 4687251"/>
              <a:gd name="connsiteX40367" fmla="*/ 4963441 w 8079933"/>
              <a:gd name="connsiteY40367" fmla="*/ 2758951 h 4687251"/>
              <a:gd name="connsiteX40368" fmla="*/ 4967131 w 8079933"/>
              <a:gd name="connsiteY40368" fmla="*/ 2757543 h 4687251"/>
              <a:gd name="connsiteX40369" fmla="*/ 4973425 w 8079933"/>
              <a:gd name="connsiteY40369" fmla="*/ 2757435 h 4687251"/>
              <a:gd name="connsiteX40370" fmla="*/ 4974185 w 8079933"/>
              <a:gd name="connsiteY40370" fmla="*/ 2759059 h 4687251"/>
              <a:gd name="connsiteX40371" fmla="*/ 4968650 w 8079933"/>
              <a:gd name="connsiteY40371" fmla="*/ 2769345 h 4687251"/>
              <a:gd name="connsiteX40372" fmla="*/ 4968000 w 8079933"/>
              <a:gd name="connsiteY40372" fmla="*/ 2770318 h 4687251"/>
              <a:gd name="connsiteX40373" fmla="*/ 4968001 w 8079933"/>
              <a:gd name="connsiteY40373" fmla="*/ 2770318 h 4687251"/>
              <a:gd name="connsiteX40374" fmla="*/ 4968651 w 8079933"/>
              <a:gd name="connsiteY40374" fmla="*/ 2769345 h 4687251"/>
              <a:gd name="connsiteX40375" fmla="*/ 4974185 w 8079933"/>
              <a:gd name="connsiteY40375" fmla="*/ 2759059 h 4687251"/>
              <a:gd name="connsiteX40376" fmla="*/ 4975596 w 8079933"/>
              <a:gd name="connsiteY40376" fmla="*/ 2762090 h 4687251"/>
              <a:gd name="connsiteX40377" fmla="*/ 4977223 w 8079933"/>
              <a:gd name="connsiteY40377" fmla="*/ 2762307 h 4687251"/>
              <a:gd name="connsiteX40378" fmla="*/ 4991657 w 8079933"/>
              <a:gd name="connsiteY40378" fmla="*/ 2778331 h 4687251"/>
              <a:gd name="connsiteX40379" fmla="*/ 4993393 w 8079933"/>
              <a:gd name="connsiteY40379" fmla="*/ 2781904 h 4687251"/>
              <a:gd name="connsiteX40380" fmla="*/ 4995780 w 8079933"/>
              <a:gd name="connsiteY40380" fmla="*/ 2782553 h 4687251"/>
              <a:gd name="connsiteX40381" fmla="*/ 5001748 w 8079933"/>
              <a:gd name="connsiteY40381" fmla="*/ 2787859 h 4687251"/>
              <a:gd name="connsiteX40382" fmla="*/ 5007609 w 8079933"/>
              <a:gd name="connsiteY40382" fmla="*/ 2789375 h 4687251"/>
              <a:gd name="connsiteX40383" fmla="*/ 5014553 w 8079933"/>
              <a:gd name="connsiteY40383" fmla="*/ 2788400 h 4687251"/>
              <a:gd name="connsiteX40384" fmla="*/ 5016723 w 8079933"/>
              <a:gd name="connsiteY40384" fmla="*/ 2785802 h 4687251"/>
              <a:gd name="connsiteX40385" fmla="*/ 5022909 w 8079933"/>
              <a:gd name="connsiteY40385" fmla="*/ 2782012 h 4687251"/>
              <a:gd name="connsiteX40386" fmla="*/ 5026816 w 8079933"/>
              <a:gd name="connsiteY40386" fmla="*/ 2781904 h 4687251"/>
              <a:gd name="connsiteX40387" fmla="*/ 5034846 w 8079933"/>
              <a:gd name="connsiteY40387" fmla="*/ 2775624 h 4687251"/>
              <a:gd name="connsiteX40388" fmla="*/ 5037125 w 8079933"/>
              <a:gd name="connsiteY40388" fmla="*/ 2775516 h 4687251"/>
              <a:gd name="connsiteX40389" fmla="*/ 5038536 w 8079933"/>
              <a:gd name="connsiteY40389" fmla="*/ 2776816 h 4687251"/>
              <a:gd name="connsiteX40390" fmla="*/ 5045047 w 8079933"/>
              <a:gd name="connsiteY40390" fmla="*/ 2776490 h 4687251"/>
              <a:gd name="connsiteX40391" fmla="*/ 5047325 w 8079933"/>
              <a:gd name="connsiteY40391" fmla="*/ 2775733 h 4687251"/>
              <a:gd name="connsiteX40392" fmla="*/ 5052100 w 8079933"/>
              <a:gd name="connsiteY40392" fmla="*/ 2778006 h 4687251"/>
              <a:gd name="connsiteX40393" fmla="*/ 5059045 w 8079933"/>
              <a:gd name="connsiteY40393" fmla="*/ 2777249 h 4687251"/>
              <a:gd name="connsiteX40394" fmla="*/ 5073587 w 8079933"/>
              <a:gd name="connsiteY40394" fmla="*/ 2768153 h 4687251"/>
              <a:gd name="connsiteX40395" fmla="*/ 5078253 w 8079933"/>
              <a:gd name="connsiteY40395" fmla="*/ 2767288 h 4687251"/>
              <a:gd name="connsiteX40396" fmla="*/ 5082919 w 8079933"/>
              <a:gd name="connsiteY40396" fmla="*/ 2769345 h 4687251"/>
              <a:gd name="connsiteX40397" fmla="*/ 5086609 w 8079933"/>
              <a:gd name="connsiteY40397" fmla="*/ 2768153 h 4687251"/>
              <a:gd name="connsiteX40398" fmla="*/ 5093011 w 8079933"/>
              <a:gd name="connsiteY40398" fmla="*/ 2768478 h 4687251"/>
              <a:gd name="connsiteX40399" fmla="*/ 5099739 w 8079933"/>
              <a:gd name="connsiteY40399" fmla="*/ 2765122 h 4687251"/>
              <a:gd name="connsiteX40400" fmla="*/ 5107227 w 8079933"/>
              <a:gd name="connsiteY40400" fmla="*/ 2764581 h 4687251"/>
              <a:gd name="connsiteX40401" fmla="*/ 5109505 w 8079933"/>
              <a:gd name="connsiteY40401" fmla="*/ 2765988 h 4687251"/>
              <a:gd name="connsiteX40402" fmla="*/ 5112001 w 8079933"/>
              <a:gd name="connsiteY40402" fmla="*/ 2765988 h 4687251"/>
              <a:gd name="connsiteX40403" fmla="*/ 5123612 w 8079933"/>
              <a:gd name="connsiteY40403" fmla="*/ 2763823 h 4687251"/>
              <a:gd name="connsiteX40404" fmla="*/ 5128062 w 8079933"/>
              <a:gd name="connsiteY40404" fmla="*/ 2760250 h 4687251"/>
              <a:gd name="connsiteX40405" fmla="*/ 5135115 w 8079933"/>
              <a:gd name="connsiteY40405" fmla="*/ 2759276 h 4687251"/>
              <a:gd name="connsiteX40406" fmla="*/ 5137068 w 8079933"/>
              <a:gd name="connsiteY40406" fmla="*/ 2761116 h 4687251"/>
              <a:gd name="connsiteX40407" fmla="*/ 5137720 w 8079933"/>
              <a:gd name="connsiteY40407" fmla="*/ 2759167 h 4687251"/>
              <a:gd name="connsiteX40408" fmla="*/ 5145099 w 8079933"/>
              <a:gd name="connsiteY40408" fmla="*/ 2758192 h 4687251"/>
              <a:gd name="connsiteX40409" fmla="*/ 5149331 w 8079933"/>
              <a:gd name="connsiteY40409" fmla="*/ 2753970 h 4687251"/>
              <a:gd name="connsiteX40410" fmla="*/ 5150199 w 8079933"/>
              <a:gd name="connsiteY40410" fmla="*/ 2754620 h 4687251"/>
              <a:gd name="connsiteX40411" fmla="*/ 5152043 w 8079933"/>
              <a:gd name="connsiteY40411" fmla="*/ 2751155 h 4687251"/>
              <a:gd name="connsiteX40412" fmla="*/ 5151393 w 8079933"/>
              <a:gd name="connsiteY40412" fmla="*/ 2750614 h 4687251"/>
              <a:gd name="connsiteX40413" fmla="*/ 5154323 w 8079933"/>
              <a:gd name="connsiteY40413" fmla="*/ 2747799 h 4687251"/>
              <a:gd name="connsiteX40414" fmla="*/ 5156385 w 8079933"/>
              <a:gd name="connsiteY40414" fmla="*/ 2748015 h 4687251"/>
              <a:gd name="connsiteX40415" fmla="*/ 5156059 w 8079933"/>
              <a:gd name="connsiteY40415" fmla="*/ 2746933 h 4687251"/>
              <a:gd name="connsiteX40416" fmla="*/ 5158989 w 8079933"/>
              <a:gd name="connsiteY40416" fmla="*/ 2748990 h 4687251"/>
              <a:gd name="connsiteX40417" fmla="*/ 5165066 w 8079933"/>
              <a:gd name="connsiteY40417" fmla="*/ 2751047 h 4687251"/>
              <a:gd name="connsiteX40418" fmla="*/ 5167887 w 8079933"/>
              <a:gd name="connsiteY40418" fmla="*/ 2750831 h 4687251"/>
              <a:gd name="connsiteX40419" fmla="*/ 5168972 w 8079933"/>
              <a:gd name="connsiteY40419" fmla="*/ 2751480 h 4687251"/>
              <a:gd name="connsiteX40420" fmla="*/ 5166477 w 8079933"/>
              <a:gd name="connsiteY40420" fmla="*/ 2755161 h 4687251"/>
              <a:gd name="connsiteX40421" fmla="*/ 5164957 w 8079933"/>
              <a:gd name="connsiteY40421" fmla="*/ 2758951 h 4687251"/>
              <a:gd name="connsiteX40422" fmla="*/ 5164632 w 8079933"/>
              <a:gd name="connsiteY40422" fmla="*/ 2762849 h 4687251"/>
              <a:gd name="connsiteX40423" fmla="*/ 5163221 w 8079933"/>
              <a:gd name="connsiteY40423" fmla="*/ 2765230 h 4687251"/>
              <a:gd name="connsiteX40424" fmla="*/ 5164415 w 8079933"/>
              <a:gd name="connsiteY40424" fmla="*/ 2767288 h 4687251"/>
              <a:gd name="connsiteX40425" fmla="*/ 5167562 w 8079933"/>
              <a:gd name="connsiteY40425" fmla="*/ 2767396 h 4687251"/>
              <a:gd name="connsiteX40426" fmla="*/ 5167779 w 8079933"/>
              <a:gd name="connsiteY40426" fmla="*/ 2768804 h 4687251"/>
              <a:gd name="connsiteX40427" fmla="*/ 5165282 w 8079933"/>
              <a:gd name="connsiteY40427" fmla="*/ 2770969 h 4687251"/>
              <a:gd name="connsiteX40428" fmla="*/ 5163113 w 8079933"/>
              <a:gd name="connsiteY40428" fmla="*/ 2775949 h 4687251"/>
              <a:gd name="connsiteX40429" fmla="*/ 5165282 w 8079933"/>
              <a:gd name="connsiteY40429" fmla="*/ 2778873 h 4687251"/>
              <a:gd name="connsiteX40430" fmla="*/ 5166042 w 8079933"/>
              <a:gd name="connsiteY40430" fmla="*/ 2782770 h 4687251"/>
              <a:gd name="connsiteX40431" fmla="*/ 5164306 w 8079933"/>
              <a:gd name="connsiteY40431" fmla="*/ 2786559 h 4687251"/>
              <a:gd name="connsiteX40432" fmla="*/ 5167454 w 8079933"/>
              <a:gd name="connsiteY40432" fmla="*/ 2786126 h 4687251"/>
              <a:gd name="connsiteX40433" fmla="*/ 5167127 w 8079933"/>
              <a:gd name="connsiteY40433" fmla="*/ 2785044 h 4687251"/>
              <a:gd name="connsiteX40434" fmla="*/ 5168647 w 8079933"/>
              <a:gd name="connsiteY40434" fmla="*/ 2785369 h 4687251"/>
              <a:gd name="connsiteX40435" fmla="*/ 5170057 w 8079933"/>
              <a:gd name="connsiteY40435" fmla="*/ 2788184 h 4687251"/>
              <a:gd name="connsiteX40436" fmla="*/ 5168430 w 8079933"/>
              <a:gd name="connsiteY40436" fmla="*/ 2789050 h 4687251"/>
              <a:gd name="connsiteX40437" fmla="*/ 5167995 w 8079933"/>
              <a:gd name="connsiteY40437" fmla="*/ 2788075 h 4687251"/>
              <a:gd name="connsiteX40438" fmla="*/ 5164957 w 8079933"/>
              <a:gd name="connsiteY40438" fmla="*/ 2788184 h 4687251"/>
              <a:gd name="connsiteX40439" fmla="*/ 5162787 w 8079933"/>
              <a:gd name="connsiteY40439" fmla="*/ 2788725 h 4687251"/>
              <a:gd name="connsiteX40440" fmla="*/ 5159314 w 8079933"/>
              <a:gd name="connsiteY40440" fmla="*/ 2794680 h 4687251"/>
              <a:gd name="connsiteX40441" fmla="*/ 5161268 w 8079933"/>
              <a:gd name="connsiteY40441" fmla="*/ 2797820 h 4687251"/>
              <a:gd name="connsiteX40442" fmla="*/ 5160291 w 8079933"/>
              <a:gd name="connsiteY40442" fmla="*/ 2803450 h 4687251"/>
              <a:gd name="connsiteX40443" fmla="*/ 5158772 w 8079933"/>
              <a:gd name="connsiteY40443" fmla="*/ 2806048 h 4687251"/>
              <a:gd name="connsiteX40444" fmla="*/ 5159206 w 8079933"/>
              <a:gd name="connsiteY40444" fmla="*/ 2812220 h 4687251"/>
              <a:gd name="connsiteX40445" fmla="*/ 5150959 w 8079933"/>
              <a:gd name="connsiteY40445" fmla="*/ 2823696 h 4687251"/>
              <a:gd name="connsiteX40446" fmla="*/ 5145207 w 8079933"/>
              <a:gd name="connsiteY40446" fmla="*/ 2835606 h 4687251"/>
              <a:gd name="connsiteX40447" fmla="*/ 5141843 w 8079933"/>
              <a:gd name="connsiteY40447" fmla="*/ 2839829 h 4687251"/>
              <a:gd name="connsiteX40448" fmla="*/ 5139890 w 8079933"/>
              <a:gd name="connsiteY40448" fmla="*/ 2839504 h 4687251"/>
              <a:gd name="connsiteX40449" fmla="*/ 5134682 w 8079933"/>
              <a:gd name="connsiteY40449" fmla="*/ 2845242 h 4687251"/>
              <a:gd name="connsiteX40450" fmla="*/ 5134247 w 8079933"/>
              <a:gd name="connsiteY40450" fmla="*/ 2847840 h 4687251"/>
              <a:gd name="connsiteX40451" fmla="*/ 5136635 w 8079933"/>
              <a:gd name="connsiteY40451" fmla="*/ 2851305 h 4687251"/>
              <a:gd name="connsiteX40452" fmla="*/ 5133596 w 8079933"/>
              <a:gd name="connsiteY40452" fmla="*/ 2854012 h 4687251"/>
              <a:gd name="connsiteX40453" fmla="*/ 5120031 w 8079933"/>
              <a:gd name="connsiteY40453" fmla="*/ 2879780 h 4687251"/>
              <a:gd name="connsiteX40454" fmla="*/ 5119489 w 8079933"/>
              <a:gd name="connsiteY40454" fmla="*/ 2887360 h 4687251"/>
              <a:gd name="connsiteX40455" fmla="*/ 5110699 w 8079933"/>
              <a:gd name="connsiteY40455" fmla="*/ 2899486 h 4687251"/>
              <a:gd name="connsiteX40456" fmla="*/ 5110373 w 8079933"/>
              <a:gd name="connsiteY40456" fmla="*/ 2903492 h 4687251"/>
              <a:gd name="connsiteX40457" fmla="*/ 5094096 w 8079933"/>
              <a:gd name="connsiteY40457" fmla="*/ 2925471 h 4687251"/>
              <a:gd name="connsiteX40458" fmla="*/ 5092468 w 8079933"/>
              <a:gd name="connsiteY40458" fmla="*/ 2930559 h 4687251"/>
              <a:gd name="connsiteX40459" fmla="*/ 5085306 w 8079933"/>
              <a:gd name="connsiteY40459" fmla="*/ 2937922 h 4687251"/>
              <a:gd name="connsiteX40460" fmla="*/ 5072610 w 8079933"/>
              <a:gd name="connsiteY40460" fmla="*/ 2953296 h 4687251"/>
              <a:gd name="connsiteX40461" fmla="*/ 5046023 w 8079933"/>
              <a:gd name="connsiteY40461" fmla="*/ 2976683 h 4687251"/>
              <a:gd name="connsiteX40462" fmla="*/ 5034629 w 8079933"/>
              <a:gd name="connsiteY40462" fmla="*/ 2986426 h 4687251"/>
              <a:gd name="connsiteX40463" fmla="*/ 5026707 w 8079933"/>
              <a:gd name="connsiteY40463" fmla="*/ 2987942 h 4687251"/>
              <a:gd name="connsiteX40464" fmla="*/ 5019980 w 8079933"/>
              <a:gd name="connsiteY40464" fmla="*/ 2992599 h 4687251"/>
              <a:gd name="connsiteX40465" fmla="*/ 5011515 w 8079933"/>
              <a:gd name="connsiteY40465" fmla="*/ 2999095 h 4687251"/>
              <a:gd name="connsiteX40466" fmla="*/ 4995238 w 8079933"/>
              <a:gd name="connsiteY40466" fmla="*/ 3016201 h 4687251"/>
              <a:gd name="connsiteX40467" fmla="*/ 4991548 w 8079933"/>
              <a:gd name="connsiteY40467" fmla="*/ 3017284 h 4687251"/>
              <a:gd name="connsiteX40468" fmla="*/ 4978200 w 8079933"/>
              <a:gd name="connsiteY40468" fmla="*/ 3032117 h 4687251"/>
              <a:gd name="connsiteX40469" fmla="*/ 4975813 w 8079933"/>
              <a:gd name="connsiteY40469" fmla="*/ 3032984 h 4687251"/>
              <a:gd name="connsiteX40470" fmla="*/ 4973860 w 8079933"/>
              <a:gd name="connsiteY40470" fmla="*/ 3036664 h 4687251"/>
              <a:gd name="connsiteX40471" fmla="*/ 4968977 w 8079933"/>
              <a:gd name="connsiteY40471" fmla="*/ 3038072 h 4687251"/>
              <a:gd name="connsiteX40472" fmla="*/ 4963876 w 8079933"/>
              <a:gd name="connsiteY40472" fmla="*/ 3042944 h 4687251"/>
              <a:gd name="connsiteX40473" fmla="*/ 4961706 w 8079933"/>
              <a:gd name="connsiteY40473" fmla="*/ 3048033 h 4687251"/>
              <a:gd name="connsiteX40474" fmla="*/ 4941956 w 8079933"/>
              <a:gd name="connsiteY40474" fmla="*/ 3069795 h 4687251"/>
              <a:gd name="connsiteX40475" fmla="*/ 4941739 w 8079933"/>
              <a:gd name="connsiteY40475" fmla="*/ 3070877 h 4687251"/>
              <a:gd name="connsiteX40476" fmla="*/ 4941739 w 8079933"/>
              <a:gd name="connsiteY40476" fmla="*/ 3070878 h 4687251"/>
              <a:gd name="connsiteX40477" fmla="*/ 4941413 w 8079933"/>
              <a:gd name="connsiteY40477" fmla="*/ 3072394 h 4687251"/>
              <a:gd name="connsiteX40478" fmla="*/ 4933491 w 8079933"/>
              <a:gd name="connsiteY40478" fmla="*/ 3081921 h 4687251"/>
              <a:gd name="connsiteX40479" fmla="*/ 4931647 w 8079933"/>
              <a:gd name="connsiteY40479" fmla="*/ 3082571 h 4687251"/>
              <a:gd name="connsiteX40480" fmla="*/ 4928825 w 8079933"/>
              <a:gd name="connsiteY40480" fmla="*/ 3085602 h 4687251"/>
              <a:gd name="connsiteX40481" fmla="*/ 4930236 w 8079933"/>
              <a:gd name="connsiteY40481" fmla="*/ 3087984 h 4687251"/>
              <a:gd name="connsiteX40482" fmla="*/ 4922097 w 8079933"/>
              <a:gd name="connsiteY40482" fmla="*/ 3090800 h 4687251"/>
              <a:gd name="connsiteX40483" fmla="*/ 4917757 w 8079933"/>
              <a:gd name="connsiteY40483" fmla="*/ 3096863 h 4687251"/>
              <a:gd name="connsiteX40484" fmla="*/ 4910703 w 8079933"/>
              <a:gd name="connsiteY40484" fmla="*/ 3096863 h 4687251"/>
              <a:gd name="connsiteX40485" fmla="*/ 4907773 w 8079933"/>
              <a:gd name="connsiteY40485" fmla="*/ 3097837 h 4687251"/>
              <a:gd name="connsiteX40486" fmla="*/ 4907231 w 8079933"/>
              <a:gd name="connsiteY40486" fmla="*/ 3099570 h 4687251"/>
              <a:gd name="connsiteX40487" fmla="*/ 4903866 w 8079933"/>
              <a:gd name="connsiteY40487" fmla="*/ 3103467 h 4687251"/>
              <a:gd name="connsiteX40488" fmla="*/ 4903650 w 8079933"/>
              <a:gd name="connsiteY40488" fmla="*/ 3106390 h 4687251"/>
              <a:gd name="connsiteX40489" fmla="*/ 4905168 w 8079933"/>
              <a:gd name="connsiteY40489" fmla="*/ 3107582 h 4687251"/>
              <a:gd name="connsiteX40490" fmla="*/ 4901262 w 8079933"/>
              <a:gd name="connsiteY40490" fmla="*/ 3113645 h 4687251"/>
              <a:gd name="connsiteX40491" fmla="*/ 4897355 w 8079933"/>
              <a:gd name="connsiteY40491" fmla="*/ 3118408 h 4687251"/>
              <a:gd name="connsiteX40492" fmla="*/ 4897355 w 8079933"/>
              <a:gd name="connsiteY40492" fmla="*/ 3123822 h 4687251"/>
              <a:gd name="connsiteX40493" fmla="*/ 4893883 w 8079933"/>
              <a:gd name="connsiteY40493" fmla="*/ 3131401 h 4687251"/>
              <a:gd name="connsiteX40494" fmla="*/ 4885201 w 8079933"/>
              <a:gd name="connsiteY40494" fmla="*/ 3143961 h 4687251"/>
              <a:gd name="connsiteX40495" fmla="*/ 4880101 w 8079933"/>
              <a:gd name="connsiteY40495" fmla="*/ 3146018 h 4687251"/>
              <a:gd name="connsiteX40496" fmla="*/ 4878040 w 8079933"/>
              <a:gd name="connsiteY40496" fmla="*/ 3146018 h 4687251"/>
              <a:gd name="connsiteX40497" fmla="*/ 4848306 w 8079933"/>
              <a:gd name="connsiteY40497" fmla="*/ 3125122 h 4687251"/>
              <a:gd name="connsiteX40498" fmla="*/ 4848307 w 8079933"/>
              <a:gd name="connsiteY40498" fmla="*/ 3125122 h 4687251"/>
              <a:gd name="connsiteX40499" fmla="*/ 4878040 w 8079933"/>
              <a:gd name="connsiteY40499" fmla="*/ 3146018 h 4687251"/>
              <a:gd name="connsiteX40500" fmla="*/ 4877172 w 8079933"/>
              <a:gd name="connsiteY40500" fmla="*/ 3146018 h 4687251"/>
              <a:gd name="connsiteX40501" fmla="*/ 4878365 w 8079933"/>
              <a:gd name="connsiteY40501" fmla="*/ 3147318 h 4687251"/>
              <a:gd name="connsiteX40502" fmla="*/ 4878799 w 8079933"/>
              <a:gd name="connsiteY40502" fmla="*/ 3150999 h 4687251"/>
              <a:gd name="connsiteX40503" fmla="*/ 4877172 w 8079933"/>
              <a:gd name="connsiteY40503" fmla="*/ 3153381 h 4687251"/>
              <a:gd name="connsiteX40504" fmla="*/ 4872071 w 8079933"/>
              <a:gd name="connsiteY40504" fmla="*/ 3169188 h 4687251"/>
              <a:gd name="connsiteX40505" fmla="*/ 4868057 w 8079933"/>
              <a:gd name="connsiteY40505" fmla="*/ 3179149 h 4687251"/>
              <a:gd name="connsiteX40506" fmla="*/ 4868382 w 8079933"/>
              <a:gd name="connsiteY40506" fmla="*/ 3184671 h 4687251"/>
              <a:gd name="connsiteX40507" fmla="*/ 4875110 w 8079933"/>
              <a:gd name="connsiteY40507" fmla="*/ 3190518 h 4687251"/>
              <a:gd name="connsiteX40508" fmla="*/ 4880102 w 8079933"/>
              <a:gd name="connsiteY40508" fmla="*/ 3196148 h 4687251"/>
              <a:gd name="connsiteX40509" fmla="*/ 4883249 w 8079933"/>
              <a:gd name="connsiteY40509" fmla="*/ 3195715 h 4687251"/>
              <a:gd name="connsiteX40510" fmla="*/ 4886504 w 8079933"/>
              <a:gd name="connsiteY40510" fmla="*/ 3204593 h 4687251"/>
              <a:gd name="connsiteX40511" fmla="*/ 4885094 w 8079933"/>
              <a:gd name="connsiteY40511" fmla="*/ 3207300 h 4687251"/>
              <a:gd name="connsiteX40512" fmla="*/ 4883140 w 8079933"/>
              <a:gd name="connsiteY40512" fmla="*/ 3206758 h 4687251"/>
              <a:gd name="connsiteX40513" fmla="*/ 4880210 w 8079933"/>
              <a:gd name="connsiteY40513" fmla="*/ 3208599 h 4687251"/>
              <a:gd name="connsiteX40514" fmla="*/ 4878799 w 8079933"/>
              <a:gd name="connsiteY40514" fmla="*/ 3214338 h 4687251"/>
              <a:gd name="connsiteX40515" fmla="*/ 4879234 w 8079933"/>
              <a:gd name="connsiteY40515" fmla="*/ 3223215 h 4687251"/>
              <a:gd name="connsiteX40516" fmla="*/ 4882815 w 8079933"/>
              <a:gd name="connsiteY40516" fmla="*/ 3226680 h 4687251"/>
              <a:gd name="connsiteX40517" fmla="*/ 4882164 w 8079933"/>
              <a:gd name="connsiteY40517" fmla="*/ 3232311 h 4687251"/>
              <a:gd name="connsiteX40518" fmla="*/ 4879017 w 8079933"/>
              <a:gd name="connsiteY40518" fmla="*/ 3234909 h 4687251"/>
              <a:gd name="connsiteX40519" fmla="*/ 4879776 w 8079933"/>
              <a:gd name="connsiteY40519" fmla="*/ 3240214 h 4687251"/>
              <a:gd name="connsiteX40520" fmla="*/ 4882381 w 8079933"/>
              <a:gd name="connsiteY40520" fmla="*/ 3246602 h 4687251"/>
              <a:gd name="connsiteX40521" fmla="*/ 4881078 w 8079933"/>
              <a:gd name="connsiteY40521" fmla="*/ 3246927 h 4687251"/>
              <a:gd name="connsiteX40522" fmla="*/ 4882489 w 8079933"/>
              <a:gd name="connsiteY40522" fmla="*/ 3249850 h 4687251"/>
              <a:gd name="connsiteX40523" fmla="*/ 4883465 w 8079933"/>
              <a:gd name="connsiteY40523" fmla="*/ 3254505 h 4687251"/>
              <a:gd name="connsiteX40524" fmla="*/ 4886287 w 8079933"/>
              <a:gd name="connsiteY40524" fmla="*/ 3256888 h 4687251"/>
              <a:gd name="connsiteX40525" fmla="*/ 4883900 w 8079933"/>
              <a:gd name="connsiteY40525" fmla="*/ 3260786 h 4687251"/>
              <a:gd name="connsiteX40526" fmla="*/ 4886178 w 8079933"/>
              <a:gd name="connsiteY40526" fmla="*/ 3263492 h 4687251"/>
              <a:gd name="connsiteX40527" fmla="*/ 4888566 w 8079933"/>
              <a:gd name="connsiteY40527" fmla="*/ 3270638 h 4687251"/>
              <a:gd name="connsiteX40528" fmla="*/ 4887807 w 8079933"/>
              <a:gd name="connsiteY40528" fmla="*/ 3274211 h 4687251"/>
              <a:gd name="connsiteX40529" fmla="*/ 4896271 w 8079933"/>
              <a:gd name="connsiteY40529" fmla="*/ 3282439 h 4687251"/>
              <a:gd name="connsiteX40530" fmla="*/ 4902456 w 8079933"/>
              <a:gd name="connsiteY40530" fmla="*/ 3283306 h 4687251"/>
              <a:gd name="connsiteX40531" fmla="*/ 4907665 w 8079933"/>
              <a:gd name="connsiteY40531" fmla="*/ 3287637 h 4687251"/>
              <a:gd name="connsiteX40532" fmla="*/ 4907665 w 8079933"/>
              <a:gd name="connsiteY40532" fmla="*/ 3290019 h 4687251"/>
              <a:gd name="connsiteX40533" fmla="*/ 4908315 w 8079933"/>
              <a:gd name="connsiteY40533" fmla="*/ 3290343 h 4687251"/>
              <a:gd name="connsiteX40534" fmla="*/ 4908316 w 8079933"/>
              <a:gd name="connsiteY40534" fmla="*/ 3290343 h 4687251"/>
              <a:gd name="connsiteX40535" fmla="*/ 4910052 w 8079933"/>
              <a:gd name="connsiteY40535" fmla="*/ 3291426 h 4687251"/>
              <a:gd name="connsiteX40536" fmla="*/ 4909075 w 8079933"/>
              <a:gd name="connsiteY40536" fmla="*/ 3297055 h 4687251"/>
              <a:gd name="connsiteX40537" fmla="*/ 4907881 w 8079933"/>
              <a:gd name="connsiteY40537" fmla="*/ 3299871 h 4687251"/>
              <a:gd name="connsiteX40538" fmla="*/ 4909075 w 8079933"/>
              <a:gd name="connsiteY40538" fmla="*/ 3300953 h 4687251"/>
              <a:gd name="connsiteX40539" fmla="*/ 4904192 w 8079933"/>
              <a:gd name="connsiteY40539" fmla="*/ 3307991 h 4687251"/>
              <a:gd name="connsiteX40540" fmla="*/ 4903649 w 8079933"/>
              <a:gd name="connsiteY40540" fmla="*/ 3310589 h 4687251"/>
              <a:gd name="connsiteX40541" fmla="*/ 4904626 w 8079933"/>
              <a:gd name="connsiteY40541" fmla="*/ 3312322 h 4687251"/>
              <a:gd name="connsiteX40542" fmla="*/ 4904951 w 8079933"/>
              <a:gd name="connsiteY40542" fmla="*/ 3313838 h 4687251"/>
              <a:gd name="connsiteX40543" fmla="*/ 4903106 w 8079933"/>
              <a:gd name="connsiteY40543" fmla="*/ 3315570 h 4687251"/>
              <a:gd name="connsiteX40544" fmla="*/ 4904192 w 8079933"/>
              <a:gd name="connsiteY40544" fmla="*/ 3324123 h 4687251"/>
              <a:gd name="connsiteX40545" fmla="*/ 4906905 w 8079933"/>
              <a:gd name="connsiteY40545" fmla="*/ 3329104 h 4687251"/>
              <a:gd name="connsiteX40546" fmla="*/ 4905494 w 8079933"/>
              <a:gd name="connsiteY40546" fmla="*/ 3330620 h 4687251"/>
              <a:gd name="connsiteX40547" fmla="*/ 4905494 w 8079933"/>
              <a:gd name="connsiteY40547" fmla="*/ 3336683 h 4687251"/>
              <a:gd name="connsiteX40548" fmla="*/ 4906905 w 8079933"/>
              <a:gd name="connsiteY40548" fmla="*/ 3338199 h 4687251"/>
              <a:gd name="connsiteX40549" fmla="*/ 4907013 w 8079933"/>
              <a:gd name="connsiteY40549" fmla="*/ 3344153 h 4687251"/>
              <a:gd name="connsiteX40550" fmla="*/ 4904517 w 8079933"/>
              <a:gd name="connsiteY40550" fmla="*/ 3346644 h 4687251"/>
              <a:gd name="connsiteX40551" fmla="*/ 4905386 w 8079933"/>
              <a:gd name="connsiteY40551" fmla="*/ 3352923 h 4687251"/>
              <a:gd name="connsiteX40552" fmla="*/ 4903649 w 8079933"/>
              <a:gd name="connsiteY40552" fmla="*/ 3364724 h 4687251"/>
              <a:gd name="connsiteX40553" fmla="*/ 4902673 w 8079933"/>
              <a:gd name="connsiteY40553" fmla="*/ 3364724 h 4687251"/>
              <a:gd name="connsiteX40554" fmla="*/ 4904083 w 8079933"/>
              <a:gd name="connsiteY40554" fmla="*/ 3366782 h 4687251"/>
              <a:gd name="connsiteX40555" fmla="*/ 4904083 w 8079933"/>
              <a:gd name="connsiteY40555" fmla="*/ 3377501 h 4687251"/>
              <a:gd name="connsiteX40556" fmla="*/ 4900502 w 8079933"/>
              <a:gd name="connsiteY40556" fmla="*/ 3378042 h 4687251"/>
              <a:gd name="connsiteX40557" fmla="*/ 4900394 w 8079933"/>
              <a:gd name="connsiteY40557" fmla="*/ 3379341 h 4687251"/>
              <a:gd name="connsiteX40558" fmla="*/ 4901588 w 8079933"/>
              <a:gd name="connsiteY40558" fmla="*/ 3381074 h 4687251"/>
              <a:gd name="connsiteX40559" fmla="*/ 4906362 w 8079933"/>
              <a:gd name="connsiteY40559" fmla="*/ 3381290 h 4687251"/>
              <a:gd name="connsiteX40560" fmla="*/ 4907664 w 8079933"/>
              <a:gd name="connsiteY40560" fmla="*/ 3382265 h 4687251"/>
              <a:gd name="connsiteX40561" fmla="*/ 4908749 w 8079933"/>
              <a:gd name="connsiteY40561" fmla="*/ 3391468 h 4687251"/>
              <a:gd name="connsiteX40562" fmla="*/ 4906362 w 8079933"/>
              <a:gd name="connsiteY40562" fmla="*/ 3395041 h 4687251"/>
              <a:gd name="connsiteX40563" fmla="*/ 4903758 w 8079933"/>
              <a:gd name="connsiteY40563" fmla="*/ 3396231 h 4687251"/>
              <a:gd name="connsiteX40564" fmla="*/ 4905386 w 8079933"/>
              <a:gd name="connsiteY40564" fmla="*/ 3398397 h 4687251"/>
              <a:gd name="connsiteX40565" fmla="*/ 4904626 w 8079933"/>
              <a:gd name="connsiteY40565" fmla="*/ 3400779 h 4687251"/>
              <a:gd name="connsiteX40566" fmla="*/ 4901479 w 8079933"/>
              <a:gd name="connsiteY40566" fmla="*/ 3400779 h 4687251"/>
              <a:gd name="connsiteX40567" fmla="*/ 4898115 w 8079933"/>
              <a:gd name="connsiteY40567" fmla="*/ 3404243 h 4687251"/>
              <a:gd name="connsiteX40568" fmla="*/ 4898983 w 8079933"/>
              <a:gd name="connsiteY40568" fmla="*/ 3405435 h 4687251"/>
              <a:gd name="connsiteX40569" fmla="*/ 4900068 w 8079933"/>
              <a:gd name="connsiteY40569" fmla="*/ 3404568 h 4687251"/>
              <a:gd name="connsiteX40570" fmla="*/ 4903106 w 8079933"/>
              <a:gd name="connsiteY40570" fmla="*/ 3404894 h 4687251"/>
              <a:gd name="connsiteX40571" fmla="*/ 4900936 w 8079933"/>
              <a:gd name="connsiteY40571" fmla="*/ 3408033 h 4687251"/>
              <a:gd name="connsiteX40572" fmla="*/ 4900394 w 8079933"/>
              <a:gd name="connsiteY40572" fmla="*/ 3412905 h 4687251"/>
              <a:gd name="connsiteX40573" fmla="*/ 4897355 w 8079933"/>
              <a:gd name="connsiteY40573" fmla="*/ 3413446 h 4687251"/>
              <a:gd name="connsiteX40574" fmla="*/ 4892147 w 8079933"/>
              <a:gd name="connsiteY40574" fmla="*/ 3420051 h 4687251"/>
              <a:gd name="connsiteX40575" fmla="*/ 4892147 w 8079933"/>
              <a:gd name="connsiteY40575" fmla="*/ 3422974 h 4687251"/>
              <a:gd name="connsiteX40576" fmla="*/ 4887372 w 8079933"/>
              <a:gd name="connsiteY40576" fmla="*/ 3429470 h 4687251"/>
              <a:gd name="connsiteX40577" fmla="*/ 4883465 w 8079933"/>
              <a:gd name="connsiteY40577" fmla="*/ 3430012 h 4687251"/>
              <a:gd name="connsiteX40578" fmla="*/ 4883791 w 8079933"/>
              <a:gd name="connsiteY40578" fmla="*/ 3434559 h 4687251"/>
              <a:gd name="connsiteX40579" fmla="*/ 4867839 w 8079933"/>
              <a:gd name="connsiteY40579" fmla="*/ 3443221 h 4687251"/>
              <a:gd name="connsiteX40580" fmla="*/ 4865560 w 8079933"/>
              <a:gd name="connsiteY40580" fmla="*/ 3443329 h 4687251"/>
              <a:gd name="connsiteX40581" fmla="*/ 4864258 w 8079933"/>
              <a:gd name="connsiteY40581" fmla="*/ 3446794 h 4687251"/>
              <a:gd name="connsiteX40582" fmla="*/ 4849066 w 8079933"/>
              <a:gd name="connsiteY40582" fmla="*/ 3454806 h 4687251"/>
              <a:gd name="connsiteX40583" fmla="*/ 4843206 w 8079933"/>
              <a:gd name="connsiteY40583" fmla="*/ 3454157 h 4687251"/>
              <a:gd name="connsiteX40584" fmla="*/ 4842880 w 8079933"/>
              <a:gd name="connsiteY40584" fmla="*/ 3455347 h 4687251"/>
              <a:gd name="connsiteX40585" fmla="*/ 4835935 w 8079933"/>
              <a:gd name="connsiteY40585" fmla="*/ 3458595 h 4687251"/>
              <a:gd name="connsiteX40586" fmla="*/ 4826277 w 8079933"/>
              <a:gd name="connsiteY40586" fmla="*/ 3464875 h 4687251"/>
              <a:gd name="connsiteX40587" fmla="*/ 4823998 w 8079933"/>
              <a:gd name="connsiteY40587" fmla="*/ 3463359 h 4687251"/>
              <a:gd name="connsiteX40588" fmla="*/ 4823890 w 8079933"/>
              <a:gd name="connsiteY40588" fmla="*/ 3466391 h 4687251"/>
              <a:gd name="connsiteX40589" fmla="*/ 4818030 w 8079933"/>
              <a:gd name="connsiteY40589" fmla="*/ 3473428 h 4687251"/>
              <a:gd name="connsiteX40590" fmla="*/ 4815100 w 8079933"/>
              <a:gd name="connsiteY40590" fmla="*/ 3474728 h 4687251"/>
              <a:gd name="connsiteX40591" fmla="*/ 4813364 w 8079933"/>
              <a:gd name="connsiteY40591" fmla="*/ 3470938 h 4687251"/>
              <a:gd name="connsiteX40592" fmla="*/ 4812387 w 8079933"/>
              <a:gd name="connsiteY40592" fmla="*/ 3477110 h 4687251"/>
              <a:gd name="connsiteX40593" fmla="*/ 4809565 w 8079933"/>
              <a:gd name="connsiteY40593" fmla="*/ 3477867 h 4687251"/>
              <a:gd name="connsiteX40594" fmla="*/ 4808697 w 8079933"/>
              <a:gd name="connsiteY40594" fmla="*/ 3481549 h 4687251"/>
              <a:gd name="connsiteX40595" fmla="*/ 4799039 w 8079933"/>
              <a:gd name="connsiteY40595" fmla="*/ 3487179 h 4687251"/>
              <a:gd name="connsiteX40596" fmla="*/ 4798930 w 8079933"/>
              <a:gd name="connsiteY40596" fmla="*/ 3489561 h 4687251"/>
              <a:gd name="connsiteX40597" fmla="*/ 4796326 w 8079933"/>
              <a:gd name="connsiteY40597" fmla="*/ 3491726 h 4687251"/>
              <a:gd name="connsiteX40598" fmla="*/ 4794156 w 8079933"/>
              <a:gd name="connsiteY40598" fmla="*/ 3492484 h 4687251"/>
              <a:gd name="connsiteX40599" fmla="*/ 4794373 w 8079933"/>
              <a:gd name="connsiteY40599" fmla="*/ 3495732 h 4687251"/>
              <a:gd name="connsiteX40600" fmla="*/ 4788839 w 8079933"/>
              <a:gd name="connsiteY40600" fmla="*/ 3495949 h 4687251"/>
              <a:gd name="connsiteX40601" fmla="*/ 4776034 w 8079933"/>
              <a:gd name="connsiteY40601" fmla="*/ 3504502 h 4687251"/>
              <a:gd name="connsiteX40602" fmla="*/ 4776685 w 8079933"/>
              <a:gd name="connsiteY40602" fmla="*/ 3509916 h 4687251"/>
              <a:gd name="connsiteX40603" fmla="*/ 4772561 w 8079933"/>
              <a:gd name="connsiteY40603" fmla="*/ 3512947 h 4687251"/>
              <a:gd name="connsiteX40604" fmla="*/ 4766809 w 8079933"/>
              <a:gd name="connsiteY40604" fmla="*/ 3512947 h 4687251"/>
              <a:gd name="connsiteX40605" fmla="*/ 4764423 w 8079933"/>
              <a:gd name="connsiteY40605" fmla="*/ 3516087 h 4687251"/>
              <a:gd name="connsiteX40606" fmla="*/ 4759865 w 8079933"/>
              <a:gd name="connsiteY40606" fmla="*/ 3513164 h 4687251"/>
              <a:gd name="connsiteX40607" fmla="*/ 4757369 w 8079933"/>
              <a:gd name="connsiteY40607" fmla="*/ 3513489 h 4687251"/>
              <a:gd name="connsiteX40608" fmla="*/ 4757369 w 8079933"/>
              <a:gd name="connsiteY40608" fmla="*/ 3515546 h 4687251"/>
              <a:gd name="connsiteX40609" fmla="*/ 4759756 w 8079933"/>
              <a:gd name="connsiteY40609" fmla="*/ 3518252 h 4687251"/>
              <a:gd name="connsiteX40610" fmla="*/ 4759539 w 8079933"/>
              <a:gd name="connsiteY40610" fmla="*/ 3522042 h 4687251"/>
              <a:gd name="connsiteX40611" fmla="*/ 4757803 w 8079933"/>
              <a:gd name="connsiteY40611" fmla="*/ 3524424 h 4687251"/>
              <a:gd name="connsiteX40612" fmla="*/ 4758454 w 8079933"/>
              <a:gd name="connsiteY40612" fmla="*/ 3527997 h 4687251"/>
              <a:gd name="connsiteX40613" fmla="*/ 4755958 w 8079933"/>
              <a:gd name="connsiteY40613" fmla="*/ 3531786 h 4687251"/>
              <a:gd name="connsiteX40614" fmla="*/ 4762795 w 8079933"/>
              <a:gd name="connsiteY40614" fmla="*/ 3540989 h 4687251"/>
              <a:gd name="connsiteX40615" fmla="*/ 4763012 w 8079933"/>
              <a:gd name="connsiteY40615" fmla="*/ 3544237 h 4687251"/>
              <a:gd name="connsiteX40616" fmla="*/ 4759865 w 8079933"/>
              <a:gd name="connsiteY40616" fmla="*/ 3546728 h 4687251"/>
              <a:gd name="connsiteX40617" fmla="*/ 4762252 w 8079933"/>
              <a:gd name="connsiteY40617" fmla="*/ 3547811 h 4687251"/>
              <a:gd name="connsiteX40618" fmla="*/ 4764748 w 8079933"/>
              <a:gd name="connsiteY40618" fmla="*/ 3552033 h 4687251"/>
              <a:gd name="connsiteX40619" fmla="*/ 4764965 w 8079933"/>
              <a:gd name="connsiteY40619" fmla="*/ 3557554 h 4687251"/>
              <a:gd name="connsiteX40620" fmla="*/ 4767786 w 8079933"/>
              <a:gd name="connsiteY40620" fmla="*/ 3562860 h 4687251"/>
              <a:gd name="connsiteX40621" fmla="*/ 4766593 w 8079933"/>
              <a:gd name="connsiteY40621" fmla="*/ 3577693 h 4687251"/>
              <a:gd name="connsiteX40622" fmla="*/ 4768003 w 8079933"/>
              <a:gd name="connsiteY40622" fmla="*/ 3582998 h 4687251"/>
              <a:gd name="connsiteX40623" fmla="*/ 4769740 w 8079933"/>
              <a:gd name="connsiteY40623" fmla="*/ 3582674 h 4687251"/>
              <a:gd name="connsiteX40624" fmla="*/ 4769740 w 8079933"/>
              <a:gd name="connsiteY40624" fmla="*/ 3578559 h 4687251"/>
              <a:gd name="connsiteX40625" fmla="*/ 4772453 w 8079933"/>
              <a:gd name="connsiteY40625" fmla="*/ 3572821 h 4687251"/>
              <a:gd name="connsiteX40626" fmla="*/ 4772778 w 8079933"/>
              <a:gd name="connsiteY40626" fmla="*/ 3577802 h 4687251"/>
              <a:gd name="connsiteX40627" fmla="*/ 4773972 w 8079933"/>
              <a:gd name="connsiteY40627" fmla="*/ 3577693 h 4687251"/>
              <a:gd name="connsiteX40628" fmla="*/ 4773646 w 8079933"/>
              <a:gd name="connsiteY40628" fmla="*/ 3584190 h 4687251"/>
              <a:gd name="connsiteX40629" fmla="*/ 4771693 w 8079933"/>
              <a:gd name="connsiteY40629" fmla="*/ 3586680 h 4687251"/>
              <a:gd name="connsiteX40630" fmla="*/ 4771259 w 8079933"/>
              <a:gd name="connsiteY40630" fmla="*/ 3593176 h 4687251"/>
              <a:gd name="connsiteX40631" fmla="*/ 4772344 w 8079933"/>
              <a:gd name="connsiteY40631" fmla="*/ 3594042 h 4687251"/>
              <a:gd name="connsiteX40632" fmla="*/ 4769522 w 8079933"/>
              <a:gd name="connsiteY40632" fmla="*/ 3601621 h 4687251"/>
              <a:gd name="connsiteX40633" fmla="*/ 4769522 w 8079933"/>
              <a:gd name="connsiteY40633" fmla="*/ 3605519 h 4687251"/>
              <a:gd name="connsiteX40634" fmla="*/ 4767353 w 8079933"/>
              <a:gd name="connsiteY40634" fmla="*/ 3608333 h 4687251"/>
              <a:gd name="connsiteX40635" fmla="*/ 4767027 w 8079933"/>
              <a:gd name="connsiteY40635" fmla="*/ 3613206 h 4687251"/>
              <a:gd name="connsiteX40636" fmla="*/ 4765725 w 8079933"/>
              <a:gd name="connsiteY40636" fmla="*/ 3613206 h 4687251"/>
              <a:gd name="connsiteX40637" fmla="*/ 4766593 w 8079933"/>
              <a:gd name="connsiteY40637" fmla="*/ 3617320 h 4687251"/>
              <a:gd name="connsiteX40638" fmla="*/ 4770174 w 8079933"/>
              <a:gd name="connsiteY40638" fmla="*/ 3615155 h 4687251"/>
              <a:gd name="connsiteX40639" fmla="*/ 4771042 w 8079933"/>
              <a:gd name="connsiteY40639" fmla="*/ 3617861 h 4687251"/>
              <a:gd name="connsiteX40640" fmla="*/ 4768003 w 8079933"/>
              <a:gd name="connsiteY40640" fmla="*/ 3622409 h 4687251"/>
              <a:gd name="connsiteX40641" fmla="*/ 4766593 w 8079933"/>
              <a:gd name="connsiteY40641" fmla="*/ 3628472 h 4687251"/>
              <a:gd name="connsiteX40642" fmla="*/ 4757912 w 8079933"/>
              <a:gd name="connsiteY40642" fmla="*/ 3637783 h 4687251"/>
              <a:gd name="connsiteX40643" fmla="*/ 4742393 w 8079933"/>
              <a:gd name="connsiteY40643" fmla="*/ 3644821 h 4687251"/>
              <a:gd name="connsiteX40644" fmla="*/ 4721341 w 8079933"/>
              <a:gd name="connsiteY40644" fmla="*/ 3648935 h 4687251"/>
              <a:gd name="connsiteX40645" fmla="*/ 4713311 w 8079933"/>
              <a:gd name="connsiteY40645" fmla="*/ 3656514 h 4687251"/>
              <a:gd name="connsiteX40646" fmla="*/ 4707234 w 8079933"/>
              <a:gd name="connsiteY40646" fmla="*/ 3658138 h 4687251"/>
              <a:gd name="connsiteX40647" fmla="*/ 4705389 w 8079933"/>
              <a:gd name="connsiteY40647" fmla="*/ 3660953 h 4687251"/>
              <a:gd name="connsiteX40648" fmla="*/ 4702351 w 8079933"/>
              <a:gd name="connsiteY40648" fmla="*/ 3663443 h 4687251"/>
              <a:gd name="connsiteX40649" fmla="*/ 4700615 w 8079933"/>
              <a:gd name="connsiteY40649" fmla="*/ 3669182 h 4687251"/>
              <a:gd name="connsiteX40650" fmla="*/ 4698119 w 8079933"/>
              <a:gd name="connsiteY40650" fmla="*/ 3669182 h 4687251"/>
              <a:gd name="connsiteX40651" fmla="*/ 4695949 w 8079933"/>
              <a:gd name="connsiteY40651" fmla="*/ 3670697 h 4687251"/>
              <a:gd name="connsiteX40652" fmla="*/ 4696925 w 8079933"/>
              <a:gd name="connsiteY40652" fmla="*/ 3671997 h 4687251"/>
              <a:gd name="connsiteX40653" fmla="*/ 4699204 w 8079933"/>
              <a:gd name="connsiteY40653" fmla="*/ 3676328 h 4687251"/>
              <a:gd name="connsiteX40654" fmla="*/ 4698987 w 8079933"/>
              <a:gd name="connsiteY40654" fmla="*/ 3680550 h 4687251"/>
              <a:gd name="connsiteX40655" fmla="*/ 4701157 w 8079933"/>
              <a:gd name="connsiteY40655" fmla="*/ 3677844 h 4687251"/>
              <a:gd name="connsiteX40656" fmla="*/ 4704630 w 8079933"/>
              <a:gd name="connsiteY40656" fmla="*/ 3678818 h 4687251"/>
              <a:gd name="connsiteX40657" fmla="*/ 4705606 w 8079933"/>
              <a:gd name="connsiteY40657" fmla="*/ 3674812 h 4687251"/>
              <a:gd name="connsiteX40658" fmla="*/ 4707234 w 8079933"/>
              <a:gd name="connsiteY40658" fmla="*/ 3674595 h 4687251"/>
              <a:gd name="connsiteX40659" fmla="*/ 4707343 w 8079933"/>
              <a:gd name="connsiteY40659" fmla="*/ 3676869 h 4687251"/>
              <a:gd name="connsiteX40660" fmla="*/ 4706366 w 8079933"/>
              <a:gd name="connsiteY40660" fmla="*/ 3683473 h 4687251"/>
              <a:gd name="connsiteX40661" fmla="*/ 4703979 w 8079933"/>
              <a:gd name="connsiteY40661" fmla="*/ 3687479 h 4687251"/>
              <a:gd name="connsiteX40662" fmla="*/ 4703870 w 8079933"/>
              <a:gd name="connsiteY40662" fmla="*/ 3691161 h 4687251"/>
              <a:gd name="connsiteX40663" fmla="*/ 4699095 w 8079933"/>
              <a:gd name="connsiteY40663" fmla="*/ 3691269 h 4687251"/>
              <a:gd name="connsiteX40664" fmla="*/ 4690851 w 8079933"/>
              <a:gd name="connsiteY40664" fmla="*/ 3689320 h 4687251"/>
              <a:gd name="connsiteX40665" fmla="*/ 4696491 w 8079933"/>
              <a:gd name="connsiteY40665" fmla="*/ 3692568 h 4687251"/>
              <a:gd name="connsiteX40666" fmla="*/ 4701266 w 8079933"/>
              <a:gd name="connsiteY40666" fmla="*/ 3692568 h 4687251"/>
              <a:gd name="connsiteX40667" fmla="*/ 4701266 w 8079933"/>
              <a:gd name="connsiteY40667" fmla="*/ 3693758 h 4687251"/>
              <a:gd name="connsiteX40668" fmla="*/ 4698336 w 8079933"/>
              <a:gd name="connsiteY40668" fmla="*/ 3697549 h 4687251"/>
              <a:gd name="connsiteX40669" fmla="*/ 4699747 w 8079933"/>
              <a:gd name="connsiteY40669" fmla="*/ 3697549 h 4687251"/>
              <a:gd name="connsiteX40670" fmla="*/ 4696818 w 8079933"/>
              <a:gd name="connsiteY40670" fmla="*/ 3706210 h 4687251"/>
              <a:gd name="connsiteX40671" fmla="*/ 4696058 w 8079933"/>
              <a:gd name="connsiteY40671" fmla="*/ 3713680 h 4687251"/>
              <a:gd name="connsiteX40672" fmla="*/ 4692476 w 8079933"/>
              <a:gd name="connsiteY40672" fmla="*/ 3720826 h 4687251"/>
              <a:gd name="connsiteX40673" fmla="*/ 4690089 w 8079933"/>
              <a:gd name="connsiteY40673" fmla="*/ 3730030 h 4687251"/>
              <a:gd name="connsiteX40674" fmla="*/ 4686617 w 8079933"/>
              <a:gd name="connsiteY40674" fmla="*/ 3734143 h 4687251"/>
              <a:gd name="connsiteX40675" fmla="*/ 4685532 w 8079933"/>
              <a:gd name="connsiteY40675" fmla="*/ 3738366 h 4687251"/>
              <a:gd name="connsiteX40676" fmla="*/ 4678912 w 8079933"/>
              <a:gd name="connsiteY40676" fmla="*/ 3746053 h 4687251"/>
              <a:gd name="connsiteX40677" fmla="*/ 4676850 w 8079933"/>
              <a:gd name="connsiteY40677" fmla="*/ 3746053 h 4687251"/>
              <a:gd name="connsiteX40678" fmla="*/ 4675440 w 8079933"/>
              <a:gd name="connsiteY40678" fmla="*/ 3748110 h 4687251"/>
              <a:gd name="connsiteX40679" fmla="*/ 4670556 w 8079933"/>
              <a:gd name="connsiteY40679" fmla="*/ 3750384 h 4687251"/>
              <a:gd name="connsiteX40680" fmla="*/ 4668277 w 8079933"/>
              <a:gd name="connsiteY40680" fmla="*/ 3753199 h 4687251"/>
              <a:gd name="connsiteX40681" fmla="*/ 4662526 w 8079933"/>
              <a:gd name="connsiteY40681" fmla="*/ 3756880 h 4687251"/>
              <a:gd name="connsiteX40682" fmla="*/ 4659596 w 8079933"/>
              <a:gd name="connsiteY40682" fmla="*/ 3762510 h 4687251"/>
              <a:gd name="connsiteX40683" fmla="*/ 4654930 w 8079933"/>
              <a:gd name="connsiteY40683" fmla="*/ 3767924 h 4687251"/>
              <a:gd name="connsiteX40684" fmla="*/ 4654930 w 8079933"/>
              <a:gd name="connsiteY40684" fmla="*/ 3770306 h 4687251"/>
              <a:gd name="connsiteX40685" fmla="*/ 4652217 w 8079933"/>
              <a:gd name="connsiteY40685" fmla="*/ 3775395 h 4687251"/>
              <a:gd name="connsiteX40686" fmla="*/ 4647659 w 8079933"/>
              <a:gd name="connsiteY40686" fmla="*/ 3775395 h 4687251"/>
              <a:gd name="connsiteX40687" fmla="*/ 4644078 w 8079933"/>
              <a:gd name="connsiteY40687" fmla="*/ 3782432 h 4687251"/>
              <a:gd name="connsiteX40688" fmla="*/ 4634094 w 8079933"/>
              <a:gd name="connsiteY40688" fmla="*/ 3798997 h 4687251"/>
              <a:gd name="connsiteX40689" fmla="*/ 4626499 w 8079933"/>
              <a:gd name="connsiteY40689" fmla="*/ 3806252 h 4687251"/>
              <a:gd name="connsiteX40690" fmla="*/ 4625196 w 8079933"/>
              <a:gd name="connsiteY40690" fmla="*/ 3812856 h 4687251"/>
              <a:gd name="connsiteX40691" fmla="*/ 4620747 w 8079933"/>
              <a:gd name="connsiteY40691" fmla="*/ 3814805 h 4687251"/>
              <a:gd name="connsiteX40692" fmla="*/ 4616514 w 8079933"/>
              <a:gd name="connsiteY40692" fmla="*/ 3819785 h 4687251"/>
              <a:gd name="connsiteX40693" fmla="*/ 4614128 w 8079933"/>
              <a:gd name="connsiteY40693" fmla="*/ 3819785 h 4687251"/>
              <a:gd name="connsiteX40694" fmla="*/ 4613042 w 8079933"/>
              <a:gd name="connsiteY40694" fmla="*/ 3821734 h 4687251"/>
              <a:gd name="connsiteX40695" fmla="*/ 4588083 w 8079933"/>
              <a:gd name="connsiteY40695" fmla="*/ 3846312 h 4687251"/>
              <a:gd name="connsiteX40696" fmla="*/ 4585045 w 8079933"/>
              <a:gd name="connsiteY40696" fmla="*/ 3846312 h 4687251"/>
              <a:gd name="connsiteX40697" fmla="*/ 4585045 w 8079933"/>
              <a:gd name="connsiteY40697" fmla="*/ 3847611 h 4687251"/>
              <a:gd name="connsiteX40698" fmla="*/ 4581030 w 8079933"/>
              <a:gd name="connsiteY40698" fmla="*/ 3852158 h 4687251"/>
              <a:gd name="connsiteX40699" fmla="*/ 4564644 w 8079933"/>
              <a:gd name="connsiteY40699" fmla="*/ 3862985 h 4687251"/>
              <a:gd name="connsiteX40700" fmla="*/ 4561171 w 8079933"/>
              <a:gd name="connsiteY40700" fmla="*/ 3866883 h 4687251"/>
              <a:gd name="connsiteX40701" fmla="*/ 4555420 w 8079933"/>
              <a:gd name="connsiteY40701" fmla="*/ 3868615 h 4687251"/>
              <a:gd name="connsiteX40702" fmla="*/ 4555420 w 8079933"/>
              <a:gd name="connsiteY40702" fmla="*/ 3870131 h 4687251"/>
              <a:gd name="connsiteX40703" fmla="*/ 4546305 w 8079933"/>
              <a:gd name="connsiteY40703" fmla="*/ 3872513 h 4687251"/>
              <a:gd name="connsiteX40704" fmla="*/ 4541096 w 8079933"/>
              <a:gd name="connsiteY40704" fmla="*/ 3875761 h 4687251"/>
              <a:gd name="connsiteX40705" fmla="*/ 4535670 w 8079933"/>
              <a:gd name="connsiteY40705" fmla="*/ 3875761 h 4687251"/>
              <a:gd name="connsiteX40706" fmla="*/ 4533065 w 8079933"/>
              <a:gd name="connsiteY40706" fmla="*/ 3873812 h 4687251"/>
              <a:gd name="connsiteX40707" fmla="*/ 4525795 w 8079933"/>
              <a:gd name="connsiteY40707" fmla="*/ 3873812 h 4687251"/>
              <a:gd name="connsiteX40708" fmla="*/ 4519718 w 8079933"/>
              <a:gd name="connsiteY40708" fmla="*/ 3875652 h 4687251"/>
              <a:gd name="connsiteX40709" fmla="*/ 4517222 w 8079933"/>
              <a:gd name="connsiteY40709" fmla="*/ 3879984 h 4687251"/>
              <a:gd name="connsiteX40710" fmla="*/ 4520803 w 8079933"/>
              <a:gd name="connsiteY40710" fmla="*/ 3883015 h 4687251"/>
              <a:gd name="connsiteX40711" fmla="*/ 4520803 w 8079933"/>
              <a:gd name="connsiteY40711" fmla="*/ 3884314 h 4687251"/>
              <a:gd name="connsiteX40712" fmla="*/ 4512447 w 8079933"/>
              <a:gd name="connsiteY40712" fmla="*/ 3884314 h 4687251"/>
              <a:gd name="connsiteX40713" fmla="*/ 4507564 w 8079933"/>
              <a:gd name="connsiteY40713" fmla="*/ 3881824 h 4687251"/>
              <a:gd name="connsiteX40714" fmla="*/ 4503657 w 8079933"/>
              <a:gd name="connsiteY40714" fmla="*/ 3881824 h 4687251"/>
              <a:gd name="connsiteX40715" fmla="*/ 4500293 w 8079933"/>
              <a:gd name="connsiteY40715" fmla="*/ 3885180 h 4687251"/>
              <a:gd name="connsiteX40716" fmla="*/ 4501704 w 8079933"/>
              <a:gd name="connsiteY40716" fmla="*/ 3888212 h 4687251"/>
              <a:gd name="connsiteX40717" fmla="*/ 4500185 w 8079933"/>
              <a:gd name="connsiteY40717" fmla="*/ 3889728 h 4687251"/>
              <a:gd name="connsiteX40718" fmla="*/ 4488682 w 8079933"/>
              <a:gd name="connsiteY40718" fmla="*/ 3887237 h 4687251"/>
              <a:gd name="connsiteX40719" fmla="*/ 4485427 w 8079933"/>
              <a:gd name="connsiteY40719" fmla="*/ 3884747 h 4687251"/>
              <a:gd name="connsiteX40720" fmla="*/ 4474575 w 8079933"/>
              <a:gd name="connsiteY40720" fmla="*/ 3881933 h 4687251"/>
              <a:gd name="connsiteX40721" fmla="*/ 4467304 w 8079933"/>
              <a:gd name="connsiteY40721" fmla="*/ 3883340 h 4687251"/>
              <a:gd name="connsiteX40722" fmla="*/ 4467304 w 8079933"/>
              <a:gd name="connsiteY40722" fmla="*/ 3883123 h 4687251"/>
              <a:gd name="connsiteX40723" fmla="*/ 4463506 w 8079933"/>
              <a:gd name="connsiteY40723" fmla="*/ 3884531 h 4687251"/>
              <a:gd name="connsiteX40724" fmla="*/ 4457863 w 8079933"/>
              <a:gd name="connsiteY40724" fmla="*/ 3881500 h 4687251"/>
              <a:gd name="connsiteX40725" fmla="*/ 4445059 w 8079933"/>
              <a:gd name="connsiteY40725" fmla="*/ 3881500 h 4687251"/>
              <a:gd name="connsiteX40726" fmla="*/ 4441261 w 8079933"/>
              <a:gd name="connsiteY40726" fmla="*/ 3883231 h 4687251"/>
              <a:gd name="connsiteX40727" fmla="*/ 4440067 w 8079933"/>
              <a:gd name="connsiteY40727" fmla="*/ 3887129 h 4687251"/>
              <a:gd name="connsiteX40728" fmla="*/ 4437571 w 8079933"/>
              <a:gd name="connsiteY40728" fmla="*/ 3885939 h 4687251"/>
              <a:gd name="connsiteX40729" fmla="*/ 4434641 w 8079933"/>
              <a:gd name="connsiteY40729" fmla="*/ 3886804 h 4687251"/>
              <a:gd name="connsiteX40730" fmla="*/ 4432037 w 8079933"/>
              <a:gd name="connsiteY40730" fmla="*/ 3888971 h 4687251"/>
              <a:gd name="connsiteX40731" fmla="*/ 4430625 w 8079933"/>
              <a:gd name="connsiteY40731" fmla="*/ 3890919 h 4687251"/>
              <a:gd name="connsiteX40732" fmla="*/ 4424983 w 8079933"/>
              <a:gd name="connsiteY40732" fmla="*/ 3890919 h 4687251"/>
              <a:gd name="connsiteX40733" fmla="*/ 4421293 w 8079933"/>
              <a:gd name="connsiteY40733" fmla="*/ 3892543 h 4687251"/>
              <a:gd name="connsiteX40734" fmla="*/ 4414240 w 8079933"/>
              <a:gd name="connsiteY40734" fmla="*/ 3890053 h 4687251"/>
              <a:gd name="connsiteX40735" fmla="*/ 4408271 w 8079933"/>
              <a:gd name="connsiteY40735" fmla="*/ 3890053 h 4687251"/>
              <a:gd name="connsiteX40736" fmla="*/ 4407078 w 8079933"/>
              <a:gd name="connsiteY40736" fmla="*/ 3891785 h 4687251"/>
              <a:gd name="connsiteX40737" fmla="*/ 4401326 w 8079933"/>
              <a:gd name="connsiteY40737" fmla="*/ 3890486 h 4687251"/>
              <a:gd name="connsiteX40738" fmla="*/ 4396226 w 8079933"/>
              <a:gd name="connsiteY40738" fmla="*/ 3896333 h 4687251"/>
              <a:gd name="connsiteX40739" fmla="*/ 4391886 w 8079933"/>
              <a:gd name="connsiteY40739" fmla="*/ 3897091 h 4687251"/>
              <a:gd name="connsiteX40740" fmla="*/ 4390366 w 8079933"/>
              <a:gd name="connsiteY40740" fmla="*/ 3900555 h 4687251"/>
              <a:gd name="connsiteX40741" fmla="*/ 4387871 w 8079933"/>
              <a:gd name="connsiteY40741" fmla="*/ 3899689 h 4687251"/>
              <a:gd name="connsiteX40742" fmla="*/ 4385591 w 8079933"/>
              <a:gd name="connsiteY40742" fmla="*/ 3900771 h 4687251"/>
              <a:gd name="connsiteX40743" fmla="*/ 4373655 w 8079933"/>
              <a:gd name="connsiteY40743" fmla="*/ 3895142 h 4687251"/>
              <a:gd name="connsiteX40744" fmla="*/ 4371267 w 8079933"/>
              <a:gd name="connsiteY40744" fmla="*/ 3896549 h 4687251"/>
              <a:gd name="connsiteX40745" fmla="*/ 4371267 w 8079933"/>
              <a:gd name="connsiteY40745" fmla="*/ 3890811 h 4687251"/>
              <a:gd name="connsiteX40746" fmla="*/ 4366709 w 8079933"/>
              <a:gd name="connsiteY40746" fmla="*/ 3888537 h 4687251"/>
              <a:gd name="connsiteX40747" fmla="*/ 4363237 w 8079933"/>
              <a:gd name="connsiteY40747" fmla="*/ 3890269 h 4687251"/>
              <a:gd name="connsiteX40748" fmla="*/ 4360958 w 8079933"/>
              <a:gd name="connsiteY40748" fmla="*/ 3889295 h 4687251"/>
              <a:gd name="connsiteX40749" fmla="*/ 4362911 w 8079933"/>
              <a:gd name="connsiteY40749" fmla="*/ 3887671 h 4687251"/>
              <a:gd name="connsiteX40750" fmla="*/ 4361609 w 8079933"/>
              <a:gd name="connsiteY40750" fmla="*/ 3882690 h 4687251"/>
              <a:gd name="connsiteX40751" fmla="*/ 4356075 w 8079933"/>
              <a:gd name="connsiteY40751" fmla="*/ 3881715 h 4687251"/>
              <a:gd name="connsiteX40752" fmla="*/ 4352060 w 8079933"/>
              <a:gd name="connsiteY40752" fmla="*/ 3885289 h 4687251"/>
              <a:gd name="connsiteX40753" fmla="*/ 4352060 w 8079933"/>
              <a:gd name="connsiteY40753" fmla="*/ 3889728 h 4687251"/>
              <a:gd name="connsiteX40754" fmla="*/ 4349021 w 8079933"/>
              <a:gd name="connsiteY40754" fmla="*/ 3887455 h 4687251"/>
              <a:gd name="connsiteX40755" fmla="*/ 4349021 w 8079933"/>
              <a:gd name="connsiteY40755" fmla="*/ 3882582 h 4687251"/>
              <a:gd name="connsiteX40756" fmla="*/ 4350757 w 8079933"/>
              <a:gd name="connsiteY40756" fmla="*/ 3878468 h 4687251"/>
              <a:gd name="connsiteX40757" fmla="*/ 4349672 w 8079933"/>
              <a:gd name="connsiteY40757" fmla="*/ 3872513 h 4687251"/>
              <a:gd name="connsiteX40758" fmla="*/ 4352928 w 8079933"/>
              <a:gd name="connsiteY40758" fmla="*/ 3867208 h 4687251"/>
              <a:gd name="connsiteX40759" fmla="*/ 4348696 w 8079933"/>
              <a:gd name="connsiteY40759" fmla="*/ 3859521 h 4687251"/>
              <a:gd name="connsiteX40760" fmla="*/ 4344464 w 8079933"/>
              <a:gd name="connsiteY40760" fmla="*/ 3855731 h 4687251"/>
              <a:gd name="connsiteX40761" fmla="*/ 4340883 w 8079933"/>
              <a:gd name="connsiteY40761" fmla="*/ 3849560 h 4687251"/>
              <a:gd name="connsiteX40762" fmla="*/ 4340883 w 8079933"/>
              <a:gd name="connsiteY40762" fmla="*/ 3843388 h 4687251"/>
              <a:gd name="connsiteX40763" fmla="*/ 4343378 w 8079933"/>
              <a:gd name="connsiteY40763" fmla="*/ 3841006 h 4687251"/>
              <a:gd name="connsiteX40764" fmla="*/ 4345766 w 8079933"/>
              <a:gd name="connsiteY40764" fmla="*/ 3843388 h 4687251"/>
              <a:gd name="connsiteX40765" fmla="*/ 4347936 w 8079933"/>
              <a:gd name="connsiteY40765" fmla="*/ 3843388 h 4687251"/>
              <a:gd name="connsiteX40766" fmla="*/ 4350757 w 8079933"/>
              <a:gd name="connsiteY40766" fmla="*/ 3840357 h 4687251"/>
              <a:gd name="connsiteX40767" fmla="*/ 4352169 w 8079933"/>
              <a:gd name="connsiteY40767" fmla="*/ 3832994 h 4687251"/>
              <a:gd name="connsiteX40768" fmla="*/ 4349564 w 8079933"/>
              <a:gd name="connsiteY40768" fmla="*/ 3824982 h 4687251"/>
              <a:gd name="connsiteX40769" fmla="*/ 4349564 w 8079933"/>
              <a:gd name="connsiteY40769" fmla="*/ 3821409 h 4687251"/>
              <a:gd name="connsiteX40770" fmla="*/ 4342728 w 8079933"/>
              <a:gd name="connsiteY40770" fmla="*/ 3810582 h 4687251"/>
              <a:gd name="connsiteX40771" fmla="*/ 4342728 w 8079933"/>
              <a:gd name="connsiteY40771" fmla="*/ 3805385 h 4687251"/>
              <a:gd name="connsiteX40772" fmla="*/ 4335999 w 8079933"/>
              <a:gd name="connsiteY40772" fmla="*/ 3796724 h 4687251"/>
              <a:gd name="connsiteX40773" fmla="*/ 4332960 w 8079933"/>
              <a:gd name="connsiteY40773" fmla="*/ 3782865 h 4687251"/>
              <a:gd name="connsiteX40774" fmla="*/ 4327861 w 8079933"/>
              <a:gd name="connsiteY40774" fmla="*/ 3769656 h 4687251"/>
              <a:gd name="connsiteX40775" fmla="*/ 4327861 w 8079933"/>
              <a:gd name="connsiteY40775" fmla="*/ 3762943 h 4687251"/>
              <a:gd name="connsiteX40776" fmla="*/ 4322760 w 8079933"/>
              <a:gd name="connsiteY40776" fmla="*/ 3748327 h 4687251"/>
              <a:gd name="connsiteX40777" fmla="*/ 4314947 w 8079933"/>
              <a:gd name="connsiteY40777" fmla="*/ 3742696 h 4687251"/>
              <a:gd name="connsiteX40778" fmla="*/ 4313704 w 8079933"/>
              <a:gd name="connsiteY40778" fmla="*/ 3735256 h 4687251"/>
              <a:gd name="connsiteX40779" fmla="*/ 4307784 w 8079933"/>
              <a:gd name="connsiteY40779" fmla="*/ 3731003 h 4687251"/>
              <a:gd name="connsiteX40780" fmla="*/ 4306483 w 8079933"/>
              <a:gd name="connsiteY40780" fmla="*/ 3727755 h 4687251"/>
              <a:gd name="connsiteX40781" fmla="*/ 4300731 w 8079933"/>
              <a:gd name="connsiteY40781" fmla="*/ 3722016 h 4687251"/>
              <a:gd name="connsiteX40782" fmla="*/ 4294980 w 8079933"/>
              <a:gd name="connsiteY40782" fmla="*/ 3710648 h 4687251"/>
              <a:gd name="connsiteX40783" fmla="*/ 4290531 w 8079933"/>
              <a:gd name="connsiteY40783" fmla="*/ 3704693 h 4687251"/>
              <a:gd name="connsiteX40784" fmla="*/ 4290096 w 8079933"/>
              <a:gd name="connsiteY40784" fmla="*/ 3695382 h 4687251"/>
              <a:gd name="connsiteX40785" fmla="*/ 4286407 w 8079933"/>
              <a:gd name="connsiteY40785" fmla="*/ 3691268 h 4687251"/>
              <a:gd name="connsiteX40786" fmla="*/ 4286407 w 8079933"/>
              <a:gd name="connsiteY40786" fmla="*/ 3686396 h 4687251"/>
              <a:gd name="connsiteX40787" fmla="*/ 4288903 w 8079933"/>
              <a:gd name="connsiteY40787" fmla="*/ 3684447 h 4687251"/>
              <a:gd name="connsiteX40788" fmla="*/ 4286732 w 8079933"/>
              <a:gd name="connsiteY40788" fmla="*/ 3680224 h 4687251"/>
              <a:gd name="connsiteX40789" fmla="*/ 4283477 w 8079933"/>
              <a:gd name="connsiteY40789" fmla="*/ 3678492 h 4687251"/>
              <a:gd name="connsiteX40790" fmla="*/ 4281741 w 8079933"/>
              <a:gd name="connsiteY40790" fmla="*/ 3666041 h 4687251"/>
              <a:gd name="connsiteX40791" fmla="*/ 4278811 w 8079933"/>
              <a:gd name="connsiteY40791" fmla="*/ 3662359 h 4687251"/>
              <a:gd name="connsiteX40792" fmla="*/ 4282283 w 8079933"/>
              <a:gd name="connsiteY40792" fmla="*/ 3660194 h 4687251"/>
              <a:gd name="connsiteX40793" fmla="*/ 4280113 w 8079933"/>
              <a:gd name="connsiteY40793" fmla="*/ 3653373 h 4687251"/>
              <a:gd name="connsiteX40794" fmla="*/ 4280873 w 8079933"/>
              <a:gd name="connsiteY40794" fmla="*/ 3643304 h 4687251"/>
              <a:gd name="connsiteX40795" fmla="*/ 4273710 w 8079933"/>
              <a:gd name="connsiteY40795" fmla="*/ 3624573 h 4687251"/>
              <a:gd name="connsiteX40796" fmla="*/ 4273059 w 8079933"/>
              <a:gd name="connsiteY40796" fmla="*/ 3606059 h 4687251"/>
              <a:gd name="connsiteX40797" fmla="*/ 4269587 w 8079933"/>
              <a:gd name="connsiteY40797" fmla="*/ 3593824 h 4687251"/>
              <a:gd name="connsiteX40798" fmla="*/ 4272734 w 8079933"/>
              <a:gd name="connsiteY40798" fmla="*/ 3592525 h 4687251"/>
              <a:gd name="connsiteX40799" fmla="*/ 4272734 w 8079933"/>
              <a:gd name="connsiteY40799" fmla="*/ 3582672 h 4687251"/>
              <a:gd name="connsiteX40800" fmla="*/ 4260037 w 8079933"/>
              <a:gd name="connsiteY40800" fmla="*/ 3564375 h 4687251"/>
              <a:gd name="connsiteX40801" fmla="*/ 4260037 w 8079933"/>
              <a:gd name="connsiteY40801" fmla="*/ 3557770 h 4687251"/>
              <a:gd name="connsiteX40802" fmla="*/ 4248101 w 8079933"/>
              <a:gd name="connsiteY40802" fmla="*/ 3540772 h 4687251"/>
              <a:gd name="connsiteX40803" fmla="*/ 4246256 w 8079933"/>
              <a:gd name="connsiteY40803" fmla="*/ 3530161 h 4687251"/>
              <a:gd name="connsiteX40804" fmla="*/ 4234427 w 8079933"/>
              <a:gd name="connsiteY40804" fmla="*/ 3503635 h 4687251"/>
              <a:gd name="connsiteX40805" fmla="*/ 4226831 w 8079933"/>
              <a:gd name="connsiteY40805" fmla="*/ 3490643 h 4687251"/>
              <a:gd name="connsiteX40806" fmla="*/ 4212724 w 8079933"/>
              <a:gd name="connsiteY40806" fmla="*/ 3476135 h 4687251"/>
              <a:gd name="connsiteX40807" fmla="*/ 4211422 w 8079933"/>
              <a:gd name="connsiteY40807" fmla="*/ 3455888 h 4687251"/>
              <a:gd name="connsiteX40808" fmla="*/ 4211423 w 8079933"/>
              <a:gd name="connsiteY40808" fmla="*/ 3455888 h 4687251"/>
              <a:gd name="connsiteX40809" fmla="*/ 4211314 w 8079933"/>
              <a:gd name="connsiteY40809" fmla="*/ 3453398 h 4687251"/>
              <a:gd name="connsiteX40810" fmla="*/ 4212291 w 8079933"/>
              <a:gd name="connsiteY40810" fmla="*/ 3445820 h 4687251"/>
              <a:gd name="connsiteX40811" fmla="*/ 4211965 w 8079933"/>
              <a:gd name="connsiteY40811" fmla="*/ 3434235 h 4687251"/>
              <a:gd name="connsiteX40812" fmla="*/ 4213050 w 8079933"/>
              <a:gd name="connsiteY40812" fmla="*/ 3426656 h 4687251"/>
              <a:gd name="connsiteX40813" fmla="*/ 4213050 w 8079933"/>
              <a:gd name="connsiteY40813" fmla="*/ 3417994 h 4687251"/>
              <a:gd name="connsiteX40814" fmla="*/ 4219561 w 8079933"/>
              <a:gd name="connsiteY40814" fmla="*/ 3410090 h 4687251"/>
              <a:gd name="connsiteX40815" fmla="*/ 4221080 w 8079933"/>
              <a:gd name="connsiteY40815" fmla="*/ 3400996 h 4687251"/>
              <a:gd name="connsiteX40816" fmla="*/ 4226832 w 8079933"/>
              <a:gd name="connsiteY40816" fmla="*/ 3393417 h 4687251"/>
              <a:gd name="connsiteX40817" fmla="*/ 4226832 w 8079933"/>
              <a:gd name="connsiteY40817" fmla="*/ 3374252 h 4687251"/>
              <a:gd name="connsiteX40818" fmla="*/ 4229002 w 8079933"/>
              <a:gd name="connsiteY40818" fmla="*/ 3372413 h 4687251"/>
              <a:gd name="connsiteX40819" fmla="*/ 4229328 w 8079933"/>
              <a:gd name="connsiteY40819" fmla="*/ 3364509 h 4687251"/>
              <a:gd name="connsiteX40820" fmla="*/ 4242350 w 8079933"/>
              <a:gd name="connsiteY40820" fmla="*/ 3352923 h 4687251"/>
              <a:gd name="connsiteX40821" fmla="*/ 4242784 w 8079933"/>
              <a:gd name="connsiteY40821" fmla="*/ 3347185 h 4687251"/>
              <a:gd name="connsiteX40822" fmla="*/ 4253310 w 8079933"/>
              <a:gd name="connsiteY40822" fmla="*/ 3339173 h 4687251"/>
              <a:gd name="connsiteX40823" fmla="*/ 4256131 w 8079933"/>
              <a:gd name="connsiteY40823" fmla="*/ 3339173 h 4687251"/>
              <a:gd name="connsiteX40824" fmla="*/ 4265572 w 8079933"/>
              <a:gd name="connsiteY40824" fmla="*/ 3321525 h 4687251"/>
              <a:gd name="connsiteX40825" fmla="*/ 4265572 w 8079933"/>
              <a:gd name="connsiteY40825" fmla="*/ 3300520 h 4687251"/>
              <a:gd name="connsiteX40826" fmla="*/ 4262642 w 8079933"/>
              <a:gd name="connsiteY40826" fmla="*/ 3296948 h 4687251"/>
              <a:gd name="connsiteX40827" fmla="*/ 4263077 w 8079933"/>
              <a:gd name="connsiteY40827" fmla="*/ 3292942 h 4687251"/>
              <a:gd name="connsiteX40828" fmla="*/ 4253961 w 8079933"/>
              <a:gd name="connsiteY40828" fmla="*/ 3278108 h 4687251"/>
              <a:gd name="connsiteX40829" fmla="*/ 4253961 w 8079933"/>
              <a:gd name="connsiteY40829" fmla="*/ 3271937 h 4687251"/>
              <a:gd name="connsiteX40830" fmla="*/ 4250379 w 8079933"/>
              <a:gd name="connsiteY40830" fmla="*/ 3266199 h 4687251"/>
              <a:gd name="connsiteX40831" fmla="*/ 4250379 w 8079933"/>
              <a:gd name="connsiteY40831" fmla="*/ 3257537 h 4687251"/>
              <a:gd name="connsiteX40832" fmla="*/ 4246040 w 8079933"/>
              <a:gd name="connsiteY40832" fmla="*/ 3255372 h 4687251"/>
              <a:gd name="connsiteX40833" fmla="*/ 4253636 w 8079933"/>
              <a:gd name="connsiteY40833" fmla="*/ 3245627 h 4687251"/>
              <a:gd name="connsiteX40834" fmla="*/ 4254720 w 8079933"/>
              <a:gd name="connsiteY40834" fmla="*/ 3236208 h 4687251"/>
              <a:gd name="connsiteX40835" fmla="*/ 4247450 w 8079933"/>
              <a:gd name="connsiteY40835" fmla="*/ 3226139 h 4687251"/>
              <a:gd name="connsiteX40836" fmla="*/ 4247016 w 8079933"/>
              <a:gd name="connsiteY40836" fmla="*/ 3207516 h 4687251"/>
              <a:gd name="connsiteX40837" fmla="*/ 4233777 w 8079933"/>
              <a:gd name="connsiteY40837" fmla="*/ 3192683 h 4687251"/>
              <a:gd name="connsiteX40838" fmla="*/ 4233777 w 8079933"/>
              <a:gd name="connsiteY40838" fmla="*/ 3189219 h 4687251"/>
              <a:gd name="connsiteX40839" fmla="*/ 4231281 w 8079933"/>
              <a:gd name="connsiteY40839" fmla="*/ 3186187 h 4687251"/>
              <a:gd name="connsiteX40840" fmla="*/ 4238117 w 8079933"/>
              <a:gd name="connsiteY40840" fmla="*/ 3182397 h 4687251"/>
              <a:gd name="connsiteX40841" fmla="*/ 4238552 w 8079933"/>
              <a:gd name="connsiteY40841" fmla="*/ 3182397 h 4687251"/>
              <a:gd name="connsiteX40842" fmla="*/ 4238986 w 8079933"/>
              <a:gd name="connsiteY40842" fmla="*/ 3182181 h 4687251"/>
              <a:gd name="connsiteX40843" fmla="*/ 4239854 w 8079933"/>
              <a:gd name="connsiteY40843" fmla="*/ 3181098 h 4687251"/>
              <a:gd name="connsiteX40844" fmla="*/ 4241699 w 8079933"/>
              <a:gd name="connsiteY40844" fmla="*/ 3181098 h 4687251"/>
              <a:gd name="connsiteX40845" fmla="*/ 4243218 w 8079933"/>
              <a:gd name="connsiteY40845" fmla="*/ 3180340 h 4687251"/>
              <a:gd name="connsiteX40846" fmla="*/ 4247341 w 8079933"/>
              <a:gd name="connsiteY40846" fmla="*/ 3179149 h 4687251"/>
              <a:gd name="connsiteX40847" fmla="*/ 4251139 w 8079933"/>
              <a:gd name="connsiteY40847" fmla="*/ 3178283 h 4687251"/>
              <a:gd name="connsiteX40848" fmla="*/ 4254720 w 8079933"/>
              <a:gd name="connsiteY40848" fmla="*/ 3178716 h 4687251"/>
              <a:gd name="connsiteX40849" fmla="*/ 4258084 w 8079933"/>
              <a:gd name="connsiteY40849" fmla="*/ 3179040 h 4687251"/>
              <a:gd name="connsiteX40850" fmla="*/ 4262859 w 8079933"/>
              <a:gd name="connsiteY40850" fmla="*/ 3179040 h 4687251"/>
              <a:gd name="connsiteX40851" fmla="*/ 4268393 w 8079933"/>
              <a:gd name="connsiteY40851" fmla="*/ 3178825 h 4687251"/>
              <a:gd name="connsiteX40852" fmla="*/ 4275447 w 8079933"/>
              <a:gd name="connsiteY40852" fmla="*/ 3178499 h 4687251"/>
              <a:gd name="connsiteX40853" fmla="*/ 4279245 w 8079933"/>
              <a:gd name="connsiteY40853" fmla="*/ 3178825 h 4687251"/>
              <a:gd name="connsiteX40854" fmla="*/ 4286841 w 8079933"/>
              <a:gd name="connsiteY40854" fmla="*/ 3179149 h 4687251"/>
              <a:gd name="connsiteX40855" fmla="*/ 4295089 w 8079933"/>
              <a:gd name="connsiteY40855" fmla="*/ 3178499 h 4687251"/>
              <a:gd name="connsiteX40856" fmla="*/ 4312017 w 8079933"/>
              <a:gd name="connsiteY40856" fmla="*/ 3178499 h 4687251"/>
              <a:gd name="connsiteX40857" fmla="*/ 4336976 w 8079933"/>
              <a:gd name="connsiteY40857" fmla="*/ 3178607 h 4687251"/>
              <a:gd name="connsiteX40858" fmla="*/ 4336976 w 8079933"/>
              <a:gd name="connsiteY40858" fmla="*/ 3178607 h 4687251"/>
              <a:gd name="connsiteX40859" fmla="*/ 4312016 w 8079933"/>
              <a:gd name="connsiteY40859" fmla="*/ 3178498 h 4687251"/>
              <a:gd name="connsiteX40860" fmla="*/ 4295088 w 8079933"/>
              <a:gd name="connsiteY40860" fmla="*/ 3178498 h 4687251"/>
              <a:gd name="connsiteX40861" fmla="*/ 4286841 w 8079933"/>
              <a:gd name="connsiteY40861" fmla="*/ 3179148 h 4687251"/>
              <a:gd name="connsiteX40862" fmla="*/ 4279244 w 8079933"/>
              <a:gd name="connsiteY40862" fmla="*/ 3178824 h 4687251"/>
              <a:gd name="connsiteX40863" fmla="*/ 4275446 w 8079933"/>
              <a:gd name="connsiteY40863" fmla="*/ 3178498 h 4687251"/>
              <a:gd name="connsiteX40864" fmla="*/ 4268393 w 8079933"/>
              <a:gd name="connsiteY40864" fmla="*/ 3178824 h 4687251"/>
              <a:gd name="connsiteX40865" fmla="*/ 4262859 w 8079933"/>
              <a:gd name="connsiteY40865" fmla="*/ 3179039 h 4687251"/>
              <a:gd name="connsiteX40866" fmla="*/ 4258084 w 8079933"/>
              <a:gd name="connsiteY40866" fmla="*/ 3179039 h 4687251"/>
              <a:gd name="connsiteX40867" fmla="*/ 4254720 w 8079933"/>
              <a:gd name="connsiteY40867" fmla="*/ 3178715 h 4687251"/>
              <a:gd name="connsiteX40868" fmla="*/ 4251139 w 8079933"/>
              <a:gd name="connsiteY40868" fmla="*/ 3178282 h 4687251"/>
              <a:gd name="connsiteX40869" fmla="*/ 4247340 w 8079933"/>
              <a:gd name="connsiteY40869" fmla="*/ 3179148 h 4687251"/>
              <a:gd name="connsiteX40870" fmla="*/ 4243217 w 8079933"/>
              <a:gd name="connsiteY40870" fmla="*/ 3180339 h 4687251"/>
              <a:gd name="connsiteX40871" fmla="*/ 4241698 w 8079933"/>
              <a:gd name="connsiteY40871" fmla="*/ 3181097 h 4687251"/>
              <a:gd name="connsiteX40872" fmla="*/ 4239853 w 8079933"/>
              <a:gd name="connsiteY40872" fmla="*/ 3181097 h 4687251"/>
              <a:gd name="connsiteX40873" fmla="*/ 4238985 w 8079933"/>
              <a:gd name="connsiteY40873" fmla="*/ 3182180 h 4687251"/>
              <a:gd name="connsiteX40874" fmla="*/ 4238551 w 8079933"/>
              <a:gd name="connsiteY40874" fmla="*/ 3182396 h 4687251"/>
              <a:gd name="connsiteX40875" fmla="*/ 4238117 w 8079933"/>
              <a:gd name="connsiteY40875" fmla="*/ 3182396 h 4687251"/>
              <a:gd name="connsiteX40876" fmla="*/ 4235295 w 8079933"/>
              <a:gd name="connsiteY40876" fmla="*/ 3180231 h 4687251"/>
              <a:gd name="connsiteX40877" fmla="*/ 4228350 w 8079933"/>
              <a:gd name="connsiteY40877" fmla="*/ 3180122 h 4687251"/>
              <a:gd name="connsiteX40878" fmla="*/ 4227157 w 8079933"/>
              <a:gd name="connsiteY40878" fmla="*/ 3177309 h 4687251"/>
              <a:gd name="connsiteX40879" fmla="*/ 4227157 w 8079933"/>
              <a:gd name="connsiteY40879" fmla="*/ 3177309 h 4687251"/>
              <a:gd name="connsiteX40880" fmla="*/ 4225855 w 8079933"/>
              <a:gd name="connsiteY40880" fmla="*/ 3174494 h 4687251"/>
              <a:gd name="connsiteX40881" fmla="*/ 4228567 w 8079933"/>
              <a:gd name="connsiteY40881" fmla="*/ 3169406 h 4687251"/>
              <a:gd name="connsiteX40882" fmla="*/ 4226940 w 8079933"/>
              <a:gd name="connsiteY40882" fmla="*/ 3162584 h 4687251"/>
              <a:gd name="connsiteX40883" fmla="*/ 4224010 w 8079933"/>
              <a:gd name="connsiteY40883" fmla="*/ 3159445 h 4687251"/>
              <a:gd name="connsiteX40884" fmla="*/ 4226397 w 8079933"/>
              <a:gd name="connsiteY40884" fmla="*/ 3158037 h 4687251"/>
              <a:gd name="connsiteX40885" fmla="*/ 4228676 w 8079933"/>
              <a:gd name="connsiteY40885" fmla="*/ 3152406 h 4687251"/>
              <a:gd name="connsiteX40886" fmla="*/ 4230303 w 8079933"/>
              <a:gd name="connsiteY40886" fmla="*/ 3152406 h 4687251"/>
              <a:gd name="connsiteX40887" fmla="*/ 4234101 w 8079933"/>
              <a:gd name="connsiteY40887" fmla="*/ 3150349 h 4687251"/>
              <a:gd name="connsiteX40888" fmla="*/ 4235121 w 8079933"/>
              <a:gd name="connsiteY40888" fmla="*/ 3147297 h 4687251"/>
              <a:gd name="connsiteX40889" fmla="*/ 4234101 w 8079933"/>
              <a:gd name="connsiteY40889" fmla="*/ 3150348 h 4687251"/>
              <a:gd name="connsiteX40890" fmla="*/ 4230303 w 8079933"/>
              <a:gd name="connsiteY40890" fmla="*/ 3152405 h 4687251"/>
              <a:gd name="connsiteX40891" fmla="*/ 4228675 w 8079933"/>
              <a:gd name="connsiteY40891" fmla="*/ 3152405 h 4687251"/>
              <a:gd name="connsiteX40892" fmla="*/ 4226397 w 8079933"/>
              <a:gd name="connsiteY40892" fmla="*/ 3158036 h 4687251"/>
              <a:gd name="connsiteX40893" fmla="*/ 4224009 w 8079933"/>
              <a:gd name="connsiteY40893" fmla="*/ 3159443 h 4687251"/>
              <a:gd name="connsiteX40894" fmla="*/ 4221296 w 8079933"/>
              <a:gd name="connsiteY40894" fmla="*/ 3156412 h 4687251"/>
              <a:gd name="connsiteX40895" fmla="*/ 4221513 w 8079933"/>
              <a:gd name="connsiteY40895" fmla="*/ 3151756 h 4687251"/>
              <a:gd name="connsiteX40896" fmla="*/ 4217715 w 8079933"/>
              <a:gd name="connsiteY40896" fmla="*/ 3147642 h 4687251"/>
              <a:gd name="connsiteX40897" fmla="*/ 4217498 w 8079933"/>
              <a:gd name="connsiteY40897" fmla="*/ 3143311 h 4687251"/>
              <a:gd name="connsiteX40898" fmla="*/ 4210336 w 8079933"/>
              <a:gd name="connsiteY40898" fmla="*/ 3138763 h 4687251"/>
              <a:gd name="connsiteX40899" fmla="*/ 4208600 w 8079933"/>
              <a:gd name="connsiteY40899" fmla="*/ 3135732 h 4687251"/>
              <a:gd name="connsiteX40900" fmla="*/ 4203934 w 8079933"/>
              <a:gd name="connsiteY40900" fmla="*/ 3131076 h 4687251"/>
              <a:gd name="connsiteX40901" fmla="*/ 4207406 w 8079933"/>
              <a:gd name="connsiteY40901" fmla="*/ 3126204 h 4687251"/>
              <a:gd name="connsiteX40902" fmla="*/ 4207841 w 8079933"/>
              <a:gd name="connsiteY40902" fmla="*/ 3122956 h 4687251"/>
              <a:gd name="connsiteX40903" fmla="*/ 4210119 w 8079933"/>
              <a:gd name="connsiteY40903" fmla="*/ 3121873 h 4687251"/>
              <a:gd name="connsiteX40904" fmla="*/ 4214460 w 8079933"/>
              <a:gd name="connsiteY40904" fmla="*/ 3121657 h 4687251"/>
              <a:gd name="connsiteX40905" fmla="*/ 4210119 w 8079933"/>
              <a:gd name="connsiteY40905" fmla="*/ 3121873 h 4687251"/>
              <a:gd name="connsiteX40906" fmla="*/ 4207840 w 8079933"/>
              <a:gd name="connsiteY40906" fmla="*/ 3122956 h 4687251"/>
              <a:gd name="connsiteX40907" fmla="*/ 4207406 w 8079933"/>
              <a:gd name="connsiteY40907" fmla="*/ 3126204 h 4687251"/>
              <a:gd name="connsiteX40908" fmla="*/ 4203933 w 8079933"/>
              <a:gd name="connsiteY40908" fmla="*/ 3131076 h 4687251"/>
              <a:gd name="connsiteX40909" fmla="*/ 4202848 w 8079933"/>
              <a:gd name="connsiteY40909" fmla="*/ 3130102 h 4687251"/>
              <a:gd name="connsiteX40910" fmla="*/ 4198725 w 8079933"/>
              <a:gd name="connsiteY40910" fmla="*/ 3128478 h 4687251"/>
              <a:gd name="connsiteX40911" fmla="*/ 4197966 w 8079933"/>
              <a:gd name="connsiteY40911" fmla="*/ 3124471 h 4687251"/>
              <a:gd name="connsiteX40912" fmla="*/ 4189284 w 8079933"/>
              <a:gd name="connsiteY40912" fmla="*/ 3120358 h 4687251"/>
              <a:gd name="connsiteX40913" fmla="*/ 4187113 w 8079933"/>
              <a:gd name="connsiteY40913" fmla="*/ 3115161 h 4687251"/>
              <a:gd name="connsiteX40914" fmla="*/ 4176262 w 8079933"/>
              <a:gd name="connsiteY40914" fmla="*/ 3106499 h 4687251"/>
              <a:gd name="connsiteX40915" fmla="*/ 4169751 w 8079933"/>
              <a:gd name="connsiteY40915" fmla="*/ 3099569 h 4687251"/>
              <a:gd name="connsiteX40916" fmla="*/ 4171596 w 8079933"/>
              <a:gd name="connsiteY40916" fmla="*/ 3098379 h 4687251"/>
              <a:gd name="connsiteX40917" fmla="*/ 4165410 w 8079933"/>
              <a:gd name="connsiteY40917" fmla="*/ 3093290 h 4687251"/>
              <a:gd name="connsiteX40918" fmla="*/ 4162915 w 8079933"/>
              <a:gd name="connsiteY40918" fmla="*/ 3087660 h 4687251"/>
              <a:gd name="connsiteX40919" fmla="*/ 4159334 w 8079933"/>
              <a:gd name="connsiteY40919" fmla="*/ 3084087 h 4687251"/>
              <a:gd name="connsiteX40920" fmla="*/ 4159334 w 8079933"/>
              <a:gd name="connsiteY40920" fmla="*/ 3076941 h 4687251"/>
              <a:gd name="connsiteX40921" fmla="*/ 4154993 w 8079933"/>
              <a:gd name="connsiteY40921" fmla="*/ 3071311 h 4687251"/>
              <a:gd name="connsiteX40922" fmla="*/ 4154993 w 8079933"/>
              <a:gd name="connsiteY40922" fmla="*/ 3067522 h 4687251"/>
              <a:gd name="connsiteX40923" fmla="*/ 4152171 w 8079933"/>
              <a:gd name="connsiteY40923" fmla="*/ 3065356 h 4687251"/>
              <a:gd name="connsiteX40924" fmla="*/ 4147180 w 8079933"/>
              <a:gd name="connsiteY40924" fmla="*/ 3054854 h 4687251"/>
              <a:gd name="connsiteX40925" fmla="*/ 4147505 w 8079933"/>
              <a:gd name="connsiteY40925" fmla="*/ 3052364 h 4687251"/>
              <a:gd name="connsiteX40926" fmla="*/ 4153365 w 8079933"/>
              <a:gd name="connsiteY40926" fmla="*/ 3054313 h 4687251"/>
              <a:gd name="connsiteX40927" fmla="*/ 4157814 w 8079933"/>
              <a:gd name="connsiteY40927" fmla="*/ 3050523 h 4687251"/>
              <a:gd name="connsiteX40928" fmla="*/ 4158899 w 8079933"/>
              <a:gd name="connsiteY40928" fmla="*/ 3037314 h 4687251"/>
              <a:gd name="connsiteX40929" fmla="*/ 4159659 w 8079933"/>
              <a:gd name="connsiteY40929" fmla="*/ 3030710 h 4687251"/>
              <a:gd name="connsiteX40930" fmla="*/ 4162372 w 8079933"/>
              <a:gd name="connsiteY40930" fmla="*/ 3033417 h 4687251"/>
              <a:gd name="connsiteX40931" fmla="*/ 4172898 w 8079933"/>
              <a:gd name="connsiteY40931" fmla="*/ 3030818 h 4687251"/>
              <a:gd name="connsiteX40932" fmla="*/ 4165410 w 8079933"/>
              <a:gd name="connsiteY40932" fmla="*/ 3029085 h 4687251"/>
              <a:gd name="connsiteX40933" fmla="*/ 4160744 w 8079933"/>
              <a:gd name="connsiteY40933" fmla="*/ 3021507 h 4687251"/>
              <a:gd name="connsiteX40934" fmla="*/ 4165845 w 8079933"/>
              <a:gd name="connsiteY40934" fmla="*/ 3020749 h 4687251"/>
              <a:gd name="connsiteX40935" fmla="*/ 4166062 w 8079933"/>
              <a:gd name="connsiteY40935" fmla="*/ 3015119 h 4687251"/>
              <a:gd name="connsiteX40936" fmla="*/ 4168991 w 8079933"/>
              <a:gd name="connsiteY40936" fmla="*/ 3015660 h 4687251"/>
              <a:gd name="connsiteX40937" fmla="*/ 4170686 w 8079933"/>
              <a:gd name="connsiteY40937" fmla="*/ 3014470 h 4687251"/>
              <a:gd name="connsiteX40938" fmla="*/ 4168991 w 8079933"/>
              <a:gd name="connsiteY40938" fmla="*/ 3015660 h 4687251"/>
              <a:gd name="connsiteX40939" fmla="*/ 4166062 w 8079933"/>
              <a:gd name="connsiteY40939" fmla="*/ 3015119 h 4687251"/>
              <a:gd name="connsiteX40940" fmla="*/ 4166170 w 8079933"/>
              <a:gd name="connsiteY40940" fmla="*/ 3013711 h 4687251"/>
              <a:gd name="connsiteX40941" fmla="*/ 4160202 w 8079933"/>
              <a:gd name="connsiteY40941" fmla="*/ 3010680 h 4687251"/>
              <a:gd name="connsiteX40942" fmla="*/ 4166170 w 8079933"/>
              <a:gd name="connsiteY40942" fmla="*/ 2999311 h 4687251"/>
              <a:gd name="connsiteX40943" fmla="*/ 4173766 w 8079933"/>
              <a:gd name="connsiteY40943" fmla="*/ 2990758 h 4687251"/>
              <a:gd name="connsiteX40944" fmla="*/ 4171922 w 8079933"/>
              <a:gd name="connsiteY40944" fmla="*/ 2986644 h 4687251"/>
              <a:gd name="connsiteX40945" fmla="*/ 4172898 w 8079933"/>
              <a:gd name="connsiteY40945" fmla="*/ 2985670 h 4687251"/>
              <a:gd name="connsiteX40946" fmla="*/ 4174172 w 8079933"/>
              <a:gd name="connsiteY40946" fmla="*/ 2985443 h 4687251"/>
              <a:gd name="connsiteX40947" fmla="*/ 4172899 w 8079933"/>
              <a:gd name="connsiteY40947" fmla="*/ 2985669 h 4687251"/>
              <a:gd name="connsiteX40948" fmla="*/ 4176697 w 8079933"/>
              <a:gd name="connsiteY40948" fmla="*/ 2981989 h 4687251"/>
              <a:gd name="connsiteX40949" fmla="*/ 4173224 w 8079933"/>
              <a:gd name="connsiteY40949" fmla="*/ 2978307 h 4687251"/>
              <a:gd name="connsiteX40950" fmla="*/ 4176479 w 8079933"/>
              <a:gd name="connsiteY40950" fmla="*/ 2970079 h 4687251"/>
              <a:gd name="connsiteX40951" fmla="*/ 4175611 w 8079933"/>
              <a:gd name="connsiteY40951" fmla="*/ 2960875 h 4687251"/>
              <a:gd name="connsiteX40952" fmla="*/ 4171163 w 8079933"/>
              <a:gd name="connsiteY40952" fmla="*/ 2954704 h 4687251"/>
              <a:gd name="connsiteX40953" fmla="*/ 4171163 w 8079933"/>
              <a:gd name="connsiteY40953" fmla="*/ 2947991 h 4687251"/>
              <a:gd name="connsiteX40954" fmla="*/ 4172899 w 8079933"/>
              <a:gd name="connsiteY40954" fmla="*/ 2944959 h 4687251"/>
              <a:gd name="connsiteX40955" fmla="*/ 4169209 w 8079933"/>
              <a:gd name="connsiteY40955" fmla="*/ 2939221 h 4687251"/>
              <a:gd name="connsiteX40956" fmla="*/ 4162155 w 8079933"/>
              <a:gd name="connsiteY40956" fmla="*/ 2942253 h 4687251"/>
              <a:gd name="connsiteX40957" fmla="*/ 4159985 w 8079933"/>
              <a:gd name="connsiteY40957" fmla="*/ 2939763 h 4687251"/>
              <a:gd name="connsiteX40958" fmla="*/ 4155861 w 8079933"/>
              <a:gd name="connsiteY40958" fmla="*/ 2939221 h 4687251"/>
              <a:gd name="connsiteX40959" fmla="*/ 4152931 w 8079933"/>
              <a:gd name="connsiteY40959" fmla="*/ 2924605 h 4687251"/>
              <a:gd name="connsiteX40960" fmla="*/ 4149133 w 8079933"/>
              <a:gd name="connsiteY40960" fmla="*/ 2926554 h 4687251"/>
              <a:gd name="connsiteX40961" fmla="*/ 4145878 w 8079933"/>
              <a:gd name="connsiteY40961" fmla="*/ 2925038 h 4687251"/>
              <a:gd name="connsiteX40962" fmla="*/ 4145910 w 8079933"/>
              <a:gd name="connsiteY40962" fmla="*/ 2924589 h 4687251"/>
              <a:gd name="connsiteX40963" fmla="*/ 4145878 w 8079933"/>
              <a:gd name="connsiteY40963" fmla="*/ 2925037 h 4687251"/>
              <a:gd name="connsiteX40964" fmla="*/ 4145770 w 8079933"/>
              <a:gd name="connsiteY40964" fmla="*/ 2924929 h 4687251"/>
              <a:gd name="connsiteX40965" fmla="*/ 4143925 w 8079933"/>
              <a:gd name="connsiteY40965" fmla="*/ 2926012 h 4687251"/>
              <a:gd name="connsiteX40966" fmla="*/ 4139584 w 8079933"/>
              <a:gd name="connsiteY40966" fmla="*/ 2921464 h 4687251"/>
              <a:gd name="connsiteX40967" fmla="*/ 4137197 w 8079933"/>
              <a:gd name="connsiteY40967" fmla="*/ 2928177 h 4687251"/>
              <a:gd name="connsiteX40968" fmla="*/ 4131119 w 8079933"/>
              <a:gd name="connsiteY40968" fmla="*/ 2929476 h 4687251"/>
              <a:gd name="connsiteX40969" fmla="*/ 4127430 w 8079933"/>
              <a:gd name="connsiteY40969" fmla="*/ 2927852 h 4687251"/>
              <a:gd name="connsiteX40970" fmla="*/ 4116470 w 8079933"/>
              <a:gd name="connsiteY40970" fmla="*/ 2931750 h 4687251"/>
              <a:gd name="connsiteX40971" fmla="*/ 4112997 w 8079933"/>
              <a:gd name="connsiteY40971" fmla="*/ 2930342 h 4687251"/>
              <a:gd name="connsiteX40972" fmla="*/ 4108331 w 8079933"/>
              <a:gd name="connsiteY40972" fmla="*/ 2933266 h 4687251"/>
              <a:gd name="connsiteX40973" fmla="*/ 4085109 w 8079933"/>
              <a:gd name="connsiteY40973" fmla="*/ 2934565 h 4687251"/>
              <a:gd name="connsiteX40974" fmla="*/ 4076427 w 8079933"/>
              <a:gd name="connsiteY40974" fmla="*/ 2932075 h 4687251"/>
              <a:gd name="connsiteX40975" fmla="*/ 4070351 w 8079933"/>
              <a:gd name="connsiteY40975" fmla="*/ 2926553 h 4687251"/>
              <a:gd name="connsiteX40976" fmla="*/ 4067529 w 8079933"/>
              <a:gd name="connsiteY40976" fmla="*/ 2918325 h 4687251"/>
              <a:gd name="connsiteX40977" fmla="*/ 4064382 w 8079933"/>
              <a:gd name="connsiteY40977" fmla="*/ 2916592 h 4687251"/>
              <a:gd name="connsiteX40978" fmla="*/ 4064490 w 8079933"/>
              <a:gd name="connsiteY40978" fmla="*/ 2909122 h 4687251"/>
              <a:gd name="connsiteX40979" fmla="*/ 4058522 w 8079933"/>
              <a:gd name="connsiteY40979" fmla="*/ 2897536 h 4687251"/>
              <a:gd name="connsiteX40980" fmla="*/ 4048756 w 8079933"/>
              <a:gd name="connsiteY40980" fmla="*/ 2888008 h 4687251"/>
              <a:gd name="connsiteX40981" fmla="*/ 4031284 w 8079933"/>
              <a:gd name="connsiteY40981" fmla="*/ 2878697 h 4687251"/>
              <a:gd name="connsiteX40982" fmla="*/ 4023688 w 8079933"/>
              <a:gd name="connsiteY40982" fmla="*/ 2881838 h 4687251"/>
              <a:gd name="connsiteX40983" fmla="*/ 4014356 w 8079933"/>
              <a:gd name="connsiteY40983" fmla="*/ 2879888 h 4687251"/>
              <a:gd name="connsiteX40984" fmla="*/ 4013379 w 8079933"/>
              <a:gd name="connsiteY40984" fmla="*/ 2875124 h 4687251"/>
              <a:gd name="connsiteX40985" fmla="*/ 4014356 w 8079933"/>
              <a:gd name="connsiteY40985" fmla="*/ 2863106 h 4687251"/>
              <a:gd name="connsiteX40986" fmla="*/ 4013705 w 8079933"/>
              <a:gd name="connsiteY40986" fmla="*/ 2859209 h 4687251"/>
              <a:gd name="connsiteX40987" fmla="*/ 4013922 w 8079933"/>
              <a:gd name="connsiteY40987" fmla="*/ 2855744 h 4687251"/>
              <a:gd name="connsiteX40988" fmla="*/ 4012837 w 8079933"/>
              <a:gd name="connsiteY40988" fmla="*/ 2845567 h 4687251"/>
              <a:gd name="connsiteX40989" fmla="*/ 4013705 w 8079933"/>
              <a:gd name="connsiteY40989" fmla="*/ 2841994 h 4687251"/>
              <a:gd name="connsiteX40990" fmla="*/ 4013488 w 8079933"/>
              <a:gd name="connsiteY40990" fmla="*/ 2839287 h 4687251"/>
              <a:gd name="connsiteX40991" fmla="*/ 4012511 w 8079933"/>
              <a:gd name="connsiteY40991" fmla="*/ 2837663 h 4687251"/>
              <a:gd name="connsiteX40992" fmla="*/ 4013163 w 8079933"/>
              <a:gd name="connsiteY40992" fmla="*/ 2835822 h 4687251"/>
              <a:gd name="connsiteX40993" fmla="*/ 4012511 w 8079933"/>
              <a:gd name="connsiteY40993" fmla="*/ 2831816 h 4687251"/>
              <a:gd name="connsiteX40994" fmla="*/ 4012186 w 8079933"/>
              <a:gd name="connsiteY40994" fmla="*/ 2830084 h 4687251"/>
              <a:gd name="connsiteX40995" fmla="*/ 4012619 w 8079933"/>
              <a:gd name="connsiteY40995" fmla="*/ 2824887 h 4687251"/>
              <a:gd name="connsiteX40996" fmla="*/ 4013163 w 8079933"/>
              <a:gd name="connsiteY40996" fmla="*/ 2821422 h 4687251"/>
              <a:gd name="connsiteX40997" fmla="*/ 4012837 w 8079933"/>
              <a:gd name="connsiteY40997" fmla="*/ 2817092 h 4687251"/>
              <a:gd name="connsiteX40998" fmla="*/ 4014200 w 8079933"/>
              <a:gd name="connsiteY40998" fmla="*/ 2815010 h 4687251"/>
              <a:gd name="connsiteX40999" fmla="*/ 4012836 w 8079933"/>
              <a:gd name="connsiteY40999" fmla="*/ 2817092 h 4687251"/>
              <a:gd name="connsiteX41000" fmla="*/ 4013162 w 8079933"/>
              <a:gd name="connsiteY41000" fmla="*/ 2821423 h 4687251"/>
              <a:gd name="connsiteX41001" fmla="*/ 4012619 w 8079933"/>
              <a:gd name="connsiteY41001" fmla="*/ 2824887 h 4687251"/>
              <a:gd name="connsiteX41002" fmla="*/ 4012185 w 8079933"/>
              <a:gd name="connsiteY41002" fmla="*/ 2830085 h 4687251"/>
              <a:gd name="connsiteX41003" fmla="*/ 4012511 w 8079933"/>
              <a:gd name="connsiteY41003" fmla="*/ 2831816 h 4687251"/>
              <a:gd name="connsiteX41004" fmla="*/ 4013162 w 8079933"/>
              <a:gd name="connsiteY41004" fmla="*/ 2835823 h 4687251"/>
              <a:gd name="connsiteX41005" fmla="*/ 4012511 w 8079933"/>
              <a:gd name="connsiteY41005" fmla="*/ 2837663 h 4687251"/>
              <a:gd name="connsiteX41006" fmla="*/ 4013487 w 8079933"/>
              <a:gd name="connsiteY41006" fmla="*/ 2839287 h 4687251"/>
              <a:gd name="connsiteX41007" fmla="*/ 4013704 w 8079933"/>
              <a:gd name="connsiteY41007" fmla="*/ 2841994 h 4687251"/>
              <a:gd name="connsiteX41008" fmla="*/ 4012836 w 8079933"/>
              <a:gd name="connsiteY41008" fmla="*/ 2845567 h 4687251"/>
              <a:gd name="connsiteX41009" fmla="*/ 4013922 w 8079933"/>
              <a:gd name="connsiteY41009" fmla="*/ 2855744 h 4687251"/>
              <a:gd name="connsiteX41010" fmla="*/ 4013704 w 8079933"/>
              <a:gd name="connsiteY41010" fmla="*/ 2859209 h 4687251"/>
              <a:gd name="connsiteX41011" fmla="*/ 4014355 w 8079933"/>
              <a:gd name="connsiteY41011" fmla="*/ 2863107 h 4687251"/>
              <a:gd name="connsiteX41012" fmla="*/ 4013379 w 8079933"/>
              <a:gd name="connsiteY41012" fmla="*/ 2875125 h 4687251"/>
              <a:gd name="connsiteX41013" fmla="*/ 4014355 w 8079933"/>
              <a:gd name="connsiteY41013" fmla="*/ 2879889 h 4687251"/>
              <a:gd name="connsiteX41014" fmla="*/ 4013379 w 8079933"/>
              <a:gd name="connsiteY41014" fmla="*/ 2879672 h 4687251"/>
              <a:gd name="connsiteX41015" fmla="*/ 3996884 w 8079933"/>
              <a:gd name="connsiteY41015" fmla="*/ 2885194 h 4687251"/>
              <a:gd name="connsiteX41016" fmla="*/ 3988311 w 8079933"/>
              <a:gd name="connsiteY41016" fmla="*/ 2884111 h 4687251"/>
              <a:gd name="connsiteX41017" fmla="*/ 3989179 w 8079933"/>
              <a:gd name="connsiteY41017" fmla="*/ 2879564 h 4687251"/>
              <a:gd name="connsiteX41018" fmla="*/ 3985924 w 8079933"/>
              <a:gd name="connsiteY41018" fmla="*/ 2874042 h 4687251"/>
              <a:gd name="connsiteX41019" fmla="*/ 3985707 w 8079933"/>
              <a:gd name="connsiteY41019" fmla="*/ 2867438 h 4687251"/>
              <a:gd name="connsiteX41020" fmla="*/ 3984080 w 8079933"/>
              <a:gd name="connsiteY41020" fmla="*/ 2861483 h 4687251"/>
              <a:gd name="connsiteX41021" fmla="*/ 3984730 w 8079933"/>
              <a:gd name="connsiteY41021" fmla="*/ 2832791 h 4687251"/>
              <a:gd name="connsiteX41022" fmla="*/ 3985056 w 8079933"/>
              <a:gd name="connsiteY41022" fmla="*/ 2828677 h 4687251"/>
              <a:gd name="connsiteX41023" fmla="*/ 3987552 w 8079933"/>
              <a:gd name="connsiteY41023" fmla="*/ 2825537 h 4687251"/>
              <a:gd name="connsiteX41024" fmla="*/ 3987552 w 8079933"/>
              <a:gd name="connsiteY41024" fmla="*/ 2819799 h 4687251"/>
              <a:gd name="connsiteX41025" fmla="*/ 3987551 w 8079933"/>
              <a:gd name="connsiteY41025" fmla="*/ 2819798 h 4687251"/>
              <a:gd name="connsiteX41026" fmla="*/ 3987551 w 8079933"/>
              <a:gd name="connsiteY41026" fmla="*/ 2825537 h 4687251"/>
              <a:gd name="connsiteX41027" fmla="*/ 3985055 w 8079933"/>
              <a:gd name="connsiteY41027" fmla="*/ 2828677 h 4687251"/>
              <a:gd name="connsiteX41028" fmla="*/ 3984730 w 8079933"/>
              <a:gd name="connsiteY41028" fmla="*/ 2832791 h 4687251"/>
              <a:gd name="connsiteX41029" fmla="*/ 3984079 w 8079933"/>
              <a:gd name="connsiteY41029" fmla="*/ 2861483 h 4687251"/>
              <a:gd name="connsiteX41030" fmla="*/ 3985707 w 8079933"/>
              <a:gd name="connsiteY41030" fmla="*/ 2867438 h 4687251"/>
              <a:gd name="connsiteX41031" fmla="*/ 3985923 w 8079933"/>
              <a:gd name="connsiteY41031" fmla="*/ 2874042 h 4687251"/>
              <a:gd name="connsiteX41032" fmla="*/ 3989179 w 8079933"/>
              <a:gd name="connsiteY41032" fmla="*/ 2879564 h 4687251"/>
              <a:gd name="connsiteX41033" fmla="*/ 3988311 w 8079933"/>
              <a:gd name="connsiteY41033" fmla="*/ 2884112 h 4687251"/>
              <a:gd name="connsiteX41034" fmla="*/ 3985815 w 8079933"/>
              <a:gd name="connsiteY41034" fmla="*/ 2883787 h 4687251"/>
              <a:gd name="connsiteX41035" fmla="*/ 3973010 w 8079933"/>
              <a:gd name="connsiteY41035" fmla="*/ 2891690 h 4687251"/>
              <a:gd name="connsiteX41036" fmla="*/ 3970948 w 8079933"/>
              <a:gd name="connsiteY41036" fmla="*/ 2892015 h 4687251"/>
              <a:gd name="connsiteX41037" fmla="*/ 3970948 w 8079933"/>
              <a:gd name="connsiteY41037" fmla="*/ 2892015 h 4687251"/>
              <a:gd name="connsiteX41038" fmla="*/ 3958036 w 8079933"/>
              <a:gd name="connsiteY41038" fmla="*/ 2893747 h 4687251"/>
              <a:gd name="connsiteX41039" fmla="*/ 3946641 w 8079933"/>
              <a:gd name="connsiteY41039" fmla="*/ 2899161 h 4687251"/>
              <a:gd name="connsiteX41040" fmla="*/ 3934162 w 8079933"/>
              <a:gd name="connsiteY41040" fmla="*/ 2909663 h 4687251"/>
              <a:gd name="connsiteX41041" fmla="*/ 3919621 w 8079933"/>
              <a:gd name="connsiteY41041" fmla="*/ 2910855 h 4687251"/>
              <a:gd name="connsiteX41042" fmla="*/ 3899002 w 8079933"/>
              <a:gd name="connsiteY41042" fmla="*/ 2920815 h 4687251"/>
              <a:gd name="connsiteX41043" fmla="*/ 3889670 w 8079933"/>
              <a:gd name="connsiteY41043" fmla="*/ 2916593 h 4687251"/>
              <a:gd name="connsiteX41044" fmla="*/ 3876756 w 8079933"/>
              <a:gd name="connsiteY41044" fmla="*/ 2914861 h 4687251"/>
              <a:gd name="connsiteX41045" fmla="*/ 3875563 w 8079933"/>
              <a:gd name="connsiteY41045" fmla="*/ 2912587 h 4687251"/>
              <a:gd name="connsiteX41046" fmla="*/ 3875563 w 8079933"/>
              <a:gd name="connsiteY41046" fmla="*/ 2912586 h 4687251"/>
              <a:gd name="connsiteX41047" fmla="*/ 3872090 w 8079933"/>
              <a:gd name="connsiteY41047" fmla="*/ 2906415 h 4687251"/>
              <a:gd name="connsiteX41048" fmla="*/ 3867533 w 8079933"/>
              <a:gd name="connsiteY41048" fmla="*/ 2907498 h 4687251"/>
              <a:gd name="connsiteX41049" fmla="*/ 3866447 w 8079933"/>
              <a:gd name="connsiteY41049" fmla="*/ 2913344 h 4687251"/>
              <a:gd name="connsiteX41050" fmla="*/ 3855488 w 8079933"/>
              <a:gd name="connsiteY41050" fmla="*/ 2908148 h 4687251"/>
              <a:gd name="connsiteX41051" fmla="*/ 3843550 w 8079933"/>
              <a:gd name="connsiteY41051" fmla="*/ 2911937 h 4687251"/>
              <a:gd name="connsiteX41052" fmla="*/ 3811863 w 8079933"/>
              <a:gd name="connsiteY41052" fmla="*/ 2912154 h 4687251"/>
              <a:gd name="connsiteX41053" fmla="*/ 3802857 w 8079933"/>
              <a:gd name="connsiteY41053" fmla="*/ 2913344 h 4687251"/>
              <a:gd name="connsiteX41054" fmla="*/ 3802640 w 8079933"/>
              <a:gd name="connsiteY41054" fmla="*/ 2915727 h 4687251"/>
              <a:gd name="connsiteX41055" fmla="*/ 3786145 w 8079933"/>
              <a:gd name="connsiteY41055" fmla="*/ 2921898 h 4687251"/>
              <a:gd name="connsiteX41056" fmla="*/ 3784409 w 8079933"/>
              <a:gd name="connsiteY41056" fmla="*/ 2924172 h 4687251"/>
              <a:gd name="connsiteX41057" fmla="*/ 3779091 w 8079933"/>
              <a:gd name="connsiteY41057" fmla="*/ 2924172 h 4687251"/>
              <a:gd name="connsiteX41058" fmla="*/ 3770844 w 8079933"/>
              <a:gd name="connsiteY41058" fmla="*/ 2931426 h 4687251"/>
              <a:gd name="connsiteX41059" fmla="*/ 3768565 w 8079933"/>
              <a:gd name="connsiteY41059" fmla="*/ 2930560 h 4687251"/>
              <a:gd name="connsiteX41060" fmla="*/ 3768348 w 8079933"/>
              <a:gd name="connsiteY41060" fmla="*/ 2924930 h 4687251"/>
              <a:gd name="connsiteX41061" fmla="*/ 3766070 w 8079933"/>
              <a:gd name="connsiteY41061" fmla="*/ 2921140 h 4687251"/>
              <a:gd name="connsiteX41062" fmla="*/ 3768131 w 8079933"/>
              <a:gd name="connsiteY41062" fmla="*/ 2915619 h 4687251"/>
              <a:gd name="connsiteX41063" fmla="*/ 3766503 w 8079933"/>
              <a:gd name="connsiteY41063" fmla="*/ 2911937 h 4687251"/>
              <a:gd name="connsiteX41064" fmla="*/ 3767697 w 8079933"/>
              <a:gd name="connsiteY41064" fmla="*/ 2907823 h 4687251"/>
              <a:gd name="connsiteX41065" fmla="*/ 3769759 w 8079933"/>
              <a:gd name="connsiteY41065" fmla="*/ 2904792 h 4687251"/>
              <a:gd name="connsiteX41066" fmla="*/ 3768131 w 8079933"/>
              <a:gd name="connsiteY41066" fmla="*/ 2901868 h 4687251"/>
              <a:gd name="connsiteX41067" fmla="*/ 3771387 w 8079933"/>
              <a:gd name="connsiteY41067" fmla="*/ 2899270 h 4687251"/>
              <a:gd name="connsiteX41068" fmla="*/ 3769976 w 8079933"/>
              <a:gd name="connsiteY41068" fmla="*/ 2894505 h 4687251"/>
              <a:gd name="connsiteX41069" fmla="*/ 3766720 w 8079933"/>
              <a:gd name="connsiteY41069" fmla="*/ 2894289 h 4687251"/>
              <a:gd name="connsiteX41070" fmla="*/ 3763357 w 8079933"/>
              <a:gd name="connsiteY41070" fmla="*/ 2892015 h 4687251"/>
              <a:gd name="connsiteX41071" fmla="*/ 3761729 w 8079933"/>
              <a:gd name="connsiteY41071" fmla="*/ 2887143 h 4687251"/>
              <a:gd name="connsiteX41072" fmla="*/ 3758691 w 8079933"/>
              <a:gd name="connsiteY41072" fmla="*/ 2885844 h 4687251"/>
              <a:gd name="connsiteX41073" fmla="*/ 3757563 w 8079933"/>
              <a:gd name="connsiteY41073" fmla="*/ 2886094 h 4687251"/>
              <a:gd name="connsiteX41074" fmla="*/ 3758690 w 8079933"/>
              <a:gd name="connsiteY41074" fmla="*/ 2885844 h 4687251"/>
              <a:gd name="connsiteX41075" fmla="*/ 3761728 w 8079933"/>
              <a:gd name="connsiteY41075" fmla="*/ 2887144 h 4687251"/>
              <a:gd name="connsiteX41076" fmla="*/ 3763356 w 8079933"/>
              <a:gd name="connsiteY41076" fmla="*/ 2892015 h 4687251"/>
              <a:gd name="connsiteX41077" fmla="*/ 3766720 w 8079933"/>
              <a:gd name="connsiteY41077" fmla="*/ 2894289 h 4687251"/>
              <a:gd name="connsiteX41078" fmla="*/ 3769975 w 8079933"/>
              <a:gd name="connsiteY41078" fmla="*/ 2894506 h 4687251"/>
              <a:gd name="connsiteX41079" fmla="*/ 3771386 w 8079933"/>
              <a:gd name="connsiteY41079" fmla="*/ 2899270 h 4687251"/>
              <a:gd name="connsiteX41080" fmla="*/ 3768130 w 8079933"/>
              <a:gd name="connsiteY41080" fmla="*/ 2901868 h 4687251"/>
              <a:gd name="connsiteX41081" fmla="*/ 3769759 w 8079933"/>
              <a:gd name="connsiteY41081" fmla="*/ 2904792 h 4687251"/>
              <a:gd name="connsiteX41082" fmla="*/ 3767697 w 8079933"/>
              <a:gd name="connsiteY41082" fmla="*/ 2907823 h 4687251"/>
              <a:gd name="connsiteX41083" fmla="*/ 3766503 w 8079933"/>
              <a:gd name="connsiteY41083" fmla="*/ 2911937 h 4687251"/>
              <a:gd name="connsiteX41084" fmla="*/ 3768130 w 8079933"/>
              <a:gd name="connsiteY41084" fmla="*/ 2915619 h 4687251"/>
              <a:gd name="connsiteX41085" fmla="*/ 3766069 w 8079933"/>
              <a:gd name="connsiteY41085" fmla="*/ 2921140 h 4687251"/>
              <a:gd name="connsiteX41086" fmla="*/ 3768347 w 8079933"/>
              <a:gd name="connsiteY41086" fmla="*/ 2924930 h 4687251"/>
              <a:gd name="connsiteX41087" fmla="*/ 3768565 w 8079933"/>
              <a:gd name="connsiteY41087" fmla="*/ 2930560 h 4687251"/>
              <a:gd name="connsiteX41088" fmla="*/ 3744909 w 8079933"/>
              <a:gd name="connsiteY41088" fmla="*/ 2922007 h 4687251"/>
              <a:gd name="connsiteX41089" fmla="*/ 3726678 w 8079933"/>
              <a:gd name="connsiteY41089" fmla="*/ 2908473 h 4687251"/>
              <a:gd name="connsiteX41090" fmla="*/ 3721578 w 8079933"/>
              <a:gd name="connsiteY41090" fmla="*/ 2907931 h 4687251"/>
              <a:gd name="connsiteX41091" fmla="*/ 3706819 w 8079933"/>
              <a:gd name="connsiteY41091" fmla="*/ 2893207 h 4687251"/>
              <a:gd name="connsiteX41092" fmla="*/ 3705734 w 8079933"/>
              <a:gd name="connsiteY41092" fmla="*/ 2892448 h 4687251"/>
              <a:gd name="connsiteX41093" fmla="*/ 3696836 w 8079933"/>
              <a:gd name="connsiteY41093" fmla="*/ 2886493 h 4687251"/>
              <a:gd name="connsiteX41094" fmla="*/ 3693255 w 8079933"/>
              <a:gd name="connsiteY41094" fmla="*/ 2886277 h 4687251"/>
              <a:gd name="connsiteX41095" fmla="*/ 3687069 w 8079933"/>
              <a:gd name="connsiteY41095" fmla="*/ 2877616 h 4687251"/>
              <a:gd name="connsiteX41096" fmla="*/ 3683054 w 8079933"/>
              <a:gd name="connsiteY41096" fmla="*/ 2875883 h 4687251"/>
              <a:gd name="connsiteX41097" fmla="*/ 3684899 w 8079933"/>
              <a:gd name="connsiteY41097" fmla="*/ 2872418 h 4687251"/>
              <a:gd name="connsiteX41098" fmla="*/ 3684139 w 8079933"/>
              <a:gd name="connsiteY41098" fmla="*/ 2871985 h 4687251"/>
              <a:gd name="connsiteX41099" fmla="*/ 3681318 w 8079933"/>
              <a:gd name="connsiteY41099" fmla="*/ 2870469 h 4687251"/>
              <a:gd name="connsiteX41100" fmla="*/ 3675133 w 8079933"/>
              <a:gd name="connsiteY41100" fmla="*/ 2870469 h 4687251"/>
              <a:gd name="connsiteX41101" fmla="*/ 3675133 w 8079933"/>
              <a:gd name="connsiteY41101" fmla="*/ 2870470 h 4687251"/>
              <a:gd name="connsiteX41102" fmla="*/ 3672203 w 8079933"/>
              <a:gd name="connsiteY41102" fmla="*/ 2870470 h 4687251"/>
              <a:gd name="connsiteX41103" fmla="*/ 3659507 w 8079933"/>
              <a:gd name="connsiteY41103" fmla="*/ 2863865 h 4687251"/>
              <a:gd name="connsiteX41104" fmla="*/ 3654082 w 8079933"/>
              <a:gd name="connsiteY41104" fmla="*/ 2862458 h 4687251"/>
              <a:gd name="connsiteX41105" fmla="*/ 3655383 w 8079933"/>
              <a:gd name="connsiteY41105" fmla="*/ 2859643 h 4687251"/>
              <a:gd name="connsiteX41106" fmla="*/ 3652020 w 8079933"/>
              <a:gd name="connsiteY41106" fmla="*/ 2855745 h 4687251"/>
              <a:gd name="connsiteX41107" fmla="*/ 3648981 w 8079933"/>
              <a:gd name="connsiteY41107" fmla="*/ 2852821 h 4687251"/>
              <a:gd name="connsiteX41108" fmla="*/ 3650934 w 8079933"/>
              <a:gd name="connsiteY41108" fmla="*/ 2848707 h 4687251"/>
              <a:gd name="connsiteX41109" fmla="*/ 3650825 w 8079933"/>
              <a:gd name="connsiteY41109" fmla="*/ 2847625 h 4687251"/>
              <a:gd name="connsiteX41110" fmla="*/ 3646051 w 8079933"/>
              <a:gd name="connsiteY41110" fmla="*/ 2849465 h 4687251"/>
              <a:gd name="connsiteX41111" fmla="*/ 3640734 w 8079933"/>
              <a:gd name="connsiteY41111" fmla="*/ 2843727 h 4687251"/>
              <a:gd name="connsiteX41112" fmla="*/ 3640734 w 8079933"/>
              <a:gd name="connsiteY41112" fmla="*/ 2838313 h 4687251"/>
              <a:gd name="connsiteX41113" fmla="*/ 3638238 w 8079933"/>
              <a:gd name="connsiteY41113" fmla="*/ 2830735 h 4687251"/>
              <a:gd name="connsiteX41114" fmla="*/ 3633680 w 8079933"/>
              <a:gd name="connsiteY41114" fmla="*/ 2829976 h 4687251"/>
              <a:gd name="connsiteX41115" fmla="*/ 3631944 w 8079933"/>
              <a:gd name="connsiteY41115" fmla="*/ 2826187 h 4687251"/>
              <a:gd name="connsiteX41116" fmla="*/ 3635199 w 8079933"/>
              <a:gd name="connsiteY41116" fmla="*/ 2820124 h 4687251"/>
              <a:gd name="connsiteX41117" fmla="*/ 3631727 w 8079933"/>
              <a:gd name="connsiteY41117" fmla="*/ 2818283 h 4687251"/>
              <a:gd name="connsiteX41118" fmla="*/ 3632052 w 8079933"/>
              <a:gd name="connsiteY41118" fmla="*/ 2814710 h 4687251"/>
              <a:gd name="connsiteX41119" fmla="*/ 3634657 w 8079933"/>
              <a:gd name="connsiteY41119" fmla="*/ 2810162 h 4687251"/>
              <a:gd name="connsiteX41120" fmla="*/ 3634331 w 8079933"/>
              <a:gd name="connsiteY41120" fmla="*/ 2809947 h 4687251"/>
              <a:gd name="connsiteX41121" fmla="*/ 3638130 w 8079933"/>
              <a:gd name="connsiteY41121" fmla="*/ 2809621 h 4687251"/>
              <a:gd name="connsiteX41122" fmla="*/ 3645509 w 8079933"/>
              <a:gd name="connsiteY41122" fmla="*/ 2805832 h 4687251"/>
              <a:gd name="connsiteX41123" fmla="*/ 3645509 w 8079933"/>
              <a:gd name="connsiteY41123" fmla="*/ 2802584 h 4687251"/>
              <a:gd name="connsiteX41124" fmla="*/ 3652128 w 8079933"/>
              <a:gd name="connsiteY41124" fmla="*/ 2796845 h 4687251"/>
              <a:gd name="connsiteX41125" fmla="*/ 3655818 w 8079933"/>
              <a:gd name="connsiteY41125" fmla="*/ 2792731 h 4687251"/>
              <a:gd name="connsiteX41126" fmla="*/ 3662003 w 8079933"/>
              <a:gd name="connsiteY41126" fmla="*/ 2790133 h 4687251"/>
              <a:gd name="connsiteX41127" fmla="*/ 3682187 w 8079933"/>
              <a:gd name="connsiteY41127" fmla="*/ 2790133 h 4687251"/>
              <a:gd name="connsiteX41128" fmla="*/ 3682187 w 8079933"/>
              <a:gd name="connsiteY41128" fmla="*/ 2790132 h 4687251"/>
              <a:gd name="connsiteX41129" fmla="*/ 3662002 w 8079933"/>
              <a:gd name="connsiteY41129" fmla="*/ 2790132 h 4687251"/>
              <a:gd name="connsiteX41130" fmla="*/ 3655817 w 8079933"/>
              <a:gd name="connsiteY41130" fmla="*/ 2792731 h 4687251"/>
              <a:gd name="connsiteX41131" fmla="*/ 3652127 w 8079933"/>
              <a:gd name="connsiteY41131" fmla="*/ 2796845 h 4687251"/>
              <a:gd name="connsiteX41132" fmla="*/ 3645508 w 8079933"/>
              <a:gd name="connsiteY41132" fmla="*/ 2802583 h 4687251"/>
              <a:gd name="connsiteX41133" fmla="*/ 3645508 w 8079933"/>
              <a:gd name="connsiteY41133" fmla="*/ 2805831 h 4687251"/>
              <a:gd name="connsiteX41134" fmla="*/ 3638129 w 8079933"/>
              <a:gd name="connsiteY41134" fmla="*/ 2809621 h 4687251"/>
              <a:gd name="connsiteX41135" fmla="*/ 3634331 w 8079933"/>
              <a:gd name="connsiteY41135" fmla="*/ 2809946 h 4687251"/>
              <a:gd name="connsiteX41136" fmla="*/ 3630858 w 8079933"/>
              <a:gd name="connsiteY41136" fmla="*/ 2807131 h 4687251"/>
              <a:gd name="connsiteX41137" fmla="*/ 3624347 w 8079933"/>
              <a:gd name="connsiteY41137" fmla="*/ 2803666 h 4687251"/>
              <a:gd name="connsiteX41138" fmla="*/ 3622502 w 8079933"/>
              <a:gd name="connsiteY41138" fmla="*/ 2796412 h 4687251"/>
              <a:gd name="connsiteX41139" fmla="*/ 3617402 w 8079933"/>
              <a:gd name="connsiteY41139" fmla="*/ 2796304 h 4687251"/>
              <a:gd name="connsiteX41140" fmla="*/ 3615232 w 8079933"/>
              <a:gd name="connsiteY41140" fmla="*/ 2794138 h 4687251"/>
              <a:gd name="connsiteX41141" fmla="*/ 3615449 w 8079933"/>
              <a:gd name="connsiteY41141" fmla="*/ 2790349 h 4687251"/>
              <a:gd name="connsiteX41142" fmla="*/ 3617294 w 8079933"/>
              <a:gd name="connsiteY41142" fmla="*/ 2788508 h 4687251"/>
              <a:gd name="connsiteX41143" fmla="*/ 3613279 w 8079933"/>
              <a:gd name="connsiteY41143" fmla="*/ 2786668 h 4687251"/>
              <a:gd name="connsiteX41144" fmla="*/ 3611108 w 8079933"/>
              <a:gd name="connsiteY41144" fmla="*/ 2789808 h 4687251"/>
              <a:gd name="connsiteX41145" fmla="*/ 3607527 w 8079933"/>
              <a:gd name="connsiteY41145" fmla="*/ 2788400 h 4687251"/>
              <a:gd name="connsiteX41146" fmla="*/ 3602102 w 8079933"/>
              <a:gd name="connsiteY41146" fmla="*/ 2787967 h 4687251"/>
              <a:gd name="connsiteX41147" fmla="*/ 3596676 w 8079933"/>
              <a:gd name="connsiteY41147" fmla="*/ 2780604 h 4687251"/>
              <a:gd name="connsiteX41148" fmla="*/ 3598846 w 8079933"/>
              <a:gd name="connsiteY41148" fmla="*/ 2771727 h 4687251"/>
              <a:gd name="connsiteX41149" fmla="*/ 3595048 w 8079933"/>
              <a:gd name="connsiteY41149" fmla="*/ 2767612 h 4687251"/>
              <a:gd name="connsiteX41150" fmla="*/ 3594614 w 8079933"/>
              <a:gd name="connsiteY41150" fmla="*/ 2767721 h 4687251"/>
              <a:gd name="connsiteX41151" fmla="*/ 3594614 w 8079933"/>
              <a:gd name="connsiteY41151" fmla="*/ 2767720 h 4687251"/>
              <a:gd name="connsiteX41152" fmla="*/ 3588862 w 8079933"/>
              <a:gd name="connsiteY41152" fmla="*/ 2769344 h 4687251"/>
              <a:gd name="connsiteX41153" fmla="*/ 3587777 w 8079933"/>
              <a:gd name="connsiteY41153" fmla="*/ 2767937 h 4687251"/>
              <a:gd name="connsiteX41154" fmla="*/ 3588103 w 8079933"/>
              <a:gd name="connsiteY41154" fmla="*/ 2763931 h 4687251"/>
              <a:gd name="connsiteX41155" fmla="*/ 3578011 w 8079933"/>
              <a:gd name="connsiteY41155" fmla="*/ 2765014 h 4687251"/>
              <a:gd name="connsiteX41156" fmla="*/ 3583654 w 8079933"/>
              <a:gd name="connsiteY41156" fmla="*/ 2758950 h 4687251"/>
              <a:gd name="connsiteX41157" fmla="*/ 3580941 w 8079933"/>
              <a:gd name="connsiteY41157" fmla="*/ 2758734 h 4687251"/>
              <a:gd name="connsiteX41158" fmla="*/ 3582351 w 8079933"/>
              <a:gd name="connsiteY41158" fmla="*/ 2756569 h 4687251"/>
              <a:gd name="connsiteX41159" fmla="*/ 3580182 w 8079933"/>
              <a:gd name="connsiteY41159" fmla="*/ 2754187 h 4687251"/>
              <a:gd name="connsiteX41160" fmla="*/ 3576166 w 8079933"/>
              <a:gd name="connsiteY41160" fmla="*/ 2753753 h 4687251"/>
              <a:gd name="connsiteX41161" fmla="*/ 3574755 w 8079933"/>
              <a:gd name="connsiteY41161" fmla="*/ 2751696 h 4687251"/>
              <a:gd name="connsiteX41162" fmla="*/ 3586692 w 8079933"/>
              <a:gd name="connsiteY41162" fmla="*/ 2751479 h 4687251"/>
              <a:gd name="connsiteX41163" fmla="*/ 3588646 w 8079933"/>
              <a:gd name="connsiteY41163" fmla="*/ 2750072 h 4687251"/>
              <a:gd name="connsiteX41164" fmla="*/ 3582135 w 8079933"/>
              <a:gd name="connsiteY41164" fmla="*/ 2746499 h 4687251"/>
              <a:gd name="connsiteX41165" fmla="*/ 3576383 w 8079933"/>
              <a:gd name="connsiteY41165" fmla="*/ 2747690 h 4687251"/>
              <a:gd name="connsiteX41166" fmla="*/ 3570197 w 8079933"/>
              <a:gd name="connsiteY41166" fmla="*/ 2749964 h 4687251"/>
              <a:gd name="connsiteX41167" fmla="*/ 3567484 w 8079933"/>
              <a:gd name="connsiteY41167" fmla="*/ 2749422 h 4687251"/>
              <a:gd name="connsiteX41168" fmla="*/ 3566291 w 8079933"/>
              <a:gd name="connsiteY41168" fmla="*/ 2746824 h 4687251"/>
              <a:gd name="connsiteX41169" fmla="*/ 3561408 w 8079933"/>
              <a:gd name="connsiteY41169" fmla="*/ 2746499 h 4687251"/>
              <a:gd name="connsiteX41170" fmla="*/ 3557067 w 8079933"/>
              <a:gd name="connsiteY41170" fmla="*/ 2742169 h 4687251"/>
              <a:gd name="connsiteX41171" fmla="*/ 3561408 w 8079933"/>
              <a:gd name="connsiteY41171" fmla="*/ 2738920 h 4687251"/>
              <a:gd name="connsiteX41172" fmla="*/ 3558152 w 8079933"/>
              <a:gd name="connsiteY41172" fmla="*/ 2738595 h 4687251"/>
              <a:gd name="connsiteX41173" fmla="*/ 3550122 w 8079933"/>
              <a:gd name="connsiteY41173" fmla="*/ 2738163 h 4687251"/>
              <a:gd name="connsiteX41174" fmla="*/ 3548169 w 8079933"/>
              <a:gd name="connsiteY41174" fmla="*/ 2734589 h 4687251"/>
              <a:gd name="connsiteX41175" fmla="*/ 3548169 w 8079933"/>
              <a:gd name="connsiteY41175" fmla="*/ 2734481 h 4687251"/>
              <a:gd name="connsiteX41176" fmla="*/ 3554029 w 8079933"/>
              <a:gd name="connsiteY41176" fmla="*/ 2736322 h 4687251"/>
              <a:gd name="connsiteX41177" fmla="*/ 3554029 w 8079933"/>
              <a:gd name="connsiteY41177" fmla="*/ 2736322 h 4687251"/>
              <a:gd name="connsiteX41178" fmla="*/ 3548169 w 8079933"/>
              <a:gd name="connsiteY41178" fmla="*/ 2734481 h 4687251"/>
              <a:gd name="connsiteX41179" fmla="*/ 3548386 w 8079933"/>
              <a:gd name="connsiteY41179" fmla="*/ 2729826 h 4687251"/>
              <a:gd name="connsiteX41180" fmla="*/ 3546541 w 8079933"/>
              <a:gd name="connsiteY41180" fmla="*/ 2728310 h 4687251"/>
              <a:gd name="connsiteX41181" fmla="*/ 3550556 w 8079933"/>
              <a:gd name="connsiteY41181" fmla="*/ 2729393 h 4687251"/>
              <a:gd name="connsiteX41182" fmla="*/ 3553052 w 8079933"/>
              <a:gd name="connsiteY41182" fmla="*/ 2730259 h 4687251"/>
              <a:gd name="connsiteX41183" fmla="*/ 3558261 w 8079933"/>
              <a:gd name="connsiteY41183" fmla="*/ 2727010 h 4687251"/>
              <a:gd name="connsiteX41184" fmla="*/ 3550122 w 8079933"/>
              <a:gd name="connsiteY41184" fmla="*/ 2724087 h 4687251"/>
              <a:gd name="connsiteX41185" fmla="*/ 3544696 w 8079933"/>
              <a:gd name="connsiteY41185" fmla="*/ 2727010 h 4687251"/>
              <a:gd name="connsiteX41186" fmla="*/ 3543503 w 8079933"/>
              <a:gd name="connsiteY41186" fmla="*/ 2725170 h 4687251"/>
              <a:gd name="connsiteX41187" fmla="*/ 3545781 w 8079933"/>
              <a:gd name="connsiteY41187" fmla="*/ 2722679 h 4687251"/>
              <a:gd name="connsiteX41188" fmla="*/ 3545781 w 8079933"/>
              <a:gd name="connsiteY41188" fmla="*/ 2717266 h 4687251"/>
              <a:gd name="connsiteX41189" fmla="*/ 3548278 w 8079933"/>
              <a:gd name="connsiteY41189" fmla="*/ 2714776 h 4687251"/>
              <a:gd name="connsiteX41190" fmla="*/ 3562927 w 8079933"/>
              <a:gd name="connsiteY41190" fmla="*/ 2714776 h 4687251"/>
              <a:gd name="connsiteX41191" fmla="*/ 3567051 w 8079933"/>
              <a:gd name="connsiteY41191" fmla="*/ 2710120 h 4687251"/>
              <a:gd name="connsiteX41192" fmla="*/ 3571500 w 8079933"/>
              <a:gd name="connsiteY41192" fmla="*/ 2708930 h 4687251"/>
              <a:gd name="connsiteX41193" fmla="*/ 3576709 w 8079933"/>
              <a:gd name="connsiteY41193" fmla="*/ 2705465 h 4687251"/>
              <a:gd name="connsiteX41194" fmla="*/ 3577143 w 8079933"/>
              <a:gd name="connsiteY41194" fmla="*/ 2705577 h 4687251"/>
              <a:gd name="connsiteX41195" fmla="*/ 3576708 w 8079933"/>
              <a:gd name="connsiteY41195" fmla="*/ 2705464 h 4687251"/>
              <a:gd name="connsiteX41196" fmla="*/ 3571499 w 8079933"/>
              <a:gd name="connsiteY41196" fmla="*/ 2708929 h 4687251"/>
              <a:gd name="connsiteX41197" fmla="*/ 3567050 w 8079933"/>
              <a:gd name="connsiteY41197" fmla="*/ 2710120 h 4687251"/>
              <a:gd name="connsiteX41198" fmla="*/ 3562926 w 8079933"/>
              <a:gd name="connsiteY41198" fmla="*/ 2714776 h 4687251"/>
              <a:gd name="connsiteX41199" fmla="*/ 3548276 w 8079933"/>
              <a:gd name="connsiteY41199" fmla="*/ 2714776 h 4687251"/>
              <a:gd name="connsiteX41200" fmla="*/ 3545781 w 8079933"/>
              <a:gd name="connsiteY41200" fmla="*/ 2717266 h 4687251"/>
              <a:gd name="connsiteX41201" fmla="*/ 3545781 w 8079933"/>
              <a:gd name="connsiteY41201" fmla="*/ 2715425 h 4687251"/>
              <a:gd name="connsiteX41202" fmla="*/ 3543068 w 8079933"/>
              <a:gd name="connsiteY41202" fmla="*/ 2712069 h 4687251"/>
              <a:gd name="connsiteX41203" fmla="*/ 3547300 w 8079933"/>
              <a:gd name="connsiteY41203" fmla="*/ 2707847 h 4687251"/>
              <a:gd name="connsiteX41204" fmla="*/ 3552183 w 8079933"/>
              <a:gd name="connsiteY41204" fmla="*/ 2714018 h 4687251"/>
              <a:gd name="connsiteX41205" fmla="*/ 3558694 w 8079933"/>
              <a:gd name="connsiteY41205" fmla="*/ 2713801 h 4687251"/>
              <a:gd name="connsiteX41206" fmla="*/ 3562275 w 8079933"/>
              <a:gd name="connsiteY41206" fmla="*/ 2710445 h 4687251"/>
              <a:gd name="connsiteX41207" fmla="*/ 3556849 w 8079933"/>
              <a:gd name="connsiteY41207" fmla="*/ 2711852 h 4687251"/>
              <a:gd name="connsiteX41208" fmla="*/ 3550664 w 8079933"/>
              <a:gd name="connsiteY41208" fmla="*/ 2708821 h 4687251"/>
              <a:gd name="connsiteX41209" fmla="*/ 3549579 w 8079933"/>
              <a:gd name="connsiteY41209" fmla="*/ 2705140 h 4687251"/>
              <a:gd name="connsiteX41210" fmla="*/ 3549579 w 8079933"/>
              <a:gd name="connsiteY41210" fmla="*/ 2705140 h 4687251"/>
              <a:gd name="connsiteX41211" fmla="*/ 3548929 w 8079933"/>
              <a:gd name="connsiteY41211" fmla="*/ 2703191 h 4687251"/>
              <a:gd name="connsiteX41212" fmla="*/ 3552184 w 8079933"/>
              <a:gd name="connsiteY41212" fmla="*/ 2700809 h 4687251"/>
              <a:gd name="connsiteX41213" fmla="*/ 3546216 w 8079933"/>
              <a:gd name="connsiteY41213" fmla="*/ 2697020 h 4687251"/>
              <a:gd name="connsiteX41214" fmla="*/ 3548169 w 8079933"/>
              <a:gd name="connsiteY41214" fmla="*/ 2696695 h 4687251"/>
              <a:gd name="connsiteX41215" fmla="*/ 3548169 w 8079933"/>
              <a:gd name="connsiteY41215" fmla="*/ 2691823 h 4687251"/>
              <a:gd name="connsiteX41216" fmla="*/ 3543720 w 8079933"/>
              <a:gd name="connsiteY41216" fmla="*/ 2691065 h 4687251"/>
              <a:gd name="connsiteX41217" fmla="*/ 3538402 w 8079933"/>
              <a:gd name="connsiteY41217" fmla="*/ 2681862 h 4687251"/>
              <a:gd name="connsiteX41218" fmla="*/ 3530264 w 8079933"/>
              <a:gd name="connsiteY41218" fmla="*/ 2675366 h 4687251"/>
              <a:gd name="connsiteX41219" fmla="*/ 3545239 w 8079933"/>
              <a:gd name="connsiteY41219" fmla="*/ 2661723 h 4687251"/>
              <a:gd name="connsiteX41220" fmla="*/ 3551424 w 8079933"/>
              <a:gd name="connsiteY41220" fmla="*/ 2650464 h 4687251"/>
              <a:gd name="connsiteX41221" fmla="*/ 3552510 w 8079933"/>
              <a:gd name="connsiteY41221" fmla="*/ 2642668 h 4687251"/>
              <a:gd name="connsiteX41222" fmla="*/ 3556525 w 8079933"/>
              <a:gd name="connsiteY41222" fmla="*/ 2639637 h 4687251"/>
              <a:gd name="connsiteX41223" fmla="*/ 3559997 w 8079933"/>
              <a:gd name="connsiteY41223" fmla="*/ 2639637 h 4687251"/>
              <a:gd name="connsiteX41224" fmla="*/ 3564772 w 8079933"/>
              <a:gd name="connsiteY41224" fmla="*/ 2634981 h 4687251"/>
              <a:gd name="connsiteX41225" fmla="*/ 3577685 w 8079933"/>
              <a:gd name="connsiteY41225" fmla="*/ 2632924 h 4687251"/>
              <a:gd name="connsiteX41226" fmla="*/ 3590056 w 8079933"/>
              <a:gd name="connsiteY41226" fmla="*/ 2628160 h 4687251"/>
              <a:gd name="connsiteX41227" fmla="*/ 3590056 w 8079933"/>
              <a:gd name="connsiteY41227" fmla="*/ 2628160 h 4687251"/>
              <a:gd name="connsiteX41228" fmla="*/ 3577685 w 8079933"/>
              <a:gd name="connsiteY41228" fmla="*/ 2632923 h 4687251"/>
              <a:gd name="connsiteX41229" fmla="*/ 3564772 w 8079933"/>
              <a:gd name="connsiteY41229" fmla="*/ 2634981 h 4687251"/>
              <a:gd name="connsiteX41230" fmla="*/ 3559997 w 8079933"/>
              <a:gd name="connsiteY41230" fmla="*/ 2639636 h 4687251"/>
              <a:gd name="connsiteX41231" fmla="*/ 3556524 w 8079933"/>
              <a:gd name="connsiteY41231" fmla="*/ 2639636 h 4687251"/>
              <a:gd name="connsiteX41232" fmla="*/ 3552509 w 8079933"/>
              <a:gd name="connsiteY41232" fmla="*/ 2642668 h 4687251"/>
              <a:gd name="connsiteX41233" fmla="*/ 3553811 w 8079933"/>
              <a:gd name="connsiteY41233" fmla="*/ 2633032 h 4687251"/>
              <a:gd name="connsiteX41234" fmla="*/ 3557609 w 8079933"/>
              <a:gd name="connsiteY41234" fmla="*/ 2618199 h 4687251"/>
              <a:gd name="connsiteX41235" fmla="*/ 3563361 w 8079933"/>
              <a:gd name="connsiteY41235" fmla="*/ 2610079 h 4687251"/>
              <a:gd name="connsiteX41236" fmla="*/ 3564988 w 8079933"/>
              <a:gd name="connsiteY41236" fmla="*/ 2592971 h 4687251"/>
              <a:gd name="connsiteX41237" fmla="*/ 3560322 w 8079933"/>
              <a:gd name="connsiteY41237" fmla="*/ 2568178 h 4687251"/>
              <a:gd name="connsiteX41238" fmla="*/ 3553378 w 8079933"/>
              <a:gd name="connsiteY41238" fmla="*/ 2557675 h 4687251"/>
              <a:gd name="connsiteX41239" fmla="*/ 3556091 w 8079933"/>
              <a:gd name="connsiteY41239" fmla="*/ 2555727 h 4687251"/>
              <a:gd name="connsiteX41240" fmla="*/ 3559346 w 8079933"/>
              <a:gd name="connsiteY41240" fmla="*/ 2555727 h 4687251"/>
              <a:gd name="connsiteX41241" fmla="*/ 3560974 w 8079933"/>
              <a:gd name="connsiteY41241" fmla="*/ 2547606 h 4687251"/>
              <a:gd name="connsiteX41242" fmla="*/ 3559237 w 8079933"/>
              <a:gd name="connsiteY41242" fmla="*/ 2542518 h 4687251"/>
              <a:gd name="connsiteX41243" fmla="*/ 3562275 w 8079933"/>
              <a:gd name="connsiteY41243" fmla="*/ 2539486 h 4687251"/>
              <a:gd name="connsiteX41244" fmla="*/ 3555439 w 8079933"/>
              <a:gd name="connsiteY41244" fmla="*/ 2529200 h 4687251"/>
              <a:gd name="connsiteX41245" fmla="*/ 3552509 w 8079933"/>
              <a:gd name="connsiteY41245" fmla="*/ 2531582 h 4687251"/>
              <a:gd name="connsiteX41246" fmla="*/ 3550556 w 8079933"/>
              <a:gd name="connsiteY41246" fmla="*/ 2530500 h 4687251"/>
              <a:gd name="connsiteX41247" fmla="*/ 3548494 w 8079933"/>
              <a:gd name="connsiteY41247" fmla="*/ 2524761 h 4687251"/>
              <a:gd name="connsiteX41248" fmla="*/ 3543285 w 8079933"/>
              <a:gd name="connsiteY41248" fmla="*/ 2530608 h 4687251"/>
              <a:gd name="connsiteX41249" fmla="*/ 3542960 w 8079933"/>
              <a:gd name="connsiteY41249" fmla="*/ 2521405 h 4687251"/>
              <a:gd name="connsiteX41250" fmla="*/ 3545239 w 8079933"/>
              <a:gd name="connsiteY41250" fmla="*/ 2516207 h 4687251"/>
              <a:gd name="connsiteX41251" fmla="*/ 3545239 w 8079933"/>
              <a:gd name="connsiteY41251" fmla="*/ 2515233 h 4687251"/>
              <a:gd name="connsiteX41252" fmla="*/ 3640950 w 8079933"/>
              <a:gd name="connsiteY41252" fmla="*/ 2514367 h 4687251"/>
              <a:gd name="connsiteX41253" fmla="*/ 3640950 w 8079933"/>
              <a:gd name="connsiteY41253" fmla="*/ 2514366 h 4687251"/>
              <a:gd name="connsiteX41254" fmla="*/ 3545238 w 8079933"/>
              <a:gd name="connsiteY41254" fmla="*/ 2515233 h 4687251"/>
              <a:gd name="connsiteX41255" fmla="*/ 3544696 w 8079933"/>
              <a:gd name="connsiteY41255" fmla="*/ 2507329 h 4687251"/>
              <a:gd name="connsiteX41256" fmla="*/ 3547300 w 8079933"/>
              <a:gd name="connsiteY41256" fmla="*/ 2502349 h 4687251"/>
              <a:gd name="connsiteX41257" fmla="*/ 3546866 w 8079933"/>
              <a:gd name="connsiteY41257" fmla="*/ 2496394 h 4687251"/>
              <a:gd name="connsiteX41258" fmla="*/ 3550339 w 8079933"/>
              <a:gd name="connsiteY41258" fmla="*/ 2492712 h 4687251"/>
              <a:gd name="connsiteX41259" fmla="*/ 3553269 w 8079933"/>
              <a:gd name="connsiteY41259" fmla="*/ 2492063 h 4687251"/>
              <a:gd name="connsiteX41260" fmla="*/ 3560865 w 8079933"/>
              <a:gd name="connsiteY41260" fmla="*/ 2478204 h 4687251"/>
              <a:gd name="connsiteX41261" fmla="*/ 3564988 w 8079933"/>
              <a:gd name="connsiteY41261" fmla="*/ 2476580 h 4687251"/>
              <a:gd name="connsiteX41262" fmla="*/ 3562058 w 8079933"/>
              <a:gd name="connsiteY41262" fmla="*/ 2474415 h 4687251"/>
              <a:gd name="connsiteX41263" fmla="*/ 3562493 w 8079933"/>
              <a:gd name="connsiteY41263" fmla="*/ 2472033 h 4687251"/>
              <a:gd name="connsiteX41264" fmla="*/ 3572042 w 8079933"/>
              <a:gd name="connsiteY41264" fmla="*/ 2459365 h 4687251"/>
              <a:gd name="connsiteX41265" fmla="*/ 3571499 w 8079933"/>
              <a:gd name="connsiteY41265" fmla="*/ 2455792 h 4687251"/>
              <a:gd name="connsiteX41266" fmla="*/ 3577468 w 8079933"/>
              <a:gd name="connsiteY41266" fmla="*/ 2442800 h 4687251"/>
              <a:gd name="connsiteX41267" fmla="*/ 3580940 w 8079933"/>
              <a:gd name="connsiteY41267" fmla="*/ 2440959 h 4687251"/>
              <a:gd name="connsiteX41268" fmla="*/ 3592117 w 8079933"/>
              <a:gd name="connsiteY41268" fmla="*/ 2430565 h 4687251"/>
              <a:gd name="connsiteX41269" fmla="*/ 3592986 w 8079933"/>
              <a:gd name="connsiteY41269" fmla="*/ 2423636 h 4687251"/>
              <a:gd name="connsiteX41270" fmla="*/ 3607636 w 8079933"/>
              <a:gd name="connsiteY41270" fmla="*/ 2402415 h 4687251"/>
              <a:gd name="connsiteX41271" fmla="*/ 3605682 w 8079933"/>
              <a:gd name="connsiteY41271" fmla="*/ 2396244 h 4687251"/>
              <a:gd name="connsiteX41272" fmla="*/ 3612193 w 8079933"/>
              <a:gd name="connsiteY41272" fmla="*/ 2392455 h 4687251"/>
              <a:gd name="connsiteX41273" fmla="*/ 3613821 w 8079933"/>
              <a:gd name="connsiteY41273" fmla="*/ 2387690 h 4687251"/>
              <a:gd name="connsiteX41274" fmla="*/ 3630424 w 8079933"/>
              <a:gd name="connsiteY41274" fmla="*/ 2379137 h 4687251"/>
              <a:gd name="connsiteX41275" fmla="*/ 3634765 w 8079933"/>
              <a:gd name="connsiteY41275" fmla="*/ 2378921 h 4687251"/>
              <a:gd name="connsiteX41276" fmla="*/ 3634765 w 8079933"/>
              <a:gd name="connsiteY41276" fmla="*/ 2369501 h 4687251"/>
              <a:gd name="connsiteX41277" fmla="*/ 3644097 w 8079933"/>
              <a:gd name="connsiteY41277" fmla="*/ 2356617 h 4687251"/>
              <a:gd name="connsiteX41278" fmla="*/ 3644097 w 8079933"/>
              <a:gd name="connsiteY41278" fmla="*/ 2356617 h 4687251"/>
              <a:gd name="connsiteX41279" fmla="*/ 3649848 w 8079933"/>
              <a:gd name="connsiteY41279" fmla="*/ 2348605 h 4687251"/>
              <a:gd name="connsiteX41280" fmla="*/ 3673179 w 8079933"/>
              <a:gd name="connsiteY41280" fmla="*/ 2344274 h 4687251"/>
              <a:gd name="connsiteX41281" fmla="*/ 3689782 w 8079933"/>
              <a:gd name="connsiteY41281" fmla="*/ 2329333 h 4687251"/>
              <a:gd name="connsiteX41282" fmla="*/ 3697378 w 8079933"/>
              <a:gd name="connsiteY41282" fmla="*/ 2328575 h 4687251"/>
              <a:gd name="connsiteX41283" fmla="*/ 3704215 w 8079933"/>
              <a:gd name="connsiteY41283" fmla="*/ 2321213 h 4687251"/>
              <a:gd name="connsiteX41284" fmla="*/ 3705843 w 8079933"/>
              <a:gd name="connsiteY41284" fmla="*/ 2314500 h 4687251"/>
              <a:gd name="connsiteX41285" fmla="*/ 3720927 w 8079933"/>
              <a:gd name="connsiteY41285" fmla="*/ 2297501 h 4687251"/>
              <a:gd name="connsiteX41286" fmla="*/ 3722554 w 8079933"/>
              <a:gd name="connsiteY41286" fmla="*/ 2290681 h 4687251"/>
              <a:gd name="connsiteX41287" fmla="*/ 3719841 w 8079933"/>
              <a:gd name="connsiteY41287" fmla="*/ 2287216 h 4687251"/>
              <a:gd name="connsiteX41288" fmla="*/ 3717779 w 8079933"/>
              <a:gd name="connsiteY41288" fmla="*/ 2285267 h 4687251"/>
              <a:gd name="connsiteX41289" fmla="*/ 3720927 w 8079933"/>
              <a:gd name="connsiteY41289" fmla="*/ 2276389 h 4687251"/>
              <a:gd name="connsiteX41290" fmla="*/ 3716911 w 8079933"/>
              <a:gd name="connsiteY41290" fmla="*/ 2268485 h 4687251"/>
              <a:gd name="connsiteX41291" fmla="*/ 3717237 w 8079933"/>
              <a:gd name="connsiteY41291" fmla="*/ 2263179 h 4687251"/>
              <a:gd name="connsiteX41292" fmla="*/ 3723422 w 8079933"/>
              <a:gd name="connsiteY41292" fmla="*/ 2250620 h 4687251"/>
              <a:gd name="connsiteX41293" fmla="*/ 3732972 w 8079933"/>
              <a:gd name="connsiteY41293" fmla="*/ 2241959 h 4687251"/>
              <a:gd name="connsiteX41294" fmla="*/ 3733623 w 8079933"/>
              <a:gd name="connsiteY41294" fmla="*/ 2236220 h 4687251"/>
              <a:gd name="connsiteX41295" fmla="*/ 3729825 w 8079933"/>
              <a:gd name="connsiteY41295" fmla="*/ 2227884 h 4687251"/>
              <a:gd name="connsiteX41296" fmla="*/ 3740785 w 8079933"/>
              <a:gd name="connsiteY41296" fmla="*/ 2220088 h 4687251"/>
              <a:gd name="connsiteX41297" fmla="*/ 3744149 w 8079933"/>
              <a:gd name="connsiteY41297" fmla="*/ 2214999 h 4687251"/>
              <a:gd name="connsiteX41298" fmla="*/ 3750009 w 8079933"/>
              <a:gd name="connsiteY41298" fmla="*/ 2213050 h 4687251"/>
              <a:gd name="connsiteX41299" fmla="*/ 3759450 w 8079933"/>
              <a:gd name="connsiteY41299" fmla="*/ 2206770 h 4687251"/>
              <a:gd name="connsiteX41300" fmla="*/ 3761946 w 8079933"/>
              <a:gd name="connsiteY41300" fmla="*/ 2206662 h 4687251"/>
              <a:gd name="connsiteX41301" fmla="*/ 3768565 w 8079933"/>
              <a:gd name="connsiteY41301" fmla="*/ 2199625 h 4687251"/>
              <a:gd name="connsiteX41302" fmla="*/ 3777355 w 8079933"/>
              <a:gd name="connsiteY41302" fmla="*/ 2196701 h 4687251"/>
              <a:gd name="connsiteX41303" fmla="*/ 3782672 w 8079933"/>
              <a:gd name="connsiteY41303" fmla="*/ 2193020 h 4687251"/>
              <a:gd name="connsiteX41304" fmla="*/ 3785168 w 8079933"/>
              <a:gd name="connsiteY41304" fmla="*/ 2192803 h 4687251"/>
              <a:gd name="connsiteX41305" fmla="*/ 3796020 w 8079933"/>
              <a:gd name="connsiteY41305" fmla="*/ 2182735 h 4687251"/>
              <a:gd name="connsiteX41306" fmla="*/ 3799167 w 8079933"/>
              <a:gd name="connsiteY41306" fmla="*/ 2176563 h 4687251"/>
              <a:gd name="connsiteX41307" fmla="*/ 3800252 w 8079933"/>
              <a:gd name="connsiteY41307" fmla="*/ 2166711 h 4687251"/>
              <a:gd name="connsiteX41308" fmla="*/ 3805461 w 8079933"/>
              <a:gd name="connsiteY41308" fmla="*/ 2159997 h 4687251"/>
              <a:gd name="connsiteX41309" fmla="*/ 3806438 w 8079933"/>
              <a:gd name="connsiteY41309" fmla="*/ 2147005 h 4687251"/>
              <a:gd name="connsiteX41310" fmla="*/ 3810995 w 8079933"/>
              <a:gd name="connsiteY41310" fmla="*/ 2142024 h 4687251"/>
              <a:gd name="connsiteX41311" fmla="*/ 3814793 w 8079933"/>
              <a:gd name="connsiteY41311" fmla="*/ 2142350 h 4687251"/>
              <a:gd name="connsiteX41312" fmla="*/ 3816747 w 8079933"/>
              <a:gd name="connsiteY41312" fmla="*/ 2140509 h 4687251"/>
              <a:gd name="connsiteX41313" fmla="*/ 3821413 w 8079933"/>
              <a:gd name="connsiteY41313" fmla="*/ 2138885 h 4687251"/>
              <a:gd name="connsiteX41314" fmla="*/ 3822824 w 8079933"/>
              <a:gd name="connsiteY41314" fmla="*/ 2140726 h 4687251"/>
              <a:gd name="connsiteX41315" fmla="*/ 3821956 w 8079933"/>
              <a:gd name="connsiteY41315" fmla="*/ 2142024 h 4687251"/>
              <a:gd name="connsiteX41316" fmla="*/ 3821956 w 8079933"/>
              <a:gd name="connsiteY41316" fmla="*/ 2144732 h 4687251"/>
              <a:gd name="connsiteX41317" fmla="*/ 3823040 w 8079933"/>
              <a:gd name="connsiteY41317" fmla="*/ 2148521 h 4687251"/>
              <a:gd name="connsiteX41318" fmla="*/ 3825645 w 8079933"/>
              <a:gd name="connsiteY41318" fmla="*/ 2150470 h 4687251"/>
              <a:gd name="connsiteX41319" fmla="*/ 3832156 w 8079933"/>
              <a:gd name="connsiteY41319" fmla="*/ 2157507 h 4687251"/>
              <a:gd name="connsiteX41320" fmla="*/ 3837474 w 8079933"/>
              <a:gd name="connsiteY41320" fmla="*/ 2158590 h 4687251"/>
              <a:gd name="connsiteX41321" fmla="*/ 3844635 w 8079933"/>
              <a:gd name="connsiteY41321" fmla="*/ 2157507 h 4687251"/>
              <a:gd name="connsiteX41322" fmla="*/ 3849627 w 8079933"/>
              <a:gd name="connsiteY41322" fmla="*/ 2154909 h 4687251"/>
              <a:gd name="connsiteX41323" fmla="*/ 3853642 w 8079933"/>
              <a:gd name="connsiteY41323" fmla="*/ 2155234 h 4687251"/>
              <a:gd name="connsiteX41324" fmla="*/ 3861347 w 8079933"/>
              <a:gd name="connsiteY41324" fmla="*/ 2157291 h 4687251"/>
              <a:gd name="connsiteX41325" fmla="*/ 3868943 w 8079933"/>
              <a:gd name="connsiteY41325" fmla="*/ 2155775 h 4687251"/>
              <a:gd name="connsiteX41326" fmla="*/ 3873176 w 8079933"/>
              <a:gd name="connsiteY41326" fmla="*/ 2151119 h 4687251"/>
              <a:gd name="connsiteX41327" fmla="*/ 3873393 w 8079933"/>
              <a:gd name="connsiteY41327" fmla="*/ 2151119 h 4687251"/>
              <a:gd name="connsiteX41328" fmla="*/ 3875020 w 8079933"/>
              <a:gd name="connsiteY41328" fmla="*/ 2151661 h 4687251"/>
              <a:gd name="connsiteX41329" fmla="*/ 3876322 w 8079933"/>
              <a:gd name="connsiteY41329" fmla="*/ 2156208 h 4687251"/>
              <a:gd name="connsiteX41330" fmla="*/ 3879360 w 8079933"/>
              <a:gd name="connsiteY41330" fmla="*/ 2159240 h 4687251"/>
              <a:gd name="connsiteX41331" fmla="*/ 3892926 w 8079933"/>
              <a:gd name="connsiteY41331" fmla="*/ 2160322 h 4687251"/>
              <a:gd name="connsiteX41332" fmla="*/ 3896289 w 8079933"/>
              <a:gd name="connsiteY41332" fmla="*/ 2160215 h 4687251"/>
              <a:gd name="connsiteX41333" fmla="*/ 3897917 w 8079933"/>
              <a:gd name="connsiteY41333" fmla="*/ 2162596 h 4687251"/>
              <a:gd name="connsiteX41334" fmla="*/ 3899111 w 8079933"/>
              <a:gd name="connsiteY41334" fmla="*/ 2165519 h 4687251"/>
              <a:gd name="connsiteX41335" fmla="*/ 3901932 w 8079933"/>
              <a:gd name="connsiteY41335" fmla="*/ 2168984 h 4687251"/>
              <a:gd name="connsiteX41336" fmla="*/ 3902475 w 8079933"/>
              <a:gd name="connsiteY41336" fmla="*/ 2173315 h 4687251"/>
              <a:gd name="connsiteX41337" fmla="*/ 3901933 w 8079933"/>
              <a:gd name="connsiteY41337" fmla="*/ 2168984 h 4687251"/>
              <a:gd name="connsiteX41338" fmla="*/ 3899111 w 8079933"/>
              <a:gd name="connsiteY41338" fmla="*/ 2165519 h 4687251"/>
              <a:gd name="connsiteX41339" fmla="*/ 3897918 w 8079933"/>
              <a:gd name="connsiteY41339" fmla="*/ 2162596 h 4687251"/>
              <a:gd name="connsiteX41340" fmla="*/ 3896289 w 8079933"/>
              <a:gd name="connsiteY41340" fmla="*/ 2160214 h 4687251"/>
              <a:gd name="connsiteX41341" fmla="*/ 3902692 w 8079933"/>
              <a:gd name="connsiteY41341" fmla="*/ 2159890 h 4687251"/>
              <a:gd name="connsiteX41342" fmla="*/ 3909963 w 8079933"/>
              <a:gd name="connsiteY41342" fmla="*/ 2157508 h 4687251"/>
              <a:gd name="connsiteX41343" fmla="*/ 3914629 w 8079933"/>
              <a:gd name="connsiteY41343" fmla="*/ 2152527 h 4687251"/>
              <a:gd name="connsiteX41344" fmla="*/ 3915389 w 8079933"/>
              <a:gd name="connsiteY41344" fmla="*/ 2149712 h 4687251"/>
              <a:gd name="connsiteX41345" fmla="*/ 3918427 w 8079933"/>
              <a:gd name="connsiteY41345" fmla="*/ 2147005 h 4687251"/>
              <a:gd name="connsiteX41346" fmla="*/ 3924070 w 8079933"/>
              <a:gd name="connsiteY41346" fmla="*/ 2144082 h 4687251"/>
              <a:gd name="connsiteX41347" fmla="*/ 3930798 w 8079933"/>
              <a:gd name="connsiteY41347" fmla="*/ 2143649 h 4687251"/>
              <a:gd name="connsiteX41348" fmla="*/ 3932209 w 8079933"/>
              <a:gd name="connsiteY41348" fmla="*/ 2141808 h 4687251"/>
              <a:gd name="connsiteX41349" fmla="*/ 3934704 w 8079933"/>
              <a:gd name="connsiteY41349" fmla="*/ 2139968 h 4687251"/>
              <a:gd name="connsiteX41350" fmla="*/ 3938177 w 8079933"/>
              <a:gd name="connsiteY41350" fmla="*/ 2139860 h 4687251"/>
              <a:gd name="connsiteX41351" fmla="*/ 3939697 w 8079933"/>
              <a:gd name="connsiteY41351" fmla="*/ 2141376 h 4687251"/>
              <a:gd name="connsiteX41352" fmla="*/ 3942301 w 8079933"/>
              <a:gd name="connsiteY41352" fmla="*/ 2141376 h 4687251"/>
              <a:gd name="connsiteX41353" fmla="*/ 3945231 w 8079933"/>
              <a:gd name="connsiteY41353" fmla="*/ 2137478 h 4687251"/>
              <a:gd name="connsiteX41354" fmla="*/ 3945557 w 8079933"/>
              <a:gd name="connsiteY41354" fmla="*/ 2133796 h 4687251"/>
              <a:gd name="connsiteX41355" fmla="*/ 3951199 w 8079933"/>
              <a:gd name="connsiteY41355" fmla="*/ 2130223 h 4687251"/>
              <a:gd name="connsiteX41356" fmla="*/ 3954563 w 8079933"/>
              <a:gd name="connsiteY41356" fmla="*/ 2130223 h 4687251"/>
              <a:gd name="connsiteX41357" fmla="*/ 3961292 w 8079933"/>
              <a:gd name="connsiteY41357" fmla="*/ 2129249 h 4687251"/>
              <a:gd name="connsiteX41358" fmla="*/ 3972902 w 8079933"/>
              <a:gd name="connsiteY41358" fmla="*/ 2120371 h 4687251"/>
              <a:gd name="connsiteX41359" fmla="*/ 3978112 w 8079933"/>
              <a:gd name="connsiteY41359" fmla="*/ 2121129 h 4687251"/>
              <a:gd name="connsiteX41360" fmla="*/ 3987335 w 8079933"/>
              <a:gd name="connsiteY41360" fmla="*/ 2120695 h 4687251"/>
              <a:gd name="connsiteX41361" fmla="*/ 3992327 w 8079933"/>
              <a:gd name="connsiteY41361" fmla="*/ 2118964 h 4687251"/>
              <a:gd name="connsiteX41362" fmla="*/ 3997971 w 8079933"/>
              <a:gd name="connsiteY41362" fmla="*/ 2121995 h 4687251"/>
              <a:gd name="connsiteX41363" fmla="*/ 4001551 w 8079933"/>
              <a:gd name="connsiteY41363" fmla="*/ 2122211 h 4687251"/>
              <a:gd name="connsiteX41364" fmla="*/ 4007737 w 8079933"/>
              <a:gd name="connsiteY41364" fmla="*/ 2116256 h 4687251"/>
              <a:gd name="connsiteX41365" fmla="*/ 4012294 w 8079933"/>
              <a:gd name="connsiteY41365" fmla="*/ 2118097 h 4687251"/>
              <a:gd name="connsiteX41366" fmla="*/ 4017286 w 8079933"/>
              <a:gd name="connsiteY41366" fmla="*/ 2118097 h 4687251"/>
              <a:gd name="connsiteX41367" fmla="*/ 4019674 w 8079933"/>
              <a:gd name="connsiteY41367" fmla="*/ 2113225 h 4687251"/>
              <a:gd name="connsiteX41368" fmla="*/ 4022712 w 8079933"/>
              <a:gd name="connsiteY41368" fmla="*/ 2112467 h 4687251"/>
              <a:gd name="connsiteX41369" fmla="*/ 4027161 w 8079933"/>
              <a:gd name="connsiteY41369" fmla="*/ 2113875 h 4687251"/>
              <a:gd name="connsiteX41370" fmla="*/ 4029440 w 8079933"/>
              <a:gd name="connsiteY41370" fmla="*/ 2113333 h 4687251"/>
              <a:gd name="connsiteX41371" fmla="*/ 4034541 w 8079933"/>
              <a:gd name="connsiteY41371" fmla="*/ 2114091 h 4687251"/>
              <a:gd name="connsiteX41372" fmla="*/ 4040834 w 8079933"/>
              <a:gd name="connsiteY41372" fmla="*/ 2113009 h 4687251"/>
              <a:gd name="connsiteX41373" fmla="*/ 4043764 w 8079933"/>
              <a:gd name="connsiteY41373" fmla="*/ 2113875 h 4687251"/>
              <a:gd name="connsiteX41374" fmla="*/ 4050275 w 8079933"/>
              <a:gd name="connsiteY41374" fmla="*/ 2114307 h 4687251"/>
              <a:gd name="connsiteX41375" fmla="*/ 4053314 w 8079933"/>
              <a:gd name="connsiteY41375" fmla="*/ 2119180 h 4687251"/>
              <a:gd name="connsiteX41376" fmla="*/ 4058740 w 8079933"/>
              <a:gd name="connsiteY41376" fmla="*/ 2119180 h 4687251"/>
              <a:gd name="connsiteX41377" fmla="*/ 4063623 w 8079933"/>
              <a:gd name="connsiteY41377" fmla="*/ 2115390 h 4687251"/>
              <a:gd name="connsiteX41378" fmla="*/ 4067421 w 8079933"/>
              <a:gd name="connsiteY41378" fmla="*/ 2115390 h 4687251"/>
              <a:gd name="connsiteX41379" fmla="*/ 4070567 w 8079933"/>
              <a:gd name="connsiteY41379" fmla="*/ 2116581 h 4687251"/>
              <a:gd name="connsiteX41380" fmla="*/ 4072629 w 8079933"/>
              <a:gd name="connsiteY41380" fmla="*/ 2113009 h 4687251"/>
              <a:gd name="connsiteX41381" fmla="*/ 4077513 w 8079933"/>
              <a:gd name="connsiteY41381" fmla="*/ 2112142 h 4687251"/>
              <a:gd name="connsiteX41382" fmla="*/ 4077947 w 8079933"/>
              <a:gd name="connsiteY41382" fmla="*/ 2108786 h 4687251"/>
              <a:gd name="connsiteX41383" fmla="*/ 4083590 w 8079933"/>
              <a:gd name="connsiteY41383" fmla="*/ 2107595 h 4687251"/>
              <a:gd name="connsiteX41384" fmla="*/ 4086954 w 8079933"/>
              <a:gd name="connsiteY41384" fmla="*/ 2110085 h 4687251"/>
              <a:gd name="connsiteX41385" fmla="*/ 4087496 w 8079933"/>
              <a:gd name="connsiteY41385" fmla="*/ 2113875 h 4687251"/>
              <a:gd name="connsiteX41386" fmla="*/ 4095636 w 8079933"/>
              <a:gd name="connsiteY41386" fmla="*/ 2114849 h 4687251"/>
              <a:gd name="connsiteX41387" fmla="*/ 4099867 w 8079933"/>
              <a:gd name="connsiteY41387" fmla="*/ 2110843 h 4687251"/>
              <a:gd name="connsiteX41388" fmla="*/ 4099976 w 8079933"/>
              <a:gd name="connsiteY41388" fmla="*/ 2108353 h 4687251"/>
              <a:gd name="connsiteX41389" fmla="*/ 4106487 w 8079933"/>
              <a:gd name="connsiteY41389" fmla="*/ 2110626 h 4687251"/>
              <a:gd name="connsiteX41390" fmla="*/ 4111696 w 8079933"/>
              <a:gd name="connsiteY41390" fmla="*/ 2115174 h 4687251"/>
              <a:gd name="connsiteX41391" fmla="*/ 4121896 w 8079933"/>
              <a:gd name="connsiteY41391" fmla="*/ 2112250 h 4687251"/>
              <a:gd name="connsiteX41392" fmla="*/ 4125478 w 8079933"/>
              <a:gd name="connsiteY41392" fmla="*/ 2113009 h 4687251"/>
              <a:gd name="connsiteX41393" fmla="*/ 4132206 w 8079933"/>
              <a:gd name="connsiteY41393" fmla="*/ 2111709 h 4687251"/>
              <a:gd name="connsiteX41394" fmla="*/ 4133398 w 8079933"/>
              <a:gd name="connsiteY41394" fmla="*/ 2113224 h 4687251"/>
              <a:gd name="connsiteX41395" fmla="*/ 4139584 w 8079933"/>
              <a:gd name="connsiteY41395" fmla="*/ 2107811 h 4687251"/>
              <a:gd name="connsiteX41396" fmla="*/ 4148265 w 8079933"/>
              <a:gd name="connsiteY41396" fmla="*/ 2103480 h 4687251"/>
              <a:gd name="connsiteX41397" fmla="*/ 4154559 w 8079933"/>
              <a:gd name="connsiteY41397" fmla="*/ 2102181 h 4687251"/>
              <a:gd name="connsiteX41398" fmla="*/ 4157164 w 8079933"/>
              <a:gd name="connsiteY41398" fmla="*/ 2105537 h 4687251"/>
              <a:gd name="connsiteX41399" fmla="*/ 4157380 w 8079933"/>
              <a:gd name="connsiteY41399" fmla="*/ 2102506 h 4687251"/>
              <a:gd name="connsiteX41400" fmla="*/ 4162589 w 8079933"/>
              <a:gd name="connsiteY41400" fmla="*/ 2101423 h 4687251"/>
              <a:gd name="connsiteX41401" fmla="*/ 4165628 w 8079933"/>
              <a:gd name="connsiteY41401" fmla="*/ 2104129 h 4687251"/>
              <a:gd name="connsiteX41402" fmla="*/ 4165085 w 8079933"/>
              <a:gd name="connsiteY41402" fmla="*/ 2108352 h 4687251"/>
              <a:gd name="connsiteX41403" fmla="*/ 4167473 w 8079933"/>
              <a:gd name="connsiteY41403" fmla="*/ 2109218 h 4687251"/>
              <a:gd name="connsiteX41404" fmla="*/ 4171053 w 8079933"/>
              <a:gd name="connsiteY41404" fmla="*/ 2117339 h 4687251"/>
              <a:gd name="connsiteX41405" fmla="*/ 4173441 w 8079933"/>
              <a:gd name="connsiteY41405" fmla="*/ 2118746 h 4687251"/>
              <a:gd name="connsiteX41406" fmla="*/ 4176263 w 8079933"/>
              <a:gd name="connsiteY41406" fmla="*/ 2115715 h 4687251"/>
              <a:gd name="connsiteX41407" fmla="*/ 4184835 w 8079933"/>
              <a:gd name="connsiteY41407" fmla="*/ 2107919 h 4687251"/>
              <a:gd name="connsiteX41408" fmla="*/ 4187005 w 8079933"/>
              <a:gd name="connsiteY41408" fmla="*/ 2109543 h 4687251"/>
              <a:gd name="connsiteX41409" fmla="*/ 4187005 w 8079933"/>
              <a:gd name="connsiteY41409" fmla="*/ 2114307 h 4687251"/>
              <a:gd name="connsiteX41410" fmla="*/ 4182230 w 8079933"/>
              <a:gd name="connsiteY41410" fmla="*/ 2121345 h 4687251"/>
              <a:gd name="connsiteX41411" fmla="*/ 4181905 w 8079933"/>
              <a:gd name="connsiteY41411" fmla="*/ 2125567 h 4687251"/>
              <a:gd name="connsiteX41412" fmla="*/ 4176154 w 8079933"/>
              <a:gd name="connsiteY41412" fmla="*/ 2129573 h 4687251"/>
              <a:gd name="connsiteX41413" fmla="*/ 4175069 w 8079933"/>
              <a:gd name="connsiteY41413" fmla="*/ 2135961 h 4687251"/>
              <a:gd name="connsiteX41414" fmla="*/ 4180820 w 8079933"/>
              <a:gd name="connsiteY41414" fmla="*/ 2143649 h 4687251"/>
              <a:gd name="connsiteX41415" fmla="*/ 4187874 w 8079933"/>
              <a:gd name="connsiteY41415" fmla="*/ 2146355 h 4687251"/>
              <a:gd name="connsiteX41416" fmla="*/ 4187656 w 8079933"/>
              <a:gd name="connsiteY41416" fmla="*/ 2154151 h 4687251"/>
              <a:gd name="connsiteX41417" fmla="*/ 4189501 w 8079933"/>
              <a:gd name="connsiteY41417" fmla="*/ 2155342 h 4687251"/>
              <a:gd name="connsiteX41418" fmla="*/ 4190369 w 8079933"/>
              <a:gd name="connsiteY41418" fmla="*/ 2158806 h 4687251"/>
              <a:gd name="connsiteX41419" fmla="*/ 4187874 w 8079933"/>
              <a:gd name="connsiteY41419" fmla="*/ 2161513 h 4687251"/>
              <a:gd name="connsiteX41420" fmla="*/ 4189827 w 8079933"/>
              <a:gd name="connsiteY41420" fmla="*/ 2164220 h 4687251"/>
              <a:gd name="connsiteX41421" fmla="*/ 4188091 w 8079933"/>
              <a:gd name="connsiteY41421" fmla="*/ 2166385 h 4687251"/>
              <a:gd name="connsiteX41422" fmla="*/ 4181145 w 8079933"/>
              <a:gd name="connsiteY41422" fmla="*/ 2173314 h 4687251"/>
              <a:gd name="connsiteX41423" fmla="*/ 4169209 w 8079933"/>
              <a:gd name="connsiteY41423" fmla="*/ 2181543 h 4687251"/>
              <a:gd name="connsiteX41424" fmla="*/ 4166930 w 8079933"/>
              <a:gd name="connsiteY41424" fmla="*/ 2188581 h 4687251"/>
              <a:gd name="connsiteX41425" fmla="*/ 4170728 w 8079933"/>
              <a:gd name="connsiteY41425" fmla="*/ 2195510 h 4687251"/>
              <a:gd name="connsiteX41426" fmla="*/ 4178324 w 8079933"/>
              <a:gd name="connsiteY41426" fmla="*/ 2200707 h 4687251"/>
              <a:gd name="connsiteX41427" fmla="*/ 4181797 w 8079933"/>
              <a:gd name="connsiteY41427" fmla="*/ 2199949 h 4687251"/>
              <a:gd name="connsiteX41428" fmla="*/ 4182774 w 8079933"/>
              <a:gd name="connsiteY41428" fmla="*/ 2203630 h 4687251"/>
              <a:gd name="connsiteX41429" fmla="*/ 4186029 w 8079933"/>
              <a:gd name="connsiteY41429" fmla="*/ 2205038 h 4687251"/>
              <a:gd name="connsiteX41430" fmla="*/ 4187874 w 8079933"/>
              <a:gd name="connsiteY41430" fmla="*/ 2203630 h 4687251"/>
              <a:gd name="connsiteX41431" fmla="*/ 4187548 w 8079933"/>
              <a:gd name="connsiteY41431" fmla="*/ 2201789 h 4687251"/>
              <a:gd name="connsiteX41432" fmla="*/ 4188959 w 8079933"/>
              <a:gd name="connsiteY41432" fmla="*/ 2200707 h 4687251"/>
              <a:gd name="connsiteX41433" fmla="*/ 4192540 w 8079933"/>
              <a:gd name="connsiteY41433" fmla="*/ 2202656 h 4687251"/>
              <a:gd name="connsiteX41434" fmla="*/ 4192757 w 8079933"/>
              <a:gd name="connsiteY41434" fmla="*/ 2206120 h 4687251"/>
              <a:gd name="connsiteX41435" fmla="*/ 4193516 w 8079933"/>
              <a:gd name="connsiteY41435" fmla="*/ 2208611 h 4687251"/>
              <a:gd name="connsiteX41436" fmla="*/ 4200570 w 8079933"/>
              <a:gd name="connsiteY41436" fmla="*/ 2212942 h 4687251"/>
              <a:gd name="connsiteX41437" fmla="*/ 4203392 w 8079933"/>
              <a:gd name="connsiteY41437" fmla="*/ 2213483 h 4687251"/>
              <a:gd name="connsiteX41438" fmla="*/ 4202523 w 8079933"/>
              <a:gd name="connsiteY41438" fmla="*/ 2215540 h 4687251"/>
              <a:gd name="connsiteX41439" fmla="*/ 4203373 w 8079933"/>
              <a:gd name="connsiteY41439" fmla="*/ 2220344 h 4687251"/>
              <a:gd name="connsiteX41440" fmla="*/ 4202524 w 8079933"/>
              <a:gd name="connsiteY41440" fmla="*/ 2215540 h 4687251"/>
              <a:gd name="connsiteX41441" fmla="*/ 4203392 w 8079933"/>
              <a:gd name="connsiteY41441" fmla="*/ 2213483 h 4687251"/>
              <a:gd name="connsiteX41442" fmla="*/ 4208817 w 8079933"/>
              <a:gd name="connsiteY41442" fmla="*/ 2214565 h 4687251"/>
              <a:gd name="connsiteX41443" fmla="*/ 4213375 w 8079933"/>
              <a:gd name="connsiteY41443" fmla="*/ 2218897 h 4687251"/>
              <a:gd name="connsiteX41444" fmla="*/ 4225095 w 8079933"/>
              <a:gd name="connsiteY41444" fmla="*/ 2221495 h 4687251"/>
              <a:gd name="connsiteX41445" fmla="*/ 4241915 w 8079933"/>
              <a:gd name="connsiteY41445" fmla="*/ 2218355 h 4687251"/>
              <a:gd name="connsiteX41446" fmla="*/ 4249403 w 8079933"/>
              <a:gd name="connsiteY41446" fmla="*/ 2221278 h 4687251"/>
              <a:gd name="connsiteX41447" fmla="*/ 4262533 w 8079933"/>
              <a:gd name="connsiteY41447" fmla="*/ 2221603 h 4687251"/>
              <a:gd name="connsiteX41448" fmla="*/ 4270672 w 8079933"/>
              <a:gd name="connsiteY41448" fmla="*/ 2226908 h 4687251"/>
              <a:gd name="connsiteX41449" fmla="*/ 4286082 w 8079933"/>
              <a:gd name="connsiteY41449" fmla="*/ 2229074 h 4687251"/>
              <a:gd name="connsiteX41450" fmla="*/ 4292050 w 8079933"/>
              <a:gd name="connsiteY41450" fmla="*/ 2236978 h 4687251"/>
              <a:gd name="connsiteX41451" fmla="*/ 4291833 w 8079933"/>
              <a:gd name="connsiteY41451" fmla="*/ 2244340 h 4687251"/>
              <a:gd name="connsiteX41452" fmla="*/ 4299321 w 8079933"/>
              <a:gd name="connsiteY41452" fmla="*/ 2258632 h 4687251"/>
              <a:gd name="connsiteX41453" fmla="*/ 4307242 w 8079933"/>
              <a:gd name="connsiteY41453" fmla="*/ 2262529 h 4687251"/>
              <a:gd name="connsiteX41454" fmla="*/ 4316466 w 8079933"/>
              <a:gd name="connsiteY41454" fmla="*/ 2262529 h 4687251"/>
              <a:gd name="connsiteX41455" fmla="*/ 4318962 w 8079933"/>
              <a:gd name="connsiteY41455" fmla="*/ 2261122 h 4687251"/>
              <a:gd name="connsiteX41456" fmla="*/ 4326775 w 8079933"/>
              <a:gd name="connsiteY41456" fmla="*/ 2262096 h 4687251"/>
              <a:gd name="connsiteX41457" fmla="*/ 4344464 w 8079933"/>
              <a:gd name="connsiteY41457" fmla="*/ 2269458 h 4687251"/>
              <a:gd name="connsiteX41458" fmla="*/ 4355641 w 8079933"/>
              <a:gd name="connsiteY41458" fmla="*/ 2275089 h 4687251"/>
              <a:gd name="connsiteX41459" fmla="*/ 4362803 w 8079933"/>
              <a:gd name="connsiteY41459" fmla="*/ 2280935 h 4687251"/>
              <a:gd name="connsiteX41460" fmla="*/ 4371918 w 8079933"/>
              <a:gd name="connsiteY41460" fmla="*/ 2288514 h 4687251"/>
              <a:gd name="connsiteX41461" fmla="*/ 4382444 w 8079933"/>
              <a:gd name="connsiteY41461" fmla="*/ 2292629 h 4687251"/>
              <a:gd name="connsiteX41462" fmla="*/ 4387436 w 8079933"/>
              <a:gd name="connsiteY41462" fmla="*/ 2290788 h 4687251"/>
              <a:gd name="connsiteX41463" fmla="*/ 4395574 w 8079933"/>
              <a:gd name="connsiteY41463" fmla="*/ 2283967 h 4687251"/>
              <a:gd name="connsiteX41464" fmla="*/ 4396334 w 8079933"/>
              <a:gd name="connsiteY41464" fmla="*/ 2281694 h 4687251"/>
              <a:gd name="connsiteX41465" fmla="*/ 4402520 w 8079933"/>
              <a:gd name="connsiteY41465" fmla="*/ 2275413 h 4687251"/>
              <a:gd name="connsiteX41466" fmla="*/ 4404582 w 8079933"/>
              <a:gd name="connsiteY41466" fmla="*/ 2270000 h 4687251"/>
              <a:gd name="connsiteX41467" fmla="*/ 4401652 w 8079933"/>
              <a:gd name="connsiteY41467" fmla="*/ 2260472 h 4687251"/>
              <a:gd name="connsiteX41468" fmla="*/ 4397311 w 8079933"/>
              <a:gd name="connsiteY41468" fmla="*/ 2253760 h 4687251"/>
              <a:gd name="connsiteX41469" fmla="*/ 4398071 w 8079933"/>
              <a:gd name="connsiteY41469" fmla="*/ 2241525 h 4687251"/>
              <a:gd name="connsiteX41470" fmla="*/ 4401109 w 8079933"/>
              <a:gd name="connsiteY41470" fmla="*/ 2239143 h 4687251"/>
              <a:gd name="connsiteX41471" fmla="*/ 4402520 w 8079933"/>
              <a:gd name="connsiteY41471" fmla="*/ 2232646 h 4687251"/>
              <a:gd name="connsiteX41472" fmla="*/ 4408380 w 8079933"/>
              <a:gd name="connsiteY41472" fmla="*/ 2227017 h 4687251"/>
              <a:gd name="connsiteX41473" fmla="*/ 4418472 w 8079933"/>
              <a:gd name="connsiteY41473" fmla="*/ 2222144 h 4687251"/>
              <a:gd name="connsiteX41474" fmla="*/ 4430191 w 8079933"/>
              <a:gd name="connsiteY41474" fmla="*/ 2221062 h 4687251"/>
              <a:gd name="connsiteX41475" fmla="*/ 4437679 w 8079933"/>
              <a:gd name="connsiteY41475" fmla="*/ 2217272 h 4687251"/>
              <a:gd name="connsiteX41476" fmla="*/ 4439416 w 8079933"/>
              <a:gd name="connsiteY41476" fmla="*/ 2217272 h 4687251"/>
              <a:gd name="connsiteX41477" fmla="*/ 4444516 w 8079933"/>
              <a:gd name="connsiteY41477" fmla="*/ 2219871 h 4687251"/>
              <a:gd name="connsiteX41478" fmla="*/ 4447011 w 8079933"/>
              <a:gd name="connsiteY41478" fmla="*/ 2217597 h 4687251"/>
              <a:gd name="connsiteX41479" fmla="*/ 4449073 w 8079933"/>
              <a:gd name="connsiteY41479" fmla="*/ 2218788 h 4687251"/>
              <a:gd name="connsiteX41480" fmla="*/ 4457321 w 8079933"/>
              <a:gd name="connsiteY41480" fmla="*/ 2220954 h 4687251"/>
              <a:gd name="connsiteX41481" fmla="*/ 4462638 w 8079933"/>
              <a:gd name="connsiteY41481" fmla="*/ 2220954 h 4687251"/>
              <a:gd name="connsiteX41482" fmla="*/ 4472730 w 8079933"/>
              <a:gd name="connsiteY41482" fmla="*/ 2226475 h 4687251"/>
              <a:gd name="connsiteX41483" fmla="*/ 4472947 w 8079933"/>
              <a:gd name="connsiteY41483" fmla="*/ 2229399 h 4687251"/>
              <a:gd name="connsiteX41484" fmla="*/ 4471102 w 8079933"/>
              <a:gd name="connsiteY41484" fmla="*/ 2230048 h 4687251"/>
              <a:gd name="connsiteX41485" fmla="*/ 4472947 w 8079933"/>
              <a:gd name="connsiteY41485" fmla="*/ 2232863 h 4687251"/>
              <a:gd name="connsiteX41486" fmla="*/ 4481412 w 8079933"/>
              <a:gd name="connsiteY41486" fmla="*/ 2235137 h 4687251"/>
              <a:gd name="connsiteX41487" fmla="*/ 4487705 w 8079933"/>
              <a:gd name="connsiteY41487" fmla="*/ 2235678 h 4687251"/>
              <a:gd name="connsiteX41488" fmla="*/ 4490961 w 8079933"/>
              <a:gd name="connsiteY41488" fmla="*/ 2238601 h 4687251"/>
              <a:gd name="connsiteX41489" fmla="*/ 4507130 w 8079933"/>
              <a:gd name="connsiteY41489" fmla="*/ 2240550 h 4687251"/>
              <a:gd name="connsiteX41490" fmla="*/ 4511471 w 8079933"/>
              <a:gd name="connsiteY41490" fmla="*/ 2239901 h 4687251"/>
              <a:gd name="connsiteX41491" fmla="*/ 4515811 w 8079933"/>
              <a:gd name="connsiteY41491" fmla="*/ 2240550 h 4687251"/>
              <a:gd name="connsiteX41492" fmla="*/ 4519176 w 8079933"/>
              <a:gd name="connsiteY41492" fmla="*/ 2244340 h 4687251"/>
              <a:gd name="connsiteX41493" fmla="*/ 4521345 w 8079933"/>
              <a:gd name="connsiteY41493" fmla="*/ 2251052 h 4687251"/>
              <a:gd name="connsiteX41494" fmla="*/ 4519826 w 8079933"/>
              <a:gd name="connsiteY41494" fmla="*/ 2254950 h 4687251"/>
              <a:gd name="connsiteX41495" fmla="*/ 4517764 w 8079933"/>
              <a:gd name="connsiteY41495" fmla="*/ 2265019 h 4687251"/>
              <a:gd name="connsiteX41496" fmla="*/ 4517764 w 8079933"/>
              <a:gd name="connsiteY41496" fmla="*/ 2265020 h 4687251"/>
              <a:gd name="connsiteX41497" fmla="*/ 4519826 w 8079933"/>
              <a:gd name="connsiteY41497" fmla="*/ 2254951 h 4687251"/>
              <a:gd name="connsiteX41498" fmla="*/ 4521345 w 8079933"/>
              <a:gd name="connsiteY41498" fmla="*/ 2251053 h 4687251"/>
              <a:gd name="connsiteX41499" fmla="*/ 4523733 w 8079933"/>
              <a:gd name="connsiteY41499" fmla="*/ 2250295 h 4687251"/>
              <a:gd name="connsiteX41500" fmla="*/ 4535669 w 8079933"/>
              <a:gd name="connsiteY41500" fmla="*/ 2249754 h 4687251"/>
              <a:gd name="connsiteX41501" fmla="*/ 4544893 w 8079933"/>
              <a:gd name="connsiteY41501" fmla="*/ 2252786 h 4687251"/>
              <a:gd name="connsiteX41502" fmla="*/ 4563558 w 8079933"/>
              <a:gd name="connsiteY41502" fmla="*/ 2254301 h 4687251"/>
              <a:gd name="connsiteX41503" fmla="*/ 4571263 w 8079933"/>
              <a:gd name="connsiteY41503" fmla="*/ 2255925 h 4687251"/>
              <a:gd name="connsiteX41504" fmla="*/ 4577991 w 8079933"/>
              <a:gd name="connsiteY41504" fmla="*/ 2260581 h 4687251"/>
              <a:gd name="connsiteX41505" fmla="*/ 4580812 w 8079933"/>
              <a:gd name="connsiteY41505" fmla="*/ 2258849 h 4687251"/>
              <a:gd name="connsiteX41506" fmla="*/ 4583634 w 8079933"/>
              <a:gd name="connsiteY41506" fmla="*/ 2258849 h 4687251"/>
              <a:gd name="connsiteX41507" fmla="*/ 4590470 w 8079933"/>
              <a:gd name="connsiteY41507" fmla="*/ 2263180 h 4687251"/>
              <a:gd name="connsiteX41508" fmla="*/ 4598609 w 8079933"/>
              <a:gd name="connsiteY41508" fmla="*/ 2262530 h 4687251"/>
              <a:gd name="connsiteX41509" fmla="*/ 4604252 w 8079933"/>
              <a:gd name="connsiteY41509" fmla="*/ 2263180 h 4687251"/>
              <a:gd name="connsiteX41510" fmla="*/ 4612934 w 8079933"/>
              <a:gd name="connsiteY41510" fmla="*/ 2268593 h 4687251"/>
              <a:gd name="connsiteX41511" fmla="*/ 4620855 w 8079933"/>
              <a:gd name="connsiteY41511" fmla="*/ 2268593 h 4687251"/>
              <a:gd name="connsiteX41512" fmla="*/ 4621723 w 8079933"/>
              <a:gd name="connsiteY41512" fmla="*/ 2266319 h 4687251"/>
              <a:gd name="connsiteX41513" fmla="*/ 4626823 w 8079933"/>
              <a:gd name="connsiteY41513" fmla="*/ 2261556 h 4687251"/>
              <a:gd name="connsiteX41514" fmla="*/ 4633009 w 8079933"/>
              <a:gd name="connsiteY41514" fmla="*/ 2259498 h 4687251"/>
              <a:gd name="connsiteX41515" fmla="*/ 4636047 w 8079933"/>
              <a:gd name="connsiteY41515" fmla="*/ 2257874 h 4687251"/>
              <a:gd name="connsiteX41516" fmla="*/ 4642450 w 8079933"/>
              <a:gd name="connsiteY41516" fmla="*/ 2254409 h 4687251"/>
              <a:gd name="connsiteX41517" fmla="*/ 4645271 w 8079933"/>
              <a:gd name="connsiteY41517" fmla="*/ 2252352 h 4687251"/>
              <a:gd name="connsiteX41518" fmla="*/ 4651999 w 8079933"/>
              <a:gd name="connsiteY41518" fmla="*/ 2252136 h 4687251"/>
              <a:gd name="connsiteX41519" fmla="*/ 4656882 w 8079933"/>
              <a:gd name="connsiteY41519" fmla="*/ 2251595 h 4687251"/>
              <a:gd name="connsiteX41520" fmla="*/ 4653084 w 8079933"/>
              <a:gd name="connsiteY41520" fmla="*/ 2253111 h 4687251"/>
              <a:gd name="connsiteX41521" fmla="*/ 4648418 w 8079933"/>
              <a:gd name="connsiteY41521" fmla="*/ 2253760 h 4687251"/>
              <a:gd name="connsiteX41522" fmla="*/ 4648309 w 8079933"/>
              <a:gd name="connsiteY41522" fmla="*/ 2254843 h 4687251"/>
              <a:gd name="connsiteX41523" fmla="*/ 4649937 w 8079933"/>
              <a:gd name="connsiteY41523" fmla="*/ 2256466 h 4687251"/>
              <a:gd name="connsiteX41524" fmla="*/ 4655255 w 8079933"/>
              <a:gd name="connsiteY41524" fmla="*/ 2254301 h 4687251"/>
              <a:gd name="connsiteX41525" fmla="*/ 4659704 w 8079933"/>
              <a:gd name="connsiteY41525" fmla="*/ 2254843 h 4687251"/>
              <a:gd name="connsiteX41526" fmla="*/ 4664261 w 8079933"/>
              <a:gd name="connsiteY41526" fmla="*/ 2254301 h 4687251"/>
              <a:gd name="connsiteX41527" fmla="*/ 4663502 w 8079933"/>
              <a:gd name="connsiteY41527" fmla="*/ 2252678 h 4687251"/>
              <a:gd name="connsiteX41528" fmla="*/ 4660138 w 8079933"/>
              <a:gd name="connsiteY41528" fmla="*/ 2251919 h 4687251"/>
              <a:gd name="connsiteX41529" fmla="*/ 4661331 w 8079933"/>
              <a:gd name="connsiteY41529" fmla="*/ 2250512 h 4687251"/>
              <a:gd name="connsiteX41530" fmla="*/ 4669470 w 8079933"/>
              <a:gd name="connsiteY41530" fmla="*/ 2252678 h 4687251"/>
              <a:gd name="connsiteX41531" fmla="*/ 4674354 w 8079933"/>
              <a:gd name="connsiteY41531" fmla="*/ 2254301 h 4687251"/>
              <a:gd name="connsiteX41532" fmla="*/ 4678368 w 8079933"/>
              <a:gd name="connsiteY41532" fmla="*/ 2253760 h 4687251"/>
              <a:gd name="connsiteX41533" fmla="*/ 4680322 w 8079933"/>
              <a:gd name="connsiteY41533" fmla="*/ 2255709 h 4687251"/>
              <a:gd name="connsiteX41534" fmla="*/ 4677935 w 8079933"/>
              <a:gd name="connsiteY41534" fmla="*/ 2256792 h 4687251"/>
              <a:gd name="connsiteX41535" fmla="*/ 4679128 w 8079933"/>
              <a:gd name="connsiteY41535" fmla="*/ 2260906 h 4687251"/>
              <a:gd name="connsiteX41536" fmla="*/ 4684012 w 8079933"/>
              <a:gd name="connsiteY41536" fmla="*/ 2263613 h 4687251"/>
              <a:gd name="connsiteX41537" fmla="*/ 4687267 w 8079933"/>
              <a:gd name="connsiteY41537" fmla="*/ 2268593 h 4687251"/>
              <a:gd name="connsiteX41538" fmla="*/ 4687376 w 8079933"/>
              <a:gd name="connsiteY41538" fmla="*/ 2265453 h 4687251"/>
              <a:gd name="connsiteX41539" fmla="*/ 4684120 w 8079933"/>
              <a:gd name="connsiteY41539" fmla="*/ 2260581 h 4687251"/>
              <a:gd name="connsiteX41540" fmla="*/ 4685205 w 8079933"/>
              <a:gd name="connsiteY41540" fmla="*/ 2256466 h 4687251"/>
              <a:gd name="connsiteX41541" fmla="*/ 4693887 w 8079933"/>
              <a:gd name="connsiteY41541" fmla="*/ 2262638 h 4687251"/>
              <a:gd name="connsiteX41542" fmla="*/ 4705932 w 8079933"/>
              <a:gd name="connsiteY41542" fmla="*/ 2259390 h 4687251"/>
              <a:gd name="connsiteX41543" fmla="*/ 4721124 w 8079933"/>
              <a:gd name="connsiteY41543" fmla="*/ 2261880 h 4687251"/>
              <a:gd name="connsiteX41544" fmla="*/ 4727636 w 8079933"/>
              <a:gd name="connsiteY41544" fmla="*/ 2259390 h 4687251"/>
              <a:gd name="connsiteX41545" fmla="*/ 4730674 w 8079933"/>
              <a:gd name="connsiteY41545" fmla="*/ 2255276 h 4687251"/>
              <a:gd name="connsiteX41546" fmla="*/ 4732482 w 8079933"/>
              <a:gd name="connsiteY41546" fmla="*/ 2256070 h 4687251"/>
              <a:gd name="connsiteX41547" fmla="*/ 4730674 w 8079933"/>
              <a:gd name="connsiteY41547" fmla="*/ 2255275 h 4687251"/>
              <a:gd name="connsiteX41548" fmla="*/ 4738162 w 8079933"/>
              <a:gd name="connsiteY41548" fmla="*/ 2245315 h 4687251"/>
              <a:gd name="connsiteX41549" fmla="*/ 4744998 w 8079933"/>
              <a:gd name="connsiteY41549" fmla="*/ 2231565 h 4687251"/>
              <a:gd name="connsiteX41550" fmla="*/ 4746843 w 8079933"/>
              <a:gd name="connsiteY41550" fmla="*/ 2214241 h 4687251"/>
              <a:gd name="connsiteX41551" fmla="*/ 4751942 w 8079933"/>
              <a:gd name="connsiteY41551" fmla="*/ 2208503 h 4687251"/>
              <a:gd name="connsiteX41552" fmla="*/ 4754764 w 8079933"/>
              <a:gd name="connsiteY41552" fmla="*/ 2209044 h 4687251"/>
              <a:gd name="connsiteX41553" fmla="*/ 4762360 w 8079933"/>
              <a:gd name="connsiteY41553" fmla="*/ 2208936 h 4687251"/>
              <a:gd name="connsiteX41554" fmla="*/ 4762360 w 8079933"/>
              <a:gd name="connsiteY41554" fmla="*/ 2208936 h 4687251"/>
              <a:gd name="connsiteX41555" fmla="*/ 4754766 w 8079933"/>
              <a:gd name="connsiteY41555" fmla="*/ 2209044 h 4687251"/>
              <a:gd name="connsiteX41556" fmla="*/ 4751944 w 8079933"/>
              <a:gd name="connsiteY41556" fmla="*/ 2208503 h 4687251"/>
              <a:gd name="connsiteX41557" fmla="*/ 4752595 w 8079933"/>
              <a:gd name="connsiteY41557" fmla="*/ 2207745 h 4687251"/>
              <a:gd name="connsiteX41558" fmla="*/ 4752595 w 8079933"/>
              <a:gd name="connsiteY41558" fmla="*/ 2201248 h 4687251"/>
              <a:gd name="connsiteX41559" fmla="*/ 4756935 w 8079933"/>
              <a:gd name="connsiteY41559" fmla="*/ 2195077 h 4687251"/>
              <a:gd name="connsiteX41560" fmla="*/ 4760951 w 8079933"/>
              <a:gd name="connsiteY41560" fmla="*/ 2188905 h 4687251"/>
              <a:gd name="connsiteX41561" fmla="*/ 4762036 w 8079933"/>
              <a:gd name="connsiteY41561" fmla="*/ 2171907 h 4687251"/>
              <a:gd name="connsiteX41562" fmla="*/ 4765292 w 8079933"/>
              <a:gd name="connsiteY41562" fmla="*/ 2171257 h 4687251"/>
              <a:gd name="connsiteX41563" fmla="*/ 4765400 w 8079933"/>
              <a:gd name="connsiteY41563" fmla="*/ 2169958 h 4687251"/>
              <a:gd name="connsiteX41564" fmla="*/ 4765399 w 8079933"/>
              <a:gd name="connsiteY41564" fmla="*/ 2169958 h 4687251"/>
              <a:gd name="connsiteX41565" fmla="*/ 4766051 w 8079933"/>
              <a:gd name="connsiteY41565" fmla="*/ 2160755 h 4687251"/>
              <a:gd name="connsiteX41566" fmla="*/ 4767135 w 8079933"/>
              <a:gd name="connsiteY41566" fmla="*/ 2155666 h 4687251"/>
              <a:gd name="connsiteX41567" fmla="*/ 4765507 w 8079933"/>
              <a:gd name="connsiteY41567" fmla="*/ 2149495 h 4687251"/>
              <a:gd name="connsiteX41568" fmla="*/ 4761601 w 8079933"/>
              <a:gd name="connsiteY41568" fmla="*/ 2141483 h 4687251"/>
              <a:gd name="connsiteX41569" fmla="*/ 4760516 w 8079933"/>
              <a:gd name="connsiteY41569" fmla="*/ 2134336 h 4687251"/>
              <a:gd name="connsiteX41570" fmla="*/ 4763771 w 8079933"/>
              <a:gd name="connsiteY41570" fmla="*/ 2133038 h 4687251"/>
              <a:gd name="connsiteX41571" fmla="*/ 4763879 w 8079933"/>
              <a:gd name="connsiteY41571" fmla="*/ 2132497 h 4687251"/>
              <a:gd name="connsiteX41572" fmla="*/ 4763881 w 8079933"/>
              <a:gd name="connsiteY41572" fmla="*/ 2132497 h 4687251"/>
              <a:gd name="connsiteX41573" fmla="*/ 4764749 w 8079933"/>
              <a:gd name="connsiteY41573" fmla="*/ 2129249 h 4687251"/>
              <a:gd name="connsiteX41574" fmla="*/ 4760516 w 8079933"/>
              <a:gd name="connsiteY41574" fmla="*/ 2124161 h 4687251"/>
              <a:gd name="connsiteX41575" fmla="*/ 4760299 w 8079933"/>
              <a:gd name="connsiteY41575" fmla="*/ 2121887 h 4687251"/>
              <a:gd name="connsiteX41576" fmla="*/ 4764966 w 8079933"/>
              <a:gd name="connsiteY41576" fmla="*/ 2118098 h 4687251"/>
              <a:gd name="connsiteX41577" fmla="*/ 4768655 w 8079933"/>
              <a:gd name="connsiteY41577" fmla="*/ 2112251 h 4687251"/>
              <a:gd name="connsiteX41578" fmla="*/ 4768112 w 8079933"/>
              <a:gd name="connsiteY41578" fmla="*/ 2108786 h 4687251"/>
              <a:gd name="connsiteX41579" fmla="*/ 4764097 w 8079933"/>
              <a:gd name="connsiteY41579" fmla="*/ 2107596 h 4687251"/>
              <a:gd name="connsiteX41580" fmla="*/ 4758888 w 8079933"/>
              <a:gd name="connsiteY41580" fmla="*/ 2111385 h 4687251"/>
              <a:gd name="connsiteX41581" fmla="*/ 4758346 w 8079933"/>
              <a:gd name="connsiteY41581" fmla="*/ 2113551 h 4687251"/>
              <a:gd name="connsiteX41582" fmla="*/ 4750858 w 8079933"/>
              <a:gd name="connsiteY41582" fmla="*/ 2114958 h 4687251"/>
              <a:gd name="connsiteX41583" fmla="*/ 4744890 w 8079933"/>
              <a:gd name="connsiteY41583" fmla="*/ 2112251 h 4687251"/>
              <a:gd name="connsiteX41584" fmla="*/ 4735123 w 8079933"/>
              <a:gd name="connsiteY41584" fmla="*/ 2108786 h 4687251"/>
              <a:gd name="connsiteX41585" fmla="*/ 4732627 w 8079933"/>
              <a:gd name="connsiteY41585" fmla="*/ 2109436 h 4687251"/>
              <a:gd name="connsiteX41586" fmla="*/ 4722318 w 8079933"/>
              <a:gd name="connsiteY41586" fmla="*/ 2121129 h 4687251"/>
              <a:gd name="connsiteX41587" fmla="*/ 4721233 w 8079933"/>
              <a:gd name="connsiteY41587" fmla="*/ 2125135 h 4687251"/>
              <a:gd name="connsiteX41588" fmla="*/ 4718195 w 8079933"/>
              <a:gd name="connsiteY41588" fmla="*/ 2127192 h 4687251"/>
              <a:gd name="connsiteX41589" fmla="*/ 4717110 w 8079933"/>
              <a:gd name="connsiteY41589" fmla="*/ 2126218 h 4687251"/>
              <a:gd name="connsiteX41590" fmla="*/ 4714939 w 8079933"/>
              <a:gd name="connsiteY41590" fmla="*/ 2126218 h 4687251"/>
              <a:gd name="connsiteX41591" fmla="*/ 4708429 w 8079933"/>
              <a:gd name="connsiteY41591" fmla="*/ 2128925 h 4687251"/>
              <a:gd name="connsiteX41592" fmla="*/ 4686725 w 8079933"/>
              <a:gd name="connsiteY41592" fmla="*/ 2131631 h 4687251"/>
              <a:gd name="connsiteX41593" fmla="*/ 4680214 w 8079933"/>
              <a:gd name="connsiteY41593" fmla="*/ 2127409 h 4687251"/>
              <a:gd name="connsiteX41594" fmla="*/ 4672618 w 8079933"/>
              <a:gd name="connsiteY41594" fmla="*/ 2117340 h 4687251"/>
              <a:gd name="connsiteX41595" fmla="*/ 4668386 w 8079933"/>
              <a:gd name="connsiteY41595" fmla="*/ 2117340 h 4687251"/>
              <a:gd name="connsiteX41596" fmla="*/ 4656883 w 8079933"/>
              <a:gd name="connsiteY41596" fmla="*/ 2111385 h 4687251"/>
              <a:gd name="connsiteX41597" fmla="*/ 4648093 w 8079933"/>
              <a:gd name="connsiteY41597" fmla="*/ 2110627 h 4687251"/>
              <a:gd name="connsiteX41598" fmla="*/ 4638001 w 8079933"/>
              <a:gd name="connsiteY41598" fmla="*/ 2111602 h 4687251"/>
              <a:gd name="connsiteX41599" fmla="*/ 4638978 w 8079933"/>
              <a:gd name="connsiteY41599" fmla="*/ 2116798 h 4687251"/>
              <a:gd name="connsiteX41600" fmla="*/ 4638001 w 8079933"/>
              <a:gd name="connsiteY41600" fmla="*/ 2119722 h 4687251"/>
              <a:gd name="connsiteX41601" fmla="*/ 4638543 w 8079933"/>
              <a:gd name="connsiteY41601" fmla="*/ 2125243 h 4687251"/>
              <a:gd name="connsiteX41602" fmla="*/ 4635722 w 8079933"/>
              <a:gd name="connsiteY41602" fmla="*/ 2126868 h 4687251"/>
              <a:gd name="connsiteX41603" fmla="*/ 4631490 w 8079933"/>
              <a:gd name="connsiteY41603" fmla="*/ 2124702 h 4687251"/>
              <a:gd name="connsiteX41604" fmla="*/ 4628777 w 8079933"/>
              <a:gd name="connsiteY41604" fmla="*/ 2127084 h 4687251"/>
              <a:gd name="connsiteX41605" fmla="*/ 4624111 w 8079933"/>
              <a:gd name="connsiteY41605" fmla="*/ 2127084 h 4687251"/>
              <a:gd name="connsiteX41606" fmla="*/ 4621398 w 8079933"/>
              <a:gd name="connsiteY41606" fmla="*/ 2129249 h 4687251"/>
              <a:gd name="connsiteX41607" fmla="*/ 4615647 w 8079933"/>
              <a:gd name="connsiteY41607" fmla="*/ 2130116 h 4687251"/>
              <a:gd name="connsiteX41608" fmla="*/ 4610221 w 8079933"/>
              <a:gd name="connsiteY41608" fmla="*/ 2127951 h 4687251"/>
              <a:gd name="connsiteX41609" fmla="*/ 4608376 w 8079933"/>
              <a:gd name="connsiteY41609" fmla="*/ 2128925 h 4687251"/>
              <a:gd name="connsiteX41610" fmla="*/ 4603276 w 8079933"/>
              <a:gd name="connsiteY41610" fmla="*/ 2124702 h 4687251"/>
              <a:gd name="connsiteX41611" fmla="*/ 4602733 w 8079933"/>
              <a:gd name="connsiteY41611" fmla="*/ 2121454 h 4687251"/>
              <a:gd name="connsiteX41612" fmla="*/ 4600563 w 8079933"/>
              <a:gd name="connsiteY41612" fmla="*/ 2118206 h 4687251"/>
              <a:gd name="connsiteX41613" fmla="*/ 4602408 w 8079933"/>
              <a:gd name="connsiteY41613" fmla="*/ 2117340 h 4687251"/>
              <a:gd name="connsiteX41614" fmla="*/ 4602950 w 8079933"/>
              <a:gd name="connsiteY41614" fmla="*/ 2114849 h 4687251"/>
              <a:gd name="connsiteX41615" fmla="*/ 4599369 w 8079933"/>
              <a:gd name="connsiteY41615" fmla="*/ 2114308 h 4687251"/>
              <a:gd name="connsiteX41616" fmla="*/ 4597199 w 8079933"/>
              <a:gd name="connsiteY41616" fmla="*/ 2117340 h 4687251"/>
              <a:gd name="connsiteX41617" fmla="*/ 4592641 w 8079933"/>
              <a:gd name="connsiteY41617" fmla="*/ 2114633 h 4687251"/>
              <a:gd name="connsiteX41618" fmla="*/ 4589602 w 8079933"/>
              <a:gd name="connsiteY41618" fmla="*/ 2114633 h 4687251"/>
              <a:gd name="connsiteX41619" fmla="*/ 4587215 w 8079933"/>
              <a:gd name="connsiteY41619" fmla="*/ 2111710 h 4687251"/>
              <a:gd name="connsiteX41620" fmla="*/ 4583743 w 8079933"/>
              <a:gd name="connsiteY41620" fmla="*/ 2111926 h 4687251"/>
              <a:gd name="connsiteX41621" fmla="*/ 4580487 w 8079933"/>
              <a:gd name="connsiteY41621" fmla="*/ 2115932 h 4687251"/>
              <a:gd name="connsiteX41622" fmla="*/ 4577774 w 8079933"/>
              <a:gd name="connsiteY41622" fmla="*/ 2119288 h 4687251"/>
              <a:gd name="connsiteX41623" fmla="*/ 4576363 w 8079933"/>
              <a:gd name="connsiteY41623" fmla="*/ 2118098 h 4687251"/>
              <a:gd name="connsiteX41624" fmla="*/ 4576363 w 8079933"/>
              <a:gd name="connsiteY41624" fmla="*/ 2114633 h 4687251"/>
              <a:gd name="connsiteX41625" fmla="*/ 4573759 w 8079933"/>
              <a:gd name="connsiteY41625" fmla="*/ 2115932 h 4687251"/>
              <a:gd name="connsiteX41626" fmla="*/ 4568442 w 8079933"/>
              <a:gd name="connsiteY41626" fmla="*/ 2115932 h 4687251"/>
              <a:gd name="connsiteX41627" fmla="*/ 4564535 w 8079933"/>
              <a:gd name="connsiteY41627" fmla="*/ 2117231 h 4687251"/>
              <a:gd name="connsiteX41628" fmla="*/ 4561605 w 8079933"/>
              <a:gd name="connsiteY41628" fmla="*/ 2116474 h 4687251"/>
              <a:gd name="connsiteX41629" fmla="*/ 4563450 w 8079933"/>
              <a:gd name="connsiteY41629" fmla="*/ 2113767 h 4687251"/>
              <a:gd name="connsiteX41630" fmla="*/ 4571154 w 8079933"/>
              <a:gd name="connsiteY41630" fmla="*/ 2114092 h 4687251"/>
              <a:gd name="connsiteX41631" fmla="*/ 4576363 w 8079933"/>
              <a:gd name="connsiteY41631" fmla="*/ 2111818 h 4687251"/>
              <a:gd name="connsiteX41632" fmla="*/ 4578751 w 8079933"/>
              <a:gd name="connsiteY41632" fmla="*/ 2109436 h 4687251"/>
              <a:gd name="connsiteX41633" fmla="*/ 4579402 w 8079933"/>
              <a:gd name="connsiteY41633" fmla="*/ 2107379 h 4687251"/>
              <a:gd name="connsiteX41634" fmla="*/ 4569309 w 8079933"/>
              <a:gd name="connsiteY41634" fmla="*/ 2107379 h 4687251"/>
              <a:gd name="connsiteX41635" fmla="*/ 4562039 w 8079933"/>
              <a:gd name="connsiteY41635" fmla="*/ 2109219 h 4687251"/>
              <a:gd name="connsiteX41636" fmla="*/ 4559000 w 8079933"/>
              <a:gd name="connsiteY41636" fmla="*/ 2107920 h 4687251"/>
              <a:gd name="connsiteX41637" fmla="*/ 4559869 w 8079933"/>
              <a:gd name="connsiteY41637" fmla="*/ 2105213 h 4687251"/>
              <a:gd name="connsiteX41638" fmla="*/ 4563667 w 8079933"/>
              <a:gd name="connsiteY41638" fmla="*/ 2106296 h 4687251"/>
              <a:gd name="connsiteX41639" fmla="*/ 4565838 w 8079933"/>
              <a:gd name="connsiteY41639" fmla="*/ 2102507 h 4687251"/>
              <a:gd name="connsiteX41640" fmla="*/ 4559869 w 8079933"/>
              <a:gd name="connsiteY41640" fmla="*/ 2096768 h 4687251"/>
              <a:gd name="connsiteX41641" fmla="*/ 4556830 w 8079933"/>
              <a:gd name="connsiteY41641" fmla="*/ 2096552 h 4687251"/>
              <a:gd name="connsiteX41642" fmla="*/ 4556613 w 8079933"/>
              <a:gd name="connsiteY41642" fmla="*/ 2093737 h 4687251"/>
              <a:gd name="connsiteX41643" fmla="*/ 4553575 w 8079933"/>
              <a:gd name="connsiteY41643" fmla="*/ 2090813 h 4687251"/>
              <a:gd name="connsiteX41644" fmla="*/ 4557373 w 8079933"/>
              <a:gd name="connsiteY41644" fmla="*/ 2087024 h 4687251"/>
              <a:gd name="connsiteX41645" fmla="*/ 4555853 w 8079933"/>
              <a:gd name="connsiteY41645" fmla="*/ 2081394 h 4687251"/>
              <a:gd name="connsiteX41646" fmla="*/ 4550536 w 8079933"/>
              <a:gd name="connsiteY41646" fmla="*/ 2078146 h 4687251"/>
              <a:gd name="connsiteX41647" fmla="*/ 4546847 w 8079933"/>
              <a:gd name="connsiteY41647" fmla="*/ 2078903 h 4687251"/>
              <a:gd name="connsiteX41648" fmla="*/ 4542181 w 8079933"/>
              <a:gd name="connsiteY41648" fmla="*/ 2074898 h 4687251"/>
              <a:gd name="connsiteX41649" fmla="*/ 4541313 w 8079933"/>
              <a:gd name="connsiteY41649" fmla="*/ 2076955 h 4687251"/>
              <a:gd name="connsiteX41650" fmla="*/ 4537297 w 8079933"/>
              <a:gd name="connsiteY41650" fmla="*/ 2074356 h 4687251"/>
              <a:gd name="connsiteX41651" fmla="*/ 4536538 w 8079933"/>
              <a:gd name="connsiteY41651" fmla="*/ 2071000 h 4687251"/>
              <a:gd name="connsiteX41652" fmla="*/ 4538600 w 8079933"/>
              <a:gd name="connsiteY41652" fmla="*/ 2068618 h 4687251"/>
              <a:gd name="connsiteX41653" fmla="*/ 4536972 w 8079933"/>
              <a:gd name="connsiteY41653" fmla="*/ 2064179 h 4687251"/>
              <a:gd name="connsiteX41654" fmla="*/ 4537840 w 8079933"/>
              <a:gd name="connsiteY41654" fmla="*/ 2060281 h 4687251"/>
              <a:gd name="connsiteX41655" fmla="*/ 4539576 w 8079933"/>
              <a:gd name="connsiteY41655" fmla="*/ 2061148 h 4687251"/>
              <a:gd name="connsiteX41656" fmla="*/ 4542181 w 8079933"/>
              <a:gd name="connsiteY41656" fmla="*/ 2067427 h 4687251"/>
              <a:gd name="connsiteX41657" fmla="*/ 4544785 w 8079933"/>
              <a:gd name="connsiteY41657" fmla="*/ 2067427 h 4687251"/>
              <a:gd name="connsiteX41658" fmla="*/ 4546847 w 8079933"/>
              <a:gd name="connsiteY41658" fmla="*/ 2063313 h 4687251"/>
              <a:gd name="connsiteX41659" fmla="*/ 4550211 w 8079933"/>
              <a:gd name="connsiteY41659" fmla="*/ 2061039 h 4687251"/>
              <a:gd name="connsiteX41660" fmla="*/ 4546847 w 8079933"/>
              <a:gd name="connsiteY41660" fmla="*/ 2060715 h 4687251"/>
              <a:gd name="connsiteX41661" fmla="*/ 4544785 w 8079933"/>
              <a:gd name="connsiteY41661" fmla="*/ 2059307 h 4687251"/>
              <a:gd name="connsiteX41662" fmla="*/ 4550754 w 8079933"/>
              <a:gd name="connsiteY41662" fmla="*/ 2055626 h 4687251"/>
              <a:gd name="connsiteX41663" fmla="*/ 4553575 w 8079933"/>
              <a:gd name="connsiteY41663" fmla="*/ 2052594 h 4687251"/>
              <a:gd name="connsiteX41664" fmla="*/ 4553249 w 8079933"/>
              <a:gd name="connsiteY41664" fmla="*/ 2050212 h 4687251"/>
              <a:gd name="connsiteX41665" fmla="*/ 4548909 w 8079933"/>
              <a:gd name="connsiteY41665" fmla="*/ 2053027 h 4687251"/>
              <a:gd name="connsiteX41666" fmla="*/ 4547389 w 8079933"/>
              <a:gd name="connsiteY41666" fmla="*/ 2051944 h 4687251"/>
              <a:gd name="connsiteX41667" fmla="*/ 4547823 w 8079933"/>
              <a:gd name="connsiteY41667" fmla="*/ 2049779 h 4687251"/>
              <a:gd name="connsiteX41668" fmla="*/ 4547932 w 8079933"/>
              <a:gd name="connsiteY41668" fmla="*/ 2046964 h 4687251"/>
              <a:gd name="connsiteX41669" fmla="*/ 4545653 w 8079933"/>
              <a:gd name="connsiteY41669" fmla="*/ 2043174 h 4687251"/>
              <a:gd name="connsiteX41670" fmla="*/ 4544893 w 8079933"/>
              <a:gd name="connsiteY41670" fmla="*/ 2039601 h 4687251"/>
              <a:gd name="connsiteX41671" fmla="*/ 4550536 w 8079933"/>
              <a:gd name="connsiteY41671" fmla="*/ 2034297 h 4687251"/>
              <a:gd name="connsiteX41672" fmla="*/ 4544676 w 8079933"/>
              <a:gd name="connsiteY41672" fmla="*/ 2034188 h 4687251"/>
              <a:gd name="connsiteX41673" fmla="*/ 4540010 w 8079933"/>
              <a:gd name="connsiteY41673" fmla="*/ 2035271 h 4687251"/>
              <a:gd name="connsiteX41674" fmla="*/ 4538165 w 8079933"/>
              <a:gd name="connsiteY41674" fmla="*/ 2034513 h 4687251"/>
              <a:gd name="connsiteX41675" fmla="*/ 4531871 w 8079933"/>
              <a:gd name="connsiteY41675" fmla="*/ 2036678 h 4687251"/>
              <a:gd name="connsiteX41676" fmla="*/ 4530244 w 8079933"/>
              <a:gd name="connsiteY41676" fmla="*/ 2033755 h 4687251"/>
              <a:gd name="connsiteX41677" fmla="*/ 4531871 w 8079933"/>
              <a:gd name="connsiteY41677" fmla="*/ 2031806 h 4687251"/>
              <a:gd name="connsiteX41678" fmla="*/ 4532089 w 8079933"/>
              <a:gd name="connsiteY41678" fmla="*/ 2026934 h 4687251"/>
              <a:gd name="connsiteX41679" fmla="*/ 4530244 w 8079933"/>
              <a:gd name="connsiteY41679" fmla="*/ 2023902 h 4687251"/>
              <a:gd name="connsiteX41680" fmla="*/ 4532089 w 8079933"/>
              <a:gd name="connsiteY41680" fmla="*/ 2019679 h 4687251"/>
              <a:gd name="connsiteX41681" fmla="*/ 4533716 w 8079933"/>
              <a:gd name="connsiteY41681" fmla="*/ 2015349 h 4687251"/>
              <a:gd name="connsiteX41682" fmla="*/ 4544568 w 8079933"/>
              <a:gd name="connsiteY41682" fmla="*/ 2007120 h 4687251"/>
              <a:gd name="connsiteX41683" fmla="*/ 4550102 w 8079933"/>
              <a:gd name="connsiteY41683" fmla="*/ 2007120 h 4687251"/>
              <a:gd name="connsiteX41684" fmla="*/ 4555853 w 8079933"/>
              <a:gd name="connsiteY41684" fmla="*/ 2011559 h 4687251"/>
              <a:gd name="connsiteX41685" fmla="*/ 4559869 w 8079933"/>
              <a:gd name="connsiteY41685" fmla="*/ 2011776 h 4687251"/>
              <a:gd name="connsiteX41686" fmla="*/ 4564101 w 8079933"/>
              <a:gd name="connsiteY41686" fmla="*/ 2007120 h 4687251"/>
              <a:gd name="connsiteX41687" fmla="*/ 4567139 w 8079933"/>
              <a:gd name="connsiteY41687" fmla="*/ 2006904 h 4687251"/>
              <a:gd name="connsiteX41688" fmla="*/ 4569852 w 8079933"/>
              <a:gd name="connsiteY41688" fmla="*/ 2010910 h 4687251"/>
              <a:gd name="connsiteX41689" fmla="*/ 4575495 w 8079933"/>
              <a:gd name="connsiteY41689" fmla="*/ 2008311 h 4687251"/>
              <a:gd name="connsiteX41690" fmla="*/ 4580162 w 8079933"/>
              <a:gd name="connsiteY41690" fmla="*/ 2010910 h 4687251"/>
              <a:gd name="connsiteX41691" fmla="*/ 4591230 w 8079933"/>
              <a:gd name="connsiteY41691" fmla="*/ 2010693 h 4687251"/>
              <a:gd name="connsiteX41692" fmla="*/ 4594811 w 8079933"/>
              <a:gd name="connsiteY41692" fmla="*/ 2009394 h 4687251"/>
              <a:gd name="connsiteX41693" fmla="*/ 4592967 w 8079933"/>
              <a:gd name="connsiteY41693" fmla="*/ 2006687 h 4687251"/>
              <a:gd name="connsiteX41694" fmla="*/ 4588517 w 8079933"/>
              <a:gd name="connsiteY41694" fmla="*/ 2008203 h 4687251"/>
              <a:gd name="connsiteX41695" fmla="*/ 4586889 w 8079933"/>
              <a:gd name="connsiteY41695" fmla="*/ 2005821 h 4687251"/>
              <a:gd name="connsiteX41696" fmla="*/ 4589928 w 8079933"/>
              <a:gd name="connsiteY41696" fmla="*/ 2001815 h 4687251"/>
              <a:gd name="connsiteX41697" fmla="*/ 4598392 w 8079933"/>
              <a:gd name="connsiteY41697" fmla="*/ 1999325 h 4687251"/>
              <a:gd name="connsiteX41698" fmla="*/ 4608159 w 8079933"/>
              <a:gd name="connsiteY41698" fmla="*/ 1999108 h 4687251"/>
              <a:gd name="connsiteX41699" fmla="*/ 4609135 w 8079933"/>
              <a:gd name="connsiteY41699" fmla="*/ 1996618 h 4687251"/>
              <a:gd name="connsiteX41700" fmla="*/ 4603493 w 8079933"/>
              <a:gd name="connsiteY41700" fmla="*/ 1995752 h 4687251"/>
              <a:gd name="connsiteX41701" fmla="*/ 4596765 w 8079933"/>
              <a:gd name="connsiteY41701" fmla="*/ 1995535 h 4687251"/>
              <a:gd name="connsiteX41702" fmla="*/ 4592424 w 8079933"/>
              <a:gd name="connsiteY41702" fmla="*/ 1988281 h 4687251"/>
              <a:gd name="connsiteX41703" fmla="*/ 4593509 w 8079933"/>
              <a:gd name="connsiteY41703" fmla="*/ 1985033 h 4687251"/>
              <a:gd name="connsiteX41704" fmla="*/ 4599478 w 8079933"/>
              <a:gd name="connsiteY41704" fmla="*/ 1983409 h 4687251"/>
              <a:gd name="connsiteX41705" fmla="*/ 4603167 w 8079933"/>
              <a:gd name="connsiteY41705" fmla="*/ 1984708 h 4687251"/>
              <a:gd name="connsiteX41706" fmla="*/ 4610329 w 8079933"/>
              <a:gd name="connsiteY41706" fmla="*/ 1982868 h 4687251"/>
              <a:gd name="connsiteX41707" fmla="*/ 4615647 w 8079933"/>
              <a:gd name="connsiteY41707" fmla="*/ 1983951 h 4687251"/>
              <a:gd name="connsiteX41708" fmla="*/ 4618468 w 8079933"/>
              <a:gd name="connsiteY41708" fmla="*/ 1981785 h 4687251"/>
              <a:gd name="connsiteX41709" fmla="*/ 4622483 w 8079933"/>
              <a:gd name="connsiteY41709" fmla="*/ 1981785 h 4687251"/>
              <a:gd name="connsiteX41710" fmla="*/ 4635180 w 8079933"/>
              <a:gd name="connsiteY41710" fmla="*/ 1986441 h 4687251"/>
              <a:gd name="connsiteX41711" fmla="*/ 4643644 w 8079933"/>
              <a:gd name="connsiteY41711" fmla="*/ 1986008 h 4687251"/>
              <a:gd name="connsiteX41712" fmla="*/ 4643210 w 8079933"/>
              <a:gd name="connsiteY41712" fmla="*/ 1983409 h 4687251"/>
              <a:gd name="connsiteX41713" fmla="*/ 4645489 w 8079933"/>
              <a:gd name="connsiteY41713" fmla="*/ 1982002 h 4687251"/>
              <a:gd name="connsiteX41714" fmla="*/ 4647767 w 8079933"/>
              <a:gd name="connsiteY41714" fmla="*/ 1976263 h 4687251"/>
              <a:gd name="connsiteX41715" fmla="*/ 4649937 w 8079933"/>
              <a:gd name="connsiteY41715" fmla="*/ 1974964 h 4687251"/>
              <a:gd name="connsiteX41716" fmla="*/ 4653953 w 8079933"/>
              <a:gd name="connsiteY41716" fmla="*/ 1970849 h 4687251"/>
              <a:gd name="connsiteX41717" fmla="*/ 4658076 w 8079933"/>
              <a:gd name="connsiteY41717" fmla="*/ 1969767 h 4687251"/>
              <a:gd name="connsiteX41718" fmla="*/ 4660681 w 8079933"/>
              <a:gd name="connsiteY41718" fmla="*/ 1966302 h 4687251"/>
              <a:gd name="connsiteX41719" fmla="*/ 4669470 w 8079933"/>
              <a:gd name="connsiteY41719" fmla="*/ 1964678 h 4687251"/>
              <a:gd name="connsiteX41720" fmla="*/ 4674571 w 8079933"/>
              <a:gd name="connsiteY41720" fmla="*/ 1964137 h 4687251"/>
              <a:gd name="connsiteX41721" fmla="*/ 4685639 w 8079933"/>
              <a:gd name="connsiteY41721" fmla="*/ 1959265 h 4687251"/>
              <a:gd name="connsiteX41722" fmla="*/ 4691391 w 8079933"/>
              <a:gd name="connsiteY41722" fmla="*/ 1957965 h 4687251"/>
              <a:gd name="connsiteX41723" fmla="*/ 4703111 w 8079933"/>
              <a:gd name="connsiteY41723" fmla="*/ 1958507 h 4687251"/>
              <a:gd name="connsiteX41724" fmla="*/ 4707885 w 8079933"/>
              <a:gd name="connsiteY41724" fmla="*/ 1957316 h 4687251"/>
              <a:gd name="connsiteX41725" fmla="*/ 4711467 w 8079933"/>
              <a:gd name="connsiteY41725" fmla="*/ 1958507 h 4687251"/>
              <a:gd name="connsiteX41726" fmla="*/ 4719063 w 8079933"/>
              <a:gd name="connsiteY41726" fmla="*/ 1958507 h 4687251"/>
              <a:gd name="connsiteX41727" fmla="*/ 4724814 w 8079933"/>
              <a:gd name="connsiteY41727" fmla="*/ 1955692 h 4687251"/>
              <a:gd name="connsiteX41728" fmla="*/ 4726334 w 8079933"/>
              <a:gd name="connsiteY41728" fmla="*/ 1956233 h 4687251"/>
              <a:gd name="connsiteX41729" fmla="*/ 4726984 w 8079933"/>
              <a:gd name="connsiteY41729" fmla="*/ 1960888 h 4687251"/>
              <a:gd name="connsiteX41730" fmla="*/ 4735666 w 8079933"/>
              <a:gd name="connsiteY41730" fmla="*/ 1968792 h 4687251"/>
              <a:gd name="connsiteX41731" fmla="*/ 4737836 w 8079933"/>
              <a:gd name="connsiteY41731" fmla="*/ 1967385 h 4687251"/>
              <a:gd name="connsiteX41732" fmla="*/ 4739898 w 8079933"/>
              <a:gd name="connsiteY41732" fmla="*/ 1968251 h 4687251"/>
              <a:gd name="connsiteX41733" fmla="*/ 4745649 w 8079933"/>
              <a:gd name="connsiteY41733" fmla="*/ 1962513 h 4687251"/>
              <a:gd name="connsiteX41734" fmla="*/ 4748362 w 8079933"/>
              <a:gd name="connsiteY41734" fmla="*/ 1961972 h 4687251"/>
              <a:gd name="connsiteX41735" fmla="*/ 4752160 w 8079933"/>
              <a:gd name="connsiteY41735" fmla="*/ 1965220 h 4687251"/>
              <a:gd name="connsiteX41736" fmla="*/ 4753245 w 8079933"/>
              <a:gd name="connsiteY41736" fmla="*/ 1970958 h 4687251"/>
              <a:gd name="connsiteX41737" fmla="*/ 4757369 w 8079933"/>
              <a:gd name="connsiteY41737" fmla="*/ 1976588 h 4687251"/>
              <a:gd name="connsiteX41738" fmla="*/ 4761384 w 8079933"/>
              <a:gd name="connsiteY41738" fmla="*/ 1977454 h 4687251"/>
              <a:gd name="connsiteX41739" fmla="*/ 4763554 w 8079933"/>
              <a:gd name="connsiteY41739" fmla="*/ 1974423 h 4687251"/>
              <a:gd name="connsiteX41740" fmla="*/ 4766051 w 8079933"/>
              <a:gd name="connsiteY41740" fmla="*/ 1974423 h 4687251"/>
              <a:gd name="connsiteX41741" fmla="*/ 4774406 w 8079933"/>
              <a:gd name="connsiteY41741" fmla="*/ 1980053 h 4687251"/>
              <a:gd name="connsiteX41742" fmla="*/ 4779073 w 8079933"/>
              <a:gd name="connsiteY41742" fmla="*/ 1980702 h 4687251"/>
              <a:gd name="connsiteX41743" fmla="*/ 4788297 w 8079933"/>
              <a:gd name="connsiteY41743" fmla="*/ 1985249 h 4687251"/>
              <a:gd name="connsiteX41744" fmla="*/ 4791226 w 8079933"/>
              <a:gd name="connsiteY41744" fmla="*/ 1983300 h 4687251"/>
              <a:gd name="connsiteX41745" fmla="*/ 4796652 w 8079933"/>
              <a:gd name="connsiteY41745" fmla="*/ 1987090 h 4687251"/>
              <a:gd name="connsiteX41746" fmla="*/ 4804791 w 8079933"/>
              <a:gd name="connsiteY41746" fmla="*/ 1988714 h 4687251"/>
              <a:gd name="connsiteX41747" fmla="*/ 4814883 w 8079933"/>
              <a:gd name="connsiteY41747" fmla="*/ 1984492 h 4687251"/>
              <a:gd name="connsiteX41748" fmla="*/ 4823564 w 8079933"/>
              <a:gd name="connsiteY41748" fmla="*/ 1983951 h 4687251"/>
              <a:gd name="connsiteX41749" fmla="*/ 4828339 w 8079933"/>
              <a:gd name="connsiteY41749" fmla="*/ 1982543 h 4687251"/>
              <a:gd name="connsiteX41750" fmla="*/ 4829750 w 8079933"/>
              <a:gd name="connsiteY41750" fmla="*/ 1983409 h 4687251"/>
              <a:gd name="connsiteX41751" fmla="*/ 4833114 w 8079933"/>
              <a:gd name="connsiteY41751" fmla="*/ 1983409 h 4687251"/>
              <a:gd name="connsiteX41752" fmla="*/ 4836044 w 8079933"/>
              <a:gd name="connsiteY41752" fmla="*/ 1985249 h 4687251"/>
              <a:gd name="connsiteX41753" fmla="*/ 4845810 w 8079933"/>
              <a:gd name="connsiteY41753" fmla="*/ 1987415 h 4687251"/>
              <a:gd name="connsiteX41754" fmla="*/ 4848740 w 8079933"/>
              <a:gd name="connsiteY41754" fmla="*/ 1985033 h 4687251"/>
              <a:gd name="connsiteX41755" fmla="*/ 4856119 w 8079933"/>
              <a:gd name="connsiteY41755" fmla="*/ 1984492 h 4687251"/>
              <a:gd name="connsiteX41756" fmla="*/ 4857530 w 8079933"/>
              <a:gd name="connsiteY41756" fmla="*/ 1980919 h 4687251"/>
              <a:gd name="connsiteX41757" fmla="*/ 4865560 w 8079933"/>
              <a:gd name="connsiteY41757" fmla="*/ 1976913 h 4687251"/>
              <a:gd name="connsiteX41758" fmla="*/ 4871529 w 8079933"/>
              <a:gd name="connsiteY41758" fmla="*/ 1973340 h 4687251"/>
              <a:gd name="connsiteX41759" fmla="*/ 4874459 w 8079933"/>
              <a:gd name="connsiteY41759" fmla="*/ 1967169 h 4687251"/>
              <a:gd name="connsiteX41760" fmla="*/ 4875544 w 8079933"/>
              <a:gd name="connsiteY41760" fmla="*/ 1965653 h 4687251"/>
              <a:gd name="connsiteX41761" fmla="*/ 4878447 w 8079933"/>
              <a:gd name="connsiteY41761" fmla="*/ 1965975 h 4687251"/>
              <a:gd name="connsiteX41762" fmla="*/ 4878366 w 8079933"/>
              <a:gd name="connsiteY41762" fmla="*/ 1965652 h 4687251"/>
              <a:gd name="connsiteX41763" fmla="*/ 4875436 w 8079933"/>
              <a:gd name="connsiteY41763" fmla="*/ 1965652 h 4687251"/>
              <a:gd name="connsiteX41764" fmla="*/ 4876087 w 8079933"/>
              <a:gd name="connsiteY41764" fmla="*/ 1964677 h 4687251"/>
              <a:gd name="connsiteX41765" fmla="*/ 4876087 w 8079933"/>
              <a:gd name="connsiteY41765" fmla="*/ 1963920 h 4687251"/>
              <a:gd name="connsiteX41766" fmla="*/ 4906580 w 8079933"/>
              <a:gd name="connsiteY41766" fmla="*/ 1958506 h 4687251"/>
              <a:gd name="connsiteX41767" fmla="*/ 4905820 w 8079933"/>
              <a:gd name="connsiteY41767" fmla="*/ 1952118 h 4687251"/>
              <a:gd name="connsiteX41768" fmla="*/ 4931101 w 8079933"/>
              <a:gd name="connsiteY41768" fmla="*/ 1951202 h 4687251"/>
              <a:gd name="connsiteX41769" fmla="*/ 4929694 w 8079933"/>
              <a:gd name="connsiteY41769" fmla="*/ 1950387 h 4687251"/>
              <a:gd name="connsiteX41770" fmla="*/ 4902781 w 8079933"/>
              <a:gd name="connsiteY41770" fmla="*/ 1951361 h 4687251"/>
              <a:gd name="connsiteX41771" fmla="*/ 4903541 w 8079933"/>
              <a:gd name="connsiteY41771" fmla="*/ 1957749 h 4687251"/>
              <a:gd name="connsiteX41772" fmla="*/ 4873048 w 8079933"/>
              <a:gd name="connsiteY41772" fmla="*/ 1963163 h 4687251"/>
              <a:gd name="connsiteX41773" fmla="*/ 4872180 w 8079933"/>
              <a:gd name="connsiteY41773" fmla="*/ 1959698 h 4687251"/>
              <a:gd name="connsiteX41774" fmla="*/ 4873807 w 8079933"/>
              <a:gd name="connsiteY41774" fmla="*/ 1956991 h 4687251"/>
              <a:gd name="connsiteX41775" fmla="*/ 4869684 w 8079933"/>
              <a:gd name="connsiteY41775" fmla="*/ 1949412 h 4687251"/>
              <a:gd name="connsiteX41776" fmla="*/ 4868382 w 8079933"/>
              <a:gd name="connsiteY41776" fmla="*/ 1939451 h 4687251"/>
              <a:gd name="connsiteX41777" fmla="*/ 4865452 w 8079933"/>
              <a:gd name="connsiteY41777" fmla="*/ 1935879 h 4687251"/>
              <a:gd name="connsiteX41778" fmla="*/ 4860351 w 8079933"/>
              <a:gd name="connsiteY41778" fmla="*/ 1927975 h 4687251"/>
              <a:gd name="connsiteX41779" fmla="*/ 4854600 w 8079933"/>
              <a:gd name="connsiteY41779" fmla="*/ 1927217 h 4687251"/>
              <a:gd name="connsiteX41780" fmla="*/ 4854600 w 8079933"/>
              <a:gd name="connsiteY41780" fmla="*/ 1924185 h 4687251"/>
              <a:gd name="connsiteX41781" fmla="*/ 4848414 w 8079933"/>
              <a:gd name="connsiteY41781" fmla="*/ 1918988 h 4687251"/>
              <a:gd name="connsiteX41782" fmla="*/ 4845919 w 8079933"/>
              <a:gd name="connsiteY41782" fmla="*/ 1920612 h 4687251"/>
              <a:gd name="connsiteX41783" fmla="*/ 4843531 w 8079933"/>
              <a:gd name="connsiteY41783" fmla="*/ 1919314 h 4687251"/>
              <a:gd name="connsiteX41784" fmla="*/ 4838865 w 8079933"/>
              <a:gd name="connsiteY41784" fmla="*/ 1918555 h 4687251"/>
              <a:gd name="connsiteX41785" fmla="*/ 4835067 w 8079933"/>
              <a:gd name="connsiteY41785" fmla="*/ 1912926 h 4687251"/>
              <a:gd name="connsiteX41786" fmla="*/ 4832571 w 8079933"/>
              <a:gd name="connsiteY41786" fmla="*/ 1912926 h 4687251"/>
              <a:gd name="connsiteX41787" fmla="*/ 4828014 w 8079933"/>
              <a:gd name="connsiteY41787" fmla="*/ 1911084 h 4687251"/>
              <a:gd name="connsiteX41788" fmla="*/ 4826603 w 8079933"/>
              <a:gd name="connsiteY41788" fmla="*/ 1907837 h 4687251"/>
              <a:gd name="connsiteX41789" fmla="*/ 4822805 w 8079933"/>
              <a:gd name="connsiteY41789" fmla="*/ 1907837 h 4687251"/>
              <a:gd name="connsiteX41790" fmla="*/ 4819006 w 8079933"/>
              <a:gd name="connsiteY41790" fmla="*/ 1904588 h 4687251"/>
              <a:gd name="connsiteX41791" fmla="*/ 4817596 w 8079933"/>
              <a:gd name="connsiteY41791" fmla="*/ 1901665 h 4687251"/>
              <a:gd name="connsiteX41792" fmla="*/ 4813255 w 8079933"/>
              <a:gd name="connsiteY41792" fmla="*/ 1900257 h 4687251"/>
              <a:gd name="connsiteX41793" fmla="*/ 4810108 w 8079933"/>
              <a:gd name="connsiteY41793" fmla="*/ 1894519 h 4687251"/>
              <a:gd name="connsiteX41794" fmla="*/ 4794699 w 8079933"/>
              <a:gd name="connsiteY41794" fmla="*/ 1883692 h 4687251"/>
              <a:gd name="connsiteX41795" fmla="*/ 4788405 w 8079933"/>
              <a:gd name="connsiteY41795" fmla="*/ 1882068 h 4687251"/>
              <a:gd name="connsiteX41796" fmla="*/ 4779181 w 8079933"/>
              <a:gd name="connsiteY41796" fmla="*/ 1876438 h 4687251"/>
              <a:gd name="connsiteX41797" fmla="*/ 4770283 w 8079933"/>
              <a:gd name="connsiteY41797" fmla="*/ 1877196 h 4687251"/>
              <a:gd name="connsiteX41798" fmla="*/ 4765074 w 8079933"/>
              <a:gd name="connsiteY41798" fmla="*/ 1871782 h 4687251"/>
              <a:gd name="connsiteX41799" fmla="*/ 4765074 w 8079933"/>
              <a:gd name="connsiteY41799" fmla="*/ 1868209 h 4687251"/>
              <a:gd name="connsiteX41800" fmla="*/ 4758563 w 8079933"/>
              <a:gd name="connsiteY41800" fmla="*/ 1862796 h 4687251"/>
              <a:gd name="connsiteX41801" fmla="*/ 4755850 w 8079933"/>
              <a:gd name="connsiteY41801" fmla="*/ 1862796 h 4687251"/>
              <a:gd name="connsiteX41802" fmla="*/ 4750207 w 8079933"/>
              <a:gd name="connsiteY41802" fmla="*/ 1862038 h 4687251"/>
              <a:gd name="connsiteX41803" fmla="*/ 4753462 w 8079933"/>
              <a:gd name="connsiteY41803" fmla="*/ 1859331 h 4687251"/>
              <a:gd name="connsiteX41804" fmla="*/ 4757044 w 8079933"/>
              <a:gd name="connsiteY41804" fmla="*/ 1857707 h 4687251"/>
              <a:gd name="connsiteX41805" fmla="*/ 4755199 w 8079933"/>
              <a:gd name="connsiteY41805" fmla="*/ 1854242 h 4687251"/>
              <a:gd name="connsiteX41806" fmla="*/ 4755199 w 8079933"/>
              <a:gd name="connsiteY41806" fmla="*/ 1852078 h 4687251"/>
              <a:gd name="connsiteX41807" fmla="*/ 4760408 w 8079933"/>
              <a:gd name="connsiteY41807" fmla="*/ 1853376 h 4687251"/>
              <a:gd name="connsiteX41808" fmla="*/ 4764206 w 8079933"/>
              <a:gd name="connsiteY41808" fmla="*/ 1856300 h 4687251"/>
              <a:gd name="connsiteX41809" fmla="*/ 4765291 w 8079933"/>
              <a:gd name="connsiteY41809" fmla="*/ 1855542 h 4687251"/>
              <a:gd name="connsiteX41810" fmla="*/ 4769957 w 8079933"/>
              <a:gd name="connsiteY41810" fmla="*/ 1856300 h 4687251"/>
              <a:gd name="connsiteX41811" fmla="*/ 4771042 w 8079933"/>
              <a:gd name="connsiteY41811" fmla="*/ 1849478 h 4687251"/>
              <a:gd name="connsiteX41812" fmla="*/ 4768655 w 8079933"/>
              <a:gd name="connsiteY41812" fmla="*/ 1847854 h 4687251"/>
              <a:gd name="connsiteX41813" fmla="*/ 4768655 w 8079933"/>
              <a:gd name="connsiteY41813" fmla="*/ 1843524 h 4687251"/>
              <a:gd name="connsiteX41814" fmla="*/ 4773755 w 8079933"/>
              <a:gd name="connsiteY41814" fmla="*/ 1838435 h 4687251"/>
              <a:gd name="connsiteX41815" fmla="*/ 4773755 w 8079933"/>
              <a:gd name="connsiteY41815" fmla="*/ 1836595 h 4687251"/>
              <a:gd name="connsiteX41816" fmla="*/ 4775709 w 8079933"/>
              <a:gd name="connsiteY41816" fmla="*/ 1834754 h 4687251"/>
              <a:gd name="connsiteX41817" fmla="*/ 4778964 w 8079933"/>
              <a:gd name="connsiteY41817" fmla="*/ 1834754 h 4687251"/>
              <a:gd name="connsiteX41818" fmla="*/ 4780917 w 8079933"/>
              <a:gd name="connsiteY41818" fmla="*/ 1831830 h 4687251"/>
              <a:gd name="connsiteX41819" fmla="*/ 4783956 w 8079933"/>
              <a:gd name="connsiteY41819" fmla="*/ 1831073 h 4687251"/>
              <a:gd name="connsiteX41820" fmla="*/ 4783956 w 8079933"/>
              <a:gd name="connsiteY41820" fmla="*/ 1829124 h 4687251"/>
              <a:gd name="connsiteX41821" fmla="*/ 4779072 w 8079933"/>
              <a:gd name="connsiteY41821" fmla="*/ 1827717 h 4687251"/>
              <a:gd name="connsiteX41822" fmla="*/ 4777770 w 8079933"/>
              <a:gd name="connsiteY41822" fmla="*/ 1825226 h 4687251"/>
              <a:gd name="connsiteX41823" fmla="*/ 4775274 w 8079933"/>
              <a:gd name="connsiteY41823" fmla="*/ 1827391 h 4687251"/>
              <a:gd name="connsiteX41824" fmla="*/ 4771802 w 8079933"/>
              <a:gd name="connsiteY41824" fmla="*/ 1823927 h 4687251"/>
              <a:gd name="connsiteX41825" fmla="*/ 4768546 w 8079933"/>
              <a:gd name="connsiteY41825" fmla="*/ 1816889 h 4687251"/>
              <a:gd name="connsiteX41826" fmla="*/ 4776685 w 8079933"/>
              <a:gd name="connsiteY41826" fmla="*/ 1815807 h 4687251"/>
              <a:gd name="connsiteX41827" fmla="*/ 4782545 w 8079933"/>
              <a:gd name="connsiteY41827" fmla="*/ 1816889 h 4687251"/>
              <a:gd name="connsiteX41828" fmla="*/ 4785583 w 8079933"/>
              <a:gd name="connsiteY41828" fmla="*/ 1813425 h 4687251"/>
              <a:gd name="connsiteX41829" fmla="*/ 4782545 w 8079933"/>
              <a:gd name="connsiteY41829" fmla="*/ 1813425 h 4687251"/>
              <a:gd name="connsiteX41830" fmla="*/ 4780158 w 8079933"/>
              <a:gd name="connsiteY41830" fmla="*/ 1811151 h 4687251"/>
              <a:gd name="connsiteX41831" fmla="*/ 4785366 w 8079933"/>
              <a:gd name="connsiteY41831" fmla="*/ 1807578 h 4687251"/>
              <a:gd name="connsiteX41832" fmla="*/ 4797846 w 8079933"/>
              <a:gd name="connsiteY41832" fmla="*/ 1800865 h 4687251"/>
              <a:gd name="connsiteX41833" fmla="*/ 4799148 w 8079933"/>
              <a:gd name="connsiteY41833" fmla="*/ 1797292 h 4687251"/>
              <a:gd name="connsiteX41834" fmla="*/ 4797737 w 8079933"/>
              <a:gd name="connsiteY41834" fmla="*/ 1794802 h 4687251"/>
              <a:gd name="connsiteX41835" fmla="*/ 4791443 w 8079933"/>
              <a:gd name="connsiteY41835" fmla="*/ 1795668 h 4687251"/>
              <a:gd name="connsiteX41836" fmla="*/ 4786234 w 8079933"/>
              <a:gd name="connsiteY41836" fmla="*/ 1799241 h 4687251"/>
              <a:gd name="connsiteX41837" fmla="*/ 4782892 w 8079933"/>
              <a:gd name="connsiteY41837" fmla="*/ 1798648 h 4687251"/>
              <a:gd name="connsiteX41838" fmla="*/ 4782871 w 8079933"/>
              <a:gd name="connsiteY41838" fmla="*/ 1798808 h 4687251"/>
              <a:gd name="connsiteX41839" fmla="*/ 4782871 w 8079933"/>
              <a:gd name="connsiteY41839" fmla="*/ 1799241 h 4687251"/>
              <a:gd name="connsiteX41840" fmla="*/ 4778313 w 8079933"/>
              <a:gd name="connsiteY41840" fmla="*/ 1800865 h 4687251"/>
              <a:gd name="connsiteX41841" fmla="*/ 4777879 w 8079933"/>
              <a:gd name="connsiteY41841" fmla="*/ 1798266 h 4687251"/>
              <a:gd name="connsiteX41842" fmla="*/ 4775274 w 8079933"/>
              <a:gd name="connsiteY41842" fmla="*/ 1797942 h 4687251"/>
              <a:gd name="connsiteX41843" fmla="*/ 4769306 w 8079933"/>
              <a:gd name="connsiteY41843" fmla="*/ 1800432 h 4687251"/>
              <a:gd name="connsiteX41844" fmla="*/ 4763338 w 8079933"/>
              <a:gd name="connsiteY41844" fmla="*/ 1799891 h 4687251"/>
              <a:gd name="connsiteX41845" fmla="*/ 4760299 w 8079933"/>
              <a:gd name="connsiteY41845" fmla="*/ 1802272 h 4687251"/>
              <a:gd name="connsiteX41846" fmla="*/ 4758346 w 8079933"/>
              <a:gd name="connsiteY41846" fmla="*/ 1806387 h 4687251"/>
              <a:gd name="connsiteX41847" fmla="*/ 4753029 w 8079933"/>
              <a:gd name="connsiteY41847" fmla="*/ 1806820 h 4687251"/>
              <a:gd name="connsiteX41848" fmla="*/ 4750533 w 8079933"/>
              <a:gd name="connsiteY41848" fmla="*/ 1810393 h 4687251"/>
              <a:gd name="connsiteX41849" fmla="*/ 4745433 w 8079933"/>
              <a:gd name="connsiteY41849" fmla="*/ 1815807 h 4687251"/>
              <a:gd name="connsiteX41850" fmla="*/ 4743697 w 8079933"/>
              <a:gd name="connsiteY41850" fmla="*/ 1815265 h 4687251"/>
              <a:gd name="connsiteX41851" fmla="*/ 4738813 w 8079933"/>
              <a:gd name="connsiteY41851" fmla="*/ 1815807 h 4687251"/>
              <a:gd name="connsiteX41852" fmla="*/ 4734798 w 8079933"/>
              <a:gd name="connsiteY41852" fmla="*/ 1818838 h 4687251"/>
              <a:gd name="connsiteX41853" fmla="*/ 4728504 w 8079933"/>
              <a:gd name="connsiteY41853" fmla="*/ 1817430 h 4687251"/>
              <a:gd name="connsiteX41854" fmla="*/ 4723621 w 8079933"/>
              <a:gd name="connsiteY41854" fmla="*/ 1820462 h 4687251"/>
              <a:gd name="connsiteX41855" fmla="*/ 4720474 w 8079933"/>
              <a:gd name="connsiteY41855" fmla="*/ 1819920 h 4687251"/>
              <a:gd name="connsiteX41856" fmla="*/ 4717435 w 8079933"/>
              <a:gd name="connsiteY41856" fmla="*/ 1814724 h 4687251"/>
              <a:gd name="connsiteX41857" fmla="*/ 4715265 w 8079933"/>
              <a:gd name="connsiteY41857" fmla="*/ 1814940 h 4687251"/>
              <a:gd name="connsiteX41858" fmla="*/ 4716676 w 8079933"/>
              <a:gd name="connsiteY41858" fmla="*/ 1817755 h 4687251"/>
              <a:gd name="connsiteX41859" fmla="*/ 4719389 w 8079933"/>
              <a:gd name="connsiteY41859" fmla="*/ 1821220 h 4687251"/>
              <a:gd name="connsiteX41860" fmla="*/ 4718303 w 8079933"/>
              <a:gd name="connsiteY41860" fmla="*/ 1824252 h 4687251"/>
              <a:gd name="connsiteX41861" fmla="*/ 4713203 w 8079933"/>
              <a:gd name="connsiteY41861" fmla="*/ 1831505 h 4687251"/>
              <a:gd name="connsiteX41862" fmla="*/ 4710382 w 8079933"/>
              <a:gd name="connsiteY41862" fmla="*/ 1833130 h 4687251"/>
              <a:gd name="connsiteX41863" fmla="*/ 4709296 w 8079933"/>
              <a:gd name="connsiteY41863" fmla="*/ 1830964 h 4687251"/>
              <a:gd name="connsiteX41864" fmla="*/ 4711141 w 8079933"/>
              <a:gd name="connsiteY41864" fmla="*/ 1829881 h 4687251"/>
              <a:gd name="connsiteX41865" fmla="*/ 4715808 w 8079933"/>
              <a:gd name="connsiteY41865" fmla="*/ 1824252 h 4687251"/>
              <a:gd name="connsiteX41866" fmla="*/ 4715048 w 8079933"/>
              <a:gd name="connsiteY41866" fmla="*/ 1822303 h 4687251"/>
              <a:gd name="connsiteX41867" fmla="*/ 4712552 w 8079933"/>
              <a:gd name="connsiteY41867" fmla="*/ 1820678 h 4687251"/>
              <a:gd name="connsiteX41868" fmla="*/ 4711684 w 8079933"/>
              <a:gd name="connsiteY41868" fmla="*/ 1823385 h 4687251"/>
              <a:gd name="connsiteX41869" fmla="*/ 4704413 w 8079933"/>
              <a:gd name="connsiteY41869" fmla="*/ 1830964 h 4687251"/>
              <a:gd name="connsiteX41870" fmla="*/ 4700073 w 8079933"/>
              <a:gd name="connsiteY41870" fmla="*/ 1831722 h 4687251"/>
              <a:gd name="connsiteX41871" fmla="*/ 4699313 w 8079933"/>
              <a:gd name="connsiteY41871" fmla="*/ 1834537 h 4687251"/>
              <a:gd name="connsiteX41872" fmla="*/ 4694321 w 8079933"/>
              <a:gd name="connsiteY41872" fmla="*/ 1834537 h 4687251"/>
              <a:gd name="connsiteX41873" fmla="*/ 4690849 w 8079933"/>
              <a:gd name="connsiteY41873" fmla="*/ 1832047 h 4687251"/>
              <a:gd name="connsiteX41874" fmla="*/ 4687919 w 8079933"/>
              <a:gd name="connsiteY41874" fmla="*/ 1834754 h 4687251"/>
              <a:gd name="connsiteX41875" fmla="*/ 4682710 w 8079933"/>
              <a:gd name="connsiteY41875" fmla="*/ 1833887 h 4687251"/>
              <a:gd name="connsiteX41876" fmla="*/ 4681950 w 8079933"/>
              <a:gd name="connsiteY41876" fmla="*/ 1835836 h 4687251"/>
              <a:gd name="connsiteX41877" fmla="*/ 4685098 w 8079933"/>
              <a:gd name="connsiteY41877" fmla="*/ 1837785 h 4687251"/>
              <a:gd name="connsiteX41878" fmla="*/ 4692694 w 8079933"/>
              <a:gd name="connsiteY41878" fmla="*/ 1837244 h 4687251"/>
              <a:gd name="connsiteX41879" fmla="*/ 4695515 w 8079933"/>
              <a:gd name="connsiteY41879" fmla="*/ 1840709 h 4687251"/>
              <a:gd name="connsiteX41880" fmla="*/ 4698445 w 8079933"/>
              <a:gd name="connsiteY41880" fmla="*/ 1842874 h 4687251"/>
              <a:gd name="connsiteX41881" fmla="*/ 4701158 w 8079933"/>
              <a:gd name="connsiteY41881" fmla="*/ 1841466 h 4687251"/>
              <a:gd name="connsiteX41882" fmla="*/ 4702785 w 8079933"/>
              <a:gd name="connsiteY41882" fmla="*/ 1843740 h 4687251"/>
              <a:gd name="connsiteX41883" fmla="*/ 4700398 w 8079933"/>
              <a:gd name="connsiteY41883" fmla="*/ 1846664 h 4687251"/>
              <a:gd name="connsiteX41884" fmla="*/ 4700615 w 8079933"/>
              <a:gd name="connsiteY41884" fmla="*/ 1848829 h 4687251"/>
              <a:gd name="connsiteX41885" fmla="*/ 4702785 w 8079933"/>
              <a:gd name="connsiteY41885" fmla="*/ 1847421 h 4687251"/>
              <a:gd name="connsiteX41886" fmla="*/ 4704956 w 8079933"/>
              <a:gd name="connsiteY41886" fmla="*/ 1847421 h 4687251"/>
              <a:gd name="connsiteX41887" fmla="*/ 4704196 w 8079933"/>
              <a:gd name="connsiteY41887" fmla="*/ 1851211 h 4687251"/>
              <a:gd name="connsiteX41888" fmla="*/ 4707126 w 8079933"/>
              <a:gd name="connsiteY41888" fmla="*/ 1848504 h 4687251"/>
              <a:gd name="connsiteX41889" fmla="*/ 4709622 w 8079933"/>
              <a:gd name="connsiteY41889" fmla="*/ 1850128 h 4687251"/>
              <a:gd name="connsiteX41890" fmla="*/ 4710708 w 8079933"/>
              <a:gd name="connsiteY41890" fmla="*/ 1855542 h 4687251"/>
              <a:gd name="connsiteX41891" fmla="*/ 4713421 w 8079933"/>
              <a:gd name="connsiteY41891" fmla="*/ 1858356 h 4687251"/>
              <a:gd name="connsiteX41892" fmla="*/ 4718846 w 8079933"/>
              <a:gd name="connsiteY41892" fmla="*/ 1859980 h 4687251"/>
              <a:gd name="connsiteX41893" fmla="*/ 4721234 w 8079933"/>
              <a:gd name="connsiteY41893" fmla="*/ 1858789 h 4687251"/>
              <a:gd name="connsiteX41894" fmla="*/ 4713203 w 8079933"/>
              <a:gd name="connsiteY41894" fmla="*/ 1851211 h 4687251"/>
              <a:gd name="connsiteX41895" fmla="*/ 4704956 w 8079933"/>
              <a:gd name="connsiteY41895" fmla="*/ 1841033 h 4687251"/>
              <a:gd name="connsiteX41896" fmla="*/ 4702569 w 8079933"/>
              <a:gd name="connsiteY41896" fmla="*/ 1834970 h 4687251"/>
              <a:gd name="connsiteX41897" fmla="*/ 4704630 w 8079933"/>
              <a:gd name="connsiteY41897" fmla="*/ 1833671 h 4687251"/>
              <a:gd name="connsiteX41898" fmla="*/ 4708211 w 8079933"/>
              <a:gd name="connsiteY41898" fmla="*/ 1838760 h 4687251"/>
              <a:gd name="connsiteX41899" fmla="*/ 4710056 w 8079933"/>
              <a:gd name="connsiteY41899" fmla="*/ 1845039 h 4687251"/>
              <a:gd name="connsiteX41900" fmla="*/ 4721559 w 8079933"/>
              <a:gd name="connsiteY41900" fmla="*/ 1857707 h 4687251"/>
              <a:gd name="connsiteX41901" fmla="*/ 4724272 w 8079933"/>
              <a:gd name="connsiteY41901" fmla="*/ 1858789 h 4687251"/>
              <a:gd name="connsiteX41902" fmla="*/ 4728287 w 8079933"/>
              <a:gd name="connsiteY41902" fmla="*/ 1854567 h 4687251"/>
              <a:gd name="connsiteX41903" fmla="*/ 4731000 w 8079933"/>
              <a:gd name="connsiteY41903" fmla="*/ 1854458 h 4687251"/>
              <a:gd name="connsiteX41904" fmla="*/ 4735449 w 8079933"/>
              <a:gd name="connsiteY41904" fmla="*/ 1857274 h 4687251"/>
              <a:gd name="connsiteX41905" fmla="*/ 4737294 w 8079933"/>
              <a:gd name="connsiteY41905" fmla="*/ 1852401 h 4687251"/>
              <a:gd name="connsiteX41906" fmla="*/ 4744890 w 8079933"/>
              <a:gd name="connsiteY41906" fmla="*/ 1851535 h 4687251"/>
              <a:gd name="connsiteX41907" fmla="*/ 4751184 w 8079933"/>
              <a:gd name="connsiteY41907" fmla="*/ 1851860 h 4687251"/>
              <a:gd name="connsiteX41908" fmla="*/ 4749448 w 8079933"/>
              <a:gd name="connsiteY41908" fmla="*/ 1855000 h 4687251"/>
              <a:gd name="connsiteX41909" fmla="*/ 4747060 w 8079933"/>
              <a:gd name="connsiteY41909" fmla="*/ 1856949 h 4687251"/>
              <a:gd name="connsiteX41910" fmla="*/ 4749231 w 8079933"/>
              <a:gd name="connsiteY41910" fmla="*/ 1861280 h 4687251"/>
              <a:gd name="connsiteX41911" fmla="*/ 4746410 w 8079933"/>
              <a:gd name="connsiteY41911" fmla="*/ 1864744 h 4687251"/>
              <a:gd name="connsiteX41912" fmla="*/ 4738162 w 8079933"/>
              <a:gd name="connsiteY41912" fmla="*/ 1865394 h 4687251"/>
              <a:gd name="connsiteX41913" fmla="*/ 4728829 w 8079933"/>
              <a:gd name="connsiteY41913" fmla="*/ 1863770 h 4687251"/>
              <a:gd name="connsiteX41914" fmla="*/ 4723187 w 8079933"/>
              <a:gd name="connsiteY41914" fmla="*/ 1866910 h 4687251"/>
              <a:gd name="connsiteX41915" fmla="*/ 4719063 w 8079933"/>
              <a:gd name="connsiteY41915" fmla="*/ 1872649 h 4687251"/>
              <a:gd name="connsiteX41916" fmla="*/ 4711467 w 8079933"/>
              <a:gd name="connsiteY41916" fmla="*/ 1872432 h 4687251"/>
              <a:gd name="connsiteX41917" fmla="*/ 4700398 w 8079933"/>
              <a:gd name="connsiteY41917" fmla="*/ 1880768 h 4687251"/>
              <a:gd name="connsiteX41918" fmla="*/ 4692151 w 8079933"/>
              <a:gd name="connsiteY41918" fmla="*/ 1884558 h 4687251"/>
              <a:gd name="connsiteX41919" fmla="*/ 4683470 w 8079933"/>
              <a:gd name="connsiteY41919" fmla="*/ 1884233 h 4687251"/>
              <a:gd name="connsiteX41920" fmla="*/ 4679237 w 8079933"/>
              <a:gd name="connsiteY41920" fmla="*/ 1880985 h 4687251"/>
              <a:gd name="connsiteX41921" fmla="*/ 4680540 w 8079933"/>
              <a:gd name="connsiteY41921" fmla="*/ 1879145 h 4687251"/>
              <a:gd name="connsiteX41922" fmla="*/ 4683470 w 8079933"/>
              <a:gd name="connsiteY41922" fmla="*/ 1870483 h 4687251"/>
              <a:gd name="connsiteX41923" fmla="*/ 4683035 w 8079933"/>
              <a:gd name="connsiteY41923" fmla="*/ 1867018 h 4687251"/>
              <a:gd name="connsiteX41924" fmla="*/ 4675439 w 8079933"/>
              <a:gd name="connsiteY41924" fmla="*/ 1861064 h 4687251"/>
              <a:gd name="connsiteX41925" fmla="*/ 4672726 w 8079933"/>
              <a:gd name="connsiteY41925" fmla="*/ 1861496 h 4687251"/>
              <a:gd name="connsiteX41926" fmla="*/ 4667518 w 8079933"/>
              <a:gd name="connsiteY41926" fmla="*/ 1858898 h 4687251"/>
              <a:gd name="connsiteX41927" fmla="*/ 4664262 w 8079933"/>
              <a:gd name="connsiteY41927" fmla="*/ 1861605 h 4687251"/>
              <a:gd name="connsiteX41928" fmla="*/ 4660139 w 8079933"/>
              <a:gd name="connsiteY41928" fmla="*/ 1859872 h 4687251"/>
              <a:gd name="connsiteX41929" fmla="*/ 4664913 w 8079933"/>
              <a:gd name="connsiteY41929" fmla="*/ 1852401 h 4687251"/>
              <a:gd name="connsiteX41930" fmla="*/ 4673486 w 8079933"/>
              <a:gd name="connsiteY41930" fmla="*/ 1847421 h 4687251"/>
              <a:gd name="connsiteX41931" fmla="*/ 4680540 w 8079933"/>
              <a:gd name="connsiteY41931" fmla="*/ 1846122 h 4687251"/>
              <a:gd name="connsiteX41932" fmla="*/ 4682493 w 8079933"/>
              <a:gd name="connsiteY41932" fmla="*/ 1844823 h 4687251"/>
              <a:gd name="connsiteX41933" fmla="*/ 4679780 w 8079933"/>
              <a:gd name="connsiteY41933" fmla="*/ 1841575 h 4687251"/>
              <a:gd name="connsiteX41934" fmla="*/ 4678695 w 8079933"/>
              <a:gd name="connsiteY41934" fmla="*/ 1835620 h 4687251"/>
              <a:gd name="connsiteX41935" fmla="*/ 4676524 w 8079933"/>
              <a:gd name="connsiteY41935" fmla="*/ 1834645 h 4687251"/>
              <a:gd name="connsiteX41936" fmla="*/ 4674680 w 8079933"/>
              <a:gd name="connsiteY41936" fmla="*/ 1838001 h 4687251"/>
              <a:gd name="connsiteX41937" fmla="*/ 4670882 w 8079933"/>
              <a:gd name="connsiteY41937" fmla="*/ 1835836 h 4687251"/>
              <a:gd name="connsiteX41938" fmla="*/ 4665456 w 8079933"/>
              <a:gd name="connsiteY41938" fmla="*/ 1833562 h 4687251"/>
              <a:gd name="connsiteX41939" fmla="*/ 4659705 w 8079933"/>
              <a:gd name="connsiteY41939" fmla="*/ 1834537 h 4687251"/>
              <a:gd name="connsiteX41940" fmla="*/ 4654713 w 8079933"/>
              <a:gd name="connsiteY41940" fmla="*/ 1837136 h 4687251"/>
              <a:gd name="connsiteX41941" fmla="*/ 4650372 w 8079933"/>
              <a:gd name="connsiteY41941" fmla="*/ 1834645 h 4687251"/>
              <a:gd name="connsiteX41942" fmla="*/ 4647008 w 8079933"/>
              <a:gd name="connsiteY41942" fmla="*/ 1834321 h 4687251"/>
              <a:gd name="connsiteX41943" fmla="*/ 4643535 w 8079933"/>
              <a:gd name="connsiteY41943" fmla="*/ 1831289 h 4687251"/>
              <a:gd name="connsiteX41944" fmla="*/ 4646140 w 8079933"/>
              <a:gd name="connsiteY41944" fmla="*/ 1829665 h 4687251"/>
              <a:gd name="connsiteX41945" fmla="*/ 4647116 w 8079933"/>
              <a:gd name="connsiteY41945" fmla="*/ 1827824 h 4687251"/>
              <a:gd name="connsiteX41946" fmla="*/ 4640063 w 8079933"/>
              <a:gd name="connsiteY41946" fmla="*/ 1825550 h 4687251"/>
              <a:gd name="connsiteX41947" fmla="*/ 4631382 w 8079933"/>
              <a:gd name="connsiteY41947" fmla="*/ 1825550 h 4687251"/>
              <a:gd name="connsiteX41948" fmla="*/ 4629320 w 8079933"/>
              <a:gd name="connsiteY41948" fmla="*/ 1822519 h 4687251"/>
              <a:gd name="connsiteX41949" fmla="*/ 4634637 w 8079933"/>
              <a:gd name="connsiteY41949" fmla="*/ 1822519 h 4687251"/>
              <a:gd name="connsiteX41950" fmla="*/ 4642993 w 8079933"/>
              <a:gd name="connsiteY41950" fmla="*/ 1821436 h 4687251"/>
              <a:gd name="connsiteX41951" fmla="*/ 4647333 w 8079933"/>
              <a:gd name="connsiteY41951" fmla="*/ 1822844 h 4687251"/>
              <a:gd name="connsiteX41952" fmla="*/ 4650372 w 8079933"/>
              <a:gd name="connsiteY41952" fmla="*/ 1821220 h 4687251"/>
              <a:gd name="connsiteX41953" fmla="*/ 4655364 w 8079933"/>
              <a:gd name="connsiteY41953" fmla="*/ 1818188 h 4687251"/>
              <a:gd name="connsiteX41954" fmla="*/ 4648201 w 8079933"/>
              <a:gd name="connsiteY41954" fmla="*/ 1819920 h 4687251"/>
              <a:gd name="connsiteX41955" fmla="*/ 4644512 w 8079933"/>
              <a:gd name="connsiteY41955" fmla="*/ 1818730 h 4687251"/>
              <a:gd name="connsiteX41956" fmla="*/ 4641691 w 8079933"/>
              <a:gd name="connsiteY41956" fmla="*/ 1816564 h 4687251"/>
              <a:gd name="connsiteX41957" fmla="*/ 4640063 w 8079933"/>
              <a:gd name="connsiteY41957" fmla="*/ 1813857 h 4687251"/>
              <a:gd name="connsiteX41958" fmla="*/ 4638001 w 8079933"/>
              <a:gd name="connsiteY41958" fmla="*/ 1817105 h 4687251"/>
              <a:gd name="connsiteX41959" fmla="*/ 4636048 w 8079933"/>
              <a:gd name="connsiteY41959" fmla="*/ 1819812 h 4687251"/>
              <a:gd name="connsiteX41960" fmla="*/ 4631708 w 8079933"/>
              <a:gd name="connsiteY41960" fmla="*/ 1819812 h 4687251"/>
              <a:gd name="connsiteX41961" fmla="*/ 4631816 w 8079933"/>
              <a:gd name="connsiteY41961" fmla="*/ 1818513 h 4687251"/>
              <a:gd name="connsiteX41962" fmla="*/ 4629211 w 8079933"/>
              <a:gd name="connsiteY41962" fmla="*/ 1816022 h 4687251"/>
              <a:gd name="connsiteX41963" fmla="*/ 4624437 w 8079933"/>
              <a:gd name="connsiteY41963" fmla="*/ 1821977 h 4687251"/>
              <a:gd name="connsiteX41964" fmla="*/ 4618902 w 8079933"/>
              <a:gd name="connsiteY41964" fmla="*/ 1822303 h 4687251"/>
              <a:gd name="connsiteX41965" fmla="*/ 4615430 w 8079933"/>
              <a:gd name="connsiteY41965" fmla="*/ 1825009 h 4687251"/>
              <a:gd name="connsiteX41966" fmla="*/ 4615430 w 8079933"/>
              <a:gd name="connsiteY41966" fmla="*/ 1830964 h 4687251"/>
              <a:gd name="connsiteX41967" fmla="*/ 4610546 w 8079933"/>
              <a:gd name="connsiteY41967" fmla="*/ 1837244 h 4687251"/>
              <a:gd name="connsiteX41968" fmla="*/ 4608051 w 8079933"/>
              <a:gd name="connsiteY41968" fmla="*/ 1837244 h 4687251"/>
              <a:gd name="connsiteX41969" fmla="*/ 4609461 w 8079933"/>
              <a:gd name="connsiteY41969" fmla="*/ 1840383 h 4687251"/>
              <a:gd name="connsiteX41970" fmla="*/ 4600455 w 8079933"/>
              <a:gd name="connsiteY41970" fmla="*/ 1851211 h 4687251"/>
              <a:gd name="connsiteX41971" fmla="*/ 4597307 w 8079933"/>
              <a:gd name="connsiteY41971" fmla="*/ 1851211 h 4687251"/>
              <a:gd name="connsiteX41972" fmla="*/ 4595354 w 8079933"/>
              <a:gd name="connsiteY41972" fmla="*/ 1848071 h 4687251"/>
              <a:gd name="connsiteX41973" fmla="*/ 4595138 w 8079933"/>
              <a:gd name="connsiteY41973" fmla="*/ 1851535 h 4687251"/>
              <a:gd name="connsiteX41974" fmla="*/ 4594594 w 8079933"/>
              <a:gd name="connsiteY41974" fmla="*/ 1854458 h 4687251"/>
              <a:gd name="connsiteX41975" fmla="*/ 4596982 w 8079933"/>
              <a:gd name="connsiteY41975" fmla="*/ 1857274 h 4687251"/>
              <a:gd name="connsiteX41976" fmla="*/ 4596114 w 8079933"/>
              <a:gd name="connsiteY41976" fmla="*/ 1861496 h 4687251"/>
              <a:gd name="connsiteX41977" fmla="*/ 4596006 w 8079933"/>
              <a:gd name="connsiteY41977" fmla="*/ 1861496 h 4687251"/>
              <a:gd name="connsiteX41978" fmla="*/ 4596005 w 8079933"/>
              <a:gd name="connsiteY41978" fmla="*/ 1861495 h 4687251"/>
              <a:gd name="connsiteX41979" fmla="*/ 4593509 w 8079933"/>
              <a:gd name="connsiteY41979" fmla="*/ 1863985 h 4687251"/>
              <a:gd name="connsiteX41980" fmla="*/ 4596113 w 8079933"/>
              <a:gd name="connsiteY41980" fmla="*/ 1865934 h 4687251"/>
              <a:gd name="connsiteX41981" fmla="*/ 4596113 w 8079933"/>
              <a:gd name="connsiteY41981" fmla="*/ 1869616 h 4687251"/>
              <a:gd name="connsiteX41982" fmla="*/ 4592641 w 8079933"/>
              <a:gd name="connsiteY41982" fmla="*/ 1875679 h 4687251"/>
              <a:gd name="connsiteX41983" fmla="*/ 4587540 w 8079933"/>
              <a:gd name="connsiteY41983" fmla="*/ 1876761 h 4687251"/>
              <a:gd name="connsiteX41984" fmla="*/ 4579293 w 8079933"/>
              <a:gd name="connsiteY41984" fmla="*/ 1877303 h 4687251"/>
              <a:gd name="connsiteX41985" fmla="*/ 4577991 w 8079933"/>
              <a:gd name="connsiteY41985" fmla="*/ 1882391 h 4687251"/>
              <a:gd name="connsiteX41986" fmla="*/ 4574952 w 8079933"/>
              <a:gd name="connsiteY41986" fmla="*/ 1885640 h 4687251"/>
              <a:gd name="connsiteX41987" fmla="*/ 4576906 w 8079933"/>
              <a:gd name="connsiteY41987" fmla="*/ 1889104 h 4687251"/>
              <a:gd name="connsiteX41988" fmla="*/ 4576580 w 8079933"/>
              <a:gd name="connsiteY41988" fmla="*/ 1896142 h 4687251"/>
              <a:gd name="connsiteX41989" fmla="*/ 4573976 w 8079933"/>
              <a:gd name="connsiteY41989" fmla="*/ 1900473 h 4687251"/>
              <a:gd name="connsiteX41990" fmla="*/ 4575712 w 8079933"/>
              <a:gd name="connsiteY41990" fmla="*/ 1906211 h 4687251"/>
              <a:gd name="connsiteX41991" fmla="*/ 4575713 w 8079933"/>
              <a:gd name="connsiteY41991" fmla="*/ 1906211 h 4687251"/>
              <a:gd name="connsiteX41992" fmla="*/ 4576038 w 8079933"/>
              <a:gd name="connsiteY41992" fmla="*/ 1907294 h 4687251"/>
              <a:gd name="connsiteX41993" fmla="*/ 4575062 w 8079933"/>
              <a:gd name="connsiteY41993" fmla="*/ 1916280 h 4687251"/>
              <a:gd name="connsiteX41994" fmla="*/ 4572023 w 8079933"/>
              <a:gd name="connsiteY41994" fmla="*/ 1919204 h 4687251"/>
              <a:gd name="connsiteX41995" fmla="*/ 4567683 w 8079933"/>
              <a:gd name="connsiteY41995" fmla="*/ 1918662 h 4687251"/>
              <a:gd name="connsiteX41996" fmla="*/ 4561172 w 8079933"/>
              <a:gd name="connsiteY41996" fmla="*/ 1924400 h 4687251"/>
              <a:gd name="connsiteX41997" fmla="*/ 4562257 w 8079933"/>
              <a:gd name="connsiteY41997" fmla="*/ 1934903 h 4687251"/>
              <a:gd name="connsiteX41998" fmla="*/ 4560629 w 8079933"/>
              <a:gd name="connsiteY41998" fmla="*/ 1939559 h 4687251"/>
              <a:gd name="connsiteX41999" fmla="*/ 4553901 w 8079933"/>
              <a:gd name="connsiteY41999" fmla="*/ 1944647 h 4687251"/>
              <a:gd name="connsiteX42000" fmla="*/ 4554878 w 8079933"/>
              <a:gd name="connsiteY42000" fmla="*/ 1947137 h 4687251"/>
              <a:gd name="connsiteX42001" fmla="*/ 4558784 w 8079933"/>
              <a:gd name="connsiteY42001" fmla="*/ 1947679 h 4687251"/>
              <a:gd name="connsiteX42002" fmla="*/ 4563559 w 8079933"/>
              <a:gd name="connsiteY42002" fmla="*/ 1954608 h 4687251"/>
              <a:gd name="connsiteX42003" fmla="*/ 4567140 w 8079933"/>
              <a:gd name="connsiteY42003" fmla="*/ 1960347 h 4687251"/>
              <a:gd name="connsiteX42004" fmla="*/ 4567140 w 8079933"/>
              <a:gd name="connsiteY42004" fmla="*/ 1960671 h 4687251"/>
              <a:gd name="connsiteX42005" fmla="*/ 4567899 w 8079933"/>
              <a:gd name="connsiteY42005" fmla="*/ 1969224 h 4687251"/>
              <a:gd name="connsiteX42006" fmla="*/ 4575061 w 8079933"/>
              <a:gd name="connsiteY42006" fmla="*/ 1975504 h 4687251"/>
              <a:gd name="connsiteX42007" fmla="*/ 4580270 w 8079933"/>
              <a:gd name="connsiteY42007" fmla="*/ 1976262 h 4687251"/>
              <a:gd name="connsiteX42008" fmla="*/ 4585805 w 8079933"/>
              <a:gd name="connsiteY42008" fmla="*/ 1981783 h 4687251"/>
              <a:gd name="connsiteX42009" fmla="*/ 4590688 w 8079933"/>
              <a:gd name="connsiteY42009" fmla="*/ 1984490 h 4687251"/>
              <a:gd name="connsiteX42010" fmla="*/ 4590688 w 8079933"/>
              <a:gd name="connsiteY42010" fmla="*/ 1987522 h 4687251"/>
              <a:gd name="connsiteX42011" fmla="*/ 4586455 w 8079933"/>
              <a:gd name="connsiteY42011" fmla="*/ 1991744 h 4687251"/>
              <a:gd name="connsiteX42012" fmla="*/ 4580487 w 8079933"/>
              <a:gd name="connsiteY42012" fmla="*/ 1991203 h 4687251"/>
              <a:gd name="connsiteX42013" fmla="*/ 4577232 w 8079933"/>
              <a:gd name="connsiteY42013" fmla="*/ 1989363 h 4687251"/>
              <a:gd name="connsiteX42014" fmla="*/ 4571806 w 8079933"/>
              <a:gd name="connsiteY42014" fmla="*/ 1989363 h 4687251"/>
              <a:gd name="connsiteX42015" fmla="*/ 4569635 w 8079933"/>
              <a:gd name="connsiteY42015" fmla="*/ 1991420 h 4687251"/>
              <a:gd name="connsiteX42016" fmla="*/ 4561497 w 8079933"/>
              <a:gd name="connsiteY42016" fmla="*/ 1991203 h 4687251"/>
              <a:gd name="connsiteX42017" fmla="*/ 4556614 w 8079933"/>
              <a:gd name="connsiteY42017" fmla="*/ 1993152 h 4687251"/>
              <a:gd name="connsiteX42018" fmla="*/ 4554118 w 8079933"/>
              <a:gd name="connsiteY42018" fmla="*/ 1999648 h 4687251"/>
              <a:gd name="connsiteX42019" fmla="*/ 4541638 w 8079933"/>
              <a:gd name="connsiteY42019" fmla="*/ 2006036 h 4687251"/>
              <a:gd name="connsiteX42020" fmla="*/ 4531655 w 8079933"/>
              <a:gd name="connsiteY42020" fmla="*/ 2014481 h 4687251"/>
              <a:gd name="connsiteX42021" fmla="*/ 4531329 w 8079933"/>
              <a:gd name="connsiteY42021" fmla="*/ 2011233 h 4687251"/>
              <a:gd name="connsiteX42022" fmla="*/ 4533716 w 8079933"/>
              <a:gd name="connsiteY42022" fmla="*/ 2004195 h 4687251"/>
              <a:gd name="connsiteX42023" fmla="*/ 4536429 w 8079933"/>
              <a:gd name="connsiteY42023" fmla="*/ 2003979 h 4687251"/>
              <a:gd name="connsiteX42024" fmla="*/ 4541096 w 8079933"/>
              <a:gd name="connsiteY42024" fmla="*/ 2000948 h 4687251"/>
              <a:gd name="connsiteX42025" fmla="*/ 4536538 w 8079933"/>
              <a:gd name="connsiteY42025" fmla="*/ 2001489 h 4687251"/>
              <a:gd name="connsiteX42026" fmla="*/ 4533716 w 8079933"/>
              <a:gd name="connsiteY42026" fmla="*/ 2000622 h 4687251"/>
              <a:gd name="connsiteX42027" fmla="*/ 4531003 w 8079933"/>
              <a:gd name="connsiteY42027" fmla="*/ 2001272 h 4687251"/>
              <a:gd name="connsiteX42028" fmla="*/ 4527205 w 8079933"/>
              <a:gd name="connsiteY42028" fmla="*/ 1998999 h 4687251"/>
              <a:gd name="connsiteX42029" fmla="*/ 4525144 w 8079933"/>
              <a:gd name="connsiteY42029" fmla="*/ 1994776 h 4687251"/>
              <a:gd name="connsiteX42030" fmla="*/ 4524927 w 8079933"/>
              <a:gd name="connsiteY42030" fmla="*/ 1994776 h 4687251"/>
              <a:gd name="connsiteX42031" fmla="*/ 4530135 w 8079933"/>
              <a:gd name="connsiteY42031" fmla="*/ 1993477 h 4687251"/>
              <a:gd name="connsiteX42032" fmla="*/ 4532848 w 8079933"/>
              <a:gd name="connsiteY42032" fmla="*/ 1987955 h 4687251"/>
              <a:gd name="connsiteX42033" fmla="*/ 4531871 w 8079933"/>
              <a:gd name="connsiteY42033" fmla="*/ 1982758 h 4687251"/>
              <a:gd name="connsiteX42034" fmla="*/ 4538057 w 8079933"/>
              <a:gd name="connsiteY42034" fmla="*/ 1978969 h 4687251"/>
              <a:gd name="connsiteX42035" fmla="*/ 4538383 w 8079933"/>
              <a:gd name="connsiteY42035" fmla="*/ 1973122 h 4687251"/>
              <a:gd name="connsiteX42036" fmla="*/ 4538382 w 8079933"/>
              <a:gd name="connsiteY42036" fmla="*/ 1973122 h 4687251"/>
              <a:gd name="connsiteX42037" fmla="*/ 4538056 w 8079933"/>
              <a:gd name="connsiteY42037" fmla="*/ 1978968 h 4687251"/>
              <a:gd name="connsiteX42038" fmla="*/ 4531871 w 8079933"/>
              <a:gd name="connsiteY42038" fmla="*/ 1982758 h 4687251"/>
              <a:gd name="connsiteX42039" fmla="*/ 4532848 w 8079933"/>
              <a:gd name="connsiteY42039" fmla="*/ 1987954 h 4687251"/>
              <a:gd name="connsiteX42040" fmla="*/ 4530135 w 8079933"/>
              <a:gd name="connsiteY42040" fmla="*/ 1993476 h 4687251"/>
              <a:gd name="connsiteX42041" fmla="*/ 4524926 w 8079933"/>
              <a:gd name="connsiteY42041" fmla="*/ 1994776 h 4687251"/>
              <a:gd name="connsiteX42042" fmla="*/ 4517547 w 8079933"/>
              <a:gd name="connsiteY42042" fmla="*/ 1992827 h 4687251"/>
              <a:gd name="connsiteX42043" fmla="*/ 4507780 w 8079933"/>
              <a:gd name="connsiteY42043" fmla="*/ 1992827 h 4687251"/>
              <a:gd name="connsiteX42044" fmla="*/ 4504525 w 8079933"/>
              <a:gd name="connsiteY42044" fmla="*/ 1989038 h 4687251"/>
              <a:gd name="connsiteX42045" fmla="*/ 4502572 w 8079933"/>
              <a:gd name="connsiteY42045" fmla="*/ 1989038 h 4687251"/>
              <a:gd name="connsiteX42046" fmla="*/ 4502354 w 8079933"/>
              <a:gd name="connsiteY42046" fmla="*/ 1991419 h 4687251"/>
              <a:gd name="connsiteX42047" fmla="*/ 4498014 w 8079933"/>
              <a:gd name="connsiteY42047" fmla="*/ 1995858 h 4687251"/>
              <a:gd name="connsiteX42048" fmla="*/ 4494108 w 8079933"/>
              <a:gd name="connsiteY42048" fmla="*/ 1995534 h 4687251"/>
              <a:gd name="connsiteX42049" fmla="*/ 4488790 w 8079933"/>
              <a:gd name="connsiteY42049" fmla="*/ 1991528 h 4687251"/>
              <a:gd name="connsiteX42050" fmla="*/ 4485426 w 8079933"/>
              <a:gd name="connsiteY42050" fmla="*/ 1992827 h 4687251"/>
              <a:gd name="connsiteX42051" fmla="*/ 4483581 w 8079933"/>
              <a:gd name="connsiteY42051" fmla="*/ 1999107 h 4687251"/>
              <a:gd name="connsiteX42052" fmla="*/ 4479783 w 8079933"/>
              <a:gd name="connsiteY42052" fmla="*/ 2001272 h 4687251"/>
              <a:gd name="connsiteX42053" fmla="*/ 4475117 w 8079933"/>
              <a:gd name="connsiteY42053" fmla="*/ 1999864 h 4687251"/>
              <a:gd name="connsiteX42054" fmla="*/ 4472513 w 8079933"/>
              <a:gd name="connsiteY42054" fmla="*/ 2002788 h 4687251"/>
              <a:gd name="connsiteX42055" fmla="*/ 4476853 w 8079933"/>
              <a:gd name="connsiteY42055" fmla="*/ 2007768 h 4687251"/>
              <a:gd name="connsiteX42056" fmla="*/ 4482171 w 8079933"/>
              <a:gd name="connsiteY42056" fmla="*/ 2008526 h 4687251"/>
              <a:gd name="connsiteX42057" fmla="*/ 4487162 w 8079933"/>
              <a:gd name="connsiteY42057" fmla="*/ 2013182 h 4687251"/>
              <a:gd name="connsiteX42058" fmla="*/ 4485752 w 8079933"/>
              <a:gd name="connsiteY42058" fmla="*/ 2014806 h 4687251"/>
              <a:gd name="connsiteX42059" fmla="*/ 4482496 w 8079933"/>
              <a:gd name="connsiteY42059" fmla="*/ 2011558 h 4687251"/>
              <a:gd name="connsiteX42060" fmla="*/ 4473598 w 8079933"/>
              <a:gd name="connsiteY42060" fmla="*/ 2011233 h 4687251"/>
              <a:gd name="connsiteX42061" fmla="*/ 4473490 w 8079933"/>
              <a:gd name="connsiteY42061" fmla="*/ 2013940 h 4687251"/>
              <a:gd name="connsiteX42062" fmla="*/ 4476745 w 8079933"/>
              <a:gd name="connsiteY42062" fmla="*/ 2015239 h 4687251"/>
              <a:gd name="connsiteX42063" fmla="*/ 4480326 w 8079933"/>
              <a:gd name="connsiteY42063" fmla="*/ 2017946 h 4687251"/>
              <a:gd name="connsiteX42064" fmla="*/ 4478481 w 8079933"/>
              <a:gd name="connsiteY42064" fmla="*/ 2020978 h 4687251"/>
              <a:gd name="connsiteX42065" fmla="*/ 4475226 w 8079933"/>
              <a:gd name="connsiteY42065" fmla="*/ 2019678 h 4687251"/>
              <a:gd name="connsiteX42066" fmla="*/ 4471428 w 8079933"/>
              <a:gd name="connsiteY42066" fmla="*/ 2014481 h 4687251"/>
              <a:gd name="connsiteX42067" fmla="*/ 4466544 w 8079933"/>
              <a:gd name="connsiteY42067" fmla="*/ 2012857 h 4687251"/>
              <a:gd name="connsiteX42068" fmla="*/ 4465894 w 8079933"/>
              <a:gd name="connsiteY42068" fmla="*/ 2016105 h 4687251"/>
              <a:gd name="connsiteX42069" fmla="*/ 4467847 w 8079933"/>
              <a:gd name="connsiteY42069" fmla="*/ 2019678 h 4687251"/>
              <a:gd name="connsiteX42070" fmla="*/ 4471645 w 8079933"/>
              <a:gd name="connsiteY42070" fmla="*/ 2022276 h 4687251"/>
              <a:gd name="connsiteX42071" fmla="*/ 4466436 w 8079933"/>
              <a:gd name="connsiteY42071" fmla="*/ 2022385 h 4687251"/>
              <a:gd name="connsiteX42072" fmla="*/ 4461661 w 8079933"/>
              <a:gd name="connsiteY42072" fmla="*/ 2018595 h 4687251"/>
              <a:gd name="connsiteX42073" fmla="*/ 4461010 w 8079933"/>
              <a:gd name="connsiteY42073" fmla="*/ 2012857 h 4687251"/>
              <a:gd name="connsiteX42074" fmla="*/ 4453523 w 8079933"/>
              <a:gd name="connsiteY42074" fmla="*/ 2009392 h 4687251"/>
              <a:gd name="connsiteX42075" fmla="*/ 4452980 w 8079933"/>
              <a:gd name="connsiteY42075" fmla="*/ 2006902 h 4687251"/>
              <a:gd name="connsiteX42076" fmla="*/ 4455693 w 8079933"/>
              <a:gd name="connsiteY42076" fmla="*/ 2006902 h 4687251"/>
              <a:gd name="connsiteX42077" fmla="*/ 4455042 w 8079933"/>
              <a:gd name="connsiteY42077" fmla="*/ 2002246 h 4687251"/>
              <a:gd name="connsiteX42078" fmla="*/ 4449182 w 8079933"/>
              <a:gd name="connsiteY42078" fmla="*/ 2003437 h 4687251"/>
              <a:gd name="connsiteX42079" fmla="*/ 4446144 w 8079933"/>
              <a:gd name="connsiteY42079" fmla="*/ 2008309 h 4687251"/>
              <a:gd name="connsiteX42080" fmla="*/ 4447012 w 8079933"/>
              <a:gd name="connsiteY42080" fmla="*/ 2017729 h 4687251"/>
              <a:gd name="connsiteX42081" fmla="*/ 4445058 w 8079933"/>
              <a:gd name="connsiteY42081" fmla="*/ 2020219 h 4687251"/>
              <a:gd name="connsiteX42082" fmla="*/ 4450701 w 8079933"/>
              <a:gd name="connsiteY42082" fmla="*/ 2024984 h 4687251"/>
              <a:gd name="connsiteX42083" fmla="*/ 4451352 w 8079933"/>
              <a:gd name="connsiteY42083" fmla="*/ 2028231 h 4687251"/>
              <a:gd name="connsiteX42084" fmla="*/ 4454499 w 8079933"/>
              <a:gd name="connsiteY42084" fmla="*/ 2030505 h 4687251"/>
              <a:gd name="connsiteX42085" fmla="*/ 4461661 w 8079933"/>
              <a:gd name="connsiteY42085" fmla="*/ 2039383 h 4687251"/>
              <a:gd name="connsiteX42086" fmla="*/ 4464808 w 8079933"/>
              <a:gd name="connsiteY42086" fmla="*/ 2043173 h 4687251"/>
              <a:gd name="connsiteX42087" fmla="*/ 4463289 w 8079933"/>
              <a:gd name="connsiteY42087" fmla="*/ 2048694 h 4687251"/>
              <a:gd name="connsiteX42088" fmla="*/ 4460684 w 8079933"/>
              <a:gd name="connsiteY42088" fmla="*/ 2049344 h 4687251"/>
              <a:gd name="connsiteX42089" fmla="*/ 4460251 w 8079933"/>
              <a:gd name="connsiteY42089" fmla="*/ 2046854 h 4687251"/>
              <a:gd name="connsiteX42090" fmla="*/ 4461444 w 8079933"/>
              <a:gd name="connsiteY42090" fmla="*/ 2044255 h 4687251"/>
              <a:gd name="connsiteX42091" fmla="*/ 4458514 w 8079933"/>
              <a:gd name="connsiteY42091" fmla="*/ 2041874 h 4687251"/>
              <a:gd name="connsiteX42092" fmla="*/ 4454825 w 8079933"/>
              <a:gd name="connsiteY42092" fmla="*/ 2040466 h 4687251"/>
              <a:gd name="connsiteX42093" fmla="*/ 4455042 w 8079933"/>
              <a:gd name="connsiteY42093" fmla="*/ 2043173 h 4687251"/>
              <a:gd name="connsiteX42094" fmla="*/ 4452437 w 8079933"/>
              <a:gd name="connsiteY42094" fmla="*/ 2046421 h 4687251"/>
              <a:gd name="connsiteX42095" fmla="*/ 4457212 w 8079933"/>
              <a:gd name="connsiteY42095" fmla="*/ 2047720 h 4687251"/>
              <a:gd name="connsiteX42096" fmla="*/ 4457321 w 8079933"/>
              <a:gd name="connsiteY42096" fmla="*/ 2050210 h 4687251"/>
              <a:gd name="connsiteX42097" fmla="*/ 4454499 w 8079933"/>
              <a:gd name="connsiteY42097" fmla="*/ 2053675 h 4687251"/>
              <a:gd name="connsiteX42098" fmla="*/ 4449399 w 8079933"/>
              <a:gd name="connsiteY42098" fmla="*/ 2054325 h 4687251"/>
              <a:gd name="connsiteX42099" fmla="*/ 4454065 w 8079933"/>
              <a:gd name="connsiteY42099" fmla="*/ 2058547 h 4687251"/>
              <a:gd name="connsiteX42100" fmla="*/ 4458840 w 8079933"/>
              <a:gd name="connsiteY42100" fmla="*/ 2059088 h 4687251"/>
              <a:gd name="connsiteX42101" fmla="*/ 4460793 w 8079933"/>
              <a:gd name="connsiteY42101" fmla="*/ 2061579 h 4687251"/>
              <a:gd name="connsiteX42102" fmla="*/ 4463831 w 8079933"/>
              <a:gd name="connsiteY42102" fmla="*/ 2061362 h 4687251"/>
              <a:gd name="connsiteX42103" fmla="*/ 4465459 w 8079933"/>
              <a:gd name="connsiteY42103" fmla="*/ 2064069 h 4687251"/>
              <a:gd name="connsiteX42104" fmla="*/ 4468932 w 8079933"/>
              <a:gd name="connsiteY42104" fmla="*/ 2064935 h 4687251"/>
              <a:gd name="connsiteX42105" fmla="*/ 4480001 w 8079933"/>
              <a:gd name="connsiteY42105" fmla="*/ 2071865 h 4687251"/>
              <a:gd name="connsiteX42106" fmla="*/ 4481628 w 8079933"/>
              <a:gd name="connsiteY42106" fmla="*/ 2074896 h 4687251"/>
              <a:gd name="connsiteX42107" fmla="*/ 4480543 w 8079933"/>
              <a:gd name="connsiteY42107" fmla="*/ 2080310 h 4687251"/>
              <a:gd name="connsiteX42108" fmla="*/ 4484449 w 8079933"/>
              <a:gd name="connsiteY42108" fmla="*/ 2086156 h 4687251"/>
              <a:gd name="connsiteX42109" fmla="*/ 4483256 w 8079933"/>
              <a:gd name="connsiteY42109" fmla="*/ 2088863 h 4687251"/>
              <a:gd name="connsiteX42110" fmla="*/ 4478698 w 8079933"/>
              <a:gd name="connsiteY42110" fmla="*/ 2088322 h 4687251"/>
              <a:gd name="connsiteX42111" fmla="*/ 4477939 w 8079933"/>
              <a:gd name="connsiteY42111" fmla="*/ 2086265 h 4687251"/>
              <a:gd name="connsiteX42112" fmla="*/ 4471428 w 8079933"/>
              <a:gd name="connsiteY42112" fmla="*/ 2081826 h 4687251"/>
              <a:gd name="connsiteX42113" fmla="*/ 4468932 w 8079933"/>
              <a:gd name="connsiteY42113" fmla="*/ 2083991 h 4687251"/>
              <a:gd name="connsiteX42114" fmla="*/ 4464808 w 8079933"/>
              <a:gd name="connsiteY42114" fmla="*/ 2083774 h 4687251"/>
              <a:gd name="connsiteX42115" fmla="*/ 4460251 w 8079933"/>
              <a:gd name="connsiteY42115" fmla="*/ 2085723 h 4687251"/>
              <a:gd name="connsiteX42116" fmla="*/ 4464917 w 8079933"/>
              <a:gd name="connsiteY42116" fmla="*/ 2089404 h 4687251"/>
              <a:gd name="connsiteX42117" fmla="*/ 4464591 w 8079933"/>
              <a:gd name="connsiteY42117" fmla="*/ 2091678 h 4687251"/>
              <a:gd name="connsiteX42118" fmla="*/ 4468606 w 8079933"/>
              <a:gd name="connsiteY42118" fmla="*/ 2094277 h 4687251"/>
              <a:gd name="connsiteX42119" fmla="*/ 4470451 w 8079933"/>
              <a:gd name="connsiteY42119" fmla="*/ 2094710 h 4687251"/>
              <a:gd name="connsiteX42120" fmla="*/ 4470885 w 8079933"/>
              <a:gd name="connsiteY42120" fmla="*/ 2096767 h 4687251"/>
              <a:gd name="connsiteX42121" fmla="*/ 4473055 w 8079933"/>
              <a:gd name="connsiteY42121" fmla="*/ 2098391 h 4687251"/>
              <a:gd name="connsiteX42122" fmla="*/ 4472947 w 8079933"/>
              <a:gd name="connsiteY42122" fmla="*/ 2100232 h 4687251"/>
              <a:gd name="connsiteX42123" fmla="*/ 4467521 w 8079933"/>
              <a:gd name="connsiteY42123" fmla="*/ 2098391 h 4687251"/>
              <a:gd name="connsiteX42124" fmla="*/ 4464808 w 8079933"/>
              <a:gd name="connsiteY42124" fmla="*/ 2101314 h 4687251"/>
              <a:gd name="connsiteX42125" fmla="*/ 4463181 w 8079933"/>
              <a:gd name="connsiteY42125" fmla="*/ 2099473 h 4687251"/>
              <a:gd name="connsiteX42126" fmla="*/ 4464808 w 8079933"/>
              <a:gd name="connsiteY42126" fmla="*/ 2097524 h 4687251"/>
              <a:gd name="connsiteX42127" fmla="*/ 4459491 w 8079933"/>
              <a:gd name="connsiteY42127" fmla="*/ 2094818 h 4687251"/>
              <a:gd name="connsiteX42128" fmla="*/ 4456670 w 8079933"/>
              <a:gd name="connsiteY42128" fmla="*/ 2095142 h 4687251"/>
              <a:gd name="connsiteX42129" fmla="*/ 4456453 w 8079933"/>
              <a:gd name="connsiteY42129" fmla="*/ 2096983 h 4687251"/>
              <a:gd name="connsiteX42130" fmla="*/ 4459383 w 8079933"/>
              <a:gd name="connsiteY42130" fmla="*/ 2101422 h 4687251"/>
              <a:gd name="connsiteX42131" fmla="*/ 4462638 w 8079933"/>
              <a:gd name="connsiteY42131" fmla="*/ 2109218 h 4687251"/>
              <a:gd name="connsiteX42132" fmla="*/ 4465134 w 8079933"/>
              <a:gd name="connsiteY42132" fmla="*/ 2113873 h 4687251"/>
              <a:gd name="connsiteX42133" fmla="*/ 4464374 w 8079933"/>
              <a:gd name="connsiteY42133" fmla="*/ 2117122 h 4687251"/>
              <a:gd name="connsiteX42134" fmla="*/ 4467304 w 8079933"/>
              <a:gd name="connsiteY42134" fmla="*/ 2121993 h 4687251"/>
              <a:gd name="connsiteX42135" fmla="*/ 4460251 w 8079933"/>
              <a:gd name="connsiteY42135" fmla="*/ 2117338 h 4687251"/>
              <a:gd name="connsiteX42136" fmla="*/ 4458406 w 8079933"/>
              <a:gd name="connsiteY42136" fmla="*/ 2113007 h 4687251"/>
              <a:gd name="connsiteX42137" fmla="*/ 4454499 w 8079933"/>
              <a:gd name="connsiteY42137" fmla="*/ 2113007 h 4687251"/>
              <a:gd name="connsiteX42138" fmla="*/ 4452112 w 8079933"/>
              <a:gd name="connsiteY42138" fmla="*/ 2118421 h 4687251"/>
              <a:gd name="connsiteX42139" fmla="*/ 4452112 w 8079933"/>
              <a:gd name="connsiteY42139" fmla="*/ 2125134 h 4687251"/>
              <a:gd name="connsiteX42140" fmla="*/ 4449399 w 8079933"/>
              <a:gd name="connsiteY42140" fmla="*/ 2121885 h 4687251"/>
              <a:gd name="connsiteX42141" fmla="*/ 4450267 w 8079933"/>
              <a:gd name="connsiteY42141" fmla="*/ 2117879 h 4687251"/>
              <a:gd name="connsiteX42142" fmla="*/ 4448856 w 8079933"/>
              <a:gd name="connsiteY42142" fmla="*/ 2114414 h 4687251"/>
              <a:gd name="connsiteX42143" fmla="*/ 4442563 w 8079933"/>
              <a:gd name="connsiteY42143" fmla="*/ 2111708 h 4687251"/>
              <a:gd name="connsiteX42144" fmla="*/ 4440934 w 8079933"/>
              <a:gd name="connsiteY42144" fmla="*/ 2106511 h 4687251"/>
              <a:gd name="connsiteX42145" fmla="*/ 4439090 w 8079933"/>
              <a:gd name="connsiteY42145" fmla="*/ 2110625 h 4687251"/>
              <a:gd name="connsiteX42146" fmla="*/ 4440175 w 8079933"/>
              <a:gd name="connsiteY42146" fmla="*/ 2113007 h 4687251"/>
              <a:gd name="connsiteX42147" fmla="*/ 4438873 w 8079933"/>
              <a:gd name="connsiteY42147" fmla="*/ 2116038 h 4687251"/>
              <a:gd name="connsiteX42148" fmla="*/ 4436052 w 8079933"/>
              <a:gd name="connsiteY42148" fmla="*/ 2112791 h 4687251"/>
              <a:gd name="connsiteX42149" fmla="*/ 4431711 w 8079933"/>
              <a:gd name="connsiteY42149" fmla="*/ 2107269 h 4687251"/>
              <a:gd name="connsiteX42150" fmla="*/ 4431277 w 8079933"/>
              <a:gd name="connsiteY42150" fmla="*/ 2102722 h 4687251"/>
              <a:gd name="connsiteX42151" fmla="*/ 4433339 w 8079933"/>
              <a:gd name="connsiteY42151" fmla="*/ 2100340 h 4687251"/>
              <a:gd name="connsiteX42152" fmla="*/ 4432796 w 8079933"/>
              <a:gd name="connsiteY42152" fmla="*/ 2096983 h 4687251"/>
              <a:gd name="connsiteX42153" fmla="*/ 4427695 w 8079933"/>
              <a:gd name="connsiteY42153" fmla="*/ 2092219 h 4687251"/>
              <a:gd name="connsiteX42154" fmla="*/ 4422487 w 8079933"/>
              <a:gd name="connsiteY42154" fmla="*/ 2089729 h 4687251"/>
              <a:gd name="connsiteX42155" fmla="*/ 4417387 w 8079933"/>
              <a:gd name="connsiteY42155" fmla="*/ 2083991 h 4687251"/>
              <a:gd name="connsiteX42156" fmla="*/ 4419014 w 8079933"/>
              <a:gd name="connsiteY42156" fmla="*/ 2079768 h 4687251"/>
              <a:gd name="connsiteX42157" fmla="*/ 4421510 w 8079933"/>
              <a:gd name="connsiteY42157" fmla="*/ 2079118 h 4687251"/>
              <a:gd name="connsiteX42158" fmla="*/ 4424982 w 8079933"/>
              <a:gd name="connsiteY42158" fmla="*/ 2074788 h 4687251"/>
              <a:gd name="connsiteX42159" fmla="*/ 4429107 w 8079933"/>
              <a:gd name="connsiteY42159" fmla="*/ 2076737 h 4687251"/>
              <a:gd name="connsiteX42160" fmla="*/ 4433121 w 8079933"/>
              <a:gd name="connsiteY42160" fmla="*/ 2074355 h 4687251"/>
              <a:gd name="connsiteX42161" fmla="*/ 4437245 w 8079933"/>
              <a:gd name="connsiteY42161" fmla="*/ 2072947 h 4687251"/>
              <a:gd name="connsiteX42162" fmla="*/ 4446686 w 8079933"/>
              <a:gd name="connsiteY42162" fmla="*/ 2079118 h 4687251"/>
              <a:gd name="connsiteX42163" fmla="*/ 4451027 w 8079933"/>
              <a:gd name="connsiteY42163" fmla="*/ 2080201 h 4687251"/>
              <a:gd name="connsiteX42164" fmla="*/ 4454282 w 8079933"/>
              <a:gd name="connsiteY42164" fmla="*/ 2082800 h 4687251"/>
              <a:gd name="connsiteX42165" fmla="*/ 4457538 w 8079933"/>
              <a:gd name="connsiteY42165" fmla="*/ 2079660 h 4687251"/>
              <a:gd name="connsiteX42166" fmla="*/ 4461119 w 8079933"/>
              <a:gd name="connsiteY42166" fmla="*/ 2077494 h 4687251"/>
              <a:gd name="connsiteX42167" fmla="*/ 4456127 w 8079933"/>
              <a:gd name="connsiteY42167" fmla="*/ 2076520 h 4687251"/>
              <a:gd name="connsiteX42168" fmla="*/ 4453523 w 8079933"/>
              <a:gd name="connsiteY42168" fmla="*/ 2074571 h 4687251"/>
              <a:gd name="connsiteX42169" fmla="*/ 4450484 w 8079933"/>
              <a:gd name="connsiteY42169" fmla="*/ 2074788 h 4687251"/>
              <a:gd name="connsiteX42170" fmla="*/ 4449724 w 8079933"/>
              <a:gd name="connsiteY42170" fmla="*/ 2071539 h 4687251"/>
              <a:gd name="connsiteX42171" fmla="*/ 4445926 w 8079933"/>
              <a:gd name="connsiteY42171" fmla="*/ 2073272 h 4687251"/>
              <a:gd name="connsiteX42172" fmla="*/ 4439633 w 8079933"/>
              <a:gd name="connsiteY42172" fmla="*/ 2069482 h 4687251"/>
              <a:gd name="connsiteX42173" fmla="*/ 4435617 w 8079933"/>
              <a:gd name="connsiteY42173" fmla="*/ 2069157 h 4687251"/>
              <a:gd name="connsiteX42174" fmla="*/ 4433339 w 8079933"/>
              <a:gd name="connsiteY42174" fmla="*/ 2072730 h 4687251"/>
              <a:gd name="connsiteX42175" fmla="*/ 4427695 w 8079933"/>
              <a:gd name="connsiteY42175" fmla="*/ 2072081 h 4687251"/>
              <a:gd name="connsiteX42176" fmla="*/ 4424114 w 8079933"/>
              <a:gd name="connsiteY42176" fmla="*/ 2067534 h 4687251"/>
              <a:gd name="connsiteX42177" fmla="*/ 4420100 w 8079933"/>
              <a:gd name="connsiteY42177" fmla="*/ 2072406 h 4687251"/>
              <a:gd name="connsiteX42178" fmla="*/ 4417061 w 8079933"/>
              <a:gd name="connsiteY42178" fmla="*/ 2071106 h 4687251"/>
              <a:gd name="connsiteX42179" fmla="*/ 4415433 w 8079933"/>
              <a:gd name="connsiteY42179" fmla="*/ 2064610 h 4687251"/>
              <a:gd name="connsiteX42180" fmla="*/ 4408705 w 8079933"/>
              <a:gd name="connsiteY42180" fmla="*/ 2055299 h 4687251"/>
              <a:gd name="connsiteX42181" fmla="*/ 4409248 w 8079933"/>
              <a:gd name="connsiteY42181" fmla="*/ 2053133 h 4687251"/>
              <a:gd name="connsiteX42182" fmla="*/ 4406861 w 8079933"/>
              <a:gd name="connsiteY42182" fmla="*/ 2052592 h 4687251"/>
              <a:gd name="connsiteX42183" fmla="*/ 4401977 w 8079933"/>
              <a:gd name="connsiteY42183" fmla="*/ 2045447 h 4687251"/>
              <a:gd name="connsiteX42184" fmla="*/ 4393296 w 8079933"/>
              <a:gd name="connsiteY42184" fmla="*/ 2038951 h 4687251"/>
              <a:gd name="connsiteX42185" fmla="*/ 4392970 w 8079933"/>
              <a:gd name="connsiteY42185" fmla="*/ 2032129 h 4687251"/>
              <a:gd name="connsiteX42186" fmla="*/ 4392429 w 8079933"/>
              <a:gd name="connsiteY42186" fmla="*/ 2031697 h 4687251"/>
              <a:gd name="connsiteX42187" fmla="*/ 4392428 w 8079933"/>
              <a:gd name="connsiteY42187" fmla="*/ 2031698 h 4687251"/>
              <a:gd name="connsiteX42188" fmla="*/ 4388196 w 8079933"/>
              <a:gd name="connsiteY42188" fmla="*/ 2028882 h 4687251"/>
              <a:gd name="connsiteX42189" fmla="*/ 4383855 w 8079933"/>
              <a:gd name="connsiteY42189" fmla="*/ 2017622 h 4687251"/>
              <a:gd name="connsiteX42190" fmla="*/ 4375174 w 8079933"/>
              <a:gd name="connsiteY42190" fmla="*/ 2017298 h 4687251"/>
              <a:gd name="connsiteX42191" fmla="*/ 4372678 w 8079933"/>
              <a:gd name="connsiteY42191" fmla="*/ 2014374 h 4687251"/>
              <a:gd name="connsiteX42192" fmla="*/ 4374414 w 8079933"/>
              <a:gd name="connsiteY42192" fmla="*/ 2008961 h 4687251"/>
              <a:gd name="connsiteX42193" fmla="*/ 4371919 w 8079933"/>
              <a:gd name="connsiteY42193" fmla="*/ 2004629 h 4687251"/>
              <a:gd name="connsiteX42194" fmla="*/ 4371919 w 8079933"/>
              <a:gd name="connsiteY42194" fmla="*/ 1998891 h 4687251"/>
              <a:gd name="connsiteX42195" fmla="*/ 4374089 w 8079933"/>
              <a:gd name="connsiteY42195" fmla="*/ 1993803 h 4687251"/>
              <a:gd name="connsiteX42196" fmla="*/ 4371159 w 8079933"/>
              <a:gd name="connsiteY42196" fmla="*/ 1986224 h 4687251"/>
              <a:gd name="connsiteX42197" fmla="*/ 4373329 w 8079933"/>
              <a:gd name="connsiteY42197" fmla="*/ 1975721 h 4687251"/>
              <a:gd name="connsiteX42198" fmla="*/ 4375500 w 8079933"/>
              <a:gd name="connsiteY42198" fmla="*/ 1974639 h 4687251"/>
              <a:gd name="connsiteX42199" fmla="*/ 4376259 w 8079933"/>
              <a:gd name="connsiteY42199" fmla="*/ 1970958 h 4687251"/>
              <a:gd name="connsiteX42200" fmla="*/ 4369206 w 8079933"/>
              <a:gd name="connsiteY42200" fmla="*/ 1967493 h 4687251"/>
              <a:gd name="connsiteX42201" fmla="*/ 4363997 w 8079933"/>
              <a:gd name="connsiteY42201" fmla="*/ 1964895 h 4687251"/>
              <a:gd name="connsiteX42202" fmla="*/ 4363237 w 8079933"/>
              <a:gd name="connsiteY42202" fmla="*/ 1961213 h 4687251"/>
              <a:gd name="connsiteX42203" fmla="*/ 4354231 w 8079933"/>
              <a:gd name="connsiteY42203" fmla="*/ 1950062 h 4687251"/>
              <a:gd name="connsiteX42204" fmla="*/ 4349564 w 8079933"/>
              <a:gd name="connsiteY42204" fmla="*/ 1948113 h 4687251"/>
              <a:gd name="connsiteX42205" fmla="*/ 4347937 w 8079933"/>
              <a:gd name="connsiteY42205" fmla="*/ 1945947 h 4687251"/>
              <a:gd name="connsiteX42206" fmla="*/ 4350215 w 8079933"/>
              <a:gd name="connsiteY42206" fmla="*/ 1944648 h 4687251"/>
              <a:gd name="connsiteX42207" fmla="*/ 4353037 w 8079933"/>
              <a:gd name="connsiteY42207" fmla="*/ 1939559 h 4687251"/>
              <a:gd name="connsiteX42208" fmla="*/ 4353145 w 8079933"/>
              <a:gd name="connsiteY42208" fmla="*/ 1933171 h 4687251"/>
              <a:gd name="connsiteX42209" fmla="*/ 4355099 w 8079933"/>
              <a:gd name="connsiteY42209" fmla="*/ 1928299 h 4687251"/>
              <a:gd name="connsiteX42210" fmla="*/ 4358463 w 8079933"/>
              <a:gd name="connsiteY42210" fmla="*/ 1927974 h 4687251"/>
              <a:gd name="connsiteX42211" fmla="*/ 4362153 w 8079933"/>
              <a:gd name="connsiteY42211" fmla="*/ 1926134 h 4687251"/>
              <a:gd name="connsiteX42212" fmla="*/ 4360524 w 8079933"/>
              <a:gd name="connsiteY42212" fmla="*/ 1922669 h 4687251"/>
              <a:gd name="connsiteX42213" fmla="*/ 4362152 w 8079933"/>
              <a:gd name="connsiteY42213" fmla="*/ 1926133 h 4687251"/>
              <a:gd name="connsiteX42214" fmla="*/ 4358462 w 8079933"/>
              <a:gd name="connsiteY42214" fmla="*/ 1927973 h 4687251"/>
              <a:gd name="connsiteX42215" fmla="*/ 4355098 w 8079933"/>
              <a:gd name="connsiteY42215" fmla="*/ 1928298 h 4687251"/>
              <a:gd name="connsiteX42216" fmla="*/ 4353145 w 8079933"/>
              <a:gd name="connsiteY42216" fmla="*/ 1933171 h 4687251"/>
              <a:gd name="connsiteX42217" fmla="*/ 4353037 w 8079933"/>
              <a:gd name="connsiteY42217" fmla="*/ 1939559 h 4687251"/>
              <a:gd name="connsiteX42218" fmla="*/ 4350215 w 8079933"/>
              <a:gd name="connsiteY42218" fmla="*/ 1944647 h 4687251"/>
              <a:gd name="connsiteX42219" fmla="*/ 4347936 w 8079933"/>
              <a:gd name="connsiteY42219" fmla="*/ 1945947 h 4687251"/>
              <a:gd name="connsiteX42220" fmla="*/ 4342836 w 8079933"/>
              <a:gd name="connsiteY42220" fmla="*/ 1939017 h 4687251"/>
              <a:gd name="connsiteX42221" fmla="*/ 4340339 w 8079933"/>
              <a:gd name="connsiteY42221" fmla="*/ 1940316 h 4687251"/>
              <a:gd name="connsiteX42222" fmla="*/ 4331333 w 8079933"/>
              <a:gd name="connsiteY42222" fmla="*/ 1938800 h 4687251"/>
              <a:gd name="connsiteX42223" fmla="*/ 4328403 w 8079933"/>
              <a:gd name="connsiteY42223" fmla="*/ 1938151 h 4687251"/>
              <a:gd name="connsiteX42224" fmla="*/ 4328294 w 8079933"/>
              <a:gd name="connsiteY42224" fmla="*/ 1938151 h 4687251"/>
              <a:gd name="connsiteX42225" fmla="*/ 4328294 w 8079933"/>
              <a:gd name="connsiteY42225" fmla="*/ 1938151 h 4687251"/>
              <a:gd name="connsiteX42226" fmla="*/ 4328294 w 8079933"/>
              <a:gd name="connsiteY42226" fmla="*/ 1938151 h 4687251"/>
              <a:gd name="connsiteX42227" fmla="*/ 4328303 w 8079933"/>
              <a:gd name="connsiteY42227" fmla="*/ 1938129 h 4687251"/>
              <a:gd name="connsiteX42228" fmla="*/ 4328303 w 8079933"/>
              <a:gd name="connsiteY42228" fmla="*/ 1938129 h 4687251"/>
              <a:gd name="connsiteX42229" fmla="*/ 4329437 w 8079933"/>
              <a:gd name="connsiteY42229" fmla="*/ 1935442 h 4687251"/>
              <a:gd name="connsiteX42230" fmla="*/ 4328303 w 8079933"/>
              <a:gd name="connsiteY42230" fmla="*/ 1938129 h 4687251"/>
              <a:gd name="connsiteX42231" fmla="*/ 4323411 w 8079933"/>
              <a:gd name="connsiteY42231" fmla="*/ 1937068 h 4687251"/>
              <a:gd name="connsiteX42232" fmla="*/ 4320481 w 8079933"/>
              <a:gd name="connsiteY42232" fmla="*/ 1933387 h 4687251"/>
              <a:gd name="connsiteX42233" fmla="*/ 4325907 w 8079933"/>
              <a:gd name="connsiteY42233" fmla="*/ 1936310 h 4687251"/>
              <a:gd name="connsiteX42234" fmla="*/ 4329163 w 8079933"/>
              <a:gd name="connsiteY42234" fmla="*/ 1935985 h 4687251"/>
              <a:gd name="connsiteX42235" fmla="*/ 4317551 w 8079933"/>
              <a:gd name="connsiteY42235" fmla="*/ 1924075 h 4687251"/>
              <a:gd name="connsiteX42236" fmla="*/ 4311799 w 8079933"/>
              <a:gd name="connsiteY42236" fmla="*/ 1921152 h 4687251"/>
              <a:gd name="connsiteX42237" fmla="*/ 4301274 w 8079933"/>
              <a:gd name="connsiteY42237" fmla="*/ 1920286 h 4687251"/>
              <a:gd name="connsiteX42238" fmla="*/ 4295848 w 8079933"/>
              <a:gd name="connsiteY42238" fmla="*/ 1921369 h 4687251"/>
              <a:gd name="connsiteX42239" fmla="*/ 4293352 w 8079933"/>
              <a:gd name="connsiteY42239" fmla="*/ 1918445 h 4687251"/>
              <a:gd name="connsiteX42240" fmla="*/ 4291507 w 8079933"/>
              <a:gd name="connsiteY42240" fmla="*/ 1914331 h 4687251"/>
              <a:gd name="connsiteX42241" fmla="*/ 4286298 w 8079933"/>
              <a:gd name="connsiteY42241" fmla="*/ 1912490 h 4687251"/>
              <a:gd name="connsiteX42242" fmla="*/ 4280981 w 8079933"/>
              <a:gd name="connsiteY42242" fmla="*/ 1907510 h 4687251"/>
              <a:gd name="connsiteX42243" fmla="*/ 4275772 w 8079933"/>
              <a:gd name="connsiteY42243" fmla="*/ 1907510 h 4687251"/>
              <a:gd name="connsiteX42244" fmla="*/ 4273602 w 8079933"/>
              <a:gd name="connsiteY42244" fmla="*/ 1903287 h 4687251"/>
              <a:gd name="connsiteX42245" fmla="*/ 4275446 w 8079933"/>
              <a:gd name="connsiteY42245" fmla="*/ 1899390 h 4687251"/>
              <a:gd name="connsiteX42246" fmla="*/ 4279570 w 8079933"/>
              <a:gd name="connsiteY42246" fmla="*/ 1898848 h 4687251"/>
              <a:gd name="connsiteX42247" fmla="*/ 4283151 w 8079933"/>
              <a:gd name="connsiteY42247" fmla="*/ 1900039 h 4687251"/>
              <a:gd name="connsiteX42248" fmla="*/ 4279028 w 8079933"/>
              <a:gd name="connsiteY42248" fmla="*/ 1895600 h 4687251"/>
              <a:gd name="connsiteX42249" fmla="*/ 4277183 w 8079933"/>
              <a:gd name="connsiteY42249" fmla="*/ 1895167 h 4687251"/>
              <a:gd name="connsiteX42250" fmla="*/ 4270021 w 8079933"/>
              <a:gd name="connsiteY42250" fmla="*/ 1888562 h 4687251"/>
              <a:gd name="connsiteX42251" fmla="*/ 4266549 w 8079933"/>
              <a:gd name="connsiteY42251" fmla="*/ 1881850 h 4687251"/>
              <a:gd name="connsiteX42252" fmla="*/ 4265137 w 8079933"/>
              <a:gd name="connsiteY42252" fmla="*/ 1874813 h 4687251"/>
              <a:gd name="connsiteX42253" fmla="*/ 4260471 w 8079933"/>
              <a:gd name="connsiteY42253" fmla="*/ 1871023 h 4687251"/>
              <a:gd name="connsiteX42254" fmla="*/ 4259169 w 8079933"/>
              <a:gd name="connsiteY42254" fmla="*/ 1866368 h 4687251"/>
              <a:gd name="connsiteX42255" fmla="*/ 4253310 w 8079933"/>
              <a:gd name="connsiteY42255" fmla="*/ 1866475 h 4687251"/>
              <a:gd name="connsiteX42256" fmla="*/ 4249728 w 8079933"/>
              <a:gd name="connsiteY42256" fmla="*/ 1870698 h 4687251"/>
              <a:gd name="connsiteX42257" fmla="*/ 4248860 w 8079933"/>
              <a:gd name="connsiteY42257" fmla="*/ 1875678 h 4687251"/>
              <a:gd name="connsiteX42258" fmla="*/ 4243000 w 8079933"/>
              <a:gd name="connsiteY42258" fmla="*/ 1885098 h 4687251"/>
              <a:gd name="connsiteX42259" fmla="*/ 4240830 w 8079933"/>
              <a:gd name="connsiteY42259" fmla="*/ 1883258 h 4687251"/>
              <a:gd name="connsiteX42260" fmla="*/ 4241372 w 8079933"/>
              <a:gd name="connsiteY42260" fmla="*/ 1881525 h 4687251"/>
              <a:gd name="connsiteX42261" fmla="*/ 4236055 w 8079933"/>
              <a:gd name="connsiteY42261" fmla="*/ 1876436 h 4687251"/>
              <a:gd name="connsiteX42262" fmla="*/ 4234536 w 8079933"/>
              <a:gd name="connsiteY42262" fmla="*/ 1867017 h 4687251"/>
              <a:gd name="connsiteX42263" fmla="*/ 4234536 w 8079933"/>
              <a:gd name="connsiteY42263" fmla="*/ 1866477 h 4687251"/>
              <a:gd name="connsiteX42264" fmla="*/ 4234536 w 8079933"/>
              <a:gd name="connsiteY42264" fmla="*/ 1866475 h 4687251"/>
              <a:gd name="connsiteX42265" fmla="*/ 4234753 w 8079933"/>
              <a:gd name="connsiteY42265" fmla="*/ 1862146 h 4687251"/>
              <a:gd name="connsiteX42266" fmla="*/ 4238768 w 8079933"/>
              <a:gd name="connsiteY42266" fmla="*/ 1861063 h 4687251"/>
              <a:gd name="connsiteX42267" fmla="*/ 4238877 w 8079933"/>
              <a:gd name="connsiteY42267" fmla="*/ 1857814 h 4687251"/>
              <a:gd name="connsiteX42268" fmla="*/ 4234210 w 8079933"/>
              <a:gd name="connsiteY42268" fmla="*/ 1855649 h 4687251"/>
              <a:gd name="connsiteX42269" fmla="*/ 4233776 w 8079933"/>
              <a:gd name="connsiteY42269" fmla="*/ 1855541 h 4687251"/>
              <a:gd name="connsiteX42270" fmla="*/ 4232583 w 8079933"/>
              <a:gd name="connsiteY42270" fmla="*/ 1847421 h 4687251"/>
              <a:gd name="connsiteX42271" fmla="*/ 4232582 w 8079933"/>
              <a:gd name="connsiteY42271" fmla="*/ 1847421 h 4687251"/>
              <a:gd name="connsiteX42272" fmla="*/ 4233776 w 8079933"/>
              <a:gd name="connsiteY42272" fmla="*/ 1855542 h 4687251"/>
              <a:gd name="connsiteX42273" fmla="*/ 4228351 w 8079933"/>
              <a:gd name="connsiteY42273" fmla="*/ 1854242 h 4687251"/>
              <a:gd name="connsiteX42274" fmla="*/ 4225095 w 8079933"/>
              <a:gd name="connsiteY42274" fmla="*/ 1855866 h 4687251"/>
              <a:gd name="connsiteX42275" fmla="*/ 4221731 w 8079933"/>
              <a:gd name="connsiteY42275" fmla="*/ 1859331 h 4687251"/>
              <a:gd name="connsiteX42276" fmla="*/ 4216413 w 8079933"/>
              <a:gd name="connsiteY42276" fmla="*/ 1859331 h 4687251"/>
              <a:gd name="connsiteX42277" fmla="*/ 4211531 w 8079933"/>
              <a:gd name="connsiteY42277" fmla="*/ 1863662 h 4687251"/>
              <a:gd name="connsiteX42278" fmla="*/ 4206321 w 8079933"/>
              <a:gd name="connsiteY42278" fmla="*/ 1864311 h 4687251"/>
              <a:gd name="connsiteX42279" fmla="*/ 4204477 w 8079933"/>
              <a:gd name="connsiteY42279" fmla="*/ 1867993 h 4687251"/>
              <a:gd name="connsiteX42280" fmla="*/ 4207081 w 8079933"/>
              <a:gd name="connsiteY42280" fmla="*/ 1872973 h 4687251"/>
              <a:gd name="connsiteX42281" fmla="*/ 4210337 w 8079933"/>
              <a:gd name="connsiteY42281" fmla="*/ 1877196 h 4687251"/>
              <a:gd name="connsiteX42282" fmla="*/ 4206647 w 8079933"/>
              <a:gd name="connsiteY42282" fmla="*/ 1882609 h 4687251"/>
              <a:gd name="connsiteX42283" fmla="*/ 4204477 w 8079933"/>
              <a:gd name="connsiteY42283" fmla="*/ 1884342 h 4687251"/>
              <a:gd name="connsiteX42284" fmla="*/ 4207190 w 8079933"/>
              <a:gd name="connsiteY42284" fmla="*/ 1890297 h 4687251"/>
              <a:gd name="connsiteX42285" fmla="*/ 4207949 w 8079933"/>
              <a:gd name="connsiteY42285" fmla="*/ 1897226 h 4687251"/>
              <a:gd name="connsiteX42286" fmla="*/ 4210445 w 8079933"/>
              <a:gd name="connsiteY42286" fmla="*/ 1900799 h 4687251"/>
              <a:gd name="connsiteX42287" fmla="*/ 4220971 w 8079933"/>
              <a:gd name="connsiteY42287" fmla="*/ 1906429 h 4687251"/>
              <a:gd name="connsiteX42288" fmla="*/ 4226723 w 8079933"/>
              <a:gd name="connsiteY42288" fmla="*/ 1909460 h 4687251"/>
              <a:gd name="connsiteX42289" fmla="*/ 4229652 w 8079933"/>
              <a:gd name="connsiteY42289" fmla="*/ 1913466 h 4687251"/>
              <a:gd name="connsiteX42290" fmla="*/ 4245171 w 8079933"/>
              <a:gd name="connsiteY42290" fmla="*/ 1929166 h 4687251"/>
              <a:gd name="connsiteX42291" fmla="*/ 4245604 w 8079933"/>
              <a:gd name="connsiteY42291" fmla="*/ 1933280 h 4687251"/>
              <a:gd name="connsiteX42292" fmla="*/ 4247558 w 8079933"/>
              <a:gd name="connsiteY42292" fmla="*/ 1934363 h 4687251"/>
              <a:gd name="connsiteX42293" fmla="*/ 4247775 w 8079933"/>
              <a:gd name="connsiteY42293" fmla="*/ 1939235 h 4687251"/>
              <a:gd name="connsiteX42294" fmla="*/ 4251030 w 8079933"/>
              <a:gd name="connsiteY42294" fmla="*/ 1943890 h 4687251"/>
              <a:gd name="connsiteX42295" fmla="*/ 4255371 w 8079933"/>
              <a:gd name="connsiteY42295" fmla="*/ 1948329 h 4687251"/>
              <a:gd name="connsiteX42296" fmla="*/ 4258735 w 8079933"/>
              <a:gd name="connsiteY42296" fmla="*/ 1953635 h 4687251"/>
              <a:gd name="connsiteX42297" fmla="*/ 4265789 w 8079933"/>
              <a:gd name="connsiteY42297" fmla="*/ 1959049 h 4687251"/>
              <a:gd name="connsiteX42298" fmla="*/ 4269153 w 8079933"/>
              <a:gd name="connsiteY42298" fmla="*/ 1962513 h 4687251"/>
              <a:gd name="connsiteX42299" fmla="*/ 4273602 w 8079933"/>
              <a:gd name="connsiteY42299" fmla="*/ 1963379 h 4687251"/>
              <a:gd name="connsiteX42300" fmla="*/ 4276640 w 8079933"/>
              <a:gd name="connsiteY42300" fmla="*/ 1965220 h 4687251"/>
              <a:gd name="connsiteX42301" fmla="*/ 4285756 w 8079933"/>
              <a:gd name="connsiteY42301" fmla="*/ 1965220 h 4687251"/>
              <a:gd name="connsiteX42302" fmla="*/ 4289554 w 8079933"/>
              <a:gd name="connsiteY42302" fmla="*/ 1966302 h 4687251"/>
              <a:gd name="connsiteX42303" fmla="*/ 4295305 w 8079933"/>
              <a:gd name="connsiteY42303" fmla="*/ 1965437 h 4687251"/>
              <a:gd name="connsiteX42304" fmla="*/ 4299429 w 8079933"/>
              <a:gd name="connsiteY42304" fmla="*/ 1967602 h 4687251"/>
              <a:gd name="connsiteX42305" fmla="*/ 4298560 w 8079933"/>
              <a:gd name="connsiteY42305" fmla="*/ 1970850 h 4687251"/>
              <a:gd name="connsiteX42306" fmla="*/ 4292592 w 8079933"/>
              <a:gd name="connsiteY42306" fmla="*/ 1974965 h 4687251"/>
              <a:gd name="connsiteX42307" fmla="*/ 4292375 w 8079933"/>
              <a:gd name="connsiteY42307" fmla="*/ 1977130 h 4687251"/>
              <a:gd name="connsiteX42308" fmla="*/ 4294762 w 8079933"/>
              <a:gd name="connsiteY42308" fmla="*/ 1980920 h 4687251"/>
              <a:gd name="connsiteX42309" fmla="*/ 4299646 w 8079933"/>
              <a:gd name="connsiteY42309" fmla="*/ 1980920 h 4687251"/>
              <a:gd name="connsiteX42310" fmla="*/ 4308652 w 8079933"/>
              <a:gd name="connsiteY42310" fmla="*/ 1983085 h 4687251"/>
              <a:gd name="connsiteX42311" fmla="*/ 4327534 w 8079933"/>
              <a:gd name="connsiteY42311" fmla="*/ 1993153 h 4687251"/>
              <a:gd name="connsiteX42312" fmla="*/ 4334805 w 8079933"/>
              <a:gd name="connsiteY42312" fmla="*/ 1998675 h 4687251"/>
              <a:gd name="connsiteX42313" fmla="*/ 4339580 w 8079933"/>
              <a:gd name="connsiteY42313" fmla="*/ 2003656 h 4687251"/>
              <a:gd name="connsiteX42314" fmla="*/ 4347393 w 8079933"/>
              <a:gd name="connsiteY42314" fmla="*/ 2005605 h 4687251"/>
              <a:gd name="connsiteX42315" fmla="*/ 4351408 w 8079933"/>
              <a:gd name="connsiteY42315" fmla="*/ 2008420 h 4687251"/>
              <a:gd name="connsiteX42316" fmla="*/ 4353144 w 8079933"/>
              <a:gd name="connsiteY42316" fmla="*/ 2011559 h 4687251"/>
              <a:gd name="connsiteX42317" fmla="*/ 4352493 w 8079933"/>
              <a:gd name="connsiteY42317" fmla="*/ 2017732 h 4687251"/>
              <a:gd name="connsiteX42318" fmla="*/ 4350432 w 8079933"/>
              <a:gd name="connsiteY42318" fmla="*/ 2020655 h 4687251"/>
              <a:gd name="connsiteX42319" fmla="*/ 4350974 w 8079933"/>
              <a:gd name="connsiteY42319" fmla="*/ 2024552 h 4687251"/>
              <a:gd name="connsiteX42320" fmla="*/ 4349672 w 8079933"/>
              <a:gd name="connsiteY42320" fmla="*/ 2025526 h 4687251"/>
              <a:gd name="connsiteX42321" fmla="*/ 4349564 w 8079933"/>
              <a:gd name="connsiteY42321" fmla="*/ 2026934 h 4687251"/>
              <a:gd name="connsiteX42322" fmla="*/ 4345331 w 8079933"/>
              <a:gd name="connsiteY42322" fmla="*/ 2025202 h 4687251"/>
              <a:gd name="connsiteX42323" fmla="*/ 4341967 w 8079933"/>
              <a:gd name="connsiteY42323" fmla="*/ 2020979 h 4687251"/>
              <a:gd name="connsiteX42324" fmla="*/ 4340014 w 8079933"/>
              <a:gd name="connsiteY42324" fmla="*/ 2016648 h 4687251"/>
              <a:gd name="connsiteX42325" fmla="*/ 4340556 w 8079933"/>
              <a:gd name="connsiteY42325" fmla="*/ 2013075 h 4687251"/>
              <a:gd name="connsiteX42326" fmla="*/ 4337952 w 8079933"/>
              <a:gd name="connsiteY42326" fmla="*/ 2011559 h 4687251"/>
              <a:gd name="connsiteX42327" fmla="*/ 4330573 w 8079933"/>
              <a:gd name="connsiteY42327" fmla="*/ 2011451 h 4687251"/>
              <a:gd name="connsiteX42328" fmla="*/ 4329162 w 8079933"/>
              <a:gd name="connsiteY42328" fmla="*/ 2009286 h 4687251"/>
              <a:gd name="connsiteX42329" fmla="*/ 4324279 w 8079933"/>
              <a:gd name="connsiteY42329" fmla="*/ 2006904 h 4687251"/>
              <a:gd name="connsiteX42330" fmla="*/ 4321023 w 8079933"/>
              <a:gd name="connsiteY42330" fmla="*/ 2007337 h 4687251"/>
              <a:gd name="connsiteX42331" fmla="*/ 4318853 w 8079933"/>
              <a:gd name="connsiteY42331" fmla="*/ 2008745 h 4687251"/>
              <a:gd name="connsiteX42332" fmla="*/ 4317225 w 8079933"/>
              <a:gd name="connsiteY42332" fmla="*/ 2014483 h 4687251"/>
              <a:gd name="connsiteX42333" fmla="*/ 4314512 w 8079933"/>
              <a:gd name="connsiteY42333" fmla="*/ 2017406 h 4687251"/>
              <a:gd name="connsiteX42334" fmla="*/ 4314730 w 8079933"/>
              <a:gd name="connsiteY42334" fmla="*/ 2020438 h 4687251"/>
              <a:gd name="connsiteX42335" fmla="*/ 4313970 w 8079933"/>
              <a:gd name="connsiteY42335" fmla="*/ 2024011 h 4687251"/>
              <a:gd name="connsiteX42336" fmla="*/ 4310497 w 8079933"/>
              <a:gd name="connsiteY42336" fmla="*/ 2026393 h 4687251"/>
              <a:gd name="connsiteX42337" fmla="*/ 4310497 w 8079933"/>
              <a:gd name="connsiteY42337" fmla="*/ 2029966 h 4687251"/>
              <a:gd name="connsiteX42338" fmla="*/ 4312125 w 8079933"/>
              <a:gd name="connsiteY42338" fmla="*/ 2032348 h 4687251"/>
              <a:gd name="connsiteX42339" fmla="*/ 4315923 w 8079933"/>
              <a:gd name="connsiteY42339" fmla="*/ 2032889 h 4687251"/>
              <a:gd name="connsiteX42340" fmla="*/ 4322651 w 8079933"/>
              <a:gd name="connsiteY42340" fmla="*/ 2039169 h 4687251"/>
              <a:gd name="connsiteX42341" fmla="*/ 4323953 w 8079933"/>
              <a:gd name="connsiteY42341" fmla="*/ 2041875 h 4687251"/>
              <a:gd name="connsiteX42342" fmla="*/ 4323194 w 8079933"/>
              <a:gd name="connsiteY42342" fmla="*/ 2048047 h 4687251"/>
              <a:gd name="connsiteX42343" fmla="*/ 4324388 w 8079933"/>
              <a:gd name="connsiteY42343" fmla="*/ 2050213 h 4687251"/>
              <a:gd name="connsiteX42344" fmla="*/ 4322760 w 8079933"/>
              <a:gd name="connsiteY42344" fmla="*/ 2053677 h 4687251"/>
              <a:gd name="connsiteX42345" fmla="*/ 4318636 w 8079933"/>
              <a:gd name="connsiteY42345" fmla="*/ 2054760 h 4687251"/>
              <a:gd name="connsiteX42346" fmla="*/ 4314730 w 8079933"/>
              <a:gd name="connsiteY42346" fmla="*/ 2058874 h 4687251"/>
              <a:gd name="connsiteX42347" fmla="*/ 4314078 w 8079933"/>
              <a:gd name="connsiteY42347" fmla="*/ 2069918 h 4687251"/>
              <a:gd name="connsiteX42348" fmla="*/ 4307568 w 8079933"/>
              <a:gd name="connsiteY42348" fmla="*/ 2075115 h 4687251"/>
              <a:gd name="connsiteX42349" fmla="*/ 4306699 w 8079933"/>
              <a:gd name="connsiteY42349" fmla="*/ 2080203 h 4687251"/>
              <a:gd name="connsiteX42350" fmla="*/ 4303227 w 8079933"/>
              <a:gd name="connsiteY42350" fmla="*/ 2084859 h 4687251"/>
              <a:gd name="connsiteX42351" fmla="*/ 4296390 w 8079933"/>
              <a:gd name="connsiteY42351" fmla="*/ 2085401 h 4687251"/>
              <a:gd name="connsiteX42352" fmla="*/ 4291182 w 8079933"/>
              <a:gd name="connsiteY42352" fmla="*/ 2080203 h 4687251"/>
              <a:gd name="connsiteX42353" fmla="*/ 4290964 w 8079933"/>
              <a:gd name="connsiteY42353" fmla="*/ 2076522 h 4687251"/>
              <a:gd name="connsiteX42354" fmla="*/ 4292158 w 8079933"/>
              <a:gd name="connsiteY42354" fmla="*/ 2074681 h 4687251"/>
              <a:gd name="connsiteX42355" fmla="*/ 4294980 w 8079933"/>
              <a:gd name="connsiteY42355" fmla="*/ 2073166 h 4687251"/>
              <a:gd name="connsiteX42356" fmla="*/ 4297801 w 8079933"/>
              <a:gd name="connsiteY42356" fmla="*/ 2069918 h 4687251"/>
              <a:gd name="connsiteX42357" fmla="*/ 4298452 w 8079933"/>
              <a:gd name="connsiteY42357" fmla="*/ 2065370 h 4687251"/>
              <a:gd name="connsiteX42358" fmla="*/ 4297801 w 8079933"/>
              <a:gd name="connsiteY42358" fmla="*/ 2060607 h 4687251"/>
              <a:gd name="connsiteX42359" fmla="*/ 4299211 w 8079933"/>
              <a:gd name="connsiteY42359" fmla="*/ 2059848 h 4687251"/>
              <a:gd name="connsiteX42360" fmla="*/ 4301165 w 8079933"/>
              <a:gd name="connsiteY42360" fmla="*/ 2059740 h 4687251"/>
              <a:gd name="connsiteX42361" fmla="*/ 4303661 w 8079933"/>
              <a:gd name="connsiteY42361" fmla="*/ 2056709 h 4687251"/>
              <a:gd name="connsiteX42362" fmla="*/ 4303770 w 8079933"/>
              <a:gd name="connsiteY42362" fmla="*/ 2052378 h 4687251"/>
              <a:gd name="connsiteX42363" fmla="*/ 4301165 w 8079933"/>
              <a:gd name="connsiteY42363" fmla="*/ 2048372 h 4687251"/>
              <a:gd name="connsiteX42364" fmla="*/ 4299103 w 8079933"/>
              <a:gd name="connsiteY42364" fmla="*/ 2039927 h 4687251"/>
              <a:gd name="connsiteX42365" fmla="*/ 4296607 w 8079933"/>
              <a:gd name="connsiteY42365" fmla="*/ 2036679 h 4687251"/>
              <a:gd name="connsiteX42366" fmla="*/ 4295522 w 8079933"/>
              <a:gd name="connsiteY42366" fmla="*/ 2029424 h 4687251"/>
              <a:gd name="connsiteX42367" fmla="*/ 4293352 w 8079933"/>
              <a:gd name="connsiteY42367" fmla="*/ 2021846 h 4687251"/>
              <a:gd name="connsiteX42368" fmla="*/ 4289879 w 8079933"/>
              <a:gd name="connsiteY42368" fmla="*/ 2019680 h 4687251"/>
              <a:gd name="connsiteX42369" fmla="*/ 4287166 w 8079933"/>
              <a:gd name="connsiteY42369" fmla="*/ 2021304 h 4687251"/>
              <a:gd name="connsiteX42370" fmla="*/ 4280981 w 8079933"/>
              <a:gd name="connsiteY42370" fmla="*/ 2019897 h 4687251"/>
              <a:gd name="connsiteX42371" fmla="*/ 4279028 w 8079933"/>
              <a:gd name="connsiteY42371" fmla="*/ 2015891 h 4687251"/>
              <a:gd name="connsiteX42372" fmla="*/ 4274144 w 8079933"/>
              <a:gd name="connsiteY42372" fmla="*/ 2015566 h 4687251"/>
              <a:gd name="connsiteX42373" fmla="*/ 4271757 w 8079933"/>
              <a:gd name="connsiteY42373" fmla="*/ 2013184 h 4687251"/>
              <a:gd name="connsiteX42374" fmla="*/ 4272842 w 8079933"/>
              <a:gd name="connsiteY42374" fmla="*/ 2011235 h 4687251"/>
              <a:gd name="connsiteX42375" fmla="*/ 4273385 w 8079933"/>
              <a:gd name="connsiteY42375" fmla="*/ 2006579 h 4687251"/>
              <a:gd name="connsiteX42376" fmla="*/ 4270346 w 8079933"/>
              <a:gd name="connsiteY42376" fmla="*/ 2002573 h 4687251"/>
              <a:gd name="connsiteX42377" fmla="*/ 4266006 w 8079933"/>
              <a:gd name="connsiteY42377" fmla="*/ 2002249 h 4687251"/>
              <a:gd name="connsiteX42378" fmla="*/ 4261882 w 8079933"/>
              <a:gd name="connsiteY42378" fmla="*/ 2002357 h 4687251"/>
              <a:gd name="connsiteX42379" fmla="*/ 4262208 w 8079933"/>
              <a:gd name="connsiteY42379" fmla="*/ 1999108 h 4687251"/>
              <a:gd name="connsiteX42380" fmla="*/ 4258192 w 8079933"/>
              <a:gd name="connsiteY42380" fmla="*/ 1997701 h 4687251"/>
              <a:gd name="connsiteX42381" fmla="*/ 4255480 w 8079933"/>
              <a:gd name="connsiteY42381" fmla="*/ 1998784 h 4687251"/>
              <a:gd name="connsiteX42382" fmla="*/ 4252441 w 8079933"/>
              <a:gd name="connsiteY42382" fmla="*/ 1996835 h 4687251"/>
              <a:gd name="connsiteX42383" fmla="*/ 4247341 w 8079933"/>
              <a:gd name="connsiteY42383" fmla="*/ 1987416 h 4687251"/>
              <a:gd name="connsiteX42384" fmla="*/ 4242675 w 8079933"/>
              <a:gd name="connsiteY42384" fmla="*/ 1987090 h 4687251"/>
              <a:gd name="connsiteX42385" fmla="*/ 4237791 w 8079933"/>
              <a:gd name="connsiteY42385" fmla="*/ 1985033 h 4687251"/>
              <a:gd name="connsiteX42386" fmla="*/ 4234753 w 8079933"/>
              <a:gd name="connsiteY42386" fmla="*/ 1987957 h 4687251"/>
              <a:gd name="connsiteX42387" fmla="*/ 4230412 w 8079933"/>
              <a:gd name="connsiteY42387" fmla="*/ 1987957 h 4687251"/>
              <a:gd name="connsiteX42388" fmla="*/ 4229436 w 8079933"/>
              <a:gd name="connsiteY42388" fmla="*/ 1983951 h 4687251"/>
              <a:gd name="connsiteX42389" fmla="*/ 4225529 w 8079933"/>
              <a:gd name="connsiteY42389" fmla="*/ 1981244 h 4687251"/>
              <a:gd name="connsiteX42390" fmla="*/ 4220971 w 8079933"/>
              <a:gd name="connsiteY42390" fmla="*/ 1980594 h 4687251"/>
              <a:gd name="connsiteX42391" fmla="*/ 4211531 w 8079933"/>
              <a:gd name="connsiteY42391" fmla="*/ 1973557 h 4687251"/>
              <a:gd name="connsiteX42392" fmla="*/ 4201764 w 8079933"/>
              <a:gd name="connsiteY42392" fmla="*/ 1961106 h 4687251"/>
              <a:gd name="connsiteX42393" fmla="*/ 4198725 w 8079933"/>
              <a:gd name="connsiteY42393" fmla="*/ 1960023 h 4687251"/>
              <a:gd name="connsiteX42394" fmla="*/ 4197857 w 8079933"/>
              <a:gd name="connsiteY42394" fmla="*/ 1956233 h 4687251"/>
              <a:gd name="connsiteX42395" fmla="*/ 4193517 w 8079933"/>
              <a:gd name="connsiteY42395" fmla="*/ 1950386 h 4687251"/>
              <a:gd name="connsiteX42396" fmla="*/ 4186571 w 8079933"/>
              <a:gd name="connsiteY42396" fmla="*/ 1950278 h 4687251"/>
              <a:gd name="connsiteX42397" fmla="*/ 4185921 w 8079933"/>
              <a:gd name="connsiteY42397" fmla="*/ 1945947 h 4687251"/>
              <a:gd name="connsiteX42398" fmla="*/ 4179410 w 8079933"/>
              <a:gd name="connsiteY42398" fmla="*/ 1939776 h 4687251"/>
              <a:gd name="connsiteX42399" fmla="*/ 4175720 w 8079933"/>
              <a:gd name="connsiteY42399" fmla="*/ 1935229 h 4687251"/>
              <a:gd name="connsiteX42400" fmla="*/ 4170186 w 8079933"/>
              <a:gd name="connsiteY42400" fmla="*/ 1932522 h 4687251"/>
              <a:gd name="connsiteX42401" fmla="*/ 4170294 w 8079933"/>
              <a:gd name="connsiteY42401" fmla="*/ 1925917 h 4687251"/>
              <a:gd name="connsiteX42402" fmla="*/ 4166604 w 8079933"/>
              <a:gd name="connsiteY42402" fmla="*/ 1923535 h 4687251"/>
              <a:gd name="connsiteX42403" fmla="*/ 4166388 w 8079933"/>
              <a:gd name="connsiteY42403" fmla="*/ 1919421 h 4687251"/>
              <a:gd name="connsiteX42404" fmla="*/ 4162047 w 8079933"/>
              <a:gd name="connsiteY42404" fmla="*/ 1912384 h 4687251"/>
              <a:gd name="connsiteX42405" fmla="*/ 4160093 w 8079933"/>
              <a:gd name="connsiteY42405" fmla="*/ 1908703 h 4687251"/>
              <a:gd name="connsiteX42406" fmla="*/ 4158791 w 8079933"/>
              <a:gd name="connsiteY42406" fmla="*/ 1906104 h 4687251"/>
              <a:gd name="connsiteX42407" fmla="*/ 4156730 w 8079933"/>
              <a:gd name="connsiteY42407" fmla="*/ 1902315 h 4687251"/>
              <a:gd name="connsiteX42408" fmla="*/ 4149676 w 8079933"/>
              <a:gd name="connsiteY42408" fmla="*/ 1900258 h 4687251"/>
              <a:gd name="connsiteX42409" fmla="*/ 4145010 w 8079933"/>
              <a:gd name="connsiteY42409" fmla="*/ 1897226 h 4687251"/>
              <a:gd name="connsiteX42410" fmla="*/ 4129058 w 8079933"/>
              <a:gd name="connsiteY42410" fmla="*/ 1893003 h 4687251"/>
              <a:gd name="connsiteX42411" fmla="*/ 4116795 w 8079933"/>
              <a:gd name="connsiteY42411" fmla="*/ 1899933 h 4687251"/>
              <a:gd name="connsiteX42412" fmla="*/ 4116687 w 8079933"/>
              <a:gd name="connsiteY42412" fmla="*/ 1903831 h 4687251"/>
              <a:gd name="connsiteX42413" fmla="*/ 4112454 w 8079933"/>
              <a:gd name="connsiteY42413" fmla="*/ 1909135 h 4687251"/>
              <a:gd name="connsiteX42414" fmla="*/ 4101060 w 8079933"/>
              <a:gd name="connsiteY42414" fmla="*/ 1911084 h 4687251"/>
              <a:gd name="connsiteX42415" fmla="*/ 4101060 w 8079933"/>
              <a:gd name="connsiteY42415" fmla="*/ 1911084 h 4687251"/>
              <a:gd name="connsiteX42416" fmla="*/ 4100193 w 8079933"/>
              <a:gd name="connsiteY42416" fmla="*/ 1911301 h 4687251"/>
              <a:gd name="connsiteX42417" fmla="*/ 4085109 w 8079933"/>
              <a:gd name="connsiteY42417" fmla="*/ 1922452 h 4687251"/>
              <a:gd name="connsiteX42418" fmla="*/ 4080985 w 8079933"/>
              <a:gd name="connsiteY42418" fmla="*/ 1927649 h 4687251"/>
              <a:gd name="connsiteX42419" fmla="*/ 4081853 w 8079933"/>
              <a:gd name="connsiteY42419" fmla="*/ 1930031 h 4687251"/>
              <a:gd name="connsiteX42420" fmla="*/ 4077404 w 8079933"/>
              <a:gd name="connsiteY42420" fmla="*/ 1933821 h 4687251"/>
              <a:gd name="connsiteX42421" fmla="*/ 4066661 w 8079933"/>
              <a:gd name="connsiteY42421" fmla="*/ 1933279 h 4687251"/>
              <a:gd name="connsiteX42422" fmla="*/ 4062755 w 8079933"/>
              <a:gd name="connsiteY42422" fmla="*/ 1929815 h 4687251"/>
              <a:gd name="connsiteX42423" fmla="*/ 4048321 w 8079933"/>
              <a:gd name="connsiteY42423" fmla="*/ 1920828 h 4687251"/>
              <a:gd name="connsiteX42424" fmla="*/ 4044849 w 8079933"/>
              <a:gd name="connsiteY42424" fmla="*/ 1921153 h 4687251"/>
              <a:gd name="connsiteX42425" fmla="*/ 4041160 w 8079933"/>
              <a:gd name="connsiteY42425" fmla="*/ 1924077 h 4687251"/>
              <a:gd name="connsiteX42426" fmla="*/ 4037253 w 8079933"/>
              <a:gd name="connsiteY42426" fmla="*/ 1924077 h 4687251"/>
              <a:gd name="connsiteX42427" fmla="*/ 4031393 w 8079933"/>
              <a:gd name="connsiteY42427" fmla="*/ 1920612 h 4687251"/>
              <a:gd name="connsiteX42428" fmla="*/ 4025967 w 8079933"/>
              <a:gd name="connsiteY42428" fmla="*/ 1919854 h 4687251"/>
              <a:gd name="connsiteX42429" fmla="*/ 4023255 w 8079933"/>
              <a:gd name="connsiteY42429" fmla="*/ 1917905 h 4687251"/>
              <a:gd name="connsiteX42430" fmla="*/ 4020541 w 8079933"/>
              <a:gd name="connsiteY42430" fmla="*/ 1918122 h 4687251"/>
              <a:gd name="connsiteX42431" fmla="*/ 4012294 w 8079933"/>
              <a:gd name="connsiteY42431" fmla="*/ 1927000 h 4687251"/>
              <a:gd name="connsiteX42432" fmla="*/ 4006868 w 8079933"/>
              <a:gd name="connsiteY42432" fmla="*/ 1931872 h 4687251"/>
              <a:gd name="connsiteX42433" fmla="*/ 4006326 w 8079933"/>
              <a:gd name="connsiteY42433" fmla="*/ 1935769 h 4687251"/>
              <a:gd name="connsiteX42434" fmla="*/ 4004481 w 8079933"/>
              <a:gd name="connsiteY42434" fmla="*/ 1943890 h 4687251"/>
              <a:gd name="connsiteX42435" fmla="*/ 4006326 w 8079933"/>
              <a:gd name="connsiteY42435" fmla="*/ 1950819 h 4687251"/>
              <a:gd name="connsiteX42436" fmla="*/ 4006543 w 8079933"/>
              <a:gd name="connsiteY42436" fmla="*/ 1953093 h 4687251"/>
              <a:gd name="connsiteX42437" fmla="*/ 4006108 w 8079933"/>
              <a:gd name="connsiteY42437" fmla="*/ 1952932 h 4687251"/>
              <a:gd name="connsiteX42438" fmla="*/ 4006108 w 8079933"/>
              <a:gd name="connsiteY42438" fmla="*/ 1955149 h 4687251"/>
              <a:gd name="connsiteX42439" fmla="*/ 4002310 w 8079933"/>
              <a:gd name="connsiteY42439" fmla="*/ 1957640 h 4687251"/>
              <a:gd name="connsiteX42440" fmla="*/ 4003613 w 8079933"/>
              <a:gd name="connsiteY42440" fmla="*/ 1965218 h 4687251"/>
              <a:gd name="connsiteX42441" fmla="*/ 4002962 w 8079933"/>
              <a:gd name="connsiteY42441" fmla="*/ 1971065 h 4687251"/>
              <a:gd name="connsiteX42442" fmla="*/ 4000574 w 8079933"/>
              <a:gd name="connsiteY42442" fmla="*/ 1975612 h 4687251"/>
              <a:gd name="connsiteX42443" fmla="*/ 3991567 w 8079933"/>
              <a:gd name="connsiteY42443" fmla="*/ 1981026 h 4687251"/>
              <a:gd name="connsiteX42444" fmla="*/ 3987553 w 8079933"/>
              <a:gd name="connsiteY42444" fmla="*/ 1986114 h 4687251"/>
              <a:gd name="connsiteX42445" fmla="*/ 3979956 w 8079933"/>
              <a:gd name="connsiteY42445" fmla="*/ 1989146 h 4687251"/>
              <a:gd name="connsiteX42446" fmla="*/ 3970733 w 8079933"/>
              <a:gd name="connsiteY42446" fmla="*/ 1989146 h 4687251"/>
              <a:gd name="connsiteX42447" fmla="*/ 3964763 w 8079933"/>
              <a:gd name="connsiteY42447" fmla="*/ 1993369 h 4687251"/>
              <a:gd name="connsiteX42448" fmla="*/ 3959338 w 8079933"/>
              <a:gd name="connsiteY42448" fmla="*/ 1996292 h 4687251"/>
              <a:gd name="connsiteX42449" fmla="*/ 3961834 w 8079933"/>
              <a:gd name="connsiteY42449" fmla="*/ 1998457 h 4687251"/>
              <a:gd name="connsiteX42450" fmla="*/ 3960640 w 8079933"/>
              <a:gd name="connsiteY42450" fmla="*/ 2004087 h 4687251"/>
              <a:gd name="connsiteX42451" fmla="*/ 3957276 w 8079933"/>
              <a:gd name="connsiteY42451" fmla="*/ 2006144 h 4687251"/>
              <a:gd name="connsiteX42452" fmla="*/ 3957276 w 8079933"/>
              <a:gd name="connsiteY42452" fmla="*/ 2005603 h 4687251"/>
              <a:gd name="connsiteX42453" fmla="*/ 3958144 w 8079933"/>
              <a:gd name="connsiteY42453" fmla="*/ 2004845 h 4687251"/>
              <a:gd name="connsiteX42454" fmla="*/ 3955649 w 8079933"/>
              <a:gd name="connsiteY42454" fmla="*/ 2003979 h 4687251"/>
              <a:gd name="connsiteX42455" fmla="*/ 3948811 w 8079933"/>
              <a:gd name="connsiteY42455" fmla="*/ 2015672 h 4687251"/>
              <a:gd name="connsiteX42456" fmla="*/ 3943928 w 8079933"/>
              <a:gd name="connsiteY42456" fmla="*/ 2018054 h 4687251"/>
              <a:gd name="connsiteX42457" fmla="*/ 3934704 w 8079933"/>
              <a:gd name="connsiteY42457" fmla="*/ 2033429 h 4687251"/>
              <a:gd name="connsiteX42458" fmla="*/ 3931991 w 8079933"/>
              <a:gd name="connsiteY42458" fmla="*/ 2036893 h 4687251"/>
              <a:gd name="connsiteX42459" fmla="*/ 3936007 w 8079933"/>
              <a:gd name="connsiteY42459" fmla="*/ 2043715 h 4687251"/>
              <a:gd name="connsiteX42460" fmla="*/ 3937092 w 8079933"/>
              <a:gd name="connsiteY42460" fmla="*/ 2048370 h 4687251"/>
              <a:gd name="connsiteX42461" fmla="*/ 3940673 w 8079933"/>
              <a:gd name="connsiteY42461" fmla="*/ 2050319 h 4687251"/>
              <a:gd name="connsiteX42462" fmla="*/ 3946641 w 8079933"/>
              <a:gd name="connsiteY42462" fmla="*/ 2058439 h 4687251"/>
              <a:gd name="connsiteX42463" fmla="*/ 3941433 w 8079933"/>
              <a:gd name="connsiteY42463" fmla="*/ 2063528 h 4687251"/>
              <a:gd name="connsiteX42464" fmla="*/ 3933511 w 8079933"/>
              <a:gd name="connsiteY42464" fmla="*/ 2065476 h 4687251"/>
              <a:gd name="connsiteX42465" fmla="*/ 3933511 w 8079933"/>
              <a:gd name="connsiteY42465" fmla="*/ 2071107 h 4687251"/>
              <a:gd name="connsiteX42466" fmla="*/ 3925915 w 8079933"/>
              <a:gd name="connsiteY42466" fmla="*/ 2081933 h 4687251"/>
              <a:gd name="connsiteX42467" fmla="*/ 3925046 w 8079933"/>
              <a:gd name="connsiteY42467" fmla="*/ 2088971 h 4687251"/>
              <a:gd name="connsiteX42468" fmla="*/ 3927000 w 8079933"/>
              <a:gd name="connsiteY42468" fmla="*/ 2090920 h 4687251"/>
              <a:gd name="connsiteX42469" fmla="*/ 3925046 w 8079933"/>
              <a:gd name="connsiteY42469" fmla="*/ 2093951 h 4687251"/>
              <a:gd name="connsiteX42470" fmla="*/ 3916907 w 8079933"/>
              <a:gd name="connsiteY42470" fmla="*/ 2093951 h 4687251"/>
              <a:gd name="connsiteX42471" fmla="*/ 3902475 w 8079933"/>
              <a:gd name="connsiteY42471" fmla="*/ 2100772 h 4687251"/>
              <a:gd name="connsiteX42472" fmla="*/ 3902475 w 8079933"/>
              <a:gd name="connsiteY42472" fmla="*/ 2105645 h 4687251"/>
              <a:gd name="connsiteX42473" fmla="*/ 3896832 w 8079933"/>
              <a:gd name="connsiteY42473" fmla="*/ 2114632 h 4687251"/>
              <a:gd name="connsiteX42474" fmla="*/ 3891732 w 8079933"/>
              <a:gd name="connsiteY42474" fmla="*/ 2112250 h 4687251"/>
              <a:gd name="connsiteX42475" fmla="*/ 3887175 w 8079933"/>
              <a:gd name="connsiteY42475" fmla="*/ 2108243 h 4687251"/>
              <a:gd name="connsiteX42476" fmla="*/ 3884787 w 8079933"/>
              <a:gd name="connsiteY42476" fmla="*/ 2112357 h 4687251"/>
              <a:gd name="connsiteX42477" fmla="*/ 3880989 w 8079933"/>
              <a:gd name="connsiteY42477" fmla="*/ 2115606 h 4687251"/>
              <a:gd name="connsiteX42478" fmla="*/ 3876974 w 8079933"/>
              <a:gd name="connsiteY42478" fmla="*/ 2112575 h 4687251"/>
              <a:gd name="connsiteX42479" fmla="*/ 3872850 w 8079933"/>
              <a:gd name="connsiteY42479" fmla="*/ 2112575 h 4687251"/>
              <a:gd name="connsiteX42480" fmla="*/ 3871223 w 8079933"/>
              <a:gd name="connsiteY42480" fmla="*/ 2114523 h 4687251"/>
              <a:gd name="connsiteX42481" fmla="*/ 3864711 w 8079933"/>
              <a:gd name="connsiteY42481" fmla="*/ 2113765 h 4687251"/>
              <a:gd name="connsiteX42482" fmla="*/ 3854944 w 8079933"/>
              <a:gd name="connsiteY42482" fmla="*/ 2111059 h 4687251"/>
              <a:gd name="connsiteX42483" fmla="*/ 3851038 w 8079933"/>
              <a:gd name="connsiteY42483" fmla="*/ 2113224 h 4687251"/>
              <a:gd name="connsiteX42484" fmla="*/ 3842465 w 8079933"/>
              <a:gd name="connsiteY42484" fmla="*/ 2114306 h 4687251"/>
              <a:gd name="connsiteX42485" fmla="*/ 3834978 w 8079933"/>
              <a:gd name="connsiteY42485" fmla="*/ 2121777 h 4687251"/>
              <a:gd name="connsiteX42486" fmla="*/ 3826079 w 8079933"/>
              <a:gd name="connsiteY42486" fmla="*/ 2122860 h 4687251"/>
              <a:gd name="connsiteX42487" fmla="*/ 3822715 w 8079933"/>
              <a:gd name="connsiteY42487" fmla="*/ 2125783 h 4687251"/>
              <a:gd name="connsiteX42488" fmla="*/ 3822715 w 8079933"/>
              <a:gd name="connsiteY42488" fmla="*/ 2129681 h 4687251"/>
              <a:gd name="connsiteX42489" fmla="*/ 3815662 w 8079933"/>
              <a:gd name="connsiteY42489" fmla="*/ 2133471 h 4687251"/>
              <a:gd name="connsiteX42490" fmla="*/ 3807957 w 8079933"/>
              <a:gd name="connsiteY42490" fmla="*/ 2132171 h 4687251"/>
              <a:gd name="connsiteX42491" fmla="*/ 3800035 w 8079933"/>
              <a:gd name="connsiteY42491" fmla="*/ 2124375 h 4687251"/>
              <a:gd name="connsiteX42492" fmla="*/ 3795477 w 8079933"/>
              <a:gd name="connsiteY42492" fmla="*/ 2113549 h 4687251"/>
              <a:gd name="connsiteX42493" fmla="*/ 3796454 w 8079933"/>
              <a:gd name="connsiteY42493" fmla="*/ 2112033 h 4687251"/>
              <a:gd name="connsiteX42494" fmla="*/ 3786688 w 8079933"/>
              <a:gd name="connsiteY42494" fmla="*/ 2102722 h 4687251"/>
              <a:gd name="connsiteX42495" fmla="*/ 3779634 w 8079933"/>
              <a:gd name="connsiteY42495" fmla="*/ 2101855 h 4687251"/>
              <a:gd name="connsiteX42496" fmla="*/ 3775834 w 8079933"/>
              <a:gd name="connsiteY42496" fmla="*/ 2100802 h 4687251"/>
              <a:gd name="connsiteX42497" fmla="*/ 3775837 w 8079933"/>
              <a:gd name="connsiteY42497" fmla="*/ 2100990 h 4687251"/>
              <a:gd name="connsiteX42498" fmla="*/ 3775728 w 8079933"/>
              <a:gd name="connsiteY42498" fmla="*/ 2100881 h 4687251"/>
              <a:gd name="connsiteX42499" fmla="*/ 3774643 w 8079933"/>
              <a:gd name="connsiteY42499" fmla="*/ 2102938 h 4687251"/>
              <a:gd name="connsiteX42500" fmla="*/ 3768349 w 8079933"/>
              <a:gd name="connsiteY42500" fmla="*/ 2103480 h 4687251"/>
              <a:gd name="connsiteX42501" fmla="*/ 3761296 w 8079933"/>
              <a:gd name="connsiteY42501" fmla="*/ 2107378 h 4687251"/>
              <a:gd name="connsiteX42502" fmla="*/ 3756738 w 8079933"/>
              <a:gd name="connsiteY42502" fmla="*/ 2104670 h 4687251"/>
              <a:gd name="connsiteX42503" fmla="*/ 3746754 w 8079933"/>
              <a:gd name="connsiteY42503" fmla="*/ 2100773 h 4687251"/>
              <a:gd name="connsiteX42504" fmla="*/ 3739701 w 8079933"/>
              <a:gd name="connsiteY42504" fmla="*/ 2105537 h 4687251"/>
              <a:gd name="connsiteX42505" fmla="*/ 3737964 w 8079933"/>
              <a:gd name="connsiteY42505" fmla="*/ 2104129 h 4687251"/>
              <a:gd name="connsiteX42506" fmla="*/ 3739701 w 8079933"/>
              <a:gd name="connsiteY42506" fmla="*/ 2101423 h 4687251"/>
              <a:gd name="connsiteX42507" fmla="*/ 3742088 w 8079933"/>
              <a:gd name="connsiteY42507" fmla="*/ 2092436 h 4687251"/>
              <a:gd name="connsiteX42508" fmla="*/ 3741763 w 8079933"/>
              <a:gd name="connsiteY42508" fmla="*/ 2079768 h 4687251"/>
              <a:gd name="connsiteX42509" fmla="*/ 3744041 w 8079933"/>
              <a:gd name="connsiteY42509" fmla="*/ 2074246 h 4687251"/>
              <a:gd name="connsiteX42510" fmla="*/ 3742414 w 8079933"/>
              <a:gd name="connsiteY42510" fmla="*/ 2067859 h 4687251"/>
              <a:gd name="connsiteX42511" fmla="*/ 3745018 w 8079933"/>
              <a:gd name="connsiteY42511" fmla="*/ 2064611 h 4687251"/>
              <a:gd name="connsiteX42512" fmla="*/ 3738833 w 8079933"/>
              <a:gd name="connsiteY42512" fmla="*/ 2064503 h 4687251"/>
              <a:gd name="connsiteX42513" fmla="*/ 3735251 w 8079933"/>
              <a:gd name="connsiteY42513" fmla="*/ 2067859 h 4687251"/>
              <a:gd name="connsiteX42514" fmla="*/ 3733082 w 8079933"/>
              <a:gd name="connsiteY42514" fmla="*/ 2065585 h 4687251"/>
              <a:gd name="connsiteX42515" fmla="*/ 3733407 w 8079933"/>
              <a:gd name="connsiteY42515" fmla="*/ 2060497 h 4687251"/>
              <a:gd name="connsiteX42516" fmla="*/ 3740461 w 8079933"/>
              <a:gd name="connsiteY42516" fmla="*/ 2057032 h 4687251"/>
              <a:gd name="connsiteX42517" fmla="*/ 3739158 w 8079933"/>
              <a:gd name="connsiteY42517" fmla="*/ 2054542 h 4687251"/>
              <a:gd name="connsiteX42518" fmla="*/ 3739918 w 8079933"/>
              <a:gd name="connsiteY42518" fmla="*/ 2051510 h 4687251"/>
              <a:gd name="connsiteX42519" fmla="*/ 3735035 w 8079933"/>
              <a:gd name="connsiteY42519" fmla="*/ 2054542 h 4687251"/>
              <a:gd name="connsiteX42520" fmla="*/ 3732647 w 8079933"/>
              <a:gd name="connsiteY42520" fmla="*/ 2057898 h 4687251"/>
              <a:gd name="connsiteX42521" fmla="*/ 3727764 w 8079933"/>
              <a:gd name="connsiteY42521" fmla="*/ 2057898 h 4687251"/>
              <a:gd name="connsiteX42522" fmla="*/ 3727547 w 8079933"/>
              <a:gd name="connsiteY42522" fmla="*/ 2054542 h 4687251"/>
              <a:gd name="connsiteX42523" fmla="*/ 3730910 w 8079933"/>
              <a:gd name="connsiteY42523" fmla="*/ 2040683 h 4687251"/>
              <a:gd name="connsiteX42524" fmla="*/ 3737205 w 8079933"/>
              <a:gd name="connsiteY42524" fmla="*/ 2031588 h 4687251"/>
              <a:gd name="connsiteX42525" fmla="*/ 3737205 w 8079933"/>
              <a:gd name="connsiteY42525" fmla="*/ 2027041 h 4687251"/>
              <a:gd name="connsiteX42526" fmla="*/ 3742631 w 8079933"/>
              <a:gd name="connsiteY42526" fmla="*/ 2019353 h 4687251"/>
              <a:gd name="connsiteX42527" fmla="*/ 3742956 w 8079933"/>
              <a:gd name="connsiteY42527" fmla="*/ 2011559 h 4687251"/>
              <a:gd name="connsiteX42528" fmla="*/ 3745886 w 8079933"/>
              <a:gd name="connsiteY42528" fmla="*/ 2005387 h 4687251"/>
              <a:gd name="connsiteX42529" fmla="*/ 3748382 w 8079933"/>
              <a:gd name="connsiteY42529" fmla="*/ 2002031 h 4687251"/>
              <a:gd name="connsiteX42530" fmla="*/ 3745018 w 8079933"/>
              <a:gd name="connsiteY42530" fmla="*/ 1998025 h 4687251"/>
              <a:gd name="connsiteX42531" fmla="*/ 3746754 w 8079933"/>
              <a:gd name="connsiteY42531" fmla="*/ 1991420 h 4687251"/>
              <a:gd name="connsiteX42532" fmla="*/ 3745886 w 8079933"/>
              <a:gd name="connsiteY42532" fmla="*/ 1989038 h 4687251"/>
              <a:gd name="connsiteX42533" fmla="*/ 3747514 w 8079933"/>
              <a:gd name="connsiteY42533" fmla="*/ 1973988 h 4687251"/>
              <a:gd name="connsiteX42534" fmla="*/ 3743933 w 8079933"/>
              <a:gd name="connsiteY42534" fmla="*/ 1965976 h 4687251"/>
              <a:gd name="connsiteX42535" fmla="*/ 3743499 w 8079933"/>
              <a:gd name="connsiteY42535" fmla="*/ 1960996 h 4687251"/>
              <a:gd name="connsiteX42536" fmla="*/ 3754025 w 8079933"/>
              <a:gd name="connsiteY42536" fmla="*/ 1959264 h 4687251"/>
              <a:gd name="connsiteX42537" fmla="*/ 3757987 w 8079933"/>
              <a:gd name="connsiteY42537" fmla="*/ 1960332 h 4687251"/>
              <a:gd name="connsiteX42538" fmla="*/ 3758039 w 8079933"/>
              <a:gd name="connsiteY42538" fmla="*/ 1959913 h 4687251"/>
              <a:gd name="connsiteX42539" fmla="*/ 3754025 w 8079933"/>
              <a:gd name="connsiteY42539" fmla="*/ 1958830 h 4687251"/>
              <a:gd name="connsiteX42540" fmla="*/ 3743172 w 8079933"/>
              <a:gd name="connsiteY42540" fmla="*/ 1960455 h 4687251"/>
              <a:gd name="connsiteX42541" fmla="*/ 3743172 w 8079933"/>
              <a:gd name="connsiteY42541" fmla="*/ 1959155 h 4687251"/>
              <a:gd name="connsiteX42542" fmla="*/ 3748815 w 8079933"/>
              <a:gd name="connsiteY42542" fmla="*/ 1954283 h 4687251"/>
              <a:gd name="connsiteX42543" fmla="*/ 3744800 w 8079933"/>
              <a:gd name="connsiteY42543" fmla="*/ 1953525 h 4687251"/>
              <a:gd name="connsiteX42544" fmla="*/ 3747513 w 8079933"/>
              <a:gd name="connsiteY42544" fmla="*/ 1950602 h 4687251"/>
              <a:gd name="connsiteX42545" fmla="*/ 3745668 w 8079933"/>
              <a:gd name="connsiteY42545" fmla="*/ 1948761 h 4687251"/>
              <a:gd name="connsiteX42546" fmla="*/ 3746753 w 8079933"/>
              <a:gd name="connsiteY42546" fmla="*/ 1943673 h 4687251"/>
              <a:gd name="connsiteX42547" fmla="*/ 3742955 w 8079933"/>
              <a:gd name="connsiteY42547" fmla="*/ 1947245 h 4687251"/>
              <a:gd name="connsiteX42548" fmla="*/ 3741111 w 8079933"/>
              <a:gd name="connsiteY42548" fmla="*/ 1946488 h 4687251"/>
              <a:gd name="connsiteX42549" fmla="*/ 3742413 w 8079933"/>
              <a:gd name="connsiteY42549" fmla="*/ 1939774 h 4687251"/>
              <a:gd name="connsiteX42550" fmla="*/ 3740459 w 8079933"/>
              <a:gd name="connsiteY42550" fmla="*/ 1938909 h 4687251"/>
              <a:gd name="connsiteX42551" fmla="*/ 3740459 w 8079933"/>
              <a:gd name="connsiteY42551" fmla="*/ 1936202 h 4687251"/>
              <a:gd name="connsiteX42552" fmla="*/ 3737421 w 8079933"/>
              <a:gd name="connsiteY42552" fmla="*/ 1937284 h 4687251"/>
              <a:gd name="connsiteX42553" fmla="*/ 3735251 w 8079933"/>
              <a:gd name="connsiteY42553" fmla="*/ 1932196 h 4687251"/>
              <a:gd name="connsiteX42554" fmla="*/ 3737746 w 8079933"/>
              <a:gd name="connsiteY42554" fmla="*/ 1926999 h 4687251"/>
              <a:gd name="connsiteX42555" fmla="*/ 3746753 w 8079933"/>
              <a:gd name="connsiteY42555" fmla="*/ 1923751 h 4687251"/>
              <a:gd name="connsiteX42556" fmla="*/ 3749792 w 8079933"/>
              <a:gd name="connsiteY42556" fmla="*/ 1925159 h 4687251"/>
              <a:gd name="connsiteX42557" fmla="*/ 3757388 w 8079933"/>
              <a:gd name="connsiteY42557" fmla="*/ 1924292 h 4687251"/>
              <a:gd name="connsiteX42558" fmla="*/ 3760969 w 8079933"/>
              <a:gd name="connsiteY42558" fmla="*/ 1921586 h 4687251"/>
              <a:gd name="connsiteX42559" fmla="*/ 3758039 w 8079933"/>
              <a:gd name="connsiteY42559" fmla="*/ 1919637 h 4687251"/>
              <a:gd name="connsiteX42560" fmla="*/ 3757497 w 8079933"/>
              <a:gd name="connsiteY42560" fmla="*/ 1916388 h 4687251"/>
              <a:gd name="connsiteX42561" fmla="*/ 3766178 w 8079933"/>
              <a:gd name="connsiteY42561" fmla="*/ 1911516 h 4687251"/>
              <a:gd name="connsiteX42562" fmla="*/ 3767480 w 8079933"/>
              <a:gd name="connsiteY42562" fmla="*/ 1913140 h 4687251"/>
              <a:gd name="connsiteX42563" fmla="*/ 3771061 w 8079933"/>
              <a:gd name="connsiteY42563" fmla="*/ 1910650 h 4687251"/>
              <a:gd name="connsiteX42564" fmla="*/ 3777030 w 8079933"/>
              <a:gd name="connsiteY42564" fmla="*/ 1911949 h 4687251"/>
              <a:gd name="connsiteX42565" fmla="*/ 3782130 w 8079933"/>
              <a:gd name="connsiteY42565" fmla="*/ 1918229 h 4687251"/>
              <a:gd name="connsiteX42566" fmla="*/ 3786470 w 8079933"/>
              <a:gd name="connsiteY42566" fmla="*/ 1914656 h 4687251"/>
              <a:gd name="connsiteX42567" fmla="*/ 3792548 w 8079933"/>
              <a:gd name="connsiteY42567" fmla="*/ 1914656 h 4687251"/>
              <a:gd name="connsiteX42568" fmla="*/ 3798190 w 8079933"/>
              <a:gd name="connsiteY42568" fmla="*/ 1917038 h 4687251"/>
              <a:gd name="connsiteX42569" fmla="*/ 3804376 w 8079933"/>
              <a:gd name="connsiteY42569" fmla="*/ 1914548 h 4687251"/>
              <a:gd name="connsiteX42570" fmla="*/ 3811972 w 8079933"/>
              <a:gd name="connsiteY42570" fmla="*/ 1912382 h 4687251"/>
              <a:gd name="connsiteX42571" fmla="*/ 3813600 w 8079933"/>
              <a:gd name="connsiteY42571" fmla="*/ 1914548 h 4687251"/>
              <a:gd name="connsiteX42572" fmla="*/ 3819786 w 8079933"/>
              <a:gd name="connsiteY42572" fmla="*/ 1918013 h 4687251"/>
              <a:gd name="connsiteX42573" fmla="*/ 3836823 w 8079933"/>
              <a:gd name="connsiteY42573" fmla="*/ 1920719 h 4687251"/>
              <a:gd name="connsiteX42574" fmla="*/ 3844635 w 8079933"/>
              <a:gd name="connsiteY42574" fmla="*/ 1922560 h 4687251"/>
              <a:gd name="connsiteX42575" fmla="*/ 3856247 w 8079933"/>
              <a:gd name="connsiteY42575" fmla="*/ 1917688 h 4687251"/>
              <a:gd name="connsiteX42576" fmla="*/ 3864928 w 8079933"/>
              <a:gd name="connsiteY42576" fmla="*/ 1918445 h 4687251"/>
              <a:gd name="connsiteX42577" fmla="*/ 3866556 w 8079933"/>
              <a:gd name="connsiteY42577" fmla="*/ 1922235 h 4687251"/>
              <a:gd name="connsiteX42578" fmla="*/ 3875021 w 8079933"/>
              <a:gd name="connsiteY42578" fmla="*/ 1923859 h 4687251"/>
              <a:gd name="connsiteX42579" fmla="*/ 3879361 w 8079933"/>
              <a:gd name="connsiteY42579" fmla="*/ 1919528 h 4687251"/>
              <a:gd name="connsiteX42580" fmla="*/ 3883485 w 8079933"/>
              <a:gd name="connsiteY42580" fmla="*/ 1919528 h 4687251"/>
              <a:gd name="connsiteX42581" fmla="*/ 3896181 w 8079933"/>
              <a:gd name="connsiteY42581" fmla="*/ 1926890 h 4687251"/>
              <a:gd name="connsiteX42582" fmla="*/ 3898568 w 8079933"/>
              <a:gd name="connsiteY42582" fmla="*/ 1923426 h 4687251"/>
              <a:gd name="connsiteX42583" fmla="*/ 3902041 w 8079933"/>
              <a:gd name="connsiteY42583" fmla="*/ 1923426 h 4687251"/>
              <a:gd name="connsiteX42584" fmla="*/ 3903625 w 8079933"/>
              <a:gd name="connsiteY42584" fmla="*/ 1922511 h 4687251"/>
              <a:gd name="connsiteX42585" fmla="*/ 3903126 w 8079933"/>
              <a:gd name="connsiteY42585" fmla="*/ 1922236 h 4687251"/>
              <a:gd name="connsiteX42586" fmla="*/ 3908660 w 8079933"/>
              <a:gd name="connsiteY42586" fmla="*/ 1918987 h 4687251"/>
              <a:gd name="connsiteX42587" fmla="*/ 3913001 w 8079933"/>
              <a:gd name="connsiteY42587" fmla="*/ 1904912 h 4687251"/>
              <a:gd name="connsiteX42588" fmla="*/ 3914195 w 8079933"/>
              <a:gd name="connsiteY42588" fmla="*/ 1888672 h 4687251"/>
              <a:gd name="connsiteX42589" fmla="*/ 3917342 w 8079933"/>
              <a:gd name="connsiteY42589" fmla="*/ 1886398 h 4687251"/>
              <a:gd name="connsiteX42590" fmla="*/ 3913544 w 8079933"/>
              <a:gd name="connsiteY42590" fmla="*/ 1883800 h 4687251"/>
              <a:gd name="connsiteX42591" fmla="*/ 3913326 w 8079933"/>
              <a:gd name="connsiteY42591" fmla="*/ 1875138 h 4687251"/>
              <a:gd name="connsiteX42592" fmla="*/ 3915714 w 8079933"/>
              <a:gd name="connsiteY42592" fmla="*/ 1863228 h 4687251"/>
              <a:gd name="connsiteX42593" fmla="*/ 3918101 w 8079933"/>
              <a:gd name="connsiteY42593" fmla="*/ 1861604 h 4687251"/>
              <a:gd name="connsiteX42594" fmla="*/ 3922876 w 8079933"/>
              <a:gd name="connsiteY42594" fmla="*/ 1864202 h 4687251"/>
              <a:gd name="connsiteX42595" fmla="*/ 3924504 w 8079933"/>
              <a:gd name="connsiteY42595" fmla="*/ 1869941 h 4687251"/>
              <a:gd name="connsiteX42596" fmla="*/ 3930689 w 8079933"/>
              <a:gd name="connsiteY42596" fmla="*/ 1875896 h 4687251"/>
              <a:gd name="connsiteX42597" fmla="*/ 3925047 w 8079933"/>
              <a:gd name="connsiteY42597" fmla="*/ 1862362 h 4687251"/>
              <a:gd name="connsiteX42598" fmla="*/ 3917884 w 8079933"/>
              <a:gd name="connsiteY42598" fmla="*/ 1856732 h 4687251"/>
              <a:gd name="connsiteX42599" fmla="*/ 3913869 w 8079933"/>
              <a:gd name="connsiteY42599" fmla="*/ 1855866 h 4687251"/>
              <a:gd name="connsiteX42600" fmla="*/ 3914954 w 8079933"/>
              <a:gd name="connsiteY42600" fmla="*/ 1851751 h 4687251"/>
              <a:gd name="connsiteX42601" fmla="*/ 3916039 w 8079933"/>
              <a:gd name="connsiteY42601" fmla="*/ 1851210 h 4687251"/>
              <a:gd name="connsiteX42602" fmla="*/ 3917884 w 8079933"/>
              <a:gd name="connsiteY42602" fmla="*/ 1846447 h 4687251"/>
              <a:gd name="connsiteX42603" fmla="*/ 3915714 w 8079933"/>
              <a:gd name="connsiteY42603" fmla="*/ 1843090 h 4687251"/>
              <a:gd name="connsiteX42604" fmla="*/ 3915931 w 8079933"/>
              <a:gd name="connsiteY42604" fmla="*/ 1838867 h 4687251"/>
              <a:gd name="connsiteX42605" fmla="*/ 3910288 w 8079933"/>
              <a:gd name="connsiteY42605" fmla="*/ 1835619 h 4687251"/>
              <a:gd name="connsiteX42606" fmla="*/ 3904537 w 8079933"/>
              <a:gd name="connsiteY42606" fmla="*/ 1834753 h 4687251"/>
              <a:gd name="connsiteX42607" fmla="*/ 3898460 w 8079933"/>
              <a:gd name="connsiteY42607" fmla="*/ 1827390 h 4687251"/>
              <a:gd name="connsiteX42608" fmla="*/ 3894553 w 8079933"/>
              <a:gd name="connsiteY42608" fmla="*/ 1826849 h 4687251"/>
              <a:gd name="connsiteX42609" fmla="*/ 3893685 w 8079933"/>
              <a:gd name="connsiteY42609" fmla="*/ 1823709 h 4687251"/>
              <a:gd name="connsiteX42610" fmla="*/ 3895747 w 8079933"/>
              <a:gd name="connsiteY42610" fmla="*/ 1819812 h 4687251"/>
              <a:gd name="connsiteX42611" fmla="*/ 3894879 w 8079933"/>
              <a:gd name="connsiteY42611" fmla="*/ 1815048 h 4687251"/>
              <a:gd name="connsiteX42612" fmla="*/ 3892383 w 8079933"/>
              <a:gd name="connsiteY42612" fmla="*/ 1813965 h 4687251"/>
              <a:gd name="connsiteX42613" fmla="*/ 3895096 w 8079933"/>
              <a:gd name="connsiteY42613" fmla="*/ 1810176 h 4687251"/>
              <a:gd name="connsiteX42614" fmla="*/ 3899437 w 8079933"/>
              <a:gd name="connsiteY42614" fmla="*/ 1810068 h 4687251"/>
              <a:gd name="connsiteX42615" fmla="*/ 3903235 w 8079933"/>
              <a:gd name="connsiteY42615" fmla="*/ 1812233 h 4687251"/>
              <a:gd name="connsiteX42616" fmla="*/ 3900087 w 8079933"/>
              <a:gd name="connsiteY42616" fmla="*/ 1808010 h 4687251"/>
              <a:gd name="connsiteX42617" fmla="*/ 3895312 w 8079933"/>
              <a:gd name="connsiteY42617" fmla="*/ 1807469 h 4687251"/>
              <a:gd name="connsiteX42618" fmla="*/ 3890755 w 8079933"/>
              <a:gd name="connsiteY42618" fmla="*/ 1810392 h 4687251"/>
              <a:gd name="connsiteX42619" fmla="*/ 3887825 w 8079933"/>
              <a:gd name="connsiteY42619" fmla="*/ 1810176 h 4687251"/>
              <a:gd name="connsiteX42620" fmla="*/ 3885655 w 8079933"/>
              <a:gd name="connsiteY42620" fmla="*/ 1806819 h 4687251"/>
              <a:gd name="connsiteX42621" fmla="*/ 3887500 w 8079933"/>
              <a:gd name="connsiteY42621" fmla="*/ 1802055 h 4687251"/>
              <a:gd name="connsiteX42622" fmla="*/ 3885112 w 8079933"/>
              <a:gd name="connsiteY42622" fmla="*/ 1799782 h 4687251"/>
              <a:gd name="connsiteX42623" fmla="*/ 3881206 w 8079933"/>
              <a:gd name="connsiteY42623" fmla="*/ 1802055 h 4687251"/>
              <a:gd name="connsiteX42624" fmla="*/ 3879904 w 8079933"/>
              <a:gd name="connsiteY42624" fmla="*/ 1800431 h 4687251"/>
              <a:gd name="connsiteX42625" fmla="*/ 3880772 w 8079933"/>
              <a:gd name="connsiteY42625" fmla="*/ 1797725 h 4687251"/>
              <a:gd name="connsiteX42626" fmla="*/ 3878384 w 8079933"/>
              <a:gd name="connsiteY42626" fmla="*/ 1797184 h 4687251"/>
              <a:gd name="connsiteX42627" fmla="*/ 3874694 w 8079933"/>
              <a:gd name="connsiteY42627" fmla="*/ 1800648 h 4687251"/>
              <a:gd name="connsiteX42628" fmla="*/ 3869378 w 8079933"/>
              <a:gd name="connsiteY42628" fmla="*/ 1797184 h 4687251"/>
              <a:gd name="connsiteX42629" fmla="*/ 3866339 w 8079933"/>
              <a:gd name="connsiteY42629" fmla="*/ 1797184 h 4687251"/>
              <a:gd name="connsiteX42630" fmla="*/ 3864711 w 8079933"/>
              <a:gd name="connsiteY42630" fmla="*/ 1794476 h 4687251"/>
              <a:gd name="connsiteX42631" fmla="*/ 3857115 w 8079933"/>
              <a:gd name="connsiteY42631" fmla="*/ 1791445 h 4687251"/>
              <a:gd name="connsiteX42632" fmla="*/ 3854185 w 8079933"/>
              <a:gd name="connsiteY42632" fmla="*/ 1791986 h 4687251"/>
              <a:gd name="connsiteX42633" fmla="*/ 3850821 w 8079933"/>
              <a:gd name="connsiteY42633" fmla="*/ 1791120 h 4687251"/>
              <a:gd name="connsiteX42634" fmla="*/ 3845938 w 8079933"/>
              <a:gd name="connsiteY42634" fmla="*/ 1794368 h 4687251"/>
              <a:gd name="connsiteX42635" fmla="*/ 3846372 w 8079933"/>
              <a:gd name="connsiteY42635" fmla="*/ 1791445 h 4687251"/>
              <a:gd name="connsiteX42636" fmla="*/ 3844635 w 8079933"/>
              <a:gd name="connsiteY42636" fmla="*/ 1786356 h 4687251"/>
              <a:gd name="connsiteX42637" fmla="*/ 3840404 w 8079933"/>
              <a:gd name="connsiteY42637" fmla="*/ 1786356 h 4687251"/>
              <a:gd name="connsiteX42638" fmla="*/ 3840295 w 8079933"/>
              <a:gd name="connsiteY42638" fmla="*/ 1785165 h 4687251"/>
              <a:gd name="connsiteX42639" fmla="*/ 3844635 w 8079933"/>
              <a:gd name="connsiteY42639" fmla="*/ 1783541 h 4687251"/>
              <a:gd name="connsiteX42640" fmla="*/ 3847348 w 8079933"/>
              <a:gd name="connsiteY42640" fmla="*/ 1782458 h 4687251"/>
              <a:gd name="connsiteX42641" fmla="*/ 3846589 w 8079933"/>
              <a:gd name="connsiteY42641" fmla="*/ 1779319 h 4687251"/>
              <a:gd name="connsiteX42642" fmla="*/ 3843659 w 8079933"/>
              <a:gd name="connsiteY42642" fmla="*/ 1778236 h 4687251"/>
              <a:gd name="connsiteX42643" fmla="*/ 3842248 w 8079933"/>
              <a:gd name="connsiteY42643" fmla="*/ 1781701 h 4687251"/>
              <a:gd name="connsiteX42644" fmla="*/ 3840621 w 8079933"/>
              <a:gd name="connsiteY42644" fmla="*/ 1777153 h 4687251"/>
              <a:gd name="connsiteX42645" fmla="*/ 3843334 w 8079933"/>
              <a:gd name="connsiteY42645" fmla="*/ 1776828 h 4687251"/>
              <a:gd name="connsiteX42646" fmla="*/ 3847891 w 8079933"/>
              <a:gd name="connsiteY42646" fmla="*/ 1777695 h 4687251"/>
              <a:gd name="connsiteX42647" fmla="*/ 3846806 w 8079933"/>
              <a:gd name="connsiteY42647" fmla="*/ 1776070 h 4687251"/>
              <a:gd name="connsiteX42648" fmla="*/ 3842682 w 8079933"/>
              <a:gd name="connsiteY42648" fmla="*/ 1774879 h 4687251"/>
              <a:gd name="connsiteX42649" fmla="*/ 3838450 w 8079933"/>
              <a:gd name="connsiteY42649" fmla="*/ 1776287 h 4687251"/>
              <a:gd name="connsiteX42650" fmla="*/ 3836714 w 8079933"/>
              <a:gd name="connsiteY42650" fmla="*/ 1773256 h 4687251"/>
              <a:gd name="connsiteX42651" fmla="*/ 3839969 w 8079933"/>
              <a:gd name="connsiteY42651" fmla="*/ 1769466 h 4687251"/>
              <a:gd name="connsiteX42652" fmla="*/ 3847131 w 8079933"/>
              <a:gd name="connsiteY42652" fmla="*/ 1768925 h 4687251"/>
              <a:gd name="connsiteX42653" fmla="*/ 3850278 w 8079933"/>
              <a:gd name="connsiteY42653" fmla="*/ 1765785 h 4687251"/>
              <a:gd name="connsiteX42654" fmla="*/ 3855053 w 8079933"/>
              <a:gd name="connsiteY42654" fmla="*/ 1765243 h 4687251"/>
              <a:gd name="connsiteX42655" fmla="*/ 3857441 w 8079933"/>
              <a:gd name="connsiteY42655" fmla="*/ 1766868 h 4687251"/>
              <a:gd name="connsiteX42656" fmla="*/ 3860154 w 8079933"/>
              <a:gd name="connsiteY42656" fmla="*/ 1764377 h 4687251"/>
              <a:gd name="connsiteX42657" fmla="*/ 3862541 w 8079933"/>
              <a:gd name="connsiteY42657" fmla="*/ 1765676 h 4687251"/>
              <a:gd name="connsiteX42658" fmla="*/ 3866990 w 8079933"/>
              <a:gd name="connsiteY42658" fmla="*/ 1761454 h 4687251"/>
              <a:gd name="connsiteX42659" fmla="*/ 3872633 w 8079933"/>
              <a:gd name="connsiteY42659" fmla="*/ 1760263 h 4687251"/>
              <a:gd name="connsiteX42660" fmla="*/ 3876431 w 8079933"/>
              <a:gd name="connsiteY42660" fmla="*/ 1761454 h 4687251"/>
              <a:gd name="connsiteX42661" fmla="*/ 3883159 w 8079933"/>
              <a:gd name="connsiteY42661" fmla="*/ 1770332 h 4687251"/>
              <a:gd name="connsiteX42662" fmla="*/ 3888368 w 8079933"/>
              <a:gd name="connsiteY42662" fmla="*/ 1766001 h 4687251"/>
              <a:gd name="connsiteX42663" fmla="*/ 3889996 w 8079933"/>
              <a:gd name="connsiteY42663" fmla="*/ 1767625 h 4687251"/>
              <a:gd name="connsiteX42664" fmla="*/ 3894227 w 8079933"/>
              <a:gd name="connsiteY42664" fmla="*/ 1766542 h 4687251"/>
              <a:gd name="connsiteX42665" fmla="*/ 3897592 w 8079933"/>
              <a:gd name="connsiteY42665" fmla="*/ 1767409 h 4687251"/>
              <a:gd name="connsiteX42666" fmla="*/ 3901173 w 8079933"/>
              <a:gd name="connsiteY42666" fmla="*/ 1766218 h 4687251"/>
              <a:gd name="connsiteX42667" fmla="*/ 3909528 w 8079933"/>
              <a:gd name="connsiteY42667" fmla="*/ 1767301 h 4687251"/>
              <a:gd name="connsiteX42668" fmla="*/ 3908986 w 8079933"/>
              <a:gd name="connsiteY42668" fmla="*/ 1763078 h 4687251"/>
              <a:gd name="connsiteX42669" fmla="*/ 3906490 w 8079933"/>
              <a:gd name="connsiteY42669" fmla="*/ 1759830 h 4687251"/>
              <a:gd name="connsiteX42670" fmla="*/ 3907358 w 8079933"/>
              <a:gd name="connsiteY42670" fmla="*/ 1756257 h 4687251"/>
              <a:gd name="connsiteX42671" fmla="*/ 3906273 w 8079933"/>
              <a:gd name="connsiteY42671" fmla="*/ 1752684 h 4687251"/>
              <a:gd name="connsiteX42672" fmla="*/ 3907792 w 8079933"/>
              <a:gd name="connsiteY42672" fmla="*/ 1750302 h 4687251"/>
              <a:gd name="connsiteX42673" fmla="*/ 3899762 w 8079933"/>
              <a:gd name="connsiteY42673" fmla="*/ 1742940 h 4687251"/>
              <a:gd name="connsiteX42674" fmla="*/ 3900630 w 8079933"/>
              <a:gd name="connsiteY42674" fmla="*/ 1740557 h 4687251"/>
              <a:gd name="connsiteX42675" fmla="*/ 3899111 w 8079933"/>
              <a:gd name="connsiteY42675" fmla="*/ 1735144 h 4687251"/>
              <a:gd name="connsiteX42676" fmla="*/ 3901607 w 8079933"/>
              <a:gd name="connsiteY42676" fmla="*/ 1736226 h 4687251"/>
              <a:gd name="connsiteX42677" fmla="*/ 3907250 w 8079933"/>
              <a:gd name="connsiteY42677" fmla="*/ 1736444 h 4687251"/>
              <a:gd name="connsiteX42678" fmla="*/ 3911156 w 8079933"/>
              <a:gd name="connsiteY42678" fmla="*/ 1734928 h 4687251"/>
              <a:gd name="connsiteX42679" fmla="*/ 3914954 w 8079933"/>
              <a:gd name="connsiteY42679" fmla="*/ 1736768 h 4687251"/>
              <a:gd name="connsiteX42680" fmla="*/ 3913544 w 8079933"/>
              <a:gd name="connsiteY42680" fmla="*/ 1740557 h 4687251"/>
              <a:gd name="connsiteX42681" fmla="*/ 3916582 w 8079933"/>
              <a:gd name="connsiteY42681" fmla="*/ 1742940 h 4687251"/>
              <a:gd name="connsiteX42682" fmla="*/ 3918101 w 8079933"/>
              <a:gd name="connsiteY42682" fmla="*/ 1746187 h 4687251"/>
              <a:gd name="connsiteX42683" fmla="*/ 3921465 w 8079933"/>
              <a:gd name="connsiteY42683" fmla="*/ 1744130 h 4687251"/>
              <a:gd name="connsiteX42684" fmla="*/ 3925589 w 8079933"/>
              <a:gd name="connsiteY42684" fmla="*/ 1746296 h 4687251"/>
              <a:gd name="connsiteX42685" fmla="*/ 3935030 w 8079933"/>
              <a:gd name="connsiteY42685" fmla="*/ 1747595 h 4687251"/>
              <a:gd name="connsiteX42686" fmla="*/ 3941867 w 8079933"/>
              <a:gd name="connsiteY42686" fmla="*/ 1746187 h 4687251"/>
              <a:gd name="connsiteX42687" fmla="*/ 3947509 w 8079933"/>
              <a:gd name="connsiteY42687" fmla="*/ 1742181 h 4687251"/>
              <a:gd name="connsiteX42688" fmla="*/ 3943386 w 8079933"/>
              <a:gd name="connsiteY42688" fmla="*/ 1740774 h 4687251"/>
              <a:gd name="connsiteX42689" fmla="*/ 3941758 w 8079933"/>
              <a:gd name="connsiteY42689" fmla="*/ 1737851 h 4687251"/>
              <a:gd name="connsiteX42690" fmla="*/ 3943928 w 8079933"/>
              <a:gd name="connsiteY42690" fmla="*/ 1733736 h 4687251"/>
              <a:gd name="connsiteX42691" fmla="*/ 3952935 w 8079933"/>
              <a:gd name="connsiteY42691" fmla="*/ 1728864 h 4687251"/>
              <a:gd name="connsiteX42692" fmla="*/ 3957276 w 8079933"/>
              <a:gd name="connsiteY42692" fmla="*/ 1730271 h 4687251"/>
              <a:gd name="connsiteX42693" fmla="*/ 3961291 w 8079933"/>
              <a:gd name="connsiteY42693" fmla="*/ 1730055 h 4687251"/>
              <a:gd name="connsiteX42694" fmla="*/ 3968887 w 8079933"/>
              <a:gd name="connsiteY42694" fmla="*/ 1727890 h 4687251"/>
              <a:gd name="connsiteX42695" fmla="*/ 3968887 w 8079933"/>
              <a:gd name="connsiteY42695" fmla="*/ 1725075 h 4687251"/>
              <a:gd name="connsiteX42696" fmla="*/ 3975724 w 8079933"/>
              <a:gd name="connsiteY42696" fmla="*/ 1718362 h 4687251"/>
              <a:gd name="connsiteX42697" fmla="*/ 3977134 w 8079933"/>
              <a:gd name="connsiteY42697" fmla="*/ 1709484 h 4687251"/>
              <a:gd name="connsiteX42698" fmla="*/ 3976049 w 8079933"/>
              <a:gd name="connsiteY42698" fmla="*/ 1703962 h 4687251"/>
              <a:gd name="connsiteX42699" fmla="*/ 3977785 w 8079933"/>
              <a:gd name="connsiteY42699" fmla="*/ 1699198 h 4687251"/>
              <a:gd name="connsiteX42700" fmla="*/ 3984622 w 8079933"/>
              <a:gd name="connsiteY42700" fmla="*/ 1695300 h 4687251"/>
              <a:gd name="connsiteX42701" fmla="*/ 3986576 w 8079933"/>
              <a:gd name="connsiteY42701" fmla="*/ 1696924 h 4687251"/>
              <a:gd name="connsiteX42702" fmla="*/ 3995040 w 8079933"/>
              <a:gd name="connsiteY42702" fmla="*/ 1694001 h 4687251"/>
              <a:gd name="connsiteX42703" fmla="*/ 3995799 w 8079933"/>
              <a:gd name="connsiteY42703" fmla="*/ 1692702 h 4687251"/>
              <a:gd name="connsiteX42704" fmla="*/ 3995799 w 8079933"/>
              <a:gd name="connsiteY42704" fmla="*/ 1692702 h 4687251"/>
              <a:gd name="connsiteX42705" fmla="*/ 3999054 w 8079933"/>
              <a:gd name="connsiteY42705" fmla="*/ 1686747 h 4687251"/>
              <a:gd name="connsiteX42706" fmla="*/ 4003937 w 8079933"/>
              <a:gd name="connsiteY42706" fmla="*/ 1682958 h 4687251"/>
              <a:gd name="connsiteX42707" fmla="*/ 4005750 w 8079933"/>
              <a:gd name="connsiteY42707" fmla="*/ 1683826 h 4687251"/>
              <a:gd name="connsiteX42708" fmla="*/ 4003938 w 8079933"/>
              <a:gd name="connsiteY42708" fmla="*/ 1682958 h 4687251"/>
              <a:gd name="connsiteX42709" fmla="*/ 4004155 w 8079933"/>
              <a:gd name="connsiteY42709" fmla="*/ 1682850 h 4687251"/>
              <a:gd name="connsiteX42710" fmla="*/ 4008278 w 8079933"/>
              <a:gd name="connsiteY42710" fmla="*/ 1682850 h 4687251"/>
              <a:gd name="connsiteX42711" fmla="*/ 4014789 w 8079933"/>
              <a:gd name="connsiteY42711" fmla="*/ 1685015 h 4687251"/>
              <a:gd name="connsiteX42712" fmla="*/ 4017502 w 8079933"/>
              <a:gd name="connsiteY42712" fmla="*/ 1684798 h 4687251"/>
              <a:gd name="connsiteX42713" fmla="*/ 4021843 w 8079933"/>
              <a:gd name="connsiteY42713" fmla="*/ 1686423 h 4687251"/>
              <a:gd name="connsiteX42714" fmla="*/ 4017286 w 8079933"/>
              <a:gd name="connsiteY42714" fmla="*/ 1683391 h 4687251"/>
              <a:gd name="connsiteX42715" fmla="*/ 4016092 w 8079933"/>
              <a:gd name="connsiteY42715" fmla="*/ 1683933 h 4687251"/>
              <a:gd name="connsiteX42716" fmla="*/ 4012619 w 8079933"/>
              <a:gd name="connsiteY42716" fmla="*/ 1680684 h 4687251"/>
              <a:gd name="connsiteX42717" fmla="*/ 4008821 w 8079933"/>
              <a:gd name="connsiteY42717" fmla="*/ 1680251 h 4687251"/>
              <a:gd name="connsiteX42718" fmla="*/ 4007410 w 8079933"/>
              <a:gd name="connsiteY42718" fmla="*/ 1678086 h 4687251"/>
              <a:gd name="connsiteX42719" fmla="*/ 4011317 w 8079933"/>
              <a:gd name="connsiteY42719" fmla="*/ 1676462 h 4687251"/>
              <a:gd name="connsiteX42720" fmla="*/ 4015549 w 8079933"/>
              <a:gd name="connsiteY42720" fmla="*/ 1678519 h 4687251"/>
              <a:gd name="connsiteX42721" fmla="*/ 4019455 w 8079933"/>
              <a:gd name="connsiteY42721" fmla="*/ 1682633 h 4687251"/>
              <a:gd name="connsiteX42722" fmla="*/ 4023796 w 8079933"/>
              <a:gd name="connsiteY42722" fmla="*/ 1682417 h 4687251"/>
              <a:gd name="connsiteX42723" fmla="*/ 4023688 w 8079933"/>
              <a:gd name="connsiteY42723" fmla="*/ 1680143 h 4687251"/>
              <a:gd name="connsiteX42724" fmla="*/ 4020975 w 8079933"/>
              <a:gd name="connsiteY42724" fmla="*/ 1679710 h 4687251"/>
              <a:gd name="connsiteX42725" fmla="*/ 4018804 w 8079933"/>
              <a:gd name="connsiteY42725" fmla="*/ 1677003 h 4687251"/>
              <a:gd name="connsiteX42726" fmla="*/ 4020432 w 8079933"/>
              <a:gd name="connsiteY42726" fmla="*/ 1675596 h 4687251"/>
              <a:gd name="connsiteX42727" fmla="*/ 4022928 w 8079933"/>
              <a:gd name="connsiteY42727" fmla="*/ 1673430 h 4687251"/>
              <a:gd name="connsiteX42728" fmla="*/ 4028354 w 8079933"/>
              <a:gd name="connsiteY42728" fmla="*/ 1673430 h 4687251"/>
              <a:gd name="connsiteX42729" fmla="*/ 4023470 w 8079933"/>
              <a:gd name="connsiteY42729" fmla="*/ 1672023 h 4687251"/>
              <a:gd name="connsiteX42730" fmla="*/ 4018045 w 8079933"/>
              <a:gd name="connsiteY42730" fmla="*/ 1667150 h 4687251"/>
              <a:gd name="connsiteX42731" fmla="*/ 4017828 w 8079933"/>
              <a:gd name="connsiteY42731" fmla="*/ 1663470 h 4687251"/>
              <a:gd name="connsiteX42732" fmla="*/ 4021517 w 8079933"/>
              <a:gd name="connsiteY42732" fmla="*/ 1660762 h 4687251"/>
              <a:gd name="connsiteX42733" fmla="*/ 4023145 w 8079933"/>
              <a:gd name="connsiteY42733" fmla="*/ 1657948 h 4687251"/>
              <a:gd name="connsiteX42734" fmla="*/ 4025098 w 8079933"/>
              <a:gd name="connsiteY42734" fmla="*/ 1653725 h 4687251"/>
              <a:gd name="connsiteX42735" fmla="*/ 4026183 w 8079933"/>
              <a:gd name="connsiteY42735" fmla="*/ 1648744 h 4687251"/>
              <a:gd name="connsiteX42736" fmla="*/ 4024773 w 8079933"/>
              <a:gd name="connsiteY42736" fmla="*/ 1643115 h 4687251"/>
              <a:gd name="connsiteX42737" fmla="*/ 4029439 w 8079933"/>
              <a:gd name="connsiteY42737" fmla="*/ 1639542 h 4687251"/>
              <a:gd name="connsiteX42738" fmla="*/ 4029656 w 8079933"/>
              <a:gd name="connsiteY42738" fmla="*/ 1633695 h 4687251"/>
              <a:gd name="connsiteX42739" fmla="*/ 4034756 w 8079933"/>
              <a:gd name="connsiteY42739" fmla="*/ 1631746 h 4687251"/>
              <a:gd name="connsiteX42740" fmla="*/ 4036492 w 8079933"/>
              <a:gd name="connsiteY42740" fmla="*/ 1633046 h 4687251"/>
              <a:gd name="connsiteX42741" fmla="*/ 4045173 w 8079933"/>
              <a:gd name="connsiteY42741" fmla="*/ 1628282 h 4687251"/>
              <a:gd name="connsiteX42742" fmla="*/ 4050599 w 8079933"/>
              <a:gd name="connsiteY42742" fmla="*/ 1622327 h 4687251"/>
              <a:gd name="connsiteX42743" fmla="*/ 4056459 w 8079933"/>
              <a:gd name="connsiteY42743" fmla="*/ 1622218 h 4687251"/>
              <a:gd name="connsiteX42744" fmla="*/ 4058955 w 8079933"/>
              <a:gd name="connsiteY42744" fmla="*/ 1620594 h 4687251"/>
              <a:gd name="connsiteX42745" fmla="*/ 4062862 w 8079933"/>
              <a:gd name="connsiteY42745" fmla="*/ 1622218 h 4687251"/>
              <a:gd name="connsiteX42746" fmla="*/ 4067094 w 8079933"/>
              <a:gd name="connsiteY42746" fmla="*/ 1618538 h 4687251"/>
              <a:gd name="connsiteX42747" fmla="*/ 4074148 w 8079933"/>
              <a:gd name="connsiteY42747" fmla="*/ 1617455 h 4687251"/>
              <a:gd name="connsiteX42748" fmla="*/ 4080875 w 8079933"/>
              <a:gd name="connsiteY42748" fmla="*/ 1620920 h 4687251"/>
              <a:gd name="connsiteX42749" fmla="*/ 4084457 w 8079933"/>
              <a:gd name="connsiteY42749" fmla="*/ 1624167 h 4687251"/>
              <a:gd name="connsiteX42750" fmla="*/ 4089014 w 8079933"/>
              <a:gd name="connsiteY42750" fmla="*/ 1625683 h 4687251"/>
              <a:gd name="connsiteX42751" fmla="*/ 4088906 w 8079933"/>
              <a:gd name="connsiteY42751" fmla="*/ 1626658 h 4687251"/>
              <a:gd name="connsiteX42752" fmla="*/ 4088907 w 8079933"/>
              <a:gd name="connsiteY42752" fmla="*/ 1626656 h 4687251"/>
              <a:gd name="connsiteX42753" fmla="*/ 4089015 w 8079933"/>
              <a:gd name="connsiteY42753" fmla="*/ 1625682 h 4687251"/>
              <a:gd name="connsiteX42754" fmla="*/ 4089450 w 8079933"/>
              <a:gd name="connsiteY42754" fmla="*/ 1625790 h 4687251"/>
              <a:gd name="connsiteX42755" fmla="*/ 4088365 w 8079933"/>
              <a:gd name="connsiteY42755" fmla="*/ 1621243 h 4687251"/>
              <a:gd name="connsiteX42756" fmla="*/ 4083156 w 8079933"/>
              <a:gd name="connsiteY42756" fmla="*/ 1620377 h 4687251"/>
              <a:gd name="connsiteX42757" fmla="*/ 4080986 w 8079933"/>
              <a:gd name="connsiteY42757" fmla="*/ 1616262 h 4687251"/>
              <a:gd name="connsiteX42758" fmla="*/ 4081854 w 8079933"/>
              <a:gd name="connsiteY42758" fmla="*/ 1611499 h 4687251"/>
              <a:gd name="connsiteX42759" fmla="*/ 4092597 w 8079933"/>
              <a:gd name="connsiteY42759" fmla="*/ 1608683 h 4687251"/>
              <a:gd name="connsiteX42760" fmla="*/ 4095635 w 8079933"/>
              <a:gd name="connsiteY42760" fmla="*/ 1607168 h 4687251"/>
              <a:gd name="connsiteX42761" fmla="*/ 4100844 w 8079933"/>
              <a:gd name="connsiteY42761" fmla="*/ 1610957 h 4687251"/>
              <a:gd name="connsiteX42762" fmla="*/ 4100844 w 8079933"/>
              <a:gd name="connsiteY42762" fmla="*/ 1616371 h 4687251"/>
              <a:gd name="connsiteX42763" fmla="*/ 4104859 w 8079933"/>
              <a:gd name="connsiteY42763" fmla="*/ 1621134 h 4687251"/>
              <a:gd name="connsiteX42764" fmla="*/ 4107247 w 8079933"/>
              <a:gd name="connsiteY42764" fmla="*/ 1618536 h 4687251"/>
              <a:gd name="connsiteX42765" fmla="*/ 4105076 w 8079933"/>
              <a:gd name="connsiteY42765" fmla="*/ 1614422 h 4687251"/>
              <a:gd name="connsiteX42766" fmla="*/ 4105076 w 8079933"/>
              <a:gd name="connsiteY42766" fmla="*/ 1610957 h 4687251"/>
              <a:gd name="connsiteX42767" fmla="*/ 4107247 w 8079933"/>
              <a:gd name="connsiteY42767" fmla="*/ 1610091 h 4687251"/>
              <a:gd name="connsiteX42768" fmla="*/ 4110719 w 8079933"/>
              <a:gd name="connsiteY42768" fmla="*/ 1613122 h 4687251"/>
              <a:gd name="connsiteX42769" fmla="*/ 4110285 w 8079933"/>
              <a:gd name="connsiteY42769" fmla="*/ 1618536 h 4687251"/>
              <a:gd name="connsiteX42770" fmla="*/ 4115494 w 8079933"/>
              <a:gd name="connsiteY42770" fmla="*/ 1624491 h 4687251"/>
              <a:gd name="connsiteX42771" fmla="*/ 4113432 w 8079933"/>
              <a:gd name="connsiteY42771" fmla="*/ 1620052 h 4687251"/>
              <a:gd name="connsiteX42772" fmla="*/ 4113215 w 8079933"/>
              <a:gd name="connsiteY42772" fmla="*/ 1613122 h 4687251"/>
              <a:gd name="connsiteX42773" fmla="*/ 4112238 w 8079933"/>
              <a:gd name="connsiteY42773" fmla="*/ 1609225 h 4687251"/>
              <a:gd name="connsiteX42774" fmla="*/ 4115168 w 8079933"/>
              <a:gd name="connsiteY42774" fmla="*/ 1604461 h 4687251"/>
              <a:gd name="connsiteX42775" fmla="*/ 4118966 w 8079933"/>
              <a:gd name="connsiteY42775" fmla="*/ 1603811 h 4687251"/>
              <a:gd name="connsiteX42776" fmla="*/ 4122764 w 8079933"/>
              <a:gd name="connsiteY42776" fmla="*/ 1605760 h 4687251"/>
              <a:gd name="connsiteX42777" fmla="*/ 4127865 w 8079933"/>
              <a:gd name="connsiteY42777" fmla="*/ 1603811 h 4687251"/>
              <a:gd name="connsiteX42778" fmla="*/ 4135352 w 8079933"/>
              <a:gd name="connsiteY42778" fmla="*/ 1612040 h 4687251"/>
              <a:gd name="connsiteX42779" fmla="*/ 4145770 w 8079933"/>
              <a:gd name="connsiteY42779" fmla="*/ 1614097 h 4687251"/>
              <a:gd name="connsiteX42780" fmla="*/ 4135895 w 8079933"/>
              <a:gd name="connsiteY42780" fmla="*/ 1609983 h 4687251"/>
              <a:gd name="connsiteX42781" fmla="*/ 4128407 w 8079933"/>
              <a:gd name="connsiteY42781" fmla="*/ 1602187 h 4687251"/>
              <a:gd name="connsiteX42782" fmla="*/ 4122547 w 8079933"/>
              <a:gd name="connsiteY42782" fmla="*/ 1601754 h 4687251"/>
              <a:gd name="connsiteX42783" fmla="*/ 4119400 w 8079933"/>
              <a:gd name="connsiteY42783" fmla="*/ 1599805 h 4687251"/>
              <a:gd name="connsiteX42784" fmla="*/ 4119400 w 8079933"/>
              <a:gd name="connsiteY42784" fmla="*/ 1596340 h 4687251"/>
              <a:gd name="connsiteX42785" fmla="*/ 4123090 w 8079933"/>
              <a:gd name="connsiteY42785" fmla="*/ 1593526 h 4687251"/>
              <a:gd name="connsiteX42786" fmla="*/ 4118749 w 8079933"/>
              <a:gd name="connsiteY42786" fmla="*/ 1590818 h 4687251"/>
              <a:gd name="connsiteX42787" fmla="*/ 4118749 w 8079933"/>
              <a:gd name="connsiteY42787" fmla="*/ 1585189 h 4687251"/>
              <a:gd name="connsiteX42788" fmla="*/ 4114626 w 8079933"/>
              <a:gd name="connsiteY42788" fmla="*/ 1587030 h 4687251"/>
              <a:gd name="connsiteX42789" fmla="*/ 4114408 w 8079933"/>
              <a:gd name="connsiteY42789" fmla="*/ 1582807 h 4687251"/>
              <a:gd name="connsiteX42790" fmla="*/ 4118424 w 8079933"/>
              <a:gd name="connsiteY42790" fmla="*/ 1582807 h 4687251"/>
              <a:gd name="connsiteX42791" fmla="*/ 4122764 w 8079933"/>
              <a:gd name="connsiteY42791" fmla="*/ 1581183 h 4687251"/>
              <a:gd name="connsiteX42792" fmla="*/ 4117556 w 8079933"/>
              <a:gd name="connsiteY42792" fmla="*/ 1576310 h 4687251"/>
              <a:gd name="connsiteX42793" fmla="*/ 4117881 w 8079933"/>
              <a:gd name="connsiteY42793" fmla="*/ 1572954 h 4687251"/>
              <a:gd name="connsiteX42794" fmla="*/ 4115385 w 8079933"/>
              <a:gd name="connsiteY42794" fmla="*/ 1572737 h 4687251"/>
              <a:gd name="connsiteX42795" fmla="*/ 4112130 w 8079933"/>
              <a:gd name="connsiteY42795" fmla="*/ 1570572 h 4687251"/>
              <a:gd name="connsiteX42796" fmla="*/ 4112455 w 8079933"/>
              <a:gd name="connsiteY42796" fmla="*/ 1566566 h 4687251"/>
              <a:gd name="connsiteX42797" fmla="*/ 4112238 w 8079933"/>
              <a:gd name="connsiteY42797" fmla="*/ 1565592 h 4687251"/>
              <a:gd name="connsiteX42798" fmla="*/ 4112237 w 8079933"/>
              <a:gd name="connsiteY42798" fmla="*/ 1565592 h 4687251"/>
              <a:gd name="connsiteX42799" fmla="*/ 4111152 w 8079933"/>
              <a:gd name="connsiteY42799" fmla="*/ 1561911 h 4687251"/>
              <a:gd name="connsiteX42800" fmla="*/ 4113214 w 8079933"/>
              <a:gd name="connsiteY42800" fmla="*/ 1560611 h 4687251"/>
              <a:gd name="connsiteX42801" fmla="*/ 4112129 w 8079933"/>
              <a:gd name="connsiteY42801" fmla="*/ 1553466 h 4687251"/>
              <a:gd name="connsiteX42802" fmla="*/ 4106703 w 8079933"/>
              <a:gd name="connsiteY42802" fmla="*/ 1548593 h 4687251"/>
              <a:gd name="connsiteX42803" fmla="*/ 4102688 w 8079933"/>
              <a:gd name="connsiteY42803" fmla="*/ 1550759 h 4687251"/>
              <a:gd name="connsiteX42804" fmla="*/ 4099975 w 8079933"/>
              <a:gd name="connsiteY42804" fmla="*/ 1548593 h 4687251"/>
              <a:gd name="connsiteX42805" fmla="*/ 4102688 w 8079933"/>
              <a:gd name="connsiteY42805" fmla="*/ 1541664 h 4687251"/>
              <a:gd name="connsiteX42806" fmla="*/ 4109199 w 8079933"/>
              <a:gd name="connsiteY42806" fmla="*/ 1538632 h 4687251"/>
              <a:gd name="connsiteX42807" fmla="*/ 4106486 w 8079933"/>
              <a:gd name="connsiteY42807" fmla="*/ 1535926 h 4687251"/>
              <a:gd name="connsiteX42808" fmla="*/ 4106486 w 8079933"/>
              <a:gd name="connsiteY42808" fmla="*/ 1530512 h 4687251"/>
              <a:gd name="connsiteX42809" fmla="*/ 4103230 w 8079933"/>
              <a:gd name="connsiteY42809" fmla="*/ 1528671 h 4687251"/>
              <a:gd name="connsiteX42810" fmla="*/ 4102362 w 8079933"/>
              <a:gd name="connsiteY42810" fmla="*/ 1522716 h 4687251"/>
              <a:gd name="connsiteX42811" fmla="*/ 4104315 w 8079933"/>
              <a:gd name="connsiteY42811" fmla="*/ 1522175 h 4687251"/>
              <a:gd name="connsiteX42812" fmla="*/ 4107354 w 8079933"/>
              <a:gd name="connsiteY42812" fmla="*/ 1524557 h 4687251"/>
              <a:gd name="connsiteX42813" fmla="*/ 4107354 w 8079933"/>
              <a:gd name="connsiteY42813" fmla="*/ 1520010 h 4687251"/>
              <a:gd name="connsiteX42814" fmla="*/ 4102362 w 8079933"/>
              <a:gd name="connsiteY42814" fmla="*/ 1516220 h 4687251"/>
              <a:gd name="connsiteX42815" fmla="*/ 4105618 w 8079933"/>
              <a:gd name="connsiteY42815" fmla="*/ 1512864 h 4687251"/>
              <a:gd name="connsiteX42816" fmla="*/ 4108331 w 8079933"/>
              <a:gd name="connsiteY42816" fmla="*/ 1514271 h 4687251"/>
              <a:gd name="connsiteX42817" fmla="*/ 4112237 w 8079933"/>
              <a:gd name="connsiteY42817" fmla="*/ 1514271 h 4687251"/>
              <a:gd name="connsiteX42818" fmla="*/ 4114950 w 8079933"/>
              <a:gd name="connsiteY42818" fmla="*/ 1517303 h 4687251"/>
              <a:gd name="connsiteX42819" fmla="*/ 4119508 w 8079933"/>
              <a:gd name="connsiteY42819" fmla="*/ 1514055 h 4687251"/>
              <a:gd name="connsiteX42820" fmla="*/ 4117337 w 8079933"/>
              <a:gd name="connsiteY42820" fmla="*/ 1511024 h 4687251"/>
              <a:gd name="connsiteX42821" fmla="*/ 4121135 w 8079933"/>
              <a:gd name="connsiteY42821" fmla="*/ 1505826 h 4687251"/>
              <a:gd name="connsiteX42822" fmla="*/ 4122438 w 8079933"/>
              <a:gd name="connsiteY42822" fmla="*/ 1505826 h 4687251"/>
              <a:gd name="connsiteX42823" fmla="*/ 4124933 w 8079933"/>
              <a:gd name="connsiteY42823" fmla="*/ 1510265 h 4687251"/>
              <a:gd name="connsiteX42824" fmla="*/ 4122438 w 8079933"/>
              <a:gd name="connsiteY42824" fmla="*/ 1512973 h 4687251"/>
              <a:gd name="connsiteX42825" fmla="*/ 4123089 w 8079933"/>
              <a:gd name="connsiteY42825" fmla="*/ 1515138 h 4687251"/>
              <a:gd name="connsiteX42826" fmla="*/ 4127104 w 8079933"/>
              <a:gd name="connsiteY42826" fmla="*/ 1514271 h 4687251"/>
              <a:gd name="connsiteX42827" fmla="*/ 4130684 w 8079933"/>
              <a:gd name="connsiteY42827" fmla="*/ 1515787 h 4687251"/>
              <a:gd name="connsiteX42828" fmla="*/ 4131119 w 8079933"/>
              <a:gd name="connsiteY42828" fmla="*/ 1514271 h 4687251"/>
              <a:gd name="connsiteX42829" fmla="*/ 4127321 w 8079933"/>
              <a:gd name="connsiteY42829" fmla="*/ 1509616 h 4687251"/>
              <a:gd name="connsiteX42830" fmla="*/ 4128406 w 8079933"/>
              <a:gd name="connsiteY42830" fmla="*/ 1507775 h 4687251"/>
              <a:gd name="connsiteX42831" fmla="*/ 4124391 w 8079933"/>
              <a:gd name="connsiteY42831" fmla="*/ 1502362 h 4687251"/>
              <a:gd name="connsiteX42832" fmla="*/ 4126236 w 8079933"/>
              <a:gd name="connsiteY42832" fmla="*/ 1500738 h 4687251"/>
              <a:gd name="connsiteX42833" fmla="*/ 4130034 w 8079933"/>
              <a:gd name="connsiteY42833" fmla="*/ 1501279 h 4687251"/>
              <a:gd name="connsiteX42834" fmla="*/ 4133397 w 8079933"/>
              <a:gd name="connsiteY42834" fmla="*/ 1499655 h 4687251"/>
              <a:gd name="connsiteX42835" fmla="*/ 4140560 w 8079933"/>
              <a:gd name="connsiteY42835" fmla="*/ 1499114 h 4687251"/>
              <a:gd name="connsiteX42836" fmla="*/ 4145009 w 8079933"/>
              <a:gd name="connsiteY42836" fmla="*/ 1502145 h 4687251"/>
              <a:gd name="connsiteX42837" fmla="*/ 4145009 w 8079933"/>
              <a:gd name="connsiteY42837" fmla="*/ 1507018 h 4687251"/>
              <a:gd name="connsiteX42838" fmla="*/ 4143056 w 8079933"/>
              <a:gd name="connsiteY42838" fmla="*/ 1509616 h 4687251"/>
              <a:gd name="connsiteX42839" fmla="*/ 4145335 w 8079933"/>
              <a:gd name="connsiteY42839" fmla="*/ 1510157 h 4687251"/>
              <a:gd name="connsiteX42840" fmla="*/ 4147939 w 8079933"/>
              <a:gd name="connsiteY42840" fmla="*/ 1513947 h 4687251"/>
              <a:gd name="connsiteX42841" fmla="*/ 4150652 w 8079933"/>
              <a:gd name="connsiteY42841" fmla="*/ 1516762 h 4687251"/>
              <a:gd name="connsiteX42842" fmla="*/ 4156186 w 8079933"/>
              <a:gd name="connsiteY42842" fmla="*/ 1516979 h 4687251"/>
              <a:gd name="connsiteX42843" fmla="*/ 4158573 w 8079933"/>
              <a:gd name="connsiteY42843" fmla="*/ 1515138 h 4687251"/>
              <a:gd name="connsiteX42844" fmla="*/ 4162805 w 8079933"/>
              <a:gd name="connsiteY42844" fmla="*/ 1519685 h 4687251"/>
              <a:gd name="connsiteX42845" fmla="*/ 4161287 w 8079933"/>
              <a:gd name="connsiteY42845" fmla="*/ 1523691 h 4687251"/>
              <a:gd name="connsiteX42846" fmla="*/ 4159659 w 8079933"/>
              <a:gd name="connsiteY42846" fmla="*/ 1525965 h 4687251"/>
              <a:gd name="connsiteX42847" fmla="*/ 4157814 w 8079933"/>
              <a:gd name="connsiteY42847" fmla="*/ 1525315 h 4687251"/>
              <a:gd name="connsiteX42848" fmla="*/ 4156186 w 8079933"/>
              <a:gd name="connsiteY42848" fmla="*/ 1526506 h 4687251"/>
              <a:gd name="connsiteX42849" fmla="*/ 4153364 w 8079933"/>
              <a:gd name="connsiteY42849" fmla="*/ 1523258 h 4687251"/>
              <a:gd name="connsiteX42850" fmla="*/ 4149133 w 8079933"/>
              <a:gd name="connsiteY42850" fmla="*/ 1523908 h 4687251"/>
              <a:gd name="connsiteX42851" fmla="*/ 4146311 w 8079933"/>
              <a:gd name="connsiteY42851" fmla="*/ 1526722 h 4687251"/>
              <a:gd name="connsiteX42852" fmla="*/ 4148481 w 8079933"/>
              <a:gd name="connsiteY42852" fmla="*/ 1531054 h 4687251"/>
              <a:gd name="connsiteX42853" fmla="*/ 4148698 w 8079933"/>
              <a:gd name="connsiteY42853" fmla="*/ 1537550 h 4687251"/>
              <a:gd name="connsiteX42854" fmla="*/ 4143707 w 8079933"/>
              <a:gd name="connsiteY42854" fmla="*/ 1539391 h 4687251"/>
              <a:gd name="connsiteX42855" fmla="*/ 4141754 w 8079933"/>
              <a:gd name="connsiteY42855" fmla="*/ 1538091 h 4687251"/>
              <a:gd name="connsiteX42856" fmla="*/ 4138281 w 8079933"/>
              <a:gd name="connsiteY42856" fmla="*/ 1541881 h 4687251"/>
              <a:gd name="connsiteX42857" fmla="*/ 4140343 w 8079933"/>
              <a:gd name="connsiteY42857" fmla="*/ 1543505 h 4687251"/>
              <a:gd name="connsiteX42858" fmla="*/ 4131119 w 8079933"/>
              <a:gd name="connsiteY42858" fmla="*/ 1548160 h 4687251"/>
              <a:gd name="connsiteX42859" fmla="*/ 4130902 w 8079933"/>
              <a:gd name="connsiteY42859" fmla="*/ 1551409 h 4687251"/>
              <a:gd name="connsiteX42860" fmla="*/ 4133289 w 8079933"/>
              <a:gd name="connsiteY42860" fmla="*/ 1552491 h 4687251"/>
              <a:gd name="connsiteX42861" fmla="*/ 4132855 w 8079933"/>
              <a:gd name="connsiteY42861" fmla="*/ 1556172 h 4687251"/>
              <a:gd name="connsiteX42862" fmla="*/ 4130142 w 8079933"/>
              <a:gd name="connsiteY42862" fmla="*/ 1558446 h 4687251"/>
              <a:gd name="connsiteX42863" fmla="*/ 4130034 w 8079933"/>
              <a:gd name="connsiteY42863" fmla="*/ 1561694 h 4687251"/>
              <a:gd name="connsiteX42864" fmla="*/ 4131770 w 8079933"/>
              <a:gd name="connsiteY42864" fmla="*/ 1561694 h 4687251"/>
              <a:gd name="connsiteX42865" fmla="*/ 4135134 w 8079933"/>
              <a:gd name="connsiteY42865" fmla="*/ 1564942 h 4687251"/>
              <a:gd name="connsiteX42866" fmla="*/ 4133832 w 8079933"/>
              <a:gd name="connsiteY42866" fmla="*/ 1567866 h 4687251"/>
              <a:gd name="connsiteX42867" fmla="*/ 4134049 w 8079933"/>
              <a:gd name="connsiteY42867" fmla="*/ 1568190 h 4687251"/>
              <a:gd name="connsiteX42868" fmla="*/ 4134050 w 8079933"/>
              <a:gd name="connsiteY42868" fmla="*/ 1568190 h 4687251"/>
              <a:gd name="connsiteX42869" fmla="*/ 4138716 w 8079933"/>
              <a:gd name="connsiteY42869" fmla="*/ 1573062 h 4687251"/>
              <a:gd name="connsiteX42870" fmla="*/ 4143382 w 8079933"/>
              <a:gd name="connsiteY42870" fmla="*/ 1573604 h 4687251"/>
              <a:gd name="connsiteX42871" fmla="*/ 4140887 w 8079933"/>
              <a:gd name="connsiteY42871" fmla="*/ 1579017 h 4687251"/>
              <a:gd name="connsiteX42872" fmla="*/ 4138499 w 8079933"/>
              <a:gd name="connsiteY42872" fmla="*/ 1581399 h 4687251"/>
              <a:gd name="connsiteX42873" fmla="*/ 4139801 w 8079933"/>
              <a:gd name="connsiteY42873" fmla="*/ 1584106 h 4687251"/>
              <a:gd name="connsiteX42874" fmla="*/ 4143599 w 8079933"/>
              <a:gd name="connsiteY42874" fmla="*/ 1585189 h 4687251"/>
              <a:gd name="connsiteX42875" fmla="*/ 4145010 w 8079933"/>
              <a:gd name="connsiteY42875" fmla="*/ 1589195 h 4687251"/>
              <a:gd name="connsiteX42876" fmla="*/ 4148700 w 8079933"/>
              <a:gd name="connsiteY42876" fmla="*/ 1586488 h 4687251"/>
              <a:gd name="connsiteX42877" fmla="*/ 4150002 w 8079933"/>
              <a:gd name="connsiteY42877" fmla="*/ 1583998 h 4687251"/>
              <a:gd name="connsiteX42878" fmla="*/ 4152173 w 8079933"/>
              <a:gd name="connsiteY42878" fmla="*/ 1582590 h 4687251"/>
              <a:gd name="connsiteX42879" fmla="*/ 4154017 w 8079933"/>
              <a:gd name="connsiteY42879" fmla="*/ 1585081 h 4687251"/>
              <a:gd name="connsiteX42880" fmla="*/ 4160094 w 8079933"/>
              <a:gd name="connsiteY42880" fmla="*/ 1589411 h 4687251"/>
              <a:gd name="connsiteX42881" fmla="*/ 4161288 w 8079933"/>
              <a:gd name="connsiteY42881" fmla="*/ 1587787 h 4687251"/>
              <a:gd name="connsiteX42882" fmla="*/ 4165086 w 8079933"/>
              <a:gd name="connsiteY42882" fmla="*/ 1584755 h 4687251"/>
              <a:gd name="connsiteX42883" fmla="*/ 4167039 w 8079933"/>
              <a:gd name="connsiteY42883" fmla="*/ 1585838 h 4687251"/>
              <a:gd name="connsiteX42884" fmla="*/ 4167148 w 8079933"/>
              <a:gd name="connsiteY42884" fmla="*/ 1589844 h 4687251"/>
              <a:gd name="connsiteX42885" fmla="*/ 4163892 w 8079933"/>
              <a:gd name="connsiteY42885" fmla="*/ 1593634 h 4687251"/>
              <a:gd name="connsiteX42886" fmla="*/ 4161071 w 8079933"/>
              <a:gd name="connsiteY42886" fmla="*/ 1593201 h 4687251"/>
              <a:gd name="connsiteX42887" fmla="*/ 4156839 w 8079933"/>
              <a:gd name="connsiteY42887" fmla="*/ 1596124 h 4687251"/>
              <a:gd name="connsiteX42888" fmla="*/ 4162915 w 8079933"/>
              <a:gd name="connsiteY42888" fmla="*/ 1597965 h 4687251"/>
              <a:gd name="connsiteX42889" fmla="*/ 4164977 w 8079933"/>
              <a:gd name="connsiteY42889" fmla="*/ 1596882 h 4687251"/>
              <a:gd name="connsiteX42890" fmla="*/ 4169318 w 8079933"/>
              <a:gd name="connsiteY42890" fmla="*/ 1597315 h 4687251"/>
              <a:gd name="connsiteX42891" fmla="*/ 4170837 w 8079933"/>
              <a:gd name="connsiteY42891" fmla="*/ 1600022 h 4687251"/>
              <a:gd name="connsiteX42892" fmla="*/ 4175829 w 8079933"/>
              <a:gd name="connsiteY42892" fmla="*/ 1599481 h 4687251"/>
              <a:gd name="connsiteX42893" fmla="*/ 4176697 w 8079933"/>
              <a:gd name="connsiteY42893" fmla="*/ 1596124 h 4687251"/>
              <a:gd name="connsiteX42894" fmla="*/ 4179953 w 8079933"/>
              <a:gd name="connsiteY42894" fmla="*/ 1591577 h 4687251"/>
              <a:gd name="connsiteX42895" fmla="*/ 4188742 w 8079933"/>
              <a:gd name="connsiteY42895" fmla="*/ 1590169 h 4687251"/>
              <a:gd name="connsiteX42896" fmla="*/ 4188960 w 8079933"/>
              <a:gd name="connsiteY42896" fmla="*/ 1588004 h 4687251"/>
              <a:gd name="connsiteX42897" fmla="*/ 4193734 w 8079933"/>
              <a:gd name="connsiteY42897" fmla="*/ 1585622 h 4687251"/>
              <a:gd name="connsiteX42898" fmla="*/ 4194277 w 8079933"/>
              <a:gd name="connsiteY42898" fmla="*/ 1583132 h 4687251"/>
              <a:gd name="connsiteX42899" fmla="*/ 4196447 w 8079933"/>
              <a:gd name="connsiteY42899" fmla="*/ 1582049 h 4687251"/>
              <a:gd name="connsiteX42900" fmla="*/ 4202632 w 8079933"/>
              <a:gd name="connsiteY42900" fmla="*/ 1582698 h 4687251"/>
              <a:gd name="connsiteX42901" fmla="*/ 4197641 w 8079933"/>
              <a:gd name="connsiteY42901" fmla="*/ 1584647 h 4687251"/>
              <a:gd name="connsiteX42902" fmla="*/ 4195904 w 8079933"/>
              <a:gd name="connsiteY42902" fmla="*/ 1586596 h 4687251"/>
              <a:gd name="connsiteX42903" fmla="*/ 4195036 w 8079933"/>
              <a:gd name="connsiteY42903" fmla="*/ 1585946 h 4687251"/>
              <a:gd name="connsiteX42904" fmla="*/ 4192541 w 8079933"/>
              <a:gd name="connsiteY42904" fmla="*/ 1588437 h 4687251"/>
              <a:gd name="connsiteX42905" fmla="*/ 4194385 w 8079933"/>
              <a:gd name="connsiteY42905" fmla="*/ 1590277 h 4687251"/>
              <a:gd name="connsiteX42906" fmla="*/ 4199269 w 8079933"/>
              <a:gd name="connsiteY42906" fmla="*/ 1586812 h 4687251"/>
              <a:gd name="connsiteX42907" fmla="*/ 4204477 w 8079933"/>
              <a:gd name="connsiteY42907" fmla="*/ 1586271 h 4687251"/>
              <a:gd name="connsiteX42908" fmla="*/ 4206648 w 8079933"/>
              <a:gd name="connsiteY42908" fmla="*/ 1585189 h 4687251"/>
              <a:gd name="connsiteX42909" fmla="*/ 4208275 w 8079933"/>
              <a:gd name="connsiteY42909" fmla="*/ 1587679 h 4687251"/>
              <a:gd name="connsiteX42910" fmla="*/ 4212508 w 8079933"/>
              <a:gd name="connsiteY42910" fmla="*/ 1588437 h 4687251"/>
              <a:gd name="connsiteX42911" fmla="*/ 4218476 w 8079933"/>
              <a:gd name="connsiteY42911" fmla="*/ 1594392 h 4687251"/>
              <a:gd name="connsiteX42912" fmla="*/ 4223359 w 8079933"/>
              <a:gd name="connsiteY42912" fmla="*/ 1593526 h 4687251"/>
              <a:gd name="connsiteX42913" fmla="*/ 4226072 w 8079933"/>
              <a:gd name="connsiteY42913" fmla="*/ 1597640 h 4687251"/>
              <a:gd name="connsiteX42914" fmla="*/ 4225095 w 8079933"/>
              <a:gd name="connsiteY42914" fmla="*/ 1602187 h 4687251"/>
              <a:gd name="connsiteX42915" fmla="*/ 4229436 w 8079933"/>
              <a:gd name="connsiteY42915" fmla="*/ 1605544 h 4687251"/>
              <a:gd name="connsiteX42916" fmla="*/ 4233451 w 8079933"/>
              <a:gd name="connsiteY42916" fmla="*/ 1605003 h 4687251"/>
              <a:gd name="connsiteX42917" fmla="*/ 4236381 w 8079933"/>
              <a:gd name="connsiteY42917" fmla="*/ 1607601 h 4687251"/>
              <a:gd name="connsiteX42918" fmla="*/ 4240722 w 8079933"/>
              <a:gd name="connsiteY42918" fmla="*/ 1607384 h 4687251"/>
              <a:gd name="connsiteX42919" fmla="*/ 4240722 w 8079933"/>
              <a:gd name="connsiteY42919" fmla="*/ 1607385 h 4687251"/>
              <a:gd name="connsiteX42920" fmla="*/ 4243000 w 8079933"/>
              <a:gd name="connsiteY42920" fmla="*/ 1607168 h 4687251"/>
              <a:gd name="connsiteX42921" fmla="*/ 4242674 w 8079933"/>
              <a:gd name="connsiteY42921" fmla="*/ 1604894 h 4687251"/>
              <a:gd name="connsiteX42922" fmla="*/ 4244302 w 8079933"/>
              <a:gd name="connsiteY42922" fmla="*/ 1603920 h 4687251"/>
              <a:gd name="connsiteX42923" fmla="*/ 4246147 w 8079933"/>
              <a:gd name="connsiteY42923" fmla="*/ 1598182 h 4687251"/>
              <a:gd name="connsiteX42924" fmla="*/ 4248860 w 8079933"/>
              <a:gd name="connsiteY42924" fmla="*/ 1592443 h 4687251"/>
              <a:gd name="connsiteX42925" fmla="*/ 4256456 w 8079933"/>
              <a:gd name="connsiteY42925" fmla="*/ 1591902 h 4687251"/>
              <a:gd name="connsiteX42926" fmla="*/ 4267633 w 8079933"/>
              <a:gd name="connsiteY42926" fmla="*/ 1585731 h 4687251"/>
              <a:gd name="connsiteX42927" fmla="*/ 4275012 w 8079933"/>
              <a:gd name="connsiteY42927" fmla="*/ 1585514 h 4687251"/>
              <a:gd name="connsiteX42928" fmla="*/ 4275012 w 8079933"/>
              <a:gd name="connsiteY42928" fmla="*/ 1581725 h 4687251"/>
              <a:gd name="connsiteX42929" fmla="*/ 4279353 w 8079933"/>
              <a:gd name="connsiteY42929" fmla="*/ 1576853 h 4687251"/>
              <a:gd name="connsiteX42930" fmla="*/ 4286298 w 8079933"/>
              <a:gd name="connsiteY42930" fmla="*/ 1576745 h 4687251"/>
              <a:gd name="connsiteX42931" fmla="*/ 4290639 w 8079933"/>
              <a:gd name="connsiteY42931" fmla="*/ 1570790 h 4687251"/>
              <a:gd name="connsiteX42932" fmla="*/ 4297692 w 8079933"/>
              <a:gd name="connsiteY42932" fmla="*/ 1568083 h 4687251"/>
              <a:gd name="connsiteX42933" fmla="*/ 4304529 w 8079933"/>
              <a:gd name="connsiteY42933" fmla="*/ 1568624 h 4687251"/>
              <a:gd name="connsiteX42934" fmla="*/ 4313970 w 8079933"/>
              <a:gd name="connsiteY42934" fmla="*/ 1563752 h 4687251"/>
              <a:gd name="connsiteX42935" fmla="*/ 4326015 w 8079933"/>
              <a:gd name="connsiteY42935" fmla="*/ 1566784 h 4687251"/>
              <a:gd name="connsiteX42936" fmla="*/ 4332743 w 8079933"/>
              <a:gd name="connsiteY42936" fmla="*/ 1570031 h 4687251"/>
              <a:gd name="connsiteX42937" fmla="*/ 4332526 w 8079933"/>
              <a:gd name="connsiteY42937" fmla="*/ 1571656 h 4687251"/>
              <a:gd name="connsiteX42938" fmla="*/ 4330030 w 8079933"/>
              <a:gd name="connsiteY42938" fmla="*/ 1570031 h 4687251"/>
              <a:gd name="connsiteX42939" fmla="*/ 4324604 w 8079933"/>
              <a:gd name="connsiteY42939" fmla="*/ 1569274 h 4687251"/>
              <a:gd name="connsiteX42940" fmla="*/ 4322977 w 8079933"/>
              <a:gd name="connsiteY42940" fmla="*/ 1573280 h 4687251"/>
              <a:gd name="connsiteX42941" fmla="*/ 4325147 w 8079933"/>
              <a:gd name="connsiteY42941" fmla="*/ 1578910 h 4687251"/>
              <a:gd name="connsiteX42942" fmla="*/ 4335456 w 8079933"/>
              <a:gd name="connsiteY42942" fmla="*/ 1581725 h 4687251"/>
              <a:gd name="connsiteX42943" fmla="*/ 4344354 w 8079933"/>
              <a:gd name="connsiteY42943" fmla="*/ 1577611 h 4687251"/>
              <a:gd name="connsiteX42944" fmla="*/ 4349346 w 8079933"/>
              <a:gd name="connsiteY42944" fmla="*/ 1572522 h 4687251"/>
              <a:gd name="connsiteX42945" fmla="*/ 4351517 w 8079933"/>
              <a:gd name="connsiteY42945" fmla="*/ 1572413 h 4687251"/>
              <a:gd name="connsiteX42946" fmla="*/ 4345223 w 8079933"/>
              <a:gd name="connsiteY42946" fmla="*/ 1578910 h 4687251"/>
              <a:gd name="connsiteX42947" fmla="*/ 4338386 w 8079933"/>
              <a:gd name="connsiteY42947" fmla="*/ 1582699 h 4687251"/>
              <a:gd name="connsiteX42948" fmla="*/ 4340123 w 8079933"/>
              <a:gd name="connsiteY42948" fmla="*/ 1584323 h 4687251"/>
              <a:gd name="connsiteX42949" fmla="*/ 4347067 w 8079933"/>
              <a:gd name="connsiteY42949" fmla="*/ 1582699 h 4687251"/>
              <a:gd name="connsiteX42950" fmla="*/ 4355206 w 8079933"/>
              <a:gd name="connsiteY42950" fmla="*/ 1575445 h 4687251"/>
              <a:gd name="connsiteX42951" fmla="*/ 4357919 w 8079933"/>
              <a:gd name="connsiteY42951" fmla="*/ 1574362 h 4687251"/>
              <a:gd name="connsiteX42952" fmla="*/ 4388304 w 8079933"/>
              <a:gd name="connsiteY42952" fmla="*/ 1576095 h 4687251"/>
              <a:gd name="connsiteX42953" fmla="*/ 4415107 w 8079933"/>
              <a:gd name="connsiteY42953" fmla="*/ 1573496 h 4687251"/>
              <a:gd name="connsiteX42954" fmla="*/ 4414348 w 8079933"/>
              <a:gd name="connsiteY42954" fmla="*/ 1565051 h 4687251"/>
              <a:gd name="connsiteX42955" fmla="*/ 4417061 w 8079933"/>
              <a:gd name="connsiteY42955" fmla="*/ 1561370 h 4687251"/>
              <a:gd name="connsiteX42956" fmla="*/ 4414673 w 8079933"/>
              <a:gd name="connsiteY42956" fmla="*/ 1558772 h 4687251"/>
              <a:gd name="connsiteX42957" fmla="*/ 4411743 w 8079933"/>
              <a:gd name="connsiteY42957" fmla="*/ 1558013 h 4687251"/>
              <a:gd name="connsiteX42958" fmla="*/ 4410875 w 8079933"/>
              <a:gd name="connsiteY42958" fmla="*/ 1553358 h 4687251"/>
              <a:gd name="connsiteX42959" fmla="*/ 4407620 w 8079933"/>
              <a:gd name="connsiteY42959" fmla="*/ 1551625 h 4687251"/>
              <a:gd name="connsiteX42960" fmla="*/ 4398829 w 8079933"/>
              <a:gd name="connsiteY42960" fmla="*/ 1553791 h 4687251"/>
              <a:gd name="connsiteX42961" fmla="*/ 4392645 w 8079933"/>
              <a:gd name="connsiteY42961" fmla="*/ 1550651 h 4687251"/>
              <a:gd name="connsiteX42962" fmla="*/ 4386025 w 8079933"/>
              <a:gd name="connsiteY42962" fmla="*/ 1541664 h 4687251"/>
              <a:gd name="connsiteX42963" fmla="*/ 4377886 w 8079933"/>
              <a:gd name="connsiteY42963" fmla="*/ 1543505 h 4687251"/>
              <a:gd name="connsiteX42964" fmla="*/ 4376693 w 8079933"/>
              <a:gd name="connsiteY42964" fmla="*/ 1542856 h 4687251"/>
              <a:gd name="connsiteX42965" fmla="*/ 4378646 w 8079933"/>
              <a:gd name="connsiteY42965" fmla="*/ 1539391 h 4687251"/>
              <a:gd name="connsiteX42966" fmla="*/ 4377018 w 8079933"/>
              <a:gd name="connsiteY42966" fmla="*/ 1533436 h 4687251"/>
              <a:gd name="connsiteX42967" fmla="*/ 4376584 w 8079933"/>
              <a:gd name="connsiteY42967" fmla="*/ 1526290 h 4687251"/>
              <a:gd name="connsiteX42968" fmla="*/ 4376585 w 8079933"/>
              <a:gd name="connsiteY42968" fmla="*/ 1526290 h 4687251"/>
              <a:gd name="connsiteX42969" fmla="*/ 4376477 w 8079933"/>
              <a:gd name="connsiteY42969" fmla="*/ 1525424 h 4687251"/>
              <a:gd name="connsiteX42970" fmla="*/ 4373764 w 8079933"/>
              <a:gd name="connsiteY42970" fmla="*/ 1522718 h 4687251"/>
              <a:gd name="connsiteX42971" fmla="*/ 4371051 w 8079933"/>
              <a:gd name="connsiteY42971" fmla="*/ 1511349 h 4687251"/>
              <a:gd name="connsiteX42972" fmla="*/ 4374523 w 8079933"/>
              <a:gd name="connsiteY42972" fmla="*/ 1508101 h 4687251"/>
              <a:gd name="connsiteX42973" fmla="*/ 4374198 w 8079933"/>
              <a:gd name="connsiteY42973" fmla="*/ 1503662 h 4687251"/>
              <a:gd name="connsiteX42974" fmla="*/ 4374741 w 8079933"/>
              <a:gd name="connsiteY42974" fmla="*/ 1498898 h 4687251"/>
              <a:gd name="connsiteX42975" fmla="*/ 4381034 w 8079933"/>
              <a:gd name="connsiteY42975" fmla="*/ 1491535 h 4687251"/>
              <a:gd name="connsiteX42976" fmla="*/ 4380817 w 8079933"/>
              <a:gd name="connsiteY42976" fmla="*/ 1483307 h 4687251"/>
              <a:gd name="connsiteX42977" fmla="*/ 4382879 w 8079933"/>
              <a:gd name="connsiteY42977" fmla="*/ 1483957 h 4687251"/>
              <a:gd name="connsiteX42978" fmla="*/ 4382337 w 8079933"/>
              <a:gd name="connsiteY42978" fmla="*/ 1479084 h 4687251"/>
              <a:gd name="connsiteX42979" fmla="*/ 4385918 w 8079933"/>
              <a:gd name="connsiteY42979" fmla="*/ 1473671 h 4687251"/>
              <a:gd name="connsiteX42980" fmla="*/ 4390801 w 8079933"/>
              <a:gd name="connsiteY42980" fmla="*/ 1473346 h 4687251"/>
              <a:gd name="connsiteX42981" fmla="*/ 4393188 w 8079933"/>
              <a:gd name="connsiteY42981" fmla="*/ 1471180 h 4687251"/>
              <a:gd name="connsiteX42982" fmla="*/ 4399808 w 8079933"/>
              <a:gd name="connsiteY42982" fmla="*/ 1469557 h 4687251"/>
              <a:gd name="connsiteX42983" fmla="*/ 4404040 w 8079933"/>
              <a:gd name="connsiteY42983" fmla="*/ 1465333 h 4687251"/>
              <a:gd name="connsiteX42984" fmla="*/ 4405993 w 8079933"/>
              <a:gd name="connsiteY42984" fmla="*/ 1465225 h 4687251"/>
              <a:gd name="connsiteX42985" fmla="*/ 4406318 w 8079933"/>
              <a:gd name="connsiteY42985" fmla="*/ 1472263 h 4687251"/>
              <a:gd name="connsiteX42986" fmla="*/ 4417496 w 8079933"/>
              <a:gd name="connsiteY42986" fmla="*/ 1484173 h 4687251"/>
              <a:gd name="connsiteX42987" fmla="*/ 4418256 w 8079933"/>
              <a:gd name="connsiteY42987" fmla="*/ 1488287 h 4687251"/>
              <a:gd name="connsiteX42988" fmla="*/ 4423899 w 8079933"/>
              <a:gd name="connsiteY42988" fmla="*/ 1493701 h 4687251"/>
              <a:gd name="connsiteX42989" fmla="*/ 4429541 w 8079933"/>
              <a:gd name="connsiteY42989" fmla="*/ 1493701 h 4687251"/>
              <a:gd name="connsiteX42990" fmla="*/ 4437138 w 8079933"/>
              <a:gd name="connsiteY42990" fmla="*/ 1485581 h 4687251"/>
              <a:gd name="connsiteX42991" fmla="*/ 4439851 w 8079933"/>
              <a:gd name="connsiteY42991" fmla="*/ 1477243 h 4687251"/>
              <a:gd name="connsiteX42992" fmla="*/ 4437680 w 8079933"/>
              <a:gd name="connsiteY42992" fmla="*/ 1466849 h 4687251"/>
              <a:gd name="connsiteX42993" fmla="*/ 4437680 w 8079933"/>
              <a:gd name="connsiteY42993" fmla="*/ 1460894 h 4687251"/>
              <a:gd name="connsiteX42994" fmla="*/ 4440176 w 8079933"/>
              <a:gd name="connsiteY42994" fmla="*/ 1459920 h 4687251"/>
              <a:gd name="connsiteX42995" fmla="*/ 4447555 w 8079933"/>
              <a:gd name="connsiteY42995" fmla="*/ 1455590 h 4687251"/>
              <a:gd name="connsiteX42996" fmla="*/ 4453306 w 8079933"/>
              <a:gd name="connsiteY42996" fmla="*/ 1454182 h 4687251"/>
              <a:gd name="connsiteX42997" fmla="*/ 4453305 w 8079933"/>
              <a:gd name="connsiteY42997" fmla="*/ 1454181 h 4687251"/>
              <a:gd name="connsiteX42998" fmla="*/ 4447554 w 8079933"/>
              <a:gd name="connsiteY42998" fmla="*/ 1455589 h 4687251"/>
              <a:gd name="connsiteX42999" fmla="*/ 4440174 w 8079933"/>
              <a:gd name="connsiteY42999" fmla="*/ 1459920 h 4687251"/>
              <a:gd name="connsiteX43000" fmla="*/ 4437679 w 8079933"/>
              <a:gd name="connsiteY43000" fmla="*/ 1460894 h 4687251"/>
              <a:gd name="connsiteX43001" fmla="*/ 4437679 w 8079933"/>
              <a:gd name="connsiteY43001" fmla="*/ 1458187 h 4687251"/>
              <a:gd name="connsiteX43002" fmla="*/ 4440174 w 8079933"/>
              <a:gd name="connsiteY43002" fmla="*/ 1445736 h 4687251"/>
              <a:gd name="connsiteX43003" fmla="*/ 4438329 w 8079933"/>
              <a:gd name="connsiteY43003" fmla="*/ 1442271 h 4687251"/>
              <a:gd name="connsiteX43004" fmla="*/ 4433663 w 8079933"/>
              <a:gd name="connsiteY43004" fmla="*/ 1446061 h 4687251"/>
              <a:gd name="connsiteX43005" fmla="*/ 4433338 w 8079933"/>
              <a:gd name="connsiteY43005" fmla="*/ 1450067 h 4687251"/>
              <a:gd name="connsiteX43006" fmla="*/ 4430950 w 8079933"/>
              <a:gd name="connsiteY43006" fmla="*/ 1450608 h 4687251"/>
              <a:gd name="connsiteX43007" fmla="*/ 4424222 w 8079933"/>
              <a:gd name="connsiteY43007" fmla="*/ 1444437 h 4687251"/>
              <a:gd name="connsiteX43008" fmla="*/ 4420316 w 8079933"/>
              <a:gd name="connsiteY43008" fmla="*/ 1438265 h 4687251"/>
              <a:gd name="connsiteX43009" fmla="*/ 4419882 w 8079933"/>
              <a:gd name="connsiteY43009" fmla="*/ 1432202 h 4687251"/>
              <a:gd name="connsiteX43010" fmla="*/ 4423354 w 8079933"/>
              <a:gd name="connsiteY43010" fmla="*/ 1431769 h 4687251"/>
              <a:gd name="connsiteX43011" fmla="*/ 4425525 w 8079933"/>
              <a:gd name="connsiteY43011" fmla="*/ 1428413 h 4687251"/>
              <a:gd name="connsiteX43012" fmla="*/ 4421184 w 8079933"/>
              <a:gd name="connsiteY43012" fmla="*/ 1427980 h 4687251"/>
              <a:gd name="connsiteX43013" fmla="*/ 4419556 w 8079933"/>
              <a:gd name="connsiteY43013" fmla="*/ 1429279 h 4687251"/>
              <a:gd name="connsiteX43014" fmla="*/ 4416518 w 8079933"/>
              <a:gd name="connsiteY43014" fmla="*/ 1428738 h 4687251"/>
              <a:gd name="connsiteX43015" fmla="*/ 4416301 w 8079933"/>
              <a:gd name="connsiteY43015" fmla="*/ 1413580 h 4687251"/>
              <a:gd name="connsiteX43016" fmla="*/ 4419014 w 8079933"/>
              <a:gd name="connsiteY43016" fmla="*/ 1409033 h 4687251"/>
              <a:gd name="connsiteX43017" fmla="*/ 4426610 w 8079933"/>
              <a:gd name="connsiteY43017" fmla="*/ 1405784 h 4687251"/>
              <a:gd name="connsiteX43018" fmla="*/ 4429649 w 8079933"/>
              <a:gd name="connsiteY43018" fmla="*/ 1406543 h 4687251"/>
              <a:gd name="connsiteX43019" fmla="*/ 4430408 w 8079933"/>
              <a:gd name="connsiteY43019" fmla="*/ 1402537 h 4687251"/>
              <a:gd name="connsiteX43020" fmla="*/ 4435075 w 8079933"/>
              <a:gd name="connsiteY43020" fmla="*/ 1401129 h 4687251"/>
              <a:gd name="connsiteX43021" fmla="*/ 4439415 w 8079933"/>
              <a:gd name="connsiteY43021" fmla="*/ 1401670 h 4687251"/>
              <a:gd name="connsiteX43022" fmla="*/ 4440717 w 8079933"/>
              <a:gd name="connsiteY43022" fmla="*/ 1397015 h 4687251"/>
              <a:gd name="connsiteX43023" fmla="*/ 4442345 w 8079933"/>
              <a:gd name="connsiteY43023" fmla="*/ 1399180 h 4687251"/>
              <a:gd name="connsiteX43024" fmla="*/ 4450809 w 8079933"/>
              <a:gd name="connsiteY43024" fmla="*/ 1399505 h 4687251"/>
              <a:gd name="connsiteX43025" fmla="*/ 4452980 w 8079933"/>
              <a:gd name="connsiteY43025" fmla="*/ 1400913 h 4687251"/>
              <a:gd name="connsiteX43026" fmla="*/ 4457320 w 8079933"/>
              <a:gd name="connsiteY43026" fmla="*/ 1398098 h 4687251"/>
              <a:gd name="connsiteX43027" fmla="*/ 4454607 w 8079933"/>
              <a:gd name="connsiteY43027" fmla="*/ 1395715 h 4687251"/>
              <a:gd name="connsiteX43028" fmla="*/ 4454607 w 8079933"/>
              <a:gd name="connsiteY43028" fmla="*/ 1393766 h 4687251"/>
              <a:gd name="connsiteX43029" fmla="*/ 4457754 w 8079933"/>
              <a:gd name="connsiteY43029" fmla="*/ 1394308 h 4687251"/>
              <a:gd name="connsiteX43030" fmla="*/ 4458080 w 8079933"/>
              <a:gd name="connsiteY43030" fmla="*/ 1391060 h 4687251"/>
              <a:gd name="connsiteX43031" fmla="*/ 4462963 w 8079933"/>
              <a:gd name="connsiteY43031" fmla="*/ 1395391 h 4687251"/>
              <a:gd name="connsiteX43032" fmla="*/ 4466979 w 8079933"/>
              <a:gd name="connsiteY43032" fmla="*/ 1394308 h 4687251"/>
              <a:gd name="connsiteX43033" fmla="*/ 4471645 w 8079933"/>
              <a:gd name="connsiteY43033" fmla="*/ 1396690 h 4687251"/>
              <a:gd name="connsiteX43034" fmla="*/ 4480543 w 8079933"/>
              <a:gd name="connsiteY43034" fmla="*/ 1396474 h 4687251"/>
              <a:gd name="connsiteX43035" fmla="*/ 4489007 w 8079933"/>
              <a:gd name="connsiteY43035" fmla="*/ 1401887 h 4687251"/>
              <a:gd name="connsiteX43036" fmla="*/ 4508156 w 8079933"/>
              <a:gd name="connsiteY43036" fmla="*/ 1402427 h 4687251"/>
              <a:gd name="connsiteX43037" fmla="*/ 4506370 w 8079933"/>
              <a:gd name="connsiteY43037" fmla="*/ 1399398 h 4687251"/>
              <a:gd name="connsiteX43038" fmla="*/ 4507890 w 8079933"/>
              <a:gd name="connsiteY43038" fmla="*/ 1394200 h 4687251"/>
              <a:gd name="connsiteX43039" fmla="*/ 4505719 w 8079933"/>
              <a:gd name="connsiteY43039" fmla="*/ 1390627 h 4687251"/>
              <a:gd name="connsiteX43040" fmla="*/ 4505719 w 8079933"/>
              <a:gd name="connsiteY43040" fmla="*/ 1387921 h 4687251"/>
              <a:gd name="connsiteX43041" fmla="*/ 4507890 w 8079933"/>
              <a:gd name="connsiteY43041" fmla="*/ 1387163 h 4687251"/>
              <a:gd name="connsiteX43042" fmla="*/ 4509843 w 8079933"/>
              <a:gd name="connsiteY43042" fmla="*/ 1391169 h 4687251"/>
              <a:gd name="connsiteX43043" fmla="*/ 4514183 w 8079933"/>
              <a:gd name="connsiteY43043" fmla="*/ 1389761 h 4687251"/>
              <a:gd name="connsiteX43044" fmla="*/ 4514183 w 8079933"/>
              <a:gd name="connsiteY43044" fmla="*/ 1385106 h 4687251"/>
              <a:gd name="connsiteX43045" fmla="*/ 4516896 w 8079933"/>
              <a:gd name="connsiteY43045" fmla="*/ 1382941 h 4687251"/>
              <a:gd name="connsiteX43046" fmla="*/ 4521562 w 8079933"/>
              <a:gd name="connsiteY43046" fmla="*/ 1385864 h 4687251"/>
              <a:gd name="connsiteX43047" fmla="*/ 4527314 w 8079933"/>
              <a:gd name="connsiteY43047" fmla="*/ 1381533 h 4687251"/>
              <a:gd name="connsiteX43048" fmla="*/ 4528616 w 8079933"/>
              <a:gd name="connsiteY43048" fmla="*/ 1377419 h 4687251"/>
              <a:gd name="connsiteX43049" fmla="*/ 4531546 w 8079933"/>
              <a:gd name="connsiteY43049" fmla="*/ 1376336 h 4687251"/>
              <a:gd name="connsiteX43050" fmla="*/ 4538599 w 8079933"/>
              <a:gd name="connsiteY43050" fmla="*/ 1378718 h 4687251"/>
              <a:gd name="connsiteX43051" fmla="*/ 4541530 w 8079933"/>
              <a:gd name="connsiteY43051" fmla="*/ 1375145 h 4687251"/>
              <a:gd name="connsiteX43052" fmla="*/ 4537406 w 8079933"/>
              <a:gd name="connsiteY43052" fmla="*/ 1369190 h 4687251"/>
              <a:gd name="connsiteX43053" fmla="*/ 4533608 w 8079933"/>
              <a:gd name="connsiteY43053" fmla="*/ 1369190 h 4687251"/>
              <a:gd name="connsiteX43054" fmla="*/ 4531438 w 8079933"/>
              <a:gd name="connsiteY43054" fmla="*/ 1370056 h 4687251"/>
              <a:gd name="connsiteX43055" fmla="*/ 4526012 w 8079933"/>
              <a:gd name="connsiteY43055" fmla="*/ 1370056 h 4687251"/>
              <a:gd name="connsiteX43056" fmla="*/ 4522973 w 8079933"/>
              <a:gd name="connsiteY43056" fmla="*/ 1365509 h 4687251"/>
              <a:gd name="connsiteX43057" fmla="*/ 4517331 w 8079933"/>
              <a:gd name="connsiteY43057" fmla="*/ 1365509 h 4687251"/>
              <a:gd name="connsiteX43058" fmla="*/ 4511687 w 8079933"/>
              <a:gd name="connsiteY43058" fmla="*/ 1359337 h 4687251"/>
              <a:gd name="connsiteX43059" fmla="*/ 4512556 w 8079933"/>
              <a:gd name="connsiteY43059" fmla="*/ 1356306 h 4687251"/>
              <a:gd name="connsiteX43060" fmla="*/ 4517764 w 8079933"/>
              <a:gd name="connsiteY43060" fmla="*/ 1360637 h 4687251"/>
              <a:gd name="connsiteX43061" fmla="*/ 4517764 w 8079933"/>
              <a:gd name="connsiteY43061" fmla="*/ 1353924 h 4687251"/>
              <a:gd name="connsiteX43062" fmla="*/ 4516137 w 8079933"/>
              <a:gd name="connsiteY43062" fmla="*/ 1350892 h 4687251"/>
              <a:gd name="connsiteX43063" fmla="*/ 4519609 w 8079933"/>
              <a:gd name="connsiteY43063" fmla="*/ 1347969 h 4687251"/>
              <a:gd name="connsiteX43064" fmla="*/ 4514400 w 8079933"/>
              <a:gd name="connsiteY43064" fmla="*/ 1348835 h 4687251"/>
              <a:gd name="connsiteX43065" fmla="*/ 4507672 w 8079933"/>
              <a:gd name="connsiteY43065" fmla="*/ 1352408 h 4687251"/>
              <a:gd name="connsiteX43066" fmla="*/ 4506587 w 8079933"/>
              <a:gd name="connsiteY43066" fmla="*/ 1353707 h 4687251"/>
              <a:gd name="connsiteX43067" fmla="*/ 4506408 w 8079933"/>
              <a:gd name="connsiteY43067" fmla="*/ 1352346 h 4687251"/>
              <a:gd name="connsiteX43068" fmla="*/ 4507022 w 8079933"/>
              <a:gd name="connsiteY43068" fmla="*/ 1357170 h 4687251"/>
              <a:gd name="connsiteX43069" fmla="*/ 4505177 w 8079933"/>
              <a:gd name="connsiteY43069" fmla="*/ 1361177 h 4687251"/>
              <a:gd name="connsiteX43070" fmla="*/ 4500510 w 8079933"/>
              <a:gd name="connsiteY43070" fmla="*/ 1359877 h 4687251"/>
              <a:gd name="connsiteX43071" fmla="*/ 4499751 w 8079933"/>
              <a:gd name="connsiteY43071" fmla="*/ 1356954 h 4687251"/>
              <a:gd name="connsiteX43072" fmla="*/ 4496496 w 8079933"/>
              <a:gd name="connsiteY43072" fmla="*/ 1355872 h 4687251"/>
              <a:gd name="connsiteX43073" fmla="*/ 4494326 w 8079933"/>
              <a:gd name="connsiteY43073" fmla="*/ 1357170 h 4687251"/>
              <a:gd name="connsiteX43074" fmla="*/ 4496279 w 8079933"/>
              <a:gd name="connsiteY43074" fmla="*/ 1359119 h 4687251"/>
              <a:gd name="connsiteX43075" fmla="*/ 4496279 w 8079933"/>
              <a:gd name="connsiteY43075" fmla="*/ 1361609 h 4687251"/>
              <a:gd name="connsiteX43076" fmla="*/ 4488900 w 8079933"/>
              <a:gd name="connsiteY43076" fmla="*/ 1362692 h 4687251"/>
              <a:gd name="connsiteX43077" fmla="*/ 4485427 w 8079933"/>
              <a:gd name="connsiteY43077" fmla="*/ 1359661 h 4687251"/>
              <a:gd name="connsiteX43078" fmla="*/ 4479242 w 8079933"/>
              <a:gd name="connsiteY43078" fmla="*/ 1360960 h 4687251"/>
              <a:gd name="connsiteX43079" fmla="*/ 4476203 w 8079933"/>
              <a:gd name="connsiteY43079" fmla="*/ 1363883 h 4687251"/>
              <a:gd name="connsiteX43080" fmla="*/ 4475118 w 8079933"/>
              <a:gd name="connsiteY43080" fmla="*/ 1361393 h 4687251"/>
              <a:gd name="connsiteX43081" fmla="*/ 4472405 w 8079933"/>
              <a:gd name="connsiteY43081" fmla="*/ 1360635 h 4687251"/>
              <a:gd name="connsiteX43082" fmla="*/ 4472405 w 8079933"/>
              <a:gd name="connsiteY43082" fmla="*/ 1363883 h 4687251"/>
              <a:gd name="connsiteX43083" fmla="*/ 4469366 w 8079933"/>
              <a:gd name="connsiteY43083" fmla="*/ 1364966 h 4687251"/>
              <a:gd name="connsiteX43084" fmla="*/ 4466979 w 8079933"/>
              <a:gd name="connsiteY43084" fmla="*/ 1359769 h 4687251"/>
              <a:gd name="connsiteX43085" fmla="*/ 4465894 w 8079933"/>
              <a:gd name="connsiteY43085" fmla="*/ 1363234 h 4687251"/>
              <a:gd name="connsiteX43086" fmla="*/ 4463181 w 8079933"/>
              <a:gd name="connsiteY43086" fmla="*/ 1363234 h 4687251"/>
              <a:gd name="connsiteX43087" fmla="*/ 4460794 w 8079933"/>
              <a:gd name="connsiteY43087" fmla="*/ 1358578 h 4687251"/>
              <a:gd name="connsiteX43088" fmla="*/ 4458840 w 8079933"/>
              <a:gd name="connsiteY43088" fmla="*/ 1360527 h 4687251"/>
              <a:gd name="connsiteX43089" fmla="*/ 4460794 w 8079933"/>
              <a:gd name="connsiteY43089" fmla="*/ 1365399 h 4687251"/>
              <a:gd name="connsiteX43090" fmla="*/ 4458624 w 8079933"/>
              <a:gd name="connsiteY43090" fmla="*/ 1364858 h 4687251"/>
              <a:gd name="connsiteX43091" fmla="*/ 4456127 w 8079933"/>
              <a:gd name="connsiteY43091" fmla="*/ 1370596 h 4687251"/>
              <a:gd name="connsiteX43092" fmla="*/ 4453631 w 8079933"/>
              <a:gd name="connsiteY43092" fmla="*/ 1369513 h 4687251"/>
              <a:gd name="connsiteX43093" fmla="*/ 4455585 w 8079933"/>
              <a:gd name="connsiteY43093" fmla="*/ 1365508 h 4687251"/>
              <a:gd name="connsiteX43094" fmla="*/ 4454717 w 8079933"/>
              <a:gd name="connsiteY43094" fmla="*/ 1363558 h 4687251"/>
              <a:gd name="connsiteX43095" fmla="*/ 4450919 w 8079933"/>
              <a:gd name="connsiteY43095" fmla="*/ 1369297 h 4687251"/>
              <a:gd name="connsiteX43096" fmla="*/ 4446795 w 8079933"/>
              <a:gd name="connsiteY43096" fmla="*/ 1370055 h 4687251"/>
              <a:gd name="connsiteX43097" fmla="*/ 4440610 w 8079933"/>
              <a:gd name="connsiteY43097" fmla="*/ 1368214 h 4687251"/>
              <a:gd name="connsiteX43098" fmla="*/ 4440067 w 8079933"/>
              <a:gd name="connsiteY43098" fmla="*/ 1370705 h 4687251"/>
              <a:gd name="connsiteX43099" fmla="*/ 4430626 w 8079933"/>
              <a:gd name="connsiteY43099" fmla="*/ 1376876 h 4687251"/>
              <a:gd name="connsiteX43100" fmla="*/ 4426285 w 8079933"/>
              <a:gd name="connsiteY43100" fmla="*/ 1376876 h 4687251"/>
              <a:gd name="connsiteX43101" fmla="*/ 4418472 w 8079933"/>
              <a:gd name="connsiteY43101" fmla="*/ 1382506 h 4687251"/>
              <a:gd name="connsiteX43102" fmla="*/ 4415000 w 8079933"/>
              <a:gd name="connsiteY43102" fmla="*/ 1382506 h 4687251"/>
              <a:gd name="connsiteX43103" fmla="*/ 4410876 w 8079933"/>
              <a:gd name="connsiteY43103" fmla="*/ 1384347 h 4687251"/>
              <a:gd name="connsiteX43104" fmla="*/ 4410333 w 8079933"/>
              <a:gd name="connsiteY43104" fmla="*/ 1381315 h 4687251"/>
              <a:gd name="connsiteX43105" fmla="*/ 4407403 w 8079933"/>
              <a:gd name="connsiteY43105" fmla="*/ 1382723 h 4687251"/>
              <a:gd name="connsiteX43106" fmla="*/ 4404908 w 8079933"/>
              <a:gd name="connsiteY43106" fmla="*/ 1389760 h 4687251"/>
              <a:gd name="connsiteX43107" fmla="*/ 4403280 w 8079933"/>
              <a:gd name="connsiteY43107" fmla="*/ 1388894 h 4687251"/>
              <a:gd name="connsiteX43108" fmla="*/ 4404908 w 8079933"/>
              <a:gd name="connsiteY43108" fmla="*/ 1384022 h 4687251"/>
              <a:gd name="connsiteX43109" fmla="*/ 4403605 w 8079933"/>
              <a:gd name="connsiteY43109" fmla="*/ 1381098 h 4687251"/>
              <a:gd name="connsiteX43110" fmla="*/ 4397637 w 8079933"/>
              <a:gd name="connsiteY43110" fmla="*/ 1372653 h 4687251"/>
              <a:gd name="connsiteX43111" fmla="*/ 4400567 w 8079933"/>
              <a:gd name="connsiteY43111" fmla="*/ 1368647 h 4687251"/>
              <a:gd name="connsiteX43112" fmla="*/ 4400567 w 8079933"/>
              <a:gd name="connsiteY43112" fmla="*/ 1365399 h 4687251"/>
              <a:gd name="connsiteX43113" fmla="*/ 4394816 w 8079933"/>
              <a:gd name="connsiteY43113" fmla="*/ 1369405 h 4687251"/>
              <a:gd name="connsiteX43114" fmla="*/ 4392319 w 8079933"/>
              <a:gd name="connsiteY43114" fmla="*/ 1369405 h 4687251"/>
              <a:gd name="connsiteX43115" fmla="*/ 4394164 w 8079933"/>
              <a:gd name="connsiteY43115" fmla="*/ 1365940 h 4687251"/>
              <a:gd name="connsiteX43116" fmla="*/ 4392211 w 8079933"/>
              <a:gd name="connsiteY43116" fmla="*/ 1365074 h 4687251"/>
              <a:gd name="connsiteX43117" fmla="*/ 4385375 w 8079933"/>
              <a:gd name="connsiteY43117" fmla="*/ 1365833 h 4687251"/>
              <a:gd name="connsiteX43118" fmla="*/ 4382119 w 8079933"/>
              <a:gd name="connsiteY43118" fmla="*/ 1362909 h 4687251"/>
              <a:gd name="connsiteX43119" fmla="*/ 4378864 w 8079933"/>
              <a:gd name="connsiteY43119" fmla="*/ 1363451 h 4687251"/>
              <a:gd name="connsiteX43120" fmla="*/ 4373438 w 8079933"/>
              <a:gd name="connsiteY43120" fmla="*/ 1357712 h 4687251"/>
              <a:gd name="connsiteX43121" fmla="*/ 4372353 w 8079933"/>
              <a:gd name="connsiteY43121" fmla="*/ 1360635 h 4687251"/>
              <a:gd name="connsiteX43122" fmla="*/ 4369965 w 8079933"/>
              <a:gd name="connsiteY43122" fmla="*/ 1358795 h 4687251"/>
              <a:gd name="connsiteX43123" fmla="*/ 4363672 w 8079933"/>
              <a:gd name="connsiteY43123" fmla="*/ 1361718 h 4687251"/>
              <a:gd name="connsiteX43124" fmla="*/ 4361827 w 8079933"/>
              <a:gd name="connsiteY43124" fmla="*/ 1359228 h 4687251"/>
              <a:gd name="connsiteX43125" fmla="*/ 4361827 w 8079933"/>
              <a:gd name="connsiteY43125" fmla="*/ 1355655 h 4687251"/>
              <a:gd name="connsiteX43126" fmla="*/ 4364322 w 8079933"/>
              <a:gd name="connsiteY43126" fmla="*/ 1350458 h 4687251"/>
              <a:gd name="connsiteX43127" fmla="*/ 4361610 w 8079933"/>
              <a:gd name="connsiteY43127" fmla="*/ 1346993 h 4687251"/>
              <a:gd name="connsiteX43128" fmla="*/ 4361610 w 8079933"/>
              <a:gd name="connsiteY43128" fmla="*/ 1337249 h 4687251"/>
              <a:gd name="connsiteX43129" fmla="*/ 4363237 w 8079933"/>
              <a:gd name="connsiteY43129" fmla="*/ 1334326 h 4687251"/>
              <a:gd name="connsiteX43130" fmla="*/ 4362477 w 8079933"/>
              <a:gd name="connsiteY43130" fmla="*/ 1326964 h 4687251"/>
              <a:gd name="connsiteX43131" fmla="*/ 4365950 w 8079933"/>
              <a:gd name="connsiteY43131" fmla="*/ 1325556 h 4687251"/>
              <a:gd name="connsiteX43132" fmla="*/ 4362369 w 8079933"/>
              <a:gd name="connsiteY43132" fmla="*/ 1319926 h 4687251"/>
              <a:gd name="connsiteX43133" fmla="*/ 4363997 w 8079933"/>
              <a:gd name="connsiteY43133" fmla="*/ 1317003 h 4687251"/>
              <a:gd name="connsiteX43134" fmla="*/ 4361610 w 8079933"/>
              <a:gd name="connsiteY43134" fmla="*/ 1315054 h 4687251"/>
              <a:gd name="connsiteX43135" fmla="*/ 4356943 w 8079933"/>
              <a:gd name="connsiteY43135" fmla="*/ 1307366 h 4687251"/>
              <a:gd name="connsiteX43136" fmla="*/ 4357920 w 8079933"/>
              <a:gd name="connsiteY43136" fmla="*/ 1305309 h 4687251"/>
              <a:gd name="connsiteX43137" fmla="*/ 4356293 w 8079933"/>
              <a:gd name="connsiteY43137" fmla="*/ 1300762 h 4687251"/>
              <a:gd name="connsiteX43138" fmla="*/ 4357594 w 8079933"/>
              <a:gd name="connsiteY43138" fmla="*/ 1298271 h 4687251"/>
              <a:gd name="connsiteX43139" fmla="*/ 4358462 w 8079933"/>
              <a:gd name="connsiteY43139" fmla="*/ 1293183 h 4687251"/>
              <a:gd name="connsiteX43140" fmla="*/ 4355967 w 8079933"/>
              <a:gd name="connsiteY43140" fmla="*/ 1290476 h 4687251"/>
              <a:gd name="connsiteX43141" fmla="*/ 4352928 w 8079933"/>
              <a:gd name="connsiteY43141" fmla="*/ 1291884 h 4687251"/>
              <a:gd name="connsiteX43142" fmla="*/ 4352060 w 8079933"/>
              <a:gd name="connsiteY43142" fmla="*/ 1288743 h 4687251"/>
              <a:gd name="connsiteX43143" fmla="*/ 4353471 w 8079933"/>
              <a:gd name="connsiteY43143" fmla="*/ 1284088 h 4687251"/>
              <a:gd name="connsiteX43144" fmla="*/ 4352168 w 8079933"/>
              <a:gd name="connsiteY43144" fmla="*/ 1283114 h 4687251"/>
              <a:gd name="connsiteX43145" fmla="*/ 4350324 w 8079933"/>
              <a:gd name="connsiteY43145" fmla="*/ 1278349 h 4687251"/>
              <a:gd name="connsiteX43146" fmla="*/ 4352711 w 8079933"/>
              <a:gd name="connsiteY43146" fmla="*/ 1274344 h 4687251"/>
              <a:gd name="connsiteX43147" fmla="*/ 4354990 w 8079933"/>
              <a:gd name="connsiteY43147" fmla="*/ 1273802 h 4687251"/>
              <a:gd name="connsiteX43148" fmla="*/ 4356835 w 8079933"/>
              <a:gd name="connsiteY43148" fmla="*/ 1269363 h 4687251"/>
              <a:gd name="connsiteX43149" fmla="*/ 4354990 w 8079933"/>
              <a:gd name="connsiteY43149" fmla="*/ 1264816 h 4687251"/>
              <a:gd name="connsiteX43150" fmla="*/ 4357703 w 8079933"/>
              <a:gd name="connsiteY43150" fmla="*/ 1262543 h 4687251"/>
              <a:gd name="connsiteX43151" fmla="*/ 4356509 w 8079933"/>
              <a:gd name="connsiteY43151" fmla="*/ 1258212 h 4687251"/>
              <a:gd name="connsiteX43152" fmla="*/ 4359765 w 8079933"/>
              <a:gd name="connsiteY43152" fmla="*/ 1257021 h 4687251"/>
              <a:gd name="connsiteX43153" fmla="*/ 4362912 w 8079933"/>
              <a:gd name="connsiteY43153" fmla="*/ 1257995 h 4687251"/>
              <a:gd name="connsiteX43154" fmla="*/ 4363454 w 8079933"/>
              <a:gd name="connsiteY43154" fmla="*/ 1259727 h 4687251"/>
              <a:gd name="connsiteX43155" fmla="*/ 4365733 w 8079933"/>
              <a:gd name="connsiteY43155" fmla="*/ 1261351 h 4687251"/>
              <a:gd name="connsiteX43156" fmla="*/ 4369965 w 8079933"/>
              <a:gd name="connsiteY43156" fmla="*/ 1258645 h 4687251"/>
              <a:gd name="connsiteX43157" fmla="*/ 4371268 w 8079933"/>
              <a:gd name="connsiteY43157" fmla="*/ 1255938 h 4687251"/>
              <a:gd name="connsiteX43158" fmla="*/ 4374198 w 8079933"/>
              <a:gd name="connsiteY43158" fmla="*/ 1252906 h 4687251"/>
              <a:gd name="connsiteX43159" fmla="*/ 4374198 w 8079933"/>
              <a:gd name="connsiteY43159" fmla="*/ 1250633 h 4687251"/>
              <a:gd name="connsiteX43160" fmla="*/ 4370942 w 8079933"/>
              <a:gd name="connsiteY43160" fmla="*/ 1247384 h 4687251"/>
              <a:gd name="connsiteX43161" fmla="*/ 4372245 w 8079933"/>
              <a:gd name="connsiteY43161" fmla="*/ 1245544 h 4687251"/>
              <a:gd name="connsiteX43162" fmla="*/ 4375499 w 8079933"/>
              <a:gd name="connsiteY43162" fmla="*/ 1246951 h 4687251"/>
              <a:gd name="connsiteX43163" fmla="*/ 4374740 w 8079933"/>
              <a:gd name="connsiteY43163" fmla="*/ 1244678 h 4687251"/>
              <a:gd name="connsiteX43164" fmla="*/ 4376585 w 8079933"/>
              <a:gd name="connsiteY43164" fmla="*/ 1239589 h 4687251"/>
              <a:gd name="connsiteX43165" fmla="*/ 4379840 w 8079933"/>
              <a:gd name="connsiteY43165" fmla="*/ 1238398 h 4687251"/>
              <a:gd name="connsiteX43166" fmla="*/ 4381468 w 8079933"/>
              <a:gd name="connsiteY43166" fmla="*/ 1240564 h 4687251"/>
              <a:gd name="connsiteX43167" fmla="*/ 4387220 w 8079933"/>
              <a:gd name="connsiteY43167" fmla="*/ 1242404 h 4687251"/>
              <a:gd name="connsiteX43168" fmla="*/ 4383964 w 8079933"/>
              <a:gd name="connsiteY43168" fmla="*/ 1240022 h 4687251"/>
              <a:gd name="connsiteX43169" fmla="*/ 4382662 w 8079933"/>
              <a:gd name="connsiteY43169" fmla="*/ 1234067 h 4687251"/>
              <a:gd name="connsiteX43170" fmla="*/ 4385592 w 8079933"/>
              <a:gd name="connsiteY43170" fmla="*/ 1230061 h 4687251"/>
              <a:gd name="connsiteX43171" fmla="*/ 4390475 w 8079933"/>
              <a:gd name="connsiteY43171" fmla="*/ 1230061 h 4687251"/>
              <a:gd name="connsiteX43172" fmla="*/ 4391560 w 8079933"/>
              <a:gd name="connsiteY43172" fmla="*/ 1226272 h 4687251"/>
              <a:gd name="connsiteX43173" fmla="*/ 4389933 w 8079933"/>
              <a:gd name="connsiteY43173" fmla="*/ 1221616 h 4687251"/>
              <a:gd name="connsiteX43174" fmla="*/ 4392103 w 8079933"/>
              <a:gd name="connsiteY43174" fmla="*/ 1221616 h 4687251"/>
              <a:gd name="connsiteX43175" fmla="*/ 4393405 w 8079933"/>
              <a:gd name="connsiteY43175" fmla="*/ 1223998 h 4687251"/>
              <a:gd name="connsiteX43176" fmla="*/ 4395250 w 8079933"/>
              <a:gd name="connsiteY43176" fmla="*/ 1223456 h 4687251"/>
              <a:gd name="connsiteX43177" fmla="*/ 4396335 w 8079933"/>
              <a:gd name="connsiteY43177" fmla="*/ 1215661 h 4687251"/>
              <a:gd name="connsiteX43178" fmla="*/ 4403714 w 8079933"/>
              <a:gd name="connsiteY43178" fmla="*/ 1207866 h 4687251"/>
              <a:gd name="connsiteX43179" fmla="*/ 4405667 w 8079933"/>
              <a:gd name="connsiteY43179" fmla="*/ 1206458 h 4687251"/>
              <a:gd name="connsiteX43180" fmla="*/ 4405667 w 8079933"/>
              <a:gd name="connsiteY43180" fmla="*/ 1203210 h 4687251"/>
              <a:gd name="connsiteX43181" fmla="*/ 4410008 w 8079933"/>
              <a:gd name="connsiteY43181" fmla="*/ 1198663 h 4687251"/>
              <a:gd name="connsiteX43182" fmla="*/ 4410008 w 8079933"/>
              <a:gd name="connsiteY43182" fmla="*/ 1194874 h 4687251"/>
              <a:gd name="connsiteX43183" fmla="*/ 4416302 w 8079933"/>
              <a:gd name="connsiteY43183" fmla="*/ 1190759 h 4687251"/>
              <a:gd name="connsiteX43184" fmla="*/ 4422270 w 8079933"/>
              <a:gd name="connsiteY43184" fmla="*/ 1190759 h 4687251"/>
              <a:gd name="connsiteX43185" fmla="*/ 4429541 w 8079933"/>
              <a:gd name="connsiteY43185" fmla="*/ 1194765 h 4687251"/>
              <a:gd name="connsiteX43186" fmla="*/ 4429541 w 8079933"/>
              <a:gd name="connsiteY43186" fmla="*/ 1191842 h 4687251"/>
              <a:gd name="connsiteX43187" fmla="*/ 4423355 w 8079933"/>
              <a:gd name="connsiteY43187" fmla="*/ 1186753 h 4687251"/>
              <a:gd name="connsiteX43188" fmla="*/ 4425309 w 8079933"/>
              <a:gd name="connsiteY43188" fmla="*/ 1185995 h 4687251"/>
              <a:gd name="connsiteX43189" fmla="*/ 4430518 w 8079933"/>
              <a:gd name="connsiteY43189" fmla="*/ 1187078 h 4687251"/>
              <a:gd name="connsiteX43190" fmla="*/ 4423247 w 8079933"/>
              <a:gd name="connsiteY43190" fmla="*/ 1180365 h 4687251"/>
              <a:gd name="connsiteX43191" fmla="*/ 4424875 w 8079933"/>
              <a:gd name="connsiteY43191" fmla="*/ 1178958 h 4687251"/>
              <a:gd name="connsiteX43192" fmla="*/ 4424875 w 8079933"/>
              <a:gd name="connsiteY43192" fmla="*/ 1171703 h 4687251"/>
              <a:gd name="connsiteX43193" fmla="*/ 4422487 w 8079933"/>
              <a:gd name="connsiteY43193" fmla="*/ 1168455 h 4687251"/>
              <a:gd name="connsiteX43194" fmla="*/ 4425960 w 8079933"/>
              <a:gd name="connsiteY43194" fmla="*/ 1166832 h 4687251"/>
              <a:gd name="connsiteX43195" fmla="*/ 4419774 w 8079933"/>
              <a:gd name="connsiteY43195" fmla="*/ 1160877 h 4687251"/>
              <a:gd name="connsiteX43196" fmla="*/ 4410768 w 8079933"/>
              <a:gd name="connsiteY43196" fmla="*/ 1160877 h 4687251"/>
              <a:gd name="connsiteX43197" fmla="*/ 4406427 w 8079933"/>
              <a:gd name="connsiteY43197" fmla="*/ 1156329 h 4687251"/>
              <a:gd name="connsiteX43198" fmla="*/ 4401869 w 8079933"/>
              <a:gd name="connsiteY43198" fmla="*/ 1156329 h 4687251"/>
              <a:gd name="connsiteX43199" fmla="*/ 4400242 w 8079933"/>
              <a:gd name="connsiteY43199" fmla="*/ 1154597 h 4687251"/>
              <a:gd name="connsiteX43200" fmla="*/ 4400242 w 8079933"/>
              <a:gd name="connsiteY43200" fmla="*/ 1152287 h 4687251"/>
              <a:gd name="connsiteX43201" fmla="*/ 4400240 w 8079933"/>
              <a:gd name="connsiteY43201" fmla="*/ 1152324 h 4687251"/>
              <a:gd name="connsiteX43202" fmla="*/ 4400023 w 8079933"/>
              <a:gd name="connsiteY43202" fmla="*/ 1152107 h 4687251"/>
              <a:gd name="connsiteX43203" fmla="*/ 4396985 w 8079933"/>
              <a:gd name="connsiteY43203" fmla="*/ 1154273 h 4687251"/>
              <a:gd name="connsiteX43204" fmla="*/ 4392427 w 8079933"/>
              <a:gd name="connsiteY43204" fmla="*/ 1153948 h 4687251"/>
              <a:gd name="connsiteX43205" fmla="*/ 4389714 w 8079933"/>
              <a:gd name="connsiteY43205" fmla="*/ 1150699 h 4687251"/>
              <a:gd name="connsiteX43206" fmla="*/ 4384071 w 8079933"/>
              <a:gd name="connsiteY43206" fmla="*/ 1154273 h 4687251"/>
              <a:gd name="connsiteX43207" fmla="*/ 4380273 w 8079933"/>
              <a:gd name="connsiteY43207" fmla="*/ 1152107 h 4687251"/>
              <a:gd name="connsiteX43208" fmla="*/ 4378320 w 8079933"/>
              <a:gd name="connsiteY43208" fmla="*/ 1156113 h 4687251"/>
              <a:gd name="connsiteX43209" fmla="*/ 4374305 w 8079933"/>
              <a:gd name="connsiteY43209" fmla="*/ 1154489 h 4687251"/>
              <a:gd name="connsiteX43210" fmla="*/ 4372569 w 8079933"/>
              <a:gd name="connsiteY43210" fmla="*/ 1150483 h 4687251"/>
              <a:gd name="connsiteX43211" fmla="*/ 4368771 w 8079933"/>
              <a:gd name="connsiteY43211" fmla="*/ 1155247 h 4687251"/>
              <a:gd name="connsiteX43212" fmla="*/ 4365841 w 8079933"/>
              <a:gd name="connsiteY43212" fmla="*/ 1149942 h 4687251"/>
              <a:gd name="connsiteX43213" fmla="*/ 4363345 w 8079933"/>
              <a:gd name="connsiteY43213" fmla="*/ 1151891 h 4687251"/>
              <a:gd name="connsiteX43214" fmla="*/ 4362802 w 8079933"/>
              <a:gd name="connsiteY43214" fmla="*/ 1156546 h 4687251"/>
              <a:gd name="connsiteX43215" fmla="*/ 4361175 w 8079933"/>
              <a:gd name="connsiteY43215" fmla="*/ 1160336 h 4687251"/>
              <a:gd name="connsiteX43216" fmla="*/ 4357593 w 8079933"/>
              <a:gd name="connsiteY43216" fmla="*/ 1161093 h 4687251"/>
              <a:gd name="connsiteX43217" fmla="*/ 4355532 w 8079933"/>
              <a:gd name="connsiteY43217" fmla="*/ 1158495 h 4687251"/>
              <a:gd name="connsiteX43218" fmla="*/ 4352276 w 8079933"/>
              <a:gd name="connsiteY43218" fmla="*/ 1157413 h 4687251"/>
              <a:gd name="connsiteX43219" fmla="*/ 4355315 w 8079933"/>
              <a:gd name="connsiteY43219" fmla="*/ 1163151 h 4687251"/>
              <a:gd name="connsiteX43220" fmla="*/ 4358462 w 8079933"/>
              <a:gd name="connsiteY43220" fmla="*/ 1165316 h 4687251"/>
              <a:gd name="connsiteX43221" fmla="*/ 4354447 w 8079933"/>
              <a:gd name="connsiteY43221" fmla="*/ 1168889 h 4687251"/>
              <a:gd name="connsiteX43222" fmla="*/ 4350431 w 8079933"/>
              <a:gd name="connsiteY43222" fmla="*/ 1168672 h 4687251"/>
              <a:gd name="connsiteX43223" fmla="*/ 4346850 w 8079933"/>
              <a:gd name="connsiteY43223" fmla="*/ 1170621 h 4687251"/>
              <a:gd name="connsiteX43224" fmla="*/ 4351191 w 8079933"/>
              <a:gd name="connsiteY43224" fmla="*/ 1172679 h 4687251"/>
              <a:gd name="connsiteX43225" fmla="*/ 4350974 w 8079933"/>
              <a:gd name="connsiteY43225" fmla="*/ 1175385 h 4687251"/>
              <a:gd name="connsiteX43226" fmla="*/ 4349129 w 8079933"/>
              <a:gd name="connsiteY43226" fmla="*/ 1175927 h 4687251"/>
              <a:gd name="connsiteX43227" fmla="*/ 4348153 w 8079933"/>
              <a:gd name="connsiteY43227" fmla="*/ 1174303 h 4687251"/>
              <a:gd name="connsiteX43228" fmla="*/ 4345331 w 8079933"/>
              <a:gd name="connsiteY43228" fmla="*/ 1172895 h 4687251"/>
              <a:gd name="connsiteX43229" fmla="*/ 4343812 w 8079933"/>
              <a:gd name="connsiteY43229" fmla="*/ 1174627 h 4687251"/>
              <a:gd name="connsiteX43230" fmla="*/ 4345874 w 8079933"/>
              <a:gd name="connsiteY43230" fmla="*/ 1177984 h 4687251"/>
              <a:gd name="connsiteX43231" fmla="*/ 4348695 w 8079933"/>
              <a:gd name="connsiteY43231" fmla="*/ 1178092 h 4687251"/>
              <a:gd name="connsiteX43232" fmla="*/ 4350974 w 8079933"/>
              <a:gd name="connsiteY43232" fmla="*/ 1181015 h 4687251"/>
              <a:gd name="connsiteX43233" fmla="*/ 4349563 w 8079933"/>
              <a:gd name="connsiteY43233" fmla="*/ 1183723 h 4687251"/>
              <a:gd name="connsiteX43234" fmla="*/ 4346633 w 8079933"/>
              <a:gd name="connsiteY43234" fmla="*/ 1192059 h 4687251"/>
              <a:gd name="connsiteX43235" fmla="*/ 4347718 w 8079933"/>
              <a:gd name="connsiteY43235" fmla="*/ 1195415 h 4687251"/>
              <a:gd name="connsiteX43236" fmla="*/ 4341967 w 8079933"/>
              <a:gd name="connsiteY43236" fmla="*/ 1196498 h 4687251"/>
              <a:gd name="connsiteX43237" fmla="*/ 4346633 w 8079933"/>
              <a:gd name="connsiteY43237" fmla="*/ 1200180 h 4687251"/>
              <a:gd name="connsiteX43238" fmla="*/ 4350431 w 8079933"/>
              <a:gd name="connsiteY43238" fmla="*/ 1200829 h 4687251"/>
              <a:gd name="connsiteX43239" fmla="*/ 4351951 w 8079933"/>
              <a:gd name="connsiteY43239" fmla="*/ 1203860 h 4687251"/>
              <a:gd name="connsiteX43240" fmla="*/ 4349021 w 8079933"/>
              <a:gd name="connsiteY43240" fmla="*/ 1204943 h 4687251"/>
              <a:gd name="connsiteX43241" fmla="*/ 4351734 w 8079933"/>
              <a:gd name="connsiteY43241" fmla="*/ 1208733 h 4687251"/>
              <a:gd name="connsiteX43242" fmla="*/ 4355206 w 8079933"/>
              <a:gd name="connsiteY43242" fmla="*/ 1208733 h 4687251"/>
              <a:gd name="connsiteX43243" fmla="*/ 4350431 w 8079933"/>
              <a:gd name="connsiteY43243" fmla="*/ 1214688 h 4687251"/>
              <a:gd name="connsiteX43244" fmla="*/ 4347393 w 8079933"/>
              <a:gd name="connsiteY43244" fmla="*/ 1214904 h 4687251"/>
              <a:gd name="connsiteX43245" fmla="*/ 4343920 w 8079933"/>
              <a:gd name="connsiteY43245" fmla="*/ 1219127 h 4687251"/>
              <a:gd name="connsiteX43246" fmla="*/ 4344680 w 8079933"/>
              <a:gd name="connsiteY43246" fmla="*/ 1226814 h 4687251"/>
              <a:gd name="connsiteX43247" fmla="*/ 4340013 w 8079933"/>
              <a:gd name="connsiteY43247" fmla="*/ 1234826 h 4687251"/>
              <a:gd name="connsiteX43248" fmla="*/ 4336867 w 8079933"/>
              <a:gd name="connsiteY43248" fmla="*/ 1234609 h 4687251"/>
              <a:gd name="connsiteX43249" fmla="*/ 4331984 w 8079933"/>
              <a:gd name="connsiteY43249" fmla="*/ 1239265 h 4687251"/>
              <a:gd name="connsiteX43250" fmla="*/ 4329487 w 8079933"/>
              <a:gd name="connsiteY43250" fmla="*/ 1236017 h 4687251"/>
              <a:gd name="connsiteX43251" fmla="*/ 4328728 w 8079933"/>
              <a:gd name="connsiteY43251" fmla="*/ 1240239 h 4687251"/>
              <a:gd name="connsiteX43252" fmla="*/ 4330573 w 8079933"/>
              <a:gd name="connsiteY43252" fmla="*/ 1244462 h 4687251"/>
              <a:gd name="connsiteX43253" fmla="*/ 4324821 w 8079933"/>
              <a:gd name="connsiteY43253" fmla="*/ 1247818 h 4687251"/>
              <a:gd name="connsiteX43254" fmla="*/ 4322434 w 8079933"/>
              <a:gd name="connsiteY43254" fmla="*/ 1252582 h 4687251"/>
              <a:gd name="connsiteX43255" fmla="*/ 4319504 w 8079933"/>
              <a:gd name="connsiteY43255" fmla="*/ 1252474 h 4687251"/>
              <a:gd name="connsiteX43256" fmla="*/ 4318962 w 8079933"/>
              <a:gd name="connsiteY43256" fmla="*/ 1249010 h 4687251"/>
              <a:gd name="connsiteX43257" fmla="*/ 4315381 w 8079933"/>
              <a:gd name="connsiteY43257" fmla="*/ 1249010 h 4687251"/>
              <a:gd name="connsiteX43258" fmla="*/ 4313210 w 8079933"/>
              <a:gd name="connsiteY43258" fmla="*/ 1253881 h 4687251"/>
              <a:gd name="connsiteX43259" fmla="*/ 4313210 w 8079933"/>
              <a:gd name="connsiteY43259" fmla="*/ 1259295 h 4687251"/>
              <a:gd name="connsiteX43260" fmla="*/ 4309954 w 8079933"/>
              <a:gd name="connsiteY43260" fmla="*/ 1262218 h 4687251"/>
              <a:gd name="connsiteX43261" fmla="*/ 4308001 w 8079933"/>
              <a:gd name="connsiteY43261" fmla="*/ 1259079 h 4687251"/>
              <a:gd name="connsiteX43262" fmla="*/ 4305939 w 8079933"/>
              <a:gd name="connsiteY43262" fmla="*/ 1259079 h 4687251"/>
              <a:gd name="connsiteX43263" fmla="*/ 4304746 w 8079933"/>
              <a:gd name="connsiteY43263" fmla="*/ 1264167 h 4687251"/>
              <a:gd name="connsiteX43264" fmla="*/ 4302576 w 8079933"/>
              <a:gd name="connsiteY43264" fmla="*/ 1264708 h 4687251"/>
              <a:gd name="connsiteX43265" fmla="*/ 4300513 w 8079933"/>
              <a:gd name="connsiteY43265" fmla="*/ 1262218 h 4687251"/>
              <a:gd name="connsiteX43266" fmla="*/ 4297258 w 8079933"/>
              <a:gd name="connsiteY43266" fmla="*/ 1265467 h 4687251"/>
              <a:gd name="connsiteX43267" fmla="*/ 4295847 w 8079933"/>
              <a:gd name="connsiteY43267" fmla="*/ 1269473 h 4687251"/>
              <a:gd name="connsiteX43268" fmla="*/ 4299103 w 8079933"/>
              <a:gd name="connsiteY43268" fmla="*/ 1270122 h 4687251"/>
              <a:gd name="connsiteX43269" fmla="*/ 4298777 w 8079933"/>
              <a:gd name="connsiteY43269" fmla="*/ 1272829 h 4687251"/>
              <a:gd name="connsiteX43270" fmla="*/ 4292267 w 8079933"/>
              <a:gd name="connsiteY43270" fmla="*/ 1278459 h 4687251"/>
              <a:gd name="connsiteX43271" fmla="*/ 4288034 w 8079933"/>
              <a:gd name="connsiteY43271" fmla="*/ 1277376 h 4687251"/>
              <a:gd name="connsiteX43272" fmla="*/ 4286841 w 8079933"/>
              <a:gd name="connsiteY43272" fmla="*/ 1279867 h 4687251"/>
              <a:gd name="connsiteX43273" fmla="*/ 4288794 w 8079933"/>
              <a:gd name="connsiteY43273" fmla="*/ 1283981 h 4687251"/>
              <a:gd name="connsiteX43274" fmla="*/ 4284887 w 8079933"/>
              <a:gd name="connsiteY43274" fmla="*/ 1289719 h 4687251"/>
              <a:gd name="connsiteX43275" fmla="*/ 4277942 w 8079933"/>
              <a:gd name="connsiteY43275" fmla="*/ 1290910 h 4687251"/>
              <a:gd name="connsiteX43276" fmla="*/ 4274144 w 8079933"/>
              <a:gd name="connsiteY43276" fmla="*/ 1289611 h 4687251"/>
              <a:gd name="connsiteX43277" fmla="*/ 4279678 w 8079933"/>
              <a:gd name="connsiteY43277" fmla="*/ 1296540 h 4687251"/>
              <a:gd name="connsiteX43278" fmla="*/ 4280330 w 8079933"/>
              <a:gd name="connsiteY43278" fmla="*/ 1302495 h 4687251"/>
              <a:gd name="connsiteX43279" fmla="*/ 4279027 w 8079933"/>
              <a:gd name="connsiteY43279" fmla="*/ 1304227 h 4687251"/>
              <a:gd name="connsiteX43280" fmla="*/ 4279895 w 8079933"/>
              <a:gd name="connsiteY43280" fmla="*/ 1309640 h 4687251"/>
              <a:gd name="connsiteX43281" fmla="*/ 4278702 w 8079933"/>
              <a:gd name="connsiteY43281" fmla="*/ 1316678 h 4687251"/>
              <a:gd name="connsiteX43282" fmla="*/ 4282283 w 8079933"/>
              <a:gd name="connsiteY43282" fmla="*/ 1320468 h 4687251"/>
              <a:gd name="connsiteX43283" fmla="*/ 4281740 w 8079933"/>
              <a:gd name="connsiteY43283" fmla="*/ 1325123 h 4687251"/>
              <a:gd name="connsiteX43284" fmla="*/ 4278702 w 8079933"/>
              <a:gd name="connsiteY43284" fmla="*/ 1322417 h 4687251"/>
              <a:gd name="connsiteX43285" fmla="*/ 4277617 w 8079933"/>
              <a:gd name="connsiteY43285" fmla="*/ 1323932 h 4687251"/>
              <a:gd name="connsiteX43286" fmla="*/ 4279027 w 8079933"/>
              <a:gd name="connsiteY43286" fmla="*/ 1330970 h 4687251"/>
              <a:gd name="connsiteX43287" fmla="*/ 4275447 w 8079933"/>
              <a:gd name="connsiteY43287" fmla="*/ 1335409 h 4687251"/>
              <a:gd name="connsiteX43288" fmla="*/ 4279027 w 8079933"/>
              <a:gd name="connsiteY43288" fmla="*/ 1336925 h 4687251"/>
              <a:gd name="connsiteX43289" fmla="*/ 4279027 w 8079933"/>
              <a:gd name="connsiteY43289" fmla="*/ 1339740 h 4687251"/>
              <a:gd name="connsiteX43290" fmla="*/ 4276857 w 8079933"/>
              <a:gd name="connsiteY43290" fmla="*/ 1341039 h 4687251"/>
              <a:gd name="connsiteX43291" fmla="*/ 4279353 w 8079933"/>
              <a:gd name="connsiteY43291" fmla="*/ 1346236 h 4687251"/>
              <a:gd name="connsiteX43292" fmla="*/ 4276097 w 8079933"/>
              <a:gd name="connsiteY43292" fmla="*/ 1350458 h 4687251"/>
              <a:gd name="connsiteX43293" fmla="*/ 4278810 w 8079933"/>
              <a:gd name="connsiteY43293" fmla="*/ 1353274 h 4687251"/>
              <a:gd name="connsiteX43294" fmla="*/ 4281198 w 8079933"/>
              <a:gd name="connsiteY43294" fmla="*/ 1356955 h 4687251"/>
              <a:gd name="connsiteX43295" fmla="*/ 4284453 w 8079933"/>
              <a:gd name="connsiteY43295" fmla="*/ 1357605 h 4687251"/>
              <a:gd name="connsiteX43296" fmla="*/ 4284453 w 8079933"/>
              <a:gd name="connsiteY43296" fmla="*/ 1362152 h 4687251"/>
              <a:gd name="connsiteX43297" fmla="*/ 4286841 w 8079933"/>
              <a:gd name="connsiteY43297" fmla="*/ 1360745 h 4687251"/>
              <a:gd name="connsiteX43298" fmla="*/ 4289336 w 8079933"/>
              <a:gd name="connsiteY43298" fmla="*/ 1365075 h 4687251"/>
              <a:gd name="connsiteX43299" fmla="*/ 4293460 w 8079933"/>
              <a:gd name="connsiteY43299" fmla="*/ 1359986 h 4687251"/>
              <a:gd name="connsiteX43300" fmla="*/ 4296716 w 8079933"/>
              <a:gd name="connsiteY43300" fmla="*/ 1362693 h 4687251"/>
              <a:gd name="connsiteX43301" fmla="*/ 4297801 w 8079933"/>
              <a:gd name="connsiteY43301" fmla="*/ 1366807 h 4687251"/>
              <a:gd name="connsiteX43302" fmla="*/ 4306374 w 8079933"/>
              <a:gd name="connsiteY43302" fmla="*/ 1373304 h 4687251"/>
              <a:gd name="connsiteX43303" fmla="*/ 4305071 w 8079933"/>
              <a:gd name="connsiteY43303" fmla="*/ 1376011 h 4687251"/>
              <a:gd name="connsiteX43304" fmla="*/ 4312125 w 8079933"/>
              <a:gd name="connsiteY43304" fmla="*/ 1380233 h 4687251"/>
              <a:gd name="connsiteX43305" fmla="*/ 4312125 w 8079933"/>
              <a:gd name="connsiteY43305" fmla="*/ 1383806 h 4687251"/>
              <a:gd name="connsiteX43306" fmla="*/ 4316791 w 8079933"/>
              <a:gd name="connsiteY43306" fmla="*/ 1388353 h 4687251"/>
              <a:gd name="connsiteX43307" fmla="*/ 4313752 w 8079933"/>
              <a:gd name="connsiteY43307" fmla="*/ 1395608 h 4687251"/>
              <a:gd name="connsiteX43308" fmla="*/ 4307784 w 8079933"/>
              <a:gd name="connsiteY43308" fmla="*/ 1401996 h 4687251"/>
              <a:gd name="connsiteX43309" fmla="*/ 4306156 w 8079933"/>
              <a:gd name="connsiteY43309" fmla="*/ 1406868 h 4687251"/>
              <a:gd name="connsiteX43310" fmla="*/ 4299645 w 8079933"/>
              <a:gd name="connsiteY43310" fmla="*/ 1408492 h 4687251"/>
              <a:gd name="connsiteX43311" fmla="*/ 4295739 w 8079933"/>
              <a:gd name="connsiteY43311" fmla="*/ 1406326 h 4687251"/>
              <a:gd name="connsiteX43312" fmla="*/ 4296173 w 8079933"/>
              <a:gd name="connsiteY43312" fmla="*/ 1403294 h 4687251"/>
              <a:gd name="connsiteX43313" fmla="*/ 4290747 w 8079933"/>
              <a:gd name="connsiteY43313" fmla="*/ 1401346 h 4687251"/>
              <a:gd name="connsiteX43314" fmla="*/ 4288468 w 8079933"/>
              <a:gd name="connsiteY43314" fmla="*/ 1398964 h 4687251"/>
              <a:gd name="connsiteX43315" fmla="*/ 4288251 w 8079933"/>
              <a:gd name="connsiteY43315" fmla="*/ 1401887 h 4687251"/>
              <a:gd name="connsiteX43316" fmla="*/ 4285321 w 8079933"/>
              <a:gd name="connsiteY43316" fmla="*/ 1401996 h 4687251"/>
              <a:gd name="connsiteX43317" fmla="*/ 4283368 w 8079933"/>
              <a:gd name="connsiteY43317" fmla="*/ 1399830 h 4687251"/>
              <a:gd name="connsiteX43318" fmla="*/ 4279245 w 8079933"/>
              <a:gd name="connsiteY43318" fmla="*/ 1398964 h 4687251"/>
              <a:gd name="connsiteX43319" fmla="*/ 4277617 w 8079933"/>
              <a:gd name="connsiteY43319" fmla="*/ 1401996 h 4687251"/>
              <a:gd name="connsiteX43320" fmla="*/ 4273927 w 8079933"/>
              <a:gd name="connsiteY43320" fmla="*/ 1403078 h 4687251"/>
              <a:gd name="connsiteX43321" fmla="*/ 4271974 w 8079933"/>
              <a:gd name="connsiteY43321" fmla="*/ 1401129 h 4687251"/>
              <a:gd name="connsiteX43322" fmla="*/ 4268501 w 8079933"/>
              <a:gd name="connsiteY43322" fmla="*/ 1405677 h 4687251"/>
              <a:gd name="connsiteX43323" fmla="*/ 4264594 w 8079933"/>
              <a:gd name="connsiteY43323" fmla="*/ 1403620 h 4687251"/>
              <a:gd name="connsiteX43324" fmla="*/ 4261122 w 8079933"/>
              <a:gd name="connsiteY43324" fmla="*/ 1405135 h 4687251"/>
              <a:gd name="connsiteX43325" fmla="*/ 4261340 w 8079933"/>
              <a:gd name="connsiteY43325" fmla="*/ 1406868 h 4687251"/>
              <a:gd name="connsiteX43326" fmla="*/ 4268501 w 8079933"/>
              <a:gd name="connsiteY43326" fmla="*/ 1407625 h 4687251"/>
              <a:gd name="connsiteX43327" fmla="*/ 4270346 w 8079933"/>
              <a:gd name="connsiteY43327" fmla="*/ 1409033 h 4687251"/>
              <a:gd name="connsiteX43328" fmla="*/ 4270889 w 8079933"/>
              <a:gd name="connsiteY43328" fmla="*/ 1406759 h 4687251"/>
              <a:gd name="connsiteX43329" fmla="*/ 4277183 w 8079933"/>
              <a:gd name="connsiteY43329" fmla="*/ 1406543 h 4687251"/>
              <a:gd name="connsiteX43330" fmla="*/ 4280330 w 8079933"/>
              <a:gd name="connsiteY43330" fmla="*/ 1408492 h 4687251"/>
              <a:gd name="connsiteX43331" fmla="*/ 4285321 w 8079933"/>
              <a:gd name="connsiteY43331" fmla="*/ 1409466 h 4687251"/>
              <a:gd name="connsiteX43332" fmla="*/ 4288468 w 8079933"/>
              <a:gd name="connsiteY43332" fmla="*/ 1413580 h 4687251"/>
              <a:gd name="connsiteX43333" fmla="*/ 4292267 w 8079933"/>
              <a:gd name="connsiteY43333" fmla="*/ 1411415 h 4687251"/>
              <a:gd name="connsiteX43334" fmla="*/ 4294545 w 8079933"/>
              <a:gd name="connsiteY43334" fmla="*/ 1412498 h 4687251"/>
              <a:gd name="connsiteX43335" fmla="*/ 4298777 w 8079933"/>
              <a:gd name="connsiteY43335" fmla="*/ 1410224 h 4687251"/>
              <a:gd name="connsiteX43336" fmla="*/ 4304529 w 8079933"/>
              <a:gd name="connsiteY43336" fmla="*/ 1411740 h 4687251"/>
              <a:gd name="connsiteX43337" fmla="*/ 4307459 w 8079933"/>
              <a:gd name="connsiteY43337" fmla="*/ 1414338 h 4687251"/>
              <a:gd name="connsiteX43338" fmla="*/ 4308001 w 8079933"/>
              <a:gd name="connsiteY43338" fmla="*/ 1418777 h 4687251"/>
              <a:gd name="connsiteX43339" fmla="*/ 4304746 w 8079933"/>
              <a:gd name="connsiteY43339" fmla="*/ 1421484 h 4687251"/>
              <a:gd name="connsiteX43340" fmla="*/ 4301490 w 8079933"/>
              <a:gd name="connsiteY43340" fmla="*/ 1421484 h 4687251"/>
              <a:gd name="connsiteX43341" fmla="*/ 4297258 w 8079933"/>
              <a:gd name="connsiteY43341" fmla="*/ 1427872 h 4687251"/>
              <a:gd name="connsiteX43342" fmla="*/ 4294545 w 8079933"/>
              <a:gd name="connsiteY43342" fmla="*/ 1427655 h 4687251"/>
              <a:gd name="connsiteX43343" fmla="*/ 4295522 w 8079933"/>
              <a:gd name="connsiteY43343" fmla="*/ 1423325 h 4687251"/>
              <a:gd name="connsiteX43344" fmla="*/ 4293894 w 8079933"/>
              <a:gd name="connsiteY43344" fmla="*/ 1421159 h 4687251"/>
              <a:gd name="connsiteX43345" fmla="*/ 4292049 w 8079933"/>
              <a:gd name="connsiteY43345" fmla="*/ 1423650 h 4687251"/>
              <a:gd name="connsiteX43346" fmla="*/ 4292809 w 8079933"/>
              <a:gd name="connsiteY43346" fmla="*/ 1426789 h 4687251"/>
              <a:gd name="connsiteX43347" fmla="*/ 4289554 w 8079933"/>
              <a:gd name="connsiteY43347" fmla="*/ 1427114 h 4687251"/>
              <a:gd name="connsiteX43348" fmla="*/ 4286298 w 8079933"/>
              <a:gd name="connsiteY43348" fmla="*/ 1430687 h 4687251"/>
              <a:gd name="connsiteX43349" fmla="*/ 4285756 w 8079933"/>
              <a:gd name="connsiteY43349" fmla="*/ 1435559 h 4687251"/>
              <a:gd name="connsiteX43350" fmla="*/ 4281740 w 8079933"/>
              <a:gd name="connsiteY43350" fmla="*/ 1432528 h 4687251"/>
              <a:gd name="connsiteX43351" fmla="*/ 4281958 w 8079933"/>
              <a:gd name="connsiteY43351" fmla="*/ 1435559 h 4687251"/>
              <a:gd name="connsiteX43352" fmla="*/ 4279245 w 8079933"/>
              <a:gd name="connsiteY43352" fmla="*/ 1438158 h 4687251"/>
              <a:gd name="connsiteX43353" fmla="*/ 4278485 w 8079933"/>
              <a:gd name="connsiteY43353" fmla="*/ 1437075 h 4687251"/>
              <a:gd name="connsiteX43354" fmla="*/ 4275989 w 8079933"/>
              <a:gd name="connsiteY43354" fmla="*/ 1437075 h 4687251"/>
              <a:gd name="connsiteX43355" fmla="*/ 4273276 w 8079933"/>
              <a:gd name="connsiteY43355" fmla="*/ 1440323 h 4687251"/>
              <a:gd name="connsiteX43356" fmla="*/ 4277183 w 8079933"/>
              <a:gd name="connsiteY43356" fmla="*/ 1440865 h 4687251"/>
              <a:gd name="connsiteX43357" fmla="*/ 4281958 w 8079933"/>
              <a:gd name="connsiteY43357" fmla="*/ 1445737 h 4687251"/>
              <a:gd name="connsiteX43358" fmla="*/ 4273059 w 8079933"/>
              <a:gd name="connsiteY43358" fmla="*/ 1446061 h 4687251"/>
              <a:gd name="connsiteX43359" fmla="*/ 4280113 w 8079933"/>
              <a:gd name="connsiteY43359" fmla="*/ 1448552 h 4687251"/>
              <a:gd name="connsiteX43360" fmla="*/ 4280438 w 8079933"/>
              <a:gd name="connsiteY43360" fmla="*/ 1451475 h 4687251"/>
              <a:gd name="connsiteX43361" fmla="*/ 4277942 w 8079933"/>
              <a:gd name="connsiteY43361" fmla="*/ 1456889 h 4687251"/>
              <a:gd name="connsiteX43362" fmla="*/ 4283043 w 8079933"/>
              <a:gd name="connsiteY43362" fmla="*/ 1461544 h 4687251"/>
              <a:gd name="connsiteX43363" fmla="*/ 4277400 w 8079933"/>
              <a:gd name="connsiteY43363" fmla="*/ 1462627 h 4687251"/>
              <a:gd name="connsiteX43364" fmla="*/ 4272191 w 8079933"/>
              <a:gd name="connsiteY43364" fmla="*/ 1460678 h 4687251"/>
              <a:gd name="connsiteX43365" fmla="*/ 4275012 w 8079933"/>
              <a:gd name="connsiteY43365" fmla="*/ 1465226 h 4687251"/>
              <a:gd name="connsiteX43366" fmla="*/ 4272734 w 8079933"/>
              <a:gd name="connsiteY43366" fmla="*/ 1469340 h 4687251"/>
              <a:gd name="connsiteX43367" fmla="*/ 4277942 w 8079933"/>
              <a:gd name="connsiteY43367" fmla="*/ 1472587 h 4687251"/>
              <a:gd name="connsiteX43368" fmla="*/ 4273819 w 8079933"/>
              <a:gd name="connsiteY43368" fmla="*/ 1476377 h 4687251"/>
              <a:gd name="connsiteX43369" fmla="*/ 4277617 w 8079933"/>
              <a:gd name="connsiteY43369" fmla="*/ 1481250 h 4687251"/>
              <a:gd name="connsiteX43370" fmla="*/ 4273602 w 8079933"/>
              <a:gd name="connsiteY43370" fmla="*/ 1485797 h 4687251"/>
              <a:gd name="connsiteX43371" fmla="*/ 4273059 w 8079933"/>
              <a:gd name="connsiteY43371" fmla="*/ 1490669 h 4687251"/>
              <a:gd name="connsiteX43372" fmla="*/ 4277183 w 8079933"/>
              <a:gd name="connsiteY43372" fmla="*/ 1494242 h 4687251"/>
              <a:gd name="connsiteX43373" fmla="*/ 4275012 w 8079933"/>
              <a:gd name="connsiteY43373" fmla="*/ 1498031 h 4687251"/>
              <a:gd name="connsiteX43374" fmla="*/ 4274144 w 8079933"/>
              <a:gd name="connsiteY43374" fmla="*/ 1509725 h 4687251"/>
              <a:gd name="connsiteX43375" fmla="*/ 4270346 w 8079933"/>
              <a:gd name="connsiteY43375" fmla="*/ 1513731 h 4687251"/>
              <a:gd name="connsiteX43376" fmla="*/ 4268719 w 8079933"/>
              <a:gd name="connsiteY43376" fmla="*/ 1523150 h 4687251"/>
              <a:gd name="connsiteX43377" fmla="*/ 4263510 w 8079933"/>
              <a:gd name="connsiteY43377" fmla="*/ 1529430 h 4687251"/>
              <a:gd name="connsiteX43378" fmla="*/ 4260905 w 8079933"/>
              <a:gd name="connsiteY43378" fmla="*/ 1526182 h 4687251"/>
              <a:gd name="connsiteX43379" fmla="*/ 4256565 w 8079933"/>
              <a:gd name="connsiteY43379" fmla="*/ 1524233 h 4687251"/>
              <a:gd name="connsiteX43380" fmla="*/ 4251356 w 8079933"/>
              <a:gd name="connsiteY43380" fmla="*/ 1527048 h 4687251"/>
              <a:gd name="connsiteX43381" fmla="*/ 4242675 w 8079933"/>
              <a:gd name="connsiteY43381" fmla="*/ 1525641 h 4687251"/>
              <a:gd name="connsiteX43382" fmla="*/ 4241372 w 8079933"/>
              <a:gd name="connsiteY43382" fmla="*/ 1522176 h 4687251"/>
              <a:gd name="connsiteX43383" fmla="*/ 4239745 w 8079933"/>
              <a:gd name="connsiteY43383" fmla="*/ 1529754 h 4687251"/>
              <a:gd name="connsiteX43384" fmla="*/ 4232365 w 8079933"/>
              <a:gd name="connsiteY43384" fmla="*/ 1530729 h 4687251"/>
              <a:gd name="connsiteX43385" fmla="*/ 4229110 w 8079933"/>
              <a:gd name="connsiteY43385" fmla="*/ 1538416 h 4687251"/>
              <a:gd name="connsiteX43386" fmla="*/ 4231823 w 8079933"/>
              <a:gd name="connsiteY43386" fmla="*/ 1540798 h 4687251"/>
              <a:gd name="connsiteX43387" fmla="*/ 4232149 w 8079933"/>
              <a:gd name="connsiteY43387" fmla="*/ 1544588 h 4687251"/>
              <a:gd name="connsiteX43388" fmla="*/ 4227483 w 8079933"/>
              <a:gd name="connsiteY43388" fmla="*/ 1548919 h 4687251"/>
              <a:gd name="connsiteX43389" fmla="*/ 4221514 w 8079933"/>
              <a:gd name="connsiteY43389" fmla="*/ 1546753 h 4687251"/>
              <a:gd name="connsiteX43390" fmla="*/ 4209360 w 8079933"/>
              <a:gd name="connsiteY43390" fmla="*/ 1550002 h 4687251"/>
              <a:gd name="connsiteX43391" fmla="*/ 4204694 w 8079933"/>
              <a:gd name="connsiteY43391" fmla="*/ 1550002 h 4687251"/>
              <a:gd name="connsiteX43392" fmla="*/ 4202198 w 8079933"/>
              <a:gd name="connsiteY43392" fmla="*/ 1547619 h 4687251"/>
              <a:gd name="connsiteX43393" fmla="*/ 4204911 w 8079933"/>
              <a:gd name="connsiteY43393" fmla="*/ 1543288 h 4687251"/>
              <a:gd name="connsiteX43394" fmla="*/ 4202740 w 8079933"/>
              <a:gd name="connsiteY43394" fmla="*/ 1532137 h 4687251"/>
              <a:gd name="connsiteX43395" fmla="*/ 4197857 w 8079933"/>
              <a:gd name="connsiteY43395" fmla="*/ 1530729 h 4687251"/>
              <a:gd name="connsiteX43396" fmla="*/ 4197097 w 8079933"/>
              <a:gd name="connsiteY43396" fmla="*/ 1526398 h 4687251"/>
              <a:gd name="connsiteX43397" fmla="*/ 4193842 w 8079933"/>
              <a:gd name="connsiteY43397" fmla="*/ 1524341 h 4687251"/>
              <a:gd name="connsiteX43398" fmla="*/ 4194710 w 8079933"/>
              <a:gd name="connsiteY43398" fmla="*/ 1521851 h 4687251"/>
              <a:gd name="connsiteX43399" fmla="*/ 4200678 w 8079933"/>
              <a:gd name="connsiteY43399" fmla="*/ 1521093 h 4687251"/>
              <a:gd name="connsiteX43400" fmla="*/ 4204151 w 8079933"/>
              <a:gd name="connsiteY43400" fmla="*/ 1514597 h 4687251"/>
              <a:gd name="connsiteX43401" fmla="*/ 4202740 w 8079933"/>
              <a:gd name="connsiteY43401" fmla="*/ 1508858 h 4687251"/>
              <a:gd name="connsiteX43402" fmla="*/ 4197640 w 8079933"/>
              <a:gd name="connsiteY43402" fmla="*/ 1511782 h 4687251"/>
              <a:gd name="connsiteX43403" fmla="*/ 4193082 w 8079933"/>
              <a:gd name="connsiteY43403" fmla="*/ 1507235 h 4687251"/>
              <a:gd name="connsiteX43404" fmla="*/ 4191889 w 8079933"/>
              <a:gd name="connsiteY43404" fmla="*/ 1502687 h 4687251"/>
              <a:gd name="connsiteX43405" fmla="*/ 4187006 w 8079933"/>
              <a:gd name="connsiteY43405" fmla="*/ 1500738 h 4687251"/>
              <a:gd name="connsiteX43406" fmla="*/ 4186463 w 8079933"/>
              <a:gd name="connsiteY43406" fmla="*/ 1494025 h 4687251"/>
              <a:gd name="connsiteX43407" fmla="*/ 4182122 w 8079933"/>
              <a:gd name="connsiteY43407" fmla="*/ 1485256 h 4687251"/>
              <a:gd name="connsiteX43408" fmla="*/ 4179952 w 8079933"/>
              <a:gd name="connsiteY43408" fmla="*/ 1483415 h 4687251"/>
              <a:gd name="connsiteX43409" fmla="*/ 4177565 w 8079933"/>
              <a:gd name="connsiteY43409" fmla="*/ 1477244 h 4687251"/>
              <a:gd name="connsiteX43410" fmla="*/ 4173549 w 8079933"/>
              <a:gd name="connsiteY43410" fmla="*/ 1476269 h 4687251"/>
              <a:gd name="connsiteX43411" fmla="*/ 4170837 w 8079933"/>
              <a:gd name="connsiteY43411" fmla="*/ 1472371 h 4687251"/>
              <a:gd name="connsiteX43412" fmla="*/ 4173115 w 8079933"/>
              <a:gd name="connsiteY43412" fmla="*/ 1470097 h 4687251"/>
              <a:gd name="connsiteX43413" fmla="*/ 4173658 w 8079933"/>
              <a:gd name="connsiteY43413" fmla="*/ 1464901 h 4687251"/>
              <a:gd name="connsiteX43414" fmla="*/ 4172247 w 8079933"/>
              <a:gd name="connsiteY43414" fmla="*/ 1461220 h 4687251"/>
              <a:gd name="connsiteX43415" fmla="*/ 4173115 w 8079933"/>
              <a:gd name="connsiteY43415" fmla="*/ 1457430 h 4687251"/>
              <a:gd name="connsiteX43416" fmla="*/ 4177890 w 8079933"/>
              <a:gd name="connsiteY43416" fmla="*/ 1453532 h 4687251"/>
              <a:gd name="connsiteX43417" fmla="*/ 4176588 w 8079933"/>
              <a:gd name="connsiteY43417" fmla="*/ 1450934 h 4687251"/>
              <a:gd name="connsiteX43418" fmla="*/ 4172573 w 8079933"/>
              <a:gd name="connsiteY43418" fmla="*/ 1448660 h 4687251"/>
              <a:gd name="connsiteX43419" fmla="*/ 4173658 w 8079933"/>
              <a:gd name="connsiteY43419" fmla="*/ 1446278 h 4687251"/>
              <a:gd name="connsiteX43420" fmla="*/ 4171379 w 8079933"/>
              <a:gd name="connsiteY43420" fmla="*/ 1446170 h 4687251"/>
              <a:gd name="connsiteX43421" fmla="*/ 4170837 w 8079933"/>
              <a:gd name="connsiteY43421" fmla="*/ 1449851 h 4687251"/>
              <a:gd name="connsiteX43422" fmla="*/ 4174092 w 8079933"/>
              <a:gd name="connsiteY43422" fmla="*/ 1453316 h 4687251"/>
              <a:gd name="connsiteX43423" fmla="*/ 4168775 w 8079933"/>
              <a:gd name="connsiteY43423" fmla="*/ 1455589 h 4687251"/>
              <a:gd name="connsiteX43424" fmla="*/ 4169534 w 8079933"/>
              <a:gd name="connsiteY43424" fmla="*/ 1450501 h 4687251"/>
              <a:gd name="connsiteX43425" fmla="*/ 4168232 w 8079933"/>
              <a:gd name="connsiteY43425" fmla="*/ 1448768 h 4687251"/>
              <a:gd name="connsiteX43426" fmla="*/ 4164868 w 8079933"/>
              <a:gd name="connsiteY43426" fmla="*/ 1446928 h 4687251"/>
              <a:gd name="connsiteX43427" fmla="*/ 4164435 w 8079933"/>
              <a:gd name="connsiteY43427" fmla="*/ 1439240 h 4687251"/>
              <a:gd name="connsiteX43428" fmla="*/ 4162481 w 8079933"/>
              <a:gd name="connsiteY43428" fmla="*/ 1436426 h 4687251"/>
              <a:gd name="connsiteX43429" fmla="*/ 4161613 w 8079933"/>
              <a:gd name="connsiteY43429" fmla="*/ 1426140 h 4687251"/>
              <a:gd name="connsiteX43430" fmla="*/ 4165303 w 8079933"/>
              <a:gd name="connsiteY43430" fmla="*/ 1423975 h 4687251"/>
              <a:gd name="connsiteX43431" fmla="*/ 4165736 w 8079933"/>
              <a:gd name="connsiteY43431" fmla="*/ 1423541 h 4687251"/>
              <a:gd name="connsiteX43432" fmla="*/ 4168666 w 8079933"/>
              <a:gd name="connsiteY43432" fmla="*/ 1425490 h 4687251"/>
              <a:gd name="connsiteX43433" fmla="*/ 4171379 w 8079933"/>
              <a:gd name="connsiteY43433" fmla="*/ 1430363 h 4687251"/>
              <a:gd name="connsiteX43434" fmla="*/ 4173984 w 8079933"/>
              <a:gd name="connsiteY43434" fmla="*/ 1425490 h 4687251"/>
              <a:gd name="connsiteX43435" fmla="*/ 4173984 w 8079933"/>
              <a:gd name="connsiteY43435" fmla="*/ 1425489 h 4687251"/>
              <a:gd name="connsiteX43436" fmla="*/ 4171379 w 8079933"/>
              <a:gd name="connsiteY43436" fmla="*/ 1430362 h 4687251"/>
              <a:gd name="connsiteX43437" fmla="*/ 4168666 w 8079933"/>
              <a:gd name="connsiteY43437" fmla="*/ 1425489 h 4687251"/>
              <a:gd name="connsiteX43438" fmla="*/ 4165736 w 8079933"/>
              <a:gd name="connsiteY43438" fmla="*/ 1423540 h 4687251"/>
              <a:gd name="connsiteX43439" fmla="*/ 4167147 w 8079933"/>
              <a:gd name="connsiteY43439" fmla="*/ 1421700 h 4687251"/>
              <a:gd name="connsiteX43440" fmla="*/ 4164760 w 8079933"/>
              <a:gd name="connsiteY43440" fmla="*/ 1419642 h 4687251"/>
              <a:gd name="connsiteX43441" fmla="*/ 4159117 w 8079933"/>
              <a:gd name="connsiteY43441" fmla="*/ 1420184 h 4687251"/>
              <a:gd name="connsiteX43442" fmla="*/ 4154125 w 8079933"/>
              <a:gd name="connsiteY43442" fmla="*/ 1415095 h 4687251"/>
              <a:gd name="connsiteX43443" fmla="*/ 4153365 w 8079933"/>
              <a:gd name="connsiteY43443" fmla="*/ 1411956 h 4687251"/>
              <a:gd name="connsiteX43444" fmla="*/ 4150652 w 8079933"/>
              <a:gd name="connsiteY43444" fmla="*/ 1407624 h 4687251"/>
              <a:gd name="connsiteX43445" fmla="*/ 4151629 w 8079933"/>
              <a:gd name="connsiteY43445" fmla="*/ 1403727 h 4687251"/>
              <a:gd name="connsiteX43446" fmla="*/ 4150761 w 8079933"/>
              <a:gd name="connsiteY43446" fmla="*/ 1398097 h 4687251"/>
              <a:gd name="connsiteX43447" fmla="*/ 4153474 w 8079933"/>
              <a:gd name="connsiteY43447" fmla="*/ 1393766 h 4687251"/>
              <a:gd name="connsiteX43448" fmla="*/ 4150110 w 8079933"/>
              <a:gd name="connsiteY43448" fmla="*/ 1390410 h 4687251"/>
              <a:gd name="connsiteX43449" fmla="*/ 4146529 w 8079933"/>
              <a:gd name="connsiteY43449" fmla="*/ 1393116 h 4687251"/>
              <a:gd name="connsiteX43450" fmla="*/ 4146311 w 8079933"/>
              <a:gd name="connsiteY43450" fmla="*/ 1397556 h 4687251"/>
              <a:gd name="connsiteX43451" fmla="*/ 4148808 w 8079933"/>
              <a:gd name="connsiteY43451" fmla="*/ 1400371 h 4687251"/>
              <a:gd name="connsiteX43452" fmla="*/ 4146963 w 8079933"/>
              <a:gd name="connsiteY43452" fmla="*/ 1402536 h 4687251"/>
              <a:gd name="connsiteX43453" fmla="*/ 4144684 w 8079933"/>
              <a:gd name="connsiteY43453" fmla="*/ 1402752 h 4687251"/>
              <a:gd name="connsiteX43454" fmla="*/ 4144250 w 8079933"/>
              <a:gd name="connsiteY43454" fmla="*/ 1404810 h 4687251"/>
              <a:gd name="connsiteX43455" fmla="*/ 4142080 w 8079933"/>
              <a:gd name="connsiteY43455" fmla="*/ 1406217 h 4687251"/>
              <a:gd name="connsiteX43456" fmla="*/ 4143707 w 8079933"/>
              <a:gd name="connsiteY43456" fmla="*/ 1408924 h 4687251"/>
              <a:gd name="connsiteX43457" fmla="*/ 4146855 w 8079933"/>
              <a:gd name="connsiteY43457" fmla="*/ 1410223 h 4687251"/>
              <a:gd name="connsiteX43458" fmla="*/ 4148374 w 8079933"/>
              <a:gd name="connsiteY43458" fmla="*/ 1414771 h 4687251"/>
              <a:gd name="connsiteX43459" fmla="*/ 4146746 w 8079933"/>
              <a:gd name="connsiteY43459" fmla="*/ 1419968 h 4687251"/>
              <a:gd name="connsiteX43460" fmla="*/ 4140886 w 8079933"/>
              <a:gd name="connsiteY43460" fmla="*/ 1425489 h 4687251"/>
              <a:gd name="connsiteX43461" fmla="*/ 4140669 w 8079933"/>
              <a:gd name="connsiteY43461" fmla="*/ 1423757 h 4687251"/>
              <a:gd name="connsiteX43462" fmla="*/ 4136762 w 8079933"/>
              <a:gd name="connsiteY43462" fmla="*/ 1420401 h 4687251"/>
              <a:gd name="connsiteX43463" fmla="*/ 4135134 w 8079933"/>
              <a:gd name="connsiteY43463" fmla="*/ 1423324 h 4687251"/>
              <a:gd name="connsiteX43464" fmla="*/ 4137197 w 8079933"/>
              <a:gd name="connsiteY43464" fmla="*/ 1424948 h 4687251"/>
              <a:gd name="connsiteX43465" fmla="*/ 4138390 w 8079933"/>
              <a:gd name="connsiteY43465" fmla="*/ 1427546 h 4687251"/>
              <a:gd name="connsiteX43466" fmla="*/ 4133832 w 8079933"/>
              <a:gd name="connsiteY43466" fmla="*/ 1429603 h 4687251"/>
              <a:gd name="connsiteX43467" fmla="*/ 4131662 w 8079933"/>
              <a:gd name="connsiteY43467" fmla="*/ 1426789 h 4687251"/>
              <a:gd name="connsiteX43468" fmla="*/ 4132313 w 8079933"/>
              <a:gd name="connsiteY43468" fmla="*/ 1424190 h 4687251"/>
              <a:gd name="connsiteX43469" fmla="*/ 4129383 w 8079933"/>
              <a:gd name="connsiteY43469" fmla="*/ 1423757 h 4687251"/>
              <a:gd name="connsiteX43470" fmla="*/ 4127756 w 8079933"/>
              <a:gd name="connsiteY43470" fmla="*/ 1421917 h 4687251"/>
              <a:gd name="connsiteX43471" fmla="*/ 4126019 w 8079933"/>
              <a:gd name="connsiteY43471" fmla="*/ 1415312 h 4687251"/>
              <a:gd name="connsiteX43472" fmla="*/ 4121461 w 8079933"/>
              <a:gd name="connsiteY43472" fmla="*/ 1410332 h 4687251"/>
              <a:gd name="connsiteX43473" fmla="*/ 4119074 w 8079933"/>
              <a:gd name="connsiteY43473" fmla="*/ 1408924 h 4687251"/>
              <a:gd name="connsiteX43474" fmla="*/ 4118965 w 8079933"/>
              <a:gd name="connsiteY43474" fmla="*/ 1412822 h 4687251"/>
              <a:gd name="connsiteX43475" fmla="*/ 4122981 w 8079933"/>
              <a:gd name="connsiteY43475" fmla="*/ 1415854 h 4687251"/>
              <a:gd name="connsiteX43476" fmla="*/ 4126345 w 8079933"/>
              <a:gd name="connsiteY43476" fmla="*/ 1420293 h 4687251"/>
              <a:gd name="connsiteX43477" fmla="*/ 4125043 w 8079933"/>
              <a:gd name="connsiteY43477" fmla="*/ 1423432 h 4687251"/>
              <a:gd name="connsiteX43478" fmla="*/ 4128732 w 8079933"/>
              <a:gd name="connsiteY43478" fmla="*/ 1428196 h 4687251"/>
              <a:gd name="connsiteX43479" fmla="*/ 4127756 w 8079933"/>
              <a:gd name="connsiteY43479" fmla="*/ 1431119 h 4687251"/>
              <a:gd name="connsiteX43480" fmla="*/ 4123849 w 8079933"/>
              <a:gd name="connsiteY43480" fmla="*/ 1431877 h 4687251"/>
              <a:gd name="connsiteX43481" fmla="*/ 4120159 w 8079933"/>
              <a:gd name="connsiteY43481" fmla="*/ 1434260 h 4687251"/>
              <a:gd name="connsiteX43482" fmla="*/ 4120702 w 8079933"/>
              <a:gd name="connsiteY43482" fmla="*/ 1437507 h 4687251"/>
              <a:gd name="connsiteX43483" fmla="*/ 4117664 w 8079933"/>
              <a:gd name="connsiteY43483" fmla="*/ 1439564 h 4687251"/>
              <a:gd name="connsiteX43484" fmla="*/ 4119074 w 8079933"/>
              <a:gd name="connsiteY43484" fmla="*/ 1441297 h 4687251"/>
              <a:gd name="connsiteX43485" fmla="*/ 4113974 w 8079933"/>
              <a:gd name="connsiteY43485" fmla="*/ 1446278 h 4687251"/>
              <a:gd name="connsiteX43486" fmla="*/ 4107680 w 8079933"/>
              <a:gd name="connsiteY43486" fmla="*/ 1442380 h 4687251"/>
              <a:gd name="connsiteX43487" fmla="*/ 4111261 w 8079933"/>
              <a:gd name="connsiteY43487" fmla="*/ 1446819 h 4687251"/>
              <a:gd name="connsiteX43488" fmla="*/ 4111695 w 8079933"/>
              <a:gd name="connsiteY43488" fmla="*/ 1449742 h 4687251"/>
              <a:gd name="connsiteX43489" fmla="*/ 4103448 w 8079933"/>
              <a:gd name="connsiteY43489" fmla="*/ 1457970 h 4687251"/>
              <a:gd name="connsiteX43490" fmla="*/ 4100518 w 8079933"/>
              <a:gd name="connsiteY43490" fmla="*/ 1457754 h 4687251"/>
              <a:gd name="connsiteX43491" fmla="*/ 4099324 w 8079933"/>
              <a:gd name="connsiteY43491" fmla="*/ 1454290 h 4687251"/>
              <a:gd name="connsiteX43492" fmla="*/ 4098347 w 8079933"/>
              <a:gd name="connsiteY43492" fmla="*/ 1454073 h 4687251"/>
              <a:gd name="connsiteX43493" fmla="*/ 4096286 w 8079933"/>
              <a:gd name="connsiteY43493" fmla="*/ 1456238 h 4687251"/>
              <a:gd name="connsiteX43494" fmla="*/ 4094115 w 8079933"/>
              <a:gd name="connsiteY43494" fmla="*/ 1456780 h 4687251"/>
              <a:gd name="connsiteX43495" fmla="*/ 4089232 w 8079933"/>
              <a:gd name="connsiteY43495" fmla="*/ 1461543 h 4687251"/>
              <a:gd name="connsiteX43496" fmla="*/ 4085108 w 8079933"/>
              <a:gd name="connsiteY43496" fmla="*/ 1463384 h 4687251"/>
              <a:gd name="connsiteX43497" fmla="*/ 4083263 w 8079933"/>
              <a:gd name="connsiteY43497" fmla="*/ 1462410 h 4687251"/>
              <a:gd name="connsiteX43498" fmla="*/ 4081093 w 8079933"/>
              <a:gd name="connsiteY43498" fmla="*/ 1465117 h 4687251"/>
              <a:gd name="connsiteX43499" fmla="*/ 4076319 w 8079933"/>
              <a:gd name="connsiteY43499" fmla="*/ 1459162 h 4687251"/>
              <a:gd name="connsiteX43500" fmla="*/ 4076861 w 8079933"/>
              <a:gd name="connsiteY43500" fmla="*/ 1457862 h 4687251"/>
              <a:gd name="connsiteX43501" fmla="*/ 4073823 w 8079933"/>
              <a:gd name="connsiteY43501" fmla="*/ 1455372 h 4687251"/>
              <a:gd name="connsiteX43502" fmla="*/ 4071001 w 8079933"/>
              <a:gd name="connsiteY43502" fmla="*/ 1455480 h 4687251"/>
              <a:gd name="connsiteX43503" fmla="*/ 4072412 w 8079933"/>
              <a:gd name="connsiteY43503" fmla="*/ 1460027 h 4687251"/>
              <a:gd name="connsiteX43504" fmla="*/ 4069264 w 8079933"/>
              <a:gd name="connsiteY43504" fmla="*/ 1461652 h 4687251"/>
              <a:gd name="connsiteX43505" fmla="*/ 4065793 w 8079933"/>
              <a:gd name="connsiteY43505" fmla="*/ 1458295 h 4687251"/>
              <a:gd name="connsiteX43506" fmla="*/ 4067963 w 8079933"/>
              <a:gd name="connsiteY43506" fmla="*/ 1457213 h 4687251"/>
              <a:gd name="connsiteX43507" fmla="*/ 4066878 w 8079933"/>
              <a:gd name="connsiteY43507" fmla="*/ 1454398 h 4687251"/>
              <a:gd name="connsiteX43508" fmla="*/ 4057871 w 8079933"/>
              <a:gd name="connsiteY43508" fmla="*/ 1450933 h 4687251"/>
              <a:gd name="connsiteX43509" fmla="*/ 4051359 w 8079933"/>
              <a:gd name="connsiteY43509" fmla="*/ 1445411 h 4687251"/>
              <a:gd name="connsiteX43510" fmla="*/ 4046477 w 8079933"/>
              <a:gd name="connsiteY43510" fmla="*/ 1444437 h 4687251"/>
              <a:gd name="connsiteX43511" fmla="*/ 4040508 w 8079933"/>
              <a:gd name="connsiteY43511" fmla="*/ 1434368 h 4687251"/>
              <a:gd name="connsiteX43512" fmla="*/ 4043004 w 8079933"/>
              <a:gd name="connsiteY43512" fmla="*/ 1431661 h 4687251"/>
              <a:gd name="connsiteX43513" fmla="*/ 4043004 w 8079933"/>
              <a:gd name="connsiteY43513" fmla="*/ 1427980 h 4687251"/>
              <a:gd name="connsiteX43514" fmla="*/ 4046585 w 8079933"/>
              <a:gd name="connsiteY43514" fmla="*/ 1427872 h 4687251"/>
              <a:gd name="connsiteX43515" fmla="*/ 4049298 w 8079933"/>
              <a:gd name="connsiteY43515" fmla="*/ 1430037 h 4687251"/>
              <a:gd name="connsiteX43516" fmla="*/ 4052228 w 8079933"/>
              <a:gd name="connsiteY43516" fmla="*/ 1428954 h 4687251"/>
              <a:gd name="connsiteX43517" fmla="*/ 4060692 w 8079933"/>
              <a:gd name="connsiteY43517" fmla="*/ 1435017 h 4687251"/>
              <a:gd name="connsiteX43518" fmla="*/ 4061235 w 8079933"/>
              <a:gd name="connsiteY43518" fmla="*/ 1433393 h 4687251"/>
              <a:gd name="connsiteX43519" fmla="*/ 4058739 w 8079933"/>
              <a:gd name="connsiteY43519" fmla="*/ 1429495 h 4687251"/>
              <a:gd name="connsiteX43520" fmla="*/ 4061126 w 8079933"/>
              <a:gd name="connsiteY43520" fmla="*/ 1427655 h 4687251"/>
              <a:gd name="connsiteX43521" fmla="*/ 4066010 w 8079933"/>
              <a:gd name="connsiteY43521" fmla="*/ 1427330 h 4687251"/>
              <a:gd name="connsiteX43522" fmla="*/ 4063622 w 8079933"/>
              <a:gd name="connsiteY43522" fmla="*/ 1424082 h 4687251"/>
              <a:gd name="connsiteX43523" fmla="*/ 4057871 w 8079933"/>
              <a:gd name="connsiteY43523" fmla="*/ 1425706 h 4687251"/>
              <a:gd name="connsiteX43524" fmla="*/ 4055700 w 8079933"/>
              <a:gd name="connsiteY43524" fmla="*/ 1428196 h 4687251"/>
              <a:gd name="connsiteX43525" fmla="*/ 4052987 w 8079933"/>
              <a:gd name="connsiteY43525" fmla="*/ 1421483 h 4687251"/>
              <a:gd name="connsiteX43526" fmla="*/ 4056026 w 8079933"/>
              <a:gd name="connsiteY43526" fmla="*/ 1419318 h 4687251"/>
              <a:gd name="connsiteX43527" fmla="*/ 4057111 w 8079933"/>
              <a:gd name="connsiteY43527" fmla="*/ 1415420 h 4687251"/>
              <a:gd name="connsiteX43528" fmla="*/ 4054181 w 8079933"/>
              <a:gd name="connsiteY43528" fmla="*/ 1412281 h 4687251"/>
              <a:gd name="connsiteX43529" fmla="*/ 4056569 w 8079933"/>
              <a:gd name="connsiteY43529" fmla="*/ 1410873 h 4687251"/>
              <a:gd name="connsiteX43530" fmla="*/ 4051468 w 8079933"/>
              <a:gd name="connsiteY43530" fmla="*/ 1407083 h 4687251"/>
              <a:gd name="connsiteX43531" fmla="*/ 4049515 w 8079933"/>
              <a:gd name="connsiteY43531" fmla="*/ 1411631 h 4687251"/>
              <a:gd name="connsiteX43532" fmla="*/ 4050383 w 8079933"/>
              <a:gd name="connsiteY43532" fmla="*/ 1413579 h 4687251"/>
              <a:gd name="connsiteX43533" fmla="*/ 4047019 w 8079933"/>
              <a:gd name="connsiteY43533" fmla="*/ 1415204 h 4687251"/>
              <a:gd name="connsiteX43534" fmla="*/ 4045392 w 8079933"/>
              <a:gd name="connsiteY43534" fmla="*/ 1413796 h 4687251"/>
              <a:gd name="connsiteX43535" fmla="*/ 4044089 w 8079933"/>
              <a:gd name="connsiteY43535" fmla="*/ 1417585 h 4687251"/>
              <a:gd name="connsiteX43536" fmla="*/ 4037795 w 8079933"/>
              <a:gd name="connsiteY43536" fmla="*/ 1410873 h 4687251"/>
              <a:gd name="connsiteX43537" fmla="*/ 4036167 w 8079933"/>
              <a:gd name="connsiteY43537" fmla="*/ 1406542 h 4687251"/>
              <a:gd name="connsiteX43538" fmla="*/ 4040291 w 8079933"/>
              <a:gd name="connsiteY43538" fmla="*/ 1400912 h 4687251"/>
              <a:gd name="connsiteX43539" fmla="*/ 4043438 w 8079933"/>
              <a:gd name="connsiteY43539" fmla="*/ 1398963 h 4687251"/>
              <a:gd name="connsiteX43540" fmla="*/ 4044415 w 8079933"/>
              <a:gd name="connsiteY43540" fmla="*/ 1403619 h 4687251"/>
              <a:gd name="connsiteX43541" fmla="*/ 4045392 w 8079933"/>
              <a:gd name="connsiteY43541" fmla="*/ 1399721 h 4687251"/>
              <a:gd name="connsiteX43542" fmla="*/ 4047670 w 8079933"/>
              <a:gd name="connsiteY43542" fmla="*/ 1398638 h 4687251"/>
              <a:gd name="connsiteX43543" fmla="*/ 4052771 w 8079933"/>
              <a:gd name="connsiteY43543" fmla="*/ 1401995 h 4687251"/>
              <a:gd name="connsiteX43544" fmla="*/ 4053096 w 8079933"/>
              <a:gd name="connsiteY43544" fmla="*/ 1398746 h 4687251"/>
              <a:gd name="connsiteX43545" fmla="*/ 4054724 w 8079933"/>
              <a:gd name="connsiteY43545" fmla="*/ 1396040 h 4687251"/>
              <a:gd name="connsiteX43546" fmla="*/ 4059498 w 8079933"/>
              <a:gd name="connsiteY43546" fmla="*/ 1395715 h 4687251"/>
              <a:gd name="connsiteX43547" fmla="*/ 4057871 w 8079933"/>
              <a:gd name="connsiteY43547" fmla="*/ 1393008 h 4687251"/>
              <a:gd name="connsiteX43548" fmla="*/ 4051359 w 8079933"/>
              <a:gd name="connsiteY43548" fmla="*/ 1393008 h 4687251"/>
              <a:gd name="connsiteX43549" fmla="*/ 4048973 w 8079933"/>
              <a:gd name="connsiteY43549" fmla="*/ 1391926 h 4687251"/>
              <a:gd name="connsiteX43550" fmla="*/ 4050383 w 8079933"/>
              <a:gd name="connsiteY43550" fmla="*/ 1388677 h 4687251"/>
              <a:gd name="connsiteX43551" fmla="*/ 4053530 w 8079933"/>
              <a:gd name="connsiteY43551" fmla="*/ 1388677 h 4687251"/>
              <a:gd name="connsiteX43552" fmla="*/ 4057328 w 8079933"/>
              <a:gd name="connsiteY43552" fmla="*/ 1383589 h 4687251"/>
              <a:gd name="connsiteX43553" fmla="*/ 4052987 w 8079933"/>
              <a:gd name="connsiteY43553" fmla="*/ 1381965 h 4687251"/>
              <a:gd name="connsiteX43554" fmla="*/ 4055484 w 8079933"/>
              <a:gd name="connsiteY43554" fmla="*/ 1381098 h 4687251"/>
              <a:gd name="connsiteX43555" fmla="*/ 4058522 w 8079933"/>
              <a:gd name="connsiteY43555" fmla="*/ 1375577 h 4687251"/>
              <a:gd name="connsiteX43556" fmla="*/ 4061126 w 8079933"/>
              <a:gd name="connsiteY43556" fmla="*/ 1375685 h 4687251"/>
              <a:gd name="connsiteX43557" fmla="*/ 4061777 w 8079933"/>
              <a:gd name="connsiteY43557" fmla="*/ 1380773 h 4687251"/>
              <a:gd name="connsiteX43558" fmla="*/ 4065250 w 8079933"/>
              <a:gd name="connsiteY43558" fmla="*/ 1383589 h 4687251"/>
              <a:gd name="connsiteX43559" fmla="*/ 4063839 w 8079933"/>
              <a:gd name="connsiteY43559" fmla="*/ 1380232 h 4687251"/>
              <a:gd name="connsiteX43560" fmla="*/ 4063839 w 8079933"/>
              <a:gd name="connsiteY43560" fmla="*/ 1374602 h 4687251"/>
              <a:gd name="connsiteX43561" fmla="*/ 4068288 w 8079933"/>
              <a:gd name="connsiteY43561" fmla="*/ 1371138 h 4687251"/>
              <a:gd name="connsiteX43562" fmla="*/ 4070893 w 8079933"/>
              <a:gd name="connsiteY43562" fmla="*/ 1369622 h 4687251"/>
              <a:gd name="connsiteX43563" fmla="*/ 4067311 w 8079933"/>
              <a:gd name="connsiteY43563" fmla="*/ 1370596 h 4687251"/>
              <a:gd name="connsiteX43564" fmla="*/ 4062862 w 8079933"/>
              <a:gd name="connsiteY43564" fmla="*/ 1370271 h 4687251"/>
              <a:gd name="connsiteX43565" fmla="*/ 4054181 w 8079933"/>
              <a:gd name="connsiteY43565" fmla="*/ 1373844 h 4687251"/>
              <a:gd name="connsiteX43566" fmla="*/ 4053530 w 8079933"/>
              <a:gd name="connsiteY43566" fmla="*/ 1378608 h 4687251"/>
              <a:gd name="connsiteX43567" fmla="*/ 4050274 w 8079933"/>
              <a:gd name="connsiteY43567" fmla="*/ 1380449 h 4687251"/>
              <a:gd name="connsiteX43568" fmla="*/ 4046585 w 8079933"/>
              <a:gd name="connsiteY43568" fmla="*/ 1385971 h 4687251"/>
              <a:gd name="connsiteX43569" fmla="*/ 4045174 w 8079933"/>
              <a:gd name="connsiteY43569" fmla="*/ 1385863 h 4687251"/>
              <a:gd name="connsiteX43570" fmla="*/ 4046802 w 8079933"/>
              <a:gd name="connsiteY43570" fmla="*/ 1381315 h 4687251"/>
              <a:gd name="connsiteX43571" fmla="*/ 4044306 w 8079933"/>
              <a:gd name="connsiteY43571" fmla="*/ 1377526 h 4687251"/>
              <a:gd name="connsiteX43572" fmla="*/ 4046151 w 8079933"/>
              <a:gd name="connsiteY43572" fmla="*/ 1374602 h 4687251"/>
              <a:gd name="connsiteX43573" fmla="*/ 4042679 w 8079933"/>
              <a:gd name="connsiteY43573" fmla="*/ 1374061 h 4687251"/>
              <a:gd name="connsiteX43574" fmla="*/ 4041702 w 8079933"/>
              <a:gd name="connsiteY43574" fmla="*/ 1372437 h 4687251"/>
              <a:gd name="connsiteX43575" fmla="*/ 4047345 w 8079933"/>
              <a:gd name="connsiteY43575" fmla="*/ 1369405 h 4687251"/>
              <a:gd name="connsiteX43576" fmla="*/ 4046802 w 8079933"/>
              <a:gd name="connsiteY43576" fmla="*/ 1365616 h 4687251"/>
              <a:gd name="connsiteX43577" fmla="*/ 4048755 w 8079933"/>
              <a:gd name="connsiteY43577" fmla="*/ 1363559 h 4687251"/>
              <a:gd name="connsiteX43578" fmla="*/ 4044089 w 8079933"/>
              <a:gd name="connsiteY43578" fmla="*/ 1361610 h 4687251"/>
              <a:gd name="connsiteX43579" fmla="*/ 4037469 w 8079933"/>
              <a:gd name="connsiteY43579" fmla="*/ 1368973 h 4687251"/>
              <a:gd name="connsiteX43580" fmla="*/ 4034757 w 8079933"/>
              <a:gd name="connsiteY43580" fmla="*/ 1366698 h 4687251"/>
              <a:gd name="connsiteX43581" fmla="*/ 4033238 w 8079933"/>
              <a:gd name="connsiteY43581" fmla="*/ 1361502 h 4687251"/>
              <a:gd name="connsiteX43582" fmla="*/ 4036493 w 8079933"/>
              <a:gd name="connsiteY43582" fmla="*/ 1363342 h 4687251"/>
              <a:gd name="connsiteX43583" fmla="*/ 4038446 w 8079933"/>
              <a:gd name="connsiteY43583" fmla="*/ 1361718 h 4687251"/>
              <a:gd name="connsiteX43584" fmla="*/ 4038012 w 8079933"/>
              <a:gd name="connsiteY43584" fmla="*/ 1357820 h 4687251"/>
              <a:gd name="connsiteX43585" fmla="*/ 4041159 w 8079933"/>
              <a:gd name="connsiteY43585" fmla="*/ 1354572 h 4687251"/>
              <a:gd name="connsiteX43586" fmla="*/ 4038446 w 8079933"/>
              <a:gd name="connsiteY43586" fmla="*/ 1354464 h 4687251"/>
              <a:gd name="connsiteX43587" fmla="*/ 4036493 w 8079933"/>
              <a:gd name="connsiteY43587" fmla="*/ 1356737 h 4687251"/>
              <a:gd name="connsiteX43588" fmla="*/ 4033129 w 8079933"/>
              <a:gd name="connsiteY43588" fmla="*/ 1357496 h 4687251"/>
              <a:gd name="connsiteX43589" fmla="*/ 4030958 w 8079933"/>
              <a:gd name="connsiteY43589" fmla="*/ 1355655 h 4687251"/>
              <a:gd name="connsiteX43590" fmla="*/ 4032153 w 8079933"/>
              <a:gd name="connsiteY43590" fmla="*/ 1353273 h 4687251"/>
              <a:gd name="connsiteX43591" fmla="*/ 4030199 w 8079933"/>
              <a:gd name="connsiteY43591" fmla="*/ 1348834 h 4687251"/>
              <a:gd name="connsiteX43592" fmla="*/ 4031501 w 8079933"/>
              <a:gd name="connsiteY43592" fmla="*/ 1348400 h 4687251"/>
              <a:gd name="connsiteX43593" fmla="*/ 4034865 w 8079933"/>
              <a:gd name="connsiteY43593" fmla="*/ 1350675 h 4687251"/>
              <a:gd name="connsiteX43594" fmla="*/ 4037795 w 8079933"/>
              <a:gd name="connsiteY43594" fmla="*/ 1350675 h 4687251"/>
              <a:gd name="connsiteX43595" fmla="*/ 4043655 w 8079933"/>
              <a:gd name="connsiteY43595" fmla="*/ 1347751 h 4687251"/>
              <a:gd name="connsiteX43596" fmla="*/ 4046585 w 8079933"/>
              <a:gd name="connsiteY43596" fmla="*/ 1348726 h 4687251"/>
              <a:gd name="connsiteX43597" fmla="*/ 4051794 w 8079933"/>
              <a:gd name="connsiteY43597" fmla="*/ 1347751 h 4687251"/>
              <a:gd name="connsiteX43598" fmla="*/ 4055809 w 8079933"/>
              <a:gd name="connsiteY43598" fmla="*/ 1348726 h 4687251"/>
              <a:gd name="connsiteX43599" fmla="*/ 4059173 w 8079933"/>
              <a:gd name="connsiteY43599" fmla="*/ 1353057 h 4687251"/>
              <a:gd name="connsiteX43600" fmla="*/ 4059932 w 8079933"/>
              <a:gd name="connsiteY43600" fmla="*/ 1350458 h 4687251"/>
              <a:gd name="connsiteX43601" fmla="*/ 4064707 w 8079933"/>
              <a:gd name="connsiteY43601" fmla="*/ 1345694 h 4687251"/>
              <a:gd name="connsiteX43602" fmla="*/ 4069156 w 8079933"/>
              <a:gd name="connsiteY43602" fmla="*/ 1346343 h 4687251"/>
              <a:gd name="connsiteX43603" fmla="*/ 4069808 w 8079933"/>
              <a:gd name="connsiteY43603" fmla="*/ 1350675 h 4687251"/>
              <a:gd name="connsiteX43604" fmla="*/ 4067095 w 8079933"/>
              <a:gd name="connsiteY43604" fmla="*/ 1352840 h 4687251"/>
              <a:gd name="connsiteX43605" fmla="*/ 4067311 w 8079933"/>
              <a:gd name="connsiteY43605" fmla="*/ 1355006 h 4687251"/>
              <a:gd name="connsiteX43606" fmla="*/ 4072737 w 8079933"/>
              <a:gd name="connsiteY43606" fmla="*/ 1354789 h 4687251"/>
              <a:gd name="connsiteX43607" fmla="*/ 4074799 w 8079933"/>
              <a:gd name="connsiteY43607" fmla="*/ 1351216 h 4687251"/>
              <a:gd name="connsiteX43608" fmla="*/ 4073171 w 8079933"/>
              <a:gd name="connsiteY43608" fmla="*/ 1349808 h 4687251"/>
              <a:gd name="connsiteX43609" fmla="*/ 4076210 w 8079933"/>
              <a:gd name="connsiteY43609" fmla="*/ 1347426 h 4687251"/>
              <a:gd name="connsiteX43610" fmla="*/ 4082504 w 8079933"/>
              <a:gd name="connsiteY43610" fmla="*/ 1345910 h 4687251"/>
              <a:gd name="connsiteX43611" fmla="*/ 4085325 w 8079933"/>
              <a:gd name="connsiteY43611" fmla="*/ 1342337 h 4687251"/>
              <a:gd name="connsiteX43612" fmla="*/ 4081636 w 8079933"/>
              <a:gd name="connsiteY43612" fmla="*/ 1338007 h 4687251"/>
              <a:gd name="connsiteX43613" fmla="*/ 4082504 w 8079933"/>
              <a:gd name="connsiteY43613" fmla="*/ 1334109 h 4687251"/>
              <a:gd name="connsiteX43614" fmla="*/ 4079032 w 8079933"/>
              <a:gd name="connsiteY43614" fmla="*/ 1339198 h 4687251"/>
              <a:gd name="connsiteX43615" fmla="*/ 4080009 w 8079933"/>
              <a:gd name="connsiteY43615" fmla="*/ 1341796 h 4687251"/>
              <a:gd name="connsiteX43616" fmla="*/ 4077837 w 8079933"/>
              <a:gd name="connsiteY43616" fmla="*/ 1343962 h 4687251"/>
              <a:gd name="connsiteX43617" fmla="*/ 4073280 w 8079933"/>
              <a:gd name="connsiteY43617" fmla="*/ 1342771 h 4687251"/>
              <a:gd name="connsiteX43618" fmla="*/ 4075776 w 8079933"/>
              <a:gd name="connsiteY43618" fmla="*/ 1340822 h 4687251"/>
              <a:gd name="connsiteX43619" fmla="*/ 4076752 w 8079933"/>
              <a:gd name="connsiteY43619" fmla="*/ 1338873 h 4687251"/>
              <a:gd name="connsiteX43620" fmla="*/ 4074365 w 8079933"/>
              <a:gd name="connsiteY43620" fmla="*/ 1338223 h 4687251"/>
              <a:gd name="connsiteX43621" fmla="*/ 4069264 w 8079933"/>
              <a:gd name="connsiteY43621" fmla="*/ 1342013 h 4687251"/>
              <a:gd name="connsiteX43622" fmla="*/ 4065793 w 8079933"/>
              <a:gd name="connsiteY43622" fmla="*/ 1342013 h 4687251"/>
              <a:gd name="connsiteX43623" fmla="*/ 4064598 w 8079933"/>
              <a:gd name="connsiteY43623" fmla="*/ 1339414 h 4687251"/>
              <a:gd name="connsiteX43624" fmla="*/ 4061344 w 8079933"/>
              <a:gd name="connsiteY43624" fmla="*/ 1340280 h 4687251"/>
              <a:gd name="connsiteX43625" fmla="*/ 4061235 w 8079933"/>
              <a:gd name="connsiteY43625" fmla="*/ 1343420 h 4687251"/>
              <a:gd name="connsiteX43626" fmla="*/ 4057979 w 8079933"/>
              <a:gd name="connsiteY43626" fmla="*/ 1345586 h 4687251"/>
              <a:gd name="connsiteX43627" fmla="*/ 4056243 w 8079933"/>
              <a:gd name="connsiteY43627" fmla="*/ 1344286 h 4687251"/>
              <a:gd name="connsiteX43628" fmla="*/ 4051251 w 8079933"/>
              <a:gd name="connsiteY43628" fmla="*/ 1342987 h 4687251"/>
              <a:gd name="connsiteX43629" fmla="*/ 4044089 w 8079933"/>
              <a:gd name="connsiteY43629" fmla="*/ 1343962 h 4687251"/>
              <a:gd name="connsiteX43630" fmla="*/ 4041267 w 8079933"/>
              <a:gd name="connsiteY43630" fmla="*/ 1346127 h 4687251"/>
              <a:gd name="connsiteX43631" fmla="*/ 4035842 w 8079933"/>
              <a:gd name="connsiteY43631" fmla="*/ 1346343 h 4687251"/>
              <a:gd name="connsiteX43632" fmla="*/ 4034214 w 8079933"/>
              <a:gd name="connsiteY43632" fmla="*/ 1343637 h 4687251"/>
              <a:gd name="connsiteX43633" fmla="*/ 4032044 w 8079933"/>
              <a:gd name="connsiteY43633" fmla="*/ 1342121 h 4687251"/>
              <a:gd name="connsiteX43634" fmla="*/ 4031501 w 8079933"/>
              <a:gd name="connsiteY43634" fmla="*/ 1339955 h 4687251"/>
              <a:gd name="connsiteX43635" fmla="*/ 4033454 w 8079933"/>
              <a:gd name="connsiteY43635" fmla="*/ 1339414 h 4687251"/>
              <a:gd name="connsiteX43636" fmla="*/ 4037469 w 8079933"/>
              <a:gd name="connsiteY43636" fmla="*/ 1337141 h 4687251"/>
              <a:gd name="connsiteX43637" fmla="*/ 4034865 w 8079933"/>
              <a:gd name="connsiteY43637" fmla="*/ 1337141 h 4687251"/>
              <a:gd name="connsiteX43638" fmla="*/ 4031393 w 8079933"/>
              <a:gd name="connsiteY43638" fmla="*/ 1335625 h 4687251"/>
              <a:gd name="connsiteX43639" fmla="*/ 4031609 w 8079933"/>
              <a:gd name="connsiteY43639" fmla="*/ 1334218 h 4687251"/>
              <a:gd name="connsiteX43640" fmla="*/ 4033563 w 8079933"/>
              <a:gd name="connsiteY43640" fmla="*/ 1334759 h 4687251"/>
              <a:gd name="connsiteX43641" fmla="*/ 4035407 w 8079933"/>
              <a:gd name="connsiteY43641" fmla="*/ 1333784 h 4687251"/>
              <a:gd name="connsiteX43642" fmla="*/ 4042135 w 8079933"/>
              <a:gd name="connsiteY43642" fmla="*/ 1333784 h 4687251"/>
              <a:gd name="connsiteX43643" fmla="*/ 4046802 w 8079933"/>
              <a:gd name="connsiteY43643" fmla="*/ 1330536 h 4687251"/>
              <a:gd name="connsiteX43644" fmla="*/ 4040508 w 8079933"/>
              <a:gd name="connsiteY43644" fmla="*/ 1330536 h 4687251"/>
              <a:gd name="connsiteX43645" fmla="*/ 4037904 w 8079933"/>
              <a:gd name="connsiteY43645" fmla="*/ 1332269 h 4687251"/>
              <a:gd name="connsiteX43646" fmla="*/ 4034106 w 8079933"/>
              <a:gd name="connsiteY43646" fmla="*/ 1331510 h 4687251"/>
              <a:gd name="connsiteX43647" fmla="*/ 4037035 w 8079933"/>
              <a:gd name="connsiteY43647" fmla="*/ 1328263 h 4687251"/>
              <a:gd name="connsiteX43648" fmla="*/ 4029331 w 8079933"/>
              <a:gd name="connsiteY43648" fmla="*/ 1324798 h 4687251"/>
              <a:gd name="connsiteX43649" fmla="*/ 4029656 w 8079933"/>
              <a:gd name="connsiteY43649" fmla="*/ 1322849 h 4687251"/>
              <a:gd name="connsiteX43650" fmla="*/ 4034757 w 8079933"/>
              <a:gd name="connsiteY43650" fmla="*/ 1322091 h 4687251"/>
              <a:gd name="connsiteX43651" fmla="*/ 4038338 w 8079933"/>
              <a:gd name="connsiteY43651" fmla="*/ 1319059 h 4687251"/>
              <a:gd name="connsiteX43652" fmla="*/ 4040508 w 8079933"/>
              <a:gd name="connsiteY43652" fmla="*/ 1319925 h 4687251"/>
              <a:gd name="connsiteX43653" fmla="*/ 4045174 w 8079933"/>
              <a:gd name="connsiteY43653" fmla="*/ 1318627 h 4687251"/>
              <a:gd name="connsiteX43654" fmla="*/ 4052553 w 8079933"/>
              <a:gd name="connsiteY43654" fmla="*/ 1322416 h 4687251"/>
              <a:gd name="connsiteX43655" fmla="*/ 4054941 w 8079933"/>
              <a:gd name="connsiteY43655" fmla="*/ 1321225 h 4687251"/>
              <a:gd name="connsiteX43656" fmla="*/ 4061126 w 8079933"/>
              <a:gd name="connsiteY43656" fmla="*/ 1322091 h 4687251"/>
              <a:gd name="connsiteX43657" fmla="*/ 4065575 w 8079933"/>
              <a:gd name="connsiteY43657" fmla="*/ 1317543 h 4687251"/>
              <a:gd name="connsiteX43658" fmla="*/ 4062212 w 8079933"/>
              <a:gd name="connsiteY43658" fmla="*/ 1317543 h 4687251"/>
              <a:gd name="connsiteX43659" fmla="*/ 4060041 w 8079933"/>
              <a:gd name="connsiteY43659" fmla="*/ 1319168 h 4687251"/>
              <a:gd name="connsiteX43660" fmla="*/ 4053096 w 8079933"/>
              <a:gd name="connsiteY43660" fmla="*/ 1319168 h 4687251"/>
              <a:gd name="connsiteX43661" fmla="*/ 4048646 w 8079933"/>
              <a:gd name="connsiteY43661" fmla="*/ 1316353 h 4687251"/>
              <a:gd name="connsiteX43662" fmla="*/ 4041593 w 8079933"/>
              <a:gd name="connsiteY43662" fmla="*/ 1314837 h 4687251"/>
              <a:gd name="connsiteX43663" fmla="*/ 4036276 w 8079933"/>
              <a:gd name="connsiteY43663" fmla="*/ 1316461 h 4687251"/>
              <a:gd name="connsiteX43664" fmla="*/ 4034322 w 8079933"/>
              <a:gd name="connsiteY43664" fmla="*/ 1314512 h 4687251"/>
              <a:gd name="connsiteX43665" fmla="*/ 4036276 w 8079933"/>
              <a:gd name="connsiteY43665" fmla="*/ 1311805 h 4687251"/>
              <a:gd name="connsiteX43666" fmla="*/ 4031826 w 8079933"/>
              <a:gd name="connsiteY43666" fmla="*/ 1307691 h 4687251"/>
              <a:gd name="connsiteX43667" fmla="*/ 4031284 w 8079933"/>
              <a:gd name="connsiteY43667" fmla="*/ 1305092 h 4687251"/>
              <a:gd name="connsiteX43668" fmla="*/ 4033454 w 8079933"/>
              <a:gd name="connsiteY43668" fmla="*/ 1304443 h 4687251"/>
              <a:gd name="connsiteX43669" fmla="*/ 4037469 w 8079933"/>
              <a:gd name="connsiteY43669" fmla="*/ 1308016 h 4687251"/>
              <a:gd name="connsiteX43670" fmla="*/ 4038664 w 8079933"/>
              <a:gd name="connsiteY43670" fmla="*/ 1312347 h 4687251"/>
              <a:gd name="connsiteX43671" fmla="*/ 4041593 w 8079933"/>
              <a:gd name="connsiteY43671" fmla="*/ 1310398 h 4687251"/>
              <a:gd name="connsiteX43672" fmla="*/ 4039423 w 8079933"/>
              <a:gd name="connsiteY43672" fmla="*/ 1305851 h 4687251"/>
              <a:gd name="connsiteX43673" fmla="*/ 4046260 w 8079933"/>
              <a:gd name="connsiteY43673" fmla="*/ 1306067 h 4687251"/>
              <a:gd name="connsiteX43674" fmla="*/ 4047561 w 8079933"/>
              <a:gd name="connsiteY43674" fmla="*/ 1310506 h 4687251"/>
              <a:gd name="connsiteX43675" fmla="*/ 4050058 w 8079933"/>
              <a:gd name="connsiteY43675" fmla="*/ 1309423 h 4687251"/>
              <a:gd name="connsiteX43676" fmla="*/ 4053747 w 8079933"/>
              <a:gd name="connsiteY43676" fmla="*/ 1309099 h 4687251"/>
              <a:gd name="connsiteX43677" fmla="*/ 4049190 w 8079933"/>
              <a:gd name="connsiteY43677" fmla="*/ 1306067 h 4687251"/>
              <a:gd name="connsiteX43678" fmla="*/ 4053747 w 8079933"/>
              <a:gd name="connsiteY43678" fmla="*/ 1301303 h 4687251"/>
              <a:gd name="connsiteX43679" fmla="*/ 4058956 w 8079933"/>
              <a:gd name="connsiteY43679" fmla="*/ 1304660 h 4687251"/>
              <a:gd name="connsiteX43680" fmla="*/ 4059607 w 8079933"/>
              <a:gd name="connsiteY43680" fmla="*/ 1302278 h 4687251"/>
              <a:gd name="connsiteX43681" fmla="*/ 4057979 w 8079933"/>
              <a:gd name="connsiteY43681" fmla="*/ 1299246 h 4687251"/>
              <a:gd name="connsiteX43682" fmla="*/ 4062320 w 8079933"/>
              <a:gd name="connsiteY43682" fmla="*/ 1298488 h 4687251"/>
              <a:gd name="connsiteX43683" fmla="*/ 4066335 w 8079933"/>
              <a:gd name="connsiteY43683" fmla="*/ 1299896 h 4687251"/>
              <a:gd name="connsiteX43684" fmla="*/ 4066552 w 8079933"/>
              <a:gd name="connsiteY43684" fmla="*/ 1306067 h 4687251"/>
              <a:gd name="connsiteX43685" fmla="*/ 4067963 w 8079933"/>
              <a:gd name="connsiteY43685" fmla="*/ 1307908 h 4687251"/>
              <a:gd name="connsiteX43686" fmla="*/ 4071435 w 8079933"/>
              <a:gd name="connsiteY43686" fmla="*/ 1306067 h 4687251"/>
              <a:gd name="connsiteX43687" fmla="*/ 4069373 w 8079933"/>
              <a:gd name="connsiteY43687" fmla="*/ 1302927 h 4687251"/>
              <a:gd name="connsiteX43688" fmla="*/ 4071001 w 8079933"/>
              <a:gd name="connsiteY43688" fmla="*/ 1299246 h 4687251"/>
              <a:gd name="connsiteX43689" fmla="*/ 4065250 w 8079933"/>
              <a:gd name="connsiteY43689" fmla="*/ 1296106 h 4687251"/>
              <a:gd name="connsiteX43690" fmla="*/ 4060584 w 8079933"/>
              <a:gd name="connsiteY43690" fmla="*/ 1293074 h 4687251"/>
              <a:gd name="connsiteX43691" fmla="*/ 4053096 w 8079933"/>
              <a:gd name="connsiteY43691" fmla="*/ 1291992 h 4687251"/>
              <a:gd name="connsiteX43692" fmla="*/ 4052011 w 8079933"/>
              <a:gd name="connsiteY43692" fmla="*/ 1290151 h 4687251"/>
              <a:gd name="connsiteX43693" fmla="*/ 4055700 w 8079933"/>
              <a:gd name="connsiteY43693" fmla="*/ 1287986 h 4687251"/>
              <a:gd name="connsiteX43694" fmla="*/ 4057654 w 8079933"/>
              <a:gd name="connsiteY43694" fmla="*/ 1289285 h 4687251"/>
              <a:gd name="connsiteX43695" fmla="*/ 4060584 w 8079933"/>
              <a:gd name="connsiteY43695" fmla="*/ 1287445 h 4687251"/>
              <a:gd name="connsiteX43696" fmla="*/ 4063948 w 8079933"/>
              <a:gd name="connsiteY43696" fmla="*/ 1290476 h 4687251"/>
              <a:gd name="connsiteX43697" fmla="*/ 4066335 w 8079933"/>
              <a:gd name="connsiteY43697" fmla="*/ 1288527 h 4687251"/>
              <a:gd name="connsiteX43698" fmla="*/ 4068288 w 8079933"/>
              <a:gd name="connsiteY43698" fmla="*/ 1288527 h 4687251"/>
              <a:gd name="connsiteX43699" fmla="*/ 4072303 w 8079933"/>
              <a:gd name="connsiteY43699" fmla="*/ 1293724 h 4687251"/>
              <a:gd name="connsiteX43700" fmla="*/ 4076970 w 8079933"/>
              <a:gd name="connsiteY43700" fmla="*/ 1295023 h 4687251"/>
              <a:gd name="connsiteX43701" fmla="*/ 4079682 w 8079933"/>
              <a:gd name="connsiteY43701" fmla="*/ 1291125 h 4687251"/>
              <a:gd name="connsiteX43702" fmla="*/ 4086628 w 8079933"/>
              <a:gd name="connsiteY43702" fmla="*/ 1288202 h 4687251"/>
              <a:gd name="connsiteX43703" fmla="*/ 4088038 w 8079933"/>
              <a:gd name="connsiteY43703" fmla="*/ 1285712 h 4687251"/>
              <a:gd name="connsiteX43704" fmla="*/ 4085325 w 8079933"/>
              <a:gd name="connsiteY43704" fmla="*/ 1285712 h 4687251"/>
              <a:gd name="connsiteX43705" fmla="*/ 4079357 w 8079933"/>
              <a:gd name="connsiteY43705" fmla="*/ 1288527 h 4687251"/>
              <a:gd name="connsiteX43706" fmla="*/ 4077512 w 8079933"/>
              <a:gd name="connsiteY43706" fmla="*/ 1287445 h 4687251"/>
              <a:gd name="connsiteX43707" fmla="*/ 4080985 w 8079933"/>
              <a:gd name="connsiteY43707" fmla="*/ 1285062 h 4687251"/>
              <a:gd name="connsiteX43708" fmla="*/ 4079682 w 8079933"/>
              <a:gd name="connsiteY43708" fmla="*/ 1283547 h 4687251"/>
              <a:gd name="connsiteX43709" fmla="*/ 4071978 w 8079933"/>
              <a:gd name="connsiteY43709" fmla="*/ 1285821 h 4687251"/>
              <a:gd name="connsiteX43710" fmla="*/ 4068288 w 8079933"/>
              <a:gd name="connsiteY43710" fmla="*/ 1282031 h 4687251"/>
              <a:gd name="connsiteX43711" fmla="*/ 4070893 w 8079933"/>
              <a:gd name="connsiteY43711" fmla="*/ 1279649 h 4687251"/>
              <a:gd name="connsiteX43712" fmla="*/ 4070133 w 8079933"/>
              <a:gd name="connsiteY43712" fmla="*/ 1276076 h 4687251"/>
              <a:gd name="connsiteX43713" fmla="*/ 4071978 w 8079933"/>
              <a:gd name="connsiteY43713" fmla="*/ 1273911 h 4687251"/>
              <a:gd name="connsiteX43714" fmla="*/ 4074257 w 8079933"/>
              <a:gd name="connsiteY43714" fmla="*/ 1275860 h 4687251"/>
              <a:gd name="connsiteX43715" fmla="*/ 4079032 w 8079933"/>
              <a:gd name="connsiteY43715" fmla="*/ 1275860 h 4687251"/>
              <a:gd name="connsiteX43716" fmla="*/ 4082830 w 8079933"/>
              <a:gd name="connsiteY43716" fmla="*/ 1278783 h 4687251"/>
              <a:gd name="connsiteX43717" fmla="*/ 4085651 w 8079933"/>
              <a:gd name="connsiteY43717" fmla="*/ 1276942 h 4687251"/>
              <a:gd name="connsiteX43718" fmla="*/ 4091836 w 8079933"/>
              <a:gd name="connsiteY43718" fmla="*/ 1283872 h 4687251"/>
              <a:gd name="connsiteX43719" fmla="*/ 4098347 w 8079933"/>
              <a:gd name="connsiteY43719" fmla="*/ 1286362 h 4687251"/>
              <a:gd name="connsiteX43720" fmla="*/ 4102363 w 8079933"/>
              <a:gd name="connsiteY43720" fmla="*/ 1286254 h 4687251"/>
              <a:gd name="connsiteX43721" fmla="*/ 4100300 w 8079933"/>
              <a:gd name="connsiteY43721" fmla="*/ 1283980 h 4687251"/>
              <a:gd name="connsiteX43722" fmla="*/ 4096502 w 8079933"/>
              <a:gd name="connsiteY43722" fmla="*/ 1283547 h 4687251"/>
              <a:gd name="connsiteX43723" fmla="*/ 4092162 w 8079933"/>
              <a:gd name="connsiteY43723" fmla="*/ 1280190 h 4687251"/>
              <a:gd name="connsiteX43724" fmla="*/ 4088038 w 8079933"/>
              <a:gd name="connsiteY43724" fmla="*/ 1274668 h 4687251"/>
              <a:gd name="connsiteX43725" fmla="*/ 4088798 w 8079933"/>
              <a:gd name="connsiteY43725" fmla="*/ 1271095 h 4687251"/>
              <a:gd name="connsiteX43726" fmla="*/ 4090426 w 8079933"/>
              <a:gd name="connsiteY43726" fmla="*/ 1270879 h 4687251"/>
              <a:gd name="connsiteX43727" fmla="*/ 4091294 w 8079933"/>
              <a:gd name="connsiteY43727" fmla="*/ 1273694 h 4687251"/>
              <a:gd name="connsiteX43728" fmla="*/ 4095417 w 8079933"/>
              <a:gd name="connsiteY43728" fmla="*/ 1277376 h 4687251"/>
              <a:gd name="connsiteX43729" fmla="*/ 4099650 w 8079933"/>
              <a:gd name="connsiteY43729" fmla="*/ 1277376 h 4687251"/>
              <a:gd name="connsiteX43730" fmla="*/ 4100518 w 8079933"/>
              <a:gd name="connsiteY43730" fmla="*/ 1280623 h 4687251"/>
              <a:gd name="connsiteX43731" fmla="*/ 4105943 w 8079933"/>
              <a:gd name="connsiteY43731" fmla="*/ 1282248 h 4687251"/>
              <a:gd name="connsiteX43732" fmla="*/ 4106161 w 8079933"/>
              <a:gd name="connsiteY43732" fmla="*/ 1279325 h 4687251"/>
              <a:gd name="connsiteX43733" fmla="*/ 4103448 w 8079933"/>
              <a:gd name="connsiteY43733" fmla="*/ 1278242 h 4687251"/>
              <a:gd name="connsiteX43734" fmla="*/ 4104641 w 8079933"/>
              <a:gd name="connsiteY43734" fmla="*/ 1274993 h 4687251"/>
              <a:gd name="connsiteX43735" fmla="*/ 4098564 w 8079933"/>
              <a:gd name="connsiteY43735" fmla="*/ 1274993 h 4687251"/>
              <a:gd name="connsiteX43736" fmla="*/ 4093247 w 8079933"/>
              <a:gd name="connsiteY43736" fmla="*/ 1271962 h 4687251"/>
              <a:gd name="connsiteX43737" fmla="*/ 4093789 w 8079933"/>
              <a:gd name="connsiteY43737" fmla="*/ 1269797 h 4687251"/>
              <a:gd name="connsiteX43738" fmla="*/ 4097045 w 8079933"/>
              <a:gd name="connsiteY43738" fmla="*/ 1269797 h 4687251"/>
              <a:gd name="connsiteX43739" fmla="*/ 4099215 w 8079933"/>
              <a:gd name="connsiteY43739" fmla="*/ 1271962 h 4687251"/>
              <a:gd name="connsiteX43740" fmla="*/ 4101386 w 8079933"/>
              <a:gd name="connsiteY43740" fmla="*/ 1269255 h 4687251"/>
              <a:gd name="connsiteX43741" fmla="*/ 4106269 w 8079933"/>
              <a:gd name="connsiteY43741" fmla="*/ 1266115 h 4687251"/>
              <a:gd name="connsiteX43742" fmla="*/ 4105075 w 8079933"/>
              <a:gd name="connsiteY43742" fmla="*/ 1264924 h 4687251"/>
              <a:gd name="connsiteX43743" fmla="*/ 4102688 w 8079933"/>
              <a:gd name="connsiteY43743" fmla="*/ 1266007 h 4687251"/>
              <a:gd name="connsiteX43744" fmla="*/ 4100192 w 8079933"/>
              <a:gd name="connsiteY43744" fmla="*/ 1265466 h 4687251"/>
              <a:gd name="connsiteX43745" fmla="*/ 4104641 w 8079933"/>
              <a:gd name="connsiteY43745" fmla="*/ 1261243 h 4687251"/>
              <a:gd name="connsiteX43746" fmla="*/ 4108114 w 8079933"/>
              <a:gd name="connsiteY43746" fmla="*/ 1260810 h 4687251"/>
              <a:gd name="connsiteX43747" fmla="*/ 4112129 w 8079933"/>
              <a:gd name="connsiteY43747" fmla="*/ 1262542 h 4687251"/>
              <a:gd name="connsiteX43748" fmla="*/ 4118097 w 8079933"/>
              <a:gd name="connsiteY43748" fmla="*/ 1257129 h 4687251"/>
              <a:gd name="connsiteX43749" fmla="*/ 4112238 w 8079933"/>
              <a:gd name="connsiteY43749" fmla="*/ 1257129 h 4687251"/>
              <a:gd name="connsiteX43750" fmla="*/ 4112238 w 8079933"/>
              <a:gd name="connsiteY43750" fmla="*/ 1254964 h 4687251"/>
              <a:gd name="connsiteX43751" fmla="*/ 4116795 w 8079933"/>
              <a:gd name="connsiteY43751" fmla="*/ 1254422 h 4687251"/>
              <a:gd name="connsiteX43752" fmla="*/ 4118640 w 8079933"/>
              <a:gd name="connsiteY43752" fmla="*/ 1251174 h 4687251"/>
              <a:gd name="connsiteX43753" fmla="*/ 4121895 w 8079933"/>
              <a:gd name="connsiteY43753" fmla="*/ 1251174 h 4687251"/>
              <a:gd name="connsiteX43754" fmla="*/ 4125151 w 8079933"/>
              <a:gd name="connsiteY43754" fmla="*/ 1255938 h 4687251"/>
              <a:gd name="connsiteX43755" fmla="*/ 4125151 w 8079933"/>
              <a:gd name="connsiteY43755" fmla="*/ 1260160 h 4687251"/>
              <a:gd name="connsiteX43756" fmla="*/ 4127973 w 8079933"/>
              <a:gd name="connsiteY43756" fmla="*/ 1263950 h 4687251"/>
              <a:gd name="connsiteX43757" fmla="*/ 4126019 w 8079933"/>
              <a:gd name="connsiteY43757" fmla="*/ 1265466 h 4687251"/>
              <a:gd name="connsiteX43758" fmla="*/ 4123306 w 8079933"/>
              <a:gd name="connsiteY43758" fmla="*/ 1268497 h 4687251"/>
              <a:gd name="connsiteX43759" fmla="*/ 4126996 w 8079933"/>
              <a:gd name="connsiteY43759" fmla="*/ 1266548 h 4687251"/>
              <a:gd name="connsiteX43760" fmla="*/ 4130686 w 8079933"/>
              <a:gd name="connsiteY43760" fmla="*/ 1264383 h 4687251"/>
              <a:gd name="connsiteX43761" fmla="*/ 4130903 w 8079933"/>
              <a:gd name="connsiteY43761" fmla="*/ 1260377 h 4687251"/>
              <a:gd name="connsiteX43762" fmla="*/ 4133832 w 8079933"/>
              <a:gd name="connsiteY43762" fmla="*/ 1257995 h 4687251"/>
              <a:gd name="connsiteX43763" fmla="*/ 4138716 w 8079933"/>
              <a:gd name="connsiteY43763" fmla="*/ 1257887 h 4687251"/>
              <a:gd name="connsiteX43764" fmla="*/ 4142080 w 8079933"/>
              <a:gd name="connsiteY43764" fmla="*/ 1261243 h 4687251"/>
              <a:gd name="connsiteX43765" fmla="*/ 4146311 w 8079933"/>
              <a:gd name="connsiteY43765" fmla="*/ 1261676 h 4687251"/>
              <a:gd name="connsiteX43766" fmla="*/ 4146095 w 8079933"/>
              <a:gd name="connsiteY43766" fmla="*/ 1257345 h 4687251"/>
              <a:gd name="connsiteX43767" fmla="*/ 4148482 w 8079933"/>
              <a:gd name="connsiteY43767" fmla="*/ 1254205 h 4687251"/>
              <a:gd name="connsiteX43768" fmla="*/ 4144250 w 8079933"/>
              <a:gd name="connsiteY43768" fmla="*/ 1252040 h 4687251"/>
              <a:gd name="connsiteX43769" fmla="*/ 4150977 w 8079933"/>
              <a:gd name="connsiteY43769" fmla="*/ 1245111 h 4687251"/>
              <a:gd name="connsiteX43770" fmla="*/ 4154450 w 8079933"/>
              <a:gd name="connsiteY43770" fmla="*/ 1244677 h 4687251"/>
              <a:gd name="connsiteX43771" fmla="*/ 4156621 w 8079933"/>
              <a:gd name="connsiteY43771" fmla="*/ 1241754 h 4687251"/>
              <a:gd name="connsiteX43772" fmla="*/ 4150110 w 8079933"/>
              <a:gd name="connsiteY43772" fmla="*/ 1239805 h 4687251"/>
              <a:gd name="connsiteX43773" fmla="*/ 4150218 w 8079933"/>
              <a:gd name="connsiteY43773" fmla="*/ 1236774 h 4687251"/>
              <a:gd name="connsiteX43774" fmla="*/ 4156947 w 8079933"/>
              <a:gd name="connsiteY43774" fmla="*/ 1232443 h 4687251"/>
              <a:gd name="connsiteX43775" fmla="*/ 4154450 w 8079933"/>
              <a:gd name="connsiteY43775" fmla="*/ 1232659 h 4687251"/>
              <a:gd name="connsiteX43776" fmla="*/ 4150218 w 8079933"/>
              <a:gd name="connsiteY43776" fmla="*/ 1231902 h 4687251"/>
              <a:gd name="connsiteX43777" fmla="*/ 4148048 w 8079933"/>
              <a:gd name="connsiteY43777" fmla="*/ 1233850 h 4687251"/>
              <a:gd name="connsiteX43778" fmla="*/ 4146420 w 8079933"/>
              <a:gd name="connsiteY43778" fmla="*/ 1234283 h 4687251"/>
              <a:gd name="connsiteX43779" fmla="*/ 4145552 w 8079933"/>
              <a:gd name="connsiteY43779" fmla="*/ 1239264 h 4687251"/>
              <a:gd name="connsiteX43780" fmla="*/ 4142297 w 8079933"/>
              <a:gd name="connsiteY43780" fmla="*/ 1243595 h 4687251"/>
              <a:gd name="connsiteX43781" fmla="*/ 4146095 w 8079933"/>
              <a:gd name="connsiteY43781" fmla="*/ 1242512 h 4687251"/>
              <a:gd name="connsiteX43782" fmla="*/ 4146095 w 8079933"/>
              <a:gd name="connsiteY43782" fmla="*/ 1245760 h 4687251"/>
              <a:gd name="connsiteX43783" fmla="*/ 4138824 w 8079933"/>
              <a:gd name="connsiteY43783" fmla="*/ 1252798 h 4687251"/>
              <a:gd name="connsiteX43784" fmla="*/ 4133398 w 8079933"/>
              <a:gd name="connsiteY43784" fmla="*/ 1253556 h 4687251"/>
              <a:gd name="connsiteX43785" fmla="*/ 4128406 w 8079933"/>
              <a:gd name="connsiteY43785" fmla="*/ 1256479 h 4687251"/>
              <a:gd name="connsiteX43786" fmla="*/ 4125693 w 8079933"/>
              <a:gd name="connsiteY43786" fmla="*/ 1252798 h 4687251"/>
              <a:gd name="connsiteX43787" fmla="*/ 4126019 w 8079933"/>
              <a:gd name="connsiteY43787" fmla="*/ 1248142 h 4687251"/>
              <a:gd name="connsiteX43788" fmla="*/ 4129058 w 8079933"/>
              <a:gd name="connsiteY43788" fmla="*/ 1246843 h 4687251"/>
              <a:gd name="connsiteX43789" fmla="*/ 4129491 w 8079933"/>
              <a:gd name="connsiteY43789" fmla="*/ 1244136 h 4687251"/>
              <a:gd name="connsiteX43790" fmla="*/ 4126996 w 8079933"/>
              <a:gd name="connsiteY43790" fmla="*/ 1243920 h 4687251"/>
              <a:gd name="connsiteX43791" fmla="*/ 4122221 w 8079933"/>
              <a:gd name="connsiteY43791" fmla="*/ 1247060 h 4687251"/>
              <a:gd name="connsiteX43792" fmla="*/ 4120919 w 8079933"/>
              <a:gd name="connsiteY43792" fmla="*/ 1245219 h 4687251"/>
              <a:gd name="connsiteX43793" fmla="*/ 4125151 w 8079933"/>
              <a:gd name="connsiteY43793" fmla="*/ 1241213 h 4687251"/>
              <a:gd name="connsiteX43794" fmla="*/ 4128190 w 8079933"/>
              <a:gd name="connsiteY43794" fmla="*/ 1238723 h 4687251"/>
              <a:gd name="connsiteX43795" fmla="*/ 4128949 w 8079933"/>
              <a:gd name="connsiteY43795" fmla="*/ 1233850 h 4687251"/>
              <a:gd name="connsiteX43796" fmla="*/ 4128406 w 8079933"/>
              <a:gd name="connsiteY43796" fmla="*/ 1232226 h 4687251"/>
              <a:gd name="connsiteX43797" fmla="*/ 4132531 w 8079933"/>
              <a:gd name="connsiteY43797" fmla="*/ 1229520 h 4687251"/>
              <a:gd name="connsiteX43798" fmla="*/ 4132204 w 8079933"/>
              <a:gd name="connsiteY43798" fmla="*/ 1224648 h 4687251"/>
              <a:gd name="connsiteX43799" fmla="*/ 4134484 w 8079933"/>
              <a:gd name="connsiteY43799" fmla="*/ 1223457 h 4687251"/>
              <a:gd name="connsiteX43800" fmla="*/ 4139909 w 8079933"/>
              <a:gd name="connsiteY43800" fmla="*/ 1223457 h 4687251"/>
              <a:gd name="connsiteX43801" fmla="*/ 4138716 w 8079933"/>
              <a:gd name="connsiteY43801" fmla="*/ 1221075 h 4687251"/>
              <a:gd name="connsiteX43802" fmla="*/ 4139258 w 8079933"/>
              <a:gd name="connsiteY43802" fmla="*/ 1218368 h 4687251"/>
              <a:gd name="connsiteX43803" fmla="*/ 4141429 w 8079933"/>
              <a:gd name="connsiteY43803" fmla="*/ 1216310 h 4687251"/>
              <a:gd name="connsiteX43804" fmla="*/ 4140343 w 8079933"/>
              <a:gd name="connsiteY43804" fmla="*/ 1213604 h 4687251"/>
              <a:gd name="connsiteX43805" fmla="*/ 4143382 w 8079933"/>
              <a:gd name="connsiteY43805" fmla="*/ 1213604 h 4687251"/>
              <a:gd name="connsiteX43806" fmla="*/ 4144793 w 8079933"/>
              <a:gd name="connsiteY43806" fmla="*/ 1211438 h 4687251"/>
              <a:gd name="connsiteX43807" fmla="*/ 4147180 w 8079933"/>
              <a:gd name="connsiteY43807" fmla="*/ 1212954 h 4687251"/>
              <a:gd name="connsiteX43808" fmla="*/ 4147939 w 8079933"/>
              <a:gd name="connsiteY43808" fmla="*/ 1216528 h 4687251"/>
              <a:gd name="connsiteX43809" fmla="*/ 4151521 w 8079933"/>
              <a:gd name="connsiteY43809" fmla="*/ 1216310 h 4687251"/>
              <a:gd name="connsiteX43810" fmla="*/ 4153365 w 8079933"/>
              <a:gd name="connsiteY43810" fmla="*/ 1212413 h 4687251"/>
              <a:gd name="connsiteX43811" fmla="*/ 4156947 w 8079933"/>
              <a:gd name="connsiteY43811" fmla="*/ 1210573 h 4687251"/>
              <a:gd name="connsiteX43812" fmla="*/ 4152281 w 8079933"/>
              <a:gd name="connsiteY43812" fmla="*/ 1209165 h 4687251"/>
              <a:gd name="connsiteX43813" fmla="*/ 4151954 w 8079933"/>
              <a:gd name="connsiteY43813" fmla="*/ 1207324 h 4687251"/>
              <a:gd name="connsiteX43814" fmla="*/ 4154559 w 8079933"/>
              <a:gd name="connsiteY43814" fmla="*/ 1203535 h 4687251"/>
              <a:gd name="connsiteX43815" fmla="*/ 4160527 w 8079933"/>
              <a:gd name="connsiteY43815" fmla="*/ 1202993 h 4687251"/>
              <a:gd name="connsiteX43816" fmla="*/ 4161613 w 8079933"/>
              <a:gd name="connsiteY43816" fmla="*/ 1201045 h 4687251"/>
              <a:gd name="connsiteX43817" fmla="*/ 4158357 w 8079933"/>
              <a:gd name="connsiteY43817" fmla="*/ 1199420 h 4687251"/>
              <a:gd name="connsiteX43818" fmla="*/ 4161504 w 8079933"/>
              <a:gd name="connsiteY43818" fmla="*/ 1196714 h 4687251"/>
              <a:gd name="connsiteX43819" fmla="*/ 4165302 w 8079933"/>
              <a:gd name="connsiteY43819" fmla="*/ 1195090 h 4687251"/>
              <a:gd name="connsiteX43820" fmla="*/ 4165411 w 8079933"/>
              <a:gd name="connsiteY43820" fmla="*/ 1192924 h 4687251"/>
              <a:gd name="connsiteX43821" fmla="*/ 4168341 w 8079933"/>
              <a:gd name="connsiteY43821" fmla="*/ 1191625 h 4687251"/>
              <a:gd name="connsiteX43822" fmla="*/ 4171813 w 8079933"/>
              <a:gd name="connsiteY43822" fmla="*/ 1191625 h 4687251"/>
              <a:gd name="connsiteX43823" fmla="*/ 4175720 w 8079933"/>
              <a:gd name="connsiteY43823" fmla="*/ 1187294 h 4687251"/>
              <a:gd name="connsiteX43824" fmla="*/ 4178650 w 8079933"/>
              <a:gd name="connsiteY43824" fmla="*/ 1186753 h 4687251"/>
              <a:gd name="connsiteX43825" fmla="*/ 4180603 w 8079933"/>
              <a:gd name="connsiteY43825" fmla="*/ 1181339 h 4687251"/>
              <a:gd name="connsiteX43826" fmla="*/ 4178541 w 8079933"/>
              <a:gd name="connsiteY43826" fmla="*/ 1181339 h 4687251"/>
              <a:gd name="connsiteX43827" fmla="*/ 4176479 w 8079933"/>
              <a:gd name="connsiteY43827" fmla="*/ 1184912 h 4687251"/>
              <a:gd name="connsiteX43828" fmla="*/ 4173767 w 8079933"/>
              <a:gd name="connsiteY43828" fmla="*/ 1185129 h 4687251"/>
              <a:gd name="connsiteX43829" fmla="*/ 4172030 w 8079933"/>
              <a:gd name="connsiteY43829" fmla="*/ 1181123 h 4687251"/>
              <a:gd name="connsiteX43830" fmla="*/ 4172139 w 8079933"/>
              <a:gd name="connsiteY43830" fmla="*/ 1177008 h 4687251"/>
              <a:gd name="connsiteX43831" fmla="*/ 4170728 w 8079933"/>
              <a:gd name="connsiteY43831" fmla="*/ 1176684 h 4687251"/>
              <a:gd name="connsiteX43832" fmla="*/ 4170836 w 8079933"/>
              <a:gd name="connsiteY43832" fmla="*/ 1172894 h 4687251"/>
              <a:gd name="connsiteX43833" fmla="*/ 4173115 w 8079933"/>
              <a:gd name="connsiteY43833" fmla="*/ 1171595 h 4687251"/>
              <a:gd name="connsiteX43834" fmla="*/ 4178324 w 8079933"/>
              <a:gd name="connsiteY43834" fmla="*/ 1175059 h 4687251"/>
              <a:gd name="connsiteX43835" fmla="*/ 4178650 w 8079933"/>
              <a:gd name="connsiteY43835" fmla="*/ 1172461 h 4687251"/>
              <a:gd name="connsiteX43836" fmla="*/ 4177890 w 8079933"/>
              <a:gd name="connsiteY43836" fmla="*/ 1170512 h 4687251"/>
              <a:gd name="connsiteX43837" fmla="*/ 4173984 w 8079933"/>
              <a:gd name="connsiteY43837" fmla="*/ 1169429 h 4687251"/>
              <a:gd name="connsiteX43838" fmla="*/ 4173767 w 8079933"/>
              <a:gd name="connsiteY43838" fmla="*/ 1165640 h 4687251"/>
              <a:gd name="connsiteX43839" fmla="*/ 4175394 w 8079933"/>
              <a:gd name="connsiteY43839" fmla="*/ 1164341 h 4687251"/>
              <a:gd name="connsiteX43840" fmla="*/ 4177890 w 8079933"/>
              <a:gd name="connsiteY43840" fmla="*/ 1166723 h 4687251"/>
              <a:gd name="connsiteX43841" fmla="*/ 4179952 w 8079933"/>
              <a:gd name="connsiteY43841" fmla="*/ 1166723 h 4687251"/>
              <a:gd name="connsiteX43842" fmla="*/ 4179410 w 8079933"/>
              <a:gd name="connsiteY43842" fmla="*/ 1163692 h 4687251"/>
              <a:gd name="connsiteX43843" fmla="*/ 4177239 w 8079933"/>
              <a:gd name="connsiteY43843" fmla="*/ 1161201 h 4687251"/>
              <a:gd name="connsiteX43844" fmla="*/ 4178541 w 8079933"/>
              <a:gd name="connsiteY43844" fmla="*/ 1160443 h 4687251"/>
              <a:gd name="connsiteX43845" fmla="*/ 4178324 w 8079933"/>
              <a:gd name="connsiteY43845" fmla="*/ 1157303 h 4687251"/>
              <a:gd name="connsiteX43846" fmla="*/ 4180495 w 8079933"/>
              <a:gd name="connsiteY43846" fmla="*/ 1154596 h 4687251"/>
              <a:gd name="connsiteX43847" fmla="*/ 4182665 w 8079933"/>
              <a:gd name="connsiteY43847" fmla="*/ 1154596 h 4687251"/>
              <a:gd name="connsiteX43848" fmla="*/ 4185378 w 8079933"/>
              <a:gd name="connsiteY43848" fmla="*/ 1157520 h 4687251"/>
              <a:gd name="connsiteX43849" fmla="*/ 4185486 w 8079933"/>
              <a:gd name="connsiteY43849" fmla="*/ 1153947 h 4687251"/>
              <a:gd name="connsiteX43850" fmla="*/ 4183208 w 8079933"/>
              <a:gd name="connsiteY43850" fmla="*/ 1151782 h 4687251"/>
              <a:gd name="connsiteX43851" fmla="*/ 4182773 w 8079933"/>
              <a:gd name="connsiteY43851" fmla="*/ 1148641 h 4687251"/>
              <a:gd name="connsiteX43852" fmla="*/ 4178107 w 8079933"/>
              <a:gd name="connsiteY43852" fmla="*/ 1148533 h 4687251"/>
              <a:gd name="connsiteX43853" fmla="*/ 4176697 w 8079933"/>
              <a:gd name="connsiteY43853" fmla="*/ 1147017 h 4687251"/>
              <a:gd name="connsiteX43854" fmla="*/ 4181145 w 8079933"/>
              <a:gd name="connsiteY43854" fmla="*/ 1142903 h 4687251"/>
              <a:gd name="connsiteX43855" fmla="*/ 4187656 w 8079933"/>
              <a:gd name="connsiteY43855" fmla="*/ 1142795 h 4687251"/>
              <a:gd name="connsiteX43856" fmla="*/ 4189501 w 8079933"/>
              <a:gd name="connsiteY43856" fmla="*/ 1144527 h 4687251"/>
              <a:gd name="connsiteX43857" fmla="*/ 4193517 w 8079933"/>
              <a:gd name="connsiteY43857" fmla="*/ 1144527 h 4687251"/>
              <a:gd name="connsiteX43858" fmla="*/ 4193517 w 8079933"/>
              <a:gd name="connsiteY43858" fmla="*/ 1142362 h 4687251"/>
              <a:gd name="connsiteX43859" fmla="*/ 4196338 w 8079933"/>
              <a:gd name="connsiteY43859" fmla="*/ 1139655 h 4687251"/>
              <a:gd name="connsiteX43860" fmla="*/ 4192757 w 8079933"/>
              <a:gd name="connsiteY43860" fmla="*/ 1141280 h 4687251"/>
              <a:gd name="connsiteX43861" fmla="*/ 4190261 w 8079933"/>
              <a:gd name="connsiteY43861" fmla="*/ 1140521 h 4687251"/>
              <a:gd name="connsiteX43862" fmla="*/ 4189284 w 8079933"/>
              <a:gd name="connsiteY43862" fmla="*/ 1137706 h 4687251"/>
              <a:gd name="connsiteX43863" fmla="*/ 4182990 w 8079933"/>
              <a:gd name="connsiteY43863" fmla="*/ 1135541 h 4687251"/>
              <a:gd name="connsiteX43864" fmla="*/ 4180495 w 8079933"/>
              <a:gd name="connsiteY43864" fmla="*/ 1134458 h 4687251"/>
              <a:gd name="connsiteX43865" fmla="*/ 4181905 w 8079933"/>
              <a:gd name="connsiteY43865" fmla="*/ 1131860 h 4687251"/>
              <a:gd name="connsiteX43866" fmla="*/ 4181905 w 8079933"/>
              <a:gd name="connsiteY43866" fmla="*/ 1129261 h 4687251"/>
              <a:gd name="connsiteX43867" fmla="*/ 4183533 w 8079933"/>
              <a:gd name="connsiteY43867" fmla="*/ 1130777 h 4687251"/>
              <a:gd name="connsiteX43868" fmla="*/ 4186463 w 8079933"/>
              <a:gd name="connsiteY43868" fmla="*/ 1130344 h 4687251"/>
              <a:gd name="connsiteX43869" fmla="*/ 4188959 w 8079933"/>
              <a:gd name="connsiteY43869" fmla="*/ 1128720 h 4687251"/>
              <a:gd name="connsiteX43870" fmla="*/ 4186463 w 8079933"/>
              <a:gd name="connsiteY43870" fmla="*/ 1128720 h 4687251"/>
              <a:gd name="connsiteX43871" fmla="*/ 4185920 w 8079933"/>
              <a:gd name="connsiteY43871" fmla="*/ 1126013 h 4687251"/>
              <a:gd name="connsiteX43872" fmla="*/ 4187874 w 8079933"/>
              <a:gd name="connsiteY43872" fmla="*/ 1124281 h 4687251"/>
              <a:gd name="connsiteX43873" fmla="*/ 4184835 w 8079933"/>
              <a:gd name="connsiteY43873" fmla="*/ 1121791 h 4687251"/>
              <a:gd name="connsiteX43874" fmla="*/ 4186246 w 8079933"/>
              <a:gd name="connsiteY43874" fmla="*/ 1120383 h 4687251"/>
              <a:gd name="connsiteX43875" fmla="*/ 4186788 w 8079933"/>
              <a:gd name="connsiteY43875" fmla="*/ 1121574 h 4687251"/>
              <a:gd name="connsiteX43876" fmla="*/ 4191129 w 8079933"/>
              <a:gd name="connsiteY43876" fmla="*/ 1122332 h 4687251"/>
              <a:gd name="connsiteX43877" fmla="*/ 4192214 w 8079933"/>
              <a:gd name="connsiteY43877" fmla="*/ 1120599 h 4687251"/>
              <a:gd name="connsiteX43878" fmla="*/ 4189284 w 8079933"/>
              <a:gd name="connsiteY43878" fmla="*/ 1117893 h 4687251"/>
              <a:gd name="connsiteX43879" fmla="*/ 4190587 w 8079933"/>
              <a:gd name="connsiteY43879" fmla="*/ 1116702 h 4687251"/>
              <a:gd name="connsiteX43880" fmla="*/ 4192431 w 8079933"/>
              <a:gd name="connsiteY43880" fmla="*/ 1117676 h 4687251"/>
              <a:gd name="connsiteX43881" fmla="*/ 4195579 w 8079933"/>
              <a:gd name="connsiteY43881" fmla="*/ 1116485 h 4687251"/>
              <a:gd name="connsiteX43882" fmla="*/ 4192866 w 8079933"/>
              <a:gd name="connsiteY43882" fmla="*/ 1113129 h 4687251"/>
              <a:gd name="connsiteX43883" fmla="*/ 4189284 w 8079933"/>
              <a:gd name="connsiteY43883" fmla="*/ 1111613 h 4687251"/>
              <a:gd name="connsiteX43884" fmla="*/ 4189827 w 8079933"/>
              <a:gd name="connsiteY43884" fmla="*/ 1109340 h 4687251"/>
              <a:gd name="connsiteX43885" fmla="*/ 4193082 w 8079933"/>
              <a:gd name="connsiteY43885" fmla="*/ 1109123 h 4687251"/>
              <a:gd name="connsiteX43886" fmla="*/ 4198942 w 8079933"/>
              <a:gd name="connsiteY43886" fmla="*/ 1106091 h 4687251"/>
              <a:gd name="connsiteX43887" fmla="*/ 4200570 w 8079933"/>
              <a:gd name="connsiteY43887" fmla="*/ 1107607 h 4687251"/>
              <a:gd name="connsiteX43888" fmla="*/ 4204368 w 8079933"/>
              <a:gd name="connsiteY43888" fmla="*/ 1105550 h 4687251"/>
              <a:gd name="connsiteX43889" fmla="*/ 4204368 w 8079933"/>
              <a:gd name="connsiteY43889" fmla="*/ 1101977 h 4687251"/>
              <a:gd name="connsiteX43890" fmla="*/ 4210987 w 8079933"/>
              <a:gd name="connsiteY43890" fmla="*/ 1100895 h 4687251"/>
              <a:gd name="connsiteX43891" fmla="*/ 4213375 w 8079933"/>
              <a:gd name="connsiteY43891" fmla="*/ 1099487 h 4687251"/>
              <a:gd name="connsiteX43892" fmla="*/ 4218258 w 8079933"/>
              <a:gd name="connsiteY43892" fmla="*/ 1099487 h 4687251"/>
              <a:gd name="connsiteX43893" fmla="*/ 4224444 w 8079933"/>
              <a:gd name="connsiteY43893" fmla="*/ 1103385 h 4687251"/>
              <a:gd name="connsiteX43894" fmla="*/ 4224444 w 8079933"/>
              <a:gd name="connsiteY43894" fmla="*/ 1100678 h 4687251"/>
              <a:gd name="connsiteX43895" fmla="*/ 4221514 w 8079933"/>
              <a:gd name="connsiteY43895" fmla="*/ 1099054 h 4687251"/>
              <a:gd name="connsiteX43896" fmla="*/ 4220211 w 8079933"/>
              <a:gd name="connsiteY43896" fmla="*/ 1095264 h 4687251"/>
              <a:gd name="connsiteX43897" fmla="*/ 4216305 w 8079933"/>
              <a:gd name="connsiteY43897" fmla="*/ 1096564 h 4687251"/>
              <a:gd name="connsiteX43898" fmla="*/ 4213700 w 8079933"/>
              <a:gd name="connsiteY43898" fmla="*/ 1094073 h 4687251"/>
              <a:gd name="connsiteX43899" fmla="*/ 4209903 w 8079933"/>
              <a:gd name="connsiteY43899" fmla="*/ 1096564 h 4687251"/>
              <a:gd name="connsiteX43900" fmla="*/ 4205453 w 8079933"/>
              <a:gd name="connsiteY43900" fmla="*/ 1094507 h 4687251"/>
              <a:gd name="connsiteX43901" fmla="*/ 4205453 w 8079933"/>
              <a:gd name="connsiteY43901" fmla="*/ 1091691 h 4687251"/>
              <a:gd name="connsiteX43902" fmla="*/ 4209577 w 8079933"/>
              <a:gd name="connsiteY43902" fmla="*/ 1088660 h 4687251"/>
              <a:gd name="connsiteX43903" fmla="*/ 4213917 w 8079933"/>
              <a:gd name="connsiteY43903" fmla="*/ 1088227 h 4687251"/>
              <a:gd name="connsiteX43904" fmla="*/ 4210662 w 8079933"/>
              <a:gd name="connsiteY43904" fmla="*/ 1085736 h 4687251"/>
              <a:gd name="connsiteX43905" fmla="*/ 4213592 w 8079933"/>
              <a:gd name="connsiteY43905" fmla="*/ 1082705 h 4687251"/>
              <a:gd name="connsiteX43906" fmla="*/ 4215762 w 8079933"/>
              <a:gd name="connsiteY43906" fmla="*/ 1082272 h 4687251"/>
              <a:gd name="connsiteX43907" fmla="*/ 4219343 w 8079933"/>
              <a:gd name="connsiteY43907" fmla="*/ 1086928 h 4687251"/>
              <a:gd name="connsiteX43908" fmla="*/ 4222273 w 8079933"/>
              <a:gd name="connsiteY43908" fmla="*/ 1086603 h 4687251"/>
              <a:gd name="connsiteX43909" fmla="*/ 4225638 w 8079933"/>
              <a:gd name="connsiteY43909" fmla="*/ 1089309 h 4687251"/>
              <a:gd name="connsiteX43910" fmla="*/ 4225855 w 8079933"/>
              <a:gd name="connsiteY43910" fmla="*/ 1085736 h 4687251"/>
              <a:gd name="connsiteX43911" fmla="*/ 4220754 w 8079933"/>
              <a:gd name="connsiteY43911" fmla="*/ 1082705 h 4687251"/>
              <a:gd name="connsiteX43912" fmla="*/ 4218475 w 8079933"/>
              <a:gd name="connsiteY43912" fmla="*/ 1079240 h 4687251"/>
              <a:gd name="connsiteX43913" fmla="*/ 4219343 w 8079933"/>
              <a:gd name="connsiteY43913" fmla="*/ 1074585 h 4687251"/>
              <a:gd name="connsiteX43914" fmla="*/ 4225638 w 8079933"/>
              <a:gd name="connsiteY43914" fmla="*/ 1073826 h 4687251"/>
              <a:gd name="connsiteX43915" fmla="*/ 4223576 w 8079933"/>
              <a:gd name="connsiteY43915" fmla="*/ 1070795 h 4687251"/>
              <a:gd name="connsiteX43916" fmla="*/ 4219669 w 8079933"/>
              <a:gd name="connsiteY43916" fmla="*/ 1070579 h 4687251"/>
              <a:gd name="connsiteX43917" fmla="*/ 4215329 w 8079933"/>
              <a:gd name="connsiteY43917" fmla="*/ 1075559 h 4687251"/>
              <a:gd name="connsiteX43918" fmla="*/ 4211964 w 8079933"/>
              <a:gd name="connsiteY43918" fmla="*/ 1076317 h 4687251"/>
              <a:gd name="connsiteX43919" fmla="*/ 4214785 w 8079933"/>
              <a:gd name="connsiteY43919" fmla="*/ 1072419 h 4687251"/>
              <a:gd name="connsiteX43920" fmla="*/ 4211964 w 8079933"/>
              <a:gd name="connsiteY43920" fmla="*/ 1069712 h 4687251"/>
              <a:gd name="connsiteX43921" fmla="*/ 4213700 w 8079933"/>
              <a:gd name="connsiteY43921" fmla="*/ 1065273 h 4687251"/>
              <a:gd name="connsiteX43922" fmla="*/ 4217173 w 8079933"/>
              <a:gd name="connsiteY43922" fmla="*/ 1065165 h 4687251"/>
              <a:gd name="connsiteX43923" fmla="*/ 4219018 w 8079933"/>
              <a:gd name="connsiteY43923" fmla="*/ 1066789 h 4687251"/>
              <a:gd name="connsiteX43924" fmla="*/ 4227699 w 8079933"/>
              <a:gd name="connsiteY43924" fmla="*/ 1065490 h 4687251"/>
              <a:gd name="connsiteX43925" fmla="*/ 4229978 w 8079933"/>
              <a:gd name="connsiteY43925" fmla="*/ 1061917 h 4687251"/>
              <a:gd name="connsiteX43926" fmla="*/ 4225855 w 8079933"/>
              <a:gd name="connsiteY43926" fmla="*/ 1059426 h 4687251"/>
              <a:gd name="connsiteX43927" fmla="*/ 4220754 w 8079933"/>
              <a:gd name="connsiteY43927" fmla="*/ 1059535 h 4687251"/>
              <a:gd name="connsiteX43928" fmla="*/ 4217498 w 8079933"/>
              <a:gd name="connsiteY43928" fmla="*/ 1056179 h 4687251"/>
              <a:gd name="connsiteX43929" fmla="*/ 4221297 w 8079933"/>
              <a:gd name="connsiteY43929" fmla="*/ 1051956 h 4687251"/>
              <a:gd name="connsiteX43930" fmla="*/ 4224010 w 8079933"/>
              <a:gd name="connsiteY43930" fmla="*/ 1052281 h 4687251"/>
              <a:gd name="connsiteX43931" fmla="*/ 4222816 w 8079933"/>
              <a:gd name="connsiteY43931" fmla="*/ 1054338 h 4687251"/>
              <a:gd name="connsiteX43932" fmla="*/ 4224444 w 8079933"/>
              <a:gd name="connsiteY43932" fmla="*/ 1057045 h 4687251"/>
              <a:gd name="connsiteX43933" fmla="*/ 4227808 w 8079933"/>
              <a:gd name="connsiteY43933" fmla="*/ 1056179 h 4687251"/>
              <a:gd name="connsiteX43934" fmla="*/ 4231064 w 8079933"/>
              <a:gd name="connsiteY43934" fmla="*/ 1052714 h 4687251"/>
              <a:gd name="connsiteX43935" fmla="*/ 4234319 w 8079933"/>
              <a:gd name="connsiteY43935" fmla="*/ 1056936 h 4687251"/>
              <a:gd name="connsiteX43936" fmla="*/ 4234210 w 8079933"/>
              <a:gd name="connsiteY43936" fmla="*/ 1061159 h 4687251"/>
              <a:gd name="connsiteX43937" fmla="*/ 4236163 w 8079933"/>
              <a:gd name="connsiteY43937" fmla="*/ 1064516 h 4687251"/>
              <a:gd name="connsiteX43938" fmla="*/ 4237032 w 8079933"/>
              <a:gd name="connsiteY43938" fmla="*/ 1062025 h 4687251"/>
              <a:gd name="connsiteX43939" fmla="*/ 4236381 w 8079933"/>
              <a:gd name="connsiteY43939" fmla="*/ 1058669 h 4687251"/>
              <a:gd name="connsiteX43940" fmla="*/ 4237791 w 8079933"/>
              <a:gd name="connsiteY43940" fmla="*/ 1055962 h 4687251"/>
              <a:gd name="connsiteX43941" fmla="*/ 4239962 w 8079933"/>
              <a:gd name="connsiteY43941" fmla="*/ 1055854 h 4687251"/>
              <a:gd name="connsiteX43942" fmla="*/ 4238551 w 8079933"/>
              <a:gd name="connsiteY43942" fmla="*/ 1052173 h 4687251"/>
              <a:gd name="connsiteX43943" fmla="*/ 4234970 w 8079933"/>
              <a:gd name="connsiteY43943" fmla="*/ 1049574 h 4687251"/>
              <a:gd name="connsiteX43944" fmla="*/ 4237574 w 8079933"/>
              <a:gd name="connsiteY43944" fmla="*/ 1049249 h 4687251"/>
              <a:gd name="connsiteX43945" fmla="*/ 4241155 w 8079933"/>
              <a:gd name="connsiteY43945" fmla="*/ 1051306 h 4687251"/>
              <a:gd name="connsiteX43946" fmla="*/ 4242566 w 8079933"/>
              <a:gd name="connsiteY43946" fmla="*/ 1048600 h 4687251"/>
              <a:gd name="connsiteX43947" fmla="*/ 4241047 w 8079933"/>
              <a:gd name="connsiteY43947" fmla="*/ 1046975 h 4687251"/>
              <a:gd name="connsiteX43948" fmla="*/ 4245821 w 8079933"/>
              <a:gd name="connsiteY43948" fmla="*/ 1046975 h 4687251"/>
              <a:gd name="connsiteX43949" fmla="*/ 4247558 w 8079933"/>
              <a:gd name="connsiteY43949" fmla="*/ 1049033 h 4687251"/>
              <a:gd name="connsiteX43950" fmla="*/ 4251464 w 8079933"/>
              <a:gd name="connsiteY43950" fmla="*/ 1048058 h 4687251"/>
              <a:gd name="connsiteX43951" fmla="*/ 4252007 w 8079933"/>
              <a:gd name="connsiteY43951" fmla="*/ 1051198 h 4687251"/>
              <a:gd name="connsiteX43952" fmla="*/ 4253852 w 8079933"/>
              <a:gd name="connsiteY43952" fmla="*/ 1053472 h 4687251"/>
              <a:gd name="connsiteX43953" fmla="*/ 4254937 w 8079933"/>
              <a:gd name="connsiteY43953" fmla="*/ 1052173 h 4687251"/>
              <a:gd name="connsiteX43954" fmla="*/ 4255805 w 8079933"/>
              <a:gd name="connsiteY43954" fmla="*/ 1045785 h 4687251"/>
              <a:gd name="connsiteX43955" fmla="*/ 4258843 w 8079933"/>
              <a:gd name="connsiteY43955" fmla="*/ 1042320 h 4687251"/>
              <a:gd name="connsiteX43956" fmla="*/ 4258735 w 8079933"/>
              <a:gd name="connsiteY43956" fmla="*/ 1039288 h 4687251"/>
              <a:gd name="connsiteX43957" fmla="*/ 4256130 w 8079933"/>
              <a:gd name="connsiteY43957" fmla="*/ 1039397 h 4687251"/>
              <a:gd name="connsiteX43958" fmla="*/ 4251790 w 8079933"/>
              <a:gd name="connsiteY43958" fmla="*/ 1041562 h 4687251"/>
              <a:gd name="connsiteX43959" fmla="*/ 4249294 w 8079933"/>
              <a:gd name="connsiteY43959" fmla="*/ 1040046 h 4687251"/>
              <a:gd name="connsiteX43960" fmla="*/ 4238985 w 8079933"/>
              <a:gd name="connsiteY43960" fmla="*/ 1042969 h 4687251"/>
              <a:gd name="connsiteX43961" fmla="*/ 4235078 w 8079933"/>
              <a:gd name="connsiteY43961" fmla="*/ 1041671 h 4687251"/>
              <a:gd name="connsiteX43962" fmla="*/ 4237466 w 8079933"/>
              <a:gd name="connsiteY43962" fmla="*/ 1037339 h 4687251"/>
              <a:gd name="connsiteX43963" fmla="*/ 4242132 w 8079933"/>
              <a:gd name="connsiteY43963" fmla="*/ 1036906 h 4687251"/>
              <a:gd name="connsiteX43964" fmla="*/ 4243543 w 8079933"/>
              <a:gd name="connsiteY43964" fmla="*/ 1035499 h 4687251"/>
              <a:gd name="connsiteX43965" fmla="*/ 4242349 w 8079933"/>
              <a:gd name="connsiteY43965" fmla="*/ 1033225 h 4687251"/>
              <a:gd name="connsiteX43966" fmla="*/ 4245388 w 8079933"/>
              <a:gd name="connsiteY43966" fmla="*/ 1029328 h 4687251"/>
              <a:gd name="connsiteX43967" fmla="*/ 4248860 w 8079933"/>
              <a:gd name="connsiteY43967" fmla="*/ 1028353 h 4687251"/>
              <a:gd name="connsiteX43968" fmla="*/ 4250814 w 8079933"/>
              <a:gd name="connsiteY43968" fmla="*/ 1030843 h 4687251"/>
              <a:gd name="connsiteX43969" fmla="*/ 4253635 w 8079933"/>
              <a:gd name="connsiteY43969" fmla="*/ 1030194 h 4687251"/>
              <a:gd name="connsiteX43970" fmla="*/ 4252332 w 8079933"/>
              <a:gd name="connsiteY43970" fmla="*/ 1029111 h 4687251"/>
              <a:gd name="connsiteX43971" fmla="*/ 4252441 w 8079933"/>
              <a:gd name="connsiteY43971" fmla="*/ 1026729 h 4687251"/>
              <a:gd name="connsiteX43972" fmla="*/ 4255805 w 8079933"/>
              <a:gd name="connsiteY43972" fmla="*/ 1026512 h 4687251"/>
              <a:gd name="connsiteX43973" fmla="*/ 4257650 w 8079933"/>
              <a:gd name="connsiteY43973" fmla="*/ 1024347 h 4687251"/>
              <a:gd name="connsiteX43974" fmla="*/ 4255045 w 8079933"/>
              <a:gd name="connsiteY43974" fmla="*/ 1022506 h 4687251"/>
              <a:gd name="connsiteX43975" fmla="*/ 4257867 w 8079933"/>
              <a:gd name="connsiteY43975" fmla="*/ 1020666 h 4687251"/>
              <a:gd name="connsiteX43976" fmla="*/ 4261665 w 8079933"/>
              <a:gd name="connsiteY43976" fmla="*/ 1020233 h 4687251"/>
              <a:gd name="connsiteX43977" fmla="*/ 4258735 w 8079933"/>
              <a:gd name="connsiteY43977" fmla="*/ 1016660 h 4687251"/>
              <a:gd name="connsiteX43978" fmla="*/ 4255697 w 8079933"/>
              <a:gd name="connsiteY43978" fmla="*/ 1017093 h 4687251"/>
              <a:gd name="connsiteX43979" fmla="*/ 4254612 w 8079933"/>
              <a:gd name="connsiteY43979" fmla="*/ 1016551 h 4687251"/>
              <a:gd name="connsiteX43980" fmla="*/ 4259060 w 8079933"/>
              <a:gd name="connsiteY43980" fmla="*/ 1011247 h 4687251"/>
              <a:gd name="connsiteX43981" fmla="*/ 4262425 w 8079933"/>
              <a:gd name="connsiteY43981" fmla="*/ 1010164 h 4687251"/>
              <a:gd name="connsiteX43982" fmla="*/ 4266223 w 8079933"/>
              <a:gd name="connsiteY43982" fmla="*/ 1012112 h 4687251"/>
              <a:gd name="connsiteX43983" fmla="*/ 4266982 w 8079933"/>
              <a:gd name="connsiteY43983" fmla="*/ 1006807 h 4687251"/>
              <a:gd name="connsiteX43984" fmla="*/ 4264812 w 8079933"/>
              <a:gd name="connsiteY43984" fmla="*/ 1004100 h 4687251"/>
              <a:gd name="connsiteX43985" fmla="*/ 4265897 w 8079933"/>
              <a:gd name="connsiteY43985" fmla="*/ 998145 h 4687251"/>
              <a:gd name="connsiteX43986" fmla="*/ 4268610 w 8079933"/>
              <a:gd name="connsiteY43986" fmla="*/ 996088 h 4687251"/>
              <a:gd name="connsiteX43987" fmla="*/ 4269587 w 8079933"/>
              <a:gd name="connsiteY43987" fmla="*/ 999770 h 4687251"/>
              <a:gd name="connsiteX43988" fmla="*/ 4271432 w 8079933"/>
              <a:gd name="connsiteY43988" fmla="*/ 1000853 h 4687251"/>
              <a:gd name="connsiteX43989" fmla="*/ 4271974 w 8079933"/>
              <a:gd name="connsiteY43989" fmla="*/ 1006374 h 4687251"/>
              <a:gd name="connsiteX43990" fmla="*/ 4276532 w 8079933"/>
              <a:gd name="connsiteY43990" fmla="*/ 1009622 h 4687251"/>
              <a:gd name="connsiteX43991" fmla="*/ 4273819 w 8079933"/>
              <a:gd name="connsiteY43991" fmla="*/ 1005075 h 4687251"/>
              <a:gd name="connsiteX43992" fmla="*/ 4277943 w 8079933"/>
              <a:gd name="connsiteY43992" fmla="*/ 1003776 h 4687251"/>
              <a:gd name="connsiteX43993" fmla="*/ 4281958 w 8079933"/>
              <a:gd name="connsiteY43993" fmla="*/ 1004317 h 4687251"/>
              <a:gd name="connsiteX43994" fmla="*/ 4280438 w 8079933"/>
              <a:gd name="connsiteY43994" fmla="*/ 1002584 h 4687251"/>
              <a:gd name="connsiteX43995" fmla="*/ 4277617 w 8079933"/>
              <a:gd name="connsiteY43995" fmla="*/ 1002151 h 4687251"/>
              <a:gd name="connsiteX43996" fmla="*/ 4271432 w 8079933"/>
              <a:gd name="connsiteY43996" fmla="*/ 997496 h 4687251"/>
              <a:gd name="connsiteX43997" fmla="*/ 4272191 w 8079933"/>
              <a:gd name="connsiteY43997" fmla="*/ 994464 h 4687251"/>
              <a:gd name="connsiteX43998" fmla="*/ 4278377 w 8079933"/>
              <a:gd name="connsiteY43998" fmla="*/ 992407 h 4687251"/>
              <a:gd name="connsiteX43999" fmla="*/ 4279787 w 8079933"/>
              <a:gd name="connsiteY43999" fmla="*/ 993274 h 4687251"/>
              <a:gd name="connsiteX44000" fmla="*/ 4282934 w 8079933"/>
              <a:gd name="connsiteY44000" fmla="*/ 1001719 h 4687251"/>
              <a:gd name="connsiteX44001" fmla="*/ 4287817 w 8079933"/>
              <a:gd name="connsiteY44001" fmla="*/ 1003776 h 4687251"/>
              <a:gd name="connsiteX44002" fmla="*/ 4289879 w 8079933"/>
              <a:gd name="connsiteY44002" fmla="*/ 1010272 h 4687251"/>
              <a:gd name="connsiteX44003" fmla="*/ 4292484 w 8079933"/>
              <a:gd name="connsiteY44003" fmla="*/ 1005183 h 4687251"/>
              <a:gd name="connsiteX44004" fmla="*/ 4290639 w 8079933"/>
              <a:gd name="connsiteY44004" fmla="*/ 1001935 h 4687251"/>
              <a:gd name="connsiteX44005" fmla="*/ 4284128 w 8079933"/>
              <a:gd name="connsiteY44005" fmla="*/ 997280 h 4687251"/>
              <a:gd name="connsiteX44006" fmla="*/ 4284453 w 8079933"/>
              <a:gd name="connsiteY44006" fmla="*/ 993165 h 4687251"/>
              <a:gd name="connsiteX44007" fmla="*/ 4282391 w 8079933"/>
              <a:gd name="connsiteY44007" fmla="*/ 988510 h 4687251"/>
              <a:gd name="connsiteX44008" fmla="*/ 4285539 w 8079933"/>
              <a:gd name="connsiteY44008" fmla="*/ 982555 h 4687251"/>
              <a:gd name="connsiteX44009" fmla="*/ 4290096 w 8079933"/>
              <a:gd name="connsiteY44009" fmla="*/ 979631 h 4687251"/>
              <a:gd name="connsiteX44010" fmla="*/ 4292484 w 8079933"/>
              <a:gd name="connsiteY44010" fmla="*/ 980172 h 4687251"/>
              <a:gd name="connsiteX44011" fmla="*/ 4294220 w 8079933"/>
              <a:gd name="connsiteY44011" fmla="*/ 986669 h 4687251"/>
              <a:gd name="connsiteX44012" fmla="*/ 4291941 w 8079933"/>
              <a:gd name="connsiteY44012" fmla="*/ 991541 h 4687251"/>
              <a:gd name="connsiteX44013" fmla="*/ 4292484 w 8079933"/>
              <a:gd name="connsiteY44013" fmla="*/ 996088 h 4687251"/>
              <a:gd name="connsiteX44014" fmla="*/ 4296173 w 8079933"/>
              <a:gd name="connsiteY44014" fmla="*/ 991433 h 4687251"/>
              <a:gd name="connsiteX44015" fmla="*/ 4295305 w 8079933"/>
              <a:gd name="connsiteY44015" fmla="*/ 989051 h 4687251"/>
              <a:gd name="connsiteX44016" fmla="*/ 4295413 w 8079933"/>
              <a:gd name="connsiteY44016" fmla="*/ 983313 h 4687251"/>
              <a:gd name="connsiteX44017" fmla="*/ 4300839 w 8079933"/>
              <a:gd name="connsiteY44017" fmla="*/ 974651 h 4687251"/>
              <a:gd name="connsiteX44018" fmla="*/ 4304204 w 8079933"/>
              <a:gd name="connsiteY44018" fmla="*/ 972486 h 4687251"/>
              <a:gd name="connsiteX44019" fmla="*/ 4306916 w 8079933"/>
              <a:gd name="connsiteY44019" fmla="*/ 985911 h 4687251"/>
              <a:gd name="connsiteX44020" fmla="*/ 4303552 w 8079933"/>
              <a:gd name="connsiteY44020" fmla="*/ 992624 h 4687251"/>
              <a:gd name="connsiteX44021" fmla="*/ 4304746 w 8079933"/>
              <a:gd name="connsiteY44021" fmla="*/ 995872 h 4687251"/>
              <a:gd name="connsiteX44022" fmla="*/ 4301165 w 8079933"/>
              <a:gd name="connsiteY44022" fmla="*/ 998470 h 4687251"/>
              <a:gd name="connsiteX44023" fmla="*/ 4301273 w 8079933"/>
              <a:gd name="connsiteY44023" fmla="*/ 1000961 h 4687251"/>
              <a:gd name="connsiteX44024" fmla="*/ 4306483 w 8079933"/>
              <a:gd name="connsiteY44024" fmla="*/ 996847 h 4687251"/>
              <a:gd name="connsiteX44025" fmla="*/ 4307568 w 8079933"/>
              <a:gd name="connsiteY44025" fmla="*/ 993165 h 4687251"/>
              <a:gd name="connsiteX44026" fmla="*/ 4310823 w 8079933"/>
              <a:gd name="connsiteY44026" fmla="*/ 988401 h 4687251"/>
              <a:gd name="connsiteX44027" fmla="*/ 4312885 w 8079933"/>
              <a:gd name="connsiteY44027" fmla="*/ 990459 h 4687251"/>
              <a:gd name="connsiteX44028" fmla="*/ 4316683 w 8079933"/>
              <a:gd name="connsiteY44028" fmla="*/ 991000 h 4687251"/>
              <a:gd name="connsiteX44029" fmla="*/ 4314621 w 8079933"/>
              <a:gd name="connsiteY44029" fmla="*/ 986669 h 4687251"/>
              <a:gd name="connsiteX44030" fmla="*/ 4309629 w 8079933"/>
              <a:gd name="connsiteY44030" fmla="*/ 984395 h 4687251"/>
              <a:gd name="connsiteX44031" fmla="*/ 4309412 w 8079933"/>
              <a:gd name="connsiteY44031" fmla="*/ 980606 h 4687251"/>
              <a:gd name="connsiteX44032" fmla="*/ 4313536 w 8079933"/>
              <a:gd name="connsiteY44032" fmla="*/ 977033 h 4687251"/>
              <a:gd name="connsiteX44033" fmla="*/ 4313645 w 8079933"/>
              <a:gd name="connsiteY44033" fmla="*/ 974543 h 4687251"/>
              <a:gd name="connsiteX44034" fmla="*/ 4317117 w 8079933"/>
              <a:gd name="connsiteY44034" fmla="*/ 971619 h 4687251"/>
              <a:gd name="connsiteX44035" fmla="*/ 4317985 w 8079933"/>
              <a:gd name="connsiteY44035" fmla="*/ 977249 h 4687251"/>
              <a:gd name="connsiteX44036" fmla="*/ 4321458 w 8079933"/>
              <a:gd name="connsiteY44036" fmla="*/ 974326 h 4687251"/>
              <a:gd name="connsiteX44037" fmla="*/ 4322760 w 8079933"/>
              <a:gd name="connsiteY44037" fmla="*/ 970320 h 4687251"/>
              <a:gd name="connsiteX44038" fmla="*/ 4325148 w 8079933"/>
              <a:gd name="connsiteY44038" fmla="*/ 973243 h 4687251"/>
              <a:gd name="connsiteX44039" fmla="*/ 4329271 w 8079933"/>
              <a:gd name="connsiteY44039" fmla="*/ 974976 h 4687251"/>
              <a:gd name="connsiteX44040" fmla="*/ 4332527 w 8079933"/>
              <a:gd name="connsiteY44040" fmla="*/ 980281 h 4687251"/>
              <a:gd name="connsiteX44041" fmla="*/ 4335673 w 8079933"/>
              <a:gd name="connsiteY44041" fmla="*/ 982555 h 4687251"/>
              <a:gd name="connsiteX44042" fmla="*/ 4336107 w 8079933"/>
              <a:gd name="connsiteY44042" fmla="*/ 979307 h 4687251"/>
              <a:gd name="connsiteX44043" fmla="*/ 4332527 w 8079933"/>
              <a:gd name="connsiteY44043" fmla="*/ 974435 h 4687251"/>
              <a:gd name="connsiteX44044" fmla="*/ 4332309 w 8079933"/>
              <a:gd name="connsiteY44044" fmla="*/ 970320 h 4687251"/>
              <a:gd name="connsiteX44045" fmla="*/ 4334697 w 8079933"/>
              <a:gd name="connsiteY44045" fmla="*/ 965881 h 4687251"/>
              <a:gd name="connsiteX44046" fmla="*/ 4329271 w 8079933"/>
              <a:gd name="connsiteY44046" fmla="*/ 965448 h 4687251"/>
              <a:gd name="connsiteX44047" fmla="*/ 4327209 w 8079933"/>
              <a:gd name="connsiteY44047" fmla="*/ 963066 h 4687251"/>
              <a:gd name="connsiteX44048" fmla="*/ 4323520 w 8079933"/>
              <a:gd name="connsiteY44048" fmla="*/ 963174 h 4687251"/>
              <a:gd name="connsiteX44049" fmla="*/ 4318311 w 8079933"/>
              <a:gd name="connsiteY44049" fmla="*/ 957003 h 4687251"/>
              <a:gd name="connsiteX44050" fmla="*/ 4318528 w 8079933"/>
              <a:gd name="connsiteY44050" fmla="*/ 955054 h 4687251"/>
              <a:gd name="connsiteX44051" fmla="*/ 4322868 w 8079933"/>
              <a:gd name="connsiteY44051" fmla="*/ 954080 h 4687251"/>
              <a:gd name="connsiteX44052" fmla="*/ 4326558 w 8079933"/>
              <a:gd name="connsiteY44052" fmla="*/ 950723 h 4687251"/>
              <a:gd name="connsiteX44053" fmla="*/ 4328186 w 8079933"/>
              <a:gd name="connsiteY44053" fmla="*/ 953863 h 4687251"/>
              <a:gd name="connsiteX44054" fmla="*/ 4330573 w 8079933"/>
              <a:gd name="connsiteY44054" fmla="*/ 950940 h 4687251"/>
              <a:gd name="connsiteX44055" fmla="*/ 4332743 w 8079933"/>
              <a:gd name="connsiteY44055" fmla="*/ 951048 h 4687251"/>
              <a:gd name="connsiteX44056" fmla="*/ 4340014 w 8079933"/>
              <a:gd name="connsiteY44056" fmla="*/ 956786 h 4687251"/>
              <a:gd name="connsiteX44057" fmla="*/ 4345331 w 8079933"/>
              <a:gd name="connsiteY44057" fmla="*/ 957111 h 4687251"/>
              <a:gd name="connsiteX44058" fmla="*/ 4349347 w 8079933"/>
              <a:gd name="connsiteY44058" fmla="*/ 956678 h 4687251"/>
              <a:gd name="connsiteX44059" fmla="*/ 4353036 w 8079933"/>
              <a:gd name="connsiteY44059" fmla="*/ 958627 h 4687251"/>
              <a:gd name="connsiteX44060" fmla="*/ 4350432 w 8079933"/>
              <a:gd name="connsiteY44060" fmla="*/ 961550 h 4687251"/>
              <a:gd name="connsiteX44061" fmla="*/ 4353253 w 8079933"/>
              <a:gd name="connsiteY44061" fmla="*/ 962308 h 4687251"/>
              <a:gd name="connsiteX44062" fmla="*/ 4354772 w 8079933"/>
              <a:gd name="connsiteY44062" fmla="*/ 968588 h 4687251"/>
              <a:gd name="connsiteX44063" fmla="*/ 4360632 w 8079933"/>
              <a:gd name="connsiteY44063" fmla="*/ 969129 h 4687251"/>
              <a:gd name="connsiteX44064" fmla="*/ 4362586 w 8079933"/>
              <a:gd name="connsiteY44064" fmla="*/ 967072 h 4687251"/>
              <a:gd name="connsiteX44065" fmla="*/ 4360958 w 8079933"/>
              <a:gd name="connsiteY44065" fmla="*/ 965340 h 4687251"/>
              <a:gd name="connsiteX44066" fmla="*/ 4357377 w 8079933"/>
              <a:gd name="connsiteY44066" fmla="*/ 963607 h 4687251"/>
              <a:gd name="connsiteX44067" fmla="*/ 4360090 w 8079933"/>
              <a:gd name="connsiteY44067" fmla="*/ 960901 h 4687251"/>
              <a:gd name="connsiteX44068" fmla="*/ 4356508 w 8079933"/>
              <a:gd name="connsiteY44068" fmla="*/ 957111 h 4687251"/>
              <a:gd name="connsiteX44069" fmla="*/ 4357485 w 8079933"/>
              <a:gd name="connsiteY44069" fmla="*/ 953646 h 4687251"/>
              <a:gd name="connsiteX44070" fmla="*/ 4361934 w 8079933"/>
              <a:gd name="connsiteY44070" fmla="*/ 950723 h 4687251"/>
              <a:gd name="connsiteX44071" fmla="*/ 4359981 w 8079933"/>
              <a:gd name="connsiteY44071" fmla="*/ 949424 h 4687251"/>
              <a:gd name="connsiteX44072" fmla="*/ 4359981 w 8079933"/>
              <a:gd name="connsiteY44072" fmla="*/ 947583 h 4687251"/>
              <a:gd name="connsiteX44073" fmla="*/ 4363128 w 8079933"/>
              <a:gd name="connsiteY44073" fmla="*/ 946284 h 4687251"/>
              <a:gd name="connsiteX44074" fmla="*/ 4365624 w 8079933"/>
              <a:gd name="connsiteY44074" fmla="*/ 941303 h 4687251"/>
              <a:gd name="connsiteX44075" fmla="*/ 4367794 w 8079933"/>
              <a:gd name="connsiteY44075" fmla="*/ 941087 h 4687251"/>
              <a:gd name="connsiteX44076" fmla="*/ 4372027 w 8079933"/>
              <a:gd name="connsiteY44076" fmla="*/ 943902 h 4687251"/>
              <a:gd name="connsiteX44077" fmla="*/ 4373545 w 8079933"/>
              <a:gd name="connsiteY44077" fmla="*/ 942386 h 4687251"/>
              <a:gd name="connsiteX44078" fmla="*/ 4372135 w 8079933"/>
              <a:gd name="connsiteY44078" fmla="*/ 940546 h 4687251"/>
              <a:gd name="connsiteX44079" fmla="*/ 4372460 w 8079933"/>
              <a:gd name="connsiteY44079" fmla="*/ 938056 h 4687251"/>
              <a:gd name="connsiteX44080" fmla="*/ 4375282 w 8079933"/>
              <a:gd name="connsiteY44080" fmla="*/ 935457 h 4687251"/>
              <a:gd name="connsiteX44081" fmla="*/ 4377670 w 8079933"/>
              <a:gd name="connsiteY44081" fmla="*/ 937839 h 4687251"/>
              <a:gd name="connsiteX44082" fmla="*/ 4378971 w 8079933"/>
              <a:gd name="connsiteY44082" fmla="*/ 936431 h 4687251"/>
              <a:gd name="connsiteX44083" fmla="*/ 4377670 w 8079933"/>
              <a:gd name="connsiteY44083" fmla="*/ 932425 h 4687251"/>
              <a:gd name="connsiteX44084" fmla="*/ 4372244 w 8079933"/>
              <a:gd name="connsiteY44084" fmla="*/ 928744 h 4687251"/>
              <a:gd name="connsiteX44085" fmla="*/ 4371592 w 8079933"/>
              <a:gd name="connsiteY44085" fmla="*/ 927012 h 4687251"/>
              <a:gd name="connsiteX44086" fmla="*/ 4373654 w 8079933"/>
              <a:gd name="connsiteY44086" fmla="*/ 925063 h 4687251"/>
              <a:gd name="connsiteX44087" fmla="*/ 4376258 w 8079933"/>
              <a:gd name="connsiteY44087" fmla="*/ 926579 h 4687251"/>
              <a:gd name="connsiteX44088" fmla="*/ 4378211 w 8079933"/>
              <a:gd name="connsiteY44088" fmla="*/ 928961 h 4687251"/>
              <a:gd name="connsiteX44089" fmla="*/ 4379623 w 8079933"/>
              <a:gd name="connsiteY44089" fmla="*/ 926146 h 4687251"/>
              <a:gd name="connsiteX44090" fmla="*/ 4379080 w 8079933"/>
              <a:gd name="connsiteY44090" fmla="*/ 920407 h 4687251"/>
              <a:gd name="connsiteX44091" fmla="*/ 4381901 w 8079933"/>
              <a:gd name="connsiteY44091" fmla="*/ 918891 h 4687251"/>
              <a:gd name="connsiteX44092" fmla="*/ 4385808 w 8079933"/>
              <a:gd name="connsiteY44092" fmla="*/ 919650 h 4687251"/>
              <a:gd name="connsiteX44093" fmla="*/ 4388955 w 8079933"/>
              <a:gd name="connsiteY44093" fmla="*/ 922789 h 4687251"/>
              <a:gd name="connsiteX44094" fmla="*/ 4389063 w 8079933"/>
              <a:gd name="connsiteY44094" fmla="*/ 926903 h 4687251"/>
              <a:gd name="connsiteX44095" fmla="*/ 4391777 w 8079933"/>
              <a:gd name="connsiteY44095" fmla="*/ 923872 h 4687251"/>
              <a:gd name="connsiteX44096" fmla="*/ 4391125 w 8079933"/>
              <a:gd name="connsiteY44096" fmla="*/ 919650 h 4687251"/>
              <a:gd name="connsiteX44097" fmla="*/ 4393078 w 8079933"/>
              <a:gd name="connsiteY44097" fmla="*/ 919000 h 4687251"/>
              <a:gd name="connsiteX44098" fmla="*/ 4396876 w 8079933"/>
              <a:gd name="connsiteY44098" fmla="*/ 922897 h 4687251"/>
              <a:gd name="connsiteX44099" fmla="*/ 4400566 w 8079933"/>
              <a:gd name="connsiteY44099" fmla="*/ 923222 h 4687251"/>
              <a:gd name="connsiteX44100" fmla="*/ 4401001 w 8079933"/>
              <a:gd name="connsiteY44100" fmla="*/ 925821 h 4687251"/>
              <a:gd name="connsiteX44101" fmla="*/ 4399915 w 8079933"/>
              <a:gd name="connsiteY44101" fmla="*/ 926579 h 4687251"/>
              <a:gd name="connsiteX44102" fmla="*/ 4398721 w 8079933"/>
              <a:gd name="connsiteY44102" fmla="*/ 931234 h 4687251"/>
              <a:gd name="connsiteX44103" fmla="*/ 4391777 w 8079933"/>
              <a:gd name="connsiteY44103" fmla="*/ 938922 h 4687251"/>
              <a:gd name="connsiteX44104" fmla="*/ 4393730 w 8079933"/>
              <a:gd name="connsiteY44104" fmla="*/ 943036 h 4687251"/>
              <a:gd name="connsiteX44105" fmla="*/ 4392102 w 8079933"/>
              <a:gd name="connsiteY44105" fmla="*/ 946176 h 4687251"/>
              <a:gd name="connsiteX44106" fmla="*/ 4392862 w 8079933"/>
              <a:gd name="connsiteY44106" fmla="*/ 950290 h 4687251"/>
              <a:gd name="connsiteX44107" fmla="*/ 4388955 w 8079933"/>
              <a:gd name="connsiteY44107" fmla="*/ 956570 h 4687251"/>
              <a:gd name="connsiteX44108" fmla="*/ 4390365 w 8079933"/>
              <a:gd name="connsiteY44108" fmla="*/ 959601 h 4687251"/>
              <a:gd name="connsiteX44109" fmla="*/ 4390365 w 8079933"/>
              <a:gd name="connsiteY44109" fmla="*/ 963715 h 4687251"/>
              <a:gd name="connsiteX44110" fmla="*/ 4393513 w 8079933"/>
              <a:gd name="connsiteY44110" fmla="*/ 962308 h 4687251"/>
              <a:gd name="connsiteX44111" fmla="*/ 4399698 w 8079933"/>
              <a:gd name="connsiteY44111" fmla="*/ 955487 h 4687251"/>
              <a:gd name="connsiteX44112" fmla="*/ 4400349 w 8079933"/>
              <a:gd name="connsiteY44112" fmla="*/ 950723 h 4687251"/>
              <a:gd name="connsiteX44113" fmla="*/ 4399047 w 8079933"/>
              <a:gd name="connsiteY44113" fmla="*/ 948233 h 4687251"/>
              <a:gd name="connsiteX44114" fmla="*/ 4400458 w 8079933"/>
              <a:gd name="connsiteY44114" fmla="*/ 942386 h 4687251"/>
              <a:gd name="connsiteX44115" fmla="*/ 4406535 w 8079933"/>
              <a:gd name="connsiteY44115" fmla="*/ 934158 h 4687251"/>
              <a:gd name="connsiteX44116" fmla="*/ 4406643 w 8079933"/>
              <a:gd name="connsiteY44116" fmla="*/ 928636 h 4687251"/>
              <a:gd name="connsiteX44117" fmla="*/ 4412612 w 8079933"/>
              <a:gd name="connsiteY44117" fmla="*/ 918783 h 4687251"/>
              <a:gd name="connsiteX44118" fmla="*/ 4414890 w 8079933"/>
              <a:gd name="connsiteY44118" fmla="*/ 918675 h 4687251"/>
              <a:gd name="connsiteX44119" fmla="*/ 4416301 w 8079933"/>
              <a:gd name="connsiteY44119" fmla="*/ 921057 h 4687251"/>
              <a:gd name="connsiteX44120" fmla="*/ 4416301 w 8079933"/>
              <a:gd name="connsiteY44120" fmla="*/ 928203 h 4687251"/>
              <a:gd name="connsiteX44121" fmla="*/ 4413588 w 8079933"/>
              <a:gd name="connsiteY44121" fmla="*/ 930909 h 4687251"/>
              <a:gd name="connsiteX44122" fmla="*/ 4413154 w 8079933"/>
              <a:gd name="connsiteY44122" fmla="*/ 933075 h 4687251"/>
              <a:gd name="connsiteX44123" fmla="*/ 4416953 w 8079933"/>
              <a:gd name="connsiteY44123" fmla="*/ 934483 h 4687251"/>
              <a:gd name="connsiteX44124" fmla="*/ 4413046 w 8079933"/>
              <a:gd name="connsiteY44124" fmla="*/ 942819 h 4687251"/>
              <a:gd name="connsiteX44125" fmla="*/ 4413372 w 8079933"/>
              <a:gd name="connsiteY44125" fmla="*/ 947367 h 4687251"/>
              <a:gd name="connsiteX44126" fmla="*/ 4416410 w 8079933"/>
              <a:gd name="connsiteY44126" fmla="*/ 945201 h 4687251"/>
              <a:gd name="connsiteX44127" fmla="*/ 4417061 w 8079933"/>
              <a:gd name="connsiteY44127" fmla="*/ 943360 h 4687251"/>
              <a:gd name="connsiteX44128" fmla="*/ 4419882 w 8079933"/>
              <a:gd name="connsiteY44128" fmla="*/ 941195 h 4687251"/>
              <a:gd name="connsiteX44129" fmla="*/ 4422921 w 8079933"/>
              <a:gd name="connsiteY44129" fmla="*/ 943360 h 4687251"/>
              <a:gd name="connsiteX44130" fmla="*/ 4424223 w 8079933"/>
              <a:gd name="connsiteY44130" fmla="*/ 941845 h 4687251"/>
              <a:gd name="connsiteX44131" fmla="*/ 4422704 w 8079933"/>
              <a:gd name="connsiteY44131" fmla="*/ 937189 h 4687251"/>
              <a:gd name="connsiteX44132" fmla="*/ 4425417 w 8079933"/>
              <a:gd name="connsiteY44132" fmla="*/ 935457 h 4687251"/>
              <a:gd name="connsiteX44133" fmla="*/ 4424549 w 8079933"/>
              <a:gd name="connsiteY44133" fmla="*/ 934050 h 4687251"/>
              <a:gd name="connsiteX44134" fmla="*/ 4424549 w 8079933"/>
              <a:gd name="connsiteY44134" fmla="*/ 930909 h 4687251"/>
              <a:gd name="connsiteX44135" fmla="*/ 4427370 w 8079933"/>
              <a:gd name="connsiteY44135" fmla="*/ 929393 h 4687251"/>
              <a:gd name="connsiteX44136" fmla="*/ 4427370 w 8079933"/>
              <a:gd name="connsiteY44136" fmla="*/ 926146 h 4687251"/>
              <a:gd name="connsiteX44137" fmla="*/ 4430192 w 8079933"/>
              <a:gd name="connsiteY44137" fmla="*/ 924846 h 4687251"/>
              <a:gd name="connsiteX44138" fmla="*/ 4430625 w 8079933"/>
              <a:gd name="connsiteY44138" fmla="*/ 922897 h 4687251"/>
              <a:gd name="connsiteX44139" fmla="*/ 4428889 w 8079933"/>
              <a:gd name="connsiteY44139" fmla="*/ 921273 h 4687251"/>
              <a:gd name="connsiteX44140" fmla="*/ 4425308 w 8079933"/>
              <a:gd name="connsiteY44140" fmla="*/ 921165 h 4687251"/>
              <a:gd name="connsiteX44141" fmla="*/ 4424223 w 8079933"/>
              <a:gd name="connsiteY44141" fmla="*/ 919433 h 4687251"/>
              <a:gd name="connsiteX44142" fmla="*/ 4425417 w 8079933"/>
              <a:gd name="connsiteY44142" fmla="*/ 915427 h 4687251"/>
              <a:gd name="connsiteX44143" fmla="*/ 4427912 w 8079933"/>
              <a:gd name="connsiteY44143" fmla="*/ 913153 h 4687251"/>
              <a:gd name="connsiteX44144" fmla="*/ 4431277 w 8079933"/>
              <a:gd name="connsiteY44144" fmla="*/ 917917 h 4687251"/>
              <a:gd name="connsiteX44145" fmla="*/ 4433338 w 8079933"/>
              <a:gd name="connsiteY44145" fmla="*/ 917917 h 4687251"/>
              <a:gd name="connsiteX44146" fmla="*/ 4435183 w 8079933"/>
              <a:gd name="connsiteY44146" fmla="*/ 915319 h 4687251"/>
              <a:gd name="connsiteX44147" fmla="*/ 4432362 w 8079933"/>
              <a:gd name="connsiteY44147" fmla="*/ 911746 h 4687251"/>
              <a:gd name="connsiteX44148" fmla="*/ 4432253 w 8079933"/>
              <a:gd name="connsiteY44148" fmla="*/ 909581 h 4687251"/>
              <a:gd name="connsiteX44149" fmla="*/ 4435617 w 8079933"/>
              <a:gd name="connsiteY44149" fmla="*/ 906332 h 4687251"/>
              <a:gd name="connsiteX44150" fmla="*/ 4438330 w 8079933"/>
              <a:gd name="connsiteY44150" fmla="*/ 908606 h 4687251"/>
              <a:gd name="connsiteX44151" fmla="*/ 4440934 w 8079933"/>
              <a:gd name="connsiteY44151" fmla="*/ 908930 h 4687251"/>
              <a:gd name="connsiteX44152" fmla="*/ 4443973 w 8079933"/>
              <a:gd name="connsiteY44152" fmla="*/ 906224 h 4687251"/>
              <a:gd name="connsiteX44153" fmla="*/ 4445167 w 8079933"/>
              <a:gd name="connsiteY44153" fmla="*/ 909364 h 4687251"/>
              <a:gd name="connsiteX44154" fmla="*/ 4444299 w 8079933"/>
              <a:gd name="connsiteY44154" fmla="*/ 912828 h 4687251"/>
              <a:gd name="connsiteX44155" fmla="*/ 4446469 w 8079933"/>
              <a:gd name="connsiteY44155" fmla="*/ 914236 h 4687251"/>
              <a:gd name="connsiteX44156" fmla="*/ 4451135 w 8079933"/>
              <a:gd name="connsiteY44156" fmla="*/ 913045 h 4687251"/>
              <a:gd name="connsiteX44157" fmla="*/ 4451895 w 8079933"/>
              <a:gd name="connsiteY44157" fmla="*/ 916077 h 4687251"/>
              <a:gd name="connsiteX44158" fmla="*/ 4449073 w 8079933"/>
              <a:gd name="connsiteY44158" fmla="*/ 923548 h 4687251"/>
              <a:gd name="connsiteX44159" fmla="*/ 4443973 w 8079933"/>
              <a:gd name="connsiteY44159" fmla="*/ 923548 h 4687251"/>
              <a:gd name="connsiteX44160" fmla="*/ 4442563 w 8079933"/>
              <a:gd name="connsiteY44160" fmla="*/ 922140 h 4687251"/>
              <a:gd name="connsiteX44161" fmla="*/ 4439198 w 8079933"/>
              <a:gd name="connsiteY44161" fmla="*/ 923222 h 4687251"/>
              <a:gd name="connsiteX44162" fmla="*/ 4439958 w 8079933"/>
              <a:gd name="connsiteY44162" fmla="*/ 925063 h 4687251"/>
              <a:gd name="connsiteX44163" fmla="*/ 4444081 w 8079933"/>
              <a:gd name="connsiteY44163" fmla="*/ 926038 h 4687251"/>
              <a:gd name="connsiteX44164" fmla="*/ 4443864 w 8079933"/>
              <a:gd name="connsiteY44164" fmla="*/ 927986 h 4687251"/>
              <a:gd name="connsiteX44165" fmla="*/ 4440826 w 8079933"/>
              <a:gd name="connsiteY44165" fmla="*/ 930477 h 4687251"/>
              <a:gd name="connsiteX44166" fmla="*/ 4440175 w 8079933"/>
              <a:gd name="connsiteY44166" fmla="*/ 932534 h 4687251"/>
              <a:gd name="connsiteX44167" fmla="*/ 4442888 w 8079933"/>
              <a:gd name="connsiteY44167" fmla="*/ 933400 h 4687251"/>
              <a:gd name="connsiteX44168" fmla="*/ 4447554 w 8079933"/>
              <a:gd name="connsiteY44168" fmla="*/ 929827 h 4687251"/>
              <a:gd name="connsiteX44169" fmla="*/ 4449290 w 8079933"/>
              <a:gd name="connsiteY44169" fmla="*/ 929611 h 4687251"/>
              <a:gd name="connsiteX44170" fmla="*/ 4449833 w 8079933"/>
              <a:gd name="connsiteY44170" fmla="*/ 931884 h 4687251"/>
              <a:gd name="connsiteX44171" fmla="*/ 4447662 w 8079933"/>
              <a:gd name="connsiteY44171" fmla="*/ 936323 h 4687251"/>
              <a:gd name="connsiteX44172" fmla="*/ 4444081 w 8079933"/>
              <a:gd name="connsiteY44172" fmla="*/ 937297 h 4687251"/>
              <a:gd name="connsiteX44173" fmla="*/ 4439632 w 8079933"/>
              <a:gd name="connsiteY44173" fmla="*/ 943577 h 4687251"/>
              <a:gd name="connsiteX44174" fmla="*/ 4445384 w 8079933"/>
              <a:gd name="connsiteY44174" fmla="*/ 940979 h 4687251"/>
              <a:gd name="connsiteX44175" fmla="*/ 4449290 w 8079933"/>
              <a:gd name="connsiteY44175" fmla="*/ 941628 h 4687251"/>
              <a:gd name="connsiteX44176" fmla="*/ 4449942 w 8079933"/>
              <a:gd name="connsiteY44176" fmla="*/ 940113 h 4687251"/>
              <a:gd name="connsiteX44177" fmla="*/ 4452871 w 8079933"/>
              <a:gd name="connsiteY44177" fmla="*/ 940437 h 4687251"/>
              <a:gd name="connsiteX44178" fmla="*/ 4454825 w 8079933"/>
              <a:gd name="connsiteY44178" fmla="*/ 944552 h 4687251"/>
              <a:gd name="connsiteX44179" fmla="*/ 4457321 w 8079933"/>
              <a:gd name="connsiteY44179" fmla="*/ 942278 h 4687251"/>
              <a:gd name="connsiteX44180" fmla="*/ 4457646 w 8079933"/>
              <a:gd name="connsiteY44180" fmla="*/ 939354 h 4687251"/>
              <a:gd name="connsiteX44181" fmla="*/ 4454933 w 8079933"/>
              <a:gd name="connsiteY44181" fmla="*/ 932534 h 4687251"/>
              <a:gd name="connsiteX44182" fmla="*/ 4455258 w 8079933"/>
              <a:gd name="connsiteY44182" fmla="*/ 930260 h 4687251"/>
              <a:gd name="connsiteX44183" fmla="*/ 4458514 w 8079933"/>
              <a:gd name="connsiteY44183" fmla="*/ 928961 h 4687251"/>
              <a:gd name="connsiteX44184" fmla="*/ 4459165 w 8079933"/>
              <a:gd name="connsiteY44184" fmla="*/ 922356 h 4687251"/>
              <a:gd name="connsiteX44185" fmla="*/ 4461987 w 8079933"/>
              <a:gd name="connsiteY44185" fmla="*/ 920732 h 4687251"/>
              <a:gd name="connsiteX44186" fmla="*/ 4466436 w 8079933"/>
              <a:gd name="connsiteY44186" fmla="*/ 920840 h 4687251"/>
              <a:gd name="connsiteX44187" fmla="*/ 4470994 w 8079933"/>
              <a:gd name="connsiteY44187" fmla="*/ 923548 h 4687251"/>
              <a:gd name="connsiteX44188" fmla="*/ 4470994 w 8079933"/>
              <a:gd name="connsiteY44188" fmla="*/ 926362 h 4687251"/>
              <a:gd name="connsiteX44189" fmla="*/ 4467955 w 8079933"/>
              <a:gd name="connsiteY44189" fmla="*/ 928528 h 4687251"/>
              <a:gd name="connsiteX44190" fmla="*/ 4468715 w 8079933"/>
              <a:gd name="connsiteY44190" fmla="*/ 930909 h 4687251"/>
              <a:gd name="connsiteX44191" fmla="*/ 4470885 w 8079933"/>
              <a:gd name="connsiteY44191" fmla="*/ 931126 h 4687251"/>
              <a:gd name="connsiteX44192" fmla="*/ 4472730 w 8079933"/>
              <a:gd name="connsiteY44192" fmla="*/ 928311 h 4687251"/>
              <a:gd name="connsiteX44193" fmla="*/ 4474791 w 8079933"/>
              <a:gd name="connsiteY44193" fmla="*/ 927986 h 4687251"/>
              <a:gd name="connsiteX44194" fmla="*/ 4474358 w 8079933"/>
              <a:gd name="connsiteY44194" fmla="*/ 931776 h 4687251"/>
              <a:gd name="connsiteX44195" fmla="*/ 4476094 w 8079933"/>
              <a:gd name="connsiteY44195" fmla="*/ 931776 h 4687251"/>
              <a:gd name="connsiteX44196" fmla="*/ 4479241 w 8079933"/>
              <a:gd name="connsiteY44196" fmla="*/ 926470 h 4687251"/>
              <a:gd name="connsiteX44197" fmla="*/ 4482496 w 8079933"/>
              <a:gd name="connsiteY44197" fmla="*/ 926254 h 4687251"/>
              <a:gd name="connsiteX44198" fmla="*/ 4483473 w 8079933"/>
              <a:gd name="connsiteY44198" fmla="*/ 927554 h 4687251"/>
              <a:gd name="connsiteX44199" fmla="*/ 4488030 w 8079933"/>
              <a:gd name="connsiteY44199" fmla="*/ 929285 h 4687251"/>
              <a:gd name="connsiteX44200" fmla="*/ 4487380 w 8079933"/>
              <a:gd name="connsiteY44200" fmla="*/ 932534 h 4687251"/>
              <a:gd name="connsiteX44201" fmla="*/ 4483582 w 8079933"/>
              <a:gd name="connsiteY44201" fmla="*/ 935024 h 4687251"/>
              <a:gd name="connsiteX44202" fmla="*/ 4484341 w 8079933"/>
              <a:gd name="connsiteY44202" fmla="*/ 936648 h 4687251"/>
              <a:gd name="connsiteX44203" fmla="*/ 4486728 w 8079933"/>
              <a:gd name="connsiteY44203" fmla="*/ 936648 h 4687251"/>
              <a:gd name="connsiteX44204" fmla="*/ 4490527 w 8079933"/>
              <a:gd name="connsiteY44204" fmla="*/ 932425 h 4687251"/>
              <a:gd name="connsiteX44205" fmla="*/ 4493782 w 8079933"/>
              <a:gd name="connsiteY44205" fmla="*/ 932425 h 4687251"/>
              <a:gd name="connsiteX44206" fmla="*/ 4499534 w 8079933"/>
              <a:gd name="connsiteY44206" fmla="*/ 937297 h 4687251"/>
              <a:gd name="connsiteX44207" fmla="*/ 4503766 w 8079933"/>
              <a:gd name="connsiteY44207" fmla="*/ 936540 h 4687251"/>
              <a:gd name="connsiteX44208" fmla="*/ 4507021 w 8079933"/>
              <a:gd name="connsiteY44208" fmla="*/ 937622 h 4687251"/>
              <a:gd name="connsiteX44209" fmla="*/ 4507998 w 8079933"/>
              <a:gd name="connsiteY44209" fmla="*/ 939463 h 4687251"/>
              <a:gd name="connsiteX44210" fmla="*/ 4510819 w 8079933"/>
              <a:gd name="connsiteY44210" fmla="*/ 940437 h 4687251"/>
              <a:gd name="connsiteX44211" fmla="*/ 4510819 w 8079933"/>
              <a:gd name="connsiteY44211" fmla="*/ 941845 h 4687251"/>
              <a:gd name="connsiteX44212" fmla="*/ 4507021 w 8079933"/>
              <a:gd name="connsiteY44212" fmla="*/ 945093 h 4687251"/>
              <a:gd name="connsiteX44213" fmla="*/ 4498014 w 8079933"/>
              <a:gd name="connsiteY44213" fmla="*/ 947367 h 4687251"/>
              <a:gd name="connsiteX44214" fmla="*/ 4493782 w 8079933"/>
              <a:gd name="connsiteY44214" fmla="*/ 955920 h 4687251"/>
              <a:gd name="connsiteX44215" fmla="*/ 4487162 w 8079933"/>
              <a:gd name="connsiteY44215" fmla="*/ 958086 h 4687251"/>
              <a:gd name="connsiteX44216" fmla="*/ 4477830 w 8079933"/>
              <a:gd name="connsiteY44216" fmla="*/ 956895 h 4687251"/>
              <a:gd name="connsiteX44217" fmla="*/ 4472947 w 8079933"/>
              <a:gd name="connsiteY44217" fmla="*/ 955920 h 4687251"/>
              <a:gd name="connsiteX44218" fmla="*/ 4467087 w 8079933"/>
              <a:gd name="connsiteY44218" fmla="*/ 956678 h 4687251"/>
              <a:gd name="connsiteX44219" fmla="*/ 4460033 w 8079933"/>
              <a:gd name="connsiteY44219" fmla="*/ 954837 h 4687251"/>
              <a:gd name="connsiteX44220" fmla="*/ 4459057 w 8079933"/>
              <a:gd name="connsiteY44220" fmla="*/ 955703 h 4687251"/>
              <a:gd name="connsiteX44221" fmla="*/ 4461878 w 8079933"/>
              <a:gd name="connsiteY44221" fmla="*/ 959385 h 4687251"/>
              <a:gd name="connsiteX44222" fmla="*/ 4467521 w 8079933"/>
              <a:gd name="connsiteY44222" fmla="*/ 960034 h 4687251"/>
              <a:gd name="connsiteX44223" fmla="*/ 4470885 w 8079933"/>
              <a:gd name="connsiteY44223" fmla="*/ 961442 h 4687251"/>
              <a:gd name="connsiteX44224" fmla="*/ 4474900 w 8079933"/>
              <a:gd name="connsiteY44224" fmla="*/ 960901 h 4687251"/>
              <a:gd name="connsiteX44225" fmla="*/ 4476745 w 8079933"/>
              <a:gd name="connsiteY44225" fmla="*/ 961983 h 4687251"/>
              <a:gd name="connsiteX44226" fmla="*/ 4478698 w 8079933"/>
              <a:gd name="connsiteY44226" fmla="*/ 967180 h 4687251"/>
              <a:gd name="connsiteX44227" fmla="*/ 4480434 w 8079933"/>
              <a:gd name="connsiteY44227" fmla="*/ 967505 h 4687251"/>
              <a:gd name="connsiteX44228" fmla="*/ 4481628 w 8079933"/>
              <a:gd name="connsiteY44228" fmla="*/ 972594 h 4687251"/>
              <a:gd name="connsiteX44229" fmla="*/ 4482822 w 8079933"/>
              <a:gd name="connsiteY44229" fmla="*/ 976384 h 4687251"/>
              <a:gd name="connsiteX44230" fmla="*/ 4484015 w 8079933"/>
              <a:gd name="connsiteY44230" fmla="*/ 973785 h 4687251"/>
              <a:gd name="connsiteX44231" fmla="*/ 4487488 w 8079933"/>
              <a:gd name="connsiteY44231" fmla="*/ 971511 h 4687251"/>
              <a:gd name="connsiteX44232" fmla="*/ 4489550 w 8079933"/>
              <a:gd name="connsiteY44232" fmla="*/ 974868 h 4687251"/>
              <a:gd name="connsiteX44233" fmla="*/ 4491287 w 8079933"/>
              <a:gd name="connsiteY44233" fmla="*/ 975950 h 4687251"/>
              <a:gd name="connsiteX44234" fmla="*/ 4491937 w 8079933"/>
              <a:gd name="connsiteY44234" fmla="*/ 970862 h 4687251"/>
              <a:gd name="connsiteX44235" fmla="*/ 4491395 w 8079933"/>
              <a:gd name="connsiteY44235" fmla="*/ 968263 h 4687251"/>
              <a:gd name="connsiteX44236" fmla="*/ 4494000 w 8079933"/>
              <a:gd name="connsiteY44236" fmla="*/ 968371 h 4687251"/>
              <a:gd name="connsiteX44237" fmla="*/ 4495193 w 8079933"/>
              <a:gd name="connsiteY44237" fmla="*/ 971078 h 4687251"/>
              <a:gd name="connsiteX44238" fmla="*/ 4497038 w 8079933"/>
              <a:gd name="connsiteY44238" fmla="*/ 972919 h 4687251"/>
              <a:gd name="connsiteX44239" fmla="*/ 4497254 w 8079933"/>
              <a:gd name="connsiteY44239" fmla="*/ 970212 h 4687251"/>
              <a:gd name="connsiteX44240" fmla="*/ 4498882 w 8079933"/>
              <a:gd name="connsiteY44240" fmla="*/ 969237 h 4687251"/>
              <a:gd name="connsiteX44241" fmla="*/ 4500727 w 8079933"/>
              <a:gd name="connsiteY44241" fmla="*/ 969237 h 4687251"/>
              <a:gd name="connsiteX44242" fmla="*/ 4504200 w 8079933"/>
              <a:gd name="connsiteY44242" fmla="*/ 971944 h 4687251"/>
              <a:gd name="connsiteX44243" fmla="*/ 4504417 w 8079933"/>
              <a:gd name="connsiteY44243" fmla="*/ 971962 h 4687251"/>
              <a:gd name="connsiteX44244" fmla="*/ 4504417 w 8079933"/>
              <a:gd name="connsiteY44244" fmla="*/ 971837 h 4687251"/>
              <a:gd name="connsiteX44245" fmla="*/ 4509517 w 8079933"/>
              <a:gd name="connsiteY44245" fmla="*/ 972487 h 4687251"/>
              <a:gd name="connsiteX44246" fmla="*/ 4511471 w 8079933"/>
              <a:gd name="connsiteY44246" fmla="*/ 974327 h 4687251"/>
              <a:gd name="connsiteX44247" fmla="*/ 4511471 w 8079933"/>
              <a:gd name="connsiteY44247" fmla="*/ 978983 h 4687251"/>
              <a:gd name="connsiteX44248" fmla="*/ 4513532 w 8079933"/>
              <a:gd name="connsiteY44248" fmla="*/ 982015 h 4687251"/>
              <a:gd name="connsiteX44249" fmla="*/ 4514183 w 8079933"/>
              <a:gd name="connsiteY44249" fmla="*/ 976060 h 4687251"/>
              <a:gd name="connsiteX44250" fmla="*/ 4516137 w 8079933"/>
              <a:gd name="connsiteY44250" fmla="*/ 972920 h 4687251"/>
              <a:gd name="connsiteX44251" fmla="*/ 4519284 w 8079933"/>
              <a:gd name="connsiteY44251" fmla="*/ 972920 h 4687251"/>
              <a:gd name="connsiteX44252" fmla="*/ 4521345 w 8079933"/>
              <a:gd name="connsiteY44252" fmla="*/ 971837 h 4687251"/>
              <a:gd name="connsiteX44253" fmla="*/ 4517331 w 8079933"/>
              <a:gd name="connsiteY44253" fmla="*/ 969022 h 4687251"/>
              <a:gd name="connsiteX44254" fmla="*/ 4517331 w 8079933"/>
              <a:gd name="connsiteY44254" fmla="*/ 967181 h 4687251"/>
              <a:gd name="connsiteX44255" fmla="*/ 4520044 w 8079933"/>
              <a:gd name="connsiteY44255" fmla="*/ 967181 h 4687251"/>
              <a:gd name="connsiteX44256" fmla="*/ 4522973 w 8079933"/>
              <a:gd name="connsiteY44256" fmla="*/ 966532 h 4687251"/>
              <a:gd name="connsiteX44257" fmla="*/ 4522973 w 8079933"/>
              <a:gd name="connsiteY44257" fmla="*/ 964691 h 4687251"/>
              <a:gd name="connsiteX44258" fmla="*/ 4521562 w 8079933"/>
              <a:gd name="connsiteY44258" fmla="*/ 964691 h 4687251"/>
              <a:gd name="connsiteX44259" fmla="*/ 4519935 w 8079933"/>
              <a:gd name="connsiteY44259" fmla="*/ 961985 h 4687251"/>
              <a:gd name="connsiteX44260" fmla="*/ 4520912 w 8079933"/>
              <a:gd name="connsiteY44260" fmla="*/ 960469 h 4687251"/>
              <a:gd name="connsiteX44261" fmla="*/ 4525469 w 8079933"/>
              <a:gd name="connsiteY44261" fmla="*/ 960469 h 4687251"/>
              <a:gd name="connsiteX44262" fmla="*/ 4530244 w 8079933"/>
              <a:gd name="connsiteY44262" fmla="*/ 962742 h 4687251"/>
              <a:gd name="connsiteX44263" fmla="*/ 4532739 w 8079933"/>
              <a:gd name="connsiteY44263" fmla="*/ 966207 h 4687251"/>
              <a:gd name="connsiteX44264" fmla="*/ 4535236 w 8079933"/>
              <a:gd name="connsiteY44264" fmla="*/ 968372 h 4687251"/>
              <a:gd name="connsiteX44265" fmla="*/ 4537081 w 8079933"/>
              <a:gd name="connsiteY44265" fmla="*/ 966532 h 4687251"/>
              <a:gd name="connsiteX44266" fmla="*/ 4540662 w 8079933"/>
              <a:gd name="connsiteY44266" fmla="*/ 968048 h 4687251"/>
              <a:gd name="connsiteX44267" fmla="*/ 4541855 w 8079933"/>
              <a:gd name="connsiteY44267" fmla="*/ 969672 h 4687251"/>
              <a:gd name="connsiteX44268" fmla="*/ 4544785 w 8079933"/>
              <a:gd name="connsiteY44268" fmla="*/ 971512 h 4687251"/>
              <a:gd name="connsiteX44269" fmla="*/ 4544785 w 8079933"/>
              <a:gd name="connsiteY44269" fmla="*/ 974003 h 4687251"/>
              <a:gd name="connsiteX44270" fmla="*/ 4540662 w 8079933"/>
              <a:gd name="connsiteY44270" fmla="*/ 977250 h 4687251"/>
              <a:gd name="connsiteX44271" fmla="*/ 4537081 w 8079933"/>
              <a:gd name="connsiteY44271" fmla="*/ 975627 h 4687251"/>
              <a:gd name="connsiteX44272" fmla="*/ 4531438 w 8079933"/>
              <a:gd name="connsiteY44272" fmla="*/ 976385 h 4687251"/>
              <a:gd name="connsiteX44273" fmla="*/ 4527857 w 8079933"/>
              <a:gd name="connsiteY44273" fmla="*/ 972703 h 4687251"/>
              <a:gd name="connsiteX44274" fmla="*/ 4527857 w 8079933"/>
              <a:gd name="connsiteY44274" fmla="*/ 969780 h 4687251"/>
              <a:gd name="connsiteX44275" fmla="*/ 4525360 w 8079933"/>
              <a:gd name="connsiteY44275" fmla="*/ 973136 h 4687251"/>
              <a:gd name="connsiteX44276" fmla="*/ 4525360 w 8079933"/>
              <a:gd name="connsiteY44276" fmla="*/ 978333 h 4687251"/>
              <a:gd name="connsiteX44277" fmla="*/ 4526663 w 8079933"/>
              <a:gd name="connsiteY44277" fmla="*/ 982556 h 4687251"/>
              <a:gd name="connsiteX44278" fmla="*/ 4529918 w 8079933"/>
              <a:gd name="connsiteY44278" fmla="*/ 979416 h 4687251"/>
              <a:gd name="connsiteX44279" fmla="*/ 4531763 w 8079933"/>
              <a:gd name="connsiteY44279" fmla="*/ 980823 h 4687251"/>
              <a:gd name="connsiteX44280" fmla="*/ 4532957 w 8079933"/>
              <a:gd name="connsiteY44280" fmla="*/ 985046 h 4687251"/>
              <a:gd name="connsiteX44281" fmla="*/ 4536755 w 8079933"/>
              <a:gd name="connsiteY44281" fmla="*/ 981798 h 4687251"/>
              <a:gd name="connsiteX44282" fmla="*/ 4540662 w 8079933"/>
              <a:gd name="connsiteY44282" fmla="*/ 983097 h 4687251"/>
              <a:gd name="connsiteX44283" fmla="*/ 4540662 w 8079933"/>
              <a:gd name="connsiteY44283" fmla="*/ 986562 h 4687251"/>
              <a:gd name="connsiteX44284" fmla="*/ 4541963 w 8079933"/>
              <a:gd name="connsiteY44284" fmla="*/ 986562 h 4687251"/>
              <a:gd name="connsiteX44285" fmla="*/ 4544134 w 8079933"/>
              <a:gd name="connsiteY44285" fmla="*/ 983638 h 4687251"/>
              <a:gd name="connsiteX44286" fmla="*/ 4545436 w 8079933"/>
              <a:gd name="connsiteY44286" fmla="*/ 985046 h 4687251"/>
              <a:gd name="connsiteX44287" fmla="*/ 4545436 w 8079933"/>
              <a:gd name="connsiteY44287" fmla="*/ 986887 h 4687251"/>
              <a:gd name="connsiteX44288" fmla="*/ 4545436 w 8079933"/>
              <a:gd name="connsiteY44288" fmla="*/ 989919 h 4687251"/>
              <a:gd name="connsiteX44289" fmla="*/ 4549451 w 8079933"/>
              <a:gd name="connsiteY44289" fmla="*/ 984830 h 4687251"/>
              <a:gd name="connsiteX44290" fmla="*/ 4551621 w 8079933"/>
              <a:gd name="connsiteY44290" fmla="*/ 982664 h 4687251"/>
              <a:gd name="connsiteX44291" fmla="*/ 4553575 w 8079933"/>
              <a:gd name="connsiteY44291" fmla="*/ 983747 h 4687251"/>
              <a:gd name="connsiteX44292" fmla="*/ 4552273 w 8079933"/>
              <a:gd name="connsiteY44292" fmla="*/ 985587 h 4687251"/>
              <a:gd name="connsiteX44293" fmla="*/ 4551404 w 8079933"/>
              <a:gd name="connsiteY44293" fmla="*/ 988294 h 4687251"/>
              <a:gd name="connsiteX44294" fmla="*/ 4554986 w 8079933"/>
              <a:gd name="connsiteY44294" fmla="*/ 988294 h 4687251"/>
              <a:gd name="connsiteX44295" fmla="*/ 4556614 w 8079933"/>
              <a:gd name="connsiteY44295" fmla="*/ 990243 h 4687251"/>
              <a:gd name="connsiteX44296" fmla="*/ 4553683 w 8079933"/>
              <a:gd name="connsiteY44296" fmla="*/ 992084 h 4687251"/>
              <a:gd name="connsiteX44297" fmla="*/ 4550753 w 8079933"/>
              <a:gd name="connsiteY44297" fmla="*/ 996631 h 4687251"/>
              <a:gd name="connsiteX44298" fmla="*/ 4555854 w 8079933"/>
              <a:gd name="connsiteY44298" fmla="*/ 996631 h 4687251"/>
              <a:gd name="connsiteX44299" fmla="*/ 4558892 w 8079933"/>
              <a:gd name="connsiteY44299" fmla="*/ 990893 h 4687251"/>
              <a:gd name="connsiteX44300" fmla="*/ 4558024 w 8079933"/>
              <a:gd name="connsiteY44300" fmla="*/ 987861 h 4687251"/>
              <a:gd name="connsiteX44301" fmla="*/ 4559869 w 8079933"/>
              <a:gd name="connsiteY44301" fmla="*/ 986021 h 4687251"/>
              <a:gd name="connsiteX44302" fmla="*/ 4564752 w 8079933"/>
              <a:gd name="connsiteY44302" fmla="*/ 985479 h 4687251"/>
              <a:gd name="connsiteX44303" fmla="*/ 4568008 w 8079933"/>
              <a:gd name="connsiteY44303" fmla="*/ 987861 h 4687251"/>
              <a:gd name="connsiteX44304" fmla="*/ 4568767 w 8079933"/>
              <a:gd name="connsiteY44304" fmla="*/ 985695 h 4687251"/>
              <a:gd name="connsiteX44305" fmla="*/ 4566271 w 8079933"/>
              <a:gd name="connsiteY44305" fmla="*/ 982231 h 4687251"/>
              <a:gd name="connsiteX44306" fmla="*/ 4566271 w 8079933"/>
              <a:gd name="connsiteY44306" fmla="*/ 980932 h 4687251"/>
              <a:gd name="connsiteX44307" fmla="*/ 4570829 w 8079933"/>
              <a:gd name="connsiteY44307" fmla="*/ 982881 h 4687251"/>
              <a:gd name="connsiteX44308" fmla="*/ 4573867 w 8079933"/>
              <a:gd name="connsiteY44308" fmla="*/ 986995 h 4687251"/>
              <a:gd name="connsiteX44309" fmla="*/ 4580704 w 8079933"/>
              <a:gd name="connsiteY44309" fmla="*/ 986995 h 4687251"/>
              <a:gd name="connsiteX44310" fmla="*/ 4585370 w 8079933"/>
              <a:gd name="connsiteY44310" fmla="*/ 988836 h 4687251"/>
              <a:gd name="connsiteX44311" fmla="*/ 4588951 w 8079933"/>
              <a:gd name="connsiteY44311" fmla="*/ 986887 h 4687251"/>
              <a:gd name="connsiteX44312" fmla="*/ 4588951 w 8079933"/>
              <a:gd name="connsiteY44312" fmla="*/ 984505 h 4687251"/>
              <a:gd name="connsiteX44313" fmla="*/ 4594703 w 8079933"/>
              <a:gd name="connsiteY44313" fmla="*/ 985804 h 4687251"/>
              <a:gd name="connsiteX44314" fmla="*/ 4599803 w 8079933"/>
              <a:gd name="connsiteY44314" fmla="*/ 988836 h 4687251"/>
              <a:gd name="connsiteX44315" fmla="*/ 4600562 w 8079933"/>
              <a:gd name="connsiteY44315" fmla="*/ 986887 h 4687251"/>
              <a:gd name="connsiteX44316" fmla="*/ 4606205 w 8079933"/>
              <a:gd name="connsiteY44316" fmla="*/ 989268 h 4687251"/>
              <a:gd name="connsiteX44317" fmla="*/ 4630622 w 8079933"/>
              <a:gd name="connsiteY44317" fmla="*/ 1002261 h 4687251"/>
              <a:gd name="connsiteX44318" fmla="*/ 4647116 w 8079933"/>
              <a:gd name="connsiteY44318" fmla="*/ 1013088 h 4687251"/>
              <a:gd name="connsiteX44319" fmla="*/ 4650589 w 8079933"/>
              <a:gd name="connsiteY44319" fmla="*/ 1017094 h 4687251"/>
              <a:gd name="connsiteX44320" fmla="*/ 4655147 w 8079933"/>
              <a:gd name="connsiteY44320" fmla="*/ 1018502 h 4687251"/>
              <a:gd name="connsiteX44321" fmla="*/ 4660789 w 8079933"/>
              <a:gd name="connsiteY44321" fmla="*/ 1026839 h 4687251"/>
              <a:gd name="connsiteX44322" fmla="*/ 4664370 w 8079933"/>
              <a:gd name="connsiteY44322" fmla="*/ 1027705 h 4687251"/>
              <a:gd name="connsiteX44323" fmla="*/ 4663502 w 8079933"/>
              <a:gd name="connsiteY44323" fmla="*/ 1024998 h 4687251"/>
              <a:gd name="connsiteX44324" fmla="*/ 4663502 w 8079933"/>
              <a:gd name="connsiteY44324" fmla="*/ 1023807 h 4687251"/>
              <a:gd name="connsiteX44325" fmla="*/ 4665890 w 8079933"/>
              <a:gd name="connsiteY44325" fmla="*/ 1023807 h 4687251"/>
              <a:gd name="connsiteX44326" fmla="*/ 4672726 w 8079933"/>
              <a:gd name="connsiteY44326" fmla="*/ 1030086 h 4687251"/>
              <a:gd name="connsiteX44327" fmla="*/ 4676524 w 8079933"/>
              <a:gd name="connsiteY44327" fmla="*/ 1030086 h 4687251"/>
              <a:gd name="connsiteX44328" fmla="*/ 4682493 w 8079933"/>
              <a:gd name="connsiteY44328" fmla="*/ 1035500 h 4687251"/>
              <a:gd name="connsiteX44329" fmla="*/ 4685965 w 8079933"/>
              <a:gd name="connsiteY44329" fmla="*/ 1034092 h 4687251"/>
              <a:gd name="connsiteX44330" fmla="*/ 4682167 w 8079933"/>
              <a:gd name="connsiteY44330" fmla="*/ 1028463 h 4687251"/>
              <a:gd name="connsiteX44331" fmla="*/ 4681082 w 8079933"/>
              <a:gd name="connsiteY44331" fmla="*/ 1026080 h 4687251"/>
              <a:gd name="connsiteX44332" fmla="*/ 4683578 w 8079933"/>
              <a:gd name="connsiteY44332" fmla="*/ 1026080 h 4687251"/>
              <a:gd name="connsiteX44333" fmla="*/ 4688678 w 8079933"/>
              <a:gd name="connsiteY44333" fmla="*/ 1031169 h 4687251"/>
              <a:gd name="connsiteX44334" fmla="*/ 4688678 w 8079933"/>
              <a:gd name="connsiteY44334" fmla="*/ 1035717 h 4687251"/>
              <a:gd name="connsiteX44335" fmla="*/ 4698227 w 8079933"/>
              <a:gd name="connsiteY44335" fmla="*/ 1042429 h 4687251"/>
              <a:gd name="connsiteX44336" fmla="*/ 4698227 w 8079933"/>
              <a:gd name="connsiteY44336" fmla="*/ 1045461 h 4687251"/>
              <a:gd name="connsiteX44337" fmla="*/ 4703653 w 8079933"/>
              <a:gd name="connsiteY44337" fmla="*/ 1047951 h 4687251"/>
              <a:gd name="connsiteX44338" fmla="*/ 4704738 w 8079933"/>
              <a:gd name="connsiteY44338" fmla="*/ 1045786 h 4687251"/>
              <a:gd name="connsiteX44339" fmla="*/ 4708862 w 8079933"/>
              <a:gd name="connsiteY44339" fmla="*/ 1046652 h 4687251"/>
              <a:gd name="connsiteX44340" fmla="*/ 4714071 w 8079933"/>
              <a:gd name="connsiteY44340" fmla="*/ 1050658 h 4687251"/>
              <a:gd name="connsiteX44341" fmla="*/ 4715699 w 8079933"/>
              <a:gd name="connsiteY44341" fmla="*/ 1056613 h 4687251"/>
              <a:gd name="connsiteX44342" fmla="*/ 4718628 w 8079933"/>
              <a:gd name="connsiteY44342" fmla="*/ 1058453 h 4687251"/>
              <a:gd name="connsiteX44343" fmla="*/ 4722427 w 8079933"/>
              <a:gd name="connsiteY44343" fmla="*/ 1064408 h 4687251"/>
              <a:gd name="connsiteX44344" fmla="*/ 4724272 w 8079933"/>
              <a:gd name="connsiteY44344" fmla="*/ 1064408 h 4687251"/>
              <a:gd name="connsiteX44345" fmla="*/ 4726116 w 8079933"/>
              <a:gd name="connsiteY44345" fmla="*/ 1066249 h 4687251"/>
              <a:gd name="connsiteX44346" fmla="*/ 4726116 w 8079933"/>
              <a:gd name="connsiteY44346" fmla="*/ 1072204 h 4687251"/>
              <a:gd name="connsiteX44347" fmla="*/ 4726116 w 8079933"/>
              <a:gd name="connsiteY44347" fmla="*/ 1077834 h 4687251"/>
              <a:gd name="connsiteX44348" fmla="*/ 4725031 w 8079933"/>
              <a:gd name="connsiteY44348" fmla="*/ 1084871 h 4687251"/>
              <a:gd name="connsiteX44349" fmla="*/ 4723403 w 8079933"/>
              <a:gd name="connsiteY44349" fmla="*/ 1088445 h 4687251"/>
              <a:gd name="connsiteX44350" fmla="*/ 4723403 w 8079933"/>
              <a:gd name="connsiteY44350" fmla="*/ 1091693 h 4687251"/>
              <a:gd name="connsiteX44351" fmla="*/ 4718195 w 8079933"/>
              <a:gd name="connsiteY44351" fmla="*/ 1098405 h 4687251"/>
              <a:gd name="connsiteX44352" fmla="*/ 4717327 w 8079933"/>
              <a:gd name="connsiteY44352" fmla="*/ 1101653 h 4687251"/>
              <a:gd name="connsiteX44353" fmla="*/ 4708320 w 8079933"/>
              <a:gd name="connsiteY44353" fmla="*/ 1113888 h 4687251"/>
              <a:gd name="connsiteX44354" fmla="*/ 4701808 w 8079933"/>
              <a:gd name="connsiteY44354" fmla="*/ 1117353 h 4687251"/>
              <a:gd name="connsiteX44355" fmla="*/ 4693996 w 8079933"/>
              <a:gd name="connsiteY44355" fmla="*/ 1118760 h 4687251"/>
              <a:gd name="connsiteX44356" fmla="*/ 4690523 w 8079933"/>
              <a:gd name="connsiteY44356" fmla="*/ 1121467 h 4687251"/>
              <a:gd name="connsiteX44357" fmla="*/ 4683470 w 8079933"/>
              <a:gd name="connsiteY44357" fmla="*/ 1121467 h 4687251"/>
              <a:gd name="connsiteX44358" fmla="*/ 4682058 w 8079933"/>
              <a:gd name="connsiteY44358" fmla="*/ 1123416 h 4687251"/>
              <a:gd name="connsiteX44359" fmla="*/ 4671207 w 8079933"/>
              <a:gd name="connsiteY44359" fmla="*/ 1124715 h 4687251"/>
              <a:gd name="connsiteX44360" fmla="*/ 4657317 w 8079933"/>
              <a:gd name="connsiteY44360" fmla="*/ 1123958 h 4687251"/>
              <a:gd name="connsiteX44361" fmla="*/ 4649504 w 8079933"/>
              <a:gd name="connsiteY44361" fmla="*/ 1121683 h 4687251"/>
              <a:gd name="connsiteX44362" fmla="*/ 4643861 w 8079933"/>
              <a:gd name="connsiteY44362" fmla="*/ 1117677 h 4687251"/>
              <a:gd name="connsiteX44363" fmla="*/ 4640388 w 8079933"/>
              <a:gd name="connsiteY44363" fmla="*/ 1120168 h 4687251"/>
              <a:gd name="connsiteX44364" fmla="*/ 4636373 w 8079933"/>
              <a:gd name="connsiteY44364" fmla="*/ 1118977 h 4687251"/>
              <a:gd name="connsiteX44365" fmla="*/ 4629754 w 8079933"/>
              <a:gd name="connsiteY44365" fmla="*/ 1118977 h 4687251"/>
              <a:gd name="connsiteX44366" fmla="*/ 4628886 w 8079933"/>
              <a:gd name="connsiteY44366" fmla="*/ 1116595 h 4687251"/>
              <a:gd name="connsiteX44367" fmla="*/ 4624870 w 8079933"/>
              <a:gd name="connsiteY44367" fmla="*/ 1115295 h 4687251"/>
              <a:gd name="connsiteX44368" fmla="*/ 4621289 w 8079933"/>
              <a:gd name="connsiteY44368" fmla="*/ 1117786 h 4687251"/>
              <a:gd name="connsiteX44369" fmla="*/ 4615321 w 8079933"/>
              <a:gd name="connsiteY44369" fmla="*/ 1112048 h 4687251"/>
              <a:gd name="connsiteX44370" fmla="*/ 4615321 w 8079933"/>
              <a:gd name="connsiteY44370" fmla="*/ 1109124 h 4687251"/>
              <a:gd name="connsiteX44371" fmla="*/ 4610655 w 8079933"/>
              <a:gd name="connsiteY44371" fmla="*/ 1109882 h 4687251"/>
              <a:gd name="connsiteX44372" fmla="*/ 4606531 w 8079933"/>
              <a:gd name="connsiteY44372" fmla="*/ 1109882 h 4687251"/>
              <a:gd name="connsiteX44373" fmla="*/ 4608484 w 8079933"/>
              <a:gd name="connsiteY44373" fmla="*/ 1108799 h 4687251"/>
              <a:gd name="connsiteX44374" fmla="*/ 4600888 w 8079933"/>
              <a:gd name="connsiteY44374" fmla="*/ 1108799 h 4687251"/>
              <a:gd name="connsiteX44375" fmla="*/ 4598718 w 8079933"/>
              <a:gd name="connsiteY44375" fmla="*/ 1111181 h 4687251"/>
              <a:gd name="connsiteX44376" fmla="*/ 4594052 w 8079933"/>
              <a:gd name="connsiteY44376" fmla="*/ 1111181 h 4687251"/>
              <a:gd name="connsiteX44377" fmla="*/ 4594052 w 8079933"/>
              <a:gd name="connsiteY44377" fmla="*/ 1108475 h 4687251"/>
              <a:gd name="connsiteX44378" fmla="*/ 4592207 w 8079933"/>
              <a:gd name="connsiteY44378" fmla="*/ 1107067 h 4687251"/>
              <a:gd name="connsiteX44379" fmla="*/ 4595137 w 8079933"/>
              <a:gd name="connsiteY44379" fmla="*/ 1105118 h 4687251"/>
              <a:gd name="connsiteX44380" fmla="*/ 4592098 w 8079933"/>
              <a:gd name="connsiteY44380" fmla="*/ 1101653 h 4687251"/>
              <a:gd name="connsiteX44381" fmla="*/ 4591230 w 8079933"/>
              <a:gd name="connsiteY44381" fmla="*/ 1103603 h 4687251"/>
              <a:gd name="connsiteX44382" fmla="*/ 4583417 w 8079933"/>
              <a:gd name="connsiteY44382" fmla="*/ 1103603 h 4687251"/>
              <a:gd name="connsiteX44383" fmla="*/ 4578534 w 8079933"/>
              <a:gd name="connsiteY44383" fmla="*/ 1100138 h 4687251"/>
              <a:gd name="connsiteX44384" fmla="*/ 4577666 w 8079933"/>
              <a:gd name="connsiteY44384" fmla="*/ 1101762 h 4687251"/>
              <a:gd name="connsiteX44385" fmla="*/ 4574410 w 8079933"/>
              <a:gd name="connsiteY44385" fmla="*/ 1101762 h 4687251"/>
              <a:gd name="connsiteX44386" fmla="*/ 4564101 w 8079933"/>
              <a:gd name="connsiteY44386" fmla="*/ 1093316 h 4687251"/>
              <a:gd name="connsiteX44387" fmla="*/ 4563233 w 8079933"/>
              <a:gd name="connsiteY44387" fmla="*/ 1088769 h 4687251"/>
              <a:gd name="connsiteX44388" fmla="*/ 4557047 w 8079933"/>
              <a:gd name="connsiteY44388" fmla="*/ 1088228 h 4687251"/>
              <a:gd name="connsiteX44389" fmla="*/ 4555746 w 8079933"/>
              <a:gd name="connsiteY44389" fmla="*/ 1086820 h 4687251"/>
              <a:gd name="connsiteX44390" fmla="*/ 4551404 w 8079933"/>
              <a:gd name="connsiteY44390" fmla="*/ 1086820 h 4687251"/>
              <a:gd name="connsiteX44391" fmla="*/ 4550320 w 8079933"/>
              <a:gd name="connsiteY44391" fmla="*/ 1088228 h 4687251"/>
              <a:gd name="connsiteX44392" fmla="*/ 4555419 w 8079933"/>
              <a:gd name="connsiteY44392" fmla="*/ 1091693 h 4687251"/>
              <a:gd name="connsiteX44393" fmla="*/ 4556505 w 8079933"/>
              <a:gd name="connsiteY44393" fmla="*/ 1098514 h 4687251"/>
              <a:gd name="connsiteX44394" fmla="*/ 4562148 w 8079933"/>
              <a:gd name="connsiteY44394" fmla="*/ 1102087 h 4687251"/>
              <a:gd name="connsiteX44395" fmla="*/ 4563450 w 8079933"/>
              <a:gd name="connsiteY44395" fmla="*/ 1105660 h 4687251"/>
              <a:gd name="connsiteX44396" fmla="*/ 4570503 w 8079933"/>
              <a:gd name="connsiteY44396" fmla="*/ 1107283 h 4687251"/>
              <a:gd name="connsiteX44397" fmla="*/ 4571914 w 8079933"/>
              <a:gd name="connsiteY44397" fmla="*/ 1108908 h 4687251"/>
              <a:gd name="connsiteX44398" fmla="*/ 4567248 w 8079933"/>
              <a:gd name="connsiteY44398" fmla="*/ 1111289 h 4687251"/>
              <a:gd name="connsiteX44399" fmla="*/ 4565078 w 8079933"/>
              <a:gd name="connsiteY44399" fmla="*/ 1114213 h 4687251"/>
              <a:gd name="connsiteX44400" fmla="*/ 4566163 w 8079933"/>
              <a:gd name="connsiteY44400" fmla="*/ 1115512 h 4687251"/>
              <a:gd name="connsiteX44401" fmla="*/ 4573976 w 8079933"/>
              <a:gd name="connsiteY44401" fmla="*/ 1113563 h 4687251"/>
              <a:gd name="connsiteX44402" fmla="*/ 4577232 w 8079933"/>
              <a:gd name="connsiteY44402" fmla="*/ 1111398 h 4687251"/>
              <a:gd name="connsiteX44403" fmla="*/ 4580487 w 8079933"/>
              <a:gd name="connsiteY44403" fmla="*/ 1113780 h 4687251"/>
              <a:gd name="connsiteX44404" fmla="*/ 4577014 w 8079933"/>
              <a:gd name="connsiteY44404" fmla="*/ 1115187 h 4687251"/>
              <a:gd name="connsiteX44405" fmla="*/ 4577014 w 8079933"/>
              <a:gd name="connsiteY44405" fmla="*/ 1116595 h 4687251"/>
              <a:gd name="connsiteX44406" fmla="*/ 4582223 w 8079933"/>
              <a:gd name="connsiteY44406" fmla="*/ 1117136 h 4687251"/>
              <a:gd name="connsiteX44407" fmla="*/ 4580921 w 8079933"/>
              <a:gd name="connsiteY44407" fmla="*/ 1120709 h 4687251"/>
              <a:gd name="connsiteX44408" fmla="*/ 4576255 w 8079933"/>
              <a:gd name="connsiteY44408" fmla="*/ 1121467 h 4687251"/>
              <a:gd name="connsiteX44409" fmla="*/ 4574301 w 8079933"/>
              <a:gd name="connsiteY44409" fmla="*/ 1124174 h 4687251"/>
              <a:gd name="connsiteX44410" fmla="*/ 4579944 w 8079933"/>
              <a:gd name="connsiteY44410" fmla="*/ 1125040 h 4687251"/>
              <a:gd name="connsiteX44411" fmla="*/ 4581898 w 8079933"/>
              <a:gd name="connsiteY44411" fmla="*/ 1123632 h 4687251"/>
              <a:gd name="connsiteX44412" fmla="*/ 4585696 w 8079933"/>
              <a:gd name="connsiteY44412" fmla="*/ 1123632 h 4687251"/>
              <a:gd name="connsiteX44413" fmla="*/ 4588083 w 8079933"/>
              <a:gd name="connsiteY44413" fmla="*/ 1126122 h 4687251"/>
              <a:gd name="connsiteX44414" fmla="*/ 4591013 w 8079933"/>
              <a:gd name="connsiteY44414" fmla="*/ 1123958 h 4687251"/>
              <a:gd name="connsiteX44415" fmla="*/ 4601865 w 8079933"/>
              <a:gd name="connsiteY44415" fmla="*/ 1128505 h 4687251"/>
              <a:gd name="connsiteX44416" fmla="*/ 4607073 w 8079933"/>
              <a:gd name="connsiteY44416" fmla="*/ 1135759 h 4687251"/>
              <a:gd name="connsiteX44417" fmla="*/ 4609570 w 8079933"/>
              <a:gd name="connsiteY44417" fmla="*/ 1136300 h 4687251"/>
              <a:gd name="connsiteX44418" fmla="*/ 4607942 w 8079933"/>
              <a:gd name="connsiteY44418" fmla="*/ 1139223 h 4687251"/>
              <a:gd name="connsiteX44419" fmla="*/ 4607942 w 8079933"/>
              <a:gd name="connsiteY44419" fmla="*/ 1142472 h 4687251"/>
              <a:gd name="connsiteX44420" fmla="*/ 4609570 w 8079933"/>
              <a:gd name="connsiteY44420" fmla="*/ 1143013 h 4687251"/>
              <a:gd name="connsiteX44421" fmla="*/ 4609570 w 8079933"/>
              <a:gd name="connsiteY44421" fmla="*/ 1147668 h 4687251"/>
              <a:gd name="connsiteX44422" fmla="*/ 4608810 w 8079933"/>
              <a:gd name="connsiteY44422" fmla="*/ 1155248 h 4687251"/>
              <a:gd name="connsiteX44423" fmla="*/ 4605229 w 8079933"/>
              <a:gd name="connsiteY44423" fmla="*/ 1156546 h 4687251"/>
              <a:gd name="connsiteX44424" fmla="*/ 4604361 w 8079933"/>
              <a:gd name="connsiteY44424" fmla="*/ 1160661 h 4687251"/>
              <a:gd name="connsiteX44425" fmla="*/ 4608159 w 8079933"/>
              <a:gd name="connsiteY44425" fmla="*/ 1161744 h 4687251"/>
              <a:gd name="connsiteX44426" fmla="*/ 4608159 w 8079933"/>
              <a:gd name="connsiteY44426" fmla="*/ 1167157 h 4687251"/>
              <a:gd name="connsiteX44427" fmla="*/ 4614670 w 8079933"/>
              <a:gd name="connsiteY44427" fmla="*/ 1173437 h 4687251"/>
              <a:gd name="connsiteX44428" fmla="*/ 4614670 w 8079933"/>
              <a:gd name="connsiteY44428" fmla="*/ 1177443 h 4687251"/>
              <a:gd name="connsiteX44429" fmla="*/ 4619336 w 8079933"/>
              <a:gd name="connsiteY44429" fmla="*/ 1180907 h 4687251"/>
              <a:gd name="connsiteX44430" fmla="*/ 4619336 w 8079933"/>
              <a:gd name="connsiteY44430" fmla="*/ 1185455 h 4687251"/>
              <a:gd name="connsiteX44431" fmla="*/ 4620204 w 8079933"/>
              <a:gd name="connsiteY44431" fmla="*/ 1190977 h 4687251"/>
              <a:gd name="connsiteX44432" fmla="*/ 4618250 w 8079933"/>
              <a:gd name="connsiteY44432" fmla="*/ 1194766 h 4687251"/>
              <a:gd name="connsiteX44433" fmla="*/ 4620530 w 8079933"/>
              <a:gd name="connsiteY44433" fmla="*/ 1197148 h 4687251"/>
              <a:gd name="connsiteX44434" fmla="*/ 4622700 w 8079933"/>
              <a:gd name="connsiteY44434" fmla="*/ 1201046 h 4687251"/>
              <a:gd name="connsiteX44435" fmla="*/ 4632249 w 8079933"/>
              <a:gd name="connsiteY44435" fmla="*/ 1204511 h 4687251"/>
              <a:gd name="connsiteX44436" fmla="*/ 4636699 w 8079933"/>
              <a:gd name="connsiteY44436" fmla="*/ 1200937 h 4687251"/>
              <a:gd name="connsiteX44437" fmla="*/ 4638543 w 8079933"/>
              <a:gd name="connsiteY44437" fmla="*/ 1200937 h 4687251"/>
              <a:gd name="connsiteX44438" fmla="*/ 4641799 w 8079933"/>
              <a:gd name="connsiteY44438" fmla="*/ 1205377 h 4687251"/>
              <a:gd name="connsiteX44439" fmla="*/ 4645923 w 8079933"/>
              <a:gd name="connsiteY44439" fmla="*/ 1207975 h 4687251"/>
              <a:gd name="connsiteX44440" fmla="*/ 4645923 w 8079933"/>
              <a:gd name="connsiteY44440" fmla="*/ 1213822 h 4687251"/>
              <a:gd name="connsiteX44441" fmla="*/ 4648093 w 8079933"/>
              <a:gd name="connsiteY44441" fmla="*/ 1215555 h 4687251"/>
              <a:gd name="connsiteX44442" fmla="*/ 4655580 w 8079933"/>
              <a:gd name="connsiteY44442" fmla="*/ 1215555 h 4687251"/>
              <a:gd name="connsiteX44443" fmla="*/ 4658619 w 8079933"/>
              <a:gd name="connsiteY44443" fmla="*/ 1218153 h 4687251"/>
              <a:gd name="connsiteX44444" fmla="*/ 4665456 w 8079933"/>
              <a:gd name="connsiteY44444" fmla="*/ 1218153 h 4687251"/>
              <a:gd name="connsiteX44445" fmla="*/ 4669688 w 8079933"/>
              <a:gd name="connsiteY44445" fmla="*/ 1222159 h 4687251"/>
              <a:gd name="connsiteX44446" fmla="*/ 4672292 w 8079933"/>
              <a:gd name="connsiteY44446" fmla="*/ 1222159 h 4687251"/>
              <a:gd name="connsiteX44447" fmla="*/ 4677392 w 8079933"/>
              <a:gd name="connsiteY44447" fmla="*/ 1216529 h 4687251"/>
              <a:gd name="connsiteX44448" fmla="*/ 4681407 w 8079933"/>
              <a:gd name="connsiteY44448" fmla="*/ 1216529 h 4687251"/>
              <a:gd name="connsiteX44449" fmla="*/ 4684338 w 8079933"/>
              <a:gd name="connsiteY44449" fmla="*/ 1215229 h 4687251"/>
              <a:gd name="connsiteX44450" fmla="*/ 4684338 w 8079933"/>
              <a:gd name="connsiteY44450" fmla="*/ 1207759 h 4687251"/>
              <a:gd name="connsiteX44451" fmla="*/ 4680757 w 8079933"/>
              <a:gd name="connsiteY44451" fmla="*/ 1204619 h 4687251"/>
              <a:gd name="connsiteX44452" fmla="*/ 4682384 w 8079933"/>
              <a:gd name="connsiteY44452" fmla="*/ 1202237 h 4687251"/>
              <a:gd name="connsiteX44453" fmla="*/ 4682384 w 8079933"/>
              <a:gd name="connsiteY44453" fmla="*/ 1200396 h 4687251"/>
              <a:gd name="connsiteX44454" fmla="*/ 4677067 w 8079933"/>
              <a:gd name="connsiteY44454" fmla="*/ 1198339 h 4687251"/>
              <a:gd name="connsiteX44455" fmla="*/ 4676524 w 8079933"/>
              <a:gd name="connsiteY44455" fmla="*/ 1194550 h 4687251"/>
              <a:gd name="connsiteX44456" fmla="*/ 4672726 w 8079933"/>
              <a:gd name="connsiteY44456" fmla="*/ 1197257 h 4687251"/>
              <a:gd name="connsiteX44457" fmla="*/ 4670013 w 8079933"/>
              <a:gd name="connsiteY44457" fmla="*/ 1197257 h 4687251"/>
              <a:gd name="connsiteX44458" fmla="*/ 4665456 w 8079933"/>
              <a:gd name="connsiteY44458" fmla="*/ 1199205 h 4687251"/>
              <a:gd name="connsiteX44459" fmla="*/ 4659704 w 8079933"/>
              <a:gd name="connsiteY44459" fmla="*/ 1196282 h 4687251"/>
              <a:gd name="connsiteX44460" fmla="*/ 4655580 w 8079933"/>
              <a:gd name="connsiteY44460" fmla="*/ 1190652 h 4687251"/>
              <a:gd name="connsiteX44461" fmla="*/ 4649069 w 8079933"/>
              <a:gd name="connsiteY44461" fmla="*/ 1187621 h 4687251"/>
              <a:gd name="connsiteX44462" fmla="*/ 4647768 w 8079933"/>
              <a:gd name="connsiteY44462" fmla="*/ 1182423 h 4687251"/>
              <a:gd name="connsiteX44463" fmla="*/ 4644295 w 8079933"/>
              <a:gd name="connsiteY44463" fmla="*/ 1175927 h 4687251"/>
              <a:gd name="connsiteX44464" fmla="*/ 4648961 w 8079933"/>
              <a:gd name="connsiteY44464" fmla="*/ 1175927 h 4687251"/>
              <a:gd name="connsiteX44465" fmla="*/ 4651999 w 8079933"/>
              <a:gd name="connsiteY44465" fmla="*/ 1172896 h 4687251"/>
              <a:gd name="connsiteX44466" fmla="*/ 4650372 w 8079933"/>
              <a:gd name="connsiteY44466" fmla="*/ 1170405 h 4687251"/>
              <a:gd name="connsiteX44467" fmla="*/ 4651457 w 8079933"/>
              <a:gd name="connsiteY44467" fmla="*/ 1167699 h 4687251"/>
              <a:gd name="connsiteX44468" fmla="*/ 4650046 w 8079933"/>
              <a:gd name="connsiteY44468" fmla="*/ 1164667 h 4687251"/>
              <a:gd name="connsiteX44469" fmla="*/ 4651131 w 8079933"/>
              <a:gd name="connsiteY44469" fmla="*/ 1161635 h 4687251"/>
              <a:gd name="connsiteX44470" fmla="*/ 4656557 w 8079933"/>
              <a:gd name="connsiteY44470" fmla="*/ 1161635 h 4687251"/>
              <a:gd name="connsiteX44471" fmla="*/ 4661983 w 8079933"/>
              <a:gd name="connsiteY44471" fmla="*/ 1165209 h 4687251"/>
              <a:gd name="connsiteX44472" fmla="*/ 4668711 w 8079933"/>
              <a:gd name="connsiteY44472" fmla="*/ 1166508 h 4687251"/>
              <a:gd name="connsiteX44473" fmla="*/ 4671966 w 8079933"/>
              <a:gd name="connsiteY44473" fmla="*/ 1171596 h 4687251"/>
              <a:gd name="connsiteX44474" fmla="*/ 4676307 w 8079933"/>
              <a:gd name="connsiteY44474" fmla="*/ 1175170 h 4687251"/>
              <a:gd name="connsiteX44475" fmla="*/ 4684663 w 8079933"/>
              <a:gd name="connsiteY44475" fmla="*/ 1175170 h 4687251"/>
              <a:gd name="connsiteX44476" fmla="*/ 4686291 w 8079933"/>
              <a:gd name="connsiteY44476" fmla="*/ 1178201 h 4687251"/>
              <a:gd name="connsiteX44477" fmla="*/ 4691499 w 8079933"/>
              <a:gd name="connsiteY44477" fmla="*/ 1178201 h 4687251"/>
              <a:gd name="connsiteX44478" fmla="*/ 4706692 w 8079933"/>
              <a:gd name="connsiteY44478" fmla="*/ 1185455 h 4687251"/>
              <a:gd name="connsiteX44479" fmla="*/ 4712986 w 8079933"/>
              <a:gd name="connsiteY44479" fmla="*/ 1191627 h 4687251"/>
              <a:gd name="connsiteX44480" fmla="*/ 4715482 w 8079933"/>
              <a:gd name="connsiteY44480" fmla="*/ 1187621 h 4687251"/>
              <a:gd name="connsiteX44481" fmla="*/ 4719605 w 8079933"/>
              <a:gd name="connsiteY44481" fmla="*/ 1184156 h 4687251"/>
              <a:gd name="connsiteX44482" fmla="*/ 4719605 w 8079933"/>
              <a:gd name="connsiteY44482" fmla="*/ 1179067 h 4687251"/>
              <a:gd name="connsiteX44483" fmla="*/ 4723187 w 8079933"/>
              <a:gd name="connsiteY44483" fmla="*/ 1179067 h 4687251"/>
              <a:gd name="connsiteX44484" fmla="*/ 4726768 w 8079933"/>
              <a:gd name="connsiteY44484" fmla="*/ 1174953 h 4687251"/>
              <a:gd name="connsiteX44485" fmla="*/ 4720473 w 8079933"/>
              <a:gd name="connsiteY44485" fmla="*/ 1165533 h 4687251"/>
              <a:gd name="connsiteX44486" fmla="*/ 4709622 w 8079933"/>
              <a:gd name="connsiteY44486" fmla="*/ 1154706 h 4687251"/>
              <a:gd name="connsiteX44487" fmla="*/ 4707126 w 8079933"/>
              <a:gd name="connsiteY44487" fmla="*/ 1147668 h 4687251"/>
              <a:gd name="connsiteX44488" fmla="*/ 4707126 w 8079933"/>
              <a:gd name="connsiteY44488" fmla="*/ 1143554 h 4687251"/>
              <a:gd name="connsiteX44489" fmla="*/ 4713637 w 8079933"/>
              <a:gd name="connsiteY44489" fmla="*/ 1138358 h 4687251"/>
              <a:gd name="connsiteX44490" fmla="*/ 4718846 w 8079933"/>
              <a:gd name="connsiteY44490" fmla="*/ 1131320 h 4687251"/>
              <a:gd name="connsiteX44491" fmla="*/ 4720256 w 8079933"/>
              <a:gd name="connsiteY44491" fmla="*/ 1125148 h 4687251"/>
              <a:gd name="connsiteX44492" fmla="*/ 4724272 w 8079933"/>
              <a:gd name="connsiteY44492" fmla="*/ 1121359 h 4687251"/>
              <a:gd name="connsiteX44493" fmla="*/ 4729914 w 8079933"/>
              <a:gd name="connsiteY44493" fmla="*/ 1120276 h 4687251"/>
              <a:gd name="connsiteX44494" fmla="*/ 4737728 w 8079933"/>
              <a:gd name="connsiteY44494" fmla="*/ 1113997 h 4687251"/>
              <a:gd name="connsiteX44495" fmla="*/ 4743153 w 8079933"/>
              <a:gd name="connsiteY44495" fmla="*/ 1102412 h 4687251"/>
              <a:gd name="connsiteX44496" fmla="*/ 4746409 w 8079933"/>
              <a:gd name="connsiteY44496" fmla="*/ 1099921 h 4687251"/>
              <a:gd name="connsiteX44497" fmla="*/ 4752377 w 8079933"/>
              <a:gd name="connsiteY44497" fmla="*/ 1100787 h 4687251"/>
              <a:gd name="connsiteX44498" fmla="*/ 4757044 w 8079933"/>
              <a:gd name="connsiteY44498" fmla="*/ 1104577 h 4687251"/>
              <a:gd name="connsiteX44499" fmla="*/ 4763880 w 8079933"/>
              <a:gd name="connsiteY44499" fmla="*/ 1103710 h 4687251"/>
              <a:gd name="connsiteX44500" fmla="*/ 4771259 w 8079933"/>
              <a:gd name="connsiteY44500" fmla="*/ 1104577 h 4687251"/>
              <a:gd name="connsiteX44501" fmla="*/ 4773755 w 8079933"/>
              <a:gd name="connsiteY44501" fmla="*/ 1107825 h 4687251"/>
              <a:gd name="connsiteX44502" fmla="*/ 4772996 w 8079933"/>
              <a:gd name="connsiteY44502" fmla="*/ 1112914 h 4687251"/>
              <a:gd name="connsiteX44503" fmla="*/ 4778747 w 8079933"/>
              <a:gd name="connsiteY44503" fmla="*/ 1107500 h 4687251"/>
              <a:gd name="connsiteX44504" fmla="*/ 4784715 w 8079933"/>
              <a:gd name="connsiteY44504" fmla="*/ 1112048 h 4687251"/>
              <a:gd name="connsiteX44505" fmla="*/ 4786560 w 8079933"/>
              <a:gd name="connsiteY44505" fmla="*/ 1118003 h 4687251"/>
              <a:gd name="connsiteX44506" fmla="*/ 4789599 w 8079933"/>
              <a:gd name="connsiteY44506" fmla="*/ 1120709 h 4687251"/>
              <a:gd name="connsiteX44507" fmla="*/ 4788839 w 8079933"/>
              <a:gd name="connsiteY44507" fmla="*/ 1112048 h 4687251"/>
              <a:gd name="connsiteX44508" fmla="*/ 4785583 w 8079933"/>
              <a:gd name="connsiteY44508" fmla="*/ 1105767 h 4687251"/>
              <a:gd name="connsiteX44509" fmla="*/ 4787537 w 8079933"/>
              <a:gd name="connsiteY44509" fmla="*/ 1103061 h 4687251"/>
              <a:gd name="connsiteX44510" fmla="*/ 4787537 w 8079933"/>
              <a:gd name="connsiteY44510" fmla="*/ 1092234 h 4687251"/>
              <a:gd name="connsiteX44511" fmla="*/ 4789164 w 8079933"/>
              <a:gd name="connsiteY44511" fmla="*/ 1088769 h 4687251"/>
              <a:gd name="connsiteX44512" fmla="*/ 4786994 w 8079933"/>
              <a:gd name="connsiteY44512" fmla="*/ 1087145 h 4687251"/>
              <a:gd name="connsiteX44513" fmla="*/ 4786994 w 8079933"/>
              <a:gd name="connsiteY44513" fmla="*/ 1084438 h 4687251"/>
              <a:gd name="connsiteX44514" fmla="*/ 4787862 w 8079933"/>
              <a:gd name="connsiteY44514" fmla="*/ 1082057 h 4687251"/>
              <a:gd name="connsiteX44515" fmla="*/ 4786994 w 8079933"/>
              <a:gd name="connsiteY44515" fmla="*/ 1078808 h 4687251"/>
              <a:gd name="connsiteX44516" fmla="*/ 4787862 w 8079933"/>
              <a:gd name="connsiteY44516" fmla="*/ 1076426 h 4687251"/>
              <a:gd name="connsiteX44517" fmla="*/ 4784389 w 8079933"/>
              <a:gd name="connsiteY44517" fmla="*/ 1072637 h 4687251"/>
              <a:gd name="connsiteX44518" fmla="*/ 4779181 w 8079933"/>
              <a:gd name="connsiteY44518" fmla="*/ 1069606 h 4687251"/>
              <a:gd name="connsiteX44519" fmla="*/ 4772127 w 8079933"/>
              <a:gd name="connsiteY44519" fmla="*/ 1069606 h 4687251"/>
              <a:gd name="connsiteX44520" fmla="*/ 4770174 w 8079933"/>
              <a:gd name="connsiteY44520" fmla="*/ 1063651 h 4687251"/>
              <a:gd name="connsiteX44521" fmla="*/ 4772019 w 8079933"/>
              <a:gd name="connsiteY44521" fmla="*/ 1057479 h 4687251"/>
              <a:gd name="connsiteX44522" fmla="*/ 4772019 w 8079933"/>
              <a:gd name="connsiteY44522" fmla="*/ 1046652 h 4687251"/>
              <a:gd name="connsiteX44523" fmla="*/ 4773864 w 8079933"/>
              <a:gd name="connsiteY44523" fmla="*/ 1045245 h 4687251"/>
              <a:gd name="connsiteX44524" fmla="*/ 4772779 w 8079933"/>
              <a:gd name="connsiteY44524" fmla="*/ 1041780 h 4687251"/>
              <a:gd name="connsiteX44525" fmla="*/ 4772779 w 8079933"/>
              <a:gd name="connsiteY44525" fmla="*/ 1037233 h 4687251"/>
              <a:gd name="connsiteX44526" fmla="*/ 4774732 w 8079933"/>
              <a:gd name="connsiteY44526" fmla="*/ 1035608 h 4687251"/>
              <a:gd name="connsiteX44527" fmla="*/ 4772236 w 8079933"/>
              <a:gd name="connsiteY44527" fmla="*/ 1032360 h 4687251"/>
              <a:gd name="connsiteX44528" fmla="*/ 4772236 w 8079933"/>
              <a:gd name="connsiteY44528" fmla="*/ 1026947 h 4687251"/>
              <a:gd name="connsiteX44529" fmla="*/ 4768655 w 8079933"/>
              <a:gd name="connsiteY44529" fmla="*/ 1016878 h 4687251"/>
              <a:gd name="connsiteX44530" fmla="*/ 4761818 w 8079933"/>
              <a:gd name="connsiteY44530" fmla="*/ 1012005 h 4687251"/>
              <a:gd name="connsiteX44531" fmla="*/ 4750099 w 8079933"/>
              <a:gd name="connsiteY44531" fmla="*/ 1002478 h 4687251"/>
              <a:gd name="connsiteX44532" fmla="*/ 4750099 w 8079933"/>
              <a:gd name="connsiteY44532" fmla="*/ 999988 h 4687251"/>
              <a:gd name="connsiteX44533" fmla="*/ 4755524 w 8079933"/>
              <a:gd name="connsiteY44533" fmla="*/ 999988 h 4687251"/>
              <a:gd name="connsiteX44534" fmla="*/ 4765291 w 8079933"/>
              <a:gd name="connsiteY44534" fmla="*/ 1006484 h 4687251"/>
              <a:gd name="connsiteX44535" fmla="*/ 4771042 w 8079933"/>
              <a:gd name="connsiteY44535" fmla="*/ 1006484 h 4687251"/>
              <a:gd name="connsiteX44536" fmla="*/ 4774840 w 8079933"/>
              <a:gd name="connsiteY44536" fmla="*/ 1004535 h 4687251"/>
              <a:gd name="connsiteX44537" fmla="*/ 4783739 w 8079933"/>
              <a:gd name="connsiteY44537" fmla="*/ 1003777 h 4687251"/>
              <a:gd name="connsiteX44538" fmla="*/ 4796543 w 8079933"/>
              <a:gd name="connsiteY44538" fmla="*/ 1005076 h 4687251"/>
              <a:gd name="connsiteX44539" fmla="*/ 4802512 w 8079933"/>
              <a:gd name="connsiteY44539" fmla="*/ 1008866 h 4687251"/>
              <a:gd name="connsiteX44540" fmla="*/ 4802512 w 8079933"/>
              <a:gd name="connsiteY44540" fmla="*/ 1013196 h 4687251"/>
              <a:gd name="connsiteX44541" fmla="*/ 4807613 w 8079933"/>
              <a:gd name="connsiteY44541" fmla="*/ 1019151 h 4687251"/>
              <a:gd name="connsiteX44542" fmla="*/ 4813039 w 8079933"/>
              <a:gd name="connsiteY44542" fmla="*/ 1019909 h 4687251"/>
              <a:gd name="connsiteX44543" fmla="*/ 4813907 w 8079933"/>
              <a:gd name="connsiteY44543" fmla="*/ 1023699 h 4687251"/>
              <a:gd name="connsiteX44544" fmla="*/ 4820634 w 8079933"/>
              <a:gd name="connsiteY44544" fmla="*/ 1032144 h 4687251"/>
              <a:gd name="connsiteX44545" fmla="*/ 4819766 w 8079933"/>
              <a:gd name="connsiteY44545" fmla="*/ 1035717 h 4687251"/>
              <a:gd name="connsiteX44546" fmla="*/ 4811302 w 8079933"/>
              <a:gd name="connsiteY44546" fmla="*/ 1035717 h 4687251"/>
              <a:gd name="connsiteX44547" fmla="*/ 4809132 w 8079933"/>
              <a:gd name="connsiteY44547" fmla="*/ 1038965 h 4687251"/>
              <a:gd name="connsiteX44548" fmla="*/ 4801753 w 8079933"/>
              <a:gd name="connsiteY44548" fmla="*/ 1038965 h 4687251"/>
              <a:gd name="connsiteX44549" fmla="*/ 4799365 w 8079933"/>
              <a:gd name="connsiteY44549" fmla="*/ 1041455 h 4687251"/>
              <a:gd name="connsiteX44550" fmla="*/ 4800125 w 8079933"/>
              <a:gd name="connsiteY44550" fmla="*/ 1044162 h 4687251"/>
              <a:gd name="connsiteX44551" fmla="*/ 4798172 w 8079933"/>
              <a:gd name="connsiteY44551" fmla="*/ 1047627 h 4687251"/>
              <a:gd name="connsiteX44552" fmla="*/ 4795675 w 8079933"/>
              <a:gd name="connsiteY44552" fmla="*/ 1046219 h 4687251"/>
              <a:gd name="connsiteX44553" fmla="*/ 4794374 w 8079933"/>
              <a:gd name="connsiteY44553" fmla="*/ 1048925 h 4687251"/>
              <a:gd name="connsiteX44554" fmla="*/ 4794374 w 8079933"/>
              <a:gd name="connsiteY44554" fmla="*/ 1055963 h 4687251"/>
              <a:gd name="connsiteX44555" fmla="*/ 4797846 w 8079933"/>
              <a:gd name="connsiteY44555" fmla="*/ 1057804 h 4687251"/>
              <a:gd name="connsiteX44556" fmla="*/ 4807829 w 8079933"/>
              <a:gd name="connsiteY44556" fmla="*/ 1066141 h 4687251"/>
              <a:gd name="connsiteX44557" fmla="*/ 4817379 w 8079933"/>
              <a:gd name="connsiteY44557" fmla="*/ 1078592 h 4687251"/>
              <a:gd name="connsiteX44558" fmla="*/ 4822479 w 8079933"/>
              <a:gd name="connsiteY44558" fmla="*/ 1078592 h 4687251"/>
              <a:gd name="connsiteX44559" fmla="*/ 4828773 w 8079933"/>
              <a:gd name="connsiteY44559" fmla="*/ 1074045 h 4687251"/>
              <a:gd name="connsiteX44560" fmla="*/ 4831703 w 8079933"/>
              <a:gd name="connsiteY44560" fmla="*/ 1079242 h 4687251"/>
              <a:gd name="connsiteX44561" fmla="*/ 4833873 w 8079933"/>
              <a:gd name="connsiteY44561" fmla="*/ 1076318 h 4687251"/>
              <a:gd name="connsiteX44562" fmla="*/ 4838973 w 8079933"/>
              <a:gd name="connsiteY44562" fmla="*/ 1076318 h 4687251"/>
              <a:gd name="connsiteX44563" fmla="*/ 4840276 w 8079933"/>
              <a:gd name="connsiteY44563" fmla="*/ 1073828 h 4687251"/>
              <a:gd name="connsiteX44564" fmla="*/ 4848741 w 8079933"/>
              <a:gd name="connsiteY44564" fmla="*/ 1070039 h 4687251"/>
              <a:gd name="connsiteX44565" fmla="*/ 4850368 w 8079933"/>
              <a:gd name="connsiteY44565" fmla="*/ 1064950 h 4687251"/>
              <a:gd name="connsiteX44566" fmla="*/ 4848197 w 8079933"/>
              <a:gd name="connsiteY44566" fmla="*/ 1057696 h 4687251"/>
              <a:gd name="connsiteX44567" fmla="*/ 4851236 w 8079933"/>
              <a:gd name="connsiteY44567" fmla="*/ 1052282 h 4687251"/>
              <a:gd name="connsiteX44568" fmla="*/ 4851236 w 8079933"/>
              <a:gd name="connsiteY44568" fmla="*/ 1047951 h 4687251"/>
              <a:gd name="connsiteX44569" fmla="*/ 4847655 w 8079933"/>
              <a:gd name="connsiteY44569" fmla="*/ 1043404 h 4687251"/>
              <a:gd name="connsiteX44570" fmla="*/ 4850150 w 8079933"/>
              <a:gd name="connsiteY44570" fmla="*/ 1041563 h 4687251"/>
              <a:gd name="connsiteX44571" fmla="*/ 4862956 w 8079933"/>
              <a:gd name="connsiteY44571" fmla="*/ 1039939 h 4687251"/>
              <a:gd name="connsiteX44572" fmla="*/ 4864909 w 8079933"/>
              <a:gd name="connsiteY44572" fmla="*/ 1037233 h 4687251"/>
              <a:gd name="connsiteX44573" fmla="*/ 4872722 w 8079933"/>
              <a:gd name="connsiteY44573" fmla="*/ 1040156 h 4687251"/>
              <a:gd name="connsiteX44574" fmla="*/ 4871637 w 8079933"/>
              <a:gd name="connsiteY44574" fmla="*/ 1036583 h 4687251"/>
              <a:gd name="connsiteX44575" fmla="*/ 4865343 w 8079933"/>
              <a:gd name="connsiteY44575" fmla="*/ 1031927 h 4687251"/>
              <a:gd name="connsiteX44576" fmla="*/ 4863389 w 8079933"/>
              <a:gd name="connsiteY44576" fmla="*/ 1027272 h 4687251"/>
              <a:gd name="connsiteX44577" fmla="*/ 4865669 w 8079933"/>
              <a:gd name="connsiteY44577" fmla="*/ 1027272 h 4687251"/>
              <a:gd name="connsiteX44578" fmla="*/ 4869250 w 8079933"/>
              <a:gd name="connsiteY44578" fmla="*/ 1030737 h 4687251"/>
              <a:gd name="connsiteX44579" fmla="*/ 4873265 w 8079933"/>
              <a:gd name="connsiteY44579" fmla="*/ 1028570 h 4687251"/>
              <a:gd name="connsiteX44580" fmla="*/ 4882163 w 8079933"/>
              <a:gd name="connsiteY44580" fmla="*/ 1017744 h 4687251"/>
              <a:gd name="connsiteX44581" fmla="*/ 4884876 w 8079933"/>
              <a:gd name="connsiteY44581" fmla="*/ 1016986 h 4687251"/>
              <a:gd name="connsiteX44582" fmla="*/ 4894643 w 8079933"/>
              <a:gd name="connsiteY44582" fmla="*/ 1005076 h 4687251"/>
              <a:gd name="connsiteX44583" fmla="*/ 4894643 w 8079933"/>
              <a:gd name="connsiteY44583" fmla="*/ 1002370 h 4687251"/>
              <a:gd name="connsiteX44584" fmla="*/ 4897464 w 8079933"/>
              <a:gd name="connsiteY44584" fmla="*/ 1000854 h 4687251"/>
              <a:gd name="connsiteX44585" fmla="*/ 4902673 w 8079933"/>
              <a:gd name="connsiteY44585" fmla="*/ 1001828 h 4687251"/>
              <a:gd name="connsiteX44586" fmla="*/ 4909184 w 8079933"/>
              <a:gd name="connsiteY44586" fmla="*/ 998797 h 4687251"/>
              <a:gd name="connsiteX44587" fmla="*/ 4910377 w 8079933"/>
              <a:gd name="connsiteY44587" fmla="*/ 995765 h 4687251"/>
              <a:gd name="connsiteX44588" fmla="*/ 4919710 w 8079933"/>
              <a:gd name="connsiteY44588" fmla="*/ 992842 h 4687251"/>
              <a:gd name="connsiteX44589" fmla="*/ 4919710 w 8079933"/>
              <a:gd name="connsiteY44589" fmla="*/ 996415 h 4687251"/>
              <a:gd name="connsiteX44590" fmla="*/ 4921446 w 8079933"/>
              <a:gd name="connsiteY44590" fmla="*/ 996415 h 4687251"/>
              <a:gd name="connsiteX44591" fmla="*/ 4922315 w 8079933"/>
              <a:gd name="connsiteY44591" fmla="*/ 1000096 h 4687251"/>
              <a:gd name="connsiteX44592" fmla="*/ 4920578 w 8079933"/>
              <a:gd name="connsiteY44592" fmla="*/ 1002911 h 4687251"/>
              <a:gd name="connsiteX44593" fmla="*/ 4923183 w 8079933"/>
              <a:gd name="connsiteY44593" fmla="*/ 1004751 h 4687251"/>
              <a:gd name="connsiteX44594" fmla="*/ 4928717 w 8079933"/>
              <a:gd name="connsiteY44594" fmla="*/ 999338 h 4687251"/>
              <a:gd name="connsiteX44595" fmla="*/ 4928717 w 8079933"/>
              <a:gd name="connsiteY44595" fmla="*/ 995873 h 4687251"/>
              <a:gd name="connsiteX44596" fmla="*/ 4925896 w 8079933"/>
              <a:gd name="connsiteY44596" fmla="*/ 994574 h 4687251"/>
              <a:gd name="connsiteX44597" fmla="*/ 4922315 w 8079933"/>
              <a:gd name="connsiteY44597" fmla="*/ 990893 h 4687251"/>
              <a:gd name="connsiteX44598" fmla="*/ 4922315 w 8079933"/>
              <a:gd name="connsiteY44598" fmla="*/ 988727 h 4687251"/>
              <a:gd name="connsiteX44599" fmla="*/ 4931104 w 8079933"/>
              <a:gd name="connsiteY44599" fmla="*/ 980066 h 4687251"/>
              <a:gd name="connsiteX44600" fmla="*/ 4932623 w 8079933"/>
              <a:gd name="connsiteY44600" fmla="*/ 980066 h 4687251"/>
              <a:gd name="connsiteX44601" fmla="*/ 4933383 w 8079933"/>
              <a:gd name="connsiteY44601" fmla="*/ 983097 h 4687251"/>
              <a:gd name="connsiteX44602" fmla="*/ 4931755 w 8079933"/>
              <a:gd name="connsiteY44602" fmla="*/ 984072 h 4687251"/>
              <a:gd name="connsiteX44603" fmla="*/ 4930127 w 8079933"/>
              <a:gd name="connsiteY44603" fmla="*/ 986345 h 4687251"/>
              <a:gd name="connsiteX44604" fmla="*/ 4934577 w 8079933"/>
              <a:gd name="connsiteY44604" fmla="*/ 991217 h 4687251"/>
              <a:gd name="connsiteX44605" fmla="*/ 4937507 w 8079933"/>
              <a:gd name="connsiteY44605" fmla="*/ 990352 h 4687251"/>
              <a:gd name="connsiteX44606" fmla="*/ 4940111 w 8079933"/>
              <a:gd name="connsiteY44606" fmla="*/ 986887 h 4687251"/>
              <a:gd name="connsiteX44607" fmla="*/ 4938375 w 8079933"/>
              <a:gd name="connsiteY44607" fmla="*/ 984072 h 4687251"/>
              <a:gd name="connsiteX44608" fmla="*/ 4936964 w 8079933"/>
              <a:gd name="connsiteY44608" fmla="*/ 979632 h 4687251"/>
              <a:gd name="connsiteX44609" fmla="*/ 4935228 w 8079933"/>
              <a:gd name="connsiteY44609" fmla="*/ 977467 h 4687251"/>
              <a:gd name="connsiteX44610" fmla="*/ 4939026 w 8079933"/>
              <a:gd name="connsiteY44610" fmla="*/ 974436 h 4687251"/>
              <a:gd name="connsiteX44611" fmla="*/ 4951614 w 8079933"/>
              <a:gd name="connsiteY44611" fmla="*/ 969022 h 4687251"/>
              <a:gd name="connsiteX44612" fmla="*/ 4960186 w 8079933"/>
              <a:gd name="connsiteY44612" fmla="*/ 967723 h 4687251"/>
              <a:gd name="connsiteX44613" fmla="*/ 4961054 w 8079933"/>
              <a:gd name="connsiteY44613" fmla="*/ 969672 h 4687251"/>
              <a:gd name="connsiteX44614" fmla="*/ 4956280 w 8079933"/>
              <a:gd name="connsiteY44614" fmla="*/ 972054 h 4687251"/>
              <a:gd name="connsiteX44615" fmla="*/ 4952699 w 8079933"/>
              <a:gd name="connsiteY44615" fmla="*/ 972054 h 4687251"/>
              <a:gd name="connsiteX44616" fmla="*/ 4943801 w 8079933"/>
              <a:gd name="connsiteY44616" fmla="*/ 976168 h 4687251"/>
              <a:gd name="connsiteX44617" fmla="*/ 4945429 w 8079933"/>
              <a:gd name="connsiteY44617" fmla="*/ 978442 h 4687251"/>
              <a:gd name="connsiteX44618" fmla="*/ 4948684 w 8079933"/>
              <a:gd name="connsiteY44618" fmla="*/ 979199 h 4687251"/>
              <a:gd name="connsiteX44619" fmla="*/ 4951397 w 8079933"/>
              <a:gd name="connsiteY44619" fmla="*/ 977792 h 4687251"/>
              <a:gd name="connsiteX44620" fmla="*/ 4956931 w 8079933"/>
              <a:gd name="connsiteY44620" fmla="*/ 982881 h 4687251"/>
              <a:gd name="connsiteX44621" fmla="*/ 4953893 w 8079933"/>
              <a:gd name="connsiteY44621" fmla="*/ 984613 h 4687251"/>
              <a:gd name="connsiteX44622" fmla="*/ 4952808 w 8079933"/>
              <a:gd name="connsiteY44622" fmla="*/ 986454 h 4687251"/>
              <a:gd name="connsiteX44623" fmla="*/ 4956063 w 8079933"/>
              <a:gd name="connsiteY44623" fmla="*/ 991542 h 4687251"/>
              <a:gd name="connsiteX44624" fmla="*/ 4954110 w 8079933"/>
              <a:gd name="connsiteY44624" fmla="*/ 995007 h 4687251"/>
              <a:gd name="connsiteX44625" fmla="*/ 4949335 w 8079933"/>
              <a:gd name="connsiteY44625" fmla="*/ 995007 h 4687251"/>
              <a:gd name="connsiteX44626" fmla="*/ 4944452 w 8079933"/>
              <a:gd name="connsiteY44626" fmla="*/ 999662 h 4687251"/>
              <a:gd name="connsiteX44627" fmla="*/ 4945429 w 8079933"/>
              <a:gd name="connsiteY44627" fmla="*/ 1003560 h 4687251"/>
              <a:gd name="connsiteX44628" fmla="*/ 4949444 w 8079933"/>
              <a:gd name="connsiteY44628" fmla="*/ 1004427 h 4687251"/>
              <a:gd name="connsiteX44629" fmla="*/ 4952590 w 8079933"/>
              <a:gd name="connsiteY44629" fmla="*/ 1003560 h 4687251"/>
              <a:gd name="connsiteX44630" fmla="*/ 4955738 w 8079933"/>
              <a:gd name="connsiteY44630" fmla="*/ 1003560 h 4687251"/>
              <a:gd name="connsiteX44631" fmla="*/ 4959101 w 8079933"/>
              <a:gd name="connsiteY44631" fmla="*/ 1001395 h 4687251"/>
              <a:gd name="connsiteX44632" fmla="*/ 4964093 w 8079933"/>
              <a:gd name="connsiteY44632" fmla="*/ 1003344 h 4687251"/>
              <a:gd name="connsiteX44633" fmla="*/ 4964093 w 8079933"/>
              <a:gd name="connsiteY44633" fmla="*/ 1008974 h 4687251"/>
              <a:gd name="connsiteX44634" fmla="*/ 4966480 w 8079933"/>
              <a:gd name="connsiteY44634" fmla="*/ 1003127 h 4687251"/>
              <a:gd name="connsiteX44635" fmla="*/ 4971472 w 8079933"/>
              <a:gd name="connsiteY44635" fmla="*/ 997389 h 4687251"/>
              <a:gd name="connsiteX44636" fmla="*/ 4973860 w 8079933"/>
              <a:gd name="connsiteY44636" fmla="*/ 997389 h 4687251"/>
              <a:gd name="connsiteX44637" fmla="*/ 4975921 w 8079933"/>
              <a:gd name="connsiteY44637" fmla="*/ 1000637 h 4687251"/>
              <a:gd name="connsiteX44638" fmla="*/ 4979828 w 8079933"/>
              <a:gd name="connsiteY44638" fmla="*/ 1003560 h 4687251"/>
              <a:gd name="connsiteX44639" fmla="*/ 4981347 w 8079933"/>
              <a:gd name="connsiteY44639" fmla="*/ 1001611 h 4687251"/>
              <a:gd name="connsiteX44640" fmla="*/ 4980371 w 8079933"/>
              <a:gd name="connsiteY44640" fmla="*/ 998797 h 4687251"/>
              <a:gd name="connsiteX44641" fmla="*/ 4981564 w 8079933"/>
              <a:gd name="connsiteY44641" fmla="*/ 995873 h 4687251"/>
              <a:gd name="connsiteX44642" fmla="*/ 4978092 w 8079933"/>
              <a:gd name="connsiteY44642" fmla="*/ 993383 h 4687251"/>
              <a:gd name="connsiteX44643" fmla="*/ 4978092 w 8079933"/>
              <a:gd name="connsiteY44643" fmla="*/ 991217 h 4687251"/>
              <a:gd name="connsiteX44644" fmla="*/ 4982107 w 8079933"/>
              <a:gd name="connsiteY44644" fmla="*/ 986778 h 4687251"/>
              <a:gd name="connsiteX44645" fmla="*/ 4986991 w 8079933"/>
              <a:gd name="connsiteY44645" fmla="*/ 986021 h 4687251"/>
              <a:gd name="connsiteX44646" fmla="*/ 4988401 w 8079933"/>
              <a:gd name="connsiteY44646" fmla="*/ 983531 h 4687251"/>
              <a:gd name="connsiteX44647" fmla="*/ 4994695 w 8079933"/>
              <a:gd name="connsiteY44647" fmla="*/ 979524 h 4687251"/>
              <a:gd name="connsiteX44648" fmla="*/ 4997516 w 8079933"/>
              <a:gd name="connsiteY44648" fmla="*/ 981690 h 4687251"/>
              <a:gd name="connsiteX44649" fmla="*/ 5000663 w 8079933"/>
              <a:gd name="connsiteY44649" fmla="*/ 981690 h 4687251"/>
              <a:gd name="connsiteX44650" fmla="*/ 5002834 w 8079933"/>
              <a:gd name="connsiteY44650" fmla="*/ 980499 h 4687251"/>
              <a:gd name="connsiteX44651" fmla="*/ 5006306 w 8079933"/>
              <a:gd name="connsiteY44651" fmla="*/ 981798 h 4687251"/>
              <a:gd name="connsiteX44652" fmla="*/ 5017158 w 8079933"/>
              <a:gd name="connsiteY44652" fmla="*/ 981798 h 4687251"/>
              <a:gd name="connsiteX44653" fmla="*/ 5020848 w 8079933"/>
              <a:gd name="connsiteY44653" fmla="*/ 979091 h 4687251"/>
              <a:gd name="connsiteX44654" fmla="*/ 5020848 w 8079933"/>
              <a:gd name="connsiteY44654" fmla="*/ 976060 h 4687251"/>
              <a:gd name="connsiteX44655" fmla="*/ 5023344 w 8079933"/>
              <a:gd name="connsiteY44655" fmla="*/ 973244 h 4687251"/>
              <a:gd name="connsiteX44656" fmla="*/ 5029312 w 8079933"/>
              <a:gd name="connsiteY44656" fmla="*/ 973244 h 4687251"/>
              <a:gd name="connsiteX44657" fmla="*/ 5029312 w 8079933"/>
              <a:gd name="connsiteY44657" fmla="*/ 970646 h 4687251"/>
              <a:gd name="connsiteX44658" fmla="*/ 5033761 w 8079933"/>
              <a:gd name="connsiteY44658" fmla="*/ 966748 h 4687251"/>
              <a:gd name="connsiteX44659" fmla="*/ 5037451 w 8079933"/>
              <a:gd name="connsiteY44659" fmla="*/ 965991 h 4687251"/>
              <a:gd name="connsiteX44660" fmla="*/ 5043744 w 8079933"/>
              <a:gd name="connsiteY44660" fmla="*/ 959819 h 4687251"/>
              <a:gd name="connsiteX44661" fmla="*/ 5046240 w 8079933"/>
              <a:gd name="connsiteY44661" fmla="*/ 959819 h 4687251"/>
              <a:gd name="connsiteX44662" fmla="*/ 5049822 w 8079933"/>
              <a:gd name="connsiteY44662" fmla="*/ 957979 h 4687251"/>
              <a:gd name="connsiteX44663" fmla="*/ 5050690 w 8079933"/>
              <a:gd name="connsiteY44663" fmla="*/ 959603 h 4687251"/>
              <a:gd name="connsiteX44664" fmla="*/ 5047109 w 8079933"/>
              <a:gd name="connsiteY44664" fmla="*/ 963717 h 4687251"/>
              <a:gd name="connsiteX44665" fmla="*/ 5050798 w 8079933"/>
              <a:gd name="connsiteY44665" fmla="*/ 965124 h 4687251"/>
              <a:gd name="connsiteX44666" fmla="*/ 5055573 w 8079933"/>
              <a:gd name="connsiteY44666" fmla="*/ 969780 h 4687251"/>
              <a:gd name="connsiteX44667" fmla="*/ 5055573 w 8079933"/>
              <a:gd name="connsiteY44667" fmla="*/ 972378 h 4687251"/>
              <a:gd name="connsiteX44668" fmla="*/ 5051666 w 8079933"/>
              <a:gd name="connsiteY44668" fmla="*/ 975952 h 4687251"/>
              <a:gd name="connsiteX44669" fmla="*/ 5053945 w 8079933"/>
              <a:gd name="connsiteY44669" fmla="*/ 980715 h 4687251"/>
              <a:gd name="connsiteX44670" fmla="*/ 5052968 w 8079933"/>
              <a:gd name="connsiteY44670" fmla="*/ 984397 h 4687251"/>
              <a:gd name="connsiteX44671" fmla="*/ 5055790 w 8079933"/>
              <a:gd name="connsiteY44671" fmla="*/ 987861 h 4687251"/>
              <a:gd name="connsiteX44672" fmla="*/ 5067835 w 8079933"/>
              <a:gd name="connsiteY44672" fmla="*/ 987861 h 4687251"/>
              <a:gd name="connsiteX44673" fmla="*/ 5070331 w 8079933"/>
              <a:gd name="connsiteY44673" fmla="*/ 985046 h 4687251"/>
              <a:gd name="connsiteX44674" fmla="*/ 5070331 w 8079933"/>
              <a:gd name="connsiteY44674" fmla="*/ 982123 h 4687251"/>
              <a:gd name="connsiteX44675" fmla="*/ 5068487 w 8079933"/>
              <a:gd name="connsiteY44675" fmla="*/ 980391 h 4687251"/>
              <a:gd name="connsiteX44676" fmla="*/ 5063386 w 8079933"/>
              <a:gd name="connsiteY44676" fmla="*/ 974327 h 4687251"/>
              <a:gd name="connsiteX44677" fmla="*/ 5063386 w 8079933"/>
              <a:gd name="connsiteY44677" fmla="*/ 971621 h 4687251"/>
              <a:gd name="connsiteX44678" fmla="*/ 5066750 w 8079933"/>
              <a:gd name="connsiteY44678" fmla="*/ 968914 h 4687251"/>
              <a:gd name="connsiteX44679" fmla="*/ 5073261 w 8079933"/>
              <a:gd name="connsiteY44679" fmla="*/ 971837 h 4687251"/>
              <a:gd name="connsiteX44680" fmla="*/ 5077819 w 8079933"/>
              <a:gd name="connsiteY44680" fmla="*/ 968805 h 4687251"/>
              <a:gd name="connsiteX44681" fmla="*/ 5079772 w 8079933"/>
              <a:gd name="connsiteY44681" fmla="*/ 960902 h 4687251"/>
              <a:gd name="connsiteX44682" fmla="*/ 5083353 w 8079933"/>
              <a:gd name="connsiteY44682" fmla="*/ 960902 h 4687251"/>
              <a:gd name="connsiteX44683" fmla="*/ 5085523 w 8079933"/>
              <a:gd name="connsiteY44683" fmla="*/ 962850 h 4687251"/>
              <a:gd name="connsiteX44684" fmla="*/ 5091818 w 8079933"/>
              <a:gd name="connsiteY44684" fmla="*/ 963933 h 4687251"/>
              <a:gd name="connsiteX44685" fmla="*/ 5085307 w 8079933"/>
              <a:gd name="connsiteY44685" fmla="*/ 956896 h 4687251"/>
              <a:gd name="connsiteX44686" fmla="*/ 5079881 w 8079933"/>
              <a:gd name="connsiteY44686" fmla="*/ 955488 h 4687251"/>
              <a:gd name="connsiteX44687" fmla="*/ 5079881 w 8079933"/>
              <a:gd name="connsiteY44687" fmla="*/ 951157 h 4687251"/>
              <a:gd name="connsiteX44688" fmla="*/ 5075866 w 8079933"/>
              <a:gd name="connsiteY44688" fmla="*/ 943362 h 4687251"/>
              <a:gd name="connsiteX44689" fmla="*/ 5072935 w 8079933"/>
              <a:gd name="connsiteY44689" fmla="*/ 943362 h 4687251"/>
              <a:gd name="connsiteX44690" fmla="*/ 5072067 w 8079933"/>
              <a:gd name="connsiteY44690" fmla="*/ 947476 h 4687251"/>
              <a:gd name="connsiteX44691" fmla="*/ 5069680 w 8079933"/>
              <a:gd name="connsiteY44691" fmla="*/ 943470 h 4687251"/>
              <a:gd name="connsiteX44692" fmla="*/ 5067184 w 8079933"/>
              <a:gd name="connsiteY44692" fmla="*/ 934809 h 4687251"/>
              <a:gd name="connsiteX44693" fmla="*/ 5063929 w 8079933"/>
              <a:gd name="connsiteY44693" fmla="*/ 932968 h 4687251"/>
              <a:gd name="connsiteX44694" fmla="*/ 5060456 w 8079933"/>
              <a:gd name="connsiteY44694" fmla="*/ 927554 h 4687251"/>
              <a:gd name="connsiteX44695" fmla="*/ 5060456 w 8079933"/>
              <a:gd name="connsiteY44695" fmla="*/ 926147 h 4687251"/>
              <a:gd name="connsiteX44696" fmla="*/ 5065557 w 8079933"/>
              <a:gd name="connsiteY44696" fmla="*/ 924307 h 4687251"/>
              <a:gd name="connsiteX44697" fmla="*/ 5065557 w 8079933"/>
              <a:gd name="connsiteY44697" fmla="*/ 920300 h 4687251"/>
              <a:gd name="connsiteX44698" fmla="*/ 5063277 w 8079933"/>
              <a:gd name="connsiteY44698" fmla="*/ 915212 h 4687251"/>
              <a:gd name="connsiteX44699" fmla="*/ 5066099 w 8079933"/>
              <a:gd name="connsiteY44699" fmla="*/ 912504 h 4687251"/>
              <a:gd name="connsiteX44700" fmla="*/ 5070114 w 8079933"/>
              <a:gd name="connsiteY44700" fmla="*/ 913371 h 4687251"/>
              <a:gd name="connsiteX44701" fmla="*/ 5072067 w 8079933"/>
              <a:gd name="connsiteY44701" fmla="*/ 912288 h 4687251"/>
              <a:gd name="connsiteX44702" fmla="*/ 5076083 w 8079933"/>
              <a:gd name="connsiteY44702" fmla="*/ 914995 h 4687251"/>
              <a:gd name="connsiteX44703" fmla="*/ 5080749 w 8079933"/>
              <a:gd name="connsiteY44703" fmla="*/ 914237 h 4687251"/>
              <a:gd name="connsiteX44704" fmla="*/ 5085307 w 8079933"/>
              <a:gd name="connsiteY44704" fmla="*/ 915645 h 4687251"/>
              <a:gd name="connsiteX44705" fmla="*/ 5103429 w 8079933"/>
              <a:gd name="connsiteY44705" fmla="*/ 913155 h 4687251"/>
              <a:gd name="connsiteX44706" fmla="*/ 5126434 w 8079933"/>
              <a:gd name="connsiteY44706" fmla="*/ 914454 h 4687251"/>
              <a:gd name="connsiteX44707" fmla="*/ 5133271 w 8079933"/>
              <a:gd name="connsiteY44707" fmla="*/ 919109 h 4687251"/>
              <a:gd name="connsiteX44708" fmla="*/ 5148463 w 8079933"/>
              <a:gd name="connsiteY44708" fmla="*/ 924739 h 4687251"/>
              <a:gd name="connsiteX44709" fmla="*/ 5149765 w 8079933"/>
              <a:gd name="connsiteY44709" fmla="*/ 927987 h 4687251"/>
              <a:gd name="connsiteX44710" fmla="*/ 5148138 w 8079933"/>
              <a:gd name="connsiteY44710" fmla="*/ 930477 h 4687251"/>
              <a:gd name="connsiteX44711" fmla="*/ 5150525 w 8079933"/>
              <a:gd name="connsiteY44711" fmla="*/ 935675 h 4687251"/>
              <a:gd name="connsiteX44712" fmla="*/ 5155083 w 8079933"/>
              <a:gd name="connsiteY44712" fmla="*/ 931669 h 4687251"/>
              <a:gd name="connsiteX44713" fmla="*/ 5161919 w 8079933"/>
              <a:gd name="connsiteY44713" fmla="*/ 929179 h 4687251"/>
              <a:gd name="connsiteX44714" fmla="*/ 5165934 w 8079933"/>
              <a:gd name="connsiteY44714" fmla="*/ 932752 h 4687251"/>
              <a:gd name="connsiteX44715" fmla="*/ 5169515 w 8079933"/>
              <a:gd name="connsiteY44715" fmla="*/ 932752 h 4687251"/>
              <a:gd name="connsiteX44716" fmla="*/ 5170383 w 8079933"/>
              <a:gd name="connsiteY44716" fmla="*/ 937299 h 4687251"/>
              <a:gd name="connsiteX44717" fmla="*/ 5178306 w 8079933"/>
              <a:gd name="connsiteY44717" fmla="*/ 938381 h 4687251"/>
              <a:gd name="connsiteX44718" fmla="*/ 5191545 w 8079933"/>
              <a:gd name="connsiteY44718" fmla="*/ 945960 h 4687251"/>
              <a:gd name="connsiteX44719" fmla="*/ 5204241 w 8079933"/>
              <a:gd name="connsiteY44719" fmla="*/ 947043 h 4687251"/>
              <a:gd name="connsiteX44720" fmla="*/ 5209341 w 8079933"/>
              <a:gd name="connsiteY44720" fmla="*/ 951157 h 4687251"/>
              <a:gd name="connsiteX44721" fmla="*/ 5212379 w 8079933"/>
              <a:gd name="connsiteY44721" fmla="*/ 957870 h 4687251"/>
              <a:gd name="connsiteX44722" fmla="*/ 5219759 w 8079933"/>
              <a:gd name="connsiteY44722" fmla="*/ 959277 h 4687251"/>
              <a:gd name="connsiteX44723" fmla="*/ 5226270 w 8079933"/>
              <a:gd name="connsiteY44723" fmla="*/ 964150 h 4687251"/>
              <a:gd name="connsiteX44724" fmla="*/ 5231913 w 8079933"/>
              <a:gd name="connsiteY44724" fmla="*/ 974977 h 4687251"/>
              <a:gd name="connsiteX44725" fmla="*/ 5237013 w 8079933"/>
              <a:gd name="connsiteY44725" fmla="*/ 976060 h 4687251"/>
              <a:gd name="connsiteX44726" fmla="*/ 5237013 w 8079933"/>
              <a:gd name="connsiteY44726" fmla="*/ 973028 h 4687251"/>
              <a:gd name="connsiteX44727" fmla="*/ 5235711 w 8079933"/>
              <a:gd name="connsiteY44727" fmla="*/ 966315 h 4687251"/>
              <a:gd name="connsiteX44728" fmla="*/ 5238641 w 8079933"/>
              <a:gd name="connsiteY44728" fmla="*/ 966315 h 4687251"/>
              <a:gd name="connsiteX44729" fmla="*/ 5239726 w 8079933"/>
              <a:gd name="connsiteY44729" fmla="*/ 963825 h 4687251"/>
              <a:gd name="connsiteX44730" fmla="*/ 5236470 w 8079933"/>
              <a:gd name="connsiteY44730" fmla="*/ 958736 h 4687251"/>
              <a:gd name="connsiteX44731" fmla="*/ 5237881 w 8079933"/>
              <a:gd name="connsiteY44731" fmla="*/ 955488 h 4687251"/>
              <a:gd name="connsiteX44732" fmla="*/ 5237881 w 8079933"/>
              <a:gd name="connsiteY44732" fmla="*/ 942712 h 4687251"/>
              <a:gd name="connsiteX44733" fmla="*/ 5242222 w 8079933"/>
              <a:gd name="connsiteY44733" fmla="*/ 939247 h 4687251"/>
              <a:gd name="connsiteX44734" fmla="*/ 5237881 w 8079933"/>
              <a:gd name="connsiteY44734" fmla="*/ 939247 h 4687251"/>
              <a:gd name="connsiteX44735" fmla="*/ 5237122 w 8079933"/>
              <a:gd name="connsiteY44735" fmla="*/ 937299 h 4687251"/>
              <a:gd name="connsiteX44736" fmla="*/ 5232564 w 8079933"/>
              <a:gd name="connsiteY44736" fmla="*/ 937299 h 4687251"/>
              <a:gd name="connsiteX44737" fmla="*/ 5228983 w 8079933"/>
              <a:gd name="connsiteY44737" fmla="*/ 939681 h 4687251"/>
              <a:gd name="connsiteX44738" fmla="*/ 5224100 w 8079933"/>
              <a:gd name="connsiteY44738" fmla="*/ 938273 h 4687251"/>
              <a:gd name="connsiteX44739" fmla="*/ 5214333 w 8079933"/>
              <a:gd name="connsiteY44739" fmla="*/ 926689 h 4687251"/>
              <a:gd name="connsiteX44740" fmla="*/ 5211620 w 8079933"/>
              <a:gd name="connsiteY44740" fmla="*/ 926147 h 4687251"/>
              <a:gd name="connsiteX44741" fmla="*/ 5208039 w 8079933"/>
              <a:gd name="connsiteY44741" fmla="*/ 921600 h 4687251"/>
              <a:gd name="connsiteX44742" fmla="*/ 5208039 w 8079933"/>
              <a:gd name="connsiteY44742" fmla="*/ 913155 h 4687251"/>
              <a:gd name="connsiteX44743" fmla="*/ 5205543 w 8079933"/>
              <a:gd name="connsiteY44743" fmla="*/ 910773 h 4687251"/>
              <a:gd name="connsiteX44744" fmla="*/ 5200985 w 8079933"/>
              <a:gd name="connsiteY44744" fmla="*/ 917052 h 4687251"/>
              <a:gd name="connsiteX44745" fmla="*/ 5195885 w 8079933"/>
              <a:gd name="connsiteY44745" fmla="*/ 913587 h 4687251"/>
              <a:gd name="connsiteX44746" fmla="*/ 5190242 w 8079933"/>
              <a:gd name="connsiteY44746" fmla="*/ 913587 h 4687251"/>
              <a:gd name="connsiteX44747" fmla="*/ 5185901 w 8079933"/>
              <a:gd name="connsiteY44747" fmla="*/ 910664 h 4687251"/>
              <a:gd name="connsiteX44748" fmla="*/ 5183623 w 8079933"/>
              <a:gd name="connsiteY44748" fmla="*/ 914454 h 4687251"/>
              <a:gd name="connsiteX44749" fmla="*/ 5181995 w 8079933"/>
              <a:gd name="connsiteY44749" fmla="*/ 906334 h 4687251"/>
              <a:gd name="connsiteX44750" fmla="*/ 5178414 w 8079933"/>
              <a:gd name="connsiteY44750" fmla="*/ 903085 h 4687251"/>
              <a:gd name="connsiteX44751" fmla="*/ 5174399 w 8079933"/>
              <a:gd name="connsiteY44751" fmla="*/ 892258 h 4687251"/>
              <a:gd name="connsiteX44752" fmla="*/ 5174399 w 8079933"/>
              <a:gd name="connsiteY44752" fmla="*/ 888685 h 4687251"/>
              <a:gd name="connsiteX44753" fmla="*/ 5177654 w 8079933"/>
              <a:gd name="connsiteY44753" fmla="*/ 891175 h 4687251"/>
              <a:gd name="connsiteX44754" fmla="*/ 5181452 w 8079933"/>
              <a:gd name="connsiteY44754" fmla="*/ 887711 h 4687251"/>
              <a:gd name="connsiteX44755" fmla="*/ 5181452 w 8079933"/>
              <a:gd name="connsiteY44755" fmla="*/ 882298 h 4687251"/>
              <a:gd name="connsiteX44756" fmla="*/ 5174181 w 8079933"/>
              <a:gd name="connsiteY44756" fmla="*/ 877100 h 4687251"/>
              <a:gd name="connsiteX44757" fmla="*/ 5174181 w 8079933"/>
              <a:gd name="connsiteY44757" fmla="*/ 871145 h 4687251"/>
              <a:gd name="connsiteX44758" fmla="*/ 5177654 w 8079933"/>
              <a:gd name="connsiteY44758" fmla="*/ 866598 h 4687251"/>
              <a:gd name="connsiteX44759" fmla="*/ 5181127 w 8079933"/>
              <a:gd name="connsiteY44759" fmla="*/ 867465 h 4687251"/>
              <a:gd name="connsiteX44760" fmla="*/ 5176786 w 8079933"/>
              <a:gd name="connsiteY44760" fmla="*/ 863458 h 4687251"/>
              <a:gd name="connsiteX44761" fmla="*/ 5171360 w 8079933"/>
              <a:gd name="connsiteY44761" fmla="*/ 863458 h 4687251"/>
              <a:gd name="connsiteX44762" fmla="*/ 5167888 w 8079933"/>
              <a:gd name="connsiteY44762" fmla="*/ 854796 h 4687251"/>
              <a:gd name="connsiteX44763" fmla="*/ 5164632 w 8079933"/>
              <a:gd name="connsiteY44763" fmla="*/ 851765 h 4687251"/>
              <a:gd name="connsiteX44764" fmla="*/ 5160834 w 8079933"/>
              <a:gd name="connsiteY44764" fmla="*/ 854688 h 4687251"/>
              <a:gd name="connsiteX44765" fmla="*/ 5155083 w 8079933"/>
              <a:gd name="connsiteY44765" fmla="*/ 849274 h 4687251"/>
              <a:gd name="connsiteX44766" fmla="*/ 5155843 w 8079933"/>
              <a:gd name="connsiteY44766" fmla="*/ 841371 h 4687251"/>
              <a:gd name="connsiteX44767" fmla="*/ 5158555 w 8079933"/>
              <a:gd name="connsiteY44767" fmla="*/ 837257 h 4687251"/>
              <a:gd name="connsiteX44768" fmla="*/ 5155516 w 8079933"/>
              <a:gd name="connsiteY44768" fmla="*/ 832601 h 4687251"/>
              <a:gd name="connsiteX44769" fmla="*/ 5154648 w 8079933"/>
              <a:gd name="connsiteY44769" fmla="*/ 828595 h 4687251"/>
              <a:gd name="connsiteX44770" fmla="*/ 5157904 w 8079933"/>
              <a:gd name="connsiteY44770" fmla="*/ 826430 h 4687251"/>
              <a:gd name="connsiteX44771" fmla="*/ 5166260 w 8079933"/>
              <a:gd name="connsiteY44771" fmla="*/ 813437 h 4687251"/>
              <a:gd name="connsiteX44772" fmla="*/ 5171468 w 8079933"/>
              <a:gd name="connsiteY44772" fmla="*/ 809864 h 4687251"/>
              <a:gd name="connsiteX44773" fmla="*/ 5172880 w 8079933"/>
              <a:gd name="connsiteY44773" fmla="*/ 806941 h 4687251"/>
              <a:gd name="connsiteX44774" fmla="*/ 5170709 w 8079933"/>
              <a:gd name="connsiteY44774" fmla="*/ 800986 h 4687251"/>
              <a:gd name="connsiteX44775" fmla="*/ 5170709 w 8079933"/>
              <a:gd name="connsiteY44775" fmla="*/ 796438 h 4687251"/>
              <a:gd name="connsiteX44776" fmla="*/ 5173964 w 8079933"/>
              <a:gd name="connsiteY44776" fmla="*/ 790483 h 4687251"/>
              <a:gd name="connsiteX44777" fmla="*/ 5170383 w 8079933"/>
              <a:gd name="connsiteY44777" fmla="*/ 784854 h 4687251"/>
              <a:gd name="connsiteX44778" fmla="*/ 5170383 w 8079933"/>
              <a:gd name="connsiteY44778" fmla="*/ 777599 h 4687251"/>
              <a:gd name="connsiteX44779" fmla="*/ 5172228 w 8079933"/>
              <a:gd name="connsiteY44779" fmla="*/ 773810 h 4687251"/>
              <a:gd name="connsiteX44780" fmla="*/ 5170600 w 8079933"/>
              <a:gd name="connsiteY44780" fmla="*/ 770238 h 4687251"/>
              <a:gd name="connsiteX44781" fmla="*/ 5170600 w 8079933"/>
              <a:gd name="connsiteY44781" fmla="*/ 764607 h 4687251"/>
              <a:gd name="connsiteX44782" fmla="*/ 5167670 w 8079933"/>
              <a:gd name="connsiteY44782" fmla="*/ 761684 h 4687251"/>
              <a:gd name="connsiteX44783" fmla="*/ 5170058 w 8079933"/>
              <a:gd name="connsiteY44783" fmla="*/ 752806 h 4687251"/>
              <a:gd name="connsiteX44784" fmla="*/ 5171686 w 8079933"/>
              <a:gd name="connsiteY44784" fmla="*/ 750965 h 4687251"/>
              <a:gd name="connsiteX44785" fmla="*/ 5167562 w 8079933"/>
              <a:gd name="connsiteY44785" fmla="*/ 745551 h 4687251"/>
              <a:gd name="connsiteX44786" fmla="*/ 5168973 w 8079933"/>
              <a:gd name="connsiteY44786" fmla="*/ 737432 h 4687251"/>
              <a:gd name="connsiteX44787" fmla="*/ 5168213 w 8079933"/>
              <a:gd name="connsiteY44787" fmla="*/ 727471 h 4687251"/>
              <a:gd name="connsiteX44788" fmla="*/ 5172011 w 8079933"/>
              <a:gd name="connsiteY44788" fmla="*/ 726388 h 4687251"/>
              <a:gd name="connsiteX44789" fmla="*/ 5175918 w 8079933"/>
              <a:gd name="connsiteY44789" fmla="*/ 728337 h 4687251"/>
              <a:gd name="connsiteX44790" fmla="*/ 5174290 w 8079933"/>
              <a:gd name="connsiteY44790" fmla="*/ 730502 h 4687251"/>
              <a:gd name="connsiteX44791" fmla="*/ 5175918 w 8079933"/>
              <a:gd name="connsiteY44791" fmla="*/ 732451 h 4687251"/>
              <a:gd name="connsiteX44792" fmla="*/ 5181344 w 8079933"/>
              <a:gd name="connsiteY44792" fmla="*/ 730069 h 4687251"/>
              <a:gd name="connsiteX44793" fmla="*/ 5188072 w 8079933"/>
              <a:gd name="connsiteY44793" fmla="*/ 730069 h 4687251"/>
              <a:gd name="connsiteX44794" fmla="*/ 5194041 w 8079933"/>
              <a:gd name="connsiteY44794" fmla="*/ 727037 h 4687251"/>
              <a:gd name="connsiteX44795" fmla="*/ 5198164 w 8079933"/>
              <a:gd name="connsiteY44795" fmla="*/ 727037 h 4687251"/>
              <a:gd name="connsiteX44796" fmla="*/ 5202287 w 8079933"/>
              <a:gd name="connsiteY44796" fmla="*/ 728986 h 4687251"/>
              <a:gd name="connsiteX44797" fmla="*/ 5205000 w 8079933"/>
              <a:gd name="connsiteY44797" fmla="*/ 726604 h 4687251"/>
              <a:gd name="connsiteX44798" fmla="*/ 5210643 w 8079933"/>
              <a:gd name="connsiteY44798" fmla="*/ 726604 h 4687251"/>
              <a:gd name="connsiteX44799" fmla="*/ 5224968 w 8079933"/>
              <a:gd name="connsiteY44799" fmla="*/ 732343 h 4687251"/>
              <a:gd name="connsiteX44800" fmla="*/ 5231696 w 8079933"/>
              <a:gd name="connsiteY44800" fmla="*/ 732343 h 4687251"/>
              <a:gd name="connsiteX44801" fmla="*/ 5236579 w 8079933"/>
              <a:gd name="connsiteY44801" fmla="*/ 733426 h 4687251"/>
              <a:gd name="connsiteX44802" fmla="*/ 5238424 w 8079933"/>
              <a:gd name="connsiteY44802" fmla="*/ 737756 h 4687251"/>
              <a:gd name="connsiteX44803" fmla="*/ 5234626 w 8079933"/>
              <a:gd name="connsiteY44803" fmla="*/ 739380 h 4687251"/>
              <a:gd name="connsiteX44804" fmla="*/ 5237664 w 8079933"/>
              <a:gd name="connsiteY44804" fmla="*/ 744794 h 4687251"/>
              <a:gd name="connsiteX44805" fmla="*/ 5237664 w 8079933"/>
              <a:gd name="connsiteY44805" fmla="*/ 750532 h 4687251"/>
              <a:gd name="connsiteX44806" fmla="*/ 5240160 w 8079933"/>
              <a:gd name="connsiteY44806" fmla="*/ 753239 h 4687251"/>
              <a:gd name="connsiteX44807" fmla="*/ 5240160 w 8079933"/>
              <a:gd name="connsiteY44807" fmla="*/ 761684 h 4687251"/>
              <a:gd name="connsiteX44808" fmla="*/ 5243198 w 8079933"/>
              <a:gd name="connsiteY44808" fmla="*/ 769046 h 4687251"/>
              <a:gd name="connsiteX44809" fmla="*/ 5241028 w 8079933"/>
              <a:gd name="connsiteY44809" fmla="*/ 782038 h 4687251"/>
              <a:gd name="connsiteX44810" fmla="*/ 5243524 w 8079933"/>
              <a:gd name="connsiteY44810" fmla="*/ 785828 h 4687251"/>
              <a:gd name="connsiteX44811" fmla="*/ 5242439 w 8079933"/>
              <a:gd name="connsiteY44811" fmla="*/ 789076 h 4687251"/>
              <a:gd name="connsiteX44812" fmla="*/ 5244609 w 8079933"/>
              <a:gd name="connsiteY44812" fmla="*/ 793082 h 4687251"/>
              <a:gd name="connsiteX44813" fmla="*/ 5243307 w 8079933"/>
              <a:gd name="connsiteY44813" fmla="*/ 797630 h 4687251"/>
              <a:gd name="connsiteX44814" fmla="*/ 5240377 w 8079933"/>
              <a:gd name="connsiteY44814" fmla="*/ 799254 h 4687251"/>
              <a:gd name="connsiteX44815" fmla="*/ 5242222 w 8079933"/>
              <a:gd name="connsiteY44815" fmla="*/ 804884 h 4687251"/>
              <a:gd name="connsiteX44816" fmla="*/ 5247322 w 8079933"/>
              <a:gd name="connsiteY44816" fmla="*/ 809540 h 4687251"/>
              <a:gd name="connsiteX44817" fmla="*/ 5250578 w 8079933"/>
              <a:gd name="connsiteY44817" fmla="*/ 815711 h 4687251"/>
              <a:gd name="connsiteX44818" fmla="*/ 5256221 w 8079933"/>
              <a:gd name="connsiteY44818" fmla="*/ 817335 h 4687251"/>
              <a:gd name="connsiteX44819" fmla="*/ 5256221 w 8079933"/>
              <a:gd name="connsiteY44819" fmla="*/ 818634 h 4687251"/>
              <a:gd name="connsiteX44820" fmla="*/ 5259802 w 8079933"/>
              <a:gd name="connsiteY44820" fmla="*/ 817227 h 4687251"/>
              <a:gd name="connsiteX44821" fmla="*/ 5262297 w 8079933"/>
              <a:gd name="connsiteY44821" fmla="*/ 819284 h 4687251"/>
              <a:gd name="connsiteX44822" fmla="*/ 5264142 w 8079933"/>
              <a:gd name="connsiteY44822" fmla="*/ 827513 h 4687251"/>
              <a:gd name="connsiteX44823" fmla="*/ 5269893 w 8079933"/>
              <a:gd name="connsiteY44823" fmla="*/ 831519 h 4687251"/>
              <a:gd name="connsiteX44824" fmla="*/ 5272932 w 8079933"/>
              <a:gd name="connsiteY44824" fmla="*/ 836390 h 4687251"/>
              <a:gd name="connsiteX44825" fmla="*/ 5274777 w 8079933"/>
              <a:gd name="connsiteY44825" fmla="*/ 851007 h 4687251"/>
              <a:gd name="connsiteX44826" fmla="*/ 5278792 w 8079933"/>
              <a:gd name="connsiteY44826" fmla="*/ 855121 h 4687251"/>
              <a:gd name="connsiteX44827" fmla="*/ 5278792 w 8079933"/>
              <a:gd name="connsiteY44827" fmla="*/ 858370 h 4687251"/>
              <a:gd name="connsiteX44828" fmla="*/ 5277381 w 8079933"/>
              <a:gd name="connsiteY44828" fmla="*/ 861834 h 4687251"/>
              <a:gd name="connsiteX44829" fmla="*/ 5282481 w 8079933"/>
              <a:gd name="connsiteY44829" fmla="*/ 867465 h 4687251"/>
              <a:gd name="connsiteX44830" fmla="*/ 5282481 w 8079933"/>
              <a:gd name="connsiteY44830" fmla="*/ 874718 h 4687251"/>
              <a:gd name="connsiteX44831" fmla="*/ 5289861 w 8079933"/>
              <a:gd name="connsiteY44831" fmla="*/ 885545 h 4687251"/>
              <a:gd name="connsiteX44832" fmla="*/ 5288016 w 8079933"/>
              <a:gd name="connsiteY44832" fmla="*/ 891826 h 4687251"/>
              <a:gd name="connsiteX44833" fmla="*/ 5290946 w 8079933"/>
              <a:gd name="connsiteY44833" fmla="*/ 897022 h 4687251"/>
              <a:gd name="connsiteX44834" fmla="*/ 5296046 w 8079933"/>
              <a:gd name="connsiteY44834" fmla="*/ 900053 h 4687251"/>
              <a:gd name="connsiteX44835" fmla="*/ 5293550 w 8079933"/>
              <a:gd name="connsiteY44835" fmla="*/ 904168 h 4687251"/>
              <a:gd name="connsiteX44836" fmla="*/ 5296263 w 8079933"/>
              <a:gd name="connsiteY44836" fmla="*/ 906658 h 4687251"/>
              <a:gd name="connsiteX44837" fmla="*/ 5298216 w 8079933"/>
              <a:gd name="connsiteY44837" fmla="*/ 916728 h 4687251"/>
              <a:gd name="connsiteX44838" fmla="*/ 5307766 w 8079933"/>
              <a:gd name="connsiteY44838" fmla="*/ 928962 h 4687251"/>
              <a:gd name="connsiteX44839" fmla="*/ 5315362 w 8079933"/>
              <a:gd name="connsiteY44839" fmla="*/ 931452 h 4687251"/>
              <a:gd name="connsiteX44840" fmla="*/ 5318617 w 8079933"/>
              <a:gd name="connsiteY44840" fmla="*/ 935458 h 4687251"/>
              <a:gd name="connsiteX44841" fmla="*/ 5322090 w 8079933"/>
              <a:gd name="connsiteY44841" fmla="*/ 936216 h 4687251"/>
              <a:gd name="connsiteX44842" fmla="*/ 5329361 w 8079933"/>
              <a:gd name="connsiteY44842" fmla="*/ 943254 h 4687251"/>
              <a:gd name="connsiteX44843" fmla="*/ 5329361 w 8079933"/>
              <a:gd name="connsiteY44843" fmla="*/ 947043 h 4687251"/>
              <a:gd name="connsiteX44844" fmla="*/ 5326973 w 8079933"/>
              <a:gd name="connsiteY44844" fmla="*/ 946177 h 4687251"/>
              <a:gd name="connsiteX44845" fmla="*/ 5326973 w 8079933"/>
              <a:gd name="connsiteY44845" fmla="*/ 951374 h 4687251"/>
              <a:gd name="connsiteX44846" fmla="*/ 5325671 w 8079933"/>
              <a:gd name="connsiteY44846" fmla="*/ 957870 h 4687251"/>
              <a:gd name="connsiteX44847" fmla="*/ 5328709 w 8079933"/>
              <a:gd name="connsiteY44847" fmla="*/ 966856 h 4687251"/>
              <a:gd name="connsiteX44848" fmla="*/ 5334135 w 8079933"/>
              <a:gd name="connsiteY44848" fmla="*/ 972270 h 4687251"/>
              <a:gd name="connsiteX44849" fmla="*/ 5334895 w 8079933"/>
              <a:gd name="connsiteY44849" fmla="*/ 979632 h 4687251"/>
              <a:gd name="connsiteX44850" fmla="*/ 5330554 w 8079933"/>
              <a:gd name="connsiteY44850" fmla="*/ 983422 h 4687251"/>
              <a:gd name="connsiteX44851" fmla="*/ 5330554 w 8079933"/>
              <a:gd name="connsiteY44851" fmla="*/ 985804 h 4687251"/>
              <a:gd name="connsiteX44852" fmla="*/ 5327299 w 8079933"/>
              <a:gd name="connsiteY44852" fmla="*/ 989810 h 4687251"/>
              <a:gd name="connsiteX44853" fmla="*/ 5329252 w 8079933"/>
              <a:gd name="connsiteY44853" fmla="*/ 992517 h 4687251"/>
              <a:gd name="connsiteX44854" fmla="*/ 5329252 w 8079933"/>
              <a:gd name="connsiteY44854" fmla="*/ 1002803 h 4687251"/>
              <a:gd name="connsiteX44855" fmla="*/ 5324043 w 8079933"/>
              <a:gd name="connsiteY44855" fmla="*/ 1005509 h 4687251"/>
              <a:gd name="connsiteX44856" fmla="*/ 5325128 w 8079933"/>
              <a:gd name="connsiteY44856" fmla="*/ 1007458 h 4687251"/>
              <a:gd name="connsiteX44857" fmla="*/ 5328709 w 8079933"/>
              <a:gd name="connsiteY44857" fmla="*/ 1006592 h 4687251"/>
              <a:gd name="connsiteX44858" fmla="*/ 5329469 w 8079933"/>
              <a:gd name="connsiteY44858" fmla="*/ 1009299 h 4687251"/>
              <a:gd name="connsiteX44859" fmla="*/ 5323827 w 8079933"/>
              <a:gd name="connsiteY44859" fmla="*/ 1012547 h 4687251"/>
              <a:gd name="connsiteX44860" fmla="*/ 5323827 w 8079933"/>
              <a:gd name="connsiteY44860" fmla="*/ 1022507 h 4687251"/>
              <a:gd name="connsiteX44861" fmla="*/ 5321656 w 8079933"/>
              <a:gd name="connsiteY44861" fmla="*/ 1025539 h 4687251"/>
              <a:gd name="connsiteX44862" fmla="*/ 5315688 w 8079933"/>
              <a:gd name="connsiteY44862" fmla="*/ 1022616 h 4687251"/>
              <a:gd name="connsiteX44863" fmla="*/ 5315688 w 8079933"/>
              <a:gd name="connsiteY44863" fmla="*/ 1025864 h 4687251"/>
              <a:gd name="connsiteX44864" fmla="*/ 5320570 w 8079933"/>
              <a:gd name="connsiteY44864" fmla="*/ 1031278 h 4687251"/>
              <a:gd name="connsiteX44865" fmla="*/ 5320570 w 8079933"/>
              <a:gd name="connsiteY44865" fmla="*/ 1034851 h 4687251"/>
              <a:gd name="connsiteX44866" fmla="*/ 5315470 w 8079933"/>
              <a:gd name="connsiteY44866" fmla="*/ 1037233 h 4687251"/>
              <a:gd name="connsiteX44867" fmla="*/ 5311889 w 8079933"/>
              <a:gd name="connsiteY44867" fmla="*/ 1041888 h 4687251"/>
              <a:gd name="connsiteX44868" fmla="*/ 5302991 w 8079933"/>
              <a:gd name="connsiteY44868" fmla="*/ 1042429 h 4687251"/>
              <a:gd name="connsiteX44869" fmla="*/ 5298433 w 8079933"/>
              <a:gd name="connsiteY44869" fmla="*/ 1038640 h 4687251"/>
              <a:gd name="connsiteX44870" fmla="*/ 5305704 w 8079933"/>
              <a:gd name="connsiteY44870" fmla="*/ 1034634 h 4687251"/>
              <a:gd name="connsiteX44871" fmla="*/ 5305704 w 8079933"/>
              <a:gd name="connsiteY44871" fmla="*/ 1031061 h 4687251"/>
              <a:gd name="connsiteX44872" fmla="*/ 5301363 w 8079933"/>
              <a:gd name="connsiteY44872" fmla="*/ 1031061 h 4687251"/>
              <a:gd name="connsiteX44873" fmla="*/ 5300170 w 8079933"/>
              <a:gd name="connsiteY44873" fmla="*/ 1034092 h 4687251"/>
              <a:gd name="connsiteX44874" fmla="*/ 5296697 w 8079933"/>
              <a:gd name="connsiteY44874" fmla="*/ 1034092 h 4687251"/>
              <a:gd name="connsiteX44875" fmla="*/ 5285845 w 8079933"/>
              <a:gd name="connsiteY44875" fmla="*/ 1027921 h 4687251"/>
              <a:gd name="connsiteX44876" fmla="*/ 5283458 w 8079933"/>
              <a:gd name="connsiteY44876" fmla="*/ 1030953 h 4687251"/>
              <a:gd name="connsiteX44877" fmla="*/ 5269893 w 8079933"/>
              <a:gd name="connsiteY44877" fmla="*/ 1032794 h 4687251"/>
              <a:gd name="connsiteX44878" fmla="*/ 5262840 w 8079933"/>
              <a:gd name="connsiteY44878" fmla="*/ 1033335 h 4687251"/>
              <a:gd name="connsiteX44879" fmla="*/ 5259367 w 8079933"/>
              <a:gd name="connsiteY44879" fmla="*/ 1039614 h 4687251"/>
              <a:gd name="connsiteX44880" fmla="*/ 5262623 w 8079933"/>
              <a:gd name="connsiteY44880" fmla="*/ 1040156 h 4687251"/>
              <a:gd name="connsiteX44881" fmla="*/ 5264250 w 8079933"/>
              <a:gd name="connsiteY44881" fmla="*/ 1041996 h 4687251"/>
              <a:gd name="connsiteX44882" fmla="*/ 5266963 w 8079933"/>
              <a:gd name="connsiteY44882" fmla="*/ 1037449 h 4687251"/>
              <a:gd name="connsiteX44883" fmla="*/ 5274342 w 8079933"/>
              <a:gd name="connsiteY44883" fmla="*/ 1036041 h 4687251"/>
              <a:gd name="connsiteX44884" fmla="*/ 5276513 w 8079933"/>
              <a:gd name="connsiteY44884" fmla="*/ 1040698 h 4687251"/>
              <a:gd name="connsiteX44885" fmla="*/ 5282807 w 8079933"/>
              <a:gd name="connsiteY44885" fmla="*/ 1046652 h 4687251"/>
              <a:gd name="connsiteX44886" fmla="*/ 5300495 w 8079933"/>
              <a:gd name="connsiteY44886" fmla="*/ 1049575 h 4687251"/>
              <a:gd name="connsiteX44887" fmla="*/ 5308091 w 8079933"/>
              <a:gd name="connsiteY44887" fmla="*/ 1051741 h 4687251"/>
              <a:gd name="connsiteX44888" fmla="*/ 5316990 w 8079933"/>
              <a:gd name="connsiteY44888" fmla="*/ 1050333 h 4687251"/>
              <a:gd name="connsiteX44889" fmla="*/ 5325345 w 8079933"/>
              <a:gd name="connsiteY44889" fmla="*/ 1050333 h 4687251"/>
              <a:gd name="connsiteX44890" fmla="*/ 5326973 w 8079933"/>
              <a:gd name="connsiteY44890" fmla="*/ 1052824 h 4687251"/>
              <a:gd name="connsiteX44891" fmla="*/ 5336197 w 8079933"/>
              <a:gd name="connsiteY44891" fmla="*/ 1054772 h 4687251"/>
              <a:gd name="connsiteX44892" fmla="*/ 5343468 w 8079933"/>
              <a:gd name="connsiteY44892" fmla="*/ 1050658 h 4687251"/>
              <a:gd name="connsiteX44893" fmla="*/ 5343468 w 8079933"/>
              <a:gd name="connsiteY44893" fmla="*/ 1046002 h 4687251"/>
              <a:gd name="connsiteX44894" fmla="*/ 5340538 w 8079933"/>
              <a:gd name="connsiteY44894" fmla="*/ 1042537 h 4687251"/>
              <a:gd name="connsiteX44895" fmla="*/ 5340538 w 8079933"/>
              <a:gd name="connsiteY44895" fmla="*/ 1036583 h 4687251"/>
              <a:gd name="connsiteX44896" fmla="*/ 5343576 w 8079933"/>
              <a:gd name="connsiteY44896" fmla="*/ 1032469 h 4687251"/>
              <a:gd name="connsiteX44897" fmla="*/ 5348134 w 8079933"/>
              <a:gd name="connsiteY44897" fmla="*/ 1030303 h 4687251"/>
              <a:gd name="connsiteX44898" fmla="*/ 5348134 w 8079933"/>
              <a:gd name="connsiteY44898" fmla="*/ 1026839 h 4687251"/>
              <a:gd name="connsiteX44899" fmla="*/ 5354863 w 8079933"/>
              <a:gd name="connsiteY44899" fmla="*/ 1020125 h 4687251"/>
              <a:gd name="connsiteX44900" fmla="*/ 5354863 w 8079933"/>
              <a:gd name="connsiteY44900" fmla="*/ 1015795 h 4687251"/>
              <a:gd name="connsiteX44901" fmla="*/ 5358985 w 8079933"/>
              <a:gd name="connsiteY44901" fmla="*/ 1004968 h 4687251"/>
              <a:gd name="connsiteX44902" fmla="*/ 5354863 w 8079933"/>
              <a:gd name="connsiteY44902" fmla="*/ 997931 h 4687251"/>
              <a:gd name="connsiteX44903" fmla="*/ 5356164 w 8079933"/>
              <a:gd name="connsiteY44903" fmla="*/ 990026 h 4687251"/>
              <a:gd name="connsiteX44904" fmla="*/ 5363543 w 8079933"/>
              <a:gd name="connsiteY44904" fmla="*/ 977034 h 4687251"/>
              <a:gd name="connsiteX44905" fmla="*/ 5364303 w 8079933"/>
              <a:gd name="connsiteY44905" fmla="*/ 972703 h 4687251"/>
              <a:gd name="connsiteX44906" fmla="*/ 5357032 w 8079933"/>
              <a:gd name="connsiteY44906" fmla="*/ 955163 h 4687251"/>
              <a:gd name="connsiteX44907" fmla="*/ 5347049 w 8079933"/>
              <a:gd name="connsiteY44907" fmla="*/ 949425 h 4687251"/>
              <a:gd name="connsiteX44908" fmla="*/ 5344119 w 8079933"/>
              <a:gd name="connsiteY44908" fmla="*/ 945311 h 4687251"/>
              <a:gd name="connsiteX44909" fmla="*/ 5343360 w 8079933"/>
              <a:gd name="connsiteY44909" fmla="*/ 931561 h 4687251"/>
              <a:gd name="connsiteX44910" fmla="*/ 5350738 w 8079933"/>
              <a:gd name="connsiteY44910" fmla="*/ 925822 h 4687251"/>
              <a:gd name="connsiteX44911" fmla="*/ 5354536 w 8079933"/>
              <a:gd name="connsiteY44911" fmla="*/ 920192 h 4687251"/>
              <a:gd name="connsiteX44912" fmla="*/ 5360830 w 8079933"/>
              <a:gd name="connsiteY44912" fmla="*/ 919326 h 4687251"/>
              <a:gd name="connsiteX44913" fmla="*/ 5370597 w 8079933"/>
              <a:gd name="connsiteY44913" fmla="*/ 909906 h 4687251"/>
              <a:gd name="connsiteX44914" fmla="*/ 5377108 w 8079933"/>
              <a:gd name="connsiteY44914" fmla="*/ 909906 h 4687251"/>
              <a:gd name="connsiteX44915" fmla="*/ 5384704 w 8079933"/>
              <a:gd name="connsiteY44915" fmla="*/ 917269 h 4687251"/>
              <a:gd name="connsiteX44916" fmla="*/ 5384704 w 8079933"/>
              <a:gd name="connsiteY44916" fmla="*/ 923765 h 4687251"/>
              <a:gd name="connsiteX44917" fmla="*/ 5392517 w 8079933"/>
              <a:gd name="connsiteY44917" fmla="*/ 927554 h 4687251"/>
              <a:gd name="connsiteX44918" fmla="*/ 5394362 w 8079933"/>
              <a:gd name="connsiteY44918" fmla="*/ 930911 h 4687251"/>
              <a:gd name="connsiteX44919" fmla="*/ 5396532 w 8079933"/>
              <a:gd name="connsiteY44919" fmla="*/ 930911 h 4687251"/>
              <a:gd name="connsiteX44920" fmla="*/ 5402501 w 8079933"/>
              <a:gd name="connsiteY44920" fmla="*/ 938273 h 4687251"/>
              <a:gd name="connsiteX44921" fmla="*/ 5401633 w 8079933"/>
              <a:gd name="connsiteY44921" fmla="*/ 944012 h 4687251"/>
              <a:gd name="connsiteX44922" fmla="*/ 5405756 w 8079933"/>
              <a:gd name="connsiteY44922" fmla="*/ 946718 h 4687251"/>
              <a:gd name="connsiteX44923" fmla="*/ 5407058 w 8079933"/>
              <a:gd name="connsiteY44923" fmla="*/ 952132 h 4687251"/>
              <a:gd name="connsiteX44924" fmla="*/ 5411507 w 8079933"/>
              <a:gd name="connsiteY44924" fmla="*/ 957762 h 4687251"/>
              <a:gd name="connsiteX44925" fmla="*/ 5412376 w 8079933"/>
              <a:gd name="connsiteY44925" fmla="*/ 963717 h 4687251"/>
              <a:gd name="connsiteX44926" fmla="*/ 5409989 w 8079933"/>
              <a:gd name="connsiteY44926" fmla="*/ 965882 h 4687251"/>
              <a:gd name="connsiteX44927" fmla="*/ 5413569 w 8079933"/>
              <a:gd name="connsiteY44927" fmla="*/ 971296 h 4687251"/>
              <a:gd name="connsiteX44928" fmla="*/ 5419321 w 8079933"/>
              <a:gd name="connsiteY44928" fmla="*/ 971296 h 4687251"/>
              <a:gd name="connsiteX44929" fmla="*/ 5425614 w 8079933"/>
              <a:gd name="connsiteY44929" fmla="*/ 975843 h 4687251"/>
              <a:gd name="connsiteX44930" fmla="*/ 5432126 w 8079933"/>
              <a:gd name="connsiteY44930" fmla="*/ 974436 h 4687251"/>
              <a:gd name="connsiteX44931" fmla="*/ 5436141 w 8079933"/>
              <a:gd name="connsiteY44931" fmla="*/ 973136 h 4687251"/>
              <a:gd name="connsiteX44932" fmla="*/ 5443411 w 8079933"/>
              <a:gd name="connsiteY44932" fmla="*/ 972378 h 4687251"/>
              <a:gd name="connsiteX44933" fmla="*/ 5445040 w 8079933"/>
              <a:gd name="connsiteY44933" fmla="*/ 969672 h 4687251"/>
              <a:gd name="connsiteX44934" fmla="*/ 5447753 w 8079933"/>
              <a:gd name="connsiteY44934" fmla="*/ 968048 h 4687251"/>
              <a:gd name="connsiteX44935" fmla="*/ 5444496 w 8079933"/>
              <a:gd name="connsiteY44935" fmla="*/ 966748 h 4687251"/>
              <a:gd name="connsiteX44936" fmla="*/ 5439830 w 8079933"/>
              <a:gd name="connsiteY44936" fmla="*/ 968048 h 4687251"/>
              <a:gd name="connsiteX44937" fmla="*/ 5438203 w 8079933"/>
              <a:gd name="connsiteY44937" fmla="*/ 964475 h 4687251"/>
              <a:gd name="connsiteX44938" fmla="*/ 5434622 w 8079933"/>
              <a:gd name="connsiteY44938" fmla="*/ 970646 h 4687251"/>
              <a:gd name="connsiteX44939" fmla="*/ 5427785 w 8079933"/>
              <a:gd name="connsiteY44939" fmla="*/ 970646 h 4687251"/>
              <a:gd name="connsiteX44940" fmla="*/ 5424746 w 8079933"/>
              <a:gd name="connsiteY44940" fmla="*/ 966315 h 4687251"/>
              <a:gd name="connsiteX44941" fmla="*/ 5419321 w 8079933"/>
              <a:gd name="connsiteY44941" fmla="*/ 966315 h 4687251"/>
              <a:gd name="connsiteX44942" fmla="*/ 5416391 w 8079933"/>
              <a:gd name="connsiteY44942" fmla="*/ 961985 h 4687251"/>
              <a:gd name="connsiteX44943" fmla="*/ 5418018 w 8079933"/>
              <a:gd name="connsiteY44943" fmla="*/ 957979 h 4687251"/>
              <a:gd name="connsiteX44944" fmla="*/ 5415089 w 8079933"/>
              <a:gd name="connsiteY44944" fmla="*/ 956138 h 4687251"/>
              <a:gd name="connsiteX44945" fmla="*/ 5411616 w 8079933"/>
              <a:gd name="connsiteY44945" fmla="*/ 949317 h 4687251"/>
              <a:gd name="connsiteX44946" fmla="*/ 5411616 w 8079933"/>
              <a:gd name="connsiteY44946" fmla="*/ 941413 h 4687251"/>
              <a:gd name="connsiteX44947" fmla="*/ 5416282 w 8079933"/>
              <a:gd name="connsiteY44947" fmla="*/ 940114 h 4687251"/>
              <a:gd name="connsiteX44948" fmla="*/ 5420080 w 8079933"/>
              <a:gd name="connsiteY44948" fmla="*/ 936865 h 4687251"/>
              <a:gd name="connsiteX44949" fmla="*/ 5416608 w 8079933"/>
              <a:gd name="connsiteY44949" fmla="*/ 934159 h 4687251"/>
              <a:gd name="connsiteX44950" fmla="*/ 5415523 w 8079933"/>
              <a:gd name="connsiteY44950" fmla="*/ 930369 h 4687251"/>
              <a:gd name="connsiteX44951" fmla="*/ 5414112 w 8079933"/>
              <a:gd name="connsiteY44951" fmla="*/ 929503 h 4687251"/>
              <a:gd name="connsiteX44952" fmla="*/ 5412485 w 8079933"/>
              <a:gd name="connsiteY44952" fmla="*/ 925714 h 4687251"/>
              <a:gd name="connsiteX44953" fmla="*/ 5405214 w 8079933"/>
              <a:gd name="connsiteY44953" fmla="*/ 921600 h 4687251"/>
              <a:gd name="connsiteX44954" fmla="*/ 5405214 w 8079933"/>
              <a:gd name="connsiteY44954" fmla="*/ 917810 h 4687251"/>
              <a:gd name="connsiteX44955" fmla="*/ 5399788 w 8079933"/>
              <a:gd name="connsiteY44955" fmla="*/ 910556 h 4687251"/>
              <a:gd name="connsiteX44956" fmla="*/ 5391649 w 8079933"/>
              <a:gd name="connsiteY44956" fmla="*/ 910556 h 4687251"/>
              <a:gd name="connsiteX44957" fmla="*/ 5380798 w 8079933"/>
              <a:gd name="connsiteY44957" fmla="*/ 905900 h 4687251"/>
              <a:gd name="connsiteX44958" fmla="*/ 5377868 w 8079933"/>
              <a:gd name="connsiteY44958" fmla="*/ 900487 h 4687251"/>
              <a:gd name="connsiteX44959" fmla="*/ 5372767 w 8079933"/>
              <a:gd name="connsiteY44959" fmla="*/ 902328 h 4687251"/>
              <a:gd name="connsiteX44960" fmla="*/ 5364086 w 8079933"/>
              <a:gd name="connsiteY44960" fmla="*/ 897239 h 4687251"/>
              <a:gd name="connsiteX44961" fmla="*/ 5359962 w 8079933"/>
              <a:gd name="connsiteY44961" fmla="*/ 898646 h 4687251"/>
              <a:gd name="connsiteX44962" fmla="*/ 5353994 w 8079933"/>
              <a:gd name="connsiteY44962" fmla="*/ 896806 h 4687251"/>
              <a:gd name="connsiteX44963" fmla="*/ 5348243 w 8079933"/>
              <a:gd name="connsiteY44963" fmla="*/ 902761 h 4687251"/>
              <a:gd name="connsiteX44964" fmla="*/ 5346614 w 8079933"/>
              <a:gd name="connsiteY44964" fmla="*/ 909257 h 4687251"/>
              <a:gd name="connsiteX44965" fmla="*/ 5343360 w 8079933"/>
              <a:gd name="connsiteY44965" fmla="*/ 911963 h 4687251"/>
              <a:gd name="connsiteX44966" fmla="*/ 5334895 w 8079933"/>
              <a:gd name="connsiteY44966" fmla="*/ 909257 h 4687251"/>
              <a:gd name="connsiteX44967" fmla="*/ 5327841 w 8079933"/>
              <a:gd name="connsiteY44967" fmla="*/ 913587 h 4687251"/>
              <a:gd name="connsiteX44968" fmla="*/ 5321114 w 8079933"/>
              <a:gd name="connsiteY44968" fmla="*/ 911639 h 4687251"/>
              <a:gd name="connsiteX44969" fmla="*/ 5318617 w 8079933"/>
              <a:gd name="connsiteY44969" fmla="*/ 908391 h 4687251"/>
              <a:gd name="connsiteX44970" fmla="*/ 5319377 w 8079933"/>
              <a:gd name="connsiteY44970" fmla="*/ 902219 h 4687251"/>
              <a:gd name="connsiteX44971" fmla="*/ 5318617 w 8079933"/>
              <a:gd name="connsiteY44971" fmla="*/ 897130 h 4687251"/>
              <a:gd name="connsiteX44972" fmla="*/ 5309611 w 8079933"/>
              <a:gd name="connsiteY44972" fmla="*/ 887711 h 4687251"/>
              <a:gd name="connsiteX44973" fmla="*/ 5306681 w 8079933"/>
              <a:gd name="connsiteY44973" fmla="*/ 882080 h 4687251"/>
              <a:gd name="connsiteX44974" fmla="*/ 5307549 w 8079933"/>
              <a:gd name="connsiteY44974" fmla="*/ 871254 h 4687251"/>
              <a:gd name="connsiteX44975" fmla="*/ 5302123 w 8079933"/>
              <a:gd name="connsiteY44975" fmla="*/ 862809 h 4687251"/>
              <a:gd name="connsiteX44976" fmla="*/ 5303425 w 8079933"/>
              <a:gd name="connsiteY44976" fmla="*/ 856854 h 4687251"/>
              <a:gd name="connsiteX44977" fmla="*/ 5304836 w 8079933"/>
              <a:gd name="connsiteY44977" fmla="*/ 841371 h 4687251"/>
              <a:gd name="connsiteX44978" fmla="*/ 5300495 w 8079933"/>
              <a:gd name="connsiteY44978" fmla="*/ 831627 h 4687251"/>
              <a:gd name="connsiteX44979" fmla="*/ 5295286 w 8079933"/>
              <a:gd name="connsiteY44979" fmla="*/ 825997 h 4687251"/>
              <a:gd name="connsiteX44980" fmla="*/ 5289101 w 8079933"/>
              <a:gd name="connsiteY44980" fmla="*/ 825997 h 4687251"/>
              <a:gd name="connsiteX44981" fmla="*/ 5286713 w 8079933"/>
              <a:gd name="connsiteY44981" fmla="*/ 819284 h 4687251"/>
              <a:gd name="connsiteX44982" fmla="*/ 5275862 w 8079933"/>
              <a:gd name="connsiteY44982" fmla="*/ 809864 h 4687251"/>
              <a:gd name="connsiteX44983" fmla="*/ 5266855 w 8079933"/>
              <a:gd name="connsiteY44983" fmla="*/ 804776 h 4687251"/>
              <a:gd name="connsiteX44984" fmla="*/ 5266855 w 8079933"/>
              <a:gd name="connsiteY44984" fmla="*/ 798821 h 4687251"/>
              <a:gd name="connsiteX44985" fmla="*/ 5270111 w 8079933"/>
              <a:gd name="connsiteY44985" fmla="*/ 789618 h 4687251"/>
              <a:gd name="connsiteX44986" fmla="*/ 5268700 w 8079933"/>
              <a:gd name="connsiteY44986" fmla="*/ 782256 h 4687251"/>
              <a:gd name="connsiteX44987" fmla="*/ 5265119 w 8079933"/>
              <a:gd name="connsiteY44987" fmla="*/ 778791 h 4687251"/>
              <a:gd name="connsiteX44988" fmla="*/ 5265119 w 8079933"/>
              <a:gd name="connsiteY44988" fmla="*/ 776084 h 4687251"/>
              <a:gd name="connsiteX44989" fmla="*/ 5270219 w 8079933"/>
              <a:gd name="connsiteY44989" fmla="*/ 770995 h 4687251"/>
              <a:gd name="connsiteX44990" fmla="*/ 5278140 w 8079933"/>
              <a:gd name="connsiteY44990" fmla="*/ 761792 h 4687251"/>
              <a:gd name="connsiteX44991" fmla="*/ 5280637 w 8079933"/>
              <a:gd name="connsiteY44991" fmla="*/ 750965 h 4687251"/>
              <a:gd name="connsiteX44992" fmla="*/ 5277598 w 8079933"/>
              <a:gd name="connsiteY44992" fmla="*/ 738189 h 4687251"/>
              <a:gd name="connsiteX44993" fmla="*/ 5267506 w 8079933"/>
              <a:gd name="connsiteY44993" fmla="*/ 718917 h 4687251"/>
              <a:gd name="connsiteX44994" fmla="*/ 5270545 w 8079933"/>
              <a:gd name="connsiteY44994" fmla="*/ 717076 h 4687251"/>
              <a:gd name="connsiteX44995" fmla="*/ 5277381 w 8079933"/>
              <a:gd name="connsiteY44995" fmla="*/ 721949 h 4687251"/>
              <a:gd name="connsiteX44996" fmla="*/ 5278466 w 8079933"/>
              <a:gd name="connsiteY44996" fmla="*/ 728228 h 4687251"/>
              <a:gd name="connsiteX44997" fmla="*/ 5281722 w 8079933"/>
              <a:gd name="connsiteY44997" fmla="*/ 729094 h 4687251"/>
              <a:gd name="connsiteX44998" fmla="*/ 5283892 w 8079933"/>
              <a:gd name="connsiteY44998" fmla="*/ 731584 h 4687251"/>
              <a:gd name="connsiteX44999" fmla="*/ 5283892 w 8079933"/>
              <a:gd name="connsiteY44999" fmla="*/ 739163 h 4687251"/>
              <a:gd name="connsiteX45000" fmla="*/ 5289101 w 8079933"/>
              <a:gd name="connsiteY45000" fmla="*/ 744252 h 4687251"/>
              <a:gd name="connsiteX45001" fmla="*/ 5289101 w 8079933"/>
              <a:gd name="connsiteY45001" fmla="*/ 755079 h 4687251"/>
              <a:gd name="connsiteX45002" fmla="*/ 5292899 w 8079933"/>
              <a:gd name="connsiteY45002" fmla="*/ 761575 h 4687251"/>
              <a:gd name="connsiteX45003" fmla="*/ 5290729 w 8079933"/>
              <a:gd name="connsiteY45003" fmla="*/ 767530 h 4687251"/>
              <a:gd name="connsiteX45004" fmla="*/ 5293550 w 8079933"/>
              <a:gd name="connsiteY45004" fmla="*/ 772728 h 4687251"/>
              <a:gd name="connsiteX45005" fmla="*/ 5300820 w 8079933"/>
              <a:gd name="connsiteY45005" fmla="*/ 779007 h 4687251"/>
              <a:gd name="connsiteX45006" fmla="*/ 5300820 w 8079933"/>
              <a:gd name="connsiteY45006" fmla="*/ 783013 h 4687251"/>
              <a:gd name="connsiteX45007" fmla="*/ 5304945 w 8079933"/>
              <a:gd name="connsiteY45007" fmla="*/ 786478 h 4687251"/>
              <a:gd name="connsiteX45008" fmla="*/ 5304945 w 8079933"/>
              <a:gd name="connsiteY45008" fmla="*/ 789942 h 4687251"/>
              <a:gd name="connsiteX45009" fmla="*/ 5300820 w 8079933"/>
              <a:gd name="connsiteY45009" fmla="*/ 792866 h 4687251"/>
              <a:gd name="connsiteX45010" fmla="*/ 5303208 w 8079933"/>
              <a:gd name="connsiteY45010" fmla="*/ 796656 h 4687251"/>
              <a:gd name="connsiteX45011" fmla="*/ 5308959 w 8079933"/>
              <a:gd name="connsiteY45011" fmla="*/ 795573 h 4687251"/>
              <a:gd name="connsiteX45012" fmla="*/ 5315470 w 8079933"/>
              <a:gd name="connsiteY45012" fmla="*/ 799687 h 4687251"/>
              <a:gd name="connsiteX45013" fmla="*/ 5323935 w 8079933"/>
              <a:gd name="connsiteY45013" fmla="*/ 799687 h 4687251"/>
              <a:gd name="connsiteX45014" fmla="*/ 5328493 w 8079933"/>
              <a:gd name="connsiteY45014" fmla="*/ 797738 h 4687251"/>
              <a:gd name="connsiteX45015" fmla="*/ 5332833 w 8079933"/>
              <a:gd name="connsiteY45015" fmla="*/ 800769 h 4687251"/>
              <a:gd name="connsiteX45016" fmla="*/ 5334461 w 8079933"/>
              <a:gd name="connsiteY45016" fmla="*/ 804559 h 4687251"/>
              <a:gd name="connsiteX45017" fmla="*/ 5338802 w 8079933"/>
              <a:gd name="connsiteY45017" fmla="*/ 799362 h 4687251"/>
              <a:gd name="connsiteX45018" fmla="*/ 5344228 w 8079933"/>
              <a:gd name="connsiteY45018" fmla="*/ 799362 h 4687251"/>
              <a:gd name="connsiteX45019" fmla="*/ 5348785 w 8079933"/>
              <a:gd name="connsiteY45019" fmla="*/ 796980 h 4687251"/>
              <a:gd name="connsiteX45020" fmla="*/ 5352909 w 8079933"/>
              <a:gd name="connsiteY45020" fmla="*/ 798063 h 4687251"/>
              <a:gd name="connsiteX45021" fmla="*/ 5359420 w 8079933"/>
              <a:gd name="connsiteY45021" fmla="*/ 805317 h 4687251"/>
              <a:gd name="connsiteX45022" fmla="*/ 5363978 w 8079933"/>
              <a:gd name="connsiteY45022" fmla="*/ 805858 h 4687251"/>
              <a:gd name="connsiteX45023" fmla="*/ 5370271 w 8079933"/>
              <a:gd name="connsiteY45023" fmla="*/ 809431 h 4687251"/>
              <a:gd name="connsiteX45024" fmla="*/ 5380255 w 8079933"/>
              <a:gd name="connsiteY45024" fmla="*/ 807807 h 4687251"/>
              <a:gd name="connsiteX45025" fmla="*/ 5383728 w 8079933"/>
              <a:gd name="connsiteY45025" fmla="*/ 803260 h 4687251"/>
              <a:gd name="connsiteX45026" fmla="*/ 5379604 w 8079933"/>
              <a:gd name="connsiteY45026" fmla="*/ 806183 h 4687251"/>
              <a:gd name="connsiteX45027" fmla="*/ 5369837 w 8079933"/>
              <a:gd name="connsiteY45027" fmla="*/ 805317 h 4687251"/>
              <a:gd name="connsiteX45028" fmla="*/ 5368535 w 8079933"/>
              <a:gd name="connsiteY45028" fmla="*/ 800662 h 4687251"/>
              <a:gd name="connsiteX45029" fmla="*/ 5365497 w 8079933"/>
              <a:gd name="connsiteY45029" fmla="*/ 799579 h 4687251"/>
              <a:gd name="connsiteX45030" fmla="*/ 5362784 w 8079933"/>
              <a:gd name="connsiteY45030" fmla="*/ 792541 h 4687251"/>
              <a:gd name="connsiteX45031" fmla="*/ 5354645 w 8079933"/>
              <a:gd name="connsiteY45031" fmla="*/ 792541 h 4687251"/>
              <a:gd name="connsiteX45032" fmla="*/ 5353777 w 8079933"/>
              <a:gd name="connsiteY45032" fmla="*/ 788752 h 4687251"/>
              <a:gd name="connsiteX45033" fmla="*/ 5351606 w 8079933"/>
              <a:gd name="connsiteY45033" fmla="*/ 788752 h 4687251"/>
              <a:gd name="connsiteX45034" fmla="*/ 5348676 w 8079933"/>
              <a:gd name="connsiteY45034" fmla="*/ 791999 h 4687251"/>
              <a:gd name="connsiteX45035" fmla="*/ 5336957 w 8079933"/>
              <a:gd name="connsiteY45035" fmla="*/ 791134 h 4687251"/>
              <a:gd name="connsiteX45036" fmla="*/ 5332508 w 8079933"/>
              <a:gd name="connsiteY45036" fmla="*/ 787560 h 4687251"/>
              <a:gd name="connsiteX45037" fmla="*/ 5324586 w 8079933"/>
              <a:gd name="connsiteY45037" fmla="*/ 787560 h 4687251"/>
              <a:gd name="connsiteX45038" fmla="*/ 5316230 w 8079933"/>
              <a:gd name="connsiteY45038" fmla="*/ 780306 h 4687251"/>
              <a:gd name="connsiteX45039" fmla="*/ 5314385 w 8079933"/>
              <a:gd name="connsiteY45039" fmla="*/ 774352 h 4687251"/>
              <a:gd name="connsiteX45040" fmla="*/ 5311456 w 8079933"/>
              <a:gd name="connsiteY45040" fmla="*/ 774352 h 4687251"/>
              <a:gd name="connsiteX45041" fmla="*/ 5304185 w 8079933"/>
              <a:gd name="connsiteY45041" fmla="*/ 763524 h 4687251"/>
              <a:gd name="connsiteX45042" fmla="*/ 5307658 w 8079933"/>
              <a:gd name="connsiteY45042" fmla="*/ 762225 h 4687251"/>
              <a:gd name="connsiteX45043" fmla="*/ 5309828 w 8079933"/>
              <a:gd name="connsiteY45043" fmla="*/ 759518 h 4687251"/>
              <a:gd name="connsiteX45044" fmla="*/ 5316556 w 8079933"/>
              <a:gd name="connsiteY45044" fmla="*/ 754646 h 4687251"/>
              <a:gd name="connsiteX45045" fmla="*/ 5319485 w 8079933"/>
              <a:gd name="connsiteY45045" fmla="*/ 754646 h 4687251"/>
              <a:gd name="connsiteX45046" fmla="*/ 5325996 w 8079933"/>
              <a:gd name="connsiteY45046" fmla="*/ 762225 h 4687251"/>
              <a:gd name="connsiteX45047" fmla="*/ 5336848 w 8079933"/>
              <a:gd name="connsiteY45047" fmla="*/ 766773 h 4687251"/>
              <a:gd name="connsiteX45048" fmla="*/ 5343576 w 8079933"/>
              <a:gd name="connsiteY45048" fmla="*/ 765365 h 4687251"/>
              <a:gd name="connsiteX45049" fmla="*/ 5348785 w 8079933"/>
              <a:gd name="connsiteY45049" fmla="*/ 755838 h 4687251"/>
              <a:gd name="connsiteX45050" fmla="*/ 5344445 w 8079933"/>
              <a:gd name="connsiteY45050" fmla="*/ 747175 h 4687251"/>
              <a:gd name="connsiteX45051" fmla="*/ 5335546 w 8079933"/>
              <a:gd name="connsiteY45051" fmla="*/ 745010 h 4687251"/>
              <a:gd name="connsiteX45052" fmla="*/ 5327624 w 8079933"/>
              <a:gd name="connsiteY45052" fmla="*/ 750099 h 4687251"/>
              <a:gd name="connsiteX45053" fmla="*/ 5324586 w 8079933"/>
              <a:gd name="connsiteY45053" fmla="*/ 746634 h 4687251"/>
              <a:gd name="connsiteX45054" fmla="*/ 5325780 w 8079933"/>
              <a:gd name="connsiteY45054" fmla="*/ 743711 h 4687251"/>
              <a:gd name="connsiteX45055" fmla="*/ 5328167 w 8079933"/>
              <a:gd name="connsiteY45055" fmla="*/ 745335 h 4687251"/>
              <a:gd name="connsiteX45056" fmla="*/ 5330880 w 8079933"/>
              <a:gd name="connsiteY45056" fmla="*/ 743494 h 4687251"/>
              <a:gd name="connsiteX45057" fmla="*/ 5331422 w 8079933"/>
              <a:gd name="connsiteY45057" fmla="*/ 738081 h 4687251"/>
              <a:gd name="connsiteX45058" fmla="*/ 5337174 w 8079933"/>
              <a:gd name="connsiteY45058" fmla="*/ 729094 h 4687251"/>
              <a:gd name="connsiteX45059" fmla="*/ 5342600 w 8079933"/>
              <a:gd name="connsiteY45059" fmla="*/ 725846 h 4687251"/>
              <a:gd name="connsiteX45060" fmla="*/ 5347266 w 8079933"/>
              <a:gd name="connsiteY45060" fmla="*/ 728012 h 4687251"/>
              <a:gd name="connsiteX45061" fmla="*/ 5363869 w 8079933"/>
              <a:gd name="connsiteY45061" fmla="*/ 728012 h 4687251"/>
              <a:gd name="connsiteX45062" fmla="*/ 5369620 w 8079933"/>
              <a:gd name="connsiteY45062" fmla="*/ 734183 h 4687251"/>
              <a:gd name="connsiteX45063" fmla="*/ 5375589 w 8079933"/>
              <a:gd name="connsiteY45063" fmla="*/ 738189 h 4687251"/>
              <a:gd name="connsiteX45064" fmla="*/ 5389479 w 8079933"/>
              <a:gd name="connsiteY45064" fmla="*/ 739813 h 4687251"/>
              <a:gd name="connsiteX45065" fmla="*/ 5390564 w 8079933"/>
              <a:gd name="connsiteY45065" fmla="*/ 744469 h 4687251"/>
              <a:gd name="connsiteX45066" fmla="*/ 5395990 w 8079933"/>
              <a:gd name="connsiteY45066" fmla="*/ 747392 h 4687251"/>
              <a:gd name="connsiteX45067" fmla="*/ 5405973 w 8079933"/>
              <a:gd name="connsiteY45067" fmla="*/ 757461 h 4687251"/>
              <a:gd name="connsiteX45068" fmla="*/ 5412810 w 8079933"/>
              <a:gd name="connsiteY45068" fmla="*/ 757461 h 4687251"/>
              <a:gd name="connsiteX45069" fmla="*/ 5425506 w 8079933"/>
              <a:gd name="connsiteY45069" fmla="*/ 755620 h 4687251"/>
              <a:gd name="connsiteX45070" fmla="*/ 5435598 w 8079933"/>
              <a:gd name="connsiteY45070" fmla="*/ 749449 h 4687251"/>
              <a:gd name="connsiteX45071" fmla="*/ 5439180 w 8079933"/>
              <a:gd name="connsiteY45071" fmla="*/ 753022 h 4687251"/>
              <a:gd name="connsiteX45072" fmla="*/ 5441133 w 8079933"/>
              <a:gd name="connsiteY45072" fmla="*/ 752481 h 4687251"/>
              <a:gd name="connsiteX45073" fmla="*/ 5446776 w 8079933"/>
              <a:gd name="connsiteY45073" fmla="*/ 753022 h 4687251"/>
              <a:gd name="connsiteX45074" fmla="*/ 5445473 w 8079933"/>
              <a:gd name="connsiteY45074" fmla="*/ 761467 h 4687251"/>
              <a:gd name="connsiteX45075" fmla="*/ 5446342 w 8079933"/>
              <a:gd name="connsiteY45075" fmla="*/ 766123 h 4687251"/>
              <a:gd name="connsiteX45076" fmla="*/ 5446342 w 8079933"/>
              <a:gd name="connsiteY45076" fmla="*/ 769696 h 4687251"/>
              <a:gd name="connsiteX45077" fmla="*/ 5439288 w 8079933"/>
              <a:gd name="connsiteY45077" fmla="*/ 773810 h 4687251"/>
              <a:gd name="connsiteX45078" fmla="*/ 5439288 w 8079933"/>
              <a:gd name="connsiteY45078" fmla="*/ 780090 h 4687251"/>
              <a:gd name="connsiteX45079" fmla="*/ 5442327 w 8079933"/>
              <a:gd name="connsiteY45079" fmla="*/ 785503 h 4687251"/>
              <a:gd name="connsiteX45080" fmla="*/ 5442327 w 8079933"/>
              <a:gd name="connsiteY45080" fmla="*/ 793407 h 4687251"/>
              <a:gd name="connsiteX45081" fmla="*/ 5450031 w 8079933"/>
              <a:gd name="connsiteY45081" fmla="*/ 799579 h 4687251"/>
              <a:gd name="connsiteX45082" fmla="*/ 5450573 w 8079933"/>
              <a:gd name="connsiteY45082" fmla="*/ 804992 h 4687251"/>
              <a:gd name="connsiteX45083" fmla="*/ 5447318 w 8079933"/>
              <a:gd name="connsiteY45083" fmla="*/ 809107 h 4687251"/>
              <a:gd name="connsiteX45084" fmla="*/ 5449489 w 8079933"/>
              <a:gd name="connsiteY45084" fmla="*/ 824048 h 4687251"/>
              <a:gd name="connsiteX45085" fmla="*/ 5452528 w 8079933"/>
              <a:gd name="connsiteY45085" fmla="*/ 824048 h 4687251"/>
              <a:gd name="connsiteX45086" fmla="*/ 5453937 w 8079933"/>
              <a:gd name="connsiteY45086" fmla="*/ 819176 h 4687251"/>
              <a:gd name="connsiteX45087" fmla="*/ 5452528 w 8079933"/>
              <a:gd name="connsiteY45087" fmla="*/ 815927 h 4687251"/>
              <a:gd name="connsiteX45088" fmla="*/ 5455457 w 8079933"/>
              <a:gd name="connsiteY45088" fmla="*/ 812354 h 4687251"/>
              <a:gd name="connsiteX45089" fmla="*/ 5454697 w 8079933"/>
              <a:gd name="connsiteY45089" fmla="*/ 806399 h 4687251"/>
              <a:gd name="connsiteX45090" fmla="*/ 5458278 w 8079933"/>
              <a:gd name="connsiteY45090" fmla="*/ 804992 h 4687251"/>
              <a:gd name="connsiteX45091" fmla="*/ 5460991 w 8079933"/>
              <a:gd name="connsiteY45091" fmla="*/ 797413 h 4687251"/>
              <a:gd name="connsiteX45092" fmla="*/ 5464789 w 8079933"/>
              <a:gd name="connsiteY45092" fmla="*/ 800120 h 4687251"/>
              <a:gd name="connsiteX45093" fmla="*/ 5467719 w 8079933"/>
              <a:gd name="connsiteY45093" fmla="*/ 808456 h 4687251"/>
              <a:gd name="connsiteX45094" fmla="*/ 5468479 w 8079933"/>
              <a:gd name="connsiteY45094" fmla="*/ 819284 h 4687251"/>
              <a:gd name="connsiteX45095" fmla="*/ 5469889 w 8079933"/>
              <a:gd name="connsiteY45095" fmla="*/ 822749 h 4687251"/>
              <a:gd name="connsiteX45096" fmla="*/ 5466634 w 8079933"/>
              <a:gd name="connsiteY45096" fmla="*/ 824914 h 4687251"/>
              <a:gd name="connsiteX45097" fmla="*/ 5466634 w 8079933"/>
              <a:gd name="connsiteY45097" fmla="*/ 830544 h 4687251"/>
              <a:gd name="connsiteX45098" fmla="*/ 5464464 w 8079933"/>
              <a:gd name="connsiteY45098" fmla="*/ 832384 h 4687251"/>
              <a:gd name="connsiteX45099" fmla="*/ 5473145 w 8079933"/>
              <a:gd name="connsiteY45099" fmla="*/ 838123 h 4687251"/>
              <a:gd name="connsiteX45100" fmla="*/ 5480741 w 8079933"/>
              <a:gd name="connsiteY45100" fmla="*/ 838123 h 4687251"/>
              <a:gd name="connsiteX45101" fmla="*/ 5488229 w 8079933"/>
              <a:gd name="connsiteY45101" fmla="*/ 839964 h 4687251"/>
              <a:gd name="connsiteX45102" fmla="*/ 5492787 w 8079933"/>
              <a:gd name="connsiteY45102" fmla="*/ 846135 h 4687251"/>
              <a:gd name="connsiteX45103" fmla="*/ 5492787 w 8079933"/>
              <a:gd name="connsiteY45103" fmla="*/ 851224 h 4687251"/>
              <a:gd name="connsiteX45104" fmla="*/ 5497995 w 8079933"/>
              <a:gd name="connsiteY45104" fmla="*/ 855229 h 4687251"/>
              <a:gd name="connsiteX45105" fmla="*/ 5507762 w 8079933"/>
              <a:gd name="connsiteY45105" fmla="*/ 855229 h 4687251"/>
              <a:gd name="connsiteX45106" fmla="*/ 5517420 w 8079933"/>
              <a:gd name="connsiteY45106" fmla="*/ 865190 h 4687251"/>
              <a:gd name="connsiteX45107" fmla="*/ 5516443 w 8079933"/>
              <a:gd name="connsiteY45107" fmla="*/ 861726 h 4687251"/>
              <a:gd name="connsiteX45108" fmla="*/ 5516443 w 8079933"/>
              <a:gd name="connsiteY45108" fmla="*/ 855013 h 4687251"/>
              <a:gd name="connsiteX45109" fmla="*/ 5523714 w 8079933"/>
              <a:gd name="connsiteY45109" fmla="*/ 847434 h 4687251"/>
              <a:gd name="connsiteX45110" fmla="*/ 5528923 w 8079933"/>
              <a:gd name="connsiteY45110" fmla="*/ 847434 h 4687251"/>
              <a:gd name="connsiteX45111" fmla="*/ 5539232 w 8079933"/>
              <a:gd name="connsiteY45111" fmla="*/ 855555 h 4687251"/>
              <a:gd name="connsiteX45112" fmla="*/ 5546502 w 8079933"/>
              <a:gd name="connsiteY45112" fmla="*/ 855555 h 4687251"/>
              <a:gd name="connsiteX45113" fmla="*/ 5550300 w 8079933"/>
              <a:gd name="connsiteY45113" fmla="*/ 860210 h 4687251"/>
              <a:gd name="connsiteX45114" fmla="*/ 5552688 w 8079933"/>
              <a:gd name="connsiteY45114" fmla="*/ 869088 h 4687251"/>
              <a:gd name="connsiteX45115" fmla="*/ 5551602 w 8079933"/>
              <a:gd name="connsiteY45115" fmla="*/ 859561 h 4687251"/>
              <a:gd name="connsiteX45116" fmla="*/ 5548673 w 8079933"/>
              <a:gd name="connsiteY45116" fmla="*/ 853389 h 4687251"/>
              <a:gd name="connsiteX45117" fmla="*/ 5544332 w 8079933"/>
              <a:gd name="connsiteY45117" fmla="*/ 853389 h 4687251"/>
              <a:gd name="connsiteX45118" fmla="*/ 5537822 w 8079933"/>
              <a:gd name="connsiteY45118" fmla="*/ 851007 h 4687251"/>
              <a:gd name="connsiteX45119" fmla="*/ 5528705 w 8079933"/>
              <a:gd name="connsiteY45119" fmla="*/ 845052 h 4687251"/>
              <a:gd name="connsiteX45120" fmla="*/ 5521002 w 8079933"/>
              <a:gd name="connsiteY45120" fmla="*/ 846460 h 4687251"/>
              <a:gd name="connsiteX45121" fmla="*/ 5513188 w 8079933"/>
              <a:gd name="connsiteY45121" fmla="*/ 852631 h 4687251"/>
              <a:gd name="connsiteX45122" fmla="*/ 5509607 w 8079933"/>
              <a:gd name="connsiteY45122" fmla="*/ 851332 h 4687251"/>
              <a:gd name="connsiteX45123" fmla="*/ 5508739 w 8079933"/>
              <a:gd name="connsiteY45123" fmla="*/ 852198 h 4687251"/>
              <a:gd name="connsiteX45124" fmla="*/ 5500492 w 8079933"/>
              <a:gd name="connsiteY45124" fmla="*/ 848733 h 4687251"/>
              <a:gd name="connsiteX45125" fmla="*/ 5491593 w 8079933"/>
              <a:gd name="connsiteY45125" fmla="*/ 839205 h 4687251"/>
              <a:gd name="connsiteX45126" fmla="*/ 5486927 w 8079933"/>
              <a:gd name="connsiteY45126" fmla="*/ 835741 h 4687251"/>
              <a:gd name="connsiteX45127" fmla="*/ 5478788 w 8079933"/>
              <a:gd name="connsiteY45127" fmla="*/ 834983 h 4687251"/>
              <a:gd name="connsiteX45128" fmla="*/ 5474231 w 8079933"/>
              <a:gd name="connsiteY45128" fmla="*/ 827945 h 4687251"/>
              <a:gd name="connsiteX45129" fmla="*/ 5478028 w 8079933"/>
              <a:gd name="connsiteY45129" fmla="*/ 829353 h 4687251"/>
              <a:gd name="connsiteX45130" fmla="*/ 5480959 w 8079933"/>
              <a:gd name="connsiteY45130" fmla="*/ 828811 h 4687251"/>
              <a:gd name="connsiteX45131" fmla="*/ 5486385 w 8079933"/>
              <a:gd name="connsiteY45131" fmla="*/ 817985 h 4687251"/>
              <a:gd name="connsiteX45132" fmla="*/ 5484539 w 8079933"/>
              <a:gd name="connsiteY45132" fmla="*/ 813113 h 4687251"/>
              <a:gd name="connsiteX45133" fmla="*/ 5478028 w 8079933"/>
              <a:gd name="connsiteY45133" fmla="*/ 807374 h 4687251"/>
              <a:gd name="connsiteX45134" fmla="*/ 5475098 w 8079933"/>
              <a:gd name="connsiteY45134" fmla="*/ 796547 h 4687251"/>
              <a:gd name="connsiteX45135" fmla="*/ 5467502 w 8079933"/>
              <a:gd name="connsiteY45135" fmla="*/ 785720 h 4687251"/>
              <a:gd name="connsiteX45136" fmla="*/ 5462836 w 8079933"/>
              <a:gd name="connsiteY45136" fmla="*/ 782472 h 4687251"/>
              <a:gd name="connsiteX45137" fmla="*/ 5457627 w 8079933"/>
              <a:gd name="connsiteY45137" fmla="*/ 775975 h 4687251"/>
              <a:gd name="connsiteX45138" fmla="*/ 5459255 w 8079933"/>
              <a:gd name="connsiteY45138" fmla="*/ 770238 h 4687251"/>
              <a:gd name="connsiteX45139" fmla="*/ 5457627 w 8079933"/>
              <a:gd name="connsiteY45139" fmla="*/ 765148 h 4687251"/>
              <a:gd name="connsiteX45140" fmla="*/ 5458930 w 8079933"/>
              <a:gd name="connsiteY45140" fmla="*/ 752697 h 4687251"/>
              <a:gd name="connsiteX45141" fmla="*/ 5454046 w 8079933"/>
              <a:gd name="connsiteY45141" fmla="*/ 746959 h 4687251"/>
              <a:gd name="connsiteX45142" fmla="*/ 5450791 w 8079933"/>
              <a:gd name="connsiteY45142" fmla="*/ 746959 h 4687251"/>
              <a:gd name="connsiteX45143" fmla="*/ 5442434 w 8079933"/>
              <a:gd name="connsiteY45143" fmla="*/ 741546 h 4687251"/>
              <a:gd name="connsiteX45144" fmla="*/ 5429956 w 8079933"/>
              <a:gd name="connsiteY45144" fmla="*/ 741546 h 4687251"/>
              <a:gd name="connsiteX45145" fmla="*/ 5426157 w 8079933"/>
              <a:gd name="connsiteY45145" fmla="*/ 734833 h 4687251"/>
              <a:gd name="connsiteX45146" fmla="*/ 5418887 w 8079933"/>
              <a:gd name="connsiteY45146" fmla="*/ 731043 h 4687251"/>
              <a:gd name="connsiteX45147" fmla="*/ 5418887 w 8079933"/>
              <a:gd name="connsiteY45147" fmla="*/ 724872 h 4687251"/>
              <a:gd name="connsiteX45148" fmla="*/ 5416716 w 8079933"/>
              <a:gd name="connsiteY45148" fmla="*/ 720866 h 4687251"/>
              <a:gd name="connsiteX45149" fmla="*/ 5416716 w 8079933"/>
              <a:gd name="connsiteY45149" fmla="*/ 717293 h 4687251"/>
              <a:gd name="connsiteX45150" fmla="*/ 5410965 w 8079933"/>
              <a:gd name="connsiteY45150" fmla="*/ 720866 h 4687251"/>
              <a:gd name="connsiteX45151" fmla="*/ 5394470 w 8079933"/>
              <a:gd name="connsiteY45151" fmla="*/ 720108 h 4687251"/>
              <a:gd name="connsiteX45152" fmla="*/ 5388827 w 8079933"/>
              <a:gd name="connsiteY45152" fmla="*/ 720649 h 4687251"/>
              <a:gd name="connsiteX45153" fmla="*/ 5381992 w 8079933"/>
              <a:gd name="connsiteY45153" fmla="*/ 716102 h 4687251"/>
              <a:gd name="connsiteX45154" fmla="*/ 5381123 w 8079933"/>
              <a:gd name="connsiteY45154" fmla="*/ 709606 h 4687251"/>
              <a:gd name="connsiteX45155" fmla="*/ 5378953 w 8079933"/>
              <a:gd name="connsiteY45155" fmla="*/ 709606 h 4687251"/>
              <a:gd name="connsiteX45156" fmla="*/ 5376999 w 8079933"/>
              <a:gd name="connsiteY45156" fmla="*/ 705600 h 4687251"/>
              <a:gd name="connsiteX45157" fmla="*/ 5376999 w 8079933"/>
              <a:gd name="connsiteY45157" fmla="*/ 697155 h 4687251"/>
              <a:gd name="connsiteX45158" fmla="*/ 5370814 w 8079933"/>
              <a:gd name="connsiteY45158" fmla="*/ 686327 h 4687251"/>
              <a:gd name="connsiteX45159" fmla="*/ 5362349 w 8079933"/>
              <a:gd name="connsiteY45159" fmla="*/ 681239 h 4687251"/>
              <a:gd name="connsiteX45160" fmla="*/ 5364195 w 8079933"/>
              <a:gd name="connsiteY45160" fmla="*/ 677666 h 4687251"/>
              <a:gd name="connsiteX45161" fmla="*/ 5363109 w 8079933"/>
              <a:gd name="connsiteY45161" fmla="*/ 674743 h 4687251"/>
              <a:gd name="connsiteX45162" fmla="*/ 5359312 w 8079933"/>
              <a:gd name="connsiteY45162" fmla="*/ 674743 h 4687251"/>
              <a:gd name="connsiteX45163" fmla="*/ 5356381 w 8079933"/>
              <a:gd name="connsiteY45163" fmla="*/ 671711 h 4687251"/>
              <a:gd name="connsiteX45164" fmla="*/ 5357792 w 8079933"/>
              <a:gd name="connsiteY45164" fmla="*/ 666839 h 4687251"/>
              <a:gd name="connsiteX45165" fmla="*/ 5357792 w 8079933"/>
              <a:gd name="connsiteY45165" fmla="*/ 661642 h 4687251"/>
              <a:gd name="connsiteX45166" fmla="*/ 5352150 w 8079933"/>
              <a:gd name="connsiteY45166" fmla="*/ 657311 h 4687251"/>
              <a:gd name="connsiteX45167" fmla="*/ 5355730 w 8079933"/>
              <a:gd name="connsiteY45167" fmla="*/ 654388 h 4687251"/>
              <a:gd name="connsiteX45168" fmla="*/ 5362458 w 8079933"/>
              <a:gd name="connsiteY45168" fmla="*/ 654388 h 4687251"/>
              <a:gd name="connsiteX45169" fmla="*/ 5368427 w 8079933"/>
              <a:gd name="connsiteY45169" fmla="*/ 648433 h 4687251"/>
              <a:gd name="connsiteX45170" fmla="*/ 5374178 w 8079933"/>
              <a:gd name="connsiteY45170" fmla="*/ 648433 h 4687251"/>
              <a:gd name="connsiteX45171" fmla="*/ 5387200 w 8079933"/>
              <a:gd name="connsiteY45171" fmla="*/ 645509 h 4687251"/>
              <a:gd name="connsiteX45172" fmla="*/ 5405431 w 8079933"/>
              <a:gd name="connsiteY45172" fmla="*/ 638797 h 4687251"/>
              <a:gd name="connsiteX45173" fmla="*/ 5412267 w 8079933"/>
              <a:gd name="connsiteY45173" fmla="*/ 632842 h 4687251"/>
              <a:gd name="connsiteX45174" fmla="*/ 5418018 w 8079933"/>
              <a:gd name="connsiteY45174" fmla="*/ 631543 h 4687251"/>
              <a:gd name="connsiteX45175" fmla="*/ 5422685 w 8079933"/>
              <a:gd name="connsiteY45175" fmla="*/ 633383 h 4687251"/>
              <a:gd name="connsiteX45176" fmla="*/ 5428436 w 8079933"/>
              <a:gd name="connsiteY45176" fmla="*/ 631001 h 4687251"/>
              <a:gd name="connsiteX45177" fmla="*/ 5430932 w 8079933"/>
              <a:gd name="connsiteY45177" fmla="*/ 625263 h 4687251"/>
              <a:gd name="connsiteX45178" fmla="*/ 5439614 w 8079933"/>
              <a:gd name="connsiteY45178" fmla="*/ 622015 h 4687251"/>
              <a:gd name="connsiteX45179" fmla="*/ 5456217 w 8079933"/>
              <a:gd name="connsiteY45179" fmla="*/ 614977 h 4687251"/>
              <a:gd name="connsiteX45180" fmla="*/ 5457844 w 8079933"/>
              <a:gd name="connsiteY45180" fmla="*/ 616926 h 4687251"/>
              <a:gd name="connsiteX45181" fmla="*/ 5455132 w 8079933"/>
              <a:gd name="connsiteY45181" fmla="*/ 622015 h 4687251"/>
              <a:gd name="connsiteX45182" fmla="*/ 5455132 w 8079933"/>
              <a:gd name="connsiteY45182" fmla="*/ 625587 h 4687251"/>
              <a:gd name="connsiteX45183" fmla="*/ 5451551 w 8079933"/>
              <a:gd name="connsiteY45183" fmla="*/ 628078 h 4687251"/>
              <a:gd name="connsiteX45184" fmla="*/ 5446993 w 8079933"/>
              <a:gd name="connsiteY45184" fmla="*/ 637823 h 4687251"/>
              <a:gd name="connsiteX45185" fmla="*/ 5446993 w 8079933"/>
              <a:gd name="connsiteY45185" fmla="*/ 643019 h 4687251"/>
              <a:gd name="connsiteX45186" fmla="*/ 5456976 w 8079933"/>
              <a:gd name="connsiteY45186" fmla="*/ 650923 h 4687251"/>
              <a:gd name="connsiteX45187" fmla="*/ 5465875 w 8079933"/>
              <a:gd name="connsiteY45187" fmla="*/ 650923 h 4687251"/>
              <a:gd name="connsiteX45188" fmla="*/ 5460666 w 8079933"/>
              <a:gd name="connsiteY45188" fmla="*/ 648541 h 4687251"/>
              <a:gd name="connsiteX45189" fmla="*/ 5452310 w 8079933"/>
              <a:gd name="connsiteY45189" fmla="*/ 640205 h 4687251"/>
              <a:gd name="connsiteX45190" fmla="*/ 5452310 w 8079933"/>
              <a:gd name="connsiteY45190" fmla="*/ 636956 h 4687251"/>
              <a:gd name="connsiteX45191" fmla="*/ 5456108 w 8079933"/>
              <a:gd name="connsiteY45191" fmla="*/ 631759 h 4687251"/>
              <a:gd name="connsiteX45192" fmla="*/ 5465657 w 8079933"/>
              <a:gd name="connsiteY45192" fmla="*/ 626021 h 4687251"/>
              <a:gd name="connsiteX45193" fmla="*/ 5469130 w 8079933"/>
              <a:gd name="connsiteY45193" fmla="*/ 617360 h 4687251"/>
              <a:gd name="connsiteX45194" fmla="*/ 5465657 w 8079933"/>
              <a:gd name="connsiteY45194" fmla="*/ 610538 h 4687251"/>
              <a:gd name="connsiteX45195" fmla="*/ 5459907 w 8079933"/>
              <a:gd name="connsiteY45195" fmla="*/ 610538 h 4687251"/>
              <a:gd name="connsiteX45196" fmla="*/ 5453070 w 8079933"/>
              <a:gd name="connsiteY45196" fmla="*/ 605883 h 4687251"/>
              <a:gd name="connsiteX45197" fmla="*/ 5454481 w 8079933"/>
              <a:gd name="connsiteY45197" fmla="*/ 601768 h 4687251"/>
              <a:gd name="connsiteX45198" fmla="*/ 5447101 w 8079933"/>
              <a:gd name="connsiteY45198" fmla="*/ 601768 h 4687251"/>
              <a:gd name="connsiteX45199" fmla="*/ 5444714 w 8079933"/>
              <a:gd name="connsiteY45199" fmla="*/ 604692 h 4687251"/>
              <a:gd name="connsiteX45200" fmla="*/ 5441784 w 8079933"/>
              <a:gd name="connsiteY45200" fmla="*/ 602310 h 4687251"/>
              <a:gd name="connsiteX45201" fmla="*/ 5439397 w 8079933"/>
              <a:gd name="connsiteY45201" fmla="*/ 595814 h 4687251"/>
              <a:gd name="connsiteX45202" fmla="*/ 5431475 w 8079933"/>
              <a:gd name="connsiteY45202" fmla="*/ 595814 h 4687251"/>
              <a:gd name="connsiteX45203" fmla="*/ 5427676 w 8079933"/>
              <a:gd name="connsiteY45203" fmla="*/ 597438 h 4687251"/>
              <a:gd name="connsiteX45204" fmla="*/ 5422034 w 8079933"/>
              <a:gd name="connsiteY45204" fmla="*/ 590725 h 4687251"/>
              <a:gd name="connsiteX45205" fmla="*/ 5424421 w 8079933"/>
              <a:gd name="connsiteY45205" fmla="*/ 589101 h 4687251"/>
              <a:gd name="connsiteX45206" fmla="*/ 5425181 w 8079933"/>
              <a:gd name="connsiteY45206" fmla="*/ 585311 h 4687251"/>
              <a:gd name="connsiteX45207" fmla="*/ 5427894 w 8079933"/>
              <a:gd name="connsiteY45207" fmla="*/ 583904 h 4687251"/>
              <a:gd name="connsiteX45208" fmla="*/ 5432451 w 8079933"/>
              <a:gd name="connsiteY45208" fmla="*/ 588018 h 4687251"/>
              <a:gd name="connsiteX45209" fmla="*/ 5438203 w 8079933"/>
              <a:gd name="connsiteY45209" fmla="*/ 588018 h 4687251"/>
              <a:gd name="connsiteX45210" fmla="*/ 5443086 w 8079933"/>
              <a:gd name="connsiteY45210" fmla="*/ 585528 h 4687251"/>
              <a:gd name="connsiteX45211" fmla="*/ 5441241 w 8079933"/>
              <a:gd name="connsiteY45211" fmla="*/ 582604 h 4687251"/>
              <a:gd name="connsiteX45212" fmla="*/ 5438745 w 8079933"/>
              <a:gd name="connsiteY45212" fmla="*/ 583904 h 4687251"/>
              <a:gd name="connsiteX45213" fmla="*/ 5434188 w 8079933"/>
              <a:gd name="connsiteY45213" fmla="*/ 585203 h 4687251"/>
              <a:gd name="connsiteX45214" fmla="*/ 5429521 w 8079933"/>
              <a:gd name="connsiteY45214" fmla="*/ 581630 h 4687251"/>
              <a:gd name="connsiteX45215" fmla="*/ 5428653 w 8079933"/>
              <a:gd name="connsiteY45215" fmla="*/ 577083 h 4687251"/>
              <a:gd name="connsiteX45216" fmla="*/ 5423228 w 8079933"/>
              <a:gd name="connsiteY45216" fmla="*/ 576324 h 4687251"/>
              <a:gd name="connsiteX45217" fmla="*/ 5415632 w 8079933"/>
              <a:gd name="connsiteY45217" fmla="*/ 573943 h 4687251"/>
              <a:gd name="connsiteX45218" fmla="*/ 5410965 w 8079933"/>
              <a:gd name="connsiteY45218" fmla="*/ 576108 h 4687251"/>
              <a:gd name="connsiteX45219" fmla="*/ 5407926 w 8079933"/>
              <a:gd name="connsiteY45219" fmla="*/ 571236 h 4687251"/>
              <a:gd name="connsiteX45220" fmla="*/ 5410639 w 8079933"/>
              <a:gd name="connsiteY45220" fmla="*/ 568204 h 4687251"/>
              <a:gd name="connsiteX45221" fmla="*/ 5410639 w 8079933"/>
              <a:gd name="connsiteY45221" fmla="*/ 563873 h 4687251"/>
              <a:gd name="connsiteX45222" fmla="*/ 5407601 w 8079933"/>
              <a:gd name="connsiteY45222" fmla="*/ 560951 h 4687251"/>
              <a:gd name="connsiteX45223" fmla="*/ 5408686 w 8079933"/>
              <a:gd name="connsiteY45223" fmla="*/ 559110 h 4687251"/>
              <a:gd name="connsiteX45224" fmla="*/ 5412159 w 8079933"/>
              <a:gd name="connsiteY45224" fmla="*/ 559867 h 4687251"/>
              <a:gd name="connsiteX45225" fmla="*/ 5417259 w 8079933"/>
              <a:gd name="connsiteY45225" fmla="*/ 566905 h 4687251"/>
              <a:gd name="connsiteX45226" fmla="*/ 5421600 w 8079933"/>
              <a:gd name="connsiteY45226" fmla="*/ 565606 h 4687251"/>
              <a:gd name="connsiteX45227" fmla="*/ 5426808 w 8079933"/>
              <a:gd name="connsiteY45227" fmla="*/ 572969 h 4687251"/>
              <a:gd name="connsiteX45228" fmla="*/ 5427568 w 8079933"/>
              <a:gd name="connsiteY45228" fmla="*/ 568421 h 4687251"/>
              <a:gd name="connsiteX45229" fmla="*/ 5426700 w 8079933"/>
              <a:gd name="connsiteY45229" fmla="*/ 564957 h 4687251"/>
              <a:gd name="connsiteX45230" fmla="*/ 5431040 w 8079933"/>
              <a:gd name="connsiteY45230" fmla="*/ 561925 h 4687251"/>
              <a:gd name="connsiteX45231" fmla="*/ 5431909 w 8079933"/>
              <a:gd name="connsiteY45231" fmla="*/ 552397 h 4687251"/>
              <a:gd name="connsiteX45232" fmla="*/ 5428327 w 8079933"/>
              <a:gd name="connsiteY45232" fmla="*/ 549474 h 4687251"/>
              <a:gd name="connsiteX45233" fmla="*/ 5429413 w 8079933"/>
              <a:gd name="connsiteY45233" fmla="*/ 547633 h 4687251"/>
              <a:gd name="connsiteX45234" fmla="*/ 5434296 w 8079933"/>
              <a:gd name="connsiteY45234" fmla="*/ 548500 h 4687251"/>
              <a:gd name="connsiteX45235" fmla="*/ 5436792 w 8079933"/>
              <a:gd name="connsiteY45235" fmla="*/ 544926 h 4687251"/>
              <a:gd name="connsiteX45236" fmla="*/ 5425940 w 8079933"/>
              <a:gd name="connsiteY45236" fmla="*/ 542220 h 4687251"/>
              <a:gd name="connsiteX45237" fmla="*/ 5423553 w 8079933"/>
              <a:gd name="connsiteY45237" fmla="*/ 545468 h 4687251"/>
              <a:gd name="connsiteX45238" fmla="*/ 5419972 w 8079933"/>
              <a:gd name="connsiteY45238" fmla="*/ 545468 h 4687251"/>
              <a:gd name="connsiteX45239" fmla="*/ 5419972 w 8079933"/>
              <a:gd name="connsiteY45239" fmla="*/ 540812 h 4687251"/>
              <a:gd name="connsiteX45240" fmla="*/ 5424530 w 8079933"/>
              <a:gd name="connsiteY45240" fmla="*/ 537023 h 4687251"/>
              <a:gd name="connsiteX45241" fmla="*/ 5432669 w 8079933"/>
              <a:gd name="connsiteY45241" fmla="*/ 537023 h 4687251"/>
              <a:gd name="connsiteX45242" fmla="*/ 5438637 w 8079933"/>
              <a:gd name="connsiteY45242" fmla="*/ 535074 h 4687251"/>
              <a:gd name="connsiteX45243" fmla="*/ 5437877 w 8079933"/>
              <a:gd name="connsiteY45243" fmla="*/ 530743 h 4687251"/>
              <a:gd name="connsiteX45244" fmla="*/ 5442543 w 8079933"/>
              <a:gd name="connsiteY45244" fmla="*/ 525546 h 4687251"/>
              <a:gd name="connsiteX45245" fmla="*/ 5442543 w 8079933"/>
              <a:gd name="connsiteY45245" fmla="*/ 520998 h 4687251"/>
              <a:gd name="connsiteX45246" fmla="*/ 5444171 w 8079933"/>
              <a:gd name="connsiteY45246" fmla="*/ 519158 h 4687251"/>
              <a:gd name="connsiteX45247" fmla="*/ 5443411 w 8079933"/>
              <a:gd name="connsiteY45247" fmla="*/ 516776 h 4687251"/>
              <a:gd name="connsiteX45248" fmla="*/ 5447969 w 8079933"/>
              <a:gd name="connsiteY45248" fmla="*/ 510280 h 4687251"/>
              <a:gd name="connsiteX45249" fmla="*/ 5449815 w 8079933"/>
              <a:gd name="connsiteY45249" fmla="*/ 510280 h 4687251"/>
              <a:gd name="connsiteX45250" fmla="*/ 5451984 w 8079933"/>
              <a:gd name="connsiteY45250" fmla="*/ 513528 h 4687251"/>
              <a:gd name="connsiteX45251" fmla="*/ 5454481 w 8079933"/>
              <a:gd name="connsiteY45251" fmla="*/ 512229 h 4687251"/>
              <a:gd name="connsiteX45252" fmla="*/ 5455891 w 8079933"/>
              <a:gd name="connsiteY45252" fmla="*/ 507898 h 4687251"/>
              <a:gd name="connsiteX45253" fmla="*/ 5457844 w 8079933"/>
              <a:gd name="connsiteY45253" fmla="*/ 507898 h 4687251"/>
              <a:gd name="connsiteX45254" fmla="*/ 5454914 w 8079933"/>
              <a:gd name="connsiteY45254" fmla="*/ 503784 h 4687251"/>
              <a:gd name="connsiteX45255" fmla="*/ 5456759 w 8079933"/>
              <a:gd name="connsiteY45255" fmla="*/ 501077 h 4687251"/>
              <a:gd name="connsiteX45256" fmla="*/ 5462944 w 8079933"/>
              <a:gd name="connsiteY45256" fmla="*/ 499127 h 4687251"/>
              <a:gd name="connsiteX45257" fmla="*/ 5465657 w 8079933"/>
              <a:gd name="connsiteY45257" fmla="*/ 497829 h 4687251"/>
              <a:gd name="connsiteX45258" fmla="*/ 5466959 w 8079933"/>
              <a:gd name="connsiteY45258" fmla="*/ 493498 h 4687251"/>
              <a:gd name="connsiteX45259" fmla="*/ 5469456 w 8079933"/>
              <a:gd name="connsiteY45259" fmla="*/ 492956 h 4687251"/>
              <a:gd name="connsiteX45260" fmla="*/ 5473796 w 8079933"/>
              <a:gd name="connsiteY45260" fmla="*/ 494797 h 4687251"/>
              <a:gd name="connsiteX45261" fmla="*/ 5481935 w 8079933"/>
              <a:gd name="connsiteY45261" fmla="*/ 492956 h 4687251"/>
              <a:gd name="connsiteX45262" fmla="*/ 5480090 w 8079933"/>
              <a:gd name="connsiteY45262" fmla="*/ 490033 h 4687251"/>
              <a:gd name="connsiteX45263" fmla="*/ 5480850 w 8079933"/>
              <a:gd name="connsiteY45263" fmla="*/ 486244 h 4687251"/>
              <a:gd name="connsiteX45264" fmla="*/ 5491702 w 8079933"/>
              <a:gd name="connsiteY45264" fmla="*/ 484620 h 4687251"/>
              <a:gd name="connsiteX45265" fmla="*/ 5497561 w 8079933"/>
              <a:gd name="connsiteY45265" fmla="*/ 481155 h 4687251"/>
              <a:gd name="connsiteX45266" fmla="*/ 5499949 w 8079933"/>
              <a:gd name="connsiteY45266" fmla="*/ 476066 h 4687251"/>
              <a:gd name="connsiteX45267" fmla="*/ 5513296 w 8079933"/>
              <a:gd name="connsiteY45267" fmla="*/ 470436 h 4687251"/>
              <a:gd name="connsiteX45268" fmla="*/ 5514381 w 8079933"/>
              <a:gd name="connsiteY45268" fmla="*/ 465781 h 4687251"/>
              <a:gd name="connsiteX45269" fmla="*/ 5511452 w 8079933"/>
              <a:gd name="connsiteY45269" fmla="*/ 465023 h 4687251"/>
              <a:gd name="connsiteX45270" fmla="*/ 5503313 w 8079933"/>
              <a:gd name="connsiteY45270" fmla="*/ 470111 h 4687251"/>
              <a:gd name="connsiteX45271" fmla="*/ 5500600 w 8079933"/>
              <a:gd name="connsiteY45271" fmla="*/ 467405 h 4687251"/>
              <a:gd name="connsiteX45272" fmla="*/ 5495174 w 8079933"/>
              <a:gd name="connsiteY45272" fmla="*/ 472818 h 4687251"/>
              <a:gd name="connsiteX45273" fmla="*/ 5492244 w 8079933"/>
              <a:gd name="connsiteY45273" fmla="*/ 469895 h 4687251"/>
              <a:gd name="connsiteX45274" fmla="*/ 5492244 w 8079933"/>
              <a:gd name="connsiteY45274" fmla="*/ 459068 h 4687251"/>
              <a:gd name="connsiteX45275" fmla="*/ 5494957 w 8079933"/>
              <a:gd name="connsiteY45275" fmla="*/ 457227 h 4687251"/>
              <a:gd name="connsiteX45276" fmla="*/ 5496910 w 8079933"/>
              <a:gd name="connsiteY45276" fmla="*/ 452896 h 4687251"/>
              <a:gd name="connsiteX45277" fmla="*/ 5498755 w 8079933"/>
              <a:gd name="connsiteY45277" fmla="*/ 453654 h 4687251"/>
              <a:gd name="connsiteX45278" fmla="*/ 5499515 w 8079933"/>
              <a:gd name="connsiteY45278" fmla="*/ 456036 h 4687251"/>
              <a:gd name="connsiteX45279" fmla="*/ 5501143 w 8079933"/>
              <a:gd name="connsiteY45279" fmla="*/ 456902 h 4687251"/>
              <a:gd name="connsiteX45280" fmla="*/ 5504723 w 8079933"/>
              <a:gd name="connsiteY45280" fmla="*/ 453330 h 4687251"/>
              <a:gd name="connsiteX45281" fmla="*/ 5499298 w 8079933"/>
              <a:gd name="connsiteY45281" fmla="*/ 448241 h 4687251"/>
              <a:gd name="connsiteX45282" fmla="*/ 5505482 w 8079933"/>
              <a:gd name="connsiteY45282" fmla="*/ 447375 h 4687251"/>
              <a:gd name="connsiteX45283" fmla="*/ 5509607 w 8079933"/>
              <a:gd name="connsiteY45283" fmla="*/ 450081 h 4687251"/>
              <a:gd name="connsiteX45284" fmla="*/ 5513730 w 8079933"/>
              <a:gd name="connsiteY45284" fmla="*/ 450948 h 4687251"/>
              <a:gd name="connsiteX45285" fmla="*/ 5520566 w 8079933"/>
              <a:gd name="connsiteY45285" fmla="*/ 445859 h 4687251"/>
              <a:gd name="connsiteX45286" fmla="*/ 5525233 w 8079933"/>
              <a:gd name="connsiteY45286" fmla="*/ 447483 h 4687251"/>
              <a:gd name="connsiteX45287" fmla="*/ 5537930 w 8079933"/>
              <a:gd name="connsiteY45287" fmla="*/ 442935 h 4687251"/>
              <a:gd name="connsiteX45288" fmla="*/ 5543138 w 8079933"/>
              <a:gd name="connsiteY45288" fmla="*/ 443801 h 4687251"/>
              <a:gd name="connsiteX45289" fmla="*/ 5545092 w 8079933"/>
              <a:gd name="connsiteY45289" fmla="*/ 447591 h 4687251"/>
              <a:gd name="connsiteX45290" fmla="*/ 5540208 w 8079933"/>
              <a:gd name="connsiteY45290" fmla="*/ 458418 h 4687251"/>
              <a:gd name="connsiteX45291" fmla="*/ 5540208 w 8079933"/>
              <a:gd name="connsiteY45291" fmla="*/ 461342 h 4687251"/>
              <a:gd name="connsiteX45292" fmla="*/ 5545309 w 8079933"/>
              <a:gd name="connsiteY45292" fmla="*/ 464915 h 4687251"/>
              <a:gd name="connsiteX45293" fmla="*/ 5547154 w 8079933"/>
              <a:gd name="connsiteY45293" fmla="*/ 458093 h 4687251"/>
              <a:gd name="connsiteX45294" fmla="*/ 5551494 w 8079933"/>
              <a:gd name="connsiteY45294" fmla="*/ 450839 h 4687251"/>
              <a:gd name="connsiteX45295" fmla="*/ 5550409 w 8079933"/>
              <a:gd name="connsiteY45295" fmla="*/ 446291 h 4687251"/>
              <a:gd name="connsiteX45296" fmla="*/ 5551494 w 8079933"/>
              <a:gd name="connsiteY45296" fmla="*/ 444343 h 4687251"/>
              <a:gd name="connsiteX45297" fmla="*/ 5555292 w 8079933"/>
              <a:gd name="connsiteY45297" fmla="*/ 448891 h 4687251"/>
              <a:gd name="connsiteX45298" fmla="*/ 5556160 w 8079933"/>
              <a:gd name="connsiteY45298" fmla="*/ 456252 h 4687251"/>
              <a:gd name="connsiteX45299" fmla="*/ 5560176 w 8079933"/>
              <a:gd name="connsiteY45299" fmla="*/ 456252 h 4687251"/>
              <a:gd name="connsiteX45300" fmla="*/ 5562020 w 8079933"/>
              <a:gd name="connsiteY45300" fmla="*/ 451056 h 4687251"/>
              <a:gd name="connsiteX45301" fmla="*/ 5560176 w 8079933"/>
              <a:gd name="connsiteY45301" fmla="*/ 445967 h 4687251"/>
              <a:gd name="connsiteX45302" fmla="*/ 5563648 w 8079933"/>
              <a:gd name="connsiteY45302" fmla="*/ 443260 h 4687251"/>
              <a:gd name="connsiteX45303" fmla="*/ 5565601 w 8079933"/>
              <a:gd name="connsiteY45303" fmla="*/ 443260 h 4687251"/>
              <a:gd name="connsiteX45304" fmla="*/ 5566470 w 8079933"/>
              <a:gd name="connsiteY45304" fmla="*/ 448349 h 4687251"/>
              <a:gd name="connsiteX45305" fmla="*/ 5573523 w 8079933"/>
              <a:gd name="connsiteY45305" fmla="*/ 443152 h 4687251"/>
              <a:gd name="connsiteX45306" fmla="*/ 5574392 w 8079933"/>
              <a:gd name="connsiteY45306" fmla="*/ 440228 h 4687251"/>
              <a:gd name="connsiteX45307" fmla="*/ 5571136 w 8079933"/>
              <a:gd name="connsiteY45307" fmla="*/ 436222 h 4687251"/>
              <a:gd name="connsiteX45308" fmla="*/ 5576345 w 8079933"/>
              <a:gd name="connsiteY45308" fmla="*/ 436222 h 4687251"/>
              <a:gd name="connsiteX45309" fmla="*/ 5579058 w 8079933"/>
              <a:gd name="connsiteY45309" fmla="*/ 433300 h 4687251"/>
              <a:gd name="connsiteX45310" fmla="*/ 5573956 w 8079933"/>
              <a:gd name="connsiteY45310" fmla="*/ 431459 h 4687251"/>
              <a:gd name="connsiteX45311" fmla="*/ 5579382 w 8079933"/>
              <a:gd name="connsiteY45311" fmla="*/ 426261 h 4687251"/>
              <a:gd name="connsiteX45312" fmla="*/ 5585568 w 8079933"/>
              <a:gd name="connsiteY45312" fmla="*/ 426261 h 4687251"/>
              <a:gd name="connsiteX45313" fmla="*/ 5590017 w 8079933"/>
              <a:gd name="connsiteY45313" fmla="*/ 423555 h 4687251"/>
              <a:gd name="connsiteX45314" fmla="*/ 5592730 w 8079933"/>
              <a:gd name="connsiteY45314" fmla="*/ 424638 h 4687251"/>
              <a:gd name="connsiteX45315" fmla="*/ 5592730 w 8079933"/>
              <a:gd name="connsiteY45315" fmla="*/ 427669 h 4687251"/>
              <a:gd name="connsiteX45316" fmla="*/ 5594575 w 8079933"/>
              <a:gd name="connsiteY45316" fmla="*/ 428968 h 4687251"/>
              <a:gd name="connsiteX45317" fmla="*/ 5601954 w 8079933"/>
              <a:gd name="connsiteY45317" fmla="*/ 429510 h 4687251"/>
              <a:gd name="connsiteX45318" fmla="*/ 5601954 w 8079933"/>
              <a:gd name="connsiteY45318" fmla="*/ 436222 h 4687251"/>
              <a:gd name="connsiteX45319" fmla="*/ 5604667 w 8079933"/>
              <a:gd name="connsiteY45319" fmla="*/ 439146 h 4687251"/>
              <a:gd name="connsiteX45320" fmla="*/ 5600652 w 8079933"/>
              <a:gd name="connsiteY45320" fmla="*/ 449973 h 4687251"/>
              <a:gd name="connsiteX45321" fmla="*/ 5607380 w 8079933"/>
              <a:gd name="connsiteY45321" fmla="*/ 446725 h 4687251"/>
              <a:gd name="connsiteX45322" fmla="*/ 5612046 w 8079933"/>
              <a:gd name="connsiteY45322" fmla="*/ 436764 h 4687251"/>
              <a:gd name="connsiteX45323" fmla="*/ 5606620 w 8079933"/>
              <a:gd name="connsiteY45323" fmla="*/ 427020 h 4687251"/>
              <a:gd name="connsiteX45324" fmla="*/ 5600435 w 8079933"/>
              <a:gd name="connsiteY45324" fmla="*/ 423230 h 4687251"/>
              <a:gd name="connsiteX45325" fmla="*/ 5595878 w 8079933"/>
              <a:gd name="connsiteY45325" fmla="*/ 416951 h 4687251"/>
              <a:gd name="connsiteX45326" fmla="*/ 5590777 w 8079933"/>
              <a:gd name="connsiteY45326" fmla="*/ 420198 h 4687251"/>
              <a:gd name="connsiteX45327" fmla="*/ 5587847 w 8079933"/>
              <a:gd name="connsiteY45327" fmla="*/ 418033 h 4687251"/>
              <a:gd name="connsiteX45328" fmla="*/ 5582204 w 8079933"/>
              <a:gd name="connsiteY45328" fmla="*/ 419116 h 4687251"/>
              <a:gd name="connsiteX45329" fmla="*/ 5581119 w 8079933"/>
              <a:gd name="connsiteY45329" fmla="*/ 415110 h 4687251"/>
              <a:gd name="connsiteX45330" fmla="*/ 5576236 w 8079933"/>
              <a:gd name="connsiteY45330" fmla="*/ 413486 h 4687251"/>
              <a:gd name="connsiteX45331" fmla="*/ 5575368 w 8079933"/>
              <a:gd name="connsiteY45331" fmla="*/ 411645 h 4687251"/>
              <a:gd name="connsiteX45332" fmla="*/ 5578840 w 8079933"/>
              <a:gd name="connsiteY45332" fmla="*/ 407856 h 4687251"/>
              <a:gd name="connsiteX45333" fmla="*/ 5588607 w 8079933"/>
              <a:gd name="connsiteY45333" fmla="*/ 407856 h 4687251"/>
              <a:gd name="connsiteX45334" fmla="*/ 5591862 w 8079933"/>
              <a:gd name="connsiteY45334" fmla="*/ 404283 h 4687251"/>
              <a:gd name="connsiteX45335" fmla="*/ 5596203 w 8079933"/>
              <a:gd name="connsiteY45335" fmla="*/ 404283 h 4687251"/>
              <a:gd name="connsiteX45336" fmla="*/ 5600870 w 8079933"/>
              <a:gd name="connsiteY45336" fmla="*/ 405366 h 4687251"/>
              <a:gd name="connsiteX45337" fmla="*/ 5605536 w 8079933"/>
              <a:gd name="connsiteY45337" fmla="*/ 403416 h 4687251"/>
              <a:gd name="connsiteX45338" fmla="*/ 5608791 w 8079933"/>
              <a:gd name="connsiteY45338" fmla="*/ 405582 h 4687251"/>
              <a:gd name="connsiteX45339" fmla="*/ 5619643 w 8079933"/>
              <a:gd name="connsiteY45339" fmla="*/ 401034 h 4687251"/>
              <a:gd name="connsiteX45340" fmla="*/ 5625394 w 8079933"/>
              <a:gd name="connsiteY45340" fmla="*/ 403958 h 4687251"/>
              <a:gd name="connsiteX45341" fmla="*/ 5629083 w 8079933"/>
              <a:gd name="connsiteY45341" fmla="*/ 403416 h 4687251"/>
              <a:gd name="connsiteX45342" fmla="*/ 5633207 w 8079933"/>
              <a:gd name="connsiteY45342" fmla="*/ 404283 h 4687251"/>
              <a:gd name="connsiteX45343" fmla="*/ 5637222 w 8079933"/>
              <a:gd name="connsiteY45343" fmla="*/ 401359 h 4687251"/>
              <a:gd name="connsiteX45344" fmla="*/ 5635378 w 8079933"/>
              <a:gd name="connsiteY45344" fmla="*/ 398436 h 4687251"/>
              <a:gd name="connsiteX45345" fmla="*/ 5627782 w 8079933"/>
              <a:gd name="connsiteY45345" fmla="*/ 398436 h 4687251"/>
              <a:gd name="connsiteX45346" fmla="*/ 5620402 w 8079933"/>
              <a:gd name="connsiteY45346" fmla="*/ 395404 h 4687251"/>
              <a:gd name="connsiteX45347" fmla="*/ 5614434 w 8079933"/>
              <a:gd name="connsiteY45347" fmla="*/ 397787 h 4687251"/>
              <a:gd name="connsiteX45348" fmla="*/ 5605753 w 8079933"/>
              <a:gd name="connsiteY45348" fmla="*/ 397028 h 4687251"/>
              <a:gd name="connsiteX45349" fmla="*/ 5605753 w 8079933"/>
              <a:gd name="connsiteY45349" fmla="*/ 391940 h 4687251"/>
              <a:gd name="connsiteX45350" fmla="*/ 5603582 w 8079933"/>
              <a:gd name="connsiteY45350" fmla="*/ 386202 h 4687251"/>
              <a:gd name="connsiteX45351" fmla="*/ 5610419 w 8079933"/>
              <a:gd name="connsiteY45351" fmla="*/ 381655 h 4687251"/>
              <a:gd name="connsiteX45352" fmla="*/ 5603907 w 8079933"/>
              <a:gd name="connsiteY45352" fmla="*/ 380247 h 4687251"/>
              <a:gd name="connsiteX45353" fmla="*/ 5598482 w 8079933"/>
              <a:gd name="connsiteY45353" fmla="*/ 373209 h 4687251"/>
              <a:gd name="connsiteX45354" fmla="*/ 5593815 w 8079933"/>
              <a:gd name="connsiteY45354" fmla="*/ 373209 h 4687251"/>
              <a:gd name="connsiteX45355" fmla="*/ 5589258 w 8079933"/>
              <a:gd name="connsiteY45355" fmla="*/ 367471 h 4687251"/>
              <a:gd name="connsiteX45356" fmla="*/ 5588499 w 8079933"/>
              <a:gd name="connsiteY45356" fmla="*/ 361733 h 4687251"/>
              <a:gd name="connsiteX45357" fmla="*/ 5592839 w 8079933"/>
              <a:gd name="connsiteY45357" fmla="*/ 361733 h 4687251"/>
              <a:gd name="connsiteX45358" fmla="*/ 5592839 w 8079933"/>
              <a:gd name="connsiteY45358" fmla="*/ 356103 h 4687251"/>
              <a:gd name="connsiteX45359" fmla="*/ 5587087 w 8079933"/>
              <a:gd name="connsiteY45359" fmla="*/ 350906 h 4687251"/>
              <a:gd name="connsiteX45360" fmla="*/ 5587847 w 8079933"/>
              <a:gd name="connsiteY45360" fmla="*/ 329251 h 4687251"/>
              <a:gd name="connsiteX45361" fmla="*/ 5592947 w 8079933"/>
              <a:gd name="connsiteY45361" fmla="*/ 323297 h 4687251"/>
              <a:gd name="connsiteX45362" fmla="*/ 5591102 w 8079933"/>
              <a:gd name="connsiteY45362" fmla="*/ 317558 h 4687251"/>
              <a:gd name="connsiteX45363" fmla="*/ 5592188 w 8079933"/>
              <a:gd name="connsiteY45363" fmla="*/ 309654 h 4687251"/>
              <a:gd name="connsiteX45364" fmla="*/ 5596746 w 8079933"/>
              <a:gd name="connsiteY45364" fmla="*/ 305107 h 4687251"/>
              <a:gd name="connsiteX45365" fmla="*/ 5593707 w 8079933"/>
              <a:gd name="connsiteY45365" fmla="*/ 300235 h 4687251"/>
              <a:gd name="connsiteX45366" fmla="*/ 5598048 w 8079933"/>
              <a:gd name="connsiteY45366" fmla="*/ 298935 h 4687251"/>
              <a:gd name="connsiteX45367" fmla="*/ 5599133 w 8079933"/>
              <a:gd name="connsiteY45367" fmla="*/ 294929 h 4687251"/>
              <a:gd name="connsiteX45368" fmla="*/ 4790359 w 8079933"/>
              <a:gd name="connsiteY45368" fmla="*/ 289083 h 4687251"/>
              <a:gd name="connsiteX45369" fmla="*/ 4795785 w 8079933"/>
              <a:gd name="connsiteY45369" fmla="*/ 293738 h 4687251"/>
              <a:gd name="connsiteX45370" fmla="*/ 4804683 w 8079933"/>
              <a:gd name="connsiteY45370" fmla="*/ 299045 h 4687251"/>
              <a:gd name="connsiteX45371" fmla="*/ 4808481 w 8079933"/>
              <a:gd name="connsiteY45371" fmla="*/ 297853 h 4687251"/>
              <a:gd name="connsiteX45372" fmla="*/ 4812062 w 8079933"/>
              <a:gd name="connsiteY45372" fmla="*/ 299152 h 4687251"/>
              <a:gd name="connsiteX45373" fmla="*/ 4811086 w 8079933"/>
              <a:gd name="connsiteY45373" fmla="*/ 301101 h 4687251"/>
              <a:gd name="connsiteX45374" fmla="*/ 4808156 w 8079933"/>
              <a:gd name="connsiteY45374" fmla="*/ 301425 h 4687251"/>
              <a:gd name="connsiteX45375" fmla="*/ 4801970 w 8079933"/>
              <a:gd name="connsiteY45375" fmla="*/ 304892 h 4687251"/>
              <a:gd name="connsiteX45376" fmla="*/ 4801102 w 8079933"/>
              <a:gd name="connsiteY45376" fmla="*/ 307922 h 4687251"/>
              <a:gd name="connsiteX45377" fmla="*/ 4799148 w 8079933"/>
              <a:gd name="connsiteY45377" fmla="*/ 312795 h 4687251"/>
              <a:gd name="connsiteX45378" fmla="*/ 4795785 w 8079933"/>
              <a:gd name="connsiteY45378" fmla="*/ 314852 h 4687251"/>
              <a:gd name="connsiteX45379" fmla="*/ 4795785 w 8079933"/>
              <a:gd name="connsiteY45379" fmla="*/ 317125 h 4687251"/>
              <a:gd name="connsiteX45380" fmla="*/ 4799040 w 8079933"/>
              <a:gd name="connsiteY45380" fmla="*/ 319941 h 4687251"/>
              <a:gd name="connsiteX45381" fmla="*/ 4798823 w 8079933"/>
              <a:gd name="connsiteY45381" fmla="*/ 322539 h 4687251"/>
              <a:gd name="connsiteX45382" fmla="*/ 4795025 w 8079933"/>
              <a:gd name="connsiteY45382" fmla="*/ 322864 h 4687251"/>
              <a:gd name="connsiteX45383" fmla="*/ 4789708 w 8079933"/>
              <a:gd name="connsiteY45383" fmla="*/ 319941 h 4687251"/>
              <a:gd name="connsiteX45384" fmla="*/ 4786452 w 8079933"/>
              <a:gd name="connsiteY45384" fmla="*/ 312253 h 4687251"/>
              <a:gd name="connsiteX45385" fmla="*/ 4786669 w 8079933"/>
              <a:gd name="connsiteY45385" fmla="*/ 305540 h 4687251"/>
              <a:gd name="connsiteX45386" fmla="*/ 4781461 w 8079933"/>
              <a:gd name="connsiteY45386" fmla="*/ 295796 h 4687251"/>
              <a:gd name="connsiteX45387" fmla="*/ 4781786 w 8079933"/>
              <a:gd name="connsiteY45387" fmla="*/ 291574 h 4687251"/>
              <a:gd name="connsiteX45388" fmla="*/ 4783197 w 8079933"/>
              <a:gd name="connsiteY45388" fmla="*/ 292007 h 4687251"/>
              <a:gd name="connsiteX45389" fmla="*/ 4787429 w 8079933"/>
              <a:gd name="connsiteY45389" fmla="*/ 290816 h 4687251"/>
              <a:gd name="connsiteX45390" fmla="*/ 2047926 w 8079933"/>
              <a:gd name="connsiteY45390" fmla="*/ 286700 h 4687251"/>
              <a:gd name="connsiteX45391" fmla="*/ 2054654 w 8079933"/>
              <a:gd name="connsiteY45391" fmla="*/ 289732 h 4687251"/>
              <a:gd name="connsiteX45392" fmla="*/ 2058127 w 8079933"/>
              <a:gd name="connsiteY45392" fmla="*/ 289082 h 4687251"/>
              <a:gd name="connsiteX45393" fmla="*/ 2061274 w 8079933"/>
              <a:gd name="connsiteY45393" fmla="*/ 290490 h 4687251"/>
              <a:gd name="connsiteX45394" fmla="*/ 2061925 w 8079933"/>
              <a:gd name="connsiteY45394" fmla="*/ 293630 h 4687251"/>
              <a:gd name="connsiteX45395" fmla="*/ 2063770 w 8079933"/>
              <a:gd name="connsiteY45395" fmla="*/ 296012 h 4687251"/>
              <a:gd name="connsiteX45396" fmla="*/ 2061057 w 8079933"/>
              <a:gd name="connsiteY45396" fmla="*/ 299585 h 4687251"/>
              <a:gd name="connsiteX45397" fmla="*/ 2056716 w 8079933"/>
              <a:gd name="connsiteY45397" fmla="*/ 301859 h 4687251"/>
              <a:gd name="connsiteX45398" fmla="*/ 2052918 w 8079933"/>
              <a:gd name="connsiteY45398" fmla="*/ 300018 h 4687251"/>
              <a:gd name="connsiteX45399" fmla="*/ 2049554 w 8079933"/>
              <a:gd name="connsiteY45399" fmla="*/ 300018 h 4687251"/>
              <a:gd name="connsiteX45400" fmla="*/ 2047817 w 8079933"/>
              <a:gd name="connsiteY45400" fmla="*/ 295470 h 4687251"/>
              <a:gd name="connsiteX45401" fmla="*/ 2044671 w 8079933"/>
              <a:gd name="connsiteY45401" fmla="*/ 291897 h 4687251"/>
              <a:gd name="connsiteX45402" fmla="*/ 2041849 w 8079933"/>
              <a:gd name="connsiteY45402" fmla="*/ 290923 h 4687251"/>
              <a:gd name="connsiteX45403" fmla="*/ 2041849 w 8079933"/>
              <a:gd name="connsiteY45403" fmla="*/ 289624 h 4687251"/>
              <a:gd name="connsiteX45404" fmla="*/ 2045539 w 8079933"/>
              <a:gd name="connsiteY45404" fmla="*/ 288758 h 4687251"/>
              <a:gd name="connsiteX45405" fmla="*/ 4618793 w 8079933"/>
              <a:gd name="connsiteY45405" fmla="*/ 285402 h 4687251"/>
              <a:gd name="connsiteX45406" fmla="*/ 4629320 w 8079933"/>
              <a:gd name="connsiteY45406" fmla="*/ 287135 h 4687251"/>
              <a:gd name="connsiteX45407" fmla="*/ 4641583 w 8079933"/>
              <a:gd name="connsiteY45407" fmla="*/ 294497 h 4687251"/>
              <a:gd name="connsiteX45408" fmla="*/ 4647008 w 8079933"/>
              <a:gd name="connsiteY45408" fmla="*/ 295797 h 4687251"/>
              <a:gd name="connsiteX45409" fmla="*/ 4649938 w 8079933"/>
              <a:gd name="connsiteY45409" fmla="*/ 299045 h 4687251"/>
              <a:gd name="connsiteX45410" fmla="*/ 4647442 w 8079933"/>
              <a:gd name="connsiteY45410" fmla="*/ 300451 h 4687251"/>
              <a:gd name="connsiteX45411" fmla="*/ 4646574 w 8079933"/>
              <a:gd name="connsiteY45411" fmla="*/ 302076 h 4687251"/>
              <a:gd name="connsiteX45412" fmla="*/ 4641148 w 8079933"/>
              <a:gd name="connsiteY45412" fmla="*/ 302833 h 4687251"/>
              <a:gd name="connsiteX45413" fmla="*/ 4635831 w 8079933"/>
              <a:gd name="connsiteY45413" fmla="*/ 300451 h 4687251"/>
              <a:gd name="connsiteX45414" fmla="*/ 4633227 w 8079933"/>
              <a:gd name="connsiteY45414" fmla="*/ 295363 h 4687251"/>
              <a:gd name="connsiteX45415" fmla="*/ 4630188 w 8079933"/>
              <a:gd name="connsiteY45415" fmla="*/ 294063 h 4687251"/>
              <a:gd name="connsiteX45416" fmla="*/ 4627366 w 8079933"/>
              <a:gd name="connsiteY45416" fmla="*/ 296772 h 4687251"/>
              <a:gd name="connsiteX45417" fmla="*/ 4620530 w 8079933"/>
              <a:gd name="connsiteY45417" fmla="*/ 297528 h 4687251"/>
              <a:gd name="connsiteX45418" fmla="*/ 4616732 w 8079933"/>
              <a:gd name="connsiteY45418" fmla="*/ 302293 h 4687251"/>
              <a:gd name="connsiteX45419" fmla="*/ 4611740 w 8079933"/>
              <a:gd name="connsiteY45419" fmla="*/ 306732 h 4687251"/>
              <a:gd name="connsiteX45420" fmla="*/ 4613802 w 8079933"/>
              <a:gd name="connsiteY45420" fmla="*/ 311387 h 4687251"/>
              <a:gd name="connsiteX45421" fmla="*/ 4616515 w 8079933"/>
              <a:gd name="connsiteY45421" fmla="*/ 312469 h 4687251"/>
              <a:gd name="connsiteX45422" fmla="*/ 4619119 w 8079933"/>
              <a:gd name="connsiteY45422" fmla="*/ 315502 h 4687251"/>
              <a:gd name="connsiteX45423" fmla="*/ 4619879 w 8079933"/>
              <a:gd name="connsiteY45423" fmla="*/ 322431 h 4687251"/>
              <a:gd name="connsiteX45424" fmla="*/ 4622917 w 8079933"/>
              <a:gd name="connsiteY45424" fmla="*/ 327520 h 4687251"/>
              <a:gd name="connsiteX45425" fmla="*/ 4622049 w 8079933"/>
              <a:gd name="connsiteY45425" fmla="*/ 330768 h 4687251"/>
              <a:gd name="connsiteX45426" fmla="*/ 4618142 w 8079933"/>
              <a:gd name="connsiteY45426" fmla="*/ 328278 h 4687251"/>
              <a:gd name="connsiteX45427" fmla="*/ 4615647 w 8079933"/>
              <a:gd name="connsiteY45427" fmla="*/ 321132 h 4687251"/>
              <a:gd name="connsiteX45428" fmla="*/ 4612608 w 8079933"/>
              <a:gd name="connsiteY45428" fmla="*/ 317883 h 4687251"/>
              <a:gd name="connsiteX45429" fmla="*/ 4609787 w 8079933"/>
              <a:gd name="connsiteY45429" fmla="*/ 320483 h 4687251"/>
              <a:gd name="connsiteX45430" fmla="*/ 4609787 w 8079933"/>
              <a:gd name="connsiteY45430" fmla="*/ 323081 h 4687251"/>
              <a:gd name="connsiteX45431" fmla="*/ 4607724 w 8079933"/>
              <a:gd name="connsiteY45431" fmla="*/ 326654 h 4687251"/>
              <a:gd name="connsiteX45432" fmla="*/ 4605012 w 8079933"/>
              <a:gd name="connsiteY45432" fmla="*/ 325138 h 4687251"/>
              <a:gd name="connsiteX45433" fmla="*/ 4602733 w 8079933"/>
              <a:gd name="connsiteY45433" fmla="*/ 321998 h 4687251"/>
              <a:gd name="connsiteX45434" fmla="*/ 4598392 w 8079933"/>
              <a:gd name="connsiteY45434" fmla="*/ 318750 h 4687251"/>
              <a:gd name="connsiteX45435" fmla="*/ 4592641 w 8079933"/>
              <a:gd name="connsiteY45435" fmla="*/ 322214 h 4687251"/>
              <a:gd name="connsiteX45436" fmla="*/ 4588951 w 8079933"/>
              <a:gd name="connsiteY45436" fmla="*/ 319618 h 4687251"/>
              <a:gd name="connsiteX45437" fmla="*/ 4588626 w 8079933"/>
              <a:gd name="connsiteY45437" fmla="*/ 307273 h 4687251"/>
              <a:gd name="connsiteX45438" fmla="*/ 4594486 w 8079933"/>
              <a:gd name="connsiteY45438" fmla="*/ 302076 h 4687251"/>
              <a:gd name="connsiteX45439" fmla="*/ 4599803 w 8079933"/>
              <a:gd name="connsiteY45439" fmla="*/ 300560 h 4687251"/>
              <a:gd name="connsiteX45440" fmla="*/ 4603167 w 8079933"/>
              <a:gd name="connsiteY45440" fmla="*/ 293846 h 4687251"/>
              <a:gd name="connsiteX45441" fmla="*/ 4612066 w 8079933"/>
              <a:gd name="connsiteY45441" fmla="*/ 285944 h 4687251"/>
              <a:gd name="connsiteX45442" fmla="*/ 2294257 w 8079933"/>
              <a:gd name="connsiteY45442" fmla="*/ 284643 h 4687251"/>
              <a:gd name="connsiteX45443" fmla="*/ 2300660 w 8079933"/>
              <a:gd name="connsiteY45443" fmla="*/ 286484 h 4687251"/>
              <a:gd name="connsiteX45444" fmla="*/ 2307713 w 8079933"/>
              <a:gd name="connsiteY45444" fmla="*/ 294929 h 4687251"/>
              <a:gd name="connsiteX45445" fmla="*/ 2307171 w 8079933"/>
              <a:gd name="connsiteY45445" fmla="*/ 299368 h 4687251"/>
              <a:gd name="connsiteX45446" fmla="*/ 2307930 w 8079933"/>
              <a:gd name="connsiteY45446" fmla="*/ 307163 h 4687251"/>
              <a:gd name="connsiteX45447" fmla="*/ 2304675 w 8079933"/>
              <a:gd name="connsiteY45447" fmla="*/ 307812 h 4687251"/>
              <a:gd name="connsiteX45448" fmla="*/ 2299792 w 8079933"/>
              <a:gd name="connsiteY45448" fmla="*/ 304890 h 4687251"/>
              <a:gd name="connsiteX45449" fmla="*/ 2295451 w 8079933"/>
              <a:gd name="connsiteY45449" fmla="*/ 306621 h 4687251"/>
              <a:gd name="connsiteX45450" fmla="*/ 2292196 w 8079933"/>
              <a:gd name="connsiteY45450" fmla="*/ 306621 h 4687251"/>
              <a:gd name="connsiteX45451" fmla="*/ 2288723 w 8079933"/>
              <a:gd name="connsiteY45451" fmla="*/ 300775 h 4687251"/>
              <a:gd name="connsiteX45452" fmla="*/ 2283298 w 8079933"/>
              <a:gd name="connsiteY45452" fmla="*/ 296445 h 4687251"/>
              <a:gd name="connsiteX45453" fmla="*/ 2283949 w 8079933"/>
              <a:gd name="connsiteY45453" fmla="*/ 290165 h 4687251"/>
              <a:gd name="connsiteX45454" fmla="*/ 2286011 w 8079933"/>
              <a:gd name="connsiteY45454" fmla="*/ 285509 h 4687251"/>
              <a:gd name="connsiteX45455" fmla="*/ 2590075 w 8079933"/>
              <a:gd name="connsiteY45455" fmla="*/ 279989 h 4687251"/>
              <a:gd name="connsiteX45456" fmla="*/ 2594307 w 8079933"/>
              <a:gd name="connsiteY45456" fmla="*/ 281829 h 4687251"/>
              <a:gd name="connsiteX45457" fmla="*/ 2599190 w 8079933"/>
              <a:gd name="connsiteY45457" fmla="*/ 286268 h 4687251"/>
              <a:gd name="connsiteX45458" fmla="*/ 2597562 w 8079933"/>
              <a:gd name="connsiteY45458" fmla="*/ 289409 h 4687251"/>
              <a:gd name="connsiteX45459" fmla="*/ 2591160 w 8079933"/>
              <a:gd name="connsiteY45459" fmla="*/ 289193 h 4687251"/>
              <a:gd name="connsiteX45460" fmla="*/ 2587470 w 8079933"/>
              <a:gd name="connsiteY45460" fmla="*/ 293090 h 4687251"/>
              <a:gd name="connsiteX45461" fmla="*/ 2581068 w 8079933"/>
              <a:gd name="connsiteY45461" fmla="*/ 293848 h 4687251"/>
              <a:gd name="connsiteX45462" fmla="*/ 2577487 w 8079933"/>
              <a:gd name="connsiteY45462" fmla="*/ 292765 h 4687251"/>
              <a:gd name="connsiteX45463" fmla="*/ 2576619 w 8079933"/>
              <a:gd name="connsiteY45463" fmla="*/ 290383 h 4687251"/>
              <a:gd name="connsiteX45464" fmla="*/ 2582370 w 8079933"/>
              <a:gd name="connsiteY45464" fmla="*/ 282803 h 4687251"/>
              <a:gd name="connsiteX45465" fmla="*/ 2585408 w 8079933"/>
              <a:gd name="connsiteY45465" fmla="*/ 282803 h 4687251"/>
              <a:gd name="connsiteX45466" fmla="*/ 4784715 w 8079933"/>
              <a:gd name="connsiteY45466" fmla="*/ 277498 h 4687251"/>
              <a:gd name="connsiteX45467" fmla="*/ 4786994 w 8079933"/>
              <a:gd name="connsiteY45467" fmla="*/ 279989 h 4687251"/>
              <a:gd name="connsiteX45468" fmla="*/ 4786451 w 8079933"/>
              <a:gd name="connsiteY45468" fmla="*/ 282912 h 4687251"/>
              <a:gd name="connsiteX45469" fmla="*/ 4782762 w 8079933"/>
              <a:gd name="connsiteY45469" fmla="*/ 285402 h 4687251"/>
              <a:gd name="connsiteX45470" fmla="*/ 4779398 w 8079933"/>
              <a:gd name="connsiteY45470" fmla="*/ 284753 h 4687251"/>
              <a:gd name="connsiteX45471" fmla="*/ 4775926 w 8079933"/>
              <a:gd name="connsiteY45471" fmla="*/ 281288 h 4687251"/>
              <a:gd name="connsiteX45472" fmla="*/ 4779724 w 8079933"/>
              <a:gd name="connsiteY45472" fmla="*/ 281288 h 4687251"/>
              <a:gd name="connsiteX45473" fmla="*/ 4782003 w 8079933"/>
              <a:gd name="connsiteY45473" fmla="*/ 278364 h 4687251"/>
              <a:gd name="connsiteX45474" fmla="*/ 2233598 w 8079933"/>
              <a:gd name="connsiteY45474" fmla="*/ 277065 h 4687251"/>
              <a:gd name="connsiteX45475" fmla="*/ 2237071 w 8079933"/>
              <a:gd name="connsiteY45475" fmla="*/ 279771 h 4687251"/>
              <a:gd name="connsiteX45476" fmla="*/ 2237939 w 8079933"/>
              <a:gd name="connsiteY45476" fmla="*/ 286160 h 4687251"/>
              <a:gd name="connsiteX45477" fmla="*/ 2239350 w 8079933"/>
              <a:gd name="connsiteY45477" fmla="*/ 289083 h 4687251"/>
              <a:gd name="connsiteX45478" fmla="*/ 2235552 w 8079933"/>
              <a:gd name="connsiteY45478" fmla="*/ 298178 h 4687251"/>
              <a:gd name="connsiteX45479" fmla="*/ 2236203 w 8079933"/>
              <a:gd name="connsiteY45479" fmla="*/ 302183 h 4687251"/>
              <a:gd name="connsiteX45480" fmla="*/ 2233164 w 8079933"/>
              <a:gd name="connsiteY45480" fmla="*/ 307273 h 4687251"/>
              <a:gd name="connsiteX45481" fmla="*/ 2235552 w 8079933"/>
              <a:gd name="connsiteY45481" fmla="*/ 310412 h 4687251"/>
              <a:gd name="connsiteX45482" fmla="*/ 2231971 w 8079933"/>
              <a:gd name="connsiteY45482" fmla="*/ 321889 h 4687251"/>
              <a:gd name="connsiteX45483" fmla="*/ 2226219 w 8079933"/>
              <a:gd name="connsiteY45483" fmla="*/ 325029 h 4687251"/>
              <a:gd name="connsiteX45484" fmla="*/ 2220576 w 8079933"/>
              <a:gd name="connsiteY45484" fmla="*/ 324162 h 4687251"/>
              <a:gd name="connsiteX45485" fmla="*/ 2217429 w 8079933"/>
              <a:gd name="connsiteY45485" fmla="*/ 317775 h 4687251"/>
              <a:gd name="connsiteX45486" fmla="*/ 2219491 w 8079933"/>
              <a:gd name="connsiteY45486" fmla="*/ 313444 h 4687251"/>
              <a:gd name="connsiteX45487" fmla="*/ 2220902 w 8079933"/>
              <a:gd name="connsiteY45487" fmla="*/ 307164 h 4687251"/>
              <a:gd name="connsiteX45488" fmla="*/ 2221119 w 8079933"/>
              <a:gd name="connsiteY45488" fmla="*/ 302292 h 4687251"/>
              <a:gd name="connsiteX45489" fmla="*/ 2226219 w 8079933"/>
              <a:gd name="connsiteY45489" fmla="*/ 298394 h 4687251"/>
              <a:gd name="connsiteX45490" fmla="*/ 2226436 w 8079933"/>
              <a:gd name="connsiteY45490" fmla="*/ 295254 h 4687251"/>
              <a:gd name="connsiteX45491" fmla="*/ 2227738 w 8079933"/>
              <a:gd name="connsiteY45491" fmla="*/ 293738 h 4687251"/>
              <a:gd name="connsiteX45492" fmla="*/ 2227738 w 8079933"/>
              <a:gd name="connsiteY45492" fmla="*/ 290600 h 4687251"/>
              <a:gd name="connsiteX45493" fmla="*/ 2231211 w 8079933"/>
              <a:gd name="connsiteY45493" fmla="*/ 283886 h 4687251"/>
              <a:gd name="connsiteX45494" fmla="*/ 2231211 w 8079933"/>
              <a:gd name="connsiteY45494" fmla="*/ 279231 h 4687251"/>
              <a:gd name="connsiteX45495" fmla="*/ 4758130 w 8079933"/>
              <a:gd name="connsiteY45495" fmla="*/ 273493 h 4687251"/>
              <a:gd name="connsiteX45496" fmla="*/ 4761711 w 8079933"/>
              <a:gd name="connsiteY45496" fmla="*/ 274467 h 4687251"/>
              <a:gd name="connsiteX45497" fmla="*/ 4763881 w 8079933"/>
              <a:gd name="connsiteY45497" fmla="*/ 277066 h 4687251"/>
              <a:gd name="connsiteX45498" fmla="*/ 4768222 w 8079933"/>
              <a:gd name="connsiteY45498" fmla="*/ 278797 h 4687251"/>
              <a:gd name="connsiteX45499" fmla="*/ 4768222 w 8079933"/>
              <a:gd name="connsiteY45499" fmla="*/ 282478 h 4687251"/>
              <a:gd name="connsiteX45500" fmla="*/ 4765943 w 8079933"/>
              <a:gd name="connsiteY45500" fmla="*/ 284645 h 4687251"/>
              <a:gd name="connsiteX45501" fmla="*/ 4760843 w 8079933"/>
              <a:gd name="connsiteY45501" fmla="*/ 284645 h 4687251"/>
              <a:gd name="connsiteX45502" fmla="*/ 4757804 w 8079933"/>
              <a:gd name="connsiteY45502" fmla="*/ 283345 h 4687251"/>
              <a:gd name="connsiteX45503" fmla="*/ 4755200 w 8079933"/>
              <a:gd name="connsiteY45503" fmla="*/ 286592 h 4687251"/>
              <a:gd name="connsiteX45504" fmla="*/ 4751727 w 8079933"/>
              <a:gd name="connsiteY45504" fmla="*/ 286810 h 4687251"/>
              <a:gd name="connsiteX45505" fmla="*/ 4749123 w 8079933"/>
              <a:gd name="connsiteY45505" fmla="*/ 284969 h 4687251"/>
              <a:gd name="connsiteX45506" fmla="*/ 4748689 w 8079933"/>
              <a:gd name="connsiteY45506" fmla="*/ 279880 h 4687251"/>
              <a:gd name="connsiteX45507" fmla="*/ 4752704 w 8079933"/>
              <a:gd name="connsiteY45507" fmla="*/ 275009 h 4687251"/>
              <a:gd name="connsiteX45508" fmla="*/ 2078962 w 8079933"/>
              <a:gd name="connsiteY45508" fmla="*/ 271109 h 4687251"/>
              <a:gd name="connsiteX45509" fmla="*/ 2076683 w 8079933"/>
              <a:gd name="connsiteY45509" fmla="*/ 274574 h 4687251"/>
              <a:gd name="connsiteX45510" fmla="*/ 2073861 w 8079933"/>
              <a:gd name="connsiteY45510" fmla="*/ 275873 h 4687251"/>
              <a:gd name="connsiteX45511" fmla="*/ 2071908 w 8079933"/>
              <a:gd name="connsiteY45511" fmla="*/ 274574 h 4687251"/>
              <a:gd name="connsiteX45512" fmla="*/ 2073427 w 8079933"/>
              <a:gd name="connsiteY45512" fmla="*/ 271651 h 4687251"/>
              <a:gd name="connsiteX45513" fmla="*/ 4739138 w 8079933"/>
              <a:gd name="connsiteY45513" fmla="*/ 268514 h 4687251"/>
              <a:gd name="connsiteX45514" fmla="*/ 4741416 w 8079933"/>
              <a:gd name="connsiteY45514" fmla="*/ 273060 h 4687251"/>
              <a:gd name="connsiteX45515" fmla="*/ 4743912 w 8079933"/>
              <a:gd name="connsiteY45515" fmla="*/ 273060 h 4687251"/>
              <a:gd name="connsiteX45516" fmla="*/ 4745106 w 8079933"/>
              <a:gd name="connsiteY45516" fmla="*/ 271760 h 4687251"/>
              <a:gd name="connsiteX45517" fmla="*/ 4747710 w 8079933"/>
              <a:gd name="connsiteY45517" fmla="*/ 272519 h 4687251"/>
              <a:gd name="connsiteX45518" fmla="*/ 4748795 w 8079933"/>
              <a:gd name="connsiteY45518" fmla="*/ 275009 h 4687251"/>
              <a:gd name="connsiteX45519" fmla="*/ 4747601 w 8079933"/>
              <a:gd name="connsiteY45519" fmla="*/ 277714 h 4687251"/>
              <a:gd name="connsiteX45520" fmla="*/ 4737727 w 8079933"/>
              <a:gd name="connsiteY45520" fmla="*/ 281938 h 4687251"/>
              <a:gd name="connsiteX45521" fmla="*/ 4734905 w 8079933"/>
              <a:gd name="connsiteY45521" fmla="*/ 280422 h 4687251"/>
              <a:gd name="connsiteX45522" fmla="*/ 4732084 w 8079933"/>
              <a:gd name="connsiteY45522" fmla="*/ 278473 h 4687251"/>
              <a:gd name="connsiteX45523" fmla="*/ 4727092 w 8079933"/>
              <a:gd name="connsiteY45523" fmla="*/ 278473 h 4687251"/>
              <a:gd name="connsiteX45524" fmla="*/ 4723946 w 8079933"/>
              <a:gd name="connsiteY45524" fmla="*/ 274792 h 4687251"/>
              <a:gd name="connsiteX45525" fmla="*/ 4723946 w 8079933"/>
              <a:gd name="connsiteY45525" fmla="*/ 272519 h 4687251"/>
              <a:gd name="connsiteX45526" fmla="*/ 4726659 w 8079933"/>
              <a:gd name="connsiteY45526" fmla="*/ 270895 h 4687251"/>
              <a:gd name="connsiteX45527" fmla="*/ 4731650 w 8079933"/>
              <a:gd name="connsiteY45527" fmla="*/ 269378 h 4687251"/>
              <a:gd name="connsiteX45528" fmla="*/ 4737184 w 8079933"/>
              <a:gd name="connsiteY45528" fmla="*/ 270029 h 4687251"/>
              <a:gd name="connsiteX45529" fmla="*/ 2318784 w 8079933"/>
              <a:gd name="connsiteY45529" fmla="*/ 267753 h 4687251"/>
              <a:gd name="connsiteX45530" fmla="*/ 2320086 w 8079933"/>
              <a:gd name="connsiteY45530" fmla="*/ 269161 h 4687251"/>
              <a:gd name="connsiteX45531" fmla="*/ 2318784 w 8079933"/>
              <a:gd name="connsiteY45531" fmla="*/ 272517 h 4687251"/>
              <a:gd name="connsiteX45532" fmla="*/ 2316504 w 8079933"/>
              <a:gd name="connsiteY45532" fmla="*/ 272625 h 4687251"/>
              <a:gd name="connsiteX45533" fmla="*/ 2315311 w 8079933"/>
              <a:gd name="connsiteY45533" fmla="*/ 271327 h 4687251"/>
              <a:gd name="connsiteX45534" fmla="*/ 2316179 w 8079933"/>
              <a:gd name="connsiteY45534" fmla="*/ 269378 h 4687251"/>
              <a:gd name="connsiteX45535" fmla="*/ 4674138 w 8079933"/>
              <a:gd name="connsiteY45535" fmla="*/ 267538 h 4687251"/>
              <a:gd name="connsiteX45536" fmla="*/ 4674789 w 8079933"/>
              <a:gd name="connsiteY45536" fmla="*/ 269270 h 4687251"/>
              <a:gd name="connsiteX45537" fmla="*/ 4674246 w 8079933"/>
              <a:gd name="connsiteY45537" fmla="*/ 275117 h 4687251"/>
              <a:gd name="connsiteX45538" fmla="*/ 4672184 w 8079933"/>
              <a:gd name="connsiteY45538" fmla="*/ 280747 h 4687251"/>
              <a:gd name="connsiteX45539" fmla="*/ 4668820 w 8079933"/>
              <a:gd name="connsiteY45539" fmla="*/ 283777 h 4687251"/>
              <a:gd name="connsiteX45540" fmla="*/ 4667627 w 8079933"/>
              <a:gd name="connsiteY45540" fmla="*/ 288217 h 4687251"/>
              <a:gd name="connsiteX45541" fmla="*/ 4667952 w 8079933"/>
              <a:gd name="connsiteY45541" fmla="*/ 290599 h 4687251"/>
              <a:gd name="connsiteX45542" fmla="*/ 4670448 w 8079933"/>
              <a:gd name="connsiteY45542" fmla="*/ 289192 h 4687251"/>
              <a:gd name="connsiteX45543" fmla="*/ 4673595 w 8079933"/>
              <a:gd name="connsiteY45543" fmla="*/ 284319 h 4687251"/>
              <a:gd name="connsiteX45544" fmla="*/ 4678804 w 8079933"/>
              <a:gd name="connsiteY45544" fmla="*/ 281722 h 4687251"/>
              <a:gd name="connsiteX45545" fmla="*/ 4680865 w 8079933"/>
              <a:gd name="connsiteY45545" fmla="*/ 282046 h 4687251"/>
              <a:gd name="connsiteX45546" fmla="*/ 4681951 w 8079933"/>
              <a:gd name="connsiteY45546" fmla="*/ 286269 h 4687251"/>
              <a:gd name="connsiteX45547" fmla="*/ 4686617 w 8079933"/>
              <a:gd name="connsiteY45547" fmla="*/ 289409 h 4687251"/>
              <a:gd name="connsiteX45548" fmla="*/ 4686943 w 8079933"/>
              <a:gd name="connsiteY45548" fmla="*/ 291683 h 4687251"/>
              <a:gd name="connsiteX45549" fmla="*/ 4689547 w 8079933"/>
              <a:gd name="connsiteY45549" fmla="*/ 296446 h 4687251"/>
              <a:gd name="connsiteX45550" fmla="*/ 4689113 w 8079933"/>
              <a:gd name="connsiteY45550" fmla="*/ 298286 h 4687251"/>
              <a:gd name="connsiteX45551" fmla="*/ 4685858 w 8079933"/>
              <a:gd name="connsiteY45551" fmla="*/ 300451 h 4687251"/>
              <a:gd name="connsiteX45552" fmla="*/ 4681517 w 8079933"/>
              <a:gd name="connsiteY45552" fmla="*/ 305107 h 4687251"/>
              <a:gd name="connsiteX45553" fmla="*/ 4678479 w 8079933"/>
              <a:gd name="connsiteY45553" fmla="*/ 306190 h 4687251"/>
              <a:gd name="connsiteX45554" fmla="*/ 4675874 w 8079933"/>
              <a:gd name="connsiteY45554" fmla="*/ 305433 h 4687251"/>
              <a:gd name="connsiteX45555" fmla="*/ 4675114 w 8079933"/>
              <a:gd name="connsiteY45555" fmla="*/ 303700 h 4687251"/>
              <a:gd name="connsiteX45556" fmla="*/ 4672619 w 8079933"/>
              <a:gd name="connsiteY45556" fmla="*/ 303267 h 4687251"/>
              <a:gd name="connsiteX45557" fmla="*/ 4670665 w 8079933"/>
              <a:gd name="connsiteY45557" fmla="*/ 304998 h 4687251"/>
              <a:gd name="connsiteX45558" fmla="*/ 4670556 w 8079933"/>
              <a:gd name="connsiteY45558" fmla="*/ 309980 h 4687251"/>
              <a:gd name="connsiteX45559" fmla="*/ 4671533 w 8079933"/>
              <a:gd name="connsiteY45559" fmla="*/ 311387 h 4687251"/>
              <a:gd name="connsiteX45560" fmla="*/ 4674355 w 8079933"/>
              <a:gd name="connsiteY45560" fmla="*/ 311605 h 4687251"/>
              <a:gd name="connsiteX45561" fmla="*/ 4675874 w 8079933"/>
              <a:gd name="connsiteY45561" fmla="*/ 314636 h 4687251"/>
              <a:gd name="connsiteX45562" fmla="*/ 4677285 w 8079933"/>
              <a:gd name="connsiteY45562" fmla="*/ 315935 h 4687251"/>
              <a:gd name="connsiteX45563" fmla="*/ 4677285 w 8079933"/>
              <a:gd name="connsiteY45563" fmla="*/ 317883 h 4687251"/>
              <a:gd name="connsiteX45564" fmla="*/ 4675440 w 8079933"/>
              <a:gd name="connsiteY45564" fmla="*/ 319074 h 4687251"/>
              <a:gd name="connsiteX45565" fmla="*/ 4668278 w 8079933"/>
              <a:gd name="connsiteY45565" fmla="*/ 320698 h 4687251"/>
              <a:gd name="connsiteX45566" fmla="*/ 4664263 w 8079933"/>
              <a:gd name="connsiteY45566" fmla="*/ 320373 h 4687251"/>
              <a:gd name="connsiteX45567" fmla="*/ 4659379 w 8079933"/>
              <a:gd name="connsiteY45567" fmla="*/ 322646 h 4687251"/>
              <a:gd name="connsiteX45568" fmla="*/ 4660030 w 8079933"/>
              <a:gd name="connsiteY45568" fmla="*/ 324596 h 4687251"/>
              <a:gd name="connsiteX45569" fmla="*/ 4663828 w 8079933"/>
              <a:gd name="connsiteY45569" fmla="*/ 328386 h 4687251"/>
              <a:gd name="connsiteX45570" fmla="*/ 4664696 w 8079933"/>
              <a:gd name="connsiteY45570" fmla="*/ 334773 h 4687251"/>
              <a:gd name="connsiteX45571" fmla="*/ 4663612 w 8079933"/>
              <a:gd name="connsiteY45571" fmla="*/ 341161 h 4687251"/>
              <a:gd name="connsiteX45572" fmla="*/ 4660247 w 8079933"/>
              <a:gd name="connsiteY45572" fmla="*/ 343111 h 4687251"/>
              <a:gd name="connsiteX45573" fmla="*/ 4658186 w 8079933"/>
              <a:gd name="connsiteY45573" fmla="*/ 341594 h 4687251"/>
              <a:gd name="connsiteX45574" fmla="*/ 4657317 w 8079933"/>
              <a:gd name="connsiteY45574" fmla="*/ 343760 h 4687251"/>
              <a:gd name="connsiteX45575" fmla="*/ 4657643 w 8079933"/>
              <a:gd name="connsiteY45575" fmla="*/ 347224 h 4687251"/>
              <a:gd name="connsiteX45576" fmla="*/ 4655364 w 8079933"/>
              <a:gd name="connsiteY45576" fmla="*/ 351121 h 4687251"/>
              <a:gd name="connsiteX45577" fmla="*/ 4652651 w 8079933"/>
              <a:gd name="connsiteY45577" fmla="*/ 352963 h 4687251"/>
              <a:gd name="connsiteX45578" fmla="*/ 4650481 w 8079933"/>
              <a:gd name="connsiteY45578" fmla="*/ 352855 h 4687251"/>
              <a:gd name="connsiteX45579" fmla="*/ 4650156 w 8079933"/>
              <a:gd name="connsiteY45579" fmla="*/ 343868 h 4687251"/>
              <a:gd name="connsiteX45580" fmla="*/ 4646575 w 8079933"/>
              <a:gd name="connsiteY45580" fmla="*/ 339755 h 4687251"/>
              <a:gd name="connsiteX45581" fmla="*/ 4643970 w 8079933"/>
              <a:gd name="connsiteY45581" fmla="*/ 339755 h 4687251"/>
              <a:gd name="connsiteX45582" fmla="*/ 4643645 w 8079933"/>
              <a:gd name="connsiteY45582" fmla="*/ 344734 h 4687251"/>
              <a:gd name="connsiteX45583" fmla="*/ 4641583 w 8079933"/>
              <a:gd name="connsiteY45583" fmla="*/ 348199 h 4687251"/>
              <a:gd name="connsiteX45584" fmla="*/ 4637567 w 8079933"/>
              <a:gd name="connsiteY45584" fmla="*/ 347984 h 4687251"/>
              <a:gd name="connsiteX45585" fmla="*/ 4634312 w 8079933"/>
              <a:gd name="connsiteY45585" fmla="*/ 349498 h 4687251"/>
              <a:gd name="connsiteX45586" fmla="*/ 4633118 w 8079933"/>
              <a:gd name="connsiteY45586" fmla="*/ 346791 h 4687251"/>
              <a:gd name="connsiteX45587" fmla="*/ 4634095 w 8079933"/>
              <a:gd name="connsiteY45587" fmla="*/ 344086 h 4687251"/>
              <a:gd name="connsiteX45588" fmla="*/ 4631816 w 8079933"/>
              <a:gd name="connsiteY45588" fmla="*/ 340296 h 4687251"/>
              <a:gd name="connsiteX45589" fmla="*/ 4630188 w 8079933"/>
              <a:gd name="connsiteY45589" fmla="*/ 328711 h 4687251"/>
              <a:gd name="connsiteX45590" fmla="*/ 4634312 w 8079933"/>
              <a:gd name="connsiteY45590" fmla="*/ 325353 h 4687251"/>
              <a:gd name="connsiteX45591" fmla="*/ 4639847 w 8079933"/>
              <a:gd name="connsiteY45591" fmla="*/ 325353 h 4687251"/>
              <a:gd name="connsiteX45592" fmla="*/ 4642885 w 8079933"/>
              <a:gd name="connsiteY45592" fmla="*/ 323731 h 4687251"/>
              <a:gd name="connsiteX45593" fmla="*/ 4641040 w 8079933"/>
              <a:gd name="connsiteY45593" fmla="*/ 321998 h 4687251"/>
              <a:gd name="connsiteX45594" fmla="*/ 4637025 w 8079933"/>
              <a:gd name="connsiteY45594" fmla="*/ 321347 h 4687251"/>
              <a:gd name="connsiteX45595" fmla="*/ 4636049 w 8079933"/>
              <a:gd name="connsiteY45595" fmla="*/ 315827 h 4687251"/>
              <a:gd name="connsiteX45596" fmla="*/ 4632250 w 8079933"/>
              <a:gd name="connsiteY45596" fmla="*/ 313227 h 4687251"/>
              <a:gd name="connsiteX45597" fmla="*/ 4628995 w 8079933"/>
              <a:gd name="connsiteY45597" fmla="*/ 316368 h 4687251"/>
              <a:gd name="connsiteX45598" fmla="*/ 4624980 w 8079933"/>
              <a:gd name="connsiteY45598" fmla="*/ 315502 h 4687251"/>
              <a:gd name="connsiteX45599" fmla="*/ 4625197 w 8079933"/>
              <a:gd name="connsiteY45599" fmla="*/ 311605 h 4687251"/>
              <a:gd name="connsiteX45600" fmla="*/ 4626173 w 8079933"/>
              <a:gd name="connsiteY45600" fmla="*/ 309113 h 4687251"/>
              <a:gd name="connsiteX45601" fmla="*/ 4626390 w 8079933"/>
              <a:gd name="connsiteY45601" fmla="*/ 305864 h 4687251"/>
              <a:gd name="connsiteX45602" fmla="*/ 4628778 w 8079933"/>
              <a:gd name="connsiteY45602" fmla="*/ 303809 h 4687251"/>
              <a:gd name="connsiteX45603" fmla="*/ 4631165 w 8079933"/>
              <a:gd name="connsiteY45603" fmla="*/ 306623 h 4687251"/>
              <a:gd name="connsiteX45604" fmla="*/ 4636157 w 8079933"/>
              <a:gd name="connsiteY45604" fmla="*/ 308789 h 4687251"/>
              <a:gd name="connsiteX45605" fmla="*/ 4639955 w 8079933"/>
              <a:gd name="connsiteY45605" fmla="*/ 308139 h 4687251"/>
              <a:gd name="connsiteX45606" fmla="*/ 4644513 w 8079933"/>
              <a:gd name="connsiteY45606" fmla="*/ 310305 h 4687251"/>
              <a:gd name="connsiteX45607" fmla="*/ 4648419 w 8079933"/>
              <a:gd name="connsiteY45607" fmla="*/ 307922 h 4687251"/>
              <a:gd name="connsiteX45608" fmla="*/ 4651892 w 8079933"/>
              <a:gd name="connsiteY45608" fmla="*/ 302941 h 4687251"/>
              <a:gd name="connsiteX45609" fmla="*/ 4655364 w 8079933"/>
              <a:gd name="connsiteY45609" fmla="*/ 302076 h 4687251"/>
              <a:gd name="connsiteX45610" fmla="*/ 4656992 w 8079933"/>
              <a:gd name="connsiteY45610" fmla="*/ 298827 h 4687251"/>
              <a:gd name="connsiteX45611" fmla="*/ 4656341 w 8079933"/>
              <a:gd name="connsiteY45611" fmla="*/ 293739 h 4687251"/>
              <a:gd name="connsiteX45612" fmla="*/ 4659814 w 8079933"/>
              <a:gd name="connsiteY45612" fmla="*/ 290383 h 4687251"/>
              <a:gd name="connsiteX45613" fmla="*/ 4663395 w 8079933"/>
              <a:gd name="connsiteY45613" fmla="*/ 289083 h 4687251"/>
              <a:gd name="connsiteX45614" fmla="*/ 4663612 w 8079933"/>
              <a:gd name="connsiteY45614" fmla="*/ 286161 h 4687251"/>
              <a:gd name="connsiteX45615" fmla="*/ 4661333 w 8079933"/>
              <a:gd name="connsiteY45615" fmla="*/ 285185 h 4687251"/>
              <a:gd name="connsiteX45616" fmla="*/ 4657643 w 8079933"/>
              <a:gd name="connsiteY45616" fmla="*/ 285944 h 4687251"/>
              <a:gd name="connsiteX45617" fmla="*/ 4656015 w 8079933"/>
              <a:gd name="connsiteY45617" fmla="*/ 284645 h 4687251"/>
              <a:gd name="connsiteX45618" fmla="*/ 4656015 w 8079933"/>
              <a:gd name="connsiteY45618" fmla="*/ 280313 h 4687251"/>
              <a:gd name="connsiteX45619" fmla="*/ 4659814 w 8079933"/>
              <a:gd name="connsiteY45619" fmla="*/ 278797 h 4687251"/>
              <a:gd name="connsiteX45620" fmla="*/ 4662092 w 8079933"/>
              <a:gd name="connsiteY45620" fmla="*/ 273060 h 4687251"/>
              <a:gd name="connsiteX45621" fmla="*/ 4663720 w 8079933"/>
              <a:gd name="connsiteY45621" fmla="*/ 271110 h 4687251"/>
              <a:gd name="connsiteX45622" fmla="*/ 4664913 w 8079933"/>
              <a:gd name="connsiteY45622" fmla="*/ 273601 h 4687251"/>
              <a:gd name="connsiteX45623" fmla="*/ 4663937 w 8079933"/>
              <a:gd name="connsiteY45623" fmla="*/ 278256 h 4687251"/>
              <a:gd name="connsiteX45624" fmla="*/ 4664371 w 8079933"/>
              <a:gd name="connsiteY45624" fmla="*/ 280421 h 4687251"/>
              <a:gd name="connsiteX45625" fmla="*/ 4665999 w 8079933"/>
              <a:gd name="connsiteY45625" fmla="*/ 279880 h 4687251"/>
              <a:gd name="connsiteX45626" fmla="*/ 4668820 w 8079933"/>
              <a:gd name="connsiteY45626" fmla="*/ 273384 h 4687251"/>
              <a:gd name="connsiteX45627" fmla="*/ 3671009 w 8079933"/>
              <a:gd name="connsiteY45627" fmla="*/ 261257 h 4687251"/>
              <a:gd name="connsiteX45628" fmla="*/ 3672637 w 8079933"/>
              <a:gd name="connsiteY45628" fmla="*/ 263207 h 4687251"/>
              <a:gd name="connsiteX45629" fmla="*/ 3672637 w 8079933"/>
              <a:gd name="connsiteY45629" fmla="*/ 271218 h 4687251"/>
              <a:gd name="connsiteX45630" fmla="*/ 3671552 w 8079933"/>
              <a:gd name="connsiteY45630" fmla="*/ 274575 h 4687251"/>
              <a:gd name="connsiteX45631" fmla="*/ 3669598 w 8079933"/>
              <a:gd name="connsiteY45631" fmla="*/ 273925 h 4687251"/>
              <a:gd name="connsiteX45632" fmla="*/ 3667103 w 8079933"/>
              <a:gd name="connsiteY45632" fmla="*/ 268078 h 4687251"/>
              <a:gd name="connsiteX45633" fmla="*/ 3668188 w 8079933"/>
              <a:gd name="connsiteY45633" fmla="*/ 263531 h 4687251"/>
              <a:gd name="connsiteX45634" fmla="*/ 2300878 w 8079933"/>
              <a:gd name="connsiteY45634" fmla="*/ 256275 h 4687251"/>
              <a:gd name="connsiteX45635" fmla="*/ 2305001 w 8079933"/>
              <a:gd name="connsiteY45635" fmla="*/ 256384 h 4687251"/>
              <a:gd name="connsiteX45636" fmla="*/ 2302180 w 8079933"/>
              <a:gd name="connsiteY45636" fmla="*/ 258332 h 4687251"/>
              <a:gd name="connsiteX45637" fmla="*/ 2301312 w 8079933"/>
              <a:gd name="connsiteY45637" fmla="*/ 261364 h 4687251"/>
              <a:gd name="connsiteX45638" fmla="*/ 2296320 w 8079933"/>
              <a:gd name="connsiteY45638" fmla="*/ 264505 h 4687251"/>
              <a:gd name="connsiteX45639" fmla="*/ 2293933 w 8079933"/>
              <a:gd name="connsiteY45639" fmla="*/ 263855 h 4687251"/>
              <a:gd name="connsiteX45640" fmla="*/ 2294801 w 8079933"/>
              <a:gd name="connsiteY45640" fmla="*/ 259308 h 4687251"/>
              <a:gd name="connsiteX45641" fmla="*/ 4781894 w 8079933"/>
              <a:gd name="connsiteY45641" fmla="*/ 250756 h 4687251"/>
              <a:gd name="connsiteX45642" fmla="*/ 4783955 w 8079933"/>
              <a:gd name="connsiteY45642" fmla="*/ 251188 h 4687251"/>
              <a:gd name="connsiteX45643" fmla="*/ 4786451 w 8079933"/>
              <a:gd name="connsiteY45643" fmla="*/ 255194 h 4687251"/>
              <a:gd name="connsiteX45644" fmla="*/ 4786994 w 8079933"/>
              <a:gd name="connsiteY45644" fmla="*/ 258443 h 4687251"/>
              <a:gd name="connsiteX45645" fmla="*/ 4785150 w 8079933"/>
              <a:gd name="connsiteY45645" fmla="*/ 259633 h 4687251"/>
              <a:gd name="connsiteX45646" fmla="*/ 4784498 w 8079933"/>
              <a:gd name="connsiteY45646" fmla="*/ 262882 h 4687251"/>
              <a:gd name="connsiteX45647" fmla="*/ 4782110 w 8079933"/>
              <a:gd name="connsiteY45647" fmla="*/ 264722 h 4687251"/>
              <a:gd name="connsiteX45648" fmla="*/ 4777879 w 8079933"/>
              <a:gd name="connsiteY45648" fmla="*/ 264722 h 4687251"/>
              <a:gd name="connsiteX45649" fmla="*/ 4776034 w 8079933"/>
              <a:gd name="connsiteY45649" fmla="*/ 263314 h 4687251"/>
              <a:gd name="connsiteX45650" fmla="*/ 4776143 w 8079933"/>
              <a:gd name="connsiteY45650" fmla="*/ 260067 h 4687251"/>
              <a:gd name="connsiteX45651" fmla="*/ 4777879 w 8079933"/>
              <a:gd name="connsiteY45651" fmla="*/ 258118 h 4687251"/>
              <a:gd name="connsiteX45652" fmla="*/ 4779506 w 8079933"/>
              <a:gd name="connsiteY45652" fmla="*/ 252813 h 4687251"/>
              <a:gd name="connsiteX45653" fmla="*/ 4725139 w 8079933"/>
              <a:gd name="connsiteY45653" fmla="*/ 249456 h 4687251"/>
              <a:gd name="connsiteX45654" fmla="*/ 4736316 w 8079933"/>
              <a:gd name="connsiteY45654" fmla="*/ 249674 h 4687251"/>
              <a:gd name="connsiteX45655" fmla="*/ 4740223 w 8079933"/>
              <a:gd name="connsiteY45655" fmla="*/ 251730 h 4687251"/>
              <a:gd name="connsiteX45656" fmla="*/ 4746300 w 8079933"/>
              <a:gd name="connsiteY45656" fmla="*/ 251514 h 4687251"/>
              <a:gd name="connsiteX45657" fmla="*/ 4749230 w 8079933"/>
              <a:gd name="connsiteY45657" fmla="*/ 253788 h 4687251"/>
              <a:gd name="connsiteX45658" fmla="*/ 4751617 w 8079933"/>
              <a:gd name="connsiteY45658" fmla="*/ 254004 h 4687251"/>
              <a:gd name="connsiteX45659" fmla="*/ 4758996 w 8079933"/>
              <a:gd name="connsiteY45659" fmla="*/ 259525 h 4687251"/>
              <a:gd name="connsiteX45660" fmla="*/ 4766484 w 8079933"/>
              <a:gd name="connsiteY45660" fmla="*/ 261908 h 4687251"/>
              <a:gd name="connsiteX45661" fmla="*/ 4770607 w 8079933"/>
              <a:gd name="connsiteY45661" fmla="*/ 261908 h 4687251"/>
              <a:gd name="connsiteX45662" fmla="*/ 4773863 w 8079933"/>
              <a:gd name="connsiteY45662" fmla="*/ 266563 h 4687251"/>
              <a:gd name="connsiteX45663" fmla="*/ 4772778 w 8079933"/>
              <a:gd name="connsiteY45663" fmla="*/ 273168 h 4687251"/>
              <a:gd name="connsiteX45664" fmla="*/ 4770607 w 8079933"/>
              <a:gd name="connsiteY45664" fmla="*/ 274467 h 4687251"/>
              <a:gd name="connsiteX45665" fmla="*/ 4765941 w 8079933"/>
              <a:gd name="connsiteY45665" fmla="*/ 272843 h 4687251"/>
              <a:gd name="connsiteX45666" fmla="*/ 4759756 w 8079933"/>
              <a:gd name="connsiteY45666" fmla="*/ 270136 h 4687251"/>
              <a:gd name="connsiteX45667" fmla="*/ 4754221 w 8079933"/>
              <a:gd name="connsiteY45667" fmla="*/ 271219 h 4687251"/>
              <a:gd name="connsiteX45668" fmla="*/ 4748470 w 8079933"/>
              <a:gd name="connsiteY45668" fmla="*/ 269810 h 4687251"/>
              <a:gd name="connsiteX45669" fmla="*/ 4745974 w 8079933"/>
              <a:gd name="connsiteY45669" fmla="*/ 264614 h 4687251"/>
              <a:gd name="connsiteX45670" fmla="*/ 4743370 w 8079933"/>
              <a:gd name="connsiteY45670" fmla="*/ 265697 h 4687251"/>
              <a:gd name="connsiteX45671" fmla="*/ 4740766 w 8079933"/>
              <a:gd name="connsiteY45671" fmla="*/ 265480 h 4687251"/>
              <a:gd name="connsiteX45672" fmla="*/ 4738921 w 8079933"/>
              <a:gd name="connsiteY45672" fmla="*/ 261366 h 4687251"/>
              <a:gd name="connsiteX45673" fmla="*/ 4735123 w 8079933"/>
              <a:gd name="connsiteY45673" fmla="*/ 257901 h 4687251"/>
              <a:gd name="connsiteX45674" fmla="*/ 4732844 w 8079933"/>
              <a:gd name="connsiteY45674" fmla="*/ 258226 h 4687251"/>
              <a:gd name="connsiteX45675" fmla="*/ 4730240 w 8079933"/>
              <a:gd name="connsiteY45675" fmla="*/ 261582 h 4687251"/>
              <a:gd name="connsiteX45676" fmla="*/ 4723512 w 8079933"/>
              <a:gd name="connsiteY45676" fmla="*/ 259092 h 4687251"/>
              <a:gd name="connsiteX45677" fmla="*/ 4720473 w 8079933"/>
              <a:gd name="connsiteY45677" fmla="*/ 257252 h 4687251"/>
              <a:gd name="connsiteX45678" fmla="*/ 4721016 w 8079933"/>
              <a:gd name="connsiteY45678" fmla="*/ 255194 h 4687251"/>
              <a:gd name="connsiteX45679" fmla="*/ 4719931 w 8079933"/>
              <a:gd name="connsiteY45679" fmla="*/ 251081 h 4687251"/>
              <a:gd name="connsiteX45680" fmla="*/ 4665238 w 8079933"/>
              <a:gd name="connsiteY45680" fmla="*/ 248266 h 4687251"/>
              <a:gd name="connsiteX45681" fmla="*/ 4667191 w 8079933"/>
              <a:gd name="connsiteY45681" fmla="*/ 248266 h 4687251"/>
              <a:gd name="connsiteX45682" fmla="*/ 4667191 w 8079933"/>
              <a:gd name="connsiteY45682" fmla="*/ 252705 h 4687251"/>
              <a:gd name="connsiteX45683" fmla="*/ 4669362 w 8079933"/>
              <a:gd name="connsiteY45683" fmla="*/ 255412 h 4687251"/>
              <a:gd name="connsiteX45684" fmla="*/ 4668386 w 8079933"/>
              <a:gd name="connsiteY45684" fmla="*/ 258876 h 4687251"/>
              <a:gd name="connsiteX45685" fmla="*/ 4662200 w 8079933"/>
              <a:gd name="connsiteY45685" fmla="*/ 258876 h 4687251"/>
              <a:gd name="connsiteX45686" fmla="*/ 4661115 w 8079933"/>
              <a:gd name="connsiteY45686" fmla="*/ 257578 h 4687251"/>
              <a:gd name="connsiteX45687" fmla="*/ 4662092 w 8079933"/>
              <a:gd name="connsiteY45687" fmla="*/ 252271 h 4687251"/>
              <a:gd name="connsiteX45688" fmla="*/ 5635919 w 8079933"/>
              <a:gd name="connsiteY45688" fmla="*/ 245018 h 4687251"/>
              <a:gd name="connsiteX45689" fmla="*/ 5639174 w 8079933"/>
              <a:gd name="connsiteY45689" fmla="*/ 245884 h 4687251"/>
              <a:gd name="connsiteX45690" fmla="*/ 5641020 w 8079933"/>
              <a:gd name="connsiteY45690" fmla="*/ 251405 h 4687251"/>
              <a:gd name="connsiteX45691" fmla="*/ 5638415 w 8079933"/>
              <a:gd name="connsiteY45691" fmla="*/ 256060 h 4687251"/>
              <a:gd name="connsiteX45692" fmla="*/ 5635160 w 8079933"/>
              <a:gd name="connsiteY45692" fmla="*/ 253138 h 4687251"/>
              <a:gd name="connsiteX45693" fmla="*/ 5632664 w 8079933"/>
              <a:gd name="connsiteY45693" fmla="*/ 256060 h 4687251"/>
              <a:gd name="connsiteX45694" fmla="*/ 5626262 w 8079933"/>
              <a:gd name="connsiteY45694" fmla="*/ 256927 h 4687251"/>
              <a:gd name="connsiteX45695" fmla="*/ 5619208 w 8079933"/>
              <a:gd name="connsiteY45695" fmla="*/ 256385 h 4687251"/>
              <a:gd name="connsiteX45696" fmla="*/ 5618991 w 8079933"/>
              <a:gd name="connsiteY45696" fmla="*/ 253678 h 4687251"/>
              <a:gd name="connsiteX45697" fmla="*/ 5621270 w 8079933"/>
              <a:gd name="connsiteY45697" fmla="*/ 250214 h 4687251"/>
              <a:gd name="connsiteX45698" fmla="*/ 5627456 w 8079933"/>
              <a:gd name="connsiteY45698" fmla="*/ 250864 h 4687251"/>
              <a:gd name="connsiteX45699" fmla="*/ 5630168 w 8079933"/>
              <a:gd name="connsiteY45699" fmla="*/ 246209 h 4687251"/>
              <a:gd name="connsiteX45700" fmla="*/ 5634292 w 8079933"/>
              <a:gd name="connsiteY45700" fmla="*/ 246425 h 4687251"/>
              <a:gd name="connsiteX45701" fmla="*/ 3666778 w 8079933"/>
              <a:gd name="connsiteY45701" fmla="*/ 245017 h 4687251"/>
              <a:gd name="connsiteX45702" fmla="*/ 3668731 w 8079933"/>
              <a:gd name="connsiteY45702" fmla="*/ 247074 h 4687251"/>
              <a:gd name="connsiteX45703" fmla="*/ 3668405 w 8079933"/>
              <a:gd name="connsiteY45703" fmla="*/ 251512 h 4687251"/>
              <a:gd name="connsiteX45704" fmla="*/ 3667103 w 8079933"/>
              <a:gd name="connsiteY45704" fmla="*/ 253137 h 4687251"/>
              <a:gd name="connsiteX45705" fmla="*/ 3666560 w 8079933"/>
              <a:gd name="connsiteY45705" fmla="*/ 258550 h 4687251"/>
              <a:gd name="connsiteX45706" fmla="*/ 3662979 w 8079933"/>
              <a:gd name="connsiteY45706" fmla="*/ 261798 h 4687251"/>
              <a:gd name="connsiteX45707" fmla="*/ 3661460 w 8079933"/>
              <a:gd name="connsiteY45707" fmla="*/ 260174 h 4687251"/>
              <a:gd name="connsiteX45708" fmla="*/ 3661677 w 8079933"/>
              <a:gd name="connsiteY45708" fmla="*/ 254652 h 4687251"/>
              <a:gd name="connsiteX45709" fmla="*/ 3660592 w 8079933"/>
              <a:gd name="connsiteY45709" fmla="*/ 251080 h 4687251"/>
              <a:gd name="connsiteX45710" fmla="*/ 3663522 w 8079933"/>
              <a:gd name="connsiteY45710" fmla="*/ 246099 h 4687251"/>
              <a:gd name="connsiteX45711" fmla="*/ 2402124 w 8079933"/>
              <a:gd name="connsiteY45711" fmla="*/ 242851 h 4687251"/>
              <a:gd name="connsiteX45712" fmla="*/ 2406790 w 8079933"/>
              <a:gd name="connsiteY45712" fmla="*/ 242959 h 4687251"/>
              <a:gd name="connsiteX45713" fmla="*/ 2412650 w 8079933"/>
              <a:gd name="connsiteY45713" fmla="*/ 250429 h 4687251"/>
              <a:gd name="connsiteX45714" fmla="*/ 2414712 w 8079933"/>
              <a:gd name="connsiteY45714" fmla="*/ 255734 h 4687251"/>
              <a:gd name="connsiteX45715" fmla="*/ 2414170 w 8079933"/>
              <a:gd name="connsiteY45715" fmla="*/ 259308 h 4687251"/>
              <a:gd name="connsiteX45716" fmla="*/ 2415580 w 8079933"/>
              <a:gd name="connsiteY45716" fmla="*/ 262448 h 4687251"/>
              <a:gd name="connsiteX45717" fmla="*/ 2418293 w 8079933"/>
              <a:gd name="connsiteY45717" fmla="*/ 263422 h 4687251"/>
              <a:gd name="connsiteX45718" fmla="*/ 2418618 w 8079933"/>
              <a:gd name="connsiteY45718" fmla="*/ 268619 h 4687251"/>
              <a:gd name="connsiteX45719" fmla="*/ 2421440 w 8079933"/>
              <a:gd name="connsiteY45719" fmla="*/ 270026 h 4687251"/>
              <a:gd name="connsiteX45720" fmla="*/ 2421766 w 8079933"/>
              <a:gd name="connsiteY45720" fmla="*/ 272625 h 4687251"/>
              <a:gd name="connsiteX45721" fmla="*/ 2424044 w 8079933"/>
              <a:gd name="connsiteY45721" fmla="*/ 277930 h 4687251"/>
              <a:gd name="connsiteX45722" fmla="*/ 2428710 w 8079933"/>
              <a:gd name="connsiteY45722" fmla="*/ 278363 h 4687251"/>
              <a:gd name="connsiteX45723" fmla="*/ 2428710 w 8079933"/>
              <a:gd name="connsiteY45723" fmla="*/ 280638 h 4687251"/>
              <a:gd name="connsiteX45724" fmla="*/ 2430772 w 8079933"/>
              <a:gd name="connsiteY45724" fmla="*/ 284752 h 4687251"/>
              <a:gd name="connsiteX45725" fmla="*/ 2432834 w 8079933"/>
              <a:gd name="connsiteY45725" fmla="*/ 293846 h 4687251"/>
              <a:gd name="connsiteX45726" fmla="*/ 2427951 w 8079933"/>
              <a:gd name="connsiteY45726" fmla="*/ 297528 h 4687251"/>
              <a:gd name="connsiteX45727" fmla="*/ 2425238 w 8079933"/>
              <a:gd name="connsiteY45727" fmla="*/ 300235 h 4687251"/>
              <a:gd name="connsiteX45728" fmla="*/ 2420898 w 8079933"/>
              <a:gd name="connsiteY45728" fmla="*/ 300018 h 4687251"/>
              <a:gd name="connsiteX45729" fmla="*/ 2418185 w 8079933"/>
              <a:gd name="connsiteY45729" fmla="*/ 301425 h 4687251"/>
              <a:gd name="connsiteX45730" fmla="*/ 2420246 w 8079933"/>
              <a:gd name="connsiteY45730" fmla="*/ 303483 h 4687251"/>
              <a:gd name="connsiteX45731" fmla="*/ 2422851 w 8079933"/>
              <a:gd name="connsiteY45731" fmla="*/ 303699 h 4687251"/>
              <a:gd name="connsiteX45732" fmla="*/ 2424044 w 8079933"/>
              <a:gd name="connsiteY45732" fmla="*/ 311061 h 4687251"/>
              <a:gd name="connsiteX45733" fmla="*/ 2423176 w 8079933"/>
              <a:gd name="connsiteY45733" fmla="*/ 315501 h 4687251"/>
              <a:gd name="connsiteX45734" fmla="*/ 2414929 w 8079933"/>
              <a:gd name="connsiteY45734" fmla="*/ 321022 h 4687251"/>
              <a:gd name="connsiteX45735" fmla="*/ 2412433 w 8079933"/>
              <a:gd name="connsiteY45735" fmla="*/ 323513 h 4687251"/>
              <a:gd name="connsiteX45736" fmla="*/ 2409503 w 8079933"/>
              <a:gd name="connsiteY45736" fmla="*/ 322971 h 4687251"/>
              <a:gd name="connsiteX45737" fmla="*/ 2409177 w 8079933"/>
              <a:gd name="connsiteY45737" fmla="*/ 319183 h 4687251"/>
              <a:gd name="connsiteX45738" fmla="*/ 2407007 w 8079933"/>
              <a:gd name="connsiteY45738" fmla="*/ 317450 h 4687251"/>
              <a:gd name="connsiteX45739" fmla="*/ 2401473 w 8079933"/>
              <a:gd name="connsiteY45739" fmla="*/ 321348 h 4687251"/>
              <a:gd name="connsiteX45740" fmla="*/ 2397675 w 8079933"/>
              <a:gd name="connsiteY45740" fmla="*/ 319615 h 4687251"/>
              <a:gd name="connsiteX45741" fmla="*/ 2390947 w 8079933"/>
              <a:gd name="connsiteY45741" fmla="*/ 321781 h 4687251"/>
              <a:gd name="connsiteX45742" fmla="*/ 2387474 w 8079933"/>
              <a:gd name="connsiteY45742" fmla="*/ 321348 h 4687251"/>
              <a:gd name="connsiteX45743" fmla="*/ 2386824 w 8079933"/>
              <a:gd name="connsiteY45743" fmla="*/ 316043 h 4687251"/>
              <a:gd name="connsiteX45744" fmla="*/ 2383026 w 8079933"/>
              <a:gd name="connsiteY45744" fmla="*/ 315718 h 4687251"/>
              <a:gd name="connsiteX45745" fmla="*/ 2382158 w 8079933"/>
              <a:gd name="connsiteY45745" fmla="*/ 318965 h 4687251"/>
              <a:gd name="connsiteX45746" fmla="*/ 2377274 w 8079933"/>
              <a:gd name="connsiteY45746" fmla="*/ 320698 h 4687251"/>
              <a:gd name="connsiteX45747" fmla="*/ 2377165 w 8079933"/>
              <a:gd name="connsiteY45747" fmla="*/ 315501 h 4687251"/>
              <a:gd name="connsiteX45748" fmla="*/ 2379878 w 8079933"/>
              <a:gd name="connsiteY45748" fmla="*/ 311928 h 4687251"/>
              <a:gd name="connsiteX45749" fmla="*/ 2377491 w 8079933"/>
              <a:gd name="connsiteY45749" fmla="*/ 309330 h 4687251"/>
              <a:gd name="connsiteX45750" fmla="*/ 2377165 w 8079933"/>
              <a:gd name="connsiteY45750" fmla="*/ 303916 h 4687251"/>
              <a:gd name="connsiteX45751" fmla="*/ 2372825 w 8079933"/>
              <a:gd name="connsiteY45751" fmla="*/ 301317 h 4687251"/>
              <a:gd name="connsiteX45752" fmla="*/ 2374452 w 8079933"/>
              <a:gd name="connsiteY45752" fmla="*/ 298178 h 4687251"/>
              <a:gd name="connsiteX45753" fmla="*/ 2375972 w 8079933"/>
              <a:gd name="connsiteY45753" fmla="*/ 294712 h 4687251"/>
              <a:gd name="connsiteX45754" fmla="*/ 2381506 w 8079933"/>
              <a:gd name="connsiteY45754" fmla="*/ 295471 h 4687251"/>
              <a:gd name="connsiteX45755" fmla="*/ 2386281 w 8079933"/>
              <a:gd name="connsiteY45755" fmla="*/ 299368 h 4687251"/>
              <a:gd name="connsiteX45756" fmla="*/ 2388126 w 8079933"/>
              <a:gd name="connsiteY45756" fmla="*/ 299585 h 4687251"/>
              <a:gd name="connsiteX45757" fmla="*/ 2388668 w 8079933"/>
              <a:gd name="connsiteY45757" fmla="*/ 295579 h 4687251"/>
              <a:gd name="connsiteX45758" fmla="*/ 2383893 w 8079933"/>
              <a:gd name="connsiteY45758" fmla="*/ 288432 h 4687251"/>
              <a:gd name="connsiteX45759" fmla="*/ 2379227 w 8079933"/>
              <a:gd name="connsiteY45759" fmla="*/ 285618 h 4687251"/>
              <a:gd name="connsiteX45760" fmla="*/ 2378359 w 8079933"/>
              <a:gd name="connsiteY45760" fmla="*/ 283020 h 4687251"/>
              <a:gd name="connsiteX45761" fmla="*/ 2383026 w 8079933"/>
              <a:gd name="connsiteY45761" fmla="*/ 282911 h 4687251"/>
              <a:gd name="connsiteX45762" fmla="*/ 2380204 w 8079933"/>
              <a:gd name="connsiteY45762" fmla="*/ 278255 h 4687251"/>
              <a:gd name="connsiteX45763" fmla="*/ 2383242 w 8079933"/>
              <a:gd name="connsiteY45763" fmla="*/ 273817 h 4687251"/>
              <a:gd name="connsiteX45764" fmla="*/ 2383568 w 8079933"/>
              <a:gd name="connsiteY45764" fmla="*/ 266237 h 4687251"/>
              <a:gd name="connsiteX45765" fmla="*/ 2386064 w 8079933"/>
              <a:gd name="connsiteY45765" fmla="*/ 259849 h 4687251"/>
              <a:gd name="connsiteX45766" fmla="*/ 2389428 w 8079933"/>
              <a:gd name="connsiteY45766" fmla="*/ 260174 h 4687251"/>
              <a:gd name="connsiteX45767" fmla="*/ 2392683 w 8079933"/>
              <a:gd name="connsiteY45767" fmla="*/ 257900 h 4687251"/>
              <a:gd name="connsiteX45768" fmla="*/ 2393226 w 8079933"/>
              <a:gd name="connsiteY45768" fmla="*/ 251079 h 4687251"/>
              <a:gd name="connsiteX45769" fmla="*/ 2396265 w 8079933"/>
              <a:gd name="connsiteY45769" fmla="*/ 247830 h 4687251"/>
              <a:gd name="connsiteX45770" fmla="*/ 4747168 w 8079933"/>
              <a:gd name="connsiteY45770" fmla="*/ 240688 h 4687251"/>
              <a:gd name="connsiteX45771" fmla="*/ 4753571 w 8079933"/>
              <a:gd name="connsiteY45771" fmla="*/ 241120 h 4687251"/>
              <a:gd name="connsiteX45772" fmla="*/ 4761276 w 8079933"/>
              <a:gd name="connsiteY45772" fmla="*/ 244694 h 4687251"/>
              <a:gd name="connsiteX45773" fmla="*/ 4768329 w 8079933"/>
              <a:gd name="connsiteY45773" fmla="*/ 251081 h 4687251"/>
              <a:gd name="connsiteX45774" fmla="*/ 4771150 w 8079933"/>
              <a:gd name="connsiteY45774" fmla="*/ 251081 h 4687251"/>
              <a:gd name="connsiteX45775" fmla="*/ 4774080 w 8079933"/>
              <a:gd name="connsiteY45775" fmla="*/ 248483 h 4687251"/>
              <a:gd name="connsiteX45776" fmla="*/ 4775274 w 8079933"/>
              <a:gd name="connsiteY45776" fmla="*/ 249999 h 4687251"/>
              <a:gd name="connsiteX45777" fmla="*/ 4774189 w 8079933"/>
              <a:gd name="connsiteY45777" fmla="*/ 253463 h 4687251"/>
              <a:gd name="connsiteX45778" fmla="*/ 4772778 w 8079933"/>
              <a:gd name="connsiteY45778" fmla="*/ 258984 h 4687251"/>
              <a:gd name="connsiteX45779" fmla="*/ 4769414 w 8079933"/>
              <a:gd name="connsiteY45779" fmla="*/ 260718 h 4687251"/>
              <a:gd name="connsiteX45780" fmla="*/ 4765725 w 8079933"/>
              <a:gd name="connsiteY45780" fmla="*/ 255736 h 4687251"/>
              <a:gd name="connsiteX45781" fmla="*/ 4756501 w 8079933"/>
              <a:gd name="connsiteY45781" fmla="*/ 249024 h 4687251"/>
              <a:gd name="connsiteX45782" fmla="*/ 4748688 w 8079933"/>
              <a:gd name="connsiteY45782" fmla="*/ 245885 h 4687251"/>
              <a:gd name="connsiteX45783" fmla="*/ 4744022 w 8079933"/>
              <a:gd name="connsiteY45783" fmla="*/ 245885 h 4687251"/>
              <a:gd name="connsiteX45784" fmla="*/ 4741309 w 8079933"/>
              <a:gd name="connsiteY45784" fmla="*/ 244044 h 4687251"/>
              <a:gd name="connsiteX45785" fmla="*/ 4742502 w 8079933"/>
              <a:gd name="connsiteY45785" fmla="*/ 242312 h 4687251"/>
              <a:gd name="connsiteX45786" fmla="*/ 5618123 w 8079933"/>
              <a:gd name="connsiteY45786" fmla="*/ 240036 h 4687251"/>
              <a:gd name="connsiteX45787" fmla="*/ 5619317 w 8079933"/>
              <a:gd name="connsiteY45787" fmla="*/ 242851 h 4687251"/>
              <a:gd name="connsiteX45788" fmla="*/ 5616929 w 8079933"/>
              <a:gd name="connsiteY45788" fmla="*/ 243611 h 4687251"/>
              <a:gd name="connsiteX45789" fmla="*/ 5615194 w 8079933"/>
              <a:gd name="connsiteY45789" fmla="*/ 246100 h 4687251"/>
              <a:gd name="connsiteX45790" fmla="*/ 5617147 w 8079933"/>
              <a:gd name="connsiteY45790" fmla="*/ 247399 h 4687251"/>
              <a:gd name="connsiteX45791" fmla="*/ 5616929 w 8079933"/>
              <a:gd name="connsiteY45791" fmla="*/ 249674 h 4687251"/>
              <a:gd name="connsiteX45792" fmla="*/ 5613023 w 8079933"/>
              <a:gd name="connsiteY45792" fmla="*/ 253246 h 4687251"/>
              <a:gd name="connsiteX45793" fmla="*/ 5610419 w 8079933"/>
              <a:gd name="connsiteY45793" fmla="*/ 254112 h 4687251"/>
              <a:gd name="connsiteX45794" fmla="*/ 5608031 w 8079933"/>
              <a:gd name="connsiteY45794" fmla="*/ 252271 h 4687251"/>
              <a:gd name="connsiteX45795" fmla="*/ 5608899 w 8079933"/>
              <a:gd name="connsiteY45795" fmla="*/ 248481 h 4687251"/>
              <a:gd name="connsiteX45796" fmla="*/ 5611612 w 8079933"/>
              <a:gd name="connsiteY45796" fmla="*/ 247616 h 4687251"/>
              <a:gd name="connsiteX45797" fmla="*/ 5611070 w 8079933"/>
              <a:gd name="connsiteY45797" fmla="*/ 245018 h 4687251"/>
              <a:gd name="connsiteX45798" fmla="*/ 5614543 w 8079933"/>
              <a:gd name="connsiteY45798" fmla="*/ 240577 h 4687251"/>
              <a:gd name="connsiteX45799" fmla="*/ 4834308 w 8079933"/>
              <a:gd name="connsiteY45799" fmla="*/ 238629 h 4687251"/>
              <a:gd name="connsiteX45800" fmla="*/ 4836912 w 8079933"/>
              <a:gd name="connsiteY45800" fmla="*/ 244692 h 4687251"/>
              <a:gd name="connsiteX45801" fmla="*/ 4841361 w 8079933"/>
              <a:gd name="connsiteY45801" fmla="*/ 247399 h 4687251"/>
              <a:gd name="connsiteX45802" fmla="*/ 4845593 w 8079933"/>
              <a:gd name="connsiteY45802" fmla="*/ 252596 h 4687251"/>
              <a:gd name="connsiteX45803" fmla="*/ 4845593 w 8079933"/>
              <a:gd name="connsiteY45803" fmla="*/ 255735 h 4687251"/>
              <a:gd name="connsiteX45804" fmla="*/ 4841252 w 8079933"/>
              <a:gd name="connsiteY45804" fmla="*/ 258226 h 4687251"/>
              <a:gd name="connsiteX45805" fmla="*/ 4835718 w 8079933"/>
              <a:gd name="connsiteY45805" fmla="*/ 258443 h 4687251"/>
              <a:gd name="connsiteX45806" fmla="*/ 4831703 w 8079933"/>
              <a:gd name="connsiteY45806" fmla="*/ 261150 h 4687251"/>
              <a:gd name="connsiteX45807" fmla="*/ 4831268 w 8079933"/>
              <a:gd name="connsiteY45807" fmla="*/ 264506 h 4687251"/>
              <a:gd name="connsiteX45808" fmla="*/ 4834199 w 8079933"/>
              <a:gd name="connsiteY45808" fmla="*/ 270354 h 4687251"/>
              <a:gd name="connsiteX45809" fmla="*/ 4839299 w 8079933"/>
              <a:gd name="connsiteY45809" fmla="*/ 272410 h 4687251"/>
              <a:gd name="connsiteX45810" fmla="*/ 4842229 w 8079933"/>
              <a:gd name="connsiteY45810" fmla="*/ 276957 h 4687251"/>
              <a:gd name="connsiteX45811" fmla="*/ 4846027 w 8079933"/>
              <a:gd name="connsiteY45811" fmla="*/ 280638 h 4687251"/>
              <a:gd name="connsiteX45812" fmla="*/ 4846353 w 8079933"/>
              <a:gd name="connsiteY45812" fmla="*/ 283886 h 4687251"/>
              <a:gd name="connsiteX45813" fmla="*/ 4839299 w 8079933"/>
              <a:gd name="connsiteY45813" fmla="*/ 285293 h 4687251"/>
              <a:gd name="connsiteX45814" fmla="*/ 4834850 w 8079933"/>
              <a:gd name="connsiteY45814" fmla="*/ 288325 h 4687251"/>
              <a:gd name="connsiteX45815" fmla="*/ 4828990 w 8079933"/>
              <a:gd name="connsiteY45815" fmla="*/ 288866 h 4687251"/>
              <a:gd name="connsiteX45816" fmla="*/ 4821394 w 8079933"/>
              <a:gd name="connsiteY45816" fmla="*/ 291790 h 4687251"/>
              <a:gd name="connsiteX45817" fmla="*/ 4816945 w 8079933"/>
              <a:gd name="connsiteY45817" fmla="*/ 292007 h 4687251"/>
              <a:gd name="connsiteX45818" fmla="*/ 4811084 w 8079933"/>
              <a:gd name="connsiteY45818" fmla="*/ 283886 h 4687251"/>
              <a:gd name="connsiteX45819" fmla="*/ 4808154 w 8079933"/>
              <a:gd name="connsiteY45819" fmla="*/ 276632 h 4687251"/>
              <a:gd name="connsiteX45820" fmla="*/ 4808480 w 8079933"/>
              <a:gd name="connsiteY45820" fmla="*/ 263424 h 4687251"/>
              <a:gd name="connsiteX45821" fmla="*/ 4806744 w 8079933"/>
              <a:gd name="connsiteY45821" fmla="*/ 258226 h 4687251"/>
              <a:gd name="connsiteX45822" fmla="*/ 4806744 w 8079933"/>
              <a:gd name="connsiteY45822" fmla="*/ 254112 h 4687251"/>
              <a:gd name="connsiteX45823" fmla="*/ 4809890 w 8079933"/>
              <a:gd name="connsiteY45823" fmla="*/ 252596 h 4687251"/>
              <a:gd name="connsiteX45824" fmla="*/ 4812820 w 8079933"/>
              <a:gd name="connsiteY45824" fmla="*/ 255194 h 4687251"/>
              <a:gd name="connsiteX45825" fmla="*/ 4817270 w 8079933"/>
              <a:gd name="connsiteY45825" fmla="*/ 254978 h 4687251"/>
              <a:gd name="connsiteX45826" fmla="*/ 4823781 w 8079933"/>
              <a:gd name="connsiteY45826" fmla="*/ 249456 h 4687251"/>
              <a:gd name="connsiteX45827" fmla="*/ 4827145 w 8079933"/>
              <a:gd name="connsiteY45827" fmla="*/ 249132 h 4687251"/>
              <a:gd name="connsiteX45828" fmla="*/ 4828447 w 8079933"/>
              <a:gd name="connsiteY45828" fmla="*/ 250539 h 4687251"/>
              <a:gd name="connsiteX45829" fmla="*/ 4832788 w 8079933"/>
              <a:gd name="connsiteY45829" fmla="*/ 247075 h 4687251"/>
              <a:gd name="connsiteX45830" fmla="*/ 4832788 w 8079933"/>
              <a:gd name="connsiteY45830" fmla="*/ 241770 h 4687251"/>
              <a:gd name="connsiteX45831" fmla="*/ 2941017 w 8079933"/>
              <a:gd name="connsiteY45831" fmla="*/ 237980 h 4687251"/>
              <a:gd name="connsiteX45832" fmla="*/ 2944381 w 8079933"/>
              <a:gd name="connsiteY45832" fmla="*/ 241335 h 4687251"/>
              <a:gd name="connsiteX45833" fmla="*/ 2943839 w 8079933"/>
              <a:gd name="connsiteY45833" fmla="*/ 246315 h 4687251"/>
              <a:gd name="connsiteX45834" fmla="*/ 2940040 w 8079933"/>
              <a:gd name="connsiteY45834" fmla="*/ 244583 h 4687251"/>
              <a:gd name="connsiteX45835" fmla="*/ 2939389 w 8079933"/>
              <a:gd name="connsiteY45835" fmla="*/ 241119 h 4687251"/>
              <a:gd name="connsiteX45836" fmla="*/ 2936785 w 8079933"/>
              <a:gd name="connsiteY45836" fmla="*/ 238736 h 4687251"/>
              <a:gd name="connsiteX45837" fmla="*/ 3686311 w 8079933"/>
              <a:gd name="connsiteY45837" fmla="*/ 236897 h 4687251"/>
              <a:gd name="connsiteX45838" fmla="*/ 3687070 w 8079933"/>
              <a:gd name="connsiteY45838" fmla="*/ 241444 h 4687251"/>
              <a:gd name="connsiteX45839" fmla="*/ 3686311 w 8079933"/>
              <a:gd name="connsiteY45839" fmla="*/ 244151 h 4687251"/>
              <a:gd name="connsiteX45840" fmla="*/ 3687070 w 8079933"/>
              <a:gd name="connsiteY45840" fmla="*/ 251730 h 4687251"/>
              <a:gd name="connsiteX45841" fmla="*/ 3686202 w 8079933"/>
              <a:gd name="connsiteY45841" fmla="*/ 256710 h 4687251"/>
              <a:gd name="connsiteX45842" fmla="*/ 3683923 w 8079933"/>
              <a:gd name="connsiteY45842" fmla="*/ 258552 h 4687251"/>
              <a:gd name="connsiteX45843" fmla="*/ 3681536 w 8079933"/>
              <a:gd name="connsiteY45843" fmla="*/ 251730 h 4687251"/>
              <a:gd name="connsiteX45844" fmla="*/ 3683272 w 8079933"/>
              <a:gd name="connsiteY45844" fmla="*/ 247399 h 4687251"/>
              <a:gd name="connsiteX45845" fmla="*/ 3683163 w 8079933"/>
              <a:gd name="connsiteY45845" fmla="*/ 243176 h 4687251"/>
              <a:gd name="connsiteX45846" fmla="*/ 3682078 w 8079933"/>
              <a:gd name="connsiteY45846" fmla="*/ 241553 h 4687251"/>
              <a:gd name="connsiteX45847" fmla="*/ 3682513 w 8079933"/>
              <a:gd name="connsiteY45847" fmla="*/ 238629 h 4687251"/>
              <a:gd name="connsiteX45848" fmla="*/ 4768872 w 8079933"/>
              <a:gd name="connsiteY45848" fmla="*/ 234516 h 4687251"/>
              <a:gd name="connsiteX45849" fmla="*/ 4770717 w 8079933"/>
              <a:gd name="connsiteY45849" fmla="*/ 234516 h 4687251"/>
              <a:gd name="connsiteX45850" fmla="*/ 4772453 w 8079933"/>
              <a:gd name="connsiteY45850" fmla="*/ 237981 h 4687251"/>
              <a:gd name="connsiteX45851" fmla="*/ 4777879 w 8079933"/>
              <a:gd name="connsiteY45851" fmla="*/ 237765 h 4687251"/>
              <a:gd name="connsiteX45852" fmla="*/ 4781243 w 8079933"/>
              <a:gd name="connsiteY45852" fmla="*/ 240688 h 4687251"/>
              <a:gd name="connsiteX45853" fmla="*/ 4780809 w 8079933"/>
              <a:gd name="connsiteY45853" fmla="*/ 245235 h 4687251"/>
              <a:gd name="connsiteX45854" fmla="*/ 4776143 w 8079933"/>
              <a:gd name="connsiteY45854" fmla="*/ 246534 h 4687251"/>
              <a:gd name="connsiteX45855" fmla="*/ 4768872 w 8079933"/>
              <a:gd name="connsiteY45855" fmla="*/ 242095 h 4687251"/>
              <a:gd name="connsiteX45856" fmla="*/ 4767136 w 8079933"/>
              <a:gd name="connsiteY45856" fmla="*/ 237656 h 4687251"/>
              <a:gd name="connsiteX45857" fmla="*/ 6190549 w 8079933"/>
              <a:gd name="connsiteY45857" fmla="*/ 233218 h 4687251"/>
              <a:gd name="connsiteX45858" fmla="*/ 6193262 w 8079933"/>
              <a:gd name="connsiteY45858" fmla="*/ 234191 h 4687251"/>
              <a:gd name="connsiteX45859" fmla="*/ 6197385 w 8079933"/>
              <a:gd name="connsiteY45859" fmla="*/ 237439 h 4687251"/>
              <a:gd name="connsiteX45860" fmla="*/ 6201401 w 8079933"/>
              <a:gd name="connsiteY45860" fmla="*/ 243611 h 4687251"/>
              <a:gd name="connsiteX45861" fmla="*/ 6209865 w 8079933"/>
              <a:gd name="connsiteY45861" fmla="*/ 244368 h 4687251"/>
              <a:gd name="connsiteX45862" fmla="*/ 6213989 w 8079933"/>
              <a:gd name="connsiteY45862" fmla="*/ 247399 h 4687251"/>
              <a:gd name="connsiteX45863" fmla="*/ 6215182 w 8079933"/>
              <a:gd name="connsiteY45863" fmla="*/ 253246 h 4687251"/>
              <a:gd name="connsiteX45864" fmla="*/ 6220174 w 8079933"/>
              <a:gd name="connsiteY45864" fmla="*/ 264831 h 4687251"/>
              <a:gd name="connsiteX45865" fmla="*/ 6220500 w 8079933"/>
              <a:gd name="connsiteY45865" fmla="*/ 270354 h 4687251"/>
              <a:gd name="connsiteX45866" fmla="*/ 6217787 w 8079933"/>
              <a:gd name="connsiteY45866" fmla="*/ 272193 h 4687251"/>
              <a:gd name="connsiteX45867" fmla="*/ 6213229 w 8079933"/>
              <a:gd name="connsiteY45867" fmla="*/ 269920 h 4687251"/>
              <a:gd name="connsiteX45868" fmla="*/ 6209539 w 8079933"/>
              <a:gd name="connsiteY45868" fmla="*/ 260175 h 4687251"/>
              <a:gd name="connsiteX45869" fmla="*/ 6202811 w 8079933"/>
              <a:gd name="connsiteY45869" fmla="*/ 250324 h 4687251"/>
              <a:gd name="connsiteX45870" fmla="*/ 6196084 w 8079933"/>
              <a:gd name="connsiteY45870" fmla="*/ 244043 h 4687251"/>
              <a:gd name="connsiteX45871" fmla="*/ 6191526 w 8079933"/>
              <a:gd name="connsiteY45871" fmla="*/ 237006 h 4687251"/>
              <a:gd name="connsiteX45872" fmla="*/ 4817813 w 8079933"/>
              <a:gd name="connsiteY45872" fmla="*/ 229969 h 4687251"/>
              <a:gd name="connsiteX45873" fmla="*/ 4822154 w 8079933"/>
              <a:gd name="connsiteY45873" fmla="*/ 230401 h 4687251"/>
              <a:gd name="connsiteX45874" fmla="*/ 4824216 w 8079933"/>
              <a:gd name="connsiteY45874" fmla="*/ 233975 h 4687251"/>
              <a:gd name="connsiteX45875" fmla="*/ 4827688 w 8079933"/>
              <a:gd name="connsiteY45875" fmla="*/ 236573 h 4687251"/>
              <a:gd name="connsiteX45876" fmla="*/ 4827580 w 8079933"/>
              <a:gd name="connsiteY45876" fmla="*/ 238847 h 4687251"/>
              <a:gd name="connsiteX45877" fmla="*/ 4825084 w 8079933"/>
              <a:gd name="connsiteY45877" fmla="*/ 241012 h 4687251"/>
              <a:gd name="connsiteX45878" fmla="*/ 4822588 w 8079933"/>
              <a:gd name="connsiteY45878" fmla="*/ 246751 h 4687251"/>
              <a:gd name="connsiteX45879" fmla="*/ 4817379 w 8079933"/>
              <a:gd name="connsiteY45879" fmla="*/ 248699 h 4687251"/>
              <a:gd name="connsiteX45880" fmla="*/ 4812387 w 8079933"/>
              <a:gd name="connsiteY45880" fmla="*/ 247508 h 4687251"/>
              <a:gd name="connsiteX45881" fmla="*/ 4804357 w 8079933"/>
              <a:gd name="connsiteY45881" fmla="*/ 241878 h 4687251"/>
              <a:gd name="connsiteX45882" fmla="*/ 4803489 w 8079933"/>
              <a:gd name="connsiteY45882" fmla="*/ 239171 h 4687251"/>
              <a:gd name="connsiteX45883" fmla="*/ 4805225 w 8079933"/>
              <a:gd name="connsiteY45883" fmla="*/ 235923 h 4687251"/>
              <a:gd name="connsiteX45884" fmla="*/ 4811410 w 8079933"/>
              <a:gd name="connsiteY45884" fmla="*/ 232134 h 4687251"/>
              <a:gd name="connsiteX45885" fmla="*/ 4759864 w 8079933"/>
              <a:gd name="connsiteY45885" fmla="*/ 226829 h 4687251"/>
              <a:gd name="connsiteX45886" fmla="*/ 4763879 w 8079933"/>
              <a:gd name="connsiteY45886" fmla="*/ 230943 h 4687251"/>
              <a:gd name="connsiteX45887" fmla="*/ 4762685 w 8079933"/>
              <a:gd name="connsiteY45887" fmla="*/ 233325 h 4687251"/>
              <a:gd name="connsiteX45888" fmla="*/ 4761926 w 8079933"/>
              <a:gd name="connsiteY45888" fmla="*/ 237439 h 4687251"/>
              <a:gd name="connsiteX45889" fmla="*/ 4757368 w 8079933"/>
              <a:gd name="connsiteY45889" fmla="*/ 237114 h 4687251"/>
              <a:gd name="connsiteX45890" fmla="*/ 4754872 w 8079933"/>
              <a:gd name="connsiteY45890" fmla="*/ 239064 h 4687251"/>
              <a:gd name="connsiteX45891" fmla="*/ 4751617 w 8079933"/>
              <a:gd name="connsiteY45891" fmla="*/ 237331 h 4687251"/>
              <a:gd name="connsiteX45892" fmla="*/ 4754221 w 8079933"/>
              <a:gd name="connsiteY45892" fmla="*/ 233218 h 4687251"/>
              <a:gd name="connsiteX45893" fmla="*/ 4758670 w 8079933"/>
              <a:gd name="connsiteY45893" fmla="*/ 230077 h 4687251"/>
              <a:gd name="connsiteX45894" fmla="*/ 2049444 w 8079933"/>
              <a:gd name="connsiteY45894" fmla="*/ 225960 h 4687251"/>
              <a:gd name="connsiteX45895" fmla="*/ 2051831 w 8079933"/>
              <a:gd name="connsiteY45895" fmla="*/ 227152 h 4687251"/>
              <a:gd name="connsiteX45896" fmla="*/ 2052916 w 8079933"/>
              <a:gd name="connsiteY45896" fmla="*/ 232997 h 4687251"/>
              <a:gd name="connsiteX45897" fmla="*/ 2053893 w 8079933"/>
              <a:gd name="connsiteY45897" fmla="*/ 235272 h 4687251"/>
              <a:gd name="connsiteX45898" fmla="*/ 2052374 w 8079933"/>
              <a:gd name="connsiteY45898" fmla="*/ 237653 h 4687251"/>
              <a:gd name="connsiteX45899" fmla="*/ 2053242 w 8079933"/>
              <a:gd name="connsiteY45899" fmla="*/ 247181 h 4687251"/>
              <a:gd name="connsiteX45900" fmla="*/ 2054110 w 8079933"/>
              <a:gd name="connsiteY45900" fmla="*/ 250863 h 4687251"/>
              <a:gd name="connsiteX45901" fmla="*/ 2050095 w 8079933"/>
              <a:gd name="connsiteY45901" fmla="*/ 256060 h 4687251"/>
              <a:gd name="connsiteX45902" fmla="*/ 2047056 w 8079933"/>
              <a:gd name="connsiteY45902" fmla="*/ 256601 h 4687251"/>
              <a:gd name="connsiteX45903" fmla="*/ 2044127 w 8079933"/>
              <a:gd name="connsiteY45903" fmla="*/ 255085 h 4687251"/>
              <a:gd name="connsiteX45904" fmla="*/ 2039352 w 8079933"/>
              <a:gd name="connsiteY45904" fmla="*/ 257576 h 4687251"/>
              <a:gd name="connsiteX45905" fmla="*/ 2034686 w 8079933"/>
              <a:gd name="connsiteY45905" fmla="*/ 257900 h 4687251"/>
              <a:gd name="connsiteX45906" fmla="*/ 2029694 w 8079933"/>
              <a:gd name="connsiteY45906" fmla="*/ 262448 h 4687251"/>
              <a:gd name="connsiteX45907" fmla="*/ 2029477 w 8079933"/>
              <a:gd name="connsiteY45907" fmla="*/ 265479 h 4687251"/>
              <a:gd name="connsiteX45908" fmla="*/ 2033926 w 8079933"/>
              <a:gd name="connsiteY45908" fmla="*/ 272625 h 4687251"/>
              <a:gd name="connsiteX45909" fmla="*/ 2034252 w 8079933"/>
              <a:gd name="connsiteY45909" fmla="*/ 275656 h 4687251"/>
              <a:gd name="connsiteX45910" fmla="*/ 2032624 w 8079933"/>
              <a:gd name="connsiteY45910" fmla="*/ 277713 h 4687251"/>
              <a:gd name="connsiteX45911" fmla="*/ 2028934 w 8079933"/>
              <a:gd name="connsiteY45911" fmla="*/ 276847 h 4687251"/>
              <a:gd name="connsiteX45912" fmla="*/ 2024811 w 8079933"/>
              <a:gd name="connsiteY45912" fmla="*/ 271325 h 4687251"/>
              <a:gd name="connsiteX45913" fmla="*/ 2024160 w 8079933"/>
              <a:gd name="connsiteY45913" fmla="*/ 273275 h 4687251"/>
              <a:gd name="connsiteX45914" fmla="*/ 2023943 w 8079933"/>
              <a:gd name="connsiteY45914" fmla="*/ 277931 h 4687251"/>
              <a:gd name="connsiteX45915" fmla="*/ 2019710 w 8079933"/>
              <a:gd name="connsiteY45915" fmla="*/ 284968 h 4687251"/>
              <a:gd name="connsiteX45916" fmla="*/ 2017432 w 8079933"/>
              <a:gd name="connsiteY45916" fmla="*/ 292980 h 4687251"/>
              <a:gd name="connsiteX45917" fmla="*/ 2014610 w 8079933"/>
              <a:gd name="connsiteY45917" fmla="*/ 297094 h 4687251"/>
              <a:gd name="connsiteX45918" fmla="*/ 2007231 w 8079933"/>
              <a:gd name="connsiteY45918" fmla="*/ 297202 h 4687251"/>
              <a:gd name="connsiteX45919" fmla="*/ 2004410 w 8079933"/>
              <a:gd name="connsiteY45919" fmla="*/ 300017 h 4687251"/>
              <a:gd name="connsiteX45920" fmla="*/ 1999852 w 8079933"/>
              <a:gd name="connsiteY45920" fmla="*/ 300017 h 4687251"/>
              <a:gd name="connsiteX45921" fmla="*/ 1997573 w 8079933"/>
              <a:gd name="connsiteY45921" fmla="*/ 297528 h 4687251"/>
              <a:gd name="connsiteX45922" fmla="*/ 1995403 w 8079933"/>
              <a:gd name="connsiteY45922" fmla="*/ 298935 h 4687251"/>
              <a:gd name="connsiteX45923" fmla="*/ 1991713 w 8079933"/>
              <a:gd name="connsiteY45923" fmla="*/ 298935 h 4687251"/>
              <a:gd name="connsiteX45924" fmla="*/ 1989326 w 8079933"/>
              <a:gd name="connsiteY45924" fmla="*/ 303049 h 4687251"/>
              <a:gd name="connsiteX45925" fmla="*/ 1985745 w 8079933"/>
              <a:gd name="connsiteY45925" fmla="*/ 305972 h 4687251"/>
              <a:gd name="connsiteX45926" fmla="*/ 1986287 w 8079933"/>
              <a:gd name="connsiteY45926" fmla="*/ 310628 h 4687251"/>
              <a:gd name="connsiteX45927" fmla="*/ 1985093 w 8079933"/>
              <a:gd name="connsiteY45927" fmla="*/ 314526 h 4687251"/>
              <a:gd name="connsiteX45928" fmla="*/ 1980427 w 8079933"/>
              <a:gd name="connsiteY45928" fmla="*/ 316800 h 4687251"/>
              <a:gd name="connsiteX45929" fmla="*/ 1977932 w 8079933"/>
              <a:gd name="connsiteY45929" fmla="*/ 319614 h 4687251"/>
              <a:gd name="connsiteX45930" fmla="*/ 1973591 w 8079933"/>
              <a:gd name="connsiteY45930" fmla="*/ 317774 h 4687251"/>
              <a:gd name="connsiteX45931" fmla="*/ 1969793 w 8079933"/>
              <a:gd name="connsiteY45931" fmla="*/ 316692 h 4687251"/>
              <a:gd name="connsiteX45932" fmla="*/ 1970661 w 8079933"/>
              <a:gd name="connsiteY45932" fmla="*/ 312577 h 4687251"/>
              <a:gd name="connsiteX45933" fmla="*/ 1968600 w 8079933"/>
              <a:gd name="connsiteY45933" fmla="*/ 308679 h 4687251"/>
              <a:gd name="connsiteX45934" fmla="*/ 1968491 w 8079933"/>
              <a:gd name="connsiteY45934" fmla="*/ 305755 h 4687251"/>
              <a:gd name="connsiteX45935" fmla="*/ 1974784 w 8079933"/>
              <a:gd name="connsiteY45935" fmla="*/ 296770 h 4687251"/>
              <a:gd name="connsiteX45936" fmla="*/ 1978366 w 8079933"/>
              <a:gd name="connsiteY45936" fmla="*/ 294604 h 4687251"/>
              <a:gd name="connsiteX45937" fmla="*/ 1979017 w 8079933"/>
              <a:gd name="connsiteY45937" fmla="*/ 292330 h 4687251"/>
              <a:gd name="connsiteX45938" fmla="*/ 1982055 w 8079933"/>
              <a:gd name="connsiteY45938" fmla="*/ 289298 h 4687251"/>
              <a:gd name="connsiteX45939" fmla="*/ 1983140 w 8079933"/>
              <a:gd name="connsiteY45939" fmla="*/ 283993 h 4687251"/>
              <a:gd name="connsiteX45940" fmla="*/ 1989109 w 8079933"/>
              <a:gd name="connsiteY45940" fmla="*/ 277605 h 4687251"/>
              <a:gd name="connsiteX45941" fmla="*/ 1991279 w 8079933"/>
              <a:gd name="connsiteY45941" fmla="*/ 269268 h 4687251"/>
              <a:gd name="connsiteX45942" fmla="*/ 1989109 w 8079933"/>
              <a:gd name="connsiteY45942" fmla="*/ 267645 h 4687251"/>
              <a:gd name="connsiteX45943" fmla="*/ 1985093 w 8079933"/>
              <a:gd name="connsiteY45943" fmla="*/ 271542 h 4687251"/>
              <a:gd name="connsiteX45944" fmla="*/ 1982055 w 8079933"/>
              <a:gd name="connsiteY45944" fmla="*/ 269052 h 4687251"/>
              <a:gd name="connsiteX45945" fmla="*/ 1979559 w 8079933"/>
              <a:gd name="connsiteY45945" fmla="*/ 270893 h 4687251"/>
              <a:gd name="connsiteX45946" fmla="*/ 1975002 w 8079933"/>
              <a:gd name="connsiteY45946" fmla="*/ 271542 h 4687251"/>
              <a:gd name="connsiteX45947" fmla="*/ 1974568 w 8079933"/>
              <a:gd name="connsiteY45947" fmla="*/ 275982 h 4687251"/>
              <a:gd name="connsiteX45948" fmla="*/ 1971963 w 8079933"/>
              <a:gd name="connsiteY45948" fmla="*/ 282261 h 4687251"/>
              <a:gd name="connsiteX45949" fmla="*/ 1963825 w 8079933"/>
              <a:gd name="connsiteY45949" fmla="*/ 287458 h 4687251"/>
              <a:gd name="connsiteX45950" fmla="*/ 1961003 w 8079933"/>
              <a:gd name="connsiteY45950" fmla="*/ 282695 h 4687251"/>
              <a:gd name="connsiteX45951" fmla="*/ 1958941 w 8079933"/>
              <a:gd name="connsiteY45951" fmla="*/ 286809 h 4687251"/>
              <a:gd name="connsiteX45952" fmla="*/ 1959809 w 8079933"/>
              <a:gd name="connsiteY45952" fmla="*/ 291464 h 4687251"/>
              <a:gd name="connsiteX45953" fmla="*/ 1958724 w 8079933"/>
              <a:gd name="connsiteY45953" fmla="*/ 296553 h 4687251"/>
              <a:gd name="connsiteX45954" fmla="*/ 1953624 w 8079933"/>
              <a:gd name="connsiteY45954" fmla="*/ 303157 h 4687251"/>
              <a:gd name="connsiteX45955" fmla="*/ 1950151 w 8079933"/>
              <a:gd name="connsiteY45955" fmla="*/ 304239 h 4687251"/>
              <a:gd name="connsiteX45956" fmla="*/ 1948958 w 8079933"/>
              <a:gd name="connsiteY45956" fmla="*/ 306514 h 4687251"/>
              <a:gd name="connsiteX45957" fmla="*/ 1948741 w 8079933"/>
              <a:gd name="connsiteY45957" fmla="*/ 311494 h 4687251"/>
              <a:gd name="connsiteX45958" fmla="*/ 1944292 w 8079933"/>
              <a:gd name="connsiteY45958" fmla="*/ 316474 h 4687251"/>
              <a:gd name="connsiteX45959" fmla="*/ 1942230 w 8079933"/>
              <a:gd name="connsiteY45959" fmla="*/ 316474 h 4687251"/>
              <a:gd name="connsiteX45960" fmla="*/ 1940385 w 8079933"/>
              <a:gd name="connsiteY45960" fmla="*/ 311927 h 4687251"/>
              <a:gd name="connsiteX45961" fmla="*/ 1941687 w 8079933"/>
              <a:gd name="connsiteY45961" fmla="*/ 306296 h 4687251"/>
              <a:gd name="connsiteX45962" fmla="*/ 1940819 w 8079933"/>
              <a:gd name="connsiteY45962" fmla="*/ 303266 h 4687251"/>
              <a:gd name="connsiteX45963" fmla="*/ 1942121 w 8079933"/>
              <a:gd name="connsiteY45963" fmla="*/ 299151 h 4687251"/>
              <a:gd name="connsiteX45964" fmla="*/ 1940385 w 8079933"/>
              <a:gd name="connsiteY45964" fmla="*/ 297743 h 4687251"/>
              <a:gd name="connsiteX45965" fmla="*/ 1938323 w 8079933"/>
              <a:gd name="connsiteY45965" fmla="*/ 299368 h 4687251"/>
              <a:gd name="connsiteX45966" fmla="*/ 1937889 w 8079933"/>
              <a:gd name="connsiteY45966" fmla="*/ 305107 h 4687251"/>
              <a:gd name="connsiteX45967" fmla="*/ 1934851 w 8079933"/>
              <a:gd name="connsiteY45967" fmla="*/ 309004 h 4687251"/>
              <a:gd name="connsiteX45968" fmla="*/ 1932029 w 8079933"/>
              <a:gd name="connsiteY45968" fmla="*/ 309112 h 4687251"/>
              <a:gd name="connsiteX45969" fmla="*/ 1932355 w 8079933"/>
              <a:gd name="connsiteY45969" fmla="*/ 314417 h 4687251"/>
              <a:gd name="connsiteX45970" fmla="*/ 1929425 w 8079933"/>
              <a:gd name="connsiteY45970" fmla="*/ 318749 h 4687251"/>
              <a:gd name="connsiteX45971" fmla="*/ 1926495 w 8079933"/>
              <a:gd name="connsiteY45971" fmla="*/ 318315 h 4687251"/>
              <a:gd name="connsiteX45972" fmla="*/ 1923457 w 8079933"/>
              <a:gd name="connsiteY45972" fmla="*/ 322321 h 4687251"/>
              <a:gd name="connsiteX45973" fmla="*/ 1915643 w 8079933"/>
              <a:gd name="connsiteY45973" fmla="*/ 326977 h 4687251"/>
              <a:gd name="connsiteX45974" fmla="*/ 1914016 w 8079933"/>
              <a:gd name="connsiteY45974" fmla="*/ 326761 h 4687251"/>
              <a:gd name="connsiteX45975" fmla="*/ 1913690 w 8079933"/>
              <a:gd name="connsiteY45975" fmla="*/ 323296 h 4687251"/>
              <a:gd name="connsiteX45976" fmla="*/ 1910651 w 8079933"/>
              <a:gd name="connsiteY45976" fmla="*/ 322863 h 4687251"/>
              <a:gd name="connsiteX45977" fmla="*/ 1908264 w 8079933"/>
              <a:gd name="connsiteY45977" fmla="*/ 325461 h 4687251"/>
              <a:gd name="connsiteX45978" fmla="*/ 1906202 w 8079933"/>
              <a:gd name="connsiteY45978" fmla="*/ 322538 h 4687251"/>
              <a:gd name="connsiteX45979" fmla="*/ 1907830 w 8079933"/>
              <a:gd name="connsiteY45979" fmla="*/ 318532 h 4687251"/>
              <a:gd name="connsiteX45980" fmla="*/ 1910868 w 8079933"/>
              <a:gd name="connsiteY45980" fmla="*/ 315825 h 4687251"/>
              <a:gd name="connsiteX45981" fmla="*/ 1909023 w 8079933"/>
              <a:gd name="connsiteY45981" fmla="*/ 312252 h 4687251"/>
              <a:gd name="connsiteX45982" fmla="*/ 1911845 w 8079933"/>
              <a:gd name="connsiteY45982" fmla="*/ 306514 h 4687251"/>
              <a:gd name="connsiteX45983" fmla="*/ 1916186 w 8079933"/>
              <a:gd name="connsiteY45983" fmla="*/ 303915 h 4687251"/>
              <a:gd name="connsiteX45984" fmla="*/ 1916403 w 8079933"/>
              <a:gd name="connsiteY45984" fmla="*/ 300233 h 4687251"/>
              <a:gd name="connsiteX45985" fmla="*/ 1913907 w 8079933"/>
              <a:gd name="connsiteY45985" fmla="*/ 299151 h 4687251"/>
              <a:gd name="connsiteX45986" fmla="*/ 1908481 w 8079933"/>
              <a:gd name="connsiteY45986" fmla="*/ 301641 h 4687251"/>
              <a:gd name="connsiteX45987" fmla="*/ 1905877 w 8079933"/>
              <a:gd name="connsiteY45987" fmla="*/ 302074 h 4687251"/>
              <a:gd name="connsiteX45988" fmla="*/ 1903815 w 8079933"/>
              <a:gd name="connsiteY45988" fmla="*/ 308354 h 4687251"/>
              <a:gd name="connsiteX45989" fmla="*/ 1902621 w 8079933"/>
              <a:gd name="connsiteY45989" fmla="*/ 309004 h 4687251"/>
              <a:gd name="connsiteX45990" fmla="*/ 1902295 w 8079933"/>
              <a:gd name="connsiteY45990" fmla="*/ 313660 h 4687251"/>
              <a:gd name="connsiteX45991" fmla="*/ 1900234 w 8079933"/>
              <a:gd name="connsiteY45991" fmla="*/ 315500 h 4687251"/>
              <a:gd name="connsiteX45992" fmla="*/ 1896002 w 8079933"/>
              <a:gd name="connsiteY45992" fmla="*/ 313443 h 4687251"/>
              <a:gd name="connsiteX45993" fmla="*/ 1895567 w 8079933"/>
              <a:gd name="connsiteY45993" fmla="*/ 308463 h 4687251"/>
              <a:gd name="connsiteX45994" fmla="*/ 1892204 w 8079933"/>
              <a:gd name="connsiteY45994" fmla="*/ 302616 h 4687251"/>
              <a:gd name="connsiteX45995" fmla="*/ 1887863 w 8079933"/>
              <a:gd name="connsiteY45995" fmla="*/ 300233 h 4687251"/>
              <a:gd name="connsiteX45996" fmla="*/ 1884390 w 8079933"/>
              <a:gd name="connsiteY45996" fmla="*/ 301425 h 4687251"/>
              <a:gd name="connsiteX45997" fmla="*/ 1882545 w 8079933"/>
              <a:gd name="connsiteY45997" fmla="*/ 305432 h 4687251"/>
              <a:gd name="connsiteX45998" fmla="*/ 1877662 w 8079933"/>
              <a:gd name="connsiteY45998" fmla="*/ 306296 h 4687251"/>
              <a:gd name="connsiteX45999" fmla="*/ 1872671 w 8079933"/>
              <a:gd name="connsiteY45999" fmla="*/ 304673 h 4687251"/>
              <a:gd name="connsiteX46000" fmla="*/ 1872671 w 8079933"/>
              <a:gd name="connsiteY46000" fmla="*/ 302508 h 4687251"/>
              <a:gd name="connsiteX46001" fmla="*/ 1879399 w 8079933"/>
              <a:gd name="connsiteY46001" fmla="*/ 300017 h 4687251"/>
              <a:gd name="connsiteX46002" fmla="*/ 1880592 w 8079933"/>
              <a:gd name="connsiteY46002" fmla="*/ 296986 h 4687251"/>
              <a:gd name="connsiteX46003" fmla="*/ 1877662 w 8079933"/>
              <a:gd name="connsiteY46003" fmla="*/ 294280 h 4687251"/>
              <a:gd name="connsiteX46004" fmla="*/ 1878856 w 8079933"/>
              <a:gd name="connsiteY46004" fmla="*/ 292005 h 4687251"/>
              <a:gd name="connsiteX46005" fmla="*/ 1882654 w 8079933"/>
              <a:gd name="connsiteY46005" fmla="*/ 291464 h 4687251"/>
              <a:gd name="connsiteX46006" fmla="*/ 1880809 w 8079933"/>
              <a:gd name="connsiteY46006" fmla="*/ 289407 h 4687251"/>
              <a:gd name="connsiteX46007" fmla="*/ 1876361 w 8079933"/>
              <a:gd name="connsiteY46007" fmla="*/ 289623 h 4687251"/>
              <a:gd name="connsiteX46008" fmla="*/ 1878856 w 8079933"/>
              <a:gd name="connsiteY46008" fmla="*/ 284643 h 4687251"/>
              <a:gd name="connsiteX46009" fmla="*/ 1885258 w 8079933"/>
              <a:gd name="connsiteY46009" fmla="*/ 283019 h 4687251"/>
              <a:gd name="connsiteX46010" fmla="*/ 1889056 w 8079933"/>
              <a:gd name="connsiteY46010" fmla="*/ 282910 h 4687251"/>
              <a:gd name="connsiteX46011" fmla="*/ 1893723 w 8079933"/>
              <a:gd name="connsiteY46011" fmla="*/ 275656 h 4687251"/>
              <a:gd name="connsiteX46012" fmla="*/ 1904792 w 8079933"/>
              <a:gd name="connsiteY46012" fmla="*/ 273817 h 4687251"/>
              <a:gd name="connsiteX46013" fmla="*/ 1909241 w 8079933"/>
              <a:gd name="connsiteY46013" fmla="*/ 271542 h 4687251"/>
              <a:gd name="connsiteX46014" fmla="*/ 1914666 w 8079933"/>
              <a:gd name="connsiteY46014" fmla="*/ 273382 h 4687251"/>
              <a:gd name="connsiteX46015" fmla="*/ 1919875 w 8079933"/>
              <a:gd name="connsiteY46015" fmla="*/ 270352 h 4687251"/>
              <a:gd name="connsiteX46016" fmla="*/ 1927797 w 8079933"/>
              <a:gd name="connsiteY46016" fmla="*/ 264180 h 4687251"/>
              <a:gd name="connsiteX46017" fmla="*/ 1931053 w 8079933"/>
              <a:gd name="connsiteY46017" fmla="*/ 264180 h 4687251"/>
              <a:gd name="connsiteX46018" fmla="*/ 1933548 w 8079933"/>
              <a:gd name="connsiteY46018" fmla="*/ 262123 h 4687251"/>
              <a:gd name="connsiteX46019" fmla="*/ 1938106 w 8079933"/>
              <a:gd name="connsiteY46019" fmla="*/ 262989 h 4687251"/>
              <a:gd name="connsiteX46020" fmla="*/ 1940385 w 8079933"/>
              <a:gd name="connsiteY46020" fmla="*/ 261257 h 4687251"/>
              <a:gd name="connsiteX46021" fmla="*/ 1948306 w 8079933"/>
              <a:gd name="connsiteY46021" fmla="*/ 261257 h 4687251"/>
              <a:gd name="connsiteX46022" fmla="*/ 1948958 w 8079933"/>
              <a:gd name="connsiteY46022" fmla="*/ 258117 h 4687251"/>
              <a:gd name="connsiteX46023" fmla="*/ 1952864 w 8079933"/>
              <a:gd name="connsiteY46023" fmla="*/ 255085 h 4687251"/>
              <a:gd name="connsiteX46024" fmla="*/ 1956988 w 8079933"/>
              <a:gd name="connsiteY46024" fmla="*/ 254219 h 4687251"/>
              <a:gd name="connsiteX46025" fmla="*/ 1962957 w 8079933"/>
              <a:gd name="connsiteY46025" fmla="*/ 249888 h 4687251"/>
              <a:gd name="connsiteX46026" fmla="*/ 1966971 w 8079933"/>
              <a:gd name="connsiteY46026" fmla="*/ 249564 h 4687251"/>
              <a:gd name="connsiteX46027" fmla="*/ 1970336 w 8079933"/>
              <a:gd name="connsiteY46027" fmla="*/ 246640 h 4687251"/>
              <a:gd name="connsiteX46028" fmla="*/ 1981730 w 8079933"/>
              <a:gd name="connsiteY46028" fmla="*/ 237870 h 4687251"/>
              <a:gd name="connsiteX46029" fmla="*/ 1984551 w 8079933"/>
              <a:gd name="connsiteY46029" fmla="*/ 237870 h 4687251"/>
              <a:gd name="connsiteX46030" fmla="*/ 1986396 w 8079933"/>
              <a:gd name="connsiteY46030" fmla="*/ 238736 h 4687251"/>
              <a:gd name="connsiteX46031" fmla="*/ 1988783 w 8079933"/>
              <a:gd name="connsiteY46031" fmla="*/ 235813 h 4687251"/>
              <a:gd name="connsiteX46032" fmla="*/ 1990194 w 8079933"/>
              <a:gd name="connsiteY46032" fmla="*/ 231158 h 4687251"/>
              <a:gd name="connsiteX46033" fmla="*/ 1995511 w 8079933"/>
              <a:gd name="connsiteY46033" fmla="*/ 228559 h 4687251"/>
              <a:gd name="connsiteX46034" fmla="*/ 2005820 w 8079933"/>
              <a:gd name="connsiteY46034" fmla="*/ 229642 h 4687251"/>
              <a:gd name="connsiteX46035" fmla="*/ 2008968 w 8079933"/>
              <a:gd name="connsiteY46035" fmla="*/ 228884 h 4687251"/>
              <a:gd name="connsiteX46036" fmla="*/ 2013959 w 8079933"/>
              <a:gd name="connsiteY46036" fmla="*/ 230940 h 4687251"/>
              <a:gd name="connsiteX46037" fmla="*/ 2019277 w 8079933"/>
              <a:gd name="connsiteY46037" fmla="*/ 231158 h 4687251"/>
              <a:gd name="connsiteX46038" fmla="*/ 2021012 w 8079933"/>
              <a:gd name="connsiteY46038" fmla="*/ 229101 h 4687251"/>
              <a:gd name="connsiteX46039" fmla="*/ 2023400 w 8079933"/>
              <a:gd name="connsiteY46039" fmla="*/ 229101 h 4687251"/>
              <a:gd name="connsiteX46040" fmla="*/ 2027958 w 8079933"/>
              <a:gd name="connsiteY46040" fmla="*/ 233864 h 4687251"/>
              <a:gd name="connsiteX46041" fmla="*/ 2028826 w 8079933"/>
              <a:gd name="connsiteY46041" fmla="*/ 240794 h 4687251"/>
              <a:gd name="connsiteX46042" fmla="*/ 2031213 w 8079933"/>
              <a:gd name="connsiteY46042" fmla="*/ 244041 h 4687251"/>
              <a:gd name="connsiteX46043" fmla="*/ 2032733 w 8079933"/>
              <a:gd name="connsiteY46043" fmla="*/ 242093 h 4687251"/>
              <a:gd name="connsiteX46044" fmla="*/ 2033384 w 8079933"/>
              <a:gd name="connsiteY46044" fmla="*/ 239169 h 4687251"/>
              <a:gd name="connsiteX46045" fmla="*/ 2034794 w 8079933"/>
              <a:gd name="connsiteY46045" fmla="*/ 239061 h 4687251"/>
              <a:gd name="connsiteX46046" fmla="*/ 2036205 w 8079933"/>
              <a:gd name="connsiteY46046" fmla="*/ 243500 h 4687251"/>
              <a:gd name="connsiteX46047" fmla="*/ 2040329 w 8079933"/>
              <a:gd name="connsiteY46047" fmla="*/ 242634 h 4687251"/>
              <a:gd name="connsiteX46048" fmla="*/ 2039460 w 8079933"/>
              <a:gd name="connsiteY46048" fmla="*/ 239711 h 4687251"/>
              <a:gd name="connsiteX46049" fmla="*/ 2040003 w 8079933"/>
              <a:gd name="connsiteY46049" fmla="*/ 236462 h 4687251"/>
              <a:gd name="connsiteX46050" fmla="*/ 2040329 w 8079933"/>
              <a:gd name="connsiteY46050" fmla="*/ 230291 h 4687251"/>
              <a:gd name="connsiteX46051" fmla="*/ 2045863 w 8079933"/>
              <a:gd name="connsiteY46051" fmla="*/ 227693 h 4687251"/>
              <a:gd name="connsiteX46052" fmla="*/ 2133762 w 8079933"/>
              <a:gd name="connsiteY46052" fmla="*/ 225853 h 4687251"/>
              <a:gd name="connsiteX46053" fmla="*/ 2136259 w 8079933"/>
              <a:gd name="connsiteY46053" fmla="*/ 227694 h 4687251"/>
              <a:gd name="connsiteX46054" fmla="*/ 2140599 w 8079933"/>
              <a:gd name="connsiteY46054" fmla="*/ 227694 h 4687251"/>
              <a:gd name="connsiteX46055" fmla="*/ 2144072 w 8079933"/>
              <a:gd name="connsiteY46055" fmla="*/ 229427 h 4687251"/>
              <a:gd name="connsiteX46056" fmla="*/ 2149171 w 8079933"/>
              <a:gd name="connsiteY46056" fmla="*/ 229427 h 4687251"/>
              <a:gd name="connsiteX46057" fmla="*/ 2151993 w 8079933"/>
              <a:gd name="connsiteY46057" fmla="*/ 228344 h 4687251"/>
              <a:gd name="connsiteX46058" fmla="*/ 2159264 w 8079933"/>
              <a:gd name="connsiteY46058" fmla="*/ 229968 h 4687251"/>
              <a:gd name="connsiteX46059" fmla="*/ 2159698 w 8079933"/>
              <a:gd name="connsiteY46059" fmla="*/ 231700 h 4687251"/>
              <a:gd name="connsiteX46060" fmla="*/ 2166643 w 8079933"/>
              <a:gd name="connsiteY46060" fmla="*/ 231267 h 4687251"/>
              <a:gd name="connsiteX46061" fmla="*/ 2171960 w 8079933"/>
              <a:gd name="connsiteY46061" fmla="*/ 232674 h 4687251"/>
              <a:gd name="connsiteX46062" fmla="*/ 2173479 w 8079933"/>
              <a:gd name="connsiteY46062" fmla="*/ 234623 h 4687251"/>
              <a:gd name="connsiteX46063" fmla="*/ 2179339 w 8079933"/>
              <a:gd name="connsiteY46063" fmla="*/ 235490 h 4687251"/>
              <a:gd name="connsiteX46064" fmla="*/ 2180533 w 8079933"/>
              <a:gd name="connsiteY46064" fmla="*/ 237655 h 4687251"/>
              <a:gd name="connsiteX46065" fmla="*/ 2176084 w 8079933"/>
              <a:gd name="connsiteY46065" fmla="*/ 245559 h 4687251"/>
              <a:gd name="connsiteX46066" fmla="*/ 2172286 w 8079933"/>
              <a:gd name="connsiteY46066" fmla="*/ 244584 h 4687251"/>
              <a:gd name="connsiteX46067" fmla="*/ 2160783 w 8079933"/>
              <a:gd name="connsiteY46067" fmla="*/ 248374 h 4687251"/>
              <a:gd name="connsiteX46068" fmla="*/ 2156442 w 8079933"/>
              <a:gd name="connsiteY46068" fmla="*/ 248698 h 4687251"/>
              <a:gd name="connsiteX46069" fmla="*/ 2150799 w 8079933"/>
              <a:gd name="connsiteY46069" fmla="*/ 254005 h 4687251"/>
              <a:gd name="connsiteX46070" fmla="*/ 2150799 w 8079933"/>
              <a:gd name="connsiteY46070" fmla="*/ 256710 h 4687251"/>
              <a:gd name="connsiteX46071" fmla="*/ 2155900 w 8079933"/>
              <a:gd name="connsiteY46071" fmla="*/ 257144 h 4687251"/>
              <a:gd name="connsiteX46072" fmla="*/ 2157636 w 8079933"/>
              <a:gd name="connsiteY46072" fmla="*/ 256278 h 4687251"/>
              <a:gd name="connsiteX46073" fmla="*/ 2158504 w 8079933"/>
              <a:gd name="connsiteY46073" fmla="*/ 259852 h 4687251"/>
              <a:gd name="connsiteX46074" fmla="*/ 2152644 w 8079933"/>
              <a:gd name="connsiteY46074" fmla="*/ 266888 h 4687251"/>
              <a:gd name="connsiteX46075" fmla="*/ 2151125 w 8079933"/>
              <a:gd name="connsiteY46075" fmla="*/ 270137 h 4687251"/>
              <a:gd name="connsiteX46076" fmla="*/ 2147001 w 8079933"/>
              <a:gd name="connsiteY46076" fmla="*/ 271219 h 4687251"/>
              <a:gd name="connsiteX46077" fmla="*/ 2147110 w 8079933"/>
              <a:gd name="connsiteY46077" fmla="*/ 273818 h 4687251"/>
              <a:gd name="connsiteX46078" fmla="*/ 2144180 w 8079933"/>
              <a:gd name="connsiteY46078" fmla="*/ 277716 h 4687251"/>
              <a:gd name="connsiteX46079" fmla="*/ 2139405 w 8079933"/>
              <a:gd name="connsiteY46079" fmla="*/ 277716 h 4687251"/>
              <a:gd name="connsiteX46080" fmla="*/ 2134414 w 8079933"/>
              <a:gd name="connsiteY46080" fmla="*/ 280098 h 4687251"/>
              <a:gd name="connsiteX46081" fmla="*/ 2128879 w 8079933"/>
              <a:gd name="connsiteY46081" fmla="*/ 280098 h 4687251"/>
              <a:gd name="connsiteX46082" fmla="*/ 2124213 w 8079933"/>
              <a:gd name="connsiteY46082" fmla="*/ 276525 h 4687251"/>
              <a:gd name="connsiteX46083" fmla="*/ 2121500 w 8079933"/>
              <a:gd name="connsiteY46083" fmla="*/ 277933 h 4687251"/>
              <a:gd name="connsiteX46084" fmla="*/ 2116617 w 8079933"/>
              <a:gd name="connsiteY46084" fmla="*/ 277066 h 4687251"/>
              <a:gd name="connsiteX46085" fmla="*/ 2111516 w 8079933"/>
              <a:gd name="connsiteY46085" fmla="*/ 277391 h 4687251"/>
              <a:gd name="connsiteX46086" fmla="*/ 2110106 w 8079933"/>
              <a:gd name="connsiteY46086" fmla="*/ 275550 h 4687251"/>
              <a:gd name="connsiteX46087" fmla="*/ 2112819 w 8079933"/>
              <a:gd name="connsiteY46087" fmla="*/ 272410 h 4687251"/>
              <a:gd name="connsiteX46088" fmla="*/ 2109455 w 8079933"/>
              <a:gd name="connsiteY46088" fmla="*/ 266564 h 4687251"/>
              <a:gd name="connsiteX46089" fmla="*/ 2104788 w 8079933"/>
              <a:gd name="connsiteY46089" fmla="*/ 263315 h 4687251"/>
              <a:gd name="connsiteX46090" fmla="*/ 2101642 w 8079933"/>
              <a:gd name="connsiteY46090" fmla="*/ 262774 h 4687251"/>
              <a:gd name="connsiteX46091" fmla="*/ 2100773 w 8079933"/>
              <a:gd name="connsiteY46091" fmla="*/ 256927 h 4687251"/>
              <a:gd name="connsiteX46092" fmla="*/ 2099580 w 8079933"/>
              <a:gd name="connsiteY46092" fmla="*/ 251731 h 4687251"/>
              <a:gd name="connsiteX46093" fmla="*/ 2103595 w 8079933"/>
              <a:gd name="connsiteY46093" fmla="*/ 247183 h 4687251"/>
              <a:gd name="connsiteX46094" fmla="*/ 2103920 w 8079933"/>
              <a:gd name="connsiteY46094" fmla="*/ 243719 h 4687251"/>
              <a:gd name="connsiteX46095" fmla="*/ 2109021 w 8079933"/>
              <a:gd name="connsiteY46095" fmla="*/ 238521 h 4687251"/>
              <a:gd name="connsiteX46096" fmla="*/ 2109455 w 8079933"/>
              <a:gd name="connsiteY46096" fmla="*/ 233432 h 4687251"/>
              <a:gd name="connsiteX46097" fmla="*/ 2114772 w 8079933"/>
              <a:gd name="connsiteY46097" fmla="*/ 231267 h 4687251"/>
              <a:gd name="connsiteX46098" fmla="*/ 2118679 w 8079933"/>
              <a:gd name="connsiteY46098" fmla="*/ 228235 h 4687251"/>
              <a:gd name="connsiteX46099" fmla="*/ 2122368 w 8079933"/>
              <a:gd name="connsiteY46099" fmla="*/ 228235 h 4687251"/>
              <a:gd name="connsiteX46100" fmla="*/ 4756718 w 8079933"/>
              <a:gd name="connsiteY46100" fmla="*/ 216217 h 4687251"/>
              <a:gd name="connsiteX46101" fmla="*/ 4760299 w 8079933"/>
              <a:gd name="connsiteY46101" fmla="*/ 218167 h 4687251"/>
              <a:gd name="connsiteX46102" fmla="*/ 4760299 w 8079933"/>
              <a:gd name="connsiteY46102" fmla="*/ 220007 h 4687251"/>
              <a:gd name="connsiteX46103" fmla="*/ 4756175 w 8079933"/>
              <a:gd name="connsiteY46103" fmla="*/ 223579 h 4687251"/>
              <a:gd name="connsiteX46104" fmla="*/ 4753245 w 8079933"/>
              <a:gd name="connsiteY46104" fmla="*/ 229751 h 4687251"/>
              <a:gd name="connsiteX46105" fmla="*/ 4748471 w 8079933"/>
              <a:gd name="connsiteY46105" fmla="*/ 237006 h 4687251"/>
              <a:gd name="connsiteX46106" fmla="*/ 4742068 w 8079933"/>
              <a:gd name="connsiteY46106" fmla="*/ 238522 h 4687251"/>
              <a:gd name="connsiteX46107" fmla="*/ 4737185 w 8079933"/>
              <a:gd name="connsiteY46107" fmla="*/ 242636 h 4687251"/>
              <a:gd name="connsiteX46108" fmla="*/ 4732193 w 8079933"/>
              <a:gd name="connsiteY46108" fmla="*/ 242852 h 4687251"/>
              <a:gd name="connsiteX46109" fmla="*/ 4730457 w 8079933"/>
              <a:gd name="connsiteY46109" fmla="*/ 240146 h 4687251"/>
              <a:gd name="connsiteX46110" fmla="*/ 4731867 w 8079933"/>
              <a:gd name="connsiteY46110" fmla="*/ 237547 h 4687251"/>
              <a:gd name="connsiteX46111" fmla="*/ 4739790 w 8079933"/>
              <a:gd name="connsiteY46111" fmla="*/ 234407 h 4687251"/>
              <a:gd name="connsiteX46112" fmla="*/ 4745432 w 8079933"/>
              <a:gd name="connsiteY46112" fmla="*/ 233541 h 4687251"/>
              <a:gd name="connsiteX46113" fmla="*/ 4744238 w 8079933"/>
              <a:gd name="connsiteY46113" fmla="*/ 231810 h 4687251"/>
              <a:gd name="connsiteX46114" fmla="*/ 4742502 w 8079933"/>
              <a:gd name="connsiteY46114" fmla="*/ 225963 h 4687251"/>
              <a:gd name="connsiteX46115" fmla="*/ 4738921 w 8079933"/>
              <a:gd name="connsiteY46115" fmla="*/ 225963 h 4687251"/>
              <a:gd name="connsiteX46116" fmla="*/ 4737402 w 8079933"/>
              <a:gd name="connsiteY46116" fmla="*/ 224987 h 4687251"/>
              <a:gd name="connsiteX46117" fmla="*/ 4739681 w 8079933"/>
              <a:gd name="connsiteY46117" fmla="*/ 221414 h 4687251"/>
              <a:gd name="connsiteX46118" fmla="*/ 4740875 w 8079933"/>
              <a:gd name="connsiteY46118" fmla="*/ 217408 h 4687251"/>
              <a:gd name="connsiteX46119" fmla="*/ 4746518 w 8079933"/>
              <a:gd name="connsiteY46119" fmla="*/ 217408 h 4687251"/>
              <a:gd name="connsiteX46120" fmla="*/ 4751184 w 8079933"/>
              <a:gd name="connsiteY46120" fmla="*/ 219683 h 4687251"/>
              <a:gd name="connsiteX46121" fmla="*/ 3274272 w 8079933"/>
              <a:gd name="connsiteY46121" fmla="*/ 214593 h 4687251"/>
              <a:gd name="connsiteX46122" fmla="*/ 3277311 w 8079933"/>
              <a:gd name="connsiteY46122" fmla="*/ 215567 h 4687251"/>
              <a:gd name="connsiteX46123" fmla="*/ 3280566 w 8079933"/>
              <a:gd name="connsiteY46123" fmla="*/ 219682 h 4687251"/>
              <a:gd name="connsiteX46124" fmla="*/ 3281109 w 8079933"/>
              <a:gd name="connsiteY46124" fmla="*/ 230401 h 4687251"/>
              <a:gd name="connsiteX46125" fmla="*/ 3278396 w 8079933"/>
              <a:gd name="connsiteY46125" fmla="*/ 232891 h 4687251"/>
              <a:gd name="connsiteX46126" fmla="*/ 3271234 w 8079933"/>
              <a:gd name="connsiteY46126" fmla="*/ 227802 h 4687251"/>
              <a:gd name="connsiteX46127" fmla="*/ 3271885 w 8079933"/>
              <a:gd name="connsiteY46127" fmla="*/ 223038 h 4687251"/>
              <a:gd name="connsiteX46128" fmla="*/ 3271017 w 8079933"/>
              <a:gd name="connsiteY46128" fmla="*/ 219899 h 4687251"/>
              <a:gd name="connsiteX46129" fmla="*/ 3271451 w 8079933"/>
              <a:gd name="connsiteY46129" fmla="*/ 215676 h 4687251"/>
              <a:gd name="connsiteX46130" fmla="*/ 2098712 w 8079933"/>
              <a:gd name="connsiteY46130" fmla="*/ 210153 h 4687251"/>
              <a:gd name="connsiteX46131" fmla="*/ 2102510 w 8079933"/>
              <a:gd name="connsiteY46131" fmla="*/ 212211 h 4687251"/>
              <a:gd name="connsiteX46132" fmla="*/ 2105331 w 8079933"/>
              <a:gd name="connsiteY46132" fmla="*/ 212102 h 4687251"/>
              <a:gd name="connsiteX46133" fmla="*/ 2109237 w 8079933"/>
              <a:gd name="connsiteY46133" fmla="*/ 210694 h 4687251"/>
              <a:gd name="connsiteX46134" fmla="*/ 2107718 w 8079933"/>
              <a:gd name="connsiteY46134" fmla="*/ 216866 h 4687251"/>
              <a:gd name="connsiteX46135" fmla="*/ 2108043 w 8079933"/>
              <a:gd name="connsiteY46135" fmla="*/ 220439 h 4687251"/>
              <a:gd name="connsiteX46136" fmla="*/ 2107175 w 8079933"/>
              <a:gd name="connsiteY46136" fmla="*/ 223795 h 4687251"/>
              <a:gd name="connsiteX46137" fmla="*/ 2106958 w 8079933"/>
              <a:gd name="connsiteY46137" fmla="*/ 229425 h 4687251"/>
              <a:gd name="connsiteX46138" fmla="*/ 2103160 w 8079933"/>
              <a:gd name="connsiteY46138" fmla="*/ 234623 h 4687251"/>
              <a:gd name="connsiteX46139" fmla="*/ 2096975 w 8079933"/>
              <a:gd name="connsiteY46139" fmla="*/ 236463 h 4687251"/>
              <a:gd name="connsiteX46140" fmla="*/ 2093720 w 8079933"/>
              <a:gd name="connsiteY46140" fmla="*/ 234730 h 4687251"/>
              <a:gd name="connsiteX46141" fmla="*/ 2090139 w 8079933"/>
              <a:gd name="connsiteY46141" fmla="*/ 227910 h 4687251"/>
              <a:gd name="connsiteX46142" fmla="*/ 2091116 w 8079933"/>
              <a:gd name="connsiteY46142" fmla="*/ 223037 h 4687251"/>
              <a:gd name="connsiteX46143" fmla="*/ 2091007 w 8079933"/>
              <a:gd name="connsiteY46143" fmla="*/ 217516 h 4687251"/>
              <a:gd name="connsiteX46144" fmla="*/ 2092743 w 8079933"/>
              <a:gd name="connsiteY46144" fmla="*/ 213293 h 4687251"/>
              <a:gd name="connsiteX46145" fmla="*/ 2095673 w 8079933"/>
              <a:gd name="connsiteY46145" fmla="*/ 212968 h 4687251"/>
              <a:gd name="connsiteX46146" fmla="*/ 4771477 w 8079933"/>
              <a:gd name="connsiteY46146" fmla="*/ 203116 h 4687251"/>
              <a:gd name="connsiteX46147" fmla="*/ 4774406 w 8079933"/>
              <a:gd name="connsiteY46147" fmla="*/ 205173 h 4687251"/>
              <a:gd name="connsiteX46148" fmla="*/ 4775600 w 8079933"/>
              <a:gd name="connsiteY46148" fmla="*/ 208205 h 4687251"/>
              <a:gd name="connsiteX46149" fmla="*/ 4774624 w 8079933"/>
              <a:gd name="connsiteY46149" fmla="*/ 211453 h 4687251"/>
              <a:gd name="connsiteX46150" fmla="*/ 4771260 w 8079933"/>
              <a:gd name="connsiteY46150" fmla="*/ 213078 h 4687251"/>
              <a:gd name="connsiteX46151" fmla="*/ 4767679 w 8079933"/>
              <a:gd name="connsiteY46151" fmla="*/ 212102 h 4687251"/>
              <a:gd name="connsiteX46152" fmla="*/ 4766811 w 8079933"/>
              <a:gd name="connsiteY46152" fmla="*/ 206582 h 4687251"/>
              <a:gd name="connsiteX46153" fmla="*/ 4768873 w 8079933"/>
              <a:gd name="connsiteY46153" fmla="*/ 203549 h 4687251"/>
              <a:gd name="connsiteX46154" fmla="*/ 4747495 w 8079933"/>
              <a:gd name="connsiteY46154" fmla="*/ 199326 h 4687251"/>
              <a:gd name="connsiteX46155" fmla="*/ 4750967 w 8079933"/>
              <a:gd name="connsiteY46155" fmla="*/ 199759 h 4687251"/>
              <a:gd name="connsiteX46156" fmla="*/ 4753897 w 8079933"/>
              <a:gd name="connsiteY46156" fmla="*/ 201925 h 4687251"/>
              <a:gd name="connsiteX46157" fmla="*/ 4758454 w 8079933"/>
              <a:gd name="connsiteY46157" fmla="*/ 201925 h 4687251"/>
              <a:gd name="connsiteX46158" fmla="*/ 4760516 w 8079933"/>
              <a:gd name="connsiteY46158" fmla="*/ 201384 h 4687251"/>
              <a:gd name="connsiteX46159" fmla="*/ 4762687 w 8079933"/>
              <a:gd name="connsiteY46159" fmla="*/ 203008 h 4687251"/>
              <a:gd name="connsiteX46160" fmla="*/ 4761276 w 8079933"/>
              <a:gd name="connsiteY46160" fmla="*/ 205714 h 4687251"/>
              <a:gd name="connsiteX46161" fmla="*/ 4758780 w 8079933"/>
              <a:gd name="connsiteY46161" fmla="*/ 207338 h 4687251"/>
              <a:gd name="connsiteX46162" fmla="*/ 4756610 w 8079933"/>
              <a:gd name="connsiteY46162" fmla="*/ 211127 h 4687251"/>
              <a:gd name="connsiteX46163" fmla="*/ 4753789 w 8079933"/>
              <a:gd name="connsiteY46163" fmla="*/ 213509 h 4687251"/>
              <a:gd name="connsiteX46164" fmla="*/ 4750967 w 8079933"/>
              <a:gd name="connsiteY46164" fmla="*/ 213184 h 4687251"/>
              <a:gd name="connsiteX46165" fmla="*/ 4748688 w 8079933"/>
              <a:gd name="connsiteY46165" fmla="*/ 210370 h 4687251"/>
              <a:gd name="connsiteX46166" fmla="*/ 4744131 w 8079933"/>
              <a:gd name="connsiteY46166" fmla="*/ 212968 h 4687251"/>
              <a:gd name="connsiteX46167" fmla="*/ 4740007 w 8079933"/>
              <a:gd name="connsiteY46167" fmla="*/ 211127 h 4687251"/>
              <a:gd name="connsiteX46168" fmla="*/ 4738597 w 8079933"/>
              <a:gd name="connsiteY46168" fmla="*/ 208420 h 4687251"/>
              <a:gd name="connsiteX46169" fmla="*/ 4738922 w 8079933"/>
              <a:gd name="connsiteY46169" fmla="*/ 205714 h 4687251"/>
              <a:gd name="connsiteX46170" fmla="*/ 4743480 w 8079933"/>
              <a:gd name="connsiteY46170" fmla="*/ 201817 h 4687251"/>
              <a:gd name="connsiteX46171" fmla="*/ 3273513 w 8079933"/>
              <a:gd name="connsiteY46171" fmla="*/ 195972 h 4687251"/>
              <a:gd name="connsiteX46172" fmla="*/ 3275683 w 8079933"/>
              <a:gd name="connsiteY46172" fmla="*/ 197595 h 4687251"/>
              <a:gd name="connsiteX46173" fmla="*/ 3275792 w 8079933"/>
              <a:gd name="connsiteY46173" fmla="*/ 201168 h 4687251"/>
              <a:gd name="connsiteX46174" fmla="*/ 3279047 w 8079933"/>
              <a:gd name="connsiteY46174" fmla="*/ 203117 h 4687251"/>
              <a:gd name="connsiteX46175" fmla="*/ 3279590 w 8079933"/>
              <a:gd name="connsiteY46175" fmla="*/ 207339 h 4687251"/>
              <a:gd name="connsiteX46176" fmla="*/ 3278070 w 8079933"/>
              <a:gd name="connsiteY46176" fmla="*/ 209722 h 4687251"/>
              <a:gd name="connsiteX46177" fmla="*/ 3271668 w 8079933"/>
              <a:gd name="connsiteY46177" fmla="*/ 210263 h 4687251"/>
              <a:gd name="connsiteX46178" fmla="*/ 3269931 w 8079933"/>
              <a:gd name="connsiteY46178" fmla="*/ 209505 h 4687251"/>
              <a:gd name="connsiteX46179" fmla="*/ 3267110 w 8079933"/>
              <a:gd name="connsiteY46179" fmla="*/ 204741 h 4687251"/>
              <a:gd name="connsiteX46180" fmla="*/ 3266785 w 8079933"/>
              <a:gd name="connsiteY46180" fmla="*/ 201493 h 4687251"/>
              <a:gd name="connsiteX46181" fmla="*/ 3269172 w 8079933"/>
              <a:gd name="connsiteY46181" fmla="*/ 196945 h 4687251"/>
              <a:gd name="connsiteX46182" fmla="*/ 4852972 w 8079933"/>
              <a:gd name="connsiteY46182" fmla="*/ 194672 h 4687251"/>
              <a:gd name="connsiteX46183" fmla="*/ 4856229 w 8079933"/>
              <a:gd name="connsiteY46183" fmla="*/ 196404 h 4687251"/>
              <a:gd name="connsiteX46184" fmla="*/ 4860569 w 8079933"/>
              <a:gd name="connsiteY46184" fmla="*/ 197594 h 4687251"/>
              <a:gd name="connsiteX46185" fmla="*/ 4862196 w 8079933"/>
              <a:gd name="connsiteY46185" fmla="*/ 202250 h 4687251"/>
              <a:gd name="connsiteX46186" fmla="*/ 4861871 w 8079933"/>
              <a:gd name="connsiteY46186" fmla="*/ 209938 h 4687251"/>
              <a:gd name="connsiteX46187" fmla="*/ 4863282 w 8079933"/>
              <a:gd name="connsiteY46187" fmla="*/ 212320 h 4687251"/>
              <a:gd name="connsiteX46188" fmla="*/ 4867405 w 8079933"/>
              <a:gd name="connsiteY46188" fmla="*/ 214052 h 4687251"/>
              <a:gd name="connsiteX46189" fmla="*/ 4872939 w 8079933"/>
              <a:gd name="connsiteY46189" fmla="*/ 219790 h 4687251"/>
              <a:gd name="connsiteX46190" fmla="*/ 4875978 w 8079933"/>
              <a:gd name="connsiteY46190" fmla="*/ 219790 h 4687251"/>
              <a:gd name="connsiteX46191" fmla="*/ 4875978 w 8079933"/>
              <a:gd name="connsiteY46191" fmla="*/ 222389 h 4687251"/>
              <a:gd name="connsiteX46192" fmla="*/ 4868491 w 8079933"/>
              <a:gd name="connsiteY46192" fmla="*/ 226828 h 4687251"/>
              <a:gd name="connsiteX46193" fmla="*/ 4861003 w 8079933"/>
              <a:gd name="connsiteY46193" fmla="*/ 229859 h 4687251"/>
              <a:gd name="connsiteX46194" fmla="*/ 4859483 w 8079933"/>
              <a:gd name="connsiteY46194" fmla="*/ 233216 h 4687251"/>
              <a:gd name="connsiteX46195" fmla="*/ 4860895 w 8079933"/>
              <a:gd name="connsiteY46195" fmla="*/ 237438 h 4687251"/>
              <a:gd name="connsiteX46196" fmla="*/ 4860243 w 8079933"/>
              <a:gd name="connsiteY46196" fmla="*/ 243177 h 4687251"/>
              <a:gd name="connsiteX46197" fmla="*/ 4856770 w 8079933"/>
              <a:gd name="connsiteY46197" fmla="*/ 248266 h 4687251"/>
              <a:gd name="connsiteX46198" fmla="*/ 4852756 w 8079933"/>
              <a:gd name="connsiteY46198" fmla="*/ 245559 h 4687251"/>
              <a:gd name="connsiteX46199" fmla="*/ 4852213 w 8079933"/>
              <a:gd name="connsiteY46199" fmla="*/ 241985 h 4687251"/>
              <a:gd name="connsiteX46200" fmla="*/ 4849174 w 8079933"/>
              <a:gd name="connsiteY46200" fmla="*/ 238630 h 4687251"/>
              <a:gd name="connsiteX46201" fmla="*/ 4844291 w 8079933"/>
              <a:gd name="connsiteY46201" fmla="*/ 239170 h 4687251"/>
              <a:gd name="connsiteX46202" fmla="*/ 4840385 w 8079933"/>
              <a:gd name="connsiteY46202" fmla="*/ 235381 h 4687251"/>
              <a:gd name="connsiteX46203" fmla="*/ 4840168 w 8079933"/>
              <a:gd name="connsiteY46203" fmla="*/ 232024 h 4687251"/>
              <a:gd name="connsiteX46204" fmla="*/ 4842121 w 8079933"/>
              <a:gd name="connsiteY46204" fmla="*/ 228344 h 4687251"/>
              <a:gd name="connsiteX46205" fmla="*/ 4839517 w 8079933"/>
              <a:gd name="connsiteY46205" fmla="*/ 221955 h 4687251"/>
              <a:gd name="connsiteX46206" fmla="*/ 4838323 w 8079933"/>
              <a:gd name="connsiteY46206" fmla="*/ 216326 h 4687251"/>
              <a:gd name="connsiteX46207" fmla="*/ 4839842 w 8079933"/>
              <a:gd name="connsiteY46207" fmla="*/ 209938 h 4687251"/>
              <a:gd name="connsiteX46208" fmla="*/ 4843966 w 8079933"/>
              <a:gd name="connsiteY46208" fmla="*/ 207231 h 4687251"/>
              <a:gd name="connsiteX46209" fmla="*/ 4848306 w 8079933"/>
              <a:gd name="connsiteY46209" fmla="*/ 201492 h 4687251"/>
              <a:gd name="connsiteX46210" fmla="*/ 4848306 w 8079933"/>
              <a:gd name="connsiteY46210" fmla="*/ 198569 h 4687251"/>
              <a:gd name="connsiteX46211" fmla="*/ 4849717 w 8079933"/>
              <a:gd name="connsiteY46211" fmla="*/ 195213 h 4687251"/>
              <a:gd name="connsiteX46212" fmla="*/ 5325020 w 8079933"/>
              <a:gd name="connsiteY46212" fmla="*/ 191316 h 4687251"/>
              <a:gd name="connsiteX46213" fmla="*/ 5333484 w 8079933"/>
              <a:gd name="connsiteY46213" fmla="*/ 192616 h 4687251"/>
              <a:gd name="connsiteX46214" fmla="*/ 5343576 w 8079933"/>
              <a:gd name="connsiteY46214" fmla="*/ 198029 h 4687251"/>
              <a:gd name="connsiteX46215" fmla="*/ 5344553 w 8079933"/>
              <a:gd name="connsiteY46215" fmla="*/ 201276 h 4687251"/>
              <a:gd name="connsiteX46216" fmla="*/ 5341840 w 8079933"/>
              <a:gd name="connsiteY46216" fmla="*/ 208316 h 4687251"/>
              <a:gd name="connsiteX46217" fmla="*/ 5339778 w 8079933"/>
              <a:gd name="connsiteY46217" fmla="*/ 214919 h 4687251"/>
              <a:gd name="connsiteX46218" fmla="*/ 5336414 w 8079933"/>
              <a:gd name="connsiteY46218" fmla="*/ 216760 h 4687251"/>
              <a:gd name="connsiteX46219" fmla="*/ 5330989 w 8079933"/>
              <a:gd name="connsiteY46219" fmla="*/ 221416 h 4687251"/>
              <a:gd name="connsiteX46220" fmla="*/ 5326322 w 8079933"/>
              <a:gd name="connsiteY46220" fmla="*/ 224988 h 4687251"/>
              <a:gd name="connsiteX46221" fmla="*/ 5321330 w 8079933"/>
              <a:gd name="connsiteY46221" fmla="*/ 224555 h 4687251"/>
              <a:gd name="connsiteX46222" fmla="*/ 5316881 w 8079933"/>
              <a:gd name="connsiteY46222" fmla="*/ 221957 h 4687251"/>
              <a:gd name="connsiteX46223" fmla="*/ 5316555 w 8079933"/>
              <a:gd name="connsiteY46223" fmla="*/ 219899 h 4687251"/>
              <a:gd name="connsiteX46224" fmla="*/ 5322198 w 8079933"/>
              <a:gd name="connsiteY46224" fmla="*/ 219791 h 4687251"/>
              <a:gd name="connsiteX46225" fmla="*/ 5328926 w 8079933"/>
              <a:gd name="connsiteY46225" fmla="*/ 217950 h 4687251"/>
              <a:gd name="connsiteX46226" fmla="*/ 5330989 w 8079933"/>
              <a:gd name="connsiteY46226" fmla="*/ 216434 h 4687251"/>
              <a:gd name="connsiteX46227" fmla="*/ 5327733 w 8079933"/>
              <a:gd name="connsiteY46227" fmla="*/ 215352 h 4687251"/>
              <a:gd name="connsiteX46228" fmla="*/ 5318943 w 8079933"/>
              <a:gd name="connsiteY46228" fmla="*/ 215570 h 4687251"/>
              <a:gd name="connsiteX46229" fmla="*/ 5312866 w 8079933"/>
              <a:gd name="connsiteY46229" fmla="*/ 213405 h 4687251"/>
              <a:gd name="connsiteX46230" fmla="*/ 5309936 w 8079933"/>
              <a:gd name="connsiteY46230" fmla="*/ 208748 h 4687251"/>
              <a:gd name="connsiteX46231" fmla="*/ 5304836 w 8079933"/>
              <a:gd name="connsiteY46231" fmla="*/ 206366 h 4687251"/>
              <a:gd name="connsiteX46232" fmla="*/ 5302448 w 8079933"/>
              <a:gd name="connsiteY46232" fmla="*/ 202359 h 4687251"/>
              <a:gd name="connsiteX46233" fmla="*/ 5296480 w 8079933"/>
              <a:gd name="connsiteY46233" fmla="*/ 201061 h 4687251"/>
              <a:gd name="connsiteX46234" fmla="*/ 5294744 w 8079933"/>
              <a:gd name="connsiteY46234" fmla="*/ 197920 h 4687251"/>
              <a:gd name="connsiteX46235" fmla="*/ 5296046 w 8079933"/>
              <a:gd name="connsiteY46235" fmla="*/ 196621 h 4687251"/>
              <a:gd name="connsiteX46236" fmla="*/ 5301906 w 8079933"/>
              <a:gd name="connsiteY46236" fmla="*/ 196514 h 4687251"/>
              <a:gd name="connsiteX46237" fmla="*/ 5306138 w 8079933"/>
              <a:gd name="connsiteY46237" fmla="*/ 193049 h 4687251"/>
              <a:gd name="connsiteX46238" fmla="*/ 5309176 w 8079933"/>
              <a:gd name="connsiteY46238" fmla="*/ 193049 h 4687251"/>
              <a:gd name="connsiteX46239" fmla="*/ 5313517 w 8079933"/>
              <a:gd name="connsiteY46239" fmla="*/ 194781 h 4687251"/>
              <a:gd name="connsiteX46240" fmla="*/ 5317749 w 8079933"/>
              <a:gd name="connsiteY46240" fmla="*/ 192724 h 4687251"/>
              <a:gd name="connsiteX46241" fmla="*/ 4756827 w 8079933"/>
              <a:gd name="connsiteY46241" fmla="*/ 190882 h 4687251"/>
              <a:gd name="connsiteX46242" fmla="*/ 4757912 w 8079933"/>
              <a:gd name="connsiteY46242" fmla="*/ 193806 h 4687251"/>
              <a:gd name="connsiteX46243" fmla="*/ 4755307 w 8079933"/>
              <a:gd name="connsiteY46243" fmla="*/ 195972 h 4687251"/>
              <a:gd name="connsiteX46244" fmla="*/ 4754874 w 8079933"/>
              <a:gd name="connsiteY46244" fmla="*/ 192614 h 4687251"/>
              <a:gd name="connsiteX46245" fmla="*/ 5496586 w 8079933"/>
              <a:gd name="connsiteY46245" fmla="*/ 188392 h 4687251"/>
              <a:gd name="connsiteX46246" fmla="*/ 5499841 w 8079933"/>
              <a:gd name="connsiteY46246" fmla="*/ 188392 h 4687251"/>
              <a:gd name="connsiteX46247" fmla="*/ 5506027 w 8079933"/>
              <a:gd name="connsiteY46247" fmla="*/ 191316 h 4687251"/>
              <a:gd name="connsiteX46248" fmla="*/ 5510693 w 8079933"/>
              <a:gd name="connsiteY46248" fmla="*/ 192398 h 4687251"/>
              <a:gd name="connsiteX46249" fmla="*/ 5515468 w 8079933"/>
              <a:gd name="connsiteY46249" fmla="*/ 194455 h 4687251"/>
              <a:gd name="connsiteX46250" fmla="*/ 5516336 w 8079933"/>
              <a:gd name="connsiteY46250" fmla="*/ 210047 h 4687251"/>
              <a:gd name="connsiteX46251" fmla="*/ 5518181 w 8079933"/>
              <a:gd name="connsiteY46251" fmla="*/ 213295 h 4687251"/>
              <a:gd name="connsiteX46252" fmla="*/ 5520785 w 8079933"/>
              <a:gd name="connsiteY46252" fmla="*/ 213295 h 4687251"/>
              <a:gd name="connsiteX46253" fmla="*/ 5520785 w 8079933"/>
              <a:gd name="connsiteY46253" fmla="*/ 208855 h 4687251"/>
              <a:gd name="connsiteX46254" fmla="*/ 5524040 w 8079933"/>
              <a:gd name="connsiteY46254" fmla="*/ 206257 h 4687251"/>
              <a:gd name="connsiteX46255" fmla="*/ 5524040 w 8079933"/>
              <a:gd name="connsiteY46255" fmla="*/ 203117 h 4687251"/>
              <a:gd name="connsiteX46256" fmla="*/ 5520567 w 8079933"/>
              <a:gd name="connsiteY46256" fmla="*/ 199004 h 4687251"/>
              <a:gd name="connsiteX46257" fmla="*/ 5520567 w 8079933"/>
              <a:gd name="connsiteY46257" fmla="*/ 196621 h 4687251"/>
              <a:gd name="connsiteX46258" fmla="*/ 5523280 w 8079933"/>
              <a:gd name="connsiteY46258" fmla="*/ 198570 h 4687251"/>
              <a:gd name="connsiteX46259" fmla="*/ 5528055 w 8079933"/>
              <a:gd name="connsiteY46259" fmla="*/ 204525 h 4687251"/>
              <a:gd name="connsiteX46260" fmla="*/ 5530334 w 8079933"/>
              <a:gd name="connsiteY46260" fmla="*/ 204525 h 4687251"/>
              <a:gd name="connsiteX46261" fmla="*/ 5531202 w 8079933"/>
              <a:gd name="connsiteY46261" fmla="*/ 200194 h 4687251"/>
              <a:gd name="connsiteX46262" fmla="*/ 5534241 w 8079933"/>
              <a:gd name="connsiteY46262" fmla="*/ 200194 h 4687251"/>
              <a:gd name="connsiteX46263" fmla="*/ 5537822 w 8079933"/>
              <a:gd name="connsiteY46263" fmla="*/ 204308 h 4687251"/>
              <a:gd name="connsiteX46264" fmla="*/ 5539016 w 8079933"/>
              <a:gd name="connsiteY46264" fmla="*/ 207774 h 4687251"/>
              <a:gd name="connsiteX46265" fmla="*/ 5542488 w 8079933"/>
              <a:gd name="connsiteY46265" fmla="*/ 208964 h 4687251"/>
              <a:gd name="connsiteX46266" fmla="*/ 5543682 w 8079933"/>
              <a:gd name="connsiteY46266" fmla="*/ 206907 h 4687251"/>
              <a:gd name="connsiteX46267" fmla="*/ 5546286 w 8079933"/>
              <a:gd name="connsiteY46267" fmla="*/ 207557 h 4687251"/>
              <a:gd name="connsiteX46268" fmla="*/ 5552147 w 8079933"/>
              <a:gd name="connsiteY46268" fmla="*/ 213186 h 4687251"/>
              <a:gd name="connsiteX46269" fmla="*/ 5557789 w 8079933"/>
              <a:gd name="connsiteY46269" fmla="*/ 215460 h 4687251"/>
              <a:gd name="connsiteX46270" fmla="*/ 5561370 w 8079933"/>
              <a:gd name="connsiteY46270" fmla="*/ 217735 h 4687251"/>
              <a:gd name="connsiteX46271" fmla="*/ 5563432 w 8079933"/>
              <a:gd name="connsiteY46271" fmla="*/ 216327 h 4687251"/>
              <a:gd name="connsiteX46272" fmla="*/ 5568098 w 8079933"/>
              <a:gd name="connsiteY46272" fmla="*/ 216327 h 4687251"/>
              <a:gd name="connsiteX46273" fmla="*/ 5575694 w 8079933"/>
              <a:gd name="connsiteY46273" fmla="*/ 221306 h 4687251"/>
              <a:gd name="connsiteX46274" fmla="*/ 5575694 w 8079933"/>
              <a:gd name="connsiteY46274" fmla="*/ 225638 h 4687251"/>
              <a:gd name="connsiteX46275" fmla="*/ 5578408 w 8079933"/>
              <a:gd name="connsiteY46275" fmla="*/ 231376 h 4687251"/>
              <a:gd name="connsiteX46276" fmla="*/ 5584592 w 8079933"/>
              <a:gd name="connsiteY46276" fmla="*/ 238739 h 4687251"/>
              <a:gd name="connsiteX46277" fmla="*/ 5586004 w 8079933"/>
              <a:gd name="connsiteY46277" fmla="*/ 243935 h 4687251"/>
              <a:gd name="connsiteX46278" fmla="*/ 5581880 w 8079933"/>
              <a:gd name="connsiteY46278" fmla="*/ 253247 h 4687251"/>
              <a:gd name="connsiteX46279" fmla="*/ 5578625 w 8079933"/>
              <a:gd name="connsiteY46279" fmla="*/ 255521 h 4687251"/>
              <a:gd name="connsiteX46280" fmla="*/ 5577430 w 8079933"/>
              <a:gd name="connsiteY46280" fmla="*/ 259527 h 4687251"/>
              <a:gd name="connsiteX46281" fmla="*/ 5569726 w 8079933"/>
              <a:gd name="connsiteY46281" fmla="*/ 265698 h 4687251"/>
              <a:gd name="connsiteX46282" fmla="*/ 5564409 w 8079933"/>
              <a:gd name="connsiteY46282" fmla="*/ 267538 h 4687251"/>
              <a:gd name="connsiteX46283" fmla="*/ 5562347 w 8079933"/>
              <a:gd name="connsiteY46283" fmla="*/ 271112 h 4687251"/>
              <a:gd name="connsiteX46284" fmla="*/ 5560068 w 8079933"/>
              <a:gd name="connsiteY46284" fmla="*/ 275551 h 4687251"/>
              <a:gd name="connsiteX46285" fmla="*/ 5556595 w 8079933"/>
              <a:gd name="connsiteY46285" fmla="*/ 275551 h 4687251"/>
              <a:gd name="connsiteX46286" fmla="*/ 5553883 w 8079933"/>
              <a:gd name="connsiteY46286" fmla="*/ 273169 h 4687251"/>
              <a:gd name="connsiteX46287" fmla="*/ 5549867 w 8079933"/>
              <a:gd name="connsiteY46287" fmla="*/ 273818 h 4687251"/>
              <a:gd name="connsiteX46288" fmla="*/ 5539016 w 8079933"/>
              <a:gd name="connsiteY46288" fmla="*/ 280856 h 4687251"/>
              <a:gd name="connsiteX46289" fmla="*/ 5538364 w 8079933"/>
              <a:gd name="connsiteY46289" fmla="*/ 284753 h 4687251"/>
              <a:gd name="connsiteX46290" fmla="*/ 5539233 w 8079933"/>
              <a:gd name="connsiteY46290" fmla="*/ 287677 h 4687251"/>
              <a:gd name="connsiteX46291" fmla="*/ 5535651 w 8079933"/>
              <a:gd name="connsiteY46291" fmla="*/ 289735 h 4687251"/>
              <a:gd name="connsiteX46292" fmla="*/ 5530551 w 8079933"/>
              <a:gd name="connsiteY46292" fmla="*/ 296987 h 4687251"/>
              <a:gd name="connsiteX46293" fmla="*/ 5527404 w 8079933"/>
              <a:gd name="connsiteY46293" fmla="*/ 303376 h 4687251"/>
              <a:gd name="connsiteX46294" fmla="*/ 5521219 w 8079933"/>
              <a:gd name="connsiteY46294" fmla="*/ 305435 h 4687251"/>
              <a:gd name="connsiteX46295" fmla="*/ 5518289 w 8079933"/>
              <a:gd name="connsiteY46295" fmla="*/ 302725 h 4687251"/>
              <a:gd name="connsiteX46296" fmla="*/ 5518289 w 8079933"/>
              <a:gd name="connsiteY46296" fmla="*/ 298070 h 4687251"/>
              <a:gd name="connsiteX46297" fmla="*/ 5514165 w 8079933"/>
              <a:gd name="connsiteY46297" fmla="*/ 294281 h 4687251"/>
              <a:gd name="connsiteX46298" fmla="*/ 5511561 w 8079933"/>
              <a:gd name="connsiteY46298" fmla="*/ 286919 h 4687251"/>
              <a:gd name="connsiteX46299" fmla="*/ 5508414 w 8079933"/>
              <a:gd name="connsiteY46299" fmla="*/ 279881 h 4687251"/>
              <a:gd name="connsiteX46300" fmla="*/ 5510151 w 8079933"/>
              <a:gd name="connsiteY46300" fmla="*/ 277282 h 4687251"/>
              <a:gd name="connsiteX46301" fmla="*/ 5509499 w 8079933"/>
              <a:gd name="connsiteY46301" fmla="*/ 272844 h 4687251"/>
              <a:gd name="connsiteX46302" fmla="*/ 5506895 w 8079933"/>
              <a:gd name="connsiteY46302" fmla="*/ 270786 h 4687251"/>
              <a:gd name="connsiteX46303" fmla="*/ 5506895 w 8079933"/>
              <a:gd name="connsiteY46303" fmla="*/ 264940 h 4687251"/>
              <a:gd name="connsiteX46304" fmla="*/ 5505159 w 8079933"/>
              <a:gd name="connsiteY46304" fmla="*/ 258769 h 4687251"/>
              <a:gd name="connsiteX46305" fmla="*/ 5501034 w 8079933"/>
              <a:gd name="connsiteY46305" fmla="*/ 250324 h 4687251"/>
              <a:gd name="connsiteX46306" fmla="*/ 5503422 w 8079933"/>
              <a:gd name="connsiteY46306" fmla="*/ 242203 h 4687251"/>
              <a:gd name="connsiteX46307" fmla="*/ 5507872 w 8079933"/>
              <a:gd name="connsiteY46307" fmla="*/ 241336 h 4687251"/>
              <a:gd name="connsiteX46308" fmla="*/ 5510802 w 8079933"/>
              <a:gd name="connsiteY46308" fmla="*/ 238630 h 4687251"/>
              <a:gd name="connsiteX46309" fmla="*/ 5506461 w 8079933"/>
              <a:gd name="connsiteY46309" fmla="*/ 238630 h 4687251"/>
              <a:gd name="connsiteX46310" fmla="*/ 5502879 w 8079933"/>
              <a:gd name="connsiteY46310" fmla="*/ 235058 h 4687251"/>
              <a:gd name="connsiteX46311" fmla="*/ 5497671 w 8079933"/>
              <a:gd name="connsiteY46311" fmla="*/ 223039 h 4687251"/>
              <a:gd name="connsiteX46312" fmla="*/ 5498539 w 8079933"/>
              <a:gd name="connsiteY46312" fmla="*/ 219141 h 4687251"/>
              <a:gd name="connsiteX46313" fmla="*/ 5496586 w 8079933"/>
              <a:gd name="connsiteY46313" fmla="*/ 216435 h 4687251"/>
              <a:gd name="connsiteX46314" fmla="*/ 5493005 w 8079933"/>
              <a:gd name="connsiteY46314" fmla="*/ 215570 h 4687251"/>
              <a:gd name="connsiteX46315" fmla="*/ 5490617 w 8079933"/>
              <a:gd name="connsiteY46315" fmla="*/ 212970 h 4687251"/>
              <a:gd name="connsiteX46316" fmla="*/ 5490617 w 8079933"/>
              <a:gd name="connsiteY46316" fmla="*/ 208098 h 4687251"/>
              <a:gd name="connsiteX46317" fmla="*/ 5492028 w 8079933"/>
              <a:gd name="connsiteY46317" fmla="*/ 206691 h 4687251"/>
              <a:gd name="connsiteX46318" fmla="*/ 5491377 w 8079933"/>
              <a:gd name="connsiteY46318" fmla="*/ 203876 h 4687251"/>
              <a:gd name="connsiteX46319" fmla="*/ 5490509 w 8079933"/>
              <a:gd name="connsiteY46319" fmla="*/ 200627 h 4687251"/>
              <a:gd name="connsiteX46320" fmla="*/ 5492462 w 8079933"/>
              <a:gd name="connsiteY46320" fmla="*/ 200627 h 4687251"/>
              <a:gd name="connsiteX46321" fmla="*/ 5495718 w 8079933"/>
              <a:gd name="connsiteY46321" fmla="*/ 203226 h 4687251"/>
              <a:gd name="connsiteX46322" fmla="*/ 5497454 w 8079933"/>
              <a:gd name="connsiteY46322" fmla="*/ 206149 h 4687251"/>
              <a:gd name="connsiteX46323" fmla="*/ 5501252 w 8079933"/>
              <a:gd name="connsiteY46323" fmla="*/ 206149 h 4687251"/>
              <a:gd name="connsiteX46324" fmla="*/ 5503314 w 8079933"/>
              <a:gd name="connsiteY46324" fmla="*/ 204092 h 4687251"/>
              <a:gd name="connsiteX46325" fmla="*/ 5499841 w 8079933"/>
              <a:gd name="connsiteY46325" fmla="*/ 199761 h 4687251"/>
              <a:gd name="connsiteX46326" fmla="*/ 5494958 w 8079933"/>
              <a:gd name="connsiteY46326" fmla="*/ 196621 h 4687251"/>
              <a:gd name="connsiteX46327" fmla="*/ 5493873 w 8079933"/>
              <a:gd name="connsiteY46327" fmla="*/ 192182 h 4687251"/>
              <a:gd name="connsiteX46328" fmla="*/ 5087586 w 8079933"/>
              <a:gd name="connsiteY46328" fmla="*/ 184818 h 4687251"/>
              <a:gd name="connsiteX46329" fmla="*/ 5095508 w 8079933"/>
              <a:gd name="connsiteY46329" fmla="*/ 184818 h 4687251"/>
              <a:gd name="connsiteX46330" fmla="*/ 5102127 w 8079933"/>
              <a:gd name="connsiteY46330" fmla="*/ 186552 h 4687251"/>
              <a:gd name="connsiteX46331" fmla="*/ 5104189 w 8079933"/>
              <a:gd name="connsiteY46331" fmla="*/ 191315 h 4687251"/>
              <a:gd name="connsiteX46332" fmla="*/ 5101476 w 8079933"/>
              <a:gd name="connsiteY46332" fmla="*/ 194996 h 4687251"/>
              <a:gd name="connsiteX46333" fmla="*/ 5095508 w 8079933"/>
              <a:gd name="connsiteY46333" fmla="*/ 196838 h 4687251"/>
              <a:gd name="connsiteX46334" fmla="*/ 5086609 w 8079933"/>
              <a:gd name="connsiteY46334" fmla="*/ 196838 h 4687251"/>
              <a:gd name="connsiteX46335" fmla="*/ 5083245 w 8079933"/>
              <a:gd name="connsiteY46335" fmla="*/ 195429 h 4687251"/>
              <a:gd name="connsiteX46336" fmla="*/ 5081509 w 8079933"/>
              <a:gd name="connsiteY46336" fmla="*/ 193372 h 4687251"/>
              <a:gd name="connsiteX46337" fmla="*/ 5081509 w 8079933"/>
              <a:gd name="connsiteY46337" fmla="*/ 189908 h 4687251"/>
              <a:gd name="connsiteX46338" fmla="*/ 6482241 w 8079933"/>
              <a:gd name="connsiteY46338" fmla="*/ 182330 h 4687251"/>
              <a:gd name="connsiteX46339" fmla="*/ 6484629 w 8079933"/>
              <a:gd name="connsiteY46339" fmla="*/ 185036 h 4687251"/>
              <a:gd name="connsiteX46340" fmla="*/ 6484303 w 8079933"/>
              <a:gd name="connsiteY46340" fmla="*/ 187743 h 4687251"/>
              <a:gd name="connsiteX46341" fmla="*/ 6485713 w 8079933"/>
              <a:gd name="connsiteY46341" fmla="*/ 191424 h 4687251"/>
              <a:gd name="connsiteX46342" fmla="*/ 6488969 w 8079933"/>
              <a:gd name="connsiteY46342" fmla="*/ 190882 h 4687251"/>
              <a:gd name="connsiteX46343" fmla="*/ 6493092 w 8079933"/>
              <a:gd name="connsiteY46343" fmla="*/ 192616 h 4687251"/>
              <a:gd name="connsiteX46344" fmla="*/ 6494938 w 8079933"/>
              <a:gd name="connsiteY46344" fmla="*/ 199327 h 4687251"/>
              <a:gd name="connsiteX46345" fmla="*/ 6491356 w 8079933"/>
              <a:gd name="connsiteY46345" fmla="*/ 204525 h 4687251"/>
              <a:gd name="connsiteX46346" fmla="*/ 6489512 w 8079933"/>
              <a:gd name="connsiteY46346" fmla="*/ 210696 h 4687251"/>
              <a:gd name="connsiteX46347" fmla="*/ 6480179 w 8079933"/>
              <a:gd name="connsiteY46347" fmla="*/ 216542 h 4687251"/>
              <a:gd name="connsiteX46348" fmla="*/ 6475839 w 8079933"/>
              <a:gd name="connsiteY46348" fmla="*/ 218274 h 4687251"/>
              <a:gd name="connsiteX46349" fmla="*/ 6468785 w 8079933"/>
              <a:gd name="connsiteY46349" fmla="*/ 216002 h 4687251"/>
              <a:gd name="connsiteX46350" fmla="*/ 6462600 w 8079933"/>
              <a:gd name="connsiteY46350" fmla="*/ 218058 h 4687251"/>
              <a:gd name="connsiteX46351" fmla="*/ 6454461 w 8079933"/>
              <a:gd name="connsiteY46351" fmla="*/ 217733 h 4687251"/>
              <a:gd name="connsiteX46352" fmla="*/ 6445997 w 8079933"/>
              <a:gd name="connsiteY46352" fmla="*/ 213727 h 4687251"/>
              <a:gd name="connsiteX46353" fmla="*/ 6433843 w 8079933"/>
              <a:gd name="connsiteY46353" fmla="*/ 212537 h 4687251"/>
              <a:gd name="connsiteX46354" fmla="*/ 6417457 w 8079933"/>
              <a:gd name="connsiteY46354" fmla="*/ 206907 h 4687251"/>
              <a:gd name="connsiteX46355" fmla="*/ 6415069 w 8079933"/>
              <a:gd name="connsiteY46355" fmla="*/ 202252 h 4687251"/>
              <a:gd name="connsiteX46356" fmla="*/ 6406714 w 8079933"/>
              <a:gd name="connsiteY46356" fmla="*/ 191534 h 4687251"/>
              <a:gd name="connsiteX46357" fmla="*/ 6404652 w 8079933"/>
              <a:gd name="connsiteY46357" fmla="*/ 182761 h 4687251"/>
              <a:gd name="connsiteX46358" fmla="*/ 6408667 w 8079933"/>
              <a:gd name="connsiteY46358" fmla="*/ 183521 h 4687251"/>
              <a:gd name="connsiteX46359" fmla="*/ 6409210 w 8079933"/>
              <a:gd name="connsiteY46359" fmla="*/ 186769 h 4687251"/>
              <a:gd name="connsiteX46360" fmla="*/ 6412465 w 8079933"/>
              <a:gd name="connsiteY46360" fmla="*/ 190016 h 4687251"/>
              <a:gd name="connsiteX46361" fmla="*/ 6421255 w 8079933"/>
              <a:gd name="connsiteY46361" fmla="*/ 192074 h 4687251"/>
              <a:gd name="connsiteX46362" fmla="*/ 6424511 w 8079933"/>
              <a:gd name="connsiteY46362" fmla="*/ 188608 h 4687251"/>
              <a:gd name="connsiteX46363" fmla="*/ 6424511 w 8079933"/>
              <a:gd name="connsiteY46363" fmla="*/ 184711 h 4687251"/>
              <a:gd name="connsiteX46364" fmla="*/ 6428200 w 8079933"/>
              <a:gd name="connsiteY46364" fmla="*/ 186119 h 4687251"/>
              <a:gd name="connsiteX46365" fmla="*/ 6435905 w 8079933"/>
              <a:gd name="connsiteY46365" fmla="*/ 186119 h 4687251"/>
              <a:gd name="connsiteX46366" fmla="*/ 6441222 w 8079933"/>
              <a:gd name="connsiteY46366" fmla="*/ 184819 h 4687251"/>
              <a:gd name="connsiteX46367" fmla="*/ 6444477 w 8079933"/>
              <a:gd name="connsiteY46367" fmla="*/ 184711 h 4687251"/>
              <a:gd name="connsiteX46368" fmla="*/ 6445671 w 8079933"/>
              <a:gd name="connsiteY46368" fmla="*/ 188608 h 4687251"/>
              <a:gd name="connsiteX46369" fmla="*/ 6447407 w 8079933"/>
              <a:gd name="connsiteY46369" fmla="*/ 191424 h 4687251"/>
              <a:gd name="connsiteX46370" fmla="*/ 6452291 w 8079933"/>
              <a:gd name="connsiteY46370" fmla="*/ 190234 h 4687251"/>
              <a:gd name="connsiteX46371" fmla="*/ 6459452 w 8079933"/>
              <a:gd name="connsiteY46371" fmla="*/ 185036 h 4687251"/>
              <a:gd name="connsiteX46372" fmla="*/ 6471064 w 8079933"/>
              <a:gd name="connsiteY46372" fmla="*/ 182761 h 4687251"/>
              <a:gd name="connsiteX46373" fmla="*/ 6478334 w 8079933"/>
              <a:gd name="connsiteY46373" fmla="*/ 184711 h 4687251"/>
              <a:gd name="connsiteX46374" fmla="*/ 6330645 w 8079933"/>
              <a:gd name="connsiteY46374" fmla="*/ 182113 h 4687251"/>
              <a:gd name="connsiteX46375" fmla="*/ 6335637 w 8079933"/>
              <a:gd name="connsiteY46375" fmla="*/ 182761 h 4687251"/>
              <a:gd name="connsiteX46376" fmla="*/ 6347140 w 8079933"/>
              <a:gd name="connsiteY46376" fmla="*/ 188607 h 4687251"/>
              <a:gd name="connsiteX46377" fmla="*/ 6352674 w 8079933"/>
              <a:gd name="connsiteY46377" fmla="*/ 189148 h 4687251"/>
              <a:gd name="connsiteX46378" fmla="*/ 6356797 w 8079933"/>
              <a:gd name="connsiteY46378" fmla="*/ 188174 h 4687251"/>
              <a:gd name="connsiteX46379" fmla="*/ 6368192 w 8079933"/>
              <a:gd name="connsiteY46379" fmla="*/ 189473 h 4687251"/>
              <a:gd name="connsiteX46380" fmla="*/ 6380237 w 8079933"/>
              <a:gd name="connsiteY46380" fmla="*/ 193154 h 4687251"/>
              <a:gd name="connsiteX46381" fmla="*/ 6380454 w 8079933"/>
              <a:gd name="connsiteY46381" fmla="*/ 195537 h 4687251"/>
              <a:gd name="connsiteX46382" fmla="*/ 6375028 w 8079933"/>
              <a:gd name="connsiteY46382" fmla="*/ 196945 h 4687251"/>
              <a:gd name="connsiteX46383" fmla="*/ 6371990 w 8079933"/>
              <a:gd name="connsiteY46383" fmla="*/ 200301 h 4687251"/>
              <a:gd name="connsiteX46384" fmla="*/ 6371990 w 8079933"/>
              <a:gd name="connsiteY46384" fmla="*/ 205172 h 4687251"/>
              <a:gd name="connsiteX46385" fmla="*/ 6376765 w 8079933"/>
              <a:gd name="connsiteY46385" fmla="*/ 210695 h 4687251"/>
              <a:gd name="connsiteX46386" fmla="*/ 6382516 w 8079933"/>
              <a:gd name="connsiteY46386" fmla="*/ 212211 h 4687251"/>
              <a:gd name="connsiteX46387" fmla="*/ 6382625 w 8079933"/>
              <a:gd name="connsiteY46387" fmla="*/ 218166 h 4687251"/>
              <a:gd name="connsiteX46388" fmla="*/ 6383602 w 8079933"/>
              <a:gd name="connsiteY46388" fmla="*/ 221846 h 4687251"/>
              <a:gd name="connsiteX46389" fmla="*/ 6381213 w 8079933"/>
              <a:gd name="connsiteY46389" fmla="*/ 225962 h 4687251"/>
              <a:gd name="connsiteX46390" fmla="*/ 6380129 w 8079933"/>
              <a:gd name="connsiteY46390" fmla="*/ 232349 h 4687251"/>
              <a:gd name="connsiteX46391" fmla="*/ 6376005 w 8079933"/>
              <a:gd name="connsiteY46391" fmla="*/ 236247 h 4687251"/>
              <a:gd name="connsiteX46392" fmla="*/ 6374377 w 8079933"/>
              <a:gd name="connsiteY46392" fmla="*/ 239495 h 4687251"/>
              <a:gd name="connsiteX46393" fmla="*/ 6369819 w 8079933"/>
              <a:gd name="connsiteY46393" fmla="*/ 235920 h 4687251"/>
              <a:gd name="connsiteX46394" fmla="*/ 6367215 w 8079933"/>
              <a:gd name="connsiteY46394" fmla="*/ 236247 h 4687251"/>
              <a:gd name="connsiteX46395" fmla="*/ 6362007 w 8079933"/>
              <a:gd name="connsiteY46395" fmla="*/ 239927 h 4687251"/>
              <a:gd name="connsiteX46396" fmla="*/ 6357014 w 8079933"/>
              <a:gd name="connsiteY46396" fmla="*/ 240144 h 4687251"/>
              <a:gd name="connsiteX46397" fmla="*/ 6346380 w 8079933"/>
              <a:gd name="connsiteY46397" fmla="*/ 234948 h 4687251"/>
              <a:gd name="connsiteX46398" fmla="*/ 6340628 w 8079933"/>
              <a:gd name="connsiteY46398" fmla="*/ 229858 h 4687251"/>
              <a:gd name="connsiteX46399" fmla="*/ 6329993 w 8079933"/>
              <a:gd name="connsiteY46399" fmla="*/ 220980 h 4687251"/>
              <a:gd name="connsiteX46400" fmla="*/ 6328366 w 8079933"/>
              <a:gd name="connsiteY46400" fmla="*/ 214484 h 4687251"/>
              <a:gd name="connsiteX46401" fmla="*/ 6329776 w 8079933"/>
              <a:gd name="connsiteY46401" fmla="*/ 210261 h 4687251"/>
              <a:gd name="connsiteX46402" fmla="*/ 6330211 w 8079933"/>
              <a:gd name="connsiteY46402" fmla="*/ 205823 h 4687251"/>
              <a:gd name="connsiteX46403" fmla="*/ 6331405 w 8079933"/>
              <a:gd name="connsiteY46403" fmla="*/ 203331 h 4687251"/>
              <a:gd name="connsiteX46404" fmla="*/ 6328908 w 8079933"/>
              <a:gd name="connsiteY46404" fmla="*/ 199110 h 4687251"/>
              <a:gd name="connsiteX46405" fmla="*/ 6326195 w 8079933"/>
              <a:gd name="connsiteY46405" fmla="*/ 197487 h 4687251"/>
              <a:gd name="connsiteX46406" fmla="*/ 6325327 w 8079933"/>
              <a:gd name="connsiteY46406" fmla="*/ 192722 h 4687251"/>
              <a:gd name="connsiteX46407" fmla="*/ 6322397 w 8079933"/>
              <a:gd name="connsiteY46407" fmla="*/ 191315 h 4687251"/>
              <a:gd name="connsiteX46408" fmla="*/ 6319251 w 8079933"/>
              <a:gd name="connsiteY46408" fmla="*/ 187309 h 4687251"/>
              <a:gd name="connsiteX46409" fmla="*/ 6315995 w 8079933"/>
              <a:gd name="connsiteY46409" fmla="*/ 182544 h 4687251"/>
              <a:gd name="connsiteX46410" fmla="*/ 6323049 w 8079933"/>
              <a:gd name="connsiteY46410" fmla="*/ 182436 h 4687251"/>
              <a:gd name="connsiteX46411" fmla="*/ 2204841 w 8079933"/>
              <a:gd name="connsiteY46411" fmla="*/ 182003 h 4687251"/>
              <a:gd name="connsiteX46412" fmla="*/ 2208314 w 8079933"/>
              <a:gd name="connsiteY46412" fmla="*/ 183303 h 4687251"/>
              <a:gd name="connsiteX46413" fmla="*/ 2207988 w 8079933"/>
              <a:gd name="connsiteY46413" fmla="*/ 186659 h 4687251"/>
              <a:gd name="connsiteX46414" fmla="*/ 2210701 w 8079933"/>
              <a:gd name="connsiteY46414" fmla="*/ 191964 h 4687251"/>
              <a:gd name="connsiteX46415" fmla="*/ 2210701 w 8079933"/>
              <a:gd name="connsiteY46415" fmla="*/ 195754 h 4687251"/>
              <a:gd name="connsiteX46416" fmla="*/ 2206794 w 8079933"/>
              <a:gd name="connsiteY46416" fmla="*/ 201926 h 4687251"/>
              <a:gd name="connsiteX46417" fmla="*/ 2209725 w 8079933"/>
              <a:gd name="connsiteY46417" fmla="*/ 208421 h 4687251"/>
              <a:gd name="connsiteX46418" fmla="*/ 2206035 w 8079933"/>
              <a:gd name="connsiteY46418" fmla="*/ 218058 h 4687251"/>
              <a:gd name="connsiteX46419" fmla="*/ 2200718 w 8079933"/>
              <a:gd name="connsiteY46419" fmla="*/ 220872 h 4687251"/>
              <a:gd name="connsiteX46420" fmla="*/ 2196376 w 8079933"/>
              <a:gd name="connsiteY46420" fmla="*/ 225312 h 4687251"/>
              <a:gd name="connsiteX46421" fmla="*/ 2192470 w 8079933"/>
              <a:gd name="connsiteY46421" fmla="*/ 224445 h 4687251"/>
              <a:gd name="connsiteX46422" fmla="*/ 2188130 w 8079933"/>
              <a:gd name="connsiteY46422" fmla="*/ 224662 h 4687251"/>
              <a:gd name="connsiteX46423" fmla="*/ 2186067 w 8079933"/>
              <a:gd name="connsiteY46423" fmla="*/ 221522 h 4687251"/>
              <a:gd name="connsiteX46424" fmla="*/ 2181293 w 8079933"/>
              <a:gd name="connsiteY46424" fmla="*/ 222930 h 4687251"/>
              <a:gd name="connsiteX46425" fmla="*/ 2175216 w 8079933"/>
              <a:gd name="connsiteY46425" fmla="*/ 216217 h 4687251"/>
              <a:gd name="connsiteX46426" fmla="*/ 2175541 w 8079933"/>
              <a:gd name="connsiteY46426" fmla="*/ 210479 h 4687251"/>
              <a:gd name="connsiteX46427" fmla="*/ 2171960 w 8079933"/>
              <a:gd name="connsiteY46427" fmla="*/ 205173 h 4687251"/>
              <a:gd name="connsiteX46428" fmla="*/ 2169899 w 8079933"/>
              <a:gd name="connsiteY46428" fmla="*/ 207447 h 4687251"/>
              <a:gd name="connsiteX46429" fmla="*/ 2170115 w 8079933"/>
              <a:gd name="connsiteY46429" fmla="*/ 211236 h 4687251"/>
              <a:gd name="connsiteX46430" fmla="*/ 2166101 w 8079933"/>
              <a:gd name="connsiteY46430" fmla="*/ 214593 h 4687251"/>
              <a:gd name="connsiteX46431" fmla="*/ 2162628 w 8079933"/>
              <a:gd name="connsiteY46431" fmla="*/ 210370 h 4687251"/>
              <a:gd name="connsiteX46432" fmla="*/ 2161434 w 8079933"/>
              <a:gd name="connsiteY46432" fmla="*/ 205173 h 4687251"/>
              <a:gd name="connsiteX46433" fmla="*/ 2163822 w 8079933"/>
              <a:gd name="connsiteY46433" fmla="*/ 202250 h 4687251"/>
              <a:gd name="connsiteX46434" fmla="*/ 2160566 w 8079933"/>
              <a:gd name="connsiteY46434" fmla="*/ 199543 h 4687251"/>
              <a:gd name="connsiteX46435" fmla="*/ 2156335 w 8079933"/>
              <a:gd name="connsiteY46435" fmla="*/ 200193 h 4687251"/>
              <a:gd name="connsiteX46436" fmla="*/ 2153404 w 8079933"/>
              <a:gd name="connsiteY46436" fmla="*/ 199001 h 4687251"/>
              <a:gd name="connsiteX46437" fmla="*/ 2150257 w 8079933"/>
              <a:gd name="connsiteY46437" fmla="*/ 200409 h 4687251"/>
              <a:gd name="connsiteX46438" fmla="*/ 2145049 w 8079933"/>
              <a:gd name="connsiteY46438" fmla="*/ 199868 h 4687251"/>
              <a:gd name="connsiteX46439" fmla="*/ 2140599 w 8079933"/>
              <a:gd name="connsiteY46439" fmla="*/ 201275 h 4687251"/>
              <a:gd name="connsiteX46440" fmla="*/ 2140491 w 8079933"/>
              <a:gd name="connsiteY46440" fmla="*/ 197161 h 4687251"/>
              <a:gd name="connsiteX46441" fmla="*/ 2144614 w 8079933"/>
              <a:gd name="connsiteY46441" fmla="*/ 192613 h 4687251"/>
              <a:gd name="connsiteX46442" fmla="*/ 2145591 w 8079933"/>
              <a:gd name="connsiteY46442" fmla="*/ 189366 h 4687251"/>
              <a:gd name="connsiteX46443" fmla="*/ 2150800 w 8079933"/>
              <a:gd name="connsiteY46443" fmla="*/ 189040 h 4687251"/>
              <a:gd name="connsiteX46444" fmla="*/ 2155792 w 8079933"/>
              <a:gd name="connsiteY46444" fmla="*/ 189040 h 4687251"/>
              <a:gd name="connsiteX46445" fmla="*/ 2169573 w 8079933"/>
              <a:gd name="connsiteY46445" fmla="*/ 185035 h 4687251"/>
              <a:gd name="connsiteX46446" fmla="*/ 2173805 w 8079933"/>
              <a:gd name="connsiteY46446" fmla="*/ 185901 h 4687251"/>
              <a:gd name="connsiteX46447" fmla="*/ 2178146 w 8079933"/>
              <a:gd name="connsiteY46447" fmla="*/ 188824 h 4687251"/>
              <a:gd name="connsiteX46448" fmla="*/ 2180968 w 8079933"/>
              <a:gd name="connsiteY46448" fmla="*/ 188391 h 4687251"/>
              <a:gd name="connsiteX46449" fmla="*/ 2186394 w 8079933"/>
              <a:gd name="connsiteY46449" fmla="*/ 188175 h 4687251"/>
              <a:gd name="connsiteX46450" fmla="*/ 2192253 w 8079933"/>
              <a:gd name="connsiteY46450" fmla="*/ 183844 h 4687251"/>
              <a:gd name="connsiteX46451" fmla="*/ 2200066 w 8079933"/>
              <a:gd name="connsiteY46451" fmla="*/ 183519 h 4687251"/>
              <a:gd name="connsiteX46452" fmla="*/ 2202454 w 8079933"/>
              <a:gd name="connsiteY46452" fmla="*/ 184277 h 4687251"/>
              <a:gd name="connsiteX46453" fmla="*/ 6278772 w 8079933"/>
              <a:gd name="connsiteY46453" fmla="*/ 176483 h 4687251"/>
              <a:gd name="connsiteX46454" fmla="*/ 6283764 w 8079933"/>
              <a:gd name="connsiteY46454" fmla="*/ 178322 h 4687251"/>
              <a:gd name="connsiteX46455" fmla="*/ 6288865 w 8079933"/>
              <a:gd name="connsiteY46455" fmla="*/ 178322 h 4687251"/>
              <a:gd name="connsiteX46456" fmla="*/ 6293205 w 8079933"/>
              <a:gd name="connsiteY46456" fmla="*/ 182330 h 4687251"/>
              <a:gd name="connsiteX46457" fmla="*/ 6298957 w 8079933"/>
              <a:gd name="connsiteY46457" fmla="*/ 183629 h 4687251"/>
              <a:gd name="connsiteX46458" fmla="*/ 6307638 w 8079933"/>
              <a:gd name="connsiteY46458" fmla="*/ 183521 h 4687251"/>
              <a:gd name="connsiteX46459" fmla="*/ 6311653 w 8079933"/>
              <a:gd name="connsiteY46459" fmla="*/ 186227 h 4687251"/>
              <a:gd name="connsiteX46460" fmla="*/ 6313932 w 8079933"/>
              <a:gd name="connsiteY46460" fmla="*/ 187743 h 4687251"/>
              <a:gd name="connsiteX46461" fmla="*/ 6314149 w 8079933"/>
              <a:gd name="connsiteY46461" fmla="*/ 191207 h 4687251"/>
              <a:gd name="connsiteX46462" fmla="*/ 6312629 w 8079933"/>
              <a:gd name="connsiteY46462" fmla="*/ 192291 h 4687251"/>
              <a:gd name="connsiteX46463" fmla="*/ 6310025 w 8079933"/>
              <a:gd name="connsiteY46463" fmla="*/ 194348 h 4687251"/>
              <a:gd name="connsiteX46464" fmla="*/ 6312413 w 8079933"/>
              <a:gd name="connsiteY46464" fmla="*/ 197595 h 4687251"/>
              <a:gd name="connsiteX46465" fmla="*/ 6309699 w 8079933"/>
              <a:gd name="connsiteY46465" fmla="*/ 198786 h 4687251"/>
              <a:gd name="connsiteX46466" fmla="*/ 6309699 w 8079933"/>
              <a:gd name="connsiteY46466" fmla="*/ 201059 h 4687251"/>
              <a:gd name="connsiteX46467" fmla="*/ 6314800 w 8079933"/>
              <a:gd name="connsiteY46467" fmla="*/ 203658 h 4687251"/>
              <a:gd name="connsiteX46468" fmla="*/ 6315885 w 8079933"/>
              <a:gd name="connsiteY46468" fmla="*/ 208640 h 4687251"/>
              <a:gd name="connsiteX46469" fmla="*/ 6319466 w 8079933"/>
              <a:gd name="connsiteY46469" fmla="*/ 212861 h 4687251"/>
              <a:gd name="connsiteX46470" fmla="*/ 6320334 w 8079933"/>
              <a:gd name="connsiteY46470" fmla="*/ 216542 h 4687251"/>
              <a:gd name="connsiteX46471" fmla="*/ 6322396 w 8079933"/>
              <a:gd name="connsiteY46471" fmla="*/ 224445 h 4687251"/>
              <a:gd name="connsiteX46472" fmla="*/ 6326086 w 8079933"/>
              <a:gd name="connsiteY46472" fmla="*/ 226612 h 4687251"/>
              <a:gd name="connsiteX46473" fmla="*/ 6333573 w 8079933"/>
              <a:gd name="connsiteY46473" fmla="*/ 233865 h 4687251"/>
              <a:gd name="connsiteX46474" fmla="*/ 6334441 w 8079933"/>
              <a:gd name="connsiteY46474" fmla="*/ 236247 h 4687251"/>
              <a:gd name="connsiteX46475" fmla="*/ 6340302 w 8079933"/>
              <a:gd name="connsiteY46475" fmla="*/ 236789 h 4687251"/>
              <a:gd name="connsiteX46476" fmla="*/ 6342797 w 8079933"/>
              <a:gd name="connsiteY46476" fmla="*/ 240037 h 4687251"/>
              <a:gd name="connsiteX46477" fmla="*/ 6350936 w 8079933"/>
              <a:gd name="connsiteY46477" fmla="*/ 242095 h 4687251"/>
              <a:gd name="connsiteX46478" fmla="*/ 6357339 w 8079933"/>
              <a:gd name="connsiteY46478" fmla="*/ 246208 h 4687251"/>
              <a:gd name="connsiteX46479" fmla="*/ 6364718 w 8079933"/>
              <a:gd name="connsiteY46479" fmla="*/ 242961 h 4687251"/>
              <a:gd name="connsiteX46480" fmla="*/ 6370903 w 8079933"/>
              <a:gd name="connsiteY46480" fmla="*/ 242419 h 4687251"/>
              <a:gd name="connsiteX46481" fmla="*/ 6373182 w 8079933"/>
              <a:gd name="connsiteY46481" fmla="*/ 244368 h 4687251"/>
              <a:gd name="connsiteX46482" fmla="*/ 6369384 w 8079933"/>
              <a:gd name="connsiteY46482" fmla="*/ 248481 h 4687251"/>
              <a:gd name="connsiteX46483" fmla="*/ 6362113 w 8079933"/>
              <a:gd name="connsiteY46483" fmla="*/ 252271 h 4687251"/>
              <a:gd name="connsiteX46484" fmla="*/ 6362005 w 8079933"/>
              <a:gd name="connsiteY46484" fmla="*/ 256385 h 4687251"/>
              <a:gd name="connsiteX46485" fmla="*/ 6358206 w 8079933"/>
              <a:gd name="connsiteY46485" fmla="*/ 258443 h 4687251"/>
              <a:gd name="connsiteX46486" fmla="*/ 6354517 w 8079933"/>
              <a:gd name="connsiteY46486" fmla="*/ 256385 h 4687251"/>
              <a:gd name="connsiteX46487" fmla="*/ 6349743 w 8079933"/>
              <a:gd name="connsiteY46487" fmla="*/ 255736 h 4687251"/>
              <a:gd name="connsiteX46488" fmla="*/ 6351696 w 8079933"/>
              <a:gd name="connsiteY46488" fmla="*/ 252271 h 4687251"/>
              <a:gd name="connsiteX46489" fmla="*/ 6349634 w 8079933"/>
              <a:gd name="connsiteY46489" fmla="*/ 251081 h 4687251"/>
              <a:gd name="connsiteX46490" fmla="*/ 6345293 w 8079933"/>
              <a:gd name="connsiteY46490" fmla="*/ 254330 h 4687251"/>
              <a:gd name="connsiteX46491" fmla="*/ 6339542 w 8079933"/>
              <a:gd name="connsiteY46491" fmla="*/ 255303 h 4687251"/>
              <a:gd name="connsiteX46492" fmla="*/ 6331620 w 8079933"/>
              <a:gd name="connsiteY46492" fmla="*/ 263424 h 4687251"/>
              <a:gd name="connsiteX46493" fmla="*/ 6327171 w 8079933"/>
              <a:gd name="connsiteY46493" fmla="*/ 272410 h 4687251"/>
              <a:gd name="connsiteX46494" fmla="*/ 6323047 w 8079933"/>
              <a:gd name="connsiteY46494" fmla="*/ 278797 h 4687251"/>
              <a:gd name="connsiteX46495" fmla="*/ 6319249 w 8079933"/>
              <a:gd name="connsiteY46495" fmla="*/ 279339 h 4687251"/>
              <a:gd name="connsiteX46496" fmla="*/ 6319466 w 8079933"/>
              <a:gd name="connsiteY46496" fmla="*/ 277174 h 4687251"/>
              <a:gd name="connsiteX46497" fmla="*/ 6317621 w 8079933"/>
              <a:gd name="connsiteY46497" fmla="*/ 273818 h 4687251"/>
              <a:gd name="connsiteX46498" fmla="*/ 6312955 w 8079933"/>
              <a:gd name="connsiteY46498" fmla="*/ 272193 h 4687251"/>
              <a:gd name="connsiteX46499" fmla="*/ 6311002 w 8079933"/>
              <a:gd name="connsiteY46499" fmla="*/ 269270 h 4687251"/>
              <a:gd name="connsiteX46500" fmla="*/ 6308398 w 8079933"/>
              <a:gd name="connsiteY46500" fmla="*/ 267538 h 4687251"/>
              <a:gd name="connsiteX46501" fmla="*/ 6307312 w 8079933"/>
              <a:gd name="connsiteY46501" fmla="*/ 270027 h 4687251"/>
              <a:gd name="connsiteX46502" fmla="*/ 6307746 w 8079933"/>
              <a:gd name="connsiteY46502" fmla="*/ 273493 h 4687251"/>
              <a:gd name="connsiteX46503" fmla="*/ 6310568 w 8079933"/>
              <a:gd name="connsiteY46503" fmla="*/ 275766 h 4687251"/>
              <a:gd name="connsiteX46504" fmla="*/ 6313715 w 8079933"/>
              <a:gd name="connsiteY46504" fmla="*/ 275334 h 4687251"/>
              <a:gd name="connsiteX46505" fmla="*/ 6313389 w 8079933"/>
              <a:gd name="connsiteY46505" fmla="*/ 279232 h 4687251"/>
              <a:gd name="connsiteX46506" fmla="*/ 6316102 w 8079933"/>
              <a:gd name="connsiteY46506" fmla="*/ 284753 h 4687251"/>
              <a:gd name="connsiteX46507" fmla="*/ 6316102 w 8079933"/>
              <a:gd name="connsiteY46507" fmla="*/ 289083 h 4687251"/>
              <a:gd name="connsiteX46508" fmla="*/ 6314040 w 8079933"/>
              <a:gd name="connsiteY46508" fmla="*/ 293305 h 4687251"/>
              <a:gd name="connsiteX46509" fmla="*/ 6309808 w 8079933"/>
              <a:gd name="connsiteY46509" fmla="*/ 294172 h 4687251"/>
              <a:gd name="connsiteX46510" fmla="*/ 6305142 w 8079933"/>
              <a:gd name="connsiteY46510" fmla="*/ 291249 h 4687251"/>
              <a:gd name="connsiteX46511" fmla="*/ 6298957 w 8079933"/>
              <a:gd name="connsiteY46511" fmla="*/ 290816 h 4687251"/>
              <a:gd name="connsiteX46512" fmla="*/ 6291685 w 8079933"/>
              <a:gd name="connsiteY46512" fmla="*/ 293305 h 4687251"/>
              <a:gd name="connsiteX46513" fmla="*/ 6285175 w 8079933"/>
              <a:gd name="connsiteY46513" fmla="*/ 293524 h 4687251"/>
              <a:gd name="connsiteX46514" fmla="*/ 6280617 w 8079933"/>
              <a:gd name="connsiteY46514" fmla="*/ 289409 h 4687251"/>
              <a:gd name="connsiteX46515" fmla="*/ 6279098 w 8079933"/>
              <a:gd name="connsiteY46515" fmla="*/ 284753 h 4687251"/>
              <a:gd name="connsiteX46516" fmla="*/ 6274757 w 8079933"/>
              <a:gd name="connsiteY46516" fmla="*/ 281829 h 4687251"/>
              <a:gd name="connsiteX46517" fmla="*/ 6270634 w 8079933"/>
              <a:gd name="connsiteY46517" fmla="*/ 278582 h 4687251"/>
              <a:gd name="connsiteX46518" fmla="*/ 6263797 w 8079933"/>
              <a:gd name="connsiteY46518" fmla="*/ 279232 h 4687251"/>
              <a:gd name="connsiteX46519" fmla="*/ 6255984 w 8079933"/>
              <a:gd name="connsiteY46519" fmla="*/ 276198 h 4687251"/>
              <a:gd name="connsiteX46520" fmla="*/ 6241660 w 8079933"/>
              <a:gd name="connsiteY46520" fmla="*/ 266563 h 4687251"/>
              <a:gd name="connsiteX46521" fmla="*/ 6239924 w 8079933"/>
              <a:gd name="connsiteY46521" fmla="*/ 262232 h 4687251"/>
              <a:gd name="connsiteX46522" fmla="*/ 6241334 w 8079933"/>
              <a:gd name="connsiteY46522" fmla="*/ 259633 h 4687251"/>
              <a:gd name="connsiteX46523" fmla="*/ 6244806 w 8079933"/>
              <a:gd name="connsiteY46523" fmla="*/ 259633 h 4687251"/>
              <a:gd name="connsiteX46524" fmla="*/ 6246326 w 8079933"/>
              <a:gd name="connsiteY46524" fmla="*/ 260717 h 4687251"/>
              <a:gd name="connsiteX46525" fmla="*/ 6249581 w 8079933"/>
              <a:gd name="connsiteY46525" fmla="*/ 258226 h 4687251"/>
              <a:gd name="connsiteX46526" fmla="*/ 6247736 w 8079933"/>
              <a:gd name="connsiteY46526" fmla="*/ 255736 h 4687251"/>
              <a:gd name="connsiteX46527" fmla="*/ 6244481 w 8079933"/>
              <a:gd name="connsiteY46527" fmla="*/ 255196 h 4687251"/>
              <a:gd name="connsiteX46528" fmla="*/ 6242202 w 8079933"/>
              <a:gd name="connsiteY46528" fmla="*/ 256385 h 4687251"/>
              <a:gd name="connsiteX46529" fmla="*/ 6239924 w 8079933"/>
              <a:gd name="connsiteY46529" fmla="*/ 254112 h 4687251"/>
              <a:gd name="connsiteX46530" fmla="*/ 6241008 w 8079933"/>
              <a:gd name="connsiteY46530" fmla="*/ 252271 h 4687251"/>
              <a:gd name="connsiteX46531" fmla="*/ 6239272 w 8079933"/>
              <a:gd name="connsiteY46531" fmla="*/ 249456 h 4687251"/>
              <a:gd name="connsiteX46532" fmla="*/ 6233847 w 8079933"/>
              <a:gd name="connsiteY46532" fmla="*/ 247832 h 4687251"/>
              <a:gd name="connsiteX46533" fmla="*/ 6231025 w 8079933"/>
              <a:gd name="connsiteY46533" fmla="*/ 245234 h 4687251"/>
              <a:gd name="connsiteX46534" fmla="*/ 6231242 w 8079933"/>
              <a:gd name="connsiteY46534" fmla="*/ 242095 h 4687251"/>
              <a:gd name="connsiteX46535" fmla="*/ 6229072 w 8079933"/>
              <a:gd name="connsiteY46535" fmla="*/ 237765 h 4687251"/>
              <a:gd name="connsiteX46536" fmla="*/ 6225491 w 8079933"/>
              <a:gd name="connsiteY46536" fmla="*/ 236789 h 4687251"/>
              <a:gd name="connsiteX46537" fmla="*/ 6224623 w 8079933"/>
              <a:gd name="connsiteY46537" fmla="*/ 232024 h 4687251"/>
              <a:gd name="connsiteX46538" fmla="*/ 6227770 w 8079933"/>
              <a:gd name="connsiteY46538" fmla="*/ 231483 h 4687251"/>
              <a:gd name="connsiteX46539" fmla="*/ 6229614 w 8079933"/>
              <a:gd name="connsiteY46539" fmla="*/ 229751 h 4687251"/>
              <a:gd name="connsiteX46540" fmla="*/ 6226359 w 8079933"/>
              <a:gd name="connsiteY46540" fmla="*/ 227152 h 4687251"/>
              <a:gd name="connsiteX46541" fmla="*/ 6223320 w 8079933"/>
              <a:gd name="connsiteY46541" fmla="*/ 226829 h 4687251"/>
              <a:gd name="connsiteX46542" fmla="*/ 6217352 w 8079933"/>
              <a:gd name="connsiteY46542" fmla="*/ 218600 h 4687251"/>
              <a:gd name="connsiteX46543" fmla="*/ 6217895 w 8079933"/>
              <a:gd name="connsiteY46543" fmla="*/ 215677 h 4687251"/>
              <a:gd name="connsiteX46544" fmla="*/ 6223320 w 8079933"/>
              <a:gd name="connsiteY46544" fmla="*/ 211345 h 4687251"/>
              <a:gd name="connsiteX46545" fmla="*/ 6224948 w 8079933"/>
              <a:gd name="connsiteY46545" fmla="*/ 205715 h 4687251"/>
              <a:gd name="connsiteX46546" fmla="*/ 6224514 w 8079933"/>
              <a:gd name="connsiteY46546" fmla="*/ 199111 h 4687251"/>
              <a:gd name="connsiteX46547" fmla="*/ 6226033 w 8079933"/>
              <a:gd name="connsiteY46547" fmla="*/ 197812 h 4687251"/>
              <a:gd name="connsiteX46548" fmla="*/ 6225708 w 8079933"/>
              <a:gd name="connsiteY46548" fmla="*/ 190666 h 4687251"/>
              <a:gd name="connsiteX46549" fmla="*/ 6229506 w 8079933"/>
              <a:gd name="connsiteY46549" fmla="*/ 187634 h 4687251"/>
              <a:gd name="connsiteX46550" fmla="*/ 6234823 w 8079933"/>
              <a:gd name="connsiteY46550" fmla="*/ 185578 h 4687251"/>
              <a:gd name="connsiteX46551" fmla="*/ 6236885 w 8079933"/>
              <a:gd name="connsiteY46551" fmla="*/ 189908 h 4687251"/>
              <a:gd name="connsiteX46552" fmla="*/ 6239598 w 8079933"/>
              <a:gd name="connsiteY46552" fmla="*/ 191531 h 4687251"/>
              <a:gd name="connsiteX46553" fmla="*/ 6246543 w 8079933"/>
              <a:gd name="connsiteY46553" fmla="*/ 192291 h 4687251"/>
              <a:gd name="connsiteX46554" fmla="*/ 6251535 w 8079933"/>
              <a:gd name="connsiteY46554" fmla="*/ 196729 h 4687251"/>
              <a:gd name="connsiteX46555" fmla="*/ 6256309 w 8079933"/>
              <a:gd name="connsiteY46555" fmla="*/ 197380 h 4687251"/>
              <a:gd name="connsiteX46556" fmla="*/ 6257937 w 8079933"/>
              <a:gd name="connsiteY46556" fmla="*/ 201168 h 4687251"/>
              <a:gd name="connsiteX46557" fmla="*/ 6258263 w 8079933"/>
              <a:gd name="connsiteY46557" fmla="*/ 206149 h 4687251"/>
              <a:gd name="connsiteX46558" fmla="*/ 6262712 w 8079933"/>
              <a:gd name="connsiteY46558" fmla="*/ 207232 h 4687251"/>
              <a:gd name="connsiteX46559" fmla="*/ 6264556 w 8079933"/>
              <a:gd name="connsiteY46559" fmla="*/ 208747 h 4687251"/>
              <a:gd name="connsiteX46560" fmla="*/ 6267053 w 8079933"/>
              <a:gd name="connsiteY46560" fmla="*/ 207232 h 4687251"/>
              <a:gd name="connsiteX46561" fmla="*/ 6271828 w 8079933"/>
              <a:gd name="connsiteY46561" fmla="*/ 206040 h 4687251"/>
              <a:gd name="connsiteX46562" fmla="*/ 6275517 w 8079933"/>
              <a:gd name="connsiteY46562" fmla="*/ 208098 h 4687251"/>
              <a:gd name="connsiteX46563" fmla="*/ 6277904 w 8079933"/>
              <a:gd name="connsiteY46563" fmla="*/ 214918 h 4687251"/>
              <a:gd name="connsiteX46564" fmla="*/ 6283222 w 8079933"/>
              <a:gd name="connsiteY46564" fmla="*/ 220657 h 4687251"/>
              <a:gd name="connsiteX46565" fmla="*/ 6288756 w 8079933"/>
              <a:gd name="connsiteY46565" fmla="*/ 219791 h 4687251"/>
              <a:gd name="connsiteX46566" fmla="*/ 6290926 w 8079933"/>
              <a:gd name="connsiteY46566" fmla="*/ 218058 h 4687251"/>
              <a:gd name="connsiteX46567" fmla="*/ 6289407 w 8079933"/>
              <a:gd name="connsiteY46567" fmla="*/ 214918 h 4687251"/>
              <a:gd name="connsiteX46568" fmla="*/ 6281811 w 8079933"/>
              <a:gd name="connsiteY46568" fmla="*/ 207339 h 4687251"/>
              <a:gd name="connsiteX46569" fmla="*/ 6280291 w 8079933"/>
              <a:gd name="connsiteY46569" fmla="*/ 200735 h 4687251"/>
              <a:gd name="connsiteX46570" fmla="*/ 6277578 w 8079933"/>
              <a:gd name="connsiteY46570" fmla="*/ 195647 h 4687251"/>
              <a:gd name="connsiteX46571" fmla="*/ 6276385 w 8079933"/>
              <a:gd name="connsiteY46571" fmla="*/ 190341 h 4687251"/>
              <a:gd name="connsiteX46572" fmla="*/ 6278989 w 8079933"/>
              <a:gd name="connsiteY46572" fmla="*/ 186769 h 4687251"/>
              <a:gd name="connsiteX46573" fmla="*/ 6282896 w 8079933"/>
              <a:gd name="connsiteY46573" fmla="*/ 186769 h 4687251"/>
              <a:gd name="connsiteX46574" fmla="*/ 6284415 w 8079933"/>
              <a:gd name="connsiteY46574" fmla="*/ 187743 h 4687251"/>
              <a:gd name="connsiteX46575" fmla="*/ 6290275 w 8079933"/>
              <a:gd name="connsiteY46575" fmla="*/ 187743 h 4687251"/>
              <a:gd name="connsiteX46576" fmla="*/ 6288213 w 8079933"/>
              <a:gd name="connsiteY46576" fmla="*/ 185252 h 4687251"/>
              <a:gd name="connsiteX46577" fmla="*/ 6284415 w 8079933"/>
              <a:gd name="connsiteY46577" fmla="*/ 184170 h 4687251"/>
              <a:gd name="connsiteX46578" fmla="*/ 6277254 w 8079933"/>
              <a:gd name="connsiteY46578" fmla="*/ 177783 h 4687251"/>
              <a:gd name="connsiteX46579" fmla="*/ 4822698 w 8079933"/>
              <a:gd name="connsiteY46579" fmla="*/ 174534 h 4687251"/>
              <a:gd name="connsiteX46580" fmla="*/ 4826061 w 8079933"/>
              <a:gd name="connsiteY46580" fmla="*/ 174750 h 4687251"/>
              <a:gd name="connsiteX46581" fmla="*/ 4827689 w 8079933"/>
              <a:gd name="connsiteY46581" fmla="*/ 176483 h 4687251"/>
              <a:gd name="connsiteX46582" fmla="*/ 4831595 w 8079933"/>
              <a:gd name="connsiteY46582" fmla="*/ 176807 h 4687251"/>
              <a:gd name="connsiteX46583" fmla="*/ 4832030 w 8079933"/>
              <a:gd name="connsiteY46583" fmla="*/ 179948 h 4687251"/>
              <a:gd name="connsiteX46584" fmla="*/ 4827906 w 8079933"/>
              <a:gd name="connsiteY46584" fmla="*/ 183845 h 4687251"/>
              <a:gd name="connsiteX46585" fmla="*/ 4824867 w 8079933"/>
              <a:gd name="connsiteY46585" fmla="*/ 184170 h 4687251"/>
              <a:gd name="connsiteX46586" fmla="*/ 4821721 w 8079933"/>
              <a:gd name="connsiteY46586" fmla="*/ 182329 h 4687251"/>
              <a:gd name="connsiteX46587" fmla="*/ 4814775 w 8079933"/>
              <a:gd name="connsiteY46587" fmla="*/ 181789 h 4687251"/>
              <a:gd name="connsiteX46588" fmla="*/ 4813365 w 8079933"/>
              <a:gd name="connsiteY46588" fmla="*/ 179839 h 4687251"/>
              <a:gd name="connsiteX46589" fmla="*/ 4815752 w 8079933"/>
              <a:gd name="connsiteY46589" fmla="*/ 178322 h 4687251"/>
              <a:gd name="connsiteX46590" fmla="*/ 4818900 w 8079933"/>
              <a:gd name="connsiteY46590" fmla="*/ 178214 h 4687251"/>
              <a:gd name="connsiteX46591" fmla="*/ 4757586 w 8079933"/>
              <a:gd name="connsiteY46591" fmla="*/ 170852 h 4687251"/>
              <a:gd name="connsiteX46592" fmla="*/ 4760624 w 8079933"/>
              <a:gd name="connsiteY46592" fmla="*/ 172693 h 4687251"/>
              <a:gd name="connsiteX46593" fmla="*/ 4761709 w 8079933"/>
              <a:gd name="connsiteY46593" fmla="*/ 177997 h 4687251"/>
              <a:gd name="connsiteX46594" fmla="*/ 4763120 w 8079933"/>
              <a:gd name="connsiteY46594" fmla="*/ 180488 h 4687251"/>
              <a:gd name="connsiteX46595" fmla="*/ 4760949 w 8079933"/>
              <a:gd name="connsiteY46595" fmla="*/ 182003 h 4687251"/>
              <a:gd name="connsiteX46596" fmla="*/ 4759540 w 8079933"/>
              <a:gd name="connsiteY46596" fmla="*/ 183952 h 4687251"/>
              <a:gd name="connsiteX46597" fmla="*/ 4755198 w 8079933"/>
              <a:gd name="connsiteY46597" fmla="*/ 183952 h 4687251"/>
              <a:gd name="connsiteX46598" fmla="*/ 4750641 w 8079933"/>
              <a:gd name="connsiteY46598" fmla="*/ 187633 h 4687251"/>
              <a:gd name="connsiteX46599" fmla="*/ 4747929 w 8079933"/>
              <a:gd name="connsiteY46599" fmla="*/ 184494 h 4687251"/>
              <a:gd name="connsiteX46600" fmla="*/ 4746734 w 8079933"/>
              <a:gd name="connsiteY46600" fmla="*/ 180704 h 4687251"/>
              <a:gd name="connsiteX46601" fmla="*/ 4744239 w 8079933"/>
              <a:gd name="connsiteY46601" fmla="*/ 178646 h 4687251"/>
              <a:gd name="connsiteX46602" fmla="*/ 4744239 w 8079933"/>
              <a:gd name="connsiteY46602" fmla="*/ 176914 h 4687251"/>
              <a:gd name="connsiteX46603" fmla="*/ 4748362 w 8079933"/>
              <a:gd name="connsiteY46603" fmla="*/ 174533 h 4687251"/>
              <a:gd name="connsiteX46604" fmla="*/ 4754439 w 8079933"/>
              <a:gd name="connsiteY46604" fmla="*/ 173016 h 4687251"/>
              <a:gd name="connsiteX46605" fmla="*/ 2316830 w 8079933"/>
              <a:gd name="connsiteY46605" fmla="*/ 164897 h 4687251"/>
              <a:gd name="connsiteX46606" fmla="*/ 2317915 w 8079933"/>
              <a:gd name="connsiteY46606" fmla="*/ 166846 h 4687251"/>
              <a:gd name="connsiteX46607" fmla="*/ 2318567 w 8079933"/>
              <a:gd name="connsiteY46607" fmla="*/ 173884 h 4687251"/>
              <a:gd name="connsiteX46608" fmla="*/ 2321822 w 8079933"/>
              <a:gd name="connsiteY46608" fmla="*/ 174967 h 4687251"/>
              <a:gd name="connsiteX46609" fmla="*/ 2327899 w 8079933"/>
              <a:gd name="connsiteY46609" fmla="*/ 169769 h 4687251"/>
              <a:gd name="connsiteX46610" fmla="*/ 2333542 w 8079933"/>
              <a:gd name="connsiteY46610" fmla="*/ 171501 h 4687251"/>
              <a:gd name="connsiteX46611" fmla="*/ 2337665 w 8079933"/>
              <a:gd name="connsiteY46611" fmla="*/ 169769 h 4687251"/>
              <a:gd name="connsiteX46612" fmla="*/ 2343742 w 8079933"/>
              <a:gd name="connsiteY46612" fmla="*/ 173234 h 4687251"/>
              <a:gd name="connsiteX46613" fmla="*/ 2345153 w 8079933"/>
              <a:gd name="connsiteY46613" fmla="*/ 177132 h 4687251"/>
              <a:gd name="connsiteX46614" fmla="*/ 2348083 w 8079933"/>
              <a:gd name="connsiteY46614" fmla="*/ 180055 h 4687251"/>
              <a:gd name="connsiteX46615" fmla="*/ 2349603 w 8079933"/>
              <a:gd name="connsiteY46615" fmla="*/ 184927 h 4687251"/>
              <a:gd name="connsiteX46616" fmla="*/ 2347649 w 8079933"/>
              <a:gd name="connsiteY46616" fmla="*/ 193156 h 4687251"/>
              <a:gd name="connsiteX46617" fmla="*/ 2347649 w 8079933"/>
              <a:gd name="connsiteY46617" fmla="*/ 199544 h 4687251"/>
              <a:gd name="connsiteX46618" fmla="*/ 2344936 w 8079933"/>
              <a:gd name="connsiteY46618" fmla="*/ 202901 h 4687251"/>
              <a:gd name="connsiteX46619" fmla="*/ 2340161 w 8079933"/>
              <a:gd name="connsiteY46619" fmla="*/ 205715 h 4687251"/>
              <a:gd name="connsiteX46620" fmla="*/ 2341030 w 8079933"/>
              <a:gd name="connsiteY46620" fmla="*/ 210046 h 4687251"/>
              <a:gd name="connsiteX46621" fmla="*/ 2344393 w 8079933"/>
              <a:gd name="connsiteY46621" fmla="*/ 210370 h 4687251"/>
              <a:gd name="connsiteX46622" fmla="*/ 2348083 w 8079933"/>
              <a:gd name="connsiteY46622" fmla="*/ 206581 h 4687251"/>
              <a:gd name="connsiteX46623" fmla="*/ 2348951 w 8079933"/>
              <a:gd name="connsiteY46623" fmla="*/ 202792 h 4687251"/>
              <a:gd name="connsiteX46624" fmla="*/ 2355787 w 8079933"/>
              <a:gd name="connsiteY46624" fmla="*/ 201601 h 4687251"/>
              <a:gd name="connsiteX46625" fmla="*/ 2361539 w 8079933"/>
              <a:gd name="connsiteY46625" fmla="*/ 197811 h 4687251"/>
              <a:gd name="connsiteX46626" fmla="*/ 2364795 w 8079933"/>
              <a:gd name="connsiteY46626" fmla="*/ 197595 h 4687251"/>
              <a:gd name="connsiteX46627" fmla="*/ 2369026 w 8079933"/>
              <a:gd name="connsiteY46627" fmla="*/ 202251 h 4687251"/>
              <a:gd name="connsiteX46628" fmla="*/ 2367833 w 8079933"/>
              <a:gd name="connsiteY46628" fmla="*/ 206256 h 4687251"/>
              <a:gd name="connsiteX46629" fmla="*/ 2367833 w 8079933"/>
              <a:gd name="connsiteY46629" fmla="*/ 212103 h 4687251"/>
              <a:gd name="connsiteX46630" fmla="*/ 2370438 w 8079933"/>
              <a:gd name="connsiteY46630" fmla="*/ 215351 h 4687251"/>
              <a:gd name="connsiteX46631" fmla="*/ 2370221 w 8079933"/>
              <a:gd name="connsiteY46631" fmla="*/ 217950 h 4687251"/>
              <a:gd name="connsiteX46632" fmla="*/ 2363384 w 8079933"/>
              <a:gd name="connsiteY46632" fmla="*/ 221847 h 4687251"/>
              <a:gd name="connsiteX46633" fmla="*/ 2361322 w 8079933"/>
              <a:gd name="connsiteY46633" fmla="*/ 225421 h 4687251"/>
              <a:gd name="connsiteX46634" fmla="*/ 2362841 w 8079933"/>
              <a:gd name="connsiteY46634" fmla="*/ 228019 h 4687251"/>
              <a:gd name="connsiteX46635" fmla="*/ 2367833 w 8079933"/>
              <a:gd name="connsiteY46635" fmla="*/ 228019 h 4687251"/>
              <a:gd name="connsiteX46636" fmla="*/ 2372174 w 8079933"/>
              <a:gd name="connsiteY46636" fmla="*/ 229968 h 4687251"/>
              <a:gd name="connsiteX46637" fmla="*/ 2374887 w 8079933"/>
              <a:gd name="connsiteY46637" fmla="*/ 229751 h 4687251"/>
              <a:gd name="connsiteX46638" fmla="*/ 2376080 w 8079933"/>
              <a:gd name="connsiteY46638" fmla="*/ 235490 h 4687251"/>
              <a:gd name="connsiteX46639" fmla="*/ 2377708 w 8079933"/>
              <a:gd name="connsiteY46639" fmla="*/ 239604 h 4687251"/>
              <a:gd name="connsiteX46640" fmla="*/ 2377491 w 8079933"/>
              <a:gd name="connsiteY46640" fmla="*/ 242635 h 4687251"/>
              <a:gd name="connsiteX46641" fmla="*/ 2373367 w 8079933"/>
              <a:gd name="connsiteY46641" fmla="*/ 245884 h 4687251"/>
              <a:gd name="connsiteX46642" fmla="*/ 2373693 w 8079933"/>
              <a:gd name="connsiteY46642" fmla="*/ 249565 h 4687251"/>
              <a:gd name="connsiteX46643" fmla="*/ 2372716 w 8079933"/>
              <a:gd name="connsiteY46643" fmla="*/ 256061 h 4687251"/>
              <a:gd name="connsiteX46644" fmla="*/ 2367182 w 8079933"/>
              <a:gd name="connsiteY46644" fmla="*/ 259851 h 4687251"/>
              <a:gd name="connsiteX46645" fmla="*/ 2363601 w 8079933"/>
              <a:gd name="connsiteY46645" fmla="*/ 263640 h 4687251"/>
              <a:gd name="connsiteX46646" fmla="*/ 2360237 w 8079933"/>
              <a:gd name="connsiteY46646" fmla="*/ 264181 h 4687251"/>
              <a:gd name="connsiteX46647" fmla="*/ 2357199 w 8079933"/>
              <a:gd name="connsiteY46647" fmla="*/ 270352 h 4687251"/>
              <a:gd name="connsiteX46648" fmla="*/ 2354377 w 8079933"/>
              <a:gd name="connsiteY46648" fmla="*/ 272951 h 4687251"/>
              <a:gd name="connsiteX46649" fmla="*/ 2354377 w 8079933"/>
              <a:gd name="connsiteY46649" fmla="*/ 275549 h 4687251"/>
              <a:gd name="connsiteX46650" fmla="*/ 2356873 w 8079933"/>
              <a:gd name="connsiteY46650" fmla="*/ 277390 h 4687251"/>
              <a:gd name="connsiteX46651" fmla="*/ 2353400 w 8079933"/>
              <a:gd name="connsiteY46651" fmla="*/ 283453 h 4687251"/>
              <a:gd name="connsiteX46652" fmla="*/ 2351447 w 8079933"/>
              <a:gd name="connsiteY46652" fmla="*/ 290816 h 4687251"/>
              <a:gd name="connsiteX46653" fmla="*/ 2351121 w 8079933"/>
              <a:gd name="connsiteY46653" fmla="*/ 296662 h 4687251"/>
              <a:gd name="connsiteX46654" fmla="*/ 2347215 w 8079933"/>
              <a:gd name="connsiteY46654" fmla="*/ 301751 h 4687251"/>
              <a:gd name="connsiteX46655" fmla="*/ 2343525 w 8079933"/>
              <a:gd name="connsiteY46655" fmla="*/ 304241 h 4687251"/>
              <a:gd name="connsiteX46656" fmla="*/ 2343525 w 8079933"/>
              <a:gd name="connsiteY46656" fmla="*/ 306732 h 4687251"/>
              <a:gd name="connsiteX46657" fmla="*/ 2336364 w 8079933"/>
              <a:gd name="connsiteY46657" fmla="*/ 311604 h 4687251"/>
              <a:gd name="connsiteX46658" fmla="*/ 2333216 w 8079933"/>
              <a:gd name="connsiteY46658" fmla="*/ 311604 h 4687251"/>
              <a:gd name="connsiteX46659" fmla="*/ 2330829 w 8079933"/>
              <a:gd name="connsiteY46659" fmla="*/ 309546 h 4687251"/>
              <a:gd name="connsiteX46660" fmla="*/ 2326488 w 8079933"/>
              <a:gd name="connsiteY46660" fmla="*/ 310087 h 4687251"/>
              <a:gd name="connsiteX46661" fmla="*/ 2323883 w 8079933"/>
              <a:gd name="connsiteY46661" fmla="*/ 310196 h 4687251"/>
              <a:gd name="connsiteX46662" fmla="*/ 2321388 w 8079933"/>
              <a:gd name="connsiteY46662" fmla="*/ 305865 h 4687251"/>
              <a:gd name="connsiteX46663" fmla="*/ 2318892 w 8079933"/>
              <a:gd name="connsiteY46663" fmla="*/ 298828 h 4687251"/>
              <a:gd name="connsiteX46664" fmla="*/ 2327031 w 8079933"/>
              <a:gd name="connsiteY46664" fmla="*/ 284103 h 4687251"/>
              <a:gd name="connsiteX46665" fmla="*/ 2327031 w 8079933"/>
              <a:gd name="connsiteY46665" fmla="*/ 278797 h 4687251"/>
              <a:gd name="connsiteX46666" fmla="*/ 2328767 w 8079933"/>
              <a:gd name="connsiteY46666" fmla="*/ 275657 h 4687251"/>
              <a:gd name="connsiteX46667" fmla="*/ 2326705 w 8079933"/>
              <a:gd name="connsiteY46667" fmla="*/ 273601 h 4687251"/>
              <a:gd name="connsiteX46668" fmla="*/ 2323558 w 8079933"/>
              <a:gd name="connsiteY46668" fmla="*/ 273601 h 4687251"/>
              <a:gd name="connsiteX46669" fmla="*/ 2320520 w 8079933"/>
              <a:gd name="connsiteY46669" fmla="*/ 266022 h 4687251"/>
              <a:gd name="connsiteX46670" fmla="*/ 2315528 w 8079933"/>
              <a:gd name="connsiteY46670" fmla="*/ 261908 h 4687251"/>
              <a:gd name="connsiteX46671" fmla="*/ 2308583 w 8079933"/>
              <a:gd name="connsiteY46671" fmla="*/ 262773 h 4687251"/>
              <a:gd name="connsiteX46672" fmla="*/ 2307932 w 8079933"/>
              <a:gd name="connsiteY46672" fmla="*/ 257902 h 4687251"/>
              <a:gd name="connsiteX46673" fmla="*/ 2309451 w 8079933"/>
              <a:gd name="connsiteY46673" fmla="*/ 255412 h 4687251"/>
              <a:gd name="connsiteX46674" fmla="*/ 2313574 w 8079933"/>
              <a:gd name="connsiteY46674" fmla="*/ 254329 h 4687251"/>
              <a:gd name="connsiteX46675" fmla="*/ 2313900 w 8079933"/>
              <a:gd name="connsiteY46675" fmla="*/ 250756 h 4687251"/>
              <a:gd name="connsiteX46676" fmla="*/ 2306521 w 8079933"/>
              <a:gd name="connsiteY46676" fmla="*/ 252596 h 4687251"/>
              <a:gd name="connsiteX46677" fmla="*/ 2305110 w 8079933"/>
              <a:gd name="connsiteY46677" fmla="*/ 250864 h 4687251"/>
              <a:gd name="connsiteX46678" fmla="*/ 2297731 w 8079933"/>
              <a:gd name="connsiteY46678" fmla="*/ 251080 h 4687251"/>
              <a:gd name="connsiteX46679" fmla="*/ 2290352 w 8079933"/>
              <a:gd name="connsiteY46679" fmla="*/ 248481 h 4687251"/>
              <a:gd name="connsiteX46680" fmla="*/ 2286337 w 8079933"/>
              <a:gd name="connsiteY46680" fmla="*/ 248698 h 4687251"/>
              <a:gd name="connsiteX46681" fmla="*/ 2282865 w 8079933"/>
              <a:gd name="connsiteY46681" fmla="*/ 252163 h 4687251"/>
              <a:gd name="connsiteX46682" fmla="*/ 2279283 w 8079933"/>
              <a:gd name="connsiteY46682" fmla="*/ 250431 h 4687251"/>
              <a:gd name="connsiteX46683" fmla="*/ 2279283 w 8079933"/>
              <a:gd name="connsiteY46683" fmla="*/ 245884 h 4687251"/>
              <a:gd name="connsiteX46684" fmla="*/ 2275377 w 8079933"/>
              <a:gd name="connsiteY46684" fmla="*/ 239928 h 4687251"/>
              <a:gd name="connsiteX46685" fmla="*/ 2280152 w 8079933"/>
              <a:gd name="connsiteY46685" fmla="*/ 231809 h 4687251"/>
              <a:gd name="connsiteX46686" fmla="*/ 2280152 w 8079933"/>
              <a:gd name="connsiteY46686" fmla="*/ 229102 h 4687251"/>
              <a:gd name="connsiteX46687" fmla="*/ 2289484 w 8079933"/>
              <a:gd name="connsiteY46687" fmla="*/ 224662 h 4687251"/>
              <a:gd name="connsiteX46688" fmla="*/ 2293282 w 8079933"/>
              <a:gd name="connsiteY46688" fmla="*/ 230076 h 4687251"/>
              <a:gd name="connsiteX46689" fmla="*/ 2297406 w 8079933"/>
              <a:gd name="connsiteY46689" fmla="*/ 232134 h 4687251"/>
              <a:gd name="connsiteX46690" fmla="*/ 2299793 w 8079933"/>
              <a:gd name="connsiteY46690" fmla="*/ 238521 h 4687251"/>
              <a:gd name="connsiteX46691" fmla="*/ 2301855 w 8079933"/>
              <a:gd name="connsiteY46691" fmla="*/ 238521 h 4687251"/>
              <a:gd name="connsiteX46692" fmla="*/ 2309126 w 8079933"/>
              <a:gd name="connsiteY46692" fmla="*/ 231809 h 4687251"/>
              <a:gd name="connsiteX46693" fmla="*/ 2309126 w 8079933"/>
              <a:gd name="connsiteY46693" fmla="*/ 228776 h 4687251"/>
              <a:gd name="connsiteX46694" fmla="*/ 2304133 w 8079933"/>
              <a:gd name="connsiteY46694" fmla="*/ 227153 h 4687251"/>
              <a:gd name="connsiteX46695" fmla="*/ 2304460 w 8079933"/>
              <a:gd name="connsiteY46695" fmla="*/ 224230 h 4687251"/>
              <a:gd name="connsiteX46696" fmla="*/ 2308258 w 8079933"/>
              <a:gd name="connsiteY46696" fmla="*/ 225421 h 4687251"/>
              <a:gd name="connsiteX46697" fmla="*/ 2314986 w 8079933"/>
              <a:gd name="connsiteY46697" fmla="*/ 223039 h 4687251"/>
              <a:gd name="connsiteX46698" fmla="*/ 2319977 w 8079933"/>
              <a:gd name="connsiteY46698" fmla="*/ 219466 h 4687251"/>
              <a:gd name="connsiteX46699" fmla="*/ 2316179 w 8079933"/>
              <a:gd name="connsiteY46699" fmla="*/ 217192 h 4687251"/>
              <a:gd name="connsiteX46700" fmla="*/ 2309776 w 8079933"/>
              <a:gd name="connsiteY46700" fmla="*/ 218599 h 4687251"/>
              <a:gd name="connsiteX46701" fmla="*/ 2307932 w 8079933"/>
              <a:gd name="connsiteY46701" fmla="*/ 215677 h 4687251"/>
              <a:gd name="connsiteX46702" fmla="*/ 2309451 w 8079933"/>
              <a:gd name="connsiteY46702" fmla="*/ 211562 h 4687251"/>
              <a:gd name="connsiteX46703" fmla="*/ 2315094 w 8079933"/>
              <a:gd name="connsiteY46703" fmla="*/ 206907 h 4687251"/>
              <a:gd name="connsiteX46704" fmla="*/ 2317915 w 8079933"/>
              <a:gd name="connsiteY46704" fmla="*/ 206690 h 4687251"/>
              <a:gd name="connsiteX46705" fmla="*/ 2319652 w 8079933"/>
              <a:gd name="connsiteY46705" fmla="*/ 201601 h 4687251"/>
              <a:gd name="connsiteX46706" fmla="*/ 2316830 w 8079933"/>
              <a:gd name="connsiteY46706" fmla="*/ 197811 h 4687251"/>
              <a:gd name="connsiteX46707" fmla="*/ 2313466 w 8079933"/>
              <a:gd name="connsiteY46707" fmla="*/ 199652 h 4687251"/>
              <a:gd name="connsiteX46708" fmla="*/ 2311187 w 8079933"/>
              <a:gd name="connsiteY46708" fmla="*/ 199652 h 4687251"/>
              <a:gd name="connsiteX46709" fmla="*/ 2304676 w 8079933"/>
              <a:gd name="connsiteY46709" fmla="*/ 205391 h 4687251"/>
              <a:gd name="connsiteX46710" fmla="*/ 2298057 w 8079933"/>
              <a:gd name="connsiteY46710" fmla="*/ 208422 h 4687251"/>
              <a:gd name="connsiteX46711" fmla="*/ 2297189 w 8079933"/>
              <a:gd name="connsiteY46711" fmla="*/ 206581 h 4687251"/>
              <a:gd name="connsiteX46712" fmla="*/ 2301529 w 8079933"/>
              <a:gd name="connsiteY46712" fmla="*/ 199544 h 4687251"/>
              <a:gd name="connsiteX46713" fmla="*/ 2307932 w 8079933"/>
              <a:gd name="connsiteY46713" fmla="*/ 196729 h 4687251"/>
              <a:gd name="connsiteX46714" fmla="*/ 2313249 w 8079933"/>
              <a:gd name="connsiteY46714" fmla="*/ 191640 h 4687251"/>
              <a:gd name="connsiteX46715" fmla="*/ 2311838 w 8079933"/>
              <a:gd name="connsiteY46715" fmla="*/ 189583 h 4687251"/>
              <a:gd name="connsiteX46716" fmla="*/ 2306304 w 8079933"/>
              <a:gd name="connsiteY46716" fmla="*/ 190774 h 4687251"/>
              <a:gd name="connsiteX46717" fmla="*/ 2304133 w 8079933"/>
              <a:gd name="connsiteY46717" fmla="*/ 192615 h 4687251"/>
              <a:gd name="connsiteX46718" fmla="*/ 2300335 w 8079933"/>
              <a:gd name="connsiteY46718" fmla="*/ 190016 h 4687251"/>
              <a:gd name="connsiteX46719" fmla="*/ 2300119 w 8079933"/>
              <a:gd name="connsiteY46719" fmla="*/ 186118 h 4687251"/>
              <a:gd name="connsiteX46720" fmla="*/ 2305002 w 8079933"/>
              <a:gd name="connsiteY46720" fmla="*/ 179947 h 4687251"/>
              <a:gd name="connsiteX46721" fmla="*/ 2306630 w 8079933"/>
              <a:gd name="connsiteY46721" fmla="*/ 174967 h 4687251"/>
              <a:gd name="connsiteX46722" fmla="*/ 2311730 w 8079933"/>
              <a:gd name="connsiteY46722" fmla="*/ 172151 h 4687251"/>
              <a:gd name="connsiteX46723" fmla="*/ 2312924 w 8079933"/>
              <a:gd name="connsiteY46723" fmla="*/ 168362 h 4687251"/>
              <a:gd name="connsiteX46724" fmla="*/ 3203953 w 8079933"/>
              <a:gd name="connsiteY46724" fmla="*/ 161108 h 4687251"/>
              <a:gd name="connsiteX46725" fmla="*/ 3204930 w 8079933"/>
              <a:gd name="connsiteY46725" fmla="*/ 163381 h 4687251"/>
              <a:gd name="connsiteX46726" fmla="*/ 3204930 w 8079933"/>
              <a:gd name="connsiteY46726" fmla="*/ 166846 h 4687251"/>
              <a:gd name="connsiteX46727" fmla="*/ 3206232 w 8079933"/>
              <a:gd name="connsiteY46727" fmla="*/ 168253 h 4687251"/>
              <a:gd name="connsiteX46728" fmla="*/ 3205038 w 8079933"/>
              <a:gd name="connsiteY46728" fmla="*/ 170311 h 4687251"/>
              <a:gd name="connsiteX46729" fmla="*/ 3201675 w 8079933"/>
              <a:gd name="connsiteY46729" fmla="*/ 166087 h 4687251"/>
              <a:gd name="connsiteX46730" fmla="*/ 3201892 w 8079933"/>
              <a:gd name="connsiteY46730" fmla="*/ 162516 h 4687251"/>
              <a:gd name="connsiteX46731" fmla="*/ 5383076 w 8079933"/>
              <a:gd name="connsiteY46731" fmla="*/ 155693 h 4687251"/>
              <a:gd name="connsiteX46732" fmla="*/ 5392300 w 8079933"/>
              <a:gd name="connsiteY46732" fmla="*/ 156559 h 4687251"/>
              <a:gd name="connsiteX46733" fmla="*/ 5398594 w 8079933"/>
              <a:gd name="connsiteY46733" fmla="*/ 161108 h 4687251"/>
              <a:gd name="connsiteX46734" fmla="*/ 5406732 w 8079933"/>
              <a:gd name="connsiteY46734" fmla="*/ 171934 h 4687251"/>
              <a:gd name="connsiteX46735" fmla="*/ 5408795 w 8079933"/>
              <a:gd name="connsiteY46735" fmla="*/ 176590 h 4687251"/>
              <a:gd name="connsiteX46736" fmla="*/ 5406191 w 8079933"/>
              <a:gd name="connsiteY46736" fmla="*/ 184168 h 4687251"/>
              <a:gd name="connsiteX46737" fmla="*/ 5408686 w 8079933"/>
              <a:gd name="connsiteY46737" fmla="*/ 186227 h 4687251"/>
              <a:gd name="connsiteX46738" fmla="*/ 5407276 w 8079933"/>
              <a:gd name="connsiteY46738" fmla="*/ 190558 h 4687251"/>
              <a:gd name="connsiteX46739" fmla="*/ 5404779 w 8079933"/>
              <a:gd name="connsiteY46739" fmla="*/ 194455 h 4687251"/>
              <a:gd name="connsiteX46740" fmla="*/ 5405539 w 8079933"/>
              <a:gd name="connsiteY46740" fmla="*/ 198136 h 4687251"/>
              <a:gd name="connsiteX46741" fmla="*/ 5407927 w 8079933"/>
              <a:gd name="connsiteY46741" fmla="*/ 196187 h 4687251"/>
              <a:gd name="connsiteX46742" fmla="*/ 5410857 w 8079933"/>
              <a:gd name="connsiteY46742" fmla="*/ 189907 h 4687251"/>
              <a:gd name="connsiteX46743" fmla="*/ 5411833 w 8079933"/>
              <a:gd name="connsiteY46743" fmla="*/ 184060 h 4687251"/>
              <a:gd name="connsiteX46744" fmla="*/ 5412050 w 8079933"/>
              <a:gd name="connsiteY46744" fmla="*/ 179838 h 4687251"/>
              <a:gd name="connsiteX46745" fmla="*/ 5414004 w 8079933"/>
              <a:gd name="connsiteY46745" fmla="*/ 176049 h 4687251"/>
              <a:gd name="connsiteX46746" fmla="*/ 5413461 w 8079933"/>
              <a:gd name="connsiteY46746" fmla="*/ 173018 h 4687251"/>
              <a:gd name="connsiteX46747" fmla="*/ 5407276 w 8079933"/>
              <a:gd name="connsiteY46747" fmla="*/ 165764 h 4687251"/>
              <a:gd name="connsiteX46748" fmla="*/ 5406407 w 8079933"/>
              <a:gd name="connsiteY46748" fmla="*/ 162515 h 4687251"/>
              <a:gd name="connsiteX46749" fmla="*/ 5407276 w 8079933"/>
              <a:gd name="connsiteY46749" fmla="*/ 159375 h 4687251"/>
              <a:gd name="connsiteX46750" fmla="*/ 5415305 w 8079933"/>
              <a:gd name="connsiteY46750" fmla="*/ 158184 h 4687251"/>
              <a:gd name="connsiteX46751" fmla="*/ 5424529 w 8079933"/>
              <a:gd name="connsiteY46751" fmla="*/ 159267 h 4687251"/>
              <a:gd name="connsiteX46752" fmla="*/ 5439180 w 8079933"/>
              <a:gd name="connsiteY46752" fmla="*/ 171609 h 4687251"/>
              <a:gd name="connsiteX46753" fmla="*/ 5441567 w 8079933"/>
              <a:gd name="connsiteY46753" fmla="*/ 172151 h 4687251"/>
              <a:gd name="connsiteX46754" fmla="*/ 5444171 w 8079933"/>
              <a:gd name="connsiteY46754" fmla="*/ 173992 h 4687251"/>
              <a:gd name="connsiteX46755" fmla="*/ 5444496 w 8079933"/>
              <a:gd name="connsiteY46755" fmla="*/ 179513 h 4687251"/>
              <a:gd name="connsiteX46756" fmla="*/ 5448403 w 8079933"/>
              <a:gd name="connsiteY46756" fmla="*/ 182113 h 4687251"/>
              <a:gd name="connsiteX46757" fmla="*/ 5449597 w 8079933"/>
              <a:gd name="connsiteY46757" fmla="*/ 188608 h 4687251"/>
              <a:gd name="connsiteX46758" fmla="*/ 5449597 w 8079933"/>
              <a:gd name="connsiteY46758" fmla="*/ 194995 h 4687251"/>
              <a:gd name="connsiteX46759" fmla="*/ 5456759 w 8079933"/>
              <a:gd name="connsiteY46759" fmla="*/ 202250 h 4687251"/>
              <a:gd name="connsiteX46760" fmla="*/ 5461860 w 8079933"/>
              <a:gd name="connsiteY46760" fmla="*/ 209286 h 4687251"/>
              <a:gd name="connsiteX46761" fmla="*/ 5461534 w 8079933"/>
              <a:gd name="connsiteY46761" fmla="*/ 211994 h 4687251"/>
              <a:gd name="connsiteX46762" fmla="*/ 5457085 w 8079933"/>
              <a:gd name="connsiteY46762" fmla="*/ 212211 h 4687251"/>
              <a:gd name="connsiteX46763" fmla="*/ 5453938 w 8079933"/>
              <a:gd name="connsiteY46763" fmla="*/ 210154 h 4687251"/>
              <a:gd name="connsiteX46764" fmla="*/ 5451116 w 8079933"/>
              <a:gd name="connsiteY46764" fmla="*/ 210263 h 4687251"/>
              <a:gd name="connsiteX46765" fmla="*/ 5451875 w 8079933"/>
              <a:gd name="connsiteY46765" fmla="*/ 216001 h 4687251"/>
              <a:gd name="connsiteX46766" fmla="*/ 5457193 w 8079933"/>
              <a:gd name="connsiteY46766" fmla="*/ 219573 h 4687251"/>
              <a:gd name="connsiteX46767" fmla="*/ 5463596 w 8079933"/>
              <a:gd name="connsiteY46767" fmla="*/ 220656 h 4687251"/>
              <a:gd name="connsiteX46768" fmla="*/ 5469239 w 8079933"/>
              <a:gd name="connsiteY46768" fmla="*/ 226828 h 4687251"/>
              <a:gd name="connsiteX46769" fmla="*/ 5472711 w 8079933"/>
              <a:gd name="connsiteY46769" fmla="*/ 227909 h 4687251"/>
              <a:gd name="connsiteX46770" fmla="*/ 5478571 w 8079933"/>
              <a:gd name="connsiteY46770" fmla="*/ 234407 h 4687251"/>
              <a:gd name="connsiteX46771" fmla="*/ 5478571 w 8079933"/>
              <a:gd name="connsiteY46771" fmla="*/ 238306 h 4687251"/>
              <a:gd name="connsiteX46772" fmla="*/ 5472928 w 8079933"/>
              <a:gd name="connsiteY46772" fmla="*/ 245883 h 4687251"/>
              <a:gd name="connsiteX46773" fmla="*/ 5465983 w 8079933"/>
              <a:gd name="connsiteY46773" fmla="*/ 247832 h 4687251"/>
              <a:gd name="connsiteX46774" fmla="*/ 5460340 w 8079933"/>
              <a:gd name="connsiteY46774" fmla="*/ 253246 h 4687251"/>
              <a:gd name="connsiteX46775" fmla="*/ 5455891 w 8079933"/>
              <a:gd name="connsiteY46775" fmla="*/ 256712 h 4687251"/>
              <a:gd name="connsiteX46776" fmla="*/ 5451550 w 8079933"/>
              <a:gd name="connsiteY46776" fmla="*/ 257252 h 4687251"/>
              <a:gd name="connsiteX46777" fmla="*/ 5446667 w 8079933"/>
              <a:gd name="connsiteY46777" fmla="*/ 253246 h 4687251"/>
              <a:gd name="connsiteX46778" fmla="*/ 5443737 w 8079933"/>
              <a:gd name="connsiteY46778" fmla="*/ 250539 h 4687251"/>
              <a:gd name="connsiteX46779" fmla="*/ 5439288 w 8079933"/>
              <a:gd name="connsiteY46779" fmla="*/ 251081 h 4687251"/>
              <a:gd name="connsiteX46780" fmla="*/ 5435490 w 8079933"/>
              <a:gd name="connsiteY46780" fmla="*/ 249674 h 4687251"/>
              <a:gd name="connsiteX46781" fmla="*/ 5430715 w 8079933"/>
              <a:gd name="connsiteY46781" fmla="*/ 251081 h 4687251"/>
              <a:gd name="connsiteX46782" fmla="*/ 5419104 w 8079933"/>
              <a:gd name="connsiteY46782" fmla="*/ 250213 h 4687251"/>
              <a:gd name="connsiteX46783" fmla="*/ 5413135 w 8079933"/>
              <a:gd name="connsiteY46783" fmla="*/ 246751 h 4687251"/>
              <a:gd name="connsiteX46784" fmla="*/ 5410205 w 8079933"/>
              <a:gd name="connsiteY46784" fmla="*/ 244476 h 4687251"/>
              <a:gd name="connsiteX46785" fmla="*/ 5403586 w 8079933"/>
              <a:gd name="connsiteY46785" fmla="*/ 246751 h 4687251"/>
              <a:gd name="connsiteX46786" fmla="*/ 5397943 w 8079933"/>
              <a:gd name="connsiteY46786" fmla="*/ 249674 h 4687251"/>
              <a:gd name="connsiteX46787" fmla="*/ 5393602 w 8079933"/>
              <a:gd name="connsiteY46787" fmla="*/ 248483 h 4687251"/>
              <a:gd name="connsiteX46788" fmla="*/ 5388502 w 8079933"/>
              <a:gd name="connsiteY46788" fmla="*/ 245234 h 4687251"/>
              <a:gd name="connsiteX46789" fmla="*/ 5382642 w 8079933"/>
              <a:gd name="connsiteY46789" fmla="*/ 244476 h 4687251"/>
              <a:gd name="connsiteX46790" fmla="*/ 5379278 w 8079933"/>
              <a:gd name="connsiteY46790" fmla="*/ 241119 h 4687251"/>
              <a:gd name="connsiteX46791" fmla="*/ 5376240 w 8079933"/>
              <a:gd name="connsiteY46791" fmla="*/ 232024 h 4687251"/>
              <a:gd name="connsiteX46792" fmla="*/ 5372767 w 8079933"/>
              <a:gd name="connsiteY46792" fmla="*/ 227369 h 4687251"/>
              <a:gd name="connsiteX46793" fmla="*/ 5369621 w 8079933"/>
              <a:gd name="connsiteY46793" fmla="*/ 226828 h 4687251"/>
              <a:gd name="connsiteX46794" fmla="*/ 5365605 w 8079933"/>
              <a:gd name="connsiteY46794" fmla="*/ 229101 h 4687251"/>
              <a:gd name="connsiteX46795" fmla="*/ 5361373 w 8079933"/>
              <a:gd name="connsiteY46795" fmla="*/ 225744 h 4687251"/>
              <a:gd name="connsiteX46796" fmla="*/ 5357467 w 8079933"/>
              <a:gd name="connsiteY46796" fmla="*/ 223905 h 4687251"/>
              <a:gd name="connsiteX46797" fmla="*/ 5356273 w 8079933"/>
              <a:gd name="connsiteY46797" fmla="*/ 226288 h 4687251"/>
              <a:gd name="connsiteX46798" fmla="*/ 5357467 w 8079933"/>
              <a:gd name="connsiteY46798" fmla="*/ 229751 h 4687251"/>
              <a:gd name="connsiteX46799" fmla="*/ 5354862 w 8079933"/>
              <a:gd name="connsiteY46799" fmla="*/ 230726 h 4687251"/>
              <a:gd name="connsiteX46800" fmla="*/ 5353125 w 8079933"/>
              <a:gd name="connsiteY46800" fmla="*/ 228885 h 4687251"/>
              <a:gd name="connsiteX46801" fmla="*/ 5348134 w 8079933"/>
              <a:gd name="connsiteY46801" fmla="*/ 225744 h 4687251"/>
              <a:gd name="connsiteX46802" fmla="*/ 5349002 w 8079933"/>
              <a:gd name="connsiteY46802" fmla="*/ 223362 h 4687251"/>
              <a:gd name="connsiteX46803" fmla="*/ 5354320 w 8079933"/>
              <a:gd name="connsiteY46803" fmla="*/ 219898 h 4687251"/>
              <a:gd name="connsiteX46804" fmla="*/ 5355188 w 8079933"/>
              <a:gd name="connsiteY46804" fmla="*/ 216866 h 4687251"/>
              <a:gd name="connsiteX46805" fmla="*/ 5353343 w 8079933"/>
              <a:gd name="connsiteY46805" fmla="*/ 209396 h 4687251"/>
              <a:gd name="connsiteX46806" fmla="*/ 5354537 w 8079933"/>
              <a:gd name="connsiteY46806" fmla="*/ 204956 h 4687251"/>
              <a:gd name="connsiteX46807" fmla="*/ 5360180 w 8079933"/>
              <a:gd name="connsiteY46807" fmla="*/ 199977 h 4687251"/>
              <a:gd name="connsiteX46808" fmla="*/ 5358335 w 8079933"/>
              <a:gd name="connsiteY46808" fmla="*/ 196945 h 4687251"/>
              <a:gd name="connsiteX46809" fmla="*/ 5355188 w 8079933"/>
              <a:gd name="connsiteY46809" fmla="*/ 196945 h 4687251"/>
              <a:gd name="connsiteX46810" fmla="*/ 5350521 w 8079933"/>
              <a:gd name="connsiteY46810" fmla="*/ 194132 h 4687251"/>
              <a:gd name="connsiteX46811" fmla="*/ 5350087 w 8079933"/>
              <a:gd name="connsiteY46811" fmla="*/ 190232 h 4687251"/>
              <a:gd name="connsiteX46812" fmla="*/ 5352475 w 8079933"/>
              <a:gd name="connsiteY46812" fmla="*/ 182761 h 4687251"/>
              <a:gd name="connsiteX46813" fmla="*/ 5356598 w 8079933"/>
              <a:gd name="connsiteY46813" fmla="*/ 179082 h 4687251"/>
              <a:gd name="connsiteX46814" fmla="*/ 5363001 w 8079933"/>
              <a:gd name="connsiteY46814" fmla="*/ 177455 h 4687251"/>
              <a:gd name="connsiteX46815" fmla="*/ 5363435 w 8079933"/>
              <a:gd name="connsiteY46815" fmla="*/ 173669 h 4687251"/>
              <a:gd name="connsiteX46816" fmla="*/ 5365605 w 8079933"/>
              <a:gd name="connsiteY46816" fmla="*/ 170311 h 4687251"/>
              <a:gd name="connsiteX46817" fmla="*/ 5371574 w 8079933"/>
              <a:gd name="connsiteY46817" fmla="*/ 167820 h 4687251"/>
              <a:gd name="connsiteX46818" fmla="*/ 5379278 w 8079933"/>
              <a:gd name="connsiteY46818" fmla="*/ 162732 h 4687251"/>
              <a:gd name="connsiteX46819" fmla="*/ 5381232 w 8079933"/>
              <a:gd name="connsiteY46819" fmla="*/ 156994 h 4687251"/>
              <a:gd name="connsiteX46820" fmla="*/ 3263420 w 8079933"/>
              <a:gd name="connsiteY46820" fmla="*/ 148007 h 4687251"/>
              <a:gd name="connsiteX46821" fmla="*/ 3266784 w 8079933"/>
              <a:gd name="connsiteY46821" fmla="*/ 151363 h 4687251"/>
              <a:gd name="connsiteX46822" fmla="*/ 3268628 w 8079933"/>
              <a:gd name="connsiteY46822" fmla="*/ 156885 h 4687251"/>
              <a:gd name="connsiteX46823" fmla="*/ 3271124 w 8079933"/>
              <a:gd name="connsiteY46823" fmla="*/ 161215 h 4687251"/>
              <a:gd name="connsiteX46824" fmla="*/ 3270148 w 8079933"/>
              <a:gd name="connsiteY46824" fmla="*/ 164464 h 4687251"/>
              <a:gd name="connsiteX46825" fmla="*/ 3267218 w 8079933"/>
              <a:gd name="connsiteY46825" fmla="*/ 165438 h 4687251"/>
              <a:gd name="connsiteX46826" fmla="*/ 3265047 w 8079933"/>
              <a:gd name="connsiteY46826" fmla="*/ 164680 h 4687251"/>
              <a:gd name="connsiteX46827" fmla="*/ 3262877 w 8079933"/>
              <a:gd name="connsiteY46827" fmla="*/ 161974 h 4687251"/>
              <a:gd name="connsiteX46828" fmla="*/ 3262769 w 8079933"/>
              <a:gd name="connsiteY46828" fmla="*/ 156127 h 4687251"/>
              <a:gd name="connsiteX46829" fmla="*/ 3260490 w 8079933"/>
              <a:gd name="connsiteY46829" fmla="*/ 152446 h 4687251"/>
              <a:gd name="connsiteX46830" fmla="*/ 3260924 w 8079933"/>
              <a:gd name="connsiteY46830" fmla="*/ 148439 h 4687251"/>
              <a:gd name="connsiteX46831" fmla="*/ 3191908 w 8079933"/>
              <a:gd name="connsiteY46831" fmla="*/ 147789 h 4687251"/>
              <a:gd name="connsiteX46832" fmla="*/ 3193319 w 8079933"/>
              <a:gd name="connsiteY46832" fmla="*/ 151038 h 4687251"/>
              <a:gd name="connsiteX46833" fmla="*/ 3193319 w 8079933"/>
              <a:gd name="connsiteY46833" fmla="*/ 158292 h 4687251"/>
              <a:gd name="connsiteX46834" fmla="*/ 3195706 w 8079933"/>
              <a:gd name="connsiteY46834" fmla="*/ 163273 h 4687251"/>
              <a:gd name="connsiteX46835" fmla="*/ 3195055 w 8079933"/>
              <a:gd name="connsiteY46835" fmla="*/ 170418 h 4687251"/>
              <a:gd name="connsiteX46836" fmla="*/ 3192776 w 8079933"/>
              <a:gd name="connsiteY46836" fmla="*/ 177131 h 4687251"/>
              <a:gd name="connsiteX46837" fmla="*/ 3193102 w 8079933"/>
              <a:gd name="connsiteY46837" fmla="*/ 184926 h 4687251"/>
              <a:gd name="connsiteX46838" fmla="*/ 3198636 w 8079933"/>
              <a:gd name="connsiteY46838" fmla="*/ 190773 h 4687251"/>
              <a:gd name="connsiteX46839" fmla="*/ 3199179 w 8079933"/>
              <a:gd name="connsiteY46839" fmla="*/ 196404 h 4687251"/>
              <a:gd name="connsiteX46840" fmla="*/ 3197226 w 8079933"/>
              <a:gd name="connsiteY46840" fmla="*/ 201600 h 4687251"/>
              <a:gd name="connsiteX46841" fmla="*/ 3195055 w 8079933"/>
              <a:gd name="connsiteY46841" fmla="*/ 199651 h 4687251"/>
              <a:gd name="connsiteX46842" fmla="*/ 3190931 w 8079933"/>
              <a:gd name="connsiteY46842" fmla="*/ 192181 h 4687251"/>
              <a:gd name="connsiteX46843" fmla="*/ 3189847 w 8079933"/>
              <a:gd name="connsiteY46843" fmla="*/ 184926 h 4687251"/>
              <a:gd name="connsiteX46844" fmla="*/ 3184855 w 8079933"/>
              <a:gd name="connsiteY46844" fmla="*/ 174749 h 4687251"/>
              <a:gd name="connsiteX46845" fmla="*/ 3184855 w 8079933"/>
              <a:gd name="connsiteY46845" fmla="*/ 168902 h 4687251"/>
              <a:gd name="connsiteX46846" fmla="*/ 3187134 w 8079933"/>
              <a:gd name="connsiteY46846" fmla="*/ 164463 h 4687251"/>
              <a:gd name="connsiteX46847" fmla="*/ 3186917 w 8079933"/>
              <a:gd name="connsiteY46847" fmla="*/ 152446 h 4687251"/>
              <a:gd name="connsiteX46848" fmla="*/ 2448028 w 8079933"/>
              <a:gd name="connsiteY46848" fmla="*/ 142267 h 4687251"/>
              <a:gd name="connsiteX46849" fmla="*/ 2445965 w 8079933"/>
              <a:gd name="connsiteY46849" fmla="*/ 147031 h 4687251"/>
              <a:gd name="connsiteX46850" fmla="*/ 2449546 w 8079933"/>
              <a:gd name="connsiteY46850" fmla="*/ 148330 h 4687251"/>
              <a:gd name="connsiteX46851" fmla="*/ 2455189 w 8079933"/>
              <a:gd name="connsiteY46851" fmla="*/ 148655 h 4687251"/>
              <a:gd name="connsiteX46852" fmla="*/ 2456492 w 8079933"/>
              <a:gd name="connsiteY46852" fmla="*/ 151903 h 4687251"/>
              <a:gd name="connsiteX46853" fmla="*/ 2453562 w 8079933"/>
              <a:gd name="connsiteY46853" fmla="*/ 158183 h 4687251"/>
              <a:gd name="connsiteX46854" fmla="*/ 2447593 w 8079933"/>
              <a:gd name="connsiteY46854" fmla="*/ 162731 h 4687251"/>
              <a:gd name="connsiteX46855" fmla="*/ 2447160 w 8079933"/>
              <a:gd name="connsiteY46855" fmla="*/ 166196 h 4687251"/>
              <a:gd name="connsiteX46856" fmla="*/ 2444120 w 8079933"/>
              <a:gd name="connsiteY46856" fmla="*/ 172800 h 4687251"/>
              <a:gd name="connsiteX46857" fmla="*/ 2439021 w 8079933"/>
              <a:gd name="connsiteY46857" fmla="*/ 177889 h 4687251"/>
              <a:gd name="connsiteX46858" fmla="*/ 2437609 w 8079933"/>
              <a:gd name="connsiteY46858" fmla="*/ 174099 h 4687251"/>
              <a:gd name="connsiteX46859" fmla="*/ 2435439 w 8079933"/>
              <a:gd name="connsiteY46859" fmla="*/ 171934 h 4687251"/>
              <a:gd name="connsiteX46860" fmla="*/ 2435548 w 8079933"/>
              <a:gd name="connsiteY46860" fmla="*/ 168253 h 4687251"/>
              <a:gd name="connsiteX46861" fmla="*/ 2439780 w 8079933"/>
              <a:gd name="connsiteY46861" fmla="*/ 164247 h 4687251"/>
              <a:gd name="connsiteX46862" fmla="*/ 2439780 w 8079933"/>
              <a:gd name="connsiteY46862" fmla="*/ 159916 h 4687251"/>
              <a:gd name="connsiteX46863" fmla="*/ 2435548 w 8079933"/>
              <a:gd name="connsiteY46863" fmla="*/ 161431 h 4687251"/>
              <a:gd name="connsiteX46864" fmla="*/ 2429797 w 8079933"/>
              <a:gd name="connsiteY46864" fmla="*/ 159700 h 4687251"/>
              <a:gd name="connsiteX46865" fmla="*/ 2429688 w 8079933"/>
              <a:gd name="connsiteY46865" fmla="*/ 156018 h 4687251"/>
              <a:gd name="connsiteX46866" fmla="*/ 2432510 w 8079933"/>
              <a:gd name="connsiteY46866" fmla="*/ 153311 h 4687251"/>
              <a:gd name="connsiteX46867" fmla="*/ 2433378 w 8079933"/>
              <a:gd name="connsiteY46867" fmla="*/ 149630 h 4687251"/>
              <a:gd name="connsiteX46868" fmla="*/ 2440431 w 8079933"/>
              <a:gd name="connsiteY46868" fmla="*/ 147465 h 4687251"/>
              <a:gd name="connsiteX46869" fmla="*/ 2446183 w 8079933"/>
              <a:gd name="connsiteY46869" fmla="*/ 142484 h 4687251"/>
              <a:gd name="connsiteX46870" fmla="*/ 2525182 w 8079933"/>
              <a:gd name="connsiteY46870" fmla="*/ 126352 h 4687251"/>
              <a:gd name="connsiteX46871" fmla="*/ 2528112 w 8079933"/>
              <a:gd name="connsiteY46871" fmla="*/ 126352 h 4687251"/>
              <a:gd name="connsiteX46872" fmla="*/ 2530065 w 8079933"/>
              <a:gd name="connsiteY46872" fmla="*/ 127652 h 4687251"/>
              <a:gd name="connsiteX46873" fmla="*/ 2533863 w 8079933"/>
              <a:gd name="connsiteY46873" fmla="*/ 127652 h 4687251"/>
              <a:gd name="connsiteX46874" fmla="*/ 2534297 w 8079933"/>
              <a:gd name="connsiteY46874" fmla="*/ 131767 h 4687251"/>
              <a:gd name="connsiteX46875" fmla="*/ 2531801 w 8079933"/>
              <a:gd name="connsiteY46875" fmla="*/ 131983 h 4687251"/>
              <a:gd name="connsiteX46876" fmla="*/ 2529739 w 8079933"/>
              <a:gd name="connsiteY46876" fmla="*/ 130467 h 4687251"/>
              <a:gd name="connsiteX46877" fmla="*/ 2525073 w 8079933"/>
              <a:gd name="connsiteY46877" fmla="*/ 129601 h 4687251"/>
              <a:gd name="connsiteX46878" fmla="*/ 2523663 w 8079933"/>
              <a:gd name="connsiteY46878" fmla="*/ 127544 h 4687251"/>
              <a:gd name="connsiteX46879" fmla="*/ 3304006 w 8079933"/>
              <a:gd name="connsiteY46879" fmla="*/ 119964 h 4687251"/>
              <a:gd name="connsiteX46880" fmla="*/ 3307804 w 8079933"/>
              <a:gd name="connsiteY46880" fmla="*/ 122886 h 4687251"/>
              <a:gd name="connsiteX46881" fmla="*/ 3307479 w 8079933"/>
              <a:gd name="connsiteY46881" fmla="*/ 128625 h 4687251"/>
              <a:gd name="connsiteX46882" fmla="*/ 3305417 w 8079933"/>
              <a:gd name="connsiteY46882" fmla="*/ 127975 h 4687251"/>
              <a:gd name="connsiteX46883" fmla="*/ 3302487 w 8079933"/>
              <a:gd name="connsiteY46883" fmla="*/ 121047 h 4687251"/>
              <a:gd name="connsiteX46884" fmla="*/ 3282846 w 8079933"/>
              <a:gd name="connsiteY46884" fmla="*/ 114984 h 4687251"/>
              <a:gd name="connsiteX46885" fmla="*/ 3285776 w 8079933"/>
              <a:gd name="connsiteY46885" fmla="*/ 116716 h 4687251"/>
              <a:gd name="connsiteX46886" fmla="*/ 3286209 w 8079933"/>
              <a:gd name="connsiteY46886" fmla="*/ 120614 h 4687251"/>
              <a:gd name="connsiteX46887" fmla="*/ 3288706 w 8079933"/>
              <a:gd name="connsiteY46887" fmla="*/ 121480 h 4687251"/>
              <a:gd name="connsiteX46888" fmla="*/ 3291310 w 8079933"/>
              <a:gd name="connsiteY46888" fmla="*/ 123970 h 4687251"/>
              <a:gd name="connsiteX46889" fmla="*/ 3291310 w 8079933"/>
              <a:gd name="connsiteY46889" fmla="*/ 126352 h 4687251"/>
              <a:gd name="connsiteX46890" fmla="*/ 3287729 w 8079933"/>
              <a:gd name="connsiteY46890" fmla="*/ 126135 h 4687251"/>
              <a:gd name="connsiteX46891" fmla="*/ 3285776 w 8079933"/>
              <a:gd name="connsiteY46891" fmla="*/ 124187 h 4687251"/>
              <a:gd name="connsiteX46892" fmla="*/ 3280133 w 8079933"/>
              <a:gd name="connsiteY46892" fmla="*/ 123538 h 4687251"/>
              <a:gd name="connsiteX46893" fmla="*/ 3279265 w 8079933"/>
              <a:gd name="connsiteY46893" fmla="*/ 120181 h 4687251"/>
              <a:gd name="connsiteX46894" fmla="*/ 3279482 w 8079933"/>
              <a:gd name="connsiteY46894" fmla="*/ 117907 h 4687251"/>
              <a:gd name="connsiteX46895" fmla="*/ 5245912 w 8079933"/>
              <a:gd name="connsiteY46895" fmla="*/ 110113 h 4687251"/>
              <a:gd name="connsiteX46896" fmla="*/ 5251664 w 8079933"/>
              <a:gd name="connsiteY46896" fmla="*/ 111628 h 4687251"/>
              <a:gd name="connsiteX46897" fmla="*/ 5249602 w 8079933"/>
              <a:gd name="connsiteY46897" fmla="*/ 114660 h 4687251"/>
              <a:gd name="connsiteX46898" fmla="*/ 5249059 w 8079933"/>
              <a:gd name="connsiteY46898" fmla="*/ 117908 h 4687251"/>
              <a:gd name="connsiteX46899" fmla="*/ 5244935 w 8079933"/>
              <a:gd name="connsiteY46899" fmla="*/ 121807 h 4687251"/>
              <a:gd name="connsiteX46900" fmla="*/ 5239183 w 8079933"/>
              <a:gd name="connsiteY46900" fmla="*/ 122996 h 4687251"/>
              <a:gd name="connsiteX46901" fmla="*/ 5234408 w 8079933"/>
              <a:gd name="connsiteY46901" fmla="*/ 121807 h 4687251"/>
              <a:gd name="connsiteX46902" fmla="*/ 5231804 w 8079933"/>
              <a:gd name="connsiteY46902" fmla="*/ 119532 h 4687251"/>
              <a:gd name="connsiteX46903" fmla="*/ 5236254 w 8079933"/>
              <a:gd name="connsiteY46903" fmla="*/ 114769 h 4687251"/>
              <a:gd name="connsiteX46904" fmla="*/ 5238967 w 8079933"/>
              <a:gd name="connsiteY46904" fmla="*/ 110653 h 4687251"/>
              <a:gd name="connsiteX46905" fmla="*/ 3314640 w 8079933"/>
              <a:gd name="connsiteY46905" fmla="*/ 108595 h 4687251"/>
              <a:gd name="connsiteX46906" fmla="*/ 3317679 w 8079933"/>
              <a:gd name="connsiteY46906" fmla="*/ 109137 h 4687251"/>
              <a:gd name="connsiteX46907" fmla="*/ 3321694 w 8079933"/>
              <a:gd name="connsiteY46907" fmla="*/ 114984 h 4687251"/>
              <a:gd name="connsiteX46908" fmla="*/ 3324841 w 8079933"/>
              <a:gd name="connsiteY46908" fmla="*/ 115525 h 4687251"/>
              <a:gd name="connsiteX46909" fmla="*/ 3325058 w 8079933"/>
              <a:gd name="connsiteY46909" fmla="*/ 118665 h 4687251"/>
              <a:gd name="connsiteX46910" fmla="*/ 3323756 w 8079933"/>
              <a:gd name="connsiteY46910" fmla="*/ 119964 h 4687251"/>
              <a:gd name="connsiteX46911" fmla="*/ 3323647 w 8079933"/>
              <a:gd name="connsiteY46911" fmla="*/ 125053 h 4687251"/>
              <a:gd name="connsiteX46912" fmla="*/ 3322019 w 8079933"/>
              <a:gd name="connsiteY46912" fmla="*/ 130360 h 4687251"/>
              <a:gd name="connsiteX46913" fmla="*/ 3318221 w 8079933"/>
              <a:gd name="connsiteY46913" fmla="*/ 129384 h 4687251"/>
              <a:gd name="connsiteX46914" fmla="*/ 3312687 w 8079933"/>
              <a:gd name="connsiteY46914" fmla="*/ 123537 h 4687251"/>
              <a:gd name="connsiteX46915" fmla="*/ 3308563 w 8079933"/>
              <a:gd name="connsiteY46915" fmla="*/ 121588 h 4687251"/>
              <a:gd name="connsiteX46916" fmla="*/ 3307044 w 8079933"/>
              <a:gd name="connsiteY46916" fmla="*/ 117257 h 4687251"/>
              <a:gd name="connsiteX46917" fmla="*/ 3309757 w 8079933"/>
              <a:gd name="connsiteY46917" fmla="*/ 116824 h 4687251"/>
              <a:gd name="connsiteX46918" fmla="*/ 3312253 w 8079933"/>
              <a:gd name="connsiteY46918" fmla="*/ 119747 h 4687251"/>
              <a:gd name="connsiteX46919" fmla="*/ 3314206 w 8079933"/>
              <a:gd name="connsiteY46919" fmla="*/ 117365 h 4687251"/>
              <a:gd name="connsiteX46920" fmla="*/ 3313121 w 8079933"/>
              <a:gd name="connsiteY46920" fmla="*/ 115092 h 4687251"/>
              <a:gd name="connsiteX46921" fmla="*/ 3312470 w 8079933"/>
              <a:gd name="connsiteY46921" fmla="*/ 110870 h 4687251"/>
              <a:gd name="connsiteX46922" fmla="*/ 3379750 w 8079933"/>
              <a:gd name="connsiteY46922" fmla="*/ 97228 h 4687251"/>
              <a:gd name="connsiteX46923" fmla="*/ 3383114 w 8079933"/>
              <a:gd name="connsiteY46923" fmla="*/ 99392 h 4687251"/>
              <a:gd name="connsiteX46924" fmla="*/ 3383222 w 8079933"/>
              <a:gd name="connsiteY46924" fmla="*/ 101558 h 4687251"/>
              <a:gd name="connsiteX46925" fmla="*/ 3380943 w 8079933"/>
              <a:gd name="connsiteY46925" fmla="*/ 102533 h 4687251"/>
              <a:gd name="connsiteX46926" fmla="*/ 3378773 w 8079933"/>
              <a:gd name="connsiteY46926" fmla="*/ 101450 h 4687251"/>
              <a:gd name="connsiteX46927" fmla="*/ 3378665 w 8079933"/>
              <a:gd name="connsiteY46927" fmla="*/ 98527 h 4687251"/>
              <a:gd name="connsiteX46928" fmla="*/ 3414801 w 8079933"/>
              <a:gd name="connsiteY46928" fmla="*/ 87591 h 4687251"/>
              <a:gd name="connsiteX46929" fmla="*/ 3417731 w 8079933"/>
              <a:gd name="connsiteY46929" fmla="*/ 87591 h 4687251"/>
              <a:gd name="connsiteX46930" fmla="*/ 3417731 w 8079933"/>
              <a:gd name="connsiteY46930" fmla="*/ 91381 h 4687251"/>
              <a:gd name="connsiteX46931" fmla="*/ 3415343 w 8079933"/>
              <a:gd name="connsiteY46931" fmla="*/ 94739 h 4687251"/>
              <a:gd name="connsiteX46932" fmla="*/ 3412088 w 8079933"/>
              <a:gd name="connsiteY46932" fmla="*/ 94846 h 4687251"/>
              <a:gd name="connsiteX46933" fmla="*/ 3411003 w 8079933"/>
              <a:gd name="connsiteY46933" fmla="*/ 93114 h 4687251"/>
              <a:gd name="connsiteX46934" fmla="*/ 3411112 w 8079933"/>
              <a:gd name="connsiteY46934" fmla="*/ 89974 h 4687251"/>
              <a:gd name="connsiteX46935" fmla="*/ 6362004 w 8079933"/>
              <a:gd name="connsiteY46935" fmla="*/ 85535 h 4687251"/>
              <a:gd name="connsiteX46936" fmla="*/ 6363523 w 8079933"/>
              <a:gd name="connsiteY46936" fmla="*/ 86836 h 4687251"/>
              <a:gd name="connsiteX46937" fmla="*/ 6363849 w 8079933"/>
              <a:gd name="connsiteY46937" fmla="*/ 90950 h 4687251"/>
              <a:gd name="connsiteX46938" fmla="*/ 6365369 w 8079933"/>
              <a:gd name="connsiteY46938" fmla="*/ 92898 h 4687251"/>
              <a:gd name="connsiteX46939" fmla="*/ 6361679 w 8079933"/>
              <a:gd name="connsiteY46939" fmla="*/ 95497 h 4687251"/>
              <a:gd name="connsiteX46940" fmla="*/ 6358641 w 8079933"/>
              <a:gd name="connsiteY46940" fmla="*/ 99070 h 4687251"/>
              <a:gd name="connsiteX46941" fmla="*/ 6353215 w 8079933"/>
              <a:gd name="connsiteY46941" fmla="*/ 101127 h 4687251"/>
              <a:gd name="connsiteX46942" fmla="*/ 6355385 w 8079933"/>
              <a:gd name="connsiteY46942" fmla="*/ 92032 h 4687251"/>
              <a:gd name="connsiteX46943" fmla="*/ 3393750 w 8079933"/>
              <a:gd name="connsiteY46943" fmla="*/ 84992 h 4687251"/>
              <a:gd name="connsiteX46944" fmla="*/ 3396138 w 8079933"/>
              <a:gd name="connsiteY46944" fmla="*/ 87591 h 4687251"/>
              <a:gd name="connsiteX46945" fmla="*/ 3396897 w 8079933"/>
              <a:gd name="connsiteY46945" fmla="*/ 91272 h 4687251"/>
              <a:gd name="connsiteX46946" fmla="*/ 3403300 w 8079933"/>
              <a:gd name="connsiteY46946" fmla="*/ 97119 h 4687251"/>
              <a:gd name="connsiteX46947" fmla="*/ 3400912 w 8079933"/>
              <a:gd name="connsiteY46947" fmla="*/ 98634 h 4687251"/>
              <a:gd name="connsiteX46948" fmla="*/ 3398416 w 8079933"/>
              <a:gd name="connsiteY46948" fmla="*/ 101991 h 4687251"/>
              <a:gd name="connsiteX46949" fmla="*/ 3395270 w 8079933"/>
              <a:gd name="connsiteY46949" fmla="*/ 102099 h 4687251"/>
              <a:gd name="connsiteX46950" fmla="*/ 3394075 w 8079933"/>
              <a:gd name="connsiteY46950" fmla="*/ 98851 h 4687251"/>
              <a:gd name="connsiteX46951" fmla="*/ 3391145 w 8079933"/>
              <a:gd name="connsiteY46951" fmla="*/ 93762 h 4687251"/>
              <a:gd name="connsiteX46952" fmla="*/ 3389952 w 8079933"/>
              <a:gd name="connsiteY46952" fmla="*/ 91164 h 4687251"/>
              <a:gd name="connsiteX46953" fmla="*/ 3391362 w 8079933"/>
              <a:gd name="connsiteY46953" fmla="*/ 90081 h 4687251"/>
              <a:gd name="connsiteX46954" fmla="*/ 3392230 w 8079933"/>
              <a:gd name="connsiteY46954" fmla="*/ 86725 h 4687251"/>
              <a:gd name="connsiteX46955" fmla="*/ 5299953 w 8079933"/>
              <a:gd name="connsiteY46955" fmla="*/ 84453 h 4687251"/>
              <a:gd name="connsiteX46956" fmla="*/ 5303316 w 8079933"/>
              <a:gd name="connsiteY46956" fmla="*/ 84777 h 4687251"/>
              <a:gd name="connsiteX46957" fmla="*/ 5311239 w 8079933"/>
              <a:gd name="connsiteY46957" fmla="*/ 88783 h 4687251"/>
              <a:gd name="connsiteX46958" fmla="*/ 5318292 w 8079933"/>
              <a:gd name="connsiteY46958" fmla="*/ 94305 h 4687251"/>
              <a:gd name="connsiteX46959" fmla="*/ 5327950 w 8079933"/>
              <a:gd name="connsiteY46959" fmla="*/ 105999 h 4687251"/>
              <a:gd name="connsiteX46960" fmla="*/ 5334244 w 8079933"/>
              <a:gd name="connsiteY46960" fmla="*/ 110438 h 4687251"/>
              <a:gd name="connsiteX46961" fmla="*/ 5343143 w 8079933"/>
              <a:gd name="connsiteY46961" fmla="*/ 113144 h 4687251"/>
              <a:gd name="connsiteX46962" fmla="*/ 5355079 w 8079933"/>
              <a:gd name="connsiteY46962" fmla="*/ 113036 h 4687251"/>
              <a:gd name="connsiteX46963" fmla="*/ 5357250 w 8079933"/>
              <a:gd name="connsiteY46963" fmla="*/ 114335 h 4687251"/>
              <a:gd name="connsiteX46964" fmla="*/ 5357141 w 8079933"/>
              <a:gd name="connsiteY46964" fmla="*/ 118341 h 4687251"/>
              <a:gd name="connsiteX46965" fmla="*/ 5354537 w 8079933"/>
              <a:gd name="connsiteY46965" fmla="*/ 123321 h 4687251"/>
              <a:gd name="connsiteX46966" fmla="*/ 5354211 w 8079933"/>
              <a:gd name="connsiteY46966" fmla="*/ 128519 h 4687251"/>
              <a:gd name="connsiteX46967" fmla="*/ 5358443 w 8079933"/>
              <a:gd name="connsiteY46967" fmla="*/ 136205 h 4687251"/>
              <a:gd name="connsiteX46968" fmla="*/ 5365714 w 8079933"/>
              <a:gd name="connsiteY46968" fmla="*/ 143135 h 4687251"/>
              <a:gd name="connsiteX46969" fmla="*/ 5373852 w 8079933"/>
              <a:gd name="connsiteY46969" fmla="*/ 147573 h 4687251"/>
              <a:gd name="connsiteX46970" fmla="*/ 5374287 w 8079933"/>
              <a:gd name="connsiteY46970" fmla="*/ 152553 h 4687251"/>
              <a:gd name="connsiteX46971" fmla="*/ 5372116 w 8079933"/>
              <a:gd name="connsiteY46971" fmla="*/ 156669 h 4687251"/>
              <a:gd name="connsiteX46972" fmla="*/ 5365714 w 8079933"/>
              <a:gd name="connsiteY46972" fmla="*/ 160241 h 4687251"/>
              <a:gd name="connsiteX46973" fmla="*/ 5356382 w 8079933"/>
              <a:gd name="connsiteY46973" fmla="*/ 166955 h 4687251"/>
              <a:gd name="connsiteX46974" fmla="*/ 5350521 w 8079933"/>
              <a:gd name="connsiteY46974" fmla="*/ 172693 h 4687251"/>
              <a:gd name="connsiteX46975" fmla="*/ 5350087 w 8079933"/>
              <a:gd name="connsiteY46975" fmla="*/ 177348 h 4687251"/>
              <a:gd name="connsiteX46976" fmla="*/ 5346723 w 8079933"/>
              <a:gd name="connsiteY46976" fmla="*/ 182113 h 4687251"/>
              <a:gd name="connsiteX46977" fmla="*/ 5338693 w 8079933"/>
              <a:gd name="connsiteY46977" fmla="*/ 186768 h 4687251"/>
              <a:gd name="connsiteX46978" fmla="*/ 5333267 w 8079933"/>
              <a:gd name="connsiteY46978" fmla="*/ 187526 h 4687251"/>
              <a:gd name="connsiteX46979" fmla="*/ 5327299 w 8079933"/>
              <a:gd name="connsiteY46979" fmla="*/ 186552 h 4687251"/>
              <a:gd name="connsiteX46980" fmla="*/ 5321005 w 8079933"/>
              <a:gd name="connsiteY46980" fmla="*/ 182870 h 4687251"/>
              <a:gd name="connsiteX46981" fmla="*/ 5317099 w 8079933"/>
              <a:gd name="connsiteY46981" fmla="*/ 182113 h 4687251"/>
              <a:gd name="connsiteX46982" fmla="*/ 5314820 w 8079933"/>
              <a:gd name="connsiteY46982" fmla="*/ 184494 h 4687251"/>
              <a:gd name="connsiteX46983" fmla="*/ 5311022 w 8079933"/>
              <a:gd name="connsiteY46983" fmla="*/ 184494 h 4687251"/>
              <a:gd name="connsiteX46984" fmla="*/ 5303968 w 8079933"/>
              <a:gd name="connsiteY46984" fmla="*/ 179406 h 4687251"/>
              <a:gd name="connsiteX46985" fmla="*/ 5302666 w 8079933"/>
              <a:gd name="connsiteY46985" fmla="*/ 174750 h 4687251"/>
              <a:gd name="connsiteX46986" fmla="*/ 5300604 w 8079933"/>
              <a:gd name="connsiteY46986" fmla="*/ 173127 h 4687251"/>
              <a:gd name="connsiteX46987" fmla="*/ 5294310 w 8079933"/>
              <a:gd name="connsiteY46987" fmla="*/ 175507 h 4687251"/>
              <a:gd name="connsiteX46988" fmla="*/ 5291489 w 8079933"/>
              <a:gd name="connsiteY46988" fmla="*/ 180272 h 4687251"/>
              <a:gd name="connsiteX46989" fmla="*/ 5289101 w 8079933"/>
              <a:gd name="connsiteY46989" fmla="*/ 181138 h 4687251"/>
              <a:gd name="connsiteX46990" fmla="*/ 5287690 w 8079933"/>
              <a:gd name="connsiteY46990" fmla="*/ 177781 h 4687251"/>
              <a:gd name="connsiteX46991" fmla="*/ 5289209 w 8079933"/>
              <a:gd name="connsiteY46991" fmla="*/ 173668 h 4687251"/>
              <a:gd name="connsiteX46992" fmla="*/ 5291597 w 8079933"/>
              <a:gd name="connsiteY46992" fmla="*/ 168578 h 4687251"/>
              <a:gd name="connsiteX46993" fmla="*/ 5293225 w 8079933"/>
              <a:gd name="connsiteY46993" fmla="*/ 155478 h 4687251"/>
              <a:gd name="connsiteX46994" fmla="*/ 5292574 w 8079933"/>
              <a:gd name="connsiteY46994" fmla="*/ 150822 h 4687251"/>
              <a:gd name="connsiteX46995" fmla="*/ 5288341 w 8079933"/>
              <a:gd name="connsiteY46995" fmla="*/ 148223 h 4687251"/>
              <a:gd name="connsiteX46996" fmla="*/ 5285086 w 8079933"/>
              <a:gd name="connsiteY46996" fmla="*/ 143460 h 4687251"/>
              <a:gd name="connsiteX46997" fmla="*/ 5284218 w 8079933"/>
              <a:gd name="connsiteY46997" fmla="*/ 124513 h 4687251"/>
              <a:gd name="connsiteX46998" fmla="*/ 5285086 w 8079933"/>
              <a:gd name="connsiteY46998" fmla="*/ 119640 h 4687251"/>
              <a:gd name="connsiteX46999" fmla="*/ 5290077 w 8079933"/>
              <a:gd name="connsiteY46999" fmla="*/ 113469 h 4687251"/>
              <a:gd name="connsiteX47000" fmla="*/ 5294310 w 8079933"/>
              <a:gd name="connsiteY47000" fmla="*/ 106323 h 4687251"/>
              <a:gd name="connsiteX47001" fmla="*/ 5298325 w 8079933"/>
              <a:gd name="connsiteY47001" fmla="*/ 100585 h 4687251"/>
              <a:gd name="connsiteX47002" fmla="*/ 5298434 w 8079933"/>
              <a:gd name="connsiteY47002" fmla="*/ 94197 h 4687251"/>
              <a:gd name="connsiteX47003" fmla="*/ 5297457 w 8079933"/>
              <a:gd name="connsiteY47003" fmla="*/ 90515 h 4687251"/>
              <a:gd name="connsiteX47004" fmla="*/ 5298542 w 8079933"/>
              <a:gd name="connsiteY47004" fmla="*/ 86618 h 4687251"/>
              <a:gd name="connsiteX47005" fmla="*/ 3409917 w 8079933"/>
              <a:gd name="connsiteY47005" fmla="*/ 76439 h 4687251"/>
              <a:gd name="connsiteX47006" fmla="*/ 3412522 w 8079933"/>
              <a:gd name="connsiteY47006" fmla="*/ 76439 h 4687251"/>
              <a:gd name="connsiteX47007" fmla="*/ 3414366 w 8079933"/>
              <a:gd name="connsiteY47007" fmla="*/ 79254 h 4687251"/>
              <a:gd name="connsiteX47008" fmla="*/ 3413390 w 8079933"/>
              <a:gd name="connsiteY47008" fmla="*/ 83477 h 4687251"/>
              <a:gd name="connsiteX47009" fmla="*/ 3411979 w 8079933"/>
              <a:gd name="connsiteY47009" fmla="*/ 85100 h 4687251"/>
              <a:gd name="connsiteX47010" fmla="*/ 3410352 w 8079933"/>
              <a:gd name="connsiteY47010" fmla="*/ 84560 h 4687251"/>
              <a:gd name="connsiteX47011" fmla="*/ 3408507 w 8079933"/>
              <a:gd name="connsiteY47011" fmla="*/ 80337 h 4687251"/>
              <a:gd name="connsiteX47012" fmla="*/ 2566637 w 8079933"/>
              <a:gd name="connsiteY47012" fmla="*/ 73841 h 4687251"/>
              <a:gd name="connsiteX47013" fmla="*/ 2573040 w 8079933"/>
              <a:gd name="connsiteY47013" fmla="*/ 79579 h 4687251"/>
              <a:gd name="connsiteX47014" fmla="*/ 2574775 w 8079933"/>
              <a:gd name="connsiteY47014" fmla="*/ 78712 h 4687251"/>
              <a:gd name="connsiteX47015" fmla="*/ 2574775 w 8079933"/>
              <a:gd name="connsiteY47015" fmla="*/ 75898 h 4687251"/>
              <a:gd name="connsiteX47016" fmla="*/ 2576838 w 8079933"/>
              <a:gd name="connsiteY47016" fmla="*/ 74165 h 4687251"/>
              <a:gd name="connsiteX47017" fmla="*/ 2583566 w 8079933"/>
              <a:gd name="connsiteY47017" fmla="*/ 77305 h 4687251"/>
              <a:gd name="connsiteX47018" fmla="*/ 2584976 w 8079933"/>
              <a:gd name="connsiteY47018" fmla="*/ 81420 h 4687251"/>
              <a:gd name="connsiteX47019" fmla="*/ 2592030 w 8079933"/>
              <a:gd name="connsiteY47019" fmla="*/ 86399 h 4687251"/>
              <a:gd name="connsiteX47020" fmla="*/ 2593223 w 8079933"/>
              <a:gd name="connsiteY47020" fmla="*/ 91381 h 4687251"/>
              <a:gd name="connsiteX47021" fmla="*/ 2597347 w 8079933"/>
              <a:gd name="connsiteY47021" fmla="*/ 96577 h 4687251"/>
              <a:gd name="connsiteX47022" fmla="*/ 2597021 w 8079933"/>
              <a:gd name="connsiteY47022" fmla="*/ 102857 h 4687251"/>
              <a:gd name="connsiteX47023" fmla="*/ 2593223 w 8079933"/>
              <a:gd name="connsiteY47023" fmla="*/ 110436 h 4687251"/>
              <a:gd name="connsiteX47024" fmla="*/ 2593766 w 8079933"/>
              <a:gd name="connsiteY47024" fmla="*/ 116174 h 4687251"/>
              <a:gd name="connsiteX47025" fmla="*/ 2593006 w 8079933"/>
              <a:gd name="connsiteY47025" fmla="*/ 123862 h 4687251"/>
              <a:gd name="connsiteX47026" fmla="*/ 2590510 w 8079933"/>
              <a:gd name="connsiteY47026" fmla="*/ 129491 h 4687251"/>
              <a:gd name="connsiteX47027" fmla="*/ 2590836 w 8079933"/>
              <a:gd name="connsiteY47027" fmla="*/ 136854 h 4687251"/>
              <a:gd name="connsiteX47028" fmla="*/ 2589751 w 8079933"/>
              <a:gd name="connsiteY47028" fmla="*/ 146923 h 4687251"/>
              <a:gd name="connsiteX47029" fmla="*/ 2592355 w 8079933"/>
              <a:gd name="connsiteY47029" fmla="*/ 153311 h 4687251"/>
              <a:gd name="connsiteX47030" fmla="*/ 2591704 w 8079933"/>
              <a:gd name="connsiteY47030" fmla="*/ 160349 h 4687251"/>
              <a:gd name="connsiteX47031" fmla="*/ 2593223 w 8079933"/>
              <a:gd name="connsiteY47031" fmla="*/ 161648 h 4687251"/>
              <a:gd name="connsiteX47032" fmla="*/ 2594200 w 8079933"/>
              <a:gd name="connsiteY47032" fmla="*/ 164354 h 4687251"/>
              <a:gd name="connsiteX47033" fmla="*/ 2596479 w 8079933"/>
              <a:gd name="connsiteY47033" fmla="*/ 160132 h 4687251"/>
              <a:gd name="connsiteX47034" fmla="*/ 2601688 w 8079933"/>
              <a:gd name="connsiteY47034" fmla="*/ 158508 h 4687251"/>
              <a:gd name="connsiteX47035" fmla="*/ 2605920 w 8079933"/>
              <a:gd name="connsiteY47035" fmla="*/ 158508 h 4687251"/>
              <a:gd name="connsiteX47036" fmla="*/ 2608742 w 8079933"/>
              <a:gd name="connsiteY47036" fmla="*/ 163488 h 4687251"/>
              <a:gd name="connsiteX47037" fmla="*/ 2610369 w 8079933"/>
              <a:gd name="connsiteY47037" fmla="*/ 169335 h 4687251"/>
              <a:gd name="connsiteX47038" fmla="*/ 2607330 w 8079933"/>
              <a:gd name="connsiteY47038" fmla="*/ 171176 h 4687251"/>
              <a:gd name="connsiteX47039" fmla="*/ 2605269 w 8079933"/>
              <a:gd name="connsiteY47039" fmla="*/ 169551 h 4687251"/>
              <a:gd name="connsiteX47040" fmla="*/ 2604509 w 8079933"/>
              <a:gd name="connsiteY47040" fmla="*/ 172150 h 4687251"/>
              <a:gd name="connsiteX47041" fmla="*/ 2606029 w 8079933"/>
              <a:gd name="connsiteY47041" fmla="*/ 176480 h 4687251"/>
              <a:gd name="connsiteX47042" fmla="*/ 2601471 w 8079933"/>
              <a:gd name="connsiteY47042" fmla="*/ 184709 h 4687251"/>
              <a:gd name="connsiteX47043" fmla="*/ 2601579 w 8079933"/>
              <a:gd name="connsiteY47043" fmla="*/ 188932 h 4687251"/>
              <a:gd name="connsiteX47044" fmla="*/ 2603207 w 8079933"/>
              <a:gd name="connsiteY47044" fmla="*/ 190990 h 4687251"/>
              <a:gd name="connsiteX47045" fmla="*/ 2603099 w 8079933"/>
              <a:gd name="connsiteY47045" fmla="*/ 193588 h 4687251"/>
              <a:gd name="connsiteX47046" fmla="*/ 2604401 w 8079933"/>
              <a:gd name="connsiteY47046" fmla="*/ 194561 h 4687251"/>
              <a:gd name="connsiteX47047" fmla="*/ 2606788 w 8079933"/>
              <a:gd name="connsiteY47047" fmla="*/ 192722 h 4687251"/>
              <a:gd name="connsiteX47048" fmla="*/ 2610044 w 8079933"/>
              <a:gd name="connsiteY47048" fmla="*/ 188607 h 4687251"/>
              <a:gd name="connsiteX47049" fmla="*/ 2607439 w 8079933"/>
              <a:gd name="connsiteY47049" fmla="*/ 185575 h 4687251"/>
              <a:gd name="connsiteX47050" fmla="*/ 2608525 w 8079933"/>
              <a:gd name="connsiteY47050" fmla="*/ 180379 h 4687251"/>
              <a:gd name="connsiteX47051" fmla="*/ 2613733 w 8079933"/>
              <a:gd name="connsiteY47051" fmla="*/ 170092 h 4687251"/>
              <a:gd name="connsiteX47052" fmla="*/ 2617857 w 8079933"/>
              <a:gd name="connsiteY47052" fmla="*/ 168144 h 4687251"/>
              <a:gd name="connsiteX47053" fmla="*/ 2622089 w 8079933"/>
              <a:gd name="connsiteY47053" fmla="*/ 169443 h 4687251"/>
              <a:gd name="connsiteX47054" fmla="*/ 2621980 w 8079933"/>
              <a:gd name="connsiteY47054" fmla="*/ 173232 h 4687251"/>
              <a:gd name="connsiteX47055" fmla="*/ 2623283 w 8079933"/>
              <a:gd name="connsiteY47055" fmla="*/ 174965 h 4687251"/>
              <a:gd name="connsiteX47056" fmla="*/ 2623391 w 8079933"/>
              <a:gd name="connsiteY47056" fmla="*/ 180486 h 4687251"/>
              <a:gd name="connsiteX47057" fmla="*/ 2618834 w 8079933"/>
              <a:gd name="connsiteY47057" fmla="*/ 185143 h 4687251"/>
              <a:gd name="connsiteX47058" fmla="*/ 2619051 w 8079933"/>
              <a:gd name="connsiteY47058" fmla="*/ 190123 h 4687251"/>
              <a:gd name="connsiteX47059" fmla="*/ 2616989 w 8079933"/>
              <a:gd name="connsiteY47059" fmla="*/ 193263 h 4687251"/>
              <a:gd name="connsiteX47060" fmla="*/ 2613625 w 8079933"/>
              <a:gd name="connsiteY47060" fmla="*/ 192938 h 4687251"/>
              <a:gd name="connsiteX47061" fmla="*/ 2610803 w 8079933"/>
              <a:gd name="connsiteY47061" fmla="*/ 194453 h 4687251"/>
              <a:gd name="connsiteX47062" fmla="*/ 2609067 w 8079933"/>
              <a:gd name="connsiteY47062" fmla="*/ 197161 h 4687251"/>
              <a:gd name="connsiteX47063" fmla="*/ 2610803 w 8079933"/>
              <a:gd name="connsiteY47063" fmla="*/ 199543 h 4687251"/>
              <a:gd name="connsiteX47064" fmla="*/ 2613300 w 8079933"/>
              <a:gd name="connsiteY47064" fmla="*/ 197810 h 4687251"/>
              <a:gd name="connsiteX47065" fmla="*/ 2617097 w 8079933"/>
              <a:gd name="connsiteY47065" fmla="*/ 196836 h 4687251"/>
              <a:gd name="connsiteX47066" fmla="*/ 2618725 w 8079933"/>
              <a:gd name="connsiteY47066" fmla="*/ 198134 h 4687251"/>
              <a:gd name="connsiteX47067" fmla="*/ 2616446 w 8079933"/>
              <a:gd name="connsiteY47067" fmla="*/ 205930 h 4687251"/>
              <a:gd name="connsiteX47068" fmla="*/ 2611237 w 8079933"/>
              <a:gd name="connsiteY47068" fmla="*/ 215241 h 4687251"/>
              <a:gd name="connsiteX47069" fmla="*/ 2608742 w 8079933"/>
              <a:gd name="connsiteY47069" fmla="*/ 217190 h 4687251"/>
              <a:gd name="connsiteX47070" fmla="*/ 2600928 w 8079933"/>
              <a:gd name="connsiteY47070" fmla="*/ 225744 h 4687251"/>
              <a:gd name="connsiteX47071" fmla="*/ 2595936 w 8079933"/>
              <a:gd name="connsiteY47071" fmla="*/ 226610 h 4687251"/>
              <a:gd name="connsiteX47072" fmla="*/ 2584759 w 8079933"/>
              <a:gd name="connsiteY47072" fmla="*/ 231699 h 4687251"/>
              <a:gd name="connsiteX47073" fmla="*/ 2583349 w 8079933"/>
              <a:gd name="connsiteY47073" fmla="*/ 233972 h 4687251"/>
              <a:gd name="connsiteX47074" fmla="*/ 2586821 w 8079933"/>
              <a:gd name="connsiteY47074" fmla="*/ 234622 h 4687251"/>
              <a:gd name="connsiteX47075" fmla="*/ 2590836 w 8079933"/>
              <a:gd name="connsiteY47075" fmla="*/ 231915 h 4687251"/>
              <a:gd name="connsiteX47076" fmla="*/ 2595068 w 8079933"/>
              <a:gd name="connsiteY47076" fmla="*/ 231699 h 4687251"/>
              <a:gd name="connsiteX47077" fmla="*/ 2597998 w 8079933"/>
              <a:gd name="connsiteY47077" fmla="*/ 233864 h 4687251"/>
              <a:gd name="connsiteX47078" fmla="*/ 2598975 w 8079933"/>
              <a:gd name="connsiteY47078" fmla="*/ 230832 h 4687251"/>
              <a:gd name="connsiteX47079" fmla="*/ 2601471 w 8079933"/>
              <a:gd name="connsiteY47079" fmla="*/ 229208 h 4687251"/>
              <a:gd name="connsiteX47080" fmla="*/ 2603750 w 8079933"/>
              <a:gd name="connsiteY47080" fmla="*/ 229534 h 4687251"/>
              <a:gd name="connsiteX47081" fmla="*/ 2604726 w 8079933"/>
              <a:gd name="connsiteY47081" fmla="*/ 232998 h 4687251"/>
              <a:gd name="connsiteX47082" fmla="*/ 2610044 w 8079933"/>
              <a:gd name="connsiteY47082" fmla="*/ 237870 h 4687251"/>
              <a:gd name="connsiteX47083" fmla="*/ 2609501 w 8079933"/>
              <a:gd name="connsiteY47083" fmla="*/ 241551 h 4687251"/>
              <a:gd name="connsiteX47084" fmla="*/ 2604726 w 8079933"/>
              <a:gd name="connsiteY47084" fmla="*/ 244475 h 4687251"/>
              <a:gd name="connsiteX47085" fmla="*/ 2601037 w 8079933"/>
              <a:gd name="connsiteY47085" fmla="*/ 249022 h 4687251"/>
              <a:gd name="connsiteX47086" fmla="*/ 2601037 w 8079933"/>
              <a:gd name="connsiteY47086" fmla="*/ 252162 h 4687251"/>
              <a:gd name="connsiteX47087" fmla="*/ 2603641 w 8079933"/>
              <a:gd name="connsiteY47087" fmla="*/ 252162 h 4687251"/>
              <a:gd name="connsiteX47088" fmla="*/ 2609501 w 8079933"/>
              <a:gd name="connsiteY47088" fmla="*/ 245774 h 4687251"/>
              <a:gd name="connsiteX47089" fmla="*/ 2612431 w 8079933"/>
              <a:gd name="connsiteY47089" fmla="*/ 238953 h 4687251"/>
              <a:gd name="connsiteX47090" fmla="*/ 2614168 w 8079933"/>
              <a:gd name="connsiteY47090" fmla="*/ 238736 h 4687251"/>
              <a:gd name="connsiteX47091" fmla="*/ 2614493 w 8079933"/>
              <a:gd name="connsiteY47091" fmla="*/ 249997 h 4687251"/>
              <a:gd name="connsiteX47092" fmla="*/ 2612540 w 8079933"/>
              <a:gd name="connsiteY47092" fmla="*/ 255952 h 4687251"/>
              <a:gd name="connsiteX47093" fmla="*/ 2615578 w 8079933"/>
              <a:gd name="connsiteY47093" fmla="*/ 259199 h 4687251"/>
              <a:gd name="connsiteX47094" fmla="*/ 2614818 w 8079933"/>
              <a:gd name="connsiteY47094" fmla="*/ 262664 h 4687251"/>
              <a:gd name="connsiteX47095" fmla="*/ 2614818 w 8079933"/>
              <a:gd name="connsiteY47095" fmla="*/ 265696 h 4687251"/>
              <a:gd name="connsiteX47096" fmla="*/ 2612865 w 8079933"/>
              <a:gd name="connsiteY47096" fmla="*/ 269918 h 4687251"/>
              <a:gd name="connsiteX47097" fmla="*/ 2608307 w 8079933"/>
              <a:gd name="connsiteY47097" fmla="*/ 271650 h 4687251"/>
              <a:gd name="connsiteX47098" fmla="*/ 2604944 w 8079933"/>
              <a:gd name="connsiteY47098" fmla="*/ 275006 h 4687251"/>
              <a:gd name="connsiteX47099" fmla="*/ 2600819 w 8079933"/>
              <a:gd name="connsiteY47099" fmla="*/ 275331 h 4687251"/>
              <a:gd name="connsiteX47100" fmla="*/ 2593006 w 8079933"/>
              <a:gd name="connsiteY47100" fmla="*/ 277930 h 4687251"/>
              <a:gd name="connsiteX47101" fmla="*/ 2586279 w 8079933"/>
              <a:gd name="connsiteY47101" fmla="*/ 277064 h 4687251"/>
              <a:gd name="connsiteX47102" fmla="*/ 2581829 w 8079933"/>
              <a:gd name="connsiteY47102" fmla="*/ 277172 h 4687251"/>
              <a:gd name="connsiteX47103" fmla="*/ 2576838 w 8079933"/>
              <a:gd name="connsiteY47103" fmla="*/ 283885 h 4687251"/>
              <a:gd name="connsiteX47104" fmla="*/ 2573040 w 8079933"/>
              <a:gd name="connsiteY47104" fmla="*/ 285509 h 4687251"/>
              <a:gd name="connsiteX47105" fmla="*/ 2573040 w 8079933"/>
              <a:gd name="connsiteY47105" fmla="*/ 279770 h 4687251"/>
              <a:gd name="connsiteX47106" fmla="*/ 2574450 w 8079933"/>
              <a:gd name="connsiteY47106" fmla="*/ 278256 h 4687251"/>
              <a:gd name="connsiteX47107" fmla="*/ 2573907 w 8079933"/>
              <a:gd name="connsiteY47107" fmla="*/ 275331 h 4687251"/>
              <a:gd name="connsiteX47108" fmla="*/ 2570869 w 8079933"/>
              <a:gd name="connsiteY47108" fmla="*/ 276523 h 4687251"/>
              <a:gd name="connsiteX47109" fmla="*/ 2567831 w 8079933"/>
              <a:gd name="connsiteY47109" fmla="*/ 281286 h 4687251"/>
              <a:gd name="connsiteX47110" fmla="*/ 2567722 w 8079933"/>
              <a:gd name="connsiteY47110" fmla="*/ 287349 h 4687251"/>
              <a:gd name="connsiteX47111" fmla="*/ 2564792 w 8079933"/>
              <a:gd name="connsiteY47111" fmla="*/ 292656 h 4687251"/>
              <a:gd name="connsiteX47112" fmla="*/ 2555676 w 8079933"/>
              <a:gd name="connsiteY47112" fmla="*/ 300233 h 4687251"/>
              <a:gd name="connsiteX47113" fmla="*/ 2552095 w 8079933"/>
              <a:gd name="connsiteY47113" fmla="*/ 308029 h 4687251"/>
              <a:gd name="connsiteX47114" fmla="*/ 2549491 w 8079933"/>
              <a:gd name="connsiteY47114" fmla="*/ 310736 h 4687251"/>
              <a:gd name="connsiteX47115" fmla="*/ 2547864 w 8079933"/>
              <a:gd name="connsiteY47115" fmla="*/ 305214 h 4687251"/>
              <a:gd name="connsiteX47116" fmla="*/ 2545801 w 8079933"/>
              <a:gd name="connsiteY47116" fmla="*/ 301100 h 4687251"/>
              <a:gd name="connsiteX47117" fmla="*/ 2546669 w 8079933"/>
              <a:gd name="connsiteY47117" fmla="*/ 294279 h 4687251"/>
              <a:gd name="connsiteX47118" fmla="*/ 2550793 w 8079933"/>
              <a:gd name="connsiteY47118" fmla="*/ 288866 h 4687251"/>
              <a:gd name="connsiteX47119" fmla="*/ 2554157 w 8079933"/>
              <a:gd name="connsiteY47119" fmla="*/ 281178 h 4687251"/>
              <a:gd name="connsiteX47120" fmla="*/ 2557413 w 8079933"/>
              <a:gd name="connsiteY47120" fmla="*/ 279988 h 4687251"/>
              <a:gd name="connsiteX47121" fmla="*/ 2556545 w 8079933"/>
              <a:gd name="connsiteY47121" fmla="*/ 277605 h 4687251"/>
              <a:gd name="connsiteX47122" fmla="*/ 2556870 w 8079933"/>
              <a:gd name="connsiteY47122" fmla="*/ 273275 h 4687251"/>
              <a:gd name="connsiteX47123" fmla="*/ 2554592 w 8079933"/>
              <a:gd name="connsiteY47123" fmla="*/ 277064 h 4687251"/>
              <a:gd name="connsiteX47124" fmla="*/ 2549925 w 8079933"/>
              <a:gd name="connsiteY47124" fmla="*/ 278580 h 4687251"/>
              <a:gd name="connsiteX47125" fmla="*/ 2547864 w 8079933"/>
              <a:gd name="connsiteY47125" fmla="*/ 286484 h 4687251"/>
              <a:gd name="connsiteX47126" fmla="*/ 2541895 w 8079933"/>
              <a:gd name="connsiteY47126" fmla="*/ 291356 h 4687251"/>
              <a:gd name="connsiteX47127" fmla="*/ 2541895 w 8079933"/>
              <a:gd name="connsiteY47127" fmla="*/ 295795 h 4687251"/>
              <a:gd name="connsiteX47128" fmla="*/ 2543414 w 8079933"/>
              <a:gd name="connsiteY47128" fmla="*/ 298393 h 4687251"/>
              <a:gd name="connsiteX47129" fmla="*/ 2543414 w 8079933"/>
              <a:gd name="connsiteY47129" fmla="*/ 304890 h 4687251"/>
              <a:gd name="connsiteX47130" fmla="*/ 2538314 w 8079933"/>
              <a:gd name="connsiteY47130" fmla="*/ 306946 h 4687251"/>
              <a:gd name="connsiteX47131" fmla="*/ 2538314 w 8079933"/>
              <a:gd name="connsiteY47131" fmla="*/ 308354 h 4687251"/>
              <a:gd name="connsiteX47132" fmla="*/ 2542871 w 8079933"/>
              <a:gd name="connsiteY47132" fmla="*/ 309329 h 4687251"/>
              <a:gd name="connsiteX47133" fmla="*/ 2543414 w 8079933"/>
              <a:gd name="connsiteY47133" fmla="*/ 314200 h 4687251"/>
              <a:gd name="connsiteX47134" fmla="*/ 2539290 w 8079933"/>
              <a:gd name="connsiteY47134" fmla="*/ 317125 h 4687251"/>
              <a:gd name="connsiteX47135" fmla="*/ 2534298 w 8079933"/>
              <a:gd name="connsiteY47135" fmla="*/ 321888 h 4687251"/>
              <a:gd name="connsiteX47136" fmla="*/ 2530284 w 8079933"/>
              <a:gd name="connsiteY47136" fmla="*/ 321022 h 4687251"/>
              <a:gd name="connsiteX47137" fmla="*/ 2530284 w 8079933"/>
              <a:gd name="connsiteY47137" fmla="*/ 318098 h 4687251"/>
              <a:gd name="connsiteX47138" fmla="*/ 2532562 w 8079933"/>
              <a:gd name="connsiteY47138" fmla="*/ 312468 h 4687251"/>
              <a:gd name="connsiteX47139" fmla="*/ 2531694 w 8079933"/>
              <a:gd name="connsiteY47139" fmla="*/ 308462 h 4687251"/>
              <a:gd name="connsiteX47140" fmla="*/ 2528981 w 8079933"/>
              <a:gd name="connsiteY47140" fmla="*/ 310195 h 4687251"/>
              <a:gd name="connsiteX47141" fmla="*/ 2525509 w 8079933"/>
              <a:gd name="connsiteY47141" fmla="*/ 322104 h 4687251"/>
              <a:gd name="connsiteX47142" fmla="*/ 2517913 w 8079933"/>
              <a:gd name="connsiteY47142" fmla="*/ 330008 h 4687251"/>
              <a:gd name="connsiteX47143" fmla="*/ 2515200 w 8079933"/>
              <a:gd name="connsiteY47143" fmla="*/ 335096 h 4687251"/>
              <a:gd name="connsiteX47144" fmla="*/ 2512052 w 8079933"/>
              <a:gd name="connsiteY47144" fmla="*/ 337912 h 4687251"/>
              <a:gd name="connsiteX47145" fmla="*/ 2510859 w 8079933"/>
              <a:gd name="connsiteY47145" fmla="*/ 336180 h 4687251"/>
              <a:gd name="connsiteX47146" fmla="*/ 2511510 w 8079933"/>
              <a:gd name="connsiteY47146" fmla="*/ 333257 h 4687251"/>
              <a:gd name="connsiteX47147" fmla="*/ 2509339 w 8079933"/>
              <a:gd name="connsiteY47147" fmla="*/ 328601 h 4687251"/>
              <a:gd name="connsiteX47148" fmla="*/ 2511184 w 8079933"/>
              <a:gd name="connsiteY47148" fmla="*/ 319831 h 4687251"/>
              <a:gd name="connsiteX47149" fmla="*/ 2509774 w 8079933"/>
              <a:gd name="connsiteY47149" fmla="*/ 315933 h 4687251"/>
              <a:gd name="connsiteX47150" fmla="*/ 2511076 w 8079933"/>
              <a:gd name="connsiteY47150" fmla="*/ 309329 h 4687251"/>
              <a:gd name="connsiteX47151" fmla="*/ 2516502 w 8079933"/>
              <a:gd name="connsiteY47151" fmla="*/ 300233 h 4687251"/>
              <a:gd name="connsiteX47152" fmla="*/ 2516502 w 8079933"/>
              <a:gd name="connsiteY47152" fmla="*/ 294062 h 4687251"/>
              <a:gd name="connsiteX47153" fmla="*/ 2514332 w 8079933"/>
              <a:gd name="connsiteY47153" fmla="*/ 299260 h 4687251"/>
              <a:gd name="connsiteX47154" fmla="*/ 2509014 w 8079933"/>
              <a:gd name="connsiteY47154" fmla="*/ 304565 h 4687251"/>
              <a:gd name="connsiteX47155" fmla="*/ 2507061 w 8079933"/>
              <a:gd name="connsiteY47155" fmla="*/ 311061 h 4687251"/>
              <a:gd name="connsiteX47156" fmla="*/ 2507603 w 8079933"/>
              <a:gd name="connsiteY47156" fmla="*/ 320913 h 4687251"/>
              <a:gd name="connsiteX47157" fmla="*/ 2503480 w 8079933"/>
              <a:gd name="connsiteY47157" fmla="*/ 332173 h 4687251"/>
              <a:gd name="connsiteX47158" fmla="*/ 2501526 w 8079933"/>
              <a:gd name="connsiteY47158" fmla="*/ 333473 h 4687251"/>
              <a:gd name="connsiteX47159" fmla="*/ 2500550 w 8079933"/>
              <a:gd name="connsiteY47159" fmla="*/ 328492 h 4687251"/>
              <a:gd name="connsiteX47160" fmla="*/ 2501743 w 8079933"/>
              <a:gd name="connsiteY47160" fmla="*/ 324270 h 4687251"/>
              <a:gd name="connsiteX47161" fmla="*/ 2500550 w 8079933"/>
              <a:gd name="connsiteY47161" fmla="*/ 320155 h 4687251"/>
              <a:gd name="connsiteX47162" fmla="*/ 2493930 w 8079933"/>
              <a:gd name="connsiteY47162" fmla="*/ 319614 h 4687251"/>
              <a:gd name="connsiteX47163" fmla="*/ 2495015 w 8079933"/>
              <a:gd name="connsiteY47163" fmla="*/ 323837 h 4687251"/>
              <a:gd name="connsiteX47164" fmla="*/ 2493062 w 8079933"/>
              <a:gd name="connsiteY47164" fmla="*/ 328275 h 4687251"/>
              <a:gd name="connsiteX47165" fmla="*/ 2488830 w 8079933"/>
              <a:gd name="connsiteY47165" fmla="*/ 330008 h 4687251"/>
              <a:gd name="connsiteX47166" fmla="*/ 2479172 w 8079933"/>
              <a:gd name="connsiteY47166" fmla="*/ 323296 h 4687251"/>
              <a:gd name="connsiteX47167" fmla="*/ 2472769 w 8079933"/>
              <a:gd name="connsiteY47167" fmla="*/ 321239 h 4687251"/>
              <a:gd name="connsiteX47168" fmla="*/ 2472769 w 8079933"/>
              <a:gd name="connsiteY47168" fmla="*/ 314200 h 4687251"/>
              <a:gd name="connsiteX47169" fmla="*/ 2469188 w 8079933"/>
              <a:gd name="connsiteY47169" fmla="*/ 313011 h 4687251"/>
              <a:gd name="connsiteX47170" fmla="*/ 2466258 w 8079933"/>
              <a:gd name="connsiteY47170" fmla="*/ 315500 h 4687251"/>
              <a:gd name="connsiteX47171" fmla="*/ 2465933 w 8079933"/>
              <a:gd name="connsiteY47171" fmla="*/ 304890 h 4687251"/>
              <a:gd name="connsiteX47172" fmla="*/ 2467994 w 8079933"/>
              <a:gd name="connsiteY47172" fmla="*/ 301641 h 4687251"/>
              <a:gd name="connsiteX47173" fmla="*/ 2464848 w 8079933"/>
              <a:gd name="connsiteY47173" fmla="*/ 303374 h 4687251"/>
              <a:gd name="connsiteX47174" fmla="*/ 2463003 w 8079933"/>
              <a:gd name="connsiteY47174" fmla="*/ 300450 h 4687251"/>
              <a:gd name="connsiteX47175" fmla="*/ 2463654 w 8079933"/>
              <a:gd name="connsiteY47175" fmla="*/ 292005 h 4687251"/>
              <a:gd name="connsiteX47176" fmla="*/ 2469839 w 8079933"/>
              <a:gd name="connsiteY47176" fmla="*/ 291140 h 4687251"/>
              <a:gd name="connsiteX47177" fmla="*/ 2473854 w 8079933"/>
              <a:gd name="connsiteY47177" fmla="*/ 295578 h 4687251"/>
              <a:gd name="connsiteX47178" fmla="*/ 2476350 w 8079933"/>
              <a:gd name="connsiteY47178" fmla="*/ 293737 h 4687251"/>
              <a:gd name="connsiteX47179" fmla="*/ 2480148 w 8079933"/>
              <a:gd name="connsiteY47179" fmla="*/ 292872 h 4687251"/>
              <a:gd name="connsiteX47180" fmla="*/ 2476784 w 8079933"/>
              <a:gd name="connsiteY47180" fmla="*/ 291789 h 4687251"/>
              <a:gd name="connsiteX47181" fmla="*/ 2473529 w 8079933"/>
              <a:gd name="connsiteY47181" fmla="*/ 286484 h 4687251"/>
              <a:gd name="connsiteX47182" fmla="*/ 2470707 w 8079933"/>
              <a:gd name="connsiteY47182" fmla="*/ 286158 h 4687251"/>
              <a:gd name="connsiteX47183" fmla="*/ 2469188 w 8079933"/>
              <a:gd name="connsiteY47183" fmla="*/ 287999 h 4687251"/>
              <a:gd name="connsiteX47184" fmla="*/ 2465716 w 8079933"/>
              <a:gd name="connsiteY47184" fmla="*/ 287025 h 4687251"/>
              <a:gd name="connsiteX47185" fmla="*/ 2465065 w 8079933"/>
              <a:gd name="connsiteY47185" fmla="*/ 280962 h 4687251"/>
              <a:gd name="connsiteX47186" fmla="*/ 2467778 w 8079933"/>
              <a:gd name="connsiteY47186" fmla="*/ 270460 h 4687251"/>
              <a:gd name="connsiteX47187" fmla="*/ 2470707 w 8079933"/>
              <a:gd name="connsiteY47187" fmla="*/ 270893 h 4687251"/>
              <a:gd name="connsiteX47188" fmla="*/ 2473529 w 8079933"/>
              <a:gd name="connsiteY47188" fmla="*/ 278364 h 4687251"/>
              <a:gd name="connsiteX47189" fmla="*/ 2475157 w 8079933"/>
              <a:gd name="connsiteY47189" fmla="*/ 276198 h 4687251"/>
              <a:gd name="connsiteX47190" fmla="*/ 2475374 w 8079933"/>
              <a:gd name="connsiteY47190" fmla="*/ 270893 h 4687251"/>
              <a:gd name="connsiteX47191" fmla="*/ 2470056 w 8079933"/>
              <a:gd name="connsiteY47191" fmla="*/ 266020 h 4687251"/>
              <a:gd name="connsiteX47192" fmla="*/ 2471359 w 8079933"/>
              <a:gd name="connsiteY47192" fmla="*/ 257575 h 4687251"/>
              <a:gd name="connsiteX47193" fmla="*/ 2474614 w 8079933"/>
              <a:gd name="connsiteY47193" fmla="*/ 254869 h 4687251"/>
              <a:gd name="connsiteX47194" fmla="*/ 2481885 w 8079933"/>
              <a:gd name="connsiteY47194" fmla="*/ 254544 h 4687251"/>
              <a:gd name="connsiteX47195" fmla="*/ 2485140 w 8079933"/>
              <a:gd name="connsiteY47195" fmla="*/ 251079 h 4687251"/>
              <a:gd name="connsiteX47196" fmla="*/ 2487962 w 8079933"/>
              <a:gd name="connsiteY47196" fmla="*/ 249022 h 4687251"/>
              <a:gd name="connsiteX47197" fmla="*/ 2494473 w 8079933"/>
              <a:gd name="connsiteY47197" fmla="*/ 254869 h 4687251"/>
              <a:gd name="connsiteX47198" fmla="*/ 2499139 w 8079933"/>
              <a:gd name="connsiteY47198" fmla="*/ 256384 h 4687251"/>
              <a:gd name="connsiteX47199" fmla="*/ 2501852 w 8079933"/>
              <a:gd name="connsiteY47199" fmla="*/ 259849 h 4687251"/>
              <a:gd name="connsiteX47200" fmla="*/ 2508254 w 8079933"/>
              <a:gd name="connsiteY47200" fmla="*/ 260174 h 4687251"/>
              <a:gd name="connsiteX47201" fmla="*/ 2517587 w 8079933"/>
              <a:gd name="connsiteY47201" fmla="*/ 261364 h 4687251"/>
              <a:gd name="connsiteX47202" fmla="*/ 2520734 w 8079933"/>
              <a:gd name="connsiteY47202" fmla="*/ 262989 h 4687251"/>
              <a:gd name="connsiteX47203" fmla="*/ 2531043 w 8079933"/>
              <a:gd name="connsiteY47203" fmla="*/ 261040 h 4687251"/>
              <a:gd name="connsiteX47204" fmla="*/ 2527787 w 8079933"/>
              <a:gd name="connsiteY47204" fmla="*/ 258874 h 4687251"/>
              <a:gd name="connsiteX47205" fmla="*/ 2518238 w 8079933"/>
              <a:gd name="connsiteY47205" fmla="*/ 258874 h 4687251"/>
              <a:gd name="connsiteX47206" fmla="*/ 2508797 w 8079933"/>
              <a:gd name="connsiteY47206" fmla="*/ 257575 h 4687251"/>
              <a:gd name="connsiteX47207" fmla="*/ 2502611 w 8079933"/>
              <a:gd name="connsiteY47207" fmla="*/ 254652 h 4687251"/>
              <a:gd name="connsiteX47208" fmla="*/ 2502937 w 8079933"/>
              <a:gd name="connsiteY47208" fmla="*/ 251945 h 4687251"/>
              <a:gd name="connsiteX47209" fmla="*/ 2508797 w 8079933"/>
              <a:gd name="connsiteY47209" fmla="*/ 249671 h 4687251"/>
              <a:gd name="connsiteX47210" fmla="*/ 2515308 w 8079933"/>
              <a:gd name="connsiteY47210" fmla="*/ 254002 h 4687251"/>
              <a:gd name="connsiteX47211" fmla="*/ 2520191 w 8079933"/>
              <a:gd name="connsiteY47211" fmla="*/ 253461 h 4687251"/>
              <a:gd name="connsiteX47212" fmla="*/ 2529958 w 8079933"/>
              <a:gd name="connsiteY47212" fmla="*/ 253895 h 4687251"/>
              <a:gd name="connsiteX47213" fmla="*/ 2528547 w 8079933"/>
              <a:gd name="connsiteY47213" fmla="*/ 251729 h 4687251"/>
              <a:gd name="connsiteX47214" fmla="*/ 2517262 w 8079933"/>
              <a:gd name="connsiteY47214" fmla="*/ 249022 h 4687251"/>
              <a:gd name="connsiteX47215" fmla="*/ 2511727 w 8079933"/>
              <a:gd name="connsiteY47215" fmla="*/ 245124 h 4687251"/>
              <a:gd name="connsiteX47216" fmla="*/ 2506518 w 8079933"/>
              <a:gd name="connsiteY47216" fmla="*/ 246316 h 4687251"/>
              <a:gd name="connsiteX47217" fmla="*/ 2502937 w 8079933"/>
              <a:gd name="connsiteY47217" fmla="*/ 245774 h 4687251"/>
              <a:gd name="connsiteX47218" fmla="*/ 2502937 w 8079933"/>
              <a:gd name="connsiteY47218" fmla="*/ 241768 h 4687251"/>
              <a:gd name="connsiteX47219" fmla="*/ 2507278 w 8079933"/>
              <a:gd name="connsiteY47219" fmla="*/ 241443 h 4687251"/>
              <a:gd name="connsiteX47220" fmla="*/ 2505541 w 8079933"/>
              <a:gd name="connsiteY47220" fmla="*/ 238736 h 4687251"/>
              <a:gd name="connsiteX47221" fmla="*/ 2498813 w 8079933"/>
              <a:gd name="connsiteY47221" fmla="*/ 238844 h 4687251"/>
              <a:gd name="connsiteX47222" fmla="*/ 2495884 w 8079933"/>
              <a:gd name="connsiteY47222" fmla="*/ 237545 h 4687251"/>
              <a:gd name="connsiteX47223" fmla="*/ 2498271 w 8079933"/>
              <a:gd name="connsiteY47223" fmla="*/ 234946 h 4687251"/>
              <a:gd name="connsiteX47224" fmla="*/ 2498162 w 8079933"/>
              <a:gd name="connsiteY47224" fmla="*/ 232132 h 4687251"/>
              <a:gd name="connsiteX47225" fmla="*/ 2493605 w 8079933"/>
              <a:gd name="connsiteY47225" fmla="*/ 235488 h 4687251"/>
              <a:gd name="connsiteX47226" fmla="*/ 2490892 w 8079933"/>
              <a:gd name="connsiteY47226" fmla="*/ 235271 h 4687251"/>
              <a:gd name="connsiteX47227" fmla="*/ 2486876 w 8079933"/>
              <a:gd name="connsiteY47227" fmla="*/ 239061 h 4687251"/>
              <a:gd name="connsiteX47228" fmla="*/ 2483404 w 8079933"/>
              <a:gd name="connsiteY47228" fmla="*/ 239061 h 4687251"/>
              <a:gd name="connsiteX47229" fmla="*/ 2481559 w 8079933"/>
              <a:gd name="connsiteY47229" fmla="*/ 236788 h 4687251"/>
              <a:gd name="connsiteX47230" fmla="*/ 2484163 w 8079933"/>
              <a:gd name="connsiteY47230" fmla="*/ 232024 h 4687251"/>
              <a:gd name="connsiteX47231" fmla="*/ 2488396 w 8079933"/>
              <a:gd name="connsiteY47231" fmla="*/ 231807 h 4687251"/>
              <a:gd name="connsiteX47232" fmla="*/ 2489156 w 8079933"/>
              <a:gd name="connsiteY47232" fmla="*/ 227909 h 4687251"/>
              <a:gd name="connsiteX47233" fmla="*/ 2486876 w 8079933"/>
              <a:gd name="connsiteY47233" fmla="*/ 225419 h 4687251"/>
              <a:gd name="connsiteX47234" fmla="*/ 2482970 w 8079933"/>
              <a:gd name="connsiteY47234" fmla="*/ 229642 h 4687251"/>
              <a:gd name="connsiteX47235" fmla="*/ 2477110 w 8079933"/>
              <a:gd name="connsiteY47235" fmla="*/ 229208 h 4687251"/>
              <a:gd name="connsiteX47236" fmla="*/ 2473963 w 8079933"/>
              <a:gd name="connsiteY47236" fmla="*/ 231157 h 4687251"/>
              <a:gd name="connsiteX47237" fmla="*/ 2471359 w 8079933"/>
              <a:gd name="connsiteY47237" fmla="*/ 228776 h 4687251"/>
              <a:gd name="connsiteX47238" fmla="*/ 2471792 w 8079933"/>
              <a:gd name="connsiteY47238" fmla="*/ 224986 h 4687251"/>
              <a:gd name="connsiteX47239" fmla="*/ 2474505 w 8079933"/>
              <a:gd name="connsiteY47239" fmla="*/ 223795 h 4687251"/>
              <a:gd name="connsiteX47240" fmla="*/ 2475157 w 8079933"/>
              <a:gd name="connsiteY47240" fmla="*/ 221196 h 4687251"/>
              <a:gd name="connsiteX47241" fmla="*/ 2472552 w 8079933"/>
              <a:gd name="connsiteY47241" fmla="*/ 217948 h 4687251"/>
              <a:gd name="connsiteX47242" fmla="*/ 2473312 w 8079933"/>
              <a:gd name="connsiteY47242" fmla="*/ 214267 h 4687251"/>
              <a:gd name="connsiteX47243" fmla="*/ 2479497 w 8079933"/>
              <a:gd name="connsiteY47243" fmla="*/ 206038 h 4687251"/>
              <a:gd name="connsiteX47244" fmla="*/ 2483946 w 8079933"/>
              <a:gd name="connsiteY47244" fmla="*/ 205714 h 4687251"/>
              <a:gd name="connsiteX47245" fmla="*/ 2486443 w 8079933"/>
              <a:gd name="connsiteY47245" fmla="*/ 206904 h 4687251"/>
              <a:gd name="connsiteX47246" fmla="*/ 2493605 w 8079933"/>
              <a:gd name="connsiteY47246" fmla="*/ 206688 h 4687251"/>
              <a:gd name="connsiteX47247" fmla="*/ 2498597 w 8079933"/>
              <a:gd name="connsiteY47247" fmla="*/ 208420 h 4687251"/>
              <a:gd name="connsiteX47248" fmla="*/ 2501852 w 8079933"/>
              <a:gd name="connsiteY47248" fmla="*/ 206580 h 4687251"/>
              <a:gd name="connsiteX47249" fmla="*/ 2501852 w 8079933"/>
              <a:gd name="connsiteY47249" fmla="*/ 204522 h 4687251"/>
              <a:gd name="connsiteX47250" fmla="*/ 2497620 w 8079933"/>
              <a:gd name="connsiteY47250" fmla="*/ 205930 h 4687251"/>
              <a:gd name="connsiteX47251" fmla="*/ 2493496 w 8079933"/>
              <a:gd name="connsiteY47251" fmla="*/ 203657 h 4687251"/>
              <a:gd name="connsiteX47252" fmla="*/ 2486226 w 8079933"/>
              <a:gd name="connsiteY47252" fmla="*/ 203115 h 4687251"/>
              <a:gd name="connsiteX47253" fmla="*/ 2483078 w 8079933"/>
              <a:gd name="connsiteY47253" fmla="*/ 200408 h 4687251"/>
              <a:gd name="connsiteX47254" fmla="*/ 2482970 w 8079933"/>
              <a:gd name="connsiteY47254" fmla="*/ 190231 h 4687251"/>
              <a:gd name="connsiteX47255" fmla="*/ 2485683 w 8079933"/>
              <a:gd name="connsiteY47255" fmla="*/ 188715 h 4687251"/>
              <a:gd name="connsiteX47256" fmla="*/ 2485683 w 8079933"/>
              <a:gd name="connsiteY47256" fmla="*/ 182327 h 4687251"/>
              <a:gd name="connsiteX47257" fmla="*/ 2488613 w 8079933"/>
              <a:gd name="connsiteY47257" fmla="*/ 183843 h 4687251"/>
              <a:gd name="connsiteX47258" fmla="*/ 2492302 w 8079933"/>
              <a:gd name="connsiteY47258" fmla="*/ 181677 h 4687251"/>
              <a:gd name="connsiteX47259" fmla="*/ 2490024 w 8079933"/>
              <a:gd name="connsiteY47259" fmla="*/ 174423 h 4687251"/>
              <a:gd name="connsiteX47260" fmla="*/ 2492302 w 8079933"/>
              <a:gd name="connsiteY47260" fmla="*/ 171825 h 4687251"/>
              <a:gd name="connsiteX47261" fmla="*/ 2491543 w 8079933"/>
              <a:gd name="connsiteY47261" fmla="*/ 169551 h 4687251"/>
              <a:gd name="connsiteX47262" fmla="*/ 2493605 w 8079933"/>
              <a:gd name="connsiteY47262" fmla="*/ 164463 h 4687251"/>
              <a:gd name="connsiteX47263" fmla="*/ 2495341 w 8079933"/>
              <a:gd name="connsiteY47263" fmla="*/ 164463 h 4687251"/>
              <a:gd name="connsiteX47264" fmla="*/ 2496860 w 8079933"/>
              <a:gd name="connsiteY47264" fmla="*/ 167061 h 4687251"/>
              <a:gd name="connsiteX47265" fmla="*/ 2500333 w 8079933"/>
              <a:gd name="connsiteY47265" fmla="*/ 168360 h 4687251"/>
              <a:gd name="connsiteX47266" fmla="*/ 2504782 w 8079933"/>
              <a:gd name="connsiteY47266" fmla="*/ 174965 h 4687251"/>
              <a:gd name="connsiteX47267" fmla="*/ 2517913 w 8079933"/>
              <a:gd name="connsiteY47267" fmla="*/ 177672 h 4687251"/>
              <a:gd name="connsiteX47268" fmla="*/ 2524098 w 8079933"/>
              <a:gd name="connsiteY47268" fmla="*/ 182869 h 4687251"/>
              <a:gd name="connsiteX47269" fmla="*/ 2526919 w 8079933"/>
              <a:gd name="connsiteY47269" fmla="*/ 182111 h 4687251"/>
              <a:gd name="connsiteX47270" fmla="*/ 2528547 w 8079933"/>
              <a:gd name="connsiteY47270" fmla="*/ 174965 h 4687251"/>
              <a:gd name="connsiteX47271" fmla="*/ 2532562 w 8079933"/>
              <a:gd name="connsiteY47271" fmla="*/ 172041 h 4687251"/>
              <a:gd name="connsiteX47272" fmla="*/ 2532020 w 8079933"/>
              <a:gd name="connsiteY47272" fmla="*/ 168794 h 4687251"/>
              <a:gd name="connsiteX47273" fmla="*/ 2529632 w 8079933"/>
              <a:gd name="connsiteY47273" fmla="*/ 168577 h 4687251"/>
              <a:gd name="connsiteX47274" fmla="*/ 2527028 w 8079933"/>
              <a:gd name="connsiteY47274" fmla="*/ 171608 h 4687251"/>
              <a:gd name="connsiteX47275" fmla="*/ 2520734 w 8079933"/>
              <a:gd name="connsiteY47275" fmla="*/ 171825 h 4687251"/>
              <a:gd name="connsiteX47276" fmla="*/ 2516610 w 8079933"/>
              <a:gd name="connsiteY47276" fmla="*/ 169010 h 4687251"/>
              <a:gd name="connsiteX47277" fmla="*/ 2514657 w 8079933"/>
              <a:gd name="connsiteY47277" fmla="*/ 165221 h 4687251"/>
              <a:gd name="connsiteX47278" fmla="*/ 2508797 w 8079933"/>
              <a:gd name="connsiteY47278" fmla="*/ 161756 h 4687251"/>
              <a:gd name="connsiteX47279" fmla="*/ 2514332 w 8079933"/>
              <a:gd name="connsiteY47279" fmla="*/ 161864 h 4687251"/>
              <a:gd name="connsiteX47280" fmla="*/ 2515850 w 8079933"/>
              <a:gd name="connsiteY47280" fmla="*/ 161215 h 4687251"/>
              <a:gd name="connsiteX47281" fmla="*/ 2513789 w 8079933"/>
              <a:gd name="connsiteY47281" fmla="*/ 158725 h 4687251"/>
              <a:gd name="connsiteX47282" fmla="*/ 2508037 w 8079933"/>
              <a:gd name="connsiteY47282" fmla="*/ 157858 h 4687251"/>
              <a:gd name="connsiteX47283" fmla="*/ 2504348 w 8079933"/>
              <a:gd name="connsiteY47283" fmla="*/ 155043 h 4687251"/>
              <a:gd name="connsiteX47284" fmla="*/ 2502286 w 8079933"/>
              <a:gd name="connsiteY47284" fmla="*/ 148980 h 4687251"/>
              <a:gd name="connsiteX47285" fmla="*/ 2503263 w 8079933"/>
              <a:gd name="connsiteY47285" fmla="*/ 143891 h 4687251"/>
              <a:gd name="connsiteX47286" fmla="*/ 2500658 w 8079933"/>
              <a:gd name="connsiteY47286" fmla="*/ 137828 h 4687251"/>
              <a:gd name="connsiteX47287" fmla="*/ 2501960 w 8079933"/>
              <a:gd name="connsiteY47287" fmla="*/ 135338 h 4687251"/>
              <a:gd name="connsiteX47288" fmla="*/ 2504999 w 8079933"/>
              <a:gd name="connsiteY47288" fmla="*/ 135988 h 4687251"/>
              <a:gd name="connsiteX47289" fmla="*/ 2508254 w 8079933"/>
              <a:gd name="connsiteY47289" fmla="*/ 139777 h 4687251"/>
              <a:gd name="connsiteX47290" fmla="*/ 2509991 w 8079933"/>
              <a:gd name="connsiteY47290" fmla="*/ 139235 h 4687251"/>
              <a:gd name="connsiteX47291" fmla="*/ 2515308 w 8079933"/>
              <a:gd name="connsiteY47291" fmla="*/ 141076 h 4687251"/>
              <a:gd name="connsiteX47292" fmla="*/ 2518781 w 8079933"/>
              <a:gd name="connsiteY47292" fmla="*/ 143458 h 4687251"/>
              <a:gd name="connsiteX47293" fmla="*/ 2518781 w 8079933"/>
              <a:gd name="connsiteY47293" fmla="*/ 146598 h 4687251"/>
              <a:gd name="connsiteX47294" fmla="*/ 2520843 w 8079933"/>
              <a:gd name="connsiteY47294" fmla="*/ 148114 h 4687251"/>
              <a:gd name="connsiteX47295" fmla="*/ 2522904 w 8079933"/>
              <a:gd name="connsiteY47295" fmla="*/ 144109 h 4687251"/>
              <a:gd name="connsiteX47296" fmla="*/ 2520300 w 8079933"/>
              <a:gd name="connsiteY47296" fmla="*/ 139886 h 4687251"/>
              <a:gd name="connsiteX47297" fmla="*/ 2520843 w 8079933"/>
              <a:gd name="connsiteY47297" fmla="*/ 135554 h 4687251"/>
              <a:gd name="connsiteX47298" fmla="*/ 2525292 w 8079933"/>
              <a:gd name="connsiteY47298" fmla="*/ 133172 h 4687251"/>
              <a:gd name="connsiteX47299" fmla="*/ 2528547 w 8079933"/>
              <a:gd name="connsiteY47299" fmla="*/ 133821 h 4687251"/>
              <a:gd name="connsiteX47300" fmla="*/ 2533647 w 8079933"/>
              <a:gd name="connsiteY47300" fmla="*/ 137503 h 4687251"/>
              <a:gd name="connsiteX47301" fmla="*/ 2538314 w 8079933"/>
              <a:gd name="connsiteY47301" fmla="*/ 138153 h 4687251"/>
              <a:gd name="connsiteX47302" fmla="*/ 2541678 w 8079933"/>
              <a:gd name="connsiteY47302" fmla="*/ 140860 h 4687251"/>
              <a:gd name="connsiteX47303" fmla="*/ 2544825 w 8079933"/>
              <a:gd name="connsiteY47303" fmla="*/ 141076 h 4687251"/>
              <a:gd name="connsiteX47304" fmla="*/ 2544933 w 8079933"/>
              <a:gd name="connsiteY47304" fmla="*/ 137828 h 4687251"/>
              <a:gd name="connsiteX47305" fmla="*/ 2542329 w 8079933"/>
              <a:gd name="connsiteY47305" fmla="*/ 135229 h 4687251"/>
              <a:gd name="connsiteX47306" fmla="*/ 2543306 w 8079933"/>
              <a:gd name="connsiteY47306" fmla="*/ 131440 h 4687251"/>
              <a:gd name="connsiteX47307" fmla="*/ 2546887 w 8079933"/>
              <a:gd name="connsiteY47307" fmla="*/ 131765 h 4687251"/>
              <a:gd name="connsiteX47308" fmla="*/ 2546887 w 8079933"/>
              <a:gd name="connsiteY47308" fmla="*/ 129383 h 4687251"/>
              <a:gd name="connsiteX47309" fmla="*/ 2541569 w 8079933"/>
              <a:gd name="connsiteY47309" fmla="*/ 126243 h 4687251"/>
              <a:gd name="connsiteX47310" fmla="*/ 2540267 w 8079933"/>
              <a:gd name="connsiteY47310" fmla="*/ 120830 h 4687251"/>
              <a:gd name="connsiteX47311" fmla="*/ 2536360 w 8079933"/>
              <a:gd name="connsiteY47311" fmla="*/ 119422 h 4687251"/>
              <a:gd name="connsiteX47312" fmla="*/ 2535818 w 8079933"/>
              <a:gd name="connsiteY47312" fmla="*/ 116499 h 4687251"/>
              <a:gd name="connsiteX47313" fmla="*/ 2539073 w 8079933"/>
              <a:gd name="connsiteY47313" fmla="*/ 113576 h 4687251"/>
              <a:gd name="connsiteX47314" fmla="*/ 2541353 w 8079933"/>
              <a:gd name="connsiteY47314" fmla="*/ 107187 h 4687251"/>
              <a:gd name="connsiteX47315" fmla="*/ 2548406 w 8079933"/>
              <a:gd name="connsiteY47315" fmla="*/ 103615 h 4687251"/>
              <a:gd name="connsiteX47316" fmla="*/ 2554917 w 8079933"/>
              <a:gd name="connsiteY47316" fmla="*/ 110436 h 4687251"/>
              <a:gd name="connsiteX47317" fmla="*/ 2558715 w 8079933"/>
              <a:gd name="connsiteY47317" fmla="*/ 109136 h 4687251"/>
              <a:gd name="connsiteX47318" fmla="*/ 2562513 w 8079933"/>
              <a:gd name="connsiteY47318" fmla="*/ 105456 h 4687251"/>
              <a:gd name="connsiteX47319" fmla="*/ 2559258 w 8079933"/>
              <a:gd name="connsiteY47319" fmla="*/ 105022 h 4687251"/>
              <a:gd name="connsiteX47320" fmla="*/ 2556870 w 8079933"/>
              <a:gd name="connsiteY47320" fmla="*/ 100799 h 4687251"/>
              <a:gd name="connsiteX47321" fmla="*/ 2561645 w 8079933"/>
              <a:gd name="connsiteY47321" fmla="*/ 101883 h 4687251"/>
              <a:gd name="connsiteX47322" fmla="*/ 2565986 w 8079933"/>
              <a:gd name="connsiteY47322" fmla="*/ 101341 h 4687251"/>
              <a:gd name="connsiteX47323" fmla="*/ 2570652 w 8079933"/>
              <a:gd name="connsiteY47323" fmla="*/ 105130 h 4687251"/>
              <a:gd name="connsiteX47324" fmla="*/ 2574233 w 8079933"/>
              <a:gd name="connsiteY47324" fmla="*/ 105130 h 4687251"/>
              <a:gd name="connsiteX47325" fmla="*/ 2581504 w 8079933"/>
              <a:gd name="connsiteY47325" fmla="*/ 98093 h 4687251"/>
              <a:gd name="connsiteX47326" fmla="*/ 2581721 w 8079933"/>
              <a:gd name="connsiteY47326" fmla="*/ 94952 h 4687251"/>
              <a:gd name="connsiteX47327" fmla="*/ 2577706 w 8079933"/>
              <a:gd name="connsiteY47327" fmla="*/ 94303 h 4687251"/>
              <a:gd name="connsiteX47328" fmla="*/ 2575970 w 8079933"/>
              <a:gd name="connsiteY47328" fmla="*/ 90514 h 4687251"/>
              <a:gd name="connsiteX47329" fmla="*/ 2570327 w 8079933"/>
              <a:gd name="connsiteY47329" fmla="*/ 87807 h 4687251"/>
              <a:gd name="connsiteX47330" fmla="*/ 2566202 w 8079933"/>
              <a:gd name="connsiteY47330" fmla="*/ 89106 h 4687251"/>
              <a:gd name="connsiteX47331" fmla="*/ 2560994 w 8079933"/>
              <a:gd name="connsiteY47331" fmla="*/ 89323 h 4687251"/>
              <a:gd name="connsiteX47332" fmla="*/ 2558064 w 8079933"/>
              <a:gd name="connsiteY47332" fmla="*/ 86183 h 4687251"/>
              <a:gd name="connsiteX47333" fmla="*/ 2561319 w 8079933"/>
              <a:gd name="connsiteY47333" fmla="*/ 79903 h 4687251"/>
              <a:gd name="connsiteX47334" fmla="*/ 2561536 w 8079933"/>
              <a:gd name="connsiteY47334" fmla="*/ 74924 h 4687251"/>
              <a:gd name="connsiteX47335" fmla="*/ 3453868 w 8079933"/>
              <a:gd name="connsiteY47335" fmla="*/ 68318 h 4687251"/>
              <a:gd name="connsiteX47336" fmla="*/ 3459185 w 8079933"/>
              <a:gd name="connsiteY47336" fmla="*/ 69619 h 4687251"/>
              <a:gd name="connsiteX47337" fmla="*/ 3466781 w 8079933"/>
              <a:gd name="connsiteY47337" fmla="*/ 68968 h 4687251"/>
              <a:gd name="connsiteX47338" fmla="*/ 3470362 w 8079933"/>
              <a:gd name="connsiteY47338" fmla="*/ 70808 h 4687251"/>
              <a:gd name="connsiteX47339" fmla="*/ 3471339 w 8079933"/>
              <a:gd name="connsiteY47339" fmla="*/ 72324 h 4687251"/>
              <a:gd name="connsiteX47340" fmla="*/ 3473292 w 8079933"/>
              <a:gd name="connsiteY47340" fmla="*/ 72324 h 4687251"/>
              <a:gd name="connsiteX47341" fmla="*/ 3476222 w 8079933"/>
              <a:gd name="connsiteY47341" fmla="*/ 70159 h 4687251"/>
              <a:gd name="connsiteX47342" fmla="*/ 3480671 w 8079933"/>
              <a:gd name="connsiteY47342" fmla="*/ 72000 h 4687251"/>
              <a:gd name="connsiteX47343" fmla="*/ 3489136 w 8079933"/>
              <a:gd name="connsiteY47343" fmla="*/ 72000 h 4687251"/>
              <a:gd name="connsiteX47344" fmla="*/ 3491414 w 8079933"/>
              <a:gd name="connsiteY47344" fmla="*/ 74057 h 4687251"/>
              <a:gd name="connsiteX47345" fmla="*/ 3494345 w 8079933"/>
              <a:gd name="connsiteY47345" fmla="*/ 74057 h 4687251"/>
              <a:gd name="connsiteX47346" fmla="*/ 3497491 w 8079933"/>
              <a:gd name="connsiteY47346" fmla="*/ 72758 h 4687251"/>
              <a:gd name="connsiteX47347" fmla="*/ 3500096 w 8079933"/>
              <a:gd name="connsiteY47347" fmla="*/ 74706 h 4687251"/>
              <a:gd name="connsiteX47348" fmla="*/ 3501398 w 8079933"/>
              <a:gd name="connsiteY47348" fmla="*/ 77522 h 4687251"/>
              <a:gd name="connsiteX47349" fmla="*/ 3507801 w 8079933"/>
              <a:gd name="connsiteY47349" fmla="*/ 81961 h 4687251"/>
              <a:gd name="connsiteX47350" fmla="*/ 3510514 w 8079933"/>
              <a:gd name="connsiteY47350" fmla="*/ 80770 h 4687251"/>
              <a:gd name="connsiteX47351" fmla="*/ 3510514 w 8079933"/>
              <a:gd name="connsiteY47351" fmla="*/ 79254 h 4687251"/>
              <a:gd name="connsiteX47352" fmla="*/ 3512901 w 8079933"/>
              <a:gd name="connsiteY47352" fmla="*/ 79254 h 4687251"/>
              <a:gd name="connsiteX47353" fmla="*/ 3520388 w 8079933"/>
              <a:gd name="connsiteY47353" fmla="*/ 84018 h 4687251"/>
              <a:gd name="connsiteX47354" fmla="*/ 3523318 w 8079933"/>
              <a:gd name="connsiteY47354" fmla="*/ 84018 h 4687251"/>
              <a:gd name="connsiteX47355" fmla="*/ 3528419 w 8079933"/>
              <a:gd name="connsiteY47355" fmla="*/ 88890 h 4687251"/>
              <a:gd name="connsiteX47356" fmla="*/ 3537751 w 8079933"/>
              <a:gd name="connsiteY47356" fmla="*/ 89540 h 4687251"/>
              <a:gd name="connsiteX47357" fmla="*/ 3540356 w 8079933"/>
              <a:gd name="connsiteY47357" fmla="*/ 91163 h 4687251"/>
              <a:gd name="connsiteX47358" fmla="*/ 3545564 w 8079933"/>
              <a:gd name="connsiteY47358" fmla="*/ 90081 h 4687251"/>
              <a:gd name="connsiteX47359" fmla="*/ 3547192 w 8079933"/>
              <a:gd name="connsiteY47359" fmla="*/ 91705 h 4687251"/>
              <a:gd name="connsiteX47360" fmla="*/ 3549037 w 8079933"/>
              <a:gd name="connsiteY47360" fmla="*/ 94195 h 4687251"/>
              <a:gd name="connsiteX47361" fmla="*/ 3553595 w 8079933"/>
              <a:gd name="connsiteY47361" fmla="*/ 92679 h 4687251"/>
              <a:gd name="connsiteX47362" fmla="*/ 3557501 w 8079933"/>
              <a:gd name="connsiteY47362" fmla="*/ 93545 h 4687251"/>
              <a:gd name="connsiteX47363" fmla="*/ 3561083 w 8079933"/>
              <a:gd name="connsiteY47363" fmla="*/ 97010 h 4687251"/>
              <a:gd name="connsiteX47364" fmla="*/ 3568570 w 8079933"/>
              <a:gd name="connsiteY47364" fmla="*/ 99176 h 4687251"/>
              <a:gd name="connsiteX47365" fmla="*/ 3573453 w 8079933"/>
              <a:gd name="connsiteY47365" fmla="*/ 102748 h 4687251"/>
              <a:gd name="connsiteX47366" fmla="*/ 3575515 w 8079933"/>
              <a:gd name="connsiteY47366" fmla="*/ 107187 h 4687251"/>
              <a:gd name="connsiteX47367" fmla="*/ 3579096 w 8079933"/>
              <a:gd name="connsiteY47367" fmla="*/ 109136 h 4687251"/>
              <a:gd name="connsiteX47368" fmla="*/ 3585716 w 8079933"/>
              <a:gd name="connsiteY47368" fmla="*/ 113359 h 4687251"/>
              <a:gd name="connsiteX47369" fmla="*/ 3585716 w 8079933"/>
              <a:gd name="connsiteY47369" fmla="*/ 115957 h 4687251"/>
              <a:gd name="connsiteX47370" fmla="*/ 3583111 w 8079933"/>
              <a:gd name="connsiteY47370" fmla="*/ 119639 h 4687251"/>
              <a:gd name="connsiteX47371" fmla="*/ 3579096 w 8079933"/>
              <a:gd name="connsiteY47371" fmla="*/ 119639 h 4687251"/>
              <a:gd name="connsiteX47372" fmla="*/ 3575190 w 8079933"/>
              <a:gd name="connsiteY47372" fmla="*/ 118882 h 4687251"/>
              <a:gd name="connsiteX47373" fmla="*/ 3572042 w 8079933"/>
              <a:gd name="connsiteY47373" fmla="*/ 120830 h 4687251"/>
              <a:gd name="connsiteX47374" fmla="*/ 3569438 w 8079933"/>
              <a:gd name="connsiteY47374" fmla="*/ 123645 h 4687251"/>
              <a:gd name="connsiteX47375" fmla="*/ 3565206 w 8079933"/>
              <a:gd name="connsiteY47375" fmla="*/ 123645 h 4687251"/>
              <a:gd name="connsiteX47376" fmla="*/ 3563578 w 8079933"/>
              <a:gd name="connsiteY47376" fmla="*/ 123645 h 4687251"/>
              <a:gd name="connsiteX47377" fmla="*/ 3559129 w 8079933"/>
              <a:gd name="connsiteY47377" fmla="*/ 124945 h 4687251"/>
              <a:gd name="connsiteX47378" fmla="*/ 3554028 w 8079933"/>
              <a:gd name="connsiteY47378" fmla="*/ 124945 h 4687251"/>
              <a:gd name="connsiteX47379" fmla="*/ 3544913 w 8079933"/>
              <a:gd name="connsiteY47379" fmla="*/ 120613 h 4687251"/>
              <a:gd name="connsiteX47380" fmla="*/ 3540464 w 8079933"/>
              <a:gd name="connsiteY47380" fmla="*/ 119206 h 4687251"/>
              <a:gd name="connsiteX47381" fmla="*/ 3537643 w 8079933"/>
              <a:gd name="connsiteY47381" fmla="*/ 119206 h 4687251"/>
              <a:gd name="connsiteX47382" fmla="*/ 3533627 w 8079933"/>
              <a:gd name="connsiteY47382" fmla="*/ 117474 h 4687251"/>
              <a:gd name="connsiteX47383" fmla="*/ 3528419 w 8079933"/>
              <a:gd name="connsiteY47383" fmla="*/ 117474 h 4687251"/>
              <a:gd name="connsiteX47384" fmla="*/ 3526031 w 8079933"/>
              <a:gd name="connsiteY47384" fmla="*/ 119422 h 4687251"/>
              <a:gd name="connsiteX47385" fmla="*/ 3521908 w 8079933"/>
              <a:gd name="connsiteY47385" fmla="*/ 119422 h 4687251"/>
              <a:gd name="connsiteX47386" fmla="*/ 3520280 w 8079933"/>
              <a:gd name="connsiteY47386" fmla="*/ 117689 h 4687251"/>
              <a:gd name="connsiteX47387" fmla="*/ 3515397 w 8079933"/>
              <a:gd name="connsiteY47387" fmla="*/ 117689 h 4687251"/>
              <a:gd name="connsiteX47388" fmla="*/ 3508343 w 8079933"/>
              <a:gd name="connsiteY47388" fmla="*/ 121154 h 4687251"/>
              <a:gd name="connsiteX47389" fmla="*/ 3505088 w 8079933"/>
              <a:gd name="connsiteY47389" fmla="*/ 122454 h 4687251"/>
              <a:gd name="connsiteX47390" fmla="*/ 3501073 w 8079933"/>
              <a:gd name="connsiteY47390" fmla="*/ 120938 h 4687251"/>
              <a:gd name="connsiteX47391" fmla="*/ 3497383 w 8079933"/>
              <a:gd name="connsiteY47391" fmla="*/ 120938 h 4687251"/>
              <a:gd name="connsiteX47392" fmla="*/ 3491740 w 8079933"/>
              <a:gd name="connsiteY47392" fmla="*/ 123536 h 4687251"/>
              <a:gd name="connsiteX47393" fmla="*/ 3485229 w 8079933"/>
              <a:gd name="connsiteY47393" fmla="*/ 123536 h 4687251"/>
              <a:gd name="connsiteX47394" fmla="*/ 3482625 w 8079933"/>
              <a:gd name="connsiteY47394" fmla="*/ 120180 h 4687251"/>
              <a:gd name="connsiteX47395" fmla="*/ 3482625 w 8079933"/>
              <a:gd name="connsiteY47395" fmla="*/ 115524 h 4687251"/>
              <a:gd name="connsiteX47396" fmla="*/ 3487942 w 8079933"/>
              <a:gd name="connsiteY47396" fmla="*/ 113901 h 4687251"/>
              <a:gd name="connsiteX47397" fmla="*/ 3490221 w 8079933"/>
              <a:gd name="connsiteY47397" fmla="*/ 113901 h 4687251"/>
              <a:gd name="connsiteX47398" fmla="*/ 3491089 w 8079933"/>
              <a:gd name="connsiteY47398" fmla="*/ 111302 h 4687251"/>
              <a:gd name="connsiteX47399" fmla="*/ 3489679 w 8079933"/>
              <a:gd name="connsiteY47399" fmla="*/ 109677 h 4687251"/>
              <a:gd name="connsiteX47400" fmla="*/ 3486206 w 8079933"/>
              <a:gd name="connsiteY47400" fmla="*/ 109677 h 4687251"/>
              <a:gd name="connsiteX47401" fmla="*/ 3482625 w 8079933"/>
              <a:gd name="connsiteY47401" fmla="*/ 110544 h 4687251"/>
              <a:gd name="connsiteX47402" fmla="*/ 3478393 w 8079933"/>
              <a:gd name="connsiteY47402" fmla="*/ 114225 h 4687251"/>
              <a:gd name="connsiteX47403" fmla="*/ 3478393 w 8079933"/>
              <a:gd name="connsiteY47403" fmla="*/ 118231 h 4687251"/>
              <a:gd name="connsiteX47404" fmla="*/ 3481105 w 8079933"/>
              <a:gd name="connsiteY47404" fmla="*/ 121804 h 4687251"/>
              <a:gd name="connsiteX47405" fmla="*/ 3483818 w 8079933"/>
              <a:gd name="connsiteY47405" fmla="*/ 121804 h 4687251"/>
              <a:gd name="connsiteX47406" fmla="*/ 3482733 w 8079933"/>
              <a:gd name="connsiteY47406" fmla="*/ 124619 h 4687251"/>
              <a:gd name="connsiteX47407" fmla="*/ 3479478 w 8079933"/>
              <a:gd name="connsiteY47407" fmla="*/ 127001 h 4687251"/>
              <a:gd name="connsiteX47408" fmla="*/ 3476982 w 8079933"/>
              <a:gd name="connsiteY47408" fmla="*/ 127001 h 4687251"/>
              <a:gd name="connsiteX47409" fmla="*/ 3473400 w 8079933"/>
              <a:gd name="connsiteY47409" fmla="*/ 127001 h 4687251"/>
              <a:gd name="connsiteX47410" fmla="*/ 3468192 w 8079933"/>
              <a:gd name="connsiteY47410" fmla="*/ 127001 h 4687251"/>
              <a:gd name="connsiteX47411" fmla="*/ 3466781 w 8079933"/>
              <a:gd name="connsiteY47411" fmla="*/ 128409 h 4687251"/>
              <a:gd name="connsiteX47412" fmla="*/ 3462006 w 8079933"/>
              <a:gd name="connsiteY47412" fmla="*/ 128409 h 4687251"/>
              <a:gd name="connsiteX47413" fmla="*/ 3457015 w 8079933"/>
              <a:gd name="connsiteY47413" fmla="*/ 127001 h 4687251"/>
              <a:gd name="connsiteX47414" fmla="*/ 3450937 w 8079933"/>
              <a:gd name="connsiteY47414" fmla="*/ 127001 h 4687251"/>
              <a:gd name="connsiteX47415" fmla="*/ 3444969 w 8079933"/>
              <a:gd name="connsiteY47415" fmla="*/ 130032 h 4687251"/>
              <a:gd name="connsiteX47416" fmla="*/ 3436180 w 8079933"/>
              <a:gd name="connsiteY47416" fmla="*/ 135554 h 4687251"/>
              <a:gd name="connsiteX47417" fmla="*/ 3435420 w 8079933"/>
              <a:gd name="connsiteY47417" fmla="*/ 139128 h 4687251"/>
              <a:gd name="connsiteX47418" fmla="*/ 3435420 w 8079933"/>
              <a:gd name="connsiteY47418" fmla="*/ 145299 h 4687251"/>
              <a:gd name="connsiteX47419" fmla="*/ 3433467 w 8079933"/>
              <a:gd name="connsiteY47419" fmla="*/ 148872 h 4687251"/>
              <a:gd name="connsiteX47420" fmla="*/ 3433467 w 8079933"/>
              <a:gd name="connsiteY47420" fmla="*/ 151579 h 4687251"/>
              <a:gd name="connsiteX47421" fmla="*/ 3434769 w 8079933"/>
              <a:gd name="connsiteY47421" fmla="*/ 153203 h 4687251"/>
              <a:gd name="connsiteX47422" fmla="*/ 3438350 w 8079933"/>
              <a:gd name="connsiteY47422" fmla="*/ 151903 h 4687251"/>
              <a:gd name="connsiteX47423" fmla="*/ 3438350 w 8079933"/>
              <a:gd name="connsiteY47423" fmla="*/ 147464 h 4687251"/>
              <a:gd name="connsiteX47424" fmla="*/ 3439435 w 8079933"/>
              <a:gd name="connsiteY47424" fmla="*/ 144758 h 4687251"/>
              <a:gd name="connsiteX47425" fmla="*/ 3439435 w 8079933"/>
              <a:gd name="connsiteY47425" fmla="*/ 142918 h 4687251"/>
              <a:gd name="connsiteX47426" fmla="*/ 3441823 w 8079933"/>
              <a:gd name="connsiteY47426" fmla="*/ 140860 h 4687251"/>
              <a:gd name="connsiteX47427" fmla="*/ 3446706 w 8079933"/>
              <a:gd name="connsiteY47427" fmla="*/ 140860 h 4687251"/>
              <a:gd name="connsiteX47428" fmla="*/ 3449635 w 8079933"/>
              <a:gd name="connsiteY47428" fmla="*/ 140318 h 4687251"/>
              <a:gd name="connsiteX47429" fmla="*/ 3450504 w 8079933"/>
              <a:gd name="connsiteY47429" fmla="*/ 141835 h 4687251"/>
              <a:gd name="connsiteX47430" fmla="*/ 3449419 w 8079933"/>
              <a:gd name="connsiteY47430" fmla="*/ 144866 h 4687251"/>
              <a:gd name="connsiteX47431" fmla="*/ 3447682 w 8079933"/>
              <a:gd name="connsiteY47431" fmla="*/ 148872 h 4687251"/>
              <a:gd name="connsiteX47432" fmla="*/ 3447682 w 8079933"/>
              <a:gd name="connsiteY47432" fmla="*/ 150496 h 4687251"/>
              <a:gd name="connsiteX47433" fmla="*/ 3449093 w 8079933"/>
              <a:gd name="connsiteY47433" fmla="*/ 150496 h 4687251"/>
              <a:gd name="connsiteX47434" fmla="*/ 3451372 w 8079933"/>
              <a:gd name="connsiteY47434" fmla="*/ 147573 h 4687251"/>
              <a:gd name="connsiteX47435" fmla="*/ 3453000 w 8079933"/>
              <a:gd name="connsiteY47435" fmla="*/ 140752 h 4687251"/>
              <a:gd name="connsiteX47436" fmla="*/ 3456147 w 8079933"/>
              <a:gd name="connsiteY47436" fmla="*/ 136312 h 4687251"/>
              <a:gd name="connsiteX47437" fmla="*/ 3461138 w 8079933"/>
              <a:gd name="connsiteY47437" fmla="*/ 133713 h 4687251"/>
              <a:gd name="connsiteX47438" fmla="*/ 3464068 w 8079933"/>
              <a:gd name="connsiteY47438" fmla="*/ 133713 h 4687251"/>
              <a:gd name="connsiteX47439" fmla="*/ 3469928 w 8079933"/>
              <a:gd name="connsiteY47439" fmla="*/ 133713 h 4687251"/>
              <a:gd name="connsiteX47440" fmla="*/ 3474160 w 8079933"/>
              <a:gd name="connsiteY47440" fmla="*/ 133713 h 4687251"/>
              <a:gd name="connsiteX47441" fmla="*/ 3477525 w 8079933"/>
              <a:gd name="connsiteY47441" fmla="*/ 132523 h 4687251"/>
              <a:gd name="connsiteX47442" fmla="*/ 3479261 w 8079933"/>
              <a:gd name="connsiteY47442" fmla="*/ 133172 h 4687251"/>
              <a:gd name="connsiteX47443" fmla="*/ 3480671 w 8079933"/>
              <a:gd name="connsiteY47443" fmla="*/ 136096 h 4687251"/>
              <a:gd name="connsiteX47444" fmla="*/ 3483384 w 8079933"/>
              <a:gd name="connsiteY47444" fmla="*/ 141942 h 4687251"/>
              <a:gd name="connsiteX47445" fmla="*/ 3485446 w 8079933"/>
              <a:gd name="connsiteY47445" fmla="*/ 143458 h 4687251"/>
              <a:gd name="connsiteX47446" fmla="*/ 3487291 w 8079933"/>
              <a:gd name="connsiteY47446" fmla="*/ 143458 h 4687251"/>
              <a:gd name="connsiteX47447" fmla="*/ 3487291 w 8079933"/>
              <a:gd name="connsiteY47447" fmla="*/ 140643 h 4687251"/>
              <a:gd name="connsiteX47448" fmla="*/ 3485772 w 8079933"/>
              <a:gd name="connsiteY47448" fmla="*/ 134905 h 4687251"/>
              <a:gd name="connsiteX47449" fmla="*/ 3487291 w 8079933"/>
              <a:gd name="connsiteY47449" fmla="*/ 133713 h 4687251"/>
              <a:gd name="connsiteX47450" fmla="*/ 3492500 w 8079933"/>
              <a:gd name="connsiteY47450" fmla="*/ 132848 h 4687251"/>
              <a:gd name="connsiteX47451" fmla="*/ 3496406 w 8079933"/>
              <a:gd name="connsiteY47451" fmla="*/ 133606 h 4687251"/>
              <a:gd name="connsiteX47452" fmla="*/ 3502049 w 8079933"/>
              <a:gd name="connsiteY47452" fmla="*/ 132523 h 4687251"/>
              <a:gd name="connsiteX47453" fmla="*/ 3507909 w 8079933"/>
              <a:gd name="connsiteY47453" fmla="*/ 131982 h 4687251"/>
              <a:gd name="connsiteX47454" fmla="*/ 3514637 w 8079933"/>
              <a:gd name="connsiteY47454" fmla="*/ 129491 h 4687251"/>
              <a:gd name="connsiteX47455" fmla="*/ 3519195 w 8079933"/>
              <a:gd name="connsiteY47455" fmla="*/ 127975 h 4687251"/>
              <a:gd name="connsiteX47456" fmla="*/ 3527659 w 8079933"/>
              <a:gd name="connsiteY47456" fmla="*/ 127218 h 4687251"/>
              <a:gd name="connsiteX47457" fmla="*/ 3534062 w 8079933"/>
              <a:gd name="connsiteY47457" fmla="*/ 128517 h 4687251"/>
              <a:gd name="connsiteX47458" fmla="*/ 3538836 w 8079933"/>
              <a:gd name="connsiteY47458" fmla="*/ 131223 h 4687251"/>
              <a:gd name="connsiteX47459" fmla="*/ 3543068 w 8079933"/>
              <a:gd name="connsiteY47459" fmla="*/ 132307 h 4687251"/>
              <a:gd name="connsiteX47460" fmla="*/ 3546324 w 8079933"/>
              <a:gd name="connsiteY47460" fmla="*/ 134038 h 4687251"/>
              <a:gd name="connsiteX47461" fmla="*/ 3550773 w 8079933"/>
              <a:gd name="connsiteY47461" fmla="*/ 135121 h 4687251"/>
              <a:gd name="connsiteX47462" fmla="*/ 3554245 w 8079933"/>
              <a:gd name="connsiteY47462" fmla="*/ 137720 h 4687251"/>
              <a:gd name="connsiteX47463" fmla="*/ 3557067 w 8079933"/>
              <a:gd name="connsiteY47463" fmla="*/ 138803 h 4687251"/>
              <a:gd name="connsiteX47464" fmla="*/ 3559780 w 8079933"/>
              <a:gd name="connsiteY47464" fmla="*/ 137503 h 4687251"/>
              <a:gd name="connsiteX47465" fmla="*/ 3563361 w 8079933"/>
              <a:gd name="connsiteY47465" fmla="*/ 136638 h 4687251"/>
              <a:gd name="connsiteX47466" fmla="*/ 3565423 w 8079933"/>
              <a:gd name="connsiteY47466" fmla="*/ 137828 h 4687251"/>
              <a:gd name="connsiteX47467" fmla="*/ 3567051 w 8079933"/>
              <a:gd name="connsiteY47467" fmla="*/ 140318 h 4687251"/>
              <a:gd name="connsiteX47468" fmla="*/ 3569329 w 8079933"/>
              <a:gd name="connsiteY47468" fmla="*/ 140318 h 4687251"/>
              <a:gd name="connsiteX47469" fmla="*/ 3573345 w 8079933"/>
              <a:gd name="connsiteY47469" fmla="*/ 136854 h 4687251"/>
              <a:gd name="connsiteX47470" fmla="*/ 3576383 w 8079933"/>
              <a:gd name="connsiteY47470" fmla="*/ 136854 h 4687251"/>
              <a:gd name="connsiteX47471" fmla="*/ 3580615 w 8079933"/>
              <a:gd name="connsiteY47471" fmla="*/ 136854 h 4687251"/>
              <a:gd name="connsiteX47472" fmla="*/ 3586909 w 8079933"/>
              <a:gd name="connsiteY47472" fmla="*/ 133389 h 4687251"/>
              <a:gd name="connsiteX47473" fmla="*/ 3590382 w 8079933"/>
              <a:gd name="connsiteY47473" fmla="*/ 129816 h 4687251"/>
              <a:gd name="connsiteX47474" fmla="*/ 3592878 w 8079933"/>
              <a:gd name="connsiteY47474" fmla="*/ 129167 h 4687251"/>
              <a:gd name="connsiteX47475" fmla="*/ 3594831 w 8079933"/>
              <a:gd name="connsiteY47475" fmla="*/ 130249 h 4687251"/>
              <a:gd name="connsiteX47476" fmla="*/ 3597978 w 8079933"/>
              <a:gd name="connsiteY47476" fmla="*/ 134147 h 4687251"/>
              <a:gd name="connsiteX47477" fmla="*/ 3601993 w 8079933"/>
              <a:gd name="connsiteY47477" fmla="*/ 136854 h 4687251"/>
              <a:gd name="connsiteX47478" fmla="*/ 3601993 w 8079933"/>
              <a:gd name="connsiteY47478" fmla="*/ 138261 h 4687251"/>
              <a:gd name="connsiteX47479" fmla="*/ 3599823 w 8079933"/>
              <a:gd name="connsiteY47479" fmla="*/ 140752 h 4687251"/>
              <a:gd name="connsiteX47480" fmla="*/ 3599823 w 8079933"/>
              <a:gd name="connsiteY47480" fmla="*/ 142918 h 4687251"/>
              <a:gd name="connsiteX47481" fmla="*/ 3602101 w 8079933"/>
              <a:gd name="connsiteY47481" fmla="*/ 144432 h 4687251"/>
              <a:gd name="connsiteX47482" fmla="*/ 3603187 w 8079933"/>
              <a:gd name="connsiteY47482" fmla="*/ 146273 h 4687251"/>
              <a:gd name="connsiteX47483" fmla="*/ 3603187 w 8079933"/>
              <a:gd name="connsiteY47483" fmla="*/ 149305 h 4687251"/>
              <a:gd name="connsiteX47484" fmla="*/ 3596784 w 8079933"/>
              <a:gd name="connsiteY47484" fmla="*/ 154827 h 4687251"/>
              <a:gd name="connsiteX47485" fmla="*/ 3589839 w 8079933"/>
              <a:gd name="connsiteY47485" fmla="*/ 156885 h 4687251"/>
              <a:gd name="connsiteX47486" fmla="*/ 3586258 w 8079933"/>
              <a:gd name="connsiteY47486" fmla="*/ 155801 h 4687251"/>
              <a:gd name="connsiteX47487" fmla="*/ 3582351 w 8079933"/>
              <a:gd name="connsiteY47487" fmla="*/ 153528 h 4687251"/>
              <a:gd name="connsiteX47488" fmla="*/ 3579747 w 8079933"/>
              <a:gd name="connsiteY47488" fmla="*/ 150713 h 4687251"/>
              <a:gd name="connsiteX47489" fmla="*/ 3578228 w 8079933"/>
              <a:gd name="connsiteY47489" fmla="*/ 152011 h 4687251"/>
              <a:gd name="connsiteX47490" fmla="*/ 3578228 w 8079933"/>
              <a:gd name="connsiteY47490" fmla="*/ 155043 h 4687251"/>
              <a:gd name="connsiteX47491" fmla="*/ 3582243 w 8079933"/>
              <a:gd name="connsiteY47491" fmla="*/ 158616 h 4687251"/>
              <a:gd name="connsiteX47492" fmla="*/ 3582243 w 8079933"/>
              <a:gd name="connsiteY47492" fmla="*/ 160457 h 4687251"/>
              <a:gd name="connsiteX47493" fmla="*/ 3581592 w 8079933"/>
              <a:gd name="connsiteY47493" fmla="*/ 161540 h 4687251"/>
              <a:gd name="connsiteX47494" fmla="*/ 3577143 w 8079933"/>
              <a:gd name="connsiteY47494" fmla="*/ 160024 h 4687251"/>
              <a:gd name="connsiteX47495" fmla="*/ 3574647 w 8079933"/>
              <a:gd name="connsiteY47495" fmla="*/ 157425 h 4687251"/>
              <a:gd name="connsiteX47496" fmla="*/ 3572151 w 8079933"/>
              <a:gd name="connsiteY47496" fmla="*/ 157425 h 4687251"/>
              <a:gd name="connsiteX47497" fmla="*/ 3572151 w 8079933"/>
              <a:gd name="connsiteY47497" fmla="*/ 160132 h 4687251"/>
              <a:gd name="connsiteX47498" fmla="*/ 3573995 w 8079933"/>
              <a:gd name="connsiteY47498" fmla="*/ 162947 h 4687251"/>
              <a:gd name="connsiteX47499" fmla="*/ 3577468 w 8079933"/>
              <a:gd name="connsiteY47499" fmla="*/ 164354 h 4687251"/>
              <a:gd name="connsiteX47500" fmla="*/ 3582135 w 8079933"/>
              <a:gd name="connsiteY47500" fmla="*/ 164354 h 4687251"/>
              <a:gd name="connsiteX47501" fmla="*/ 3587017 w 8079933"/>
              <a:gd name="connsiteY47501" fmla="*/ 166519 h 4687251"/>
              <a:gd name="connsiteX47502" fmla="*/ 3590599 w 8079933"/>
              <a:gd name="connsiteY47502" fmla="*/ 165871 h 4687251"/>
              <a:gd name="connsiteX47503" fmla="*/ 3597544 w 8079933"/>
              <a:gd name="connsiteY47503" fmla="*/ 162514 h 4687251"/>
              <a:gd name="connsiteX47504" fmla="*/ 3600148 w 8079933"/>
              <a:gd name="connsiteY47504" fmla="*/ 162514 h 4687251"/>
              <a:gd name="connsiteX47505" fmla="*/ 3601993 w 8079933"/>
              <a:gd name="connsiteY47505" fmla="*/ 164354 h 4687251"/>
              <a:gd name="connsiteX47506" fmla="*/ 3601993 w 8079933"/>
              <a:gd name="connsiteY47506" fmla="*/ 162514 h 4687251"/>
              <a:gd name="connsiteX47507" fmla="*/ 3601993 w 8079933"/>
              <a:gd name="connsiteY47507" fmla="*/ 159374 h 4687251"/>
              <a:gd name="connsiteX47508" fmla="*/ 3605682 w 8079933"/>
              <a:gd name="connsiteY47508" fmla="*/ 158725 h 4687251"/>
              <a:gd name="connsiteX47509" fmla="*/ 3615558 w 8079933"/>
              <a:gd name="connsiteY47509" fmla="*/ 158725 h 4687251"/>
              <a:gd name="connsiteX47510" fmla="*/ 3617945 w 8079933"/>
              <a:gd name="connsiteY47510" fmla="*/ 160348 h 4687251"/>
              <a:gd name="connsiteX47511" fmla="*/ 3618596 w 8079933"/>
              <a:gd name="connsiteY47511" fmla="*/ 163056 h 4687251"/>
              <a:gd name="connsiteX47512" fmla="*/ 3620874 w 8079933"/>
              <a:gd name="connsiteY47512" fmla="*/ 164462 h 4687251"/>
              <a:gd name="connsiteX47513" fmla="*/ 3623587 w 8079933"/>
              <a:gd name="connsiteY47513" fmla="*/ 163705 h 4687251"/>
              <a:gd name="connsiteX47514" fmla="*/ 3624781 w 8079933"/>
              <a:gd name="connsiteY47514" fmla="*/ 162297 h 4687251"/>
              <a:gd name="connsiteX47515" fmla="*/ 3627060 w 8079933"/>
              <a:gd name="connsiteY47515" fmla="*/ 163272 h 4687251"/>
              <a:gd name="connsiteX47516" fmla="*/ 3628145 w 8079933"/>
              <a:gd name="connsiteY47516" fmla="*/ 166412 h 4687251"/>
              <a:gd name="connsiteX47517" fmla="*/ 3630967 w 8079933"/>
              <a:gd name="connsiteY47517" fmla="*/ 169227 h 4687251"/>
              <a:gd name="connsiteX47518" fmla="*/ 3637478 w 8079933"/>
              <a:gd name="connsiteY47518" fmla="*/ 170309 h 4687251"/>
              <a:gd name="connsiteX47519" fmla="*/ 3639974 w 8079933"/>
              <a:gd name="connsiteY47519" fmla="*/ 172583 h 4687251"/>
              <a:gd name="connsiteX47520" fmla="*/ 3640625 w 8079933"/>
              <a:gd name="connsiteY47520" fmla="*/ 175290 h 4687251"/>
              <a:gd name="connsiteX47521" fmla="*/ 3645183 w 8079933"/>
              <a:gd name="connsiteY47521" fmla="*/ 179188 h 4687251"/>
              <a:gd name="connsiteX47522" fmla="*/ 3650825 w 8079933"/>
              <a:gd name="connsiteY47522" fmla="*/ 181462 h 4687251"/>
              <a:gd name="connsiteX47523" fmla="*/ 3655383 w 8079933"/>
              <a:gd name="connsiteY47523" fmla="*/ 185143 h 4687251"/>
              <a:gd name="connsiteX47524" fmla="*/ 3656035 w 8079933"/>
              <a:gd name="connsiteY47524" fmla="*/ 187308 h 4687251"/>
              <a:gd name="connsiteX47525" fmla="*/ 3656035 w 8079933"/>
              <a:gd name="connsiteY47525" fmla="*/ 191747 h 4687251"/>
              <a:gd name="connsiteX47526" fmla="*/ 3654081 w 8079933"/>
              <a:gd name="connsiteY47526" fmla="*/ 193046 h 4687251"/>
              <a:gd name="connsiteX47527" fmla="*/ 3653430 w 8079933"/>
              <a:gd name="connsiteY47527" fmla="*/ 195537 h 4687251"/>
              <a:gd name="connsiteX47528" fmla="*/ 3653430 w 8079933"/>
              <a:gd name="connsiteY47528" fmla="*/ 198676 h 4687251"/>
              <a:gd name="connsiteX47529" fmla="*/ 3650717 w 8079933"/>
              <a:gd name="connsiteY47529" fmla="*/ 200192 h 4687251"/>
              <a:gd name="connsiteX47530" fmla="*/ 3646267 w 8079933"/>
              <a:gd name="connsiteY47530" fmla="*/ 203549 h 4687251"/>
              <a:gd name="connsiteX47531" fmla="*/ 3642796 w 8079933"/>
              <a:gd name="connsiteY47531" fmla="*/ 204522 h 4687251"/>
              <a:gd name="connsiteX47532" fmla="*/ 3640842 w 8079933"/>
              <a:gd name="connsiteY47532" fmla="*/ 203657 h 4687251"/>
              <a:gd name="connsiteX47533" fmla="*/ 3639214 w 8079933"/>
              <a:gd name="connsiteY47533" fmla="*/ 204522 h 4687251"/>
              <a:gd name="connsiteX47534" fmla="*/ 3639214 w 8079933"/>
              <a:gd name="connsiteY47534" fmla="*/ 206905 h 4687251"/>
              <a:gd name="connsiteX47535" fmla="*/ 3637803 w 8079933"/>
              <a:gd name="connsiteY47535" fmla="*/ 208637 h 4687251"/>
              <a:gd name="connsiteX47536" fmla="*/ 3633788 w 8079933"/>
              <a:gd name="connsiteY47536" fmla="*/ 211235 h 4687251"/>
              <a:gd name="connsiteX47537" fmla="*/ 3625541 w 8079933"/>
              <a:gd name="connsiteY47537" fmla="*/ 214700 h 4687251"/>
              <a:gd name="connsiteX47538" fmla="*/ 3619464 w 8079933"/>
              <a:gd name="connsiteY47538" fmla="*/ 214700 h 4687251"/>
              <a:gd name="connsiteX47539" fmla="*/ 3617620 w 8079933"/>
              <a:gd name="connsiteY47539" fmla="*/ 215566 h 4687251"/>
              <a:gd name="connsiteX47540" fmla="*/ 3614038 w 8079933"/>
              <a:gd name="connsiteY47540" fmla="*/ 215566 h 4687251"/>
              <a:gd name="connsiteX47541" fmla="*/ 3611651 w 8079933"/>
              <a:gd name="connsiteY47541" fmla="*/ 212860 h 4687251"/>
              <a:gd name="connsiteX47542" fmla="*/ 3609806 w 8079933"/>
              <a:gd name="connsiteY47542" fmla="*/ 211127 h 4687251"/>
              <a:gd name="connsiteX47543" fmla="*/ 3608287 w 8079933"/>
              <a:gd name="connsiteY47543" fmla="*/ 211777 h 4687251"/>
              <a:gd name="connsiteX47544" fmla="*/ 3608287 w 8079933"/>
              <a:gd name="connsiteY47544" fmla="*/ 214267 h 4687251"/>
              <a:gd name="connsiteX47545" fmla="*/ 3610674 w 8079933"/>
              <a:gd name="connsiteY47545" fmla="*/ 215674 h 4687251"/>
              <a:gd name="connsiteX47546" fmla="*/ 3610674 w 8079933"/>
              <a:gd name="connsiteY47546" fmla="*/ 217407 h 4687251"/>
              <a:gd name="connsiteX47547" fmla="*/ 3606334 w 8079933"/>
              <a:gd name="connsiteY47547" fmla="*/ 217407 h 4687251"/>
              <a:gd name="connsiteX47548" fmla="*/ 3602101 w 8079933"/>
              <a:gd name="connsiteY47548" fmla="*/ 216216 h 4687251"/>
              <a:gd name="connsiteX47549" fmla="*/ 3598412 w 8079933"/>
              <a:gd name="connsiteY47549" fmla="*/ 218382 h 4687251"/>
              <a:gd name="connsiteX47550" fmla="*/ 3596458 w 8079933"/>
              <a:gd name="connsiteY47550" fmla="*/ 218382 h 4687251"/>
              <a:gd name="connsiteX47551" fmla="*/ 3593528 w 8079933"/>
              <a:gd name="connsiteY47551" fmla="*/ 216433 h 4687251"/>
              <a:gd name="connsiteX47552" fmla="*/ 3588862 w 8079933"/>
              <a:gd name="connsiteY47552" fmla="*/ 216433 h 4687251"/>
              <a:gd name="connsiteX47553" fmla="*/ 3585716 w 8079933"/>
              <a:gd name="connsiteY47553" fmla="*/ 218814 h 4687251"/>
              <a:gd name="connsiteX47554" fmla="*/ 3579638 w 8079933"/>
              <a:gd name="connsiteY47554" fmla="*/ 221413 h 4687251"/>
              <a:gd name="connsiteX47555" fmla="*/ 3576058 w 8079933"/>
              <a:gd name="connsiteY47555" fmla="*/ 221413 h 4687251"/>
              <a:gd name="connsiteX47556" fmla="*/ 3573778 w 8079933"/>
              <a:gd name="connsiteY47556" fmla="*/ 219897 h 4687251"/>
              <a:gd name="connsiteX47557" fmla="*/ 3570197 w 8079933"/>
              <a:gd name="connsiteY47557" fmla="*/ 219897 h 4687251"/>
              <a:gd name="connsiteX47558" fmla="*/ 3566399 w 8079933"/>
              <a:gd name="connsiteY47558" fmla="*/ 218489 h 4687251"/>
              <a:gd name="connsiteX47559" fmla="*/ 3563252 w 8079933"/>
              <a:gd name="connsiteY47559" fmla="*/ 218489 h 4687251"/>
              <a:gd name="connsiteX47560" fmla="*/ 3561299 w 8079933"/>
              <a:gd name="connsiteY47560" fmla="*/ 220114 h 4687251"/>
              <a:gd name="connsiteX47561" fmla="*/ 3556416 w 8079933"/>
              <a:gd name="connsiteY47561" fmla="*/ 221088 h 4687251"/>
              <a:gd name="connsiteX47562" fmla="*/ 3553269 w 8079933"/>
              <a:gd name="connsiteY47562" fmla="*/ 220005 h 4687251"/>
              <a:gd name="connsiteX47563" fmla="*/ 3547626 w 8079933"/>
              <a:gd name="connsiteY47563" fmla="*/ 215892 h 4687251"/>
              <a:gd name="connsiteX47564" fmla="*/ 3545347 w 8079933"/>
              <a:gd name="connsiteY47564" fmla="*/ 215892 h 4687251"/>
              <a:gd name="connsiteX47565" fmla="*/ 3544045 w 8079933"/>
              <a:gd name="connsiteY47565" fmla="*/ 215025 h 4687251"/>
              <a:gd name="connsiteX47566" fmla="*/ 3537534 w 8079933"/>
              <a:gd name="connsiteY47566" fmla="*/ 215025 h 4687251"/>
              <a:gd name="connsiteX47567" fmla="*/ 3533953 w 8079933"/>
              <a:gd name="connsiteY47567" fmla="*/ 213292 h 4687251"/>
              <a:gd name="connsiteX47568" fmla="*/ 3531132 w 8079933"/>
              <a:gd name="connsiteY47568" fmla="*/ 212643 h 4687251"/>
              <a:gd name="connsiteX47569" fmla="*/ 3526574 w 8079933"/>
              <a:gd name="connsiteY47569" fmla="*/ 213727 h 4687251"/>
              <a:gd name="connsiteX47570" fmla="*/ 3522559 w 8079933"/>
              <a:gd name="connsiteY47570" fmla="*/ 213727 h 4687251"/>
              <a:gd name="connsiteX47571" fmla="*/ 3518327 w 8079933"/>
              <a:gd name="connsiteY47571" fmla="*/ 212211 h 4687251"/>
              <a:gd name="connsiteX47572" fmla="*/ 3515180 w 8079933"/>
              <a:gd name="connsiteY47572" fmla="*/ 212968 h 4687251"/>
              <a:gd name="connsiteX47573" fmla="*/ 3511816 w 8079933"/>
              <a:gd name="connsiteY47573" fmla="*/ 217731 h 4687251"/>
              <a:gd name="connsiteX47574" fmla="*/ 3508126 w 8079933"/>
              <a:gd name="connsiteY47574" fmla="*/ 218814 h 4687251"/>
              <a:gd name="connsiteX47575" fmla="*/ 3502917 w 8079933"/>
              <a:gd name="connsiteY47575" fmla="*/ 218165 h 4687251"/>
              <a:gd name="connsiteX47576" fmla="*/ 3498902 w 8079933"/>
              <a:gd name="connsiteY47576" fmla="*/ 220439 h 4687251"/>
              <a:gd name="connsiteX47577" fmla="*/ 3498251 w 8079933"/>
              <a:gd name="connsiteY47577" fmla="*/ 221846 h 4687251"/>
              <a:gd name="connsiteX47578" fmla="*/ 3496731 w 8079933"/>
              <a:gd name="connsiteY47578" fmla="*/ 221846 h 4687251"/>
              <a:gd name="connsiteX47579" fmla="*/ 3496707 w 8079933"/>
              <a:gd name="connsiteY47579" fmla="*/ 221728 h 4687251"/>
              <a:gd name="connsiteX47580" fmla="*/ 3496840 w 8079933"/>
              <a:gd name="connsiteY47580" fmla="*/ 221413 h 4687251"/>
              <a:gd name="connsiteX47581" fmla="*/ 3496479 w 8079933"/>
              <a:gd name="connsiteY47581" fmla="*/ 220620 h 4687251"/>
              <a:gd name="connsiteX47582" fmla="*/ 3495863 w 8079933"/>
              <a:gd name="connsiteY47582" fmla="*/ 217623 h 4687251"/>
              <a:gd name="connsiteX47583" fmla="*/ 3493477 w 8079933"/>
              <a:gd name="connsiteY47583" fmla="*/ 216433 h 4687251"/>
              <a:gd name="connsiteX47584" fmla="*/ 3492065 w 8079933"/>
              <a:gd name="connsiteY47584" fmla="*/ 216433 h 4687251"/>
              <a:gd name="connsiteX47585" fmla="*/ 3490546 w 8079933"/>
              <a:gd name="connsiteY47585" fmla="*/ 215566 h 4687251"/>
              <a:gd name="connsiteX47586" fmla="*/ 3487183 w 8079933"/>
              <a:gd name="connsiteY47586" fmla="*/ 215566 h 4687251"/>
              <a:gd name="connsiteX47587" fmla="*/ 3487183 w 8079933"/>
              <a:gd name="connsiteY47587" fmla="*/ 217298 h 4687251"/>
              <a:gd name="connsiteX47588" fmla="*/ 3488702 w 8079933"/>
              <a:gd name="connsiteY47588" fmla="*/ 217298 h 4687251"/>
              <a:gd name="connsiteX47589" fmla="*/ 3493585 w 8079933"/>
              <a:gd name="connsiteY47589" fmla="*/ 217298 h 4687251"/>
              <a:gd name="connsiteX47590" fmla="*/ 3495755 w 8079933"/>
              <a:gd name="connsiteY47590" fmla="*/ 219031 h 4687251"/>
              <a:gd name="connsiteX47591" fmla="*/ 3496479 w 8079933"/>
              <a:gd name="connsiteY47591" fmla="*/ 220620 h 4687251"/>
              <a:gd name="connsiteX47592" fmla="*/ 3496707 w 8079933"/>
              <a:gd name="connsiteY47592" fmla="*/ 221728 h 4687251"/>
              <a:gd name="connsiteX47593" fmla="*/ 3495647 w 8079933"/>
              <a:gd name="connsiteY47593" fmla="*/ 224229 h 4687251"/>
              <a:gd name="connsiteX47594" fmla="*/ 3492500 w 8079933"/>
              <a:gd name="connsiteY47594" fmla="*/ 226069 h 4687251"/>
              <a:gd name="connsiteX47595" fmla="*/ 3490221 w 8079933"/>
              <a:gd name="connsiteY47595" fmla="*/ 226069 h 4687251"/>
              <a:gd name="connsiteX47596" fmla="*/ 3486639 w 8079933"/>
              <a:gd name="connsiteY47596" fmla="*/ 226069 h 4687251"/>
              <a:gd name="connsiteX47597" fmla="*/ 3483059 w 8079933"/>
              <a:gd name="connsiteY47597" fmla="*/ 228235 h 4687251"/>
              <a:gd name="connsiteX47598" fmla="*/ 3478393 w 8079933"/>
              <a:gd name="connsiteY47598" fmla="*/ 230183 h 4687251"/>
              <a:gd name="connsiteX47599" fmla="*/ 3471773 w 8079933"/>
              <a:gd name="connsiteY47599" fmla="*/ 230833 h 4687251"/>
              <a:gd name="connsiteX47600" fmla="*/ 3468409 w 8079933"/>
              <a:gd name="connsiteY47600" fmla="*/ 232349 h 4687251"/>
              <a:gd name="connsiteX47601" fmla="*/ 3466673 w 8079933"/>
              <a:gd name="connsiteY47601" fmla="*/ 234730 h 4687251"/>
              <a:gd name="connsiteX47602" fmla="*/ 3463309 w 8079933"/>
              <a:gd name="connsiteY47602" fmla="*/ 235488 h 4687251"/>
              <a:gd name="connsiteX47603" fmla="*/ 3458968 w 8079933"/>
              <a:gd name="connsiteY47603" fmla="*/ 235488 h 4687251"/>
              <a:gd name="connsiteX47604" fmla="*/ 3454085 w 8079933"/>
              <a:gd name="connsiteY47604" fmla="*/ 238087 h 4687251"/>
              <a:gd name="connsiteX47605" fmla="*/ 3450721 w 8079933"/>
              <a:gd name="connsiteY47605" fmla="*/ 238087 h 4687251"/>
              <a:gd name="connsiteX47606" fmla="*/ 3448442 w 8079933"/>
              <a:gd name="connsiteY47606" fmla="*/ 240902 h 4687251"/>
              <a:gd name="connsiteX47607" fmla="*/ 3448442 w 8079933"/>
              <a:gd name="connsiteY47607" fmla="*/ 244583 h 4687251"/>
              <a:gd name="connsiteX47608" fmla="*/ 3450829 w 8079933"/>
              <a:gd name="connsiteY47608" fmla="*/ 246965 h 4687251"/>
              <a:gd name="connsiteX47609" fmla="*/ 3451481 w 8079933"/>
              <a:gd name="connsiteY47609" fmla="*/ 249887 h 4687251"/>
              <a:gd name="connsiteX47610" fmla="*/ 3451481 w 8079933"/>
              <a:gd name="connsiteY47610" fmla="*/ 253569 h 4687251"/>
              <a:gd name="connsiteX47611" fmla="*/ 3453325 w 8079933"/>
              <a:gd name="connsiteY47611" fmla="*/ 256709 h 4687251"/>
              <a:gd name="connsiteX47612" fmla="*/ 3455821 w 8079933"/>
              <a:gd name="connsiteY47612" fmla="*/ 256709 h 4687251"/>
              <a:gd name="connsiteX47613" fmla="*/ 3457775 w 8079933"/>
              <a:gd name="connsiteY47613" fmla="*/ 254002 h 4687251"/>
              <a:gd name="connsiteX47614" fmla="*/ 3457775 w 8079933"/>
              <a:gd name="connsiteY47614" fmla="*/ 250538 h 4687251"/>
              <a:gd name="connsiteX47615" fmla="*/ 3460813 w 8079933"/>
              <a:gd name="connsiteY47615" fmla="*/ 247723 h 4687251"/>
              <a:gd name="connsiteX47616" fmla="*/ 3464828 w 8079933"/>
              <a:gd name="connsiteY47616" fmla="*/ 246965 h 4687251"/>
              <a:gd name="connsiteX47617" fmla="*/ 3468084 w 8079933"/>
              <a:gd name="connsiteY47617" fmla="*/ 245017 h 4687251"/>
              <a:gd name="connsiteX47618" fmla="*/ 3472207 w 8079933"/>
              <a:gd name="connsiteY47618" fmla="*/ 244366 h 4687251"/>
              <a:gd name="connsiteX47619" fmla="*/ 3476222 w 8079933"/>
              <a:gd name="connsiteY47619" fmla="*/ 244366 h 4687251"/>
              <a:gd name="connsiteX47620" fmla="*/ 3478066 w 8079933"/>
              <a:gd name="connsiteY47620" fmla="*/ 242092 h 4687251"/>
              <a:gd name="connsiteX47621" fmla="*/ 3480888 w 8079933"/>
              <a:gd name="connsiteY47621" fmla="*/ 239277 h 4687251"/>
              <a:gd name="connsiteX47622" fmla="*/ 3486965 w 8079933"/>
              <a:gd name="connsiteY47622" fmla="*/ 237653 h 4687251"/>
              <a:gd name="connsiteX47623" fmla="*/ 3496623 w 8079933"/>
              <a:gd name="connsiteY47623" fmla="*/ 234081 h 4687251"/>
              <a:gd name="connsiteX47624" fmla="*/ 3499770 w 8079933"/>
              <a:gd name="connsiteY47624" fmla="*/ 234081 h 4687251"/>
              <a:gd name="connsiteX47625" fmla="*/ 3499770 w 8079933"/>
              <a:gd name="connsiteY47625" fmla="*/ 235163 h 4687251"/>
              <a:gd name="connsiteX47626" fmla="*/ 3499119 w 8079933"/>
              <a:gd name="connsiteY47626" fmla="*/ 238412 h 4687251"/>
              <a:gd name="connsiteX47627" fmla="*/ 3500313 w 8079933"/>
              <a:gd name="connsiteY47627" fmla="*/ 238412 h 4687251"/>
              <a:gd name="connsiteX47628" fmla="*/ 3503677 w 8079933"/>
              <a:gd name="connsiteY47628" fmla="*/ 235705 h 4687251"/>
              <a:gd name="connsiteX47629" fmla="*/ 3503677 w 8079933"/>
              <a:gd name="connsiteY47629" fmla="*/ 231915 h 4687251"/>
              <a:gd name="connsiteX47630" fmla="*/ 3506390 w 8079933"/>
              <a:gd name="connsiteY47630" fmla="*/ 227368 h 4687251"/>
              <a:gd name="connsiteX47631" fmla="*/ 3509102 w 8079933"/>
              <a:gd name="connsiteY47631" fmla="*/ 227368 h 4687251"/>
              <a:gd name="connsiteX47632" fmla="*/ 3513552 w 8079933"/>
              <a:gd name="connsiteY47632" fmla="*/ 228126 h 4687251"/>
              <a:gd name="connsiteX47633" fmla="*/ 3516265 w 8079933"/>
              <a:gd name="connsiteY47633" fmla="*/ 228992 h 4687251"/>
              <a:gd name="connsiteX47634" fmla="*/ 3521365 w 8079933"/>
              <a:gd name="connsiteY47634" fmla="*/ 227909 h 4687251"/>
              <a:gd name="connsiteX47635" fmla="*/ 3527442 w 8079933"/>
              <a:gd name="connsiteY47635" fmla="*/ 227909 h 4687251"/>
              <a:gd name="connsiteX47636" fmla="*/ 3531674 w 8079933"/>
              <a:gd name="connsiteY47636" fmla="*/ 230183 h 4687251"/>
              <a:gd name="connsiteX47637" fmla="*/ 3536992 w 8079933"/>
              <a:gd name="connsiteY47637" fmla="*/ 230941 h 4687251"/>
              <a:gd name="connsiteX47638" fmla="*/ 3547843 w 8079933"/>
              <a:gd name="connsiteY47638" fmla="*/ 229749 h 4687251"/>
              <a:gd name="connsiteX47639" fmla="*/ 3551424 w 8079933"/>
              <a:gd name="connsiteY47639" fmla="*/ 230616 h 4687251"/>
              <a:gd name="connsiteX47640" fmla="*/ 3556199 w 8079933"/>
              <a:gd name="connsiteY47640" fmla="*/ 232890 h 4687251"/>
              <a:gd name="connsiteX47641" fmla="*/ 3563578 w 8079933"/>
              <a:gd name="connsiteY47641" fmla="*/ 234623 h 4687251"/>
              <a:gd name="connsiteX47642" fmla="*/ 3572477 w 8079933"/>
              <a:gd name="connsiteY47642" fmla="*/ 234623 h 4687251"/>
              <a:gd name="connsiteX47643" fmla="*/ 3576383 w 8079933"/>
              <a:gd name="connsiteY47643" fmla="*/ 234623 h 4687251"/>
              <a:gd name="connsiteX47644" fmla="*/ 3576383 w 8079933"/>
              <a:gd name="connsiteY47644" fmla="*/ 237004 h 4687251"/>
              <a:gd name="connsiteX47645" fmla="*/ 3578011 w 8079933"/>
              <a:gd name="connsiteY47645" fmla="*/ 238737 h 4687251"/>
              <a:gd name="connsiteX47646" fmla="*/ 3577360 w 8079933"/>
              <a:gd name="connsiteY47646" fmla="*/ 241226 h 4687251"/>
              <a:gd name="connsiteX47647" fmla="*/ 3574213 w 8079933"/>
              <a:gd name="connsiteY47647" fmla="*/ 243500 h 4687251"/>
              <a:gd name="connsiteX47648" fmla="*/ 3573562 w 8079933"/>
              <a:gd name="connsiteY47648" fmla="*/ 247073 h 4687251"/>
              <a:gd name="connsiteX47649" fmla="*/ 3570957 w 8079933"/>
              <a:gd name="connsiteY47649" fmla="*/ 251837 h 4687251"/>
              <a:gd name="connsiteX47650" fmla="*/ 3568244 w 8079933"/>
              <a:gd name="connsiteY47650" fmla="*/ 252920 h 4687251"/>
              <a:gd name="connsiteX47651" fmla="*/ 3556850 w 8079933"/>
              <a:gd name="connsiteY47651" fmla="*/ 254436 h 4687251"/>
              <a:gd name="connsiteX47652" fmla="*/ 3551533 w 8079933"/>
              <a:gd name="connsiteY47652" fmla="*/ 256601 h 4687251"/>
              <a:gd name="connsiteX47653" fmla="*/ 3549362 w 8079933"/>
              <a:gd name="connsiteY47653" fmla="*/ 256601 h 4687251"/>
              <a:gd name="connsiteX47654" fmla="*/ 3547518 w 8079933"/>
              <a:gd name="connsiteY47654" fmla="*/ 255627 h 4687251"/>
              <a:gd name="connsiteX47655" fmla="*/ 3546432 w 8079933"/>
              <a:gd name="connsiteY47655" fmla="*/ 255627 h 4687251"/>
              <a:gd name="connsiteX47656" fmla="*/ 3545131 w 8079933"/>
              <a:gd name="connsiteY47656" fmla="*/ 259091 h 4687251"/>
              <a:gd name="connsiteX47657" fmla="*/ 3545131 w 8079933"/>
              <a:gd name="connsiteY47657" fmla="*/ 262123 h 4687251"/>
              <a:gd name="connsiteX47658" fmla="*/ 3544045 w 8079933"/>
              <a:gd name="connsiteY47658" fmla="*/ 265696 h 4687251"/>
              <a:gd name="connsiteX47659" fmla="*/ 3544045 w 8079933"/>
              <a:gd name="connsiteY47659" fmla="*/ 268403 h 4687251"/>
              <a:gd name="connsiteX47660" fmla="*/ 3545890 w 8079933"/>
              <a:gd name="connsiteY47660" fmla="*/ 269053 h 4687251"/>
              <a:gd name="connsiteX47661" fmla="*/ 3551099 w 8079933"/>
              <a:gd name="connsiteY47661" fmla="*/ 267103 h 4687251"/>
              <a:gd name="connsiteX47662" fmla="*/ 3557718 w 8079933"/>
              <a:gd name="connsiteY47662" fmla="*/ 265587 h 4687251"/>
              <a:gd name="connsiteX47663" fmla="*/ 3562167 w 8079933"/>
              <a:gd name="connsiteY47663" fmla="*/ 263530 h 4687251"/>
              <a:gd name="connsiteX47664" fmla="*/ 3570415 w 8079933"/>
              <a:gd name="connsiteY47664" fmla="*/ 263530 h 4687251"/>
              <a:gd name="connsiteX47665" fmla="*/ 3578445 w 8079933"/>
              <a:gd name="connsiteY47665" fmla="*/ 266237 h 4687251"/>
              <a:gd name="connsiteX47666" fmla="*/ 3581158 w 8079933"/>
              <a:gd name="connsiteY47666" fmla="*/ 266237 h 4687251"/>
              <a:gd name="connsiteX47667" fmla="*/ 3584739 w 8079933"/>
              <a:gd name="connsiteY47667" fmla="*/ 268511 h 4687251"/>
              <a:gd name="connsiteX47668" fmla="*/ 3586584 w 8079933"/>
              <a:gd name="connsiteY47668" fmla="*/ 266995 h 4687251"/>
              <a:gd name="connsiteX47669" fmla="*/ 3588429 w 8079933"/>
              <a:gd name="connsiteY47669" fmla="*/ 264613 h 4687251"/>
              <a:gd name="connsiteX47670" fmla="*/ 3589730 w 8079933"/>
              <a:gd name="connsiteY47670" fmla="*/ 264613 h 4687251"/>
              <a:gd name="connsiteX47671" fmla="*/ 3592443 w 8079933"/>
              <a:gd name="connsiteY47671" fmla="*/ 265371 h 4687251"/>
              <a:gd name="connsiteX47672" fmla="*/ 3594831 w 8079933"/>
              <a:gd name="connsiteY47672" fmla="*/ 267428 h 4687251"/>
              <a:gd name="connsiteX47673" fmla="*/ 3598955 w 8079933"/>
              <a:gd name="connsiteY47673" fmla="*/ 262231 h 4687251"/>
              <a:gd name="connsiteX47674" fmla="*/ 3600800 w 8079933"/>
              <a:gd name="connsiteY47674" fmla="*/ 255627 h 4687251"/>
              <a:gd name="connsiteX47675" fmla="*/ 3600800 w 8079933"/>
              <a:gd name="connsiteY47675" fmla="*/ 249022 h 4687251"/>
              <a:gd name="connsiteX47676" fmla="*/ 3602101 w 8079933"/>
              <a:gd name="connsiteY47676" fmla="*/ 246424 h 4687251"/>
              <a:gd name="connsiteX47677" fmla="*/ 3601233 w 8079933"/>
              <a:gd name="connsiteY47677" fmla="*/ 244475 h 4687251"/>
              <a:gd name="connsiteX47678" fmla="*/ 3601884 w 8079933"/>
              <a:gd name="connsiteY47678" fmla="*/ 240902 h 4687251"/>
              <a:gd name="connsiteX47679" fmla="*/ 3605357 w 8079933"/>
              <a:gd name="connsiteY47679" fmla="*/ 238737 h 4687251"/>
              <a:gd name="connsiteX47680" fmla="*/ 3610566 w 8079933"/>
              <a:gd name="connsiteY47680" fmla="*/ 238737 h 4687251"/>
              <a:gd name="connsiteX47681" fmla="*/ 3615992 w 8079933"/>
              <a:gd name="connsiteY47681" fmla="*/ 240361 h 4687251"/>
              <a:gd name="connsiteX47682" fmla="*/ 3622069 w 8079933"/>
              <a:gd name="connsiteY47682" fmla="*/ 240361 h 4687251"/>
              <a:gd name="connsiteX47683" fmla="*/ 3627169 w 8079933"/>
              <a:gd name="connsiteY47683" fmla="*/ 239277 h 4687251"/>
              <a:gd name="connsiteX47684" fmla="*/ 3630316 w 8079933"/>
              <a:gd name="connsiteY47684" fmla="*/ 240143 h 4687251"/>
              <a:gd name="connsiteX47685" fmla="*/ 3631292 w 8079933"/>
              <a:gd name="connsiteY47685" fmla="*/ 244583 h 4687251"/>
              <a:gd name="connsiteX47686" fmla="*/ 3631292 w 8079933"/>
              <a:gd name="connsiteY47686" fmla="*/ 252486 h 4687251"/>
              <a:gd name="connsiteX47687" fmla="*/ 3631292 w 8079933"/>
              <a:gd name="connsiteY47687" fmla="*/ 258117 h 4687251"/>
              <a:gd name="connsiteX47688" fmla="*/ 3627060 w 8079933"/>
              <a:gd name="connsiteY47688" fmla="*/ 263422 h 4687251"/>
              <a:gd name="connsiteX47689" fmla="*/ 3623479 w 8079933"/>
              <a:gd name="connsiteY47689" fmla="*/ 270893 h 4687251"/>
              <a:gd name="connsiteX47690" fmla="*/ 3622503 w 8079933"/>
              <a:gd name="connsiteY47690" fmla="*/ 276523 h 4687251"/>
              <a:gd name="connsiteX47691" fmla="*/ 3620441 w 8079933"/>
              <a:gd name="connsiteY47691" fmla="*/ 280637 h 4687251"/>
              <a:gd name="connsiteX47692" fmla="*/ 3606985 w 8079933"/>
              <a:gd name="connsiteY47692" fmla="*/ 292655 h 4687251"/>
              <a:gd name="connsiteX47693" fmla="*/ 3604272 w 8079933"/>
              <a:gd name="connsiteY47693" fmla="*/ 292655 h 4687251"/>
              <a:gd name="connsiteX47694" fmla="*/ 3603078 w 8079933"/>
              <a:gd name="connsiteY47694" fmla="*/ 291789 h 4687251"/>
              <a:gd name="connsiteX47695" fmla="*/ 3599280 w 8079933"/>
              <a:gd name="connsiteY47695" fmla="*/ 293305 h 4687251"/>
              <a:gd name="connsiteX47696" fmla="*/ 3596350 w 8079933"/>
              <a:gd name="connsiteY47696" fmla="*/ 296552 h 4687251"/>
              <a:gd name="connsiteX47697" fmla="*/ 3593420 w 8079933"/>
              <a:gd name="connsiteY47697" fmla="*/ 295146 h 4687251"/>
              <a:gd name="connsiteX47698" fmla="*/ 3591683 w 8079933"/>
              <a:gd name="connsiteY47698" fmla="*/ 295795 h 4687251"/>
              <a:gd name="connsiteX47699" fmla="*/ 3588429 w 8079933"/>
              <a:gd name="connsiteY47699" fmla="*/ 300992 h 4687251"/>
              <a:gd name="connsiteX47700" fmla="*/ 3588429 w 8079933"/>
              <a:gd name="connsiteY47700" fmla="*/ 304240 h 4687251"/>
              <a:gd name="connsiteX47701" fmla="*/ 3584522 w 8079933"/>
              <a:gd name="connsiteY47701" fmla="*/ 306081 h 4687251"/>
              <a:gd name="connsiteX47702" fmla="*/ 3581592 w 8079933"/>
              <a:gd name="connsiteY47702" fmla="*/ 309546 h 4687251"/>
              <a:gd name="connsiteX47703" fmla="*/ 3578988 w 8079933"/>
              <a:gd name="connsiteY47703" fmla="*/ 308895 h 4687251"/>
              <a:gd name="connsiteX47704" fmla="*/ 3578119 w 8079933"/>
              <a:gd name="connsiteY47704" fmla="*/ 307380 h 4687251"/>
              <a:gd name="connsiteX47705" fmla="*/ 3576709 w 8079933"/>
              <a:gd name="connsiteY47705" fmla="*/ 309654 h 4687251"/>
              <a:gd name="connsiteX47706" fmla="*/ 3577360 w 8079933"/>
              <a:gd name="connsiteY47706" fmla="*/ 312577 h 4687251"/>
              <a:gd name="connsiteX47707" fmla="*/ 3575623 w 8079933"/>
              <a:gd name="connsiteY47707" fmla="*/ 316042 h 4687251"/>
              <a:gd name="connsiteX47708" fmla="*/ 3571500 w 8079933"/>
              <a:gd name="connsiteY47708" fmla="*/ 322104 h 4687251"/>
              <a:gd name="connsiteX47709" fmla="*/ 3567376 w 8079933"/>
              <a:gd name="connsiteY47709" fmla="*/ 324486 h 4687251"/>
              <a:gd name="connsiteX47710" fmla="*/ 3565640 w 8079933"/>
              <a:gd name="connsiteY47710" fmla="*/ 327626 h 4687251"/>
              <a:gd name="connsiteX47711" fmla="*/ 3559238 w 8079933"/>
              <a:gd name="connsiteY47711" fmla="*/ 333148 h 4687251"/>
              <a:gd name="connsiteX47712" fmla="*/ 3554572 w 8079933"/>
              <a:gd name="connsiteY47712" fmla="*/ 337479 h 4687251"/>
              <a:gd name="connsiteX47713" fmla="*/ 3551099 w 8079933"/>
              <a:gd name="connsiteY47713" fmla="*/ 338346 h 4687251"/>
              <a:gd name="connsiteX47714" fmla="*/ 3545239 w 8079933"/>
              <a:gd name="connsiteY47714" fmla="*/ 342784 h 4687251"/>
              <a:gd name="connsiteX47715" fmla="*/ 3544262 w 8079933"/>
              <a:gd name="connsiteY47715" fmla="*/ 345058 h 4687251"/>
              <a:gd name="connsiteX47716" fmla="*/ 3540464 w 8079933"/>
              <a:gd name="connsiteY47716" fmla="*/ 345058 h 4687251"/>
              <a:gd name="connsiteX47717" fmla="*/ 3540464 w 8079933"/>
              <a:gd name="connsiteY47717" fmla="*/ 349172 h 4687251"/>
              <a:gd name="connsiteX47718" fmla="*/ 3540464 w 8079933"/>
              <a:gd name="connsiteY47718" fmla="*/ 353070 h 4687251"/>
              <a:gd name="connsiteX47719" fmla="*/ 3538402 w 8079933"/>
              <a:gd name="connsiteY47719" fmla="*/ 358268 h 4687251"/>
              <a:gd name="connsiteX47720" fmla="*/ 3539488 w 8079933"/>
              <a:gd name="connsiteY47720" fmla="*/ 360541 h 4687251"/>
              <a:gd name="connsiteX47721" fmla="*/ 3540898 w 8079933"/>
              <a:gd name="connsiteY47721" fmla="*/ 358159 h 4687251"/>
              <a:gd name="connsiteX47722" fmla="*/ 3541766 w 8079933"/>
              <a:gd name="connsiteY47722" fmla="*/ 354694 h 4687251"/>
              <a:gd name="connsiteX47723" fmla="*/ 3546215 w 8079933"/>
              <a:gd name="connsiteY47723" fmla="*/ 349497 h 4687251"/>
              <a:gd name="connsiteX47724" fmla="*/ 3549471 w 8079933"/>
              <a:gd name="connsiteY47724" fmla="*/ 344517 h 4687251"/>
              <a:gd name="connsiteX47725" fmla="*/ 3554137 w 8079933"/>
              <a:gd name="connsiteY47725" fmla="*/ 341377 h 4687251"/>
              <a:gd name="connsiteX47726" fmla="*/ 3555657 w 8079933"/>
              <a:gd name="connsiteY47726" fmla="*/ 341377 h 4687251"/>
              <a:gd name="connsiteX47727" fmla="*/ 3556850 w 8079933"/>
              <a:gd name="connsiteY47727" fmla="*/ 343218 h 4687251"/>
              <a:gd name="connsiteX47728" fmla="*/ 3560648 w 8079933"/>
              <a:gd name="connsiteY47728" fmla="*/ 338778 h 4687251"/>
              <a:gd name="connsiteX47729" fmla="*/ 3568896 w 8079933"/>
              <a:gd name="connsiteY47729" fmla="*/ 332390 h 4687251"/>
              <a:gd name="connsiteX47730" fmla="*/ 3571500 w 8079933"/>
              <a:gd name="connsiteY47730" fmla="*/ 331741 h 4687251"/>
              <a:gd name="connsiteX47731" fmla="*/ 3572151 w 8079933"/>
              <a:gd name="connsiteY47731" fmla="*/ 327735 h 4687251"/>
              <a:gd name="connsiteX47732" fmla="*/ 3580290 w 8079933"/>
              <a:gd name="connsiteY47732" fmla="*/ 321239 h 4687251"/>
              <a:gd name="connsiteX47733" fmla="*/ 3587017 w 8079933"/>
              <a:gd name="connsiteY47733" fmla="*/ 315608 h 4687251"/>
              <a:gd name="connsiteX47734" fmla="*/ 3590490 w 8079933"/>
              <a:gd name="connsiteY47734" fmla="*/ 313876 h 4687251"/>
              <a:gd name="connsiteX47735" fmla="*/ 3593203 w 8079933"/>
              <a:gd name="connsiteY47735" fmla="*/ 314525 h 4687251"/>
              <a:gd name="connsiteX47736" fmla="*/ 3597544 w 8079933"/>
              <a:gd name="connsiteY47736" fmla="*/ 314525 h 4687251"/>
              <a:gd name="connsiteX47737" fmla="*/ 3600474 w 8079933"/>
              <a:gd name="connsiteY47737" fmla="*/ 311927 h 4687251"/>
              <a:gd name="connsiteX47738" fmla="*/ 3600474 w 8079933"/>
              <a:gd name="connsiteY47738" fmla="*/ 309654 h 4687251"/>
              <a:gd name="connsiteX47739" fmla="*/ 3605249 w 8079933"/>
              <a:gd name="connsiteY47739" fmla="*/ 309654 h 4687251"/>
              <a:gd name="connsiteX47740" fmla="*/ 3611760 w 8079933"/>
              <a:gd name="connsiteY47740" fmla="*/ 309654 h 4687251"/>
              <a:gd name="connsiteX47741" fmla="*/ 3618162 w 8079933"/>
              <a:gd name="connsiteY47741" fmla="*/ 306189 h 4687251"/>
              <a:gd name="connsiteX47742" fmla="*/ 3622286 w 8079933"/>
              <a:gd name="connsiteY47742" fmla="*/ 301858 h 4687251"/>
              <a:gd name="connsiteX47743" fmla="*/ 3626300 w 8079933"/>
              <a:gd name="connsiteY47743" fmla="*/ 301858 h 4687251"/>
              <a:gd name="connsiteX47744" fmla="*/ 3630207 w 8079933"/>
              <a:gd name="connsiteY47744" fmla="*/ 298935 h 4687251"/>
              <a:gd name="connsiteX47745" fmla="*/ 3632812 w 8079933"/>
              <a:gd name="connsiteY47745" fmla="*/ 296552 h 4687251"/>
              <a:gd name="connsiteX47746" fmla="*/ 3636067 w 8079933"/>
              <a:gd name="connsiteY47746" fmla="*/ 296552 h 4687251"/>
              <a:gd name="connsiteX47747" fmla="*/ 3639323 w 8079933"/>
              <a:gd name="connsiteY47747" fmla="*/ 293088 h 4687251"/>
              <a:gd name="connsiteX47748" fmla="*/ 3645725 w 8079933"/>
              <a:gd name="connsiteY47748" fmla="*/ 287024 h 4687251"/>
              <a:gd name="connsiteX47749" fmla="*/ 3647244 w 8079933"/>
              <a:gd name="connsiteY47749" fmla="*/ 282261 h 4687251"/>
              <a:gd name="connsiteX47750" fmla="*/ 3647244 w 8079933"/>
              <a:gd name="connsiteY47750" fmla="*/ 279121 h 4687251"/>
              <a:gd name="connsiteX47751" fmla="*/ 3649957 w 8079933"/>
              <a:gd name="connsiteY47751" fmla="*/ 275982 h 4687251"/>
              <a:gd name="connsiteX47752" fmla="*/ 3651477 w 8079933"/>
              <a:gd name="connsiteY47752" fmla="*/ 273599 h 4687251"/>
              <a:gd name="connsiteX47753" fmla="*/ 3653864 w 8079933"/>
              <a:gd name="connsiteY47753" fmla="*/ 272084 h 4687251"/>
              <a:gd name="connsiteX47754" fmla="*/ 3653864 w 8079933"/>
              <a:gd name="connsiteY47754" fmla="*/ 274899 h 4687251"/>
              <a:gd name="connsiteX47755" fmla="*/ 3655709 w 8079933"/>
              <a:gd name="connsiteY47755" fmla="*/ 278147 h 4687251"/>
              <a:gd name="connsiteX47756" fmla="*/ 3655709 w 8079933"/>
              <a:gd name="connsiteY47756" fmla="*/ 281396 h 4687251"/>
              <a:gd name="connsiteX47757" fmla="*/ 3654732 w 8079933"/>
              <a:gd name="connsiteY47757" fmla="*/ 284643 h 4687251"/>
              <a:gd name="connsiteX47758" fmla="*/ 3656576 w 8079933"/>
              <a:gd name="connsiteY47758" fmla="*/ 287675 h 4687251"/>
              <a:gd name="connsiteX47759" fmla="*/ 3657444 w 8079933"/>
              <a:gd name="connsiteY47759" fmla="*/ 292871 h 4687251"/>
              <a:gd name="connsiteX47760" fmla="*/ 3656360 w 8079933"/>
              <a:gd name="connsiteY47760" fmla="*/ 294929 h 4687251"/>
              <a:gd name="connsiteX47761" fmla="*/ 3656360 w 8079933"/>
              <a:gd name="connsiteY47761" fmla="*/ 297853 h 4687251"/>
              <a:gd name="connsiteX47762" fmla="*/ 3657771 w 8079933"/>
              <a:gd name="connsiteY47762" fmla="*/ 295470 h 4687251"/>
              <a:gd name="connsiteX47763" fmla="*/ 3659181 w 8079933"/>
              <a:gd name="connsiteY47763" fmla="*/ 291572 h 4687251"/>
              <a:gd name="connsiteX47764" fmla="*/ 3661026 w 8079933"/>
              <a:gd name="connsiteY47764" fmla="*/ 288324 h 4687251"/>
              <a:gd name="connsiteX47765" fmla="*/ 3659941 w 8079933"/>
              <a:gd name="connsiteY47765" fmla="*/ 286809 h 4687251"/>
              <a:gd name="connsiteX47766" fmla="*/ 3659941 w 8079933"/>
              <a:gd name="connsiteY47766" fmla="*/ 282911 h 4687251"/>
              <a:gd name="connsiteX47767" fmla="*/ 3661786 w 8079933"/>
              <a:gd name="connsiteY47767" fmla="*/ 280854 h 4687251"/>
              <a:gd name="connsiteX47768" fmla="*/ 3663739 w 8079933"/>
              <a:gd name="connsiteY47768" fmla="*/ 281936 h 4687251"/>
              <a:gd name="connsiteX47769" fmla="*/ 3663739 w 8079933"/>
              <a:gd name="connsiteY47769" fmla="*/ 285185 h 4687251"/>
              <a:gd name="connsiteX47770" fmla="*/ 3666343 w 8079933"/>
              <a:gd name="connsiteY47770" fmla="*/ 287891 h 4687251"/>
              <a:gd name="connsiteX47771" fmla="*/ 3670467 w 8079933"/>
              <a:gd name="connsiteY47771" fmla="*/ 287891 h 4687251"/>
              <a:gd name="connsiteX47772" fmla="*/ 3675133 w 8079933"/>
              <a:gd name="connsiteY47772" fmla="*/ 285834 h 4687251"/>
              <a:gd name="connsiteX47773" fmla="*/ 3676218 w 8079933"/>
              <a:gd name="connsiteY47773" fmla="*/ 283127 h 4687251"/>
              <a:gd name="connsiteX47774" fmla="*/ 3674808 w 8079933"/>
              <a:gd name="connsiteY47774" fmla="*/ 281179 h 4687251"/>
              <a:gd name="connsiteX47775" fmla="*/ 3674808 w 8079933"/>
              <a:gd name="connsiteY47775" fmla="*/ 278797 h 4687251"/>
              <a:gd name="connsiteX47776" fmla="*/ 3677195 w 8079933"/>
              <a:gd name="connsiteY47776" fmla="*/ 278797 h 4687251"/>
              <a:gd name="connsiteX47777" fmla="*/ 3678931 w 8079933"/>
              <a:gd name="connsiteY47777" fmla="*/ 275656 h 4687251"/>
              <a:gd name="connsiteX47778" fmla="*/ 3678931 w 8079933"/>
              <a:gd name="connsiteY47778" fmla="*/ 271001 h 4687251"/>
              <a:gd name="connsiteX47779" fmla="*/ 3678280 w 8079933"/>
              <a:gd name="connsiteY47779" fmla="*/ 267428 h 4687251"/>
              <a:gd name="connsiteX47780" fmla="*/ 3679691 w 8079933"/>
              <a:gd name="connsiteY47780" fmla="*/ 264613 h 4687251"/>
              <a:gd name="connsiteX47781" fmla="*/ 3682404 w 8079933"/>
              <a:gd name="connsiteY47781" fmla="*/ 263855 h 4687251"/>
              <a:gd name="connsiteX47782" fmla="*/ 3683489 w 8079933"/>
              <a:gd name="connsiteY47782" fmla="*/ 265804 h 4687251"/>
              <a:gd name="connsiteX47783" fmla="*/ 3687830 w 8079933"/>
              <a:gd name="connsiteY47783" fmla="*/ 267861 h 4687251"/>
              <a:gd name="connsiteX47784" fmla="*/ 3692496 w 8079933"/>
              <a:gd name="connsiteY47784" fmla="*/ 265912 h 4687251"/>
              <a:gd name="connsiteX47785" fmla="*/ 3694774 w 8079933"/>
              <a:gd name="connsiteY47785" fmla="*/ 263206 h 4687251"/>
              <a:gd name="connsiteX47786" fmla="*/ 3701178 w 8079933"/>
              <a:gd name="connsiteY47786" fmla="*/ 261040 h 4687251"/>
              <a:gd name="connsiteX47787" fmla="*/ 3706820 w 8079933"/>
              <a:gd name="connsiteY47787" fmla="*/ 261040 h 4687251"/>
              <a:gd name="connsiteX47788" fmla="*/ 3709533 w 8079933"/>
              <a:gd name="connsiteY47788" fmla="*/ 260066 h 4687251"/>
              <a:gd name="connsiteX47789" fmla="*/ 3715176 w 8079933"/>
              <a:gd name="connsiteY47789" fmla="*/ 261474 h 4687251"/>
              <a:gd name="connsiteX47790" fmla="*/ 3721361 w 8079933"/>
              <a:gd name="connsiteY47790" fmla="*/ 264505 h 4687251"/>
              <a:gd name="connsiteX47791" fmla="*/ 3727981 w 8079933"/>
              <a:gd name="connsiteY47791" fmla="*/ 266670 h 4687251"/>
              <a:gd name="connsiteX47792" fmla="*/ 3732864 w 8079933"/>
              <a:gd name="connsiteY47792" fmla="*/ 266670 h 4687251"/>
              <a:gd name="connsiteX47793" fmla="*/ 3736879 w 8079933"/>
              <a:gd name="connsiteY47793" fmla="*/ 268618 h 4687251"/>
              <a:gd name="connsiteX47794" fmla="*/ 3739592 w 8079933"/>
              <a:gd name="connsiteY47794" fmla="*/ 271651 h 4687251"/>
              <a:gd name="connsiteX47795" fmla="*/ 3742197 w 8079933"/>
              <a:gd name="connsiteY47795" fmla="*/ 271651 h 4687251"/>
              <a:gd name="connsiteX47796" fmla="*/ 3746863 w 8079933"/>
              <a:gd name="connsiteY47796" fmla="*/ 273708 h 4687251"/>
              <a:gd name="connsiteX47797" fmla="*/ 3748599 w 8079933"/>
              <a:gd name="connsiteY47797" fmla="*/ 277389 h 4687251"/>
              <a:gd name="connsiteX47798" fmla="*/ 3748599 w 8079933"/>
              <a:gd name="connsiteY47798" fmla="*/ 279879 h 4687251"/>
              <a:gd name="connsiteX47799" fmla="*/ 3755544 w 8079933"/>
              <a:gd name="connsiteY47799" fmla="*/ 285726 h 4687251"/>
              <a:gd name="connsiteX47800" fmla="*/ 3756738 w 8079933"/>
              <a:gd name="connsiteY47800" fmla="*/ 288541 h 4687251"/>
              <a:gd name="connsiteX47801" fmla="*/ 3759993 w 8079933"/>
              <a:gd name="connsiteY47801" fmla="*/ 291789 h 4687251"/>
              <a:gd name="connsiteX47802" fmla="*/ 3762055 w 8079933"/>
              <a:gd name="connsiteY47802" fmla="*/ 298502 h 4687251"/>
              <a:gd name="connsiteX47803" fmla="*/ 3762055 w 8079933"/>
              <a:gd name="connsiteY47803" fmla="*/ 303590 h 4687251"/>
              <a:gd name="connsiteX47804" fmla="*/ 3760210 w 8079933"/>
              <a:gd name="connsiteY47804" fmla="*/ 306621 h 4687251"/>
              <a:gd name="connsiteX47805" fmla="*/ 3755653 w 8079933"/>
              <a:gd name="connsiteY47805" fmla="*/ 308354 h 4687251"/>
              <a:gd name="connsiteX47806" fmla="*/ 3751746 w 8079933"/>
              <a:gd name="connsiteY47806" fmla="*/ 311385 h 4687251"/>
              <a:gd name="connsiteX47807" fmla="*/ 3750443 w 8079933"/>
              <a:gd name="connsiteY47807" fmla="*/ 313660 h 4687251"/>
              <a:gd name="connsiteX47808" fmla="*/ 3747731 w 8079933"/>
              <a:gd name="connsiteY47808" fmla="*/ 314742 h 4687251"/>
              <a:gd name="connsiteX47809" fmla="*/ 3743716 w 8079933"/>
              <a:gd name="connsiteY47809" fmla="*/ 317558 h 4687251"/>
              <a:gd name="connsiteX47810" fmla="*/ 3738832 w 8079933"/>
              <a:gd name="connsiteY47810" fmla="*/ 324379 h 4687251"/>
              <a:gd name="connsiteX47811" fmla="*/ 3736554 w 8079933"/>
              <a:gd name="connsiteY47811" fmla="*/ 327626 h 4687251"/>
              <a:gd name="connsiteX47812" fmla="*/ 3734709 w 8079933"/>
              <a:gd name="connsiteY47812" fmla="*/ 328385 h 4687251"/>
              <a:gd name="connsiteX47813" fmla="*/ 3731345 w 8079933"/>
              <a:gd name="connsiteY47813" fmla="*/ 327301 h 4687251"/>
              <a:gd name="connsiteX47814" fmla="*/ 3724834 w 8079933"/>
              <a:gd name="connsiteY47814" fmla="*/ 323295 h 4687251"/>
              <a:gd name="connsiteX47815" fmla="*/ 3722229 w 8079933"/>
              <a:gd name="connsiteY47815" fmla="*/ 323295 h 4687251"/>
              <a:gd name="connsiteX47816" fmla="*/ 3718866 w 8079933"/>
              <a:gd name="connsiteY47816" fmla="*/ 325894 h 4687251"/>
              <a:gd name="connsiteX47817" fmla="*/ 3716478 w 8079933"/>
              <a:gd name="connsiteY47817" fmla="*/ 330008 h 4687251"/>
              <a:gd name="connsiteX47818" fmla="*/ 3716478 w 8079933"/>
              <a:gd name="connsiteY47818" fmla="*/ 331849 h 4687251"/>
              <a:gd name="connsiteX47819" fmla="*/ 3717998 w 8079933"/>
              <a:gd name="connsiteY47819" fmla="*/ 333148 h 4687251"/>
              <a:gd name="connsiteX47820" fmla="*/ 3717998 w 8079933"/>
              <a:gd name="connsiteY47820" fmla="*/ 335639 h 4687251"/>
              <a:gd name="connsiteX47821" fmla="*/ 3720602 w 8079933"/>
              <a:gd name="connsiteY47821" fmla="*/ 339320 h 4687251"/>
              <a:gd name="connsiteX47822" fmla="*/ 3722229 w 8079933"/>
              <a:gd name="connsiteY47822" fmla="*/ 340619 h 4687251"/>
              <a:gd name="connsiteX47823" fmla="*/ 3722229 w 8079933"/>
              <a:gd name="connsiteY47823" fmla="*/ 343325 h 4687251"/>
              <a:gd name="connsiteX47824" fmla="*/ 3720711 w 8079933"/>
              <a:gd name="connsiteY47824" fmla="*/ 346141 h 4687251"/>
              <a:gd name="connsiteX47825" fmla="*/ 3717238 w 8079933"/>
              <a:gd name="connsiteY47825" fmla="*/ 346141 h 4687251"/>
              <a:gd name="connsiteX47826" fmla="*/ 3714416 w 8079933"/>
              <a:gd name="connsiteY47826" fmla="*/ 346141 h 4687251"/>
              <a:gd name="connsiteX47827" fmla="*/ 3707254 w 8079933"/>
              <a:gd name="connsiteY47827" fmla="*/ 349821 h 4687251"/>
              <a:gd name="connsiteX47828" fmla="*/ 3702914 w 8079933"/>
              <a:gd name="connsiteY47828" fmla="*/ 353070 h 4687251"/>
              <a:gd name="connsiteX47829" fmla="*/ 3699007 w 8079933"/>
              <a:gd name="connsiteY47829" fmla="*/ 353070 h 4687251"/>
              <a:gd name="connsiteX47830" fmla="*/ 3695860 w 8079933"/>
              <a:gd name="connsiteY47830" fmla="*/ 353070 h 4687251"/>
              <a:gd name="connsiteX47831" fmla="*/ 3693147 w 8079933"/>
              <a:gd name="connsiteY47831" fmla="*/ 351121 h 4687251"/>
              <a:gd name="connsiteX47832" fmla="*/ 3689348 w 8079933"/>
              <a:gd name="connsiteY47832" fmla="*/ 349605 h 4687251"/>
              <a:gd name="connsiteX47833" fmla="*/ 3685334 w 8079933"/>
              <a:gd name="connsiteY47833" fmla="*/ 349605 h 4687251"/>
              <a:gd name="connsiteX47834" fmla="*/ 3683381 w 8079933"/>
              <a:gd name="connsiteY47834" fmla="*/ 348306 h 4687251"/>
              <a:gd name="connsiteX47835" fmla="*/ 3680668 w 8079933"/>
              <a:gd name="connsiteY47835" fmla="*/ 347656 h 4687251"/>
              <a:gd name="connsiteX47836" fmla="*/ 3680016 w 8079933"/>
              <a:gd name="connsiteY47836" fmla="*/ 346682 h 4687251"/>
              <a:gd name="connsiteX47837" fmla="*/ 3677846 w 8079933"/>
              <a:gd name="connsiteY47837" fmla="*/ 346682 h 4687251"/>
              <a:gd name="connsiteX47838" fmla="*/ 3676327 w 8079933"/>
              <a:gd name="connsiteY47838" fmla="*/ 347332 h 4687251"/>
              <a:gd name="connsiteX47839" fmla="*/ 3675459 w 8079933"/>
              <a:gd name="connsiteY47839" fmla="*/ 349281 h 4687251"/>
              <a:gd name="connsiteX47840" fmla="*/ 3673614 w 8079933"/>
              <a:gd name="connsiteY47840" fmla="*/ 349281 h 4687251"/>
              <a:gd name="connsiteX47841" fmla="*/ 3670793 w 8079933"/>
              <a:gd name="connsiteY47841" fmla="*/ 348739 h 4687251"/>
              <a:gd name="connsiteX47842" fmla="*/ 3669165 w 8079933"/>
              <a:gd name="connsiteY47842" fmla="*/ 349713 h 4687251"/>
              <a:gd name="connsiteX47843" fmla="*/ 3667103 w 8079933"/>
              <a:gd name="connsiteY47843" fmla="*/ 352312 h 4687251"/>
              <a:gd name="connsiteX47844" fmla="*/ 3665584 w 8079933"/>
              <a:gd name="connsiteY47844" fmla="*/ 352312 h 4687251"/>
              <a:gd name="connsiteX47845" fmla="*/ 3663196 w 8079933"/>
              <a:gd name="connsiteY47845" fmla="*/ 352312 h 4687251"/>
              <a:gd name="connsiteX47846" fmla="*/ 3660809 w 8079933"/>
              <a:gd name="connsiteY47846" fmla="*/ 353936 h 4687251"/>
              <a:gd name="connsiteX47847" fmla="*/ 3658460 w 8079933"/>
              <a:gd name="connsiteY47847" fmla="*/ 354752 h 4687251"/>
              <a:gd name="connsiteX47848" fmla="*/ 3656794 w 8079933"/>
              <a:gd name="connsiteY47848" fmla="*/ 353828 h 4687251"/>
              <a:gd name="connsiteX47849" fmla="*/ 3653484 w 8079933"/>
              <a:gd name="connsiteY47849" fmla="*/ 353828 h 4687251"/>
              <a:gd name="connsiteX47850" fmla="*/ 3650500 w 8079933"/>
              <a:gd name="connsiteY47850" fmla="*/ 352637 h 4687251"/>
              <a:gd name="connsiteX47851" fmla="*/ 3645400 w 8079933"/>
              <a:gd name="connsiteY47851" fmla="*/ 353719 h 4687251"/>
              <a:gd name="connsiteX47852" fmla="*/ 3641384 w 8079933"/>
              <a:gd name="connsiteY47852" fmla="*/ 354586 h 4687251"/>
              <a:gd name="connsiteX47853" fmla="*/ 3637370 w 8079933"/>
              <a:gd name="connsiteY47853" fmla="*/ 353719 h 4687251"/>
              <a:gd name="connsiteX47854" fmla="*/ 3633463 w 8079933"/>
              <a:gd name="connsiteY47854" fmla="*/ 353719 h 4687251"/>
              <a:gd name="connsiteX47855" fmla="*/ 3637478 w 8079933"/>
              <a:gd name="connsiteY47855" fmla="*/ 355344 h 4687251"/>
              <a:gd name="connsiteX47856" fmla="*/ 3640951 w 8079933"/>
              <a:gd name="connsiteY47856" fmla="*/ 355344 h 4687251"/>
              <a:gd name="connsiteX47857" fmla="*/ 3650283 w 8079933"/>
              <a:gd name="connsiteY47857" fmla="*/ 355344 h 4687251"/>
              <a:gd name="connsiteX47858" fmla="*/ 3653213 w 8079933"/>
              <a:gd name="connsiteY47858" fmla="*/ 353828 h 4687251"/>
              <a:gd name="connsiteX47859" fmla="*/ 3653484 w 8079933"/>
              <a:gd name="connsiteY47859" fmla="*/ 353828 h 4687251"/>
              <a:gd name="connsiteX47860" fmla="*/ 3654298 w 8079933"/>
              <a:gd name="connsiteY47860" fmla="*/ 354152 h 4687251"/>
              <a:gd name="connsiteX47861" fmla="*/ 3658313 w 8079933"/>
              <a:gd name="connsiteY47861" fmla="*/ 354802 h 4687251"/>
              <a:gd name="connsiteX47862" fmla="*/ 3658460 w 8079933"/>
              <a:gd name="connsiteY47862" fmla="*/ 354752 h 4687251"/>
              <a:gd name="connsiteX47863" fmla="*/ 3660701 w 8079933"/>
              <a:gd name="connsiteY47863" fmla="*/ 355994 h 4687251"/>
              <a:gd name="connsiteX47864" fmla="*/ 3666018 w 8079933"/>
              <a:gd name="connsiteY47864" fmla="*/ 357184 h 4687251"/>
              <a:gd name="connsiteX47865" fmla="*/ 3675676 w 8079933"/>
              <a:gd name="connsiteY47865" fmla="*/ 357184 h 4687251"/>
              <a:gd name="connsiteX47866" fmla="*/ 3678931 w 8079933"/>
              <a:gd name="connsiteY47866" fmla="*/ 359891 h 4687251"/>
              <a:gd name="connsiteX47867" fmla="*/ 3680776 w 8079933"/>
              <a:gd name="connsiteY47867" fmla="*/ 359891 h 4687251"/>
              <a:gd name="connsiteX47868" fmla="*/ 3683489 w 8079933"/>
              <a:gd name="connsiteY47868" fmla="*/ 357076 h 4687251"/>
              <a:gd name="connsiteX47869" fmla="*/ 3687179 w 8079933"/>
              <a:gd name="connsiteY47869" fmla="*/ 357076 h 4687251"/>
              <a:gd name="connsiteX47870" fmla="*/ 3689783 w 8079933"/>
              <a:gd name="connsiteY47870" fmla="*/ 358159 h 4687251"/>
              <a:gd name="connsiteX47871" fmla="*/ 3691411 w 8079933"/>
              <a:gd name="connsiteY47871" fmla="*/ 360649 h 4687251"/>
              <a:gd name="connsiteX47872" fmla="*/ 3695752 w 8079933"/>
              <a:gd name="connsiteY47872" fmla="*/ 362057 h 4687251"/>
              <a:gd name="connsiteX47873" fmla="*/ 3698030 w 8079933"/>
              <a:gd name="connsiteY47873" fmla="*/ 365196 h 4687251"/>
              <a:gd name="connsiteX47874" fmla="*/ 3698030 w 8079933"/>
              <a:gd name="connsiteY47874" fmla="*/ 368337 h 4687251"/>
              <a:gd name="connsiteX47875" fmla="*/ 3694449 w 8079933"/>
              <a:gd name="connsiteY47875" fmla="*/ 371909 h 4687251"/>
              <a:gd name="connsiteX47876" fmla="*/ 3690760 w 8079933"/>
              <a:gd name="connsiteY47876" fmla="*/ 372559 h 4687251"/>
              <a:gd name="connsiteX47877" fmla="*/ 3688915 w 8079933"/>
              <a:gd name="connsiteY47877" fmla="*/ 372559 h 4687251"/>
              <a:gd name="connsiteX47878" fmla="*/ 3689892 w 8079933"/>
              <a:gd name="connsiteY47878" fmla="*/ 374832 h 4687251"/>
              <a:gd name="connsiteX47879" fmla="*/ 3689892 w 8079933"/>
              <a:gd name="connsiteY47879" fmla="*/ 378405 h 4687251"/>
              <a:gd name="connsiteX47880" fmla="*/ 3685876 w 8079933"/>
              <a:gd name="connsiteY47880" fmla="*/ 380896 h 4687251"/>
              <a:gd name="connsiteX47881" fmla="*/ 3677195 w 8079933"/>
              <a:gd name="connsiteY47881" fmla="*/ 383169 h 4687251"/>
              <a:gd name="connsiteX47882" fmla="*/ 3673180 w 8079933"/>
              <a:gd name="connsiteY47882" fmla="*/ 382194 h 4687251"/>
              <a:gd name="connsiteX47883" fmla="*/ 3668730 w 8079933"/>
              <a:gd name="connsiteY47883" fmla="*/ 383495 h 4687251"/>
              <a:gd name="connsiteX47884" fmla="*/ 3660158 w 8079933"/>
              <a:gd name="connsiteY47884" fmla="*/ 383495 h 4687251"/>
              <a:gd name="connsiteX47885" fmla="*/ 3657336 w 8079933"/>
              <a:gd name="connsiteY47885" fmla="*/ 380788 h 4687251"/>
              <a:gd name="connsiteX47886" fmla="*/ 3648112 w 8079933"/>
              <a:gd name="connsiteY47886" fmla="*/ 373749 h 4687251"/>
              <a:gd name="connsiteX47887" fmla="*/ 3642144 w 8079933"/>
              <a:gd name="connsiteY47887" fmla="*/ 373100 h 4687251"/>
              <a:gd name="connsiteX47888" fmla="*/ 3638671 w 8079933"/>
              <a:gd name="connsiteY47888" fmla="*/ 373100 h 4687251"/>
              <a:gd name="connsiteX47889" fmla="*/ 3634657 w 8079933"/>
              <a:gd name="connsiteY47889" fmla="*/ 376240 h 4687251"/>
              <a:gd name="connsiteX47890" fmla="*/ 3631727 w 8079933"/>
              <a:gd name="connsiteY47890" fmla="*/ 381979 h 4687251"/>
              <a:gd name="connsiteX47891" fmla="*/ 3626952 w 8079933"/>
              <a:gd name="connsiteY47891" fmla="*/ 384794 h 4687251"/>
              <a:gd name="connsiteX47892" fmla="*/ 3624999 w 8079933"/>
              <a:gd name="connsiteY47892" fmla="*/ 387284 h 4687251"/>
              <a:gd name="connsiteX47893" fmla="*/ 3621743 w 8079933"/>
              <a:gd name="connsiteY47893" fmla="*/ 387933 h 4687251"/>
              <a:gd name="connsiteX47894" fmla="*/ 3624131 w 8079933"/>
              <a:gd name="connsiteY47894" fmla="*/ 389232 h 4687251"/>
              <a:gd name="connsiteX47895" fmla="*/ 3627386 w 8079933"/>
              <a:gd name="connsiteY47895" fmla="*/ 389232 h 4687251"/>
              <a:gd name="connsiteX47896" fmla="*/ 3628362 w 8079933"/>
              <a:gd name="connsiteY47896" fmla="*/ 391722 h 4687251"/>
              <a:gd name="connsiteX47897" fmla="*/ 3628362 w 8079933"/>
              <a:gd name="connsiteY47897" fmla="*/ 395620 h 4687251"/>
              <a:gd name="connsiteX47898" fmla="*/ 3626626 w 8079933"/>
              <a:gd name="connsiteY47898" fmla="*/ 397028 h 4687251"/>
              <a:gd name="connsiteX47899" fmla="*/ 3623587 w 8079933"/>
              <a:gd name="connsiteY47899" fmla="*/ 397028 h 4687251"/>
              <a:gd name="connsiteX47900" fmla="*/ 3623587 w 8079933"/>
              <a:gd name="connsiteY47900" fmla="*/ 400384 h 4687251"/>
              <a:gd name="connsiteX47901" fmla="*/ 3625432 w 8079933"/>
              <a:gd name="connsiteY47901" fmla="*/ 402766 h 4687251"/>
              <a:gd name="connsiteX47902" fmla="*/ 3629665 w 8079933"/>
              <a:gd name="connsiteY47902" fmla="*/ 404498 h 4687251"/>
              <a:gd name="connsiteX47903" fmla="*/ 3632052 w 8079933"/>
              <a:gd name="connsiteY47903" fmla="*/ 403741 h 4687251"/>
              <a:gd name="connsiteX47904" fmla="*/ 3633246 w 8079933"/>
              <a:gd name="connsiteY47904" fmla="*/ 401467 h 4687251"/>
              <a:gd name="connsiteX47905" fmla="*/ 3638129 w 8079933"/>
              <a:gd name="connsiteY47905" fmla="*/ 398761 h 4687251"/>
              <a:gd name="connsiteX47906" fmla="*/ 3641276 w 8079933"/>
              <a:gd name="connsiteY47906" fmla="*/ 394754 h 4687251"/>
              <a:gd name="connsiteX47907" fmla="*/ 3646593 w 8079933"/>
              <a:gd name="connsiteY47907" fmla="*/ 392372 h 4687251"/>
              <a:gd name="connsiteX47908" fmla="*/ 3653430 w 8079933"/>
              <a:gd name="connsiteY47908" fmla="*/ 390531 h 4687251"/>
              <a:gd name="connsiteX47909" fmla="*/ 3659616 w 8079933"/>
              <a:gd name="connsiteY47909" fmla="*/ 388474 h 4687251"/>
              <a:gd name="connsiteX47910" fmla="*/ 3663196 w 8079933"/>
              <a:gd name="connsiteY47910" fmla="*/ 387825 h 4687251"/>
              <a:gd name="connsiteX47911" fmla="*/ 3665258 w 8079933"/>
              <a:gd name="connsiteY47911" fmla="*/ 389557 h 4687251"/>
              <a:gd name="connsiteX47912" fmla="*/ 3667212 w 8079933"/>
              <a:gd name="connsiteY47912" fmla="*/ 391181 h 4687251"/>
              <a:gd name="connsiteX47913" fmla="*/ 3671660 w 8079933"/>
              <a:gd name="connsiteY47913" fmla="*/ 392372 h 4687251"/>
              <a:gd name="connsiteX47914" fmla="*/ 3674591 w 8079933"/>
              <a:gd name="connsiteY47914" fmla="*/ 394863 h 4687251"/>
              <a:gd name="connsiteX47915" fmla="*/ 3675133 w 8079933"/>
              <a:gd name="connsiteY47915" fmla="*/ 396702 h 4687251"/>
              <a:gd name="connsiteX47916" fmla="*/ 3673723 w 8079933"/>
              <a:gd name="connsiteY47916" fmla="*/ 398219 h 4687251"/>
              <a:gd name="connsiteX47917" fmla="*/ 3668405 w 8079933"/>
              <a:gd name="connsiteY47917" fmla="*/ 402874 h 4687251"/>
              <a:gd name="connsiteX47918" fmla="*/ 3665801 w 8079933"/>
              <a:gd name="connsiteY47918" fmla="*/ 408396 h 4687251"/>
              <a:gd name="connsiteX47919" fmla="*/ 3662437 w 8079933"/>
              <a:gd name="connsiteY47919" fmla="*/ 412077 h 4687251"/>
              <a:gd name="connsiteX47920" fmla="*/ 3660809 w 8079933"/>
              <a:gd name="connsiteY47920" fmla="*/ 416084 h 4687251"/>
              <a:gd name="connsiteX47921" fmla="*/ 3654081 w 8079933"/>
              <a:gd name="connsiteY47921" fmla="*/ 421172 h 4687251"/>
              <a:gd name="connsiteX47922" fmla="*/ 3650283 w 8079933"/>
              <a:gd name="connsiteY47922" fmla="*/ 427344 h 4687251"/>
              <a:gd name="connsiteX47923" fmla="*/ 3642687 w 8079933"/>
              <a:gd name="connsiteY47923" fmla="*/ 438170 h 4687251"/>
              <a:gd name="connsiteX47924" fmla="*/ 3639539 w 8079933"/>
              <a:gd name="connsiteY47924" fmla="*/ 443151 h 4687251"/>
              <a:gd name="connsiteX47925" fmla="*/ 3636285 w 8079933"/>
              <a:gd name="connsiteY47925" fmla="*/ 446291 h 4687251"/>
              <a:gd name="connsiteX47926" fmla="*/ 3636285 w 8079933"/>
              <a:gd name="connsiteY47926" fmla="*/ 452462 h 4687251"/>
              <a:gd name="connsiteX47927" fmla="*/ 3634765 w 8079933"/>
              <a:gd name="connsiteY47927" fmla="*/ 457443 h 4687251"/>
              <a:gd name="connsiteX47928" fmla="*/ 3634765 w 8079933"/>
              <a:gd name="connsiteY47928" fmla="*/ 460475 h 4687251"/>
              <a:gd name="connsiteX47929" fmla="*/ 3631618 w 8079933"/>
              <a:gd name="connsiteY47929" fmla="*/ 463939 h 4687251"/>
              <a:gd name="connsiteX47930" fmla="*/ 3631618 w 8079933"/>
              <a:gd name="connsiteY47930" fmla="*/ 470111 h 4687251"/>
              <a:gd name="connsiteX47931" fmla="*/ 3629556 w 8079933"/>
              <a:gd name="connsiteY47931" fmla="*/ 476823 h 4687251"/>
              <a:gd name="connsiteX47932" fmla="*/ 3627277 w 8079933"/>
              <a:gd name="connsiteY47932" fmla="*/ 485052 h 4687251"/>
              <a:gd name="connsiteX47933" fmla="*/ 3629339 w 8079933"/>
              <a:gd name="connsiteY47933" fmla="*/ 488083 h 4687251"/>
              <a:gd name="connsiteX47934" fmla="*/ 3629990 w 8079933"/>
              <a:gd name="connsiteY47934" fmla="*/ 492847 h 4687251"/>
              <a:gd name="connsiteX47935" fmla="*/ 3628797 w 8079933"/>
              <a:gd name="connsiteY47935" fmla="*/ 499561 h 4687251"/>
              <a:gd name="connsiteX47936" fmla="*/ 3625324 w 8079933"/>
              <a:gd name="connsiteY47936" fmla="*/ 501942 h 4687251"/>
              <a:gd name="connsiteX47937" fmla="*/ 3622611 w 8079933"/>
              <a:gd name="connsiteY47937" fmla="*/ 504866 h 4687251"/>
              <a:gd name="connsiteX47938" fmla="*/ 3623696 w 8079933"/>
              <a:gd name="connsiteY47938" fmla="*/ 510279 h 4687251"/>
              <a:gd name="connsiteX47939" fmla="*/ 3622937 w 8079933"/>
              <a:gd name="connsiteY47939" fmla="*/ 512769 h 4687251"/>
              <a:gd name="connsiteX47940" fmla="*/ 3620549 w 8079933"/>
              <a:gd name="connsiteY47940" fmla="*/ 516125 h 4687251"/>
              <a:gd name="connsiteX47941" fmla="*/ 3619898 w 8079933"/>
              <a:gd name="connsiteY47941" fmla="*/ 521647 h 4687251"/>
              <a:gd name="connsiteX47942" fmla="*/ 3618053 w 8079933"/>
              <a:gd name="connsiteY47942" fmla="*/ 526952 h 4687251"/>
              <a:gd name="connsiteX47943" fmla="*/ 3614038 w 8079933"/>
              <a:gd name="connsiteY47943" fmla="*/ 530417 h 4687251"/>
              <a:gd name="connsiteX47944" fmla="*/ 3610892 w 8079933"/>
              <a:gd name="connsiteY47944" fmla="*/ 529768 h 4687251"/>
              <a:gd name="connsiteX47945" fmla="*/ 3609915 w 8079933"/>
              <a:gd name="connsiteY47945" fmla="*/ 526952 h 4687251"/>
              <a:gd name="connsiteX47946" fmla="*/ 3609915 w 8079933"/>
              <a:gd name="connsiteY47946" fmla="*/ 523812 h 4687251"/>
              <a:gd name="connsiteX47947" fmla="*/ 3607094 w 8079933"/>
              <a:gd name="connsiteY47947" fmla="*/ 521864 h 4687251"/>
              <a:gd name="connsiteX47948" fmla="*/ 3605249 w 8079933"/>
              <a:gd name="connsiteY47948" fmla="*/ 521864 h 4687251"/>
              <a:gd name="connsiteX47949" fmla="*/ 3608721 w 8079933"/>
              <a:gd name="connsiteY47949" fmla="*/ 519482 h 4687251"/>
              <a:gd name="connsiteX47950" fmla="*/ 3606985 w 8079933"/>
              <a:gd name="connsiteY47950" fmla="*/ 517425 h 4687251"/>
              <a:gd name="connsiteX47951" fmla="*/ 3604055 w 8079933"/>
              <a:gd name="connsiteY47951" fmla="*/ 516342 h 4687251"/>
              <a:gd name="connsiteX47952" fmla="*/ 3601776 w 8079933"/>
              <a:gd name="connsiteY47952" fmla="*/ 517750 h 4687251"/>
              <a:gd name="connsiteX47953" fmla="*/ 3599171 w 8079933"/>
              <a:gd name="connsiteY47953" fmla="*/ 517750 h 4687251"/>
              <a:gd name="connsiteX47954" fmla="*/ 3597327 w 8079933"/>
              <a:gd name="connsiteY47954" fmla="*/ 519699 h 4687251"/>
              <a:gd name="connsiteX47955" fmla="*/ 3597327 w 8079933"/>
              <a:gd name="connsiteY47955" fmla="*/ 521647 h 4687251"/>
              <a:gd name="connsiteX47956" fmla="*/ 3598846 w 8079933"/>
              <a:gd name="connsiteY47956" fmla="*/ 522730 h 4687251"/>
              <a:gd name="connsiteX47957" fmla="*/ 3598846 w 8079933"/>
              <a:gd name="connsiteY47957" fmla="*/ 525329 h 4687251"/>
              <a:gd name="connsiteX47958" fmla="*/ 3596893 w 8079933"/>
              <a:gd name="connsiteY47958" fmla="*/ 526952 h 4687251"/>
              <a:gd name="connsiteX47959" fmla="*/ 3596893 w 8079933"/>
              <a:gd name="connsiteY47959" fmla="*/ 528684 h 4687251"/>
              <a:gd name="connsiteX47960" fmla="*/ 3599606 w 8079933"/>
              <a:gd name="connsiteY47960" fmla="*/ 531392 h 4687251"/>
              <a:gd name="connsiteX47961" fmla="*/ 3602753 w 8079933"/>
              <a:gd name="connsiteY47961" fmla="*/ 532799 h 4687251"/>
              <a:gd name="connsiteX47962" fmla="*/ 3605249 w 8079933"/>
              <a:gd name="connsiteY47962" fmla="*/ 536047 h 4687251"/>
              <a:gd name="connsiteX47963" fmla="*/ 3607635 w 8079933"/>
              <a:gd name="connsiteY47963" fmla="*/ 538970 h 4687251"/>
              <a:gd name="connsiteX47964" fmla="*/ 3609047 w 8079933"/>
              <a:gd name="connsiteY47964" fmla="*/ 544384 h 4687251"/>
              <a:gd name="connsiteX47965" fmla="*/ 3613387 w 8079933"/>
              <a:gd name="connsiteY47965" fmla="*/ 545900 h 4687251"/>
              <a:gd name="connsiteX47966" fmla="*/ 3617185 w 8079933"/>
              <a:gd name="connsiteY47966" fmla="*/ 547740 h 4687251"/>
              <a:gd name="connsiteX47967" fmla="*/ 3621960 w 8079933"/>
              <a:gd name="connsiteY47967" fmla="*/ 552180 h 4687251"/>
              <a:gd name="connsiteX47968" fmla="*/ 3624131 w 8079933"/>
              <a:gd name="connsiteY47968" fmla="*/ 558027 h 4687251"/>
              <a:gd name="connsiteX47969" fmla="*/ 3622503 w 8079933"/>
              <a:gd name="connsiteY47969" fmla="*/ 560516 h 4687251"/>
              <a:gd name="connsiteX47970" fmla="*/ 3619790 w 8079933"/>
              <a:gd name="connsiteY47970" fmla="*/ 561166 h 4687251"/>
              <a:gd name="connsiteX47971" fmla="*/ 3616208 w 8079933"/>
              <a:gd name="connsiteY47971" fmla="*/ 558784 h 4687251"/>
              <a:gd name="connsiteX47972" fmla="*/ 3611217 w 8079933"/>
              <a:gd name="connsiteY47972" fmla="*/ 553587 h 4687251"/>
              <a:gd name="connsiteX47973" fmla="*/ 3610566 w 8079933"/>
              <a:gd name="connsiteY47973" fmla="*/ 551097 h 4687251"/>
              <a:gd name="connsiteX47974" fmla="*/ 3607962 w 8079933"/>
              <a:gd name="connsiteY47974" fmla="*/ 550230 h 4687251"/>
              <a:gd name="connsiteX47975" fmla="*/ 3606442 w 8079933"/>
              <a:gd name="connsiteY47975" fmla="*/ 548715 h 4687251"/>
              <a:gd name="connsiteX47976" fmla="*/ 3604597 w 8079933"/>
              <a:gd name="connsiteY47976" fmla="*/ 550230 h 4687251"/>
              <a:gd name="connsiteX47977" fmla="*/ 3603838 w 8079933"/>
              <a:gd name="connsiteY47977" fmla="*/ 552071 h 4687251"/>
              <a:gd name="connsiteX47978" fmla="*/ 3604814 w 8079933"/>
              <a:gd name="connsiteY47978" fmla="*/ 555211 h 4687251"/>
              <a:gd name="connsiteX47979" fmla="*/ 3606876 w 8079933"/>
              <a:gd name="connsiteY47979" fmla="*/ 558351 h 4687251"/>
              <a:gd name="connsiteX47980" fmla="*/ 3606876 w 8079933"/>
              <a:gd name="connsiteY47980" fmla="*/ 560516 h 4687251"/>
              <a:gd name="connsiteX47981" fmla="*/ 3603621 w 8079933"/>
              <a:gd name="connsiteY47981" fmla="*/ 559867 h 4687251"/>
              <a:gd name="connsiteX47982" fmla="*/ 3602536 w 8079933"/>
              <a:gd name="connsiteY47982" fmla="*/ 559217 h 4687251"/>
              <a:gd name="connsiteX47983" fmla="*/ 3601451 w 8079933"/>
              <a:gd name="connsiteY47983" fmla="*/ 560733 h 4687251"/>
              <a:gd name="connsiteX47984" fmla="*/ 3602753 w 8079933"/>
              <a:gd name="connsiteY47984" fmla="*/ 562573 h 4687251"/>
              <a:gd name="connsiteX47985" fmla="*/ 3605899 w 8079933"/>
              <a:gd name="connsiteY47985" fmla="*/ 564631 h 4687251"/>
              <a:gd name="connsiteX47986" fmla="*/ 3605899 w 8079933"/>
              <a:gd name="connsiteY47986" fmla="*/ 566147 h 4687251"/>
              <a:gd name="connsiteX47987" fmla="*/ 3604163 w 8079933"/>
              <a:gd name="connsiteY47987" fmla="*/ 567121 h 4687251"/>
              <a:gd name="connsiteX47988" fmla="*/ 3605682 w 8079933"/>
              <a:gd name="connsiteY47988" fmla="*/ 568745 h 4687251"/>
              <a:gd name="connsiteX47989" fmla="*/ 3608504 w 8079933"/>
              <a:gd name="connsiteY47989" fmla="*/ 568745 h 4687251"/>
              <a:gd name="connsiteX47990" fmla="*/ 3612845 w 8079933"/>
              <a:gd name="connsiteY47990" fmla="*/ 570261 h 4687251"/>
              <a:gd name="connsiteX47991" fmla="*/ 3613713 w 8079933"/>
              <a:gd name="connsiteY47991" fmla="*/ 572210 h 4687251"/>
              <a:gd name="connsiteX47992" fmla="*/ 3613713 w 8079933"/>
              <a:gd name="connsiteY47992" fmla="*/ 575674 h 4687251"/>
              <a:gd name="connsiteX47993" fmla="*/ 3613062 w 8079933"/>
              <a:gd name="connsiteY47993" fmla="*/ 577406 h 4687251"/>
              <a:gd name="connsiteX47994" fmla="*/ 3614798 w 8079933"/>
              <a:gd name="connsiteY47994" fmla="*/ 579030 h 4687251"/>
              <a:gd name="connsiteX47995" fmla="*/ 3617511 w 8079933"/>
              <a:gd name="connsiteY47995" fmla="*/ 577948 h 4687251"/>
              <a:gd name="connsiteX47996" fmla="*/ 3621743 w 8079933"/>
              <a:gd name="connsiteY47996" fmla="*/ 573400 h 4687251"/>
              <a:gd name="connsiteX47997" fmla="*/ 3623696 w 8079933"/>
              <a:gd name="connsiteY47997" fmla="*/ 570261 h 4687251"/>
              <a:gd name="connsiteX47998" fmla="*/ 3626735 w 8079933"/>
              <a:gd name="connsiteY47998" fmla="*/ 569719 h 4687251"/>
              <a:gd name="connsiteX47999" fmla="*/ 3626735 w 8079933"/>
              <a:gd name="connsiteY47999" fmla="*/ 571559 h 4687251"/>
              <a:gd name="connsiteX48000" fmla="*/ 3628037 w 8079933"/>
              <a:gd name="connsiteY48000" fmla="*/ 573509 h 4687251"/>
              <a:gd name="connsiteX48001" fmla="*/ 3629882 w 8079933"/>
              <a:gd name="connsiteY48001" fmla="*/ 573509 h 4687251"/>
              <a:gd name="connsiteX48002" fmla="*/ 3632595 w 8079933"/>
              <a:gd name="connsiteY48002" fmla="*/ 575782 h 4687251"/>
              <a:gd name="connsiteX48003" fmla="*/ 3636285 w 8079933"/>
              <a:gd name="connsiteY48003" fmla="*/ 577406 h 4687251"/>
              <a:gd name="connsiteX48004" fmla="*/ 3637478 w 8079933"/>
              <a:gd name="connsiteY48004" fmla="*/ 581196 h 4687251"/>
              <a:gd name="connsiteX48005" fmla="*/ 3637478 w 8079933"/>
              <a:gd name="connsiteY48005" fmla="*/ 584444 h 4687251"/>
              <a:gd name="connsiteX48006" fmla="*/ 3635958 w 8079933"/>
              <a:gd name="connsiteY48006" fmla="*/ 586285 h 4687251"/>
              <a:gd name="connsiteX48007" fmla="*/ 3635416 w 8079933"/>
              <a:gd name="connsiteY48007" fmla="*/ 592565 h 4687251"/>
              <a:gd name="connsiteX48008" fmla="*/ 3634223 w 8079933"/>
              <a:gd name="connsiteY48008" fmla="*/ 598087 h 4687251"/>
              <a:gd name="connsiteX48009" fmla="*/ 3634223 w 8079933"/>
              <a:gd name="connsiteY48009" fmla="*/ 600360 h 4687251"/>
              <a:gd name="connsiteX48010" fmla="*/ 3632378 w 8079933"/>
              <a:gd name="connsiteY48010" fmla="*/ 606532 h 4687251"/>
              <a:gd name="connsiteX48011" fmla="*/ 3630099 w 8079933"/>
              <a:gd name="connsiteY48011" fmla="*/ 609455 h 4687251"/>
              <a:gd name="connsiteX48012" fmla="*/ 3629448 w 8079933"/>
              <a:gd name="connsiteY48012" fmla="*/ 613569 h 4687251"/>
              <a:gd name="connsiteX48013" fmla="*/ 3628471 w 8079933"/>
              <a:gd name="connsiteY48013" fmla="*/ 615626 h 4687251"/>
              <a:gd name="connsiteX48014" fmla="*/ 3626952 w 8079933"/>
              <a:gd name="connsiteY48014" fmla="*/ 614543 h 4687251"/>
              <a:gd name="connsiteX48015" fmla="*/ 3624673 w 8079933"/>
              <a:gd name="connsiteY48015" fmla="*/ 610970 h 4687251"/>
              <a:gd name="connsiteX48016" fmla="*/ 3619790 w 8079933"/>
              <a:gd name="connsiteY48016" fmla="*/ 609238 h 4687251"/>
              <a:gd name="connsiteX48017" fmla="*/ 3617511 w 8079933"/>
              <a:gd name="connsiteY48017" fmla="*/ 606207 h 4687251"/>
              <a:gd name="connsiteX48018" fmla="*/ 3615340 w 8079933"/>
              <a:gd name="connsiteY48018" fmla="*/ 605449 h 4687251"/>
              <a:gd name="connsiteX48019" fmla="*/ 3613821 w 8079933"/>
              <a:gd name="connsiteY48019" fmla="*/ 606098 h 4687251"/>
              <a:gd name="connsiteX48020" fmla="*/ 3610132 w 8079933"/>
              <a:gd name="connsiteY48020" fmla="*/ 605232 h 4687251"/>
              <a:gd name="connsiteX48021" fmla="*/ 3609264 w 8079933"/>
              <a:gd name="connsiteY48021" fmla="*/ 603283 h 4687251"/>
              <a:gd name="connsiteX48022" fmla="*/ 3610023 w 8079933"/>
              <a:gd name="connsiteY48022" fmla="*/ 600143 h 4687251"/>
              <a:gd name="connsiteX48023" fmla="*/ 3607527 w 8079933"/>
              <a:gd name="connsiteY48023" fmla="*/ 597112 h 4687251"/>
              <a:gd name="connsiteX48024" fmla="*/ 3605357 w 8079933"/>
              <a:gd name="connsiteY48024" fmla="*/ 596463 h 4687251"/>
              <a:gd name="connsiteX48025" fmla="*/ 3603621 w 8079933"/>
              <a:gd name="connsiteY48025" fmla="*/ 597545 h 4687251"/>
              <a:gd name="connsiteX48026" fmla="*/ 3601342 w 8079933"/>
              <a:gd name="connsiteY48026" fmla="*/ 596679 h 4687251"/>
              <a:gd name="connsiteX48027" fmla="*/ 3598303 w 8079933"/>
              <a:gd name="connsiteY48027" fmla="*/ 593322 h 4687251"/>
              <a:gd name="connsiteX48028" fmla="*/ 3593963 w 8079933"/>
              <a:gd name="connsiteY48028" fmla="*/ 593322 h 4687251"/>
              <a:gd name="connsiteX48029" fmla="*/ 3590599 w 8079933"/>
              <a:gd name="connsiteY48029" fmla="*/ 594730 h 4687251"/>
              <a:gd name="connsiteX48030" fmla="*/ 3591792 w 8079933"/>
              <a:gd name="connsiteY48030" fmla="*/ 596245 h 4687251"/>
              <a:gd name="connsiteX48031" fmla="*/ 3591792 w 8079933"/>
              <a:gd name="connsiteY48031" fmla="*/ 598628 h 4687251"/>
              <a:gd name="connsiteX48032" fmla="*/ 3589514 w 8079933"/>
              <a:gd name="connsiteY48032" fmla="*/ 598628 h 4687251"/>
              <a:gd name="connsiteX48033" fmla="*/ 3587669 w 8079933"/>
              <a:gd name="connsiteY48033" fmla="*/ 597545 h 4687251"/>
              <a:gd name="connsiteX48034" fmla="*/ 3583219 w 8079933"/>
              <a:gd name="connsiteY48034" fmla="*/ 597545 h 4687251"/>
              <a:gd name="connsiteX48035" fmla="*/ 3580181 w 8079933"/>
              <a:gd name="connsiteY48035" fmla="*/ 598736 h 4687251"/>
              <a:gd name="connsiteX48036" fmla="*/ 3581266 w 8079933"/>
              <a:gd name="connsiteY48036" fmla="*/ 599818 h 4687251"/>
              <a:gd name="connsiteX48037" fmla="*/ 3584413 w 8079933"/>
              <a:gd name="connsiteY48037" fmla="*/ 599818 h 4687251"/>
              <a:gd name="connsiteX48038" fmla="*/ 3588429 w 8079933"/>
              <a:gd name="connsiteY48038" fmla="*/ 600901 h 4687251"/>
              <a:gd name="connsiteX48039" fmla="*/ 3589622 w 8079933"/>
              <a:gd name="connsiteY48039" fmla="*/ 602309 h 4687251"/>
              <a:gd name="connsiteX48040" fmla="*/ 3589622 w 8079933"/>
              <a:gd name="connsiteY48040" fmla="*/ 603716 h 4687251"/>
              <a:gd name="connsiteX48041" fmla="*/ 3586476 w 8079933"/>
              <a:gd name="connsiteY48041" fmla="*/ 604691 h 4687251"/>
              <a:gd name="connsiteX48042" fmla="*/ 3580832 w 8079933"/>
              <a:gd name="connsiteY48042" fmla="*/ 609779 h 4687251"/>
              <a:gd name="connsiteX48043" fmla="*/ 3577251 w 8079933"/>
              <a:gd name="connsiteY48043" fmla="*/ 612595 h 4687251"/>
              <a:gd name="connsiteX48044" fmla="*/ 3574647 w 8079933"/>
              <a:gd name="connsiteY48044" fmla="*/ 612053 h 4687251"/>
              <a:gd name="connsiteX48045" fmla="*/ 3573019 w 8079933"/>
              <a:gd name="connsiteY48045" fmla="*/ 609671 h 4687251"/>
              <a:gd name="connsiteX48046" fmla="*/ 3573019 w 8079933"/>
              <a:gd name="connsiteY48046" fmla="*/ 606640 h 4687251"/>
              <a:gd name="connsiteX48047" fmla="*/ 3571934 w 8079933"/>
              <a:gd name="connsiteY48047" fmla="*/ 605449 h 4687251"/>
              <a:gd name="connsiteX48048" fmla="*/ 3569438 w 8079933"/>
              <a:gd name="connsiteY48048" fmla="*/ 606532 h 4687251"/>
              <a:gd name="connsiteX48049" fmla="*/ 3569438 w 8079933"/>
              <a:gd name="connsiteY48049" fmla="*/ 609779 h 4687251"/>
              <a:gd name="connsiteX48050" fmla="*/ 3570415 w 8079933"/>
              <a:gd name="connsiteY48050" fmla="*/ 612595 h 4687251"/>
              <a:gd name="connsiteX48051" fmla="*/ 3568787 w 8079933"/>
              <a:gd name="connsiteY48051" fmla="*/ 614652 h 4687251"/>
              <a:gd name="connsiteX48052" fmla="*/ 3569980 w 8079933"/>
              <a:gd name="connsiteY48052" fmla="*/ 616708 h 4687251"/>
              <a:gd name="connsiteX48053" fmla="*/ 3570524 w 8079933"/>
              <a:gd name="connsiteY48053" fmla="*/ 619415 h 4687251"/>
              <a:gd name="connsiteX48054" fmla="*/ 3568896 w 8079933"/>
              <a:gd name="connsiteY48054" fmla="*/ 621581 h 4687251"/>
              <a:gd name="connsiteX48055" fmla="*/ 3570306 w 8079933"/>
              <a:gd name="connsiteY48055" fmla="*/ 623097 h 4687251"/>
              <a:gd name="connsiteX48056" fmla="*/ 3570306 w 8079933"/>
              <a:gd name="connsiteY48056" fmla="*/ 625696 h 4687251"/>
              <a:gd name="connsiteX48057" fmla="*/ 3568570 w 8079933"/>
              <a:gd name="connsiteY48057" fmla="*/ 626670 h 4687251"/>
              <a:gd name="connsiteX48058" fmla="*/ 3564012 w 8079933"/>
              <a:gd name="connsiteY48058" fmla="*/ 625154 h 4687251"/>
              <a:gd name="connsiteX48059" fmla="*/ 3561516 w 8079933"/>
              <a:gd name="connsiteY48059" fmla="*/ 625154 h 4687251"/>
              <a:gd name="connsiteX48060" fmla="*/ 3560323 w 8079933"/>
              <a:gd name="connsiteY48060" fmla="*/ 627428 h 4687251"/>
              <a:gd name="connsiteX48061" fmla="*/ 3563144 w 8079933"/>
              <a:gd name="connsiteY48061" fmla="*/ 629377 h 4687251"/>
              <a:gd name="connsiteX48062" fmla="*/ 3565965 w 8079933"/>
              <a:gd name="connsiteY48062" fmla="*/ 629377 h 4687251"/>
              <a:gd name="connsiteX48063" fmla="*/ 3571934 w 8079933"/>
              <a:gd name="connsiteY48063" fmla="*/ 629377 h 4687251"/>
              <a:gd name="connsiteX48064" fmla="*/ 3572693 w 8079933"/>
              <a:gd name="connsiteY48064" fmla="*/ 631001 h 4687251"/>
              <a:gd name="connsiteX48065" fmla="*/ 3572693 w 8079933"/>
              <a:gd name="connsiteY48065" fmla="*/ 634032 h 4687251"/>
              <a:gd name="connsiteX48066" fmla="*/ 3572693 w 8079933"/>
              <a:gd name="connsiteY48066" fmla="*/ 638254 h 4687251"/>
              <a:gd name="connsiteX48067" fmla="*/ 3573995 w 8079933"/>
              <a:gd name="connsiteY48067" fmla="*/ 638254 h 4687251"/>
              <a:gd name="connsiteX48068" fmla="*/ 3575515 w 8079933"/>
              <a:gd name="connsiteY48068" fmla="*/ 636089 h 4687251"/>
              <a:gd name="connsiteX48069" fmla="*/ 3580290 w 8079933"/>
              <a:gd name="connsiteY48069" fmla="*/ 635223 h 4687251"/>
              <a:gd name="connsiteX48070" fmla="*/ 3584739 w 8079933"/>
              <a:gd name="connsiteY48070" fmla="*/ 637064 h 4687251"/>
              <a:gd name="connsiteX48071" fmla="*/ 3586801 w 8079933"/>
              <a:gd name="connsiteY48071" fmla="*/ 638904 h 4687251"/>
              <a:gd name="connsiteX48072" fmla="*/ 3591901 w 8079933"/>
              <a:gd name="connsiteY48072" fmla="*/ 638904 h 4687251"/>
              <a:gd name="connsiteX48073" fmla="*/ 3595482 w 8079933"/>
              <a:gd name="connsiteY48073" fmla="*/ 639878 h 4687251"/>
              <a:gd name="connsiteX48074" fmla="*/ 3598195 w 8079933"/>
              <a:gd name="connsiteY48074" fmla="*/ 638904 h 4687251"/>
              <a:gd name="connsiteX48075" fmla="*/ 3600148 w 8079933"/>
              <a:gd name="connsiteY48075" fmla="*/ 637389 h 4687251"/>
              <a:gd name="connsiteX48076" fmla="*/ 3601884 w 8079933"/>
              <a:gd name="connsiteY48076" fmla="*/ 638254 h 4687251"/>
              <a:gd name="connsiteX48077" fmla="*/ 3601884 w 8079933"/>
              <a:gd name="connsiteY48077" fmla="*/ 640854 h 4687251"/>
              <a:gd name="connsiteX48078" fmla="*/ 3601884 w 8079933"/>
              <a:gd name="connsiteY48078" fmla="*/ 645292 h 4687251"/>
              <a:gd name="connsiteX48079" fmla="*/ 3601884 w 8079933"/>
              <a:gd name="connsiteY48079" fmla="*/ 647890 h 4687251"/>
              <a:gd name="connsiteX48080" fmla="*/ 3600908 w 8079933"/>
              <a:gd name="connsiteY48080" fmla="*/ 649406 h 4687251"/>
              <a:gd name="connsiteX48081" fmla="*/ 3598303 w 8079933"/>
              <a:gd name="connsiteY48081" fmla="*/ 650813 h 4687251"/>
              <a:gd name="connsiteX48082" fmla="*/ 3596350 w 8079933"/>
              <a:gd name="connsiteY48082" fmla="*/ 649406 h 4687251"/>
              <a:gd name="connsiteX48083" fmla="*/ 3593203 w 8079933"/>
              <a:gd name="connsiteY48083" fmla="*/ 648323 h 4687251"/>
              <a:gd name="connsiteX48084" fmla="*/ 3590165 w 8079933"/>
              <a:gd name="connsiteY48084" fmla="*/ 649839 h 4687251"/>
              <a:gd name="connsiteX48085" fmla="*/ 3587561 w 8079933"/>
              <a:gd name="connsiteY48085" fmla="*/ 650813 h 4687251"/>
              <a:gd name="connsiteX48086" fmla="*/ 3585281 w 8079933"/>
              <a:gd name="connsiteY48086" fmla="*/ 648864 h 4687251"/>
              <a:gd name="connsiteX48087" fmla="*/ 3579096 w 8079933"/>
              <a:gd name="connsiteY48087" fmla="*/ 649731 h 4687251"/>
              <a:gd name="connsiteX48088" fmla="*/ 3573995 w 8079933"/>
              <a:gd name="connsiteY48088" fmla="*/ 650813 h 4687251"/>
              <a:gd name="connsiteX48089" fmla="*/ 3571500 w 8079933"/>
              <a:gd name="connsiteY48089" fmla="*/ 650164 h 4687251"/>
              <a:gd name="connsiteX48090" fmla="*/ 3570524 w 8079933"/>
              <a:gd name="connsiteY48090" fmla="*/ 648431 h 4687251"/>
              <a:gd name="connsiteX48091" fmla="*/ 3569764 w 8079933"/>
              <a:gd name="connsiteY48091" fmla="*/ 650597 h 4687251"/>
              <a:gd name="connsiteX48092" fmla="*/ 3570740 w 8079933"/>
              <a:gd name="connsiteY48092" fmla="*/ 651680 h 4687251"/>
              <a:gd name="connsiteX48093" fmla="*/ 3571717 w 8079933"/>
              <a:gd name="connsiteY48093" fmla="*/ 653520 h 4687251"/>
              <a:gd name="connsiteX48094" fmla="*/ 3574430 w 8079933"/>
              <a:gd name="connsiteY48094" fmla="*/ 653520 h 4687251"/>
              <a:gd name="connsiteX48095" fmla="*/ 3577902 w 8079933"/>
              <a:gd name="connsiteY48095" fmla="*/ 652546 h 4687251"/>
              <a:gd name="connsiteX48096" fmla="*/ 3585499 w 8079933"/>
              <a:gd name="connsiteY48096" fmla="*/ 652546 h 4687251"/>
              <a:gd name="connsiteX48097" fmla="*/ 3588645 w 8079933"/>
              <a:gd name="connsiteY48097" fmla="*/ 654386 h 4687251"/>
              <a:gd name="connsiteX48098" fmla="*/ 3591142 w 8079933"/>
              <a:gd name="connsiteY48098" fmla="*/ 657093 h 4687251"/>
              <a:gd name="connsiteX48099" fmla="*/ 3593746 w 8079933"/>
              <a:gd name="connsiteY48099" fmla="*/ 657093 h 4687251"/>
              <a:gd name="connsiteX48100" fmla="*/ 3597001 w 8079933"/>
              <a:gd name="connsiteY48100" fmla="*/ 658176 h 4687251"/>
              <a:gd name="connsiteX48101" fmla="*/ 3599497 w 8079933"/>
              <a:gd name="connsiteY48101" fmla="*/ 660882 h 4687251"/>
              <a:gd name="connsiteX48102" fmla="*/ 3601993 w 8079933"/>
              <a:gd name="connsiteY48102" fmla="*/ 664888 h 4687251"/>
              <a:gd name="connsiteX48103" fmla="*/ 3605574 w 8079933"/>
              <a:gd name="connsiteY48103" fmla="*/ 668461 h 4687251"/>
              <a:gd name="connsiteX48104" fmla="*/ 3606334 w 8079933"/>
              <a:gd name="connsiteY48104" fmla="*/ 670519 h 4687251"/>
              <a:gd name="connsiteX48105" fmla="*/ 3605249 w 8079933"/>
              <a:gd name="connsiteY48105" fmla="*/ 670519 h 4687251"/>
              <a:gd name="connsiteX48106" fmla="*/ 3602427 w 8079933"/>
              <a:gd name="connsiteY48106" fmla="*/ 669761 h 4687251"/>
              <a:gd name="connsiteX48107" fmla="*/ 3600800 w 8079933"/>
              <a:gd name="connsiteY48107" fmla="*/ 668678 h 4687251"/>
              <a:gd name="connsiteX48108" fmla="*/ 3600800 w 8079933"/>
              <a:gd name="connsiteY48108" fmla="*/ 670194 h 4687251"/>
              <a:gd name="connsiteX48109" fmla="*/ 3600800 w 8079933"/>
              <a:gd name="connsiteY48109" fmla="*/ 672576 h 4687251"/>
              <a:gd name="connsiteX48110" fmla="*/ 3602644 w 8079933"/>
              <a:gd name="connsiteY48110" fmla="*/ 676149 h 4687251"/>
              <a:gd name="connsiteX48111" fmla="*/ 3602644 w 8079933"/>
              <a:gd name="connsiteY48111" fmla="*/ 681670 h 4687251"/>
              <a:gd name="connsiteX48112" fmla="*/ 3602644 w 8079933"/>
              <a:gd name="connsiteY48112" fmla="*/ 683727 h 4687251"/>
              <a:gd name="connsiteX48113" fmla="*/ 3603621 w 8079933"/>
              <a:gd name="connsiteY48113" fmla="*/ 687842 h 4687251"/>
              <a:gd name="connsiteX48114" fmla="*/ 3602969 w 8079933"/>
              <a:gd name="connsiteY48114" fmla="*/ 690441 h 4687251"/>
              <a:gd name="connsiteX48115" fmla="*/ 3601559 w 8079933"/>
              <a:gd name="connsiteY48115" fmla="*/ 693039 h 4687251"/>
              <a:gd name="connsiteX48116" fmla="*/ 3599063 w 8079933"/>
              <a:gd name="connsiteY48116" fmla="*/ 700726 h 4687251"/>
              <a:gd name="connsiteX48117" fmla="*/ 3596350 w 8079933"/>
              <a:gd name="connsiteY48117" fmla="*/ 703541 h 4687251"/>
              <a:gd name="connsiteX48118" fmla="*/ 3593854 w 8079933"/>
              <a:gd name="connsiteY48118" fmla="*/ 703541 h 4687251"/>
              <a:gd name="connsiteX48119" fmla="*/ 3591575 w 8079933"/>
              <a:gd name="connsiteY48119" fmla="*/ 701592 h 4687251"/>
              <a:gd name="connsiteX48120" fmla="*/ 3589622 w 8079933"/>
              <a:gd name="connsiteY48120" fmla="*/ 697802 h 4687251"/>
              <a:gd name="connsiteX48121" fmla="*/ 3592443 w 8079933"/>
              <a:gd name="connsiteY48121" fmla="*/ 695312 h 4687251"/>
              <a:gd name="connsiteX48122" fmla="*/ 3591467 w 8079933"/>
              <a:gd name="connsiteY48122" fmla="*/ 693147 h 4687251"/>
              <a:gd name="connsiteX48123" fmla="*/ 3588971 w 8079933"/>
              <a:gd name="connsiteY48123" fmla="*/ 692498 h 4687251"/>
              <a:gd name="connsiteX48124" fmla="*/ 3587126 w 8079933"/>
              <a:gd name="connsiteY48124" fmla="*/ 693580 h 4687251"/>
              <a:gd name="connsiteX48125" fmla="*/ 3584413 w 8079933"/>
              <a:gd name="connsiteY48125" fmla="*/ 692931 h 4687251"/>
              <a:gd name="connsiteX48126" fmla="*/ 3579096 w 8079933"/>
              <a:gd name="connsiteY48126" fmla="*/ 686651 h 4687251"/>
              <a:gd name="connsiteX48127" fmla="*/ 3574647 w 8079933"/>
              <a:gd name="connsiteY48127" fmla="*/ 683403 h 4687251"/>
              <a:gd name="connsiteX48128" fmla="*/ 3570632 w 8079933"/>
              <a:gd name="connsiteY48128" fmla="*/ 679722 h 4687251"/>
              <a:gd name="connsiteX48129" fmla="*/ 3570632 w 8079933"/>
              <a:gd name="connsiteY48129" fmla="*/ 677123 h 4687251"/>
              <a:gd name="connsiteX48130" fmla="*/ 3569004 w 8079933"/>
              <a:gd name="connsiteY48130" fmla="*/ 673333 h 4687251"/>
              <a:gd name="connsiteX48131" fmla="*/ 3563578 w 8079933"/>
              <a:gd name="connsiteY48131" fmla="*/ 667271 h 4687251"/>
              <a:gd name="connsiteX48132" fmla="*/ 3561299 w 8079933"/>
              <a:gd name="connsiteY48132" fmla="*/ 665863 h 4687251"/>
              <a:gd name="connsiteX48133" fmla="*/ 3560431 w 8079933"/>
              <a:gd name="connsiteY48133" fmla="*/ 665863 h 4687251"/>
              <a:gd name="connsiteX48134" fmla="*/ 3560431 w 8079933"/>
              <a:gd name="connsiteY48134" fmla="*/ 667379 h 4687251"/>
              <a:gd name="connsiteX48135" fmla="*/ 3561516 w 8079933"/>
              <a:gd name="connsiteY48135" fmla="*/ 669219 h 4687251"/>
              <a:gd name="connsiteX48136" fmla="*/ 3565531 w 8079933"/>
              <a:gd name="connsiteY48136" fmla="*/ 673659 h 4687251"/>
              <a:gd name="connsiteX48137" fmla="*/ 3565531 w 8079933"/>
              <a:gd name="connsiteY48137" fmla="*/ 676149 h 4687251"/>
              <a:gd name="connsiteX48138" fmla="*/ 3564338 w 8079933"/>
              <a:gd name="connsiteY48138" fmla="*/ 677990 h 4687251"/>
              <a:gd name="connsiteX48139" fmla="*/ 3558803 w 8079933"/>
              <a:gd name="connsiteY48139" fmla="*/ 677990 h 4687251"/>
              <a:gd name="connsiteX48140" fmla="*/ 3555982 w 8079933"/>
              <a:gd name="connsiteY48140" fmla="*/ 675607 h 4687251"/>
              <a:gd name="connsiteX48141" fmla="*/ 3553703 w 8079933"/>
              <a:gd name="connsiteY48141" fmla="*/ 671384 h 4687251"/>
              <a:gd name="connsiteX48142" fmla="*/ 3551750 w 8079933"/>
              <a:gd name="connsiteY48142" fmla="*/ 668894 h 4687251"/>
              <a:gd name="connsiteX48143" fmla="*/ 3551750 w 8079933"/>
              <a:gd name="connsiteY48143" fmla="*/ 671602 h 4687251"/>
              <a:gd name="connsiteX48144" fmla="*/ 3551750 w 8079933"/>
              <a:gd name="connsiteY48144" fmla="*/ 674416 h 4687251"/>
              <a:gd name="connsiteX48145" fmla="*/ 3555440 w 8079933"/>
              <a:gd name="connsiteY48145" fmla="*/ 678855 h 4687251"/>
              <a:gd name="connsiteX48146" fmla="*/ 3562384 w 8079933"/>
              <a:gd name="connsiteY48146" fmla="*/ 681670 h 4687251"/>
              <a:gd name="connsiteX48147" fmla="*/ 3568461 w 8079933"/>
              <a:gd name="connsiteY48147" fmla="*/ 681670 h 4687251"/>
              <a:gd name="connsiteX48148" fmla="*/ 3574972 w 8079933"/>
              <a:gd name="connsiteY48148" fmla="*/ 686651 h 4687251"/>
              <a:gd name="connsiteX48149" fmla="*/ 3583545 w 8079933"/>
              <a:gd name="connsiteY48149" fmla="*/ 695529 h 4687251"/>
              <a:gd name="connsiteX48150" fmla="*/ 3584522 w 8079933"/>
              <a:gd name="connsiteY48150" fmla="*/ 698128 h 4687251"/>
              <a:gd name="connsiteX48151" fmla="*/ 3583219 w 8079933"/>
              <a:gd name="connsiteY48151" fmla="*/ 700293 h 4687251"/>
              <a:gd name="connsiteX48152" fmla="*/ 3581158 w 8079933"/>
              <a:gd name="connsiteY48152" fmla="*/ 700293 h 4687251"/>
              <a:gd name="connsiteX48153" fmla="*/ 3578445 w 8079933"/>
              <a:gd name="connsiteY48153" fmla="*/ 698453 h 4687251"/>
              <a:gd name="connsiteX48154" fmla="*/ 3574322 w 8079933"/>
              <a:gd name="connsiteY48154" fmla="*/ 698453 h 4687251"/>
              <a:gd name="connsiteX48155" fmla="*/ 3571392 w 8079933"/>
              <a:gd name="connsiteY48155" fmla="*/ 699968 h 4687251"/>
              <a:gd name="connsiteX48156" fmla="*/ 3567159 w 8079933"/>
              <a:gd name="connsiteY48156" fmla="*/ 704083 h 4687251"/>
              <a:gd name="connsiteX48157" fmla="*/ 3564229 w 8079933"/>
              <a:gd name="connsiteY48157" fmla="*/ 704083 h 4687251"/>
              <a:gd name="connsiteX48158" fmla="*/ 3560648 w 8079933"/>
              <a:gd name="connsiteY48158" fmla="*/ 702459 h 4687251"/>
              <a:gd name="connsiteX48159" fmla="*/ 3559454 w 8079933"/>
              <a:gd name="connsiteY48159" fmla="*/ 699427 h 4687251"/>
              <a:gd name="connsiteX48160" fmla="*/ 3560323 w 8079933"/>
              <a:gd name="connsiteY48160" fmla="*/ 697694 h 4687251"/>
              <a:gd name="connsiteX48161" fmla="*/ 3559454 w 8079933"/>
              <a:gd name="connsiteY48161" fmla="*/ 695963 h 4687251"/>
              <a:gd name="connsiteX48162" fmla="*/ 3556308 w 8079933"/>
              <a:gd name="connsiteY48162" fmla="*/ 693688 h 4687251"/>
              <a:gd name="connsiteX48163" fmla="*/ 3556308 w 8079933"/>
              <a:gd name="connsiteY48163" fmla="*/ 696504 h 4687251"/>
              <a:gd name="connsiteX48164" fmla="*/ 3557718 w 8079933"/>
              <a:gd name="connsiteY48164" fmla="*/ 698886 h 4687251"/>
              <a:gd name="connsiteX48165" fmla="*/ 3558586 w 8079933"/>
              <a:gd name="connsiteY48165" fmla="*/ 703541 h 4687251"/>
              <a:gd name="connsiteX48166" fmla="*/ 3559888 w 8079933"/>
              <a:gd name="connsiteY48166" fmla="*/ 706248 h 4687251"/>
              <a:gd name="connsiteX48167" fmla="*/ 3564121 w 8079933"/>
              <a:gd name="connsiteY48167" fmla="*/ 707114 h 4687251"/>
              <a:gd name="connsiteX48168" fmla="*/ 3568787 w 8079933"/>
              <a:gd name="connsiteY48168" fmla="*/ 706140 h 4687251"/>
              <a:gd name="connsiteX48169" fmla="*/ 3572693 w 8079933"/>
              <a:gd name="connsiteY48169" fmla="*/ 701376 h 4687251"/>
              <a:gd name="connsiteX48170" fmla="*/ 3575190 w 8079933"/>
              <a:gd name="connsiteY48170" fmla="*/ 701376 h 4687251"/>
              <a:gd name="connsiteX48171" fmla="*/ 3580724 w 8079933"/>
              <a:gd name="connsiteY48171" fmla="*/ 704083 h 4687251"/>
              <a:gd name="connsiteX48172" fmla="*/ 3580724 w 8079933"/>
              <a:gd name="connsiteY48172" fmla="*/ 707222 h 4687251"/>
              <a:gd name="connsiteX48173" fmla="*/ 3579747 w 8079933"/>
              <a:gd name="connsiteY48173" fmla="*/ 708630 h 4687251"/>
              <a:gd name="connsiteX48174" fmla="*/ 3578662 w 8079933"/>
              <a:gd name="connsiteY48174" fmla="*/ 716534 h 4687251"/>
              <a:gd name="connsiteX48175" fmla="*/ 3576926 w 8079933"/>
              <a:gd name="connsiteY48175" fmla="*/ 719240 h 4687251"/>
              <a:gd name="connsiteX48176" fmla="*/ 3574647 w 8079933"/>
              <a:gd name="connsiteY48176" fmla="*/ 719240 h 4687251"/>
              <a:gd name="connsiteX48177" fmla="*/ 3574647 w 8079933"/>
              <a:gd name="connsiteY48177" fmla="*/ 721189 h 4687251"/>
              <a:gd name="connsiteX48178" fmla="*/ 3576600 w 8079933"/>
              <a:gd name="connsiteY48178" fmla="*/ 723030 h 4687251"/>
              <a:gd name="connsiteX48179" fmla="*/ 3578988 w 8079933"/>
              <a:gd name="connsiteY48179" fmla="*/ 721514 h 4687251"/>
              <a:gd name="connsiteX48180" fmla="*/ 3583979 w 8079933"/>
              <a:gd name="connsiteY48180" fmla="*/ 722597 h 4687251"/>
              <a:gd name="connsiteX48181" fmla="*/ 3587561 w 8079933"/>
              <a:gd name="connsiteY48181" fmla="*/ 726820 h 4687251"/>
              <a:gd name="connsiteX48182" fmla="*/ 3592878 w 8079933"/>
              <a:gd name="connsiteY48182" fmla="*/ 729526 h 4687251"/>
              <a:gd name="connsiteX48183" fmla="*/ 3594397 w 8079933"/>
              <a:gd name="connsiteY48183" fmla="*/ 727794 h 4687251"/>
              <a:gd name="connsiteX48184" fmla="*/ 3597544 w 8079933"/>
              <a:gd name="connsiteY48184" fmla="*/ 725953 h 4687251"/>
              <a:gd name="connsiteX48185" fmla="*/ 3601884 w 8079933"/>
              <a:gd name="connsiteY48185" fmla="*/ 726494 h 4687251"/>
              <a:gd name="connsiteX48186" fmla="*/ 3601884 w 8079933"/>
              <a:gd name="connsiteY48186" fmla="*/ 728335 h 4687251"/>
              <a:gd name="connsiteX48187" fmla="*/ 3600256 w 8079933"/>
              <a:gd name="connsiteY48187" fmla="*/ 731042 h 4687251"/>
              <a:gd name="connsiteX48188" fmla="*/ 3600908 w 8079933"/>
              <a:gd name="connsiteY48188" fmla="*/ 734832 h 4687251"/>
              <a:gd name="connsiteX48189" fmla="*/ 3602861 w 8079933"/>
              <a:gd name="connsiteY48189" fmla="*/ 737538 h 4687251"/>
              <a:gd name="connsiteX48190" fmla="*/ 3601233 w 8079933"/>
              <a:gd name="connsiteY48190" fmla="*/ 741436 h 4687251"/>
              <a:gd name="connsiteX48191" fmla="*/ 3597001 w 8079933"/>
              <a:gd name="connsiteY48191" fmla="*/ 748148 h 4687251"/>
              <a:gd name="connsiteX48192" fmla="*/ 3591683 w 8079933"/>
              <a:gd name="connsiteY48192" fmla="*/ 750964 h 4687251"/>
              <a:gd name="connsiteX48193" fmla="*/ 3589405 w 8079933"/>
              <a:gd name="connsiteY48193" fmla="*/ 750097 h 4687251"/>
              <a:gd name="connsiteX48194" fmla="*/ 3588754 w 8079933"/>
              <a:gd name="connsiteY48194" fmla="*/ 747174 h 4687251"/>
              <a:gd name="connsiteX48195" fmla="*/ 3586149 w 8079933"/>
              <a:gd name="connsiteY48195" fmla="*/ 745442 h 4687251"/>
              <a:gd name="connsiteX48196" fmla="*/ 3584630 w 8079933"/>
              <a:gd name="connsiteY48196" fmla="*/ 741977 h 4687251"/>
              <a:gd name="connsiteX48197" fmla="*/ 3584630 w 8079933"/>
              <a:gd name="connsiteY48197" fmla="*/ 738512 h 4687251"/>
              <a:gd name="connsiteX48198" fmla="*/ 3579422 w 8079933"/>
              <a:gd name="connsiteY48198" fmla="*/ 734723 h 4687251"/>
              <a:gd name="connsiteX48199" fmla="*/ 3575515 w 8079933"/>
              <a:gd name="connsiteY48199" fmla="*/ 733532 h 4687251"/>
              <a:gd name="connsiteX48200" fmla="*/ 3571825 w 8079933"/>
              <a:gd name="connsiteY48200" fmla="*/ 731042 h 4687251"/>
              <a:gd name="connsiteX48201" fmla="*/ 3568570 w 8079933"/>
              <a:gd name="connsiteY48201" fmla="*/ 730501 h 4687251"/>
              <a:gd name="connsiteX48202" fmla="*/ 3565423 w 8079933"/>
              <a:gd name="connsiteY48202" fmla="*/ 732558 h 4687251"/>
              <a:gd name="connsiteX48203" fmla="*/ 3562276 w 8079933"/>
              <a:gd name="connsiteY48203" fmla="*/ 732558 h 4687251"/>
              <a:gd name="connsiteX48204" fmla="*/ 3560539 w 8079933"/>
              <a:gd name="connsiteY48204" fmla="*/ 731150 h 4687251"/>
              <a:gd name="connsiteX48205" fmla="*/ 3558912 w 8079933"/>
              <a:gd name="connsiteY48205" fmla="*/ 727902 h 4687251"/>
              <a:gd name="connsiteX48206" fmla="*/ 3556525 w 8079933"/>
              <a:gd name="connsiteY48206" fmla="*/ 725195 h 4687251"/>
              <a:gd name="connsiteX48207" fmla="*/ 3554897 w 8079933"/>
              <a:gd name="connsiteY48207" fmla="*/ 725195 h 4687251"/>
              <a:gd name="connsiteX48208" fmla="*/ 3554897 w 8079933"/>
              <a:gd name="connsiteY48208" fmla="*/ 727036 h 4687251"/>
              <a:gd name="connsiteX48209" fmla="*/ 3556308 w 8079933"/>
              <a:gd name="connsiteY48209" fmla="*/ 729743 h 4687251"/>
              <a:gd name="connsiteX48210" fmla="*/ 3556308 w 8079933"/>
              <a:gd name="connsiteY48210" fmla="*/ 734723 h 4687251"/>
              <a:gd name="connsiteX48211" fmla="*/ 3554788 w 8079933"/>
              <a:gd name="connsiteY48211" fmla="*/ 737863 h 4687251"/>
              <a:gd name="connsiteX48212" fmla="*/ 3552075 w 8079933"/>
              <a:gd name="connsiteY48212" fmla="*/ 739487 h 4687251"/>
              <a:gd name="connsiteX48213" fmla="*/ 3548602 w 8079933"/>
              <a:gd name="connsiteY48213" fmla="*/ 739487 h 4687251"/>
              <a:gd name="connsiteX48214" fmla="*/ 3546541 w 8079933"/>
              <a:gd name="connsiteY48214" fmla="*/ 740678 h 4687251"/>
              <a:gd name="connsiteX48215" fmla="*/ 3549037 w 8079933"/>
              <a:gd name="connsiteY48215" fmla="*/ 741544 h 4687251"/>
              <a:gd name="connsiteX48216" fmla="*/ 3550556 w 8079933"/>
              <a:gd name="connsiteY48216" fmla="*/ 743493 h 4687251"/>
              <a:gd name="connsiteX48217" fmla="*/ 3550556 w 8079933"/>
              <a:gd name="connsiteY48217" fmla="*/ 746200 h 4687251"/>
              <a:gd name="connsiteX48218" fmla="*/ 3546975 w 8079933"/>
              <a:gd name="connsiteY48218" fmla="*/ 751180 h 4687251"/>
              <a:gd name="connsiteX48219" fmla="*/ 3544587 w 8079933"/>
              <a:gd name="connsiteY48219" fmla="*/ 752587 h 4687251"/>
              <a:gd name="connsiteX48220" fmla="*/ 3544587 w 8079933"/>
              <a:gd name="connsiteY48220" fmla="*/ 753887 h 4687251"/>
              <a:gd name="connsiteX48221" fmla="*/ 3545673 w 8079933"/>
              <a:gd name="connsiteY48221" fmla="*/ 755728 h 4687251"/>
              <a:gd name="connsiteX48222" fmla="*/ 3547952 w 8079933"/>
              <a:gd name="connsiteY48222" fmla="*/ 757244 h 4687251"/>
              <a:gd name="connsiteX48223" fmla="*/ 3549471 w 8079933"/>
              <a:gd name="connsiteY48223" fmla="*/ 762224 h 4687251"/>
              <a:gd name="connsiteX48224" fmla="*/ 3552075 w 8079933"/>
              <a:gd name="connsiteY48224" fmla="*/ 763523 h 4687251"/>
              <a:gd name="connsiteX48225" fmla="*/ 3553052 w 8079933"/>
              <a:gd name="connsiteY48225" fmla="*/ 768070 h 4687251"/>
              <a:gd name="connsiteX48226" fmla="*/ 3551967 w 8079933"/>
              <a:gd name="connsiteY48226" fmla="*/ 773484 h 4687251"/>
              <a:gd name="connsiteX48227" fmla="*/ 3552618 w 8079933"/>
              <a:gd name="connsiteY48227" fmla="*/ 775216 h 4687251"/>
              <a:gd name="connsiteX48228" fmla="*/ 3554028 w 8079933"/>
              <a:gd name="connsiteY48228" fmla="*/ 771427 h 4687251"/>
              <a:gd name="connsiteX48229" fmla="*/ 3555657 w 8079933"/>
              <a:gd name="connsiteY48229" fmla="*/ 768612 h 4687251"/>
              <a:gd name="connsiteX48230" fmla="*/ 3555657 w 8079933"/>
              <a:gd name="connsiteY48230" fmla="*/ 765364 h 4687251"/>
              <a:gd name="connsiteX48231" fmla="*/ 3554028 w 8079933"/>
              <a:gd name="connsiteY48231" fmla="*/ 763848 h 4687251"/>
              <a:gd name="connsiteX48232" fmla="*/ 3554028 w 8079933"/>
              <a:gd name="connsiteY48232" fmla="*/ 759625 h 4687251"/>
              <a:gd name="connsiteX48233" fmla="*/ 3555548 w 8079933"/>
              <a:gd name="connsiteY48233" fmla="*/ 756377 h 4687251"/>
              <a:gd name="connsiteX48234" fmla="*/ 3557067 w 8079933"/>
              <a:gd name="connsiteY48234" fmla="*/ 756377 h 4687251"/>
              <a:gd name="connsiteX48235" fmla="*/ 3558478 w 8079933"/>
              <a:gd name="connsiteY48235" fmla="*/ 759301 h 4687251"/>
              <a:gd name="connsiteX48236" fmla="*/ 3560648 w 8079933"/>
              <a:gd name="connsiteY48236" fmla="*/ 761141 h 4687251"/>
              <a:gd name="connsiteX48237" fmla="*/ 3562493 w 8079933"/>
              <a:gd name="connsiteY48237" fmla="*/ 764281 h 4687251"/>
              <a:gd name="connsiteX48238" fmla="*/ 3565640 w 8079933"/>
              <a:gd name="connsiteY48238" fmla="*/ 766663 h 4687251"/>
              <a:gd name="connsiteX48239" fmla="*/ 3567159 w 8079933"/>
              <a:gd name="connsiteY48239" fmla="*/ 765580 h 4687251"/>
              <a:gd name="connsiteX48240" fmla="*/ 3569112 w 8079933"/>
              <a:gd name="connsiteY48240" fmla="*/ 765580 h 4687251"/>
              <a:gd name="connsiteX48241" fmla="*/ 3570632 w 8079933"/>
              <a:gd name="connsiteY48241" fmla="*/ 766771 h 4687251"/>
              <a:gd name="connsiteX48242" fmla="*/ 3571934 w 8079933"/>
              <a:gd name="connsiteY48242" fmla="*/ 765364 h 4687251"/>
              <a:gd name="connsiteX48243" fmla="*/ 3575840 w 8079933"/>
              <a:gd name="connsiteY48243" fmla="*/ 763956 h 4687251"/>
              <a:gd name="connsiteX48244" fmla="*/ 3579096 w 8079933"/>
              <a:gd name="connsiteY48244" fmla="*/ 764606 h 4687251"/>
              <a:gd name="connsiteX48245" fmla="*/ 3580181 w 8079933"/>
              <a:gd name="connsiteY48245" fmla="*/ 766554 h 4687251"/>
              <a:gd name="connsiteX48246" fmla="*/ 3580181 w 8079933"/>
              <a:gd name="connsiteY48246" fmla="*/ 769695 h 4687251"/>
              <a:gd name="connsiteX48247" fmla="*/ 3577034 w 8079933"/>
              <a:gd name="connsiteY48247" fmla="*/ 775216 h 4687251"/>
              <a:gd name="connsiteX48248" fmla="*/ 3575298 w 8079933"/>
              <a:gd name="connsiteY48248" fmla="*/ 778464 h 4687251"/>
              <a:gd name="connsiteX48249" fmla="*/ 3575298 w 8079933"/>
              <a:gd name="connsiteY48249" fmla="*/ 782795 h 4687251"/>
              <a:gd name="connsiteX48250" fmla="*/ 3574647 w 8079933"/>
              <a:gd name="connsiteY48250" fmla="*/ 788317 h 4687251"/>
              <a:gd name="connsiteX48251" fmla="*/ 3573453 w 8079933"/>
              <a:gd name="connsiteY48251" fmla="*/ 789941 h 4687251"/>
              <a:gd name="connsiteX48252" fmla="*/ 3569221 w 8079933"/>
              <a:gd name="connsiteY48252" fmla="*/ 789941 h 4687251"/>
              <a:gd name="connsiteX48253" fmla="*/ 3564772 w 8079933"/>
              <a:gd name="connsiteY48253" fmla="*/ 791240 h 4687251"/>
              <a:gd name="connsiteX48254" fmla="*/ 3561408 w 8079933"/>
              <a:gd name="connsiteY48254" fmla="*/ 790374 h 4687251"/>
              <a:gd name="connsiteX48255" fmla="*/ 3558586 w 8079933"/>
              <a:gd name="connsiteY48255" fmla="*/ 789075 h 4687251"/>
              <a:gd name="connsiteX48256" fmla="*/ 3556090 w 8079933"/>
              <a:gd name="connsiteY48256" fmla="*/ 789075 h 4687251"/>
              <a:gd name="connsiteX48257" fmla="*/ 3553269 w 8079933"/>
              <a:gd name="connsiteY48257" fmla="*/ 791132 h 4687251"/>
              <a:gd name="connsiteX48258" fmla="*/ 3553269 w 8079933"/>
              <a:gd name="connsiteY48258" fmla="*/ 793947 h 4687251"/>
              <a:gd name="connsiteX48259" fmla="*/ 3550990 w 8079933"/>
              <a:gd name="connsiteY48259" fmla="*/ 795896 h 4687251"/>
              <a:gd name="connsiteX48260" fmla="*/ 3547952 w 8079933"/>
              <a:gd name="connsiteY48260" fmla="*/ 795896 h 4687251"/>
              <a:gd name="connsiteX48261" fmla="*/ 3545999 w 8079933"/>
              <a:gd name="connsiteY48261" fmla="*/ 795896 h 4687251"/>
              <a:gd name="connsiteX48262" fmla="*/ 3544045 w 8079933"/>
              <a:gd name="connsiteY48262" fmla="*/ 799036 h 4687251"/>
              <a:gd name="connsiteX48263" fmla="*/ 3543394 w 8079933"/>
              <a:gd name="connsiteY48263" fmla="*/ 800985 h 4687251"/>
              <a:gd name="connsiteX48264" fmla="*/ 3540247 w 8079933"/>
              <a:gd name="connsiteY48264" fmla="*/ 801743 h 4687251"/>
              <a:gd name="connsiteX48265" fmla="*/ 3537751 w 8079933"/>
              <a:gd name="connsiteY48265" fmla="*/ 801093 h 4687251"/>
              <a:gd name="connsiteX48266" fmla="*/ 3533845 w 8079933"/>
              <a:gd name="connsiteY48266" fmla="*/ 798278 h 4687251"/>
              <a:gd name="connsiteX48267" fmla="*/ 3527334 w 8079933"/>
              <a:gd name="connsiteY48267" fmla="*/ 794597 h 4687251"/>
              <a:gd name="connsiteX48268" fmla="*/ 3523318 w 8079933"/>
              <a:gd name="connsiteY48268" fmla="*/ 790374 h 4687251"/>
              <a:gd name="connsiteX48269" fmla="*/ 3513769 w 8079933"/>
              <a:gd name="connsiteY48269" fmla="*/ 781388 h 4687251"/>
              <a:gd name="connsiteX48270" fmla="*/ 3512141 w 8079933"/>
              <a:gd name="connsiteY48270" fmla="*/ 777707 h 4687251"/>
              <a:gd name="connsiteX48271" fmla="*/ 3512141 w 8079933"/>
              <a:gd name="connsiteY48271" fmla="*/ 775108 h 4687251"/>
              <a:gd name="connsiteX48272" fmla="*/ 3513660 w 8079933"/>
              <a:gd name="connsiteY48272" fmla="*/ 773701 h 4687251"/>
              <a:gd name="connsiteX48273" fmla="*/ 3516156 w 8079933"/>
              <a:gd name="connsiteY48273" fmla="*/ 773701 h 4687251"/>
              <a:gd name="connsiteX48274" fmla="*/ 3517242 w 8079933"/>
              <a:gd name="connsiteY48274" fmla="*/ 774675 h 4687251"/>
              <a:gd name="connsiteX48275" fmla="*/ 3519629 w 8079933"/>
              <a:gd name="connsiteY48275" fmla="*/ 776082 h 4687251"/>
              <a:gd name="connsiteX48276" fmla="*/ 3527767 w 8079933"/>
              <a:gd name="connsiteY48276" fmla="*/ 779980 h 4687251"/>
              <a:gd name="connsiteX48277" fmla="*/ 3532217 w 8079933"/>
              <a:gd name="connsiteY48277" fmla="*/ 783986 h 4687251"/>
              <a:gd name="connsiteX48278" fmla="*/ 3533736 w 8079933"/>
              <a:gd name="connsiteY48278" fmla="*/ 783336 h 4687251"/>
              <a:gd name="connsiteX48279" fmla="*/ 3539921 w 8079933"/>
              <a:gd name="connsiteY48279" fmla="*/ 782254 h 4687251"/>
              <a:gd name="connsiteX48280" fmla="*/ 3539921 w 8079933"/>
              <a:gd name="connsiteY48280" fmla="*/ 780197 h 4687251"/>
              <a:gd name="connsiteX48281" fmla="*/ 3538076 w 8079933"/>
              <a:gd name="connsiteY48281" fmla="*/ 778681 h 4687251"/>
              <a:gd name="connsiteX48282" fmla="*/ 3536123 w 8079933"/>
              <a:gd name="connsiteY48282" fmla="*/ 778681 h 4687251"/>
              <a:gd name="connsiteX48283" fmla="*/ 3533845 w 8079933"/>
              <a:gd name="connsiteY48283" fmla="*/ 780089 h 4687251"/>
              <a:gd name="connsiteX48284" fmla="*/ 3530047 w 8079933"/>
              <a:gd name="connsiteY48284" fmla="*/ 778573 h 4687251"/>
              <a:gd name="connsiteX48285" fmla="*/ 3523101 w 8079933"/>
              <a:gd name="connsiteY48285" fmla="*/ 773701 h 4687251"/>
              <a:gd name="connsiteX48286" fmla="*/ 3515505 w 8079933"/>
              <a:gd name="connsiteY48286" fmla="*/ 770560 h 4687251"/>
              <a:gd name="connsiteX48287" fmla="*/ 3512792 w 8079933"/>
              <a:gd name="connsiteY48287" fmla="*/ 770560 h 4687251"/>
              <a:gd name="connsiteX48288" fmla="*/ 3511707 w 8079933"/>
              <a:gd name="connsiteY48288" fmla="*/ 768720 h 4687251"/>
              <a:gd name="connsiteX48289" fmla="*/ 3511707 w 8079933"/>
              <a:gd name="connsiteY48289" fmla="*/ 766013 h 4687251"/>
              <a:gd name="connsiteX48290" fmla="*/ 3509754 w 8079933"/>
              <a:gd name="connsiteY48290" fmla="*/ 765147 h 4687251"/>
              <a:gd name="connsiteX48291" fmla="*/ 3507801 w 8079933"/>
              <a:gd name="connsiteY48291" fmla="*/ 765147 h 4687251"/>
              <a:gd name="connsiteX48292" fmla="*/ 3505848 w 8079933"/>
              <a:gd name="connsiteY48292" fmla="*/ 767421 h 4687251"/>
              <a:gd name="connsiteX48293" fmla="*/ 3505848 w 8079933"/>
              <a:gd name="connsiteY48293" fmla="*/ 771427 h 4687251"/>
              <a:gd name="connsiteX48294" fmla="*/ 3504979 w 8079933"/>
              <a:gd name="connsiteY48294" fmla="*/ 778573 h 4687251"/>
              <a:gd name="connsiteX48295" fmla="*/ 3504979 w 8079933"/>
              <a:gd name="connsiteY48295" fmla="*/ 781713 h 4687251"/>
              <a:gd name="connsiteX48296" fmla="*/ 3504219 w 8079933"/>
              <a:gd name="connsiteY48296" fmla="*/ 783553 h 4687251"/>
              <a:gd name="connsiteX48297" fmla="*/ 3503135 w 8079933"/>
              <a:gd name="connsiteY48297" fmla="*/ 782687 h 4687251"/>
              <a:gd name="connsiteX48298" fmla="*/ 3495538 w 8079933"/>
              <a:gd name="connsiteY48298" fmla="*/ 774025 h 4687251"/>
              <a:gd name="connsiteX48299" fmla="*/ 3490764 w 8079933"/>
              <a:gd name="connsiteY48299" fmla="*/ 765689 h 4687251"/>
              <a:gd name="connsiteX48300" fmla="*/ 3488811 w 8079933"/>
              <a:gd name="connsiteY48300" fmla="*/ 763090 h 4687251"/>
              <a:gd name="connsiteX48301" fmla="*/ 3488811 w 8079933"/>
              <a:gd name="connsiteY48301" fmla="*/ 760924 h 4687251"/>
              <a:gd name="connsiteX48302" fmla="*/ 3487183 w 8079933"/>
              <a:gd name="connsiteY48302" fmla="*/ 759084 h 4687251"/>
              <a:gd name="connsiteX48303" fmla="*/ 3485446 w 8079933"/>
              <a:gd name="connsiteY48303" fmla="*/ 759084 h 4687251"/>
              <a:gd name="connsiteX48304" fmla="*/ 3484795 w 8079933"/>
              <a:gd name="connsiteY48304" fmla="*/ 760275 h 4687251"/>
              <a:gd name="connsiteX48305" fmla="*/ 3484795 w 8079933"/>
              <a:gd name="connsiteY48305" fmla="*/ 762548 h 4687251"/>
              <a:gd name="connsiteX48306" fmla="*/ 3488376 w 8079933"/>
              <a:gd name="connsiteY48306" fmla="*/ 764822 h 4687251"/>
              <a:gd name="connsiteX48307" fmla="*/ 3493477 w 8079933"/>
              <a:gd name="connsiteY48307" fmla="*/ 773592 h 4687251"/>
              <a:gd name="connsiteX48308" fmla="*/ 3493477 w 8079933"/>
              <a:gd name="connsiteY48308" fmla="*/ 775974 h 4687251"/>
              <a:gd name="connsiteX48309" fmla="*/ 3496515 w 8079933"/>
              <a:gd name="connsiteY48309" fmla="*/ 780305 h 4687251"/>
              <a:gd name="connsiteX48310" fmla="*/ 3497600 w 8079933"/>
              <a:gd name="connsiteY48310" fmla="*/ 782579 h 4687251"/>
              <a:gd name="connsiteX48311" fmla="*/ 3497600 w 8079933"/>
              <a:gd name="connsiteY48311" fmla="*/ 785069 h 4687251"/>
              <a:gd name="connsiteX48312" fmla="*/ 3495213 w 8079933"/>
              <a:gd name="connsiteY48312" fmla="*/ 785069 h 4687251"/>
              <a:gd name="connsiteX48313" fmla="*/ 3491632 w 8079933"/>
              <a:gd name="connsiteY48313" fmla="*/ 786585 h 4687251"/>
              <a:gd name="connsiteX48314" fmla="*/ 3488811 w 8079933"/>
              <a:gd name="connsiteY48314" fmla="*/ 789075 h 4687251"/>
              <a:gd name="connsiteX48315" fmla="*/ 3486965 w 8079933"/>
              <a:gd name="connsiteY48315" fmla="*/ 791565 h 4687251"/>
              <a:gd name="connsiteX48316" fmla="*/ 3483384 w 8079933"/>
              <a:gd name="connsiteY48316" fmla="*/ 792540 h 4687251"/>
              <a:gd name="connsiteX48317" fmla="*/ 3480563 w 8079933"/>
              <a:gd name="connsiteY48317" fmla="*/ 794488 h 4687251"/>
              <a:gd name="connsiteX48318" fmla="*/ 3476657 w 8079933"/>
              <a:gd name="connsiteY48318" fmla="*/ 795680 h 4687251"/>
              <a:gd name="connsiteX48319" fmla="*/ 3473184 w 8079933"/>
              <a:gd name="connsiteY48319" fmla="*/ 795680 h 4687251"/>
              <a:gd name="connsiteX48320" fmla="*/ 3470146 w 8079933"/>
              <a:gd name="connsiteY48320" fmla="*/ 792540 h 4687251"/>
              <a:gd name="connsiteX48321" fmla="*/ 3467975 w 8079933"/>
              <a:gd name="connsiteY48321" fmla="*/ 792540 h 4687251"/>
              <a:gd name="connsiteX48322" fmla="*/ 3465479 w 8079933"/>
              <a:gd name="connsiteY48322" fmla="*/ 791240 h 4687251"/>
              <a:gd name="connsiteX48323" fmla="*/ 3464611 w 8079933"/>
              <a:gd name="connsiteY48323" fmla="*/ 789291 h 4687251"/>
              <a:gd name="connsiteX48324" fmla="*/ 3459511 w 8079933"/>
              <a:gd name="connsiteY48324" fmla="*/ 785285 h 4687251"/>
              <a:gd name="connsiteX48325" fmla="*/ 3456689 w 8079933"/>
              <a:gd name="connsiteY48325" fmla="*/ 783553 h 4687251"/>
              <a:gd name="connsiteX48326" fmla="*/ 3456689 w 8079933"/>
              <a:gd name="connsiteY48326" fmla="*/ 781063 h 4687251"/>
              <a:gd name="connsiteX48327" fmla="*/ 3455821 w 8079933"/>
              <a:gd name="connsiteY48327" fmla="*/ 778681 h 4687251"/>
              <a:gd name="connsiteX48328" fmla="*/ 3454194 w 8079933"/>
              <a:gd name="connsiteY48328" fmla="*/ 777923 h 4687251"/>
              <a:gd name="connsiteX48329" fmla="*/ 3453325 w 8079933"/>
              <a:gd name="connsiteY48329" fmla="*/ 779114 h 4687251"/>
              <a:gd name="connsiteX48330" fmla="*/ 3453325 w 8079933"/>
              <a:gd name="connsiteY48330" fmla="*/ 782903 h 4687251"/>
              <a:gd name="connsiteX48331" fmla="*/ 3454953 w 8079933"/>
              <a:gd name="connsiteY48331" fmla="*/ 785827 h 4687251"/>
              <a:gd name="connsiteX48332" fmla="*/ 3458860 w 8079933"/>
              <a:gd name="connsiteY48332" fmla="*/ 787884 h 4687251"/>
              <a:gd name="connsiteX48333" fmla="*/ 3462983 w 8079933"/>
              <a:gd name="connsiteY48333" fmla="*/ 791240 h 4687251"/>
              <a:gd name="connsiteX48334" fmla="*/ 3465479 w 8079933"/>
              <a:gd name="connsiteY48334" fmla="*/ 795246 h 4687251"/>
              <a:gd name="connsiteX48335" fmla="*/ 3465479 w 8079933"/>
              <a:gd name="connsiteY48335" fmla="*/ 797411 h 4687251"/>
              <a:gd name="connsiteX48336" fmla="*/ 3462983 w 8079933"/>
              <a:gd name="connsiteY48336" fmla="*/ 799144 h 4687251"/>
              <a:gd name="connsiteX48337" fmla="*/ 3455930 w 8079933"/>
              <a:gd name="connsiteY48337" fmla="*/ 799144 h 4687251"/>
              <a:gd name="connsiteX48338" fmla="*/ 3450937 w 8079933"/>
              <a:gd name="connsiteY48338" fmla="*/ 798278 h 4687251"/>
              <a:gd name="connsiteX48339" fmla="*/ 3447140 w 8079933"/>
              <a:gd name="connsiteY48339" fmla="*/ 799469 h 4687251"/>
              <a:gd name="connsiteX48340" fmla="*/ 3444427 w 8079933"/>
              <a:gd name="connsiteY48340" fmla="*/ 801851 h 4687251"/>
              <a:gd name="connsiteX48341" fmla="*/ 3445403 w 8079933"/>
              <a:gd name="connsiteY48341" fmla="*/ 803475 h 4687251"/>
              <a:gd name="connsiteX48342" fmla="*/ 3446922 w 8079933"/>
              <a:gd name="connsiteY48342" fmla="*/ 803475 h 4687251"/>
              <a:gd name="connsiteX48343" fmla="*/ 3448550 w 8079933"/>
              <a:gd name="connsiteY48343" fmla="*/ 805965 h 4687251"/>
              <a:gd name="connsiteX48344" fmla="*/ 3450395 w 8079933"/>
              <a:gd name="connsiteY48344" fmla="*/ 806831 h 4687251"/>
              <a:gd name="connsiteX48345" fmla="*/ 3451589 w 8079933"/>
              <a:gd name="connsiteY48345" fmla="*/ 804666 h 4687251"/>
              <a:gd name="connsiteX48346" fmla="*/ 3452349 w 8079933"/>
              <a:gd name="connsiteY48346" fmla="*/ 801959 h 4687251"/>
              <a:gd name="connsiteX48347" fmla="*/ 3456580 w 8079933"/>
              <a:gd name="connsiteY48347" fmla="*/ 801959 h 4687251"/>
              <a:gd name="connsiteX48348" fmla="*/ 3459945 w 8079933"/>
              <a:gd name="connsiteY48348" fmla="*/ 803042 h 4687251"/>
              <a:gd name="connsiteX48349" fmla="*/ 3463309 w 8079933"/>
              <a:gd name="connsiteY48349" fmla="*/ 804341 h 4687251"/>
              <a:gd name="connsiteX48350" fmla="*/ 3466347 w 8079933"/>
              <a:gd name="connsiteY48350" fmla="*/ 802609 h 4687251"/>
              <a:gd name="connsiteX48351" fmla="*/ 3466889 w 8079933"/>
              <a:gd name="connsiteY48351" fmla="*/ 799902 h 4687251"/>
              <a:gd name="connsiteX48352" fmla="*/ 3469711 w 8079933"/>
              <a:gd name="connsiteY48352" fmla="*/ 799036 h 4687251"/>
              <a:gd name="connsiteX48353" fmla="*/ 3474052 w 8079933"/>
              <a:gd name="connsiteY48353" fmla="*/ 799577 h 4687251"/>
              <a:gd name="connsiteX48354" fmla="*/ 3478284 w 8079933"/>
              <a:gd name="connsiteY48354" fmla="*/ 799577 h 4687251"/>
              <a:gd name="connsiteX48355" fmla="*/ 3480020 w 8079933"/>
              <a:gd name="connsiteY48355" fmla="*/ 801201 h 4687251"/>
              <a:gd name="connsiteX48356" fmla="*/ 3483059 w 8079933"/>
              <a:gd name="connsiteY48356" fmla="*/ 803150 h 4687251"/>
              <a:gd name="connsiteX48357" fmla="*/ 3488267 w 8079933"/>
              <a:gd name="connsiteY48357" fmla="*/ 804341 h 4687251"/>
              <a:gd name="connsiteX48358" fmla="*/ 3491414 w 8079933"/>
              <a:gd name="connsiteY48358" fmla="*/ 806290 h 4687251"/>
              <a:gd name="connsiteX48359" fmla="*/ 3492500 w 8079933"/>
              <a:gd name="connsiteY48359" fmla="*/ 809321 h 4687251"/>
              <a:gd name="connsiteX48360" fmla="*/ 3491523 w 8079933"/>
              <a:gd name="connsiteY48360" fmla="*/ 811920 h 4687251"/>
              <a:gd name="connsiteX48361" fmla="*/ 3489461 w 8079933"/>
              <a:gd name="connsiteY48361" fmla="*/ 812461 h 4687251"/>
              <a:gd name="connsiteX48362" fmla="*/ 3487183 w 8079933"/>
              <a:gd name="connsiteY48362" fmla="*/ 815601 h 4687251"/>
              <a:gd name="connsiteX48363" fmla="*/ 3483167 w 8079933"/>
              <a:gd name="connsiteY48363" fmla="*/ 815601 h 4687251"/>
              <a:gd name="connsiteX48364" fmla="*/ 3479912 w 8079933"/>
              <a:gd name="connsiteY48364" fmla="*/ 815601 h 4687251"/>
              <a:gd name="connsiteX48365" fmla="*/ 3475897 w 8079933"/>
              <a:gd name="connsiteY48365" fmla="*/ 818741 h 4687251"/>
              <a:gd name="connsiteX48366" fmla="*/ 3472641 w 8079933"/>
              <a:gd name="connsiteY48366" fmla="*/ 820257 h 4687251"/>
              <a:gd name="connsiteX48367" fmla="*/ 3469060 w 8079933"/>
              <a:gd name="connsiteY48367" fmla="*/ 819607 h 4687251"/>
              <a:gd name="connsiteX48368" fmla="*/ 3464828 w 8079933"/>
              <a:gd name="connsiteY48368" fmla="*/ 815168 h 4687251"/>
              <a:gd name="connsiteX48369" fmla="*/ 3462332 w 8079933"/>
              <a:gd name="connsiteY48369" fmla="*/ 813977 h 4687251"/>
              <a:gd name="connsiteX48370" fmla="*/ 3460161 w 8079933"/>
              <a:gd name="connsiteY48370" fmla="*/ 813977 h 4687251"/>
              <a:gd name="connsiteX48371" fmla="*/ 3458208 w 8079933"/>
              <a:gd name="connsiteY48371" fmla="*/ 816143 h 4687251"/>
              <a:gd name="connsiteX48372" fmla="*/ 3455495 w 8079933"/>
              <a:gd name="connsiteY48372" fmla="*/ 816143 h 4687251"/>
              <a:gd name="connsiteX48373" fmla="*/ 3454194 w 8079933"/>
              <a:gd name="connsiteY48373" fmla="*/ 815384 h 4687251"/>
              <a:gd name="connsiteX48374" fmla="*/ 3451806 w 8079933"/>
              <a:gd name="connsiteY48374" fmla="*/ 815384 h 4687251"/>
              <a:gd name="connsiteX48375" fmla="*/ 3451806 w 8079933"/>
              <a:gd name="connsiteY48375" fmla="*/ 816900 h 4687251"/>
              <a:gd name="connsiteX48376" fmla="*/ 3454410 w 8079933"/>
              <a:gd name="connsiteY48376" fmla="*/ 816900 h 4687251"/>
              <a:gd name="connsiteX48377" fmla="*/ 3458751 w 8079933"/>
              <a:gd name="connsiteY48377" fmla="*/ 816900 h 4687251"/>
              <a:gd name="connsiteX48378" fmla="*/ 3460813 w 8079933"/>
              <a:gd name="connsiteY48378" fmla="*/ 815709 h 4687251"/>
              <a:gd name="connsiteX48379" fmla="*/ 3463309 w 8079933"/>
              <a:gd name="connsiteY48379" fmla="*/ 816467 h 4687251"/>
              <a:gd name="connsiteX48380" fmla="*/ 3464394 w 8079933"/>
              <a:gd name="connsiteY48380" fmla="*/ 818308 h 4687251"/>
              <a:gd name="connsiteX48381" fmla="*/ 3463200 w 8079933"/>
              <a:gd name="connsiteY48381" fmla="*/ 820149 h 4687251"/>
              <a:gd name="connsiteX48382" fmla="*/ 3459076 w 8079933"/>
              <a:gd name="connsiteY48382" fmla="*/ 820906 h 4687251"/>
              <a:gd name="connsiteX48383" fmla="*/ 3454844 w 8079933"/>
              <a:gd name="connsiteY48383" fmla="*/ 822964 h 4687251"/>
              <a:gd name="connsiteX48384" fmla="*/ 3454085 w 8079933"/>
              <a:gd name="connsiteY48384" fmla="*/ 824371 h 4687251"/>
              <a:gd name="connsiteX48385" fmla="*/ 3456038 w 8079933"/>
              <a:gd name="connsiteY48385" fmla="*/ 824371 h 4687251"/>
              <a:gd name="connsiteX48386" fmla="*/ 3458317 w 8079933"/>
              <a:gd name="connsiteY48386" fmla="*/ 822964 h 4687251"/>
              <a:gd name="connsiteX48387" fmla="*/ 3463526 w 8079933"/>
              <a:gd name="connsiteY48387" fmla="*/ 821664 h 4687251"/>
              <a:gd name="connsiteX48388" fmla="*/ 3465371 w 8079933"/>
              <a:gd name="connsiteY48388" fmla="*/ 821664 h 4687251"/>
              <a:gd name="connsiteX48389" fmla="*/ 3466673 w 8079933"/>
              <a:gd name="connsiteY48389" fmla="*/ 823721 h 4687251"/>
              <a:gd name="connsiteX48390" fmla="*/ 3466673 w 8079933"/>
              <a:gd name="connsiteY48390" fmla="*/ 826645 h 4687251"/>
              <a:gd name="connsiteX48391" fmla="*/ 3467758 w 8079933"/>
              <a:gd name="connsiteY48391" fmla="*/ 826645 h 4687251"/>
              <a:gd name="connsiteX48392" fmla="*/ 3470254 w 8079933"/>
              <a:gd name="connsiteY48392" fmla="*/ 822964 h 4687251"/>
              <a:gd name="connsiteX48393" fmla="*/ 3473400 w 8079933"/>
              <a:gd name="connsiteY48393" fmla="*/ 822314 h 4687251"/>
              <a:gd name="connsiteX48394" fmla="*/ 3475463 w 8079933"/>
              <a:gd name="connsiteY48394" fmla="*/ 822314 h 4687251"/>
              <a:gd name="connsiteX48395" fmla="*/ 3479478 w 8079933"/>
              <a:gd name="connsiteY48395" fmla="*/ 818849 h 4687251"/>
              <a:gd name="connsiteX48396" fmla="*/ 3481105 w 8079933"/>
              <a:gd name="connsiteY48396" fmla="*/ 818849 h 4687251"/>
              <a:gd name="connsiteX48397" fmla="*/ 3483167 w 8079933"/>
              <a:gd name="connsiteY48397" fmla="*/ 819932 h 4687251"/>
              <a:gd name="connsiteX48398" fmla="*/ 3488919 w 8079933"/>
              <a:gd name="connsiteY48398" fmla="*/ 824047 h 4687251"/>
              <a:gd name="connsiteX48399" fmla="*/ 3490980 w 8079933"/>
              <a:gd name="connsiteY48399" fmla="*/ 824047 h 4687251"/>
              <a:gd name="connsiteX48400" fmla="*/ 3492391 w 8079933"/>
              <a:gd name="connsiteY48400" fmla="*/ 824804 h 4687251"/>
              <a:gd name="connsiteX48401" fmla="*/ 3493042 w 8079933"/>
              <a:gd name="connsiteY48401" fmla="*/ 827944 h 4687251"/>
              <a:gd name="connsiteX48402" fmla="*/ 3492065 w 8079933"/>
              <a:gd name="connsiteY48402" fmla="*/ 835198 h 4687251"/>
              <a:gd name="connsiteX48403" fmla="*/ 3489570 w 8079933"/>
              <a:gd name="connsiteY48403" fmla="*/ 838014 h 4687251"/>
              <a:gd name="connsiteX48404" fmla="*/ 3484686 w 8079933"/>
              <a:gd name="connsiteY48404" fmla="*/ 838771 h 4687251"/>
              <a:gd name="connsiteX48405" fmla="*/ 3480780 w 8079933"/>
              <a:gd name="connsiteY48405" fmla="*/ 838771 h 4687251"/>
              <a:gd name="connsiteX48406" fmla="*/ 3477416 w 8079933"/>
              <a:gd name="connsiteY48406" fmla="*/ 837255 h 4687251"/>
              <a:gd name="connsiteX48407" fmla="*/ 3469602 w 8079933"/>
              <a:gd name="connsiteY48407" fmla="*/ 837255 h 4687251"/>
              <a:gd name="connsiteX48408" fmla="*/ 3467866 w 8079933"/>
              <a:gd name="connsiteY48408" fmla="*/ 836606 h 4687251"/>
              <a:gd name="connsiteX48409" fmla="*/ 3464611 w 8079933"/>
              <a:gd name="connsiteY48409" fmla="*/ 839529 h 4687251"/>
              <a:gd name="connsiteX48410" fmla="*/ 3466021 w 8079933"/>
              <a:gd name="connsiteY48410" fmla="*/ 840287 h 4687251"/>
              <a:gd name="connsiteX48411" fmla="*/ 3470579 w 8079933"/>
              <a:gd name="connsiteY48411" fmla="*/ 839204 h 4687251"/>
              <a:gd name="connsiteX48412" fmla="*/ 3475245 w 8079933"/>
              <a:gd name="connsiteY48412" fmla="*/ 839204 h 4687251"/>
              <a:gd name="connsiteX48413" fmla="*/ 3481865 w 8079933"/>
              <a:gd name="connsiteY48413" fmla="*/ 841478 h 4687251"/>
              <a:gd name="connsiteX48414" fmla="*/ 3482950 w 8079933"/>
              <a:gd name="connsiteY48414" fmla="*/ 844293 h 4687251"/>
              <a:gd name="connsiteX48415" fmla="*/ 3482950 w 8079933"/>
              <a:gd name="connsiteY48415" fmla="*/ 846459 h 4687251"/>
              <a:gd name="connsiteX48416" fmla="*/ 3486531 w 8079933"/>
              <a:gd name="connsiteY48416" fmla="*/ 842453 h 4687251"/>
              <a:gd name="connsiteX48417" fmla="*/ 3490546 w 8079933"/>
              <a:gd name="connsiteY48417" fmla="*/ 841586 h 4687251"/>
              <a:gd name="connsiteX48418" fmla="*/ 3494995 w 8079933"/>
              <a:gd name="connsiteY48418" fmla="*/ 841586 h 4687251"/>
              <a:gd name="connsiteX48419" fmla="*/ 3499119 w 8079933"/>
              <a:gd name="connsiteY48419" fmla="*/ 843860 h 4687251"/>
              <a:gd name="connsiteX48420" fmla="*/ 3500422 w 8079933"/>
              <a:gd name="connsiteY48420" fmla="*/ 845809 h 4687251"/>
              <a:gd name="connsiteX48421" fmla="*/ 3507584 w 8079933"/>
              <a:gd name="connsiteY48421" fmla="*/ 851331 h 4687251"/>
              <a:gd name="connsiteX48422" fmla="*/ 3508561 w 8079933"/>
              <a:gd name="connsiteY48422" fmla="*/ 853063 h 4687251"/>
              <a:gd name="connsiteX48423" fmla="*/ 3508561 w 8079933"/>
              <a:gd name="connsiteY48423" fmla="*/ 855228 h 4687251"/>
              <a:gd name="connsiteX48424" fmla="*/ 3511165 w 8079933"/>
              <a:gd name="connsiteY48424" fmla="*/ 855228 h 4687251"/>
              <a:gd name="connsiteX48425" fmla="*/ 3512684 w 8079933"/>
              <a:gd name="connsiteY48425" fmla="*/ 856636 h 4687251"/>
              <a:gd name="connsiteX48426" fmla="*/ 3514420 w 8079933"/>
              <a:gd name="connsiteY48426" fmla="*/ 856636 h 4687251"/>
              <a:gd name="connsiteX48427" fmla="*/ 3517784 w 8079933"/>
              <a:gd name="connsiteY48427" fmla="*/ 859884 h 4687251"/>
              <a:gd name="connsiteX48428" fmla="*/ 3520280 w 8079933"/>
              <a:gd name="connsiteY48428" fmla="*/ 860967 h 4687251"/>
              <a:gd name="connsiteX48429" fmla="*/ 3521365 w 8079933"/>
              <a:gd name="connsiteY48429" fmla="*/ 863890 h 4687251"/>
              <a:gd name="connsiteX48430" fmla="*/ 3523318 w 8079933"/>
              <a:gd name="connsiteY48430" fmla="*/ 866055 h 4687251"/>
              <a:gd name="connsiteX48431" fmla="*/ 3525054 w 8079933"/>
              <a:gd name="connsiteY48431" fmla="*/ 866055 h 4687251"/>
              <a:gd name="connsiteX48432" fmla="*/ 3526574 w 8079933"/>
              <a:gd name="connsiteY48432" fmla="*/ 868545 h 4687251"/>
              <a:gd name="connsiteX48433" fmla="*/ 3528527 w 8079933"/>
              <a:gd name="connsiteY48433" fmla="*/ 870278 h 4687251"/>
              <a:gd name="connsiteX48434" fmla="*/ 3528527 w 8079933"/>
              <a:gd name="connsiteY48434" fmla="*/ 871577 h 4687251"/>
              <a:gd name="connsiteX48435" fmla="*/ 3526466 w 8079933"/>
              <a:gd name="connsiteY48435" fmla="*/ 876233 h 4687251"/>
              <a:gd name="connsiteX48436" fmla="*/ 3523861 w 8079933"/>
              <a:gd name="connsiteY48436" fmla="*/ 877857 h 4687251"/>
              <a:gd name="connsiteX48437" fmla="*/ 3522016 w 8079933"/>
              <a:gd name="connsiteY48437" fmla="*/ 880780 h 4687251"/>
              <a:gd name="connsiteX48438" fmla="*/ 3521148 w 8079933"/>
              <a:gd name="connsiteY48438" fmla="*/ 883920 h 4687251"/>
              <a:gd name="connsiteX48439" fmla="*/ 3521148 w 8079933"/>
              <a:gd name="connsiteY48439" fmla="*/ 885003 h 4687251"/>
              <a:gd name="connsiteX48440" fmla="*/ 3524295 w 8079933"/>
              <a:gd name="connsiteY48440" fmla="*/ 881538 h 4687251"/>
              <a:gd name="connsiteX48441" fmla="*/ 3528093 w 8079933"/>
              <a:gd name="connsiteY48441" fmla="*/ 878398 h 4687251"/>
              <a:gd name="connsiteX48442" fmla="*/ 3530589 w 8079933"/>
              <a:gd name="connsiteY48442" fmla="*/ 877316 h 4687251"/>
              <a:gd name="connsiteX48443" fmla="*/ 3531891 w 8079933"/>
              <a:gd name="connsiteY48443" fmla="*/ 877965 h 4687251"/>
              <a:gd name="connsiteX48444" fmla="*/ 3530481 w 8079933"/>
              <a:gd name="connsiteY48444" fmla="*/ 880563 h 4687251"/>
              <a:gd name="connsiteX48445" fmla="*/ 3529070 w 8079933"/>
              <a:gd name="connsiteY48445" fmla="*/ 884461 h 4687251"/>
              <a:gd name="connsiteX48446" fmla="*/ 3530481 w 8079933"/>
              <a:gd name="connsiteY48446" fmla="*/ 883271 h 4687251"/>
              <a:gd name="connsiteX48447" fmla="*/ 3531674 w 8079933"/>
              <a:gd name="connsiteY48447" fmla="*/ 880889 h 4687251"/>
              <a:gd name="connsiteX48448" fmla="*/ 3533302 w 8079933"/>
              <a:gd name="connsiteY48448" fmla="*/ 878940 h 4687251"/>
              <a:gd name="connsiteX48449" fmla="*/ 3536123 w 8079933"/>
              <a:gd name="connsiteY48449" fmla="*/ 878940 h 4687251"/>
              <a:gd name="connsiteX48450" fmla="*/ 3538402 w 8079933"/>
              <a:gd name="connsiteY48450" fmla="*/ 881213 h 4687251"/>
              <a:gd name="connsiteX48451" fmla="*/ 3536883 w 8079933"/>
              <a:gd name="connsiteY48451" fmla="*/ 884245 h 4687251"/>
              <a:gd name="connsiteX48452" fmla="*/ 3532651 w 8079933"/>
              <a:gd name="connsiteY48452" fmla="*/ 886410 h 4687251"/>
              <a:gd name="connsiteX48453" fmla="*/ 3529179 w 8079933"/>
              <a:gd name="connsiteY48453" fmla="*/ 889334 h 4687251"/>
              <a:gd name="connsiteX48454" fmla="*/ 3528093 w 8079933"/>
              <a:gd name="connsiteY48454" fmla="*/ 892365 h 4687251"/>
              <a:gd name="connsiteX48455" fmla="*/ 3528093 w 8079933"/>
              <a:gd name="connsiteY48455" fmla="*/ 895071 h 4687251"/>
              <a:gd name="connsiteX48456" fmla="*/ 3529179 w 8079933"/>
              <a:gd name="connsiteY48456" fmla="*/ 896696 h 4687251"/>
              <a:gd name="connsiteX48457" fmla="*/ 3529179 w 8079933"/>
              <a:gd name="connsiteY48457" fmla="*/ 899077 h 4687251"/>
              <a:gd name="connsiteX48458" fmla="*/ 3527984 w 8079933"/>
              <a:gd name="connsiteY48458" fmla="*/ 904167 h 4687251"/>
              <a:gd name="connsiteX48459" fmla="*/ 3527984 w 8079933"/>
              <a:gd name="connsiteY48459" fmla="*/ 905791 h 4687251"/>
              <a:gd name="connsiteX48460" fmla="*/ 3530047 w 8079933"/>
              <a:gd name="connsiteY48460" fmla="*/ 905141 h 4687251"/>
              <a:gd name="connsiteX48461" fmla="*/ 3531023 w 8079933"/>
              <a:gd name="connsiteY48461" fmla="*/ 899295 h 4687251"/>
              <a:gd name="connsiteX48462" fmla="*/ 3534170 w 8079933"/>
              <a:gd name="connsiteY48462" fmla="*/ 894422 h 4687251"/>
              <a:gd name="connsiteX48463" fmla="*/ 3537751 w 8079933"/>
              <a:gd name="connsiteY48463" fmla="*/ 892473 h 4687251"/>
              <a:gd name="connsiteX48464" fmla="*/ 3539488 w 8079933"/>
              <a:gd name="connsiteY48464" fmla="*/ 892473 h 4687251"/>
              <a:gd name="connsiteX48465" fmla="*/ 3539488 w 8079933"/>
              <a:gd name="connsiteY48465" fmla="*/ 894314 h 4687251"/>
              <a:gd name="connsiteX48466" fmla="*/ 3537208 w 8079933"/>
              <a:gd name="connsiteY48466" fmla="*/ 898536 h 4687251"/>
              <a:gd name="connsiteX48467" fmla="*/ 3535581 w 8079933"/>
              <a:gd name="connsiteY48467" fmla="*/ 902109 h 4687251"/>
              <a:gd name="connsiteX48468" fmla="*/ 3536232 w 8079933"/>
              <a:gd name="connsiteY48468" fmla="*/ 903950 h 4687251"/>
              <a:gd name="connsiteX48469" fmla="*/ 3538620 w 8079933"/>
              <a:gd name="connsiteY48469" fmla="*/ 902867 h 4687251"/>
              <a:gd name="connsiteX48470" fmla="*/ 3540030 w 8079933"/>
              <a:gd name="connsiteY48470" fmla="*/ 904599 h 4687251"/>
              <a:gd name="connsiteX48471" fmla="*/ 3540030 w 8079933"/>
              <a:gd name="connsiteY48471" fmla="*/ 908930 h 4687251"/>
              <a:gd name="connsiteX48472" fmla="*/ 3537968 w 8079933"/>
              <a:gd name="connsiteY48472" fmla="*/ 910987 h 4687251"/>
              <a:gd name="connsiteX48473" fmla="*/ 3533845 w 8079933"/>
              <a:gd name="connsiteY48473" fmla="*/ 911637 h 4687251"/>
              <a:gd name="connsiteX48474" fmla="*/ 3532759 w 8079933"/>
              <a:gd name="connsiteY48474" fmla="*/ 913586 h 4687251"/>
              <a:gd name="connsiteX48475" fmla="*/ 3532759 w 8079933"/>
              <a:gd name="connsiteY48475" fmla="*/ 915535 h 4687251"/>
              <a:gd name="connsiteX48476" fmla="*/ 3537425 w 8079933"/>
              <a:gd name="connsiteY48476" fmla="*/ 913803 h 4687251"/>
              <a:gd name="connsiteX48477" fmla="*/ 3538511 w 8079933"/>
              <a:gd name="connsiteY48477" fmla="*/ 915210 h 4687251"/>
              <a:gd name="connsiteX48478" fmla="*/ 3537860 w 8079933"/>
              <a:gd name="connsiteY48478" fmla="*/ 917592 h 4687251"/>
              <a:gd name="connsiteX48479" fmla="*/ 3536558 w 8079933"/>
              <a:gd name="connsiteY48479" fmla="*/ 920299 h 4687251"/>
              <a:gd name="connsiteX48480" fmla="*/ 3538511 w 8079933"/>
              <a:gd name="connsiteY48480" fmla="*/ 920299 h 4687251"/>
              <a:gd name="connsiteX48481" fmla="*/ 3540030 w 8079933"/>
              <a:gd name="connsiteY48481" fmla="*/ 922789 h 4687251"/>
              <a:gd name="connsiteX48482" fmla="*/ 3539161 w 8079933"/>
              <a:gd name="connsiteY48482" fmla="*/ 924521 h 4687251"/>
              <a:gd name="connsiteX48483" fmla="*/ 3539161 w 8079933"/>
              <a:gd name="connsiteY48483" fmla="*/ 929069 h 4687251"/>
              <a:gd name="connsiteX48484" fmla="*/ 3538076 w 8079933"/>
              <a:gd name="connsiteY48484" fmla="*/ 931776 h 4687251"/>
              <a:gd name="connsiteX48485" fmla="*/ 3538076 w 8079933"/>
              <a:gd name="connsiteY48485" fmla="*/ 939138 h 4687251"/>
              <a:gd name="connsiteX48486" fmla="*/ 3538728 w 8079933"/>
              <a:gd name="connsiteY48486" fmla="*/ 942277 h 4687251"/>
              <a:gd name="connsiteX48487" fmla="*/ 3538728 w 8079933"/>
              <a:gd name="connsiteY48487" fmla="*/ 945526 h 4687251"/>
              <a:gd name="connsiteX48488" fmla="*/ 3536449 w 8079933"/>
              <a:gd name="connsiteY48488" fmla="*/ 947150 h 4687251"/>
              <a:gd name="connsiteX48489" fmla="*/ 3533845 w 8079933"/>
              <a:gd name="connsiteY48489" fmla="*/ 947150 h 4687251"/>
              <a:gd name="connsiteX48490" fmla="*/ 3532217 w 8079933"/>
              <a:gd name="connsiteY48490" fmla="*/ 947150 h 4687251"/>
              <a:gd name="connsiteX48491" fmla="*/ 3531240 w 8079933"/>
              <a:gd name="connsiteY48491" fmla="*/ 945850 h 4687251"/>
              <a:gd name="connsiteX48492" fmla="*/ 3532325 w 8079933"/>
              <a:gd name="connsiteY48492" fmla="*/ 943577 h 4687251"/>
              <a:gd name="connsiteX48493" fmla="*/ 3531132 w 8079933"/>
              <a:gd name="connsiteY48493" fmla="*/ 941411 h 4687251"/>
              <a:gd name="connsiteX48494" fmla="*/ 3529070 w 8079933"/>
              <a:gd name="connsiteY48494" fmla="*/ 939896 h 4687251"/>
              <a:gd name="connsiteX48495" fmla="*/ 3526357 w 8079933"/>
              <a:gd name="connsiteY48495" fmla="*/ 940978 h 4687251"/>
              <a:gd name="connsiteX48496" fmla="*/ 3524729 w 8079933"/>
              <a:gd name="connsiteY48496" fmla="*/ 942494 h 4687251"/>
              <a:gd name="connsiteX48497" fmla="*/ 3522450 w 8079933"/>
              <a:gd name="connsiteY48497" fmla="*/ 941520 h 4687251"/>
              <a:gd name="connsiteX48498" fmla="*/ 3522450 w 8079933"/>
              <a:gd name="connsiteY48498" fmla="*/ 938488 h 4687251"/>
              <a:gd name="connsiteX48499" fmla="*/ 3524512 w 8079933"/>
              <a:gd name="connsiteY48499" fmla="*/ 934807 h 4687251"/>
              <a:gd name="connsiteX48500" fmla="*/ 3522884 w 8079933"/>
              <a:gd name="connsiteY48500" fmla="*/ 930476 h 4687251"/>
              <a:gd name="connsiteX48501" fmla="*/ 3522884 w 8079933"/>
              <a:gd name="connsiteY48501" fmla="*/ 927120 h 4687251"/>
              <a:gd name="connsiteX48502" fmla="*/ 3523969 w 8079933"/>
              <a:gd name="connsiteY48502" fmla="*/ 923547 h 4687251"/>
              <a:gd name="connsiteX48503" fmla="*/ 3522559 w 8079933"/>
              <a:gd name="connsiteY48503" fmla="*/ 921598 h 4687251"/>
              <a:gd name="connsiteX48504" fmla="*/ 3521148 w 8079933"/>
              <a:gd name="connsiteY48504" fmla="*/ 921598 h 4687251"/>
              <a:gd name="connsiteX48505" fmla="*/ 3519955 w 8079933"/>
              <a:gd name="connsiteY48505" fmla="*/ 924305 h 4687251"/>
              <a:gd name="connsiteX48506" fmla="*/ 3518978 w 8079933"/>
              <a:gd name="connsiteY48506" fmla="*/ 928852 h 4687251"/>
              <a:gd name="connsiteX48507" fmla="*/ 3518978 w 8079933"/>
              <a:gd name="connsiteY48507" fmla="*/ 934807 h 4687251"/>
              <a:gd name="connsiteX48508" fmla="*/ 3518978 w 8079933"/>
              <a:gd name="connsiteY48508" fmla="*/ 940221 h 4687251"/>
              <a:gd name="connsiteX48509" fmla="*/ 3518978 w 8079933"/>
              <a:gd name="connsiteY48509" fmla="*/ 943036 h 4687251"/>
              <a:gd name="connsiteX48510" fmla="*/ 3517458 w 8079933"/>
              <a:gd name="connsiteY48510" fmla="*/ 944119 h 4687251"/>
              <a:gd name="connsiteX48511" fmla="*/ 3514637 w 8079933"/>
              <a:gd name="connsiteY48511" fmla="*/ 944119 h 4687251"/>
              <a:gd name="connsiteX48512" fmla="*/ 3511599 w 8079933"/>
              <a:gd name="connsiteY48512" fmla="*/ 944768 h 4687251"/>
              <a:gd name="connsiteX48513" fmla="*/ 3508561 w 8079933"/>
              <a:gd name="connsiteY48513" fmla="*/ 945850 h 4687251"/>
              <a:gd name="connsiteX48514" fmla="*/ 3506064 w 8079933"/>
              <a:gd name="connsiteY48514" fmla="*/ 943469 h 4687251"/>
              <a:gd name="connsiteX48515" fmla="*/ 3500422 w 8079933"/>
              <a:gd name="connsiteY48515" fmla="*/ 939030 h 4687251"/>
              <a:gd name="connsiteX48516" fmla="*/ 3496731 w 8079933"/>
              <a:gd name="connsiteY48516" fmla="*/ 931992 h 4687251"/>
              <a:gd name="connsiteX48517" fmla="*/ 3493585 w 8079933"/>
              <a:gd name="connsiteY48517" fmla="*/ 928419 h 4687251"/>
              <a:gd name="connsiteX48518" fmla="*/ 3491414 w 8079933"/>
              <a:gd name="connsiteY48518" fmla="*/ 925821 h 4687251"/>
              <a:gd name="connsiteX48519" fmla="*/ 3490221 w 8079933"/>
              <a:gd name="connsiteY48519" fmla="*/ 918025 h 4687251"/>
              <a:gd name="connsiteX48520" fmla="*/ 3488051 w 8079933"/>
              <a:gd name="connsiteY48520" fmla="*/ 914236 h 4687251"/>
              <a:gd name="connsiteX48521" fmla="*/ 3485446 w 8079933"/>
              <a:gd name="connsiteY48521" fmla="*/ 911096 h 4687251"/>
              <a:gd name="connsiteX48522" fmla="*/ 3484578 w 8079933"/>
              <a:gd name="connsiteY48522" fmla="*/ 905683 h 4687251"/>
              <a:gd name="connsiteX48523" fmla="*/ 3485338 w 8079933"/>
              <a:gd name="connsiteY48523" fmla="*/ 901026 h 4687251"/>
              <a:gd name="connsiteX48524" fmla="*/ 3486965 w 8079933"/>
              <a:gd name="connsiteY48524" fmla="*/ 897887 h 4687251"/>
              <a:gd name="connsiteX48525" fmla="*/ 3485772 w 8079933"/>
              <a:gd name="connsiteY48525" fmla="*/ 895613 h 4687251"/>
              <a:gd name="connsiteX48526" fmla="*/ 3484361 w 8079933"/>
              <a:gd name="connsiteY48526" fmla="*/ 895613 h 4687251"/>
              <a:gd name="connsiteX48527" fmla="*/ 3479695 w 8079933"/>
              <a:gd name="connsiteY48527" fmla="*/ 896804 h 4687251"/>
              <a:gd name="connsiteX48528" fmla="*/ 3478175 w 8079933"/>
              <a:gd name="connsiteY48528" fmla="*/ 898645 h 4687251"/>
              <a:gd name="connsiteX48529" fmla="*/ 3475028 w 8079933"/>
              <a:gd name="connsiteY48529" fmla="*/ 896263 h 4687251"/>
              <a:gd name="connsiteX48530" fmla="*/ 3467215 w 8079933"/>
              <a:gd name="connsiteY48530" fmla="*/ 886085 h 4687251"/>
              <a:gd name="connsiteX48531" fmla="*/ 3467215 w 8079933"/>
              <a:gd name="connsiteY48531" fmla="*/ 882512 h 4687251"/>
              <a:gd name="connsiteX48532" fmla="*/ 3465479 w 8079933"/>
              <a:gd name="connsiteY48532" fmla="*/ 880672 h 4687251"/>
              <a:gd name="connsiteX48533" fmla="*/ 3462549 w 8079933"/>
              <a:gd name="connsiteY48533" fmla="*/ 882187 h 4687251"/>
              <a:gd name="connsiteX48534" fmla="*/ 3458100 w 8079933"/>
              <a:gd name="connsiteY48534" fmla="*/ 882837 h 4687251"/>
              <a:gd name="connsiteX48535" fmla="*/ 3454302 w 8079933"/>
              <a:gd name="connsiteY48535" fmla="*/ 881104 h 4687251"/>
              <a:gd name="connsiteX48536" fmla="*/ 3452566 w 8079933"/>
              <a:gd name="connsiteY48536" fmla="*/ 882187 h 4687251"/>
              <a:gd name="connsiteX48537" fmla="*/ 3449853 w 8079933"/>
              <a:gd name="connsiteY48537" fmla="*/ 883595 h 4687251"/>
              <a:gd name="connsiteX48538" fmla="*/ 3447791 w 8079933"/>
              <a:gd name="connsiteY48538" fmla="*/ 882404 h 4687251"/>
              <a:gd name="connsiteX48539" fmla="*/ 3444644 w 8079933"/>
              <a:gd name="connsiteY48539" fmla="*/ 878831 h 4687251"/>
              <a:gd name="connsiteX48540" fmla="*/ 3444644 w 8079933"/>
              <a:gd name="connsiteY48540" fmla="*/ 876557 h 4687251"/>
              <a:gd name="connsiteX48541" fmla="*/ 3439110 w 8079933"/>
              <a:gd name="connsiteY48541" fmla="*/ 871577 h 4687251"/>
              <a:gd name="connsiteX48542" fmla="*/ 3439110 w 8079933"/>
              <a:gd name="connsiteY48542" fmla="*/ 869195 h 4687251"/>
              <a:gd name="connsiteX48543" fmla="*/ 3437048 w 8079933"/>
              <a:gd name="connsiteY48543" fmla="*/ 866596 h 4687251"/>
              <a:gd name="connsiteX48544" fmla="*/ 3435529 w 8079933"/>
              <a:gd name="connsiteY48544" fmla="*/ 861400 h 4687251"/>
              <a:gd name="connsiteX48545" fmla="*/ 3433250 w 8079933"/>
              <a:gd name="connsiteY48545" fmla="*/ 858693 h 4687251"/>
              <a:gd name="connsiteX48546" fmla="*/ 3431839 w 8079933"/>
              <a:gd name="connsiteY48546" fmla="*/ 860967 h 4687251"/>
              <a:gd name="connsiteX48547" fmla="*/ 3431839 w 8079933"/>
              <a:gd name="connsiteY48547" fmla="*/ 864973 h 4687251"/>
              <a:gd name="connsiteX48548" fmla="*/ 3431839 w 8079933"/>
              <a:gd name="connsiteY48548" fmla="*/ 866813 h 4687251"/>
              <a:gd name="connsiteX48549" fmla="*/ 3427389 w 8079933"/>
              <a:gd name="connsiteY48549" fmla="*/ 869087 h 4687251"/>
              <a:gd name="connsiteX48550" fmla="*/ 3425871 w 8079933"/>
              <a:gd name="connsiteY48550" fmla="*/ 870602 h 4687251"/>
              <a:gd name="connsiteX48551" fmla="*/ 3429994 w 8079933"/>
              <a:gd name="connsiteY48551" fmla="*/ 870602 h 4687251"/>
              <a:gd name="connsiteX48552" fmla="*/ 3432382 w 8079933"/>
              <a:gd name="connsiteY48552" fmla="*/ 872118 h 4687251"/>
              <a:gd name="connsiteX48553" fmla="*/ 3435312 w 8079933"/>
              <a:gd name="connsiteY48553" fmla="*/ 876449 h 4687251"/>
              <a:gd name="connsiteX48554" fmla="*/ 3437698 w 8079933"/>
              <a:gd name="connsiteY48554" fmla="*/ 880022 h 4687251"/>
              <a:gd name="connsiteX48555" fmla="*/ 3436614 w 8079933"/>
              <a:gd name="connsiteY48555" fmla="*/ 882079 h 4687251"/>
              <a:gd name="connsiteX48556" fmla="*/ 3431622 w 8079933"/>
              <a:gd name="connsiteY48556" fmla="*/ 882079 h 4687251"/>
              <a:gd name="connsiteX48557" fmla="*/ 3429343 w 8079933"/>
              <a:gd name="connsiteY48557" fmla="*/ 884136 h 4687251"/>
              <a:gd name="connsiteX48558" fmla="*/ 3426088 w 8079933"/>
              <a:gd name="connsiteY48558" fmla="*/ 885977 h 4687251"/>
              <a:gd name="connsiteX48559" fmla="*/ 3423375 w 8079933"/>
              <a:gd name="connsiteY48559" fmla="*/ 883595 h 4687251"/>
              <a:gd name="connsiteX48560" fmla="*/ 3423375 w 8079933"/>
              <a:gd name="connsiteY48560" fmla="*/ 886302 h 4687251"/>
              <a:gd name="connsiteX48561" fmla="*/ 3426304 w 8079933"/>
              <a:gd name="connsiteY48561" fmla="*/ 888359 h 4687251"/>
              <a:gd name="connsiteX48562" fmla="*/ 3429451 w 8079933"/>
              <a:gd name="connsiteY48562" fmla="*/ 888359 h 4687251"/>
              <a:gd name="connsiteX48563" fmla="*/ 3433901 w 8079933"/>
              <a:gd name="connsiteY48563" fmla="*/ 884569 h 4687251"/>
              <a:gd name="connsiteX48564" fmla="*/ 3436614 w 8079933"/>
              <a:gd name="connsiteY48564" fmla="*/ 884569 h 4687251"/>
              <a:gd name="connsiteX48565" fmla="*/ 3441496 w 8079933"/>
              <a:gd name="connsiteY48565" fmla="*/ 882729 h 4687251"/>
              <a:gd name="connsiteX48566" fmla="*/ 3442691 w 8079933"/>
              <a:gd name="connsiteY48566" fmla="*/ 884245 h 4687251"/>
              <a:gd name="connsiteX48567" fmla="*/ 3442691 w 8079933"/>
              <a:gd name="connsiteY48567" fmla="*/ 886843 h 4687251"/>
              <a:gd name="connsiteX48568" fmla="*/ 3444427 w 8079933"/>
              <a:gd name="connsiteY48568" fmla="*/ 888900 h 4687251"/>
              <a:gd name="connsiteX48569" fmla="*/ 3449202 w 8079933"/>
              <a:gd name="connsiteY48569" fmla="*/ 886626 h 4687251"/>
              <a:gd name="connsiteX48570" fmla="*/ 3451046 w 8079933"/>
              <a:gd name="connsiteY48570" fmla="*/ 886626 h 4687251"/>
              <a:gd name="connsiteX48571" fmla="*/ 3461898 w 8079933"/>
              <a:gd name="connsiteY48571" fmla="*/ 889875 h 4687251"/>
              <a:gd name="connsiteX48572" fmla="*/ 3466021 w 8079933"/>
              <a:gd name="connsiteY48572" fmla="*/ 891932 h 4687251"/>
              <a:gd name="connsiteX48573" fmla="*/ 3468300 w 8079933"/>
              <a:gd name="connsiteY48573" fmla="*/ 891932 h 4687251"/>
              <a:gd name="connsiteX48574" fmla="*/ 3469494 w 8079933"/>
              <a:gd name="connsiteY48574" fmla="*/ 895180 h 4687251"/>
              <a:gd name="connsiteX48575" fmla="*/ 3471773 w 8079933"/>
              <a:gd name="connsiteY48575" fmla="*/ 900052 h 4687251"/>
              <a:gd name="connsiteX48576" fmla="*/ 3469928 w 8079933"/>
              <a:gd name="connsiteY48576" fmla="*/ 904058 h 4687251"/>
              <a:gd name="connsiteX48577" fmla="*/ 3466781 w 8079933"/>
              <a:gd name="connsiteY48577" fmla="*/ 905358 h 4687251"/>
              <a:gd name="connsiteX48578" fmla="*/ 3464286 w 8079933"/>
              <a:gd name="connsiteY48578" fmla="*/ 908173 h 4687251"/>
              <a:gd name="connsiteX48579" fmla="*/ 3461464 w 8079933"/>
              <a:gd name="connsiteY48579" fmla="*/ 909580 h 4687251"/>
              <a:gd name="connsiteX48580" fmla="*/ 3458100 w 8079933"/>
              <a:gd name="connsiteY48580" fmla="*/ 909580 h 4687251"/>
              <a:gd name="connsiteX48581" fmla="*/ 3446489 w 8079933"/>
              <a:gd name="connsiteY48581" fmla="*/ 915318 h 4687251"/>
              <a:gd name="connsiteX48582" fmla="*/ 3440520 w 8079933"/>
              <a:gd name="connsiteY48582" fmla="*/ 915318 h 4687251"/>
              <a:gd name="connsiteX48583" fmla="*/ 3436397 w 8079933"/>
              <a:gd name="connsiteY48583" fmla="*/ 916834 h 4687251"/>
              <a:gd name="connsiteX48584" fmla="*/ 3433467 w 8079933"/>
              <a:gd name="connsiteY48584" fmla="*/ 914777 h 4687251"/>
              <a:gd name="connsiteX48585" fmla="*/ 3430970 w 8079933"/>
              <a:gd name="connsiteY48585" fmla="*/ 910446 h 4687251"/>
              <a:gd name="connsiteX48586" fmla="*/ 3430970 w 8079933"/>
              <a:gd name="connsiteY48586" fmla="*/ 907522 h 4687251"/>
              <a:gd name="connsiteX48587" fmla="*/ 3429451 w 8079933"/>
              <a:gd name="connsiteY48587" fmla="*/ 905683 h 4687251"/>
              <a:gd name="connsiteX48588" fmla="*/ 3426847 w 8079933"/>
              <a:gd name="connsiteY48588" fmla="*/ 904708 h 4687251"/>
              <a:gd name="connsiteX48589" fmla="*/ 3426847 w 8079933"/>
              <a:gd name="connsiteY48589" fmla="*/ 909147 h 4687251"/>
              <a:gd name="connsiteX48590" fmla="*/ 3428149 w 8079933"/>
              <a:gd name="connsiteY48590" fmla="*/ 910663 h 4687251"/>
              <a:gd name="connsiteX48591" fmla="*/ 3428801 w 8079933"/>
              <a:gd name="connsiteY48591" fmla="*/ 913044 h 4687251"/>
              <a:gd name="connsiteX48592" fmla="*/ 3427389 w 8079933"/>
              <a:gd name="connsiteY48592" fmla="*/ 914344 h 4687251"/>
              <a:gd name="connsiteX48593" fmla="*/ 3423809 w 8079933"/>
              <a:gd name="connsiteY48593" fmla="*/ 913586 h 4687251"/>
              <a:gd name="connsiteX48594" fmla="*/ 3423809 w 8079933"/>
              <a:gd name="connsiteY48594" fmla="*/ 912503 h 4687251"/>
              <a:gd name="connsiteX48595" fmla="*/ 3422181 w 8079933"/>
              <a:gd name="connsiteY48595" fmla="*/ 912503 h 4687251"/>
              <a:gd name="connsiteX48596" fmla="*/ 3418817 w 8079933"/>
              <a:gd name="connsiteY48596" fmla="*/ 914669 h 4687251"/>
              <a:gd name="connsiteX48597" fmla="*/ 3419793 w 8079933"/>
              <a:gd name="connsiteY48597" fmla="*/ 916185 h 4687251"/>
              <a:gd name="connsiteX48598" fmla="*/ 3423591 w 8079933"/>
              <a:gd name="connsiteY48598" fmla="*/ 917159 h 4687251"/>
              <a:gd name="connsiteX48599" fmla="*/ 3425544 w 8079933"/>
              <a:gd name="connsiteY48599" fmla="*/ 919216 h 4687251"/>
              <a:gd name="connsiteX48600" fmla="*/ 3426196 w 8079933"/>
              <a:gd name="connsiteY48600" fmla="*/ 921815 h 4687251"/>
              <a:gd name="connsiteX48601" fmla="*/ 3424134 w 8079933"/>
              <a:gd name="connsiteY48601" fmla="*/ 924521 h 4687251"/>
              <a:gd name="connsiteX48602" fmla="*/ 3422181 w 8079933"/>
              <a:gd name="connsiteY48602" fmla="*/ 925712 h 4687251"/>
              <a:gd name="connsiteX48603" fmla="*/ 3419360 w 8079933"/>
              <a:gd name="connsiteY48603" fmla="*/ 925712 h 4687251"/>
              <a:gd name="connsiteX48604" fmla="*/ 3418057 w 8079933"/>
              <a:gd name="connsiteY48604" fmla="*/ 927553 h 4687251"/>
              <a:gd name="connsiteX48605" fmla="*/ 3418057 w 8079933"/>
              <a:gd name="connsiteY48605" fmla="*/ 932425 h 4687251"/>
              <a:gd name="connsiteX48606" fmla="*/ 3415127 w 8079933"/>
              <a:gd name="connsiteY48606" fmla="*/ 934482 h 4687251"/>
              <a:gd name="connsiteX48607" fmla="*/ 3406880 w 8079933"/>
              <a:gd name="connsiteY48607" fmla="*/ 938272 h 4687251"/>
              <a:gd name="connsiteX48608" fmla="*/ 3402865 w 8079933"/>
              <a:gd name="connsiteY48608" fmla="*/ 938272 h 4687251"/>
              <a:gd name="connsiteX48609" fmla="*/ 3400152 w 8079933"/>
              <a:gd name="connsiteY48609" fmla="*/ 938272 h 4687251"/>
              <a:gd name="connsiteX48610" fmla="*/ 3396354 w 8079933"/>
              <a:gd name="connsiteY48610" fmla="*/ 941953 h 4687251"/>
              <a:gd name="connsiteX48611" fmla="*/ 3394835 w 8079933"/>
              <a:gd name="connsiteY48611" fmla="*/ 944876 h 4687251"/>
              <a:gd name="connsiteX48612" fmla="*/ 3395920 w 8079933"/>
              <a:gd name="connsiteY48612" fmla="*/ 946067 h 4687251"/>
              <a:gd name="connsiteX48613" fmla="*/ 3403733 w 8079933"/>
              <a:gd name="connsiteY48613" fmla="*/ 942277 h 4687251"/>
              <a:gd name="connsiteX48614" fmla="*/ 3409159 w 8079933"/>
              <a:gd name="connsiteY48614" fmla="*/ 942277 h 4687251"/>
              <a:gd name="connsiteX48615" fmla="*/ 3412957 w 8079933"/>
              <a:gd name="connsiteY48615" fmla="*/ 940978 h 4687251"/>
              <a:gd name="connsiteX48616" fmla="*/ 3415344 w 8079933"/>
              <a:gd name="connsiteY48616" fmla="*/ 942062 h 4687251"/>
              <a:gd name="connsiteX48617" fmla="*/ 3416864 w 8079933"/>
              <a:gd name="connsiteY48617" fmla="*/ 944010 h 4687251"/>
              <a:gd name="connsiteX48618" fmla="*/ 3421964 w 8079933"/>
              <a:gd name="connsiteY48618" fmla="*/ 945093 h 4687251"/>
              <a:gd name="connsiteX48619" fmla="*/ 3425871 w 8079933"/>
              <a:gd name="connsiteY48619" fmla="*/ 945093 h 4687251"/>
              <a:gd name="connsiteX48620" fmla="*/ 3430537 w 8079933"/>
              <a:gd name="connsiteY48620" fmla="*/ 943577 h 4687251"/>
              <a:gd name="connsiteX48621" fmla="*/ 3437590 w 8079933"/>
              <a:gd name="connsiteY48621" fmla="*/ 943577 h 4687251"/>
              <a:gd name="connsiteX48622" fmla="*/ 3440955 w 8079933"/>
              <a:gd name="connsiteY48622" fmla="*/ 945093 h 4687251"/>
              <a:gd name="connsiteX48623" fmla="*/ 3444969 w 8079933"/>
              <a:gd name="connsiteY48623" fmla="*/ 944227 h 4687251"/>
              <a:gd name="connsiteX48624" fmla="*/ 3446922 w 8079933"/>
              <a:gd name="connsiteY48624" fmla="*/ 944227 h 4687251"/>
              <a:gd name="connsiteX48625" fmla="*/ 3448225 w 8079933"/>
              <a:gd name="connsiteY48625" fmla="*/ 945850 h 4687251"/>
              <a:gd name="connsiteX48626" fmla="*/ 3450395 w 8079933"/>
              <a:gd name="connsiteY48626" fmla="*/ 945850 h 4687251"/>
              <a:gd name="connsiteX48627" fmla="*/ 3451589 w 8079933"/>
              <a:gd name="connsiteY48627" fmla="*/ 948124 h 4687251"/>
              <a:gd name="connsiteX48628" fmla="*/ 3450178 w 8079933"/>
              <a:gd name="connsiteY48628" fmla="*/ 950290 h 4687251"/>
              <a:gd name="connsiteX48629" fmla="*/ 3446271 w 8079933"/>
              <a:gd name="connsiteY48629" fmla="*/ 951372 h 4687251"/>
              <a:gd name="connsiteX48630" fmla="*/ 3441496 w 8079933"/>
              <a:gd name="connsiteY48630" fmla="*/ 950073 h 4687251"/>
              <a:gd name="connsiteX48631" fmla="*/ 3437698 w 8079933"/>
              <a:gd name="connsiteY48631" fmla="*/ 950073 h 4687251"/>
              <a:gd name="connsiteX48632" fmla="*/ 3434226 w 8079933"/>
              <a:gd name="connsiteY48632" fmla="*/ 953321 h 4687251"/>
              <a:gd name="connsiteX48633" fmla="*/ 3428692 w 8079933"/>
              <a:gd name="connsiteY48633" fmla="*/ 953862 h 4687251"/>
              <a:gd name="connsiteX48634" fmla="*/ 3425003 w 8079933"/>
              <a:gd name="connsiteY48634" fmla="*/ 955811 h 4687251"/>
              <a:gd name="connsiteX48635" fmla="*/ 3421855 w 8079933"/>
              <a:gd name="connsiteY48635" fmla="*/ 954621 h 4687251"/>
              <a:gd name="connsiteX48636" fmla="*/ 3419251 w 8079933"/>
              <a:gd name="connsiteY48636" fmla="*/ 952239 h 4687251"/>
              <a:gd name="connsiteX48637" fmla="*/ 3414910 w 8079933"/>
              <a:gd name="connsiteY48637" fmla="*/ 952239 h 4687251"/>
              <a:gd name="connsiteX48638" fmla="*/ 3412305 w 8079933"/>
              <a:gd name="connsiteY48638" fmla="*/ 955054 h 4687251"/>
              <a:gd name="connsiteX48639" fmla="*/ 3414151 w 8079933"/>
              <a:gd name="connsiteY48639" fmla="*/ 956894 h 4687251"/>
              <a:gd name="connsiteX48640" fmla="*/ 3416647 w 8079933"/>
              <a:gd name="connsiteY48640" fmla="*/ 955811 h 4687251"/>
              <a:gd name="connsiteX48641" fmla="*/ 3419577 w 8079933"/>
              <a:gd name="connsiteY48641" fmla="*/ 957327 h 4687251"/>
              <a:gd name="connsiteX48642" fmla="*/ 3427389 w 8079933"/>
              <a:gd name="connsiteY48642" fmla="*/ 957327 h 4687251"/>
              <a:gd name="connsiteX48643" fmla="*/ 3429451 w 8079933"/>
              <a:gd name="connsiteY48643" fmla="*/ 958843 h 4687251"/>
              <a:gd name="connsiteX48644" fmla="*/ 3431622 w 8079933"/>
              <a:gd name="connsiteY48644" fmla="*/ 961550 h 4687251"/>
              <a:gd name="connsiteX48645" fmla="*/ 3433250 w 8079933"/>
              <a:gd name="connsiteY48645" fmla="*/ 958410 h 4687251"/>
              <a:gd name="connsiteX48646" fmla="*/ 3439218 w 8079933"/>
              <a:gd name="connsiteY48646" fmla="*/ 953105 h 4687251"/>
              <a:gd name="connsiteX48647" fmla="*/ 3442582 w 8079933"/>
              <a:gd name="connsiteY48647" fmla="*/ 953105 h 4687251"/>
              <a:gd name="connsiteX48648" fmla="*/ 3445512 w 8079933"/>
              <a:gd name="connsiteY48648" fmla="*/ 951697 h 4687251"/>
              <a:gd name="connsiteX48649" fmla="*/ 3448225 w 8079933"/>
              <a:gd name="connsiteY48649" fmla="*/ 952780 h 4687251"/>
              <a:gd name="connsiteX48650" fmla="*/ 3450178 w 8079933"/>
              <a:gd name="connsiteY48650" fmla="*/ 954296 h 4687251"/>
              <a:gd name="connsiteX48651" fmla="*/ 3452891 w 8079933"/>
              <a:gd name="connsiteY48651" fmla="*/ 953213 h 4687251"/>
              <a:gd name="connsiteX48652" fmla="*/ 3459402 w 8079933"/>
              <a:gd name="connsiteY48652" fmla="*/ 953213 h 4687251"/>
              <a:gd name="connsiteX48653" fmla="*/ 3462549 w 8079933"/>
              <a:gd name="connsiteY48653" fmla="*/ 951481 h 4687251"/>
              <a:gd name="connsiteX48654" fmla="*/ 3469060 w 8079933"/>
              <a:gd name="connsiteY48654" fmla="*/ 946717 h 4687251"/>
              <a:gd name="connsiteX48655" fmla="*/ 3471339 w 8079933"/>
              <a:gd name="connsiteY48655" fmla="*/ 944552 h 4687251"/>
              <a:gd name="connsiteX48656" fmla="*/ 3471339 w 8079933"/>
              <a:gd name="connsiteY48656" fmla="*/ 945959 h 4687251"/>
              <a:gd name="connsiteX48657" fmla="*/ 3470688 w 8079933"/>
              <a:gd name="connsiteY48657" fmla="*/ 948341 h 4687251"/>
              <a:gd name="connsiteX48658" fmla="*/ 3471773 w 8079933"/>
              <a:gd name="connsiteY48658" fmla="*/ 949207 h 4687251"/>
              <a:gd name="connsiteX48659" fmla="*/ 3475137 w 8079933"/>
              <a:gd name="connsiteY48659" fmla="*/ 947366 h 4687251"/>
              <a:gd name="connsiteX48660" fmla="*/ 3476765 w 8079933"/>
              <a:gd name="connsiteY48660" fmla="*/ 947366 h 4687251"/>
              <a:gd name="connsiteX48661" fmla="*/ 3478393 w 8079933"/>
              <a:gd name="connsiteY48661" fmla="*/ 949423 h 4687251"/>
              <a:gd name="connsiteX48662" fmla="*/ 3484578 w 8079933"/>
              <a:gd name="connsiteY48662" fmla="*/ 954404 h 4687251"/>
              <a:gd name="connsiteX48663" fmla="*/ 3491306 w 8079933"/>
              <a:gd name="connsiteY48663" fmla="*/ 955378 h 4687251"/>
              <a:gd name="connsiteX48664" fmla="*/ 3496623 w 8079933"/>
              <a:gd name="connsiteY48664" fmla="*/ 957868 h 4687251"/>
              <a:gd name="connsiteX48665" fmla="*/ 3502591 w 8079933"/>
              <a:gd name="connsiteY48665" fmla="*/ 959276 h 4687251"/>
              <a:gd name="connsiteX48666" fmla="*/ 3505956 w 8079933"/>
              <a:gd name="connsiteY48666" fmla="*/ 959276 h 4687251"/>
              <a:gd name="connsiteX48667" fmla="*/ 3512467 w 8079933"/>
              <a:gd name="connsiteY48667" fmla="*/ 959276 h 4687251"/>
              <a:gd name="connsiteX48668" fmla="*/ 3514095 w 8079933"/>
              <a:gd name="connsiteY48668" fmla="*/ 960250 h 4687251"/>
              <a:gd name="connsiteX48669" fmla="*/ 3519629 w 8079933"/>
              <a:gd name="connsiteY48669" fmla="*/ 960250 h 4687251"/>
              <a:gd name="connsiteX48670" fmla="*/ 3525597 w 8079933"/>
              <a:gd name="connsiteY48670" fmla="*/ 958193 h 4687251"/>
              <a:gd name="connsiteX48671" fmla="*/ 3525597 w 8079933"/>
              <a:gd name="connsiteY48671" fmla="*/ 959384 h 4687251"/>
              <a:gd name="connsiteX48672" fmla="*/ 3523318 w 8079933"/>
              <a:gd name="connsiteY48672" fmla="*/ 963499 h 4687251"/>
              <a:gd name="connsiteX48673" fmla="*/ 3518869 w 8079933"/>
              <a:gd name="connsiteY48673" fmla="*/ 966313 h 4687251"/>
              <a:gd name="connsiteX48674" fmla="*/ 3513877 w 8079933"/>
              <a:gd name="connsiteY48674" fmla="*/ 967180 h 4687251"/>
              <a:gd name="connsiteX48675" fmla="*/ 3511816 w 8079933"/>
              <a:gd name="connsiteY48675" fmla="*/ 966422 h 4687251"/>
              <a:gd name="connsiteX48676" fmla="*/ 3508234 w 8079933"/>
              <a:gd name="connsiteY48676" fmla="*/ 969021 h 4687251"/>
              <a:gd name="connsiteX48677" fmla="*/ 3508234 w 8079933"/>
              <a:gd name="connsiteY48677" fmla="*/ 970970 h 4687251"/>
              <a:gd name="connsiteX48678" fmla="*/ 3510622 w 8079933"/>
              <a:gd name="connsiteY48678" fmla="*/ 972702 h 4687251"/>
              <a:gd name="connsiteX48679" fmla="*/ 3510622 w 8079933"/>
              <a:gd name="connsiteY48679" fmla="*/ 974867 h 4687251"/>
              <a:gd name="connsiteX48680" fmla="*/ 3509102 w 8079933"/>
              <a:gd name="connsiteY48680" fmla="*/ 975950 h 4687251"/>
              <a:gd name="connsiteX48681" fmla="*/ 3506824 w 8079933"/>
              <a:gd name="connsiteY48681" fmla="*/ 975300 h 4687251"/>
              <a:gd name="connsiteX48682" fmla="*/ 3505088 w 8079933"/>
              <a:gd name="connsiteY48682" fmla="*/ 973460 h 4687251"/>
              <a:gd name="connsiteX48683" fmla="*/ 3503135 w 8079933"/>
              <a:gd name="connsiteY48683" fmla="*/ 972702 h 4687251"/>
              <a:gd name="connsiteX48684" fmla="*/ 3502049 w 8079933"/>
              <a:gd name="connsiteY48684" fmla="*/ 975300 h 4687251"/>
              <a:gd name="connsiteX48685" fmla="*/ 3501398 w 8079933"/>
              <a:gd name="connsiteY48685" fmla="*/ 977249 h 4687251"/>
              <a:gd name="connsiteX48686" fmla="*/ 3499336 w 8079933"/>
              <a:gd name="connsiteY48686" fmla="*/ 975841 h 4687251"/>
              <a:gd name="connsiteX48687" fmla="*/ 3494995 w 8079933"/>
              <a:gd name="connsiteY48687" fmla="*/ 975841 h 4687251"/>
              <a:gd name="connsiteX48688" fmla="*/ 3494127 w 8079933"/>
              <a:gd name="connsiteY48688" fmla="*/ 977033 h 4687251"/>
              <a:gd name="connsiteX48689" fmla="*/ 3494127 w 8079933"/>
              <a:gd name="connsiteY48689" fmla="*/ 979306 h 4687251"/>
              <a:gd name="connsiteX48690" fmla="*/ 3495430 w 8079933"/>
              <a:gd name="connsiteY48690" fmla="*/ 980280 h 4687251"/>
              <a:gd name="connsiteX48691" fmla="*/ 3495430 w 8079933"/>
              <a:gd name="connsiteY48691" fmla="*/ 983096 h 4687251"/>
              <a:gd name="connsiteX48692" fmla="*/ 3492934 w 8079933"/>
              <a:gd name="connsiteY48692" fmla="*/ 984936 h 4687251"/>
              <a:gd name="connsiteX48693" fmla="*/ 3489787 w 8079933"/>
              <a:gd name="connsiteY48693" fmla="*/ 985911 h 4687251"/>
              <a:gd name="connsiteX48694" fmla="*/ 3488051 w 8079933"/>
              <a:gd name="connsiteY48694" fmla="*/ 984286 h 4687251"/>
              <a:gd name="connsiteX48695" fmla="*/ 3486423 w 8079933"/>
              <a:gd name="connsiteY48695" fmla="*/ 982988 h 4687251"/>
              <a:gd name="connsiteX48696" fmla="*/ 3485338 w 8079933"/>
              <a:gd name="connsiteY48696" fmla="*/ 984178 h 4687251"/>
              <a:gd name="connsiteX48697" fmla="*/ 3485989 w 8079933"/>
              <a:gd name="connsiteY48697" fmla="*/ 986344 h 4687251"/>
              <a:gd name="connsiteX48698" fmla="*/ 3485989 w 8079933"/>
              <a:gd name="connsiteY48698" fmla="*/ 989700 h 4687251"/>
              <a:gd name="connsiteX48699" fmla="*/ 3483384 w 8079933"/>
              <a:gd name="connsiteY48699" fmla="*/ 989700 h 4687251"/>
              <a:gd name="connsiteX48700" fmla="*/ 3481431 w 8079933"/>
              <a:gd name="connsiteY48700" fmla="*/ 990674 h 4687251"/>
              <a:gd name="connsiteX48701" fmla="*/ 3479152 w 8079933"/>
              <a:gd name="connsiteY48701" fmla="*/ 992949 h 4687251"/>
              <a:gd name="connsiteX48702" fmla="*/ 3476005 w 8079933"/>
              <a:gd name="connsiteY48702" fmla="*/ 991433 h 4687251"/>
              <a:gd name="connsiteX48703" fmla="*/ 3475354 w 8079933"/>
              <a:gd name="connsiteY48703" fmla="*/ 989592 h 4687251"/>
              <a:gd name="connsiteX48704" fmla="*/ 3473509 w 8079933"/>
              <a:gd name="connsiteY48704" fmla="*/ 989592 h 4687251"/>
              <a:gd name="connsiteX48705" fmla="*/ 3473509 w 8079933"/>
              <a:gd name="connsiteY48705" fmla="*/ 992949 h 4687251"/>
              <a:gd name="connsiteX48706" fmla="*/ 3474486 w 8079933"/>
              <a:gd name="connsiteY48706" fmla="*/ 996088 h 4687251"/>
              <a:gd name="connsiteX48707" fmla="*/ 3472207 w 8079933"/>
              <a:gd name="connsiteY48707" fmla="*/ 999878 h 4687251"/>
              <a:gd name="connsiteX48708" fmla="*/ 3469386 w 8079933"/>
              <a:gd name="connsiteY48708" fmla="*/ 998362 h 4687251"/>
              <a:gd name="connsiteX48709" fmla="*/ 3468518 w 8079933"/>
              <a:gd name="connsiteY48709" fmla="*/ 995980 h 4687251"/>
              <a:gd name="connsiteX48710" fmla="*/ 3465696 w 8079933"/>
              <a:gd name="connsiteY48710" fmla="*/ 997279 h 4687251"/>
              <a:gd name="connsiteX48711" fmla="*/ 3465696 w 8079933"/>
              <a:gd name="connsiteY48711" fmla="*/ 999228 h 4687251"/>
              <a:gd name="connsiteX48712" fmla="*/ 3467541 w 8079933"/>
              <a:gd name="connsiteY48712" fmla="*/ 1000744 h 4687251"/>
              <a:gd name="connsiteX48713" fmla="*/ 3467541 w 8079933"/>
              <a:gd name="connsiteY48713" fmla="*/ 1003775 h 4687251"/>
              <a:gd name="connsiteX48714" fmla="*/ 3462766 w 8079933"/>
              <a:gd name="connsiteY48714" fmla="*/ 1006915 h 4687251"/>
              <a:gd name="connsiteX48715" fmla="*/ 3460921 w 8079933"/>
              <a:gd name="connsiteY48715" fmla="*/ 1006266 h 4687251"/>
              <a:gd name="connsiteX48716" fmla="*/ 3459836 w 8079933"/>
              <a:gd name="connsiteY48716" fmla="*/ 1004100 h 4687251"/>
              <a:gd name="connsiteX48717" fmla="*/ 3457015 w 8079933"/>
              <a:gd name="connsiteY48717" fmla="*/ 1002476 h 4687251"/>
              <a:gd name="connsiteX48718" fmla="*/ 3451263 w 8079933"/>
              <a:gd name="connsiteY48718" fmla="*/ 1003559 h 4687251"/>
              <a:gd name="connsiteX48719" fmla="*/ 3451263 w 8079933"/>
              <a:gd name="connsiteY48719" fmla="*/ 1005833 h 4687251"/>
              <a:gd name="connsiteX48720" fmla="*/ 3452891 w 8079933"/>
              <a:gd name="connsiteY48720" fmla="*/ 1009080 h 4687251"/>
              <a:gd name="connsiteX48721" fmla="*/ 3452891 w 8079933"/>
              <a:gd name="connsiteY48721" fmla="*/ 1011246 h 4687251"/>
              <a:gd name="connsiteX48722" fmla="*/ 3450612 w 8079933"/>
              <a:gd name="connsiteY48722" fmla="*/ 1012653 h 4687251"/>
              <a:gd name="connsiteX48723" fmla="*/ 3446489 w 8079933"/>
              <a:gd name="connsiteY48723" fmla="*/ 1013736 h 4687251"/>
              <a:gd name="connsiteX48724" fmla="*/ 3445186 w 8079933"/>
              <a:gd name="connsiteY48724" fmla="*/ 1015685 h 4687251"/>
              <a:gd name="connsiteX48725" fmla="*/ 3440520 w 8079933"/>
              <a:gd name="connsiteY48725" fmla="*/ 1015685 h 4687251"/>
              <a:gd name="connsiteX48726" fmla="*/ 3437807 w 8079933"/>
              <a:gd name="connsiteY48726" fmla="*/ 1018392 h 4687251"/>
              <a:gd name="connsiteX48727" fmla="*/ 3436397 w 8079933"/>
              <a:gd name="connsiteY48727" fmla="*/ 1021532 h 4687251"/>
              <a:gd name="connsiteX48728" fmla="*/ 3434552 w 8079933"/>
              <a:gd name="connsiteY48728" fmla="*/ 1021532 h 4687251"/>
              <a:gd name="connsiteX48729" fmla="*/ 3433032 w 8079933"/>
              <a:gd name="connsiteY48729" fmla="*/ 1018825 h 4687251"/>
              <a:gd name="connsiteX48730" fmla="*/ 3430319 w 8079933"/>
              <a:gd name="connsiteY48730" fmla="*/ 1018825 h 4687251"/>
              <a:gd name="connsiteX48731" fmla="*/ 3426196 w 8079933"/>
              <a:gd name="connsiteY48731" fmla="*/ 1021316 h 4687251"/>
              <a:gd name="connsiteX48732" fmla="*/ 3422832 w 8079933"/>
              <a:gd name="connsiteY48732" fmla="*/ 1021316 h 4687251"/>
              <a:gd name="connsiteX48733" fmla="*/ 3421096 w 8079933"/>
              <a:gd name="connsiteY48733" fmla="*/ 1022398 h 4687251"/>
              <a:gd name="connsiteX48734" fmla="*/ 3419577 w 8079933"/>
              <a:gd name="connsiteY48734" fmla="*/ 1025213 h 4687251"/>
              <a:gd name="connsiteX48735" fmla="*/ 3416864 w 8079933"/>
              <a:gd name="connsiteY48735" fmla="*/ 1025213 h 4687251"/>
              <a:gd name="connsiteX48736" fmla="*/ 3414367 w 8079933"/>
              <a:gd name="connsiteY48736" fmla="*/ 1024130 h 4687251"/>
              <a:gd name="connsiteX48737" fmla="*/ 3413174 w 8079933"/>
              <a:gd name="connsiteY48737" fmla="*/ 1022398 h 4687251"/>
              <a:gd name="connsiteX48738" fmla="*/ 3411764 w 8079933"/>
              <a:gd name="connsiteY48738" fmla="*/ 1022398 h 4687251"/>
              <a:gd name="connsiteX48739" fmla="*/ 3409376 w 8079933"/>
              <a:gd name="connsiteY48739" fmla="*/ 1026945 h 4687251"/>
              <a:gd name="connsiteX48740" fmla="*/ 3407748 w 8079933"/>
              <a:gd name="connsiteY48740" fmla="*/ 1025863 h 4687251"/>
              <a:gd name="connsiteX48741" fmla="*/ 3405578 w 8079933"/>
              <a:gd name="connsiteY48741" fmla="*/ 1022723 h 4687251"/>
              <a:gd name="connsiteX48742" fmla="*/ 3404167 w 8079933"/>
              <a:gd name="connsiteY48742" fmla="*/ 1022723 h 4687251"/>
              <a:gd name="connsiteX48743" fmla="*/ 3403191 w 8079933"/>
              <a:gd name="connsiteY48743" fmla="*/ 1026079 h 4687251"/>
              <a:gd name="connsiteX48744" fmla="*/ 3401128 w 8079933"/>
              <a:gd name="connsiteY48744" fmla="*/ 1028136 h 4687251"/>
              <a:gd name="connsiteX48745" fmla="*/ 3398850 w 8079933"/>
              <a:gd name="connsiteY48745" fmla="*/ 1026837 h 4687251"/>
              <a:gd name="connsiteX48746" fmla="*/ 3398850 w 8079933"/>
              <a:gd name="connsiteY48746" fmla="*/ 1024996 h 4687251"/>
              <a:gd name="connsiteX48747" fmla="*/ 3397439 w 8079933"/>
              <a:gd name="connsiteY48747" fmla="*/ 1024996 h 4687251"/>
              <a:gd name="connsiteX48748" fmla="*/ 3397439 w 8079933"/>
              <a:gd name="connsiteY48748" fmla="*/ 1028894 h 4687251"/>
              <a:gd name="connsiteX48749" fmla="*/ 3395920 w 8079933"/>
              <a:gd name="connsiteY48749" fmla="*/ 1029761 h 4687251"/>
              <a:gd name="connsiteX48750" fmla="*/ 3392339 w 8079933"/>
              <a:gd name="connsiteY48750" fmla="*/ 1029761 h 4687251"/>
              <a:gd name="connsiteX48751" fmla="*/ 3389734 w 8079933"/>
              <a:gd name="connsiteY48751" fmla="*/ 1030518 h 4687251"/>
              <a:gd name="connsiteX48752" fmla="*/ 3389734 w 8079933"/>
              <a:gd name="connsiteY48752" fmla="*/ 1032684 h 4687251"/>
              <a:gd name="connsiteX48753" fmla="*/ 3389083 w 8079933"/>
              <a:gd name="connsiteY48753" fmla="*/ 1034849 h 4687251"/>
              <a:gd name="connsiteX48754" fmla="*/ 3386153 w 8079933"/>
              <a:gd name="connsiteY48754" fmla="*/ 1034849 h 4687251"/>
              <a:gd name="connsiteX48755" fmla="*/ 3384960 w 8079933"/>
              <a:gd name="connsiteY48755" fmla="*/ 1033767 h 4687251"/>
              <a:gd name="connsiteX48756" fmla="*/ 3383006 w 8079933"/>
              <a:gd name="connsiteY48756" fmla="*/ 1033767 h 4687251"/>
              <a:gd name="connsiteX48757" fmla="*/ 3383006 w 8079933"/>
              <a:gd name="connsiteY48757" fmla="*/ 1036148 h 4687251"/>
              <a:gd name="connsiteX48758" fmla="*/ 3381270 w 8079933"/>
              <a:gd name="connsiteY48758" fmla="*/ 1036148 h 4687251"/>
              <a:gd name="connsiteX48759" fmla="*/ 3380076 w 8079933"/>
              <a:gd name="connsiteY48759" fmla="*/ 1034632 h 4687251"/>
              <a:gd name="connsiteX48760" fmla="*/ 3378774 w 8079933"/>
              <a:gd name="connsiteY48760" fmla="*/ 1034632 h 4687251"/>
              <a:gd name="connsiteX48761" fmla="*/ 3378774 w 8079933"/>
              <a:gd name="connsiteY48761" fmla="*/ 1038639 h 4687251"/>
              <a:gd name="connsiteX48762" fmla="*/ 3376279 w 8079933"/>
              <a:gd name="connsiteY48762" fmla="*/ 1039504 h 4687251"/>
              <a:gd name="connsiteX48763" fmla="*/ 3374542 w 8079933"/>
              <a:gd name="connsiteY48763" fmla="*/ 1041453 h 4687251"/>
              <a:gd name="connsiteX48764" fmla="*/ 3372263 w 8079933"/>
              <a:gd name="connsiteY48764" fmla="*/ 1041453 h 4687251"/>
              <a:gd name="connsiteX48765" fmla="*/ 3371069 w 8079933"/>
              <a:gd name="connsiteY48765" fmla="*/ 1039071 h 4687251"/>
              <a:gd name="connsiteX48766" fmla="*/ 3366403 w 8079933"/>
              <a:gd name="connsiteY48766" fmla="*/ 1033658 h 4687251"/>
              <a:gd name="connsiteX48767" fmla="*/ 3364558 w 8079933"/>
              <a:gd name="connsiteY48767" fmla="*/ 1032792 h 4687251"/>
              <a:gd name="connsiteX48768" fmla="*/ 3362063 w 8079933"/>
              <a:gd name="connsiteY48768" fmla="*/ 1033983 h 4687251"/>
              <a:gd name="connsiteX48769" fmla="*/ 3362063 w 8079933"/>
              <a:gd name="connsiteY48769" fmla="*/ 1035715 h 4687251"/>
              <a:gd name="connsiteX48770" fmla="*/ 3360001 w 8079933"/>
              <a:gd name="connsiteY48770" fmla="*/ 1035715 h 4687251"/>
              <a:gd name="connsiteX48771" fmla="*/ 3359133 w 8079933"/>
              <a:gd name="connsiteY48771" fmla="*/ 1038747 h 4687251"/>
              <a:gd name="connsiteX48772" fmla="*/ 3356094 w 8079933"/>
              <a:gd name="connsiteY48772" fmla="*/ 1040912 h 4687251"/>
              <a:gd name="connsiteX48773" fmla="*/ 3353490 w 8079933"/>
              <a:gd name="connsiteY48773" fmla="*/ 1040912 h 4687251"/>
              <a:gd name="connsiteX48774" fmla="*/ 3352079 w 8079933"/>
              <a:gd name="connsiteY48774" fmla="*/ 1039830 h 4687251"/>
              <a:gd name="connsiteX48775" fmla="*/ 3350451 w 8079933"/>
              <a:gd name="connsiteY48775" fmla="*/ 1042320 h 4687251"/>
              <a:gd name="connsiteX48776" fmla="*/ 3346653 w 8079933"/>
              <a:gd name="connsiteY48776" fmla="*/ 1042320 h 4687251"/>
              <a:gd name="connsiteX48777" fmla="*/ 3343072 w 8079933"/>
              <a:gd name="connsiteY48777" fmla="*/ 1042320 h 4687251"/>
              <a:gd name="connsiteX48778" fmla="*/ 3340902 w 8079933"/>
              <a:gd name="connsiteY48778" fmla="*/ 1039288 h 4687251"/>
              <a:gd name="connsiteX48779" fmla="*/ 3338840 w 8079933"/>
              <a:gd name="connsiteY48779" fmla="*/ 1039288 h 4687251"/>
              <a:gd name="connsiteX48780" fmla="*/ 3337429 w 8079933"/>
              <a:gd name="connsiteY48780" fmla="*/ 1041778 h 4687251"/>
              <a:gd name="connsiteX48781" fmla="*/ 3337429 w 8079933"/>
              <a:gd name="connsiteY48781" fmla="*/ 1043619 h 4687251"/>
              <a:gd name="connsiteX48782" fmla="*/ 3334934 w 8079933"/>
              <a:gd name="connsiteY48782" fmla="*/ 1043619 h 4687251"/>
              <a:gd name="connsiteX48783" fmla="*/ 3331569 w 8079933"/>
              <a:gd name="connsiteY48783" fmla="*/ 1041453 h 4687251"/>
              <a:gd name="connsiteX48784" fmla="*/ 3330051 w 8079933"/>
              <a:gd name="connsiteY48784" fmla="*/ 1037772 h 4687251"/>
              <a:gd name="connsiteX48785" fmla="*/ 3331136 w 8079933"/>
              <a:gd name="connsiteY48785" fmla="*/ 1034416 h 4687251"/>
              <a:gd name="connsiteX48786" fmla="*/ 3329182 w 8079933"/>
              <a:gd name="connsiteY48786" fmla="*/ 1032684 h 4687251"/>
              <a:gd name="connsiteX48787" fmla="*/ 3326686 w 8079933"/>
              <a:gd name="connsiteY48787" fmla="*/ 1031926 h 4687251"/>
              <a:gd name="connsiteX48788" fmla="*/ 3324408 w 8079933"/>
              <a:gd name="connsiteY48788" fmla="*/ 1027379 h 4687251"/>
              <a:gd name="connsiteX48789" fmla="*/ 3324408 w 8079933"/>
              <a:gd name="connsiteY48789" fmla="*/ 1024022 h 4687251"/>
              <a:gd name="connsiteX48790" fmla="*/ 3322454 w 8079933"/>
              <a:gd name="connsiteY48790" fmla="*/ 1020882 h 4687251"/>
              <a:gd name="connsiteX48791" fmla="*/ 3321043 w 8079933"/>
              <a:gd name="connsiteY48791" fmla="*/ 1016443 h 4687251"/>
              <a:gd name="connsiteX48792" fmla="*/ 3319415 w 8079933"/>
              <a:gd name="connsiteY48792" fmla="*/ 1014927 h 4687251"/>
              <a:gd name="connsiteX48793" fmla="*/ 3317354 w 8079933"/>
              <a:gd name="connsiteY48793" fmla="*/ 1014927 h 4687251"/>
              <a:gd name="connsiteX48794" fmla="*/ 3317354 w 8079933"/>
              <a:gd name="connsiteY48794" fmla="*/ 1018500 h 4687251"/>
              <a:gd name="connsiteX48795" fmla="*/ 3318439 w 8079933"/>
              <a:gd name="connsiteY48795" fmla="*/ 1020449 h 4687251"/>
              <a:gd name="connsiteX48796" fmla="*/ 3319958 w 8079933"/>
              <a:gd name="connsiteY48796" fmla="*/ 1024347 h 4687251"/>
              <a:gd name="connsiteX48797" fmla="*/ 3322128 w 8079933"/>
              <a:gd name="connsiteY48797" fmla="*/ 1026296 h 4687251"/>
              <a:gd name="connsiteX48798" fmla="*/ 3323322 w 8079933"/>
              <a:gd name="connsiteY48798" fmla="*/ 1029327 h 4687251"/>
              <a:gd name="connsiteX48799" fmla="*/ 3323322 w 8079933"/>
              <a:gd name="connsiteY48799" fmla="*/ 1033767 h 4687251"/>
              <a:gd name="connsiteX48800" fmla="*/ 3322020 w 8079933"/>
              <a:gd name="connsiteY48800" fmla="*/ 1036906 h 4687251"/>
              <a:gd name="connsiteX48801" fmla="*/ 3323105 w 8079933"/>
              <a:gd name="connsiteY48801" fmla="*/ 1037772 h 4687251"/>
              <a:gd name="connsiteX48802" fmla="*/ 3325601 w 8079933"/>
              <a:gd name="connsiteY48802" fmla="*/ 1037772 h 4687251"/>
              <a:gd name="connsiteX48803" fmla="*/ 3326578 w 8079933"/>
              <a:gd name="connsiteY48803" fmla="*/ 1042753 h 4687251"/>
              <a:gd name="connsiteX48804" fmla="*/ 3325601 w 8079933"/>
              <a:gd name="connsiteY48804" fmla="*/ 1048491 h 4687251"/>
              <a:gd name="connsiteX48805" fmla="*/ 3323213 w 8079933"/>
              <a:gd name="connsiteY48805" fmla="*/ 1051523 h 4687251"/>
              <a:gd name="connsiteX48806" fmla="*/ 3320392 w 8079933"/>
              <a:gd name="connsiteY48806" fmla="*/ 1052714 h 4687251"/>
              <a:gd name="connsiteX48807" fmla="*/ 3319090 w 8079933"/>
              <a:gd name="connsiteY48807" fmla="*/ 1051198 h 4687251"/>
              <a:gd name="connsiteX48808" fmla="*/ 3317245 w 8079933"/>
              <a:gd name="connsiteY48808" fmla="*/ 1051198 h 4687251"/>
              <a:gd name="connsiteX48809" fmla="*/ 3313773 w 8079933"/>
              <a:gd name="connsiteY48809" fmla="*/ 1052930 h 4687251"/>
              <a:gd name="connsiteX48810" fmla="*/ 3310409 w 8079933"/>
              <a:gd name="connsiteY48810" fmla="*/ 1057369 h 4687251"/>
              <a:gd name="connsiteX48811" fmla="*/ 3308564 w 8079933"/>
              <a:gd name="connsiteY48811" fmla="*/ 1058236 h 4687251"/>
              <a:gd name="connsiteX48812" fmla="*/ 3305417 w 8079933"/>
              <a:gd name="connsiteY48812" fmla="*/ 1058236 h 4687251"/>
              <a:gd name="connsiteX48813" fmla="*/ 3304332 w 8079933"/>
              <a:gd name="connsiteY48813" fmla="*/ 1059859 h 4687251"/>
              <a:gd name="connsiteX48814" fmla="*/ 3304332 w 8079933"/>
              <a:gd name="connsiteY48814" fmla="*/ 1060942 h 4687251"/>
              <a:gd name="connsiteX48815" fmla="*/ 3304332 w 8079933"/>
              <a:gd name="connsiteY48815" fmla="*/ 1063649 h 4687251"/>
              <a:gd name="connsiteX48816" fmla="*/ 3301402 w 8079933"/>
              <a:gd name="connsiteY48816" fmla="*/ 1065489 h 4687251"/>
              <a:gd name="connsiteX48817" fmla="*/ 3298363 w 8079933"/>
              <a:gd name="connsiteY48817" fmla="*/ 1065489 h 4687251"/>
              <a:gd name="connsiteX48818" fmla="*/ 3297712 w 8079933"/>
              <a:gd name="connsiteY48818" fmla="*/ 1068305 h 4687251"/>
              <a:gd name="connsiteX48819" fmla="*/ 3297712 w 8079933"/>
              <a:gd name="connsiteY48819" fmla="*/ 1069821 h 4687251"/>
              <a:gd name="connsiteX48820" fmla="*/ 3297712 w 8079933"/>
              <a:gd name="connsiteY48820" fmla="*/ 1072311 h 4687251"/>
              <a:gd name="connsiteX48821" fmla="*/ 3295325 w 8079933"/>
              <a:gd name="connsiteY48821" fmla="*/ 1069821 h 4687251"/>
              <a:gd name="connsiteX48822" fmla="*/ 3293154 w 8079933"/>
              <a:gd name="connsiteY48822" fmla="*/ 1069171 h 4687251"/>
              <a:gd name="connsiteX48823" fmla="*/ 3294999 w 8079933"/>
              <a:gd name="connsiteY48823" fmla="*/ 1071336 h 4687251"/>
              <a:gd name="connsiteX48824" fmla="*/ 3295650 w 8079933"/>
              <a:gd name="connsiteY48824" fmla="*/ 1073177 h 4687251"/>
              <a:gd name="connsiteX48825" fmla="*/ 3294782 w 8079933"/>
              <a:gd name="connsiteY48825" fmla="*/ 1076100 h 4687251"/>
              <a:gd name="connsiteX48826" fmla="*/ 3293046 w 8079933"/>
              <a:gd name="connsiteY48826" fmla="*/ 1076100 h 4687251"/>
              <a:gd name="connsiteX48827" fmla="*/ 3291093 w 8079933"/>
              <a:gd name="connsiteY48827" fmla="*/ 1075017 h 4687251"/>
              <a:gd name="connsiteX48828" fmla="*/ 3288814 w 8079933"/>
              <a:gd name="connsiteY48828" fmla="*/ 1074152 h 4687251"/>
              <a:gd name="connsiteX48829" fmla="*/ 3288814 w 8079933"/>
              <a:gd name="connsiteY48829" fmla="*/ 1075234 h 4687251"/>
              <a:gd name="connsiteX48830" fmla="*/ 3289574 w 8079933"/>
              <a:gd name="connsiteY48830" fmla="*/ 1077075 h 4687251"/>
              <a:gd name="connsiteX48831" fmla="*/ 3290333 w 8079933"/>
              <a:gd name="connsiteY48831" fmla="*/ 1079348 h 4687251"/>
              <a:gd name="connsiteX48832" fmla="*/ 3288271 w 8079933"/>
              <a:gd name="connsiteY48832" fmla="*/ 1082055 h 4687251"/>
              <a:gd name="connsiteX48833" fmla="*/ 3284473 w 8079933"/>
              <a:gd name="connsiteY48833" fmla="*/ 1083246 h 4687251"/>
              <a:gd name="connsiteX48834" fmla="*/ 3279156 w 8079933"/>
              <a:gd name="connsiteY48834" fmla="*/ 1088984 h 4687251"/>
              <a:gd name="connsiteX48835" fmla="*/ 3279156 w 8079933"/>
              <a:gd name="connsiteY48835" fmla="*/ 1092016 h 4687251"/>
              <a:gd name="connsiteX48836" fmla="*/ 3279807 w 8079933"/>
              <a:gd name="connsiteY48836" fmla="*/ 1095156 h 4687251"/>
              <a:gd name="connsiteX48837" fmla="*/ 3278614 w 8079933"/>
              <a:gd name="connsiteY48837" fmla="*/ 1098513 h 4687251"/>
              <a:gd name="connsiteX48838" fmla="*/ 3275358 w 8079933"/>
              <a:gd name="connsiteY48838" fmla="*/ 1102518 h 4687251"/>
              <a:gd name="connsiteX48839" fmla="*/ 3272971 w 8079933"/>
              <a:gd name="connsiteY48839" fmla="*/ 1104034 h 4687251"/>
              <a:gd name="connsiteX48840" fmla="*/ 3271777 w 8079933"/>
              <a:gd name="connsiteY48840" fmla="*/ 1103060 h 4687251"/>
              <a:gd name="connsiteX48841" fmla="*/ 3270691 w 8079933"/>
              <a:gd name="connsiteY48841" fmla="*/ 1101219 h 4687251"/>
              <a:gd name="connsiteX48842" fmla="*/ 3271559 w 8079933"/>
              <a:gd name="connsiteY48842" fmla="*/ 1099270 h 4687251"/>
              <a:gd name="connsiteX48843" fmla="*/ 3269498 w 8079933"/>
              <a:gd name="connsiteY48843" fmla="*/ 1100352 h 4687251"/>
              <a:gd name="connsiteX48844" fmla="*/ 3267979 w 8079933"/>
              <a:gd name="connsiteY48844" fmla="*/ 1102193 h 4687251"/>
              <a:gd name="connsiteX48845" fmla="*/ 3267436 w 8079933"/>
              <a:gd name="connsiteY48845" fmla="*/ 1105442 h 4687251"/>
              <a:gd name="connsiteX48846" fmla="*/ 3267436 w 8079933"/>
              <a:gd name="connsiteY48846" fmla="*/ 1106740 h 4687251"/>
              <a:gd name="connsiteX48847" fmla="*/ 3266676 w 8079933"/>
              <a:gd name="connsiteY48847" fmla="*/ 1108256 h 4687251"/>
              <a:gd name="connsiteX48848" fmla="*/ 3260708 w 8079933"/>
              <a:gd name="connsiteY48848" fmla="*/ 1113778 h 4687251"/>
              <a:gd name="connsiteX48849" fmla="*/ 3258320 w 8079933"/>
              <a:gd name="connsiteY48849" fmla="*/ 1114970 h 4687251"/>
              <a:gd name="connsiteX48850" fmla="*/ 3257019 w 8079933"/>
              <a:gd name="connsiteY48850" fmla="*/ 1114103 h 4687251"/>
              <a:gd name="connsiteX48851" fmla="*/ 3257019 w 8079933"/>
              <a:gd name="connsiteY48851" fmla="*/ 1111396 h 4687251"/>
              <a:gd name="connsiteX48852" fmla="*/ 3255607 w 8079933"/>
              <a:gd name="connsiteY48852" fmla="*/ 1109664 h 4687251"/>
              <a:gd name="connsiteX48853" fmla="*/ 3253546 w 8079933"/>
              <a:gd name="connsiteY48853" fmla="*/ 1109664 h 4687251"/>
              <a:gd name="connsiteX48854" fmla="*/ 3253546 w 8079933"/>
              <a:gd name="connsiteY48854" fmla="*/ 1112479 h 4687251"/>
              <a:gd name="connsiteX48855" fmla="*/ 3251701 w 8079933"/>
              <a:gd name="connsiteY48855" fmla="*/ 1112479 h 4687251"/>
              <a:gd name="connsiteX48856" fmla="*/ 3247252 w 8079933"/>
              <a:gd name="connsiteY48856" fmla="*/ 1110205 h 4687251"/>
              <a:gd name="connsiteX48857" fmla="*/ 3245841 w 8079933"/>
              <a:gd name="connsiteY48857" fmla="*/ 1108040 h 4687251"/>
              <a:gd name="connsiteX48858" fmla="*/ 3243997 w 8079933"/>
              <a:gd name="connsiteY48858" fmla="*/ 1108040 h 4687251"/>
              <a:gd name="connsiteX48859" fmla="*/ 3243020 w 8079933"/>
              <a:gd name="connsiteY48859" fmla="*/ 1108797 h 4687251"/>
              <a:gd name="connsiteX48860" fmla="*/ 3244648 w 8079933"/>
              <a:gd name="connsiteY48860" fmla="*/ 1111288 h 4687251"/>
              <a:gd name="connsiteX48861" fmla="*/ 3246601 w 8079933"/>
              <a:gd name="connsiteY48861" fmla="*/ 1112262 h 4687251"/>
              <a:gd name="connsiteX48862" fmla="*/ 3248663 w 8079933"/>
              <a:gd name="connsiteY48862" fmla="*/ 1115835 h 4687251"/>
              <a:gd name="connsiteX48863" fmla="*/ 3248663 w 8079933"/>
              <a:gd name="connsiteY48863" fmla="*/ 1118867 h 4687251"/>
              <a:gd name="connsiteX48864" fmla="*/ 3246384 w 8079933"/>
              <a:gd name="connsiteY48864" fmla="*/ 1120383 h 4687251"/>
              <a:gd name="connsiteX48865" fmla="*/ 3244539 w 8079933"/>
              <a:gd name="connsiteY48865" fmla="*/ 1120383 h 4687251"/>
              <a:gd name="connsiteX48866" fmla="*/ 3238462 w 8079933"/>
              <a:gd name="connsiteY48866" fmla="*/ 1124280 h 4687251"/>
              <a:gd name="connsiteX48867" fmla="*/ 3234881 w 8079933"/>
              <a:gd name="connsiteY48867" fmla="*/ 1128178 h 4687251"/>
              <a:gd name="connsiteX48868" fmla="*/ 3231626 w 8079933"/>
              <a:gd name="connsiteY48868" fmla="*/ 1128178 h 4687251"/>
              <a:gd name="connsiteX48869" fmla="*/ 3229238 w 8079933"/>
              <a:gd name="connsiteY48869" fmla="*/ 1126554 h 4687251"/>
              <a:gd name="connsiteX48870" fmla="*/ 3229238 w 8079933"/>
              <a:gd name="connsiteY48870" fmla="*/ 1124280 h 4687251"/>
              <a:gd name="connsiteX48871" fmla="*/ 3230106 w 8079933"/>
              <a:gd name="connsiteY48871" fmla="*/ 1122115 h 4687251"/>
              <a:gd name="connsiteX48872" fmla="*/ 3228804 w 8079933"/>
              <a:gd name="connsiteY48872" fmla="*/ 1121141 h 4687251"/>
              <a:gd name="connsiteX48873" fmla="*/ 3227285 w 8079933"/>
              <a:gd name="connsiteY48873" fmla="*/ 1121141 h 4687251"/>
              <a:gd name="connsiteX48874" fmla="*/ 3225875 w 8079933"/>
              <a:gd name="connsiteY48874" fmla="*/ 1123847 h 4687251"/>
              <a:gd name="connsiteX48875" fmla="*/ 3225875 w 8079933"/>
              <a:gd name="connsiteY48875" fmla="*/ 1126013 h 4687251"/>
              <a:gd name="connsiteX48876" fmla="*/ 3225223 w 8079933"/>
              <a:gd name="connsiteY48876" fmla="*/ 1128286 h 4687251"/>
              <a:gd name="connsiteX48877" fmla="*/ 3222510 w 8079933"/>
              <a:gd name="connsiteY48877" fmla="*/ 1128286 h 4687251"/>
              <a:gd name="connsiteX48878" fmla="*/ 3218929 w 8079933"/>
              <a:gd name="connsiteY48878" fmla="*/ 1130019 h 4687251"/>
              <a:gd name="connsiteX48879" fmla="*/ 3215674 w 8079933"/>
              <a:gd name="connsiteY48879" fmla="*/ 1128828 h 4687251"/>
              <a:gd name="connsiteX48880" fmla="*/ 3213503 w 8079933"/>
              <a:gd name="connsiteY48880" fmla="*/ 1124713 h 4687251"/>
              <a:gd name="connsiteX48881" fmla="*/ 3213503 w 8079933"/>
              <a:gd name="connsiteY48881" fmla="*/ 1122007 h 4687251"/>
              <a:gd name="connsiteX48882" fmla="*/ 3214806 w 8079933"/>
              <a:gd name="connsiteY48882" fmla="*/ 1118867 h 4687251"/>
              <a:gd name="connsiteX48883" fmla="*/ 3213721 w 8079933"/>
              <a:gd name="connsiteY48883" fmla="*/ 1116593 h 4687251"/>
              <a:gd name="connsiteX48884" fmla="*/ 3212527 w 8079933"/>
              <a:gd name="connsiteY48884" fmla="*/ 1116593 h 4687251"/>
              <a:gd name="connsiteX48885" fmla="*/ 3211659 w 8079933"/>
              <a:gd name="connsiteY48885" fmla="*/ 1121357 h 4687251"/>
              <a:gd name="connsiteX48886" fmla="*/ 3210573 w 8079933"/>
              <a:gd name="connsiteY48886" fmla="*/ 1125038 h 4687251"/>
              <a:gd name="connsiteX48887" fmla="*/ 3210573 w 8079933"/>
              <a:gd name="connsiteY48887" fmla="*/ 1127529 h 4687251"/>
              <a:gd name="connsiteX48888" fmla="*/ 3209488 w 8079933"/>
              <a:gd name="connsiteY48888" fmla="*/ 1130235 h 4687251"/>
              <a:gd name="connsiteX48889" fmla="*/ 3207643 w 8079933"/>
              <a:gd name="connsiteY48889" fmla="*/ 1129261 h 4687251"/>
              <a:gd name="connsiteX48890" fmla="*/ 3202326 w 8079933"/>
              <a:gd name="connsiteY48890" fmla="*/ 1122873 h 4687251"/>
              <a:gd name="connsiteX48891" fmla="*/ 3202326 w 8079933"/>
              <a:gd name="connsiteY48891" fmla="*/ 1119409 h 4687251"/>
              <a:gd name="connsiteX48892" fmla="*/ 3204171 w 8079933"/>
              <a:gd name="connsiteY48892" fmla="*/ 1114861 h 4687251"/>
              <a:gd name="connsiteX48893" fmla="*/ 3207318 w 8079933"/>
              <a:gd name="connsiteY48893" fmla="*/ 1112154 h 4687251"/>
              <a:gd name="connsiteX48894" fmla="*/ 3210031 w 8079933"/>
              <a:gd name="connsiteY48894" fmla="*/ 1110097 h 4687251"/>
              <a:gd name="connsiteX48895" fmla="*/ 3208186 w 8079933"/>
              <a:gd name="connsiteY48895" fmla="*/ 1108581 h 4687251"/>
              <a:gd name="connsiteX48896" fmla="*/ 3204388 w 8079933"/>
              <a:gd name="connsiteY48896" fmla="*/ 1107715 h 4687251"/>
              <a:gd name="connsiteX48897" fmla="*/ 3201783 w 8079933"/>
              <a:gd name="connsiteY48897" fmla="*/ 1104576 h 4687251"/>
              <a:gd name="connsiteX48898" fmla="*/ 3201783 w 8079933"/>
              <a:gd name="connsiteY48898" fmla="*/ 1103384 h 4687251"/>
              <a:gd name="connsiteX48899" fmla="*/ 3200698 w 8079933"/>
              <a:gd name="connsiteY48899" fmla="*/ 1102843 h 4687251"/>
              <a:gd name="connsiteX48900" fmla="*/ 3198528 w 8079933"/>
              <a:gd name="connsiteY48900" fmla="*/ 1103709 h 4687251"/>
              <a:gd name="connsiteX48901" fmla="*/ 3196901 w 8079933"/>
              <a:gd name="connsiteY48901" fmla="*/ 1106307 h 4687251"/>
              <a:gd name="connsiteX48902" fmla="*/ 3196901 w 8079933"/>
              <a:gd name="connsiteY48902" fmla="*/ 1108256 h 4687251"/>
              <a:gd name="connsiteX48903" fmla="*/ 3199830 w 8079933"/>
              <a:gd name="connsiteY48903" fmla="*/ 1111396 h 4687251"/>
              <a:gd name="connsiteX48904" fmla="*/ 3199070 w 8079933"/>
              <a:gd name="connsiteY48904" fmla="*/ 1113887 h 4687251"/>
              <a:gd name="connsiteX48905" fmla="*/ 3197226 w 8079933"/>
              <a:gd name="connsiteY48905" fmla="*/ 1116810 h 4687251"/>
              <a:gd name="connsiteX48906" fmla="*/ 3196466 w 8079933"/>
              <a:gd name="connsiteY48906" fmla="*/ 1120058 h 4687251"/>
              <a:gd name="connsiteX48907" fmla="*/ 3193103 w 8079933"/>
              <a:gd name="connsiteY48907" fmla="*/ 1123523 h 4687251"/>
              <a:gd name="connsiteX48908" fmla="*/ 3190932 w 8079933"/>
              <a:gd name="connsiteY48908" fmla="*/ 1123523 h 4687251"/>
              <a:gd name="connsiteX48909" fmla="*/ 3190281 w 8079933"/>
              <a:gd name="connsiteY48909" fmla="*/ 1119625 h 4687251"/>
              <a:gd name="connsiteX48910" fmla="*/ 3188762 w 8079933"/>
              <a:gd name="connsiteY48910" fmla="*/ 1118650 h 4687251"/>
              <a:gd name="connsiteX48911" fmla="*/ 3186591 w 8079933"/>
              <a:gd name="connsiteY48911" fmla="*/ 1121032 h 4687251"/>
              <a:gd name="connsiteX48912" fmla="*/ 3187242 w 8079933"/>
              <a:gd name="connsiteY48912" fmla="*/ 1123847 h 4687251"/>
              <a:gd name="connsiteX48913" fmla="*/ 3189630 w 8079933"/>
              <a:gd name="connsiteY48913" fmla="*/ 1128828 h 4687251"/>
              <a:gd name="connsiteX48914" fmla="*/ 3191909 w 8079933"/>
              <a:gd name="connsiteY48914" fmla="*/ 1131751 h 4687251"/>
              <a:gd name="connsiteX48915" fmla="*/ 3191909 w 8079933"/>
              <a:gd name="connsiteY48915" fmla="*/ 1133592 h 4687251"/>
              <a:gd name="connsiteX48916" fmla="*/ 3190498 w 8079933"/>
              <a:gd name="connsiteY48916" fmla="*/ 1134241 h 4687251"/>
              <a:gd name="connsiteX48917" fmla="*/ 3189521 w 8079933"/>
              <a:gd name="connsiteY48917" fmla="*/ 1137056 h 4687251"/>
              <a:gd name="connsiteX48918" fmla="*/ 3186374 w 8079933"/>
              <a:gd name="connsiteY48918" fmla="*/ 1139114 h 4687251"/>
              <a:gd name="connsiteX48919" fmla="*/ 3183118 w 8079933"/>
              <a:gd name="connsiteY48919" fmla="*/ 1139114 h 4687251"/>
              <a:gd name="connsiteX48920" fmla="*/ 3181382 w 8079933"/>
              <a:gd name="connsiteY48920" fmla="*/ 1137273 h 4687251"/>
              <a:gd name="connsiteX48921" fmla="*/ 3179537 w 8079933"/>
              <a:gd name="connsiteY48921" fmla="*/ 1138031 h 4687251"/>
              <a:gd name="connsiteX48922" fmla="*/ 3177584 w 8079933"/>
              <a:gd name="connsiteY48922" fmla="*/ 1140521 h 4687251"/>
              <a:gd name="connsiteX48923" fmla="*/ 3173894 w 8079933"/>
              <a:gd name="connsiteY48923" fmla="*/ 1142145 h 4687251"/>
              <a:gd name="connsiteX48924" fmla="*/ 3172376 w 8079933"/>
              <a:gd name="connsiteY48924" fmla="*/ 1140629 h 4687251"/>
              <a:gd name="connsiteX48925" fmla="*/ 3170856 w 8079933"/>
              <a:gd name="connsiteY48925" fmla="*/ 1136623 h 4687251"/>
              <a:gd name="connsiteX48926" fmla="*/ 3169554 w 8079933"/>
              <a:gd name="connsiteY48926" fmla="*/ 1134133 h 4687251"/>
              <a:gd name="connsiteX48927" fmla="*/ 3168143 w 8079933"/>
              <a:gd name="connsiteY48927" fmla="*/ 1134133 h 4687251"/>
              <a:gd name="connsiteX48928" fmla="*/ 3168143 w 8079933"/>
              <a:gd name="connsiteY48928" fmla="*/ 1136190 h 4687251"/>
              <a:gd name="connsiteX48929" fmla="*/ 3168143 w 8079933"/>
              <a:gd name="connsiteY48929" fmla="*/ 1138356 h 4687251"/>
              <a:gd name="connsiteX48930" fmla="*/ 3165865 w 8079933"/>
              <a:gd name="connsiteY48930" fmla="*/ 1140954 h 4687251"/>
              <a:gd name="connsiteX48931" fmla="*/ 3162935 w 8079933"/>
              <a:gd name="connsiteY48931" fmla="*/ 1140954 h 4687251"/>
              <a:gd name="connsiteX48932" fmla="*/ 3161307 w 8079933"/>
              <a:gd name="connsiteY48932" fmla="*/ 1137382 h 4687251"/>
              <a:gd name="connsiteX48933" fmla="*/ 3159787 w 8079933"/>
              <a:gd name="connsiteY48933" fmla="*/ 1134891 h 4687251"/>
              <a:gd name="connsiteX48934" fmla="*/ 3158268 w 8079933"/>
              <a:gd name="connsiteY48934" fmla="*/ 1135541 h 4687251"/>
              <a:gd name="connsiteX48935" fmla="*/ 3157074 w 8079933"/>
              <a:gd name="connsiteY48935" fmla="*/ 1137490 h 4687251"/>
              <a:gd name="connsiteX48936" fmla="*/ 3154796 w 8079933"/>
              <a:gd name="connsiteY48936" fmla="*/ 1137490 h 4687251"/>
              <a:gd name="connsiteX48937" fmla="*/ 3152951 w 8079933"/>
              <a:gd name="connsiteY48937" fmla="*/ 1139005 h 4687251"/>
              <a:gd name="connsiteX48938" fmla="*/ 3152951 w 8079933"/>
              <a:gd name="connsiteY48938" fmla="*/ 1140737 h 4687251"/>
              <a:gd name="connsiteX48939" fmla="*/ 3154036 w 8079933"/>
              <a:gd name="connsiteY48939" fmla="*/ 1144094 h 4687251"/>
              <a:gd name="connsiteX48940" fmla="*/ 3154036 w 8079933"/>
              <a:gd name="connsiteY48940" fmla="*/ 1152431 h 4687251"/>
              <a:gd name="connsiteX48941" fmla="*/ 3151758 w 8079933"/>
              <a:gd name="connsiteY48941" fmla="*/ 1157736 h 4687251"/>
              <a:gd name="connsiteX48942" fmla="*/ 3147416 w 8079933"/>
              <a:gd name="connsiteY48942" fmla="*/ 1162825 h 4687251"/>
              <a:gd name="connsiteX48943" fmla="*/ 3144595 w 8079933"/>
              <a:gd name="connsiteY48943" fmla="*/ 1162825 h 4687251"/>
              <a:gd name="connsiteX48944" fmla="*/ 3142750 w 8079933"/>
              <a:gd name="connsiteY48944" fmla="*/ 1161309 h 4687251"/>
              <a:gd name="connsiteX48945" fmla="*/ 3141231 w 8079933"/>
              <a:gd name="connsiteY48945" fmla="*/ 1156329 h 4687251"/>
              <a:gd name="connsiteX48946" fmla="*/ 3138844 w 8079933"/>
              <a:gd name="connsiteY48946" fmla="*/ 1155029 h 4687251"/>
              <a:gd name="connsiteX48947" fmla="*/ 3136782 w 8079933"/>
              <a:gd name="connsiteY48947" fmla="*/ 1156112 h 4687251"/>
              <a:gd name="connsiteX48948" fmla="*/ 3136782 w 8079933"/>
              <a:gd name="connsiteY48948" fmla="*/ 1158169 h 4687251"/>
              <a:gd name="connsiteX48949" fmla="*/ 3132984 w 8079933"/>
              <a:gd name="connsiteY48949" fmla="*/ 1156653 h 4687251"/>
              <a:gd name="connsiteX48950" fmla="*/ 3131899 w 8079933"/>
              <a:gd name="connsiteY48950" fmla="*/ 1153947 h 4687251"/>
              <a:gd name="connsiteX48951" fmla="*/ 3130380 w 8079933"/>
              <a:gd name="connsiteY48951" fmla="*/ 1153188 h 4687251"/>
              <a:gd name="connsiteX48952" fmla="*/ 3129728 w 8079933"/>
              <a:gd name="connsiteY48952" fmla="*/ 1155137 h 4687251"/>
              <a:gd name="connsiteX48953" fmla="*/ 3129728 w 8079933"/>
              <a:gd name="connsiteY48953" fmla="*/ 1156978 h 4687251"/>
              <a:gd name="connsiteX48954" fmla="*/ 3130922 w 8079933"/>
              <a:gd name="connsiteY48954" fmla="*/ 1160984 h 4687251"/>
              <a:gd name="connsiteX48955" fmla="*/ 3129078 w 8079933"/>
              <a:gd name="connsiteY48955" fmla="*/ 1163258 h 4687251"/>
              <a:gd name="connsiteX48956" fmla="*/ 3129078 w 8079933"/>
              <a:gd name="connsiteY48956" fmla="*/ 1165207 h 4687251"/>
              <a:gd name="connsiteX48957" fmla="*/ 3130271 w 8079933"/>
              <a:gd name="connsiteY48957" fmla="*/ 1168455 h 4687251"/>
              <a:gd name="connsiteX48958" fmla="*/ 3132767 w 8079933"/>
              <a:gd name="connsiteY48958" fmla="*/ 1170729 h 4687251"/>
              <a:gd name="connsiteX48959" fmla="*/ 3134178 w 8079933"/>
              <a:gd name="connsiteY48959" fmla="*/ 1175600 h 4687251"/>
              <a:gd name="connsiteX48960" fmla="*/ 3135154 w 8079933"/>
              <a:gd name="connsiteY48960" fmla="*/ 1182205 h 4687251"/>
              <a:gd name="connsiteX48961" fmla="*/ 3134178 w 8079933"/>
              <a:gd name="connsiteY48961" fmla="*/ 1186103 h 4687251"/>
              <a:gd name="connsiteX48962" fmla="*/ 3131031 w 8079933"/>
              <a:gd name="connsiteY48962" fmla="*/ 1184046 h 4687251"/>
              <a:gd name="connsiteX48963" fmla="*/ 3129186 w 8079933"/>
              <a:gd name="connsiteY48963" fmla="*/ 1184046 h 4687251"/>
              <a:gd name="connsiteX48964" fmla="*/ 3127992 w 8079933"/>
              <a:gd name="connsiteY48964" fmla="*/ 1186428 h 4687251"/>
              <a:gd name="connsiteX48965" fmla="*/ 3124303 w 8079933"/>
              <a:gd name="connsiteY48965" fmla="*/ 1186428 h 4687251"/>
              <a:gd name="connsiteX48966" fmla="*/ 3119745 w 8079933"/>
              <a:gd name="connsiteY48966" fmla="*/ 1185237 h 4687251"/>
              <a:gd name="connsiteX48967" fmla="*/ 3115513 w 8079933"/>
              <a:gd name="connsiteY48967" fmla="*/ 1185237 h 4687251"/>
              <a:gd name="connsiteX48968" fmla="*/ 3113668 w 8079933"/>
              <a:gd name="connsiteY48968" fmla="*/ 1187510 h 4687251"/>
              <a:gd name="connsiteX48969" fmla="*/ 3114644 w 8079933"/>
              <a:gd name="connsiteY48969" fmla="*/ 1189026 h 4687251"/>
              <a:gd name="connsiteX48970" fmla="*/ 3119854 w 8079933"/>
              <a:gd name="connsiteY48970" fmla="*/ 1192166 h 4687251"/>
              <a:gd name="connsiteX48971" fmla="*/ 3123435 w 8079933"/>
              <a:gd name="connsiteY48971" fmla="*/ 1192166 h 4687251"/>
              <a:gd name="connsiteX48972" fmla="*/ 3125930 w 8079933"/>
              <a:gd name="connsiteY48972" fmla="*/ 1194115 h 4687251"/>
              <a:gd name="connsiteX48973" fmla="*/ 3127558 w 8079933"/>
              <a:gd name="connsiteY48973" fmla="*/ 1195739 h 4687251"/>
              <a:gd name="connsiteX48974" fmla="*/ 3129403 w 8079933"/>
              <a:gd name="connsiteY48974" fmla="*/ 1194873 h 4687251"/>
              <a:gd name="connsiteX48975" fmla="*/ 3132008 w 8079933"/>
              <a:gd name="connsiteY48975" fmla="*/ 1194873 h 4687251"/>
              <a:gd name="connsiteX48976" fmla="*/ 3132008 w 8079933"/>
              <a:gd name="connsiteY48976" fmla="*/ 1196930 h 4687251"/>
              <a:gd name="connsiteX48977" fmla="*/ 3130922 w 8079933"/>
              <a:gd name="connsiteY48977" fmla="*/ 1200287 h 4687251"/>
              <a:gd name="connsiteX48978" fmla="*/ 3128535 w 8079933"/>
              <a:gd name="connsiteY48978" fmla="*/ 1200287 h 4687251"/>
              <a:gd name="connsiteX48979" fmla="*/ 3126147 w 8079933"/>
              <a:gd name="connsiteY48979" fmla="*/ 1200287 h 4687251"/>
              <a:gd name="connsiteX48980" fmla="*/ 3126147 w 8079933"/>
              <a:gd name="connsiteY48980" fmla="*/ 1201694 h 4687251"/>
              <a:gd name="connsiteX48981" fmla="*/ 3128210 w 8079933"/>
              <a:gd name="connsiteY48981" fmla="*/ 1202777 h 4687251"/>
              <a:gd name="connsiteX48982" fmla="*/ 3129295 w 8079933"/>
              <a:gd name="connsiteY48982" fmla="*/ 1205159 h 4687251"/>
              <a:gd name="connsiteX48983" fmla="*/ 3129295 w 8079933"/>
              <a:gd name="connsiteY48983" fmla="*/ 1207432 h 4687251"/>
              <a:gd name="connsiteX48984" fmla="*/ 3128426 w 8079933"/>
              <a:gd name="connsiteY48984" fmla="*/ 1209056 h 4687251"/>
              <a:gd name="connsiteX48985" fmla="*/ 3126690 w 8079933"/>
              <a:gd name="connsiteY48985" fmla="*/ 1209814 h 4687251"/>
              <a:gd name="connsiteX48986" fmla="*/ 3123869 w 8079933"/>
              <a:gd name="connsiteY48986" fmla="*/ 1208732 h 4687251"/>
              <a:gd name="connsiteX48987" fmla="*/ 3120722 w 8079933"/>
              <a:gd name="connsiteY48987" fmla="*/ 1204401 h 4687251"/>
              <a:gd name="connsiteX48988" fmla="*/ 3118443 w 8079933"/>
              <a:gd name="connsiteY48988" fmla="*/ 1204401 h 4687251"/>
              <a:gd name="connsiteX48989" fmla="*/ 3116489 w 8079933"/>
              <a:gd name="connsiteY48989" fmla="*/ 1203426 h 4687251"/>
              <a:gd name="connsiteX48990" fmla="*/ 3113668 w 8079933"/>
              <a:gd name="connsiteY48990" fmla="*/ 1200503 h 4687251"/>
              <a:gd name="connsiteX48991" fmla="*/ 3109870 w 8079933"/>
              <a:gd name="connsiteY48991" fmla="*/ 1200503 h 4687251"/>
              <a:gd name="connsiteX48992" fmla="*/ 3108893 w 8079933"/>
              <a:gd name="connsiteY48992" fmla="*/ 1202019 h 4687251"/>
              <a:gd name="connsiteX48993" fmla="*/ 3108242 w 8079933"/>
              <a:gd name="connsiteY48993" fmla="*/ 1204401 h 4687251"/>
              <a:gd name="connsiteX48994" fmla="*/ 3112040 w 8079933"/>
              <a:gd name="connsiteY48994" fmla="*/ 1204942 h 4687251"/>
              <a:gd name="connsiteX48995" fmla="*/ 3114102 w 8079933"/>
              <a:gd name="connsiteY48995" fmla="*/ 1204942 h 4687251"/>
              <a:gd name="connsiteX48996" fmla="*/ 3118443 w 8079933"/>
              <a:gd name="connsiteY48996" fmla="*/ 1207541 h 4687251"/>
              <a:gd name="connsiteX48997" fmla="*/ 3121807 w 8079933"/>
              <a:gd name="connsiteY48997" fmla="*/ 1209598 h 4687251"/>
              <a:gd name="connsiteX48998" fmla="*/ 3124737 w 8079933"/>
              <a:gd name="connsiteY48998" fmla="*/ 1210789 h 4687251"/>
              <a:gd name="connsiteX48999" fmla="*/ 3125605 w 8079933"/>
              <a:gd name="connsiteY48999" fmla="*/ 1212088 h 4687251"/>
              <a:gd name="connsiteX49000" fmla="*/ 3124303 w 8079933"/>
              <a:gd name="connsiteY49000" fmla="*/ 1215661 h 4687251"/>
              <a:gd name="connsiteX49001" fmla="*/ 3120722 w 8079933"/>
              <a:gd name="connsiteY49001" fmla="*/ 1217177 h 4687251"/>
              <a:gd name="connsiteX49002" fmla="*/ 3117792 w 8079933"/>
              <a:gd name="connsiteY49002" fmla="*/ 1217177 h 4687251"/>
              <a:gd name="connsiteX49003" fmla="*/ 3115947 w 8079933"/>
              <a:gd name="connsiteY49003" fmla="*/ 1218585 h 4687251"/>
              <a:gd name="connsiteX49004" fmla="*/ 3113126 w 8079933"/>
              <a:gd name="connsiteY49004" fmla="*/ 1218585 h 4687251"/>
              <a:gd name="connsiteX49005" fmla="*/ 3108242 w 8079933"/>
              <a:gd name="connsiteY49005" fmla="*/ 1214361 h 4687251"/>
              <a:gd name="connsiteX49006" fmla="*/ 3106723 w 8079933"/>
              <a:gd name="connsiteY49006" fmla="*/ 1212088 h 4687251"/>
              <a:gd name="connsiteX49007" fmla="*/ 3104336 w 8079933"/>
              <a:gd name="connsiteY49007" fmla="*/ 1212088 h 4687251"/>
              <a:gd name="connsiteX49008" fmla="*/ 3102925 w 8079933"/>
              <a:gd name="connsiteY49008" fmla="*/ 1213712 h 4687251"/>
              <a:gd name="connsiteX49009" fmla="*/ 3101189 w 8079933"/>
              <a:gd name="connsiteY49009" fmla="*/ 1215661 h 4687251"/>
              <a:gd name="connsiteX49010" fmla="*/ 3101189 w 8079933"/>
              <a:gd name="connsiteY49010" fmla="*/ 1219342 h 4687251"/>
              <a:gd name="connsiteX49011" fmla="*/ 3104118 w 8079933"/>
              <a:gd name="connsiteY49011" fmla="*/ 1221940 h 4687251"/>
              <a:gd name="connsiteX49012" fmla="*/ 3107745 w 8079933"/>
              <a:gd name="connsiteY49012" fmla="*/ 1223876 h 4687251"/>
              <a:gd name="connsiteX49013" fmla="*/ 3104987 w 8079933"/>
              <a:gd name="connsiteY49013" fmla="*/ 1220967 h 4687251"/>
              <a:gd name="connsiteX49014" fmla="*/ 3105096 w 8079933"/>
              <a:gd name="connsiteY49014" fmla="*/ 1219451 h 4687251"/>
              <a:gd name="connsiteX49015" fmla="*/ 3106832 w 8079933"/>
              <a:gd name="connsiteY49015" fmla="*/ 1219451 h 4687251"/>
              <a:gd name="connsiteX49016" fmla="*/ 3108893 w 8079933"/>
              <a:gd name="connsiteY49016" fmla="*/ 1222266 h 4687251"/>
              <a:gd name="connsiteX49017" fmla="*/ 3113994 w 8079933"/>
              <a:gd name="connsiteY49017" fmla="*/ 1224215 h 4687251"/>
              <a:gd name="connsiteX49018" fmla="*/ 3115730 w 8079933"/>
              <a:gd name="connsiteY49018" fmla="*/ 1227463 h 4687251"/>
              <a:gd name="connsiteX49019" fmla="*/ 3114211 w 8079933"/>
              <a:gd name="connsiteY49019" fmla="*/ 1228547 h 4687251"/>
              <a:gd name="connsiteX49020" fmla="*/ 3113451 w 8079933"/>
              <a:gd name="connsiteY49020" fmla="*/ 1227463 h 4687251"/>
              <a:gd name="connsiteX49021" fmla="*/ 3109107 w 8079933"/>
              <a:gd name="connsiteY49021" fmla="*/ 1225145 h 4687251"/>
              <a:gd name="connsiteX49022" fmla="*/ 3109762 w 8079933"/>
              <a:gd name="connsiteY49022" fmla="*/ 1226596 h 4687251"/>
              <a:gd name="connsiteX49023" fmla="*/ 3109762 w 8079933"/>
              <a:gd name="connsiteY49023" fmla="*/ 1228762 h 4687251"/>
              <a:gd name="connsiteX49024" fmla="*/ 3108459 w 8079933"/>
              <a:gd name="connsiteY49024" fmla="*/ 1230277 h 4687251"/>
              <a:gd name="connsiteX49025" fmla="*/ 3105529 w 8079933"/>
              <a:gd name="connsiteY49025" fmla="*/ 1227354 h 4687251"/>
              <a:gd name="connsiteX49026" fmla="*/ 3102817 w 8079933"/>
              <a:gd name="connsiteY49026" fmla="*/ 1226705 h 4687251"/>
              <a:gd name="connsiteX49027" fmla="*/ 3098801 w 8079933"/>
              <a:gd name="connsiteY49027" fmla="*/ 1224214 h 4687251"/>
              <a:gd name="connsiteX49028" fmla="*/ 3096631 w 8079933"/>
              <a:gd name="connsiteY49028" fmla="*/ 1221616 h 4687251"/>
              <a:gd name="connsiteX49029" fmla="*/ 3095438 w 8079933"/>
              <a:gd name="connsiteY49029" fmla="*/ 1221616 h 4687251"/>
              <a:gd name="connsiteX49030" fmla="*/ 3096197 w 8079933"/>
              <a:gd name="connsiteY49030" fmla="*/ 1225622 h 4687251"/>
              <a:gd name="connsiteX49031" fmla="*/ 3099344 w 8079933"/>
              <a:gd name="connsiteY49031" fmla="*/ 1228112 h 4687251"/>
              <a:gd name="connsiteX49032" fmla="*/ 3104227 w 8079933"/>
              <a:gd name="connsiteY49032" fmla="*/ 1230494 h 4687251"/>
              <a:gd name="connsiteX49033" fmla="*/ 3105095 w 8079933"/>
              <a:gd name="connsiteY49033" fmla="*/ 1232334 h 4687251"/>
              <a:gd name="connsiteX49034" fmla="*/ 3105095 w 8079933"/>
              <a:gd name="connsiteY49034" fmla="*/ 1234175 h 4687251"/>
              <a:gd name="connsiteX49035" fmla="*/ 3103359 w 8079933"/>
              <a:gd name="connsiteY49035" fmla="*/ 1235366 h 4687251"/>
              <a:gd name="connsiteX49036" fmla="*/ 3098476 w 8079933"/>
              <a:gd name="connsiteY49036" fmla="*/ 1235366 h 4687251"/>
              <a:gd name="connsiteX49037" fmla="*/ 3096088 w 8079933"/>
              <a:gd name="connsiteY49037" fmla="*/ 1232659 h 4687251"/>
              <a:gd name="connsiteX49038" fmla="*/ 3096088 w 8079933"/>
              <a:gd name="connsiteY49038" fmla="*/ 1229628 h 4687251"/>
              <a:gd name="connsiteX49039" fmla="*/ 3093810 w 8079933"/>
              <a:gd name="connsiteY49039" fmla="*/ 1227571 h 4687251"/>
              <a:gd name="connsiteX49040" fmla="*/ 3092399 w 8079933"/>
              <a:gd name="connsiteY49040" fmla="*/ 1227571 h 4687251"/>
              <a:gd name="connsiteX49041" fmla="*/ 3090445 w 8079933"/>
              <a:gd name="connsiteY49041" fmla="*/ 1229736 h 4687251"/>
              <a:gd name="connsiteX49042" fmla="*/ 3090445 w 8079933"/>
              <a:gd name="connsiteY49042" fmla="*/ 1231793 h 4687251"/>
              <a:gd name="connsiteX49043" fmla="*/ 3092507 w 8079933"/>
              <a:gd name="connsiteY49043" fmla="*/ 1234391 h 4687251"/>
              <a:gd name="connsiteX49044" fmla="*/ 3092507 w 8079933"/>
              <a:gd name="connsiteY49044" fmla="*/ 1237099 h 4687251"/>
              <a:gd name="connsiteX49045" fmla="*/ 3092507 w 8079933"/>
              <a:gd name="connsiteY49045" fmla="*/ 1238073 h 4687251"/>
              <a:gd name="connsiteX49046" fmla="*/ 3093810 w 8079933"/>
              <a:gd name="connsiteY49046" fmla="*/ 1239156 h 4687251"/>
              <a:gd name="connsiteX49047" fmla="*/ 3100429 w 8079933"/>
              <a:gd name="connsiteY49047" fmla="*/ 1239156 h 4687251"/>
              <a:gd name="connsiteX49048" fmla="*/ 3103359 w 8079933"/>
              <a:gd name="connsiteY49048" fmla="*/ 1240238 h 4687251"/>
              <a:gd name="connsiteX49049" fmla="*/ 3104227 w 8079933"/>
              <a:gd name="connsiteY49049" fmla="*/ 1242836 h 4687251"/>
              <a:gd name="connsiteX49050" fmla="*/ 3103142 w 8079933"/>
              <a:gd name="connsiteY49050" fmla="*/ 1243703 h 4687251"/>
              <a:gd name="connsiteX49051" fmla="*/ 3101189 w 8079933"/>
              <a:gd name="connsiteY49051" fmla="*/ 1245760 h 4687251"/>
              <a:gd name="connsiteX49052" fmla="*/ 3099669 w 8079933"/>
              <a:gd name="connsiteY49052" fmla="*/ 1247817 h 4687251"/>
              <a:gd name="connsiteX49053" fmla="*/ 3097065 w 8079933"/>
              <a:gd name="connsiteY49053" fmla="*/ 1247817 h 4687251"/>
              <a:gd name="connsiteX49054" fmla="*/ 3094678 w 8079933"/>
              <a:gd name="connsiteY49054" fmla="*/ 1246193 h 4687251"/>
              <a:gd name="connsiteX49055" fmla="*/ 3092181 w 8079933"/>
              <a:gd name="connsiteY49055" fmla="*/ 1246193 h 4687251"/>
              <a:gd name="connsiteX49056" fmla="*/ 3087841 w 8079933"/>
              <a:gd name="connsiteY49056" fmla="*/ 1244461 h 4687251"/>
              <a:gd name="connsiteX49057" fmla="*/ 3087841 w 8079933"/>
              <a:gd name="connsiteY49057" fmla="*/ 1242187 h 4687251"/>
              <a:gd name="connsiteX49058" fmla="*/ 3087841 w 8079933"/>
              <a:gd name="connsiteY49058" fmla="*/ 1240888 h 4687251"/>
              <a:gd name="connsiteX49059" fmla="*/ 3085345 w 8079933"/>
              <a:gd name="connsiteY49059" fmla="*/ 1239372 h 4687251"/>
              <a:gd name="connsiteX49060" fmla="*/ 3084043 w 8079933"/>
              <a:gd name="connsiteY49060" fmla="*/ 1239372 h 4687251"/>
              <a:gd name="connsiteX49061" fmla="*/ 3084043 w 8079933"/>
              <a:gd name="connsiteY49061" fmla="*/ 1242945 h 4687251"/>
              <a:gd name="connsiteX49062" fmla="*/ 3083175 w 8079933"/>
              <a:gd name="connsiteY49062" fmla="*/ 1245327 h 4687251"/>
              <a:gd name="connsiteX49063" fmla="*/ 3081222 w 8079933"/>
              <a:gd name="connsiteY49063" fmla="*/ 1248250 h 4687251"/>
              <a:gd name="connsiteX49064" fmla="*/ 3077424 w 8079933"/>
              <a:gd name="connsiteY49064" fmla="*/ 1248250 h 4687251"/>
              <a:gd name="connsiteX49065" fmla="*/ 3075253 w 8079933"/>
              <a:gd name="connsiteY49065" fmla="*/ 1246518 h 4687251"/>
              <a:gd name="connsiteX49066" fmla="*/ 3072866 w 8079933"/>
              <a:gd name="connsiteY49066" fmla="*/ 1245003 h 4687251"/>
              <a:gd name="connsiteX49067" fmla="*/ 3070587 w 8079933"/>
              <a:gd name="connsiteY49067" fmla="*/ 1245003 h 4687251"/>
              <a:gd name="connsiteX49068" fmla="*/ 3070587 w 8079933"/>
              <a:gd name="connsiteY49068" fmla="*/ 1247493 h 4687251"/>
              <a:gd name="connsiteX49069" fmla="*/ 3072432 w 8079933"/>
              <a:gd name="connsiteY49069" fmla="*/ 1249008 h 4687251"/>
              <a:gd name="connsiteX49070" fmla="*/ 3079268 w 8079933"/>
              <a:gd name="connsiteY49070" fmla="*/ 1252040 h 4687251"/>
              <a:gd name="connsiteX49071" fmla="*/ 3084694 w 8079933"/>
              <a:gd name="connsiteY49071" fmla="*/ 1253339 h 4687251"/>
              <a:gd name="connsiteX49072" fmla="*/ 3086865 w 8079933"/>
              <a:gd name="connsiteY49072" fmla="*/ 1257345 h 4687251"/>
              <a:gd name="connsiteX49073" fmla="*/ 3088384 w 8079933"/>
              <a:gd name="connsiteY49073" fmla="*/ 1262758 h 4687251"/>
              <a:gd name="connsiteX49074" fmla="*/ 3086973 w 8079933"/>
              <a:gd name="connsiteY49074" fmla="*/ 1263408 h 4687251"/>
              <a:gd name="connsiteX49075" fmla="*/ 3083935 w 8079933"/>
              <a:gd name="connsiteY49075" fmla="*/ 1263408 h 4687251"/>
              <a:gd name="connsiteX49076" fmla="*/ 3080896 w 8079933"/>
              <a:gd name="connsiteY49076" fmla="*/ 1260485 h 4687251"/>
              <a:gd name="connsiteX49077" fmla="*/ 3075579 w 8079933"/>
              <a:gd name="connsiteY49077" fmla="*/ 1256262 h 4687251"/>
              <a:gd name="connsiteX49078" fmla="*/ 3073191 w 8079933"/>
              <a:gd name="connsiteY49078" fmla="*/ 1254855 h 4687251"/>
              <a:gd name="connsiteX49079" fmla="*/ 3070478 w 8079933"/>
              <a:gd name="connsiteY49079" fmla="*/ 1254855 h 4687251"/>
              <a:gd name="connsiteX49080" fmla="*/ 3070478 w 8079933"/>
              <a:gd name="connsiteY49080" fmla="*/ 1256262 h 4687251"/>
              <a:gd name="connsiteX49081" fmla="*/ 3072758 w 8079933"/>
              <a:gd name="connsiteY49081" fmla="*/ 1258211 h 4687251"/>
              <a:gd name="connsiteX49082" fmla="*/ 3076664 w 8079933"/>
              <a:gd name="connsiteY49082" fmla="*/ 1259294 h 4687251"/>
              <a:gd name="connsiteX49083" fmla="*/ 3081764 w 8079933"/>
              <a:gd name="connsiteY49083" fmla="*/ 1263732 h 4687251"/>
              <a:gd name="connsiteX49084" fmla="*/ 3084694 w 8079933"/>
              <a:gd name="connsiteY49084" fmla="*/ 1267522 h 4687251"/>
              <a:gd name="connsiteX49085" fmla="*/ 3084694 w 8079933"/>
              <a:gd name="connsiteY49085" fmla="*/ 1269905 h 4687251"/>
              <a:gd name="connsiteX49086" fmla="*/ 3083609 w 8079933"/>
              <a:gd name="connsiteY49086" fmla="*/ 1274019 h 4687251"/>
              <a:gd name="connsiteX49087" fmla="*/ 3084694 w 8079933"/>
              <a:gd name="connsiteY49087" fmla="*/ 1275968 h 4687251"/>
              <a:gd name="connsiteX49088" fmla="*/ 3084694 w 8079933"/>
              <a:gd name="connsiteY49088" fmla="*/ 1277808 h 4687251"/>
              <a:gd name="connsiteX49089" fmla="*/ 3082415 w 8079933"/>
              <a:gd name="connsiteY49089" fmla="*/ 1279866 h 4687251"/>
              <a:gd name="connsiteX49090" fmla="*/ 3082415 w 8079933"/>
              <a:gd name="connsiteY49090" fmla="*/ 1281923 h 4687251"/>
              <a:gd name="connsiteX49091" fmla="*/ 3081113 w 8079933"/>
              <a:gd name="connsiteY49091" fmla="*/ 1285604 h 4687251"/>
              <a:gd name="connsiteX49092" fmla="*/ 3077315 w 8079933"/>
              <a:gd name="connsiteY49092" fmla="*/ 1285604 h 4687251"/>
              <a:gd name="connsiteX49093" fmla="*/ 3074711 w 8079933"/>
              <a:gd name="connsiteY49093" fmla="*/ 1283980 h 4687251"/>
              <a:gd name="connsiteX49094" fmla="*/ 3071129 w 8079933"/>
              <a:gd name="connsiteY49094" fmla="*/ 1283980 h 4687251"/>
              <a:gd name="connsiteX49095" fmla="*/ 3068416 w 8079933"/>
              <a:gd name="connsiteY49095" fmla="*/ 1282031 h 4687251"/>
              <a:gd name="connsiteX49096" fmla="*/ 3066355 w 8079933"/>
              <a:gd name="connsiteY49096" fmla="*/ 1282031 h 4687251"/>
              <a:gd name="connsiteX49097" fmla="*/ 3067440 w 8079933"/>
              <a:gd name="connsiteY49097" fmla="*/ 1283980 h 4687251"/>
              <a:gd name="connsiteX49098" fmla="*/ 3071021 w 8079933"/>
              <a:gd name="connsiteY49098" fmla="*/ 1286036 h 4687251"/>
              <a:gd name="connsiteX49099" fmla="*/ 3075687 w 8079933"/>
              <a:gd name="connsiteY49099" fmla="*/ 1286795 h 4687251"/>
              <a:gd name="connsiteX49100" fmla="*/ 3075687 w 8079933"/>
              <a:gd name="connsiteY49100" fmla="*/ 1287878 h 4687251"/>
              <a:gd name="connsiteX49101" fmla="*/ 3072974 w 8079933"/>
              <a:gd name="connsiteY49101" fmla="*/ 1291558 h 4687251"/>
              <a:gd name="connsiteX49102" fmla="*/ 3070261 w 8079933"/>
              <a:gd name="connsiteY49102" fmla="*/ 1290909 h 4687251"/>
              <a:gd name="connsiteX49103" fmla="*/ 3068742 w 8079933"/>
              <a:gd name="connsiteY49103" fmla="*/ 1289176 h 4687251"/>
              <a:gd name="connsiteX49104" fmla="*/ 3067115 w 8079933"/>
              <a:gd name="connsiteY49104" fmla="*/ 1289826 h 4687251"/>
              <a:gd name="connsiteX49105" fmla="*/ 3067115 w 8079933"/>
              <a:gd name="connsiteY49105" fmla="*/ 1291125 h 4687251"/>
              <a:gd name="connsiteX49106" fmla="*/ 3070370 w 8079933"/>
              <a:gd name="connsiteY49106" fmla="*/ 1292858 h 4687251"/>
              <a:gd name="connsiteX49107" fmla="*/ 3071998 w 8079933"/>
              <a:gd name="connsiteY49107" fmla="*/ 1293940 h 4687251"/>
              <a:gd name="connsiteX49108" fmla="*/ 3071998 w 8079933"/>
              <a:gd name="connsiteY49108" fmla="*/ 1296106 h 4687251"/>
              <a:gd name="connsiteX49109" fmla="*/ 3069827 w 8079933"/>
              <a:gd name="connsiteY49109" fmla="*/ 1298488 h 4687251"/>
              <a:gd name="connsiteX49110" fmla="*/ 3066680 w 8079933"/>
              <a:gd name="connsiteY49110" fmla="*/ 1299896 h 4687251"/>
              <a:gd name="connsiteX49111" fmla="*/ 3065270 w 8079933"/>
              <a:gd name="connsiteY49111" fmla="*/ 1297946 h 4687251"/>
              <a:gd name="connsiteX49112" fmla="*/ 3063099 w 8079933"/>
              <a:gd name="connsiteY49112" fmla="*/ 1296647 h 4687251"/>
              <a:gd name="connsiteX49113" fmla="*/ 3060495 w 8079933"/>
              <a:gd name="connsiteY49113" fmla="*/ 1296647 h 4687251"/>
              <a:gd name="connsiteX49114" fmla="*/ 3061363 w 8079933"/>
              <a:gd name="connsiteY49114" fmla="*/ 1298813 h 4687251"/>
              <a:gd name="connsiteX49115" fmla="*/ 3064293 w 8079933"/>
              <a:gd name="connsiteY49115" fmla="*/ 1300112 h 4687251"/>
              <a:gd name="connsiteX49116" fmla="*/ 3067332 w 8079933"/>
              <a:gd name="connsiteY49116" fmla="*/ 1302169 h 4687251"/>
              <a:gd name="connsiteX49117" fmla="*/ 3067332 w 8079933"/>
              <a:gd name="connsiteY49117" fmla="*/ 1305633 h 4687251"/>
              <a:gd name="connsiteX49118" fmla="*/ 3064510 w 8079933"/>
              <a:gd name="connsiteY49118" fmla="*/ 1307474 h 4687251"/>
              <a:gd name="connsiteX49119" fmla="*/ 3058433 w 8079933"/>
              <a:gd name="connsiteY49119" fmla="*/ 1307474 h 4687251"/>
              <a:gd name="connsiteX49120" fmla="*/ 3055611 w 8079933"/>
              <a:gd name="connsiteY49120" fmla="*/ 1305959 h 4687251"/>
              <a:gd name="connsiteX49121" fmla="*/ 3053875 w 8079933"/>
              <a:gd name="connsiteY49121" fmla="*/ 1305959 h 4687251"/>
              <a:gd name="connsiteX49122" fmla="*/ 3053875 w 8079933"/>
              <a:gd name="connsiteY49122" fmla="*/ 1307149 h 4687251"/>
              <a:gd name="connsiteX49123" fmla="*/ 3057456 w 8079933"/>
              <a:gd name="connsiteY49123" fmla="*/ 1308774 h 4687251"/>
              <a:gd name="connsiteX49124" fmla="*/ 3065487 w 8079933"/>
              <a:gd name="connsiteY49124" fmla="*/ 1309531 h 4687251"/>
              <a:gd name="connsiteX49125" fmla="*/ 3069285 w 8079933"/>
              <a:gd name="connsiteY49125" fmla="*/ 1311047 h 4687251"/>
              <a:gd name="connsiteX49126" fmla="*/ 3070261 w 8079933"/>
              <a:gd name="connsiteY49126" fmla="*/ 1313213 h 4687251"/>
              <a:gd name="connsiteX49127" fmla="*/ 3069719 w 8079933"/>
              <a:gd name="connsiteY49127" fmla="*/ 1314837 h 4687251"/>
              <a:gd name="connsiteX49128" fmla="*/ 3066029 w 8079933"/>
              <a:gd name="connsiteY49128" fmla="*/ 1316461 h 4687251"/>
              <a:gd name="connsiteX49129" fmla="*/ 3059952 w 8079933"/>
              <a:gd name="connsiteY49129" fmla="*/ 1317652 h 4687251"/>
              <a:gd name="connsiteX49130" fmla="*/ 3055503 w 8079933"/>
              <a:gd name="connsiteY49130" fmla="*/ 1316461 h 4687251"/>
              <a:gd name="connsiteX49131" fmla="*/ 3051813 w 8079933"/>
              <a:gd name="connsiteY49131" fmla="*/ 1314945 h 4687251"/>
              <a:gd name="connsiteX49132" fmla="*/ 3050837 w 8079933"/>
              <a:gd name="connsiteY49132" fmla="*/ 1315703 h 4687251"/>
              <a:gd name="connsiteX49133" fmla="*/ 3052573 w 8079933"/>
              <a:gd name="connsiteY49133" fmla="*/ 1318301 h 4687251"/>
              <a:gd name="connsiteX49134" fmla="*/ 3057348 w 8079933"/>
              <a:gd name="connsiteY49134" fmla="*/ 1319276 h 4687251"/>
              <a:gd name="connsiteX49135" fmla="*/ 3058216 w 8079933"/>
              <a:gd name="connsiteY49135" fmla="*/ 1320683 h 4687251"/>
              <a:gd name="connsiteX49136" fmla="*/ 3057674 w 8079933"/>
              <a:gd name="connsiteY49136" fmla="*/ 1321658 h 4687251"/>
              <a:gd name="connsiteX49137" fmla="*/ 3055829 w 8079933"/>
              <a:gd name="connsiteY49137" fmla="*/ 1321658 h 4687251"/>
              <a:gd name="connsiteX49138" fmla="*/ 3055829 w 8079933"/>
              <a:gd name="connsiteY49138" fmla="*/ 1322524 h 4687251"/>
              <a:gd name="connsiteX49139" fmla="*/ 3059518 w 8079933"/>
              <a:gd name="connsiteY49139" fmla="*/ 1323606 h 4687251"/>
              <a:gd name="connsiteX49140" fmla="*/ 3063208 w 8079933"/>
              <a:gd name="connsiteY49140" fmla="*/ 1325231 h 4687251"/>
              <a:gd name="connsiteX49141" fmla="*/ 3063208 w 8079933"/>
              <a:gd name="connsiteY49141" fmla="*/ 1326747 h 4687251"/>
              <a:gd name="connsiteX49142" fmla="*/ 3060386 w 8079933"/>
              <a:gd name="connsiteY49142" fmla="*/ 1328478 h 4687251"/>
              <a:gd name="connsiteX49143" fmla="*/ 3057022 w 8079933"/>
              <a:gd name="connsiteY49143" fmla="*/ 1328478 h 4687251"/>
              <a:gd name="connsiteX49144" fmla="*/ 3054961 w 8079933"/>
              <a:gd name="connsiteY49144" fmla="*/ 1328478 h 4687251"/>
              <a:gd name="connsiteX49145" fmla="*/ 3054961 w 8079933"/>
              <a:gd name="connsiteY49145" fmla="*/ 1330211 h 4687251"/>
              <a:gd name="connsiteX49146" fmla="*/ 3057456 w 8079933"/>
              <a:gd name="connsiteY49146" fmla="*/ 1331186 h 4687251"/>
              <a:gd name="connsiteX49147" fmla="*/ 3061689 w 8079933"/>
              <a:gd name="connsiteY49147" fmla="*/ 1331186 h 4687251"/>
              <a:gd name="connsiteX49148" fmla="*/ 3064727 w 8079933"/>
              <a:gd name="connsiteY49148" fmla="*/ 1331727 h 4687251"/>
              <a:gd name="connsiteX49149" fmla="*/ 3063967 w 8079933"/>
              <a:gd name="connsiteY49149" fmla="*/ 1333459 h 4687251"/>
              <a:gd name="connsiteX49150" fmla="*/ 3060929 w 8079933"/>
              <a:gd name="connsiteY49150" fmla="*/ 1335625 h 4687251"/>
              <a:gd name="connsiteX49151" fmla="*/ 3056697 w 8079933"/>
              <a:gd name="connsiteY49151" fmla="*/ 1337357 h 4687251"/>
              <a:gd name="connsiteX49152" fmla="*/ 3053984 w 8079933"/>
              <a:gd name="connsiteY49152" fmla="*/ 1337357 h 4687251"/>
              <a:gd name="connsiteX49153" fmla="*/ 3050945 w 8079933"/>
              <a:gd name="connsiteY49153" fmla="*/ 1335083 h 4687251"/>
              <a:gd name="connsiteX49154" fmla="*/ 3047365 w 8079933"/>
              <a:gd name="connsiteY49154" fmla="*/ 1331727 h 4687251"/>
              <a:gd name="connsiteX49155" fmla="*/ 3046279 w 8079933"/>
              <a:gd name="connsiteY49155" fmla="*/ 1329453 h 4687251"/>
              <a:gd name="connsiteX49156" fmla="*/ 3044869 w 8079933"/>
              <a:gd name="connsiteY49156" fmla="*/ 1329453 h 4687251"/>
              <a:gd name="connsiteX49157" fmla="*/ 3043132 w 8079933"/>
              <a:gd name="connsiteY49157" fmla="*/ 1330427 h 4687251"/>
              <a:gd name="connsiteX49158" fmla="*/ 3039443 w 8079933"/>
              <a:gd name="connsiteY49158" fmla="*/ 1329561 h 4687251"/>
              <a:gd name="connsiteX49159" fmla="*/ 3038249 w 8079933"/>
              <a:gd name="connsiteY49159" fmla="*/ 1330644 h 4687251"/>
              <a:gd name="connsiteX49160" fmla="*/ 3039443 w 8079933"/>
              <a:gd name="connsiteY49160" fmla="*/ 1332484 h 4687251"/>
              <a:gd name="connsiteX49161" fmla="*/ 3046822 w 8079933"/>
              <a:gd name="connsiteY49161" fmla="*/ 1335733 h 4687251"/>
              <a:gd name="connsiteX49162" fmla="*/ 3050837 w 8079933"/>
              <a:gd name="connsiteY49162" fmla="*/ 1338331 h 4687251"/>
              <a:gd name="connsiteX49163" fmla="*/ 3050837 w 8079933"/>
              <a:gd name="connsiteY49163" fmla="*/ 1340388 h 4687251"/>
              <a:gd name="connsiteX49164" fmla="*/ 3049318 w 8079933"/>
              <a:gd name="connsiteY49164" fmla="*/ 1341904 h 4687251"/>
              <a:gd name="connsiteX49165" fmla="*/ 3049318 w 8079933"/>
              <a:gd name="connsiteY49165" fmla="*/ 1343853 h 4687251"/>
              <a:gd name="connsiteX49166" fmla="*/ 3050837 w 8079933"/>
              <a:gd name="connsiteY49166" fmla="*/ 1343095 h 4687251"/>
              <a:gd name="connsiteX49167" fmla="*/ 3053984 w 8079933"/>
              <a:gd name="connsiteY49167" fmla="*/ 1343095 h 4687251"/>
              <a:gd name="connsiteX49168" fmla="*/ 3055286 w 8079933"/>
              <a:gd name="connsiteY49168" fmla="*/ 1344178 h 4687251"/>
              <a:gd name="connsiteX49169" fmla="*/ 3057239 w 8079933"/>
              <a:gd name="connsiteY49169" fmla="*/ 1345044 h 4687251"/>
              <a:gd name="connsiteX49170" fmla="*/ 3057239 w 8079933"/>
              <a:gd name="connsiteY49170" fmla="*/ 1346668 h 4687251"/>
              <a:gd name="connsiteX49171" fmla="*/ 3054961 w 8079933"/>
              <a:gd name="connsiteY49171" fmla="*/ 1347318 h 4687251"/>
              <a:gd name="connsiteX49172" fmla="*/ 3052248 w 8079933"/>
              <a:gd name="connsiteY49172" fmla="*/ 1349483 h 4687251"/>
              <a:gd name="connsiteX49173" fmla="*/ 3052248 w 8079933"/>
              <a:gd name="connsiteY49173" fmla="*/ 1351108 h 4687251"/>
              <a:gd name="connsiteX49174" fmla="*/ 3050837 w 8079933"/>
              <a:gd name="connsiteY49174" fmla="*/ 1351108 h 4687251"/>
              <a:gd name="connsiteX49175" fmla="*/ 3039985 w 8079933"/>
              <a:gd name="connsiteY49175" fmla="*/ 1345477 h 4687251"/>
              <a:gd name="connsiteX49176" fmla="*/ 3033908 w 8079933"/>
              <a:gd name="connsiteY49176" fmla="*/ 1345477 h 4687251"/>
              <a:gd name="connsiteX49177" fmla="*/ 3033908 w 8079933"/>
              <a:gd name="connsiteY49177" fmla="*/ 1343637 h 4687251"/>
              <a:gd name="connsiteX49178" fmla="*/ 3034559 w 8079933"/>
              <a:gd name="connsiteY49178" fmla="*/ 1339847 h 4687251"/>
              <a:gd name="connsiteX49179" fmla="*/ 3035970 w 8079933"/>
              <a:gd name="connsiteY49179" fmla="*/ 1339847 h 4687251"/>
              <a:gd name="connsiteX49180" fmla="*/ 3035970 w 8079933"/>
              <a:gd name="connsiteY49180" fmla="*/ 1337790 h 4687251"/>
              <a:gd name="connsiteX49181" fmla="*/ 3033908 w 8079933"/>
              <a:gd name="connsiteY49181" fmla="*/ 1337790 h 4687251"/>
              <a:gd name="connsiteX49182" fmla="*/ 3031738 w 8079933"/>
              <a:gd name="connsiteY49182" fmla="*/ 1340497 h 4687251"/>
              <a:gd name="connsiteX49183" fmla="*/ 3030002 w 8079933"/>
              <a:gd name="connsiteY49183" fmla="*/ 1340497 h 4687251"/>
              <a:gd name="connsiteX49184" fmla="*/ 3030002 w 8079933"/>
              <a:gd name="connsiteY49184" fmla="*/ 1346668 h 4687251"/>
              <a:gd name="connsiteX49185" fmla="*/ 3026855 w 8079933"/>
              <a:gd name="connsiteY49185" fmla="*/ 1345153 h 4687251"/>
              <a:gd name="connsiteX49186" fmla="*/ 3024033 w 8079933"/>
              <a:gd name="connsiteY49186" fmla="*/ 1345153 h 4687251"/>
              <a:gd name="connsiteX49187" fmla="*/ 3023165 w 8079933"/>
              <a:gd name="connsiteY49187" fmla="*/ 1347426 h 4687251"/>
              <a:gd name="connsiteX49188" fmla="*/ 3023165 w 8079933"/>
              <a:gd name="connsiteY49188" fmla="*/ 1350782 h 4687251"/>
              <a:gd name="connsiteX49189" fmla="*/ 3021429 w 8079933"/>
              <a:gd name="connsiteY49189" fmla="*/ 1352624 h 4687251"/>
              <a:gd name="connsiteX49190" fmla="*/ 3018933 w 8079933"/>
              <a:gd name="connsiteY49190" fmla="*/ 1351432 h 4687251"/>
              <a:gd name="connsiteX49191" fmla="*/ 3020236 w 8079933"/>
              <a:gd name="connsiteY49191" fmla="*/ 1347210 h 4687251"/>
              <a:gd name="connsiteX49192" fmla="*/ 3021863 w 8079933"/>
              <a:gd name="connsiteY49192" fmla="*/ 1344286 h 4687251"/>
              <a:gd name="connsiteX49193" fmla="*/ 3021863 w 8079933"/>
              <a:gd name="connsiteY49193" fmla="*/ 1340714 h 4687251"/>
              <a:gd name="connsiteX49194" fmla="*/ 3026312 w 8079933"/>
              <a:gd name="connsiteY49194" fmla="*/ 1334542 h 4687251"/>
              <a:gd name="connsiteX49195" fmla="*/ 3025552 w 8079933"/>
              <a:gd name="connsiteY49195" fmla="*/ 1333567 h 4687251"/>
              <a:gd name="connsiteX49196" fmla="*/ 3022405 w 8079933"/>
              <a:gd name="connsiteY49196" fmla="*/ 1335733 h 4687251"/>
              <a:gd name="connsiteX49197" fmla="*/ 3019259 w 8079933"/>
              <a:gd name="connsiteY49197" fmla="*/ 1343961 h 4687251"/>
              <a:gd name="connsiteX49198" fmla="*/ 3015352 w 8079933"/>
              <a:gd name="connsiteY49198" fmla="*/ 1347210 h 4687251"/>
              <a:gd name="connsiteX49199" fmla="*/ 3013833 w 8079933"/>
              <a:gd name="connsiteY49199" fmla="*/ 1346235 h 4687251"/>
              <a:gd name="connsiteX49200" fmla="*/ 3013833 w 8079933"/>
              <a:gd name="connsiteY49200" fmla="*/ 1343095 h 4687251"/>
              <a:gd name="connsiteX49201" fmla="*/ 3018173 w 8079933"/>
              <a:gd name="connsiteY49201" fmla="*/ 1339522 h 4687251"/>
              <a:gd name="connsiteX49202" fmla="*/ 3018933 w 8079933"/>
              <a:gd name="connsiteY49202" fmla="*/ 1334867 h 4687251"/>
              <a:gd name="connsiteX49203" fmla="*/ 3021646 w 8079933"/>
              <a:gd name="connsiteY49203" fmla="*/ 1330427 h 4687251"/>
              <a:gd name="connsiteX49204" fmla="*/ 3018716 w 8079933"/>
              <a:gd name="connsiteY49204" fmla="*/ 1331294 h 4687251"/>
              <a:gd name="connsiteX49205" fmla="*/ 3016763 w 8079933"/>
              <a:gd name="connsiteY49205" fmla="*/ 1331294 h 4687251"/>
              <a:gd name="connsiteX49206" fmla="*/ 3014918 w 8079933"/>
              <a:gd name="connsiteY49206" fmla="*/ 1334975 h 4687251"/>
              <a:gd name="connsiteX49207" fmla="*/ 3011554 w 8079933"/>
              <a:gd name="connsiteY49207" fmla="*/ 1335841 h 4687251"/>
              <a:gd name="connsiteX49208" fmla="*/ 3010686 w 8079933"/>
              <a:gd name="connsiteY49208" fmla="*/ 1334325 h 4687251"/>
              <a:gd name="connsiteX49209" fmla="*/ 3011988 w 8079933"/>
              <a:gd name="connsiteY49209" fmla="*/ 1330752 h 4687251"/>
              <a:gd name="connsiteX49210" fmla="*/ 3015135 w 8079933"/>
              <a:gd name="connsiteY49210" fmla="*/ 1327829 h 4687251"/>
              <a:gd name="connsiteX49211" fmla="*/ 3014158 w 8079933"/>
              <a:gd name="connsiteY49211" fmla="*/ 1326747 h 4687251"/>
              <a:gd name="connsiteX49212" fmla="*/ 3011988 w 8079933"/>
              <a:gd name="connsiteY49212" fmla="*/ 1326747 h 4687251"/>
              <a:gd name="connsiteX49213" fmla="*/ 3010468 w 8079933"/>
              <a:gd name="connsiteY49213" fmla="*/ 1329237 h 4687251"/>
              <a:gd name="connsiteX49214" fmla="*/ 3007755 w 8079933"/>
              <a:gd name="connsiteY49214" fmla="*/ 1330969 h 4687251"/>
              <a:gd name="connsiteX49215" fmla="*/ 3006671 w 8079933"/>
              <a:gd name="connsiteY49215" fmla="*/ 1334000 h 4687251"/>
              <a:gd name="connsiteX49216" fmla="*/ 3005152 w 8079933"/>
              <a:gd name="connsiteY49216" fmla="*/ 1329886 h 4687251"/>
              <a:gd name="connsiteX49217" fmla="*/ 3005152 w 8079933"/>
              <a:gd name="connsiteY49217" fmla="*/ 1328370 h 4687251"/>
              <a:gd name="connsiteX49218" fmla="*/ 3004066 w 8079933"/>
              <a:gd name="connsiteY49218" fmla="*/ 1328370 h 4687251"/>
              <a:gd name="connsiteX49219" fmla="*/ 3001571 w 8079933"/>
              <a:gd name="connsiteY49219" fmla="*/ 1330752 h 4687251"/>
              <a:gd name="connsiteX49220" fmla="*/ 2999726 w 8079933"/>
              <a:gd name="connsiteY49220" fmla="*/ 1330752 h 4687251"/>
              <a:gd name="connsiteX49221" fmla="*/ 3000377 w 8079933"/>
              <a:gd name="connsiteY49221" fmla="*/ 1328695 h 4687251"/>
              <a:gd name="connsiteX49222" fmla="*/ 3006996 w 8079933"/>
              <a:gd name="connsiteY49222" fmla="*/ 1323931 h 4687251"/>
              <a:gd name="connsiteX49223" fmla="*/ 3006996 w 8079933"/>
              <a:gd name="connsiteY49223" fmla="*/ 1319925 h 4687251"/>
              <a:gd name="connsiteX49224" fmla="*/ 3009926 w 8079933"/>
              <a:gd name="connsiteY49224" fmla="*/ 1318951 h 4687251"/>
              <a:gd name="connsiteX49225" fmla="*/ 3014701 w 8079933"/>
              <a:gd name="connsiteY49225" fmla="*/ 1315161 h 4687251"/>
              <a:gd name="connsiteX49226" fmla="*/ 3014050 w 8079933"/>
              <a:gd name="connsiteY49226" fmla="*/ 1314079 h 4687251"/>
              <a:gd name="connsiteX49227" fmla="*/ 3009058 w 8079933"/>
              <a:gd name="connsiteY49227" fmla="*/ 1317543 h 4687251"/>
              <a:gd name="connsiteX49228" fmla="*/ 3005043 w 8079933"/>
              <a:gd name="connsiteY49228" fmla="*/ 1318951 h 4687251"/>
              <a:gd name="connsiteX49229" fmla="*/ 3004066 w 8079933"/>
              <a:gd name="connsiteY49229" fmla="*/ 1317868 h 4687251"/>
              <a:gd name="connsiteX49230" fmla="*/ 3005368 w 8079933"/>
              <a:gd name="connsiteY49230" fmla="*/ 1316677 h 4687251"/>
              <a:gd name="connsiteX49231" fmla="*/ 3009275 w 8079933"/>
              <a:gd name="connsiteY49231" fmla="*/ 1315594 h 4687251"/>
              <a:gd name="connsiteX49232" fmla="*/ 3012965 w 8079933"/>
              <a:gd name="connsiteY49232" fmla="*/ 1312671 h 4687251"/>
              <a:gd name="connsiteX49233" fmla="*/ 3016654 w 8079933"/>
              <a:gd name="connsiteY49233" fmla="*/ 1310506 h 4687251"/>
              <a:gd name="connsiteX49234" fmla="*/ 3019909 w 8079933"/>
              <a:gd name="connsiteY49234" fmla="*/ 1309423 h 4687251"/>
              <a:gd name="connsiteX49235" fmla="*/ 3019909 w 8079933"/>
              <a:gd name="connsiteY49235" fmla="*/ 1305525 h 4687251"/>
              <a:gd name="connsiteX49236" fmla="*/ 3018391 w 8079933"/>
              <a:gd name="connsiteY49236" fmla="*/ 1302494 h 4687251"/>
              <a:gd name="connsiteX49237" fmla="*/ 3016437 w 8079933"/>
              <a:gd name="connsiteY49237" fmla="*/ 1302494 h 4687251"/>
              <a:gd name="connsiteX49238" fmla="*/ 3011988 w 8079933"/>
              <a:gd name="connsiteY49238" fmla="*/ 1308557 h 4687251"/>
              <a:gd name="connsiteX49239" fmla="*/ 3004826 w 8079933"/>
              <a:gd name="connsiteY49239" fmla="*/ 1313104 h 4687251"/>
              <a:gd name="connsiteX49240" fmla="*/ 2999726 w 8079933"/>
              <a:gd name="connsiteY49240" fmla="*/ 1314729 h 4687251"/>
              <a:gd name="connsiteX49241" fmla="*/ 2999074 w 8079933"/>
              <a:gd name="connsiteY49241" fmla="*/ 1313104 h 4687251"/>
              <a:gd name="connsiteX49242" fmla="*/ 3001353 w 8079933"/>
              <a:gd name="connsiteY49242" fmla="*/ 1311372 h 4687251"/>
              <a:gd name="connsiteX49243" fmla="*/ 3004066 w 8079933"/>
              <a:gd name="connsiteY49243" fmla="*/ 1310506 h 4687251"/>
              <a:gd name="connsiteX49244" fmla="*/ 3007647 w 8079933"/>
              <a:gd name="connsiteY49244" fmla="*/ 1307041 h 4687251"/>
              <a:gd name="connsiteX49245" fmla="*/ 3007647 w 8079933"/>
              <a:gd name="connsiteY49245" fmla="*/ 1302494 h 4687251"/>
              <a:gd name="connsiteX49246" fmla="*/ 3005694 w 8079933"/>
              <a:gd name="connsiteY49246" fmla="*/ 1298813 h 4687251"/>
              <a:gd name="connsiteX49247" fmla="*/ 3003524 w 8079933"/>
              <a:gd name="connsiteY49247" fmla="*/ 1297730 h 4687251"/>
              <a:gd name="connsiteX49248" fmla="*/ 3001353 w 8079933"/>
              <a:gd name="connsiteY49248" fmla="*/ 1299029 h 4687251"/>
              <a:gd name="connsiteX49249" fmla="*/ 3001353 w 8079933"/>
              <a:gd name="connsiteY49249" fmla="*/ 1301627 h 4687251"/>
              <a:gd name="connsiteX49250" fmla="*/ 3003089 w 8079933"/>
              <a:gd name="connsiteY49250" fmla="*/ 1303576 h 4687251"/>
              <a:gd name="connsiteX49251" fmla="*/ 3003089 w 8079933"/>
              <a:gd name="connsiteY49251" fmla="*/ 1305742 h 4687251"/>
              <a:gd name="connsiteX49252" fmla="*/ 3000485 w 8079933"/>
              <a:gd name="connsiteY49252" fmla="*/ 1308016 h 4687251"/>
              <a:gd name="connsiteX49253" fmla="*/ 2997446 w 8079933"/>
              <a:gd name="connsiteY49253" fmla="*/ 1306608 h 4687251"/>
              <a:gd name="connsiteX49254" fmla="*/ 2994300 w 8079933"/>
              <a:gd name="connsiteY49254" fmla="*/ 1307366 h 4687251"/>
              <a:gd name="connsiteX49255" fmla="*/ 2991044 w 8079933"/>
              <a:gd name="connsiteY49255" fmla="*/ 1307366 h 4687251"/>
              <a:gd name="connsiteX49256" fmla="*/ 2988440 w 8079933"/>
              <a:gd name="connsiteY49256" fmla="*/ 1308990 h 4687251"/>
              <a:gd name="connsiteX49257" fmla="*/ 2986595 w 8079933"/>
              <a:gd name="connsiteY49257" fmla="*/ 1312347 h 4687251"/>
              <a:gd name="connsiteX49258" fmla="*/ 2984316 w 8079933"/>
              <a:gd name="connsiteY49258" fmla="*/ 1313213 h 4687251"/>
              <a:gd name="connsiteX49259" fmla="*/ 2981603 w 8079933"/>
              <a:gd name="connsiteY49259" fmla="*/ 1312454 h 4687251"/>
              <a:gd name="connsiteX49260" fmla="*/ 2979541 w 8079933"/>
              <a:gd name="connsiteY49260" fmla="*/ 1310506 h 4687251"/>
              <a:gd name="connsiteX49261" fmla="*/ 2975960 w 8079933"/>
              <a:gd name="connsiteY49261" fmla="*/ 1311047 h 4687251"/>
              <a:gd name="connsiteX49262" fmla="*/ 2973248 w 8079933"/>
              <a:gd name="connsiteY49262" fmla="*/ 1313646 h 4687251"/>
              <a:gd name="connsiteX49263" fmla="*/ 2970535 w 8079933"/>
              <a:gd name="connsiteY49263" fmla="*/ 1312130 h 4687251"/>
              <a:gd name="connsiteX49264" fmla="*/ 2968364 w 8079933"/>
              <a:gd name="connsiteY49264" fmla="*/ 1313321 h 4687251"/>
              <a:gd name="connsiteX49265" fmla="*/ 2968364 w 8079933"/>
              <a:gd name="connsiteY49265" fmla="*/ 1315270 h 4687251"/>
              <a:gd name="connsiteX49266" fmla="*/ 2969450 w 8079933"/>
              <a:gd name="connsiteY49266" fmla="*/ 1317327 h 4687251"/>
              <a:gd name="connsiteX49267" fmla="*/ 2967605 w 8079933"/>
              <a:gd name="connsiteY49267" fmla="*/ 1318410 h 4687251"/>
              <a:gd name="connsiteX49268" fmla="*/ 2960768 w 8079933"/>
              <a:gd name="connsiteY49268" fmla="*/ 1316894 h 4687251"/>
              <a:gd name="connsiteX49269" fmla="*/ 2960117 w 8079933"/>
              <a:gd name="connsiteY49269" fmla="*/ 1314511 h 4687251"/>
              <a:gd name="connsiteX49270" fmla="*/ 2962179 w 8079933"/>
              <a:gd name="connsiteY49270" fmla="*/ 1311480 h 4687251"/>
              <a:gd name="connsiteX49271" fmla="*/ 2965760 w 8079933"/>
              <a:gd name="connsiteY49271" fmla="*/ 1311480 h 4687251"/>
              <a:gd name="connsiteX49272" fmla="*/ 2968364 w 8079933"/>
              <a:gd name="connsiteY49272" fmla="*/ 1309098 h 4687251"/>
              <a:gd name="connsiteX49273" fmla="*/ 2968364 w 8079933"/>
              <a:gd name="connsiteY49273" fmla="*/ 1307691 h 4687251"/>
              <a:gd name="connsiteX49274" fmla="*/ 2964675 w 8079933"/>
              <a:gd name="connsiteY49274" fmla="*/ 1305959 h 4687251"/>
              <a:gd name="connsiteX49275" fmla="*/ 2964675 w 8079933"/>
              <a:gd name="connsiteY49275" fmla="*/ 1301303 h 4687251"/>
              <a:gd name="connsiteX49276" fmla="*/ 2961203 w 8079933"/>
              <a:gd name="connsiteY49276" fmla="*/ 1298488 h 4687251"/>
              <a:gd name="connsiteX49277" fmla="*/ 2960117 w 8079933"/>
              <a:gd name="connsiteY49277" fmla="*/ 1297080 h 4687251"/>
              <a:gd name="connsiteX49278" fmla="*/ 2957621 w 8079933"/>
              <a:gd name="connsiteY49278" fmla="*/ 1298055 h 4687251"/>
              <a:gd name="connsiteX49279" fmla="*/ 2951870 w 8079933"/>
              <a:gd name="connsiteY49279" fmla="*/ 1302386 h 4687251"/>
              <a:gd name="connsiteX49280" fmla="*/ 2948505 w 8079933"/>
              <a:gd name="connsiteY49280" fmla="*/ 1300978 h 4687251"/>
              <a:gd name="connsiteX49281" fmla="*/ 2947529 w 8079933"/>
              <a:gd name="connsiteY49281" fmla="*/ 1297730 h 4687251"/>
              <a:gd name="connsiteX49282" fmla="*/ 2951110 w 8079933"/>
              <a:gd name="connsiteY49282" fmla="*/ 1294590 h 4687251"/>
              <a:gd name="connsiteX49283" fmla="*/ 2949591 w 8079933"/>
              <a:gd name="connsiteY49283" fmla="*/ 1292641 h 4687251"/>
              <a:gd name="connsiteX49284" fmla="*/ 2946444 w 8079933"/>
              <a:gd name="connsiteY49284" fmla="*/ 1292641 h 4687251"/>
              <a:gd name="connsiteX49285" fmla="*/ 2946444 w 8079933"/>
              <a:gd name="connsiteY49285" fmla="*/ 1291125 h 4687251"/>
              <a:gd name="connsiteX49286" fmla="*/ 2951435 w 8079933"/>
              <a:gd name="connsiteY49286" fmla="*/ 1288743 h 4687251"/>
              <a:gd name="connsiteX49287" fmla="*/ 2954583 w 8079933"/>
              <a:gd name="connsiteY49287" fmla="*/ 1288743 h 4687251"/>
              <a:gd name="connsiteX49288" fmla="*/ 2956102 w 8079933"/>
              <a:gd name="connsiteY49288" fmla="*/ 1286903 h 4687251"/>
              <a:gd name="connsiteX49289" fmla="*/ 2955125 w 8079933"/>
              <a:gd name="connsiteY49289" fmla="*/ 1284629 h 4687251"/>
              <a:gd name="connsiteX49290" fmla="*/ 2952304 w 8079933"/>
              <a:gd name="connsiteY49290" fmla="*/ 1284629 h 4687251"/>
              <a:gd name="connsiteX49291" fmla="*/ 2947855 w 8079933"/>
              <a:gd name="connsiteY49291" fmla="*/ 1286036 h 4687251"/>
              <a:gd name="connsiteX49292" fmla="*/ 2944599 w 8079933"/>
              <a:gd name="connsiteY49292" fmla="*/ 1288419 h 4687251"/>
              <a:gd name="connsiteX49293" fmla="*/ 2939065 w 8079933"/>
              <a:gd name="connsiteY49293" fmla="*/ 1289935 h 4687251"/>
              <a:gd name="connsiteX49294" fmla="*/ 2935809 w 8079933"/>
              <a:gd name="connsiteY49294" fmla="*/ 1287769 h 4687251"/>
              <a:gd name="connsiteX49295" fmla="*/ 2936460 w 8079933"/>
              <a:gd name="connsiteY49295" fmla="*/ 1285495 h 4687251"/>
              <a:gd name="connsiteX49296" fmla="*/ 2940041 w 8079933"/>
              <a:gd name="connsiteY49296" fmla="*/ 1284413 h 4687251"/>
              <a:gd name="connsiteX49297" fmla="*/ 2942429 w 8079933"/>
              <a:gd name="connsiteY49297" fmla="*/ 1282464 h 4687251"/>
              <a:gd name="connsiteX49298" fmla="*/ 2942429 w 8079933"/>
              <a:gd name="connsiteY49298" fmla="*/ 1278566 h 4687251"/>
              <a:gd name="connsiteX49299" fmla="*/ 2947529 w 8079933"/>
              <a:gd name="connsiteY49299" fmla="*/ 1276401 h 4687251"/>
              <a:gd name="connsiteX49300" fmla="*/ 2949373 w 8079933"/>
              <a:gd name="connsiteY49300" fmla="*/ 1274452 h 4687251"/>
              <a:gd name="connsiteX49301" fmla="*/ 2948505 w 8079933"/>
              <a:gd name="connsiteY49301" fmla="*/ 1273153 h 4687251"/>
              <a:gd name="connsiteX49302" fmla="*/ 2944057 w 8079933"/>
              <a:gd name="connsiteY49302" fmla="*/ 1272178 h 4687251"/>
              <a:gd name="connsiteX49303" fmla="*/ 2941561 w 8079933"/>
              <a:gd name="connsiteY49303" fmla="*/ 1274235 h 4687251"/>
              <a:gd name="connsiteX49304" fmla="*/ 2938088 w 8079933"/>
              <a:gd name="connsiteY49304" fmla="*/ 1275860 h 4687251"/>
              <a:gd name="connsiteX49305" fmla="*/ 2935375 w 8079933"/>
              <a:gd name="connsiteY49305" fmla="*/ 1273478 h 4687251"/>
              <a:gd name="connsiteX49306" fmla="*/ 2937437 w 8079933"/>
              <a:gd name="connsiteY49306" fmla="*/ 1271095 h 4687251"/>
              <a:gd name="connsiteX49307" fmla="*/ 2940476 w 8079933"/>
              <a:gd name="connsiteY49307" fmla="*/ 1270446 h 4687251"/>
              <a:gd name="connsiteX49308" fmla="*/ 2943297 w 8079933"/>
              <a:gd name="connsiteY49308" fmla="*/ 1270446 h 4687251"/>
              <a:gd name="connsiteX49309" fmla="*/ 2945142 w 8079933"/>
              <a:gd name="connsiteY49309" fmla="*/ 1268064 h 4687251"/>
              <a:gd name="connsiteX49310" fmla="*/ 2948180 w 8079933"/>
              <a:gd name="connsiteY49310" fmla="*/ 1265790 h 4687251"/>
              <a:gd name="connsiteX49311" fmla="*/ 2947529 w 8079933"/>
              <a:gd name="connsiteY49311" fmla="*/ 1263517 h 4687251"/>
              <a:gd name="connsiteX49312" fmla="*/ 2949265 w 8079933"/>
              <a:gd name="connsiteY49312" fmla="*/ 1261351 h 4687251"/>
              <a:gd name="connsiteX49313" fmla="*/ 2947746 w 8079933"/>
              <a:gd name="connsiteY49313" fmla="*/ 1259944 h 4687251"/>
              <a:gd name="connsiteX49314" fmla="*/ 2941994 w 8079933"/>
              <a:gd name="connsiteY49314" fmla="*/ 1262001 h 4687251"/>
              <a:gd name="connsiteX49315" fmla="*/ 2940692 w 8079933"/>
              <a:gd name="connsiteY49315" fmla="*/ 1263950 h 4687251"/>
              <a:gd name="connsiteX49316" fmla="*/ 2938848 w 8079933"/>
              <a:gd name="connsiteY49316" fmla="*/ 1266007 h 4687251"/>
              <a:gd name="connsiteX49317" fmla="*/ 2934616 w 8079933"/>
              <a:gd name="connsiteY49317" fmla="*/ 1266007 h 4687251"/>
              <a:gd name="connsiteX49318" fmla="*/ 2936026 w 8079933"/>
              <a:gd name="connsiteY49318" fmla="*/ 1264058 h 4687251"/>
              <a:gd name="connsiteX49319" fmla="*/ 2939173 w 8079933"/>
              <a:gd name="connsiteY49319" fmla="*/ 1262217 h 4687251"/>
              <a:gd name="connsiteX49320" fmla="*/ 2939824 w 8079933"/>
              <a:gd name="connsiteY49320" fmla="*/ 1259186 h 4687251"/>
              <a:gd name="connsiteX49321" fmla="*/ 2937979 w 8079933"/>
              <a:gd name="connsiteY49321" fmla="*/ 1257454 h 4687251"/>
              <a:gd name="connsiteX49322" fmla="*/ 2940367 w 8079933"/>
              <a:gd name="connsiteY49322" fmla="*/ 1255612 h 4687251"/>
              <a:gd name="connsiteX49323" fmla="*/ 2940367 w 8079933"/>
              <a:gd name="connsiteY49323" fmla="*/ 1253664 h 4687251"/>
              <a:gd name="connsiteX49324" fmla="*/ 2938414 w 8079933"/>
              <a:gd name="connsiteY49324" fmla="*/ 1252473 h 4687251"/>
              <a:gd name="connsiteX49325" fmla="*/ 2934941 w 8079933"/>
              <a:gd name="connsiteY49325" fmla="*/ 1252473 h 4687251"/>
              <a:gd name="connsiteX49326" fmla="*/ 2934941 w 8079933"/>
              <a:gd name="connsiteY49326" fmla="*/ 1251390 h 4687251"/>
              <a:gd name="connsiteX49327" fmla="*/ 2936678 w 8079933"/>
              <a:gd name="connsiteY49327" fmla="*/ 1249441 h 4687251"/>
              <a:gd name="connsiteX49328" fmla="*/ 2936026 w 8079933"/>
              <a:gd name="connsiteY49328" fmla="*/ 1246301 h 4687251"/>
              <a:gd name="connsiteX49329" fmla="*/ 2933205 w 8079933"/>
              <a:gd name="connsiteY49329" fmla="*/ 1245544 h 4687251"/>
              <a:gd name="connsiteX49330" fmla="*/ 2931577 w 8079933"/>
              <a:gd name="connsiteY49330" fmla="*/ 1247060 h 4687251"/>
              <a:gd name="connsiteX49331" fmla="*/ 2927996 w 8079933"/>
              <a:gd name="connsiteY49331" fmla="*/ 1247060 h 4687251"/>
              <a:gd name="connsiteX49332" fmla="*/ 2927996 w 8079933"/>
              <a:gd name="connsiteY49332" fmla="*/ 1245652 h 4687251"/>
              <a:gd name="connsiteX49333" fmla="*/ 2930167 w 8079933"/>
              <a:gd name="connsiteY49333" fmla="*/ 1242079 h 4687251"/>
              <a:gd name="connsiteX49334" fmla="*/ 2932662 w 8079933"/>
              <a:gd name="connsiteY49334" fmla="*/ 1239264 h 4687251"/>
              <a:gd name="connsiteX49335" fmla="*/ 2934181 w 8079933"/>
              <a:gd name="connsiteY49335" fmla="*/ 1239264 h 4687251"/>
              <a:gd name="connsiteX49336" fmla="*/ 2938414 w 8079933"/>
              <a:gd name="connsiteY49336" fmla="*/ 1233959 h 4687251"/>
              <a:gd name="connsiteX49337" fmla="*/ 2936243 w 8079933"/>
              <a:gd name="connsiteY49337" fmla="*/ 1231685 h 4687251"/>
              <a:gd name="connsiteX49338" fmla="*/ 2936894 w 8079933"/>
              <a:gd name="connsiteY49338" fmla="*/ 1229303 h 4687251"/>
              <a:gd name="connsiteX49339" fmla="*/ 2938414 w 8079933"/>
              <a:gd name="connsiteY49339" fmla="*/ 1227138 h 4687251"/>
              <a:gd name="connsiteX49340" fmla="*/ 2936786 w 8079933"/>
              <a:gd name="connsiteY49340" fmla="*/ 1225730 h 4687251"/>
              <a:gd name="connsiteX49341" fmla="*/ 2935266 w 8079933"/>
              <a:gd name="connsiteY49341" fmla="*/ 1226488 h 4687251"/>
              <a:gd name="connsiteX49342" fmla="*/ 2934507 w 8079933"/>
              <a:gd name="connsiteY49342" fmla="*/ 1228437 h 4687251"/>
              <a:gd name="connsiteX49343" fmla="*/ 2932445 w 8079933"/>
              <a:gd name="connsiteY49343" fmla="*/ 1225189 h 4687251"/>
              <a:gd name="connsiteX49344" fmla="*/ 2929299 w 8079933"/>
              <a:gd name="connsiteY49344" fmla="*/ 1225189 h 4687251"/>
              <a:gd name="connsiteX49345" fmla="*/ 2928213 w 8079933"/>
              <a:gd name="connsiteY49345" fmla="*/ 1226705 h 4687251"/>
              <a:gd name="connsiteX49346" fmla="*/ 2926368 w 8079933"/>
              <a:gd name="connsiteY49346" fmla="*/ 1226705 h 4687251"/>
              <a:gd name="connsiteX49347" fmla="*/ 2924415 w 8079933"/>
              <a:gd name="connsiteY49347" fmla="*/ 1222049 h 4687251"/>
              <a:gd name="connsiteX49348" fmla="*/ 2925283 w 8079933"/>
              <a:gd name="connsiteY49348" fmla="*/ 1219559 h 4687251"/>
              <a:gd name="connsiteX49349" fmla="*/ 2931468 w 8079933"/>
              <a:gd name="connsiteY49349" fmla="*/ 1217393 h 4687251"/>
              <a:gd name="connsiteX49350" fmla="*/ 2931468 w 8079933"/>
              <a:gd name="connsiteY49350" fmla="*/ 1215769 h 4687251"/>
              <a:gd name="connsiteX49351" fmla="*/ 2927996 w 8079933"/>
              <a:gd name="connsiteY49351" fmla="*/ 1213928 h 4687251"/>
              <a:gd name="connsiteX49352" fmla="*/ 2924524 w 8079933"/>
              <a:gd name="connsiteY49352" fmla="*/ 1213928 h 4687251"/>
              <a:gd name="connsiteX49353" fmla="*/ 2920942 w 8079933"/>
              <a:gd name="connsiteY49353" fmla="*/ 1215986 h 4687251"/>
              <a:gd name="connsiteX49354" fmla="*/ 2918555 w 8079933"/>
              <a:gd name="connsiteY49354" fmla="*/ 1215986 h 4687251"/>
              <a:gd name="connsiteX49355" fmla="*/ 2917145 w 8079933"/>
              <a:gd name="connsiteY49355" fmla="*/ 1213712 h 4687251"/>
              <a:gd name="connsiteX49356" fmla="*/ 2918121 w 8079933"/>
              <a:gd name="connsiteY49356" fmla="*/ 1211114 h 4687251"/>
              <a:gd name="connsiteX49357" fmla="*/ 2921376 w 8079933"/>
              <a:gd name="connsiteY49357" fmla="*/ 1210139 h 4687251"/>
              <a:gd name="connsiteX49358" fmla="*/ 2925066 w 8079933"/>
              <a:gd name="connsiteY49358" fmla="*/ 1211222 h 4687251"/>
              <a:gd name="connsiteX49359" fmla="*/ 2931035 w 8079933"/>
              <a:gd name="connsiteY49359" fmla="*/ 1210139 h 4687251"/>
              <a:gd name="connsiteX49360" fmla="*/ 2932880 w 8079933"/>
              <a:gd name="connsiteY49360" fmla="*/ 1208298 h 4687251"/>
              <a:gd name="connsiteX49361" fmla="*/ 2930817 w 8079933"/>
              <a:gd name="connsiteY49361" fmla="*/ 1208298 h 4687251"/>
              <a:gd name="connsiteX49362" fmla="*/ 2928647 w 8079933"/>
              <a:gd name="connsiteY49362" fmla="*/ 1207216 h 4687251"/>
              <a:gd name="connsiteX49363" fmla="*/ 2923330 w 8079933"/>
              <a:gd name="connsiteY49363" fmla="*/ 1207216 h 4687251"/>
              <a:gd name="connsiteX49364" fmla="*/ 2921376 w 8079933"/>
              <a:gd name="connsiteY49364" fmla="*/ 1208515 h 4687251"/>
              <a:gd name="connsiteX49365" fmla="*/ 2918881 w 8079933"/>
              <a:gd name="connsiteY49365" fmla="*/ 1208515 h 4687251"/>
              <a:gd name="connsiteX49366" fmla="*/ 2916276 w 8079933"/>
              <a:gd name="connsiteY49366" fmla="*/ 1206241 h 4687251"/>
              <a:gd name="connsiteX49367" fmla="*/ 2920834 w 8079933"/>
              <a:gd name="connsiteY49367" fmla="*/ 1203318 h 4687251"/>
              <a:gd name="connsiteX49368" fmla="*/ 2926477 w 8079933"/>
              <a:gd name="connsiteY49368" fmla="*/ 1203318 h 4687251"/>
              <a:gd name="connsiteX49369" fmla="*/ 2928539 w 8079933"/>
              <a:gd name="connsiteY49369" fmla="*/ 1202127 h 4687251"/>
              <a:gd name="connsiteX49370" fmla="*/ 2926694 w 8079933"/>
              <a:gd name="connsiteY49370" fmla="*/ 1201369 h 4687251"/>
              <a:gd name="connsiteX49371" fmla="*/ 2923764 w 8079933"/>
              <a:gd name="connsiteY49371" fmla="*/ 1201369 h 4687251"/>
              <a:gd name="connsiteX49372" fmla="*/ 2921051 w 8079933"/>
              <a:gd name="connsiteY49372" fmla="*/ 1199204 h 4687251"/>
              <a:gd name="connsiteX49373" fmla="*/ 2922679 w 8079933"/>
              <a:gd name="connsiteY49373" fmla="*/ 1199204 h 4687251"/>
              <a:gd name="connsiteX49374" fmla="*/ 2925934 w 8079933"/>
              <a:gd name="connsiteY49374" fmla="*/ 1199853 h 4687251"/>
              <a:gd name="connsiteX49375" fmla="*/ 2928105 w 8079933"/>
              <a:gd name="connsiteY49375" fmla="*/ 1200936 h 4687251"/>
              <a:gd name="connsiteX49376" fmla="*/ 2933205 w 8079933"/>
              <a:gd name="connsiteY49376" fmla="*/ 1198771 h 4687251"/>
              <a:gd name="connsiteX49377" fmla="*/ 2935375 w 8079933"/>
              <a:gd name="connsiteY49377" fmla="*/ 1196822 h 4687251"/>
              <a:gd name="connsiteX49378" fmla="*/ 2934290 w 8079933"/>
              <a:gd name="connsiteY49378" fmla="*/ 1195631 h 4687251"/>
              <a:gd name="connsiteX49379" fmla="*/ 2932012 w 8079933"/>
              <a:gd name="connsiteY49379" fmla="*/ 1196281 h 4687251"/>
              <a:gd name="connsiteX49380" fmla="*/ 2929299 w 8079933"/>
              <a:gd name="connsiteY49380" fmla="*/ 1197363 h 4687251"/>
              <a:gd name="connsiteX49381" fmla="*/ 2926586 w 8079933"/>
              <a:gd name="connsiteY49381" fmla="*/ 1197363 h 4687251"/>
              <a:gd name="connsiteX49382" fmla="*/ 2924741 w 8079933"/>
              <a:gd name="connsiteY49382" fmla="*/ 1196388 h 4687251"/>
              <a:gd name="connsiteX49383" fmla="*/ 2921051 w 8079933"/>
              <a:gd name="connsiteY49383" fmla="*/ 1196388 h 4687251"/>
              <a:gd name="connsiteX49384" fmla="*/ 2919532 w 8079933"/>
              <a:gd name="connsiteY49384" fmla="*/ 1199096 h 4687251"/>
              <a:gd name="connsiteX49385" fmla="*/ 2916928 w 8079933"/>
              <a:gd name="connsiteY49385" fmla="*/ 1200720 h 4687251"/>
              <a:gd name="connsiteX49386" fmla="*/ 2913672 w 8079933"/>
              <a:gd name="connsiteY49386" fmla="*/ 1198338 h 4687251"/>
              <a:gd name="connsiteX49387" fmla="*/ 2913021 w 8079933"/>
              <a:gd name="connsiteY49387" fmla="*/ 1195522 h 4687251"/>
              <a:gd name="connsiteX49388" fmla="*/ 2915408 w 8079933"/>
              <a:gd name="connsiteY49388" fmla="*/ 1192058 h 4687251"/>
              <a:gd name="connsiteX49389" fmla="*/ 2920183 w 8079933"/>
              <a:gd name="connsiteY49389" fmla="*/ 1192058 h 4687251"/>
              <a:gd name="connsiteX49390" fmla="*/ 2923981 w 8079933"/>
              <a:gd name="connsiteY49390" fmla="*/ 1189676 h 4687251"/>
              <a:gd name="connsiteX49391" fmla="*/ 2922896 w 8079933"/>
              <a:gd name="connsiteY49391" fmla="*/ 1188810 h 4687251"/>
              <a:gd name="connsiteX49392" fmla="*/ 2918446 w 8079933"/>
              <a:gd name="connsiteY49392" fmla="*/ 1189567 h 4687251"/>
              <a:gd name="connsiteX49393" fmla="*/ 2914323 w 8079933"/>
              <a:gd name="connsiteY49393" fmla="*/ 1188918 h 4687251"/>
              <a:gd name="connsiteX49394" fmla="*/ 2913347 w 8079933"/>
              <a:gd name="connsiteY49394" fmla="*/ 1185561 h 4687251"/>
              <a:gd name="connsiteX49395" fmla="*/ 2914432 w 8079933"/>
              <a:gd name="connsiteY49395" fmla="*/ 1182314 h 4687251"/>
              <a:gd name="connsiteX49396" fmla="*/ 2918446 w 8079933"/>
              <a:gd name="connsiteY49396" fmla="*/ 1181339 h 4687251"/>
              <a:gd name="connsiteX49397" fmla="*/ 2927562 w 8079933"/>
              <a:gd name="connsiteY49397" fmla="*/ 1181339 h 4687251"/>
              <a:gd name="connsiteX49398" fmla="*/ 2932771 w 8079933"/>
              <a:gd name="connsiteY49398" fmla="*/ 1179823 h 4687251"/>
              <a:gd name="connsiteX49399" fmla="*/ 2938522 w 8079933"/>
              <a:gd name="connsiteY49399" fmla="*/ 1179823 h 4687251"/>
              <a:gd name="connsiteX49400" fmla="*/ 2942103 w 8079933"/>
              <a:gd name="connsiteY49400" fmla="*/ 1176900 h 4687251"/>
              <a:gd name="connsiteX49401" fmla="*/ 2942754 w 8079933"/>
              <a:gd name="connsiteY49401" fmla="*/ 1175817 h 4687251"/>
              <a:gd name="connsiteX49402" fmla="*/ 2938956 w 8079933"/>
              <a:gd name="connsiteY49402" fmla="*/ 1175817 h 4687251"/>
              <a:gd name="connsiteX49403" fmla="*/ 2935375 w 8079933"/>
              <a:gd name="connsiteY49403" fmla="*/ 1174735 h 4687251"/>
              <a:gd name="connsiteX49404" fmla="*/ 2931252 w 8079933"/>
              <a:gd name="connsiteY49404" fmla="*/ 1177333 h 4687251"/>
              <a:gd name="connsiteX49405" fmla="*/ 2924632 w 8079933"/>
              <a:gd name="connsiteY49405" fmla="*/ 1178416 h 4687251"/>
              <a:gd name="connsiteX49406" fmla="*/ 2921268 w 8079933"/>
              <a:gd name="connsiteY49406" fmla="*/ 1179823 h 4687251"/>
              <a:gd name="connsiteX49407" fmla="*/ 2917145 w 8079933"/>
              <a:gd name="connsiteY49407" fmla="*/ 1179823 h 4687251"/>
              <a:gd name="connsiteX49408" fmla="*/ 2915083 w 8079933"/>
              <a:gd name="connsiteY49408" fmla="*/ 1178308 h 4687251"/>
              <a:gd name="connsiteX49409" fmla="*/ 2915951 w 8079933"/>
              <a:gd name="connsiteY49409" fmla="*/ 1177225 h 4687251"/>
              <a:gd name="connsiteX49410" fmla="*/ 2923547 w 8079933"/>
              <a:gd name="connsiteY49410" fmla="*/ 1177225 h 4687251"/>
              <a:gd name="connsiteX49411" fmla="*/ 2926911 w 8079933"/>
              <a:gd name="connsiteY49411" fmla="*/ 1175276 h 4687251"/>
              <a:gd name="connsiteX49412" fmla="*/ 2931035 w 8079933"/>
              <a:gd name="connsiteY49412" fmla="*/ 1169537 h 4687251"/>
              <a:gd name="connsiteX49413" fmla="*/ 2934833 w 8079933"/>
              <a:gd name="connsiteY49413" fmla="*/ 1169537 h 4687251"/>
              <a:gd name="connsiteX49414" fmla="*/ 2936569 w 8079933"/>
              <a:gd name="connsiteY49414" fmla="*/ 1170404 h 4687251"/>
              <a:gd name="connsiteX49415" fmla="*/ 2940041 w 8079933"/>
              <a:gd name="connsiteY49415" fmla="*/ 1173110 h 4687251"/>
              <a:gd name="connsiteX49416" fmla="*/ 2943406 w 8079933"/>
              <a:gd name="connsiteY49416" fmla="*/ 1173110 h 4687251"/>
              <a:gd name="connsiteX49417" fmla="*/ 2944382 w 8079933"/>
              <a:gd name="connsiteY49417" fmla="*/ 1171378 h 4687251"/>
              <a:gd name="connsiteX49418" fmla="*/ 2942320 w 8079933"/>
              <a:gd name="connsiteY49418" fmla="*/ 1170729 h 4687251"/>
              <a:gd name="connsiteX49419" fmla="*/ 2938631 w 8079933"/>
              <a:gd name="connsiteY49419" fmla="*/ 1166614 h 4687251"/>
              <a:gd name="connsiteX49420" fmla="*/ 2936678 w 8079933"/>
              <a:gd name="connsiteY49420" fmla="*/ 1166614 h 4687251"/>
              <a:gd name="connsiteX49421" fmla="*/ 2934833 w 8079933"/>
              <a:gd name="connsiteY49421" fmla="*/ 1164774 h 4687251"/>
              <a:gd name="connsiteX49422" fmla="*/ 2935483 w 8079933"/>
              <a:gd name="connsiteY49422" fmla="*/ 1162933 h 4687251"/>
              <a:gd name="connsiteX49423" fmla="*/ 2938305 w 8079933"/>
              <a:gd name="connsiteY49423" fmla="*/ 1162933 h 4687251"/>
              <a:gd name="connsiteX49424" fmla="*/ 2939933 w 8079933"/>
              <a:gd name="connsiteY49424" fmla="*/ 1161417 h 4687251"/>
              <a:gd name="connsiteX49425" fmla="*/ 2941669 w 8079933"/>
              <a:gd name="connsiteY49425" fmla="*/ 1161417 h 4687251"/>
              <a:gd name="connsiteX49426" fmla="*/ 2943622 w 8079933"/>
              <a:gd name="connsiteY49426" fmla="*/ 1164665 h 4687251"/>
              <a:gd name="connsiteX49427" fmla="*/ 2947529 w 8079933"/>
              <a:gd name="connsiteY49427" fmla="*/ 1169213 h 4687251"/>
              <a:gd name="connsiteX49428" fmla="*/ 2950242 w 8079933"/>
              <a:gd name="connsiteY49428" fmla="*/ 1170729 h 4687251"/>
              <a:gd name="connsiteX49429" fmla="*/ 2951544 w 8079933"/>
              <a:gd name="connsiteY49429" fmla="*/ 1170187 h 4687251"/>
              <a:gd name="connsiteX49430" fmla="*/ 2949700 w 8079933"/>
              <a:gd name="connsiteY49430" fmla="*/ 1166506 h 4687251"/>
              <a:gd name="connsiteX49431" fmla="*/ 2947420 w 8079933"/>
              <a:gd name="connsiteY49431" fmla="*/ 1164990 h 4687251"/>
              <a:gd name="connsiteX49432" fmla="*/ 2947420 w 8079933"/>
              <a:gd name="connsiteY49432" fmla="*/ 1157412 h 4687251"/>
              <a:gd name="connsiteX49433" fmla="*/ 2950350 w 8079933"/>
              <a:gd name="connsiteY49433" fmla="*/ 1154596 h 4687251"/>
              <a:gd name="connsiteX49434" fmla="*/ 2950350 w 8079933"/>
              <a:gd name="connsiteY49434" fmla="*/ 1153080 h 4687251"/>
              <a:gd name="connsiteX49435" fmla="*/ 2947529 w 8079933"/>
              <a:gd name="connsiteY49435" fmla="*/ 1153080 h 4687251"/>
              <a:gd name="connsiteX49436" fmla="*/ 2945033 w 8079933"/>
              <a:gd name="connsiteY49436" fmla="*/ 1155570 h 4687251"/>
              <a:gd name="connsiteX49437" fmla="*/ 2942863 w 8079933"/>
              <a:gd name="connsiteY49437" fmla="*/ 1155570 h 4687251"/>
              <a:gd name="connsiteX49438" fmla="*/ 2940476 w 8079933"/>
              <a:gd name="connsiteY49438" fmla="*/ 1152431 h 4687251"/>
              <a:gd name="connsiteX49439" fmla="*/ 2939390 w 8079933"/>
              <a:gd name="connsiteY49439" fmla="*/ 1154380 h 4687251"/>
              <a:gd name="connsiteX49440" fmla="*/ 2933965 w 8079933"/>
              <a:gd name="connsiteY49440" fmla="*/ 1159902 h 4687251"/>
              <a:gd name="connsiteX49441" fmla="*/ 2930600 w 8079933"/>
              <a:gd name="connsiteY49441" fmla="*/ 1161309 h 4687251"/>
              <a:gd name="connsiteX49442" fmla="*/ 2929190 w 8079933"/>
              <a:gd name="connsiteY49442" fmla="*/ 1160226 h 4687251"/>
              <a:gd name="connsiteX49443" fmla="*/ 2929190 w 8079933"/>
              <a:gd name="connsiteY49443" fmla="*/ 1157953 h 4687251"/>
              <a:gd name="connsiteX49444" fmla="*/ 2931360 w 8079933"/>
              <a:gd name="connsiteY49444" fmla="*/ 1156220 h 4687251"/>
              <a:gd name="connsiteX49445" fmla="*/ 2931360 w 8079933"/>
              <a:gd name="connsiteY49445" fmla="*/ 1155570 h 4687251"/>
              <a:gd name="connsiteX49446" fmla="*/ 2928539 w 8079933"/>
              <a:gd name="connsiteY49446" fmla="*/ 1156978 h 4687251"/>
              <a:gd name="connsiteX49447" fmla="*/ 2926260 w 8079933"/>
              <a:gd name="connsiteY49447" fmla="*/ 1160118 h 4687251"/>
              <a:gd name="connsiteX49448" fmla="*/ 2924524 w 8079933"/>
              <a:gd name="connsiteY49448" fmla="*/ 1160118 h 4687251"/>
              <a:gd name="connsiteX49449" fmla="*/ 2919206 w 8079933"/>
              <a:gd name="connsiteY49449" fmla="*/ 1165098 h 4687251"/>
              <a:gd name="connsiteX49450" fmla="*/ 2916819 w 8079933"/>
              <a:gd name="connsiteY49450" fmla="*/ 1165964 h 4687251"/>
              <a:gd name="connsiteX49451" fmla="*/ 2913238 w 8079933"/>
              <a:gd name="connsiteY49451" fmla="*/ 1172353 h 4687251"/>
              <a:gd name="connsiteX49452" fmla="*/ 2911502 w 8079933"/>
              <a:gd name="connsiteY49452" fmla="*/ 1172353 h 4687251"/>
              <a:gd name="connsiteX49453" fmla="*/ 2910090 w 8079933"/>
              <a:gd name="connsiteY49453" fmla="*/ 1166939 h 4687251"/>
              <a:gd name="connsiteX49454" fmla="*/ 2910742 w 8079933"/>
              <a:gd name="connsiteY49454" fmla="*/ 1162717 h 4687251"/>
              <a:gd name="connsiteX49455" fmla="*/ 2912587 w 8079933"/>
              <a:gd name="connsiteY49455" fmla="*/ 1160335 h 4687251"/>
              <a:gd name="connsiteX49456" fmla="*/ 2909765 w 8079933"/>
              <a:gd name="connsiteY49456" fmla="*/ 1157736 h 4687251"/>
              <a:gd name="connsiteX49457" fmla="*/ 2910416 w 8079933"/>
              <a:gd name="connsiteY49457" fmla="*/ 1154488 h 4687251"/>
              <a:gd name="connsiteX49458" fmla="*/ 2910416 w 8079933"/>
              <a:gd name="connsiteY49458" fmla="*/ 1151781 h 4687251"/>
              <a:gd name="connsiteX49459" fmla="*/ 2913780 w 8079933"/>
              <a:gd name="connsiteY49459" fmla="*/ 1150157 h 4687251"/>
              <a:gd name="connsiteX49460" fmla="*/ 2920400 w 8079933"/>
              <a:gd name="connsiteY49460" fmla="*/ 1147884 h 4687251"/>
              <a:gd name="connsiteX49461" fmla="*/ 2923547 w 8079933"/>
              <a:gd name="connsiteY49461" fmla="*/ 1147884 h 4687251"/>
              <a:gd name="connsiteX49462" fmla="*/ 2927345 w 8079933"/>
              <a:gd name="connsiteY49462" fmla="*/ 1144311 h 4687251"/>
              <a:gd name="connsiteX49463" fmla="*/ 2928755 w 8079933"/>
              <a:gd name="connsiteY49463" fmla="*/ 1143445 h 4687251"/>
              <a:gd name="connsiteX49464" fmla="*/ 2927128 w 8079933"/>
              <a:gd name="connsiteY49464" fmla="*/ 1141496 h 4687251"/>
              <a:gd name="connsiteX49465" fmla="*/ 2924632 w 8079933"/>
              <a:gd name="connsiteY49465" fmla="*/ 1141496 h 4687251"/>
              <a:gd name="connsiteX49466" fmla="*/ 2922244 w 8079933"/>
              <a:gd name="connsiteY49466" fmla="*/ 1143661 h 4687251"/>
              <a:gd name="connsiteX49467" fmla="*/ 2919532 w 8079933"/>
              <a:gd name="connsiteY49467" fmla="*/ 1142904 h 4687251"/>
              <a:gd name="connsiteX49468" fmla="*/ 2918338 w 8079933"/>
              <a:gd name="connsiteY49468" fmla="*/ 1145827 h 4687251"/>
              <a:gd name="connsiteX49469" fmla="*/ 2915625 w 8079933"/>
              <a:gd name="connsiteY49469" fmla="*/ 1147775 h 4687251"/>
              <a:gd name="connsiteX49470" fmla="*/ 2912261 w 8079933"/>
              <a:gd name="connsiteY49470" fmla="*/ 1147775 h 4687251"/>
              <a:gd name="connsiteX49471" fmla="*/ 2910308 w 8079933"/>
              <a:gd name="connsiteY49471" fmla="*/ 1144635 h 4687251"/>
              <a:gd name="connsiteX49472" fmla="*/ 2910308 w 8079933"/>
              <a:gd name="connsiteY49472" fmla="*/ 1138464 h 4687251"/>
              <a:gd name="connsiteX49473" fmla="*/ 2913238 w 8079933"/>
              <a:gd name="connsiteY49473" fmla="*/ 1136298 h 4687251"/>
              <a:gd name="connsiteX49474" fmla="*/ 2913238 w 8079933"/>
              <a:gd name="connsiteY49474" fmla="*/ 1133158 h 4687251"/>
              <a:gd name="connsiteX49475" fmla="*/ 2911719 w 8079933"/>
              <a:gd name="connsiteY49475" fmla="*/ 1129152 h 4687251"/>
              <a:gd name="connsiteX49476" fmla="*/ 2910308 w 8079933"/>
              <a:gd name="connsiteY49476" fmla="*/ 1129152 h 4687251"/>
              <a:gd name="connsiteX49477" fmla="*/ 2908029 w 8079933"/>
              <a:gd name="connsiteY49477" fmla="*/ 1131643 h 4687251"/>
              <a:gd name="connsiteX49478" fmla="*/ 2905424 w 8079933"/>
              <a:gd name="connsiteY49478" fmla="*/ 1131643 h 4687251"/>
              <a:gd name="connsiteX49479" fmla="*/ 2904774 w 8079933"/>
              <a:gd name="connsiteY49479" fmla="*/ 1128828 h 4687251"/>
              <a:gd name="connsiteX49480" fmla="*/ 2907703 w 8079933"/>
              <a:gd name="connsiteY49480" fmla="*/ 1125905 h 4687251"/>
              <a:gd name="connsiteX49481" fmla="*/ 2912370 w 8079933"/>
              <a:gd name="connsiteY49481" fmla="*/ 1125905 h 4687251"/>
              <a:gd name="connsiteX49482" fmla="*/ 2915191 w 8079933"/>
              <a:gd name="connsiteY49482" fmla="*/ 1123415 h 4687251"/>
              <a:gd name="connsiteX49483" fmla="*/ 2920834 w 8079933"/>
              <a:gd name="connsiteY49483" fmla="*/ 1122223 h 4687251"/>
              <a:gd name="connsiteX49484" fmla="*/ 2923113 w 8079933"/>
              <a:gd name="connsiteY49484" fmla="*/ 1119950 h 4687251"/>
              <a:gd name="connsiteX49485" fmla="*/ 2925717 w 8079933"/>
              <a:gd name="connsiteY49485" fmla="*/ 1118867 h 4687251"/>
              <a:gd name="connsiteX49486" fmla="*/ 2926802 w 8079933"/>
              <a:gd name="connsiteY49486" fmla="*/ 1114753 h 4687251"/>
              <a:gd name="connsiteX49487" fmla="*/ 2928539 w 8079933"/>
              <a:gd name="connsiteY49487" fmla="*/ 1114103 h 4687251"/>
              <a:gd name="connsiteX49488" fmla="*/ 2930058 w 8079933"/>
              <a:gd name="connsiteY49488" fmla="*/ 1115835 h 4687251"/>
              <a:gd name="connsiteX49489" fmla="*/ 2931903 w 8079933"/>
              <a:gd name="connsiteY49489" fmla="*/ 1113887 h 4687251"/>
              <a:gd name="connsiteX49490" fmla="*/ 2939499 w 8079933"/>
              <a:gd name="connsiteY49490" fmla="*/ 1113887 h 4687251"/>
              <a:gd name="connsiteX49491" fmla="*/ 2941561 w 8079933"/>
              <a:gd name="connsiteY49491" fmla="*/ 1115403 h 4687251"/>
              <a:gd name="connsiteX49492" fmla="*/ 2944816 w 8079933"/>
              <a:gd name="connsiteY49492" fmla="*/ 1115403 h 4687251"/>
              <a:gd name="connsiteX49493" fmla="*/ 2943731 w 8079933"/>
              <a:gd name="connsiteY49493" fmla="*/ 1112804 h 4687251"/>
              <a:gd name="connsiteX49494" fmla="*/ 2939716 w 8079933"/>
              <a:gd name="connsiteY49494" fmla="*/ 1111721 h 4687251"/>
              <a:gd name="connsiteX49495" fmla="*/ 2938631 w 8079933"/>
              <a:gd name="connsiteY49495" fmla="*/ 1108797 h 4687251"/>
              <a:gd name="connsiteX49496" fmla="*/ 2936135 w 8079933"/>
              <a:gd name="connsiteY49496" fmla="*/ 1108797 h 4687251"/>
              <a:gd name="connsiteX49497" fmla="*/ 2927019 w 8079933"/>
              <a:gd name="connsiteY49497" fmla="*/ 1113778 h 4687251"/>
              <a:gd name="connsiteX49498" fmla="*/ 2924307 w 8079933"/>
              <a:gd name="connsiteY49498" fmla="*/ 1113778 h 4687251"/>
              <a:gd name="connsiteX49499" fmla="*/ 2922027 w 8079933"/>
              <a:gd name="connsiteY49499" fmla="*/ 1115403 h 4687251"/>
              <a:gd name="connsiteX49500" fmla="*/ 2921051 w 8079933"/>
              <a:gd name="connsiteY49500" fmla="*/ 1118867 h 4687251"/>
              <a:gd name="connsiteX49501" fmla="*/ 2918555 w 8079933"/>
              <a:gd name="connsiteY49501" fmla="*/ 1120599 h 4687251"/>
              <a:gd name="connsiteX49502" fmla="*/ 2914540 w 8079933"/>
              <a:gd name="connsiteY49502" fmla="*/ 1121574 h 4687251"/>
              <a:gd name="connsiteX49503" fmla="*/ 2911502 w 8079933"/>
              <a:gd name="connsiteY49503" fmla="*/ 1125147 h 4687251"/>
              <a:gd name="connsiteX49504" fmla="*/ 2909657 w 8079933"/>
              <a:gd name="connsiteY49504" fmla="*/ 1125147 h 4687251"/>
              <a:gd name="connsiteX49505" fmla="*/ 2908572 w 8079933"/>
              <a:gd name="connsiteY49505" fmla="*/ 1123198 h 4687251"/>
              <a:gd name="connsiteX49506" fmla="*/ 2909331 w 8079933"/>
              <a:gd name="connsiteY49506" fmla="*/ 1120707 h 4687251"/>
              <a:gd name="connsiteX49507" fmla="*/ 2906401 w 8079933"/>
              <a:gd name="connsiteY49507" fmla="*/ 1120058 h 4687251"/>
              <a:gd name="connsiteX49508" fmla="*/ 2906401 w 8079933"/>
              <a:gd name="connsiteY49508" fmla="*/ 1118217 h 4687251"/>
              <a:gd name="connsiteX49509" fmla="*/ 2909331 w 8079933"/>
              <a:gd name="connsiteY49509" fmla="*/ 1114861 h 4687251"/>
              <a:gd name="connsiteX49510" fmla="*/ 2905424 w 8079933"/>
              <a:gd name="connsiteY49510" fmla="*/ 1112479 h 4687251"/>
              <a:gd name="connsiteX49511" fmla="*/ 2903471 w 8079933"/>
              <a:gd name="connsiteY49511" fmla="*/ 1112479 h 4687251"/>
              <a:gd name="connsiteX49512" fmla="*/ 2900108 w 8079933"/>
              <a:gd name="connsiteY49512" fmla="*/ 1109989 h 4687251"/>
              <a:gd name="connsiteX49513" fmla="*/ 2900758 w 8079933"/>
              <a:gd name="connsiteY49513" fmla="*/ 1108581 h 4687251"/>
              <a:gd name="connsiteX49514" fmla="*/ 2906293 w 8079933"/>
              <a:gd name="connsiteY49514" fmla="*/ 1106307 h 4687251"/>
              <a:gd name="connsiteX49515" fmla="*/ 2908789 w 8079933"/>
              <a:gd name="connsiteY49515" fmla="*/ 1103601 h 4687251"/>
              <a:gd name="connsiteX49516" fmla="*/ 2911067 w 8079933"/>
              <a:gd name="connsiteY49516" fmla="*/ 1102951 h 4687251"/>
              <a:gd name="connsiteX49517" fmla="*/ 2912695 w 8079933"/>
              <a:gd name="connsiteY49517" fmla="*/ 1104791 h 4687251"/>
              <a:gd name="connsiteX49518" fmla="*/ 2916601 w 8079933"/>
              <a:gd name="connsiteY49518" fmla="*/ 1104791 h 4687251"/>
              <a:gd name="connsiteX49519" fmla="*/ 2920291 w 8079933"/>
              <a:gd name="connsiteY49519" fmla="*/ 1103384 h 4687251"/>
              <a:gd name="connsiteX49520" fmla="*/ 2923873 w 8079933"/>
              <a:gd name="connsiteY49520" fmla="*/ 1100570 h 4687251"/>
              <a:gd name="connsiteX49521" fmla="*/ 2927019 w 8079933"/>
              <a:gd name="connsiteY49521" fmla="*/ 1100570 h 4687251"/>
              <a:gd name="connsiteX49522" fmla="*/ 2928105 w 8079933"/>
              <a:gd name="connsiteY49522" fmla="*/ 1097862 h 4687251"/>
              <a:gd name="connsiteX49523" fmla="*/ 2927128 w 8079933"/>
              <a:gd name="connsiteY49523" fmla="*/ 1096671 h 4687251"/>
              <a:gd name="connsiteX49524" fmla="*/ 2923873 w 8079933"/>
              <a:gd name="connsiteY49524" fmla="*/ 1096671 h 4687251"/>
              <a:gd name="connsiteX49525" fmla="*/ 2919423 w 8079933"/>
              <a:gd name="connsiteY49525" fmla="*/ 1099487 h 4687251"/>
              <a:gd name="connsiteX49526" fmla="*/ 2916276 w 8079933"/>
              <a:gd name="connsiteY49526" fmla="*/ 1101760 h 4687251"/>
              <a:gd name="connsiteX49527" fmla="*/ 2914323 w 8079933"/>
              <a:gd name="connsiteY49527" fmla="*/ 1101760 h 4687251"/>
              <a:gd name="connsiteX49528" fmla="*/ 2911285 w 8079933"/>
              <a:gd name="connsiteY49528" fmla="*/ 1098513 h 4687251"/>
              <a:gd name="connsiteX49529" fmla="*/ 2909440 w 8079933"/>
              <a:gd name="connsiteY49529" fmla="*/ 1098513 h 4687251"/>
              <a:gd name="connsiteX49530" fmla="*/ 2907487 w 8079933"/>
              <a:gd name="connsiteY49530" fmla="*/ 1100786 h 4687251"/>
              <a:gd name="connsiteX49531" fmla="*/ 2904556 w 8079933"/>
              <a:gd name="connsiteY49531" fmla="*/ 1102951 h 4687251"/>
              <a:gd name="connsiteX49532" fmla="*/ 2904556 w 8079933"/>
              <a:gd name="connsiteY49532" fmla="*/ 1101003 h 4687251"/>
              <a:gd name="connsiteX49533" fmla="*/ 2902061 w 8079933"/>
              <a:gd name="connsiteY49533" fmla="*/ 1100352 h 4687251"/>
              <a:gd name="connsiteX49534" fmla="*/ 2899999 w 8079933"/>
              <a:gd name="connsiteY49534" fmla="*/ 1101219 h 4687251"/>
              <a:gd name="connsiteX49535" fmla="*/ 2896743 w 8079933"/>
              <a:gd name="connsiteY49535" fmla="*/ 1101219 h 4687251"/>
              <a:gd name="connsiteX49536" fmla="*/ 2897828 w 8079933"/>
              <a:gd name="connsiteY49536" fmla="*/ 1099595 h 4687251"/>
              <a:gd name="connsiteX49537" fmla="*/ 2900649 w 8079933"/>
              <a:gd name="connsiteY49537" fmla="*/ 1098729 h 4687251"/>
              <a:gd name="connsiteX49538" fmla="*/ 2907161 w 8079933"/>
              <a:gd name="connsiteY49538" fmla="*/ 1096455 h 4687251"/>
              <a:gd name="connsiteX49539" fmla="*/ 2913672 w 8079933"/>
              <a:gd name="connsiteY49539" fmla="*/ 1092449 h 4687251"/>
              <a:gd name="connsiteX49540" fmla="*/ 2917036 w 8079933"/>
              <a:gd name="connsiteY49540" fmla="*/ 1091150 h 4687251"/>
              <a:gd name="connsiteX49541" fmla="*/ 2923873 w 8079933"/>
              <a:gd name="connsiteY49541" fmla="*/ 1089850 h 4687251"/>
              <a:gd name="connsiteX49542" fmla="*/ 2927454 w 8079933"/>
              <a:gd name="connsiteY49542" fmla="*/ 1085520 h 4687251"/>
              <a:gd name="connsiteX49543" fmla="*/ 2935158 w 8079933"/>
              <a:gd name="connsiteY49543" fmla="*/ 1077183 h 4687251"/>
              <a:gd name="connsiteX49544" fmla="*/ 2942646 w 8079933"/>
              <a:gd name="connsiteY49544" fmla="*/ 1073502 h 4687251"/>
              <a:gd name="connsiteX49545" fmla="*/ 2948723 w 8079933"/>
              <a:gd name="connsiteY49545" fmla="*/ 1071336 h 4687251"/>
              <a:gd name="connsiteX49546" fmla="*/ 2952086 w 8079933"/>
              <a:gd name="connsiteY49546" fmla="*/ 1071336 h 4687251"/>
              <a:gd name="connsiteX49547" fmla="*/ 2954040 w 8079933"/>
              <a:gd name="connsiteY49547" fmla="*/ 1069821 h 4687251"/>
              <a:gd name="connsiteX49548" fmla="*/ 2954040 w 8079933"/>
              <a:gd name="connsiteY49548" fmla="*/ 1068088 h 4687251"/>
              <a:gd name="connsiteX49549" fmla="*/ 2950785 w 8079933"/>
              <a:gd name="connsiteY49549" fmla="*/ 1067005 h 4687251"/>
              <a:gd name="connsiteX49550" fmla="*/ 2945142 w 8079933"/>
              <a:gd name="connsiteY49550" fmla="*/ 1068630 h 4687251"/>
              <a:gd name="connsiteX49551" fmla="*/ 2933096 w 8079933"/>
              <a:gd name="connsiteY49551" fmla="*/ 1074368 h 4687251"/>
              <a:gd name="connsiteX49552" fmla="*/ 2927779 w 8079933"/>
              <a:gd name="connsiteY49552" fmla="*/ 1079781 h 4687251"/>
              <a:gd name="connsiteX49553" fmla="*/ 2924089 w 8079933"/>
              <a:gd name="connsiteY49553" fmla="*/ 1085303 h 4687251"/>
              <a:gd name="connsiteX49554" fmla="*/ 2919640 w 8079933"/>
              <a:gd name="connsiteY49554" fmla="*/ 1087469 h 4687251"/>
              <a:gd name="connsiteX49555" fmla="*/ 2911719 w 8079933"/>
              <a:gd name="connsiteY49555" fmla="*/ 1089309 h 4687251"/>
              <a:gd name="connsiteX49556" fmla="*/ 2909223 w 8079933"/>
              <a:gd name="connsiteY49556" fmla="*/ 1090933 h 4687251"/>
              <a:gd name="connsiteX49557" fmla="*/ 2899890 w 8079933"/>
              <a:gd name="connsiteY49557" fmla="*/ 1094939 h 4687251"/>
              <a:gd name="connsiteX49558" fmla="*/ 2896526 w 8079933"/>
              <a:gd name="connsiteY49558" fmla="*/ 1094939 h 4687251"/>
              <a:gd name="connsiteX49559" fmla="*/ 2895767 w 8079933"/>
              <a:gd name="connsiteY49559" fmla="*/ 1092774 h 4687251"/>
              <a:gd name="connsiteX49560" fmla="*/ 2897178 w 8079933"/>
              <a:gd name="connsiteY49560" fmla="*/ 1090824 h 4687251"/>
              <a:gd name="connsiteX49561" fmla="*/ 2897178 w 8079933"/>
              <a:gd name="connsiteY49561" fmla="*/ 1082597 h 4687251"/>
              <a:gd name="connsiteX49562" fmla="*/ 2899781 w 8079933"/>
              <a:gd name="connsiteY49562" fmla="*/ 1079456 h 4687251"/>
              <a:gd name="connsiteX49563" fmla="*/ 2902169 w 8079933"/>
              <a:gd name="connsiteY49563" fmla="*/ 1079456 h 4687251"/>
              <a:gd name="connsiteX49564" fmla="*/ 2905859 w 8079933"/>
              <a:gd name="connsiteY49564" fmla="*/ 1081838 h 4687251"/>
              <a:gd name="connsiteX49565" fmla="*/ 2908572 w 8079933"/>
              <a:gd name="connsiteY49565" fmla="*/ 1080972 h 4687251"/>
              <a:gd name="connsiteX49566" fmla="*/ 2913889 w 8079933"/>
              <a:gd name="connsiteY49566" fmla="*/ 1080972 h 4687251"/>
              <a:gd name="connsiteX49567" fmla="*/ 2918121 w 8079933"/>
              <a:gd name="connsiteY49567" fmla="*/ 1080972 h 4687251"/>
              <a:gd name="connsiteX49568" fmla="*/ 2916928 w 8079933"/>
              <a:gd name="connsiteY49568" fmla="*/ 1079240 h 4687251"/>
              <a:gd name="connsiteX49569" fmla="*/ 2913780 w 8079933"/>
              <a:gd name="connsiteY49569" fmla="*/ 1077291 h 4687251"/>
              <a:gd name="connsiteX49570" fmla="*/ 2909657 w 8079933"/>
              <a:gd name="connsiteY49570" fmla="*/ 1077291 h 4687251"/>
              <a:gd name="connsiteX49571" fmla="*/ 2906944 w 8079933"/>
              <a:gd name="connsiteY49571" fmla="*/ 1078807 h 4687251"/>
              <a:gd name="connsiteX49572" fmla="*/ 2904231 w 8079933"/>
              <a:gd name="connsiteY49572" fmla="*/ 1078266 h 4687251"/>
              <a:gd name="connsiteX49573" fmla="*/ 2902929 w 8079933"/>
              <a:gd name="connsiteY49573" fmla="*/ 1075017 h 4687251"/>
              <a:gd name="connsiteX49574" fmla="*/ 2902929 w 8079933"/>
              <a:gd name="connsiteY49574" fmla="*/ 1072852 h 4687251"/>
              <a:gd name="connsiteX49575" fmla="*/ 2907161 w 8079933"/>
              <a:gd name="connsiteY49575" fmla="*/ 1072202 h 4687251"/>
              <a:gd name="connsiteX49576" fmla="*/ 2911285 w 8079933"/>
              <a:gd name="connsiteY49576" fmla="*/ 1074693 h 4687251"/>
              <a:gd name="connsiteX49577" fmla="*/ 2914865 w 8079933"/>
              <a:gd name="connsiteY49577" fmla="*/ 1074693 h 4687251"/>
              <a:gd name="connsiteX49578" fmla="*/ 2919423 w 8079933"/>
              <a:gd name="connsiteY49578" fmla="*/ 1072852 h 4687251"/>
              <a:gd name="connsiteX49579" fmla="*/ 2918772 w 8079933"/>
              <a:gd name="connsiteY49579" fmla="*/ 1071444 h 4687251"/>
              <a:gd name="connsiteX49580" fmla="*/ 2915625 w 8079933"/>
              <a:gd name="connsiteY49580" fmla="*/ 1070362 h 4687251"/>
              <a:gd name="connsiteX49581" fmla="*/ 2913997 w 8079933"/>
              <a:gd name="connsiteY49581" fmla="*/ 1070362 h 4687251"/>
              <a:gd name="connsiteX49582" fmla="*/ 2912695 w 8079933"/>
              <a:gd name="connsiteY49582" fmla="*/ 1069387 h 4687251"/>
              <a:gd name="connsiteX49583" fmla="*/ 2912695 w 8079933"/>
              <a:gd name="connsiteY49583" fmla="*/ 1067114 h 4687251"/>
              <a:gd name="connsiteX49584" fmla="*/ 2916710 w 8079933"/>
              <a:gd name="connsiteY49584" fmla="*/ 1065922 h 4687251"/>
              <a:gd name="connsiteX49585" fmla="*/ 2918121 w 8079933"/>
              <a:gd name="connsiteY49585" fmla="*/ 1066789 h 4687251"/>
              <a:gd name="connsiteX49586" fmla="*/ 2919640 w 8079933"/>
              <a:gd name="connsiteY49586" fmla="*/ 1065814 h 4687251"/>
              <a:gd name="connsiteX49587" fmla="*/ 2923221 w 8079933"/>
              <a:gd name="connsiteY49587" fmla="*/ 1067222 h 4687251"/>
              <a:gd name="connsiteX49588" fmla="*/ 2925066 w 8079933"/>
              <a:gd name="connsiteY49588" fmla="*/ 1066139 h 4687251"/>
              <a:gd name="connsiteX49589" fmla="*/ 2924307 w 8079933"/>
              <a:gd name="connsiteY49589" fmla="*/ 1062999 h 4687251"/>
              <a:gd name="connsiteX49590" fmla="*/ 2924307 w 8079933"/>
              <a:gd name="connsiteY49590" fmla="*/ 1060185 h 4687251"/>
              <a:gd name="connsiteX49591" fmla="*/ 2923547 w 8079933"/>
              <a:gd name="connsiteY49591" fmla="*/ 1059318 h 4687251"/>
              <a:gd name="connsiteX49592" fmla="*/ 2920834 w 8079933"/>
              <a:gd name="connsiteY49592" fmla="*/ 1059318 h 4687251"/>
              <a:gd name="connsiteX49593" fmla="*/ 2919206 w 8079933"/>
              <a:gd name="connsiteY49593" fmla="*/ 1060834 h 4687251"/>
              <a:gd name="connsiteX49594" fmla="*/ 2915625 w 8079933"/>
              <a:gd name="connsiteY49594" fmla="*/ 1060834 h 4687251"/>
              <a:gd name="connsiteX49595" fmla="*/ 2904774 w 8079933"/>
              <a:gd name="connsiteY49595" fmla="*/ 1057586 h 4687251"/>
              <a:gd name="connsiteX49596" fmla="*/ 2900324 w 8079933"/>
              <a:gd name="connsiteY49596" fmla="*/ 1057586 h 4687251"/>
              <a:gd name="connsiteX49597" fmla="*/ 2898046 w 8079933"/>
              <a:gd name="connsiteY49597" fmla="*/ 1055637 h 4687251"/>
              <a:gd name="connsiteX49598" fmla="*/ 2898046 w 8079933"/>
              <a:gd name="connsiteY49598" fmla="*/ 1054121 h 4687251"/>
              <a:gd name="connsiteX49599" fmla="*/ 2902603 w 8079933"/>
              <a:gd name="connsiteY49599" fmla="*/ 1054121 h 4687251"/>
              <a:gd name="connsiteX49600" fmla="*/ 2905642 w 8079933"/>
              <a:gd name="connsiteY49600" fmla="*/ 1055096 h 4687251"/>
              <a:gd name="connsiteX49601" fmla="*/ 2907487 w 8079933"/>
              <a:gd name="connsiteY49601" fmla="*/ 1054013 h 4687251"/>
              <a:gd name="connsiteX49602" fmla="*/ 2906184 w 8079933"/>
              <a:gd name="connsiteY49602" fmla="*/ 1052930 h 4687251"/>
              <a:gd name="connsiteX49603" fmla="*/ 2902386 w 8079933"/>
              <a:gd name="connsiteY49603" fmla="*/ 1052930 h 4687251"/>
              <a:gd name="connsiteX49604" fmla="*/ 2900867 w 8079933"/>
              <a:gd name="connsiteY49604" fmla="*/ 1051414 h 4687251"/>
              <a:gd name="connsiteX49605" fmla="*/ 2900867 w 8079933"/>
              <a:gd name="connsiteY49605" fmla="*/ 1049141 h 4687251"/>
              <a:gd name="connsiteX49606" fmla="*/ 2907378 w 8079933"/>
              <a:gd name="connsiteY49606" fmla="*/ 1049141 h 4687251"/>
              <a:gd name="connsiteX49607" fmla="*/ 2908789 w 8079933"/>
              <a:gd name="connsiteY49607" fmla="*/ 1047734 h 4687251"/>
              <a:gd name="connsiteX49608" fmla="*/ 2913455 w 8079933"/>
              <a:gd name="connsiteY49608" fmla="*/ 1047734 h 4687251"/>
              <a:gd name="connsiteX49609" fmla="*/ 2928864 w 8079933"/>
              <a:gd name="connsiteY49609" fmla="*/ 1048599 h 4687251"/>
              <a:gd name="connsiteX49610" fmla="*/ 2932012 w 8079933"/>
              <a:gd name="connsiteY49610" fmla="*/ 1047625 h 4687251"/>
              <a:gd name="connsiteX49611" fmla="*/ 2937654 w 8079933"/>
              <a:gd name="connsiteY49611" fmla="*/ 1048383 h 4687251"/>
              <a:gd name="connsiteX49612" fmla="*/ 2939933 w 8079933"/>
              <a:gd name="connsiteY49612" fmla="*/ 1047516 h 4687251"/>
              <a:gd name="connsiteX49613" fmla="*/ 2939933 w 8079933"/>
              <a:gd name="connsiteY49613" fmla="*/ 1045568 h 4687251"/>
              <a:gd name="connsiteX49614" fmla="*/ 2934181 w 8079933"/>
              <a:gd name="connsiteY49614" fmla="*/ 1043186 h 4687251"/>
              <a:gd name="connsiteX49615" fmla="*/ 2927237 w 8079933"/>
              <a:gd name="connsiteY49615" fmla="*/ 1043186 h 4687251"/>
              <a:gd name="connsiteX49616" fmla="*/ 2919098 w 8079933"/>
              <a:gd name="connsiteY49616" fmla="*/ 1045135 h 4687251"/>
              <a:gd name="connsiteX49617" fmla="*/ 2914540 w 8079933"/>
              <a:gd name="connsiteY49617" fmla="*/ 1045135 h 4687251"/>
              <a:gd name="connsiteX49618" fmla="*/ 2913563 w 8079933"/>
              <a:gd name="connsiteY49618" fmla="*/ 1044052 h 4687251"/>
              <a:gd name="connsiteX49619" fmla="*/ 2911067 w 8079933"/>
              <a:gd name="connsiteY49619" fmla="*/ 1043403 h 4687251"/>
              <a:gd name="connsiteX49620" fmla="*/ 2906293 w 8079933"/>
              <a:gd name="connsiteY49620" fmla="*/ 1044593 h 4687251"/>
              <a:gd name="connsiteX49621" fmla="*/ 2903146 w 8079933"/>
              <a:gd name="connsiteY49621" fmla="*/ 1046867 h 4687251"/>
              <a:gd name="connsiteX49622" fmla="*/ 2902061 w 8079933"/>
              <a:gd name="connsiteY49622" fmla="*/ 1046001 h 4687251"/>
              <a:gd name="connsiteX49623" fmla="*/ 2902061 w 8079933"/>
              <a:gd name="connsiteY49623" fmla="*/ 1042645 h 4687251"/>
              <a:gd name="connsiteX49624" fmla="*/ 2904556 w 8079933"/>
              <a:gd name="connsiteY49624" fmla="*/ 1038747 h 4687251"/>
              <a:gd name="connsiteX49625" fmla="*/ 2908572 w 8079933"/>
              <a:gd name="connsiteY49625" fmla="*/ 1036798 h 4687251"/>
              <a:gd name="connsiteX49626" fmla="*/ 2911719 w 8079933"/>
              <a:gd name="connsiteY49626" fmla="*/ 1034632 h 4687251"/>
              <a:gd name="connsiteX49627" fmla="*/ 2916168 w 8079933"/>
              <a:gd name="connsiteY49627" fmla="*/ 1032575 h 4687251"/>
              <a:gd name="connsiteX49628" fmla="*/ 2917904 w 8079933"/>
              <a:gd name="connsiteY49628" fmla="*/ 1028678 h 4687251"/>
              <a:gd name="connsiteX49629" fmla="*/ 2921919 w 8079933"/>
              <a:gd name="connsiteY49629" fmla="*/ 1025863 h 4687251"/>
              <a:gd name="connsiteX49630" fmla="*/ 2924307 w 8079933"/>
              <a:gd name="connsiteY49630" fmla="*/ 1025863 h 4687251"/>
              <a:gd name="connsiteX49631" fmla="*/ 2925500 w 8079933"/>
              <a:gd name="connsiteY49631" fmla="*/ 1027379 h 4687251"/>
              <a:gd name="connsiteX49632" fmla="*/ 2929515 w 8079933"/>
              <a:gd name="connsiteY49632" fmla="*/ 1027379 h 4687251"/>
              <a:gd name="connsiteX49633" fmla="*/ 2932337 w 8079933"/>
              <a:gd name="connsiteY49633" fmla="*/ 1026296 h 4687251"/>
              <a:gd name="connsiteX49634" fmla="*/ 2935050 w 8079933"/>
              <a:gd name="connsiteY49634" fmla="*/ 1026296 h 4687251"/>
              <a:gd name="connsiteX49635" fmla="*/ 2936243 w 8079933"/>
              <a:gd name="connsiteY49635" fmla="*/ 1027595 h 4687251"/>
              <a:gd name="connsiteX49636" fmla="*/ 2941235 w 8079933"/>
              <a:gd name="connsiteY49636" fmla="*/ 1029436 h 4687251"/>
              <a:gd name="connsiteX49637" fmla="*/ 2945576 w 8079933"/>
              <a:gd name="connsiteY49637" fmla="*/ 1033550 h 4687251"/>
              <a:gd name="connsiteX49638" fmla="*/ 2949917 w 8079933"/>
              <a:gd name="connsiteY49638" fmla="*/ 1033550 h 4687251"/>
              <a:gd name="connsiteX49639" fmla="*/ 2954691 w 8079933"/>
              <a:gd name="connsiteY49639" fmla="*/ 1035390 h 4687251"/>
              <a:gd name="connsiteX49640" fmla="*/ 2959574 w 8079933"/>
              <a:gd name="connsiteY49640" fmla="*/ 1040479 h 4687251"/>
              <a:gd name="connsiteX49641" fmla="*/ 2964457 w 8079933"/>
              <a:gd name="connsiteY49641" fmla="*/ 1043186 h 4687251"/>
              <a:gd name="connsiteX49642" fmla="*/ 2970969 w 8079933"/>
              <a:gd name="connsiteY49642" fmla="*/ 1045351 h 4687251"/>
              <a:gd name="connsiteX49643" fmla="*/ 2973682 w 8079933"/>
              <a:gd name="connsiteY49643" fmla="*/ 1043835 h 4687251"/>
              <a:gd name="connsiteX49644" fmla="*/ 2975852 w 8079933"/>
              <a:gd name="connsiteY49644" fmla="*/ 1043835 h 4687251"/>
              <a:gd name="connsiteX49645" fmla="*/ 2976720 w 8079933"/>
              <a:gd name="connsiteY49645" fmla="*/ 1042645 h 4687251"/>
              <a:gd name="connsiteX49646" fmla="*/ 2975960 w 8079933"/>
              <a:gd name="connsiteY49646" fmla="*/ 1040371 h 4687251"/>
              <a:gd name="connsiteX49647" fmla="*/ 2971945 w 8079933"/>
              <a:gd name="connsiteY49647" fmla="*/ 1041237 h 4687251"/>
              <a:gd name="connsiteX49648" fmla="*/ 2970426 w 8079933"/>
              <a:gd name="connsiteY49648" fmla="*/ 1042753 h 4687251"/>
              <a:gd name="connsiteX49649" fmla="*/ 2967062 w 8079933"/>
              <a:gd name="connsiteY49649" fmla="*/ 1042103 h 4687251"/>
              <a:gd name="connsiteX49650" fmla="*/ 2961853 w 8079933"/>
              <a:gd name="connsiteY49650" fmla="*/ 1038639 h 4687251"/>
              <a:gd name="connsiteX49651" fmla="*/ 2957404 w 8079933"/>
              <a:gd name="connsiteY49651" fmla="*/ 1032251 h 4687251"/>
              <a:gd name="connsiteX49652" fmla="*/ 2957404 w 8079933"/>
              <a:gd name="connsiteY49652" fmla="*/ 1030410 h 4687251"/>
              <a:gd name="connsiteX49653" fmla="*/ 2959791 w 8079933"/>
              <a:gd name="connsiteY49653" fmla="*/ 1030410 h 4687251"/>
              <a:gd name="connsiteX49654" fmla="*/ 2966737 w 8079933"/>
              <a:gd name="connsiteY49654" fmla="*/ 1030410 h 4687251"/>
              <a:gd name="connsiteX49655" fmla="*/ 2972813 w 8079933"/>
              <a:gd name="connsiteY49655" fmla="*/ 1028028 h 4687251"/>
              <a:gd name="connsiteX49656" fmla="*/ 2974984 w 8079933"/>
              <a:gd name="connsiteY49656" fmla="*/ 1025646 h 4687251"/>
              <a:gd name="connsiteX49657" fmla="*/ 2973898 w 8079933"/>
              <a:gd name="connsiteY49657" fmla="*/ 1023373 h 4687251"/>
              <a:gd name="connsiteX49658" fmla="*/ 2968256 w 8079933"/>
              <a:gd name="connsiteY49658" fmla="*/ 1022073 h 4687251"/>
              <a:gd name="connsiteX49659" fmla="*/ 2965977 w 8079933"/>
              <a:gd name="connsiteY49659" fmla="*/ 1022723 h 4687251"/>
              <a:gd name="connsiteX49660" fmla="*/ 2965977 w 8079933"/>
              <a:gd name="connsiteY49660" fmla="*/ 1024563 h 4687251"/>
              <a:gd name="connsiteX49661" fmla="*/ 2967387 w 8079933"/>
              <a:gd name="connsiteY49661" fmla="*/ 1026296 h 4687251"/>
              <a:gd name="connsiteX49662" fmla="*/ 2966085 w 8079933"/>
              <a:gd name="connsiteY49662" fmla="*/ 1026945 h 4687251"/>
              <a:gd name="connsiteX49663" fmla="*/ 2960009 w 8079933"/>
              <a:gd name="connsiteY49663" fmla="*/ 1026945 h 4687251"/>
              <a:gd name="connsiteX49664" fmla="*/ 2957296 w 8079933"/>
              <a:gd name="connsiteY49664" fmla="*/ 1025213 h 4687251"/>
              <a:gd name="connsiteX49665" fmla="*/ 2956536 w 8079933"/>
              <a:gd name="connsiteY49665" fmla="*/ 1022073 h 4687251"/>
              <a:gd name="connsiteX49666" fmla="*/ 2959032 w 8079933"/>
              <a:gd name="connsiteY49666" fmla="*/ 1021099 h 4687251"/>
              <a:gd name="connsiteX49667" fmla="*/ 2961311 w 8079933"/>
              <a:gd name="connsiteY49667" fmla="*/ 1021099 h 4687251"/>
              <a:gd name="connsiteX49668" fmla="*/ 2962396 w 8079933"/>
              <a:gd name="connsiteY49668" fmla="*/ 1019258 h 4687251"/>
              <a:gd name="connsiteX49669" fmla="*/ 2960443 w 8079933"/>
              <a:gd name="connsiteY49669" fmla="*/ 1016659 h 4687251"/>
              <a:gd name="connsiteX49670" fmla="*/ 2957838 w 8079933"/>
              <a:gd name="connsiteY49670" fmla="*/ 1016659 h 4687251"/>
              <a:gd name="connsiteX49671" fmla="*/ 2956861 w 8079933"/>
              <a:gd name="connsiteY49671" fmla="*/ 1017634 h 4687251"/>
              <a:gd name="connsiteX49672" fmla="*/ 2954257 w 8079933"/>
              <a:gd name="connsiteY49672" fmla="*/ 1017634 h 4687251"/>
              <a:gd name="connsiteX49673" fmla="*/ 2952086 w 8079933"/>
              <a:gd name="connsiteY49673" fmla="*/ 1017634 h 4687251"/>
              <a:gd name="connsiteX49674" fmla="*/ 2952086 w 8079933"/>
              <a:gd name="connsiteY49674" fmla="*/ 1019474 h 4687251"/>
              <a:gd name="connsiteX49675" fmla="*/ 2953172 w 8079933"/>
              <a:gd name="connsiteY49675" fmla="*/ 1021965 h 4687251"/>
              <a:gd name="connsiteX49676" fmla="*/ 2953172 w 8079933"/>
              <a:gd name="connsiteY49676" fmla="*/ 1025105 h 4687251"/>
              <a:gd name="connsiteX49677" fmla="*/ 2950459 w 8079933"/>
              <a:gd name="connsiteY49677" fmla="*/ 1027920 h 4687251"/>
              <a:gd name="connsiteX49678" fmla="*/ 2946987 w 8079933"/>
              <a:gd name="connsiteY49678" fmla="*/ 1029869 h 4687251"/>
              <a:gd name="connsiteX49679" fmla="*/ 2944599 w 8079933"/>
              <a:gd name="connsiteY49679" fmla="*/ 1028786 h 4687251"/>
              <a:gd name="connsiteX49680" fmla="*/ 2940041 w 8079933"/>
              <a:gd name="connsiteY49680" fmla="*/ 1023373 h 4687251"/>
              <a:gd name="connsiteX49681" fmla="*/ 2936569 w 8079933"/>
              <a:gd name="connsiteY49681" fmla="*/ 1023373 h 4687251"/>
              <a:gd name="connsiteX49682" fmla="*/ 2934181 w 8079933"/>
              <a:gd name="connsiteY49682" fmla="*/ 1021857 h 4687251"/>
              <a:gd name="connsiteX49683" fmla="*/ 2934181 w 8079933"/>
              <a:gd name="connsiteY49683" fmla="*/ 1019583 h 4687251"/>
              <a:gd name="connsiteX49684" fmla="*/ 2932662 w 8079933"/>
              <a:gd name="connsiteY49684" fmla="*/ 1019583 h 4687251"/>
              <a:gd name="connsiteX49685" fmla="*/ 2930817 w 8079933"/>
              <a:gd name="connsiteY49685" fmla="*/ 1021640 h 4687251"/>
              <a:gd name="connsiteX49686" fmla="*/ 2925066 w 8079933"/>
              <a:gd name="connsiteY49686" fmla="*/ 1022506 h 4687251"/>
              <a:gd name="connsiteX49687" fmla="*/ 2921485 w 8079933"/>
              <a:gd name="connsiteY49687" fmla="*/ 1022506 h 4687251"/>
              <a:gd name="connsiteX49688" fmla="*/ 2918338 w 8079933"/>
              <a:gd name="connsiteY49688" fmla="*/ 1024996 h 4687251"/>
              <a:gd name="connsiteX49689" fmla="*/ 2913889 w 8079933"/>
              <a:gd name="connsiteY49689" fmla="*/ 1029110 h 4687251"/>
              <a:gd name="connsiteX49690" fmla="*/ 2910634 w 8079933"/>
              <a:gd name="connsiteY49690" fmla="*/ 1030194 h 4687251"/>
              <a:gd name="connsiteX49691" fmla="*/ 2909006 w 8079933"/>
              <a:gd name="connsiteY49691" fmla="*/ 1029219 h 4687251"/>
              <a:gd name="connsiteX49692" fmla="*/ 2909006 w 8079933"/>
              <a:gd name="connsiteY49692" fmla="*/ 1027270 h 4687251"/>
              <a:gd name="connsiteX49693" fmla="*/ 2914215 w 8079933"/>
              <a:gd name="connsiteY49693" fmla="*/ 1020882 h 4687251"/>
              <a:gd name="connsiteX49694" fmla="*/ 2916385 w 8079933"/>
              <a:gd name="connsiteY49694" fmla="*/ 1020124 h 4687251"/>
              <a:gd name="connsiteX49695" fmla="*/ 2918013 w 8079933"/>
              <a:gd name="connsiteY49695" fmla="*/ 1018284 h 4687251"/>
              <a:gd name="connsiteX49696" fmla="*/ 2918013 w 8079933"/>
              <a:gd name="connsiteY49696" fmla="*/ 1016443 h 4687251"/>
              <a:gd name="connsiteX49697" fmla="*/ 2919423 w 8079933"/>
              <a:gd name="connsiteY49697" fmla="*/ 1016443 h 4687251"/>
              <a:gd name="connsiteX49698" fmla="*/ 2922027 w 8079933"/>
              <a:gd name="connsiteY49698" fmla="*/ 1014169 h 4687251"/>
              <a:gd name="connsiteX49699" fmla="*/ 2922027 w 8079933"/>
              <a:gd name="connsiteY49699" fmla="*/ 1013195 h 4687251"/>
              <a:gd name="connsiteX49700" fmla="*/ 2923547 w 8079933"/>
              <a:gd name="connsiteY49700" fmla="*/ 1010380 h 4687251"/>
              <a:gd name="connsiteX49701" fmla="*/ 2925392 w 8079933"/>
              <a:gd name="connsiteY49701" fmla="*/ 1010380 h 4687251"/>
              <a:gd name="connsiteX49702" fmla="*/ 2928973 w 8079933"/>
              <a:gd name="connsiteY49702" fmla="*/ 1013086 h 4687251"/>
              <a:gd name="connsiteX49703" fmla="*/ 2933530 w 8079933"/>
              <a:gd name="connsiteY49703" fmla="*/ 1015035 h 4687251"/>
              <a:gd name="connsiteX49704" fmla="*/ 2940258 w 8079933"/>
              <a:gd name="connsiteY49704" fmla="*/ 1015035 h 4687251"/>
              <a:gd name="connsiteX49705" fmla="*/ 2939607 w 8079933"/>
              <a:gd name="connsiteY49705" fmla="*/ 1013412 h 4687251"/>
              <a:gd name="connsiteX49706" fmla="*/ 2936569 w 8079933"/>
              <a:gd name="connsiteY49706" fmla="*/ 1012653 h 4687251"/>
              <a:gd name="connsiteX49707" fmla="*/ 2934290 w 8079933"/>
              <a:gd name="connsiteY49707" fmla="*/ 1012653 h 4687251"/>
              <a:gd name="connsiteX49708" fmla="*/ 2931685 w 8079933"/>
              <a:gd name="connsiteY49708" fmla="*/ 1010705 h 4687251"/>
              <a:gd name="connsiteX49709" fmla="*/ 2925717 w 8079933"/>
              <a:gd name="connsiteY49709" fmla="*/ 1005400 h 4687251"/>
              <a:gd name="connsiteX49710" fmla="*/ 2924741 w 8079933"/>
              <a:gd name="connsiteY49710" fmla="*/ 1001935 h 4687251"/>
              <a:gd name="connsiteX49711" fmla="*/ 2922027 w 8079933"/>
              <a:gd name="connsiteY49711" fmla="*/ 1000744 h 4687251"/>
              <a:gd name="connsiteX49712" fmla="*/ 2921376 w 8079933"/>
              <a:gd name="connsiteY49712" fmla="*/ 998795 h 4687251"/>
              <a:gd name="connsiteX49713" fmla="*/ 2923330 w 8079933"/>
              <a:gd name="connsiteY49713" fmla="*/ 997821 h 4687251"/>
              <a:gd name="connsiteX49714" fmla="*/ 2928647 w 8079933"/>
              <a:gd name="connsiteY49714" fmla="*/ 999445 h 4687251"/>
              <a:gd name="connsiteX49715" fmla="*/ 2932988 w 8079933"/>
              <a:gd name="connsiteY49715" fmla="*/ 1005291 h 4687251"/>
              <a:gd name="connsiteX49716" fmla="*/ 2937437 w 8079933"/>
              <a:gd name="connsiteY49716" fmla="*/ 1009189 h 4687251"/>
              <a:gd name="connsiteX49717" fmla="*/ 2938088 w 8079933"/>
              <a:gd name="connsiteY49717" fmla="*/ 1007998 h 4687251"/>
              <a:gd name="connsiteX49718" fmla="*/ 2936569 w 8079933"/>
              <a:gd name="connsiteY49718" fmla="*/ 1004966 h 4687251"/>
              <a:gd name="connsiteX49719" fmla="*/ 2935483 w 8079933"/>
              <a:gd name="connsiteY49719" fmla="*/ 1000960 h 4687251"/>
              <a:gd name="connsiteX49720" fmla="*/ 2936894 w 8079933"/>
              <a:gd name="connsiteY49720" fmla="*/ 1000960 h 4687251"/>
              <a:gd name="connsiteX49721" fmla="*/ 2939390 w 8079933"/>
              <a:gd name="connsiteY49721" fmla="*/ 1003884 h 4687251"/>
              <a:gd name="connsiteX49722" fmla="*/ 2940584 w 8079933"/>
              <a:gd name="connsiteY49722" fmla="*/ 1006807 h 4687251"/>
              <a:gd name="connsiteX49723" fmla="*/ 2948832 w 8079933"/>
              <a:gd name="connsiteY49723" fmla="*/ 1011679 h 4687251"/>
              <a:gd name="connsiteX49724" fmla="*/ 2951978 w 8079933"/>
              <a:gd name="connsiteY49724" fmla="*/ 1011029 h 4687251"/>
              <a:gd name="connsiteX49725" fmla="*/ 2953823 w 8079933"/>
              <a:gd name="connsiteY49725" fmla="*/ 1009947 h 4687251"/>
              <a:gd name="connsiteX49726" fmla="*/ 2958272 w 8079933"/>
              <a:gd name="connsiteY49726" fmla="*/ 1009947 h 4687251"/>
              <a:gd name="connsiteX49727" fmla="*/ 2960443 w 8079933"/>
              <a:gd name="connsiteY49727" fmla="*/ 1012112 h 4687251"/>
              <a:gd name="connsiteX49728" fmla="*/ 2965325 w 8079933"/>
              <a:gd name="connsiteY49728" fmla="*/ 1015143 h 4687251"/>
              <a:gd name="connsiteX49729" fmla="*/ 2969341 w 8079933"/>
              <a:gd name="connsiteY49729" fmla="*/ 1016985 h 4687251"/>
              <a:gd name="connsiteX49730" fmla="*/ 2970100 w 8079933"/>
              <a:gd name="connsiteY49730" fmla="*/ 1018067 h 4687251"/>
              <a:gd name="connsiteX49731" fmla="*/ 2973464 w 8079933"/>
              <a:gd name="connsiteY49731" fmla="*/ 1018067 h 4687251"/>
              <a:gd name="connsiteX49732" fmla="*/ 2973464 w 8079933"/>
              <a:gd name="connsiteY49732" fmla="*/ 1016551 h 4687251"/>
              <a:gd name="connsiteX49733" fmla="*/ 2969558 w 8079933"/>
              <a:gd name="connsiteY49733" fmla="*/ 1012870 h 4687251"/>
              <a:gd name="connsiteX49734" fmla="*/ 2960009 w 8079933"/>
              <a:gd name="connsiteY49734" fmla="*/ 1005183 h 4687251"/>
              <a:gd name="connsiteX49735" fmla="*/ 2959032 w 8079933"/>
              <a:gd name="connsiteY49735" fmla="*/ 1003018 h 4687251"/>
              <a:gd name="connsiteX49736" fmla="*/ 2959032 w 8079933"/>
              <a:gd name="connsiteY49736" fmla="*/ 1001285 h 4687251"/>
              <a:gd name="connsiteX49737" fmla="*/ 2964566 w 8079933"/>
              <a:gd name="connsiteY49737" fmla="*/ 999337 h 4687251"/>
              <a:gd name="connsiteX49738" fmla="*/ 2964566 w 8079933"/>
              <a:gd name="connsiteY49738" fmla="*/ 996629 h 4687251"/>
              <a:gd name="connsiteX49739" fmla="*/ 2966085 w 8079933"/>
              <a:gd name="connsiteY49739" fmla="*/ 993490 h 4687251"/>
              <a:gd name="connsiteX49740" fmla="*/ 2967930 w 8079933"/>
              <a:gd name="connsiteY49740" fmla="*/ 992515 h 4687251"/>
              <a:gd name="connsiteX49741" fmla="*/ 2967930 w 8079933"/>
              <a:gd name="connsiteY49741" fmla="*/ 990241 h 4687251"/>
              <a:gd name="connsiteX49742" fmla="*/ 2964783 w 8079933"/>
              <a:gd name="connsiteY49742" fmla="*/ 990241 h 4687251"/>
              <a:gd name="connsiteX49743" fmla="*/ 2961744 w 8079933"/>
              <a:gd name="connsiteY49743" fmla="*/ 991433 h 4687251"/>
              <a:gd name="connsiteX49744" fmla="*/ 2956102 w 8079933"/>
              <a:gd name="connsiteY49744" fmla="*/ 991433 h 4687251"/>
              <a:gd name="connsiteX49745" fmla="*/ 2954474 w 8079933"/>
              <a:gd name="connsiteY49745" fmla="*/ 993273 h 4687251"/>
              <a:gd name="connsiteX49746" fmla="*/ 2955559 w 8079933"/>
              <a:gd name="connsiteY49746" fmla="*/ 994681 h 4687251"/>
              <a:gd name="connsiteX49747" fmla="*/ 2959032 w 8079933"/>
              <a:gd name="connsiteY49747" fmla="*/ 997388 h 4687251"/>
              <a:gd name="connsiteX49748" fmla="*/ 2957512 w 8079933"/>
              <a:gd name="connsiteY49748" fmla="*/ 998903 h 4687251"/>
              <a:gd name="connsiteX49749" fmla="*/ 2952086 w 8079933"/>
              <a:gd name="connsiteY49749" fmla="*/ 998903 h 4687251"/>
              <a:gd name="connsiteX49750" fmla="*/ 2950242 w 8079933"/>
              <a:gd name="connsiteY49750" fmla="*/ 999661 h 4687251"/>
              <a:gd name="connsiteX49751" fmla="*/ 2946660 w 8079933"/>
              <a:gd name="connsiteY49751" fmla="*/ 998795 h 4687251"/>
              <a:gd name="connsiteX49752" fmla="*/ 2942429 w 8079933"/>
              <a:gd name="connsiteY49752" fmla="*/ 999986 h 4687251"/>
              <a:gd name="connsiteX49753" fmla="*/ 2940258 w 8079933"/>
              <a:gd name="connsiteY49753" fmla="*/ 996955 h 4687251"/>
              <a:gd name="connsiteX49754" fmla="*/ 2936678 w 8079933"/>
              <a:gd name="connsiteY49754" fmla="*/ 995439 h 4687251"/>
              <a:gd name="connsiteX49755" fmla="*/ 2935809 w 8079933"/>
              <a:gd name="connsiteY49755" fmla="*/ 993490 h 4687251"/>
              <a:gd name="connsiteX49756" fmla="*/ 2938196 w 8079933"/>
              <a:gd name="connsiteY49756" fmla="*/ 991974 h 4687251"/>
              <a:gd name="connsiteX49757" fmla="*/ 2940041 w 8079933"/>
              <a:gd name="connsiteY49757" fmla="*/ 990133 h 4687251"/>
              <a:gd name="connsiteX49758" fmla="*/ 2937871 w 8079933"/>
              <a:gd name="connsiteY49758" fmla="*/ 990133 h 4687251"/>
              <a:gd name="connsiteX49759" fmla="*/ 2933313 w 8079933"/>
              <a:gd name="connsiteY49759" fmla="*/ 991108 h 4687251"/>
              <a:gd name="connsiteX49760" fmla="*/ 2932337 w 8079933"/>
              <a:gd name="connsiteY49760" fmla="*/ 990133 h 4687251"/>
              <a:gd name="connsiteX49761" fmla="*/ 2938088 w 8079933"/>
              <a:gd name="connsiteY49761" fmla="*/ 988618 h 4687251"/>
              <a:gd name="connsiteX49762" fmla="*/ 2944382 w 8079933"/>
              <a:gd name="connsiteY49762" fmla="*/ 985802 h 4687251"/>
              <a:gd name="connsiteX49763" fmla="*/ 2947095 w 8079933"/>
              <a:gd name="connsiteY49763" fmla="*/ 984286 h 4687251"/>
              <a:gd name="connsiteX49764" fmla="*/ 2952412 w 8079933"/>
              <a:gd name="connsiteY49764" fmla="*/ 984286 h 4687251"/>
              <a:gd name="connsiteX49765" fmla="*/ 2953931 w 8079933"/>
              <a:gd name="connsiteY49765" fmla="*/ 985478 h 4687251"/>
              <a:gd name="connsiteX49766" fmla="*/ 2957946 w 8079933"/>
              <a:gd name="connsiteY49766" fmla="*/ 984828 h 4687251"/>
              <a:gd name="connsiteX49767" fmla="*/ 2962071 w 8079933"/>
              <a:gd name="connsiteY49767" fmla="*/ 984828 h 4687251"/>
              <a:gd name="connsiteX49768" fmla="*/ 2967279 w 8079933"/>
              <a:gd name="connsiteY49768" fmla="*/ 985478 h 4687251"/>
              <a:gd name="connsiteX49769" fmla="*/ 2967279 w 8079933"/>
              <a:gd name="connsiteY49769" fmla="*/ 982988 h 4687251"/>
              <a:gd name="connsiteX49770" fmla="*/ 2969667 w 8079933"/>
              <a:gd name="connsiteY49770" fmla="*/ 981796 h 4687251"/>
              <a:gd name="connsiteX49771" fmla="*/ 2971403 w 8079933"/>
              <a:gd name="connsiteY49771" fmla="*/ 979848 h 4687251"/>
              <a:gd name="connsiteX49772" fmla="*/ 2974441 w 8079933"/>
              <a:gd name="connsiteY49772" fmla="*/ 977899 h 4687251"/>
              <a:gd name="connsiteX49773" fmla="*/ 2975743 w 8079933"/>
              <a:gd name="connsiteY49773" fmla="*/ 975517 h 4687251"/>
              <a:gd name="connsiteX49774" fmla="*/ 2974658 w 8079933"/>
              <a:gd name="connsiteY49774" fmla="*/ 975517 h 4687251"/>
              <a:gd name="connsiteX49775" fmla="*/ 2971077 w 8079933"/>
              <a:gd name="connsiteY49775" fmla="*/ 978115 h 4687251"/>
              <a:gd name="connsiteX49776" fmla="*/ 2969015 w 8079933"/>
              <a:gd name="connsiteY49776" fmla="*/ 978115 h 4687251"/>
              <a:gd name="connsiteX49777" fmla="*/ 2967930 w 8079933"/>
              <a:gd name="connsiteY49777" fmla="*/ 976166 h 4687251"/>
              <a:gd name="connsiteX49778" fmla="*/ 2970209 w 8079933"/>
              <a:gd name="connsiteY49778" fmla="*/ 972485 h 4687251"/>
              <a:gd name="connsiteX49779" fmla="*/ 2972922 w 8079933"/>
              <a:gd name="connsiteY49779" fmla="*/ 963607 h 4687251"/>
              <a:gd name="connsiteX49780" fmla="*/ 2972922 w 8079933"/>
              <a:gd name="connsiteY49780" fmla="*/ 959384 h 4687251"/>
              <a:gd name="connsiteX49781" fmla="*/ 2974767 w 8079933"/>
              <a:gd name="connsiteY49781" fmla="*/ 958518 h 4687251"/>
              <a:gd name="connsiteX49782" fmla="*/ 2976286 w 8079933"/>
              <a:gd name="connsiteY49782" fmla="*/ 959601 h 4687251"/>
              <a:gd name="connsiteX49783" fmla="*/ 2978564 w 8079933"/>
              <a:gd name="connsiteY49783" fmla="*/ 963932 h 4687251"/>
              <a:gd name="connsiteX49784" fmla="*/ 2977588 w 8079933"/>
              <a:gd name="connsiteY49784" fmla="*/ 965339 h 4687251"/>
              <a:gd name="connsiteX49785" fmla="*/ 2977588 w 8079933"/>
              <a:gd name="connsiteY49785" fmla="*/ 967505 h 4687251"/>
              <a:gd name="connsiteX49786" fmla="*/ 2981495 w 8079933"/>
              <a:gd name="connsiteY49786" fmla="*/ 968263 h 4687251"/>
              <a:gd name="connsiteX49787" fmla="*/ 2984534 w 8079933"/>
              <a:gd name="connsiteY49787" fmla="*/ 968263 h 4687251"/>
              <a:gd name="connsiteX49788" fmla="*/ 2986269 w 8079933"/>
              <a:gd name="connsiteY49788" fmla="*/ 970103 h 4687251"/>
              <a:gd name="connsiteX49789" fmla="*/ 2988982 w 8079933"/>
              <a:gd name="connsiteY49789" fmla="*/ 970103 h 4687251"/>
              <a:gd name="connsiteX49790" fmla="*/ 2989634 w 8079933"/>
              <a:gd name="connsiteY49790" fmla="*/ 969021 h 4687251"/>
              <a:gd name="connsiteX49791" fmla="*/ 2991587 w 8079933"/>
              <a:gd name="connsiteY49791" fmla="*/ 969778 h 4687251"/>
              <a:gd name="connsiteX49792" fmla="*/ 2993757 w 8079933"/>
              <a:gd name="connsiteY49792" fmla="*/ 969778 h 4687251"/>
              <a:gd name="connsiteX49793" fmla="*/ 2993757 w 8079933"/>
              <a:gd name="connsiteY49793" fmla="*/ 967180 h 4687251"/>
              <a:gd name="connsiteX49794" fmla="*/ 2991044 w 8079933"/>
              <a:gd name="connsiteY49794" fmla="*/ 965556 h 4687251"/>
              <a:gd name="connsiteX49795" fmla="*/ 2985184 w 8079933"/>
              <a:gd name="connsiteY49795" fmla="*/ 965556 h 4687251"/>
              <a:gd name="connsiteX49796" fmla="*/ 2985184 w 8079933"/>
              <a:gd name="connsiteY49796" fmla="*/ 964148 h 4687251"/>
              <a:gd name="connsiteX49797" fmla="*/ 2988874 w 8079933"/>
              <a:gd name="connsiteY49797" fmla="*/ 963499 h 4687251"/>
              <a:gd name="connsiteX49798" fmla="*/ 2993540 w 8079933"/>
              <a:gd name="connsiteY49798" fmla="*/ 962633 h 4687251"/>
              <a:gd name="connsiteX49799" fmla="*/ 2993540 w 8079933"/>
              <a:gd name="connsiteY49799" fmla="*/ 960792 h 4687251"/>
              <a:gd name="connsiteX49800" fmla="*/ 2991370 w 8079933"/>
              <a:gd name="connsiteY49800" fmla="*/ 959601 h 4687251"/>
              <a:gd name="connsiteX49801" fmla="*/ 2988982 w 8079933"/>
              <a:gd name="connsiteY49801" fmla="*/ 959601 h 4687251"/>
              <a:gd name="connsiteX49802" fmla="*/ 2987789 w 8079933"/>
              <a:gd name="connsiteY49802" fmla="*/ 957436 h 4687251"/>
              <a:gd name="connsiteX49803" fmla="*/ 2986269 w 8079933"/>
              <a:gd name="connsiteY49803" fmla="*/ 956678 h 4687251"/>
              <a:gd name="connsiteX49804" fmla="*/ 2984425 w 8079933"/>
              <a:gd name="connsiteY49804" fmla="*/ 957868 h 4687251"/>
              <a:gd name="connsiteX49805" fmla="*/ 2982254 w 8079933"/>
              <a:gd name="connsiteY49805" fmla="*/ 957868 h 4687251"/>
              <a:gd name="connsiteX49806" fmla="*/ 2978456 w 8079933"/>
              <a:gd name="connsiteY49806" fmla="*/ 957219 h 4687251"/>
              <a:gd name="connsiteX49807" fmla="*/ 2978456 w 8079933"/>
              <a:gd name="connsiteY49807" fmla="*/ 955162 h 4687251"/>
              <a:gd name="connsiteX49808" fmla="*/ 2980518 w 8079933"/>
              <a:gd name="connsiteY49808" fmla="*/ 952672 h 4687251"/>
              <a:gd name="connsiteX49809" fmla="*/ 2982689 w 8079933"/>
              <a:gd name="connsiteY49809" fmla="*/ 952672 h 4687251"/>
              <a:gd name="connsiteX49810" fmla="*/ 2986161 w 8079933"/>
              <a:gd name="connsiteY49810" fmla="*/ 947475 h 4687251"/>
              <a:gd name="connsiteX49811" fmla="*/ 2988657 w 8079933"/>
              <a:gd name="connsiteY49811" fmla="*/ 945526 h 4687251"/>
              <a:gd name="connsiteX49812" fmla="*/ 2989742 w 8079933"/>
              <a:gd name="connsiteY49812" fmla="*/ 946176 h 4687251"/>
              <a:gd name="connsiteX49813" fmla="*/ 2992455 w 8079933"/>
              <a:gd name="connsiteY49813" fmla="*/ 945526 h 4687251"/>
              <a:gd name="connsiteX49814" fmla="*/ 2995276 w 8079933"/>
              <a:gd name="connsiteY49814" fmla="*/ 945526 h 4687251"/>
              <a:gd name="connsiteX49815" fmla="*/ 2994625 w 8079933"/>
              <a:gd name="connsiteY49815" fmla="*/ 943360 h 4687251"/>
              <a:gd name="connsiteX49816" fmla="*/ 2991912 w 8079933"/>
              <a:gd name="connsiteY49816" fmla="*/ 942386 h 4687251"/>
              <a:gd name="connsiteX49817" fmla="*/ 2988006 w 8079933"/>
              <a:gd name="connsiteY49817" fmla="*/ 942386 h 4687251"/>
              <a:gd name="connsiteX49818" fmla="*/ 2986812 w 8079933"/>
              <a:gd name="connsiteY49818" fmla="*/ 940978 h 4687251"/>
              <a:gd name="connsiteX49819" fmla="*/ 2988332 w 8079933"/>
              <a:gd name="connsiteY49819" fmla="*/ 939246 h 4687251"/>
              <a:gd name="connsiteX49820" fmla="*/ 2992780 w 8079933"/>
              <a:gd name="connsiteY49820" fmla="*/ 937297 h 4687251"/>
              <a:gd name="connsiteX49821" fmla="*/ 2994842 w 8079933"/>
              <a:gd name="connsiteY49821" fmla="*/ 934807 h 4687251"/>
              <a:gd name="connsiteX49822" fmla="*/ 2998098 w 8079933"/>
              <a:gd name="connsiteY49822" fmla="*/ 933616 h 4687251"/>
              <a:gd name="connsiteX49823" fmla="*/ 2998098 w 8079933"/>
              <a:gd name="connsiteY49823" fmla="*/ 932101 h 4687251"/>
              <a:gd name="connsiteX49824" fmla="*/ 3001136 w 8079933"/>
              <a:gd name="connsiteY49824" fmla="*/ 930260 h 4687251"/>
              <a:gd name="connsiteX49825" fmla="*/ 2998858 w 8079933"/>
              <a:gd name="connsiteY49825" fmla="*/ 927553 h 4687251"/>
              <a:gd name="connsiteX49826" fmla="*/ 2996145 w 8079933"/>
              <a:gd name="connsiteY49826" fmla="*/ 927553 h 4687251"/>
              <a:gd name="connsiteX49827" fmla="*/ 2996145 w 8079933"/>
              <a:gd name="connsiteY49827" fmla="*/ 924413 h 4687251"/>
              <a:gd name="connsiteX49828" fmla="*/ 2999291 w 8079933"/>
              <a:gd name="connsiteY49828" fmla="*/ 923330 h 4687251"/>
              <a:gd name="connsiteX49829" fmla="*/ 3002439 w 8079933"/>
              <a:gd name="connsiteY49829" fmla="*/ 923330 h 4687251"/>
              <a:gd name="connsiteX49830" fmla="*/ 3002439 w 8079933"/>
              <a:gd name="connsiteY49830" fmla="*/ 920082 h 4687251"/>
              <a:gd name="connsiteX49831" fmla="*/ 3000051 w 8079933"/>
              <a:gd name="connsiteY49831" fmla="*/ 918999 h 4687251"/>
              <a:gd name="connsiteX49832" fmla="*/ 2995928 w 8079933"/>
              <a:gd name="connsiteY49832" fmla="*/ 918999 h 4687251"/>
              <a:gd name="connsiteX49833" fmla="*/ 2992129 w 8079933"/>
              <a:gd name="connsiteY49833" fmla="*/ 921923 h 4687251"/>
              <a:gd name="connsiteX49834" fmla="*/ 2988006 w 8079933"/>
              <a:gd name="connsiteY49834" fmla="*/ 921923 h 4687251"/>
              <a:gd name="connsiteX49835" fmla="*/ 2985402 w 8079933"/>
              <a:gd name="connsiteY49835" fmla="*/ 919216 h 4687251"/>
              <a:gd name="connsiteX49836" fmla="*/ 2982797 w 8079933"/>
              <a:gd name="connsiteY49836" fmla="*/ 920732 h 4687251"/>
              <a:gd name="connsiteX49837" fmla="*/ 2978999 w 8079933"/>
              <a:gd name="connsiteY49837" fmla="*/ 920732 h 4687251"/>
              <a:gd name="connsiteX49838" fmla="*/ 2976720 w 8079933"/>
              <a:gd name="connsiteY49838" fmla="*/ 918134 h 4687251"/>
              <a:gd name="connsiteX49839" fmla="*/ 2974441 w 8079933"/>
              <a:gd name="connsiteY49839" fmla="*/ 919216 h 4687251"/>
              <a:gd name="connsiteX49840" fmla="*/ 2970643 w 8079933"/>
              <a:gd name="connsiteY49840" fmla="*/ 918566 h 4687251"/>
              <a:gd name="connsiteX49841" fmla="*/ 2967713 w 8079933"/>
              <a:gd name="connsiteY49841" fmla="*/ 915102 h 4687251"/>
              <a:gd name="connsiteX49842" fmla="*/ 2963916 w 8079933"/>
              <a:gd name="connsiteY49842" fmla="*/ 915102 h 4687251"/>
              <a:gd name="connsiteX49843" fmla="*/ 2961203 w 8079933"/>
              <a:gd name="connsiteY49843" fmla="*/ 913586 h 4687251"/>
              <a:gd name="connsiteX49844" fmla="*/ 2961203 w 8079933"/>
              <a:gd name="connsiteY49844" fmla="*/ 911312 h 4687251"/>
              <a:gd name="connsiteX49845" fmla="*/ 2959466 w 8079933"/>
              <a:gd name="connsiteY49845" fmla="*/ 906873 h 4687251"/>
              <a:gd name="connsiteX49846" fmla="*/ 2954257 w 8079933"/>
              <a:gd name="connsiteY49846" fmla="*/ 903625 h 4687251"/>
              <a:gd name="connsiteX49847" fmla="*/ 2945793 w 8079933"/>
              <a:gd name="connsiteY49847" fmla="*/ 899836 h 4687251"/>
              <a:gd name="connsiteX49848" fmla="*/ 2939282 w 8079933"/>
              <a:gd name="connsiteY49848" fmla="*/ 897562 h 4687251"/>
              <a:gd name="connsiteX49849" fmla="*/ 2934833 w 8079933"/>
              <a:gd name="connsiteY49849" fmla="*/ 893123 h 4687251"/>
              <a:gd name="connsiteX49850" fmla="*/ 2934833 w 8079933"/>
              <a:gd name="connsiteY49850" fmla="*/ 890416 h 4687251"/>
              <a:gd name="connsiteX49851" fmla="*/ 2932880 w 8079933"/>
              <a:gd name="connsiteY49851" fmla="*/ 884894 h 4687251"/>
              <a:gd name="connsiteX49852" fmla="*/ 2930167 w 8079933"/>
              <a:gd name="connsiteY49852" fmla="*/ 881322 h 4687251"/>
              <a:gd name="connsiteX49853" fmla="*/ 2927887 w 8079933"/>
              <a:gd name="connsiteY49853" fmla="*/ 879373 h 4687251"/>
              <a:gd name="connsiteX49854" fmla="*/ 2927887 w 8079933"/>
              <a:gd name="connsiteY49854" fmla="*/ 876990 h 4687251"/>
              <a:gd name="connsiteX49855" fmla="*/ 2932988 w 8079933"/>
              <a:gd name="connsiteY49855" fmla="*/ 872659 h 4687251"/>
              <a:gd name="connsiteX49856" fmla="*/ 2937437 w 8079933"/>
              <a:gd name="connsiteY49856" fmla="*/ 872659 h 4687251"/>
              <a:gd name="connsiteX49857" fmla="*/ 2939607 w 8079933"/>
              <a:gd name="connsiteY49857" fmla="*/ 871577 h 4687251"/>
              <a:gd name="connsiteX49858" fmla="*/ 2942538 w 8079933"/>
              <a:gd name="connsiteY49858" fmla="*/ 872768 h 4687251"/>
              <a:gd name="connsiteX49859" fmla="*/ 2946878 w 8079933"/>
              <a:gd name="connsiteY49859" fmla="*/ 872768 h 4687251"/>
              <a:gd name="connsiteX49860" fmla="*/ 2951110 w 8079933"/>
              <a:gd name="connsiteY49860" fmla="*/ 876557 h 4687251"/>
              <a:gd name="connsiteX49861" fmla="*/ 2955885 w 8079933"/>
              <a:gd name="connsiteY49861" fmla="*/ 877316 h 4687251"/>
              <a:gd name="connsiteX49862" fmla="*/ 2959032 w 8079933"/>
              <a:gd name="connsiteY49862" fmla="*/ 877316 h 4687251"/>
              <a:gd name="connsiteX49863" fmla="*/ 2960876 w 8079933"/>
              <a:gd name="connsiteY49863" fmla="*/ 878831 h 4687251"/>
              <a:gd name="connsiteX49864" fmla="*/ 2965217 w 8079933"/>
              <a:gd name="connsiteY49864" fmla="*/ 878831 h 4687251"/>
              <a:gd name="connsiteX49865" fmla="*/ 2969015 w 8079933"/>
              <a:gd name="connsiteY49865" fmla="*/ 880347 h 4687251"/>
              <a:gd name="connsiteX49866" fmla="*/ 2971728 w 8079933"/>
              <a:gd name="connsiteY49866" fmla="*/ 881971 h 4687251"/>
              <a:gd name="connsiteX49867" fmla="*/ 2974767 w 8079933"/>
              <a:gd name="connsiteY49867" fmla="*/ 882620 h 4687251"/>
              <a:gd name="connsiteX49868" fmla="*/ 2977046 w 8079933"/>
              <a:gd name="connsiteY49868" fmla="*/ 885544 h 4687251"/>
              <a:gd name="connsiteX49869" fmla="*/ 2979867 w 8079933"/>
              <a:gd name="connsiteY49869" fmla="*/ 894639 h 4687251"/>
              <a:gd name="connsiteX49870" fmla="*/ 2983122 w 8079933"/>
              <a:gd name="connsiteY49870" fmla="*/ 898536 h 4687251"/>
              <a:gd name="connsiteX49871" fmla="*/ 2987355 w 8079933"/>
              <a:gd name="connsiteY49871" fmla="*/ 901351 h 4687251"/>
              <a:gd name="connsiteX49872" fmla="*/ 2990936 w 8079933"/>
              <a:gd name="connsiteY49872" fmla="*/ 904491 h 4687251"/>
              <a:gd name="connsiteX49873" fmla="*/ 2995385 w 8079933"/>
              <a:gd name="connsiteY49873" fmla="*/ 906224 h 4687251"/>
              <a:gd name="connsiteX49874" fmla="*/ 2997664 w 8079933"/>
              <a:gd name="connsiteY49874" fmla="*/ 905249 h 4687251"/>
              <a:gd name="connsiteX49875" fmla="*/ 3000051 w 8079933"/>
              <a:gd name="connsiteY49875" fmla="*/ 901676 h 4687251"/>
              <a:gd name="connsiteX49876" fmla="*/ 2998858 w 8079933"/>
              <a:gd name="connsiteY49876" fmla="*/ 900702 h 4687251"/>
              <a:gd name="connsiteX49877" fmla="*/ 2996361 w 8079933"/>
              <a:gd name="connsiteY49877" fmla="*/ 902001 h 4687251"/>
              <a:gd name="connsiteX49878" fmla="*/ 2994300 w 8079933"/>
              <a:gd name="connsiteY49878" fmla="*/ 902001 h 4687251"/>
              <a:gd name="connsiteX49879" fmla="*/ 2991587 w 8079933"/>
              <a:gd name="connsiteY49879" fmla="*/ 899728 h 4687251"/>
              <a:gd name="connsiteX49880" fmla="*/ 2986812 w 8079933"/>
              <a:gd name="connsiteY49880" fmla="*/ 894097 h 4687251"/>
              <a:gd name="connsiteX49881" fmla="*/ 2986812 w 8079933"/>
              <a:gd name="connsiteY49881" fmla="*/ 892148 h 4687251"/>
              <a:gd name="connsiteX49882" fmla="*/ 2987789 w 8079933"/>
              <a:gd name="connsiteY49882" fmla="*/ 892148 h 4687251"/>
              <a:gd name="connsiteX49883" fmla="*/ 2992129 w 8079933"/>
              <a:gd name="connsiteY49883" fmla="*/ 896479 h 4687251"/>
              <a:gd name="connsiteX49884" fmla="*/ 2994408 w 8079933"/>
              <a:gd name="connsiteY49884" fmla="*/ 896479 h 4687251"/>
              <a:gd name="connsiteX49885" fmla="*/ 2994408 w 8079933"/>
              <a:gd name="connsiteY49885" fmla="*/ 894530 h 4687251"/>
              <a:gd name="connsiteX49886" fmla="*/ 2997121 w 8079933"/>
              <a:gd name="connsiteY49886" fmla="*/ 894530 h 4687251"/>
              <a:gd name="connsiteX49887" fmla="*/ 2997121 w 8079933"/>
              <a:gd name="connsiteY49887" fmla="*/ 892581 h 4687251"/>
              <a:gd name="connsiteX49888" fmla="*/ 2991261 w 8079933"/>
              <a:gd name="connsiteY49888" fmla="*/ 888684 h 4687251"/>
              <a:gd name="connsiteX49889" fmla="*/ 2985944 w 8079933"/>
              <a:gd name="connsiteY49889" fmla="*/ 884245 h 4687251"/>
              <a:gd name="connsiteX49890" fmla="*/ 2984642 w 8079933"/>
              <a:gd name="connsiteY49890" fmla="*/ 881322 h 4687251"/>
              <a:gd name="connsiteX49891" fmla="*/ 2985402 w 8079933"/>
              <a:gd name="connsiteY49891" fmla="*/ 879589 h 4687251"/>
              <a:gd name="connsiteX49892" fmla="*/ 2986921 w 8079933"/>
              <a:gd name="connsiteY49892" fmla="*/ 879589 h 4687251"/>
              <a:gd name="connsiteX49893" fmla="*/ 2989959 w 8079933"/>
              <a:gd name="connsiteY49893" fmla="*/ 883703 h 4687251"/>
              <a:gd name="connsiteX49894" fmla="*/ 2992672 w 8079933"/>
              <a:gd name="connsiteY49894" fmla="*/ 883703 h 4687251"/>
              <a:gd name="connsiteX49895" fmla="*/ 2990719 w 8079933"/>
              <a:gd name="connsiteY49895" fmla="*/ 879373 h 4687251"/>
              <a:gd name="connsiteX49896" fmla="*/ 2985944 w 8079933"/>
              <a:gd name="connsiteY49896" fmla="*/ 874500 h 4687251"/>
              <a:gd name="connsiteX49897" fmla="*/ 2981929 w 8079933"/>
              <a:gd name="connsiteY49897" fmla="*/ 871577 h 4687251"/>
              <a:gd name="connsiteX49898" fmla="*/ 2980735 w 8079933"/>
              <a:gd name="connsiteY49898" fmla="*/ 868762 h 4687251"/>
              <a:gd name="connsiteX49899" fmla="*/ 2981712 w 8079933"/>
              <a:gd name="connsiteY49899" fmla="*/ 867138 h 4687251"/>
              <a:gd name="connsiteX49900" fmla="*/ 2986269 w 8079933"/>
              <a:gd name="connsiteY49900" fmla="*/ 868870 h 4687251"/>
              <a:gd name="connsiteX49901" fmla="*/ 2995168 w 8079933"/>
              <a:gd name="connsiteY49901" fmla="*/ 871794 h 4687251"/>
              <a:gd name="connsiteX49902" fmla="*/ 2997773 w 8079933"/>
              <a:gd name="connsiteY49902" fmla="*/ 870711 h 4687251"/>
              <a:gd name="connsiteX49903" fmla="*/ 2997773 w 8079933"/>
              <a:gd name="connsiteY49903" fmla="*/ 868004 h 4687251"/>
              <a:gd name="connsiteX49904" fmla="*/ 2994191 w 8079933"/>
              <a:gd name="connsiteY49904" fmla="*/ 863457 h 4687251"/>
              <a:gd name="connsiteX49905" fmla="*/ 2992129 w 8079933"/>
              <a:gd name="connsiteY49905" fmla="*/ 863457 h 4687251"/>
              <a:gd name="connsiteX49906" fmla="*/ 2989200 w 8079933"/>
              <a:gd name="connsiteY49906" fmla="*/ 865081 h 4687251"/>
              <a:gd name="connsiteX49907" fmla="*/ 2985944 w 8079933"/>
              <a:gd name="connsiteY49907" fmla="*/ 865081 h 4687251"/>
              <a:gd name="connsiteX49908" fmla="*/ 2981386 w 8079933"/>
              <a:gd name="connsiteY49908" fmla="*/ 865081 h 4687251"/>
              <a:gd name="connsiteX49909" fmla="*/ 2980409 w 8079933"/>
              <a:gd name="connsiteY49909" fmla="*/ 862916 h 4687251"/>
              <a:gd name="connsiteX49910" fmla="*/ 2981929 w 8079933"/>
              <a:gd name="connsiteY49910" fmla="*/ 860642 h 4687251"/>
              <a:gd name="connsiteX49911" fmla="*/ 2987246 w 8079933"/>
              <a:gd name="connsiteY49911" fmla="*/ 857935 h 4687251"/>
              <a:gd name="connsiteX49912" fmla="*/ 2989200 w 8079933"/>
              <a:gd name="connsiteY49912" fmla="*/ 858585 h 4687251"/>
              <a:gd name="connsiteX49913" fmla="*/ 2992672 w 8079933"/>
              <a:gd name="connsiteY49913" fmla="*/ 860750 h 4687251"/>
              <a:gd name="connsiteX49914" fmla="*/ 2993323 w 8079933"/>
              <a:gd name="connsiteY49914" fmla="*/ 858801 h 4687251"/>
              <a:gd name="connsiteX49915" fmla="*/ 2993323 w 8079933"/>
              <a:gd name="connsiteY49915" fmla="*/ 856311 h 4687251"/>
              <a:gd name="connsiteX49916" fmla="*/ 2990610 w 8079933"/>
              <a:gd name="connsiteY49916" fmla="*/ 853063 h 4687251"/>
              <a:gd name="connsiteX49917" fmla="*/ 2988765 w 8079933"/>
              <a:gd name="connsiteY49917" fmla="*/ 853063 h 4687251"/>
              <a:gd name="connsiteX49918" fmla="*/ 2987355 w 8079933"/>
              <a:gd name="connsiteY49918" fmla="*/ 854471 h 4687251"/>
              <a:gd name="connsiteX49919" fmla="*/ 2984316 w 8079933"/>
              <a:gd name="connsiteY49919" fmla="*/ 854471 h 4687251"/>
              <a:gd name="connsiteX49920" fmla="*/ 2982471 w 8079933"/>
              <a:gd name="connsiteY49920" fmla="*/ 855986 h 4687251"/>
              <a:gd name="connsiteX49921" fmla="*/ 2976069 w 8079933"/>
              <a:gd name="connsiteY49921" fmla="*/ 861291 h 4687251"/>
              <a:gd name="connsiteX49922" fmla="*/ 2974007 w 8079933"/>
              <a:gd name="connsiteY49922" fmla="*/ 861291 h 4687251"/>
              <a:gd name="connsiteX49923" fmla="*/ 2974007 w 8079933"/>
              <a:gd name="connsiteY49923" fmla="*/ 859343 h 4687251"/>
              <a:gd name="connsiteX49924" fmla="*/ 2976611 w 8079933"/>
              <a:gd name="connsiteY49924" fmla="*/ 857177 h 4687251"/>
              <a:gd name="connsiteX49925" fmla="*/ 2977914 w 8079933"/>
              <a:gd name="connsiteY49925" fmla="*/ 853821 h 4687251"/>
              <a:gd name="connsiteX49926" fmla="*/ 2980627 w 8079933"/>
              <a:gd name="connsiteY49926" fmla="*/ 850031 h 4687251"/>
              <a:gd name="connsiteX49927" fmla="*/ 2982689 w 8079933"/>
              <a:gd name="connsiteY49927" fmla="*/ 850031 h 4687251"/>
              <a:gd name="connsiteX49928" fmla="*/ 2985402 w 8079933"/>
              <a:gd name="connsiteY49928" fmla="*/ 850031 h 4687251"/>
              <a:gd name="connsiteX49929" fmla="*/ 2988548 w 8079933"/>
              <a:gd name="connsiteY49929" fmla="*/ 847541 h 4687251"/>
              <a:gd name="connsiteX49930" fmla="*/ 2991695 w 8079933"/>
              <a:gd name="connsiteY49930" fmla="*/ 846892 h 4687251"/>
              <a:gd name="connsiteX49931" fmla="*/ 2993215 w 8079933"/>
              <a:gd name="connsiteY49931" fmla="*/ 845267 h 4687251"/>
              <a:gd name="connsiteX49932" fmla="*/ 2992238 w 8079933"/>
              <a:gd name="connsiteY49932" fmla="*/ 844401 h 4687251"/>
              <a:gd name="connsiteX49933" fmla="*/ 2986703 w 8079933"/>
              <a:gd name="connsiteY49933" fmla="*/ 844401 h 4687251"/>
              <a:gd name="connsiteX49934" fmla="*/ 2983448 w 8079933"/>
              <a:gd name="connsiteY49934" fmla="*/ 847000 h 4687251"/>
              <a:gd name="connsiteX49935" fmla="*/ 2980844 w 8079933"/>
              <a:gd name="connsiteY49935" fmla="*/ 847649 h 4687251"/>
              <a:gd name="connsiteX49936" fmla="*/ 2978239 w 8079933"/>
              <a:gd name="connsiteY49936" fmla="*/ 846783 h 4687251"/>
              <a:gd name="connsiteX49937" fmla="*/ 2973030 w 8079933"/>
              <a:gd name="connsiteY49937" fmla="*/ 847433 h 4687251"/>
              <a:gd name="connsiteX49938" fmla="*/ 2971511 w 8079933"/>
              <a:gd name="connsiteY49938" fmla="*/ 846350 h 4687251"/>
              <a:gd name="connsiteX49939" fmla="*/ 2971511 w 8079933"/>
              <a:gd name="connsiteY49939" fmla="*/ 843643 h 4687251"/>
              <a:gd name="connsiteX49940" fmla="*/ 2974116 w 8079933"/>
              <a:gd name="connsiteY49940" fmla="*/ 841911 h 4687251"/>
              <a:gd name="connsiteX49941" fmla="*/ 2976937 w 8079933"/>
              <a:gd name="connsiteY49941" fmla="*/ 839529 h 4687251"/>
              <a:gd name="connsiteX49942" fmla="*/ 2982797 w 8079933"/>
              <a:gd name="connsiteY49942" fmla="*/ 839529 h 4687251"/>
              <a:gd name="connsiteX49943" fmla="*/ 2990502 w 8079933"/>
              <a:gd name="connsiteY49943" fmla="*/ 837688 h 4687251"/>
              <a:gd name="connsiteX49944" fmla="*/ 2995819 w 8079933"/>
              <a:gd name="connsiteY49944" fmla="*/ 834765 h 4687251"/>
              <a:gd name="connsiteX49945" fmla="*/ 2995819 w 8079933"/>
              <a:gd name="connsiteY49945" fmla="*/ 832816 h 4687251"/>
              <a:gd name="connsiteX49946" fmla="*/ 2994300 w 8079933"/>
              <a:gd name="connsiteY49946" fmla="*/ 831842 h 4687251"/>
              <a:gd name="connsiteX49947" fmla="*/ 2992455 w 8079933"/>
              <a:gd name="connsiteY49947" fmla="*/ 831842 h 4687251"/>
              <a:gd name="connsiteX49948" fmla="*/ 2988982 w 8079933"/>
              <a:gd name="connsiteY49948" fmla="*/ 834007 h 4687251"/>
              <a:gd name="connsiteX49949" fmla="*/ 2984967 w 8079933"/>
              <a:gd name="connsiteY49949" fmla="*/ 835415 h 4687251"/>
              <a:gd name="connsiteX49950" fmla="*/ 2982037 w 8079933"/>
              <a:gd name="connsiteY49950" fmla="*/ 834441 h 4687251"/>
              <a:gd name="connsiteX49951" fmla="*/ 2980084 w 8079933"/>
              <a:gd name="connsiteY49951" fmla="*/ 831409 h 4687251"/>
              <a:gd name="connsiteX49952" fmla="*/ 2978131 w 8079933"/>
              <a:gd name="connsiteY49952" fmla="*/ 830326 h 4687251"/>
              <a:gd name="connsiteX49953" fmla="*/ 2974550 w 8079933"/>
              <a:gd name="connsiteY49953" fmla="*/ 830326 h 4687251"/>
              <a:gd name="connsiteX49954" fmla="*/ 2972813 w 8079933"/>
              <a:gd name="connsiteY49954" fmla="*/ 829243 h 4687251"/>
              <a:gd name="connsiteX49955" fmla="*/ 2972813 w 8079933"/>
              <a:gd name="connsiteY49955" fmla="*/ 827511 h 4687251"/>
              <a:gd name="connsiteX49956" fmla="*/ 2975960 w 8079933"/>
              <a:gd name="connsiteY49956" fmla="*/ 824588 h 4687251"/>
              <a:gd name="connsiteX49957" fmla="*/ 2977914 w 8079933"/>
              <a:gd name="connsiteY49957" fmla="*/ 819499 h 4687251"/>
              <a:gd name="connsiteX49958" fmla="*/ 2980084 w 8079933"/>
              <a:gd name="connsiteY49958" fmla="*/ 817550 h 4687251"/>
              <a:gd name="connsiteX49959" fmla="*/ 2983448 w 8079933"/>
              <a:gd name="connsiteY49959" fmla="*/ 815709 h 4687251"/>
              <a:gd name="connsiteX49960" fmla="*/ 2983448 w 8079933"/>
              <a:gd name="connsiteY49960" fmla="*/ 814410 h 4687251"/>
              <a:gd name="connsiteX49961" fmla="*/ 2981712 w 8079933"/>
              <a:gd name="connsiteY49961" fmla="*/ 814410 h 4687251"/>
              <a:gd name="connsiteX49962" fmla="*/ 2977805 w 8079933"/>
              <a:gd name="connsiteY49962" fmla="*/ 816035 h 4687251"/>
              <a:gd name="connsiteX49963" fmla="*/ 2973573 w 8079933"/>
              <a:gd name="connsiteY49963" fmla="*/ 821772 h 4687251"/>
              <a:gd name="connsiteX49964" fmla="*/ 2973573 w 8079933"/>
              <a:gd name="connsiteY49964" fmla="*/ 823829 h 4687251"/>
              <a:gd name="connsiteX49965" fmla="*/ 2969992 w 8079933"/>
              <a:gd name="connsiteY49965" fmla="*/ 826212 h 4687251"/>
              <a:gd name="connsiteX49966" fmla="*/ 2968907 w 8079933"/>
              <a:gd name="connsiteY49966" fmla="*/ 827511 h 4687251"/>
              <a:gd name="connsiteX49967" fmla="*/ 2967062 w 8079933"/>
              <a:gd name="connsiteY49967" fmla="*/ 827511 h 4687251"/>
              <a:gd name="connsiteX49968" fmla="*/ 2967062 w 8079933"/>
              <a:gd name="connsiteY49968" fmla="*/ 823721 h 4687251"/>
              <a:gd name="connsiteX49969" fmla="*/ 2968256 w 8079933"/>
              <a:gd name="connsiteY49969" fmla="*/ 818092 h 4687251"/>
              <a:gd name="connsiteX49970" fmla="*/ 2968256 w 8079933"/>
              <a:gd name="connsiteY49970" fmla="*/ 812461 h 4687251"/>
              <a:gd name="connsiteX49971" fmla="*/ 2965977 w 8079933"/>
              <a:gd name="connsiteY49971" fmla="*/ 807589 h 4687251"/>
              <a:gd name="connsiteX49972" fmla="*/ 2965325 w 8079933"/>
              <a:gd name="connsiteY49972" fmla="*/ 802825 h 4687251"/>
              <a:gd name="connsiteX49973" fmla="*/ 2966845 w 8079933"/>
              <a:gd name="connsiteY49973" fmla="*/ 799252 h 4687251"/>
              <a:gd name="connsiteX49974" fmla="*/ 2966845 w 8079933"/>
              <a:gd name="connsiteY49974" fmla="*/ 795788 h 4687251"/>
              <a:gd name="connsiteX49975" fmla="*/ 2965651 w 8079933"/>
              <a:gd name="connsiteY49975" fmla="*/ 795788 h 4687251"/>
              <a:gd name="connsiteX49976" fmla="*/ 2964783 w 8079933"/>
              <a:gd name="connsiteY49976" fmla="*/ 797629 h 4687251"/>
              <a:gd name="connsiteX49977" fmla="*/ 2963264 w 8079933"/>
              <a:gd name="connsiteY49977" fmla="*/ 805856 h 4687251"/>
              <a:gd name="connsiteX49978" fmla="*/ 2964675 w 8079933"/>
              <a:gd name="connsiteY49978" fmla="*/ 809430 h 4687251"/>
              <a:gd name="connsiteX49979" fmla="*/ 2966302 w 8079933"/>
              <a:gd name="connsiteY49979" fmla="*/ 813652 h 4687251"/>
              <a:gd name="connsiteX49980" fmla="*/ 2966302 w 8079933"/>
              <a:gd name="connsiteY49980" fmla="*/ 818092 h 4687251"/>
              <a:gd name="connsiteX49981" fmla="*/ 2966302 w 8079933"/>
              <a:gd name="connsiteY49981" fmla="*/ 824696 h 4687251"/>
              <a:gd name="connsiteX49982" fmla="*/ 2964566 w 8079933"/>
              <a:gd name="connsiteY49982" fmla="*/ 827727 h 4687251"/>
              <a:gd name="connsiteX49983" fmla="*/ 2962396 w 8079933"/>
              <a:gd name="connsiteY49983" fmla="*/ 827727 h 4687251"/>
              <a:gd name="connsiteX49984" fmla="*/ 2959683 w 8079933"/>
              <a:gd name="connsiteY49984" fmla="*/ 825021 h 4687251"/>
              <a:gd name="connsiteX49985" fmla="*/ 2957730 w 8079933"/>
              <a:gd name="connsiteY49985" fmla="*/ 822098 h 4687251"/>
              <a:gd name="connsiteX49986" fmla="*/ 2957078 w 8079933"/>
              <a:gd name="connsiteY49986" fmla="*/ 828486 h 4687251"/>
              <a:gd name="connsiteX49987" fmla="*/ 2957078 w 8079933"/>
              <a:gd name="connsiteY49987" fmla="*/ 830218 h 4687251"/>
              <a:gd name="connsiteX49988" fmla="*/ 2955017 w 8079933"/>
              <a:gd name="connsiteY49988" fmla="*/ 830218 h 4687251"/>
              <a:gd name="connsiteX49989" fmla="*/ 2952738 w 8079933"/>
              <a:gd name="connsiteY49989" fmla="*/ 830218 h 4687251"/>
              <a:gd name="connsiteX49990" fmla="*/ 2954799 w 8079933"/>
              <a:gd name="connsiteY49990" fmla="*/ 831842 h 4687251"/>
              <a:gd name="connsiteX49991" fmla="*/ 2955668 w 8079933"/>
              <a:gd name="connsiteY49991" fmla="*/ 834873 h 4687251"/>
              <a:gd name="connsiteX49992" fmla="*/ 2954583 w 8079933"/>
              <a:gd name="connsiteY49992" fmla="*/ 838879 h 4687251"/>
              <a:gd name="connsiteX49993" fmla="*/ 2952630 w 8079933"/>
              <a:gd name="connsiteY49993" fmla="*/ 841586 h 4687251"/>
              <a:gd name="connsiteX49994" fmla="*/ 2948832 w 8079933"/>
              <a:gd name="connsiteY49994" fmla="*/ 842235 h 4687251"/>
              <a:gd name="connsiteX49995" fmla="*/ 2946769 w 8079933"/>
              <a:gd name="connsiteY49995" fmla="*/ 842235 h 4687251"/>
              <a:gd name="connsiteX49996" fmla="*/ 2945467 w 8079933"/>
              <a:gd name="connsiteY49996" fmla="*/ 843643 h 4687251"/>
              <a:gd name="connsiteX49997" fmla="*/ 2942212 w 8079933"/>
              <a:gd name="connsiteY49997" fmla="*/ 846025 h 4687251"/>
              <a:gd name="connsiteX49998" fmla="*/ 2936243 w 8079933"/>
              <a:gd name="connsiteY49998" fmla="*/ 846025 h 4687251"/>
              <a:gd name="connsiteX49999" fmla="*/ 2933965 w 8079933"/>
              <a:gd name="connsiteY49999" fmla="*/ 843751 h 4687251"/>
              <a:gd name="connsiteX50000" fmla="*/ 2933965 w 8079933"/>
              <a:gd name="connsiteY50000" fmla="*/ 840504 h 4687251"/>
              <a:gd name="connsiteX50001" fmla="*/ 2932880 w 8079933"/>
              <a:gd name="connsiteY50001" fmla="*/ 838014 h 4687251"/>
              <a:gd name="connsiteX50002" fmla="*/ 2931035 w 8079933"/>
              <a:gd name="connsiteY50002" fmla="*/ 836281 h 4687251"/>
              <a:gd name="connsiteX50003" fmla="*/ 2928973 w 8079933"/>
              <a:gd name="connsiteY50003" fmla="*/ 836281 h 4687251"/>
              <a:gd name="connsiteX50004" fmla="*/ 2928213 w 8079933"/>
              <a:gd name="connsiteY50004" fmla="*/ 839204 h 4687251"/>
              <a:gd name="connsiteX50005" fmla="*/ 2926802 w 8079933"/>
              <a:gd name="connsiteY50005" fmla="*/ 839204 h 4687251"/>
              <a:gd name="connsiteX50006" fmla="*/ 2925174 w 8079933"/>
              <a:gd name="connsiteY50006" fmla="*/ 833574 h 4687251"/>
              <a:gd name="connsiteX50007" fmla="*/ 2926260 w 8079933"/>
              <a:gd name="connsiteY50007" fmla="*/ 830110 h 4687251"/>
              <a:gd name="connsiteX50008" fmla="*/ 2925283 w 8079933"/>
              <a:gd name="connsiteY50008" fmla="*/ 827619 h 4687251"/>
              <a:gd name="connsiteX50009" fmla="*/ 2923764 w 8079933"/>
              <a:gd name="connsiteY50009" fmla="*/ 826104 h 4687251"/>
              <a:gd name="connsiteX50010" fmla="*/ 2923764 w 8079933"/>
              <a:gd name="connsiteY50010" fmla="*/ 823505 h 4687251"/>
              <a:gd name="connsiteX50011" fmla="*/ 2928213 w 8079933"/>
              <a:gd name="connsiteY50011" fmla="*/ 820906 h 4687251"/>
              <a:gd name="connsiteX50012" fmla="*/ 2932120 w 8079933"/>
              <a:gd name="connsiteY50012" fmla="*/ 820906 h 4687251"/>
              <a:gd name="connsiteX50013" fmla="*/ 2933530 w 8079933"/>
              <a:gd name="connsiteY50013" fmla="*/ 821989 h 4687251"/>
              <a:gd name="connsiteX50014" fmla="*/ 2935701 w 8079933"/>
              <a:gd name="connsiteY50014" fmla="*/ 818416 h 4687251"/>
              <a:gd name="connsiteX50015" fmla="*/ 2938088 w 8079933"/>
              <a:gd name="connsiteY50015" fmla="*/ 817442 h 4687251"/>
              <a:gd name="connsiteX50016" fmla="*/ 2944925 w 8079933"/>
              <a:gd name="connsiteY50016" fmla="*/ 816684 h 4687251"/>
              <a:gd name="connsiteX50017" fmla="*/ 2947204 w 8079933"/>
              <a:gd name="connsiteY50017" fmla="*/ 817333 h 4687251"/>
              <a:gd name="connsiteX50018" fmla="*/ 2952521 w 8079933"/>
              <a:gd name="connsiteY50018" fmla="*/ 811595 h 4687251"/>
              <a:gd name="connsiteX50019" fmla="*/ 2956319 w 8079933"/>
              <a:gd name="connsiteY50019" fmla="*/ 804882 h 4687251"/>
              <a:gd name="connsiteX50020" fmla="*/ 2956319 w 8079933"/>
              <a:gd name="connsiteY50020" fmla="*/ 802933 h 4687251"/>
              <a:gd name="connsiteX50021" fmla="*/ 2955125 w 8079933"/>
              <a:gd name="connsiteY50021" fmla="*/ 802933 h 4687251"/>
              <a:gd name="connsiteX50022" fmla="*/ 2952630 w 8079933"/>
              <a:gd name="connsiteY50022" fmla="*/ 804666 h 4687251"/>
              <a:gd name="connsiteX50023" fmla="*/ 2950350 w 8079933"/>
              <a:gd name="connsiteY50023" fmla="*/ 808672 h 4687251"/>
              <a:gd name="connsiteX50024" fmla="*/ 2946552 w 8079933"/>
              <a:gd name="connsiteY50024" fmla="*/ 813111 h 4687251"/>
              <a:gd name="connsiteX50025" fmla="*/ 2941669 w 8079933"/>
              <a:gd name="connsiteY50025" fmla="*/ 814627 h 4687251"/>
              <a:gd name="connsiteX50026" fmla="*/ 2936135 w 8079933"/>
              <a:gd name="connsiteY50026" fmla="*/ 813436 h 4687251"/>
              <a:gd name="connsiteX50027" fmla="*/ 2932880 w 8079933"/>
              <a:gd name="connsiteY50027" fmla="*/ 810513 h 4687251"/>
              <a:gd name="connsiteX50028" fmla="*/ 2932880 w 8079933"/>
              <a:gd name="connsiteY50028" fmla="*/ 807914 h 4687251"/>
              <a:gd name="connsiteX50029" fmla="*/ 2937003 w 8079933"/>
              <a:gd name="connsiteY50029" fmla="*/ 805532 h 4687251"/>
              <a:gd name="connsiteX50030" fmla="*/ 2941886 w 8079933"/>
              <a:gd name="connsiteY50030" fmla="*/ 801093 h 4687251"/>
              <a:gd name="connsiteX50031" fmla="*/ 2945033 w 8079933"/>
              <a:gd name="connsiteY50031" fmla="*/ 801093 h 4687251"/>
              <a:gd name="connsiteX50032" fmla="*/ 2945901 w 8079933"/>
              <a:gd name="connsiteY50032" fmla="*/ 799577 h 4687251"/>
              <a:gd name="connsiteX50033" fmla="*/ 2945901 w 8079933"/>
              <a:gd name="connsiteY50033" fmla="*/ 796654 h 4687251"/>
              <a:gd name="connsiteX50034" fmla="*/ 2946987 w 8079933"/>
              <a:gd name="connsiteY50034" fmla="*/ 795138 h 4687251"/>
              <a:gd name="connsiteX50035" fmla="*/ 2949373 w 8079933"/>
              <a:gd name="connsiteY50035" fmla="*/ 795138 h 4687251"/>
              <a:gd name="connsiteX50036" fmla="*/ 2951218 w 8079933"/>
              <a:gd name="connsiteY50036" fmla="*/ 793514 h 4687251"/>
              <a:gd name="connsiteX50037" fmla="*/ 2949917 w 8079933"/>
              <a:gd name="connsiteY50037" fmla="*/ 792107 h 4687251"/>
              <a:gd name="connsiteX50038" fmla="*/ 2949917 w 8079933"/>
              <a:gd name="connsiteY50038" fmla="*/ 790158 h 4687251"/>
              <a:gd name="connsiteX50039" fmla="*/ 2948940 w 8079933"/>
              <a:gd name="connsiteY50039" fmla="*/ 789183 h 4687251"/>
              <a:gd name="connsiteX50040" fmla="*/ 2947529 w 8079933"/>
              <a:gd name="connsiteY50040" fmla="*/ 789833 h 4687251"/>
              <a:gd name="connsiteX50041" fmla="*/ 2945359 w 8079933"/>
              <a:gd name="connsiteY50041" fmla="*/ 791782 h 4687251"/>
              <a:gd name="connsiteX50042" fmla="*/ 2939065 w 8079933"/>
              <a:gd name="connsiteY50042" fmla="*/ 791024 h 4687251"/>
              <a:gd name="connsiteX50043" fmla="*/ 2937328 w 8079933"/>
              <a:gd name="connsiteY50043" fmla="*/ 791024 h 4687251"/>
              <a:gd name="connsiteX50044" fmla="*/ 2936243 w 8079933"/>
              <a:gd name="connsiteY50044" fmla="*/ 789508 h 4687251"/>
              <a:gd name="connsiteX50045" fmla="*/ 2937328 w 8079933"/>
              <a:gd name="connsiteY50045" fmla="*/ 786693 h 4687251"/>
              <a:gd name="connsiteX50046" fmla="*/ 2942212 w 8079933"/>
              <a:gd name="connsiteY50046" fmla="*/ 783662 h 4687251"/>
              <a:gd name="connsiteX50047" fmla="*/ 2944599 w 8079933"/>
              <a:gd name="connsiteY50047" fmla="*/ 783662 h 4687251"/>
              <a:gd name="connsiteX50048" fmla="*/ 2947312 w 8079933"/>
              <a:gd name="connsiteY50048" fmla="*/ 785935 h 4687251"/>
              <a:gd name="connsiteX50049" fmla="*/ 2950350 w 8079933"/>
              <a:gd name="connsiteY50049" fmla="*/ 785935 h 4687251"/>
              <a:gd name="connsiteX50050" fmla="*/ 2954908 w 8079933"/>
              <a:gd name="connsiteY50050" fmla="*/ 783986 h 4687251"/>
              <a:gd name="connsiteX50051" fmla="*/ 2957730 w 8079933"/>
              <a:gd name="connsiteY50051" fmla="*/ 777598 h 4687251"/>
              <a:gd name="connsiteX50052" fmla="*/ 2955993 w 8079933"/>
              <a:gd name="connsiteY50052" fmla="*/ 775541 h 4687251"/>
              <a:gd name="connsiteX50053" fmla="*/ 2956536 w 8079933"/>
              <a:gd name="connsiteY50053" fmla="*/ 772185 h 4687251"/>
              <a:gd name="connsiteX50054" fmla="*/ 2961203 w 8079933"/>
              <a:gd name="connsiteY50054" fmla="*/ 767746 h 4687251"/>
              <a:gd name="connsiteX50055" fmla="*/ 2959791 w 8079933"/>
              <a:gd name="connsiteY50055" fmla="*/ 762873 h 4687251"/>
              <a:gd name="connsiteX50056" fmla="*/ 2959791 w 8079933"/>
              <a:gd name="connsiteY50056" fmla="*/ 758001 h 4687251"/>
              <a:gd name="connsiteX50057" fmla="*/ 2958923 w 8079933"/>
              <a:gd name="connsiteY50057" fmla="*/ 755836 h 4687251"/>
              <a:gd name="connsiteX50058" fmla="*/ 2956102 w 8079933"/>
              <a:gd name="connsiteY50058" fmla="*/ 754753 h 4687251"/>
              <a:gd name="connsiteX50059" fmla="*/ 2953715 w 8079933"/>
              <a:gd name="connsiteY50059" fmla="*/ 754753 h 4687251"/>
              <a:gd name="connsiteX50060" fmla="*/ 2951327 w 8079933"/>
              <a:gd name="connsiteY50060" fmla="*/ 752155 h 4687251"/>
              <a:gd name="connsiteX50061" fmla="*/ 2947964 w 8079933"/>
              <a:gd name="connsiteY50061" fmla="*/ 752155 h 4687251"/>
              <a:gd name="connsiteX50062" fmla="*/ 2945142 w 8079933"/>
              <a:gd name="connsiteY50062" fmla="*/ 751072 h 4687251"/>
              <a:gd name="connsiteX50063" fmla="*/ 2945142 w 8079933"/>
              <a:gd name="connsiteY50063" fmla="*/ 749015 h 4687251"/>
              <a:gd name="connsiteX50064" fmla="*/ 2947095 w 8079933"/>
              <a:gd name="connsiteY50064" fmla="*/ 748257 h 4687251"/>
              <a:gd name="connsiteX50065" fmla="*/ 2950676 w 8079933"/>
              <a:gd name="connsiteY50065" fmla="*/ 748907 h 4687251"/>
              <a:gd name="connsiteX50066" fmla="*/ 2952630 w 8079933"/>
              <a:gd name="connsiteY50066" fmla="*/ 747607 h 4687251"/>
              <a:gd name="connsiteX50067" fmla="*/ 2955668 w 8079933"/>
              <a:gd name="connsiteY50067" fmla="*/ 744467 h 4687251"/>
              <a:gd name="connsiteX50068" fmla="*/ 2955668 w 8079933"/>
              <a:gd name="connsiteY50068" fmla="*/ 741111 h 4687251"/>
              <a:gd name="connsiteX50069" fmla="*/ 2958164 w 8079933"/>
              <a:gd name="connsiteY50069" fmla="*/ 738404 h 4687251"/>
              <a:gd name="connsiteX50070" fmla="*/ 2958164 w 8079933"/>
              <a:gd name="connsiteY50070" fmla="*/ 735697 h 4687251"/>
              <a:gd name="connsiteX50071" fmla="*/ 2956428 w 8079933"/>
              <a:gd name="connsiteY50071" fmla="*/ 733749 h 4687251"/>
              <a:gd name="connsiteX50072" fmla="*/ 2953389 w 8079933"/>
              <a:gd name="connsiteY50072" fmla="*/ 733749 h 4687251"/>
              <a:gd name="connsiteX50073" fmla="*/ 2952086 w 8079933"/>
              <a:gd name="connsiteY50073" fmla="*/ 731800 h 4687251"/>
              <a:gd name="connsiteX50074" fmla="*/ 2951435 w 8079933"/>
              <a:gd name="connsiteY50074" fmla="*/ 728877 h 4687251"/>
              <a:gd name="connsiteX50075" fmla="*/ 2953823 w 8079933"/>
              <a:gd name="connsiteY50075" fmla="*/ 726928 h 4687251"/>
              <a:gd name="connsiteX50076" fmla="*/ 2954691 w 8079933"/>
              <a:gd name="connsiteY50076" fmla="*/ 726928 h 4687251"/>
              <a:gd name="connsiteX50077" fmla="*/ 2954691 w 8079933"/>
              <a:gd name="connsiteY50077" fmla="*/ 724979 h 4687251"/>
              <a:gd name="connsiteX50078" fmla="*/ 2952086 w 8079933"/>
              <a:gd name="connsiteY50078" fmla="*/ 720973 h 4687251"/>
              <a:gd name="connsiteX50079" fmla="*/ 2951110 w 8079933"/>
              <a:gd name="connsiteY50079" fmla="*/ 715993 h 4687251"/>
              <a:gd name="connsiteX50080" fmla="*/ 2952955 w 8079933"/>
              <a:gd name="connsiteY50080" fmla="*/ 715126 h 4687251"/>
              <a:gd name="connsiteX50081" fmla="*/ 2955125 w 8079933"/>
              <a:gd name="connsiteY50081" fmla="*/ 717833 h 4687251"/>
              <a:gd name="connsiteX50082" fmla="*/ 2955125 w 8079933"/>
              <a:gd name="connsiteY50082" fmla="*/ 716426 h 4687251"/>
              <a:gd name="connsiteX50083" fmla="*/ 2953823 w 8079933"/>
              <a:gd name="connsiteY50083" fmla="*/ 713610 h 4687251"/>
              <a:gd name="connsiteX50084" fmla="*/ 2953823 w 8079933"/>
              <a:gd name="connsiteY50084" fmla="*/ 711337 h 4687251"/>
              <a:gd name="connsiteX50085" fmla="*/ 2955885 w 8079933"/>
              <a:gd name="connsiteY50085" fmla="*/ 707222 h 4687251"/>
              <a:gd name="connsiteX50086" fmla="*/ 2955017 w 8079933"/>
              <a:gd name="connsiteY50086" fmla="*/ 702892 h 4687251"/>
              <a:gd name="connsiteX50087" fmla="*/ 2952846 w 8079933"/>
              <a:gd name="connsiteY50087" fmla="*/ 699102 h 4687251"/>
              <a:gd name="connsiteX50088" fmla="*/ 2952846 w 8079933"/>
              <a:gd name="connsiteY50088" fmla="*/ 696395 h 4687251"/>
              <a:gd name="connsiteX50089" fmla="*/ 2951761 w 8079933"/>
              <a:gd name="connsiteY50089" fmla="*/ 693580 h 4687251"/>
              <a:gd name="connsiteX50090" fmla="*/ 2953280 w 8079933"/>
              <a:gd name="connsiteY50090" fmla="*/ 690982 h 4687251"/>
              <a:gd name="connsiteX50091" fmla="*/ 2954799 w 8079933"/>
              <a:gd name="connsiteY50091" fmla="*/ 685785 h 4687251"/>
              <a:gd name="connsiteX50092" fmla="*/ 2953063 w 8079933"/>
              <a:gd name="connsiteY50092" fmla="*/ 685785 h 4687251"/>
              <a:gd name="connsiteX50093" fmla="*/ 2950785 w 8079933"/>
              <a:gd name="connsiteY50093" fmla="*/ 685785 h 4687251"/>
              <a:gd name="connsiteX50094" fmla="*/ 2946660 w 8079933"/>
              <a:gd name="connsiteY50094" fmla="*/ 689790 h 4687251"/>
              <a:gd name="connsiteX50095" fmla="*/ 2944165 w 8079933"/>
              <a:gd name="connsiteY50095" fmla="*/ 689790 h 4687251"/>
              <a:gd name="connsiteX50096" fmla="*/ 2942212 w 8079933"/>
              <a:gd name="connsiteY50096" fmla="*/ 691632 h 4687251"/>
              <a:gd name="connsiteX50097" fmla="*/ 2939933 w 8079933"/>
              <a:gd name="connsiteY50097" fmla="*/ 692606 h 4687251"/>
              <a:gd name="connsiteX50098" fmla="*/ 2937871 w 8079933"/>
              <a:gd name="connsiteY50098" fmla="*/ 691523 h 4687251"/>
              <a:gd name="connsiteX50099" fmla="*/ 2939282 w 8079933"/>
              <a:gd name="connsiteY50099" fmla="*/ 689466 h 4687251"/>
              <a:gd name="connsiteX50100" fmla="*/ 2943514 w 8079933"/>
              <a:gd name="connsiteY50100" fmla="*/ 686326 h 4687251"/>
              <a:gd name="connsiteX50101" fmla="*/ 2945901 w 8079933"/>
              <a:gd name="connsiteY50101" fmla="*/ 686326 h 4687251"/>
              <a:gd name="connsiteX50102" fmla="*/ 2948289 w 8079933"/>
              <a:gd name="connsiteY50102" fmla="*/ 683294 h 4687251"/>
              <a:gd name="connsiteX50103" fmla="*/ 2949373 w 8079933"/>
              <a:gd name="connsiteY50103" fmla="*/ 679614 h 4687251"/>
              <a:gd name="connsiteX50104" fmla="*/ 2952955 w 8079933"/>
              <a:gd name="connsiteY50104" fmla="*/ 676690 h 4687251"/>
              <a:gd name="connsiteX50105" fmla="*/ 2956753 w 8079933"/>
              <a:gd name="connsiteY50105" fmla="*/ 675174 h 4687251"/>
              <a:gd name="connsiteX50106" fmla="*/ 2958055 w 8079933"/>
              <a:gd name="connsiteY50106" fmla="*/ 671926 h 4687251"/>
              <a:gd name="connsiteX50107" fmla="*/ 2958055 w 8079933"/>
              <a:gd name="connsiteY50107" fmla="*/ 668786 h 4687251"/>
              <a:gd name="connsiteX50108" fmla="*/ 2955885 w 8079933"/>
              <a:gd name="connsiteY50108" fmla="*/ 666080 h 4687251"/>
              <a:gd name="connsiteX50109" fmla="*/ 2953063 w 8079933"/>
              <a:gd name="connsiteY50109" fmla="*/ 662290 h 4687251"/>
              <a:gd name="connsiteX50110" fmla="*/ 2951978 w 8079933"/>
              <a:gd name="connsiteY50110" fmla="*/ 658501 h 4687251"/>
              <a:gd name="connsiteX50111" fmla="*/ 2950893 w 8079933"/>
              <a:gd name="connsiteY50111" fmla="*/ 657526 h 4687251"/>
              <a:gd name="connsiteX50112" fmla="*/ 2945467 w 8079933"/>
              <a:gd name="connsiteY50112" fmla="*/ 657526 h 4687251"/>
              <a:gd name="connsiteX50113" fmla="*/ 2942971 w 8079933"/>
              <a:gd name="connsiteY50113" fmla="*/ 654278 h 4687251"/>
              <a:gd name="connsiteX50114" fmla="*/ 2942971 w 8079933"/>
              <a:gd name="connsiteY50114" fmla="*/ 650921 h 4687251"/>
              <a:gd name="connsiteX50115" fmla="*/ 2944382 w 8079933"/>
              <a:gd name="connsiteY50115" fmla="*/ 649298 h 4687251"/>
              <a:gd name="connsiteX50116" fmla="*/ 2943406 w 8079933"/>
              <a:gd name="connsiteY50116" fmla="*/ 647241 h 4687251"/>
              <a:gd name="connsiteX50117" fmla="*/ 2943406 w 8079933"/>
              <a:gd name="connsiteY50117" fmla="*/ 642910 h 4687251"/>
              <a:gd name="connsiteX50118" fmla="*/ 2941561 w 8079933"/>
              <a:gd name="connsiteY50118" fmla="*/ 639229 h 4687251"/>
              <a:gd name="connsiteX50119" fmla="*/ 2933422 w 8079933"/>
              <a:gd name="connsiteY50119" fmla="*/ 632408 h 4687251"/>
              <a:gd name="connsiteX50120" fmla="*/ 2933422 w 8079933"/>
              <a:gd name="connsiteY50120" fmla="*/ 630783 h 4687251"/>
              <a:gd name="connsiteX50121" fmla="*/ 2931577 w 8079933"/>
              <a:gd name="connsiteY50121" fmla="*/ 627644 h 4687251"/>
              <a:gd name="connsiteX50122" fmla="*/ 2929732 w 8079933"/>
              <a:gd name="connsiteY50122" fmla="*/ 625803 h 4687251"/>
              <a:gd name="connsiteX50123" fmla="*/ 2929732 w 8079933"/>
              <a:gd name="connsiteY50123" fmla="*/ 623854 h 4687251"/>
              <a:gd name="connsiteX50124" fmla="*/ 2931252 w 8079933"/>
              <a:gd name="connsiteY50124" fmla="*/ 622989 h 4687251"/>
              <a:gd name="connsiteX50125" fmla="*/ 2936026 w 8079933"/>
              <a:gd name="connsiteY50125" fmla="*/ 618874 h 4687251"/>
              <a:gd name="connsiteX50126" fmla="*/ 2938739 w 8079933"/>
              <a:gd name="connsiteY50126" fmla="*/ 617358 h 4687251"/>
              <a:gd name="connsiteX50127" fmla="*/ 2940150 w 8079933"/>
              <a:gd name="connsiteY50127" fmla="*/ 614760 h 4687251"/>
              <a:gd name="connsiteX50128" fmla="*/ 2939065 w 8079933"/>
              <a:gd name="connsiteY50128" fmla="*/ 613569 h 4687251"/>
              <a:gd name="connsiteX50129" fmla="*/ 2935266 w 8079933"/>
              <a:gd name="connsiteY50129" fmla="*/ 613569 h 4687251"/>
              <a:gd name="connsiteX50130" fmla="*/ 2935266 w 8079933"/>
              <a:gd name="connsiteY50130" fmla="*/ 611945 h 4687251"/>
              <a:gd name="connsiteX50131" fmla="*/ 2937979 w 8079933"/>
              <a:gd name="connsiteY50131" fmla="*/ 609779 h 4687251"/>
              <a:gd name="connsiteX50132" fmla="*/ 2940150 w 8079933"/>
              <a:gd name="connsiteY50132" fmla="*/ 605341 h 4687251"/>
              <a:gd name="connsiteX50133" fmla="*/ 2941658 w 8079933"/>
              <a:gd name="connsiteY50133" fmla="*/ 603621 h 4687251"/>
              <a:gd name="connsiteX50134" fmla="*/ 2942429 w 8079933"/>
              <a:gd name="connsiteY50134" fmla="*/ 604582 h 4687251"/>
              <a:gd name="connsiteX50135" fmla="*/ 2942429 w 8079933"/>
              <a:gd name="connsiteY50135" fmla="*/ 602742 h 4687251"/>
              <a:gd name="connsiteX50136" fmla="*/ 2941658 w 8079933"/>
              <a:gd name="connsiteY50136" fmla="*/ 603621 h 4687251"/>
              <a:gd name="connsiteX50137" fmla="*/ 2941561 w 8079933"/>
              <a:gd name="connsiteY50137" fmla="*/ 603499 h 4687251"/>
              <a:gd name="connsiteX50138" fmla="*/ 2943080 w 8079933"/>
              <a:gd name="connsiteY50138" fmla="*/ 600468 h 4687251"/>
              <a:gd name="connsiteX50139" fmla="*/ 2941126 w 8079933"/>
              <a:gd name="connsiteY50139" fmla="*/ 598195 h 4687251"/>
              <a:gd name="connsiteX50140" fmla="*/ 2938848 w 8079933"/>
              <a:gd name="connsiteY50140" fmla="*/ 597437 h 4687251"/>
              <a:gd name="connsiteX50141" fmla="*/ 2935158 w 8079933"/>
              <a:gd name="connsiteY50141" fmla="*/ 592889 h 4687251"/>
              <a:gd name="connsiteX50142" fmla="*/ 2929949 w 8079933"/>
              <a:gd name="connsiteY50142" fmla="*/ 588884 h 4687251"/>
              <a:gd name="connsiteX50143" fmla="*/ 2928539 w 8079933"/>
              <a:gd name="connsiteY50143" fmla="*/ 585310 h 4687251"/>
              <a:gd name="connsiteX50144" fmla="*/ 2926368 w 8079933"/>
              <a:gd name="connsiteY50144" fmla="*/ 583902 h 4687251"/>
              <a:gd name="connsiteX50145" fmla="*/ 2924632 w 8079933"/>
              <a:gd name="connsiteY50145" fmla="*/ 583902 h 4687251"/>
              <a:gd name="connsiteX50146" fmla="*/ 2924632 w 8079933"/>
              <a:gd name="connsiteY50146" fmla="*/ 586068 h 4687251"/>
              <a:gd name="connsiteX50147" fmla="*/ 2922679 w 8079933"/>
              <a:gd name="connsiteY50147" fmla="*/ 586068 h 4687251"/>
              <a:gd name="connsiteX50148" fmla="*/ 2921485 w 8079933"/>
              <a:gd name="connsiteY50148" fmla="*/ 584985 h 4687251"/>
              <a:gd name="connsiteX50149" fmla="*/ 2920617 w 8079933"/>
              <a:gd name="connsiteY50149" fmla="*/ 581413 h 4687251"/>
              <a:gd name="connsiteX50150" fmla="*/ 2918121 w 8079933"/>
              <a:gd name="connsiteY50150" fmla="*/ 579138 h 4687251"/>
              <a:gd name="connsiteX50151" fmla="*/ 2914865 w 8079933"/>
              <a:gd name="connsiteY50151" fmla="*/ 576865 h 4687251"/>
              <a:gd name="connsiteX50152" fmla="*/ 2912587 w 8079933"/>
              <a:gd name="connsiteY50152" fmla="*/ 574050 h 4687251"/>
              <a:gd name="connsiteX50153" fmla="*/ 2910634 w 8079933"/>
              <a:gd name="connsiteY50153" fmla="*/ 573292 h 4687251"/>
              <a:gd name="connsiteX50154" fmla="*/ 2909548 w 8079933"/>
              <a:gd name="connsiteY50154" fmla="*/ 574375 h 4687251"/>
              <a:gd name="connsiteX50155" fmla="*/ 2907595 w 8079933"/>
              <a:gd name="connsiteY50155" fmla="*/ 574375 h 4687251"/>
              <a:gd name="connsiteX50156" fmla="*/ 2907595 w 8079933"/>
              <a:gd name="connsiteY50156" fmla="*/ 572859 h 4687251"/>
              <a:gd name="connsiteX50157" fmla="*/ 2908463 w 8079933"/>
              <a:gd name="connsiteY50157" fmla="*/ 568745 h 4687251"/>
              <a:gd name="connsiteX50158" fmla="*/ 2902929 w 8079933"/>
              <a:gd name="connsiteY50158" fmla="*/ 564414 h 4687251"/>
              <a:gd name="connsiteX50159" fmla="*/ 2898588 w 8079933"/>
              <a:gd name="connsiteY50159" fmla="*/ 559975 h 4687251"/>
              <a:gd name="connsiteX50160" fmla="*/ 2896851 w 8079933"/>
              <a:gd name="connsiteY50160" fmla="*/ 559975 h 4687251"/>
              <a:gd name="connsiteX50161" fmla="*/ 2894464 w 8079933"/>
              <a:gd name="connsiteY50161" fmla="*/ 562573 h 4687251"/>
              <a:gd name="connsiteX50162" fmla="*/ 2890667 w 8079933"/>
              <a:gd name="connsiteY50162" fmla="*/ 561058 h 4687251"/>
              <a:gd name="connsiteX50163" fmla="*/ 2884156 w 8079933"/>
              <a:gd name="connsiteY50163" fmla="*/ 555428 h 4687251"/>
              <a:gd name="connsiteX50164" fmla="*/ 2878838 w 8079933"/>
              <a:gd name="connsiteY50164" fmla="*/ 553695 h 4687251"/>
              <a:gd name="connsiteX50165" fmla="*/ 2875583 w 8079933"/>
              <a:gd name="connsiteY50165" fmla="*/ 550230 h 4687251"/>
              <a:gd name="connsiteX50166" fmla="*/ 2871459 w 8079933"/>
              <a:gd name="connsiteY50166" fmla="*/ 548715 h 4687251"/>
              <a:gd name="connsiteX50167" fmla="*/ 2866467 w 8079933"/>
              <a:gd name="connsiteY50167" fmla="*/ 549365 h 4687251"/>
              <a:gd name="connsiteX50168" fmla="*/ 2863320 w 8079933"/>
              <a:gd name="connsiteY50168" fmla="*/ 552288 h 4687251"/>
              <a:gd name="connsiteX50169" fmla="*/ 2860716 w 8079933"/>
              <a:gd name="connsiteY50169" fmla="*/ 557052 h 4687251"/>
              <a:gd name="connsiteX50170" fmla="*/ 2856375 w 8079933"/>
              <a:gd name="connsiteY50170" fmla="*/ 560192 h 4687251"/>
              <a:gd name="connsiteX50171" fmla="*/ 2854530 w 8079933"/>
              <a:gd name="connsiteY50171" fmla="*/ 562573 h 4687251"/>
              <a:gd name="connsiteX50172" fmla="*/ 2854530 w 8079933"/>
              <a:gd name="connsiteY50172" fmla="*/ 558243 h 4687251"/>
              <a:gd name="connsiteX50173" fmla="*/ 2856809 w 8079933"/>
              <a:gd name="connsiteY50173" fmla="*/ 554236 h 4687251"/>
              <a:gd name="connsiteX50174" fmla="*/ 2856809 w 8079933"/>
              <a:gd name="connsiteY50174" fmla="*/ 549906 h 4687251"/>
              <a:gd name="connsiteX50175" fmla="*/ 2855398 w 8079933"/>
              <a:gd name="connsiteY50175" fmla="*/ 548390 h 4687251"/>
              <a:gd name="connsiteX50176" fmla="*/ 2850949 w 8079933"/>
              <a:gd name="connsiteY50176" fmla="*/ 548390 h 4687251"/>
              <a:gd name="connsiteX50177" fmla="*/ 2848562 w 8079933"/>
              <a:gd name="connsiteY50177" fmla="*/ 551530 h 4687251"/>
              <a:gd name="connsiteX50178" fmla="*/ 2848562 w 8079933"/>
              <a:gd name="connsiteY50178" fmla="*/ 554453 h 4687251"/>
              <a:gd name="connsiteX50179" fmla="*/ 2845306 w 8079933"/>
              <a:gd name="connsiteY50179" fmla="*/ 556510 h 4687251"/>
              <a:gd name="connsiteX50180" fmla="*/ 2842919 w 8079933"/>
              <a:gd name="connsiteY50180" fmla="*/ 554995 h 4687251"/>
              <a:gd name="connsiteX50181" fmla="*/ 2840206 w 8079933"/>
              <a:gd name="connsiteY50181" fmla="*/ 549148 h 4687251"/>
              <a:gd name="connsiteX50182" fmla="*/ 2837493 w 8079933"/>
              <a:gd name="connsiteY50182" fmla="*/ 548065 h 4687251"/>
              <a:gd name="connsiteX50183" fmla="*/ 2836842 w 8079933"/>
              <a:gd name="connsiteY50183" fmla="*/ 550988 h 4687251"/>
              <a:gd name="connsiteX50184" fmla="*/ 2834563 w 8079933"/>
              <a:gd name="connsiteY50184" fmla="*/ 559109 h 4687251"/>
              <a:gd name="connsiteX50185" fmla="*/ 2832827 w 8079933"/>
              <a:gd name="connsiteY50185" fmla="*/ 560300 h 4687251"/>
              <a:gd name="connsiteX50186" fmla="*/ 2829572 w 8079933"/>
              <a:gd name="connsiteY50186" fmla="*/ 559109 h 4687251"/>
              <a:gd name="connsiteX50187" fmla="*/ 2829572 w 8079933"/>
              <a:gd name="connsiteY50187" fmla="*/ 554453 h 4687251"/>
              <a:gd name="connsiteX50188" fmla="*/ 2831634 w 8079933"/>
              <a:gd name="connsiteY50188" fmla="*/ 550123 h 4687251"/>
              <a:gd name="connsiteX50189" fmla="*/ 2835215 w 8079933"/>
              <a:gd name="connsiteY50189" fmla="*/ 547416 h 4687251"/>
              <a:gd name="connsiteX50190" fmla="*/ 2834347 w 8079933"/>
              <a:gd name="connsiteY50190" fmla="*/ 545467 h 4687251"/>
              <a:gd name="connsiteX50191" fmla="*/ 2831199 w 8079933"/>
              <a:gd name="connsiteY50191" fmla="*/ 545467 h 4687251"/>
              <a:gd name="connsiteX50192" fmla="*/ 2829789 w 8079933"/>
              <a:gd name="connsiteY50192" fmla="*/ 544059 h 4687251"/>
              <a:gd name="connsiteX50193" fmla="*/ 2825339 w 8079933"/>
              <a:gd name="connsiteY50193" fmla="*/ 546983 h 4687251"/>
              <a:gd name="connsiteX50194" fmla="*/ 2822084 w 8079933"/>
              <a:gd name="connsiteY50194" fmla="*/ 546983 h 4687251"/>
              <a:gd name="connsiteX50195" fmla="*/ 2820890 w 8079933"/>
              <a:gd name="connsiteY50195" fmla="*/ 549581 h 4687251"/>
              <a:gd name="connsiteX50196" fmla="*/ 2819480 w 8079933"/>
              <a:gd name="connsiteY50196" fmla="*/ 550664 h 4687251"/>
              <a:gd name="connsiteX50197" fmla="*/ 2818611 w 8079933"/>
              <a:gd name="connsiteY50197" fmla="*/ 548282 h 4687251"/>
              <a:gd name="connsiteX50198" fmla="*/ 2818611 w 8079933"/>
              <a:gd name="connsiteY50198" fmla="*/ 545575 h 4687251"/>
              <a:gd name="connsiteX50199" fmla="*/ 2816875 w 8079933"/>
              <a:gd name="connsiteY50199" fmla="*/ 541135 h 4687251"/>
              <a:gd name="connsiteX50200" fmla="*/ 2815790 w 8079933"/>
              <a:gd name="connsiteY50200" fmla="*/ 537238 h 4687251"/>
              <a:gd name="connsiteX50201" fmla="*/ 2814270 w 8079933"/>
              <a:gd name="connsiteY50201" fmla="*/ 537238 h 4687251"/>
              <a:gd name="connsiteX50202" fmla="*/ 2811992 w 8079933"/>
              <a:gd name="connsiteY50202" fmla="*/ 538104 h 4687251"/>
              <a:gd name="connsiteX50203" fmla="*/ 2811992 w 8079933"/>
              <a:gd name="connsiteY50203" fmla="*/ 541028 h 4687251"/>
              <a:gd name="connsiteX50204" fmla="*/ 2810798 w 8079933"/>
              <a:gd name="connsiteY50204" fmla="*/ 545792 h 4687251"/>
              <a:gd name="connsiteX50205" fmla="*/ 2808736 w 8079933"/>
              <a:gd name="connsiteY50205" fmla="*/ 547633 h 4687251"/>
              <a:gd name="connsiteX50206" fmla="*/ 2808736 w 8079933"/>
              <a:gd name="connsiteY50206" fmla="*/ 551097 h 4687251"/>
              <a:gd name="connsiteX50207" fmla="*/ 2809604 w 8079933"/>
              <a:gd name="connsiteY50207" fmla="*/ 557485 h 4687251"/>
              <a:gd name="connsiteX50208" fmla="*/ 2809604 w 8079933"/>
              <a:gd name="connsiteY50208" fmla="*/ 560408 h 4687251"/>
              <a:gd name="connsiteX50209" fmla="*/ 2808519 w 8079933"/>
              <a:gd name="connsiteY50209" fmla="*/ 561924 h 4687251"/>
              <a:gd name="connsiteX50210" fmla="*/ 2805047 w 8079933"/>
              <a:gd name="connsiteY50210" fmla="*/ 559867 h 4687251"/>
              <a:gd name="connsiteX50211" fmla="*/ 2801031 w 8079933"/>
              <a:gd name="connsiteY50211" fmla="*/ 555752 h 4687251"/>
              <a:gd name="connsiteX50212" fmla="*/ 2796257 w 8079933"/>
              <a:gd name="connsiteY50212" fmla="*/ 553695 h 4687251"/>
              <a:gd name="connsiteX50213" fmla="*/ 2791807 w 8079933"/>
              <a:gd name="connsiteY50213" fmla="*/ 550447 h 4687251"/>
              <a:gd name="connsiteX50214" fmla="*/ 2788009 w 8079933"/>
              <a:gd name="connsiteY50214" fmla="*/ 546333 h 4687251"/>
              <a:gd name="connsiteX50215" fmla="*/ 2785079 w 8079933"/>
              <a:gd name="connsiteY50215" fmla="*/ 544601 h 4687251"/>
              <a:gd name="connsiteX50216" fmla="*/ 2785079 w 8079933"/>
              <a:gd name="connsiteY50216" fmla="*/ 543410 h 4687251"/>
              <a:gd name="connsiteX50217" fmla="*/ 2786924 w 8079933"/>
              <a:gd name="connsiteY50217" fmla="*/ 542002 h 4687251"/>
              <a:gd name="connsiteX50218" fmla="*/ 2781933 w 8079933"/>
              <a:gd name="connsiteY50218" fmla="*/ 540269 h 4687251"/>
              <a:gd name="connsiteX50219" fmla="*/ 2778677 w 8079933"/>
              <a:gd name="connsiteY50219" fmla="*/ 533016 h 4687251"/>
              <a:gd name="connsiteX50220" fmla="*/ 2776290 w 8079933"/>
              <a:gd name="connsiteY50220" fmla="*/ 529768 h 4687251"/>
              <a:gd name="connsiteX50221" fmla="*/ 2772492 w 8079933"/>
              <a:gd name="connsiteY50221" fmla="*/ 525437 h 4687251"/>
              <a:gd name="connsiteX50222" fmla="*/ 2772492 w 8079933"/>
              <a:gd name="connsiteY50222" fmla="*/ 520240 h 4687251"/>
              <a:gd name="connsiteX50223" fmla="*/ 2774553 w 8079933"/>
              <a:gd name="connsiteY50223" fmla="*/ 517641 h 4687251"/>
              <a:gd name="connsiteX50224" fmla="*/ 2780956 w 8079933"/>
              <a:gd name="connsiteY50224" fmla="*/ 517641 h 4687251"/>
              <a:gd name="connsiteX50225" fmla="*/ 2783561 w 8079933"/>
              <a:gd name="connsiteY50225" fmla="*/ 514935 h 4687251"/>
              <a:gd name="connsiteX50226" fmla="*/ 2787359 w 8079933"/>
              <a:gd name="connsiteY50226" fmla="*/ 513852 h 4687251"/>
              <a:gd name="connsiteX50227" fmla="*/ 2793544 w 8079933"/>
              <a:gd name="connsiteY50227" fmla="*/ 513852 h 4687251"/>
              <a:gd name="connsiteX50228" fmla="*/ 2795064 w 8079933"/>
              <a:gd name="connsiteY50228" fmla="*/ 515367 h 4687251"/>
              <a:gd name="connsiteX50229" fmla="*/ 2798210 w 8079933"/>
              <a:gd name="connsiteY50229" fmla="*/ 513094 h 4687251"/>
              <a:gd name="connsiteX50230" fmla="*/ 2800163 w 8079933"/>
              <a:gd name="connsiteY50230" fmla="*/ 510171 h 4687251"/>
              <a:gd name="connsiteX50231" fmla="*/ 2800163 w 8079933"/>
              <a:gd name="connsiteY50231" fmla="*/ 507897 h 4687251"/>
              <a:gd name="connsiteX50232" fmla="*/ 2795389 w 8079933"/>
              <a:gd name="connsiteY50232" fmla="*/ 507897 h 4687251"/>
              <a:gd name="connsiteX50233" fmla="*/ 2789204 w 8079933"/>
              <a:gd name="connsiteY50233" fmla="*/ 504649 h 4687251"/>
              <a:gd name="connsiteX50234" fmla="*/ 2786924 w 8079933"/>
              <a:gd name="connsiteY50234" fmla="*/ 504649 h 4687251"/>
              <a:gd name="connsiteX50235" fmla="*/ 2785188 w 8079933"/>
              <a:gd name="connsiteY50235" fmla="*/ 506923 h 4687251"/>
              <a:gd name="connsiteX50236" fmla="*/ 2778135 w 8079933"/>
              <a:gd name="connsiteY50236" fmla="*/ 500101 h 4687251"/>
              <a:gd name="connsiteX50237" fmla="*/ 2777483 w 8079933"/>
              <a:gd name="connsiteY50237" fmla="*/ 493930 h 4687251"/>
              <a:gd name="connsiteX50238" fmla="*/ 2780196 w 8079933"/>
              <a:gd name="connsiteY50238" fmla="*/ 491548 h 4687251"/>
              <a:gd name="connsiteX50239" fmla="*/ 2783669 w 8079933"/>
              <a:gd name="connsiteY50239" fmla="*/ 489707 h 4687251"/>
              <a:gd name="connsiteX50240" fmla="*/ 2785622 w 8079933"/>
              <a:gd name="connsiteY50240" fmla="*/ 484186 h 4687251"/>
              <a:gd name="connsiteX50241" fmla="*/ 2787467 w 8079933"/>
              <a:gd name="connsiteY50241" fmla="*/ 481803 h 4687251"/>
              <a:gd name="connsiteX50242" fmla="*/ 2784320 w 8079933"/>
              <a:gd name="connsiteY50242" fmla="*/ 481803 h 4687251"/>
              <a:gd name="connsiteX50243" fmla="*/ 2782041 w 8079933"/>
              <a:gd name="connsiteY50243" fmla="*/ 483320 h 4687251"/>
              <a:gd name="connsiteX50244" fmla="*/ 2779112 w 8079933"/>
              <a:gd name="connsiteY50244" fmla="*/ 488841 h 4687251"/>
              <a:gd name="connsiteX50245" fmla="*/ 2776507 w 8079933"/>
              <a:gd name="connsiteY50245" fmla="*/ 488841 h 4687251"/>
              <a:gd name="connsiteX50246" fmla="*/ 2774662 w 8079933"/>
              <a:gd name="connsiteY50246" fmla="*/ 490249 h 4687251"/>
              <a:gd name="connsiteX50247" fmla="*/ 2771949 w 8079933"/>
              <a:gd name="connsiteY50247" fmla="*/ 493496 h 4687251"/>
              <a:gd name="connsiteX50248" fmla="*/ 2766957 w 8079933"/>
              <a:gd name="connsiteY50248" fmla="*/ 491440 h 4687251"/>
              <a:gd name="connsiteX50249" fmla="*/ 2765546 w 8079933"/>
              <a:gd name="connsiteY50249" fmla="*/ 487109 h 4687251"/>
              <a:gd name="connsiteX50250" fmla="*/ 2766741 w 8079933"/>
              <a:gd name="connsiteY50250" fmla="*/ 483536 h 4687251"/>
              <a:gd name="connsiteX50251" fmla="*/ 2769670 w 8079933"/>
              <a:gd name="connsiteY50251" fmla="*/ 481587 h 4687251"/>
              <a:gd name="connsiteX50252" fmla="*/ 2768259 w 8079933"/>
              <a:gd name="connsiteY50252" fmla="*/ 480071 h 4687251"/>
              <a:gd name="connsiteX50253" fmla="*/ 2765655 w 8079933"/>
              <a:gd name="connsiteY50253" fmla="*/ 480071 h 4687251"/>
              <a:gd name="connsiteX50254" fmla="*/ 2763919 w 8079933"/>
              <a:gd name="connsiteY50254" fmla="*/ 481046 h 4687251"/>
              <a:gd name="connsiteX50255" fmla="*/ 2763919 w 8079933"/>
              <a:gd name="connsiteY50255" fmla="*/ 474225 h 4687251"/>
              <a:gd name="connsiteX50256" fmla="*/ 2765764 w 8079933"/>
              <a:gd name="connsiteY50256" fmla="*/ 471301 h 4687251"/>
              <a:gd name="connsiteX50257" fmla="*/ 2767609 w 8079933"/>
              <a:gd name="connsiteY50257" fmla="*/ 471301 h 4687251"/>
              <a:gd name="connsiteX50258" fmla="*/ 2769345 w 8079933"/>
              <a:gd name="connsiteY50258" fmla="*/ 469244 h 4687251"/>
              <a:gd name="connsiteX50259" fmla="*/ 2772492 w 8079933"/>
              <a:gd name="connsiteY50259" fmla="*/ 469244 h 4687251"/>
              <a:gd name="connsiteX50260" fmla="*/ 2774879 w 8079933"/>
              <a:gd name="connsiteY50260" fmla="*/ 471301 h 4687251"/>
              <a:gd name="connsiteX50261" fmla="*/ 2774879 w 8079933"/>
              <a:gd name="connsiteY50261" fmla="*/ 465996 h 4687251"/>
              <a:gd name="connsiteX50262" fmla="*/ 2782801 w 8079933"/>
              <a:gd name="connsiteY50262" fmla="*/ 463073 h 4687251"/>
              <a:gd name="connsiteX50263" fmla="*/ 2790722 w 8079933"/>
              <a:gd name="connsiteY50263" fmla="*/ 464914 h 4687251"/>
              <a:gd name="connsiteX50264" fmla="*/ 2796040 w 8079933"/>
              <a:gd name="connsiteY50264" fmla="*/ 468703 h 4687251"/>
              <a:gd name="connsiteX50265" fmla="*/ 2804504 w 8079933"/>
              <a:gd name="connsiteY50265" fmla="*/ 468703 h 4687251"/>
              <a:gd name="connsiteX50266" fmla="*/ 2812751 w 8079933"/>
              <a:gd name="connsiteY50266" fmla="*/ 472817 h 4687251"/>
              <a:gd name="connsiteX50267" fmla="*/ 2819480 w 8079933"/>
              <a:gd name="connsiteY50267" fmla="*/ 472817 h 4687251"/>
              <a:gd name="connsiteX50268" fmla="*/ 2822952 w 8079933"/>
              <a:gd name="connsiteY50268" fmla="*/ 474550 h 4687251"/>
              <a:gd name="connsiteX50269" fmla="*/ 2831525 w 8079933"/>
              <a:gd name="connsiteY50269" fmla="*/ 479530 h 4687251"/>
              <a:gd name="connsiteX50270" fmla="*/ 2835215 w 8079933"/>
              <a:gd name="connsiteY50270" fmla="*/ 479530 h 4687251"/>
              <a:gd name="connsiteX50271" fmla="*/ 2837818 w 8079933"/>
              <a:gd name="connsiteY50271" fmla="*/ 479530 h 4687251"/>
              <a:gd name="connsiteX50272" fmla="*/ 2843353 w 8079933"/>
              <a:gd name="connsiteY50272" fmla="*/ 477473 h 4687251"/>
              <a:gd name="connsiteX50273" fmla="*/ 2839555 w 8079933"/>
              <a:gd name="connsiteY50273" fmla="*/ 476607 h 4687251"/>
              <a:gd name="connsiteX50274" fmla="*/ 2835431 w 8079933"/>
              <a:gd name="connsiteY50274" fmla="*/ 476607 h 4687251"/>
              <a:gd name="connsiteX50275" fmla="*/ 2828052 w 8079933"/>
              <a:gd name="connsiteY50275" fmla="*/ 473142 h 4687251"/>
              <a:gd name="connsiteX50276" fmla="*/ 2821975 w 8079933"/>
              <a:gd name="connsiteY50276" fmla="*/ 468378 h 4687251"/>
              <a:gd name="connsiteX50277" fmla="*/ 2816983 w 8079933"/>
              <a:gd name="connsiteY50277" fmla="*/ 467728 h 4687251"/>
              <a:gd name="connsiteX50278" fmla="*/ 2810256 w 8079933"/>
              <a:gd name="connsiteY50278" fmla="*/ 466754 h 4687251"/>
              <a:gd name="connsiteX50279" fmla="*/ 2805806 w 8079933"/>
              <a:gd name="connsiteY50279" fmla="*/ 463181 h 4687251"/>
              <a:gd name="connsiteX50280" fmla="*/ 2805806 w 8079933"/>
              <a:gd name="connsiteY50280" fmla="*/ 460907 h 4687251"/>
              <a:gd name="connsiteX50281" fmla="*/ 2814270 w 8079933"/>
              <a:gd name="connsiteY50281" fmla="*/ 459067 h 4687251"/>
              <a:gd name="connsiteX50282" fmla="*/ 2820456 w 8079933"/>
              <a:gd name="connsiteY50282" fmla="*/ 459716 h 4687251"/>
              <a:gd name="connsiteX50283" fmla="*/ 2830222 w 8079933"/>
              <a:gd name="connsiteY50283" fmla="*/ 459716 h 4687251"/>
              <a:gd name="connsiteX50284" fmla="*/ 2837601 w 8079933"/>
              <a:gd name="connsiteY50284" fmla="*/ 462640 h 4687251"/>
              <a:gd name="connsiteX50285" fmla="*/ 2840857 w 8079933"/>
              <a:gd name="connsiteY50285" fmla="*/ 466213 h 4687251"/>
              <a:gd name="connsiteX50286" fmla="*/ 2843679 w 8079933"/>
              <a:gd name="connsiteY50286" fmla="*/ 467187 h 4687251"/>
              <a:gd name="connsiteX50287" fmla="*/ 2845198 w 8079933"/>
              <a:gd name="connsiteY50287" fmla="*/ 468703 h 4687251"/>
              <a:gd name="connsiteX50288" fmla="*/ 2848887 w 8079933"/>
              <a:gd name="connsiteY50288" fmla="*/ 470761 h 4687251"/>
              <a:gd name="connsiteX50289" fmla="*/ 2848887 w 8079933"/>
              <a:gd name="connsiteY50289" fmla="*/ 468378 h 4687251"/>
              <a:gd name="connsiteX50290" fmla="*/ 2847477 w 8079933"/>
              <a:gd name="connsiteY50290" fmla="*/ 466321 h 4687251"/>
              <a:gd name="connsiteX50291" fmla="*/ 2847477 w 8079933"/>
              <a:gd name="connsiteY50291" fmla="*/ 463073 h 4687251"/>
              <a:gd name="connsiteX50292" fmla="*/ 2852794 w 8079933"/>
              <a:gd name="connsiteY50292" fmla="*/ 459608 h 4687251"/>
              <a:gd name="connsiteX50293" fmla="*/ 2854421 w 8079933"/>
              <a:gd name="connsiteY50293" fmla="*/ 459608 h 4687251"/>
              <a:gd name="connsiteX50294" fmla="*/ 2853770 w 8079933"/>
              <a:gd name="connsiteY50294" fmla="*/ 453004 h 4687251"/>
              <a:gd name="connsiteX50295" fmla="*/ 2851058 w 8079933"/>
              <a:gd name="connsiteY50295" fmla="*/ 451921 h 4687251"/>
              <a:gd name="connsiteX50296" fmla="*/ 2848779 w 8079933"/>
              <a:gd name="connsiteY50296" fmla="*/ 451921 h 4687251"/>
              <a:gd name="connsiteX50297" fmla="*/ 2846826 w 8079933"/>
              <a:gd name="connsiteY50297" fmla="*/ 450081 h 4687251"/>
              <a:gd name="connsiteX50298" fmla="*/ 2846826 w 8079933"/>
              <a:gd name="connsiteY50298" fmla="*/ 447049 h 4687251"/>
              <a:gd name="connsiteX50299" fmla="*/ 2843679 w 8079933"/>
              <a:gd name="connsiteY50299" fmla="*/ 445966 h 4687251"/>
              <a:gd name="connsiteX50300" fmla="*/ 2841074 w 8079933"/>
              <a:gd name="connsiteY50300" fmla="*/ 446616 h 4687251"/>
              <a:gd name="connsiteX50301" fmla="*/ 2836842 w 8079933"/>
              <a:gd name="connsiteY50301" fmla="*/ 449972 h 4687251"/>
              <a:gd name="connsiteX50302" fmla="*/ 2831959 w 8079933"/>
              <a:gd name="connsiteY50302" fmla="*/ 449972 h 4687251"/>
              <a:gd name="connsiteX50303" fmla="*/ 2824906 w 8079933"/>
              <a:gd name="connsiteY50303" fmla="*/ 448565 h 4687251"/>
              <a:gd name="connsiteX50304" fmla="*/ 2820890 w 8079933"/>
              <a:gd name="connsiteY50304" fmla="*/ 446291 h 4687251"/>
              <a:gd name="connsiteX50305" fmla="*/ 2820890 w 8079933"/>
              <a:gd name="connsiteY50305" fmla="*/ 444342 h 4687251"/>
              <a:gd name="connsiteX50306" fmla="*/ 2819805 w 8079933"/>
              <a:gd name="connsiteY50306" fmla="*/ 443043 h 4687251"/>
              <a:gd name="connsiteX50307" fmla="*/ 2816332 w 8079933"/>
              <a:gd name="connsiteY50307" fmla="*/ 438279 h 4687251"/>
              <a:gd name="connsiteX50308" fmla="*/ 2814054 w 8079933"/>
              <a:gd name="connsiteY50308" fmla="*/ 438279 h 4687251"/>
              <a:gd name="connsiteX50309" fmla="*/ 2812751 w 8079933"/>
              <a:gd name="connsiteY50309" fmla="*/ 439795 h 4687251"/>
              <a:gd name="connsiteX50310" fmla="*/ 2813511 w 8079933"/>
              <a:gd name="connsiteY50310" fmla="*/ 441744 h 4687251"/>
              <a:gd name="connsiteX50311" fmla="*/ 2815682 w 8079933"/>
              <a:gd name="connsiteY50311" fmla="*/ 443909 h 4687251"/>
              <a:gd name="connsiteX50312" fmla="*/ 2814705 w 8079933"/>
              <a:gd name="connsiteY50312" fmla="*/ 449106 h 4687251"/>
              <a:gd name="connsiteX50313" fmla="*/ 2812969 w 8079933"/>
              <a:gd name="connsiteY50313" fmla="*/ 451271 h 4687251"/>
              <a:gd name="connsiteX50314" fmla="*/ 2806349 w 8079933"/>
              <a:gd name="connsiteY50314" fmla="*/ 451271 h 4687251"/>
              <a:gd name="connsiteX50315" fmla="*/ 2800706 w 8079933"/>
              <a:gd name="connsiteY50315" fmla="*/ 449431 h 4687251"/>
              <a:gd name="connsiteX50316" fmla="*/ 2793110 w 8079933"/>
              <a:gd name="connsiteY50316" fmla="*/ 441852 h 4687251"/>
              <a:gd name="connsiteX50317" fmla="*/ 2793978 w 8079933"/>
              <a:gd name="connsiteY50317" fmla="*/ 440120 h 4687251"/>
              <a:gd name="connsiteX50318" fmla="*/ 2798861 w 8079933"/>
              <a:gd name="connsiteY50318" fmla="*/ 438170 h 4687251"/>
              <a:gd name="connsiteX50319" fmla="*/ 2806457 w 8079933"/>
              <a:gd name="connsiteY50319" fmla="*/ 434923 h 4687251"/>
              <a:gd name="connsiteX50320" fmla="*/ 2806457 w 8079933"/>
              <a:gd name="connsiteY50320" fmla="*/ 433406 h 4687251"/>
              <a:gd name="connsiteX50321" fmla="*/ 2804612 w 8079933"/>
              <a:gd name="connsiteY50321" fmla="*/ 432649 h 4687251"/>
              <a:gd name="connsiteX50322" fmla="*/ 2798970 w 8079933"/>
              <a:gd name="connsiteY50322" fmla="*/ 434489 h 4687251"/>
              <a:gd name="connsiteX50323" fmla="*/ 2795389 w 8079933"/>
              <a:gd name="connsiteY50323" fmla="*/ 436547 h 4687251"/>
              <a:gd name="connsiteX50324" fmla="*/ 2791265 w 8079933"/>
              <a:gd name="connsiteY50324" fmla="*/ 435247 h 4687251"/>
              <a:gd name="connsiteX50325" fmla="*/ 2790397 w 8079933"/>
              <a:gd name="connsiteY50325" fmla="*/ 432216 h 4687251"/>
              <a:gd name="connsiteX50326" fmla="*/ 2791916 w 8079933"/>
              <a:gd name="connsiteY50326" fmla="*/ 430375 h 4687251"/>
              <a:gd name="connsiteX50327" fmla="*/ 2796474 w 8079933"/>
              <a:gd name="connsiteY50327" fmla="*/ 428859 h 4687251"/>
              <a:gd name="connsiteX50328" fmla="*/ 2800489 w 8079933"/>
              <a:gd name="connsiteY50328" fmla="*/ 426369 h 4687251"/>
              <a:gd name="connsiteX50329" fmla="*/ 2803528 w 8079933"/>
              <a:gd name="connsiteY50329" fmla="*/ 421172 h 4687251"/>
              <a:gd name="connsiteX50330" fmla="*/ 2802768 w 8079933"/>
              <a:gd name="connsiteY50330" fmla="*/ 418574 h 4687251"/>
              <a:gd name="connsiteX50331" fmla="*/ 2800272 w 8079933"/>
              <a:gd name="connsiteY50331" fmla="*/ 417600 h 4687251"/>
              <a:gd name="connsiteX50332" fmla="*/ 2798970 w 8079933"/>
              <a:gd name="connsiteY50332" fmla="*/ 418682 h 4687251"/>
              <a:gd name="connsiteX50333" fmla="*/ 2796908 w 8079933"/>
              <a:gd name="connsiteY50333" fmla="*/ 422147 h 4687251"/>
              <a:gd name="connsiteX50334" fmla="*/ 2792350 w 8079933"/>
              <a:gd name="connsiteY50334" fmla="*/ 425287 h 4687251"/>
              <a:gd name="connsiteX50335" fmla="*/ 2786816 w 8079933"/>
              <a:gd name="connsiteY50335" fmla="*/ 426261 h 4687251"/>
              <a:gd name="connsiteX50336" fmla="*/ 2782909 w 8079933"/>
              <a:gd name="connsiteY50336" fmla="*/ 425612 h 4687251"/>
              <a:gd name="connsiteX50337" fmla="*/ 2781065 w 8079933"/>
              <a:gd name="connsiteY50337" fmla="*/ 422471 h 4687251"/>
              <a:gd name="connsiteX50338" fmla="*/ 2782041 w 8079933"/>
              <a:gd name="connsiteY50338" fmla="*/ 419873 h 4687251"/>
              <a:gd name="connsiteX50339" fmla="*/ 2784537 w 8079933"/>
              <a:gd name="connsiteY50339" fmla="*/ 417600 h 4687251"/>
              <a:gd name="connsiteX50340" fmla="*/ 2786707 w 8079933"/>
              <a:gd name="connsiteY50340" fmla="*/ 415759 h 4687251"/>
              <a:gd name="connsiteX50341" fmla="*/ 2785514 w 8079933"/>
              <a:gd name="connsiteY50341" fmla="*/ 413918 h 4687251"/>
              <a:gd name="connsiteX50342" fmla="*/ 2783669 w 8079933"/>
              <a:gd name="connsiteY50342" fmla="*/ 412835 h 4687251"/>
              <a:gd name="connsiteX50343" fmla="*/ 2779762 w 8079933"/>
              <a:gd name="connsiteY50343" fmla="*/ 412835 h 4687251"/>
              <a:gd name="connsiteX50344" fmla="*/ 2777700 w 8079933"/>
              <a:gd name="connsiteY50344" fmla="*/ 410887 h 4687251"/>
              <a:gd name="connsiteX50345" fmla="*/ 2773143 w 8079933"/>
              <a:gd name="connsiteY50345" fmla="*/ 401467 h 4687251"/>
              <a:gd name="connsiteX50346" fmla="*/ 2770430 w 8079933"/>
              <a:gd name="connsiteY50346" fmla="*/ 398868 h 4687251"/>
              <a:gd name="connsiteX50347" fmla="*/ 2766198 w 8079933"/>
              <a:gd name="connsiteY50347" fmla="*/ 396702 h 4687251"/>
              <a:gd name="connsiteX50348" fmla="*/ 2764461 w 8079933"/>
              <a:gd name="connsiteY50348" fmla="*/ 394105 h 4687251"/>
              <a:gd name="connsiteX50349" fmla="*/ 2767282 w 8079933"/>
              <a:gd name="connsiteY50349" fmla="*/ 393130 h 4687251"/>
              <a:gd name="connsiteX50350" fmla="*/ 2771407 w 8079933"/>
              <a:gd name="connsiteY50350" fmla="*/ 390856 h 4687251"/>
              <a:gd name="connsiteX50351" fmla="*/ 2773794 w 8079933"/>
              <a:gd name="connsiteY50351" fmla="*/ 387717 h 4687251"/>
              <a:gd name="connsiteX50352" fmla="*/ 2775205 w 8079933"/>
              <a:gd name="connsiteY50352" fmla="*/ 386201 h 4687251"/>
              <a:gd name="connsiteX50353" fmla="*/ 2776507 w 8079933"/>
              <a:gd name="connsiteY50353" fmla="*/ 387176 h 4687251"/>
              <a:gd name="connsiteX50354" fmla="*/ 2779328 w 8079933"/>
              <a:gd name="connsiteY50354" fmla="*/ 387176 h 4687251"/>
              <a:gd name="connsiteX50355" fmla="*/ 2779328 w 8079933"/>
              <a:gd name="connsiteY50355" fmla="*/ 385010 h 4687251"/>
              <a:gd name="connsiteX50356" fmla="*/ 2776724 w 8079933"/>
              <a:gd name="connsiteY50356" fmla="*/ 383711 h 4687251"/>
              <a:gd name="connsiteX50357" fmla="*/ 2772926 w 8079933"/>
              <a:gd name="connsiteY50357" fmla="*/ 383711 h 4687251"/>
              <a:gd name="connsiteX50358" fmla="*/ 2771298 w 8079933"/>
              <a:gd name="connsiteY50358" fmla="*/ 380896 h 4687251"/>
              <a:gd name="connsiteX50359" fmla="*/ 2772817 w 8079933"/>
              <a:gd name="connsiteY50359" fmla="*/ 379055 h 4687251"/>
              <a:gd name="connsiteX50360" fmla="*/ 2776724 w 8079933"/>
              <a:gd name="connsiteY50360" fmla="*/ 379055 h 4687251"/>
              <a:gd name="connsiteX50361" fmla="*/ 2784103 w 8079933"/>
              <a:gd name="connsiteY50361" fmla="*/ 376131 h 4687251"/>
              <a:gd name="connsiteX50362" fmla="*/ 2784103 w 8079933"/>
              <a:gd name="connsiteY50362" fmla="*/ 373749 h 4687251"/>
              <a:gd name="connsiteX50363" fmla="*/ 2784103 w 8079933"/>
              <a:gd name="connsiteY50363" fmla="*/ 371151 h 4687251"/>
              <a:gd name="connsiteX50364" fmla="*/ 2787792 w 8079933"/>
              <a:gd name="connsiteY50364" fmla="*/ 370068 h 4687251"/>
              <a:gd name="connsiteX50365" fmla="*/ 2790505 w 8079933"/>
              <a:gd name="connsiteY50365" fmla="*/ 368227 h 4687251"/>
              <a:gd name="connsiteX50366" fmla="*/ 2793652 w 8079933"/>
              <a:gd name="connsiteY50366" fmla="*/ 368227 h 4687251"/>
              <a:gd name="connsiteX50367" fmla="*/ 2795714 w 8079933"/>
              <a:gd name="connsiteY50367" fmla="*/ 369094 h 4687251"/>
              <a:gd name="connsiteX50368" fmla="*/ 2799186 w 8079933"/>
              <a:gd name="connsiteY50368" fmla="*/ 369094 h 4687251"/>
              <a:gd name="connsiteX50369" fmla="*/ 2802334 w 8079933"/>
              <a:gd name="connsiteY50369" fmla="*/ 367145 h 4687251"/>
              <a:gd name="connsiteX50370" fmla="*/ 2805047 w 8079933"/>
              <a:gd name="connsiteY50370" fmla="*/ 367145 h 4687251"/>
              <a:gd name="connsiteX50371" fmla="*/ 2808302 w 8079933"/>
              <a:gd name="connsiteY50371" fmla="*/ 368011 h 4687251"/>
              <a:gd name="connsiteX50372" fmla="*/ 2808302 w 8079933"/>
              <a:gd name="connsiteY50372" fmla="*/ 369528 h 4687251"/>
              <a:gd name="connsiteX50373" fmla="*/ 2809822 w 8079933"/>
              <a:gd name="connsiteY50373" fmla="*/ 370176 h 4687251"/>
              <a:gd name="connsiteX50374" fmla="*/ 2812969 w 8079933"/>
              <a:gd name="connsiteY50374" fmla="*/ 369528 h 4687251"/>
              <a:gd name="connsiteX50375" fmla="*/ 2814379 w 8079933"/>
              <a:gd name="connsiteY50375" fmla="*/ 366929 h 4687251"/>
              <a:gd name="connsiteX50376" fmla="*/ 2817526 w 8079933"/>
              <a:gd name="connsiteY50376" fmla="*/ 364872 h 4687251"/>
              <a:gd name="connsiteX50377" fmla="*/ 2820039 w 8079933"/>
              <a:gd name="connsiteY50377" fmla="*/ 365391 h 4687251"/>
              <a:gd name="connsiteX50378" fmla="*/ 2819805 w 8079933"/>
              <a:gd name="connsiteY50378" fmla="*/ 365521 h 4687251"/>
              <a:gd name="connsiteX50379" fmla="*/ 2820673 w 8079933"/>
              <a:gd name="connsiteY50379" fmla="*/ 365521 h 4687251"/>
              <a:gd name="connsiteX50380" fmla="*/ 2820039 w 8079933"/>
              <a:gd name="connsiteY50380" fmla="*/ 365391 h 4687251"/>
              <a:gd name="connsiteX50381" fmla="*/ 2822518 w 8079933"/>
              <a:gd name="connsiteY50381" fmla="*/ 364005 h 4687251"/>
              <a:gd name="connsiteX50382" fmla="*/ 2827835 w 8079933"/>
              <a:gd name="connsiteY50382" fmla="*/ 364005 h 4687251"/>
              <a:gd name="connsiteX50383" fmla="*/ 2845524 w 8079933"/>
              <a:gd name="connsiteY50383" fmla="*/ 359350 h 4687251"/>
              <a:gd name="connsiteX50384" fmla="*/ 2849213 w 8079933"/>
              <a:gd name="connsiteY50384" fmla="*/ 359350 h 4687251"/>
              <a:gd name="connsiteX50385" fmla="*/ 2850624 w 8079933"/>
              <a:gd name="connsiteY50385" fmla="*/ 361407 h 4687251"/>
              <a:gd name="connsiteX50386" fmla="*/ 2851926 w 8079933"/>
              <a:gd name="connsiteY50386" fmla="*/ 358917 h 4687251"/>
              <a:gd name="connsiteX50387" fmla="*/ 2849972 w 8079933"/>
              <a:gd name="connsiteY50387" fmla="*/ 356751 h 4687251"/>
              <a:gd name="connsiteX50388" fmla="*/ 2851383 w 8079933"/>
              <a:gd name="connsiteY50388" fmla="*/ 354044 h 4687251"/>
              <a:gd name="connsiteX50389" fmla="*/ 2857460 w 8079933"/>
              <a:gd name="connsiteY50389" fmla="*/ 351121 h 4687251"/>
              <a:gd name="connsiteX50390" fmla="*/ 2864839 w 8079933"/>
              <a:gd name="connsiteY50390" fmla="*/ 351121 h 4687251"/>
              <a:gd name="connsiteX50391" fmla="*/ 2869722 w 8079933"/>
              <a:gd name="connsiteY50391" fmla="*/ 350254 h 4687251"/>
              <a:gd name="connsiteX50392" fmla="*/ 2872435 w 8079933"/>
              <a:gd name="connsiteY50392" fmla="*/ 351771 h 4687251"/>
              <a:gd name="connsiteX50393" fmla="*/ 2876777 w 8079933"/>
              <a:gd name="connsiteY50393" fmla="*/ 352637 h 4687251"/>
              <a:gd name="connsiteX50394" fmla="*/ 2881008 w 8079933"/>
              <a:gd name="connsiteY50394" fmla="*/ 350039 h 4687251"/>
              <a:gd name="connsiteX50395" fmla="*/ 2886217 w 8079933"/>
              <a:gd name="connsiteY50395" fmla="*/ 349281 h 4687251"/>
              <a:gd name="connsiteX50396" fmla="*/ 2891969 w 8079933"/>
              <a:gd name="connsiteY50396" fmla="*/ 350363 h 4687251"/>
              <a:gd name="connsiteX50397" fmla="*/ 2893596 w 8079933"/>
              <a:gd name="connsiteY50397" fmla="*/ 352637 h 4687251"/>
              <a:gd name="connsiteX50398" fmla="*/ 2897720 w 8079933"/>
              <a:gd name="connsiteY50398" fmla="*/ 353287 h 4687251"/>
              <a:gd name="connsiteX50399" fmla="*/ 2899999 w 8079933"/>
              <a:gd name="connsiteY50399" fmla="*/ 355127 h 4687251"/>
              <a:gd name="connsiteX50400" fmla="*/ 2904882 w 8079933"/>
              <a:gd name="connsiteY50400" fmla="*/ 358483 h 4687251"/>
              <a:gd name="connsiteX50401" fmla="*/ 2908463 w 8079933"/>
              <a:gd name="connsiteY50401" fmla="*/ 358483 h 4687251"/>
              <a:gd name="connsiteX50402" fmla="*/ 2911285 w 8079933"/>
              <a:gd name="connsiteY50402" fmla="*/ 357292 h 4687251"/>
              <a:gd name="connsiteX50403" fmla="*/ 2911285 w 8079933"/>
              <a:gd name="connsiteY50403" fmla="*/ 355560 h 4687251"/>
              <a:gd name="connsiteX50404" fmla="*/ 2915300 w 8079933"/>
              <a:gd name="connsiteY50404" fmla="*/ 351446 h 4687251"/>
              <a:gd name="connsiteX50405" fmla="*/ 2918338 w 8079933"/>
              <a:gd name="connsiteY50405" fmla="*/ 346574 h 4687251"/>
              <a:gd name="connsiteX50406" fmla="*/ 2922136 w 8079933"/>
              <a:gd name="connsiteY50406" fmla="*/ 341052 h 4687251"/>
              <a:gd name="connsiteX50407" fmla="*/ 2927670 w 8079933"/>
              <a:gd name="connsiteY50407" fmla="*/ 339211 h 4687251"/>
              <a:gd name="connsiteX50408" fmla="*/ 2929407 w 8079933"/>
              <a:gd name="connsiteY50408" fmla="*/ 336072 h 4687251"/>
              <a:gd name="connsiteX50409" fmla="*/ 2933530 w 8079933"/>
              <a:gd name="connsiteY50409" fmla="*/ 329575 h 4687251"/>
              <a:gd name="connsiteX50410" fmla="*/ 2937328 w 8079933"/>
              <a:gd name="connsiteY50410" fmla="*/ 328492 h 4687251"/>
              <a:gd name="connsiteX50411" fmla="*/ 2938848 w 8079933"/>
              <a:gd name="connsiteY50411" fmla="*/ 323837 h 4687251"/>
              <a:gd name="connsiteX50412" fmla="*/ 2935592 w 8079933"/>
              <a:gd name="connsiteY50412" fmla="*/ 322104 h 4687251"/>
              <a:gd name="connsiteX50413" fmla="*/ 2935592 w 8079933"/>
              <a:gd name="connsiteY50413" fmla="*/ 318099 h 4687251"/>
              <a:gd name="connsiteX50414" fmla="*/ 2939173 w 8079933"/>
              <a:gd name="connsiteY50414" fmla="*/ 313660 h 4687251"/>
              <a:gd name="connsiteX50415" fmla="*/ 2943514 w 8079933"/>
              <a:gd name="connsiteY50415" fmla="*/ 313660 h 4687251"/>
              <a:gd name="connsiteX50416" fmla="*/ 2949157 w 8079933"/>
              <a:gd name="connsiteY50416" fmla="*/ 313660 h 4687251"/>
              <a:gd name="connsiteX50417" fmla="*/ 2954148 w 8079933"/>
              <a:gd name="connsiteY50417" fmla="*/ 310412 h 4687251"/>
              <a:gd name="connsiteX50418" fmla="*/ 2955342 w 8079933"/>
              <a:gd name="connsiteY50418" fmla="*/ 306946 h 4687251"/>
              <a:gd name="connsiteX50419" fmla="*/ 2954148 w 8079933"/>
              <a:gd name="connsiteY50419" fmla="*/ 305756 h 4687251"/>
              <a:gd name="connsiteX50420" fmla="*/ 2948940 w 8079933"/>
              <a:gd name="connsiteY50420" fmla="*/ 305756 h 4687251"/>
              <a:gd name="connsiteX50421" fmla="*/ 2945033 w 8079933"/>
              <a:gd name="connsiteY50421" fmla="*/ 303049 h 4687251"/>
              <a:gd name="connsiteX50422" fmla="*/ 2945033 w 8079933"/>
              <a:gd name="connsiteY50422" fmla="*/ 300451 h 4687251"/>
              <a:gd name="connsiteX50423" fmla="*/ 2945901 w 8079933"/>
              <a:gd name="connsiteY50423" fmla="*/ 297853 h 4687251"/>
              <a:gd name="connsiteX50424" fmla="*/ 2949808 w 8079933"/>
              <a:gd name="connsiteY50424" fmla="*/ 296769 h 4687251"/>
              <a:gd name="connsiteX50425" fmla="*/ 2955885 w 8079933"/>
              <a:gd name="connsiteY50425" fmla="*/ 297960 h 4687251"/>
              <a:gd name="connsiteX50426" fmla="*/ 2960659 w 8079933"/>
              <a:gd name="connsiteY50426" fmla="*/ 295037 h 4687251"/>
              <a:gd name="connsiteX50427" fmla="*/ 2966519 w 8079933"/>
              <a:gd name="connsiteY50427" fmla="*/ 292655 h 4687251"/>
              <a:gd name="connsiteX50428" fmla="*/ 2967170 w 8079933"/>
              <a:gd name="connsiteY50428" fmla="*/ 290057 h 4687251"/>
              <a:gd name="connsiteX50429" fmla="*/ 2966302 w 8079933"/>
              <a:gd name="connsiteY50429" fmla="*/ 289082 h 4687251"/>
              <a:gd name="connsiteX50430" fmla="*/ 2966302 w 8079933"/>
              <a:gd name="connsiteY50430" fmla="*/ 284751 h 4687251"/>
              <a:gd name="connsiteX50431" fmla="*/ 2964783 w 8079933"/>
              <a:gd name="connsiteY50431" fmla="*/ 284751 h 4687251"/>
              <a:gd name="connsiteX50432" fmla="*/ 2961636 w 8079933"/>
              <a:gd name="connsiteY50432" fmla="*/ 287458 h 4687251"/>
              <a:gd name="connsiteX50433" fmla="*/ 2961636 w 8079933"/>
              <a:gd name="connsiteY50433" fmla="*/ 291572 h 4687251"/>
              <a:gd name="connsiteX50434" fmla="*/ 2959032 w 8079933"/>
              <a:gd name="connsiteY50434" fmla="*/ 292980 h 4687251"/>
              <a:gd name="connsiteX50435" fmla="*/ 2951761 w 8079933"/>
              <a:gd name="connsiteY50435" fmla="*/ 292980 h 4687251"/>
              <a:gd name="connsiteX50436" fmla="*/ 2947855 w 8079933"/>
              <a:gd name="connsiteY50436" fmla="*/ 291465 h 4687251"/>
              <a:gd name="connsiteX50437" fmla="*/ 2945576 w 8079933"/>
              <a:gd name="connsiteY50437" fmla="*/ 291465 h 4687251"/>
              <a:gd name="connsiteX50438" fmla="*/ 2941126 w 8079933"/>
              <a:gd name="connsiteY50438" fmla="*/ 295037 h 4687251"/>
              <a:gd name="connsiteX50439" fmla="*/ 2937546 w 8079933"/>
              <a:gd name="connsiteY50439" fmla="*/ 295037 h 4687251"/>
              <a:gd name="connsiteX50440" fmla="*/ 2936026 w 8079933"/>
              <a:gd name="connsiteY50440" fmla="*/ 292330 h 4687251"/>
              <a:gd name="connsiteX50441" fmla="*/ 2931685 w 8079933"/>
              <a:gd name="connsiteY50441" fmla="*/ 289082 h 4687251"/>
              <a:gd name="connsiteX50442" fmla="*/ 2929081 w 8079933"/>
              <a:gd name="connsiteY50442" fmla="*/ 289082 h 4687251"/>
              <a:gd name="connsiteX50443" fmla="*/ 2926694 w 8079933"/>
              <a:gd name="connsiteY50443" fmla="*/ 291356 h 4687251"/>
              <a:gd name="connsiteX50444" fmla="*/ 2924415 w 8079933"/>
              <a:gd name="connsiteY50444" fmla="*/ 291356 h 4687251"/>
              <a:gd name="connsiteX50445" fmla="*/ 2921702 w 8079933"/>
              <a:gd name="connsiteY50445" fmla="*/ 289407 h 4687251"/>
              <a:gd name="connsiteX50446" fmla="*/ 2918989 w 8079933"/>
              <a:gd name="connsiteY50446" fmla="*/ 289407 h 4687251"/>
              <a:gd name="connsiteX50447" fmla="*/ 2916928 w 8079933"/>
              <a:gd name="connsiteY50447" fmla="*/ 288757 h 4687251"/>
              <a:gd name="connsiteX50448" fmla="*/ 2916928 w 8079933"/>
              <a:gd name="connsiteY50448" fmla="*/ 283127 h 4687251"/>
              <a:gd name="connsiteX50449" fmla="*/ 2916928 w 8079933"/>
              <a:gd name="connsiteY50449" fmla="*/ 280420 h 4687251"/>
              <a:gd name="connsiteX50450" fmla="*/ 2915733 w 8079933"/>
              <a:gd name="connsiteY50450" fmla="*/ 279555 h 4687251"/>
              <a:gd name="connsiteX50451" fmla="*/ 2915733 w 8079933"/>
              <a:gd name="connsiteY50451" fmla="*/ 276956 h 4687251"/>
              <a:gd name="connsiteX50452" fmla="*/ 2916710 w 8079933"/>
              <a:gd name="connsiteY50452" fmla="*/ 274032 h 4687251"/>
              <a:gd name="connsiteX50453" fmla="*/ 2919966 w 8079933"/>
              <a:gd name="connsiteY50453" fmla="*/ 272516 h 4687251"/>
              <a:gd name="connsiteX50454" fmla="*/ 2922571 w 8079933"/>
              <a:gd name="connsiteY50454" fmla="*/ 269268 h 4687251"/>
              <a:gd name="connsiteX50455" fmla="*/ 2924307 w 8079933"/>
              <a:gd name="connsiteY50455" fmla="*/ 266888 h 4687251"/>
              <a:gd name="connsiteX50456" fmla="*/ 2926694 w 8079933"/>
              <a:gd name="connsiteY50456" fmla="*/ 265804 h 4687251"/>
              <a:gd name="connsiteX50457" fmla="*/ 2927345 w 8079933"/>
              <a:gd name="connsiteY50457" fmla="*/ 263314 h 4687251"/>
              <a:gd name="connsiteX50458" fmla="*/ 2925717 w 8079933"/>
              <a:gd name="connsiteY50458" fmla="*/ 261474 h 4687251"/>
              <a:gd name="connsiteX50459" fmla="*/ 2925717 w 8079933"/>
              <a:gd name="connsiteY50459" fmla="*/ 258658 h 4687251"/>
              <a:gd name="connsiteX50460" fmla="*/ 2927237 w 8079933"/>
              <a:gd name="connsiteY50460" fmla="*/ 256709 h 4687251"/>
              <a:gd name="connsiteX50461" fmla="*/ 2930709 w 8079933"/>
              <a:gd name="connsiteY50461" fmla="*/ 256709 h 4687251"/>
              <a:gd name="connsiteX50462" fmla="*/ 2935050 w 8079933"/>
              <a:gd name="connsiteY50462" fmla="*/ 254544 h 4687251"/>
              <a:gd name="connsiteX50463" fmla="*/ 2937546 w 8079933"/>
              <a:gd name="connsiteY50463" fmla="*/ 252271 h 4687251"/>
              <a:gd name="connsiteX50464" fmla="*/ 2937546 w 8079933"/>
              <a:gd name="connsiteY50464" fmla="*/ 249563 h 4687251"/>
              <a:gd name="connsiteX50465" fmla="*/ 2944816 w 8079933"/>
              <a:gd name="connsiteY50465" fmla="*/ 247182 h 4687251"/>
              <a:gd name="connsiteX50466" fmla="*/ 2947312 w 8079933"/>
              <a:gd name="connsiteY50466" fmla="*/ 243825 h 4687251"/>
              <a:gd name="connsiteX50467" fmla="*/ 2950459 w 8079933"/>
              <a:gd name="connsiteY50467" fmla="*/ 242309 h 4687251"/>
              <a:gd name="connsiteX50468" fmla="*/ 2957296 w 8079933"/>
              <a:gd name="connsiteY50468" fmla="*/ 242309 h 4687251"/>
              <a:gd name="connsiteX50469" fmla="*/ 2960226 w 8079933"/>
              <a:gd name="connsiteY50469" fmla="*/ 241335 h 4687251"/>
              <a:gd name="connsiteX50470" fmla="*/ 2959358 w 8079933"/>
              <a:gd name="connsiteY50470" fmla="*/ 240252 h 4687251"/>
              <a:gd name="connsiteX50471" fmla="*/ 2956644 w 8079933"/>
              <a:gd name="connsiteY50471" fmla="*/ 239277 h 4687251"/>
              <a:gd name="connsiteX50472" fmla="*/ 2956644 w 8079933"/>
              <a:gd name="connsiteY50472" fmla="*/ 236896 h 4687251"/>
              <a:gd name="connsiteX50473" fmla="*/ 2959141 w 8079933"/>
              <a:gd name="connsiteY50473" fmla="*/ 235921 h 4687251"/>
              <a:gd name="connsiteX50474" fmla="*/ 2963589 w 8079933"/>
              <a:gd name="connsiteY50474" fmla="*/ 235921 h 4687251"/>
              <a:gd name="connsiteX50475" fmla="*/ 2964241 w 8079933"/>
              <a:gd name="connsiteY50475" fmla="*/ 237762 h 4687251"/>
              <a:gd name="connsiteX50476" fmla="*/ 2966194 w 8079933"/>
              <a:gd name="connsiteY50476" fmla="*/ 237004 h 4687251"/>
              <a:gd name="connsiteX50477" fmla="*/ 2971620 w 8079933"/>
              <a:gd name="connsiteY50477" fmla="*/ 230941 h 4687251"/>
              <a:gd name="connsiteX50478" fmla="*/ 2971620 w 8079933"/>
              <a:gd name="connsiteY50478" fmla="*/ 227909 h 4687251"/>
              <a:gd name="connsiteX50479" fmla="*/ 2973139 w 8079933"/>
              <a:gd name="connsiteY50479" fmla="*/ 224229 h 4687251"/>
              <a:gd name="connsiteX50480" fmla="*/ 2977805 w 8079933"/>
              <a:gd name="connsiteY50480" fmla="*/ 221305 h 4687251"/>
              <a:gd name="connsiteX50481" fmla="*/ 2981386 w 8079933"/>
              <a:gd name="connsiteY50481" fmla="*/ 220330 h 4687251"/>
              <a:gd name="connsiteX50482" fmla="*/ 2984642 w 8079933"/>
              <a:gd name="connsiteY50482" fmla="*/ 216433 h 4687251"/>
              <a:gd name="connsiteX50483" fmla="*/ 2987897 w 8079933"/>
              <a:gd name="connsiteY50483" fmla="*/ 216433 h 4687251"/>
              <a:gd name="connsiteX50484" fmla="*/ 2990176 w 8079933"/>
              <a:gd name="connsiteY50484" fmla="*/ 215350 h 4687251"/>
              <a:gd name="connsiteX50485" fmla="*/ 2991587 w 8079933"/>
              <a:gd name="connsiteY50485" fmla="*/ 216866 h 4687251"/>
              <a:gd name="connsiteX50486" fmla="*/ 2992780 w 8079933"/>
              <a:gd name="connsiteY50486" fmla="*/ 221630 h 4687251"/>
              <a:gd name="connsiteX50487" fmla="*/ 2992780 w 8079933"/>
              <a:gd name="connsiteY50487" fmla="*/ 229858 h 4687251"/>
              <a:gd name="connsiteX50488" fmla="*/ 2994083 w 8079933"/>
              <a:gd name="connsiteY50488" fmla="*/ 233323 h 4687251"/>
              <a:gd name="connsiteX50489" fmla="*/ 2994083 w 8079933"/>
              <a:gd name="connsiteY50489" fmla="*/ 239819 h 4687251"/>
              <a:gd name="connsiteX50490" fmla="*/ 2992998 w 8079933"/>
              <a:gd name="connsiteY50490" fmla="*/ 248914 h 4687251"/>
              <a:gd name="connsiteX50491" fmla="*/ 2994842 w 8079933"/>
              <a:gd name="connsiteY50491" fmla="*/ 248914 h 4687251"/>
              <a:gd name="connsiteX50492" fmla="*/ 2996687 w 8079933"/>
              <a:gd name="connsiteY50492" fmla="*/ 245990 h 4687251"/>
              <a:gd name="connsiteX50493" fmla="*/ 2997664 w 8079933"/>
              <a:gd name="connsiteY50493" fmla="*/ 238412 h 4687251"/>
              <a:gd name="connsiteX50494" fmla="*/ 2995819 w 8079933"/>
              <a:gd name="connsiteY50494" fmla="*/ 231698 h 4687251"/>
              <a:gd name="connsiteX50495" fmla="*/ 2995819 w 8079933"/>
              <a:gd name="connsiteY50495" fmla="*/ 227368 h 4687251"/>
              <a:gd name="connsiteX50496" fmla="*/ 2996579 w 8079933"/>
              <a:gd name="connsiteY50496" fmla="*/ 224012 h 4687251"/>
              <a:gd name="connsiteX50497" fmla="*/ 2996579 w 8079933"/>
              <a:gd name="connsiteY50497" fmla="*/ 217949 h 4687251"/>
              <a:gd name="connsiteX50498" fmla="*/ 2999074 w 8079933"/>
              <a:gd name="connsiteY50498" fmla="*/ 216433 h 4687251"/>
              <a:gd name="connsiteX50499" fmla="*/ 3001787 w 8079933"/>
              <a:gd name="connsiteY50499" fmla="*/ 216433 h 4687251"/>
              <a:gd name="connsiteX50500" fmla="*/ 3002872 w 8079933"/>
              <a:gd name="connsiteY50500" fmla="*/ 214267 h 4687251"/>
              <a:gd name="connsiteX50501" fmla="*/ 3005152 w 8079933"/>
              <a:gd name="connsiteY50501" fmla="*/ 212426 h 4687251"/>
              <a:gd name="connsiteX50502" fmla="*/ 3006996 w 8079933"/>
              <a:gd name="connsiteY50502" fmla="*/ 212426 h 4687251"/>
              <a:gd name="connsiteX50503" fmla="*/ 3007647 w 8079933"/>
              <a:gd name="connsiteY50503" fmla="*/ 215350 h 4687251"/>
              <a:gd name="connsiteX50504" fmla="*/ 3009058 w 8079933"/>
              <a:gd name="connsiteY50504" fmla="*/ 217407 h 4687251"/>
              <a:gd name="connsiteX50505" fmla="*/ 3011120 w 8079933"/>
              <a:gd name="connsiteY50505" fmla="*/ 217407 h 4687251"/>
              <a:gd name="connsiteX50506" fmla="*/ 3012856 w 8079933"/>
              <a:gd name="connsiteY50506" fmla="*/ 218706 h 4687251"/>
              <a:gd name="connsiteX50507" fmla="*/ 3012856 w 8079933"/>
              <a:gd name="connsiteY50507" fmla="*/ 221955 h 4687251"/>
              <a:gd name="connsiteX50508" fmla="*/ 3013833 w 8079933"/>
              <a:gd name="connsiteY50508" fmla="*/ 224445 h 4687251"/>
              <a:gd name="connsiteX50509" fmla="*/ 3017631 w 8079933"/>
              <a:gd name="connsiteY50509" fmla="*/ 226610 h 4687251"/>
              <a:gd name="connsiteX50510" fmla="*/ 3024576 w 8079933"/>
              <a:gd name="connsiteY50510" fmla="*/ 225852 h 4687251"/>
              <a:gd name="connsiteX50511" fmla="*/ 3026095 w 8079933"/>
              <a:gd name="connsiteY50511" fmla="*/ 224769 h 4687251"/>
              <a:gd name="connsiteX50512" fmla="*/ 3029677 w 8079933"/>
              <a:gd name="connsiteY50512" fmla="*/ 224769 h 4687251"/>
              <a:gd name="connsiteX50513" fmla="*/ 3030327 w 8079933"/>
              <a:gd name="connsiteY50513" fmla="*/ 222280 h 4687251"/>
              <a:gd name="connsiteX50514" fmla="*/ 3029025 w 8079933"/>
              <a:gd name="connsiteY50514" fmla="*/ 219465 h 4687251"/>
              <a:gd name="connsiteX50515" fmla="*/ 3030327 w 8079933"/>
              <a:gd name="connsiteY50515" fmla="*/ 216758 h 4687251"/>
              <a:gd name="connsiteX50516" fmla="*/ 3032606 w 8079933"/>
              <a:gd name="connsiteY50516" fmla="*/ 214916 h 4687251"/>
              <a:gd name="connsiteX50517" fmla="*/ 3033583 w 8079933"/>
              <a:gd name="connsiteY50517" fmla="*/ 210478 h 4687251"/>
              <a:gd name="connsiteX50518" fmla="*/ 3034668 w 8079933"/>
              <a:gd name="connsiteY50518" fmla="*/ 208854 h 4687251"/>
              <a:gd name="connsiteX50519" fmla="*/ 3039009 w 8079933"/>
              <a:gd name="connsiteY50519" fmla="*/ 208854 h 4687251"/>
              <a:gd name="connsiteX50520" fmla="*/ 3045520 w 8079933"/>
              <a:gd name="connsiteY50520" fmla="*/ 205064 h 4687251"/>
              <a:gd name="connsiteX50521" fmla="*/ 3047690 w 8079933"/>
              <a:gd name="connsiteY50521" fmla="*/ 201166 h 4687251"/>
              <a:gd name="connsiteX50522" fmla="*/ 3047690 w 8079933"/>
              <a:gd name="connsiteY50522" fmla="*/ 195429 h 4687251"/>
              <a:gd name="connsiteX50523" fmla="*/ 3045302 w 8079933"/>
              <a:gd name="connsiteY50523" fmla="*/ 194561 h 4687251"/>
              <a:gd name="connsiteX50524" fmla="*/ 3043458 w 8079933"/>
              <a:gd name="connsiteY50524" fmla="*/ 194561 h 4687251"/>
              <a:gd name="connsiteX50525" fmla="*/ 3042807 w 8079933"/>
              <a:gd name="connsiteY50525" fmla="*/ 192722 h 4687251"/>
              <a:gd name="connsiteX50526" fmla="*/ 3043566 w 8079933"/>
              <a:gd name="connsiteY50526" fmla="*/ 190340 h 4687251"/>
              <a:gd name="connsiteX50527" fmla="*/ 3046930 w 8079933"/>
              <a:gd name="connsiteY50527" fmla="*/ 186117 h 4687251"/>
              <a:gd name="connsiteX50528" fmla="*/ 3047582 w 8079933"/>
              <a:gd name="connsiteY50528" fmla="*/ 181136 h 4687251"/>
              <a:gd name="connsiteX50529" fmla="*/ 3046822 w 8079933"/>
              <a:gd name="connsiteY50529" fmla="*/ 177239 h 4687251"/>
              <a:gd name="connsiteX50530" fmla="*/ 3048341 w 8079933"/>
              <a:gd name="connsiteY50530" fmla="*/ 171500 h 4687251"/>
              <a:gd name="connsiteX50531" fmla="*/ 3051380 w 8079933"/>
              <a:gd name="connsiteY50531" fmla="*/ 168901 h 4687251"/>
              <a:gd name="connsiteX50532" fmla="*/ 3057782 w 8079933"/>
              <a:gd name="connsiteY50532" fmla="*/ 167603 h 4687251"/>
              <a:gd name="connsiteX50533" fmla="*/ 3063425 w 8079933"/>
              <a:gd name="connsiteY50533" fmla="*/ 164788 h 4687251"/>
              <a:gd name="connsiteX50534" fmla="*/ 3069068 w 8079933"/>
              <a:gd name="connsiteY50534" fmla="*/ 162838 h 4687251"/>
              <a:gd name="connsiteX50535" fmla="*/ 3070804 w 8079933"/>
              <a:gd name="connsiteY50535" fmla="*/ 163921 h 4687251"/>
              <a:gd name="connsiteX50536" fmla="*/ 3071455 w 8079933"/>
              <a:gd name="connsiteY50536" fmla="*/ 166519 h 4687251"/>
              <a:gd name="connsiteX50537" fmla="*/ 3071455 w 8079933"/>
              <a:gd name="connsiteY50537" fmla="*/ 170526 h 4687251"/>
              <a:gd name="connsiteX50538" fmla="*/ 3076229 w 8079933"/>
              <a:gd name="connsiteY50538" fmla="*/ 177022 h 4687251"/>
              <a:gd name="connsiteX50539" fmla="*/ 3076229 w 8079933"/>
              <a:gd name="connsiteY50539" fmla="*/ 181028 h 4687251"/>
              <a:gd name="connsiteX50540" fmla="*/ 3075470 w 8079933"/>
              <a:gd name="connsiteY50540" fmla="*/ 189473 h 4687251"/>
              <a:gd name="connsiteX50541" fmla="*/ 3075470 w 8079933"/>
              <a:gd name="connsiteY50541" fmla="*/ 198351 h 4687251"/>
              <a:gd name="connsiteX50542" fmla="*/ 3077966 w 8079933"/>
              <a:gd name="connsiteY50542" fmla="*/ 200192 h 4687251"/>
              <a:gd name="connsiteX50543" fmla="*/ 3083609 w 8079933"/>
              <a:gd name="connsiteY50543" fmla="*/ 205930 h 4687251"/>
              <a:gd name="connsiteX50544" fmla="*/ 3085888 w 8079933"/>
              <a:gd name="connsiteY50544" fmla="*/ 210045 h 4687251"/>
              <a:gd name="connsiteX50545" fmla="*/ 3088058 w 8079933"/>
              <a:gd name="connsiteY50545" fmla="*/ 211884 h 4687251"/>
              <a:gd name="connsiteX50546" fmla="*/ 3088926 w 8079933"/>
              <a:gd name="connsiteY50546" fmla="*/ 210370 h 4687251"/>
              <a:gd name="connsiteX50547" fmla="*/ 3087841 w 8079933"/>
              <a:gd name="connsiteY50547" fmla="*/ 202141 h 4687251"/>
              <a:gd name="connsiteX50548" fmla="*/ 3087841 w 8079933"/>
              <a:gd name="connsiteY50548" fmla="*/ 197811 h 4687251"/>
              <a:gd name="connsiteX50549" fmla="*/ 3082415 w 8079933"/>
              <a:gd name="connsiteY50549" fmla="*/ 190015 h 4687251"/>
              <a:gd name="connsiteX50550" fmla="*/ 3081764 w 8079933"/>
              <a:gd name="connsiteY50550" fmla="*/ 183519 h 4687251"/>
              <a:gd name="connsiteX50551" fmla="*/ 3084477 w 8079933"/>
              <a:gd name="connsiteY50551" fmla="*/ 177022 h 4687251"/>
              <a:gd name="connsiteX50552" fmla="*/ 3085128 w 8079933"/>
              <a:gd name="connsiteY50552" fmla="*/ 173233 h 4687251"/>
              <a:gd name="connsiteX50553" fmla="*/ 3083826 w 8079933"/>
              <a:gd name="connsiteY50553" fmla="*/ 171068 h 4687251"/>
              <a:gd name="connsiteX50554" fmla="*/ 3081872 w 8079933"/>
              <a:gd name="connsiteY50554" fmla="*/ 166845 h 4687251"/>
              <a:gd name="connsiteX50555" fmla="*/ 3081872 w 8079933"/>
              <a:gd name="connsiteY50555" fmla="*/ 163164 h 4687251"/>
              <a:gd name="connsiteX50556" fmla="*/ 3079919 w 8079933"/>
              <a:gd name="connsiteY50556" fmla="*/ 159916 h 4687251"/>
              <a:gd name="connsiteX50557" fmla="*/ 3081004 w 8079933"/>
              <a:gd name="connsiteY50557" fmla="*/ 157642 h 4687251"/>
              <a:gd name="connsiteX50558" fmla="*/ 3085345 w 8079933"/>
              <a:gd name="connsiteY50558" fmla="*/ 154285 h 4687251"/>
              <a:gd name="connsiteX50559" fmla="*/ 3089903 w 8079933"/>
              <a:gd name="connsiteY50559" fmla="*/ 154285 h 4687251"/>
              <a:gd name="connsiteX50560" fmla="*/ 3093050 w 8079933"/>
              <a:gd name="connsiteY50560" fmla="*/ 155368 h 4687251"/>
              <a:gd name="connsiteX50561" fmla="*/ 3096523 w 8079933"/>
              <a:gd name="connsiteY50561" fmla="*/ 153853 h 4687251"/>
              <a:gd name="connsiteX50562" fmla="*/ 3100104 w 8079933"/>
              <a:gd name="connsiteY50562" fmla="*/ 153853 h 4687251"/>
              <a:gd name="connsiteX50563" fmla="*/ 3106289 w 8079933"/>
              <a:gd name="connsiteY50563" fmla="*/ 155801 h 4687251"/>
              <a:gd name="connsiteX50564" fmla="*/ 3116164 w 8079933"/>
              <a:gd name="connsiteY50564" fmla="*/ 155801 h 4687251"/>
              <a:gd name="connsiteX50565" fmla="*/ 3124845 w 8079933"/>
              <a:gd name="connsiteY50565" fmla="*/ 152228 h 4687251"/>
              <a:gd name="connsiteX50566" fmla="*/ 3133744 w 8079933"/>
              <a:gd name="connsiteY50566" fmla="*/ 152228 h 4687251"/>
              <a:gd name="connsiteX50567" fmla="*/ 3136456 w 8079933"/>
              <a:gd name="connsiteY50567" fmla="*/ 154827 h 4687251"/>
              <a:gd name="connsiteX50568" fmla="*/ 3137324 w 8079933"/>
              <a:gd name="connsiteY50568" fmla="*/ 159158 h 4687251"/>
              <a:gd name="connsiteX50569" fmla="*/ 3137324 w 8079933"/>
              <a:gd name="connsiteY50569" fmla="*/ 163056 h 4687251"/>
              <a:gd name="connsiteX50570" fmla="*/ 3137324 w 8079933"/>
              <a:gd name="connsiteY50570" fmla="*/ 164788 h 4687251"/>
              <a:gd name="connsiteX50571" fmla="*/ 3141231 w 8079933"/>
              <a:gd name="connsiteY50571" fmla="*/ 164788 h 4687251"/>
              <a:gd name="connsiteX50572" fmla="*/ 3143294 w 8079933"/>
              <a:gd name="connsiteY50572" fmla="*/ 160998 h 4687251"/>
              <a:gd name="connsiteX50573" fmla="*/ 3140906 w 8079933"/>
              <a:gd name="connsiteY50573" fmla="*/ 158291 h 4687251"/>
              <a:gd name="connsiteX50574" fmla="*/ 3140906 w 8079933"/>
              <a:gd name="connsiteY50574" fmla="*/ 154177 h 4687251"/>
              <a:gd name="connsiteX50575" fmla="*/ 3147416 w 8079933"/>
              <a:gd name="connsiteY50575" fmla="*/ 148654 h 4687251"/>
              <a:gd name="connsiteX50576" fmla="*/ 3150998 w 8079933"/>
              <a:gd name="connsiteY50576" fmla="*/ 150171 h 4687251"/>
              <a:gd name="connsiteX50577" fmla="*/ 3154145 w 8079933"/>
              <a:gd name="connsiteY50577" fmla="*/ 153095 h 4687251"/>
              <a:gd name="connsiteX50578" fmla="*/ 3155230 w 8079933"/>
              <a:gd name="connsiteY50578" fmla="*/ 158725 h 4687251"/>
              <a:gd name="connsiteX50579" fmla="*/ 3157509 w 8079933"/>
              <a:gd name="connsiteY50579" fmla="*/ 160998 h 4687251"/>
              <a:gd name="connsiteX50580" fmla="*/ 3158377 w 8079933"/>
              <a:gd name="connsiteY50580" fmla="*/ 157425 h 4687251"/>
              <a:gd name="connsiteX50581" fmla="*/ 3158377 w 8079933"/>
              <a:gd name="connsiteY50581" fmla="*/ 151037 h 4687251"/>
              <a:gd name="connsiteX50582" fmla="*/ 3154904 w 8079933"/>
              <a:gd name="connsiteY50582" fmla="*/ 147897 h 4687251"/>
              <a:gd name="connsiteX50583" fmla="*/ 3153819 w 8079933"/>
              <a:gd name="connsiteY50583" fmla="*/ 144758 h 4687251"/>
              <a:gd name="connsiteX50584" fmla="*/ 3155555 w 8079933"/>
              <a:gd name="connsiteY50584" fmla="*/ 143242 h 4687251"/>
              <a:gd name="connsiteX50585" fmla="*/ 3159354 w 8079933"/>
              <a:gd name="connsiteY50585" fmla="*/ 143891 h 4687251"/>
              <a:gd name="connsiteX50586" fmla="*/ 3163477 w 8079933"/>
              <a:gd name="connsiteY50586" fmla="*/ 145623 h 4687251"/>
              <a:gd name="connsiteX50587" fmla="*/ 3167384 w 8079933"/>
              <a:gd name="connsiteY50587" fmla="*/ 142918 h 4687251"/>
              <a:gd name="connsiteX50588" fmla="*/ 3171725 w 8079933"/>
              <a:gd name="connsiteY50588" fmla="*/ 141942 h 4687251"/>
              <a:gd name="connsiteX50589" fmla="*/ 3178561 w 8079933"/>
              <a:gd name="connsiteY50589" fmla="*/ 142809 h 4687251"/>
              <a:gd name="connsiteX50590" fmla="*/ 3179755 w 8079933"/>
              <a:gd name="connsiteY50590" fmla="*/ 145732 h 4687251"/>
              <a:gd name="connsiteX50591" fmla="*/ 3179104 w 8079933"/>
              <a:gd name="connsiteY50591" fmla="*/ 156558 h 4687251"/>
              <a:gd name="connsiteX50592" fmla="*/ 3177042 w 8079933"/>
              <a:gd name="connsiteY50592" fmla="*/ 162947 h 4687251"/>
              <a:gd name="connsiteX50593" fmla="*/ 3177042 w 8079933"/>
              <a:gd name="connsiteY50593" fmla="*/ 167278 h 4687251"/>
              <a:gd name="connsiteX50594" fmla="*/ 3173786 w 8079933"/>
              <a:gd name="connsiteY50594" fmla="*/ 174857 h 4687251"/>
              <a:gd name="connsiteX50595" fmla="*/ 3171725 w 8079933"/>
              <a:gd name="connsiteY50595" fmla="*/ 179297 h 4687251"/>
              <a:gd name="connsiteX50596" fmla="*/ 3171725 w 8079933"/>
              <a:gd name="connsiteY50596" fmla="*/ 182544 h 4687251"/>
              <a:gd name="connsiteX50597" fmla="*/ 3170314 w 8079933"/>
              <a:gd name="connsiteY50597" fmla="*/ 185684 h 4687251"/>
              <a:gd name="connsiteX50598" fmla="*/ 3167166 w 8079933"/>
              <a:gd name="connsiteY50598" fmla="*/ 186766 h 4687251"/>
              <a:gd name="connsiteX50599" fmla="*/ 3165756 w 8079933"/>
              <a:gd name="connsiteY50599" fmla="*/ 189040 h 4687251"/>
              <a:gd name="connsiteX50600" fmla="*/ 3168360 w 8079933"/>
              <a:gd name="connsiteY50600" fmla="*/ 191314 h 4687251"/>
              <a:gd name="connsiteX50601" fmla="*/ 3168360 w 8079933"/>
              <a:gd name="connsiteY50601" fmla="*/ 193912 h 4687251"/>
              <a:gd name="connsiteX50602" fmla="*/ 3166841 w 8079933"/>
              <a:gd name="connsiteY50602" fmla="*/ 197702 h 4687251"/>
              <a:gd name="connsiteX50603" fmla="*/ 3163260 w 8079933"/>
              <a:gd name="connsiteY50603" fmla="*/ 201275 h 4687251"/>
              <a:gd name="connsiteX50604" fmla="*/ 3160981 w 8079933"/>
              <a:gd name="connsiteY50604" fmla="*/ 206797 h 4687251"/>
              <a:gd name="connsiteX50605" fmla="*/ 3156641 w 8079933"/>
              <a:gd name="connsiteY50605" fmla="*/ 209286 h 4687251"/>
              <a:gd name="connsiteX50606" fmla="*/ 3155013 w 8079933"/>
              <a:gd name="connsiteY50606" fmla="*/ 211777 h 4687251"/>
              <a:gd name="connsiteX50607" fmla="*/ 3154253 w 8079933"/>
              <a:gd name="connsiteY50607" fmla="*/ 216433 h 4687251"/>
              <a:gd name="connsiteX50608" fmla="*/ 3151540 w 8079933"/>
              <a:gd name="connsiteY50608" fmla="*/ 220980 h 4687251"/>
              <a:gd name="connsiteX50609" fmla="*/ 3150455 w 8079933"/>
              <a:gd name="connsiteY50609" fmla="*/ 225419 h 4687251"/>
              <a:gd name="connsiteX50610" fmla="*/ 3151323 w 8079933"/>
              <a:gd name="connsiteY50610" fmla="*/ 227044 h 4687251"/>
              <a:gd name="connsiteX50611" fmla="*/ 3154036 w 8079933"/>
              <a:gd name="connsiteY50611" fmla="*/ 227044 h 4687251"/>
              <a:gd name="connsiteX50612" fmla="*/ 3157400 w 8079933"/>
              <a:gd name="connsiteY50612" fmla="*/ 221846 h 4687251"/>
              <a:gd name="connsiteX50613" fmla="*/ 3159896 w 8079933"/>
              <a:gd name="connsiteY50613" fmla="*/ 219680 h 4687251"/>
              <a:gd name="connsiteX50614" fmla="*/ 3159896 w 8079933"/>
              <a:gd name="connsiteY50614" fmla="*/ 217082 h 4687251"/>
              <a:gd name="connsiteX50615" fmla="*/ 3163477 w 8079933"/>
              <a:gd name="connsiteY50615" fmla="*/ 213401 h 4687251"/>
              <a:gd name="connsiteX50616" fmla="*/ 3167818 w 8079933"/>
              <a:gd name="connsiteY50616" fmla="*/ 206905 h 4687251"/>
              <a:gd name="connsiteX50617" fmla="*/ 3169771 w 8079933"/>
              <a:gd name="connsiteY50617" fmla="*/ 202899 h 4687251"/>
              <a:gd name="connsiteX50618" fmla="*/ 3172593 w 8079933"/>
              <a:gd name="connsiteY50618" fmla="*/ 201708 h 4687251"/>
              <a:gd name="connsiteX50619" fmla="*/ 3174654 w 8079933"/>
              <a:gd name="connsiteY50619" fmla="*/ 199867 h 4687251"/>
              <a:gd name="connsiteX50620" fmla="*/ 3176174 w 8079933"/>
              <a:gd name="connsiteY50620" fmla="*/ 196619 h 4687251"/>
              <a:gd name="connsiteX50621" fmla="*/ 3176174 w 8079933"/>
              <a:gd name="connsiteY50621" fmla="*/ 193372 h 4687251"/>
              <a:gd name="connsiteX50622" fmla="*/ 3178778 w 8079933"/>
              <a:gd name="connsiteY50622" fmla="*/ 191314 h 4687251"/>
              <a:gd name="connsiteX50623" fmla="*/ 3181057 w 8079933"/>
              <a:gd name="connsiteY50623" fmla="*/ 187849 h 4687251"/>
              <a:gd name="connsiteX50624" fmla="*/ 3183987 w 8079933"/>
              <a:gd name="connsiteY50624" fmla="*/ 184817 h 4687251"/>
              <a:gd name="connsiteX50625" fmla="*/ 3185615 w 8079933"/>
              <a:gd name="connsiteY50625" fmla="*/ 188066 h 4687251"/>
              <a:gd name="connsiteX50626" fmla="*/ 3185615 w 8079933"/>
              <a:gd name="connsiteY50626" fmla="*/ 191747 h 4687251"/>
              <a:gd name="connsiteX50627" fmla="*/ 3188328 w 8079933"/>
              <a:gd name="connsiteY50627" fmla="*/ 194670 h 4687251"/>
              <a:gd name="connsiteX50628" fmla="*/ 3189630 w 8079933"/>
              <a:gd name="connsiteY50628" fmla="*/ 198459 h 4687251"/>
              <a:gd name="connsiteX50629" fmla="*/ 3190606 w 8079933"/>
              <a:gd name="connsiteY50629" fmla="*/ 204090 h 4687251"/>
              <a:gd name="connsiteX50630" fmla="*/ 3194296 w 8079933"/>
              <a:gd name="connsiteY50630" fmla="*/ 208962 h 4687251"/>
              <a:gd name="connsiteX50631" fmla="*/ 3194296 w 8079933"/>
              <a:gd name="connsiteY50631" fmla="*/ 215133 h 4687251"/>
              <a:gd name="connsiteX50632" fmla="*/ 3196792 w 8079933"/>
              <a:gd name="connsiteY50632" fmla="*/ 217082 h 4687251"/>
              <a:gd name="connsiteX50633" fmla="*/ 3199939 w 8079933"/>
              <a:gd name="connsiteY50633" fmla="*/ 217082 h 4687251"/>
              <a:gd name="connsiteX50634" fmla="*/ 3201458 w 8079933"/>
              <a:gd name="connsiteY50634" fmla="*/ 218489 h 4687251"/>
              <a:gd name="connsiteX50635" fmla="*/ 3203411 w 8079933"/>
              <a:gd name="connsiteY50635" fmla="*/ 218489 h 4687251"/>
              <a:gd name="connsiteX50636" fmla="*/ 3204171 w 8079933"/>
              <a:gd name="connsiteY50636" fmla="*/ 216866 h 4687251"/>
              <a:gd name="connsiteX50637" fmla="*/ 3205256 w 8079933"/>
              <a:gd name="connsiteY50637" fmla="*/ 214809 h 4687251"/>
              <a:gd name="connsiteX50638" fmla="*/ 3205256 w 8079933"/>
              <a:gd name="connsiteY50638" fmla="*/ 212535 h 4687251"/>
              <a:gd name="connsiteX50639" fmla="*/ 3202109 w 8079933"/>
              <a:gd name="connsiteY50639" fmla="*/ 209719 h 4687251"/>
              <a:gd name="connsiteX50640" fmla="*/ 3201241 w 8079933"/>
              <a:gd name="connsiteY50640" fmla="*/ 206580 h 4687251"/>
              <a:gd name="connsiteX50641" fmla="*/ 3202001 w 8079933"/>
              <a:gd name="connsiteY50641" fmla="*/ 205497 h 4687251"/>
              <a:gd name="connsiteX50642" fmla="*/ 3204171 w 8079933"/>
              <a:gd name="connsiteY50642" fmla="*/ 205497 h 4687251"/>
              <a:gd name="connsiteX50643" fmla="*/ 3207427 w 8079933"/>
              <a:gd name="connsiteY50643" fmla="*/ 208312 h 4687251"/>
              <a:gd name="connsiteX50644" fmla="*/ 3212418 w 8079933"/>
              <a:gd name="connsiteY50644" fmla="*/ 208962 h 4687251"/>
              <a:gd name="connsiteX50645" fmla="*/ 3215239 w 8079933"/>
              <a:gd name="connsiteY50645" fmla="*/ 210370 h 4687251"/>
              <a:gd name="connsiteX50646" fmla="*/ 3215891 w 8079933"/>
              <a:gd name="connsiteY50646" fmla="*/ 211777 h 4687251"/>
              <a:gd name="connsiteX50647" fmla="*/ 3219363 w 8079933"/>
              <a:gd name="connsiteY50647" fmla="*/ 212535 h 4687251"/>
              <a:gd name="connsiteX50648" fmla="*/ 3221208 w 8079933"/>
              <a:gd name="connsiteY50648" fmla="*/ 210586 h 4687251"/>
              <a:gd name="connsiteX50649" fmla="*/ 3222836 w 8079933"/>
              <a:gd name="connsiteY50649" fmla="*/ 211235 h 4687251"/>
              <a:gd name="connsiteX50650" fmla="*/ 3224463 w 8079933"/>
              <a:gd name="connsiteY50650" fmla="*/ 212968 h 4687251"/>
              <a:gd name="connsiteX50651" fmla="*/ 3226417 w 8079933"/>
              <a:gd name="connsiteY50651" fmla="*/ 211777 h 4687251"/>
              <a:gd name="connsiteX50652" fmla="*/ 3226417 w 8079933"/>
              <a:gd name="connsiteY50652" fmla="*/ 203549 h 4687251"/>
              <a:gd name="connsiteX50653" fmla="*/ 3225548 w 8079933"/>
              <a:gd name="connsiteY50653" fmla="*/ 199542 h 4687251"/>
              <a:gd name="connsiteX50654" fmla="*/ 3227285 w 8079933"/>
              <a:gd name="connsiteY50654" fmla="*/ 193046 h 4687251"/>
              <a:gd name="connsiteX50655" fmla="*/ 3228153 w 8079933"/>
              <a:gd name="connsiteY50655" fmla="*/ 186442 h 4687251"/>
              <a:gd name="connsiteX50656" fmla="*/ 3225983 w 8079933"/>
              <a:gd name="connsiteY50656" fmla="*/ 183735 h 4687251"/>
              <a:gd name="connsiteX50657" fmla="*/ 3224572 w 8079933"/>
              <a:gd name="connsiteY50657" fmla="*/ 177455 h 4687251"/>
              <a:gd name="connsiteX50658" fmla="*/ 3224572 w 8079933"/>
              <a:gd name="connsiteY50658" fmla="*/ 172150 h 4687251"/>
              <a:gd name="connsiteX50659" fmla="*/ 3228153 w 8079933"/>
              <a:gd name="connsiteY50659" fmla="*/ 163705 h 4687251"/>
              <a:gd name="connsiteX50660" fmla="*/ 3228804 w 8079933"/>
              <a:gd name="connsiteY50660" fmla="*/ 160673 h 4687251"/>
              <a:gd name="connsiteX50661" fmla="*/ 3227828 w 8079933"/>
              <a:gd name="connsiteY50661" fmla="*/ 157966 h 4687251"/>
              <a:gd name="connsiteX50662" fmla="*/ 3229021 w 8079933"/>
              <a:gd name="connsiteY50662" fmla="*/ 155692 h 4687251"/>
              <a:gd name="connsiteX50663" fmla="*/ 3229021 w 8079933"/>
              <a:gd name="connsiteY50663" fmla="*/ 149738 h 4687251"/>
              <a:gd name="connsiteX50664" fmla="*/ 3231626 w 8079933"/>
              <a:gd name="connsiteY50664" fmla="*/ 147356 h 4687251"/>
              <a:gd name="connsiteX50665" fmla="*/ 3235532 w 8079933"/>
              <a:gd name="connsiteY50665" fmla="*/ 146707 h 4687251"/>
              <a:gd name="connsiteX50666" fmla="*/ 3238245 w 8079933"/>
              <a:gd name="connsiteY50666" fmla="*/ 148872 h 4687251"/>
              <a:gd name="connsiteX50667" fmla="*/ 3242152 w 8079933"/>
              <a:gd name="connsiteY50667" fmla="*/ 149521 h 4687251"/>
              <a:gd name="connsiteX50668" fmla="*/ 3245298 w 8079933"/>
              <a:gd name="connsiteY50668" fmla="*/ 150496 h 4687251"/>
              <a:gd name="connsiteX50669" fmla="*/ 3246601 w 8079933"/>
              <a:gd name="connsiteY50669" fmla="*/ 153528 h 4687251"/>
              <a:gd name="connsiteX50670" fmla="*/ 3250073 w 8079933"/>
              <a:gd name="connsiteY50670" fmla="*/ 155476 h 4687251"/>
              <a:gd name="connsiteX50671" fmla="*/ 3252244 w 8079933"/>
              <a:gd name="connsiteY50671" fmla="*/ 159699 h 4687251"/>
              <a:gd name="connsiteX50672" fmla="*/ 3256151 w 8079933"/>
              <a:gd name="connsiteY50672" fmla="*/ 169119 h 4687251"/>
              <a:gd name="connsiteX50673" fmla="*/ 3256151 w 8079933"/>
              <a:gd name="connsiteY50673" fmla="*/ 173449 h 4687251"/>
              <a:gd name="connsiteX50674" fmla="*/ 3260600 w 8079933"/>
              <a:gd name="connsiteY50674" fmla="*/ 180379 h 4687251"/>
              <a:gd name="connsiteX50675" fmla="*/ 3263313 w 8079933"/>
              <a:gd name="connsiteY50675" fmla="*/ 185684 h 4687251"/>
              <a:gd name="connsiteX50676" fmla="*/ 3264181 w 8079933"/>
              <a:gd name="connsiteY50676" fmla="*/ 196511 h 4687251"/>
              <a:gd name="connsiteX50677" fmla="*/ 3263530 w 8079933"/>
              <a:gd name="connsiteY50677" fmla="*/ 198784 h 4687251"/>
              <a:gd name="connsiteX50678" fmla="*/ 3261142 w 8079933"/>
              <a:gd name="connsiteY50678" fmla="*/ 201383 h 4687251"/>
              <a:gd name="connsiteX50679" fmla="*/ 3261142 w 8079933"/>
              <a:gd name="connsiteY50679" fmla="*/ 205064 h 4687251"/>
              <a:gd name="connsiteX50680" fmla="*/ 3262010 w 8079933"/>
              <a:gd name="connsiteY50680" fmla="*/ 209937 h 4687251"/>
              <a:gd name="connsiteX50681" fmla="*/ 3264289 w 8079933"/>
              <a:gd name="connsiteY50681" fmla="*/ 212101 h 4687251"/>
              <a:gd name="connsiteX50682" fmla="*/ 3267328 w 8079933"/>
              <a:gd name="connsiteY50682" fmla="*/ 219897 h 4687251"/>
              <a:gd name="connsiteX50683" fmla="*/ 3266459 w 8079933"/>
              <a:gd name="connsiteY50683" fmla="*/ 225094 h 4687251"/>
              <a:gd name="connsiteX50684" fmla="*/ 3266459 w 8079933"/>
              <a:gd name="connsiteY50684" fmla="*/ 229317 h 4687251"/>
              <a:gd name="connsiteX50685" fmla="*/ 3268413 w 8079933"/>
              <a:gd name="connsiteY50685" fmla="*/ 232781 h 4687251"/>
              <a:gd name="connsiteX50686" fmla="*/ 3272428 w 8079933"/>
              <a:gd name="connsiteY50686" fmla="*/ 232781 h 4687251"/>
              <a:gd name="connsiteX50687" fmla="*/ 3277529 w 8079933"/>
              <a:gd name="connsiteY50687" fmla="*/ 236571 h 4687251"/>
              <a:gd name="connsiteX50688" fmla="*/ 3281327 w 8079933"/>
              <a:gd name="connsiteY50688" fmla="*/ 236571 h 4687251"/>
              <a:gd name="connsiteX50689" fmla="*/ 3286427 w 8079933"/>
              <a:gd name="connsiteY50689" fmla="*/ 234623 h 4687251"/>
              <a:gd name="connsiteX50690" fmla="*/ 3289899 w 8079933"/>
              <a:gd name="connsiteY50690" fmla="*/ 228451 h 4687251"/>
              <a:gd name="connsiteX50691" fmla="*/ 3291961 w 8079933"/>
              <a:gd name="connsiteY50691" fmla="*/ 226069 h 4687251"/>
              <a:gd name="connsiteX50692" fmla="*/ 3292721 w 8079933"/>
              <a:gd name="connsiteY50692" fmla="*/ 226935 h 4687251"/>
              <a:gd name="connsiteX50693" fmla="*/ 3292721 w 8079933"/>
              <a:gd name="connsiteY50693" fmla="*/ 230941 h 4687251"/>
              <a:gd name="connsiteX50694" fmla="*/ 3293697 w 8079933"/>
              <a:gd name="connsiteY50694" fmla="*/ 233323 h 4687251"/>
              <a:gd name="connsiteX50695" fmla="*/ 3295650 w 8079933"/>
              <a:gd name="connsiteY50695" fmla="*/ 233323 h 4687251"/>
              <a:gd name="connsiteX50696" fmla="*/ 3298363 w 8079933"/>
              <a:gd name="connsiteY50696" fmla="*/ 232132 h 4687251"/>
              <a:gd name="connsiteX50697" fmla="*/ 3301510 w 8079933"/>
              <a:gd name="connsiteY50697" fmla="*/ 233647 h 4687251"/>
              <a:gd name="connsiteX50698" fmla="*/ 3302813 w 8079933"/>
              <a:gd name="connsiteY50698" fmla="*/ 236030 h 4687251"/>
              <a:gd name="connsiteX50699" fmla="*/ 3302813 w 8079933"/>
              <a:gd name="connsiteY50699" fmla="*/ 239169 h 4687251"/>
              <a:gd name="connsiteX50700" fmla="*/ 3304766 w 8079933"/>
              <a:gd name="connsiteY50700" fmla="*/ 241768 h 4687251"/>
              <a:gd name="connsiteX50701" fmla="*/ 3308130 w 8079933"/>
              <a:gd name="connsiteY50701" fmla="*/ 241768 h 4687251"/>
              <a:gd name="connsiteX50702" fmla="*/ 3310734 w 8079933"/>
              <a:gd name="connsiteY50702" fmla="*/ 242851 h 4687251"/>
              <a:gd name="connsiteX50703" fmla="*/ 3315509 w 8079933"/>
              <a:gd name="connsiteY50703" fmla="*/ 242851 h 4687251"/>
              <a:gd name="connsiteX50704" fmla="*/ 3316702 w 8079933"/>
              <a:gd name="connsiteY50704" fmla="*/ 241443 h 4687251"/>
              <a:gd name="connsiteX50705" fmla="*/ 3315184 w 8079933"/>
              <a:gd name="connsiteY50705" fmla="*/ 240361 h 4687251"/>
              <a:gd name="connsiteX50706" fmla="*/ 3310734 w 8079933"/>
              <a:gd name="connsiteY50706" fmla="*/ 237762 h 4687251"/>
              <a:gd name="connsiteX50707" fmla="*/ 3309215 w 8079933"/>
              <a:gd name="connsiteY50707" fmla="*/ 234623 h 4687251"/>
              <a:gd name="connsiteX50708" fmla="*/ 3309215 w 8079933"/>
              <a:gd name="connsiteY50708" fmla="*/ 230616 h 4687251"/>
              <a:gd name="connsiteX50709" fmla="*/ 3306068 w 8079933"/>
              <a:gd name="connsiteY50709" fmla="*/ 230616 h 4687251"/>
              <a:gd name="connsiteX50710" fmla="*/ 3304332 w 8079933"/>
              <a:gd name="connsiteY50710" fmla="*/ 228667 h 4687251"/>
              <a:gd name="connsiteX50711" fmla="*/ 3304332 w 8079933"/>
              <a:gd name="connsiteY50711" fmla="*/ 224012 h 4687251"/>
              <a:gd name="connsiteX50712" fmla="*/ 3302270 w 8079933"/>
              <a:gd name="connsiteY50712" fmla="*/ 220439 h 4687251"/>
              <a:gd name="connsiteX50713" fmla="*/ 3297387 w 8079933"/>
              <a:gd name="connsiteY50713" fmla="*/ 216541 h 4687251"/>
              <a:gd name="connsiteX50714" fmla="*/ 3297387 w 8079933"/>
              <a:gd name="connsiteY50714" fmla="*/ 213727 h 4687251"/>
              <a:gd name="connsiteX50715" fmla="*/ 3295867 w 8079933"/>
              <a:gd name="connsiteY50715" fmla="*/ 207771 h 4687251"/>
              <a:gd name="connsiteX50716" fmla="*/ 3293154 w 8079933"/>
              <a:gd name="connsiteY50716" fmla="*/ 203765 h 4687251"/>
              <a:gd name="connsiteX50717" fmla="*/ 3293154 w 8079933"/>
              <a:gd name="connsiteY50717" fmla="*/ 200949 h 4687251"/>
              <a:gd name="connsiteX50718" fmla="*/ 3294240 w 8079933"/>
              <a:gd name="connsiteY50718" fmla="*/ 194778 h 4687251"/>
              <a:gd name="connsiteX50719" fmla="*/ 3293154 w 8079933"/>
              <a:gd name="connsiteY50719" fmla="*/ 190555 h 4687251"/>
              <a:gd name="connsiteX50720" fmla="*/ 3289682 w 8079933"/>
              <a:gd name="connsiteY50720" fmla="*/ 184493 h 4687251"/>
              <a:gd name="connsiteX50721" fmla="*/ 3289682 w 8079933"/>
              <a:gd name="connsiteY50721" fmla="*/ 180271 h 4687251"/>
              <a:gd name="connsiteX50722" fmla="*/ 3290550 w 8079933"/>
              <a:gd name="connsiteY50722" fmla="*/ 178213 h 4687251"/>
              <a:gd name="connsiteX50723" fmla="*/ 3289248 w 8079933"/>
              <a:gd name="connsiteY50723" fmla="*/ 172042 h 4687251"/>
              <a:gd name="connsiteX50724" fmla="*/ 3287729 w 8079933"/>
              <a:gd name="connsiteY50724" fmla="*/ 169768 h 4687251"/>
              <a:gd name="connsiteX50725" fmla="*/ 3288380 w 8079933"/>
              <a:gd name="connsiteY50725" fmla="*/ 164788 h 4687251"/>
              <a:gd name="connsiteX50726" fmla="*/ 3285775 w 8079933"/>
              <a:gd name="connsiteY50726" fmla="*/ 158725 h 4687251"/>
              <a:gd name="connsiteX50727" fmla="*/ 3283496 w 8079933"/>
              <a:gd name="connsiteY50727" fmla="*/ 154069 h 4687251"/>
              <a:gd name="connsiteX50728" fmla="*/ 3285341 w 8079933"/>
              <a:gd name="connsiteY50728" fmla="*/ 150496 h 4687251"/>
              <a:gd name="connsiteX50729" fmla="*/ 3283063 w 8079933"/>
              <a:gd name="connsiteY50729" fmla="*/ 145515 h 4687251"/>
              <a:gd name="connsiteX50730" fmla="*/ 3283063 w 8079933"/>
              <a:gd name="connsiteY50730" fmla="*/ 140860 h 4687251"/>
              <a:gd name="connsiteX50731" fmla="*/ 3284799 w 8079933"/>
              <a:gd name="connsiteY50731" fmla="*/ 138586 h 4687251"/>
              <a:gd name="connsiteX50732" fmla="*/ 3292721 w 8079933"/>
              <a:gd name="connsiteY50732" fmla="*/ 139993 h 4687251"/>
              <a:gd name="connsiteX50733" fmla="*/ 3294457 w 8079933"/>
              <a:gd name="connsiteY50733" fmla="*/ 143133 h 4687251"/>
              <a:gd name="connsiteX50734" fmla="*/ 3296735 w 8079933"/>
              <a:gd name="connsiteY50734" fmla="*/ 143133 h 4687251"/>
              <a:gd name="connsiteX50735" fmla="*/ 3298472 w 8079933"/>
              <a:gd name="connsiteY50735" fmla="*/ 140752 h 4687251"/>
              <a:gd name="connsiteX50736" fmla="*/ 3300751 w 8079933"/>
              <a:gd name="connsiteY50736" fmla="*/ 140752 h 4687251"/>
              <a:gd name="connsiteX50737" fmla="*/ 3308130 w 8079933"/>
              <a:gd name="connsiteY50737" fmla="*/ 149196 h 4687251"/>
              <a:gd name="connsiteX50738" fmla="*/ 3314641 w 8079933"/>
              <a:gd name="connsiteY50738" fmla="*/ 152661 h 4687251"/>
              <a:gd name="connsiteX50739" fmla="*/ 3317245 w 8079933"/>
              <a:gd name="connsiteY50739" fmla="*/ 150820 h 4687251"/>
              <a:gd name="connsiteX50740" fmla="*/ 3317245 w 8079933"/>
              <a:gd name="connsiteY50740" fmla="*/ 146057 h 4687251"/>
              <a:gd name="connsiteX50741" fmla="*/ 3315184 w 8079933"/>
              <a:gd name="connsiteY50741" fmla="*/ 144000 h 4687251"/>
              <a:gd name="connsiteX50742" fmla="*/ 3317462 w 8079933"/>
              <a:gd name="connsiteY50742" fmla="*/ 136963 h 4687251"/>
              <a:gd name="connsiteX50743" fmla="*/ 3320067 w 8079933"/>
              <a:gd name="connsiteY50743" fmla="*/ 136963 h 4687251"/>
              <a:gd name="connsiteX50744" fmla="*/ 3323865 w 8079933"/>
              <a:gd name="connsiteY50744" fmla="*/ 138369 h 4687251"/>
              <a:gd name="connsiteX50745" fmla="*/ 3329074 w 8079933"/>
              <a:gd name="connsiteY50745" fmla="*/ 137287 h 4687251"/>
              <a:gd name="connsiteX50746" fmla="*/ 3333197 w 8079933"/>
              <a:gd name="connsiteY50746" fmla="*/ 134689 h 4687251"/>
              <a:gd name="connsiteX50747" fmla="*/ 3337647 w 8079933"/>
              <a:gd name="connsiteY50747" fmla="*/ 135663 h 4687251"/>
              <a:gd name="connsiteX50748" fmla="*/ 3340902 w 8079933"/>
              <a:gd name="connsiteY50748" fmla="*/ 138044 h 4687251"/>
              <a:gd name="connsiteX50749" fmla="*/ 3344483 w 8079933"/>
              <a:gd name="connsiteY50749" fmla="*/ 139020 h 4687251"/>
              <a:gd name="connsiteX50750" fmla="*/ 3346762 w 8079933"/>
              <a:gd name="connsiteY50750" fmla="*/ 141076 h 4687251"/>
              <a:gd name="connsiteX50751" fmla="*/ 3349149 w 8079933"/>
              <a:gd name="connsiteY50751" fmla="*/ 147897 h 4687251"/>
              <a:gd name="connsiteX50752" fmla="*/ 3349149 w 8079933"/>
              <a:gd name="connsiteY50752" fmla="*/ 150820 h 4687251"/>
              <a:gd name="connsiteX50753" fmla="*/ 3353490 w 8079933"/>
              <a:gd name="connsiteY50753" fmla="*/ 155584 h 4687251"/>
              <a:gd name="connsiteX50754" fmla="*/ 3353490 w 8079933"/>
              <a:gd name="connsiteY50754" fmla="*/ 160024 h 4687251"/>
              <a:gd name="connsiteX50755" fmla="*/ 3351754 w 8079933"/>
              <a:gd name="connsiteY50755" fmla="*/ 163813 h 4687251"/>
              <a:gd name="connsiteX50756" fmla="*/ 3354358 w 8079933"/>
              <a:gd name="connsiteY50756" fmla="*/ 172583 h 4687251"/>
              <a:gd name="connsiteX50757" fmla="*/ 3354358 w 8079933"/>
              <a:gd name="connsiteY50757" fmla="*/ 177780 h 4687251"/>
              <a:gd name="connsiteX50758" fmla="*/ 3355769 w 8079933"/>
              <a:gd name="connsiteY50758" fmla="*/ 180920 h 4687251"/>
              <a:gd name="connsiteX50759" fmla="*/ 3359350 w 8079933"/>
              <a:gd name="connsiteY50759" fmla="*/ 183301 h 4687251"/>
              <a:gd name="connsiteX50760" fmla="*/ 3365535 w 8079933"/>
              <a:gd name="connsiteY50760" fmla="*/ 183301 h 4687251"/>
              <a:gd name="connsiteX50761" fmla="*/ 3371504 w 8079933"/>
              <a:gd name="connsiteY50761" fmla="*/ 186874 h 4687251"/>
              <a:gd name="connsiteX50762" fmla="*/ 3377038 w 8079933"/>
              <a:gd name="connsiteY50762" fmla="*/ 190989 h 4687251"/>
              <a:gd name="connsiteX50763" fmla="*/ 3375844 w 8079933"/>
              <a:gd name="connsiteY50763" fmla="*/ 187524 h 4687251"/>
              <a:gd name="connsiteX50764" fmla="*/ 3375844 w 8079933"/>
              <a:gd name="connsiteY50764" fmla="*/ 185792 h 4687251"/>
              <a:gd name="connsiteX50765" fmla="*/ 3370636 w 8079933"/>
              <a:gd name="connsiteY50765" fmla="*/ 182869 h 4687251"/>
              <a:gd name="connsiteX50766" fmla="*/ 3367922 w 8079933"/>
              <a:gd name="connsiteY50766" fmla="*/ 179404 h 4687251"/>
              <a:gd name="connsiteX50767" fmla="*/ 3364341 w 8079933"/>
              <a:gd name="connsiteY50767" fmla="*/ 179404 h 4687251"/>
              <a:gd name="connsiteX50768" fmla="*/ 3359675 w 8079933"/>
              <a:gd name="connsiteY50768" fmla="*/ 176481 h 4687251"/>
              <a:gd name="connsiteX50769" fmla="*/ 3359024 w 8079933"/>
              <a:gd name="connsiteY50769" fmla="*/ 173557 h 4687251"/>
              <a:gd name="connsiteX50770" fmla="*/ 3359024 w 8079933"/>
              <a:gd name="connsiteY50770" fmla="*/ 168252 h 4687251"/>
              <a:gd name="connsiteX50771" fmla="*/ 3356094 w 8079933"/>
              <a:gd name="connsiteY50771" fmla="*/ 163488 h 4687251"/>
              <a:gd name="connsiteX50772" fmla="*/ 3356094 w 8079933"/>
              <a:gd name="connsiteY50772" fmla="*/ 160240 h 4687251"/>
              <a:gd name="connsiteX50773" fmla="*/ 3358373 w 8079933"/>
              <a:gd name="connsiteY50773" fmla="*/ 153744 h 4687251"/>
              <a:gd name="connsiteX50774" fmla="*/ 3357722 w 8079933"/>
              <a:gd name="connsiteY50774" fmla="*/ 148764 h 4687251"/>
              <a:gd name="connsiteX50775" fmla="*/ 3357722 w 8079933"/>
              <a:gd name="connsiteY50775" fmla="*/ 145515 h 4687251"/>
              <a:gd name="connsiteX50776" fmla="*/ 3358698 w 8079933"/>
              <a:gd name="connsiteY50776" fmla="*/ 143458 h 4687251"/>
              <a:gd name="connsiteX50777" fmla="*/ 3356420 w 8079933"/>
              <a:gd name="connsiteY50777" fmla="*/ 140210 h 4687251"/>
              <a:gd name="connsiteX50778" fmla="*/ 3352405 w 8079933"/>
              <a:gd name="connsiteY50778" fmla="*/ 138369 h 4687251"/>
              <a:gd name="connsiteX50779" fmla="*/ 3347196 w 8079933"/>
              <a:gd name="connsiteY50779" fmla="*/ 131440 h 4687251"/>
              <a:gd name="connsiteX50780" fmla="*/ 3344266 w 8079933"/>
              <a:gd name="connsiteY50780" fmla="*/ 131440 h 4687251"/>
              <a:gd name="connsiteX50781" fmla="*/ 3339817 w 8079933"/>
              <a:gd name="connsiteY50781" fmla="*/ 131440 h 4687251"/>
              <a:gd name="connsiteX50782" fmla="*/ 3336236 w 8079933"/>
              <a:gd name="connsiteY50782" fmla="*/ 133389 h 4687251"/>
              <a:gd name="connsiteX50783" fmla="*/ 3333306 w 8079933"/>
              <a:gd name="connsiteY50783" fmla="*/ 134255 h 4687251"/>
              <a:gd name="connsiteX50784" fmla="*/ 3328314 w 8079933"/>
              <a:gd name="connsiteY50784" fmla="*/ 131007 h 4687251"/>
              <a:gd name="connsiteX50785" fmla="*/ 3328314 w 8079933"/>
              <a:gd name="connsiteY50785" fmla="*/ 125485 h 4687251"/>
              <a:gd name="connsiteX50786" fmla="*/ 3330592 w 8079933"/>
              <a:gd name="connsiteY50786" fmla="*/ 120505 h 4687251"/>
              <a:gd name="connsiteX50787" fmla="*/ 3334391 w 8079933"/>
              <a:gd name="connsiteY50787" fmla="*/ 120505 h 4687251"/>
              <a:gd name="connsiteX50788" fmla="*/ 3334391 w 8079933"/>
              <a:gd name="connsiteY50788" fmla="*/ 118231 h 4687251"/>
              <a:gd name="connsiteX50789" fmla="*/ 3327988 w 8079933"/>
              <a:gd name="connsiteY50789" fmla="*/ 113467 h 4687251"/>
              <a:gd name="connsiteX50790" fmla="*/ 3327012 w 8079933"/>
              <a:gd name="connsiteY50790" fmla="*/ 108487 h 4687251"/>
              <a:gd name="connsiteX50791" fmla="*/ 3327988 w 8079933"/>
              <a:gd name="connsiteY50791" fmla="*/ 104698 h 4687251"/>
              <a:gd name="connsiteX50792" fmla="*/ 3329074 w 8079933"/>
              <a:gd name="connsiteY50792" fmla="*/ 100908 h 4687251"/>
              <a:gd name="connsiteX50793" fmla="*/ 3331136 w 8079933"/>
              <a:gd name="connsiteY50793" fmla="*/ 100908 h 4687251"/>
              <a:gd name="connsiteX50794" fmla="*/ 3334717 w 8079933"/>
              <a:gd name="connsiteY50794" fmla="*/ 104373 h 4687251"/>
              <a:gd name="connsiteX50795" fmla="*/ 3337321 w 8079933"/>
              <a:gd name="connsiteY50795" fmla="*/ 109136 h 4687251"/>
              <a:gd name="connsiteX50796" fmla="*/ 3338840 w 8079933"/>
              <a:gd name="connsiteY50796" fmla="*/ 109136 h 4687251"/>
              <a:gd name="connsiteX50797" fmla="*/ 3343290 w 8079933"/>
              <a:gd name="connsiteY50797" fmla="*/ 102207 h 4687251"/>
              <a:gd name="connsiteX50798" fmla="*/ 3346870 w 8079933"/>
              <a:gd name="connsiteY50798" fmla="*/ 100800 h 4687251"/>
              <a:gd name="connsiteX50799" fmla="*/ 3351319 w 8079933"/>
              <a:gd name="connsiteY50799" fmla="*/ 98526 h 4687251"/>
              <a:gd name="connsiteX50800" fmla="*/ 3352405 w 8079933"/>
              <a:gd name="connsiteY50800" fmla="*/ 95494 h 4687251"/>
              <a:gd name="connsiteX50801" fmla="*/ 3356420 w 8079933"/>
              <a:gd name="connsiteY50801" fmla="*/ 91055 h 4687251"/>
              <a:gd name="connsiteX50802" fmla="*/ 3361086 w 8079933"/>
              <a:gd name="connsiteY50802" fmla="*/ 90406 h 4687251"/>
              <a:gd name="connsiteX50803" fmla="*/ 3357614 w 8079933"/>
              <a:gd name="connsiteY50803" fmla="*/ 93113 h 4687251"/>
              <a:gd name="connsiteX50804" fmla="*/ 3356420 w 8079933"/>
              <a:gd name="connsiteY50804" fmla="*/ 96360 h 4687251"/>
              <a:gd name="connsiteX50805" fmla="*/ 3357288 w 8079933"/>
              <a:gd name="connsiteY50805" fmla="*/ 97876 h 4687251"/>
              <a:gd name="connsiteX50806" fmla="*/ 3360869 w 8079933"/>
              <a:gd name="connsiteY50806" fmla="*/ 96036 h 4687251"/>
              <a:gd name="connsiteX50807" fmla="*/ 3365209 w 8079933"/>
              <a:gd name="connsiteY50807" fmla="*/ 96036 h 4687251"/>
              <a:gd name="connsiteX50808" fmla="*/ 3366729 w 8079933"/>
              <a:gd name="connsiteY50808" fmla="*/ 97876 h 4687251"/>
              <a:gd name="connsiteX50809" fmla="*/ 3367380 w 8079933"/>
              <a:gd name="connsiteY50809" fmla="*/ 101449 h 4687251"/>
              <a:gd name="connsiteX50810" fmla="*/ 3370527 w 8079933"/>
              <a:gd name="connsiteY50810" fmla="*/ 103831 h 4687251"/>
              <a:gd name="connsiteX50811" fmla="*/ 3370527 w 8079933"/>
              <a:gd name="connsiteY50811" fmla="*/ 106214 h 4687251"/>
              <a:gd name="connsiteX50812" fmla="*/ 3368248 w 8079933"/>
              <a:gd name="connsiteY50812" fmla="*/ 109677 h 4687251"/>
              <a:gd name="connsiteX50813" fmla="*/ 3369984 w 8079933"/>
              <a:gd name="connsiteY50813" fmla="*/ 112601 h 4687251"/>
              <a:gd name="connsiteX50814" fmla="*/ 3371937 w 8079933"/>
              <a:gd name="connsiteY50814" fmla="*/ 109461 h 4687251"/>
              <a:gd name="connsiteX50815" fmla="*/ 3375194 w 8079933"/>
              <a:gd name="connsiteY50815" fmla="*/ 104156 h 4687251"/>
              <a:gd name="connsiteX50816" fmla="*/ 3379968 w 8079933"/>
              <a:gd name="connsiteY50816" fmla="*/ 106214 h 4687251"/>
              <a:gd name="connsiteX50817" fmla="*/ 3383549 w 8079933"/>
              <a:gd name="connsiteY50817" fmla="*/ 110111 h 4687251"/>
              <a:gd name="connsiteX50818" fmla="*/ 3383549 w 8079933"/>
              <a:gd name="connsiteY50818" fmla="*/ 113575 h 4687251"/>
              <a:gd name="connsiteX50819" fmla="*/ 3386696 w 8079933"/>
              <a:gd name="connsiteY50819" fmla="*/ 119639 h 4687251"/>
              <a:gd name="connsiteX50820" fmla="*/ 3388433 w 8079933"/>
              <a:gd name="connsiteY50820" fmla="*/ 125485 h 4687251"/>
              <a:gd name="connsiteX50821" fmla="*/ 3388433 w 8079933"/>
              <a:gd name="connsiteY50821" fmla="*/ 132198 h 4687251"/>
              <a:gd name="connsiteX50822" fmla="*/ 3391362 w 8079933"/>
              <a:gd name="connsiteY50822" fmla="*/ 128734 h 4687251"/>
              <a:gd name="connsiteX50823" fmla="*/ 3391362 w 8079933"/>
              <a:gd name="connsiteY50823" fmla="*/ 122887 h 4687251"/>
              <a:gd name="connsiteX50824" fmla="*/ 3389518 w 8079933"/>
              <a:gd name="connsiteY50824" fmla="*/ 119422 h 4687251"/>
              <a:gd name="connsiteX50825" fmla="*/ 3388107 w 8079933"/>
              <a:gd name="connsiteY50825" fmla="*/ 116715 h 4687251"/>
              <a:gd name="connsiteX50826" fmla="*/ 3388107 w 8079933"/>
              <a:gd name="connsiteY50826" fmla="*/ 112277 h 4687251"/>
              <a:gd name="connsiteX50827" fmla="*/ 3387021 w 8079933"/>
              <a:gd name="connsiteY50827" fmla="*/ 110220 h 4687251"/>
              <a:gd name="connsiteX50828" fmla="*/ 3388107 w 8079933"/>
              <a:gd name="connsiteY50828" fmla="*/ 108487 h 4687251"/>
              <a:gd name="connsiteX50829" fmla="*/ 3390819 w 8079933"/>
              <a:gd name="connsiteY50829" fmla="*/ 110760 h 4687251"/>
              <a:gd name="connsiteX50830" fmla="*/ 3397873 w 8079933"/>
              <a:gd name="connsiteY50830" fmla="*/ 116283 h 4687251"/>
              <a:gd name="connsiteX50831" fmla="*/ 3402539 w 8079933"/>
              <a:gd name="connsiteY50831" fmla="*/ 123536 h 4687251"/>
              <a:gd name="connsiteX50832" fmla="*/ 3408183 w 8079933"/>
              <a:gd name="connsiteY50832" fmla="*/ 126461 h 4687251"/>
              <a:gd name="connsiteX50833" fmla="*/ 3413608 w 8079933"/>
              <a:gd name="connsiteY50833" fmla="*/ 127434 h 4687251"/>
              <a:gd name="connsiteX50834" fmla="*/ 3413608 w 8079933"/>
              <a:gd name="connsiteY50834" fmla="*/ 125702 h 4687251"/>
              <a:gd name="connsiteX50835" fmla="*/ 3410896 w 8079933"/>
              <a:gd name="connsiteY50835" fmla="*/ 123320 h 4687251"/>
              <a:gd name="connsiteX50836" fmla="*/ 3405578 w 8079933"/>
              <a:gd name="connsiteY50836" fmla="*/ 121154 h 4687251"/>
              <a:gd name="connsiteX50837" fmla="*/ 3401888 w 8079933"/>
              <a:gd name="connsiteY50837" fmla="*/ 114550 h 4687251"/>
              <a:gd name="connsiteX50838" fmla="*/ 3401020 w 8079933"/>
              <a:gd name="connsiteY50838" fmla="*/ 108271 h 4687251"/>
              <a:gd name="connsiteX50839" fmla="*/ 3402323 w 8079933"/>
              <a:gd name="connsiteY50839" fmla="*/ 101991 h 4687251"/>
              <a:gd name="connsiteX50840" fmla="*/ 3406771 w 8079933"/>
              <a:gd name="connsiteY50840" fmla="*/ 101991 h 4687251"/>
              <a:gd name="connsiteX50841" fmla="*/ 3411221 w 8079933"/>
              <a:gd name="connsiteY50841" fmla="*/ 101991 h 4687251"/>
              <a:gd name="connsiteX50842" fmla="*/ 3417515 w 8079933"/>
              <a:gd name="connsiteY50842" fmla="*/ 105672 h 4687251"/>
              <a:gd name="connsiteX50843" fmla="*/ 3422290 w 8079933"/>
              <a:gd name="connsiteY50843" fmla="*/ 105672 h 4687251"/>
              <a:gd name="connsiteX50844" fmla="*/ 3424026 w 8079933"/>
              <a:gd name="connsiteY50844" fmla="*/ 103723 h 4687251"/>
              <a:gd name="connsiteX50845" fmla="*/ 3422506 w 8079933"/>
              <a:gd name="connsiteY50845" fmla="*/ 101341 h 4687251"/>
              <a:gd name="connsiteX50846" fmla="*/ 3419360 w 8079933"/>
              <a:gd name="connsiteY50846" fmla="*/ 100258 h 4687251"/>
              <a:gd name="connsiteX50847" fmla="*/ 3419360 w 8079933"/>
              <a:gd name="connsiteY50847" fmla="*/ 97876 h 4687251"/>
              <a:gd name="connsiteX50848" fmla="*/ 3423375 w 8079933"/>
              <a:gd name="connsiteY50848" fmla="*/ 92679 h 4687251"/>
              <a:gd name="connsiteX50849" fmla="*/ 3426956 w 8079933"/>
              <a:gd name="connsiteY50849" fmla="*/ 89540 h 4687251"/>
              <a:gd name="connsiteX50850" fmla="*/ 3425653 w 8079933"/>
              <a:gd name="connsiteY50850" fmla="*/ 87482 h 4687251"/>
              <a:gd name="connsiteX50851" fmla="*/ 3423917 w 8079933"/>
              <a:gd name="connsiteY50851" fmla="*/ 84667 h 4687251"/>
              <a:gd name="connsiteX50852" fmla="*/ 3425219 w 8079933"/>
              <a:gd name="connsiteY50852" fmla="*/ 80337 h 4687251"/>
              <a:gd name="connsiteX50853" fmla="*/ 3428041 w 8079933"/>
              <a:gd name="connsiteY50853" fmla="*/ 79688 h 4687251"/>
              <a:gd name="connsiteX50854" fmla="*/ 3431079 w 8079933"/>
              <a:gd name="connsiteY50854" fmla="*/ 80662 h 4687251"/>
              <a:gd name="connsiteX50855" fmla="*/ 3433141 w 8079933"/>
              <a:gd name="connsiteY50855" fmla="*/ 78063 h 4687251"/>
              <a:gd name="connsiteX50856" fmla="*/ 3434009 w 8079933"/>
              <a:gd name="connsiteY50856" fmla="*/ 73407 h 4687251"/>
              <a:gd name="connsiteX50857" fmla="*/ 3435529 w 8079933"/>
              <a:gd name="connsiteY50857" fmla="*/ 71567 h 4687251"/>
              <a:gd name="connsiteX50858" fmla="*/ 3438242 w 8079933"/>
              <a:gd name="connsiteY50858" fmla="*/ 72433 h 4687251"/>
              <a:gd name="connsiteX50859" fmla="*/ 3440195 w 8079933"/>
              <a:gd name="connsiteY50859" fmla="*/ 74166 h 4687251"/>
              <a:gd name="connsiteX50860" fmla="*/ 3441931 w 8079933"/>
              <a:gd name="connsiteY50860" fmla="*/ 74166 h 4687251"/>
              <a:gd name="connsiteX50861" fmla="*/ 3444101 w 8079933"/>
              <a:gd name="connsiteY50861" fmla="*/ 77522 h 4687251"/>
              <a:gd name="connsiteX50862" fmla="*/ 3445621 w 8079933"/>
              <a:gd name="connsiteY50862" fmla="*/ 82935 h 4687251"/>
              <a:gd name="connsiteX50863" fmla="*/ 3448008 w 8079933"/>
              <a:gd name="connsiteY50863" fmla="*/ 84667 h 4687251"/>
              <a:gd name="connsiteX50864" fmla="*/ 3450504 w 8079933"/>
              <a:gd name="connsiteY50864" fmla="*/ 83043 h 4687251"/>
              <a:gd name="connsiteX50865" fmla="*/ 3450504 w 8079933"/>
              <a:gd name="connsiteY50865" fmla="*/ 78063 h 4687251"/>
              <a:gd name="connsiteX50866" fmla="*/ 3448984 w 8079933"/>
              <a:gd name="connsiteY50866" fmla="*/ 74166 h 4687251"/>
              <a:gd name="connsiteX50867" fmla="*/ 3448984 w 8079933"/>
              <a:gd name="connsiteY50867" fmla="*/ 71025 h 4687251"/>
              <a:gd name="connsiteX50868" fmla="*/ 3450829 w 8079933"/>
              <a:gd name="connsiteY50868" fmla="*/ 68968 h 4687251"/>
              <a:gd name="connsiteX50869" fmla="*/ 2941342 w 8079933"/>
              <a:gd name="connsiteY50869" fmla="*/ 4872 h 4687251"/>
              <a:gd name="connsiteX50870" fmla="*/ 2943621 w 8079933"/>
              <a:gd name="connsiteY50870" fmla="*/ 8986 h 4687251"/>
              <a:gd name="connsiteX50871" fmla="*/ 2939389 w 8079933"/>
              <a:gd name="connsiteY50871" fmla="*/ 10610 h 4687251"/>
              <a:gd name="connsiteX50872" fmla="*/ 2936677 w 8079933"/>
              <a:gd name="connsiteY50872" fmla="*/ 9311 h 4687251"/>
              <a:gd name="connsiteX50873" fmla="*/ 2938522 w 8079933"/>
              <a:gd name="connsiteY50873" fmla="*/ 5197 h 4687251"/>
              <a:gd name="connsiteX50874" fmla="*/ 2891317 w 8079933"/>
              <a:gd name="connsiteY50874" fmla="*/ 0 h 4687251"/>
              <a:gd name="connsiteX50875" fmla="*/ 2894573 w 8079933"/>
              <a:gd name="connsiteY50875" fmla="*/ 2274 h 4687251"/>
              <a:gd name="connsiteX50876" fmla="*/ 2897936 w 8079933"/>
              <a:gd name="connsiteY50876" fmla="*/ 2382 h 4687251"/>
              <a:gd name="connsiteX50877" fmla="*/ 2902386 w 8079933"/>
              <a:gd name="connsiteY50877" fmla="*/ 4006 h 4687251"/>
              <a:gd name="connsiteX50878" fmla="*/ 2908245 w 8079933"/>
              <a:gd name="connsiteY50878" fmla="*/ 1516 h 4687251"/>
              <a:gd name="connsiteX50879" fmla="*/ 2913780 w 8079933"/>
              <a:gd name="connsiteY50879" fmla="*/ 3031 h 4687251"/>
              <a:gd name="connsiteX50880" fmla="*/ 2915733 w 8079933"/>
              <a:gd name="connsiteY50880" fmla="*/ 6821 h 4687251"/>
              <a:gd name="connsiteX50881" fmla="*/ 2921810 w 8079933"/>
              <a:gd name="connsiteY50881" fmla="*/ 8878 h 4687251"/>
              <a:gd name="connsiteX50882" fmla="*/ 2927562 w 8079933"/>
              <a:gd name="connsiteY50882" fmla="*/ 6929 h 4687251"/>
              <a:gd name="connsiteX50883" fmla="*/ 2933313 w 8079933"/>
              <a:gd name="connsiteY50883" fmla="*/ 11044 h 4687251"/>
              <a:gd name="connsiteX50884" fmla="*/ 2934507 w 8079933"/>
              <a:gd name="connsiteY50884" fmla="*/ 14833 h 4687251"/>
              <a:gd name="connsiteX50885" fmla="*/ 2936351 w 8079933"/>
              <a:gd name="connsiteY50885" fmla="*/ 17215 h 4687251"/>
              <a:gd name="connsiteX50886" fmla="*/ 2937003 w 8079933"/>
              <a:gd name="connsiteY50886" fmla="*/ 23061 h 4687251"/>
              <a:gd name="connsiteX50887" fmla="*/ 2934507 w 8079933"/>
              <a:gd name="connsiteY50887" fmla="*/ 28583 h 4687251"/>
              <a:gd name="connsiteX50888" fmla="*/ 2935591 w 8079933"/>
              <a:gd name="connsiteY50888" fmla="*/ 31182 h 4687251"/>
              <a:gd name="connsiteX50889" fmla="*/ 2939390 w 8079933"/>
              <a:gd name="connsiteY50889" fmla="*/ 30316 h 4687251"/>
              <a:gd name="connsiteX50890" fmla="*/ 2944599 w 8079933"/>
              <a:gd name="connsiteY50890" fmla="*/ 24361 h 4687251"/>
              <a:gd name="connsiteX50891" fmla="*/ 2951869 w 8079933"/>
              <a:gd name="connsiteY50891" fmla="*/ 19164 h 4687251"/>
              <a:gd name="connsiteX50892" fmla="*/ 2955016 w 8079933"/>
              <a:gd name="connsiteY50892" fmla="*/ 15267 h 4687251"/>
              <a:gd name="connsiteX50893" fmla="*/ 2959682 w 8079933"/>
              <a:gd name="connsiteY50893" fmla="*/ 15049 h 4687251"/>
              <a:gd name="connsiteX50894" fmla="*/ 2965217 w 8079933"/>
              <a:gd name="connsiteY50894" fmla="*/ 18298 h 4687251"/>
              <a:gd name="connsiteX50895" fmla="*/ 2971185 w 8079933"/>
              <a:gd name="connsiteY50895" fmla="*/ 18514 h 4687251"/>
              <a:gd name="connsiteX50896" fmla="*/ 2970534 w 8079933"/>
              <a:gd name="connsiteY50896" fmla="*/ 21655 h 4687251"/>
              <a:gd name="connsiteX50897" fmla="*/ 2965325 w 8079933"/>
              <a:gd name="connsiteY50897" fmla="*/ 26743 h 4687251"/>
              <a:gd name="connsiteX50898" fmla="*/ 2968147 w 8079933"/>
              <a:gd name="connsiteY50898" fmla="*/ 31182 h 4687251"/>
              <a:gd name="connsiteX50899" fmla="*/ 2970317 w 8079933"/>
              <a:gd name="connsiteY50899" fmla="*/ 29883 h 4687251"/>
              <a:gd name="connsiteX50900" fmla="*/ 2971511 w 8079933"/>
              <a:gd name="connsiteY50900" fmla="*/ 25552 h 4687251"/>
              <a:gd name="connsiteX50901" fmla="*/ 2976719 w 8079933"/>
              <a:gd name="connsiteY50901" fmla="*/ 21655 h 4687251"/>
              <a:gd name="connsiteX50902" fmla="*/ 2981386 w 8079933"/>
              <a:gd name="connsiteY50902" fmla="*/ 19814 h 4687251"/>
              <a:gd name="connsiteX50903" fmla="*/ 2988765 w 8079933"/>
              <a:gd name="connsiteY50903" fmla="*/ 23170 h 4687251"/>
              <a:gd name="connsiteX50904" fmla="*/ 2997772 w 8079933"/>
              <a:gd name="connsiteY50904" fmla="*/ 24902 h 4687251"/>
              <a:gd name="connsiteX50905" fmla="*/ 3000702 w 8079933"/>
              <a:gd name="connsiteY50905" fmla="*/ 28150 h 4687251"/>
              <a:gd name="connsiteX50906" fmla="*/ 2998314 w 8079933"/>
              <a:gd name="connsiteY50906" fmla="*/ 30641 h 4687251"/>
              <a:gd name="connsiteX50907" fmla="*/ 2995819 w 8079933"/>
              <a:gd name="connsiteY50907" fmla="*/ 31073 h 4687251"/>
              <a:gd name="connsiteX50908" fmla="*/ 2997229 w 8079933"/>
              <a:gd name="connsiteY50908" fmla="*/ 34646 h 4687251"/>
              <a:gd name="connsiteX50909" fmla="*/ 2993756 w 8079933"/>
              <a:gd name="connsiteY50909" fmla="*/ 37570 h 4687251"/>
              <a:gd name="connsiteX50910" fmla="*/ 2996144 w 8079933"/>
              <a:gd name="connsiteY50910" fmla="*/ 40710 h 4687251"/>
              <a:gd name="connsiteX50911" fmla="*/ 2999183 w 8079933"/>
              <a:gd name="connsiteY50911" fmla="*/ 38220 h 4687251"/>
              <a:gd name="connsiteX50912" fmla="*/ 3003632 w 8079933"/>
              <a:gd name="connsiteY50912" fmla="*/ 36271 h 4687251"/>
              <a:gd name="connsiteX50913" fmla="*/ 3004500 w 8079933"/>
              <a:gd name="connsiteY50913" fmla="*/ 41359 h 4687251"/>
              <a:gd name="connsiteX50914" fmla="*/ 3007430 w 8079933"/>
              <a:gd name="connsiteY50914" fmla="*/ 42550 h 4687251"/>
              <a:gd name="connsiteX50915" fmla="*/ 3010143 w 8079933"/>
              <a:gd name="connsiteY50915" fmla="*/ 38652 h 4687251"/>
              <a:gd name="connsiteX50916" fmla="*/ 3017413 w 8079933"/>
              <a:gd name="connsiteY50916" fmla="*/ 37570 h 4687251"/>
              <a:gd name="connsiteX50917" fmla="*/ 3017739 w 8079933"/>
              <a:gd name="connsiteY50917" fmla="*/ 41251 h 4687251"/>
              <a:gd name="connsiteX50918" fmla="*/ 3015135 w 8079933"/>
              <a:gd name="connsiteY50918" fmla="*/ 44066 h 4687251"/>
              <a:gd name="connsiteX50919" fmla="*/ 3016220 w 8079933"/>
              <a:gd name="connsiteY50919" fmla="*/ 47747 h 4687251"/>
              <a:gd name="connsiteX50920" fmla="*/ 3019475 w 8079933"/>
              <a:gd name="connsiteY50920" fmla="*/ 48613 h 4687251"/>
              <a:gd name="connsiteX50921" fmla="*/ 3021320 w 8079933"/>
              <a:gd name="connsiteY50921" fmla="*/ 46340 h 4687251"/>
              <a:gd name="connsiteX50922" fmla="*/ 3025443 w 8079933"/>
              <a:gd name="connsiteY50922" fmla="*/ 43633 h 4687251"/>
              <a:gd name="connsiteX50923" fmla="*/ 3027505 w 8079933"/>
              <a:gd name="connsiteY50923" fmla="*/ 43633 h 4687251"/>
              <a:gd name="connsiteX50924" fmla="*/ 3029241 w 8079933"/>
              <a:gd name="connsiteY50924" fmla="*/ 47422 h 4687251"/>
              <a:gd name="connsiteX50925" fmla="*/ 3037489 w 8079933"/>
              <a:gd name="connsiteY50925" fmla="*/ 52295 h 4687251"/>
              <a:gd name="connsiteX50926" fmla="*/ 3042155 w 8079933"/>
              <a:gd name="connsiteY50926" fmla="*/ 52295 h 4687251"/>
              <a:gd name="connsiteX50927" fmla="*/ 3043566 w 8079933"/>
              <a:gd name="connsiteY50927" fmla="*/ 54461 h 4687251"/>
              <a:gd name="connsiteX50928" fmla="*/ 3041179 w 8079933"/>
              <a:gd name="connsiteY50928" fmla="*/ 57275 h 4687251"/>
              <a:gd name="connsiteX50929" fmla="*/ 3032172 w 8079933"/>
              <a:gd name="connsiteY50929" fmla="*/ 61064 h 4687251"/>
              <a:gd name="connsiteX50930" fmla="*/ 3027614 w 8079933"/>
              <a:gd name="connsiteY50930" fmla="*/ 66912 h 4687251"/>
              <a:gd name="connsiteX50931" fmla="*/ 3022079 w 8079933"/>
              <a:gd name="connsiteY50931" fmla="*/ 67669 h 4687251"/>
              <a:gd name="connsiteX50932" fmla="*/ 3015460 w 8079933"/>
              <a:gd name="connsiteY50932" fmla="*/ 71242 h 4687251"/>
              <a:gd name="connsiteX50933" fmla="*/ 3011879 w 8079933"/>
              <a:gd name="connsiteY50933" fmla="*/ 71458 h 4687251"/>
              <a:gd name="connsiteX50934" fmla="*/ 3008081 w 8079933"/>
              <a:gd name="connsiteY50934" fmla="*/ 69726 h 4687251"/>
              <a:gd name="connsiteX50935" fmla="*/ 3006019 w 8079933"/>
              <a:gd name="connsiteY50935" fmla="*/ 72433 h 4687251"/>
              <a:gd name="connsiteX50936" fmla="*/ 2999074 w 8079933"/>
              <a:gd name="connsiteY50936" fmla="*/ 74491 h 4687251"/>
              <a:gd name="connsiteX50937" fmla="*/ 3009166 w 8079933"/>
              <a:gd name="connsiteY50937" fmla="*/ 73949 h 4687251"/>
              <a:gd name="connsiteX50938" fmla="*/ 3018499 w 8079933"/>
              <a:gd name="connsiteY50938" fmla="*/ 75248 h 4687251"/>
              <a:gd name="connsiteX50939" fmla="*/ 3022079 w 8079933"/>
              <a:gd name="connsiteY50939" fmla="*/ 77305 h 4687251"/>
              <a:gd name="connsiteX50940" fmla="*/ 3025552 w 8079933"/>
              <a:gd name="connsiteY50940" fmla="*/ 77305 h 4687251"/>
              <a:gd name="connsiteX50941" fmla="*/ 3028265 w 8079933"/>
              <a:gd name="connsiteY50941" fmla="*/ 73083 h 4687251"/>
              <a:gd name="connsiteX50942" fmla="*/ 3030544 w 8079933"/>
              <a:gd name="connsiteY50942" fmla="*/ 71350 h 4687251"/>
              <a:gd name="connsiteX50943" fmla="*/ 3035427 w 8079933"/>
              <a:gd name="connsiteY50943" fmla="*/ 71458 h 4687251"/>
              <a:gd name="connsiteX50944" fmla="*/ 3038031 w 8079933"/>
              <a:gd name="connsiteY50944" fmla="*/ 66803 h 4687251"/>
              <a:gd name="connsiteX50945" fmla="*/ 3044651 w 8079933"/>
              <a:gd name="connsiteY50945" fmla="*/ 63446 h 4687251"/>
              <a:gd name="connsiteX50946" fmla="*/ 3050077 w 8079933"/>
              <a:gd name="connsiteY50946" fmla="*/ 63014 h 4687251"/>
              <a:gd name="connsiteX50947" fmla="*/ 3051271 w 8079933"/>
              <a:gd name="connsiteY50947" fmla="*/ 66586 h 4687251"/>
              <a:gd name="connsiteX50948" fmla="*/ 3048775 w 8079933"/>
              <a:gd name="connsiteY50948" fmla="*/ 71783 h 4687251"/>
              <a:gd name="connsiteX50949" fmla="*/ 3050728 w 8079933"/>
              <a:gd name="connsiteY50949" fmla="*/ 74274 h 4687251"/>
              <a:gd name="connsiteX50950" fmla="*/ 3052898 w 8079933"/>
              <a:gd name="connsiteY50950" fmla="*/ 73083 h 4687251"/>
              <a:gd name="connsiteX50951" fmla="*/ 3055394 w 8079933"/>
              <a:gd name="connsiteY50951" fmla="*/ 67886 h 4687251"/>
              <a:gd name="connsiteX50952" fmla="*/ 3060169 w 8079933"/>
              <a:gd name="connsiteY50952" fmla="*/ 64421 h 4687251"/>
              <a:gd name="connsiteX50953" fmla="*/ 3062122 w 8079933"/>
              <a:gd name="connsiteY50953" fmla="*/ 66370 h 4687251"/>
              <a:gd name="connsiteX50954" fmla="*/ 3059735 w 8079933"/>
              <a:gd name="connsiteY50954" fmla="*/ 70593 h 4687251"/>
              <a:gd name="connsiteX50955" fmla="*/ 3059626 w 8079933"/>
              <a:gd name="connsiteY50955" fmla="*/ 73083 h 4687251"/>
              <a:gd name="connsiteX50956" fmla="*/ 3057239 w 8079933"/>
              <a:gd name="connsiteY50956" fmla="*/ 76222 h 4687251"/>
              <a:gd name="connsiteX50957" fmla="*/ 3059192 w 8079933"/>
              <a:gd name="connsiteY50957" fmla="*/ 78605 h 4687251"/>
              <a:gd name="connsiteX50958" fmla="*/ 3062665 w 8079933"/>
              <a:gd name="connsiteY50958" fmla="*/ 77305 h 4687251"/>
              <a:gd name="connsiteX50959" fmla="*/ 3065160 w 8079933"/>
              <a:gd name="connsiteY50959" fmla="*/ 74923 h 4687251"/>
              <a:gd name="connsiteX50960" fmla="*/ 3065920 w 8079933"/>
              <a:gd name="connsiteY50960" fmla="*/ 70809 h 4687251"/>
              <a:gd name="connsiteX50961" fmla="*/ 3071238 w 8079933"/>
              <a:gd name="connsiteY50961" fmla="*/ 69618 h 4687251"/>
              <a:gd name="connsiteX50962" fmla="*/ 3075144 w 8079933"/>
              <a:gd name="connsiteY50962" fmla="*/ 70809 h 4687251"/>
              <a:gd name="connsiteX50963" fmla="*/ 3072540 w 8079933"/>
              <a:gd name="connsiteY50963" fmla="*/ 80770 h 4687251"/>
              <a:gd name="connsiteX50964" fmla="*/ 3069393 w 8079933"/>
              <a:gd name="connsiteY50964" fmla="*/ 82503 h 4687251"/>
              <a:gd name="connsiteX50965" fmla="*/ 3071455 w 8079933"/>
              <a:gd name="connsiteY50965" fmla="*/ 83801 h 4687251"/>
              <a:gd name="connsiteX50966" fmla="*/ 3073083 w 8079933"/>
              <a:gd name="connsiteY50966" fmla="*/ 88890 h 4687251"/>
              <a:gd name="connsiteX50967" fmla="*/ 3072323 w 8079933"/>
              <a:gd name="connsiteY50967" fmla="*/ 95170 h 4687251"/>
              <a:gd name="connsiteX50968" fmla="*/ 3068308 w 8079933"/>
              <a:gd name="connsiteY50968" fmla="*/ 97876 h 4687251"/>
              <a:gd name="connsiteX50969" fmla="*/ 3067114 w 8079933"/>
              <a:gd name="connsiteY50969" fmla="*/ 101449 h 4687251"/>
              <a:gd name="connsiteX50970" fmla="*/ 3061580 w 8079933"/>
              <a:gd name="connsiteY50970" fmla="*/ 109029 h 4687251"/>
              <a:gd name="connsiteX50971" fmla="*/ 3063424 w 8079933"/>
              <a:gd name="connsiteY50971" fmla="*/ 110761 h 4687251"/>
              <a:gd name="connsiteX50972" fmla="*/ 3066680 w 8079933"/>
              <a:gd name="connsiteY50972" fmla="*/ 109461 h 4687251"/>
              <a:gd name="connsiteX50973" fmla="*/ 3069610 w 8079933"/>
              <a:gd name="connsiteY50973" fmla="*/ 104806 h 4687251"/>
              <a:gd name="connsiteX50974" fmla="*/ 3073951 w 8079933"/>
              <a:gd name="connsiteY50974" fmla="*/ 104589 h 4687251"/>
              <a:gd name="connsiteX50975" fmla="*/ 3074927 w 8079933"/>
              <a:gd name="connsiteY50975" fmla="*/ 103399 h 4687251"/>
              <a:gd name="connsiteX50976" fmla="*/ 3078291 w 8079933"/>
              <a:gd name="connsiteY50976" fmla="*/ 103399 h 4687251"/>
              <a:gd name="connsiteX50977" fmla="*/ 3084042 w 8079933"/>
              <a:gd name="connsiteY50977" fmla="*/ 107080 h 4687251"/>
              <a:gd name="connsiteX50978" fmla="*/ 3086430 w 8079933"/>
              <a:gd name="connsiteY50978" fmla="*/ 112601 h 4687251"/>
              <a:gd name="connsiteX50979" fmla="*/ 3087081 w 8079933"/>
              <a:gd name="connsiteY50979" fmla="*/ 119856 h 4687251"/>
              <a:gd name="connsiteX50980" fmla="*/ 3085345 w 8079933"/>
              <a:gd name="connsiteY50980" fmla="*/ 131007 h 4687251"/>
              <a:gd name="connsiteX50981" fmla="*/ 3079594 w 8079933"/>
              <a:gd name="connsiteY50981" fmla="*/ 141618 h 4687251"/>
              <a:gd name="connsiteX50982" fmla="*/ 3070586 w 8079933"/>
              <a:gd name="connsiteY50982" fmla="*/ 146598 h 4687251"/>
              <a:gd name="connsiteX50983" fmla="*/ 3068416 w 8079933"/>
              <a:gd name="connsiteY50983" fmla="*/ 148764 h 4687251"/>
              <a:gd name="connsiteX50984" fmla="*/ 3063750 w 8079933"/>
              <a:gd name="connsiteY50984" fmla="*/ 147681 h 4687251"/>
              <a:gd name="connsiteX50985" fmla="*/ 3059517 w 8079933"/>
              <a:gd name="connsiteY50985" fmla="*/ 149196 h 4687251"/>
              <a:gd name="connsiteX50986" fmla="*/ 3059626 w 8079933"/>
              <a:gd name="connsiteY50986" fmla="*/ 151688 h 4687251"/>
              <a:gd name="connsiteX50987" fmla="*/ 3056696 w 8079933"/>
              <a:gd name="connsiteY50987" fmla="*/ 154286 h 4687251"/>
              <a:gd name="connsiteX50988" fmla="*/ 3042264 w 8079933"/>
              <a:gd name="connsiteY50988" fmla="*/ 161323 h 4687251"/>
              <a:gd name="connsiteX50989" fmla="*/ 3036838 w 8079933"/>
              <a:gd name="connsiteY50989" fmla="*/ 165221 h 4687251"/>
              <a:gd name="connsiteX50990" fmla="*/ 3032172 w 8079933"/>
              <a:gd name="connsiteY50990" fmla="*/ 166304 h 4687251"/>
              <a:gd name="connsiteX50991" fmla="*/ 3025660 w 8079933"/>
              <a:gd name="connsiteY50991" fmla="*/ 168902 h 4687251"/>
              <a:gd name="connsiteX50992" fmla="*/ 3018716 w 8079933"/>
              <a:gd name="connsiteY50992" fmla="*/ 169010 h 4687251"/>
              <a:gd name="connsiteX50993" fmla="*/ 3015351 w 8079933"/>
              <a:gd name="connsiteY50993" fmla="*/ 165653 h 4687251"/>
              <a:gd name="connsiteX50994" fmla="*/ 3013181 w 8079933"/>
              <a:gd name="connsiteY50994" fmla="*/ 170418 h 4687251"/>
              <a:gd name="connsiteX50995" fmla="*/ 3010685 w 8079933"/>
              <a:gd name="connsiteY50995" fmla="*/ 171825 h 4687251"/>
              <a:gd name="connsiteX50996" fmla="*/ 3005260 w 8079933"/>
              <a:gd name="connsiteY50996" fmla="*/ 167819 h 4687251"/>
              <a:gd name="connsiteX50997" fmla="*/ 2999834 w 8079933"/>
              <a:gd name="connsiteY50997" fmla="*/ 165329 h 4687251"/>
              <a:gd name="connsiteX50998" fmla="*/ 2992455 w 8079933"/>
              <a:gd name="connsiteY50998" fmla="*/ 163922 h 4687251"/>
              <a:gd name="connsiteX50999" fmla="*/ 2992455 w 8079933"/>
              <a:gd name="connsiteY50999" fmla="*/ 167278 h 4687251"/>
              <a:gd name="connsiteX51000" fmla="*/ 2998097 w 8079933"/>
              <a:gd name="connsiteY51000" fmla="*/ 168469 h 4687251"/>
              <a:gd name="connsiteX51001" fmla="*/ 3001244 w 8079933"/>
              <a:gd name="connsiteY51001" fmla="*/ 170093 h 4687251"/>
              <a:gd name="connsiteX51002" fmla="*/ 2997555 w 8079933"/>
              <a:gd name="connsiteY51002" fmla="*/ 172150 h 4687251"/>
              <a:gd name="connsiteX51003" fmla="*/ 2991261 w 8079933"/>
              <a:gd name="connsiteY51003" fmla="*/ 170634 h 4687251"/>
              <a:gd name="connsiteX51004" fmla="*/ 2988005 w 8079933"/>
              <a:gd name="connsiteY51004" fmla="*/ 171176 h 4687251"/>
              <a:gd name="connsiteX51005" fmla="*/ 2984967 w 8079933"/>
              <a:gd name="connsiteY51005" fmla="*/ 168794 h 4687251"/>
              <a:gd name="connsiteX51006" fmla="*/ 2976177 w 8079933"/>
              <a:gd name="connsiteY51006" fmla="*/ 168253 h 4687251"/>
              <a:gd name="connsiteX51007" fmla="*/ 2973573 w 8079933"/>
              <a:gd name="connsiteY51007" fmla="*/ 165545 h 4687251"/>
              <a:gd name="connsiteX51008" fmla="*/ 2970752 w 8079933"/>
              <a:gd name="connsiteY51008" fmla="*/ 167061 h 4687251"/>
              <a:gd name="connsiteX51009" fmla="*/ 2968147 w 8079933"/>
              <a:gd name="connsiteY51009" fmla="*/ 167278 h 4687251"/>
              <a:gd name="connsiteX51010" fmla="*/ 2960984 w 8079933"/>
              <a:gd name="connsiteY51010" fmla="*/ 158616 h 4687251"/>
              <a:gd name="connsiteX51011" fmla="*/ 2956210 w 8079933"/>
              <a:gd name="connsiteY51011" fmla="*/ 153636 h 4687251"/>
              <a:gd name="connsiteX51012" fmla="*/ 2957186 w 8079933"/>
              <a:gd name="connsiteY51012" fmla="*/ 158941 h 4687251"/>
              <a:gd name="connsiteX51013" fmla="*/ 2962287 w 8079933"/>
              <a:gd name="connsiteY51013" fmla="*/ 163922 h 4687251"/>
              <a:gd name="connsiteX51014" fmla="*/ 2963155 w 8079933"/>
              <a:gd name="connsiteY51014" fmla="*/ 166953 h 4687251"/>
              <a:gd name="connsiteX51015" fmla="*/ 2958923 w 8079933"/>
              <a:gd name="connsiteY51015" fmla="*/ 167278 h 4687251"/>
              <a:gd name="connsiteX51016" fmla="*/ 2952195 w 8079933"/>
              <a:gd name="connsiteY51016" fmla="*/ 164679 h 4687251"/>
              <a:gd name="connsiteX51017" fmla="*/ 2954800 w 8079933"/>
              <a:gd name="connsiteY51017" fmla="*/ 168577 h 4687251"/>
              <a:gd name="connsiteX51018" fmla="*/ 2970317 w 8079933"/>
              <a:gd name="connsiteY51018" fmla="*/ 170959 h 4687251"/>
              <a:gd name="connsiteX51019" fmla="*/ 2979649 w 8079933"/>
              <a:gd name="connsiteY51019" fmla="*/ 172908 h 4687251"/>
              <a:gd name="connsiteX51020" fmla="*/ 2982362 w 8079933"/>
              <a:gd name="connsiteY51020" fmla="*/ 175723 h 4687251"/>
              <a:gd name="connsiteX51021" fmla="*/ 2979324 w 8079933"/>
              <a:gd name="connsiteY51021" fmla="*/ 178538 h 4687251"/>
              <a:gd name="connsiteX51022" fmla="*/ 2958163 w 8079933"/>
              <a:gd name="connsiteY51022" fmla="*/ 186875 h 4687251"/>
              <a:gd name="connsiteX51023" fmla="*/ 2944924 w 8079933"/>
              <a:gd name="connsiteY51023" fmla="*/ 189040 h 4687251"/>
              <a:gd name="connsiteX51024" fmla="*/ 2939498 w 8079933"/>
              <a:gd name="connsiteY51024" fmla="*/ 188932 h 4687251"/>
              <a:gd name="connsiteX51025" fmla="*/ 2932228 w 8079933"/>
              <a:gd name="connsiteY51025" fmla="*/ 190665 h 4687251"/>
              <a:gd name="connsiteX51026" fmla="*/ 2926042 w 8079933"/>
              <a:gd name="connsiteY51026" fmla="*/ 189690 h 4687251"/>
              <a:gd name="connsiteX51027" fmla="*/ 2925065 w 8079933"/>
              <a:gd name="connsiteY51027" fmla="*/ 186767 h 4687251"/>
              <a:gd name="connsiteX51028" fmla="*/ 2920508 w 8079933"/>
              <a:gd name="connsiteY51028" fmla="*/ 188607 h 4687251"/>
              <a:gd name="connsiteX51029" fmla="*/ 2917036 w 8079933"/>
              <a:gd name="connsiteY51029" fmla="*/ 187633 h 4687251"/>
              <a:gd name="connsiteX51030" fmla="*/ 2912261 w 8079933"/>
              <a:gd name="connsiteY51030" fmla="*/ 188499 h 4687251"/>
              <a:gd name="connsiteX51031" fmla="*/ 2909873 w 8079933"/>
              <a:gd name="connsiteY51031" fmla="*/ 192830 h 4687251"/>
              <a:gd name="connsiteX51032" fmla="*/ 2914539 w 8079933"/>
              <a:gd name="connsiteY51032" fmla="*/ 192397 h 4687251"/>
              <a:gd name="connsiteX51033" fmla="*/ 2915408 w 8079933"/>
              <a:gd name="connsiteY51033" fmla="*/ 196944 h 4687251"/>
              <a:gd name="connsiteX51034" fmla="*/ 2922136 w 8079933"/>
              <a:gd name="connsiteY51034" fmla="*/ 193155 h 4687251"/>
              <a:gd name="connsiteX51035" fmla="*/ 2935483 w 8079933"/>
              <a:gd name="connsiteY51035" fmla="*/ 193155 h 4687251"/>
              <a:gd name="connsiteX51036" fmla="*/ 2941561 w 8079933"/>
              <a:gd name="connsiteY51036" fmla="*/ 194238 h 4687251"/>
              <a:gd name="connsiteX51037" fmla="*/ 2959357 w 8079933"/>
              <a:gd name="connsiteY51037" fmla="*/ 192830 h 4687251"/>
              <a:gd name="connsiteX51038" fmla="*/ 2971402 w 8079933"/>
              <a:gd name="connsiteY51038" fmla="*/ 190881 h 4687251"/>
              <a:gd name="connsiteX51039" fmla="*/ 2978999 w 8079933"/>
              <a:gd name="connsiteY51039" fmla="*/ 183302 h 4687251"/>
              <a:gd name="connsiteX51040" fmla="*/ 2984207 w 8079933"/>
              <a:gd name="connsiteY51040" fmla="*/ 183085 h 4687251"/>
              <a:gd name="connsiteX51041" fmla="*/ 2988005 w 8079933"/>
              <a:gd name="connsiteY51041" fmla="*/ 184493 h 4687251"/>
              <a:gd name="connsiteX51042" fmla="*/ 2993539 w 8079933"/>
              <a:gd name="connsiteY51042" fmla="*/ 183410 h 4687251"/>
              <a:gd name="connsiteX51043" fmla="*/ 3001136 w 8079933"/>
              <a:gd name="connsiteY51043" fmla="*/ 183518 h 4687251"/>
              <a:gd name="connsiteX51044" fmla="*/ 2998206 w 8079933"/>
              <a:gd name="connsiteY51044" fmla="*/ 190231 h 4687251"/>
              <a:gd name="connsiteX51045" fmla="*/ 2994624 w 8079933"/>
              <a:gd name="connsiteY51045" fmla="*/ 197052 h 4687251"/>
              <a:gd name="connsiteX51046" fmla="*/ 2986486 w 8079933"/>
              <a:gd name="connsiteY51046" fmla="*/ 201166 h 4687251"/>
              <a:gd name="connsiteX51047" fmla="*/ 2983990 w 8079933"/>
              <a:gd name="connsiteY51047" fmla="*/ 203116 h 4687251"/>
              <a:gd name="connsiteX51048" fmla="*/ 2974766 w 8079933"/>
              <a:gd name="connsiteY51048" fmla="*/ 204848 h 4687251"/>
              <a:gd name="connsiteX51049" fmla="*/ 2971077 w 8079933"/>
              <a:gd name="connsiteY51049" fmla="*/ 209936 h 4687251"/>
              <a:gd name="connsiteX51050" fmla="*/ 2967604 w 8079933"/>
              <a:gd name="connsiteY51050" fmla="*/ 210478 h 4687251"/>
              <a:gd name="connsiteX51051" fmla="*/ 2962179 w 8079933"/>
              <a:gd name="connsiteY51051" fmla="*/ 215675 h 4687251"/>
              <a:gd name="connsiteX51052" fmla="*/ 2954800 w 8079933"/>
              <a:gd name="connsiteY51052" fmla="*/ 219031 h 4687251"/>
              <a:gd name="connsiteX51053" fmla="*/ 2949916 w 8079933"/>
              <a:gd name="connsiteY51053" fmla="*/ 219465 h 4687251"/>
              <a:gd name="connsiteX51054" fmla="*/ 2946552 w 8079933"/>
              <a:gd name="connsiteY51054" fmla="*/ 220872 h 4687251"/>
              <a:gd name="connsiteX51055" fmla="*/ 2941452 w 8079933"/>
              <a:gd name="connsiteY51055" fmla="*/ 220005 h 4687251"/>
              <a:gd name="connsiteX51056" fmla="*/ 2936786 w 8079933"/>
              <a:gd name="connsiteY51056" fmla="*/ 224228 h 4687251"/>
              <a:gd name="connsiteX51057" fmla="*/ 2927995 w 8079933"/>
              <a:gd name="connsiteY51057" fmla="*/ 226069 h 4687251"/>
              <a:gd name="connsiteX51058" fmla="*/ 2925065 w 8079933"/>
              <a:gd name="connsiteY51058" fmla="*/ 230941 h 4687251"/>
              <a:gd name="connsiteX51059" fmla="*/ 2915516 w 8079933"/>
              <a:gd name="connsiteY51059" fmla="*/ 232673 h 4687251"/>
              <a:gd name="connsiteX51060" fmla="*/ 2911393 w 8079933"/>
              <a:gd name="connsiteY51060" fmla="*/ 234948 h 4687251"/>
              <a:gd name="connsiteX51061" fmla="*/ 2907920 w 8079933"/>
              <a:gd name="connsiteY51061" fmla="*/ 233972 h 4687251"/>
              <a:gd name="connsiteX51062" fmla="*/ 2903905 w 8079933"/>
              <a:gd name="connsiteY51062" fmla="*/ 237762 h 4687251"/>
              <a:gd name="connsiteX51063" fmla="*/ 2899890 w 8079933"/>
              <a:gd name="connsiteY51063" fmla="*/ 237329 h 4687251"/>
              <a:gd name="connsiteX51064" fmla="*/ 2898154 w 8079933"/>
              <a:gd name="connsiteY51064" fmla="*/ 239278 h 4687251"/>
              <a:gd name="connsiteX51065" fmla="*/ 2898371 w 8079933"/>
              <a:gd name="connsiteY51065" fmla="*/ 244475 h 4687251"/>
              <a:gd name="connsiteX51066" fmla="*/ 2893596 w 8079933"/>
              <a:gd name="connsiteY51066" fmla="*/ 248264 h 4687251"/>
              <a:gd name="connsiteX51067" fmla="*/ 2890775 w 8079933"/>
              <a:gd name="connsiteY51067" fmla="*/ 252270 h 4687251"/>
              <a:gd name="connsiteX51068" fmla="*/ 2879489 w 8079933"/>
              <a:gd name="connsiteY51068" fmla="*/ 252486 h 4687251"/>
              <a:gd name="connsiteX51069" fmla="*/ 2876341 w 8079933"/>
              <a:gd name="connsiteY51069" fmla="*/ 254868 h 4687251"/>
              <a:gd name="connsiteX51070" fmla="*/ 2872761 w 8079933"/>
              <a:gd name="connsiteY51070" fmla="*/ 253678 h 4687251"/>
              <a:gd name="connsiteX51071" fmla="*/ 2871893 w 8079933"/>
              <a:gd name="connsiteY51071" fmla="*/ 250863 h 4687251"/>
              <a:gd name="connsiteX51072" fmla="*/ 2873955 w 8079933"/>
              <a:gd name="connsiteY51072" fmla="*/ 247831 h 4687251"/>
              <a:gd name="connsiteX51073" fmla="*/ 2873955 w 8079933"/>
              <a:gd name="connsiteY51073" fmla="*/ 243717 h 4687251"/>
              <a:gd name="connsiteX51074" fmla="*/ 2870807 w 8079933"/>
              <a:gd name="connsiteY51074" fmla="*/ 241119 h 4687251"/>
              <a:gd name="connsiteX51075" fmla="*/ 2871675 w 8079933"/>
              <a:gd name="connsiteY51075" fmla="*/ 247615 h 4687251"/>
              <a:gd name="connsiteX51076" fmla="*/ 2869397 w 8079933"/>
              <a:gd name="connsiteY51076" fmla="*/ 250105 h 4687251"/>
              <a:gd name="connsiteX51077" fmla="*/ 2867769 w 8079933"/>
              <a:gd name="connsiteY51077" fmla="*/ 253678 h 4687251"/>
              <a:gd name="connsiteX51078" fmla="*/ 2873195 w 8079933"/>
              <a:gd name="connsiteY51078" fmla="*/ 257142 h 4687251"/>
              <a:gd name="connsiteX51079" fmla="*/ 2874388 w 8079933"/>
              <a:gd name="connsiteY51079" fmla="*/ 260715 h 4687251"/>
              <a:gd name="connsiteX51080" fmla="*/ 2869614 w 8079933"/>
              <a:gd name="connsiteY51080" fmla="*/ 265696 h 4687251"/>
              <a:gd name="connsiteX51081" fmla="*/ 2867443 w 8079933"/>
              <a:gd name="connsiteY51081" fmla="*/ 266129 h 4687251"/>
              <a:gd name="connsiteX51082" fmla="*/ 2862560 w 8079933"/>
              <a:gd name="connsiteY51082" fmla="*/ 262664 h 4687251"/>
              <a:gd name="connsiteX51083" fmla="*/ 2859521 w 8079933"/>
              <a:gd name="connsiteY51083" fmla="*/ 264505 h 4687251"/>
              <a:gd name="connsiteX51084" fmla="*/ 2851275 w 8079933"/>
              <a:gd name="connsiteY51084" fmla="*/ 261690 h 4687251"/>
              <a:gd name="connsiteX51085" fmla="*/ 2848562 w 8079933"/>
              <a:gd name="connsiteY51085" fmla="*/ 263639 h 4687251"/>
              <a:gd name="connsiteX51086" fmla="*/ 2845414 w 8079933"/>
              <a:gd name="connsiteY51086" fmla="*/ 263964 h 4687251"/>
              <a:gd name="connsiteX51087" fmla="*/ 2844872 w 8079933"/>
              <a:gd name="connsiteY51087" fmla="*/ 259850 h 4687251"/>
              <a:gd name="connsiteX51088" fmla="*/ 2842919 w 8079933"/>
              <a:gd name="connsiteY51088" fmla="*/ 258225 h 4687251"/>
              <a:gd name="connsiteX51089" fmla="*/ 2841074 w 8079933"/>
              <a:gd name="connsiteY51089" fmla="*/ 262448 h 4687251"/>
              <a:gd name="connsiteX51090" fmla="*/ 2836950 w 8079933"/>
              <a:gd name="connsiteY51090" fmla="*/ 262772 h 4687251"/>
              <a:gd name="connsiteX51091" fmla="*/ 2836082 w 8079933"/>
              <a:gd name="connsiteY51091" fmla="*/ 265370 h 4687251"/>
              <a:gd name="connsiteX51092" fmla="*/ 2845197 w 8079933"/>
              <a:gd name="connsiteY51092" fmla="*/ 267319 h 4687251"/>
              <a:gd name="connsiteX51093" fmla="*/ 2857785 w 8079933"/>
              <a:gd name="connsiteY51093" fmla="*/ 267537 h 4687251"/>
              <a:gd name="connsiteX51094" fmla="*/ 2860607 w 8079933"/>
              <a:gd name="connsiteY51094" fmla="*/ 271325 h 4687251"/>
              <a:gd name="connsiteX51095" fmla="*/ 2859630 w 8079933"/>
              <a:gd name="connsiteY51095" fmla="*/ 275440 h 4687251"/>
              <a:gd name="connsiteX51096" fmla="*/ 2854855 w 8079933"/>
              <a:gd name="connsiteY51096" fmla="*/ 278363 h 4687251"/>
              <a:gd name="connsiteX51097" fmla="*/ 2848670 w 8079933"/>
              <a:gd name="connsiteY51097" fmla="*/ 277281 h 4687251"/>
              <a:gd name="connsiteX51098" fmla="*/ 2842376 w 8079933"/>
              <a:gd name="connsiteY51098" fmla="*/ 278797 h 4687251"/>
              <a:gd name="connsiteX51099" fmla="*/ 2840639 w 8079933"/>
              <a:gd name="connsiteY51099" fmla="*/ 280529 h 4687251"/>
              <a:gd name="connsiteX51100" fmla="*/ 2842810 w 8079933"/>
              <a:gd name="connsiteY51100" fmla="*/ 282370 h 4687251"/>
              <a:gd name="connsiteX51101" fmla="*/ 2845089 w 8079933"/>
              <a:gd name="connsiteY51101" fmla="*/ 281070 h 4687251"/>
              <a:gd name="connsiteX51102" fmla="*/ 2848344 w 8079933"/>
              <a:gd name="connsiteY51102" fmla="*/ 283127 h 4687251"/>
              <a:gd name="connsiteX51103" fmla="*/ 2847802 w 8079933"/>
              <a:gd name="connsiteY51103" fmla="*/ 286917 h 4687251"/>
              <a:gd name="connsiteX51104" fmla="*/ 2840097 w 8079933"/>
              <a:gd name="connsiteY51104" fmla="*/ 294279 h 4687251"/>
              <a:gd name="connsiteX51105" fmla="*/ 2833478 w 8079933"/>
              <a:gd name="connsiteY51105" fmla="*/ 293846 h 4687251"/>
              <a:gd name="connsiteX51106" fmla="*/ 2821649 w 8079933"/>
              <a:gd name="connsiteY51106" fmla="*/ 293629 h 4687251"/>
              <a:gd name="connsiteX51107" fmla="*/ 2820021 w 8079933"/>
              <a:gd name="connsiteY51107" fmla="*/ 291139 h 4687251"/>
              <a:gd name="connsiteX51108" fmla="*/ 2815138 w 8079933"/>
              <a:gd name="connsiteY51108" fmla="*/ 290598 h 4687251"/>
              <a:gd name="connsiteX51109" fmla="*/ 2813619 w 8079933"/>
              <a:gd name="connsiteY51109" fmla="*/ 288216 h 4687251"/>
              <a:gd name="connsiteX51110" fmla="*/ 2812968 w 8079933"/>
              <a:gd name="connsiteY51110" fmla="*/ 280312 h 4687251"/>
              <a:gd name="connsiteX51111" fmla="*/ 2806349 w 8079933"/>
              <a:gd name="connsiteY51111" fmla="*/ 279121 h 4687251"/>
              <a:gd name="connsiteX51112" fmla="*/ 2804287 w 8079933"/>
              <a:gd name="connsiteY51112" fmla="*/ 276847 h 4687251"/>
              <a:gd name="connsiteX51113" fmla="*/ 2804612 w 8079933"/>
              <a:gd name="connsiteY51113" fmla="*/ 272517 h 4687251"/>
              <a:gd name="connsiteX51114" fmla="*/ 2801574 w 8079933"/>
              <a:gd name="connsiteY51114" fmla="*/ 269919 h 4687251"/>
              <a:gd name="connsiteX51115" fmla="*/ 2798861 w 8079933"/>
              <a:gd name="connsiteY51115" fmla="*/ 271217 h 4687251"/>
              <a:gd name="connsiteX51116" fmla="*/ 2795605 w 8079933"/>
              <a:gd name="connsiteY51116" fmla="*/ 270027 h 4687251"/>
              <a:gd name="connsiteX51117" fmla="*/ 2787901 w 8079933"/>
              <a:gd name="connsiteY51117" fmla="*/ 271001 h 4687251"/>
              <a:gd name="connsiteX51118" fmla="*/ 2787467 w 8079933"/>
              <a:gd name="connsiteY51118" fmla="*/ 273383 h 4687251"/>
              <a:gd name="connsiteX51119" fmla="*/ 2790505 w 8079933"/>
              <a:gd name="connsiteY51119" fmla="*/ 275007 h 4687251"/>
              <a:gd name="connsiteX51120" fmla="*/ 2792133 w 8079933"/>
              <a:gd name="connsiteY51120" fmla="*/ 273708 h 4687251"/>
              <a:gd name="connsiteX51121" fmla="*/ 2795931 w 8079933"/>
              <a:gd name="connsiteY51121" fmla="*/ 274141 h 4687251"/>
              <a:gd name="connsiteX51122" fmla="*/ 2806349 w 8079933"/>
              <a:gd name="connsiteY51122" fmla="*/ 284318 h 4687251"/>
              <a:gd name="connsiteX51123" fmla="*/ 2806023 w 8079933"/>
              <a:gd name="connsiteY51123" fmla="*/ 297635 h 4687251"/>
              <a:gd name="connsiteX51124" fmla="*/ 2804395 w 8079933"/>
              <a:gd name="connsiteY51124" fmla="*/ 299909 h 4687251"/>
              <a:gd name="connsiteX51125" fmla="*/ 2799295 w 8079933"/>
              <a:gd name="connsiteY51125" fmla="*/ 299259 h 4687251"/>
              <a:gd name="connsiteX51126" fmla="*/ 2795063 w 8079933"/>
              <a:gd name="connsiteY51126" fmla="*/ 295362 h 4687251"/>
              <a:gd name="connsiteX51127" fmla="*/ 2792350 w 8079933"/>
              <a:gd name="connsiteY51127" fmla="*/ 295795 h 4687251"/>
              <a:gd name="connsiteX51128" fmla="*/ 2792133 w 8079933"/>
              <a:gd name="connsiteY51128" fmla="*/ 299584 h 4687251"/>
              <a:gd name="connsiteX51129" fmla="*/ 2790288 w 8079933"/>
              <a:gd name="connsiteY51129" fmla="*/ 300992 h 4687251"/>
              <a:gd name="connsiteX51130" fmla="*/ 2785839 w 8079933"/>
              <a:gd name="connsiteY51130" fmla="*/ 296337 h 4687251"/>
              <a:gd name="connsiteX51131" fmla="*/ 2781932 w 8079933"/>
              <a:gd name="connsiteY51131" fmla="*/ 296661 h 4687251"/>
              <a:gd name="connsiteX51132" fmla="*/ 2778676 w 8079933"/>
              <a:gd name="connsiteY51132" fmla="*/ 300451 h 4687251"/>
              <a:gd name="connsiteX51133" fmla="*/ 2776506 w 8079933"/>
              <a:gd name="connsiteY51133" fmla="*/ 300017 h 4687251"/>
              <a:gd name="connsiteX51134" fmla="*/ 2774336 w 8079933"/>
              <a:gd name="connsiteY51134" fmla="*/ 297094 h 4687251"/>
              <a:gd name="connsiteX51135" fmla="*/ 2769453 w 8079933"/>
              <a:gd name="connsiteY51135" fmla="*/ 295795 h 4687251"/>
              <a:gd name="connsiteX51136" fmla="*/ 2766414 w 8079933"/>
              <a:gd name="connsiteY51136" fmla="*/ 290814 h 4687251"/>
              <a:gd name="connsiteX51137" fmla="*/ 2763810 w 8079933"/>
              <a:gd name="connsiteY51137" fmla="*/ 292439 h 4687251"/>
              <a:gd name="connsiteX51138" fmla="*/ 2762616 w 8079933"/>
              <a:gd name="connsiteY51138" fmla="*/ 287350 h 4687251"/>
              <a:gd name="connsiteX51139" fmla="*/ 2760120 w 8079933"/>
              <a:gd name="connsiteY51139" fmla="*/ 285726 h 4687251"/>
              <a:gd name="connsiteX51140" fmla="*/ 2753067 w 8079933"/>
              <a:gd name="connsiteY51140" fmla="*/ 285076 h 4687251"/>
              <a:gd name="connsiteX51141" fmla="*/ 2750354 w 8079933"/>
              <a:gd name="connsiteY51141" fmla="*/ 281178 h 4687251"/>
              <a:gd name="connsiteX51142" fmla="*/ 2748617 w 8079933"/>
              <a:gd name="connsiteY51142" fmla="*/ 282802 h 4687251"/>
              <a:gd name="connsiteX51143" fmla="*/ 2749160 w 8079933"/>
              <a:gd name="connsiteY51143" fmla="*/ 286159 h 4687251"/>
              <a:gd name="connsiteX51144" fmla="*/ 2753610 w 8079933"/>
              <a:gd name="connsiteY51144" fmla="*/ 289082 h 4687251"/>
              <a:gd name="connsiteX51145" fmla="*/ 2759469 w 8079933"/>
              <a:gd name="connsiteY51145" fmla="*/ 290490 h 4687251"/>
              <a:gd name="connsiteX51146" fmla="*/ 2764787 w 8079933"/>
              <a:gd name="connsiteY51146" fmla="*/ 299368 h 4687251"/>
              <a:gd name="connsiteX51147" fmla="*/ 2762833 w 8079933"/>
              <a:gd name="connsiteY51147" fmla="*/ 301858 h 4687251"/>
              <a:gd name="connsiteX51148" fmla="*/ 2749920 w 8079933"/>
              <a:gd name="connsiteY51148" fmla="*/ 299043 h 4687251"/>
              <a:gd name="connsiteX51149" fmla="*/ 2746339 w 8079933"/>
              <a:gd name="connsiteY51149" fmla="*/ 296012 h 4687251"/>
              <a:gd name="connsiteX51150" fmla="*/ 2746013 w 8079933"/>
              <a:gd name="connsiteY51150" fmla="*/ 291139 h 4687251"/>
              <a:gd name="connsiteX51151" fmla="*/ 2742866 w 8079933"/>
              <a:gd name="connsiteY51151" fmla="*/ 287892 h 4687251"/>
              <a:gd name="connsiteX51152" fmla="*/ 2741238 w 8079933"/>
              <a:gd name="connsiteY51152" fmla="*/ 290273 h 4687251"/>
              <a:gd name="connsiteX51153" fmla="*/ 2742215 w 8079933"/>
              <a:gd name="connsiteY51153" fmla="*/ 292439 h 4687251"/>
              <a:gd name="connsiteX51154" fmla="*/ 2740696 w 8079933"/>
              <a:gd name="connsiteY51154" fmla="*/ 295686 h 4687251"/>
              <a:gd name="connsiteX51155" fmla="*/ 2736463 w 8079933"/>
              <a:gd name="connsiteY51155" fmla="*/ 294496 h 4687251"/>
              <a:gd name="connsiteX51156" fmla="*/ 2733968 w 8079933"/>
              <a:gd name="connsiteY51156" fmla="*/ 291680 h 4687251"/>
              <a:gd name="connsiteX51157" fmla="*/ 2729736 w 8079933"/>
              <a:gd name="connsiteY51157" fmla="*/ 292872 h 4687251"/>
              <a:gd name="connsiteX51158" fmla="*/ 2730170 w 8079933"/>
              <a:gd name="connsiteY51158" fmla="*/ 295903 h 4687251"/>
              <a:gd name="connsiteX51159" fmla="*/ 2736572 w 8079933"/>
              <a:gd name="connsiteY51159" fmla="*/ 298393 h 4687251"/>
              <a:gd name="connsiteX51160" fmla="*/ 2736355 w 8079933"/>
              <a:gd name="connsiteY51160" fmla="*/ 302616 h 4687251"/>
              <a:gd name="connsiteX51161" fmla="*/ 2739068 w 8079933"/>
              <a:gd name="connsiteY51161" fmla="*/ 302616 h 4687251"/>
              <a:gd name="connsiteX51162" fmla="*/ 2741021 w 8079933"/>
              <a:gd name="connsiteY51162" fmla="*/ 300992 h 4687251"/>
              <a:gd name="connsiteX51163" fmla="*/ 2744602 w 8079933"/>
              <a:gd name="connsiteY51163" fmla="*/ 300992 h 4687251"/>
              <a:gd name="connsiteX51164" fmla="*/ 2748292 w 8079933"/>
              <a:gd name="connsiteY51164" fmla="*/ 304457 h 4687251"/>
              <a:gd name="connsiteX51165" fmla="*/ 2753392 w 8079933"/>
              <a:gd name="connsiteY51165" fmla="*/ 306297 h 4687251"/>
              <a:gd name="connsiteX51166" fmla="*/ 2757625 w 8079933"/>
              <a:gd name="connsiteY51166" fmla="*/ 310304 h 4687251"/>
              <a:gd name="connsiteX51167" fmla="*/ 2760338 w 8079933"/>
              <a:gd name="connsiteY51167" fmla="*/ 310304 h 4687251"/>
              <a:gd name="connsiteX51168" fmla="*/ 2764244 w 8079933"/>
              <a:gd name="connsiteY51168" fmla="*/ 309112 h 4687251"/>
              <a:gd name="connsiteX51169" fmla="*/ 2777483 w 8079933"/>
              <a:gd name="connsiteY51169" fmla="*/ 312035 h 4687251"/>
              <a:gd name="connsiteX51170" fmla="*/ 2780088 w 8079933"/>
              <a:gd name="connsiteY51170" fmla="*/ 314850 h 4687251"/>
              <a:gd name="connsiteX51171" fmla="*/ 2775747 w 8079933"/>
              <a:gd name="connsiteY51171" fmla="*/ 317990 h 4687251"/>
              <a:gd name="connsiteX51172" fmla="*/ 2777158 w 8079933"/>
              <a:gd name="connsiteY51172" fmla="*/ 320481 h 4687251"/>
              <a:gd name="connsiteX51173" fmla="*/ 2776615 w 8079933"/>
              <a:gd name="connsiteY51173" fmla="*/ 324811 h 4687251"/>
              <a:gd name="connsiteX51174" fmla="*/ 2777700 w 8079933"/>
              <a:gd name="connsiteY51174" fmla="*/ 329359 h 4687251"/>
              <a:gd name="connsiteX51175" fmla="*/ 2774445 w 8079933"/>
              <a:gd name="connsiteY51175" fmla="*/ 332390 h 4687251"/>
              <a:gd name="connsiteX51176" fmla="*/ 2772492 w 8079933"/>
              <a:gd name="connsiteY51176" fmla="*/ 331957 h 4687251"/>
              <a:gd name="connsiteX51177" fmla="*/ 2769344 w 8079933"/>
              <a:gd name="connsiteY51177" fmla="*/ 328926 h 4687251"/>
              <a:gd name="connsiteX51178" fmla="*/ 2762942 w 8079933"/>
              <a:gd name="connsiteY51178" fmla="*/ 327193 h 4687251"/>
              <a:gd name="connsiteX51179" fmla="*/ 2756756 w 8079933"/>
              <a:gd name="connsiteY51179" fmla="*/ 322321 h 4687251"/>
              <a:gd name="connsiteX51180" fmla="*/ 2755128 w 8079933"/>
              <a:gd name="connsiteY51180" fmla="*/ 319181 h 4687251"/>
              <a:gd name="connsiteX51181" fmla="*/ 2755888 w 8079933"/>
              <a:gd name="connsiteY51181" fmla="*/ 313226 h 4687251"/>
              <a:gd name="connsiteX51182" fmla="*/ 2753392 w 8079933"/>
              <a:gd name="connsiteY51182" fmla="*/ 309112 h 4687251"/>
              <a:gd name="connsiteX51183" fmla="*/ 2746231 w 8079933"/>
              <a:gd name="connsiteY51183" fmla="*/ 308896 h 4687251"/>
              <a:gd name="connsiteX51184" fmla="*/ 2735595 w 8079933"/>
              <a:gd name="connsiteY51184" fmla="*/ 307272 h 4687251"/>
              <a:gd name="connsiteX51185" fmla="*/ 2731689 w 8079933"/>
              <a:gd name="connsiteY51185" fmla="*/ 304349 h 4687251"/>
              <a:gd name="connsiteX51186" fmla="*/ 2727131 w 8079933"/>
              <a:gd name="connsiteY51186" fmla="*/ 304998 h 4687251"/>
              <a:gd name="connsiteX51187" fmla="*/ 2726372 w 8079933"/>
              <a:gd name="connsiteY51187" fmla="*/ 307163 h 4687251"/>
              <a:gd name="connsiteX51188" fmla="*/ 2732557 w 8079933"/>
              <a:gd name="connsiteY51188" fmla="*/ 309545 h 4687251"/>
              <a:gd name="connsiteX51189" fmla="*/ 2741998 w 8079933"/>
              <a:gd name="connsiteY51189" fmla="*/ 310304 h 4687251"/>
              <a:gd name="connsiteX51190" fmla="*/ 2751873 w 8079933"/>
              <a:gd name="connsiteY51190" fmla="*/ 313984 h 4687251"/>
              <a:gd name="connsiteX51191" fmla="*/ 2751656 w 8079933"/>
              <a:gd name="connsiteY51191" fmla="*/ 319073 h 4687251"/>
              <a:gd name="connsiteX51192" fmla="*/ 2749920 w 8079933"/>
              <a:gd name="connsiteY51192" fmla="*/ 319614 h 4687251"/>
              <a:gd name="connsiteX51193" fmla="*/ 2744819 w 8079933"/>
              <a:gd name="connsiteY51193" fmla="*/ 316041 h 4687251"/>
              <a:gd name="connsiteX51194" fmla="*/ 2736030 w 8079933"/>
              <a:gd name="connsiteY51194" fmla="*/ 315825 h 4687251"/>
              <a:gd name="connsiteX51195" fmla="*/ 2728867 w 8079933"/>
              <a:gd name="connsiteY51195" fmla="*/ 317774 h 4687251"/>
              <a:gd name="connsiteX51196" fmla="*/ 2728976 w 8079933"/>
              <a:gd name="connsiteY51196" fmla="*/ 315176 h 4687251"/>
              <a:gd name="connsiteX51197" fmla="*/ 2726372 w 8079933"/>
              <a:gd name="connsiteY51197" fmla="*/ 312360 h 4687251"/>
              <a:gd name="connsiteX51198" fmla="*/ 2718341 w 8079933"/>
              <a:gd name="connsiteY51198" fmla="*/ 311169 h 4687251"/>
              <a:gd name="connsiteX51199" fmla="*/ 2714543 w 8079933"/>
              <a:gd name="connsiteY51199" fmla="*/ 309004 h 4687251"/>
              <a:gd name="connsiteX51200" fmla="*/ 2715412 w 8079933"/>
              <a:gd name="connsiteY51200" fmla="*/ 311494 h 4687251"/>
              <a:gd name="connsiteX51201" fmla="*/ 2724201 w 8079933"/>
              <a:gd name="connsiteY51201" fmla="*/ 315500 h 4687251"/>
              <a:gd name="connsiteX51202" fmla="*/ 2723008 w 8079933"/>
              <a:gd name="connsiteY51202" fmla="*/ 317666 h 4687251"/>
              <a:gd name="connsiteX51203" fmla="*/ 2723008 w 8079933"/>
              <a:gd name="connsiteY51203" fmla="*/ 321022 h 4687251"/>
              <a:gd name="connsiteX51204" fmla="*/ 2726914 w 8079933"/>
              <a:gd name="connsiteY51204" fmla="*/ 321239 h 4687251"/>
              <a:gd name="connsiteX51205" fmla="*/ 2727999 w 8079933"/>
              <a:gd name="connsiteY51205" fmla="*/ 320481 h 4687251"/>
              <a:gd name="connsiteX51206" fmla="*/ 2729736 w 8079933"/>
              <a:gd name="connsiteY51206" fmla="*/ 321671 h 4687251"/>
              <a:gd name="connsiteX51207" fmla="*/ 2733534 w 8079933"/>
              <a:gd name="connsiteY51207" fmla="*/ 320264 h 4687251"/>
              <a:gd name="connsiteX51208" fmla="*/ 2734727 w 8079933"/>
              <a:gd name="connsiteY51208" fmla="*/ 319073 h 4687251"/>
              <a:gd name="connsiteX51209" fmla="*/ 2737223 w 8079933"/>
              <a:gd name="connsiteY51209" fmla="*/ 320264 h 4687251"/>
              <a:gd name="connsiteX51210" fmla="*/ 2741456 w 8079933"/>
              <a:gd name="connsiteY51210" fmla="*/ 319831 h 4687251"/>
              <a:gd name="connsiteX51211" fmla="*/ 2744819 w 8079933"/>
              <a:gd name="connsiteY51211" fmla="*/ 321130 h 4687251"/>
              <a:gd name="connsiteX51212" fmla="*/ 2751765 w 8079933"/>
              <a:gd name="connsiteY51212" fmla="*/ 327518 h 4687251"/>
              <a:gd name="connsiteX51213" fmla="*/ 2751547 w 8079933"/>
              <a:gd name="connsiteY51213" fmla="*/ 329792 h 4687251"/>
              <a:gd name="connsiteX51214" fmla="*/ 2745688 w 8079933"/>
              <a:gd name="connsiteY51214" fmla="*/ 330117 h 4687251"/>
              <a:gd name="connsiteX51215" fmla="*/ 2740805 w 8079933"/>
              <a:gd name="connsiteY51215" fmla="*/ 332282 h 4687251"/>
              <a:gd name="connsiteX51216" fmla="*/ 2740045 w 8079933"/>
              <a:gd name="connsiteY51216" fmla="*/ 334881 h 4687251"/>
              <a:gd name="connsiteX51217" fmla="*/ 2744494 w 8079933"/>
              <a:gd name="connsiteY51217" fmla="*/ 333581 h 4687251"/>
              <a:gd name="connsiteX51218" fmla="*/ 2748835 w 8079933"/>
              <a:gd name="connsiteY51218" fmla="*/ 333581 h 4687251"/>
              <a:gd name="connsiteX51219" fmla="*/ 2752850 w 8079933"/>
              <a:gd name="connsiteY51219" fmla="*/ 332824 h 4687251"/>
              <a:gd name="connsiteX51220" fmla="*/ 2757190 w 8079933"/>
              <a:gd name="connsiteY51220" fmla="*/ 337046 h 4687251"/>
              <a:gd name="connsiteX51221" fmla="*/ 2761423 w 8079933"/>
              <a:gd name="connsiteY51221" fmla="*/ 339536 h 4687251"/>
              <a:gd name="connsiteX51222" fmla="*/ 2761531 w 8079933"/>
              <a:gd name="connsiteY51222" fmla="*/ 343759 h 4687251"/>
              <a:gd name="connsiteX51223" fmla="*/ 2755888 w 8079933"/>
              <a:gd name="connsiteY51223" fmla="*/ 352637 h 4687251"/>
              <a:gd name="connsiteX51224" fmla="*/ 2754043 w 8079933"/>
              <a:gd name="connsiteY51224" fmla="*/ 359891 h 4687251"/>
              <a:gd name="connsiteX51225" fmla="*/ 2751873 w 8079933"/>
              <a:gd name="connsiteY51225" fmla="*/ 360432 h 4687251"/>
              <a:gd name="connsiteX51226" fmla="*/ 2745254 w 8079933"/>
              <a:gd name="connsiteY51226" fmla="*/ 365521 h 4687251"/>
              <a:gd name="connsiteX51227" fmla="*/ 2742106 w 8079933"/>
              <a:gd name="connsiteY51227" fmla="*/ 363789 h 4687251"/>
              <a:gd name="connsiteX51228" fmla="*/ 2738092 w 8079933"/>
              <a:gd name="connsiteY51228" fmla="*/ 363897 h 4687251"/>
              <a:gd name="connsiteX51229" fmla="*/ 2734510 w 8079933"/>
              <a:gd name="connsiteY51229" fmla="*/ 362057 h 4687251"/>
              <a:gd name="connsiteX51230" fmla="*/ 2733860 w 8079933"/>
              <a:gd name="connsiteY51230" fmla="*/ 359566 h 4687251"/>
              <a:gd name="connsiteX51231" fmla="*/ 2730279 w 8079933"/>
              <a:gd name="connsiteY51231" fmla="*/ 357509 h 4687251"/>
              <a:gd name="connsiteX51232" fmla="*/ 2724744 w 8079933"/>
              <a:gd name="connsiteY51232" fmla="*/ 357293 h 4687251"/>
              <a:gd name="connsiteX51233" fmla="*/ 2725395 w 8079933"/>
              <a:gd name="connsiteY51233" fmla="*/ 359566 h 4687251"/>
              <a:gd name="connsiteX51234" fmla="*/ 2730604 w 8079933"/>
              <a:gd name="connsiteY51234" fmla="*/ 361732 h 4687251"/>
              <a:gd name="connsiteX51235" fmla="*/ 2731255 w 8079933"/>
              <a:gd name="connsiteY51235" fmla="*/ 364114 h 4687251"/>
              <a:gd name="connsiteX51236" fmla="*/ 2734619 w 8079933"/>
              <a:gd name="connsiteY51236" fmla="*/ 364979 h 4687251"/>
              <a:gd name="connsiteX51237" fmla="*/ 2740588 w 8079933"/>
              <a:gd name="connsiteY51237" fmla="*/ 368769 h 4687251"/>
              <a:gd name="connsiteX51238" fmla="*/ 2741456 w 8079933"/>
              <a:gd name="connsiteY51238" fmla="*/ 374832 h 4687251"/>
              <a:gd name="connsiteX51239" fmla="*/ 2739502 w 8079933"/>
              <a:gd name="connsiteY51239" fmla="*/ 377539 h 4687251"/>
              <a:gd name="connsiteX51240" fmla="*/ 2735595 w 8079933"/>
              <a:gd name="connsiteY51240" fmla="*/ 378297 h 4687251"/>
              <a:gd name="connsiteX51241" fmla="*/ 2730495 w 8079933"/>
              <a:gd name="connsiteY51241" fmla="*/ 382844 h 4687251"/>
              <a:gd name="connsiteX51242" fmla="*/ 2727457 w 8079933"/>
              <a:gd name="connsiteY51242" fmla="*/ 383603 h 4687251"/>
              <a:gd name="connsiteX51243" fmla="*/ 2720078 w 8079933"/>
              <a:gd name="connsiteY51243" fmla="*/ 377214 h 4687251"/>
              <a:gd name="connsiteX51244" fmla="*/ 2715845 w 8079933"/>
              <a:gd name="connsiteY51244" fmla="*/ 378622 h 4687251"/>
              <a:gd name="connsiteX51245" fmla="*/ 2713567 w 8079933"/>
              <a:gd name="connsiteY51245" fmla="*/ 376023 h 4687251"/>
              <a:gd name="connsiteX51246" fmla="*/ 2708901 w 8079933"/>
              <a:gd name="connsiteY51246" fmla="*/ 375590 h 4687251"/>
              <a:gd name="connsiteX51247" fmla="*/ 2705862 w 8079933"/>
              <a:gd name="connsiteY51247" fmla="*/ 377322 h 4687251"/>
              <a:gd name="connsiteX51248" fmla="*/ 2706839 w 8079933"/>
              <a:gd name="connsiteY51248" fmla="*/ 380571 h 4687251"/>
              <a:gd name="connsiteX51249" fmla="*/ 2721054 w 8079933"/>
              <a:gd name="connsiteY51249" fmla="*/ 388150 h 4687251"/>
              <a:gd name="connsiteX51250" fmla="*/ 2726481 w 8079933"/>
              <a:gd name="connsiteY51250" fmla="*/ 388691 h 4687251"/>
              <a:gd name="connsiteX51251" fmla="*/ 2726481 w 8079933"/>
              <a:gd name="connsiteY51251" fmla="*/ 391614 h 4687251"/>
              <a:gd name="connsiteX51252" fmla="*/ 2722574 w 8079933"/>
              <a:gd name="connsiteY51252" fmla="*/ 393455 h 4687251"/>
              <a:gd name="connsiteX51253" fmla="*/ 2718667 w 8079933"/>
              <a:gd name="connsiteY51253" fmla="*/ 397894 h 4687251"/>
              <a:gd name="connsiteX51254" fmla="*/ 2714543 w 8079933"/>
              <a:gd name="connsiteY51254" fmla="*/ 398868 h 4687251"/>
              <a:gd name="connsiteX51255" fmla="*/ 2710745 w 8079933"/>
              <a:gd name="connsiteY51255" fmla="*/ 394646 h 4687251"/>
              <a:gd name="connsiteX51256" fmla="*/ 2707164 w 8079933"/>
              <a:gd name="connsiteY51256" fmla="*/ 394862 h 4687251"/>
              <a:gd name="connsiteX51257" fmla="*/ 2702715 w 8079933"/>
              <a:gd name="connsiteY51257" fmla="*/ 398219 h 4687251"/>
              <a:gd name="connsiteX51258" fmla="*/ 2695445 w 8079933"/>
              <a:gd name="connsiteY51258" fmla="*/ 397894 h 4687251"/>
              <a:gd name="connsiteX51259" fmla="*/ 2692406 w 8079933"/>
              <a:gd name="connsiteY51259" fmla="*/ 394429 h 4687251"/>
              <a:gd name="connsiteX51260" fmla="*/ 2682748 w 8079933"/>
              <a:gd name="connsiteY51260" fmla="*/ 392156 h 4687251"/>
              <a:gd name="connsiteX51261" fmla="*/ 2676671 w 8079933"/>
              <a:gd name="connsiteY51261" fmla="*/ 393780 h 4687251"/>
              <a:gd name="connsiteX51262" fmla="*/ 2675477 w 8079933"/>
              <a:gd name="connsiteY51262" fmla="*/ 402441 h 4687251"/>
              <a:gd name="connsiteX51263" fmla="*/ 2670920 w 8079933"/>
              <a:gd name="connsiteY51263" fmla="*/ 406772 h 4687251"/>
              <a:gd name="connsiteX51264" fmla="*/ 2675260 w 8079933"/>
              <a:gd name="connsiteY51264" fmla="*/ 406555 h 4687251"/>
              <a:gd name="connsiteX51265" fmla="*/ 2676671 w 8079933"/>
              <a:gd name="connsiteY51265" fmla="*/ 407854 h 4687251"/>
              <a:gd name="connsiteX51266" fmla="*/ 2676888 w 8079933"/>
              <a:gd name="connsiteY51266" fmla="*/ 412619 h 4687251"/>
              <a:gd name="connsiteX51267" fmla="*/ 2670052 w 8079933"/>
              <a:gd name="connsiteY51267" fmla="*/ 416300 h 4687251"/>
              <a:gd name="connsiteX51268" fmla="*/ 2669834 w 8079933"/>
              <a:gd name="connsiteY51268" fmla="*/ 421388 h 4687251"/>
              <a:gd name="connsiteX51269" fmla="*/ 2664300 w 8079933"/>
              <a:gd name="connsiteY51269" fmla="*/ 424420 h 4687251"/>
              <a:gd name="connsiteX51270" fmla="*/ 2662238 w 8079933"/>
              <a:gd name="connsiteY51270" fmla="*/ 422472 h 4687251"/>
              <a:gd name="connsiteX51271" fmla="*/ 2660936 w 8079933"/>
              <a:gd name="connsiteY51271" fmla="*/ 423987 h 4687251"/>
              <a:gd name="connsiteX51272" fmla="*/ 2660176 w 8079933"/>
              <a:gd name="connsiteY51272" fmla="*/ 427235 h 4687251"/>
              <a:gd name="connsiteX51273" fmla="*/ 2655510 w 8079933"/>
              <a:gd name="connsiteY51273" fmla="*/ 429184 h 4687251"/>
              <a:gd name="connsiteX51274" fmla="*/ 2652146 w 8079933"/>
              <a:gd name="connsiteY51274" fmla="*/ 428210 h 4687251"/>
              <a:gd name="connsiteX51275" fmla="*/ 2654317 w 8079933"/>
              <a:gd name="connsiteY51275" fmla="*/ 425611 h 4687251"/>
              <a:gd name="connsiteX51276" fmla="*/ 2652038 w 8079933"/>
              <a:gd name="connsiteY51276" fmla="*/ 425611 h 4687251"/>
              <a:gd name="connsiteX51277" fmla="*/ 2649216 w 8079933"/>
              <a:gd name="connsiteY51277" fmla="*/ 428210 h 4687251"/>
              <a:gd name="connsiteX51278" fmla="*/ 2645961 w 8079933"/>
              <a:gd name="connsiteY51278" fmla="*/ 434706 h 4687251"/>
              <a:gd name="connsiteX51279" fmla="*/ 2643465 w 8079933"/>
              <a:gd name="connsiteY51279" fmla="*/ 436329 h 4687251"/>
              <a:gd name="connsiteX51280" fmla="*/ 2632396 w 8079933"/>
              <a:gd name="connsiteY51280" fmla="*/ 430375 h 4687251"/>
              <a:gd name="connsiteX51281" fmla="*/ 2625994 w 8079933"/>
              <a:gd name="connsiteY51281" fmla="*/ 430267 h 4687251"/>
              <a:gd name="connsiteX51282" fmla="*/ 2625126 w 8079933"/>
              <a:gd name="connsiteY51282" fmla="*/ 432107 h 4687251"/>
              <a:gd name="connsiteX51283" fmla="*/ 2619157 w 8079933"/>
              <a:gd name="connsiteY51283" fmla="*/ 430916 h 4687251"/>
              <a:gd name="connsiteX51284" fmla="*/ 2609065 w 8079933"/>
              <a:gd name="connsiteY51284" fmla="*/ 418790 h 4687251"/>
              <a:gd name="connsiteX51285" fmla="*/ 2606895 w 8079933"/>
              <a:gd name="connsiteY51285" fmla="*/ 408396 h 4687251"/>
              <a:gd name="connsiteX51286" fmla="*/ 2609499 w 8079933"/>
              <a:gd name="connsiteY51286" fmla="*/ 406447 h 4687251"/>
              <a:gd name="connsiteX51287" fmla="*/ 2610259 w 8079933"/>
              <a:gd name="connsiteY51287" fmla="*/ 402550 h 4687251"/>
              <a:gd name="connsiteX51288" fmla="*/ 2608848 w 8079933"/>
              <a:gd name="connsiteY51288" fmla="*/ 399734 h 4687251"/>
              <a:gd name="connsiteX51289" fmla="*/ 2609282 w 8079933"/>
              <a:gd name="connsiteY51289" fmla="*/ 396595 h 4687251"/>
              <a:gd name="connsiteX51290" fmla="*/ 2604833 w 8079933"/>
              <a:gd name="connsiteY51290" fmla="*/ 401900 h 4687251"/>
              <a:gd name="connsiteX51291" fmla="*/ 2604941 w 8079933"/>
              <a:gd name="connsiteY51291" fmla="*/ 405148 h 4687251"/>
              <a:gd name="connsiteX51292" fmla="*/ 2602988 w 8079933"/>
              <a:gd name="connsiteY51292" fmla="*/ 411969 h 4687251"/>
              <a:gd name="connsiteX51293" fmla="*/ 2600818 w 8079933"/>
              <a:gd name="connsiteY51293" fmla="*/ 415650 h 4687251"/>
              <a:gd name="connsiteX51294" fmla="*/ 2604724 w 8079933"/>
              <a:gd name="connsiteY51294" fmla="*/ 420739 h 4687251"/>
              <a:gd name="connsiteX51295" fmla="*/ 2603965 w 8079933"/>
              <a:gd name="connsiteY51295" fmla="*/ 423229 h 4687251"/>
              <a:gd name="connsiteX51296" fmla="*/ 2601469 w 8079933"/>
              <a:gd name="connsiteY51296" fmla="*/ 422580 h 4687251"/>
              <a:gd name="connsiteX51297" fmla="*/ 2594958 w 8079933"/>
              <a:gd name="connsiteY51297" fmla="*/ 423554 h 4687251"/>
              <a:gd name="connsiteX51298" fmla="*/ 2593873 w 8079933"/>
              <a:gd name="connsiteY51298" fmla="*/ 422796 h 4687251"/>
              <a:gd name="connsiteX51299" fmla="*/ 2589424 w 8079933"/>
              <a:gd name="connsiteY51299" fmla="*/ 423554 h 4687251"/>
              <a:gd name="connsiteX51300" fmla="*/ 2593547 w 8079933"/>
              <a:gd name="connsiteY51300" fmla="*/ 427127 h 4687251"/>
              <a:gd name="connsiteX51301" fmla="*/ 2591160 w 8079933"/>
              <a:gd name="connsiteY51301" fmla="*/ 434489 h 4687251"/>
              <a:gd name="connsiteX51302" fmla="*/ 2594524 w 8079933"/>
              <a:gd name="connsiteY51302" fmla="*/ 434489 h 4687251"/>
              <a:gd name="connsiteX51303" fmla="*/ 2599841 w 8079933"/>
              <a:gd name="connsiteY51303" fmla="*/ 428101 h 4687251"/>
              <a:gd name="connsiteX51304" fmla="*/ 2602446 w 8079933"/>
              <a:gd name="connsiteY51304" fmla="*/ 428210 h 4687251"/>
              <a:gd name="connsiteX51305" fmla="*/ 2604508 w 8079933"/>
              <a:gd name="connsiteY51305" fmla="*/ 426261 h 4687251"/>
              <a:gd name="connsiteX51306" fmla="*/ 2607763 w 8079933"/>
              <a:gd name="connsiteY51306" fmla="*/ 425070 h 4687251"/>
              <a:gd name="connsiteX51307" fmla="*/ 2613189 w 8079933"/>
              <a:gd name="connsiteY51307" fmla="*/ 428968 h 4687251"/>
              <a:gd name="connsiteX51308" fmla="*/ 2616662 w 8079933"/>
              <a:gd name="connsiteY51308" fmla="*/ 434273 h 4687251"/>
              <a:gd name="connsiteX51309" fmla="*/ 2614600 w 8079933"/>
              <a:gd name="connsiteY51309" fmla="*/ 439145 h 4687251"/>
              <a:gd name="connsiteX51310" fmla="*/ 2620025 w 8079933"/>
              <a:gd name="connsiteY51310" fmla="*/ 435139 h 4687251"/>
              <a:gd name="connsiteX51311" fmla="*/ 2628707 w 8079933"/>
              <a:gd name="connsiteY51311" fmla="*/ 432865 h 4687251"/>
              <a:gd name="connsiteX51312" fmla="*/ 2634567 w 8079933"/>
              <a:gd name="connsiteY51312" fmla="*/ 435680 h 4687251"/>
              <a:gd name="connsiteX51313" fmla="*/ 2635543 w 8079933"/>
              <a:gd name="connsiteY51313" fmla="*/ 440335 h 4687251"/>
              <a:gd name="connsiteX51314" fmla="*/ 2633156 w 8079933"/>
              <a:gd name="connsiteY51314" fmla="*/ 443151 h 4687251"/>
              <a:gd name="connsiteX51315" fmla="*/ 2630226 w 8079933"/>
              <a:gd name="connsiteY51315" fmla="*/ 450838 h 4687251"/>
              <a:gd name="connsiteX51316" fmla="*/ 2627621 w 8079933"/>
              <a:gd name="connsiteY51316" fmla="*/ 451488 h 4687251"/>
              <a:gd name="connsiteX51317" fmla="*/ 2626211 w 8079933"/>
              <a:gd name="connsiteY51317" fmla="*/ 454736 h 4687251"/>
              <a:gd name="connsiteX51318" fmla="*/ 2627621 w 8079933"/>
              <a:gd name="connsiteY51318" fmla="*/ 456143 h 4687251"/>
              <a:gd name="connsiteX51319" fmla="*/ 2631962 w 8079933"/>
              <a:gd name="connsiteY51319" fmla="*/ 455710 h 4687251"/>
              <a:gd name="connsiteX51320" fmla="*/ 2631311 w 8079933"/>
              <a:gd name="connsiteY51320" fmla="*/ 459067 h 4687251"/>
              <a:gd name="connsiteX51321" fmla="*/ 2627404 w 8079933"/>
              <a:gd name="connsiteY51321" fmla="*/ 463398 h 4687251"/>
              <a:gd name="connsiteX51322" fmla="*/ 2631854 w 8079933"/>
              <a:gd name="connsiteY51322" fmla="*/ 463073 h 4687251"/>
              <a:gd name="connsiteX51323" fmla="*/ 2634024 w 8079933"/>
              <a:gd name="connsiteY51323" fmla="*/ 459933 h 4687251"/>
              <a:gd name="connsiteX51324" fmla="*/ 2639884 w 8079933"/>
              <a:gd name="connsiteY51324" fmla="*/ 456576 h 4687251"/>
              <a:gd name="connsiteX51325" fmla="*/ 2643031 w 8079933"/>
              <a:gd name="connsiteY51325" fmla="*/ 456360 h 4687251"/>
              <a:gd name="connsiteX51326" fmla="*/ 2645201 w 8079933"/>
              <a:gd name="connsiteY51326" fmla="*/ 455277 h 4687251"/>
              <a:gd name="connsiteX51327" fmla="*/ 2647697 w 8079933"/>
              <a:gd name="connsiteY51327" fmla="*/ 456576 h 4687251"/>
              <a:gd name="connsiteX51328" fmla="*/ 2646612 w 8079933"/>
              <a:gd name="connsiteY51328" fmla="*/ 461232 h 4687251"/>
              <a:gd name="connsiteX51329" fmla="*/ 2647914 w 8079933"/>
              <a:gd name="connsiteY51329" fmla="*/ 464372 h 4687251"/>
              <a:gd name="connsiteX51330" fmla="*/ 2646178 w 8079933"/>
              <a:gd name="connsiteY51330" fmla="*/ 472276 h 4687251"/>
              <a:gd name="connsiteX51331" fmla="*/ 2641078 w 8079933"/>
              <a:gd name="connsiteY51331" fmla="*/ 481696 h 4687251"/>
              <a:gd name="connsiteX51332" fmla="*/ 2636520 w 8079933"/>
              <a:gd name="connsiteY51332" fmla="*/ 481804 h 4687251"/>
              <a:gd name="connsiteX51333" fmla="*/ 2631745 w 8079933"/>
              <a:gd name="connsiteY51333" fmla="*/ 484835 h 4687251"/>
              <a:gd name="connsiteX51334" fmla="*/ 2628816 w 8079933"/>
              <a:gd name="connsiteY51334" fmla="*/ 489924 h 4687251"/>
              <a:gd name="connsiteX51335" fmla="*/ 2624366 w 8079933"/>
              <a:gd name="connsiteY51335" fmla="*/ 493281 h 4687251"/>
              <a:gd name="connsiteX51336" fmla="*/ 2622738 w 8079933"/>
              <a:gd name="connsiteY51336" fmla="*/ 491765 h 4687251"/>
              <a:gd name="connsiteX51337" fmla="*/ 2624366 w 8079933"/>
              <a:gd name="connsiteY51337" fmla="*/ 486351 h 4687251"/>
              <a:gd name="connsiteX51338" fmla="*/ 2625126 w 8079933"/>
              <a:gd name="connsiteY51338" fmla="*/ 480720 h 4687251"/>
              <a:gd name="connsiteX51339" fmla="*/ 2623932 w 8079933"/>
              <a:gd name="connsiteY51339" fmla="*/ 479638 h 4687251"/>
              <a:gd name="connsiteX51340" fmla="*/ 2620568 w 8079933"/>
              <a:gd name="connsiteY51340" fmla="*/ 481804 h 4687251"/>
              <a:gd name="connsiteX51341" fmla="*/ 2617204 w 8079933"/>
              <a:gd name="connsiteY51341" fmla="*/ 488191 h 4687251"/>
              <a:gd name="connsiteX51342" fmla="*/ 2613189 w 8079933"/>
              <a:gd name="connsiteY51342" fmla="*/ 489275 h 4687251"/>
              <a:gd name="connsiteX51343" fmla="*/ 2606678 w 8079933"/>
              <a:gd name="connsiteY51343" fmla="*/ 495338 h 4687251"/>
              <a:gd name="connsiteX51344" fmla="*/ 2604724 w 8079933"/>
              <a:gd name="connsiteY51344" fmla="*/ 493930 h 4687251"/>
              <a:gd name="connsiteX51345" fmla="*/ 2600167 w 8079933"/>
              <a:gd name="connsiteY51345" fmla="*/ 493822 h 4687251"/>
              <a:gd name="connsiteX51346" fmla="*/ 2592679 w 8079933"/>
              <a:gd name="connsiteY51346" fmla="*/ 499668 h 4687251"/>
              <a:gd name="connsiteX51347" fmla="*/ 2590509 w 8079933"/>
              <a:gd name="connsiteY51347" fmla="*/ 498477 h 4687251"/>
              <a:gd name="connsiteX51348" fmla="*/ 2586277 w 8079933"/>
              <a:gd name="connsiteY51348" fmla="*/ 500318 h 4687251"/>
              <a:gd name="connsiteX51349" fmla="*/ 2581610 w 8079933"/>
              <a:gd name="connsiteY51349" fmla="*/ 500101 h 4687251"/>
              <a:gd name="connsiteX51350" fmla="*/ 2580091 w 8079933"/>
              <a:gd name="connsiteY51350" fmla="*/ 496745 h 4687251"/>
              <a:gd name="connsiteX51351" fmla="*/ 2578030 w 8079933"/>
              <a:gd name="connsiteY51351" fmla="*/ 495229 h 4687251"/>
              <a:gd name="connsiteX51352" fmla="*/ 2582153 w 8079933"/>
              <a:gd name="connsiteY51352" fmla="*/ 492089 h 4687251"/>
              <a:gd name="connsiteX51353" fmla="*/ 2585300 w 8079933"/>
              <a:gd name="connsiteY51353" fmla="*/ 487650 h 4687251"/>
              <a:gd name="connsiteX51354" fmla="*/ 2585409 w 8079933"/>
              <a:gd name="connsiteY51354" fmla="*/ 483861 h 4687251"/>
              <a:gd name="connsiteX51355" fmla="*/ 2580417 w 8079933"/>
              <a:gd name="connsiteY51355" fmla="*/ 476714 h 4687251"/>
              <a:gd name="connsiteX51356" fmla="*/ 2577270 w 8079933"/>
              <a:gd name="connsiteY51356" fmla="*/ 479855 h 4687251"/>
              <a:gd name="connsiteX51357" fmla="*/ 2570651 w 8079933"/>
              <a:gd name="connsiteY51357" fmla="*/ 477364 h 4687251"/>
              <a:gd name="connsiteX51358" fmla="*/ 2569782 w 8079933"/>
              <a:gd name="connsiteY51358" fmla="*/ 474441 h 4687251"/>
              <a:gd name="connsiteX51359" fmla="*/ 2572278 w 8079933"/>
              <a:gd name="connsiteY51359" fmla="*/ 468811 h 4687251"/>
              <a:gd name="connsiteX51360" fmla="*/ 2575750 w 8079933"/>
              <a:gd name="connsiteY51360" fmla="*/ 467837 h 4687251"/>
              <a:gd name="connsiteX51361" fmla="*/ 2572929 w 8079933"/>
              <a:gd name="connsiteY51361" fmla="*/ 466429 h 4687251"/>
              <a:gd name="connsiteX51362" fmla="*/ 2569565 w 8079933"/>
              <a:gd name="connsiteY51362" fmla="*/ 465455 h 4687251"/>
              <a:gd name="connsiteX51363" fmla="*/ 2566852 w 8079933"/>
              <a:gd name="connsiteY51363" fmla="*/ 458959 h 4687251"/>
              <a:gd name="connsiteX51364" fmla="*/ 2568263 w 8079933"/>
              <a:gd name="connsiteY51364" fmla="*/ 455169 h 4687251"/>
              <a:gd name="connsiteX51365" fmla="*/ 2568480 w 8079933"/>
              <a:gd name="connsiteY51365" fmla="*/ 450838 h 4687251"/>
              <a:gd name="connsiteX51366" fmla="*/ 2566418 w 8079933"/>
              <a:gd name="connsiteY51366" fmla="*/ 447049 h 4687251"/>
              <a:gd name="connsiteX51367" fmla="*/ 2566418 w 8079933"/>
              <a:gd name="connsiteY51367" fmla="*/ 452137 h 4687251"/>
              <a:gd name="connsiteX51368" fmla="*/ 2563055 w 8079933"/>
              <a:gd name="connsiteY51368" fmla="*/ 459716 h 4687251"/>
              <a:gd name="connsiteX51369" fmla="*/ 2566961 w 8079933"/>
              <a:gd name="connsiteY51369" fmla="*/ 466753 h 4687251"/>
              <a:gd name="connsiteX51370" fmla="*/ 2567503 w 8079933"/>
              <a:gd name="connsiteY51370" fmla="*/ 470110 h 4687251"/>
              <a:gd name="connsiteX51371" fmla="*/ 2565008 w 8079933"/>
              <a:gd name="connsiteY51371" fmla="*/ 472709 h 4687251"/>
              <a:gd name="connsiteX51372" fmla="*/ 2564791 w 8079933"/>
              <a:gd name="connsiteY51372" fmla="*/ 477906 h 4687251"/>
              <a:gd name="connsiteX51373" fmla="*/ 2561752 w 8079933"/>
              <a:gd name="connsiteY51373" fmla="*/ 479855 h 4687251"/>
              <a:gd name="connsiteX51374" fmla="*/ 2557954 w 8079933"/>
              <a:gd name="connsiteY51374" fmla="*/ 478230 h 4687251"/>
              <a:gd name="connsiteX51375" fmla="*/ 2553939 w 8079933"/>
              <a:gd name="connsiteY51375" fmla="*/ 479422 h 4687251"/>
              <a:gd name="connsiteX51376" fmla="*/ 2550575 w 8079933"/>
              <a:gd name="connsiteY51376" fmla="*/ 476065 h 4687251"/>
              <a:gd name="connsiteX51377" fmla="*/ 2550032 w 8079933"/>
              <a:gd name="connsiteY51377" fmla="*/ 473034 h 4687251"/>
              <a:gd name="connsiteX51378" fmla="*/ 2553287 w 8079933"/>
              <a:gd name="connsiteY51378" fmla="*/ 464480 h 4687251"/>
              <a:gd name="connsiteX51379" fmla="*/ 2551660 w 8079933"/>
              <a:gd name="connsiteY51379" fmla="*/ 460149 h 4687251"/>
              <a:gd name="connsiteX51380" fmla="*/ 2552528 w 8079933"/>
              <a:gd name="connsiteY51380" fmla="*/ 455818 h 4687251"/>
              <a:gd name="connsiteX51381" fmla="*/ 2557085 w 8079933"/>
              <a:gd name="connsiteY51381" fmla="*/ 451055 h 4687251"/>
              <a:gd name="connsiteX51382" fmla="*/ 2552094 w 8079933"/>
              <a:gd name="connsiteY51382" fmla="*/ 452029 h 4687251"/>
              <a:gd name="connsiteX51383" fmla="*/ 2548730 w 8079933"/>
              <a:gd name="connsiteY51383" fmla="*/ 455818 h 4687251"/>
              <a:gd name="connsiteX51384" fmla="*/ 2547753 w 8079933"/>
              <a:gd name="connsiteY51384" fmla="*/ 461557 h 4687251"/>
              <a:gd name="connsiteX51385" fmla="*/ 2549598 w 8079933"/>
              <a:gd name="connsiteY51385" fmla="*/ 466104 h 4687251"/>
              <a:gd name="connsiteX51386" fmla="*/ 2545583 w 8079933"/>
              <a:gd name="connsiteY51386" fmla="*/ 473358 h 4687251"/>
              <a:gd name="connsiteX51387" fmla="*/ 2541568 w 8079933"/>
              <a:gd name="connsiteY51387" fmla="*/ 474657 h 4687251"/>
              <a:gd name="connsiteX51388" fmla="*/ 2537227 w 8079933"/>
              <a:gd name="connsiteY51388" fmla="*/ 472059 h 4687251"/>
              <a:gd name="connsiteX51389" fmla="*/ 2537444 w 8079933"/>
              <a:gd name="connsiteY51389" fmla="*/ 468053 h 4687251"/>
              <a:gd name="connsiteX51390" fmla="*/ 2535817 w 8079933"/>
              <a:gd name="connsiteY51390" fmla="*/ 466213 h 4687251"/>
              <a:gd name="connsiteX51391" fmla="*/ 2536142 w 8079933"/>
              <a:gd name="connsiteY51391" fmla="*/ 462965 h 4687251"/>
              <a:gd name="connsiteX51392" fmla="*/ 2538204 w 8079933"/>
              <a:gd name="connsiteY51392" fmla="*/ 459175 h 4687251"/>
              <a:gd name="connsiteX51393" fmla="*/ 2539072 w 8079933"/>
              <a:gd name="connsiteY51393" fmla="*/ 456576 h 4687251"/>
              <a:gd name="connsiteX51394" fmla="*/ 2537770 w 8079933"/>
              <a:gd name="connsiteY51394" fmla="*/ 451596 h 4687251"/>
              <a:gd name="connsiteX51395" fmla="*/ 2536142 w 8079933"/>
              <a:gd name="connsiteY51395" fmla="*/ 451163 h 4687251"/>
              <a:gd name="connsiteX51396" fmla="*/ 2535165 w 8079933"/>
              <a:gd name="connsiteY51396" fmla="*/ 453328 h 4687251"/>
              <a:gd name="connsiteX51397" fmla="*/ 2534406 w 8079933"/>
              <a:gd name="connsiteY51397" fmla="*/ 458417 h 4687251"/>
              <a:gd name="connsiteX51398" fmla="*/ 2531584 w 8079933"/>
              <a:gd name="connsiteY51398" fmla="*/ 461016 h 4687251"/>
              <a:gd name="connsiteX51399" fmla="*/ 2531476 w 8079933"/>
              <a:gd name="connsiteY51399" fmla="*/ 464480 h 4687251"/>
              <a:gd name="connsiteX51400" fmla="*/ 2530065 w 8079933"/>
              <a:gd name="connsiteY51400" fmla="*/ 466429 h 4687251"/>
              <a:gd name="connsiteX51401" fmla="*/ 2526267 w 8079933"/>
              <a:gd name="connsiteY51401" fmla="*/ 466645 h 4687251"/>
              <a:gd name="connsiteX51402" fmla="*/ 2525399 w 8079933"/>
              <a:gd name="connsiteY51402" fmla="*/ 468053 h 4687251"/>
              <a:gd name="connsiteX51403" fmla="*/ 2522252 w 8079933"/>
              <a:gd name="connsiteY51403" fmla="*/ 468486 h 4687251"/>
              <a:gd name="connsiteX51404" fmla="*/ 2521275 w 8079933"/>
              <a:gd name="connsiteY51404" fmla="*/ 466104 h 4687251"/>
              <a:gd name="connsiteX51405" fmla="*/ 2521384 w 8079933"/>
              <a:gd name="connsiteY51405" fmla="*/ 462206 h 4687251"/>
              <a:gd name="connsiteX51406" fmla="*/ 2519647 w 8079933"/>
              <a:gd name="connsiteY51406" fmla="*/ 456143 h 4687251"/>
              <a:gd name="connsiteX51407" fmla="*/ 2518454 w 8079933"/>
              <a:gd name="connsiteY51407" fmla="*/ 454844 h 4687251"/>
              <a:gd name="connsiteX51408" fmla="*/ 2516935 w 8079933"/>
              <a:gd name="connsiteY51408" fmla="*/ 456252 h 4687251"/>
              <a:gd name="connsiteX51409" fmla="*/ 2515090 w 8079933"/>
              <a:gd name="connsiteY51409" fmla="*/ 461882 h 4687251"/>
              <a:gd name="connsiteX51410" fmla="*/ 2516392 w 8079933"/>
              <a:gd name="connsiteY51410" fmla="*/ 469677 h 4687251"/>
              <a:gd name="connsiteX51411" fmla="*/ 2519647 w 8079933"/>
              <a:gd name="connsiteY51411" fmla="*/ 475091 h 4687251"/>
              <a:gd name="connsiteX51412" fmla="*/ 2518345 w 8079933"/>
              <a:gd name="connsiteY51412" fmla="*/ 478555 h 4687251"/>
              <a:gd name="connsiteX51413" fmla="*/ 2516284 w 8079933"/>
              <a:gd name="connsiteY51413" fmla="*/ 478772 h 4687251"/>
              <a:gd name="connsiteX51414" fmla="*/ 2512811 w 8079933"/>
              <a:gd name="connsiteY51414" fmla="*/ 477256 h 4687251"/>
              <a:gd name="connsiteX51415" fmla="*/ 2503913 w 8079933"/>
              <a:gd name="connsiteY51415" fmla="*/ 476931 h 4687251"/>
              <a:gd name="connsiteX51416" fmla="*/ 2503478 w 8079933"/>
              <a:gd name="connsiteY51416" fmla="*/ 473142 h 4687251"/>
              <a:gd name="connsiteX51417" fmla="*/ 2501308 w 8079933"/>
              <a:gd name="connsiteY51417" fmla="*/ 472709 h 4687251"/>
              <a:gd name="connsiteX51418" fmla="*/ 2494363 w 8079933"/>
              <a:gd name="connsiteY51418" fmla="*/ 468053 h 4687251"/>
              <a:gd name="connsiteX51419" fmla="*/ 2491324 w 8079933"/>
              <a:gd name="connsiteY51419" fmla="*/ 468269 h 4687251"/>
              <a:gd name="connsiteX51420" fmla="*/ 2490456 w 8079933"/>
              <a:gd name="connsiteY51420" fmla="*/ 466645 h 4687251"/>
              <a:gd name="connsiteX51421" fmla="*/ 2488503 w 8079933"/>
              <a:gd name="connsiteY51421" fmla="*/ 465130 h 4687251"/>
              <a:gd name="connsiteX51422" fmla="*/ 2486008 w 8079933"/>
              <a:gd name="connsiteY51422" fmla="*/ 465130 h 4687251"/>
              <a:gd name="connsiteX51423" fmla="*/ 2485465 w 8079933"/>
              <a:gd name="connsiteY51423" fmla="*/ 462639 h 4687251"/>
              <a:gd name="connsiteX51424" fmla="*/ 2487961 w 8079933"/>
              <a:gd name="connsiteY51424" fmla="*/ 458851 h 4687251"/>
              <a:gd name="connsiteX51425" fmla="*/ 2490023 w 8079933"/>
              <a:gd name="connsiteY51425" fmla="*/ 458525 h 4687251"/>
              <a:gd name="connsiteX51426" fmla="*/ 2492301 w 8079933"/>
              <a:gd name="connsiteY51426" fmla="*/ 454519 h 4687251"/>
              <a:gd name="connsiteX51427" fmla="*/ 2492084 w 8079933"/>
              <a:gd name="connsiteY51427" fmla="*/ 451272 h 4687251"/>
              <a:gd name="connsiteX51428" fmla="*/ 2488720 w 8079933"/>
              <a:gd name="connsiteY51428" fmla="*/ 445100 h 4687251"/>
              <a:gd name="connsiteX51429" fmla="*/ 2486876 w 8079933"/>
              <a:gd name="connsiteY51429" fmla="*/ 443584 h 4687251"/>
              <a:gd name="connsiteX51430" fmla="*/ 2486984 w 8079933"/>
              <a:gd name="connsiteY51430" fmla="*/ 447157 h 4687251"/>
              <a:gd name="connsiteX51431" fmla="*/ 2489046 w 8079933"/>
              <a:gd name="connsiteY51431" fmla="*/ 449106 h 4687251"/>
              <a:gd name="connsiteX51432" fmla="*/ 2489371 w 8079933"/>
              <a:gd name="connsiteY51432" fmla="*/ 452896 h 4687251"/>
              <a:gd name="connsiteX51433" fmla="*/ 2487961 w 8079933"/>
              <a:gd name="connsiteY51433" fmla="*/ 455386 h 4687251"/>
              <a:gd name="connsiteX51434" fmla="*/ 2484163 w 8079933"/>
              <a:gd name="connsiteY51434" fmla="*/ 455277 h 4687251"/>
              <a:gd name="connsiteX51435" fmla="*/ 2482860 w 8079933"/>
              <a:gd name="connsiteY51435" fmla="*/ 456685 h 4687251"/>
              <a:gd name="connsiteX51436" fmla="*/ 2483512 w 8079933"/>
              <a:gd name="connsiteY51436" fmla="*/ 457551 h 4687251"/>
              <a:gd name="connsiteX51437" fmla="*/ 2484054 w 8079933"/>
              <a:gd name="connsiteY51437" fmla="*/ 460690 h 4687251"/>
              <a:gd name="connsiteX51438" fmla="*/ 2481233 w 8079933"/>
              <a:gd name="connsiteY51438" fmla="*/ 463722 h 4687251"/>
              <a:gd name="connsiteX51439" fmla="*/ 2478954 w 8079933"/>
              <a:gd name="connsiteY51439" fmla="*/ 463289 h 4687251"/>
              <a:gd name="connsiteX51440" fmla="*/ 2475915 w 8079933"/>
              <a:gd name="connsiteY51440" fmla="*/ 458309 h 4687251"/>
              <a:gd name="connsiteX51441" fmla="*/ 2476024 w 8079933"/>
              <a:gd name="connsiteY51441" fmla="*/ 455494 h 4687251"/>
              <a:gd name="connsiteX51442" fmla="*/ 2475047 w 8079933"/>
              <a:gd name="connsiteY51442" fmla="*/ 452570 h 4687251"/>
              <a:gd name="connsiteX51443" fmla="*/ 2477435 w 8079933"/>
              <a:gd name="connsiteY51443" fmla="*/ 446832 h 4687251"/>
              <a:gd name="connsiteX51444" fmla="*/ 2476675 w 8079933"/>
              <a:gd name="connsiteY51444" fmla="*/ 444775 h 4687251"/>
              <a:gd name="connsiteX51445" fmla="*/ 2477000 w 8079933"/>
              <a:gd name="connsiteY51445" fmla="*/ 441743 h 4687251"/>
              <a:gd name="connsiteX51446" fmla="*/ 2474830 w 8079933"/>
              <a:gd name="connsiteY51446" fmla="*/ 443909 h 4687251"/>
              <a:gd name="connsiteX51447" fmla="*/ 2473636 w 8079933"/>
              <a:gd name="connsiteY51447" fmla="*/ 447915 h 4687251"/>
              <a:gd name="connsiteX51448" fmla="*/ 2471358 w 8079933"/>
              <a:gd name="connsiteY51448" fmla="*/ 451812 h 4687251"/>
              <a:gd name="connsiteX51449" fmla="*/ 2471900 w 8079933"/>
              <a:gd name="connsiteY51449" fmla="*/ 453653 h 4687251"/>
              <a:gd name="connsiteX51450" fmla="*/ 2471249 w 8079933"/>
              <a:gd name="connsiteY51450" fmla="*/ 457443 h 4687251"/>
              <a:gd name="connsiteX51451" fmla="*/ 2466474 w 8079933"/>
              <a:gd name="connsiteY51451" fmla="*/ 457118 h 4687251"/>
              <a:gd name="connsiteX51452" fmla="*/ 2463653 w 8079933"/>
              <a:gd name="connsiteY51452" fmla="*/ 454736 h 4687251"/>
              <a:gd name="connsiteX51453" fmla="*/ 2460940 w 8079933"/>
              <a:gd name="connsiteY51453" fmla="*/ 454519 h 4687251"/>
              <a:gd name="connsiteX51454" fmla="*/ 2459747 w 8079933"/>
              <a:gd name="connsiteY51454" fmla="*/ 452354 h 4687251"/>
              <a:gd name="connsiteX51455" fmla="*/ 2461700 w 8079933"/>
              <a:gd name="connsiteY51455" fmla="*/ 448456 h 4687251"/>
              <a:gd name="connsiteX51456" fmla="*/ 2462242 w 8079933"/>
              <a:gd name="connsiteY51456" fmla="*/ 442935 h 4687251"/>
              <a:gd name="connsiteX51457" fmla="*/ 2463653 w 8079933"/>
              <a:gd name="connsiteY51457" fmla="*/ 441202 h 4687251"/>
              <a:gd name="connsiteX51458" fmla="*/ 2463761 w 8079933"/>
              <a:gd name="connsiteY51458" fmla="*/ 436980 h 4687251"/>
              <a:gd name="connsiteX51459" fmla="*/ 2468645 w 8079933"/>
              <a:gd name="connsiteY51459" fmla="*/ 427668 h 4687251"/>
              <a:gd name="connsiteX51460" fmla="*/ 2465606 w 8079933"/>
              <a:gd name="connsiteY51460" fmla="*/ 429509 h 4687251"/>
              <a:gd name="connsiteX51461" fmla="*/ 2462242 w 8079933"/>
              <a:gd name="connsiteY51461" fmla="*/ 430916 h 4687251"/>
              <a:gd name="connsiteX51462" fmla="*/ 2460180 w 8079933"/>
              <a:gd name="connsiteY51462" fmla="*/ 440227 h 4687251"/>
              <a:gd name="connsiteX51463" fmla="*/ 2459855 w 8079933"/>
              <a:gd name="connsiteY51463" fmla="*/ 446724 h 4687251"/>
              <a:gd name="connsiteX51464" fmla="*/ 2456708 w 8079933"/>
              <a:gd name="connsiteY51464" fmla="*/ 450296 h 4687251"/>
              <a:gd name="connsiteX51465" fmla="*/ 2455081 w 8079933"/>
              <a:gd name="connsiteY51465" fmla="*/ 448998 h 4687251"/>
              <a:gd name="connsiteX51466" fmla="*/ 2457467 w 8079933"/>
              <a:gd name="connsiteY51466" fmla="*/ 444667 h 4687251"/>
              <a:gd name="connsiteX51467" fmla="*/ 2457793 w 8079933"/>
              <a:gd name="connsiteY51467" fmla="*/ 443476 h 4687251"/>
              <a:gd name="connsiteX51468" fmla="*/ 2456382 w 8079933"/>
              <a:gd name="connsiteY51468" fmla="*/ 443043 h 4687251"/>
              <a:gd name="connsiteX51469" fmla="*/ 2453561 w 8079933"/>
              <a:gd name="connsiteY51469" fmla="*/ 449431 h 4687251"/>
              <a:gd name="connsiteX51470" fmla="*/ 2448243 w 8079933"/>
              <a:gd name="connsiteY51470" fmla="*/ 449431 h 4687251"/>
              <a:gd name="connsiteX51471" fmla="*/ 2446941 w 8079933"/>
              <a:gd name="connsiteY51471" fmla="*/ 446399 h 4687251"/>
              <a:gd name="connsiteX51472" fmla="*/ 2447050 w 8079933"/>
              <a:gd name="connsiteY51472" fmla="*/ 440661 h 4687251"/>
              <a:gd name="connsiteX51473" fmla="*/ 2445748 w 8079933"/>
              <a:gd name="connsiteY51473" fmla="*/ 438062 h 4687251"/>
              <a:gd name="connsiteX51474" fmla="*/ 2446616 w 8079933"/>
              <a:gd name="connsiteY51474" fmla="*/ 434814 h 4687251"/>
              <a:gd name="connsiteX51475" fmla="*/ 2451933 w 8079933"/>
              <a:gd name="connsiteY51475" fmla="*/ 431458 h 4687251"/>
              <a:gd name="connsiteX51476" fmla="*/ 2453127 w 8079933"/>
              <a:gd name="connsiteY51476" fmla="*/ 428101 h 4687251"/>
              <a:gd name="connsiteX51477" fmla="*/ 2452693 w 8079933"/>
              <a:gd name="connsiteY51477" fmla="*/ 425719 h 4687251"/>
              <a:gd name="connsiteX51478" fmla="*/ 2454212 w 8079933"/>
              <a:gd name="connsiteY51478" fmla="*/ 421930 h 4687251"/>
              <a:gd name="connsiteX51479" fmla="*/ 2457576 w 8079933"/>
              <a:gd name="connsiteY51479" fmla="*/ 418574 h 4687251"/>
              <a:gd name="connsiteX51480" fmla="*/ 2460940 w 8079933"/>
              <a:gd name="connsiteY51480" fmla="*/ 417815 h 4687251"/>
              <a:gd name="connsiteX51481" fmla="*/ 2463327 w 8079933"/>
              <a:gd name="connsiteY51481" fmla="*/ 415975 h 4687251"/>
              <a:gd name="connsiteX51482" fmla="*/ 2469947 w 8079933"/>
              <a:gd name="connsiteY51482" fmla="*/ 415542 h 4687251"/>
              <a:gd name="connsiteX51483" fmla="*/ 2472443 w 8079933"/>
              <a:gd name="connsiteY51483" fmla="*/ 412294 h 4687251"/>
              <a:gd name="connsiteX51484" fmla="*/ 2476675 w 8079933"/>
              <a:gd name="connsiteY51484" fmla="*/ 410778 h 4687251"/>
              <a:gd name="connsiteX51485" fmla="*/ 2479713 w 8079933"/>
              <a:gd name="connsiteY51485" fmla="*/ 409803 h 4687251"/>
              <a:gd name="connsiteX51486" fmla="*/ 2479822 w 8079933"/>
              <a:gd name="connsiteY51486" fmla="*/ 406989 h 4687251"/>
              <a:gd name="connsiteX51487" fmla="*/ 2481884 w 8079933"/>
              <a:gd name="connsiteY51487" fmla="*/ 405040 h 4687251"/>
              <a:gd name="connsiteX51488" fmla="*/ 2486008 w 8079933"/>
              <a:gd name="connsiteY51488" fmla="*/ 404931 h 4687251"/>
              <a:gd name="connsiteX51489" fmla="*/ 2492193 w 8079933"/>
              <a:gd name="connsiteY51489" fmla="*/ 407530 h 4687251"/>
              <a:gd name="connsiteX51490" fmla="*/ 2499789 w 8079933"/>
              <a:gd name="connsiteY51490" fmla="*/ 407854 h 4687251"/>
              <a:gd name="connsiteX51491" fmla="*/ 2502828 w 8079933"/>
              <a:gd name="connsiteY51491" fmla="*/ 405906 h 4687251"/>
              <a:gd name="connsiteX51492" fmla="*/ 2506517 w 8079933"/>
              <a:gd name="connsiteY51492" fmla="*/ 406989 h 4687251"/>
              <a:gd name="connsiteX51493" fmla="*/ 2508362 w 8079933"/>
              <a:gd name="connsiteY51493" fmla="*/ 411536 h 4687251"/>
              <a:gd name="connsiteX51494" fmla="*/ 2511834 w 8079933"/>
              <a:gd name="connsiteY51494" fmla="*/ 411319 h 4687251"/>
              <a:gd name="connsiteX51495" fmla="*/ 2512269 w 8079933"/>
              <a:gd name="connsiteY51495" fmla="*/ 408613 h 4687251"/>
              <a:gd name="connsiteX51496" fmla="*/ 2515090 w 8079933"/>
              <a:gd name="connsiteY51496" fmla="*/ 408288 h 4687251"/>
              <a:gd name="connsiteX51497" fmla="*/ 2519647 w 8079933"/>
              <a:gd name="connsiteY51497" fmla="*/ 411969 h 4687251"/>
              <a:gd name="connsiteX51498" fmla="*/ 2521710 w 8079933"/>
              <a:gd name="connsiteY51498" fmla="*/ 410778 h 4687251"/>
              <a:gd name="connsiteX51499" fmla="*/ 2525941 w 8079933"/>
              <a:gd name="connsiteY51499" fmla="*/ 411211 h 4687251"/>
              <a:gd name="connsiteX51500" fmla="*/ 2528003 w 8079933"/>
              <a:gd name="connsiteY51500" fmla="*/ 409046 h 4687251"/>
              <a:gd name="connsiteX51501" fmla="*/ 2526050 w 8079933"/>
              <a:gd name="connsiteY51501" fmla="*/ 407422 h 4687251"/>
              <a:gd name="connsiteX51502" fmla="*/ 2522578 w 8079933"/>
              <a:gd name="connsiteY51502" fmla="*/ 408180 h 4687251"/>
              <a:gd name="connsiteX51503" fmla="*/ 2519756 w 8079933"/>
              <a:gd name="connsiteY51503" fmla="*/ 405256 h 4687251"/>
              <a:gd name="connsiteX51504" fmla="*/ 2517369 w 8079933"/>
              <a:gd name="connsiteY51504" fmla="*/ 405040 h 4687251"/>
              <a:gd name="connsiteX51505" fmla="*/ 2517803 w 8079933"/>
              <a:gd name="connsiteY51505" fmla="*/ 403308 h 4687251"/>
              <a:gd name="connsiteX51506" fmla="*/ 2520842 w 8079933"/>
              <a:gd name="connsiteY51506" fmla="*/ 401142 h 4687251"/>
              <a:gd name="connsiteX51507" fmla="*/ 2521167 w 8079933"/>
              <a:gd name="connsiteY51507" fmla="*/ 398760 h 4687251"/>
              <a:gd name="connsiteX51508" fmla="*/ 2517477 w 8079933"/>
              <a:gd name="connsiteY51508" fmla="*/ 397244 h 4687251"/>
              <a:gd name="connsiteX51509" fmla="*/ 2518237 w 8079933"/>
              <a:gd name="connsiteY51509" fmla="*/ 396054 h 4687251"/>
              <a:gd name="connsiteX51510" fmla="*/ 2522903 w 8079933"/>
              <a:gd name="connsiteY51510" fmla="*/ 396270 h 4687251"/>
              <a:gd name="connsiteX51511" fmla="*/ 2523880 w 8079933"/>
              <a:gd name="connsiteY51511" fmla="*/ 394862 h 4687251"/>
              <a:gd name="connsiteX51512" fmla="*/ 2518779 w 8079933"/>
              <a:gd name="connsiteY51512" fmla="*/ 393022 h 4687251"/>
              <a:gd name="connsiteX51513" fmla="*/ 2517694 w 8079933"/>
              <a:gd name="connsiteY51513" fmla="*/ 394429 h 4687251"/>
              <a:gd name="connsiteX51514" fmla="*/ 2514439 w 8079933"/>
              <a:gd name="connsiteY51514" fmla="*/ 394862 h 4687251"/>
              <a:gd name="connsiteX51515" fmla="*/ 2511617 w 8079933"/>
              <a:gd name="connsiteY51515" fmla="*/ 390856 h 4687251"/>
              <a:gd name="connsiteX51516" fmla="*/ 2512486 w 8079933"/>
              <a:gd name="connsiteY51516" fmla="*/ 388150 h 4687251"/>
              <a:gd name="connsiteX51517" fmla="*/ 2516609 w 8079933"/>
              <a:gd name="connsiteY51517" fmla="*/ 384901 h 4687251"/>
              <a:gd name="connsiteX51518" fmla="*/ 2516717 w 8079933"/>
              <a:gd name="connsiteY51518" fmla="*/ 382303 h 4687251"/>
              <a:gd name="connsiteX51519" fmla="*/ 2514656 w 8079933"/>
              <a:gd name="connsiteY51519" fmla="*/ 382195 h 4687251"/>
              <a:gd name="connsiteX51520" fmla="*/ 2512919 w 8079933"/>
              <a:gd name="connsiteY51520" fmla="*/ 378730 h 4687251"/>
              <a:gd name="connsiteX51521" fmla="*/ 2513137 w 8079933"/>
              <a:gd name="connsiteY51521" fmla="*/ 370718 h 4687251"/>
              <a:gd name="connsiteX51522" fmla="*/ 2514439 w 8079933"/>
              <a:gd name="connsiteY51522" fmla="*/ 369094 h 4687251"/>
              <a:gd name="connsiteX51523" fmla="*/ 2513354 w 8079933"/>
              <a:gd name="connsiteY51523" fmla="*/ 364979 h 4687251"/>
              <a:gd name="connsiteX51524" fmla="*/ 2513896 w 8079933"/>
              <a:gd name="connsiteY51524" fmla="*/ 360757 h 4687251"/>
              <a:gd name="connsiteX51525" fmla="*/ 2517585 w 8079933"/>
              <a:gd name="connsiteY51525" fmla="*/ 360432 h 4687251"/>
              <a:gd name="connsiteX51526" fmla="*/ 2521710 w 8079933"/>
              <a:gd name="connsiteY51526" fmla="*/ 359025 h 4687251"/>
              <a:gd name="connsiteX51527" fmla="*/ 2526918 w 8079933"/>
              <a:gd name="connsiteY51527" fmla="*/ 359242 h 4687251"/>
              <a:gd name="connsiteX51528" fmla="*/ 2530174 w 8079933"/>
              <a:gd name="connsiteY51528" fmla="*/ 358483 h 4687251"/>
              <a:gd name="connsiteX51529" fmla="*/ 2534949 w 8079933"/>
              <a:gd name="connsiteY51529" fmla="*/ 360216 h 4687251"/>
              <a:gd name="connsiteX51530" fmla="*/ 2538963 w 8079933"/>
              <a:gd name="connsiteY51530" fmla="*/ 360216 h 4687251"/>
              <a:gd name="connsiteX51531" fmla="*/ 2543630 w 8079933"/>
              <a:gd name="connsiteY51531" fmla="*/ 366279 h 4687251"/>
              <a:gd name="connsiteX51532" fmla="*/ 2545800 w 8079933"/>
              <a:gd name="connsiteY51532" fmla="*/ 375699 h 4687251"/>
              <a:gd name="connsiteX51533" fmla="*/ 2546017 w 8079933"/>
              <a:gd name="connsiteY51533" fmla="*/ 389124 h 4687251"/>
              <a:gd name="connsiteX51534" fmla="*/ 2544064 w 8079933"/>
              <a:gd name="connsiteY51534" fmla="*/ 395295 h 4687251"/>
              <a:gd name="connsiteX51535" fmla="*/ 2546126 w 8079933"/>
              <a:gd name="connsiteY51535" fmla="*/ 397352 h 4687251"/>
              <a:gd name="connsiteX51536" fmla="*/ 2549164 w 8079933"/>
              <a:gd name="connsiteY51536" fmla="*/ 395837 h 4687251"/>
              <a:gd name="connsiteX51537" fmla="*/ 2557737 w 8079933"/>
              <a:gd name="connsiteY51537" fmla="*/ 400492 h 4687251"/>
              <a:gd name="connsiteX51538" fmla="*/ 2560884 w 8079933"/>
              <a:gd name="connsiteY51538" fmla="*/ 406123 h 4687251"/>
              <a:gd name="connsiteX51539" fmla="*/ 2563705 w 8079933"/>
              <a:gd name="connsiteY51539" fmla="*/ 406989 h 4687251"/>
              <a:gd name="connsiteX51540" fmla="*/ 2563705 w 8079933"/>
              <a:gd name="connsiteY51540" fmla="*/ 403849 h 4687251"/>
              <a:gd name="connsiteX51541" fmla="*/ 2573580 w 8079933"/>
              <a:gd name="connsiteY51541" fmla="*/ 403741 h 4687251"/>
              <a:gd name="connsiteX51542" fmla="*/ 2579766 w 8079933"/>
              <a:gd name="connsiteY51542" fmla="*/ 409371 h 4687251"/>
              <a:gd name="connsiteX51543" fmla="*/ 2582045 w 8079933"/>
              <a:gd name="connsiteY51543" fmla="*/ 407530 h 4687251"/>
              <a:gd name="connsiteX51544" fmla="*/ 2579223 w 8079933"/>
              <a:gd name="connsiteY51544" fmla="*/ 404715 h 4687251"/>
              <a:gd name="connsiteX51545" fmla="*/ 2582913 w 8079933"/>
              <a:gd name="connsiteY51545" fmla="*/ 401683 h 4687251"/>
              <a:gd name="connsiteX51546" fmla="*/ 2589966 w 8079933"/>
              <a:gd name="connsiteY51546" fmla="*/ 398436 h 4687251"/>
              <a:gd name="connsiteX51547" fmla="*/ 2594741 w 8079933"/>
              <a:gd name="connsiteY51547" fmla="*/ 391506 h 4687251"/>
              <a:gd name="connsiteX51548" fmla="*/ 2603748 w 8079933"/>
              <a:gd name="connsiteY51548" fmla="*/ 385984 h 4687251"/>
              <a:gd name="connsiteX51549" fmla="*/ 2611670 w 8079933"/>
              <a:gd name="connsiteY51549" fmla="*/ 377647 h 4687251"/>
              <a:gd name="connsiteX51550" fmla="*/ 2611995 w 8079933"/>
              <a:gd name="connsiteY51550" fmla="*/ 373100 h 4687251"/>
              <a:gd name="connsiteX51551" fmla="*/ 2615250 w 8079933"/>
              <a:gd name="connsiteY51551" fmla="*/ 370393 h 4687251"/>
              <a:gd name="connsiteX51552" fmla="*/ 2611778 w 8079933"/>
              <a:gd name="connsiteY51552" fmla="*/ 370177 h 4687251"/>
              <a:gd name="connsiteX51553" fmla="*/ 2608848 w 8079933"/>
              <a:gd name="connsiteY51553" fmla="*/ 373100 h 4687251"/>
              <a:gd name="connsiteX51554" fmla="*/ 2608523 w 8079933"/>
              <a:gd name="connsiteY51554" fmla="*/ 376890 h 4687251"/>
              <a:gd name="connsiteX51555" fmla="*/ 2600818 w 8079933"/>
              <a:gd name="connsiteY51555" fmla="*/ 385009 h 4687251"/>
              <a:gd name="connsiteX51556" fmla="*/ 2595609 w 8079933"/>
              <a:gd name="connsiteY51556" fmla="*/ 388150 h 4687251"/>
              <a:gd name="connsiteX51557" fmla="*/ 2595609 w 8079933"/>
              <a:gd name="connsiteY51557" fmla="*/ 389666 h 4687251"/>
              <a:gd name="connsiteX51558" fmla="*/ 2588447 w 8079933"/>
              <a:gd name="connsiteY51558" fmla="*/ 395837 h 4687251"/>
              <a:gd name="connsiteX51559" fmla="*/ 2580417 w 8079933"/>
              <a:gd name="connsiteY51559" fmla="*/ 398868 h 4687251"/>
              <a:gd name="connsiteX51560" fmla="*/ 2577704 w 8079933"/>
              <a:gd name="connsiteY51560" fmla="*/ 396920 h 4687251"/>
              <a:gd name="connsiteX51561" fmla="*/ 2574991 w 8079933"/>
              <a:gd name="connsiteY51561" fmla="*/ 396703 h 4687251"/>
              <a:gd name="connsiteX51562" fmla="*/ 2574449 w 8079933"/>
              <a:gd name="connsiteY51562" fmla="*/ 398111 h 4687251"/>
              <a:gd name="connsiteX51563" fmla="*/ 2569023 w 8079933"/>
              <a:gd name="connsiteY51563" fmla="*/ 398111 h 4687251"/>
              <a:gd name="connsiteX51564" fmla="*/ 2562620 w 8079933"/>
              <a:gd name="connsiteY51564" fmla="*/ 394538 h 4687251"/>
              <a:gd name="connsiteX51565" fmla="*/ 2563055 w 8079933"/>
              <a:gd name="connsiteY51565" fmla="*/ 391614 h 4687251"/>
              <a:gd name="connsiteX51566" fmla="*/ 2566852 w 8079933"/>
              <a:gd name="connsiteY51566" fmla="*/ 388475 h 4687251"/>
              <a:gd name="connsiteX51567" fmla="*/ 2571193 w 8079933"/>
              <a:gd name="connsiteY51567" fmla="*/ 385551 h 4687251"/>
              <a:gd name="connsiteX51568" fmla="*/ 2571736 w 8079933"/>
              <a:gd name="connsiteY51568" fmla="*/ 381220 h 4687251"/>
              <a:gd name="connsiteX51569" fmla="*/ 2566526 w 8079933"/>
              <a:gd name="connsiteY51569" fmla="*/ 385118 h 4687251"/>
              <a:gd name="connsiteX51570" fmla="*/ 2564682 w 8079933"/>
              <a:gd name="connsiteY51570" fmla="*/ 388150 h 4687251"/>
              <a:gd name="connsiteX51571" fmla="*/ 2560884 w 8079933"/>
              <a:gd name="connsiteY51571" fmla="*/ 387933 h 4687251"/>
              <a:gd name="connsiteX51572" fmla="*/ 2557954 w 8079933"/>
              <a:gd name="connsiteY51572" fmla="*/ 382303 h 4687251"/>
              <a:gd name="connsiteX51573" fmla="*/ 2557954 w 8079933"/>
              <a:gd name="connsiteY51573" fmla="*/ 380138 h 4687251"/>
              <a:gd name="connsiteX51574" fmla="*/ 2560992 w 8079933"/>
              <a:gd name="connsiteY51574" fmla="*/ 379705 h 4687251"/>
              <a:gd name="connsiteX51575" fmla="*/ 2565008 w 8079933"/>
              <a:gd name="connsiteY51575" fmla="*/ 377647 h 4687251"/>
              <a:gd name="connsiteX51576" fmla="*/ 2565550 w 8079933"/>
              <a:gd name="connsiteY51576" fmla="*/ 376023 h 4687251"/>
              <a:gd name="connsiteX51577" fmla="*/ 2561426 w 8079933"/>
              <a:gd name="connsiteY51577" fmla="*/ 375915 h 4687251"/>
              <a:gd name="connsiteX51578" fmla="*/ 2561426 w 8079933"/>
              <a:gd name="connsiteY51578" fmla="*/ 373750 h 4687251"/>
              <a:gd name="connsiteX51579" fmla="*/ 2563923 w 8079933"/>
              <a:gd name="connsiteY51579" fmla="*/ 371909 h 4687251"/>
              <a:gd name="connsiteX51580" fmla="*/ 2567286 w 8079933"/>
              <a:gd name="connsiteY51580" fmla="*/ 373317 h 4687251"/>
              <a:gd name="connsiteX51581" fmla="*/ 2570651 w 8079933"/>
              <a:gd name="connsiteY51581" fmla="*/ 372992 h 4687251"/>
              <a:gd name="connsiteX51582" fmla="*/ 2571084 w 8079933"/>
              <a:gd name="connsiteY51582" fmla="*/ 370177 h 4687251"/>
              <a:gd name="connsiteX51583" fmla="*/ 2567178 w 8079933"/>
              <a:gd name="connsiteY51583" fmla="*/ 370177 h 4687251"/>
              <a:gd name="connsiteX51584" fmla="*/ 2564465 w 8079933"/>
              <a:gd name="connsiteY51584" fmla="*/ 368444 h 4687251"/>
              <a:gd name="connsiteX51585" fmla="*/ 2562620 w 8079933"/>
              <a:gd name="connsiteY51585" fmla="*/ 370934 h 4687251"/>
              <a:gd name="connsiteX51586" fmla="*/ 2558930 w 8079933"/>
              <a:gd name="connsiteY51586" fmla="*/ 370610 h 4687251"/>
              <a:gd name="connsiteX51587" fmla="*/ 2557194 w 8079933"/>
              <a:gd name="connsiteY51587" fmla="*/ 367145 h 4687251"/>
              <a:gd name="connsiteX51588" fmla="*/ 2558713 w 8079933"/>
              <a:gd name="connsiteY51588" fmla="*/ 364546 h 4687251"/>
              <a:gd name="connsiteX51589" fmla="*/ 2562620 w 8079933"/>
              <a:gd name="connsiteY51589" fmla="*/ 363572 h 4687251"/>
              <a:gd name="connsiteX51590" fmla="*/ 2565658 w 8079933"/>
              <a:gd name="connsiteY51590" fmla="*/ 361407 h 4687251"/>
              <a:gd name="connsiteX51591" fmla="*/ 2570433 w 8079933"/>
              <a:gd name="connsiteY51591" fmla="*/ 361840 h 4687251"/>
              <a:gd name="connsiteX51592" fmla="*/ 2575317 w 8079933"/>
              <a:gd name="connsiteY51592" fmla="*/ 363680 h 4687251"/>
              <a:gd name="connsiteX51593" fmla="*/ 2578898 w 8079933"/>
              <a:gd name="connsiteY51593" fmla="*/ 361407 h 4687251"/>
              <a:gd name="connsiteX51594" fmla="*/ 2573580 w 8079933"/>
              <a:gd name="connsiteY51594" fmla="*/ 361407 h 4687251"/>
              <a:gd name="connsiteX51595" fmla="*/ 2572712 w 8079933"/>
              <a:gd name="connsiteY51595" fmla="*/ 358916 h 4687251"/>
              <a:gd name="connsiteX51596" fmla="*/ 2576836 w 8079933"/>
              <a:gd name="connsiteY51596" fmla="*/ 354585 h 4687251"/>
              <a:gd name="connsiteX51597" fmla="*/ 2580308 w 8079933"/>
              <a:gd name="connsiteY51597" fmla="*/ 354369 h 4687251"/>
              <a:gd name="connsiteX51598" fmla="*/ 2581828 w 8079933"/>
              <a:gd name="connsiteY51598" fmla="*/ 352312 h 4687251"/>
              <a:gd name="connsiteX51599" fmla="*/ 2578247 w 8079933"/>
              <a:gd name="connsiteY51599" fmla="*/ 352312 h 4687251"/>
              <a:gd name="connsiteX51600" fmla="*/ 2578030 w 8079933"/>
              <a:gd name="connsiteY51600" fmla="*/ 349930 h 4687251"/>
              <a:gd name="connsiteX51601" fmla="*/ 2580960 w 8079933"/>
              <a:gd name="connsiteY51601" fmla="*/ 345491 h 4687251"/>
              <a:gd name="connsiteX51602" fmla="*/ 2585083 w 8079933"/>
              <a:gd name="connsiteY51602" fmla="*/ 344733 h 4687251"/>
              <a:gd name="connsiteX51603" fmla="*/ 2583238 w 8079933"/>
              <a:gd name="connsiteY51603" fmla="*/ 340944 h 4687251"/>
              <a:gd name="connsiteX51604" fmla="*/ 2589098 w 8079933"/>
              <a:gd name="connsiteY51604" fmla="*/ 332173 h 4687251"/>
              <a:gd name="connsiteX51605" fmla="*/ 2593005 w 8079933"/>
              <a:gd name="connsiteY51605" fmla="*/ 329792 h 4687251"/>
              <a:gd name="connsiteX51606" fmla="*/ 2594090 w 8079933"/>
              <a:gd name="connsiteY51606" fmla="*/ 326761 h 4687251"/>
              <a:gd name="connsiteX51607" fmla="*/ 2589966 w 8079933"/>
              <a:gd name="connsiteY51607" fmla="*/ 327410 h 4687251"/>
              <a:gd name="connsiteX51608" fmla="*/ 2583346 w 8079933"/>
              <a:gd name="connsiteY51608" fmla="*/ 335530 h 4687251"/>
              <a:gd name="connsiteX51609" fmla="*/ 2578247 w 8079933"/>
              <a:gd name="connsiteY51609" fmla="*/ 345275 h 4687251"/>
              <a:gd name="connsiteX51610" fmla="*/ 2571193 w 8079933"/>
              <a:gd name="connsiteY51610" fmla="*/ 350904 h 4687251"/>
              <a:gd name="connsiteX51611" fmla="*/ 2565441 w 8079933"/>
              <a:gd name="connsiteY51611" fmla="*/ 356751 h 4687251"/>
              <a:gd name="connsiteX51612" fmla="*/ 2561643 w 8079933"/>
              <a:gd name="connsiteY51612" fmla="*/ 355561 h 4687251"/>
              <a:gd name="connsiteX51613" fmla="*/ 2554590 w 8079933"/>
              <a:gd name="connsiteY51613" fmla="*/ 355777 h 4687251"/>
              <a:gd name="connsiteX51614" fmla="*/ 2554481 w 8079933"/>
              <a:gd name="connsiteY51614" fmla="*/ 352637 h 4687251"/>
              <a:gd name="connsiteX51615" fmla="*/ 2558062 w 8079933"/>
              <a:gd name="connsiteY51615" fmla="*/ 347548 h 4687251"/>
              <a:gd name="connsiteX51616" fmla="*/ 2563055 w 8079933"/>
              <a:gd name="connsiteY51616" fmla="*/ 345275 h 4687251"/>
              <a:gd name="connsiteX51617" fmla="*/ 2563055 w 8079933"/>
              <a:gd name="connsiteY51617" fmla="*/ 340618 h 4687251"/>
              <a:gd name="connsiteX51618" fmla="*/ 2556000 w 8079933"/>
              <a:gd name="connsiteY51618" fmla="*/ 345816 h 4687251"/>
              <a:gd name="connsiteX51619" fmla="*/ 2549815 w 8079933"/>
              <a:gd name="connsiteY51619" fmla="*/ 345166 h 4687251"/>
              <a:gd name="connsiteX51620" fmla="*/ 2549924 w 8079933"/>
              <a:gd name="connsiteY51620" fmla="*/ 348522 h 4687251"/>
              <a:gd name="connsiteX51621" fmla="*/ 2546017 w 8079933"/>
              <a:gd name="connsiteY51621" fmla="*/ 351338 h 4687251"/>
              <a:gd name="connsiteX51622" fmla="*/ 2539615 w 8079933"/>
              <a:gd name="connsiteY51622" fmla="*/ 350796 h 4687251"/>
              <a:gd name="connsiteX51623" fmla="*/ 2533646 w 8079933"/>
              <a:gd name="connsiteY51623" fmla="*/ 345275 h 4687251"/>
              <a:gd name="connsiteX51624" fmla="*/ 2536685 w 8079933"/>
              <a:gd name="connsiteY51624" fmla="*/ 342893 h 4687251"/>
              <a:gd name="connsiteX51625" fmla="*/ 2541025 w 8079933"/>
              <a:gd name="connsiteY51625" fmla="*/ 342351 h 4687251"/>
              <a:gd name="connsiteX51626" fmla="*/ 2539506 w 8079933"/>
              <a:gd name="connsiteY51626" fmla="*/ 339969 h 4687251"/>
              <a:gd name="connsiteX51627" fmla="*/ 2536685 w 8079933"/>
              <a:gd name="connsiteY51627" fmla="*/ 339753 h 4687251"/>
              <a:gd name="connsiteX51628" fmla="*/ 2537553 w 8079933"/>
              <a:gd name="connsiteY51628" fmla="*/ 334664 h 4687251"/>
              <a:gd name="connsiteX51629" fmla="*/ 2543304 w 8079933"/>
              <a:gd name="connsiteY51629" fmla="*/ 330008 h 4687251"/>
              <a:gd name="connsiteX51630" fmla="*/ 2543955 w 8079933"/>
              <a:gd name="connsiteY51630" fmla="*/ 326327 h 4687251"/>
              <a:gd name="connsiteX51631" fmla="*/ 2549164 w 8079933"/>
              <a:gd name="connsiteY51631" fmla="*/ 324270 h 4687251"/>
              <a:gd name="connsiteX51632" fmla="*/ 2553396 w 8079933"/>
              <a:gd name="connsiteY51632" fmla="*/ 321239 h 4687251"/>
              <a:gd name="connsiteX51633" fmla="*/ 2558280 w 8079933"/>
              <a:gd name="connsiteY51633" fmla="*/ 320589 h 4687251"/>
              <a:gd name="connsiteX51634" fmla="*/ 2558605 w 8079933"/>
              <a:gd name="connsiteY51634" fmla="*/ 314850 h 4687251"/>
              <a:gd name="connsiteX51635" fmla="*/ 2561860 w 8079933"/>
              <a:gd name="connsiteY51635" fmla="*/ 308679 h 4687251"/>
              <a:gd name="connsiteX51636" fmla="*/ 2568371 w 8079933"/>
              <a:gd name="connsiteY51636" fmla="*/ 300775 h 4687251"/>
              <a:gd name="connsiteX51637" fmla="*/ 2572169 w 8079933"/>
              <a:gd name="connsiteY51637" fmla="*/ 302183 h 4687251"/>
              <a:gd name="connsiteX51638" fmla="*/ 2581502 w 8079933"/>
              <a:gd name="connsiteY51638" fmla="*/ 300017 h 4687251"/>
              <a:gd name="connsiteX51639" fmla="*/ 2588339 w 8079933"/>
              <a:gd name="connsiteY51639" fmla="*/ 301749 h 4687251"/>
              <a:gd name="connsiteX51640" fmla="*/ 2592028 w 8079933"/>
              <a:gd name="connsiteY51640" fmla="*/ 299693 h 4687251"/>
              <a:gd name="connsiteX51641" fmla="*/ 2595826 w 8079933"/>
              <a:gd name="connsiteY51641" fmla="*/ 299909 h 4687251"/>
              <a:gd name="connsiteX51642" fmla="*/ 2600601 w 8079933"/>
              <a:gd name="connsiteY51642" fmla="*/ 296661 h 4687251"/>
              <a:gd name="connsiteX51643" fmla="*/ 2604291 w 8079933"/>
              <a:gd name="connsiteY51643" fmla="*/ 296120 h 4687251"/>
              <a:gd name="connsiteX51644" fmla="*/ 2604941 w 8079933"/>
              <a:gd name="connsiteY51644" fmla="*/ 297852 h 4687251"/>
              <a:gd name="connsiteX51645" fmla="*/ 2610802 w 8079933"/>
              <a:gd name="connsiteY51645" fmla="*/ 304023 h 4687251"/>
              <a:gd name="connsiteX51646" fmla="*/ 2613840 w 8079933"/>
              <a:gd name="connsiteY51646" fmla="*/ 304240 h 4687251"/>
              <a:gd name="connsiteX51647" fmla="*/ 2624366 w 8079933"/>
              <a:gd name="connsiteY51647" fmla="*/ 311278 h 4687251"/>
              <a:gd name="connsiteX51648" fmla="*/ 2626103 w 8079933"/>
              <a:gd name="connsiteY51648" fmla="*/ 315067 h 4687251"/>
              <a:gd name="connsiteX51649" fmla="*/ 2628816 w 8079933"/>
              <a:gd name="connsiteY51649" fmla="*/ 318965 h 4687251"/>
              <a:gd name="connsiteX51650" fmla="*/ 2631637 w 8079933"/>
              <a:gd name="connsiteY51650" fmla="*/ 318857 h 4687251"/>
              <a:gd name="connsiteX51651" fmla="*/ 2638039 w 8079933"/>
              <a:gd name="connsiteY51651" fmla="*/ 328601 h 4687251"/>
              <a:gd name="connsiteX51652" fmla="*/ 2637822 w 8079933"/>
              <a:gd name="connsiteY51652" fmla="*/ 321780 h 4687251"/>
              <a:gd name="connsiteX51653" fmla="*/ 2642488 w 8079933"/>
              <a:gd name="connsiteY51653" fmla="*/ 321347 h 4687251"/>
              <a:gd name="connsiteX51654" fmla="*/ 2641620 w 8079933"/>
              <a:gd name="connsiteY51654" fmla="*/ 318315 h 4687251"/>
              <a:gd name="connsiteX51655" fmla="*/ 2635977 w 8079933"/>
              <a:gd name="connsiteY51655" fmla="*/ 317774 h 4687251"/>
              <a:gd name="connsiteX51656" fmla="*/ 2633699 w 8079933"/>
              <a:gd name="connsiteY51656" fmla="*/ 316908 h 4687251"/>
              <a:gd name="connsiteX51657" fmla="*/ 2633590 w 8079933"/>
              <a:gd name="connsiteY51657" fmla="*/ 313010 h 4687251"/>
              <a:gd name="connsiteX51658" fmla="*/ 2638039 w 8079933"/>
              <a:gd name="connsiteY51658" fmla="*/ 311386 h 4687251"/>
              <a:gd name="connsiteX51659" fmla="*/ 2648023 w 8079933"/>
              <a:gd name="connsiteY51659" fmla="*/ 311386 h 4687251"/>
              <a:gd name="connsiteX51660" fmla="*/ 2652689 w 8079933"/>
              <a:gd name="connsiteY51660" fmla="*/ 313768 h 4687251"/>
              <a:gd name="connsiteX51661" fmla="*/ 2654208 w 8079933"/>
              <a:gd name="connsiteY51661" fmla="*/ 311819 h 4687251"/>
              <a:gd name="connsiteX51662" fmla="*/ 2654534 w 8079933"/>
              <a:gd name="connsiteY51662" fmla="*/ 306297 h 4687251"/>
              <a:gd name="connsiteX51663" fmla="*/ 2656921 w 8079933"/>
              <a:gd name="connsiteY51663" fmla="*/ 301641 h 4687251"/>
              <a:gd name="connsiteX51664" fmla="*/ 2656595 w 8079933"/>
              <a:gd name="connsiteY51664" fmla="*/ 298393 h 4687251"/>
              <a:gd name="connsiteX51665" fmla="*/ 2653882 w 8079933"/>
              <a:gd name="connsiteY51665" fmla="*/ 299584 h 4687251"/>
              <a:gd name="connsiteX51666" fmla="*/ 2653123 w 8079933"/>
              <a:gd name="connsiteY51666" fmla="*/ 303374 h 4687251"/>
              <a:gd name="connsiteX51667" fmla="*/ 2648348 w 8079933"/>
              <a:gd name="connsiteY51667" fmla="*/ 306622 h 4687251"/>
              <a:gd name="connsiteX51668" fmla="*/ 2644876 w 8079933"/>
              <a:gd name="connsiteY51668" fmla="*/ 309870 h 4687251"/>
              <a:gd name="connsiteX51669" fmla="*/ 2635977 w 8079933"/>
              <a:gd name="connsiteY51669" fmla="*/ 306622 h 4687251"/>
              <a:gd name="connsiteX51670" fmla="*/ 2628816 w 8079933"/>
              <a:gd name="connsiteY51670" fmla="*/ 306406 h 4687251"/>
              <a:gd name="connsiteX51671" fmla="*/ 2625994 w 8079933"/>
              <a:gd name="connsiteY51671" fmla="*/ 302833 h 4687251"/>
              <a:gd name="connsiteX51672" fmla="*/ 2622304 w 8079933"/>
              <a:gd name="connsiteY51672" fmla="*/ 300775 h 4687251"/>
              <a:gd name="connsiteX51673" fmla="*/ 2615250 w 8079933"/>
              <a:gd name="connsiteY51673" fmla="*/ 301641 h 4687251"/>
              <a:gd name="connsiteX51674" fmla="*/ 2609607 w 8079933"/>
              <a:gd name="connsiteY51674" fmla="*/ 290923 h 4687251"/>
              <a:gd name="connsiteX51675" fmla="*/ 2609391 w 8079933"/>
              <a:gd name="connsiteY51675" fmla="*/ 282911 h 4687251"/>
              <a:gd name="connsiteX51676" fmla="*/ 2611995 w 8079933"/>
              <a:gd name="connsiteY51676" fmla="*/ 280529 h 4687251"/>
              <a:gd name="connsiteX51677" fmla="*/ 2616770 w 8079933"/>
              <a:gd name="connsiteY51677" fmla="*/ 283019 h 4687251"/>
              <a:gd name="connsiteX51678" fmla="*/ 2617855 w 8079933"/>
              <a:gd name="connsiteY51678" fmla="*/ 287674 h 4687251"/>
              <a:gd name="connsiteX51679" fmla="*/ 2619917 w 8079933"/>
              <a:gd name="connsiteY51679" fmla="*/ 290923 h 4687251"/>
              <a:gd name="connsiteX51680" fmla="*/ 2623173 w 8079933"/>
              <a:gd name="connsiteY51680" fmla="*/ 285509 h 4687251"/>
              <a:gd name="connsiteX51681" fmla="*/ 2624691 w 8079933"/>
              <a:gd name="connsiteY51681" fmla="*/ 279121 h 4687251"/>
              <a:gd name="connsiteX51682" fmla="*/ 2621328 w 8079933"/>
              <a:gd name="connsiteY51682" fmla="*/ 279988 h 4687251"/>
              <a:gd name="connsiteX51683" fmla="*/ 2619700 w 8079933"/>
              <a:gd name="connsiteY51683" fmla="*/ 278580 h 4687251"/>
              <a:gd name="connsiteX51684" fmla="*/ 2619375 w 8079933"/>
              <a:gd name="connsiteY51684" fmla="*/ 273817 h 4687251"/>
              <a:gd name="connsiteX51685" fmla="*/ 2623389 w 8079933"/>
              <a:gd name="connsiteY51685" fmla="*/ 266237 h 4687251"/>
              <a:gd name="connsiteX51686" fmla="*/ 2623173 w 8079933"/>
              <a:gd name="connsiteY51686" fmla="*/ 259850 h 4687251"/>
              <a:gd name="connsiteX51687" fmla="*/ 2626428 w 8079933"/>
              <a:gd name="connsiteY51687" fmla="*/ 252595 h 4687251"/>
              <a:gd name="connsiteX51688" fmla="*/ 2625126 w 8079933"/>
              <a:gd name="connsiteY51688" fmla="*/ 239927 h 4687251"/>
              <a:gd name="connsiteX51689" fmla="*/ 2622846 w 8079933"/>
              <a:gd name="connsiteY51689" fmla="*/ 233215 h 4687251"/>
              <a:gd name="connsiteX51690" fmla="*/ 2620243 w 8079933"/>
              <a:gd name="connsiteY51690" fmla="*/ 230941 h 4687251"/>
              <a:gd name="connsiteX51691" fmla="*/ 2618289 w 8079933"/>
              <a:gd name="connsiteY51691" fmla="*/ 226069 h 4687251"/>
              <a:gd name="connsiteX51692" fmla="*/ 2619157 w 8079933"/>
              <a:gd name="connsiteY51692" fmla="*/ 222495 h 4687251"/>
              <a:gd name="connsiteX51693" fmla="*/ 2621979 w 8079933"/>
              <a:gd name="connsiteY51693" fmla="*/ 221413 h 4687251"/>
              <a:gd name="connsiteX51694" fmla="*/ 2624475 w 8079933"/>
              <a:gd name="connsiteY51694" fmla="*/ 220222 h 4687251"/>
              <a:gd name="connsiteX51695" fmla="*/ 2627079 w 8079933"/>
              <a:gd name="connsiteY51695" fmla="*/ 222821 h 4687251"/>
              <a:gd name="connsiteX51696" fmla="*/ 2630769 w 8079933"/>
              <a:gd name="connsiteY51696" fmla="*/ 223687 h 4687251"/>
              <a:gd name="connsiteX51697" fmla="*/ 2633590 w 8079933"/>
              <a:gd name="connsiteY51697" fmla="*/ 228992 h 4687251"/>
              <a:gd name="connsiteX51698" fmla="*/ 2635218 w 8079933"/>
              <a:gd name="connsiteY51698" fmla="*/ 228342 h 4687251"/>
              <a:gd name="connsiteX51699" fmla="*/ 2635109 w 8079933"/>
              <a:gd name="connsiteY51699" fmla="*/ 224661 h 4687251"/>
              <a:gd name="connsiteX51700" fmla="*/ 2632722 w 8079933"/>
              <a:gd name="connsiteY51700" fmla="*/ 219031 h 4687251"/>
              <a:gd name="connsiteX51701" fmla="*/ 2627730 w 8079933"/>
              <a:gd name="connsiteY51701" fmla="*/ 217515 h 4687251"/>
              <a:gd name="connsiteX51702" fmla="*/ 2624800 w 8079933"/>
              <a:gd name="connsiteY51702" fmla="*/ 215025 h 4687251"/>
              <a:gd name="connsiteX51703" fmla="*/ 2624583 w 8079933"/>
              <a:gd name="connsiteY51703" fmla="*/ 210695 h 4687251"/>
              <a:gd name="connsiteX51704" fmla="*/ 2626319 w 8079933"/>
              <a:gd name="connsiteY51704" fmla="*/ 205172 h 4687251"/>
              <a:gd name="connsiteX51705" fmla="*/ 2641078 w 8079933"/>
              <a:gd name="connsiteY51705" fmla="*/ 189040 h 4687251"/>
              <a:gd name="connsiteX51706" fmla="*/ 2647806 w 8079933"/>
              <a:gd name="connsiteY51706" fmla="*/ 187524 h 4687251"/>
              <a:gd name="connsiteX51707" fmla="*/ 2652255 w 8079933"/>
              <a:gd name="connsiteY51707" fmla="*/ 189365 h 4687251"/>
              <a:gd name="connsiteX51708" fmla="*/ 2653991 w 8079933"/>
              <a:gd name="connsiteY51708" fmla="*/ 193804 h 4687251"/>
              <a:gd name="connsiteX51709" fmla="*/ 2659525 w 8079933"/>
              <a:gd name="connsiteY51709" fmla="*/ 198135 h 4687251"/>
              <a:gd name="connsiteX51710" fmla="*/ 2663649 w 8079933"/>
              <a:gd name="connsiteY51710" fmla="*/ 198135 h 4687251"/>
              <a:gd name="connsiteX51711" fmla="*/ 2673958 w 8079933"/>
              <a:gd name="connsiteY51711" fmla="*/ 205064 h 4687251"/>
              <a:gd name="connsiteX51712" fmla="*/ 2673958 w 8079933"/>
              <a:gd name="connsiteY51712" fmla="*/ 210153 h 4687251"/>
              <a:gd name="connsiteX51713" fmla="*/ 2679493 w 8079933"/>
              <a:gd name="connsiteY51713" fmla="*/ 216541 h 4687251"/>
              <a:gd name="connsiteX51714" fmla="*/ 2682097 w 8079933"/>
              <a:gd name="connsiteY51714" fmla="*/ 228018 h 4687251"/>
              <a:gd name="connsiteX51715" fmla="*/ 2681446 w 8079933"/>
              <a:gd name="connsiteY51715" fmla="*/ 236462 h 4687251"/>
              <a:gd name="connsiteX51716" fmla="*/ 2682423 w 8079933"/>
              <a:gd name="connsiteY51716" fmla="*/ 244583 h 4687251"/>
              <a:gd name="connsiteX51717" fmla="*/ 2685895 w 8079933"/>
              <a:gd name="connsiteY51717" fmla="*/ 249239 h 4687251"/>
              <a:gd name="connsiteX51718" fmla="*/ 2687414 w 8079933"/>
              <a:gd name="connsiteY51718" fmla="*/ 246748 h 4687251"/>
              <a:gd name="connsiteX51719" fmla="*/ 2689367 w 8079933"/>
              <a:gd name="connsiteY51719" fmla="*/ 246423 h 4687251"/>
              <a:gd name="connsiteX51720" fmla="*/ 2693817 w 8079933"/>
              <a:gd name="connsiteY51720" fmla="*/ 250538 h 4687251"/>
              <a:gd name="connsiteX51721" fmla="*/ 2694685 w 8079933"/>
              <a:gd name="connsiteY51721" fmla="*/ 254868 h 4687251"/>
              <a:gd name="connsiteX51722" fmla="*/ 2695878 w 8079933"/>
              <a:gd name="connsiteY51722" fmla="*/ 251729 h 4687251"/>
              <a:gd name="connsiteX51723" fmla="*/ 2699134 w 8079933"/>
              <a:gd name="connsiteY51723" fmla="*/ 249888 h 4687251"/>
              <a:gd name="connsiteX51724" fmla="*/ 2704343 w 8079933"/>
              <a:gd name="connsiteY51724" fmla="*/ 250429 h 4687251"/>
              <a:gd name="connsiteX51725" fmla="*/ 2700545 w 8079933"/>
              <a:gd name="connsiteY51725" fmla="*/ 248048 h 4687251"/>
              <a:gd name="connsiteX51726" fmla="*/ 2694685 w 8079933"/>
              <a:gd name="connsiteY51726" fmla="*/ 247182 h 4687251"/>
              <a:gd name="connsiteX51727" fmla="*/ 2691429 w 8079933"/>
              <a:gd name="connsiteY51727" fmla="*/ 242850 h 4687251"/>
              <a:gd name="connsiteX51728" fmla="*/ 2687957 w 8079933"/>
              <a:gd name="connsiteY51728" fmla="*/ 240577 h 4687251"/>
              <a:gd name="connsiteX51729" fmla="*/ 2687848 w 8079933"/>
              <a:gd name="connsiteY51729" fmla="*/ 237870 h 4687251"/>
              <a:gd name="connsiteX51730" fmla="*/ 2692406 w 8079933"/>
              <a:gd name="connsiteY51730" fmla="*/ 232890 h 4687251"/>
              <a:gd name="connsiteX51731" fmla="*/ 2691972 w 8079933"/>
              <a:gd name="connsiteY51731" fmla="*/ 229750 h 4687251"/>
              <a:gd name="connsiteX51732" fmla="*/ 2691429 w 8079933"/>
              <a:gd name="connsiteY51732" fmla="*/ 212752 h 4687251"/>
              <a:gd name="connsiteX51733" fmla="*/ 2689910 w 8079933"/>
              <a:gd name="connsiteY51733" fmla="*/ 208096 h 4687251"/>
              <a:gd name="connsiteX51734" fmla="*/ 2691429 w 8079933"/>
              <a:gd name="connsiteY51734" fmla="*/ 202791 h 4687251"/>
              <a:gd name="connsiteX51735" fmla="*/ 2700328 w 8079933"/>
              <a:gd name="connsiteY51735" fmla="*/ 202249 h 4687251"/>
              <a:gd name="connsiteX51736" fmla="*/ 2703475 w 8079933"/>
              <a:gd name="connsiteY51736" fmla="*/ 204306 h 4687251"/>
              <a:gd name="connsiteX51737" fmla="*/ 2710311 w 8079933"/>
              <a:gd name="connsiteY51737" fmla="*/ 206147 h 4687251"/>
              <a:gd name="connsiteX51738" fmla="*/ 2717040 w 8079933"/>
              <a:gd name="connsiteY51738" fmla="*/ 206689 h 4687251"/>
              <a:gd name="connsiteX51739" fmla="*/ 2724636 w 8079933"/>
              <a:gd name="connsiteY51739" fmla="*/ 209395 h 4687251"/>
              <a:gd name="connsiteX51740" fmla="*/ 2733642 w 8079933"/>
              <a:gd name="connsiteY51740" fmla="*/ 209179 h 4687251"/>
              <a:gd name="connsiteX51741" fmla="*/ 2741021 w 8079933"/>
              <a:gd name="connsiteY51741" fmla="*/ 205714 h 4687251"/>
              <a:gd name="connsiteX51742" fmla="*/ 2745362 w 8079933"/>
              <a:gd name="connsiteY51742" fmla="*/ 206363 h 4687251"/>
              <a:gd name="connsiteX51743" fmla="*/ 2749811 w 8079933"/>
              <a:gd name="connsiteY51743" fmla="*/ 210153 h 4687251"/>
              <a:gd name="connsiteX51744" fmla="*/ 2759253 w 8079933"/>
              <a:gd name="connsiteY51744" fmla="*/ 211127 h 4687251"/>
              <a:gd name="connsiteX51745" fmla="*/ 2763701 w 8079933"/>
              <a:gd name="connsiteY51745" fmla="*/ 214051 h 4687251"/>
              <a:gd name="connsiteX51746" fmla="*/ 2768694 w 8079933"/>
              <a:gd name="connsiteY51746" fmla="*/ 212535 h 4687251"/>
              <a:gd name="connsiteX51747" fmla="*/ 2768585 w 8079933"/>
              <a:gd name="connsiteY51747" fmla="*/ 210153 h 4687251"/>
              <a:gd name="connsiteX51748" fmla="*/ 2764353 w 8079933"/>
              <a:gd name="connsiteY51748" fmla="*/ 207230 h 4687251"/>
              <a:gd name="connsiteX51749" fmla="*/ 2757950 w 8079933"/>
              <a:gd name="connsiteY51749" fmla="*/ 207230 h 4687251"/>
              <a:gd name="connsiteX51750" fmla="*/ 2750679 w 8079933"/>
              <a:gd name="connsiteY51750" fmla="*/ 205714 h 4687251"/>
              <a:gd name="connsiteX51751" fmla="*/ 2748726 w 8079933"/>
              <a:gd name="connsiteY51751" fmla="*/ 203007 h 4687251"/>
              <a:gd name="connsiteX51752" fmla="*/ 2749485 w 8079933"/>
              <a:gd name="connsiteY51752" fmla="*/ 201491 h 4687251"/>
              <a:gd name="connsiteX51753" fmla="*/ 2753067 w 8079933"/>
              <a:gd name="connsiteY51753" fmla="*/ 201383 h 4687251"/>
              <a:gd name="connsiteX51754" fmla="*/ 2760012 w 8079933"/>
              <a:gd name="connsiteY51754" fmla="*/ 198676 h 4687251"/>
              <a:gd name="connsiteX51755" fmla="*/ 2776398 w 8079933"/>
              <a:gd name="connsiteY51755" fmla="*/ 196944 h 4687251"/>
              <a:gd name="connsiteX51756" fmla="*/ 2787358 w 8079933"/>
              <a:gd name="connsiteY51756" fmla="*/ 196077 h 4687251"/>
              <a:gd name="connsiteX51757" fmla="*/ 2796148 w 8079933"/>
              <a:gd name="connsiteY51757" fmla="*/ 199218 h 4687251"/>
              <a:gd name="connsiteX51758" fmla="*/ 2801574 w 8079933"/>
              <a:gd name="connsiteY51758" fmla="*/ 203657 h 4687251"/>
              <a:gd name="connsiteX51759" fmla="*/ 2805480 w 8079933"/>
              <a:gd name="connsiteY51759" fmla="*/ 201600 h 4687251"/>
              <a:gd name="connsiteX51760" fmla="*/ 2811340 w 8079933"/>
              <a:gd name="connsiteY51760" fmla="*/ 200409 h 4687251"/>
              <a:gd name="connsiteX51761" fmla="*/ 2808410 w 8079933"/>
              <a:gd name="connsiteY51761" fmla="*/ 197485 h 4687251"/>
              <a:gd name="connsiteX51762" fmla="*/ 2805806 w 8079933"/>
              <a:gd name="connsiteY51762" fmla="*/ 197594 h 4687251"/>
              <a:gd name="connsiteX51763" fmla="*/ 2801682 w 8079933"/>
              <a:gd name="connsiteY51763" fmla="*/ 195536 h 4687251"/>
              <a:gd name="connsiteX51764" fmla="*/ 2801791 w 8079933"/>
              <a:gd name="connsiteY51764" fmla="*/ 192938 h 4687251"/>
              <a:gd name="connsiteX51765" fmla="*/ 2797233 w 8079933"/>
              <a:gd name="connsiteY51765" fmla="*/ 190231 h 4687251"/>
              <a:gd name="connsiteX51766" fmla="*/ 2791374 w 8079933"/>
              <a:gd name="connsiteY51766" fmla="*/ 190015 h 4687251"/>
              <a:gd name="connsiteX51767" fmla="*/ 2788226 w 8079933"/>
              <a:gd name="connsiteY51767" fmla="*/ 187957 h 4687251"/>
              <a:gd name="connsiteX51768" fmla="*/ 2775855 w 8079933"/>
              <a:gd name="connsiteY51768" fmla="*/ 189257 h 4687251"/>
              <a:gd name="connsiteX51769" fmla="*/ 2775638 w 8079933"/>
              <a:gd name="connsiteY51769" fmla="*/ 187308 h 4687251"/>
              <a:gd name="connsiteX51770" fmla="*/ 2778026 w 8079933"/>
              <a:gd name="connsiteY51770" fmla="*/ 185034 h 4687251"/>
              <a:gd name="connsiteX51771" fmla="*/ 2780956 w 8079933"/>
              <a:gd name="connsiteY51771" fmla="*/ 178755 h 4687251"/>
              <a:gd name="connsiteX51772" fmla="*/ 2786381 w 8079933"/>
              <a:gd name="connsiteY51772" fmla="*/ 177997 h 4687251"/>
              <a:gd name="connsiteX51773" fmla="*/ 2791374 w 8079933"/>
              <a:gd name="connsiteY51773" fmla="*/ 173774 h 4687251"/>
              <a:gd name="connsiteX51774" fmla="*/ 2793760 w 8079933"/>
              <a:gd name="connsiteY51774" fmla="*/ 167494 h 4687251"/>
              <a:gd name="connsiteX51775" fmla="*/ 2806349 w 8079933"/>
              <a:gd name="connsiteY51775" fmla="*/ 160024 h 4687251"/>
              <a:gd name="connsiteX51776" fmla="*/ 2813402 w 8079933"/>
              <a:gd name="connsiteY51776" fmla="*/ 159590 h 4687251"/>
              <a:gd name="connsiteX51777" fmla="*/ 2824796 w 8079933"/>
              <a:gd name="connsiteY51777" fmla="*/ 154177 h 4687251"/>
              <a:gd name="connsiteX51778" fmla="*/ 2824905 w 8079933"/>
              <a:gd name="connsiteY51778" fmla="*/ 151254 h 4687251"/>
              <a:gd name="connsiteX51779" fmla="*/ 2811340 w 8079933"/>
              <a:gd name="connsiteY51779" fmla="*/ 156667 h 4687251"/>
              <a:gd name="connsiteX51780" fmla="*/ 2802333 w 8079933"/>
              <a:gd name="connsiteY51780" fmla="*/ 157533 h 4687251"/>
              <a:gd name="connsiteX51781" fmla="*/ 2789637 w 8079933"/>
              <a:gd name="connsiteY51781" fmla="*/ 167061 h 4687251"/>
              <a:gd name="connsiteX51782" fmla="*/ 2789420 w 8079933"/>
              <a:gd name="connsiteY51782" fmla="*/ 172042 h 4687251"/>
              <a:gd name="connsiteX51783" fmla="*/ 2787032 w 8079933"/>
              <a:gd name="connsiteY51783" fmla="*/ 172042 h 4687251"/>
              <a:gd name="connsiteX51784" fmla="*/ 2785296 w 8079933"/>
              <a:gd name="connsiteY51784" fmla="*/ 167169 h 4687251"/>
              <a:gd name="connsiteX51785" fmla="*/ 2783451 w 8079933"/>
              <a:gd name="connsiteY51785" fmla="*/ 166845 h 4687251"/>
              <a:gd name="connsiteX51786" fmla="*/ 2780304 w 8079933"/>
              <a:gd name="connsiteY51786" fmla="*/ 171500 h 4687251"/>
              <a:gd name="connsiteX51787" fmla="*/ 2775964 w 8079933"/>
              <a:gd name="connsiteY51787" fmla="*/ 172042 h 4687251"/>
              <a:gd name="connsiteX51788" fmla="*/ 2769779 w 8079933"/>
              <a:gd name="connsiteY51788" fmla="*/ 179404 h 4687251"/>
              <a:gd name="connsiteX51789" fmla="*/ 2772383 w 8079933"/>
              <a:gd name="connsiteY51789" fmla="*/ 179620 h 4687251"/>
              <a:gd name="connsiteX51790" fmla="*/ 2773251 w 8079933"/>
              <a:gd name="connsiteY51790" fmla="*/ 181786 h 4687251"/>
              <a:gd name="connsiteX51791" fmla="*/ 2764678 w 8079933"/>
              <a:gd name="connsiteY51791" fmla="*/ 188391 h 4687251"/>
              <a:gd name="connsiteX51792" fmla="*/ 2759686 w 8079933"/>
              <a:gd name="connsiteY51792" fmla="*/ 189257 h 4687251"/>
              <a:gd name="connsiteX51793" fmla="*/ 2742541 w 8079933"/>
              <a:gd name="connsiteY51793" fmla="*/ 196077 h 4687251"/>
              <a:gd name="connsiteX51794" fmla="*/ 2737440 w 8079933"/>
              <a:gd name="connsiteY51794" fmla="*/ 197160 h 4687251"/>
              <a:gd name="connsiteX51795" fmla="*/ 2732883 w 8079933"/>
              <a:gd name="connsiteY51795" fmla="*/ 196294 h 4687251"/>
              <a:gd name="connsiteX51796" fmla="*/ 2718993 w 8079933"/>
              <a:gd name="connsiteY51796" fmla="*/ 196619 h 4687251"/>
              <a:gd name="connsiteX51797" fmla="*/ 2712807 w 8079933"/>
              <a:gd name="connsiteY51797" fmla="*/ 190448 h 4687251"/>
              <a:gd name="connsiteX51798" fmla="*/ 2706079 w 8079933"/>
              <a:gd name="connsiteY51798" fmla="*/ 191206 h 4687251"/>
              <a:gd name="connsiteX51799" fmla="*/ 2702281 w 8079933"/>
              <a:gd name="connsiteY51799" fmla="*/ 190557 h 4687251"/>
              <a:gd name="connsiteX51800" fmla="*/ 2701738 w 8079933"/>
              <a:gd name="connsiteY51800" fmla="*/ 186659 h 4687251"/>
              <a:gd name="connsiteX51801" fmla="*/ 2708141 w 8079933"/>
              <a:gd name="connsiteY51801" fmla="*/ 180812 h 4687251"/>
              <a:gd name="connsiteX51802" fmla="*/ 2714327 w 8079933"/>
              <a:gd name="connsiteY51802" fmla="*/ 180595 h 4687251"/>
              <a:gd name="connsiteX51803" fmla="*/ 2718450 w 8079933"/>
              <a:gd name="connsiteY51803" fmla="*/ 178863 h 4687251"/>
              <a:gd name="connsiteX51804" fmla="*/ 2727131 w 8079933"/>
              <a:gd name="connsiteY51804" fmla="*/ 177888 h 4687251"/>
              <a:gd name="connsiteX51805" fmla="*/ 2731255 w 8079933"/>
              <a:gd name="connsiteY51805" fmla="*/ 173774 h 4687251"/>
              <a:gd name="connsiteX51806" fmla="*/ 2727782 w 8079933"/>
              <a:gd name="connsiteY51806" fmla="*/ 173449 h 4687251"/>
              <a:gd name="connsiteX51807" fmla="*/ 2721923 w 8079933"/>
              <a:gd name="connsiteY51807" fmla="*/ 175614 h 4687251"/>
              <a:gd name="connsiteX51808" fmla="*/ 2716605 w 8079933"/>
              <a:gd name="connsiteY51808" fmla="*/ 174965 h 4687251"/>
              <a:gd name="connsiteX51809" fmla="*/ 2710202 w 8079933"/>
              <a:gd name="connsiteY51809" fmla="*/ 177455 h 4687251"/>
              <a:gd name="connsiteX51810" fmla="*/ 2705754 w 8079933"/>
              <a:gd name="connsiteY51810" fmla="*/ 176264 h 4687251"/>
              <a:gd name="connsiteX51811" fmla="*/ 2705754 w 8079933"/>
              <a:gd name="connsiteY51811" fmla="*/ 172367 h 4687251"/>
              <a:gd name="connsiteX51812" fmla="*/ 2711397 w 8079933"/>
              <a:gd name="connsiteY51812" fmla="*/ 169443 h 4687251"/>
              <a:gd name="connsiteX51813" fmla="*/ 2707272 w 8079933"/>
              <a:gd name="connsiteY51813" fmla="*/ 168902 h 4687251"/>
              <a:gd name="connsiteX51814" fmla="*/ 2699676 w 8079933"/>
              <a:gd name="connsiteY51814" fmla="*/ 170959 h 4687251"/>
              <a:gd name="connsiteX51815" fmla="*/ 2699025 w 8079933"/>
              <a:gd name="connsiteY51815" fmla="*/ 177888 h 4687251"/>
              <a:gd name="connsiteX51816" fmla="*/ 2692080 w 8079933"/>
              <a:gd name="connsiteY51816" fmla="*/ 184709 h 4687251"/>
              <a:gd name="connsiteX51817" fmla="*/ 2684701 w 8079933"/>
              <a:gd name="connsiteY51817" fmla="*/ 185034 h 4687251"/>
              <a:gd name="connsiteX51818" fmla="*/ 2674392 w 8079933"/>
              <a:gd name="connsiteY51818" fmla="*/ 181786 h 4687251"/>
              <a:gd name="connsiteX51819" fmla="*/ 2665168 w 8079933"/>
              <a:gd name="connsiteY51819" fmla="*/ 181461 h 4687251"/>
              <a:gd name="connsiteX51820" fmla="*/ 2661045 w 8079933"/>
              <a:gd name="connsiteY51820" fmla="*/ 176806 h 4687251"/>
              <a:gd name="connsiteX51821" fmla="*/ 2661153 w 8079933"/>
              <a:gd name="connsiteY51821" fmla="*/ 173991 h 4687251"/>
              <a:gd name="connsiteX51822" fmla="*/ 2655510 w 8079933"/>
              <a:gd name="connsiteY51822" fmla="*/ 173666 h 4687251"/>
              <a:gd name="connsiteX51823" fmla="*/ 2650410 w 8079933"/>
              <a:gd name="connsiteY51823" fmla="*/ 169551 h 4687251"/>
              <a:gd name="connsiteX51824" fmla="*/ 2650844 w 8079933"/>
              <a:gd name="connsiteY51824" fmla="*/ 166953 h 4687251"/>
              <a:gd name="connsiteX51825" fmla="*/ 2654859 w 8079933"/>
              <a:gd name="connsiteY51825" fmla="*/ 163705 h 4687251"/>
              <a:gd name="connsiteX51826" fmla="*/ 2658115 w 8079933"/>
              <a:gd name="connsiteY51826" fmla="*/ 157967 h 4687251"/>
              <a:gd name="connsiteX51827" fmla="*/ 2665277 w 8079933"/>
              <a:gd name="connsiteY51827" fmla="*/ 153853 h 4687251"/>
              <a:gd name="connsiteX51828" fmla="*/ 2669617 w 8079933"/>
              <a:gd name="connsiteY51828" fmla="*/ 148439 h 4687251"/>
              <a:gd name="connsiteX51829" fmla="*/ 2676237 w 8079933"/>
              <a:gd name="connsiteY51829" fmla="*/ 144758 h 4687251"/>
              <a:gd name="connsiteX51830" fmla="*/ 2678950 w 8079933"/>
              <a:gd name="connsiteY51830" fmla="*/ 141618 h 4687251"/>
              <a:gd name="connsiteX51831" fmla="*/ 2683833 w 8079933"/>
              <a:gd name="connsiteY51831" fmla="*/ 142917 h 4687251"/>
              <a:gd name="connsiteX51832" fmla="*/ 2693491 w 8079933"/>
              <a:gd name="connsiteY51832" fmla="*/ 143675 h 4687251"/>
              <a:gd name="connsiteX51833" fmla="*/ 2696421 w 8079933"/>
              <a:gd name="connsiteY51833" fmla="*/ 142051 h 4687251"/>
              <a:gd name="connsiteX51834" fmla="*/ 2701088 w 8079933"/>
              <a:gd name="connsiteY51834" fmla="*/ 142376 h 4687251"/>
              <a:gd name="connsiteX51835" fmla="*/ 2709877 w 8079933"/>
              <a:gd name="connsiteY51835" fmla="*/ 147464 h 4687251"/>
              <a:gd name="connsiteX51836" fmla="*/ 2718016 w 8079933"/>
              <a:gd name="connsiteY51836" fmla="*/ 147681 h 4687251"/>
              <a:gd name="connsiteX51837" fmla="*/ 2722248 w 8079933"/>
              <a:gd name="connsiteY51837" fmla="*/ 149088 h 4687251"/>
              <a:gd name="connsiteX51838" fmla="*/ 2729953 w 8079933"/>
              <a:gd name="connsiteY51838" fmla="*/ 148114 h 4687251"/>
              <a:gd name="connsiteX51839" fmla="*/ 2731038 w 8079933"/>
              <a:gd name="connsiteY51839" fmla="*/ 146706 h 4687251"/>
              <a:gd name="connsiteX51840" fmla="*/ 2727566 w 8079933"/>
              <a:gd name="connsiteY51840" fmla="*/ 144433 h 4687251"/>
              <a:gd name="connsiteX51841" fmla="*/ 2718341 w 8079933"/>
              <a:gd name="connsiteY51841" fmla="*/ 145082 h 4687251"/>
              <a:gd name="connsiteX51842" fmla="*/ 2708358 w 8079933"/>
              <a:gd name="connsiteY51842" fmla="*/ 143133 h 4687251"/>
              <a:gd name="connsiteX51843" fmla="*/ 2702281 w 8079933"/>
              <a:gd name="connsiteY51843" fmla="*/ 139561 h 4687251"/>
              <a:gd name="connsiteX51844" fmla="*/ 2695987 w 8079933"/>
              <a:gd name="connsiteY51844" fmla="*/ 139344 h 4687251"/>
              <a:gd name="connsiteX51845" fmla="*/ 2686872 w 8079933"/>
              <a:gd name="connsiteY51845" fmla="*/ 140319 h 4687251"/>
              <a:gd name="connsiteX51846" fmla="*/ 2676671 w 8079933"/>
              <a:gd name="connsiteY51846" fmla="*/ 138153 h 4687251"/>
              <a:gd name="connsiteX51847" fmla="*/ 2673958 w 8079933"/>
              <a:gd name="connsiteY51847" fmla="*/ 137937 h 4687251"/>
              <a:gd name="connsiteX51848" fmla="*/ 2671571 w 8079933"/>
              <a:gd name="connsiteY51848" fmla="*/ 141076 h 4687251"/>
              <a:gd name="connsiteX51849" fmla="*/ 2666579 w 8079933"/>
              <a:gd name="connsiteY51849" fmla="*/ 146382 h 4687251"/>
              <a:gd name="connsiteX51850" fmla="*/ 2658440 w 8079933"/>
              <a:gd name="connsiteY51850" fmla="*/ 151470 h 4687251"/>
              <a:gd name="connsiteX51851" fmla="*/ 2649542 w 8079933"/>
              <a:gd name="connsiteY51851" fmla="*/ 155584 h 4687251"/>
              <a:gd name="connsiteX51852" fmla="*/ 2644008 w 8079933"/>
              <a:gd name="connsiteY51852" fmla="*/ 162947 h 4687251"/>
              <a:gd name="connsiteX51853" fmla="*/ 2642163 w 8079933"/>
              <a:gd name="connsiteY51853" fmla="*/ 163813 h 4687251"/>
              <a:gd name="connsiteX51854" fmla="*/ 2638148 w 8079933"/>
              <a:gd name="connsiteY51854" fmla="*/ 162081 h 4687251"/>
              <a:gd name="connsiteX51855" fmla="*/ 2631854 w 8079933"/>
              <a:gd name="connsiteY51855" fmla="*/ 153636 h 4687251"/>
              <a:gd name="connsiteX51856" fmla="*/ 2628816 w 8079933"/>
              <a:gd name="connsiteY51856" fmla="*/ 152878 h 4687251"/>
              <a:gd name="connsiteX51857" fmla="*/ 2626103 w 8079933"/>
              <a:gd name="connsiteY51857" fmla="*/ 150280 h 4687251"/>
              <a:gd name="connsiteX51858" fmla="*/ 2624258 w 8079933"/>
              <a:gd name="connsiteY51858" fmla="*/ 144324 h 4687251"/>
              <a:gd name="connsiteX51859" fmla="*/ 2624041 w 8079933"/>
              <a:gd name="connsiteY51859" fmla="*/ 137504 h 4687251"/>
              <a:gd name="connsiteX51860" fmla="*/ 2621653 w 8079933"/>
              <a:gd name="connsiteY51860" fmla="*/ 134797 h 4687251"/>
              <a:gd name="connsiteX51861" fmla="*/ 2621111 w 8079933"/>
              <a:gd name="connsiteY51861" fmla="*/ 128517 h 4687251"/>
              <a:gd name="connsiteX51862" fmla="*/ 2623064 w 8079933"/>
              <a:gd name="connsiteY51862" fmla="*/ 126568 h 4687251"/>
              <a:gd name="connsiteX51863" fmla="*/ 2627621 w 8079933"/>
              <a:gd name="connsiteY51863" fmla="*/ 127651 h 4687251"/>
              <a:gd name="connsiteX51864" fmla="*/ 2632505 w 8079933"/>
              <a:gd name="connsiteY51864" fmla="*/ 126568 h 4687251"/>
              <a:gd name="connsiteX51865" fmla="*/ 2635435 w 8079933"/>
              <a:gd name="connsiteY51865" fmla="*/ 128625 h 4687251"/>
              <a:gd name="connsiteX51866" fmla="*/ 2649542 w 8079933"/>
              <a:gd name="connsiteY51866" fmla="*/ 128409 h 4687251"/>
              <a:gd name="connsiteX51867" fmla="*/ 2656704 w 8079933"/>
              <a:gd name="connsiteY51867" fmla="*/ 133281 h 4687251"/>
              <a:gd name="connsiteX51868" fmla="*/ 2660936 w 8079933"/>
              <a:gd name="connsiteY51868" fmla="*/ 133389 h 4687251"/>
              <a:gd name="connsiteX51869" fmla="*/ 2663432 w 8079933"/>
              <a:gd name="connsiteY51869" fmla="*/ 135013 h 4687251"/>
              <a:gd name="connsiteX51870" fmla="*/ 2667772 w 8079933"/>
              <a:gd name="connsiteY51870" fmla="*/ 135339 h 4687251"/>
              <a:gd name="connsiteX51871" fmla="*/ 2673524 w 8079933"/>
              <a:gd name="connsiteY51871" fmla="*/ 132415 h 4687251"/>
              <a:gd name="connsiteX51872" fmla="*/ 2679384 w 8079933"/>
              <a:gd name="connsiteY51872" fmla="*/ 134255 h 4687251"/>
              <a:gd name="connsiteX51873" fmla="*/ 2680795 w 8079933"/>
              <a:gd name="connsiteY51873" fmla="*/ 132848 h 4687251"/>
              <a:gd name="connsiteX51874" fmla="*/ 2685461 w 8079933"/>
              <a:gd name="connsiteY51874" fmla="*/ 131657 h 4687251"/>
              <a:gd name="connsiteX51875" fmla="*/ 2688174 w 8079933"/>
              <a:gd name="connsiteY51875" fmla="*/ 129708 h 4687251"/>
              <a:gd name="connsiteX51876" fmla="*/ 2697832 w 8079933"/>
              <a:gd name="connsiteY51876" fmla="*/ 127543 h 4687251"/>
              <a:gd name="connsiteX51877" fmla="*/ 2706730 w 8079933"/>
              <a:gd name="connsiteY51877" fmla="*/ 126027 h 4687251"/>
              <a:gd name="connsiteX51878" fmla="*/ 2707924 w 8079933"/>
              <a:gd name="connsiteY51878" fmla="*/ 123320 h 4687251"/>
              <a:gd name="connsiteX51879" fmla="*/ 2707599 w 8079933"/>
              <a:gd name="connsiteY51879" fmla="*/ 120397 h 4687251"/>
              <a:gd name="connsiteX51880" fmla="*/ 2704777 w 8079933"/>
              <a:gd name="connsiteY51880" fmla="*/ 121372 h 4687251"/>
              <a:gd name="connsiteX51881" fmla="*/ 2702173 w 8079933"/>
              <a:gd name="connsiteY51881" fmla="*/ 122129 h 4687251"/>
              <a:gd name="connsiteX51882" fmla="*/ 2698917 w 8079933"/>
              <a:gd name="connsiteY51882" fmla="*/ 124078 h 4687251"/>
              <a:gd name="connsiteX51883" fmla="*/ 2692949 w 8079933"/>
              <a:gd name="connsiteY51883" fmla="*/ 125486 h 4687251"/>
              <a:gd name="connsiteX51884" fmla="*/ 2683291 w 8079933"/>
              <a:gd name="connsiteY51884" fmla="*/ 124836 h 4687251"/>
              <a:gd name="connsiteX51885" fmla="*/ 2676020 w 8079933"/>
              <a:gd name="connsiteY51885" fmla="*/ 129275 h 4687251"/>
              <a:gd name="connsiteX51886" fmla="*/ 2672656 w 8079933"/>
              <a:gd name="connsiteY51886" fmla="*/ 129925 h 4687251"/>
              <a:gd name="connsiteX51887" fmla="*/ 2666145 w 8079933"/>
              <a:gd name="connsiteY51887" fmla="*/ 128842 h 4687251"/>
              <a:gd name="connsiteX51888" fmla="*/ 2663758 w 8079933"/>
              <a:gd name="connsiteY51888" fmla="*/ 130033 h 4687251"/>
              <a:gd name="connsiteX51889" fmla="*/ 2659634 w 8079933"/>
              <a:gd name="connsiteY51889" fmla="*/ 129925 h 4687251"/>
              <a:gd name="connsiteX51890" fmla="*/ 2654208 w 8079933"/>
              <a:gd name="connsiteY51890" fmla="*/ 125052 h 4687251"/>
              <a:gd name="connsiteX51891" fmla="*/ 2650844 w 8079933"/>
              <a:gd name="connsiteY51891" fmla="*/ 124944 h 4687251"/>
              <a:gd name="connsiteX51892" fmla="*/ 2648674 w 8079933"/>
              <a:gd name="connsiteY51892" fmla="*/ 123537 h 4687251"/>
              <a:gd name="connsiteX51893" fmla="*/ 2643140 w 8079933"/>
              <a:gd name="connsiteY51893" fmla="*/ 123754 h 4687251"/>
              <a:gd name="connsiteX51894" fmla="*/ 2635543 w 8079933"/>
              <a:gd name="connsiteY51894" fmla="*/ 119639 h 4687251"/>
              <a:gd name="connsiteX51895" fmla="*/ 2630117 w 8079933"/>
              <a:gd name="connsiteY51895" fmla="*/ 122021 h 4687251"/>
              <a:gd name="connsiteX51896" fmla="*/ 2625234 w 8079933"/>
              <a:gd name="connsiteY51896" fmla="*/ 119422 h 4687251"/>
              <a:gd name="connsiteX51897" fmla="*/ 2623823 w 8079933"/>
              <a:gd name="connsiteY51897" fmla="*/ 116066 h 4687251"/>
              <a:gd name="connsiteX51898" fmla="*/ 2626103 w 8079933"/>
              <a:gd name="connsiteY51898" fmla="*/ 113792 h 4687251"/>
              <a:gd name="connsiteX51899" fmla="*/ 2625994 w 8079933"/>
              <a:gd name="connsiteY51899" fmla="*/ 107837 h 4687251"/>
              <a:gd name="connsiteX51900" fmla="*/ 2629466 w 8079933"/>
              <a:gd name="connsiteY51900" fmla="*/ 105347 h 4687251"/>
              <a:gd name="connsiteX51901" fmla="*/ 2632071 w 8079933"/>
              <a:gd name="connsiteY51901" fmla="*/ 105455 h 4687251"/>
              <a:gd name="connsiteX51902" fmla="*/ 2635327 w 8079933"/>
              <a:gd name="connsiteY51902" fmla="*/ 109353 h 4687251"/>
              <a:gd name="connsiteX51903" fmla="*/ 2642488 w 8079933"/>
              <a:gd name="connsiteY51903" fmla="*/ 108921 h 4687251"/>
              <a:gd name="connsiteX51904" fmla="*/ 2645418 w 8079933"/>
              <a:gd name="connsiteY51904" fmla="*/ 107621 h 4687251"/>
              <a:gd name="connsiteX51905" fmla="*/ 2641295 w 8079933"/>
              <a:gd name="connsiteY51905" fmla="*/ 104481 h 4687251"/>
              <a:gd name="connsiteX51906" fmla="*/ 2637280 w 8079933"/>
              <a:gd name="connsiteY51906" fmla="*/ 104264 h 4687251"/>
              <a:gd name="connsiteX51907" fmla="*/ 2633915 w 8079933"/>
              <a:gd name="connsiteY51907" fmla="*/ 100150 h 4687251"/>
              <a:gd name="connsiteX51908" fmla="*/ 2635327 w 8079933"/>
              <a:gd name="connsiteY51908" fmla="*/ 97985 h 4687251"/>
              <a:gd name="connsiteX51909" fmla="*/ 2641946 w 8079933"/>
              <a:gd name="connsiteY51909" fmla="*/ 98093 h 4687251"/>
              <a:gd name="connsiteX51910" fmla="*/ 2648131 w 8079933"/>
              <a:gd name="connsiteY51910" fmla="*/ 92896 h 4687251"/>
              <a:gd name="connsiteX51911" fmla="*/ 2656270 w 8079933"/>
              <a:gd name="connsiteY51911" fmla="*/ 93004 h 4687251"/>
              <a:gd name="connsiteX51912" fmla="*/ 2659634 w 8079933"/>
              <a:gd name="connsiteY51912" fmla="*/ 90081 h 4687251"/>
              <a:gd name="connsiteX51913" fmla="*/ 2664300 w 8079933"/>
              <a:gd name="connsiteY51913" fmla="*/ 89864 h 4687251"/>
              <a:gd name="connsiteX51914" fmla="*/ 2667230 w 8079933"/>
              <a:gd name="connsiteY51914" fmla="*/ 91488 h 4687251"/>
              <a:gd name="connsiteX51915" fmla="*/ 2671245 w 8079933"/>
              <a:gd name="connsiteY51915" fmla="*/ 90623 h 4687251"/>
              <a:gd name="connsiteX51916" fmla="*/ 2671354 w 8079933"/>
              <a:gd name="connsiteY51916" fmla="*/ 87807 h 4687251"/>
              <a:gd name="connsiteX51917" fmla="*/ 2668858 w 8079933"/>
              <a:gd name="connsiteY51917" fmla="*/ 85750 h 4687251"/>
              <a:gd name="connsiteX51918" fmla="*/ 2658766 w 8079933"/>
              <a:gd name="connsiteY51918" fmla="*/ 87266 h 4687251"/>
              <a:gd name="connsiteX51919" fmla="*/ 2650519 w 8079933"/>
              <a:gd name="connsiteY51919" fmla="*/ 88024 h 4687251"/>
              <a:gd name="connsiteX51920" fmla="*/ 2644116 w 8079933"/>
              <a:gd name="connsiteY51920" fmla="*/ 90514 h 4687251"/>
              <a:gd name="connsiteX51921" fmla="*/ 2639667 w 8079933"/>
              <a:gd name="connsiteY51921" fmla="*/ 91164 h 4687251"/>
              <a:gd name="connsiteX51922" fmla="*/ 2636737 w 8079933"/>
              <a:gd name="connsiteY51922" fmla="*/ 94304 h 4687251"/>
              <a:gd name="connsiteX51923" fmla="*/ 2632722 w 8079933"/>
              <a:gd name="connsiteY51923" fmla="*/ 94195 h 4687251"/>
              <a:gd name="connsiteX51924" fmla="*/ 2632830 w 8079933"/>
              <a:gd name="connsiteY51924" fmla="*/ 90731 h 4687251"/>
              <a:gd name="connsiteX51925" fmla="*/ 2631637 w 8079933"/>
              <a:gd name="connsiteY51925" fmla="*/ 86075 h 4687251"/>
              <a:gd name="connsiteX51926" fmla="*/ 2637280 w 8079933"/>
              <a:gd name="connsiteY51926" fmla="*/ 83801 h 4687251"/>
              <a:gd name="connsiteX51927" fmla="*/ 2644224 w 8079933"/>
              <a:gd name="connsiteY51927" fmla="*/ 78388 h 4687251"/>
              <a:gd name="connsiteX51928" fmla="*/ 2651604 w 8079933"/>
              <a:gd name="connsiteY51928" fmla="*/ 77846 h 4687251"/>
              <a:gd name="connsiteX51929" fmla="*/ 2655402 w 8079933"/>
              <a:gd name="connsiteY51929" fmla="*/ 75897 h 4687251"/>
              <a:gd name="connsiteX51930" fmla="*/ 2650302 w 8079933"/>
              <a:gd name="connsiteY51930" fmla="*/ 75681 h 4687251"/>
              <a:gd name="connsiteX51931" fmla="*/ 2648131 w 8079933"/>
              <a:gd name="connsiteY51931" fmla="*/ 73407 h 4687251"/>
              <a:gd name="connsiteX51932" fmla="*/ 2648891 w 8079933"/>
              <a:gd name="connsiteY51932" fmla="*/ 66803 h 4687251"/>
              <a:gd name="connsiteX51933" fmla="*/ 2646721 w 8079933"/>
              <a:gd name="connsiteY51933" fmla="*/ 67777 h 4687251"/>
              <a:gd name="connsiteX51934" fmla="*/ 2645744 w 8079933"/>
              <a:gd name="connsiteY51934" fmla="*/ 72433 h 4687251"/>
              <a:gd name="connsiteX51935" fmla="*/ 2643248 w 8079933"/>
              <a:gd name="connsiteY51935" fmla="*/ 73949 h 4687251"/>
              <a:gd name="connsiteX51936" fmla="*/ 2641837 w 8079933"/>
              <a:gd name="connsiteY51936" fmla="*/ 69402 h 4687251"/>
              <a:gd name="connsiteX51937" fmla="*/ 2639125 w 8079933"/>
              <a:gd name="connsiteY51937" fmla="*/ 69834 h 4687251"/>
              <a:gd name="connsiteX51938" fmla="*/ 2636954 w 8079933"/>
              <a:gd name="connsiteY51938" fmla="*/ 72217 h 4687251"/>
              <a:gd name="connsiteX51939" fmla="*/ 2632071 w 8079933"/>
              <a:gd name="connsiteY51939" fmla="*/ 72758 h 4687251"/>
              <a:gd name="connsiteX51940" fmla="*/ 2631962 w 8079933"/>
              <a:gd name="connsiteY51940" fmla="*/ 76764 h 4687251"/>
              <a:gd name="connsiteX51941" fmla="*/ 2630226 w 8079933"/>
              <a:gd name="connsiteY51941" fmla="*/ 79687 h 4687251"/>
              <a:gd name="connsiteX51942" fmla="*/ 2624041 w 8079933"/>
              <a:gd name="connsiteY51942" fmla="*/ 81419 h 4687251"/>
              <a:gd name="connsiteX51943" fmla="*/ 2623498 w 8079933"/>
              <a:gd name="connsiteY51943" fmla="*/ 76981 h 4687251"/>
              <a:gd name="connsiteX51944" fmla="*/ 2624041 w 8079933"/>
              <a:gd name="connsiteY51944" fmla="*/ 72000 h 4687251"/>
              <a:gd name="connsiteX51945" fmla="*/ 2622087 w 8079933"/>
              <a:gd name="connsiteY51945" fmla="*/ 71458 h 4687251"/>
              <a:gd name="connsiteX51946" fmla="*/ 2621002 w 8079933"/>
              <a:gd name="connsiteY51946" fmla="*/ 67236 h 4687251"/>
              <a:gd name="connsiteX51947" fmla="*/ 2622413 w 8079933"/>
              <a:gd name="connsiteY51947" fmla="*/ 65828 h 4687251"/>
              <a:gd name="connsiteX51948" fmla="*/ 2625886 w 8079933"/>
              <a:gd name="connsiteY51948" fmla="*/ 67561 h 4687251"/>
              <a:gd name="connsiteX51949" fmla="*/ 2626536 w 8079933"/>
              <a:gd name="connsiteY51949" fmla="*/ 62039 h 4687251"/>
              <a:gd name="connsiteX51950" fmla="*/ 2630443 w 8079933"/>
              <a:gd name="connsiteY51950" fmla="*/ 60199 h 4687251"/>
              <a:gd name="connsiteX51951" fmla="*/ 2635977 w 8079933"/>
              <a:gd name="connsiteY51951" fmla="*/ 60415 h 4687251"/>
              <a:gd name="connsiteX51952" fmla="*/ 2638148 w 8079933"/>
              <a:gd name="connsiteY51952" fmla="*/ 55976 h 4687251"/>
              <a:gd name="connsiteX51953" fmla="*/ 2644008 w 8079933"/>
              <a:gd name="connsiteY51953" fmla="*/ 53161 h 4687251"/>
              <a:gd name="connsiteX51954" fmla="*/ 2647806 w 8079933"/>
              <a:gd name="connsiteY51954" fmla="*/ 53810 h 4687251"/>
              <a:gd name="connsiteX51955" fmla="*/ 2654968 w 8079933"/>
              <a:gd name="connsiteY51955" fmla="*/ 50021 h 4687251"/>
              <a:gd name="connsiteX51956" fmla="*/ 2664843 w 8079933"/>
              <a:gd name="connsiteY51956" fmla="*/ 49371 h 4687251"/>
              <a:gd name="connsiteX51957" fmla="*/ 2667230 w 8079933"/>
              <a:gd name="connsiteY51957" fmla="*/ 47422 h 4687251"/>
              <a:gd name="connsiteX51958" fmla="*/ 2670920 w 8079933"/>
              <a:gd name="connsiteY51958" fmla="*/ 48830 h 4687251"/>
              <a:gd name="connsiteX51959" fmla="*/ 2671462 w 8079933"/>
              <a:gd name="connsiteY51959" fmla="*/ 52187 h 4687251"/>
              <a:gd name="connsiteX51960" fmla="*/ 2669726 w 8079933"/>
              <a:gd name="connsiteY51960" fmla="*/ 54677 h 4687251"/>
              <a:gd name="connsiteX51961" fmla="*/ 2669401 w 8079933"/>
              <a:gd name="connsiteY51961" fmla="*/ 65828 h 4687251"/>
              <a:gd name="connsiteX51962" fmla="*/ 2672765 w 8079933"/>
              <a:gd name="connsiteY51962" fmla="*/ 64746 h 4687251"/>
              <a:gd name="connsiteX51963" fmla="*/ 2675043 w 8079933"/>
              <a:gd name="connsiteY51963" fmla="*/ 57708 h 4687251"/>
              <a:gd name="connsiteX51964" fmla="*/ 2678190 w 8079933"/>
              <a:gd name="connsiteY51964" fmla="*/ 54893 h 4687251"/>
              <a:gd name="connsiteX51965" fmla="*/ 2679710 w 8079933"/>
              <a:gd name="connsiteY51965" fmla="*/ 57167 h 4687251"/>
              <a:gd name="connsiteX51966" fmla="*/ 2678190 w 8079933"/>
              <a:gd name="connsiteY51966" fmla="*/ 59116 h 4687251"/>
              <a:gd name="connsiteX51967" fmla="*/ 2678733 w 8079933"/>
              <a:gd name="connsiteY51967" fmla="*/ 62580 h 4687251"/>
              <a:gd name="connsiteX51968" fmla="*/ 2681554 w 8079933"/>
              <a:gd name="connsiteY51968" fmla="*/ 60740 h 4687251"/>
              <a:gd name="connsiteX51969" fmla="*/ 2681554 w 8079933"/>
              <a:gd name="connsiteY51969" fmla="*/ 56950 h 4687251"/>
              <a:gd name="connsiteX51970" fmla="*/ 2682965 w 8079933"/>
              <a:gd name="connsiteY51970" fmla="*/ 54677 h 4687251"/>
              <a:gd name="connsiteX51971" fmla="*/ 2682314 w 8079933"/>
              <a:gd name="connsiteY51971" fmla="*/ 51320 h 4687251"/>
              <a:gd name="connsiteX51972" fmla="*/ 2683291 w 8079933"/>
              <a:gd name="connsiteY51972" fmla="*/ 45690 h 4687251"/>
              <a:gd name="connsiteX51973" fmla="*/ 2686221 w 8079933"/>
              <a:gd name="connsiteY51973" fmla="*/ 45149 h 4687251"/>
              <a:gd name="connsiteX51974" fmla="*/ 2692297 w 8079933"/>
              <a:gd name="connsiteY51974" fmla="*/ 39736 h 4687251"/>
              <a:gd name="connsiteX51975" fmla="*/ 2694685 w 8079933"/>
              <a:gd name="connsiteY51975" fmla="*/ 40277 h 4687251"/>
              <a:gd name="connsiteX51976" fmla="*/ 2695227 w 8079933"/>
              <a:gd name="connsiteY51976" fmla="*/ 44391 h 4687251"/>
              <a:gd name="connsiteX51977" fmla="*/ 2695227 w 8079933"/>
              <a:gd name="connsiteY51977" fmla="*/ 50129 h 4687251"/>
              <a:gd name="connsiteX51978" fmla="*/ 2699460 w 8079933"/>
              <a:gd name="connsiteY51978" fmla="*/ 52511 h 4687251"/>
              <a:gd name="connsiteX51979" fmla="*/ 2700436 w 8079933"/>
              <a:gd name="connsiteY51979" fmla="*/ 58575 h 4687251"/>
              <a:gd name="connsiteX51980" fmla="*/ 2699243 w 8079933"/>
              <a:gd name="connsiteY51980" fmla="*/ 62148 h 4687251"/>
              <a:gd name="connsiteX51981" fmla="*/ 2700870 w 8079933"/>
              <a:gd name="connsiteY51981" fmla="*/ 65720 h 4687251"/>
              <a:gd name="connsiteX51982" fmla="*/ 2700219 w 8079933"/>
              <a:gd name="connsiteY51982" fmla="*/ 69402 h 4687251"/>
              <a:gd name="connsiteX51983" fmla="*/ 2703475 w 8079933"/>
              <a:gd name="connsiteY51983" fmla="*/ 71892 h 4687251"/>
              <a:gd name="connsiteX51984" fmla="*/ 2705428 w 8079933"/>
              <a:gd name="connsiteY51984" fmla="*/ 70268 h 4687251"/>
              <a:gd name="connsiteX51985" fmla="*/ 2703475 w 8079933"/>
              <a:gd name="connsiteY51985" fmla="*/ 66912 h 4687251"/>
              <a:gd name="connsiteX51986" fmla="*/ 2703149 w 8079933"/>
              <a:gd name="connsiteY51986" fmla="*/ 61389 h 4687251"/>
              <a:gd name="connsiteX51987" fmla="*/ 2706079 w 8079933"/>
              <a:gd name="connsiteY51987" fmla="*/ 59982 h 4687251"/>
              <a:gd name="connsiteX51988" fmla="*/ 2710962 w 8079933"/>
              <a:gd name="connsiteY51988" fmla="*/ 52295 h 4687251"/>
              <a:gd name="connsiteX51989" fmla="*/ 2713567 w 8079933"/>
              <a:gd name="connsiteY51989" fmla="*/ 52295 h 4687251"/>
              <a:gd name="connsiteX51990" fmla="*/ 2717690 w 8079933"/>
              <a:gd name="connsiteY51990" fmla="*/ 58683 h 4687251"/>
              <a:gd name="connsiteX51991" fmla="*/ 2717908 w 8079933"/>
              <a:gd name="connsiteY51991" fmla="*/ 64638 h 4687251"/>
              <a:gd name="connsiteX51992" fmla="*/ 2716605 w 8079933"/>
              <a:gd name="connsiteY51992" fmla="*/ 69402 h 4687251"/>
              <a:gd name="connsiteX51993" fmla="*/ 2719101 w 8079933"/>
              <a:gd name="connsiteY51993" fmla="*/ 71892 h 4687251"/>
              <a:gd name="connsiteX51994" fmla="*/ 2720186 w 8079933"/>
              <a:gd name="connsiteY51994" fmla="*/ 75248 h 4687251"/>
              <a:gd name="connsiteX51995" fmla="*/ 2722465 w 8079933"/>
              <a:gd name="connsiteY51995" fmla="*/ 72325 h 4687251"/>
              <a:gd name="connsiteX51996" fmla="*/ 2722140 w 8079933"/>
              <a:gd name="connsiteY51996" fmla="*/ 65936 h 4687251"/>
              <a:gd name="connsiteX51997" fmla="*/ 2725069 w 8079933"/>
              <a:gd name="connsiteY51997" fmla="*/ 65504 h 4687251"/>
              <a:gd name="connsiteX51998" fmla="*/ 2727782 w 8079933"/>
              <a:gd name="connsiteY51998" fmla="*/ 63446 h 4687251"/>
              <a:gd name="connsiteX51999" fmla="*/ 2728867 w 8079933"/>
              <a:gd name="connsiteY51999" fmla="*/ 66370 h 4687251"/>
              <a:gd name="connsiteX52000" fmla="*/ 2727349 w 8079933"/>
              <a:gd name="connsiteY52000" fmla="*/ 68102 h 4687251"/>
              <a:gd name="connsiteX52001" fmla="*/ 2727891 w 8079933"/>
              <a:gd name="connsiteY52001" fmla="*/ 72433 h 4687251"/>
              <a:gd name="connsiteX52002" fmla="*/ 2730061 w 8079933"/>
              <a:gd name="connsiteY52002" fmla="*/ 74923 h 4687251"/>
              <a:gd name="connsiteX52003" fmla="*/ 2733534 w 8079933"/>
              <a:gd name="connsiteY52003" fmla="*/ 70376 h 4687251"/>
              <a:gd name="connsiteX52004" fmla="*/ 2735704 w 8079933"/>
              <a:gd name="connsiteY52004" fmla="*/ 70268 h 4687251"/>
              <a:gd name="connsiteX52005" fmla="*/ 2735053 w 8079933"/>
              <a:gd name="connsiteY52005" fmla="*/ 75573 h 4687251"/>
              <a:gd name="connsiteX52006" fmla="*/ 2737549 w 8079933"/>
              <a:gd name="connsiteY52006" fmla="*/ 72758 h 4687251"/>
              <a:gd name="connsiteX52007" fmla="*/ 2737332 w 8079933"/>
              <a:gd name="connsiteY52007" fmla="*/ 67236 h 4687251"/>
              <a:gd name="connsiteX52008" fmla="*/ 2733317 w 8079933"/>
              <a:gd name="connsiteY52008" fmla="*/ 60523 h 4687251"/>
              <a:gd name="connsiteX52009" fmla="*/ 2731038 w 8079933"/>
              <a:gd name="connsiteY52009" fmla="*/ 60632 h 4687251"/>
              <a:gd name="connsiteX52010" fmla="*/ 2728759 w 8079933"/>
              <a:gd name="connsiteY52010" fmla="*/ 57059 h 4687251"/>
              <a:gd name="connsiteX52011" fmla="*/ 2728542 w 8079933"/>
              <a:gd name="connsiteY52011" fmla="*/ 52079 h 4687251"/>
              <a:gd name="connsiteX52012" fmla="*/ 2725612 w 8079933"/>
              <a:gd name="connsiteY52012" fmla="*/ 48613 h 4687251"/>
              <a:gd name="connsiteX52013" fmla="*/ 2723442 w 8079933"/>
              <a:gd name="connsiteY52013" fmla="*/ 44391 h 4687251"/>
              <a:gd name="connsiteX52014" fmla="*/ 2721054 w 8079933"/>
              <a:gd name="connsiteY52014" fmla="*/ 42009 h 4687251"/>
              <a:gd name="connsiteX52015" fmla="*/ 2722140 w 8079933"/>
              <a:gd name="connsiteY52015" fmla="*/ 36704 h 4687251"/>
              <a:gd name="connsiteX52016" fmla="*/ 2726806 w 8079933"/>
              <a:gd name="connsiteY52016" fmla="*/ 37028 h 4687251"/>
              <a:gd name="connsiteX52017" fmla="*/ 2730170 w 8079933"/>
              <a:gd name="connsiteY52017" fmla="*/ 40060 h 4687251"/>
              <a:gd name="connsiteX52018" fmla="*/ 2735270 w 8079933"/>
              <a:gd name="connsiteY52018" fmla="*/ 38436 h 4687251"/>
              <a:gd name="connsiteX52019" fmla="*/ 2739285 w 8079933"/>
              <a:gd name="connsiteY52019" fmla="*/ 39844 h 4687251"/>
              <a:gd name="connsiteX52020" fmla="*/ 2741130 w 8079933"/>
              <a:gd name="connsiteY52020" fmla="*/ 37461 h 4687251"/>
              <a:gd name="connsiteX52021" fmla="*/ 2741564 w 8079933"/>
              <a:gd name="connsiteY52021" fmla="*/ 28908 h 4687251"/>
              <a:gd name="connsiteX52022" fmla="*/ 2738092 w 8079933"/>
              <a:gd name="connsiteY52022" fmla="*/ 25335 h 4687251"/>
              <a:gd name="connsiteX52023" fmla="*/ 2739611 w 8079933"/>
              <a:gd name="connsiteY52023" fmla="*/ 21113 h 4687251"/>
              <a:gd name="connsiteX52024" fmla="*/ 2745471 w 8079933"/>
              <a:gd name="connsiteY52024" fmla="*/ 19597 h 4687251"/>
              <a:gd name="connsiteX52025" fmla="*/ 2747207 w 8079933"/>
              <a:gd name="connsiteY52025" fmla="*/ 20896 h 4687251"/>
              <a:gd name="connsiteX52026" fmla="*/ 2755780 w 8079933"/>
              <a:gd name="connsiteY52026" fmla="*/ 22087 h 4687251"/>
              <a:gd name="connsiteX52027" fmla="*/ 2759469 w 8079933"/>
              <a:gd name="connsiteY52027" fmla="*/ 24685 h 4687251"/>
              <a:gd name="connsiteX52028" fmla="*/ 2759035 w 8079933"/>
              <a:gd name="connsiteY52028" fmla="*/ 28150 h 4687251"/>
              <a:gd name="connsiteX52029" fmla="*/ 2755671 w 8079933"/>
              <a:gd name="connsiteY52029" fmla="*/ 31398 h 4687251"/>
              <a:gd name="connsiteX52030" fmla="*/ 2756756 w 8079933"/>
              <a:gd name="connsiteY52030" fmla="*/ 33997 h 4687251"/>
              <a:gd name="connsiteX52031" fmla="*/ 2765546 w 8079933"/>
              <a:gd name="connsiteY52031" fmla="*/ 37137 h 4687251"/>
              <a:gd name="connsiteX52032" fmla="*/ 2765763 w 8079933"/>
              <a:gd name="connsiteY52032" fmla="*/ 40060 h 4687251"/>
              <a:gd name="connsiteX52033" fmla="*/ 2764353 w 8079933"/>
              <a:gd name="connsiteY52033" fmla="*/ 46556 h 4687251"/>
              <a:gd name="connsiteX52034" fmla="*/ 2765221 w 8079933"/>
              <a:gd name="connsiteY52034" fmla="*/ 56842 h 4687251"/>
              <a:gd name="connsiteX52035" fmla="*/ 2769127 w 8079933"/>
              <a:gd name="connsiteY52035" fmla="*/ 55435 h 4687251"/>
              <a:gd name="connsiteX52036" fmla="*/ 2771840 w 8079933"/>
              <a:gd name="connsiteY52036" fmla="*/ 49804 h 4687251"/>
              <a:gd name="connsiteX52037" fmla="*/ 2773685 w 8079933"/>
              <a:gd name="connsiteY52037" fmla="*/ 49913 h 4687251"/>
              <a:gd name="connsiteX52038" fmla="*/ 2774010 w 8079933"/>
              <a:gd name="connsiteY52038" fmla="*/ 54135 h 4687251"/>
              <a:gd name="connsiteX52039" fmla="*/ 2775855 w 8079933"/>
              <a:gd name="connsiteY52039" fmla="*/ 56842 h 4687251"/>
              <a:gd name="connsiteX52040" fmla="*/ 2779653 w 8079933"/>
              <a:gd name="connsiteY52040" fmla="*/ 54677 h 4687251"/>
              <a:gd name="connsiteX52041" fmla="*/ 2781715 w 8079933"/>
              <a:gd name="connsiteY52041" fmla="*/ 51103 h 4687251"/>
              <a:gd name="connsiteX52042" fmla="*/ 2786707 w 8079933"/>
              <a:gd name="connsiteY52042" fmla="*/ 48830 h 4687251"/>
              <a:gd name="connsiteX52043" fmla="*/ 2788009 w 8079933"/>
              <a:gd name="connsiteY52043" fmla="*/ 46232 h 4687251"/>
              <a:gd name="connsiteX52044" fmla="*/ 2784971 w 8079933"/>
              <a:gd name="connsiteY52044" fmla="*/ 37353 h 4687251"/>
              <a:gd name="connsiteX52045" fmla="*/ 2787792 w 8079933"/>
              <a:gd name="connsiteY52045" fmla="*/ 33889 h 4687251"/>
              <a:gd name="connsiteX52046" fmla="*/ 2791265 w 8079933"/>
              <a:gd name="connsiteY52046" fmla="*/ 33781 h 4687251"/>
              <a:gd name="connsiteX52047" fmla="*/ 2793327 w 8079933"/>
              <a:gd name="connsiteY52047" fmla="*/ 35404 h 4687251"/>
              <a:gd name="connsiteX52048" fmla="*/ 2801357 w 8079933"/>
              <a:gd name="connsiteY52048" fmla="*/ 36271 h 4687251"/>
              <a:gd name="connsiteX52049" fmla="*/ 2801031 w 8079933"/>
              <a:gd name="connsiteY52049" fmla="*/ 32806 h 4687251"/>
              <a:gd name="connsiteX52050" fmla="*/ 2793435 w 8079933"/>
              <a:gd name="connsiteY52050" fmla="*/ 27392 h 4687251"/>
              <a:gd name="connsiteX52051" fmla="*/ 2792133 w 8079933"/>
              <a:gd name="connsiteY52051" fmla="*/ 21329 h 4687251"/>
              <a:gd name="connsiteX52052" fmla="*/ 2793652 w 8079933"/>
              <a:gd name="connsiteY52052" fmla="*/ 18947 h 4687251"/>
              <a:gd name="connsiteX52053" fmla="*/ 2794955 w 8079933"/>
              <a:gd name="connsiteY52053" fmla="*/ 14184 h 4687251"/>
              <a:gd name="connsiteX52054" fmla="*/ 2797993 w 8079933"/>
              <a:gd name="connsiteY52054" fmla="*/ 13859 h 4687251"/>
              <a:gd name="connsiteX52055" fmla="*/ 2806999 w 8079933"/>
              <a:gd name="connsiteY52055" fmla="*/ 18839 h 4687251"/>
              <a:gd name="connsiteX52056" fmla="*/ 2807976 w 8079933"/>
              <a:gd name="connsiteY52056" fmla="*/ 25877 h 4687251"/>
              <a:gd name="connsiteX52057" fmla="*/ 2809170 w 8079933"/>
              <a:gd name="connsiteY52057" fmla="*/ 30749 h 4687251"/>
              <a:gd name="connsiteX52058" fmla="*/ 2808627 w 8079933"/>
              <a:gd name="connsiteY52058" fmla="*/ 36596 h 4687251"/>
              <a:gd name="connsiteX52059" fmla="*/ 2810906 w 8079933"/>
              <a:gd name="connsiteY52059" fmla="*/ 40060 h 4687251"/>
              <a:gd name="connsiteX52060" fmla="*/ 2812208 w 8079933"/>
              <a:gd name="connsiteY52060" fmla="*/ 46340 h 4687251"/>
              <a:gd name="connsiteX52061" fmla="*/ 2814378 w 8079933"/>
              <a:gd name="connsiteY52061" fmla="*/ 50346 h 4687251"/>
              <a:gd name="connsiteX52062" fmla="*/ 2816441 w 8079933"/>
              <a:gd name="connsiteY52062" fmla="*/ 48505 h 4687251"/>
              <a:gd name="connsiteX52063" fmla="*/ 2816658 w 8079933"/>
              <a:gd name="connsiteY52063" fmla="*/ 42983 h 4687251"/>
              <a:gd name="connsiteX52064" fmla="*/ 2815790 w 8079933"/>
              <a:gd name="connsiteY52064" fmla="*/ 39194 h 4687251"/>
              <a:gd name="connsiteX52065" fmla="*/ 2815247 w 8079933"/>
              <a:gd name="connsiteY52065" fmla="*/ 33130 h 4687251"/>
              <a:gd name="connsiteX52066" fmla="*/ 2812751 w 8079933"/>
              <a:gd name="connsiteY52066" fmla="*/ 26201 h 4687251"/>
              <a:gd name="connsiteX52067" fmla="*/ 2813728 w 8079933"/>
              <a:gd name="connsiteY52067" fmla="*/ 18081 h 4687251"/>
              <a:gd name="connsiteX52068" fmla="*/ 2813077 w 8079933"/>
              <a:gd name="connsiteY52068" fmla="*/ 9528 h 4687251"/>
              <a:gd name="connsiteX52069" fmla="*/ 2814705 w 8079933"/>
              <a:gd name="connsiteY52069" fmla="*/ 4439 h 4687251"/>
              <a:gd name="connsiteX52070" fmla="*/ 2817851 w 8079933"/>
              <a:gd name="connsiteY52070" fmla="*/ 4764 h 4687251"/>
              <a:gd name="connsiteX52071" fmla="*/ 2822409 w 8079933"/>
              <a:gd name="connsiteY52071" fmla="*/ 8986 h 4687251"/>
              <a:gd name="connsiteX52072" fmla="*/ 2825447 w 8079933"/>
              <a:gd name="connsiteY52072" fmla="*/ 8878 h 4687251"/>
              <a:gd name="connsiteX52073" fmla="*/ 2827184 w 8079933"/>
              <a:gd name="connsiteY52073" fmla="*/ 10394 h 4687251"/>
              <a:gd name="connsiteX52074" fmla="*/ 2827400 w 8079933"/>
              <a:gd name="connsiteY52074" fmla="*/ 17106 h 4687251"/>
              <a:gd name="connsiteX52075" fmla="*/ 2830113 w 8079933"/>
              <a:gd name="connsiteY52075" fmla="*/ 21979 h 4687251"/>
              <a:gd name="connsiteX52076" fmla="*/ 2829354 w 8079933"/>
              <a:gd name="connsiteY52076" fmla="*/ 27718 h 4687251"/>
              <a:gd name="connsiteX52077" fmla="*/ 2830113 w 8079933"/>
              <a:gd name="connsiteY52077" fmla="*/ 35296 h 4687251"/>
              <a:gd name="connsiteX52078" fmla="*/ 2832392 w 8079933"/>
              <a:gd name="connsiteY52078" fmla="*/ 36271 h 4687251"/>
              <a:gd name="connsiteX52079" fmla="*/ 2832175 w 8079933"/>
              <a:gd name="connsiteY52079" fmla="*/ 32265 h 4687251"/>
              <a:gd name="connsiteX52080" fmla="*/ 2833912 w 8079933"/>
              <a:gd name="connsiteY52080" fmla="*/ 29016 h 4687251"/>
              <a:gd name="connsiteX52081" fmla="*/ 2835648 w 8079933"/>
              <a:gd name="connsiteY52081" fmla="*/ 28692 h 4687251"/>
              <a:gd name="connsiteX52082" fmla="*/ 2844004 w 8079933"/>
              <a:gd name="connsiteY52082" fmla="*/ 38328 h 4687251"/>
              <a:gd name="connsiteX52083" fmla="*/ 2844872 w 8079933"/>
              <a:gd name="connsiteY52083" fmla="*/ 36704 h 4687251"/>
              <a:gd name="connsiteX52084" fmla="*/ 2848670 w 8079933"/>
              <a:gd name="connsiteY52084" fmla="*/ 35622 h 4687251"/>
              <a:gd name="connsiteX52085" fmla="*/ 2848887 w 8079933"/>
              <a:gd name="connsiteY52085" fmla="*/ 33455 h 4687251"/>
              <a:gd name="connsiteX52086" fmla="*/ 2845523 w 8079933"/>
              <a:gd name="connsiteY52086" fmla="*/ 32589 h 4687251"/>
              <a:gd name="connsiteX52087" fmla="*/ 2841508 w 8079933"/>
              <a:gd name="connsiteY52087" fmla="*/ 27392 h 4687251"/>
              <a:gd name="connsiteX52088" fmla="*/ 2842810 w 8079933"/>
              <a:gd name="connsiteY52088" fmla="*/ 25661 h 4687251"/>
              <a:gd name="connsiteX52089" fmla="*/ 2843352 w 8079933"/>
              <a:gd name="connsiteY52089" fmla="*/ 22845 h 4687251"/>
              <a:gd name="connsiteX52090" fmla="*/ 2837927 w 8079933"/>
              <a:gd name="connsiteY52090" fmla="*/ 18298 h 4687251"/>
              <a:gd name="connsiteX52091" fmla="*/ 2836408 w 8079933"/>
              <a:gd name="connsiteY52091" fmla="*/ 14833 h 4687251"/>
              <a:gd name="connsiteX52092" fmla="*/ 2837710 w 8079933"/>
              <a:gd name="connsiteY52092" fmla="*/ 12884 h 4687251"/>
              <a:gd name="connsiteX52093" fmla="*/ 2843136 w 8079933"/>
              <a:gd name="connsiteY52093" fmla="*/ 12451 h 4687251"/>
              <a:gd name="connsiteX52094" fmla="*/ 2840748 w 8079933"/>
              <a:gd name="connsiteY52094" fmla="*/ 10178 h 4687251"/>
              <a:gd name="connsiteX52095" fmla="*/ 2837059 w 8079933"/>
              <a:gd name="connsiteY52095" fmla="*/ 9528 h 4687251"/>
              <a:gd name="connsiteX52096" fmla="*/ 2834237 w 8079933"/>
              <a:gd name="connsiteY52096" fmla="*/ 5847 h 4687251"/>
              <a:gd name="connsiteX52097" fmla="*/ 2836950 w 8079933"/>
              <a:gd name="connsiteY52097" fmla="*/ 4439 h 4687251"/>
              <a:gd name="connsiteX52098" fmla="*/ 2841074 w 8079933"/>
              <a:gd name="connsiteY52098" fmla="*/ 4439 h 4687251"/>
              <a:gd name="connsiteX52099" fmla="*/ 2846065 w 8079933"/>
              <a:gd name="connsiteY52099" fmla="*/ 109 h 4687251"/>
              <a:gd name="connsiteX52100" fmla="*/ 2856158 w 8079933"/>
              <a:gd name="connsiteY52100" fmla="*/ 1732 h 4687251"/>
              <a:gd name="connsiteX52101" fmla="*/ 2858003 w 8079933"/>
              <a:gd name="connsiteY52101" fmla="*/ 4223 h 4687251"/>
              <a:gd name="connsiteX52102" fmla="*/ 2857894 w 8079933"/>
              <a:gd name="connsiteY52102" fmla="*/ 9312 h 4687251"/>
              <a:gd name="connsiteX52103" fmla="*/ 2855181 w 8079933"/>
              <a:gd name="connsiteY52103" fmla="*/ 13642 h 4687251"/>
              <a:gd name="connsiteX52104" fmla="*/ 2856375 w 8079933"/>
              <a:gd name="connsiteY52104" fmla="*/ 15916 h 4687251"/>
              <a:gd name="connsiteX52105" fmla="*/ 2859521 w 8079933"/>
              <a:gd name="connsiteY52105" fmla="*/ 15591 h 4687251"/>
              <a:gd name="connsiteX52106" fmla="*/ 2862886 w 8079933"/>
              <a:gd name="connsiteY52106" fmla="*/ 9636 h 4687251"/>
              <a:gd name="connsiteX52107" fmla="*/ 2865164 w 8079933"/>
              <a:gd name="connsiteY52107" fmla="*/ 7904 h 4687251"/>
              <a:gd name="connsiteX52108" fmla="*/ 2866901 w 8079933"/>
              <a:gd name="connsiteY52108" fmla="*/ 10502 h 4687251"/>
              <a:gd name="connsiteX52109" fmla="*/ 2864730 w 8079933"/>
              <a:gd name="connsiteY52109" fmla="*/ 17432 h 4687251"/>
              <a:gd name="connsiteX52110" fmla="*/ 2867226 w 8079933"/>
              <a:gd name="connsiteY52110" fmla="*/ 18947 h 4687251"/>
              <a:gd name="connsiteX52111" fmla="*/ 2870156 w 8079933"/>
              <a:gd name="connsiteY52111" fmla="*/ 18406 h 4687251"/>
              <a:gd name="connsiteX52112" fmla="*/ 2871025 w 8079933"/>
              <a:gd name="connsiteY52112" fmla="*/ 16132 h 4687251"/>
              <a:gd name="connsiteX52113" fmla="*/ 2876993 w 8079933"/>
              <a:gd name="connsiteY52113" fmla="*/ 10502 h 4687251"/>
              <a:gd name="connsiteX52114" fmla="*/ 2878838 w 8079933"/>
              <a:gd name="connsiteY52114" fmla="*/ 12776 h 4687251"/>
              <a:gd name="connsiteX52115" fmla="*/ 2878186 w 8079933"/>
              <a:gd name="connsiteY52115" fmla="*/ 18406 h 4687251"/>
              <a:gd name="connsiteX52116" fmla="*/ 2876125 w 8079933"/>
              <a:gd name="connsiteY52116" fmla="*/ 22304 h 4687251"/>
              <a:gd name="connsiteX52117" fmla="*/ 2877753 w 8079933"/>
              <a:gd name="connsiteY52117" fmla="*/ 30208 h 4687251"/>
              <a:gd name="connsiteX52118" fmla="*/ 2875148 w 8079933"/>
              <a:gd name="connsiteY52118" fmla="*/ 33672 h 4687251"/>
              <a:gd name="connsiteX52119" fmla="*/ 2877318 w 8079933"/>
              <a:gd name="connsiteY52119" fmla="*/ 35730 h 4687251"/>
              <a:gd name="connsiteX52120" fmla="*/ 2882527 w 8079933"/>
              <a:gd name="connsiteY52120" fmla="*/ 34646 h 4687251"/>
              <a:gd name="connsiteX52121" fmla="*/ 2885674 w 8079933"/>
              <a:gd name="connsiteY52121" fmla="*/ 35512 h 4687251"/>
              <a:gd name="connsiteX52122" fmla="*/ 2887736 w 8079933"/>
              <a:gd name="connsiteY52122" fmla="*/ 33672 h 4687251"/>
              <a:gd name="connsiteX52123" fmla="*/ 2887953 w 8079933"/>
              <a:gd name="connsiteY52123" fmla="*/ 26743 h 4687251"/>
              <a:gd name="connsiteX52124" fmla="*/ 2890775 w 8079933"/>
              <a:gd name="connsiteY52124" fmla="*/ 18514 h 4687251"/>
              <a:gd name="connsiteX52125" fmla="*/ 2887085 w 8079933"/>
              <a:gd name="connsiteY52125" fmla="*/ 8120 h 4687251"/>
              <a:gd name="connsiteX52126" fmla="*/ 2888062 w 8079933"/>
              <a:gd name="connsiteY52126" fmla="*/ 1732 h 468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 ang="0">
                <a:pos x="connsiteX49645" y="connsiteY49645"/>
              </a:cxn>
              <a:cxn ang="0">
                <a:pos x="connsiteX49646" y="connsiteY49646"/>
              </a:cxn>
              <a:cxn ang="0">
                <a:pos x="connsiteX49647" y="connsiteY49647"/>
              </a:cxn>
              <a:cxn ang="0">
                <a:pos x="connsiteX49648" y="connsiteY49648"/>
              </a:cxn>
              <a:cxn ang="0">
                <a:pos x="connsiteX49649" y="connsiteY49649"/>
              </a:cxn>
              <a:cxn ang="0">
                <a:pos x="connsiteX49650" y="connsiteY49650"/>
              </a:cxn>
              <a:cxn ang="0">
                <a:pos x="connsiteX49651" y="connsiteY49651"/>
              </a:cxn>
              <a:cxn ang="0">
                <a:pos x="connsiteX49652" y="connsiteY49652"/>
              </a:cxn>
              <a:cxn ang="0">
                <a:pos x="connsiteX49653" y="connsiteY49653"/>
              </a:cxn>
              <a:cxn ang="0">
                <a:pos x="connsiteX49654" y="connsiteY49654"/>
              </a:cxn>
              <a:cxn ang="0">
                <a:pos x="connsiteX49655" y="connsiteY49655"/>
              </a:cxn>
              <a:cxn ang="0">
                <a:pos x="connsiteX49656" y="connsiteY49656"/>
              </a:cxn>
              <a:cxn ang="0">
                <a:pos x="connsiteX49657" y="connsiteY49657"/>
              </a:cxn>
              <a:cxn ang="0">
                <a:pos x="connsiteX49658" y="connsiteY49658"/>
              </a:cxn>
              <a:cxn ang="0">
                <a:pos x="connsiteX49659" y="connsiteY49659"/>
              </a:cxn>
              <a:cxn ang="0">
                <a:pos x="connsiteX49660" y="connsiteY49660"/>
              </a:cxn>
              <a:cxn ang="0">
                <a:pos x="connsiteX49661" y="connsiteY49661"/>
              </a:cxn>
              <a:cxn ang="0">
                <a:pos x="connsiteX49662" y="connsiteY49662"/>
              </a:cxn>
              <a:cxn ang="0">
                <a:pos x="connsiteX49663" y="connsiteY49663"/>
              </a:cxn>
              <a:cxn ang="0">
                <a:pos x="connsiteX49664" y="connsiteY49664"/>
              </a:cxn>
              <a:cxn ang="0">
                <a:pos x="connsiteX49665" y="connsiteY49665"/>
              </a:cxn>
              <a:cxn ang="0">
                <a:pos x="connsiteX49666" y="connsiteY49666"/>
              </a:cxn>
              <a:cxn ang="0">
                <a:pos x="connsiteX49667" y="connsiteY49667"/>
              </a:cxn>
              <a:cxn ang="0">
                <a:pos x="connsiteX49668" y="connsiteY49668"/>
              </a:cxn>
              <a:cxn ang="0">
                <a:pos x="connsiteX49669" y="connsiteY49669"/>
              </a:cxn>
              <a:cxn ang="0">
                <a:pos x="connsiteX49670" y="connsiteY49670"/>
              </a:cxn>
              <a:cxn ang="0">
                <a:pos x="connsiteX49671" y="connsiteY49671"/>
              </a:cxn>
              <a:cxn ang="0">
                <a:pos x="connsiteX49672" y="connsiteY49672"/>
              </a:cxn>
              <a:cxn ang="0">
                <a:pos x="connsiteX49673" y="connsiteY49673"/>
              </a:cxn>
              <a:cxn ang="0">
                <a:pos x="connsiteX49674" y="connsiteY49674"/>
              </a:cxn>
              <a:cxn ang="0">
                <a:pos x="connsiteX49675" y="connsiteY49675"/>
              </a:cxn>
              <a:cxn ang="0">
                <a:pos x="connsiteX49676" y="connsiteY49676"/>
              </a:cxn>
              <a:cxn ang="0">
                <a:pos x="connsiteX49677" y="connsiteY49677"/>
              </a:cxn>
              <a:cxn ang="0">
                <a:pos x="connsiteX49678" y="connsiteY49678"/>
              </a:cxn>
              <a:cxn ang="0">
                <a:pos x="connsiteX49679" y="connsiteY49679"/>
              </a:cxn>
              <a:cxn ang="0">
                <a:pos x="connsiteX49680" y="connsiteY49680"/>
              </a:cxn>
              <a:cxn ang="0">
                <a:pos x="connsiteX49681" y="connsiteY49681"/>
              </a:cxn>
              <a:cxn ang="0">
                <a:pos x="connsiteX49682" y="connsiteY49682"/>
              </a:cxn>
              <a:cxn ang="0">
                <a:pos x="connsiteX49683" y="connsiteY49683"/>
              </a:cxn>
              <a:cxn ang="0">
                <a:pos x="connsiteX49684" y="connsiteY49684"/>
              </a:cxn>
              <a:cxn ang="0">
                <a:pos x="connsiteX49685" y="connsiteY49685"/>
              </a:cxn>
              <a:cxn ang="0">
                <a:pos x="connsiteX49686" y="connsiteY49686"/>
              </a:cxn>
              <a:cxn ang="0">
                <a:pos x="connsiteX49687" y="connsiteY49687"/>
              </a:cxn>
              <a:cxn ang="0">
                <a:pos x="connsiteX49688" y="connsiteY49688"/>
              </a:cxn>
              <a:cxn ang="0">
                <a:pos x="connsiteX49689" y="connsiteY49689"/>
              </a:cxn>
              <a:cxn ang="0">
                <a:pos x="connsiteX49690" y="connsiteY49690"/>
              </a:cxn>
              <a:cxn ang="0">
                <a:pos x="connsiteX49691" y="connsiteY49691"/>
              </a:cxn>
              <a:cxn ang="0">
                <a:pos x="connsiteX49692" y="connsiteY49692"/>
              </a:cxn>
              <a:cxn ang="0">
                <a:pos x="connsiteX49693" y="connsiteY49693"/>
              </a:cxn>
              <a:cxn ang="0">
                <a:pos x="connsiteX49694" y="connsiteY49694"/>
              </a:cxn>
              <a:cxn ang="0">
                <a:pos x="connsiteX49695" y="connsiteY49695"/>
              </a:cxn>
              <a:cxn ang="0">
                <a:pos x="connsiteX49696" y="connsiteY49696"/>
              </a:cxn>
              <a:cxn ang="0">
                <a:pos x="connsiteX49697" y="connsiteY49697"/>
              </a:cxn>
              <a:cxn ang="0">
                <a:pos x="connsiteX49698" y="connsiteY49698"/>
              </a:cxn>
              <a:cxn ang="0">
                <a:pos x="connsiteX49699" y="connsiteY49699"/>
              </a:cxn>
              <a:cxn ang="0">
                <a:pos x="connsiteX49700" y="connsiteY49700"/>
              </a:cxn>
              <a:cxn ang="0">
                <a:pos x="connsiteX49701" y="connsiteY49701"/>
              </a:cxn>
              <a:cxn ang="0">
                <a:pos x="connsiteX49702" y="connsiteY49702"/>
              </a:cxn>
              <a:cxn ang="0">
                <a:pos x="connsiteX49703" y="connsiteY49703"/>
              </a:cxn>
              <a:cxn ang="0">
                <a:pos x="connsiteX49704" y="connsiteY49704"/>
              </a:cxn>
              <a:cxn ang="0">
                <a:pos x="connsiteX49705" y="connsiteY49705"/>
              </a:cxn>
              <a:cxn ang="0">
                <a:pos x="connsiteX49706" y="connsiteY49706"/>
              </a:cxn>
              <a:cxn ang="0">
                <a:pos x="connsiteX49707" y="connsiteY49707"/>
              </a:cxn>
              <a:cxn ang="0">
                <a:pos x="connsiteX49708" y="connsiteY49708"/>
              </a:cxn>
              <a:cxn ang="0">
                <a:pos x="connsiteX49709" y="connsiteY49709"/>
              </a:cxn>
              <a:cxn ang="0">
                <a:pos x="connsiteX49710" y="connsiteY49710"/>
              </a:cxn>
              <a:cxn ang="0">
                <a:pos x="connsiteX49711" y="connsiteY49711"/>
              </a:cxn>
              <a:cxn ang="0">
                <a:pos x="connsiteX49712" y="connsiteY49712"/>
              </a:cxn>
              <a:cxn ang="0">
                <a:pos x="connsiteX49713" y="connsiteY49713"/>
              </a:cxn>
              <a:cxn ang="0">
                <a:pos x="connsiteX49714" y="connsiteY49714"/>
              </a:cxn>
              <a:cxn ang="0">
                <a:pos x="connsiteX49715" y="connsiteY49715"/>
              </a:cxn>
              <a:cxn ang="0">
                <a:pos x="connsiteX49716" y="connsiteY49716"/>
              </a:cxn>
              <a:cxn ang="0">
                <a:pos x="connsiteX49717" y="connsiteY49717"/>
              </a:cxn>
              <a:cxn ang="0">
                <a:pos x="connsiteX49718" y="connsiteY49718"/>
              </a:cxn>
              <a:cxn ang="0">
                <a:pos x="connsiteX49719" y="connsiteY49719"/>
              </a:cxn>
              <a:cxn ang="0">
                <a:pos x="connsiteX49720" y="connsiteY49720"/>
              </a:cxn>
              <a:cxn ang="0">
                <a:pos x="connsiteX49721" y="connsiteY49721"/>
              </a:cxn>
              <a:cxn ang="0">
                <a:pos x="connsiteX49722" y="connsiteY49722"/>
              </a:cxn>
              <a:cxn ang="0">
                <a:pos x="connsiteX49723" y="connsiteY49723"/>
              </a:cxn>
              <a:cxn ang="0">
                <a:pos x="connsiteX49724" y="connsiteY49724"/>
              </a:cxn>
              <a:cxn ang="0">
                <a:pos x="connsiteX49725" y="connsiteY49725"/>
              </a:cxn>
              <a:cxn ang="0">
                <a:pos x="connsiteX49726" y="connsiteY49726"/>
              </a:cxn>
              <a:cxn ang="0">
                <a:pos x="connsiteX49727" y="connsiteY49727"/>
              </a:cxn>
              <a:cxn ang="0">
                <a:pos x="connsiteX49728" y="connsiteY49728"/>
              </a:cxn>
              <a:cxn ang="0">
                <a:pos x="connsiteX49729" y="connsiteY49729"/>
              </a:cxn>
              <a:cxn ang="0">
                <a:pos x="connsiteX49730" y="connsiteY49730"/>
              </a:cxn>
              <a:cxn ang="0">
                <a:pos x="connsiteX49731" y="connsiteY49731"/>
              </a:cxn>
              <a:cxn ang="0">
                <a:pos x="connsiteX49732" y="connsiteY49732"/>
              </a:cxn>
              <a:cxn ang="0">
                <a:pos x="connsiteX49733" y="connsiteY49733"/>
              </a:cxn>
              <a:cxn ang="0">
                <a:pos x="connsiteX49734" y="connsiteY49734"/>
              </a:cxn>
              <a:cxn ang="0">
                <a:pos x="connsiteX49735" y="connsiteY49735"/>
              </a:cxn>
              <a:cxn ang="0">
                <a:pos x="connsiteX49736" y="connsiteY49736"/>
              </a:cxn>
              <a:cxn ang="0">
                <a:pos x="connsiteX49737" y="connsiteY49737"/>
              </a:cxn>
              <a:cxn ang="0">
                <a:pos x="connsiteX49738" y="connsiteY49738"/>
              </a:cxn>
              <a:cxn ang="0">
                <a:pos x="connsiteX49739" y="connsiteY49739"/>
              </a:cxn>
              <a:cxn ang="0">
                <a:pos x="connsiteX49740" y="connsiteY49740"/>
              </a:cxn>
              <a:cxn ang="0">
                <a:pos x="connsiteX49741" y="connsiteY49741"/>
              </a:cxn>
              <a:cxn ang="0">
                <a:pos x="connsiteX49742" y="connsiteY49742"/>
              </a:cxn>
              <a:cxn ang="0">
                <a:pos x="connsiteX49743" y="connsiteY49743"/>
              </a:cxn>
              <a:cxn ang="0">
                <a:pos x="connsiteX49744" y="connsiteY49744"/>
              </a:cxn>
              <a:cxn ang="0">
                <a:pos x="connsiteX49745" y="connsiteY49745"/>
              </a:cxn>
              <a:cxn ang="0">
                <a:pos x="connsiteX49746" y="connsiteY49746"/>
              </a:cxn>
              <a:cxn ang="0">
                <a:pos x="connsiteX49747" y="connsiteY49747"/>
              </a:cxn>
              <a:cxn ang="0">
                <a:pos x="connsiteX49748" y="connsiteY49748"/>
              </a:cxn>
              <a:cxn ang="0">
                <a:pos x="connsiteX49749" y="connsiteY49749"/>
              </a:cxn>
              <a:cxn ang="0">
                <a:pos x="connsiteX49750" y="connsiteY49750"/>
              </a:cxn>
              <a:cxn ang="0">
                <a:pos x="connsiteX49751" y="connsiteY49751"/>
              </a:cxn>
              <a:cxn ang="0">
                <a:pos x="connsiteX49752" y="connsiteY49752"/>
              </a:cxn>
              <a:cxn ang="0">
                <a:pos x="connsiteX49753" y="connsiteY49753"/>
              </a:cxn>
              <a:cxn ang="0">
                <a:pos x="connsiteX49754" y="connsiteY49754"/>
              </a:cxn>
              <a:cxn ang="0">
                <a:pos x="connsiteX49755" y="connsiteY49755"/>
              </a:cxn>
              <a:cxn ang="0">
                <a:pos x="connsiteX49756" y="connsiteY49756"/>
              </a:cxn>
              <a:cxn ang="0">
                <a:pos x="connsiteX49757" y="connsiteY49757"/>
              </a:cxn>
              <a:cxn ang="0">
                <a:pos x="connsiteX49758" y="connsiteY49758"/>
              </a:cxn>
              <a:cxn ang="0">
                <a:pos x="connsiteX49759" y="connsiteY49759"/>
              </a:cxn>
              <a:cxn ang="0">
                <a:pos x="connsiteX49760" y="connsiteY49760"/>
              </a:cxn>
              <a:cxn ang="0">
                <a:pos x="connsiteX49761" y="connsiteY49761"/>
              </a:cxn>
              <a:cxn ang="0">
                <a:pos x="connsiteX49762" y="connsiteY49762"/>
              </a:cxn>
              <a:cxn ang="0">
                <a:pos x="connsiteX49763" y="connsiteY49763"/>
              </a:cxn>
              <a:cxn ang="0">
                <a:pos x="connsiteX49764" y="connsiteY49764"/>
              </a:cxn>
              <a:cxn ang="0">
                <a:pos x="connsiteX49765" y="connsiteY49765"/>
              </a:cxn>
              <a:cxn ang="0">
                <a:pos x="connsiteX49766" y="connsiteY49766"/>
              </a:cxn>
              <a:cxn ang="0">
                <a:pos x="connsiteX49767" y="connsiteY49767"/>
              </a:cxn>
              <a:cxn ang="0">
                <a:pos x="connsiteX49768" y="connsiteY49768"/>
              </a:cxn>
              <a:cxn ang="0">
                <a:pos x="connsiteX49769" y="connsiteY49769"/>
              </a:cxn>
              <a:cxn ang="0">
                <a:pos x="connsiteX49770" y="connsiteY49770"/>
              </a:cxn>
              <a:cxn ang="0">
                <a:pos x="connsiteX49771" y="connsiteY49771"/>
              </a:cxn>
              <a:cxn ang="0">
                <a:pos x="connsiteX49772" y="connsiteY49772"/>
              </a:cxn>
              <a:cxn ang="0">
                <a:pos x="connsiteX49773" y="connsiteY49773"/>
              </a:cxn>
              <a:cxn ang="0">
                <a:pos x="connsiteX49774" y="connsiteY49774"/>
              </a:cxn>
              <a:cxn ang="0">
                <a:pos x="connsiteX49775" y="connsiteY49775"/>
              </a:cxn>
              <a:cxn ang="0">
                <a:pos x="connsiteX49776" y="connsiteY49776"/>
              </a:cxn>
              <a:cxn ang="0">
                <a:pos x="connsiteX49777" y="connsiteY49777"/>
              </a:cxn>
              <a:cxn ang="0">
                <a:pos x="connsiteX49778" y="connsiteY49778"/>
              </a:cxn>
              <a:cxn ang="0">
                <a:pos x="connsiteX49779" y="connsiteY49779"/>
              </a:cxn>
              <a:cxn ang="0">
                <a:pos x="connsiteX49780" y="connsiteY49780"/>
              </a:cxn>
              <a:cxn ang="0">
                <a:pos x="connsiteX49781" y="connsiteY49781"/>
              </a:cxn>
              <a:cxn ang="0">
                <a:pos x="connsiteX49782" y="connsiteY49782"/>
              </a:cxn>
              <a:cxn ang="0">
                <a:pos x="connsiteX49783" y="connsiteY49783"/>
              </a:cxn>
              <a:cxn ang="0">
                <a:pos x="connsiteX49784" y="connsiteY49784"/>
              </a:cxn>
              <a:cxn ang="0">
                <a:pos x="connsiteX49785" y="connsiteY49785"/>
              </a:cxn>
              <a:cxn ang="0">
                <a:pos x="connsiteX49786" y="connsiteY49786"/>
              </a:cxn>
              <a:cxn ang="0">
                <a:pos x="connsiteX49787" y="connsiteY49787"/>
              </a:cxn>
              <a:cxn ang="0">
                <a:pos x="connsiteX49788" y="connsiteY49788"/>
              </a:cxn>
              <a:cxn ang="0">
                <a:pos x="connsiteX49789" y="connsiteY49789"/>
              </a:cxn>
              <a:cxn ang="0">
                <a:pos x="connsiteX49790" y="connsiteY49790"/>
              </a:cxn>
              <a:cxn ang="0">
                <a:pos x="connsiteX49791" y="connsiteY49791"/>
              </a:cxn>
              <a:cxn ang="0">
                <a:pos x="connsiteX49792" y="connsiteY49792"/>
              </a:cxn>
              <a:cxn ang="0">
                <a:pos x="connsiteX49793" y="connsiteY49793"/>
              </a:cxn>
              <a:cxn ang="0">
                <a:pos x="connsiteX49794" y="connsiteY49794"/>
              </a:cxn>
              <a:cxn ang="0">
                <a:pos x="connsiteX49795" y="connsiteY49795"/>
              </a:cxn>
              <a:cxn ang="0">
                <a:pos x="connsiteX49796" y="connsiteY49796"/>
              </a:cxn>
              <a:cxn ang="0">
                <a:pos x="connsiteX49797" y="connsiteY49797"/>
              </a:cxn>
              <a:cxn ang="0">
                <a:pos x="connsiteX49798" y="connsiteY49798"/>
              </a:cxn>
              <a:cxn ang="0">
                <a:pos x="connsiteX49799" y="connsiteY49799"/>
              </a:cxn>
              <a:cxn ang="0">
                <a:pos x="connsiteX49800" y="connsiteY49800"/>
              </a:cxn>
              <a:cxn ang="0">
                <a:pos x="connsiteX49801" y="connsiteY49801"/>
              </a:cxn>
              <a:cxn ang="0">
                <a:pos x="connsiteX49802" y="connsiteY49802"/>
              </a:cxn>
              <a:cxn ang="0">
                <a:pos x="connsiteX49803" y="connsiteY49803"/>
              </a:cxn>
              <a:cxn ang="0">
                <a:pos x="connsiteX49804" y="connsiteY49804"/>
              </a:cxn>
              <a:cxn ang="0">
                <a:pos x="connsiteX49805" y="connsiteY49805"/>
              </a:cxn>
              <a:cxn ang="0">
                <a:pos x="connsiteX49806" y="connsiteY49806"/>
              </a:cxn>
              <a:cxn ang="0">
                <a:pos x="connsiteX49807" y="connsiteY49807"/>
              </a:cxn>
              <a:cxn ang="0">
                <a:pos x="connsiteX49808" y="connsiteY49808"/>
              </a:cxn>
              <a:cxn ang="0">
                <a:pos x="connsiteX49809" y="connsiteY49809"/>
              </a:cxn>
              <a:cxn ang="0">
                <a:pos x="connsiteX49810" y="connsiteY49810"/>
              </a:cxn>
              <a:cxn ang="0">
                <a:pos x="connsiteX49811" y="connsiteY49811"/>
              </a:cxn>
              <a:cxn ang="0">
                <a:pos x="connsiteX49812" y="connsiteY49812"/>
              </a:cxn>
              <a:cxn ang="0">
                <a:pos x="connsiteX49813" y="connsiteY49813"/>
              </a:cxn>
              <a:cxn ang="0">
                <a:pos x="connsiteX49814" y="connsiteY49814"/>
              </a:cxn>
              <a:cxn ang="0">
                <a:pos x="connsiteX49815" y="connsiteY49815"/>
              </a:cxn>
              <a:cxn ang="0">
                <a:pos x="connsiteX49816" y="connsiteY49816"/>
              </a:cxn>
              <a:cxn ang="0">
                <a:pos x="connsiteX49817" y="connsiteY49817"/>
              </a:cxn>
              <a:cxn ang="0">
                <a:pos x="connsiteX49818" y="connsiteY49818"/>
              </a:cxn>
              <a:cxn ang="0">
                <a:pos x="connsiteX49819" y="connsiteY49819"/>
              </a:cxn>
              <a:cxn ang="0">
                <a:pos x="connsiteX49820" y="connsiteY49820"/>
              </a:cxn>
              <a:cxn ang="0">
                <a:pos x="connsiteX49821" y="connsiteY49821"/>
              </a:cxn>
              <a:cxn ang="0">
                <a:pos x="connsiteX49822" y="connsiteY49822"/>
              </a:cxn>
              <a:cxn ang="0">
                <a:pos x="connsiteX49823" y="connsiteY49823"/>
              </a:cxn>
              <a:cxn ang="0">
                <a:pos x="connsiteX49824" y="connsiteY49824"/>
              </a:cxn>
              <a:cxn ang="0">
                <a:pos x="connsiteX49825" y="connsiteY49825"/>
              </a:cxn>
              <a:cxn ang="0">
                <a:pos x="connsiteX49826" y="connsiteY49826"/>
              </a:cxn>
              <a:cxn ang="0">
                <a:pos x="connsiteX49827" y="connsiteY49827"/>
              </a:cxn>
              <a:cxn ang="0">
                <a:pos x="connsiteX49828" y="connsiteY49828"/>
              </a:cxn>
              <a:cxn ang="0">
                <a:pos x="connsiteX49829" y="connsiteY49829"/>
              </a:cxn>
              <a:cxn ang="0">
                <a:pos x="connsiteX49830" y="connsiteY49830"/>
              </a:cxn>
              <a:cxn ang="0">
                <a:pos x="connsiteX49831" y="connsiteY49831"/>
              </a:cxn>
              <a:cxn ang="0">
                <a:pos x="connsiteX49832" y="connsiteY49832"/>
              </a:cxn>
              <a:cxn ang="0">
                <a:pos x="connsiteX49833" y="connsiteY49833"/>
              </a:cxn>
              <a:cxn ang="0">
                <a:pos x="connsiteX49834" y="connsiteY49834"/>
              </a:cxn>
              <a:cxn ang="0">
                <a:pos x="connsiteX49835" y="connsiteY49835"/>
              </a:cxn>
              <a:cxn ang="0">
                <a:pos x="connsiteX49836" y="connsiteY49836"/>
              </a:cxn>
              <a:cxn ang="0">
                <a:pos x="connsiteX49837" y="connsiteY49837"/>
              </a:cxn>
              <a:cxn ang="0">
                <a:pos x="connsiteX49838" y="connsiteY49838"/>
              </a:cxn>
              <a:cxn ang="0">
                <a:pos x="connsiteX49839" y="connsiteY49839"/>
              </a:cxn>
              <a:cxn ang="0">
                <a:pos x="connsiteX49840" y="connsiteY49840"/>
              </a:cxn>
              <a:cxn ang="0">
                <a:pos x="connsiteX49841" y="connsiteY49841"/>
              </a:cxn>
              <a:cxn ang="0">
                <a:pos x="connsiteX49842" y="connsiteY49842"/>
              </a:cxn>
              <a:cxn ang="0">
                <a:pos x="connsiteX49843" y="connsiteY49843"/>
              </a:cxn>
              <a:cxn ang="0">
                <a:pos x="connsiteX49844" y="connsiteY49844"/>
              </a:cxn>
              <a:cxn ang="0">
                <a:pos x="connsiteX49845" y="connsiteY49845"/>
              </a:cxn>
              <a:cxn ang="0">
                <a:pos x="connsiteX49846" y="connsiteY49846"/>
              </a:cxn>
              <a:cxn ang="0">
                <a:pos x="connsiteX49847" y="connsiteY49847"/>
              </a:cxn>
              <a:cxn ang="0">
                <a:pos x="connsiteX49848" y="connsiteY49848"/>
              </a:cxn>
              <a:cxn ang="0">
                <a:pos x="connsiteX49849" y="connsiteY49849"/>
              </a:cxn>
              <a:cxn ang="0">
                <a:pos x="connsiteX49850" y="connsiteY49850"/>
              </a:cxn>
              <a:cxn ang="0">
                <a:pos x="connsiteX49851" y="connsiteY49851"/>
              </a:cxn>
              <a:cxn ang="0">
                <a:pos x="connsiteX49852" y="connsiteY49852"/>
              </a:cxn>
              <a:cxn ang="0">
                <a:pos x="connsiteX49853" y="connsiteY49853"/>
              </a:cxn>
              <a:cxn ang="0">
                <a:pos x="connsiteX49854" y="connsiteY49854"/>
              </a:cxn>
              <a:cxn ang="0">
                <a:pos x="connsiteX49855" y="connsiteY49855"/>
              </a:cxn>
              <a:cxn ang="0">
                <a:pos x="connsiteX49856" y="connsiteY49856"/>
              </a:cxn>
              <a:cxn ang="0">
                <a:pos x="connsiteX49857" y="connsiteY49857"/>
              </a:cxn>
              <a:cxn ang="0">
                <a:pos x="connsiteX49858" y="connsiteY49858"/>
              </a:cxn>
              <a:cxn ang="0">
                <a:pos x="connsiteX49859" y="connsiteY49859"/>
              </a:cxn>
              <a:cxn ang="0">
                <a:pos x="connsiteX49860" y="connsiteY49860"/>
              </a:cxn>
              <a:cxn ang="0">
                <a:pos x="connsiteX49861" y="connsiteY49861"/>
              </a:cxn>
              <a:cxn ang="0">
                <a:pos x="connsiteX49862" y="connsiteY49862"/>
              </a:cxn>
              <a:cxn ang="0">
                <a:pos x="connsiteX49863" y="connsiteY49863"/>
              </a:cxn>
              <a:cxn ang="0">
                <a:pos x="connsiteX49864" y="connsiteY49864"/>
              </a:cxn>
              <a:cxn ang="0">
                <a:pos x="connsiteX49865" y="connsiteY49865"/>
              </a:cxn>
              <a:cxn ang="0">
                <a:pos x="connsiteX49866" y="connsiteY49866"/>
              </a:cxn>
              <a:cxn ang="0">
                <a:pos x="connsiteX49867" y="connsiteY49867"/>
              </a:cxn>
              <a:cxn ang="0">
                <a:pos x="connsiteX49868" y="connsiteY49868"/>
              </a:cxn>
              <a:cxn ang="0">
                <a:pos x="connsiteX49869" y="connsiteY49869"/>
              </a:cxn>
              <a:cxn ang="0">
                <a:pos x="connsiteX49870" y="connsiteY49870"/>
              </a:cxn>
              <a:cxn ang="0">
                <a:pos x="connsiteX49871" y="connsiteY49871"/>
              </a:cxn>
              <a:cxn ang="0">
                <a:pos x="connsiteX49872" y="connsiteY49872"/>
              </a:cxn>
              <a:cxn ang="0">
                <a:pos x="connsiteX49873" y="connsiteY49873"/>
              </a:cxn>
              <a:cxn ang="0">
                <a:pos x="connsiteX49874" y="connsiteY49874"/>
              </a:cxn>
              <a:cxn ang="0">
                <a:pos x="connsiteX49875" y="connsiteY49875"/>
              </a:cxn>
              <a:cxn ang="0">
                <a:pos x="connsiteX49876" y="connsiteY49876"/>
              </a:cxn>
              <a:cxn ang="0">
                <a:pos x="connsiteX49877" y="connsiteY49877"/>
              </a:cxn>
              <a:cxn ang="0">
                <a:pos x="connsiteX49878" y="connsiteY49878"/>
              </a:cxn>
              <a:cxn ang="0">
                <a:pos x="connsiteX49879" y="connsiteY49879"/>
              </a:cxn>
              <a:cxn ang="0">
                <a:pos x="connsiteX49880" y="connsiteY49880"/>
              </a:cxn>
              <a:cxn ang="0">
                <a:pos x="connsiteX49881" y="connsiteY49881"/>
              </a:cxn>
              <a:cxn ang="0">
                <a:pos x="connsiteX49882" y="connsiteY49882"/>
              </a:cxn>
              <a:cxn ang="0">
                <a:pos x="connsiteX49883" y="connsiteY49883"/>
              </a:cxn>
              <a:cxn ang="0">
                <a:pos x="connsiteX49884" y="connsiteY49884"/>
              </a:cxn>
              <a:cxn ang="0">
                <a:pos x="connsiteX49885" y="connsiteY49885"/>
              </a:cxn>
              <a:cxn ang="0">
                <a:pos x="connsiteX49886" y="connsiteY49886"/>
              </a:cxn>
              <a:cxn ang="0">
                <a:pos x="connsiteX49887" y="connsiteY49887"/>
              </a:cxn>
              <a:cxn ang="0">
                <a:pos x="connsiteX49888" y="connsiteY49888"/>
              </a:cxn>
              <a:cxn ang="0">
                <a:pos x="connsiteX49889" y="connsiteY49889"/>
              </a:cxn>
              <a:cxn ang="0">
                <a:pos x="connsiteX49890" y="connsiteY49890"/>
              </a:cxn>
              <a:cxn ang="0">
                <a:pos x="connsiteX49891" y="connsiteY49891"/>
              </a:cxn>
              <a:cxn ang="0">
                <a:pos x="connsiteX49892" y="connsiteY49892"/>
              </a:cxn>
              <a:cxn ang="0">
                <a:pos x="connsiteX49893" y="connsiteY49893"/>
              </a:cxn>
              <a:cxn ang="0">
                <a:pos x="connsiteX49894" y="connsiteY49894"/>
              </a:cxn>
              <a:cxn ang="0">
                <a:pos x="connsiteX49895" y="connsiteY49895"/>
              </a:cxn>
              <a:cxn ang="0">
                <a:pos x="connsiteX49896" y="connsiteY49896"/>
              </a:cxn>
              <a:cxn ang="0">
                <a:pos x="connsiteX49897" y="connsiteY49897"/>
              </a:cxn>
              <a:cxn ang="0">
                <a:pos x="connsiteX49898" y="connsiteY49898"/>
              </a:cxn>
              <a:cxn ang="0">
                <a:pos x="connsiteX49899" y="connsiteY49899"/>
              </a:cxn>
              <a:cxn ang="0">
                <a:pos x="connsiteX49900" y="connsiteY49900"/>
              </a:cxn>
              <a:cxn ang="0">
                <a:pos x="connsiteX49901" y="connsiteY49901"/>
              </a:cxn>
              <a:cxn ang="0">
                <a:pos x="connsiteX49902" y="connsiteY49902"/>
              </a:cxn>
              <a:cxn ang="0">
                <a:pos x="connsiteX49903" y="connsiteY49903"/>
              </a:cxn>
              <a:cxn ang="0">
                <a:pos x="connsiteX49904" y="connsiteY49904"/>
              </a:cxn>
              <a:cxn ang="0">
                <a:pos x="connsiteX49905" y="connsiteY49905"/>
              </a:cxn>
              <a:cxn ang="0">
                <a:pos x="connsiteX49906" y="connsiteY49906"/>
              </a:cxn>
              <a:cxn ang="0">
                <a:pos x="connsiteX49907" y="connsiteY49907"/>
              </a:cxn>
              <a:cxn ang="0">
                <a:pos x="connsiteX49908" y="connsiteY49908"/>
              </a:cxn>
              <a:cxn ang="0">
                <a:pos x="connsiteX49909" y="connsiteY49909"/>
              </a:cxn>
              <a:cxn ang="0">
                <a:pos x="connsiteX49910" y="connsiteY49910"/>
              </a:cxn>
              <a:cxn ang="0">
                <a:pos x="connsiteX49911" y="connsiteY49911"/>
              </a:cxn>
              <a:cxn ang="0">
                <a:pos x="connsiteX49912" y="connsiteY49912"/>
              </a:cxn>
              <a:cxn ang="0">
                <a:pos x="connsiteX49913" y="connsiteY49913"/>
              </a:cxn>
              <a:cxn ang="0">
                <a:pos x="connsiteX49914" y="connsiteY49914"/>
              </a:cxn>
              <a:cxn ang="0">
                <a:pos x="connsiteX49915" y="connsiteY49915"/>
              </a:cxn>
              <a:cxn ang="0">
                <a:pos x="connsiteX49916" y="connsiteY49916"/>
              </a:cxn>
              <a:cxn ang="0">
                <a:pos x="connsiteX49917" y="connsiteY49917"/>
              </a:cxn>
              <a:cxn ang="0">
                <a:pos x="connsiteX49918" y="connsiteY49918"/>
              </a:cxn>
              <a:cxn ang="0">
                <a:pos x="connsiteX49919" y="connsiteY49919"/>
              </a:cxn>
              <a:cxn ang="0">
                <a:pos x="connsiteX49920" y="connsiteY49920"/>
              </a:cxn>
              <a:cxn ang="0">
                <a:pos x="connsiteX49921" y="connsiteY49921"/>
              </a:cxn>
              <a:cxn ang="0">
                <a:pos x="connsiteX49922" y="connsiteY49922"/>
              </a:cxn>
              <a:cxn ang="0">
                <a:pos x="connsiteX49923" y="connsiteY49923"/>
              </a:cxn>
              <a:cxn ang="0">
                <a:pos x="connsiteX49924" y="connsiteY49924"/>
              </a:cxn>
              <a:cxn ang="0">
                <a:pos x="connsiteX49925" y="connsiteY49925"/>
              </a:cxn>
              <a:cxn ang="0">
                <a:pos x="connsiteX49926" y="connsiteY49926"/>
              </a:cxn>
              <a:cxn ang="0">
                <a:pos x="connsiteX49927" y="connsiteY49927"/>
              </a:cxn>
              <a:cxn ang="0">
                <a:pos x="connsiteX49928" y="connsiteY49928"/>
              </a:cxn>
              <a:cxn ang="0">
                <a:pos x="connsiteX49929" y="connsiteY49929"/>
              </a:cxn>
              <a:cxn ang="0">
                <a:pos x="connsiteX49930" y="connsiteY49930"/>
              </a:cxn>
              <a:cxn ang="0">
                <a:pos x="connsiteX49931" y="connsiteY49931"/>
              </a:cxn>
              <a:cxn ang="0">
                <a:pos x="connsiteX49932" y="connsiteY49932"/>
              </a:cxn>
              <a:cxn ang="0">
                <a:pos x="connsiteX49933" y="connsiteY49933"/>
              </a:cxn>
              <a:cxn ang="0">
                <a:pos x="connsiteX49934" y="connsiteY49934"/>
              </a:cxn>
              <a:cxn ang="0">
                <a:pos x="connsiteX49935" y="connsiteY49935"/>
              </a:cxn>
              <a:cxn ang="0">
                <a:pos x="connsiteX49936" y="connsiteY49936"/>
              </a:cxn>
              <a:cxn ang="0">
                <a:pos x="connsiteX49937" y="connsiteY49937"/>
              </a:cxn>
              <a:cxn ang="0">
                <a:pos x="connsiteX49938" y="connsiteY49938"/>
              </a:cxn>
              <a:cxn ang="0">
                <a:pos x="connsiteX49939" y="connsiteY49939"/>
              </a:cxn>
              <a:cxn ang="0">
                <a:pos x="connsiteX49940" y="connsiteY49940"/>
              </a:cxn>
              <a:cxn ang="0">
                <a:pos x="connsiteX49941" y="connsiteY49941"/>
              </a:cxn>
              <a:cxn ang="0">
                <a:pos x="connsiteX49942" y="connsiteY49942"/>
              </a:cxn>
              <a:cxn ang="0">
                <a:pos x="connsiteX49943" y="connsiteY49943"/>
              </a:cxn>
              <a:cxn ang="0">
                <a:pos x="connsiteX49944" y="connsiteY49944"/>
              </a:cxn>
              <a:cxn ang="0">
                <a:pos x="connsiteX49945" y="connsiteY49945"/>
              </a:cxn>
              <a:cxn ang="0">
                <a:pos x="connsiteX49946" y="connsiteY49946"/>
              </a:cxn>
              <a:cxn ang="0">
                <a:pos x="connsiteX49947" y="connsiteY49947"/>
              </a:cxn>
              <a:cxn ang="0">
                <a:pos x="connsiteX49948" y="connsiteY49948"/>
              </a:cxn>
              <a:cxn ang="0">
                <a:pos x="connsiteX49949" y="connsiteY49949"/>
              </a:cxn>
              <a:cxn ang="0">
                <a:pos x="connsiteX49950" y="connsiteY49950"/>
              </a:cxn>
              <a:cxn ang="0">
                <a:pos x="connsiteX49951" y="connsiteY49951"/>
              </a:cxn>
              <a:cxn ang="0">
                <a:pos x="connsiteX49952" y="connsiteY49952"/>
              </a:cxn>
              <a:cxn ang="0">
                <a:pos x="connsiteX49953" y="connsiteY49953"/>
              </a:cxn>
              <a:cxn ang="0">
                <a:pos x="connsiteX49954" y="connsiteY49954"/>
              </a:cxn>
              <a:cxn ang="0">
                <a:pos x="connsiteX49955" y="connsiteY49955"/>
              </a:cxn>
              <a:cxn ang="0">
                <a:pos x="connsiteX49956" y="connsiteY49956"/>
              </a:cxn>
              <a:cxn ang="0">
                <a:pos x="connsiteX49957" y="connsiteY49957"/>
              </a:cxn>
              <a:cxn ang="0">
                <a:pos x="connsiteX49958" y="connsiteY49958"/>
              </a:cxn>
              <a:cxn ang="0">
                <a:pos x="connsiteX49959" y="connsiteY49959"/>
              </a:cxn>
              <a:cxn ang="0">
                <a:pos x="connsiteX49960" y="connsiteY49960"/>
              </a:cxn>
              <a:cxn ang="0">
                <a:pos x="connsiteX49961" y="connsiteY49961"/>
              </a:cxn>
              <a:cxn ang="0">
                <a:pos x="connsiteX49962" y="connsiteY49962"/>
              </a:cxn>
              <a:cxn ang="0">
                <a:pos x="connsiteX49963" y="connsiteY49963"/>
              </a:cxn>
              <a:cxn ang="0">
                <a:pos x="connsiteX49964" y="connsiteY49964"/>
              </a:cxn>
              <a:cxn ang="0">
                <a:pos x="connsiteX49965" y="connsiteY49965"/>
              </a:cxn>
              <a:cxn ang="0">
                <a:pos x="connsiteX49966" y="connsiteY49966"/>
              </a:cxn>
              <a:cxn ang="0">
                <a:pos x="connsiteX49967" y="connsiteY49967"/>
              </a:cxn>
              <a:cxn ang="0">
                <a:pos x="connsiteX49968" y="connsiteY49968"/>
              </a:cxn>
              <a:cxn ang="0">
                <a:pos x="connsiteX49969" y="connsiteY49969"/>
              </a:cxn>
              <a:cxn ang="0">
                <a:pos x="connsiteX49970" y="connsiteY49970"/>
              </a:cxn>
              <a:cxn ang="0">
                <a:pos x="connsiteX49971" y="connsiteY49971"/>
              </a:cxn>
              <a:cxn ang="0">
                <a:pos x="connsiteX49972" y="connsiteY49972"/>
              </a:cxn>
              <a:cxn ang="0">
                <a:pos x="connsiteX49973" y="connsiteY49973"/>
              </a:cxn>
              <a:cxn ang="0">
                <a:pos x="connsiteX49974" y="connsiteY49974"/>
              </a:cxn>
              <a:cxn ang="0">
                <a:pos x="connsiteX49975" y="connsiteY49975"/>
              </a:cxn>
              <a:cxn ang="0">
                <a:pos x="connsiteX49976" y="connsiteY49976"/>
              </a:cxn>
              <a:cxn ang="0">
                <a:pos x="connsiteX49977" y="connsiteY49977"/>
              </a:cxn>
              <a:cxn ang="0">
                <a:pos x="connsiteX49978" y="connsiteY49978"/>
              </a:cxn>
              <a:cxn ang="0">
                <a:pos x="connsiteX49979" y="connsiteY49979"/>
              </a:cxn>
              <a:cxn ang="0">
                <a:pos x="connsiteX49980" y="connsiteY49980"/>
              </a:cxn>
              <a:cxn ang="0">
                <a:pos x="connsiteX49981" y="connsiteY49981"/>
              </a:cxn>
              <a:cxn ang="0">
                <a:pos x="connsiteX49982" y="connsiteY49982"/>
              </a:cxn>
              <a:cxn ang="0">
                <a:pos x="connsiteX49983" y="connsiteY49983"/>
              </a:cxn>
              <a:cxn ang="0">
                <a:pos x="connsiteX49984" y="connsiteY49984"/>
              </a:cxn>
              <a:cxn ang="0">
                <a:pos x="connsiteX49985" y="connsiteY49985"/>
              </a:cxn>
              <a:cxn ang="0">
                <a:pos x="connsiteX49986" y="connsiteY49986"/>
              </a:cxn>
              <a:cxn ang="0">
                <a:pos x="connsiteX49987" y="connsiteY49987"/>
              </a:cxn>
              <a:cxn ang="0">
                <a:pos x="connsiteX49988" y="connsiteY49988"/>
              </a:cxn>
              <a:cxn ang="0">
                <a:pos x="connsiteX49989" y="connsiteY49989"/>
              </a:cxn>
              <a:cxn ang="0">
                <a:pos x="connsiteX49990" y="connsiteY49990"/>
              </a:cxn>
              <a:cxn ang="0">
                <a:pos x="connsiteX49991" y="connsiteY49991"/>
              </a:cxn>
              <a:cxn ang="0">
                <a:pos x="connsiteX49992" y="connsiteY49992"/>
              </a:cxn>
              <a:cxn ang="0">
                <a:pos x="connsiteX49993" y="connsiteY49993"/>
              </a:cxn>
              <a:cxn ang="0">
                <a:pos x="connsiteX49994" y="connsiteY49994"/>
              </a:cxn>
              <a:cxn ang="0">
                <a:pos x="connsiteX49995" y="connsiteY49995"/>
              </a:cxn>
              <a:cxn ang="0">
                <a:pos x="connsiteX49996" y="connsiteY49996"/>
              </a:cxn>
              <a:cxn ang="0">
                <a:pos x="connsiteX49997" y="connsiteY49997"/>
              </a:cxn>
              <a:cxn ang="0">
                <a:pos x="connsiteX49998" y="connsiteY49998"/>
              </a:cxn>
              <a:cxn ang="0">
                <a:pos x="connsiteX49999" y="connsiteY49999"/>
              </a:cxn>
              <a:cxn ang="0">
                <a:pos x="connsiteX50000" y="connsiteY50000"/>
              </a:cxn>
              <a:cxn ang="0">
                <a:pos x="connsiteX50001" y="connsiteY50001"/>
              </a:cxn>
              <a:cxn ang="0">
                <a:pos x="connsiteX50002" y="connsiteY50002"/>
              </a:cxn>
              <a:cxn ang="0">
                <a:pos x="connsiteX50003" y="connsiteY50003"/>
              </a:cxn>
              <a:cxn ang="0">
                <a:pos x="connsiteX50004" y="connsiteY50004"/>
              </a:cxn>
              <a:cxn ang="0">
                <a:pos x="connsiteX50005" y="connsiteY50005"/>
              </a:cxn>
              <a:cxn ang="0">
                <a:pos x="connsiteX50006" y="connsiteY50006"/>
              </a:cxn>
              <a:cxn ang="0">
                <a:pos x="connsiteX50007" y="connsiteY50007"/>
              </a:cxn>
              <a:cxn ang="0">
                <a:pos x="connsiteX50008" y="connsiteY50008"/>
              </a:cxn>
              <a:cxn ang="0">
                <a:pos x="connsiteX50009" y="connsiteY50009"/>
              </a:cxn>
              <a:cxn ang="0">
                <a:pos x="connsiteX50010" y="connsiteY50010"/>
              </a:cxn>
              <a:cxn ang="0">
                <a:pos x="connsiteX50011" y="connsiteY50011"/>
              </a:cxn>
              <a:cxn ang="0">
                <a:pos x="connsiteX50012" y="connsiteY50012"/>
              </a:cxn>
              <a:cxn ang="0">
                <a:pos x="connsiteX50013" y="connsiteY50013"/>
              </a:cxn>
              <a:cxn ang="0">
                <a:pos x="connsiteX50014" y="connsiteY50014"/>
              </a:cxn>
              <a:cxn ang="0">
                <a:pos x="connsiteX50015" y="connsiteY50015"/>
              </a:cxn>
              <a:cxn ang="0">
                <a:pos x="connsiteX50016" y="connsiteY50016"/>
              </a:cxn>
              <a:cxn ang="0">
                <a:pos x="connsiteX50017" y="connsiteY50017"/>
              </a:cxn>
              <a:cxn ang="0">
                <a:pos x="connsiteX50018" y="connsiteY50018"/>
              </a:cxn>
              <a:cxn ang="0">
                <a:pos x="connsiteX50019" y="connsiteY50019"/>
              </a:cxn>
              <a:cxn ang="0">
                <a:pos x="connsiteX50020" y="connsiteY50020"/>
              </a:cxn>
              <a:cxn ang="0">
                <a:pos x="connsiteX50021" y="connsiteY50021"/>
              </a:cxn>
              <a:cxn ang="0">
                <a:pos x="connsiteX50022" y="connsiteY50022"/>
              </a:cxn>
              <a:cxn ang="0">
                <a:pos x="connsiteX50023" y="connsiteY50023"/>
              </a:cxn>
              <a:cxn ang="0">
                <a:pos x="connsiteX50024" y="connsiteY50024"/>
              </a:cxn>
              <a:cxn ang="0">
                <a:pos x="connsiteX50025" y="connsiteY50025"/>
              </a:cxn>
              <a:cxn ang="0">
                <a:pos x="connsiteX50026" y="connsiteY50026"/>
              </a:cxn>
              <a:cxn ang="0">
                <a:pos x="connsiteX50027" y="connsiteY50027"/>
              </a:cxn>
              <a:cxn ang="0">
                <a:pos x="connsiteX50028" y="connsiteY50028"/>
              </a:cxn>
              <a:cxn ang="0">
                <a:pos x="connsiteX50029" y="connsiteY50029"/>
              </a:cxn>
              <a:cxn ang="0">
                <a:pos x="connsiteX50030" y="connsiteY50030"/>
              </a:cxn>
              <a:cxn ang="0">
                <a:pos x="connsiteX50031" y="connsiteY50031"/>
              </a:cxn>
              <a:cxn ang="0">
                <a:pos x="connsiteX50032" y="connsiteY50032"/>
              </a:cxn>
              <a:cxn ang="0">
                <a:pos x="connsiteX50033" y="connsiteY50033"/>
              </a:cxn>
              <a:cxn ang="0">
                <a:pos x="connsiteX50034" y="connsiteY50034"/>
              </a:cxn>
              <a:cxn ang="0">
                <a:pos x="connsiteX50035" y="connsiteY50035"/>
              </a:cxn>
              <a:cxn ang="0">
                <a:pos x="connsiteX50036" y="connsiteY50036"/>
              </a:cxn>
              <a:cxn ang="0">
                <a:pos x="connsiteX50037" y="connsiteY50037"/>
              </a:cxn>
              <a:cxn ang="0">
                <a:pos x="connsiteX50038" y="connsiteY50038"/>
              </a:cxn>
              <a:cxn ang="0">
                <a:pos x="connsiteX50039" y="connsiteY50039"/>
              </a:cxn>
              <a:cxn ang="0">
                <a:pos x="connsiteX50040" y="connsiteY50040"/>
              </a:cxn>
              <a:cxn ang="0">
                <a:pos x="connsiteX50041" y="connsiteY50041"/>
              </a:cxn>
              <a:cxn ang="0">
                <a:pos x="connsiteX50042" y="connsiteY50042"/>
              </a:cxn>
              <a:cxn ang="0">
                <a:pos x="connsiteX50043" y="connsiteY50043"/>
              </a:cxn>
              <a:cxn ang="0">
                <a:pos x="connsiteX50044" y="connsiteY50044"/>
              </a:cxn>
              <a:cxn ang="0">
                <a:pos x="connsiteX50045" y="connsiteY50045"/>
              </a:cxn>
              <a:cxn ang="0">
                <a:pos x="connsiteX50046" y="connsiteY50046"/>
              </a:cxn>
              <a:cxn ang="0">
                <a:pos x="connsiteX50047" y="connsiteY50047"/>
              </a:cxn>
              <a:cxn ang="0">
                <a:pos x="connsiteX50048" y="connsiteY50048"/>
              </a:cxn>
              <a:cxn ang="0">
                <a:pos x="connsiteX50049" y="connsiteY50049"/>
              </a:cxn>
              <a:cxn ang="0">
                <a:pos x="connsiteX50050" y="connsiteY50050"/>
              </a:cxn>
              <a:cxn ang="0">
                <a:pos x="connsiteX50051" y="connsiteY50051"/>
              </a:cxn>
              <a:cxn ang="0">
                <a:pos x="connsiteX50052" y="connsiteY50052"/>
              </a:cxn>
              <a:cxn ang="0">
                <a:pos x="connsiteX50053" y="connsiteY50053"/>
              </a:cxn>
              <a:cxn ang="0">
                <a:pos x="connsiteX50054" y="connsiteY50054"/>
              </a:cxn>
              <a:cxn ang="0">
                <a:pos x="connsiteX50055" y="connsiteY50055"/>
              </a:cxn>
              <a:cxn ang="0">
                <a:pos x="connsiteX50056" y="connsiteY50056"/>
              </a:cxn>
              <a:cxn ang="0">
                <a:pos x="connsiteX50057" y="connsiteY50057"/>
              </a:cxn>
              <a:cxn ang="0">
                <a:pos x="connsiteX50058" y="connsiteY50058"/>
              </a:cxn>
              <a:cxn ang="0">
                <a:pos x="connsiteX50059" y="connsiteY50059"/>
              </a:cxn>
              <a:cxn ang="0">
                <a:pos x="connsiteX50060" y="connsiteY50060"/>
              </a:cxn>
              <a:cxn ang="0">
                <a:pos x="connsiteX50061" y="connsiteY50061"/>
              </a:cxn>
              <a:cxn ang="0">
                <a:pos x="connsiteX50062" y="connsiteY50062"/>
              </a:cxn>
              <a:cxn ang="0">
                <a:pos x="connsiteX50063" y="connsiteY50063"/>
              </a:cxn>
              <a:cxn ang="0">
                <a:pos x="connsiteX50064" y="connsiteY50064"/>
              </a:cxn>
              <a:cxn ang="0">
                <a:pos x="connsiteX50065" y="connsiteY50065"/>
              </a:cxn>
              <a:cxn ang="0">
                <a:pos x="connsiteX50066" y="connsiteY50066"/>
              </a:cxn>
              <a:cxn ang="0">
                <a:pos x="connsiteX50067" y="connsiteY50067"/>
              </a:cxn>
              <a:cxn ang="0">
                <a:pos x="connsiteX50068" y="connsiteY50068"/>
              </a:cxn>
              <a:cxn ang="0">
                <a:pos x="connsiteX50069" y="connsiteY50069"/>
              </a:cxn>
              <a:cxn ang="0">
                <a:pos x="connsiteX50070" y="connsiteY50070"/>
              </a:cxn>
              <a:cxn ang="0">
                <a:pos x="connsiteX50071" y="connsiteY50071"/>
              </a:cxn>
              <a:cxn ang="0">
                <a:pos x="connsiteX50072" y="connsiteY50072"/>
              </a:cxn>
              <a:cxn ang="0">
                <a:pos x="connsiteX50073" y="connsiteY50073"/>
              </a:cxn>
              <a:cxn ang="0">
                <a:pos x="connsiteX50074" y="connsiteY50074"/>
              </a:cxn>
              <a:cxn ang="0">
                <a:pos x="connsiteX50075" y="connsiteY50075"/>
              </a:cxn>
              <a:cxn ang="0">
                <a:pos x="connsiteX50076" y="connsiteY50076"/>
              </a:cxn>
              <a:cxn ang="0">
                <a:pos x="connsiteX50077" y="connsiteY50077"/>
              </a:cxn>
              <a:cxn ang="0">
                <a:pos x="connsiteX50078" y="connsiteY50078"/>
              </a:cxn>
              <a:cxn ang="0">
                <a:pos x="connsiteX50079" y="connsiteY50079"/>
              </a:cxn>
              <a:cxn ang="0">
                <a:pos x="connsiteX50080" y="connsiteY50080"/>
              </a:cxn>
              <a:cxn ang="0">
                <a:pos x="connsiteX50081" y="connsiteY50081"/>
              </a:cxn>
              <a:cxn ang="0">
                <a:pos x="connsiteX50082" y="connsiteY50082"/>
              </a:cxn>
              <a:cxn ang="0">
                <a:pos x="connsiteX50083" y="connsiteY50083"/>
              </a:cxn>
              <a:cxn ang="0">
                <a:pos x="connsiteX50084" y="connsiteY50084"/>
              </a:cxn>
              <a:cxn ang="0">
                <a:pos x="connsiteX50085" y="connsiteY50085"/>
              </a:cxn>
              <a:cxn ang="0">
                <a:pos x="connsiteX50086" y="connsiteY50086"/>
              </a:cxn>
              <a:cxn ang="0">
                <a:pos x="connsiteX50087" y="connsiteY50087"/>
              </a:cxn>
              <a:cxn ang="0">
                <a:pos x="connsiteX50088" y="connsiteY50088"/>
              </a:cxn>
              <a:cxn ang="0">
                <a:pos x="connsiteX50089" y="connsiteY50089"/>
              </a:cxn>
              <a:cxn ang="0">
                <a:pos x="connsiteX50090" y="connsiteY50090"/>
              </a:cxn>
              <a:cxn ang="0">
                <a:pos x="connsiteX50091" y="connsiteY50091"/>
              </a:cxn>
              <a:cxn ang="0">
                <a:pos x="connsiteX50092" y="connsiteY50092"/>
              </a:cxn>
              <a:cxn ang="0">
                <a:pos x="connsiteX50093" y="connsiteY50093"/>
              </a:cxn>
              <a:cxn ang="0">
                <a:pos x="connsiteX50094" y="connsiteY50094"/>
              </a:cxn>
              <a:cxn ang="0">
                <a:pos x="connsiteX50095" y="connsiteY50095"/>
              </a:cxn>
              <a:cxn ang="0">
                <a:pos x="connsiteX50096" y="connsiteY50096"/>
              </a:cxn>
              <a:cxn ang="0">
                <a:pos x="connsiteX50097" y="connsiteY50097"/>
              </a:cxn>
              <a:cxn ang="0">
                <a:pos x="connsiteX50098" y="connsiteY50098"/>
              </a:cxn>
              <a:cxn ang="0">
                <a:pos x="connsiteX50099" y="connsiteY50099"/>
              </a:cxn>
              <a:cxn ang="0">
                <a:pos x="connsiteX50100" y="connsiteY50100"/>
              </a:cxn>
              <a:cxn ang="0">
                <a:pos x="connsiteX50101" y="connsiteY50101"/>
              </a:cxn>
              <a:cxn ang="0">
                <a:pos x="connsiteX50102" y="connsiteY50102"/>
              </a:cxn>
              <a:cxn ang="0">
                <a:pos x="connsiteX50103" y="connsiteY50103"/>
              </a:cxn>
              <a:cxn ang="0">
                <a:pos x="connsiteX50104" y="connsiteY50104"/>
              </a:cxn>
              <a:cxn ang="0">
                <a:pos x="connsiteX50105" y="connsiteY50105"/>
              </a:cxn>
              <a:cxn ang="0">
                <a:pos x="connsiteX50106" y="connsiteY50106"/>
              </a:cxn>
              <a:cxn ang="0">
                <a:pos x="connsiteX50107" y="connsiteY50107"/>
              </a:cxn>
              <a:cxn ang="0">
                <a:pos x="connsiteX50108" y="connsiteY50108"/>
              </a:cxn>
              <a:cxn ang="0">
                <a:pos x="connsiteX50109" y="connsiteY50109"/>
              </a:cxn>
              <a:cxn ang="0">
                <a:pos x="connsiteX50110" y="connsiteY50110"/>
              </a:cxn>
              <a:cxn ang="0">
                <a:pos x="connsiteX50111" y="connsiteY50111"/>
              </a:cxn>
              <a:cxn ang="0">
                <a:pos x="connsiteX50112" y="connsiteY50112"/>
              </a:cxn>
              <a:cxn ang="0">
                <a:pos x="connsiteX50113" y="connsiteY50113"/>
              </a:cxn>
              <a:cxn ang="0">
                <a:pos x="connsiteX50114" y="connsiteY50114"/>
              </a:cxn>
              <a:cxn ang="0">
                <a:pos x="connsiteX50115" y="connsiteY50115"/>
              </a:cxn>
              <a:cxn ang="0">
                <a:pos x="connsiteX50116" y="connsiteY50116"/>
              </a:cxn>
              <a:cxn ang="0">
                <a:pos x="connsiteX50117" y="connsiteY50117"/>
              </a:cxn>
              <a:cxn ang="0">
                <a:pos x="connsiteX50118" y="connsiteY50118"/>
              </a:cxn>
              <a:cxn ang="0">
                <a:pos x="connsiteX50119" y="connsiteY50119"/>
              </a:cxn>
              <a:cxn ang="0">
                <a:pos x="connsiteX50120" y="connsiteY50120"/>
              </a:cxn>
              <a:cxn ang="0">
                <a:pos x="connsiteX50121" y="connsiteY50121"/>
              </a:cxn>
              <a:cxn ang="0">
                <a:pos x="connsiteX50122" y="connsiteY50122"/>
              </a:cxn>
              <a:cxn ang="0">
                <a:pos x="connsiteX50123" y="connsiteY50123"/>
              </a:cxn>
              <a:cxn ang="0">
                <a:pos x="connsiteX50124" y="connsiteY50124"/>
              </a:cxn>
              <a:cxn ang="0">
                <a:pos x="connsiteX50125" y="connsiteY50125"/>
              </a:cxn>
              <a:cxn ang="0">
                <a:pos x="connsiteX50126" y="connsiteY50126"/>
              </a:cxn>
              <a:cxn ang="0">
                <a:pos x="connsiteX50127" y="connsiteY50127"/>
              </a:cxn>
              <a:cxn ang="0">
                <a:pos x="connsiteX50128" y="connsiteY50128"/>
              </a:cxn>
              <a:cxn ang="0">
                <a:pos x="connsiteX50129" y="connsiteY50129"/>
              </a:cxn>
              <a:cxn ang="0">
                <a:pos x="connsiteX50130" y="connsiteY50130"/>
              </a:cxn>
              <a:cxn ang="0">
                <a:pos x="connsiteX50131" y="connsiteY50131"/>
              </a:cxn>
              <a:cxn ang="0">
                <a:pos x="connsiteX50132" y="connsiteY50132"/>
              </a:cxn>
              <a:cxn ang="0">
                <a:pos x="connsiteX50133" y="connsiteY50133"/>
              </a:cxn>
              <a:cxn ang="0">
                <a:pos x="connsiteX50134" y="connsiteY50134"/>
              </a:cxn>
              <a:cxn ang="0">
                <a:pos x="connsiteX50135" y="connsiteY50135"/>
              </a:cxn>
              <a:cxn ang="0">
                <a:pos x="connsiteX50136" y="connsiteY50136"/>
              </a:cxn>
              <a:cxn ang="0">
                <a:pos x="connsiteX50137" y="connsiteY50137"/>
              </a:cxn>
              <a:cxn ang="0">
                <a:pos x="connsiteX50138" y="connsiteY50138"/>
              </a:cxn>
              <a:cxn ang="0">
                <a:pos x="connsiteX50139" y="connsiteY50139"/>
              </a:cxn>
              <a:cxn ang="0">
                <a:pos x="connsiteX50140" y="connsiteY50140"/>
              </a:cxn>
              <a:cxn ang="0">
                <a:pos x="connsiteX50141" y="connsiteY50141"/>
              </a:cxn>
              <a:cxn ang="0">
                <a:pos x="connsiteX50142" y="connsiteY50142"/>
              </a:cxn>
              <a:cxn ang="0">
                <a:pos x="connsiteX50143" y="connsiteY50143"/>
              </a:cxn>
              <a:cxn ang="0">
                <a:pos x="connsiteX50144" y="connsiteY50144"/>
              </a:cxn>
              <a:cxn ang="0">
                <a:pos x="connsiteX50145" y="connsiteY50145"/>
              </a:cxn>
              <a:cxn ang="0">
                <a:pos x="connsiteX50146" y="connsiteY50146"/>
              </a:cxn>
              <a:cxn ang="0">
                <a:pos x="connsiteX50147" y="connsiteY50147"/>
              </a:cxn>
              <a:cxn ang="0">
                <a:pos x="connsiteX50148" y="connsiteY50148"/>
              </a:cxn>
              <a:cxn ang="0">
                <a:pos x="connsiteX50149" y="connsiteY50149"/>
              </a:cxn>
              <a:cxn ang="0">
                <a:pos x="connsiteX50150" y="connsiteY50150"/>
              </a:cxn>
              <a:cxn ang="0">
                <a:pos x="connsiteX50151" y="connsiteY50151"/>
              </a:cxn>
              <a:cxn ang="0">
                <a:pos x="connsiteX50152" y="connsiteY50152"/>
              </a:cxn>
              <a:cxn ang="0">
                <a:pos x="connsiteX50153" y="connsiteY50153"/>
              </a:cxn>
              <a:cxn ang="0">
                <a:pos x="connsiteX50154" y="connsiteY50154"/>
              </a:cxn>
              <a:cxn ang="0">
                <a:pos x="connsiteX50155" y="connsiteY50155"/>
              </a:cxn>
              <a:cxn ang="0">
                <a:pos x="connsiteX50156" y="connsiteY50156"/>
              </a:cxn>
              <a:cxn ang="0">
                <a:pos x="connsiteX50157" y="connsiteY50157"/>
              </a:cxn>
              <a:cxn ang="0">
                <a:pos x="connsiteX50158" y="connsiteY50158"/>
              </a:cxn>
              <a:cxn ang="0">
                <a:pos x="connsiteX50159" y="connsiteY50159"/>
              </a:cxn>
              <a:cxn ang="0">
                <a:pos x="connsiteX50160" y="connsiteY50160"/>
              </a:cxn>
              <a:cxn ang="0">
                <a:pos x="connsiteX50161" y="connsiteY50161"/>
              </a:cxn>
              <a:cxn ang="0">
                <a:pos x="connsiteX50162" y="connsiteY50162"/>
              </a:cxn>
              <a:cxn ang="0">
                <a:pos x="connsiteX50163" y="connsiteY50163"/>
              </a:cxn>
              <a:cxn ang="0">
                <a:pos x="connsiteX50164" y="connsiteY50164"/>
              </a:cxn>
              <a:cxn ang="0">
                <a:pos x="connsiteX50165" y="connsiteY50165"/>
              </a:cxn>
              <a:cxn ang="0">
                <a:pos x="connsiteX50166" y="connsiteY50166"/>
              </a:cxn>
              <a:cxn ang="0">
                <a:pos x="connsiteX50167" y="connsiteY50167"/>
              </a:cxn>
              <a:cxn ang="0">
                <a:pos x="connsiteX50168" y="connsiteY50168"/>
              </a:cxn>
              <a:cxn ang="0">
                <a:pos x="connsiteX50169" y="connsiteY50169"/>
              </a:cxn>
              <a:cxn ang="0">
                <a:pos x="connsiteX50170" y="connsiteY50170"/>
              </a:cxn>
              <a:cxn ang="0">
                <a:pos x="connsiteX50171" y="connsiteY50171"/>
              </a:cxn>
              <a:cxn ang="0">
                <a:pos x="connsiteX50172" y="connsiteY50172"/>
              </a:cxn>
              <a:cxn ang="0">
                <a:pos x="connsiteX50173" y="connsiteY50173"/>
              </a:cxn>
              <a:cxn ang="0">
                <a:pos x="connsiteX50174" y="connsiteY50174"/>
              </a:cxn>
              <a:cxn ang="0">
                <a:pos x="connsiteX50175" y="connsiteY50175"/>
              </a:cxn>
              <a:cxn ang="0">
                <a:pos x="connsiteX50176" y="connsiteY50176"/>
              </a:cxn>
              <a:cxn ang="0">
                <a:pos x="connsiteX50177" y="connsiteY50177"/>
              </a:cxn>
              <a:cxn ang="0">
                <a:pos x="connsiteX50178" y="connsiteY50178"/>
              </a:cxn>
              <a:cxn ang="0">
                <a:pos x="connsiteX50179" y="connsiteY50179"/>
              </a:cxn>
              <a:cxn ang="0">
                <a:pos x="connsiteX50180" y="connsiteY50180"/>
              </a:cxn>
              <a:cxn ang="0">
                <a:pos x="connsiteX50181" y="connsiteY50181"/>
              </a:cxn>
              <a:cxn ang="0">
                <a:pos x="connsiteX50182" y="connsiteY50182"/>
              </a:cxn>
              <a:cxn ang="0">
                <a:pos x="connsiteX50183" y="connsiteY50183"/>
              </a:cxn>
              <a:cxn ang="0">
                <a:pos x="connsiteX50184" y="connsiteY50184"/>
              </a:cxn>
              <a:cxn ang="0">
                <a:pos x="connsiteX50185" y="connsiteY50185"/>
              </a:cxn>
              <a:cxn ang="0">
                <a:pos x="connsiteX50186" y="connsiteY50186"/>
              </a:cxn>
              <a:cxn ang="0">
                <a:pos x="connsiteX50187" y="connsiteY50187"/>
              </a:cxn>
              <a:cxn ang="0">
                <a:pos x="connsiteX50188" y="connsiteY50188"/>
              </a:cxn>
              <a:cxn ang="0">
                <a:pos x="connsiteX50189" y="connsiteY50189"/>
              </a:cxn>
              <a:cxn ang="0">
                <a:pos x="connsiteX50190" y="connsiteY50190"/>
              </a:cxn>
              <a:cxn ang="0">
                <a:pos x="connsiteX50191" y="connsiteY50191"/>
              </a:cxn>
              <a:cxn ang="0">
                <a:pos x="connsiteX50192" y="connsiteY50192"/>
              </a:cxn>
              <a:cxn ang="0">
                <a:pos x="connsiteX50193" y="connsiteY50193"/>
              </a:cxn>
              <a:cxn ang="0">
                <a:pos x="connsiteX50194" y="connsiteY50194"/>
              </a:cxn>
              <a:cxn ang="0">
                <a:pos x="connsiteX50195" y="connsiteY50195"/>
              </a:cxn>
              <a:cxn ang="0">
                <a:pos x="connsiteX50196" y="connsiteY50196"/>
              </a:cxn>
              <a:cxn ang="0">
                <a:pos x="connsiteX50197" y="connsiteY50197"/>
              </a:cxn>
              <a:cxn ang="0">
                <a:pos x="connsiteX50198" y="connsiteY50198"/>
              </a:cxn>
              <a:cxn ang="0">
                <a:pos x="connsiteX50199" y="connsiteY50199"/>
              </a:cxn>
              <a:cxn ang="0">
                <a:pos x="connsiteX50200" y="connsiteY50200"/>
              </a:cxn>
              <a:cxn ang="0">
                <a:pos x="connsiteX50201" y="connsiteY50201"/>
              </a:cxn>
              <a:cxn ang="0">
                <a:pos x="connsiteX50202" y="connsiteY50202"/>
              </a:cxn>
              <a:cxn ang="0">
                <a:pos x="connsiteX50203" y="connsiteY50203"/>
              </a:cxn>
              <a:cxn ang="0">
                <a:pos x="connsiteX50204" y="connsiteY50204"/>
              </a:cxn>
              <a:cxn ang="0">
                <a:pos x="connsiteX50205" y="connsiteY50205"/>
              </a:cxn>
              <a:cxn ang="0">
                <a:pos x="connsiteX50206" y="connsiteY50206"/>
              </a:cxn>
              <a:cxn ang="0">
                <a:pos x="connsiteX50207" y="connsiteY50207"/>
              </a:cxn>
              <a:cxn ang="0">
                <a:pos x="connsiteX50208" y="connsiteY50208"/>
              </a:cxn>
              <a:cxn ang="0">
                <a:pos x="connsiteX50209" y="connsiteY50209"/>
              </a:cxn>
              <a:cxn ang="0">
                <a:pos x="connsiteX50210" y="connsiteY50210"/>
              </a:cxn>
              <a:cxn ang="0">
                <a:pos x="connsiteX50211" y="connsiteY50211"/>
              </a:cxn>
              <a:cxn ang="0">
                <a:pos x="connsiteX50212" y="connsiteY50212"/>
              </a:cxn>
              <a:cxn ang="0">
                <a:pos x="connsiteX50213" y="connsiteY50213"/>
              </a:cxn>
              <a:cxn ang="0">
                <a:pos x="connsiteX50214" y="connsiteY50214"/>
              </a:cxn>
              <a:cxn ang="0">
                <a:pos x="connsiteX50215" y="connsiteY50215"/>
              </a:cxn>
              <a:cxn ang="0">
                <a:pos x="connsiteX50216" y="connsiteY50216"/>
              </a:cxn>
              <a:cxn ang="0">
                <a:pos x="connsiteX50217" y="connsiteY50217"/>
              </a:cxn>
              <a:cxn ang="0">
                <a:pos x="connsiteX50218" y="connsiteY50218"/>
              </a:cxn>
              <a:cxn ang="0">
                <a:pos x="connsiteX50219" y="connsiteY50219"/>
              </a:cxn>
              <a:cxn ang="0">
                <a:pos x="connsiteX50220" y="connsiteY50220"/>
              </a:cxn>
              <a:cxn ang="0">
                <a:pos x="connsiteX50221" y="connsiteY50221"/>
              </a:cxn>
              <a:cxn ang="0">
                <a:pos x="connsiteX50222" y="connsiteY50222"/>
              </a:cxn>
              <a:cxn ang="0">
                <a:pos x="connsiteX50223" y="connsiteY50223"/>
              </a:cxn>
              <a:cxn ang="0">
                <a:pos x="connsiteX50224" y="connsiteY50224"/>
              </a:cxn>
              <a:cxn ang="0">
                <a:pos x="connsiteX50225" y="connsiteY50225"/>
              </a:cxn>
              <a:cxn ang="0">
                <a:pos x="connsiteX50226" y="connsiteY50226"/>
              </a:cxn>
              <a:cxn ang="0">
                <a:pos x="connsiteX50227" y="connsiteY50227"/>
              </a:cxn>
              <a:cxn ang="0">
                <a:pos x="connsiteX50228" y="connsiteY50228"/>
              </a:cxn>
              <a:cxn ang="0">
                <a:pos x="connsiteX50229" y="connsiteY50229"/>
              </a:cxn>
              <a:cxn ang="0">
                <a:pos x="connsiteX50230" y="connsiteY50230"/>
              </a:cxn>
              <a:cxn ang="0">
                <a:pos x="connsiteX50231" y="connsiteY50231"/>
              </a:cxn>
              <a:cxn ang="0">
                <a:pos x="connsiteX50232" y="connsiteY50232"/>
              </a:cxn>
              <a:cxn ang="0">
                <a:pos x="connsiteX50233" y="connsiteY50233"/>
              </a:cxn>
              <a:cxn ang="0">
                <a:pos x="connsiteX50234" y="connsiteY50234"/>
              </a:cxn>
              <a:cxn ang="0">
                <a:pos x="connsiteX50235" y="connsiteY50235"/>
              </a:cxn>
              <a:cxn ang="0">
                <a:pos x="connsiteX50236" y="connsiteY50236"/>
              </a:cxn>
              <a:cxn ang="0">
                <a:pos x="connsiteX50237" y="connsiteY50237"/>
              </a:cxn>
              <a:cxn ang="0">
                <a:pos x="connsiteX50238" y="connsiteY50238"/>
              </a:cxn>
              <a:cxn ang="0">
                <a:pos x="connsiteX50239" y="connsiteY50239"/>
              </a:cxn>
              <a:cxn ang="0">
                <a:pos x="connsiteX50240" y="connsiteY50240"/>
              </a:cxn>
              <a:cxn ang="0">
                <a:pos x="connsiteX50241" y="connsiteY50241"/>
              </a:cxn>
              <a:cxn ang="0">
                <a:pos x="connsiteX50242" y="connsiteY50242"/>
              </a:cxn>
              <a:cxn ang="0">
                <a:pos x="connsiteX50243" y="connsiteY50243"/>
              </a:cxn>
              <a:cxn ang="0">
                <a:pos x="connsiteX50244" y="connsiteY50244"/>
              </a:cxn>
              <a:cxn ang="0">
                <a:pos x="connsiteX50245" y="connsiteY50245"/>
              </a:cxn>
              <a:cxn ang="0">
                <a:pos x="connsiteX50246" y="connsiteY50246"/>
              </a:cxn>
              <a:cxn ang="0">
                <a:pos x="connsiteX50247" y="connsiteY50247"/>
              </a:cxn>
              <a:cxn ang="0">
                <a:pos x="connsiteX50248" y="connsiteY50248"/>
              </a:cxn>
              <a:cxn ang="0">
                <a:pos x="connsiteX50249" y="connsiteY50249"/>
              </a:cxn>
              <a:cxn ang="0">
                <a:pos x="connsiteX50250" y="connsiteY50250"/>
              </a:cxn>
              <a:cxn ang="0">
                <a:pos x="connsiteX50251" y="connsiteY50251"/>
              </a:cxn>
              <a:cxn ang="0">
                <a:pos x="connsiteX50252" y="connsiteY50252"/>
              </a:cxn>
              <a:cxn ang="0">
                <a:pos x="connsiteX50253" y="connsiteY50253"/>
              </a:cxn>
              <a:cxn ang="0">
                <a:pos x="connsiteX50254" y="connsiteY50254"/>
              </a:cxn>
              <a:cxn ang="0">
                <a:pos x="connsiteX50255" y="connsiteY50255"/>
              </a:cxn>
              <a:cxn ang="0">
                <a:pos x="connsiteX50256" y="connsiteY50256"/>
              </a:cxn>
              <a:cxn ang="0">
                <a:pos x="connsiteX50257" y="connsiteY50257"/>
              </a:cxn>
              <a:cxn ang="0">
                <a:pos x="connsiteX50258" y="connsiteY50258"/>
              </a:cxn>
              <a:cxn ang="0">
                <a:pos x="connsiteX50259" y="connsiteY50259"/>
              </a:cxn>
              <a:cxn ang="0">
                <a:pos x="connsiteX50260" y="connsiteY50260"/>
              </a:cxn>
              <a:cxn ang="0">
                <a:pos x="connsiteX50261" y="connsiteY50261"/>
              </a:cxn>
              <a:cxn ang="0">
                <a:pos x="connsiteX50262" y="connsiteY50262"/>
              </a:cxn>
              <a:cxn ang="0">
                <a:pos x="connsiteX50263" y="connsiteY50263"/>
              </a:cxn>
              <a:cxn ang="0">
                <a:pos x="connsiteX50264" y="connsiteY50264"/>
              </a:cxn>
              <a:cxn ang="0">
                <a:pos x="connsiteX50265" y="connsiteY50265"/>
              </a:cxn>
              <a:cxn ang="0">
                <a:pos x="connsiteX50266" y="connsiteY50266"/>
              </a:cxn>
              <a:cxn ang="0">
                <a:pos x="connsiteX50267" y="connsiteY50267"/>
              </a:cxn>
              <a:cxn ang="0">
                <a:pos x="connsiteX50268" y="connsiteY50268"/>
              </a:cxn>
              <a:cxn ang="0">
                <a:pos x="connsiteX50269" y="connsiteY50269"/>
              </a:cxn>
              <a:cxn ang="0">
                <a:pos x="connsiteX50270" y="connsiteY50270"/>
              </a:cxn>
              <a:cxn ang="0">
                <a:pos x="connsiteX50271" y="connsiteY50271"/>
              </a:cxn>
              <a:cxn ang="0">
                <a:pos x="connsiteX50272" y="connsiteY50272"/>
              </a:cxn>
              <a:cxn ang="0">
                <a:pos x="connsiteX50273" y="connsiteY50273"/>
              </a:cxn>
              <a:cxn ang="0">
                <a:pos x="connsiteX50274" y="connsiteY50274"/>
              </a:cxn>
              <a:cxn ang="0">
                <a:pos x="connsiteX50275" y="connsiteY50275"/>
              </a:cxn>
              <a:cxn ang="0">
                <a:pos x="connsiteX50276" y="connsiteY50276"/>
              </a:cxn>
              <a:cxn ang="0">
                <a:pos x="connsiteX50277" y="connsiteY50277"/>
              </a:cxn>
              <a:cxn ang="0">
                <a:pos x="connsiteX50278" y="connsiteY50278"/>
              </a:cxn>
              <a:cxn ang="0">
                <a:pos x="connsiteX50279" y="connsiteY50279"/>
              </a:cxn>
              <a:cxn ang="0">
                <a:pos x="connsiteX50280" y="connsiteY50280"/>
              </a:cxn>
              <a:cxn ang="0">
                <a:pos x="connsiteX50281" y="connsiteY50281"/>
              </a:cxn>
              <a:cxn ang="0">
                <a:pos x="connsiteX50282" y="connsiteY50282"/>
              </a:cxn>
              <a:cxn ang="0">
                <a:pos x="connsiteX50283" y="connsiteY50283"/>
              </a:cxn>
              <a:cxn ang="0">
                <a:pos x="connsiteX50284" y="connsiteY50284"/>
              </a:cxn>
              <a:cxn ang="0">
                <a:pos x="connsiteX50285" y="connsiteY50285"/>
              </a:cxn>
              <a:cxn ang="0">
                <a:pos x="connsiteX50286" y="connsiteY50286"/>
              </a:cxn>
              <a:cxn ang="0">
                <a:pos x="connsiteX50287" y="connsiteY50287"/>
              </a:cxn>
              <a:cxn ang="0">
                <a:pos x="connsiteX50288" y="connsiteY50288"/>
              </a:cxn>
              <a:cxn ang="0">
                <a:pos x="connsiteX50289" y="connsiteY50289"/>
              </a:cxn>
              <a:cxn ang="0">
                <a:pos x="connsiteX50290" y="connsiteY50290"/>
              </a:cxn>
              <a:cxn ang="0">
                <a:pos x="connsiteX50291" y="connsiteY50291"/>
              </a:cxn>
              <a:cxn ang="0">
                <a:pos x="connsiteX50292" y="connsiteY50292"/>
              </a:cxn>
              <a:cxn ang="0">
                <a:pos x="connsiteX50293" y="connsiteY50293"/>
              </a:cxn>
              <a:cxn ang="0">
                <a:pos x="connsiteX50294" y="connsiteY50294"/>
              </a:cxn>
              <a:cxn ang="0">
                <a:pos x="connsiteX50295" y="connsiteY50295"/>
              </a:cxn>
              <a:cxn ang="0">
                <a:pos x="connsiteX50296" y="connsiteY50296"/>
              </a:cxn>
              <a:cxn ang="0">
                <a:pos x="connsiteX50297" y="connsiteY50297"/>
              </a:cxn>
              <a:cxn ang="0">
                <a:pos x="connsiteX50298" y="connsiteY50298"/>
              </a:cxn>
              <a:cxn ang="0">
                <a:pos x="connsiteX50299" y="connsiteY50299"/>
              </a:cxn>
              <a:cxn ang="0">
                <a:pos x="connsiteX50300" y="connsiteY50300"/>
              </a:cxn>
              <a:cxn ang="0">
                <a:pos x="connsiteX50301" y="connsiteY50301"/>
              </a:cxn>
              <a:cxn ang="0">
                <a:pos x="connsiteX50302" y="connsiteY50302"/>
              </a:cxn>
              <a:cxn ang="0">
                <a:pos x="connsiteX50303" y="connsiteY50303"/>
              </a:cxn>
              <a:cxn ang="0">
                <a:pos x="connsiteX50304" y="connsiteY50304"/>
              </a:cxn>
              <a:cxn ang="0">
                <a:pos x="connsiteX50305" y="connsiteY50305"/>
              </a:cxn>
              <a:cxn ang="0">
                <a:pos x="connsiteX50306" y="connsiteY50306"/>
              </a:cxn>
              <a:cxn ang="0">
                <a:pos x="connsiteX50307" y="connsiteY50307"/>
              </a:cxn>
              <a:cxn ang="0">
                <a:pos x="connsiteX50308" y="connsiteY50308"/>
              </a:cxn>
              <a:cxn ang="0">
                <a:pos x="connsiteX50309" y="connsiteY50309"/>
              </a:cxn>
              <a:cxn ang="0">
                <a:pos x="connsiteX50310" y="connsiteY50310"/>
              </a:cxn>
              <a:cxn ang="0">
                <a:pos x="connsiteX50311" y="connsiteY50311"/>
              </a:cxn>
              <a:cxn ang="0">
                <a:pos x="connsiteX50312" y="connsiteY50312"/>
              </a:cxn>
              <a:cxn ang="0">
                <a:pos x="connsiteX50313" y="connsiteY50313"/>
              </a:cxn>
              <a:cxn ang="0">
                <a:pos x="connsiteX50314" y="connsiteY50314"/>
              </a:cxn>
              <a:cxn ang="0">
                <a:pos x="connsiteX50315" y="connsiteY50315"/>
              </a:cxn>
              <a:cxn ang="0">
                <a:pos x="connsiteX50316" y="connsiteY50316"/>
              </a:cxn>
              <a:cxn ang="0">
                <a:pos x="connsiteX50317" y="connsiteY50317"/>
              </a:cxn>
              <a:cxn ang="0">
                <a:pos x="connsiteX50318" y="connsiteY50318"/>
              </a:cxn>
              <a:cxn ang="0">
                <a:pos x="connsiteX50319" y="connsiteY50319"/>
              </a:cxn>
              <a:cxn ang="0">
                <a:pos x="connsiteX50320" y="connsiteY50320"/>
              </a:cxn>
              <a:cxn ang="0">
                <a:pos x="connsiteX50321" y="connsiteY50321"/>
              </a:cxn>
              <a:cxn ang="0">
                <a:pos x="connsiteX50322" y="connsiteY50322"/>
              </a:cxn>
              <a:cxn ang="0">
                <a:pos x="connsiteX50323" y="connsiteY50323"/>
              </a:cxn>
              <a:cxn ang="0">
                <a:pos x="connsiteX50324" y="connsiteY50324"/>
              </a:cxn>
              <a:cxn ang="0">
                <a:pos x="connsiteX50325" y="connsiteY50325"/>
              </a:cxn>
              <a:cxn ang="0">
                <a:pos x="connsiteX50326" y="connsiteY50326"/>
              </a:cxn>
              <a:cxn ang="0">
                <a:pos x="connsiteX50327" y="connsiteY50327"/>
              </a:cxn>
              <a:cxn ang="0">
                <a:pos x="connsiteX50328" y="connsiteY50328"/>
              </a:cxn>
              <a:cxn ang="0">
                <a:pos x="connsiteX50329" y="connsiteY50329"/>
              </a:cxn>
              <a:cxn ang="0">
                <a:pos x="connsiteX50330" y="connsiteY50330"/>
              </a:cxn>
              <a:cxn ang="0">
                <a:pos x="connsiteX50331" y="connsiteY50331"/>
              </a:cxn>
              <a:cxn ang="0">
                <a:pos x="connsiteX50332" y="connsiteY50332"/>
              </a:cxn>
              <a:cxn ang="0">
                <a:pos x="connsiteX50333" y="connsiteY50333"/>
              </a:cxn>
              <a:cxn ang="0">
                <a:pos x="connsiteX50334" y="connsiteY50334"/>
              </a:cxn>
              <a:cxn ang="0">
                <a:pos x="connsiteX50335" y="connsiteY50335"/>
              </a:cxn>
              <a:cxn ang="0">
                <a:pos x="connsiteX50336" y="connsiteY50336"/>
              </a:cxn>
              <a:cxn ang="0">
                <a:pos x="connsiteX50337" y="connsiteY50337"/>
              </a:cxn>
              <a:cxn ang="0">
                <a:pos x="connsiteX50338" y="connsiteY50338"/>
              </a:cxn>
              <a:cxn ang="0">
                <a:pos x="connsiteX50339" y="connsiteY50339"/>
              </a:cxn>
              <a:cxn ang="0">
                <a:pos x="connsiteX50340" y="connsiteY50340"/>
              </a:cxn>
              <a:cxn ang="0">
                <a:pos x="connsiteX50341" y="connsiteY50341"/>
              </a:cxn>
              <a:cxn ang="0">
                <a:pos x="connsiteX50342" y="connsiteY50342"/>
              </a:cxn>
              <a:cxn ang="0">
                <a:pos x="connsiteX50343" y="connsiteY50343"/>
              </a:cxn>
              <a:cxn ang="0">
                <a:pos x="connsiteX50344" y="connsiteY50344"/>
              </a:cxn>
              <a:cxn ang="0">
                <a:pos x="connsiteX50345" y="connsiteY50345"/>
              </a:cxn>
              <a:cxn ang="0">
                <a:pos x="connsiteX50346" y="connsiteY50346"/>
              </a:cxn>
              <a:cxn ang="0">
                <a:pos x="connsiteX50347" y="connsiteY50347"/>
              </a:cxn>
              <a:cxn ang="0">
                <a:pos x="connsiteX50348" y="connsiteY50348"/>
              </a:cxn>
              <a:cxn ang="0">
                <a:pos x="connsiteX50349" y="connsiteY50349"/>
              </a:cxn>
              <a:cxn ang="0">
                <a:pos x="connsiteX50350" y="connsiteY50350"/>
              </a:cxn>
              <a:cxn ang="0">
                <a:pos x="connsiteX50351" y="connsiteY50351"/>
              </a:cxn>
              <a:cxn ang="0">
                <a:pos x="connsiteX50352" y="connsiteY50352"/>
              </a:cxn>
              <a:cxn ang="0">
                <a:pos x="connsiteX50353" y="connsiteY50353"/>
              </a:cxn>
              <a:cxn ang="0">
                <a:pos x="connsiteX50354" y="connsiteY50354"/>
              </a:cxn>
              <a:cxn ang="0">
                <a:pos x="connsiteX50355" y="connsiteY50355"/>
              </a:cxn>
              <a:cxn ang="0">
                <a:pos x="connsiteX50356" y="connsiteY50356"/>
              </a:cxn>
              <a:cxn ang="0">
                <a:pos x="connsiteX50357" y="connsiteY50357"/>
              </a:cxn>
              <a:cxn ang="0">
                <a:pos x="connsiteX50358" y="connsiteY50358"/>
              </a:cxn>
              <a:cxn ang="0">
                <a:pos x="connsiteX50359" y="connsiteY50359"/>
              </a:cxn>
              <a:cxn ang="0">
                <a:pos x="connsiteX50360" y="connsiteY50360"/>
              </a:cxn>
              <a:cxn ang="0">
                <a:pos x="connsiteX50361" y="connsiteY50361"/>
              </a:cxn>
              <a:cxn ang="0">
                <a:pos x="connsiteX50362" y="connsiteY50362"/>
              </a:cxn>
              <a:cxn ang="0">
                <a:pos x="connsiteX50363" y="connsiteY50363"/>
              </a:cxn>
              <a:cxn ang="0">
                <a:pos x="connsiteX50364" y="connsiteY50364"/>
              </a:cxn>
              <a:cxn ang="0">
                <a:pos x="connsiteX50365" y="connsiteY50365"/>
              </a:cxn>
              <a:cxn ang="0">
                <a:pos x="connsiteX50366" y="connsiteY50366"/>
              </a:cxn>
              <a:cxn ang="0">
                <a:pos x="connsiteX50367" y="connsiteY50367"/>
              </a:cxn>
              <a:cxn ang="0">
                <a:pos x="connsiteX50368" y="connsiteY50368"/>
              </a:cxn>
              <a:cxn ang="0">
                <a:pos x="connsiteX50369" y="connsiteY50369"/>
              </a:cxn>
              <a:cxn ang="0">
                <a:pos x="connsiteX50370" y="connsiteY50370"/>
              </a:cxn>
              <a:cxn ang="0">
                <a:pos x="connsiteX50371" y="connsiteY50371"/>
              </a:cxn>
              <a:cxn ang="0">
                <a:pos x="connsiteX50372" y="connsiteY50372"/>
              </a:cxn>
              <a:cxn ang="0">
                <a:pos x="connsiteX50373" y="connsiteY50373"/>
              </a:cxn>
              <a:cxn ang="0">
                <a:pos x="connsiteX50374" y="connsiteY50374"/>
              </a:cxn>
              <a:cxn ang="0">
                <a:pos x="connsiteX50375" y="connsiteY50375"/>
              </a:cxn>
              <a:cxn ang="0">
                <a:pos x="connsiteX50376" y="connsiteY50376"/>
              </a:cxn>
              <a:cxn ang="0">
                <a:pos x="connsiteX50377" y="connsiteY50377"/>
              </a:cxn>
              <a:cxn ang="0">
                <a:pos x="connsiteX50378" y="connsiteY50378"/>
              </a:cxn>
              <a:cxn ang="0">
                <a:pos x="connsiteX50379" y="connsiteY50379"/>
              </a:cxn>
              <a:cxn ang="0">
                <a:pos x="connsiteX50380" y="connsiteY50380"/>
              </a:cxn>
              <a:cxn ang="0">
                <a:pos x="connsiteX50381" y="connsiteY50381"/>
              </a:cxn>
              <a:cxn ang="0">
                <a:pos x="connsiteX50382" y="connsiteY50382"/>
              </a:cxn>
              <a:cxn ang="0">
                <a:pos x="connsiteX50383" y="connsiteY50383"/>
              </a:cxn>
              <a:cxn ang="0">
                <a:pos x="connsiteX50384" y="connsiteY50384"/>
              </a:cxn>
              <a:cxn ang="0">
                <a:pos x="connsiteX50385" y="connsiteY50385"/>
              </a:cxn>
              <a:cxn ang="0">
                <a:pos x="connsiteX50386" y="connsiteY50386"/>
              </a:cxn>
              <a:cxn ang="0">
                <a:pos x="connsiteX50387" y="connsiteY50387"/>
              </a:cxn>
              <a:cxn ang="0">
                <a:pos x="connsiteX50388" y="connsiteY50388"/>
              </a:cxn>
              <a:cxn ang="0">
                <a:pos x="connsiteX50389" y="connsiteY50389"/>
              </a:cxn>
              <a:cxn ang="0">
                <a:pos x="connsiteX50390" y="connsiteY50390"/>
              </a:cxn>
              <a:cxn ang="0">
                <a:pos x="connsiteX50391" y="connsiteY50391"/>
              </a:cxn>
              <a:cxn ang="0">
                <a:pos x="connsiteX50392" y="connsiteY50392"/>
              </a:cxn>
              <a:cxn ang="0">
                <a:pos x="connsiteX50393" y="connsiteY50393"/>
              </a:cxn>
              <a:cxn ang="0">
                <a:pos x="connsiteX50394" y="connsiteY50394"/>
              </a:cxn>
              <a:cxn ang="0">
                <a:pos x="connsiteX50395" y="connsiteY50395"/>
              </a:cxn>
              <a:cxn ang="0">
                <a:pos x="connsiteX50396" y="connsiteY50396"/>
              </a:cxn>
              <a:cxn ang="0">
                <a:pos x="connsiteX50397" y="connsiteY50397"/>
              </a:cxn>
              <a:cxn ang="0">
                <a:pos x="connsiteX50398" y="connsiteY50398"/>
              </a:cxn>
              <a:cxn ang="0">
                <a:pos x="connsiteX50399" y="connsiteY50399"/>
              </a:cxn>
              <a:cxn ang="0">
                <a:pos x="connsiteX50400" y="connsiteY50400"/>
              </a:cxn>
              <a:cxn ang="0">
                <a:pos x="connsiteX50401" y="connsiteY50401"/>
              </a:cxn>
              <a:cxn ang="0">
                <a:pos x="connsiteX50402" y="connsiteY50402"/>
              </a:cxn>
              <a:cxn ang="0">
                <a:pos x="connsiteX50403" y="connsiteY50403"/>
              </a:cxn>
              <a:cxn ang="0">
                <a:pos x="connsiteX50404" y="connsiteY50404"/>
              </a:cxn>
              <a:cxn ang="0">
                <a:pos x="connsiteX50405" y="connsiteY50405"/>
              </a:cxn>
              <a:cxn ang="0">
                <a:pos x="connsiteX50406" y="connsiteY50406"/>
              </a:cxn>
              <a:cxn ang="0">
                <a:pos x="connsiteX50407" y="connsiteY50407"/>
              </a:cxn>
              <a:cxn ang="0">
                <a:pos x="connsiteX50408" y="connsiteY50408"/>
              </a:cxn>
              <a:cxn ang="0">
                <a:pos x="connsiteX50409" y="connsiteY50409"/>
              </a:cxn>
              <a:cxn ang="0">
                <a:pos x="connsiteX50410" y="connsiteY50410"/>
              </a:cxn>
              <a:cxn ang="0">
                <a:pos x="connsiteX50411" y="connsiteY50411"/>
              </a:cxn>
              <a:cxn ang="0">
                <a:pos x="connsiteX50412" y="connsiteY50412"/>
              </a:cxn>
              <a:cxn ang="0">
                <a:pos x="connsiteX50413" y="connsiteY50413"/>
              </a:cxn>
              <a:cxn ang="0">
                <a:pos x="connsiteX50414" y="connsiteY50414"/>
              </a:cxn>
              <a:cxn ang="0">
                <a:pos x="connsiteX50415" y="connsiteY50415"/>
              </a:cxn>
              <a:cxn ang="0">
                <a:pos x="connsiteX50416" y="connsiteY50416"/>
              </a:cxn>
              <a:cxn ang="0">
                <a:pos x="connsiteX50417" y="connsiteY50417"/>
              </a:cxn>
              <a:cxn ang="0">
                <a:pos x="connsiteX50418" y="connsiteY50418"/>
              </a:cxn>
              <a:cxn ang="0">
                <a:pos x="connsiteX50419" y="connsiteY50419"/>
              </a:cxn>
              <a:cxn ang="0">
                <a:pos x="connsiteX50420" y="connsiteY50420"/>
              </a:cxn>
              <a:cxn ang="0">
                <a:pos x="connsiteX50421" y="connsiteY50421"/>
              </a:cxn>
              <a:cxn ang="0">
                <a:pos x="connsiteX50422" y="connsiteY50422"/>
              </a:cxn>
              <a:cxn ang="0">
                <a:pos x="connsiteX50423" y="connsiteY50423"/>
              </a:cxn>
              <a:cxn ang="0">
                <a:pos x="connsiteX50424" y="connsiteY50424"/>
              </a:cxn>
              <a:cxn ang="0">
                <a:pos x="connsiteX50425" y="connsiteY50425"/>
              </a:cxn>
              <a:cxn ang="0">
                <a:pos x="connsiteX50426" y="connsiteY50426"/>
              </a:cxn>
              <a:cxn ang="0">
                <a:pos x="connsiteX50427" y="connsiteY50427"/>
              </a:cxn>
              <a:cxn ang="0">
                <a:pos x="connsiteX50428" y="connsiteY50428"/>
              </a:cxn>
              <a:cxn ang="0">
                <a:pos x="connsiteX50429" y="connsiteY50429"/>
              </a:cxn>
              <a:cxn ang="0">
                <a:pos x="connsiteX50430" y="connsiteY50430"/>
              </a:cxn>
              <a:cxn ang="0">
                <a:pos x="connsiteX50431" y="connsiteY50431"/>
              </a:cxn>
              <a:cxn ang="0">
                <a:pos x="connsiteX50432" y="connsiteY50432"/>
              </a:cxn>
              <a:cxn ang="0">
                <a:pos x="connsiteX50433" y="connsiteY50433"/>
              </a:cxn>
              <a:cxn ang="0">
                <a:pos x="connsiteX50434" y="connsiteY50434"/>
              </a:cxn>
              <a:cxn ang="0">
                <a:pos x="connsiteX50435" y="connsiteY50435"/>
              </a:cxn>
              <a:cxn ang="0">
                <a:pos x="connsiteX50436" y="connsiteY50436"/>
              </a:cxn>
              <a:cxn ang="0">
                <a:pos x="connsiteX50437" y="connsiteY50437"/>
              </a:cxn>
              <a:cxn ang="0">
                <a:pos x="connsiteX50438" y="connsiteY50438"/>
              </a:cxn>
              <a:cxn ang="0">
                <a:pos x="connsiteX50439" y="connsiteY50439"/>
              </a:cxn>
              <a:cxn ang="0">
                <a:pos x="connsiteX50440" y="connsiteY50440"/>
              </a:cxn>
              <a:cxn ang="0">
                <a:pos x="connsiteX50441" y="connsiteY50441"/>
              </a:cxn>
              <a:cxn ang="0">
                <a:pos x="connsiteX50442" y="connsiteY50442"/>
              </a:cxn>
              <a:cxn ang="0">
                <a:pos x="connsiteX50443" y="connsiteY50443"/>
              </a:cxn>
              <a:cxn ang="0">
                <a:pos x="connsiteX50444" y="connsiteY50444"/>
              </a:cxn>
              <a:cxn ang="0">
                <a:pos x="connsiteX50445" y="connsiteY50445"/>
              </a:cxn>
              <a:cxn ang="0">
                <a:pos x="connsiteX50446" y="connsiteY50446"/>
              </a:cxn>
              <a:cxn ang="0">
                <a:pos x="connsiteX50447" y="connsiteY50447"/>
              </a:cxn>
              <a:cxn ang="0">
                <a:pos x="connsiteX50448" y="connsiteY50448"/>
              </a:cxn>
              <a:cxn ang="0">
                <a:pos x="connsiteX50449" y="connsiteY50449"/>
              </a:cxn>
              <a:cxn ang="0">
                <a:pos x="connsiteX50450" y="connsiteY50450"/>
              </a:cxn>
              <a:cxn ang="0">
                <a:pos x="connsiteX50451" y="connsiteY50451"/>
              </a:cxn>
              <a:cxn ang="0">
                <a:pos x="connsiteX50452" y="connsiteY50452"/>
              </a:cxn>
              <a:cxn ang="0">
                <a:pos x="connsiteX50453" y="connsiteY50453"/>
              </a:cxn>
              <a:cxn ang="0">
                <a:pos x="connsiteX50454" y="connsiteY50454"/>
              </a:cxn>
              <a:cxn ang="0">
                <a:pos x="connsiteX50455" y="connsiteY50455"/>
              </a:cxn>
              <a:cxn ang="0">
                <a:pos x="connsiteX50456" y="connsiteY50456"/>
              </a:cxn>
              <a:cxn ang="0">
                <a:pos x="connsiteX50457" y="connsiteY50457"/>
              </a:cxn>
              <a:cxn ang="0">
                <a:pos x="connsiteX50458" y="connsiteY50458"/>
              </a:cxn>
              <a:cxn ang="0">
                <a:pos x="connsiteX50459" y="connsiteY50459"/>
              </a:cxn>
              <a:cxn ang="0">
                <a:pos x="connsiteX50460" y="connsiteY50460"/>
              </a:cxn>
              <a:cxn ang="0">
                <a:pos x="connsiteX50461" y="connsiteY50461"/>
              </a:cxn>
              <a:cxn ang="0">
                <a:pos x="connsiteX50462" y="connsiteY50462"/>
              </a:cxn>
              <a:cxn ang="0">
                <a:pos x="connsiteX50463" y="connsiteY50463"/>
              </a:cxn>
              <a:cxn ang="0">
                <a:pos x="connsiteX50464" y="connsiteY50464"/>
              </a:cxn>
              <a:cxn ang="0">
                <a:pos x="connsiteX50465" y="connsiteY50465"/>
              </a:cxn>
              <a:cxn ang="0">
                <a:pos x="connsiteX50466" y="connsiteY50466"/>
              </a:cxn>
              <a:cxn ang="0">
                <a:pos x="connsiteX50467" y="connsiteY50467"/>
              </a:cxn>
              <a:cxn ang="0">
                <a:pos x="connsiteX50468" y="connsiteY50468"/>
              </a:cxn>
              <a:cxn ang="0">
                <a:pos x="connsiteX50469" y="connsiteY50469"/>
              </a:cxn>
              <a:cxn ang="0">
                <a:pos x="connsiteX50470" y="connsiteY50470"/>
              </a:cxn>
              <a:cxn ang="0">
                <a:pos x="connsiteX50471" y="connsiteY50471"/>
              </a:cxn>
              <a:cxn ang="0">
                <a:pos x="connsiteX50472" y="connsiteY50472"/>
              </a:cxn>
              <a:cxn ang="0">
                <a:pos x="connsiteX50473" y="connsiteY50473"/>
              </a:cxn>
              <a:cxn ang="0">
                <a:pos x="connsiteX50474" y="connsiteY50474"/>
              </a:cxn>
              <a:cxn ang="0">
                <a:pos x="connsiteX50475" y="connsiteY50475"/>
              </a:cxn>
              <a:cxn ang="0">
                <a:pos x="connsiteX50476" y="connsiteY50476"/>
              </a:cxn>
              <a:cxn ang="0">
                <a:pos x="connsiteX50477" y="connsiteY50477"/>
              </a:cxn>
              <a:cxn ang="0">
                <a:pos x="connsiteX50478" y="connsiteY50478"/>
              </a:cxn>
              <a:cxn ang="0">
                <a:pos x="connsiteX50479" y="connsiteY50479"/>
              </a:cxn>
              <a:cxn ang="0">
                <a:pos x="connsiteX50480" y="connsiteY50480"/>
              </a:cxn>
              <a:cxn ang="0">
                <a:pos x="connsiteX50481" y="connsiteY50481"/>
              </a:cxn>
              <a:cxn ang="0">
                <a:pos x="connsiteX50482" y="connsiteY50482"/>
              </a:cxn>
              <a:cxn ang="0">
                <a:pos x="connsiteX50483" y="connsiteY50483"/>
              </a:cxn>
              <a:cxn ang="0">
                <a:pos x="connsiteX50484" y="connsiteY50484"/>
              </a:cxn>
              <a:cxn ang="0">
                <a:pos x="connsiteX50485" y="connsiteY50485"/>
              </a:cxn>
              <a:cxn ang="0">
                <a:pos x="connsiteX50486" y="connsiteY50486"/>
              </a:cxn>
              <a:cxn ang="0">
                <a:pos x="connsiteX50487" y="connsiteY50487"/>
              </a:cxn>
              <a:cxn ang="0">
                <a:pos x="connsiteX50488" y="connsiteY50488"/>
              </a:cxn>
              <a:cxn ang="0">
                <a:pos x="connsiteX50489" y="connsiteY50489"/>
              </a:cxn>
              <a:cxn ang="0">
                <a:pos x="connsiteX50490" y="connsiteY50490"/>
              </a:cxn>
              <a:cxn ang="0">
                <a:pos x="connsiteX50491" y="connsiteY50491"/>
              </a:cxn>
              <a:cxn ang="0">
                <a:pos x="connsiteX50492" y="connsiteY50492"/>
              </a:cxn>
              <a:cxn ang="0">
                <a:pos x="connsiteX50493" y="connsiteY50493"/>
              </a:cxn>
              <a:cxn ang="0">
                <a:pos x="connsiteX50494" y="connsiteY50494"/>
              </a:cxn>
              <a:cxn ang="0">
                <a:pos x="connsiteX50495" y="connsiteY50495"/>
              </a:cxn>
              <a:cxn ang="0">
                <a:pos x="connsiteX50496" y="connsiteY50496"/>
              </a:cxn>
              <a:cxn ang="0">
                <a:pos x="connsiteX50497" y="connsiteY50497"/>
              </a:cxn>
              <a:cxn ang="0">
                <a:pos x="connsiteX50498" y="connsiteY50498"/>
              </a:cxn>
              <a:cxn ang="0">
                <a:pos x="connsiteX50499" y="connsiteY50499"/>
              </a:cxn>
              <a:cxn ang="0">
                <a:pos x="connsiteX50500" y="connsiteY50500"/>
              </a:cxn>
              <a:cxn ang="0">
                <a:pos x="connsiteX50501" y="connsiteY50501"/>
              </a:cxn>
              <a:cxn ang="0">
                <a:pos x="connsiteX50502" y="connsiteY50502"/>
              </a:cxn>
              <a:cxn ang="0">
                <a:pos x="connsiteX50503" y="connsiteY50503"/>
              </a:cxn>
              <a:cxn ang="0">
                <a:pos x="connsiteX50504" y="connsiteY50504"/>
              </a:cxn>
              <a:cxn ang="0">
                <a:pos x="connsiteX50505" y="connsiteY50505"/>
              </a:cxn>
              <a:cxn ang="0">
                <a:pos x="connsiteX50506" y="connsiteY50506"/>
              </a:cxn>
              <a:cxn ang="0">
                <a:pos x="connsiteX50507" y="connsiteY50507"/>
              </a:cxn>
              <a:cxn ang="0">
                <a:pos x="connsiteX50508" y="connsiteY50508"/>
              </a:cxn>
              <a:cxn ang="0">
                <a:pos x="connsiteX50509" y="connsiteY50509"/>
              </a:cxn>
              <a:cxn ang="0">
                <a:pos x="connsiteX50510" y="connsiteY50510"/>
              </a:cxn>
              <a:cxn ang="0">
                <a:pos x="connsiteX50511" y="connsiteY50511"/>
              </a:cxn>
              <a:cxn ang="0">
                <a:pos x="connsiteX50512" y="connsiteY50512"/>
              </a:cxn>
              <a:cxn ang="0">
                <a:pos x="connsiteX50513" y="connsiteY50513"/>
              </a:cxn>
              <a:cxn ang="0">
                <a:pos x="connsiteX50514" y="connsiteY50514"/>
              </a:cxn>
              <a:cxn ang="0">
                <a:pos x="connsiteX50515" y="connsiteY50515"/>
              </a:cxn>
              <a:cxn ang="0">
                <a:pos x="connsiteX50516" y="connsiteY50516"/>
              </a:cxn>
              <a:cxn ang="0">
                <a:pos x="connsiteX50517" y="connsiteY50517"/>
              </a:cxn>
              <a:cxn ang="0">
                <a:pos x="connsiteX50518" y="connsiteY50518"/>
              </a:cxn>
              <a:cxn ang="0">
                <a:pos x="connsiteX50519" y="connsiteY50519"/>
              </a:cxn>
              <a:cxn ang="0">
                <a:pos x="connsiteX50520" y="connsiteY50520"/>
              </a:cxn>
              <a:cxn ang="0">
                <a:pos x="connsiteX50521" y="connsiteY50521"/>
              </a:cxn>
              <a:cxn ang="0">
                <a:pos x="connsiteX50522" y="connsiteY50522"/>
              </a:cxn>
              <a:cxn ang="0">
                <a:pos x="connsiteX50523" y="connsiteY50523"/>
              </a:cxn>
              <a:cxn ang="0">
                <a:pos x="connsiteX50524" y="connsiteY50524"/>
              </a:cxn>
              <a:cxn ang="0">
                <a:pos x="connsiteX50525" y="connsiteY50525"/>
              </a:cxn>
              <a:cxn ang="0">
                <a:pos x="connsiteX50526" y="connsiteY50526"/>
              </a:cxn>
              <a:cxn ang="0">
                <a:pos x="connsiteX50527" y="connsiteY50527"/>
              </a:cxn>
              <a:cxn ang="0">
                <a:pos x="connsiteX50528" y="connsiteY50528"/>
              </a:cxn>
              <a:cxn ang="0">
                <a:pos x="connsiteX50529" y="connsiteY50529"/>
              </a:cxn>
              <a:cxn ang="0">
                <a:pos x="connsiteX50530" y="connsiteY50530"/>
              </a:cxn>
              <a:cxn ang="0">
                <a:pos x="connsiteX50531" y="connsiteY50531"/>
              </a:cxn>
              <a:cxn ang="0">
                <a:pos x="connsiteX50532" y="connsiteY50532"/>
              </a:cxn>
              <a:cxn ang="0">
                <a:pos x="connsiteX50533" y="connsiteY50533"/>
              </a:cxn>
              <a:cxn ang="0">
                <a:pos x="connsiteX50534" y="connsiteY50534"/>
              </a:cxn>
              <a:cxn ang="0">
                <a:pos x="connsiteX50535" y="connsiteY50535"/>
              </a:cxn>
              <a:cxn ang="0">
                <a:pos x="connsiteX50536" y="connsiteY50536"/>
              </a:cxn>
              <a:cxn ang="0">
                <a:pos x="connsiteX50537" y="connsiteY50537"/>
              </a:cxn>
              <a:cxn ang="0">
                <a:pos x="connsiteX50538" y="connsiteY50538"/>
              </a:cxn>
              <a:cxn ang="0">
                <a:pos x="connsiteX50539" y="connsiteY50539"/>
              </a:cxn>
              <a:cxn ang="0">
                <a:pos x="connsiteX50540" y="connsiteY50540"/>
              </a:cxn>
              <a:cxn ang="0">
                <a:pos x="connsiteX50541" y="connsiteY50541"/>
              </a:cxn>
              <a:cxn ang="0">
                <a:pos x="connsiteX50542" y="connsiteY50542"/>
              </a:cxn>
              <a:cxn ang="0">
                <a:pos x="connsiteX50543" y="connsiteY50543"/>
              </a:cxn>
              <a:cxn ang="0">
                <a:pos x="connsiteX50544" y="connsiteY50544"/>
              </a:cxn>
              <a:cxn ang="0">
                <a:pos x="connsiteX50545" y="connsiteY50545"/>
              </a:cxn>
              <a:cxn ang="0">
                <a:pos x="connsiteX50546" y="connsiteY50546"/>
              </a:cxn>
              <a:cxn ang="0">
                <a:pos x="connsiteX50547" y="connsiteY50547"/>
              </a:cxn>
              <a:cxn ang="0">
                <a:pos x="connsiteX50548" y="connsiteY50548"/>
              </a:cxn>
              <a:cxn ang="0">
                <a:pos x="connsiteX50549" y="connsiteY50549"/>
              </a:cxn>
              <a:cxn ang="0">
                <a:pos x="connsiteX50550" y="connsiteY50550"/>
              </a:cxn>
              <a:cxn ang="0">
                <a:pos x="connsiteX50551" y="connsiteY50551"/>
              </a:cxn>
              <a:cxn ang="0">
                <a:pos x="connsiteX50552" y="connsiteY50552"/>
              </a:cxn>
              <a:cxn ang="0">
                <a:pos x="connsiteX50553" y="connsiteY50553"/>
              </a:cxn>
              <a:cxn ang="0">
                <a:pos x="connsiteX50554" y="connsiteY50554"/>
              </a:cxn>
              <a:cxn ang="0">
                <a:pos x="connsiteX50555" y="connsiteY50555"/>
              </a:cxn>
              <a:cxn ang="0">
                <a:pos x="connsiteX50556" y="connsiteY50556"/>
              </a:cxn>
              <a:cxn ang="0">
                <a:pos x="connsiteX50557" y="connsiteY50557"/>
              </a:cxn>
              <a:cxn ang="0">
                <a:pos x="connsiteX50558" y="connsiteY50558"/>
              </a:cxn>
              <a:cxn ang="0">
                <a:pos x="connsiteX50559" y="connsiteY50559"/>
              </a:cxn>
              <a:cxn ang="0">
                <a:pos x="connsiteX50560" y="connsiteY50560"/>
              </a:cxn>
              <a:cxn ang="0">
                <a:pos x="connsiteX50561" y="connsiteY50561"/>
              </a:cxn>
              <a:cxn ang="0">
                <a:pos x="connsiteX50562" y="connsiteY50562"/>
              </a:cxn>
              <a:cxn ang="0">
                <a:pos x="connsiteX50563" y="connsiteY50563"/>
              </a:cxn>
              <a:cxn ang="0">
                <a:pos x="connsiteX50564" y="connsiteY50564"/>
              </a:cxn>
              <a:cxn ang="0">
                <a:pos x="connsiteX50565" y="connsiteY50565"/>
              </a:cxn>
              <a:cxn ang="0">
                <a:pos x="connsiteX50566" y="connsiteY50566"/>
              </a:cxn>
              <a:cxn ang="0">
                <a:pos x="connsiteX50567" y="connsiteY50567"/>
              </a:cxn>
              <a:cxn ang="0">
                <a:pos x="connsiteX50568" y="connsiteY50568"/>
              </a:cxn>
              <a:cxn ang="0">
                <a:pos x="connsiteX50569" y="connsiteY50569"/>
              </a:cxn>
              <a:cxn ang="0">
                <a:pos x="connsiteX50570" y="connsiteY50570"/>
              </a:cxn>
              <a:cxn ang="0">
                <a:pos x="connsiteX50571" y="connsiteY50571"/>
              </a:cxn>
              <a:cxn ang="0">
                <a:pos x="connsiteX50572" y="connsiteY50572"/>
              </a:cxn>
              <a:cxn ang="0">
                <a:pos x="connsiteX50573" y="connsiteY50573"/>
              </a:cxn>
              <a:cxn ang="0">
                <a:pos x="connsiteX50574" y="connsiteY50574"/>
              </a:cxn>
              <a:cxn ang="0">
                <a:pos x="connsiteX50575" y="connsiteY50575"/>
              </a:cxn>
              <a:cxn ang="0">
                <a:pos x="connsiteX50576" y="connsiteY50576"/>
              </a:cxn>
              <a:cxn ang="0">
                <a:pos x="connsiteX50577" y="connsiteY50577"/>
              </a:cxn>
              <a:cxn ang="0">
                <a:pos x="connsiteX50578" y="connsiteY50578"/>
              </a:cxn>
              <a:cxn ang="0">
                <a:pos x="connsiteX50579" y="connsiteY50579"/>
              </a:cxn>
              <a:cxn ang="0">
                <a:pos x="connsiteX50580" y="connsiteY50580"/>
              </a:cxn>
              <a:cxn ang="0">
                <a:pos x="connsiteX50581" y="connsiteY50581"/>
              </a:cxn>
              <a:cxn ang="0">
                <a:pos x="connsiteX50582" y="connsiteY50582"/>
              </a:cxn>
              <a:cxn ang="0">
                <a:pos x="connsiteX50583" y="connsiteY50583"/>
              </a:cxn>
              <a:cxn ang="0">
                <a:pos x="connsiteX50584" y="connsiteY50584"/>
              </a:cxn>
              <a:cxn ang="0">
                <a:pos x="connsiteX50585" y="connsiteY50585"/>
              </a:cxn>
              <a:cxn ang="0">
                <a:pos x="connsiteX50586" y="connsiteY50586"/>
              </a:cxn>
              <a:cxn ang="0">
                <a:pos x="connsiteX50587" y="connsiteY50587"/>
              </a:cxn>
              <a:cxn ang="0">
                <a:pos x="connsiteX50588" y="connsiteY50588"/>
              </a:cxn>
              <a:cxn ang="0">
                <a:pos x="connsiteX50589" y="connsiteY50589"/>
              </a:cxn>
              <a:cxn ang="0">
                <a:pos x="connsiteX50590" y="connsiteY50590"/>
              </a:cxn>
              <a:cxn ang="0">
                <a:pos x="connsiteX50591" y="connsiteY50591"/>
              </a:cxn>
              <a:cxn ang="0">
                <a:pos x="connsiteX50592" y="connsiteY50592"/>
              </a:cxn>
              <a:cxn ang="0">
                <a:pos x="connsiteX50593" y="connsiteY50593"/>
              </a:cxn>
              <a:cxn ang="0">
                <a:pos x="connsiteX50594" y="connsiteY50594"/>
              </a:cxn>
              <a:cxn ang="0">
                <a:pos x="connsiteX50595" y="connsiteY50595"/>
              </a:cxn>
              <a:cxn ang="0">
                <a:pos x="connsiteX50596" y="connsiteY50596"/>
              </a:cxn>
              <a:cxn ang="0">
                <a:pos x="connsiteX50597" y="connsiteY50597"/>
              </a:cxn>
              <a:cxn ang="0">
                <a:pos x="connsiteX50598" y="connsiteY50598"/>
              </a:cxn>
              <a:cxn ang="0">
                <a:pos x="connsiteX50599" y="connsiteY50599"/>
              </a:cxn>
              <a:cxn ang="0">
                <a:pos x="connsiteX50600" y="connsiteY50600"/>
              </a:cxn>
              <a:cxn ang="0">
                <a:pos x="connsiteX50601" y="connsiteY50601"/>
              </a:cxn>
              <a:cxn ang="0">
                <a:pos x="connsiteX50602" y="connsiteY50602"/>
              </a:cxn>
              <a:cxn ang="0">
                <a:pos x="connsiteX50603" y="connsiteY50603"/>
              </a:cxn>
              <a:cxn ang="0">
                <a:pos x="connsiteX50604" y="connsiteY50604"/>
              </a:cxn>
              <a:cxn ang="0">
                <a:pos x="connsiteX50605" y="connsiteY50605"/>
              </a:cxn>
              <a:cxn ang="0">
                <a:pos x="connsiteX50606" y="connsiteY50606"/>
              </a:cxn>
              <a:cxn ang="0">
                <a:pos x="connsiteX50607" y="connsiteY50607"/>
              </a:cxn>
              <a:cxn ang="0">
                <a:pos x="connsiteX50608" y="connsiteY50608"/>
              </a:cxn>
              <a:cxn ang="0">
                <a:pos x="connsiteX50609" y="connsiteY50609"/>
              </a:cxn>
              <a:cxn ang="0">
                <a:pos x="connsiteX50610" y="connsiteY50610"/>
              </a:cxn>
              <a:cxn ang="0">
                <a:pos x="connsiteX50611" y="connsiteY50611"/>
              </a:cxn>
              <a:cxn ang="0">
                <a:pos x="connsiteX50612" y="connsiteY50612"/>
              </a:cxn>
              <a:cxn ang="0">
                <a:pos x="connsiteX50613" y="connsiteY50613"/>
              </a:cxn>
              <a:cxn ang="0">
                <a:pos x="connsiteX50614" y="connsiteY50614"/>
              </a:cxn>
              <a:cxn ang="0">
                <a:pos x="connsiteX50615" y="connsiteY50615"/>
              </a:cxn>
              <a:cxn ang="0">
                <a:pos x="connsiteX50616" y="connsiteY50616"/>
              </a:cxn>
              <a:cxn ang="0">
                <a:pos x="connsiteX50617" y="connsiteY50617"/>
              </a:cxn>
              <a:cxn ang="0">
                <a:pos x="connsiteX50618" y="connsiteY50618"/>
              </a:cxn>
              <a:cxn ang="0">
                <a:pos x="connsiteX50619" y="connsiteY50619"/>
              </a:cxn>
              <a:cxn ang="0">
                <a:pos x="connsiteX50620" y="connsiteY50620"/>
              </a:cxn>
              <a:cxn ang="0">
                <a:pos x="connsiteX50621" y="connsiteY50621"/>
              </a:cxn>
              <a:cxn ang="0">
                <a:pos x="connsiteX50622" y="connsiteY50622"/>
              </a:cxn>
              <a:cxn ang="0">
                <a:pos x="connsiteX50623" y="connsiteY50623"/>
              </a:cxn>
              <a:cxn ang="0">
                <a:pos x="connsiteX50624" y="connsiteY50624"/>
              </a:cxn>
              <a:cxn ang="0">
                <a:pos x="connsiteX50625" y="connsiteY50625"/>
              </a:cxn>
              <a:cxn ang="0">
                <a:pos x="connsiteX50626" y="connsiteY50626"/>
              </a:cxn>
              <a:cxn ang="0">
                <a:pos x="connsiteX50627" y="connsiteY50627"/>
              </a:cxn>
              <a:cxn ang="0">
                <a:pos x="connsiteX50628" y="connsiteY50628"/>
              </a:cxn>
              <a:cxn ang="0">
                <a:pos x="connsiteX50629" y="connsiteY50629"/>
              </a:cxn>
              <a:cxn ang="0">
                <a:pos x="connsiteX50630" y="connsiteY50630"/>
              </a:cxn>
              <a:cxn ang="0">
                <a:pos x="connsiteX50631" y="connsiteY50631"/>
              </a:cxn>
              <a:cxn ang="0">
                <a:pos x="connsiteX50632" y="connsiteY50632"/>
              </a:cxn>
              <a:cxn ang="0">
                <a:pos x="connsiteX50633" y="connsiteY50633"/>
              </a:cxn>
              <a:cxn ang="0">
                <a:pos x="connsiteX50634" y="connsiteY50634"/>
              </a:cxn>
              <a:cxn ang="0">
                <a:pos x="connsiteX50635" y="connsiteY50635"/>
              </a:cxn>
              <a:cxn ang="0">
                <a:pos x="connsiteX50636" y="connsiteY50636"/>
              </a:cxn>
              <a:cxn ang="0">
                <a:pos x="connsiteX50637" y="connsiteY50637"/>
              </a:cxn>
              <a:cxn ang="0">
                <a:pos x="connsiteX50638" y="connsiteY50638"/>
              </a:cxn>
              <a:cxn ang="0">
                <a:pos x="connsiteX50639" y="connsiteY50639"/>
              </a:cxn>
              <a:cxn ang="0">
                <a:pos x="connsiteX50640" y="connsiteY50640"/>
              </a:cxn>
              <a:cxn ang="0">
                <a:pos x="connsiteX50641" y="connsiteY50641"/>
              </a:cxn>
              <a:cxn ang="0">
                <a:pos x="connsiteX50642" y="connsiteY50642"/>
              </a:cxn>
              <a:cxn ang="0">
                <a:pos x="connsiteX50643" y="connsiteY50643"/>
              </a:cxn>
              <a:cxn ang="0">
                <a:pos x="connsiteX50644" y="connsiteY50644"/>
              </a:cxn>
              <a:cxn ang="0">
                <a:pos x="connsiteX50645" y="connsiteY50645"/>
              </a:cxn>
              <a:cxn ang="0">
                <a:pos x="connsiteX50646" y="connsiteY50646"/>
              </a:cxn>
              <a:cxn ang="0">
                <a:pos x="connsiteX50647" y="connsiteY50647"/>
              </a:cxn>
              <a:cxn ang="0">
                <a:pos x="connsiteX50648" y="connsiteY50648"/>
              </a:cxn>
              <a:cxn ang="0">
                <a:pos x="connsiteX50649" y="connsiteY50649"/>
              </a:cxn>
              <a:cxn ang="0">
                <a:pos x="connsiteX50650" y="connsiteY50650"/>
              </a:cxn>
              <a:cxn ang="0">
                <a:pos x="connsiteX50651" y="connsiteY50651"/>
              </a:cxn>
              <a:cxn ang="0">
                <a:pos x="connsiteX50652" y="connsiteY50652"/>
              </a:cxn>
              <a:cxn ang="0">
                <a:pos x="connsiteX50653" y="connsiteY50653"/>
              </a:cxn>
              <a:cxn ang="0">
                <a:pos x="connsiteX50654" y="connsiteY50654"/>
              </a:cxn>
              <a:cxn ang="0">
                <a:pos x="connsiteX50655" y="connsiteY50655"/>
              </a:cxn>
              <a:cxn ang="0">
                <a:pos x="connsiteX50656" y="connsiteY50656"/>
              </a:cxn>
              <a:cxn ang="0">
                <a:pos x="connsiteX50657" y="connsiteY50657"/>
              </a:cxn>
              <a:cxn ang="0">
                <a:pos x="connsiteX50658" y="connsiteY50658"/>
              </a:cxn>
              <a:cxn ang="0">
                <a:pos x="connsiteX50659" y="connsiteY50659"/>
              </a:cxn>
              <a:cxn ang="0">
                <a:pos x="connsiteX50660" y="connsiteY50660"/>
              </a:cxn>
              <a:cxn ang="0">
                <a:pos x="connsiteX50661" y="connsiteY50661"/>
              </a:cxn>
              <a:cxn ang="0">
                <a:pos x="connsiteX50662" y="connsiteY50662"/>
              </a:cxn>
              <a:cxn ang="0">
                <a:pos x="connsiteX50663" y="connsiteY50663"/>
              </a:cxn>
              <a:cxn ang="0">
                <a:pos x="connsiteX50664" y="connsiteY50664"/>
              </a:cxn>
              <a:cxn ang="0">
                <a:pos x="connsiteX50665" y="connsiteY50665"/>
              </a:cxn>
              <a:cxn ang="0">
                <a:pos x="connsiteX50666" y="connsiteY50666"/>
              </a:cxn>
              <a:cxn ang="0">
                <a:pos x="connsiteX50667" y="connsiteY50667"/>
              </a:cxn>
              <a:cxn ang="0">
                <a:pos x="connsiteX50668" y="connsiteY50668"/>
              </a:cxn>
              <a:cxn ang="0">
                <a:pos x="connsiteX50669" y="connsiteY50669"/>
              </a:cxn>
              <a:cxn ang="0">
                <a:pos x="connsiteX50670" y="connsiteY50670"/>
              </a:cxn>
              <a:cxn ang="0">
                <a:pos x="connsiteX50671" y="connsiteY50671"/>
              </a:cxn>
              <a:cxn ang="0">
                <a:pos x="connsiteX50672" y="connsiteY50672"/>
              </a:cxn>
              <a:cxn ang="0">
                <a:pos x="connsiteX50673" y="connsiteY50673"/>
              </a:cxn>
              <a:cxn ang="0">
                <a:pos x="connsiteX50674" y="connsiteY50674"/>
              </a:cxn>
              <a:cxn ang="0">
                <a:pos x="connsiteX50675" y="connsiteY50675"/>
              </a:cxn>
              <a:cxn ang="0">
                <a:pos x="connsiteX50676" y="connsiteY50676"/>
              </a:cxn>
              <a:cxn ang="0">
                <a:pos x="connsiteX50677" y="connsiteY50677"/>
              </a:cxn>
              <a:cxn ang="0">
                <a:pos x="connsiteX50678" y="connsiteY50678"/>
              </a:cxn>
              <a:cxn ang="0">
                <a:pos x="connsiteX50679" y="connsiteY50679"/>
              </a:cxn>
              <a:cxn ang="0">
                <a:pos x="connsiteX50680" y="connsiteY50680"/>
              </a:cxn>
              <a:cxn ang="0">
                <a:pos x="connsiteX50681" y="connsiteY50681"/>
              </a:cxn>
              <a:cxn ang="0">
                <a:pos x="connsiteX50682" y="connsiteY50682"/>
              </a:cxn>
              <a:cxn ang="0">
                <a:pos x="connsiteX50683" y="connsiteY50683"/>
              </a:cxn>
              <a:cxn ang="0">
                <a:pos x="connsiteX50684" y="connsiteY50684"/>
              </a:cxn>
              <a:cxn ang="0">
                <a:pos x="connsiteX50685" y="connsiteY50685"/>
              </a:cxn>
              <a:cxn ang="0">
                <a:pos x="connsiteX50686" y="connsiteY50686"/>
              </a:cxn>
              <a:cxn ang="0">
                <a:pos x="connsiteX50687" y="connsiteY50687"/>
              </a:cxn>
              <a:cxn ang="0">
                <a:pos x="connsiteX50688" y="connsiteY50688"/>
              </a:cxn>
              <a:cxn ang="0">
                <a:pos x="connsiteX50689" y="connsiteY50689"/>
              </a:cxn>
              <a:cxn ang="0">
                <a:pos x="connsiteX50690" y="connsiteY50690"/>
              </a:cxn>
              <a:cxn ang="0">
                <a:pos x="connsiteX50691" y="connsiteY50691"/>
              </a:cxn>
              <a:cxn ang="0">
                <a:pos x="connsiteX50692" y="connsiteY50692"/>
              </a:cxn>
              <a:cxn ang="0">
                <a:pos x="connsiteX50693" y="connsiteY50693"/>
              </a:cxn>
              <a:cxn ang="0">
                <a:pos x="connsiteX50694" y="connsiteY50694"/>
              </a:cxn>
              <a:cxn ang="0">
                <a:pos x="connsiteX50695" y="connsiteY50695"/>
              </a:cxn>
              <a:cxn ang="0">
                <a:pos x="connsiteX50696" y="connsiteY50696"/>
              </a:cxn>
              <a:cxn ang="0">
                <a:pos x="connsiteX50697" y="connsiteY50697"/>
              </a:cxn>
              <a:cxn ang="0">
                <a:pos x="connsiteX50698" y="connsiteY50698"/>
              </a:cxn>
              <a:cxn ang="0">
                <a:pos x="connsiteX50699" y="connsiteY50699"/>
              </a:cxn>
              <a:cxn ang="0">
                <a:pos x="connsiteX50700" y="connsiteY50700"/>
              </a:cxn>
              <a:cxn ang="0">
                <a:pos x="connsiteX50701" y="connsiteY50701"/>
              </a:cxn>
              <a:cxn ang="0">
                <a:pos x="connsiteX50702" y="connsiteY50702"/>
              </a:cxn>
              <a:cxn ang="0">
                <a:pos x="connsiteX50703" y="connsiteY50703"/>
              </a:cxn>
              <a:cxn ang="0">
                <a:pos x="connsiteX50704" y="connsiteY50704"/>
              </a:cxn>
              <a:cxn ang="0">
                <a:pos x="connsiteX50705" y="connsiteY50705"/>
              </a:cxn>
              <a:cxn ang="0">
                <a:pos x="connsiteX50706" y="connsiteY50706"/>
              </a:cxn>
              <a:cxn ang="0">
                <a:pos x="connsiteX50707" y="connsiteY50707"/>
              </a:cxn>
              <a:cxn ang="0">
                <a:pos x="connsiteX50708" y="connsiteY50708"/>
              </a:cxn>
              <a:cxn ang="0">
                <a:pos x="connsiteX50709" y="connsiteY50709"/>
              </a:cxn>
              <a:cxn ang="0">
                <a:pos x="connsiteX50710" y="connsiteY50710"/>
              </a:cxn>
              <a:cxn ang="0">
                <a:pos x="connsiteX50711" y="connsiteY50711"/>
              </a:cxn>
              <a:cxn ang="0">
                <a:pos x="connsiteX50712" y="connsiteY50712"/>
              </a:cxn>
              <a:cxn ang="0">
                <a:pos x="connsiteX50713" y="connsiteY50713"/>
              </a:cxn>
              <a:cxn ang="0">
                <a:pos x="connsiteX50714" y="connsiteY50714"/>
              </a:cxn>
              <a:cxn ang="0">
                <a:pos x="connsiteX50715" y="connsiteY50715"/>
              </a:cxn>
              <a:cxn ang="0">
                <a:pos x="connsiteX50716" y="connsiteY50716"/>
              </a:cxn>
              <a:cxn ang="0">
                <a:pos x="connsiteX50717" y="connsiteY50717"/>
              </a:cxn>
              <a:cxn ang="0">
                <a:pos x="connsiteX50718" y="connsiteY50718"/>
              </a:cxn>
              <a:cxn ang="0">
                <a:pos x="connsiteX50719" y="connsiteY50719"/>
              </a:cxn>
              <a:cxn ang="0">
                <a:pos x="connsiteX50720" y="connsiteY50720"/>
              </a:cxn>
              <a:cxn ang="0">
                <a:pos x="connsiteX50721" y="connsiteY50721"/>
              </a:cxn>
              <a:cxn ang="0">
                <a:pos x="connsiteX50722" y="connsiteY50722"/>
              </a:cxn>
              <a:cxn ang="0">
                <a:pos x="connsiteX50723" y="connsiteY50723"/>
              </a:cxn>
              <a:cxn ang="0">
                <a:pos x="connsiteX50724" y="connsiteY50724"/>
              </a:cxn>
              <a:cxn ang="0">
                <a:pos x="connsiteX50725" y="connsiteY50725"/>
              </a:cxn>
              <a:cxn ang="0">
                <a:pos x="connsiteX50726" y="connsiteY50726"/>
              </a:cxn>
              <a:cxn ang="0">
                <a:pos x="connsiteX50727" y="connsiteY50727"/>
              </a:cxn>
              <a:cxn ang="0">
                <a:pos x="connsiteX50728" y="connsiteY50728"/>
              </a:cxn>
              <a:cxn ang="0">
                <a:pos x="connsiteX50729" y="connsiteY50729"/>
              </a:cxn>
              <a:cxn ang="0">
                <a:pos x="connsiteX50730" y="connsiteY50730"/>
              </a:cxn>
              <a:cxn ang="0">
                <a:pos x="connsiteX50731" y="connsiteY50731"/>
              </a:cxn>
              <a:cxn ang="0">
                <a:pos x="connsiteX50732" y="connsiteY50732"/>
              </a:cxn>
              <a:cxn ang="0">
                <a:pos x="connsiteX50733" y="connsiteY50733"/>
              </a:cxn>
              <a:cxn ang="0">
                <a:pos x="connsiteX50734" y="connsiteY50734"/>
              </a:cxn>
              <a:cxn ang="0">
                <a:pos x="connsiteX50735" y="connsiteY50735"/>
              </a:cxn>
              <a:cxn ang="0">
                <a:pos x="connsiteX50736" y="connsiteY50736"/>
              </a:cxn>
              <a:cxn ang="0">
                <a:pos x="connsiteX50737" y="connsiteY50737"/>
              </a:cxn>
              <a:cxn ang="0">
                <a:pos x="connsiteX50738" y="connsiteY50738"/>
              </a:cxn>
              <a:cxn ang="0">
                <a:pos x="connsiteX50739" y="connsiteY50739"/>
              </a:cxn>
              <a:cxn ang="0">
                <a:pos x="connsiteX50740" y="connsiteY50740"/>
              </a:cxn>
              <a:cxn ang="0">
                <a:pos x="connsiteX50741" y="connsiteY50741"/>
              </a:cxn>
              <a:cxn ang="0">
                <a:pos x="connsiteX50742" y="connsiteY50742"/>
              </a:cxn>
              <a:cxn ang="0">
                <a:pos x="connsiteX50743" y="connsiteY50743"/>
              </a:cxn>
              <a:cxn ang="0">
                <a:pos x="connsiteX50744" y="connsiteY50744"/>
              </a:cxn>
              <a:cxn ang="0">
                <a:pos x="connsiteX50745" y="connsiteY50745"/>
              </a:cxn>
              <a:cxn ang="0">
                <a:pos x="connsiteX50746" y="connsiteY50746"/>
              </a:cxn>
              <a:cxn ang="0">
                <a:pos x="connsiteX50747" y="connsiteY50747"/>
              </a:cxn>
              <a:cxn ang="0">
                <a:pos x="connsiteX50748" y="connsiteY50748"/>
              </a:cxn>
              <a:cxn ang="0">
                <a:pos x="connsiteX50749" y="connsiteY50749"/>
              </a:cxn>
              <a:cxn ang="0">
                <a:pos x="connsiteX50750" y="connsiteY50750"/>
              </a:cxn>
              <a:cxn ang="0">
                <a:pos x="connsiteX50751" y="connsiteY50751"/>
              </a:cxn>
              <a:cxn ang="0">
                <a:pos x="connsiteX50752" y="connsiteY50752"/>
              </a:cxn>
              <a:cxn ang="0">
                <a:pos x="connsiteX50753" y="connsiteY50753"/>
              </a:cxn>
              <a:cxn ang="0">
                <a:pos x="connsiteX50754" y="connsiteY50754"/>
              </a:cxn>
              <a:cxn ang="0">
                <a:pos x="connsiteX50755" y="connsiteY50755"/>
              </a:cxn>
              <a:cxn ang="0">
                <a:pos x="connsiteX50756" y="connsiteY50756"/>
              </a:cxn>
              <a:cxn ang="0">
                <a:pos x="connsiteX50757" y="connsiteY50757"/>
              </a:cxn>
              <a:cxn ang="0">
                <a:pos x="connsiteX50758" y="connsiteY50758"/>
              </a:cxn>
              <a:cxn ang="0">
                <a:pos x="connsiteX50759" y="connsiteY50759"/>
              </a:cxn>
              <a:cxn ang="0">
                <a:pos x="connsiteX50760" y="connsiteY50760"/>
              </a:cxn>
              <a:cxn ang="0">
                <a:pos x="connsiteX50761" y="connsiteY50761"/>
              </a:cxn>
              <a:cxn ang="0">
                <a:pos x="connsiteX50762" y="connsiteY50762"/>
              </a:cxn>
              <a:cxn ang="0">
                <a:pos x="connsiteX50763" y="connsiteY50763"/>
              </a:cxn>
              <a:cxn ang="0">
                <a:pos x="connsiteX50764" y="connsiteY50764"/>
              </a:cxn>
              <a:cxn ang="0">
                <a:pos x="connsiteX50765" y="connsiteY50765"/>
              </a:cxn>
              <a:cxn ang="0">
                <a:pos x="connsiteX50766" y="connsiteY50766"/>
              </a:cxn>
              <a:cxn ang="0">
                <a:pos x="connsiteX50767" y="connsiteY50767"/>
              </a:cxn>
              <a:cxn ang="0">
                <a:pos x="connsiteX50768" y="connsiteY50768"/>
              </a:cxn>
              <a:cxn ang="0">
                <a:pos x="connsiteX50769" y="connsiteY50769"/>
              </a:cxn>
              <a:cxn ang="0">
                <a:pos x="connsiteX50770" y="connsiteY50770"/>
              </a:cxn>
              <a:cxn ang="0">
                <a:pos x="connsiteX50771" y="connsiteY50771"/>
              </a:cxn>
              <a:cxn ang="0">
                <a:pos x="connsiteX50772" y="connsiteY50772"/>
              </a:cxn>
              <a:cxn ang="0">
                <a:pos x="connsiteX50773" y="connsiteY50773"/>
              </a:cxn>
              <a:cxn ang="0">
                <a:pos x="connsiteX50774" y="connsiteY50774"/>
              </a:cxn>
              <a:cxn ang="0">
                <a:pos x="connsiteX50775" y="connsiteY50775"/>
              </a:cxn>
              <a:cxn ang="0">
                <a:pos x="connsiteX50776" y="connsiteY50776"/>
              </a:cxn>
              <a:cxn ang="0">
                <a:pos x="connsiteX50777" y="connsiteY50777"/>
              </a:cxn>
              <a:cxn ang="0">
                <a:pos x="connsiteX50778" y="connsiteY50778"/>
              </a:cxn>
              <a:cxn ang="0">
                <a:pos x="connsiteX50779" y="connsiteY50779"/>
              </a:cxn>
              <a:cxn ang="0">
                <a:pos x="connsiteX50780" y="connsiteY50780"/>
              </a:cxn>
              <a:cxn ang="0">
                <a:pos x="connsiteX50781" y="connsiteY50781"/>
              </a:cxn>
              <a:cxn ang="0">
                <a:pos x="connsiteX50782" y="connsiteY50782"/>
              </a:cxn>
              <a:cxn ang="0">
                <a:pos x="connsiteX50783" y="connsiteY50783"/>
              </a:cxn>
              <a:cxn ang="0">
                <a:pos x="connsiteX50784" y="connsiteY50784"/>
              </a:cxn>
              <a:cxn ang="0">
                <a:pos x="connsiteX50785" y="connsiteY50785"/>
              </a:cxn>
              <a:cxn ang="0">
                <a:pos x="connsiteX50786" y="connsiteY50786"/>
              </a:cxn>
              <a:cxn ang="0">
                <a:pos x="connsiteX50787" y="connsiteY50787"/>
              </a:cxn>
              <a:cxn ang="0">
                <a:pos x="connsiteX50788" y="connsiteY50788"/>
              </a:cxn>
              <a:cxn ang="0">
                <a:pos x="connsiteX50789" y="connsiteY50789"/>
              </a:cxn>
              <a:cxn ang="0">
                <a:pos x="connsiteX50790" y="connsiteY50790"/>
              </a:cxn>
              <a:cxn ang="0">
                <a:pos x="connsiteX50791" y="connsiteY50791"/>
              </a:cxn>
              <a:cxn ang="0">
                <a:pos x="connsiteX50792" y="connsiteY50792"/>
              </a:cxn>
              <a:cxn ang="0">
                <a:pos x="connsiteX50793" y="connsiteY50793"/>
              </a:cxn>
              <a:cxn ang="0">
                <a:pos x="connsiteX50794" y="connsiteY50794"/>
              </a:cxn>
              <a:cxn ang="0">
                <a:pos x="connsiteX50795" y="connsiteY50795"/>
              </a:cxn>
              <a:cxn ang="0">
                <a:pos x="connsiteX50796" y="connsiteY50796"/>
              </a:cxn>
              <a:cxn ang="0">
                <a:pos x="connsiteX50797" y="connsiteY50797"/>
              </a:cxn>
              <a:cxn ang="0">
                <a:pos x="connsiteX50798" y="connsiteY50798"/>
              </a:cxn>
              <a:cxn ang="0">
                <a:pos x="connsiteX50799" y="connsiteY50799"/>
              </a:cxn>
              <a:cxn ang="0">
                <a:pos x="connsiteX50800" y="connsiteY50800"/>
              </a:cxn>
              <a:cxn ang="0">
                <a:pos x="connsiteX50801" y="connsiteY50801"/>
              </a:cxn>
              <a:cxn ang="0">
                <a:pos x="connsiteX50802" y="connsiteY50802"/>
              </a:cxn>
              <a:cxn ang="0">
                <a:pos x="connsiteX50803" y="connsiteY50803"/>
              </a:cxn>
              <a:cxn ang="0">
                <a:pos x="connsiteX50804" y="connsiteY50804"/>
              </a:cxn>
              <a:cxn ang="0">
                <a:pos x="connsiteX50805" y="connsiteY50805"/>
              </a:cxn>
              <a:cxn ang="0">
                <a:pos x="connsiteX50806" y="connsiteY50806"/>
              </a:cxn>
              <a:cxn ang="0">
                <a:pos x="connsiteX50807" y="connsiteY50807"/>
              </a:cxn>
              <a:cxn ang="0">
                <a:pos x="connsiteX50808" y="connsiteY50808"/>
              </a:cxn>
              <a:cxn ang="0">
                <a:pos x="connsiteX50809" y="connsiteY50809"/>
              </a:cxn>
              <a:cxn ang="0">
                <a:pos x="connsiteX50810" y="connsiteY50810"/>
              </a:cxn>
              <a:cxn ang="0">
                <a:pos x="connsiteX50811" y="connsiteY50811"/>
              </a:cxn>
              <a:cxn ang="0">
                <a:pos x="connsiteX50812" y="connsiteY50812"/>
              </a:cxn>
              <a:cxn ang="0">
                <a:pos x="connsiteX50813" y="connsiteY50813"/>
              </a:cxn>
              <a:cxn ang="0">
                <a:pos x="connsiteX50814" y="connsiteY50814"/>
              </a:cxn>
              <a:cxn ang="0">
                <a:pos x="connsiteX50815" y="connsiteY50815"/>
              </a:cxn>
              <a:cxn ang="0">
                <a:pos x="connsiteX50816" y="connsiteY50816"/>
              </a:cxn>
              <a:cxn ang="0">
                <a:pos x="connsiteX50817" y="connsiteY50817"/>
              </a:cxn>
              <a:cxn ang="0">
                <a:pos x="connsiteX50818" y="connsiteY50818"/>
              </a:cxn>
              <a:cxn ang="0">
                <a:pos x="connsiteX50819" y="connsiteY50819"/>
              </a:cxn>
              <a:cxn ang="0">
                <a:pos x="connsiteX50820" y="connsiteY50820"/>
              </a:cxn>
              <a:cxn ang="0">
                <a:pos x="connsiteX50821" y="connsiteY50821"/>
              </a:cxn>
              <a:cxn ang="0">
                <a:pos x="connsiteX50822" y="connsiteY50822"/>
              </a:cxn>
              <a:cxn ang="0">
                <a:pos x="connsiteX50823" y="connsiteY50823"/>
              </a:cxn>
              <a:cxn ang="0">
                <a:pos x="connsiteX50824" y="connsiteY50824"/>
              </a:cxn>
              <a:cxn ang="0">
                <a:pos x="connsiteX50825" y="connsiteY50825"/>
              </a:cxn>
              <a:cxn ang="0">
                <a:pos x="connsiteX50826" y="connsiteY50826"/>
              </a:cxn>
              <a:cxn ang="0">
                <a:pos x="connsiteX50827" y="connsiteY50827"/>
              </a:cxn>
              <a:cxn ang="0">
                <a:pos x="connsiteX50828" y="connsiteY50828"/>
              </a:cxn>
              <a:cxn ang="0">
                <a:pos x="connsiteX50829" y="connsiteY50829"/>
              </a:cxn>
              <a:cxn ang="0">
                <a:pos x="connsiteX50830" y="connsiteY50830"/>
              </a:cxn>
              <a:cxn ang="0">
                <a:pos x="connsiteX50831" y="connsiteY50831"/>
              </a:cxn>
              <a:cxn ang="0">
                <a:pos x="connsiteX50832" y="connsiteY50832"/>
              </a:cxn>
              <a:cxn ang="0">
                <a:pos x="connsiteX50833" y="connsiteY50833"/>
              </a:cxn>
              <a:cxn ang="0">
                <a:pos x="connsiteX50834" y="connsiteY50834"/>
              </a:cxn>
              <a:cxn ang="0">
                <a:pos x="connsiteX50835" y="connsiteY50835"/>
              </a:cxn>
              <a:cxn ang="0">
                <a:pos x="connsiteX50836" y="connsiteY50836"/>
              </a:cxn>
              <a:cxn ang="0">
                <a:pos x="connsiteX50837" y="connsiteY50837"/>
              </a:cxn>
              <a:cxn ang="0">
                <a:pos x="connsiteX50838" y="connsiteY50838"/>
              </a:cxn>
              <a:cxn ang="0">
                <a:pos x="connsiteX50839" y="connsiteY50839"/>
              </a:cxn>
              <a:cxn ang="0">
                <a:pos x="connsiteX50840" y="connsiteY50840"/>
              </a:cxn>
              <a:cxn ang="0">
                <a:pos x="connsiteX50841" y="connsiteY50841"/>
              </a:cxn>
              <a:cxn ang="0">
                <a:pos x="connsiteX50842" y="connsiteY50842"/>
              </a:cxn>
              <a:cxn ang="0">
                <a:pos x="connsiteX50843" y="connsiteY50843"/>
              </a:cxn>
              <a:cxn ang="0">
                <a:pos x="connsiteX50844" y="connsiteY50844"/>
              </a:cxn>
              <a:cxn ang="0">
                <a:pos x="connsiteX50845" y="connsiteY50845"/>
              </a:cxn>
              <a:cxn ang="0">
                <a:pos x="connsiteX50846" y="connsiteY50846"/>
              </a:cxn>
              <a:cxn ang="0">
                <a:pos x="connsiteX50847" y="connsiteY50847"/>
              </a:cxn>
              <a:cxn ang="0">
                <a:pos x="connsiteX50848" y="connsiteY50848"/>
              </a:cxn>
              <a:cxn ang="0">
                <a:pos x="connsiteX50849" y="connsiteY50849"/>
              </a:cxn>
              <a:cxn ang="0">
                <a:pos x="connsiteX50850" y="connsiteY50850"/>
              </a:cxn>
              <a:cxn ang="0">
                <a:pos x="connsiteX50851" y="connsiteY50851"/>
              </a:cxn>
              <a:cxn ang="0">
                <a:pos x="connsiteX50852" y="connsiteY50852"/>
              </a:cxn>
              <a:cxn ang="0">
                <a:pos x="connsiteX50853" y="connsiteY50853"/>
              </a:cxn>
              <a:cxn ang="0">
                <a:pos x="connsiteX50854" y="connsiteY50854"/>
              </a:cxn>
              <a:cxn ang="0">
                <a:pos x="connsiteX50855" y="connsiteY50855"/>
              </a:cxn>
              <a:cxn ang="0">
                <a:pos x="connsiteX50856" y="connsiteY50856"/>
              </a:cxn>
              <a:cxn ang="0">
                <a:pos x="connsiteX50857" y="connsiteY50857"/>
              </a:cxn>
              <a:cxn ang="0">
                <a:pos x="connsiteX50858" y="connsiteY50858"/>
              </a:cxn>
              <a:cxn ang="0">
                <a:pos x="connsiteX50859" y="connsiteY50859"/>
              </a:cxn>
              <a:cxn ang="0">
                <a:pos x="connsiteX50860" y="connsiteY50860"/>
              </a:cxn>
              <a:cxn ang="0">
                <a:pos x="connsiteX50861" y="connsiteY50861"/>
              </a:cxn>
              <a:cxn ang="0">
                <a:pos x="connsiteX50862" y="connsiteY50862"/>
              </a:cxn>
              <a:cxn ang="0">
                <a:pos x="connsiteX50863" y="connsiteY50863"/>
              </a:cxn>
              <a:cxn ang="0">
                <a:pos x="connsiteX50864" y="connsiteY50864"/>
              </a:cxn>
              <a:cxn ang="0">
                <a:pos x="connsiteX50865" y="connsiteY50865"/>
              </a:cxn>
              <a:cxn ang="0">
                <a:pos x="connsiteX50866" y="connsiteY50866"/>
              </a:cxn>
              <a:cxn ang="0">
                <a:pos x="connsiteX50867" y="connsiteY50867"/>
              </a:cxn>
              <a:cxn ang="0">
                <a:pos x="connsiteX50868" y="connsiteY50868"/>
              </a:cxn>
              <a:cxn ang="0">
                <a:pos x="connsiteX50869" y="connsiteY50869"/>
              </a:cxn>
              <a:cxn ang="0">
                <a:pos x="connsiteX50870" y="connsiteY50870"/>
              </a:cxn>
              <a:cxn ang="0">
                <a:pos x="connsiteX50871" y="connsiteY50871"/>
              </a:cxn>
              <a:cxn ang="0">
                <a:pos x="connsiteX50872" y="connsiteY50872"/>
              </a:cxn>
              <a:cxn ang="0">
                <a:pos x="connsiteX50873" y="connsiteY50873"/>
              </a:cxn>
              <a:cxn ang="0">
                <a:pos x="connsiteX50874" y="connsiteY50874"/>
              </a:cxn>
              <a:cxn ang="0">
                <a:pos x="connsiteX50875" y="connsiteY50875"/>
              </a:cxn>
              <a:cxn ang="0">
                <a:pos x="connsiteX50876" y="connsiteY50876"/>
              </a:cxn>
              <a:cxn ang="0">
                <a:pos x="connsiteX50877" y="connsiteY50877"/>
              </a:cxn>
              <a:cxn ang="0">
                <a:pos x="connsiteX50878" y="connsiteY50878"/>
              </a:cxn>
              <a:cxn ang="0">
                <a:pos x="connsiteX50879" y="connsiteY50879"/>
              </a:cxn>
              <a:cxn ang="0">
                <a:pos x="connsiteX50880" y="connsiteY50880"/>
              </a:cxn>
              <a:cxn ang="0">
                <a:pos x="connsiteX50881" y="connsiteY50881"/>
              </a:cxn>
              <a:cxn ang="0">
                <a:pos x="connsiteX50882" y="connsiteY50882"/>
              </a:cxn>
              <a:cxn ang="0">
                <a:pos x="connsiteX50883" y="connsiteY50883"/>
              </a:cxn>
              <a:cxn ang="0">
                <a:pos x="connsiteX50884" y="connsiteY50884"/>
              </a:cxn>
              <a:cxn ang="0">
                <a:pos x="connsiteX50885" y="connsiteY50885"/>
              </a:cxn>
              <a:cxn ang="0">
                <a:pos x="connsiteX50886" y="connsiteY50886"/>
              </a:cxn>
              <a:cxn ang="0">
                <a:pos x="connsiteX50887" y="connsiteY50887"/>
              </a:cxn>
              <a:cxn ang="0">
                <a:pos x="connsiteX50888" y="connsiteY50888"/>
              </a:cxn>
              <a:cxn ang="0">
                <a:pos x="connsiteX50889" y="connsiteY50889"/>
              </a:cxn>
              <a:cxn ang="0">
                <a:pos x="connsiteX50890" y="connsiteY50890"/>
              </a:cxn>
              <a:cxn ang="0">
                <a:pos x="connsiteX50891" y="connsiteY50891"/>
              </a:cxn>
              <a:cxn ang="0">
                <a:pos x="connsiteX50892" y="connsiteY50892"/>
              </a:cxn>
              <a:cxn ang="0">
                <a:pos x="connsiteX50893" y="connsiteY50893"/>
              </a:cxn>
              <a:cxn ang="0">
                <a:pos x="connsiteX50894" y="connsiteY50894"/>
              </a:cxn>
              <a:cxn ang="0">
                <a:pos x="connsiteX50895" y="connsiteY50895"/>
              </a:cxn>
              <a:cxn ang="0">
                <a:pos x="connsiteX50896" y="connsiteY50896"/>
              </a:cxn>
              <a:cxn ang="0">
                <a:pos x="connsiteX50897" y="connsiteY50897"/>
              </a:cxn>
              <a:cxn ang="0">
                <a:pos x="connsiteX50898" y="connsiteY50898"/>
              </a:cxn>
              <a:cxn ang="0">
                <a:pos x="connsiteX50899" y="connsiteY50899"/>
              </a:cxn>
              <a:cxn ang="0">
                <a:pos x="connsiteX50900" y="connsiteY50900"/>
              </a:cxn>
              <a:cxn ang="0">
                <a:pos x="connsiteX50901" y="connsiteY50901"/>
              </a:cxn>
              <a:cxn ang="0">
                <a:pos x="connsiteX50902" y="connsiteY50902"/>
              </a:cxn>
              <a:cxn ang="0">
                <a:pos x="connsiteX50903" y="connsiteY50903"/>
              </a:cxn>
              <a:cxn ang="0">
                <a:pos x="connsiteX50904" y="connsiteY50904"/>
              </a:cxn>
              <a:cxn ang="0">
                <a:pos x="connsiteX50905" y="connsiteY50905"/>
              </a:cxn>
              <a:cxn ang="0">
                <a:pos x="connsiteX50906" y="connsiteY50906"/>
              </a:cxn>
              <a:cxn ang="0">
                <a:pos x="connsiteX50907" y="connsiteY50907"/>
              </a:cxn>
              <a:cxn ang="0">
                <a:pos x="connsiteX50908" y="connsiteY50908"/>
              </a:cxn>
              <a:cxn ang="0">
                <a:pos x="connsiteX50909" y="connsiteY50909"/>
              </a:cxn>
              <a:cxn ang="0">
                <a:pos x="connsiteX50910" y="connsiteY50910"/>
              </a:cxn>
              <a:cxn ang="0">
                <a:pos x="connsiteX50911" y="connsiteY50911"/>
              </a:cxn>
              <a:cxn ang="0">
                <a:pos x="connsiteX50912" y="connsiteY50912"/>
              </a:cxn>
              <a:cxn ang="0">
                <a:pos x="connsiteX50913" y="connsiteY50913"/>
              </a:cxn>
              <a:cxn ang="0">
                <a:pos x="connsiteX50914" y="connsiteY50914"/>
              </a:cxn>
              <a:cxn ang="0">
                <a:pos x="connsiteX50915" y="connsiteY50915"/>
              </a:cxn>
              <a:cxn ang="0">
                <a:pos x="connsiteX50916" y="connsiteY50916"/>
              </a:cxn>
              <a:cxn ang="0">
                <a:pos x="connsiteX50917" y="connsiteY50917"/>
              </a:cxn>
              <a:cxn ang="0">
                <a:pos x="connsiteX50918" y="connsiteY50918"/>
              </a:cxn>
              <a:cxn ang="0">
                <a:pos x="connsiteX50919" y="connsiteY50919"/>
              </a:cxn>
              <a:cxn ang="0">
                <a:pos x="connsiteX50920" y="connsiteY50920"/>
              </a:cxn>
              <a:cxn ang="0">
                <a:pos x="connsiteX50921" y="connsiteY50921"/>
              </a:cxn>
              <a:cxn ang="0">
                <a:pos x="connsiteX50922" y="connsiteY50922"/>
              </a:cxn>
              <a:cxn ang="0">
                <a:pos x="connsiteX50923" y="connsiteY50923"/>
              </a:cxn>
              <a:cxn ang="0">
                <a:pos x="connsiteX50924" y="connsiteY50924"/>
              </a:cxn>
              <a:cxn ang="0">
                <a:pos x="connsiteX50925" y="connsiteY50925"/>
              </a:cxn>
              <a:cxn ang="0">
                <a:pos x="connsiteX50926" y="connsiteY50926"/>
              </a:cxn>
              <a:cxn ang="0">
                <a:pos x="connsiteX50927" y="connsiteY50927"/>
              </a:cxn>
              <a:cxn ang="0">
                <a:pos x="connsiteX50928" y="connsiteY50928"/>
              </a:cxn>
              <a:cxn ang="0">
                <a:pos x="connsiteX50929" y="connsiteY50929"/>
              </a:cxn>
              <a:cxn ang="0">
                <a:pos x="connsiteX50930" y="connsiteY50930"/>
              </a:cxn>
              <a:cxn ang="0">
                <a:pos x="connsiteX50931" y="connsiteY50931"/>
              </a:cxn>
              <a:cxn ang="0">
                <a:pos x="connsiteX50932" y="connsiteY50932"/>
              </a:cxn>
              <a:cxn ang="0">
                <a:pos x="connsiteX50933" y="connsiteY50933"/>
              </a:cxn>
              <a:cxn ang="0">
                <a:pos x="connsiteX50934" y="connsiteY50934"/>
              </a:cxn>
              <a:cxn ang="0">
                <a:pos x="connsiteX50935" y="connsiteY50935"/>
              </a:cxn>
              <a:cxn ang="0">
                <a:pos x="connsiteX50936" y="connsiteY50936"/>
              </a:cxn>
              <a:cxn ang="0">
                <a:pos x="connsiteX50937" y="connsiteY50937"/>
              </a:cxn>
              <a:cxn ang="0">
                <a:pos x="connsiteX50938" y="connsiteY50938"/>
              </a:cxn>
              <a:cxn ang="0">
                <a:pos x="connsiteX50939" y="connsiteY50939"/>
              </a:cxn>
              <a:cxn ang="0">
                <a:pos x="connsiteX50940" y="connsiteY50940"/>
              </a:cxn>
              <a:cxn ang="0">
                <a:pos x="connsiteX50941" y="connsiteY50941"/>
              </a:cxn>
              <a:cxn ang="0">
                <a:pos x="connsiteX50942" y="connsiteY50942"/>
              </a:cxn>
              <a:cxn ang="0">
                <a:pos x="connsiteX50943" y="connsiteY50943"/>
              </a:cxn>
              <a:cxn ang="0">
                <a:pos x="connsiteX50944" y="connsiteY50944"/>
              </a:cxn>
              <a:cxn ang="0">
                <a:pos x="connsiteX50945" y="connsiteY50945"/>
              </a:cxn>
              <a:cxn ang="0">
                <a:pos x="connsiteX50946" y="connsiteY50946"/>
              </a:cxn>
              <a:cxn ang="0">
                <a:pos x="connsiteX50947" y="connsiteY50947"/>
              </a:cxn>
              <a:cxn ang="0">
                <a:pos x="connsiteX50948" y="connsiteY50948"/>
              </a:cxn>
              <a:cxn ang="0">
                <a:pos x="connsiteX50949" y="connsiteY50949"/>
              </a:cxn>
              <a:cxn ang="0">
                <a:pos x="connsiteX50950" y="connsiteY50950"/>
              </a:cxn>
              <a:cxn ang="0">
                <a:pos x="connsiteX50951" y="connsiteY50951"/>
              </a:cxn>
              <a:cxn ang="0">
                <a:pos x="connsiteX50952" y="connsiteY50952"/>
              </a:cxn>
              <a:cxn ang="0">
                <a:pos x="connsiteX50953" y="connsiteY50953"/>
              </a:cxn>
              <a:cxn ang="0">
                <a:pos x="connsiteX50954" y="connsiteY50954"/>
              </a:cxn>
              <a:cxn ang="0">
                <a:pos x="connsiteX50955" y="connsiteY50955"/>
              </a:cxn>
              <a:cxn ang="0">
                <a:pos x="connsiteX50956" y="connsiteY50956"/>
              </a:cxn>
              <a:cxn ang="0">
                <a:pos x="connsiteX50957" y="connsiteY50957"/>
              </a:cxn>
              <a:cxn ang="0">
                <a:pos x="connsiteX50958" y="connsiteY50958"/>
              </a:cxn>
              <a:cxn ang="0">
                <a:pos x="connsiteX50959" y="connsiteY50959"/>
              </a:cxn>
              <a:cxn ang="0">
                <a:pos x="connsiteX50960" y="connsiteY50960"/>
              </a:cxn>
              <a:cxn ang="0">
                <a:pos x="connsiteX50961" y="connsiteY50961"/>
              </a:cxn>
              <a:cxn ang="0">
                <a:pos x="connsiteX50962" y="connsiteY50962"/>
              </a:cxn>
              <a:cxn ang="0">
                <a:pos x="connsiteX50963" y="connsiteY50963"/>
              </a:cxn>
              <a:cxn ang="0">
                <a:pos x="connsiteX50964" y="connsiteY50964"/>
              </a:cxn>
              <a:cxn ang="0">
                <a:pos x="connsiteX50965" y="connsiteY50965"/>
              </a:cxn>
              <a:cxn ang="0">
                <a:pos x="connsiteX50966" y="connsiteY50966"/>
              </a:cxn>
              <a:cxn ang="0">
                <a:pos x="connsiteX50967" y="connsiteY50967"/>
              </a:cxn>
              <a:cxn ang="0">
                <a:pos x="connsiteX50968" y="connsiteY50968"/>
              </a:cxn>
              <a:cxn ang="0">
                <a:pos x="connsiteX50969" y="connsiteY50969"/>
              </a:cxn>
              <a:cxn ang="0">
                <a:pos x="connsiteX50970" y="connsiteY50970"/>
              </a:cxn>
              <a:cxn ang="0">
                <a:pos x="connsiteX50971" y="connsiteY50971"/>
              </a:cxn>
              <a:cxn ang="0">
                <a:pos x="connsiteX50972" y="connsiteY50972"/>
              </a:cxn>
              <a:cxn ang="0">
                <a:pos x="connsiteX50973" y="connsiteY50973"/>
              </a:cxn>
              <a:cxn ang="0">
                <a:pos x="connsiteX50974" y="connsiteY50974"/>
              </a:cxn>
              <a:cxn ang="0">
                <a:pos x="connsiteX50975" y="connsiteY50975"/>
              </a:cxn>
              <a:cxn ang="0">
                <a:pos x="connsiteX50976" y="connsiteY50976"/>
              </a:cxn>
              <a:cxn ang="0">
                <a:pos x="connsiteX50977" y="connsiteY50977"/>
              </a:cxn>
              <a:cxn ang="0">
                <a:pos x="connsiteX50978" y="connsiteY50978"/>
              </a:cxn>
              <a:cxn ang="0">
                <a:pos x="connsiteX50979" y="connsiteY50979"/>
              </a:cxn>
              <a:cxn ang="0">
                <a:pos x="connsiteX50980" y="connsiteY50980"/>
              </a:cxn>
              <a:cxn ang="0">
                <a:pos x="connsiteX50981" y="connsiteY50981"/>
              </a:cxn>
              <a:cxn ang="0">
                <a:pos x="connsiteX50982" y="connsiteY50982"/>
              </a:cxn>
              <a:cxn ang="0">
                <a:pos x="connsiteX50983" y="connsiteY50983"/>
              </a:cxn>
              <a:cxn ang="0">
                <a:pos x="connsiteX50984" y="connsiteY50984"/>
              </a:cxn>
              <a:cxn ang="0">
                <a:pos x="connsiteX50985" y="connsiteY50985"/>
              </a:cxn>
              <a:cxn ang="0">
                <a:pos x="connsiteX50986" y="connsiteY50986"/>
              </a:cxn>
              <a:cxn ang="0">
                <a:pos x="connsiteX50987" y="connsiteY50987"/>
              </a:cxn>
              <a:cxn ang="0">
                <a:pos x="connsiteX50988" y="connsiteY50988"/>
              </a:cxn>
              <a:cxn ang="0">
                <a:pos x="connsiteX50989" y="connsiteY50989"/>
              </a:cxn>
              <a:cxn ang="0">
                <a:pos x="connsiteX50990" y="connsiteY50990"/>
              </a:cxn>
              <a:cxn ang="0">
                <a:pos x="connsiteX50991" y="connsiteY50991"/>
              </a:cxn>
              <a:cxn ang="0">
                <a:pos x="connsiteX50992" y="connsiteY50992"/>
              </a:cxn>
              <a:cxn ang="0">
                <a:pos x="connsiteX50993" y="connsiteY50993"/>
              </a:cxn>
              <a:cxn ang="0">
                <a:pos x="connsiteX50994" y="connsiteY50994"/>
              </a:cxn>
              <a:cxn ang="0">
                <a:pos x="connsiteX50995" y="connsiteY50995"/>
              </a:cxn>
              <a:cxn ang="0">
                <a:pos x="connsiteX50996" y="connsiteY50996"/>
              </a:cxn>
              <a:cxn ang="0">
                <a:pos x="connsiteX50997" y="connsiteY50997"/>
              </a:cxn>
              <a:cxn ang="0">
                <a:pos x="connsiteX50998" y="connsiteY50998"/>
              </a:cxn>
              <a:cxn ang="0">
                <a:pos x="connsiteX50999" y="connsiteY50999"/>
              </a:cxn>
              <a:cxn ang="0">
                <a:pos x="connsiteX51000" y="connsiteY51000"/>
              </a:cxn>
              <a:cxn ang="0">
                <a:pos x="connsiteX51001" y="connsiteY51001"/>
              </a:cxn>
              <a:cxn ang="0">
                <a:pos x="connsiteX51002" y="connsiteY51002"/>
              </a:cxn>
              <a:cxn ang="0">
                <a:pos x="connsiteX51003" y="connsiteY51003"/>
              </a:cxn>
              <a:cxn ang="0">
                <a:pos x="connsiteX51004" y="connsiteY51004"/>
              </a:cxn>
              <a:cxn ang="0">
                <a:pos x="connsiteX51005" y="connsiteY51005"/>
              </a:cxn>
              <a:cxn ang="0">
                <a:pos x="connsiteX51006" y="connsiteY51006"/>
              </a:cxn>
              <a:cxn ang="0">
                <a:pos x="connsiteX51007" y="connsiteY51007"/>
              </a:cxn>
              <a:cxn ang="0">
                <a:pos x="connsiteX51008" y="connsiteY51008"/>
              </a:cxn>
              <a:cxn ang="0">
                <a:pos x="connsiteX51009" y="connsiteY51009"/>
              </a:cxn>
              <a:cxn ang="0">
                <a:pos x="connsiteX51010" y="connsiteY51010"/>
              </a:cxn>
              <a:cxn ang="0">
                <a:pos x="connsiteX51011" y="connsiteY51011"/>
              </a:cxn>
              <a:cxn ang="0">
                <a:pos x="connsiteX51012" y="connsiteY51012"/>
              </a:cxn>
              <a:cxn ang="0">
                <a:pos x="connsiteX51013" y="connsiteY51013"/>
              </a:cxn>
              <a:cxn ang="0">
                <a:pos x="connsiteX51014" y="connsiteY51014"/>
              </a:cxn>
              <a:cxn ang="0">
                <a:pos x="connsiteX51015" y="connsiteY51015"/>
              </a:cxn>
              <a:cxn ang="0">
                <a:pos x="connsiteX51016" y="connsiteY51016"/>
              </a:cxn>
              <a:cxn ang="0">
                <a:pos x="connsiteX51017" y="connsiteY51017"/>
              </a:cxn>
              <a:cxn ang="0">
                <a:pos x="connsiteX51018" y="connsiteY51018"/>
              </a:cxn>
              <a:cxn ang="0">
                <a:pos x="connsiteX51019" y="connsiteY51019"/>
              </a:cxn>
              <a:cxn ang="0">
                <a:pos x="connsiteX51020" y="connsiteY51020"/>
              </a:cxn>
              <a:cxn ang="0">
                <a:pos x="connsiteX51021" y="connsiteY51021"/>
              </a:cxn>
              <a:cxn ang="0">
                <a:pos x="connsiteX51022" y="connsiteY51022"/>
              </a:cxn>
              <a:cxn ang="0">
                <a:pos x="connsiteX51023" y="connsiteY51023"/>
              </a:cxn>
              <a:cxn ang="0">
                <a:pos x="connsiteX51024" y="connsiteY51024"/>
              </a:cxn>
              <a:cxn ang="0">
                <a:pos x="connsiteX51025" y="connsiteY51025"/>
              </a:cxn>
              <a:cxn ang="0">
                <a:pos x="connsiteX51026" y="connsiteY51026"/>
              </a:cxn>
              <a:cxn ang="0">
                <a:pos x="connsiteX51027" y="connsiteY51027"/>
              </a:cxn>
              <a:cxn ang="0">
                <a:pos x="connsiteX51028" y="connsiteY51028"/>
              </a:cxn>
              <a:cxn ang="0">
                <a:pos x="connsiteX51029" y="connsiteY51029"/>
              </a:cxn>
              <a:cxn ang="0">
                <a:pos x="connsiteX51030" y="connsiteY51030"/>
              </a:cxn>
              <a:cxn ang="0">
                <a:pos x="connsiteX51031" y="connsiteY51031"/>
              </a:cxn>
              <a:cxn ang="0">
                <a:pos x="connsiteX51032" y="connsiteY51032"/>
              </a:cxn>
              <a:cxn ang="0">
                <a:pos x="connsiteX51033" y="connsiteY51033"/>
              </a:cxn>
              <a:cxn ang="0">
                <a:pos x="connsiteX51034" y="connsiteY51034"/>
              </a:cxn>
              <a:cxn ang="0">
                <a:pos x="connsiteX51035" y="connsiteY51035"/>
              </a:cxn>
              <a:cxn ang="0">
                <a:pos x="connsiteX51036" y="connsiteY51036"/>
              </a:cxn>
              <a:cxn ang="0">
                <a:pos x="connsiteX51037" y="connsiteY51037"/>
              </a:cxn>
              <a:cxn ang="0">
                <a:pos x="connsiteX51038" y="connsiteY51038"/>
              </a:cxn>
              <a:cxn ang="0">
                <a:pos x="connsiteX51039" y="connsiteY51039"/>
              </a:cxn>
              <a:cxn ang="0">
                <a:pos x="connsiteX51040" y="connsiteY51040"/>
              </a:cxn>
              <a:cxn ang="0">
                <a:pos x="connsiteX51041" y="connsiteY51041"/>
              </a:cxn>
              <a:cxn ang="0">
                <a:pos x="connsiteX51042" y="connsiteY51042"/>
              </a:cxn>
              <a:cxn ang="0">
                <a:pos x="connsiteX51043" y="connsiteY51043"/>
              </a:cxn>
              <a:cxn ang="0">
                <a:pos x="connsiteX51044" y="connsiteY51044"/>
              </a:cxn>
              <a:cxn ang="0">
                <a:pos x="connsiteX51045" y="connsiteY51045"/>
              </a:cxn>
              <a:cxn ang="0">
                <a:pos x="connsiteX51046" y="connsiteY51046"/>
              </a:cxn>
              <a:cxn ang="0">
                <a:pos x="connsiteX51047" y="connsiteY51047"/>
              </a:cxn>
              <a:cxn ang="0">
                <a:pos x="connsiteX51048" y="connsiteY51048"/>
              </a:cxn>
              <a:cxn ang="0">
                <a:pos x="connsiteX51049" y="connsiteY51049"/>
              </a:cxn>
              <a:cxn ang="0">
                <a:pos x="connsiteX51050" y="connsiteY51050"/>
              </a:cxn>
              <a:cxn ang="0">
                <a:pos x="connsiteX51051" y="connsiteY51051"/>
              </a:cxn>
              <a:cxn ang="0">
                <a:pos x="connsiteX51052" y="connsiteY51052"/>
              </a:cxn>
              <a:cxn ang="0">
                <a:pos x="connsiteX51053" y="connsiteY51053"/>
              </a:cxn>
              <a:cxn ang="0">
                <a:pos x="connsiteX51054" y="connsiteY51054"/>
              </a:cxn>
              <a:cxn ang="0">
                <a:pos x="connsiteX51055" y="connsiteY51055"/>
              </a:cxn>
              <a:cxn ang="0">
                <a:pos x="connsiteX51056" y="connsiteY51056"/>
              </a:cxn>
              <a:cxn ang="0">
                <a:pos x="connsiteX51057" y="connsiteY51057"/>
              </a:cxn>
              <a:cxn ang="0">
                <a:pos x="connsiteX51058" y="connsiteY51058"/>
              </a:cxn>
              <a:cxn ang="0">
                <a:pos x="connsiteX51059" y="connsiteY51059"/>
              </a:cxn>
              <a:cxn ang="0">
                <a:pos x="connsiteX51060" y="connsiteY51060"/>
              </a:cxn>
              <a:cxn ang="0">
                <a:pos x="connsiteX51061" y="connsiteY51061"/>
              </a:cxn>
              <a:cxn ang="0">
                <a:pos x="connsiteX51062" y="connsiteY51062"/>
              </a:cxn>
              <a:cxn ang="0">
                <a:pos x="connsiteX51063" y="connsiteY51063"/>
              </a:cxn>
              <a:cxn ang="0">
                <a:pos x="connsiteX51064" y="connsiteY51064"/>
              </a:cxn>
              <a:cxn ang="0">
                <a:pos x="connsiteX51065" y="connsiteY51065"/>
              </a:cxn>
              <a:cxn ang="0">
                <a:pos x="connsiteX51066" y="connsiteY51066"/>
              </a:cxn>
              <a:cxn ang="0">
                <a:pos x="connsiteX51067" y="connsiteY51067"/>
              </a:cxn>
              <a:cxn ang="0">
                <a:pos x="connsiteX51068" y="connsiteY51068"/>
              </a:cxn>
              <a:cxn ang="0">
                <a:pos x="connsiteX51069" y="connsiteY51069"/>
              </a:cxn>
              <a:cxn ang="0">
                <a:pos x="connsiteX51070" y="connsiteY51070"/>
              </a:cxn>
              <a:cxn ang="0">
                <a:pos x="connsiteX51071" y="connsiteY51071"/>
              </a:cxn>
              <a:cxn ang="0">
                <a:pos x="connsiteX51072" y="connsiteY51072"/>
              </a:cxn>
              <a:cxn ang="0">
                <a:pos x="connsiteX51073" y="connsiteY51073"/>
              </a:cxn>
              <a:cxn ang="0">
                <a:pos x="connsiteX51074" y="connsiteY51074"/>
              </a:cxn>
              <a:cxn ang="0">
                <a:pos x="connsiteX51075" y="connsiteY51075"/>
              </a:cxn>
              <a:cxn ang="0">
                <a:pos x="connsiteX51076" y="connsiteY51076"/>
              </a:cxn>
              <a:cxn ang="0">
                <a:pos x="connsiteX51077" y="connsiteY51077"/>
              </a:cxn>
              <a:cxn ang="0">
                <a:pos x="connsiteX51078" y="connsiteY51078"/>
              </a:cxn>
              <a:cxn ang="0">
                <a:pos x="connsiteX51079" y="connsiteY51079"/>
              </a:cxn>
              <a:cxn ang="0">
                <a:pos x="connsiteX51080" y="connsiteY51080"/>
              </a:cxn>
              <a:cxn ang="0">
                <a:pos x="connsiteX51081" y="connsiteY51081"/>
              </a:cxn>
              <a:cxn ang="0">
                <a:pos x="connsiteX51082" y="connsiteY51082"/>
              </a:cxn>
              <a:cxn ang="0">
                <a:pos x="connsiteX51083" y="connsiteY51083"/>
              </a:cxn>
              <a:cxn ang="0">
                <a:pos x="connsiteX51084" y="connsiteY51084"/>
              </a:cxn>
              <a:cxn ang="0">
                <a:pos x="connsiteX51085" y="connsiteY51085"/>
              </a:cxn>
              <a:cxn ang="0">
                <a:pos x="connsiteX51086" y="connsiteY51086"/>
              </a:cxn>
              <a:cxn ang="0">
                <a:pos x="connsiteX51087" y="connsiteY51087"/>
              </a:cxn>
              <a:cxn ang="0">
                <a:pos x="connsiteX51088" y="connsiteY51088"/>
              </a:cxn>
              <a:cxn ang="0">
                <a:pos x="connsiteX51089" y="connsiteY51089"/>
              </a:cxn>
              <a:cxn ang="0">
                <a:pos x="connsiteX51090" y="connsiteY51090"/>
              </a:cxn>
              <a:cxn ang="0">
                <a:pos x="connsiteX51091" y="connsiteY51091"/>
              </a:cxn>
              <a:cxn ang="0">
                <a:pos x="connsiteX51092" y="connsiteY51092"/>
              </a:cxn>
              <a:cxn ang="0">
                <a:pos x="connsiteX51093" y="connsiteY51093"/>
              </a:cxn>
              <a:cxn ang="0">
                <a:pos x="connsiteX51094" y="connsiteY51094"/>
              </a:cxn>
              <a:cxn ang="0">
                <a:pos x="connsiteX51095" y="connsiteY51095"/>
              </a:cxn>
              <a:cxn ang="0">
                <a:pos x="connsiteX51096" y="connsiteY51096"/>
              </a:cxn>
              <a:cxn ang="0">
                <a:pos x="connsiteX51097" y="connsiteY51097"/>
              </a:cxn>
              <a:cxn ang="0">
                <a:pos x="connsiteX51098" y="connsiteY51098"/>
              </a:cxn>
              <a:cxn ang="0">
                <a:pos x="connsiteX51099" y="connsiteY51099"/>
              </a:cxn>
              <a:cxn ang="0">
                <a:pos x="connsiteX51100" y="connsiteY51100"/>
              </a:cxn>
              <a:cxn ang="0">
                <a:pos x="connsiteX51101" y="connsiteY51101"/>
              </a:cxn>
              <a:cxn ang="0">
                <a:pos x="connsiteX51102" y="connsiteY51102"/>
              </a:cxn>
              <a:cxn ang="0">
                <a:pos x="connsiteX51103" y="connsiteY51103"/>
              </a:cxn>
              <a:cxn ang="0">
                <a:pos x="connsiteX51104" y="connsiteY51104"/>
              </a:cxn>
              <a:cxn ang="0">
                <a:pos x="connsiteX51105" y="connsiteY51105"/>
              </a:cxn>
              <a:cxn ang="0">
                <a:pos x="connsiteX51106" y="connsiteY51106"/>
              </a:cxn>
              <a:cxn ang="0">
                <a:pos x="connsiteX51107" y="connsiteY51107"/>
              </a:cxn>
              <a:cxn ang="0">
                <a:pos x="connsiteX51108" y="connsiteY51108"/>
              </a:cxn>
              <a:cxn ang="0">
                <a:pos x="connsiteX51109" y="connsiteY51109"/>
              </a:cxn>
              <a:cxn ang="0">
                <a:pos x="connsiteX51110" y="connsiteY51110"/>
              </a:cxn>
              <a:cxn ang="0">
                <a:pos x="connsiteX51111" y="connsiteY51111"/>
              </a:cxn>
              <a:cxn ang="0">
                <a:pos x="connsiteX51112" y="connsiteY51112"/>
              </a:cxn>
              <a:cxn ang="0">
                <a:pos x="connsiteX51113" y="connsiteY51113"/>
              </a:cxn>
              <a:cxn ang="0">
                <a:pos x="connsiteX51114" y="connsiteY51114"/>
              </a:cxn>
              <a:cxn ang="0">
                <a:pos x="connsiteX51115" y="connsiteY51115"/>
              </a:cxn>
              <a:cxn ang="0">
                <a:pos x="connsiteX51116" y="connsiteY51116"/>
              </a:cxn>
              <a:cxn ang="0">
                <a:pos x="connsiteX51117" y="connsiteY51117"/>
              </a:cxn>
              <a:cxn ang="0">
                <a:pos x="connsiteX51118" y="connsiteY51118"/>
              </a:cxn>
              <a:cxn ang="0">
                <a:pos x="connsiteX51119" y="connsiteY51119"/>
              </a:cxn>
              <a:cxn ang="0">
                <a:pos x="connsiteX51120" y="connsiteY51120"/>
              </a:cxn>
              <a:cxn ang="0">
                <a:pos x="connsiteX51121" y="connsiteY51121"/>
              </a:cxn>
              <a:cxn ang="0">
                <a:pos x="connsiteX51122" y="connsiteY51122"/>
              </a:cxn>
              <a:cxn ang="0">
                <a:pos x="connsiteX51123" y="connsiteY51123"/>
              </a:cxn>
              <a:cxn ang="0">
                <a:pos x="connsiteX51124" y="connsiteY51124"/>
              </a:cxn>
              <a:cxn ang="0">
                <a:pos x="connsiteX51125" y="connsiteY51125"/>
              </a:cxn>
              <a:cxn ang="0">
                <a:pos x="connsiteX51126" y="connsiteY51126"/>
              </a:cxn>
              <a:cxn ang="0">
                <a:pos x="connsiteX51127" y="connsiteY51127"/>
              </a:cxn>
              <a:cxn ang="0">
                <a:pos x="connsiteX51128" y="connsiteY51128"/>
              </a:cxn>
              <a:cxn ang="0">
                <a:pos x="connsiteX51129" y="connsiteY51129"/>
              </a:cxn>
              <a:cxn ang="0">
                <a:pos x="connsiteX51130" y="connsiteY51130"/>
              </a:cxn>
              <a:cxn ang="0">
                <a:pos x="connsiteX51131" y="connsiteY51131"/>
              </a:cxn>
              <a:cxn ang="0">
                <a:pos x="connsiteX51132" y="connsiteY51132"/>
              </a:cxn>
              <a:cxn ang="0">
                <a:pos x="connsiteX51133" y="connsiteY51133"/>
              </a:cxn>
              <a:cxn ang="0">
                <a:pos x="connsiteX51134" y="connsiteY51134"/>
              </a:cxn>
              <a:cxn ang="0">
                <a:pos x="connsiteX51135" y="connsiteY51135"/>
              </a:cxn>
              <a:cxn ang="0">
                <a:pos x="connsiteX51136" y="connsiteY51136"/>
              </a:cxn>
              <a:cxn ang="0">
                <a:pos x="connsiteX51137" y="connsiteY51137"/>
              </a:cxn>
              <a:cxn ang="0">
                <a:pos x="connsiteX51138" y="connsiteY51138"/>
              </a:cxn>
              <a:cxn ang="0">
                <a:pos x="connsiteX51139" y="connsiteY51139"/>
              </a:cxn>
              <a:cxn ang="0">
                <a:pos x="connsiteX51140" y="connsiteY51140"/>
              </a:cxn>
              <a:cxn ang="0">
                <a:pos x="connsiteX51141" y="connsiteY51141"/>
              </a:cxn>
              <a:cxn ang="0">
                <a:pos x="connsiteX51142" y="connsiteY51142"/>
              </a:cxn>
              <a:cxn ang="0">
                <a:pos x="connsiteX51143" y="connsiteY51143"/>
              </a:cxn>
              <a:cxn ang="0">
                <a:pos x="connsiteX51144" y="connsiteY51144"/>
              </a:cxn>
              <a:cxn ang="0">
                <a:pos x="connsiteX51145" y="connsiteY51145"/>
              </a:cxn>
              <a:cxn ang="0">
                <a:pos x="connsiteX51146" y="connsiteY51146"/>
              </a:cxn>
              <a:cxn ang="0">
                <a:pos x="connsiteX51147" y="connsiteY51147"/>
              </a:cxn>
              <a:cxn ang="0">
                <a:pos x="connsiteX51148" y="connsiteY51148"/>
              </a:cxn>
              <a:cxn ang="0">
                <a:pos x="connsiteX51149" y="connsiteY51149"/>
              </a:cxn>
              <a:cxn ang="0">
                <a:pos x="connsiteX51150" y="connsiteY51150"/>
              </a:cxn>
              <a:cxn ang="0">
                <a:pos x="connsiteX51151" y="connsiteY51151"/>
              </a:cxn>
              <a:cxn ang="0">
                <a:pos x="connsiteX51152" y="connsiteY51152"/>
              </a:cxn>
              <a:cxn ang="0">
                <a:pos x="connsiteX51153" y="connsiteY51153"/>
              </a:cxn>
              <a:cxn ang="0">
                <a:pos x="connsiteX51154" y="connsiteY51154"/>
              </a:cxn>
              <a:cxn ang="0">
                <a:pos x="connsiteX51155" y="connsiteY51155"/>
              </a:cxn>
              <a:cxn ang="0">
                <a:pos x="connsiteX51156" y="connsiteY51156"/>
              </a:cxn>
              <a:cxn ang="0">
                <a:pos x="connsiteX51157" y="connsiteY51157"/>
              </a:cxn>
              <a:cxn ang="0">
                <a:pos x="connsiteX51158" y="connsiteY51158"/>
              </a:cxn>
              <a:cxn ang="0">
                <a:pos x="connsiteX51159" y="connsiteY51159"/>
              </a:cxn>
              <a:cxn ang="0">
                <a:pos x="connsiteX51160" y="connsiteY51160"/>
              </a:cxn>
              <a:cxn ang="0">
                <a:pos x="connsiteX51161" y="connsiteY51161"/>
              </a:cxn>
              <a:cxn ang="0">
                <a:pos x="connsiteX51162" y="connsiteY51162"/>
              </a:cxn>
              <a:cxn ang="0">
                <a:pos x="connsiteX51163" y="connsiteY51163"/>
              </a:cxn>
              <a:cxn ang="0">
                <a:pos x="connsiteX51164" y="connsiteY51164"/>
              </a:cxn>
              <a:cxn ang="0">
                <a:pos x="connsiteX51165" y="connsiteY51165"/>
              </a:cxn>
              <a:cxn ang="0">
                <a:pos x="connsiteX51166" y="connsiteY51166"/>
              </a:cxn>
              <a:cxn ang="0">
                <a:pos x="connsiteX51167" y="connsiteY51167"/>
              </a:cxn>
              <a:cxn ang="0">
                <a:pos x="connsiteX51168" y="connsiteY51168"/>
              </a:cxn>
              <a:cxn ang="0">
                <a:pos x="connsiteX51169" y="connsiteY51169"/>
              </a:cxn>
              <a:cxn ang="0">
                <a:pos x="connsiteX51170" y="connsiteY51170"/>
              </a:cxn>
              <a:cxn ang="0">
                <a:pos x="connsiteX51171" y="connsiteY51171"/>
              </a:cxn>
              <a:cxn ang="0">
                <a:pos x="connsiteX51172" y="connsiteY51172"/>
              </a:cxn>
              <a:cxn ang="0">
                <a:pos x="connsiteX51173" y="connsiteY51173"/>
              </a:cxn>
              <a:cxn ang="0">
                <a:pos x="connsiteX51174" y="connsiteY51174"/>
              </a:cxn>
              <a:cxn ang="0">
                <a:pos x="connsiteX51175" y="connsiteY51175"/>
              </a:cxn>
              <a:cxn ang="0">
                <a:pos x="connsiteX51176" y="connsiteY51176"/>
              </a:cxn>
              <a:cxn ang="0">
                <a:pos x="connsiteX51177" y="connsiteY51177"/>
              </a:cxn>
              <a:cxn ang="0">
                <a:pos x="connsiteX51178" y="connsiteY51178"/>
              </a:cxn>
              <a:cxn ang="0">
                <a:pos x="connsiteX51179" y="connsiteY51179"/>
              </a:cxn>
              <a:cxn ang="0">
                <a:pos x="connsiteX51180" y="connsiteY51180"/>
              </a:cxn>
              <a:cxn ang="0">
                <a:pos x="connsiteX51181" y="connsiteY51181"/>
              </a:cxn>
              <a:cxn ang="0">
                <a:pos x="connsiteX51182" y="connsiteY51182"/>
              </a:cxn>
              <a:cxn ang="0">
                <a:pos x="connsiteX51183" y="connsiteY51183"/>
              </a:cxn>
              <a:cxn ang="0">
                <a:pos x="connsiteX51184" y="connsiteY51184"/>
              </a:cxn>
              <a:cxn ang="0">
                <a:pos x="connsiteX51185" y="connsiteY51185"/>
              </a:cxn>
              <a:cxn ang="0">
                <a:pos x="connsiteX51186" y="connsiteY51186"/>
              </a:cxn>
              <a:cxn ang="0">
                <a:pos x="connsiteX51187" y="connsiteY51187"/>
              </a:cxn>
              <a:cxn ang="0">
                <a:pos x="connsiteX51188" y="connsiteY51188"/>
              </a:cxn>
              <a:cxn ang="0">
                <a:pos x="connsiteX51189" y="connsiteY51189"/>
              </a:cxn>
              <a:cxn ang="0">
                <a:pos x="connsiteX51190" y="connsiteY51190"/>
              </a:cxn>
              <a:cxn ang="0">
                <a:pos x="connsiteX51191" y="connsiteY51191"/>
              </a:cxn>
              <a:cxn ang="0">
                <a:pos x="connsiteX51192" y="connsiteY51192"/>
              </a:cxn>
              <a:cxn ang="0">
                <a:pos x="connsiteX51193" y="connsiteY51193"/>
              </a:cxn>
              <a:cxn ang="0">
                <a:pos x="connsiteX51194" y="connsiteY51194"/>
              </a:cxn>
              <a:cxn ang="0">
                <a:pos x="connsiteX51195" y="connsiteY51195"/>
              </a:cxn>
              <a:cxn ang="0">
                <a:pos x="connsiteX51196" y="connsiteY51196"/>
              </a:cxn>
              <a:cxn ang="0">
                <a:pos x="connsiteX51197" y="connsiteY51197"/>
              </a:cxn>
              <a:cxn ang="0">
                <a:pos x="connsiteX51198" y="connsiteY51198"/>
              </a:cxn>
              <a:cxn ang="0">
                <a:pos x="connsiteX51199" y="connsiteY51199"/>
              </a:cxn>
              <a:cxn ang="0">
                <a:pos x="connsiteX51200" y="connsiteY51200"/>
              </a:cxn>
              <a:cxn ang="0">
                <a:pos x="connsiteX51201" y="connsiteY51201"/>
              </a:cxn>
              <a:cxn ang="0">
                <a:pos x="connsiteX51202" y="connsiteY51202"/>
              </a:cxn>
              <a:cxn ang="0">
                <a:pos x="connsiteX51203" y="connsiteY51203"/>
              </a:cxn>
              <a:cxn ang="0">
                <a:pos x="connsiteX51204" y="connsiteY51204"/>
              </a:cxn>
              <a:cxn ang="0">
                <a:pos x="connsiteX51205" y="connsiteY51205"/>
              </a:cxn>
              <a:cxn ang="0">
                <a:pos x="connsiteX51206" y="connsiteY51206"/>
              </a:cxn>
              <a:cxn ang="0">
                <a:pos x="connsiteX51207" y="connsiteY51207"/>
              </a:cxn>
              <a:cxn ang="0">
                <a:pos x="connsiteX51208" y="connsiteY51208"/>
              </a:cxn>
              <a:cxn ang="0">
                <a:pos x="connsiteX51209" y="connsiteY51209"/>
              </a:cxn>
              <a:cxn ang="0">
                <a:pos x="connsiteX51210" y="connsiteY51210"/>
              </a:cxn>
              <a:cxn ang="0">
                <a:pos x="connsiteX51211" y="connsiteY51211"/>
              </a:cxn>
              <a:cxn ang="0">
                <a:pos x="connsiteX51212" y="connsiteY51212"/>
              </a:cxn>
              <a:cxn ang="0">
                <a:pos x="connsiteX51213" y="connsiteY51213"/>
              </a:cxn>
              <a:cxn ang="0">
                <a:pos x="connsiteX51214" y="connsiteY51214"/>
              </a:cxn>
              <a:cxn ang="0">
                <a:pos x="connsiteX51215" y="connsiteY51215"/>
              </a:cxn>
              <a:cxn ang="0">
                <a:pos x="connsiteX51216" y="connsiteY51216"/>
              </a:cxn>
              <a:cxn ang="0">
                <a:pos x="connsiteX51217" y="connsiteY51217"/>
              </a:cxn>
              <a:cxn ang="0">
                <a:pos x="connsiteX51218" y="connsiteY51218"/>
              </a:cxn>
              <a:cxn ang="0">
                <a:pos x="connsiteX51219" y="connsiteY51219"/>
              </a:cxn>
              <a:cxn ang="0">
                <a:pos x="connsiteX51220" y="connsiteY51220"/>
              </a:cxn>
              <a:cxn ang="0">
                <a:pos x="connsiteX51221" y="connsiteY51221"/>
              </a:cxn>
              <a:cxn ang="0">
                <a:pos x="connsiteX51222" y="connsiteY51222"/>
              </a:cxn>
              <a:cxn ang="0">
                <a:pos x="connsiteX51223" y="connsiteY51223"/>
              </a:cxn>
              <a:cxn ang="0">
                <a:pos x="connsiteX51224" y="connsiteY51224"/>
              </a:cxn>
              <a:cxn ang="0">
                <a:pos x="connsiteX51225" y="connsiteY51225"/>
              </a:cxn>
              <a:cxn ang="0">
                <a:pos x="connsiteX51226" y="connsiteY51226"/>
              </a:cxn>
              <a:cxn ang="0">
                <a:pos x="connsiteX51227" y="connsiteY51227"/>
              </a:cxn>
              <a:cxn ang="0">
                <a:pos x="connsiteX51228" y="connsiteY51228"/>
              </a:cxn>
              <a:cxn ang="0">
                <a:pos x="connsiteX51229" y="connsiteY51229"/>
              </a:cxn>
              <a:cxn ang="0">
                <a:pos x="connsiteX51230" y="connsiteY51230"/>
              </a:cxn>
              <a:cxn ang="0">
                <a:pos x="connsiteX51231" y="connsiteY51231"/>
              </a:cxn>
              <a:cxn ang="0">
                <a:pos x="connsiteX51232" y="connsiteY51232"/>
              </a:cxn>
              <a:cxn ang="0">
                <a:pos x="connsiteX51233" y="connsiteY51233"/>
              </a:cxn>
              <a:cxn ang="0">
                <a:pos x="connsiteX51234" y="connsiteY51234"/>
              </a:cxn>
              <a:cxn ang="0">
                <a:pos x="connsiteX51235" y="connsiteY51235"/>
              </a:cxn>
              <a:cxn ang="0">
                <a:pos x="connsiteX51236" y="connsiteY51236"/>
              </a:cxn>
              <a:cxn ang="0">
                <a:pos x="connsiteX51237" y="connsiteY51237"/>
              </a:cxn>
              <a:cxn ang="0">
                <a:pos x="connsiteX51238" y="connsiteY51238"/>
              </a:cxn>
              <a:cxn ang="0">
                <a:pos x="connsiteX51239" y="connsiteY51239"/>
              </a:cxn>
              <a:cxn ang="0">
                <a:pos x="connsiteX51240" y="connsiteY51240"/>
              </a:cxn>
              <a:cxn ang="0">
                <a:pos x="connsiteX51241" y="connsiteY51241"/>
              </a:cxn>
              <a:cxn ang="0">
                <a:pos x="connsiteX51242" y="connsiteY51242"/>
              </a:cxn>
              <a:cxn ang="0">
                <a:pos x="connsiteX51243" y="connsiteY51243"/>
              </a:cxn>
              <a:cxn ang="0">
                <a:pos x="connsiteX51244" y="connsiteY51244"/>
              </a:cxn>
              <a:cxn ang="0">
                <a:pos x="connsiteX51245" y="connsiteY51245"/>
              </a:cxn>
              <a:cxn ang="0">
                <a:pos x="connsiteX51246" y="connsiteY51246"/>
              </a:cxn>
              <a:cxn ang="0">
                <a:pos x="connsiteX51247" y="connsiteY51247"/>
              </a:cxn>
              <a:cxn ang="0">
                <a:pos x="connsiteX51248" y="connsiteY51248"/>
              </a:cxn>
              <a:cxn ang="0">
                <a:pos x="connsiteX51249" y="connsiteY51249"/>
              </a:cxn>
              <a:cxn ang="0">
                <a:pos x="connsiteX51250" y="connsiteY51250"/>
              </a:cxn>
              <a:cxn ang="0">
                <a:pos x="connsiteX51251" y="connsiteY51251"/>
              </a:cxn>
              <a:cxn ang="0">
                <a:pos x="connsiteX51252" y="connsiteY51252"/>
              </a:cxn>
              <a:cxn ang="0">
                <a:pos x="connsiteX51253" y="connsiteY51253"/>
              </a:cxn>
              <a:cxn ang="0">
                <a:pos x="connsiteX51254" y="connsiteY51254"/>
              </a:cxn>
              <a:cxn ang="0">
                <a:pos x="connsiteX51255" y="connsiteY51255"/>
              </a:cxn>
              <a:cxn ang="0">
                <a:pos x="connsiteX51256" y="connsiteY51256"/>
              </a:cxn>
              <a:cxn ang="0">
                <a:pos x="connsiteX51257" y="connsiteY51257"/>
              </a:cxn>
              <a:cxn ang="0">
                <a:pos x="connsiteX51258" y="connsiteY51258"/>
              </a:cxn>
              <a:cxn ang="0">
                <a:pos x="connsiteX51259" y="connsiteY51259"/>
              </a:cxn>
              <a:cxn ang="0">
                <a:pos x="connsiteX51260" y="connsiteY51260"/>
              </a:cxn>
              <a:cxn ang="0">
                <a:pos x="connsiteX51261" y="connsiteY51261"/>
              </a:cxn>
              <a:cxn ang="0">
                <a:pos x="connsiteX51262" y="connsiteY51262"/>
              </a:cxn>
              <a:cxn ang="0">
                <a:pos x="connsiteX51263" y="connsiteY51263"/>
              </a:cxn>
              <a:cxn ang="0">
                <a:pos x="connsiteX51264" y="connsiteY51264"/>
              </a:cxn>
              <a:cxn ang="0">
                <a:pos x="connsiteX51265" y="connsiteY51265"/>
              </a:cxn>
              <a:cxn ang="0">
                <a:pos x="connsiteX51266" y="connsiteY51266"/>
              </a:cxn>
              <a:cxn ang="0">
                <a:pos x="connsiteX51267" y="connsiteY51267"/>
              </a:cxn>
              <a:cxn ang="0">
                <a:pos x="connsiteX51268" y="connsiteY51268"/>
              </a:cxn>
              <a:cxn ang="0">
                <a:pos x="connsiteX51269" y="connsiteY51269"/>
              </a:cxn>
              <a:cxn ang="0">
                <a:pos x="connsiteX51270" y="connsiteY51270"/>
              </a:cxn>
              <a:cxn ang="0">
                <a:pos x="connsiteX51271" y="connsiteY51271"/>
              </a:cxn>
              <a:cxn ang="0">
                <a:pos x="connsiteX51272" y="connsiteY51272"/>
              </a:cxn>
              <a:cxn ang="0">
                <a:pos x="connsiteX51273" y="connsiteY51273"/>
              </a:cxn>
              <a:cxn ang="0">
                <a:pos x="connsiteX51274" y="connsiteY51274"/>
              </a:cxn>
              <a:cxn ang="0">
                <a:pos x="connsiteX51275" y="connsiteY51275"/>
              </a:cxn>
              <a:cxn ang="0">
                <a:pos x="connsiteX51276" y="connsiteY51276"/>
              </a:cxn>
              <a:cxn ang="0">
                <a:pos x="connsiteX51277" y="connsiteY51277"/>
              </a:cxn>
              <a:cxn ang="0">
                <a:pos x="connsiteX51278" y="connsiteY51278"/>
              </a:cxn>
              <a:cxn ang="0">
                <a:pos x="connsiteX51279" y="connsiteY51279"/>
              </a:cxn>
              <a:cxn ang="0">
                <a:pos x="connsiteX51280" y="connsiteY51280"/>
              </a:cxn>
              <a:cxn ang="0">
                <a:pos x="connsiteX51281" y="connsiteY51281"/>
              </a:cxn>
              <a:cxn ang="0">
                <a:pos x="connsiteX51282" y="connsiteY51282"/>
              </a:cxn>
              <a:cxn ang="0">
                <a:pos x="connsiteX51283" y="connsiteY51283"/>
              </a:cxn>
              <a:cxn ang="0">
                <a:pos x="connsiteX51284" y="connsiteY51284"/>
              </a:cxn>
              <a:cxn ang="0">
                <a:pos x="connsiteX51285" y="connsiteY51285"/>
              </a:cxn>
              <a:cxn ang="0">
                <a:pos x="connsiteX51286" y="connsiteY51286"/>
              </a:cxn>
              <a:cxn ang="0">
                <a:pos x="connsiteX51287" y="connsiteY51287"/>
              </a:cxn>
              <a:cxn ang="0">
                <a:pos x="connsiteX51288" y="connsiteY51288"/>
              </a:cxn>
              <a:cxn ang="0">
                <a:pos x="connsiteX51289" y="connsiteY51289"/>
              </a:cxn>
              <a:cxn ang="0">
                <a:pos x="connsiteX51290" y="connsiteY51290"/>
              </a:cxn>
              <a:cxn ang="0">
                <a:pos x="connsiteX51291" y="connsiteY51291"/>
              </a:cxn>
              <a:cxn ang="0">
                <a:pos x="connsiteX51292" y="connsiteY51292"/>
              </a:cxn>
              <a:cxn ang="0">
                <a:pos x="connsiteX51293" y="connsiteY51293"/>
              </a:cxn>
              <a:cxn ang="0">
                <a:pos x="connsiteX51294" y="connsiteY51294"/>
              </a:cxn>
              <a:cxn ang="0">
                <a:pos x="connsiteX51295" y="connsiteY51295"/>
              </a:cxn>
              <a:cxn ang="0">
                <a:pos x="connsiteX51296" y="connsiteY51296"/>
              </a:cxn>
              <a:cxn ang="0">
                <a:pos x="connsiteX51297" y="connsiteY51297"/>
              </a:cxn>
              <a:cxn ang="0">
                <a:pos x="connsiteX51298" y="connsiteY51298"/>
              </a:cxn>
              <a:cxn ang="0">
                <a:pos x="connsiteX51299" y="connsiteY51299"/>
              </a:cxn>
              <a:cxn ang="0">
                <a:pos x="connsiteX51300" y="connsiteY51300"/>
              </a:cxn>
              <a:cxn ang="0">
                <a:pos x="connsiteX51301" y="connsiteY51301"/>
              </a:cxn>
              <a:cxn ang="0">
                <a:pos x="connsiteX51302" y="connsiteY51302"/>
              </a:cxn>
              <a:cxn ang="0">
                <a:pos x="connsiteX51303" y="connsiteY51303"/>
              </a:cxn>
              <a:cxn ang="0">
                <a:pos x="connsiteX51304" y="connsiteY51304"/>
              </a:cxn>
              <a:cxn ang="0">
                <a:pos x="connsiteX51305" y="connsiteY51305"/>
              </a:cxn>
              <a:cxn ang="0">
                <a:pos x="connsiteX51306" y="connsiteY51306"/>
              </a:cxn>
              <a:cxn ang="0">
                <a:pos x="connsiteX51307" y="connsiteY51307"/>
              </a:cxn>
              <a:cxn ang="0">
                <a:pos x="connsiteX51308" y="connsiteY51308"/>
              </a:cxn>
              <a:cxn ang="0">
                <a:pos x="connsiteX51309" y="connsiteY51309"/>
              </a:cxn>
              <a:cxn ang="0">
                <a:pos x="connsiteX51310" y="connsiteY51310"/>
              </a:cxn>
              <a:cxn ang="0">
                <a:pos x="connsiteX51311" y="connsiteY51311"/>
              </a:cxn>
              <a:cxn ang="0">
                <a:pos x="connsiteX51312" y="connsiteY51312"/>
              </a:cxn>
              <a:cxn ang="0">
                <a:pos x="connsiteX51313" y="connsiteY51313"/>
              </a:cxn>
              <a:cxn ang="0">
                <a:pos x="connsiteX51314" y="connsiteY51314"/>
              </a:cxn>
              <a:cxn ang="0">
                <a:pos x="connsiteX51315" y="connsiteY51315"/>
              </a:cxn>
              <a:cxn ang="0">
                <a:pos x="connsiteX51316" y="connsiteY51316"/>
              </a:cxn>
              <a:cxn ang="0">
                <a:pos x="connsiteX51317" y="connsiteY51317"/>
              </a:cxn>
              <a:cxn ang="0">
                <a:pos x="connsiteX51318" y="connsiteY51318"/>
              </a:cxn>
              <a:cxn ang="0">
                <a:pos x="connsiteX51319" y="connsiteY51319"/>
              </a:cxn>
              <a:cxn ang="0">
                <a:pos x="connsiteX51320" y="connsiteY51320"/>
              </a:cxn>
              <a:cxn ang="0">
                <a:pos x="connsiteX51321" y="connsiteY51321"/>
              </a:cxn>
              <a:cxn ang="0">
                <a:pos x="connsiteX51322" y="connsiteY51322"/>
              </a:cxn>
              <a:cxn ang="0">
                <a:pos x="connsiteX51323" y="connsiteY51323"/>
              </a:cxn>
              <a:cxn ang="0">
                <a:pos x="connsiteX51324" y="connsiteY51324"/>
              </a:cxn>
              <a:cxn ang="0">
                <a:pos x="connsiteX51325" y="connsiteY51325"/>
              </a:cxn>
              <a:cxn ang="0">
                <a:pos x="connsiteX51326" y="connsiteY51326"/>
              </a:cxn>
              <a:cxn ang="0">
                <a:pos x="connsiteX51327" y="connsiteY51327"/>
              </a:cxn>
              <a:cxn ang="0">
                <a:pos x="connsiteX51328" y="connsiteY51328"/>
              </a:cxn>
              <a:cxn ang="0">
                <a:pos x="connsiteX51329" y="connsiteY51329"/>
              </a:cxn>
              <a:cxn ang="0">
                <a:pos x="connsiteX51330" y="connsiteY51330"/>
              </a:cxn>
              <a:cxn ang="0">
                <a:pos x="connsiteX51331" y="connsiteY51331"/>
              </a:cxn>
              <a:cxn ang="0">
                <a:pos x="connsiteX51332" y="connsiteY51332"/>
              </a:cxn>
              <a:cxn ang="0">
                <a:pos x="connsiteX51333" y="connsiteY51333"/>
              </a:cxn>
              <a:cxn ang="0">
                <a:pos x="connsiteX51334" y="connsiteY51334"/>
              </a:cxn>
              <a:cxn ang="0">
                <a:pos x="connsiteX51335" y="connsiteY51335"/>
              </a:cxn>
              <a:cxn ang="0">
                <a:pos x="connsiteX51336" y="connsiteY51336"/>
              </a:cxn>
              <a:cxn ang="0">
                <a:pos x="connsiteX51337" y="connsiteY51337"/>
              </a:cxn>
              <a:cxn ang="0">
                <a:pos x="connsiteX51338" y="connsiteY51338"/>
              </a:cxn>
              <a:cxn ang="0">
                <a:pos x="connsiteX51339" y="connsiteY51339"/>
              </a:cxn>
              <a:cxn ang="0">
                <a:pos x="connsiteX51340" y="connsiteY51340"/>
              </a:cxn>
              <a:cxn ang="0">
                <a:pos x="connsiteX51341" y="connsiteY51341"/>
              </a:cxn>
              <a:cxn ang="0">
                <a:pos x="connsiteX51342" y="connsiteY51342"/>
              </a:cxn>
              <a:cxn ang="0">
                <a:pos x="connsiteX51343" y="connsiteY51343"/>
              </a:cxn>
              <a:cxn ang="0">
                <a:pos x="connsiteX51344" y="connsiteY51344"/>
              </a:cxn>
              <a:cxn ang="0">
                <a:pos x="connsiteX51345" y="connsiteY51345"/>
              </a:cxn>
              <a:cxn ang="0">
                <a:pos x="connsiteX51346" y="connsiteY51346"/>
              </a:cxn>
              <a:cxn ang="0">
                <a:pos x="connsiteX51347" y="connsiteY51347"/>
              </a:cxn>
              <a:cxn ang="0">
                <a:pos x="connsiteX51348" y="connsiteY51348"/>
              </a:cxn>
              <a:cxn ang="0">
                <a:pos x="connsiteX51349" y="connsiteY51349"/>
              </a:cxn>
              <a:cxn ang="0">
                <a:pos x="connsiteX51350" y="connsiteY51350"/>
              </a:cxn>
              <a:cxn ang="0">
                <a:pos x="connsiteX51351" y="connsiteY51351"/>
              </a:cxn>
              <a:cxn ang="0">
                <a:pos x="connsiteX51352" y="connsiteY51352"/>
              </a:cxn>
              <a:cxn ang="0">
                <a:pos x="connsiteX51353" y="connsiteY51353"/>
              </a:cxn>
              <a:cxn ang="0">
                <a:pos x="connsiteX51354" y="connsiteY51354"/>
              </a:cxn>
              <a:cxn ang="0">
                <a:pos x="connsiteX51355" y="connsiteY51355"/>
              </a:cxn>
              <a:cxn ang="0">
                <a:pos x="connsiteX51356" y="connsiteY51356"/>
              </a:cxn>
              <a:cxn ang="0">
                <a:pos x="connsiteX51357" y="connsiteY51357"/>
              </a:cxn>
              <a:cxn ang="0">
                <a:pos x="connsiteX51358" y="connsiteY51358"/>
              </a:cxn>
              <a:cxn ang="0">
                <a:pos x="connsiteX51359" y="connsiteY51359"/>
              </a:cxn>
              <a:cxn ang="0">
                <a:pos x="connsiteX51360" y="connsiteY51360"/>
              </a:cxn>
              <a:cxn ang="0">
                <a:pos x="connsiteX51361" y="connsiteY51361"/>
              </a:cxn>
              <a:cxn ang="0">
                <a:pos x="connsiteX51362" y="connsiteY51362"/>
              </a:cxn>
              <a:cxn ang="0">
                <a:pos x="connsiteX51363" y="connsiteY51363"/>
              </a:cxn>
              <a:cxn ang="0">
                <a:pos x="connsiteX51364" y="connsiteY51364"/>
              </a:cxn>
              <a:cxn ang="0">
                <a:pos x="connsiteX51365" y="connsiteY51365"/>
              </a:cxn>
              <a:cxn ang="0">
                <a:pos x="connsiteX51366" y="connsiteY51366"/>
              </a:cxn>
              <a:cxn ang="0">
                <a:pos x="connsiteX51367" y="connsiteY51367"/>
              </a:cxn>
              <a:cxn ang="0">
                <a:pos x="connsiteX51368" y="connsiteY51368"/>
              </a:cxn>
              <a:cxn ang="0">
                <a:pos x="connsiteX51369" y="connsiteY51369"/>
              </a:cxn>
              <a:cxn ang="0">
                <a:pos x="connsiteX51370" y="connsiteY51370"/>
              </a:cxn>
              <a:cxn ang="0">
                <a:pos x="connsiteX51371" y="connsiteY51371"/>
              </a:cxn>
              <a:cxn ang="0">
                <a:pos x="connsiteX51372" y="connsiteY51372"/>
              </a:cxn>
              <a:cxn ang="0">
                <a:pos x="connsiteX51373" y="connsiteY51373"/>
              </a:cxn>
              <a:cxn ang="0">
                <a:pos x="connsiteX51374" y="connsiteY51374"/>
              </a:cxn>
              <a:cxn ang="0">
                <a:pos x="connsiteX51375" y="connsiteY51375"/>
              </a:cxn>
              <a:cxn ang="0">
                <a:pos x="connsiteX51376" y="connsiteY51376"/>
              </a:cxn>
              <a:cxn ang="0">
                <a:pos x="connsiteX51377" y="connsiteY51377"/>
              </a:cxn>
              <a:cxn ang="0">
                <a:pos x="connsiteX51378" y="connsiteY51378"/>
              </a:cxn>
              <a:cxn ang="0">
                <a:pos x="connsiteX51379" y="connsiteY51379"/>
              </a:cxn>
              <a:cxn ang="0">
                <a:pos x="connsiteX51380" y="connsiteY51380"/>
              </a:cxn>
              <a:cxn ang="0">
                <a:pos x="connsiteX51381" y="connsiteY51381"/>
              </a:cxn>
              <a:cxn ang="0">
                <a:pos x="connsiteX51382" y="connsiteY51382"/>
              </a:cxn>
              <a:cxn ang="0">
                <a:pos x="connsiteX51383" y="connsiteY51383"/>
              </a:cxn>
              <a:cxn ang="0">
                <a:pos x="connsiteX51384" y="connsiteY51384"/>
              </a:cxn>
              <a:cxn ang="0">
                <a:pos x="connsiteX51385" y="connsiteY51385"/>
              </a:cxn>
              <a:cxn ang="0">
                <a:pos x="connsiteX51386" y="connsiteY51386"/>
              </a:cxn>
              <a:cxn ang="0">
                <a:pos x="connsiteX51387" y="connsiteY51387"/>
              </a:cxn>
              <a:cxn ang="0">
                <a:pos x="connsiteX51388" y="connsiteY51388"/>
              </a:cxn>
              <a:cxn ang="0">
                <a:pos x="connsiteX51389" y="connsiteY51389"/>
              </a:cxn>
              <a:cxn ang="0">
                <a:pos x="connsiteX51390" y="connsiteY51390"/>
              </a:cxn>
              <a:cxn ang="0">
                <a:pos x="connsiteX51391" y="connsiteY51391"/>
              </a:cxn>
              <a:cxn ang="0">
                <a:pos x="connsiteX51392" y="connsiteY51392"/>
              </a:cxn>
              <a:cxn ang="0">
                <a:pos x="connsiteX51393" y="connsiteY51393"/>
              </a:cxn>
              <a:cxn ang="0">
                <a:pos x="connsiteX51394" y="connsiteY51394"/>
              </a:cxn>
              <a:cxn ang="0">
                <a:pos x="connsiteX51395" y="connsiteY51395"/>
              </a:cxn>
              <a:cxn ang="0">
                <a:pos x="connsiteX51396" y="connsiteY51396"/>
              </a:cxn>
              <a:cxn ang="0">
                <a:pos x="connsiteX51397" y="connsiteY51397"/>
              </a:cxn>
              <a:cxn ang="0">
                <a:pos x="connsiteX51398" y="connsiteY51398"/>
              </a:cxn>
              <a:cxn ang="0">
                <a:pos x="connsiteX51399" y="connsiteY51399"/>
              </a:cxn>
              <a:cxn ang="0">
                <a:pos x="connsiteX51400" y="connsiteY51400"/>
              </a:cxn>
              <a:cxn ang="0">
                <a:pos x="connsiteX51401" y="connsiteY51401"/>
              </a:cxn>
              <a:cxn ang="0">
                <a:pos x="connsiteX51402" y="connsiteY51402"/>
              </a:cxn>
              <a:cxn ang="0">
                <a:pos x="connsiteX51403" y="connsiteY51403"/>
              </a:cxn>
              <a:cxn ang="0">
                <a:pos x="connsiteX51404" y="connsiteY51404"/>
              </a:cxn>
              <a:cxn ang="0">
                <a:pos x="connsiteX51405" y="connsiteY51405"/>
              </a:cxn>
              <a:cxn ang="0">
                <a:pos x="connsiteX51406" y="connsiteY51406"/>
              </a:cxn>
              <a:cxn ang="0">
                <a:pos x="connsiteX51407" y="connsiteY51407"/>
              </a:cxn>
              <a:cxn ang="0">
                <a:pos x="connsiteX51408" y="connsiteY51408"/>
              </a:cxn>
              <a:cxn ang="0">
                <a:pos x="connsiteX51409" y="connsiteY51409"/>
              </a:cxn>
              <a:cxn ang="0">
                <a:pos x="connsiteX51410" y="connsiteY51410"/>
              </a:cxn>
              <a:cxn ang="0">
                <a:pos x="connsiteX51411" y="connsiteY51411"/>
              </a:cxn>
              <a:cxn ang="0">
                <a:pos x="connsiteX51412" y="connsiteY51412"/>
              </a:cxn>
              <a:cxn ang="0">
                <a:pos x="connsiteX51413" y="connsiteY51413"/>
              </a:cxn>
              <a:cxn ang="0">
                <a:pos x="connsiteX51414" y="connsiteY51414"/>
              </a:cxn>
              <a:cxn ang="0">
                <a:pos x="connsiteX51415" y="connsiteY51415"/>
              </a:cxn>
              <a:cxn ang="0">
                <a:pos x="connsiteX51416" y="connsiteY51416"/>
              </a:cxn>
              <a:cxn ang="0">
                <a:pos x="connsiteX51417" y="connsiteY51417"/>
              </a:cxn>
              <a:cxn ang="0">
                <a:pos x="connsiteX51418" y="connsiteY51418"/>
              </a:cxn>
              <a:cxn ang="0">
                <a:pos x="connsiteX51419" y="connsiteY51419"/>
              </a:cxn>
              <a:cxn ang="0">
                <a:pos x="connsiteX51420" y="connsiteY51420"/>
              </a:cxn>
              <a:cxn ang="0">
                <a:pos x="connsiteX51421" y="connsiteY51421"/>
              </a:cxn>
              <a:cxn ang="0">
                <a:pos x="connsiteX51422" y="connsiteY51422"/>
              </a:cxn>
              <a:cxn ang="0">
                <a:pos x="connsiteX51423" y="connsiteY51423"/>
              </a:cxn>
              <a:cxn ang="0">
                <a:pos x="connsiteX51424" y="connsiteY51424"/>
              </a:cxn>
              <a:cxn ang="0">
                <a:pos x="connsiteX51425" y="connsiteY51425"/>
              </a:cxn>
              <a:cxn ang="0">
                <a:pos x="connsiteX51426" y="connsiteY51426"/>
              </a:cxn>
              <a:cxn ang="0">
                <a:pos x="connsiteX51427" y="connsiteY51427"/>
              </a:cxn>
              <a:cxn ang="0">
                <a:pos x="connsiteX51428" y="connsiteY51428"/>
              </a:cxn>
              <a:cxn ang="0">
                <a:pos x="connsiteX51429" y="connsiteY51429"/>
              </a:cxn>
              <a:cxn ang="0">
                <a:pos x="connsiteX51430" y="connsiteY51430"/>
              </a:cxn>
              <a:cxn ang="0">
                <a:pos x="connsiteX51431" y="connsiteY51431"/>
              </a:cxn>
              <a:cxn ang="0">
                <a:pos x="connsiteX51432" y="connsiteY51432"/>
              </a:cxn>
              <a:cxn ang="0">
                <a:pos x="connsiteX51433" y="connsiteY51433"/>
              </a:cxn>
              <a:cxn ang="0">
                <a:pos x="connsiteX51434" y="connsiteY51434"/>
              </a:cxn>
              <a:cxn ang="0">
                <a:pos x="connsiteX51435" y="connsiteY51435"/>
              </a:cxn>
              <a:cxn ang="0">
                <a:pos x="connsiteX51436" y="connsiteY51436"/>
              </a:cxn>
              <a:cxn ang="0">
                <a:pos x="connsiteX51437" y="connsiteY51437"/>
              </a:cxn>
              <a:cxn ang="0">
                <a:pos x="connsiteX51438" y="connsiteY51438"/>
              </a:cxn>
              <a:cxn ang="0">
                <a:pos x="connsiteX51439" y="connsiteY51439"/>
              </a:cxn>
              <a:cxn ang="0">
                <a:pos x="connsiteX51440" y="connsiteY51440"/>
              </a:cxn>
              <a:cxn ang="0">
                <a:pos x="connsiteX51441" y="connsiteY51441"/>
              </a:cxn>
              <a:cxn ang="0">
                <a:pos x="connsiteX51442" y="connsiteY51442"/>
              </a:cxn>
              <a:cxn ang="0">
                <a:pos x="connsiteX51443" y="connsiteY51443"/>
              </a:cxn>
              <a:cxn ang="0">
                <a:pos x="connsiteX51444" y="connsiteY51444"/>
              </a:cxn>
              <a:cxn ang="0">
                <a:pos x="connsiteX51445" y="connsiteY51445"/>
              </a:cxn>
              <a:cxn ang="0">
                <a:pos x="connsiteX51446" y="connsiteY51446"/>
              </a:cxn>
              <a:cxn ang="0">
                <a:pos x="connsiteX51447" y="connsiteY51447"/>
              </a:cxn>
              <a:cxn ang="0">
                <a:pos x="connsiteX51448" y="connsiteY51448"/>
              </a:cxn>
              <a:cxn ang="0">
                <a:pos x="connsiteX51449" y="connsiteY51449"/>
              </a:cxn>
              <a:cxn ang="0">
                <a:pos x="connsiteX51450" y="connsiteY51450"/>
              </a:cxn>
              <a:cxn ang="0">
                <a:pos x="connsiteX51451" y="connsiteY51451"/>
              </a:cxn>
              <a:cxn ang="0">
                <a:pos x="connsiteX51452" y="connsiteY51452"/>
              </a:cxn>
              <a:cxn ang="0">
                <a:pos x="connsiteX51453" y="connsiteY51453"/>
              </a:cxn>
              <a:cxn ang="0">
                <a:pos x="connsiteX51454" y="connsiteY51454"/>
              </a:cxn>
              <a:cxn ang="0">
                <a:pos x="connsiteX51455" y="connsiteY51455"/>
              </a:cxn>
              <a:cxn ang="0">
                <a:pos x="connsiteX51456" y="connsiteY51456"/>
              </a:cxn>
              <a:cxn ang="0">
                <a:pos x="connsiteX51457" y="connsiteY51457"/>
              </a:cxn>
              <a:cxn ang="0">
                <a:pos x="connsiteX51458" y="connsiteY51458"/>
              </a:cxn>
              <a:cxn ang="0">
                <a:pos x="connsiteX51459" y="connsiteY51459"/>
              </a:cxn>
              <a:cxn ang="0">
                <a:pos x="connsiteX51460" y="connsiteY51460"/>
              </a:cxn>
              <a:cxn ang="0">
                <a:pos x="connsiteX51461" y="connsiteY51461"/>
              </a:cxn>
              <a:cxn ang="0">
                <a:pos x="connsiteX51462" y="connsiteY51462"/>
              </a:cxn>
              <a:cxn ang="0">
                <a:pos x="connsiteX51463" y="connsiteY51463"/>
              </a:cxn>
              <a:cxn ang="0">
                <a:pos x="connsiteX51464" y="connsiteY51464"/>
              </a:cxn>
              <a:cxn ang="0">
                <a:pos x="connsiteX51465" y="connsiteY51465"/>
              </a:cxn>
              <a:cxn ang="0">
                <a:pos x="connsiteX51466" y="connsiteY51466"/>
              </a:cxn>
              <a:cxn ang="0">
                <a:pos x="connsiteX51467" y="connsiteY51467"/>
              </a:cxn>
              <a:cxn ang="0">
                <a:pos x="connsiteX51468" y="connsiteY51468"/>
              </a:cxn>
              <a:cxn ang="0">
                <a:pos x="connsiteX51469" y="connsiteY51469"/>
              </a:cxn>
              <a:cxn ang="0">
                <a:pos x="connsiteX51470" y="connsiteY51470"/>
              </a:cxn>
              <a:cxn ang="0">
                <a:pos x="connsiteX51471" y="connsiteY51471"/>
              </a:cxn>
              <a:cxn ang="0">
                <a:pos x="connsiteX51472" y="connsiteY51472"/>
              </a:cxn>
              <a:cxn ang="0">
                <a:pos x="connsiteX51473" y="connsiteY51473"/>
              </a:cxn>
              <a:cxn ang="0">
                <a:pos x="connsiteX51474" y="connsiteY51474"/>
              </a:cxn>
              <a:cxn ang="0">
                <a:pos x="connsiteX51475" y="connsiteY51475"/>
              </a:cxn>
              <a:cxn ang="0">
                <a:pos x="connsiteX51476" y="connsiteY51476"/>
              </a:cxn>
              <a:cxn ang="0">
                <a:pos x="connsiteX51477" y="connsiteY51477"/>
              </a:cxn>
              <a:cxn ang="0">
                <a:pos x="connsiteX51478" y="connsiteY51478"/>
              </a:cxn>
              <a:cxn ang="0">
                <a:pos x="connsiteX51479" y="connsiteY51479"/>
              </a:cxn>
              <a:cxn ang="0">
                <a:pos x="connsiteX51480" y="connsiteY51480"/>
              </a:cxn>
              <a:cxn ang="0">
                <a:pos x="connsiteX51481" y="connsiteY51481"/>
              </a:cxn>
              <a:cxn ang="0">
                <a:pos x="connsiteX51482" y="connsiteY51482"/>
              </a:cxn>
              <a:cxn ang="0">
                <a:pos x="connsiteX51483" y="connsiteY51483"/>
              </a:cxn>
              <a:cxn ang="0">
                <a:pos x="connsiteX51484" y="connsiteY51484"/>
              </a:cxn>
              <a:cxn ang="0">
                <a:pos x="connsiteX51485" y="connsiteY51485"/>
              </a:cxn>
              <a:cxn ang="0">
                <a:pos x="connsiteX51486" y="connsiteY51486"/>
              </a:cxn>
              <a:cxn ang="0">
                <a:pos x="connsiteX51487" y="connsiteY51487"/>
              </a:cxn>
              <a:cxn ang="0">
                <a:pos x="connsiteX51488" y="connsiteY51488"/>
              </a:cxn>
              <a:cxn ang="0">
                <a:pos x="connsiteX51489" y="connsiteY51489"/>
              </a:cxn>
              <a:cxn ang="0">
                <a:pos x="connsiteX51490" y="connsiteY51490"/>
              </a:cxn>
              <a:cxn ang="0">
                <a:pos x="connsiteX51491" y="connsiteY51491"/>
              </a:cxn>
              <a:cxn ang="0">
                <a:pos x="connsiteX51492" y="connsiteY51492"/>
              </a:cxn>
              <a:cxn ang="0">
                <a:pos x="connsiteX51493" y="connsiteY51493"/>
              </a:cxn>
              <a:cxn ang="0">
                <a:pos x="connsiteX51494" y="connsiteY51494"/>
              </a:cxn>
              <a:cxn ang="0">
                <a:pos x="connsiteX51495" y="connsiteY51495"/>
              </a:cxn>
              <a:cxn ang="0">
                <a:pos x="connsiteX51496" y="connsiteY51496"/>
              </a:cxn>
              <a:cxn ang="0">
                <a:pos x="connsiteX51497" y="connsiteY51497"/>
              </a:cxn>
              <a:cxn ang="0">
                <a:pos x="connsiteX51498" y="connsiteY51498"/>
              </a:cxn>
              <a:cxn ang="0">
                <a:pos x="connsiteX51499" y="connsiteY51499"/>
              </a:cxn>
              <a:cxn ang="0">
                <a:pos x="connsiteX51500" y="connsiteY51500"/>
              </a:cxn>
              <a:cxn ang="0">
                <a:pos x="connsiteX51501" y="connsiteY51501"/>
              </a:cxn>
              <a:cxn ang="0">
                <a:pos x="connsiteX51502" y="connsiteY51502"/>
              </a:cxn>
              <a:cxn ang="0">
                <a:pos x="connsiteX51503" y="connsiteY51503"/>
              </a:cxn>
              <a:cxn ang="0">
                <a:pos x="connsiteX51504" y="connsiteY51504"/>
              </a:cxn>
              <a:cxn ang="0">
                <a:pos x="connsiteX51505" y="connsiteY51505"/>
              </a:cxn>
              <a:cxn ang="0">
                <a:pos x="connsiteX51506" y="connsiteY51506"/>
              </a:cxn>
              <a:cxn ang="0">
                <a:pos x="connsiteX51507" y="connsiteY51507"/>
              </a:cxn>
              <a:cxn ang="0">
                <a:pos x="connsiteX51508" y="connsiteY51508"/>
              </a:cxn>
              <a:cxn ang="0">
                <a:pos x="connsiteX51509" y="connsiteY51509"/>
              </a:cxn>
              <a:cxn ang="0">
                <a:pos x="connsiteX51510" y="connsiteY51510"/>
              </a:cxn>
              <a:cxn ang="0">
                <a:pos x="connsiteX51511" y="connsiteY51511"/>
              </a:cxn>
              <a:cxn ang="0">
                <a:pos x="connsiteX51512" y="connsiteY51512"/>
              </a:cxn>
              <a:cxn ang="0">
                <a:pos x="connsiteX51513" y="connsiteY51513"/>
              </a:cxn>
              <a:cxn ang="0">
                <a:pos x="connsiteX51514" y="connsiteY51514"/>
              </a:cxn>
              <a:cxn ang="0">
                <a:pos x="connsiteX51515" y="connsiteY51515"/>
              </a:cxn>
              <a:cxn ang="0">
                <a:pos x="connsiteX51516" y="connsiteY51516"/>
              </a:cxn>
              <a:cxn ang="0">
                <a:pos x="connsiteX51517" y="connsiteY51517"/>
              </a:cxn>
              <a:cxn ang="0">
                <a:pos x="connsiteX51518" y="connsiteY51518"/>
              </a:cxn>
              <a:cxn ang="0">
                <a:pos x="connsiteX51519" y="connsiteY51519"/>
              </a:cxn>
              <a:cxn ang="0">
                <a:pos x="connsiteX51520" y="connsiteY51520"/>
              </a:cxn>
              <a:cxn ang="0">
                <a:pos x="connsiteX51521" y="connsiteY51521"/>
              </a:cxn>
              <a:cxn ang="0">
                <a:pos x="connsiteX51522" y="connsiteY51522"/>
              </a:cxn>
              <a:cxn ang="0">
                <a:pos x="connsiteX51523" y="connsiteY51523"/>
              </a:cxn>
              <a:cxn ang="0">
                <a:pos x="connsiteX51524" y="connsiteY51524"/>
              </a:cxn>
              <a:cxn ang="0">
                <a:pos x="connsiteX51525" y="connsiteY51525"/>
              </a:cxn>
              <a:cxn ang="0">
                <a:pos x="connsiteX51526" y="connsiteY51526"/>
              </a:cxn>
              <a:cxn ang="0">
                <a:pos x="connsiteX51527" y="connsiteY51527"/>
              </a:cxn>
              <a:cxn ang="0">
                <a:pos x="connsiteX51528" y="connsiteY51528"/>
              </a:cxn>
              <a:cxn ang="0">
                <a:pos x="connsiteX51529" y="connsiteY51529"/>
              </a:cxn>
              <a:cxn ang="0">
                <a:pos x="connsiteX51530" y="connsiteY51530"/>
              </a:cxn>
              <a:cxn ang="0">
                <a:pos x="connsiteX51531" y="connsiteY51531"/>
              </a:cxn>
              <a:cxn ang="0">
                <a:pos x="connsiteX51532" y="connsiteY51532"/>
              </a:cxn>
              <a:cxn ang="0">
                <a:pos x="connsiteX51533" y="connsiteY51533"/>
              </a:cxn>
              <a:cxn ang="0">
                <a:pos x="connsiteX51534" y="connsiteY51534"/>
              </a:cxn>
              <a:cxn ang="0">
                <a:pos x="connsiteX51535" y="connsiteY51535"/>
              </a:cxn>
              <a:cxn ang="0">
                <a:pos x="connsiteX51536" y="connsiteY51536"/>
              </a:cxn>
              <a:cxn ang="0">
                <a:pos x="connsiteX51537" y="connsiteY51537"/>
              </a:cxn>
              <a:cxn ang="0">
                <a:pos x="connsiteX51538" y="connsiteY51538"/>
              </a:cxn>
              <a:cxn ang="0">
                <a:pos x="connsiteX51539" y="connsiteY51539"/>
              </a:cxn>
              <a:cxn ang="0">
                <a:pos x="connsiteX51540" y="connsiteY51540"/>
              </a:cxn>
              <a:cxn ang="0">
                <a:pos x="connsiteX51541" y="connsiteY51541"/>
              </a:cxn>
              <a:cxn ang="0">
                <a:pos x="connsiteX51542" y="connsiteY51542"/>
              </a:cxn>
              <a:cxn ang="0">
                <a:pos x="connsiteX51543" y="connsiteY51543"/>
              </a:cxn>
              <a:cxn ang="0">
                <a:pos x="connsiteX51544" y="connsiteY51544"/>
              </a:cxn>
              <a:cxn ang="0">
                <a:pos x="connsiteX51545" y="connsiteY51545"/>
              </a:cxn>
              <a:cxn ang="0">
                <a:pos x="connsiteX51546" y="connsiteY51546"/>
              </a:cxn>
              <a:cxn ang="0">
                <a:pos x="connsiteX51547" y="connsiteY51547"/>
              </a:cxn>
              <a:cxn ang="0">
                <a:pos x="connsiteX51548" y="connsiteY51548"/>
              </a:cxn>
              <a:cxn ang="0">
                <a:pos x="connsiteX51549" y="connsiteY51549"/>
              </a:cxn>
              <a:cxn ang="0">
                <a:pos x="connsiteX51550" y="connsiteY51550"/>
              </a:cxn>
              <a:cxn ang="0">
                <a:pos x="connsiteX51551" y="connsiteY51551"/>
              </a:cxn>
              <a:cxn ang="0">
                <a:pos x="connsiteX51552" y="connsiteY51552"/>
              </a:cxn>
              <a:cxn ang="0">
                <a:pos x="connsiteX51553" y="connsiteY51553"/>
              </a:cxn>
              <a:cxn ang="0">
                <a:pos x="connsiteX51554" y="connsiteY51554"/>
              </a:cxn>
              <a:cxn ang="0">
                <a:pos x="connsiteX51555" y="connsiteY51555"/>
              </a:cxn>
              <a:cxn ang="0">
                <a:pos x="connsiteX51556" y="connsiteY51556"/>
              </a:cxn>
              <a:cxn ang="0">
                <a:pos x="connsiteX51557" y="connsiteY51557"/>
              </a:cxn>
              <a:cxn ang="0">
                <a:pos x="connsiteX51558" y="connsiteY51558"/>
              </a:cxn>
              <a:cxn ang="0">
                <a:pos x="connsiteX51559" y="connsiteY51559"/>
              </a:cxn>
              <a:cxn ang="0">
                <a:pos x="connsiteX51560" y="connsiteY51560"/>
              </a:cxn>
              <a:cxn ang="0">
                <a:pos x="connsiteX51561" y="connsiteY51561"/>
              </a:cxn>
              <a:cxn ang="0">
                <a:pos x="connsiteX51562" y="connsiteY51562"/>
              </a:cxn>
              <a:cxn ang="0">
                <a:pos x="connsiteX51563" y="connsiteY51563"/>
              </a:cxn>
              <a:cxn ang="0">
                <a:pos x="connsiteX51564" y="connsiteY51564"/>
              </a:cxn>
              <a:cxn ang="0">
                <a:pos x="connsiteX51565" y="connsiteY51565"/>
              </a:cxn>
              <a:cxn ang="0">
                <a:pos x="connsiteX51566" y="connsiteY51566"/>
              </a:cxn>
              <a:cxn ang="0">
                <a:pos x="connsiteX51567" y="connsiteY51567"/>
              </a:cxn>
              <a:cxn ang="0">
                <a:pos x="connsiteX51568" y="connsiteY51568"/>
              </a:cxn>
              <a:cxn ang="0">
                <a:pos x="connsiteX51569" y="connsiteY51569"/>
              </a:cxn>
              <a:cxn ang="0">
                <a:pos x="connsiteX51570" y="connsiteY51570"/>
              </a:cxn>
              <a:cxn ang="0">
                <a:pos x="connsiteX51571" y="connsiteY51571"/>
              </a:cxn>
              <a:cxn ang="0">
                <a:pos x="connsiteX51572" y="connsiteY51572"/>
              </a:cxn>
              <a:cxn ang="0">
                <a:pos x="connsiteX51573" y="connsiteY51573"/>
              </a:cxn>
              <a:cxn ang="0">
                <a:pos x="connsiteX51574" y="connsiteY51574"/>
              </a:cxn>
              <a:cxn ang="0">
                <a:pos x="connsiteX51575" y="connsiteY51575"/>
              </a:cxn>
              <a:cxn ang="0">
                <a:pos x="connsiteX51576" y="connsiteY51576"/>
              </a:cxn>
              <a:cxn ang="0">
                <a:pos x="connsiteX51577" y="connsiteY51577"/>
              </a:cxn>
              <a:cxn ang="0">
                <a:pos x="connsiteX51578" y="connsiteY51578"/>
              </a:cxn>
              <a:cxn ang="0">
                <a:pos x="connsiteX51579" y="connsiteY51579"/>
              </a:cxn>
              <a:cxn ang="0">
                <a:pos x="connsiteX51580" y="connsiteY51580"/>
              </a:cxn>
              <a:cxn ang="0">
                <a:pos x="connsiteX51581" y="connsiteY51581"/>
              </a:cxn>
              <a:cxn ang="0">
                <a:pos x="connsiteX51582" y="connsiteY51582"/>
              </a:cxn>
              <a:cxn ang="0">
                <a:pos x="connsiteX51583" y="connsiteY51583"/>
              </a:cxn>
              <a:cxn ang="0">
                <a:pos x="connsiteX51584" y="connsiteY51584"/>
              </a:cxn>
              <a:cxn ang="0">
                <a:pos x="connsiteX51585" y="connsiteY51585"/>
              </a:cxn>
              <a:cxn ang="0">
                <a:pos x="connsiteX51586" y="connsiteY51586"/>
              </a:cxn>
              <a:cxn ang="0">
                <a:pos x="connsiteX51587" y="connsiteY51587"/>
              </a:cxn>
              <a:cxn ang="0">
                <a:pos x="connsiteX51588" y="connsiteY51588"/>
              </a:cxn>
              <a:cxn ang="0">
                <a:pos x="connsiteX51589" y="connsiteY51589"/>
              </a:cxn>
              <a:cxn ang="0">
                <a:pos x="connsiteX51590" y="connsiteY51590"/>
              </a:cxn>
              <a:cxn ang="0">
                <a:pos x="connsiteX51591" y="connsiteY51591"/>
              </a:cxn>
              <a:cxn ang="0">
                <a:pos x="connsiteX51592" y="connsiteY51592"/>
              </a:cxn>
              <a:cxn ang="0">
                <a:pos x="connsiteX51593" y="connsiteY51593"/>
              </a:cxn>
              <a:cxn ang="0">
                <a:pos x="connsiteX51594" y="connsiteY51594"/>
              </a:cxn>
              <a:cxn ang="0">
                <a:pos x="connsiteX51595" y="connsiteY51595"/>
              </a:cxn>
              <a:cxn ang="0">
                <a:pos x="connsiteX51596" y="connsiteY51596"/>
              </a:cxn>
              <a:cxn ang="0">
                <a:pos x="connsiteX51597" y="connsiteY51597"/>
              </a:cxn>
              <a:cxn ang="0">
                <a:pos x="connsiteX51598" y="connsiteY51598"/>
              </a:cxn>
              <a:cxn ang="0">
                <a:pos x="connsiteX51599" y="connsiteY51599"/>
              </a:cxn>
              <a:cxn ang="0">
                <a:pos x="connsiteX51600" y="connsiteY51600"/>
              </a:cxn>
              <a:cxn ang="0">
                <a:pos x="connsiteX51601" y="connsiteY51601"/>
              </a:cxn>
              <a:cxn ang="0">
                <a:pos x="connsiteX51602" y="connsiteY51602"/>
              </a:cxn>
              <a:cxn ang="0">
                <a:pos x="connsiteX51603" y="connsiteY51603"/>
              </a:cxn>
              <a:cxn ang="0">
                <a:pos x="connsiteX51604" y="connsiteY51604"/>
              </a:cxn>
              <a:cxn ang="0">
                <a:pos x="connsiteX51605" y="connsiteY51605"/>
              </a:cxn>
              <a:cxn ang="0">
                <a:pos x="connsiteX51606" y="connsiteY51606"/>
              </a:cxn>
              <a:cxn ang="0">
                <a:pos x="connsiteX51607" y="connsiteY51607"/>
              </a:cxn>
              <a:cxn ang="0">
                <a:pos x="connsiteX51608" y="connsiteY51608"/>
              </a:cxn>
              <a:cxn ang="0">
                <a:pos x="connsiteX51609" y="connsiteY51609"/>
              </a:cxn>
              <a:cxn ang="0">
                <a:pos x="connsiteX51610" y="connsiteY51610"/>
              </a:cxn>
              <a:cxn ang="0">
                <a:pos x="connsiteX51611" y="connsiteY51611"/>
              </a:cxn>
              <a:cxn ang="0">
                <a:pos x="connsiteX51612" y="connsiteY51612"/>
              </a:cxn>
              <a:cxn ang="0">
                <a:pos x="connsiteX51613" y="connsiteY51613"/>
              </a:cxn>
              <a:cxn ang="0">
                <a:pos x="connsiteX51614" y="connsiteY51614"/>
              </a:cxn>
              <a:cxn ang="0">
                <a:pos x="connsiteX51615" y="connsiteY51615"/>
              </a:cxn>
              <a:cxn ang="0">
                <a:pos x="connsiteX51616" y="connsiteY51616"/>
              </a:cxn>
              <a:cxn ang="0">
                <a:pos x="connsiteX51617" y="connsiteY51617"/>
              </a:cxn>
              <a:cxn ang="0">
                <a:pos x="connsiteX51618" y="connsiteY51618"/>
              </a:cxn>
              <a:cxn ang="0">
                <a:pos x="connsiteX51619" y="connsiteY51619"/>
              </a:cxn>
              <a:cxn ang="0">
                <a:pos x="connsiteX51620" y="connsiteY51620"/>
              </a:cxn>
              <a:cxn ang="0">
                <a:pos x="connsiteX51621" y="connsiteY51621"/>
              </a:cxn>
              <a:cxn ang="0">
                <a:pos x="connsiteX51622" y="connsiteY51622"/>
              </a:cxn>
              <a:cxn ang="0">
                <a:pos x="connsiteX51623" y="connsiteY51623"/>
              </a:cxn>
              <a:cxn ang="0">
                <a:pos x="connsiteX51624" y="connsiteY51624"/>
              </a:cxn>
              <a:cxn ang="0">
                <a:pos x="connsiteX51625" y="connsiteY51625"/>
              </a:cxn>
              <a:cxn ang="0">
                <a:pos x="connsiteX51626" y="connsiteY51626"/>
              </a:cxn>
              <a:cxn ang="0">
                <a:pos x="connsiteX51627" y="connsiteY51627"/>
              </a:cxn>
              <a:cxn ang="0">
                <a:pos x="connsiteX51628" y="connsiteY51628"/>
              </a:cxn>
              <a:cxn ang="0">
                <a:pos x="connsiteX51629" y="connsiteY51629"/>
              </a:cxn>
              <a:cxn ang="0">
                <a:pos x="connsiteX51630" y="connsiteY51630"/>
              </a:cxn>
              <a:cxn ang="0">
                <a:pos x="connsiteX51631" y="connsiteY51631"/>
              </a:cxn>
              <a:cxn ang="0">
                <a:pos x="connsiteX51632" y="connsiteY51632"/>
              </a:cxn>
              <a:cxn ang="0">
                <a:pos x="connsiteX51633" y="connsiteY51633"/>
              </a:cxn>
              <a:cxn ang="0">
                <a:pos x="connsiteX51634" y="connsiteY51634"/>
              </a:cxn>
              <a:cxn ang="0">
                <a:pos x="connsiteX51635" y="connsiteY51635"/>
              </a:cxn>
              <a:cxn ang="0">
                <a:pos x="connsiteX51636" y="connsiteY51636"/>
              </a:cxn>
              <a:cxn ang="0">
                <a:pos x="connsiteX51637" y="connsiteY51637"/>
              </a:cxn>
              <a:cxn ang="0">
                <a:pos x="connsiteX51638" y="connsiteY51638"/>
              </a:cxn>
              <a:cxn ang="0">
                <a:pos x="connsiteX51639" y="connsiteY51639"/>
              </a:cxn>
              <a:cxn ang="0">
                <a:pos x="connsiteX51640" y="connsiteY51640"/>
              </a:cxn>
              <a:cxn ang="0">
                <a:pos x="connsiteX51641" y="connsiteY51641"/>
              </a:cxn>
              <a:cxn ang="0">
                <a:pos x="connsiteX51642" y="connsiteY51642"/>
              </a:cxn>
              <a:cxn ang="0">
                <a:pos x="connsiteX51643" y="connsiteY51643"/>
              </a:cxn>
              <a:cxn ang="0">
                <a:pos x="connsiteX51644" y="connsiteY51644"/>
              </a:cxn>
              <a:cxn ang="0">
                <a:pos x="connsiteX51645" y="connsiteY51645"/>
              </a:cxn>
              <a:cxn ang="0">
                <a:pos x="connsiteX51646" y="connsiteY51646"/>
              </a:cxn>
              <a:cxn ang="0">
                <a:pos x="connsiteX51647" y="connsiteY51647"/>
              </a:cxn>
              <a:cxn ang="0">
                <a:pos x="connsiteX51648" y="connsiteY51648"/>
              </a:cxn>
              <a:cxn ang="0">
                <a:pos x="connsiteX51649" y="connsiteY51649"/>
              </a:cxn>
              <a:cxn ang="0">
                <a:pos x="connsiteX51650" y="connsiteY51650"/>
              </a:cxn>
              <a:cxn ang="0">
                <a:pos x="connsiteX51651" y="connsiteY51651"/>
              </a:cxn>
              <a:cxn ang="0">
                <a:pos x="connsiteX51652" y="connsiteY51652"/>
              </a:cxn>
              <a:cxn ang="0">
                <a:pos x="connsiteX51653" y="connsiteY51653"/>
              </a:cxn>
              <a:cxn ang="0">
                <a:pos x="connsiteX51654" y="connsiteY51654"/>
              </a:cxn>
              <a:cxn ang="0">
                <a:pos x="connsiteX51655" y="connsiteY51655"/>
              </a:cxn>
              <a:cxn ang="0">
                <a:pos x="connsiteX51656" y="connsiteY51656"/>
              </a:cxn>
              <a:cxn ang="0">
                <a:pos x="connsiteX51657" y="connsiteY51657"/>
              </a:cxn>
              <a:cxn ang="0">
                <a:pos x="connsiteX51658" y="connsiteY51658"/>
              </a:cxn>
              <a:cxn ang="0">
                <a:pos x="connsiteX51659" y="connsiteY51659"/>
              </a:cxn>
              <a:cxn ang="0">
                <a:pos x="connsiteX51660" y="connsiteY51660"/>
              </a:cxn>
              <a:cxn ang="0">
                <a:pos x="connsiteX51661" y="connsiteY51661"/>
              </a:cxn>
              <a:cxn ang="0">
                <a:pos x="connsiteX51662" y="connsiteY51662"/>
              </a:cxn>
              <a:cxn ang="0">
                <a:pos x="connsiteX51663" y="connsiteY51663"/>
              </a:cxn>
              <a:cxn ang="0">
                <a:pos x="connsiteX51664" y="connsiteY51664"/>
              </a:cxn>
              <a:cxn ang="0">
                <a:pos x="connsiteX51665" y="connsiteY51665"/>
              </a:cxn>
              <a:cxn ang="0">
                <a:pos x="connsiteX51666" y="connsiteY51666"/>
              </a:cxn>
              <a:cxn ang="0">
                <a:pos x="connsiteX51667" y="connsiteY51667"/>
              </a:cxn>
              <a:cxn ang="0">
                <a:pos x="connsiteX51668" y="connsiteY51668"/>
              </a:cxn>
              <a:cxn ang="0">
                <a:pos x="connsiteX51669" y="connsiteY51669"/>
              </a:cxn>
              <a:cxn ang="0">
                <a:pos x="connsiteX51670" y="connsiteY51670"/>
              </a:cxn>
              <a:cxn ang="0">
                <a:pos x="connsiteX51671" y="connsiteY51671"/>
              </a:cxn>
              <a:cxn ang="0">
                <a:pos x="connsiteX51672" y="connsiteY51672"/>
              </a:cxn>
              <a:cxn ang="0">
                <a:pos x="connsiteX51673" y="connsiteY51673"/>
              </a:cxn>
              <a:cxn ang="0">
                <a:pos x="connsiteX51674" y="connsiteY51674"/>
              </a:cxn>
              <a:cxn ang="0">
                <a:pos x="connsiteX51675" y="connsiteY51675"/>
              </a:cxn>
              <a:cxn ang="0">
                <a:pos x="connsiteX51676" y="connsiteY51676"/>
              </a:cxn>
              <a:cxn ang="0">
                <a:pos x="connsiteX51677" y="connsiteY51677"/>
              </a:cxn>
              <a:cxn ang="0">
                <a:pos x="connsiteX51678" y="connsiteY51678"/>
              </a:cxn>
              <a:cxn ang="0">
                <a:pos x="connsiteX51679" y="connsiteY51679"/>
              </a:cxn>
              <a:cxn ang="0">
                <a:pos x="connsiteX51680" y="connsiteY51680"/>
              </a:cxn>
              <a:cxn ang="0">
                <a:pos x="connsiteX51681" y="connsiteY51681"/>
              </a:cxn>
              <a:cxn ang="0">
                <a:pos x="connsiteX51682" y="connsiteY51682"/>
              </a:cxn>
              <a:cxn ang="0">
                <a:pos x="connsiteX51683" y="connsiteY51683"/>
              </a:cxn>
              <a:cxn ang="0">
                <a:pos x="connsiteX51684" y="connsiteY51684"/>
              </a:cxn>
              <a:cxn ang="0">
                <a:pos x="connsiteX51685" y="connsiteY51685"/>
              </a:cxn>
              <a:cxn ang="0">
                <a:pos x="connsiteX51686" y="connsiteY51686"/>
              </a:cxn>
              <a:cxn ang="0">
                <a:pos x="connsiteX51687" y="connsiteY51687"/>
              </a:cxn>
              <a:cxn ang="0">
                <a:pos x="connsiteX51688" y="connsiteY51688"/>
              </a:cxn>
              <a:cxn ang="0">
                <a:pos x="connsiteX51689" y="connsiteY51689"/>
              </a:cxn>
              <a:cxn ang="0">
                <a:pos x="connsiteX51690" y="connsiteY51690"/>
              </a:cxn>
              <a:cxn ang="0">
                <a:pos x="connsiteX51691" y="connsiteY51691"/>
              </a:cxn>
              <a:cxn ang="0">
                <a:pos x="connsiteX51692" y="connsiteY51692"/>
              </a:cxn>
              <a:cxn ang="0">
                <a:pos x="connsiteX51693" y="connsiteY51693"/>
              </a:cxn>
              <a:cxn ang="0">
                <a:pos x="connsiteX51694" y="connsiteY51694"/>
              </a:cxn>
              <a:cxn ang="0">
                <a:pos x="connsiteX51695" y="connsiteY51695"/>
              </a:cxn>
              <a:cxn ang="0">
                <a:pos x="connsiteX51696" y="connsiteY51696"/>
              </a:cxn>
              <a:cxn ang="0">
                <a:pos x="connsiteX51697" y="connsiteY51697"/>
              </a:cxn>
              <a:cxn ang="0">
                <a:pos x="connsiteX51698" y="connsiteY51698"/>
              </a:cxn>
              <a:cxn ang="0">
                <a:pos x="connsiteX51699" y="connsiteY51699"/>
              </a:cxn>
              <a:cxn ang="0">
                <a:pos x="connsiteX51700" y="connsiteY51700"/>
              </a:cxn>
              <a:cxn ang="0">
                <a:pos x="connsiteX51701" y="connsiteY51701"/>
              </a:cxn>
              <a:cxn ang="0">
                <a:pos x="connsiteX51702" y="connsiteY51702"/>
              </a:cxn>
              <a:cxn ang="0">
                <a:pos x="connsiteX51703" y="connsiteY51703"/>
              </a:cxn>
              <a:cxn ang="0">
                <a:pos x="connsiteX51704" y="connsiteY51704"/>
              </a:cxn>
              <a:cxn ang="0">
                <a:pos x="connsiteX51705" y="connsiteY51705"/>
              </a:cxn>
              <a:cxn ang="0">
                <a:pos x="connsiteX51706" y="connsiteY51706"/>
              </a:cxn>
              <a:cxn ang="0">
                <a:pos x="connsiteX51707" y="connsiteY51707"/>
              </a:cxn>
              <a:cxn ang="0">
                <a:pos x="connsiteX51708" y="connsiteY51708"/>
              </a:cxn>
              <a:cxn ang="0">
                <a:pos x="connsiteX51709" y="connsiteY51709"/>
              </a:cxn>
              <a:cxn ang="0">
                <a:pos x="connsiteX51710" y="connsiteY51710"/>
              </a:cxn>
              <a:cxn ang="0">
                <a:pos x="connsiteX51711" y="connsiteY51711"/>
              </a:cxn>
              <a:cxn ang="0">
                <a:pos x="connsiteX51712" y="connsiteY51712"/>
              </a:cxn>
              <a:cxn ang="0">
                <a:pos x="connsiteX51713" y="connsiteY51713"/>
              </a:cxn>
              <a:cxn ang="0">
                <a:pos x="connsiteX51714" y="connsiteY51714"/>
              </a:cxn>
              <a:cxn ang="0">
                <a:pos x="connsiteX51715" y="connsiteY51715"/>
              </a:cxn>
              <a:cxn ang="0">
                <a:pos x="connsiteX51716" y="connsiteY51716"/>
              </a:cxn>
              <a:cxn ang="0">
                <a:pos x="connsiteX51717" y="connsiteY51717"/>
              </a:cxn>
              <a:cxn ang="0">
                <a:pos x="connsiteX51718" y="connsiteY51718"/>
              </a:cxn>
              <a:cxn ang="0">
                <a:pos x="connsiteX51719" y="connsiteY51719"/>
              </a:cxn>
              <a:cxn ang="0">
                <a:pos x="connsiteX51720" y="connsiteY51720"/>
              </a:cxn>
              <a:cxn ang="0">
                <a:pos x="connsiteX51721" y="connsiteY51721"/>
              </a:cxn>
              <a:cxn ang="0">
                <a:pos x="connsiteX51722" y="connsiteY51722"/>
              </a:cxn>
              <a:cxn ang="0">
                <a:pos x="connsiteX51723" y="connsiteY51723"/>
              </a:cxn>
              <a:cxn ang="0">
                <a:pos x="connsiteX51724" y="connsiteY51724"/>
              </a:cxn>
              <a:cxn ang="0">
                <a:pos x="connsiteX51725" y="connsiteY51725"/>
              </a:cxn>
              <a:cxn ang="0">
                <a:pos x="connsiteX51726" y="connsiteY51726"/>
              </a:cxn>
              <a:cxn ang="0">
                <a:pos x="connsiteX51727" y="connsiteY51727"/>
              </a:cxn>
              <a:cxn ang="0">
                <a:pos x="connsiteX51728" y="connsiteY51728"/>
              </a:cxn>
              <a:cxn ang="0">
                <a:pos x="connsiteX51729" y="connsiteY51729"/>
              </a:cxn>
              <a:cxn ang="0">
                <a:pos x="connsiteX51730" y="connsiteY51730"/>
              </a:cxn>
              <a:cxn ang="0">
                <a:pos x="connsiteX51731" y="connsiteY51731"/>
              </a:cxn>
              <a:cxn ang="0">
                <a:pos x="connsiteX51732" y="connsiteY51732"/>
              </a:cxn>
              <a:cxn ang="0">
                <a:pos x="connsiteX51733" y="connsiteY51733"/>
              </a:cxn>
              <a:cxn ang="0">
                <a:pos x="connsiteX51734" y="connsiteY51734"/>
              </a:cxn>
              <a:cxn ang="0">
                <a:pos x="connsiteX51735" y="connsiteY51735"/>
              </a:cxn>
              <a:cxn ang="0">
                <a:pos x="connsiteX51736" y="connsiteY51736"/>
              </a:cxn>
              <a:cxn ang="0">
                <a:pos x="connsiteX51737" y="connsiteY51737"/>
              </a:cxn>
              <a:cxn ang="0">
                <a:pos x="connsiteX51738" y="connsiteY51738"/>
              </a:cxn>
              <a:cxn ang="0">
                <a:pos x="connsiteX51739" y="connsiteY51739"/>
              </a:cxn>
              <a:cxn ang="0">
                <a:pos x="connsiteX51740" y="connsiteY51740"/>
              </a:cxn>
              <a:cxn ang="0">
                <a:pos x="connsiteX51741" y="connsiteY51741"/>
              </a:cxn>
              <a:cxn ang="0">
                <a:pos x="connsiteX51742" y="connsiteY51742"/>
              </a:cxn>
              <a:cxn ang="0">
                <a:pos x="connsiteX51743" y="connsiteY51743"/>
              </a:cxn>
              <a:cxn ang="0">
                <a:pos x="connsiteX51744" y="connsiteY51744"/>
              </a:cxn>
              <a:cxn ang="0">
                <a:pos x="connsiteX51745" y="connsiteY51745"/>
              </a:cxn>
              <a:cxn ang="0">
                <a:pos x="connsiteX51746" y="connsiteY51746"/>
              </a:cxn>
              <a:cxn ang="0">
                <a:pos x="connsiteX51747" y="connsiteY51747"/>
              </a:cxn>
              <a:cxn ang="0">
                <a:pos x="connsiteX51748" y="connsiteY51748"/>
              </a:cxn>
              <a:cxn ang="0">
                <a:pos x="connsiteX51749" y="connsiteY51749"/>
              </a:cxn>
              <a:cxn ang="0">
                <a:pos x="connsiteX51750" y="connsiteY51750"/>
              </a:cxn>
              <a:cxn ang="0">
                <a:pos x="connsiteX51751" y="connsiteY51751"/>
              </a:cxn>
              <a:cxn ang="0">
                <a:pos x="connsiteX51752" y="connsiteY51752"/>
              </a:cxn>
              <a:cxn ang="0">
                <a:pos x="connsiteX51753" y="connsiteY51753"/>
              </a:cxn>
              <a:cxn ang="0">
                <a:pos x="connsiteX51754" y="connsiteY51754"/>
              </a:cxn>
              <a:cxn ang="0">
                <a:pos x="connsiteX51755" y="connsiteY51755"/>
              </a:cxn>
              <a:cxn ang="0">
                <a:pos x="connsiteX51756" y="connsiteY51756"/>
              </a:cxn>
              <a:cxn ang="0">
                <a:pos x="connsiteX51757" y="connsiteY51757"/>
              </a:cxn>
              <a:cxn ang="0">
                <a:pos x="connsiteX51758" y="connsiteY51758"/>
              </a:cxn>
              <a:cxn ang="0">
                <a:pos x="connsiteX51759" y="connsiteY51759"/>
              </a:cxn>
              <a:cxn ang="0">
                <a:pos x="connsiteX51760" y="connsiteY51760"/>
              </a:cxn>
              <a:cxn ang="0">
                <a:pos x="connsiteX51761" y="connsiteY51761"/>
              </a:cxn>
              <a:cxn ang="0">
                <a:pos x="connsiteX51762" y="connsiteY51762"/>
              </a:cxn>
              <a:cxn ang="0">
                <a:pos x="connsiteX51763" y="connsiteY51763"/>
              </a:cxn>
              <a:cxn ang="0">
                <a:pos x="connsiteX51764" y="connsiteY51764"/>
              </a:cxn>
              <a:cxn ang="0">
                <a:pos x="connsiteX51765" y="connsiteY51765"/>
              </a:cxn>
              <a:cxn ang="0">
                <a:pos x="connsiteX51766" y="connsiteY51766"/>
              </a:cxn>
              <a:cxn ang="0">
                <a:pos x="connsiteX51767" y="connsiteY51767"/>
              </a:cxn>
              <a:cxn ang="0">
                <a:pos x="connsiteX51768" y="connsiteY51768"/>
              </a:cxn>
              <a:cxn ang="0">
                <a:pos x="connsiteX51769" y="connsiteY51769"/>
              </a:cxn>
              <a:cxn ang="0">
                <a:pos x="connsiteX51770" y="connsiteY51770"/>
              </a:cxn>
              <a:cxn ang="0">
                <a:pos x="connsiteX51771" y="connsiteY51771"/>
              </a:cxn>
              <a:cxn ang="0">
                <a:pos x="connsiteX51772" y="connsiteY51772"/>
              </a:cxn>
              <a:cxn ang="0">
                <a:pos x="connsiteX51773" y="connsiteY51773"/>
              </a:cxn>
              <a:cxn ang="0">
                <a:pos x="connsiteX51774" y="connsiteY51774"/>
              </a:cxn>
              <a:cxn ang="0">
                <a:pos x="connsiteX51775" y="connsiteY51775"/>
              </a:cxn>
              <a:cxn ang="0">
                <a:pos x="connsiteX51776" y="connsiteY51776"/>
              </a:cxn>
              <a:cxn ang="0">
                <a:pos x="connsiteX51777" y="connsiteY51777"/>
              </a:cxn>
              <a:cxn ang="0">
                <a:pos x="connsiteX51778" y="connsiteY51778"/>
              </a:cxn>
              <a:cxn ang="0">
                <a:pos x="connsiteX51779" y="connsiteY51779"/>
              </a:cxn>
              <a:cxn ang="0">
                <a:pos x="connsiteX51780" y="connsiteY51780"/>
              </a:cxn>
              <a:cxn ang="0">
                <a:pos x="connsiteX51781" y="connsiteY51781"/>
              </a:cxn>
              <a:cxn ang="0">
                <a:pos x="connsiteX51782" y="connsiteY51782"/>
              </a:cxn>
              <a:cxn ang="0">
                <a:pos x="connsiteX51783" y="connsiteY51783"/>
              </a:cxn>
              <a:cxn ang="0">
                <a:pos x="connsiteX51784" y="connsiteY51784"/>
              </a:cxn>
              <a:cxn ang="0">
                <a:pos x="connsiteX51785" y="connsiteY51785"/>
              </a:cxn>
              <a:cxn ang="0">
                <a:pos x="connsiteX51786" y="connsiteY51786"/>
              </a:cxn>
              <a:cxn ang="0">
                <a:pos x="connsiteX51787" y="connsiteY51787"/>
              </a:cxn>
              <a:cxn ang="0">
                <a:pos x="connsiteX51788" y="connsiteY51788"/>
              </a:cxn>
              <a:cxn ang="0">
                <a:pos x="connsiteX51789" y="connsiteY51789"/>
              </a:cxn>
              <a:cxn ang="0">
                <a:pos x="connsiteX51790" y="connsiteY51790"/>
              </a:cxn>
              <a:cxn ang="0">
                <a:pos x="connsiteX51791" y="connsiteY51791"/>
              </a:cxn>
              <a:cxn ang="0">
                <a:pos x="connsiteX51792" y="connsiteY51792"/>
              </a:cxn>
              <a:cxn ang="0">
                <a:pos x="connsiteX51793" y="connsiteY51793"/>
              </a:cxn>
              <a:cxn ang="0">
                <a:pos x="connsiteX51794" y="connsiteY51794"/>
              </a:cxn>
              <a:cxn ang="0">
                <a:pos x="connsiteX51795" y="connsiteY51795"/>
              </a:cxn>
              <a:cxn ang="0">
                <a:pos x="connsiteX51796" y="connsiteY51796"/>
              </a:cxn>
              <a:cxn ang="0">
                <a:pos x="connsiteX51797" y="connsiteY51797"/>
              </a:cxn>
              <a:cxn ang="0">
                <a:pos x="connsiteX51798" y="connsiteY51798"/>
              </a:cxn>
              <a:cxn ang="0">
                <a:pos x="connsiteX51799" y="connsiteY51799"/>
              </a:cxn>
              <a:cxn ang="0">
                <a:pos x="connsiteX51800" y="connsiteY51800"/>
              </a:cxn>
              <a:cxn ang="0">
                <a:pos x="connsiteX51801" y="connsiteY51801"/>
              </a:cxn>
              <a:cxn ang="0">
                <a:pos x="connsiteX51802" y="connsiteY51802"/>
              </a:cxn>
              <a:cxn ang="0">
                <a:pos x="connsiteX51803" y="connsiteY51803"/>
              </a:cxn>
              <a:cxn ang="0">
                <a:pos x="connsiteX51804" y="connsiteY51804"/>
              </a:cxn>
              <a:cxn ang="0">
                <a:pos x="connsiteX51805" y="connsiteY51805"/>
              </a:cxn>
              <a:cxn ang="0">
                <a:pos x="connsiteX51806" y="connsiteY51806"/>
              </a:cxn>
              <a:cxn ang="0">
                <a:pos x="connsiteX51807" y="connsiteY51807"/>
              </a:cxn>
              <a:cxn ang="0">
                <a:pos x="connsiteX51808" y="connsiteY51808"/>
              </a:cxn>
              <a:cxn ang="0">
                <a:pos x="connsiteX51809" y="connsiteY51809"/>
              </a:cxn>
              <a:cxn ang="0">
                <a:pos x="connsiteX51810" y="connsiteY51810"/>
              </a:cxn>
              <a:cxn ang="0">
                <a:pos x="connsiteX51811" y="connsiteY51811"/>
              </a:cxn>
              <a:cxn ang="0">
                <a:pos x="connsiteX51812" y="connsiteY51812"/>
              </a:cxn>
              <a:cxn ang="0">
                <a:pos x="connsiteX51813" y="connsiteY51813"/>
              </a:cxn>
              <a:cxn ang="0">
                <a:pos x="connsiteX51814" y="connsiteY51814"/>
              </a:cxn>
              <a:cxn ang="0">
                <a:pos x="connsiteX51815" y="connsiteY51815"/>
              </a:cxn>
              <a:cxn ang="0">
                <a:pos x="connsiteX51816" y="connsiteY51816"/>
              </a:cxn>
              <a:cxn ang="0">
                <a:pos x="connsiteX51817" y="connsiteY51817"/>
              </a:cxn>
              <a:cxn ang="0">
                <a:pos x="connsiteX51818" y="connsiteY51818"/>
              </a:cxn>
              <a:cxn ang="0">
                <a:pos x="connsiteX51819" y="connsiteY51819"/>
              </a:cxn>
              <a:cxn ang="0">
                <a:pos x="connsiteX51820" y="connsiteY51820"/>
              </a:cxn>
              <a:cxn ang="0">
                <a:pos x="connsiteX51821" y="connsiteY51821"/>
              </a:cxn>
              <a:cxn ang="0">
                <a:pos x="connsiteX51822" y="connsiteY51822"/>
              </a:cxn>
              <a:cxn ang="0">
                <a:pos x="connsiteX51823" y="connsiteY51823"/>
              </a:cxn>
              <a:cxn ang="0">
                <a:pos x="connsiteX51824" y="connsiteY51824"/>
              </a:cxn>
              <a:cxn ang="0">
                <a:pos x="connsiteX51825" y="connsiteY51825"/>
              </a:cxn>
              <a:cxn ang="0">
                <a:pos x="connsiteX51826" y="connsiteY51826"/>
              </a:cxn>
              <a:cxn ang="0">
                <a:pos x="connsiteX51827" y="connsiteY51827"/>
              </a:cxn>
              <a:cxn ang="0">
                <a:pos x="connsiteX51828" y="connsiteY51828"/>
              </a:cxn>
              <a:cxn ang="0">
                <a:pos x="connsiteX51829" y="connsiteY51829"/>
              </a:cxn>
              <a:cxn ang="0">
                <a:pos x="connsiteX51830" y="connsiteY51830"/>
              </a:cxn>
              <a:cxn ang="0">
                <a:pos x="connsiteX51831" y="connsiteY51831"/>
              </a:cxn>
              <a:cxn ang="0">
                <a:pos x="connsiteX51832" y="connsiteY51832"/>
              </a:cxn>
              <a:cxn ang="0">
                <a:pos x="connsiteX51833" y="connsiteY51833"/>
              </a:cxn>
              <a:cxn ang="0">
                <a:pos x="connsiteX51834" y="connsiteY51834"/>
              </a:cxn>
              <a:cxn ang="0">
                <a:pos x="connsiteX51835" y="connsiteY51835"/>
              </a:cxn>
              <a:cxn ang="0">
                <a:pos x="connsiteX51836" y="connsiteY51836"/>
              </a:cxn>
              <a:cxn ang="0">
                <a:pos x="connsiteX51837" y="connsiteY51837"/>
              </a:cxn>
              <a:cxn ang="0">
                <a:pos x="connsiteX51838" y="connsiteY51838"/>
              </a:cxn>
              <a:cxn ang="0">
                <a:pos x="connsiteX51839" y="connsiteY51839"/>
              </a:cxn>
              <a:cxn ang="0">
                <a:pos x="connsiteX51840" y="connsiteY51840"/>
              </a:cxn>
              <a:cxn ang="0">
                <a:pos x="connsiteX51841" y="connsiteY51841"/>
              </a:cxn>
              <a:cxn ang="0">
                <a:pos x="connsiteX51842" y="connsiteY51842"/>
              </a:cxn>
              <a:cxn ang="0">
                <a:pos x="connsiteX51843" y="connsiteY51843"/>
              </a:cxn>
              <a:cxn ang="0">
                <a:pos x="connsiteX51844" y="connsiteY51844"/>
              </a:cxn>
              <a:cxn ang="0">
                <a:pos x="connsiteX51845" y="connsiteY51845"/>
              </a:cxn>
              <a:cxn ang="0">
                <a:pos x="connsiteX51846" y="connsiteY51846"/>
              </a:cxn>
              <a:cxn ang="0">
                <a:pos x="connsiteX51847" y="connsiteY51847"/>
              </a:cxn>
              <a:cxn ang="0">
                <a:pos x="connsiteX51848" y="connsiteY51848"/>
              </a:cxn>
              <a:cxn ang="0">
                <a:pos x="connsiteX51849" y="connsiteY51849"/>
              </a:cxn>
              <a:cxn ang="0">
                <a:pos x="connsiteX51850" y="connsiteY51850"/>
              </a:cxn>
              <a:cxn ang="0">
                <a:pos x="connsiteX51851" y="connsiteY51851"/>
              </a:cxn>
              <a:cxn ang="0">
                <a:pos x="connsiteX51852" y="connsiteY51852"/>
              </a:cxn>
              <a:cxn ang="0">
                <a:pos x="connsiteX51853" y="connsiteY51853"/>
              </a:cxn>
              <a:cxn ang="0">
                <a:pos x="connsiteX51854" y="connsiteY51854"/>
              </a:cxn>
              <a:cxn ang="0">
                <a:pos x="connsiteX51855" y="connsiteY51855"/>
              </a:cxn>
              <a:cxn ang="0">
                <a:pos x="connsiteX51856" y="connsiteY51856"/>
              </a:cxn>
              <a:cxn ang="0">
                <a:pos x="connsiteX51857" y="connsiteY51857"/>
              </a:cxn>
              <a:cxn ang="0">
                <a:pos x="connsiteX51858" y="connsiteY51858"/>
              </a:cxn>
              <a:cxn ang="0">
                <a:pos x="connsiteX51859" y="connsiteY51859"/>
              </a:cxn>
              <a:cxn ang="0">
                <a:pos x="connsiteX51860" y="connsiteY51860"/>
              </a:cxn>
              <a:cxn ang="0">
                <a:pos x="connsiteX51861" y="connsiteY51861"/>
              </a:cxn>
              <a:cxn ang="0">
                <a:pos x="connsiteX51862" y="connsiteY51862"/>
              </a:cxn>
              <a:cxn ang="0">
                <a:pos x="connsiteX51863" y="connsiteY51863"/>
              </a:cxn>
              <a:cxn ang="0">
                <a:pos x="connsiteX51864" y="connsiteY51864"/>
              </a:cxn>
              <a:cxn ang="0">
                <a:pos x="connsiteX51865" y="connsiteY51865"/>
              </a:cxn>
              <a:cxn ang="0">
                <a:pos x="connsiteX51866" y="connsiteY51866"/>
              </a:cxn>
              <a:cxn ang="0">
                <a:pos x="connsiteX51867" y="connsiteY51867"/>
              </a:cxn>
              <a:cxn ang="0">
                <a:pos x="connsiteX51868" y="connsiteY51868"/>
              </a:cxn>
              <a:cxn ang="0">
                <a:pos x="connsiteX51869" y="connsiteY51869"/>
              </a:cxn>
              <a:cxn ang="0">
                <a:pos x="connsiteX51870" y="connsiteY51870"/>
              </a:cxn>
              <a:cxn ang="0">
                <a:pos x="connsiteX51871" y="connsiteY51871"/>
              </a:cxn>
              <a:cxn ang="0">
                <a:pos x="connsiteX51872" y="connsiteY51872"/>
              </a:cxn>
              <a:cxn ang="0">
                <a:pos x="connsiteX51873" y="connsiteY51873"/>
              </a:cxn>
              <a:cxn ang="0">
                <a:pos x="connsiteX51874" y="connsiteY51874"/>
              </a:cxn>
              <a:cxn ang="0">
                <a:pos x="connsiteX51875" y="connsiteY51875"/>
              </a:cxn>
              <a:cxn ang="0">
                <a:pos x="connsiteX51876" y="connsiteY51876"/>
              </a:cxn>
              <a:cxn ang="0">
                <a:pos x="connsiteX51877" y="connsiteY51877"/>
              </a:cxn>
              <a:cxn ang="0">
                <a:pos x="connsiteX51878" y="connsiteY51878"/>
              </a:cxn>
              <a:cxn ang="0">
                <a:pos x="connsiteX51879" y="connsiteY51879"/>
              </a:cxn>
              <a:cxn ang="0">
                <a:pos x="connsiteX51880" y="connsiteY51880"/>
              </a:cxn>
              <a:cxn ang="0">
                <a:pos x="connsiteX51881" y="connsiteY51881"/>
              </a:cxn>
              <a:cxn ang="0">
                <a:pos x="connsiteX51882" y="connsiteY51882"/>
              </a:cxn>
              <a:cxn ang="0">
                <a:pos x="connsiteX51883" y="connsiteY51883"/>
              </a:cxn>
              <a:cxn ang="0">
                <a:pos x="connsiteX51884" y="connsiteY51884"/>
              </a:cxn>
              <a:cxn ang="0">
                <a:pos x="connsiteX51885" y="connsiteY51885"/>
              </a:cxn>
              <a:cxn ang="0">
                <a:pos x="connsiteX51886" y="connsiteY51886"/>
              </a:cxn>
              <a:cxn ang="0">
                <a:pos x="connsiteX51887" y="connsiteY51887"/>
              </a:cxn>
              <a:cxn ang="0">
                <a:pos x="connsiteX51888" y="connsiteY51888"/>
              </a:cxn>
              <a:cxn ang="0">
                <a:pos x="connsiteX51889" y="connsiteY51889"/>
              </a:cxn>
              <a:cxn ang="0">
                <a:pos x="connsiteX51890" y="connsiteY51890"/>
              </a:cxn>
              <a:cxn ang="0">
                <a:pos x="connsiteX51891" y="connsiteY51891"/>
              </a:cxn>
              <a:cxn ang="0">
                <a:pos x="connsiteX51892" y="connsiteY51892"/>
              </a:cxn>
              <a:cxn ang="0">
                <a:pos x="connsiteX51893" y="connsiteY51893"/>
              </a:cxn>
              <a:cxn ang="0">
                <a:pos x="connsiteX51894" y="connsiteY51894"/>
              </a:cxn>
              <a:cxn ang="0">
                <a:pos x="connsiteX51895" y="connsiteY51895"/>
              </a:cxn>
              <a:cxn ang="0">
                <a:pos x="connsiteX51896" y="connsiteY51896"/>
              </a:cxn>
              <a:cxn ang="0">
                <a:pos x="connsiteX51897" y="connsiteY51897"/>
              </a:cxn>
              <a:cxn ang="0">
                <a:pos x="connsiteX51898" y="connsiteY51898"/>
              </a:cxn>
              <a:cxn ang="0">
                <a:pos x="connsiteX51899" y="connsiteY51899"/>
              </a:cxn>
              <a:cxn ang="0">
                <a:pos x="connsiteX51900" y="connsiteY51900"/>
              </a:cxn>
              <a:cxn ang="0">
                <a:pos x="connsiteX51901" y="connsiteY51901"/>
              </a:cxn>
              <a:cxn ang="0">
                <a:pos x="connsiteX51902" y="connsiteY51902"/>
              </a:cxn>
              <a:cxn ang="0">
                <a:pos x="connsiteX51903" y="connsiteY51903"/>
              </a:cxn>
              <a:cxn ang="0">
                <a:pos x="connsiteX51904" y="connsiteY51904"/>
              </a:cxn>
              <a:cxn ang="0">
                <a:pos x="connsiteX51905" y="connsiteY51905"/>
              </a:cxn>
              <a:cxn ang="0">
                <a:pos x="connsiteX51906" y="connsiteY51906"/>
              </a:cxn>
              <a:cxn ang="0">
                <a:pos x="connsiteX51907" y="connsiteY51907"/>
              </a:cxn>
              <a:cxn ang="0">
                <a:pos x="connsiteX51908" y="connsiteY51908"/>
              </a:cxn>
              <a:cxn ang="0">
                <a:pos x="connsiteX51909" y="connsiteY51909"/>
              </a:cxn>
              <a:cxn ang="0">
                <a:pos x="connsiteX51910" y="connsiteY51910"/>
              </a:cxn>
              <a:cxn ang="0">
                <a:pos x="connsiteX51911" y="connsiteY51911"/>
              </a:cxn>
              <a:cxn ang="0">
                <a:pos x="connsiteX51912" y="connsiteY51912"/>
              </a:cxn>
              <a:cxn ang="0">
                <a:pos x="connsiteX51913" y="connsiteY51913"/>
              </a:cxn>
              <a:cxn ang="0">
                <a:pos x="connsiteX51914" y="connsiteY51914"/>
              </a:cxn>
              <a:cxn ang="0">
                <a:pos x="connsiteX51915" y="connsiteY51915"/>
              </a:cxn>
              <a:cxn ang="0">
                <a:pos x="connsiteX51916" y="connsiteY51916"/>
              </a:cxn>
              <a:cxn ang="0">
                <a:pos x="connsiteX51917" y="connsiteY51917"/>
              </a:cxn>
              <a:cxn ang="0">
                <a:pos x="connsiteX51918" y="connsiteY51918"/>
              </a:cxn>
              <a:cxn ang="0">
                <a:pos x="connsiteX51919" y="connsiteY51919"/>
              </a:cxn>
              <a:cxn ang="0">
                <a:pos x="connsiteX51920" y="connsiteY51920"/>
              </a:cxn>
              <a:cxn ang="0">
                <a:pos x="connsiteX51921" y="connsiteY51921"/>
              </a:cxn>
              <a:cxn ang="0">
                <a:pos x="connsiteX51922" y="connsiteY51922"/>
              </a:cxn>
              <a:cxn ang="0">
                <a:pos x="connsiteX51923" y="connsiteY51923"/>
              </a:cxn>
              <a:cxn ang="0">
                <a:pos x="connsiteX51924" y="connsiteY51924"/>
              </a:cxn>
              <a:cxn ang="0">
                <a:pos x="connsiteX51925" y="connsiteY51925"/>
              </a:cxn>
              <a:cxn ang="0">
                <a:pos x="connsiteX51926" y="connsiteY51926"/>
              </a:cxn>
              <a:cxn ang="0">
                <a:pos x="connsiteX51927" y="connsiteY51927"/>
              </a:cxn>
              <a:cxn ang="0">
                <a:pos x="connsiteX51928" y="connsiteY51928"/>
              </a:cxn>
              <a:cxn ang="0">
                <a:pos x="connsiteX51929" y="connsiteY51929"/>
              </a:cxn>
              <a:cxn ang="0">
                <a:pos x="connsiteX51930" y="connsiteY51930"/>
              </a:cxn>
              <a:cxn ang="0">
                <a:pos x="connsiteX51931" y="connsiteY51931"/>
              </a:cxn>
              <a:cxn ang="0">
                <a:pos x="connsiteX51932" y="connsiteY51932"/>
              </a:cxn>
              <a:cxn ang="0">
                <a:pos x="connsiteX51933" y="connsiteY51933"/>
              </a:cxn>
              <a:cxn ang="0">
                <a:pos x="connsiteX51934" y="connsiteY51934"/>
              </a:cxn>
              <a:cxn ang="0">
                <a:pos x="connsiteX51935" y="connsiteY51935"/>
              </a:cxn>
              <a:cxn ang="0">
                <a:pos x="connsiteX51936" y="connsiteY51936"/>
              </a:cxn>
              <a:cxn ang="0">
                <a:pos x="connsiteX51937" y="connsiteY51937"/>
              </a:cxn>
              <a:cxn ang="0">
                <a:pos x="connsiteX51938" y="connsiteY51938"/>
              </a:cxn>
              <a:cxn ang="0">
                <a:pos x="connsiteX51939" y="connsiteY51939"/>
              </a:cxn>
              <a:cxn ang="0">
                <a:pos x="connsiteX51940" y="connsiteY51940"/>
              </a:cxn>
              <a:cxn ang="0">
                <a:pos x="connsiteX51941" y="connsiteY51941"/>
              </a:cxn>
              <a:cxn ang="0">
                <a:pos x="connsiteX51942" y="connsiteY51942"/>
              </a:cxn>
              <a:cxn ang="0">
                <a:pos x="connsiteX51943" y="connsiteY51943"/>
              </a:cxn>
              <a:cxn ang="0">
                <a:pos x="connsiteX51944" y="connsiteY51944"/>
              </a:cxn>
              <a:cxn ang="0">
                <a:pos x="connsiteX51945" y="connsiteY51945"/>
              </a:cxn>
              <a:cxn ang="0">
                <a:pos x="connsiteX51946" y="connsiteY51946"/>
              </a:cxn>
              <a:cxn ang="0">
                <a:pos x="connsiteX51947" y="connsiteY51947"/>
              </a:cxn>
              <a:cxn ang="0">
                <a:pos x="connsiteX51948" y="connsiteY51948"/>
              </a:cxn>
              <a:cxn ang="0">
                <a:pos x="connsiteX51949" y="connsiteY51949"/>
              </a:cxn>
              <a:cxn ang="0">
                <a:pos x="connsiteX51950" y="connsiteY51950"/>
              </a:cxn>
              <a:cxn ang="0">
                <a:pos x="connsiteX51951" y="connsiteY51951"/>
              </a:cxn>
              <a:cxn ang="0">
                <a:pos x="connsiteX51952" y="connsiteY51952"/>
              </a:cxn>
              <a:cxn ang="0">
                <a:pos x="connsiteX51953" y="connsiteY51953"/>
              </a:cxn>
              <a:cxn ang="0">
                <a:pos x="connsiteX51954" y="connsiteY51954"/>
              </a:cxn>
              <a:cxn ang="0">
                <a:pos x="connsiteX51955" y="connsiteY51955"/>
              </a:cxn>
              <a:cxn ang="0">
                <a:pos x="connsiteX51956" y="connsiteY51956"/>
              </a:cxn>
              <a:cxn ang="0">
                <a:pos x="connsiteX51957" y="connsiteY51957"/>
              </a:cxn>
              <a:cxn ang="0">
                <a:pos x="connsiteX51958" y="connsiteY51958"/>
              </a:cxn>
              <a:cxn ang="0">
                <a:pos x="connsiteX51959" y="connsiteY51959"/>
              </a:cxn>
              <a:cxn ang="0">
                <a:pos x="connsiteX51960" y="connsiteY51960"/>
              </a:cxn>
              <a:cxn ang="0">
                <a:pos x="connsiteX51961" y="connsiteY51961"/>
              </a:cxn>
              <a:cxn ang="0">
                <a:pos x="connsiteX51962" y="connsiteY51962"/>
              </a:cxn>
              <a:cxn ang="0">
                <a:pos x="connsiteX51963" y="connsiteY51963"/>
              </a:cxn>
              <a:cxn ang="0">
                <a:pos x="connsiteX51964" y="connsiteY51964"/>
              </a:cxn>
              <a:cxn ang="0">
                <a:pos x="connsiteX51965" y="connsiteY51965"/>
              </a:cxn>
              <a:cxn ang="0">
                <a:pos x="connsiteX51966" y="connsiteY51966"/>
              </a:cxn>
              <a:cxn ang="0">
                <a:pos x="connsiteX51967" y="connsiteY51967"/>
              </a:cxn>
              <a:cxn ang="0">
                <a:pos x="connsiteX51968" y="connsiteY51968"/>
              </a:cxn>
              <a:cxn ang="0">
                <a:pos x="connsiteX51969" y="connsiteY51969"/>
              </a:cxn>
              <a:cxn ang="0">
                <a:pos x="connsiteX51970" y="connsiteY51970"/>
              </a:cxn>
              <a:cxn ang="0">
                <a:pos x="connsiteX51971" y="connsiteY51971"/>
              </a:cxn>
              <a:cxn ang="0">
                <a:pos x="connsiteX51972" y="connsiteY51972"/>
              </a:cxn>
              <a:cxn ang="0">
                <a:pos x="connsiteX51973" y="connsiteY51973"/>
              </a:cxn>
              <a:cxn ang="0">
                <a:pos x="connsiteX51974" y="connsiteY51974"/>
              </a:cxn>
              <a:cxn ang="0">
                <a:pos x="connsiteX51975" y="connsiteY51975"/>
              </a:cxn>
              <a:cxn ang="0">
                <a:pos x="connsiteX51976" y="connsiteY51976"/>
              </a:cxn>
              <a:cxn ang="0">
                <a:pos x="connsiteX51977" y="connsiteY51977"/>
              </a:cxn>
              <a:cxn ang="0">
                <a:pos x="connsiteX51978" y="connsiteY51978"/>
              </a:cxn>
              <a:cxn ang="0">
                <a:pos x="connsiteX51979" y="connsiteY51979"/>
              </a:cxn>
              <a:cxn ang="0">
                <a:pos x="connsiteX51980" y="connsiteY51980"/>
              </a:cxn>
              <a:cxn ang="0">
                <a:pos x="connsiteX51981" y="connsiteY51981"/>
              </a:cxn>
              <a:cxn ang="0">
                <a:pos x="connsiteX51982" y="connsiteY51982"/>
              </a:cxn>
              <a:cxn ang="0">
                <a:pos x="connsiteX51983" y="connsiteY51983"/>
              </a:cxn>
              <a:cxn ang="0">
                <a:pos x="connsiteX51984" y="connsiteY51984"/>
              </a:cxn>
              <a:cxn ang="0">
                <a:pos x="connsiteX51985" y="connsiteY51985"/>
              </a:cxn>
              <a:cxn ang="0">
                <a:pos x="connsiteX51986" y="connsiteY51986"/>
              </a:cxn>
              <a:cxn ang="0">
                <a:pos x="connsiteX51987" y="connsiteY51987"/>
              </a:cxn>
              <a:cxn ang="0">
                <a:pos x="connsiteX51988" y="connsiteY51988"/>
              </a:cxn>
              <a:cxn ang="0">
                <a:pos x="connsiteX51989" y="connsiteY51989"/>
              </a:cxn>
              <a:cxn ang="0">
                <a:pos x="connsiteX51990" y="connsiteY51990"/>
              </a:cxn>
              <a:cxn ang="0">
                <a:pos x="connsiteX51991" y="connsiteY51991"/>
              </a:cxn>
              <a:cxn ang="0">
                <a:pos x="connsiteX51992" y="connsiteY51992"/>
              </a:cxn>
              <a:cxn ang="0">
                <a:pos x="connsiteX51993" y="connsiteY51993"/>
              </a:cxn>
              <a:cxn ang="0">
                <a:pos x="connsiteX51994" y="connsiteY51994"/>
              </a:cxn>
              <a:cxn ang="0">
                <a:pos x="connsiteX51995" y="connsiteY51995"/>
              </a:cxn>
              <a:cxn ang="0">
                <a:pos x="connsiteX51996" y="connsiteY51996"/>
              </a:cxn>
              <a:cxn ang="0">
                <a:pos x="connsiteX51997" y="connsiteY51997"/>
              </a:cxn>
              <a:cxn ang="0">
                <a:pos x="connsiteX51998" y="connsiteY51998"/>
              </a:cxn>
              <a:cxn ang="0">
                <a:pos x="connsiteX51999" y="connsiteY51999"/>
              </a:cxn>
              <a:cxn ang="0">
                <a:pos x="connsiteX52000" y="connsiteY52000"/>
              </a:cxn>
              <a:cxn ang="0">
                <a:pos x="connsiteX52001" y="connsiteY52001"/>
              </a:cxn>
              <a:cxn ang="0">
                <a:pos x="connsiteX52002" y="connsiteY52002"/>
              </a:cxn>
              <a:cxn ang="0">
                <a:pos x="connsiteX52003" y="connsiteY52003"/>
              </a:cxn>
              <a:cxn ang="0">
                <a:pos x="connsiteX52004" y="connsiteY52004"/>
              </a:cxn>
              <a:cxn ang="0">
                <a:pos x="connsiteX52005" y="connsiteY52005"/>
              </a:cxn>
              <a:cxn ang="0">
                <a:pos x="connsiteX52006" y="connsiteY52006"/>
              </a:cxn>
              <a:cxn ang="0">
                <a:pos x="connsiteX52007" y="connsiteY52007"/>
              </a:cxn>
              <a:cxn ang="0">
                <a:pos x="connsiteX52008" y="connsiteY52008"/>
              </a:cxn>
              <a:cxn ang="0">
                <a:pos x="connsiteX52009" y="connsiteY52009"/>
              </a:cxn>
              <a:cxn ang="0">
                <a:pos x="connsiteX52010" y="connsiteY52010"/>
              </a:cxn>
              <a:cxn ang="0">
                <a:pos x="connsiteX52011" y="connsiteY52011"/>
              </a:cxn>
              <a:cxn ang="0">
                <a:pos x="connsiteX52012" y="connsiteY52012"/>
              </a:cxn>
              <a:cxn ang="0">
                <a:pos x="connsiteX52013" y="connsiteY52013"/>
              </a:cxn>
              <a:cxn ang="0">
                <a:pos x="connsiteX52014" y="connsiteY52014"/>
              </a:cxn>
              <a:cxn ang="0">
                <a:pos x="connsiteX52015" y="connsiteY52015"/>
              </a:cxn>
              <a:cxn ang="0">
                <a:pos x="connsiteX52016" y="connsiteY52016"/>
              </a:cxn>
              <a:cxn ang="0">
                <a:pos x="connsiteX52017" y="connsiteY52017"/>
              </a:cxn>
              <a:cxn ang="0">
                <a:pos x="connsiteX52018" y="connsiteY52018"/>
              </a:cxn>
              <a:cxn ang="0">
                <a:pos x="connsiteX52019" y="connsiteY52019"/>
              </a:cxn>
              <a:cxn ang="0">
                <a:pos x="connsiteX52020" y="connsiteY52020"/>
              </a:cxn>
              <a:cxn ang="0">
                <a:pos x="connsiteX52021" y="connsiteY52021"/>
              </a:cxn>
              <a:cxn ang="0">
                <a:pos x="connsiteX52022" y="connsiteY52022"/>
              </a:cxn>
              <a:cxn ang="0">
                <a:pos x="connsiteX52023" y="connsiteY52023"/>
              </a:cxn>
              <a:cxn ang="0">
                <a:pos x="connsiteX52024" y="connsiteY52024"/>
              </a:cxn>
              <a:cxn ang="0">
                <a:pos x="connsiteX52025" y="connsiteY52025"/>
              </a:cxn>
              <a:cxn ang="0">
                <a:pos x="connsiteX52026" y="connsiteY52026"/>
              </a:cxn>
              <a:cxn ang="0">
                <a:pos x="connsiteX52027" y="connsiteY52027"/>
              </a:cxn>
              <a:cxn ang="0">
                <a:pos x="connsiteX52028" y="connsiteY52028"/>
              </a:cxn>
              <a:cxn ang="0">
                <a:pos x="connsiteX52029" y="connsiteY52029"/>
              </a:cxn>
              <a:cxn ang="0">
                <a:pos x="connsiteX52030" y="connsiteY52030"/>
              </a:cxn>
              <a:cxn ang="0">
                <a:pos x="connsiteX52031" y="connsiteY52031"/>
              </a:cxn>
              <a:cxn ang="0">
                <a:pos x="connsiteX52032" y="connsiteY52032"/>
              </a:cxn>
              <a:cxn ang="0">
                <a:pos x="connsiteX52033" y="connsiteY52033"/>
              </a:cxn>
              <a:cxn ang="0">
                <a:pos x="connsiteX52034" y="connsiteY52034"/>
              </a:cxn>
              <a:cxn ang="0">
                <a:pos x="connsiteX52035" y="connsiteY52035"/>
              </a:cxn>
              <a:cxn ang="0">
                <a:pos x="connsiteX52036" y="connsiteY52036"/>
              </a:cxn>
              <a:cxn ang="0">
                <a:pos x="connsiteX52037" y="connsiteY52037"/>
              </a:cxn>
              <a:cxn ang="0">
                <a:pos x="connsiteX52038" y="connsiteY52038"/>
              </a:cxn>
              <a:cxn ang="0">
                <a:pos x="connsiteX52039" y="connsiteY52039"/>
              </a:cxn>
              <a:cxn ang="0">
                <a:pos x="connsiteX52040" y="connsiteY52040"/>
              </a:cxn>
              <a:cxn ang="0">
                <a:pos x="connsiteX52041" y="connsiteY52041"/>
              </a:cxn>
              <a:cxn ang="0">
                <a:pos x="connsiteX52042" y="connsiteY52042"/>
              </a:cxn>
              <a:cxn ang="0">
                <a:pos x="connsiteX52043" y="connsiteY52043"/>
              </a:cxn>
              <a:cxn ang="0">
                <a:pos x="connsiteX52044" y="connsiteY52044"/>
              </a:cxn>
              <a:cxn ang="0">
                <a:pos x="connsiteX52045" y="connsiteY52045"/>
              </a:cxn>
              <a:cxn ang="0">
                <a:pos x="connsiteX52046" y="connsiteY52046"/>
              </a:cxn>
              <a:cxn ang="0">
                <a:pos x="connsiteX52047" y="connsiteY52047"/>
              </a:cxn>
              <a:cxn ang="0">
                <a:pos x="connsiteX52048" y="connsiteY52048"/>
              </a:cxn>
              <a:cxn ang="0">
                <a:pos x="connsiteX52049" y="connsiteY52049"/>
              </a:cxn>
              <a:cxn ang="0">
                <a:pos x="connsiteX52050" y="connsiteY52050"/>
              </a:cxn>
              <a:cxn ang="0">
                <a:pos x="connsiteX52051" y="connsiteY52051"/>
              </a:cxn>
              <a:cxn ang="0">
                <a:pos x="connsiteX52052" y="connsiteY52052"/>
              </a:cxn>
              <a:cxn ang="0">
                <a:pos x="connsiteX52053" y="connsiteY52053"/>
              </a:cxn>
              <a:cxn ang="0">
                <a:pos x="connsiteX52054" y="connsiteY52054"/>
              </a:cxn>
              <a:cxn ang="0">
                <a:pos x="connsiteX52055" y="connsiteY52055"/>
              </a:cxn>
              <a:cxn ang="0">
                <a:pos x="connsiteX52056" y="connsiteY52056"/>
              </a:cxn>
              <a:cxn ang="0">
                <a:pos x="connsiteX52057" y="connsiteY52057"/>
              </a:cxn>
              <a:cxn ang="0">
                <a:pos x="connsiteX52058" y="connsiteY52058"/>
              </a:cxn>
              <a:cxn ang="0">
                <a:pos x="connsiteX52059" y="connsiteY52059"/>
              </a:cxn>
              <a:cxn ang="0">
                <a:pos x="connsiteX52060" y="connsiteY52060"/>
              </a:cxn>
              <a:cxn ang="0">
                <a:pos x="connsiteX52061" y="connsiteY52061"/>
              </a:cxn>
              <a:cxn ang="0">
                <a:pos x="connsiteX52062" y="connsiteY52062"/>
              </a:cxn>
              <a:cxn ang="0">
                <a:pos x="connsiteX52063" y="connsiteY52063"/>
              </a:cxn>
              <a:cxn ang="0">
                <a:pos x="connsiteX52064" y="connsiteY52064"/>
              </a:cxn>
              <a:cxn ang="0">
                <a:pos x="connsiteX52065" y="connsiteY52065"/>
              </a:cxn>
              <a:cxn ang="0">
                <a:pos x="connsiteX52066" y="connsiteY52066"/>
              </a:cxn>
              <a:cxn ang="0">
                <a:pos x="connsiteX52067" y="connsiteY52067"/>
              </a:cxn>
              <a:cxn ang="0">
                <a:pos x="connsiteX52068" y="connsiteY52068"/>
              </a:cxn>
              <a:cxn ang="0">
                <a:pos x="connsiteX52069" y="connsiteY52069"/>
              </a:cxn>
              <a:cxn ang="0">
                <a:pos x="connsiteX52070" y="connsiteY52070"/>
              </a:cxn>
              <a:cxn ang="0">
                <a:pos x="connsiteX52071" y="connsiteY52071"/>
              </a:cxn>
              <a:cxn ang="0">
                <a:pos x="connsiteX52072" y="connsiteY52072"/>
              </a:cxn>
              <a:cxn ang="0">
                <a:pos x="connsiteX52073" y="connsiteY52073"/>
              </a:cxn>
              <a:cxn ang="0">
                <a:pos x="connsiteX52074" y="connsiteY52074"/>
              </a:cxn>
              <a:cxn ang="0">
                <a:pos x="connsiteX52075" y="connsiteY52075"/>
              </a:cxn>
              <a:cxn ang="0">
                <a:pos x="connsiteX52076" y="connsiteY52076"/>
              </a:cxn>
              <a:cxn ang="0">
                <a:pos x="connsiteX52077" y="connsiteY52077"/>
              </a:cxn>
              <a:cxn ang="0">
                <a:pos x="connsiteX52078" y="connsiteY52078"/>
              </a:cxn>
              <a:cxn ang="0">
                <a:pos x="connsiteX52079" y="connsiteY52079"/>
              </a:cxn>
              <a:cxn ang="0">
                <a:pos x="connsiteX52080" y="connsiteY52080"/>
              </a:cxn>
              <a:cxn ang="0">
                <a:pos x="connsiteX52081" y="connsiteY52081"/>
              </a:cxn>
              <a:cxn ang="0">
                <a:pos x="connsiteX52082" y="connsiteY52082"/>
              </a:cxn>
              <a:cxn ang="0">
                <a:pos x="connsiteX52083" y="connsiteY52083"/>
              </a:cxn>
              <a:cxn ang="0">
                <a:pos x="connsiteX52084" y="connsiteY52084"/>
              </a:cxn>
              <a:cxn ang="0">
                <a:pos x="connsiteX52085" y="connsiteY52085"/>
              </a:cxn>
              <a:cxn ang="0">
                <a:pos x="connsiteX52086" y="connsiteY52086"/>
              </a:cxn>
              <a:cxn ang="0">
                <a:pos x="connsiteX52087" y="connsiteY52087"/>
              </a:cxn>
              <a:cxn ang="0">
                <a:pos x="connsiteX52088" y="connsiteY52088"/>
              </a:cxn>
              <a:cxn ang="0">
                <a:pos x="connsiteX52089" y="connsiteY52089"/>
              </a:cxn>
              <a:cxn ang="0">
                <a:pos x="connsiteX52090" y="connsiteY52090"/>
              </a:cxn>
              <a:cxn ang="0">
                <a:pos x="connsiteX52091" y="connsiteY52091"/>
              </a:cxn>
              <a:cxn ang="0">
                <a:pos x="connsiteX52092" y="connsiteY52092"/>
              </a:cxn>
              <a:cxn ang="0">
                <a:pos x="connsiteX52093" y="connsiteY52093"/>
              </a:cxn>
              <a:cxn ang="0">
                <a:pos x="connsiteX52094" y="connsiteY52094"/>
              </a:cxn>
              <a:cxn ang="0">
                <a:pos x="connsiteX52095" y="connsiteY52095"/>
              </a:cxn>
              <a:cxn ang="0">
                <a:pos x="connsiteX52096" y="connsiteY52096"/>
              </a:cxn>
              <a:cxn ang="0">
                <a:pos x="connsiteX52097" y="connsiteY52097"/>
              </a:cxn>
              <a:cxn ang="0">
                <a:pos x="connsiteX52098" y="connsiteY52098"/>
              </a:cxn>
              <a:cxn ang="0">
                <a:pos x="connsiteX52099" y="connsiteY52099"/>
              </a:cxn>
              <a:cxn ang="0">
                <a:pos x="connsiteX52100" y="connsiteY52100"/>
              </a:cxn>
              <a:cxn ang="0">
                <a:pos x="connsiteX52101" y="connsiteY52101"/>
              </a:cxn>
              <a:cxn ang="0">
                <a:pos x="connsiteX52102" y="connsiteY52102"/>
              </a:cxn>
              <a:cxn ang="0">
                <a:pos x="connsiteX52103" y="connsiteY52103"/>
              </a:cxn>
              <a:cxn ang="0">
                <a:pos x="connsiteX52104" y="connsiteY52104"/>
              </a:cxn>
              <a:cxn ang="0">
                <a:pos x="connsiteX52105" y="connsiteY52105"/>
              </a:cxn>
              <a:cxn ang="0">
                <a:pos x="connsiteX52106" y="connsiteY52106"/>
              </a:cxn>
              <a:cxn ang="0">
                <a:pos x="connsiteX52107" y="connsiteY52107"/>
              </a:cxn>
              <a:cxn ang="0">
                <a:pos x="connsiteX52108" y="connsiteY52108"/>
              </a:cxn>
              <a:cxn ang="0">
                <a:pos x="connsiteX52109" y="connsiteY52109"/>
              </a:cxn>
              <a:cxn ang="0">
                <a:pos x="connsiteX52110" y="connsiteY52110"/>
              </a:cxn>
              <a:cxn ang="0">
                <a:pos x="connsiteX52111" y="connsiteY52111"/>
              </a:cxn>
              <a:cxn ang="0">
                <a:pos x="connsiteX52112" y="connsiteY52112"/>
              </a:cxn>
              <a:cxn ang="0">
                <a:pos x="connsiteX52113" y="connsiteY52113"/>
              </a:cxn>
              <a:cxn ang="0">
                <a:pos x="connsiteX52114" y="connsiteY52114"/>
              </a:cxn>
              <a:cxn ang="0">
                <a:pos x="connsiteX52115" y="connsiteY52115"/>
              </a:cxn>
              <a:cxn ang="0">
                <a:pos x="connsiteX52116" y="connsiteY52116"/>
              </a:cxn>
              <a:cxn ang="0">
                <a:pos x="connsiteX52117" y="connsiteY52117"/>
              </a:cxn>
              <a:cxn ang="0">
                <a:pos x="connsiteX52118" y="connsiteY52118"/>
              </a:cxn>
              <a:cxn ang="0">
                <a:pos x="connsiteX52119" y="connsiteY52119"/>
              </a:cxn>
              <a:cxn ang="0">
                <a:pos x="connsiteX52120" y="connsiteY52120"/>
              </a:cxn>
              <a:cxn ang="0">
                <a:pos x="connsiteX52121" y="connsiteY52121"/>
              </a:cxn>
              <a:cxn ang="0">
                <a:pos x="connsiteX52122" y="connsiteY52122"/>
              </a:cxn>
              <a:cxn ang="0">
                <a:pos x="connsiteX52123" y="connsiteY52123"/>
              </a:cxn>
              <a:cxn ang="0">
                <a:pos x="connsiteX52124" y="connsiteY52124"/>
              </a:cxn>
              <a:cxn ang="0">
                <a:pos x="connsiteX52125" y="connsiteY52125"/>
              </a:cxn>
              <a:cxn ang="0">
                <a:pos x="connsiteX52126" y="connsiteY52126"/>
              </a:cxn>
            </a:cxnLst>
            <a:rect l="l" t="t" r="r" b="b"/>
            <a:pathLst>
              <a:path w="8079933" h="4687251">
                <a:moveTo>
                  <a:pt x="7607668" y="4671984"/>
                </a:moveTo>
                <a:lnTo>
                  <a:pt x="7610056" y="4672092"/>
                </a:lnTo>
                <a:lnTo>
                  <a:pt x="7609404" y="4676423"/>
                </a:lnTo>
                <a:lnTo>
                  <a:pt x="7606474" y="4680213"/>
                </a:lnTo>
                <a:lnTo>
                  <a:pt x="7608536" y="4684544"/>
                </a:lnTo>
                <a:lnTo>
                  <a:pt x="7607450" y="4687251"/>
                </a:lnTo>
                <a:lnTo>
                  <a:pt x="7602676" y="4685194"/>
                </a:lnTo>
                <a:lnTo>
                  <a:pt x="7598335" y="4686926"/>
                </a:lnTo>
                <a:lnTo>
                  <a:pt x="7595948" y="4683678"/>
                </a:lnTo>
                <a:close/>
                <a:moveTo>
                  <a:pt x="2515090" y="4599009"/>
                </a:moveTo>
                <a:lnTo>
                  <a:pt x="2517477" y="4599009"/>
                </a:lnTo>
                <a:lnTo>
                  <a:pt x="2514221" y="4602258"/>
                </a:lnTo>
                <a:lnTo>
                  <a:pt x="2512160" y="4600742"/>
                </a:lnTo>
                <a:cubicBezTo>
                  <a:pt x="2512268" y="4600959"/>
                  <a:pt x="2515090" y="4599009"/>
                  <a:pt x="2515090" y="4599009"/>
                </a:cubicBezTo>
                <a:close/>
                <a:moveTo>
                  <a:pt x="2519647" y="4589589"/>
                </a:moveTo>
                <a:lnTo>
                  <a:pt x="2522795" y="4590781"/>
                </a:lnTo>
                <a:lnTo>
                  <a:pt x="2523446" y="4594353"/>
                </a:lnTo>
                <a:lnTo>
                  <a:pt x="2523229" y="4598359"/>
                </a:lnTo>
                <a:lnTo>
                  <a:pt x="2520516" y="4598143"/>
                </a:lnTo>
                <a:lnTo>
                  <a:pt x="2518237" y="4595653"/>
                </a:lnTo>
                <a:lnTo>
                  <a:pt x="2520950" y="4592188"/>
                </a:lnTo>
                <a:close/>
                <a:moveTo>
                  <a:pt x="2429470" y="4575623"/>
                </a:moveTo>
                <a:lnTo>
                  <a:pt x="2431423" y="4577247"/>
                </a:lnTo>
                <a:lnTo>
                  <a:pt x="2428711" y="4580279"/>
                </a:lnTo>
                <a:lnTo>
                  <a:pt x="2425564" y="4577464"/>
                </a:lnTo>
                <a:close/>
                <a:moveTo>
                  <a:pt x="2426757" y="4568693"/>
                </a:moveTo>
                <a:lnTo>
                  <a:pt x="2430121" y="4570318"/>
                </a:lnTo>
                <a:lnTo>
                  <a:pt x="2429796" y="4572916"/>
                </a:lnTo>
                <a:lnTo>
                  <a:pt x="2427083" y="4573024"/>
                </a:lnTo>
                <a:lnTo>
                  <a:pt x="2425564" y="4571509"/>
                </a:lnTo>
                <a:close/>
                <a:moveTo>
                  <a:pt x="2494254" y="4567611"/>
                </a:moveTo>
                <a:lnTo>
                  <a:pt x="2501634" y="4568261"/>
                </a:lnTo>
                <a:lnTo>
                  <a:pt x="2507493" y="4567828"/>
                </a:lnTo>
                <a:lnTo>
                  <a:pt x="2514438" y="4567611"/>
                </a:lnTo>
                <a:lnTo>
                  <a:pt x="2518887" y="4568803"/>
                </a:lnTo>
                <a:lnTo>
                  <a:pt x="2519755" y="4572916"/>
                </a:lnTo>
                <a:lnTo>
                  <a:pt x="2522143" y="4575299"/>
                </a:lnTo>
                <a:lnTo>
                  <a:pt x="2519755" y="4577789"/>
                </a:lnTo>
                <a:lnTo>
                  <a:pt x="2516174" y="4580171"/>
                </a:lnTo>
                <a:lnTo>
                  <a:pt x="2513896" y="4577248"/>
                </a:lnTo>
                <a:lnTo>
                  <a:pt x="2511291" y="4576056"/>
                </a:lnTo>
                <a:lnTo>
                  <a:pt x="2506842" y="4579197"/>
                </a:lnTo>
                <a:lnTo>
                  <a:pt x="2501308" y="4579413"/>
                </a:lnTo>
                <a:lnTo>
                  <a:pt x="2499246" y="4576598"/>
                </a:lnTo>
                <a:lnTo>
                  <a:pt x="2497184" y="4572050"/>
                </a:lnTo>
                <a:lnTo>
                  <a:pt x="2493603" y="4571942"/>
                </a:lnTo>
                <a:lnTo>
                  <a:pt x="2489914" y="4575732"/>
                </a:lnTo>
                <a:lnTo>
                  <a:pt x="2487201" y="4575732"/>
                </a:lnTo>
                <a:lnTo>
                  <a:pt x="2481558" y="4576598"/>
                </a:lnTo>
                <a:lnTo>
                  <a:pt x="2486007" y="4579954"/>
                </a:lnTo>
                <a:lnTo>
                  <a:pt x="2487201" y="4579413"/>
                </a:lnTo>
                <a:lnTo>
                  <a:pt x="2492844" y="4580712"/>
                </a:lnTo>
                <a:lnTo>
                  <a:pt x="2494906" y="4582336"/>
                </a:lnTo>
                <a:lnTo>
                  <a:pt x="2493386" y="4584068"/>
                </a:lnTo>
                <a:lnTo>
                  <a:pt x="2497293" y="4585693"/>
                </a:lnTo>
                <a:lnTo>
                  <a:pt x="2502393" y="4590023"/>
                </a:lnTo>
                <a:lnTo>
                  <a:pt x="2502393" y="4594246"/>
                </a:lnTo>
                <a:lnTo>
                  <a:pt x="2500440" y="4593921"/>
                </a:lnTo>
                <a:lnTo>
                  <a:pt x="2495122" y="4589157"/>
                </a:lnTo>
                <a:lnTo>
                  <a:pt x="2491650" y="4588183"/>
                </a:lnTo>
                <a:lnTo>
                  <a:pt x="2488069" y="4590132"/>
                </a:lnTo>
                <a:lnTo>
                  <a:pt x="2484597" y="4587750"/>
                </a:lnTo>
                <a:lnTo>
                  <a:pt x="2483077" y="4583419"/>
                </a:lnTo>
                <a:lnTo>
                  <a:pt x="2478086" y="4583960"/>
                </a:lnTo>
                <a:lnTo>
                  <a:pt x="2477543" y="4586126"/>
                </a:lnTo>
                <a:lnTo>
                  <a:pt x="2481124" y="4588183"/>
                </a:lnTo>
                <a:lnTo>
                  <a:pt x="2480690" y="4591864"/>
                </a:lnTo>
                <a:lnTo>
                  <a:pt x="2478628" y="4591972"/>
                </a:lnTo>
                <a:lnTo>
                  <a:pt x="2473094" y="4589482"/>
                </a:lnTo>
                <a:lnTo>
                  <a:pt x="2469947" y="4590782"/>
                </a:lnTo>
                <a:lnTo>
                  <a:pt x="2468753" y="4588399"/>
                </a:lnTo>
                <a:lnTo>
                  <a:pt x="2465498" y="4587209"/>
                </a:lnTo>
                <a:lnTo>
                  <a:pt x="2467017" y="4583636"/>
                </a:lnTo>
                <a:lnTo>
                  <a:pt x="2463545" y="4586559"/>
                </a:lnTo>
                <a:lnTo>
                  <a:pt x="2459855" y="4583744"/>
                </a:lnTo>
                <a:lnTo>
                  <a:pt x="2459964" y="4581687"/>
                </a:lnTo>
                <a:lnTo>
                  <a:pt x="2463761" y="4579846"/>
                </a:lnTo>
                <a:lnTo>
                  <a:pt x="2470706" y="4577248"/>
                </a:lnTo>
                <a:lnTo>
                  <a:pt x="2466800" y="4575299"/>
                </a:lnTo>
                <a:lnTo>
                  <a:pt x="2463978" y="4576706"/>
                </a:lnTo>
                <a:lnTo>
                  <a:pt x="2461374" y="4574324"/>
                </a:lnTo>
                <a:lnTo>
                  <a:pt x="2464738" y="4572591"/>
                </a:lnTo>
                <a:lnTo>
                  <a:pt x="2468536" y="4572591"/>
                </a:lnTo>
                <a:lnTo>
                  <a:pt x="2471032" y="4572050"/>
                </a:lnTo>
                <a:lnTo>
                  <a:pt x="2476566" y="4572916"/>
                </a:lnTo>
                <a:lnTo>
                  <a:pt x="2488069" y="4570318"/>
                </a:lnTo>
                <a:close/>
                <a:moveTo>
                  <a:pt x="2584759" y="4552236"/>
                </a:moveTo>
                <a:lnTo>
                  <a:pt x="2590293" y="4552561"/>
                </a:lnTo>
                <a:lnTo>
                  <a:pt x="2585952" y="4556567"/>
                </a:lnTo>
                <a:lnTo>
                  <a:pt x="2581069" y="4557758"/>
                </a:lnTo>
                <a:lnTo>
                  <a:pt x="2575860" y="4561114"/>
                </a:lnTo>
                <a:lnTo>
                  <a:pt x="2572062" y="4557758"/>
                </a:lnTo>
                <a:lnTo>
                  <a:pt x="2574992" y="4555918"/>
                </a:lnTo>
                <a:lnTo>
                  <a:pt x="2581503" y="4555593"/>
                </a:lnTo>
                <a:close/>
                <a:moveTo>
                  <a:pt x="2404619" y="4547040"/>
                </a:moveTo>
                <a:lnTo>
                  <a:pt x="2406790" y="4548014"/>
                </a:lnTo>
                <a:lnTo>
                  <a:pt x="2405922" y="4549314"/>
                </a:lnTo>
                <a:lnTo>
                  <a:pt x="2403643" y="4552887"/>
                </a:lnTo>
                <a:lnTo>
                  <a:pt x="2400496" y="4553861"/>
                </a:lnTo>
                <a:lnTo>
                  <a:pt x="2400496" y="4550722"/>
                </a:lnTo>
                <a:lnTo>
                  <a:pt x="2403209" y="4547581"/>
                </a:lnTo>
                <a:close/>
                <a:moveTo>
                  <a:pt x="2435656" y="4544766"/>
                </a:moveTo>
                <a:lnTo>
                  <a:pt x="2440105" y="4547148"/>
                </a:lnTo>
                <a:lnTo>
                  <a:pt x="2448135" y="4550396"/>
                </a:lnTo>
                <a:lnTo>
                  <a:pt x="2450196" y="4551262"/>
                </a:lnTo>
                <a:lnTo>
                  <a:pt x="2452041" y="4549746"/>
                </a:lnTo>
                <a:lnTo>
                  <a:pt x="2450523" y="4547689"/>
                </a:lnTo>
                <a:lnTo>
                  <a:pt x="2450848" y="4545740"/>
                </a:lnTo>
                <a:lnTo>
                  <a:pt x="2456382" y="4547689"/>
                </a:lnTo>
                <a:lnTo>
                  <a:pt x="2468428" y="4551262"/>
                </a:lnTo>
                <a:lnTo>
                  <a:pt x="2476675" y="4554402"/>
                </a:lnTo>
                <a:lnTo>
                  <a:pt x="2481124" y="4557325"/>
                </a:lnTo>
                <a:lnTo>
                  <a:pt x="2483837" y="4557217"/>
                </a:lnTo>
                <a:lnTo>
                  <a:pt x="2486116" y="4566203"/>
                </a:lnTo>
                <a:lnTo>
                  <a:pt x="2480690" y="4566203"/>
                </a:lnTo>
                <a:lnTo>
                  <a:pt x="2481124" y="4568802"/>
                </a:lnTo>
                <a:lnTo>
                  <a:pt x="2478737" y="4570318"/>
                </a:lnTo>
                <a:lnTo>
                  <a:pt x="2459855" y="4565554"/>
                </a:lnTo>
                <a:lnTo>
                  <a:pt x="2455622" y="4567611"/>
                </a:lnTo>
                <a:lnTo>
                  <a:pt x="2445530" y="4571509"/>
                </a:lnTo>
                <a:lnTo>
                  <a:pt x="2448135" y="4573241"/>
                </a:lnTo>
                <a:lnTo>
                  <a:pt x="2451282" y="4573999"/>
                </a:lnTo>
                <a:lnTo>
                  <a:pt x="2450631" y="4576056"/>
                </a:lnTo>
                <a:lnTo>
                  <a:pt x="2447810" y="4578005"/>
                </a:lnTo>
                <a:lnTo>
                  <a:pt x="2444337" y="4576489"/>
                </a:lnTo>
                <a:lnTo>
                  <a:pt x="2443143" y="4576705"/>
                </a:lnTo>
                <a:lnTo>
                  <a:pt x="2443794" y="4579196"/>
                </a:lnTo>
                <a:lnTo>
                  <a:pt x="2448461" y="4582011"/>
                </a:lnTo>
                <a:lnTo>
                  <a:pt x="2451391" y="4584068"/>
                </a:lnTo>
                <a:lnTo>
                  <a:pt x="2450739" y="4585692"/>
                </a:lnTo>
                <a:lnTo>
                  <a:pt x="2447918" y="4585692"/>
                </a:lnTo>
                <a:lnTo>
                  <a:pt x="2444012" y="4581686"/>
                </a:lnTo>
                <a:lnTo>
                  <a:pt x="2441190" y="4580495"/>
                </a:lnTo>
                <a:lnTo>
                  <a:pt x="2438151" y="4580604"/>
                </a:lnTo>
                <a:lnTo>
                  <a:pt x="2435439" y="4577572"/>
                </a:lnTo>
                <a:lnTo>
                  <a:pt x="2437500" y="4573241"/>
                </a:lnTo>
                <a:lnTo>
                  <a:pt x="2440973" y="4571617"/>
                </a:lnTo>
                <a:lnTo>
                  <a:pt x="2438043" y="4569776"/>
                </a:lnTo>
                <a:lnTo>
                  <a:pt x="2438043" y="4567070"/>
                </a:lnTo>
                <a:lnTo>
                  <a:pt x="2436632" y="4565337"/>
                </a:lnTo>
                <a:lnTo>
                  <a:pt x="2434245" y="4566421"/>
                </a:lnTo>
                <a:lnTo>
                  <a:pt x="2429687" y="4563389"/>
                </a:lnTo>
                <a:lnTo>
                  <a:pt x="2426866" y="4562089"/>
                </a:lnTo>
                <a:lnTo>
                  <a:pt x="2425563" y="4563064"/>
                </a:lnTo>
                <a:lnTo>
                  <a:pt x="2424262" y="4565229"/>
                </a:lnTo>
                <a:lnTo>
                  <a:pt x="2420029" y="4565446"/>
                </a:lnTo>
                <a:lnTo>
                  <a:pt x="2414821" y="4564471"/>
                </a:lnTo>
                <a:lnTo>
                  <a:pt x="2414061" y="4561764"/>
                </a:lnTo>
                <a:lnTo>
                  <a:pt x="2418619" y="4560682"/>
                </a:lnTo>
                <a:lnTo>
                  <a:pt x="2422417" y="4561440"/>
                </a:lnTo>
                <a:lnTo>
                  <a:pt x="2423176" y="4560140"/>
                </a:lnTo>
                <a:lnTo>
                  <a:pt x="2421440" y="4558408"/>
                </a:lnTo>
                <a:lnTo>
                  <a:pt x="2423176" y="4557325"/>
                </a:lnTo>
                <a:lnTo>
                  <a:pt x="2431098" y="4556784"/>
                </a:lnTo>
                <a:lnTo>
                  <a:pt x="2433919" y="4556243"/>
                </a:lnTo>
                <a:lnTo>
                  <a:pt x="2433485" y="4553103"/>
                </a:lnTo>
                <a:lnTo>
                  <a:pt x="2435113" y="4551803"/>
                </a:lnTo>
                <a:lnTo>
                  <a:pt x="2439996" y="4554835"/>
                </a:lnTo>
                <a:lnTo>
                  <a:pt x="2441407" y="4557542"/>
                </a:lnTo>
                <a:lnTo>
                  <a:pt x="2443143" y="4557217"/>
                </a:lnTo>
                <a:lnTo>
                  <a:pt x="2443360" y="4555268"/>
                </a:lnTo>
                <a:lnTo>
                  <a:pt x="2444337" y="4554835"/>
                </a:lnTo>
                <a:lnTo>
                  <a:pt x="2447375" y="4554835"/>
                </a:lnTo>
                <a:lnTo>
                  <a:pt x="2446725" y="4552995"/>
                </a:lnTo>
                <a:lnTo>
                  <a:pt x="2436416" y="4548123"/>
                </a:lnTo>
                <a:lnTo>
                  <a:pt x="2434571" y="4545849"/>
                </a:lnTo>
                <a:close/>
                <a:moveTo>
                  <a:pt x="2386606" y="4544332"/>
                </a:moveTo>
                <a:lnTo>
                  <a:pt x="2389102" y="4546714"/>
                </a:lnTo>
                <a:lnTo>
                  <a:pt x="2387366" y="4548338"/>
                </a:lnTo>
                <a:lnTo>
                  <a:pt x="2385303" y="4546930"/>
                </a:lnTo>
                <a:lnTo>
                  <a:pt x="2384110" y="4546173"/>
                </a:lnTo>
                <a:close/>
                <a:moveTo>
                  <a:pt x="2413192" y="4539568"/>
                </a:moveTo>
                <a:lnTo>
                  <a:pt x="2421656" y="4541842"/>
                </a:lnTo>
                <a:lnTo>
                  <a:pt x="2423609" y="4544873"/>
                </a:lnTo>
                <a:lnTo>
                  <a:pt x="2425779" y="4542816"/>
                </a:lnTo>
                <a:lnTo>
                  <a:pt x="2428058" y="4542384"/>
                </a:lnTo>
                <a:lnTo>
                  <a:pt x="2430011" y="4543574"/>
                </a:lnTo>
                <a:lnTo>
                  <a:pt x="2428167" y="4547147"/>
                </a:lnTo>
                <a:lnTo>
                  <a:pt x="2429360" y="4549854"/>
                </a:lnTo>
                <a:lnTo>
                  <a:pt x="2426539" y="4552019"/>
                </a:lnTo>
                <a:lnTo>
                  <a:pt x="2422633" y="4550829"/>
                </a:lnTo>
                <a:lnTo>
                  <a:pt x="2421113" y="4548554"/>
                </a:lnTo>
                <a:lnTo>
                  <a:pt x="2419051" y="4550395"/>
                </a:lnTo>
                <a:lnTo>
                  <a:pt x="2416338" y="4547905"/>
                </a:lnTo>
                <a:lnTo>
                  <a:pt x="2412107" y="4547256"/>
                </a:lnTo>
                <a:lnTo>
                  <a:pt x="2410045" y="4549313"/>
                </a:lnTo>
                <a:lnTo>
                  <a:pt x="2407875" y="4545523"/>
                </a:lnTo>
                <a:lnTo>
                  <a:pt x="2405162" y="4544007"/>
                </a:lnTo>
                <a:lnTo>
                  <a:pt x="2405162" y="4541625"/>
                </a:lnTo>
                <a:lnTo>
                  <a:pt x="2411564" y="4541084"/>
                </a:lnTo>
                <a:close/>
                <a:moveTo>
                  <a:pt x="2352424" y="4525385"/>
                </a:moveTo>
                <a:lnTo>
                  <a:pt x="2352424" y="4525386"/>
                </a:lnTo>
                <a:cubicBezTo>
                  <a:pt x="2353347" y="4526514"/>
                  <a:pt x="2354363" y="4527565"/>
                  <a:pt x="2355461" y="4528525"/>
                </a:cubicBezTo>
                <a:lnTo>
                  <a:pt x="2350362" y="4527009"/>
                </a:lnTo>
                <a:close/>
                <a:moveTo>
                  <a:pt x="2368810" y="4525060"/>
                </a:moveTo>
                <a:lnTo>
                  <a:pt x="2371306" y="4527442"/>
                </a:lnTo>
                <a:lnTo>
                  <a:pt x="2373585" y="4528525"/>
                </a:lnTo>
                <a:lnTo>
                  <a:pt x="2377817" y="4526793"/>
                </a:lnTo>
                <a:lnTo>
                  <a:pt x="2382917" y="4526576"/>
                </a:lnTo>
                <a:lnTo>
                  <a:pt x="2389537" y="4531340"/>
                </a:lnTo>
                <a:lnTo>
                  <a:pt x="2392467" y="4532639"/>
                </a:lnTo>
                <a:lnTo>
                  <a:pt x="2393661" y="4535238"/>
                </a:lnTo>
                <a:lnTo>
                  <a:pt x="2398544" y="4533722"/>
                </a:lnTo>
                <a:lnTo>
                  <a:pt x="2401908" y="4535129"/>
                </a:lnTo>
                <a:lnTo>
                  <a:pt x="2403536" y="4538594"/>
                </a:lnTo>
                <a:lnTo>
                  <a:pt x="2400063" y="4538378"/>
                </a:lnTo>
                <a:lnTo>
                  <a:pt x="2397676" y="4539460"/>
                </a:lnTo>
                <a:lnTo>
                  <a:pt x="2399629" y="4540868"/>
                </a:lnTo>
                <a:lnTo>
                  <a:pt x="2399846" y="4543358"/>
                </a:lnTo>
                <a:lnTo>
                  <a:pt x="2396265" y="4546715"/>
                </a:lnTo>
                <a:lnTo>
                  <a:pt x="2397567" y="4548988"/>
                </a:lnTo>
                <a:lnTo>
                  <a:pt x="2394204" y="4550395"/>
                </a:lnTo>
                <a:lnTo>
                  <a:pt x="2391164" y="4547472"/>
                </a:lnTo>
                <a:lnTo>
                  <a:pt x="2390731" y="4544224"/>
                </a:lnTo>
                <a:lnTo>
                  <a:pt x="2388235" y="4542709"/>
                </a:lnTo>
                <a:lnTo>
                  <a:pt x="2382917" y="4543683"/>
                </a:lnTo>
                <a:lnTo>
                  <a:pt x="2379445" y="4543142"/>
                </a:lnTo>
                <a:lnTo>
                  <a:pt x="2374670" y="4537511"/>
                </a:lnTo>
                <a:lnTo>
                  <a:pt x="2370221" y="4536428"/>
                </a:lnTo>
                <a:lnTo>
                  <a:pt x="2368484" y="4532206"/>
                </a:lnTo>
                <a:lnTo>
                  <a:pt x="2364035" y="4529824"/>
                </a:lnTo>
                <a:lnTo>
                  <a:pt x="2363710" y="4527334"/>
                </a:lnTo>
                <a:lnTo>
                  <a:pt x="2365120" y="4525385"/>
                </a:lnTo>
                <a:close/>
                <a:moveTo>
                  <a:pt x="7729206" y="4521163"/>
                </a:moveTo>
                <a:lnTo>
                  <a:pt x="7728663" y="4523220"/>
                </a:lnTo>
                <a:lnTo>
                  <a:pt x="7726493" y="4522787"/>
                </a:lnTo>
                <a:close/>
                <a:moveTo>
                  <a:pt x="2433051" y="4519322"/>
                </a:moveTo>
                <a:lnTo>
                  <a:pt x="2435872" y="4521055"/>
                </a:lnTo>
                <a:lnTo>
                  <a:pt x="2436740" y="4526035"/>
                </a:lnTo>
                <a:lnTo>
                  <a:pt x="2439780" y="4530583"/>
                </a:lnTo>
                <a:lnTo>
                  <a:pt x="2439237" y="4532315"/>
                </a:lnTo>
                <a:lnTo>
                  <a:pt x="2441298" y="4535021"/>
                </a:lnTo>
                <a:lnTo>
                  <a:pt x="2438151" y="4538161"/>
                </a:lnTo>
                <a:lnTo>
                  <a:pt x="2443360" y="4541951"/>
                </a:lnTo>
                <a:lnTo>
                  <a:pt x="2441624" y="4544116"/>
                </a:lnTo>
                <a:lnTo>
                  <a:pt x="2439997" y="4542600"/>
                </a:lnTo>
                <a:lnTo>
                  <a:pt x="2435438" y="4541410"/>
                </a:lnTo>
                <a:lnTo>
                  <a:pt x="2431206" y="4539028"/>
                </a:lnTo>
                <a:lnTo>
                  <a:pt x="2431206" y="4535455"/>
                </a:lnTo>
                <a:lnTo>
                  <a:pt x="2432834" y="4532640"/>
                </a:lnTo>
                <a:lnTo>
                  <a:pt x="2430664" y="4528526"/>
                </a:lnTo>
                <a:lnTo>
                  <a:pt x="2432292" y="4524086"/>
                </a:lnTo>
                <a:close/>
                <a:moveTo>
                  <a:pt x="8009722" y="4515155"/>
                </a:moveTo>
                <a:lnTo>
                  <a:pt x="8009506" y="4517645"/>
                </a:lnTo>
                <a:lnTo>
                  <a:pt x="8007335" y="4517212"/>
                </a:lnTo>
                <a:lnTo>
                  <a:pt x="8006358" y="4515480"/>
                </a:lnTo>
                <a:close/>
                <a:moveTo>
                  <a:pt x="7713255" y="4510986"/>
                </a:moveTo>
                <a:lnTo>
                  <a:pt x="7717379" y="4515100"/>
                </a:lnTo>
                <a:lnTo>
                  <a:pt x="7719440" y="4520189"/>
                </a:lnTo>
                <a:lnTo>
                  <a:pt x="7720200" y="4521705"/>
                </a:lnTo>
                <a:lnTo>
                  <a:pt x="7719983" y="4522788"/>
                </a:lnTo>
                <a:lnTo>
                  <a:pt x="7717270" y="4523220"/>
                </a:lnTo>
                <a:lnTo>
                  <a:pt x="7716294" y="4522137"/>
                </a:lnTo>
                <a:lnTo>
                  <a:pt x="7714123" y="4523004"/>
                </a:lnTo>
                <a:lnTo>
                  <a:pt x="7715643" y="4523329"/>
                </a:lnTo>
                <a:lnTo>
                  <a:pt x="7717487" y="4525169"/>
                </a:lnTo>
                <a:lnTo>
                  <a:pt x="7719658" y="4526252"/>
                </a:lnTo>
                <a:lnTo>
                  <a:pt x="7720092" y="4528092"/>
                </a:lnTo>
                <a:lnTo>
                  <a:pt x="7718573" y="4529933"/>
                </a:lnTo>
                <a:lnTo>
                  <a:pt x="7716836" y="4529283"/>
                </a:lnTo>
                <a:lnTo>
                  <a:pt x="7711736" y="4531015"/>
                </a:lnTo>
                <a:lnTo>
                  <a:pt x="7709240" y="4532856"/>
                </a:lnTo>
                <a:lnTo>
                  <a:pt x="7706744" y="4532640"/>
                </a:lnTo>
                <a:lnTo>
                  <a:pt x="7705334" y="4531773"/>
                </a:lnTo>
                <a:lnTo>
                  <a:pt x="7703814" y="4532098"/>
                </a:lnTo>
                <a:lnTo>
                  <a:pt x="7700341" y="4536212"/>
                </a:lnTo>
                <a:lnTo>
                  <a:pt x="7698063" y="4535996"/>
                </a:lnTo>
                <a:lnTo>
                  <a:pt x="7697303" y="4533939"/>
                </a:lnTo>
                <a:lnTo>
                  <a:pt x="7701969" y="4529175"/>
                </a:lnTo>
                <a:lnTo>
                  <a:pt x="7703922" y="4527984"/>
                </a:lnTo>
                <a:lnTo>
                  <a:pt x="7703922" y="4525061"/>
                </a:lnTo>
                <a:lnTo>
                  <a:pt x="7707395" y="4524303"/>
                </a:lnTo>
                <a:lnTo>
                  <a:pt x="7708697" y="4520080"/>
                </a:lnTo>
                <a:lnTo>
                  <a:pt x="7708372" y="4515425"/>
                </a:lnTo>
                <a:lnTo>
                  <a:pt x="7709131" y="4512177"/>
                </a:lnTo>
                <a:close/>
                <a:moveTo>
                  <a:pt x="2472009" y="4510119"/>
                </a:moveTo>
                <a:lnTo>
                  <a:pt x="2477217" y="4512068"/>
                </a:lnTo>
                <a:lnTo>
                  <a:pt x="2483077" y="4510986"/>
                </a:lnTo>
                <a:lnTo>
                  <a:pt x="2485681" y="4515749"/>
                </a:lnTo>
                <a:lnTo>
                  <a:pt x="2488394" y="4523653"/>
                </a:lnTo>
                <a:lnTo>
                  <a:pt x="2494580" y="4524411"/>
                </a:lnTo>
                <a:lnTo>
                  <a:pt x="2500657" y="4529500"/>
                </a:lnTo>
                <a:lnTo>
                  <a:pt x="2500983" y="4534913"/>
                </a:lnTo>
                <a:lnTo>
                  <a:pt x="2506083" y="4536645"/>
                </a:lnTo>
                <a:lnTo>
                  <a:pt x="2524748" y="4542708"/>
                </a:lnTo>
                <a:lnTo>
                  <a:pt x="2527026" y="4545307"/>
                </a:lnTo>
                <a:lnTo>
                  <a:pt x="2533863" y="4547364"/>
                </a:lnTo>
                <a:lnTo>
                  <a:pt x="2539723" y="4552669"/>
                </a:lnTo>
                <a:lnTo>
                  <a:pt x="2544715" y="4553210"/>
                </a:lnTo>
                <a:lnTo>
                  <a:pt x="2553504" y="4551153"/>
                </a:lnTo>
                <a:lnTo>
                  <a:pt x="2557628" y="4552669"/>
                </a:lnTo>
                <a:lnTo>
                  <a:pt x="2558496" y="4556783"/>
                </a:lnTo>
                <a:lnTo>
                  <a:pt x="2552528" y="4560248"/>
                </a:lnTo>
                <a:lnTo>
                  <a:pt x="2550249" y="4558299"/>
                </a:lnTo>
                <a:lnTo>
                  <a:pt x="2545040" y="4559815"/>
                </a:lnTo>
                <a:lnTo>
                  <a:pt x="2544063" y="4564038"/>
                </a:lnTo>
                <a:lnTo>
                  <a:pt x="2539723" y="4568260"/>
                </a:lnTo>
                <a:lnTo>
                  <a:pt x="2534406" y="4569667"/>
                </a:lnTo>
                <a:lnTo>
                  <a:pt x="2528871" y="4567827"/>
                </a:lnTo>
                <a:lnTo>
                  <a:pt x="2523554" y="4564904"/>
                </a:lnTo>
                <a:lnTo>
                  <a:pt x="2513679" y="4563821"/>
                </a:lnTo>
                <a:lnTo>
                  <a:pt x="2506843" y="4564362"/>
                </a:lnTo>
                <a:lnTo>
                  <a:pt x="2496859" y="4563496"/>
                </a:lnTo>
                <a:lnTo>
                  <a:pt x="2488720" y="4566202"/>
                </a:lnTo>
                <a:lnTo>
                  <a:pt x="2486116" y="4566202"/>
                </a:lnTo>
                <a:lnTo>
                  <a:pt x="2483837" y="4557216"/>
                </a:lnTo>
                <a:lnTo>
                  <a:pt x="2495231" y="4556783"/>
                </a:lnTo>
                <a:lnTo>
                  <a:pt x="2501633" y="4554510"/>
                </a:lnTo>
                <a:lnTo>
                  <a:pt x="2505540" y="4553752"/>
                </a:lnTo>
                <a:lnTo>
                  <a:pt x="2506408" y="4552128"/>
                </a:lnTo>
                <a:lnTo>
                  <a:pt x="2500006" y="4553427"/>
                </a:lnTo>
                <a:lnTo>
                  <a:pt x="2493386" y="4553427"/>
                </a:lnTo>
                <a:lnTo>
                  <a:pt x="2484922" y="4555051"/>
                </a:lnTo>
                <a:lnTo>
                  <a:pt x="2483186" y="4554618"/>
                </a:lnTo>
                <a:close/>
                <a:moveTo>
                  <a:pt x="2339184" y="4502540"/>
                </a:moveTo>
                <a:lnTo>
                  <a:pt x="2341897" y="4504273"/>
                </a:lnTo>
                <a:lnTo>
                  <a:pt x="2346997" y="4510228"/>
                </a:lnTo>
                <a:lnTo>
                  <a:pt x="2350253" y="4512177"/>
                </a:lnTo>
                <a:lnTo>
                  <a:pt x="2354159" y="4512285"/>
                </a:lnTo>
                <a:lnTo>
                  <a:pt x="2358282" y="4513909"/>
                </a:lnTo>
                <a:lnTo>
                  <a:pt x="2362080" y="4515967"/>
                </a:lnTo>
                <a:lnTo>
                  <a:pt x="2367615" y="4515967"/>
                </a:lnTo>
                <a:lnTo>
                  <a:pt x="2369676" y="4518240"/>
                </a:lnTo>
                <a:lnTo>
                  <a:pt x="2374234" y="4521597"/>
                </a:lnTo>
                <a:lnTo>
                  <a:pt x="2376296" y="4521813"/>
                </a:lnTo>
                <a:lnTo>
                  <a:pt x="2377598" y="4523654"/>
                </a:lnTo>
                <a:lnTo>
                  <a:pt x="2376839" y="4525061"/>
                </a:lnTo>
                <a:lnTo>
                  <a:pt x="2372173" y="4525061"/>
                </a:lnTo>
                <a:lnTo>
                  <a:pt x="2367832" y="4523329"/>
                </a:lnTo>
                <a:lnTo>
                  <a:pt x="2361430" y="4520947"/>
                </a:lnTo>
                <a:lnTo>
                  <a:pt x="2359585" y="4522030"/>
                </a:lnTo>
                <a:lnTo>
                  <a:pt x="2355896" y="4522030"/>
                </a:lnTo>
                <a:lnTo>
                  <a:pt x="2353616" y="4518673"/>
                </a:lnTo>
                <a:lnTo>
                  <a:pt x="2346997" y="4515750"/>
                </a:lnTo>
                <a:lnTo>
                  <a:pt x="2342005" y="4515100"/>
                </a:lnTo>
                <a:lnTo>
                  <a:pt x="2338967" y="4509361"/>
                </a:lnTo>
                <a:lnTo>
                  <a:pt x="2337882" y="4504706"/>
                </a:lnTo>
                <a:close/>
                <a:moveTo>
                  <a:pt x="8013846" y="4492743"/>
                </a:moveTo>
                <a:lnTo>
                  <a:pt x="8013086" y="4495125"/>
                </a:lnTo>
                <a:lnTo>
                  <a:pt x="8012110" y="4493610"/>
                </a:lnTo>
                <a:close/>
                <a:moveTo>
                  <a:pt x="2354486" y="4490955"/>
                </a:moveTo>
                <a:lnTo>
                  <a:pt x="2355896" y="4495502"/>
                </a:lnTo>
                <a:lnTo>
                  <a:pt x="2353509" y="4499400"/>
                </a:lnTo>
                <a:lnTo>
                  <a:pt x="2351447" y="4498318"/>
                </a:lnTo>
                <a:lnTo>
                  <a:pt x="2349060" y="4496152"/>
                </a:lnTo>
                <a:lnTo>
                  <a:pt x="2348191" y="4493662"/>
                </a:lnTo>
                <a:lnTo>
                  <a:pt x="2343634" y="4493986"/>
                </a:lnTo>
                <a:lnTo>
                  <a:pt x="2341898" y="4492471"/>
                </a:lnTo>
                <a:lnTo>
                  <a:pt x="2345479" y="4491063"/>
                </a:lnTo>
                <a:lnTo>
                  <a:pt x="2348734" y="4491821"/>
                </a:lnTo>
                <a:close/>
                <a:moveTo>
                  <a:pt x="8020899" y="4487113"/>
                </a:moveTo>
                <a:lnTo>
                  <a:pt x="8021224" y="4490902"/>
                </a:lnTo>
                <a:lnTo>
                  <a:pt x="8022744" y="4493068"/>
                </a:lnTo>
                <a:lnTo>
                  <a:pt x="8021224" y="4494042"/>
                </a:lnTo>
                <a:lnTo>
                  <a:pt x="8021875" y="4496317"/>
                </a:lnTo>
                <a:lnTo>
                  <a:pt x="8020899" y="4496966"/>
                </a:lnTo>
                <a:lnTo>
                  <a:pt x="8018186" y="4493501"/>
                </a:lnTo>
                <a:close/>
                <a:moveTo>
                  <a:pt x="2464846" y="4481861"/>
                </a:moveTo>
                <a:lnTo>
                  <a:pt x="2471683" y="4508929"/>
                </a:lnTo>
                <a:lnTo>
                  <a:pt x="2471358" y="4509903"/>
                </a:lnTo>
                <a:lnTo>
                  <a:pt x="2472009" y="4510120"/>
                </a:lnTo>
                <a:lnTo>
                  <a:pt x="2483186" y="4554619"/>
                </a:lnTo>
                <a:lnTo>
                  <a:pt x="2477760" y="4553319"/>
                </a:lnTo>
                <a:lnTo>
                  <a:pt x="2466366" y="4545740"/>
                </a:lnTo>
                <a:lnTo>
                  <a:pt x="2458227" y="4542817"/>
                </a:lnTo>
                <a:lnTo>
                  <a:pt x="2454320" y="4543250"/>
                </a:lnTo>
                <a:lnTo>
                  <a:pt x="2449111" y="4540003"/>
                </a:lnTo>
                <a:lnTo>
                  <a:pt x="2444771" y="4535671"/>
                </a:lnTo>
                <a:lnTo>
                  <a:pt x="2444120" y="4533614"/>
                </a:lnTo>
                <a:lnTo>
                  <a:pt x="2444120" y="4531557"/>
                </a:lnTo>
                <a:lnTo>
                  <a:pt x="2451499" y="4527876"/>
                </a:lnTo>
                <a:lnTo>
                  <a:pt x="2452367" y="4525494"/>
                </a:lnTo>
                <a:lnTo>
                  <a:pt x="2457033" y="4524194"/>
                </a:lnTo>
                <a:lnTo>
                  <a:pt x="2460289" y="4518673"/>
                </a:lnTo>
                <a:lnTo>
                  <a:pt x="2458878" y="4514667"/>
                </a:lnTo>
                <a:lnTo>
                  <a:pt x="2453777" y="4514451"/>
                </a:lnTo>
                <a:lnTo>
                  <a:pt x="2446833" y="4518240"/>
                </a:lnTo>
                <a:lnTo>
                  <a:pt x="2443468" y="4522246"/>
                </a:lnTo>
                <a:lnTo>
                  <a:pt x="2439996" y="4522354"/>
                </a:lnTo>
                <a:lnTo>
                  <a:pt x="2435330" y="4516508"/>
                </a:lnTo>
                <a:lnTo>
                  <a:pt x="2435004" y="4510986"/>
                </a:lnTo>
                <a:lnTo>
                  <a:pt x="2433594" y="4508171"/>
                </a:lnTo>
                <a:lnTo>
                  <a:pt x="2437609" y="4504165"/>
                </a:lnTo>
                <a:lnTo>
                  <a:pt x="2438260" y="4500700"/>
                </a:lnTo>
                <a:lnTo>
                  <a:pt x="2434679" y="4501241"/>
                </a:lnTo>
                <a:lnTo>
                  <a:pt x="2431749" y="4499076"/>
                </a:lnTo>
                <a:lnTo>
                  <a:pt x="2434679" y="4494853"/>
                </a:lnTo>
                <a:lnTo>
                  <a:pt x="2437609" y="4495720"/>
                </a:lnTo>
                <a:lnTo>
                  <a:pt x="2442383" y="4498535"/>
                </a:lnTo>
                <a:lnTo>
                  <a:pt x="2443577" y="4496478"/>
                </a:lnTo>
                <a:lnTo>
                  <a:pt x="2447701" y="4492471"/>
                </a:lnTo>
                <a:lnTo>
                  <a:pt x="2448461" y="4489332"/>
                </a:lnTo>
                <a:lnTo>
                  <a:pt x="2447375" y="4485650"/>
                </a:lnTo>
                <a:lnTo>
                  <a:pt x="2449329" y="4481969"/>
                </a:lnTo>
                <a:lnTo>
                  <a:pt x="2452693" y="4482835"/>
                </a:lnTo>
                <a:lnTo>
                  <a:pt x="2456382" y="4486300"/>
                </a:lnTo>
                <a:lnTo>
                  <a:pt x="2458444" y="4484567"/>
                </a:lnTo>
                <a:close/>
                <a:moveTo>
                  <a:pt x="2465824" y="4481536"/>
                </a:moveTo>
                <a:lnTo>
                  <a:pt x="2469405" y="4486841"/>
                </a:lnTo>
                <a:lnTo>
                  <a:pt x="2477218" y="4494528"/>
                </a:lnTo>
                <a:lnTo>
                  <a:pt x="2479605" y="4506222"/>
                </a:lnTo>
                <a:lnTo>
                  <a:pt x="2477001" y="4503623"/>
                </a:lnTo>
                <a:lnTo>
                  <a:pt x="2473420" y="4505247"/>
                </a:lnTo>
                <a:lnTo>
                  <a:pt x="2471683" y="4508928"/>
                </a:lnTo>
                <a:lnTo>
                  <a:pt x="2464847" y="4481860"/>
                </a:lnTo>
                <a:close/>
                <a:moveTo>
                  <a:pt x="2342548" y="4478287"/>
                </a:moveTo>
                <a:lnTo>
                  <a:pt x="2350252" y="4484241"/>
                </a:lnTo>
                <a:lnTo>
                  <a:pt x="2350035" y="4487706"/>
                </a:lnTo>
                <a:lnTo>
                  <a:pt x="2348191" y="4488464"/>
                </a:lnTo>
                <a:lnTo>
                  <a:pt x="2342982" y="4482834"/>
                </a:lnTo>
                <a:lnTo>
                  <a:pt x="2341246" y="4479911"/>
                </a:lnTo>
                <a:close/>
                <a:moveTo>
                  <a:pt x="2333974" y="4476664"/>
                </a:moveTo>
                <a:lnTo>
                  <a:pt x="2335167" y="4479046"/>
                </a:lnTo>
                <a:lnTo>
                  <a:pt x="2332997" y="4484351"/>
                </a:lnTo>
                <a:lnTo>
                  <a:pt x="2330827" y="4485542"/>
                </a:lnTo>
                <a:lnTo>
                  <a:pt x="2330068" y="4483918"/>
                </a:lnTo>
                <a:lnTo>
                  <a:pt x="2331803" y="4482186"/>
                </a:lnTo>
                <a:lnTo>
                  <a:pt x="2331695" y="4477530"/>
                </a:lnTo>
                <a:close/>
                <a:moveTo>
                  <a:pt x="2343742" y="4474498"/>
                </a:moveTo>
                <a:lnTo>
                  <a:pt x="2346998" y="4475255"/>
                </a:lnTo>
                <a:lnTo>
                  <a:pt x="2347865" y="4479045"/>
                </a:lnTo>
                <a:lnTo>
                  <a:pt x="2345912" y="4479262"/>
                </a:lnTo>
                <a:lnTo>
                  <a:pt x="2342223" y="4475689"/>
                </a:lnTo>
                <a:close/>
                <a:moveTo>
                  <a:pt x="2334952" y="4468543"/>
                </a:moveTo>
                <a:lnTo>
                  <a:pt x="2339726" y="4471033"/>
                </a:lnTo>
                <a:lnTo>
                  <a:pt x="2340811" y="4473632"/>
                </a:lnTo>
                <a:lnTo>
                  <a:pt x="2339509" y="4473848"/>
                </a:lnTo>
                <a:lnTo>
                  <a:pt x="2335929" y="4471249"/>
                </a:lnTo>
                <a:close/>
                <a:moveTo>
                  <a:pt x="7698714" y="4467136"/>
                </a:moveTo>
                <a:lnTo>
                  <a:pt x="7702729" y="4467352"/>
                </a:lnTo>
                <a:lnTo>
                  <a:pt x="7702729" y="4470167"/>
                </a:lnTo>
                <a:lnTo>
                  <a:pt x="7700885" y="4470600"/>
                </a:lnTo>
                <a:lnTo>
                  <a:pt x="7698606" y="4469301"/>
                </a:lnTo>
                <a:lnTo>
                  <a:pt x="7697846" y="4468760"/>
                </a:lnTo>
                <a:close/>
                <a:moveTo>
                  <a:pt x="2387751" y="4465107"/>
                </a:moveTo>
                <a:lnTo>
                  <a:pt x="2398869" y="4465945"/>
                </a:lnTo>
                <a:lnTo>
                  <a:pt x="2402884" y="4468219"/>
                </a:lnTo>
                <a:lnTo>
                  <a:pt x="2420138" y="4465296"/>
                </a:lnTo>
                <a:lnTo>
                  <a:pt x="2451065" y="4465296"/>
                </a:lnTo>
                <a:lnTo>
                  <a:pt x="2452693" y="4467244"/>
                </a:lnTo>
                <a:lnTo>
                  <a:pt x="2457793" y="4468002"/>
                </a:lnTo>
                <a:lnTo>
                  <a:pt x="2457793" y="4468002"/>
                </a:lnTo>
                <a:lnTo>
                  <a:pt x="2452693" y="4467244"/>
                </a:lnTo>
                <a:lnTo>
                  <a:pt x="2451065" y="4465295"/>
                </a:lnTo>
                <a:lnTo>
                  <a:pt x="2420138" y="4465295"/>
                </a:lnTo>
                <a:lnTo>
                  <a:pt x="2402883" y="4468218"/>
                </a:lnTo>
                <a:lnTo>
                  <a:pt x="2398869" y="4465944"/>
                </a:lnTo>
                <a:close/>
                <a:moveTo>
                  <a:pt x="2329309" y="4462913"/>
                </a:moveTo>
                <a:lnTo>
                  <a:pt x="2331371" y="4465078"/>
                </a:lnTo>
                <a:lnTo>
                  <a:pt x="2333758" y="4467460"/>
                </a:lnTo>
                <a:lnTo>
                  <a:pt x="2333866" y="4471682"/>
                </a:lnTo>
                <a:lnTo>
                  <a:pt x="2331045" y="4473631"/>
                </a:lnTo>
                <a:lnTo>
                  <a:pt x="2329092" y="4473090"/>
                </a:lnTo>
                <a:lnTo>
                  <a:pt x="2328658" y="4471033"/>
                </a:lnTo>
                <a:lnTo>
                  <a:pt x="2327790" y="4469733"/>
                </a:lnTo>
                <a:lnTo>
                  <a:pt x="2326922" y="4466269"/>
                </a:lnTo>
                <a:lnTo>
                  <a:pt x="2327899" y="4463887"/>
                </a:lnTo>
                <a:close/>
                <a:moveTo>
                  <a:pt x="2324427" y="4460964"/>
                </a:moveTo>
                <a:lnTo>
                  <a:pt x="2326163" y="4464104"/>
                </a:lnTo>
                <a:lnTo>
                  <a:pt x="2325946" y="4468651"/>
                </a:lnTo>
                <a:lnTo>
                  <a:pt x="2323558" y="4470383"/>
                </a:lnTo>
                <a:lnTo>
                  <a:pt x="2325946" y="4474064"/>
                </a:lnTo>
                <a:lnTo>
                  <a:pt x="2323124" y="4473523"/>
                </a:lnTo>
                <a:lnTo>
                  <a:pt x="2320845" y="4472007"/>
                </a:lnTo>
                <a:lnTo>
                  <a:pt x="2319543" y="4468434"/>
                </a:lnTo>
                <a:lnTo>
                  <a:pt x="2320736" y="4466053"/>
                </a:lnTo>
                <a:lnTo>
                  <a:pt x="2322690" y="4464320"/>
                </a:lnTo>
                <a:lnTo>
                  <a:pt x="2321605" y="4463346"/>
                </a:lnTo>
                <a:lnTo>
                  <a:pt x="2320628" y="4461397"/>
                </a:lnTo>
                <a:close/>
                <a:moveTo>
                  <a:pt x="2340270" y="4459232"/>
                </a:moveTo>
                <a:lnTo>
                  <a:pt x="2342766" y="4464862"/>
                </a:lnTo>
                <a:lnTo>
                  <a:pt x="2346889" y="4469301"/>
                </a:lnTo>
                <a:lnTo>
                  <a:pt x="2348083" y="4472008"/>
                </a:lnTo>
                <a:lnTo>
                  <a:pt x="2346672" y="4472116"/>
                </a:lnTo>
                <a:lnTo>
                  <a:pt x="2341029" y="4469409"/>
                </a:lnTo>
                <a:lnTo>
                  <a:pt x="2338316" y="4466378"/>
                </a:lnTo>
                <a:lnTo>
                  <a:pt x="2338208" y="4459340"/>
                </a:lnTo>
                <a:close/>
                <a:moveTo>
                  <a:pt x="2627296" y="4445048"/>
                </a:moveTo>
                <a:lnTo>
                  <a:pt x="2630334" y="4446997"/>
                </a:lnTo>
                <a:lnTo>
                  <a:pt x="2633264" y="4447538"/>
                </a:lnTo>
                <a:lnTo>
                  <a:pt x="2627079" y="4450028"/>
                </a:lnTo>
                <a:lnTo>
                  <a:pt x="2624909" y="4446997"/>
                </a:lnTo>
                <a:close/>
                <a:moveTo>
                  <a:pt x="2316396" y="4442233"/>
                </a:moveTo>
                <a:lnTo>
                  <a:pt x="2319651" y="4445156"/>
                </a:lnTo>
                <a:lnTo>
                  <a:pt x="2322690" y="4444939"/>
                </a:lnTo>
                <a:lnTo>
                  <a:pt x="2329418" y="4449379"/>
                </a:lnTo>
                <a:lnTo>
                  <a:pt x="2329201" y="4451978"/>
                </a:lnTo>
                <a:lnTo>
                  <a:pt x="2325511" y="4452194"/>
                </a:lnTo>
                <a:lnTo>
                  <a:pt x="2324969" y="4453710"/>
                </a:lnTo>
                <a:lnTo>
                  <a:pt x="2320194" y="4454143"/>
                </a:lnTo>
                <a:lnTo>
                  <a:pt x="2313574" y="4455442"/>
                </a:lnTo>
                <a:lnTo>
                  <a:pt x="2311404" y="4453818"/>
                </a:lnTo>
                <a:lnTo>
                  <a:pt x="2313466" y="4451761"/>
                </a:lnTo>
                <a:lnTo>
                  <a:pt x="2315745" y="4446997"/>
                </a:lnTo>
                <a:lnTo>
                  <a:pt x="2313357" y="4442990"/>
                </a:lnTo>
                <a:close/>
                <a:moveTo>
                  <a:pt x="2317806" y="4429999"/>
                </a:moveTo>
                <a:lnTo>
                  <a:pt x="2322907" y="4432814"/>
                </a:lnTo>
                <a:lnTo>
                  <a:pt x="2327790" y="4439851"/>
                </a:lnTo>
                <a:lnTo>
                  <a:pt x="2325837" y="4442991"/>
                </a:lnTo>
                <a:lnTo>
                  <a:pt x="2321821" y="4442774"/>
                </a:lnTo>
                <a:lnTo>
                  <a:pt x="2316721" y="4436711"/>
                </a:lnTo>
                <a:lnTo>
                  <a:pt x="2315528" y="4430648"/>
                </a:lnTo>
                <a:close/>
                <a:moveTo>
                  <a:pt x="2663758" y="4429457"/>
                </a:moveTo>
                <a:lnTo>
                  <a:pt x="2666036" y="4432922"/>
                </a:lnTo>
                <a:lnTo>
                  <a:pt x="2663649" y="4438444"/>
                </a:lnTo>
                <a:lnTo>
                  <a:pt x="2657572" y="4442883"/>
                </a:lnTo>
                <a:lnTo>
                  <a:pt x="2657463" y="4448079"/>
                </a:lnTo>
                <a:lnTo>
                  <a:pt x="2652255" y="4450570"/>
                </a:lnTo>
                <a:lnTo>
                  <a:pt x="2645201" y="4449920"/>
                </a:lnTo>
                <a:lnTo>
                  <a:pt x="2641077" y="4452302"/>
                </a:lnTo>
                <a:lnTo>
                  <a:pt x="2646178" y="4454684"/>
                </a:lnTo>
                <a:lnTo>
                  <a:pt x="2643465" y="4459231"/>
                </a:lnTo>
                <a:lnTo>
                  <a:pt x="2638798" y="4455767"/>
                </a:lnTo>
                <a:lnTo>
                  <a:pt x="2636194" y="4458581"/>
                </a:lnTo>
                <a:lnTo>
                  <a:pt x="2631094" y="4455767"/>
                </a:lnTo>
                <a:lnTo>
                  <a:pt x="2631202" y="4453493"/>
                </a:lnTo>
                <a:lnTo>
                  <a:pt x="2634566" y="4453709"/>
                </a:lnTo>
                <a:lnTo>
                  <a:pt x="2639233" y="4448838"/>
                </a:lnTo>
                <a:lnTo>
                  <a:pt x="2638365" y="4445914"/>
                </a:lnTo>
                <a:lnTo>
                  <a:pt x="2641620" y="4443857"/>
                </a:lnTo>
                <a:lnTo>
                  <a:pt x="2646937" y="4443857"/>
                </a:lnTo>
                <a:lnTo>
                  <a:pt x="2646937" y="4441691"/>
                </a:lnTo>
                <a:lnTo>
                  <a:pt x="2641620" y="4441042"/>
                </a:lnTo>
                <a:lnTo>
                  <a:pt x="2635868" y="4433246"/>
                </a:lnTo>
                <a:lnTo>
                  <a:pt x="2637605" y="4431189"/>
                </a:lnTo>
                <a:lnTo>
                  <a:pt x="2642271" y="4435087"/>
                </a:lnTo>
                <a:lnTo>
                  <a:pt x="2646937" y="4435845"/>
                </a:lnTo>
                <a:lnTo>
                  <a:pt x="2648674" y="4430864"/>
                </a:lnTo>
                <a:lnTo>
                  <a:pt x="2652906" y="4430323"/>
                </a:lnTo>
                <a:lnTo>
                  <a:pt x="2656270" y="4433571"/>
                </a:lnTo>
                <a:lnTo>
                  <a:pt x="2658766" y="4433463"/>
                </a:lnTo>
                <a:lnTo>
                  <a:pt x="2660502" y="4430540"/>
                </a:lnTo>
                <a:close/>
                <a:moveTo>
                  <a:pt x="2641838" y="4426317"/>
                </a:moveTo>
                <a:lnTo>
                  <a:pt x="2647589" y="4428590"/>
                </a:lnTo>
                <a:lnTo>
                  <a:pt x="2643900" y="4429781"/>
                </a:lnTo>
                <a:close/>
                <a:moveTo>
                  <a:pt x="2673958" y="4425668"/>
                </a:moveTo>
                <a:lnTo>
                  <a:pt x="2681012" y="4426967"/>
                </a:lnTo>
                <a:lnTo>
                  <a:pt x="2681121" y="4430431"/>
                </a:lnTo>
                <a:lnTo>
                  <a:pt x="2684484" y="4435088"/>
                </a:lnTo>
                <a:lnTo>
                  <a:pt x="2687414" y="4433572"/>
                </a:lnTo>
                <a:lnTo>
                  <a:pt x="2686004" y="4430973"/>
                </a:lnTo>
                <a:lnTo>
                  <a:pt x="2689476" y="4429674"/>
                </a:lnTo>
                <a:lnTo>
                  <a:pt x="2695228" y="4431298"/>
                </a:lnTo>
                <a:lnTo>
                  <a:pt x="2696964" y="4433788"/>
                </a:lnTo>
                <a:lnTo>
                  <a:pt x="2693600" y="4433572"/>
                </a:lnTo>
                <a:lnTo>
                  <a:pt x="2691212" y="4435521"/>
                </a:lnTo>
                <a:lnTo>
                  <a:pt x="2692298" y="4436603"/>
                </a:lnTo>
                <a:lnTo>
                  <a:pt x="2694685" y="4437577"/>
                </a:lnTo>
                <a:lnTo>
                  <a:pt x="2695336" y="4440392"/>
                </a:lnTo>
                <a:lnTo>
                  <a:pt x="2690887" y="4441584"/>
                </a:lnTo>
                <a:lnTo>
                  <a:pt x="2686655" y="4445265"/>
                </a:lnTo>
                <a:lnTo>
                  <a:pt x="2681012" y="4446239"/>
                </a:lnTo>
                <a:lnTo>
                  <a:pt x="2677214" y="4444940"/>
                </a:lnTo>
                <a:lnTo>
                  <a:pt x="2675043" y="4446456"/>
                </a:lnTo>
                <a:lnTo>
                  <a:pt x="2677540" y="4448513"/>
                </a:lnTo>
                <a:lnTo>
                  <a:pt x="2680903" y="4448621"/>
                </a:lnTo>
                <a:lnTo>
                  <a:pt x="2680686" y="4449812"/>
                </a:lnTo>
                <a:lnTo>
                  <a:pt x="2676345" y="4450786"/>
                </a:lnTo>
                <a:lnTo>
                  <a:pt x="2671679" y="4449920"/>
                </a:lnTo>
                <a:lnTo>
                  <a:pt x="2672005" y="4452952"/>
                </a:lnTo>
                <a:lnTo>
                  <a:pt x="2673958" y="4455550"/>
                </a:lnTo>
                <a:lnTo>
                  <a:pt x="2671788" y="4456417"/>
                </a:lnTo>
                <a:lnTo>
                  <a:pt x="2667664" y="4453818"/>
                </a:lnTo>
                <a:lnTo>
                  <a:pt x="2666145" y="4455443"/>
                </a:lnTo>
                <a:lnTo>
                  <a:pt x="2669184" y="4459664"/>
                </a:lnTo>
                <a:lnTo>
                  <a:pt x="2668966" y="4461397"/>
                </a:lnTo>
                <a:lnTo>
                  <a:pt x="2665711" y="4460856"/>
                </a:lnTo>
                <a:lnTo>
                  <a:pt x="2662346" y="4455117"/>
                </a:lnTo>
                <a:lnTo>
                  <a:pt x="2658983" y="4454143"/>
                </a:lnTo>
                <a:lnTo>
                  <a:pt x="2666796" y="4443208"/>
                </a:lnTo>
                <a:lnTo>
                  <a:pt x="2670485" y="4442450"/>
                </a:lnTo>
                <a:lnTo>
                  <a:pt x="2673307" y="4443966"/>
                </a:lnTo>
                <a:lnTo>
                  <a:pt x="2674284" y="4442125"/>
                </a:lnTo>
                <a:lnTo>
                  <a:pt x="2669834" y="4436278"/>
                </a:lnTo>
                <a:lnTo>
                  <a:pt x="2671245" y="4434113"/>
                </a:lnTo>
                <a:lnTo>
                  <a:pt x="2669943" y="4430973"/>
                </a:lnTo>
                <a:lnTo>
                  <a:pt x="2673307" y="4429457"/>
                </a:lnTo>
                <a:close/>
                <a:moveTo>
                  <a:pt x="2312163" y="4424910"/>
                </a:moveTo>
                <a:lnTo>
                  <a:pt x="2313465" y="4427508"/>
                </a:lnTo>
                <a:lnTo>
                  <a:pt x="2313465" y="4431622"/>
                </a:lnTo>
                <a:lnTo>
                  <a:pt x="2312272" y="4433355"/>
                </a:lnTo>
                <a:lnTo>
                  <a:pt x="2310970" y="4428375"/>
                </a:lnTo>
                <a:close/>
                <a:moveTo>
                  <a:pt x="2656052" y="4423610"/>
                </a:moveTo>
                <a:lnTo>
                  <a:pt x="2658982" y="4426966"/>
                </a:lnTo>
                <a:lnTo>
                  <a:pt x="2649867" y="4424476"/>
                </a:lnTo>
                <a:close/>
                <a:moveTo>
                  <a:pt x="2302831" y="4423503"/>
                </a:moveTo>
                <a:lnTo>
                  <a:pt x="2308365" y="4423503"/>
                </a:lnTo>
                <a:lnTo>
                  <a:pt x="2305218" y="4425776"/>
                </a:lnTo>
                <a:lnTo>
                  <a:pt x="2302831" y="4427508"/>
                </a:lnTo>
                <a:close/>
                <a:moveTo>
                  <a:pt x="2374452" y="4421878"/>
                </a:moveTo>
                <a:lnTo>
                  <a:pt x="2369461" y="4422095"/>
                </a:lnTo>
                <a:lnTo>
                  <a:pt x="2361864" y="4425776"/>
                </a:lnTo>
                <a:lnTo>
                  <a:pt x="2357741" y="4430432"/>
                </a:lnTo>
                <a:lnTo>
                  <a:pt x="2352750" y="4430323"/>
                </a:lnTo>
                <a:lnTo>
                  <a:pt x="2352750" y="4430324"/>
                </a:lnTo>
                <a:lnTo>
                  <a:pt x="2357741" y="4430432"/>
                </a:lnTo>
                <a:lnTo>
                  <a:pt x="2361864" y="4425776"/>
                </a:lnTo>
                <a:lnTo>
                  <a:pt x="2369461" y="4422095"/>
                </a:lnTo>
                <a:lnTo>
                  <a:pt x="2374452" y="4421879"/>
                </a:lnTo>
                <a:close/>
                <a:moveTo>
                  <a:pt x="2317914" y="4420688"/>
                </a:moveTo>
                <a:lnTo>
                  <a:pt x="2321170" y="4423287"/>
                </a:lnTo>
                <a:lnTo>
                  <a:pt x="2324208" y="4423503"/>
                </a:lnTo>
                <a:lnTo>
                  <a:pt x="2328223" y="4429999"/>
                </a:lnTo>
                <a:lnTo>
                  <a:pt x="2329851" y="4435087"/>
                </a:lnTo>
                <a:lnTo>
                  <a:pt x="2323991" y="4429890"/>
                </a:lnTo>
                <a:lnTo>
                  <a:pt x="2319650" y="4428266"/>
                </a:lnTo>
                <a:lnTo>
                  <a:pt x="2315744" y="4422528"/>
                </a:lnTo>
                <a:lnTo>
                  <a:pt x="2315961" y="4420796"/>
                </a:lnTo>
                <a:close/>
                <a:moveTo>
                  <a:pt x="2304676" y="4408560"/>
                </a:moveTo>
                <a:lnTo>
                  <a:pt x="2306846" y="4409643"/>
                </a:lnTo>
                <a:lnTo>
                  <a:pt x="2312272" y="4410400"/>
                </a:lnTo>
                <a:lnTo>
                  <a:pt x="2310210" y="4414407"/>
                </a:lnTo>
                <a:lnTo>
                  <a:pt x="2310427" y="4418521"/>
                </a:lnTo>
                <a:lnTo>
                  <a:pt x="2307714" y="4420686"/>
                </a:lnTo>
                <a:lnTo>
                  <a:pt x="2305652" y="4420578"/>
                </a:lnTo>
                <a:lnTo>
                  <a:pt x="2304351" y="4416897"/>
                </a:lnTo>
                <a:lnTo>
                  <a:pt x="2301529" y="4414731"/>
                </a:lnTo>
                <a:lnTo>
                  <a:pt x="2303374" y="4412349"/>
                </a:lnTo>
                <a:lnTo>
                  <a:pt x="2303482" y="4409534"/>
                </a:lnTo>
                <a:close/>
                <a:moveTo>
                  <a:pt x="2295670" y="4389830"/>
                </a:moveTo>
                <a:lnTo>
                  <a:pt x="2298491" y="4394485"/>
                </a:lnTo>
                <a:lnTo>
                  <a:pt x="2297406" y="4398491"/>
                </a:lnTo>
                <a:lnTo>
                  <a:pt x="2294367" y="4400657"/>
                </a:lnTo>
                <a:lnTo>
                  <a:pt x="2291871" y="4398058"/>
                </a:lnTo>
                <a:lnTo>
                  <a:pt x="2292739" y="4395351"/>
                </a:lnTo>
                <a:lnTo>
                  <a:pt x="2290461" y="4392645"/>
                </a:lnTo>
                <a:close/>
                <a:moveTo>
                  <a:pt x="2289592" y="4365145"/>
                </a:moveTo>
                <a:lnTo>
                  <a:pt x="2290460" y="4366552"/>
                </a:lnTo>
                <a:lnTo>
                  <a:pt x="2295994" y="4369043"/>
                </a:lnTo>
                <a:lnTo>
                  <a:pt x="2297839" y="4372940"/>
                </a:lnTo>
                <a:lnTo>
                  <a:pt x="2295126" y="4373915"/>
                </a:lnTo>
                <a:lnTo>
                  <a:pt x="2291003" y="4380411"/>
                </a:lnTo>
                <a:lnTo>
                  <a:pt x="2289158" y="4379328"/>
                </a:lnTo>
                <a:lnTo>
                  <a:pt x="2289483" y="4375647"/>
                </a:lnTo>
                <a:lnTo>
                  <a:pt x="2286988" y="4367635"/>
                </a:lnTo>
                <a:close/>
                <a:moveTo>
                  <a:pt x="2300445" y="4362330"/>
                </a:moveTo>
                <a:lnTo>
                  <a:pt x="2307172" y="4362330"/>
                </a:lnTo>
                <a:lnTo>
                  <a:pt x="2310211" y="4364603"/>
                </a:lnTo>
                <a:lnTo>
                  <a:pt x="2312706" y="4375106"/>
                </a:lnTo>
                <a:lnTo>
                  <a:pt x="2315419" y="4380195"/>
                </a:lnTo>
                <a:lnTo>
                  <a:pt x="2316070" y="4388964"/>
                </a:lnTo>
                <a:lnTo>
                  <a:pt x="2315094" y="4390697"/>
                </a:lnTo>
                <a:lnTo>
                  <a:pt x="2317698" y="4397301"/>
                </a:lnTo>
                <a:lnTo>
                  <a:pt x="2317481" y="4404447"/>
                </a:lnTo>
                <a:lnTo>
                  <a:pt x="2314225" y="4407046"/>
                </a:lnTo>
                <a:lnTo>
                  <a:pt x="2311621" y="4405530"/>
                </a:lnTo>
                <a:lnTo>
                  <a:pt x="2310753" y="4400333"/>
                </a:lnTo>
                <a:lnTo>
                  <a:pt x="2309342" y="4396219"/>
                </a:lnTo>
                <a:lnTo>
                  <a:pt x="2308149" y="4400983"/>
                </a:lnTo>
                <a:lnTo>
                  <a:pt x="2305979" y="4402607"/>
                </a:lnTo>
                <a:lnTo>
                  <a:pt x="2301855" y="4398817"/>
                </a:lnTo>
                <a:lnTo>
                  <a:pt x="2300228" y="4393079"/>
                </a:lnTo>
                <a:lnTo>
                  <a:pt x="2295453" y="4383660"/>
                </a:lnTo>
                <a:lnTo>
                  <a:pt x="2300228" y="4382793"/>
                </a:lnTo>
                <a:lnTo>
                  <a:pt x="2303699" y="4379870"/>
                </a:lnTo>
                <a:lnTo>
                  <a:pt x="2304025" y="4376622"/>
                </a:lnTo>
                <a:lnTo>
                  <a:pt x="2302181" y="4379328"/>
                </a:lnTo>
                <a:lnTo>
                  <a:pt x="2300119" y="4379545"/>
                </a:lnTo>
                <a:lnTo>
                  <a:pt x="2299359" y="4376946"/>
                </a:lnTo>
                <a:lnTo>
                  <a:pt x="2300770" y="4372832"/>
                </a:lnTo>
                <a:lnTo>
                  <a:pt x="2297948" y="4369908"/>
                </a:lnTo>
                <a:lnTo>
                  <a:pt x="2297840" y="4364603"/>
                </a:lnTo>
                <a:close/>
                <a:moveTo>
                  <a:pt x="2282105" y="4352152"/>
                </a:moveTo>
                <a:lnTo>
                  <a:pt x="2283950" y="4352693"/>
                </a:lnTo>
                <a:lnTo>
                  <a:pt x="2287313" y="4354101"/>
                </a:lnTo>
                <a:lnTo>
                  <a:pt x="2288832" y="4358756"/>
                </a:lnTo>
                <a:lnTo>
                  <a:pt x="2287965" y="4362221"/>
                </a:lnTo>
                <a:lnTo>
                  <a:pt x="2285252" y="4362654"/>
                </a:lnTo>
                <a:lnTo>
                  <a:pt x="2284926" y="4360597"/>
                </a:lnTo>
                <a:lnTo>
                  <a:pt x="2282322" y="4358648"/>
                </a:lnTo>
                <a:close/>
                <a:moveTo>
                  <a:pt x="2282864" y="4339594"/>
                </a:moveTo>
                <a:lnTo>
                  <a:pt x="2286879" y="4340785"/>
                </a:lnTo>
                <a:lnTo>
                  <a:pt x="2293065" y="4350421"/>
                </a:lnTo>
                <a:lnTo>
                  <a:pt x="2297188" y="4356592"/>
                </a:lnTo>
                <a:lnTo>
                  <a:pt x="2296971" y="4361681"/>
                </a:lnTo>
                <a:lnTo>
                  <a:pt x="2295452" y="4364280"/>
                </a:lnTo>
                <a:lnTo>
                  <a:pt x="2291653" y="4362006"/>
                </a:lnTo>
                <a:lnTo>
                  <a:pt x="2289700" y="4354969"/>
                </a:lnTo>
                <a:lnTo>
                  <a:pt x="2290243" y="4353128"/>
                </a:lnTo>
                <a:lnTo>
                  <a:pt x="2287204" y="4350637"/>
                </a:lnTo>
                <a:lnTo>
                  <a:pt x="2282321" y="4349771"/>
                </a:lnTo>
                <a:lnTo>
                  <a:pt x="2281236" y="4344141"/>
                </a:lnTo>
                <a:lnTo>
                  <a:pt x="2281453" y="4341326"/>
                </a:lnTo>
                <a:close/>
                <a:moveTo>
                  <a:pt x="2356335" y="4337271"/>
                </a:moveTo>
                <a:lnTo>
                  <a:pt x="2357198" y="4339918"/>
                </a:lnTo>
                <a:lnTo>
                  <a:pt x="2357863" y="4343415"/>
                </a:lnTo>
                <a:lnTo>
                  <a:pt x="2357198" y="4339917"/>
                </a:lnTo>
                <a:close/>
                <a:moveTo>
                  <a:pt x="2298165" y="4332664"/>
                </a:moveTo>
                <a:lnTo>
                  <a:pt x="2298708" y="4340134"/>
                </a:lnTo>
                <a:lnTo>
                  <a:pt x="2303157" y="4342083"/>
                </a:lnTo>
                <a:lnTo>
                  <a:pt x="2303483" y="4347280"/>
                </a:lnTo>
                <a:lnTo>
                  <a:pt x="2307281" y="4350636"/>
                </a:lnTo>
                <a:lnTo>
                  <a:pt x="2309668" y="4358540"/>
                </a:lnTo>
                <a:lnTo>
                  <a:pt x="2304676" y="4358107"/>
                </a:lnTo>
                <a:lnTo>
                  <a:pt x="2300118" y="4358540"/>
                </a:lnTo>
                <a:lnTo>
                  <a:pt x="2298925" y="4353235"/>
                </a:lnTo>
                <a:lnTo>
                  <a:pt x="2301855" y="4350636"/>
                </a:lnTo>
                <a:lnTo>
                  <a:pt x="2299576" y="4348796"/>
                </a:lnTo>
                <a:lnTo>
                  <a:pt x="2298491" y="4350528"/>
                </a:lnTo>
                <a:lnTo>
                  <a:pt x="2292848" y="4341866"/>
                </a:lnTo>
                <a:lnTo>
                  <a:pt x="2288399" y="4338077"/>
                </a:lnTo>
                <a:lnTo>
                  <a:pt x="2290244" y="4335370"/>
                </a:lnTo>
                <a:lnTo>
                  <a:pt x="2294367" y="4334829"/>
                </a:lnTo>
                <a:close/>
                <a:moveTo>
                  <a:pt x="7289172" y="4317831"/>
                </a:moveTo>
                <a:lnTo>
                  <a:pt x="7290257" y="4320430"/>
                </a:lnTo>
                <a:lnTo>
                  <a:pt x="7288086" y="4323461"/>
                </a:lnTo>
                <a:lnTo>
                  <a:pt x="7286459" y="4330282"/>
                </a:lnTo>
                <a:lnTo>
                  <a:pt x="7283420" y="4328550"/>
                </a:lnTo>
                <a:lnTo>
                  <a:pt x="7286784" y="4323136"/>
                </a:lnTo>
                <a:lnTo>
                  <a:pt x="7286784" y="4318914"/>
                </a:lnTo>
                <a:close/>
                <a:moveTo>
                  <a:pt x="7930395" y="4299641"/>
                </a:moveTo>
                <a:lnTo>
                  <a:pt x="7928551" y="4302347"/>
                </a:lnTo>
                <a:lnTo>
                  <a:pt x="7926272" y="4302455"/>
                </a:lnTo>
                <a:lnTo>
                  <a:pt x="7928334" y="4300182"/>
                </a:lnTo>
                <a:close/>
                <a:moveTo>
                  <a:pt x="7927359" y="4298991"/>
                </a:moveTo>
                <a:lnTo>
                  <a:pt x="7927142" y="4300182"/>
                </a:lnTo>
                <a:lnTo>
                  <a:pt x="7925079" y="4301264"/>
                </a:lnTo>
                <a:lnTo>
                  <a:pt x="7922583" y="4301481"/>
                </a:lnTo>
                <a:close/>
                <a:moveTo>
                  <a:pt x="7314021" y="4298125"/>
                </a:moveTo>
                <a:lnTo>
                  <a:pt x="7316625" y="4300723"/>
                </a:lnTo>
                <a:lnTo>
                  <a:pt x="7314021" y="4302130"/>
                </a:lnTo>
                <a:close/>
                <a:moveTo>
                  <a:pt x="7930722" y="4289031"/>
                </a:moveTo>
                <a:lnTo>
                  <a:pt x="7934520" y="4290005"/>
                </a:lnTo>
                <a:lnTo>
                  <a:pt x="7933651" y="4292278"/>
                </a:lnTo>
                <a:lnTo>
                  <a:pt x="7930613" y="4294011"/>
                </a:lnTo>
                <a:lnTo>
                  <a:pt x="7928442" y="4297259"/>
                </a:lnTo>
                <a:lnTo>
                  <a:pt x="7927249" y="4297476"/>
                </a:lnTo>
                <a:lnTo>
                  <a:pt x="7927792" y="4296176"/>
                </a:lnTo>
                <a:lnTo>
                  <a:pt x="7928009" y="4292712"/>
                </a:lnTo>
                <a:close/>
                <a:moveTo>
                  <a:pt x="7905763" y="4281668"/>
                </a:moveTo>
                <a:lnTo>
                  <a:pt x="7909669" y="4282210"/>
                </a:lnTo>
                <a:lnTo>
                  <a:pt x="7906848" y="4286215"/>
                </a:lnTo>
                <a:lnTo>
                  <a:pt x="7906306" y="4289247"/>
                </a:lnTo>
                <a:lnTo>
                  <a:pt x="7908259" y="4291629"/>
                </a:lnTo>
                <a:lnTo>
                  <a:pt x="7909995" y="4292604"/>
                </a:lnTo>
                <a:lnTo>
                  <a:pt x="7912491" y="4290762"/>
                </a:lnTo>
                <a:lnTo>
                  <a:pt x="7913902" y="4292170"/>
                </a:lnTo>
                <a:lnTo>
                  <a:pt x="7913685" y="4294119"/>
                </a:lnTo>
                <a:lnTo>
                  <a:pt x="7914987" y="4294661"/>
                </a:lnTo>
                <a:lnTo>
                  <a:pt x="7914118" y="4297042"/>
                </a:lnTo>
                <a:lnTo>
                  <a:pt x="7911840" y="4299749"/>
                </a:lnTo>
                <a:lnTo>
                  <a:pt x="7909886" y="4301265"/>
                </a:lnTo>
                <a:lnTo>
                  <a:pt x="7912057" y="4308086"/>
                </a:lnTo>
                <a:lnTo>
                  <a:pt x="7915204" y="4309602"/>
                </a:lnTo>
                <a:lnTo>
                  <a:pt x="7918351" y="4305163"/>
                </a:lnTo>
                <a:lnTo>
                  <a:pt x="7921389" y="4303214"/>
                </a:lnTo>
                <a:lnTo>
                  <a:pt x="7924319" y="4304080"/>
                </a:lnTo>
                <a:lnTo>
                  <a:pt x="7926381" y="4303972"/>
                </a:lnTo>
                <a:lnTo>
                  <a:pt x="7925839" y="4306786"/>
                </a:lnTo>
                <a:lnTo>
                  <a:pt x="7928225" y="4309169"/>
                </a:lnTo>
                <a:lnTo>
                  <a:pt x="7932567" y="4306137"/>
                </a:lnTo>
                <a:lnTo>
                  <a:pt x="7930614" y="4305596"/>
                </a:lnTo>
                <a:lnTo>
                  <a:pt x="7929419" y="4304404"/>
                </a:lnTo>
                <a:lnTo>
                  <a:pt x="7932350" y="4298882"/>
                </a:lnTo>
                <a:lnTo>
                  <a:pt x="7935822" y="4299641"/>
                </a:lnTo>
                <a:lnTo>
                  <a:pt x="7936039" y="4302347"/>
                </a:lnTo>
                <a:lnTo>
                  <a:pt x="7937341" y="4302347"/>
                </a:lnTo>
                <a:lnTo>
                  <a:pt x="7934520" y="4307436"/>
                </a:lnTo>
                <a:lnTo>
                  <a:pt x="7929528" y="4310359"/>
                </a:lnTo>
                <a:lnTo>
                  <a:pt x="7932892" y="4309818"/>
                </a:lnTo>
                <a:lnTo>
                  <a:pt x="7936473" y="4308844"/>
                </a:lnTo>
                <a:lnTo>
                  <a:pt x="7932024" y="4315016"/>
                </a:lnTo>
                <a:lnTo>
                  <a:pt x="7930505" y="4314582"/>
                </a:lnTo>
                <a:lnTo>
                  <a:pt x="7929311" y="4318480"/>
                </a:lnTo>
                <a:lnTo>
                  <a:pt x="7928877" y="4322702"/>
                </a:lnTo>
                <a:lnTo>
                  <a:pt x="7930938" y="4327358"/>
                </a:lnTo>
                <a:lnTo>
                  <a:pt x="7931373" y="4332014"/>
                </a:lnTo>
                <a:lnTo>
                  <a:pt x="7933868" y="4332771"/>
                </a:lnTo>
                <a:lnTo>
                  <a:pt x="7929528" y="4335370"/>
                </a:lnTo>
                <a:lnTo>
                  <a:pt x="7917157" y="4345981"/>
                </a:lnTo>
                <a:lnTo>
                  <a:pt x="7916398" y="4348796"/>
                </a:lnTo>
                <a:lnTo>
                  <a:pt x="7907933" y="4357350"/>
                </a:lnTo>
                <a:lnTo>
                  <a:pt x="7908476" y="4359298"/>
                </a:lnTo>
                <a:lnTo>
                  <a:pt x="7904677" y="4358973"/>
                </a:lnTo>
                <a:lnTo>
                  <a:pt x="7899686" y="4364062"/>
                </a:lnTo>
                <a:lnTo>
                  <a:pt x="7899034" y="4368501"/>
                </a:lnTo>
                <a:lnTo>
                  <a:pt x="7893717" y="4374889"/>
                </a:lnTo>
                <a:lnTo>
                  <a:pt x="7892632" y="4377704"/>
                </a:lnTo>
                <a:lnTo>
                  <a:pt x="7885579" y="4382143"/>
                </a:lnTo>
                <a:lnTo>
                  <a:pt x="7879068" y="4384200"/>
                </a:lnTo>
                <a:lnTo>
                  <a:pt x="7875595" y="4385608"/>
                </a:lnTo>
                <a:lnTo>
                  <a:pt x="7873859" y="4393078"/>
                </a:lnTo>
                <a:lnTo>
                  <a:pt x="7874402" y="4398600"/>
                </a:lnTo>
                <a:lnTo>
                  <a:pt x="7872991" y="4400658"/>
                </a:lnTo>
                <a:lnTo>
                  <a:pt x="7876246" y="4401415"/>
                </a:lnTo>
                <a:lnTo>
                  <a:pt x="7878308" y="4404664"/>
                </a:lnTo>
                <a:lnTo>
                  <a:pt x="7877657" y="4411051"/>
                </a:lnTo>
                <a:lnTo>
                  <a:pt x="7875378" y="4412675"/>
                </a:lnTo>
                <a:lnTo>
                  <a:pt x="7873859" y="4411484"/>
                </a:lnTo>
                <a:lnTo>
                  <a:pt x="7874402" y="4406721"/>
                </a:lnTo>
                <a:lnTo>
                  <a:pt x="7872991" y="4405529"/>
                </a:lnTo>
                <a:lnTo>
                  <a:pt x="7871797" y="4407045"/>
                </a:lnTo>
                <a:lnTo>
                  <a:pt x="7872014" y="4410510"/>
                </a:lnTo>
                <a:lnTo>
                  <a:pt x="7870603" y="4412675"/>
                </a:lnTo>
                <a:lnTo>
                  <a:pt x="7867023" y="4411376"/>
                </a:lnTo>
                <a:lnTo>
                  <a:pt x="7861922" y="4411160"/>
                </a:lnTo>
                <a:lnTo>
                  <a:pt x="7866263" y="4409427"/>
                </a:lnTo>
                <a:lnTo>
                  <a:pt x="7866263" y="4407587"/>
                </a:lnTo>
                <a:lnTo>
                  <a:pt x="7863008" y="4406396"/>
                </a:lnTo>
                <a:lnTo>
                  <a:pt x="7859860" y="4408561"/>
                </a:lnTo>
                <a:lnTo>
                  <a:pt x="7859751" y="4410618"/>
                </a:lnTo>
                <a:lnTo>
                  <a:pt x="7856822" y="4411701"/>
                </a:lnTo>
                <a:lnTo>
                  <a:pt x="7855085" y="4411160"/>
                </a:lnTo>
                <a:lnTo>
                  <a:pt x="7853349" y="4406396"/>
                </a:lnTo>
                <a:lnTo>
                  <a:pt x="7849334" y="4404664"/>
                </a:lnTo>
                <a:lnTo>
                  <a:pt x="7852481" y="4407911"/>
                </a:lnTo>
                <a:lnTo>
                  <a:pt x="7852807" y="4411484"/>
                </a:lnTo>
                <a:lnTo>
                  <a:pt x="7849877" y="4415490"/>
                </a:lnTo>
                <a:lnTo>
                  <a:pt x="7847381" y="4416140"/>
                </a:lnTo>
                <a:lnTo>
                  <a:pt x="7843366" y="4416356"/>
                </a:lnTo>
                <a:lnTo>
                  <a:pt x="7841955" y="4419929"/>
                </a:lnTo>
                <a:lnTo>
                  <a:pt x="7839242" y="4419929"/>
                </a:lnTo>
                <a:lnTo>
                  <a:pt x="7835986" y="4417331"/>
                </a:lnTo>
                <a:lnTo>
                  <a:pt x="7834902" y="4421662"/>
                </a:lnTo>
                <a:lnTo>
                  <a:pt x="7831320" y="4423394"/>
                </a:lnTo>
                <a:lnTo>
                  <a:pt x="7827197" y="4428158"/>
                </a:lnTo>
                <a:lnTo>
                  <a:pt x="7826980" y="4432272"/>
                </a:lnTo>
                <a:lnTo>
                  <a:pt x="7824376" y="4436062"/>
                </a:lnTo>
                <a:lnTo>
                  <a:pt x="7819818" y="4443857"/>
                </a:lnTo>
                <a:lnTo>
                  <a:pt x="7818842" y="4448838"/>
                </a:lnTo>
                <a:lnTo>
                  <a:pt x="7816453" y="4452952"/>
                </a:lnTo>
                <a:lnTo>
                  <a:pt x="7806144" y="4460314"/>
                </a:lnTo>
                <a:lnTo>
                  <a:pt x="7802672" y="4464320"/>
                </a:lnTo>
                <a:lnTo>
                  <a:pt x="7801045" y="4471358"/>
                </a:lnTo>
                <a:lnTo>
                  <a:pt x="7797247" y="4478179"/>
                </a:lnTo>
                <a:lnTo>
                  <a:pt x="7792146" y="4484134"/>
                </a:lnTo>
                <a:lnTo>
                  <a:pt x="7793123" y="4484892"/>
                </a:lnTo>
                <a:lnTo>
                  <a:pt x="7792363" y="4486408"/>
                </a:lnTo>
                <a:lnTo>
                  <a:pt x="7789867" y="4487924"/>
                </a:lnTo>
                <a:lnTo>
                  <a:pt x="7793882" y="4487165"/>
                </a:lnTo>
                <a:lnTo>
                  <a:pt x="7794425" y="4488465"/>
                </a:lnTo>
                <a:lnTo>
                  <a:pt x="7792254" y="4490088"/>
                </a:lnTo>
                <a:lnTo>
                  <a:pt x="7786069" y="4489873"/>
                </a:lnTo>
                <a:lnTo>
                  <a:pt x="7779124" y="4492904"/>
                </a:lnTo>
                <a:lnTo>
                  <a:pt x="7776086" y="4497452"/>
                </a:lnTo>
                <a:lnTo>
                  <a:pt x="7774349" y="4502649"/>
                </a:lnTo>
                <a:lnTo>
                  <a:pt x="7768815" y="4505031"/>
                </a:lnTo>
                <a:lnTo>
                  <a:pt x="7769683" y="4501782"/>
                </a:lnTo>
                <a:lnTo>
                  <a:pt x="7766752" y="4499400"/>
                </a:lnTo>
                <a:lnTo>
                  <a:pt x="7767838" y="4503298"/>
                </a:lnTo>
                <a:lnTo>
                  <a:pt x="7767405" y="4505680"/>
                </a:lnTo>
                <a:lnTo>
                  <a:pt x="7762955" y="4507521"/>
                </a:lnTo>
                <a:lnTo>
                  <a:pt x="7756118" y="4513584"/>
                </a:lnTo>
                <a:lnTo>
                  <a:pt x="7747871" y="4516941"/>
                </a:lnTo>
                <a:lnTo>
                  <a:pt x="7742011" y="4517698"/>
                </a:lnTo>
                <a:lnTo>
                  <a:pt x="7738105" y="4516616"/>
                </a:lnTo>
                <a:lnTo>
                  <a:pt x="7738105" y="4514125"/>
                </a:lnTo>
                <a:lnTo>
                  <a:pt x="7731811" y="4517157"/>
                </a:lnTo>
                <a:lnTo>
                  <a:pt x="7729423" y="4516616"/>
                </a:lnTo>
                <a:lnTo>
                  <a:pt x="7734089" y="4513909"/>
                </a:lnTo>
                <a:lnTo>
                  <a:pt x="7730942" y="4511527"/>
                </a:lnTo>
                <a:lnTo>
                  <a:pt x="7726385" y="4507521"/>
                </a:lnTo>
                <a:lnTo>
                  <a:pt x="7725734" y="4503190"/>
                </a:lnTo>
                <a:lnTo>
                  <a:pt x="7723998" y="4501241"/>
                </a:lnTo>
                <a:lnTo>
                  <a:pt x="7720091" y="4501241"/>
                </a:lnTo>
                <a:lnTo>
                  <a:pt x="7717595" y="4499076"/>
                </a:lnTo>
                <a:lnTo>
                  <a:pt x="7718897" y="4497452"/>
                </a:lnTo>
                <a:lnTo>
                  <a:pt x="7717487" y="4493662"/>
                </a:lnTo>
                <a:lnTo>
                  <a:pt x="7713797" y="4491930"/>
                </a:lnTo>
                <a:lnTo>
                  <a:pt x="7711409" y="4492255"/>
                </a:lnTo>
                <a:lnTo>
                  <a:pt x="7710867" y="4494962"/>
                </a:lnTo>
                <a:lnTo>
                  <a:pt x="7708914" y="4494745"/>
                </a:lnTo>
                <a:lnTo>
                  <a:pt x="7708371" y="4493446"/>
                </a:lnTo>
                <a:lnTo>
                  <a:pt x="7702294" y="4492904"/>
                </a:lnTo>
                <a:lnTo>
                  <a:pt x="7700232" y="4491821"/>
                </a:lnTo>
                <a:lnTo>
                  <a:pt x="7696869" y="4488357"/>
                </a:lnTo>
                <a:lnTo>
                  <a:pt x="7697628" y="4483918"/>
                </a:lnTo>
                <a:lnTo>
                  <a:pt x="7700232" y="4482402"/>
                </a:lnTo>
                <a:lnTo>
                  <a:pt x="7697954" y="4481752"/>
                </a:lnTo>
                <a:lnTo>
                  <a:pt x="7695132" y="4481319"/>
                </a:lnTo>
                <a:lnTo>
                  <a:pt x="7700667" y="4475039"/>
                </a:lnTo>
                <a:lnTo>
                  <a:pt x="7705658" y="4474390"/>
                </a:lnTo>
                <a:lnTo>
                  <a:pt x="7709565" y="4474498"/>
                </a:lnTo>
                <a:lnTo>
                  <a:pt x="7711301" y="4472982"/>
                </a:lnTo>
                <a:lnTo>
                  <a:pt x="7709565" y="4470708"/>
                </a:lnTo>
                <a:lnTo>
                  <a:pt x="7705984" y="4467352"/>
                </a:lnTo>
                <a:lnTo>
                  <a:pt x="7705658" y="4464320"/>
                </a:lnTo>
                <a:lnTo>
                  <a:pt x="7709782" y="4457500"/>
                </a:lnTo>
                <a:lnTo>
                  <a:pt x="7711409" y="4456308"/>
                </a:lnTo>
                <a:lnTo>
                  <a:pt x="7713146" y="4453385"/>
                </a:lnTo>
                <a:lnTo>
                  <a:pt x="7714991" y="4454360"/>
                </a:lnTo>
                <a:lnTo>
                  <a:pt x="7716835" y="4458474"/>
                </a:lnTo>
                <a:lnTo>
                  <a:pt x="7718680" y="4456200"/>
                </a:lnTo>
                <a:lnTo>
                  <a:pt x="7719114" y="4447972"/>
                </a:lnTo>
                <a:lnTo>
                  <a:pt x="7721285" y="4445048"/>
                </a:lnTo>
                <a:lnTo>
                  <a:pt x="7723238" y="4445048"/>
                </a:lnTo>
                <a:lnTo>
                  <a:pt x="7730182" y="4437252"/>
                </a:lnTo>
                <a:lnTo>
                  <a:pt x="7732353" y="4438877"/>
                </a:lnTo>
                <a:lnTo>
                  <a:pt x="7734415" y="4436495"/>
                </a:lnTo>
                <a:lnTo>
                  <a:pt x="7734415" y="4430757"/>
                </a:lnTo>
                <a:lnTo>
                  <a:pt x="7737237" y="4428916"/>
                </a:lnTo>
                <a:lnTo>
                  <a:pt x="7740275" y="4426209"/>
                </a:lnTo>
                <a:lnTo>
                  <a:pt x="7742336" y="4427833"/>
                </a:lnTo>
                <a:lnTo>
                  <a:pt x="7742988" y="4430757"/>
                </a:lnTo>
                <a:lnTo>
                  <a:pt x="7744073" y="4425235"/>
                </a:lnTo>
                <a:lnTo>
                  <a:pt x="7748197" y="4419929"/>
                </a:lnTo>
                <a:lnTo>
                  <a:pt x="7751886" y="4418847"/>
                </a:lnTo>
                <a:lnTo>
                  <a:pt x="7757638" y="4414191"/>
                </a:lnTo>
                <a:lnTo>
                  <a:pt x="7760459" y="4410618"/>
                </a:lnTo>
                <a:lnTo>
                  <a:pt x="7767947" y="4404122"/>
                </a:lnTo>
                <a:lnTo>
                  <a:pt x="7771527" y="4403905"/>
                </a:lnTo>
                <a:lnTo>
                  <a:pt x="7773698" y="4405638"/>
                </a:lnTo>
                <a:lnTo>
                  <a:pt x="7777930" y="4404555"/>
                </a:lnTo>
                <a:lnTo>
                  <a:pt x="7781836" y="4403364"/>
                </a:lnTo>
                <a:lnTo>
                  <a:pt x="7783682" y="4404122"/>
                </a:lnTo>
                <a:lnTo>
                  <a:pt x="7787697" y="4408020"/>
                </a:lnTo>
                <a:lnTo>
                  <a:pt x="7787154" y="4403148"/>
                </a:lnTo>
                <a:lnTo>
                  <a:pt x="7785526" y="4399358"/>
                </a:lnTo>
                <a:lnTo>
                  <a:pt x="7786286" y="4396651"/>
                </a:lnTo>
                <a:lnTo>
                  <a:pt x="7794642" y="4391454"/>
                </a:lnTo>
                <a:lnTo>
                  <a:pt x="7799308" y="4390480"/>
                </a:lnTo>
                <a:lnTo>
                  <a:pt x="7807012" y="4383117"/>
                </a:lnTo>
                <a:lnTo>
                  <a:pt x="7815911" y="4378678"/>
                </a:lnTo>
                <a:lnTo>
                  <a:pt x="7819818" y="4378895"/>
                </a:lnTo>
                <a:lnTo>
                  <a:pt x="7820469" y="4375430"/>
                </a:lnTo>
                <a:lnTo>
                  <a:pt x="7826437" y="4372290"/>
                </a:lnTo>
                <a:lnTo>
                  <a:pt x="7831429" y="4371641"/>
                </a:lnTo>
                <a:lnTo>
                  <a:pt x="7841087" y="4364711"/>
                </a:lnTo>
                <a:lnTo>
                  <a:pt x="7849769" y="4354642"/>
                </a:lnTo>
                <a:lnTo>
                  <a:pt x="7850202" y="4350853"/>
                </a:lnTo>
                <a:lnTo>
                  <a:pt x="7852481" y="4347929"/>
                </a:lnTo>
                <a:lnTo>
                  <a:pt x="7852699" y="4342732"/>
                </a:lnTo>
                <a:lnTo>
                  <a:pt x="7856496" y="4338510"/>
                </a:lnTo>
                <a:lnTo>
                  <a:pt x="7859101" y="4337210"/>
                </a:lnTo>
                <a:lnTo>
                  <a:pt x="7859318" y="4332447"/>
                </a:lnTo>
                <a:lnTo>
                  <a:pt x="7860620" y="4328224"/>
                </a:lnTo>
                <a:lnTo>
                  <a:pt x="7864526" y="4325301"/>
                </a:lnTo>
                <a:lnTo>
                  <a:pt x="7869410" y="4325734"/>
                </a:lnTo>
                <a:lnTo>
                  <a:pt x="7873425" y="4324110"/>
                </a:lnTo>
                <a:lnTo>
                  <a:pt x="7875053" y="4320537"/>
                </a:lnTo>
                <a:lnTo>
                  <a:pt x="7880478" y="4313933"/>
                </a:lnTo>
                <a:lnTo>
                  <a:pt x="7882540" y="4313175"/>
                </a:lnTo>
                <a:lnTo>
                  <a:pt x="7886880" y="4307436"/>
                </a:lnTo>
                <a:lnTo>
                  <a:pt x="7891222" y="4296609"/>
                </a:lnTo>
                <a:lnTo>
                  <a:pt x="7891982" y="4290655"/>
                </a:lnTo>
                <a:lnTo>
                  <a:pt x="7896214" y="4287190"/>
                </a:lnTo>
                <a:lnTo>
                  <a:pt x="7899360" y="4285890"/>
                </a:lnTo>
                <a:close/>
                <a:moveTo>
                  <a:pt x="2284276" y="4260772"/>
                </a:moveTo>
                <a:lnTo>
                  <a:pt x="2284927" y="4264886"/>
                </a:lnTo>
                <a:lnTo>
                  <a:pt x="2282323" y="4264669"/>
                </a:lnTo>
                <a:lnTo>
                  <a:pt x="2282214" y="4260988"/>
                </a:lnTo>
                <a:close/>
                <a:moveTo>
                  <a:pt x="2300769" y="4259256"/>
                </a:moveTo>
                <a:lnTo>
                  <a:pt x="2298164" y="4262288"/>
                </a:lnTo>
                <a:lnTo>
                  <a:pt x="2295886" y="4259364"/>
                </a:lnTo>
                <a:close/>
                <a:moveTo>
                  <a:pt x="2288182" y="4257957"/>
                </a:moveTo>
                <a:lnTo>
                  <a:pt x="2289593" y="4260122"/>
                </a:lnTo>
                <a:lnTo>
                  <a:pt x="2293716" y="4260988"/>
                </a:lnTo>
                <a:lnTo>
                  <a:pt x="2295561" y="4264670"/>
                </a:lnTo>
                <a:lnTo>
                  <a:pt x="2290787" y="4265752"/>
                </a:lnTo>
                <a:lnTo>
                  <a:pt x="2286337" y="4260772"/>
                </a:lnTo>
                <a:close/>
                <a:moveTo>
                  <a:pt x="2293716" y="4253409"/>
                </a:moveTo>
                <a:lnTo>
                  <a:pt x="2293499" y="4257848"/>
                </a:lnTo>
                <a:lnTo>
                  <a:pt x="2289701" y="4253733"/>
                </a:lnTo>
                <a:close/>
                <a:moveTo>
                  <a:pt x="2297188" y="4245614"/>
                </a:moveTo>
                <a:lnTo>
                  <a:pt x="2302288" y="4245614"/>
                </a:lnTo>
                <a:lnTo>
                  <a:pt x="2302831" y="4253192"/>
                </a:lnTo>
                <a:lnTo>
                  <a:pt x="2300227" y="4256873"/>
                </a:lnTo>
                <a:lnTo>
                  <a:pt x="2297188" y="4255249"/>
                </a:lnTo>
                <a:lnTo>
                  <a:pt x="2295560" y="4250161"/>
                </a:lnTo>
                <a:lnTo>
                  <a:pt x="2293065" y="4248104"/>
                </a:lnTo>
                <a:close/>
                <a:moveTo>
                  <a:pt x="2357250" y="4243263"/>
                </a:moveTo>
                <a:lnTo>
                  <a:pt x="2359911" y="4247996"/>
                </a:lnTo>
                <a:lnTo>
                  <a:pt x="2359914" y="4248105"/>
                </a:lnTo>
                <a:lnTo>
                  <a:pt x="2359911" y="4247995"/>
                </a:lnTo>
                <a:close/>
                <a:moveTo>
                  <a:pt x="2297732" y="4240633"/>
                </a:moveTo>
                <a:lnTo>
                  <a:pt x="2297297" y="4244638"/>
                </a:lnTo>
                <a:lnTo>
                  <a:pt x="2291112" y="4244746"/>
                </a:lnTo>
                <a:lnTo>
                  <a:pt x="2288833" y="4242690"/>
                </a:lnTo>
                <a:lnTo>
                  <a:pt x="2294259" y="4240957"/>
                </a:lnTo>
                <a:close/>
                <a:moveTo>
                  <a:pt x="2337448" y="4232189"/>
                </a:moveTo>
                <a:lnTo>
                  <a:pt x="2340487" y="4235004"/>
                </a:lnTo>
                <a:lnTo>
                  <a:pt x="2342006" y="4233596"/>
                </a:lnTo>
                <a:lnTo>
                  <a:pt x="2340487" y="4235003"/>
                </a:lnTo>
                <a:close/>
                <a:moveTo>
                  <a:pt x="2267129" y="4232188"/>
                </a:moveTo>
                <a:lnTo>
                  <a:pt x="2271686" y="4232188"/>
                </a:lnTo>
                <a:lnTo>
                  <a:pt x="2274182" y="4235002"/>
                </a:lnTo>
                <a:lnTo>
                  <a:pt x="2272663" y="4237925"/>
                </a:lnTo>
                <a:lnTo>
                  <a:pt x="2266695" y="4235327"/>
                </a:lnTo>
                <a:close/>
                <a:moveTo>
                  <a:pt x="2286878" y="4232081"/>
                </a:moveTo>
                <a:lnTo>
                  <a:pt x="2296862" y="4232081"/>
                </a:lnTo>
                <a:lnTo>
                  <a:pt x="2294583" y="4234462"/>
                </a:lnTo>
                <a:lnTo>
                  <a:pt x="2288507" y="4235653"/>
                </a:lnTo>
                <a:lnTo>
                  <a:pt x="2287638" y="4237601"/>
                </a:lnTo>
                <a:cubicBezTo>
                  <a:pt x="2286950" y="4237067"/>
                  <a:pt x="2286297" y="4236489"/>
                  <a:pt x="2285685" y="4235869"/>
                </a:cubicBezTo>
                <a:close/>
                <a:moveTo>
                  <a:pt x="2277655" y="4226991"/>
                </a:moveTo>
                <a:lnTo>
                  <a:pt x="2280151" y="4229481"/>
                </a:lnTo>
                <a:lnTo>
                  <a:pt x="2277113" y="4231755"/>
                </a:lnTo>
                <a:lnTo>
                  <a:pt x="2275268" y="4229914"/>
                </a:lnTo>
                <a:close/>
                <a:moveTo>
                  <a:pt x="2300444" y="4225476"/>
                </a:moveTo>
                <a:lnTo>
                  <a:pt x="2301854" y="4230889"/>
                </a:lnTo>
                <a:lnTo>
                  <a:pt x="2298382" y="4230457"/>
                </a:lnTo>
                <a:close/>
                <a:moveTo>
                  <a:pt x="2281779" y="4223311"/>
                </a:moveTo>
                <a:lnTo>
                  <a:pt x="2286662" y="4223419"/>
                </a:lnTo>
                <a:lnTo>
                  <a:pt x="2289049" y="4228075"/>
                </a:lnTo>
                <a:lnTo>
                  <a:pt x="2285469" y="4228832"/>
                </a:lnTo>
                <a:lnTo>
                  <a:pt x="2282539" y="4230024"/>
                </a:lnTo>
                <a:lnTo>
                  <a:pt x="2282864" y="4226234"/>
                </a:lnTo>
                <a:close/>
                <a:moveTo>
                  <a:pt x="2296862" y="4222119"/>
                </a:moveTo>
                <a:lnTo>
                  <a:pt x="2296862" y="4228291"/>
                </a:lnTo>
                <a:lnTo>
                  <a:pt x="2292196" y="4223851"/>
                </a:lnTo>
                <a:close/>
                <a:moveTo>
                  <a:pt x="2312272" y="4221361"/>
                </a:moveTo>
                <a:lnTo>
                  <a:pt x="2316830" y="4222227"/>
                </a:lnTo>
                <a:lnTo>
                  <a:pt x="2317807" y="4225692"/>
                </a:lnTo>
                <a:lnTo>
                  <a:pt x="2321605" y="4229806"/>
                </a:lnTo>
                <a:lnTo>
                  <a:pt x="2319001" y="4233596"/>
                </a:lnTo>
                <a:lnTo>
                  <a:pt x="2317698" y="4236843"/>
                </a:lnTo>
                <a:lnTo>
                  <a:pt x="2314552" y="4237602"/>
                </a:lnTo>
                <a:lnTo>
                  <a:pt x="2312272" y="4236302"/>
                </a:lnTo>
                <a:lnTo>
                  <a:pt x="2309885" y="4235869"/>
                </a:lnTo>
                <a:lnTo>
                  <a:pt x="2306412" y="4239442"/>
                </a:lnTo>
                <a:lnTo>
                  <a:pt x="2306087" y="4234137"/>
                </a:lnTo>
                <a:lnTo>
                  <a:pt x="2305219" y="4230347"/>
                </a:lnTo>
                <a:lnTo>
                  <a:pt x="2307498" y="4223310"/>
                </a:lnTo>
                <a:close/>
                <a:moveTo>
                  <a:pt x="7340934" y="4221254"/>
                </a:moveTo>
                <a:lnTo>
                  <a:pt x="7339849" y="4225151"/>
                </a:lnTo>
                <a:lnTo>
                  <a:pt x="7337461" y="4222444"/>
                </a:lnTo>
                <a:close/>
                <a:moveTo>
                  <a:pt x="7255423" y="4217248"/>
                </a:moveTo>
                <a:lnTo>
                  <a:pt x="7260089" y="4220604"/>
                </a:lnTo>
                <a:lnTo>
                  <a:pt x="7264430" y="4222769"/>
                </a:lnTo>
                <a:lnTo>
                  <a:pt x="7268011" y="4225693"/>
                </a:lnTo>
                <a:lnTo>
                  <a:pt x="7268771" y="4223203"/>
                </a:lnTo>
                <a:lnTo>
                  <a:pt x="7270724" y="4220820"/>
                </a:lnTo>
                <a:lnTo>
                  <a:pt x="7270724" y="4227858"/>
                </a:lnTo>
                <a:lnTo>
                  <a:pt x="7279079" y="4232405"/>
                </a:lnTo>
                <a:lnTo>
                  <a:pt x="7285591" y="4238360"/>
                </a:lnTo>
                <a:lnTo>
                  <a:pt x="7290040" y="4241609"/>
                </a:lnTo>
                <a:lnTo>
                  <a:pt x="7293078" y="4239335"/>
                </a:lnTo>
                <a:lnTo>
                  <a:pt x="7297744" y="4239335"/>
                </a:lnTo>
                <a:lnTo>
                  <a:pt x="7301326" y="4242799"/>
                </a:lnTo>
                <a:lnTo>
                  <a:pt x="7301326" y="4238468"/>
                </a:lnTo>
                <a:lnTo>
                  <a:pt x="7304364" y="4236519"/>
                </a:lnTo>
                <a:lnTo>
                  <a:pt x="7318689" y="4237386"/>
                </a:lnTo>
                <a:lnTo>
                  <a:pt x="7321184" y="4235762"/>
                </a:lnTo>
                <a:lnTo>
                  <a:pt x="7324440" y="4233272"/>
                </a:lnTo>
                <a:lnTo>
                  <a:pt x="7327153" y="4233272"/>
                </a:lnTo>
                <a:lnTo>
                  <a:pt x="7328455" y="4234138"/>
                </a:lnTo>
                <a:lnTo>
                  <a:pt x="7331168" y="4229807"/>
                </a:lnTo>
                <a:lnTo>
                  <a:pt x="7331711" y="4229049"/>
                </a:lnTo>
                <a:lnTo>
                  <a:pt x="7337353" y="4233055"/>
                </a:lnTo>
                <a:lnTo>
                  <a:pt x="7335726" y="4237169"/>
                </a:lnTo>
                <a:lnTo>
                  <a:pt x="7333556" y="4249403"/>
                </a:lnTo>
                <a:lnTo>
                  <a:pt x="7329431" y="4254384"/>
                </a:lnTo>
                <a:lnTo>
                  <a:pt x="7329431" y="4263263"/>
                </a:lnTo>
                <a:lnTo>
                  <a:pt x="7325959" y="4268351"/>
                </a:lnTo>
                <a:lnTo>
                  <a:pt x="7327261" y="4274305"/>
                </a:lnTo>
                <a:lnTo>
                  <a:pt x="7325959" y="4276471"/>
                </a:lnTo>
                <a:lnTo>
                  <a:pt x="7325959" y="4280802"/>
                </a:lnTo>
                <a:lnTo>
                  <a:pt x="7323572" y="4285999"/>
                </a:lnTo>
                <a:lnTo>
                  <a:pt x="7322703" y="4282643"/>
                </a:lnTo>
                <a:lnTo>
                  <a:pt x="7321293" y="4275713"/>
                </a:lnTo>
                <a:lnTo>
                  <a:pt x="7318797" y="4280260"/>
                </a:lnTo>
                <a:lnTo>
                  <a:pt x="7315759" y="4282426"/>
                </a:lnTo>
                <a:lnTo>
                  <a:pt x="7315759" y="4293253"/>
                </a:lnTo>
                <a:lnTo>
                  <a:pt x="7313805" y="4295202"/>
                </a:lnTo>
                <a:lnTo>
                  <a:pt x="7310007" y="4295202"/>
                </a:lnTo>
                <a:lnTo>
                  <a:pt x="7310007" y="4300615"/>
                </a:lnTo>
                <a:lnTo>
                  <a:pt x="7306643" y="4304946"/>
                </a:lnTo>
                <a:lnTo>
                  <a:pt x="7310441" y="4307437"/>
                </a:lnTo>
                <a:lnTo>
                  <a:pt x="7310441" y="4310360"/>
                </a:lnTo>
                <a:lnTo>
                  <a:pt x="7305015" y="4318155"/>
                </a:lnTo>
                <a:lnTo>
                  <a:pt x="7303062" y="4317506"/>
                </a:lnTo>
                <a:lnTo>
                  <a:pt x="7298830" y="4319563"/>
                </a:lnTo>
                <a:lnTo>
                  <a:pt x="7298830" y="4312526"/>
                </a:lnTo>
                <a:lnTo>
                  <a:pt x="7303713" y="4314583"/>
                </a:lnTo>
                <a:lnTo>
                  <a:pt x="7304364" y="4310577"/>
                </a:lnTo>
                <a:lnTo>
                  <a:pt x="7301651" y="4308194"/>
                </a:lnTo>
                <a:lnTo>
                  <a:pt x="7297636" y="4308953"/>
                </a:lnTo>
                <a:lnTo>
                  <a:pt x="7295249" y="4313067"/>
                </a:lnTo>
                <a:lnTo>
                  <a:pt x="7292210" y="4311984"/>
                </a:lnTo>
                <a:lnTo>
                  <a:pt x="7292210" y="4307004"/>
                </a:lnTo>
                <a:lnTo>
                  <a:pt x="7290365" y="4311984"/>
                </a:lnTo>
                <a:lnTo>
                  <a:pt x="7286025" y="4315448"/>
                </a:lnTo>
                <a:lnTo>
                  <a:pt x="7284614" y="4317939"/>
                </a:lnTo>
                <a:lnTo>
                  <a:pt x="7281359" y="4314907"/>
                </a:lnTo>
                <a:lnTo>
                  <a:pt x="7279188" y="4322703"/>
                </a:lnTo>
                <a:lnTo>
                  <a:pt x="7278646" y="4327033"/>
                </a:lnTo>
                <a:lnTo>
                  <a:pt x="7274197" y="4333854"/>
                </a:lnTo>
                <a:lnTo>
                  <a:pt x="7270398" y="4333854"/>
                </a:lnTo>
                <a:lnTo>
                  <a:pt x="7268011" y="4329524"/>
                </a:lnTo>
                <a:lnTo>
                  <a:pt x="7268011" y="4325518"/>
                </a:lnTo>
                <a:lnTo>
                  <a:pt x="7264212" y="4330498"/>
                </a:lnTo>
                <a:lnTo>
                  <a:pt x="7260957" y="4327250"/>
                </a:lnTo>
                <a:lnTo>
                  <a:pt x="7256617" y="4328116"/>
                </a:lnTo>
                <a:lnTo>
                  <a:pt x="7254663" y="4327250"/>
                </a:lnTo>
                <a:lnTo>
                  <a:pt x="7254663" y="4323027"/>
                </a:lnTo>
                <a:lnTo>
                  <a:pt x="7257376" y="4319996"/>
                </a:lnTo>
                <a:lnTo>
                  <a:pt x="7252818" y="4318372"/>
                </a:lnTo>
                <a:lnTo>
                  <a:pt x="7251733" y="4312200"/>
                </a:lnTo>
                <a:lnTo>
                  <a:pt x="7252818" y="4310251"/>
                </a:lnTo>
                <a:lnTo>
                  <a:pt x="7250322" y="4308302"/>
                </a:lnTo>
                <a:lnTo>
                  <a:pt x="7250322" y="4294986"/>
                </a:lnTo>
                <a:lnTo>
                  <a:pt x="7251408" y="4292495"/>
                </a:lnTo>
                <a:lnTo>
                  <a:pt x="7248152" y="4289788"/>
                </a:lnTo>
                <a:lnTo>
                  <a:pt x="7248152" y="4281452"/>
                </a:lnTo>
                <a:lnTo>
                  <a:pt x="7250105" y="4276796"/>
                </a:lnTo>
                <a:lnTo>
                  <a:pt x="7254120" y="4281235"/>
                </a:lnTo>
                <a:lnTo>
                  <a:pt x="7259221" y="4281235"/>
                </a:lnTo>
                <a:lnTo>
                  <a:pt x="7254880" y="4276904"/>
                </a:lnTo>
                <a:lnTo>
                  <a:pt x="7254880" y="4273873"/>
                </a:lnTo>
                <a:lnTo>
                  <a:pt x="7252710" y="4272465"/>
                </a:lnTo>
                <a:lnTo>
                  <a:pt x="7254011" y="4265753"/>
                </a:lnTo>
                <a:lnTo>
                  <a:pt x="7252927" y="4257307"/>
                </a:lnTo>
                <a:lnTo>
                  <a:pt x="7252384" y="4246480"/>
                </a:lnTo>
                <a:lnTo>
                  <a:pt x="7253578" y="4240417"/>
                </a:lnTo>
                <a:lnTo>
                  <a:pt x="7252493" y="4231106"/>
                </a:lnTo>
                <a:lnTo>
                  <a:pt x="7252493" y="4226126"/>
                </a:lnTo>
                <a:lnTo>
                  <a:pt x="7253904" y="4225043"/>
                </a:lnTo>
                <a:lnTo>
                  <a:pt x="7253904" y="4219521"/>
                </a:lnTo>
                <a:close/>
                <a:moveTo>
                  <a:pt x="7264863" y="4216381"/>
                </a:moveTo>
                <a:lnTo>
                  <a:pt x="7268011" y="4219304"/>
                </a:lnTo>
                <a:lnTo>
                  <a:pt x="7265731" y="4221577"/>
                </a:lnTo>
                <a:lnTo>
                  <a:pt x="7262693" y="4220603"/>
                </a:lnTo>
                <a:lnTo>
                  <a:pt x="7261825" y="4217030"/>
                </a:lnTo>
                <a:close/>
                <a:moveTo>
                  <a:pt x="2306412" y="4216381"/>
                </a:moveTo>
                <a:lnTo>
                  <a:pt x="2310644" y="4219629"/>
                </a:lnTo>
                <a:lnTo>
                  <a:pt x="2305760" y="4220062"/>
                </a:lnTo>
                <a:lnTo>
                  <a:pt x="2304567" y="4217680"/>
                </a:lnTo>
                <a:close/>
                <a:moveTo>
                  <a:pt x="2283080" y="4215839"/>
                </a:moveTo>
                <a:lnTo>
                  <a:pt x="2286661" y="4215947"/>
                </a:lnTo>
                <a:lnTo>
                  <a:pt x="2289049" y="4218546"/>
                </a:lnTo>
                <a:lnTo>
                  <a:pt x="2288506" y="4220495"/>
                </a:lnTo>
                <a:lnTo>
                  <a:pt x="2284816" y="4222011"/>
                </a:lnTo>
                <a:lnTo>
                  <a:pt x="2282212" y="4221361"/>
                </a:lnTo>
                <a:lnTo>
                  <a:pt x="2281453" y="4219087"/>
                </a:lnTo>
                <a:close/>
                <a:moveTo>
                  <a:pt x="2351773" y="4214973"/>
                </a:moveTo>
                <a:lnTo>
                  <a:pt x="2348083" y="4217463"/>
                </a:lnTo>
                <a:lnTo>
                  <a:pt x="2343634" y="4216597"/>
                </a:lnTo>
                <a:lnTo>
                  <a:pt x="2343634" y="4216598"/>
                </a:lnTo>
                <a:lnTo>
                  <a:pt x="2348084" y="4217464"/>
                </a:lnTo>
                <a:close/>
                <a:moveTo>
                  <a:pt x="2288617" y="4211833"/>
                </a:moveTo>
                <a:lnTo>
                  <a:pt x="2290678" y="4213240"/>
                </a:lnTo>
                <a:lnTo>
                  <a:pt x="2289810" y="4215838"/>
                </a:lnTo>
                <a:lnTo>
                  <a:pt x="2287640" y="4213132"/>
                </a:lnTo>
                <a:close/>
                <a:moveTo>
                  <a:pt x="7343430" y="4211401"/>
                </a:moveTo>
                <a:lnTo>
                  <a:pt x="7348312" y="4215948"/>
                </a:lnTo>
                <a:lnTo>
                  <a:pt x="7347553" y="4218655"/>
                </a:lnTo>
                <a:lnTo>
                  <a:pt x="7343972" y="4217139"/>
                </a:lnTo>
                <a:lnTo>
                  <a:pt x="7336702" y="4216815"/>
                </a:lnTo>
                <a:lnTo>
                  <a:pt x="7335291" y="4213783"/>
                </a:lnTo>
                <a:lnTo>
                  <a:pt x="7338004" y="4211942"/>
                </a:lnTo>
                <a:close/>
                <a:moveTo>
                  <a:pt x="7266274" y="4207177"/>
                </a:moveTo>
                <a:lnTo>
                  <a:pt x="7266708" y="4211508"/>
                </a:lnTo>
                <a:lnTo>
                  <a:pt x="7263995" y="4211724"/>
                </a:lnTo>
                <a:lnTo>
                  <a:pt x="7263778" y="4208260"/>
                </a:lnTo>
                <a:close/>
                <a:moveTo>
                  <a:pt x="7261610" y="4206529"/>
                </a:moveTo>
                <a:lnTo>
                  <a:pt x="7261827" y="4210643"/>
                </a:lnTo>
                <a:lnTo>
                  <a:pt x="7260307" y="4213891"/>
                </a:lnTo>
                <a:lnTo>
                  <a:pt x="7257051" y="4212051"/>
                </a:lnTo>
                <a:lnTo>
                  <a:pt x="7258354" y="4208369"/>
                </a:lnTo>
                <a:close/>
                <a:moveTo>
                  <a:pt x="2296754" y="4205338"/>
                </a:moveTo>
                <a:lnTo>
                  <a:pt x="2300335" y="4206421"/>
                </a:lnTo>
                <a:lnTo>
                  <a:pt x="2300878" y="4211076"/>
                </a:lnTo>
                <a:lnTo>
                  <a:pt x="2297839" y="4212808"/>
                </a:lnTo>
                <a:lnTo>
                  <a:pt x="2297514" y="4209993"/>
                </a:lnTo>
                <a:lnTo>
                  <a:pt x="2294367" y="4207395"/>
                </a:lnTo>
                <a:close/>
                <a:moveTo>
                  <a:pt x="2308257" y="4203171"/>
                </a:moveTo>
                <a:lnTo>
                  <a:pt x="2308257" y="4206419"/>
                </a:lnTo>
                <a:lnTo>
                  <a:pt x="2305653" y="4208908"/>
                </a:lnTo>
                <a:lnTo>
                  <a:pt x="2304025" y="4205986"/>
                </a:lnTo>
                <a:close/>
                <a:moveTo>
                  <a:pt x="2286988" y="4202414"/>
                </a:moveTo>
                <a:lnTo>
                  <a:pt x="2293282" y="4203821"/>
                </a:lnTo>
                <a:lnTo>
                  <a:pt x="2288508" y="4206961"/>
                </a:lnTo>
                <a:lnTo>
                  <a:pt x="2285795" y="4204255"/>
                </a:lnTo>
                <a:close/>
                <a:moveTo>
                  <a:pt x="2272772" y="4198841"/>
                </a:moveTo>
                <a:lnTo>
                  <a:pt x="2276461" y="4198841"/>
                </a:lnTo>
                <a:lnTo>
                  <a:pt x="2279500" y="4201114"/>
                </a:lnTo>
                <a:lnTo>
                  <a:pt x="2273423" y="4203388"/>
                </a:lnTo>
                <a:lnTo>
                  <a:pt x="2271036" y="4200898"/>
                </a:lnTo>
                <a:close/>
                <a:moveTo>
                  <a:pt x="2336875" y="4195364"/>
                </a:moveTo>
                <a:lnTo>
                  <a:pt x="2336906" y="4196026"/>
                </a:lnTo>
                <a:lnTo>
                  <a:pt x="2341077" y="4205059"/>
                </a:lnTo>
                <a:lnTo>
                  <a:pt x="2336906" y="4196025"/>
                </a:lnTo>
                <a:close/>
                <a:moveTo>
                  <a:pt x="7340608" y="4192669"/>
                </a:moveTo>
                <a:lnTo>
                  <a:pt x="7348312" y="4200356"/>
                </a:lnTo>
                <a:lnTo>
                  <a:pt x="7348312" y="4204579"/>
                </a:lnTo>
                <a:lnTo>
                  <a:pt x="7339848" y="4208368"/>
                </a:lnTo>
                <a:lnTo>
                  <a:pt x="7338329" y="4205012"/>
                </a:lnTo>
                <a:lnTo>
                  <a:pt x="7336702" y="4202197"/>
                </a:lnTo>
                <a:lnTo>
                  <a:pt x="7338547" y="4197866"/>
                </a:lnTo>
                <a:lnTo>
                  <a:pt x="7337136" y="4193860"/>
                </a:lnTo>
                <a:close/>
                <a:moveTo>
                  <a:pt x="2329419" y="4178486"/>
                </a:moveTo>
                <a:lnTo>
                  <a:pt x="2337014" y="4181085"/>
                </a:lnTo>
                <a:lnTo>
                  <a:pt x="2337014" y="4181084"/>
                </a:lnTo>
                <a:close/>
                <a:moveTo>
                  <a:pt x="7252601" y="4174806"/>
                </a:moveTo>
                <a:lnTo>
                  <a:pt x="7255422" y="4177188"/>
                </a:lnTo>
                <a:lnTo>
                  <a:pt x="7254337" y="4184117"/>
                </a:lnTo>
                <a:lnTo>
                  <a:pt x="7255965" y="4187473"/>
                </a:lnTo>
                <a:lnTo>
                  <a:pt x="7252818" y="4192454"/>
                </a:lnTo>
                <a:lnTo>
                  <a:pt x="7251950" y="4195052"/>
                </a:lnTo>
                <a:lnTo>
                  <a:pt x="7248043" y="4198192"/>
                </a:lnTo>
                <a:lnTo>
                  <a:pt x="7244680" y="4196568"/>
                </a:lnTo>
                <a:lnTo>
                  <a:pt x="7245222" y="4193103"/>
                </a:lnTo>
                <a:lnTo>
                  <a:pt x="7244137" y="4189206"/>
                </a:lnTo>
                <a:lnTo>
                  <a:pt x="7247283" y="4185091"/>
                </a:lnTo>
                <a:lnTo>
                  <a:pt x="7246633" y="4180977"/>
                </a:lnTo>
                <a:lnTo>
                  <a:pt x="7249889" y="4176971"/>
                </a:lnTo>
                <a:close/>
                <a:moveTo>
                  <a:pt x="2302287" y="4154558"/>
                </a:moveTo>
                <a:lnTo>
                  <a:pt x="2304675" y="4156940"/>
                </a:lnTo>
                <a:lnTo>
                  <a:pt x="2303047" y="4159538"/>
                </a:lnTo>
                <a:lnTo>
                  <a:pt x="2298924" y="4156074"/>
                </a:lnTo>
                <a:close/>
                <a:moveTo>
                  <a:pt x="7323030" y="4153368"/>
                </a:moveTo>
                <a:lnTo>
                  <a:pt x="7321293" y="4155425"/>
                </a:lnTo>
                <a:lnTo>
                  <a:pt x="7318797" y="4153693"/>
                </a:lnTo>
                <a:close/>
                <a:moveTo>
                  <a:pt x="2279283" y="4141133"/>
                </a:moveTo>
                <a:lnTo>
                  <a:pt x="2284492" y="4141241"/>
                </a:lnTo>
                <a:lnTo>
                  <a:pt x="2288941" y="4143190"/>
                </a:lnTo>
                <a:lnTo>
                  <a:pt x="2293064" y="4149145"/>
                </a:lnTo>
                <a:lnTo>
                  <a:pt x="2292847" y="4155533"/>
                </a:lnTo>
                <a:lnTo>
                  <a:pt x="2293824" y="4157265"/>
                </a:lnTo>
                <a:lnTo>
                  <a:pt x="2293824" y="4161920"/>
                </a:lnTo>
                <a:lnTo>
                  <a:pt x="2288507" y="4160405"/>
                </a:lnTo>
                <a:lnTo>
                  <a:pt x="2294150" y="4164411"/>
                </a:lnTo>
                <a:lnTo>
                  <a:pt x="2295885" y="4166684"/>
                </a:lnTo>
                <a:lnTo>
                  <a:pt x="2295777" y="4167767"/>
                </a:lnTo>
                <a:lnTo>
                  <a:pt x="2291111" y="4165169"/>
                </a:lnTo>
                <a:lnTo>
                  <a:pt x="2288398" y="4165385"/>
                </a:lnTo>
                <a:lnTo>
                  <a:pt x="2288724" y="4168092"/>
                </a:lnTo>
                <a:lnTo>
                  <a:pt x="2294041" y="4173397"/>
                </a:lnTo>
                <a:lnTo>
                  <a:pt x="2291979" y="4175455"/>
                </a:lnTo>
                <a:lnTo>
                  <a:pt x="2297188" y="4180326"/>
                </a:lnTo>
                <a:lnTo>
                  <a:pt x="2296212" y="4181301"/>
                </a:lnTo>
                <a:lnTo>
                  <a:pt x="2291437" y="4179677"/>
                </a:lnTo>
                <a:lnTo>
                  <a:pt x="2289484" y="4183141"/>
                </a:lnTo>
                <a:lnTo>
                  <a:pt x="2289917" y="4188122"/>
                </a:lnTo>
                <a:lnTo>
                  <a:pt x="2289917" y="4190179"/>
                </a:lnTo>
                <a:lnTo>
                  <a:pt x="2281996" y="4190937"/>
                </a:lnTo>
                <a:lnTo>
                  <a:pt x="2276462" y="4188555"/>
                </a:lnTo>
                <a:lnTo>
                  <a:pt x="2278849" y="4183358"/>
                </a:lnTo>
                <a:lnTo>
                  <a:pt x="2277872" y="4168741"/>
                </a:lnTo>
                <a:lnTo>
                  <a:pt x="2275919" y="4162787"/>
                </a:lnTo>
                <a:lnTo>
                  <a:pt x="2274508" y="4161488"/>
                </a:lnTo>
                <a:lnTo>
                  <a:pt x="2273315" y="4158564"/>
                </a:lnTo>
                <a:lnTo>
                  <a:pt x="2274400" y="4154991"/>
                </a:lnTo>
                <a:lnTo>
                  <a:pt x="2277004" y="4152934"/>
                </a:lnTo>
                <a:lnTo>
                  <a:pt x="2277330" y="4149145"/>
                </a:lnTo>
                <a:lnTo>
                  <a:pt x="2275702" y="4146871"/>
                </a:lnTo>
                <a:lnTo>
                  <a:pt x="2275919" y="4144272"/>
                </a:lnTo>
                <a:close/>
                <a:moveTo>
                  <a:pt x="2325837" y="4136585"/>
                </a:moveTo>
                <a:lnTo>
                  <a:pt x="2325837" y="4136586"/>
                </a:lnTo>
                <a:lnTo>
                  <a:pt x="2330395" y="4138751"/>
                </a:lnTo>
                <a:lnTo>
                  <a:pt x="2331878" y="4141647"/>
                </a:lnTo>
                <a:lnTo>
                  <a:pt x="2330395" y="4138751"/>
                </a:lnTo>
                <a:close/>
                <a:moveTo>
                  <a:pt x="7297093" y="4136369"/>
                </a:moveTo>
                <a:lnTo>
                  <a:pt x="7298721" y="4138534"/>
                </a:lnTo>
                <a:lnTo>
                  <a:pt x="7297527" y="4140158"/>
                </a:lnTo>
                <a:lnTo>
                  <a:pt x="7294598" y="4137343"/>
                </a:lnTo>
                <a:close/>
                <a:moveTo>
                  <a:pt x="2323136" y="4089610"/>
                </a:moveTo>
                <a:lnTo>
                  <a:pt x="2324535" y="4091869"/>
                </a:lnTo>
                <a:lnTo>
                  <a:pt x="2324535" y="4091869"/>
                </a:lnTo>
                <a:close/>
                <a:moveTo>
                  <a:pt x="7979013" y="4042173"/>
                </a:moveTo>
                <a:lnTo>
                  <a:pt x="7981291" y="4044555"/>
                </a:lnTo>
                <a:lnTo>
                  <a:pt x="7979989" y="4045096"/>
                </a:lnTo>
                <a:lnTo>
                  <a:pt x="7979989" y="4046612"/>
                </a:lnTo>
                <a:lnTo>
                  <a:pt x="7979664" y="4050726"/>
                </a:lnTo>
                <a:lnTo>
                  <a:pt x="7980857" y="4056789"/>
                </a:lnTo>
                <a:lnTo>
                  <a:pt x="7982811" y="4060038"/>
                </a:lnTo>
                <a:lnTo>
                  <a:pt x="7981508" y="4063827"/>
                </a:lnTo>
                <a:lnTo>
                  <a:pt x="7984547" y="4065126"/>
                </a:lnTo>
                <a:lnTo>
                  <a:pt x="7986609" y="4061770"/>
                </a:lnTo>
                <a:lnTo>
                  <a:pt x="7986500" y="4059280"/>
                </a:lnTo>
                <a:lnTo>
                  <a:pt x="7988996" y="4057547"/>
                </a:lnTo>
                <a:lnTo>
                  <a:pt x="7991383" y="4057872"/>
                </a:lnTo>
                <a:lnTo>
                  <a:pt x="7989756" y="4060687"/>
                </a:lnTo>
                <a:lnTo>
                  <a:pt x="7987910" y="4060687"/>
                </a:lnTo>
                <a:lnTo>
                  <a:pt x="7988562" y="4064801"/>
                </a:lnTo>
                <a:lnTo>
                  <a:pt x="7991492" y="4063611"/>
                </a:lnTo>
                <a:lnTo>
                  <a:pt x="7994531" y="4066317"/>
                </a:lnTo>
                <a:lnTo>
                  <a:pt x="7998980" y="4067400"/>
                </a:lnTo>
                <a:lnTo>
                  <a:pt x="7999631" y="4069998"/>
                </a:lnTo>
                <a:lnTo>
                  <a:pt x="7995833" y="4071622"/>
                </a:lnTo>
                <a:lnTo>
                  <a:pt x="7994096" y="4074437"/>
                </a:lnTo>
                <a:lnTo>
                  <a:pt x="7996050" y="4074762"/>
                </a:lnTo>
                <a:lnTo>
                  <a:pt x="7998545" y="4077144"/>
                </a:lnTo>
                <a:lnTo>
                  <a:pt x="7996050" y="4079418"/>
                </a:lnTo>
                <a:lnTo>
                  <a:pt x="8000281" y="4083748"/>
                </a:lnTo>
                <a:lnTo>
                  <a:pt x="8006033" y="4081258"/>
                </a:lnTo>
                <a:lnTo>
                  <a:pt x="8008095" y="4080501"/>
                </a:lnTo>
                <a:lnTo>
                  <a:pt x="8007336" y="4084398"/>
                </a:lnTo>
                <a:lnTo>
                  <a:pt x="8009072" y="4090570"/>
                </a:lnTo>
                <a:lnTo>
                  <a:pt x="8009072" y="4097282"/>
                </a:lnTo>
                <a:lnTo>
                  <a:pt x="8007336" y="4099015"/>
                </a:lnTo>
                <a:lnTo>
                  <a:pt x="8006467" y="4104212"/>
                </a:lnTo>
                <a:lnTo>
                  <a:pt x="8002561" y="4104970"/>
                </a:lnTo>
                <a:lnTo>
                  <a:pt x="7999631" y="4103345"/>
                </a:lnTo>
                <a:lnTo>
                  <a:pt x="7999088" y="4105727"/>
                </a:lnTo>
                <a:lnTo>
                  <a:pt x="8004080" y="4109300"/>
                </a:lnTo>
                <a:lnTo>
                  <a:pt x="8003754" y="4114606"/>
                </a:lnTo>
                <a:lnTo>
                  <a:pt x="8005382" y="4118612"/>
                </a:lnTo>
                <a:lnTo>
                  <a:pt x="8004297" y="4121210"/>
                </a:lnTo>
                <a:lnTo>
                  <a:pt x="8005816" y="4124783"/>
                </a:lnTo>
                <a:lnTo>
                  <a:pt x="8004839" y="4129655"/>
                </a:lnTo>
                <a:lnTo>
                  <a:pt x="8001150" y="4130521"/>
                </a:lnTo>
                <a:lnTo>
                  <a:pt x="7998437" y="4135827"/>
                </a:lnTo>
                <a:lnTo>
                  <a:pt x="8002235" y="4138858"/>
                </a:lnTo>
                <a:lnTo>
                  <a:pt x="8000824" y="4142106"/>
                </a:lnTo>
                <a:lnTo>
                  <a:pt x="7997244" y="4144272"/>
                </a:lnTo>
                <a:lnTo>
                  <a:pt x="7997568" y="4146653"/>
                </a:lnTo>
                <a:lnTo>
                  <a:pt x="8000499" y="4146112"/>
                </a:lnTo>
                <a:lnTo>
                  <a:pt x="8004297" y="4147845"/>
                </a:lnTo>
                <a:lnTo>
                  <a:pt x="8004297" y="4150010"/>
                </a:lnTo>
                <a:lnTo>
                  <a:pt x="8009072" y="4150768"/>
                </a:lnTo>
                <a:lnTo>
                  <a:pt x="8009614" y="4154666"/>
                </a:lnTo>
                <a:lnTo>
                  <a:pt x="8012327" y="4157806"/>
                </a:lnTo>
                <a:lnTo>
                  <a:pt x="8016125" y="4156614"/>
                </a:lnTo>
                <a:lnTo>
                  <a:pt x="8016125" y="4153800"/>
                </a:lnTo>
                <a:lnTo>
                  <a:pt x="8013087" y="4149902"/>
                </a:lnTo>
                <a:lnTo>
                  <a:pt x="8012870" y="4146653"/>
                </a:lnTo>
                <a:lnTo>
                  <a:pt x="8016559" y="4143189"/>
                </a:lnTo>
                <a:lnTo>
                  <a:pt x="8015800" y="4141457"/>
                </a:lnTo>
                <a:lnTo>
                  <a:pt x="8016017" y="4136801"/>
                </a:lnTo>
                <a:lnTo>
                  <a:pt x="8012544" y="4133445"/>
                </a:lnTo>
                <a:lnTo>
                  <a:pt x="8013738" y="4131496"/>
                </a:lnTo>
                <a:lnTo>
                  <a:pt x="8017536" y="4133770"/>
                </a:lnTo>
                <a:lnTo>
                  <a:pt x="8019272" y="4132579"/>
                </a:lnTo>
                <a:lnTo>
                  <a:pt x="8020466" y="4135502"/>
                </a:lnTo>
                <a:lnTo>
                  <a:pt x="8021117" y="4140807"/>
                </a:lnTo>
                <a:lnTo>
                  <a:pt x="8023613" y="4141349"/>
                </a:lnTo>
                <a:lnTo>
                  <a:pt x="8022311" y="4144596"/>
                </a:lnTo>
                <a:lnTo>
                  <a:pt x="8021876" y="4149252"/>
                </a:lnTo>
                <a:lnTo>
                  <a:pt x="8023396" y="4151743"/>
                </a:lnTo>
                <a:lnTo>
                  <a:pt x="8023396" y="4155532"/>
                </a:lnTo>
                <a:lnTo>
                  <a:pt x="8026977" y="4163002"/>
                </a:lnTo>
                <a:lnTo>
                  <a:pt x="8026217" y="4168308"/>
                </a:lnTo>
                <a:lnTo>
                  <a:pt x="8023722" y="4170907"/>
                </a:lnTo>
                <a:lnTo>
                  <a:pt x="8025133" y="4174155"/>
                </a:lnTo>
                <a:lnTo>
                  <a:pt x="8028713" y="4179243"/>
                </a:lnTo>
                <a:lnTo>
                  <a:pt x="8031643" y="4178810"/>
                </a:lnTo>
                <a:lnTo>
                  <a:pt x="8041301" y="4188771"/>
                </a:lnTo>
                <a:lnTo>
                  <a:pt x="8045642" y="4190612"/>
                </a:lnTo>
                <a:lnTo>
                  <a:pt x="8048681" y="4189096"/>
                </a:lnTo>
                <a:lnTo>
                  <a:pt x="8054431" y="4188554"/>
                </a:lnTo>
                <a:lnTo>
                  <a:pt x="8063113" y="4179459"/>
                </a:lnTo>
                <a:lnTo>
                  <a:pt x="8068104" y="4176212"/>
                </a:lnTo>
                <a:lnTo>
                  <a:pt x="8073639" y="4177186"/>
                </a:lnTo>
                <a:lnTo>
                  <a:pt x="8073205" y="4178593"/>
                </a:lnTo>
                <a:lnTo>
                  <a:pt x="8071468" y="4179243"/>
                </a:lnTo>
                <a:lnTo>
                  <a:pt x="8073530" y="4181950"/>
                </a:lnTo>
                <a:lnTo>
                  <a:pt x="8079173" y="4183899"/>
                </a:lnTo>
                <a:lnTo>
                  <a:pt x="8079933" y="4184981"/>
                </a:lnTo>
                <a:lnTo>
                  <a:pt x="8075810" y="4187580"/>
                </a:lnTo>
                <a:lnTo>
                  <a:pt x="8072011" y="4191911"/>
                </a:lnTo>
                <a:lnTo>
                  <a:pt x="8070275" y="4197541"/>
                </a:lnTo>
                <a:lnTo>
                  <a:pt x="8070384" y="4200789"/>
                </a:lnTo>
                <a:lnTo>
                  <a:pt x="8070492" y="4204037"/>
                </a:lnTo>
                <a:lnTo>
                  <a:pt x="8064306" y="4213998"/>
                </a:lnTo>
                <a:lnTo>
                  <a:pt x="8061702" y="4217679"/>
                </a:lnTo>
                <a:lnTo>
                  <a:pt x="8059640" y="4219736"/>
                </a:lnTo>
                <a:lnTo>
                  <a:pt x="8058555" y="4218112"/>
                </a:lnTo>
                <a:lnTo>
                  <a:pt x="8054648" y="4217896"/>
                </a:lnTo>
                <a:lnTo>
                  <a:pt x="8051935" y="4220927"/>
                </a:lnTo>
                <a:lnTo>
                  <a:pt x="8048897" y="4228398"/>
                </a:lnTo>
                <a:lnTo>
                  <a:pt x="8048354" y="4233054"/>
                </a:lnTo>
                <a:lnTo>
                  <a:pt x="8053889" y="4235327"/>
                </a:lnTo>
                <a:lnTo>
                  <a:pt x="8051067" y="4236951"/>
                </a:lnTo>
                <a:lnTo>
                  <a:pt x="8047052" y="4240849"/>
                </a:lnTo>
                <a:lnTo>
                  <a:pt x="8046510" y="4237493"/>
                </a:lnTo>
                <a:lnTo>
                  <a:pt x="8047378" y="4234461"/>
                </a:lnTo>
                <a:lnTo>
                  <a:pt x="8043363" y="4234137"/>
                </a:lnTo>
                <a:lnTo>
                  <a:pt x="8035658" y="4232945"/>
                </a:lnTo>
                <a:lnTo>
                  <a:pt x="8030992" y="4234678"/>
                </a:lnTo>
                <a:lnTo>
                  <a:pt x="8020249" y="4245938"/>
                </a:lnTo>
                <a:lnTo>
                  <a:pt x="8017319" y="4246804"/>
                </a:lnTo>
                <a:lnTo>
                  <a:pt x="8014064" y="4249619"/>
                </a:lnTo>
                <a:lnTo>
                  <a:pt x="8017210" y="4249078"/>
                </a:lnTo>
                <a:lnTo>
                  <a:pt x="8021117" y="4249727"/>
                </a:lnTo>
                <a:lnTo>
                  <a:pt x="8024806" y="4253192"/>
                </a:lnTo>
                <a:lnTo>
                  <a:pt x="8022311" y="4255466"/>
                </a:lnTo>
                <a:lnTo>
                  <a:pt x="8022311" y="4257523"/>
                </a:lnTo>
                <a:lnTo>
                  <a:pt x="8017536" y="4264669"/>
                </a:lnTo>
                <a:lnTo>
                  <a:pt x="8014497" y="4273980"/>
                </a:lnTo>
                <a:lnTo>
                  <a:pt x="8009831" y="4275929"/>
                </a:lnTo>
                <a:lnTo>
                  <a:pt x="8007986" y="4278311"/>
                </a:lnTo>
                <a:lnTo>
                  <a:pt x="8007661" y="4282100"/>
                </a:lnTo>
                <a:lnTo>
                  <a:pt x="8005707" y="4284590"/>
                </a:lnTo>
                <a:lnTo>
                  <a:pt x="8002777" y="4284807"/>
                </a:lnTo>
                <a:lnTo>
                  <a:pt x="7998328" y="4287730"/>
                </a:lnTo>
                <a:lnTo>
                  <a:pt x="7990190" y="4297800"/>
                </a:lnTo>
                <a:lnTo>
                  <a:pt x="7983570" y="4305378"/>
                </a:lnTo>
                <a:lnTo>
                  <a:pt x="7976517" y="4312741"/>
                </a:lnTo>
                <a:lnTo>
                  <a:pt x="7968813" y="4318912"/>
                </a:lnTo>
                <a:lnTo>
                  <a:pt x="7960131" y="4325300"/>
                </a:lnTo>
                <a:lnTo>
                  <a:pt x="7956441" y="4325733"/>
                </a:lnTo>
                <a:lnTo>
                  <a:pt x="7955464" y="4324326"/>
                </a:lnTo>
                <a:lnTo>
                  <a:pt x="7955682" y="4320536"/>
                </a:lnTo>
                <a:lnTo>
                  <a:pt x="7954270" y="4318804"/>
                </a:lnTo>
                <a:lnTo>
                  <a:pt x="7952426" y="4319454"/>
                </a:lnTo>
                <a:lnTo>
                  <a:pt x="7951124" y="4318804"/>
                </a:lnTo>
                <a:lnTo>
                  <a:pt x="7951557" y="4316422"/>
                </a:lnTo>
                <a:lnTo>
                  <a:pt x="7951340" y="4313065"/>
                </a:lnTo>
                <a:lnTo>
                  <a:pt x="7949279" y="4312957"/>
                </a:lnTo>
                <a:lnTo>
                  <a:pt x="7948303" y="4315664"/>
                </a:lnTo>
                <a:lnTo>
                  <a:pt x="7943419" y="4314581"/>
                </a:lnTo>
                <a:lnTo>
                  <a:pt x="7942768" y="4312091"/>
                </a:lnTo>
                <a:lnTo>
                  <a:pt x="7945264" y="4309059"/>
                </a:lnTo>
                <a:lnTo>
                  <a:pt x="7952317" y="4302780"/>
                </a:lnTo>
                <a:lnTo>
                  <a:pt x="7959045" y="4295742"/>
                </a:lnTo>
                <a:lnTo>
                  <a:pt x="7968486" y="4283833"/>
                </a:lnTo>
                <a:lnTo>
                  <a:pt x="7970548" y="4279394"/>
                </a:lnTo>
                <a:lnTo>
                  <a:pt x="7970548" y="4273763"/>
                </a:lnTo>
                <a:lnTo>
                  <a:pt x="7971742" y="4272680"/>
                </a:lnTo>
                <a:lnTo>
                  <a:pt x="7971199" y="4271598"/>
                </a:lnTo>
                <a:lnTo>
                  <a:pt x="7970114" y="4261312"/>
                </a:lnTo>
                <a:lnTo>
                  <a:pt x="7967618" y="4258713"/>
                </a:lnTo>
                <a:lnTo>
                  <a:pt x="7961216" y="4256656"/>
                </a:lnTo>
                <a:lnTo>
                  <a:pt x="7957961" y="4250485"/>
                </a:lnTo>
                <a:lnTo>
                  <a:pt x="7951124" y="4246262"/>
                </a:lnTo>
                <a:lnTo>
                  <a:pt x="7947109" y="4242798"/>
                </a:lnTo>
                <a:lnTo>
                  <a:pt x="7946023" y="4235327"/>
                </a:lnTo>
                <a:lnTo>
                  <a:pt x="7947326" y="4229913"/>
                </a:lnTo>
                <a:lnTo>
                  <a:pt x="7951449" y="4225366"/>
                </a:lnTo>
                <a:lnTo>
                  <a:pt x="7960565" y="4221036"/>
                </a:lnTo>
                <a:lnTo>
                  <a:pt x="7965014" y="4220494"/>
                </a:lnTo>
                <a:lnTo>
                  <a:pt x="7969029" y="4222010"/>
                </a:lnTo>
                <a:lnTo>
                  <a:pt x="7972502" y="4221686"/>
                </a:lnTo>
                <a:lnTo>
                  <a:pt x="7975865" y="4219195"/>
                </a:lnTo>
                <a:lnTo>
                  <a:pt x="7976408" y="4215189"/>
                </a:lnTo>
                <a:lnTo>
                  <a:pt x="7979555" y="4198299"/>
                </a:lnTo>
                <a:lnTo>
                  <a:pt x="7981617" y="4193102"/>
                </a:lnTo>
                <a:lnTo>
                  <a:pt x="7984547" y="4192885"/>
                </a:lnTo>
                <a:lnTo>
                  <a:pt x="7987368" y="4191369"/>
                </a:lnTo>
                <a:lnTo>
                  <a:pt x="7984656" y="4188663"/>
                </a:lnTo>
                <a:lnTo>
                  <a:pt x="7984764" y="4186389"/>
                </a:lnTo>
                <a:lnTo>
                  <a:pt x="7986826" y="4182708"/>
                </a:lnTo>
                <a:lnTo>
                  <a:pt x="7990081" y="4182383"/>
                </a:lnTo>
                <a:lnTo>
                  <a:pt x="7991058" y="4180651"/>
                </a:lnTo>
                <a:lnTo>
                  <a:pt x="7988670" y="4178161"/>
                </a:lnTo>
                <a:lnTo>
                  <a:pt x="7989972" y="4176753"/>
                </a:lnTo>
                <a:lnTo>
                  <a:pt x="7989864" y="4172530"/>
                </a:lnTo>
                <a:lnTo>
                  <a:pt x="7992578" y="4164410"/>
                </a:lnTo>
                <a:lnTo>
                  <a:pt x="7994096" y="4161054"/>
                </a:lnTo>
                <a:lnTo>
                  <a:pt x="7992469" y="4159430"/>
                </a:lnTo>
                <a:lnTo>
                  <a:pt x="7992578" y="4157697"/>
                </a:lnTo>
                <a:lnTo>
                  <a:pt x="7997351" y="4154557"/>
                </a:lnTo>
                <a:lnTo>
                  <a:pt x="7995073" y="4152934"/>
                </a:lnTo>
                <a:lnTo>
                  <a:pt x="7994747" y="4150659"/>
                </a:lnTo>
                <a:lnTo>
                  <a:pt x="7993011" y="4147520"/>
                </a:lnTo>
                <a:lnTo>
                  <a:pt x="7991383" y="4148386"/>
                </a:lnTo>
                <a:lnTo>
                  <a:pt x="7989322" y="4147737"/>
                </a:lnTo>
                <a:lnTo>
                  <a:pt x="7986066" y="4138533"/>
                </a:lnTo>
                <a:lnTo>
                  <a:pt x="7985090" y="4131279"/>
                </a:lnTo>
                <a:lnTo>
                  <a:pt x="7987043" y="4131279"/>
                </a:lnTo>
                <a:lnTo>
                  <a:pt x="7988779" y="4134094"/>
                </a:lnTo>
                <a:lnTo>
                  <a:pt x="7990516" y="4133553"/>
                </a:lnTo>
                <a:lnTo>
                  <a:pt x="7990841" y="4131279"/>
                </a:lnTo>
                <a:lnTo>
                  <a:pt x="7992034" y="4127490"/>
                </a:lnTo>
                <a:lnTo>
                  <a:pt x="7994638" y="4122834"/>
                </a:lnTo>
                <a:lnTo>
                  <a:pt x="7994205" y="4119478"/>
                </a:lnTo>
                <a:lnTo>
                  <a:pt x="7992794" y="4119911"/>
                </a:lnTo>
                <a:lnTo>
                  <a:pt x="7993445" y="4121319"/>
                </a:lnTo>
                <a:lnTo>
                  <a:pt x="7993011" y="4123267"/>
                </a:lnTo>
                <a:lnTo>
                  <a:pt x="7990407" y="4123700"/>
                </a:lnTo>
                <a:lnTo>
                  <a:pt x="7990407" y="4119586"/>
                </a:lnTo>
                <a:lnTo>
                  <a:pt x="7988670" y="4116988"/>
                </a:lnTo>
                <a:lnTo>
                  <a:pt x="7987151" y="4118178"/>
                </a:lnTo>
                <a:lnTo>
                  <a:pt x="7988345" y="4121102"/>
                </a:lnTo>
                <a:lnTo>
                  <a:pt x="7987368" y="4125325"/>
                </a:lnTo>
                <a:lnTo>
                  <a:pt x="7984873" y="4126624"/>
                </a:lnTo>
                <a:lnTo>
                  <a:pt x="7984656" y="4121643"/>
                </a:lnTo>
                <a:lnTo>
                  <a:pt x="7984764" y="4114389"/>
                </a:lnTo>
                <a:lnTo>
                  <a:pt x="7983679" y="4102263"/>
                </a:lnTo>
                <a:lnTo>
                  <a:pt x="7980857" y="4095767"/>
                </a:lnTo>
                <a:lnTo>
                  <a:pt x="7979555" y="4089920"/>
                </a:lnTo>
                <a:lnTo>
                  <a:pt x="7982920" y="4085914"/>
                </a:lnTo>
                <a:lnTo>
                  <a:pt x="7986283" y="4084831"/>
                </a:lnTo>
                <a:lnTo>
                  <a:pt x="7981400" y="4084831"/>
                </a:lnTo>
                <a:lnTo>
                  <a:pt x="7977818" y="4087430"/>
                </a:lnTo>
                <a:lnTo>
                  <a:pt x="7976408" y="4086023"/>
                </a:lnTo>
                <a:lnTo>
                  <a:pt x="7973587" y="4076170"/>
                </a:lnTo>
                <a:lnTo>
                  <a:pt x="7974455" y="4074870"/>
                </a:lnTo>
                <a:lnTo>
                  <a:pt x="7976300" y="4074870"/>
                </a:lnTo>
                <a:lnTo>
                  <a:pt x="7978253" y="4072921"/>
                </a:lnTo>
                <a:lnTo>
                  <a:pt x="7979013" y="4064909"/>
                </a:lnTo>
                <a:lnTo>
                  <a:pt x="7978253" y="4060579"/>
                </a:lnTo>
                <a:lnTo>
                  <a:pt x="7973152" y="4048128"/>
                </a:lnTo>
                <a:lnTo>
                  <a:pt x="7970114" y="4044771"/>
                </a:lnTo>
                <a:lnTo>
                  <a:pt x="7970222" y="4043364"/>
                </a:lnTo>
                <a:lnTo>
                  <a:pt x="7976625" y="4043797"/>
                </a:lnTo>
                <a:close/>
                <a:moveTo>
                  <a:pt x="7138659" y="4024092"/>
                </a:moveTo>
                <a:lnTo>
                  <a:pt x="7137900" y="4027881"/>
                </a:lnTo>
                <a:lnTo>
                  <a:pt x="7138985" y="4030263"/>
                </a:lnTo>
                <a:lnTo>
                  <a:pt x="7141915" y="4030263"/>
                </a:lnTo>
                <a:lnTo>
                  <a:pt x="7140287" y="4032212"/>
                </a:lnTo>
                <a:lnTo>
                  <a:pt x="7144520" y="4032429"/>
                </a:lnTo>
                <a:lnTo>
                  <a:pt x="7147124" y="4031345"/>
                </a:lnTo>
                <a:lnTo>
                  <a:pt x="7150379" y="4032970"/>
                </a:lnTo>
                <a:lnTo>
                  <a:pt x="7147341" y="4035676"/>
                </a:lnTo>
                <a:lnTo>
                  <a:pt x="7138659" y="4034486"/>
                </a:lnTo>
                <a:lnTo>
                  <a:pt x="7137032" y="4036759"/>
                </a:lnTo>
                <a:lnTo>
                  <a:pt x="7134536" y="4036867"/>
                </a:lnTo>
                <a:lnTo>
                  <a:pt x="7134102" y="4038275"/>
                </a:lnTo>
                <a:lnTo>
                  <a:pt x="7131715" y="4038383"/>
                </a:lnTo>
                <a:lnTo>
                  <a:pt x="7129870" y="4036001"/>
                </a:lnTo>
                <a:lnTo>
                  <a:pt x="7126940" y="4037084"/>
                </a:lnTo>
                <a:lnTo>
                  <a:pt x="7122707" y="4036435"/>
                </a:lnTo>
                <a:lnTo>
                  <a:pt x="7120971" y="4036759"/>
                </a:lnTo>
                <a:lnTo>
                  <a:pt x="7115546" y="4036543"/>
                </a:lnTo>
                <a:lnTo>
                  <a:pt x="7112073" y="4034161"/>
                </a:lnTo>
                <a:lnTo>
                  <a:pt x="7112289" y="4031345"/>
                </a:lnTo>
                <a:lnTo>
                  <a:pt x="7117932" y="4028422"/>
                </a:lnTo>
                <a:lnTo>
                  <a:pt x="7130738" y="4024958"/>
                </a:lnTo>
                <a:lnTo>
                  <a:pt x="7134970" y="4025391"/>
                </a:lnTo>
                <a:close/>
                <a:moveTo>
                  <a:pt x="2326377" y="3999863"/>
                </a:moveTo>
                <a:lnTo>
                  <a:pt x="2326380" y="4000057"/>
                </a:lnTo>
                <a:lnTo>
                  <a:pt x="2326380" y="4000056"/>
                </a:lnTo>
                <a:close/>
                <a:moveTo>
                  <a:pt x="2333301" y="3955120"/>
                </a:moveTo>
                <a:lnTo>
                  <a:pt x="2335712" y="3959130"/>
                </a:lnTo>
                <a:lnTo>
                  <a:pt x="2335712" y="3959129"/>
                </a:lnTo>
                <a:close/>
                <a:moveTo>
                  <a:pt x="2330325" y="3950591"/>
                </a:moveTo>
                <a:lnTo>
                  <a:pt x="2330828" y="3951010"/>
                </a:lnTo>
                <a:lnTo>
                  <a:pt x="2330828" y="3951009"/>
                </a:lnTo>
                <a:close/>
                <a:moveTo>
                  <a:pt x="2331980" y="3870500"/>
                </a:moveTo>
                <a:lnTo>
                  <a:pt x="2333108" y="3872622"/>
                </a:lnTo>
                <a:lnTo>
                  <a:pt x="2333678" y="3875341"/>
                </a:lnTo>
                <a:lnTo>
                  <a:pt x="2333108" y="3872621"/>
                </a:lnTo>
                <a:close/>
                <a:moveTo>
                  <a:pt x="2606298" y="3855430"/>
                </a:moveTo>
                <a:lnTo>
                  <a:pt x="2607437" y="3864718"/>
                </a:lnTo>
                <a:lnTo>
                  <a:pt x="2609063" y="3870863"/>
                </a:lnTo>
                <a:lnTo>
                  <a:pt x="2607438" y="3864718"/>
                </a:lnTo>
                <a:close/>
                <a:moveTo>
                  <a:pt x="2608414" y="3838949"/>
                </a:moveTo>
                <a:lnTo>
                  <a:pt x="2605484" y="3844146"/>
                </a:lnTo>
                <a:lnTo>
                  <a:pt x="2607872" y="3851508"/>
                </a:lnTo>
                <a:lnTo>
                  <a:pt x="2606136" y="3854107"/>
                </a:lnTo>
                <a:lnTo>
                  <a:pt x="2606136" y="3854108"/>
                </a:lnTo>
                <a:lnTo>
                  <a:pt x="2607872" y="3851509"/>
                </a:lnTo>
                <a:lnTo>
                  <a:pt x="2605485" y="3844147"/>
                </a:lnTo>
                <a:lnTo>
                  <a:pt x="2608414" y="3838949"/>
                </a:lnTo>
                <a:close/>
                <a:moveTo>
                  <a:pt x="2610476" y="3820435"/>
                </a:moveTo>
                <a:lnTo>
                  <a:pt x="2609608" y="3831045"/>
                </a:lnTo>
                <a:lnTo>
                  <a:pt x="2607872" y="3834835"/>
                </a:lnTo>
                <a:lnTo>
                  <a:pt x="2608333" y="3838332"/>
                </a:lnTo>
                <a:lnTo>
                  <a:pt x="2607872" y="3834835"/>
                </a:lnTo>
                <a:lnTo>
                  <a:pt x="2609608" y="3831045"/>
                </a:lnTo>
                <a:close/>
                <a:moveTo>
                  <a:pt x="2667589" y="3814913"/>
                </a:moveTo>
                <a:lnTo>
                  <a:pt x="2668424" y="3815021"/>
                </a:lnTo>
                <a:lnTo>
                  <a:pt x="2673959" y="3824008"/>
                </a:lnTo>
                <a:lnTo>
                  <a:pt x="2680470" y="3826931"/>
                </a:lnTo>
                <a:lnTo>
                  <a:pt x="2686113" y="3828122"/>
                </a:lnTo>
                <a:lnTo>
                  <a:pt x="2691647" y="3833644"/>
                </a:lnTo>
                <a:lnTo>
                  <a:pt x="2691972" y="3840141"/>
                </a:lnTo>
                <a:lnTo>
                  <a:pt x="2696638" y="3839166"/>
                </a:lnTo>
                <a:lnTo>
                  <a:pt x="2705971" y="3843281"/>
                </a:lnTo>
                <a:lnTo>
                  <a:pt x="2711505" y="3850210"/>
                </a:lnTo>
                <a:lnTo>
                  <a:pt x="2717317" y="3858799"/>
                </a:lnTo>
                <a:lnTo>
                  <a:pt x="2711505" y="3850101"/>
                </a:lnTo>
                <a:lnTo>
                  <a:pt x="2705970" y="3843172"/>
                </a:lnTo>
                <a:lnTo>
                  <a:pt x="2696638" y="3839057"/>
                </a:lnTo>
                <a:lnTo>
                  <a:pt x="2691972" y="3840032"/>
                </a:lnTo>
                <a:lnTo>
                  <a:pt x="2691972" y="3833536"/>
                </a:lnTo>
                <a:lnTo>
                  <a:pt x="2686437" y="3828014"/>
                </a:lnTo>
                <a:lnTo>
                  <a:pt x="2680794" y="3826824"/>
                </a:lnTo>
                <a:lnTo>
                  <a:pt x="2674284" y="3823900"/>
                </a:lnTo>
                <a:lnTo>
                  <a:pt x="2668749" y="3814913"/>
                </a:lnTo>
                <a:close/>
                <a:moveTo>
                  <a:pt x="2611019" y="3812856"/>
                </a:moveTo>
                <a:lnTo>
                  <a:pt x="2609174" y="3816429"/>
                </a:lnTo>
                <a:lnTo>
                  <a:pt x="2609174" y="3816429"/>
                </a:lnTo>
                <a:lnTo>
                  <a:pt x="2611019" y="3812857"/>
                </a:lnTo>
                <a:close/>
                <a:moveTo>
                  <a:pt x="2649993" y="3803906"/>
                </a:moveTo>
                <a:lnTo>
                  <a:pt x="2652907" y="3810474"/>
                </a:lnTo>
                <a:lnTo>
                  <a:pt x="2658550" y="3819786"/>
                </a:lnTo>
                <a:lnTo>
                  <a:pt x="2658917" y="3819786"/>
                </a:lnTo>
                <a:lnTo>
                  <a:pt x="2653340" y="3810583"/>
                </a:lnTo>
                <a:lnTo>
                  <a:pt x="2650410" y="3804086"/>
                </a:lnTo>
                <a:close/>
                <a:moveTo>
                  <a:pt x="2620218" y="3793368"/>
                </a:moveTo>
                <a:lnTo>
                  <a:pt x="2622522" y="3794667"/>
                </a:lnTo>
                <a:lnTo>
                  <a:pt x="2622741" y="3794601"/>
                </a:lnTo>
                <a:lnTo>
                  <a:pt x="2620459" y="3793368"/>
                </a:lnTo>
                <a:close/>
                <a:moveTo>
                  <a:pt x="2635109" y="3791202"/>
                </a:moveTo>
                <a:lnTo>
                  <a:pt x="2634972" y="3791243"/>
                </a:lnTo>
                <a:lnTo>
                  <a:pt x="2639667" y="3794233"/>
                </a:lnTo>
                <a:lnTo>
                  <a:pt x="2645093" y="3801813"/>
                </a:lnTo>
                <a:lnTo>
                  <a:pt x="2646888" y="3802569"/>
                </a:lnTo>
                <a:lnTo>
                  <a:pt x="2645635" y="3802029"/>
                </a:lnTo>
                <a:lnTo>
                  <a:pt x="2640101" y="3794450"/>
                </a:lnTo>
                <a:close/>
                <a:moveTo>
                  <a:pt x="7567951" y="3781566"/>
                </a:moveTo>
                <a:lnTo>
                  <a:pt x="7569036" y="3786980"/>
                </a:lnTo>
                <a:lnTo>
                  <a:pt x="7566323" y="3790336"/>
                </a:lnTo>
                <a:close/>
                <a:moveTo>
                  <a:pt x="4571046" y="3779497"/>
                </a:moveTo>
                <a:lnTo>
                  <a:pt x="4571046" y="3783081"/>
                </a:lnTo>
                <a:lnTo>
                  <a:pt x="4574519" y="3786005"/>
                </a:lnTo>
                <a:lnTo>
                  <a:pt x="4577015" y="3789470"/>
                </a:lnTo>
                <a:lnTo>
                  <a:pt x="4582549" y="3791743"/>
                </a:lnTo>
                <a:lnTo>
                  <a:pt x="4582875" y="3791743"/>
                </a:lnTo>
                <a:lnTo>
                  <a:pt x="4586890" y="3791743"/>
                </a:lnTo>
                <a:lnTo>
                  <a:pt x="4587002" y="3791537"/>
                </a:lnTo>
                <a:lnTo>
                  <a:pt x="4582875" y="3791743"/>
                </a:lnTo>
                <a:lnTo>
                  <a:pt x="4577340" y="3789469"/>
                </a:lnTo>
                <a:lnTo>
                  <a:pt x="4574845" y="3786005"/>
                </a:lnTo>
                <a:lnTo>
                  <a:pt x="4571372" y="3783081"/>
                </a:lnTo>
                <a:close/>
                <a:moveTo>
                  <a:pt x="4610475" y="3775480"/>
                </a:moveTo>
                <a:lnTo>
                  <a:pt x="4606423" y="3778210"/>
                </a:lnTo>
                <a:lnTo>
                  <a:pt x="4603602" y="3777343"/>
                </a:lnTo>
                <a:lnTo>
                  <a:pt x="4599478" y="3778101"/>
                </a:lnTo>
                <a:lnTo>
                  <a:pt x="4596331" y="3780158"/>
                </a:lnTo>
                <a:lnTo>
                  <a:pt x="4592207" y="3781349"/>
                </a:lnTo>
                <a:lnTo>
                  <a:pt x="4592117" y="3781606"/>
                </a:lnTo>
                <a:lnTo>
                  <a:pt x="4596005" y="3780483"/>
                </a:lnTo>
                <a:lnTo>
                  <a:pt x="4599153" y="3778426"/>
                </a:lnTo>
                <a:lnTo>
                  <a:pt x="4603276" y="3777668"/>
                </a:lnTo>
                <a:lnTo>
                  <a:pt x="4606097" y="3778534"/>
                </a:lnTo>
                <a:lnTo>
                  <a:pt x="4610438" y="3775611"/>
                </a:lnTo>
                <a:close/>
                <a:moveTo>
                  <a:pt x="4615831" y="3762911"/>
                </a:moveTo>
                <a:lnTo>
                  <a:pt x="4613802" y="3764676"/>
                </a:lnTo>
                <a:lnTo>
                  <a:pt x="4609570" y="3766841"/>
                </a:lnTo>
                <a:lnTo>
                  <a:pt x="4609616" y="3767252"/>
                </a:lnTo>
                <a:lnTo>
                  <a:pt x="4613910" y="3765109"/>
                </a:lnTo>
                <a:close/>
                <a:moveTo>
                  <a:pt x="2647914" y="3744645"/>
                </a:moveTo>
                <a:lnTo>
                  <a:pt x="2640318" y="3753848"/>
                </a:lnTo>
                <a:lnTo>
                  <a:pt x="2638908" y="3757529"/>
                </a:lnTo>
                <a:lnTo>
                  <a:pt x="2639125" y="3762835"/>
                </a:lnTo>
                <a:lnTo>
                  <a:pt x="2635652" y="3763809"/>
                </a:lnTo>
                <a:lnTo>
                  <a:pt x="2633807" y="3766732"/>
                </a:lnTo>
                <a:lnTo>
                  <a:pt x="2628924" y="3775503"/>
                </a:lnTo>
                <a:lnTo>
                  <a:pt x="2625451" y="3779184"/>
                </a:lnTo>
                <a:lnTo>
                  <a:pt x="2621545" y="3785680"/>
                </a:lnTo>
                <a:lnTo>
                  <a:pt x="2621545" y="3787954"/>
                </a:lnTo>
                <a:lnTo>
                  <a:pt x="2617095" y="3790986"/>
                </a:lnTo>
                <a:lnTo>
                  <a:pt x="2616445" y="3793150"/>
                </a:lnTo>
                <a:lnTo>
                  <a:pt x="2616010" y="3794450"/>
                </a:lnTo>
                <a:lnTo>
                  <a:pt x="2613732" y="3799755"/>
                </a:lnTo>
                <a:lnTo>
                  <a:pt x="2609499" y="3805277"/>
                </a:lnTo>
                <a:lnTo>
                  <a:pt x="2609499" y="3805277"/>
                </a:lnTo>
                <a:lnTo>
                  <a:pt x="2613732" y="3799755"/>
                </a:lnTo>
                <a:lnTo>
                  <a:pt x="2616011" y="3794450"/>
                </a:lnTo>
                <a:lnTo>
                  <a:pt x="2616445" y="3793151"/>
                </a:lnTo>
                <a:lnTo>
                  <a:pt x="2616939" y="3793166"/>
                </a:lnTo>
                <a:lnTo>
                  <a:pt x="2617530" y="3791202"/>
                </a:lnTo>
                <a:lnTo>
                  <a:pt x="2621979" y="3788062"/>
                </a:lnTo>
                <a:lnTo>
                  <a:pt x="2621979" y="3785788"/>
                </a:lnTo>
                <a:lnTo>
                  <a:pt x="2625885" y="3779292"/>
                </a:lnTo>
                <a:lnTo>
                  <a:pt x="2629358" y="3775719"/>
                </a:lnTo>
                <a:lnTo>
                  <a:pt x="2634241" y="3766950"/>
                </a:lnTo>
                <a:lnTo>
                  <a:pt x="2636086" y="3764026"/>
                </a:lnTo>
                <a:lnTo>
                  <a:pt x="2639558" y="3762944"/>
                </a:lnTo>
                <a:lnTo>
                  <a:pt x="2639558" y="3757639"/>
                </a:lnTo>
                <a:lnTo>
                  <a:pt x="2640969" y="3754066"/>
                </a:lnTo>
                <a:lnTo>
                  <a:pt x="2648566" y="3744754"/>
                </a:lnTo>
                <a:lnTo>
                  <a:pt x="2648651" y="3744754"/>
                </a:lnTo>
                <a:close/>
                <a:moveTo>
                  <a:pt x="4368083" y="3743671"/>
                </a:moveTo>
                <a:lnTo>
                  <a:pt x="4368662" y="3744754"/>
                </a:lnTo>
                <a:lnTo>
                  <a:pt x="4369765" y="3744754"/>
                </a:lnTo>
                <a:lnTo>
                  <a:pt x="4369205" y="3743671"/>
                </a:lnTo>
                <a:close/>
                <a:moveTo>
                  <a:pt x="4608594" y="3741831"/>
                </a:moveTo>
                <a:lnTo>
                  <a:pt x="4604951" y="3742900"/>
                </a:lnTo>
                <a:lnTo>
                  <a:pt x="4605121" y="3743021"/>
                </a:lnTo>
                <a:lnTo>
                  <a:pt x="4608810" y="3742047"/>
                </a:lnTo>
                <a:lnTo>
                  <a:pt x="4613832" y="3745909"/>
                </a:lnTo>
                <a:lnTo>
                  <a:pt x="4613802" y="3745837"/>
                </a:lnTo>
                <a:close/>
                <a:moveTo>
                  <a:pt x="4601431" y="3740423"/>
                </a:moveTo>
                <a:lnTo>
                  <a:pt x="4600098" y="3741446"/>
                </a:lnTo>
                <a:lnTo>
                  <a:pt x="4600346" y="3741614"/>
                </a:lnTo>
                <a:lnTo>
                  <a:pt x="4601618" y="3740557"/>
                </a:lnTo>
                <a:close/>
                <a:moveTo>
                  <a:pt x="4596272" y="3739882"/>
                </a:moveTo>
                <a:lnTo>
                  <a:pt x="4597887" y="3739986"/>
                </a:lnTo>
                <a:lnTo>
                  <a:pt x="4597741" y="3739882"/>
                </a:lnTo>
                <a:close/>
                <a:moveTo>
                  <a:pt x="4594378" y="3739882"/>
                </a:moveTo>
                <a:lnTo>
                  <a:pt x="4593510" y="3741722"/>
                </a:lnTo>
                <a:lnTo>
                  <a:pt x="4590471" y="3743563"/>
                </a:lnTo>
                <a:lnTo>
                  <a:pt x="4588409" y="3745837"/>
                </a:lnTo>
                <a:lnTo>
                  <a:pt x="4579619" y="3747353"/>
                </a:lnTo>
                <a:lnTo>
                  <a:pt x="4574302" y="3752008"/>
                </a:lnTo>
                <a:lnTo>
                  <a:pt x="4572023" y="3758179"/>
                </a:lnTo>
                <a:lnTo>
                  <a:pt x="4565729" y="3763052"/>
                </a:lnTo>
                <a:lnTo>
                  <a:pt x="4562474" y="3765325"/>
                </a:lnTo>
                <a:lnTo>
                  <a:pt x="4564427" y="3769873"/>
                </a:lnTo>
                <a:lnTo>
                  <a:pt x="4567249" y="3772579"/>
                </a:lnTo>
                <a:lnTo>
                  <a:pt x="4567791" y="3775069"/>
                </a:lnTo>
                <a:lnTo>
                  <a:pt x="4570236" y="3777510"/>
                </a:lnTo>
                <a:lnTo>
                  <a:pt x="4568117" y="3775070"/>
                </a:lnTo>
                <a:lnTo>
                  <a:pt x="4567466" y="3772688"/>
                </a:lnTo>
                <a:lnTo>
                  <a:pt x="4564753" y="3769873"/>
                </a:lnTo>
                <a:lnTo>
                  <a:pt x="4562691" y="3765325"/>
                </a:lnTo>
                <a:lnTo>
                  <a:pt x="4565946" y="3763051"/>
                </a:lnTo>
                <a:lnTo>
                  <a:pt x="4572240" y="3758180"/>
                </a:lnTo>
                <a:lnTo>
                  <a:pt x="4574519" y="3752008"/>
                </a:lnTo>
                <a:lnTo>
                  <a:pt x="4579837" y="3747352"/>
                </a:lnTo>
                <a:lnTo>
                  <a:pt x="4588626" y="3745837"/>
                </a:lnTo>
                <a:lnTo>
                  <a:pt x="4590688" y="3743455"/>
                </a:lnTo>
                <a:lnTo>
                  <a:pt x="4593727" y="3741723"/>
                </a:lnTo>
                <a:lnTo>
                  <a:pt x="4594547" y="3739882"/>
                </a:lnTo>
                <a:close/>
                <a:moveTo>
                  <a:pt x="2654751" y="3738137"/>
                </a:moveTo>
                <a:lnTo>
                  <a:pt x="2654425" y="3738257"/>
                </a:lnTo>
                <a:lnTo>
                  <a:pt x="2654107" y="3743972"/>
                </a:lnTo>
                <a:lnTo>
                  <a:pt x="2654751" y="3743779"/>
                </a:lnTo>
                <a:close/>
                <a:moveTo>
                  <a:pt x="4335372" y="3727934"/>
                </a:moveTo>
                <a:lnTo>
                  <a:pt x="4334155" y="3731003"/>
                </a:lnTo>
                <a:lnTo>
                  <a:pt x="4337627" y="3738041"/>
                </a:lnTo>
                <a:lnTo>
                  <a:pt x="4338920" y="3738316"/>
                </a:lnTo>
                <a:lnTo>
                  <a:pt x="4336433" y="3733277"/>
                </a:lnTo>
                <a:lnTo>
                  <a:pt x="4338495" y="3728079"/>
                </a:lnTo>
                <a:close/>
                <a:moveTo>
                  <a:pt x="2672124" y="3725617"/>
                </a:moveTo>
                <a:lnTo>
                  <a:pt x="2672005" y="3725698"/>
                </a:lnTo>
                <a:lnTo>
                  <a:pt x="2670331" y="3728449"/>
                </a:lnTo>
                <a:lnTo>
                  <a:pt x="2670485" y="3728405"/>
                </a:lnTo>
                <a:close/>
                <a:moveTo>
                  <a:pt x="2635869" y="3724832"/>
                </a:moveTo>
                <a:lnTo>
                  <a:pt x="2637064" y="3726132"/>
                </a:lnTo>
                <a:lnTo>
                  <a:pt x="2635870" y="3724832"/>
                </a:lnTo>
                <a:close/>
                <a:moveTo>
                  <a:pt x="4331115" y="3722991"/>
                </a:moveTo>
                <a:lnTo>
                  <a:pt x="4330201" y="3723329"/>
                </a:lnTo>
                <a:lnTo>
                  <a:pt x="4331551" y="3725807"/>
                </a:lnTo>
                <a:lnTo>
                  <a:pt x="4332683" y="3725807"/>
                </a:lnTo>
                <a:close/>
                <a:moveTo>
                  <a:pt x="2687772" y="3715179"/>
                </a:moveTo>
                <a:lnTo>
                  <a:pt x="2687740" y="3715196"/>
                </a:lnTo>
                <a:lnTo>
                  <a:pt x="2686983" y="3716801"/>
                </a:lnTo>
                <a:lnTo>
                  <a:pt x="2687089" y="3716712"/>
                </a:lnTo>
                <a:close/>
                <a:moveTo>
                  <a:pt x="2351540" y="3713684"/>
                </a:moveTo>
                <a:lnTo>
                  <a:pt x="2351555" y="3714006"/>
                </a:lnTo>
                <a:lnTo>
                  <a:pt x="2353726" y="3716387"/>
                </a:lnTo>
                <a:lnTo>
                  <a:pt x="2353726" y="3716387"/>
                </a:lnTo>
                <a:lnTo>
                  <a:pt x="2351555" y="3714005"/>
                </a:lnTo>
                <a:close/>
                <a:moveTo>
                  <a:pt x="2346564" y="3701445"/>
                </a:moveTo>
                <a:lnTo>
                  <a:pt x="2346564" y="3701446"/>
                </a:lnTo>
                <a:lnTo>
                  <a:pt x="2348816" y="3703277"/>
                </a:lnTo>
                <a:close/>
                <a:moveTo>
                  <a:pt x="6608012" y="3699821"/>
                </a:moveTo>
                <a:lnTo>
                  <a:pt x="6610616" y="3707725"/>
                </a:lnTo>
                <a:lnTo>
                  <a:pt x="6608663" y="3714762"/>
                </a:lnTo>
                <a:lnTo>
                  <a:pt x="6605733" y="3705343"/>
                </a:lnTo>
                <a:close/>
                <a:moveTo>
                  <a:pt x="7574353" y="3697440"/>
                </a:moveTo>
                <a:lnTo>
                  <a:pt x="7576632" y="3697764"/>
                </a:lnTo>
                <a:lnTo>
                  <a:pt x="7577501" y="3703178"/>
                </a:lnTo>
                <a:lnTo>
                  <a:pt x="7576415" y="3709891"/>
                </a:lnTo>
                <a:lnTo>
                  <a:pt x="7571098" y="3717145"/>
                </a:lnTo>
                <a:lnTo>
                  <a:pt x="7569904" y="3726780"/>
                </a:lnTo>
                <a:lnTo>
                  <a:pt x="7571315" y="3731436"/>
                </a:lnTo>
                <a:lnTo>
                  <a:pt x="7568493" y="3730570"/>
                </a:lnTo>
                <a:lnTo>
                  <a:pt x="7566323" y="3723533"/>
                </a:lnTo>
                <a:lnTo>
                  <a:pt x="7567191" y="3718660"/>
                </a:lnTo>
                <a:lnTo>
                  <a:pt x="7567625" y="3714438"/>
                </a:lnTo>
                <a:lnTo>
                  <a:pt x="7571749" y="3709566"/>
                </a:lnTo>
                <a:lnTo>
                  <a:pt x="7574353" y="3704369"/>
                </a:lnTo>
                <a:lnTo>
                  <a:pt x="7573051" y="3701121"/>
                </a:lnTo>
                <a:close/>
                <a:moveTo>
                  <a:pt x="2593356" y="3694633"/>
                </a:moveTo>
                <a:lnTo>
                  <a:pt x="2594090" y="3697440"/>
                </a:lnTo>
                <a:lnTo>
                  <a:pt x="2590726" y="3706751"/>
                </a:lnTo>
                <a:lnTo>
                  <a:pt x="2583238" y="3714330"/>
                </a:lnTo>
                <a:lnTo>
                  <a:pt x="2581936" y="3719634"/>
                </a:lnTo>
                <a:lnTo>
                  <a:pt x="2581937" y="3719634"/>
                </a:lnTo>
                <a:lnTo>
                  <a:pt x="2583239" y="3714330"/>
                </a:lnTo>
                <a:lnTo>
                  <a:pt x="2590726" y="3706751"/>
                </a:lnTo>
                <a:lnTo>
                  <a:pt x="2594090" y="3697440"/>
                </a:lnTo>
                <a:close/>
                <a:moveTo>
                  <a:pt x="4684121" y="3692134"/>
                </a:moveTo>
                <a:lnTo>
                  <a:pt x="4684121" y="3692134"/>
                </a:lnTo>
                <a:lnTo>
                  <a:pt x="4684121" y="3692138"/>
                </a:lnTo>
                <a:close/>
                <a:moveTo>
                  <a:pt x="4659748" y="3691422"/>
                </a:moveTo>
                <a:lnTo>
                  <a:pt x="4662201" y="3695924"/>
                </a:lnTo>
                <a:lnTo>
                  <a:pt x="4662387" y="3696027"/>
                </a:lnTo>
                <a:lnTo>
                  <a:pt x="4659814" y="3691484"/>
                </a:lnTo>
                <a:close/>
                <a:moveTo>
                  <a:pt x="6611484" y="3686073"/>
                </a:moveTo>
                <a:lnTo>
                  <a:pt x="6611484" y="3692569"/>
                </a:lnTo>
                <a:cubicBezTo>
                  <a:pt x="6611484" y="3692569"/>
                  <a:pt x="6609639" y="3696900"/>
                  <a:pt x="6609639" y="3696900"/>
                </a:cubicBezTo>
                <a:close/>
                <a:moveTo>
                  <a:pt x="2698049" y="3685541"/>
                </a:moveTo>
                <a:lnTo>
                  <a:pt x="2697832" y="3690943"/>
                </a:lnTo>
                <a:lnTo>
                  <a:pt x="2698917" y="3700254"/>
                </a:lnTo>
                <a:lnTo>
                  <a:pt x="2699776" y="3708715"/>
                </a:lnTo>
                <a:lnTo>
                  <a:pt x="2700003" y="3708159"/>
                </a:lnTo>
                <a:lnTo>
                  <a:pt x="2699134" y="3699605"/>
                </a:lnTo>
                <a:lnTo>
                  <a:pt x="2698049" y="3690294"/>
                </a:lnTo>
                <a:close/>
                <a:moveTo>
                  <a:pt x="2346566" y="3680322"/>
                </a:moveTo>
                <a:lnTo>
                  <a:pt x="2346672" y="3680983"/>
                </a:lnTo>
                <a:lnTo>
                  <a:pt x="2351881" y="3687478"/>
                </a:lnTo>
                <a:lnTo>
                  <a:pt x="2351881" y="3687478"/>
                </a:lnTo>
                <a:lnTo>
                  <a:pt x="2346672" y="3680983"/>
                </a:lnTo>
                <a:close/>
                <a:moveTo>
                  <a:pt x="2676346" y="3676651"/>
                </a:moveTo>
                <a:lnTo>
                  <a:pt x="2676346" y="3676652"/>
                </a:lnTo>
                <a:lnTo>
                  <a:pt x="2676552" y="3677243"/>
                </a:lnTo>
                <a:close/>
                <a:moveTo>
                  <a:pt x="2604399" y="3674594"/>
                </a:moveTo>
                <a:lnTo>
                  <a:pt x="2602880" y="3679791"/>
                </a:lnTo>
                <a:lnTo>
                  <a:pt x="2599299" y="3685422"/>
                </a:lnTo>
                <a:lnTo>
                  <a:pt x="2595175" y="3688561"/>
                </a:lnTo>
                <a:lnTo>
                  <a:pt x="2592788" y="3692459"/>
                </a:lnTo>
                <a:lnTo>
                  <a:pt x="2592788" y="3692459"/>
                </a:lnTo>
                <a:lnTo>
                  <a:pt x="2595175" y="3688562"/>
                </a:lnTo>
                <a:lnTo>
                  <a:pt x="2599299" y="3685422"/>
                </a:lnTo>
                <a:lnTo>
                  <a:pt x="2602880" y="3679792"/>
                </a:lnTo>
                <a:lnTo>
                  <a:pt x="2604399" y="3674596"/>
                </a:lnTo>
                <a:close/>
                <a:moveTo>
                  <a:pt x="2693668" y="3672152"/>
                </a:moveTo>
                <a:lnTo>
                  <a:pt x="2693708" y="3672753"/>
                </a:lnTo>
                <a:lnTo>
                  <a:pt x="2698049" y="3682576"/>
                </a:lnTo>
                <a:lnTo>
                  <a:pt x="2698049" y="3682173"/>
                </a:lnTo>
                <a:close/>
                <a:moveTo>
                  <a:pt x="2678625" y="3665429"/>
                </a:moveTo>
                <a:lnTo>
                  <a:pt x="2678408" y="3666258"/>
                </a:lnTo>
                <a:lnTo>
                  <a:pt x="2678191" y="3669073"/>
                </a:lnTo>
                <a:lnTo>
                  <a:pt x="2682314" y="3666365"/>
                </a:lnTo>
                <a:lnTo>
                  <a:pt x="2693383" y="3667881"/>
                </a:lnTo>
                <a:lnTo>
                  <a:pt x="2693600" y="3671128"/>
                </a:lnTo>
                <a:lnTo>
                  <a:pt x="2693600" y="3667124"/>
                </a:lnTo>
                <a:lnTo>
                  <a:pt x="2682748" y="3665608"/>
                </a:lnTo>
                <a:lnTo>
                  <a:pt x="2678625" y="3668315"/>
                </a:lnTo>
                <a:close/>
                <a:moveTo>
                  <a:pt x="4527206" y="3663768"/>
                </a:moveTo>
                <a:lnTo>
                  <a:pt x="4526784" y="3663828"/>
                </a:lnTo>
                <a:lnTo>
                  <a:pt x="4526989" y="3664093"/>
                </a:lnTo>
                <a:lnTo>
                  <a:pt x="4527643" y="3664359"/>
                </a:lnTo>
                <a:close/>
                <a:moveTo>
                  <a:pt x="2679276" y="3660390"/>
                </a:moveTo>
                <a:lnTo>
                  <a:pt x="2679059" y="3660736"/>
                </a:lnTo>
                <a:lnTo>
                  <a:pt x="2679059" y="3663732"/>
                </a:lnTo>
                <a:lnTo>
                  <a:pt x="2679276" y="3662902"/>
                </a:lnTo>
                <a:close/>
                <a:moveTo>
                  <a:pt x="2342007" y="3659328"/>
                </a:moveTo>
                <a:lnTo>
                  <a:pt x="2342006" y="3659329"/>
                </a:lnTo>
                <a:lnTo>
                  <a:pt x="2346998" y="3663443"/>
                </a:lnTo>
                <a:lnTo>
                  <a:pt x="2346998" y="3663442"/>
                </a:lnTo>
                <a:close/>
                <a:moveTo>
                  <a:pt x="7529536" y="3658571"/>
                </a:moveTo>
                <a:lnTo>
                  <a:pt x="7531814" y="3660195"/>
                </a:lnTo>
                <a:lnTo>
                  <a:pt x="7534745" y="3660520"/>
                </a:lnTo>
                <a:lnTo>
                  <a:pt x="7534310" y="3663551"/>
                </a:lnTo>
                <a:lnTo>
                  <a:pt x="7536155" y="3665717"/>
                </a:lnTo>
                <a:lnTo>
                  <a:pt x="7535179" y="3669939"/>
                </a:lnTo>
                <a:lnTo>
                  <a:pt x="7532791" y="3665717"/>
                </a:lnTo>
                <a:lnTo>
                  <a:pt x="7528451" y="3659761"/>
                </a:lnTo>
                <a:close/>
                <a:moveTo>
                  <a:pt x="4490785" y="3656504"/>
                </a:moveTo>
                <a:lnTo>
                  <a:pt x="4491287" y="3657163"/>
                </a:lnTo>
                <a:lnTo>
                  <a:pt x="4491346" y="3657163"/>
                </a:lnTo>
                <a:lnTo>
                  <a:pt x="4490852" y="3656513"/>
                </a:lnTo>
                <a:close/>
                <a:moveTo>
                  <a:pt x="4410212" y="3649570"/>
                </a:moveTo>
                <a:lnTo>
                  <a:pt x="4412287" y="3655214"/>
                </a:lnTo>
                <a:lnTo>
                  <a:pt x="4418472" y="3668640"/>
                </a:lnTo>
                <a:lnTo>
                  <a:pt x="4418472" y="3675136"/>
                </a:lnTo>
                <a:lnTo>
                  <a:pt x="4415000" y="3682823"/>
                </a:lnTo>
                <a:lnTo>
                  <a:pt x="4415000" y="3687370"/>
                </a:lnTo>
                <a:lnTo>
                  <a:pt x="4417189" y="3687074"/>
                </a:lnTo>
                <a:lnTo>
                  <a:pt x="4417278" y="3685206"/>
                </a:lnTo>
                <a:lnTo>
                  <a:pt x="4420750" y="3677518"/>
                </a:lnTo>
                <a:lnTo>
                  <a:pt x="4420859" y="3671022"/>
                </a:lnTo>
                <a:lnTo>
                  <a:pt x="4414674" y="3657596"/>
                </a:lnTo>
                <a:lnTo>
                  <a:pt x="4412286" y="3651100"/>
                </a:lnTo>
                <a:close/>
                <a:moveTo>
                  <a:pt x="2681545" y="3634320"/>
                </a:moveTo>
                <a:lnTo>
                  <a:pt x="2681229" y="3634860"/>
                </a:lnTo>
                <a:lnTo>
                  <a:pt x="2680578" y="3657269"/>
                </a:lnTo>
                <a:lnTo>
                  <a:pt x="2680903" y="3656405"/>
                </a:lnTo>
                <a:close/>
                <a:moveTo>
                  <a:pt x="7521722" y="3623274"/>
                </a:moveTo>
                <a:lnTo>
                  <a:pt x="7522265" y="3625981"/>
                </a:lnTo>
                <a:lnTo>
                  <a:pt x="7519769" y="3625331"/>
                </a:lnTo>
                <a:close/>
                <a:moveTo>
                  <a:pt x="2444228" y="3591442"/>
                </a:moveTo>
                <a:lnTo>
                  <a:pt x="2441515" y="3595990"/>
                </a:lnTo>
                <a:lnTo>
                  <a:pt x="2444228" y="3591442"/>
                </a:lnTo>
                <a:close/>
                <a:moveTo>
                  <a:pt x="2429677" y="3583645"/>
                </a:moveTo>
                <a:lnTo>
                  <a:pt x="2433594" y="3584297"/>
                </a:lnTo>
                <a:lnTo>
                  <a:pt x="2434571" y="3590468"/>
                </a:lnTo>
                <a:lnTo>
                  <a:pt x="2433594" y="3584296"/>
                </a:lnTo>
                <a:close/>
                <a:moveTo>
                  <a:pt x="2448026" y="3581482"/>
                </a:moveTo>
                <a:lnTo>
                  <a:pt x="2444228" y="3587003"/>
                </a:lnTo>
                <a:lnTo>
                  <a:pt x="2444228" y="3587003"/>
                </a:lnTo>
                <a:close/>
                <a:moveTo>
                  <a:pt x="2398325" y="3580399"/>
                </a:moveTo>
                <a:lnTo>
                  <a:pt x="2392140" y="3582456"/>
                </a:lnTo>
                <a:lnTo>
                  <a:pt x="2382808" y="3592092"/>
                </a:lnTo>
                <a:lnTo>
                  <a:pt x="2378684" y="3600753"/>
                </a:lnTo>
                <a:lnTo>
                  <a:pt x="2375646" y="3604543"/>
                </a:lnTo>
                <a:lnTo>
                  <a:pt x="2371739" y="3605192"/>
                </a:lnTo>
                <a:lnTo>
                  <a:pt x="2370111" y="3608332"/>
                </a:lnTo>
                <a:lnTo>
                  <a:pt x="2363492" y="3608332"/>
                </a:lnTo>
                <a:lnTo>
                  <a:pt x="2363493" y="3608333"/>
                </a:lnTo>
                <a:lnTo>
                  <a:pt x="2370112" y="3608333"/>
                </a:lnTo>
                <a:lnTo>
                  <a:pt x="2371740" y="3605194"/>
                </a:lnTo>
                <a:lnTo>
                  <a:pt x="2375646" y="3604544"/>
                </a:lnTo>
                <a:lnTo>
                  <a:pt x="2376884" y="3607099"/>
                </a:lnTo>
                <a:lnTo>
                  <a:pt x="2375646" y="3604543"/>
                </a:lnTo>
                <a:lnTo>
                  <a:pt x="2378684" y="3600754"/>
                </a:lnTo>
                <a:lnTo>
                  <a:pt x="2382808" y="3592092"/>
                </a:lnTo>
                <a:lnTo>
                  <a:pt x="2392141" y="3582456"/>
                </a:lnTo>
                <a:lnTo>
                  <a:pt x="2398325" y="3580399"/>
                </a:lnTo>
                <a:lnTo>
                  <a:pt x="2404186" y="3585596"/>
                </a:lnTo>
                <a:lnTo>
                  <a:pt x="2411131" y="3584946"/>
                </a:lnTo>
                <a:lnTo>
                  <a:pt x="2415254" y="3583864"/>
                </a:lnTo>
                <a:lnTo>
                  <a:pt x="2420463" y="3585271"/>
                </a:lnTo>
                <a:lnTo>
                  <a:pt x="2429036" y="3583539"/>
                </a:lnTo>
                <a:lnTo>
                  <a:pt x="2429036" y="3583539"/>
                </a:lnTo>
                <a:lnTo>
                  <a:pt x="2420463" y="3585271"/>
                </a:lnTo>
                <a:lnTo>
                  <a:pt x="2415254" y="3583863"/>
                </a:lnTo>
                <a:lnTo>
                  <a:pt x="2411131" y="3584946"/>
                </a:lnTo>
                <a:lnTo>
                  <a:pt x="2404185" y="3585596"/>
                </a:lnTo>
                <a:close/>
                <a:moveTo>
                  <a:pt x="4664045" y="3579209"/>
                </a:moveTo>
                <a:lnTo>
                  <a:pt x="4663668" y="3579265"/>
                </a:lnTo>
                <a:lnTo>
                  <a:pt x="4670882" y="3580724"/>
                </a:lnTo>
                <a:lnTo>
                  <a:pt x="4675440" y="3584513"/>
                </a:lnTo>
                <a:lnTo>
                  <a:pt x="4676850" y="3591010"/>
                </a:lnTo>
                <a:lnTo>
                  <a:pt x="4678261" y="3597181"/>
                </a:lnTo>
                <a:lnTo>
                  <a:pt x="4681082" y="3603027"/>
                </a:lnTo>
                <a:lnTo>
                  <a:pt x="4681082" y="3613855"/>
                </a:lnTo>
                <a:lnTo>
                  <a:pt x="4681082" y="3615263"/>
                </a:lnTo>
                <a:lnTo>
                  <a:pt x="4681082" y="3619809"/>
                </a:lnTo>
                <a:lnTo>
                  <a:pt x="4682602" y="3624357"/>
                </a:lnTo>
                <a:lnTo>
                  <a:pt x="4684012" y="3629771"/>
                </a:lnTo>
                <a:lnTo>
                  <a:pt x="4684012" y="3648393"/>
                </a:lnTo>
                <a:lnTo>
                  <a:pt x="4682275" y="3655755"/>
                </a:lnTo>
                <a:lnTo>
                  <a:pt x="4682275" y="3662685"/>
                </a:lnTo>
                <a:lnTo>
                  <a:pt x="4682275" y="3670805"/>
                </a:lnTo>
                <a:lnTo>
                  <a:pt x="4678369" y="3669073"/>
                </a:lnTo>
                <a:lnTo>
                  <a:pt x="4674571" y="3665824"/>
                </a:lnTo>
                <a:lnTo>
                  <a:pt x="4668495" y="3662360"/>
                </a:lnTo>
                <a:lnTo>
                  <a:pt x="4664370" y="3664417"/>
                </a:lnTo>
                <a:lnTo>
                  <a:pt x="4663394" y="3669073"/>
                </a:lnTo>
                <a:lnTo>
                  <a:pt x="4657534" y="3679900"/>
                </a:lnTo>
                <a:lnTo>
                  <a:pt x="4655472" y="3685638"/>
                </a:lnTo>
                <a:lnTo>
                  <a:pt x="4656883" y="3688562"/>
                </a:lnTo>
                <a:lnTo>
                  <a:pt x="4657193" y="3688845"/>
                </a:lnTo>
                <a:lnTo>
                  <a:pt x="4655907" y="3686178"/>
                </a:lnTo>
                <a:lnTo>
                  <a:pt x="4657969" y="3680441"/>
                </a:lnTo>
                <a:lnTo>
                  <a:pt x="4663828" y="3669613"/>
                </a:lnTo>
                <a:lnTo>
                  <a:pt x="4664805" y="3664958"/>
                </a:lnTo>
                <a:lnTo>
                  <a:pt x="4668929" y="3662901"/>
                </a:lnTo>
                <a:lnTo>
                  <a:pt x="4675006" y="3666366"/>
                </a:lnTo>
                <a:lnTo>
                  <a:pt x="4678804" y="3669613"/>
                </a:lnTo>
                <a:lnTo>
                  <a:pt x="4682710" y="3671346"/>
                </a:lnTo>
                <a:lnTo>
                  <a:pt x="4682927" y="3663335"/>
                </a:lnTo>
                <a:lnTo>
                  <a:pt x="4682926" y="3663387"/>
                </a:lnTo>
                <a:lnTo>
                  <a:pt x="4682927" y="3663335"/>
                </a:lnTo>
                <a:lnTo>
                  <a:pt x="4683252" y="3656406"/>
                </a:lnTo>
                <a:lnTo>
                  <a:pt x="4684988" y="3649043"/>
                </a:lnTo>
                <a:lnTo>
                  <a:pt x="4685205" y="3630421"/>
                </a:lnTo>
                <a:lnTo>
                  <a:pt x="4683795" y="3625008"/>
                </a:lnTo>
                <a:lnTo>
                  <a:pt x="4682167" y="3620460"/>
                </a:lnTo>
                <a:lnTo>
                  <a:pt x="4682058" y="3615804"/>
                </a:lnTo>
                <a:lnTo>
                  <a:pt x="4682492" y="3614505"/>
                </a:lnTo>
                <a:lnTo>
                  <a:pt x="4682275" y="3603353"/>
                </a:lnTo>
                <a:lnTo>
                  <a:pt x="4679454" y="3597506"/>
                </a:lnTo>
                <a:lnTo>
                  <a:pt x="4678043" y="3591227"/>
                </a:lnTo>
                <a:lnTo>
                  <a:pt x="4676632" y="3584731"/>
                </a:lnTo>
                <a:lnTo>
                  <a:pt x="4676624" y="3584723"/>
                </a:lnTo>
                <a:lnTo>
                  <a:pt x="4672109" y="3580968"/>
                </a:lnTo>
                <a:lnTo>
                  <a:pt x="4672075" y="3580941"/>
                </a:lnTo>
                <a:close/>
                <a:moveTo>
                  <a:pt x="4647334" y="3577585"/>
                </a:moveTo>
                <a:lnTo>
                  <a:pt x="4646330" y="3577673"/>
                </a:lnTo>
                <a:lnTo>
                  <a:pt x="4651240" y="3579966"/>
                </a:lnTo>
                <a:lnTo>
                  <a:pt x="4652868" y="3581482"/>
                </a:lnTo>
                <a:lnTo>
                  <a:pt x="4653618" y="3581178"/>
                </a:lnTo>
                <a:lnTo>
                  <a:pt x="4652434" y="3580075"/>
                </a:lnTo>
                <a:close/>
                <a:moveTo>
                  <a:pt x="4640887" y="3574463"/>
                </a:moveTo>
                <a:lnTo>
                  <a:pt x="4642451" y="3577584"/>
                </a:lnTo>
                <a:lnTo>
                  <a:pt x="4643481" y="3577584"/>
                </a:lnTo>
                <a:lnTo>
                  <a:pt x="4642016" y="3574662"/>
                </a:lnTo>
                <a:close/>
                <a:moveTo>
                  <a:pt x="4625994" y="3571996"/>
                </a:moveTo>
                <a:lnTo>
                  <a:pt x="4626389" y="3572496"/>
                </a:lnTo>
                <a:lnTo>
                  <a:pt x="4626709" y="3572865"/>
                </a:lnTo>
                <a:lnTo>
                  <a:pt x="4626390" y="3572496"/>
                </a:lnTo>
                <a:close/>
                <a:moveTo>
                  <a:pt x="4429757" y="3569138"/>
                </a:moveTo>
                <a:lnTo>
                  <a:pt x="4408488" y="3569464"/>
                </a:lnTo>
                <a:lnTo>
                  <a:pt x="4406441" y="3605854"/>
                </a:lnTo>
                <a:lnTo>
                  <a:pt x="4408488" y="3569464"/>
                </a:lnTo>
                <a:lnTo>
                  <a:pt x="4429757" y="3569139"/>
                </a:lnTo>
                <a:close/>
                <a:moveTo>
                  <a:pt x="4624762" y="3567840"/>
                </a:moveTo>
                <a:lnTo>
                  <a:pt x="4624762" y="3570438"/>
                </a:lnTo>
                <a:lnTo>
                  <a:pt x="4624762" y="3570439"/>
                </a:lnTo>
                <a:lnTo>
                  <a:pt x="4624762" y="3567841"/>
                </a:lnTo>
                <a:close/>
                <a:moveTo>
                  <a:pt x="6683432" y="3563833"/>
                </a:moveTo>
                <a:lnTo>
                  <a:pt x="6682997" y="3569138"/>
                </a:lnTo>
                <a:lnTo>
                  <a:pt x="6680393" y="3572387"/>
                </a:lnTo>
                <a:lnTo>
                  <a:pt x="6678982" y="3570005"/>
                </a:lnTo>
                <a:close/>
                <a:moveTo>
                  <a:pt x="2486649" y="3553611"/>
                </a:moveTo>
                <a:lnTo>
                  <a:pt x="2487309" y="3558636"/>
                </a:lnTo>
                <a:lnTo>
                  <a:pt x="2486767" y="3564916"/>
                </a:lnTo>
                <a:lnTo>
                  <a:pt x="2480365" y="3578017"/>
                </a:lnTo>
                <a:lnTo>
                  <a:pt x="2478520" y="3586029"/>
                </a:lnTo>
                <a:lnTo>
                  <a:pt x="2478520" y="3586029"/>
                </a:lnTo>
                <a:lnTo>
                  <a:pt x="2480365" y="3578018"/>
                </a:lnTo>
                <a:lnTo>
                  <a:pt x="2486767" y="3564918"/>
                </a:lnTo>
                <a:lnTo>
                  <a:pt x="2487310" y="3558637"/>
                </a:lnTo>
                <a:close/>
                <a:moveTo>
                  <a:pt x="2331084" y="3545819"/>
                </a:moveTo>
                <a:lnTo>
                  <a:pt x="2334193" y="3550084"/>
                </a:lnTo>
                <a:lnTo>
                  <a:pt x="2345912" y="3561128"/>
                </a:lnTo>
                <a:lnTo>
                  <a:pt x="2352743" y="3579470"/>
                </a:lnTo>
                <a:lnTo>
                  <a:pt x="2345912" y="3561127"/>
                </a:lnTo>
                <a:lnTo>
                  <a:pt x="2334193" y="3550083"/>
                </a:lnTo>
                <a:close/>
                <a:moveTo>
                  <a:pt x="5253400" y="3544238"/>
                </a:moveTo>
                <a:lnTo>
                  <a:pt x="5258284" y="3546403"/>
                </a:lnTo>
                <a:lnTo>
                  <a:pt x="5261322" y="3553224"/>
                </a:lnTo>
                <a:lnTo>
                  <a:pt x="5263926" y="3554523"/>
                </a:lnTo>
                <a:lnTo>
                  <a:pt x="5257524" y="3560045"/>
                </a:lnTo>
                <a:lnTo>
                  <a:pt x="5254703" y="3558746"/>
                </a:lnTo>
                <a:lnTo>
                  <a:pt x="5250036" y="3552466"/>
                </a:lnTo>
                <a:lnTo>
                  <a:pt x="5250579" y="3545428"/>
                </a:lnTo>
                <a:close/>
                <a:moveTo>
                  <a:pt x="4704373" y="3539317"/>
                </a:moveTo>
                <a:lnTo>
                  <a:pt x="4704087" y="3539798"/>
                </a:lnTo>
                <a:lnTo>
                  <a:pt x="4704086" y="3539901"/>
                </a:lnTo>
                <a:lnTo>
                  <a:pt x="4704087" y="3539799"/>
                </a:lnTo>
                <a:close/>
                <a:moveTo>
                  <a:pt x="4588734" y="3536875"/>
                </a:moveTo>
                <a:lnTo>
                  <a:pt x="4587541" y="3540014"/>
                </a:lnTo>
                <a:lnTo>
                  <a:pt x="4588517" y="3545536"/>
                </a:lnTo>
                <a:lnTo>
                  <a:pt x="4588842" y="3549326"/>
                </a:lnTo>
                <a:lnTo>
                  <a:pt x="4590362" y="3553224"/>
                </a:lnTo>
                <a:lnTo>
                  <a:pt x="4592283" y="3554684"/>
                </a:lnTo>
                <a:lnTo>
                  <a:pt x="4590362" y="3553224"/>
                </a:lnTo>
                <a:lnTo>
                  <a:pt x="4588843" y="3549327"/>
                </a:lnTo>
                <a:lnTo>
                  <a:pt x="4588518" y="3545537"/>
                </a:lnTo>
                <a:lnTo>
                  <a:pt x="4587541" y="3540015"/>
                </a:lnTo>
                <a:lnTo>
                  <a:pt x="4588735" y="3536875"/>
                </a:lnTo>
                <a:close/>
                <a:moveTo>
                  <a:pt x="4583461" y="3533587"/>
                </a:moveTo>
                <a:lnTo>
                  <a:pt x="4584936" y="3534168"/>
                </a:lnTo>
                <a:lnTo>
                  <a:pt x="4587870" y="3536259"/>
                </a:lnTo>
                <a:lnTo>
                  <a:pt x="4584937" y="3534168"/>
                </a:lnTo>
                <a:close/>
                <a:moveTo>
                  <a:pt x="2494689" y="3528212"/>
                </a:moveTo>
                <a:lnTo>
                  <a:pt x="2491542" y="3537091"/>
                </a:lnTo>
                <a:lnTo>
                  <a:pt x="2484054" y="3548242"/>
                </a:lnTo>
                <a:lnTo>
                  <a:pt x="2484054" y="3548243"/>
                </a:lnTo>
                <a:lnTo>
                  <a:pt x="2491542" y="3537092"/>
                </a:lnTo>
                <a:lnTo>
                  <a:pt x="2494689" y="3528213"/>
                </a:lnTo>
                <a:close/>
                <a:moveTo>
                  <a:pt x="4580053" y="3527347"/>
                </a:moveTo>
                <a:lnTo>
                  <a:pt x="4580053" y="3528646"/>
                </a:lnTo>
                <a:lnTo>
                  <a:pt x="4579836" y="3530162"/>
                </a:lnTo>
                <a:lnTo>
                  <a:pt x="4580813" y="3532543"/>
                </a:lnTo>
                <a:lnTo>
                  <a:pt x="4580813" y="3532543"/>
                </a:lnTo>
                <a:lnTo>
                  <a:pt x="4579836" y="3530162"/>
                </a:lnTo>
                <a:lnTo>
                  <a:pt x="4580053" y="3528646"/>
                </a:lnTo>
                <a:lnTo>
                  <a:pt x="4580053" y="3527347"/>
                </a:lnTo>
                <a:close/>
                <a:moveTo>
                  <a:pt x="5308200" y="3525289"/>
                </a:moveTo>
                <a:lnTo>
                  <a:pt x="5311347" y="3526913"/>
                </a:lnTo>
                <a:lnTo>
                  <a:pt x="5311890" y="3530702"/>
                </a:lnTo>
                <a:lnTo>
                  <a:pt x="5309285" y="3533084"/>
                </a:lnTo>
                <a:lnTo>
                  <a:pt x="5309828" y="3537740"/>
                </a:lnTo>
                <a:lnTo>
                  <a:pt x="5304619" y="3541204"/>
                </a:lnTo>
                <a:lnTo>
                  <a:pt x="5298108" y="3534924"/>
                </a:lnTo>
                <a:lnTo>
                  <a:pt x="5301146" y="3532435"/>
                </a:lnTo>
                <a:lnTo>
                  <a:pt x="5302123" y="3526696"/>
                </a:lnTo>
                <a:lnTo>
                  <a:pt x="5305270" y="3527021"/>
                </a:lnTo>
                <a:close/>
                <a:moveTo>
                  <a:pt x="4567583" y="3518505"/>
                </a:moveTo>
                <a:lnTo>
                  <a:pt x="4570395" y="3520201"/>
                </a:lnTo>
                <a:lnTo>
                  <a:pt x="4573435" y="3522516"/>
                </a:lnTo>
                <a:lnTo>
                  <a:pt x="4570395" y="3520201"/>
                </a:lnTo>
                <a:close/>
                <a:moveTo>
                  <a:pt x="4563791" y="3514410"/>
                </a:moveTo>
                <a:lnTo>
                  <a:pt x="4565729" y="3517386"/>
                </a:lnTo>
                <a:lnTo>
                  <a:pt x="4565729" y="3517386"/>
                </a:lnTo>
                <a:close/>
                <a:moveTo>
                  <a:pt x="7434801" y="3510781"/>
                </a:moveTo>
                <a:lnTo>
                  <a:pt x="7435452" y="3518576"/>
                </a:lnTo>
                <a:lnTo>
                  <a:pt x="7433499" y="3523340"/>
                </a:lnTo>
                <a:lnTo>
                  <a:pt x="7431220" y="3520525"/>
                </a:lnTo>
                <a:lnTo>
                  <a:pt x="7432848" y="3516627"/>
                </a:lnTo>
                <a:lnTo>
                  <a:pt x="7429375" y="3512621"/>
                </a:lnTo>
                <a:lnTo>
                  <a:pt x="7433282" y="3511647"/>
                </a:lnTo>
                <a:close/>
                <a:moveTo>
                  <a:pt x="4556939" y="3503636"/>
                </a:moveTo>
                <a:lnTo>
                  <a:pt x="4558271" y="3505852"/>
                </a:lnTo>
                <a:lnTo>
                  <a:pt x="4556939" y="3503636"/>
                </a:lnTo>
                <a:close/>
                <a:moveTo>
                  <a:pt x="4549837" y="3495794"/>
                </a:moveTo>
                <a:lnTo>
                  <a:pt x="4552056" y="3498114"/>
                </a:lnTo>
                <a:lnTo>
                  <a:pt x="4553140" y="3501578"/>
                </a:lnTo>
                <a:lnTo>
                  <a:pt x="4553141" y="3501579"/>
                </a:lnTo>
                <a:lnTo>
                  <a:pt x="4552057" y="3498114"/>
                </a:lnTo>
                <a:close/>
                <a:moveTo>
                  <a:pt x="4714287" y="3495299"/>
                </a:moveTo>
                <a:lnTo>
                  <a:pt x="4711358" y="3496381"/>
                </a:lnTo>
                <a:lnTo>
                  <a:pt x="4711358" y="3496382"/>
                </a:lnTo>
                <a:close/>
                <a:moveTo>
                  <a:pt x="4714831" y="3490535"/>
                </a:moveTo>
                <a:lnTo>
                  <a:pt x="4714797" y="3490834"/>
                </a:lnTo>
                <a:lnTo>
                  <a:pt x="4714831" y="3490536"/>
                </a:lnTo>
                <a:close/>
                <a:moveTo>
                  <a:pt x="4546413" y="3487720"/>
                </a:moveTo>
                <a:lnTo>
                  <a:pt x="4548800" y="3491725"/>
                </a:lnTo>
                <a:lnTo>
                  <a:pt x="4549777" y="3495731"/>
                </a:lnTo>
                <a:lnTo>
                  <a:pt x="4549777" y="3495732"/>
                </a:lnTo>
                <a:lnTo>
                  <a:pt x="4548800" y="3491726"/>
                </a:lnTo>
                <a:close/>
                <a:moveTo>
                  <a:pt x="4433990" y="3483388"/>
                </a:moveTo>
                <a:lnTo>
                  <a:pt x="4433990" y="3483389"/>
                </a:lnTo>
                <a:lnTo>
                  <a:pt x="4451895" y="3484147"/>
                </a:lnTo>
                <a:close/>
                <a:moveTo>
                  <a:pt x="4489890" y="3483008"/>
                </a:moveTo>
                <a:lnTo>
                  <a:pt x="4489441" y="3483605"/>
                </a:lnTo>
                <a:lnTo>
                  <a:pt x="4489212" y="3485322"/>
                </a:lnTo>
                <a:lnTo>
                  <a:pt x="4489442" y="3483605"/>
                </a:lnTo>
                <a:close/>
                <a:moveTo>
                  <a:pt x="2319052" y="3482087"/>
                </a:moveTo>
                <a:lnTo>
                  <a:pt x="2320302" y="3483280"/>
                </a:lnTo>
                <a:lnTo>
                  <a:pt x="2320302" y="3483280"/>
                </a:lnTo>
                <a:close/>
                <a:moveTo>
                  <a:pt x="4720147" y="3480249"/>
                </a:moveTo>
                <a:lnTo>
                  <a:pt x="4717379" y="3480710"/>
                </a:lnTo>
                <a:lnTo>
                  <a:pt x="4720147" y="3480250"/>
                </a:lnTo>
                <a:close/>
                <a:moveTo>
                  <a:pt x="7276040" y="3476352"/>
                </a:moveTo>
                <a:lnTo>
                  <a:pt x="7276366" y="3478951"/>
                </a:lnTo>
                <a:lnTo>
                  <a:pt x="7273870" y="3480250"/>
                </a:lnTo>
                <a:lnTo>
                  <a:pt x="7272459" y="3478084"/>
                </a:lnTo>
                <a:close/>
                <a:moveTo>
                  <a:pt x="4486295" y="3475810"/>
                </a:moveTo>
                <a:lnTo>
                  <a:pt x="4485209" y="3476351"/>
                </a:lnTo>
                <a:lnTo>
                  <a:pt x="4482062" y="3476676"/>
                </a:lnTo>
                <a:lnTo>
                  <a:pt x="4475009" y="3478841"/>
                </a:lnTo>
                <a:lnTo>
                  <a:pt x="4482063" y="3476676"/>
                </a:lnTo>
                <a:lnTo>
                  <a:pt x="4485210" y="3476351"/>
                </a:lnTo>
                <a:lnTo>
                  <a:pt x="4486295" y="3475810"/>
                </a:lnTo>
                <a:lnTo>
                  <a:pt x="4487705" y="3476784"/>
                </a:lnTo>
                <a:lnTo>
                  <a:pt x="4488471" y="3478758"/>
                </a:lnTo>
                <a:lnTo>
                  <a:pt x="4487705" y="3476784"/>
                </a:lnTo>
                <a:close/>
                <a:moveTo>
                  <a:pt x="4513423" y="3470504"/>
                </a:moveTo>
                <a:lnTo>
                  <a:pt x="4508215" y="3471154"/>
                </a:lnTo>
                <a:lnTo>
                  <a:pt x="4503440" y="3476026"/>
                </a:lnTo>
                <a:lnTo>
                  <a:pt x="4498882" y="3481764"/>
                </a:lnTo>
                <a:lnTo>
                  <a:pt x="4491069" y="3487286"/>
                </a:lnTo>
                <a:lnTo>
                  <a:pt x="4491069" y="3487286"/>
                </a:lnTo>
                <a:lnTo>
                  <a:pt x="4498882" y="3481764"/>
                </a:lnTo>
                <a:lnTo>
                  <a:pt x="4503440" y="3476027"/>
                </a:lnTo>
                <a:lnTo>
                  <a:pt x="4508215" y="3471154"/>
                </a:lnTo>
                <a:lnTo>
                  <a:pt x="4513424" y="3470505"/>
                </a:lnTo>
                <a:close/>
                <a:moveTo>
                  <a:pt x="4392345" y="3468615"/>
                </a:moveTo>
                <a:lnTo>
                  <a:pt x="4392645" y="3469313"/>
                </a:lnTo>
                <a:lnTo>
                  <a:pt x="4392645" y="3469314"/>
                </a:lnTo>
                <a:close/>
                <a:moveTo>
                  <a:pt x="4559977" y="3468122"/>
                </a:moveTo>
                <a:lnTo>
                  <a:pt x="4554659" y="3468772"/>
                </a:lnTo>
                <a:lnTo>
                  <a:pt x="4550427" y="3471695"/>
                </a:lnTo>
                <a:lnTo>
                  <a:pt x="4548148" y="3471586"/>
                </a:lnTo>
                <a:lnTo>
                  <a:pt x="4546909" y="3470575"/>
                </a:lnTo>
                <a:lnTo>
                  <a:pt x="4548150" y="3471588"/>
                </a:lnTo>
                <a:lnTo>
                  <a:pt x="4550428" y="3471696"/>
                </a:lnTo>
                <a:lnTo>
                  <a:pt x="4554660" y="3468773"/>
                </a:lnTo>
                <a:lnTo>
                  <a:pt x="4559978" y="3468123"/>
                </a:lnTo>
                <a:lnTo>
                  <a:pt x="4562365" y="3469206"/>
                </a:lnTo>
                <a:lnTo>
                  <a:pt x="4563559" y="3469097"/>
                </a:lnTo>
                <a:lnTo>
                  <a:pt x="4564969" y="3469638"/>
                </a:lnTo>
                <a:lnTo>
                  <a:pt x="4565511" y="3469963"/>
                </a:lnTo>
                <a:lnTo>
                  <a:pt x="4565511" y="3469962"/>
                </a:lnTo>
                <a:lnTo>
                  <a:pt x="4564969" y="3469638"/>
                </a:lnTo>
                <a:lnTo>
                  <a:pt x="4563558" y="3469096"/>
                </a:lnTo>
                <a:lnTo>
                  <a:pt x="4562364" y="3469205"/>
                </a:lnTo>
                <a:close/>
                <a:moveTo>
                  <a:pt x="4533400" y="3466625"/>
                </a:moveTo>
                <a:lnTo>
                  <a:pt x="4534476" y="3468880"/>
                </a:lnTo>
                <a:lnTo>
                  <a:pt x="4533825" y="3470937"/>
                </a:lnTo>
                <a:lnTo>
                  <a:pt x="4534259" y="3472670"/>
                </a:lnTo>
                <a:lnTo>
                  <a:pt x="4534476" y="3475269"/>
                </a:lnTo>
                <a:lnTo>
                  <a:pt x="4537840" y="3477867"/>
                </a:lnTo>
                <a:lnTo>
                  <a:pt x="4539576" y="3479708"/>
                </a:lnTo>
                <a:lnTo>
                  <a:pt x="4542614" y="3481657"/>
                </a:lnTo>
                <a:lnTo>
                  <a:pt x="4544568" y="3484363"/>
                </a:lnTo>
                <a:lnTo>
                  <a:pt x="4545111" y="3486853"/>
                </a:lnTo>
                <a:lnTo>
                  <a:pt x="4545111" y="3486854"/>
                </a:lnTo>
                <a:lnTo>
                  <a:pt x="4544569" y="3484364"/>
                </a:lnTo>
                <a:lnTo>
                  <a:pt x="4542615" y="3481657"/>
                </a:lnTo>
                <a:lnTo>
                  <a:pt x="4539577" y="3479708"/>
                </a:lnTo>
                <a:lnTo>
                  <a:pt x="4537841" y="3477867"/>
                </a:lnTo>
                <a:lnTo>
                  <a:pt x="4534476" y="3475269"/>
                </a:lnTo>
                <a:lnTo>
                  <a:pt x="4534260" y="3472670"/>
                </a:lnTo>
                <a:lnTo>
                  <a:pt x="4533825" y="3470938"/>
                </a:lnTo>
                <a:lnTo>
                  <a:pt x="4534476" y="3468881"/>
                </a:lnTo>
                <a:close/>
                <a:moveTo>
                  <a:pt x="4533396" y="3466616"/>
                </a:moveTo>
                <a:lnTo>
                  <a:pt x="4533396" y="3466617"/>
                </a:lnTo>
                <a:lnTo>
                  <a:pt x="4535778" y="3466824"/>
                </a:lnTo>
                <a:lnTo>
                  <a:pt x="4541421" y="3467473"/>
                </a:lnTo>
                <a:lnTo>
                  <a:pt x="4544338" y="3468928"/>
                </a:lnTo>
                <a:lnTo>
                  <a:pt x="4541420" y="3467472"/>
                </a:lnTo>
                <a:lnTo>
                  <a:pt x="4535778" y="3466823"/>
                </a:lnTo>
                <a:close/>
                <a:moveTo>
                  <a:pt x="4533282" y="3466606"/>
                </a:moveTo>
                <a:lnTo>
                  <a:pt x="4533282" y="3466607"/>
                </a:lnTo>
                <a:lnTo>
                  <a:pt x="4528290" y="3468014"/>
                </a:lnTo>
                <a:lnTo>
                  <a:pt x="4520586" y="3470721"/>
                </a:lnTo>
                <a:lnTo>
                  <a:pt x="4517547" y="3472778"/>
                </a:lnTo>
                <a:lnTo>
                  <a:pt x="4514618" y="3472345"/>
                </a:lnTo>
                <a:lnTo>
                  <a:pt x="4513602" y="3470780"/>
                </a:lnTo>
                <a:lnTo>
                  <a:pt x="4514617" y="3472345"/>
                </a:lnTo>
                <a:lnTo>
                  <a:pt x="4517547" y="3472778"/>
                </a:lnTo>
                <a:lnTo>
                  <a:pt x="4520586" y="3470721"/>
                </a:lnTo>
                <a:lnTo>
                  <a:pt x="4528291" y="3468014"/>
                </a:lnTo>
                <a:lnTo>
                  <a:pt x="4533282" y="3466607"/>
                </a:lnTo>
                <a:lnTo>
                  <a:pt x="4533287" y="3466607"/>
                </a:lnTo>
                <a:close/>
                <a:moveTo>
                  <a:pt x="2306698" y="3465702"/>
                </a:moveTo>
                <a:lnTo>
                  <a:pt x="2307715" y="3466824"/>
                </a:lnTo>
                <a:lnTo>
                  <a:pt x="2310753" y="3467257"/>
                </a:lnTo>
                <a:lnTo>
                  <a:pt x="2311295" y="3470288"/>
                </a:lnTo>
                <a:lnTo>
                  <a:pt x="2307932" y="3469530"/>
                </a:lnTo>
                <a:lnTo>
                  <a:pt x="2305544" y="3473428"/>
                </a:lnTo>
                <a:lnTo>
                  <a:pt x="2303917" y="3477650"/>
                </a:lnTo>
                <a:lnTo>
                  <a:pt x="2303917" y="3477651"/>
                </a:lnTo>
                <a:lnTo>
                  <a:pt x="2305545" y="3473429"/>
                </a:lnTo>
                <a:lnTo>
                  <a:pt x="2307932" y="3469531"/>
                </a:lnTo>
                <a:lnTo>
                  <a:pt x="2311296" y="3470288"/>
                </a:lnTo>
                <a:lnTo>
                  <a:pt x="2312380" y="3470613"/>
                </a:lnTo>
                <a:lnTo>
                  <a:pt x="2312380" y="3470612"/>
                </a:lnTo>
                <a:lnTo>
                  <a:pt x="2311295" y="3470288"/>
                </a:lnTo>
                <a:lnTo>
                  <a:pt x="2310753" y="3467256"/>
                </a:lnTo>
                <a:lnTo>
                  <a:pt x="2307714" y="3466823"/>
                </a:lnTo>
                <a:close/>
                <a:moveTo>
                  <a:pt x="4529143" y="3462226"/>
                </a:moveTo>
                <a:lnTo>
                  <a:pt x="4529810" y="3462492"/>
                </a:lnTo>
                <a:lnTo>
                  <a:pt x="4529809" y="3462491"/>
                </a:lnTo>
                <a:close/>
                <a:moveTo>
                  <a:pt x="7273761" y="3461194"/>
                </a:moveTo>
                <a:lnTo>
                  <a:pt x="7279947" y="3462710"/>
                </a:lnTo>
                <a:lnTo>
                  <a:pt x="7279730" y="3464550"/>
                </a:lnTo>
                <a:lnTo>
                  <a:pt x="7274521" y="3465308"/>
                </a:lnTo>
                <a:lnTo>
                  <a:pt x="7271699" y="3468881"/>
                </a:lnTo>
                <a:lnTo>
                  <a:pt x="7268878" y="3469855"/>
                </a:lnTo>
                <a:lnTo>
                  <a:pt x="7266817" y="3467690"/>
                </a:lnTo>
                <a:cubicBezTo>
                  <a:pt x="7267089" y="3466614"/>
                  <a:pt x="7267452" y="3465564"/>
                  <a:pt x="7267902" y="3464550"/>
                </a:cubicBezTo>
                <a:close/>
                <a:moveTo>
                  <a:pt x="4512664" y="3460327"/>
                </a:moveTo>
                <a:lnTo>
                  <a:pt x="4490201" y="3465415"/>
                </a:lnTo>
                <a:lnTo>
                  <a:pt x="4490201" y="3465416"/>
                </a:lnTo>
                <a:lnTo>
                  <a:pt x="4512664" y="3460327"/>
                </a:lnTo>
                <a:close/>
                <a:moveTo>
                  <a:pt x="4520585" y="3459135"/>
                </a:moveTo>
                <a:lnTo>
                  <a:pt x="4515159" y="3460543"/>
                </a:lnTo>
                <a:lnTo>
                  <a:pt x="4520586" y="3459136"/>
                </a:lnTo>
                <a:lnTo>
                  <a:pt x="4522214" y="3460002"/>
                </a:lnTo>
                <a:lnTo>
                  <a:pt x="4523190" y="3460002"/>
                </a:lnTo>
                <a:lnTo>
                  <a:pt x="4524818" y="3461301"/>
                </a:lnTo>
                <a:lnTo>
                  <a:pt x="4523190" y="3460001"/>
                </a:lnTo>
                <a:lnTo>
                  <a:pt x="4522213" y="3460001"/>
                </a:lnTo>
                <a:close/>
                <a:moveTo>
                  <a:pt x="4371593" y="3457729"/>
                </a:moveTo>
                <a:lnTo>
                  <a:pt x="4373980" y="3462276"/>
                </a:lnTo>
                <a:lnTo>
                  <a:pt x="4373980" y="3462276"/>
                </a:lnTo>
                <a:lnTo>
                  <a:pt x="4371593" y="3457729"/>
                </a:lnTo>
                <a:close/>
                <a:moveTo>
                  <a:pt x="4482930" y="3456754"/>
                </a:moveTo>
                <a:lnTo>
                  <a:pt x="4482931" y="3456755"/>
                </a:lnTo>
                <a:lnTo>
                  <a:pt x="4485861" y="3460220"/>
                </a:lnTo>
                <a:lnTo>
                  <a:pt x="4488791" y="3461627"/>
                </a:lnTo>
                <a:lnTo>
                  <a:pt x="4489029" y="3462268"/>
                </a:lnTo>
                <a:lnTo>
                  <a:pt x="4488790" y="3461625"/>
                </a:lnTo>
                <a:lnTo>
                  <a:pt x="4485860" y="3460218"/>
                </a:lnTo>
                <a:close/>
                <a:moveTo>
                  <a:pt x="4257107" y="3450691"/>
                </a:moveTo>
                <a:lnTo>
                  <a:pt x="4256565" y="3452856"/>
                </a:lnTo>
                <a:lnTo>
                  <a:pt x="4257108" y="3450692"/>
                </a:lnTo>
                <a:close/>
                <a:moveTo>
                  <a:pt x="4253961" y="3448093"/>
                </a:moveTo>
                <a:lnTo>
                  <a:pt x="4254204" y="3449227"/>
                </a:lnTo>
                <a:lnTo>
                  <a:pt x="4253961" y="3448094"/>
                </a:lnTo>
                <a:close/>
                <a:moveTo>
                  <a:pt x="4471781" y="3446935"/>
                </a:moveTo>
                <a:lnTo>
                  <a:pt x="4474467" y="3450151"/>
                </a:lnTo>
                <a:lnTo>
                  <a:pt x="4477613" y="3452857"/>
                </a:lnTo>
                <a:lnTo>
                  <a:pt x="4481195" y="3454265"/>
                </a:lnTo>
                <a:lnTo>
                  <a:pt x="4482798" y="3456565"/>
                </a:lnTo>
                <a:lnTo>
                  <a:pt x="4481194" y="3454264"/>
                </a:lnTo>
                <a:lnTo>
                  <a:pt x="4477612" y="3452856"/>
                </a:lnTo>
                <a:lnTo>
                  <a:pt x="4474466" y="3450149"/>
                </a:lnTo>
                <a:close/>
                <a:moveTo>
                  <a:pt x="4718638" y="3443256"/>
                </a:moveTo>
                <a:lnTo>
                  <a:pt x="4720907" y="3443438"/>
                </a:lnTo>
                <a:lnTo>
                  <a:pt x="4720907" y="3443437"/>
                </a:lnTo>
                <a:close/>
                <a:moveTo>
                  <a:pt x="5126001" y="3441055"/>
                </a:moveTo>
                <a:lnTo>
                  <a:pt x="5124699" y="3445169"/>
                </a:lnTo>
                <a:lnTo>
                  <a:pt x="5123179" y="3447984"/>
                </a:lnTo>
                <a:lnTo>
                  <a:pt x="5121118" y="3452423"/>
                </a:lnTo>
                <a:lnTo>
                  <a:pt x="5121009" y="3449283"/>
                </a:lnTo>
                <a:lnTo>
                  <a:pt x="5121334" y="3446251"/>
                </a:lnTo>
                <a:lnTo>
                  <a:pt x="5122745" y="3443870"/>
                </a:lnTo>
                <a:lnTo>
                  <a:pt x="5124156" y="3443870"/>
                </a:lnTo>
                <a:close/>
                <a:moveTo>
                  <a:pt x="7217875" y="3437807"/>
                </a:moveTo>
                <a:lnTo>
                  <a:pt x="7220479" y="3441380"/>
                </a:lnTo>
                <a:lnTo>
                  <a:pt x="7217984" y="3444628"/>
                </a:lnTo>
                <a:lnTo>
                  <a:pt x="7216356" y="3441705"/>
                </a:lnTo>
                <a:close/>
                <a:moveTo>
                  <a:pt x="6910882" y="3434992"/>
                </a:moveTo>
                <a:lnTo>
                  <a:pt x="6913269" y="3438565"/>
                </a:lnTo>
                <a:lnTo>
                  <a:pt x="6913704" y="3443653"/>
                </a:lnTo>
                <a:lnTo>
                  <a:pt x="6911316" y="3442029"/>
                </a:lnTo>
                <a:close/>
                <a:moveTo>
                  <a:pt x="4458406" y="3433476"/>
                </a:moveTo>
                <a:lnTo>
                  <a:pt x="4458407" y="3433477"/>
                </a:lnTo>
                <a:lnTo>
                  <a:pt x="4461661" y="3437375"/>
                </a:lnTo>
                <a:lnTo>
                  <a:pt x="4464483" y="3439973"/>
                </a:lnTo>
                <a:lnTo>
                  <a:pt x="4466545" y="3442572"/>
                </a:lnTo>
                <a:lnTo>
                  <a:pt x="4469583" y="3444303"/>
                </a:lnTo>
                <a:lnTo>
                  <a:pt x="4469583" y="3444303"/>
                </a:lnTo>
                <a:lnTo>
                  <a:pt x="4466544" y="3442570"/>
                </a:lnTo>
                <a:lnTo>
                  <a:pt x="4464482" y="3439972"/>
                </a:lnTo>
                <a:lnTo>
                  <a:pt x="4461660" y="3437373"/>
                </a:lnTo>
                <a:close/>
                <a:moveTo>
                  <a:pt x="2313140" y="3425356"/>
                </a:moveTo>
                <a:lnTo>
                  <a:pt x="2319977" y="3441163"/>
                </a:lnTo>
                <a:lnTo>
                  <a:pt x="2319977" y="3441163"/>
                </a:lnTo>
                <a:close/>
                <a:moveTo>
                  <a:pt x="6914897" y="3424706"/>
                </a:moveTo>
                <a:lnTo>
                  <a:pt x="6918261" y="3428928"/>
                </a:lnTo>
                <a:lnTo>
                  <a:pt x="6914355" y="3429686"/>
                </a:lnTo>
                <a:lnTo>
                  <a:pt x="6912618" y="3427304"/>
                </a:lnTo>
                <a:cubicBezTo>
                  <a:pt x="6912401" y="3427412"/>
                  <a:pt x="6914897" y="3424706"/>
                  <a:pt x="6914897" y="3424706"/>
                </a:cubicBezTo>
                <a:close/>
                <a:moveTo>
                  <a:pt x="4679454" y="3424165"/>
                </a:moveTo>
                <a:lnTo>
                  <a:pt x="4677934" y="3426547"/>
                </a:lnTo>
                <a:lnTo>
                  <a:pt x="4677935" y="3426547"/>
                </a:lnTo>
                <a:close/>
                <a:moveTo>
                  <a:pt x="4789273" y="3423841"/>
                </a:moveTo>
                <a:lnTo>
                  <a:pt x="4786018" y="3426547"/>
                </a:lnTo>
                <a:lnTo>
                  <a:pt x="4783161" y="3427370"/>
                </a:lnTo>
                <a:lnTo>
                  <a:pt x="4786017" y="3426547"/>
                </a:lnTo>
                <a:close/>
                <a:moveTo>
                  <a:pt x="4643535" y="3413662"/>
                </a:moveTo>
                <a:lnTo>
                  <a:pt x="4638652" y="3415502"/>
                </a:lnTo>
                <a:lnTo>
                  <a:pt x="4635396" y="3417018"/>
                </a:lnTo>
                <a:lnTo>
                  <a:pt x="4631598" y="3418101"/>
                </a:lnTo>
                <a:lnTo>
                  <a:pt x="4624978" y="3421565"/>
                </a:lnTo>
                <a:lnTo>
                  <a:pt x="4623025" y="3425138"/>
                </a:lnTo>
                <a:lnTo>
                  <a:pt x="4623676" y="3427304"/>
                </a:lnTo>
                <a:lnTo>
                  <a:pt x="4622482" y="3429686"/>
                </a:lnTo>
                <a:lnTo>
                  <a:pt x="4623025" y="3431852"/>
                </a:lnTo>
                <a:lnTo>
                  <a:pt x="4622591" y="3433583"/>
                </a:lnTo>
                <a:lnTo>
                  <a:pt x="4620529" y="3435208"/>
                </a:lnTo>
                <a:lnTo>
                  <a:pt x="4612499" y="3438023"/>
                </a:lnTo>
                <a:lnTo>
                  <a:pt x="4598392" y="3447550"/>
                </a:lnTo>
                <a:lnTo>
                  <a:pt x="4587106" y="3461517"/>
                </a:lnTo>
                <a:lnTo>
                  <a:pt x="4580052" y="3471695"/>
                </a:lnTo>
                <a:lnTo>
                  <a:pt x="4573541" y="3473752"/>
                </a:lnTo>
                <a:lnTo>
                  <a:pt x="4569092" y="3472778"/>
                </a:lnTo>
                <a:lnTo>
                  <a:pt x="4567302" y="3471371"/>
                </a:lnTo>
                <a:lnTo>
                  <a:pt x="4569093" y="3472779"/>
                </a:lnTo>
                <a:lnTo>
                  <a:pt x="4573542" y="3473753"/>
                </a:lnTo>
                <a:lnTo>
                  <a:pt x="4580053" y="3471696"/>
                </a:lnTo>
                <a:lnTo>
                  <a:pt x="4587107" y="3461518"/>
                </a:lnTo>
                <a:lnTo>
                  <a:pt x="4598393" y="3447552"/>
                </a:lnTo>
                <a:lnTo>
                  <a:pt x="4612500" y="3438024"/>
                </a:lnTo>
                <a:lnTo>
                  <a:pt x="4620530" y="3435208"/>
                </a:lnTo>
                <a:lnTo>
                  <a:pt x="4622592" y="3433585"/>
                </a:lnTo>
                <a:lnTo>
                  <a:pt x="4623026" y="3431852"/>
                </a:lnTo>
                <a:lnTo>
                  <a:pt x="4622483" y="3429687"/>
                </a:lnTo>
                <a:lnTo>
                  <a:pt x="4623677" y="3427304"/>
                </a:lnTo>
                <a:lnTo>
                  <a:pt x="4623026" y="3425140"/>
                </a:lnTo>
                <a:lnTo>
                  <a:pt x="4624979" y="3421567"/>
                </a:lnTo>
                <a:lnTo>
                  <a:pt x="4631598" y="3418102"/>
                </a:lnTo>
                <a:lnTo>
                  <a:pt x="4635396" y="3417019"/>
                </a:lnTo>
                <a:lnTo>
                  <a:pt x="4638652" y="3415503"/>
                </a:lnTo>
                <a:lnTo>
                  <a:pt x="4643536" y="3413663"/>
                </a:lnTo>
                <a:lnTo>
                  <a:pt x="4650047" y="3413771"/>
                </a:lnTo>
                <a:lnTo>
                  <a:pt x="4650046" y="3413770"/>
                </a:lnTo>
                <a:close/>
                <a:moveTo>
                  <a:pt x="4661451" y="3412829"/>
                </a:moveTo>
                <a:lnTo>
                  <a:pt x="4661548" y="3415069"/>
                </a:lnTo>
                <a:lnTo>
                  <a:pt x="4660680" y="3415177"/>
                </a:lnTo>
                <a:lnTo>
                  <a:pt x="4658618" y="3415502"/>
                </a:lnTo>
                <a:lnTo>
                  <a:pt x="4653736" y="3414853"/>
                </a:lnTo>
                <a:lnTo>
                  <a:pt x="4651239" y="3415177"/>
                </a:lnTo>
                <a:lnTo>
                  <a:pt x="4650483" y="3414286"/>
                </a:lnTo>
                <a:lnTo>
                  <a:pt x="4651240" y="3415179"/>
                </a:lnTo>
                <a:lnTo>
                  <a:pt x="4653736" y="3414853"/>
                </a:lnTo>
                <a:lnTo>
                  <a:pt x="4658619" y="3415503"/>
                </a:lnTo>
                <a:lnTo>
                  <a:pt x="4660681" y="3415179"/>
                </a:lnTo>
                <a:lnTo>
                  <a:pt x="4661549" y="3415070"/>
                </a:lnTo>
                <a:close/>
                <a:moveTo>
                  <a:pt x="2313182" y="3411169"/>
                </a:moveTo>
                <a:lnTo>
                  <a:pt x="2313466" y="3412472"/>
                </a:lnTo>
                <a:lnTo>
                  <a:pt x="2313939" y="3413415"/>
                </a:lnTo>
                <a:lnTo>
                  <a:pt x="2313466" y="3412471"/>
                </a:lnTo>
                <a:close/>
                <a:moveTo>
                  <a:pt x="6932369" y="3405759"/>
                </a:moveTo>
                <a:lnTo>
                  <a:pt x="6934322" y="3406083"/>
                </a:lnTo>
                <a:lnTo>
                  <a:pt x="6933780" y="3408573"/>
                </a:lnTo>
                <a:lnTo>
                  <a:pt x="6930958" y="3408248"/>
                </a:lnTo>
                <a:close/>
                <a:moveTo>
                  <a:pt x="4791334" y="3402294"/>
                </a:moveTo>
                <a:lnTo>
                  <a:pt x="4788731" y="3402619"/>
                </a:lnTo>
                <a:lnTo>
                  <a:pt x="4788731" y="3402619"/>
                </a:lnTo>
                <a:lnTo>
                  <a:pt x="4791334" y="3402295"/>
                </a:lnTo>
                <a:close/>
                <a:moveTo>
                  <a:pt x="4761710" y="3397205"/>
                </a:moveTo>
                <a:lnTo>
                  <a:pt x="4761167" y="3402619"/>
                </a:lnTo>
                <a:lnTo>
                  <a:pt x="4756175" y="3408033"/>
                </a:lnTo>
                <a:lnTo>
                  <a:pt x="4754981" y="3413446"/>
                </a:lnTo>
                <a:lnTo>
                  <a:pt x="4751834" y="3417778"/>
                </a:lnTo>
                <a:lnTo>
                  <a:pt x="4752377" y="3421784"/>
                </a:lnTo>
                <a:lnTo>
                  <a:pt x="4754439" y="3427088"/>
                </a:lnTo>
                <a:lnTo>
                  <a:pt x="4754981" y="3430878"/>
                </a:lnTo>
                <a:lnTo>
                  <a:pt x="4759105" y="3435859"/>
                </a:lnTo>
                <a:lnTo>
                  <a:pt x="4763120" y="3439648"/>
                </a:lnTo>
                <a:lnTo>
                  <a:pt x="4766158" y="3441380"/>
                </a:lnTo>
                <a:lnTo>
                  <a:pt x="4768871" y="3443545"/>
                </a:lnTo>
                <a:lnTo>
                  <a:pt x="4772019" y="3447877"/>
                </a:lnTo>
                <a:lnTo>
                  <a:pt x="4770499" y="3450800"/>
                </a:lnTo>
                <a:lnTo>
                  <a:pt x="4771693" y="3454265"/>
                </a:lnTo>
                <a:lnTo>
                  <a:pt x="4776359" y="3453182"/>
                </a:lnTo>
                <a:lnTo>
                  <a:pt x="4776359" y="3453181"/>
                </a:lnTo>
                <a:lnTo>
                  <a:pt x="4771694" y="3454264"/>
                </a:lnTo>
                <a:lnTo>
                  <a:pt x="4770500" y="3450800"/>
                </a:lnTo>
                <a:lnTo>
                  <a:pt x="4772020" y="3447877"/>
                </a:lnTo>
                <a:lnTo>
                  <a:pt x="4768872" y="3443545"/>
                </a:lnTo>
                <a:lnTo>
                  <a:pt x="4766159" y="3441380"/>
                </a:lnTo>
                <a:lnTo>
                  <a:pt x="4763121" y="3439648"/>
                </a:lnTo>
                <a:lnTo>
                  <a:pt x="4759106" y="3435858"/>
                </a:lnTo>
                <a:lnTo>
                  <a:pt x="4754983" y="3430878"/>
                </a:lnTo>
                <a:lnTo>
                  <a:pt x="4754440" y="3427088"/>
                </a:lnTo>
                <a:lnTo>
                  <a:pt x="4752378" y="3421783"/>
                </a:lnTo>
                <a:lnTo>
                  <a:pt x="4751835" y="3417777"/>
                </a:lnTo>
                <a:lnTo>
                  <a:pt x="4754983" y="3413446"/>
                </a:lnTo>
                <a:lnTo>
                  <a:pt x="4756176" y="3408033"/>
                </a:lnTo>
                <a:lnTo>
                  <a:pt x="4761168" y="3402619"/>
                </a:lnTo>
                <a:close/>
                <a:moveTo>
                  <a:pt x="7214077" y="3388436"/>
                </a:moveTo>
                <a:lnTo>
                  <a:pt x="7214186" y="3392225"/>
                </a:lnTo>
                <a:lnTo>
                  <a:pt x="7218093" y="3391142"/>
                </a:lnTo>
                <a:lnTo>
                  <a:pt x="7218636" y="3392117"/>
                </a:lnTo>
                <a:lnTo>
                  <a:pt x="7214621" y="3395907"/>
                </a:lnTo>
                <a:lnTo>
                  <a:pt x="7215706" y="3397206"/>
                </a:lnTo>
                <a:lnTo>
                  <a:pt x="7217659" y="3396773"/>
                </a:lnTo>
                <a:lnTo>
                  <a:pt x="7219396" y="3397530"/>
                </a:lnTo>
                <a:lnTo>
                  <a:pt x="7217985" y="3401213"/>
                </a:lnTo>
                <a:lnTo>
                  <a:pt x="7211691" y="3400238"/>
                </a:lnTo>
                <a:lnTo>
                  <a:pt x="7207892" y="3401645"/>
                </a:lnTo>
                <a:lnTo>
                  <a:pt x="7206265" y="3401320"/>
                </a:lnTo>
                <a:lnTo>
                  <a:pt x="7208652" y="3399263"/>
                </a:lnTo>
                <a:lnTo>
                  <a:pt x="7207025" y="3393958"/>
                </a:lnTo>
                <a:lnTo>
                  <a:pt x="7207892" y="3392983"/>
                </a:lnTo>
                <a:lnTo>
                  <a:pt x="7206916" y="3391684"/>
                </a:lnTo>
                <a:lnTo>
                  <a:pt x="7210605" y="3391901"/>
                </a:lnTo>
                <a:lnTo>
                  <a:pt x="7211365" y="3389735"/>
                </a:lnTo>
                <a:close/>
                <a:moveTo>
                  <a:pt x="4743045" y="3387678"/>
                </a:moveTo>
                <a:lnTo>
                  <a:pt x="4742483" y="3388008"/>
                </a:lnTo>
                <a:lnTo>
                  <a:pt x="4743045" y="3387678"/>
                </a:lnTo>
                <a:lnTo>
                  <a:pt x="4745975" y="3387678"/>
                </a:lnTo>
                <a:lnTo>
                  <a:pt x="4745975" y="3387678"/>
                </a:lnTo>
                <a:close/>
                <a:moveTo>
                  <a:pt x="7202792" y="3387353"/>
                </a:moveTo>
                <a:lnTo>
                  <a:pt x="7205178" y="3390601"/>
                </a:lnTo>
                <a:lnTo>
                  <a:pt x="7202465" y="3393632"/>
                </a:lnTo>
                <a:lnTo>
                  <a:pt x="7201815" y="3391250"/>
                </a:lnTo>
                <a:lnTo>
                  <a:pt x="7200513" y="3392116"/>
                </a:lnTo>
                <a:lnTo>
                  <a:pt x="7200079" y="3389951"/>
                </a:lnTo>
                <a:close/>
                <a:moveTo>
                  <a:pt x="4753029" y="3385296"/>
                </a:moveTo>
                <a:lnTo>
                  <a:pt x="4748037" y="3385512"/>
                </a:lnTo>
                <a:lnTo>
                  <a:pt x="4748037" y="3385513"/>
                </a:lnTo>
                <a:lnTo>
                  <a:pt x="4753028" y="3385296"/>
                </a:lnTo>
                <a:lnTo>
                  <a:pt x="4759430" y="3386812"/>
                </a:lnTo>
                <a:lnTo>
                  <a:pt x="4761710" y="3390601"/>
                </a:lnTo>
                <a:lnTo>
                  <a:pt x="4761710" y="3390601"/>
                </a:lnTo>
                <a:lnTo>
                  <a:pt x="4759431" y="3386811"/>
                </a:lnTo>
                <a:close/>
                <a:moveTo>
                  <a:pt x="4643100" y="3357903"/>
                </a:moveTo>
                <a:lnTo>
                  <a:pt x="4643535" y="3359310"/>
                </a:lnTo>
                <a:lnTo>
                  <a:pt x="4643101" y="3357903"/>
                </a:lnTo>
                <a:close/>
                <a:moveTo>
                  <a:pt x="5096701" y="3356821"/>
                </a:moveTo>
                <a:lnTo>
                  <a:pt x="5097786" y="3358770"/>
                </a:lnTo>
                <a:lnTo>
                  <a:pt x="5096701" y="3360069"/>
                </a:lnTo>
                <a:lnTo>
                  <a:pt x="5096159" y="3358120"/>
                </a:lnTo>
                <a:close/>
                <a:moveTo>
                  <a:pt x="5089322" y="3355955"/>
                </a:moveTo>
                <a:lnTo>
                  <a:pt x="5090190" y="3356929"/>
                </a:lnTo>
                <a:lnTo>
                  <a:pt x="5092794" y="3358445"/>
                </a:lnTo>
                <a:lnTo>
                  <a:pt x="5091818" y="3362992"/>
                </a:lnTo>
                <a:lnTo>
                  <a:pt x="5089322" y="3360718"/>
                </a:lnTo>
                <a:lnTo>
                  <a:pt x="5086067" y="3360611"/>
                </a:lnTo>
                <a:lnTo>
                  <a:pt x="5088454" y="3356929"/>
                </a:lnTo>
                <a:close/>
                <a:moveTo>
                  <a:pt x="5100608" y="3344694"/>
                </a:moveTo>
                <a:lnTo>
                  <a:pt x="5100500" y="3346318"/>
                </a:lnTo>
                <a:lnTo>
                  <a:pt x="5097678" y="3350648"/>
                </a:lnTo>
                <a:lnTo>
                  <a:pt x="5096593" y="3348700"/>
                </a:lnTo>
                <a:close/>
                <a:moveTo>
                  <a:pt x="7186624" y="3343287"/>
                </a:moveTo>
                <a:lnTo>
                  <a:pt x="7186949" y="3344694"/>
                </a:lnTo>
                <a:lnTo>
                  <a:pt x="7182717" y="3346426"/>
                </a:lnTo>
                <a:lnTo>
                  <a:pt x="7180872" y="3345019"/>
                </a:lnTo>
                <a:close/>
                <a:moveTo>
                  <a:pt x="5017049" y="3342530"/>
                </a:moveTo>
                <a:lnTo>
                  <a:pt x="5019979" y="3346211"/>
                </a:lnTo>
                <a:lnTo>
                  <a:pt x="5015530" y="3353465"/>
                </a:lnTo>
                <a:lnTo>
                  <a:pt x="5014011" y="3351408"/>
                </a:lnTo>
                <a:lnTo>
                  <a:pt x="5014879" y="3347077"/>
                </a:lnTo>
                <a:lnTo>
                  <a:pt x="5014336" y="3343179"/>
                </a:lnTo>
                <a:close/>
                <a:moveTo>
                  <a:pt x="7196498" y="3337657"/>
                </a:moveTo>
                <a:lnTo>
                  <a:pt x="7195087" y="3340256"/>
                </a:lnTo>
                <a:lnTo>
                  <a:pt x="7190963" y="3340797"/>
                </a:lnTo>
                <a:lnTo>
                  <a:pt x="7188468" y="3343288"/>
                </a:lnTo>
                <a:lnTo>
                  <a:pt x="7188034" y="3340473"/>
                </a:lnTo>
                <a:lnTo>
                  <a:pt x="7192592" y="3337873"/>
                </a:lnTo>
                <a:close/>
                <a:moveTo>
                  <a:pt x="4639737" y="3335058"/>
                </a:moveTo>
                <a:lnTo>
                  <a:pt x="4641038" y="3337331"/>
                </a:lnTo>
                <a:lnTo>
                  <a:pt x="4639845" y="3337981"/>
                </a:lnTo>
                <a:lnTo>
                  <a:pt x="4630079" y="3337872"/>
                </a:lnTo>
                <a:lnTo>
                  <a:pt x="4629250" y="3336809"/>
                </a:lnTo>
                <a:lnTo>
                  <a:pt x="4630079" y="3337873"/>
                </a:lnTo>
                <a:lnTo>
                  <a:pt x="4639845" y="3337981"/>
                </a:lnTo>
                <a:lnTo>
                  <a:pt x="4641039" y="3337331"/>
                </a:lnTo>
                <a:close/>
                <a:moveTo>
                  <a:pt x="7197366" y="3334300"/>
                </a:moveTo>
                <a:lnTo>
                  <a:pt x="7197366" y="3336573"/>
                </a:lnTo>
                <a:lnTo>
                  <a:pt x="7194544" y="3336356"/>
                </a:lnTo>
                <a:close/>
                <a:moveTo>
                  <a:pt x="4976465" y="3333434"/>
                </a:moveTo>
                <a:lnTo>
                  <a:pt x="4979177" y="3333650"/>
                </a:lnTo>
                <a:lnTo>
                  <a:pt x="4981347" y="3336573"/>
                </a:lnTo>
                <a:lnTo>
                  <a:pt x="4977115" y="3336140"/>
                </a:lnTo>
                <a:lnTo>
                  <a:pt x="4975488" y="3334517"/>
                </a:lnTo>
                <a:close/>
                <a:moveTo>
                  <a:pt x="4597632" y="3333001"/>
                </a:moveTo>
                <a:lnTo>
                  <a:pt x="4606422" y="3335924"/>
                </a:lnTo>
                <a:lnTo>
                  <a:pt x="4611739" y="3339388"/>
                </a:lnTo>
                <a:lnTo>
                  <a:pt x="4606422" y="3335924"/>
                </a:lnTo>
                <a:close/>
                <a:moveTo>
                  <a:pt x="7203226" y="3331810"/>
                </a:moveTo>
                <a:lnTo>
                  <a:pt x="7206048" y="3331810"/>
                </a:lnTo>
                <a:lnTo>
                  <a:pt x="7204528" y="3333650"/>
                </a:lnTo>
                <a:close/>
                <a:moveTo>
                  <a:pt x="4644403" y="3331485"/>
                </a:moveTo>
                <a:lnTo>
                  <a:pt x="4639194" y="3332351"/>
                </a:lnTo>
                <a:lnTo>
                  <a:pt x="4644403" y="3331485"/>
                </a:lnTo>
                <a:lnTo>
                  <a:pt x="4647441" y="3332676"/>
                </a:lnTo>
                <a:close/>
                <a:moveTo>
                  <a:pt x="5001207" y="3329103"/>
                </a:moveTo>
                <a:lnTo>
                  <a:pt x="5003595" y="3333975"/>
                </a:lnTo>
                <a:lnTo>
                  <a:pt x="5001642" y="3336249"/>
                </a:lnTo>
                <a:lnTo>
                  <a:pt x="4998603" y="3333434"/>
                </a:lnTo>
                <a:lnTo>
                  <a:pt x="4995456" y="3331918"/>
                </a:lnTo>
                <a:lnTo>
                  <a:pt x="4999146" y="3331052"/>
                </a:lnTo>
                <a:close/>
                <a:moveTo>
                  <a:pt x="7209195" y="3328887"/>
                </a:moveTo>
                <a:lnTo>
                  <a:pt x="7209629" y="3331485"/>
                </a:lnTo>
                <a:lnTo>
                  <a:pt x="7206916" y="3330078"/>
                </a:lnTo>
                <a:close/>
                <a:moveTo>
                  <a:pt x="4622284" y="3326641"/>
                </a:moveTo>
                <a:lnTo>
                  <a:pt x="4626389" y="3331161"/>
                </a:lnTo>
                <a:lnTo>
                  <a:pt x="4626710" y="3332023"/>
                </a:lnTo>
                <a:lnTo>
                  <a:pt x="4626389" y="3331160"/>
                </a:lnTo>
                <a:close/>
                <a:moveTo>
                  <a:pt x="5116668" y="3326180"/>
                </a:moveTo>
                <a:lnTo>
                  <a:pt x="5118295" y="3330943"/>
                </a:lnTo>
                <a:lnTo>
                  <a:pt x="5115908" y="3335816"/>
                </a:lnTo>
                <a:lnTo>
                  <a:pt x="5120139" y="3337657"/>
                </a:lnTo>
                <a:lnTo>
                  <a:pt x="5120682" y="3342420"/>
                </a:lnTo>
                <a:lnTo>
                  <a:pt x="5124806" y="3347726"/>
                </a:lnTo>
                <a:lnTo>
                  <a:pt x="5126650" y="3346968"/>
                </a:lnTo>
                <a:lnTo>
                  <a:pt x="5128495" y="3350649"/>
                </a:lnTo>
                <a:lnTo>
                  <a:pt x="5128930" y="3361260"/>
                </a:lnTo>
                <a:lnTo>
                  <a:pt x="5132510" y="3365915"/>
                </a:lnTo>
                <a:lnTo>
                  <a:pt x="5131968" y="3378150"/>
                </a:lnTo>
                <a:lnTo>
                  <a:pt x="5130883" y="3380748"/>
                </a:lnTo>
                <a:lnTo>
                  <a:pt x="5132402" y="3387244"/>
                </a:lnTo>
                <a:lnTo>
                  <a:pt x="5132402" y="3392441"/>
                </a:lnTo>
                <a:lnTo>
                  <a:pt x="5131100" y="3394607"/>
                </a:lnTo>
                <a:lnTo>
                  <a:pt x="5132293" y="3398938"/>
                </a:lnTo>
                <a:lnTo>
                  <a:pt x="5136960" y="3405217"/>
                </a:lnTo>
                <a:lnTo>
                  <a:pt x="5137285" y="3410089"/>
                </a:lnTo>
                <a:lnTo>
                  <a:pt x="5135549" y="3411714"/>
                </a:lnTo>
                <a:lnTo>
                  <a:pt x="5135006" y="3415936"/>
                </a:lnTo>
                <a:lnTo>
                  <a:pt x="5133704" y="3417452"/>
                </a:lnTo>
                <a:lnTo>
                  <a:pt x="5133487" y="3421566"/>
                </a:lnTo>
                <a:lnTo>
                  <a:pt x="5131751" y="3424598"/>
                </a:lnTo>
                <a:lnTo>
                  <a:pt x="5128821" y="3423948"/>
                </a:lnTo>
                <a:lnTo>
                  <a:pt x="5124697" y="3418534"/>
                </a:lnTo>
                <a:lnTo>
                  <a:pt x="5123721" y="3413554"/>
                </a:lnTo>
                <a:lnTo>
                  <a:pt x="5121334" y="3411714"/>
                </a:lnTo>
                <a:lnTo>
                  <a:pt x="5118186" y="3413230"/>
                </a:lnTo>
                <a:lnTo>
                  <a:pt x="5118295" y="3418968"/>
                </a:lnTo>
                <a:lnTo>
                  <a:pt x="5120139" y="3420159"/>
                </a:lnTo>
                <a:lnTo>
                  <a:pt x="5120465" y="3426005"/>
                </a:lnTo>
                <a:lnTo>
                  <a:pt x="5118295" y="3430120"/>
                </a:lnTo>
                <a:lnTo>
                  <a:pt x="5120248" y="3431960"/>
                </a:lnTo>
                <a:lnTo>
                  <a:pt x="5121116" y="3437807"/>
                </a:lnTo>
                <a:lnTo>
                  <a:pt x="5117644" y="3441813"/>
                </a:lnTo>
                <a:lnTo>
                  <a:pt x="5118295" y="3445170"/>
                </a:lnTo>
                <a:lnTo>
                  <a:pt x="5113303" y="3451990"/>
                </a:lnTo>
                <a:lnTo>
                  <a:pt x="5112110" y="3457945"/>
                </a:lnTo>
                <a:lnTo>
                  <a:pt x="5114171" y="3461518"/>
                </a:lnTo>
                <a:lnTo>
                  <a:pt x="5112869" y="3468556"/>
                </a:lnTo>
                <a:lnTo>
                  <a:pt x="5110698" y="3471046"/>
                </a:lnTo>
                <a:lnTo>
                  <a:pt x="5108420" y="3480790"/>
                </a:lnTo>
                <a:lnTo>
                  <a:pt x="5105707" y="3494108"/>
                </a:lnTo>
                <a:lnTo>
                  <a:pt x="5100281" y="3502661"/>
                </a:lnTo>
                <a:lnTo>
                  <a:pt x="5099521" y="3506018"/>
                </a:lnTo>
                <a:lnTo>
                  <a:pt x="5094747" y="3514787"/>
                </a:lnTo>
                <a:lnTo>
                  <a:pt x="5094747" y="3523557"/>
                </a:lnTo>
                <a:lnTo>
                  <a:pt x="5090298" y="3530053"/>
                </a:lnTo>
                <a:lnTo>
                  <a:pt x="5084112" y="3549434"/>
                </a:lnTo>
                <a:lnTo>
                  <a:pt x="5077601" y="3560911"/>
                </a:lnTo>
                <a:lnTo>
                  <a:pt x="5075539" y="3570547"/>
                </a:lnTo>
                <a:lnTo>
                  <a:pt x="5071850" y="3574228"/>
                </a:lnTo>
                <a:lnTo>
                  <a:pt x="5069354" y="3582998"/>
                </a:lnTo>
                <a:lnTo>
                  <a:pt x="5065990" y="3599022"/>
                </a:lnTo>
                <a:lnTo>
                  <a:pt x="5061541" y="3606060"/>
                </a:lnTo>
                <a:lnTo>
                  <a:pt x="5059804" y="3606060"/>
                </a:lnTo>
                <a:lnTo>
                  <a:pt x="5060347" y="3607359"/>
                </a:lnTo>
                <a:lnTo>
                  <a:pt x="5058286" y="3615262"/>
                </a:lnTo>
                <a:lnTo>
                  <a:pt x="5054921" y="3617753"/>
                </a:lnTo>
                <a:lnTo>
                  <a:pt x="5056115" y="3618727"/>
                </a:lnTo>
                <a:lnTo>
                  <a:pt x="5056549" y="3625981"/>
                </a:lnTo>
                <a:lnTo>
                  <a:pt x="5051775" y="3628905"/>
                </a:lnTo>
                <a:lnTo>
                  <a:pt x="5051557" y="3633127"/>
                </a:lnTo>
                <a:lnTo>
                  <a:pt x="5047759" y="3639299"/>
                </a:lnTo>
                <a:lnTo>
                  <a:pt x="5045263" y="3646769"/>
                </a:lnTo>
                <a:lnTo>
                  <a:pt x="5041465" y="3647311"/>
                </a:lnTo>
                <a:lnTo>
                  <a:pt x="5039295" y="3651533"/>
                </a:lnTo>
                <a:lnTo>
                  <a:pt x="5031482" y="3654565"/>
                </a:lnTo>
                <a:lnTo>
                  <a:pt x="5026816" y="3653482"/>
                </a:lnTo>
                <a:lnTo>
                  <a:pt x="5011949" y="3654890"/>
                </a:lnTo>
                <a:lnTo>
                  <a:pt x="5007283" y="3660303"/>
                </a:lnTo>
                <a:lnTo>
                  <a:pt x="5001640" y="3663660"/>
                </a:lnTo>
                <a:lnTo>
                  <a:pt x="4996540" y="3663227"/>
                </a:lnTo>
                <a:lnTo>
                  <a:pt x="4993501" y="3665175"/>
                </a:lnTo>
                <a:lnTo>
                  <a:pt x="4992199" y="3664092"/>
                </a:lnTo>
                <a:lnTo>
                  <a:pt x="4992199" y="3661927"/>
                </a:lnTo>
                <a:lnTo>
                  <a:pt x="4989160" y="3661278"/>
                </a:lnTo>
                <a:lnTo>
                  <a:pt x="4985146" y="3655972"/>
                </a:lnTo>
                <a:lnTo>
                  <a:pt x="4981347" y="3655106"/>
                </a:lnTo>
                <a:lnTo>
                  <a:pt x="4980154" y="3653482"/>
                </a:lnTo>
                <a:lnTo>
                  <a:pt x="4976789" y="3654673"/>
                </a:lnTo>
                <a:lnTo>
                  <a:pt x="4973643" y="3650992"/>
                </a:lnTo>
                <a:lnTo>
                  <a:pt x="4971581" y="3647744"/>
                </a:lnTo>
                <a:lnTo>
                  <a:pt x="4968977" y="3646336"/>
                </a:lnTo>
                <a:lnTo>
                  <a:pt x="4965829" y="3641464"/>
                </a:lnTo>
                <a:lnTo>
                  <a:pt x="4963117" y="3639840"/>
                </a:lnTo>
                <a:lnTo>
                  <a:pt x="4962791" y="3636592"/>
                </a:lnTo>
                <a:lnTo>
                  <a:pt x="4961163" y="3634535"/>
                </a:lnTo>
                <a:lnTo>
                  <a:pt x="4961814" y="3624574"/>
                </a:lnTo>
                <a:lnTo>
                  <a:pt x="4961163" y="3616778"/>
                </a:lnTo>
                <a:lnTo>
                  <a:pt x="4960837" y="3611797"/>
                </a:lnTo>
                <a:lnTo>
                  <a:pt x="4965612" y="3610715"/>
                </a:lnTo>
                <a:lnTo>
                  <a:pt x="4967132" y="3609199"/>
                </a:lnTo>
                <a:lnTo>
                  <a:pt x="4965504" y="3609633"/>
                </a:lnTo>
                <a:lnTo>
                  <a:pt x="4962465" y="3607792"/>
                </a:lnTo>
                <a:lnTo>
                  <a:pt x="4961381" y="3604436"/>
                </a:lnTo>
                <a:lnTo>
                  <a:pt x="4962357" y="3598914"/>
                </a:lnTo>
                <a:lnTo>
                  <a:pt x="4956171" y="3591552"/>
                </a:lnTo>
                <a:lnTo>
                  <a:pt x="4955955" y="3583972"/>
                </a:lnTo>
                <a:lnTo>
                  <a:pt x="4954761" y="3581049"/>
                </a:lnTo>
                <a:lnTo>
                  <a:pt x="4956388" y="3577259"/>
                </a:lnTo>
                <a:lnTo>
                  <a:pt x="4955846" y="3570980"/>
                </a:lnTo>
                <a:lnTo>
                  <a:pt x="4961055" y="3565458"/>
                </a:lnTo>
                <a:lnTo>
                  <a:pt x="4960512" y="3557771"/>
                </a:lnTo>
                <a:lnTo>
                  <a:pt x="4962249" y="3555497"/>
                </a:lnTo>
                <a:lnTo>
                  <a:pt x="4969194" y="3553873"/>
                </a:lnTo>
                <a:lnTo>
                  <a:pt x="4972015" y="3550625"/>
                </a:lnTo>
                <a:lnTo>
                  <a:pt x="4972449" y="3541747"/>
                </a:lnTo>
                <a:lnTo>
                  <a:pt x="4976789" y="3538282"/>
                </a:lnTo>
                <a:lnTo>
                  <a:pt x="4978201" y="3534168"/>
                </a:lnTo>
                <a:lnTo>
                  <a:pt x="4981022" y="3533626"/>
                </a:lnTo>
                <a:lnTo>
                  <a:pt x="4982324" y="3527455"/>
                </a:lnTo>
                <a:lnTo>
                  <a:pt x="4987099" y="3524423"/>
                </a:lnTo>
                <a:lnTo>
                  <a:pt x="4989377" y="3513380"/>
                </a:lnTo>
                <a:lnTo>
                  <a:pt x="4988292" y="3510132"/>
                </a:lnTo>
                <a:lnTo>
                  <a:pt x="4991548" y="3506884"/>
                </a:lnTo>
                <a:lnTo>
                  <a:pt x="4991440" y="3504826"/>
                </a:lnTo>
                <a:lnTo>
                  <a:pt x="4987315" y="3500171"/>
                </a:lnTo>
                <a:lnTo>
                  <a:pt x="4987750" y="3496706"/>
                </a:lnTo>
                <a:lnTo>
                  <a:pt x="4981130" y="3484039"/>
                </a:lnTo>
                <a:lnTo>
                  <a:pt x="4981456" y="3478192"/>
                </a:lnTo>
                <a:lnTo>
                  <a:pt x="4979177" y="3471262"/>
                </a:lnTo>
                <a:lnTo>
                  <a:pt x="4982324" y="3466823"/>
                </a:lnTo>
                <a:lnTo>
                  <a:pt x="4978634" y="3463792"/>
                </a:lnTo>
                <a:lnTo>
                  <a:pt x="4978634" y="3460111"/>
                </a:lnTo>
                <a:lnTo>
                  <a:pt x="4985362" y="3453073"/>
                </a:lnTo>
                <a:lnTo>
                  <a:pt x="4985146" y="3451016"/>
                </a:lnTo>
                <a:lnTo>
                  <a:pt x="4992199" y="3439972"/>
                </a:lnTo>
                <a:lnTo>
                  <a:pt x="4991331" y="3432610"/>
                </a:lnTo>
                <a:lnTo>
                  <a:pt x="4993501" y="3429254"/>
                </a:lnTo>
                <a:lnTo>
                  <a:pt x="4998384" y="3429362"/>
                </a:lnTo>
                <a:lnTo>
                  <a:pt x="5000229" y="3431203"/>
                </a:lnTo>
                <a:lnTo>
                  <a:pt x="5002725" y="3430878"/>
                </a:lnTo>
                <a:lnTo>
                  <a:pt x="5012275" y="3422216"/>
                </a:lnTo>
                <a:lnTo>
                  <a:pt x="5014661" y="3426005"/>
                </a:lnTo>
                <a:lnTo>
                  <a:pt x="5017266" y="3422216"/>
                </a:lnTo>
                <a:lnTo>
                  <a:pt x="5019654" y="3423407"/>
                </a:lnTo>
                <a:lnTo>
                  <a:pt x="5019762" y="3426980"/>
                </a:lnTo>
                <a:lnTo>
                  <a:pt x="5021390" y="3426438"/>
                </a:lnTo>
                <a:lnTo>
                  <a:pt x="5023234" y="3426872"/>
                </a:lnTo>
                <a:lnTo>
                  <a:pt x="5022475" y="3420050"/>
                </a:lnTo>
                <a:lnTo>
                  <a:pt x="5024645" y="3419834"/>
                </a:lnTo>
                <a:lnTo>
                  <a:pt x="5025839" y="3417993"/>
                </a:lnTo>
                <a:lnTo>
                  <a:pt x="5032024" y="3422324"/>
                </a:lnTo>
                <a:lnTo>
                  <a:pt x="5037559" y="3416477"/>
                </a:lnTo>
                <a:lnTo>
                  <a:pt x="5039837" y="3416802"/>
                </a:lnTo>
                <a:lnTo>
                  <a:pt x="5039729" y="3422974"/>
                </a:lnTo>
                <a:lnTo>
                  <a:pt x="5041791" y="3424706"/>
                </a:lnTo>
                <a:lnTo>
                  <a:pt x="5044721" y="3425681"/>
                </a:lnTo>
                <a:lnTo>
                  <a:pt x="5046023" y="3422758"/>
                </a:lnTo>
                <a:lnTo>
                  <a:pt x="5044938" y="3420050"/>
                </a:lnTo>
                <a:lnTo>
                  <a:pt x="5046349" y="3413121"/>
                </a:lnTo>
                <a:lnTo>
                  <a:pt x="5055138" y="3405759"/>
                </a:lnTo>
                <a:lnTo>
                  <a:pt x="5057200" y="3407275"/>
                </a:lnTo>
                <a:lnTo>
                  <a:pt x="5054921" y="3411064"/>
                </a:lnTo>
                <a:lnTo>
                  <a:pt x="5057200" y="3411497"/>
                </a:lnTo>
                <a:lnTo>
                  <a:pt x="5057742" y="3414528"/>
                </a:lnTo>
                <a:lnTo>
                  <a:pt x="5061541" y="3411930"/>
                </a:lnTo>
                <a:lnTo>
                  <a:pt x="5064579" y="3411172"/>
                </a:lnTo>
                <a:lnTo>
                  <a:pt x="5064797" y="3408791"/>
                </a:lnTo>
                <a:lnTo>
                  <a:pt x="5061649" y="3407816"/>
                </a:lnTo>
                <a:lnTo>
                  <a:pt x="5059479" y="3403269"/>
                </a:lnTo>
                <a:lnTo>
                  <a:pt x="5065122" y="3400020"/>
                </a:lnTo>
                <a:lnTo>
                  <a:pt x="5066099" y="3397963"/>
                </a:lnTo>
                <a:lnTo>
                  <a:pt x="5063277" y="3396448"/>
                </a:lnTo>
                <a:lnTo>
                  <a:pt x="5067727" y="3392225"/>
                </a:lnTo>
                <a:lnTo>
                  <a:pt x="5069463" y="3395040"/>
                </a:lnTo>
                <a:lnTo>
                  <a:pt x="5068377" y="3396556"/>
                </a:lnTo>
                <a:lnTo>
                  <a:pt x="5068377" y="3401753"/>
                </a:lnTo>
                <a:lnTo>
                  <a:pt x="5074997" y="3396231"/>
                </a:lnTo>
                <a:lnTo>
                  <a:pt x="5075865" y="3393416"/>
                </a:lnTo>
                <a:lnTo>
                  <a:pt x="5079446" y="3392009"/>
                </a:lnTo>
                <a:lnTo>
                  <a:pt x="5081725" y="3394607"/>
                </a:lnTo>
                <a:lnTo>
                  <a:pt x="5083787" y="3392116"/>
                </a:lnTo>
                <a:lnTo>
                  <a:pt x="5083136" y="3389302"/>
                </a:lnTo>
                <a:lnTo>
                  <a:pt x="5078469" y="3387895"/>
                </a:lnTo>
                <a:lnTo>
                  <a:pt x="5077276" y="3383347"/>
                </a:lnTo>
                <a:lnTo>
                  <a:pt x="5082593" y="3382372"/>
                </a:lnTo>
                <a:lnTo>
                  <a:pt x="5084980" y="3383022"/>
                </a:lnTo>
                <a:lnTo>
                  <a:pt x="5086825" y="3381398"/>
                </a:lnTo>
                <a:lnTo>
                  <a:pt x="5085632" y="3379232"/>
                </a:lnTo>
                <a:lnTo>
                  <a:pt x="5080857" y="3374469"/>
                </a:lnTo>
                <a:lnTo>
                  <a:pt x="5081291" y="3368838"/>
                </a:lnTo>
                <a:lnTo>
                  <a:pt x="5084438" y="3365915"/>
                </a:lnTo>
                <a:lnTo>
                  <a:pt x="5086608" y="3366998"/>
                </a:lnTo>
                <a:lnTo>
                  <a:pt x="5087042" y="3372087"/>
                </a:lnTo>
                <a:lnTo>
                  <a:pt x="5089646" y="3373711"/>
                </a:lnTo>
                <a:lnTo>
                  <a:pt x="5092685" y="3371437"/>
                </a:lnTo>
                <a:lnTo>
                  <a:pt x="5093228" y="3367431"/>
                </a:lnTo>
                <a:lnTo>
                  <a:pt x="5097243" y="3362992"/>
                </a:lnTo>
                <a:lnTo>
                  <a:pt x="5100389" y="3364075"/>
                </a:lnTo>
                <a:lnTo>
                  <a:pt x="5103320" y="3359419"/>
                </a:lnTo>
                <a:lnTo>
                  <a:pt x="5103320" y="3352273"/>
                </a:lnTo>
                <a:lnTo>
                  <a:pt x="5108094" y="3347834"/>
                </a:lnTo>
                <a:lnTo>
                  <a:pt x="5108094" y="3346426"/>
                </a:lnTo>
                <a:lnTo>
                  <a:pt x="5105164" y="3343503"/>
                </a:lnTo>
                <a:lnTo>
                  <a:pt x="5105164" y="3340363"/>
                </a:lnTo>
                <a:lnTo>
                  <a:pt x="5101257" y="3335167"/>
                </a:lnTo>
                <a:lnTo>
                  <a:pt x="5103862" y="3335058"/>
                </a:lnTo>
                <a:lnTo>
                  <a:pt x="5107877" y="3337765"/>
                </a:lnTo>
                <a:lnTo>
                  <a:pt x="5112110" y="3334949"/>
                </a:lnTo>
                <a:lnTo>
                  <a:pt x="5110590" y="3331810"/>
                </a:lnTo>
                <a:close/>
                <a:moveTo>
                  <a:pt x="7620038" y="3326072"/>
                </a:moveTo>
                <a:lnTo>
                  <a:pt x="7625030" y="3329753"/>
                </a:lnTo>
                <a:lnTo>
                  <a:pt x="7629046" y="3329536"/>
                </a:lnTo>
                <a:lnTo>
                  <a:pt x="7630130" y="3332243"/>
                </a:lnTo>
                <a:lnTo>
                  <a:pt x="7628610" y="3333326"/>
                </a:lnTo>
                <a:lnTo>
                  <a:pt x="7625789" y="3332027"/>
                </a:lnTo>
                <a:lnTo>
                  <a:pt x="7622751" y="3332135"/>
                </a:lnTo>
                <a:lnTo>
                  <a:pt x="7617108" y="3326180"/>
                </a:lnTo>
                <a:close/>
                <a:moveTo>
                  <a:pt x="4760073" y="3325973"/>
                </a:moveTo>
                <a:lnTo>
                  <a:pt x="4757398" y="3335709"/>
                </a:lnTo>
                <a:lnTo>
                  <a:pt x="4757396" y="3335718"/>
                </a:lnTo>
                <a:close/>
                <a:moveTo>
                  <a:pt x="7065410" y="3324447"/>
                </a:moveTo>
                <a:lnTo>
                  <a:pt x="7067363" y="3333000"/>
                </a:lnTo>
                <a:lnTo>
                  <a:pt x="7071378" y="3334408"/>
                </a:lnTo>
                <a:lnTo>
                  <a:pt x="7072029" y="3335815"/>
                </a:lnTo>
                <a:lnTo>
                  <a:pt x="7066495" y="3334624"/>
                </a:lnTo>
                <a:lnTo>
                  <a:pt x="7064542" y="3334732"/>
                </a:lnTo>
                <a:lnTo>
                  <a:pt x="7059550" y="3333434"/>
                </a:lnTo>
                <a:lnTo>
                  <a:pt x="7059767" y="3330835"/>
                </a:lnTo>
                <a:lnTo>
                  <a:pt x="7061287" y="3330618"/>
                </a:lnTo>
                <a:lnTo>
                  <a:pt x="7063565" y="3331268"/>
                </a:lnTo>
                <a:lnTo>
                  <a:pt x="7063565" y="3329969"/>
                </a:lnTo>
                <a:lnTo>
                  <a:pt x="7062480" y="3329428"/>
                </a:lnTo>
                <a:lnTo>
                  <a:pt x="7062697" y="3326829"/>
                </a:lnTo>
                <a:lnTo>
                  <a:pt x="7062046" y="3326071"/>
                </a:lnTo>
                <a:close/>
                <a:moveTo>
                  <a:pt x="7640005" y="3323040"/>
                </a:moveTo>
                <a:lnTo>
                  <a:pt x="7644130" y="3324014"/>
                </a:lnTo>
                <a:lnTo>
                  <a:pt x="7643370" y="3326828"/>
                </a:lnTo>
                <a:lnTo>
                  <a:pt x="7639572" y="3327478"/>
                </a:lnTo>
                <a:lnTo>
                  <a:pt x="7637185" y="3326937"/>
                </a:lnTo>
                <a:lnTo>
                  <a:pt x="7637076" y="3325638"/>
                </a:lnTo>
                <a:close/>
                <a:moveTo>
                  <a:pt x="7066278" y="3321741"/>
                </a:moveTo>
                <a:lnTo>
                  <a:pt x="7067689" y="3321741"/>
                </a:lnTo>
                <a:lnTo>
                  <a:pt x="7070619" y="3324772"/>
                </a:lnTo>
                <a:lnTo>
                  <a:pt x="7073440" y="3325206"/>
                </a:lnTo>
                <a:lnTo>
                  <a:pt x="7074091" y="3326722"/>
                </a:lnTo>
                <a:lnTo>
                  <a:pt x="7076913" y="3328237"/>
                </a:lnTo>
                <a:lnTo>
                  <a:pt x="7079626" y="3324881"/>
                </a:lnTo>
                <a:lnTo>
                  <a:pt x="7086028" y="3324772"/>
                </a:lnTo>
                <a:lnTo>
                  <a:pt x="7088958" y="3323365"/>
                </a:lnTo>
                <a:lnTo>
                  <a:pt x="7091020" y="3323365"/>
                </a:lnTo>
                <a:lnTo>
                  <a:pt x="7092431" y="3326397"/>
                </a:lnTo>
                <a:lnTo>
                  <a:pt x="7094384" y="3328020"/>
                </a:lnTo>
                <a:lnTo>
                  <a:pt x="7092105" y="3329861"/>
                </a:lnTo>
                <a:lnTo>
                  <a:pt x="7091780" y="3332351"/>
                </a:lnTo>
                <a:lnTo>
                  <a:pt x="7089718" y="3332026"/>
                </a:lnTo>
                <a:lnTo>
                  <a:pt x="7081579" y="3340580"/>
                </a:lnTo>
                <a:lnTo>
                  <a:pt x="7074959" y="3337873"/>
                </a:lnTo>
                <a:lnTo>
                  <a:pt x="7071596" y="3333434"/>
                </a:lnTo>
                <a:lnTo>
                  <a:pt x="7067689" y="3328887"/>
                </a:lnTo>
                <a:lnTo>
                  <a:pt x="7067038" y="3323257"/>
                </a:lnTo>
                <a:close/>
                <a:moveTo>
                  <a:pt x="4806310" y="3318710"/>
                </a:moveTo>
                <a:lnTo>
                  <a:pt x="4805659" y="3320767"/>
                </a:lnTo>
                <a:lnTo>
                  <a:pt x="4805659" y="3320767"/>
                </a:lnTo>
                <a:close/>
                <a:moveTo>
                  <a:pt x="7218311" y="3317843"/>
                </a:moveTo>
                <a:lnTo>
                  <a:pt x="7220155" y="3320116"/>
                </a:lnTo>
                <a:lnTo>
                  <a:pt x="7216031" y="3323906"/>
                </a:lnTo>
                <a:lnTo>
                  <a:pt x="7215163" y="3327587"/>
                </a:lnTo>
                <a:lnTo>
                  <a:pt x="7212016" y="3326071"/>
                </a:lnTo>
                <a:lnTo>
                  <a:pt x="7213427" y="3323148"/>
                </a:lnTo>
                <a:close/>
                <a:moveTo>
                  <a:pt x="7121839" y="3316977"/>
                </a:moveTo>
                <a:lnTo>
                  <a:pt x="7120428" y="3321308"/>
                </a:lnTo>
                <a:lnTo>
                  <a:pt x="7120103" y="3325747"/>
                </a:lnTo>
                <a:lnTo>
                  <a:pt x="7117390" y="3320983"/>
                </a:lnTo>
                <a:lnTo>
                  <a:pt x="7118258" y="3317627"/>
                </a:lnTo>
                <a:close/>
                <a:moveTo>
                  <a:pt x="4584538" y="3316038"/>
                </a:moveTo>
                <a:lnTo>
                  <a:pt x="4583525" y="3316543"/>
                </a:lnTo>
                <a:lnTo>
                  <a:pt x="4580487" y="3317085"/>
                </a:lnTo>
                <a:lnTo>
                  <a:pt x="4583525" y="3316544"/>
                </a:lnTo>
                <a:close/>
                <a:moveTo>
                  <a:pt x="4587195" y="3315960"/>
                </a:moveTo>
                <a:lnTo>
                  <a:pt x="4587648" y="3316111"/>
                </a:lnTo>
                <a:lnTo>
                  <a:pt x="4587648" y="3322931"/>
                </a:lnTo>
                <a:lnTo>
                  <a:pt x="4591229" y="3327154"/>
                </a:lnTo>
                <a:lnTo>
                  <a:pt x="4587649" y="3322931"/>
                </a:lnTo>
                <a:lnTo>
                  <a:pt x="4587649" y="3316111"/>
                </a:lnTo>
                <a:close/>
                <a:moveTo>
                  <a:pt x="4825083" y="3314163"/>
                </a:moveTo>
                <a:lnTo>
                  <a:pt x="4825409" y="3315678"/>
                </a:lnTo>
                <a:lnTo>
                  <a:pt x="4825409" y="3315678"/>
                </a:lnTo>
                <a:lnTo>
                  <a:pt x="4825084" y="3314163"/>
                </a:lnTo>
                <a:close/>
                <a:moveTo>
                  <a:pt x="7358839" y="3313838"/>
                </a:moveTo>
                <a:lnTo>
                  <a:pt x="7358622" y="3316977"/>
                </a:lnTo>
                <a:lnTo>
                  <a:pt x="7363722" y="3318060"/>
                </a:lnTo>
                <a:lnTo>
                  <a:pt x="7365132" y="3324665"/>
                </a:lnTo>
                <a:lnTo>
                  <a:pt x="7366544" y="3327263"/>
                </a:lnTo>
                <a:lnTo>
                  <a:pt x="7364807" y="3338632"/>
                </a:lnTo>
                <a:lnTo>
                  <a:pt x="7367845" y="3341446"/>
                </a:lnTo>
                <a:lnTo>
                  <a:pt x="7371861" y="3340580"/>
                </a:lnTo>
                <a:lnTo>
                  <a:pt x="7375116" y="3342313"/>
                </a:lnTo>
                <a:lnTo>
                  <a:pt x="7372186" y="3345236"/>
                </a:lnTo>
                <a:lnTo>
                  <a:pt x="7371970" y="3351191"/>
                </a:lnTo>
                <a:lnTo>
                  <a:pt x="7374574" y="3352815"/>
                </a:lnTo>
                <a:lnTo>
                  <a:pt x="7374682" y="3357038"/>
                </a:lnTo>
                <a:lnTo>
                  <a:pt x="7378372" y="3361910"/>
                </a:lnTo>
                <a:lnTo>
                  <a:pt x="7376201" y="3366024"/>
                </a:lnTo>
                <a:lnTo>
                  <a:pt x="7377938" y="3370355"/>
                </a:lnTo>
                <a:lnTo>
                  <a:pt x="7379999" y="3369380"/>
                </a:lnTo>
                <a:lnTo>
                  <a:pt x="7381084" y="3380099"/>
                </a:lnTo>
                <a:lnTo>
                  <a:pt x="7379240" y="3388869"/>
                </a:lnTo>
                <a:lnTo>
                  <a:pt x="7382278" y="3395582"/>
                </a:lnTo>
                <a:lnTo>
                  <a:pt x="7381735" y="3399588"/>
                </a:lnTo>
                <a:lnTo>
                  <a:pt x="7386618" y="3406951"/>
                </a:lnTo>
                <a:lnTo>
                  <a:pt x="7390634" y="3406733"/>
                </a:lnTo>
                <a:lnTo>
                  <a:pt x="7393347" y="3401537"/>
                </a:lnTo>
                <a:lnTo>
                  <a:pt x="7395735" y="3403161"/>
                </a:lnTo>
                <a:lnTo>
                  <a:pt x="7400617" y="3399913"/>
                </a:lnTo>
                <a:lnTo>
                  <a:pt x="7406043" y="3405326"/>
                </a:lnTo>
                <a:lnTo>
                  <a:pt x="7404524" y="3407492"/>
                </a:lnTo>
                <a:lnTo>
                  <a:pt x="7409624" y="3410523"/>
                </a:lnTo>
                <a:lnTo>
                  <a:pt x="7417981" y="3418535"/>
                </a:lnTo>
                <a:lnTo>
                  <a:pt x="7417438" y="3422000"/>
                </a:lnTo>
                <a:lnTo>
                  <a:pt x="7415810" y="3423408"/>
                </a:lnTo>
                <a:lnTo>
                  <a:pt x="7417004" y="3428063"/>
                </a:lnTo>
                <a:lnTo>
                  <a:pt x="7415810" y="3432069"/>
                </a:lnTo>
                <a:lnTo>
                  <a:pt x="7416895" y="3446902"/>
                </a:lnTo>
                <a:lnTo>
                  <a:pt x="7419065" y="3449501"/>
                </a:lnTo>
                <a:lnTo>
                  <a:pt x="7418848" y="3452099"/>
                </a:lnTo>
                <a:lnTo>
                  <a:pt x="7417004" y="3453507"/>
                </a:lnTo>
                <a:lnTo>
                  <a:pt x="7417221" y="3465200"/>
                </a:lnTo>
                <a:lnTo>
                  <a:pt x="7421778" y="3474620"/>
                </a:lnTo>
                <a:lnTo>
                  <a:pt x="7425360" y="3474620"/>
                </a:lnTo>
                <a:lnTo>
                  <a:pt x="7428397" y="3477543"/>
                </a:lnTo>
                <a:lnTo>
                  <a:pt x="7425902" y="3478842"/>
                </a:lnTo>
                <a:lnTo>
                  <a:pt x="7428832" y="3484581"/>
                </a:lnTo>
                <a:lnTo>
                  <a:pt x="7431545" y="3497140"/>
                </a:lnTo>
                <a:lnTo>
                  <a:pt x="7429483" y="3506776"/>
                </a:lnTo>
                <a:lnTo>
                  <a:pt x="7427204" y="3507642"/>
                </a:lnTo>
                <a:lnTo>
                  <a:pt x="7426986" y="3512190"/>
                </a:lnTo>
                <a:lnTo>
                  <a:pt x="7429917" y="3517819"/>
                </a:lnTo>
                <a:lnTo>
                  <a:pt x="7430785" y="3526373"/>
                </a:lnTo>
                <a:lnTo>
                  <a:pt x="7435125" y="3535035"/>
                </a:lnTo>
                <a:lnTo>
                  <a:pt x="7445110" y="3540664"/>
                </a:lnTo>
                <a:lnTo>
                  <a:pt x="7447388" y="3540664"/>
                </a:lnTo>
                <a:lnTo>
                  <a:pt x="7448690" y="3543588"/>
                </a:lnTo>
                <a:lnTo>
                  <a:pt x="7452814" y="3543913"/>
                </a:lnTo>
                <a:lnTo>
                  <a:pt x="7458240" y="3543372"/>
                </a:lnTo>
                <a:lnTo>
                  <a:pt x="7459759" y="3546078"/>
                </a:lnTo>
                <a:lnTo>
                  <a:pt x="7459325" y="3549543"/>
                </a:lnTo>
                <a:lnTo>
                  <a:pt x="7454659" y="3550734"/>
                </a:lnTo>
                <a:lnTo>
                  <a:pt x="7451946" y="3555065"/>
                </a:lnTo>
                <a:lnTo>
                  <a:pt x="7455201" y="3552033"/>
                </a:lnTo>
                <a:lnTo>
                  <a:pt x="7460410" y="3553874"/>
                </a:lnTo>
                <a:lnTo>
                  <a:pt x="7462472" y="3556580"/>
                </a:lnTo>
                <a:lnTo>
                  <a:pt x="7464968" y="3553874"/>
                </a:lnTo>
                <a:lnTo>
                  <a:pt x="7469308" y="3557663"/>
                </a:lnTo>
                <a:lnTo>
                  <a:pt x="7472889" y="3557771"/>
                </a:lnTo>
                <a:lnTo>
                  <a:pt x="7477664" y="3564484"/>
                </a:lnTo>
                <a:lnTo>
                  <a:pt x="7481788" y="3565025"/>
                </a:lnTo>
                <a:lnTo>
                  <a:pt x="7483742" y="3563943"/>
                </a:lnTo>
                <a:lnTo>
                  <a:pt x="7487539" y="3570764"/>
                </a:lnTo>
                <a:lnTo>
                  <a:pt x="7487539" y="3575527"/>
                </a:lnTo>
                <a:lnTo>
                  <a:pt x="7483199" y="3574445"/>
                </a:lnTo>
                <a:lnTo>
                  <a:pt x="7483633" y="3579967"/>
                </a:lnTo>
                <a:lnTo>
                  <a:pt x="7485803" y="3584731"/>
                </a:lnTo>
                <a:lnTo>
                  <a:pt x="7493507" y="3591335"/>
                </a:lnTo>
                <a:lnTo>
                  <a:pt x="7492422" y="3595558"/>
                </a:lnTo>
                <a:lnTo>
                  <a:pt x="7495895" y="3598265"/>
                </a:lnTo>
                <a:lnTo>
                  <a:pt x="7494051" y="3602163"/>
                </a:lnTo>
                <a:lnTo>
                  <a:pt x="7498608" y="3605086"/>
                </a:lnTo>
                <a:lnTo>
                  <a:pt x="7498608" y="3608333"/>
                </a:lnTo>
                <a:lnTo>
                  <a:pt x="7497197" y="3609741"/>
                </a:lnTo>
                <a:lnTo>
                  <a:pt x="7498066" y="3623167"/>
                </a:lnTo>
                <a:lnTo>
                  <a:pt x="7500019" y="3626956"/>
                </a:lnTo>
                <a:lnTo>
                  <a:pt x="7500019" y="3631395"/>
                </a:lnTo>
                <a:lnTo>
                  <a:pt x="7502623" y="3628581"/>
                </a:lnTo>
                <a:lnTo>
                  <a:pt x="7507832" y="3634860"/>
                </a:lnTo>
                <a:lnTo>
                  <a:pt x="7505336" y="3627498"/>
                </a:lnTo>
                <a:lnTo>
                  <a:pt x="7506529" y="3623816"/>
                </a:lnTo>
                <a:lnTo>
                  <a:pt x="7506529" y="3620569"/>
                </a:lnTo>
                <a:lnTo>
                  <a:pt x="7508591" y="3619594"/>
                </a:lnTo>
                <a:lnTo>
                  <a:pt x="7510871" y="3625116"/>
                </a:lnTo>
                <a:lnTo>
                  <a:pt x="7521613" y="3634860"/>
                </a:lnTo>
                <a:lnTo>
                  <a:pt x="7523349" y="3632369"/>
                </a:lnTo>
                <a:lnTo>
                  <a:pt x="7521939" y="3630205"/>
                </a:lnTo>
                <a:lnTo>
                  <a:pt x="7522807" y="3627714"/>
                </a:lnTo>
                <a:lnTo>
                  <a:pt x="7526062" y="3629446"/>
                </a:lnTo>
                <a:lnTo>
                  <a:pt x="7525411" y="3634102"/>
                </a:lnTo>
                <a:lnTo>
                  <a:pt x="7526822" y="3637567"/>
                </a:lnTo>
                <a:lnTo>
                  <a:pt x="7525737" y="3644821"/>
                </a:lnTo>
                <a:lnTo>
                  <a:pt x="7521180" y="3650560"/>
                </a:lnTo>
                <a:lnTo>
                  <a:pt x="7524435" y="3656297"/>
                </a:lnTo>
                <a:lnTo>
                  <a:pt x="7523242" y="3659979"/>
                </a:lnTo>
                <a:lnTo>
                  <a:pt x="7525954" y="3662469"/>
                </a:lnTo>
                <a:lnTo>
                  <a:pt x="7531706" y="3667558"/>
                </a:lnTo>
                <a:lnTo>
                  <a:pt x="7532248" y="3671022"/>
                </a:lnTo>
                <a:lnTo>
                  <a:pt x="7534636" y="3671997"/>
                </a:lnTo>
                <a:lnTo>
                  <a:pt x="7535287" y="3678168"/>
                </a:lnTo>
                <a:lnTo>
                  <a:pt x="7538542" y="3681199"/>
                </a:lnTo>
                <a:lnTo>
                  <a:pt x="7542232" y="3679576"/>
                </a:lnTo>
                <a:lnTo>
                  <a:pt x="7545270" y="3679792"/>
                </a:lnTo>
                <a:lnTo>
                  <a:pt x="7548308" y="3685531"/>
                </a:lnTo>
                <a:lnTo>
                  <a:pt x="7549827" y="3692243"/>
                </a:lnTo>
                <a:lnTo>
                  <a:pt x="7553192" y="3699064"/>
                </a:lnTo>
                <a:lnTo>
                  <a:pt x="7558618" y="3703829"/>
                </a:lnTo>
                <a:lnTo>
                  <a:pt x="7558509" y="3709242"/>
                </a:lnTo>
                <a:lnTo>
                  <a:pt x="7560788" y="3713897"/>
                </a:lnTo>
                <a:lnTo>
                  <a:pt x="7565454" y="3715847"/>
                </a:lnTo>
                <a:lnTo>
                  <a:pt x="7562958" y="3721152"/>
                </a:lnTo>
                <a:lnTo>
                  <a:pt x="7565020" y="3721801"/>
                </a:lnTo>
                <a:lnTo>
                  <a:pt x="7564803" y="3731221"/>
                </a:lnTo>
                <a:lnTo>
                  <a:pt x="7566105" y="3736093"/>
                </a:lnTo>
                <a:lnTo>
                  <a:pt x="7568059" y="3738800"/>
                </a:lnTo>
                <a:lnTo>
                  <a:pt x="7565346" y="3743455"/>
                </a:lnTo>
                <a:lnTo>
                  <a:pt x="7565671" y="3757422"/>
                </a:lnTo>
                <a:lnTo>
                  <a:pt x="7566105" y="3759588"/>
                </a:lnTo>
                <a:lnTo>
                  <a:pt x="7561874" y="3766733"/>
                </a:lnTo>
                <a:lnTo>
                  <a:pt x="7561765" y="3772364"/>
                </a:lnTo>
                <a:lnTo>
                  <a:pt x="7560137" y="3774529"/>
                </a:lnTo>
                <a:lnTo>
                  <a:pt x="7560245" y="3779401"/>
                </a:lnTo>
                <a:lnTo>
                  <a:pt x="7561765" y="3782324"/>
                </a:lnTo>
                <a:lnTo>
                  <a:pt x="7565128" y="3791311"/>
                </a:lnTo>
                <a:lnTo>
                  <a:pt x="7564587" y="3797050"/>
                </a:lnTo>
                <a:lnTo>
                  <a:pt x="7568276" y="3807877"/>
                </a:lnTo>
                <a:lnTo>
                  <a:pt x="7564260" y="3812748"/>
                </a:lnTo>
                <a:lnTo>
                  <a:pt x="7566105" y="3819786"/>
                </a:lnTo>
                <a:lnTo>
                  <a:pt x="7563718" y="3826283"/>
                </a:lnTo>
                <a:lnTo>
                  <a:pt x="7557206" y="3831696"/>
                </a:lnTo>
                <a:lnTo>
                  <a:pt x="7552649" y="3842956"/>
                </a:lnTo>
                <a:lnTo>
                  <a:pt x="7553084" y="3848695"/>
                </a:lnTo>
                <a:lnTo>
                  <a:pt x="7544402" y="3864177"/>
                </a:lnTo>
                <a:lnTo>
                  <a:pt x="7542774" y="3872514"/>
                </a:lnTo>
                <a:lnTo>
                  <a:pt x="7536046" y="3887997"/>
                </a:lnTo>
                <a:lnTo>
                  <a:pt x="7535287" y="3891786"/>
                </a:lnTo>
                <a:lnTo>
                  <a:pt x="7537349" y="3894168"/>
                </a:lnTo>
                <a:lnTo>
                  <a:pt x="7534636" y="3901422"/>
                </a:lnTo>
                <a:lnTo>
                  <a:pt x="7535287" y="3905861"/>
                </a:lnTo>
                <a:lnTo>
                  <a:pt x="7530077" y="3914739"/>
                </a:lnTo>
                <a:lnTo>
                  <a:pt x="7524652" y="3916905"/>
                </a:lnTo>
                <a:lnTo>
                  <a:pt x="7524435" y="3921994"/>
                </a:lnTo>
                <a:lnTo>
                  <a:pt x="7516730" y="3927949"/>
                </a:lnTo>
                <a:lnTo>
                  <a:pt x="7515646" y="3932821"/>
                </a:lnTo>
                <a:lnTo>
                  <a:pt x="7516730" y="3935636"/>
                </a:lnTo>
                <a:lnTo>
                  <a:pt x="7515103" y="3941266"/>
                </a:lnTo>
                <a:lnTo>
                  <a:pt x="7507506" y="3946679"/>
                </a:lnTo>
                <a:lnTo>
                  <a:pt x="7498933" y="3947221"/>
                </a:lnTo>
                <a:lnTo>
                  <a:pt x="7497197" y="3949603"/>
                </a:lnTo>
                <a:lnTo>
                  <a:pt x="7504359" y="3949603"/>
                </a:lnTo>
                <a:lnTo>
                  <a:pt x="7500019" y="3951768"/>
                </a:lnTo>
                <a:lnTo>
                  <a:pt x="7492965" y="3953934"/>
                </a:lnTo>
                <a:lnTo>
                  <a:pt x="7489384" y="3961620"/>
                </a:lnTo>
                <a:lnTo>
                  <a:pt x="7486346" y="3964761"/>
                </a:lnTo>
                <a:lnTo>
                  <a:pt x="7481245" y="3972232"/>
                </a:lnTo>
                <a:lnTo>
                  <a:pt x="7473866" y="3975696"/>
                </a:lnTo>
                <a:lnTo>
                  <a:pt x="7476904" y="3978619"/>
                </a:lnTo>
                <a:lnTo>
                  <a:pt x="7473106" y="3987822"/>
                </a:lnTo>
                <a:lnTo>
                  <a:pt x="7468983" y="3989987"/>
                </a:lnTo>
                <a:lnTo>
                  <a:pt x="7469526" y="3995185"/>
                </a:lnTo>
                <a:lnTo>
                  <a:pt x="7463774" y="4000923"/>
                </a:lnTo>
                <a:lnTo>
                  <a:pt x="7460193" y="4011101"/>
                </a:lnTo>
                <a:lnTo>
                  <a:pt x="7454333" y="4018680"/>
                </a:lnTo>
                <a:lnTo>
                  <a:pt x="7451838" y="4028424"/>
                </a:lnTo>
                <a:lnTo>
                  <a:pt x="7447822" y="4029182"/>
                </a:lnTo>
                <a:lnTo>
                  <a:pt x="7433389" y="4047262"/>
                </a:lnTo>
                <a:lnTo>
                  <a:pt x="7433715" y="4051919"/>
                </a:lnTo>
                <a:lnTo>
                  <a:pt x="7429049" y="4054084"/>
                </a:lnTo>
                <a:lnTo>
                  <a:pt x="7427421" y="4063612"/>
                </a:lnTo>
                <a:lnTo>
                  <a:pt x="7423515" y="4069025"/>
                </a:lnTo>
                <a:lnTo>
                  <a:pt x="7423515" y="4083100"/>
                </a:lnTo>
                <a:lnTo>
                  <a:pt x="7415376" y="4091221"/>
                </a:lnTo>
                <a:lnTo>
                  <a:pt x="7415592" y="4096201"/>
                </a:lnTo>
                <a:lnTo>
                  <a:pt x="7417438" y="4105620"/>
                </a:lnTo>
                <a:lnTo>
                  <a:pt x="7413206" y="4114174"/>
                </a:lnTo>
                <a:lnTo>
                  <a:pt x="7408756" y="4117206"/>
                </a:lnTo>
                <a:lnTo>
                  <a:pt x="7404415" y="4117206"/>
                </a:lnTo>
                <a:lnTo>
                  <a:pt x="7404415" y="4121103"/>
                </a:lnTo>
                <a:lnTo>
                  <a:pt x="7398230" y="4124785"/>
                </a:lnTo>
                <a:lnTo>
                  <a:pt x="7383364" y="4121861"/>
                </a:lnTo>
                <a:lnTo>
                  <a:pt x="7364915" y="4125542"/>
                </a:lnTo>
                <a:lnTo>
                  <a:pt x="7355909" y="4128249"/>
                </a:lnTo>
                <a:lnTo>
                  <a:pt x="7349723" y="4128249"/>
                </a:lnTo>
                <a:lnTo>
                  <a:pt x="7345274" y="4128574"/>
                </a:lnTo>
                <a:lnTo>
                  <a:pt x="7349398" y="4129981"/>
                </a:lnTo>
                <a:lnTo>
                  <a:pt x="7348312" y="4131497"/>
                </a:lnTo>
                <a:lnTo>
                  <a:pt x="7351025" y="4129873"/>
                </a:lnTo>
                <a:lnTo>
                  <a:pt x="7354715" y="4129873"/>
                </a:lnTo>
                <a:lnTo>
                  <a:pt x="7347770" y="4135936"/>
                </a:lnTo>
                <a:lnTo>
                  <a:pt x="7335507" y="4143407"/>
                </a:lnTo>
                <a:lnTo>
                  <a:pt x="7329539" y="4151528"/>
                </a:lnTo>
                <a:lnTo>
                  <a:pt x="7327912" y="4154234"/>
                </a:lnTo>
                <a:lnTo>
                  <a:pt x="7326392" y="4151852"/>
                </a:lnTo>
                <a:lnTo>
                  <a:pt x="7314672" y="4151528"/>
                </a:lnTo>
                <a:lnTo>
                  <a:pt x="7311742" y="4154775"/>
                </a:lnTo>
                <a:lnTo>
                  <a:pt x="7312719" y="4157482"/>
                </a:lnTo>
                <a:lnTo>
                  <a:pt x="7316517" y="4154559"/>
                </a:lnTo>
                <a:lnTo>
                  <a:pt x="7316843" y="4161056"/>
                </a:lnTo>
                <a:lnTo>
                  <a:pt x="7313370" y="4167010"/>
                </a:lnTo>
                <a:lnTo>
                  <a:pt x="7310006" y="4161921"/>
                </a:lnTo>
                <a:lnTo>
                  <a:pt x="7309572" y="4157050"/>
                </a:lnTo>
                <a:lnTo>
                  <a:pt x="7306316" y="4156724"/>
                </a:lnTo>
                <a:lnTo>
                  <a:pt x="7304038" y="4158132"/>
                </a:lnTo>
                <a:lnTo>
                  <a:pt x="7302736" y="4150012"/>
                </a:lnTo>
                <a:lnTo>
                  <a:pt x="7296441" y="4142649"/>
                </a:lnTo>
                <a:lnTo>
                  <a:pt x="7300239" y="4138859"/>
                </a:lnTo>
                <a:lnTo>
                  <a:pt x="7303170" y="4138968"/>
                </a:lnTo>
                <a:lnTo>
                  <a:pt x="7303603" y="4134420"/>
                </a:lnTo>
                <a:lnTo>
                  <a:pt x="7298721" y="4131714"/>
                </a:lnTo>
                <a:lnTo>
                  <a:pt x="7294814" y="4134637"/>
                </a:lnTo>
                <a:lnTo>
                  <a:pt x="7291341" y="4138318"/>
                </a:lnTo>
                <a:lnTo>
                  <a:pt x="7288303" y="4137561"/>
                </a:lnTo>
                <a:lnTo>
                  <a:pt x="7286132" y="4133122"/>
                </a:lnTo>
                <a:lnTo>
                  <a:pt x="7295682" y="4127924"/>
                </a:lnTo>
                <a:lnTo>
                  <a:pt x="7295899" y="4122619"/>
                </a:lnTo>
                <a:lnTo>
                  <a:pt x="7288086" y="4117206"/>
                </a:lnTo>
                <a:lnTo>
                  <a:pt x="7278753" y="4123377"/>
                </a:lnTo>
                <a:lnTo>
                  <a:pt x="7277017" y="4126517"/>
                </a:lnTo>
                <a:lnTo>
                  <a:pt x="7282226" y="4128032"/>
                </a:lnTo>
                <a:lnTo>
                  <a:pt x="7283420" y="4130414"/>
                </a:lnTo>
                <a:lnTo>
                  <a:pt x="7281466" y="4132689"/>
                </a:lnTo>
                <a:lnTo>
                  <a:pt x="7277017" y="4131822"/>
                </a:lnTo>
                <a:lnTo>
                  <a:pt x="7270832" y="4137993"/>
                </a:lnTo>
                <a:lnTo>
                  <a:pt x="7265080" y="4138102"/>
                </a:lnTo>
                <a:lnTo>
                  <a:pt x="7262258" y="4142216"/>
                </a:lnTo>
                <a:lnTo>
                  <a:pt x="7253035" y="4146655"/>
                </a:lnTo>
                <a:lnTo>
                  <a:pt x="7251407" y="4149903"/>
                </a:lnTo>
                <a:lnTo>
                  <a:pt x="7247718" y="4149903"/>
                </a:lnTo>
                <a:lnTo>
                  <a:pt x="7242942" y="4144057"/>
                </a:lnTo>
                <a:lnTo>
                  <a:pt x="7238168" y="4142432"/>
                </a:lnTo>
                <a:lnTo>
                  <a:pt x="7237517" y="4137561"/>
                </a:lnTo>
                <a:lnTo>
                  <a:pt x="7231440" y="4132039"/>
                </a:lnTo>
                <a:lnTo>
                  <a:pt x="7226014" y="4131497"/>
                </a:lnTo>
                <a:lnTo>
                  <a:pt x="7221022" y="4125326"/>
                </a:lnTo>
                <a:lnTo>
                  <a:pt x="7214837" y="4123377"/>
                </a:lnTo>
                <a:lnTo>
                  <a:pt x="7211798" y="4124459"/>
                </a:lnTo>
                <a:lnTo>
                  <a:pt x="7210713" y="4126517"/>
                </a:lnTo>
                <a:lnTo>
                  <a:pt x="7205831" y="4126192"/>
                </a:lnTo>
                <a:lnTo>
                  <a:pt x="7203660" y="4120454"/>
                </a:lnTo>
                <a:lnTo>
                  <a:pt x="7199102" y="4117206"/>
                </a:lnTo>
                <a:lnTo>
                  <a:pt x="7192591" y="4115581"/>
                </a:lnTo>
                <a:lnTo>
                  <a:pt x="7184127" y="4104213"/>
                </a:lnTo>
                <a:lnTo>
                  <a:pt x="7183042" y="4096418"/>
                </a:lnTo>
                <a:lnTo>
                  <a:pt x="7179352" y="4090138"/>
                </a:lnTo>
                <a:lnTo>
                  <a:pt x="7175228" y="4086565"/>
                </a:lnTo>
                <a:lnTo>
                  <a:pt x="7176096" y="4078228"/>
                </a:lnTo>
                <a:lnTo>
                  <a:pt x="7175120" y="4075196"/>
                </a:lnTo>
                <a:lnTo>
                  <a:pt x="7180980" y="4068809"/>
                </a:lnTo>
                <a:lnTo>
                  <a:pt x="7181956" y="4057873"/>
                </a:lnTo>
                <a:lnTo>
                  <a:pt x="7181522" y="4048995"/>
                </a:lnTo>
                <a:lnTo>
                  <a:pt x="7178484" y="4041416"/>
                </a:lnTo>
                <a:lnTo>
                  <a:pt x="7176747" y="4036219"/>
                </a:lnTo>
                <a:lnTo>
                  <a:pt x="7172515" y="4030048"/>
                </a:lnTo>
                <a:lnTo>
                  <a:pt x="7173601" y="4027449"/>
                </a:lnTo>
                <a:lnTo>
                  <a:pt x="7177941" y="4027774"/>
                </a:lnTo>
                <a:lnTo>
                  <a:pt x="7180329" y="4023876"/>
                </a:lnTo>
                <a:lnTo>
                  <a:pt x="7182716" y="4019762"/>
                </a:lnTo>
                <a:lnTo>
                  <a:pt x="7179677" y="4020195"/>
                </a:lnTo>
                <a:lnTo>
                  <a:pt x="7175663" y="4019004"/>
                </a:lnTo>
                <a:lnTo>
                  <a:pt x="7170562" y="4023118"/>
                </a:lnTo>
                <a:lnTo>
                  <a:pt x="7166439" y="4024201"/>
                </a:lnTo>
                <a:lnTo>
                  <a:pt x="7163726" y="4026908"/>
                </a:lnTo>
                <a:lnTo>
                  <a:pt x="7157540" y="4026800"/>
                </a:lnTo>
                <a:lnTo>
                  <a:pt x="7151680" y="4027558"/>
                </a:lnTo>
                <a:lnTo>
                  <a:pt x="7150269" y="4024309"/>
                </a:lnTo>
                <a:lnTo>
                  <a:pt x="7159385" y="4020628"/>
                </a:lnTo>
                <a:lnTo>
                  <a:pt x="7164593" y="4010884"/>
                </a:lnTo>
                <a:lnTo>
                  <a:pt x="7163834" y="3999515"/>
                </a:lnTo>
                <a:lnTo>
                  <a:pt x="7166004" y="3998866"/>
                </a:lnTo>
                <a:lnTo>
                  <a:pt x="7163509" y="3992153"/>
                </a:lnTo>
                <a:lnTo>
                  <a:pt x="7163292" y="3980785"/>
                </a:lnTo>
                <a:lnTo>
                  <a:pt x="7161556" y="3978619"/>
                </a:lnTo>
                <a:lnTo>
                  <a:pt x="7154828" y="3985440"/>
                </a:lnTo>
                <a:lnTo>
                  <a:pt x="7152657" y="3997783"/>
                </a:lnTo>
                <a:lnTo>
                  <a:pt x="7144736" y="4011101"/>
                </a:lnTo>
                <a:lnTo>
                  <a:pt x="7136488" y="4008177"/>
                </a:lnTo>
                <a:lnTo>
                  <a:pt x="7129652" y="4011317"/>
                </a:lnTo>
                <a:lnTo>
                  <a:pt x="7122597" y="4013049"/>
                </a:lnTo>
                <a:lnTo>
                  <a:pt x="7122597" y="4011317"/>
                </a:lnTo>
                <a:lnTo>
                  <a:pt x="7125528" y="4006228"/>
                </a:lnTo>
                <a:lnTo>
                  <a:pt x="7127807" y="3999948"/>
                </a:lnTo>
                <a:lnTo>
                  <a:pt x="7139201" y="4001140"/>
                </a:lnTo>
                <a:lnTo>
                  <a:pt x="7143433" y="3989663"/>
                </a:lnTo>
                <a:lnTo>
                  <a:pt x="7141588" y="3987281"/>
                </a:lnTo>
                <a:lnTo>
                  <a:pt x="7147340" y="3979161"/>
                </a:lnTo>
                <a:lnTo>
                  <a:pt x="7147014" y="3973747"/>
                </a:lnTo>
                <a:lnTo>
                  <a:pt x="7149944" y="3969958"/>
                </a:lnTo>
                <a:lnTo>
                  <a:pt x="7151355" y="3964761"/>
                </a:lnTo>
                <a:lnTo>
                  <a:pt x="7161338" y="3958265"/>
                </a:lnTo>
                <a:lnTo>
                  <a:pt x="7162749" y="3946138"/>
                </a:lnTo>
                <a:lnTo>
                  <a:pt x="7165679" y="3942349"/>
                </a:lnTo>
                <a:lnTo>
                  <a:pt x="7165679" y="3936394"/>
                </a:lnTo>
                <a:lnTo>
                  <a:pt x="7165462" y="3930222"/>
                </a:lnTo>
                <a:lnTo>
                  <a:pt x="7162532" y="3923618"/>
                </a:lnTo>
                <a:lnTo>
                  <a:pt x="7161556" y="3929356"/>
                </a:lnTo>
                <a:lnTo>
                  <a:pt x="7163292" y="3934445"/>
                </a:lnTo>
                <a:lnTo>
                  <a:pt x="7160579" y="3938343"/>
                </a:lnTo>
                <a:lnTo>
                  <a:pt x="7153742" y="3939859"/>
                </a:lnTo>
                <a:lnTo>
                  <a:pt x="7147340" y="3949603"/>
                </a:lnTo>
                <a:lnTo>
                  <a:pt x="7145386" y="3956207"/>
                </a:lnTo>
                <a:lnTo>
                  <a:pt x="7137464" y="3959997"/>
                </a:lnTo>
                <a:lnTo>
                  <a:pt x="7135403" y="3959997"/>
                </a:lnTo>
                <a:lnTo>
                  <a:pt x="7134426" y="3963136"/>
                </a:lnTo>
                <a:lnTo>
                  <a:pt x="7124226" y="3968117"/>
                </a:lnTo>
                <a:lnTo>
                  <a:pt x="7119885" y="3973747"/>
                </a:lnTo>
                <a:lnTo>
                  <a:pt x="7118691" y="3977861"/>
                </a:lnTo>
                <a:lnTo>
                  <a:pt x="7114459" y="3979702"/>
                </a:lnTo>
                <a:lnTo>
                  <a:pt x="7112288" y="3983708"/>
                </a:lnTo>
                <a:lnTo>
                  <a:pt x="7108490" y="3984358"/>
                </a:lnTo>
                <a:lnTo>
                  <a:pt x="7106212" y="3989122"/>
                </a:lnTo>
                <a:lnTo>
                  <a:pt x="7103391" y="3991936"/>
                </a:lnTo>
                <a:lnTo>
                  <a:pt x="7105777" y="3995726"/>
                </a:lnTo>
                <a:lnTo>
                  <a:pt x="7105560" y="3999948"/>
                </a:lnTo>
                <a:lnTo>
                  <a:pt x="7101437" y="3996701"/>
                </a:lnTo>
                <a:lnTo>
                  <a:pt x="7097422" y="3998108"/>
                </a:lnTo>
                <a:lnTo>
                  <a:pt x="7095686" y="3993236"/>
                </a:lnTo>
                <a:lnTo>
                  <a:pt x="7091996" y="3991287"/>
                </a:lnTo>
                <a:lnTo>
                  <a:pt x="7088307" y="3986415"/>
                </a:lnTo>
                <a:lnTo>
                  <a:pt x="7089717" y="3984899"/>
                </a:lnTo>
                <a:lnTo>
                  <a:pt x="7092539" y="3986740"/>
                </a:lnTo>
                <a:lnTo>
                  <a:pt x="7094600" y="3983167"/>
                </a:lnTo>
                <a:lnTo>
                  <a:pt x="7095468" y="3976995"/>
                </a:lnTo>
                <a:lnTo>
                  <a:pt x="7093298" y="3974071"/>
                </a:lnTo>
                <a:lnTo>
                  <a:pt x="7095143" y="3968875"/>
                </a:lnTo>
                <a:lnTo>
                  <a:pt x="7089934" y="3957290"/>
                </a:lnTo>
                <a:lnTo>
                  <a:pt x="7090802" y="3952310"/>
                </a:lnTo>
                <a:lnTo>
                  <a:pt x="7089175" y="3945597"/>
                </a:lnTo>
                <a:lnTo>
                  <a:pt x="7084291" y="3940400"/>
                </a:lnTo>
                <a:lnTo>
                  <a:pt x="7079951" y="3939967"/>
                </a:lnTo>
                <a:lnTo>
                  <a:pt x="7075718" y="3930763"/>
                </a:lnTo>
                <a:lnTo>
                  <a:pt x="7076695" y="3927516"/>
                </a:lnTo>
                <a:lnTo>
                  <a:pt x="7080711" y="3927516"/>
                </a:lnTo>
                <a:lnTo>
                  <a:pt x="7082121" y="3924159"/>
                </a:lnTo>
                <a:lnTo>
                  <a:pt x="7078431" y="3920370"/>
                </a:lnTo>
                <a:lnTo>
                  <a:pt x="7075285" y="3920153"/>
                </a:lnTo>
                <a:lnTo>
                  <a:pt x="7076153" y="3915606"/>
                </a:lnTo>
                <a:lnTo>
                  <a:pt x="7065627" y="3908243"/>
                </a:lnTo>
                <a:lnTo>
                  <a:pt x="7063131" y="3909867"/>
                </a:lnTo>
                <a:lnTo>
                  <a:pt x="7056945" y="3908784"/>
                </a:lnTo>
                <a:lnTo>
                  <a:pt x="7052496" y="3902829"/>
                </a:lnTo>
                <a:lnTo>
                  <a:pt x="7047395" y="3901531"/>
                </a:lnTo>
                <a:lnTo>
                  <a:pt x="7044682" y="3902829"/>
                </a:lnTo>
                <a:lnTo>
                  <a:pt x="7042512" y="3900448"/>
                </a:lnTo>
                <a:lnTo>
                  <a:pt x="7039583" y="3901531"/>
                </a:lnTo>
                <a:lnTo>
                  <a:pt x="7036544" y="3904129"/>
                </a:lnTo>
                <a:lnTo>
                  <a:pt x="7032204" y="3902614"/>
                </a:lnTo>
                <a:lnTo>
                  <a:pt x="7026561" y="3893086"/>
                </a:lnTo>
                <a:lnTo>
                  <a:pt x="7019398" y="3886264"/>
                </a:lnTo>
                <a:lnTo>
                  <a:pt x="7013538" y="3885507"/>
                </a:lnTo>
                <a:lnTo>
                  <a:pt x="7006268" y="3887997"/>
                </a:lnTo>
                <a:lnTo>
                  <a:pt x="7000516" y="3887888"/>
                </a:lnTo>
                <a:lnTo>
                  <a:pt x="6992052" y="3885507"/>
                </a:lnTo>
                <a:lnTo>
                  <a:pt x="6965791" y="3887455"/>
                </a:lnTo>
                <a:lnTo>
                  <a:pt x="6955916" y="3888213"/>
                </a:lnTo>
                <a:lnTo>
                  <a:pt x="6949189" y="3893086"/>
                </a:lnTo>
                <a:lnTo>
                  <a:pt x="6945499" y="3893086"/>
                </a:lnTo>
                <a:lnTo>
                  <a:pt x="6939748" y="3897200"/>
                </a:lnTo>
                <a:lnTo>
                  <a:pt x="6931934" y="3899040"/>
                </a:lnTo>
                <a:lnTo>
                  <a:pt x="6918804" y="3903696"/>
                </a:lnTo>
                <a:lnTo>
                  <a:pt x="6909254" y="3903155"/>
                </a:lnTo>
                <a:lnTo>
                  <a:pt x="6904697" y="3904778"/>
                </a:lnTo>
                <a:lnTo>
                  <a:pt x="6898185" y="3904454"/>
                </a:lnTo>
                <a:lnTo>
                  <a:pt x="6891132" y="3901422"/>
                </a:lnTo>
                <a:lnTo>
                  <a:pt x="6886900" y="3901531"/>
                </a:lnTo>
                <a:lnTo>
                  <a:pt x="6883536" y="3901422"/>
                </a:lnTo>
                <a:lnTo>
                  <a:pt x="6879955" y="3902829"/>
                </a:lnTo>
                <a:lnTo>
                  <a:pt x="6872142" y="3910084"/>
                </a:lnTo>
                <a:lnTo>
                  <a:pt x="6859445" y="3917771"/>
                </a:lnTo>
                <a:lnTo>
                  <a:pt x="6849570" y="3921236"/>
                </a:lnTo>
                <a:lnTo>
                  <a:pt x="6846966" y="3919612"/>
                </a:lnTo>
                <a:lnTo>
                  <a:pt x="6840129" y="3921561"/>
                </a:lnTo>
                <a:lnTo>
                  <a:pt x="6834269" y="3926108"/>
                </a:lnTo>
                <a:lnTo>
                  <a:pt x="6831448" y="3934553"/>
                </a:lnTo>
                <a:lnTo>
                  <a:pt x="6826348" y="3939641"/>
                </a:lnTo>
                <a:lnTo>
                  <a:pt x="6823960" y="3940400"/>
                </a:lnTo>
                <a:lnTo>
                  <a:pt x="6821681" y="3946138"/>
                </a:lnTo>
                <a:lnTo>
                  <a:pt x="6815387" y="3950469"/>
                </a:lnTo>
                <a:lnTo>
                  <a:pt x="6810070" y="3949061"/>
                </a:lnTo>
                <a:lnTo>
                  <a:pt x="6804861" y="3954042"/>
                </a:lnTo>
                <a:lnTo>
                  <a:pt x="6803233" y="3953393"/>
                </a:lnTo>
                <a:lnTo>
                  <a:pt x="6803776" y="3949386"/>
                </a:lnTo>
                <a:lnTo>
                  <a:pt x="6794335" y="3949386"/>
                </a:lnTo>
                <a:lnTo>
                  <a:pt x="6790537" y="3951877"/>
                </a:lnTo>
                <a:lnTo>
                  <a:pt x="6788366" y="3949386"/>
                </a:lnTo>
                <a:lnTo>
                  <a:pt x="6784568" y="3951335"/>
                </a:lnTo>
                <a:lnTo>
                  <a:pt x="6781747" y="3951335"/>
                </a:lnTo>
                <a:lnTo>
                  <a:pt x="6779902" y="3946355"/>
                </a:lnTo>
                <a:lnTo>
                  <a:pt x="6775019" y="3948087"/>
                </a:lnTo>
                <a:lnTo>
                  <a:pt x="6771220" y="3947762"/>
                </a:lnTo>
                <a:lnTo>
                  <a:pt x="6768834" y="3946138"/>
                </a:lnTo>
                <a:lnTo>
                  <a:pt x="6760695" y="3947979"/>
                </a:lnTo>
                <a:lnTo>
                  <a:pt x="6759067" y="3945380"/>
                </a:lnTo>
                <a:lnTo>
                  <a:pt x="6746480" y="3948087"/>
                </a:lnTo>
                <a:lnTo>
                  <a:pt x="6742138" y="3951010"/>
                </a:lnTo>
                <a:lnTo>
                  <a:pt x="6738883" y="3949061"/>
                </a:lnTo>
                <a:lnTo>
                  <a:pt x="6733783" y="3948304"/>
                </a:lnTo>
                <a:lnTo>
                  <a:pt x="6720543" y="3956424"/>
                </a:lnTo>
                <a:lnTo>
                  <a:pt x="6719350" y="3962162"/>
                </a:lnTo>
                <a:lnTo>
                  <a:pt x="6716962" y="3963461"/>
                </a:lnTo>
                <a:lnTo>
                  <a:pt x="6715009" y="3962595"/>
                </a:lnTo>
                <a:lnTo>
                  <a:pt x="6711211" y="3967792"/>
                </a:lnTo>
                <a:lnTo>
                  <a:pt x="6707521" y="3964002"/>
                </a:lnTo>
                <a:lnTo>
                  <a:pt x="6703941" y="3964002"/>
                </a:lnTo>
                <a:lnTo>
                  <a:pt x="6699383" y="3966493"/>
                </a:lnTo>
                <a:lnTo>
                  <a:pt x="6699383" y="3970716"/>
                </a:lnTo>
                <a:lnTo>
                  <a:pt x="6692330" y="3969741"/>
                </a:lnTo>
                <a:lnTo>
                  <a:pt x="6688422" y="3975696"/>
                </a:lnTo>
                <a:lnTo>
                  <a:pt x="6684733" y="3976453"/>
                </a:lnTo>
                <a:lnTo>
                  <a:pt x="6684082" y="3979377"/>
                </a:lnTo>
                <a:lnTo>
                  <a:pt x="6678114" y="3979918"/>
                </a:lnTo>
                <a:lnTo>
                  <a:pt x="6671169" y="3981109"/>
                </a:lnTo>
                <a:lnTo>
                  <a:pt x="6669758" y="3980026"/>
                </a:lnTo>
                <a:lnTo>
                  <a:pt x="6667045" y="3982192"/>
                </a:lnTo>
                <a:lnTo>
                  <a:pt x="6665417" y="3978836"/>
                </a:lnTo>
                <a:lnTo>
                  <a:pt x="6659231" y="3980026"/>
                </a:lnTo>
                <a:lnTo>
                  <a:pt x="6654023" y="3979377"/>
                </a:lnTo>
                <a:lnTo>
                  <a:pt x="6652612" y="3977320"/>
                </a:lnTo>
                <a:lnTo>
                  <a:pt x="6649899" y="3977861"/>
                </a:lnTo>
                <a:lnTo>
                  <a:pt x="6642954" y="3976779"/>
                </a:lnTo>
                <a:lnTo>
                  <a:pt x="6640675" y="3973964"/>
                </a:lnTo>
                <a:lnTo>
                  <a:pt x="6635358" y="3972989"/>
                </a:lnTo>
                <a:lnTo>
                  <a:pt x="6633622" y="3970824"/>
                </a:lnTo>
                <a:lnTo>
                  <a:pt x="6633731" y="3967034"/>
                </a:lnTo>
                <a:lnTo>
                  <a:pt x="6623638" y="3956749"/>
                </a:lnTo>
                <a:lnTo>
                  <a:pt x="6619948" y="3956640"/>
                </a:lnTo>
                <a:lnTo>
                  <a:pt x="6616802" y="3953717"/>
                </a:lnTo>
                <a:lnTo>
                  <a:pt x="6616368" y="3938884"/>
                </a:lnTo>
                <a:lnTo>
                  <a:pt x="6622337" y="3929898"/>
                </a:lnTo>
                <a:lnTo>
                  <a:pt x="6625809" y="3932929"/>
                </a:lnTo>
                <a:lnTo>
                  <a:pt x="6633622" y="3926974"/>
                </a:lnTo>
                <a:lnTo>
                  <a:pt x="6632646" y="3920802"/>
                </a:lnTo>
                <a:lnTo>
                  <a:pt x="6636877" y="3917771"/>
                </a:lnTo>
                <a:lnTo>
                  <a:pt x="6638071" y="3911492"/>
                </a:lnTo>
                <a:lnTo>
                  <a:pt x="6636877" y="3908460"/>
                </a:lnTo>
                <a:lnTo>
                  <a:pt x="6641001" y="3904671"/>
                </a:lnTo>
                <a:lnTo>
                  <a:pt x="6641869" y="3894168"/>
                </a:lnTo>
                <a:lnTo>
                  <a:pt x="6643497" y="3887888"/>
                </a:lnTo>
                <a:lnTo>
                  <a:pt x="6641218" y="3885290"/>
                </a:lnTo>
                <a:lnTo>
                  <a:pt x="6645667" y="3882042"/>
                </a:lnTo>
                <a:lnTo>
                  <a:pt x="6645559" y="3876303"/>
                </a:lnTo>
                <a:lnTo>
                  <a:pt x="6640458" y="3864610"/>
                </a:lnTo>
                <a:lnTo>
                  <a:pt x="6640675" y="3856274"/>
                </a:lnTo>
                <a:lnTo>
                  <a:pt x="6638071" y="3848911"/>
                </a:lnTo>
                <a:lnTo>
                  <a:pt x="6639156" y="3845230"/>
                </a:lnTo>
                <a:lnTo>
                  <a:pt x="6638505" y="3818595"/>
                </a:lnTo>
                <a:lnTo>
                  <a:pt x="6641001" y="3812207"/>
                </a:lnTo>
                <a:lnTo>
                  <a:pt x="6633731" y="3794343"/>
                </a:lnTo>
                <a:lnTo>
                  <a:pt x="6631235" y="3780809"/>
                </a:lnTo>
                <a:lnTo>
                  <a:pt x="6627762" y="3776369"/>
                </a:lnTo>
                <a:lnTo>
                  <a:pt x="6628739" y="3752117"/>
                </a:lnTo>
                <a:lnTo>
                  <a:pt x="6623855" y="3738583"/>
                </a:lnTo>
                <a:lnTo>
                  <a:pt x="6615499" y="3728298"/>
                </a:lnTo>
                <a:lnTo>
                  <a:pt x="6611376" y="3720394"/>
                </a:lnTo>
                <a:lnTo>
                  <a:pt x="6614089" y="3718986"/>
                </a:lnTo>
                <a:lnTo>
                  <a:pt x="6616259" y="3715305"/>
                </a:lnTo>
                <a:lnTo>
                  <a:pt x="6617453" y="3723859"/>
                </a:lnTo>
                <a:lnTo>
                  <a:pt x="6622878" y="3731004"/>
                </a:lnTo>
                <a:lnTo>
                  <a:pt x="6629607" y="3729921"/>
                </a:lnTo>
                <a:lnTo>
                  <a:pt x="6625049" y="3720935"/>
                </a:lnTo>
                <a:lnTo>
                  <a:pt x="6618538" y="3714439"/>
                </a:lnTo>
                <a:lnTo>
                  <a:pt x="6617453" y="3703937"/>
                </a:lnTo>
                <a:lnTo>
                  <a:pt x="6620600" y="3698740"/>
                </a:lnTo>
                <a:lnTo>
                  <a:pt x="6625483" y="3709242"/>
                </a:lnTo>
                <a:lnTo>
                  <a:pt x="6625049" y="3716821"/>
                </a:lnTo>
                <a:lnTo>
                  <a:pt x="6626569" y="3718445"/>
                </a:lnTo>
                <a:lnTo>
                  <a:pt x="6629607" y="3713897"/>
                </a:lnTo>
                <a:lnTo>
                  <a:pt x="6629933" y="3722235"/>
                </a:lnTo>
                <a:lnTo>
                  <a:pt x="6632102" y="3726024"/>
                </a:lnTo>
                <a:lnTo>
                  <a:pt x="6637203" y="3723967"/>
                </a:lnTo>
                <a:lnTo>
                  <a:pt x="6635358" y="3717687"/>
                </a:lnTo>
                <a:lnTo>
                  <a:pt x="6638505" y="3710649"/>
                </a:lnTo>
                <a:lnTo>
                  <a:pt x="6635032" y="3706643"/>
                </a:lnTo>
                <a:lnTo>
                  <a:pt x="6634708" y="3701230"/>
                </a:lnTo>
                <a:lnTo>
                  <a:pt x="6626351" y="3687154"/>
                </a:lnTo>
                <a:lnTo>
                  <a:pt x="6627653" y="3675786"/>
                </a:lnTo>
                <a:lnTo>
                  <a:pt x="6625049" y="3667666"/>
                </a:lnTo>
                <a:lnTo>
                  <a:pt x="6628739" y="3651967"/>
                </a:lnTo>
                <a:lnTo>
                  <a:pt x="6637962" y="3640490"/>
                </a:lnTo>
                <a:lnTo>
                  <a:pt x="6637528" y="3629446"/>
                </a:lnTo>
                <a:lnTo>
                  <a:pt x="6640133" y="3623492"/>
                </a:lnTo>
                <a:lnTo>
                  <a:pt x="6636444" y="3616238"/>
                </a:lnTo>
                <a:lnTo>
                  <a:pt x="6641869" y="3605951"/>
                </a:lnTo>
                <a:lnTo>
                  <a:pt x="6643714" y="3598914"/>
                </a:lnTo>
                <a:lnTo>
                  <a:pt x="6651310" y="3593176"/>
                </a:lnTo>
                <a:lnTo>
                  <a:pt x="6651528" y="3597506"/>
                </a:lnTo>
                <a:lnTo>
                  <a:pt x="6648923" y="3603461"/>
                </a:lnTo>
                <a:lnTo>
                  <a:pt x="6649683" y="3607251"/>
                </a:lnTo>
                <a:lnTo>
                  <a:pt x="6647838" y="3609958"/>
                </a:lnTo>
                <a:lnTo>
                  <a:pt x="6651636" y="3612448"/>
                </a:lnTo>
                <a:lnTo>
                  <a:pt x="6657062" y="3607792"/>
                </a:lnTo>
                <a:lnTo>
                  <a:pt x="6657278" y="3600214"/>
                </a:lnTo>
                <a:lnTo>
                  <a:pt x="6663247" y="3591877"/>
                </a:lnTo>
                <a:lnTo>
                  <a:pt x="6676812" y="3587762"/>
                </a:lnTo>
                <a:lnTo>
                  <a:pt x="6687121" y="3582890"/>
                </a:lnTo>
                <a:lnTo>
                  <a:pt x="6695043" y="3575853"/>
                </a:lnTo>
                <a:lnTo>
                  <a:pt x="6697756" y="3575853"/>
                </a:lnTo>
                <a:lnTo>
                  <a:pt x="6698623" y="3573687"/>
                </a:lnTo>
                <a:lnTo>
                  <a:pt x="6708824" y="3571847"/>
                </a:lnTo>
                <a:lnTo>
                  <a:pt x="6712622" y="3566108"/>
                </a:lnTo>
                <a:lnTo>
                  <a:pt x="6716637" y="3564159"/>
                </a:lnTo>
                <a:lnTo>
                  <a:pt x="6718048" y="3566866"/>
                </a:lnTo>
                <a:lnTo>
                  <a:pt x="6721846" y="3566433"/>
                </a:lnTo>
                <a:lnTo>
                  <a:pt x="6725861" y="3568057"/>
                </a:lnTo>
                <a:lnTo>
                  <a:pt x="6733240" y="3568057"/>
                </a:lnTo>
                <a:lnTo>
                  <a:pt x="6743007" y="3564159"/>
                </a:lnTo>
                <a:lnTo>
                  <a:pt x="6744309" y="3559937"/>
                </a:lnTo>
                <a:lnTo>
                  <a:pt x="6748216" y="3557663"/>
                </a:lnTo>
                <a:lnTo>
                  <a:pt x="6763733" y="3558204"/>
                </a:lnTo>
                <a:lnTo>
                  <a:pt x="6768725" y="3555823"/>
                </a:lnTo>
                <a:lnTo>
                  <a:pt x="6769593" y="3551492"/>
                </a:lnTo>
                <a:lnTo>
                  <a:pt x="6776972" y="3548568"/>
                </a:lnTo>
                <a:lnTo>
                  <a:pt x="6782832" y="3550084"/>
                </a:lnTo>
                <a:lnTo>
                  <a:pt x="6788584" y="3548568"/>
                </a:lnTo>
                <a:lnTo>
                  <a:pt x="6795854" y="3548027"/>
                </a:lnTo>
                <a:lnTo>
                  <a:pt x="6800738" y="3546295"/>
                </a:lnTo>
                <a:lnTo>
                  <a:pt x="6813217" y="3545212"/>
                </a:lnTo>
                <a:lnTo>
                  <a:pt x="6827432" y="3536658"/>
                </a:lnTo>
                <a:lnTo>
                  <a:pt x="6834920" y="3526373"/>
                </a:lnTo>
                <a:lnTo>
                  <a:pt x="6837959" y="3523558"/>
                </a:lnTo>
                <a:lnTo>
                  <a:pt x="6837741" y="3517386"/>
                </a:lnTo>
                <a:lnTo>
                  <a:pt x="6843385" y="3513813"/>
                </a:lnTo>
                <a:lnTo>
                  <a:pt x="6842842" y="3511107"/>
                </a:lnTo>
                <a:lnTo>
                  <a:pt x="6849353" y="3509266"/>
                </a:lnTo>
                <a:lnTo>
                  <a:pt x="6851848" y="3504611"/>
                </a:lnTo>
                <a:lnTo>
                  <a:pt x="6856190" y="3502229"/>
                </a:lnTo>
                <a:lnTo>
                  <a:pt x="6856190" y="3497897"/>
                </a:lnTo>
                <a:lnTo>
                  <a:pt x="6853910" y="3496707"/>
                </a:lnTo>
                <a:lnTo>
                  <a:pt x="6853910" y="3484256"/>
                </a:lnTo>
                <a:lnTo>
                  <a:pt x="6852934" y="3478084"/>
                </a:lnTo>
                <a:lnTo>
                  <a:pt x="6856949" y="3474620"/>
                </a:lnTo>
                <a:lnTo>
                  <a:pt x="6859662" y="3471046"/>
                </a:lnTo>
                <a:lnTo>
                  <a:pt x="6864328" y="3471371"/>
                </a:lnTo>
                <a:lnTo>
                  <a:pt x="6864871" y="3468665"/>
                </a:lnTo>
                <a:lnTo>
                  <a:pt x="6868669" y="3467799"/>
                </a:lnTo>
                <a:lnTo>
                  <a:pt x="6869971" y="3461411"/>
                </a:lnTo>
                <a:lnTo>
                  <a:pt x="6875071" y="3457729"/>
                </a:lnTo>
                <a:lnTo>
                  <a:pt x="6876808" y="3455022"/>
                </a:lnTo>
                <a:lnTo>
                  <a:pt x="6875614" y="3460761"/>
                </a:lnTo>
                <a:lnTo>
                  <a:pt x="6878326" y="3464550"/>
                </a:lnTo>
                <a:lnTo>
                  <a:pt x="6883319" y="3474403"/>
                </a:lnTo>
                <a:lnTo>
                  <a:pt x="6890915" y="3490644"/>
                </a:lnTo>
                <a:lnTo>
                  <a:pt x="6891674" y="3484689"/>
                </a:lnTo>
                <a:lnTo>
                  <a:pt x="6893628" y="3479383"/>
                </a:lnTo>
                <a:lnTo>
                  <a:pt x="6892760" y="3474295"/>
                </a:lnTo>
                <a:lnTo>
                  <a:pt x="6895255" y="3474295"/>
                </a:lnTo>
                <a:lnTo>
                  <a:pt x="6897209" y="3476136"/>
                </a:lnTo>
                <a:lnTo>
                  <a:pt x="6897426" y="3471696"/>
                </a:lnTo>
                <a:lnTo>
                  <a:pt x="6899596" y="3467799"/>
                </a:lnTo>
                <a:lnTo>
                  <a:pt x="6894713" y="3468015"/>
                </a:lnTo>
                <a:lnTo>
                  <a:pt x="6889830" y="3463576"/>
                </a:lnTo>
                <a:lnTo>
                  <a:pt x="6892434" y="3458920"/>
                </a:lnTo>
                <a:lnTo>
                  <a:pt x="6894604" y="3457838"/>
                </a:lnTo>
                <a:lnTo>
                  <a:pt x="6888636" y="3453724"/>
                </a:lnTo>
                <a:lnTo>
                  <a:pt x="6891891" y="3451016"/>
                </a:lnTo>
                <a:lnTo>
                  <a:pt x="6896340" y="3453832"/>
                </a:lnTo>
                <a:lnTo>
                  <a:pt x="6897968" y="3457297"/>
                </a:lnTo>
                <a:lnTo>
                  <a:pt x="6901658" y="3454265"/>
                </a:lnTo>
                <a:lnTo>
                  <a:pt x="6905456" y="3456755"/>
                </a:lnTo>
                <a:lnTo>
                  <a:pt x="6907952" y="3460220"/>
                </a:lnTo>
                <a:lnTo>
                  <a:pt x="6912510" y="3461302"/>
                </a:lnTo>
                <a:lnTo>
                  <a:pt x="6913595" y="3459137"/>
                </a:lnTo>
                <a:lnTo>
                  <a:pt x="6918804" y="3456430"/>
                </a:lnTo>
                <a:lnTo>
                  <a:pt x="6910448" y="3455022"/>
                </a:lnTo>
                <a:lnTo>
                  <a:pt x="6912943" y="3451666"/>
                </a:lnTo>
                <a:lnTo>
                  <a:pt x="6916958" y="3449717"/>
                </a:lnTo>
                <a:lnTo>
                  <a:pt x="6914680" y="3446361"/>
                </a:lnTo>
                <a:lnTo>
                  <a:pt x="6918044" y="3441597"/>
                </a:lnTo>
                <a:lnTo>
                  <a:pt x="6915222" y="3442571"/>
                </a:lnTo>
                <a:lnTo>
                  <a:pt x="6914789" y="3439540"/>
                </a:lnTo>
                <a:lnTo>
                  <a:pt x="6913920" y="3436292"/>
                </a:lnTo>
                <a:lnTo>
                  <a:pt x="6912943" y="3432827"/>
                </a:lnTo>
                <a:lnTo>
                  <a:pt x="6917718" y="3432069"/>
                </a:lnTo>
                <a:lnTo>
                  <a:pt x="6921733" y="3427522"/>
                </a:lnTo>
                <a:lnTo>
                  <a:pt x="6926400" y="3433151"/>
                </a:lnTo>
                <a:lnTo>
                  <a:pt x="6929656" y="3432394"/>
                </a:lnTo>
                <a:lnTo>
                  <a:pt x="6931934" y="3428605"/>
                </a:lnTo>
                <a:lnTo>
                  <a:pt x="6925314" y="3427738"/>
                </a:lnTo>
                <a:lnTo>
                  <a:pt x="6924230" y="3424274"/>
                </a:lnTo>
                <a:lnTo>
                  <a:pt x="6929872" y="3420485"/>
                </a:lnTo>
                <a:lnTo>
                  <a:pt x="6934539" y="3422974"/>
                </a:lnTo>
                <a:lnTo>
                  <a:pt x="6940616" y="3417886"/>
                </a:lnTo>
                <a:lnTo>
                  <a:pt x="6933345" y="3415829"/>
                </a:lnTo>
                <a:lnTo>
                  <a:pt x="6934213" y="3410523"/>
                </a:lnTo>
                <a:lnTo>
                  <a:pt x="6936383" y="3407708"/>
                </a:lnTo>
                <a:lnTo>
                  <a:pt x="6941375" y="3406409"/>
                </a:lnTo>
                <a:lnTo>
                  <a:pt x="6943220" y="3401320"/>
                </a:lnTo>
                <a:lnTo>
                  <a:pt x="6946800" y="3401212"/>
                </a:lnTo>
                <a:lnTo>
                  <a:pt x="6943437" y="3405110"/>
                </a:lnTo>
                <a:lnTo>
                  <a:pt x="6944305" y="3407708"/>
                </a:lnTo>
                <a:lnTo>
                  <a:pt x="6947018" y="3407816"/>
                </a:lnTo>
                <a:lnTo>
                  <a:pt x="6949189" y="3411281"/>
                </a:lnTo>
                <a:lnTo>
                  <a:pt x="6954072" y="3408358"/>
                </a:lnTo>
                <a:lnTo>
                  <a:pt x="6952443" y="3405543"/>
                </a:lnTo>
                <a:lnTo>
                  <a:pt x="6954072" y="3400671"/>
                </a:lnTo>
                <a:lnTo>
                  <a:pt x="6958738" y="3397206"/>
                </a:lnTo>
                <a:lnTo>
                  <a:pt x="6955374" y="3395257"/>
                </a:lnTo>
                <a:lnTo>
                  <a:pt x="6956025" y="3391251"/>
                </a:lnTo>
                <a:lnTo>
                  <a:pt x="6958738" y="3392009"/>
                </a:lnTo>
                <a:lnTo>
                  <a:pt x="6961993" y="3398830"/>
                </a:lnTo>
                <a:lnTo>
                  <a:pt x="6963078" y="3395907"/>
                </a:lnTo>
                <a:lnTo>
                  <a:pt x="6967419" y="3394716"/>
                </a:lnTo>
                <a:lnTo>
                  <a:pt x="6966334" y="3397423"/>
                </a:lnTo>
                <a:lnTo>
                  <a:pt x="6969589" y="3397964"/>
                </a:lnTo>
                <a:lnTo>
                  <a:pt x="6972845" y="3393092"/>
                </a:lnTo>
                <a:lnTo>
                  <a:pt x="6975558" y="3392117"/>
                </a:lnTo>
                <a:lnTo>
                  <a:pt x="6973278" y="3389843"/>
                </a:lnTo>
                <a:lnTo>
                  <a:pt x="6976100" y="3388003"/>
                </a:lnTo>
                <a:lnTo>
                  <a:pt x="6980658" y="3390926"/>
                </a:lnTo>
                <a:lnTo>
                  <a:pt x="6987386" y="3392551"/>
                </a:lnTo>
                <a:lnTo>
                  <a:pt x="6990967" y="3397964"/>
                </a:lnTo>
                <a:lnTo>
                  <a:pt x="6997804" y="3410415"/>
                </a:lnTo>
                <a:lnTo>
                  <a:pt x="7001819" y="3410957"/>
                </a:lnTo>
                <a:lnTo>
                  <a:pt x="7004206" y="3413988"/>
                </a:lnTo>
                <a:lnTo>
                  <a:pt x="7000408" y="3418643"/>
                </a:lnTo>
                <a:lnTo>
                  <a:pt x="7000734" y="3426114"/>
                </a:lnTo>
                <a:lnTo>
                  <a:pt x="6997044" y="3430987"/>
                </a:lnTo>
                <a:lnTo>
                  <a:pt x="6991618" y="3433477"/>
                </a:lnTo>
                <a:lnTo>
                  <a:pt x="6998563" y="3432177"/>
                </a:lnTo>
                <a:lnTo>
                  <a:pt x="7003229" y="3429471"/>
                </a:lnTo>
                <a:lnTo>
                  <a:pt x="7003229" y="3427197"/>
                </a:lnTo>
                <a:lnTo>
                  <a:pt x="7005617" y="3426655"/>
                </a:lnTo>
                <a:lnTo>
                  <a:pt x="7006268" y="3428605"/>
                </a:lnTo>
                <a:lnTo>
                  <a:pt x="7007244" y="3425898"/>
                </a:lnTo>
                <a:lnTo>
                  <a:pt x="7003772" y="3421351"/>
                </a:lnTo>
                <a:lnTo>
                  <a:pt x="7005942" y="3418535"/>
                </a:lnTo>
                <a:lnTo>
                  <a:pt x="7007895" y="3418535"/>
                </a:lnTo>
                <a:lnTo>
                  <a:pt x="7010501" y="3420700"/>
                </a:lnTo>
                <a:lnTo>
                  <a:pt x="7012996" y="3418102"/>
                </a:lnTo>
                <a:lnTo>
                  <a:pt x="7010608" y="3415396"/>
                </a:lnTo>
                <a:lnTo>
                  <a:pt x="7018096" y="3413988"/>
                </a:lnTo>
                <a:lnTo>
                  <a:pt x="7028188" y="3420485"/>
                </a:lnTo>
                <a:lnTo>
                  <a:pt x="7028731" y="3424274"/>
                </a:lnTo>
                <a:lnTo>
                  <a:pt x="7030575" y="3421026"/>
                </a:lnTo>
                <a:lnTo>
                  <a:pt x="7030684" y="3418102"/>
                </a:lnTo>
                <a:lnTo>
                  <a:pt x="7035242" y="3418643"/>
                </a:lnTo>
                <a:lnTo>
                  <a:pt x="7039040" y="3425681"/>
                </a:lnTo>
                <a:lnTo>
                  <a:pt x="7045225" y="3430661"/>
                </a:lnTo>
                <a:lnTo>
                  <a:pt x="7041102" y="3425031"/>
                </a:lnTo>
                <a:lnTo>
                  <a:pt x="7041210" y="3419835"/>
                </a:lnTo>
                <a:lnTo>
                  <a:pt x="7037195" y="3416695"/>
                </a:lnTo>
                <a:lnTo>
                  <a:pt x="7037086" y="3413771"/>
                </a:lnTo>
                <a:lnTo>
                  <a:pt x="7039040" y="3416695"/>
                </a:lnTo>
                <a:lnTo>
                  <a:pt x="7045225" y="3417453"/>
                </a:lnTo>
                <a:lnTo>
                  <a:pt x="7049024" y="3415829"/>
                </a:lnTo>
                <a:lnTo>
                  <a:pt x="7039257" y="3412580"/>
                </a:lnTo>
                <a:lnTo>
                  <a:pt x="7041102" y="3409116"/>
                </a:lnTo>
                <a:lnTo>
                  <a:pt x="7044141" y="3408249"/>
                </a:lnTo>
                <a:lnTo>
                  <a:pt x="7036002" y="3406733"/>
                </a:lnTo>
                <a:lnTo>
                  <a:pt x="7032746" y="3403378"/>
                </a:lnTo>
                <a:lnTo>
                  <a:pt x="7036544" y="3400996"/>
                </a:lnTo>
                <a:lnTo>
                  <a:pt x="7037955" y="3394716"/>
                </a:lnTo>
                <a:lnTo>
                  <a:pt x="7041102" y="3393741"/>
                </a:lnTo>
                <a:lnTo>
                  <a:pt x="7044791" y="3386162"/>
                </a:lnTo>
                <a:lnTo>
                  <a:pt x="7049024" y="3379558"/>
                </a:lnTo>
                <a:lnTo>
                  <a:pt x="7053147" y="3379558"/>
                </a:lnTo>
                <a:lnTo>
                  <a:pt x="7056620" y="3376635"/>
                </a:lnTo>
                <a:lnTo>
                  <a:pt x="7060852" y="3379017"/>
                </a:lnTo>
                <a:lnTo>
                  <a:pt x="7059875" y="3376418"/>
                </a:lnTo>
                <a:lnTo>
                  <a:pt x="7056294" y="3372629"/>
                </a:lnTo>
                <a:lnTo>
                  <a:pt x="7055860" y="3369706"/>
                </a:lnTo>
                <a:lnTo>
                  <a:pt x="7059875" y="3367431"/>
                </a:lnTo>
                <a:lnTo>
                  <a:pt x="7062371" y="3366133"/>
                </a:lnTo>
                <a:lnTo>
                  <a:pt x="7060092" y="3363643"/>
                </a:lnTo>
                <a:lnTo>
                  <a:pt x="7063131" y="3360611"/>
                </a:lnTo>
                <a:lnTo>
                  <a:pt x="7069099" y="3362451"/>
                </a:lnTo>
                <a:lnTo>
                  <a:pt x="7069425" y="3360394"/>
                </a:lnTo>
                <a:lnTo>
                  <a:pt x="7067254" y="3357362"/>
                </a:lnTo>
                <a:lnTo>
                  <a:pt x="7069425" y="3354115"/>
                </a:lnTo>
                <a:lnTo>
                  <a:pt x="7075068" y="3355847"/>
                </a:lnTo>
                <a:lnTo>
                  <a:pt x="7076695" y="3358229"/>
                </a:lnTo>
                <a:lnTo>
                  <a:pt x="7075285" y="3351949"/>
                </a:lnTo>
                <a:lnTo>
                  <a:pt x="7079734" y="3352815"/>
                </a:lnTo>
                <a:lnTo>
                  <a:pt x="7079191" y="3348376"/>
                </a:lnTo>
                <a:lnTo>
                  <a:pt x="7084617" y="3346319"/>
                </a:lnTo>
                <a:lnTo>
                  <a:pt x="7085377" y="3344370"/>
                </a:lnTo>
                <a:lnTo>
                  <a:pt x="7090585" y="3348917"/>
                </a:lnTo>
                <a:lnTo>
                  <a:pt x="7104367" y="3348160"/>
                </a:lnTo>
                <a:lnTo>
                  <a:pt x="7108166" y="3345670"/>
                </a:lnTo>
                <a:lnTo>
                  <a:pt x="7111746" y="3346752"/>
                </a:lnTo>
                <a:lnTo>
                  <a:pt x="7113374" y="3349892"/>
                </a:lnTo>
                <a:lnTo>
                  <a:pt x="7115218" y="3344587"/>
                </a:lnTo>
                <a:lnTo>
                  <a:pt x="7120102" y="3344154"/>
                </a:lnTo>
                <a:lnTo>
                  <a:pt x="7118691" y="3336574"/>
                </a:lnTo>
                <a:lnTo>
                  <a:pt x="7119125" y="3333326"/>
                </a:lnTo>
                <a:lnTo>
                  <a:pt x="7112288" y="3327588"/>
                </a:lnTo>
                <a:lnTo>
                  <a:pt x="7108273" y="3329320"/>
                </a:lnTo>
                <a:lnTo>
                  <a:pt x="7103824" y="3328238"/>
                </a:lnTo>
                <a:lnTo>
                  <a:pt x="7105235" y="3327047"/>
                </a:lnTo>
                <a:lnTo>
                  <a:pt x="7100569" y="3323366"/>
                </a:lnTo>
                <a:lnTo>
                  <a:pt x="7104584" y="3320334"/>
                </a:lnTo>
                <a:lnTo>
                  <a:pt x="7107840" y="3322716"/>
                </a:lnTo>
                <a:lnTo>
                  <a:pt x="7108708" y="3320875"/>
                </a:lnTo>
                <a:lnTo>
                  <a:pt x="7115001" y="3324556"/>
                </a:lnTo>
                <a:lnTo>
                  <a:pt x="7119017" y="3325964"/>
                </a:lnTo>
                <a:lnTo>
                  <a:pt x="7120861" y="3330295"/>
                </a:lnTo>
                <a:lnTo>
                  <a:pt x="7128023" y="3328129"/>
                </a:lnTo>
                <a:lnTo>
                  <a:pt x="7127481" y="3326072"/>
                </a:lnTo>
                <a:lnTo>
                  <a:pt x="7129652" y="3325531"/>
                </a:lnTo>
                <a:lnTo>
                  <a:pt x="7133233" y="3330078"/>
                </a:lnTo>
                <a:lnTo>
                  <a:pt x="7132907" y="3333543"/>
                </a:lnTo>
                <a:lnTo>
                  <a:pt x="7138116" y="3335925"/>
                </a:lnTo>
                <a:lnTo>
                  <a:pt x="7143976" y="3336791"/>
                </a:lnTo>
                <a:lnTo>
                  <a:pt x="7149402" y="3334193"/>
                </a:lnTo>
                <a:lnTo>
                  <a:pt x="7152115" y="3339282"/>
                </a:lnTo>
                <a:lnTo>
                  <a:pt x="7154285" y="3339823"/>
                </a:lnTo>
                <a:lnTo>
                  <a:pt x="7156130" y="3343287"/>
                </a:lnTo>
                <a:lnTo>
                  <a:pt x="7158408" y="3341772"/>
                </a:lnTo>
                <a:lnTo>
                  <a:pt x="7162424" y="3343503"/>
                </a:lnTo>
                <a:lnTo>
                  <a:pt x="7167958" y="3340364"/>
                </a:lnTo>
                <a:lnTo>
                  <a:pt x="7170019" y="3340905"/>
                </a:lnTo>
                <a:lnTo>
                  <a:pt x="7173601" y="3345994"/>
                </a:lnTo>
                <a:lnTo>
                  <a:pt x="7173818" y="3348160"/>
                </a:lnTo>
                <a:lnTo>
                  <a:pt x="7178376" y="3348484"/>
                </a:lnTo>
                <a:lnTo>
                  <a:pt x="7179786" y="3350433"/>
                </a:lnTo>
                <a:lnTo>
                  <a:pt x="7182608" y="3349892"/>
                </a:lnTo>
                <a:lnTo>
                  <a:pt x="7183367" y="3347943"/>
                </a:lnTo>
                <a:lnTo>
                  <a:pt x="7188794" y="3346211"/>
                </a:lnTo>
                <a:lnTo>
                  <a:pt x="7191288" y="3343287"/>
                </a:lnTo>
                <a:lnTo>
                  <a:pt x="7194761" y="3341772"/>
                </a:lnTo>
                <a:lnTo>
                  <a:pt x="7193676" y="3344154"/>
                </a:lnTo>
                <a:lnTo>
                  <a:pt x="7190963" y="3347077"/>
                </a:lnTo>
                <a:lnTo>
                  <a:pt x="7190747" y="3350109"/>
                </a:lnTo>
                <a:lnTo>
                  <a:pt x="7194001" y="3349242"/>
                </a:lnTo>
                <a:lnTo>
                  <a:pt x="7195737" y="3346211"/>
                </a:lnTo>
                <a:lnTo>
                  <a:pt x="7197692" y="3348917"/>
                </a:lnTo>
                <a:lnTo>
                  <a:pt x="7198559" y="3351733"/>
                </a:lnTo>
                <a:lnTo>
                  <a:pt x="7202358" y="3354115"/>
                </a:lnTo>
                <a:lnTo>
                  <a:pt x="7206372" y="3352166"/>
                </a:lnTo>
                <a:lnTo>
                  <a:pt x="7206372" y="3348917"/>
                </a:lnTo>
                <a:lnTo>
                  <a:pt x="7203442" y="3347618"/>
                </a:lnTo>
                <a:lnTo>
                  <a:pt x="7209085" y="3340905"/>
                </a:lnTo>
                <a:lnTo>
                  <a:pt x="7213101" y="3339065"/>
                </a:lnTo>
                <a:lnTo>
                  <a:pt x="7213752" y="3347185"/>
                </a:lnTo>
                <a:lnTo>
                  <a:pt x="7216790" y="3348484"/>
                </a:lnTo>
                <a:lnTo>
                  <a:pt x="7219938" y="3344911"/>
                </a:lnTo>
                <a:lnTo>
                  <a:pt x="7224821" y="3347185"/>
                </a:lnTo>
                <a:lnTo>
                  <a:pt x="7224604" y="3349567"/>
                </a:lnTo>
                <a:lnTo>
                  <a:pt x="7221348" y="3353897"/>
                </a:lnTo>
                <a:lnTo>
                  <a:pt x="7218309" y="3355522"/>
                </a:lnTo>
                <a:lnTo>
                  <a:pt x="7215922" y="3363643"/>
                </a:lnTo>
                <a:lnTo>
                  <a:pt x="7212450" y="3362776"/>
                </a:lnTo>
                <a:lnTo>
                  <a:pt x="7209194" y="3365266"/>
                </a:lnTo>
                <a:lnTo>
                  <a:pt x="7213426" y="3368731"/>
                </a:lnTo>
                <a:lnTo>
                  <a:pt x="7211364" y="3374145"/>
                </a:lnTo>
                <a:lnTo>
                  <a:pt x="7205504" y="3376851"/>
                </a:lnTo>
                <a:lnTo>
                  <a:pt x="7201056" y="3375985"/>
                </a:lnTo>
                <a:lnTo>
                  <a:pt x="7199862" y="3374145"/>
                </a:lnTo>
                <a:lnTo>
                  <a:pt x="7196932" y="3375444"/>
                </a:lnTo>
                <a:lnTo>
                  <a:pt x="7194436" y="3375227"/>
                </a:lnTo>
                <a:lnTo>
                  <a:pt x="7195304" y="3380315"/>
                </a:lnTo>
                <a:lnTo>
                  <a:pt x="7190421" y="3383564"/>
                </a:lnTo>
                <a:lnTo>
                  <a:pt x="7193893" y="3389952"/>
                </a:lnTo>
                <a:lnTo>
                  <a:pt x="7198017" y="3386920"/>
                </a:lnTo>
                <a:lnTo>
                  <a:pt x="7196064" y="3391251"/>
                </a:lnTo>
                <a:lnTo>
                  <a:pt x="7194544" y="3397964"/>
                </a:lnTo>
                <a:lnTo>
                  <a:pt x="7189878" y="3401212"/>
                </a:lnTo>
                <a:lnTo>
                  <a:pt x="7188794" y="3406951"/>
                </a:lnTo>
                <a:lnTo>
                  <a:pt x="7184235" y="3414204"/>
                </a:lnTo>
                <a:lnTo>
                  <a:pt x="7184452" y="3420159"/>
                </a:lnTo>
                <a:lnTo>
                  <a:pt x="7189661" y="3426222"/>
                </a:lnTo>
                <a:lnTo>
                  <a:pt x="7193676" y="3426764"/>
                </a:lnTo>
                <a:lnTo>
                  <a:pt x="7199862" y="3433151"/>
                </a:lnTo>
                <a:lnTo>
                  <a:pt x="7200947" y="3437808"/>
                </a:lnTo>
                <a:lnTo>
                  <a:pt x="7206915" y="3442680"/>
                </a:lnTo>
                <a:lnTo>
                  <a:pt x="7205613" y="3444628"/>
                </a:lnTo>
                <a:lnTo>
                  <a:pt x="7209953" y="3445711"/>
                </a:lnTo>
                <a:lnTo>
                  <a:pt x="7215163" y="3445603"/>
                </a:lnTo>
                <a:lnTo>
                  <a:pt x="7217876" y="3447769"/>
                </a:lnTo>
                <a:lnTo>
                  <a:pt x="7221022" y="3448093"/>
                </a:lnTo>
                <a:lnTo>
                  <a:pt x="7221348" y="3451125"/>
                </a:lnTo>
                <a:lnTo>
                  <a:pt x="7226990" y="3454806"/>
                </a:lnTo>
                <a:lnTo>
                  <a:pt x="7233285" y="3455348"/>
                </a:lnTo>
                <a:lnTo>
                  <a:pt x="7238494" y="3461952"/>
                </a:lnTo>
                <a:lnTo>
                  <a:pt x="7239795" y="3465958"/>
                </a:lnTo>
                <a:lnTo>
                  <a:pt x="7246632" y="3470289"/>
                </a:lnTo>
                <a:lnTo>
                  <a:pt x="7254120" y="3470830"/>
                </a:lnTo>
                <a:lnTo>
                  <a:pt x="7258786" y="3472779"/>
                </a:lnTo>
                <a:lnTo>
                  <a:pt x="7264429" y="3473753"/>
                </a:lnTo>
                <a:lnTo>
                  <a:pt x="7265840" y="3478950"/>
                </a:lnTo>
                <a:lnTo>
                  <a:pt x="7267468" y="3481116"/>
                </a:lnTo>
                <a:lnTo>
                  <a:pt x="7267684" y="3484039"/>
                </a:lnTo>
                <a:lnTo>
                  <a:pt x="7273653" y="3488695"/>
                </a:lnTo>
                <a:lnTo>
                  <a:pt x="7276691" y="3492917"/>
                </a:lnTo>
                <a:lnTo>
                  <a:pt x="7282986" y="3493350"/>
                </a:lnTo>
                <a:lnTo>
                  <a:pt x="7289171" y="3497789"/>
                </a:lnTo>
                <a:lnTo>
                  <a:pt x="7304363" y="3491726"/>
                </a:lnTo>
                <a:lnTo>
                  <a:pt x="7311742" y="3486204"/>
                </a:lnTo>
                <a:lnTo>
                  <a:pt x="7312285" y="3477110"/>
                </a:lnTo>
                <a:lnTo>
                  <a:pt x="7316625" y="3472779"/>
                </a:lnTo>
                <a:lnTo>
                  <a:pt x="7319447" y="3465417"/>
                </a:lnTo>
                <a:lnTo>
                  <a:pt x="7317927" y="3460544"/>
                </a:lnTo>
                <a:lnTo>
                  <a:pt x="7322160" y="3455889"/>
                </a:lnTo>
                <a:lnTo>
                  <a:pt x="7323028" y="3442355"/>
                </a:lnTo>
                <a:lnTo>
                  <a:pt x="7327912" y="3433151"/>
                </a:lnTo>
                <a:lnTo>
                  <a:pt x="7327912" y="3429146"/>
                </a:lnTo>
                <a:lnTo>
                  <a:pt x="7332469" y="3425031"/>
                </a:lnTo>
                <a:lnTo>
                  <a:pt x="7332903" y="3417994"/>
                </a:lnTo>
                <a:lnTo>
                  <a:pt x="7330625" y="3411823"/>
                </a:lnTo>
                <a:lnTo>
                  <a:pt x="7332252" y="3403161"/>
                </a:lnTo>
                <a:lnTo>
                  <a:pt x="7330081" y="3395257"/>
                </a:lnTo>
                <a:lnTo>
                  <a:pt x="7332252" y="3383564"/>
                </a:lnTo>
                <a:lnTo>
                  <a:pt x="7334964" y="3381507"/>
                </a:lnTo>
                <a:lnTo>
                  <a:pt x="7338546" y="3383023"/>
                </a:lnTo>
                <a:lnTo>
                  <a:pt x="7338004" y="3379017"/>
                </a:lnTo>
                <a:lnTo>
                  <a:pt x="7334531" y="3373386"/>
                </a:lnTo>
                <a:lnTo>
                  <a:pt x="7337136" y="3368731"/>
                </a:lnTo>
                <a:lnTo>
                  <a:pt x="7339089" y="3363967"/>
                </a:lnTo>
                <a:lnTo>
                  <a:pt x="7342127" y="3364617"/>
                </a:lnTo>
                <a:lnTo>
                  <a:pt x="7345057" y="3362560"/>
                </a:lnTo>
                <a:lnTo>
                  <a:pt x="7340608" y="3358986"/>
                </a:lnTo>
                <a:lnTo>
                  <a:pt x="7336918" y="3355522"/>
                </a:lnTo>
                <a:lnTo>
                  <a:pt x="7341042" y="3349784"/>
                </a:lnTo>
                <a:lnTo>
                  <a:pt x="7344189" y="3341988"/>
                </a:lnTo>
                <a:lnTo>
                  <a:pt x="7346902" y="3342313"/>
                </a:lnTo>
                <a:lnTo>
                  <a:pt x="7347987" y="3337549"/>
                </a:lnTo>
                <a:lnTo>
                  <a:pt x="7347987" y="3335492"/>
                </a:lnTo>
                <a:lnTo>
                  <a:pt x="7350483" y="3328238"/>
                </a:lnTo>
                <a:lnTo>
                  <a:pt x="7350483" y="3319793"/>
                </a:lnTo>
                <a:lnTo>
                  <a:pt x="7353196" y="3316003"/>
                </a:lnTo>
                <a:close/>
                <a:moveTo>
                  <a:pt x="4796274" y="3313282"/>
                </a:moveTo>
                <a:lnTo>
                  <a:pt x="4797845" y="3313730"/>
                </a:lnTo>
                <a:lnTo>
                  <a:pt x="4800775" y="3315787"/>
                </a:lnTo>
                <a:lnTo>
                  <a:pt x="4801475" y="3315883"/>
                </a:lnTo>
                <a:lnTo>
                  <a:pt x="4800776" y="3315787"/>
                </a:lnTo>
                <a:lnTo>
                  <a:pt x="4797846" y="3313729"/>
                </a:lnTo>
                <a:close/>
                <a:moveTo>
                  <a:pt x="4540335" y="3311563"/>
                </a:moveTo>
                <a:lnTo>
                  <a:pt x="4541637" y="3313728"/>
                </a:lnTo>
                <a:lnTo>
                  <a:pt x="4542072" y="3317085"/>
                </a:lnTo>
                <a:lnTo>
                  <a:pt x="4541746" y="3318817"/>
                </a:lnTo>
                <a:lnTo>
                  <a:pt x="4543591" y="3318925"/>
                </a:lnTo>
                <a:lnTo>
                  <a:pt x="4548257" y="3321091"/>
                </a:lnTo>
                <a:lnTo>
                  <a:pt x="4543591" y="3318925"/>
                </a:lnTo>
                <a:lnTo>
                  <a:pt x="4541746" y="3318817"/>
                </a:lnTo>
                <a:lnTo>
                  <a:pt x="4542072" y="3317085"/>
                </a:lnTo>
                <a:lnTo>
                  <a:pt x="4541638" y="3313729"/>
                </a:lnTo>
                <a:close/>
                <a:moveTo>
                  <a:pt x="4794590" y="3310915"/>
                </a:moveTo>
                <a:lnTo>
                  <a:pt x="4794807" y="3312863"/>
                </a:lnTo>
                <a:lnTo>
                  <a:pt x="4794808" y="3312863"/>
                </a:lnTo>
                <a:lnTo>
                  <a:pt x="4794591" y="3310915"/>
                </a:lnTo>
                <a:close/>
                <a:moveTo>
                  <a:pt x="4971473" y="3309073"/>
                </a:moveTo>
                <a:lnTo>
                  <a:pt x="4974077" y="3309397"/>
                </a:lnTo>
                <a:lnTo>
                  <a:pt x="4976248" y="3314053"/>
                </a:lnTo>
                <a:lnTo>
                  <a:pt x="4974512" y="3316435"/>
                </a:lnTo>
                <a:lnTo>
                  <a:pt x="4976031" y="3321091"/>
                </a:lnTo>
                <a:lnTo>
                  <a:pt x="4974186" y="3323797"/>
                </a:lnTo>
                <a:lnTo>
                  <a:pt x="4971907" y="3324447"/>
                </a:lnTo>
                <a:lnTo>
                  <a:pt x="4969628" y="3323473"/>
                </a:lnTo>
                <a:lnTo>
                  <a:pt x="4968977" y="3318059"/>
                </a:lnTo>
                <a:lnTo>
                  <a:pt x="4967892" y="3314919"/>
                </a:lnTo>
                <a:close/>
                <a:moveTo>
                  <a:pt x="4532414" y="3308207"/>
                </a:moveTo>
                <a:lnTo>
                  <a:pt x="4530894" y="3309831"/>
                </a:lnTo>
                <a:lnTo>
                  <a:pt x="4529104" y="3309885"/>
                </a:lnTo>
                <a:lnTo>
                  <a:pt x="4530894" y="3309831"/>
                </a:lnTo>
                <a:close/>
                <a:moveTo>
                  <a:pt x="4852973" y="3308100"/>
                </a:moveTo>
                <a:lnTo>
                  <a:pt x="4856227" y="3310481"/>
                </a:lnTo>
                <a:lnTo>
                  <a:pt x="4856228" y="3310481"/>
                </a:lnTo>
                <a:close/>
                <a:moveTo>
                  <a:pt x="7349398" y="3306259"/>
                </a:moveTo>
                <a:lnTo>
                  <a:pt x="7352437" y="3306801"/>
                </a:lnTo>
                <a:lnTo>
                  <a:pt x="7354174" y="3310590"/>
                </a:lnTo>
                <a:lnTo>
                  <a:pt x="7351785" y="3310806"/>
                </a:lnTo>
                <a:lnTo>
                  <a:pt x="7349507" y="3312106"/>
                </a:lnTo>
                <a:close/>
                <a:moveTo>
                  <a:pt x="4467087" y="3306041"/>
                </a:moveTo>
                <a:lnTo>
                  <a:pt x="4467087" y="3306042"/>
                </a:lnTo>
                <a:lnTo>
                  <a:pt x="4467350" y="3306740"/>
                </a:lnTo>
                <a:close/>
                <a:moveTo>
                  <a:pt x="4475334" y="3304201"/>
                </a:moveTo>
                <a:lnTo>
                  <a:pt x="4474032" y="3305067"/>
                </a:lnTo>
                <a:lnTo>
                  <a:pt x="4471970" y="3305717"/>
                </a:lnTo>
                <a:lnTo>
                  <a:pt x="4470451" y="3307341"/>
                </a:lnTo>
                <a:lnTo>
                  <a:pt x="4467738" y="3307774"/>
                </a:lnTo>
                <a:lnTo>
                  <a:pt x="4467739" y="3307775"/>
                </a:lnTo>
                <a:lnTo>
                  <a:pt x="4470452" y="3307342"/>
                </a:lnTo>
                <a:lnTo>
                  <a:pt x="4471971" y="3305718"/>
                </a:lnTo>
                <a:lnTo>
                  <a:pt x="4474032" y="3305068"/>
                </a:lnTo>
                <a:lnTo>
                  <a:pt x="4475335" y="3304202"/>
                </a:lnTo>
                <a:lnTo>
                  <a:pt x="4477613" y="3304202"/>
                </a:lnTo>
                <a:lnTo>
                  <a:pt x="4480343" y="3306134"/>
                </a:lnTo>
                <a:lnTo>
                  <a:pt x="4477613" y="3304201"/>
                </a:lnTo>
                <a:close/>
                <a:moveTo>
                  <a:pt x="6896884" y="3303552"/>
                </a:moveTo>
                <a:lnTo>
                  <a:pt x="6898077" y="3306258"/>
                </a:lnTo>
                <a:lnTo>
                  <a:pt x="6896558" y="3310048"/>
                </a:lnTo>
                <a:lnTo>
                  <a:pt x="6885707" y="3314595"/>
                </a:lnTo>
                <a:lnTo>
                  <a:pt x="6882343" y="3313296"/>
                </a:lnTo>
                <a:lnTo>
                  <a:pt x="6885924" y="3310048"/>
                </a:lnTo>
                <a:lnTo>
                  <a:pt x="6893303" y="3306475"/>
                </a:lnTo>
                <a:lnTo>
                  <a:pt x="6892435" y="3305609"/>
                </a:lnTo>
                <a:close/>
                <a:moveTo>
                  <a:pt x="4509083" y="3302576"/>
                </a:moveTo>
                <a:lnTo>
                  <a:pt x="4504633" y="3303118"/>
                </a:lnTo>
                <a:lnTo>
                  <a:pt x="4500836" y="3304634"/>
                </a:lnTo>
                <a:lnTo>
                  <a:pt x="4496712" y="3306583"/>
                </a:lnTo>
                <a:lnTo>
                  <a:pt x="4494541" y="3307449"/>
                </a:lnTo>
                <a:lnTo>
                  <a:pt x="4491937" y="3308098"/>
                </a:lnTo>
                <a:lnTo>
                  <a:pt x="4489766" y="3307666"/>
                </a:lnTo>
                <a:lnTo>
                  <a:pt x="4483582" y="3307449"/>
                </a:lnTo>
                <a:lnTo>
                  <a:pt x="4480977" y="3306583"/>
                </a:lnTo>
                <a:lnTo>
                  <a:pt x="4480978" y="3306583"/>
                </a:lnTo>
                <a:lnTo>
                  <a:pt x="4483582" y="3307450"/>
                </a:lnTo>
                <a:lnTo>
                  <a:pt x="4489767" y="3307667"/>
                </a:lnTo>
                <a:lnTo>
                  <a:pt x="4491938" y="3308099"/>
                </a:lnTo>
                <a:lnTo>
                  <a:pt x="4494542" y="3307450"/>
                </a:lnTo>
                <a:lnTo>
                  <a:pt x="4496712" y="3306583"/>
                </a:lnTo>
                <a:lnTo>
                  <a:pt x="4500836" y="3304635"/>
                </a:lnTo>
                <a:lnTo>
                  <a:pt x="4504634" y="3303119"/>
                </a:lnTo>
                <a:lnTo>
                  <a:pt x="4509083" y="3302577"/>
                </a:lnTo>
                <a:close/>
                <a:moveTo>
                  <a:pt x="6861400" y="3302470"/>
                </a:moveTo>
                <a:lnTo>
                  <a:pt x="6864004" y="3304202"/>
                </a:lnTo>
                <a:lnTo>
                  <a:pt x="6864547" y="3306585"/>
                </a:lnTo>
                <a:lnTo>
                  <a:pt x="6861508" y="3308101"/>
                </a:lnTo>
                <a:lnTo>
                  <a:pt x="6857168" y="3307884"/>
                </a:lnTo>
                <a:lnTo>
                  <a:pt x="6859447" y="3303986"/>
                </a:lnTo>
                <a:close/>
                <a:moveTo>
                  <a:pt x="4616297" y="3302468"/>
                </a:moveTo>
                <a:lnTo>
                  <a:pt x="4616622" y="3315678"/>
                </a:lnTo>
                <a:lnTo>
                  <a:pt x="4616948" y="3321849"/>
                </a:lnTo>
                <a:lnTo>
                  <a:pt x="4618710" y="3323182"/>
                </a:lnTo>
                <a:lnTo>
                  <a:pt x="4616948" y="3321848"/>
                </a:lnTo>
                <a:lnTo>
                  <a:pt x="4616622" y="3315677"/>
                </a:lnTo>
                <a:close/>
                <a:moveTo>
                  <a:pt x="2397563" y="3298129"/>
                </a:moveTo>
                <a:lnTo>
                  <a:pt x="2397024" y="3299112"/>
                </a:lnTo>
                <a:lnTo>
                  <a:pt x="2400062" y="3310156"/>
                </a:lnTo>
                <a:lnTo>
                  <a:pt x="2398000" y="3314920"/>
                </a:lnTo>
                <a:lnTo>
                  <a:pt x="2402124" y="3323906"/>
                </a:lnTo>
                <a:lnTo>
                  <a:pt x="2407658" y="3326288"/>
                </a:lnTo>
                <a:lnTo>
                  <a:pt x="2409394" y="3333543"/>
                </a:lnTo>
                <a:lnTo>
                  <a:pt x="2414929" y="3336249"/>
                </a:lnTo>
                <a:lnTo>
                  <a:pt x="2422525" y="3341121"/>
                </a:lnTo>
                <a:lnTo>
                  <a:pt x="2427734" y="3345994"/>
                </a:lnTo>
                <a:lnTo>
                  <a:pt x="2429796" y="3343503"/>
                </a:lnTo>
                <a:lnTo>
                  <a:pt x="2439779" y="3341121"/>
                </a:lnTo>
                <a:lnTo>
                  <a:pt x="2448026" y="3349349"/>
                </a:lnTo>
                <a:lnTo>
                  <a:pt x="2454320" y="3347618"/>
                </a:lnTo>
                <a:lnTo>
                  <a:pt x="2462893" y="3356929"/>
                </a:lnTo>
                <a:lnTo>
                  <a:pt x="2466691" y="3356604"/>
                </a:lnTo>
                <a:lnTo>
                  <a:pt x="2477000" y="3360069"/>
                </a:lnTo>
                <a:lnTo>
                  <a:pt x="2483620" y="3362451"/>
                </a:lnTo>
                <a:lnTo>
                  <a:pt x="2485031" y="3369380"/>
                </a:lnTo>
                <a:lnTo>
                  <a:pt x="2489806" y="3370679"/>
                </a:lnTo>
                <a:lnTo>
                  <a:pt x="2495990" y="3374144"/>
                </a:lnTo>
                <a:lnTo>
                  <a:pt x="2509881" y="3372844"/>
                </a:lnTo>
                <a:lnTo>
                  <a:pt x="2519539" y="3378366"/>
                </a:lnTo>
                <a:lnTo>
                  <a:pt x="2521601" y="3382481"/>
                </a:lnTo>
                <a:lnTo>
                  <a:pt x="2520190" y="3393416"/>
                </a:lnTo>
                <a:lnTo>
                  <a:pt x="2522251" y="3402402"/>
                </a:lnTo>
                <a:lnTo>
                  <a:pt x="2519539" y="3407924"/>
                </a:lnTo>
                <a:lnTo>
                  <a:pt x="2528437" y="3423082"/>
                </a:lnTo>
                <a:lnTo>
                  <a:pt x="2527786" y="3434125"/>
                </a:lnTo>
                <a:lnTo>
                  <a:pt x="2569891" y="3434775"/>
                </a:lnTo>
                <a:lnTo>
                  <a:pt x="2571952" y="3449933"/>
                </a:lnTo>
                <a:lnTo>
                  <a:pt x="2571302" y="3459569"/>
                </a:lnTo>
                <a:lnTo>
                  <a:pt x="2583672" y="3462384"/>
                </a:lnTo>
                <a:lnTo>
                  <a:pt x="2596152" y="3484363"/>
                </a:lnTo>
                <a:lnTo>
                  <a:pt x="2596803" y="3496056"/>
                </a:lnTo>
                <a:lnTo>
                  <a:pt x="2585083" y="3519442"/>
                </a:lnTo>
                <a:lnTo>
                  <a:pt x="2585734" y="3522907"/>
                </a:lnTo>
                <a:lnTo>
                  <a:pt x="2582588" y="3527346"/>
                </a:lnTo>
                <a:lnTo>
                  <a:pt x="2584758" y="3529836"/>
                </a:lnTo>
                <a:lnTo>
                  <a:pt x="2579875" y="3524315"/>
                </a:lnTo>
                <a:lnTo>
                  <a:pt x="2576076" y="3523557"/>
                </a:lnTo>
                <a:lnTo>
                  <a:pt x="2560233" y="3511971"/>
                </a:lnTo>
                <a:lnTo>
                  <a:pt x="2532995" y="3511539"/>
                </a:lnTo>
                <a:lnTo>
                  <a:pt x="2500223" y="3520634"/>
                </a:lnTo>
                <a:lnTo>
                  <a:pt x="2494689" y="3524206"/>
                </a:lnTo>
                <a:lnTo>
                  <a:pt x="2494689" y="3524207"/>
                </a:lnTo>
                <a:lnTo>
                  <a:pt x="2500223" y="3520635"/>
                </a:lnTo>
                <a:lnTo>
                  <a:pt x="2532995" y="3511540"/>
                </a:lnTo>
                <a:lnTo>
                  <a:pt x="2560233" y="3511973"/>
                </a:lnTo>
                <a:lnTo>
                  <a:pt x="2576077" y="3523558"/>
                </a:lnTo>
                <a:lnTo>
                  <a:pt x="2579875" y="3524316"/>
                </a:lnTo>
                <a:lnTo>
                  <a:pt x="2584758" y="3529837"/>
                </a:lnTo>
                <a:lnTo>
                  <a:pt x="2583347" y="3535035"/>
                </a:lnTo>
                <a:lnTo>
                  <a:pt x="2589207" y="3539474"/>
                </a:lnTo>
                <a:lnTo>
                  <a:pt x="2589532" y="3546727"/>
                </a:lnTo>
                <a:lnTo>
                  <a:pt x="2594416" y="3553874"/>
                </a:lnTo>
                <a:lnTo>
                  <a:pt x="2591920" y="3568382"/>
                </a:lnTo>
                <a:lnTo>
                  <a:pt x="2593330" y="3574228"/>
                </a:lnTo>
                <a:lnTo>
                  <a:pt x="2591594" y="3579426"/>
                </a:lnTo>
                <a:lnTo>
                  <a:pt x="2593330" y="3584622"/>
                </a:lnTo>
                <a:lnTo>
                  <a:pt x="2602338" y="3583865"/>
                </a:lnTo>
                <a:lnTo>
                  <a:pt x="2606136" y="3585597"/>
                </a:lnTo>
                <a:lnTo>
                  <a:pt x="2617205" y="3584947"/>
                </a:lnTo>
                <a:lnTo>
                  <a:pt x="2624041" y="3587329"/>
                </a:lnTo>
                <a:lnTo>
                  <a:pt x="2635110" y="3582890"/>
                </a:lnTo>
                <a:lnTo>
                  <a:pt x="2640969" y="3587004"/>
                </a:lnTo>
                <a:lnTo>
                  <a:pt x="2645419" y="3588304"/>
                </a:lnTo>
                <a:lnTo>
                  <a:pt x="2647155" y="3593826"/>
                </a:lnTo>
                <a:lnTo>
                  <a:pt x="2653232" y="3619810"/>
                </a:lnTo>
                <a:lnTo>
                  <a:pt x="2657356" y="3628905"/>
                </a:lnTo>
                <a:lnTo>
                  <a:pt x="2661696" y="3630096"/>
                </a:lnTo>
                <a:lnTo>
                  <a:pt x="2671137" y="3624899"/>
                </a:lnTo>
                <a:lnTo>
                  <a:pt x="2676455" y="3626956"/>
                </a:lnTo>
                <a:lnTo>
                  <a:pt x="2680144" y="3630312"/>
                </a:lnTo>
                <a:lnTo>
                  <a:pt x="2683345" y="3630931"/>
                </a:lnTo>
                <a:lnTo>
                  <a:pt x="2683833" y="3630095"/>
                </a:lnTo>
                <a:lnTo>
                  <a:pt x="2680361" y="3629446"/>
                </a:lnTo>
                <a:lnTo>
                  <a:pt x="2676779" y="3626198"/>
                </a:lnTo>
                <a:lnTo>
                  <a:pt x="2671462" y="3624141"/>
                </a:lnTo>
                <a:lnTo>
                  <a:pt x="2662021" y="3629337"/>
                </a:lnTo>
                <a:lnTo>
                  <a:pt x="2657681" y="3628147"/>
                </a:lnTo>
                <a:lnTo>
                  <a:pt x="2653557" y="3619052"/>
                </a:lnTo>
                <a:lnTo>
                  <a:pt x="2647480" y="3593067"/>
                </a:lnTo>
                <a:lnTo>
                  <a:pt x="2645744" y="3587545"/>
                </a:lnTo>
                <a:lnTo>
                  <a:pt x="2641295" y="3586138"/>
                </a:lnTo>
                <a:lnTo>
                  <a:pt x="2635435" y="3582023"/>
                </a:lnTo>
                <a:lnTo>
                  <a:pt x="2624583" y="3586462"/>
                </a:lnTo>
                <a:lnTo>
                  <a:pt x="2617638" y="3584080"/>
                </a:lnTo>
                <a:lnTo>
                  <a:pt x="2606786" y="3584731"/>
                </a:lnTo>
                <a:lnTo>
                  <a:pt x="2602988" y="3582998"/>
                </a:lnTo>
                <a:lnTo>
                  <a:pt x="2593981" y="3583648"/>
                </a:lnTo>
                <a:lnTo>
                  <a:pt x="2592245" y="3578450"/>
                </a:lnTo>
                <a:lnTo>
                  <a:pt x="2593981" y="3573253"/>
                </a:lnTo>
                <a:lnTo>
                  <a:pt x="2592571" y="3567407"/>
                </a:lnTo>
                <a:lnTo>
                  <a:pt x="2594958" y="3552899"/>
                </a:lnTo>
                <a:lnTo>
                  <a:pt x="2590075" y="3545753"/>
                </a:lnTo>
                <a:lnTo>
                  <a:pt x="2590075" y="3538498"/>
                </a:lnTo>
                <a:lnTo>
                  <a:pt x="2584215" y="3534059"/>
                </a:lnTo>
                <a:lnTo>
                  <a:pt x="2585626" y="3528863"/>
                </a:lnTo>
                <a:lnTo>
                  <a:pt x="2583456" y="3526372"/>
                </a:lnTo>
                <a:lnTo>
                  <a:pt x="2586711" y="3521933"/>
                </a:lnTo>
                <a:lnTo>
                  <a:pt x="2586059" y="3518469"/>
                </a:lnTo>
                <a:lnTo>
                  <a:pt x="2597780" y="3494974"/>
                </a:lnTo>
                <a:lnTo>
                  <a:pt x="2597128" y="3483280"/>
                </a:lnTo>
                <a:lnTo>
                  <a:pt x="2584649" y="3461627"/>
                </a:lnTo>
                <a:lnTo>
                  <a:pt x="2572278" y="3458919"/>
                </a:lnTo>
                <a:lnTo>
                  <a:pt x="2572929" y="3449284"/>
                </a:lnTo>
                <a:lnTo>
                  <a:pt x="2570867" y="3434125"/>
                </a:lnTo>
                <a:lnTo>
                  <a:pt x="2528763" y="3433476"/>
                </a:lnTo>
                <a:lnTo>
                  <a:pt x="2529414" y="3422649"/>
                </a:lnTo>
                <a:lnTo>
                  <a:pt x="2520407" y="3407491"/>
                </a:lnTo>
                <a:lnTo>
                  <a:pt x="2523120" y="3401970"/>
                </a:lnTo>
                <a:lnTo>
                  <a:pt x="2521058" y="3392983"/>
                </a:lnTo>
                <a:lnTo>
                  <a:pt x="2522469" y="3382156"/>
                </a:lnTo>
                <a:lnTo>
                  <a:pt x="2520407" y="3378042"/>
                </a:lnTo>
                <a:lnTo>
                  <a:pt x="2510749" y="3372520"/>
                </a:lnTo>
                <a:lnTo>
                  <a:pt x="2496968" y="3373927"/>
                </a:lnTo>
                <a:lnTo>
                  <a:pt x="2490782" y="3370463"/>
                </a:lnTo>
                <a:lnTo>
                  <a:pt x="2485899" y="3369055"/>
                </a:lnTo>
                <a:lnTo>
                  <a:pt x="2484488" y="3362126"/>
                </a:lnTo>
                <a:lnTo>
                  <a:pt x="2477977" y="3359744"/>
                </a:lnTo>
                <a:lnTo>
                  <a:pt x="2467126" y="3356279"/>
                </a:lnTo>
                <a:lnTo>
                  <a:pt x="2463328" y="3356279"/>
                </a:lnTo>
                <a:lnTo>
                  <a:pt x="2454755" y="3346968"/>
                </a:lnTo>
                <a:lnTo>
                  <a:pt x="2448569" y="3348700"/>
                </a:lnTo>
                <a:lnTo>
                  <a:pt x="2440322" y="3340471"/>
                </a:lnTo>
                <a:lnTo>
                  <a:pt x="2430339" y="3342853"/>
                </a:lnTo>
                <a:lnTo>
                  <a:pt x="2428276" y="3345235"/>
                </a:lnTo>
                <a:lnTo>
                  <a:pt x="2423068" y="3340471"/>
                </a:lnTo>
                <a:lnTo>
                  <a:pt x="2415472" y="3335600"/>
                </a:lnTo>
                <a:lnTo>
                  <a:pt x="2409937" y="3332893"/>
                </a:lnTo>
                <a:lnTo>
                  <a:pt x="2408201" y="3325639"/>
                </a:lnTo>
                <a:lnTo>
                  <a:pt x="2402666" y="3323257"/>
                </a:lnTo>
                <a:lnTo>
                  <a:pt x="2398543" y="3314270"/>
                </a:lnTo>
                <a:lnTo>
                  <a:pt x="2400605" y="3309506"/>
                </a:lnTo>
                <a:lnTo>
                  <a:pt x="2397458" y="3298679"/>
                </a:lnTo>
                <a:close/>
                <a:moveTo>
                  <a:pt x="6896342" y="3295324"/>
                </a:moveTo>
                <a:lnTo>
                  <a:pt x="6898186" y="3295324"/>
                </a:lnTo>
                <a:lnTo>
                  <a:pt x="6896342" y="3300196"/>
                </a:lnTo>
                <a:lnTo>
                  <a:pt x="6893846" y="3299222"/>
                </a:lnTo>
                <a:close/>
                <a:moveTo>
                  <a:pt x="7352763" y="3294024"/>
                </a:moveTo>
                <a:lnTo>
                  <a:pt x="7356018" y="3294457"/>
                </a:lnTo>
                <a:lnTo>
                  <a:pt x="7354065" y="3297056"/>
                </a:lnTo>
                <a:close/>
                <a:moveTo>
                  <a:pt x="4467196" y="3292833"/>
                </a:moveTo>
                <a:lnTo>
                  <a:pt x="4467196" y="3292834"/>
                </a:lnTo>
                <a:lnTo>
                  <a:pt x="4470017" y="3294998"/>
                </a:lnTo>
                <a:lnTo>
                  <a:pt x="4470017" y="3294997"/>
                </a:lnTo>
                <a:close/>
                <a:moveTo>
                  <a:pt x="4624356" y="3287585"/>
                </a:moveTo>
                <a:lnTo>
                  <a:pt x="4624001" y="3289909"/>
                </a:lnTo>
                <a:lnTo>
                  <a:pt x="4623141" y="3290364"/>
                </a:lnTo>
                <a:lnTo>
                  <a:pt x="4624001" y="3289909"/>
                </a:lnTo>
                <a:close/>
                <a:moveTo>
                  <a:pt x="4624721" y="3284652"/>
                </a:moveTo>
                <a:lnTo>
                  <a:pt x="4624761" y="3284929"/>
                </a:lnTo>
                <a:lnTo>
                  <a:pt x="4624761" y="3284928"/>
                </a:lnTo>
                <a:close/>
                <a:moveTo>
                  <a:pt x="7560029" y="3284063"/>
                </a:moveTo>
                <a:lnTo>
                  <a:pt x="7563176" y="3284604"/>
                </a:lnTo>
                <a:lnTo>
                  <a:pt x="7565238" y="3286661"/>
                </a:lnTo>
                <a:lnTo>
                  <a:pt x="7565564" y="3287852"/>
                </a:lnTo>
                <a:lnTo>
                  <a:pt x="7567300" y="3288393"/>
                </a:lnTo>
                <a:lnTo>
                  <a:pt x="7567951" y="3289909"/>
                </a:lnTo>
                <a:lnTo>
                  <a:pt x="7570989" y="3287527"/>
                </a:lnTo>
                <a:lnTo>
                  <a:pt x="7573159" y="3287419"/>
                </a:lnTo>
                <a:lnTo>
                  <a:pt x="7573485" y="3289801"/>
                </a:lnTo>
                <a:lnTo>
                  <a:pt x="7571314" y="3291425"/>
                </a:lnTo>
                <a:lnTo>
                  <a:pt x="7570772" y="3293373"/>
                </a:lnTo>
                <a:lnTo>
                  <a:pt x="7568167" y="3294240"/>
                </a:lnTo>
                <a:lnTo>
                  <a:pt x="7564912" y="3293373"/>
                </a:lnTo>
                <a:lnTo>
                  <a:pt x="7565129" y="3290450"/>
                </a:lnTo>
                <a:lnTo>
                  <a:pt x="7563936" y="3289909"/>
                </a:lnTo>
                <a:lnTo>
                  <a:pt x="7561982" y="3285903"/>
                </a:lnTo>
                <a:lnTo>
                  <a:pt x="7560246" y="3285146"/>
                </a:lnTo>
                <a:close/>
                <a:moveTo>
                  <a:pt x="4464483" y="3280924"/>
                </a:moveTo>
                <a:lnTo>
                  <a:pt x="4467521" y="3283846"/>
                </a:lnTo>
                <a:lnTo>
                  <a:pt x="4467521" y="3283846"/>
                </a:lnTo>
                <a:close/>
                <a:moveTo>
                  <a:pt x="7556665" y="3275834"/>
                </a:moveTo>
                <a:lnTo>
                  <a:pt x="7559378" y="3276375"/>
                </a:lnTo>
                <a:lnTo>
                  <a:pt x="7561224" y="3276375"/>
                </a:lnTo>
                <a:lnTo>
                  <a:pt x="7562091" y="3278324"/>
                </a:lnTo>
                <a:lnTo>
                  <a:pt x="7561440" y="3279190"/>
                </a:lnTo>
                <a:lnTo>
                  <a:pt x="7562959" y="3279190"/>
                </a:lnTo>
                <a:lnTo>
                  <a:pt x="7564261" y="3281247"/>
                </a:lnTo>
                <a:lnTo>
                  <a:pt x="7563068" y="3282871"/>
                </a:lnTo>
                <a:lnTo>
                  <a:pt x="7562091" y="3281464"/>
                </a:lnTo>
                <a:lnTo>
                  <a:pt x="7558835" y="3281788"/>
                </a:lnTo>
                <a:lnTo>
                  <a:pt x="7556557" y="3280597"/>
                </a:lnTo>
                <a:lnTo>
                  <a:pt x="7555689" y="3276483"/>
                </a:lnTo>
                <a:close/>
                <a:moveTo>
                  <a:pt x="4737402" y="3273560"/>
                </a:moveTo>
                <a:lnTo>
                  <a:pt x="4737185" y="3275293"/>
                </a:lnTo>
                <a:lnTo>
                  <a:pt x="4734472" y="3281356"/>
                </a:lnTo>
                <a:lnTo>
                  <a:pt x="4735014" y="3283630"/>
                </a:lnTo>
                <a:lnTo>
                  <a:pt x="4739138" y="3286553"/>
                </a:lnTo>
                <a:lnTo>
                  <a:pt x="4740440" y="3290126"/>
                </a:lnTo>
                <a:lnTo>
                  <a:pt x="4740765" y="3295106"/>
                </a:lnTo>
                <a:lnTo>
                  <a:pt x="4739572" y="3296730"/>
                </a:lnTo>
                <a:lnTo>
                  <a:pt x="4739572" y="3298138"/>
                </a:lnTo>
                <a:lnTo>
                  <a:pt x="4734146" y="3303660"/>
                </a:lnTo>
                <a:lnTo>
                  <a:pt x="4733387" y="3307665"/>
                </a:lnTo>
                <a:lnTo>
                  <a:pt x="4734905" y="3311780"/>
                </a:lnTo>
                <a:lnTo>
                  <a:pt x="4735340" y="3315352"/>
                </a:lnTo>
                <a:lnTo>
                  <a:pt x="4736208" y="3318276"/>
                </a:lnTo>
                <a:lnTo>
                  <a:pt x="4734363" y="3321307"/>
                </a:lnTo>
                <a:lnTo>
                  <a:pt x="4736534" y="3325097"/>
                </a:lnTo>
                <a:lnTo>
                  <a:pt x="4735557" y="3327587"/>
                </a:lnTo>
                <a:lnTo>
                  <a:pt x="4734363" y="3328670"/>
                </a:lnTo>
                <a:lnTo>
                  <a:pt x="4735340" y="3331810"/>
                </a:lnTo>
                <a:lnTo>
                  <a:pt x="4735774" y="3334084"/>
                </a:lnTo>
                <a:lnTo>
                  <a:pt x="4738270" y="3335707"/>
                </a:lnTo>
                <a:lnTo>
                  <a:pt x="4738703" y="3337440"/>
                </a:lnTo>
                <a:lnTo>
                  <a:pt x="4736425" y="3338089"/>
                </a:lnTo>
                <a:lnTo>
                  <a:pt x="4735123" y="3340471"/>
                </a:lnTo>
                <a:lnTo>
                  <a:pt x="4731759" y="3342095"/>
                </a:lnTo>
                <a:lnTo>
                  <a:pt x="4726441" y="3345993"/>
                </a:lnTo>
                <a:lnTo>
                  <a:pt x="4725464" y="3347833"/>
                </a:lnTo>
                <a:lnTo>
                  <a:pt x="4725682" y="3351190"/>
                </a:lnTo>
                <a:lnTo>
                  <a:pt x="4726333" y="3353139"/>
                </a:lnTo>
                <a:lnTo>
                  <a:pt x="4725573" y="3355737"/>
                </a:lnTo>
                <a:lnTo>
                  <a:pt x="4725573" y="3359094"/>
                </a:lnTo>
                <a:lnTo>
                  <a:pt x="4721883" y="3363316"/>
                </a:lnTo>
                <a:lnTo>
                  <a:pt x="4719388" y="3364616"/>
                </a:lnTo>
                <a:lnTo>
                  <a:pt x="4720147" y="3366780"/>
                </a:lnTo>
                <a:lnTo>
                  <a:pt x="4723511" y="3370895"/>
                </a:lnTo>
                <a:lnTo>
                  <a:pt x="4725573" y="3375443"/>
                </a:lnTo>
                <a:lnTo>
                  <a:pt x="4726008" y="3377716"/>
                </a:lnTo>
                <a:lnTo>
                  <a:pt x="4725790" y="3377716"/>
                </a:lnTo>
                <a:lnTo>
                  <a:pt x="4718737" y="3380098"/>
                </a:lnTo>
                <a:lnTo>
                  <a:pt x="4704521" y="3385836"/>
                </a:lnTo>
                <a:lnTo>
                  <a:pt x="4700180" y="3386702"/>
                </a:lnTo>
                <a:lnTo>
                  <a:pt x="4675872" y="3396772"/>
                </a:lnTo>
                <a:lnTo>
                  <a:pt x="4670881" y="3396772"/>
                </a:lnTo>
                <a:lnTo>
                  <a:pt x="4661548" y="3401644"/>
                </a:lnTo>
                <a:lnTo>
                  <a:pt x="4659487" y="3405217"/>
                </a:lnTo>
                <a:lnTo>
                  <a:pt x="4659487" y="3405218"/>
                </a:lnTo>
                <a:lnTo>
                  <a:pt x="4661549" y="3401645"/>
                </a:lnTo>
                <a:lnTo>
                  <a:pt x="4670881" y="3396773"/>
                </a:lnTo>
                <a:lnTo>
                  <a:pt x="4675873" y="3396773"/>
                </a:lnTo>
                <a:lnTo>
                  <a:pt x="4700180" y="3386703"/>
                </a:lnTo>
                <a:lnTo>
                  <a:pt x="4704521" y="3385837"/>
                </a:lnTo>
                <a:lnTo>
                  <a:pt x="4718737" y="3380099"/>
                </a:lnTo>
                <a:lnTo>
                  <a:pt x="4725790" y="3377717"/>
                </a:lnTo>
                <a:lnTo>
                  <a:pt x="4726008" y="3377717"/>
                </a:lnTo>
                <a:lnTo>
                  <a:pt x="4732410" y="3376201"/>
                </a:lnTo>
                <a:lnTo>
                  <a:pt x="4733929" y="3378691"/>
                </a:lnTo>
                <a:lnTo>
                  <a:pt x="4734797" y="3380965"/>
                </a:lnTo>
                <a:lnTo>
                  <a:pt x="4736859" y="3383456"/>
                </a:lnTo>
                <a:lnTo>
                  <a:pt x="4737185" y="3386270"/>
                </a:lnTo>
                <a:lnTo>
                  <a:pt x="4741200" y="3388760"/>
                </a:lnTo>
                <a:lnTo>
                  <a:pt x="4741200" y="3388760"/>
                </a:lnTo>
                <a:lnTo>
                  <a:pt x="4737186" y="3386270"/>
                </a:lnTo>
                <a:lnTo>
                  <a:pt x="4736860" y="3383455"/>
                </a:lnTo>
                <a:lnTo>
                  <a:pt x="4734798" y="3380965"/>
                </a:lnTo>
                <a:lnTo>
                  <a:pt x="4733930" y="3378692"/>
                </a:lnTo>
                <a:lnTo>
                  <a:pt x="4732411" y="3376201"/>
                </a:lnTo>
                <a:lnTo>
                  <a:pt x="4726009" y="3377717"/>
                </a:lnTo>
                <a:lnTo>
                  <a:pt x="4725574" y="3375443"/>
                </a:lnTo>
                <a:lnTo>
                  <a:pt x="4723512" y="3370896"/>
                </a:lnTo>
                <a:lnTo>
                  <a:pt x="4720149" y="3366782"/>
                </a:lnTo>
                <a:lnTo>
                  <a:pt x="4719389" y="3364616"/>
                </a:lnTo>
                <a:lnTo>
                  <a:pt x="4721884" y="3363317"/>
                </a:lnTo>
                <a:lnTo>
                  <a:pt x="4725574" y="3359094"/>
                </a:lnTo>
                <a:lnTo>
                  <a:pt x="4725574" y="3355738"/>
                </a:lnTo>
                <a:lnTo>
                  <a:pt x="4726334" y="3353139"/>
                </a:lnTo>
                <a:lnTo>
                  <a:pt x="4725683" y="3351191"/>
                </a:lnTo>
                <a:lnTo>
                  <a:pt x="4725465" y="3347834"/>
                </a:lnTo>
                <a:lnTo>
                  <a:pt x="4726442" y="3345994"/>
                </a:lnTo>
                <a:lnTo>
                  <a:pt x="4731760" y="3342095"/>
                </a:lnTo>
                <a:lnTo>
                  <a:pt x="4735124" y="3340472"/>
                </a:lnTo>
                <a:lnTo>
                  <a:pt x="4736426" y="3338090"/>
                </a:lnTo>
                <a:lnTo>
                  <a:pt x="4738704" y="3337440"/>
                </a:lnTo>
                <a:lnTo>
                  <a:pt x="4738271" y="3335708"/>
                </a:lnTo>
                <a:lnTo>
                  <a:pt x="4735775" y="3334084"/>
                </a:lnTo>
                <a:lnTo>
                  <a:pt x="4735341" y="3331810"/>
                </a:lnTo>
                <a:lnTo>
                  <a:pt x="4734364" y="3328670"/>
                </a:lnTo>
                <a:lnTo>
                  <a:pt x="4735558" y="3327587"/>
                </a:lnTo>
                <a:lnTo>
                  <a:pt x="4736535" y="3325097"/>
                </a:lnTo>
                <a:lnTo>
                  <a:pt x="4734364" y="3321308"/>
                </a:lnTo>
                <a:lnTo>
                  <a:pt x="4736209" y="3318276"/>
                </a:lnTo>
                <a:lnTo>
                  <a:pt x="4735341" y="3315353"/>
                </a:lnTo>
                <a:lnTo>
                  <a:pt x="4734906" y="3311780"/>
                </a:lnTo>
                <a:lnTo>
                  <a:pt x="4733388" y="3307666"/>
                </a:lnTo>
                <a:lnTo>
                  <a:pt x="4734147" y="3303660"/>
                </a:lnTo>
                <a:lnTo>
                  <a:pt x="4739573" y="3298138"/>
                </a:lnTo>
                <a:lnTo>
                  <a:pt x="4739573" y="3296730"/>
                </a:lnTo>
                <a:lnTo>
                  <a:pt x="4740767" y="3295106"/>
                </a:lnTo>
                <a:lnTo>
                  <a:pt x="4740441" y="3290126"/>
                </a:lnTo>
                <a:lnTo>
                  <a:pt x="4739139" y="3286553"/>
                </a:lnTo>
                <a:lnTo>
                  <a:pt x="4735015" y="3283630"/>
                </a:lnTo>
                <a:lnTo>
                  <a:pt x="4734473" y="3281356"/>
                </a:lnTo>
                <a:lnTo>
                  <a:pt x="4737186" y="3275293"/>
                </a:lnTo>
                <a:lnTo>
                  <a:pt x="4737403" y="3273561"/>
                </a:lnTo>
                <a:close/>
                <a:moveTo>
                  <a:pt x="2378793" y="3273127"/>
                </a:moveTo>
                <a:lnTo>
                  <a:pt x="2371197" y="3276917"/>
                </a:lnTo>
                <a:lnTo>
                  <a:pt x="2363275" y="3278324"/>
                </a:lnTo>
                <a:lnTo>
                  <a:pt x="2352424" y="3285578"/>
                </a:lnTo>
                <a:lnTo>
                  <a:pt x="2348300" y="3296406"/>
                </a:lnTo>
                <a:lnTo>
                  <a:pt x="2341355" y="3298463"/>
                </a:lnTo>
                <a:lnTo>
                  <a:pt x="2335495" y="3298463"/>
                </a:lnTo>
                <a:lnTo>
                  <a:pt x="2330286" y="3302576"/>
                </a:lnTo>
                <a:lnTo>
                  <a:pt x="2326488" y="3302576"/>
                </a:lnTo>
                <a:lnTo>
                  <a:pt x="2319543" y="3306366"/>
                </a:lnTo>
                <a:lnTo>
                  <a:pt x="2312597" y="3306366"/>
                </a:lnTo>
                <a:lnTo>
                  <a:pt x="2297405" y="3306366"/>
                </a:lnTo>
                <a:lnTo>
                  <a:pt x="2296754" y="3306366"/>
                </a:lnTo>
                <a:lnTo>
                  <a:pt x="2294367" y="3305284"/>
                </a:lnTo>
                <a:lnTo>
                  <a:pt x="2291763" y="3305284"/>
                </a:lnTo>
                <a:lnTo>
                  <a:pt x="2286554" y="3305284"/>
                </a:lnTo>
                <a:lnTo>
                  <a:pt x="2281996" y="3306583"/>
                </a:lnTo>
                <a:lnTo>
                  <a:pt x="2277222" y="3307341"/>
                </a:lnTo>
                <a:lnTo>
                  <a:pt x="2275431" y="3305621"/>
                </a:lnTo>
                <a:lnTo>
                  <a:pt x="2275485" y="3307016"/>
                </a:lnTo>
                <a:lnTo>
                  <a:pt x="2278415" y="3309832"/>
                </a:lnTo>
                <a:lnTo>
                  <a:pt x="2283190" y="3308965"/>
                </a:lnTo>
                <a:lnTo>
                  <a:pt x="2287747" y="3307775"/>
                </a:lnTo>
                <a:lnTo>
                  <a:pt x="2292957" y="3307341"/>
                </a:lnTo>
                <a:lnTo>
                  <a:pt x="2295561" y="3307016"/>
                </a:lnTo>
                <a:lnTo>
                  <a:pt x="2297948" y="3308099"/>
                </a:lnTo>
                <a:lnTo>
                  <a:pt x="2298599" y="3308423"/>
                </a:lnTo>
                <a:lnTo>
                  <a:pt x="2313791" y="3308423"/>
                </a:lnTo>
                <a:lnTo>
                  <a:pt x="2320736" y="3308749"/>
                </a:lnTo>
                <a:lnTo>
                  <a:pt x="2327681" y="3304959"/>
                </a:lnTo>
                <a:lnTo>
                  <a:pt x="2331371" y="3304959"/>
                </a:lnTo>
                <a:lnTo>
                  <a:pt x="2336579" y="3300844"/>
                </a:lnTo>
                <a:lnTo>
                  <a:pt x="2342440" y="3300844"/>
                </a:lnTo>
                <a:lnTo>
                  <a:pt x="2349385" y="3298787"/>
                </a:lnTo>
                <a:lnTo>
                  <a:pt x="2353508" y="3288069"/>
                </a:lnTo>
                <a:lnTo>
                  <a:pt x="2364902" y="3280815"/>
                </a:lnTo>
                <a:lnTo>
                  <a:pt x="2372824" y="3279515"/>
                </a:lnTo>
                <a:lnTo>
                  <a:pt x="2380420" y="3275726"/>
                </a:lnTo>
                <a:lnTo>
                  <a:pt x="2385629" y="3275726"/>
                </a:lnTo>
                <a:lnTo>
                  <a:pt x="2390404" y="3279191"/>
                </a:lnTo>
                <a:lnTo>
                  <a:pt x="2395938" y="3275726"/>
                </a:lnTo>
                <a:lnTo>
                  <a:pt x="2397001" y="3276623"/>
                </a:lnTo>
                <a:lnTo>
                  <a:pt x="2397132" y="3275509"/>
                </a:lnTo>
                <a:lnTo>
                  <a:pt x="2394419" y="3273127"/>
                </a:lnTo>
                <a:lnTo>
                  <a:pt x="2388885" y="3276592"/>
                </a:lnTo>
                <a:lnTo>
                  <a:pt x="2384001" y="3273127"/>
                </a:lnTo>
                <a:close/>
                <a:moveTo>
                  <a:pt x="4463072" y="3272044"/>
                </a:moveTo>
                <a:lnTo>
                  <a:pt x="4463073" y="3272045"/>
                </a:lnTo>
                <a:lnTo>
                  <a:pt x="4465025" y="3272370"/>
                </a:lnTo>
                <a:lnTo>
                  <a:pt x="4465025" y="3272369"/>
                </a:lnTo>
                <a:close/>
                <a:moveTo>
                  <a:pt x="6802475" y="3271721"/>
                </a:moveTo>
                <a:lnTo>
                  <a:pt x="6808877" y="3276702"/>
                </a:lnTo>
                <a:lnTo>
                  <a:pt x="6813218" y="3276702"/>
                </a:lnTo>
                <a:lnTo>
                  <a:pt x="6817559" y="3274320"/>
                </a:lnTo>
                <a:lnTo>
                  <a:pt x="6823202" y="3277135"/>
                </a:lnTo>
                <a:lnTo>
                  <a:pt x="6824720" y="3281357"/>
                </a:lnTo>
                <a:lnTo>
                  <a:pt x="6829387" y="3281357"/>
                </a:lnTo>
                <a:lnTo>
                  <a:pt x="6833403" y="3287420"/>
                </a:lnTo>
                <a:lnTo>
                  <a:pt x="6837309" y="3291210"/>
                </a:lnTo>
                <a:lnTo>
                  <a:pt x="6837526" y="3294241"/>
                </a:lnTo>
                <a:lnTo>
                  <a:pt x="6831449" y="3297381"/>
                </a:lnTo>
                <a:lnTo>
                  <a:pt x="6824720" y="3298030"/>
                </a:lnTo>
                <a:lnTo>
                  <a:pt x="6819186" y="3295649"/>
                </a:lnTo>
                <a:lnTo>
                  <a:pt x="6815279" y="3289910"/>
                </a:lnTo>
                <a:lnTo>
                  <a:pt x="6811264" y="3289153"/>
                </a:lnTo>
                <a:lnTo>
                  <a:pt x="6807467" y="3284496"/>
                </a:lnTo>
                <a:lnTo>
                  <a:pt x="6802149" y="3285363"/>
                </a:lnTo>
                <a:lnTo>
                  <a:pt x="6795638" y="3283955"/>
                </a:lnTo>
                <a:lnTo>
                  <a:pt x="6791840" y="3280490"/>
                </a:lnTo>
                <a:lnTo>
                  <a:pt x="6792165" y="3277135"/>
                </a:lnTo>
                <a:close/>
                <a:moveTo>
                  <a:pt x="7547766" y="3270637"/>
                </a:moveTo>
                <a:lnTo>
                  <a:pt x="7550479" y="3272153"/>
                </a:lnTo>
                <a:lnTo>
                  <a:pt x="7553192" y="3276050"/>
                </a:lnTo>
                <a:lnTo>
                  <a:pt x="7552975" y="3279298"/>
                </a:lnTo>
                <a:lnTo>
                  <a:pt x="7551130" y="3278757"/>
                </a:lnTo>
                <a:lnTo>
                  <a:pt x="7549177" y="3276267"/>
                </a:lnTo>
                <a:lnTo>
                  <a:pt x="7547115" y="3276483"/>
                </a:lnTo>
                <a:lnTo>
                  <a:pt x="7545488" y="3272261"/>
                </a:lnTo>
                <a:close/>
                <a:moveTo>
                  <a:pt x="4626063" y="3270420"/>
                </a:moveTo>
                <a:lnTo>
                  <a:pt x="4625738" y="3273235"/>
                </a:lnTo>
                <a:lnTo>
                  <a:pt x="4625243" y="3273729"/>
                </a:lnTo>
                <a:lnTo>
                  <a:pt x="4625738" y="3273236"/>
                </a:lnTo>
                <a:close/>
                <a:moveTo>
                  <a:pt x="5053294" y="3270096"/>
                </a:moveTo>
                <a:lnTo>
                  <a:pt x="5052317" y="3272262"/>
                </a:lnTo>
                <a:lnTo>
                  <a:pt x="5051666" y="3270312"/>
                </a:lnTo>
                <a:close/>
                <a:moveTo>
                  <a:pt x="4460034" y="3268038"/>
                </a:moveTo>
                <a:lnTo>
                  <a:pt x="4460034" y="3268039"/>
                </a:lnTo>
                <a:lnTo>
                  <a:pt x="4461553" y="3269122"/>
                </a:lnTo>
                <a:lnTo>
                  <a:pt x="4461552" y="3269121"/>
                </a:lnTo>
                <a:close/>
                <a:moveTo>
                  <a:pt x="2273423" y="3266523"/>
                </a:moveTo>
                <a:lnTo>
                  <a:pt x="2264850" y="3271503"/>
                </a:lnTo>
                <a:lnTo>
                  <a:pt x="2254759" y="3280706"/>
                </a:lnTo>
                <a:lnTo>
                  <a:pt x="2242605" y="3279948"/>
                </a:lnTo>
                <a:lnTo>
                  <a:pt x="2232999" y="3279948"/>
                </a:lnTo>
                <a:lnTo>
                  <a:pt x="2233489" y="3282114"/>
                </a:lnTo>
                <a:lnTo>
                  <a:pt x="2243798" y="3282547"/>
                </a:lnTo>
                <a:lnTo>
                  <a:pt x="2255952" y="3283305"/>
                </a:lnTo>
                <a:lnTo>
                  <a:pt x="2266044" y="3274102"/>
                </a:lnTo>
                <a:lnTo>
                  <a:pt x="2274508" y="3269121"/>
                </a:lnTo>
                <a:lnTo>
                  <a:pt x="2275582" y="3270239"/>
                </a:lnTo>
                <a:lnTo>
                  <a:pt x="2275811" y="3269121"/>
                </a:lnTo>
                <a:close/>
                <a:moveTo>
                  <a:pt x="2218514" y="3264466"/>
                </a:moveTo>
                <a:lnTo>
                  <a:pt x="2206887" y="3265397"/>
                </a:lnTo>
                <a:lnTo>
                  <a:pt x="2204949" y="3267823"/>
                </a:lnTo>
                <a:lnTo>
                  <a:pt x="2219708" y="3266631"/>
                </a:lnTo>
                <a:lnTo>
                  <a:pt x="2226761" y="3267823"/>
                </a:lnTo>
                <a:lnTo>
                  <a:pt x="2230921" y="3273875"/>
                </a:lnTo>
                <a:lnTo>
                  <a:pt x="2230776" y="3273235"/>
                </a:lnTo>
                <a:lnTo>
                  <a:pt x="2225568" y="3265657"/>
                </a:lnTo>
                <a:close/>
                <a:moveTo>
                  <a:pt x="7605714" y="3263600"/>
                </a:moveTo>
                <a:lnTo>
                  <a:pt x="7612442" y="3269879"/>
                </a:lnTo>
                <a:lnTo>
                  <a:pt x="7612876" y="3272802"/>
                </a:lnTo>
                <a:lnTo>
                  <a:pt x="7607558" y="3269230"/>
                </a:lnTo>
                <a:lnTo>
                  <a:pt x="7605714" y="3269879"/>
                </a:lnTo>
                <a:lnTo>
                  <a:pt x="7604412" y="3267281"/>
                </a:lnTo>
                <a:close/>
                <a:moveTo>
                  <a:pt x="4458525" y="3263408"/>
                </a:moveTo>
                <a:lnTo>
                  <a:pt x="4460034" y="3265441"/>
                </a:lnTo>
                <a:lnTo>
                  <a:pt x="4460034" y="3265440"/>
                </a:lnTo>
                <a:close/>
                <a:moveTo>
                  <a:pt x="4726876" y="3262193"/>
                </a:moveTo>
                <a:lnTo>
                  <a:pt x="4726984" y="3262516"/>
                </a:lnTo>
                <a:lnTo>
                  <a:pt x="4728286" y="3265981"/>
                </a:lnTo>
                <a:lnTo>
                  <a:pt x="4729914" y="3267280"/>
                </a:lnTo>
                <a:lnTo>
                  <a:pt x="4731108" y="3270637"/>
                </a:lnTo>
                <a:lnTo>
                  <a:pt x="4733381" y="3271954"/>
                </a:lnTo>
                <a:lnTo>
                  <a:pt x="4731109" y="3270637"/>
                </a:lnTo>
                <a:lnTo>
                  <a:pt x="4729915" y="3267281"/>
                </a:lnTo>
                <a:lnTo>
                  <a:pt x="4728287" y="3265981"/>
                </a:lnTo>
                <a:lnTo>
                  <a:pt x="4726985" y="3262517"/>
                </a:lnTo>
                <a:lnTo>
                  <a:pt x="4726877" y="3262193"/>
                </a:lnTo>
                <a:close/>
                <a:moveTo>
                  <a:pt x="5048194" y="3260027"/>
                </a:moveTo>
                <a:lnTo>
                  <a:pt x="5051775" y="3261543"/>
                </a:lnTo>
                <a:lnTo>
                  <a:pt x="5053837" y="3262084"/>
                </a:lnTo>
                <a:lnTo>
                  <a:pt x="5052752" y="3263492"/>
                </a:lnTo>
                <a:lnTo>
                  <a:pt x="5048085" y="3264466"/>
                </a:lnTo>
                <a:lnTo>
                  <a:pt x="5045590" y="3263274"/>
                </a:lnTo>
                <a:close/>
                <a:moveTo>
                  <a:pt x="6810180" y="3256563"/>
                </a:moveTo>
                <a:lnTo>
                  <a:pt x="6812242" y="3257862"/>
                </a:lnTo>
                <a:lnTo>
                  <a:pt x="6811808" y="3260786"/>
                </a:lnTo>
                <a:lnTo>
                  <a:pt x="6808552" y="3261327"/>
                </a:lnTo>
                <a:close/>
                <a:moveTo>
                  <a:pt x="6712514" y="3256563"/>
                </a:moveTo>
                <a:lnTo>
                  <a:pt x="6714034" y="3259161"/>
                </a:lnTo>
                <a:lnTo>
                  <a:pt x="6711537" y="3260461"/>
                </a:lnTo>
                <a:lnTo>
                  <a:pt x="6710235" y="3258945"/>
                </a:lnTo>
                <a:close/>
                <a:moveTo>
                  <a:pt x="7390092" y="3254505"/>
                </a:moveTo>
                <a:lnTo>
                  <a:pt x="7390743" y="3256671"/>
                </a:lnTo>
                <a:lnTo>
                  <a:pt x="7388790" y="3255263"/>
                </a:lnTo>
                <a:close/>
                <a:moveTo>
                  <a:pt x="7381628" y="3254505"/>
                </a:moveTo>
                <a:lnTo>
                  <a:pt x="7388356" y="3257319"/>
                </a:lnTo>
                <a:lnTo>
                  <a:pt x="7391503" y="3261000"/>
                </a:lnTo>
                <a:close/>
                <a:moveTo>
                  <a:pt x="6895799" y="3254072"/>
                </a:moveTo>
                <a:lnTo>
                  <a:pt x="6891892" y="3255912"/>
                </a:lnTo>
                <a:lnTo>
                  <a:pt x="6889179" y="3258727"/>
                </a:lnTo>
                <a:lnTo>
                  <a:pt x="6890807" y="3254938"/>
                </a:lnTo>
                <a:close/>
                <a:moveTo>
                  <a:pt x="4719171" y="3253748"/>
                </a:moveTo>
                <a:lnTo>
                  <a:pt x="4720690" y="3257536"/>
                </a:lnTo>
                <a:lnTo>
                  <a:pt x="4725031" y="3262192"/>
                </a:lnTo>
                <a:lnTo>
                  <a:pt x="4720691" y="3257537"/>
                </a:lnTo>
                <a:lnTo>
                  <a:pt x="4719172" y="3253748"/>
                </a:lnTo>
                <a:close/>
                <a:moveTo>
                  <a:pt x="6989883" y="3253531"/>
                </a:moveTo>
                <a:lnTo>
                  <a:pt x="6992162" y="3255804"/>
                </a:lnTo>
                <a:lnTo>
                  <a:pt x="6992053" y="3257753"/>
                </a:lnTo>
                <a:lnTo>
                  <a:pt x="6987387" y="3260893"/>
                </a:lnTo>
                <a:lnTo>
                  <a:pt x="6984674" y="3261218"/>
                </a:lnTo>
                <a:lnTo>
                  <a:pt x="6982829" y="3264141"/>
                </a:lnTo>
                <a:lnTo>
                  <a:pt x="6975885" y="3266090"/>
                </a:lnTo>
                <a:lnTo>
                  <a:pt x="6969156" y="3270204"/>
                </a:lnTo>
                <a:lnTo>
                  <a:pt x="6959390" y="3272045"/>
                </a:lnTo>
                <a:lnTo>
                  <a:pt x="6954941" y="3271720"/>
                </a:lnTo>
                <a:lnTo>
                  <a:pt x="6951034" y="3272912"/>
                </a:lnTo>
                <a:lnTo>
                  <a:pt x="6946585" y="3277242"/>
                </a:lnTo>
                <a:lnTo>
                  <a:pt x="6945934" y="3277567"/>
                </a:lnTo>
                <a:lnTo>
                  <a:pt x="6943438" y="3278541"/>
                </a:lnTo>
                <a:lnTo>
                  <a:pt x="6941268" y="3281465"/>
                </a:lnTo>
                <a:lnTo>
                  <a:pt x="6932261" y="3288177"/>
                </a:lnTo>
                <a:lnTo>
                  <a:pt x="6929331" y="3292616"/>
                </a:lnTo>
                <a:lnTo>
                  <a:pt x="6924882" y="3295865"/>
                </a:lnTo>
                <a:lnTo>
                  <a:pt x="6920975" y="3295540"/>
                </a:lnTo>
                <a:lnTo>
                  <a:pt x="6916743" y="3296839"/>
                </a:lnTo>
                <a:lnTo>
                  <a:pt x="6909907" y="3301279"/>
                </a:lnTo>
                <a:lnTo>
                  <a:pt x="6902093" y="3301711"/>
                </a:lnTo>
                <a:lnTo>
                  <a:pt x="6899706" y="3299871"/>
                </a:lnTo>
                <a:lnTo>
                  <a:pt x="6901117" y="3294890"/>
                </a:lnTo>
                <a:lnTo>
                  <a:pt x="6903070" y="3296298"/>
                </a:lnTo>
                <a:lnTo>
                  <a:pt x="6905674" y="3296298"/>
                </a:lnTo>
                <a:lnTo>
                  <a:pt x="6904915" y="3294241"/>
                </a:lnTo>
                <a:lnTo>
                  <a:pt x="6902961" y="3292508"/>
                </a:lnTo>
                <a:lnTo>
                  <a:pt x="6903612" y="3290451"/>
                </a:lnTo>
                <a:lnTo>
                  <a:pt x="6908170" y="3283089"/>
                </a:lnTo>
                <a:lnTo>
                  <a:pt x="6909798" y="3278108"/>
                </a:lnTo>
                <a:lnTo>
                  <a:pt x="6914464" y="3275293"/>
                </a:lnTo>
                <a:lnTo>
                  <a:pt x="6915875" y="3273994"/>
                </a:lnTo>
                <a:lnTo>
                  <a:pt x="6919672" y="3270421"/>
                </a:lnTo>
                <a:lnTo>
                  <a:pt x="6926075" y="3269663"/>
                </a:lnTo>
                <a:lnTo>
                  <a:pt x="6929005" y="3268797"/>
                </a:lnTo>
                <a:lnTo>
                  <a:pt x="6933129" y="3267606"/>
                </a:lnTo>
                <a:lnTo>
                  <a:pt x="6935191" y="3266631"/>
                </a:lnTo>
                <a:lnTo>
                  <a:pt x="6940834" y="3263816"/>
                </a:lnTo>
                <a:lnTo>
                  <a:pt x="6948430" y="3257104"/>
                </a:lnTo>
                <a:lnTo>
                  <a:pt x="6958413" y="3257645"/>
                </a:lnTo>
                <a:lnTo>
                  <a:pt x="6965033" y="3256562"/>
                </a:lnTo>
                <a:lnTo>
                  <a:pt x="6969807" y="3256562"/>
                </a:lnTo>
                <a:lnTo>
                  <a:pt x="6975125" y="3255480"/>
                </a:lnTo>
                <a:lnTo>
                  <a:pt x="6980876" y="3255696"/>
                </a:lnTo>
                <a:close/>
                <a:moveTo>
                  <a:pt x="6803885" y="3252773"/>
                </a:moveTo>
                <a:lnTo>
                  <a:pt x="6808008" y="3254072"/>
                </a:lnTo>
                <a:lnTo>
                  <a:pt x="6806164" y="3255913"/>
                </a:lnTo>
                <a:lnTo>
                  <a:pt x="6804645" y="3261651"/>
                </a:lnTo>
                <a:lnTo>
                  <a:pt x="6802149" y="3258187"/>
                </a:lnTo>
                <a:close/>
                <a:moveTo>
                  <a:pt x="7387487" y="3252448"/>
                </a:moveTo>
                <a:lnTo>
                  <a:pt x="7386293" y="3253963"/>
                </a:lnTo>
                <a:lnTo>
                  <a:pt x="7383364" y="3252556"/>
                </a:lnTo>
                <a:close/>
                <a:moveTo>
                  <a:pt x="4714076" y="3251371"/>
                </a:moveTo>
                <a:lnTo>
                  <a:pt x="4716024" y="3253314"/>
                </a:lnTo>
                <a:lnTo>
                  <a:pt x="4716024" y="3253314"/>
                </a:lnTo>
                <a:close/>
                <a:moveTo>
                  <a:pt x="7391937" y="3249741"/>
                </a:moveTo>
                <a:lnTo>
                  <a:pt x="7395626" y="3249741"/>
                </a:lnTo>
                <a:lnTo>
                  <a:pt x="7394432" y="3252448"/>
                </a:lnTo>
                <a:cubicBezTo>
                  <a:pt x="7392698" y="3252361"/>
                  <a:pt x="7390959" y="3252361"/>
                  <a:pt x="7389224" y="3252448"/>
                </a:cubicBezTo>
                <a:close/>
                <a:moveTo>
                  <a:pt x="6923471" y="3249634"/>
                </a:moveTo>
                <a:lnTo>
                  <a:pt x="6923905" y="3251691"/>
                </a:lnTo>
                <a:lnTo>
                  <a:pt x="6920216" y="3256671"/>
                </a:lnTo>
                <a:lnTo>
                  <a:pt x="6917828" y="3254505"/>
                </a:lnTo>
                <a:lnTo>
                  <a:pt x="6914573" y="3254505"/>
                </a:lnTo>
                <a:lnTo>
                  <a:pt x="6916743" y="3252340"/>
                </a:lnTo>
                <a:lnTo>
                  <a:pt x="6921084" y="3251799"/>
                </a:lnTo>
                <a:close/>
                <a:moveTo>
                  <a:pt x="7572509" y="3248658"/>
                </a:moveTo>
                <a:lnTo>
                  <a:pt x="7573269" y="3254937"/>
                </a:lnTo>
                <a:lnTo>
                  <a:pt x="7572618" y="3258835"/>
                </a:lnTo>
                <a:lnTo>
                  <a:pt x="7571749" y="3258835"/>
                </a:lnTo>
                <a:lnTo>
                  <a:pt x="7572183" y="3257427"/>
                </a:lnTo>
                <a:lnTo>
                  <a:pt x="7571749" y="3254180"/>
                </a:lnTo>
                <a:lnTo>
                  <a:pt x="7570664" y="3254396"/>
                </a:lnTo>
                <a:lnTo>
                  <a:pt x="7568819" y="3251039"/>
                </a:lnTo>
                <a:lnTo>
                  <a:pt x="7569905" y="3249200"/>
                </a:lnTo>
                <a:close/>
                <a:moveTo>
                  <a:pt x="6730636" y="3247793"/>
                </a:moveTo>
                <a:lnTo>
                  <a:pt x="6738232" y="3250283"/>
                </a:lnTo>
                <a:lnTo>
                  <a:pt x="6737148" y="3255913"/>
                </a:lnTo>
                <a:lnTo>
                  <a:pt x="6734977" y="3258944"/>
                </a:lnTo>
                <a:lnTo>
                  <a:pt x="6735411" y="3262951"/>
                </a:lnTo>
                <a:lnTo>
                  <a:pt x="6732155" y="3261760"/>
                </a:lnTo>
                <a:lnTo>
                  <a:pt x="6727598" y="3263492"/>
                </a:lnTo>
                <a:lnTo>
                  <a:pt x="6719893" y="3261218"/>
                </a:lnTo>
                <a:lnTo>
                  <a:pt x="6718265" y="3259053"/>
                </a:lnTo>
                <a:lnTo>
                  <a:pt x="6720327" y="3257646"/>
                </a:lnTo>
                <a:lnTo>
                  <a:pt x="6724559" y="3257862"/>
                </a:lnTo>
                <a:lnTo>
                  <a:pt x="6725645" y="3251474"/>
                </a:lnTo>
                <a:close/>
                <a:moveTo>
                  <a:pt x="6912184" y="3247684"/>
                </a:moveTo>
                <a:lnTo>
                  <a:pt x="6914030" y="3248875"/>
                </a:lnTo>
                <a:lnTo>
                  <a:pt x="6909146" y="3253422"/>
                </a:lnTo>
                <a:lnTo>
                  <a:pt x="6906867" y="3256129"/>
                </a:lnTo>
                <a:lnTo>
                  <a:pt x="6901984" y="3257103"/>
                </a:lnTo>
                <a:lnTo>
                  <a:pt x="6899814" y="3255371"/>
                </a:lnTo>
                <a:lnTo>
                  <a:pt x="6904480" y="3252014"/>
                </a:lnTo>
                <a:lnTo>
                  <a:pt x="6903503" y="3249849"/>
                </a:lnTo>
                <a:lnTo>
                  <a:pt x="6905565" y="3248983"/>
                </a:lnTo>
                <a:lnTo>
                  <a:pt x="6908929" y="3249524"/>
                </a:lnTo>
                <a:close/>
                <a:moveTo>
                  <a:pt x="6898294" y="3246927"/>
                </a:moveTo>
                <a:lnTo>
                  <a:pt x="6899054" y="3248984"/>
                </a:lnTo>
                <a:lnTo>
                  <a:pt x="6897644" y="3251040"/>
                </a:lnTo>
                <a:lnTo>
                  <a:pt x="6895148" y="3249633"/>
                </a:lnTo>
                <a:close/>
                <a:moveTo>
                  <a:pt x="7036545" y="3246819"/>
                </a:moveTo>
                <a:lnTo>
                  <a:pt x="7038498" y="3248009"/>
                </a:lnTo>
                <a:lnTo>
                  <a:pt x="7034592" y="3248334"/>
                </a:lnTo>
                <a:lnTo>
                  <a:pt x="7032096" y="3247143"/>
                </a:lnTo>
                <a:close/>
                <a:moveTo>
                  <a:pt x="6953530" y="3245736"/>
                </a:moveTo>
                <a:lnTo>
                  <a:pt x="6954832" y="3247360"/>
                </a:lnTo>
                <a:lnTo>
                  <a:pt x="6952987" y="3248768"/>
                </a:lnTo>
                <a:lnTo>
                  <a:pt x="6952119" y="3247793"/>
                </a:lnTo>
                <a:close/>
                <a:moveTo>
                  <a:pt x="7004641" y="3245195"/>
                </a:moveTo>
                <a:lnTo>
                  <a:pt x="7004424" y="3247793"/>
                </a:lnTo>
                <a:lnTo>
                  <a:pt x="7001386" y="3246169"/>
                </a:lnTo>
                <a:close/>
                <a:moveTo>
                  <a:pt x="6931935" y="3245195"/>
                </a:moveTo>
                <a:lnTo>
                  <a:pt x="6933996" y="3246385"/>
                </a:lnTo>
                <a:lnTo>
                  <a:pt x="6940617" y="3245736"/>
                </a:lnTo>
                <a:lnTo>
                  <a:pt x="6943004" y="3247360"/>
                </a:lnTo>
                <a:lnTo>
                  <a:pt x="6940291" y="3250392"/>
                </a:lnTo>
                <a:lnTo>
                  <a:pt x="6932152" y="3253207"/>
                </a:lnTo>
                <a:lnTo>
                  <a:pt x="6927920" y="3252233"/>
                </a:lnTo>
                <a:lnTo>
                  <a:pt x="6927486" y="3250392"/>
                </a:lnTo>
                <a:lnTo>
                  <a:pt x="6929114" y="3248768"/>
                </a:lnTo>
                <a:lnTo>
                  <a:pt x="6927160" y="3247360"/>
                </a:lnTo>
                <a:close/>
                <a:moveTo>
                  <a:pt x="7018966" y="3244003"/>
                </a:moveTo>
                <a:lnTo>
                  <a:pt x="7018966" y="3246493"/>
                </a:lnTo>
                <a:lnTo>
                  <a:pt x="7013323" y="3248442"/>
                </a:lnTo>
                <a:lnTo>
                  <a:pt x="7008656" y="3246168"/>
                </a:lnTo>
                <a:lnTo>
                  <a:pt x="7008005" y="3244219"/>
                </a:lnTo>
                <a:lnTo>
                  <a:pt x="7015059" y="3244760"/>
                </a:lnTo>
                <a:close/>
                <a:moveTo>
                  <a:pt x="6993465" y="3243138"/>
                </a:moveTo>
                <a:lnTo>
                  <a:pt x="6995852" y="3245087"/>
                </a:lnTo>
                <a:lnTo>
                  <a:pt x="6992922" y="3246602"/>
                </a:lnTo>
                <a:lnTo>
                  <a:pt x="6990426" y="3244654"/>
                </a:lnTo>
                <a:close/>
                <a:moveTo>
                  <a:pt x="7388356" y="3242920"/>
                </a:moveTo>
                <a:lnTo>
                  <a:pt x="7392589" y="3243786"/>
                </a:lnTo>
                <a:lnTo>
                  <a:pt x="7391503" y="3244869"/>
                </a:lnTo>
                <a:lnTo>
                  <a:pt x="7389116" y="3244328"/>
                </a:lnTo>
                <a:close/>
                <a:moveTo>
                  <a:pt x="6769920" y="3242704"/>
                </a:moveTo>
                <a:lnTo>
                  <a:pt x="6773826" y="3244436"/>
                </a:lnTo>
                <a:lnTo>
                  <a:pt x="6778275" y="3247143"/>
                </a:lnTo>
                <a:lnTo>
                  <a:pt x="6783159" y="3245410"/>
                </a:lnTo>
                <a:lnTo>
                  <a:pt x="6787933" y="3248334"/>
                </a:lnTo>
                <a:lnTo>
                  <a:pt x="6787933" y="3252448"/>
                </a:lnTo>
                <a:lnTo>
                  <a:pt x="6790321" y="3251474"/>
                </a:lnTo>
                <a:lnTo>
                  <a:pt x="6789669" y="3247685"/>
                </a:lnTo>
                <a:lnTo>
                  <a:pt x="6794661" y="3249092"/>
                </a:lnTo>
                <a:lnTo>
                  <a:pt x="6794661" y="3252665"/>
                </a:lnTo>
                <a:lnTo>
                  <a:pt x="6796072" y="3256995"/>
                </a:lnTo>
                <a:lnTo>
                  <a:pt x="6797808" y="3254938"/>
                </a:lnTo>
                <a:lnTo>
                  <a:pt x="6797808" y="3260136"/>
                </a:lnTo>
                <a:lnTo>
                  <a:pt x="6791623" y="3260136"/>
                </a:lnTo>
                <a:lnTo>
                  <a:pt x="6794770" y="3262734"/>
                </a:lnTo>
                <a:lnTo>
                  <a:pt x="6788042" y="3261868"/>
                </a:lnTo>
                <a:lnTo>
                  <a:pt x="6783593" y="3262517"/>
                </a:lnTo>
                <a:lnTo>
                  <a:pt x="6782073" y="3259269"/>
                </a:lnTo>
                <a:lnTo>
                  <a:pt x="6776865" y="3263708"/>
                </a:lnTo>
                <a:lnTo>
                  <a:pt x="6771982" y="3262842"/>
                </a:lnTo>
                <a:lnTo>
                  <a:pt x="6766773" y="3265116"/>
                </a:lnTo>
                <a:lnTo>
                  <a:pt x="6762432" y="3263600"/>
                </a:lnTo>
                <a:lnTo>
                  <a:pt x="6760370" y="3266307"/>
                </a:lnTo>
                <a:lnTo>
                  <a:pt x="6755271" y="3268039"/>
                </a:lnTo>
                <a:lnTo>
                  <a:pt x="6751798" y="3266632"/>
                </a:lnTo>
                <a:lnTo>
                  <a:pt x="6745613" y="3268039"/>
                </a:lnTo>
                <a:lnTo>
                  <a:pt x="6741271" y="3266199"/>
                </a:lnTo>
                <a:lnTo>
                  <a:pt x="6738667" y="3263492"/>
                </a:lnTo>
                <a:lnTo>
                  <a:pt x="6740078" y="3261434"/>
                </a:lnTo>
                <a:lnTo>
                  <a:pt x="6738342" y="3259702"/>
                </a:lnTo>
                <a:lnTo>
                  <a:pt x="6738993" y="3256779"/>
                </a:lnTo>
                <a:cubicBezTo>
                  <a:pt x="6739939" y="3255434"/>
                  <a:pt x="6740991" y="3254167"/>
                  <a:pt x="6742140" y="3252989"/>
                </a:cubicBezTo>
                <a:lnTo>
                  <a:pt x="6748976" y="3250391"/>
                </a:lnTo>
                <a:lnTo>
                  <a:pt x="6753317" y="3251474"/>
                </a:lnTo>
                <a:lnTo>
                  <a:pt x="6757224" y="3250391"/>
                </a:lnTo>
                <a:lnTo>
                  <a:pt x="6760479" y="3251041"/>
                </a:lnTo>
                <a:lnTo>
                  <a:pt x="6761673" y="3255155"/>
                </a:lnTo>
                <a:lnTo>
                  <a:pt x="6767316" y="3258836"/>
                </a:lnTo>
                <a:lnTo>
                  <a:pt x="6771113" y="3257104"/>
                </a:lnTo>
                <a:lnTo>
                  <a:pt x="6777516" y="3256238"/>
                </a:lnTo>
                <a:lnTo>
                  <a:pt x="6773718" y="3252448"/>
                </a:lnTo>
                <a:lnTo>
                  <a:pt x="6764060" y="3248875"/>
                </a:lnTo>
                <a:lnTo>
                  <a:pt x="6764060" y="3246277"/>
                </a:lnTo>
                <a:close/>
                <a:moveTo>
                  <a:pt x="4692801" y="3242595"/>
                </a:moveTo>
                <a:lnTo>
                  <a:pt x="4693127" y="3244544"/>
                </a:lnTo>
                <a:lnTo>
                  <a:pt x="4693128" y="3244545"/>
                </a:lnTo>
                <a:lnTo>
                  <a:pt x="4692802" y="3242596"/>
                </a:lnTo>
                <a:close/>
                <a:moveTo>
                  <a:pt x="7060529" y="3242487"/>
                </a:moveTo>
                <a:lnTo>
                  <a:pt x="7058466" y="3245085"/>
                </a:lnTo>
                <a:lnTo>
                  <a:pt x="7055536" y="3245085"/>
                </a:lnTo>
                <a:close/>
                <a:moveTo>
                  <a:pt x="7272786" y="3242379"/>
                </a:moveTo>
                <a:lnTo>
                  <a:pt x="7274413" y="3242812"/>
                </a:lnTo>
                <a:lnTo>
                  <a:pt x="7276150" y="3248226"/>
                </a:lnTo>
                <a:lnTo>
                  <a:pt x="7274739" y="3249633"/>
                </a:lnTo>
                <a:lnTo>
                  <a:pt x="7270289" y="3248117"/>
                </a:lnTo>
                <a:lnTo>
                  <a:pt x="7268228" y="3247684"/>
                </a:lnTo>
                <a:lnTo>
                  <a:pt x="7270289" y="3244003"/>
                </a:lnTo>
                <a:close/>
                <a:moveTo>
                  <a:pt x="7088632" y="3242055"/>
                </a:moveTo>
                <a:lnTo>
                  <a:pt x="7091237" y="3242271"/>
                </a:lnTo>
                <a:lnTo>
                  <a:pt x="7090152" y="3243787"/>
                </a:lnTo>
                <a:lnTo>
                  <a:pt x="7087005" y="3246169"/>
                </a:lnTo>
                <a:lnTo>
                  <a:pt x="7083533" y="3246819"/>
                </a:lnTo>
                <a:lnTo>
                  <a:pt x="7084293" y="3244978"/>
                </a:lnTo>
                <a:close/>
                <a:moveTo>
                  <a:pt x="6704702" y="3241838"/>
                </a:moveTo>
                <a:lnTo>
                  <a:pt x="6710996" y="3243245"/>
                </a:lnTo>
                <a:lnTo>
                  <a:pt x="6716205" y="3249416"/>
                </a:lnTo>
                <a:lnTo>
                  <a:pt x="6715011" y="3252123"/>
                </a:lnTo>
                <a:lnTo>
                  <a:pt x="6710671" y="3252989"/>
                </a:lnTo>
                <a:lnTo>
                  <a:pt x="6709151" y="3254722"/>
                </a:lnTo>
                <a:lnTo>
                  <a:pt x="6705353" y="3256562"/>
                </a:lnTo>
                <a:lnTo>
                  <a:pt x="6703291" y="3259594"/>
                </a:lnTo>
                <a:lnTo>
                  <a:pt x="6702098" y="3256779"/>
                </a:lnTo>
                <a:lnTo>
                  <a:pt x="6696238" y="3252340"/>
                </a:lnTo>
                <a:lnTo>
                  <a:pt x="6689618" y="3250932"/>
                </a:lnTo>
                <a:lnTo>
                  <a:pt x="6687448" y="3247793"/>
                </a:lnTo>
                <a:lnTo>
                  <a:pt x="6687448" y="3244220"/>
                </a:lnTo>
                <a:lnTo>
                  <a:pt x="6692766" y="3242704"/>
                </a:lnTo>
                <a:lnTo>
                  <a:pt x="6698082" y="3244111"/>
                </a:lnTo>
                <a:close/>
                <a:moveTo>
                  <a:pt x="6888421" y="3241297"/>
                </a:moveTo>
                <a:lnTo>
                  <a:pt x="6893413" y="3243354"/>
                </a:lnTo>
                <a:lnTo>
                  <a:pt x="6893413" y="3247685"/>
                </a:lnTo>
                <a:lnTo>
                  <a:pt x="6891133" y="3251691"/>
                </a:lnTo>
                <a:lnTo>
                  <a:pt x="6887987" y="3253098"/>
                </a:lnTo>
                <a:lnTo>
                  <a:pt x="6884514" y="3257754"/>
                </a:lnTo>
                <a:lnTo>
                  <a:pt x="6879306" y="3258403"/>
                </a:lnTo>
                <a:lnTo>
                  <a:pt x="6877244" y="3260677"/>
                </a:lnTo>
                <a:lnTo>
                  <a:pt x="6873771" y="3259486"/>
                </a:lnTo>
                <a:lnTo>
                  <a:pt x="6867260" y="3258620"/>
                </a:lnTo>
                <a:lnTo>
                  <a:pt x="6860532" y="3261651"/>
                </a:lnTo>
                <a:lnTo>
                  <a:pt x="6852827" y="3260244"/>
                </a:lnTo>
                <a:lnTo>
                  <a:pt x="6847619" y="3262517"/>
                </a:lnTo>
                <a:lnTo>
                  <a:pt x="6846533" y="3263817"/>
                </a:lnTo>
                <a:lnTo>
                  <a:pt x="6843060" y="3263817"/>
                </a:lnTo>
                <a:lnTo>
                  <a:pt x="6840347" y="3262409"/>
                </a:lnTo>
                <a:lnTo>
                  <a:pt x="6836007" y="3264250"/>
                </a:lnTo>
                <a:lnTo>
                  <a:pt x="6833294" y="3261976"/>
                </a:lnTo>
                <a:lnTo>
                  <a:pt x="6829605" y="3261976"/>
                </a:lnTo>
                <a:lnTo>
                  <a:pt x="6826240" y="3262626"/>
                </a:lnTo>
                <a:lnTo>
                  <a:pt x="6822659" y="3261651"/>
                </a:lnTo>
                <a:lnTo>
                  <a:pt x="6819404" y="3261651"/>
                </a:lnTo>
                <a:lnTo>
                  <a:pt x="6815389" y="3260677"/>
                </a:lnTo>
                <a:lnTo>
                  <a:pt x="6813978" y="3256671"/>
                </a:lnTo>
                <a:cubicBezTo>
                  <a:pt x="6814238" y="3255193"/>
                  <a:pt x="6814637" y="3253743"/>
                  <a:pt x="6815171" y="3252340"/>
                </a:cubicBezTo>
                <a:lnTo>
                  <a:pt x="6822443" y="3248334"/>
                </a:lnTo>
                <a:lnTo>
                  <a:pt x="6834162" y="3245736"/>
                </a:lnTo>
                <a:lnTo>
                  <a:pt x="6840023" y="3248659"/>
                </a:lnTo>
                <a:lnTo>
                  <a:pt x="6843277" y="3247793"/>
                </a:lnTo>
                <a:lnTo>
                  <a:pt x="6849463" y="3249309"/>
                </a:lnTo>
                <a:lnTo>
                  <a:pt x="6855974" y="3253423"/>
                </a:lnTo>
                <a:lnTo>
                  <a:pt x="6860966" y="3251366"/>
                </a:lnTo>
                <a:lnTo>
                  <a:pt x="6867911" y="3251366"/>
                </a:lnTo>
                <a:lnTo>
                  <a:pt x="6871058" y="3253748"/>
                </a:lnTo>
                <a:lnTo>
                  <a:pt x="6876376" y="3253748"/>
                </a:lnTo>
                <a:lnTo>
                  <a:pt x="6879088" y="3250499"/>
                </a:lnTo>
                <a:lnTo>
                  <a:pt x="6883429" y="3249092"/>
                </a:lnTo>
                <a:lnTo>
                  <a:pt x="6886142" y="3244978"/>
                </a:lnTo>
                <a:lnTo>
                  <a:pt x="6884297" y="3244003"/>
                </a:lnTo>
                <a:close/>
                <a:moveTo>
                  <a:pt x="7395192" y="3235017"/>
                </a:moveTo>
                <a:lnTo>
                  <a:pt x="7396711" y="3239997"/>
                </a:lnTo>
                <a:lnTo>
                  <a:pt x="7396060" y="3241946"/>
                </a:lnTo>
                <a:lnTo>
                  <a:pt x="7394325" y="3242054"/>
                </a:lnTo>
                <a:lnTo>
                  <a:pt x="7392371" y="3239672"/>
                </a:lnTo>
                <a:lnTo>
                  <a:pt x="7392588" y="3237398"/>
                </a:lnTo>
                <a:close/>
                <a:moveTo>
                  <a:pt x="7055319" y="3234151"/>
                </a:moveTo>
                <a:lnTo>
                  <a:pt x="7058467" y="3235991"/>
                </a:lnTo>
                <a:lnTo>
                  <a:pt x="7059335" y="3239781"/>
                </a:lnTo>
                <a:lnTo>
                  <a:pt x="7055754" y="3240539"/>
                </a:lnTo>
                <a:lnTo>
                  <a:pt x="7052714" y="3238049"/>
                </a:lnTo>
                <a:lnTo>
                  <a:pt x="7052498" y="3235450"/>
                </a:lnTo>
                <a:close/>
                <a:moveTo>
                  <a:pt x="2192952" y="3234089"/>
                </a:moveTo>
                <a:lnTo>
                  <a:pt x="2192687" y="3234908"/>
                </a:lnTo>
                <a:lnTo>
                  <a:pt x="2199198" y="3241405"/>
                </a:lnTo>
                <a:lnTo>
                  <a:pt x="2209604" y="3258228"/>
                </a:lnTo>
                <a:lnTo>
                  <a:pt x="2209724" y="3258078"/>
                </a:lnTo>
                <a:lnTo>
                  <a:pt x="2198004" y="3239130"/>
                </a:lnTo>
                <a:close/>
                <a:moveTo>
                  <a:pt x="7397145" y="3233284"/>
                </a:moveTo>
                <a:lnTo>
                  <a:pt x="7399315" y="3235016"/>
                </a:lnTo>
                <a:lnTo>
                  <a:pt x="7400835" y="3237723"/>
                </a:lnTo>
                <a:lnTo>
                  <a:pt x="7399207" y="3237182"/>
                </a:lnTo>
                <a:close/>
                <a:moveTo>
                  <a:pt x="7425686" y="3232418"/>
                </a:moveTo>
                <a:cubicBezTo>
                  <a:pt x="7425686" y="3232526"/>
                  <a:pt x="7425686" y="3235990"/>
                  <a:pt x="7425686" y="3235990"/>
                </a:cubicBezTo>
                <a:lnTo>
                  <a:pt x="7424166" y="3233717"/>
                </a:lnTo>
                <a:close/>
                <a:moveTo>
                  <a:pt x="7408865" y="3231768"/>
                </a:moveTo>
                <a:lnTo>
                  <a:pt x="7411035" y="3233392"/>
                </a:lnTo>
                <a:lnTo>
                  <a:pt x="7411361" y="3234800"/>
                </a:lnTo>
                <a:lnTo>
                  <a:pt x="7408540" y="3234367"/>
                </a:lnTo>
                <a:close/>
                <a:moveTo>
                  <a:pt x="7417329" y="3231552"/>
                </a:moveTo>
                <a:lnTo>
                  <a:pt x="7416027" y="3233718"/>
                </a:lnTo>
                <a:lnTo>
                  <a:pt x="7415376" y="3231877"/>
                </a:lnTo>
                <a:close/>
                <a:moveTo>
                  <a:pt x="6980226" y="3228954"/>
                </a:moveTo>
                <a:lnTo>
                  <a:pt x="6984024" y="3230578"/>
                </a:lnTo>
                <a:lnTo>
                  <a:pt x="6985001" y="3233176"/>
                </a:lnTo>
                <a:lnTo>
                  <a:pt x="6981419" y="3235125"/>
                </a:lnTo>
                <a:lnTo>
                  <a:pt x="6977947" y="3237723"/>
                </a:lnTo>
                <a:lnTo>
                  <a:pt x="6976753" y="3239889"/>
                </a:lnTo>
                <a:lnTo>
                  <a:pt x="6974149" y="3237832"/>
                </a:lnTo>
                <a:lnTo>
                  <a:pt x="6966661" y="3236207"/>
                </a:lnTo>
                <a:lnTo>
                  <a:pt x="6961452" y="3239239"/>
                </a:lnTo>
                <a:lnTo>
                  <a:pt x="6960475" y="3237182"/>
                </a:lnTo>
                <a:lnTo>
                  <a:pt x="6962212" y="3232093"/>
                </a:lnTo>
                <a:lnTo>
                  <a:pt x="6965901" y="3230361"/>
                </a:lnTo>
                <a:lnTo>
                  <a:pt x="6968397" y="3232418"/>
                </a:lnTo>
                <a:lnTo>
                  <a:pt x="6976427" y="3231768"/>
                </a:lnTo>
                <a:close/>
                <a:moveTo>
                  <a:pt x="7412664" y="3228196"/>
                </a:moveTo>
                <a:lnTo>
                  <a:pt x="7415051" y="3228520"/>
                </a:lnTo>
                <a:lnTo>
                  <a:pt x="7414074" y="3231877"/>
                </a:lnTo>
                <a:lnTo>
                  <a:pt x="7414400" y="3233933"/>
                </a:lnTo>
                <a:lnTo>
                  <a:pt x="7411361" y="3230685"/>
                </a:lnTo>
                <a:close/>
                <a:moveTo>
                  <a:pt x="7084836" y="3227329"/>
                </a:moveTo>
                <a:lnTo>
                  <a:pt x="7084076" y="3228736"/>
                </a:lnTo>
                <a:lnTo>
                  <a:pt x="7082123" y="3228736"/>
                </a:lnTo>
                <a:close/>
                <a:moveTo>
                  <a:pt x="6997045" y="3226139"/>
                </a:moveTo>
                <a:lnTo>
                  <a:pt x="6999868" y="3227546"/>
                </a:lnTo>
                <a:lnTo>
                  <a:pt x="6995418" y="3230686"/>
                </a:lnTo>
                <a:lnTo>
                  <a:pt x="6995092" y="3227871"/>
                </a:lnTo>
                <a:close/>
                <a:moveTo>
                  <a:pt x="7264539" y="3225165"/>
                </a:moveTo>
                <a:lnTo>
                  <a:pt x="7273112" y="3225165"/>
                </a:lnTo>
                <a:lnTo>
                  <a:pt x="7274631" y="3226573"/>
                </a:lnTo>
                <a:lnTo>
                  <a:pt x="7278212" y="3229279"/>
                </a:lnTo>
                <a:lnTo>
                  <a:pt x="7277344" y="3231012"/>
                </a:lnTo>
                <a:lnTo>
                  <a:pt x="7276367" y="3235018"/>
                </a:lnTo>
                <a:lnTo>
                  <a:pt x="7275282" y="3236209"/>
                </a:lnTo>
                <a:lnTo>
                  <a:pt x="7275065" y="3239781"/>
                </a:lnTo>
                <a:lnTo>
                  <a:pt x="7273221" y="3242163"/>
                </a:lnTo>
                <a:lnTo>
                  <a:pt x="7269531" y="3243138"/>
                </a:lnTo>
                <a:lnTo>
                  <a:pt x="7265842" y="3247469"/>
                </a:lnTo>
                <a:lnTo>
                  <a:pt x="7261935" y="3249310"/>
                </a:lnTo>
                <a:lnTo>
                  <a:pt x="7255858" y="3248336"/>
                </a:lnTo>
                <a:lnTo>
                  <a:pt x="7252602" y="3248985"/>
                </a:lnTo>
                <a:cubicBezTo>
                  <a:pt x="7252602" y="3248985"/>
                  <a:pt x="7244463" y="3248985"/>
                  <a:pt x="7244463" y="3248985"/>
                </a:cubicBezTo>
                <a:lnTo>
                  <a:pt x="7254229" y="3239349"/>
                </a:lnTo>
                <a:lnTo>
                  <a:pt x="7256725" y="3234477"/>
                </a:lnTo>
                <a:lnTo>
                  <a:pt x="7259222" y="3227655"/>
                </a:lnTo>
                <a:close/>
                <a:moveTo>
                  <a:pt x="7090804" y="3225056"/>
                </a:moveTo>
                <a:lnTo>
                  <a:pt x="7090153" y="3226138"/>
                </a:lnTo>
                <a:lnTo>
                  <a:pt x="7087657" y="3226787"/>
                </a:lnTo>
                <a:lnTo>
                  <a:pt x="7084618" y="3225489"/>
                </a:lnTo>
                <a:close/>
                <a:moveTo>
                  <a:pt x="6722824" y="3222241"/>
                </a:moveTo>
                <a:lnTo>
                  <a:pt x="6722498" y="3223540"/>
                </a:lnTo>
                <a:lnTo>
                  <a:pt x="6719026" y="3223540"/>
                </a:lnTo>
                <a:lnTo>
                  <a:pt x="6718158" y="3222349"/>
                </a:lnTo>
                <a:lnTo>
                  <a:pt x="6721739" y="3222457"/>
                </a:lnTo>
                <a:close/>
                <a:moveTo>
                  <a:pt x="4349825" y="3219896"/>
                </a:moveTo>
                <a:lnTo>
                  <a:pt x="4350540" y="3220941"/>
                </a:lnTo>
                <a:lnTo>
                  <a:pt x="4350540" y="3220940"/>
                </a:lnTo>
                <a:close/>
                <a:moveTo>
                  <a:pt x="7101222" y="3219209"/>
                </a:moveTo>
                <a:lnTo>
                  <a:pt x="7103935" y="3219859"/>
                </a:lnTo>
                <a:lnTo>
                  <a:pt x="7104369" y="3221591"/>
                </a:lnTo>
                <a:lnTo>
                  <a:pt x="7103066" y="3224081"/>
                </a:lnTo>
                <a:lnTo>
                  <a:pt x="7104043" y="3227437"/>
                </a:lnTo>
                <a:lnTo>
                  <a:pt x="7102198" y="3233284"/>
                </a:lnTo>
                <a:lnTo>
                  <a:pt x="7096772" y="3240106"/>
                </a:lnTo>
                <a:lnTo>
                  <a:pt x="7093842" y="3240971"/>
                </a:lnTo>
                <a:lnTo>
                  <a:pt x="7090261" y="3238048"/>
                </a:lnTo>
                <a:lnTo>
                  <a:pt x="7090370" y="3234475"/>
                </a:lnTo>
                <a:lnTo>
                  <a:pt x="7092974" y="3232310"/>
                </a:lnTo>
                <a:lnTo>
                  <a:pt x="7092106" y="3230686"/>
                </a:lnTo>
                <a:lnTo>
                  <a:pt x="7092431" y="3228412"/>
                </a:lnTo>
                <a:lnTo>
                  <a:pt x="7098834" y="3222674"/>
                </a:lnTo>
                <a:lnTo>
                  <a:pt x="7098943" y="3220833"/>
                </a:lnTo>
                <a:close/>
                <a:moveTo>
                  <a:pt x="7105345" y="3217585"/>
                </a:moveTo>
                <a:lnTo>
                  <a:pt x="7109685" y="3218342"/>
                </a:lnTo>
                <a:lnTo>
                  <a:pt x="7111314" y="3220724"/>
                </a:lnTo>
                <a:close/>
                <a:moveTo>
                  <a:pt x="7028840" y="3217477"/>
                </a:moveTo>
                <a:lnTo>
                  <a:pt x="7031228" y="3219209"/>
                </a:lnTo>
                <a:lnTo>
                  <a:pt x="7030034" y="3221158"/>
                </a:lnTo>
                <a:lnTo>
                  <a:pt x="7027430" y="3221050"/>
                </a:lnTo>
                <a:lnTo>
                  <a:pt x="7026670" y="3219209"/>
                </a:lnTo>
                <a:close/>
                <a:moveTo>
                  <a:pt x="6835790" y="3217369"/>
                </a:moveTo>
                <a:lnTo>
                  <a:pt x="6839044" y="3219101"/>
                </a:lnTo>
                <a:lnTo>
                  <a:pt x="6836549" y="3221266"/>
                </a:lnTo>
                <a:lnTo>
                  <a:pt x="6833945" y="3219101"/>
                </a:lnTo>
                <a:close/>
                <a:moveTo>
                  <a:pt x="7111964" y="3212821"/>
                </a:moveTo>
                <a:lnTo>
                  <a:pt x="7113267" y="3213578"/>
                </a:lnTo>
                <a:lnTo>
                  <a:pt x="7109469" y="3215635"/>
                </a:lnTo>
                <a:close/>
                <a:moveTo>
                  <a:pt x="6650986" y="3212389"/>
                </a:moveTo>
                <a:lnTo>
                  <a:pt x="6653481" y="3214120"/>
                </a:lnTo>
                <a:lnTo>
                  <a:pt x="6666286" y="3214554"/>
                </a:lnTo>
                <a:lnTo>
                  <a:pt x="6669976" y="3215745"/>
                </a:lnTo>
                <a:lnTo>
                  <a:pt x="6676378" y="3214771"/>
                </a:lnTo>
                <a:lnTo>
                  <a:pt x="6678767" y="3215962"/>
                </a:lnTo>
                <a:lnTo>
                  <a:pt x="6676705" y="3218777"/>
                </a:lnTo>
                <a:lnTo>
                  <a:pt x="6671387" y="3219426"/>
                </a:lnTo>
                <a:lnTo>
                  <a:pt x="6667046" y="3221375"/>
                </a:lnTo>
                <a:lnTo>
                  <a:pt x="6658907" y="3220942"/>
                </a:lnTo>
                <a:lnTo>
                  <a:pt x="6655868" y="3222674"/>
                </a:lnTo>
                <a:lnTo>
                  <a:pt x="6652288" y="3222241"/>
                </a:lnTo>
                <a:lnTo>
                  <a:pt x="6647513" y="3217261"/>
                </a:lnTo>
                <a:close/>
                <a:moveTo>
                  <a:pt x="6706220" y="3212064"/>
                </a:moveTo>
                <a:lnTo>
                  <a:pt x="6710561" y="3212605"/>
                </a:lnTo>
                <a:lnTo>
                  <a:pt x="6713599" y="3213905"/>
                </a:lnTo>
                <a:lnTo>
                  <a:pt x="6714468" y="3215203"/>
                </a:lnTo>
                <a:lnTo>
                  <a:pt x="6712948" y="3215203"/>
                </a:lnTo>
                <a:lnTo>
                  <a:pt x="6710670" y="3214879"/>
                </a:lnTo>
                <a:lnTo>
                  <a:pt x="6707631" y="3218235"/>
                </a:lnTo>
                <a:lnTo>
                  <a:pt x="6704376" y="3215095"/>
                </a:lnTo>
                <a:lnTo>
                  <a:pt x="6704267" y="3213796"/>
                </a:lnTo>
                <a:close/>
                <a:moveTo>
                  <a:pt x="4343378" y="3211847"/>
                </a:moveTo>
                <a:lnTo>
                  <a:pt x="4343378" y="3211847"/>
                </a:lnTo>
                <a:lnTo>
                  <a:pt x="4345440" y="3213362"/>
                </a:lnTo>
                <a:close/>
                <a:moveTo>
                  <a:pt x="4430734" y="3211088"/>
                </a:moveTo>
                <a:lnTo>
                  <a:pt x="4430734" y="3211089"/>
                </a:lnTo>
                <a:lnTo>
                  <a:pt x="4458514" y="3213146"/>
                </a:lnTo>
                <a:lnTo>
                  <a:pt x="4458514" y="3213145"/>
                </a:lnTo>
                <a:close/>
                <a:moveTo>
                  <a:pt x="7051737" y="3206542"/>
                </a:moveTo>
                <a:lnTo>
                  <a:pt x="7052605" y="3208599"/>
                </a:lnTo>
                <a:lnTo>
                  <a:pt x="7049350" y="3208382"/>
                </a:lnTo>
                <a:close/>
                <a:moveTo>
                  <a:pt x="7177834" y="3206109"/>
                </a:moveTo>
                <a:lnTo>
                  <a:pt x="7178376" y="3208057"/>
                </a:lnTo>
                <a:lnTo>
                  <a:pt x="7177291" y="3209248"/>
                </a:lnTo>
                <a:lnTo>
                  <a:pt x="7175989" y="3208166"/>
                </a:lnTo>
                <a:close/>
                <a:moveTo>
                  <a:pt x="6470739" y="3204593"/>
                </a:moveTo>
                <a:lnTo>
                  <a:pt x="6473235" y="3204593"/>
                </a:lnTo>
                <a:lnTo>
                  <a:pt x="6473018" y="3206757"/>
                </a:lnTo>
                <a:lnTo>
                  <a:pt x="6471282" y="3206865"/>
                </a:lnTo>
                <a:close/>
                <a:moveTo>
                  <a:pt x="4424440" y="3202751"/>
                </a:moveTo>
                <a:lnTo>
                  <a:pt x="4424332" y="3204916"/>
                </a:lnTo>
                <a:lnTo>
                  <a:pt x="4401000" y="3205349"/>
                </a:lnTo>
                <a:lnTo>
                  <a:pt x="4400349" y="3212171"/>
                </a:lnTo>
                <a:lnTo>
                  <a:pt x="4398613" y="3215960"/>
                </a:lnTo>
                <a:lnTo>
                  <a:pt x="4396551" y="3217043"/>
                </a:lnTo>
                <a:lnTo>
                  <a:pt x="4397311" y="3221698"/>
                </a:lnTo>
                <a:lnTo>
                  <a:pt x="4397419" y="3228195"/>
                </a:lnTo>
                <a:lnTo>
                  <a:pt x="4379297" y="3229385"/>
                </a:lnTo>
                <a:lnTo>
                  <a:pt x="4376258" y="3231118"/>
                </a:lnTo>
                <a:lnTo>
                  <a:pt x="4368011" y="3230577"/>
                </a:lnTo>
                <a:lnTo>
                  <a:pt x="4365407" y="3229710"/>
                </a:lnTo>
                <a:lnTo>
                  <a:pt x="4360957" y="3230577"/>
                </a:lnTo>
                <a:lnTo>
                  <a:pt x="4354555" y="3230901"/>
                </a:lnTo>
                <a:lnTo>
                  <a:pt x="4351951" y="3229494"/>
                </a:lnTo>
                <a:lnTo>
                  <a:pt x="4351951" y="3229495"/>
                </a:lnTo>
                <a:lnTo>
                  <a:pt x="4354556" y="3230902"/>
                </a:lnTo>
                <a:lnTo>
                  <a:pt x="4360958" y="3230578"/>
                </a:lnTo>
                <a:lnTo>
                  <a:pt x="4365408" y="3229711"/>
                </a:lnTo>
                <a:lnTo>
                  <a:pt x="4368012" y="3230578"/>
                </a:lnTo>
                <a:lnTo>
                  <a:pt x="4376259" y="3231119"/>
                </a:lnTo>
                <a:lnTo>
                  <a:pt x="4379298" y="3229386"/>
                </a:lnTo>
                <a:lnTo>
                  <a:pt x="4397420" y="3228196"/>
                </a:lnTo>
                <a:lnTo>
                  <a:pt x="4397312" y="3221699"/>
                </a:lnTo>
                <a:lnTo>
                  <a:pt x="4396552" y="3217044"/>
                </a:lnTo>
                <a:lnTo>
                  <a:pt x="4398613" y="3215961"/>
                </a:lnTo>
                <a:lnTo>
                  <a:pt x="4400350" y="3212172"/>
                </a:lnTo>
                <a:lnTo>
                  <a:pt x="4401001" y="3205350"/>
                </a:lnTo>
                <a:lnTo>
                  <a:pt x="4424332" y="3204917"/>
                </a:lnTo>
                <a:lnTo>
                  <a:pt x="4424441" y="3202752"/>
                </a:lnTo>
                <a:lnTo>
                  <a:pt x="4431710" y="3203401"/>
                </a:lnTo>
                <a:lnTo>
                  <a:pt x="4431710" y="3203400"/>
                </a:lnTo>
                <a:close/>
                <a:moveTo>
                  <a:pt x="4654899" y="3200766"/>
                </a:moveTo>
                <a:lnTo>
                  <a:pt x="4666106" y="3216177"/>
                </a:lnTo>
                <a:lnTo>
                  <a:pt x="4671857" y="3235016"/>
                </a:lnTo>
                <a:lnTo>
                  <a:pt x="4668494" y="3233283"/>
                </a:lnTo>
                <a:lnTo>
                  <a:pt x="4629427" y="3242811"/>
                </a:lnTo>
                <a:lnTo>
                  <a:pt x="4619661" y="3261434"/>
                </a:lnTo>
                <a:lnTo>
                  <a:pt x="4619661" y="3261434"/>
                </a:lnTo>
                <a:lnTo>
                  <a:pt x="4629427" y="3242812"/>
                </a:lnTo>
                <a:lnTo>
                  <a:pt x="4668493" y="3233284"/>
                </a:lnTo>
                <a:lnTo>
                  <a:pt x="4671857" y="3235016"/>
                </a:lnTo>
                <a:lnTo>
                  <a:pt x="4671858" y="3235017"/>
                </a:lnTo>
                <a:lnTo>
                  <a:pt x="4666107" y="3216177"/>
                </a:lnTo>
                <a:close/>
                <a:moveTo>
                  <a:pt x="7172408" y="3199288"/>
                </a:moveTo>
                <a:lnTo>
                  <a:pt x="7174795" y="3201237"/>
                </a:lnTo>
                <a:lnTo>
                  <a:pt x="7175663" y="3203619"/>
                </a:lnTo>
                <a:lnTo>
                  <a:pt x="7172950" y="3204052"/>
                </a:lnTo>
                <a:lnTo>
                  <a:pt x="7170997" y="3202536"/>
                </a:lnTo>
                <a:lnTo>
                  <a:pt x="7170997" y="3200262"/>
                </a:lnTo>
                <a:cubicBezTo>
                  <a:pt x="7171441" y="3199900"/>
                  <a:pt x="7171912" y="3199575"/>
                  <a:pt x="7172408" y="3199288"/>
                </a:cubicBezTo>
                <a:close/>
                <a:moveTo>
                  <a:pt x="7161990" y="3196256"/>
                </a:moveTo>
                <a:lnTo>
                  <a:pt x="7163835" y="3197663"/>
                </a:lnTo>
                <a:lnTo>
                  <a:pt x="7168175" y="3201345"/>
                </a:lnTo>
                <a:lnTo>
                  <a:pt x="7169695" y="3204592"/>
                </a:lnTo>
                <a:lnTo>
                  <a:pt x="7171865" y="3205892"/>
                </a:lnTo>
                <a:lnTo>
                  <a:pt x="7170997" y="3208057"/>
                </a:lnTo>
                <a:lnTo>
                  <a:pt x="7166656" y="3212063"/>
                </a:lnTo>
                <a:lnTo>
                  <a:pt x="7164269" y="3212388"/>
                </a:lnTo>
                <a:lnTo>
                  <a:pt x="7161990" y="3210222"/>
                </a:lnTo>
                <a:lnTo>
                  <a:pt x="7162424" y="3205784"/>
                </a:lnTo>
                <a:lnTo>
                  <a:pt x="7163943" y="3205892"/>
                </a:lnTo>
                <a:lnTo>
                  <a:pt x="7165680" y="3207516"/>
                </a:lnTo>
                <a:lnTo>
                  <a:pt x="7164594" y="3204918"/>
                </a:lnTo>
                <a:lnTo>
                  <a:pt x="7162641" y="3203185"/>
                </a:lnTo>
                <a:lnTo>
                  <a:pt x="7162533" y="3198205"/>
                </a:lnTo>
                <a:close/>
                <a:moveTo>
                  <a:pt x="7063566" y="3196148"/>
                </a:moveTo>
                <a:lnTo>
                  <a:pt x="7066062" y="3197338"/>
                </a:lnTo>
                <a:lnTo>
                  <a:pt x="7062698" y="3199396"/>
                </a:lnTo>
                <a:close/>
                <a:moveTo>
                  <a:pt x="7163184" y="3191492"/>
                </a:moveTo>
                <a:lnTo>
                  <a:pt x="7165896" y="3192141"/>
                </a:lnTo>
                <a:lnTo>
                  <a:pt x="7166656" y="3194740"/>
                </a:lnTo>
                <a:lnTo>
                  <a:pt x="7170563" y="3198530"/>
                </a:lnTo>
                <a:lnTo>
                  <a:pt x="7169261" y="3199396"/>
                </a:lnTo>
                <a:lnTo>
                  <a:pt x="7166331" y="3197880"/>
                </a:lnTo>
                <a:lnTo>
                  <a:pt x="7162750" y="3193874"/>
                </a:lnTo>
                <a:close/>
                <a:moveTo>
                  <a:pt x="7174795" y="3188569"/>
                </a:moveTo>
                <a:lnTo>
                  <a:pt x="7176098" y="3188893"/>
                </a:lnTo>
                <a:lnTo>
                  <a:pt x="7177508" y="3191059"/>
                </a:lnTo>
                <a:lnTo>
                  <a:pt x="7177075" y="3192358"/>
                </a:lnTo>
                <a:lnTo>
                  <a:pt x="7178160" y="3192899"/>
                </a:lnTo>
                <a:lnTo>
                  <a:pt x="7177617" y="3195606"/>
                </a:lnTo>
                <a:lnTo>
                  <a:pt x="7175230" y="3198530"/>
                </a:lnTo>
                <a:lnTo>
                  <a:pt x="7173168" y="3197122"/>
                </a:lnTo>
                <a:lnTo>
                  <a:pt x="7168176" y="3194415"/>
                </a:lnTo>
                <a:lnTo>
                  <a:pt x="7167416" y="3193116"/>
                </a:lnTo>
                <a:lnTo>
                  <a:pt x="7170780" y="3190085"/>
                </a:lnTo>
                <a:close/>
                <a:moveTo>
                  <a:pt x="6492008" y="3187486"/>
                </a:moveTo>
                <a:lnTo>
                  <a:pt x="6494179" y="3189651"/>
                </a:lnTo>
                <a:lnTo>
                  <a:pt x="6499821" y="3189651"/>
                </a:lnTo>
                <a:lnTo>
                  <a:pt x="6507526" y="3190842"/>
                </a:lnTo>
                <a:lnTo>
                  <a:pt x="6511108" y="3193765"/>
                </a:lnTo>
                <a:lnTo>
                  <a:pt x="6513061" y="3192033"/>
                </a:lnTo>
                <a:lnTo>
                  <a:pt x="6515231" y="3189651"/>
                </a:lnTo>
                <a:lnTo>
                  <a:pt x="6522610" y="3190085"/>
                </a:lnTo>
                <a:lnTo>
                  <a:pt x="6527276" y="3193765"/>
                </a:lnTo>
                <a:lnTo>
                  <a:pt x="6535741" y="3195823"/>
                </a:lnTo>
                <a:lnTo>
                  <a:pt x="6546266" y="3196906"/>
                </a:lnTo>
                <a:lnTo>
                  <a:pt x="6548979" y="3201886"/>
                </a:lnTo>
                <a:lnTo>
                  <a:pt x="6548111" y="3206542"/>
                </a:lnTo>
                <a:lnTo>
                  <a:pt x="6550064" y="3208599"/>
                </a:lnTo>
                <a:lnTo>
                  <a:pt x="6558203" y="3212280"/>
                </a:lnTo>
                <a:lnTo>
                  <a:pt x="6572636" y="3212063"/>
                </a:lnTo>
                <a:lnTo>
                  <a:pt x="6585441" y="3214120"/>
                </a:lnTo>
                <a:lnTo>
                  <a:pt x="6596293" y="3212280"/>
                </a:lnTo>
                <a:lnTo>
                  <a:pt x="6599223" y="3208382"/>
                </a:lnTo>
                <a:lnTo>
                  <a:pt x="6600633" y="3198963"/>
                </a:lnTo>
                <a:lnTo>
                  <a:pt x="6605083" y="3198746"/>
                </a:lnTo>
                <a:lnTo>
                  <a:pt x="6611050" y="3204918"/>
                </a:lnTo>
                <a:lnTo>
                  <a:pt x="6614740" y="3204918"/>
                </a:lnTo>
                <a:lnTo>
                  <a:pt x="6619082" y="3204051"/>
                </a:lnTo>
                <a:lnTo>
                  <a:pt x="6622337" y="3206108"/>
                </a:lnTo>
                <a:lnTo>
                  <a:pt x="6627437" y="3210439"/>
                </a:lnTo>
                <a:lnTo>
                  <a:pt x="6631560" y="3210222"/>
                </a:lnTo>
                <a:lnTo>
                  <a:pt x="6634925" y="3213904"/>
                </a:lnTo>
                <a:lnTo>
                  <a:pt x="6637963" y="3212388"/>
                </a:lnTo>
                <a:lnTo>
                  <a:pt x="6644366" y="3212496"/>
                </a:lnTo>
                <a:lnTo>
                  <a:pt x="6644691" y="3218884"/>
                </a:lnTo>
                <a:lnTo>
                  <a:pt x="6649249" y="3224947"/>
                </a:lnTo>
                <a:lnTo>
                  <a:pt x="6649575" y="3228412"/>
                </a:lnTo>
                <a:lnTo>
                  <a:pt x="6652830" y="3232093"/>
                </a:lnTo>
                <a:lnTo>
                  <a:pt x="6658147" y="3234583"/>
                </a:lnTo>
                <a:lnTo>
                  <a:pt x="6663356" y="3232743"/>
                </a:lnTo>
                <a:lnTo>
                  <a:pt x="6667046" y="3235017"/>
                </a:lnTo>
                <a:lnTo>
                  <a:pt x="6670952" y="3234800"/>
                </a:lnTo>
                <a:lnTo>
                  <a:pt x="6674099" y="3232851"/>
                </a:lnTo>
                <a:lnTo>
                  <a:pt x="6678006" y="3232743"/>
                </a:lnTo>
                <a:lnTo>
                  <a:pt x="6679091" y="3234259"/>
                </a:lnTo>
                <a:lnTo>
                  <a:pt x="6683214" y="3235017"/>
                </a:lnTo>
                <a:lnTo>
                  <a:pt x="6685928" y="3237940"/>
                </a:lnTo>
                <a:lnTo>
                  <a:pt x="6684408" y="3248334"/>
                </a:lnTo>
                <a:lnTo>
                  <a:pt x="6682021" y="3251365"/>
                </a:lnTo>
                <a:lnTo>
                  <a:pt x="6684734" y="3253206"/>
                </a:lnTo>
                <a:lnTo>
                  <a:pt x="6686036" y="3260352"/>
                </a:lnTo>
                <a:lnTo>
                  <a:pt x="6683214" y="3261218"/>
                </a:lnTo>
                <a:lnTo>
                  <a:pt x="6679742" y="3257536"/>
                </a:lnTo>
                <a:lnTo>
                  <a:pt x="6674316" y="3258187"/>
                </a:lnTo>
                <a:lnTo>
                  <a:pt x="6668239" y="3253097"/>
                </a:lnTo>
                <a:lnTo>
                  <a:pt x="6663248" y="3251799"/>
                </a:lnTo>
                <a:lnTo>
                  <a:pt x="6658690" y="3246927"/>
                </a:lnTo>
                <a:lnTo>
                  <a:pt x="6655109" y="3246818"/>
                </a:lnTo>
                <a:lnTo>
                  <a:pt x="6648273" y="3250391"/>
                </a:lnTo>
                <a:lnTo>
                  <a:pt x="6641110" y="3250716"/>
                </a:lnTo>
                <a:lnTo>
                  <a:pt x="6635033" y="3247251"/>
                </a:lnTo>
                <a:lnTo>
                  <a:pt x="6628414" y="3245844"/>
                </a:lnTo>
                <a:lnTo>
                  <a:pt x="6622880" y="3250499"/>
                </a:lnTo>
                <a:lnTo>
                  <a:pt x="6616802" y="3246168"/>
                </a:lnTo>
                <a:lnTo>
                  <a:pt x="6608555" y="3245736"/>
                </a:lnTo>
                <a:lnTo>
                  <a:pt x="6603564" y="3248442"/>
                </a:lnTo>
                <a:lnTo>
                  <a:pt x="6590976" y="3243678"/>
                </a:lnTo>
                <a:lnTo>
                  <a:pt x="6579473" y="3236424"/>
                </a:lnTo>
                <a:lnTo>
                  <a:pt x="6571876" y="3236532"/>
                </a:lnTo>
                <a:lnTo>
                  <a:pt x="6566125" y="3232634"/>
                </a:lnTo>
                <a:lnTo>
                  <a:pt x="6562762" y="3232851"/>
                </a:lnTo>
                <a:lnTo>
                  <a:pt x="6559832" y="3236207"/>
                </a:lnTo>
                <a:lnTo>
                  <a:pt x="6555274" y="3235342"/>
                </a:lnTo>
                <a:lnTo>
                  <a:pt x="6551692" y="3231552"/>
                </a:lnTo>
                <a:lnTo>
                  <a:pt x="6548437" y="3231877"/>
                </a:lnTo>
                <a:lnTo>
                  <a:pt x="6544096" y="3236857"/>
                </a:lnTo>
                <a:lnTo>
                  <a:pt x="6533462" y="3233826"/>
                </a:lnTo>
                <a:lnTo>
                  <a:pt x="6526083" y="3228195"/>
                </a:lnTo>
                <a:lnTo>
                  <a:pt x="6518811" y="3227762"/>
                </a:lnTo>
                <a:lnTo>
                  <a:pt x="6515556" y="3226030"/>
                </a:lnTo>
                <a:lnTo>
                  <a:pt x="6511108" y="3228629"/>
                </a:lnTo>
                <a:lnTo>
                  <a:pt x="6505573" y="3226571"/>
                </a:lnTo>
                <a:lnTo>
                  <a:pt x="6499170" y="3225597"/>
                </a:lnTo>
                <a:lnTo>
                  <a:pt x="6497001" y="3223540"/>
                </a:lnTo>
                <a:lnTo>
                  <a:pt x="6500364" y="3217585"/>
                </a:lnTo>
                <a:lnTo>
                  <a:pt x="6502426" y="3215528"/>
                </a:lnTo>
                <a:lnTo>
                  <a:pt x="6499062" y="3215420"/>
                </a:lnTo>
                <a:lnTo>
                  <a:pt x="6496132" y="3216935"/>
                </a:lnTo>
                <a:lnTo>
                  <a:pt x="6492985" y="3214987"/>
                </a:lnTo>
                <a:lnTo>
                  <a:pt x="6490815" y="3210873"/>
                </a:lnTo>
                <a:lnTo>
                  <a:pt x="6485606" y="3212930"/>
                </a:lnTo>
                <a:lnTo>
                  <a:pt x="6475948" y="3212713"/>
                </a:lnTo>
                <a:lnTo>
                  <a:pt x="6472909" y="3210873"/>
                </a:lnTo>
                <a:lnTo>
                  <a:pt x="6472692" y="3208165"/>
                </a:lnTo>
                <a:lnTo>
                  <a:pt x="6474320" y="3207841"/>
                </a:lnTo>
                <a:lnTo>
                  <a:pt x="6476273" y="3209898"/>
                </a:lnTo>
                <a:lnTo>
                  <a:pt x="6479854" y="3208599"/>
                </a:lnTo>
                <a:lnTo>
                  <a:pt x="6480288" y="3203726"/>
                </a:lnTo>
                <a:lnTo>
                  <a:pt x="6485280" y="3203077"/>
                </a:lnTo>
                <a:lnTo>
                  <a:pt x="6487560" y="3198096"/>
                </a:lnTo>
                <a:lnTo>
                  <a:pt x="6487233" y="3193116"/>
                </a:lnTo>
                <a:close/>
                <a:moveTo>
                  <a:pt x="6834053" y="3185971"/>
                </a:moveTo>
                <a:lnTo>
                  <a:pt x="6837851" y="3193549"/>
                </a:lnTo>
                <a:lnTo>
                  <a:pt x="6836007" y="3197123"/>
                </a:lnTo>
                <a:lnTo>
                  <a:pt x="6834162" y="3202103"/>
                </a:lnTo>
                <a:lnTo>
                  <a:pt x="6833076" y="3198530"/>
                </a:lnTo>
                <a:lnTo>
                  <a:pt x="6831014" y="3195174"/>
                </a:lnTo>
                <a:lnTo>
                  <a:pt x="6832642" y="3192251"/>
                </a:lnTo>
                <a:lnTo>
                  <a:pt x="6832967" y="3188461"/>
                </a:lnTo>
                <a:close/>
                <a:moveTo>
                  <a:pt x="7164270" y="3183372"/>
                </a:moveTo>
                <a:lnTo>
                  <a:pt x="7165572" y="3183372"/>
                </a:lnTo>
                <a:lnTo>
                  <a:pt x="7165572" y="3184996"/>
                </a:lnTo>
                <a:lnTo>
                  <a:pt x="7163619" y="3184996"/>
                </a:lnTo>
                <a:close/>
                <a:moveTo>
                  <a:pt x="7127482" y="3178824"/>
                </a:moveTo>
                <a:lnTo>
                  <a:pt x="7130846" y="3183479"/>
                </a:lnTo>
                <a:lnTo>
                  <a:pt x="7130738" y="3189001"/>
                </a:lnTo>
                <a:lnTo>
                  <a:pt x="7129002" y="3187160"/>
                </a:lnTo>
                <a:lnTo>
                  <a:pt x="7128784" y="3183371"/>
                </a:lnTo>
                <a:close/>
                <a:moveTo>
                  <a:pt x="7169912" y="3177742"/>
                </a:moveTo>
                <a:lnTo>
                  <a:pt x="7172191" y="3178066"/>
                </a:lnTo>
                <a:lnTo>
                  <a:pt x="7175012" y="3180232"/>
                </a:lnTo>
                <a:lnTo>
                  <a:pt x="7176965" y="3180448"/>
                </a:lnTo>
                <a:lnTo>
                  <a:pt x="7177074" y="3184672"/>
                </a:lnTo>
                <a:lnTo>
                  <a:pt x="7175989" y="3186837"/>
                </a:lnTo>
                <a:lnTo>
                  <a:pt x="7173168" y="3186729"/>
                </a:lnTo>
                <a:lnTo>
                  <a:pt x="7169912" y="3189111"/>
                </a:lnTo>
                <a:lnTo>
                  <a:pt x="7168176" y="3189219"/>
                </a:lnTo>
                <a:lnTo>
                  <a:pt x="7167525" y="3186404"/>
                </a:lnTo>
                <a:lnTo>
                  <a:pt x="7170779" y="3184130"/>
                </a:lnTo>
                <a:lnTo>
                  <a:pt x="7168502" y="3184563"/>
                </a:lnTo>
                <a:lnTo>
                  <a:pt x="7168176" y="3182615"/>
                </a:lnTo>
                <a:lnTo>
                  <a:pt x="7165680" y="3181965"/>
                </a:lnTo>
                <a:lnTo>
                  <a:pt x="7167850" y="3181315"/>
                </a:lnTo>
                <a:close/>
                <a:moveTo>
                  <a:pt x="7175121" y="3176334"/>
                </a:moveTo>
                <a:lnTo>
                  <a:pt x="7177075" y="3179257"/>
                </a:lnTo>
                <a:lnTo>
                  <a:pt x="7175338" y="3179149"/>
                </a:lnTo>
                <a:lnTo>
                  <a:pt x="7173059" y="3176550"/>
                </a:lnTo>
                <a:close/>
                <a:moveTo>
                  <a:pt x="7493942" y="3175793"/>
                </a:moveTo>
                <a:lnTo>
                  <a:pt x="7497740" y="3178932"/>
                </a:lnTo>
                <a:lnTo>
                  <a:pt x="7498934" y="3183264"/>
                </a:lnTo>
                <a:lnTo>
                  <a:pt x="7497740" y="3185429"/>
                </a:lnTo>
                <a:lnTo>
                  <a:pt x="7493508" y="3182939"/>
                </a:lnTo>
                <a:lnTo>
                  <a:pt x="7491012" y="3179041"/>
                </a:lnTo>
                <a:close/>
                <a:moveTo>
                  <a:pt x="7140395" y="3174169"/>
                </a:moveTo>
                <a:lnTo>
                  <a:pt x="7138225" y="3178391"/>
                </a:lnTo>
                <a:lnTo>
                  <a:pt x="7134969" y="3188244"/>
                </a:lnTo>
                <a:lnTo>
                  <a:pt x="7131823" y="3189435"/>
                </a:lnTo>
                <a:lnTo>
                  <a:pt x="7133559" y="3186620"/>
                </a:lnTo>
                <a:lnTo>
                  <a:pt x="7135621" y="3176659"/>
                </a:lnTo>
                <a:close/>
                <a:moveTo>
                  <a:pt x="6400203" y="3172545"/>
                </a:moveTo>
                <a:lnTo>
                  <a:pt x="6403242" y="3174819"/>
                </a:lnTo>
                <a:lnTo>
                  <a:pt x="6403350" y="3178176"/>
                </a:lnTo>
                <a:lnTo>
                  <a:pt x="6397273" y="3173736"/>
                </a:lnTo>
                <a:close/>
                <a:moveTo>
                  <a:pt x="7477339" y="3169621"/>
                </a:moveTo>
                <a:lnTo>
                  <a:pt x="7480270" y="3171678"/>
                </a:lnTo>
                <a:lnTo>
                  <a:pt x="7480270" y="3175792"/>
                </a:lnTo>
                <a:lnTo>
                  <a:pt x="7477339" y="3176550"/>
                </a:lnTo>
                <a:lnTo>
                  <a:pt x="7475277" y="3173627"/>
                </a:lnTo>
                <a:close/>
                <a:moveTo>
                  <a:pt x="6868236" y="3167998"/>
                </a:moveTo>
                <a:lnTo>
                  <a:pt x="6871058" y="3172112"/>
                </a:lnTo>
                <a:lnTo>
                  <a:pt x="6872251" y="3176875"/>
                </a:lnTo>
                <a:lnTo>
                  <a:pt x="6868671" y="3179257"/>
                </a:lnTo>
                <a:lnTo>
                  <a:pt x="6866609" y="3178391"/>
                </a:lnTo>
                <a:lnTo>
                  <a:pt x="6864872" y="3173195"/>
                </a:lnTo>
                <a:lnTo>
                  <a:pt x="6866283" y="3171787"/>
                </a:lnTo>
                <a:lnTo>
                  <a:pt x="6866283" y="3168755"/>
                </a:lnTo>
                <a:close/>
                <a:moveTo>
                  <a:pt x="4238334" y="3162368"/>
                </a:moveTo>
                <a:lnTo>
                  <a:pt x="4238767" y="3171029"/>
                </a:lnTo>
                <a:lnTo>
                  <a:pt x="4238768" y="3171028"/>
                </a:lnTo>
                <a:close/>
                <a:moveTo>
                  <a:pt x="7550914" y="3159985"/>
                </a:moveTo>
                <a:lnTo>
                  <a:pt x="7554061" y="3164641"/>
                </a:lnTo>
                <a:lnTo>
                  <a:pt x="7551457" y="3167563"/>
                </a:lnTo>
                <a:lnTo>
                  <a:pt x="7546682" y="3162800"/>
                </a:lnTo>
                <a:lnTo>
                  <a:pt x="7547550" y="3160310"/>
                </a:lnTo>
                <a:close/>
                <a:moveTo>
                  <a:pt x="6886141" y="3159769"/>
                </a:moveTo>
                <a:lnTo>
                  <a:pt x="6888312" y="3163775"/>
                </a:lnTo>
                <a:lnTo>
                  <a:pt x="6888312" y="3166265"/>
                </a:lnTo>
                <a:lnTo>
                  <a:pt x="6885273" y="3169405"/>
                </a:lnTo>
                <a:lnTo>
                  <a:pt x="6885273" y="3173411"/>
                </a:lnTo>
                <a:lnTo>
                  <a:pt x="6883428" y="3173411"/>
                </a:lnTo>
                <a:lnTo>
                  <a:pt x="6882886" y="3175360"/>
                </a:lnTo>
                <a:lnTo>
                  <a:pt x="6878762" y="3175360"/>
                </a:lnTo>
                <a:lnTo>
                  <a:pt x="6876917" y="3173844"/>
                </a:lnTo>
                <a:cubicBezTo>
                  <a:pt x="6876917" y="3173844"/>
                  <a:pt x="6876157" y="3172653"/>
                  <a:pt x="6876157" y="3172653"/>
                </a:cubicBezTo>
                <a:lnTo>
                  <a:pt x="6880389" y="3167889"/>
                </a:lnTo>
                <a:lnTo>
                  <a:pt x="6878979" y="3165074"/>
                </a:lnTo>
                <a:lnTo>
                  <a:pt x="6882126" y="3161826"/>
                </a:lnTo>
                <a:close/>
                <a:moveTo>
                  <a:pt x="7453792" y="3154355"/>
                </a:moveTo>
                <a:lnTo>
                  <a:pt x="7453249" y="3157278"/>
                </a:lnTo>
                <a:lnTo>
                  <a:pt x="7449994" y="3159876"/>
                </a:lnTo>
                <a:lnTo>
                  <a:pt x="7448474" y="3156412"/>
                </a:lnTo>
                <a:close/>
                <a:moveTo>
                  <a:pt x="6896341" y="3153056"/>
                </a:moveTo>
                <a:lnTo>
                  <a:pt x="6899814" y="3153597"/>
                </a:lnTo>
                <a:lnTo>
                  <a:pt x="6899814" y="3156629"/>
                </a:lnTo>
                <a:lnTo>
                  <a:pt x="6901333" y="3159877"/>
                </a:lnTo>
                <a:lnTo>
                  <a:pt x="6901116" y="3162042"/>
                </a:lnTo>
                <a:lnTo>
                  <a:pt x="6899922" y="3160202"/>
                </a:lnTo>
                <a:lnTo>
                  <a:pt x="6899162" y="3162259"/>
                </a:lnTo>
                <a:lnTo>
                  <a:pt x="6896341" y="3164424"/>
                </a:lnTo>
                <a:lnTo>
                  <a:pt x="6894930" y="3166266"/>
                </a:lnTo>
                <a:lnTo>
                  <a:pt x="6896015" y="3169838"/>
                </a:lnTo>
                <a:lnTo>
                  <a:pt x="6899814" y="3170812"/>
                </a:lnTo>
                <a:lnTo>
                  <a:pt x="6900574" y="3172870"/>
                </a:lnTo>
                <a:lnTo>
                  <a:pt x="6898945" y="3174927"/>
                </a:lnTo>
                <a:lnTo>
                  <a:pt x="6896015" y="3175793"/>
                </a:lnTo>
                <a:lnTo>
                  <a:pt x="6893411" y="3180449"/>
                </a:lnTo>
                <a:lnTo>
                  <a:pt x="6890373" y="3181965"/>
                </a:lnTo>
                <a:lnTo>
                  <a:pt x="6887117" y="3180233"/>
                </a:lnTo>
                <a:lnTo>
                  <a:pt x="6887768" y="3176659"/>
                </a:lnTo>
                <a:lnTo>
                  <a:pt x="6891784" y="3169730"/>
                </a:lnTo>
                <a:lnTo>
                  <a:pt x="6893953" y="3162259"/>
                </a:lnTo>
                <a:lnTo>
                  <a:pt x="6894388" y="3154788"/>
                </a:lnTo>
                <a:close/>
                <a:moveTo>
                  <a:pt x="5268374" y="3149375"/>
                </a:moveTo>
                <a:lnTo>
                  <a:pt x="5272281" y="3151215"/>
                </a:lnTo>
                <a:lnTo>
                  <a:pt x="5273801" y="3153814"/>
                </a:lnTo>
                <a:lnTo>
                  <a:pt x="5268592" y="3155654"/>
                </a:lnTo>
                <a:lnTo>
                  <a:pt x="5265770" y="3152622"/>
                </a:lnTo>
                <a:close/>
                <a:moveTo>
                  <a:pt x="4298886" y="3147858"/>
                </a:moveTo>
                <a:lnTo>
                  <a:pt x="4298886" y="3147858"/>
                </a:lnTo>
                <a:lnTo>
                  <a:pt x="4295413" y="3153055"/>
                </a:lnTo>
                <a:lnTo>
                  <a:pt x="4291923" y="3154529"/>
                </a:lnTo>
                <a:lnTo>
                  <a:pt x="4295413" y="3153055"/>
                </a:lnTo>
                <a:close/>
                <a:moveTo>
                  <a:pt x="7600940" y="3143853"/>
                </a:moveTo>
                <a:lnTo>
                  <a:pt x="7606258" y="3148508"/>
                </a:lnTo>
                <a:lnTo>
                  <a:pt x="7606475" y="3159335"/>
                </a:lnTo>
                <a:lnTo>
                  <a:pt x="7600723" y="3164641"/>
                </a:lnTo>
                <a:lnTo>
                  <a:pt x="7598119" y="3163234"/>
                </a:lnTo>
                <a:lnTo>
                  <a:pt x="7594863" y="3165182"/>
                </a:lnTo>
                <a:lnTo>
                  <a:pt x="7595189" y="3168430"/>
                </a:lnTo>
                <a:lnTo>
                  <a:pt x="7600397" y="3173194"/>
                </a:lnTo>
                <a:lnTo>
                  <a:pt x="7597576" y="3177525"/>
                </a:lnTo>
                <a:lnTo>
                  <a:pt x="7591824" y="3179258"/>
                </a:lnTo>
                <a:lnTo>
                  <a:pt x="7588678" y="3176876"/>
                </a:lnTo>
                <a:lnTo>
                  <a:pt x="7585205" y="3177742"/>
                </a:lnTo>
                <a:lnTo>
                  <a:pt x="7585205" y="3181098"/>
                </a:lnTo>
                <a:lnTo>
                  <a:pt x="7576741" y="3191600"/>
                </a:lnTo>
                <a:lnTo>
                  <a:pt x="7570555" y="3191816"/>
                </a:lnTo>
                <a:lnTo>
                  <a:pt x="7570772" y="3195281"/>
                </a:lnTo>
                <a:lnTo>
                  <a:pt x="7568819" y="3197879"/>
                </a:lnTo>
                <a:lnTo>
                  <a:pt x="7563068" y="3195389"/>
                </a:lnTo>
                <a:lnTo>
                  <a:pt x="7559053" y="3197122"/>
                </a:lnTo>
                <a:lnTo>
                  <a:pt x="7554387" y="3195715"/>
                </a:lnTo>
                <a:lnTo>
                  <a:pt x="7545597" y="3197447"/>
                </a:lnTo>
                <a:lnTo>
                  <a:pt x="7541798" y="3198205"/>
                </a:lnTo>
                <a:lnTo>
                  <a:pt x="7536155" y="3197338"/>
                </a:lnTo>
                <a:lnTo>
                  <a:pt x="7533768" y="3192791"/>
                </a:lnTo>
                <a:lnTo>
                  <a:pt x="7525738" y="3192466"/>
                </a:lnTo>
                <a:lnTo>
                  <a:pt x="7522374" y="3195065"/>
                </a:lnTo>
                <a:lnTo>
                  <a:pt x="7521506" y="3192358"/>
                </a:lnTo>
                <a:lnTo>
                  <a:pt x="7513693" y="3186078"/>
                </a:lnTo>
                <a:lnTo>
                  <a:pt x="7508592" y="3185645"/>
                </a:lnTo>
                <a:lnTo>
                  <a:pt x="7504577" y="3180665"/>
                </a:lnTo>
                <a:lnTo>
                  <a:pt x="7508050" y="3174277"/>
                </a:lnTo>
                <a:lnTo>
                  <a:pt x="7512716" y="3177092"/>
                </a:lnTo>
                <a:lnTo>
                  <a:pt x="7518575" y="3175685"/>
                </a:lnTo>
                <a:lnTo>
                  <a:pt x="7522808" y="3175685"/>
                </a:lnTo>
                <a:lnTo>
                  <a:pt x="7526172" y="3177308"/>
                </a:lnTo>
                <a:lnTo>
                  <a:pt x="7530295" y="3177525"/>
                </a:lnTo>
                <a:lnTo>
                  <a:pt x="7535830" y="3175251"/>
                </a:lnTo>
                <a:lnTo>
                  <a:pt x="7540605" y="3175793"/>
                </a:lnTo>
                <a:lnTo>
                  <a:pt x="7544186" y="3173411"/>
                </a:lnTo>
                <a:lnTo>
                  <a:pt x="7543535" y="3170163"/>
                </a:lnTo>
                <a:lnTo>
                  <a:pt x="7545922" y="3167781"/>
                </a:lnTo>
                <a:lnTo>
                  <a:pt x="7549612" y="3169621"/>
                </a:lnTo>
                <a:lnTo>
                  <a:pt x="7548526" y="3173411"/>
                </a:lnTo>
                <a:lnTo>
                  <a:pt x="7549937" y="3179365"/>
                </a:lnTo>
                <a:lnTo>
                  <a:pt x="7552976" y="3180123"/>
                </a:lnTo>
                <a:lnTo>
                  <a:pt x="7556448" y="3175793"/>
                </a:lnTo>
                <a:lnTo>
                  <a:pt x="7559378" y="3175685"/>
                </a:lnTo>
                <a:lnTo>
                  <a:pt x="7562526" y="3179040"/>
                </a:lnTo>
                <a:lnTo>
                  <a:pt x="7565889" y="3176876"/>
                </a:lnTo>
                <a:lnTo>
                  <a:pt x="7568385" y="3177850"/>
                </a:lnTo>
                <a:lnTo>
                  <a:pt x="7571315" y="3175685"/>
                </a:lnTo>
                <a:lnTo>
                  <a:pt x="7573051" y="3171029"/>
                </a:lnTo>
                <a:lnTo>
                  <a:pt x="7582167" y="3163558"/>
                </a:lnTo>
                <a:lnTo>
                  <a:pt x="7586725" y="3163775"/>
                </a:lnTo>
                <a:lnTo>
                  <a:pt x="7589220" y="3161176"/>
                </a:lnTo>
                <a:lnTo>
                  <a:pt x="7587484" y="3159335"/>
                </a:lnTo>
                <a:lnTo>
                  <a:pt x="7585096" y="3149050"/>
                </a:lnTo>
                <a:lnTo>
                  <a:pt x="7587484" y="3145369"/>
                </a:lnTo>
                <a:lnTo>
                  <a:pt x="7593127" y="3145585"/>
                </a:lnTo>
                <a:lnTo>
                  <a:pt x="7596274" y="3147967"/>
                </a:lnTo>
                <a:lnTo>
                  <a:pt x="7598010" y="3145910"/>
                </a:lnTo>
                <a:close/>
                <a:moveTo>
                  <a:pt x="2046081" y="3143636"/>
                </a:moveTo>
                <a:lnTo>
                  <a:pt x="2046081" y="3143637"/>
                </a:lnTo>
                <a:lnTo>
                  <a:pt x="2048251" y="3147209"/>
                </a:lnTo>
                <a:lnTo>
                  <a:pt x="2055522" y="3148725"/>
                </a:lnTo>
                <a:lnTo>
                  <a:pt x="2059754" y="3150457"/>
                </a:lnTo>
                <a:lnTo>
                  <a:pt x="2066699" y="3160202"/>
                </a:lnTo>
                <a:lnTo>
                  <a:pt x="2069846" y="3160202"/>
                </a:lnTo>
                <a:lnTo>
                  <a:pt x="2069846" y="3160201"/>
                </a:lnTo>
                <a:lnTo>
                  <a:pt x="2066699" y="3160201"/>
                </a:lnTo>
                <a:lnTo>
                  <a:pt x="2059754" y="3150457"/>
                </a:lnTo>
                <a:lnTo>
                  <a:pt x="2055522" y="3148725"/>
                </a:lnTo>
                <a:lnTo>
                  <a:pt x="2048252" y="3147209"/>
                </a:lnTo>
                <a:close/>
                <a:moveTo>
                  <a:pt x="2276462" y="3143550"/>
                </a:moveTo>
                <a:lnTo>
                  <a:pt x="2276462" y="3144502"/>
                </a:lnTo>
                <a:lnTo>
                  <a:pt x="2278001" y="3144918"/>
                </a:lnTo>
                <a:lnTo>
                  <a:pt x="2278089" y="3144610"/>
                </a:lnTo>
                <a:close/>
                <a:moveTo>
                  <a:pt x="4242999" y="3142120"/>
                </a:moveTo>
                <a:lnTo>
                  <a:pt x="4238985" y="3145476"/>
                </a:lnTo>
                <a:lnTo>
                  <a:pt x="4235512" y="3146126"/>
                </a:lnTo>
                <a:lnTo>
                  <a:pt x="4235512" y="3146127"/>
                </a:lnTo>
                <a:lnTo>
                  <a:pt x="4238984" y="3145477"/>
                </a:lnTo>
                <a:lnTo>
                  <a:pt x="4243000" y="3142121"/>
                </a:lnTo>
                <a:lnTo>
                  <a:pt x="4245062" y="3142121"/>
                </a:lnTo>
                <a:lnTo>
                  <a:pt x="4247557" y="3144286"/>
                </a:lnTo>
                <a:lnTo>
                  <a:pt x="4249837" y="3147426"/>
                </a:lnTo>
                <a:lnTo>
                  <a:pt x="4249945" y="3151323"/>
                </a:lnTo>
                <a:lnTo>
                  <a:pt x="4249837" y="3147425"/>
                </a:lnTo>
                <a:lnTo>
                  <a:pt x="4247558" y="3144285"/>
                </a:lnTo>
                <a:lnTo>
                  <a:pt x="4245062" y="3142120"/>
                </a:lnTo>
                <a:close/>
                <a:moveTo>
                  <a:pt x="4284314" y="3141366"/>
                </a:moveTo>
                <a:lnTo>
                  <a:pt x="4284236" y="3141795"/>
                </a:lnTo>
                <a:lnTo>
                  <a:pt x="4283145" y="3143885"/>
                </a:lnTo>
                <a:lnTo>
                  <a:pt x="4284236" y="3141795"/>
                </a:lnTo>
                <a:close/>
                <a:moveTo>
                  <a:pt x="4310280" y="3134757"/>
                </a:moveTo>
                <a:lnTo>
                  <a:pt x="4308652" y="3138438"/>
                </a:lnTo>
                <a:lnTo>
                  <a:pt x="4299491" y="3147275"/>
                </a:lnTo>
                <a:lnTo>
                  <a:pt x="4308653" y="3138439"/>
                </a:lnTo>
                <a:close/>
                <a:moveTo>
                  <a:pt x="2279500" y="3132592"/>
                </a:moveTo>
                <a:lnTo>
                  <a:pt x="2273423" y="3133134"/>
                </a:lnTo>
                <a:lnTo>
                  <a:pt x="2268106" y="3133675"/>
                </a:lnTo>
                <a:lnTo>
                  <a:pt x="2268106" y="3133675"/>
                </a:lnTo>
                <a:lnTo>
                  <a:pt x="2273423" y="3133134"/>
                </a:lnTo>
                <a:lnTo>
                  <a:pt x="2279500" y="3132592"/>
                </a:lnTo>
                <a:lnTo>
                  <a:pt x="2283081" y="3136490"/>
                </a:lnTo>
                <a:lnTo>
                  <a:pt x="2283223" y="3137107"/>
                </a:lnTo>
                <a:lnTo>
                  <a:pt x="2283595" y="3138729"/>
                </a:lnTo>
                <a:lnTo>
                  <a:pt x="2283596" y="3138728"/>
                </a:lnTo>
                <a:lnTo>
                  <a:pt x="2283082" y="3136489"/>
                </a:lnTo>
                <a:close/>
                <a:moveTo>
                  <a:pt x="7026127" y="3131944"/>
                </a:moveTo>
                <a:lnTo>
                  <a:pt x="7028514" y="3131944"/>
                </a:lnTo>
                <a:lnTo>
                  <a:pt x="7028949" y="3134217"/>
                </a:lnTo>
                <a:lnTo>
                  <a:pt x="7026561" y="3134217"/>
                </a:lnTo>
                <a:close/>
                <a:moveTo>
                  <a:pt x="7033290" y="3131185"/>
                </a:moveTo>
                <a:lnTo>
                  <a:pt x="7033399" y="3133026"/>
                </a:lnTo>
                <a:lnTo>
                  <a:pt x="7031662" y="3133567"/>
                </a:lnTo>
                <a:lnTo>
                  <a:pt x="7030577" y="3131618"/>
                </a:lnTo>
                <a:close/>
                <a:moveTo>
                  <a:pt x="7021787" y="3130968"/>
                </a:moveTo>
                <a:lnTo>
                  <a:pt x="7024283" y="3132159"/>
                </a:lnTo>
                <a:lnTo>
                  <a:pt x="7021353" y="3137247"/>
                </a:lnTo>
                <a:lnTo>
                  <a:pt x="7020593" y="3134973"/>
                </a:lnTo>
                <a:lnTo>
                  <a:pt x="7017012" y="3137139"/>
                </a:lnTo>
                <a:lnTo>
                  <a:pt x="7013865" y="3134432"/>
                </a:lnTo>
                <a:lnTo>
                  <a:pt x="7019399" y="3132700"/>
                </a:lnTo>
                <a:close/>
                <a:moveTo>
                  <a:pt x="6735194" y="3128586"/>
                </a:moveTo>
                <a:lnTo>
                  <a:pt x="6736388" y="3129669"/>
                </a:lnTo>
                <a:lnTo>
                  <a:pt x="6735845" y="3136057"/>
                </a:lnTo>
                <a:lnTo>
                  <a:pt x="6734542" y="3136490"/>
                </a:lnTo>
                <a:lnTo>
                  <a:pt x="6734326" y="3130426"/>
                </a:lnTo>
                <a:close/>
                <a:moveTo>
                  <a:pt x="4673342" y="3127733"/>
                </a:moveTo>
                <a:lnTo>
                  <a:pt x="4670773" y="3129886"/>
                </a:lnTo>
                <a:lnTo>
                  <a:pt x="4664588" y="3136707"/>
                </a:lnTo>
                <a:lnTo>
                  <a:pt x="4660355" y="3142662"/>
                </a:lnTo>
                <a:lnTo>
                  <a:pt x="4652434" y="3144827"/>
                </a:lnTo>
                <a:lnTo>
                  <a:pt x="4652434" y="3144827"/>
                </a:lnTo>
                <a:lnTo>
                  <a:pt x="4660356" y="3142662"/>
                </a:lnTo>
                <a:lnTo>
                  <a:pt x="4664588" y="3136707"/>
                </a:lnTo>
                <a:lnTo>
                  <a:pt x="4670774" y="3129886"/>
                </a:lnTo>
                <a:close/>
                <a:moveTo>
                  <a:pt x="6731939" y="3126963"/>
                </a:moveTo>
                <a:lnTo>
                  <a:pt x="6733133" y="3128803"/>
                </a:lnTo>
                <a:lnTo>
                  <a:pt x="6733458" y="3137141"/>
                </a:lnTo>
                <a:lnTo>
                  <a:pt x="6732156" y="3141904"/>
                </a:lnTo>
                <a:lnTo>
                  <a:pt x="6728466" y="3144503"/>
                </a:lnTo>
                <a:lnTo>
                  <a:pt x="6726621" y="3142121"/>
                </a:lnTo>
                <a:lnTo>
                  <a:pt x="6727272" y="3135192"/>
                </a:lnTo>
                <a:lnTo>
                  <a:pt x="6729768" y="3128371"/>
                </a:lnTo>
                <a:close/>
                <a:moveTo>
                  <a:pt x="7012021" y="3119817"/>
                </a:moveTo>
                <a:lnTo>
                  <a:pt x="7012021" y="3122849"/>
                </a:lnTo>
                <a:lnTo>
                  <a:pt x="7009308" y="3122307"/>
                </a:lnTo>
                <a:close/>
                <a:moveTo>
                  <a:pt x="6979464" y="3119493"/>
                </a:moveTo>
                <a:lnTo>
                  <a:pt x="6988580" y="3119926"/>
                </a:lnTo>
                <a:lnTo>
                  <a:pt x="6995308" y="3122741"/>
                </a:lnTo>
                <a:lnTo>
                  <a:pt x="6995633" y="3125448"/>
                </a:lnTo>
                <a:lnTo>
                  <a:pt x="6999757" y="3130212"/>
                </a:lnTo>
                <a:lnTo>
                  <a:pt x="6999431" y="3133893"/>
                </a:lnTo>
                <a:lnTo>
                  <a:pt x="6995525" y="3133677"/>
                </a:lnTo>
                <a:lnTo>
                  <a:pt x="6990642" y="3138007"/>
                </a:lnTo>
                <a:lnTo>
                  <a:pt x="6985107" y="3137466"/>
                </a:lnTo>
                <a:lnTo>
                  <a:pt x="6979464" y="3138007"/>
                </a:lnTo>
                <a:lnTo>
                  <a:pt x="6977402" y="3136059"/>
                </a:lnTo>
                <a:lnTo>
                  <a:pt x="6970350" y="3134760"/>
                </a:lnTo>
                <a:lnTo>
                  <a:pt x="6966551" y="3129562"/>
                </a:lnTo>
                <a:lnTo>
                  <a:pt x="6967202" y="3123499"/>
                </a:lnTo>
                <a:lnTo>
                  <a:pt x="6971217" y="3120792"/>
                </a:lnTo>
                <a:lnTo>
                  <a:pt x="6975666" y="3122741"/>
                </a:lnTo>
                <a:close/>
                <a:moveTo>
                  <a:pt x="4217715" y="3119058"/>
                </a:moveTo>
                <a:lnTo>
                  <a:pt x="4219804" y="3120705"/>
                </a:lnTo>
                <a:lnTo>
                  <a:pt x="4217716" y="3119058"/>
                </a:lnTo>
                <a:close/>
                <a:moveTo>
                  <a:pt x="6512085" y="3116135"/>
                </a:moveTo>
                <a:lnTo>
                  <a:pt x="6514256" y="3117651"/>
                </a:lnTo>
                <a:lnTo>
                  <a:pt x="6511434" y="3120140"/>
                </a:lnTo>
                <a:close/>
                <a:moveTo>
                  <a:pt x="2094881" y="3115317"/>
                </a:moveTo>
                <a:lnTo>
                  <a:pt x="2092960" y="3117109"/>
                </a:lnTo>
                <a:lnTo>
                  <a:pt x="2092388" y="3118292"/>
                </a:lnTo>
                <a:lnTo>
                  <a:pt x="2092960" y="3117110"/>
                </a:lnTo>
                <a:close/>
                <a:moveTo>
                  <a:pt x="7017121" y="3114945"/>
                </a:moveTo>
                <a:lnTo>
                  <a:pt x="7016361" y="3117110"/>
                </a:lnTo>
                <a:lnTo>
                  <a:pt x="7013974" y="3117327"/>
                </a:lnTo>
                <a:lnTo>
                  <a:pt x="7012998" y="3115161"/>
                </a:lnTo>
                <a:close/>
                <a:moveTo>
                  <a:pt x="6352999" y="3113646"/>
                </a:moveTo>
                <a:lnTo>
                  <a:pt x="6357990" y="3117435"/>
                </a:lnTo>
                <a:lnTo>
                  <a:pt x="6357665" y="3121441"/>
                </a:lnTo>
                <a:lnTo>
                  <a:pt x="6358749" y="3126097"/>
                </a:lnTo>
                <a:lnTo>
                  <a:pt x="6349960" y="3117977"/>
                </a:lnTo>
                <a:close/>
                <a:moveTo>
                  <a:pt x="7051954" y="3112021"/>
                </a:moveTo>
                <a:lnTo>
                  <a:pt x="7057164" y="3112563"/>
                </a:lnTo>
                <a:lnTo>
                  <a:pt x="7061939" y="3116568"/>
                </a:lnTo>
                <a:lnTo>
                  <a:pt x="7071814" y="3118409"/>
                </a:lnTo>
                <a:lnTo>
                  <a:pt x="7083642" y="3125122"/>
                </a:lnTo>
                <a:lnTo>
                  <a:pt x="7085921" y="3134108"/>
                </a:lnTo>
                <a:lnTo>
                  <a:pt x="7084076" y="3138330"/>
                </a:lnTo>
                <a:lnTo>
                  <a:pt x="7079084" y="3138330"/>
                </a:lnTo>
                <a:lnTo>
                  <a:pt x="7073875" y="3132808"/>
                </a:lnTo>
                <a:lnTo>
                  <a:pt x="7069534" y="3131943"/>
                </a:lnTo>
                <a:lnTo>
                  <a:pt x="7060093" y="3126312"/>
                </a:lnTo>
                <a:lnTo>
                  <a:pt x="7055211" y="3126312"/>
                </a:lnTo>
                <a:lnTo>
                  <a:pt x="7053040" y="3129453"/>
                </a:lnTo>
                <a:lnTo>
                  <a:pt x="7042731" y="3128153"/>
                </a:lnTo>
                <a:lnTo>
                  <a:pt x="7040127" y="3123714"/>
                </a:lnTo>
                <a:lnTo>
                  <a:pt x="7037196" y="3123714"/>
                </a:lnTo>
                <a:lnTo>
                  <a:pt x="7032748" y="3128153"/>
                </a:lnTo>
                <a:lnTo>
                  <a:pt x="7028406" y="3128586"/>
                </a:lnTo>
                <a:lnTo>
                  <a:pt x="7026345" y="3125447"/>
                </a:lnTo>
                <a:lnTo>
                  <a:pt x="7022656" y="3121549"/>
                </a:lnTo>
                <a:lnTo>
                  <a:pt x="7018423" y="3128370"/>
                </a:lnTo>
                <a:lnTo>
                  <a:pt x="7015601" y="3128370"/>
                </a:lnTo>
                <a:lnTo>
                  <a:pt x="7014408" y="3125230"/>
                </a:lnTo>
                <a:lnTo>
                  <a:pt x="7016035" y="3121115"/>
                </a:lnTo>
                <a:lnTo>
                  <a:pt x="7019943" y="3119816"/>
                </a:lnTo>
                <a:lnTo>
                  <a:pt x="7020267" y="3117002"/>
                </a:lnTo>
                <a:lnTo>
                  <a:pt x="7022330" y="3114294"/>
                </a:lnTo>
                <a:lnTo>
                  <a:pt x="7032205" y="3114403"/>
                </a:lnTo>
                <a:lnTo>
                  <a:pt x="7039259" y="3113970"/>
                </a:lnTo>
                <a:lnTo>
                  <a:pt x="7042731" y="3115377"/>
                </a:lnTo>
                <a:lnTo>
                  <a:pt x="7047723" y="3115810"/>
                </a:lnTo>
                <a:close/>
                <a:moveTo>
                  <a:pt x="6345945" y="3108990"/>
                </a:moveTo>
                <a:lnTo>
                  <a:pt x="6350285" y="3110938"/>
                </a:lnTo>
                <a:lnTo>
                  <a:pt x="6346705" y="3114186"/>
                </a:lnTo>
                <a:close/>
                <a:moveTo>
                  <a:pt x="2042500" y="3107474"/>
                </a:moveTo>
                <a:lnTo>
                  <a:pt x="2042825" y="3108664"/>
                </a:lnTo>
                <a:lnTo>
                  <a:pt x="2041523" y="3111913"/>
                </a:lnTo>
                <a:lnTo>
                  <a:pt x="2041849" y="3114837"/>
                </a:lnTo>
                <a:lnTo>
                  <a:pt x="2040113" y="3118301"/>
                </a:lnTo>
                <a:lnTo>
                  <a:pt x="2037291" y="3119167"/>
                </a:lnTo>
                <a:lnTo>
                  <a:pt x="2035880" y="3117327"/>
                </a:lnTo>
                <a:lnTo>
                  <a:pt x="2035555" y="3115594"/>
                </a:lnTo>
                <a:lnTo>
                  <a:pt x="2038159" y="3111372"/>
                </a:lnTo>
                <a:close/>
                <a:moveTo>
                  <a:pt x="6529990" y="3106391"/>
                </a:moveTo>
                <a:lnTo>
                  <a:pt x="6538019" y="3107907"/>
                </a:lnTo>
                <a:lnTo>
                  <a:pt x="6545941" y="3112995"/>
                </a:lnTo>
                <a:lnTo>
                  <a:pt x="6548111" y="3117759"/>
                </a:lnTo>
                <a:lnTo>
                  <a:pt x="6544531" y="3119491"/>
                </a:lnTo>
                <a:lnTo>
                  <a:pt x="6543011" y="3122848"/>
                </a:lnTo>
                <a:lnTo>
                  <a:pt x="6539431" y="3122090"/>
                </a:lnTo>
                <a:lnTo>
                  <a:pt x="6536935" y="3118409"/>
                </a:lnTo>
                <a:lnTo>
                  <a:pt x="6532811" y="3124689"/>
                </a:lnTo>
                <a:lnTo>
                  <a:pt x="6529230" y="3120899"/>
                </a:lnTo>
                <a:lnTo>
                  <a:pt x="6529338" y="3114186"/>
                </a:lnTo>
                <a:lnTo>
                  <a:pt x="6526192" y="3115811"/>
                </a:lnTo>
                <a:lnTo>
                  <a:pt x="6526300" y="3117327"/>
                </a:lnTo>
                <a:lnTo>
                  <a:pt x="6522502" y="3117110"/>
                </a:lnTo>
                <a:lnTo>
                  <a:pt x="6524130" y="3114728"/>
                </a:lnTo>
                <a:lnTo>
                  <a:pt x="6529013" y="3113537"/>
                </a:lnTo>
                <a:lnTo>
                  <a:pt x="6529230" y="3111263"/>
                </a:lnTo>
                <a:lnTo>
                  <a:pt x="6527494" y="3107148"/>
                </a:lnTo>
                <a:close/>
                <a:moveTo>
                  <a:pt x="4635613" y="3105091"/>
                </a:moveTo>
                <a:lnTo>
                  <a:pt x="4636047" y="3110396"/>
                </a:lnTo>
                <a:lnTo>
                  <a:pt x="4636047" y="3116568"/>
                </a:lnTo>
                <a:lnTo>
                  <a:pt x="4640388" y="3144610"/>
                </a:lnTo>
                <a:lnTo>
                  <a:pt x="4643535" y="3164748"/>
                </a:lnTo>
                <a:lnTo>
                  <a:pt x="4648393" y="3188983"/>
                </a:lnTo>
                <a:lnTo>
                  <a:pt x="4649178" y="3192899"/>
                </a:lnTo>
                <a:lnTo>
                  <a:pt x="4649178" y="3192898"/>
                </a:lnTo>
                <a:lnTo>
                  <a:pt x="4648393" y="3188983"/>
                </a:lnTo>
                <a:lnTo>
                  <a:pt x="4643536" y="3164749"/>
                </a:lnTo>
                <a:lnTo>
                  <a:pt x="4640389" y="3144611"/>
                </a:lnTo>
                <a:lnTo>
                  <a:pt x="4640388" y="3144611"/>
                </a:lnTo>
                <a:lnTo>
                  <a:pt x="4636048" y="3116568"/>
                </a:lnTo>
                <a:lnTo>
                  <a:pt x="4636048" y="3110397"/>
                </a:lnTo>
                <a:lnTo>
                  <a:pt x="4635613" y="3105092"/>
                </a:lnTo>
                <a:close/>
                <a:moveTo>
                  <a:pt x="4673555" y="3105074"/>
                </a:moveTo>
                <a:lnTo>
                  <a:pt x="4675765" y="3106283"/>
                </a:lnTo>
                <a:lnTo>
                  <a:pt x="4676741" y="3109315"/>
                </a:lnTo>
                <a:lnTo>
                  <a:pt x="4679780" y="3109748"/>
                </a:lnTo>
                <a:lnTo>
                  <a:pt x="4681082" y="3116785"/>
                </a:lnTo>
                <a:lnTo>
                  <a:pt x="4680648" y="3120250"/>
                </a:lnTo>
                <a:lnTo>
                  <a:pt x="4676741" y="3124148"/>
                </a:lnTo>
                <a:lnTo>
                  <a:pt x="4673584" y="3127509"/>
                </a:lnTo>
                <a:lnTo>
                  <a:pt x="4673486" y="3127613"/>
                </a:lnTo>
                <a:lnTo>
                  <a:pt x="4673487" y="3127612"/>
                </a:lnTo>
                <a:lnTo>
                  <a:pt x="4673584" y="3127509"/>
                </a:lnTo>
                <a:lnTo>
                  <a:pt x="4676742" y="3124148"/>
                </a:lnTo>
                <a:lnTo>
                  <a:pt x="4680649" y="3120250"/>
                </a:lnTo>
                <a:lnTo>
                  <a:pt x="4681082" y="3116786"/>
                </a:lnTo>
                <a:lnTo>
                  <a:pt x="4679781" y="3109748"/>
                </a:lnTo>
                <a:lnTo>
                  <a:pt x="4676742" y="3109315"/>
                </a:lnTo>
                <a:lnTo>
                  <a:pt x="4675765" y="3106283"/>
                </a:lnTo>
                <a:close/>
                <a:moveTo>
                  <a:pt x="7567843" y="3104983"/>
                </a:moveTo>
                <a:lnTo>
                  <a:pt x="7578477" y="3111371"/>
                </a:lnTo>
                <a:lnTo>
                  <a:pt x="7585965" y="3113428"/>
                </a:lnTo>
                <a:lnTo>
                  <a:pt x="7594755" y="3120791"/>
                </a:lnTo>
                <a:lnTo>
                  <a:pt x="7601374" y="3122198"/>
                </a:lnTo>
                <a:lnTo>
                  <a:pt x="7605063" y="3126313"/>
                </a:lnTo>
                <a:lnTo>
                  <a:pt x="7610598" y="3128911"/>
                </a:lnTo>
                <a:lnTo>
                  <a:pt x="7614722" y="3135732"/>
                </a:lnTo>
                <a:lnTo>
                  <a:pt x="7617977" y="3135948"/>
                </a:lnTo>
                <a:lnTo>
                  <a:pt x="7619822" y="3146017"/>
                </a:lnTo>
                <a:lnTo>
                  <a:pt x="7622426" y="3146884"/>
                </a:lnTo>
                <a:lnTo>
                  <a:pt x="7622643" y="3151107"/>
                </a:lnTo>
                <a:lnTo>
                  <a:pt x="7620364" y="3155654"/>
                </a:lnTo>
                <a:lnTo>
                  <a:pt x="7618629" y="3161609"/>
                </a:lnTo>
                <a:lnTo>
                  <a:pt x="7613854" y="3156195"/>
                </a:lnTo>
                <a:lnTo>
                  <a:pt x="7612443" y="3151107"/>
                </a:lnTo>
                <a:lnTo>
                  <a:pt x="7614179" y="3147100"/>
                </a:lnTo>
                <a:lnTo>
                  <a:pt x="7610707" y="3134866"/>
                </a:lnTo>
                <a:lnTo>
                  <a:pt x="7602242" y="3126204"/>
                </a:lnTo>
                <a:lnTo>
                  <a:pt x="7596599" y="3125662"/>
                </a:lnTo>
                <a:lnTo>
                  <a:pt x="7588026" y="3120791"/>
                </a:lnTo>
                <a:lnTo>
                  <a:pt x="7571424" y="3111154"/>
                </a:lnTo>
                <a:lnTo>
                  <a:pt x="7568494" y="3108230"/>
                </a:lnTo>
                <a:close/>
                <a:moveTo>
                  <a:pt x="4218728" y="3104345"/>
                </a:moveTo>
                <a:lnTo>
                  <a:pt x="4219994" y="3105308"/>
                </a:lnTo>
                <a:lnTo>
                  <a:pt x="4224118" y="3108340"/>
                </a:lnTo>
                <a:lnTo>
                  <a:pt x="4224660" y="3120250"/>
                </a:lnTo>
                <a:lnTo>
                  <a:pt x="4224443" y="3124363"/>
                </a:lnTo>
                <a:lnTo>
                  <a:pt x="4224444" y="3124363"/>
                </a:lnTo>
                <a:lnTo>
                  <a:pt x="4224661" y="3120249"/>
                </a:lnTo>
                <a:lnTo>
                  <a:pt x="4224118" y="3108339"/>
                </a:lnTo>
                <a:lnTo>
                  <a:pt x="4219995" y="3105308"/>
                </a:lnTo>
                <a:close/>
                <a:moveTo>
                  <a:pt x="4217715" y="3103575"/>
                </a:moveTo>
                <a:lnTo>
                  <a:pt x="4214026" y="3104442"/>
                </a:lnTo>
                <a:lnTo>
                  <a:pt x="4210336" y="3105632"/>
                </a:lnTo>
                <a:lnTo>
                  <a:pt x="4210336" y="3105633"/>
                </a:lnTo>
                <a:lnTo>
                  <a:pt x="4214026" y="3104442"/>
                </a:lnTo>
                <a:close/>
                <a:moveTo>
                  <a:pt x="7554603" y="3102276"/>
                </a:moveTo>
                <a:lnTo>
                  <a:pt x="7557858" y="3104333"/>
                </a:lnTo>
                <a:lnTo>
                  <a:pt x="7557858" y="3108989"/>
                </a:lnTo>
                <a:lnTo>
                  <a:pt x="7552976" y="3110288"/>
                </a:lnTo>
                <a:lnTo>
                  <a:pt x="7549395" y="3108123"/>
                </a:lnTo>
                <a:lnTo>
                  <a:pt x="7549069" y="3104333"/>
                </a:lnTo>
                <a:close/>
                <a:moveTo>
                  <a:pt x="2282430" y="3101302"/>
                </a:moveTo>
                <a:lnTo>
                  <a:pt x="2278785" y="3102486"/>
                </a:lnTo>
                <a:lnTo>
                  <a:pt x="2282430" y="3101302"/>
                </a:lnTo>
                <a:lnTo>
                  <a:pt x="2282756" y="3104550"/>
                </a:lnTo>
                <a:close/>
                <a:moveTo>
                  <a:pt x="4650590" y="3101194"/>
                </a:moveTo>
                <a:lnTo>
                  <a:pt x="4648962" y="3101735"/>
                </a:lnTo>
                <a:lnTo>
                  <a:pt x="4648961" y="3101735"/>
                </a:lnTo>
                <a:lnTo>
                  <a:pt x="4650589" y="3101194"/>
                </a:lnTo>
                <a:lnTo>
                  <a:pt x="4652868" y="3103576"/>
                </a:lnTo>
                <a:lnTo>
                  <a:pt x="4657643" y="3101952"/>
                </a:lnTo>
                <a:lnTo>
                  <a:pt x="4657643" y="3101951"/>
                </a:lnTo>
                <a:lnTo>
                  <a:pt x="4652868" y="3103575"/>
                </a:lnTo>
                <a:close/>
                <a:moveTo>
                  <a:pt x="4639086" y="3096863"/>
                </a:moveTo>
                <a:lnTo>
                  <a:pt x="4641582" y="3097838"/>
                </a:lnTo>
                <a:lnTo>
                  <a:pt x="4643427" y="3101735"/>
                </a:lnTo>
                <a:lnTo>
                  <a:pt x="4647551" y="3103251"/>
                </a:lnTo>
                <a:lnTo>
                  <a:pt x="4648815" y="3101892"/>
                </a:lnTo>
                <a:lnTo>
                  <a:pt x="4647551" y="3103251"/>
                </a:lnTo>
                <a:lnTo>
                  <a:pt x="4643427" y="3101735"/>
                </a:lnTo>
                <a:lnTo>
                  <a:pt x="4641582" y="3097837"/>
                </a:lnTo>
                <a:lnTo>
                  <a:pt x="4639087" y="3096863"/>
                </a:lnTo>
                <a:close/>
                <a:moveTo>
                  <a:pt x="4222227" y="3096456"/>
                </a:moveTo>
                <a:lnTo>
                  <a:pt x="4221188" y="3097296"/>
                </a:lnTo>
                <a:lnTo>
                  <a:pt x="4221188" y="3097296"/>
                </a:lnTo>
                <a:close/>
                <a:moveTo>
                  <a:pt x="4210390" y="3096375"/>
                </a:moveTo>
                <a:lnTo>
                  <a:pt x="4209251" y="3097512"/>
                </a:lnTo>
                <a:lnTo>
                  <a:pt x="4211096" y="3100977"/>
                </a:lnTo>
                <a:lnTo>
                  <a:pt x="4210432" y="3105047"/>
                </a:lnTo>
                <a:lnTo>
                  <a:pt x="4211096" y="3100977"/>
                </a:lnTo>
                <a:lnTo>
                  <a:pt x="4209251" y="3097512"/>
                </a:lnTo>
                <a:close/>
                <a:moveTo>
                  <a:pt x="2240543" y="3094047"/>
                </a:moveTo>
                <a:lnTo>
                  <a:pt x="2232946" y="3097512"/>
                </a:lnTo>
                <a:lnTo>
                  <a:pt x="2230560" y="3099569"/>
                </a:lnTo>
                <a:lnTo>
                  <a:pt x="2224699" y="3099786"/>
                </a:lnTo>
                <a:lnTo>
                  <a:pt x="2220576" y="3098703"/>
                </a:lnTo>
                <a:lnTo>
                  <a:pt x="2215584" y="3099894"/>
                </a:lnTo>
                <a:lnTo>
                  <a:pt x="2211135" y="3098054"/>
                </a:lnTo>
                <a:lnTo>
                  <a:pt x="2209724" y="3094589"/>
                </a:lnTo>
                <a:lnTo>
                  <a:pt x="2209879" y="3094347"/>
                </a:lnTo>
                <a:lnTo>
                  <a:pt x="2209724" y="3094590"/>
                </a:lnTo>
                <a:lnTo>
                  <a:pt x="2211135" y="3098055"/>
                </a:lnTo>
                <a:lnTo>
                  <a:pt x="2215584" y="3099895"/>
                </a:lnTo>
                <a:lnTo>
                  <a:pt x="2220576" y="3098704"/>
                </a:lnTo>
                <a:lnTo>
                  <a:pt x="2224699" y="3099787"/>
                </a:lnTo>
                <a:lnTo>
                  <a:pt x="2230559" y="3099570"/>
                </a:lnTo>
                <a:lnTo>
                  <a:pt x="2232947" y="3097513"/>
                </a:lnTo>
                <a:lnTo>
                  <a:pt x="2240543" y="3094048"/>
                </a:lnTo>
                <a:lnTo>
                  <a:pt x="2247054" y="3095239"/>
                </a:lnTo>
                <a:lnTo>
                  <a:pt x="2252805" y="3098055"/>
                </a:lnTo>
                <a:lnTo>
                  <a:pt x="2261053" y="3094482"/>
                </a:lnTo>
                <a:lnTo>
                  <a:pt x="2265393" y="3094482"/>
                </a:lnTo>
                <a:lnTo>
                  <a:pt x="2267238" y="3097188"/>
                </a:lnTo>
                <a:lnTo>
                  <a:pt x="2270059" y="3096972"/>
                </a:lnTo>
                <a:lnTo>
                  <a:pt x="2275376" y="3099570"/>
                </a:lnTo>
                <a:lnTo>
                  <a:pt x="2277764" y="3102818"/>
                </a:lnTo>
                <a:lnTo>
                  <a:pt x="2277764" y="3102818"/>
                </a:lnTo>
                <a:lnTo>
                  <a:pt x="2275377" y="3099569"/>
                </a:lnTo>
                <a:lnTo>
                  <a:pt x="2270060" y="3096971"/>
                </a:lnTo>
                <a:lnTo>
                  <a:pt x="2267238" y="3097187"/>
                </a:lnTo>
                <a:lnTo>
                  <a:pt x="2265393" y="3094481"/>
                </a:lnTo>
                <a:lnTo>
                  <a:pt x="2261052" y="3094481"/>
                </a:lnTo>
                <a:lnTo>
                  <a:pt x="2252805" y="3098054"/>
                </a:lnTo>
                <a:lnTo>
                  <a:pt x="2247054" y="3095239"/>
                </a:lnTo>
                <a:close/>
                <a:moveTo>
                  <a:pt x="6966769" y="3093940"/>
                </a:moveTo>
                <a:lnTo>
                  <a:pt x="6966769" y="3097729"/>
                </a:lnTo>
                <a:lnTo>
                  <a:pt x="6970025" y="3103034"/>
                </a:lnTo>
                <a:lnTo>
                  <a:pt x="6969916" y="3105308"/>
                </a:lnTo>
                <a:lnTo>
                  <a:pt x="6967963" y="3104442"/>
                </a:lnTo>
                <a:lnTo>
                  <a:pt x="6965901" y="3098812"/>
                </a:lnTo>
                <a:lnTo>
                  <a:pt x="6965033" y="3094914"/>
                </a:lnTo>
                <a:close/>
                <a:moveTo>
                  <a:pt x="6337155" y="3093940"/>
                </a:moveTo>
                <a:lnTo>
                  <a:pt x="6342907" y="3101952"/>
                </a:lnTo>
                <a:lnTo>
                  <a:pt x="6337481" y="3100328"/>
                </a:lnTo>
                <a:lnTo>
                  <a:pt x="6334768" y="3096646"/>
                </a:lnTo>
                <a:close/>
                <a:moveTo>
                  <a:pt x="4272408" y="3092965"/>
                </a:moveTo>
                <a:lnTo>
                  <a:pt x="4273818" y="3096213"/>
                </a:lnTo>
                <a:lnTo>
                  <a:pt x="4273819" y="3096213"/>
                </a:lnTo>
                <a:lnTo>
                  <a:pt x="4272408" y="3092965"/>
                </a:lnTo>
                <a:close/>
                <a:moveTo>
                  <a:pt x="4667307" y="3090947"/>
                </a:moveTo>
                <a:lnTo>
                  <a:pt x="4668277" y="3093940"/>
                </a:lnTo>
                <a:lnTo>
                  <a:pt x="4670990" y="3095456"/>
                </a:lnTo>
                <a:lnTo>
                  <a:pt x="4670990" y="3096863"/>
                </a:lnTo>
                <a:lnTo>
                  <a:pt x="4670990" y="3099245"/>
                </a:lnTo>
                <a:lnTo>
                  <a:pt x="4672400" y="3101194"/>
                </a:lnTo>
                <a:lnTo>
                  <a:pt x="4672400" y="3104442"/>
                </a:lnTo>
                <a:lnTo>
                  <a:pt x="4672402" y="3104443"/>
                </a:lnTo>
                <a:lnTo>
                  <a:pt x="4672402" y="3101194"/>
                </a:lnTo>
                <a:lnTo>
                  <a:pt x="4670990" y="3099245"/>
                </a:lnTo>
                <a:lnTo>
                  <a:pt x="4670990" y="3096864"/>
                </a:lnTo>
                <a:lnTo>
                  <a:pt x="4671967" y="3097946"/>
                </a:lnTo>
                <a:lnTo>
                  <a:pt x="4674571" y="3098488"/>
                </a:lnTo>
                <a:lnTo>
                  <a:pt x="4677068" y="3096972"/>
                </a:lnTo>
                <a:lnTo>
                  <a:pt x="4679021" y="3095023"/>
                </a:lnTo>
                <a:lnTo>
                  <a:pt x="4679021" y="3095022"/>
                </a:lnTo>
                <a:lnTo>
                  <a:pt x="4677067" y="3096971"/>
                </a:lnTo>
                <a:lnTo>
                  <a:pt x="4674572" y="3098486"/>
                </a:lnTo>
                <a:lnTo>
                  <a:pt x="4671968" y="3097945"/>
                </a:lnTo>
                <a:lnTo>
                  <a:pt x="4670991" y="3096863"/>
                </a:lnTo>
                <a:lnTo>
                  <a:pt x="4670991" y="3095455"/>
                </a:lnTo>
                <a:lnTo>
                  <a:pt x="4668278" y="3093939"/>
                </a:lnTo>
                <a:close/>
                <a:moveTo>
                  <a:pt x="4267633" y="3090908"/>
                </a:moveTo>
                <a:lnTo>
                  <a:pt x="4269502" y="3091713"/>
                </a:lnTo>
                <a:lnTo>
                  <a:pt x="4267633" y="3090908"/>
                </a:lnTo>
                <a:close/>
                <a:moveTo>
                  <a:pt x="6901116" y="3090259"/>
                </a:moveTo>
                <a:cubicBezTo>
                  <a:pt x="6901116" y="3090367"/>
                  <a:pt x="6900139" y="3092966"/>
                  <a:pt x="6900139" y="3092966"/>
                </a:cubicBezTo>
                <a:lnTo>
                  <a:pt x="6897535" y="3091775"/>
                </a:lnTo>
                <a:close/>
                <a:moveTo>
                  <a:pt x="4681191" y="3088634"/>
                </a:moveTo>
                <a:lnTo>
                  <a:pt x="4680078" y="3091504"/>
                </a:lnTo>
                <a:lnTo>
                  <a:pt x="4681191" y="3088635"/>
                </a:lnTo>
                <a:close/>
                <a:moveTo>
                  <a:pt x="7476037" y="3088201"/>
                </a:moveTo>
                <a:lnTo>
                  <a:pt x="7478967" y="3090258"/>
                </a:lnTo>
                <a:lnTo>
                  <a:pt x="7482548" y="3089392"/>
                </a:lnTo>
                <a:lnTo>
                  <a:pt x="7485370" y="3091666"/>
                </a:lnTo>
                <a:lnTo>
                  <a:pt x="7480161" y="3095996"/>
                </a:lnTo>
                <a:lnTo>
                  <a:pt x="7474084" y="3095996"/>
                </a:lnTo>
                <a:lnTo>
                  <a:pt x="7472023" y="3094048"/>
                </a:lnTo>
                <a:lnTo>
                  <a:pt x="7468224" y="3094048"/>
                </a:lnTo>
                <a:lnTo>
                  <a:pt x="7466705" y="3090583"/>
                </a:lnTo>
                <a:lnTo>
                  <a:pt x="7468224" y="3089392"/>
                </a:lnTo>
                <a:lnTo>
                  <a:pt x="7472023" y="3089392"/>
                </a:lnTo>
                <a:close/>
                <a:moveTo>
                  <a:pt x="4660247" y="3087984"/>
                </a:moveTo>
                <a:lnTo>
                  <a:pt x="4660247" y="3087985"/>
                </a:lnTo>
                <a:lnTo>
                  <a:pt x="4662200" y="3087985"/>
                </a:lnTo>
                <a:lnTo>
                  <a:pt x="4664370" y="3089825"/>
                </a:lnTo>
                <a:lnTo>
                  <a:pt x="4665831" y="3090058"/>
                </a:lnTo>
                <a:lnTo>
                  <a:pt x="4664371" y="3089825"/>
                </a:lnTo>
                <a:lnTo>
                  <a:pt x="4662201" y="3087984"/>
                </a:lnTo>
                <a:close/>
                <a:moveTo>
                  <a:pt x="4275121" y="3087552"/>
                </a:moveTo>
                <a:lnTo>
                  <a:pt x="4275121" y="3087552"/>
                </a:lnTo>
                <a:lnTo>
                  <a:pt x="4276314" y="3091883"/>
                </a:lnTo>
                <a:lnTo>
                  <a:pt x="4276097" y="3096213"/>
                </a:lnTo>
                <a:lnTo>
                  <a:pt x="4276098" y="3096213"/>
                </a:lnTo>
                <a:lnTo>
                  <a:pt x="4276315" y="3091882"/>
                </a:lnTo>
                <a:close/>
                <a:moveTo>
                  <a:pt x="6906217" y="3087335"/>
                </a:moveTo>
                <a:lnTo>
                  <a:pt x="6907628" y="3089717"/>
                </a:lnTo>
                <a:lnTo>
                  <a:pt x="6904155" y="3089176"/>
                </a:lnTo>
                <a:close/>
                <a:moveTo>
                  <a:pt x="6963187" y="3086795"/>
                </a:moveTo>
                <a:lnTo>
                  <a:pt x="6972086" y="3087985"/>
                </a:lnTo>
                <a:lnTo>
                  <a:pt x="6976861" y="3088852"/>
                </a:lnTo>
                <a:lnTo>
                  <a:pt x="6971218" y="3090260"/>
                </a:lnTo>
                <a:lnTo>
                  <a:pt x="6960801" y="3092642"/>
                </a:lnTo>
                <a:lnTo>
                  <a:pt x="6955591" y="3091234"/>
                </a:lnTo>
                <a:lnTo>
                  <a:pt x="6955483" y="3089393"/>
                </a:lnTo>
                <a:lnTo>
                  <a:pt x="6953530" y="3088203"/>
                </a:lnTo>
                <a:lnTo>
                  <a:pt x="6956134" y="3087011"/>
                </a:lnTo>
                <a:lnTo>
                  <a:pt x="6959824" y="3088311"/>
                </a:lnTo>
                <a:close/>
                <a:moveTo>
                  <a:pt x="7071704" y="3085062"/>
                </a:moveTo>
                <a:lnTo>
                  <a:pt x="7073766" y="3087119"/>
                </a:lnTo>
                <a:lnTo>
                  <a:pt x="7074201" y="3090800"/>
                </a:lnTo>
                <a:lnTo>
                  <a:pt x="7076045" y="3091775"/>
                </a:lnTo>
                <a:lnTo>
                  <a:pt x="7069426" y="3093832"/>
                </a:lnTo>
                <a:lnTo>
                  <a:pt x="7061830" y="3091233"/>
                </a:lnTo>
                <a:lnTo>
                  <a:pt x="7059768" y="3089284"/>
                </a:lnTo>
                <a:lnTo>
                  <a:pt x="7062914" y="3087227"/>
                </a:lnTo>
                <a:close/>
                <a:moveTo>
                  <a:pt x="6938230" y="3084954"/>
                </a:moveTo>
                <a:lnTo>
                  <a:pt x="6943005" y="3086145"/>
                </a:lnTo>
                <a:lnTo>
                  <a:pt x="6946043" y="3087769"/>
                </a:lnTo>
                <a:lnTo>
                  <a:pt x="6949081" y="3085496"/>
                </a:lnTo>
                <a:lnTo>
                  <a:pt x="6952120" y="3086578"/>
                </a:lnTo>
                <a:lnTo>
                  <a:pt x="6952228" y="3090692"/>
                </a:lnTo>
                <a:lnTo>
                  <a:pt x="6948539" y="3090259"/>
                </a:lnTo>
                <a:lnTo>
                  <a:pt x="6944306" y="3092208"/>
                </a:lnTo>
                <a:lnTo>
                  <a:pt x="6940942" y="3091341"/>
                </a:lnTo>
                <a:lnTo>
                  <a:pt x="6935734" y="3094481"/>
                </a:lnTo>
                <a:lnTo>
                  <a:pt x="6931284" y="3093507"/>
                </a:lnTo>
                <a:lnTo>
                  <a:pt x="6929548" y="3090908"/>
                </a:lnTo>
                <a:lnTo>
                  <a:pt x="6929873" y="3088635"/>
                </a:lnTo>
                <a:lnTo>
                  <a:pt x="6932912" y="3085496"/>
                </a:lnTo>
                <a:lnTo>
                  <a:pt x="6935299" y="3086145"/>
                </a:lnTo>
                <a:close/>
                <a:moveTo>
                  <a:pt x="6562327" y="3084846"/>
                </a:moveTo>
                <a:lnTo>
                  <a:pt x="6564281" y="3086903"/>
                </a:lnTo>
                <a:lnTo>
                  <a:pt x="6562653" y="3088959"/>
                </a:lnTo>
                <a:lnTo>
                  <a:pt x="6559071" y="3087335"/>
                </a:lnTo>
                <a:lnTo>
                  <a:pt x="6558746" y="3084954"/>
                </a:lnTo>
                <a:close/>
                <a:moveTo>
                  <a:pt x="6912402" y="3082464"/>
                </a:moveTo>
                <a:lnTo>
                  <a:pt x="6913270" y="3085712"/>
                </a:lnTo>
                <a:lnTo>
                  <a:pt x="6909689" y="3084521"/>
                </a:lnTo>
                <a:close/>
                <a:moveTo>
                  <a:pt x="6484846" y="3082247"/>
                </a:moveTo>
                <a:lnTo>
                  <a:pt x="6487775" y="3082247"/>
                </a:lnTo>
                <a:lnTo>
                  <a:pt x="6491248" y="3083871"/>
                </a:lnTo>
                <a:lnTo>
                  <a:pt x="6491899" y="3087877"/>
                </a:lnTo>
                <a:lnTo>
                  <a:pt x="6493744" y="3089609"/>
                </a:lnTo>
                <a:lnTo>
                  <a:pt x="6495697" y="3100436"/>
                </a:lnTo>
                <a:lnTo>
                  <a:pt x="6500689" y="3106066"/>
                </a:lnTo>
                <a:lnTo>
                  <a:pt x="6508610" y="3107799"/>
                </a:lnTo>
                <a:lnTo>
                  <a:pt x="6506114" y="3113645"/>
                </a:lnTo>
                <a:lnTo>
                  <a:pt x="6507742" y="3118517"/>
                </a:lnTo>
                <a:lnTo>
                  <a:pt x="6505355" y="3122090"/>
                </a:lnTo>
                <a:lnTo>
                  <a:pt x="6503076" y="3120142"/>
                </a:lnTo>
                <a:lnTo>
                  <a:pt x="6501557" y="3115485"/>
                </a:lnTo>
                <a:lnTo>
                  <a:pt x="6496782" y="3116027"/>
                </a:lnTo>
                <a:lnTo>
                  <a:pt x="6491465" y="3112562"/>
                </a:lnTo>
                <a:lnTo>
                  <a:pt x="6489946" y="3106175"/>
                </a:lnTo>
                <a:lnTo>
                  <a:pt x="6487342" y="3104442"/>
                </a:lnTo>
                <a:lnTo>
                  <a:pt x="6487124" y="3099787"/>
                </a:lnTo>
                <a:lnTo>
                  <a:pt x="6484846" y="3097404"/>
                </a:lnTo>
                <a:lnTo>
                  <a:pt x="6476056" y="3096755"/>
                </a:lnTo>
                <a:lnTo>
                  <a:pt x="6473126" y="3092857"/>
                </a:lnTo>
                <a:lnTo>
                  <a:pt x="6477575" y="3089501"/>
                </a:lnTo>
                <a:lnTo>
                  <a:pt x="6477684" y="3085603"/>
                </a:lnTo>
                <a:lnTo>
                  <a:pt x="6479311" y="3084737"/>
                </a:lnTo>
                <a:lnTo>
                  <a:pt x="6482350" y="3087985"/>
                </a:lnTo>
                <a:lnTo>
                  <a:pt x="6486907" y="3089609"/>
                </a:lnTo>
                <a:lnTo>
                  <a:pt x="6485280" y="3086469"/>
                </a:lnTo>
                <a:close/>
                <a:moveTo>
                  <a:pt x="7196607" y="3082139"/>
                </a:moveTo>
                <a:lnTo>
                  <a:pt x="7205396" y="3085279"/>
                </a:lnTo>
                <a:lnTo>
                  <a:pt x="7210280" y="3082896"/>
                </a:lnTo>
                <a:lnTo>
                  <a:pt x="7217550" y="3084954"/>
                </a:lnTo>
                <a:lnTo>
                  <a:pt x="7221457" y="3083980"/>
                </a:lnTo>
                <a:lnTo>
                  <a:pt x="7229596" y="3085712"/>
                </a:lnTo>
                <a:lnTo>
                  <a:pt x="7226883" y="3087336"/>
                </a:lnTo>
                <a:lnTo>
                  <a:pt x="7216899" y="3088852"/>
                </a:lnTo>
                <a:lnTo>
                  <a:pt x="7206048" y="3087336"/>
                </a:lnTo>
                <a:lnTo>
                  <a:pt x="7198452" y="3084196"/>
                </a:lnTo>
                <a:cubicBezTo>
                  <a:pt x="7197888" y="3083466"/>
                  <a:pt x="7197271" y="3082778"/>
                  <a:pt x="7196607" y="3082139"/>
                </a:cubicBezTo>
                <a:close/>
                <a:moveTo>
                  <a:pt x="4679941" y="3081747"/>
                </a:moveTo>
                <a:lnTo>
                  <a:pt x="4680540" y="3083870"/>
                </a:lnTo>
                <a:lnTo>
                  <a:pt x="4680978" y="3087074"/>
                </a:lnTo>
                <a:lnTo>
                  <a:pt x="4680540" y="3083871"/>
                </a:lnTo>
                <a:close/>
                <a:moveTo>
                  <a:pt x="4237885" y="3081625"/>
                </a:moveTo>
                <a:lnTo>
                  <a:pt x="4237031" y="3082679"/>
                </a:lnTo>
                <a:lnTo>
                  <a:pt x="4237899" y="3088418"/>
                </a:lnTo>
                <a:lnTo>
                  <a:pt x="4236815" y="3092315"/>
                </a:lnTo>
                <a:lnTo>
                  <a:pt x="4237900" y="3088418"/>
                </a:lnTo>
                <a:lnTo>
                  <a:pt x="4237032" y="3082679"/>
                </a:lnTo>
                <a:close/>
                <a:moveTo>
                  <a:pt x="7187058" y="3080731"/>
                </a:moveTo>
                <a:lnTo>
                  <a:pt x="7193244" y="3080731"/>
                </a:lnTo>
                <a:lnTo>
                  <a:pt x="7190531" y="3081922"/>
                </a:lnTo>
                <a:close/>
                <a:moveTo>
                  <a:pt x="4243619" y="3080376"/>
                </a:moveTo>
                <a:lnTo>
                  <a:pt x="4243867" y="3080406"/>
                </a:lnTo>
                <a:lnTo>
                  <a:pt x="4247774" y="3090041"/>
                </a:lnTo>
                <a:lnTo>
                  <a:pt x="4247775" y="3090042"/>
                </a:lnTo>
                <a:lnTo>
                  <a:pt x="4243868" y="3080406"/>
                </a:lnTo>
                <a:close/>
                <a:moveTo>
                  <a:pt x="2203643" y="3078344"/>
                </a:moveTo>
                <a:lnTo>
                  <a:pt x="2203538" y="3083762"/>
                </a:lnTo>
                <a:lnTo>
                  <a:pt x="2205274" y="3084304"/>
                </a:lnTo>
                <a:lnTo>
                  <a:pt x="2209181" y="3086145"/>
                </a:lnTo>
                <a:lnTo>
                  <a:pt x="2210909" y="3091223"/>
                </a:lnTo>
                <a:lnTo>
                  <a:pt x="2209182" y="3086144"/>
                </a:lnTo>
                <a:lnTo>
                  <a:pt x="2205275" y="3084303"/>
                </a:lnTo>
                <a:lnTo>
                  <a:pt x="2203539" y="3083762"/>
                </a:lnTo>
                <a:close/>
                <a:moveTo>
                  <a:pt x="7009415" y="3077916"/>
                </a:moveTo>
                <a:lnTo>
                  <a:pt x="7015166" y="3078240"/>
                </a:lnTo>
                <a:lnTo>
                  <a:pt x="7021026" y="3084087"/>
                </a:lnTo>
                <a:lnTo>
                  <a:pt x="7019723" y="3086902"/>
                </a:lnTo>
                <a:lnTo>
                  <a:pt x="7016793" y="3086902"/>
                </a:lnTo>
                <a:lnTo>
                  <a:pt x="7012778" y="3086902"/>
                </a:lnTo>
                <a:lnTo>
                  <a:pt x="7009523" y="3087552"/>
                </a:lnTo>
                <a:lnTo>
                  <a:pt x="7005400" y="3085712"/>
                </a:lnTo>
                <a:lnTo>
                  <a:pt x="7002687" y="3082896"/>
                </a:lnTo>
                <a:close/>
                <a:moveTo>
                  <a:pt x="6897753" y="3073694"/>
                </a:moveTo>
                <a:lnTo>
                  <a:pt x="6904372" y="3074235"/>
                </a:lnTo>
                <a:lnTo>
                  <a:pt x="6904805" y="3076292"/>
                </a:lnTo>
                <a:lnTo>
                  <a:pt x="6903287" y="3078999"/>
                </a:lnTo>
                <a:lnTo>
                  <a:pt x="6906976" y="3078241"/>
                </a:lnTo>
                <a:lnTo>
                  <a:pt x="6908604" y="3075318"/>
                </a:lnTo>
                <a:lnTo>
                  <a:pt x="6912077" y="3077808"/>
                </a:lnTo>
                <a:lnTo>
                  <a:pt x="6911208" y="3081489"/>
                </a:lnTo>
                <a:lnTo>
                  <a:pt x="6906976" y="3082464"/>
                </a:lnTo>
                <a:lnTo>
                  <a:pt x="6905565" y="3080732"/>
                </a:lnTo>
                <a:lnTo>
                  <a:pt x="6903287" y="3084088"/>
                </a:lnTo>
                <a:lnTo>
                  <a:pt x="6899380" y="3081057"/>
                </a:lnTo>
                <a:lnTo>
                  <a:pt x="6896233" y="3083872"/>
                </a:lnTo>
                <a:lnTo>
                  <a:pt x="6892651" y="3081273"/>
                </a:lnTo>
                <a:lnTo>
                  <a:pt x="6892435" y="3076942"/>
                </a:lnTo>
                <a:close/>
                <a:moveTo>
                  <a:pt x="6574806" y="3071311"/>
                </a:moveTo>
                <a:lnTo>
                  <a:pt x="6580665" y="3071527"/>
                </a:lnTo>
                <a:lnTo>
                  <a:pt x="6584138" y="3074017"/>
                </a:lnTo>
                <a:lnTo>
                  <a:pt x="6579581" y="3078781"/>
                </a:lnTo>
                <a:lnTo>
                  <a:pt x="6576542" y="3079647"/>
                </a:lnTo>
                <a:lnTo>
                  <a:pt x="6574589" y="3077157"/>
                </a:lnTo>
                <a:lnTo>
                  <a:pt x="6575240" y="3074125"/>
                </a:lnTo>
                <a:close/>
                <a:moveTo>
                  <a:pt x="7534962" y="3069362"/>
                </a:moveTo>
                <a:lnTo>
                  <a:pt x="7539195" y="3069578"/>
                </a:lnTo>
                <a:lnTo>
                  <a:pt x="7542016" y="3073693"/>
                </a:lnTo>
                <a:lnTo>
                  <a:pt x="7541799" y="3076616"/>
                </a:lnTo>
                <a:lnTo>
                  <a:pt x="7535830" y="3072719"/>
                </a:lnTo>
                <a:close/>
                <a:moveTo>
                  <a:pt x="4336758" y="3068820"/>
                </a:moveTo>
                <a:lnTo>
                  <a:pt x="4332200" y="3074451"/>
                </a:lnTo>
                <a:lnTo>
                  <a:pt x="4332092" y="3079647"/>
                </a:lnTo>
                <a:lnTo>
                  <a:pt x="4324821" y="3087226"/>
                </a:lnTo>
                <a:lnTo>
                  <a:pt x="4322217" y="3092315"/>
                </a:lnTo>
                <a:lnTo>
                  <a:pt x="4323194" y="3099028"/>
                </a:lnTo>
                <a:lnTo>
                  <a:pt x="4324604" y="3100977"/>
                </a:lnTo>
                <a:lnTo>
                  <a:pt x="4323736" y="3113969"/>
                </a:lnTo>
                <a:lnTo>
                  <a:pt x="4322109" y="3120574"/>
                </a:lnTo>
                <a:lnTo>
                  <a:pt x="4323737" y="3113969"/>
                </a:lnTo>
                <a:lnTo>
                  <a:pt x="4324605" y="3100977"/>
                </a:lnTo>
                <a:lnTo>
                  <a:pt x="4323194" y="3099028"/>
                </a:lnTo>
                <a:lnTo>
                  <a:pt x="4322217" y="3092315"/>
                </a:lnTo>
                <a:lnTo>
                  <a:pt x="4324822" y="3087227"/>
                </a:lnTo>
                <a:lnTo>
                  <a:pt x="4332092" y="3079648"/>
                </a:lnTo>
                <a:lnTo>
                  <a:pt x="4332201" y="3074450"/>
                </a:lnTo>
                <a:close/>
                <a:moveTo>
                  <a:pt x="6316211" y="3068281"/>
                </a:moveTo>
                <a:lnTo>
                  <a:pt x="6321528" y="3070012"/>
                </a:lnTo>
                <a:lnTo>
                  <a:pt x="6328583" y="3080190"/>
                </a:lnTo>
                <a:lnTo>
                  <a:pt x="6328583" y="3089068"/>
                </a:lnTo>
                <a:lnTo>
                  <a:pt x="6322505" y="3087228"/>
                </a:lnTo>
                <a:lnTo>
                  <a:pt x="6316320" y="3077916"/>
                </a:lnTo>
                <a:lnTo>
                  <a:pt x="6311220" y="3076076"/>
                </a:lnTo>
                <a:lnTo>
                  <a:pt x="6311220" y="3072287"/>
                </a:lnTo>
                <a:close/>
                <a:moveTo>
                  <a:pt x="4647764" y="3068173"/>
                </a:moveTo>
                <a:lnTo>
                  <a:pt x="4641365" y="3073909"/>
                </a:lnTo>
                <a:lnTo>
                  <a:pt x="4636915" y="3079323"/>
                </a:lnTo>
                <a:lnTo>
                  <a:pt x="4633334" y="3093722"/>
                </a:lnTo>
                <a:lnTo>
                  <a:pt x="4632792" y="3097403"/>
                </a:lnTo>
                <a:lnTo>
                  <a:pt x="4632466" y="3100111"/>
                </a:lnTo>
                <a:lnTo>
                  <a:pt x="4633458" y="3101680"/>
                </a:lnTo>
                <a:lnTo>
                  <a:pt x="4632467" y="3100111"/>
                </a:lnTo>
                <a:lnTo>
                  <a:pt x="4632792" y="3097405"/>
                </a:lnTo>
                <a:lnTo>
                  <a:pt x="4634069" y="3097086"/>
                </a:lnTo>
                <a:lnTo>
                  <a:pt x="4632793" y="3097404"/>
                </a:lnTo>
                <a:lnTo>
                  <a:pt x="4633335" y="3093723"/>
                </a:lnTo>
                <a:lnTo>
                  <a:pt x="4636916" y="3079323"/>
                </a:lnTo>
                <a:lnTo>
                  <a:pt x="4641365" y="3073909"/>
                </a:lnTo>
                <a:lnTo>
                  <a:pt x="4645343" y="3070354"/>
                </a:lnTo>
                <a:lnTo>
                  <a:pt x="4641365" y="3073909"/>
                </a:lnTo>
                <a:lnTo>
                  <a:pt x="4647638" y="3068288"/>
                </a:lnTo>
                <a:close/>
                <a:moveTo>
                  <a:pt x="4655689" y="3065789"/>
                </a:moveTo>
                <a:lnTo>
                  <a:pt x="4651782" y="3068929"/>
                </a:lnTo>
                <a:lnTo>
                  <a:pt x="4647876" y="3069686"/>
                </a:lnTo>
                <a:lnTo>
                  <a:pt x="4646574" y="3069254"/>
                </a:lnTo>
                <a:lnTo>
                  <a:pt x="4647877" y="3069687"/>
                </a:lnTo>
                <a:lnTo>
                  <a:pt x="4651783" y="3068929"/>
                </a:lnTo>
                <a:close/>
                <a:moveTo>
                  <a:pt x="7182718" y="3065574"/>
                </a:moveTo>
                <a:lnTo>
                  <a:pt x="7185647" y="3068713"/>
                </a:lnTo>
                <a:lnTo>
                  <a:pt x="7182610" y="3069363"/>
                </a:lnTo>
                <a:lnTo>
                  <a:pt x="7179788" y="3066548"/>
                </a:lnTo>
                <a:close/>
                <a:moveTo>
                  <a:pt x="7089284" y="3065357"/>
                </a:moveTo>
                <a:lnTo>
                  <a:pt x="7092974" y="3066764"/>
                </a:lnTo>
                <a:lnTo>
                  <a:pt x="7091781" y="3074776"/>
                </a:lnTo>
                <a:lnTo>
                  <a:pt x="7089501" y="3076400"/>
                </a:lnTo>
                <a:lnTo>
                  <a:pt x="7084402" y="3075317"/>
                </a:lnTo>
                <a:lnTo>
                  <a:pt x="7084402" y="3068930"/>
                </a:lnTo>
                <a:close/>
                <a:moveTo>
                  <a:pt x="6569814" y="3063733"/>
                </a:moveTo>
                <a:lnTo>
                  <a:pt x="6576000" y="3064816"/>
                </a:lnTo>
                <a:lnTo>
                  <a:pt x="6578604" y="3067306"/>
                </a:lnTo>
                <a:lnTo>
                  <a:pt x="6580558" y="3067955"/>
                </a:lnTo>
                <a:lnTo>
                  <a:pt x="6580666" y="3069687"/>
                </a:lnTo>
                <a:lnTo>
                  <a:pt x="6575023" y="3069363"/>
                </a:lnTo>
                <a:lnTo>
                  <a:pt x="6572744" y="3069471"/>
                </a:lnTo>
                <a:lnTo>
                  <a:pt x="6569380" y="3065573"/>
                </a:lnTo>
                <a:close/>
                <a:moveTo>
                  <a:pt x="7081689" y="3063408"/>
                </a:moveTo>
                <a:lnTo>
                  <a:pt x="7086572" y="3065248"/>
                </a:lnTo>
                <a:lnTo>
                  <a:pt x="7080929" y="3066331"/>
                </a:lnTo>
                <a:lnTo>
                  <a:pt x="7077130" y="3064382"/>
                </a:lnTo>
                <a:close/>
                <a:moveTo>
                  <a:pt x="4669470" y="3063299"/>
                </a:moveTo>
                <a:lnTo>
                  <a:pt x="4665564" y="3064056"/>
                </a:lnTo>
                <a:lnTo>
                  <a:pt x="4665456" y="3067305"/>
                </a:lnTo>
                <a:lnTo>
                  <a:pt x="4663719" y="3068929"/>
                </a:lnTo>
                <a:lnTo>
                  <a:pt x="4663720" y="3068929"/>
                </a:lnTo>
                <a:lnTo>
                  <a:pt x="4665456" y="3067305"/>
                </a:lnTo>
                <a:lnTo>
                  <a:pt x="4665565" y="3064056"/>
                </a:lnTo>
                <a:close/>
                <a:moveTo>
                  <a:pt x="2160113" y="3063149"/>
                </a:moveTo>
                <a:lnTo>
                  <a:pt x="2159589" y="3065573"/>
                </a:lnTo>
                <a:lnTo>
                  <a:pt x="2158504" y="3067738"/>
                </a:lnTo>
                <a:lnTo>
                  <a:pt x="2159589" y="3065574"/>
                </a:lnTo>
                <a:close/>
                <a:moveTo>
                  <a:pt x="7090043" y="3061784"/>
                </a:moveTo>
                <a:lnTo>
                  <a:pt x="7088199" y="3064707"/>
                </a:lnTo>
                <a:lnTo>
                  <a:pt x="7086137" y="3062433"/>
                </a:lnTo>
                <a:close/>
                <a:moveTo>
                  <a:pt x="6998240" y="3060918"/>
                </a:moveTo>
                <a:lnTo>
                  <a:pt x="6999759" y="3062109"/>
                </a:lnTo>
                <a:lnTo>
                  <a:pt x="7001496" y="3065573"/>
                </a:lnTo>
                <a:lnTo>
                  <a:pt x="6996503" y="3064166"/>
                </a:lnTo>
                <a:close/>
                <a:moveTo>
                  <a:pt x="7196065" y="3057561"/>
                </a:moveTo>
                <a:lnTo>
                  <a:pt x="7202793" y="3058752"/>
                </a:lnTo>
                <a:lnTo>
                  <a:pt x="7206590" y="3058752"/>
                </a:lnTo>
                <a:lnTo>
                  <a:pt x="7210498" y="3061350"/>
                </a:lnTo>
                <a:lnTo>
                  <a:pt x="7213644" y="3066331"/>
                </a:lnTo>
                <a:lnTo>
                  <a:pt x="7217008" y="3068063"/>
                </a:lnTo>
                <a:lnTo>
                  <a:pt x="7219070" y="3070121"/>
                </a:lnTo>
                <a:lnTo>
                  <a:pt x="7213644" y="3071095"/>
                </a:lnTo>
                <a:lnTo>
                  <a:pt x="7211474" y="3070121"/>
                </a:lnTo>
                <a:lnTo>
                  <a:pt x="7210172" y="3070121"/>
                </a:lnTo>
                <a:lnTo>
                  <a:pt x="7206590" y="3069363"/>
                </a:lnTo>
                <a:lnTo>
                  <a:pt x="7207242" y="3066331"/>
                </a:lnTo>
                <a:lnTo>
                  <a:pt x="7203118" y="3060809"/>
                </a:lnTo>
                <a:lnTo>
                  <a:pt x="7200623" y="3060701"/>
                </a:lnTo>
                <a:lnTo>
                  <a:pt x="7200840" y="3063408"/>
                </a:lnTo>
                <a:lnTo>
                  <a:pt x="7196933" y="3059402"/>
                </a:lnTo>
                <a:close/>
                <a:moveTo>
                  <a:pt x="2180096" y="3057150"/>
                </a:moveTo>
                <a:lnTo>
                  <a:pt x="2180424" y="3059834"/>
                </a:lnTo>
                <a:lnTo>
                  <a:pt x="2184439" y="3067305"/>
                </a:lnTo>
                <a:lnTo>
                  <a:pt x="2187478" y="3067305"/>
                </a:lnTo>
                <a:lnTo>
                  <a:pt x="2198872" y="3070987"/>
                </a:lnTo>
                <a:lnTo>
                  <a:pt x="2203647" y="3078132"/>
                </a:lnTo>
                <a:lnTo>
                  <a:pt x="2203647" y="3078131"/>
                </a:lnTo>
                <a:lnTo>
                  <a:pt x="2198872" y="3070986"/>
                </a:lnTo>
                <a:lnTo>
                  <a:pt x="2187478" y="3067305"/>
                </a:lnTo>
                <a:lnTo>
                  <a:pt x="2184440" y="3067305"/>
                </a:lnTo>
                <a:lnTo>
                  <a:pt x="2180424" y="3059834"/>
                </a:lnTo>
                <a:close/>
                <a:moveTo>
                  <a:pt x="6454679" y="3056262"/>
                </a:moveTo>
                <a:lnTo>
                  <a:pt x="6458694" y="3056262"/>
                </a:lnTo>
                <a:lnTo>
                  <a:pt x="6460323" y="3060701"/>
                </a:lnTo>
                <a:lnTo>
                  <a:pt x="6456090" y="3063191"/>
                </a:lnTo>
                <a:lnTo>
                  <a:pt x="6452292" y="3059402"/>
                </a:lnTo>
                <a:close/>
                <a:moveTo>
                  <a:pt x="7006812" y="3054530"/>
                </a:moveTo>
                <a:lnTo>
                  <a:pt x="7009416" y="3056479"/>
                </a:lnTo>
                <a:lnTo>
                  <a:pt x="7009198" y="3060052"/>
                </a:lnTo>
                <a:lnTo>
                  <a:pt x="7012562" y="3061460"/>
                </a:lnTo>
                <a:lnTo>
                  <a:pt x="7013865" y="3063408"/>
                </a:lnTo>
                <a:lnTo>
                  <a:pt x="7011586" y="3065682"/>
                </a:lnTo>
                <a:lnTo>
                  <a:pt x="7009090" y="3063300"/>
                </a:lnTo>
                <a:lnTo>
                  <a:pt x="7004967" y="3063408"/>
                </a:lnTo>
                <a:lnTo>
                  <a:pt x="7002363" y="3059403"/>
                </a:lnTo>
                <a:lnTo>
                  <a:pt x="7002037" y="3056587"/>
                </a:lnTo>
                <a:lnTo>
                  <a:pt x="7003556" y="3055179"/>
                </a:lnTo>
                <a:close/>
                <a:moveTo>
                  <a:pt x="6863896" y="3054530"/>
                </a:moveTo>
                <a:lnTo>
                  <a:pt x="6866066" y="3054530"/>
                </a:lnTo>
                <a:lnTo>
                  <a:pt x="6869322" y="3056479"/>
                </a:lnTo>
                <a:lnTo>
                  <a:pt x="6865958" y="3057237"/>
                </a:lnTo>
                <a:close/>
                <a:moveTo>
                  <a:pt x="6307964" y="3054530"/>
                </a:moveTo>
                <a:lnTo>
                  <a:pt x="6311763" y="3056154"/>
                </a:lnTo>
                <a:lnTo>
                  <a:pt x="6311763" y="3059619"/>
                </a:lnTo>
                <a:lnTo>
                  <a:pt x="6308507" y="3062975"/>
                </a:lnTo>
                <a:lnTo>
                  <a:pt x="6305577" y="3059727"/>
                </a:lnTo>
                <a:close/>
                <a:moveTo>
                  <a:pt x="6567536" y="3053339"/>
                </a:moveTo>
                <a:lnTo>
                  <a:pt x="6573396" y="3055071"/>
                </a:lnTo>
                <a:lnTo>
                  <a:pt x="6574264" y="3056370"/>
                </a:lnTo>
                <a:lnTo>
                  <a:pt x="6571877" y="3057778"/>
                </a:lnTo>
                <a:lnTo>
                  <a:pt x="6567536" y="3056262"/>
                </a:lnTo>
                <a:lnTo>
                  <a:pt x="6566668" y="3053988"/>
                </a:lnTo>
                <a:close/>
                <a:moveTo>
                  <a:pt x="4281198" y="3053230"/>
                </a:moveTo>
                <a:lnTo>
                  <a:pt x="4281198" y="3053230"/>
                </a:lnTo>
                <a:lnTo>
                  <a:pt x="4283693" y="3055612"/>
                </a:lnTo>
                <a:lnTo>
                  <a:pt x="4283588" y="3057987"/>
                </a:lnTo>
                <a:lnTo>
                  <a:pt x="4283694" y="3055612"/>
                </a:lnTo>
                <a:close/>
                <a:moveTo>
                  <a:pt x="6996828" y="3052472"/>
                </a:moveTo>
                <a:lnTo>
                  <a:pt x="6999541" y="3052580"/>
                </a:lnTo>
                <a:lnTo>
                  <a:pt x="6999650" y="3054961"/>
                </a:lnTo>
                <a:lnTo>
                  <a:pt x="6998347" y="3058209"/>
                </a:lnTo>
                <a:lnTo>
                  <a:pt x="6995417" y="3057127"/>
                </a:lnTo>
                <a:close/>
                <a:moveTo>
                  <a:pt x="6871165" y="3052365"/>
                </a:moveTo>
                <a:lnTo>
                  <a:pt x="6871057" y="3054963"/>
                </a:lnTo>
                <a:lnTo>
                  <a:pt x="6867259" y="3053448"/>
                </a:lnTo>
                <a:close/>
                <a:moveTo>
                  <a:pt x="7129328" y="3050308"/>
                </a:moveTo>
                <a:lnTo>
                  <a:pt x="7141590" y="3054963"/>
                </a:lnTo>
                <a:lnTo>
                  <a:pt x="7149186" y="3060160"/>
                </a:lnTo>
                <a:lnTo>
                  <a:pt x="7156891" y="3059835"/>
                </a:lnTo>
                <a:lnTo>
                  <a:pt x="7164813" y="3060485"/>
                </a:lnTo>
                <a:lnTo>
                  <a:pt x="7166766" y="3062542"/>
                </a:lnTo>
                <a:lnTo>
                  <a:pt x="7165139" y="3065141"/>
                </a:lnTo>
                <a:lnTo>
                  <a:pt x="7165139" y="3070987"/>
                </a:lnTo>
                <a:lnTo>
                  <a:pt x="7169261" y="3074344"/>
                </a:lnTo>
                <a:lnTo>
                  <a:pt x="7170889" y="3078675"/>
                </a:lnTo>
                <a:lnTo>
                  <a:pt x="7167959" y="3083005"/>
                </a:lnTo>
                <a:lnTo>
                  <a:pt x="7165355" y="3087444"/>
                </a:lnTo>
                <a:lnTo>
                  <a:pt x="7167092" y="3093832"/>
                </a:lnTo>
                <a:lnTo>
                  <a:pt x="7167416" y="3104768"/>
                </a:lnTo>
                <a:lnTo>
                  <a:pt x="7170564" y="3110181"/>
                </a:lnTo>
                <a:lnTo>
                  <a:pt x="7173277" y="3113538"/>
                </a:lnTo>
                <a:lnTo>
                  <a:pt x="7175230" y="3113754"/>
                </a:lnTo>
                <a:lnTo>
                  <a:pt x="7174687" y="3107799"/>
                </a:lnTo>
                <a:lnTo>
                  <a:pt x="7176857" y="3105309"/>
                </a:lnTo>
                <a:lnTo>
                  <a:pt x="7179679" y="3107042"/>
                </a:lnTo>
                <a:lnTo>
                  <a:pt x="7179462" y="3111914"/>
                </a:lnTo>
                <a:lnTo>
                  <a:pt x="7181090" y="3116569"/>
                </a:lnTo>
                <a:lnTo>
                  <a:pt x="7182609" y="3115487"/>
                </a:lnTo>
                <a:lnTo>
                  <a:pt x="7184129" y="3119817"/>
                </a:lnTo>
                <a:lnTo>
                  <a:pt x="7189446" y="3124040"/>
                </a:lnTo>
                <a:lnTo>
                  <a:pt x="7192268" y="3126963"/>
                </a:lnTo>
                <a:lnTo>
                  <a:pt x="7196174" y="3126963"/>
                </a:lnTo>
                <a:lnTo>
                  <a:pt x="7200840" y="3124906"/>
                </a:lnTo>
                <a:lnTo>
                  <a:pt x="7202033" y="3120684"/>
                </a:lnTo>
                <a:lnTo>
                  <a:pt x="7204638" y="3118518"/>
                </a:lnTo>
                <a:lnTo>
                  <a:pt x="7207351" y="3117544"/>
                </a:lnTo>
                <a:lnTo>
                  <a:pt x="7207351" y="3111589"/>
                </a:lnTo>
                <a:lnTo>
                  <a:pt x="7210390" y="3106717"/>
                </a:lnTo>
                <a:lnTo>
                  <a:pt x="7215056" y="3106283"/>
                </a:lnTo>
                <a:lnTo>
                  <a:pt x="7219613" y="3103577"/>
                </a:lnTo>
                <a:lnTo>
                  <a:pt x="7220156" y="3099246"/>
                </a:lnTo>
                <a:lnTo>
                  <a:pt x="7221784" y="3096755"/>
                </a:lnTo>
                <a:lnTo>
                  <a:pt x="7223954" y="3097730"/>
                </a:lnTo>
                <a:lnTo>
                  <a:pt x="7226884" y="3097514"/>
                </a:lnTo>
                <a:lnTo>
                  <a:pt x="7231333" y="3095889"/>
                </a:lnTo>
                <a:lnTo>
                  <a:pt x="7238279" y="3095024"/>
                </a:lnTo>
                <a:lnTo>
                  <a:pt x="7239146" y="3091559"/>
                </a:lnTo>
                <a:lnTo>
                  <a:pt x="7236976" y="3087336"/>
                </a:lnTo>
                <a:lnTo>
                  <a:pt x="7237844" y="3085063"/>
                </a:lnTo>
                <a:lnTo>
                  <a:pt x="7249673" y="3078025"/>
                </a:lnTo>
                <a:lnTo>
                  <a:pt x="7255316" y="3078566"/>
                </a:lnTo>
                <a:lnTo>
                  <a:pt x="7259222" y="3082140"/>
                </a:lnTo>
                <a:lnTo>
                  <a:pt x="7266493" y="3085279"/>
                </a:lnTo>
                <a:lnTo>
                  <a:pt x="7274957" y="3087228"/>
                </a:lnTo>
                <a:lnTo>
                  <a:pt x="7279515" y="3091017"/>
                </a:lnTo>
                <a:lnTo>
                  <a:pt x="7284290" y="3091450"/>
                </a:lnTo>
                <a:lnTo>
                  <a:pt x="7290366" y="3093183"/>
                </a:lnTo>
                <a:lnTo>
                  <a:pt x="7304148" y="3099462"/>
                </a:lnTo>
                <a:lnTo>
                  <a:pt x="7307729" y="3098813"/>
                </a:lnTo>
                <a:lnTo>
                  <a:pt x="7310984" y="3099354"/>
                </a:lnTo>
                <a:lnTo>
                  <a:pt x="7316953" y="3100762"/>
                </a:lnTo>
                <a:lnTo>
                  <a:pt x="7321293" y="3100654"/>
                </a:lnTo>
                <a:lnTo>
                  <a:pt x="7324766" y="3103144"/>
                </a:lnTo>
                <a:lnTo>
                  <a:pt x="7324115" y="3105201"/>
                </a:lnTo>
                <a:lnTo>
                  <a:pt x="7324332" y="3107799"/>
                </a:lnTo>
                <a:lnTo>
                  <a:pt x="7327370" y="3108774"/>
                </a:lnTo>
                <a:lnTo>
                  <a:pt x="7331277" y="3107691"/>
                </a:lnTo>
                <a:lnTo>
                  <a:pt x="7331384" y="3107691"/>
                </a:lnTo>
                <a:lnTo>
                  <a:pt x="7331384" y="3107690"/>
                </a:lnTo>
                <a:lnTo>
                  <a:pt x="7335616" y="3107906"/>
                </a:lnTo>
                <a:lnTo>
                  <a:pt x="7343429" y="3111263"/>
                </a:lnTo>
                <a:lnTo>
                  <a:pt x="7348096" y="3112995"/>
                </a:lnTo>
                <a:lnTo>
                  <a:pt x="7350267" y="3115269"/>
                </a:lnTo>
                <a:lnTo>
                  <a:pt x="7359599" y="3119058"/>
                </a:lnTo>
                <a:lnTo>
                  <a:pt x="7361226" y="3118192"/>
                </a:lnTo>
                <a:lnTo>
                  <a:pt x="7363614" y="3118192"/>
                </a:lnTo>
                <a:lnTo>
                  <a:pt x="7366110" y="3121332"/>
                </a:lnTo>
                <a:lnTo>
                  <a:pt x="7371101" y="3123389"/>
                </a:lnTo>
                <a:lnTo>
                  <a:pt x="7384015" y="3124580"/>
                </a:lnTo>
                <a:lnTo>
                  <a:pt x="7392805" y="3129885"/>
                </a:lnTo>
                <a:lnTo>
                  <a:pt x="7398231" y="3131185"/>
                </a:lnTo>
                <a:lnTo>
                  <a:pt x="7403221" y="3135082"/>
                </a:lnTo>
                <a:lnTo>
                  <a:pt x="7408540" y="3135516"/>
                </a:lnTo>
                <a:lnTo>
                  <a:pt x="7412988" y="3137789"/>
                </a:lnTo>
                <a:lnTo>
                  <a:pt x="7414942" y="3137139"/>
                </a:lnTo>
                <a:lnTo>
                  <a:pt x="7417546" y="3140604"/>
                </a:lnTo>
                <a:lnTo>
                  <a:pt x="7422538" y="3141579"/>
                </a:lnTo>
                <a:lnTo>
                  <a:pt x="7423949" y="3145044"/>
                </a:lnTo>
                <a:lnTo>
                  <a:pt x="7428290" y="3148183"/>
                </a:lnTo>
                <a:lnTo>
                  <a:pt x="7430135" y="3151864"/>
                </a:lnTo>
                <a:lnTo>
                  <a:pt x="7432956" y="3150673"/>
                </a:lnTo>
                <a:lnTo>
                  <a:pt x="7435018" y="3150348"/>
                </a:lnTo>
                <a:lnTo>
                  <a:pt x="7443699" y="3159443"/>
                </a:lnTo>
                <a:lnTo>
                  <a:pt x="7446737" y="3163341"/>
                </a:lnTo>
                <a:lnTo>
                  <a:pt x="7446195" y="3167563"/>
                </a:lnTo>
                <a:lnTo>
                  <a:pt x="7442939" y="3172977"/>
                </a:lnTo>
                <a:lnTo>
                  <a:pt x="7444133" y="3176225"/>
                </a:lnTo>
                <a:lnTo>
                  <a:pt x="7455744" y="3180339"/>
                </a:lnTo>
                <a:lnTo>
                  <a:pt x="7460519" y="3179798"/>
                </a:lnTo>
                <a:lnTo>
                  <a:pt x="7464751" y="3184345"/>
                </a:lnTo>
                <a:lnTo>
                  <a:pt x="7473324" y="3187918"/>
                </a:lnTo>
                <a:lnTo>
                  <a:pt x="7478749" y="3190517"/>
                </a:lnTo>
                <a:lnTo>
                  <a:pt x="7480920" y="3189001"/>
                </a:lnTo>
                <a:lnTo>
                  <a:pt x="7485912" y="3189976"/>
                </a:lnTo>
                <a:lnTo>
                  <a:pt x="7492748" y="3197121"/>
                </a:lnTo>
                <a:lnTo>
                  <a:pt x="7493183" y="3202101"/>
                </a:lnTo>
                <a:lnTo>
                  <a:pt x="7490687" y="3206325"/>
                </a:lnTo>
                <a:lnTo>
                  <a:pt x="7482113" y="3210764"/>
                </a:lnTo>
                <a:lnTo>
                  <a:pt x="7472347" y="3209897"/>
                </a:lnTo>
                <a:lnTo>
                  <a:pt x="7471804" y="3211846"/>
                </a:lnTo>
                <a:lnTo>
                  <a:pt x="7474517" y="3216826"/>
                </a:lnTo>
                <a:lnTo>
                  <a:pt x="7478207" y="3219858"/>
                </a:lnTo>
                <a:lnTo>
                  <a:pt x="7479292" y="3225380"/>
                </a:lnTo>
                <a:lnTo>
                  <a:pt x="7484501" y="3230793"/>
                </a:lnTo>
                <a:lnTo>
                  <a:pt x="7487105" y="3235882"/>
                </a:lnTo>
                <a:lnTo>
                  <a:pt x="7490470" y="3237723"/>
                </a:lnTo>
                <a:lnTo>
                  <a:pt x="7495678" y="3237723"/>
                </a:lnTo>
                <a:lnTo>
                  <a:pt x="7496980" y="3241296"/>
                </a:lnTo>
                <a:lnTo>
                  <a:pt x="7499259" y="3242270"/>
                </a:lnTo>
                <a:lnTo>
                  <a:pt x="7503599" y="3252880"/>
                </a:lnTo>
                <a:lnTo>
                  <a:pt x="7507181" y="3254613"/>
                </a:lnTo>
                <a:lnTo>
                  <a:pt x="7508049" y="3261217"/>
                </a:lnTo>
                <a:lnTo>
                  <a:pt x="7512281" y="3265765"/>
                </a:lnTo>
                <a:lnTo>
                  <a:pt x="7514886" y="3265657"/>
                </a:lnTo>
                <a:lnTo>
                  <a:pt x="7518575" y="3266523"/>
                </a:lnTo>
                <a:lnTo>
                  <a:pt x="7520420" y="3264898"/>
                </a:lnTo>
                <a:lnTo>
                  <a:pt x="7523458" y="3265007"/>
                </a:lnTo>
                <a:lnTo>
                  <a:pt x="7526063" y="3267714"/>
                </a:lnTo>
                <a:lnTo>
                  <a:pt x="7524760" y="3270745"/>
                </a:lnTo>
                <a:lnTo>
                  <a:pt x="7522048" y="3273777"/>
                </a:lnTo>
                <a:lnTo>
                  <a:pt x="7522156" y="3277350"/>
                </a:lnTo>
                <a:lnTo>
                  <a:pt x="7525195" y="3279948"/>
                </a:lnTo>
                <a:lnTo>
                  <a:pt x="7533008" y="3281139"/>
                </a:lnTo>
                <a:lnTo>
                  <a:pt x="7541038" y="3281139"/>
                </a:lnTo>
                <a:lnTo>
                  <a:pt x="7544293" y="3283088"/>
                </a:lnTo>
                <a:lnTo>
                  <a:pt x="7542124" y="3284820"/>
                </a:lnTo>
                <a:lnTo>
                  <a:pt x="7538759" y="3284604"/>
                </a:lnTo>
                <a:lnTo>
                  <a:pt x="7533116" y="3286986"/>
                </a:lnTo>
                <a:lnTo>
                  <a:pt x="7535396" y="3289692"/>
                </a:lnTo>
                <a:lnTo>
                  <a:pt x="7541689" y="3293049"/>
                </a:lnTo>
                <a:lnTo>
                  <a:pt x="7551998" y="3294348"/>
                </a:lnTo>
                <a:lnTo>
                  <a:pt x="7561005" y="3296081"/>
                </a:lnTo>
                <a:lnTo>
                  <a:pt x="7556882" y="3298896"/>
                </a:lnTo>
                <a:lnTo>
                  <a:pt x="7552975" y="3297271"/>
                </a:lnTo>
                <a:lnTo>
                  <a:pt x="7548743" y="3298787"/>
                </a:lnTo>
                <a:lnTo>
                  <a:pt x="7548743" y="3300844"/>
                </a:lnTo>
                <a:lnTo>
                  <a:pt x="7550587" y="3300953"/>
                </a:lnTo>
                <a:lnTo>
                  <a:pt x="7556448" y="3304418"/>
                </a:lnTo>
                <a:lnTo>
                  <a:pt x="7555037" y="3307449"/>
                </a:lnTo>
                <a:lnTo>
                  <a:pt x="7549611" y="3308856"/>
                </a:lnTo>
                <a:lnTo>
                  <a:pt x="7544185" y="3305608"/>
                </a:lnTo>
                <a:lnTo>
                  <a:pt x="7539411" y="3304418"/>
                </a:lnTo>
                <a:lnTo>
                  <a:pt x="7542124" y="3302360"/>
                </a:lnTo>
                <a:lnTo>
                  <a:pt x="7541364" y="3300844"/>
                </a:lnTo>
                <a:lnTo>
                  <a:pt x="7536480" y="3301061"/>
                </a:lnTo>
                <a:lnTo>
                  <a:pt x="7534093" y="3298138"/>
                </a:lnTo>
                <a:lnTo>
                  <a:pt x="7528776" y="3299004"/>
                </a:lnTo>
                <a:lnTo>
                  <a:pt x="7525303" y="3296947"/>
                </a:lnTo>
                <a:lnTo>
                  <a:pt x="7517924" y="3295648"/>
                </a:lnTo>
                <a:lnTo>
                  <a:pt x="7513692" y="3295973"/>
                </a:lnTo>
                <a:lnTo>
                  <a:pt x="7508700" y="3294023"/>
                </a:lnTo>
                <a:lnTo>
                  <a:pt x="7501430" y="3295106"/>
                </a:lnTo>
                <a:lnTo>
                  <a:pt x="7497632" y="3293591"/>
                </a:lnTo>
                <a:lnTo>
                  <a:pt x="7495244" y="3293591"/>
                </a:lnTo>
                <a:lnTo>
                  <a:pt x="7492640" y="3294565"/>
                </a:lnTo>
                <a:lnTo>
                  <a:pt x="7485912" y="3292291"/>
                </a:lnTo>
                <a:lnTo>
                  <a:pt x="7481571" y="3289367"/>
                </a:lnTo>
                <a:lnTo>
                  <a:pt x="7481245" y="3285795"/>
                </a:lnTo>
                <a:lnTo>
                  <a:pt x="7470177" y="3274426"/>
                </a:lnTo>
                <a:lnTo>
                  <a:pt x="7469308" y="3271720"/>
                </a:lnTo>
                <a:lnTo>
                  <a:pt x="7466813" y="3267930"/>
                </a:lnTo>
                <a:lnTo>
                  <a:pt x="7462255" y="3266739"/>
                </a:lnTo>
                <a:lnTo>
                  <a:pt x="7461279" y="3263491"/>
                </a:lnTo>
                <a:lnTo>
                  <a:pt x="7454876" y="3255371"/>
                </a:lnTo>
                <a:lnTo>
                  <a:pt x="7452922" y="3248766"/>
                </a:lnTo>
                <a:lnTo>
                  <a:pt x="7449341" y="3244435"/>
                </a:lnTo>
                <a:lnTo>
                  <a:pt x="7445435" y="3242270"/>
                </a:lnTo>
                <a:lnTo>
                  <a:pt x="7432412" y="3239239"/>
                </a:lnTo>
                <a:lnTo>
                  <a:pt x="7429375" y="3236099"/>
                </a:lnTo>
                <a:lnTo>
                  <a:pt x="7426879" y="3235449"/>
                </a:lnTo>
                <a:lnTo>
                  <a:pt x="7426770" y="3232525"/>
                </a:lnTo>
                <a:lnTo>
                  <a:pt x="7427096" y="3229278"/>
                </a:lnTo>
                <a:lnTo>
                  <a:pt x="7424817" y="3232092"/>
                </a:lnTo>
                <a:lnTo>
                  <a:pt x="7423297" y="3230793"/>
                </a:lnTo>
                <a:lnTo>
                  <a:pt x="7420367" y="3231010"/>
                </a:lnTo>
                <a:lnTo>
                  <a:pt x="7417221" y="3230360"/>
                </a:lnTo>
                <a:lnTo>
                  <a:pt x="7415919" y="3226896"/>
                </a:lnTo>
                <a:lnTo>
                  <a:pt x="7410058" y="3224946"/>
                </a:lnTo>
                <a:lnTo>
                  <a:pt x="7407996" y="3222457"/>
                </a:lnTo>
                <a:lnTo>
                  <a:pt x="7406586" y="3227437"/>
                </a:lnTo>
                <a:lnTo>
                  <a:pt x="7407996" y="3230144"/>
                </a:lnTo>
                <a:lnTo>
                  <a:pt x="7407780" y="3233392"/>
                </a:lnTo>
                <a:lnTo>
                  <a:pt x="7405827" y="3233717"/>
                </a:lnTo>
                <a:lnTo>
                  <a:pt x="7404633" y="3229494"/>
                </a:lnTo>
                <a:lnTo>
                  <a:pt x="7403439" y="3228411"/>
                </a:lnTo>
                <a:lnTo>
                  <a:pt x="7404307" y="3231660"/>
                </a:lnTo>
                <a:lnTo>
                  <a:pt x="7404090" y="3233933"/>
                </a:lnTo>
                <a:lnTo>
                  <a:pt x="7400508" y="3233067"/>
                </a:lnTo>
                <a:lnTo>
                  <a:pt x="7395842" y="3228736"/>
                </a:lnTo>
                <a:lnTo>
                  <a:pt x="7394215" y="3225813"/>
                </a:lnTo>
                <a:lnTo>
                  <a:pt x="7390092" y="3223972"/>
                </a:lnTo>
                <a:lnTo>
                  <a:pt x="7390092" y="3225596"/>
                </a:lnTo>
                <a:lnTo>
                  <a:pt x="7393673" y="3228845"/>
                </a:lnTo>
                <a:lnTo>
                  <a:pt x="7394106" y="3232525"/>
                </a:lnTo>
                <a:lnTo>
                  <a:pt x="7393781" y="3235124"/>
                </a:lnTo>
                <a:lnTo>
                  <a:pt x="7391503" y="3236749"/>
                </a:lnTo>
                <a:lnTo>
                  <a:pt x="7391394" y="3240213"/>
                </a:lnTo>
                <a:lnTo>
                  <a:pt x="7393565" y="3242812"/>
                </a:lnTo>
                <a:lnTo>
                  <a:pt x="7389115" y="3242053"/>
                </a:lnTo>
                <a:lnTo>
                  <a:pt x="7385534" y="3237939"/>
                </a:lnTo>
                <a:lnTo>
                  <a:pt x="7380867" y="3239130"/>
                </a:lnTo>
                <a:lnTo>
                  <a:pt x="7378155" y="3236640"/>
                </a:lnTo>
                <a:lnTo>
                  <a:pt x="7379891" y="3239996"/>
                </a:lnTo>
                <a:lnTo>
                  <a:pt x="7383147" y="3239563"/>
                </a:lnTo>
                <a:lnTo>
                  <a:pt x="7384883" y="3242919"/>
                </a:lnTo>
                <a:lnTo>
                  <a:pt x="7388355" y="3245085"/>
                </a:lnTo>
                <a:lnTo>
                  <a:pt x="7389549" y="3247143"/>
                </a:lnTo>
                <a:lnTo>
                  <a:pt x="7385534" y="3248333"/>
                </a:lnTo>
                <a:lnTo>
                  <a:pt x="7380867" y="3248117"/>
                </a:lnTo>
                <a:lnTo>
                  <a:pt x="7374139" y="3249741"/>
                </a:lnTo>
                <a:lnTo>
                  <a:pt x="7368497" y="3249524"/>
                </a:lnTo>
                <a:lnTo>
                  <a:pt x="7366001" y="3249957"/>
                </a:lnTo>
                <a:lnTo>
                  <a:pt x="7362745" y="3247034"/>
                </a:lnTo>
                <a:lnTo>
                  <a:pt x="7356669" y="3245302"/>
                </a:lnTo>
                <a:lnTo>
                  <a:pt x="7354824" y="3245085"/>
                </a:lnTo>
                <a:lnTo>
                  <a:pt x="7354281" y="3240321"/>
                </a:lnTo>
                <a:lnTo>
                  <a:pt x="7353413" y="3236315"/>
                </a:lnTo>
                <a:lnTo>
                  <a:pt x="7348096" y="3232850"/>
                </a:lnTo>
                <a:lnTo>
                  <a:pt x="7345274" y="3232092"/>
                </a:lnTo>
                <a:lnTo>
                  <a:pt x="7344081" y="3228628"/>
                </a:lnTo>
                <a:lnTo>
                  <a:pt x="7340717" y="3226571"/>
                </a:lnTo>
                <a:lnTo>
                  <a:pt x="7343429" y="3229278"/>
                </a:lnTo>
                <a:lnTo>
                  <a:pt x="7344406" y="3232525"/>
                </a:lnTo>
                <a:lnTo>
                  <a:pt x="7348855" y="3234583"/>
                </a:lnTo>
                <a:lnTo>
                  <a:pt x="7352979" y="3239996"/>
                </a:lnTo>
                <a:lnTo>
                  <a:pt x="7354064" y="3245735"/>
                </a:lnTo>
                <a:lnTo>
                  <a:pt x="7356560" y="3247684"/>
                </a:lnTo>
                <a:lnTo>
                  <a:pt x="7358079" y="3247575"/>
                </a:lnTo>
                <a:lnTo>
                  <a:pt x="7361661" y="3248875"/>
                </a:lnTo>
                <a:lnTo>
                  <a:pt x="7364156" y="3251040"/>
                </a:lnTo>
                <a:lnTo>
                  <a:pt x="7370016" y="3252014"/>
                </a:lnTo>
                <a:lnTo>
                  <a:pt x="7376961" y="3254937"/>
                </a:lnTo>
                <a:lnTo>
                  <a:pt x="7383147" y="3259702"/>
                </a:lnTo>
                <a:lnTo>
                  <a:pt x="7383472" y="3266414"/>
                </a:lnTo>
                <a:lnTo>
                  <a:pt x="7381302" y="3269013"/>
                </a:lnTo>
                <a:lnTo>
                  <a:pt x="7379131" y="3267280"/>
                </a:lnTo>
                <a:lnTo>
                  <a:pt x="7378481" y="3269554"/>
                </a:lnTo>
                <a:lnTo>
                  <a:pt x="7370016" y="3271936"/>
                </a:lnTo>
                <a:lnTo>
                  <a:pt x="7364915" y="3274968"/>
                </a:lnTo>
                <a:lnTo>
                  <a:pt x="7361118" y="3273993"/>
                </a:lnTo>
                <a:lnTo>
                  <a:pt x="7358188" y="3270962"/>
                </a:lnTo>
                <a:lnTo>
                  <a:pt x="7356994" y="3267930"/>
                </a:lnTo>
                <a:lnTo>
                  <a:pt x="7353847" y="3268796"/>
                </a:lnTo>
                <a:lnTo>
                  <a:pt x="7341151" y="3268363"/>
                </a:lnTo>
                <a:lnTo>
                  <a:pt x="7336810" y="3269554"/>
                </a:lnTo>
                <a:lnTo>
                  <a:pt x="7334206" y="3267930"/>
                </a:lnTo>
                <a:lnTo>
                  <a:pt x="7325959" y="3267822"/>
                </a:lnTo>
                <a:lnTo>
                  <a:pt x="7325959" y="3267823"/>
                </a:lnTo>
                <a:lnTo>
                  <a:pt x="7324549" y="3267823"/>
                </a:lnTo>
                <a:lnTo>
                  <a:pt x="7318689" y="3265766"/>
                </a:lnTo>
                <a:lnTo>
                  <a:pt x="7312069" y="3258512"/>
                </a:lnTo>
                <a:lnTo>
                  <a:pt x="7310442" y="3255048"/>
                </a:lnTo>
                <a:lnTo>
                  <a:pt x="7310659" y="3253532"/>
                </a:lnTo>
                <a:lnTo>
                  <a:pt x="7305776" y="3249201"/>
                </a:lnTo>
                <a:lnTo>
                  <a:pt x="7303605" y="3247793"/>
                </a:lnTo>
                <a:lnTo>
                  <a:pt x="7302737" y="3244112"/>
                </a:lnTo>
                <a:lnTo>
                  <a:pt x="7304907" y="3240647"/>
                </a:lnTo>
                <a:lnTo>
                  <a:pt x="7304690" y="3235342"/>
                </a:lnTo>
                <a:lnTo>
                  <a:pt x="7303605" y="3240647"/>
                </a:lnTo>
                <a:lnTo>
                  <a:pt x="7300458" y="3242596"/>
                </a:lnTo>
                <a:lnTo>
                  <a:pt x="7293296" y="3242055"/>
                </a:lnTo>
                <a:lnTo>
                  <a:pt x="7289281" y="3244220"/>
                </a:lnTo>
                <a:lnTo>
                  <a:pt x="7285917" y="3244112"/>
                </a:lnTo>
                <a:lnTo>
                  <a:pt x="7283747" y="3242055"/>
                </a:lnTo>
                <a:lnTo>
                  <a:pt x="7278212" y="3245087"/>
                </a:lnTo>
                <a:lnTo>
                  <a:pt x="7275282" y="3241730"/>
                </a:lnTo>
                <a:lnTo>
                  <a:pt x="7277452" y="3240322"/>
                </a:lnTo>
                <a:lnTo>
                  <a:pt x="7278864" y="3236641"/>
                </a:lnTo>
                <a:lnTo>
                  <a:pt x="7278864" y="3233935"/>
                </a:lnTo>
                <a:lnTo>
                  <a:pt x="7280057" y="3232310"/>
                </a:lnTo>
                <a:lnTo>
                  <a:pt x="7280925" y="3226247"/>
                </a:lnTo>
                <a:lnTo>
                  <a:pt x="7277887" y="3224948"/>
                </a:lnTo>
                <a:lnTo>
                  <a:pt x="7275174" y="3221592"/>
                </a:lnTo>
                <a:lnTo>
                  <a:pt x="7277778" y="3220942"/>
                </a:lnTo>
                <a:lnTo>
                  <a:pt x="7279948" y="3221700"/>
                </a:lnTo>
                <a:lnTo>
                  <a:pt x="7284614" y="3219751"/>
                </a:lnTo>
                <a:lnTo>
                  <a:pt x="7287653" y="3219426"/>
                </a:lnTo>
                <a:lnTo>
                  <a:pt x="7284181" y="3218452"/>
                </a:lnTo>
                <a:lnTo>
                  <a:pt x="7278972" y="3219210"/>
                </a:lnTo>
                <a:lnTo>
                  <a:pt x="7274740" y="3217261"/>
                </a:lnTo>
                <a:lnTo>
                  <a:pt x="7270725" y="3214229"/>
                </a:lnTo>
                <a:lnTo>
                  <a:pt x="7272027" y="3211090"/>
                </a:lnTo>
                <a:lnTo>
                  <a:pt x="7274198" y="3210873"/>
                </a:lnTo>
                <a:lnTo>
                  <a:pt x="7277887" y="3211306"/>
                </a:lnTo>
                <a:lnTo>
                  <a:pt x="7275934" y="3208816"/>
                </a:lnTo>
                <a:lnTo>
                  <a:pt x="7269748" y="3204376"/>
                </a:lnTo>
                <a:lnTo>
                  <a:pt x="7265624" y="3201562"/>
                </a:lnTo>
                <a:lnTo>
                  <a:pt x="7264213" y="3198530"/>
                </a:lnTo>
                <a:lnTo>
                  <a:pt x="7265408" y="3193549"/>
                </a:lnTo>
                <a:lnTo>
                  <a:pt x="7260091" y="3188028"/>
                </a:lnTo>
                <a:lnTo>
                  <a:pt x="7260091" y="3185971"/>
                </a:lnTo>
                <a:lnTo>
                  <a:pt x="7264973" y="3181965"/>
                </a:lnTo>
                <a:lnTo>
                  <a:pt x="7260415" y="3182398"/>
                </a:lnTo>
                <a:lnTo>
                  <a:pt x="7257702" y="3180449"/>
                </a:lnTo>
                <a:lnTo>
                  <a:pt x="7258679" y="3178717"/>
                </a:lnTo>
                <a:lnTo>
                  <a:pt x="7256834" y="3176551"/>
                </a:lnTo>
                <a:lnTo>
                  <a:pt x="7260307" y="3173736"/>
                </a:lnTo>
                <a:lnTo>
                  <a:pt x="7254772" y="3174819"/>
                </a:lnTo>
                <a:lnTo>
                  <a:pt x="7253254" y="3172870"/>
                </a:lnTo>
                <a:lnTo>
                  <a:pt x="7250649" y="3173953"/>
                </a:lnTo>
                <a:lnTo>
                  <a:pt x="7248804" y="3172545"/>
                </a:lnTo>
                <a:lnTo>
                  <a:pt x="7252711" y="3167890"/>
                </a:lnTo>
                <a:lnTo>
                  <a:pt x="7249238" y="3169947"/>
                </a:lnTo>
                <a:lnTo>
                  <a:pt x="7244898" y="3170163"/>
                </a:lnTo>
                <a:lnTo>
                  <a:pt x="7238604" y="3167564"/>
                </a:lnTo>
                <a:lnTo>
                  <a:pt x="7236868" y="3163125"/>
                </a:lnTo>
                <a:lnTo>
                  <a:pt x="7230248" y="3160852"/>
                </a:lnTo>
                <a:lnTo>
                  <a:pt x="7226125" y="3161610"/>
                </a:lnTo>
                <a:lnTo>
                  <a:pt x="7212017" y="3157062"/>
                </a:lnTo>
                <a:lnTo>
                  <a:pt x="7197367" y="3152623"/>
                </a:lnTo>
                <a:lnTo>
                  <a:pt x="7190206" y="3152190"/>
                </a:lnTo>
                <a:lnTo>
                  <a:pt x="7184563" y="3149484"/>
                </a:lnTo>
                <a:lnTo>
                  <a:pt x="7183369" y="3147427"/>
                </a:lnTo>
                <a:lnTo>
                  <a:pt x="7182826" y="3145477"/>
                </a:lnTo>
                <a:lnTo>
                  <a:pt x="7177726" y="3144395"/>
                </a:lnTo>
                <a:lnTo>
                  <a:pt x="7177943" y="3140930"/>
                </a:lnTo>
                <a:lnTo>
                  <a:pt x="7181416" y="3140497"/>
                </a:lnTo>
                <a:lnTo>
                  <a:pt x="7183369" y="3140930"/>
                </a:lnTo>
                <a:lnTo>
                  <a:pt x="7183043" y="3139848"/>
                </a:lnTo>
                <a:lnTo>
                  <a:pt x="7179570" y="3139198"/>
                </a:lnTo>
                <a:lnTo>
                  <a:pt x="7175447" y="3140930"/>
                </a:lnTo>
                <a:lnTo>
                  <a:pt x="7172300" y="3139631"/>
                </a:lnTo>
                <a:lnTo>
                  <a:pt x="7170672" y="3137682"/>
                </a:lnTo>
                <a:lnTo>
                  <a:pt x="7169370" y="3137249"/>
                </a:lnTo>
                <a:lnTo>
                  <a:pt x="7167308" y="3139631"/>
                </a:lnTo>
                <a:lnTo>
                  <a:pt x="7166332" y="3134975"/>
                </a:lnTo>
                <a:lnTo>
                  <a:pt x="7164486" y="3133676"/>
                </a:lnTo>
                <a:lnTo>
                  <a:pt x="7162642" y="3134542"/>
                </a:lnTo>
                <a:lnTo>
                  <a:pt x="7161449" y="3136491"/>
                </a:lnTo>
                <a:lnTo>
                  <a:pt x="7158736" y="3133568"/>
                </a:lnTo>
                <a:lnTo>
                  <a:pt x="7157325" y="3127721"/>
                </a:lnTo>
                <a:lnTo>
                  <a:pt x="7155154" y="3122741"/>
                </a:lnTo>
                <a:lnTo>
                  <a:pt x="7158084" y="3118952"/>
                </a:lnTo>
                <a:lnTo>
                  <a:pt x="7158084" y="3113213"/>
                </a:lnTo>
                <a:lnTo>
                  <a:pt x="7155697" y="3117868"/>
                </a:lnTo>
                <a:lnTo>
                  <a:pt x="7153852" y="3123066"/>
                </a:lnTo>
                <a:lnTo>
                  <a:pt x="7153092" y="3126638"/>
                </a:lnTo>
                <a:lnTo>
                  <a:pt x="7151031" y="3127721"/>
                </a:lnTo>
                <a:lnTo>
                  <a:pt x="7147450" y="3134217"/>
                </a:lnTo>
                <a:lnTo>
                  <a:pt x="7147993" y="3138223"/>
                </a:lnTo>
                <a:lnTo>
                  <a:pt x="7143109" y="3144178"/>
                </a:lnTo>
                <a:lnTo>
                  <a:pt x="7138334" y="3145261"/>
                </a:lnTo>
                <a:lnTo>
                  <a:pt x="7133994" y="3143854"/>
                </a:lnTo>
                <a:lnTo>
                  <a:pt x="7130413" y="3135733"/>
                </a:lnTo>
                <a:lnTo>
                  <a:pt x="7130522" y="3132810"/>
                </a:lnTo>
                <a:lnTo>
                  <a:pt x="7132583" y="3131944"/>
                </a:lnTo>
                <a:lnTo>
                  <a:pt x="7133126" y="3128695"/>
                </a:lnTo>
                <a:lnTo>
                  <a:pt x="7132475" y="3125448"/>
                </a:lnTo>
                <a:lnTo>
                  <a:pt x="7129545" y="3126422"/>
                </a:lnTo>
                <a:lnTo>
                  <a:pt x="7127809" y="3124797"/>
                </a:lnTo>
                <a:lnTo>
                  <a:pt x="7125421" y="3118952"/>
                </a:lnTo>
                <a:lnTo>
                  <a:pt x="7121080" y="3116677"/>
                </a:lnTo>
                <a:lnTo>
                  <a:pt x="7115546" y="3115811"/>
                </a:lnTo>
                <a:lnTo>
                  <a:pt x="7113809" y="3113429"/>
                </a:lnTo>
                <a:lnTo>
                  <a:pt x="7116739" y="3109856"/>
                </a:lnTo>
                <a:lnTo>
                  <a:pt x="7122491" y="3109315"/>
                </a:lnTo>
                <a:lnTo>
                  <a:pt x="7124336" y="3111156"/>
                </a:lnTo>
                <a:lnTo>
                  <a:pt x="7129328" y="3111697"/>
                </a:lnTo>
                <a:lnTo>
                  <a:pt x="7133018" y="3113538"/>
                </a:lnTo>
                <a:lnTo>
                  <a:pt x="7137575" y="3110831"/>
                </a:lnTo>
                <a:lnTo>
                  <a:pt x="7139203" y="3105201"/>
                </a:lnTo>
                <a:lnTo>
                  <a:pt x="7142783" y="3104010"/>
                </a:lnTo>
                <a:lnTo>
                  <a:pt x="7150163" y="3107366"/>
                </a:lnTo>
                <a:lnTo>
                  <a:pt x="7153092" y="3111697"/>
                </a:lnTo>
                <a:lnTo>
                  <a:pt x="7155154" y="3107042"/>
                </a:lnTo>
                <a:lnTo>
                  <a:pt x="7157759" y="3103577"/>
                </a:lnTo>
                <a:lnTo>
                  <a:pt x="7160146" y="3104443"/>
                </a:lnTo>
                <a:lnTo>
                  <a:pt x="7160906" y="3099354"/>
                </a:lnTo>
                <a:lnTo>
                  <a:pt x="7159495" y="3096214"/>
                </a:lnTo>
                <a:lnTo>
                  <a:pt x="7147450" y="3094807"/>
                </a:lnTo>
                <a:lnTo>
                  <a:pt x="7149186" y="3097297"/>
                </a:lnTo>
                <a:lnTo>
                  <a:pt x="7146256" y="3097947"/>
                </a:lnTo>
                <a:lnTo>
                  <a:pt x="7143869" y="3097297"/>
                </a:lnTo>
                <a:lnTo>
                  <a:pt x="7136381" y="3098813"/>
                </a:lnTo>
                <a:lnTo>
                  <a:pt x="7133451" y="3097838"/>
                </a:lnTo>
                <a:lnTo>
                  <a:pt x="7130738" y="3099138"/>
                </a:lnTo>
                <a:lnTo>
                  <a:pt x="7127809" y="3097405"/>
                </a:lnTo>
                <a:lnTo>
                  <a:pt x="7123468" y="3098488"/>
                </a:lnTo>
                <a:lnTo>
                  <a:pt x="7119019" y="3097838"/>
                </a:lnTo>
                <a:lnTo>
                  <a:pt x="7114027" y="3093616"/>
                </a:lnTo>
                <a:lnTo>
                  <a:pt x="7112616" y="3088203"/>
                </a:lnTo>
                <a:lnTo>
                  <a:pt x="7113701" y="3086795"/>
                </a:lnTo>
                <a:lnTo>
                  <a:pt x="7111096" y="3082356"/>
                </a:lnTo>
                <a:lnTo>
                  <a:pt x="7104368" y="3078566"/>
                </a:lnTo>
                <a:lnTo>
                  <a:pt x="7101764" y="3075751"/>
                </a:lnTo>
                <a:lnTo>
                  <a:pt x="7100462" y="3077700"/>
                </a:lnTo>
                <a:lnTo>
                  <a:pt x="7096556" y="3079757"/>
                </a:lnTo>
                <a:lnTo>
                  <a:pt x="7091130" y="3078891"/>
                </a:lnTo>
                <a:lnTo>
                  <a:pt x="7091998" y="3075968"/>
                </a:lnTo>
                <a:lnTo>
                  <a:pt x="7097641" y="3072287"/>
                </a:lnTo>
                <a:lnTo>
                  <a:pt x="7098184" y="3068930"/>
                </a:lnTo>
                <a:lnTo>
                  <a:pt x="7096448" y="3065790"/>
                </a:lnTo>
                <a:lnTo>
                  <a:pt x="7100028" y="3062759"/>
                </a:lnTo>
                <a:lnTo>
                  <a:pt x="7106648" y="3062542"/>
                </a:lnTo>
                <a:lnTo>
                  <a:pt x="7109903" y="3059402"/>
                </a:lnTo>
                <a:lnTo>
                  <a:pt x="7113701" y="3058428"/>
                </a:lnTo>
                <a:lnTo>
                  <a:pt x="7119887" y="3053555"/>
                </a:lnTo>
                <a:lnTo>
                  <a:pt x="7121732" y="3051932"/>
                </a:lnTo>
                <a:close/>
                <a:moveTo>
                  <a:pt x="2175088" y="3049692"/>
                </a:moveTo>
                <a:lnTo>
                  <a:pt x="2179882" y="3055396"/>
                </a:lnTo>
                <a:lnTo>
                  <a:pt x="2179882" y="3055395"/>
                </a:lnTo>
                <a:close/>
                <a:moveTo>
                  <a:pt x="2744493" y="3049549"/>
                </a:moveTo>
                <a:lnTo>
                  <a:pt x="2745578" y="3050632"/>
                </a:lnTo>
                <a:lnTo>
                  <a:pt x="2744384" y="3053663"/>
                </a:lnTo>
                <a:lnTo>
                  <a:pt x="2740803" y="3054421"/>
                </a:lnTo>
                <a:lnTo>
                  <a:pt x="2739393" y="3053988"/>
                </a:lnTo>
                <a:lnTo>
                  <a:pt x="2741238" y="3051606"/>
                </a:lnTo>
                <a:close/>
                <a:moveTo>
                  <a:pt x="6458476" y="3045868"/>
                </a:moveTo>
                <a:lnTo>
                  <a:pt x="6462383" y="3046842"/>
                </a:lnTo>
                <a:lnTo>
                  <a:pt x="6469545" y="3053555"/>
                </a:lnTo>
                <a:lnTo>
                  <a:pt x="6467700" y="3055179"/>
                </a:lnTo>
                <a:lnTo>
                  <a:pt x="6462166" y="3052147"/>
                </a:lnTo>
                <a:lnTo>
                  <a:pt x="6458259" y="3053446"/>
                </a:lnTo>
                <a:lnTo>
                  <a:pt x="6455872" y="3050523"/>
                </a:lnTo>
                <a:close/>
                <a:moveTo>
                  <a:pt x="2283282" y="3044228"/>
                </a:moveTo>
                <a:lnTo>
                  <a:pt x="2283299" y="3044568"/>
                </a:lnTo>
                <a:lnTo>
                  <a:pt x="2287422" y="3049873"/>
                </a:lnTo>
                <a:lnTo>
                  <a:pt x="2295748" y="3056279"/>
                </a:lnTo>
                <a:lnTo>
                  <a:pt x="2294801" y="3054529"/>
                </a:lnTo>
                <a:lnTo>
                  <a:pt x="2285903" y="3047599"/>
                </a:lnTo>
                <a:close/>
                <a:moveTo>
                  <a:pt x="7086680" y="3044027"/>
                </a:moveTo>
                <a:lnTo>
                  <a:pt x="7094711" y="3044027"/>
                </a:lnTo>
                <a:lnTo>
                  <a:pt x="7100462" y="3047492"/>
                </a:lnTo>
                <a:lnTo>
                  <a:pt x="7101331" y="3050739"/>
                </a:lnTo>
                <a:lnTo>
                  <a:pt x="7097424" y="3052147"/>
                </a:lnTo>
                <a:lnTo>
                  <a:pt x="7094385" y="3051064"/>
                </a:lnTo>
                <a:lnTo>
                  <a:pt x="7087440" y="3047167"/>
                </a:lnTo>
                <a:lnTo>
                  <a:pt x="7085812" y="3048141"/>
                </a:lnTo>
                <a:lnTo>
                  <a:pt x="7086464" y="3049116"/>
                </a:lnTo>
                <a:lnTo>
                  <a:pt x="7090262" y="3050739"/>
                </a:lnTo>
                <a:lnTo>
                  <a:pt x="7090370" y="3052689"/>
                </a:lnTo>
                <a:lnTo>
                  <a:pt x="7086464" y="3053338"/>
                </a:lnTo>
                <a:lnTo>
                  <a:pt x="7082014" y="3051281"/>
                </a:lnTo>
                <a:lnTo>
                  <a:pt x="7075069" y="3050306"/>
                </a:lnTo>
                <a:lnTo>
                  <a:pt x="7078325" y="3049332"/>
                </a:lnTo>
                <a:lnTo>
                  <a:pt x="7076806" y="3047708"/>
                </a:lnTo>
                <a:lnTo>
                  <a:pt x="7078325" y="3046842"/>
                </a:lnTo>
                <a:lnTo>
                  <a:pt x="7083099" y="3046733"/>
                </a:lnTo>
                <a:close/>
                <a:moveTo>
                  <a:pt x="7046637" y="3041429"/>
                </a:moveTo>
                <a:lnTo>
                  <a:pt x="7055752" y="3045976"/>
                </a:lnTo>
                <a:lnTo>
                  <a:pt x="7056403" y="3048358"/>
                </a:lnTo>
                <a:lnTo>
                  <a:pt x="7049892" y="3044894"/>
                </a:lnTo>
                <a:close/>
                <a:moveTo>
                  <a:pt x="2748509" y="3040346"/>
                </a:moveTo>
                <a:lnTo>
                  <a:pt x="2749485" y="3042187"/>
                </a:lnTo>
                <a:lnTo>
                  <a:pt x="2745470" y="3046409"/>
                </a:lnTo>
                <a:lnTo>
                  <a:pt x="2742974" y="3046626"/>
                </a:lnTo>
                <a:lnTo>
                  <a:pt x="2737657" y="3051714"/>
                </a:lnTo>
                <a:lnTo>
                  <a:pt x="2736898" y="3053447"/>
                </a:lnTo>
                <a:lnTo>
                  <a:pt x="2735053" y="3053880"/>
                </a:lnTo>
                <a:lnTo>
                  <a:pt x="2737874" y="3046193"/>
                </a:lnTo>
                <a:lnTo>
                  <a:pt x="2742323" y="3041645"/>
                </a:lnTo>
                <a:lnTo>
                  <a:pt x="2744602" y="3040670"/>
                </a:lnTo>
                <a:lnTo>
                  <a:pt x="2746772" y="3040887"/>
                </a:lnTo>
                <a:close/>
                <a:moveTo>
                  <a:pt x="4270369" y="3040178"/>
                </a:moveTo>
                <a:lnTo>
                  <a:pt x="4271865" y="3041970"/>
                </a:lnTo>
                <a:lnTo>
                  <a:pt x="4272733" y="3043919"/>
                </a:lnTo>
                <a:lnTo>
                  <a:pt x="4275555" y="3045218"/>
                </a:lnTo>
                <a:lnTo>
                  <a:pt x="4276423" y="3047384"/>
                </a:lnTo>
                <a:lnTo>
                  <a:pt x="4280112" y="3050415"/>
                </a:lnTo>
                <a:lnTo>
                  <a:pt x="4280988" y="3052685"/>
                </a:lnTo>
                <a:lnTo>
                  <a:pt x="4280113" y="3050414"/>
                </a:lnTo>
                <a:lnTo>
                  <a:pt x="4276423" y="3047382"/>
                </a:lnTo>
                <a:lnTo>
                  <a:pt x="4275555" y="3045218"/>
                </a:lnTo>
                <a:lnTo>
                  <a:pt x="4272733" y="3043918"/>
                </a:lnTo>
                <a:lnTo>
                  <a:pt x="4271865" y="3041969"/>
                </a:lnTo>
                <a:close/>
                <a:moveTo>
                  <a:pt x="2156117" y="3040129"/>
                </a:moveTo>
                <a:lnTo>
                  <a:pt x="2154381" y="3040237"/>
                </a:lnTo>
                <a:lnTo>
                  <a:pt x="2154381" y="3040238"/>
                </a:lnTo>
                <a:lnTo>
                  <a:pt x="2156117" y="3040130"/>
                </a:lnTo>
                <a:lnTo>
                  <a:pt x="2158938" y="3042836"/>
                </a:lnTo>
                <a:lnTo>
                  <a:pt x="2167511" y="3044893"/>
                </a:lnTo>
                <a:lnTo>
                  <a:pt x="2172828" y="3046085"/>
                </a:lnTo>
                <a:lnTo>
                  <a:pt x="2173991" y="3048226"/>
                </a:lnTo>
                <a:lnTo>
                  <a:pt x="2172828" y="3046084"/>
                </a:lnTo>
                <a:lnTo>
                  <a:pt x="2167511" y="3044893"/>
                </a:lnTo>
                <a:lnTo>
                  <a:pt x="2158938" y="3042835"/>
                </a:lnTo>
                <a:close/>
                <a:moveTo>
                  <a:pt x="6313824" y="3038073"/>
                </a:moveTo>
                <a:lnTo>
                  <a:pt x="6319467" y="3040022"/>
                </a:lnTo>
                <a:lnTo>
                  <a:pt x="6318924" y="3043162"/>
                </a:lnTo>
                <a:lnTo>
                  <a:pt x="6316862" y="3041646"/>
                </a:lnTo>
                <a:lnTo>
                  <a:pt x="6311220" y="3041538"/>
                </a:lnTo>
                <a:close/>
                <a:moveTo>
                  <a:pt x="2778785" y="3037098"/>
                </a:moveTo>
                <a:lnTo>
                  <a:pt x="2781389" y="3039155"/>
                </a:lnTo>
                <a:lnTo>
                  <a:pt x="2779762" y="3041862"/>
                </a:lnTo>
                <a:lnTo>
                  <a:pt x="2774336" y="3042187"/>
                </a:lnTo>
                <a:lnTo>
                  <a:pt x="2770864" y="3040887"/>
                </a:lnTo>
                <a:lnTo>
                  <a:pt x="2774444" y="3039372"/>
                </a:lnTo>
                <a:lnTo>
                  <a:pt x="2775530" y="3037314"/>
                </a:lnTo>
                <a:close/>
                <a:moveTo>
                  <a:pt x="2752090" y="3033525"/>
                </a:moveTo>
                <a:lnTo>
                  <a:pt x="2755020" y="3034933"/>
                </a:lnTo>
                <a:lnTo>
                  <a:pt x="2755671" y="3036882"/>
                </a:lnTo>
                <a:lnTo>
                  <a:pt x="2755454" y="3039156"/>
                </a:lnTo>
                <a:lnTo>
                  <a:pt x="2753066" y="3038289"/>
                </a:lnTo>
                <a:lnTo>
                  <a:pt x="2751656" y="3036232"/>
                </a:lnTo>
                <a:close/>
                <a:moveTo>
                  <a:pt x="2104572" y="3032225"/>
                </a:moveTo>
                <a:lnTo>
                  <a:pt x="2104572" y="3032226"/>
                </a:lnTo>
                <a:lnTo>
                  <a:pt x="2111951" y="3032875"/>
                </a:lnTo>
                <a:lnTo>
                  <a:pt x="2120307" y="3036989"/>
                </a:lnTo>
                <a:lnTo>
                  <a:pt x="2121133" y="3037560"/>
                </a:lnTo>
                <a:lnTo>
                  <a:pt x="2120306" y="3036989"/>
                </a:lnTo>
                <a:lnTo>
                  <a:pt x="2111950" y="3032874"/>
                </a:lnTo>
                <a:close/>
                <a:moveTo>
                  <a:pt x="4753951" y="3031900"/>
                </a:moveTo>
                <a:lnTo>
                  <a:pt x="4753463" y="3035256"/>
                </a:lnTo>
                <a:lnTo>
                  <a:pt x="4747169" y="3058534"/>
                </a:lnTo>
                <a:lnTo>
                  <a:pt x="4714180" y="3060267"/>
                </a:lnTo>
                <a:lnTo>
                  <a:pt x="4696492" y="3060809"/>
                </a:lnTo>
                <a:lnTo>
                  <a:pt x="4696508" y="3060809"/>
                </a:lnTo>
                <a:lnTo>
                  <a:pt x="4714180" y="3060268"/>
                </a:lnTo>
                <a:lnTo>
                  <a:pt x="4704956" y="3060809"/>
                </a:lnTo>
                <a:lnTo>
                  <a:pt x="4704815" y="3060809"/>
                </a:lnTo>
                <a:lnTo>
                  <a:pt x="4675874" y="3060917"/>
                </a:lnTo>
                <a:lnTo>
                  <a:pt x="4695949" y="3060809"/>
                </a:lnTo>
                <a:lnTo>
                  <a:pt x="4695948" y="3060809"/>
                </a:lnTo>
                <a:lnTo>
                  <a:pt x="4675873" y="3060916"/>
                </a:lnTo>
                <a:lnTo>
                  <a:pt x="4673812" y="3062973"/>
                </a:lnTo>
                <a:lnTo>
                  <a:pt x="4671641" y="3062540"/>
                </a:lnTo>
                <a:lnTo>
                  <a:pt x="4670230" y="3064381"/>
                </a:lnTo>
                <a:lnTo>
                  <a:pt x="4670091" y="3064183"/>
                </a:lnTo>
                <a:lnTo>
                  <a:pt x="4670231" y="3064382"/>
                </a:lnTo>
                <a:lnTo>
                  <a:pt x="4670231" y="3064382"/>
                </a:lnTo>
                <a:lnTo>
                  <a:pt x="4671642" y="3062542"/>
                </a:lnTo>
                <a:lnTo>
                  <a:pt x="4673812" y="3062975"/>
                </a:lnTo>
                <a:lnTo>
                  <a:pt x="4675874" y="3060918"/>
                </a:lnTo>
                <a:lnTo>
                  <a:pt x="4704956" y="3060809"/>
                </a:lnTo>
                <a:lnTo>
                  <a:pt x="4714180" y="3060268"/>
                </a:lnTo>
                <a:lnTo>
                  <a:pt x="4747169" y="3058536"/>
                </a:lnTo>
                <a:lnTo>
                  <a:pt x="4753897" y="3058103"/>
                </a:lnTo>
                <a:lnTo>
                  <a:pt x="4841687" y="3109315"/>
                </a:lnTo>
                <a:lnTo>
                  <a:pt x="4843010" y="3111486"/>
                </a:lnTo>
                <a:lnTo>
                  <a:pt x="4841687" y="3109314"/>
                </a:lnTo>
                <a:lnTo>
                  <a:pt x="4753897" y="3058102"/>
                </a:lnTo>
                <a:lnTo>
                  <a:pt x="4747169" y="3058535"/>
                </a:lnTo>
                <a:lnTo>
                  <a:pt x="4753463" y="3035256"/>
                </a:lnTo>
                <a:close/>
                <a:moveTo>
                  <a:pt x="4366483" y="3031789"/>
                </a:moveTo>
                <a:lnTo>
                  <a:pt x="4363996" y="3032874"/>
                </a:lnTo>
                <a:lnTo>
                  <a:pt x="4361934" y="3040778"/>
                </a:lnTo>
                <a:lnTo>
                  <a:pt x="4361826" y="3048898"/>
                </a:lnTo>
                <a:lnTo>
                  <a:pt x="4354230" y="3061349"/>
                </a:lnTo>
                <a:lnTo>
                  <a:pt x="4349563" y="3062649"/>
                </a:lnTo>
                <a:lnTo>
                  <a:pt x="4345439" y="3065897"/>
                </a:lnTo>
                <a:lnTo>
                  <a:pt x="4345440" y="3065897"/>
                </a:lnTo>
                <a:lnTo>
                  <a:pt x="4349563" y="3062649"/>
                </a:lnTo>
                <a:lnTo>
                  <a:pt x="4354230" y="3061350"/>
                </a:lnTo>
                <a:lnTo>
                  <a:pt x="4361826" y="3048899"/>
                </a:lnTo>
                <a:lnTo>
                  <a:pt x="4361934" y="3040779"/>
                </a:lnTo>
                <a:lnTo>
                  <a:pt x="4363996" y="3032875"/>
                </a:lnTo>
                <a:close/>
                <a:moveTo>
                  <a:pt x="2768694" y="3031035"/>
                </a:moveTo>
                <a:lnTo>
                  <a:pt x="2771298" y="3033200"/>
                </a:lnTo>
                <a:lnTo>
                  <a:pt x="2770430" y="3036232"/>
                </a:lnTo>
                <a:lnTo>
                  <a:pt x="2767282" y="3037748"/>
                </a:lnTo>
                <a:lnTo>
                  <a:pt x="2765438" y="3036556"/>
                </a:lnTo>
                <a:lnTo>
                  <a:pt x="2759578" y="3036449"/>
                </a:lnTo>
                <a:lnTo>
                  <a:pt x="2757408" y="3035258"/>
                </a:lnTo>
                <a:lnTo>
                  <a:pt x="2758385" y="3033200"/>
                </a:lnTo>
                <a:lnTo>
                  <a:pt x="2761966" y="3032767"/>
                </a:lnTo>
                <a:close/>
                <a:moveTo>
                  <a:pt x="4273276" y="3030817"/>
                </a:moveTo>
                <a:lnTo>
                  <a:pt x="4273276" y="3030818"/>
                </a:lnTo>
                <a:lnTo>
                  <a:pt x="4274469" y="3032225"/>
                </a:lnTo>
                <a:lnTo>
                  <a:pt x="4275333" y="3034654"/>
                </a:lnTo>
                <a:lnTo>
                  <a:pt x="4274470" y="3032225"/>
                </a:lnTo>
                <a:close/>
                <a:moveTo>
                  <a:pt x="2137018" y="3030276"/>
                </a:moveTo>
                <a:lnTo>
                  <a:pt x="2133545" y="3033092"/>
                </a:lnTo>
                <a:lnTo>
                  <a:pt x="2133762" y="3037963"/>
                </a:lnTo>
                <a:lnTo>
                  <a:pt x="2130832" y="3040670"/>
                </a:lnTo>
                <a:lnTo>
                  <a:pt x="2123128" y="3038938"/>
                </a:lnTo>
                <a:lnTo>
                  <a:pt x="2123128" y="3038938"/>
                </a:lnTo>
                <a:lnTo>
                  <a:pt x="2130833" y="3040671"/>
                </a:lnTo>
                <a:lnTo>
                  <a:pt x="2133763" y="3037964"/>
                </a:lnTo>
                <a:lnTo>
                  <a:pt x="2133546" y="3033092"/>
                </a:lnTo>
                <a:lnTo>
                  <a:pt x="2137018" y="3030277"/>
                </a:lnTo>
                <a:lnTo>
                  <a:pt x="2138646" y="3030385"/>
                </a:lnTo>
                <a:lnTo>
                  <a:pt x="2145917" y="3032875"/>
                </a:lnTo>
                <a:lnTo>
                  <a:pt x="2149606" y="3034932"/>
                </a:lnTo>
                <a:lnTo>
                  <a:pt x="2149801" y="3035497"/>
                </a:lnTo>
                <a:lnTo>
                  <a:pt x="2149606" y="3034932"/>
                </a:lnTo>
                <a:lnTo>
                  <a:pt x="2145916" y="3032874"/>
                </a:lnTo>
                <a:lnTo>
                  <a:pt x="2138646" y="3030384"/>
                </a:lnTo>
                <a:close/>
                <a:moveTo>
                  <a:pt x="4096503" y="3027787"/>
                </a:moveTo>
                <a:lnTo>
                  <a:pt x="4100735" y="3030386"/>
                </a:lnTo>
                <a:lnTo>
                  <a:pt x="4098999" y="3033850"/>
                </a:lnTo>
                <a:lnTo>
                  <a:pt x="4096286" y="3035582"/>
                </a:lnTo>
                <a:lnTo>
                  <a:pt x="4094441" y="3035258"/>
                </a:lnTo>
                <a:lnTo>
                  <a:pt x="4093681" y="3030818"/>
                </a:lnTo>
                <a:close/>
                <a:moveTo>
                  <a:pt x="4273602" y="3027461"/>
                </a:moveTo>
                <a:lnTo>
                  <a:pt x="4273601" y="3027462"/>
                </a:lnTo>
                <a:lnTo>
                  <a:pt x="4273307" y="3030504"/>
                </a:lnTo>
                <a:close/>
                <a:moveTo>
                  <a:pt x="4367143" y="3023238"/>
                </a:moveTo>
                <a:lnTo>
                  <a:pt x="4367143" y="3023239"/>
                </a:lnTo>
                <a:lnTo>
                  <a:pt x="4368120" y="3024646"/>
                </a:lnTo>
                <a:lnTo>
                  <a:pt x="4368120" y="3024645"/>
                </a:lnTo>
                <a:close/>
                <a:moveTo>
                  <a:pt x="2303115" y="3022474"/>
                </a:moveTo>
                <a:lnTo>
                  <a:pt x="2302723" y="3022914"/>
                </a:lnTo>
                <a:lnTo>
                  <a:pt x="2303841" y="3024073"/>
                </a:lnTo>
                <a:lnTo>
                  <a:pt x="2304025" y="3023455"/>
                </a:lnTo>
                <a:close/>
                <a:moveTo>
                  <a:pt x="2763158" y="3021183"/>
                </a:moveTo>
                <a:lnTo>
                  <a:pt x="2765328" y="3021507"/>
                </a:lnTo>
                <a:lnTo>
                  <a:pt x="2763266" y="3024864"/>
                </a:lnTo>
                <a:lnTo>
                  <a:pt x="2760663" y="3025730"/>
                </a:lnTo>
                <a:lnTo>
                  <a:pt x="2758275" y="3029411"/>
                </a:lnTo>
                <a:lnTo>
                  <a:pt x="2755671" y="3032010"/>
                </a:lnTo>
                <a:lnTo>
                  <a:pt x="2754803" y="3027787"/>
                </a:lnTo>
                <a:lnTo>
                  <a:pt x="2757516" y="3024756"/>
                </a:lnTo>
                <a:lnTo>
                  <a:pt x="2759903" y="3023565"/>
                </a:lnTo>
                <a:close/>
                <a:moveTo>
                  <a:pt x="2094815" y="3019669"/>
                </a:moveTo>
                <a:lnTo>
                  <a:pt x="2098929" y="3019775"/>
                </a:lnTo>
                <a:lnTo>
                  <a:pt x="2103897" y="3024922"/>
                </a:lnTo>
                <a:lnTo>
                  <a:pt x="2098928" y="3019774"/>
                </a:lnTo>
                <a:close/>
                <a:moveTo>
                  <a:pt x="4282174" y="3016743"/>
                </a:moveTo>
                <a:lnTo>
                  <a:pt x="4283693" y="3019233"/>
                </a:lnTo>
                <a:lnTo>
                  <a:pt x="4283042" y="3023672"/>
                </a:lnTo>
                <a:lnTo>
                  <a:pt x="4283043" y="3023672"/>
                </a:lnTo>
                <a:lnTo>
                  <a:pt x="4283694" y="3019232"/>
                </a:lnTo>
                <a:close/>
                <a:moveTo>
                  <a:pt x="4765616" y="3015010"/>
                </a:moveTo>
                <a:lnTo>
                  <a:pt x="4761710" y="3018691"/>
                </a:lnTo>
                <a:lnTo>
                  <a:pt x="4758997" y="3024213"/>
                </a:lnTo>
                <a:lnTo>
                  <a:pt x="4756718" y="3026378"/>
                </a:lnTo>
                <a:lnTo>
                  <a:pt x="4758997" y="3024213"/>
                </a:lnTo>
                <a:lnTo>
                  <a:pt x="4761710" y="3018691"/>
                </a:lnTo>
                <a:close/>
                <a:moveTo>
                  <a:pt x="6410729" y="3014036"/>
                </a:moveTo>
                <a:lnTo>
                  <a:pt x="6416915" y="3015226"/>
                </a:lnTo>
                <a:lnTo>
                  <a:pt x="6422123" y="3019666"/>
                </a:lnTo>
                <a:lnTo>
                  <a:pt x="6423643" y="3026595"/>
                </a:lnTo>
                <a:lnTo>
                  <a:pt x="6421906" y="3028111"/>
                </a:lnTo>
                <a:lnTo>
                  <a:pt x="6416264" y="3025404"/>
                </a:lnTo>
                <a:lnTo>
                  <a:pt x="6408016" y="3024430"/>
                </a:lnTo>
                <a:lnTo>
                  <a:pt x="6407148" y="3019991"/>
                </a:lnTo>
                <a:close/>
                <a:moveTo>
                  <a:pt x="4174635" y="3013061"/>
                </a:moveTo>
                <a:lnTo>
                  <a:pt x="4172413" y="3013505"/>
                </a:lnTo>
                <a:lnTo>
                  <a:pt x="4174634" y="3013062"/>
                </a:lnTo>
                <a:lnTo>
                  <a:pt x="4175936" y="3014036"/>
                </a:lnTo>
                <a:close/>
                <a:moveTo>
                  <a:pt x="4367794" y="3013061"/>
                </a:moveTo>
                <a:lnTo>
                  <a:pt x="4367794" y="3013061"/>
                </a:lnTo>
                <a:lnTo>
                  <a:pt x="4368445" y="3015984"/>
                </a:lnTo>
                <a:lnTo>
                  <a:pt x="4367400" y="3021805"/>
                </a:lnTo>
                <a:lnTo>
                  <a:pt x="4368445" y="3015984"/>
                </a:lnTo>
                <a:close/>
                <a:moveTo>
                  <a:pt x="6447625" y="3011546"/>
                </a:moveTo>
                <a:lnTo>
                  <a:pt x="6448602" y="3014902"/>
                </a:lnTo>
                <a:lnTo>
                  <a:pt x="6446214" y="3019558"/>
                </a:lnTo>
                <a:lnTo>
                  <a:pt x="6441114" y="3017934"/>
                </a:lnTo>
                <a:close/>
                <a:moveTo>
                  <a:pt x="6461407" y="3011006"/>
                </a:moveTo>
                <a:lnTo>
                  <a:pt x="6459453" y="3014795"/>
                </a:lnTo>
                <a:lnTo>
                  <a:pt x="6461841" y="3017286"/>
                </a:lnTo>
                <a:lnTo>
                  <a:pt x="6460322" y="3024540"/>
                </a:lnTo>
                <a:lnTo>
                  <a:pt x="6457283" y="3025623"/>
                </a:lnTo>
                <a:lnTo>
                  <a:pt x="6455764" y="3019668"/>
                </a:lnTo>
                <a:lnTo>
                  <a:pt x="6450664" y="3018260"/>
                </a:lnTo>
                <a:lnTo>
                  <a:pt x="6452834" y="3013496"/>
                </a:lnTo>
                <a:lnTo>
                  <a:pt x="6456523" y="3013712"/>
                </a:lnTo>
                <a:lnTo>
                  <a:pt x="6458802" y="3011655"/>
                </a:lnTo>
                <a:close/>
                <a:moveTo>
                  <a:pt x="4283643" y="3009299"/>
                </a:moveTo>
                <a:lnTo>
                  <a:pt x="4283910" y="3013711"/>
                </a:lnTo>
                <a:lnTo>
                  <a:pt x="4282992" y="3015315"/>
                </a:lnTo>
                <a:lnTo>
                  <a:pt x="4283911" y="3013711"/>
                </a:lnTo>
                <a:close/>
                <a:moveTo>
                  <a:pt x="2291876" y="3008982"/>
                </a:moveTo>
                <a:lnTo>
                  <a:pt x="2292739" y="3011221"/>
                </a:lnTo>
                <a:lnTo>
                  <a:pt x="2301702" y="3013535"/>
                </a:lnTo>
                <a:lnTo>
                  <a:pt x="2300444" y="3011221"/>
                </a:lnTo>
                <a:close/>
                <a:moveTo>
                  <a:pt x="6661836" y="3006889"/>
                </a:moveTo>
                <a:lnTo>
                  <a:pt x="6650225" y="3007214"/>
                </a:lnTo>
                <a:lnTo>
                  <a:pt x="6646643" y="3010354"/>
                </a:lnTo>
                <a:lnTo>
                  <a:pt x="6633405" y="3015767"/>
                </a:lnTo>
                <a:lnTo>
                  <a:pt x="6620274" y="3015010"/>
                </a:lnTo>
                <a:lnTo>
                  <a:pt x="6616909" y="3016742"/>
                </a:lnTo>
                <a:lnTo>
                  <a:pt x="6610942" y="3016308"/>
                </a:lnTo>
                <a:lnTo>
                  <a:pt x="6610182" y="3019124"/>
                </a:lnTo>
                <a:lnTo>
                  <a:pt x="6603237" y="3020964"/>
                </a:lnTo>
                <a:lnTo>
                  <a:pt x="6599767" y="3020532"/>
                </a:lnTo>
                <a:lnTo>
                  <a:pt x="6599767" y="3020533"/>
                </a:lnTo>
                <a:lnTo>
                  <a:pt x="6603239" y="3020966"/>
                </a:lnTo>
                <a:lnTo>
                  <a:pt x="6610184" y="3019125"/>
                </a:lnTo>
                <a:lnTo>
                  <a:pt x="6610944" y="3016310"/>
                </a:lnTo>
                <a:lnTo>
                  <a:pt x="6616912" y="3016743"/>
                </a:lnTo>
                <a:lnTo>
                  <a:pt x="6620276" y="3015011"/>
                </a:lnTo>
                <a:lnTo>
                  <a:pt x="6633407" y="3015769"/>
                </a:lnTo>
                <a:lnTo>
                  <a:pt x="6646646" y="3010355"/>
                </a:lnTo>
                <a:lnTo>
                  <a:pt x="6650227" y="3007215"/>
                </a:lnTo>
                <a:lnTo>
                  <a:pt x="6661838" y="3006891"/>
                </a:lnTo>
                <a:lnTo>
                  <a:pt x="6667913" y="3009813"/>
                </a:lnTo>
                <a:lnTo>
                  <a:pt x="6667913" y="3009812"/>
                </a:lnTo>
                <a:close/>
                <a:moveTo>
                  <a:pt x="6283982" y="3006675"/>
                </a:moveTo>
                <a:lnTo>
                  <a:pt x="6287129" y="3007865"/>
                </a:lnTo>
                <a:lnTo>
                  <a:pt x="6290710" y="3014579"/>
                </a:lnTo>
                <a:lnTo>
                  <a:pt x="6296244" y="3018909"/>
                </a:lnTo>
                <a:lnTo>
                  <a:pt x="6294725" y="3022266"/>
                </a:lnTo>
                <a:lnTo>
                  <a:pt x="6293748" y="3028546"/>
                </a:lnTo>
                <a:lnTo>
                  <a:pt x="6291578" y="3029520"/>
                </a:lnTo>
                <a:lnTo>
                  <a:pt x="6287129" y="3021075"/>
                </a:lnTo>
                <a:lnTo>
                  <a:pt x="6283656" y="3020209"/>
                </a:lnTo>
                <a:lnTo>
                  <a:pt x="6282572" y="3014903"/>
                </a:lnTo>
                <a:lnTo>
                  <a:pt x="6277037" y="3009381"/>
                </a:lnTo>
                <a:lnTo>
                  <a:pt x="6281703" y="3009273"/>
                </a:lnTo>
                <a:close/>
                <a:moveTo>
                  <a:pt x="6399662" y="3006458"/>
                </a:moveTo>
                <a:lnTo>
                  <a:pt x="6405956" y="3008731"/>
                </a:lnTo>
                <a:lnTo>
                  <a:pt x="6408452" y="3012304"/>
                </a:lnTo>
                <a:lnTo>
                  <a:pt x="6405414" y="3017501"/>
                </a:lnTo>
                <a:lnTo>
                  <a:pt x="6403135" y="3015444"/>
                </a:lnTo>
                <a:lnTo>
                  <a:pt x="6397166" y="3006674"/>
                </a:lnTo>
                <a:close/>
                <a:moveTo>
                  <a:pt x="2558279" y="3006239"/>
                </a:moveTo>
                <a:lnTo>
                  <a:pt x="2557278" y="3006506"/>
                </a:lnTo>
                <a:lnTo>
                  <a:pt x="2557303" y="3006565"/>
                </a:lnTo>
                <a:lnTo>
                  <a:pt x="2558419" y="3006565"/>
                </a:lnTo>
                <a:close/>
                <a:moveTo>
                  <a:pt x="4769740" y="3006132"/>
                </a:moveTo>
                <a:lnTo>
                  <a:pt x="4769957" y="3008189"/>
                </a:lnTo>
                <a:lnTo>
                  <a:pt x="4769741" y="3006132"/>
                </a:lnTo>
                <a:close/>
                <a:moveTo>
                  <a:pt x="4273276" y="3004616"/>
                </a:moveTo>
                <a:lnTo>
                  <a:pt x="4268067" y="3006564"/>
                </a:lnTo>
                <a:lnTo>
                  <a:pt x="4262750" y="3007972"/>
                </a:lnTo>
                <a:lnTo>
                  <a:pt x="4259386" y="3007106"/>
                </a:lnTo>
                <a:lnTo>
                  <a:pt x="4255697" y="3009163"/>
                </a:lnTo>
                <a:lnTo>
                  <a:pt x="4253309" y="3007864"/>
                </a:lnTo>
                <a:lnTo>
                  <a:pt x="4253633" y="3006895"/>
                </a:lnTo>
                <a:lnTo>
                  <a:pt x="4253309" y="3007864"/>
                </a:lnTo>
                <a:lnTo>
                  <a:pt x="4255696" y="3009164"/>
                </a:lnTo>
                <a:lnTo>
                  <a:pt x="4259386" y="3007107"/>
                </a:lnTo>
                <a:lnTo>
                  <a:pt x="4262750" y="3007973"/>
                </a:lnTo>
                <a:lnTo>
                  <a:pt x="4268067" y="3006566"/>
                </a:lnTo>
                <a:lnTo>
                  <a:pt x="4273276" y="3004617"/>
                </a:lnTo>
                <a:lnTo>
                  <a:pt x="4280872" y="3004725"/>
                </a:lnTo>
                <a:lnTo>
                  <a:pt x="4283476" y="3006565"/>
                </a:lnTo>
                <a:lnTo>
                  <a:pt x="4283476" y="3006564"/>
                </a:lnTo>
                <a:lnTo>
                  <a:pt x="4280872" y="3004724"/>
                </a:lnTo>
                <a:close/>
                <a:moveTo>
                  <a:pt x="6943112" y="3003426"/>
                </a:moveTo>
                <a:lnTo>
                  <a:pt x="6949840" y="3004942"/>
                </a:lnTo>
                <a:lnTo>
                  <a:pt x="6950382" y="3007756"/>
                </a:lnTo>
                <a:lnTo>
                  <a:pt x="6952553" y="3010138"/>
                </a:lnTo>
                <a:lnTo>
                  <a:pt x="6950382" y="3011871"/>
                </a:lnTo>
                <a:lnTo>
                  <a:pt x="6948211" y="3015227"/>
                </a:lnTo>
                <a:lnTo>
                  <a:pt x="6946693" y="3019450"/>
                </a:lnTo>
                <a:lnTo>
                  <a:pt x="6943437" y="3021615"/>
                </a:lnTo>
                <a:lnTo>
                  <a:pt x="6940832" y="3024755"/>
                </a:lnTo>
                <a:lnTo>
                  <a:pt x="6937795" y="3025080"/>
                </a:lnTo>
                <a:lnTo>
                  <a:pt x="6935733" y="3028978"/>
                </a:lnTo>
                <a:lnTo>
                  <a:pt x="6928137" y="3034175"/>
                </a:lnTo>
                <a:lnTo>
                  <a:pt x="6910014" y="3038289"/>
                </a:lnTo>
                <a:lnTo>
                  <a:pt x="6905239" y="3036774"/>
                </a:lnTo>
                <a:lnTo>
                  <a:pt x="6904045" y="3034391"/>
                </a:lnTo>
                <a:lnTo>
                  <a:pt x="6900247" y="3032226"/>
                </a:lnTo>
                <a:lnTo>
                  <a:pt x="6894497" y="3032117"/>
                </a:lnTo>
                <a:lnTo>
                  <a:pt x="6893520" y="3033525"/>
                </a:lnTo>
                <a:lnTo>
                  <a:pt x="6888094" y="3033850"/>
                </a:lnTo>
                <a:lnTo>
                  <a:pt x="6878002" y="3032767"/>
                </a:lnTo>
                <a:lnTo>
                  <a:pt x="6875071" y="3034175"/>
                </a:lnTo>
                <a:lnTo>
                  <a:pt x="6870080" y="3034175"/>
                </a:lnTo>
                <a:lnTo>
                  <a:pt x="6868019" y="3031468"/>
                </a:lnTo>
                <a:lnTo>
                  <a:pt x="6862267" y="3030710"/>
                </a:lnTo>
                <a:lnTo>
                  <a:pt x="6853694" y="3035041"/>
                </a:lnTo>
                <a:lnTo>
                  <a:pt x="6845989" y="3034824"/>
                </a:lnTo>
                <a:lnTo>
                  <a:pt x="6839370" y="3031793"/>
                </a:lnTo>
                <a:lnTo>
                  <a:pt x="6833836" y="3033633"/>
                </a:lnTo>
                <a:lnTo>
                  <a:pt x="6829603" y="3037964"/>
                </a:lnTo>
                <a:lnTo>
                  <a:pt x="6825806" y="3046951"/>
                </a:lnTo>
                <a:lnTo>
                  <a:pt x="6825046" y="3056154"/>
                </a:lnTo>
                <a:lnTo>
                  <a:pt x="6828410" y="3064599"/>
                </a:lnTo>
                <a:lnTo>
                  <a:pt x="6834595" y="3069904"/>
                </a:lnTo>
                <a:lnTo>
                  <a:pt x="6840781" y="3076833"/>
                </a:lnTo>
                <a:lnTo>
                  <a:pt x="6841974" y="3078999"/>
                </a:lnTo>
                <a:lnTo>
                  <a:pt x="6846966" y="3079757"/>
                </a:lnTo>
                <a:lnTo>
                  <a:pt x="6851632" y="3077375"/>
                </a:lnTo>
                <a:lnTo>
                  <a:pt x="6854888" y="3069362"/>
                </a:lnTo>
                <a:lnTo>
                  <a:pt x="6859554" y="3063408"/>
                </a:lnTo>
                <a:lnTo>
                  <a:pt x="6863895" y="3064599"/>
                </a:lnTo>
                <a:lnTo>
                  <a:pt x="6868343" y="3067305"/>
                </a:lnTo>
                <a:lnTo>
                  <a:pt x="6871816" y="3066548"/>
                </a:lnTo>
                <a:lnTo>
                  <a:pt x="6876265" y="3066872"/>
                </a:lnTo>
                <a:lnTo>
                  <a:pt x="6880389" y="3062542"/>
                </a:lnTo>
                <a:lnTo>
                  <a:pt x="6883862" y="3061567"/>
                </a:lnTo>
                <a:lnTo>
                  <a:pt x="6890915" y="3061567"/>
                </a:lnTo>
                <a:lnTo>
                  <a:pt x="6895581" y="3058211"/>
                </a:lnTo>
                <a:lnTo>
                  <a:pt x="6906216" y="3057236"/>
                </a:lnTo>
                <a:lnTo>
                  <a:pt x="6911208" y="3059077"/>
                </a:lnTo>
                <a:lnTo>
                  <a:pt x="6911208" y="3062867"/>
                </a:lnTo>
                <a:lnTo>
                  <a:pt x="6907084" y="3068713"/>
                </a:lnTo>
                <a:lnTo>
                  <a:pt x="6904154" y="3068388"/>
                </a:lnTo>
                <a:lnTo>
                  <a:pt x="6899488" y="3066006"/>
                </a:lnTo>
                <a:lnTo>
                  <a:pt x="6894388" y="3067198"/>
                </a:lnTo>
                <a:lnTo>
                  <a:pt x="6894171" y="3070445"/>
                </a:lnTo>
                <a:lnTo>
                  <a:pt x="6889830" y="3072719"/>
                </a:lnTo>
                <a:lnTo>
                  <a:pt x="6886575" y="3078241"/>
                </a:lnTo>
                <a:lnTo>
                  <a:pt x="6879738" y="3083546"/>
                </a:lnTo>
                <a:lnTo>
                  <a:pt x="6870080" y="3087011"/>
                </a:lnTo>
                <a:lnTo>
                  <a:pt x="6868995" y="3089934"/>
                </a:lnTo>
                <a:lnTo>
                  <a:pt x="6865197" y="3092749"/>
                </a:lnTo>
                <a:lnTo>
                  <a:pt x="6860964" y="3092641"/>
                </a:lnTo>
                <a:lnTo>
                  <a:pt x="6859880" y="3090259"/>
                </a:lnTo>
                <a:lnTo>
                  <a:pt x="6858034" y="3090043"/>
                </a:lnTo>
                <a:lnTo>
                  <a:pt x="6857492" y="3091883"/>
                </a:lnTo>
                <a:lnTo>
                  <a:pt x="6859880" y="3096214"/>
                </a:lnTo>
                <a:lnTo>
                  <a:pt x="6863895" y="3099029"/>
                </a:lnTo>
                <a:lnTo>
                  <a:pt x="6870405" y="3106391"/>
                </a:lnTo>
                <a:lnTo>
                  <a:pt x="6871599" y="3110830"/>
                </a:lnTo>
                <a:lnTo>
                  <a:pt x="6874312" y="3111047"/>
                </a:lnTo>
                <a:lnTo>
                  <a:pt x="6878436" y="3113753"/>
                </a:lnTo>
                <a:lnTo>
                  <a:pt x="6878978" y="3116352"/>
                </a:lnTo>
                <a:lnTo>
                  <a:pt x="6877676" y="3118518"/>
                </a:lnTo>
                <a:lnTo>
                  <a:pt x="6880932" y="3119600"/>
                </a:lnTo>
                <a:lnTo>
                  <a:pt x="6883102" y="3121874"/>
                </a:lnTo>
                <a:lnTo>
                  <a:pt x="6882126" y="3124256"/>
                </a:lnTo>
                <a:lnTo>
                  <a:pt x="6880064" y="3124581"/>
                </a:lnTo>
                <a:lnTo>
                  <a:pt x="6881366" y="3127504"/>
                </a:lnTo>
                <a:lnTo>
                  <a:pt x="6879738" y="3126855"/>
                </a:lnTo>
                <a:lnTo>
                  <a:pt x="6878653" y="3129020"/>
                </a:lnTo>
                <a:lnTo>
                  <a:pt x="6875940" y="3131835"/>
                </a:lnTo>
                <a:lnTo>
                  <a:pt x="6877242" y="3134758"/>
                </a:lnTo>
                <a:lnTo>
                  <a:pt x="6881366" y="3135949"/>
                </a:lnTo>
                <a:lnTo>
                  <a:pt x="6881583" y="3138548"/>
                </a:lnTo>
                <a:lnTo>
                  <a:pt x="6883645" y="3137248"/>
                </a:lnTo>
                <a:lnTo>
                  <a:pt x="6885707" y="3137790"/>
                </a:lnTo>
                <a:lnTo>
                  <a:pt x="6885598" y="3140063"/>
                </a:lnTo>
                <a:lnTo>
                  <a:pt x="6887768" y="3140388"/>
                </a:lnTo>
                <a:lnTo>
                  <a:pt x="6888094" y="3143853"/>
                </a:lnTo>
                <a:lnTo>
                  <a:pt x="6892651" y="3143312"/>
                </a:lnTo>
                <a:lnTo>
                  <a:pt x="6894713" y="3143961"/>
                </a:lnTo>
                <a:lnTo>
                  <a:pt x="6896558" y="3143203"/>
                </a:lnTo>
                <a:lnTo>
                  <a:pt x="6902743" y="3143636"/>
                </a:lnTo>
                <a:lnTo>
                  <a:pt x="6903503" y="3145693"/>
                </a:lnTo>
                <a:lnTo>
                  <a:pt x="6901441" y="3149158"/>
                </a:lnTo>
                <a:lnTo>
                  <a:pt x="6897969" y="3149158"/>
                </a:lnTo>
                <a:lnTo>
                  <a:pt x="6896124" y="3148184"/>
                </a:lnTo>
                <a:lnTo>
                  <a:pt x="6893520" y="3150890"/>
                </a:lnTo>
                <a:lnTo>
                  <a:pt x="6886466" y="3150349"/>
                </a:lnTo>
                <a:lnTo>
                  <a:pt x="6880714" y="3153597"/>
                </a:lnTo>
                <a:lnTo>
                  <a:pt x="6876591" y="3154680"/>
                </a:lnTo>
                <a:lnTo>
                  <a:pt x="6872468" y="3158469"/>
                </a:lnTo>
                <a:lnTo>
                  <a:pt x="6873878" y="3161934"/>
                </a:lnTo>
                <a:lnTo>
                  <a:pt x="6874204" y="3163558"/>
                </a:lnTo>
                <a:lnTo>
                  <a:pt x="6870188" y="3164316"/>
                </a:lnTo>
                <a:lnTo>
                  <a:pt x="6864871" y="3162042"/>
                </a:lnTo>
                <a:lnTo>
                  <a:pt x="6862267" y="3162909"/>
                </a:lnTo>
                <a:lnTo>
                  <a:pt x="6858794" y="3161718"/>
                </a:lnTo>
                <a:lnTo>
                  <a:pt x="6857167" y="3156953"/>
                </a:lnTo>
                <a:lnTo>
                  <a:pt x="6858360" y="3148184"/>
                </a:lnTo>
                <a:lnTo>
                  <a:pt x="6860205" y="3148508"/>
                </a:lnTo>
                <a:lnTo>
                  <a:pt x="6859337" y="3143961"/>
                </a:lnTo>
                <a:lnTo>
                  <a:pt x="6853911" y="3140713"/>
                </a:lnTo>
                <a:lnTo>
                  <a:pt x="6850982" y="3137140"/>
                </a:lnTo>
                <a:lnTo>
                  <a:pt x="6847617" y="3136599"/>
                </a:lnTo>
                <a:lnTo>
                  <a:pt x="6845121" y="3131835"/>
                </a:lnTo>
                <a:lnTo>
                  <a:pt x="6846098" y="3127504"/>
                </a:lnTo>
                <a:lnTo>
                  <a:pt x="6849896" y="3123173"/>
                </a:lnTo>
                <a:lnTo>
                  <a:pt x="6849896" y="3118409"/>
                </a:lnTo>
                <a:lnTo>
                  <a:pt x="6847617" y="3114404"/>
                </a:lnTo>
                <a:lnTo>
                  <a:pt x="6848160" y="3112021"/>
                </a:lnTo>
                <a:lnTo>
                  <a:pt x="6843385" y="3110289"/>
                </a:lnTo>
                <a:lnTo>
                  <a:pt x="6838502" y="3111372"/>
                </a:lnTo>
                <a:lnTo>
                  <a:pt x="6836440" y="3114620"/>
                </a:lnTo>
                <a:lnTo>
                  <a:pt x="6831232" y="3117868"/>
                </a:lnTo>
                <a:lnTo>
                  <a:pt x="6831232" y="3120141"/>
                </a:lnTo>
                <a:lnTo>
                  <a:pt x="6834378" y="3122849"/>
                </a:lnTo>
                <a:lnTo>
                  <a:pt x="6835789" y="3130211"/>
                </a:lnTo>
                <a:lnTo>
                  <a:pt x="6834162" y="3136491"/>
                </a:lnTo>
                <a:lnTo>
                  <a:pt x="6829603" y="3143312"/>
                </a:lnTo>
                <a:lnTo>
                  <a:pt x="6831449" y="3145369"/>
                </a:lnTo>
                <a:lnTo>
                  <a:pt x="6832316" y="3152731"/>
                </a:lnTo>
                <a:lnTo>
                  <a:pt x="6831232" y="3160743"/>
                </a:lnTo>
                <a:lnTo>
                  <a:pt x="6828736" y="3164966"/>
                </a:lnTo>
                <a:lnTo>
                  <a:pt x="6829387" y="3171137"/>
                </a:lnTo>
                <a:lnTo>
                  <a:pt x="6832642" y="3173411"/>
                </a:lnTo>
                <a:lnTo>
                  <a:pt x="6833185" y="3178283"/>
                </a:lnTo>
                <a:lnTo>
                  <a:pt x="6832316" y="3181964"/>
                </a:lnTo>
                <a:lnTo>
                  <a:pt x="6829387" y="3179799"/>
                </a:lnTo>
                <a:lnTo>
                  <a:pt x="6825480" y="3180448"/>
                </a:lnTo>
                <a:lnTo>
                  <a:pt x="6820922" y="3179365"/>
                </a:lnTo>
                <a:lnTo>
                  <a:pt x="6818752" y="3181964"/>
                </a:lnTo>
                <a:lnTo>
                  <a:pt x="6813760" y="3182181"/>
                </a:lnTo>
                <a:lnTo>
                  <a:pt x="6810396" y="3180124"/>
                </a:lnTo>
                <a:lnTo>
                  <a:pt x="6807900" y="3180124"/>
                </a:lnTo>
                <a:lnTo>
                  <a:pt x="6807140" y="3172003"/>
                </a:lnTo>
                <a:lnTo>
                  <a:pt x="6807684" y="3161718"/>
                </a:lnTo>
                <a:lnTo>
                  <a:pt x="6811155" y="3156737"/>
                </a:lnTo>
                <a:lnTo>
                  <a:pt x="6812458" y="3150565"/>
                </a:lnTo>
                <a:lnTo>
                  <a:pt x="6814194" y="3147859"/>
                </a:lnTo>
                <a:lnTo>
                  <a:pt x="6810070" y="3136816"/>
                </a:lnTo>
                <a:lnTo>
                  <a:pt x="6808551" y="3130752"/>
                </a:lnTo>
                <a:lnTo>
                  <a:pt x="6806164" y="3129561"/>
                </a:lnTo>
                <a:lnTo>
                  <a:pt x="6803559" y="3131510"/>
                </a:lnTo>
                <a:lnTo>
                  <a:pt x="6799978" y="3131510"/>
                </a:lnTo>
                <a:lnTo>
                  <a:pt x="6798242" y="3132485"/>
                </a:lnTo>
                <a:lnTo>
                  <a:pt x="6795638" y="3128695"/>
                </a:lnTo>
                <a:lnTo>
                  <a:pt x="6792816" y="3120467"/>
                </a:lnTo>
                <a:lnTo>
                  <a:pt x="6794986" y="3117759"/>
                </a:lnTo>
                <a:lnTo>
                  <a:pt x="6794119" y="3115811"/>
                </a:lnTo>
                <a:lnTo>
                  <a:pt x="6795746" y="3109639"/>
                </a:lnTo>
                <a:lnTo>
                  <a:pt x="6801281" y="3105308"/>
                </a:lnTo>
                <a:lnTo>
                  <a:pt x="6801172" y="3099353"/>
                </a:lnTo>
                <a:lnTo>
                  <a:pt x="6804211" y="3097946"/>
                </a:lnTo>
                <a:lnTo>
                  <a:pt x="6804971" y="3093940"/>
                </a:lnTo>
                <a:lnTo>
                  <a:pt x="6806164" y="3091774"/>
                </a:lnTo>
                <a:lnTo>
                  <a:pt x="6804971" y="3081814"/>
                </a:lnTo>
                <a:lnTo>
                  <a:pt x="6806598" y="3078241"/>
                </a:lnTo>
                <a:lnTo>
                  <a:pt x="6805947" y="3072719"/>
                </a:lnTo>
                <a:lnTo>
                  <a:pt x="6806815" y="3068064"/>
                </a:lnTo>
                <a:lnTo>
                  <a:pt x="6810613" y="3066006"/>
                </a:lnTo>
                <a:lnTo>
                  <a:pt x="6813760" y="3062217"/>
                </a:lnTo>
                <a:lnTo>
                  <a:pt x="6816798" y="3061351"/>
                </a:lnTo>
                <a:lnTo>
                  <a:pt x="6818209" y="3064923"/>
                </a:lnTo>
                <a:lnTo>
                  <a:pt x="6820054" y="3067305"/>
                </a:lnTo>
                <a:lnTo>
                  <a:pt x="6819402" y="3062867"/>
                </a:lnTo>
                <a:lnTo>
                  <a:pt x="6817016" y="3057236"/>
                </a:lnTo>
                <a:lnTo>
                  <a:pt x="6818209" y="3054421"/>
                </a:lnTo>
                <a:lnTo>
                  <a:pt x="6818535" y="3046517"/>
                </a:lnTo>
                <a:lnTo>
                  <a:pt x="6817341" y="3042620"/>
                </a:lnTo>
                <a:lnTo>
                  <a:pt x="6817341" y="3035691"/>
                </a:lnTo>
                <a:lnTo>
                  <a:pt x="6823310" y="3030060"/>
                </a:lnTo>
                <a:lnTo>
                  <a:pt x="6822875" y="3028329"/>
                </a:lnTo>
                <a:lnTo>
                  <a:pt x="6825046" y="3025730"/>
                </a:lnTo>
                <a:lnTo>
                  <a:pt x="6830797" y="3024430"/>
                </a:lnTo>
                <a:lnTo>
                  <a:pt x="6836982" y="3026379"/>
                </a:lnTo>
                <a:lnTo>
                  <a:pt x="6840021" y="3023672"/>
                </a:lnTo>
                <a:lnTo>
                  <a:pt x="6842083" y="3019233"/>
                </a:lnTo>
                <a:lnTo>
                  <a:pt x="6845772" y="3016852"/>
                </a:lnTo>
                <a:lnTo>
                  <a:pt x="6845772" y="3011654"/>
                </a:lnTo>
                <a:lnTo>
                  <a:pt x="6850113" y="3011438"/>
                </a:lnTo>
                <a:lnTo>
                  <a:pt x="6857167" y="3012846"/>
                </a:lnTo>
                <a:lnTo>
                  <a:pt x="6861833" y="3017285"/>
                </a:lnTo>
                <a:lnTo>
                  <a:pt x="6865413" y="3019450"/>
                </a:lnTo>
                <a:lnTo>
                  <a:pt x="6868669" y="3017285"/>
                </a:lnTo>
                <a:lnTo>
                  <a:pt x="6874855" y="3018367"/>
                </a:lnTo>
                <a:lnTo>
                  <a:pt x="6879413" y="3019450"/>
                </a:lnTo>
                <a:lnTo>
                  <a:pt x="6883536" y="3019233"/>
                </a:lnTo>
                <a:lnTo>
                  <a:pt x="6887117" y="3019558"/>
                </a:lnTo>
                <a:lnTo>
                  <a:pt x="6891784" y="3023672"/>
                </a:lnTo>
                <a:lnTo>
                  <a:pt x="6893954" y="3023348"/>
                </a:lnTo>
                <a:lnTo>
                  <a:pt x="6895690" y="3020749"/>
                </a:lnTo>
                <a:lnTo>
                  <a:pt x="6905348" y="3021615"/>
                </a:lnTo>
                <a:lnTo>
                  <a:pt x="6916743" y="3023889"/>
                </a:lnTo>
                <a:lnTo>
                  <a:pt x="6922385" y="3022482"/>
                </a:lnTo>
                <a:lnTo>
                  <a:pt x="6924881" y="3018801"/>
                </a:lnTo>
                <a:lnTo>
                  <a:pt x="6928679" y="3018367"/>
                </a:lnTo>
                <a:lnTo>
                  <a:pt x="6933671" y="3014794"/>
                </a:lnTo>
                <a:lnTo>
                  <a:pt x="6933996" y="3012304"/>
                </a:lnTo>
                <a:lnTo>
                  <a:pt x="6937577" y="3009597"/>
                </a:lnTo>
                <a:lnTo>
                  <a:pt x="6938446" y="3004942"/>
                </a:lnTo>
                <a:close/>
                <a:moveTo>
                  <a:pt x="2353253" y="2997911"/>
                </a:moveTo>
                <a:lnTo>
                  <a:pt x="2355787" y="3004292"/>
                </a:lnTo>
                <a:lnTo>
                  <a:pt x="2356163" y="3008317"/>
                </a:lnTo>
                <a:lnTo>
                  <a:pt x="2356164" y="3008318"/>
                </a:lnTo>
                <a:lnTo>
                  <a:pt x="2355788" y="3004291"/>
                </a:lnTo>
                <a:close/>
                <a:moveTo>
                  <a:pt x="4372485" y="2995387"/>
                </a:moveTo>
                <a:lnTo>
                  <a:pt x="4372243" y="2996279"/>
                </a:lnTo>
                <a:lnTo>
                  <a:pt x="4371918" y="3001584"/>
                </a:lnTo>
                <a:lnTo>
                  <a:pt x="4368445" y="3006023"/>
                </a:lnTo>
                <a:lnTo>
                  <a:pt x="4367843" y="3012535"/>
                </a:lnTo>
                <a:lnTo>
                  <a:pt x="4368445" y="3006024"/>
                </a:lnTo>
                <a:lnTo>
                  <a:pt x="4371918" y="3001584"/>
                </a:lnTo>
                <a:lnTo>
                  <a:pt x="4372243" y="2996279"/>
                </a:lnTo>
                <a:close/>
                <a:moveTo>
                  <a:pt x="4320264" y="2992491"/>
                </a:moveTo>
                <a:lnTo>
                  <a:pt x="4320914" y="2993897"/>
                </a:lnTo>
                <a:lnTo>
                  <a:pt x="4320915" y="2993897"/>
                </a:lnTo>
                <a:lnTo>
                  <a:pt x="4320265" y="2992491"/>
                </a:lnTo>
                <a:close/>
                <a:moveTo>
                  <a:pt x="6387615" y="2991732"/>
                </a:moveTo>
                <a:lnTo>
                  <a:pt x="6391956" y="2996604"/>
                </a:lnTo>
                <a:lnTo>
                  <a:pt x="6387615" y="3001477"/>
                </a:lnTo>
                <a:lnTo>
                  <a:pt x="6383274" y="3002126"/>
                </a:lnTo>
                <a:lnTo>
                  <a:pt x="6380670" y="2994980"/>
                </a:lnTo>
                <a:lnTo>
                  <a:pt x="6384793" y="2994222"/>
                </a:lnTo>
                <a:close/>
                <a:moveTo>
                  <a:pt x="2613426" y="2991360"/>
                </a:moveTo>
                <a:lnTo>
                  <a:pt x="2613949" y="2991732"/>
                </a:lnTo>
                <a:lnTo>
                  <a:pt x="2615200" y="2992066"/>
                </a:lnTo>
                <a:lnTo>
                  <a:pt x="2614274" y="2991407"/>
                </a:lnTo>
                <a:close/>
                <a:moveTo>
                  <a:pt x="6280293" y="2990109"/>
                </a:moveTo>
                <a:lnTo>
                  <a:pt x="6282355" y="2993141"/>
                </a:lnTo>
                <a:lnTo>
                  <a:pt x="6276820" y="2991300"/>
                </a:lnTo>
                <a:close/>
                <a:moveTo>
                  <a:pt x="2598105" y="2989891"/>
                </a:moveTo>
                <a:lnTo>
                  <a:pt x="2596892" y="2989947"/>
                </a:lnTo>
                <a:lnTo>
                  <a:pt x="2598105" y="2991298"/>
                </a:lnTo>
                <a:lnTo>
                  <a:pt x="2599218" y="2991132"/>
                </a:lnTo>
                <a:close/>
                <a:moveTo>
                  <a:pt x="2343633" y="2989350"/>
                </a:moveTo>
                <a:lnTo>
                  <a:pt x="2342769" y="2989576"/>
                </a:lnTo>
                <a:lnTo>
                  <a:pt x="2343417" y="2991407"/>
                </a:lnTo>
                <a:lnTo>
                  <a:pt x="2347431" y="2996279"/>
                </a:lnTo>
                <a:lnTo>
                  <a:pt x="2348408" y="3001585"/>
                </a:lnTo>
                <a:lnTo>
                  <a:pt x="2348408" y="3008081"/>
                </a:lnTo>
                <a:lnTo>
                  <a:pt x="2349740" y="3007920"/>
                </a:lnTo>
                <a:lnTo>
                  <a:pt x="2349819" y="3003100"/>
                </a:lnTo>
                <a:lnTo>
                  <a:pt x="2348843" y="2997903"/>
                </a:lnTo>
                <a:lnTo>
                  <a:pt x="2344936" y="2993031"/>
                </a:lnTo>
                <a:close/>
                <a:moveTo>
                  <a:pt x="7018967" y="2988485"/>
                </a:moveTo>
                <a:lnTo>
                  <a:pt x="7018424" y="2992274"/>
                </a:lnTo>
                <a:lnTo>
                  <a:pt x="7014734" y="2996389"/>
                </a:lnTo>
                <a:lnTo>
                  <a:pt x="7015602" y="2998987"/>
                </a:lnTo>
                <a:lnTo>
                  <a:pt x="7019726" y="3000611"/>
                </a:lnTo>
                <a:lnTo>
                  <a:pt x="7019726" y="3007866"/>
                </a:lnTo>
                <a:lnTo>
                  <a:pt x="7017881" y="3013929"/>
                </a:lnTo>
                <a:lnTo>
                  <a:pt x="7014083" y="3014037"/>
                </a:lnTo>
                <a:lnTo>
                  <a:pt x="7010610" y="3017502"/>
                </a:lnTo>
                <a:lnTo>
                  <a:pt x="7012672" y="3021399"/>
                </a:lnTo>
                <a:lnTo>
                  <a:pt x="7015494" y="3020966"/>
                </a:lnTo>
                <a:lnTo>
                  <a:pt x="7017013" y="3017177"/>
                </a:lnTo>
                <a:lnTo>
                  <a:pt x="7021137" y="3015228"/>
                </a:lnTo>
                <a:lnTo>
                  <a:pt x="7023198" y="3012846"/>
                </a:lnTo>
                <a:lnTo>
                  <a:pt x="7020811" y="3012738"/>
                </a:lnTo>
                <a:lnTo>
                  <a:pt x="7021354" y="3009382"/>
                </a:lnTo>
                <a:lnTo>
                  <a:pt x="7028516" y="3005808"/>
                </a:lnTo>
                <a:lnTo>
                  <a:pt x="7036112" y="3003101"/>
                </a:lnTo>
                <a:lnTo>
                  <a:pt x="7038933" y="3006025"/>
                </a:lnTo>
                <a:lnTo>
                  <a:pt x="7039258" y="3009382"/>
                </a:lnTo>
                <a:lnTo>
                  <a:pt x="7035569" y="3017827"/>
                </a:lnTo>
                <a:lnTo>
                  <a:pt x="7026996" y="3020750"/>
                </a:lnTo>
                <a:lnTo>
                  <a:pt x="7023850" y="3024431"/>
                </a:lnTo>
                <a:lnTo>
                  <a:pt x="7025803" y="3027679"/>
                </a:lnTo>
                <a:lnTo>
                  <a:pt x="7028949" y="3028004"/>
                </a:lnTo>
                <a:lnTo>
                  <a:pt x="7034918" y="3032227"/>
                </a:lnTo>
                <a:lnTo>
                  <a:pt x="7035786" y="3035691"/>
                </a:lnTo>
                <a:lnTo>
                  <a:pt x="7038065" y="3037640"/>
                </a:lnTo>
                <a:lnTo>
                  <a:pt x="7033399" y="3037964"/>
                </a:lnTo>
                <a:lnTo>
                  <a:pt x="7030143" y="3035366"/>
                </a:lnTo>
                <a:lnTo>
                  <a:pt x="7023850" y="3035258"/>
                </a:lnTo>
                <a:lnTo>
                  <a:pt x="7018424" y="3033525"/>
                </a:lnTo>
                <a:lnTo>
                  <a:pt x="7014951" y="3034717"/>
                </a:lnTo>
                <a:lnTo>
                  <a:pt x="7014951" y="3043595"/>
                </a:lnTo>
                <a:lnTo>
                  <a:pt x="7018967" y="3051390"/>
                </a:lnTo>
                <a:lnTo>
                  <a:pt x="7020811" y="3058104"/>
                </a:lnTo>
                <a:lnTo>
                  <a:pt x="7026996" y="3063517"/>
                </a:lnTo>
                <a:lnTo>
                  <a:pt x="7028407" y="3065790"/>
                </a:lnTo>
                <a:lnTo>
                  <a:pt x="7026454" y="3066549"/>
                </a:lnTo>
                <a:lnTo>
                  <a:pt x="7026128" y="3069363"/>
                </a:lnTo>
                <a:lnTo>
                  <a:pt x="7025152" y="3065574"/>
                </a:lnTo>
                <a:lnTo>
                  <a:pt x="7021028" y="3063950"/>
                </a:lnTo>
                <a:lnTo>
                  <a:pt x="7017231" y="3056154"/>
                </a:lnTo>
                <a:lnTo>
                  <a:pt x="7012130" y="3053123"/>
                </a:lnTo>
                <a:lnTo>
                  <a:pt x="7009091" y="3047709"/>
                </a:lnTo>
                <a:lnTo>
                  <a:pt x="7010936" y="3042729"/>
                </a:lnTo>
                <a:lnTo>
                  <a:pt x="7010177" y="3040022"/>
                </a:lnTo>
                <a:lnTo>
                  <a:pt x="7010827" y="3037099"/>
                </a:lnTo>
                <a:lnTo>
                  <a:pt x="7006161" y="3033309"/>
                </a:lnTo>
                <a:lnTo>
                  <a:pt x="7007030" y="3028545"/>
                </a:lnTo>
                <a:lnTo>
                  <a:pt x="7008874" y="3025405"/>
                </a:lnTo>
                <a:lnTo>
                  <a:pt x="7006161" y="3020425"/>
                </a:lnTo>
                <a:lnTo>
                  <a:pt x="7003774" y="3017285"/>
                </a:lnTo>
                <a:lnTo>
                  <a:pt x="7005293" y="3011330"/>
                </a:lnTo>
                <a:lnTo>
                  <a:pt x="7008223" y="3009056"/>
                </a:lnTo>
                <a:lnTo>
                  <a:pt x="7007681" y="3003101"/>
                </a:lnTo>
                <a:lnTo>
                  <a:pt x="7009309" y="2996172"/>
                </a:lnTo>
                <a:lnTo>
                  <a:pt x="7016471" y="2989134"/>
                </a:lnTo>
                <a:close/>
                <a:moveTo>
                  <a:pt x="2676275" y="2986649"/>
                </a:moveTo>
                <a:lnTo>
                  <a:pt x="2676779" y="2988159"/>
                </a:lnTo>
                <a:lnTo>
                  <a:pt x="2678516" y="2988917"/>
                </a:lnTo>
                <a:lnTo>
                  <a:pt x="2678516" y="2995197"/>
                </a:lnTo>
                <a:lnTo>
                  <a:pt x="2681338" y="2996171"/>
                </a:lnTo>
                <a:lnTo>
                  <a:pt x="2681395" y="2996129"/>
                </a:lnTo>
                <a:lnTo>
                  <a:pt x="2680577" y="2995847"/>
                </a:lnTo>
                <a:lnTo>
                  <a:pt x="2680360" y="2989567"/>
                </a:lnTo>
                <a:lnTo>
                  <a:pt x="2678624" y="2988809"/>
                </a:lnTo>
                <a:lnTo>
                  <a:pt x="2677973" y="2986861"/>
                </a:lnTo>
                <a:close/>
                <a:moveTo>
                  <a:pt x="4208708" y="2985995"/>
                </a:moveTo>
                <a:lnTo>
                  <a:pt x="4208708" y="2986102"/>
                </a:lnTo>
                <a:lnTo>
                  <a:pt x="4208708" y="3014469"/>
                </a:lnTo>
                <a:lnTo>
                  <a:pt x="4208708" y="3014469"/>
                </a:lnTo>
                <a:lnTo>
                  <a:pt x="4208708" y="2986102"/>
                </a:lnTo>
                <a:lnTo>
                  <a:pt x="4208709" y="2986101"/>
                </a:lnTo>
                <a:lnTo>
                  <a:pt x="4208709" y="2985995"/>
                </a:lnTo>
                <a:close/>
                <a:moveTo>
                  <a:pt x="4252983" y="2985669"/>
                </a:moveTo>
                <a:lnTo>
                  <a:pt x="4251789" y="2990542"/>
                </a:lnTo>
                <a:lnTo>
                  <a:pt x="4253417" y="2995089"/>
                </a:lnTo>
                <a:lnTo>
                  <a:pt x="4253417" y="2995088"/>
                </a:lnTo>
                <a:lnTo>
                  <a:pt x="4251790" y="2990540"/>
                </a:lnTo>
                <a:lnTo>
                  <a:pt x="4252984" y="2985669"/>
                </a:lnTo>
                <a:close/>
                <a:moveTo>
                  <a:pt x="7030035" y="2983937"/>
                </a:moveTo>
                <a:lnTo>
                  <a:pt x="7033181" y="2985994"/>
                </a:lnTo>
                <a:lnTo>
                  <a:pt x="7034593" y="2989675"/>
                </a:lnTo>
                <a:lnTo>
                  <a:pt x="7031120" y="2993032"/>
                </a:lnTo>
                <a:lnTo>
                  <a:pt x="7027538" y="2992707"/>
                </a:lnTo>
                <a:lnTo>
                  <a:pt x="7024826" y="2995089"/>
                </a:lnTo>
                <a:lnTo>
                  <a:pt x="7023415" y="2987510"/>
                </a:lnTo>
                <a:lnTo>
                  <a:pt x="7026996" y="2986210"/>
                </a:lnTo>
                <a:close/>
                <a:moveTo>
                  <a:pt x="4242023" y="2983071"/>
                </a:moveTo>
                <a:lnTo>
                  <a:pt x="4242457" y="2984154"/>
                </a:lnTo>
                <a:lnTo>
                  <a:pt x="4248535" y="2984587"/>
                </a:lnTo>
                <a:lnTo>
                  <a:pt x="4242458" y="2984153"/>
                </a:lnTo>
                <a:lnTo>
                  <a:pt x="4242024" y="2983071"/>
                </a:lnTo>
                <a:close/>
                <a:moveTo>
                  <a:pt x="4225095" y="2982638"/>
                </a:moveTo>
                <a:lnTo>
                  <a:pt x="4232583" y="2983071"/>
                </a:lnTo>
                <a:lnTo>
                  <a:pt x="4233591" y="2983423"/>
                </a:lnTo>
                <a:lnTo>
                  <a:pt x="4232583" y="2983071"/>
                </a:lnTo>
                <a:close/>
                <a:moveTo>
                  <a:pt x="6621795" y="2981988"/>
                </a:moveTo>
                <a:lnTo>
                  <a:pt x="6622988" y="2984261"/>
                </a:lnTo>
                <a:lnTo>
                  <a:pt x="6619082" y="2985885"/>
                </a:lnTo>
                <a:close/>
                <a:moveTo>
                  <a:pt x="6623856" y="2980797"/>
                </a:moveTo>
                <a:lnTo>
                  <a:pt x="6626460" y="2982962"/>
                </a:lnTo>
                <a:lnTo>
                  <a:pt x="6623856" y="2984045"/>
                </a:lnTo>
                <a:lnTo>
                  <a:pt x="6622879" y="2981988"/>
                </a:lnTo>
                <a:close/>
                <a:moveTo>
                  <a:pt x="2752307" y="2979931"/>
                </a:moveTo>
                <a:lnTo>
                  <a:pt x="2755020" y="2981880"/>
                </a:lnTo>
                <a:lnTo>
                  <a:pt x="2758492" y="2988051"/>
                </a:lnTo>
                <a:lnTo>
                  <a:pt x="2758492" y="2991299"/>
                </a:lnTo>
                <a:lnTo>
                  <a:pt x="2755888" y="2991299"/>
                </a:lnTo>
                <a:lnTo>
                  <a:pt x="2753501" y="2987726"/>
                </a:lnTo>
                <a:lnTo>
                  <a:pt x="2751656" y="2981663"/>
                </a:lnTo>
                <a:close/>
                <a:moveTo>
                  <a:pt x="2346181" y="2978302"/>
                </a:moveTo>
                <a:lnTo>
                  <a:pt x="2347106" y="2978848"/>
                </a:lnTo>
                <a:lnTo>
                  <a:pt x="2347757" y="2980061"/>
                </a:lnTo>
                <a:lnTo>
                  <a:pt x="2347106" y="2978847"/>
                </a:lnTo>
                <a:close/>
                <a:moveTo>
                  <a:pt x="2601188" y="2977182"/>
                </a:moveTo>
                <a:lnTo>
                  <a:pt x="2601686" y="2977764"/>
                </a:lnTo>
                <a:lnTo>
                  <a:pt x="2602233" y="2981218"/>
                </a:lnTo>
                <a:lnTo>
                  <a:pt x="2601687" y="2977765"/>
                </a:lnTo>
                <a:close/>
                <a:moveTo>
                  <a:pt x="6623421" y="2976141"/>
                </a:moveTo>
                <a:lnTo>
                  <a:pt x="6623421" y="2976357"/>
                </a:lnTo>
                <a:lnTo>
                  <a:pt x="6623205" y="2980147"/>
                </a:lnTo>
                <a:lnTo>
                  <a:pt x="6622337" y="2980580"/>
                </a:lnTo>
                <a:lnTo>
                  <a:pt x="6621794" y="2979172"/>
                </a:lnTo>
                <a:close/>
                <a:moveTo>
                  <a:pt x="6629173" y="2975492"/>
                </a:moveTo>
                <a:lnTo>
                  <a:pt x="6630692" y="2981013"/>
                </a:lnTo>
                <a:lnTo>
                  <a:pt x="6627653" y="2982529"/>
                </a:lnTo>
                <a:lnTo>
                  <a:pt x="6624290" y="2979065"/>
                </a:lnTo>
                <a:lnTo>
                  <a:pt x="6624290" y="2976682"/>
                </a:lnTo>
                <a:lnTo>
                  <a:pt x="6625700" y="2976358"/>
                </a:lnTo>
                <a:lnTo>
                  <a:pt x="6625918" y="2976358"/>
                </a:lnTo>
                <a:close/>
                <a:moveTo>
                  <a:pt x="4783304" y="2974517"/>
                </a:moveTo>
                <a:lnTo>
                  <a:pt x="4782012" y="2976349"/>
                </a:lnTo>
                <a:lnTo>
                  <a:pt x="4783305" y="2974517"/>
                </a:lnTo>
                <a:close/>
                <a:moveTo>
                  <a:pt x="2416491" y="2974491"/>
                </a:moveTo>
                <a:lnTo>
                  <a:pt x="2416340" y="2975274"/>
                </a:lnTo>
                <a:lnTo>
                  <a:pt x="2427300" y="2978956"/>
                </a:lnTo>
                <a:lnTo>
                  <a:pt x="2434896" y="2978090"/>
                </a:lnTo>
                <a:lnTo>
                  <a:pt x="2441298" y="2979367"/>
                </a:lnTo>
                <a:lnTo>
                  <a:pt x="2441298" y="2978306"/>
                </a:lnTo>
                <a:lnTo>
                  <a:pt x="2433702" y="2976790"/>
                </a:lnTo>
                <a:lnTo>
                  <a:pt x="2426106" y="2977657"/>
                </a:lnTo>
                <a:close/>
                <a:moveTo>
                  <a:pt x="2665385" y="2973110"/>
                </a:moveTo>
                <a:lnTo>
                  <a:pt x="2659634" y="2977007"/>
                </a:lnTo>
                <a:lnTo>
                  <a:pt x="2658440" y="2976790"/>
                </a:lnTo>
                <a:lnTo>
                  <a:pt x="2656404" y="2976316"/>
                </a:lnTo>
                <a:lnTo>
                  <a:pt x="2657246" y="2978523"/>
                </a:lnTo>
                <a:lnTo>
                  <a:pt x="2658766" y="2982421"/>
                </a:lnTo>
                <a:lnTo>
                  <a:pt x="2660068" y="2983504"/>
                </a:lnTo>
                <a:lnTo>
                  <a:pt x="2660068" y="2985885"/>
                </a:lnTo>
                <a:lnTo>
                  <a:pt x="2663324" y="2989567"/>
                </a:lnTo>
                <a:lnTo>
                  <a:pt x="2665198" y="2989911"/>
                </a:lnTo>
                <a:lnTo>
                  <a:pt x="2662021" y="2986319"/>
                </a:lnTo>
                <a:lnTo>
                  <a:pt x="2662021" y="2984045"/>
                </a:lnTo>
                <a:lnTo>
                  <a:pt x="2660719" y="2982854"/>
                </a:lnTo>
                <a:lnTo>
                  <a:pt x="2659308" y="2978957"/>
                </a:lnTo>
                <a:lnTo>
                  <a:pt x="2658440" y="2976791"/>
                </a:lnTo>
                <a:lnTo>
                  <a:pt x="2659634" y="2977008"/>
                </a:lnTo>
                <a:close/>
                <a:moveTo>
                  <a:pt x="2342658" y="2972568"/>
                </a:moveTo>
                <a:lnTo>
                  <a:pt x="2340378" y="2974192"/>
                </a:lnTo>
                <a:lnTo>
                  <a:pt x="2339145" y="2973833"/>
                </a:lnTo>
                <a:lnTo>
                  <a:pt x="2340378" y="2974192"/>
                </a:lnTo>
                <a:lnTo>
                  <a:pt x="2342657" y="2972568"/>
                </a:lnTo>
                <a:lnTo>
                  <a:pt x="2343379" y="2973288"/>
                </a:lnTo>
                <a:close/>
                <a:moveTo>
                  <a:pt x="2648938" y="2971619"/>
                </a:moveTo>
                <a:lnTo>
                  <a:pt x="2653123" y="2975600"/>
                </a:lnTo>
                <a:lnTo>
                  <a:pt x="2655156" y="2976005"/>
                </a:lnTo>
                <a:lnTo>
                  <a:pt x="2650519" y="2971702"/>
                </a:lnTo>
                <a:close/>
                <a:moveTo>
                  <a:pt x="6244266" y="2970295"/>
                </a:moveTo>
                <a:lnTo>
                  <a:pt x="6247846" y="2972893"/>
                </a:lnTo>
                <a:lnTo>
                  <a:pt x="6251102" y="2977332"/>
                </a:lnTo>
                <a:lnTo>
                  <a:pt x="6245568" y="2978090"/>
                </a:lnTo>
                <a:lnTo>
                  <a:pt x="6241010" y="2975275"/>
                </a:lnTo>
                <a:lnTo>
                  <a:pt x="6242312" y="2972352"/>
                </a:lnTo>
                <a:close/>
                <a:moveTo>
                  <a:pt x="6496565" y="2968779"/>
                </a:moveTo>
                <a:lnTo>
                  <a:pt x="6499061" y="2971269"/>
                </a:lnTo>
                <a:lnTo>
                  <a:pt x="6496565" y="2972676"/>
                </a:lnTo>
                <a:close/>
                <a:moveTo>
                  <a:pt x="2339158" y="2966172"/>
                </a:moveTo>
                <a:lnTo>
                  <a:pt x="2337123" y="2969861"/>
                </a:lnTo>
                <a:lnTo>
                  <a:pt x="2337123" y="2969861"/>
                </a:lnTo>
                <a:close/>
                <a:moveTo>
                  <a:pt x="6485063" y="2964665"/>
                </a:moveTo>
                <a:lnTo>
                  <a:pt x="6488862" y="2966181"/>
                </a:lnTo>
                <a:lnTo>
                  <a:pt x="6484195" y="2971161"/>
                </a:lnTo>
                <a:lnTo>
                  <a:pt x="6481590" y="2969537"/>
                </a:lnTo>
                <a:lnTo>
                  <a:pt x="6482133" y="2965422"/>
                </a:lnTo>
                <a:close/>
                <a:moveTo>
                  <a:pt x="4386401" y="2963570"/>
                </a:moveTo>
                <a:lnTo>
                  <a:pt x="4382986" y="2965313"/>
                </a:lnTo>
                <a:lnTo>
                  <a:pt x="4381901" y="2969644"/>
                </a:lnTo>
                <a:lnTo>
                  <a:pt x="4376747" y="2976249"/>
                </a:lnTo>
                <a:lnTo>
                  <a:pt x="4381901" y="2969645"/>
                </a:lnTo>
                <a:lnTo>
                  <a:pt x="4382987" y="2965314"/>
                </a:lnTo>
                <a:close/>
                <a:moveTo>
                  <a:pt x="4772676" y="2962065"/>
                </a:moveTo>
                <a:lnTo>
                  <a:pt x="4774406" y="2963690"/>
                </a:lnTo>
                <a:lnTo>
                  <a:pt x="4775608" y="2966710"/>
                </a:lnTo>
                <a:lnTo>
                  <a:pt x="4774407" y="2963690"/>
                </a:lnTo>
                <a:close/>
                <a:moveTo>
                  <a:pt x="6497108" y="2960984"/>
                </a:moveTo>
                <a:lnTo>
                  <a:pt x="6498845" y="2964232"/>
                </a:lnTo>
                <a:lnTo>
                  <a:pt x="6495698" y="2963799"/>
                </a:lnTo>
                <a:close/>
                <a:moveTo>
                  <a:pt x="4338234" y="2959609"/>
                </a:moveTo>
                <a:lnTo>
                  <a:pt x="4327643" y="2977115"/>
                </a:lnTo>
                <a:lnTo>
                  <a:pt x="4327643" y="2977116"/>
                </a:lnTo>
                <a:lnTo>
                  <a:pt x="4327119" y="2978059"/>
                </a:lnTo>
                <a:lnTo>
                  <a:pt x="4327131" y="2978037"/>
                </a:lnTo>
                <a:lnTo>
                  <a:pt x="4327644" y="2977117"/>
                </a:lnTo>
                <a:lnTo>
                  <a:pt x="4337578" y="2960700"/>
                </a:lnTo>
                <a:close/>
                <a:moveTo>
                  <a:pt x="6765145" y="2956437"/>
                </a:moveTo>
                <a:lnTo>
                  <a:pt x="6767424" y="2957736"/>
                </a:lnTo>
                <a:lnTo>
                  <a:pt x="6767424" y="2961958"/>
                </a:lnTo>
                <a:lnTo>
                  <a:pt x="6765796" y="2961417"/>
                </a:lnTo>
                <a:close/>
                <a:moveTo>
                  <a:pt x="2669183" y="2955029"/>
                </a:moveTo>
                <a:lnTo>
                  <a:pt x="2665386" y="2958709"/>
                </a:lnTo>
                <a:lnTo>
                  <a:pt x="2665386" y="2958710"/>
                </a:lnTo>
                <a:close/>
                <a:moveTo>
                  <a:pt x="6496131" y="2954596"/>
                </a:moveTo>
                <a:lnTo>
                  <a:pt x="6499061" y="2956003"/>
                </a:lnTo>
                <a:lnTo>
                  <a:pt x="6496565" y="2958818"/>
                </a:lnTo>
                <a:close/>
                <a:moveTo>
                  <a:pt x="2590834" y="2954378"/>
                </a:moveTo>
                <a:lnTo>
                  <a:pt x="2592679" y="2955894"/>
                </a:lnTo>
                <a:lnTo>
                  <a:pt x="2593547" y="2959358"/>
                </a:lnTo>
                <a:lnTo>
                  <a:pt x="2595501" y="2966613"/>
                </a:lnTo>
                <a:lnTo>
                  <a:pt x="2593547" y="2959359"/>
                </a:lnTo>
                <a:lnTo>
                  <a:pt x="2592679" y="2955894"/>
                </a:lnTo>
                <a:close/>
                <a:moveTo>
                  <a:pt x="4387435" y="2953295"/>
                </a:moveTo>
                <a:lnTo>
                  <a:pt x="4387652" y="2962931"/>
                </a:lnTo>
                <a:lnTo>
                  <a:pt x="4387653" y="2962931"/>
                </a:lnTo>
                <a:close/>
                <a:moveTo>
                  <a:pt x="6770245" y="2951565"/>
                </a:moveTo>
                <a:lnTo>
                  <a:pt x="6768943" y="2953731"/>
                </a:lnTo>
                <a:lnTo>
                  <a:pt x="6765362" y="2952756"/>
                </a:lnTo>
                <a:close/>
                <a:moveTo>
                  <a:pt x="4683164" y="2950980"/>
                </a:moveTo>
                <a:lnTo>
                  <a:pt x="4683143" y="2951022"/>
                </a:lnTo>
                <a:lnTo>
                  <a:pt x="4681950" y="2955461"/>
                </a:lnTo>
                <a:lnTo>
                  <a:pt x="4679562" y="2958601"/>
                </a:lnTo>
                <a:lnTo>
                  <a:pt x="4679562" y="2965314"/>
                </a:lnTo>
                <a:lnTo>
                  <a:pt x="4678152" y="2973434"/>
                </a:lnTo>
                <a:lnTo>
                  <a:pt x="4677609" y="2979497"/>
                </a:lnTo>
                <a:lnTo>
                  <a:pt x="4680322" y="2981446"/>
                </a:lnTo>
                <a:lnTo>
                  <a:pt x="4682601" y="2984478"/>
                </a:lnTo>
                <a:lnTo>
                  <a:pt x="4684445" y="2988484"/>
                </a:lnTo>
                <a:lnTo>
                  <a:pt x="4684012" y="2991190"/>
                </a:lnTo>
                <a:lnTo>
                  <a:pt x="4671749" y="3007431"/>
                </a:lnTo>
                <a:lnTo>
                  <a:pt x="4664153" y="3015876"/>
                </a:lnTo>
                <a:lnTo>
                  <a:pt x="4662091" y="3019449"/>
                </a:lnTo>
                <a:lnTo>
                  <a:pt x="4652759" y="3036123"/>
                </a:lnTo>
                <a:lnTo>
                  <a:pt x="4651023" y="3039046"/>
                </a:lnTo>
                <a:lnTo>
                  <a:pt x="4650914" y="3045217"/>
                </a:lnTo>
                <a:lnTo>
                  <a:pt x="4650154" y="3053987"/>
                </a:lnTo>
                <a:lnTo>
                  <a:pt x="4647116" y="3062649"/>
                </a:lnTo>
                <a:lnTo>
                  <a:pt x="4647767" y="3068171"/>
                </a:lnTo>
                <a:lnTo>
                  <a:pt x="4647767" y="3068170"/>
                </a:lnTo>
                <a:lnTo>
                  <a:pt x="4647116" y="3062649"/>
                </a:lnTo>
                <a:lnTo>
                  <a:pt x="4650155" y="3053987"/>
                </a:lnTo>
                <a:lnTo>
                  <a:pt x="4650914" y="3045217"/>
                </a:lnTo>
                <a:lnTo>
                  <a:pt x="4651023" y="3039046"/>
                </a:lnTo>
                <a:lnTo>
                  <a:pt x="4652759" y="3036123"/>
                </a:lnTo>
                <a:lnTo>
                  <a:pt x="4662091" y="3019449"/>
                </a:lnTo>
                <a:lnTo>
                  <a:pt x="4664153" y="3015876"/>
                </a:lnTo>
                <a:lnTo>
                  <a:pt x="4671750" y="3007431"/>
                </a:lnTo>
                <a:lnTo>
                  <a:pt x="4684012" y="2991190"/>
                </a:lnTo>
                <a:lnTo>
                  <a:pt x="4684446" y="2988484"/>
                </a:lnTo>
                <a:lnTo>
                  <a:pt x="4682601" y="2984478"/>
                </a:lnTo>
                <a:lnTo>
                  <a:pt x="4680323" y="2981446"/>
                </a:lnTo>
                <a:lnTo>
                  <a:pt x="4677609" y="2979497"/>
                </a:lnTo>
                <a:lnTo>
                  <a:pt x="4678152" y="2973434"/>
                </a:lnTo>
                <a:lnTo>
                  <a:pt x="4679563" y="2965314"/>
                </a:lnTo>
                <a:lnTo>
                  <a:pt x="4679563" y="2958601"/>
                </a:lnTo>
                <a:lnTo>
                  <a:pt x="4681950" y="2955461"/>
                </a:lnTo>
                <a:lnTo>
                  <a:pt x="4683144" y="2951022"/>
                </a:lnTo>
                <a:lnTo>
                  <a:pt x="4683165" y="2950980"/>
                </a:lnTo>
                <a:close/>
                <a:moveTo>
                  <a:pt x="4768058" y="2950968"/>
                </a:moveTo>
                <a:lnTo>
                  <a:pt x="4768872" y="2953621"/>
                </a:lnTo>
                <a:lnTo>
                  <a:pt x="4768872" y="2953620"/>
                </a:lnTo>
                <a:close/>
                <a:moveTo>
                  <a:pt x="6955809" y="2948966"/>
                </a:moveTo>
                <a:lnTo>
                  <a:pt x="6960693" y="2954380"/>
                </a:lnTo>
                <a:lnTo>
                  <a:pt x="6962213" y="2959360"/>
                </a:lnTo>
                <a:lnTo>
                  <a:pt x="6960151" y="2961850"/>
                </a:lnTo>
                <a:lnTo>
                  <a:pt x="6955809" y="2958060"/>
                </a:lnTo>
                <a:lnTo>
                  <a:pt x="6954941" y="2951997"/>
                </a:lnTo>
                <a:close/>
                <a:moveTo>
                  <a:pt x="4878474" y="2948857"/>
                </a:moveTo>
                <a:lnTo>
                  <a:pt x="4882706" y="2950373"/>
                </a:lnTo>
                <a:lnTo>
                  <a:pt x="4886070" y="2950373"/>
                </a:lnTo>
                <a:lnTo>
                  <a:pt x="4890844" y="2950048"/>
                </a:lnTo>
                <a:lnTo>
                  <a:pt x="4890845" y="2950048"/>
                </a:lnTo>
                <a:lnTo>
                  <a:pt x="4886071" y="2950372"/>
                </a:lnTo>
                <a:lnTo>
                  <a:pt x="4882707" y="2950372"/>
                </a:lnTo>
                <a:lnTo>
                  <a:pt x="4878474" y="2948857"/>
                </a:lnTo>
                <a:close/>
                <a:moveTo>
                  <a:pt x="2584365" y="2948222"/>
                </a:moveTo>
                <a:lnTo>
                  <a:pt x="2584757" y="2948748"/>
                </a:lnTo>
                <a:lnTo>
                  <a:pt x="2584975" y="2951780"/>
                </a:lnTo>
                <a:lnTo>
                  <a:pt x="2584758" y="2948749"/>
                </a:lnTo>
                <a:close/>
                <a:moveTo>
                  <a:pt x="4866754" y="2947449"/>
                </a:moveTo>
                <a:lnTo>
                  <a:pt x="4871962" y="2949832"/>
                </a:lnTo>
                <a:lnTo>
                  <a:pt x="4876640" y="2949131"/>
                </a:lnTo>
                <a:lnTo>
                  <a:pt x="4871963" y="2949831"/>
                </a:lnTo>
                <a:lnTo>
                  <a:pt x="4866755" y="2947449"/>
                </a:lnTo>
                <a:close/>
                <a:moveTo>
                  <a:pt x="4764531" y="2943551"/>
                </a:moveTo>
                <a:lnTo>
                  <a:pt x="4764097" y="2947666"/>
                </a:lnTo>
                <a:lnTo>
                  <a:pt x="4765919" y="2948042"/>
                </a:lnTo>
                <a:lnTo>
                  <a:pt x="4764098" y="2947665"/>
                </a:lnTo>
                <a:close/>
                <a:moveTo>
                  <a:pt x="6985433" y="2943445"/>
                </a:moveTo>
                <a:lnTo>
                  <a:pt x="6988037" y="2944094"/>
                </a:lnTo>
                <a:lnTo>
                  <a:pt x="6989556" y="2948534"/>
                </a:lnTo>
                <a:lnTo>
                  <a:pt x="6987712" y="2948534"/>
                </a:lnTo>
                <a:close/>
                <a:moveTo>
                  <a:pt x="4149350" y="2943119"/>
                </a:moveTo>
                <a:lnTo>
                  <a:pt x="4150977" y="2944743"/>
                </a:lnTo>
                <a:lnTo>
                  <a:pt x="4151412" y="2951564"/>
                </a:lnTo>
                <a:lnTo>
                  <a:pt x="4148048" y="2960875"/>
                </a:lnTo>
                <a:lnTo>
                  <a:pt x="4143382" y="2960117"/>
                </a:lnTo>
                <a:lnTo>
                  <a:pt x="4138933" y="2957735"/>
                </a:lnTo>
                <a:lnTo>
                  <a:pt x="4139258" y="2954055"/>
                </a:lnTo>
                <a:lnTo>
                  <a:pt x="4142405" y="2953838"/>
                </a:lnTo>
                <a:lnTo>
                  <a:pt x="4144250" y="2948316"/>
                </a:lnTo>
                <a:close/>
                <a:moveTo>
                  <a:pt x="6767423" y="2940845"/>
                </a:moveTo>
                <a:lnTo>
                  <a:pt x="6768725" y="2943335"/>
                </a:lnTo>
                <a:lnTo>
                  <a:pt x="6766338" y="2942252"/>
                </a:lnTo>
                <a:close/>
                <a:moveTo>
                  <a:pt x="4947597" y="2940087"/>
                </a:moveTo>
                <a:lnTo>
                  <a:pt x="4925353" y="2961200"/>
                </a:lnTo>
                <a:lnTo>
                  <a:pt x="4924918" y="3055611"/>
                </a:lnTo>
                <a:lnTo>
                  <a:pt x="4924919" y="3055612"/>
                </a:lnTo>
                <a:lnTo>
                  <a:pt x="4925353" y="2961200"/>
                </a:lnTo>
                <a:lnTo>
                  <a:pt x="4947599" y="2940087"/>
                </a:lnTo>
                <a:close/>
                <a:moveTo>
                  <a:pt x="4386784" y="2940087"/>
                </a:moveTo>
                <a:lnTo>
                  <a:pt x="4386430" y="2941000"/>
                </a:lnTo>
                <a:lnTo>
                  <a:pt x="4385482" y="2943443"/>
                </a:lnTo>
                <a:lnTo>
                  <a:pt x="4385479" y="2943498"/>
                </a:lnTo>
                <a:lnTo>
                  <a:pt x="4385482" y="2943443"/>
                </a:lnTo>
                <a:lnTo>
                  <a:pt x="4386430" y="2941000"/>
                </a:lnTo>
                <a:lnTo>
                  <a:pt x="4386784" y="2940087"/>
                </a:lnTo>
                <a:close/>
                <a:moveTo>
                  <a:pt x="4948141" y="2939871"/>
                </a:moveTo>
                <a:lnTo>
                  <a:pt x="4947276" y="2940086"/>
                </a:lnTo>
                <a:lnTo>
                  <a:pt x="4947277" y="2940086"/>
                </a:lnTo>
                <a:close/>
                <a:moveTo>
                  <a:pt x="4670242" y="2939810"/>
                </a:moveTo>
                <a:lnTo>
                  <a:pt x="4671206" y="2942035"/>
                </a:lnTo>
                <a:lnTo>
                  <a:pt x="4672726" y="2943876"/>
                </a:lnTo>
                <a:lnTo>
                  <a:pt x="4673377" y="2945608"/>
                </a:lnTo>
                <a:lnTo>
                  <a:pt x="4672726" y="2943876"/>
                </a:lnTo>
                <a:lnTo>
                  <a:pt x="4671207" y="2942035"/>
                </a:lnTo>
                <a:close/>
                <a:moveTo>
                  <a:pt x="2409287" y="2939449"/>
                </a:moveTo>
                <a:lnTo>
                  <a:pt x="2410155" y="2941061"/>
                </a:lnTo>
                <a:lnTo>
                  <a:pt x="2415146" y="2942902"/>
                </a:lnTo>
                <a:lnTo>
                  <a:pt x="2419595" y="2947151"/>
                </a:lnTo>
                <a:lnTo>
                  <a:pt x="2419161" y="2946042"/>
                </a:lnTo>
                <a:lnTo>
                  <a:pt x="2413952" y="2941170"/>
                </a:lnTo>
                <a:close/>
                <a:moveTo>
                  <a:pt x="2338208" y="2938517"/>
                </a:moveTo>
                <a:lnTo>
                  <a:pt x="2339510" y="2940412"/>
                </a:lnTo>
                <a:lnTo>
                  <a:pt x="2339615" y="2943016"/>
                </a:lnTo>
                <a:lnTo>
                  <a:pt x="2339510" y="2940411"/>
                </a:lnTo>
                <a:close/>
                <a:moveTo>
                  <a:pt x="2724047" y="2938472"/>
                </a:moveTo>
                <a:lnTo>
                  <a:pt x="2723959" y="2938588"/>
                </a:lnTo>
                <a:lnTo>
                  <a:pt x="2723984" y="2938571"/>
                </a:lnTo>
                <a:close/>
                <a:moveTo>
                  <a:pt x="6767533" y="2938247"/>
                </a:moveTo>
                <a:lnTo>
                  <a:pt x="6772633" y="2940087"/>
                </a:lnTo>
                <a:lnTo>
                  <a:pt x="6772742" y="2941711"/>
                </a:lnTo>
                <a:lnTo>
                  <a:pt x="6768726" y="2941603"/>
                </a:lnTo>
                <a:lnTo>
                  <a:pt x="6767424" y="2939221"/>
                </a:lnTo>
                <a:close/>
                <a:moveTo>
                  <a:pt x="2537444" y="2938029"/>
                </a:moveTo>
                <a:lnTo>
                  <a:pt x="2537010" y="2938060"/>
                </a:lnTo>
                <a:lnTo>
                  <a:pt x="2537010" y="2939221"/>
                </a:lnTo>
                <a:lnTo>
                  <a:pt x="2532670" y="2944526"/>
                </a:lnTo>
                <a:lnTo>
                  <a:pt x="2531150" y="2951022"/>
                </a:lnTo>
                <a:lnTo>
                  <a:pt x="2526484" y="2959143"/>
                </a:lnTo>
                <a:lnTo>
                  <a:pt x="2526484" y="2964339"/>
                </a:lnTo>
                <a:lnTo>
                  <a:pt x="2524748" y="2967804"/>
                </a:lnTo>
                <a:lnTo>
                  <a:pt x="2524096" y="2972135"/>
                </a:lnTo>
                <a:lnTo>
                  <a:pt x="2525291" y="2974517"/>
                </a:lnTo>
                <a:lnTo>
                  <a:pt x="2524205" y="2977765"/>
                </a:lnTo>
                <a:lnTo>
                  <a:pt x="2524205" y="2982637"/>
                </a:lnTo>
                <a:lnTo>
                  <a:pt x="2528546" y="2987077"/>
                </a:lnTo>
                <a:lnTo>
                  <a:pt x="2533755" y="2992273"/>
                </a:lnTo>
                <a:lnTo>
                  <a:pt x="2533755" y="2995738"/>
                </a:lnTo>
                <a:lnTo>
                  <a:pt x="2537227" y="3000069"/>
                </a:lnTo>
                <a:lnTo>
                  <a:pt x="2546668" y="3008189"/>
                </a:lnTo>
                <a:lnTo>
                  <a:pt x="2547334" y="3008455"/>
                </a:lnTo>
                <a:lnTo>
                  <a:pt x="2538855" y="3001259"/>
                </a:lnTo>
                <a:lnTo>
                  <a:pt x="2535382" y="2996928"/>
                </a:lnTo>
                <a:lnTo>
                  <a:pt x="2535165" y="2993464"/>
                </a:lnTo>
                <a:lnTo>
                  <a:pt x="2530065" y="2988375"/>
                </a:lnTo>
                <a:lnTo>
                  <a:pt x="2525724" y="2983936"/>
                </a:lnTo>
                <a:lnTo>
                  <a:pt x="2525182" y="2979064"/>
                </a:lnTo>
                <a:lnTo>
                  <a:pt x="2526267" y="2975815"/>
                </a:lnTo>
                <a:lnTo>
                  <a:pt x="2525073" y="2973434"/>
                </a:lnTo>
                <a:lnTo>
                  <a:pt x="2525724" y="2969103"/>
                </a:lnTo>
                <a:lnTo>
                  <a:pt x="2527460" y="2965638"/>
                </a:lnTo>
                <a:lnTo>
                  <a:pt x="2527135" y="2960550"/>
                </a:lnTo>
                <a:lnTo>
                  <a:pt x="2531801" y="2952429"/>
                </a:lnTo>
                <a:lnTo>
                  <a:pt x="2533320" y="2945824"/>
                </a:lnTo>
                <a:lnTo>
                  <a:pt x="2537552" y="2940520"/>
                </a:lnTo>
                <a:close/>
                <a:moveTo>
                  <a:pt x="6760043" y="2934348"/>
                </a:moveTo>
                <a:lnTo>
                  <a:pt x="6753316" y="2934565"/>
                </a:lnTo>
                <a:lnTo>
                  <a:pt x="6753317" y="2934566"/>
                </a:lnTo>
                <a:lnTo>
                  <a:pt x="6760045" y="2934349"/>
                </a:lnTo>
                <a:close/>
                <a:moveTo>
                  <a:pt x="6542903" y="2933916"/>
                </a:moveTo>
                <a:lnTo>
                  <a:pt x="6548329" y="2941169"/>
                </a:lnTo>
                <a:lnTo>
                  <a:pt x="6546376" y="2947882"/>
                </a:lnTo>
                <a:lnTo>
                  <a:pt x="6542794" y="2947882"/>
                </a:lnTo>
                <a:lnTo>
                  <a:pt x="6543771" y="2944201"/>
                </a:lnTo>
                <a:lnTo>
                  <a:pt x="6541167" y="2944201"/>
                </a:lnTo>
                <a:lnTo>
                  <a:pt x="6536392" y="2939654"/>
                </a:lnTo>
                <a:lnTo>
                  <a:pt x="6538779" y="2936298"/>
                </a:lnTo>
                <a:close/>
                <a:moveTo>
                  <a:pt x="6731012" y="2932430"/>
                </a:moveTo>
                <a:lnTo>
                  <a:pt x="6732699" y="2933158"/>
                </a:lnTo>
                <a:lnTo>
                  <a:pt x="6740187" y="2932509"/>
                </a:lnTo>
                <a:lnTo>
                  <a:pt x="6750712" y="2932616"/>
                </a:lnTo>
                <a:lnTo>
                  <a:pt x="6750711" y="2932616"/>
                </a:lnTo>
                <a:lnTo>
                  <a:pt x="6740184" y="2932508"/>
                </a:lnTo>
                <a:lnTo>
                  <a:pt x="6732697" y="2933157"/>
                </a:lnTo>
                <a:close/>
                <a:moveTo>
                  <a:pt x="4921881" y="2932291"/>
                </a:moveTo>
                <a:lnTo>
                  <a:pt x="4925353" y="2934024"/>
                </a:lnTo>
                <a:lnTo>
                  <a:pt x="4928174" y="2939220"/>
                </a:lnTo>
                <a:lnTo>
                  <a:pt x="4932297" y="2941494"/>
                </a:lnTo>
                <a:lnTo>
                  <a:pt x="4937649" y="2940594"/>
                </a:lnTo>
                <a:lnTo>
                  <a:pt x="4932299" y="2941494"/>
                </a:lnTo>
                <a:lnTo>
                  <a:pt x="4928175" y="2939220"/>
                </a:lnTo>
                <a:lnTo>
                  <a:pt x="4925354" y="2934024"/>
                </a:lnTo>
                <a:lnTo>
                  <a:pt x="4921882" y="2932291"/>
                </a:lnTo>
                <a:close/>
                <a:moveTo>
                  <a:pt x="4964962" y="2931642"/>
                </a:moveTo>
                <a:lnTo>
                  <a:pt x="4957909" y="2932724"/>
                </a:lnTo>
                <a:lnTo>
                  <a:pt x="4957908" y="2932725"/>
                </a:lnTo>
                <a:lnTo>
                  <a:pt x="4964961" y="2931642"/>
                </a:lnTo>
                <a:close/>
                <a:moveTo>
                  <a:pt x="6728681" y="2931425"/>
                </a:moveTo>
                <a:lnTo>
                  <a:pt x="6723690" y="2937488"/>
                </a:lnTo>
                <a:lnTo>
                  <a:pt x="6724015" y="2940520"/>
                </a:lnTo>
                <a:lnTo>
                  <a:pt x="6721628" y="2944742"/>
                </a:lnTo>
                <a:lnTo>
                  <a:pt x="6721628" y="2948315"/>
                </a:lnTo>
                <a:lnTo>
                  <a:pt x="6716419" y="2966721"/>
                </a:lnTo>
                <a:lnTo>
                  <a:pt x="6709257" y="2977548"/>
                </a:lnTo>
                <a:lnTo>
                  <a:pt x="6705459" y="2987617"/>
                </a:lnTo>
                <a:lnTo>
                  <a:pt x="6695909" y="3001909"/>
                </a:lnTo>
                <a:lnTo>
                  <a:pt x="6696669" y="3005590"/>
                </a:lnTo>
                <a:lnTo>
                  <a:pt x="6685275" y="3007214"/>
                </a:lnTo>
                <a:lnTo>
                  <a:pt x="6675400" y="3012627"/>
                </a:lnTo>
                <a:lnTo>
                  <a:pt x="6669758" y="3012736"/>
                </a:lnTo>
                <a:lnTo>
                  <a:pt x="6669759" y="3012737"/>
                </a:lnTo>
                <a:lnTo>
                  <a:pt x="6675403" y="3012629"/>
                </a:lnTo>
                <a:lnTo>
                  <a:pt x="6685278" y="3007215"/>
                </a:lnTo>
                <a:lnTo>
                  <a:pt x="6696672" y="3005592"/>
                </a:lnTo>
                <a:lnTo>
                  <a:pt x="6695912" y="3001910"/>
                </a:lnTo>
                <a:lnTo>
                  <a:pt x="6705461" y="2987619"/>
                </a:lnTo>
                <a:lnTo>
                  <a:pt x="6709260" y="2977549"/>
                </a:lnTo>
                <a:lnTo>
                  <a:pt x="6716422" y="2966723"/>
                </a:lnTo>
                <a:lnTo>
                  <a:pt x="6721631" y="2948316"/>
                </a:lnTo>
                <a:lnTo>
                  <a:pt x="6721631" y="2944743"/>
                </a:lnTo>
                <a:lnTo>
                  <a:pt x="6724018" y="2940520"/>
                </a:lnTo>
                <a:lnTo>
                  <a:pt x="6723692" y="2937489"/>
                </a:lnTo>
                <a:lnTo>
                  <a:pt x="6728684" y="2931426"/>
                </a:lnTo>
                <a:close/>
                <a:moveTo>
                  <a:pt x="4384506" y="2930235"/>
                </a:moveTo>
                <a:lnTo>
                  <a:pt x="4384506" y="2932942"/>
                </a:lnTo>
                <a:lnTo>
                  <a:pt x="4388304" y="2938030"/>
                </a:lnTo>
                <a:lnTo>
                  <a:pt x="4388304" y="2938029"/>
                </a:lnTo>
                <a:lnTo>
                  <a:pt x="4384506" y="2932941"/>
                </a:lnTo>
                <a:lnTo>
                  <a:pt x="4384506" y="2930235"/>
                </a:lnTo>
                <a:close/>
                <a:moveTo>
                  <a:pt x="6987280" y="2930127"/>
                </a:moveTo>
                <a:lnTo>
                  <a:pt x="6990426" y="2932184"/>
                </a:lnTo>
                <a:lnTo>
                  <a:pt x="6991620" y="2936731"/>
                </a:lnTo>
                <a:lnTo>
                  <a:pt x="6989667" y="2940845"/>
                </a:lnTo>
                <a:lnTo>
                  <a:pt x="6987280" y="2941928"/>
                </a:lnTo>
                <a:lnTo>
                  <a:pt x="6986737" y="2937489"/>
                </a:lnTo>
                <a:lnTo>
                  <a:pt x="6985000" y="2931643"/>
                </a:lnTo>
                <a:close/>
                <a:moveTo>
                  <a:pt x="4473706" y="2928394"/>
                </a:moveTo>
                <a:lnTo>
                  <a:pt x="4474140" y="2930992"/>
                </a:lnTo>
                <a:lnTo>
                  <a:pt x="4476636" y="2933049"/>
                </a:lnTo>
                <a:lnTo>
                  <a:pt x="4475768" y="2934997"/>
                </a:lnTo>
                <a:lnTo>
                  <a:pt x="4476636" y="2933049"/>
                </a:lnTo>
                <a:lnTo>
                  <a:pt x="4474141" y="2930991"/>
                </a:lnTo>
                <a:close/>
                <a:moveTo>
                  <a:pt x="6690376" y="2928178"/>
                </a:moveTo>
                <a:lnTo>
                  <a:pt x="6694499" y="2935215"/>
                </a:lnTo>
                <a:lnTo>
                  <a:pt x="6697361" y="2937406"/>
                </a:lnTo>
                <a:lnTo>
                  <a:pt x="6694500" y="2935215"/>
                </a:lnTo>
                <a:close/>
                <a:moveTo>
                  <a:pt x="2337045" y="2927893"/>
                </a:moveTo>
                <a:lnTo>
                  <a:pt x="2336689" y="2929043"/>
                </a:lnTo>
                <a:lnTo>
                  <a:pt x="2336689" y="2929043"/>
                </a:lnTo>
                <a:close/>
                <a:moveTo>
                  <a:pt x="4655655" y="2926341"/>
                </a:moveTo>
                <a:lnTo>
                  <a:pt x="4656665" y="2928393"/>
                </a:lnTo>
                <a:lnTo>
                  <a:pt x="4659378" y="2931533"/>
                </a:lnTo>
                <a:lnTo>
                  <a:pt x="4660680" y="2933590"/>
                </a:lnTo>
                <a:lnTo>
                  <a:pt x="4659378" y="2931533"/>
                </a:lnTo>
                <a:lnTo>
                  <a:pt x="4656665" y="2928394"/>
                </a:lnTo>
                <a:close/>
                <a:moveTo>
                  <a:pt x="4830956" y="2925851"/>
                </a:moveTo>
                <a:lnTo>
                  <a:pt x="4834633" y="2928177"/>
                </a:lnTo>
                <a:lnTo>
                  <a:pt x="4844725" y="2937705"/>
                </a:lnTo>
                <a:lnTo>
                  <a:pt x="4850585" y="2941711"/>
                </a:lnTo>
                <a:lnTo>
                  <a:pt x="4854492" y="2946258"/>
                </a:lnTo>
                <a:lnTo>
                  <a:pt x="4858290" y="2947449"/>
                </a:lnTo>
                <a:lnTo>
                  <a:pt x="4858291" y="2947449"/>
                </a:lnTo>
                <a:lnTo>
                  <a:pt x="4854493" y="2946258"/>
                </a:lnTo>
                <a:lnTo>
                  <a:pt x="4850586" y="2941711"/>
                </a:lnTo>
                <a:lnTo>
                  <a:pt x="4844726" y="2937704"/>
                </a:lnTo>
                <a:lnTo>
                  <a:pt x="4834634" y="2928177"/>
                </a:lnTo>
                <a:close/>
                <a:moveTo>
                  <a:pt x="4389715" y="2925795"/>
                </a:moveTo>
                <a:lnTo>
                  <a:pt x="4389714" y="2925796"/>
                </a:lnTo>
                <a:lnTo>
                  <a:pt x="4389714" y="2928394"/>
                </a:lnTo>
                <a:lnTo>
                  <a:pt x="4389715" y="2928393"/>
                </a:lnTo>
                <a:close/>
                <a:moveTo>
                  <a:pt x="4608126" y="2925644"/>
                </a:moveTo>
                <a:lnTo>
                  <a:pt x="4608375" y="2925903"/>
                </a:lnTo>
                <a:lnTo>
                  <a:pt x="4608376" y="2925903"/>
                </a:lnTo>
                <a:close/>
                <a:moveTo>
                  <a:pt x="4975922" y="2925470"/>
                </a:moveTo>
                <a:lnTo>
                  <a:pt x="4972536" y="2927435"/>
                </a:lnTo>
                <a:lnTo>
                  <a:pt x="4975922" y="2925471"/>
                </a:lnTo>
                <a:close/>
                <a:moveTo>
                  <a:pt x="2659591" y="2923041"/>
                </a:moveTo>
                <a:lnTo>
                  <a:pt x="2659851" y="2923738"/>
                </a:lnTo>
                <a:lnTo>
                  <a:pt x="2659540" y="2926838"/>
                </a:lnTo>
                <a:lnTo>
                  <a:pt x="2659851" y="2923739"/>
                </a:lnTo>
                <a:close/>
                <a:moveTo>
                  <a:pt x="4601911" y="2921093"/>
                </a:moveTo>
                <a:lnTo>
                  <a:pt x="4602841" y="2922222"/>
                </a:lnTo>
                <a:lnTo>
                  <a:pt x="4601912" y="2921094"/>
                </a:lnTo>
                <a:close/>
                <a:moveTo>
                  <a:pt x="6808226" y="2919841"/>
                </a:moveTo>
                <a:lnTo>
                  <a:pt x="6809420" y="2923306"/>
                </a:lnTo>
                <a:lnTo>
                  <a:pt x="6809420" y="2927095"/>
                </a:lnTo>
                <a:lnTo>
                  <a:pt x="6807358" y="2922765"/>
                </a:lnTo>
                <a:close/>
                <a:moveTo>
                  <a:pt x="4392428" y="2919732"/>
                </a:moveTo>
                <a:lnTo>
                  <a:pt x="4392427" y="2919733"/>
                </a:lnTo>
                <a:lnTo>
                  <a:pt x="4391884" y="2923089"/>
                </a:lnTo>
                <a:lnTo>
                  <a:pt x="4391136" y="2924022"/>
                </a:lnTo>
                <a:lnTo>
                  <a:pt x="4391885" y="2923088"/>
                </a:lnTo>
                <a:close/>
                <a:moveTo>
                  <a:pt x="4987967" y="2917242"/>
                </a:moveTo>
                <a:lnTo>
                  <a:pt x="4983844" y="2917567"/>
                </a:lnTo>
                <a:lnTo>
                  <a:pt x="4983843" y="2917567"/>
                </a:lnTo>
                <a:lnTo>
                  <a:pt x="4987967" y="2917242"/>
                </a:lnTo>
                <a:close/>
                <a:moveTo>
                  <a:pt x="2524639" y="2915296"/>
                </a:moveTo>
                <a:lnTo>
                  <a:pt x="2524639" y="2920057"/>
                </a:lnTo>
                <a:lnTo>
                  <a:pt x="2521709" y="2924713"/>
                </a:lnTo>
                <a:lnTo>
                  <a:pt x="2519648" y="2927636"/>
                </a:lnTo>
                <a:lnTo>
                  <a:pt x="2521042" y="2928331"/>
                </a:lnTo>
                <a:lnTo>
                  <a:pt x="2522143" y="2926769"/>
                </a:lnTo>
                <a:lnTo>
                  <a:pt x="2525073" y="2922114"/>
                </a:lnTo>
                <a:lnTo>
                  <a:pt x="2525073" y="2915834"/>
                </a:lnTo>
                <a:close/>
                <a:moveTo>
                  <a:pt x="4151931" y="2915264"/>
                </a:moveTo>
                <a:lnTo>
                  <a:pt x="4146095" y="2922005"/>
                </a:lnTo>
                <a:lnTo>
                  <a:pt x="4146095" y="2922006"/>
                </a:lnTo>
                <a:close/>
                <a:moveTo>
                  <a:pt x="4598750" y="2914851"/>
                </a:moveTo>
                <a:lnTo>
                  <a:pt x="4598717" y="2915184"/>
                </a:lnTo>
                <a:lnTo>
                  <a:pt x="4598717" y="2915184"/>
                </a:lnTo>
                <a:lnTo>
                  <a:pt x="4598751" y="2914852"/>
                </a:lnTo>
                <a:close/>
                <a:moveTo>
                  <a:pt x="5007393" y="2913777"/>
                </a:moveTo>
                <a:lnTo>
                  <a:pt x="4992526" y="2914426"/>
                </a:lnTo>
                <a:lnTo>
                  <a:pt x="4992525" y="2914427"/>
                </a:lnTo>
                <a:lnTo>
                  <a:pt x="5007391" y="2913778"/>
                </a:lnTo>
                <a:lnTo>
                  <a:pt x="5022041" y="2914210"/>
                </a:lnTo>
                <a:lnTo>
                  <a:pt x="5022042" y="2914210"/>
                </a:lnTo>
                <a:close/>
                <a:moveTo>
                  <a:pt x="4154776" y="2908905"/>
                </a:moveTo>
                <a:lnTo>
                  <a:pt x="4153707" y="2911456"/>
                </a:lnTo>
                <a:lnTo>
                  <a:pt x="4154776" y="2908906"/>
                </a:lnTo>
                <a:close/>
                <a:moveTo>
                  <a:pt x="4547227" y="2908062"/>
                </a:moveTo>
                <a:lnTo>
                  <a:pt x="4547063" y="2909447"/>
                </a:lnTo>
                <a:lnTo>
                  <a:pt x="4548040" y="2911071"/>
                </a:lnTo>
                <a:lnTo>
                  <a:pt x="4548040" y="2911070"/>
                </a:lnTo>
                <a:lnTo>
                  <a:pt x="4547063" y="2909446"/>
                </a:lnTo>
                <a:close/>
                <a:moveTo>
                  <a:pt x="6828193" y="2907714"/>
                </a:moveTo>
                <a:lnTo>
                  <a:pt x="6828627" y="2911287"/>
                </a:lnTo>
                <a:lnTo>
                  <a:pt x="6823093" y="2915184"/>
                </a:lnTo>
                <a:lnTo>
                  <a:pt x="6817884" y="2916375"/>
                </a:lnTo>
                <a:lnTo>
                  <a:pt x="6816581" y="2914860"/>
                </a:lnTo>
                <a:lnTo>
                  <a:pt x="6824503" y="2908363"/>
                </a:lnTo>
                <a:close/>
                <a:moveTo>
                  <a:pt x="4798388" y="2906523"/>
                </a:moveTo>
                <a:lnTo>
                  <a:pt x="4798388" y="2920923"/>
                </a:lnTo>
                <a:lnTo>
                  <a:pt x="4802512" y="2925471"/>
                </a:lnTo>
                <a:lnTo>
                  <a:pt x="4807178" y="2926445"/>
                </a:lnTo>
                <a:lnTo>
                  <a:pt x="4812604" y="2924604"/>
                </a:lnTo>
                <a:lnTo>
                  <a:pt x="4818573" y="2926120"/>
                </a:lnTo>
                <a:lnTo>
                  <a:pt x="4823988" y="2925766"/>
                </a:lnTo>
                <a:lnTo>
                  <a:pt x="4818573" y="2926120"/>
                </a:lnTo>
                <a:lnTo>
                  <a:pt x="4812605" y="2924604"/>
                </a:lnTo>
                <a:lnTo>
                  <a:pt x="4807178" y="2926444"/>
                </a:lnTo>
                <a:lnTo>
                  <a:pt x="4802512" y="2925470"/>
                </a:lnTo>
                <a:lnTo>
                  <a:pt x="4798389" y="2920922"/>
                </a:lnTo>
                <a:lnTo>
                  <a:pt x="4798389" y="2906523"/>
                </a:lnTo>
                <a:close/>
                <a:moveTo>
                  <a:pt x="2345045" y="2906414"/>
                </a:moveTo>
                <a:lnTo>
                  <a:pt x="2339294" y="2908147"/>
                </a:lnTo>
                <a:lnTo>
                  <a:pt x="2339294" y="2908147"/>
                </a:lnTo>
                <a:lnTo>
                  <a:pt x="2345044" y="2906415"/>
                </a:lnTo>
                <a:close/>
                <a:moveTo>
                  <a:pt x="4786214" y="2903880"/>
                </a:moveTo>
                <a:lnTo>
                  <a:pt x="4785693" y="2904465"/>
                </a:lnTo>
                <a:lnTo>
                  <a:pt x="4785693" y="2904465"/>
                </a:lnTo>
                <a:close/>
                <a:moveTo>
                  <a:pt x="2346564" y="2903491"/>
                </a:moveTo>
                <a:lnTo>
                  <a:pt x="2345762" y="2905034"/>
                </a:lnTo>
                <a:lnTo>
                  <a:pt x="2346564" y="2903492"/>
                </a:lnTo>
                <a:close/>
                <a:moveTo>
                  <a:pt x="6345944" y="2902626"/>
                </a:moveTo>
                <a:lnTo>
                  <a:pt x="6348006" y="2903168"/>
                </a:lnTo>
                <a:lnTo>
                  <a:pt x="6350503" y="2906524"/>
                </a:lnTo>
                <a:lnTo>
                  <a:pt x="6351370" y="2909772"/>
                </a:lnTo>
                <a:lnTo>
                  <a:pt x="6349417" y="2911071"/>
                </a:lnTo>
                <a:lnTo>
                  <a:pt x="6346921" y="2907606"/>
                </a:lnTo>
                <a:close/>
                <a:moveTo>
                  <a:pt x="4787429" y="2902517"/>
                </a:moveTo>
                <a:lnTo>
                  <a:pt x="4787429" y="2902517"/>
                </a:lnTo>
                <a:lnTo>
                  <a:pt x="4790033" y="2906956"/>
                </a:lnTo>
                <a:lnTo>
                  <a:pt x="4794699" y="2905982"/>
                </a:lnTo>
                <a:lnTo>
                  <a:pt x="4796696" y="2906275"/>
                </a:lnTo>
                <a:lnTo>
                  <a:pt x="4794699" y="2905981"/>
                </a:lnTo>
                <a:lnTo>
                  <a:pt x="4790033" y="2906955"/>
                </a:lnTo>
                <a:close/>
                <a:moveTo>
                  <a:pt x="6233956" y="2901544"/>
                </a:moveTo>
                <a:lnTo>
                  <a:pt x="6243831" y="2902951"/>
                </a:lnTo>
                <a:lnTo>
                  <a:pt x="6254792" y="2910531"/>
                </a:lnTo>
                <a:lnTo>
                  <a:pt x="6258264" y="2912695"/>
                </a:lnTo>
                <a:lnTo>
                  <a:pt x="6265317" y="2910855"/>
                </a:lnTo>
                <a:lnTo>
                  <a:pt x="6271395" y="2911072"/>
                </a:lnTo>
                <a:lnTo>
                  <a:pt x="6273999" y="2912695"/>
                </a:lnTo>
                <a:lnTo>
                  <a:pt x="6277255" y="2911505"/>
                </a:lnTo>
                <a:lnTo>
                  <a:pt x="6282246" y="2911505"/>
                </a:lnTo>
                <a:lnTo>
                  <a:pt x="6287780" y="2913562"/>
                </a:lnTo>
                <a:lnTo>
                  <a:pt x="6291253" y="2919733"/>
                </a:lnTo>
                <a:lnTo>
                  <a:pt x="6293206" y="2920491"/>
                </a:lnTo>
                <a:lnTo>
                  <a:pt x="6296028" y="2926338"/>
                </a:lnTo>
                <a:lnTo>
                  <a:pt x="6300803" y="2928828"/>
                </a:lnTo>
                <a:lnTo>
                  <a:pt x="6302104" y="2936407"/>
                </a:lnTo>
                <a:lnTo>
                  <a:pt x="6303624" y="2940088"/>
                </a:lnTo>
                <a:lnTo>
                  <a:pt x="6309266" y="2940955"/>
                </a:lnTo>
                <a:lnTo>
                  <a:pt x="6314910" y="2947234"/>
                </a:lnTo>
                <a:lnTo>
                  <a:pt x="6319576" y="2947775"/>
                </a:lnTo>
                <a:lnTo>
                  <a:pt x="6333358" y="2956870"/>
                </a:lnTo>
                <a:lnTo>
                  <a:pt x="6335311" y="2960118"/>
                </a:lnTo>
                <a:lnTo>
                  <a:pt x="6340411" y="2961201"/>
                </a:lnTo>
                <a:lnTo>
                  <a:pt x="6344752" y="2966723"/>
                </a:lnTo>
                <a:lnTo>
                  <a:pt x="6345078" y="2973761"/>
                </a:lnTo>
                <a:lnTo>
                  <a:pt x="6347573" y="2977225"/>
                </a:lnTo>
                <a:lnTo>
                  <a:pt x="6350828" y="2973977"/>
                </a:lnTo>
                <a:lnTo>
                  <a:pt x="6352240" y="2980257"/>
                </a:lnTo>
                <a:lnTo>
                  <a:pt x="6354953" y="2982206"/>
                </a:lnTo>
                <a:lnTo>
                  <a:pt x="6356146" y="2979932"/>
                </a:lnTo>
                <a:lnTo>
                  <a:pt x="6361789" y="2980257"/>
                </a:lnTo>
                <a:lnTo>
                  <a:pt x="6370796" y="2985237"/>
                </a:lnTo>
                <a:lnTo>
                  <a:pt x="6377633" y="2992166"/>
                </a:lnTo>
                <a:lnTo>
                  <a:pt x="6378826" y="3000936"/>
                </a:lnTo>
                <a:lnTo>
                  <a:pt x="6382624" y="3003968"/>
                </a:lnTo>
                <a:lnTo>
                  <a:pt x="6385771" y="3002993"/>
                </a:lnTo>
                <a:lnTo>
                  <a:pt x="6389027" y="3003751"/>
                </a:lnTo>
                <a:lnTo>
                  <a:pt x="6399119" y="3013604"/>
                </a:lnTo>
                <a:lnTo>
                  <a:pt x="6399878" y="3019775"/>
                </a:lnTo>
                <a:lnTo>
                  <a:pt x="6399878" y="3022915"/>
                </a:lnTo>
                <a:lnTo>
                  <a:pt x="6405847" y="3027895"/>
                </a:lnTo>
                <a:lnTo>
                  <a:pt x="6414203" y="3027571"/>
                </a:lnTo>
                <a:lnTo>
                  <a:pt x="6419629" y="3030169"/>
                </a:lnTo>
                <a:lnTo>
                  <a:pt x="6420714" y="3033201"/>
                </a:lnTo>
                <a:lnTo>
                  <a:pt x="6418434" y="3036449"/>
                </a:lnTo>
                <a:lnTo>
                  <a:pt x="6416156" y="3037099"/>
                </a:lnTo>
                <a:lnTo>
                  <a:pt x="6413877" y="3039156"/>
                </a:lnTo>
                <a:lnTo>
                  <a:pt x="6410513" y="3039914"/>
                </a:lnTo>
                <a:lnTo>
                  <a:pt x="6416481" y="3039481"/>
                </a:lnTo>
                <a:lnTo>
                  <a:pt x="6421473" y="3036449"/>
                </a:lnTo>
                <a:lnTo>
                  <a:pt x="6427008" y="3032767"/>
                </a:lnTo>
                <a:lnTo>
                  <a:pt x="6431131" y="3033309"/>
                </a:lnTo>
                <a:lnTo>
                  <a:pt x="6438511" y="3041430"/>
                </a:lnTo>
                <a:lnTo>
                  <a:pt x="6439921" y="3046301"/>
                </a:lnTo>
                <a:lnTo>
                  <a:pt x="6432759" y="3047493"/>
                </a:lnTo>
                <a:lnTo>
                  <a:pt x="6427116" y="3051715"/>
                </a:lnTo>
                <a:lnTo>
                  <a:pt x="6423427" y="3055072"/>
                </a:lnTo>
                <a:lnTo>
                  <a:pt x="6428635" y="3053123"/>
                </a:lnTo>
                <a:lnTo>
                  <a:pt x="6431456" y="3054313"/>
                </a:lnTo>
                <a:lnTo>
                  <a:pt x="6436666" y="3053448"/>
                </a:lnTo>
                <a:lnTo>
                  <a:pt x="6440247" y="3055397"/>
                </a:lnTo>
                <a:lnTo>
                  <a:pt x="6434712" y="3058536"/>
                </a:lnTo>
                <a:lnTo>
                  <a:pt x="6429829" y="3060701"/>
                </a:lnTo>
                <a:lnTo>
                  <a:pt x="6429720" y="3064707"/>
                </a:lnTo>
                <a:lnTo>
                  <a:pt x="6437751" y="3070229"/>
                </a:lnTo>
                <a:lnTo>
                  <a:pt x="6447083" y="3070338"/>
                </a:lnTo>
                <a:lnTo>
                  <a:pt x="6449579" y="3072611"/>
                </a:lnTo>
                <a:lnTo>
                  <a:pt x="6455222" y="3070338"/>
                </a:lnTo>
                <a:lnTo>
                  <a:pt x="6455872" y="3082031"/>
                </a:lnTo>
                <a:lnTo>
                  <a:pt x="6457826" y="3087228"/>
                </a:lnTo>
                <a:lnTo>
                  <a:pt x="6455548" y="3091884"/>
                </a:lnTo>
                <a:lnTo>
                  <a:pt x="6458694" y="3089935"/>
                </a:lnTo>
                <a:lnTo>
                  <a:pt x="6462167" y="3094590"/>
                </a:lnTo>
                <a:lnTo>
                  <a:pt x="6462818" y="3101628"/>
                </a:lnTo>
                <a:lnTo>
                  <a:pt x="6467484" y="3102386"/>
                </a:lnTo>
                <a:lnTo>
                  <a:pt x="6474646" y="3101412"/>
                </a:lnTo>
                <a:lnTo>
                  <a:pt x="6479204" y="3103360"/>
                </a:lnTo>
                <a:lnTo>
                  <a:pt x="6480506" y="3107150"/>
                </a:lnTo>
                <a:lnTo>
                  <a:pt x="6483437" y="3108666"/>
                </a:lnTo>
                <a:lnTo>
                  <a:pt x="6485390" y="3114188"/>
                </a:lnTo>
                <a:lnTo>
                  <a:pt x="6489622" y="3117652"/>
                </a:lnTo>
                <a:lnTo>
                  <a:pt x="6493311" y="3119384"/>
                </a:lnTo>
                <a:lnTo>
                  <a:pt x="6493962" y="3123823"/>
                </a:lnTo>
                <a:lnTo>
                  <a:pt x="6492118" y="3127288"/>
                </a:lnTo>
                <a:lnTo>
                  <a:pt x="6487776" y="3129129"/>
                </a:lnTo>
                <a:lnTo>
                  <a:pt x="6487452" y="3136708"/>
                </a:lnTo>
                <a:lnTo>
                  <a:pt x="6489513" y="3140281"/>
                </a:lnTo>
                <a:lnTo>
                  <a:pt x="6485499" y="3149808"/>
                </a:lnTo>
                <a:lnTo>
                  <a:pt x="6488103" y="3158579"/>
                </a:lnTo>
                <a:lnTo>
                  <a:pt x="6485715" y="3171571"/>
                </a:lnTo>
                <a:lnTo>
                  <a:pt x="6486258" y="3182289"/>
                </a:lnTo>
                <a:lnTo>
                  <a:pt x="6483002" y="3185538"/>
                </a:lnTo>
                <a:lnTo>
                  <a:pt x="6480180" y="3184347"/>
                </a:lnTo>
                <a:lnTo>
                  <a:pt x="6475840" y="3177634"/>
                </a:lnTo>
                <a:lnTo>
                  <a:pt x="6471933" y="3176768"/>
                </a:lnTo>
                <a:lnTo>
                  <a:pt x="6469980" y="3180016"/>
                </a:lnTo>
                <a:lnTo>
                  <a:pt x="6469872" y="3186187"/>
                </a:lnTo>
                <a:lnTo>
                  <a:pt x="6467919" y="3187811"/>
                </a:lnTo>
                <a:lnTo>
                  <a:pt x="6458694" y="3179150"/>
                </a:lnTo>
                <a:lnTo>
                  <a:pt x="6454354" y="3178283"/>
                </a:lnTo>
                <a:lnTo>
                  <a:pt x="6454354" y="3180882"/>
                </a:lnTo>
                <a:lnTo>
                  <a:pt x="6455764" y="3183264"/>
                </a:lnTo>
                <a:lnTo>
                  <a:pt x="6455764" y="3187920"/>
                </a:lnTo>
                <a:lnTo>
                  <a:pt x="6454028" y="3189977"/>
                </a:lnTo>
                <a:lnTo>
                  <a:pt x="6450773" y="3184455"/>
                </a:lnTo>
                <a:lnTo>
                  <a:pt x="6447626" y="3183156"/>
                </a:lnTo>
                <a:lnTo>
                  <a:pt x="6446432" y="3178175"/>
                </a:lnTo>
                <a:lnTo>
                  <a:pt x="6432325" y="3165724"/>
                </a:lnTo>
                <a:lnTo>
                  <a:pt x="6425380" y="3163883"/>
                </a:lnTo>
                <a:lnTo>
                  <a:pt x="6422992" y="3158686"/>
                </a:lnTo>
                <a:lnTo>
                  <a:pt x="6412357" y="3151974"/>
                </a:lnTo>
                <a:lnTo>
                  <a:pt x="6406064" y="3145153"/>
                </a:lnTo>
                <a:lnTo>
                  <a:pt x="6400964" y="3141904"/>
                </a:lnTo>
                <a:lnTo>
                  <a:pt x="6400096" y="3134975"/>
                </a:lnTo>
                <a:lnTo>
                  <a:pt x="6394236" y="3131186"/>
                </a:lnTo>
                <a:lnTo>
                  <a:pt x="6391848" y="3128479"/>
                </a:lnTo>
                <a:lnTo>
                  <a:pt x="6385121" y="3127071"/>
                </a:lnTo>
                <a:lnTo>
                  <a:pt x="6382624" y="3121225"/>
                </a:lnTo>
                <a:lnTo>
                  <a:pt x="6373943" y="3110398"/>
                </a:lnTo>
                <a:lnTo>
                  <a:pt x="6365262" y="3103902"/>
                </a:lnTo>
                <a:lnTo>
                  <a:pt x="6363091" y="3097839"/>
                </a:lnTo>
                <a:lnTo>
                  <a:pt x="6363525" y="3091125"/>
                </a:lnTo>
                <a:lnTo>
                  <a:pt x="6354627" y="3074668"/>
                </a:lnTo>
                <a:lnTo>
                  <a:pt x="6353541" y="3062975"/>
                </a:lnTo>
                <a:lnTo>
                  <a:pt x="6348116" y="3058861"/>
                </a:lnTo>
                <a:lnTo>
                  <a:pt x="6342147" y="3048576"/>
                </a:lnTo>
                <a:lnTo>
                  <a:pt x="6342147" y="3044461"/>
                </a:lnTo>
                <a:lnTo>
                  <a:pt x="6335094" y="3039589"/>
                </a:lnTo>
                <a:lnTo>
                  <a:pt x="6328908" y="3037640"/>
                </a:lnTo>
                <a:lnTo>
                  <a:pt x="6326630" y="3030819"/>
                </a:lnTo>
                <a:lnTo>
                  <a:pt x="6321855" y="3018152"/>
                </a:lnTo>
                <a:lnTo>
                  <a:pt x="6322072" y="3016527"/>
                </a:lnTo>
                <a:lnTo>
                  <a:pt x="6319793" y="3010573"/>
                </a:lnTo>
                <a:lnTo>
                  <a:pt x="6316754" y="3007216"/>
                </a:lnTo>
                <a:lnTo>
                  <a:pt x="6318600" y="3003859"/>
                </a:lnTo>
                <a:lnTo>
                  <a:pt x="6317731" y="3001261"/>
                </a:lnTo>
                <a:lnTo>
                  <a:pt x="6314910" y="3001694"/>
                </a:lnTo>
                <a:lnTo>
                  <a:pt x="6311654" y="2999854"/>
                </a:lnTo>
                <a:lnTo>
                  <a:pt x="6305252" y="2991841"/>
                </a:lnTo>
                <a:lnTo>
                  <a:pt x="6300260" y="2991841"/>
                </a:lnTo>
                <a:lnTo>
                  <a:pt x="6297221" y="2989135"/>
                </a:lnTo>
                <a:lnTo>
                  <a:pt x="6296353" y="2982963"/>
                </a:lnTo>
                <a:lnTo>
                  <a:pt x="6294075" y="2981123"/>
                </a:lnTo>
                <a:lnTo>
                  <a:pt x="6294075" y="2974951"/>
                </a:lnTo>
                <a:lnTo>
                  <a:pt x="6291687" y="2974951"/>
                </a:lnTo>
                <a:lnTo>
                  <a:pt x="6283223" y="2966831"/>
                </a:lnTo>
                <a:lnTo>
                  <a:pt x="6274867" y="2953406"/>
                </a:lnTo>
                <a:lnTo>
                  <a:pt x="6267054" y="2946909"/>
                </a:lnTo>
                <a:lnTo>
                  <a:pt x="6264015" y="2948100"/>
                </a:lnTo>
                <a:lnTo>
                  <a:pt x="6260326" y="2946801"/>
                </a:lnTo>
                <a:lnTo>
                  <a:pt x="6254032" y="2938898"/>
                </a:lnTo>
                <a:lnTo>
                  <a:pt x="6250885" y="2938898"/>
                </a:lnTo>
                <a:lnTo>
                  <a:pt x="6240576" y="2927529"/>
                </a:lnTo>
                <a:lnTo>
                  <a:pt x="6236778" y="2925796"/>
                </a:lnTo>
                <a:lnTo>
                  <a:pt x="6230700" y="2912804"/>
                </a:lnTo>
                <a:lnTo>
                  <a:pt x="6229507" y="2905875"/>
                </a:lnTo>
                <a:lnTo>
                  <a:pt x="6230592" y="2903276"/>
                </a:lnTo>
                <a:close/>
                <a:moveTo>
                  <a:pt x="2595609" y="2898619"/>
                </a:moveTo>
                <a:lnTo>
                  <a:pt x="2594416" y="2903383"/>
                </a:lnTo>
                <a:lnTo>
                  <a:pt x="2594524" y="2906739"/>
                </a:lnTo>
                <a:lnTo>
                  <a:pt x="2591160" y="2910637"/>
                </a:lnTo>
                <a:lnTo>
                  <a:pt x="2586820" y="2912910"/>
                </a:lnTo>
                <a:lnTo>
                  <a:pt x="2580959" y="2913127"/>
                </a:lnTo>
                <a:lnTo>
                  <a:pt x="2577921" y="2918973"/>
                </a:lnTo>
                <a:lnTo>
                  <a:pt x="2577704" y="2924062"/>
                </a:lnTo>
                <a:lnTo>
                  <a:pt x="2573689" y="2934023"/>
                </a:lnTo>
                <a:lnTo>
                  <a:pt x="2574123" y="2937055"/>
                </a:lnTo>
                <a:lnTo>
                  <a:pt x="2574123" y="2937055"/>
                </a:lnTo>
                <a:lnTo>
                  <a:pt x="2573689" y="2934023"/>
                </a:lnTo>
                <a:lnTo>
                  <a:pt x="2577704" y="2924063"/>
                </a:lnTo>
                <a:lnTo>
                  <a:pt x="2577921" y="2918974"/>
                </a:lnTo>
                <a:lnTo>
                  <a:pt x="2580959" y="2913127"/>
                </a:lnTo>
                <a:lnTo>
                  <a:pt x="2586820" y="2912911"/>
                </a:lnTo>
                <a:lnTo>
                  <a:pt x="2591160" y="2910637"/>
                </a:lnTo>
                <a:lnTo>
                  <a:pt x="2594524" y="2906739"/>
                </a:lnTo>
                <a:lnTo>
                  <a:pt x="2594416" y="2903383"/>
                </a:lnTo>
                <a:lnTo>
                  <a:pt x="2595609" y="2898619"/>
                </a:lnTo>
                <a:close/>
                <a:moveTo>
                  <a:pt x="3877299" y="2897646"/>
                </a:moveTo>
                <a:lnTo>
                  <a:pt x="3882833" y="2899270"/>
                </a:lnTo>
                <a:lnTo>
                  <a:pt x="3885112" y="2903168"/>
                </a:lnTo>
                <a:lnTo>
                  <a:pt x="3885112" y="2903167"/>
                </a:lnTo>
                <a:lnTo>
                  <a:pt x="3882833" y="2899269"/>
                </a:lnTo>
                <a:close/>
                <a:moveTo>
                  <a:pt x="4589533" y="2897634"/>
                </a:moveTo>
                <a:lnTo>
                  <a:pt x="4588950" y="2899378"/>
                </a:lnTo>
                <a:lnTo>
                  <a:pt x="4589818" y="2906631"/>
                </a:lnTo>
                <a:lnTo>
                  <a:pt x="4589839" y="2906647"/>
                </a:lnTo>
                <a:lnTo>
                  <a:pt x="4589839" y="2906646"/>
                </a:lnTo>
                <a:lnTo>
                  <a:pt x="4589819" y="2906631"/>
                </a:lnTo>
                <a:lnTo>
                  <a:pt x="4588951" y="2899377"/>
                </a:lnTo>
                <a:close/>
                <a:moveTo>
                  <a:pt x="4156404" y="2896346"/>
                </a:moveTo>
                <a:lnTo>
                  <a:pt x="4153583" y="2898186"/>
                </a:lnTo>
                <a:lnTo>
                  <a:pt x="4153583" y="2898187"/>
                </a:lnTo>
                <a:lnTo>
                  <a:pt x="4156404" y="2896347"/>
                </a:lnTo>
                <a:close/>
                <a:moveTo>
                  <a:pt x="6384251" y="2894504"/>
                </a:moveTo>
                <a:lnTo>
                  <a:pt x="6379910" y="2895046"/>
                </a:lnTo>
                <a:lnTo>
                  <a:pt x="6374593" y="2899593"/>
                </a:lnTo>
                <a:lnTo>
                  <a:pt x="6368191" y="2898078"/>
                </a:lnTo>
                <a:lnTo>
                  <a:pt x="6368191" y="2898079"/>
                </a:lnTo>
                <a:lnTo>
                  <a:pt x="6374593" y="2899594"/>
                </a:lnTo>
                <a:lnTo>
                  <a:pt x="6379910" y="2895047"/>
                </a:lnTo>
                <a:lnTo>
                  <a:pt x="6384252" y="2894506"/>
                </a:lnTo>
                <a:lnTo>
                  <a:pt x="6387506" y="2897212"/>
                </a:lnTo>
                <a:lnTo>
                  <a:pt x="6390762" y="2894830"/>
                </a:lnTo>
                <a:lnTo>
                  <a:pt x="6390762" y="2894830"/>
                </a:lnTo>
                <a:lnTo>
                  <a:pt x="6387506" y="2897212"/>
                </a:lnTo>
                <a:close/>
                <a:moveTo>
                  <a:pt x="4781869" y="2893516"/>
                </a:moveTo>
                <a:lnTo>
                  <a:pt x="4781869" y="2893517"/>
                </a:lnTo>
                <a:lnTo>
                  <a:pt x="4784172" y="2896129"/>
                </a:lnTo>
                <a:lnTo>
                  <a:pt x="4784388" y="2897317"/>
                </a:lnTo>
                <a:lnTo>
                  <a:pt x="4784390" y="2897319"/>
                </a:lnTo>
                <a:lnTo>
                  <a:pt x="4785006" y="2900700"/>
                </a:lnTo>
                <a:lnTo>
                  <a:pt x="4784174" y="2896129"/>
                </a:lnTo>
                <a:close/>
                <a:moveTo>
                  <a:pt x="6850547" y="2890391"/>
                </a:moveTo>
                <a:lnTo>
                  <a:pt x="6855973" y="2891474"/>
                </a:lnTo>
                <a:lnTo>
                  <a:pt x="6856081" y="2893531"/>
                </a:lnTo>
                <a:lnTo>
                  <a:pt x="6852717" y="2895263"/>
                </a:lnTo>
                <a:lnTo>
                  <a:pt x="6850547" y="2893964"/>
                </a:lnTo>
                <a:lnTo>
                  <a:pt x="6848594" y="2895371"/>
                </a:lnTo>
                <a:lnTo>
                  <a:pt x="6844470" y="2895263"/>
                </a:lnTo>
                <a:lnTo>
                  <a:pt x="6843059" y="2893639"/>
                </a:lnTo>
                <a:lnTo>
                  <a:pt x="6844904" y="2891582"/>
                </a:lnTo>
                <a:close/>
                <a:moveTo>
                  <a:pt x="4575930" y="2889817"/>
                </a:moveTo>
                <a:lnTo>
                  <a:pt x="4575928" y="2889850"/>
                </a:lnTo>
                <a:lnTo>
                  <a:pt x="4575930" y="2889852"/>
                </a:lnTo>
                <a:lnTo>
                  <a:pt x="4575930" y="2889850"/>
                </a:lnTo>
                <a:lnTo>
                  <a:pt x="4575929" y="2889849"/>
                </a:lnTo>
                <a:lnTo>
                  <a:pt x="4575930" y="2889837"/>
                </a:lnTo>
                <a:close/>
                <a:moveTo>
                  <a:pt x="2347179" y="2887371"/>
                </a:moveTo>
                <a:lnTo>
                  <a:pt x="2348517" y="2895479"/>
                </a:lnTo>
                <a:lnTo>
                  <a:pt x="2346564" y="2899269"/>
                </a:lnTo>
                <a:lnTo>
                  <a:pt x="2348517" y="2895479"/>
                </a:lnTo>
                <a:close/>
                <a:moveTo>
                  <a:pt x="2319379" y="2886229"/>
                </a:moveTo>
                <a:lnTo>
                  <a:pt x="2321930" y="2887684"/>
                </a:lnTo>
                <a:lnTo>
                  <a:pt x="2323371" y="2886897"/>
                </a:lnTo>
                <a:lnTo>
                  <a:pt x="2321931" y="2887683"/>
                </a:lnTo>
                <a:close/>
                <a:moveTo>
                  <a:pt x="2314009" y="2884544"/>
                </a:moveTo>
                <a:lnTo>
                  <a:pt x="2313407" y="2884756"/>
                </a:lnTo>
                <a:lnTo>
                  <a:pt x="2314009" y="2884544"/>
                </a:lnTo>
                <a:lnTo>
                  <a:pt x="2317259" y="2885481"/>
                </a:lnTo>
                <a:close/>
                <a:moveTo>
                  <a:pt x="3963353" y="2884437"/>
                </a:moveTo>
                <a:lnTo>
                  <a:pt x="3965848" y="2885519"/>
                </a:lnTo>
                <a:lnTo>
                  <a:pt x="3965849" y="2885519"/>
                </a:lnTo>
                <a:close/>
                <a:moveTo>
                  <a:pt x="2343091" y="2884219"/>
                </a:moveTo>
                <a:lnTo>
                  <a:pt x="2339181" y="2884425"/>
                </a:lnTo>
                <a:lnTo>
                  <a:pt x="2343091" y="2884220"/>
                </a:lnTo>
                <a:lnTo>
                  <a:pt x="2345320" y="2885393"/>
                </a:lnTo>
                <a:close/>
                <a:moveTo>
                  <a:pt x="3752938" y="2883029"/>
                </a:moveTo>
                <a:lnTo>
                  <a:pt x="3755760" y="2886493"/>
                </a:lnTo>
                <a:lnTo>
                  <a:pt x="3752939" y="2883029"/>
                </a:lnTo>
                <a:close/>
                <a:moveTo>
                  <a:pt x="6363742" y="2881296"/>
                </a:moveTo>
                <a:lnTo>
                  <a:pt x="6363742" y="2881296"/>
                </a:lnTo>
                <a:lnTo>
                  <a:pt x="6368733" y="2881296"/>
                </a:lnTo>
                <a:lnTo>
                  <a:pt x="6371880" y="2884327"/>
                </a:lnTo>
                <a:lnTo>
                  <a:pt x="6371880" y="2884327"/>
                </a:lnTo>
                <a:lnTo>
                  <a:pt x="6368733" y="2881296"/>
                </a:lnTo>
                <a:close/>
                <a:moveTo>
                  <a:pt x="6838502" y="2879456"/>
                </a:moveTo>
                <a:lnTo>
                  <a:pt x="6839587" y="2881621"/>
                </a:lnTo>
                <a:lnTo>
                  <a:pt x="6838285" y="2884003"/>
                </a:lnTo>
                <a:lnTo>
                  <a:pt x="6835464" y="2883029"/>
                </a:lnTo>
                <a:close/>
                <a:moveTo>
                  <a:pt x="3741762" y="2878156"/>
                </a:moveTo>
                <a:lnTo>
                  <a:pt x="3741761" y="2878157"/>
                </a:lnTo>
                <a:lnTo>
                  <a:pt x="3743064" y="2882813"/>
                </a:lnTo>
                <a:lnTo>
                  <a:pt x="3744343" y="2883273"/>
                </a:lnTo>
                <a:lnTo>
                  <a:pt x="3743064" y="2882813"/>
                </a:lnTo>
                <a:close/>
                <a:moveTo>
                  <a:pt x="6356037" y="2876640"/>
                </a:moveTo>
                <a:lnTo>
                  <a:pt x="6356037" y="2876641"/>
                </a:lnTo>
                <a:lnTo>
                  <a:pt x="6362548" y="2878481"/>
                </a:lnTo>
                <a:lnTo>
                  <a:pt x="6362982" y="2879504"/>
                </a:lnTo>
                <a:lnTo>
                  <a:pt x="6362548" y="2878480"/>
                </a:lnTo>
                <a:close/>
                <a:moveTo>
                  <a:pt x="3872741" y="2876532"/>
                </a:moveTo>
                <a:lnTo>
                  <a:pt x="3870680" y="2877940"/>
                </a:lnTo>
                <a:lnTo>
                  <a:pt x="3872741" y="2876533"/>
                </a:lnTo>
                <a:close/>
                <a:moveTo>
                  <a:pt x="4173240" y="2874944"/>
                </a:moveTo>
                <a:lnTo>
                  <a:pt x="4173658" y="2878697"/>
                </a:lnTo>
                <a:lnTo>
                  <a:pt x="4166496" y="2883894"/>
                </a:lnTo>
                <a:lnTo>
                  <a:pt x="4164434" y="2886493"/>
                </a:lnTo>
                <a:lnTo>
                  <a:pt x="4160310" y="2889200"/>
                </a:lnTo>
                <a:lnTo>
                  <a:pt x="4156404" y="2892881"/>
                </a:lnTo>
                <a:lnTo>
                  <a:pt x="4156404" y="2892882"/>
                </a:lnTo>
                <a:lnTo>
                  <a:pt x="4160311" y="2889200"/>
                </a:lnTo>
                <a:lnTo>
                  <a:pt x="4164434" y="2886494"/>
                </a:lnTo>
                <a:lnTo>
                  <a:pt x="4166496" y="2883895"/>
                </a:lnTo>
                <a:lnTo>
                  <a:pt x="4173658" y="2878698"/>
                </a:lnTo>
                <a:close/>
                <a:moveTo>
                  <a:pt x="6334115" y="2874584"/>
                </a:moveTo>
                <a:lnTo>
                  <a:pt x="6335851" y="2875341"/>
                </a:lnTo>
                <a:lnTo>
                  <a:pt x="6336503" y="2878373"/>
                </a:lnTo>
                <a:lnTo>
                  <a:pt x="6334767" y="2879023"/>
                </a:lnTo>
                <a:lnTo>
                  <a:pt x="6332922" y="2875233"/>
                </a:lnTo>
                <a:close/>
                <a:moveTo>
                  <a:pt x="6873010" y="2873826"/>
                </a:moveTo>
                <a:lnTo>
                  <a:pt x="6875940" y="2875666"/>
                </a:lnTo>
                <a:lnTo>
                  <a:pt x="6878653" y="2876641"/>
                </a:lnTo>
                <a:lnTo>
                  <a:pt x="6878219" y="2878373"/>
                </a:lnTo>
                <a:lnTo>
                  <a:pt x="6872143" y="2883787"/>
                </a:lnTo>
                <a:lnTo>
                  <a:pt x="6869430" y="2882920"/>
                </a:lnTo>
                <a:lnTo>
                  <a:pt x="6866608" y="2878698"/>
                </a:lnTo>
                <a:lnTo>
                  <a:pt x="6866391" y="2876316"/>
                </a:lnTo>
                <a:lnTo>
                  <a:pt x="6870623" y="2875991"/>
                </a:lnTo>
                <a:close/>
                <a:moveTo>
                  <a:pt x="4567268" y="2872958"/>
                </a:moveTo>
                <a:lnTo>
                  <a:pt x="4567465" y="2877169"/>
                </a:lnTo>
                <a:lnTo>
                  <a:pt x="4567465" y="2877157"/>
                </a:lnTo>
                <a:lnTo>
                  <a:pt x="4567268" y="2872959"/>
                </a:lnTo>
                <a:close/>
                <a:moveTo>
                  <a:pt x="4771910" y="2872851"/>
                </a:moveTo>
                <a:lnTo>
                  <a:pt x="4774732" y="2876532"/>
                </a:lnTo>
                <a:lnTo>
                  <a:pt x="4776685" y="2880213"/>
                </a:lnTo>
                <a:lnTo>
                  <a:pt x="4780699" y="2884544"/>
                </a:lnTo>
                <a:lnTo>
                  <a:pt x="4780834" y="2885646"/>
                </a:lnTo>
                <a:lnTo>
                  <a:pt x="4780836" y="2885647"/>
                </a:lnTo>
                <a:lnTo>
                  <a:pt x="4780701" y="2884544"/>
                </a:lnTo>
                <a:lnTo>
                  <a:pt x="4776686" y="2880213"/>
                </a:lnTo>
                <a:lnTo>
                  <a:pt x="4774733" y="2876531"/>
                </a:lnTo>
                <a:lnTo>
                  <a:pt x="4771911" y="2872851"/>
                </a:lnTo>
                <a:close/>
                <a:moveTo>
                  <a:pt x="2507603" y="2871660"/>
                </a:moveTo>
                <a:lnTo>
                  <a:pt x="2507602" y="2871660"/>
                </a:lnTo>
                <a:lnTo>
                  <a:pt x="2511725" y="2873175"/>
                </a:lnTo>
                <a:lnTo>
                  <a:pt x="2511726" y="2873175"/>
                </a:lnTo>
                <a:close/>
                <a:moveTo>
                  <a:pt x="4765725" y="2871226"/>
                </a:moveTo>
                <a:lnTo>
                  <a:pt x="4765725" y="2871228"/>
                </a:lnTo>
                <a:lnTo>
                  <a:pt x="4767352" y="2872850"/>
                </a:lnTo>
                <a:lnTo>
                  <a:pt x="4767353" y="2872850"/>
                </a:lnTo>
                <a:close/>
                <a:moveTo>
                  <a:pt x="4191997" y="2871118"/>
                </a:moveTo>
                <a:lnTo>
                  <a:pt x="4189502" y="2871336"/>
                </a:lnTo>
                <a:lnTo>
                  <a:pt x="4191997" y="2871119"/>
                </a:lnTo>
                <a:lnTo>
                  <a:pt x="4194651" y="2872443"/>
                </a:lnTo>
                <a:close/>
                <a:moveTo>
                  <a:pt x="4765616" y="2869061"/>
                </a:moveTo>
                <a:lnTo>
                  <a:pt x="4765554" y="2870173"/>
                </a:lnTo>
                <a:lnTo>
                  <a:pt x="4765555" y="2870174"/>
                </a:lnTo>
                <a:lnTo>
                  <a:pt x="4765617" y="2869061"/>
                </a:lnTo>
                <a:close/>
                <a:moveTo>
                  <a:pt x="4181905" y="2868087"/>
                </a:moveTo>
                <a:lnTo>
                  <a:pt x="4179627" y="2871118"/>
                </a:lnTo>
                <a:lnTo>
                  <a:pt x="4174309" y="2871336"/>
                </a:lnTo>
                <a:lnTo>
                  <a:pt x="4173116" y="2873825"/>
                </a:lnTo>
                <a:lnTo>
                  <a:pt x="4173116" y="2873826"/>
                </a:lnTo>
                <a:lnTo>
                  <a:pt x="4174309" y="2871336"/>
                </a:lnTo>
                <a:lnTo>
                  <a:pt x="4179627" y="2871119"/>
                </a:lnTo>
                <a:lnTo>
                  <a:pt x="4181905" y="2868087"/>
                </a:lnTo>
                <a:lnTo>
                  <a:pt x="4182990" y="2869278"/>
                </a:lnTo>
                <a:lnTo>
                  <a:pt x="4187127" y="2870585"/>
                </a:lnTo>
                <a:lnTo>
                  <a:pt x="4182990" y="2869278"/>
                </a:lnTo>
                <a:close/>
                <a:moveTo>
                  <a:pt x="6752013" y="2867654"/>
                </a:moveTo>
                <a:lnTo>
                  <a:pt x="6756895" y="2870686"/>
                </a:lnTo>
                <a:lnTo>
                  <a:pt x="6757004" y="2877182"/>
                </a:lnTo>
                <a:lnTo>
                  <a:pt x="6761454" y="2881404"/>
                </a:lnTo>
                <a:lnTo>
                  <a:pt x="6763624" y="2879996"/>
                </a:lnTo>
                <a:lnTo>
                  <a:pt x="6769267" y="2883786"/>
                </a:lnTo>
                <a:lnTo>
                  <a:pt x="6769484" y="2886818"/>
                </a:lnTo>
                <a:lnTo>
                  <a:pt x="6765251" y="2888441"/>
                </a:lnTo>
                <a:lnTo>
                  <a:pt x="6765143" y="2895479"/>
                </a:lnTo>
                <a:lnTo>
                  <a:pt x="6766988" y="2896345"/>
                </a:lnTo>
                <a:lnTo>
                  <a:pt x="6769050" y="2898835"/>
                </a:lnTo>
                <a:lnTo>
                  <a:pt x="6772306" y="2894396"/>
                </a:lnTo>
                <a:lnTo>
                  <a:pt x="6774476" y="2893747"/>
                </a:lnTo>
                <a:lnTo>
                  <a:pt x="6776972" y="2896887"/>
                </a:lnTo>
                <a:lnTo>
                  <a:pt x="6771871" y="2901326"/>
                </a:lnTo>
                <a:lnTo>
                  <a:pt x="6774150" y="2903383"/>
                </a:lnTo>
                <a:lnTo>
                  <a:pt x="6777840" y="2899702"/>
                </a:lnTo>
                <a:lnTo>
                  <a:pt x="6781204" y="2899702"/>
                </a:lnTo>
                <a:lnTo>
                  <a:pt x="6786955" y="2905440"/>
                </a:lnTo>
                <a:lnTo>
                  <a:pt x="6791187" y="2905116"/>
                </a:lnTo>
                <a:lnTo>
                  <a:pt x="6795311" y="2908797"/>
                </a:lnTo>
                <a:lnTo>
                  <a:pt x="6800845" y="2909879"/>
                </a:lnTo>
                <a:lnTo>
                  <a:pt x="6804535" y="2909879"/>
                </a:lnTo>
                <a:lnTo>
                  <a:pt x="6805620" y="2913669"/>
                </a:lnTo>
                <a:lnTo>
                  <a:pt x="6800628" y="2917458"/>
                </a:lnTo>
                <a:lnTo>
                  <a:pt x="6792706" y="2919299"/>
                </a:lnTo>
                <a:lnTo>
                  <a:pt x="6783048" y="2918541"/>
                </a:lnTo>
                <a:lnTo>
                  <a:pt x="6780118" y="2920598"/>
                </a:lnTo>
                <a:lnTo>
                  <a:pt x="6780118" y="2926769"/>
                </a:lnTo>
                <a:lnTo>
                  <a:pt x="6786521" y="2932075"/>
                </a:lnTo>
                <a:lnTo>
                  <a:pt x="6786521" y="2934781"/>
                </a:lnTo>
                <a:lnTo>
                  <a:pt x="6780335" y="2936081"/>
                </a:lnTo>
                <a:lnTo>
                  <a:pt x="6775344" y="2938571"/>
                </a:lnTo>
                <a:lnTo>
                  <a:pt x="6771329" y="2937597"/>
                </a:lnTo>
                <a:lnTo>
                  <a:pt x="6765686" y="2933807"/>
                </a:lnTo>
                <a:lnTo>
                  <a:pt x="6765251" y="2935972"/>
                </a:lnTo>
                <a:lnTo>
                  <a:pt x="6765254" y="2935973"/>
                </a:lnTo>
                <a:lnTo>
                  <a:pt x="6764929" y="2937272"/>
                </a:lnTo>
                <a:lnTo>
                  <a:pt x="6762541" y="2937705"/>
                </a:lnTo>
                <a:lnTo>
                  <a:pt x="6762867" y="2939979"/>
                </a:lnTo>
                <a:lnTo>
                  <a:pt x="6761348" y="2942362"/>
                </a:lnTo>
                <a:lnTo>
                  <a:pt x="6766340" y="2944310"/>
                </a:lnTo>
                <a:lnTo>
                  <a:pt x="6771006" y="2949724"/>
                </a:lnTo>
                <a:lnTo>
                  <a:pt x="6765688" y="2951131"/>
                </a:lnTo>
                <a:lnTo>
                  <a:pt x="6760262" y="2950265"/>
                </a:lnTo>
                <a:lnTo>
                  <a:pt x="6758092" y="2951672"/>
                </a:lnTo>
                <a:lnTo>
                  <a:pt x="6761890" y="2956111"/>
                </a:lnTo>
                <a:lnTo>
                  <a:pt x="6763844" y="2957303"/>
                </a:lnTo>
                <a:lnTo>
                  <a:pt x="6764386" y="2959901"/>
                </a:lnTo>
                <a:lnTo>
                  <a:pt x="6762324" y="2960442"/>
                </a:lnTo>
                <a:lnTo>
                  <a:pt x="6760697" y="2964015"/>
                </a:lnTo>
                <a:lnTo>
                  <a:pt x="6764603" y="2967480"/>
                </a:lnTo>
                <a:lnTo>
                  <a:pt x="6766123" y="2972460"/>
                </a:lnTo>
                <a:lnTo>
                  <a:pt x="6774153" y="2980689"/>
                </a:lnTo>
                <a:lnTo>
                  <a:pt x="6777734" y="2983937"/>
                </a:lnTo>
                <a:lnTo>
                  <a:pt x="6775346" y="2988485"/>
                </a:lnTo>
                <a:lnTo>
                  <a:pt x="6769053" y="2989784"/>
                </a:lnTo>
                <a:lnTo>
                  <a:pt x="6768184" y="2992707"/>
                </a:lnTo>
                <a:lnTo>
                  <a:pt x="6770246" y="2994439"/>
                </a:lnTo>
                <a:lnTo>
                  <a:pt x="6771331" y="2998554"/>
                </a:lnTo>
                <a:lnTo>
                  <a:pt x="6774912" y="3000611"/>
                </a:lnTo>
                <a:lnTo>
                  <a:pt x="6785113" y="3010139"/>
                </a:lnTo>
                <a:lnTo>
                  <a:pt x="6788586" y="3010139"/>
                </a:lnTo>
                <a:lnTo>
                  <a:pt x="6792492" y="3014578"/>
                </a:lnTo>
                <a:lnTo>
                  <a:pt x="6793903" y="3017502"/>
                </a:lnTo>
                <a:lnTo>
                  <a:pt x="6797701" y="3018368"/>
                </a:lnTo>
                <a:lnTo>
                  <a:pt x="6796507" y="3022698"/>
                </a:lnTo>
                <a:lnTo>
                  <a:pt x="6793577" y="3023890"/>
                </a:lnTo>
                <a:lnTo>
                  <a:pt x="6790430" y="3022698"/>
                </a:lnTo>
                <a:lnTo>
                  <a:pt x="6786849" y="3025188"/>
                </a:lnTo>
                <a:lnTo>
                  <a:pt x="6781314" y="3024539"/>
                </a:lnTo>
                <a:lnTo>
                  <a:pt x="6773610" y="3016960"/>
                </a:lnTo>
                <a:lnTo>
                  <a:pt x="6775130" y="3023348"/>
                </a:lnTo>
                <a:lnTo>
                  <a:pt x="6773719" y="3025730"/>
                </a:lnTo>
                <a:lnTo>
                  <a:pt x="6771440" y="3022807"/>
                </a:lnTo>
                <a:lnTo>
                  <a:pt x="6766448" y="3027787"/>
                </a:lnTo>
                <a:lnTo>
                  <a:pt x="6766448" y="3031252"/>
                </a:lnTo>
                <a:lnTo>
                  <a:pt x="6764278" y="3033850"/>
                </a:lnTo>
                <a:lnTo>
                  <a:pt x="6763410" y="3042945"/>
                </a:lnTo>
                <a:lnTo>
                  <a:pt x="6761348" y="3046193"/>
                </a:lnTo>
                <a:lnTo>
                  <a:pt x="6759611" y="3054421"/>
                </a:lnTo>
                <a:lnTo>
                  <a:pt x="6753209" y="3059402"/>
                </a:lnTo>
                <a:lnTo>
                  <a:pt x="6755596" y="3065574"/>
                </a:lnTo>
                <a:lnTo>
                  <a:pt x="6752667" y="3069904"/>
                </a:lnTo>
                <a:lnTo>
                  <a:pt x="6748543" y="3074235"/>
                </a:lnTo>
                <a:lnTo>
                  <a:pt x="6746590" y="3069688"/>
                </a:lnTo>
                <a:lnTo>
                  <a:pt x="6744202" y="3068497"/>
                </a:lnTo>
                <a:lnTo>
                  <a:pt x="6745504" y="3071745"/>
                </a:lnTo>
                <a:lnTo>
                  <a:pt x="6745070" y="3076833"/>
                </a:lnTo>
                <a:lnTo>
                  <a:pt x="6741055" y="3081489"/>
                </a:lnTo>
                <a:lnTo>
                  <a:pt x="6740296" y="3085712"/>
                </a:lnTo>
                <a:lnTo>
                  <a:pt x="6736280" y="3087336"/>
                </a:lnTo>
                <a:lnTo>
                  <a:pt x="6732699" y="3086794"/>
                </a:lnTo>
                <a:lnTo>
                  <a:pt x="6733567" y="3088960"/>
                </a:lnTo>
                <a:lnTo>
                  <a:pt x="6731723" y="3091667"/>
                </a:lnTo>
                <a:lnTo>
                  <a:pt x="6737474" y="3091342"/>
                </a:lnTo>
                <a:lnTo>
                  <a:pt x="6738451" y="3092316"/>
                </a:lnTo>
                <a:lnTo>
                  <a:pt x="6737800" y="3096539"/>
                </a:lnTo>
                <a:lnTo>
                  <a:pt x="6734979" y="3098488"/>
                </a:lnTo>
                <a:lnTo>
                  <a:pt x="6736497" y="3099571"/>
                </a:lnTo>
                <a:lnTo>
                  <a:pt x="6739319" y="3099245"/>
                </a:lnTo>
                <a:lnTo>
                  <a:pt x="6739970" y="3102602"/>
                </a:lnTo>
                <a:lnTo>
                  <a:pt x="6738451" y="3106283"/>
                </a:lnTo>
                <a:lnTo>
                  <a:pt x="6734653" y="3105200"/>
                </a:lnTo>
                <a:lnTo>
                  <a:pt x="6733893" y="3104226"/>
                </a:lnTo>
                <a:lnTo>
                  <a:pt x="6733676" y="3106067"/>
                </a:lnTo>
                <a:lnTo>
                  <a:pt x="6735846" y="3108124"/>
                </a:lnTo>
                <a:lnTo>
                  <a:pt x="6737365" y="3109532"/>
                </a:lnTo>
                <a:lnTo>
                  <a:pt x="6733676" y="3117218"/>
                </a:lnTo>
                <a:lnTo>
                  <a:pt x="6731180" y="3117218"/>
                </a:lnTo>
                <a:lnTo>
                  <a:pt x="6730204" y="3115378"/>
                </a:lnTo>
                <a:lnTo>
                  <a:pt x="6728793" y="3121333"/>
                </a:lnTo>
                <a:lnTo>
                  <a:pt x="6728793" y="3124581"/>
                </a:lnTo>
                <a:lnTo>
                  <a:pt x="6723801" y="3133676"/>
                </a:lnTo>
                <a:lnTo>
                  <a:pt x="6715662" y="3139198"/>
                </a:lnTo>
                <a:lnTo>
                  <a:pt x="6708825" y="3140389"/>
                </a:lnTo>
                <a:lnTo>
                  <a:pt x="6698951" y="3145044"/>
                </a:lnTo>
                <a:lnTo>
                  <a:pt x="6694284" y="3145694"/>
                </a:lnTo>
                <a:lnTo>
                  <a:pt x="6692983" y="3139198"/>
                </a:lnTo>
                <a:lnTo>
                  <a:pt x="6693742" y="3135625"/>
                </a:lnTo>
                <a:lnTo>
                  <a:pt x="6691354" y="3131943"/>
                </a:lnTo>
                <a:lnTo>
                  <a:pt x="6690486" y="3130211"/>
                </a:lnTo>
                <a:lnTo>
                  <a:pt x="6688316" y="3131294"/>
                </a:lnTo>
                <a:lnTo>
                  <a:pt x="6685711" y="3127830"/>
                </a:lnTo>
                <a:lnTo>
                  <a:pt x="6683433" y="3129020"/>
                </a:lnTo>
                <a:lnTo>
                  <a:pt x="6679635" y="3128046"/>
                </a:lnTo>
                <a:lnTo>
                  <a:pt x="6677573" y="3124256"/>
                </a:lnTo>
                <a:lnTo>
                  <a:pt x="6675945" y="3128046"/>
                </a:lnTo>
                <a:lnTo>
                  <a:pt x="6677573" y="3131186"/>
                </a:lnTo>
                <a:lnTo>
                  <a:pt x="6673124" y="3129995"/>
                </a:lnTo>
                <a:lnTo>
                  <a:pt x="6671171" y="3127504"/>
                </a:lnTo>
                <a:lnTo>
                  <a:pt x="6671171" y="3123715"/>
                </a:lnTo>
                <a:lnTo>
                  <a:pt x="6668675" y="3121549"/>
                </a:lnTo>
                <a:lnTo>
                  <a:pt x="6665853" y="3123173"/>
                </a:lnTo>
                <a:lnTo>
                  <a:pt x="6661621" y="3120683"/>
                </a:lnTo>
                <a:lnTo>
                  <a:pt x="6659017" y="3121008"/>
                </a:lnTo>
                <a:lnTo>
                  <a:pt x="6655327" y="3124906"/>
                </a:lnTo>
                <a:lnTo>
                  <a:pt x="6649468" y="3125772"/>
                </a:lnTo>
                <a:lnTo>
                  <a:pt x="6648491" y="3128154"/>
                </a:lnTo>
                <a:lnTo>
                  <a:pt x="6645018" y="3128587"/>
                </a:lnTo>
                <a:lnTo>
                  <a:pt x="6642522" y="3126422"/>
                </a:lnTo>
                <a:lnTo>
                  <a:pt x="6639700" y="3127179"/>
                </a:lnTo>
                <a:lnTo>
                  <a:pt x="6634166" y="3134000"/>
                </a:lnTo>
                <a:lnTo>
                  <a:pt x="6630694" y="3134000"/>
                </a:lnTo>
                <a:lnTo>
                  <a:pt x="6631236" y="3130103"/>
                </a:lnTo>
                <a:lnTo>
                  <a:pt x="6630585" y="3122091"/>
                </a:lnTo>
                <a:lnTo>
                  <a:pt x="6628523" y="3116244"/>
                </a:lnTo>
                <a:lnTo>
                  <a:pt x="6629500" y="3112130"/>
                </a:lnTo>
                <a:lnTo>
                  <a:pt x="6628089" y="3108882"/>
                </a:lnTo>
                <a:lnTo>
                  <a:pt x="6628523" y="3111481"/>
                </a:lnTo>
                <a:lnTo>
                  <a:pt x="6626353" y="3116136"/>
                </a:lnTo>
                <a:lnTo>
                  <a:pt x="6623314" y="3118085"/>
                </a:lnTo>
                <a:lnTo>
                  <a:pt x="6620385" y="3116028"/>
                </a:lnTo>
                <a:lnTo>
                  <a:pt x="6616261" y="3118951"/>
                </a:lnTo>
                <a:lnTo>
                  <a:pt x="6610293" y="3119492"/>
                </a:lnTo>
                <a:lnTo>
                  <a:pt x="6606603" y="3118085"/>
                </a:lnTo>
                <a:lnTo>
                  <a:pt x="6601611" y="3117760"/>
                </a:lnTo>
                <a:lnTo>
                  <a:pt x="6600092" y="3114728"/>
                </a:lnTo>
                <a:lnTo>
                  <a:pt x="6596402" y="3117869"/>
                </a:lnTo>
                <a:lnTo>
                  <a:pt x="6593689" y="3117869"/>
                </a:lnTo>
                <a:lnTo>
                  <a:pt x="6590976" y="3111264"/>
                </a:lnTo>
                <a:lnTo>
                  <a:pt x="6590868" y="3105525"/>
                </a:lnTo>
                <a:lnTo>
                  <a:pt x="6589566" y="3094915"/>
                </a:lnTo>
                <a:lnTo>
                  <a:pt x="6585442" y="3092208"/>
                </a:lnTo>
                <a:lnTo>
                  <a:pt x="6584248" y="3089284"/>
                </a:lnTo>
                <a:lnTo>
                  <a:pt x="6586961" y="3086145"/>
                </a:lnTo>
                <a:lnTo>
                  <a:pt x="6590217" y="3081381"/>
                </a:lnTo>
                <a:lnTo>
                  <a:pt x="6589566" y="3077159"/>
                </a:lnTo>
                <a:lnTo>
                  <a:pt x="6587287" y="3072936"/>
                </a:lnTo>
                <a:lnTo>
                  <a:pt x="6580451" y="3066115"/>
                </a:lnTo>
                <a:lnTo>
                  <a:pt x="6574590" y="3062759"/>
                </a:lnTo>
                <a:lnTo>
                  <a:pt x="6568948" y="3061351"/>
                </a:lnTo>
                <a:lnTo>
                  <a:pt x="6568731" y="3059510"/>
                </a:lnTo>
                <a:lnTo>
                  <a:pt x="6573071" y="3058969"/>
                </a:lnTo>
                <a:lnTo>
                  <a:pt x="6576761" y="3055721"/>
                </a:lnTo>
                <a:lnTo>
                  <a:pt x="6585117" y="3053772"/>
                </a:lnTo>
                <a:lnTo>
                  <a:pt x="6590759" y="3049333"/>
                </a:lnTo>
                <a:lnTo>
                  <a:pt x="6595426" y="3049658"/>
                </a:lnTo>
                <a:lnTo>
                  <a:pt x="6591085" y="3048358"/>
                </a:lnTo>
                <a:lnTo>
                  <a:pt x="6584683" y="3052365"/>
                </a:lnTo>
                <a:lnTo>
                  <a:pt x="6577195" y="3053447"/>
                </a:lnTo>
                <a:lnTo>
                  <a:pt x="6574156" y="3054205"/>
                </a:lnTo>
                <a:lnTo>
                  <a:pt x="6569273" y="3052690"/>
                </a:lnTo>
                <a:lnTo>
                  <a:pt x="6566235" y="3047167"/>
                </a:lnTo>
                <a:lnTo>
                  <a:pt x="6567754" y="3045760"/>
                </a:lnTo>
                <a:lnTo>
                  <a:pt x="6570467" y="3047059"/>
                </a:lnTo>
                <a:lnTo>
                  <a:pt x="6568297" y="3043486"/>
                </a:lnTo>
                <a:lnTo>
                  <a:pt x="6561243" y="3034608"/>
                </a:lnTo>
                <a:lnTo>
                  <a:pt x="6560592" y="3025513"/>
                </a:lnTo>
                <a:lnTo>
                  <a:pt x="6563847" y="3023564"/>
                </a:lnTo>
                <a:lnTo>
                  <a:pt x="6564390" y="3020749"/>
                </a:lnTo>
                <a:lnTo>
                  <a:pt x="6563088" y="3017502"/>
                </a:lnTo>
                <a:lnTo>
                  <a:pt x="6563414" y="3014253"/>
                </a:lnTo>
                <a:lnTo>
                  <a:pt x="6567103" y="3007756"/>
                </a:lnTo>
                <a:lnTo>
                  <a:pt x="6572854" y="3000178"/>
                </a:lnTo>
                <a:lnTo>
                  <a:pt x="6575242" y="2996497"/>
                </a:lnTo>
                <a:lnTo>
                  <a:pt x="6578930" y="2995306"/>
                </a:lnTo>
                <a:lnTo>
                  <a:pt x="6578929" y="2995304"/>
                </a:lnTo>
                <a:lnTo>
                  <a:pt x="6580774" y="2994763"/>
                </a:lnTo>
                <a:lnTo>
                  <a:pt x="6584897" y="2999418"/>
                </a:lnTo>
                <a:lnTo>
                  <a:pt x="6587501" y="3003208"/>
                </a:lnTo>
                <a:lnTo>
                  <a:pt x="6594338" y="3003100"/>
                </a:lnTo>
                <a:lnTo>
                  <a:pt x="6604214" y="3006673"/>
                </a:lnTo>
                <a:lnTo>
                  <a:pt x="6613655" y="3007863"/>
                </a:lnTo>
                <a:lnTo>
                  <a:pt x="6613546" y="3006023"/>
                </a:lnTo>
                <a:lnTo>
                  <a:pt x="6617669" y="3000284"/>
                </a:lnTo>
                <a:lnTo>
                  <a:pt x="6617778" y="2993464"/>
                </a:lnTo>
                <a:lnTo>
                  <a:pt x="6619297" y="2988483"/>
                </a:lnTo>
                <a:lnTo>
                  <a:pt x="6621901" y="2985235"/>
                </a:lnTo>
                <a:lnTo>
                  <a:pt x="6627544" y="2984586"/>
                </a:lnTo>
                <a:lnTo>
                  <a:pt x="6630908" y="2982853"/>
                </a:lnTo>
                <a:lnTo>
                  <a:pt x="6633947" y="2983936"/>
                </a:lnTo>
                <a:lnTo>
                  <a:pt x="6631668" y="2981446"/>
                </a:lnTo>
                <a:lnTo>
                  <a:pt x="6630366" y="2975166"/>
                </a:lnTo>
                <a:lnTo>
                  <a:pt x="6632428" y="2974192"/>
                </a:lnTo>
                <a:lnTo>
                  <a:pt x="6651961" y="2969536"/>
                </a:lnTo>
                <a:lnTo>
                  <a:pt x="6658363" y="2964014"/>
                </a:lnTo>
                <a:lnTo>
                  <a:pt x="6664223" y="2956868"/>
                </a:lnTo>
                <a:lnTo>
                  <a:pt x="6665742" y="2952538"/>
                </a:lnTo>
                <a:lnTo>
                  <a:pt x="6672470" y="2946150"/>
                </a:lnTo>
                <a:lnTo>
                  <a:pt x="6674641" y="2941386"/>
                </a:lnTo>
                <a:lnTo>
                  <a:pt x="6680826" y="2936081"/>
                </a:lnTo>
                <a:lnTo>
                  <a:pt x="6681043" y="2930342"/>
                </a:lnTo>
                <a:lnTo>
                  <a:pt x="6684298" y="2926336"/>
                </a:lnTo>
                <a:lnTo>
                  <a:pt x="6684299" y="2926337"/>
                </a:lnTo>
                <a:lnTo>
                  <a:pt x="6685385" y="2924821"/>
                </a:lnTo>
                <a:lnTo>
                  <a:pt x="6694174" y="2922223"/>
                </a:lnTo>
                <a:lnTo>
                  <a:pt x="6699818" y="2918000"/>
                </a:lnTo>
                <a:lnTo>
                  <a:pt x="6704484" y="2916268"/>
                </a:lnTo>
                <a:lnTo>
                  <a:pt x="6704809" y="2921032"/>
                </a:lnTo>
                <a:lnTo>
                  <a:pt x="6704700" y="2922764"/>
                </a:lnTo>
                <a:lnTo>
                  <a:pt x="6704699" y="2922764"/>
                </a:lnTo>
                <a:lnTo>
                  <a:pt x="6704699" y="2923846"/>
                </a:lnTo>
                <a:lnTo>
                  <a:pt x="6705459" y="2923630"/>
                </a:lnTo>
                <a:lnTo>
                  <a:pt x="6706436" y="2927960"/>
                </a:lnTo>
                <a:lnTo>
                  <a:pt x="6706870" y="2933915"/>
                </a:lnTo>
                <a:lnTo>
                  <a:pt x="6710125" y="2935648"/>
                </a:lnTo>
                <a:lnTo>
                  <a:pt x="6710126" y="2935646"/>
                </a:lnTo>
                <a:lnTo>
                  <a:pt x="6706870" y="2933914"/>
                </a:lnTo>
                <a:lnTo>
                  <a:pt x="6706437" y="2927960"/>
                </a:lnTo>
                <a:lnTo>
                  <a:pt x="6705460" y="2923629"/>
                </a:lnTo>
                <a:lnTo>
                  <a:pt x="6707630" y="2923088"/>
                </a:lnTo>
                <a:lnTo>
                  <a:pt x="6708823" y="2921465"/>
                </a:lnTo>
                <a:lnTo>
                  <a:pt x="6708823" y="2921464"/>
                </a:lnTo>
                <a:lnTo>
                  <a:pt x="6709474" y="2920598"/>
                </a:lnTo>
                <a:lnTo>
                  <a:pt x="6713273" y="2918649"/>
                </a:lnTo>
                <a:lnTo>
                  <a:pt x="6715551" y="2915185"/>
                </a:lnTo>
                <a:lnTo>
                  <a:pt x="6710017" y="2916808"/>
                </a:lnTo>
                <a:lnTo>
                  <a:pt x="6707738" y="2915942"/>
                </a:lnTo>
                <a:lnTo>
                  <a:pt x="6709474" y="2913343"/>
                </a:lnTo>
                <a:lnTo>
                  <a:pt x="6706870" y="2913452"/>
                </a:lnTo>
                <a:lnTo>
                  <a:pt x="6709257" y="2910420"/>
                </a:lnTo>
                <a:lnTo>
                  <a:pt x="6716202" y="2907822"/>
                </a:lnTo>
                <a:lnTo>
                  <a:pt x="6720326" y="2907822"/>
                </a:lnTo>
                <a:lnTo>
                  <a:pt x="6728899" y="2898728"/>
                </a:lnTo>
                <a:lnTo>
                  <a:pt x="6729767" y="2892556"/>
                </a:lnTo>
                <a:lnTo>
                  <a:pt x="6734759" y="2881080"/>
                </a:lnTo>
                <a:lnTo>
                  <a:pt x="6738231" y="2880105"/>
                </a:lnTo>
                <a:lnTo>
                  <a:pt x="6741487" y="2869494"/>
                </a:lnTo>
                <a:lnTo>
                  <a:pt x="6744634" y="2869711"/>
                </a:lnTo>
                <a:lnTo>
                  <a:pt x="6745501" y="2873609"/>
                </a:lnTo>
                <a:lnTo>
                  <a:pt x="6743982" y="2877939"/>
                </a:lnTo>
                <a:lnTo>
                  <a:pt x="6746044" y="2878264"/>
                </a:lnTo>
                <a:lnTo>
                  <a:pt x="6751144" y="2873284"/>
                </a:lnTo>
                <a:lnTo>
                  <a:pt x="6749843" y="2868953"/>
                </a:lnTo>
                <a:close/>
                <a:moveTo>
                  <a:pt x="2253348" y="2864838"/>
                </a:moveTo>
                <a:lnTo>
                  <a:pt x="2249441" y="2866787"/>
                </a:lnTo>
                <a:lnTo>
                  <a:pt x="2245576" y="2864943"/>
                </a:lnTo>
                <a:lnTo>
                  <a:pt x="2249441" y="2866788"/>
                </a:lnTo>
                <a:lnTo>
                  <a:pt x="2253348" y="2864839"/>
                </a:lnTo>
                <a:lnTo>
                  <a:pt x="2259425" y="2865055"/>
                </a:lnTo>
                <a:lnTo>
                  <a:pt x="2265285" y="2866788"/>
                </a:lnTo>
                <a:lnTo>
                  <a:pt x="2266153" y="2866030"/>
                </a:lnTo>
                <a:lnTo>
                  <a:pt x="2265284" y="2866787"/>
                </a:lnTo>
                <a:lnTo>
                  <a:pt x="2259425" y="2865055"/>
                </a:lnTo>
                <a:close/>
                <a:moveTo>
                  <a:pt x="3874694" y="2862566"/>
                </a:moveTo>
                <a:lnTo>
                  <a:pt x="3872416" y="2865814"/>
                </a:lnTo>
                <a:lnTo>
                  <a:pt x="3872416" y="2865814"/>
                </a:lnTo>
                <a:close/>
                <a:moveTo>
                  <a:pt x="3747407" y="2861045"/>
                </a:moveTo>
                <a:lnTo>
                  <a:pt x="3747405" y="2861049"/>
                </a:lnTo>
                <a:lnTo>
                  <a:pt x="3747404" y="2861050"/>
                </a:lnTo>
                <a:lnTo>
                  <a:pt x="3749032" y="2865597"/>
                </a:lnTo>
                <a:lnTo>
                  <a:pt x="3745125" y="2874584"/>
                </a:lnTo>
                <a:lnTo>
                  <a:pt x="3741880" y="2878031"/>
                </a:lnTo>
                <a:lnTo>
                  <a:pt x="3745125" y="2874584"/>
                </a:lnTo>
                <a:lnTo>
                  <a:pt x="3749032" y="2865597"/>
                </a:lnTo>
                <a:lnTo>
                  <a:pt x="3747405" y="2861050"/>
                </a:lnTo>
                <a:close/>
                <a:moveTo>
                  <a:pt x="4222331" y="2860991"/>
                </a:moveTo>
                <a:lnTo>
                  <a:pt x="4222599" y="2863756"/>
                </a:lnTo>
                <a:lnTo>
                  <a:pt x="4219777" y="2868087"/>
                </a:lnTo>
                <a:lnTo>
                  <a:pt x="4216088" y="2869278"/>
                </a:lnTo>
                <a:lnTo>
                  <a:pt x="4214243" y="2871985"/>
                </a:lnTo>
                <a:lnTo>
                  <a:pt x="4214243" y="2874042"/>
                </a:lnTo>
                <a:lnTo>
                  <a:pt x="4211096" y="2879347"/>
                </a:lnTo>
                <a:lnTo>
                  <a:pt x="4205996" y="2882271"/>
                </a:lnTo>
                <a:lnTo>
                  <a:pt x="4203283" y="2881188"/>
                </a:lnTo>
                <a:lnTo>
                  <a:pt x="4199160" y="2878156"/>
                </a:lnTo>
                <a:lnTo>
                  <a:pt x="4203283" y="2881188"/>
                </a:lnTo>
                <a:lnTo>
                  <a:pt x="4205996" y="2882271"/>
                </a:lnTo>
                <a:lnTo>
                  <a:pt x="4211096" y="2879348"/>
                </a:lnTo>
                <a:lnTo>
                  <a:pt x="4214244" y="2874043"/>
                </a:lnTo>
                <a:lnTo>
                  <a:pt x="4214244" y="2871986"/>
                </a:lnTo>
                <a:lnTo>
                  <a:pt x="4216088" y="2869278"/>
                </a:lnTo>
                <a:lnTo>
                  <a:pt x="4219778" y="2868087"/>
                </a:lnTo>
                <a:lnTo>
                  <a:pt x="4222599" y="2863756"/>
                </a:lnTo>
                <a:close/>
                <a:moveTo>
                  <a:pt x="6194563" y="2860292"/>
                </a:moveTo>
                <a:lnTo>
                  <a:pt x="6197276" y="2862782"/>
                </a:lnTo>
                <a:lnTo>
                  <a:pt x="6196951" y="2867329"/>
                </a:lnTo>
                <a:lnTo>
                  <a:pt x="6198362" y="2871335"/>
                </a:lnTo>
                <a:lnTo>
                  <a:pt x="6195540" y="2874691"/>
                </a:lnTo>
                <a:cubicBezTo>
                  <a:pt x="6195540" y="2874691"/>
                  <a:pt x="6193696" y="2869820"/>
                  <a:pt x="6193695" y="2869820"/>
                </a:cubicBezTo>
                <a:cubicBezTo>
                  <a:pt x="6192930" y="2869242"/>
                  <a:pt x="6192091" y="2868768"/>
                  <a:pt x="6191200" y="2868412"/>
                </a:cubicBezTo>
                <a:lnTo>
                  <a:pt x="6191200" y="2863648"/>
                </a:lnTo>
                <a:close/>
                <a:moveTo>
                  <a:pt x="6755486" y="2858993"/>
                </a:moveTo>
                <a:lnTo>
                  <a:pt x="6757657" y="2859642"/>
                </a:lnTo>
                <a:lnTo>
                  <a:pt x="6757548" y="2863107"/>
                </a:lnTo>
                <a:lnTo>
                  <a:pt x="6752339" y="2864623"/>
                </a:lnTo>
                <a:lnTo>
                  <a:pt x="6751146" y="2863107"/>
                </a:lnTo>
                <a:close/>
                <a:moveTo>
                  <a:pt x="6749301" y="2858884"/>
                </a:moveTo>
                <a:lnTo>
                  <a:pt x="6749192" y="2860616"/>
                </a:lnTo>
                <a:lnTo>
                  <a:pt x="6746153" y="2862349"/>
                </a:lnTo>
                <a:lnTo>
                  <a:pt x="6743115" y="2862457"/>
                </a:lnTo>
                <a:close/>
                <a:moveTo>
                  <a:pt x="4756718" y="2858884"/>
                </a:moveTo>
                <a:lnTo>
                  <a:pt x="4761384" y="2867112"/>
                </a:lnTo>
                <a:lnTo>
                  <a:pt x="4761385" y="2867112"/>
                </a:lnTo>
                <a:lnTo>
                  <a:pt x="4756718" y="2858884"/>
                </a:lnTo>
                <a:close/>
                <a:moveTo>
                  <a:pt x="6191525" y="2854554"/>
                </a:moveTo>
                <a:lnTo>
                  <a:pt x="6194347" y="2854662"/>
                </a:lnTo>
                <a:lnTo>
                  <a:pt x="6190548" y="2859101"/>
                </a:lnTo>
                <a:lnTo>
                  <a:pt x="6189029" y="2857694"/>
                </a:lnTo>
                <a:close/>
                <a:moveTo>
                  <a:pt x="3644749" y="2853687"/>
                </a:moveTo>
                <a:lnTo>
                  <a:pt x="3647244" y="2854336"/>
                </a:lnTo>
                <a:lnTo>
                  <a:pt x="3649197" y="2856502"/>
                </a:lnTo>
                <a:lnTo>
                  <a:pt x="3649631" y="2859859"/>
                </a:lnTo>
                <a:lnTo>
                  <a:pt x="3647570" y="2859642"/>
                </a:lnTo>
                <a:lnTo>
                  <a:pt x="3644314" y="2857693"/>
                </a:lnTo>
                <a:lnTo>
                  <a:pt x="3643772" y="2855528"/>
                </a:lnTo>
                <a:close/>
                <a:moveTo>
                  <a:pt x="3876756" y="2853471"/>
                </a:moveTo>
                <a:lnTo>
                  <a:pt x="3875739" y="2855502"/>
                </a:lnTo>
                <a:lnTo>
                  <a:pt x="3876756" y="2853471"/>
                </a:lnTo>
                <a:close/>
                <a:moveTo>
                  <a:pt x="6317948" y="2851847"/>
                </a:moveTo>
                <a:lnTo>
                  <a:pt x="6319141" y="2852063"/>
                </a:lnTo>
                <a:lnTo>
                  <a:pt x="6319467" y="2854120"/>
                </a:lnTo>
                <a:lnTo>
                  <a:pt x="6318816" y="2856719"/>
                </a:lnTo>
                <a:close/>
                <a:moveTo>
                  <a:pt x="2228918" y="2851075"/>
                </a:moveTo>
                <a:lnTo>
                  <a:pt x="2227738" y="2853037"/>
                </a:lnTo>
                <a:lnTo>
                  <a:pt x="2228063" y="2856502"/>
                </a:lnTo>
                <a:lnTo>
                  <a:pt x="2233489" y="2860941"/>
                </a:lnTo>
                <a:lnTo>
                  <a:pt x="2236741" y="2862353"/>
                </a:lnTo>
                <a:lnTo>
                  <a:pt x="2233489" y="2860941"/>
                </a:lnTo>
                <a:lnTo>
                  <a:pt x="2228064" y="2856502"/>
                </a:lnTo>
                <a:lnTo>
                  <a:pt x="2227738" y="2853038"/>
                </a:lnTo>
                <a:close/>
                <a:moveTo>
                  <a:pt x="4747602" y="2847299"/>
                </a:moveTo>
                <a:lnTo>
                  <a:pt x="4749881" y="2850222"/>
                </a:lnTo>
                <a:lnTo>
                  <a:pt x="4754222" y="2854444"/>
                </a:lnTo>
                <a:lnTo>
                  <a:pt x="4754981" y="2857801"/>
                </a:lnTo>
                <a:lnTo>
                  <a:pt x="4756451" y="2858717"/>
                </a:lnTo>
                <a:lnTo>
                  <a:pt x="4754982" y="2857801"/>
                </a:lnTo>
                <a:lnTo>
                  <a:pt x="4754223" y="2854445"/>
                </a:lnTo>
                <a:lnTo>
                  <a:pt x="4749882" y="2850222"/>
                </a:lnTo>
                <a:lnTo>
                  <a:pt x="4747603" y="2847299"/>
                </a:lnTo>
                <a:close/>
                <a:moveTo>
                  <a:pt x="4734684" y="2846356"/>
                </a:moveTo>
                <a:lnTo>
                  <a:pt x="4737618" y="2847407"/>
                </a:lnTo>
                <a:lnTo>
                  <a:pt x="4747377" y="2847301"/>
                </a:lnTo>
                <a:lnTo>
                  <a:pt x="4737619" y="2847407"/>
                </a:lnTo>
                <a:close/>
                <a:moveTo>
                  <a:pt x="2516392" y="2844314"/>
                </a:moveTo>
                <a:lnTo>
                  <a:pt x="2515741" y="2844808"/>
                </a:lnTo>
                <a:lnTo>
                  <a:pt x="2512160" y="2844484"/>
                </a:lnTo>
                <a:lnTo>
                  <a:pt x="2515741" y="2844809"/>
                </a:lnTo>
                <a:close/>
                <a:moveTo>
                  <a:pt x="4337627" y="2843834"/>
                </a:moveTo>
                <a:lnTo>
                  <a:pt x="4336433" y="2845026"/>
                </a:lnTo>
                <a:lnTo>
                  <a:pt x="4337627" y="2843835"/>
                </a:lnTo>
                <a:lnTo>
                  <a:pt x="4340122" y="2846109"/>
                </a:lnTo>
                <a:lnTo>
                  <a:pt x="4341750" y="2851631"/>
                </a:lnTo>
                <a:lnTo>
                  <a:pt x="4343811" y="2853688"/>
                </a:lnTo>
                <a:lnTo>
                  <a:pt x="4348261" y="2853038"/>
                </a:lnTo>
                <a:lnTo>
                  <a:pt x="4348261" y="2853037"/>
                </a:lnTo>
                <a:lnTo>
                  <a:pt x="4343813" y="2853687"/>
                </a:lnTo>
                <a:lnTo>
                  <a:pt x="4341751" y="2851630"/>
                </a:lnTo>
                <a:lnTo>
                  <a:pt x="4340123" y="2846108"/>
                </a:lnTo>
                <a:close/>
                <a:moveTo>
                  <a:pt x="4732085" y="2843380"/>
                </a:moveTo>
                <a:lnTo>
                  <a:pt x="4732085" y="2843380"/>
                </a:lnTo>
                <a:lnTo>
                  <a:pt x="4733387" y="2845891"/>
                </a:lnTo>
                <a:close/>
                <a:moveTo>
                  <a:pt x="6185340" y="2842644"/>
                </a:moveTo>
                <a:lnTo>
                  <a:pt x="6187728" y="2847300"/>
                </a:lnTo>
                <a:lnTo>
                  <a:pt x="6185449" y="2848816"/>
                </a:lnTo>
                <a:lnTo>
                  <a:pt x="6182302" y="2846758"/>
                </a:lnTo>
                <a:lnTo>
                  <a:pt x="6181108" y="2843510"/>
                </a:lnTo>
                <a:close/>
                <a:moveTo>
                  <a:pt x="6301236" y="2839936"/>
                </a:moveTo>
                <a:cubicBezTo>
                  <a:pt x="6302175" y="2839881"/>
                  <a:pt x="6303118" y="2839881"/>
                  <a:pt x="6304057" y="2839936"/>
                </a:cubicBezTo>
                <a:lnTo>
                  <a:pt x="6304057" y="2845675"/>
                </a:lnTo>
                <a:lnTo>
                  <a:pt x="6301236" y="2849897"/>
                </a:lnTo>
                <a:lnTo>
                  <a:pt x="6301236" y="2845026"/>
                </a:lnTo>
                <a:lnTo>
                  <a:pt x="6300151" y="2843077"/>
                </a:lnTo>
                <a:close/>
                <a:moveTo>
                  <a:pt x="6750060" y="2838963"/>
                </a:moveTo>
                <a:lnTo>
                  <a:pt x="6751579" y="2840154"/>
                </a:lnTo>
                <a:lnTo>
                  <a:pt x="6750819" y="2842103"/>
                </a:lnTo>
                <a:lnTo>
                  <a:pt x="6750712" y="2848165"/>
                </a:lnTo>
                <a:lnTo>
                  <a:pt x="6748433" y="2848165"/>
                </a:lnTo>
                <a:lnTo>
                  <a:pt x="6745720" y="2843726"/>
                </a:lnTo>
                <a:lnTo>
                  <a:pt x="6745829" y="2840479"/>
                </a:lnTo>
                <a:close/>
                <a:moveTo>
                  <a:pt x="2230568" y="2838199"/>
                </a:moveTo>
                <a:lnTo>
                  <a:pt x="2231536" y="2841886"/>
                </a:lnTo>
                <a:lnTo>
                  <a:pt x="2229040" y="2846974"/>
                </a:lnTo>
                <a:lnTo>
                  <a:pt x="2229366" y="2850330"/>
                </a:lnTo>
                <a:lnTo>
                  <a:pt x="2229041" y="2846974"/>
                </a:lnTo>
                <a:lnTo>
                  <a:pt x="2231536" y="2841885"/>
                </a:lnTo>
                <a:close/>
                <a:moveTo>
                  <a:pt x="4389873" y="2835557"/>
                </a:moveTo>
                <a:lnTo>
                  <a:pt x="4387436" y="2838312"/>
                </a:lnTo>
                <a:lnTo>
                  <a:pt x="4381359" y="2838312"/>
                </a:lnTo>
                <a:lnTo>
                  <a:pt x="4367035" y="2841561"/>
                </a:lnTo>
                <a:lnTo>
                  <a:pt x="4361066" y="2845674"/>
                </a:lnTo>
                <a:lnTo>
                  <a:pt x="4354906" y="2848194"/>
                </a:lnTo>
                <a:lnTo>
                  <a:pt x="4361066" y="2845675"/>
                </a:lnTo>
                <a:lnTo>
                  <a:pt x="4367034" y="2841562"/>
                </a:lnTo>
                <a:lnTo>
                  <a:pt x="4381358" y="2838313"/>
                </a:lnTo>
                <a:lnTo>
                  <a:pt x="4387436" y="2838313"/>
                </a:lnTo>
                <a:close/>
                <a:moveTo>
                  <a:pt x="5856860" y="2834848"/>
                </a:moveTo>
                <a:lnTo>
                  <a:pt x="5856534" y="2835931"/>
                </a:lnTo>
                <a:lnTo>
                  <a:pt x="5855232" y="2836580"/>
                </a:lnTo>
                <a:lnTo>
                  <a:pt x="5856101" y="2840262"/>
                </a:lnTo>
                <a:lnTo>
                  <a:pt x="5853605" y="2845675"/>
                </a:lnTo>
                <a:lnTo>
                  <a:pt x="5854365" y="2840153"/>
                </a:lnTo>
                <a:lnTo>
                  <a:pt x="5854039" y="2836039"/>
                </a:lnTo>
                <a:close/>
                <a:moveTo>
                  <a:pt x="3888801" y="2834415"/>
                </a:moveTo>
                <a:lnTo>
                  <a:pt x="3883919" y="2837447"/>
                </a:lnTo>
                <a:lnTo>
                  <a:pt x="3880664" y="2842226"/>
                </a:lnTo>
                <a:lnTo>
                  <a:pt x="3883919" y="2837447"/>
                </a:lnTo>
                <a:lnTo>
                  <a:pt x="3888801" y="2834416"/>
                </a:lnTo>
                <a:close/>
                <a:moveTo>
                  <a:pt x="6188053" y="2834199"/>
                </a:moveTo>
                <a:lnTo>
                  <a:pt x="6189790" y="2835931"/>
                </a:lnTo>
                <a:lnTo>
                  <a:pt x="6190006" y="2839612"/>
                </a:lnTo>
                <a:lnTo>
                  <a:pt x="6188162" y="2841669"/>
                </a:lnTo>
                <a:lnTo>
                  <a:pt x="6186100" y="2838205"/>
                </a:lnTo>
                <a:close/>
                <a:moveTo>
                  <a:pt x="6756789" y="2833332"/>
                </a:moveTo>
                <a:lnTo>
                  <a:pt x="6757873" y="2836364"/>
                </a:lnTo>
                <a:lnTo>
                  <a:pt x="6755269" y="2835065"/>
                </a:lnTo>
                <a:close/>
                <a:moveTo>
                  <a:pt x="6754401" y="2832683"/>
                </a:moveTo>
                <a:lnTo>
                  <a:pt x="6754076" y="2834631"/>
                </a:lnTo>
                <a:lnTo>
                  <a:pt x="6752014" y="2834955"/>
                </a:lnTo>
                <a:close/>
                <a:moveTo>
                  <a:pt x="4737983" y="2831955"/>
                </a:moveTo>
                <a:lnTo>
                  <a:pt x="4737837" y="2834282"/>
                </a:lnTo>
                <a:lnTo>
                  <a:pt x="4737837" y="2834299"/>
                </a:lnTo>
                <a:lnTo>
                  <a:pt x="4737984" y="2831955"/>
                </a:lnTo>
                <a:close/>
                <a:moveTo>
                  <a:pt x="6175465" y="2831167"/>
                </a:moveTo>
                <a:lnTo>
                  <a:pt x="6178829" y="2832033"/>
                </a:lnTo>
                <a:lnTo>
                  <a:pt x="6180674" y="2838421"/>
                </a:lnTo>
                <a:lnTo>
                  <a:pt x="6176767" y="2834740"/>
                </a:lnTo>
                <a:cubicBezTo>
                  <a:pt x="6176767" y="2834740"/>
                  <a:pt x="6175465" y="2831167"/>
                  <a:pt x="6175465" y="2831167"/>
                </a:cubicBezTo>
                <a:close/>
                <a:moveTo>
                  <a:pt x="4397636" y="2830084"/>
                </a:moveTo>
                <a:lnTo>
                  <a:pt x="4390691" y="2834631"/>
                </a:lnTo>
                <a:lnTo>
                  <a:pt x="4390691" y="2834632"/>
                </a:lnTo>
                <a:lnTo>
                  <a:pt x="4397636" y="2830085"/>
                </a:lnTo>
                <a:close/>
                <a:moveTo>
                  <a:pt x="3714199" y="2826836"/>
                </a:moveTo>
                <a:lnTo>
                  <a:pt x="3703998" y="2830084"/>
                </a:lnTo>
                <a:lnTo>
                  <a:pt x="3701937" y="2829326"/>
                </a:lnTo>
                <a:lnTo>
                  <a:pt x="3696404" y="2831815"/>
                </a:lnTo>
                <a:lnTo>
                  <a:pt x="3696404" y="2831816"/>
                </a:lnTo>
                <a:lnTo>
                  <a:pt x="3701936" y="2829327"/>
                </a:lnTo>
                <a:lnTo>
                  <a:pt x="3703997" y="2830085"/>
                </a:lnTo>
                <a:lnTo>
                  <a:pt x="3714198" y="2826837"/>
                </a:lnTo>
                <a:lnTo>
                  <a:pt x="3718756" y="2828894"/>
                </a:lnTo>
                <a:lnTo>
                  <a:pt x="3721686" y="2834416"/>
                </a:lnTo>
                <a:lnTo>
                  <a:pt x="3726352" y="2836906"/>
                </a:lnTo>
                <a:lnTo>
                  <a:pt x="3725809" y="2846326"/>
                </a:lnTo>
                <a:lnTo>
                  <a:pt x="3724941" y="2851414"/>
                </a:lnTo>
                <a:lnTo>
                  <a:pt x="3731127" y="2858452"/>
                </a:lnTo>
                <a:lnTo>
                  <a:pt x="3733840" y="2857585"/>
                </a:lnTo>
                <a:lnTo>
                  <a:pt x="3741002" y="2852281"/>
                </a:lnTo>
                <a:lnTo>
                  <a:pt x="3743606" y="2853038"/>
                </a:lnTo>
                <a:lnTo>
                  <a:pt x="3747187" y="2856395"/>
                </a:lnTo>
                <a:lnTo>
                  <a:pt x="3748327" y="2858875"/>
                </a:lnTo>
                <a:lnTo>
                  <a:pt x="3748327" y="2858874"/>
                </a:lnTo>
                <a:lnTo>
                  <a:pt x="3748327" y="2858873"/>
                </a:lnTo>
                <a:lnTo>
                  <a:pt x="3748598" y="2858234"/>
                </a:lnTo>
                <a:lnTo>
                  <a:pt x="3752722" y="2856936"/>
                </a:lnTo>
                <a:lnTo>
                  <a:pt x="3759233" y="2842860"/>
                </a:lnTo>
                <a:lnTo>
                  <a:pt x="3752722" y="2856935"/>
                </a:lnTo>
                <a:lnTo>
                  <a:pt x="3748598" y="2858234"/>
                </a:lnTo>
                <a:lnTo>
                  <a:pt x="3748327" y="2858873"/>
                </a:lnTo>
                <a:lnTo>
                  <a:pt x="3747188" y="2856393"/>
                </a:lnTo>
                <a:lnTo>
                  <a:pt x="3743607" y="2853037"/>
                </a:lnTo>
                <a:lnTo>
                  <a:pt x="3741002" y="2852279"/>
                </a:lnTo>
                <a:lnTo>
                  <a:pt x="3733840" y="2857585"/>
                </a:lnTo>
                <a:lnTo>
                  <a:pt x="3731127" y="2858451"/>
                </a:lnTo>
                <a:lnTo>
                  <a:pt x="3724942" y="2851413"/>
                </a:lnTo>
                <a:lnTo>
                  <a:pt x="3725810" y="2846325"/>
                </a:lnTo>
                <a:lnTo>
                  <a:pt x="3726353" y="2836905"/>
                </a:lnTo>
                <a:lnTo>
                  <a:pt x="3721686" y="2834415"/>
                </a:lnTo>
                <a:lnTo>
                  <a:pt x="3718756" y="2828893"/>
                </a:lnTo>
                <a:close/>
                <a:moveTo>
                  <a:pt x="4509042" y="2824129"/>
                </a:moveTo>
                <a:lnTo>
                  <a:pt x="4508215" y="2825212"/>
                </a:lnTo>
                <a:lnTo>
                  <a:pt x="4508042" y="2825209"/>
                </a:lnTo>
                <a:lnTo>
                  <a:pt x="4508041" y="2825210"/>
                </a:lnTo>
                <a:lnTo>
                  <a:pt x="4508214" y="2825213"/>
                </a:lnTo>
                <a:lnTo>
                  <a:pt x="4509042" y="2824129"/>
                </a:lnTo>
                <a:close/>
                <a:moveTo>
                  <a:pt x="3760969" y="2823155"/>
                </a:moveTo>
                <a:lnTo>
                  <a:pt x="3760535" y="2826402"/>
                </a:lnTo>
                <a:lnTo>
                  <a:pt x="3756629" y="2825970"/>
                </a:lnTo>
                <a:lnTo>
                  <a:pt x="3753590" y="2827594"/>
                </a:lnTo>
                <a:lnTo>
                  <a:pt x="3753590" y="2830734"/>
                </a:lnTo>
                <a:lnTo>
                  <a:pt x="3755203" y="2832493"/>
                </a:lnTo>
                <a:lnTo>
                  <a:pt x="3753590" y="2830734"/>
                </a:lnTo>
                <a:lnTo>
                  <a:pt x="3753590" y="2827594"/>
                </a:lnTo>
                <a:lnTo>
                  <a:pt x="3756629" y="2825970"/>
                </a:lnTo>
                <a:lnTo>
                  <a:pt x="3760536" y="2826403"/>
                </a:lnTo>
                <a:close/>
                <a:moveTo>
                  <a:pt x="1983358" y="2822938"/>
                </a:moveTo>
                <a:lnTo>
                  <a:pt x="1979560" y="2825861"/>
                </a:lnTo>
                <a:lnTo>
                  <a:pt x="1979560" y="2825862"/>
                </a:lnTo>
                <a:lnTo>
                  <a:pt x="1983358" y="2822938"/>
                </a:lnTo>
                <a:close/>
                <a:moveTo>
                  <a:pt x="4294397" y="2822127"/>
                </a:moveTo>
                <a:lnTo>
                  <a:pt x="4301925" y="2830409"/>
                </a:lnTo>
                <a:lnTo>
                  <a:pt x="4305614" y="2833549"/>
                </a:lnTo>
                <a:lnTo>
                  <a:pt x="4309196" y="2839612"/>
                </a:lnTo>
                <a:lnTo>
                  <a:pt x="4313319" y="2846000"/>
                </a:lnTo>
                <a:lnTo>
                  <a:pt x="4313427" y="2850114"/>
                </a:lnTo>
                <a:lnTo>
                  <a:pt x="4313427" y="2850115"/>
                </a:lnTo>
                <a:lnTo>
                  <a:pt x="4316032" y="2853038"/>
                </a:lnTo>
                <a:lnTo>
                  <a:pt x="4317008" y="2857802"/>
                </a:lnTo>
                <a:lnTo>
                  <a:pt x="4321566" y="2857802"/>
                </a:lnTo>
                <a:lnTo>
                  <a:pt x="4325473" y="2856936"/>
                </a:lnTo>
                <a:lnTo>
                  <a:pt x="4331875" y="2856719"/>
                </a:lnTo>
                <a:lnTo>
                  <a:pt x="4332058" y="2856386"/>
                </a:lnTo>
                <a:lnTo>
                  <a:pt x="4331875" y="2856718"/>
                </a:lnTo>
                <a:lnTo>
                  <a:pt x="4325473" y="2856935"/>
                </a:lnTo>
                <a:lnTo>
                  <a:pt x="4321566" y="2857801"/>
                </a:lnTo>
                <a:lnTo>
                  <a:pt x="4317008" y="2857801"/>
                </a:lnTo>
                <a:lnTo>
                  <a:pt x="4316032" y="2853037"/>
                </a:lnTo>
                <a:lnTo>
                  <a:pt x="4313427" y="2850114"/>
                </a:lnTo>
                <a:lnTo>
                  <a:pt x="4313319" y="2845999"/>
                </a:lnTo>
                <a:lnTo>
                  <a:pt x="4309196" y="2839611"/>
                </a:lnTo>
                <a:lnTo>
                  <a:pt x="4305614" y="2833548"/>
                </a:lnTo>
                <a:lnTo>
                  <a:pt x="4301925" y="2830409"/>
                </a:lnTo>
                <a:close/>
                <a:moveTo>
                  <a:pt x="3959230" y="2819366"/>
                </a:moveTo>
                <a:lnTo>
                  <a:pt x="3961508" y="2821206"/>
                </a:lnTo>
                <a:lnTo>
                  <a:pt x="3961508" y="2821206"/>
                </a:lnTo>
                <a:close/>
                <a:moveTo>
                  <a:pt x="3888801" y="2818391"/>
                </a:moveTo>
                <a:lnTo>
                  <a:pt x="3890863" y="2824346"/>
                </a:lnTo>
                <a:lnTo>
                  <a:pt x="3888801" y="2829652"/>
                </a:lnTo>
                <a:lnTo>
                  <a:pt x="3890864" y="2824346"/>
                </a:lnTo>
                <a:close/>
                <a:moveTo>
                  <a:pt x="3693256" y="2814927"/>
                </a:moveTo>
                <a:lnTo>
                  <a:pt x="3697813" y="2819257"/>
                </a:lnTo>
                <a:lnTo>
                  <a:pt x="3697813" y="2819257"/>
                </a:lnTo>
                <a:close/>
                <a:moveTo>
                  <a:pt x="4498837" y="2814233"/>
                </a:moveTo>
                <a:lnTo>
                  <a:pt x="4498556" y="2815035"/>
                </a:lnTo>
                <a:lnTo>
                  <a:pt x="4498773" y="2822289"/>
                </a:lnTo>
                <a:lnTo>
                  <a:pt x="4499317" y="2822744"/>
                </a:lnTo>
                <a:lnTo>
                  <a:pt x="4499317" y="2822743"/>
                </a:lnTo>
                <a:lnTo>
                  <a:pt x="4498774" y="2822289"/>
                </a:lnTo>
                <a:lnTo>
                  <a:pt x="4498557" y="2815034"/>
                </a:lnTo>
                <a:close/>
                <a:moveTo>
                  <a:pt x="4432121" y="2813929"/>
                </a:moveTo>
                <a:lnTo>
                  <a:pt x="4428672" y="2816550"/>
                </a:lnTo>
                <a:lnTo>
                  <a:pt x="4419666" y="2817741"/>
                </a:lnTo>
                <a:lnTo>
                  <a:pt x="4413046" y="2818607"/>
                </a:lnTo>
                <a:lnTo>
                  <a:pt x="4406752" y="2817741"/>
                </a:lnTo>
                <a:lnTo>
                  <a:pt x="4402846" y="2816117"/>
                </a:lnTo>
                <a:lnTo>
                  <a:pt x="4397420" y="2816766"/>
                </a:lnTo>
                <a:lnTo>
                  <a:pt x="4393730" y="2815901"/>
                </a:lnTo>
                <a:lnTo>
                  <a:pt x="4390474" y="2817958"/>
                </a:lnTo>
                <a:lnTo>
                  <a:pt x="4393729" y="2815901"/>
                </a:lnTo>
                <a:lnTo>
                  <a:pt x="4397419" y="2816767"/>
                </a:lnTo>
                <a:lnTo>
                  <a:pt x="4402845" y="2816118"/>
                </a:lnTo>
                <a:lnTo>
                  <a:pt x="4406751" y="2817742"/>
                </a:lnTo>
                <a:lnTo>
                  <a:pt x="4413045" y="2818608"/>
                </a:lnTo>
                <a:lnTo>
                  <a:pt x="4419665" y="2817742"/>
                </a:lnTo>
                <a:lnTo>
                  <a:pt x="4428672" y="2816551"/>
                </a:lnTo>
                <a:close/>
                <a:moveTo>
                  <a:pt x="2214499" y="2813627"/>
                </a:moveTo>
                <a:lnTo>
                  <a:pt x="2216561" y="2813735"/>
                </a:lnTo>
                <a:lnTo>
                  <a:pt x="2220967" y="2821769"/>
                </a:lnTo>
                <a:lnTo>
                  <a:pt x="2216561" y="2813735"/>
                </a:lnTo>
                <a:close/>
                <a:moveTo>
                  <a:pt x="4758564" y="2813154"/>
                </a:moveTo>
                <a:lnTo>
                  <a:pt x="4758564" y="2813167"/>
                </a:lnTo>
                <a:lnTo>
                  <a:pt x="4758780" y="2816875"/>
                </a:lnTo>
                <a:lnTo>
                  <a:pt x="4757912" y="2828135"/>
                </a:lnTo>
                <a:lnTo>
                  <a:pt x="4757727" y="2828281"/>
                </a:lnTo>
                <a:lnTo>
                  <a:pt x="4757727" y="2828281"/>
                </a:lnTo>
                <a:lnTo>
                  <a:pt x="4757913" y="2828135"/>
                </a:lnTo>
                <a:lnTo>
                  <a:pt x="4758781" y="2816875"/>
                </a:lnTo>
                <a:close/>
                <a:moveTo>
                  <a:pt x="4018846" y="2812703"/>
                </a:moveTo>
                <a:lnTo>
                  <a:pt x="4018479" y="2812761"/>
                </a:lnTo>
                <a:lnTo>
                  <a:pt x="4017249" y="2813252"/>
                </a:lnTo>
                <a:lnTo>
                  <a:pt x="4018480" y="2812761"/>
                </a:lnTo>
                <a:close/>
                <a:moveTo>
                  <a:pt x="4246167" y="2812382"/>
                </a:moveTo>
                <a:lnTo>
                  <a:pt x="4246906" y="2817958"/>
                </a:lnTo>
                <a:lnTo>
                  <a:pt x="4245062" y="2821422"/>
                </a:lnTo>
                <a:lnTo>
                  <a:pt x="4244628" y="2826403"/>
                </a:lnTo>
                <a:lnTo>
                  <a:pt x="4239745" y="2829651"/>
                </a:lnTo>
                <a:lnTo>
                  <a:pt x="4233559" y="2836255"/>
                </a:lnTo>
                <a:lnTo>
                  <a:pt x="4231280" y="2839937"/>
                </a:lnTo>
                <a:lnTo>
                  <a:pt x="4232474" y="2843402"/>
                </a:lnTo>
                <a:lnTo>
                  <a:pt x="4231497" y="2847299"/>
                </a:lnTo>
                <a:lnTo>
                  <a:pt x="4224118" y="2854553"/>
                </a:lnTo>
                <a:lnTo>
                  <a:pt x="4222273" y="2860400"/>
                </a:lnTo>
                <a:lnTo>
                  <a:pt x="4222273" y="2860401"/>
                </a:lnTo>
                <a:lnTo>
                  <a:pt x="4224119" y="2854554"/>
                </a:lnTo>
                <a:lnTo>
                  <a:pt x="4231498" y="2847299"/>
                </a:lnTo>
                <a:lnTo>
                  <a:pt x="4232474" y="2843402"/>
                </a:lnTo>
                <a:lnTo>
                  <a:pt x="4231281" y="2839937"/>
                </a:lnTo>
                <a:lnTo>
                  <a:pt x="4233559" y="2836256"/>
                </a:lnTo>
                <a:lnTo>
                  <a:pt x="4239745" y="2829652"/>
                </a:lnTo>
                <a:lnTo>
                  <a:pt x="4244628" y="2826403"/>
                </a:lnTo>
                <a:lnTo>
                  <a:pt x="4245062" y="2821423"/>
                </a:lnTo>
                <a:lnTo>
                  <a:pt x="4246907" y="2817958"/>
                </a:lnTo>
                <a:close/>
                <a:moveTo>
                  <a:pt x="6169714" y="2812220"/>
                </a:moveTo>
                <a:lnTo>
                  <a:pt x="6168194" y="2815143"/>
                </a:lnTo>
                <a:lnTo>
                  <a:pt x="6165265" y="2813627"/>
                </a:lnTo>
                <a:close/>
                <a:moveTo>
                  <a:pt x="4280439" y="2812003"/>
                </a:moveTo>
                <a:lnTo>
                  <a:pt x="4280439" y="2812003"/>
                </a:lnTo>
                <a:lnTo>
                  <a:pt x="4283060" y="2812966"/>
                </a:lnTo>
                <a:close/>
                <a:moveTo>
                  <a:pt x="1981297" y="2810919"/>
                </a:moveTo>
                <a:lnTo>
                  <a:pt x="1978367" y="2814168"/>
                </a:lnTo>
                <a:lnTo>
                  <a:pt x="1978367" y="2814168"/>
                </a:lnTo>
                <a:lnTo>
                  <a:pt x="1981297" y="2810920"/>
                </a:lnTo>
                <a:close/>
                <a:moveTo>
                  <a:pt x="6909256" y="2808430"/>
                </a:moveTo>
                <a:lnTo>
                  <a:pt x="6910776" y="2809620"/>
                </a:lnTo>
                <a:lnTo>
                  <a:pt x="6910341" y="2812436"/>
                </a:lnTo>
                <a:lnTo>
                  <a:pt x="6906543" y="2813951"/>
                </a:lnTo>
                <a:lnTo>
                  <a:pt x="6903504" y="2811677"/>
                </a:lnTo>
                <a:lnTo>
                  <a:pt x="6904915" y="2808971"/>
                </a:lnTo>
                <a:close/>
                <a:moveTo>
                  <a:pt x="4277401" y="2807564"/>
                </a:moveTo>
                <a:lnTo>
                  <a:pt x="4279787" y="2809405"/>
                </a:lnTo>
                <a:lnTo>
                  <a:pt x="4280184" y="2810987"/>
                </a:lnTo>
                <a:lnTo>
                  <a:pt x="4279788" y="2809404"/>
                </a:lnTo>
                <a:close/>
                <a:moveTo>
                  <a:pt x="5864348" y="2806914"/>
                </a:moveTo>
                <a:lnTo>
                  <a:pt x="5869666" y="2808321"/>
                </a:lnTo>
                <a:lnTo>
                  <a:pt x="5869231" y="2810161"/>
                </a:lnTo>
                <a:lnTo>
                  <a:pt x="5872379" y="2811245"/>
                </a:lnTo>
                <a:lnTo>
                  <a:pt x="5873573" y="2809620"/>
                </a:lnTo>
                <a:lnTo>
                  <a:pt x="5880517" y="2812111"/>
                </a:lnTo>
                <a:lnTo>
                  <a:pt x="5880517" y="2814818"/>
                </a:lnTo>
                <a:lnTo>
                  <a:pt x="5881929" y="2816658"/>
                </a:lnTo>
                <a:lnTo>
                  <a:pt x="5883339" y="2821206"/>
                </a:lnTo>
                <a:lnTo>
                  <a:pt x="5885726" y="2820989"/>
                </a:lnTo>
                <a:lnTo>
                  <a:pt x="5888764" y="2826619"/>
                </a:lnTo>
                <a:lnTo>
                  <a:pt x="5890826" y="2827485"/>
                </a:lnTo>
                <a:lnTo>
                  <a:pt x="5891477" y="2829651"/>
                </a:lnTo>
                <a:lnTo>
                  <a:pt x="5886811" y="2832141"/>
                </a:lnTo>
                <a:lnTo>
                  <a:pt x="5890393" y="2832574"/>
                </a:lnTo>
                <a:lnTo>
                  <a:pt x="5890610" y="2833440"/>
                </a:lnTo>
                <a:lnTo>
                  <a:pt x="5894733" y="2832899"/>
                </a:lnTo>
                <a:lnTo>
                  <a:pt x="5897880" y="2840261"/>
                </a:lnTo>
                <a:lnTo>
                  <a:pt x="5901786" y="2850981"/>
                </a:lnTo>
                <a:lnTo>
                  <a:pt x="5905368" y="2854012"/>
                </a:lnTo>
                <a:lnTo>
                  <a:pt x="5904174" y="2857693"/>
                </a:lnTo>
                <a:lnTo>
                  <a:pt x="5906128" y="2860616"/>
                </a:lnTo>
                <a:lnTo>
                  <a:pt x="5906345" y="2867113"/>
                </a:lnTo>
                <a:lnTo>
                  <a:pt x="5905259" y="2868412"/>
                </a:lnTo>
                <a:lnTo>
                  <a:pt x="5905693" y="2872418"/>
                </a:lnTo>
                <a:lnTo>
                  <a:pt x="5904065" y="2876641"/>
                </a:lnTo>
                <a:lnTo>
                  <a:pt x="5900702" y="2883462"/>
                </a:lnTo>
                <a:lnTo>
                  <a:pt x="5892997" y="2891474"/>
                </a:lnTo>
                <a:lnTo>
                  <a:pt x="5885401" y="2893748"/>
                </a:lnTo>
                <a:lnTo>
                  <a:pt x="5877262" y="2894830"/>
                </a:lnTo>
                <a:lnTo>
                  <a:pt x="5872487" y="2896021"/>
                </a:lnTo>
                <a:lnTo>
                  <a:pt x="5866845" y="2892990"/>
                </a:lnTo>
                <a:lnTo>
                  <a:pt x="5863480" y="2887359"/>
                </a:lnTo>
                <a:lnTo>
                  <a:pt x="5859682" y="2874583"/>
                </a:lnTo>
                <a:lnTo>
                  <a:pt x="5856535" y="2863323"/>
                </a:lnTo>
                <a:lnTo>
                  <a:pt x="5857404" y="2859967"/>
                </a:lnTo>
                <a:lnTo>
                  <a:pt x="5855233" y="2850981"/>
                </a:lnTo>
                <a:lnTo>
                  <a:pt x="5856427" y="2849681"/>
                </a:lnTo>
                <a:lnTo>
                  <a:pt x="5855884" y="2846650"/>
                </a:lnTo>
                <a:lnTo>
                  <a:pt x="5857404" y="2835930"/>
                </a:lnTo>
                <a:lnTo>
                  <a:pt x="5859031" y="2833549"/>
                </a:lnTo>
                <a:lnTo>
                  <a:pt x="5858922" y="2827161"/>
                </a:lnTo>
                <a:lnTo>
                  <a:pt x="5856969" y="2822613"/>
                </a:lnTo>
                <a:lnTo>
                  <a:pt x="5857946" y="2821422"/>
                </a:lnTo>
                <a:lnTo>
                  <a:pt x="5856427" y="2819257"/>
                </a:lnTo>
                <a:lnTo>
                  <a:pt x="5853931" y="2818065"/>
                </a:lnTo>
                <a:lnTo>
                  <a:pt x="5853931" y="2816875"/>
                </a:lnTo>
                <a:lnTo>
                  <a:pt x="5856969" y="2817200"/>
                </a:lnTo>
                <a:lnTo>
                  <a:pt x="5859466" y="2819581"/>
                </a:lnTo>
                <a:lnTo>
                  <a:pt x="5860876" y="2820231"/>
                </a:lnTo>
                <a:lnTo>
                  <a:pt x="5863372" y="2815900"/>
                </a:lnTo>
                <a:lnTo>
                  <a:pt x="5863589" y="2812652"/>
                </a:lnTo>
                <a:lnTo>
                  <a:pt x="5863046" y="2811028"/>
                </a:lnTo>
                <a:lnTo>
                  <a:pt x="5864456" y="2810812"/>
                </a:lnTo>
                <a:lnTo>
                  <a:pt x="5865108" y="2809837"/>
                </a:lnTo>
                <a:lnTo>
                  <a:pt x="5864240" y="2808213"/>
                </a:lnTo>
                <a:close/>
                <a:moveTo>
                  <a:pt x="6932368" y="2806157"/>
                </a:moveTo>
                <a:lnTo>
                  <a:pt x="6936599" y="2809621"/>
                </a:lnTo>
                <a:lnTo>
                  <a:pt x="6935948" y="2813735"/>
                </a:lnTo>
                <a:lnTo>
                  <a:pt x="6932477" y="2811462"/>
                </a:lnTo>
                <a:lnTo>
                  <a:pt x="6931500" y="2808538"/>
                </a:lnTo>
                <a:close/>
                <a:moveTo>
                  <a:pt x="4502418" y="2805630"/>
                </a:moveTo>
                <a:lnTo>
                  <a:pt x="4501812" y="2808213"/>
                </a:lnTo>
                <a:lnTo>
                  <a:pt x="4501812" y="2808213"/>
                </a:lnTo>
                <a:close/>
                <a:moveTo>
                  <a:pt x="4276423" y="2804965"/>
                </a:moveTo>
                <a:lnTo>
                  <a:pt x="4276423" y="2804966"/>
                </a:lnTo>
                <a:lnTo>
                  <a:pt x="4276980" y="2806446"/>
                </a:lnTo>
                <a:close/>
                <a:moveTo>
                  <a:pt x="3957992" y="2802663"/>
                </a:moveTo>
                <a:lnTo>
                  <a:pt x="3959013" y="2803450"/>
                </a:lnTo>
                <a:lnTo>
                  <a:pt x="3961073" y="2804208"/>
                </a:lnTo>
                <a:lnTo>
                  <a:pt x="3959012" y="2803449"/>
                </a:lnTo>
                <a:close/>
                <a:moveTo>
                  <a:pt x="4027684" y="2802417"/>
                </a:moveTo>
                <a:lnTo>
                  <a:pt x="4025532" y="2806157"/>
                </a:lnTo>
                <a:lnTo>
                  <a:pt x="4024398" y="2808539"/>
                </a:lnTo>
                <a:lnTo>
                  <a:pt x="4025533" y="2806156"/>
                </a:lnTo>
                <a:close/>
                <a:moveTo>
                  <a:pt x="3984441" y="2802162"/>
                </a:moveTo>
                <a:lnTo>
                  <a:pt x="3985923" y="2809404"/>
                </a:lnTo>
                <a:lnTo>
                  <a:pt x="3985707" y="2816118"/>
                </a:lnTo>
                <a:lnTo>
                  <a:pt x="3985924" y="2809405"/>
                </a:lnTo>
                <a:close/>
                <a:moveTo>
                  <a:pt x="6341930" y="2801176"/>
                </a:moveTo>
                <a:lnTo>
                  <a:pt x="6343342" y="2804641"/>
                </a:lnTo>
                <a:lnTo>
                  <a:pt x="6342365" y="2809405"/>
                </a:lnTo>
                <a:lnTo>
                  <a:pt x="6338892" y="2806481"/>
                </a:lnTo>
                <a:lnTo>
                  <a:pt x="6338566" y="2803341"/>
                </a:lnTo>
                <a:close/>
                <a:moveTo>
                  <a:pt x="5868255" y="2799877"/>
                </a:moveTo>
                <a:lnTo>
                  <a:pt x="5871727" y="2800743"/>
                </a:lnTo>
                <a:lnTo>
                  <a:pt x="5872595" y="2804316"/>
                </a:lnTo>
                <a:lnTo>
                  <a:pt x="5878130" y="2807780"/>
                </a:lnTo>
                <a:lnTo>
                  <a:pt x="5879107" y="2810054"/>
                </a:lnTo>
                <a:lnTo>
                  <a:pt x="5876719" y="2808213"/>
                </a:lnTo>
                <a:lnTo>
                  <a:pt x="5872812" y="2808321"/>
                </a:lnTo>
                <a:lnTo>
                  <a:pt x="5870641" y="2806373"/>
                </a:lnTo>
                <a:lnTo>
                  <a:pt x="5865758" y="2804316"/>
                </a:lnTo>
                <a:lnTo>
                  <a:pt x="5866084" y="2802583"/>
                </a:lnTo>
                <a:lnTo>
                  <a:pt x="5868797" y="2802258"/>
                </a:lnTo>
                <a:lnTo>
                  <a:pt x="5867386" y="2801393"/>
                </a:lnTo>
                <a:close/>
                <a:moveTo>
                  <a:pt x="3885112" y="2798469"/>
                </a:moveTo>
                <a:lnTo>
                  <a:pt x="3883267" y="2806048"/>
                </a:lnTo>
                <a:lnTo>
                  <a:pt x="3883268" y="2806049"/>
                </a:lnTo>
                <a:lnTo>
                  <a:pt x="3885112" y="2798470"/>
                </a:lnTo>
                <a:close/>
                <a:moveTo>
                  <a:pt x="5864347" y="2797928"/>
                </a:moveTo>
                <a:lnTo>
                  <a:pt x="5865542" y="2798794"/>
                </a:lnTo>
                <a:lnTo>
                  <a:pt x="5863805" y="2802908"/>
                </a:lnTo>
                <a:lnTo>
                  <a:pt x="5862394" y="2803233"/>
                </a:lnTo>
                <a:lnTo>
                  <a:pt x="5862829" y="2805290"/>
                </a:lnTo>
                <a:lnTo>
                  <a:pt x="5856644" y="2801284"/>
                </a:lnTo>
                <a:lnTo>
                  <a:pt x="5856535" y="2798361"/>
                </a:lnTo>
                <a:close/>
                <a:moveTo>
                  <a:pt x="4441911" y="2797711"/>
                </a:moveTo>
                <a:lnTo>
                  <a:pt x="4438439" y="2800093"/>
                </a:lnTo>
                <a:lnTo>
                  <a:pt x="4438439" y="2800094"/>
                </a:lnTo>
                <a:lnTo>
                  <a:pt x="4441911" y="2797712"/>
                </a:lnTo>
                <a:close/>
                <a:moveTo>
                  <a:pt x="6963621" y="2797386"/>
                </a:moveTo>
                <a:lnTo>
                  <a:pt x="6966008" y="2799443"/>
                </a:lnTo>
                <a:lnTo>
                  <a:pt x="6965140" y="2802366"/>
                </a:lnTo>
                <a:lnTo>
                  <a:pt x="6963078" y="2800092"/>
                </a:lnTo>
                <a:close/>
                <a:moveTo>
                  <a:pt x="2214120" y="2796423"/>
                </a:moveTo>
                <a:lnTo>
                  <a:pt x="2213522" y="2803774"/>
                </a:lnTo>
                <a:lnTo>
                  <a:pt x="2209941" y="2811462"/>
                </a:lnTo>
                <a:lnTo>
                  <a:pt x="2209398" y="2813843"/>
                </a:lnTo>
                <a:lnTo>
                  <a:pt x="2209399" y="2813843"/>
                </a:lnTo>
                <a:lnTo>
                  <a:pt x="2209941" y="2811461"/>
                </a:lnTo>
                <a:lnTo>
                  <a:pt x="2213522" y="2803774"/>
                </a:lnTo>
                <a:close/>
                <a:moveTo>
                  <a:pt x="6950708" y="2796304"/>
                </a:moveTo>
                <a:lnTo>
                  <a:pt x="6954507" y="2797170"/>
                </a:lnTo>
                <a:lnTo>
                  <a:pt x="6956026" y="2796737"/>
                </a:lnTo>
                <a:lnTo>
                  <a:pt x="6957002" y="2800743"/>
                </a:lnTo>
                <a:lnTo>
                  <a:pt x="6963622" y="2806048"/>
                </a:lnTo>
                <a:lnTo>
                  <a:pt x="6968288" y="2810704"/>
                </a:lnTo>
                <a:lnTo>
                  <a:pt x="6971327" y="2807997"/>
                </a:lnTo>
                <a:lnTo>
                  <a:pt x="6971218" y="2811570"/>
                </a:lnTo>
                <a:lnTo>
                  <a:pt x="6974582" y="2816659"/>
                </a:lnTo>
                <a:lnTo>
                  <a:pt x="6974582" y="2822722"/>
                </a:lnTo>
                <a:lnTo>
                  <a:pt x="6971327" y="2822181"/>
                </a:lnTo>
                <a:lnTo>
                  <a:pt x="6970675" y="2824779"/>
                </a:lnTo>
                <a:lnTo>
                  <a:pt x="6973388" y="2828244"/>
                </a:lnTo>
                <a:lnTo>
                  <a:pt x="6975341" y="2828460"/>
                </a:lnTo>
                <a:lnTo>
                  <a:pt x="6975016" y="2831275"/>
                </a:lnTo>
                <a:lnTo>
                  <a:pt x="6975125" y="2837013"/>
                </a:lnTo>
                <a:lnTo>
                  <a:pt x="6976861" y="2834199"/>
                </a:lnTo>
                <a:lnTo>
                  <a:pt x="6977620" y="2839720"/>
                </a:lnTo>
                <a:lnTo>
                  <a:pt x="6977620" y="2845026"/>
                </a:lnTo>
                <a:lnTo>
                  <a:pt x="6980116" y="2849032"/>
                </a:lnTo>
                <a:lnTo>
                  <a:pt x="6982938" y="2853579"/>
                </a:lnTo>
                <a:lnTo>
                  <a:pt x="6983806" y="2861266"/>
                </a:lnTo>
                <a:lnTo>
                  <a:pt x="6981310" y="2867654"/>
                </a:lnTo>
                <a:lnTo>
                  <a:pt x="6979356" y="2867438"/>
                </a:lnTo>
                <a:lnTo>
                  <a:pt x="6979465" y="2870361"/>
                </a:lnTo>
                <a:lnTo>
                  <a:pt x="6977838" y="2867221"/>
                </a:lnTo>
                <a:lnTo>
                  <a:pt x="6975125" y="2867654"/>
                </a:lnTo>
                <a:lnTo>
                  <a:pt x="6974257" y="2870578"/>
                </a:lnTo>
                <a:lnTo>
                  <a:pt x="6975993" y="2877507"/>
                </a:lnTo>
                <a:lnTo>
                  <a:pt x="6975450" y="2882812"/>
                </a:lnTo>
                <a:lnTo>
                  <a:pt x="6975341" y="2886168"/>
                </a:lnTo>
                <a:lnTo>
                  <a:pt x="6973714" y="2882812"/>
                </a:lnTo>
                <a:lnTo>
                  <a:pt x="6971544" y="2875666"/>
                </a:lnTo>
                <a:lnTo>
                  <a:pt x="6971761" y="2871335"/>
                </a:lnTo>
                <a:lnTo>
                  <a:pt x="6969482" y="2867654"/>
                </a:lnTo>
                <a:lnTo>
                  <a:pt x="6968288" y="2862999"/>
                </a:lnTo>
                <a:lnTo>
                  <a:pt x="6964925" y="2858234"/>
                </a:lnTo>
                <a:lnTo>
                  <a:pt x="6961777" y="2860076"/>
                </a:lnTo>
                <a:lnTo>
                  <a:pt x="6955917" y="2870361"/>
                </a:lnTo>
                <a:lnTo>
                  <a:pt x="6954940" y="2874150"/>
                </a:lnTo>
                <a:lnTo>
                  <a:pt x="6959064" y="2877290"/>
                </a:lnTo>
                <a:lnTo>
                  <a:pt x="6961669" y="2883570"/>
                </a:lnTo>
                <a:lnTo>
                  <a:pt x="6963839" y="2886601"/>
                </a:lnTo>
                <a:lnTo>
                  <a:pt x="6963622" y="2891474"/>
                </a:lnTo>
                <a:lnTo>
                  <a:pt x="6957002" y="2899919"/>
                </a:lnTo>
                <a:lnTo>
                  <a:pt x="6953638" y="2902409"/>
                </a:lnTo>
                <a:lnTo>
                  <a:pt x="6952119" y="2900461"/>
                </a:lnTo>
                <a:lnTo>
                  <a:pt x="6950600" y="2896021"/>
                </a:lnTo>
                <a:lnTo>
                  <a:pt x="6952336" y="2893314"/>
                </a:lnTo>
                <a:lnTo>
                  <a:pt x="6950817" y="2891365"/>
                </a:lnTo>
                <a:lnTo>
                  <a:pt x="6948321" y="2893098"/>
                </a:lnTo>
                <a:lnTo>
                  <a:pt x="6947778" y="2895696"/>
                </a:lnTo>
                <a:lnTo>
                  <a:pt x="6943872" y="2897970"/>
                </a:lnTo>
                <a:lnTo>
                  <a:pt x="6938880" y="2895913"/>
                </a:lnTo>
                <a:lnTo>
                  <a:pt x="6934756" y="2892123"/>
                </a:lnTo>
                <a:lnTo>
                  <a:pt x="6929439" y="2892123"/>
                </a:lnTo>
                <a:lnTo>
                  <a:pt x="6924881" y="2886927"/>
                </a:lnTo>
                <a:lnTo>
                  <a:pt x="6924122" y="2882920"/>
                </a:lnTo>
                <a:lnTo>
                  <a:pt x="6920757" y="2878481"/>
                </a:lnTo>
                <a:lnTo>
                  <a:pt x="6921843" y="2875450"/>
                </a:lnTo>
                <a:lnTo>
                  <a:pt x="6921300" y="2871768"/>
                </a:lnTo>
                <a:lnTo>
                  <a:pt x="6919021" y="2869062"/>
                </a:lnTo>
                <a:lnTo>
                  <a:pt x="6921191" y="2866354"/>
                </a:lnTo>
                <a:lnTo>
                  <a:pt x="6920975" y="2863865"/>
                </a:lnTo>
                <a:lnTo>
                  <a:pt x="6922820" y="2862890"/>
                </a:lnTo>
                <a:lnTo>
                  <a:pt x="6927052" y="2864406"/>
                </a:lnTo>
                <a:lnTo>
                  <a:pt x="6923253" y="2860725"/>
                </a:lnTo>
                <a:lnTo>
                  <a:pt x="6922277" y="2856719"/>
                </a:lnTo>
                <a:lnTo>
                  <a:pt x="6917718" y="2852929"/>
                </a:lnTo>
                <a:lnTo>
                  <a:pt x="6913704" y="2852172"/>
                </a:lnTo>
                <a:lnTo>
                  <a:pt x="6909146" y="2848166"/>
                </a:lnTo>
                <a:lnTo>
                  <a:pt x="6906976" y="2848057"/>
                </a:lnTo>
                <a:lnTo>
                  <a:pt x="6905023" y="2850114"/>
                </a:lnTo>
                <a:lnTo>
                  <a:pt x="6906107" y="2852280"/>
                </a:lnTo>
                <a:lnTo>
                  <a:pt x="6904480" y="2854337"/>
                </a:lnTo>
                <a:lnTo>
                  <a:pt x="6907084" y="2858018"/>
                </a:lnTo>
                <a:lnTo>
                  <a:pt x="6905131" y="2857802"/>
                </a:lnTo>
                <a:lnTo>
                  <a:pt x="6901333" y="2854986"/>
                </a:lnTo>
                <a:lnTo>
                  <a:pt x="6898837" y="2855311"/>
                </a:lnTo>
                <a:lnTo>
                  <a:pt x="6900030" y="2852388"/>
                </a:lnTo>
                <a:lnTo>
                  <a:pt x="6897644" y="2851522"/>
                </a:lnTo>
                <a:lnTo>
                  <a:pt x="6895799" y="2852929"/>
                </a:lnTo>
                <a:lnTo>
                  <a:pt x="6895473" y="2857260"/>
                </a:lnTo>
                <a:lnTo>
                  <a:pt x="6893086" y="2855852"/>
                </a:lnTo>
                <a:lnTo>
                  <a:pt x="6890915" y="2857044"/>
                </a:lnTo>
                <a:lnTo>
                  <a:pt x="6889505" y="2855636"/>
                </a:lnTo>
                <a:lnTo>
                  <a:pt x="6890481" y="2850764"/>
                </a:lnTo>
                <a:lnTo>
                  <a:pt x="6887334" y="2847732"/>
                </a:lnTo>
                <a:lnTo>
                  <a:pt x="6884730" y="2848923"/>
                </a:lnTo>
                <a:lnTo>
                  <a:pt x="6882125" y="2854770"/>
                </a:lnTo>
                <a:lnTo>
                  <a:pt x="6879412" y="2857152"/>
                </a:lnTo>
                <a:lnTo>
                  <a:pt x="6875831" y="2867221"/>
                </a:lnTo>
                <a:lnTo>
                  <a:pt x="6873878" y="2870361"/>
                </a:lnTo>
                <a:lnTo>
                  <a:pt x="6868886" y="2865056"/>
                </a:lnTo>
                <a:lnTo>
                  <a:pt x="6872142" y="2858343"/>
                </a:lnTo>
                <a:lnTo>
                  <a:pt x="6873552" y="2851413"/>
                </a:lnTo>
                <a:lnTo>
                  <a:pt x="6871925" y="2848057"/>
                </a:lnTo>
                <a:lnTo>
                  <a:pt x="6876265" y="2842860"/>
                </a:lnTo>
                <a:lnTo>
                  <a:pt x="6880932" y="2841669"/>
                </a:lnTo>
                <a:lnTo>
                  <a:pt x="6884404" y="2838205"/>
                </a:lnTo>
                <a:lnTo>
                  <a:pt x="6888853" y="2839612"/>
                </a:lnTo>
                <a:lnTo>
                  <a:pt x="6895581" y="2838205"/>
                </a:lnTo>
                <a:lnTo>
                  <a:pt x="6893519" y="2834199"/>
                </a:lnTo>
                <a:lnTo>
                  <a:pt x="6895690" y="2829976"/>
                </a:lnTo>
                <a:lnTo>
                  <a:pt x="6901224" y="2827594"/>
                </a:lnTo>
                <a:lnTo>
                  <a:pt x="6904046" y="2823371"/>
                </a:lnTo>
                <a:lnTo>
                  <a:pt x="6907844" y="2823046"/>
                </a:lnTo>
                <a:lnTo>
                  <a:pt x="6914138" y="2828460"/>
                </a:lnTo>
                <a:lnTo>
                  <a:pt x="6914464" y="2836364"/>
                </a:lnTo>
                <a:lnTo>
                  <a:pt x="6909580" y="2843835"/>
                </a:lnTo>
                <a:lnTo>
                  <a:pt x="6913812" y="2839612"/>
                </a:lnTo>
                <a:lnTo>
                  <a:pt x="6918370" y="2838529"/>
                </a:lnTo>
                <a:lnTo>
                  <a:pt x="6923796" y="2835715"/>
                </a:lnTo>
                <a:lnTo>
                  <a:pt x="6926400" y="2827594"/>
                </a:lnTo>
                <a:lnTo>
                  <a:pt x="6931392" y="2825537"/>
                </a:lnTo>
                <a:lnTo>
                  <a:pt x="6933779" y="2830842"/>
                </a:lnTo>
                <a:lnTo>
                  <a:pt x="6936710" y="2829434"/>
                </a:lnTo>
                <a:lnTo>
                  <a:pt x="6937252" y="2825645"/>
                </a:lnTo>
                <a:lnTo>
                  <a:pt x="6935407" y="2824238"/>
                </a:lnTo>
                <a:lnTo>
                  <a:pt x="6937795" y="2815034"/>
                </a:lnTo>
                <a:lnTo>
                  <a:pt x="6942895" y="2817092"/>
                </a:lnTo>
                <a:lnTo>
                  <a:pt x="6945825" y="2819258"/>
                </a:lnTo>
                <a:lnTo>
                  <a:pt x="6947019" y="2817092"/>
                </a:lnTo>
                <a:lnTo>
                  <a:pt x="6947019" y="2810920"/>
                </a:lnTo>
                <a:lnTo>
                  <a:pt x="6948755" y="2810487"/>
                </a:lnTo>
                <a:lnTo>
                  <a:pt x="6952444" y="2814493"/>
                </a:lnTo>
                <a:lnTo>
                  <a:pt x="6952553" y="2810920"/>
                </a:lnTo>
                <a:lnTo>
                  <a:pt x="6950491" y="2801609"/>
                </a:lnTo>
                <a:close/>
                <a:moveTo>
                  <a:pt x="6340844" y="2796088"/>
                </a:moveTo>
                <a:lnTo>
                  <a:pt x="6339651" y="2798578"/>
                </a:lnTo>
                <a:lnTo>
                  <a:pt x="6336504" y="2797712"/>
                </a:lnTo>
                <a:close/>
                <a:moveTo>
                  <a:pt x="4303414" y="2794911"/>
                </a:moveTo>
                <a:lnTo>
                  <a:pt x="4304312" y="2795004"/>
                </a:lnTo>
                <a:lnTo>
                  <a:pt x="4306917" y="2796520"/>
                </a:lnTo>
                <a:lnTo>
                  <a:pt x="4307434" y="2796606"/>
                </a:lnTo>
                <a:lnTo>
                  <a:pt x="4306917" y="2796520"/>
                </a:lnTo>
                <a:lnTo>
                  <a:pt x="4304313" y="2795004"/>
                </a:lnTo>
                <a:close/>
                <a:moveTo>
                  <a:pt x="4260905" y="2794788"/>
                </a:moveTo>
                <a:lnTo>
                  <a:pt x="4260037" y="2800310"/>
                </a:lnTo>
                <a:lnTo>
                  <a:pt x="4255914" y="2805507"/>
                </a:lnTo>
                <a:lnTo>
                  <a:pt x="4249403" y="2807347"/>
                </a:lnTo>
                <a:lnTo>
                  <a:pt x="4245930" y="2810595"/>
                </a:lnTo>
                <a:lnTo>
                  <a:pt x="4245930" y="2810596"/>
                </a:lnTo>
                <a:lnTo>
                  <a:pt x="4249403" y="2807348"/>
                </a:lnTo>
                <a:lnTo>
                  <a:pt x="4255914" y="2805507"/>
                </a:lnTo>
                <a:lnTo>
                  <a:pt x="4260037" y="2800310"/>
                </a:lnTo>
                <a:lnTo>
                  <a:pt x="4260905" y="2794789"/>
                </a:lnTo>
                <a:close/>
                <a:moveTo>
                  <a:pt x="4287599" y="2794749"/>
                </a:moveTo>
                <a:lnTo>
                  <a:pt x="4288252" y="2795004"/>
                </a:lnTo>
                <a:lnTo>
                  <a:pt x="4288252" y="2795004"/>
                </a:lnTo>
                <a:close/>
                <a:moveTo>
                  <a:pt x="3755072" y="2794401"/>
                </a:moveTo>
                <a:lnTo>
                  <a:pt x="3755977" y="2804641"/>
                </a:lnTo>
                <a:lnTo>
                  <a:pt x="3755272" y="2806373"/>
                </a:lnTo>
                <a:lnTo>
                  <a:pt x="3755978" y="2804640"/>
                </a:lnTo>
                <a:close/>
                <a:moveTo>
                  <a:pt x="4033211" y="2794040"/>
                </a:moveTo>
                <a:lnTo>
                  <a:pt x="4030199" y="2796845"/>
                </a:lnTo>
                <a:lnTo>
                  <a:pt x="4029077" y="2799830"/>
                </a:lnTo>
                <a:lnTo>
                  <a:pt x="4030200" y="2796845"/>
                </a:lnTo>
                <a:close/>
                <a:moveTo>
                  <a:pt x="4306433" y="2790763"/>
                </a:moveTo>
                <a:lnTo>
                  <a:pt x="4310823" y="2794463"/>
                </a:lnTo>
                <a:lnTo>
                  <a:pt x="4312884" y="2795221"/>
                </a:lnTo>
                <a:lnTo>
                  <a:pt x="4312885" y="2795221"/>
                </a:lnTo>
                <a:lnTo>
                  <a:pt x="4310824" y="2794463"/>
                </a:lnTo>
                <a:close/>
                <a:moveTo>
                  <a:pt x="4445167" y="2790132"/>
                </a:moveTo>
                <a:lnTo>
                  <a:pt x="4442538" y="2793083"/>
                </a:lnTo>
                <a:lnTo>
                  <a:pt x="4445166" y="2790133"/>
                </a:lnTo>
                <a:lnTo>
                  <a:pt x="4447011" y="2791324"/>
                </a:lnTo>
                <a:lnTo>
                  <a:pt x="4449507" y="2791107"/>
                </a:lnTo>
                <a:lnTo>
                  <a:pt x="4449507" y="2791107"/>
                </a:lnTo>
                <a:lnTo>
                  <a:pt x="4447012" y="2791323"/>
                </a:lnTo>
                <a:close/>
                <a:moveTo>
                  <a:pt x="2213360" y="2789265"/>
                </a:moveTo>
                <a:lnTo>
                  <a:pt x="2212654" y="2791648"/>
                </a:lnTo>
                <a:lnTo>
                  <a:pt x="2214173" y="2795762"/>
                </a:lnTo>
                <a:lnTo>
                  <a:pt x="2214173" y="2795762"/>
                </a:lnTo>
                <a:lnTo>
                  <a:pt x="2212654" y="2791647"/>
                </a:lnTo>
                <a:close/>
                <a:moveTo>
                  <a:pt x="6945824" y="2787101"/>
                </a:moveTo>
                <a:lnTo>
                  <a:pt x="6948211" y="2791431"/>
                </a:lnTo>
                <a:lnTo>
                  <a:pt x="6948211" y="2795004"/>
                </a:lnTo>
                <a:lnTo>
                  <a:pt x="6944956" y="2791215"/>
                </a:lnTo>
                <a:close/>
                <a:moveTo>
                  <a:pt x="6966986" y="2786776"/>
                </a:moveTo>
                <a:lnTo>
                  <a:pt x="6969264" y="2791214"/>
                </a:lnTo>
                <a:lnTo>
                  <a:pt x="6971001" y="2795761"/>
                </a:lnTo>
                <a:lnTo>
                  <a:pt x="6967637" y="2796952"/>
                </a:lnTo>
                <a:lnTo>
                  <a:pt x="6965358" y="2793921"/>
                </a:lnTo>
                <a:lnTo>
                  <a:pt x="6966118" y="2791972"/>
                </a:lnTo>
                <a:close/>
                <a:moveTo>
                  <a:pt x="6926725" y="2786343"/>
                </a:moveTo>
                <a:lnTo>
                  <a:pt x="6929329" y="2788725"/>
                </a:lnTo>
                <a:lnTo>
                  <a:pt x="6929764" y="2793814"/>
                </a:lnTo>
                <a:lnTo>
                  <a:pt x="6927918" y="2796953"/>
                </a:lnTo>
                <a:lnTo>
                  <a:pt x="6920756" y="2800310"/>
                </a:lnTo>
                <a:lnTo>
                  <a:pt x="6914788" y="2800635"/>
                </a:lnTo>
                <a:lnTo>
                  <a:pt x="6915222" y="2798361"/>
                </a:lnTo>
                <a:lnTo>
                  <a:pt x="6912943" y="2795221"/>
                </a:lnTo>
                <a:lnTo>
                  <a:pt x="6915765" y="2791323"/>
                </a:lnTo>
                <a:lnTo>
                  <a:pt x="6924012" y="2786451"/>
                </a:lnTo>
                <a:close/>
                <a:moveTo>
                  <a:pt x="4456669" y="2783095"/>
                </a:moveTo>
                <a:lnTo>
                  <a:pt x="4453848" y="2784177"/>
                </a:lnTo>
                <a:lnTo>
                  <a:pt x="4453848" y="2784178"/>
                </a:lnTo>
                <a:lnTo>
                  <a:pt x="4456669" y="2783095"/>
                </a:lnTo>
                <a:close/>
                <a:moveTo>
                  <a:pt x="4034270" y="2782482"/>
                </a:moveTo>
                <a:lnTo>
                  <a:pt x="4033237" y="2784178"/>
                </a:lnTo>
                <a:lnTo>
                  <a:pt x="4032912" y="2786343"/>
                </a:lnTo>
                <a:lnTo>
                  <a:pt x="4038012" y="2791865"/>
                </a:lnTo>
                <a:lnTo>
                  <a:pt x="4038012" y="2791864"/>
                </a:lnTo>
                <a:lnTo>
                  <a:pt x="4032913" y="2786343"/>
                </a:lnTo>
                <a:lnTo>
                  <a:pt x="4033238" y="2784177"/>
                </a:lnTo>
                <a:close/>
                <a:moveTo>
                  <a:pt x="6436665" y="2780496"/>
                </a:moveTo>
                <a:lnTo>
                  <a:pt x="6438075" y="2783743"/>
                </a:lnTo>
                <a:lnTo>
                  <a:pt x="6439594" y="2784394"/>
                </a:lnTo>
                <a:lnTo>
                  <a:pt x="6438510" y="2791539"/>
                </a:lnTo>
                <a:lnTo>
                  <a:pt x="6435905" y="2792839"/>
                </a:lnTo>
                <a:lnTo>
                  <a:pt x="6433843" y="2788941"/>
                </a:lnTo>
                <a:lnTo>
                  <a:pt x="6434928" y="2786451"/>
                </a:lnTo>
                <a:lnTo>
                  <a:pt x="6432215" y="2783202"/>
                </a:lnTo>
                <a:close/>
                <a:moveTo>
                  <a:pt x="3774099" y="2779197"/>
                </a:moveTo>
                <a:lnTo>
                  <a:pt x="3771060" y="2779413"/>
                </a:lnTo>
                <a:lnTo>
                  <a:pt x="3764116" y="2783310"/>
                </a:lnTo>
                <a:lnTo>
                  <a:pt x="3764116" y="2783312"/>
                </a:lnTo>
                <a:lnTo>
                  <a:pt x="3762177" y="2784494"/>
                </a:lnTo>
                <a:lnTo>
                  <a:pt x="3762218" y="2784470"/>
                </a:lnTo>
                <a:lnTo>
                  <a:pt x="3764117" y="2783312"/>
                </a:lnTo>
                <a:lnTo>
                  <a:pt x="3770978" y="2779461"/>
                </a:lnTo>
                <a:lnTo>
                  <a:pt x="3771061" y="2779414"/>
                </a:lnTo>
                <a:lnTo>
                  <a:pt x="3774100" y="2779197"/>
                </a:lnTo>
                <a:close/>
                <a:moveTo>
                  <a:pt x="3791787" y="2778764"/>
                </a:moveTo>
                <a:lnTo>
                  <a:pt x="3791570" y="2780821"/>
                </a:lnTo>
                <a:lnTo>
                  <a:pt x="3789508" y="2782662"/>
                </a:lnTo>
                <a:lnTo>
                  <a:pt x="3789509" y="2782662"/>
                </a:lnTo>
                <a:lnTo>
                  <a:pt x="3791571" y="2780821"/>
                </a:lnTo>
                <a:lnTo>
                  <a:pt x="3791788" y="2778764"/>
                </a:lnTo>
                <a:close/>
                <a:moveTo>
                  <a:pt x="6956785" y="2778223"/>
                </a:moveTo>
                <a:lnTo>
                  <a:pt x="6957978" y="2780929"/>
                </a:lnTo>
                <a:lnTo>
                  <a:pt x="6956242" y="2782012"/>
                </a:lnTo>
                <a:lnTo>
                  <a:pt x="6956242" y="2786451"/>
                </a:lnTo>
                <a:lnTo>
                  <a:pt x="6959498" y="2790457"/>
                </a:lnTo>
                <a:lnTo>
                  <a:pt x="6958412" y="2795870"/>
                </a:lnTo>
                <a:lnTo>
                  <a:pt x="6956567" y="2795546"/>
                </a:lnTo>
                <a:lnTo>
                  <a:pt x="6955590" y="2793272"/>
                </a:lnTo>
                <a:lnTo>
                  <a:pt x="6956242" y="2790349"/>
                </a:lnTo>
                <a:lnTo>
                  <a:pt x="6953529" y="2784502"/>
                </a:lnTo>
                <a:lnTo>
                  <a:pt x="6954397" y="2779197"/>
                </a:lnTo>
                <a:close/>
                <a:moveTo>
                  <a:pt x="3799601" y="2777140"/>
                </a:moveTo>
                <a:lnTo>
                  <a:pt x="3797915" y="2777490"/>
                </a:lnTo>
                <a:lnTo>
                  <a:pt x="3799601" y="2777140"/>
                </a:lnTo>
                <a:close/>
                <a:moveTo>
                  <a:pt x="3945448" y="2775083"/>
                </a:moveTo>
                <a:lnTo>
                  <a:pt x="3945448" y="2775083"/>
                </a:lnTo>
                <a:lnTo>
                  <a:pt x="3950657" y="2779848"/>
                </a:lnTo>
                <a:lnTo>
                  <a:pt x="3952719" y="2782771"/>
                </a:lnTo>
                <a:lnTo>
                  <a:pt x="3957710" y="2786451"/>
                </a:lnTo>
                <a:lnTo>
                  <a:pt x="3957710" y="2786451"/>
                </a:lnTo>
                <a:lnTo>
                  <a:pt x="3952718" y="2782770"/>
                </a:lnTo>
                <a:lnTo>
                  <a:pt x="3950656" y="2779847"/>
                </a:lnTo>
                <a:close/>
                <a:moveTo>
                  <a:pt x="4485359" y="2774305"/>
                </a:moveTo>
                <a:lnTo>
                  <a:pt x="4484774" y="2775083"/>
                </a:lnTo>
                <a:lnTo>
                  <a:pt x="4489875" y="2779306"/>
                </a:lnTo>
                <a:lnTo>
                  <a:pt x="4490743" y="2781796"/>
                </a:lnTo>
                <a:lnTo>
                  <a:pt x="4497146" y="2790241"/>
                </a:lnTo>
                <a:lnTo>
                  <a:pt x="4501269" y="2799552"/>
                </a:lnTo>
                <a:lnTo>
                  <a:pt x="4503005" y="2803125"/>
                </a:lnTo>
                <a:lnTo>
                  <a:pt x="4503006" y="2803124"/>
                </a:lnTo>
                <a:lnTo>
                  <a:pt x="4501270" y="2799551"/>
                </a:lnTo>
                <a:lnTo>
                  <a:pt x="4497146" y="2790240"/>
                </a:lnTo>
                <a:lnTo>
                  <a:pt x="4490743" y="2781795"/>
                </a:lnTo>
                <a:lnTo>
                  <a:pt x="4489875" y="2779305"/>
                </a:lnTo>
                <a:lnTo>
                  <a:pt x="4484775" y="2775082"/>
                </a:lnTo>
                <a:close/>
                <a:moveTo>
                  <a:pt x="6814520" y="2773676"/>
                </a:moveTo>
                <a:lnTo>
                  <a:pt x="6815931" y="2775841"/>
                </a:lnTo>
                <a:lnTo>
                  <a:pt x="6817776" y="2777357"/>
                </a:lnTo>
                <a:lnTo>
                  <a:pt x="6817668" y="2780063"/>
                </a:lnTo>
                <a:lnTo>
                  <a:pt x="6814086" y="2780280"/>
                </a:lnTo>
                <a:lnTo>
                  <a:pt x="6810722" y="2779955"/>
                </a:lnTo>
                <a:lnTo>
                  <a:pt x="6811915" y="2776924"/>
                </a:lnTo>
                <a:lnTo>
                  <a:pt x="6813761" y="2775625"/>
                </a:lnTo>
                <a:close/>
                <a:moveTo>
                  <a:pt x="4770297" y="2772545"/>
                </a:moveTo>
                <a:lnTo>
                  <a:pt x="4769848" y="2772592"/>
                </a:lnTo>
                <a:lnTo>
                  <a:pt x="4768980" y="2775840"/>
                </a:lnTo>
                <a:lnTo>
                  <a:pt x="4763879" y="2782012"/>
                </a:lnTo>
                <a:lnTo>
                  <a:pt x="4762034" y="2786992"/>
                </a:lnTo>
                <a:lnTo>
                  <a:pt x="4763771" y="2789698"/>
                </a:lnTo>
                <a:lnTo>
                  <a:pt x="4763879" y="2794896"/>
                </a:lnTo>
                <a:lnTo>
                  <a:pt x="4759973" y="2800851"/>
                </a:lnTo>
                <a:lnTo>
                  <a:pt x="4758237" y="2807563"/>
                </a:lnTo>
                <a:lnTo>
                  <a:pt x="4758316" y="2808920"/>
                </a:lnTo>
                <a:lnTo>
                  <a:pt x="4758317" y="2808921"/>
                </a:lnTo>
                <a:lnTo>
                  <a:pt x="4758238" y="2807564"/>
                </a:lnTo>
                <a:lnTo>
                  <a:pt x="4759974" y="2800850"/>
                </a:lnTo>
                <a:lnTo>
                  <a:pt x="4763881" y="2794896"/>
                </a:lnTo>
                <a:lnTo>
                  <a:pt x="4763772" y="2789699"/>
                </a:lnTo>
                <a:lnTo>
                  <a:pt x="4762036" y="2786992"/>
                </a:lnTo>
                <a:lnTo>
                  <a:pt x="4763881" y="2782012"/>
                </a:lnTo>
                <a:lnTo>
                  <a:pt x="4768981" y="2775840"/>
                </a:lnTo>
                <a:lnTo>
                  <a:pt x="4769849" y="2772592"/>
                </a:lnTo>
                <a:close/>
                <a:moveTo>
                  <a:pt x="6882775" y="2772268"/>
                </a:moveTo>
                <a:lnTo>
                  <a:pt x="6884511" y="2773351"/>
                </a:lnTo>
                <a:lnTo>
                  <a:pt x="6884295" y="2776382"/>
                </a:lnTo>
                <a:lnTo>
                  <a:pt x="6880172" y="2780713"/>
                </a:lnTo>
                <a:lnTo>
                  <a:pt x="6877350" y="2778331"/>
                </a:lnTo>
                <a:lnTo>
                  <a:pt x="6878869" y="2773567"/>
                </a:lnTo>
                <a:close/>
                <a:moveTo>
                  <a:pt x="6161793" y="2771510"/>
                </a:moveTo>
                <a:lnTo>
                  <a:pt x="6163312" y="2777032"/>
                </a:lnTo>
                <a:lnTo>
                  <a:pt x="6160924" y="2783204"/>
                </a:lnTo>
                <a:lnTo>
                  <a:pt x="6156258" y="2783204"/>
                </a:lnTo>
                <a:lnTo>
                  <a:pt x="6156258" y="2779089"/>
                </a:lnTo>
                <a:lnTo>
                  <a:pt x="6156258" y="2773892"/>
                </a:lnTo>
                <a:close/>
                <a:moveTo>
                  <a:pt x="4294872" y="2771510"/>
                </a:moveTo>
                <a:lnTo>
                  <a:pt x="4294871" y="2771510"/>
                </a:lnTo>
                <a:lnTo>
                  <a:pt x="4295088" y="2776057"/>
                </a:lnTo>
                <a:lnTo>
                  <a:pt x="4299320" y="2782229"/>
                </a:lnTo>
                <a:lnTo>
                  <a:pt x="4303118" y="2783961"/>
                </a:lnTo>
                <a:lnTo>
                  <a:pt x="4303625" y="2785827"/>
                </a:lnTo>
                <a:lnTo>
                  <a:pt x="4303118" y="2783960"/>
                </a:lnTo>
                <a:lnTo>
                  <a:pt x="4299320" y="2782228"/>
                </a:lnTo>
                <a:lnTo>
                  <a:pt x="4295088" y="2776057"/>
                </a:lnTo>
                <a:close/>
                <a:moveTo>
                  <a:pt x="2504563" y="2771510"/>
                </a:moveTo>
                <a:lnTo>
                  <a:pt x="2504889" y="2773350"/>
                </a:lnTo>
                <a:lnTo>
                  <a:pt x="2499463" y="2778872"/>
                </a:lnTo>
                <a:lnTo>
                  <a:pt x="2501959" y="2783095"/>
                </a:lnTo>
                <a:lnTo>
                  <a:pt x="2502068" y="2788292"/>
                </a:lnTo>
                <a:lnTo>
                  <a:pt x="2497184" y="2792406"/>
                </a:lnTo>
                <a:lnTo>
                  <a:pt x="2485464" y="2794355"/>
                </a:lnTo>
                <a:lnTo>
                  <a:pt x="2479930" y="2792189"/>
                </a:lnTo>
                <a:lnTo>
                  <a:pt x="2484922" y="2790240"/>
                </a:lnTo>
                <a:lnTo>
                  <a:pt x="2489588" y="2786234"/>
                </a:lnTo>
                <a:lnTo>
                  <a:pt x="2489263" y="2781904"/>
                </a:lnTo>
                <a:lnTo>
                  <a:pt x="2484596" y="2777898"/>
                </a:lnTo>
                <a:lnTo>
                  <a:pt x="2486115" y="2775083"/>
                </a:lnTo>
                <a:lnTo>
                  <a:pt x="2491432" y="2773459"/>
                </a:lnTo>
                <a:lnTo>
                  <a:pt x="2495774" y="2775299"/>
                </a:lnTo>
                <a:close/>
                <a:moveTo>
                  <a:pt x="6923253" y="2771185"/>
                </a:moveTo>
                <a:lnTo>
                  <a:pt x="6923144" y="2775840"/>
                </a:lnTo>
                <a:lnTo>
                  <a:pt x="6921517" y="2773350"/>
                </a:lnTo>
                <a:close/>
                <a:moveTo>
                  <a:pt x="1948850" y="2771044"/>
                </a:moveTo>
                <a:lnTo>
                  <a:pt x="1948850" y="2772592"/>
                </a:lnTo>
                <a:lnTo>
                  <a:pt x="1948958" y="2772687"/>
                </a:lnTo>
                <a:lnTo>
                  <a:pt x="1948958" y="2771077"/>
                </a:lnTo>
                <a:close/>
                <a:moveTo>
                  <a:pt x="6956243" y="2770968"/>
                </a:moveTo>
                <a:lnTo>
                  <a:pt x="6959281" y="2772700"/>
                </a:lnTo>
                <a:lnTo>
                  <a:pt x="6958088" y="2774757"/>
                </a:lnTo>
                <a:lnTo>
                  <a:pt x="6956459" y="2773567"/>
                </a:lnTo>
                <a:close/>
                <a:moveTo>
                  <a:pt x="4482604" y="2769344"/>
                </a:moveTo>
                <a:lnTo>
                  <a:pt x="4476420" y="2772051"/>
                </a:lnTo>
                <a:lnTo>
                  <a:pt x="4473382" y="2770210"/>
                </a:lnTo>
                <a:lnTo>
                  <a:pt x="4467630" y="2770210"/>
                </a:lnTo>
                <a:lnTo>
                  <a:pt x="4463289" y="2773242"/>
                </a:lnTo>
                <a:lnTo>
                  <a:pt x="4457321" y="2776707"/>
                </a:lnTo>
                <a:lnTo>
                  <a:pt x="4457321" y="2776708"/>
                </a:lnTo>
                <a:lnTo>
                  <a:pt x="4463288" y="2773243"/>
                </a:lnTo>
                <a:lnTo>
                  <a:pt x="4467629" y="2770211"/>
                </a:lnTo>
                <a:lnTo>
                  <a:pt x="4473380" y="2770211"/>
                </a:lnTo>
                <a:lnTo>
                  <a:pt x="4476419" y="2772051"/>
                </a:lnTo>
                <a:lnTo>
                  <a:pt x="4482604" y="2769345"/>
                </a:lnTo>
                <a:close/>
                <a:moveTo>
                  <a:pt x="3942843" y="2769344"/>
                </a:moveTo>
                <a:lnTo>
                  <a:pt x="3942843" y="2769345"/>
                </a:lnTo>
                <a:lnTo>
                  <a:pt x="3944905" y="2771510"/>
                </a:lnTo>
                <a:lnTo>
                  <a:pt x="3944905" y="2771509"/>
                </a:lnTo>
                <a:close/>
                <a:moveTo>
                  <a:pt x="4957365" y="2769020"/>
                </a:moveTo>
                <a:lnTo>
                  <a:pt x="4951722" y="2772701"/>
                </a:lnTo>
                <a:lnTo>
                  <a:pt x="4951724" y="2772701"/>
                </a:lnTo>
                <a:lnTo>
                  <a:pt x="4957365" y="2769020"/>
                </a:lnTo>
                <a:close/>
                <a:moveTo>
                  <a:pt x="4483473" y="2767287"/>
                </a:moveTo>
                <a:lnTo>
                  <a:pt x="4483473" y="2767288"/>
                </a:lnTo>
                <a:lnTo>
                  <a:pt x="4486077" y="2770103"/>
                </a:lnTo>
                <a:lnTo>
                  <a:pt x="4486077" y="2773350"/>
                </a:lnTo>
                <a:lnTo>
                  <a:pt x="4486077" y="2773350"/>
                </a:lnTo>
                <a:lnTo>
                  <a:pt x="4486077" y="2770102"/>
                </a:lnTo>
                <a:close/>
                <a:moveTo>
                  <a:pt x="3753589" y="2767070"/>
                </a:moveTo>
                <a:lnTo>
                  <a:pt x="3750659" y="2767287"/>
                </a:lnTo>
                <a:lnTo>
                  <a:pt x="3748163" y="2770535"/>
                </a:lnTo>
                <a:lnTo>
                  <a:pt x="3744040" y="2770968"/>
                </a:lnTo>
                <a:lnTo>
                  <a:pt x="3748164" y="2770535"/>
                </a:lnTo>
                <a:lnTo>
                  <a:pt x="3750660" y="2767288"/>
                </a:lnTo>
                <a:lnTo>
                  <a:pt x="3753589" y="2767071"/>
                </a:lnTo>
                <a:close/>
                <a:moveTo>
                  <a:pt x="6478334" y="2766962"/>
                </a:moveTo>
                <a:lnTo>
                  <a:pt x="6467157" y="2769669"/>
                </a:lnTo>
                <a:lnTo>
                  <a:pt x="6467158" y="2769669"/>
                </a:lnTo>
                <a:close/>
                <a:moveTo>
                  <a:pt x="6895038" y="2766529"/>
                </a:moveTo>
                <a:lnTo>
                  <a:pt x="6898076" y="2768045"/>
                </a:lnTo>
                <a:lnTo>
                  <a:pt x="6900355" y="2766637"/>
                </a:lnTo>
                <a:lnTo>
                  <a:pt x="6904044" y="2769452"/>
                </a:lnTo>
                <a:lnTo>
                  <a:pt x="6903828" y="2773350"/>
                </a:lnTo>
                <a:lnTo>
                  <a:pt x="6899487" y="2777898"/>
                </a:lnTo>
                <a:lnTo>
                  <a:pt x="6896557" y="2791431"/>
                </a:lnTo>
                <a:lnTo>
                  <a:pt x="6897209" y="2800743"/>
                </a:lnTo>
                <a:lnTo>
                  <a:pt x="6900355" y="2806806"/>
                </a:lnTo>
                <a:lnTo>
                  <a:pt x="6900247" y="2811028"/>
                </a:lnTo>
                <a:lnTo>
                  <a:pt x="6895906" y="2813627"/>
                </a:lnTo>
                <a:lnTo>
                  <a:pt x="6892217" y="2811678"/>
                </a:lnTo>
                <a:lnTo>
                  <a:pt x="6892108" y="2806265"/>
                </a:lnTo>
                <a:lnTo>
                  <a:pt x="6887225" y="2805831"/>
                </a:lnTo>
                <a:lnTo>
                  <a:pt x="6881799" y="2802475"/>
                </a:lnTo>
                <a:lnTo>
                  <a:pt x="6878435" y="2801933"/>
                </a:lnTo>
                <a:lnTo>
                  <a:pt x="6877133" y="2794571"/>
                </a:lnTo>
                <a:lnTo>
                  <a:pt x="6879195" y="2791647"/>
                </a:lnTo>
                <a:lnTo>
                  <a:pt x="6886791" y="2789699"/>
                </a:lnTo>
                <a:lnTo>
                  <a:pt x="6889287" y="2784177"/>
                </a:lnTo>
                <a:lnTo>
                  <a:pt x="6888527" y="2777898"/>
                </a:lnTo>
                <a:lnTo>
                  <a:pt x="6891240" y="2773567"/>
                </a:lnTo>
                <a:lnTo>
                  <a:pt x="6891240" y="2769127"/>
                </a:lnTo>
                <a:close/>
                <a:moveTo>
                  <a:pt x="6959390" y="2766097"/>
                </a:moveTo>
                <a:lnTo>
                  <a:pt x="6960692" y="2767613"/>
                </a:lnTo>
                <a:lnTo>
                  <a:pt x="6958521" y="2768263"/>
                </a:lnTo>
                <a:lnTo>
                  <a:pt x="6957545" y="2766313"/>
                </a:lnTo>
                <a:close/>
                <a:moveTo>
                  <a:pt x="2511834" y="2765447"/>
                </a:moveTo>
                <a:lnTo>
                  <a:pt x="2510966" y="2769344"/>
                </a:lnTo>
                <a:lnTo>
                  <a:pt x="2506951" y="2767612"/>
                </a:lnTo>
                <a:close/>
                <a:moveTo>
                  <a:pt x="2434678" y="2764364"/>
                </a:moveTo>
                <a:lnTo>
                  <a:pt x="2436740" y="2767504"/>
                </a:lnTo>
                <a:lnTo>
                  <a:pt x="2432942" y="2772159"/>
                </a:lnTo>
                <a:lnTo>
                  <a:pt x="2428059" y="2770860"/>
                </a:lnTo>
                <a:lnTo>
                  <a:pt x="2422958" y="2771943"/>
                </a:lnTo>
                <a:cubicBezTo>
                  <a:pt x="2422163" y="2771282"/>
                  <a:pt x="2421329" y="2770668"/>
                  <a:pt x="2420463" y="2770102"/>
                </a:cubicBezTo>
                <a:lnTo>
                  <a:pt x="2425346" y="2766529"/>
                </a:lnTo>
                <a:lnTo>
                  <a:pt x="2427625" y="2769669"/>
                </a:lnTo>
                <a:close/>
                <a:moveTo>
                  <a:pt x="2235480" y="2763586"/>
                </a:moveTo>
                <a:lnTo>
                  <a:pt x="2233381" y="2766204"/>
                </a:lnTo>
                <a:lnTo>
                  <a:pt x="2229148" y="2767287"/>
                </a:lnTo>
                <a:lnTo>
                  <a:pt x="2225350" y="2772809"/>
                </a:lnTo>
                <a:lnTo>
                  <a:pt x="2223506" y="2774433"/>
                </a:lnTo>
                <a:lnTo>
                  <a:pt x="2225351" y="2772809"/>
                </a:lnTo>
                <a:lnTo>
                  <a:pt x="2229149" y="2767287"/>
                </a:lnTo>
                <a:lnTo>
                  <a:pt x="2233381" y="2766204"/>
                </a:lnTo>
                <a:close/>
                <a:moveTo>
                  <a:pt x="3942626" y="2762523"/>
                </a:moveTo>
                <a:lnTo>
                  <a:pt x="3967476" y="2768802"/>
                </a:lnTo>
                <a:lnTo>
                  <a:pt x="3966174" y="2771834"/>
                </a:lnTo>
                <a:lnTo>
                  <a:pt x="3966174" y="2771835"/>
                </a:lnTo>
                <a:lnTo>
                  <a:pt x="3968453" y="2766638"/>
                </a:lnTo>
                <a:lnTo>
                  <a:pt x="3974638" y="2765231"/>
                </a:lnTo>
                <a:lnTo>
                  <a:pt x="3974638" y="2765229"/>
                </a:lnTo>
                <a:lnTo>
                  <a:pt x="3968453" y="2766637"/>
                </a:lnTo>
                <a:lnTo>
                  <a:pt x="3968435" y="2766678"/>
                </a:lnTo>
                <a:lnTo>
                  <a:pt x="3966174" y="2771834"/>
                </a:lnTo>
                <a:lnTo>
                  <a:pt x="3967476" y="2768803"/>
                </a:lnTo>
                <a:lnTo>
                  <a:pt x="3967476" y="2768802"/>
                </a:lnTo>
                <a:lnTo>
                  <a:pt x="3942627" y="2762523"/>
                </a:lnTo>
                <a:close/>
                <a:moveTo>
                  <a:pt x="3939045" y="2762414"/>
                </a:moveTo>
                <a:lnTo>
                  <a:pt x="3933511" y="2765013"/>
                </a:lnTo>
                <a:lnTo>
                  <a:pt x="3928085" y="2765229"/>
                </a:lnTo>
                <a:lnTo>
                  <a:pt x="3919078" y="2766637"/>
                </a:lnTo>
                <a:lnTo>
                  <a:pt x="3906707" y="2766637"/>
                </a:lnTo>
                <a:lnTo>
                  <a:pt x="3904537" y="2767503"/>
                </a:lnTo>
                <a:lnTo>
                  <a:pt x="3886957" y="2767503"/>
                </a:lnTo>
                <a:lnTo>
                  <a:pt x="3878601" y="2767936"/>
                </a:lnTo>
                <a:lnTo>
                  <a:pt x="3877950" y="2773242"/>
                </a:lnTo>
                <a:lnTo>
                  <a:pt x="3877950" y="2773242"/>
                </a:lnTo>
                <a:lnTo>
                  <a:pt x="3878601" y="2767938"/>
                </a:lnTo>
                <a:lnTo>
                  <a:pt x="3886957" y="2767505"/>
                </a:lnTo>
                <a:lnTo>
                  <a:pt x="3904537" y="2767505"/>
                </a:lnTo>
                <a:lnTo>
                  <a:pt x="3906707" y="2766638"/>
                </a:lnTo>
                <a:lnTo>
                  <a:pt x="3919078" y="2766638"/>
                </a:lnTo>
                <a:lnTo>
                  <a:pt x="3928085" y="2765231"/>
                </a:lnTo>
                <a:lnTo>
                  <a:pt x="3933511" y="2765014"/>
                </a:lnTo>
                <a:lnTo>
                  <a:pt x="3939045" y="2762416"/>
                </a:lnTo>
                <a:lnTo>
                  <a:pt x="3940890" y="2762957"/>
                </a:lnTo>
                <a:lnTo>
                  <a:pt x="3940890" y="2762956"/>
                </a:lnTo>
                <a:close/>
                <a:moveTo>
                  <a:pt x="3820978" y="2761766"/>
                </a:moveTo>
                <a:lnTo>
                  <a:pt x="3820761" y="2766638"/>
                </a:lnTo>
                <a:lnTo>
                  <a:pt x="3822822" y="2770211"/>
                </a:lnTo>
                <a:lnTo>
                  <a:pt x="3821412" y="2775949"/>
                </a:lnTo>
                <a:lnTo>
                  <a:pt x="3818482" y="2778006"/>
                </a:lnTo>
                <a:lnTo>
                  <a:pt x="3814141" y="2784719"/>
                </a:lnTo>
                <a:lnTo>
                  <a:pt x="3813506" y="2784529"/>
                </a:lnTo>
                <a:lnTo>
                  <a:pt x="3814143" y="2784719"/>
                </a:lnTo>
                <a:lnTo>
                  <a:pt x="3818483" y="2778006"/>
                </a:lnTo>
                <a:lnTo>
                  <a:pt x="3818518" y="2777982"/>
                </a:lnTo>
                <a:lnTo>
                  <a:pt x="3821414" y="2775949"/>
                </a:lnTo>
                <a:lnTo>
                  <a:pt x="3822166" y="2775520"/>
                </a:lnTo>
                <a:lnTo>
                  <a:pt x="3822172" y="2775516"/>
                </a:lnTo>
                <a:lnTo>
                  <a:pt x="3822173" y="2775516"/>
                </a:lnTo>
                <a:lnTo>
                  <a:pt x="3829009" y="2781037"/>
                </a:lnTo>
                <a:lnTo>
                  <a:pt x="3838016" y="2785801"/>
                </a:lnTo>
                <a:lnTo>
                  <a:pt x="3841380" y="2785801"/>
                </a:lnTo>
                <a:lnTo>
                  <a:pt x="3844202" y="2787642"/>
                </a:lnTo>
                <a:lnTo>
                  <a:pt x="3847891" y="2787642"/>
                </a:lnTo>
                <a:lnTo>
                  <a:pt x="3852883" y="2790024"/>
                </a:lnTo>
                <a:lnTo>
                  <a:pt x="3855488" y="2793597"/>
                </a:lnTo>
                <a:lnTo>
                  <a:pt x="3862975" y="2797495"/>
                </a:lnTo>
                <a:lnTo>
                  <a:pt x="3868726" y="2796412"/>
                </a:lnTo>
                <a:lnTo>
                  <a:pt x="3873284" y="2793272"/>
                </a:lnTo>
                <a:lnTo>
                  <a:pt x="3876431" y="2793381"/>
                </a:lnTo>
                <a:lnTo>
                  <a:pt x="3879904" y="2795762"/>
                </a:lnTo>
                <a:lnTo>
                  <a:pt x="3885004" y="2796628"/>
                </a:lnTo>
                <a:lnTo>
                  <a:pt x="3885004" y="2796628"/>
                </a:lnTo>
                <a:lnTo>
                  <a:pt x="3879904" y="2795762"/>
                </a:lnTo>
                <a:lnTo>
                  <a:pt x="3876431" y="2793379"/>
                </a:lnTo>
                <a:lnTo>
                  <a:pt x="3873284" y="2793271"/>
                </a:lnTo>
                <a:lnTo>
                  <a:pt x="3868726" y="2796411"/>
                </a:lnTo>
                <a:lnTo>
                  <a:pt x="3862975" y="2797494"/>
                </a:lnTo>
                <a:lnTo>
                  <a:pt x="3855488" y="2793596"/>
                </a:lnTo>
                <a:lnTo>
                  <a:pt x="3852883" y="2790024"/>
                </a:lnTo>
                <a:lnTo>
                  <a:pt x="3847891" y="2787642"/>
                </a:lnTo>
                <a:lnTo>
                  <a:pt x="3844202" y="2787642"/>
                </a:lnTo>
                <a:lnTo>
                  <a:pt x="3841380" y="2785800"/>
                </a:lnTo>
                <a:lnTo>
                  <a:pt x="3838016" y="2785800"/>
                </a:lnTo>
                <a:lnTo>
                  <a:pt x="3829009" y="2781037"/>
                </a:lnTo>
                <a:lnTo>
                  <a:pt x="3822173" y="2775516"/>
                </a:lnTo>
                <a:lnTo>
                  <a:pt x="3822172" y="2775515"/>
                </a:lnTo>
                <a:lnTo>
                  <a:pt x="3821413" y="2775948"/>
                </a:lnTo>
                <a:lnTo>
                  <a:pt x="3822824" y="2770210"/>
                </a:lnTo>
                <a:lnTo>
                  <a:pt x="3820762" y="2766637"/>
                </a:lnTo>
                <a:lnTo>
                  <a:pt x="3820979" y="2761766"/>
                </a:lnTo>
                <a:close/>
                <a:moveTo>
                  <a:pt x="3601617" y="2761055"/>
                </a:moveTo>
                <a:lnTo>
                  <a:pt x="3597435" y="2761982"/>
                </a:lnTo>
                <a:lnTo>
                  <a:pt x="3595261" y="2766404"/>
                </a:lnTo>
                <a:lnTo>
                  <a:pt x="3597436" y="2761982"/>
                </a:lnTo>
                <a:close/>
                <a:moveTo>
                  <a:pt x="6916200" y="2760358"/>
                </a:moveTo>
                <a:lnTo>
                  <a:pt x="6916417" y="2769452"/>
                </a:lnTo>
                <a:lnTo>
                  <a:pt x="6914681" y="2772376"/>
                </a:lnTo>
                <a:lnTo>
                  <a:pt x="6915332" y="2776599"/>
                </a:lnTo>
                <a:lnTo>
                  <a:pt x="6914138" y="2781254"/>
                </a:lnTo>
                <a:lnTo>
                  <a:pt x="6907626" y="2788725"/>
                </a:lnTo>
                <a:lnTo>
                  <a:pt x="6905890" y="2798794"/>
                </a:lnTo>
                <a:lnTo>
                  <a:pt x="6902309" y="2802909"/>
                </a:lnTo>
                <a:lnTo>
                  <a:pt x="6901224" y="2799011"/>
                </a:lnTo>
                <a:lnTo>
                  <a:pt x="6901440" y="2794031"/>
                </a:lnTo>
                <a:lnTo>
                  <a:pt x="6905022" y="2789591"/>
                </a:lnTo>
                <a:lnTo>
                  <a:pt x="6907084" y="2782662"/>
                </a:lnTo>
                <a:lnTo>
                  <a:pt x="6907626" y="2777140"/>
                </a:lnTo>
                <a:lnTo>
                  <a:pt x="6912076" y="2769994"/>
                </a:lnTo>
                <a:lnTo>
                  <a:pt x="6913704" y="2761332"/>
                </a:lnTo>
                <a:close/>
                <a:moveTo>
                  <a:pt x="4297809" y="2760254"/>
                </a:moveTo>
                <a:lnTo>
                  <a:pt x="4299646" y="2762307"/>
                </a:lnTo>
                <a:lnTo>
                  <a:pt x="4299646" y="2762307"/>
                </a:lnTo>
                <a:close/>
                <a:moveTo>
                  <a:pt x="4485341" y="2758302"/>
                </a:moveTo>
                <a:lnTo>
                  <a:pt x="4486077" y="2759491"/>
                </a:lnTo>
                <a:lnTo>
                  <a:pt x="4486077" y="2759491"/>
                </a:lnTo>
                <a:close/>
                <a:moveTo>
                  <a:pt x="6925858" y="2756135"/>
                </a:moveTo>
                <a:lnTo>
                  <a:pt x="6930199" y="2758084"/>
                </a:lnTo>
                <a:lnTo>
                  <a:pt x="6935082" y="2756459"/>
                </a:lnTo>
                <a:lnTo>
                  <a:pt x="6935949" y="2758408"/>
                </a:lnTo>
                <a:lnTo>
                  <a:pt x="6938555" y="2764363"/>
                </a:lnTo>
                <a:lnTo>
                  <a:pt x="6939314" y="2771618"/>
                </a:lnTo>
                <a:lnTo>
                  <a:pt x="6942570" y="2773783"/>
                </a:lnTo>
                <a:lnTo>
                  <a:pt x="6946802" y="2781037"/>
                </a:lnTo>
                <a:lnTo>
                  <a:pt x="6946367" y="2784718"/>
                </a:lnTo>
                <a:lnTo>
                  <a:pt x="6942244" y="2785801"/>
                </a:lnTo>
                <a:lnTo>
                  <a:pt x="6939640" y="2782336"/>
                </a:lnTo>
                <a:lnTo>
                  <a:pt x="6939206" y="2788941"/>
                </a:lnTo>
                <a:lnTo>
                  <a:pt x="6935299" y="2786234"/>
                </a:lnTo>
                <a:lnTo>
                  <a:pt x="6934540" y="2779196"/>
                </a:lnTo>
                <a:lnTo>
                  <a:pt x="6932260" y="2774974"/>
                </a:lnTo>
                <a:lnTo>
                  <a:pt x="6932586" y="2768694"/>
                </a:lnTo>
                <a:lnTo>
                  <a:pt x="6929873" y="2766204"/>
                </a:lnTo>
                <a:lnTo>
                  <a:pt x="6927486" y="2768586"/>
                </a:lnTo>
                <a:lnTo>
                  <a:pt x="6924556" y="2765663"/>
                </a:lnTo>
                <a:lnTo>
                  <a:pt x="6924556" y="2760790"/>
                </a:lnTo>
                <a:lnTo>
                  <a:pt x="6922711" y="2756243"/>
                </a:lnTo>
                <a:close/>
                <a:moveTo>
                  <a:pt x="6802691" y="2755703"/>
                </a:moveTo>
                <a:lnTo>
                  <a:pt x="6803233" y="2762632"/>
                </a:lnTo>
                <a:lnTo>
                  <a:pt x="6802908" y="2767071"/>
                </a:lnTo>
                <a:lnTo>
                  <a:pt x="6806272" y="2771294"/>
                </a:lnTo>
                <a:lnTo>
                  <a:pt x="6808876" y="2777140"/>
                </a:lnTo>
                <a:lnTo>
                  <a:pt x="6806815" y="2781146"/>
                </a:lnTo>
                <a:lnTo>
                  <a:pt x="6803016" y="2781796"/>
                </a:lnTo>
                <a:lnTo>
                  <a:pt x="6799544" y="2785260"/>
                </a:lnTo>
                <a:lnTo>
                  <a:pt x="6797807" y="2790024"/>
                </a:lnTo>
                <a:lnTo>
                  <a:pt x="6790646" y="2790566"/>
                </a:lnTo>
                <a:lnTo>
                  <a:pt x="6787825" y="2793814"/>
                </a:lnTo>
                <a:lnTo>
                  <a:pt x="6787825" y="2801068"/>
                </a:lnTo>
                <a:lnTo>
                  <a:pt x="6784569" y="2804965"/>
                </a:lnTo>
                <a:lnTo>
                  <a:pt x="6784243" y="2807455"/>
                </a:lnTo>
                <a:lnTo>
                  <a:pt x="6780445" y="2810704"/>
                </a:lnTo>
                <a:lnTo>
                  <a:pt x="6774911" y="2812544"/>
                </a:lnTo>
                <a:lnTo>
                  <a:pt x="6769593" y="2820665"/>
                </a:lnTo>
                <a:lnTo>
                  <a:pt x="6764493" y="2822614"/>
                </a:lnTo>
                <a:lnTo>
                  <a:pt x="6761347" y="2825861"/>
                </a:lnTo>
                <a:lnTo>
                  <a:pt x="6758199" y="2826403"/>
                </a:lnTo>
                <a:lnTo>
                  <a:pt x="6753642" y="2830084"/>
                </a:lnTo>
                <a:lnTo>
                  <a:pt x="6753099" y="2828460"/>
                </a:lnTo>
                <a:lnTo>
                  <a:pt x="6754292" y="2825970"/>
                </a:lnTo>
                <a:lnTo>
                  <a:pt x="6761129" y="2817092"/>
                </a:lnTo>
                <a:lnTo>
                  <a:pt x="6763951" y="2816225"/>
                </a:lnTo>
                <a:lnTo>
                  <a:pt x="6767423" y="2809621"/>
                </a:lnTo>
                <a:lnTo>
                  <a:pt x="6771112" y="2809188"/>
                </a:lnTo>
                <a:lnTo>
                  <a:pt x="6778057" y="2802475"/>
                </a:lnTo>
                <a:lnTo>
                  <a:pt x="6782832" y="2792298"/>
                </a:lnTo>
                <a:lnTo>
                  <a:pt x="6787716" y="2789591"/>
                </a:lnTo>
                <a:lnTo>
                  <a:pt x="6788042" y="2785910"/>
                </a:lnTo>
                <a:lnTo>
                  <a:pt x="6792382" y="2780929"/>
                </a:lnTo>
                <a:lnTo>
                  <a:pt x="6795421" y="2781255"/>
                </a:lnTo>
                <a:lnTo>
                  <a:pt x="6799436" y="2776599"/>
                </a:lnTo>
                <a:lnTo>
                  <a:pt x="6799544" y="2773243"/>
                </a:lnTo>
                <a:lnTo>
                  <a:pt x="6796614" y="2768587"/>
                </a:lnTo>
                <a:lnTo>
                  <a:pt x="6800303" y="2770860"/>
                </a:lnTo>
                <a:lnTo>
                  <a:pt x="6799544" y="2763931"/>
                </a:lnTo>
                <a:lnTo>
                  <a:pt x="6800629" y="2756569"/>
                </a:lnTo>
                <a:close/>
                <a:moveTo>
                  <a:pt x="3618483" y="2754419"/>
                </a:moveTo>
                <a:lnTo>
                  <a:pt x="3616968" y="2755594"/>
                </a:lnTo>
                <a:lnTo>
                  <a:pt x="3608721" y="2757218"/>
                </a:lnTo>
                <a:lnTo>
                  <a:pt x="3606141" y="2758702"/>
                </a:lnTo>
                <a:lnTo>
                  <a:pt x="3608721" y="2757218"/>
                </a:lnTo>
                <a:lnTo>
                  <a:pt x="3616968" y="2755594"/>
                </a:lnTo>
                <a:close/>
                <a:moveTo>
                  <a:pt x="6150615" y="2754294"/>
                </a:moveTo>
                <a:lnTo>
                  <a:pt x="6152568" y="2757542"/>
                </a:lnTo>
                <a:lnTo>
                  <a:pt x="6147142" y="2756135"/>
                </a:lnTo>
                <a:close/>
                <a:moveTo>
                  <a:pt x="4285567" y="2751773"/>
                </a:moveTo>
                <a:lnTo>
                  <a:pt x="4286623" y="2755594"/>
                </a:lnTo>
                <a:lnTo>
                  <a:pt x="4286190" y="2758625"/>
                </a:lnTo>
                <a:lnTo>
                  <a:pt x="4280655" y="2761116"/>
                </a:lnTo>
                <a:lnTo>
                  <a:pt x="4277400" y="2764689"/>
                </a:lnTo>
                <a:lnTo>
                  <a:pt x="4274687" y="2764580"/>
                </a:lnTo>
                <a:lnTo>
                  <a:pt x="4270129" y="2768154"/>
                </a:lnTo>
                <a:lnTo>
                  <a:pt x="4269369" y="2770211"/>
                </a:lnTo>
                <a:lnTo>
                  <a:pt x="4266873" y="2772376"/>
                </a:lnTo>
                <a:lnTo>
                  <a:pt x="4262967" y="2780387"/>
                </a:lnTo>
                <a:lnTo>
                  <a:pt x="4260254" y="2784935"/>
                </a:lnTo>
                <a:lnTo>
                  <a:pt x="4260905" y="2788617"/>
                </a:lnTo>
                <a:lnTo>
                  <a:pt x="4260255" y="2784936"/>
                </a:lnTo>
                <a:lnTo>
                  <a:pt x="4262968" y="2780388"/>
                </a:lnTo>
                <a:lnTo>
                  <a:pt x="4266875" y="2772376"/>
                </a:lnTo>
                <a:lnTo>
                  <a:pt x="4269370" y="2770211"/>
                </a:lnTo>
                <a:lnTo>
                  <a:pt x="4270129" y="2768154"/>
                </a:lnTo>
                <a:lnTo>
                  <a:pt x="4274687" y="2764581"/>
                </a:lnTo>
                <a:lnTo>
                  <a:pt x="4277401" y="2764689"/>
                </a:lnTo>
                <a:lnTo>
                  <a:pt x="4280655" y="2761116"/>
                </a:lnTo>
                <a:lnTo>
                  <a:pt x="4286190" y="2758626"/>
                </a:lnTo>
                <a:lnTo>
                  <a:pt x="4286624" y="2755594"/>
                </a:lnTo>
                <a:close/>
                <a:moveTo>
                  <a:pt x="3823257" y="2749639"/>
                </a:moveTo>
                <a:lnTo>
                  <a:pt x="3823257" y="2749639"/>
                </a:lnTo>
                <a:lnTo>
                  <a:pt x="3824885" y="2753970"/>
                </a:lnTo>
                <a:lnTo>
                  <a:pt x="3825535" y="2760899"/>
                </a:lnTo>
                <a:lnTo>
                  <a:pt x="3825537" y="2760898"/>
                </a:lnTo>
                <a:lnTo>
                  <a:pt x="3824885" y="2753969"/>
                </a:lnTo>
                <a:close/>
                <a:moveTo>
                  <a:pt x="4032349" y="2749590"/>
                </a:moveTo>
                <a:lnTo>
                  <a:pt x="4032152" y="2749748"/>
                </a:lnTo>
                <a:lnTo>
                  <a:pt x="4031067" y="2754728"/>
                </a:lnTo>
                <a:lnTo>
                  <a:pt x="4032152" y="2758517"/>
                </a:lnTo>
                <a:lnTo>
                  <a:pt x="4038663" y="2763715"/>
                </a:lnTo>
                <a:lnTo>
                  <a:pt x="4038771" y="2769561"/>
                </a:lnTo>
                <a:lnTo>
                  <a:pt x="4041159" y="2778115"/>
                </a:lnTo>
                <a:lnTo>
                  <a:pt x="4040291" y="2780821"/>
                </a:lnTo>
                <a:lnTo>
                  <a:pt x="4039694" y="2780858"/>
                </a:lnTo>
                <a:lnTo>
                  <a:pt x="4040292" y="2780821"/>
                </a:lnTo>
                <a:lnTo>
                  <a:pt x="4041160" y="2778114"/>
                </a:lnTo>
                <a:lnTo>
                  <a:pt x="4038772" y="2769561"/>
                </a:lnTo>
                <a:lnTo>
                  <a:pt x="4038664" y="2763714"/>
                </a:lnTo>
                <a:lnTo>
                  <a:pt x="4032153" y="2758517"/>
                </a:lnTo>
                <a:lnTo>
                  <a:pt x="4031068" y="2754728"/>
                </a:lnTo>
                <a:lnTo>
                  <a:pt x="4032153" y="2749748"/>
                </a:lnTo>
                <a:close/>
                <a:moveTo>
                  <a:pt x="6929113" y="2748990"/>
                </a:moveTo>
                <a:lnTo>
                  <a:pt x="6928136" y="2753537"/>
                </a:lnTo>
                <a:lnTo>
                  <a:pt x="6924446" y="2753970"/>
                </a:lnTo>
                <a:lnTo>
                  <a:pt x="6920974" y="2751696"/>
                </a:lnTo>
                <a:lnTo>
                  <a:pt x="6923470" y="2749856"/>
                </a:lnTo>
                <a:close/>
                <a:moveTo>
                  <a:pt x="3996234" y="2747798"/>
                </a:moveTo>
                <a:lnTo>
                  <a:pt x="3992110" y="2748014"/>
                </a:lnTo>
                <a:lnTo>
                  <a:pt x="3984514" y="2751912"/>
                </a:lnTo>
                <a:lnTo>
                  <a:pt x="3982018" y="2750721"/>
                </a:lnTo>
                <a:lnTo>
                  <a:pt x="3977135" y="2753104"/>
                </a:lnTo>
                <a:lnTo>
                  <a:pt x="3982018" y="2750722"/>
                </a:lnTo>
                <a:lnTo>
                  <a:pt x="3984513" y="2751913"/>
                </a:lnTo>
                <a:lnTo>
                  <a:pt x="3992109" y="2748015"/>
                </a:lnTo>
                <a:lnTo>
                  <a:pt x="3996233" y="2747799"/>
                </a:lnTo>
                <a:close/>
                <a:moveTo>
                  <a:pt x="2255234" y="2747484"/>
                </a:moveTo>
                <a:lnTo>
                  <a:pt x="2254976" y="2747690"/>
                </a:lnTo>
                <a:lnTo>
                  <a:pt x="2242713" y="2752454"/>
                </a:lnTo>
                <a:lnTo>
                  <a:pt x="2236735" y="2761672"/>
                </a:lnTo>
                <a:lnTo>
                  <a:pt x="2242713" y="2752454"/>
                </a:lnTo>
                <a:lnTo>
                  <a:pt x="2254975" y="2747690"/>
                </a:lnTo>
                <a:close/>
                <a:moveTo>
                  <a:pt x="6484519" y="2746283"/>
                </a:moveTo>
                <a:lnTo>
                  <a:pt x="6479745" y="2749747"/>
                </a:lnTo>
                <a:lnTo>
                  <a:pt x="6480722" y="2758192"/>
                </a:lnTo>
                <a:lnTo>
                  <a:pt x="6486039" y="2759708"/>
                </a:lnTo>
                <a:lnTo>
                  <a:pt x="6490379" y="2764147"/>
                </a:lnTo>
                <a:lnTo>
                  <a:pt x="6489511" y="2767395"/>
                </a:lnTo>
                <a:lnTo>
                  <a:pt x="6491790" y="2772376"/>
                </a:lnTo>
                <a:lnTo>
                  <a:pt x="6484195" y="2772917"/>
                </a:lnTo>
                <a:lnTo>
                  <a:pt x="6484195" y="2772917"/>
                </a:lnTo>
                <a:lnTo>
                  <a:pt x="6491791" y="2772376"/>
                </a:lnTo>
                <a:lnTo>
                  <a:pt x="6489512" y="2767396"/>
                </a:lnTo>
                <a:lnTo>
                  <a:pt x="6490380" y="2764147"/>
                </a:lnTo>
                <a:lnTo>
                  <a:pt x="6486040" y="2759708"/>
                </a:lnTo>
                <a:lnTo>
                  <a:pt x="6480723" y="2758192"/>
                </a:lnTo>
                <a:lnTo>
                  <a:pt x="6479745" y="2749747"/>
                </a:lnTo>
                <a:lnTo>
                  <a:pt x="6484520" y="2746283"/>
                </a:lnTo>
                <a:close/>
                <a:moveTo>
                  <a:pt x="4295400" y="2744454"/>
                </a:moveTo>
                <a:lnTo>
                  <a:pt x="4295522" y="2744984"/>
                </a:lnTo>
                <a:lnTo>
                  <a:pt x="4296177" y="2746491"/>
                </a:lnTo>
                <a:lnTo>
                  <a:pt x="4295522" y="2744983"/>
                </a:lnTo>
                <a:close/>
                <a:moveTo>
                  <a:pt x="4283680" y="2744278"/>
                </a:moveTo>
                <a:lnTo>
                  <a:pt x="4284670" y="2746716"/>
                </a:lnTo>
                <a:lnTo>
                  <a:pt x="4284852" y="2748881"/>
                </a:lnTo>
                <a:lnTo>
                  <a:pt x="4284671" y="2746716"/>
                </a:lnTo>
                <a:close/>
                <a:moveTo>
                  <a:pt x="4472929" y="2741501"/>
                </a:moveTo>
                <a:lnTo>
                  <a:pt x="4473598" y="2742710"/>
                </a:lnTo>
                <a:lnTo>
                  <a:pt x="4473923" y="2748881"/>
                </a:lnTo>
                <a:lnTo>
                  <a:pt x="4474328" y="2751053"/>
                </a:lnTo>
                <a:lnTo>
                  <a:pt x="4473923" y="2748880"/>
                </a:lnTo>
                <a:lnTo>
                  <a:pt x="4473598" y="2742709"/>
                </a:lnTo>
                <a:close/>
                <a:moveTo>
                  <a:pt x="6808878" y="2740978"/>
                </a:moveTo>
                <a:lnTo>
                  <a:pt x="6813761" y="2742277"/>
                </a:lnTo>
                <a:lnTo>
                  <a:pt x="6815280" y="2745850"/>
                </a:lnTo>
                <a:lnTo>
                  <a:pt x="6813544" y="2747041"/>
                </a:lnTo>
                <a:lnTo>
                  <a:pt x="6811916" y="2749206"/>
                </a:lnTo>
                <a:lnTo>
                  <a:pt x="6809746" y="2749206"/>
                </a:lnTo>
                <a:lnTo>
                  <a:pt x="6808335" y="2743793"/>
                </a:lnTo>
                <a:close/>
                <a:moveTo>
                  <a:pt x="5191219" y="2740870"/>
                </a:moveTo>
                <a:lnTo>
                  <a:pt x="5197513" y="2742710"/>
                </a:lnTo>
                <a:lnTo>
                  <a:pt x="5192413" y="2743468"/>
                </a:lnTo>
                <a:lnTo>
                  <a:pt x="5186227" y="2742494"/>
                </a:lnTo>
                <a:close/>
                <a:moveTo>
                  <a:pt x="6866607" y="2740762"/>
                </a:moveTo>
                <a:lnTo>
                  <a:pt x="6871165" y="2745309"/>
                </a:lnTo>
                <a:lnTo>
                  <a:pt x="6874637" y="2746825"/>
                </a:lnTo>
                <a:lnTo>
                  <a:pt x="6873769" y="2748666"/>
                </a:lnTo>
                <a:lnTo>
                  <a:pt x="6876373" y="2748990"/>
                </a:lnTo>
                <a:lnTo>
                  <a:pt x="6881366" y="2748557"/>
                </a:lnTo>
                <a:lnTo>
                  <a:pt x="6884729" y="2749532"/>
                </a:lnTo>
                <a:lnTo>
                  <a:pt x="6887551" y="2753971"/>
                </a:lnTo>
                <a:lnTo>
                  <a:pt x="6890698" y="2750073"/>
                </a:lnTo>
                <a:lnTo>
                  <a:pt x="6893519" y="2748233"/>
                </a:lnTo>
                <a:lnTo>
                  <a:pt x="6895690" y="2751697"/>
                </a:lnTo>
                <a:lnTo>
                  <a:pt x="6894930" y="2755703"/>
                </a:lnTo>
                <a:lnTo>
                  <a:pt x="6892325" y="2757760"/>
                </a:lnTo>
                <a:lnTo>
                  <a:pt x="6890046" y="2762849"/>
                </a:lnTo>
                <a:lnTo>
                  <a:pt x="6884296" y="2767505"/>
                </a:lnTo>
                <a:lnTo>
                  <a:pt x="6882450" y="2770753"/>
                </a:lnTo>
                <a:lnTo>
                  <a:pt x="6879846" y="2770753"/>
                </a:lnTo>
                <a:lnTo>
                  <a:pt x="6879304" y="2772269"/>
                </a:lnTo>
                <a:lnTo>
                  <a:pt x="6876157" y="2772161"/>
                </a:lnTo>
                <a:lnTo>
                  <a:pt x="6870839" y="2775517"/>
                </a:lnTo>
                <a:lnTo>
                  <a:pt x="6869320" y="2777466"/>
                </a:lnTo>
                <a:lnTo>
                  <a:pt x="6867150" y="2778332"/>
                </a:lnTo>
                <a:lnTo>
                  <a:pt x="6865305" y="2770320"/>
                </a:lnTo>
                <a:lnTo>
                  <a:pt x="6867041" y="2764582"/>
                </a:lnTo>
                <a:lnTo>
                  <a:pt x="6866824" y="2756461"/>
                </a:lnTo>
                <a:lnTo>
                  <a:pt x="6867800" y="2752022"/>
                </a:lnTo>
                <a:lnTo>
                  <a:pt x="6867909" y="2747366"/>
                </a:lnTo>
                <a:lnTo>
                  <a:pt x="6865630" y="2746825"/>
                </a:lnTo>
                <a:lnTo>
                  <a:pt x="6860747" y="2744984"/>
                </a:lnTo>
                <a:lnTo>
                  <a:pt x="6861615" y="2742061"/>
                </a:lnTo>
                <a:close/>
                <a:moveTo>
                  <a:pt x="6323999" y="2740336"/>
                </a:moveTo>
                <a:lnTo>
                  <a:pt x="6325001" y="2742060"/>
                </a:lnTo>
                <a:lnTo>
                  <a:pt x="6325001" y="2742060"/>
                </a:lnTo>
                <a:close/>
                <a:moveTo>
                  <a:pt x="3691409" y="2740219"/>
                </a:moveTo>
                <a:lnTo>
                  <a:pt x="3686092" y="2742493"/>
                </a:lnTo>
                <a:lnTo>
                  <a:pt x="3686093" y="2742493"/>
                </a:lnTo>
                <a:lnTo>
                  <a:pt x="3691410" y="2740220"/>
                </a:lnTo>
                <a:close/>
                <a:moveTo>
                  <a:pt x="2490782" y="2738813"/>
                </a:moveTo>
                <a:lnTo>
                  <a:pt x="2492736" y="2741736"/>
                </a:lnTo>
                <a:lnTo>
                  <a:pt x="2489805" y="2745742"/>
                </a:lnTo>
                <a:lnTo>
                  <a:pt x="2484054" y="2745525"/>
                </a:lnTo>
                <a:lnTo>
                  <a:pt x="2485790" y="2739895"/>
                </a:lnTo>
                <a:close/>
                <a:moveTo>
                  <a:pt x="6387941" y="2737188"/>
                </a:moveTo>
                <a:lnTo>
                  <a:pt x="6394236" y="2743576"/>
                </a:lnTo>
                <a:lnTo>
                  <a:pt x="6391740" y="2744117"/>
                </a:lnTo>
                <a:lnTo>
                  <a:pt x="6388375" y="2741302"/>
                </a:lnTo>
                <a:close/>
                <a:moveTo>
                  <a:pt x="4959535" y="2737188"/>
                </a:moveTo>
                <a:lnTo>
                  <a:pt x="4955467" y="2738348"/>
                </a:lnTo>
                <a:lnTo>
                  <a:pt x="4955221" y="2738418"/>
                </a:lnTo>
                <a:lnTo>
                  <a:pt x="4955130" y="2738444"/>
                </a:lnTo>
                <a:lnTo>
                  <a:pt x="4954219" y="2738703"/>
                </a:lnTo>
                <a:lnTo>
                  <a:pt x="4954219" y="2738704"/>
                </a:lnTo>
                <a:lnTo>
                  <a:pt x="4955130" y="2738444"/>
                </a:lnTo>
                <a:lnTo>
                  <a:pt x="4955467" y="2738348"/>
                </a:lnTo>
                <a:lnTo>
                  <a:pt x="4959535" y="2737188"/>
                </a:lnTo>
                <a:close/>
                <a:moveTo>
                  <a:pt x="2328875" y="2736431"/>
                </a:moveTo>
                <a:lnTo>
                  <a:pt x="2333324" y="2740870"/>
                </a:lnTo>
                <a:lnTo>
                  <a:pt x="2332348" y="2744876"/>
                </a:lnTo>
                <a:lnTo>
                  <a:pt x="2329526" y="2741303"/>
                </a:lnTo>
                <a:lnTo>
                  <a:pt x="2326271" y="2740761"/>
                </a:lnTo>
                <a:lnTo>
                  <a:pt x="2324209" y="2736756"/>
                </a:lnTo>
                <a:close/>
                <a:moveTo>
                  <a:pt x="6165591" y="2736214"/>
                </a:moveTo>
                <a:lnTo>
                  <a:pt x="6165591" y="2738487"/>
                </a:lnTo>
                <a:lnTo>
                  <a:pt x="6162878" y="2740869"/>
                </a:lnTo>
                <a:lnTo>
                  <a:pt x="6161250" y="2746066"/>
                </a:lnTo>
                <a:lnTo>
                  <a:pt x="6162986" y="2749098"/>
                </a:lnTo>
                <a:lnTo>
                  <a:pt x="6163529" y="2753537"/>
                </a:lnTo>
                <a:lnTo>
                  <a:pt x="6160056" y="2761116"/>
                </a:lnTo>
                <a:lnTo>
                  <a:pt x="6158753" y="2757868"/>
                </a:lnTo>
                <a:lnTo>
                  <a:pt x="6160056" y="2753970"/>
                </a:lnTo>
                <a:lnTo>
                  <a:pt x="6157560" y="2748448"/>
                </a:lnTo>
                <a:lnTo>
                  <a:pt x="6159080" y="2745308"/>
                </a:lnTo>
                <a:lnTo>
                  <a:pt x="6159080" y="2738487"/>
                </a:lnTo>
                <a:close/>
                <a:moveTo>
                  <a:pt x="4008387" y="2736105"/>
                </a:moveTo>
                <a:lnTo>
                  <a:pt x="4004046" y="2737512"/>
                </a:lnTo>
                <a:lnTo>
                  <a:pt x="4001551" y="2737729"/>
                </a:lnTo>
                <a:lnTo>
                  <a:pt x="4001551" y="2737730"/>
                </a:lnTo>
                <a:lnTo>
                  <a:pt x="4004046" y="2737513"/>
                </a:lnTo>
                <a:lnTo>
                  <a:pt x="4008387" y="2736106"/>
                </a:lnTo>
                <a:close/>
                <a:moveTo>
                  <a:pt x="2308365" y="2734698"/>
                </a:moveTo>
                <a:lnTo>
                  <a:pt x="2312815" y="2739894"/>
                </a:lnTo>
                <a:lnTo>
                  <a:pt x="2316938" y="2740328"/>
                </a:lnTo>
                <a:lnTo>
                  <a:pt x="2314551" y="2742926"/>
                </a:lnTo>
                <a:lnTo>
                  <a:pt x="2309234" y="2741735"/>
                </a:lnTo>
                <a:lnTo>
                  <a:pt x="2306955" y="2737080"/>
                </a:lnTo>
                <a:close/>
                <a:moveTo>
                  <a:pt x="3723096" y="2734698"/>
                </a:moveTo>
                <a:lnTo>
                  <a:pt x="3718538" y="2734915"/>
                </a:lnTo>
                <a:lnTo>
                  <a:pt x="3713872" y="2741627"/>
                </a:lnTo>
                <a:lnTo>
                  <a:pt x="3710725" y="2741844"/>
                </a:lnTo>
                <a:lnTo>
                  <a:pt x="3705842" y="2745309"/>
                </a:lnTo>
                <a:lnTo>
                  <a:pt x="3705843" y="2745309"/>
                </a:lnTo>
                <a:lnTo>
                  <a:pt x="3710726" y="2741844"/>
                </a:lnTo>
                <a:lnTo>
                  <a:pt x="3713873" y="2741627"/>
                </a:lnTo>
                <a:lnTo>
                  <a:pt x="3718539" y="2734915"/>
                </a:lnTo>
                <a:lnTo>
                  <a:pt x="3723097" y="2734698"/>
                </a:lnTo>
                <a:lnTo>
                  <a:pt x="3725779" y="2735877"/>
                </a:lnTo>
                <a:close/>
                <a:moveTo>
                  <a:pt x="3736010" y="2734265"/>
                </a:moveTo>
                <a:lnTo>
                  <a:pt x="3731669" y="2735672"/>
                </a:lnTo>
                <a:lnTo>
                  <a:pt x="3729499" y="2737513"/>
                </a:lnTo>
                <a:lnTo>
                  <a:pt x="3729499" y="2737513"/>
                </a:lnTo>
                <a:lnTo>
                  <a:pt x="3731670" y="2735672"/>
                </a:lnTo>
                <a:lnTo>
                  <a:pt x="3736010" y="2734265"/>
                </a:lnTo>
                <a:close/>
                <a:moveTo>
                  <a:pt x="3671010" y="2734048"/>
                </a:moveTo>
                <a:lnTo>
                  <a:pt x="3671009" y="2734048"/>
                </a:lnTo>
                <a:lnTo>
                  <a:pt x="3675567" y="2734265"/>
                </a:lnTo>
                <a:lnTo>
                  <a:pt x="3677846" y="2736756"/>
                </a:lnTo>
                <a:lnTo>
                  <a:pt x="3682946" y="2737188"/>
                </a:lnTo>
                <a:lnTo>
                  <a:pt x="3683380" y="2740867"/>
                </a:lnTo>
                <a:lnTo>
                  <a:pt x="3683380" y="2740865"/>
                </a:lnTo>
                <a:lnTo>
                  <a:pt x="3682947" y="2737188"/>
                </a:lnTo>
                <a:lnTo>
                  <a:pt x="3677847" y="2736755"/>
                </a:lnTo>
                <a:lnTo>
                  <a:pt x="3675568" y="2734265"/>
                </a:lnTo>
                <a:close/>
                <a:moveTo>
                  <a:pt x="4965504" y="2733831"/>
                </a:moveTo>
                <a:lnTo>
                  <a:pt x="4961490" y="2734914"/>
                </a:lnTo>
                <a:lnTo>
                  <a:pt x="4961489" y="2734915"/>
                </a:lnTo>
                <a:lnTo>
                  <a:pt x="4965503" y="2733832"/>
                </a:lnTo>
                <a:close/>
                <a:moveTo>
                  <a:pt x="3561842" y="2732424"/>
                </a:moveTo>
                <a:lnTo>
                  <a:pt x="3555059" y="2735808"/>
                </a:lnTo>
                <a:lnTo>
                  <a:pt x="3561842" y="2732424"/>
                </a:lnTo>
                <a:lnTo>
                  <a:pt x="3577902" y="2733832"/>
                </a:lnTo>
                <a:lnTo>
                  <a:pt x="3577903" y="2733832"/>
                </a:lnTo>
                <a:close/>
                <a:moveTo>
                  <a:pt x="4472730" y="2731557"/>
                </a:moveTo>
                <a:lnTo>
                  <a:pt x="4470017" y="2733398"/>
                </a:lnTo>
                <a:lnTo>
                  <a:pt x="4470017" y="2733398"/>
                </a:lnTo>
                <a:lnTo>
                  <a:pt x="4472730" y="2731558"/>
                </a:lnTo>
                <a:close/>
                <a:moveTo>
                  <a:pt x="2494580" y="2731234"/>
                </a:moveTo>
                <a:lnTo>
                  <a:pt x="2496968" y="2735673"/>
                </a:lnTo>
                <a:lnTo>
                  <a:pt x="2493387" y="2735673"/>
                </a:lnTo>
                <a:cubicBezTo>
                  <a:pt x="2493387" y="2735673"/>
                  <a:pt x="2494580" y="2731234"/>
                  <a:pt x="2494580" y="2731234"/>
                </a:cubicBezTo>
                <a:close/>
                <a:moveTo>
                  <a:pt x="3994714" y="2731016"/>
                </a:moveTo>
                <a:lnTo>
                  <a:pt x="3994714" y="2731016"/>
                </a:lnTo>
                <a:lnTo>
                  <a:pt x="3995676" y="2732295"/>
                </a:lnTo>
                <a:close/>
                <a:moveTo>
                  <a:pt x="6809636" y="2730800"/>
                </a:moveTo>
                <a:lnTo>
                  <a:pt x="6813434" y="2731341"/>
                </a:lnTo>
                <a:lnTo>
                  <a:pt x="6816256" y="2734590"/>
                </a:lnTo>
                <a:lnTo>
                  <a:pt x="6821139" y="2735564"/>
                </a:lnTo>
                <a:lnTo>
                  <a:pt x="6822116" y="2738054"/>
                </a:lnTo>
                <a:lnTo>
                  <a:pt x="6820054" y="2740544"/>
                </a:lnTo>
                <a:lnTo>
                  <a:pt x="6816907" y="2739137"/>
                </a:lnTo>
                <a:lnTo>
                  <a:pt x="6811806" y="2738812"/>
                </a:lnTo>
                <a:lnTo>
                  <a:pt x="6809636" y="2736322"/>
                </a:lnTo>
                <a:lnTo>
                  <a:pt x="6808008" y="2732749"/>
                </a:lnTo>
                <a:close/>
                <a:moveTo>
                  <a:pt x="4944301" y="2730043"/>
                </a:moveTo>
                <a:lnTo>
                  <a:pt x="4947708" y="2730150"/>
                </a:lnTo>
                <a:lnTo>
                  <a:pt x="4948773" y="2731548"/>
                </a:lnTo>
                <a:lnTo>
                  <a:pt x="4947708" y="2730150"/>
                </a:lnTo>
                <a:close/>
                <a:moveTo>
                  <a:pt x="2285686" y="2729501"/>
                </a:moveTo>
                <a:lnTo>
                  <a:pt x="2289266" y="2729934"/>
                </a:lnTo>
                <a:lnTo>
                  <a:pt x="2293390" y="2733724"/>
                </a:lnTo>
                <a:lnTo>
                  <a:pt x="2288724" y="2733832"/>
                </a:lnTo>
                <a:close/>
                <a:moveTo>
                  <a:pt x="4009798" y="2728959"/>
                </a:moveTo>
                <a:lnTo>
                  <a:pt x="4008944" y="2730798"/>
                </a:lnTo>
                <a:lnTo>
                  <a:pt x="4009798" y="2728960"/>
                </a:lnTo>
                <a:lnTo>
                  <a:pt x="4017611" y="2735456"/>
                </a:lnTo>
                <a:lnTo>
                  <a:pt x="4021951" y="2741411"/>
                </a:lnTo>
                <a:lnTo>
                  <a:pt x="4027486" y="2742494"/>
                </a:lnTo>
                <a:lnTo>
                  <a:pt x="4032694" y="2749314"/>
                </a:lnTo>
                <a:lnTo>
                  <a:pt x="4032695" y="2749314"/>
                </a:lnTo>
                <a:lnTo>
                  <a:pt x="4036385" y="2746391"/>
                </a:lnTo>
                <a:lnTo>
                  <a:pt x="4036168" y="2743793"/>
                </a:lnTo>
                <a:lnTo>
                  <a:pt x="4036167" y="2743793"/>
                </a:lnTo>
                <a:lnTo>
                  <a:pt x="4036385" y="2746391"/>
                </a:lnTo>
                <a:lnTo>
                  <a:pt x="4032695" y="2749314"/>
                </a:lnTo>
                <a:lnTo>
                  <a:pt x="4027486" y="2742493"/>
                </a:lnTo>
                <a:lnTo>
                  <a:pt x="4021951" y="2741410"/>
                </a:lnTo>
                <a:lnTo>
                  <a:pt x="4017611" y="2735455"/>
                </a:lnTo>
                <a:close/>
                <a:moveTo>
                  <a:pt x="4276722" y="2728770"/>
                </a:moveTo>
                <a:lnTo>
                  <a:pt x="4276721" y="2728770"/>
                </a:lnTo>
                <a:lnTo>
                  <a:pt x="4276966" y="2730150"/>
                </a:lnTo>
                <a:lnTo>
                  <a:pt x="4276748" y="2737405"/>
                </a:lnTo>
                <a:lnTo>
                  <a:pt x="4278810" y="2741627"/>
                </a:lnTo>
                <a:lnTo>
                  <a:pt x="4279865" y="2741897"/>
                </a:lnTo>
                <a:lnTo>
                  <a:pt x="4278811" y="2741627"/>
                </a:lnTo>
                <a:lnTo>
                  <a:pt x="4276749" y="2737405"/>
                </a:lnTo>
                <a:lnTo>
                  <a:pt x="4276966" y="2730151"/>
                </a:lnTo>
                <a:close/>
                <a:moveTo>
                  <a:pt x="6321369" y="2728124"/>
                </a:moveTo>
                <a:lnTo>
                  <a:pt x="6322179" y="2729827"/>
                </a:lnTo>
                <a:lnTo>
                  <a:pt x="6322179" y="2729826"/>
                </a:lnTo>
                <a:close/>
                <a:moveTo>
                  <a:pt x="4470017" y="2727443"/>
                </a:moveTo>
                <a:lnTo>
                  <a:pt x="4472730" y="2728093"/>
                </a:lnTo>
                <a:lnTo>
                  <a:pt x="4472730" y="2728093"/>
                </a:lnTo>
                <a:close/>
                <a:moveTo>
                  <a:pt x="3997427" y="2727443"/>
                </a:moveTo>
                <a:lnTo>
                  <a:pt x="3995619" y="2729825"/>
                </a:lnTo>
                <a:lnTo>
                  <a:pt x="3997427" y="2727444"/>
                </a:lnTo>
                <a:close/>
                <a:moveTo>
                  <a:pt x="5221929" y="2727335"/>
                </a:moveTo>
                <a:lnTo>
                  <a:pt x="5224968" y="2727768"/>
                </a:lnTo>
                <a:lnTo>
                  <a:pt x="5226269" y="2730258"/>
                </a:lnTo>
                <a:lnTo>
                  <a:pt x="5229308" y="2730908"/>
                </a:lnTo>
                <a:lnTo>
                  <a:pt x="5232672" y="2729933"/>
                </a:lnTo>
                <a:lnTo>
                  <a:pt x="5237339" y="2728959"/>
                </a:lnTo>
                <a:lnTo>
                  <a:pt x="5240594" y="2730583"/>
                </a:lnTo>
                <a:lnTo>
                  <a:pt x="5244392" y="2731341"/>
                </a:lnTo>
                <a:lnTo>
                  <a:pt x="5244718" y="2733181"/>
                </a:lnTo>
                <a:lnTo>
                  <a:pt x="5242873" y="2735347"/>
                </a:lnTo>
                <a:lnTo>
                  <a:pt x="5239292" y="2735563"/>
                </a:lnTo>
                <a:lnTo>
                  <a:pt x="5234083" y="2738920"/>
                </a:lnTo>
                <a:lnTo>
                  <a:pt x="5226921" y="2740002"/>
                </a:lnTo>
                <a:lnTo>
                  <a:pt x="5221820" y="2739028"/>
                </a:lnTo>
                <a:lnTo>
                  <a:pt x="5218890" y="2736646"/>
                </a:lnTo>
                <a:lnTo>
                  <a:pt x="5215852" y="2734914"/>
                </a:lnTo>
                <a:lnTo>
                  <a:pt x="5218782" y="2733398"/>
                </a:lnTo>
                <a:lnTo>
                  <a:pt x="5219216" y="2729717"/>
                </a:lnTo>
                <a:close/>
                <a:moveTo>
                  <a:pt x="6878219" y="2726361"/>
                </a:moveTo>
                <a:lnTo>
                  <a:pt x="6881475" y="2727985"/>
                </a:lnTo>
                <a:lnTo>
                  <a:pt x="6881149" y="2730367"/>
                </a:lnTo>
                <a:lnTo>
                  <a:pt x="6876700" y="2730692"/>
                </a:lnTo>
                <a:lnTo>
                  <a:pt x="6876049" y="2727985"/>
                </a:lnTo>
                <a:close/>
                <a:moveTo>
                  <a:pt x="4795459" y="2725711"/>
                </a:moveTo>
                <a:lnTo>
                  <a:pt x="4795458" y="2725711"/>
                </a:lnTo>
                <a:lnTo>
                  <a:pt x="4794807" y="2729825"/>
                </a:lnTo>
                <a:lnTo>
                  <a:pt x="4788947" y="2739353"/>
                </a:lnTo>
                <a:lnTo>
                  <a:pt x="4788839" y="2743034"/>
                </a:lnTo>
                <a:lnTo>
                  <a:pt x="4782111" y="2747906"/>
                </a:lnTo>
                <a:lnTo>
                  <a:pt x="4779181" y="2755377"/>
                </a:lnTo>
                <a:lnTo>
                  <a:pt x="4774515" y="2773133"/>
                </a:lnTo>
                <a:lnTo>
                  <a:pt x="4773725" y="2772904"/>
                </a:lnTo>
                <a:lnTo>
                  <a:pt x="4774515" y="2773134"/>
                </a:lnTo>
                <a:lnTo>
                  <a:pt x="4779181" y="2755377"/>
                </a:lnTo>
                <a:lnTo>
                  <a:pt x="4782112" y="2747906"/>
                </a:lnTo>
                <a:lnTo>
                  <a:pt x="4788840" y="2743034"/>
                </a:lnTo>
                <a:lnTo>
                  <a:pt x="4788948" y="2739353"/>
                </a:lnTo>
                <a:lnTo>
                  <a:pt x="4794808" y="2729826"/>
                </a:lnTo>
                <a:close/>
                <a:moveTo>
                  <a:pt x="3623154" y="2725387"/>
                </a:moveTo>
                <a:lnTo>
                  <a:pt x="3618596" y="2726253"/>
                </a:lnTo>
                <a:lnTo>
                  <a:pt x="3623154" y="2725387"/>
                </a:lnTo>
                <a:lnTo>
                  <a:pt x="3638346" y="2725603"/>
                </a:lnTo>
                <a:lnTo>
                  <a:pt x="3648004" y="2730367"/>
                </a:lnTo>
                <a:lnTo>
                  <a:pt x="3652127" y="2733615"/>
                </a:lnTo>
                <a:lnTo>
                  <a:pt x="3659507" y="2733182"/>
                </a:lnTo>
                <a:lnTo>
                  <a:pt x="3667103" y="2736322"/>
                </a:lnTo>
                <a:lnTo>
                  <a:pt x="3667104" y="2736322"/>
                </a:lnTo>
                <a:lnTo>
                  <a:pt x="3659507" y="2733182"/>
                </a:lnTo>
                <a:lnTo>
                  <a:pt x="3652128" y="2733615"/>
                </a:lnTo>
                <a:lnTo>
                  <a:pt x="3648004" y="2730367"/>
                </a:lnTo>
                <a:lnTo>
                  <a:pt x="3638346" y="2725603"/>
                </a:lnTo>
                <a:close/>
                <a:moveTo>
                  <a:pt x="3612628" y="2724845"/>
                </a:moveTo>
                <a:lnTo>
                  <a:pt x="3618596" y="2726469"/>
                </a:lnTo>
                <a:lnTo>
                  <a:pt x="3618596" y="2726469"/>
                </a:lnTo>
                <a:close/>
                <a:moveTo>
                  <a:pt x="6894279" y="2724412"/>
                </a:moveTo>
                <a:lnTo>
                  <a:pt x="6897643" y="2725386"/>
                </a:lnTo>
                <a:lnTo>
                  <a:pt x="6897209" y="2727010"/>
                </a:lnTo>
                <a:lnTo>
                  <a:pt x="6898945" y="2726794"/>
                </a:lnTo>
                <a:lnTo>
                  <a:pt x="6903069" y="2730691"/>
                </a:lnTo>
                <a:lnTo>
                  <a:pt x="6906215" y="2731233"/>
                </a:lnTo>
                <a:lnTo>
                  <a:pt x="6913594" y="2735997"/>
                </a:lnTo>
                <a:lnTo>
                  <a:pt x="6916416" y="2739677"/>
                </a:lnTo>
                <a:lnTo>
                  <a:pt x="6916416" y="2742601"/>
                </a:lnTo>
                <a:lnTo>
                  <a:pt x="6912618" y="2743034"/>
                </a:lnTo>
                <a:lnTo>
                  <a:pt x="6906758" y="2740652"/>
                </a:lnTo>
                <a:lnTo>
                  <a:pt x="6901658" y="2734156"/>
                </a:lnTo>
                <a:lnTo>
                  <a:pt x="6898076" y="2734481"/>
                </a:lnTo>
                <a:lnTo>
                  <a:pt x="6894279" y="2740760"/>
                </a:lnTo>
                <a:lnTo>
                  <a:pt x="6893193" y="2738054"/>
                </a:lnTo>
                <a:lnTo>
                  <a:pt x="6893302" y="2735238"/>
                </a:lnTo>
                <a:lnTo>
                  <a:pt x="6895363" y="2733398"/>
                </a:lnTo>
                <a:lnTo>
                  <a:pt x="6894387" y="2729608"/>
                </a:lnTo>
                <a:close/>
                <a:moveTo>
                  <a:pt x="4281313" y="2724189"/>
                </a:moveTo>
                <a:lnTo>
                  <a:pt x="4281312" y="2724189"/>
                </a:lnTo>
                <a:lnTo>
                  <a:pt x="4285973" y="2726578"/>
                </a:lnTo>
                <a:lnTo>
                  <a:pt x="4291399" y="2731666"/>
                </a:lnTo>
                <a:lnTo>
                  <a:pt x="4285973" y="2726577"/>
                </a:lnTo>
                <a:close/>
                <a:moveTo>
                  <a:pt x="6902092" y="2723546"/>
                </a:moveTo>
                <a:lnTo>
                  <a:pt x="6905348" y="2724628"/>
                </a:lnTo>
                <a:lnTo>
                  <a:pt x="6909364" y="2729718"/>
                </a:lnTo>
                <a:lnTo>
                  <a:pt x="6907302" y="2729718"/>
                </a:lnTo>
                <a:lnTo>
                  <a:pt x="6903503" y="2725928"/>
                </a:lnTo>
                <a:close/>
                <a:moveTo>
                  <a:pt x="6935081" y="2723113"/>
                </a:moveTo>
                <a:lnTo>
                  <a:pt x="6937252" y="2724196"/>
                </a:lnTo>
                <a:lnTo>
                  <a:pt x="6938879" y="2723438"/>
                </a:lnTo>
                <a:lnTo>
                  <a:pt x="6941700" y="2723763"/>
                </a:lnTo>
                <a:lnTo>
                  <a:pt x="6944196" y="2728094"/>
                </a:lnTo>
                <a:lnTo>
                  <a:pt x="6948211" y="2733507"/>
                </a:lnTo>
                <a:lnTo>
                  <a:pt x="6950164" y="2735023"/>
                </a:lnTo>
                <a:lnTo>
                  <a:pt x="6949622" y="2737621"/>
                </a:lnTo>
                <a:lnTo>
                  <a:pt x="6950490" y="2746066"/>
                </a:lnTo>
                <a:lnTo>
                  <a:pt x="6950164" y="2752887"/>
                </a:lnTo>
                <a:lnTo>
                  <a:pt x="6952769" y="2755269"/>
                </a:lnTo>
                <a:lnTo>
                  <a:pt x="6954180" y="2759600"/>
                </a:lnTo>
                <a:lnTo>
                  <a:pt x="6956458" y="2762415"/>
                </a:lnTo>
                <a:lnTo>
                  <a:pt x="6953963" y="2761332"/>
                </a:lnTo>
                <a:lnTo>
                  <a:pt x="6952877" y="2762523"/>
                </a:lnTo>
                <a:lnTo>
                  <a:pt x="6951467" y="2761873"/>
                </a:lnTo>
                <a:lnTo>
                  <a:pt x="6944413" y="2761440"/>
                </a:lnTo>
                <a:lnTo>
                  <a:pt x="6943003" y="2758192"/>
                </a:lnTo>
                <a:lnTo>
                  <a:pt x="6939097" y="2755702"/>
                </a:lnTo>
                <a:lnTo>
                  <a:pt x="6937360" y="2754511"/>
                </a:lnTo>
                <a:lnTo>
                  <a:pt x="6936492" y="2753104"/>
                </a:lnTo>
                <a:lnTo>
                  <a:pt x="6934213" y="2753970"/>
                </a:lnTo>
                <a:lnTo>
                  <a:pt x="6934973" y="2752887"/>
                </a:lnTo>
                <a:lnTo>
                  <a:pt x="6937252" y="2749964"/>
                </a:lnTo>
                <a:lnTo>
                  <a:pt x="6937903" y="2747798"/>
                </a:lnTo>
                <a:lnTo>
                  <a:pt x="6935515" y="2746282"/>
                </a:lnTo>
                <a:lnTo>
                  <a:pt x="6929981" y="2739894"/>
                </a:lnTo>
                <a:lnTo>
                  <a:pt x="6924013" y="2735131"/>
                </a:lnTo>
                <a:lnTo>
                  <a:pt x="6920215" y="2727552"/>
                </a:lnTo>
                <a:lnTo>
                  <a:pt x="6920323" y="2724304"/>
                </a:lnTo>
                <a:lnTo>
                  <a:pt x="6922385" y="2725278"/>
                </a:lnTo>
                <a:lnTo>
                  <a:pt x="6926074" y="2725170"/>
                </a:lnTo>
                <a:lnTo>
                  <a:pt x="6930958" y="2725386"/>
                </a:lnTo>
                <a:lnTo>
                  <a:pt x="6932585" y="2723654"/>
                </a:lnTo>
                <a:close/>
                <a:moveTo>
                  <a:pt x="4148157" y="2723004"/>
                </a:moveTo>
                <a:lnTo>
                  <a:pt x="4148157" y="2723004"/>
                </a:lnTo>
                <a:lnTo>
                  <a:pt x="4153040" y="2723654"/>
                </a:lnTo>
                <a:lnTo>
                  <a:pt x="4162806" y="2727227"/>
                </a:lnTo>
                <a:lnTo>
                  <a:pt x="4167147" y="2728310"/>
                </a:lnTo>
                <a:lnTo>
                  <a:pt x="4173007" y="2724412"/>
                </a:lnTo>
                <a:lnTo>
                  <a:pt x="4167147" y="2728310"/>
                </a:lnTo>
                <a:lnTo>
                  <a:pt x="4162807" y="2727227"/>
                </a:lnTo>
                <a:lnTo>
                  <a:pt x="4153040" y="2723654"/>
                </a:lnTo>
                <a:close/>
                <a:moveTo>
                  <a:pt x="3996567" y="2722363"/>
                </a:moveTo>
                <a:lnTo>
                  <a:pt x="3996993" y="2722788"/>
                </a:lnTo>
                <a:lnTo>
                  <a:pt x="3997138" y="2724340"/>
                </a:lnTo>
                <a:lnTo>
                  <a:pt x="3996993" y="2722788"/>
                </a:lnTo>
                <a:close/>
                <a:moveTo>
                  <a:pt x="6868886" y="2720731"/>
                </a:moveTo>
                <a:lnTo>
                  <a:pt x="6867801" y="2726253"/>
                </a:lnTo>
                <a:lnTo>
                  <a:pt x="6869430" y="2730475"/>
                </a:lnTo>
                <a:lnTo>
                  <a:pt x="6867584" y="2736322"/>
                </a:lnTo>
                <a:lnTo>
                  <a:pt x="6864655" y="2737296"/>
                </a:lnTo>
                <a:lnTo>
                  <a:pt x="6862158" y="2731125"/>
                </a:lnTo>
                <a:lnTo>
                  <a:pt x="6865088" y="2727119"/>
                </a:lnTo>
                <a:lnTo>
                  <a:pt x="6867150" y="2722463"/>
                </a:lnTo>
                <a:close/>
                <a:moveTo>
                  <a:pt x="4235408" y="2720614"/>
                </a:moveTo>
                <a:lnTo>
                  <a:pt x="4235404" y="2720622"/>
                </a:lnTo>
                <a:lnTo>
                  <a:pt x="4231823" y="2721488"/>
                </a:lnTo>
                <a:lnTo>
                  <a:pt x="4231789" y="2721464"/>
                </a:lnTo>
                <a:lnTo>
                  <a:pt x="4231823" y="2721489"/>
                </a:lnTo>
                <a:lnTo>
                  <a:pt x="4235404" y="2720622"/>
                </a:lnTo>
                <a:close/>
                <a:moveTo>
                  <a:pt x="4109480" y="2719456"/>
                </a:moveTo>
                <a:lnTo>
                  <a:pt x="4107680" y="2720081"/>
                </a:lnTo>
                <a:lnTo>
                  <a:pt x="4107680" y="2720081"/>
                </a:lnTo>
                <a:close/>
                <a:moveTo>
                  <a:pt x="4135569" y="2716941"/>
                </a:moveTo>
                <a:lnTo>
                  <a:pt x="4135569" y="2716941"/>
                </a:lnTo>
                <a:lnTo>
                  <a:pt x="4140452" y="2718674"/>
                </a:lnTo>
                <a:lnTo>
                  <a:pt x="4140452" y="2718673"/>
                </a:lnTo>
                <a:close/>
                <a:moveTo>
                  <a:pt x="3991892" y="2716616"/>
                </a:moveTo>
                <a:lnTo>
                  <a:pt x="3981584" y="2722138"/>
                </a:lnTo>
                <a:lnTo>
                  <a:pt x="3991893" y="2716617"/>
                </a:lnTo>
                <a:close/>
                <a:moveTo>
                  <a:pt x="6316428" y="2715534"/>
                </a:moveTo>
                <a:lnTo>
                  <a:pt x="6316428" y="2715534"/>
                </a:lnTo>
                <a:lnTo>
                  <a:pt x="6319141" y="2718458"/>
                </a:lnTo>
                <a:lnTo>
                  <a:pt x="6319245" y="2719204"/>
                </a:lnTo>
                <a:lnTo>
                  <a:pt x="6319141" y="2718457"/>
                </a:lnTo>
                <a:close/>
                <a:moveTo>
                  <a:pt x="6393547" y="2715317"/>
                </a:moveTo>
                <a:lnTo>
                  <a:pt x="6394234" y="2718457"/>
                </a:lnTo>
                <a:lnTo>
                  <a:pt x="6398358" y="2720623"/>
                </a:lnTo>
                <a:lnTo>
                  <a:pt x="6399118" y="2722210"/>
                </a:lnTo>
                <a:lnTo>
                  <a:pt x="6398358" y="2720622"/>
                </a:lnTo>
                <a:lnTo>
                  <a:pt x="6394234" y="2718457"/>
                </a:lnTo>
                <a:close/>
                <a:moveTo>
                  <a:pt x="4038989" y="2713802"/>
                </a:moveTo>
                <a:lnTo>
                  <a:pt x="4038663" y="2715209"/>
                </a:lnTo>
                <a:lnTo>
                  <a:pt x="4037686" y="2717049"/>
                </a:lnTo>
                <a:lnTo>
                  <a:pt x="4038771" y="2721381"/>
                </a:lnTo>
                <a:lnTo>
                  <a:pt x="4040399" y="2723330"/>
                </a:lnTo>
                <a:lnTo>
                  <a:pt x="4040616" y="2726685"/>
                </a:lnTo>
                <a:lnTo>
                  <a:pt x="4036276" y="2726794"/>
                </a:lnTo>
                <a:lnTo>
                  <a:pt x="4031284" y="2731883"/>
                </a:lnTo>
                <a:lnTo>
                  <a:pt x="4032260" y="2734373"/>
                </a:lnTo>
                <a:lnTo>
                  <a:pt x="4030633" y="2736863"/>
                </a:lnTo>
                <a:lnTo>
                  <a:pt x="4033455" y="2743684"/>
                </a:lnTo>
                <a:lnTo>
                  <a:pt x="4030633" y="2736863"/>
                </a:lnTo>
                <a:lnTo>
                  <a:pt x="4032261" y="2734373"/>
                </a:lnTo>
                <a:lnTo>
                  <a:pt x="4031284" y="2731883"/>
                </a:lnTo>
                <a:lnTo>
                  <a:pt x="4036276" y="2726794"/>
                </a:lnTo>
                <a:lnTo>
                  <a:pt x="4040617" y="2726686"/>
                </a:lnTo>
                <a:lnTo>
                  <a:pt x="4040400" y="2723330"/>
                </a:lnTo>
                <a:lnTo>
                  <a:pt x="4038772" y="2721381"/>
                </a:lnTo>
                <a:lnTo>
                  <a:pt x="4037687" y="2717049"/>
                </a:lnTo>
                <a:lnTo>
                  <a:pt x="4038664" y="2715209"/>
                </a:lnTo>
                <a:close/>
                <a:moveTo>
                  <a:pt x="4201872" y="2712718"/>
                </a:moveTo>
                <a:lnTo>
                  <a:pt x="4196664" y="2715317"/>
                </a:lnTo>
                <a:lnTo>
                  <a:pt x="4184184" y="2714451"/>
                </a:lnTo>
                <a:lnTo>
                  <a:pt x="4179084" y="2715859"/>
                </a:lnTo>
                <a:lnTo>
                  <a:pt x="4179084" y="2715859"/>
                </a:lnTo>
                <a:lnTo>
                  <a:pt x="4184184" y="2714451"/>
                </a:lnTo>
                <a:lnTo>
                  <a:pt x="4196664" y="2715318"/>
                </a:lnTo>
                <a:lnTo>
                  <a:pt x="4201872" y="2712719"/>
                </a:lnTo>
                <a:lnTo>
                  <a:pt x="4212507" y="2714018"/>
                </a:lnTo>
                <a:lnTo>
                  <a:pt x="4220212" y="2717699"/>
                </a:lnTo>
                <a:lnTo>
                  <a:pt x="4226939" y="2717916"/>
                </a:lnTo>
                <a:lnTo>
                  <a:pt x="4226956" y="2717928"/>
                </a:lnTo>
                <a:lnTo>
                  <a:pt x="4226940" y="2717916"/>
                </a:lnTo>
                <a:lnTo>
                  <a:pt x="4220212" y="2717699"/>
                </a:lnTo>
                <a:lnTo>
                  <a:pt x="4212507" y="2714018"/>
                </a:lnTo>
                <a:close/>
                <a:moveTo>
                  <a:pt x="4126453" y="2712610"/>
                </a:moveTo>
                <a:lnTo>
                  <a:pt x="4119726" y="2713910"/>
                </a:lnTo>
                <a:lnTo>
                  <a:pt x="4116144" y="2715642"/>
                </a:lnTo>
                <a:lnTo>
                  <a:pt x="4112780" y="2715967"/>
                </a:lnTo>
                <a:lnTo>
                  <a:pt x="4111478" y="2717591"/>
                </a:lnTo>
                <a:lnTo>
                  <a:pt x="4112781" y="2715967"/>
                </a:lnTo>
                <a:lnTo>
                  <a:pt x="4116144" y="2715642"/>
                </a:lnTo>
                <a:lnTo>
                  <a:pt x="4119726" y="2713910"/>
                </a:lnTo>
                <a:lnTo>
                  <a:pt x="4126453" y="2712610"/>
                </a:lnTo>
                <a:close/>
                <a:moveTo>
                  <a:pt x="3672744" y="2712069"/>
                </a:moveTo>
                <a:lnTo>
                  <a:pt x="3671681" y="2712254"/>
                </a:lnTo>
                <a:lnTo>
                  <a:pt x="3672745" y="2712069"/>
                </a:lnTo>
                <a:close/>
                <a:moveTo>
                  <a:pt x="4127430" y="2711636"/>
                </a:moveTo>
                <a:lnTo>
                  <a:pt x="4126757" y="2712308"/>
                </a:lnTo>
                <a:lnTo>
                  <a:pt x="4127430" y="2711636"/>
                </a:lnTo>
                <a:lnTo>
                  <a:pt x="4131336" y="2711853"/>
                </a:lnTo>
                <a:lnTo>
                  <a:pt x="4135569" y="2715101"/>
                </a:lnTo>
                <a:lnTo>
                  <a:pt x="4135569" y="2715101"/>
                </a:lnTo>
                <a:lnTo>
                  <a:pt x="4131337" y="2711853"/>
                </a:lnTo>
                <a:close/>
                <a:moveTo>
                  <a:pt x="2540157" y="2711095"/>
                </a:moveTo>
                <a:lnTo>
                  <a:pt x="2544498" y="2715209"/>
                </a:lnTo>
                <a:lnTo>
                  <a:pt x="2544606" y="2719648"/>
                </a:lnTo>
                <a:lnTo>
                  <a:pt x="2538638" y="2719866"/>
                </a:lnTo>
                <a:lnTo>
                  <a:pt x="2535600" y="2715642"/>
                </a:lnTo>
                <a:close/>
                <a:moveTo>
                  <a:pt x="4246183" y="2710842"/>
                </a:moveTo>
                <a:lnTo>
                  <a:pt x="4244085" y="2711420"/>
                </a:lnTo>
                <a:lnTo>
                  <a:pt x="4243919" y="2711778"/>
                </a:lnTo>
                <a:lnTo>
                  <a:pt x="4244085" y="2711420"/>
                </a:lnTo>
                <a:close/>
                <a:moveTo>
                  <a:pt x="4247232" y="2710553"/>
                </a:moveTo>
                <a:lnTo>
                  <a:pt x="4250813" y="2712069"/>
                </a:lnTo>
                <a:lnTo>
                  <a:pt x="4247233" y="2710553"/>
                </a:lnTo>
                <a:close/>
                <a:moveTo>
                  <a:pt x="6888311" y="2709579"/>
                </a:moveTo>
                <a:lnTo>
                  <a:pt x="6893086" y="2714560"/>
                </a:lnTo>
                <a:lnTo>
                  <a:pt x="6893737" y="2717266"/>
                </a:lnTo>
                <a:lnTo>
                  <a:pt x="6892543" y="2719540"/>
                </a:lnTo>
                <a:lnTo>
                  <a:pt x="6886358" y="2712719"/>
                </a:lnTo>
                <a:lnTo>
                  <a:pt x="6886466" y="2710012"/>
                </a:lnTo>
                <a:close/>
                <a:moveTo>
                  <a:pt x="2498704" y="2709579"/>
                </a:moveTo>
                <a:lnTo>
                  <a:pt x="2500874" y="2714884"/>
                </a:lnTo>
                <a:lnTo>
                  <a:pt x="2497185" y="2722030"/>
                </a:lnTo>
                <a:close/>
                <a:moveTo>
                  <a:pt x="3851255" y="2709254"/>
                </a:moveTo>
                <a:lnTo>
                  <a:pt x="3851254" y="2709254"/>
                </a:lnTo>
                <a:lnTo>
                  <a:pt x="3845828" y="2718674"/>
                </a:lnTo>
                <a:lnTo>
                  <a:pt x="3845612" y="2722138"/>
                </a:lnTo>
                <a:lnTo>
                  <a:pt x="3840511" y="2728960"/>
                </a:lnTo>
                <a:lnTo>
                  <a:pt x="3833566" y="2741627"/>
                </a:lnTo>
                <a:lnTo>
                  <a:pt x="3827597" y="2746174"/>
                </a:lnTo>
                <a:lnTo>
                  <a:pt x="3824902" y="2748326"/>
                </a:lnTo>
                <a:lnTo>
                  <a:pt x="3827598" y="2746174"/>
                </a:lnTo>
                <a:lnTo>
                  <a:pt x="3833567" y="2741627"/>
                </a:lnTo>
                <a:lnTo>
                  <a:pt x="3840512" y="2728959"/>
                </a:lnTo>
                <a:lnTo>
                  <a:pt x="3845612" y="2722138"/>
                </a:lnTo>
                <a:lnTo>
                  <a:pt x="3845829" y="2718674"/>
                </a:lnTo>
                <a:close/>
                <a:moveTo>
                  <a:pt x="3600108" y="2707990"/>
                </a:moveTo>
                <a:lnTo>
                  <a:pt x="3604164" y="2709363"/>
                </a:lnTo>
                <a:lnTo>
                  <a:pt x="3605867" y="2710070"/>
                </a:lnTo>
                <a:lnTo>
                  <a:pt x="3604163" y="2709362"/>
                </a:lnTo>
                <a:close/>
                <a:moveTo>
                  <a:pt x="3592987" y="2707197"/>
                </a:moveTo>
                <a:lnTo>
                  <a:pt x="3592987" y="2707197"/>
                </a:lnTo>
                <a:lnTo>
                  <a:pt x="3598087" y="2707305"/>
                </a:lnTo>
                <a:lnTo>
                  <a:pt x="3598086" y="2707305"/>
                </a:lnTo>
                <a:close/>
                <a:moveTo>
                  <a:pt x="3617077" y="2706764"/>
                </a:moveTo>
                <a:lnTo>
                  <a:pt x="3618921" y="2709795"/>
                </a:lnTo>
                <a:lnTo>
                  <a:pt x="3617293" y="2712827"/>
                </a:lnTo>
                <a:lnTo>
                  <a:pt x="3615422" y="2712751"/>
                </a:lnTo>
                <a:lnTo>
                  <a:pt x="3617294" y="2712827"/>
                </a:lnTo>
                <a:lnTo>
                  <a:pt x="3618921" y="2709796"/>
                </a:lnTo>
                <a:close/>
                <a:moveTo>
                  <a:pt x="6315886" y="2705790"/>
                </a:moveTo>
                <a:lnTo>
                  <a:pt x="6315886" y="2705790"/>
                </a:lnTo>
                <a:lnTo>
                  <a:pt x="6316862" y="2710337"/>
                </a:lnTo>
                <a:lnTo>
                  <a:pt x="6316862" y="2710337"/>
                </a:lnTo>
                <a:close/>
                <a:moveTo>
                  <a:pt x="3855486" y="2704924"/>
                </a:moveTo>
                <a:lnTo>
                  <a:pt x="3854510" y="2708171"/>
                </a:lnTo>
                <a:lnTo>
                  <a:pt x="3851304" y="2709238"/>
                </a:lnTo>
                <a:lnTo>
                  <a:pt x="3854511" y="2708172"/>
                </a:lnTo>
                <a:lnTo>
                  <a:pt x="3855488" y="2704924"/>
                </a:lnTo>
                <a:close/>
                <a:moveTo>
                  <a:pt x="3584956" y="2704490"/>
                </a:moveTo>
                <a:lnTo>
                  <a:pt x="3584955" y="2704490"/>
                </a:lnTo>
                <a:lnTo>
                  <a:pt x="3581375" y="2707305"/>
                </a:lnTo>
                <a:lnTo>
                  <a:pt x="3581375" y="2707305"/>
                </a:lnTo>
                <a:close/>
                <a:moveTo>
                  <a:pt x="3563036" y="2703949"/>
                </a:moveTo>
                <a:lnTo>
                  <a:pt x="3563035" y="2703949"/>
                </a:lnTo>
                <a:lnTo>
                  <a:pt x="3567267" y="2703949"/>
                </a:lnTo>
                <a:lnTo>
                  <a:pt x="3567268" y="2703949"/>
                </a:lnTo>
                <a:close/>
                <a:moveTo>
                  <a:pt x="4466327" y="2703732"/>
                </a:moveTo>
                <a:lnTo>
                  <a:pt x="4466327" y="2703732"/>
                </a:lnTo>
                <a:lnTo>
                  <a:pt x="4469139" y="2705415"/>
                </a:lnTo>
                <a:close/>
                <a:moveTo>
                  <a:pt x="4256674" y="2703624"/>
                </a:moveTo>
                <a:lnTo>
                  <a:pt x="4256674" y="2703624"/>
                </a:lnTo>
                <a:lnTo>
                  <a:pt x="4261122" y="2705357"/>
                </a:lnTo>
                <a:lnTo>
                  <a:pt x="4264269" y="2706547"/>
                </a:lnTo>
                <a:lnTo>
                  <a:pt x="4269935" y="2713887"/>
                </a:lnTo>
                <a:lnTo>
                  <a:pt x="4269935" y="2713886"/>
                </a:lnTo>
                <a:lnTo>
                  <a:pt x="4264269" y="2706547"/>
                </a:lnTo>
                <a:lnTo>
                  <a:pt x="4261123" y="2705356"/>
                </a:lnTo>
                <a:lnTo>
                  <a:pt x="4261123" y="2705356"/>
                </a:lnTo>
                <a:close/>
                <a:moveTo>
                  <a:pt x="4084458" y="2703516"/>
                </a:moveTo>
                <a:lnTo>
                  <a:pt x="4088364" y="2704274"/>
                </a:lnTo>
                <a:lnTo>
                  <a:pt x="4093490" y="2706133"/>
                </a:lnTo>
                <a:lnTo>
                  <a:pt x="4088364" y="2704273"/>
                </a:lnTo>
                <a:close/>
                <a:moveTo>
                  <a:pt x="3587342" y="2703516"/>
                </a:moveTo>
                <a:lnTo>
                  <a:pt x="3585012" y="2704467"/>
                </a:lnTo>
                <a:lnTo>
                  <a:pt x="3587343" y="2703516"/>
                </a:lnTo>
                <a:close/>
                <a:moveTo>
                  <a:pt x="3966608" y="2701980"/>
                </a:moveTo>
                <a:lnTo>
                  <a:pt x="3972794" y="2706114"/>
                </a:lnTo>
                <a:lnTo>
                  <a:pt x="3972924" y="2708973"/>
                </a:lnTo>
                <a:lnTo>
                  <a:pt x="3972794" y="2706114"/>
                </a:lnTo>
                <a:close/>
                <a:moveTo>
                  <a:pt x="6167544" y="2701676"/>
                </a:moveTo>
                <a:lnTo>
                  <a:pt x="6168521" y="2704382"/>
                </a:lnTo>
                <a:lnTo>
                  <a:pt x="6167001" y="2708388"/>
                </a:lnTo>
                <a:lnTo>
                  <a:pt x="6168521" y="2710121"/>
                </a:lnTo>
                <a:lnTo>
                  <a:pt x="6168303" y="2715101"/>
                </a:lnTo>
                <a:lnTo>
                  <a:pt x="6164723" y="2720406"/>
                </a:lnTo>
                <a:lnTo>
                  <a:pt x="6167978" y="2722463"/>
                </a:lnTo>
                <a:lnTo>
                  <a:pt x="6167978" y="2729176"/>
                </a:lnTo>
                <a:lnTo>
                  <a:pt x="6162660" y="2733291"/>
                </a:lnTo>
                <a:lnTo>
                  <a:pt x="6160490" y="2731233"/>
                </a:lnTo>
                <a:lnTo>
                  <a:pt x="6163203" y="2720947"/>
                </a:lnTo>
                <a:lnTo>
                  <a:pt x="6162335" y="2717700"/>
                </a:lnTo>
                <a:lnTo>
                  <a:pt x="6163746" y="2714885"/>
                </a:lnTo>
                <a:lnTo>
                  <a:pt x="6162877" y="2706981"/>
                </a:lnTo>
                <a:close/>
                <a:moveTo>
                  <a:pt x="4076786" y="2701178"/>
                </a:moveTo>
                <a:lnTo>
                  <a:pt x="4081636" y="2701892"/>
                </a:lnTo>
                <a:lnTo>
                  <a:pt x="4081636" y="2701892"/>
                </a:lnTo>
                <a:close/>
                <a:moveTo>
                  <a:pt x="3604598" y="2700701"/>
                </a:moveTo>
                <a:lnTo>
                  <a:pt x="3615014" y="2707089"/>
                </a:lnTo>
                <a:lnTo>
                  <a:pt x="3615015" y="2707089"/>
                </a:lnTo>
                <a:close/>
                <a:moveTo>
                  <a:pt x="4072055" y="2699963"/>
                </a:moveTo>
                <a:lnTo>
                  <a:pt x="4068506" y="2700159"/>
                </a:lnTo>
                <a:lnTo>
                  <a:pt x="4066444" y="2702000"/>
                </a:lnTo>
                <a:lnTo>
                  <a:pt x="4059173" y="2701892"/>
                </a:lnTo>
                <a:lnTo>
                  <a:pt x="4057220" y="2702000"/>
                </a:lnTo>
                <a:lnTo>
                  <a:pt x="4053422" y="2701783"/>
                </a:lnTo>
                <a:lnTo>
                  <a:pt x="4048538" y="2702866"/>
                </a:lnTo>
                <a:lnTo>
                  <a:pt x="4046694" y="2703949"/>
                </a:lnTo>
                <a:lnTo>
                  <a:pt x="4044089" y="2705031"/>
                </a:lnTo>
                <a:lnTo>
                  <a:pt x="4038771" y="2709363"/>
                </a:lnTo>
                <a:lnTo>
                  <a:pt x="4038012" y="2711744"/>
                </a:lnTo>
                <a:lnTo>
                  <a:pt x="4038772" y="2709363"/>
                </a:lnTo>
                <a:lnTo>
                  <a:pt x="4044090" y="2705032"/>
                </a:lnTo>
                <a:lnTo>
                  <a:pt x="4046694" y="2703949"/>
                </a:lnTo>
                <a:lnTo>
                  <a:pt x="4048538" y="2702867"/>
                </a:lnTo>
                <a:lnTo>
                  <a:pt x="4053422" y="2701784"/>
                </a:lnTo>
                <a:lnTo>
                  <a:pt x="4057220" y="2702000"/>
                </a:lnTo>
                <a:lnTo>
                  <a:pt x="4059173" y="2701892"/>
                </a:lnTo>
                <a:lnTo>
                  <a:pt x="4066444" y="2702000"/>
                </a:lnTo>
                <a:lnTo>
                  <a:pt x="4068506" y="2700159"/>
                </a:lnTo>
                <a:close/>
                <a:moveTo>
                  <a:pt x="4072412" y="2699943"/>
                </a:moveTo>
                <a:lnTo>
                  <a:pt x="4073714" y="2700430"/>
                </a:lnTo>
                <a:lnTo>
                  <a:pt x="4072412" y="2699943"/>
                </a:lnTo>
                <a:close/>
                <a:moveTo>
                  <a:pt x="4906905" y="2699401"/>
                </a:moveTo>
                <a:lnTo>
                  <a:pt x="4906906" y="2699402"/>
                </a:lnTo>
                <a:lnTo>
                  <a:pt x="4913136" y="2700372"/>
                </a:lnTo>
                <a:close/>
                <a:moveTo>
                  <a:pt x="6825046" y="2699294"/>
                </a:moveTo>
                <a:lnTo>
                  <a:pt x="6830580" y="2701351"/>
                </a:lnTo>
                <a:lnTo>
                  <a:pt x="6836332" y="2700052"/>
                </a:lnTo>
                <a:lnTo>
                  <a:pt x="6846315" y="2708822"/>
                </a:lnTo>
                <a:lnTo>
                  <a:pt x="6851090" y="2710663"/>
                </a:lnTo>
                <a:lnTo>
                  <a:pt x="6851090" y="2714993"/>
                </a:lnTo>
                <a:lnTo>
                  <a:pt x="6849354" y="2718241"/>
                </a:lnTo>
                <a:lnTo>
                  <a:pt x="6851741" y="2721814"/>
                </a:lnTo>
                <a:lnTo>
                  <a:pt x="6851741" y="2725929"/>
                </a:lnTo>
                <a:lnTo>
                  <a:pt x="6849571" y="2727445"/>
                </a:lnTo>
                <a:lnTo>
                  <a:pt x="6849571" y="2731234"/>
                </a:lnTo>
                <a:lnTo>
                  <a:pt x="6845230" y="2734916"/>
                </a:lnTo>
                <a:lnTo>
                  <a:pt x="6841324" y="2734157"/>
                </a:lnTo>
                <a:lnTo>
                  <a:pt x="6836657" y="2728527"/>
                </a:lnTo>
                <a:lnTo>
                  <a:pt x="6836440" y="2724196"/>
                </a:lnTo>
                <a:lnTo>
                  <a:pt x="6832642" y="2722031"/>
                </a:lnTo>
                <a:lnTo>
                  <a:pt x="6832642" y="2714561"/>
                </a:lnTo>
                <a:lnTo>
                  <a:pt x="6829603" y="2710446"/>
                </a:lnTo>
                <a:lnTo>
                  <a:pt x="6826240" y="2709255"/>
                </a:lnTo>
                <a:lnTo>
                  <a:pt x="6825046" y="2703625"/>
                </a:lnTo>
                <a:lnTo>
                  <a:pt x="6821791" y="2703733"/>
                </a:lnTo>
                <a:lnTo>
                  <a:pt x="6820705" y="2701567"/>
                </a:lnTo>
                <a:close/>
                <a:moveTo>
                  <a:pt x="6859446" y="2697453"/>
                </a:moveTo>
                <a:lnTo>
                  <a:pt x="6863895" y="2699077"/>
                </a:lnTo>
                <a:lnTo>
                  <a:pt x="6866282" y="2703083"/>
                </a:lnTo>
                <a:lnTo>
                  <a:pt x="6864329" y="2705573"/>
                </a:lnTo>
                <a:lnTo>
                  <a:pt x="6863244" y="2708171"/>
                </a:lnTo>
                <a:lnTo>
                  <a:pt x="6857710" y="2704382"/>
                </a:lnTo>
                <a:lnTo>
                  <a:pt x="6856950" y="2700918"/>
                </a:lnTo>
                <a:close/>
                <a:moveTo>
                  <a:pt x="7408757" y="2697344"/>
                </a:moveTo>
                <a:lnTo>
                  <a:pt x="7410494" y="2698535"/>
                </a:lnTo>
                <a:lnTo>
                  <a:pt x="7406370" y="2706114"/>
                </a:lnTo>
                <a:lnTo>
                  <a:pt x="7402897" y="2707197"/>
                </a:lnTo>
                <a:lnTo>
                  <a:pt x="7401052" y="2705464"/>
                </a:lnTo>
                <a:lnTo>
                  <a:pt x="7401920" y="2702540"/>
                </a:lnTo>
                <a:lnTo>
                  <a:pt x="7404091" y="2698535"/>
                </a:lnTo>
                <a:close/>
                <a:moveTo>
                  <a:pt x="3879795" y="2696911"/>
                </a:moveTo>
                <a:lnTo>
                  <a:pt x="3879794" y="2696912"/>
                </a:lnTo>
                <a:lnTo>
                  <a:pt x="3877732" y="2701675"/>
                </a:lnTo>
                <a:lnTo>
                  <a:pt x="3877733" y="2701675"/>
                </a:lnTo>
                <a:close/>
                <a:moveTo>
                  <a:pt x="3582569" y="2694638"/>
                </a:moveTo>
                <a:lnTo>
                  <a:pt x="3586583" y="2695829"/>
                </a:lnTo>
                <a:lnTo>
                  <a:pt x="3592660" y="2696046"/>
                </a:lnTo>
                <a:lnTo>
                  <a:pt x="3600148" y="2700701"/>
                </a:lnTo>
                <a:lnTo>
                  <a:pt x="3600148" y="2700701"/>
                </a:lnTo>
                <a:lnTo>
                  <a:pt x="3592661" y="2696045"/>
                </a:lnTo>
                <a:lnTo>
                  <a:pt x="3586584" y="2695829"/>
                </a:lnTo>
                <a:close/>
                <a:moveTo>
                  <a:pt x="6396794" y="2693667"/>
                </a:moveTo>
                <a:lnTo>
                  <a:pt x="6396622" y="2694421"/>
                </a:lnTo>
                <a:lnTo>
                  <a:pt x="6394017" y="2697958"/>
                </a:lnTo>
                <a:lnTo>
                  <a:pt x="6396622" y="2694422"/>
                </a:lnTo>
                <a:close/>
                <a:moveTo>
                  <a:pt x="1861168" y="2693663"/>
                </a:moveTo>
                <a:lnTo>
                  <a:pt x="1857153" y="2694096"/>
                </a:lnTo>
                <a:lnTo>
                  <a:pt x="1856067" y="2696804"/>
                </a:lnTo>
                <a:lnTo>
                  <a:pt x="1855200" y="2698968"/>
                </a:lnTo>
                <a:lnTo>
                  <a:pt x="1855200" y="2698969"/>
                </a:lnTo>
                <a:lnTo>
                  <a:pt x="1856068" y="2696803"/>
                </a:lnTo>
                <a:lnTo>
                  <a:pt x="1857153" y="2694097"/>
                </a:lnTo>
                <a:lnTo>
                  <a:pt x="1861168" y="2693663"/>
                </a:lnTo>
                <a:close/>
                <a:moveTo>
                  <a:pt x="2505432" y="2692797"/>
                </a:moveTo>
                <a:lnTo>
                  <a:pt x="2507059" y="2700376"/>
                </a:lnTo>
                <a:lnTo>
                  <a:pt x="2504564" y="2706873"/>
                </a:lnTo>
                <a:lnTo>
                  <a:pt x="2500657" y="2704924"/>
                </a:lnTo>
                <a:lnTo>
                  <a:pt x="2499789" y="2700376"/>
                </a:lnTo>
                <a:close/>
                <a:moveTo>
                  <a:pt x="1823404" y="2691497"/>
                </a:moveTo>
                <a:lnTo>
                  <a:pt x="1819281" y="2692688"/>
                </a:lnTo>
                <a:lnTo>
                  <a:pt x="1813421" y="2693988"/>
                </a:lnTo>
                <a:lnTo>
                  <a:pt x="1808972" y="2698860"/>
                </a:lnTo>
                <a:lnTo>
                  <a:pt x="1808940" y="2699216"/>
                </a:lnTo>
                <a:lnTo>
                  <a:pt x="1808972" y="2698861"/>
                </a:lnTo>
                <a:lnTo>
                  <a:pt x="1813421" y="2693989"/>
                </a:lnTo>
                <a:lnTo>
                  <a:pt x="1819281" y="2692689"/>
                </a:lnTo>
                <a:lnTo>
                  <a:pt x="1823404" y="2691498"/>
                </a:lnTo>
                <a:close/>
                <a:moveTo>
                  <a:pt x="6812566" y="2691173"/>
                </a:moveTo>
                <a:lnTo>
                  <a:pt x="6815713" y="2691173"/>
                </a:lnTo>
                <a:lnTo>
                  <a:pt x="6820162" y="2695829"/>
                </a:lnTo>
                <a:lnTo>
                  <a:pt x="6818969" y="2697020"/>
                </a:lnTo>
                <a:lnTo>
                  <a:pt x="6813109" y="2694530"/>
                </a:lnTo>
                <a:close/>
                <a:moveTo>
                  <a:pt x="1843697" y="2689441"/>
                </a:moveTo>
                <a:lnTo>
                  <a:pt x="1839031" y="2690091"/>
                </a:lnTo>
                <a:lnTo>
                  <a:pt x="1843697" y="2689441"/>
                </a:lnTo>
                <a:close/>
                <a:moveTo>
                  <a:pt x="4815100" y="2689224"/>
                </a:moveTo>
                <a:lnTo>
                  <a:pt x="4813906" y="2690956"/>
                </a:lnTo>
                <a:lnTo>
                  <a:pt x="4811302" y="2698211"/>
                </a:lnTo>
                <a:lnTo>
                  <a:pt x="4811302" y="2706438"/>
                </a:lnTo>
                <a:lnTo>
                  <a:pt x="4804791" y="2717482"/>
                </a:lnTo>
                <a:lnTo>
                  <a:pt x="4802077" y="2725061"/>
                </a:lnTo>
                <a:lnTo>
                  <a:pt x="4802079" y="2725061"/>
                </a:lnTo>
                <a:lnTo>
                  <a:pt x="4804792" y="2717482"/>
                </a:lnTo>
                <a:lnTo>
                  <a:pt x="4811303" y="2706439"/>
                </a:lnTo>
                <a:lnTo>
                  <a:pt x="4811303" y="2698210"/>
                </a:lnTo>
                <a:lnTo>
                  <a:pt x="4813907" y="2690956"/>
                </a:lnTo>
                <a:lnTo>
                  <a:pt x="4815101" y="2689224"/>
                </a:lnTo>
                <a:close/>
                <a:moveTo>
                  <a:pt x="4471536" y="2686409"/>
                </a:moveTo>
                <a:lnTo>
                  <a:pt x="4471753" y="2689765"/>
                </a:lnTo>
                <a:lnTo>
                  <a:pt x="4472926" y="2690935"/>
                </a:lnTo>
                <a:lnTo>
                  <a:pt x="4471753" y="2689765"/>
                </a:lnTo>
                <a:close/>
                <a:moveTo>
                  <a:pt x="6472288" y="2686264"/>
                </a:moveTo>
                <a:lnTo>
                  <a:pt x="6473450" y="2686301"/>
                </a:lnTo>
                <a:lnTo>
                  <a:pt x="6477792" y="2693338"/>
                </a:lnTo>
                <a:lnTo>
                  <a:pt x="6485279" y="2696045"/>
                </a:lnTo>
                <a:lnTo>
                  <a:pt x="6477794" y="2693338"/>
                </a:lnTo>
                <a:lnTo>
                  <a:pt x="6473453" y="2686301"/>
                </a:lnTo>
                <a:close/>
                <a:moveTo>
                  <a:pt x="4891213" y="2685990"/>
                </a:moveTo>
                <a:lnTo>
                  <a:pt x="4892799" y="2687492"/>
                </a:lnTo>
                <a:lnTo>
                  <a:pt x="4896705" y="2688249"/>
                </a:lnTo>
                <a:lnTo>
                  <a:pt x="4905061" y="2695720"/>
                </a:lnTo>
                <a:lnTo>
                  <a:pt x="4905061" y="2695720"/>
                </a:lnTo>
                <a:lnTo>
                  <a:pt x="4896705" y="2688249"/>
                </a:lnTo>
                <a:lnTo>
                  <a:pt x="4892798" y="2687491"/>
                </a:lnTo>
                <a:close/>
                <a:moveTo>
                  <a:pt x="6915657" y="2684893"/>
                </a:moveTo>
                <a:lnTo>
                  <a:pt x="6919129" y="2688466"/>
                </a:lnTo>
                <a:lnTo>
                  <a:pt x="6921409" y="2693338"/>
                </a:lnTo>
                <a:lnTo>
                  <a:pt x="6919672" y="2698318"/>
                </a:lnTo>
                <a:lnTo>
                  <a:pt x="6913378" y="2699617"/>
                </a:lnTo>
                <a:lnTo>
                  <a:pt x="6911208" y="2697019"/>
                </a:lnTo>
                <a:lnTo>
                  <a:pt x="6912836" y="2695719"/>
                </a:lnTo>
                <a:lnTo>
                  <a:pt x="6914246" y="2692039"/>
                </a:lnTo>
                <a:lnTo>
                  <a:pt x="6913378" y="2686733"/>
                </a:lnTo>
                <a:close/>
                <a:moveTo>
                  <a:pt x="1829373" y="2684461"/>
                </a:moveTo>
                <a:lnTo>
                  <a:pt x="1827539" y="2685859"/>
                </a:lnTo>
                <a:lnTo>
                  <a:pt x="1827528" y="2685868"/>
                </a:lnTo>
                <a:lnTo>
                  <a:pt x="1823790" y="2688616"/>
                </a:lnTo>
                <a:lnTo>
                  <a:pt x="1827529" y="2685869"/>
                </a:lnTo>
                <a:lnTo>
                  <a:pt x="1829374" y="2684461"/>
                </a:lnTo>
                <a:lnTo>
                  <a:pt x="1831012" y="2684814"/>
                </a:lnTo>
                <a:close/>
                <a:moveTo>
                  <a:pt x="1829430" y="2684390"/>
                </a:moveTo>
                <a:lnTo>
                  <a:pt x="1823405" y="2688899"/>
                </a:lnTo>
                <a:lnTo>
                  <a:pt x="1823405" y="2688899"/>
                </a:lnTo>
                <a:lnTo>
                  <a:pt x="1823416" y="2688892"/>
                </a:lnTo>
                <a:close/>
                <a:moveTo>
                  <a:pt x="4883683" y="2682511"/>
                </a:moveTo>
                <a:lnTo>
                  <a:pt x="4879776" y="2683268"/>
                </a:lnTo>
                <a:lnTo>
                  <a:pt x="4879125" y="2684676"/>
                </a:lnTo>
                <a:lnTo>
                  <a:pt x="4879125" y="2684676"/>
                </a:lnTo>
                <a:lnTo>
                  <a:pt x="4879777" y="2683269"/>
                </a:lnTo>
                <a:lnTo>
                  <a:pt x="4883683" y="2682511"/>
                </a:lnTo>
                <a:close/>
                <a:moveTo>
                  <a:pt x="3903358" y="2682413"/>
                </a:moveTo>
                <a:lnTo>
                  <a:pt x="3892924" y="2688142"/>
                </a:lnTo>
                <a:lnTo>
                  <a:pt x="3884050" y="2694070"/>
                </a:lnTo>
                <a:lnTo>
                  <a:pt x="3892926" y="2688141"/>
                </a:lnTo>
                <a:close/>
                <a:moveTo>
                  <a:pt x="7419283" y="2681212"/>
                </a:moveTo>
                <a:lnTo>
                  <a:pt x="7420802" y="2684136"/>
                </a:lnTo>
                <a:lnTo>
                  <a:pt x="7418089" y="2684461"/>
                </a:lnTo>
                <a:lnTo>
                  <a:pt x="7414942" y="2683810"/>
                </a:lnTo>
                <a:close/>
                <a:moveTo>
                  <a:pt x="6506114" y="2680779"/>
                </a:moveTo>
                <a:lnTo>
                  <a:pt x="6509044" y="2688141"/>
                </a:lnTo>
                <a:lnTo>
                  <a:pt x="6513277" y="2690415"/>
                </a:lnTo>
                <a:lnTo>
                  <a:pt x="6517400" y="2700051"/>
                </a:lnTo>
                <a:lnTo>
                  <a:pt x="6516423" y="2707414"/>
                </a:lnTo>
                <a:lnTo>
                  <a:pt x="6518159" y="2712069"/>
                </a:lnTo>
                <a:lnTo>
                  <a:pt x="6516532" y="2718457"/>
                </a:lnTo>
                <a:lnTo>
                  <a:pt x="6517400" y="2723979"/>
                </a:lnTo>
                <a:lnTo>
                  <a:pt x="6514036" y="2731017"/>
                </a:lnTo>
                <a:lnTo>
                  <a:pt x="6510238" y="2732532"/>
                </a:lnTo>
                <a:lnTo>
                  <a:pt x="6509153" y="2735672"/>
                </a:lnTo>
                <a:lnTo>
                  <a:pt x="6502641" y="2737513"/>
                </a:lnTo>
                <a:lnTo>
                  <a:pt x="6495697" y="2742060"/>
                </a:lnTo>
                <a:lnTo>
                  <a:pt x="6493309" y="2746607"/>
                </a:lnTo>
                <a:lnTo>
                  <a:pt x="6493310" y="2746607"/>
                </a:lnTo>
                <a:lnTo>
                  <a:pt x="6495698" y="2742060"/>
                </a:lnTo>
                <a:lnTo>
                  <a:pt x="6502642" y="2737513"/>
                </a:lnTo>
                <a:lnTo>
                  <a:pt x="6509154" y="2735672"/>
                </a:lnTo>
                <a:lnTo>
                  <a:pt x="6510239" y="2732532"/>
                </a:lnTo>
                <a:lnTo>
                  <a:pt x="6514037" y="2731017"/>
                </a:lnTo>
                <a:lnTo>
                  <a:pt x="6517401" y="2723979"/>
                </a:lnTo>
                <a:lnTo>
                  <a:pt x="6516533" y="2718457"/>
                </a:lnTo>
                <a:lnTo>
                  <a:pt x="6518160" y="2712069"/>
                </a:lnTo>
                <a:lnTo>
                  <a:pt x="6516424" y="2707414"/>
                </a:lnTo>
                <a:lnTo>
                  <a:pt x="6517401" y="2700051"/>
                </a:lnTo>
                <a:lnTo>
                  <a:pt x="6513278" y="2690415"/>
                </a:lnTo>
                <a:lnTo>
                  <a:pt x="6509045" y="2688141"/>
                </a:lnTo>
                <a:lnTo>
                  <a:pt x="6506115" y="2680779"/>
                </a:lnTo>
                <a:close/>
                <a:moveTo>
                  <a:pt x="1759982" y="2680080"/>
                </a:moveTo>
                <a:lnTo>
                  <a:pt x="1759271" y="2681970"/>
                </a:lnTo>
                <a:lnTo>
                  <a:pt x="1759220" y="2682014"/>
                </a:lnTo>
                <a:lnTo>
                  <a:pt x="1759272" y="2681970"/>
                </a:lnTo>
                <a:close/>
                <a:moveTo>
                  <a:pt x="6859012" y="2679046"/>
                </a:moveTo>
                <a:lnTo>
                  <a:pt x="6862376" y="2681319"/>
                </a:lnTo>
                <a:lnTo>
                  <a:pt x="6863245" y="2685001"/>
                </a:lnTo>
                <a:lnTo>
                  <a:pt x="6859880" y="2683052"/>
                </a:lnTo>
                <a:close/>
                <a:moveTo>
                  <a:pt x="3953130" y="2678678"/>
                </a:moveTo>
                <a:lnTo>
                  <a:pt x="3953044" y="2679263"/>
                </a:lnTo>
                <a:lnTo>
                  <a:pt x="3951579" y="2681645"/>
                </a:lnTo>
                <a:lnTo>
                  <a:pt x="3953044" y="2679263"/>
                </a:lnTo>
                <a:close/>
                <a:moveTo>
                  <a:pt x="1944526" y="2678519"/>
                </a:moveTo>
                <a:lnTo>
                  <a:pt x="1945160" y="2680021"/>
                </a:lnTo>
                <a:lnTo>
                  <a:pt x="1945488" y="2679972"/>
                </a:lnTo>
                <a:lnTo>
                  <a:pt x="1945051" y="2678939"/>
                </a:lnTo>
                <a:close/>
                <a:moveTo>
                  <a:pt x="4867405" y="2678505"/>
                </a:moveTo>
                <a:lnTo>
                  <a:pt x="4865669" y="2680345"/>
                </a:lnTo>
                <a:lnTo>
                  <a:pt x="4865670" y="2680346"/>
                </a:lnTo>
                <a:lnTo>
                  <a:pt x="4867406" y="2678505"/>
                </a:lnTo>
                <a:close/>
                <a:moveTo>
                  <a:pt x="4862305" y="2677314"/>
                </a:moveTo>
                <a:lnTo>
                  <a:pt x="4857639" y="2677855"/>
                </a:lnTo>
                <a:lnTo>
                  <a:pt x="4853298" y="2681753"/>
                </a:lnTo>
                <a:lnTo>
                  <a:pt x="4853299" y="2681753"/>
                </a:lnTo>
                <a:lnTo>
                  <a:pt x="4857639" y="2677855"/>
                </a:lnTo>
                <a:lnTo>
                  <a:pt x="4862305" y="2677314"/>
                </a:lnTo>
                <a:lnTo>
                  <a:pt x="4864445" y="2679242"/>
                </a:lnTo>
                <a:close/>
                <a:moveTo>
                  <a:pt x="6418083" y="2676995"/>
                </a:moveTo>
                <a:lnTo>
                  <a:pt x="6407907" y="2680346"/>
                </a:lnTo>
                <a:lnTo>
                  <a:pt x="6403241" y="2680346"/>
                </a:lnTo>
                <a:lnTo>
                  <a:pt x="6402000" y="2682069"/>
                </a:lnTo>
                <a:lnTo>
                  <a:pt x="6403241" y="2680346"/>
                </a:lnTo>
                <a:lnTo>
                  <a:pt x="6407907" y="2680346"/>
                </a:lnTo>
                <a:close/>
                <a:moveTo>
                  <a:pt x="6419085" y="2676665"/>
                </a:moveTo>
                <a:lnTo>
                  <a:pt x="6419084" y="2676665"/>
                </a:lnTo>
                <a:lnTo>
                  <a:pt x="6422689" y="2676779"/>
                </a:lnTo>
                <a:close/>
                <a:moveTo>
                  <a:pt x="6434710" y="2676448"/>
                </a:moveTo>
                <a:lnTo>
                  <a:pt x="6427982" y="2678938"/>
                </a:lnTo>
                <a:lnTo>
                  <a:pt x="6426608" y="2677567"/>
                </a:lnTo>
                <a:lnTo>
                  <a:pt x="6427982" y="2678939"/>
                </a:lnTo>
                <a:lnTo>
                  <a:pt x="6434710" y="2676449"/>
                </a:lnTo>
                <a:lnTo>
                  <a:pt x="6439920" y="2676449"/>
                </a:lnTo>
                <a:lnTo>
                  <a:pt x="6445019" y="2677856"/>
                </a:lnTo>
                <a:lnTo>
                  <a:pt x="6439920" y="2676448"/>
                </a:lnTo>
                <a:close/>
                <a:moveTo>
                  <a:pt x="1762589" y="2676129"/>
                </a:moveTo>
                <a:lnTo>
                  <a:pt x="1762418" y="2677747"/>
                </a:lnTo>
                <a:lnTo>
                  <a:pt x="1762418" y="2677747"/>
                </a:lnTo>
                <a:close/>
                <a:moveTo>
                  <a:pt x="6297463" y="2675574"/>
                </a:moveTo>
                <a:lnTo>
                  <a:pt x="6300693" y="2679589"/>
                </a:lnTo>
                <a:lnTo>
                  <a:pt x="6307964" y="2685218"/>
                </a:lnTo>
                <a:lnTo>
                  <a:pt x="6314475" y="2691607"/>
                </a:lnTo>
                <a:lnTo>
                  <a:pt x="6317513" y="2701784"/>
                </a:lnTo>
                <a:lnTo>
                  <a:pt x="6317513" y="2701784"/>
                </a:lnTo>
                <a:lnTo>
                  <a:pt x="6314475" y="2691606"/>
                </a:lnTo>
                <a:lnTo>
                  <a:pt x="6307964" y="2685218"/>
                </a:lnTo>
                <a:lnTo>
                  <a:pt x="6300693" y="2679588"/>
                </a:lnTo>
                <a:close/>
                <a:moveTo>
                  <a:pt x="4835393" y="2674066"/>
                </a:moveTo>
                <a:lnTo>
                  <a:pt x="4828882" y="2687708"/>
                </a:lnTo>
                <a:lnTo>
                  <a:pt x="4825084" y="2687925"/>
                </a:lnTo>
                <a:lnTo>
                  <a:pt x="4823348" y="2690739"/>
                </a:lnTo>
                <a:lnTo>
                  <a:pt x="4823348" y="2690739"/>
                </a:lnTo>
                <a:lnTo>
                  <a:pt x="4825084" y="2687925"/>
                </a:lnTo>
                <a:lnTo>
                  <a:pt x="4828882" y="2687708"/>
                </a:lnTo>
                <a:lnTo>
                  <a:pt x="4835393" y="2674066"/>
                </a:lnTo>
                <a:close/>
                <a:moveTo>
                  <a:pt x="1761008" y="2673200"/>
                </a:moveTo>
                <a:lnTo>
                  <a:pt x="1761007" y="2673201"/>
                </a:lnTo>
                <a:lnTo>
                  <a:pt x="1761984" y="2675041"/>
                </a:lnTo>
                <a:lnTo>
                  <a:pt x="1762635" y="2675691"/>
                </a:lnTo>
                <a:lnTo>
                  <a:pt x="1762635" y="2675690"/>
                </a:lnTo>
                <a:lnTo>
                  <a:pt x="1761984" y="2675041"/>
                </a:lnTo>
                <a:close/>
                <a:moveTo>
                  <a:pt x="6492118" y="2673092"/>
                </a:moveTo>
                <a:lnTo>
                  <a:pt x="6492116" y="2673092"/>
                </a:lnTo>
                <a:lnTo>
                  <a:pt x="6494395" y="2676881"/>
                </a:lnTo>
                <a:lnTo>
                  <a:pt x="6497759" y="2677856"/>
                </a:lnTo>
                <a:lnTo>
                  <a:pt x="6502641" y="2680996"/>
                </a:lnTo>
                <a:lnTo>
                  <a:pt x="6502643" y="2680996"/>
                </a:lnTo>
                <a:lnTo>
                  <a:pt x="6497761" y="2677856"/>
                </a:lnTo>
                <a:lnTo>
                  <a:pt x="6494396" y="2676881"/>
                </a:lnTo>
                <a:close/>
                <a:moveTo>
                  <a:pt x="2495449" y="2672551"/>
                </a:moveTo>
                <a:lnTo>
                  <a:pt x="2505323" y="2675041"/>
                </a:lnTo>
                <a:lnTo>
                  <a:pt x="2507711" y="2683702"/>
                </a:lnTo>
                <a:lnTo>
                  <a:pt x="2507385" y="2687926"/>
                </a:lnTo>
                <a:lnTo>
                  <a:pt x="2503587" y="2686085"/>
                </a:lnTo>
                <a:lnTo>
                  <a:pt x="2500440" y="2685760"/>
                </a:lnTo>
                <a:lnTo>
                  <a:pt x="2501525" y="2682404"/>
                </a:lnTo>
                <a:lnTo>
                  <a:pt x="2495449" y="2676232"/>
                </a:lnTo>
                <a:close/>
                <a:moveTo>
                  <a:pt x="4265268" y="2671064"/>
                </a:moveTo>
                <a:lnTo>
                  <a:pt x="4265138" y="2671359"/>
                </a:lnTo>
                <a:lnTo>
                  <a:pt x="4263920" y="2671782"/>
                </a:lnTo>
                <a:lnTo>
                  <a:pt x="4265138" y="2671360"/>
                </a:lnTo>
                <a:close/>
                <a:moveTo>
                  <a:pt x="3955539" y="2669410"/>
                </a:moveTo>
                <a:lnTo>
                  <a:pt x="3955461" y="2669578"/>
                </a:lnTo>
                <a:lnTo>
                  <a:pt x="3955540" y="2669411"/>
                </a:lnTo>
                <a:close/>
                <a:moveTo>
                  <a:pt x="3977676" y="2669194"/>
                </a:moveTo>
                <a:lnTo>
                  <a:pt x="3961074" y="2670818"/>
                </a:lnTo>
                <a:lnTo>
                  <a:pt x="3977677" y="2669194"/>
                </a:lnTo>
                <a:close/>
                <a:moveTo>
                  <a:pt x="1970986" y="2669086"/>
                </a:moveTo>
                <a:lnTo>
                  <a:pt x="1971746" y="2670602"/>
                </a:lnTo>
                <a:lnTo>
                  <a:pt x="1972181" y="2670602"/>
                </a:lnTo>
                <a:lnTo>
                  <a:pt x="1971421" y="2669086"/>
                </a:lnTo>
                <a:close/>
                <a:moveTo>
                  <a:pt x="3924612" y="2668978"/>
                </a:moveTo>
                <a:lnTo>
                  <a:pt x="3917233" y="2673092"/>
                </a:lnTo>
                <a:lnTo>
                  <a:pt x="3912367" y="2677152"/>
                </a:lnTo>
                <a:lnTo>
                  <a:pt x="3917234" y="2673091"/>
                </a:lnTo>
                <a:close/>
                <a:moveTo>
                  <a:pt x="3989396" y="2666596"/>
                </a:moveTo>
                <a:lnTo>
                  <a:pt x="3985265" y="2668620"/>
                </a:lnTo>
                <a:lnTo>
                  <a:pt x="3989397" y="2666596"/>
                </a:lnTo>
                <a:close/>
                <a:moveTo>
                  <a:pt x="4008868" y="2663723"/>
                </a:moveTo>
                <a:lnTo>
                  <a:pt x="4004480" y="2666596"/>
                </a:lnTo>
                <a:lnTo>
                  <a:pt x="4004481" y="2666596"/>
                </a:lnTo>
                <a:close/>
                <a:moveTo>
                  <a:pt x="4486295" y="2663455"/>
                </a:moveTo>
                <a:lnTo>
                  <a:pt x="4486295" y="2663456"/>
                </a:lnTo>
                <a:lnTo>
                  <a:pt x="4488790" y="2666595"/>
                </a:lnTo>
                <a:close/>
                <a:moveTo>
                  <a:pt x="1841636" y="2663239"/>
                </a:moveTo>
                <a:lnTo>
                  <a:pt x="1841636" y="2663239"/>
                </a:lnTo>
                <a:lnTo>
                  <a:pt x="1845325" y="2663456"/>
                </a:lnTo>
                <a:lnTo>
                  <a:pt x="1845325" y="2663455"/>
                </a:lnTo>
                <a:close/>
                <a:moveTo>
                  <a:pt x="3395920" y="2662698"/>
                </a:moveTo>
                <a:lnTo>
                  <a:pt x="3398199" y="2665405"/>
                </a:lnTo>
                <a:lnTo>
                  <a:pt x="3395378" y="2666488"/>
                </a:lnTo>
                <a:lnTo>
                  <a:pt x="3394401" y="2664106"/>
                </a:lnTo>
                <a:close/>
                <a:moveTo>
                  <a:pt x="3381270" y="2662481"/>
                </a:moveTo>
                <a:lnTo>
                  <a:pt x="3385177" y="2663563"/>
                </a:lnTo>
                <a:lnTo>
                  <a:pt x="3390059" y="2668869"/>
                </a:lnTo>
                <a:lnTo>
                  <a:pt x="3388865" y="2672442"/>
                </a:lnTo>
                <a:lnTo>
                  <a:pt x="3383548" y="2671467"/>
                </a:lnTo>
                <a:lnTo>
                  <a:pt x="3383332" y="2665946"/>
                </a:lnTo>
                <a:close/>
                <a:moveTo>
                  <a:pt x="3637586" y="2660207"/>
                </a:moveTo>
                <a:lnTo>
                  <a:pt x="3637586" y="2660208"/>
                </a:lnTo>
                <a:lnTo>
                  <a:pt x="3642904" y="2661182"/>
                </a:lnTo>
                <a:lnTo>
                  <a:pt x="3644314" y="2666163"/>
                </a:lnTo>
                <a:lnTo>
                  <a:pt x="3646583" y="2667056"/>
                </a:lnTo>
                <a:lnTo>
                  <a:pt x="3644314" y="2666162"/>
                </a:lnTo>
                <a:lnTo>
                  <a:pt x="3642904" y="2661182"/>
                </a:lnTo>
                <a:close/>
                <a:moveTo>
                  <a:pt x="6290818" y="2659342"/>
                </a:moveTo>
                <a:lnTo>
                  <a:pt x="6294291" y="2667571"/>
                </a:lnTo>
                <a:lnTo>
                  <a:pt x="6294296" y="2667675"/>
                </a:lnTo>
                <a:lnTo>
                  <a:pt x="6294291" y="2667570"/>
                </a:lnTo>
                <a:close/>
                <a:moveTo>
                  <a:pt x="6860531" y="2657718"/>
                </a:moveTo>
                <a:lnTo>
                  <a:pt x="6863677" y="2659991"/>
                </a:lnTo>
                <a:lnTo>
                  <a:pt x="6861290" y="2662373"/>
                </a:lnTo>
                <a:lnTo>
                  <a:pt x="6860747" y="2669519"/>
                </a:lnTo>
                <a:lnTo>
                  <a:pt x="6857492" y="2672659"/>
                </a:lnTo>
                <a:lnTo>
                  <a:pt x="6856624" y="2669411"/>
                </a:lnTo>
                <a:lnTo>
                  <a:pt x="6857275" y="2667354"/>
                </a:lnTo>
                <a:lnTo>
                  <a:pt x="6854888" y="2660966"/>
                </a:lnTo>
                <a:close/>
                <a:moveTo>
                  <a:pt x="6295843" y="2656259"/>
                </a:moveTo>
                <a:lnTo>
                  <a:pt x="6295810" y="2656418"/>
                </a:lnTo>
                <a:lnTo>
                  <a:pt x="6294449" y="2657216"/>
                </a:lnTo>
                <a:lnTo>
                  <a:pt x="6295810" y="2656419"/>
                </a:lnTo>
                <a:close/>
                <a:moveTo>
                  <a:pt x="1766844" y="2655824"/>
                </a:moveTo>
                <a:lnTo>
                  <a:pt x="1760573" y="2665730"/>
                </a:lnTo>
                <a:lnTo>
                  <a:pt x="1761007" y="2669519"/>
                </a:lnTo>
                <a:lnTo>
                  <a:pt x="1761333" y="2670710"/>
                </a:lnTo>
                <a:lnTo>
                  <a:pt x="1761333" y="2670709"/>
                </a:lnTo>
                <a:lnTo>
                  <a:pt x="1761007" y="2669519"/>
                </a:lnTo>
                <a:lnTo>
                  <a:pt x="1760574" y="2665729"/>
                </a:lnTo>
                <a:close/>
                <a:moveTo>
                  <a:pt x="3725375" y="2655444"/>
                </a:moveTo>
                <a:lnTo>
                  <a:pt x="3728197" y="2659125"/>
                </a:lnTo>
                <a:lnTo>
                  <a:pt x="3730692" y="2660208"/>
                </a:lnTo>
                <a:lnTo>
                  <a:pt x="3815769" y="2659883"/>
                </a:lnTo>
                <a:lnTo>
                  <a:pt x="3815769" y="2659883"/>
                </a:lnTo>
                <a:lnTo>
                  <a:pt x="3730693" y="2660207"/>
                </a:lnTo>
                <a:lnTo>
                  <a:pt x="3728198" y="2659125"/>
                </a:lnTo>
                <a:lnTo>
                  <a:pt x="3725376" y="2655444"/>
                </a:lnTo>
                <a:close/>
                <a:moveTo>
                  <a:pt x="2495991" y="2654361"/>
                </a:moveTo>
                <a:lnTo>
                  <a:pt x="2499572" y="2658150"/>
                </a:lnTo>
                <a:lnTo>
                  <a:pt x="2499572" y="2664863"/>
                </a:lnTo>
                <a:lnTo>
                  <a:pt x="2495123" y="2665946"/>
                </a:lnTo>
                <a:lnTo>
                  <a:pt x="2493387" y="2658475"/>
                </a:lnTo>
                <a:close/>
                <a:moveTo>
                  <a:pt x="3672896" y="2651265"/>
                </a:moveTo>
                <a:lnTo>
                  <a:pt x="3671443" y="2651762"/>
                </a:lnTo>
                <a:lnTo>
                  <a:pt x="3671443" y="2651763"/>
                </a:lnTo>
                <a:close/>
                <a:moveTo>
                  <a:pt x="3632595" y="2650355"/>
                </a:moveTo>
                <a:lnTo>
                  <a:pt x="3632595" y="2650355"/>
                </a:lnTo>
                <a:lnTo>
                  <a:pt x="3637586" y="2654686"/>
                </a:lnTo>
                <a:close/>
                <a:moveTo>
                  <a:pt x="7428290" y="2650139"/>
                </a:moveTo>
                <a:lnTo>
                  <a:pt x="7429592" y="2652629"/>
                </a:lnTo>
                <a:lnTo>
                  <a:pt x="7427205" y="2655769"/>
                </a:lnTo>
                <a:lnTo>
                  <a:pt x="7427422" y="2660750"/>
                </a:lnTo>
                <a:lnTo>
                  <a:pt x="7423732" y="2653712"/>
                </a:lnTo>
                <a:close/>
                <a:moveTo>
                  <a:pt x="3680494" y="2649339"/>
                </a:moveTo>
                <a:lnTo>
                  <a:pt x="3684464" y="2649489"/>
                </a:lnTo>
                <a:lnTo>
                  <a:pt x="3685224" y="2655443"/>
                </a:lnTo>
                <a:lnTo>
                  <a:pt x="3689347" y="2663239"/>
                </a:lnTo>
                <a:lnTo>
                  <a:pt x="3691843" y="2664863"/>
                </a:lnTo>
                <a:lnTo>
                  <a:pt x="3691843" y="2664863"/>
                </a:lnTo>
                <a:lnTo>
                  <a:pt x="3689348" y="2663239"/>
                </a:lnTo>
                <a:lnTo>
                  <a:pt x="3685225" y="2655444"/>
                </a:lnTo>
                <a:lnTo>
                  <a:pt x="3684465" y="2649489"/>
                </a:lnTo>
                <a:close/>
                <a:moveTo>
                  <a:pt x="3709749" y="2648298"/>
                </a:moveTo>
                <a:lnTo>
                  <a:pt x="3709749" y="2648298"/>
                </a:lnTo>
                <a:lnTo>
                  <a:pt x="3715283" y="2650355"/>
                </a:lnTo>
                <a:lnTo>
                  <a:pt x="3715500" y="2657284"/>
                </a:lnTo>
                <a:lnTo>
                  <a:pt x="3718213" y="2660208"/>
                </a:lnTo>
                <a:lnTo>
                  <a:pt x="3718214" y="2660207"/>
                </a:lnTo>
                <a:lnTo>
                  <a:pt x="3715501" y="2657284"/>
                </a:lnTo>
                <a:lnTo>
                  <a:pt x="3715284" y="2650355"/>
                </a:lnTo>
                <a:close/>
                <a:moveTo>
                  <a:pt x="2501633" y="2644942"/>
                </a:moveTo>
                <a:lnTo>
                  <a:pt x="2501199" y="2649273"/>
                </a:lnTo>
                <a:lnTo>
                  <a:pt x="2497727" y="2647758"/>
                </a:lnTo>
                <a:close/>
                <a:moveTo>
                  <a:pt x="4818830" y="2644717"/>
                </a:moveTo>
                <a:lnTo>
                  <a:pt x="4817053" y="2655552"/>
                </a:lnTo>
                <a:lnTo>
                  <a:pt x="4813255" y="2661398"/>
                </a:lnTo>
                <a:lnTo>
                  <a:pt x="4812929" y="2665404"/>
                </a:lnTo>
                <a:lnTo>
                  <a:pt x="4810434" y="2668111"/>
                </a:lnTo>
                <a:lnTo>
                  <a:pt x="4809999" y="2673850"/>
                </a:lnTo>
                <a:lnTo>
                  <a:pt x="4812929" y="2683918"/>
                </a:lnTo>
                <a:lnTo>
                  <a:pt x="4813906" y="2688683"/>
                </a:lnTo>
                <a:lnTo>
                  <a:pt x="4814811" y="2689093"/>
                </a:lnTo>
                <a:lnTo>
                  <a:pt x="4813907" y="2688683"/>
                </a:lnTo>
                <a:lnTo>
                  <a:pt x="4818303" y="2690502"/>
                </a:lnTo>
                <a:lnTo>
                  <a:pt x="4818344" y="2690518"/>
                </a:lnTo>
                <a:lnTo>
                  <a:pt x="4813906" y="2688682"/>
                </a:lnTo>
                <a:lnTo>
                  <a:pt x="4812930" y="2683919"/>
                </a:lnTo>
                <a:lnTo>
                  <a:pt x="4810000" y="2673849"/>
                </a:lnTo>
                <a:lnTo>
                  <a:pt x="4810434" y="2668111"/>
                </a:lnTo>
                <a:lnTo>
                  <a:pt x="4812930" y="2665404"/>
                </a:lnTo>
                <a:lnTo>
                  <a:pt x="4813255" y="2661398"/>
                </a:lnTo>
                <a:lnTo>
                  <a:pt x="4817053" y="2655552"/>
                </a:lnTo>
                <a:close/>
                <a:moveTo>
                  <a:pt x="3629556" y="2642560"/>
                </a:moveTo>
                <a:lnTo>
                  <a:pt x="3625758" y="2643101"/>
                </a:lnTo>
                <a:lnTo>
                  <a:pt x="3629556" y="2642560"/>
                </a:lnTo>
                <a:close/>
                <a:moveTo>
                  <a:pt x="3624130" y="2641910"/>
                </a:moveTo>
                <a:lnTo>
                  <a:pt x="3619898" y="2643534"/>
                </a:lnTo>
                <a:lnTo>
                  <a:pt x="3616752" y="2642126"/>
                </a:lnTo>
                <a:lnTo>
                  <a:pt x="3616752" y="2642127"/>
                </a:lnTo>
                <a:lnTo>
                  <a:pt x="3619898" y="2643535"/>
                </a:lnTo>
                <a:lnTo>
                  <a:pt x="3624131" y="2641910"/>
                </a:lnTo>
                <a:lnTo>
                  <a:pt x="3625037" y="2642573"/>
                </a:lnTo>
                <a:close/>
                <a:moveTo>
                  <a:pt x="6293748" y="2640611"/>
                </a:moveTo>
                <a:lnTo>
                  <a:pt x="6293748" y="2640611"/>
                </a:lnTo>
                <a:lnTo>
                  <a:pt x="6294017" y="2641766"/>
                </a:lnTo>
                <a:close/>
                <a:moveTo>
                  <a:pt x="3401997" y="2638229"/>
                </a:moveTo>
                <a:lnTo>
                  <a:pt x="3404819" y="2639312"/>
                </a:lnTo>
                <a:lnTo>
                  <a:pt x="3405687" y="2643209"/>
                </a:lnTo>
                <a:lnTo>
                  <a:pt x="3403625" y="2644833"/>
                </a:lnTo>
                <a:lnTo>
                  <a:pt x="3401129" y="2644833"/>
                </a:lnTo>
                <a:lnTo>
                  <a:pt x="3398850" y="2641369"/>
                </a:lnTo>
                <a:close/>
                <a:moveTo>
                  <a:pt x="6456631" y="2637363"/>
                </a:moveTo>
                <a:lnTo>
                  <a:pt x="6460755" y="2638987"/>
                </a:lnTo>
                <a:lnTo>
                  <a:pt x="6459235" y="2641585"/>
                </a:lnTo>
                <a:lnTo>
                  <a:pt x="6465205" y="2645591"/>
                </a:lnTo>
                <a:lnTo>
                  <a:pt x="6466289" y="2648839"/>
                </a:lnTo>
                <a:lnTo>
                  <a:pt x="6464661" y="2654144"/>
                </a:lnTo>
                <a:lnTo>
                  <a:pt x="6465096" y="2657284"/>
                </a:lnTo>
                <a:lnTo>
                  <a:pt x="6463359" y="2661723"/>
                </a:lnTo>
                <a:lnTo>
                  <a:pt x="6465096" y="2665513"/>
                </a:lnTo>
                <a:lnTo>
                  <a:pt x="6464661" y="2674066"/>
                </a:lnTo>
                <a:lnTo>
                  <a:pt x="6461623" y="2677531"/>
                </a:lnTo>
                <a:lnTo>
                  <a:pt x="6459226" y="2678704"/>
                </a:lnTo>
                <a:lnTo>
                  <a:pt x="6461624" y="2677531"/>
                </a:lnTo>
                <a:lnTo>
                  <a:pt x="6459019" y="2678830"/>
                </a:lnTo>
                <a:lnTo>
                  <a:pt x="6455929" y="2680317"/>
                </a:lnTo>
                <a:lnTo>
                  <a:pt x="6455871" y="2680346"/>
                </a:lnTo>
                <a:lnTo>
                  <a:pt x="6451748" y="2676990"/>
                </a:lnTo>
                <a:lnTo>
                  <a:pt x="6451747" y="2676990"/>
                </a:lnTo>
                <a:lnTo>
                  <a:pt x="6455871" y="2680346"/>
                </a:lnTo>
                <a:lnTo>
                  <a:pt x="6459019" y="2678830"/>
                </a:lnTo>
                <a:lnTo>
                  <a:pt x="6464552" y="2682836"/>
                </a:lnTo>
                <a:lnTo>
                  <a:pt x="6466614" y="2686084"/>
                </a:lnTo>
                <a:lnTo>
                  <a:pt x="6466616" y="2686084"/>
                </a:lnTo>
                <a:lnTo>
                  <a:pt x="6464554" y="2682836"/>
                </a:lnTo>
                <a:lnTo>
                  <a:pt x="6459020" y="2678830"/>
                </a:lnTo>
                <a:lnTo>
                  <a:pt x="6461624" y="2677531"/>
                </a:lnTo>
                <a:lnTo>
                  <a:pt x="6464663" y="2674066"/>
                </a:lnTo>
                <a:lnTo>
                  <a:pt x="6465097" y="2665513"/>
                </a:lnTo>
                <a:lnTo>
                  <a:pt x="6463360" y="2661724"/>
                </a:lnTo>
                <a:lnTo>
                  <a:pt x="6465097" y="2657285"/>
                </a:lnTo>
                <a:lnTo>
                  <a:pt x="6464663" y="2654145"/>
                </a:lnTo>
                <a:lnTo>
                  <a:pt x="6466290" y="2648839"/>
                </a:lnTo>
                <a:lnTo>
                  <a:pt x="6465206" y="2645591"/>
                </a:lnTo>
                <a:lnTo>
                  <a:pt x="6459237" y="2641585"/>
                </a:lnTo>
                <a:lnTo>
                  <a:pt x="6460756" y="2638987"/>
                </a:lnTo>
                <a:lnTo>
                  <a:pt x="6456633" y="2637363"/>
                </a:lnTo>
                <a:close/>
                <a:moveTo>
                  <a:pt x="4042851" y="2635986"/>
                </a:moveTo>
                <a:lnTo>
                  <a:pt x="4039965" y="2637796"/>
                </a:lnTo>
                <a:lnTo>
                  <a:pt x="4039205" y="2646024"/>
                </a:lnTo>
                <a:lnTo>
                  <a:pt x="4037577" y="2651330"/>
                </a:lnTo>
                <a:lnTo>
                  <a:pt x="4037453" y="2651399"/>
                </a:lnTo>
                <a:lnTo>
                  <a:pt x="4037578" y="2651329"/>
                </a:lnTo>
                <a:lnTo>
                  <a:pt x="4039206" y="2646024"/>
                </a:lnTo>
                <a:lnTo>
                  <a:pt x="4039966" y="2637796"/>
                </a:lnTo>
                <a:close/>
                <a:moveTo>
                  <a:pt x="3612812" y="2634751"/>
                </a:moveTo>
                <a:lnTo>
                  <a:pt x="3616751" y="2639853"/>
                </a:lnTo>
                <a:lnTo>
                  <a:pt x="3616751" y="2639852"/>
                </a:lnTo>
                <a:close/>
                <a:moveTo>
                  <a:pt x="6504108" y="2634272"/>
                </a:moveTo>
                <a:lnTo>
                  <a:pt x="6504705" y="2635089"/>
                </a:lnTo>
                <a:lnTo>
                  <a:pt x="6506303" y="2635524"/>
                </a:lnTo>
                <a:lnTo>
                  <a:pt x="6504705" y="2635089"/>
                </a:lnTo>
                <a:close/>
                <a:moveTo>
                  <a:pt x="2490348" y="2634006"/>
                </a:moveTo>
                <a:lnTo>
                  <a:pt x="2494797" y="2639095"/>
                </a:lnTo>
                <a:lnTo>
                  <a:pt x="2491650" y="2648082"/>
                </a:lnTo>
                <a:lnTo>
                  <a:pt x="2485682" y="2638987"/>
                </a:lnTo>
                <a:lnTo>
                  <a:pt x="2487201" y="2634114"/>
                </a:lnTo>
                <a:close/>
                <a:moveTo>
                  <a:pt x="6511758" y="2633898"/>
                </a:moveTo>
                <a:lnTo>
                  <a:pt x="6507092" y="2635738"/>
                </a:lnTo>
                <a:lnTo>
                  <a:pt x="6507093" y="2635739"/>
                </a:lnTo>
                <a:lnTo>
                  <a:pt x="6511758" y="2633899"/>
                </a:lnTo>
                <a:close/>
                <a:moveTo>
                  <a:pt x="6496458" y="2630758"/>
                </a:moveTo>
                <a:lnTo>
                  <a:pt x="6496458" y="2630758"/>
                </a:lnTo>
                <a:lnTo>
                  <a:pt x="6501774" y="2631083"/>
                </a:lnTo>
                <a:lnTo>
                  <a:pt x="6501774" y="2631082"/>
                </a:lnTo>
                <a:close/>
                <a:moveTo>
                  <a:pt x="2499464" y="2629134"/>
                </a:moveTo>
                <a:lnTo>
                  <a:pt x="2502936" y="2639095"/>
                </a:lnTo>
                <a:lnTo>
                  <a:pt x="2497402" y="2638662"/>
                </a:lnTo>
                <a:lnTo>
                  <a:pt x="2494581" y="2633681"/>
                </a:lnTo>
                <a:close/>
                <a:moveTo>
                  <a:pt x="3596612" y="2628953"/>
                </a:moveTo>
                <a:lnTo>
                  <a:pt x="3605466" y="2631841"/>
                </a:lnTo>
                <a:lnTo>
                  <a:pt x="3611651" y="2633249"/>
                </a:lnTo>
                <a:lnTo>
                  <a:pt x="3611651" y="2633248"/>
                </a:lnTo>
                <a:lnTo>
                  <a:pt x="3605465" y="2631840"/>
                </a:lnTo>
                <a:close/>
                <a:moveTo>
                  <a:pt x="3378990" y="2627618"/>
                </a:moveTo>
                <a:lnTo>
                  <a:pt x="3382354" y="2630324"/>
                </a:lnTo>
                <a:lnTo>
                  <a:pt x="3378882" y="2631732"/>
                </a:lnTo>
                <a:lnTo>
                  <a:pt x="3377255" y="2629458"/>
                </a:lnTo>
                <a:close/>
                <a:moveTo>
                  <a:pt x="3369550" y="2627510"/>
                </a:moveTo>
                <a:lnTo>
                  <a:pt x="3372263" y="2627510"/>
                </a:lnTo>
                <a:lnTo>
                  <a:pt x="3374650" y="2628918"/>
                </a:lnTo>
                <a:lnTo>
                  <a:pt x="3374867" y="2630325"/>
                </a:lnTo>
                <a:lnTo>
                  <a:pt x="3373782" y="2630650"/>
                </a:lnTo>
                <a:lnTo>
                  <a:pt x="3372263" y="2630650"/>
                </a:lnTo>
                <a:lnTo>
                  <a:pt x="3371069" y="2631408"/>
                </a:lnTo>
                <a:lnTo>
                  <a:pt x="3368573" y="2629350"/>
                </a:lnTo>
                <a:close/>
                <a:moveTo>
                  <a:pt x="2477000" y="2623937"/>
                </a:moveTo>
                <a:lnTo>
                  <a:pt x="2478736" y="2627943"/>
                </a:lnTo>
                <a:lnTo>
                  <a:pt x="2475264" y="2628592"/>
                </a:lnTo>
                <a:close/>
                <a:moveTo>
                  <a:pt x="5031743" y="2623399"/>
                </a:moveTo>
                <a:lnTo>
                  <a:pt x="5043094" y="2628917"/>
                </a:lnTo>
                <a:lnTo>
                  <a:pt x="5043116" y="2629406"/>
                </a:lnTo>
                <a:lnTo>
                  <a:pt x="5043094" y="2628917"/>
                </a:lnTo>
                <a:close/>
                <a:moveTo>
                  <a:pt x="6491791" y="2622854"/>
                </a:moveTo>
                <a:lnTo>
                  <a:pt x="6489730" y="2623612"/>
                </a:lnTo>
                <a:lnTo>
                  <a:pt x="6491792" y="2622855"/>
                </a:lnTo>
                <a:lnTo>
                  <a:pt x="6493307" y="2623496"/>
                </a:lnTo>
                <a:close/>
                <a:moveTo>
                  <a:pt x="3404058" y="2622313"/>
                </a:moveTo>
                <a:lnTo>
                  <a:pt x="3404058" y="2626428"/>
                </a:lnTo>
                <a:lnTo>
                  <a:pt x="3402648" y="2628485"/>
                </a:lnTo>
                <a:lnTo>
                  <a:pt x="3401563" y="2624695"/>
                </a:lnTo>
                <a:close/>
                <a:moveTo>
                  <a:pt x="3355768" y="2620364"/>
                </a:moveTo>
                <a:lnTo>
                  <a:pt x="3358047" y="2621013"/>
                </a:lnTo>
                <a:lnTo>
                  <a:pt x="3358047" y="2623721"/>
                </a:lnTo>
                <a:lnTo>
                  <a:pt x="3355877" y="2625236"/>
                </a:lnTo>
                <a:lnTo>
                  <a:pt x="3354358" y="2622313"/>
                </a:lnTo>
                <a:close/>
                <a:moveTo>
                  <a:pt x="4969411" y="2618090"/>
                </a:moveTo>
                <a:lnTo>
                  <a:pt x="4969411" y="2618090"/>
                </a:lnTo>
                <a:lnTo>
                  <a:pt x="4973751" y="2626102"/>
                </a:lnTo>
                <a:lnTo>
                  <a:pt x="4967457" y="2630217"/>
                </a:lnTo>
                <a:lnTo>
                  <a:pt x="4964853" y="2635088"/>
                </a:lnTo>
                <a:lnTo>
                  <a:pt x="4964854" y="2635089"/>
                </a:lnTo>
                <a:lnTo>
                  <a:pt x="4967458" y="2630216"/>
                </a:lnTo>
                <a:lnTo>
                  <a:pt x="4973752" y="2626102"/>
                </a:lnTo>
                <a:close/>
                <a:moveTo>
                  <a:pt x="3349800" y="2615817"/>
                </a:moveTo>
                <a:lnTo>
                  <a:pt x="3353272" y="2615817"/>
                </a:lnTo>
                <a:lnTo>
                  <a:pt x="3354466" y="2618307"/>
                </a:lnTo>
                <a:lnTo>
                  <a:pt x="3349257" y="2621555"/>
                </a:lnTo>
                <a:lnTo>
                  <a:pt x="3346002" y="2621555"/>
                </a:lnTo>
                <a:lnTo>
                  <a:pt x="3344700" y="2617874"/>
                </a:lnTo>
                <a:lnTo>
                  <a:pt x="3346653" y="2617224"/>
                </a:lnTo>
                <a:close/>
                <a:moveTo>
                  <a:pt x="6287238" y="2614843"/>
                </a:moveTo>
                <a:lnTo>
                  <a:pt x="6287238" y="2614843"/>
                </a:lnTo>
                <a:lnTo>
                  <a:pt x="6291035" y="2616142"/>
                </a:lnTo>
                <a:lnTo>
                  <a:pt x="6293748" y="2622314"/>
                </a:lnTo>
                <a:lnTo>
                  <a:pt x="6294616" y="2627510"/>
                </a:lnTo>
                <a:lnTo>
                  <a:pt x="6299608" y="2629892"/>
                </a:lnTo>
                <a:lnTo>
                  <a:pt x="6294616" y="2627510"/>
                </a:lnTo>
                <a:lnTo>
                  <a:pt x="6293748" y="2622313"/>
                </a:lnTo>
                <a:lnTo>
                  <a:pt x="6291035" y="2616142"/>
                </a:lnTo>
                <a:close/>
                <a:moveTo>
                  <a:pt x="1782060" y="2614302"/>
                </a:moveTo>
                <a:lnTo>
                  <a:pt x="1785532" y="2617225"/>
                </a:lnTo>
                <a:lnTo>
                  <a:pt x="1786834" y="2619606"/>
                </a:lnTo>
                <a:lnTo>
                  <a:pt x="1790632" y="2624371"/>
                </a:lnTo>
                <a:lnTo>
                  <a:pt x="1794430" y="2626861"/>
                </a:lnTo>
                <a:lnTo>
                  <a:pt x="1797143" y="2626861"/>
                </a:lnTo>
                <a:lnTo>
                  <a:pt x="1798988" y="2630109"/>
                </a:lnTo>
                <a:lnTo>
                  <a:pt x="1799422" y="2633465"/>
                </a:lnTo>
                <a:lnTo>
                  <a:pt x="1801050" y="2635306"/>
                </a:lnTo>
                <a:lnTo>
                  <a:pt x="1805173" y="2635630"/>
                </a:lnTo>
                <a:lnTo>
                  <a:pt x="1807778" y="2637038"/>
                </a:lnTo>
                <a:lnTo>
                  <a:pt x="1807886" y="2640178"/>
                </a:lnTo>
                <a:lnTo>
                  <a:pt x="1807887" y="2640177"/>
                </a:lnTo>
                <a:lnTo>
                  <a:pt x="1807778" y="2637037"/>
                </a:lnTo>
                <a:lnTo>
                  <a:pt x="1805174" y="2635630"/>
                </a:lnTo>
                <a:lnTo>
                  <a:pt x="1801050" y="2635305"/>
                </a:lnTo>
                <a:lnTo>
                  <a:pt x="1799423" y="2633464"/>
                </a:lnTo>
                <a:lnTo>
                  <a:pt x="1798989" y="2630108"/>
                </a:lnTo>
                <a:lnTo>
                  <a:pt x="1797144" y="2626860"/>
                </a:lnTo>
                <a:lnTo>
                  <a:pt x="1794431" y="2626860"/>
                </a:lnTo>
                <a:lnTo>
                  <a:pt x="1790633" y="2624370"/>
                </a:lnTo>
                <a:lnTo>
                  <a:pt x="1786835" y="2619606"/>
                </a:lnTo>
                <a:lnTo>
                  <a:pt x="1785533" y="2617224"/>
                </a:lnTo>
                <a:lnTo>
                  <a:pt x="1782061" y="2614302"/>
                </a:lnTo>
                <a:close/>
                <a:moveTo>
                  <a:pt x="2483619" y="2612460"/>
                </a:moveTo>
                <a:lnTo>
                  <a:pt x="2490781" y="2617115"/>
                </a:lnTo>
                <a:lnTo>
                  <a:pt x="2485464" y="2619064"/>
                </a:lnTo>
                <a:lnTo>
                  <a:pt x="2483294" y="2616466"/>
                </a:lnTo>
                <a:close/>
                <a:moveTo>
                  <a:pt x="4835079" y="2610058"/>
                </a:moveTo>
                <a:lnTo>
                  <a:pt x="4831268" y="2610835"/>
                </a:lnTo>
                <a:lnTo>
                  <a:pt x="4830943" y="2613218"/>
                </a:lnTo>
                <a:lnTo>
                  <a:pt x="4832028" y="2615492"/>
                </a:lnTo>
                <a:lnTo>
                  <a:pt x="4831486" y="2618198"/>
                </a:lnTo>
                <a:lnTo>
                  <a:pt x="4825083" y="2618198"/>
                </a:lnTo>
                <a:lnTo>
                  <a:pt x="4822370" y="2619930"/>
                </a:lnTo>
                <a:lnTo>
                  <a:pt x="4822370" y="2624802"/>
                </a:lnTo>
                <a:lnTo>
                  <a:pt x="4820091" y="2630324"/>
                </a:lnTo>
                <a:lnTo>
                  <a:pt x="4822262" y="2631732"/>
                </a:lnTo>
                <a:lnTo>
                  <a:pt x="4823564" y="2633897"/>
                </a:lnTo>
                <a:lnTo>
                  <a:pt x="4821719" y="2636279"/>
                </a:lnTo>
                <a:lnTo>
                  <a:pt x="4819446" y="2642448"/>
                </a:lnTo>
                <a:lnTo>
                  <a:pt x="4821719" y="2636279"/>
                </a:lnTo>
                <a:lnTo>
                  <a:pt x="4823564" y="2633897"/>
                </a:lnTo>
                <a:lnTo>
                  <a:pt x="4822262" y="2631732"/>
                </a:lnTo>
                <a:lnTo>
                  <a:pt x="4820092" y="2630324"/>
                </a:lnTo>
                <a:lnTo>
                  <a:pt x="4822371" y="2624803"/>
                </a:lnTo>
                <a:lnTo>
                  <a:pt x="4822371" y="2619930"/>
                </a:lnTo>
                <a:lnTo>
                  <a:pt x="4825084" y="2618199"/>
                </a:lnTo>
                <a:lnTo>
                  <a:pt x="4831487" y="2618199"/>
                </a:lnTo>
                <a:lnTo>
                  <a:pt x="4832028" y="2615491"/>
                </a:lnTo>
                <a:lnTo>
                  <a:pt x="4830943" y="2613218"/>
                </a:lnTo>
                <a:lnTo>
                  <a:pt x="4831269" y="2610836"/>
                </a:lnTo>
                <a:close/>
                <a:moveTo>
                  <a:pt x="4838973" y="2607371"/>
                </a:moveTo>
                <a:lnTo>
                  <a:pt x="4836043" y="2609861"/>
                </a:lnTo>
                <a:lnTo>
                  <a:pt x="4836044" y="2609861"/>
                </a:lnTo>
                <a:lnTo>
                  <a:pt x="4838974" y="2607371"/>
                </a:lnTo>
                <a:close/>
                <a:moveTo>
                  <a:pt x="2463761" y="2606506"/>
                </a:moveTo>
                <a:lnTo>
                  <a:pt x="2467885" y="2613110"/>
                </a:lnTo>
                <a:lnTo>
                  <a:pt x="2462893" y="2612461"/>
                </a:lnTo>
                <a:lnTo>
                  <a:pt x="2460289" y="2608888"/>
                </a:lnTo>
                <a:close/>
                <a:moveTo>
                  <a:pt x="4975436" y="2605456"/>
                </a:moveTo>
                <a:lnTo>
                  <a:pt x="4972558" y="2606722"/>
                </a:lnTo>
                <a:lnTo>
                  <a:pt x="4969905" y="2616305"/>
                </a:lnTo>
                <a:lnTo>
                  <a:pt x="4972559" y="2606722"/>
                </a:lnTo>
                <a:close/>
                <a:moveTo>
                  <a:pt x="4849686" y="2603865"/>
                </a:moveTo>
                <a:lnTo>
                  <a:pt x="4846027" y="2604556"/>
                </a:lnTo>
                <a:lnTo>
                  <a:pt x="4844291" y="2607912"/>
                </a:lnTo>
                <a:lnTo>
                  <a:pt x="4844291" y="2607912"/>
                </a:lnTo>
                <a:lnTo>
                  <a:pt x="4846027" y="2604556"/>
                </a:lnTo>
                <a:close/>
                <a:moveTo>
                  <a:pt x="1792956" y="2601701"/>
                </a:moveTo>
                <a:lnTo>
                  <a:pt x="1792043" y="2613434"/>
                </a:lnTo>
                <a:lnTo>
                  <a:pt x="1792044" y="2613434"/>
                </a:lnTo>
                <a:close/>
                <a:moveTo>
                  <a:pt x="2487092" y="2598602"/>
                </a:moveTo>
                <a:lnTo>
                  <a:pt x="2488937" y="2602500"/>
                </a:lnTo>
                <a:lnTo>
                  <a:pt x="2487743" y="2606831"/>
                </a:lnTo>
                <a:lnTo>
                  <a:pt x="2483620" y="2603041"/>
                </a:lnTo>
                <a:close/>
                <a:moveTo>
                  <a:pt x="2420897" y="2598170"/>
                </a:moveTo>
                <a:lnTo>
                  <a:pt x="2423502" y="2600768"/>
                </a:lnTo>
                <a:lnTo>
                  <a:pt x="2415906" y="2601852"/>
                </a:lnTo>
                <a:close/>
                <a:moveTo>
                  <a:pt x="1843046" y="2597844"/>
                </a:moveTo>
                <a:lnTo>
                  <a:pt x="1843046" y="2597844"/>
                </a:lnTo>
                <a:lnTo>
                  <a:pt x="1842562" y="2598508"/>
                </a:lnTo>
                <a:close/>
                <a:moveTo>
                  <a:pt x="1836774" y="2596765"/>
                </a:moveTo>
                <a:lnTo>
                  <a:pt x="1834907" y="2598061"/>
                </a:lnTo>
                <a:lnTo>
                  <a:pt x="1834473" y="2601524"/>
                </a:lnTo>
                <a:lnTo>
                  <a:pt x="1834474" y="2601524"/>
                </a:lnTo>
                <a:lnTo>
                  <a:pt x="1834908" y="2598061"/>
                </a:lnTo>
                <a:close/>
                <a:moveTo>
                  <a:pt x="2403752" y="2592323"/>
                </a:moveTo>
                <a:lnTo>
                  <a:pt x="2410371" y="2594163"/>
                </a:lnTo>
                <a:lnTo>
                  <a:pt x="2408526" y="2595679"/>
                </a:lnTo>
                <a:lnTo>
                  <a:pt x="2399737" y="2596221"/>
                </a:lnTo>
                <a:close/>
                <a:moveTo>
                  <a:pt x="6363307" y="2591564"/>
                </a:moveTo>
                <a:lnTo>
                  <a:pt x="6359311" y="2592450"/>
                </a:lnTo>
                <a:lnTo>
                  <a:pt x="6363307" y="2591565"/>
                </a:lnTo>
                <a:close/>
                <a:moveTo>
                  <a:pt x="2327574" y="2588858"/>
                </a:moveTo>
                <a:lnTo>
                  <a:pt x="2330287" y="2591672"/>
                </a:lnTo>
                <a:lnTo>
                  <a:pt x="2334085" y="2592214"/>
                </a:lnTo>
                <a:lnTo>
                  <a:pt x="2331155" y="2594380"/>
                </a:lnTo>
                <a:lnTo>
                  <a:pt x="2327791" y="2592972"/>
                </a:lnTo>
                <a:lnTo>
                  <a:pt x="2326055" y="2589615"/>
                </a:lnTo>
                <a:close/>
                <a:moveTo>
                  <a:pt x="2462567" y="2587883"/>
                </a:moveTo>
                <a:lnTo>
                  <a:pt x="2458986" y="2591997"/>
                </a:lnTo>
                <a:lnTo>
                  <a:pt x="2458769" y="2597195"/>
                </a:lnTo>
                <a:lnTo>
                  <a:pt x="2453126" y="2593297"/>
                </a:lnTo>
                <a:lnTo>
                  <a:pt x="2452367" y="2591022"/>
                </a:lnTo>
                <a:lnTo>
                  <a:pt x="2456382" y="2588099"/>
                </a:lnTo>
                <a:close/>
                <a:moveTo>
                  <a:pt x="6384360" y="2587017"/>
                </a:moveTo>
                <a:lnTo>
                  <a:pt x="6388483" y="2592214"/>
                </a:lnTo>
                <a:lnTo>
                  <a:pt x="6388484" y="2592214"/>
                </a:lnTo>
                <a:lnTo>
                  <a:pt x="6384361" y="2587017"/>
                </a:lnTo>
                <a:close/>
                <a:moveTo>
                  <a:pt x="1850100" y="2586800"/>
                </a:moveTo>
                <a:lnTo>
                  <a:pt x="1850099" y="2586800"/>
                </a:lnTo>
                <a:lnTo>
                  <a:pt x="1849122" y="2588641"/>
                </a:lnTo>
                <a:lnTo>
                  <a:pt x="1848146" y="2592214"/>
                </a:lnTo>
                <a:lnTo>
                  <a:pt x="1847386" y="2593244"/>
                </a:lnTo>
                <a:lnTo>
                  <a:pt x="1848147" y="2592214"/>
                </a:lnTo>
                <a:lnTo>
                  <a:pt x="1849123" y="2588641"/>
                </a:lnTo>
                <a:close/>
                <a:moveTo>
                  <a:pt x="6371556" y="2583227"/>
                </a:moveTo>
                <a:lnTo>
                  <a:pt x="6371555" y="2583228"/>
                </a:lnTo>
                <a:lnTo>
                  <a:pt x="6379476" y="2587450"/>
                </a:lnTo>
                <a:lnTo>
                  <a:pt x="6379478" y="2587449"/>
                </a:lnTo>
                <a:close/>
                <a:moveTo>
                  <a:pt x="2364902" y="2582470"/>
                </a:moveTo>
                <a:lnTo>
                  <a:pt x="2382264" y="2583986"/>
                </a:lnTo>
                <a:lnTo>
                  <a:pt x="2392140" y="2582578"/>
                </a:lnTo>
                <a:lnTo>
                  <a:pt x="2395069" y="2583986"/>
                </a:lnTo>
                <a:lnTo>
                  <a:pt x="2396263" y="2586909"/>
                </a:lnTo>
                <a:lnTo>
                  <a:pt x="2400712" y="2588209"/>
                </a:lnTo>
                <a:lnTo>
                  <a:pt x="2394526" y="2594921"/>
                </a:lnTo>
                <a:lnTo>
                  <a:pt x="2386605" y="2598603"/>
                </a:lnTo>
                <a:lnTo>
                  <a:pt x="2383458" y="2596978"/>
                </a:lnTo>
                <a:lnTo>
                  <a:pt x="2375211" y="2599144"/>
                </a:lnTo>
                <a:lnTo>
                  <a:pt x="2372064" y="2598062"/>
                </a:lnTo>
                <a:lnTo>
                  <a:pt x="2360779" y="2597520"/>
                </a:lnTo>
                <a:lnTo>
                  <a:pt x="2358717" y="2593513"/>
                </a:lnTo>
                <a:lnTo>
                  <a:pt x="2359368" y="2591132"/>
                </a:lnTo>
                <a:lnTo>
                  <a:pt x="2358825" y="2587884"/>
                </a:lnTo>
                <a:lnTo>
                  <a:pt x="2362949" y="2585827"/>
                </a:lnTo>
                <a:close/>
                <a:moveTo>
                  <a:pt x="2115205" y="2581928"/>
                </a:moveTo>
                <a:lnTo>
                  <a:pt x="2133436" y="2582902"/>
                </a:lnTo>
                <a:lnTo>
                  <a:pt x="2137994" y="2590373"/>
                </a:lnTo>
                <a:lnTo>
                  <a:pt x="2143962" y="2591456"/>
                </a:lnTo>
                <a:lnTo>
                  <a:pt x="2147977" y="2595679"/>
                </a:lnTo>
                <a:lnTo>
                  <a:pt x="2147434" y="2597844"/>
                </a:lnTo>
                <a:lnTo>
                  <a:pt x="2139513" y="2597844"/>
                </a:lnTo>
                <a:lnTo>
                  <a:pt x="2136257" y="2596112"/>
                </a:lnTo>
                <a:lnTo>
                  <a:pt x="2134412" y="2600118"/>
                </a:lnTo>
                <a:lnTo>
                  <a:pt x="2131917" y="2600767"/>
                </a:lnTo>
                <a:lnTo>
                  <a:pt x="2130072" y="2598602"/>
                </a:lnTo>
                <a:lnTo>
                  <a:pt x="2125948" y="2598602"/>
                </a:lnTo>
                <a:lnTo>
                  <a:pt x="2125731" y="2603583"/>
                </a:lnTo>
                <a:lnTo>
                  <a:pt x="2120088" y="2603365"/>
                </a:lnTo>
                <a:lnTo>
                  <a:pt x="2116290" y="2600442"/>
                </a:lnTo>
                <a:lnTo>
                  <a:pt x="2110756" y="2600659"/>
                </a:lnTo>
                <a:lnTo>
                  <a:pt x="2107501" y="2598060"/>
                </a:lnTo>
                <a:lnTo>
                  <a:pt x="2104788" y="2591889"/>
                </a:lnTo>
                <a:lnTo>
                  <a:pt x="2101749" y="2590481"/>
                </a:lnTo>
                <a:lnTo>
                  <a:pt x="2098711" y="2591456"/>
                </a:lnTo>
                <a:lnTo>
                  <a:pt x="2094262" y="2588099"/>
                </a:lnTo>
                <a:lnTo>
                  <a:pt x="2096975" y="2584093"/>
                </a:lnTo>
                <a:lnTo>
                  <a:pt x="2100881" y="2583227"/>
                </a:lnTo>
                <a:lnTo>
                  <a:pt x="2106307" y="2583769"/>
                </a:lnTo>
                <a:close/>
                <a:moveTo>
                  <a:pt x="6262387" y="2579547"/>
                </a:moveTo>
                <a:lnTo>
                  <a:pt x="6262930" y="2583336"/>
                </a:lnTo>
                <a:lnTo>
                  <a:pt x="6266619" y="2584419"/>
                </a:lnTo>
                <a:lnTo>
                  <a:pt x="6270526" y="2591239"/>
                </a:lnTo>
                <a:lnTo>
                  <a:pt x="6273998" y="2594488"/>
                </a:lnTo>
                <a:lnTo>
                  <a:pt x="6275301" y="2598169"/>
                </a:lnTo>
                <a:lnTo>
                  <a:pt x="6281594" y="2602392"/>
                </a:lnTo>
                <a:lnTo>
                  <a:pt x="6282398" y="2604166"/>
                </a:lnTo>
                <a:lnTo>
                  <a:pt x="6281594" y="2602391"/>
                </a:lnTo>
                <a:lnTo>
                  <a:pt x="6275301" y="2598169"/>
                </a:lnTo>
                <a:lnTo>
                  <a:pt x="6273998" y="2594488"/>
                </a:lnTo>
                <a:lnTo>
                  <a:pt x="6270526" y="2591239"/>
                </a:lnTo>
                <a:lnTo>
                  <a:pt x="6266619" y="2584418"/>
                </a:lnTo>
                <a:lnTo>
                  <a:pt x="6262930" y="2583336"/>
                </a:lnTo>
                <a:close/>
                <a:moveTo>
                  <a:pt x="6411599" y="2578788"/>
                </a:moveTo>
                <a:lnTo>
                  <a:pt x="6411598" y="2578788"/>
                </a:lnTo>
                <a:lnTo>
                  <a:pt x="6422340" y="2581604"/>
                </a:lnTo>
                <a:lnTo>
                  <a:pt x="6425813" y="2588424"/>
                </a:lnTo>
                <a:lnTo>
                  <a:pt x="6436121" y="2595895"/>
                </a:lnTo>
                <a:lnTo>
                  <a:pt x="6441982" y="2600226"/>
                </a:lnTo>
                <a:lnTo>
                  <a:pt x="6444369" y="2605314"/>
                </a:lnTo>
                <a:lnTo>
                  <a:pt x="6443501" y="2609429"/>
                </a:lnTo>
                <a:lnTo>
                  <a:pt x="6441765" y="2612352"/>
                </a:lnTo>
                <a:lnTo>
                  <a:pt x="6444369" y="2618091"/>
                </a:lnTo>
                <a:lnTo>
                  <a:pt x="6444043" y="2624803"/>
                </a:lnTo>
                <a:lnTo>
                  <a:pt x="6442849" y="2628376"/>
                </a:lnTo>
                <a:lnTo>
                  <a:pt x="6447191" y="2631516"/>
                </a:lnTo>
                <a:lnTo>
                  <a:pt x="6452182" y="2636930"/>
                </a:lnTo>
                <a:lnTo>
                  <a:pt x="6452184" y="2636930"/>
                </a:lnTo>
                <a:lnTo>
                  <a:pt x="6447192" y="2631516"/>
                </a:lnTo>
                <a:lnTo>
                  <a:pt x="6442851" y="2628376"/>
                </a:lnTo>
                <a:lnTo>
                  <a:pt x="6444045" y="2624803"/>
                </a:lnTo>
                <a:lnTo>
                  <a:pt x="6444370" y="2618090"/>
                </a:lnTo>
                <a:lnTo>
                  <a:pt x="6441766" y="2612352"/>
                </a:lnTo>
                <a:lnTo>
                  <a:pt x="6443503" y="2609429"/>
                </a:lnTo>
                <a:lnTo>
                  <a:pt x="6444370" y="2605314"/>
                </a:lnTo>
                <a:lnTo>
                  <a:pt x="6441983" y="2600226"/>
                </a:lnTo>
                <a:lnTo>
                  <a:pt x="6436123" y="2595895"/>
                </a:lnTo>
                <a:lnTo>
                  <a:pt x="6425814" y="2588424"/>
                </a:lnTo>
                <a:lnTo>
                  <a:pt x="6422341" y="2581603"/>
                </a:lnTo>
                <a:close/>
                <a:moveTo>
                  <a:pt x="6436936" y="2570963"/>
                </a:moveTo>
                <a:lnTo>
                  <a:pt x="6442634" y="2574025"/>
                </a:lnTo>
                <a:lnTo>
                  <a:pt x="6446058" y="2574404"/>
                </a:lnTo>
                <a:lnTo>
                  <a:pt x="6442633" y="2574024"/>
                </a:lnTo>
                <a:close/>
                <a:moveTo>
                  <a:pt x="4308473" y="2570188"/>
                </a:moveTo>
                <a:lnTo>
                  <a:pt x="4305180" y="2593297"/>
                </a:lnTo>
                <a:lnTo>
                  <a:pt x="4306048" y="2628160"/>
                </a:lnTo>
                <a:lnTo>
                  <a:pt x="4289152" y="2645387"/>
                </a:lnTo>
                <a:lnTo>
                  <a:pt x="4306049" y="2628160"/>
                </a:lnTo>
                <a:lnTo>
                  <a:pt x="4305181" y="2593297"/>
                </a:lnTo>
                <a:close/>
                <a:moveTo>
                  <a:pt x="6166459" y="2569911"/>
                </a:moveTo>
                <a:lnTo>
                  <a:pt x="6170257" y="2573700"/>
                </a:lnTo>
                <a:lnTo>
                  <a:pt x="6169063" y="2577815"/>
                </a:lnTo>
                <a:lnTo>
                  <a:pt x="6164180" y="2575000"/>
                </a:lnTo>
                <a:lnTo>
                  <a:pt x="6162769" y="2571643"/>
                </a:lnTo>
                <a:close/>
                <a:moveTo>
                  <a:pt x="6271394" y="2569802"/>
                </a:moveTo>
                <a:lnTo>
                  <a:pt x="6271394" y="2569802"/>
                </a:lnTo>
                <a:lnTo>
                  <a:pt x="6273130" y="2573700"/>
                </a:lnTo>
                <a:close/>
                <a:moveTo>
                  <a:pt x="6428202" y="2569801"/>
                </a:moveTo>
                <a:lnTo>
                  <a:pt x="6428202" y="2569802"/>
                </a:lnTo>
                <a:lnTo>
                  <a:pt x="6435580" y="2570235"/>
                </a:lnTo>
                <a:lnTo>
                  <a:pt x="6435579" y="2570234"/>
                </a:lnTo>
                <a:close/>
                <a:moveTo>
                  <a:pt x="4041165" y="2569489"/>
                </a:moveTo>
                <a:lnTo>
                  <a:pt x="4037579" y="2570667"/>
                </a:lnTo>
                <a:lnTo>
                  <a:pt x="4028489" y="2571745"/>
                </a:lnTo>
                <a:lnTo>
                  <a:pt x="4037577" y="2570668"/>
                </a:lnTo>
                <a:close/>
                <a:moveTo>
                  <a:pt x="2222202" y="2568935"/>
                </a:moveTo>
                <a:lnTo>
                  <a:pt x="2226869" y="2572400"/>
                </a:lnTo>
                <a:lnTo>
                  <a:pt x="2227954" y="2576081"/>
                </a:lnTo>
                <a:lnTo>
                  <a:pt x="2221226" y="2573699"/>
                </a:lnTo>
                <a:lnTo>
                  <a:pt x="2218079" y="2571100"/>
                </a:lnTo>
                <a:close/>
                <a:moveTo>
                  <a:pt x="6825045" y="2567962"/>
                </a:moveTo>
                <a:lnTo>
                  <a:pt x="6834161" y="2569694"/>
                </a:lnTo>
                <a:lnTo>
                  <a:pt x="6838176" y="2574133"/>
                </a:lnTo>
                <a:lnTo>
                  <a:pt x="6841648" y="2576407"/>
                </a:lnTo>
                <a:lnTo>
                  <a:pt x="6842842" y="2574025"/>
                </a:lnTo>
                <a:lnTo>
                  <a:pt x="6849570" y="2574025"/>
                </a:lnTo>
                <a:lnTo>
                  <a:pt x="6852826" y="2571210"/>
                </a:lnTo>
                <a:lnTo>
                  <a:pt x="6853151" y="2569045"/>
                </a:lnTo>
                <a:lnTo>
                  <a:pt x="6855429" y="2568178"/>
                </a:lnTo>
                <a:lnTo>
                  <a:pt x="6858468" y="2572293"/>
                </a:lnTo>
                <a:lnTo>
                  <a:pt x="6858142" y="2575757"/>
                </a:lnTo>
                <a:lnTo>
                  <a:pt x="6855429" y="2579005"/>
                </a:lnTo>
                <a:lnTo>
                  <a:pt x="6854344" y="2588317"/>
                </a:lnTo>
                <a:lnTo>
                  <a:pt x="6858685" y="2595679"/>
                </a:lnTo>
                <a:lnTo>
                  <a:pt x="6861398" y="2596653"/>
                </a:lnTo>
                <a:lnTo>
                  <a:pt x="6863026" y="2602717"/>
                </a:lnTo>
                <a:lnTo>
                  <a:pt x="6865413" y="2605640"/>
                </a:lnTo>
                <a:lnTo>
                  <a:pt x="6863135" y="2616792"/>
                </a:lnTo>
                <a:lnTo>
                  <a:pt x="6860204" y="2623613"/>
                </a:lnTo>
                <a:lnTo>
                  <a:pt x="6861615" y="2629351"/>
                </a:lnTo>
                <a:lnTo>
                  <a:pt x="6857600" y="2635739"/>
                </a:lnTo>
                <a:lnTo>
                  <a:pt x="6857274" y="2633357"/>
                </a:lnTo>
                <a:lnTo>
                  <a:pt x="6858793" y="2629892"/>
                </a:lnTo>
                <a:lnTo>
                  <a:pt x="6855972" y="2631625"/>
                </a:lnTo>
                <a:lnTo>
                  <a:pt x="6848484" y="2638663"/>
                </a:lnTo>
                <a:lnTo>
                  <a:pt x="6846748" y="2642885"/>
                </a:lnTo>
                <a:lnTo>
                  <a:pt x="6847291" y="2648299"/>
                </a:lnTo>
                <a:lnTo>
                  <a:pt x="6844904" y="2651871"/>
                </a:lnTo>
                <a:lnTo>
                  <a:pt x="6844035" y="2657718"/>
                </a:lnTo>
                <a:lnTo>
                  <a:pt x="6846640" y="2659775"/>
                </a:lnTo>
                <a:lnTo>
                  <a:pt x="6849028" y="2665946"/>
                </a:lnTo>
                <a:lnTo>
                  <a:pt x="6852174" y="2669411"/>
                </a:lnTo>
                <a:lnTo>
                  <a:pt x="6850221" y="2672118"/>
                </a:lnTo>
                <a:lnTo>
                  <a:pt x="6850221" y="2677315"/>
                </a:lnTo>
                <a:lnTo>
                  <a:pt x="6853910" y="2680238"/>
                </a:lnTo>
                <a:lnTo>
                  <a:pt x="6856189" y="2684894"/>
                </a:lnTo>
                <a:lnTo>
                  <a:pt x="6861615" y="2686734"/>
                </a:lnTo>
                <a:lnTo>
                  <a:pt x="6865413" y="2685435"/>
                </a:lnTo>
                <a:lnTo>
                  <a:pt x="6866498" y="2681754"/>
                </a:lnTo>
                <a:lnTo>
                  <a:pt x="6872900" y="2676666"/>
                </a:lnTo>
                <a:lnTo>
                  <a:pt x="6877567" y="2676558"/>
                </a:lnTo>
                <a:lnTo>
                  <a:pt x="6884620" y="2680996"/>
                </a:lnTo>
                <a:lnTo>
                  <a:pt x="6887550" y="2686626"/>
                </a:lnTo>
                <a:lnTo>
                  <a:pt x="6886900" y="2691607"/>
                </a:lnTo>
                <a:lnTo>
                  <a:pt x="6889178" y="2693989"/>
                </a:lnTo>
                <a:lnTo>
                  <a:pt x="6892325" y="2691932"/>
                </a:lnTo>
                <a:lnTo>
                  <a:pt x="6891999" y="2687276"/>
                </a:lnTo>
                <a:lnTo>
                  <a:pt x="6894061" y="2685544"/>
                </a:lnTo>
                <a:lnTo>
                  <a:pt x="6896774" y="2690199"/>
                </a:lnTo>
                <a:lnTo>
                  <a:pt x="6902417" y="2690416"/>
                </a:lnTo>
                <a:lnTo>
                  <a:pt x="6907083" y="2693447"/>
                </a:lnTo>
                <a:lnTo>
                  <a:pt x="6908168" y="2695072"/>
                </a:lnTo>
                <a:lnTo>
                  <a:pt x="6904697" y="2695613"/>
                </a:lnTo>
                <a:lnTo>
                  <a:pt x="6902308" y="2694205"/>
                </a:lnTo>
                <a:lnTo>
                  <a:pt x="6899922" y="2695829"/>
                </a:lnTo>
                <a:lnTo>
                  <a:pt x="6900898" y="2699944"/>
                </a:lnTo>
                <a:lnTo>
                  <a:pt x="6904153" y="2708280"/>
                </a:lnTo>
                <a:lnTo>
                  <a:pt x="6904044" y="2711529"/>
                </a:lnTo>
                <a:lnTo>
                  <a:pt x="6908819" y="2711529"/>
                </a:lnTo>
                <a:lnTo>
                  <a:pt x="6912292" y="2713261"/>
                </a:lnTo>
                <a:lnTo>
                  <a:pt x="6916199" y="2713044"/>
                </a:lnTo>
                <a:lnTo>
                  <a:pt x="6918152" y="2715643"/>
                </a:lnTo>
                <a:lnTo>
                  <a:pt x="6916091" y="2717700"/>
                </a:lnTo>
                <a:lnTo>
                  <a:pt x="6916632" y="2720623"/>
                </a:lnTo>
                <a:lnTo>
                  <a:pt x="6914896" y="2727445"/>
                </a:lnTo>
                <a:lnTo>
                  <a:pt x="6910665" y="2726145"/>
                </a:lnTo>
                <a:lnTo>
                  <a:pt x="6906757" y="2721381"/>
                </a:lnTo>
                <a:lnTo>
                  <a:pt x="6910556" y="2719107"/>
                </a:lnTo>
                <a:lnTo>
                  <a:pt x="6910881" y="2716617"/>
                </a:lnTo>
                <a:lnTo>
                  <a:pt x="6906975" y="2715859"/>
                </a:lnTo>
                <a:lnTo>
                  <a:pt x="6907083" y="2717592"/>
                </a:lnTo>
                <a:lnTo>
                  <a:pt x="6902960" y="2718782"/>
                </a:lnTo>
                <a:lnTo>
                  <a:pt x="6897642" y="2712503"/>
                </a:lnTo>
                <a:lnTo>
                  <a:pt x="6893952" y="2711312"/>
                </a:lnTo>
                <a:lnTo>
                  <a:pt x="6893952" y="2706223"/>
                </a:lnTo>
                <a:lnTo>
                  <a:pt x="6892108" y="2701676"/>
                </a:lnTo>
                <a:lnTo>
                  <a:pt x="6885271" y="2699186"/>
                </a:lnTo>
                <a:lnTo>
                  <a:pt x="6882125" y="2693664"/>
                </a:lnTo>
                <a:lnTo>
                  <a:pt x="6878977" y="2692040"/>
                </a:lnTo>
                <a:lnTo>
                  <a:pt x="6876265" y="2689333"/>
                </a:lnTo>
                <a:lnTo>
                  <a:pt x="6873660" y="2688791"/>
                </a:lnTo>
                <a:lnTo>
                  <a:pt x="6873009" y="2691282"/>
                </a:lnTo>
                <a:lnTo>
                  <a:pt x="6878001" y="2700052"/>
                </a:lnTo>
                <a:lnTo>
                  <a:pt x="6879521" y="2707956"/>
                </a:lnTo>
                <a:lnTo>
                  <a:pt x="6877675" y="2708280"/>
                </a:lnTo>
                <a:lnTo>
                  <a:pt x="6873009" y="2700376"/>
                </a:lnTo>
                <a:lnTo>
                  <a:pt x="6867692" y="2696587"/>
                </a:lnTo>
                <a:lnTo>
                  <a:pt x="6865738" y="2692906"/>
                </a:lnTo>
                <a:lnTo>
                  <a:pt x="6855972" y="2689009"/>
                </a:lnTo>
                <a:lnTo>
                  <a:pt x="6850438" y="2689550"/>
                </a:lnTo>
                <a:lnTo>
                  <a:pt x="6848376" y="2692581"/>
                </a:lnTo>
                <a:lnTo>
                  <a:pt x="6849353" y="2695938"/>
                </a:lnTo>
                <a:lnTo>
                  <a:pt x="6844904" y="2698644"/>
                </a:lnTo>
                <a:lnTo>
                  <a:pt x="6839369" y="2693123"/>
                </a:lnTo>
                <a:lnTo>
                  <a:pt x="6836114" y="2696046"/>
                </a:lnTo>
                <a:lnTo>
                  <a:pt x="6832315" y="2696912"/>
                </a:lnTo>
                <a:lnTo>
                  <a:pt x="6834594" y="2692906"/>
                </a:lnTo>
                <a:lnTo>
                  <a:pt x="6832641" y="2688791"/>
                </a:lnTo>
                <a:lnTo>
                  <a:pt x="6829928" y="2689874"/>
                </a:lnTo>
                <a:lnTo>
                  <a:pt x="6828518" y="2694638"/>
                </a:lnTo>
                <a:lnTo>
                  <a:pt x="6825479" y="2689333"/>
                </a:lnTo>
                <a:lnTo>
                  <a:pt x="6825913" y="2683703"/>
                </a:lnTo>
                <a:lnTo>
                  <a:pt x="6825479" y="2680888"/>
                </a:lnTo>
                <a:lnTo>
                  <a:pt x="6827975" y="2677856"/>
                </a:lnTo>
                <a:lnTo>
                  <a:pt x="6833184" y="2671144"/>
                </a:lnTo>
                <a:lnTo>
                  <a:pt x="6829060" y="2668004"/>
                </a:lnTo>
                <a:lnTo>
                  <a:pt x="6823852" y="2667571"/>
                </a:lnTo>
                <a:lnTo>
                  <a:pt x="6823743" y="2670385"/>
                </a:lnTo>
                <a:lnTo>
                  <a:pt x="6826239" y="2673201"/>
                </a:lnTo>
                <a:lnTo>
                  <a:pt x="6823526" y="2676774"/>
                </a:lnTo>
                <a:lnTo>
                  <a:pt x="6820379" y="2676666"/>
                </a:lnTo>
                <a:lnTo>
                  <a:pt x="6815821" y="2670603"/>
                </a:lnTo>
                <a:lnTo>
                  <a:pt x="6815604" y="2665838"/>
                </a:lnTo>
                <a:lnTo>
                  <a:pt x="6813759" y="2665081"/>
                </a:lnTo>
                <a:lnTo>
                  <a:pt x="6812023" y="2666488"/>
                </a:lnTo>
                <a:lnTo>
                  <a:pt x="6809852" y="2664972"/>
                </a:lnTo>
                <a:lnTo>
                  <a:pt x="6809745" y="2656310"/>
                </a:lnTo>
                <a:lnTo>
                  <a:pt x="6806163" y="2649814"/>
                </a:lnTo>
                <a:lnTo>
                  <a:pt x="6804427" y="2642885"/>
                </a:lnTo>
                <a:lnTo>
                  <a:pt x="6806163" y="2639637"/>
                </a:lnTo>
                <a:lnTo>
                  <a:pt x="6805295" y="2637904"/>
                </a:lnTo>
                <a:lnTo>
                  <a:pt x="6802473" y="2637797"/>
                </a:lnTo>
                <a:lnTo>
                  <a:pt x="6801280" y="2632599"/>
                </a:lnTo>
                <a:lnTo>
                  <a:pt x="6802040" y="2626753"/>
                </a:lnTo>
                <a:lnTo>
                  <a:pt x="6805295" y="2630759"/>
                </a:lnTo>
                <a:lnTo>
                  <a:pt x="6809419" y="2631408"/>
                </a:lnTo>
                <a:lnTo>
                  <a:pt x="6812891" y="2629568"/>
                </a:lnTo>
                <a:lnTo>
                  <a:pt x="6812891" y="2626428"/>
                </a:lnTo>
                <a:lnTo>
                  <a:pt x="6809093" y="2618524"/>
                </a:lnTo>
                <a:lnTo>
                  <a:pt x="6811264" y="2612894"/>
                </a:lnTo>
                <a:lnTo>
                  <a:pt x="6814085" y="2600984"/>
                </a:lnTo>
                <a:lnTo>
                  <a:pt x="6813868" y="2591240"/>
                </a:lnTo>
                <a:lnTo>
                  <a:pt x="6812458" y="2585285"/>
                </a:lnTo>
                <a:lnTo>
                  <a:pt x="6817340" y="2575757"/>
                </a:lnTo>
                <a:lnTo>
                  <a:pt x="6818209" y="2570344"/>
                </a:lnTo>
                <a:close/>
                <a:moveTo>
                  <a:pt x="4046477" y="2567744"/>
                </a:moveTo>
                <a:lnTo>
                  <a:pt x="4046476" y="2567745"/>
                </a:lnTo>
                <a:lnTo>
                  <a:pt x="4046584" y="2567853"/>
                </a:lnTo>
                <a:lnTo>
                  <a:pt x="4045390" y="2613976"/>
                </a:lnTo>
                <a:lnTo>
                  <a:pt x="4043763" y="2635414"/>
                </a:lnTo>
                <a:lnTo>
                  <a:pt x="4043764" y="2635413"/>
                </a:lnTo>
                <a:lnTo>
                  <a:pt x="4045391" y="2613976"/>
                </a:lnTo>
                <a:lnTo>
                  <a:pt x="4046585" y="2567853"/>
                </a:lnTo>
                <a:lnTo>
                  <a:pt x="4046586" y="2567853"/>
                </a:lnTo>
                <a:close/>
                <a:moveTo>
                  <a:pt x="6420931" y="2563522"/>
                </a:moveTo>
                <a:lnTo>
                  <a:pt x="6420931" y="2563522"/>
                </a:lnTo>
                <a:lnTo>
                  <a:pt x="6424728" y="2563522"/>
                </a:lnTo>
                <a:lnTo>
                  <a:pt x="6424728" y="2563522"/>
                </a:lnTo>
                <a:close/>
                <a:moveTo>
                  <a:pt x="6830797" y="2560924"/>
                </a:moveTo>
                <a:lnTo>
                  <a:pt x="6836766" y="2560924"/>
                </a:lnTo>
                <a:lnTo>
                  <a:pt x="6832967" y="2562981"/>
                </a:lnTo>
                <a:close/>
                <a:moveTo>
                  <a:pt x="2028935" y="2560599"/>
                </a:moveTo>
                <a:lnTo>
                  <a:pt x="2027308" y="2563955"/>
                </a:lnTo>
                <a:lnTo>
                  <a:pt x="2022533" y="2564713"/>
                </a:lnTo>
                <a:lnTo>
                  <a:pt x="2024052" y="2560707"/>
                </a:lnTo>
                <a:close/>
                <a:moveTo>
                  <a:pt x="4083047" y="2559083"/>
                </a:moveTo>
                <a:lnTo>
                  <a:pt x="4053361" y="2566223"/>
                </a:lnTo>
                <a:lnTo>
                  <a:pt x="4083047" y="2559083"/>
                </a:lnTo>
                <a:close/>
                <a:moveTo>
                  <a:pt x="6848158" y="2555943"/>
                </a:moveTo>
                <a:lnTo>
                  <a:pt x="6849787" y="2558325"/>
                </a:lnTo>
                <a:lnTo>
                  <a:pt x="6847942" y="2561790"/>
                </a:lnTo>
                <a:lnTo>
                  <a:pt x="6845229" y="2559516"/>
                </a:lnTo>
                <a:close/>
                <a:moveTo>
                  <a:pt x="6848158" y="2555943"/>
                </a:moveTo>
                <a:lnTo>
                  <a:pt x="6848159" y="2555943"/>
                </a:lnTo>
                <a:lnTo>
                  <a:pt x="6848158" y="2555943"/>
                </a:lnTo>
                <a:close/>
                <a:moveTo>
                  <a:pt x="5225318" y="2550811"/>
                </a:moveTo>
                <a:lnTo>
                  <a:pt x="5177871" y="2564929"/>
                </a:lnTo>
                <a:lnTo>
                  <a:pt x="5150212" y="2573178"/>
                </a:lnTo>
                <a:lnTo>
                  <a:pt x="5177872" y="2564929"/>
                </a:lnTo>
                <a:close/>
                <a:moveTo>
                  <a:pt x="6827649" y="2550638"/>
                </a:moveTo>
                <a:lnTo>
                  <a:pt x="6830905" y="2553777"/>
                </a:lnTo>
                <a:lnTo>
                  <a:pt x="6826456" y="2554536"/>
                </a:lnTo>
                <a:close/>
                <a:moveTo>
                  <a:pt x="6342365" y="2547931"/>
                </a:moveTo>
                <a:lnTo>
                  <a:pt x="6351153" y="2548148"/>
                </a:lnTo>
                <a:lnTo>
                  <a:pt x="6351370" y="2552262"/>
                </a:lnTo>
                <a:lnTo>
                  <a:pt x="6348549" y="2557676"/>
                </a:lnTo>
                <a:lnTo>
                  <a:pt x="6351370" y="2562331"/>
                </a:lnTo>
                <a:lnTo>
                  <a:pt x="6351153" y="2566121"/>
                </a:lnTo>
                <a:lnTo>
                  <a:pt x="6348441" y="2569802"/>
                </a:lnTo>
                <a:lnTo>
                  <a:pt x="6350503" y="2575649"/>
                </a:lnTo>
                <a:lnTo>
                  <a:pt x="6350503" y="2583877"/>
                </a:lnTo>
                <a:lnTo>
                  <a:pt x="6350936" y="2596328"/>
                </a:lnTo>
                <a:lnTo>
                  <a:pt x="6350937" y="2596328"/>
                </a:lnTo>
                <a:lnTo>
                  <a:pt x="6350504" y="2583877"/>
                </a:lnTo>
                <a:lnTo>
                  <a:pt x="6350504" y="2575648"/>
                </a:lnTo>
                <a:lnTo>
                  <a:pt x="6348442" y="2569802"/>
                </a:lnTo>
                <a:lnTo>
                  <a:pt x="6351154" y="2566121"/>
                </a:lnTo>
                <a:lnTo>
                  <a:pt x="6351371" y="2562331"/>
                </a:lnTo>
                <a:lnTo>
                  <a:pt x="6348550" y="2557676"/>
                </a:lnTo>
                <a:lnTo>
                  <a:pt x="6351371" y="2552262"/>
                </a:lnTo>
                <a:lnTo>
                  <a:pt x="6351154" y="2548148"/>
                </a:lnTo>
                <a:close/>
                <a:moveTo>
                  <a:pt x="2272230" y="2545982"/>
                </a:moveTo>
                <a:lnTo>
                  <a:pt x="2292197" y="2550313"/>
                </a:lnTo>
                <a:lnTo>
                  <a:pt x="2295235" y="2552478"/>
                </a:lnTo>
                <a:lnTo>
                  <a:pt x="2297406" y="2551612"/>
                </a:lnTo>
                <a:lnTo>
                  <a:pt x="2301638" y="2551612"/>
                </a:lnTo>
                <a:lnTo>
                  <a:pt x="2305436" y="2558975"/>
                </a:lnTo>
                <a:lnTo>
                  <a:pt x="2313140" y="2560598"/>
                </a:lnTo>
                <a:lnTo>
                  <a:pt x="2315962" y="2560057"/>
                </a:lnTo>
                <a:lnTo>
                  <a:pt x="2319109" y="2562439"/>
                </a:lnTo>
                <a:lnTo>
                  <a:pt x="2314877" y="2563955"/>
                </a:lnTo>
                <a:lnTo>
                  <a:pt x="2304567" y="2562980"/>
                </a:lnTo>
                <a:lnTo>
                  <a:pt x="2297840" y="2561031"/>
                </a:lnTo>
                <a:lnTo>
                  <a:pt x="2294584" y="2562331"/>
                </a:lnTo>
                <a:lnTo>
                  <a:pt x="2299251" y="2562331"/>
                </a:lnTo>
                <a:lnTo>
                  <a:pt x="2305979" y="2566229"/>
                </a:lnTo>
                <a:lnTo>
                  <a:pt x="2312381" y="2569369"/>
                </a:lnTo>
                <a:lnTo>
                  <a:pt x="2316288" y="2569152"/>
                </a:lnTo>
                <a:lnTo>
                  <a:pt x="2322148" y="2571101"/>
                </a:lnTo>
                <a:lnTo>
                  <a:pt x="2325729" y="2571101"/>
                </a:lnTo>
                <a:lnTo>
                  <a:pt x="2335386" y="2576623"/>
                </a:lnTo>
                <a:lnTo>
                  <a:pt x="2337448" y="2579979"/>
                </a:lnTo>
                <a:lnTo>
                  <a:pt x="2335278" y="2583769"/>
                </a:lnTo>
                <a:lnTo>
                  <a:pt x="2332348" y="2583769"/>
                </a:lnTo>
                <a:lnTo>
                  <a:pt x="2330937" y="2587559"/>
                </a:lnTo>
                <a:lnTo>
                  <a:pt x="2324209" y="2585826"/>
                </a:lnTo>
                <a:lnTo>
                  <a:pt x="2318675" y="2585501"/>
                </a:lnTo>
                <a:lnTo>
                  <a:pt x="2315203" y="2582686"/>
                </a:lnTo>
                <a:lnTo>
                  <a:pt x="2310645" y="2584527"/>
                </a:lnTo>
                <a:lnTo>
                  <a:pt x="2303157" y="2583444"/>
                </a:lnTo>
                <a:lnTo>
                  <a:pt x="2296320" y="2584635"/>
                </a:lnTo>
                <a:lnTo>
                  <a:pt x="2289918" y="2590482"/>
                </a:lnTo>
                <a:lnTo>
                  <a:pt x="2283624" y="2592214"/>
                </a:lnTo>
                <a:lnTo>
                  <a:pt x="2280803" y="2590482"/>
                </a:lnTo>
                <a:lnTo>
                  <a:pt x="2280477" y="2585826"/>
                </a:lnTo>
                <a:lnTo>
                  <a:pt x="2277005" y="2583769"/>
                </a:lnTo>
                <a:lnTo>
                  <a:pt x="2274075" y="2589615"/>
                </a:lnTo>
                <a:lnTo>
                  <a:pt x="2270819" y="2589290"/>
                </a:lnTo>
                <a:lnTo>
                  <a:pt x="2267997" y="2586692"/>
                </a:lnTo>
                <a:lnTo>
                  <a:pt x="2265936" y="2590157"/>
                </a:lnTo>
                <a:lnTo>
                  <a:pt x="2266696" y="2592539"/>
                </a:lnTo>
                <a:lnTo>
                  <a:pt x="2260835" y="2600226"/>
                </a:lnTo>
                <a:lnTo>
                  <a:pt x="2257905" y="2607372"/>
                </a:lnTo>
                <a:lnTo>
                  <a:pt x="2254758" y="2605748"/>
                </a:lnTo>
                <a:lnTo>
                  <a:pt x="2253565" y="2603366"/>
                </a:lnTo>
                <a:lnTo>
                  <a:pt x="2249224" y="2601633"/>
                </a:lnTo>
                <a:lnTo>
                  <a:pt x="2250852" y="2597735"/>
                </a:lnTo>
                <a:lnTo>
                  <a:pt x="2248247" y="2592431"/>
                </a:lnTo>
                <a:lnTo>
                  <a:pt x="2245643" y="2592214"/>
                </a:lnTo>
                <a:lnTo>
                  <a:pt x="2245209" y="2589507"/>
                </a:lnTo>
                <a:lnTo>
                  <a:pt x="2250849" y="2583555"/>
                </a:lnTo>
                <a:lnTo>
                  <a:pt x="2245101" y="2588857"/>
                </a:lnTo>
                <a:lnTo>
                  <a:pt x="2245101" y="2591564"/>
                </a:lnTo>
                <a:lnTo>
                  <a:pt x="2241520" y="2591564"/>
                </a:lnTo>
                <a:lnTo>
                  <a:pt x="2237613" y="2589615"/>
                </a:lnTo>
                <a:lnTo>
                  <a:pt x="2235226" y="2591131"/>
                </a:lnTo>
                <a:lnTo>
                  <a:pt x="2222096" y="2591131"/>
                </a:lnTo>
                <a:lnTo>
                  <a:pt x="2217646" y="2588748"/>
                </a:lnTo>
                <a:lnTo>
                  <a:pt x="2206794" y="2588748"/>
                </a:lnTo>
                <a:lnTo>
                  <a:pt x="2204190" y="2590806"/>
                </a:lnTo>
                <a:lnTo>
                  <a:pt x="2204190" y="2594921"/>
                </a:lnTo>
                <a:lnTo>
                  <a:pt x="2201586" y="2594054"/>
                </a:lnTo>
                <a:lnTo>
                  <a:pt x="2195726" y="2587341"/>
                </a:lnTo>
                <a:lnTo>
                  <a:pt x="2190083" y="2586584"/>
                </a:lnTo>
                <a:lnTo>
                  <a:pt x="2188347" y="2582577"/>
                </a:lnTo>
                <a:lnTo>
                  <a:pt x="2190300" y="2579654"/>
                </a:lnTo>
                <a:lnTo>
                  <a:pt x="2195292" y="2577056"/>
                </a:lnTo>
                <a:lnTo>
                  <a:pt x="2199307" y="2580845"/>
                </a:lnTo>
                <a:lnTo>
                  <a:pt x="2206686" y="2579005"/>
                </a:lnTo>
                <a:lnTo>
                  <a:pt x="2208748" y="2579871"/>
                </a:lnTo>
                <a:lnTo>
                  <a:pt x="2208748" y="2582252"/>
                </a:lnTo>
                <a:lnTo>
                  <a:pt x="2214608" y="2579871"/>
                </a:lnTo>
                <a:lnTo>
                  <a:pt x="2219600" y="2581928"/>
                </a:lnTo>
                <a:lnTo>
                  <a:pt x="2225243" y="2581928"/>
                </a:lnTo>
                <a:lnTo>
                  <a:pt x="2229366" y="2583119"/>
                </a:lnTo>
                <a:lnTo>
                  <a:pt x="2231211" y="2581711"/>
                </a:lnTo>
                <a:lnTo>
                  <a:pt x="2240978" y="2581711"/>
                </a:lnTo>
                <a:lnTo>
                  <a:pt x="2242171" y="2578788"/>
                </a:lnTo>
                <a:lnTo>
                  <a:pt x="2236962" y="2574132"/>
                </a:lnTo>
                <a:lnTo>
                  <a:pt x="2232513" y="2572942"/>
                </a:lnTo>
                <a:lnTo>
                  <a:pt x="2230234" y="2568827"/>
                </a:lnTo>
                <a:lnTo>
                  <a:pt x="2231970" y="2562872"/>
                </a:lnTo>
                <a:lnTo>
                  <a:pt x="2230234" y="2559083"/>
                </a:lnTo>
                <a:lnTo>
                  <a:pt x="2231645" y="2556701"/>
                </a:lnTo>
                <a:lnTo>
                  <a:pt x="2218948" y="2552370"/>
                </a:lnTo>
                <a:lnTo>
                  <a:pt x="2214065" y="2549555"/>
                </a:lnTo>
                <a:lnTo>
                  <a:pt x="2215476" y="2546957"/>
                </a:lnTo>
                <a:lnTo>
                  <a:pt x="2224483" y="2546957"/>
                </a:lnTo>
                <a:lnTo>
                  <a:pt x="2228607" y="2548364"/>
                </a:lnTo>
                <a:lnTo>
                  <a:pt x="2231537" y="2546632"/>
                </a:lnTo>
                <a:lnTo>
                  <a:pt x="2241737" y="2547822"/>
                </a:lnTo>
                <a:lnTo>
                  <a:pt x="2245861" y="2551937"/>
                </a:lnTo>
                <a:lnTo>
                  <a:pt x="2249984" y="2551071"/>
                </a:lnTo>
                <a:lnTo>
                  <a:pt x="2254325" y="2552153"/>
                </a:lnTo>
                <a:lnTo>
                  <a:pt x="2254976" y="2554536"/>
                </a:lnTo>
                <a:lnTo>
                  <a:pt x="2252588" y="2558975"/>
                </a:lnTo>
                <a:lnTo>
                  <a:pt x="2254542" y="2562764"/>
                </a:lnTo>
                <a:lnTo>
                  <a:pt x="2253023" y="2567961"/>
                </a:lnTo>
                <a:lnTo>
                  <a:pt x="2249225" y="2569801"/>
                </a:lnTo>
                <a:lnTo>
                  <a:pt x="2248574" y="2571642"/>
                </a:lnTo>
                <a:lnTo>
                  <a:pt x="2250852" y="2576623"/>
                </a:lnTo>
                <a:lnTo>
                  <a:pt x="2250852" y="2580628"/>
                </a:lnTo>
                <a:lnTo>
                  <a:pt x="2250852" y="2583549"/>
                </a:lnTo>
                <a:lnTo>
                  <a:pt x="2251286" y="2580521"/>
                </a:lnTo>
                <a:lnTo>
                  <a:pt x="2251394" y="2576623"/>
                </a:lnTo>
                <a:lnTo>
                  <a:pt x="2249224" y="2571643"/>
                </a:lnTo>
                <a:lnTo>
                  <a:pt x="2249875" y="2569802"/>
                </a:lnTo>
                <a:lnTo>
                  <a:pt x="2253673" y="2567853"/>
                </a:lnTo>
                <a:lnTo>
                  <a:pt x="2255192" y="2562656"/>
                </a:lnTo>
                <a:lnTo>
                  <a:pt x="2253347" y="2558975"/>
                </a:lnTo>
                <a:lnTo>
                  <a:pt x="2255735" y="2554427"/>
                </a:lnTo>
                <a:lnTo>
                  <a:pt x="2255084" y="2552045"/>
                </a:lnTo>
                <a:lnTo>
                  <a:pt x="2257580" y="2547498"/>
                </a:lnTo>
                <a:lnTo>
                  <a:pt x="2265501" y="2546090"/>
                </a:lnTo>
                <a:lnTo>
                  <a:pt x="2269950" y="2547281"/>
                </a:lnTo>
                <a:close/>
                <a:moveTo>
                  <a:pt x="6837851" y="2544034"/>
                </a:moveTo>
                <a:lnTo>
                  <a:pt x="6837091" y="2549230"/>
                </a:lnTo>
                <a:lnTo>
                  <a:pt x="6834162" y="2546632"/>
                </a:lnTo>
                <a:close/>
                <a:moveTo>
                  <a:pt x="4000249" y="2541976"/>
                </a:moveTo>
                <a:lnTo>
                  <a:pt x="3992076" y="2542379"/>
                </a:lnTo>
                <a:lnTo>
                  <a:pt x="4000247" y="2541977"/>
                </a:lnTo>
                <a:lnTo>
                  <a:pt x="4007084" y="2544250"/>
                </a:lnTo>
                <a:lnTo>
                  <a:pt x="4011425" y="2549555"/>
                </a:lnTo>
                <a:lnTo>
                  <a:pt x="4017176" y="2551179"/>
                </a:lnTo>
                <a:lnTo>
                  <a:pt x="4021733" y="2555185"/>
                </a:lnTo>
                <a:lnTo>
                  <a:pt x="4021517" y="2558975"/>
                </a:lnTo>
                <a:lnTo>
                  <a:pt x="4019238" y="2566229"/>
                </a:lnTo>
                <a:lnTo>
                  <a:pt x="4020865" y="2569910"/>
                </a:lnTo>
                <a:lnTo>
                  <a:pt x="4026617" y="2571967"/>
                </a:lnTo>
                <a:lnTo>
                  <a:pt x="4026618" y="2571967"/>
                </a:lnTo>
                <a:lnTo>
                  <a:pt x="4020867" y="2569910"/>
                </a:lnTo>
                <a:lnTo>
                  <a:pt x="4019239" y="2566228"/>
                </a:lnTo>
                <a:lnTo>
                  <a:pt x="4021518" y="2558975"/>
                </a:lnTo>
                <a:lnTo>
                  <a:pt x="4021735" y="2555185"/>
                </a:lnTo>
                <a:lnTo>
                  <a:pt x="4017177" y="2551179"/>
                </a:lnTo>
                <a:lnTo>
                  <a:pt x="4011426" y="2549555"/>
                </a:lnTo>
                <a:lnTo>
                  <a:pt x="4007085" y="2544250"/>
                </a:lnTo>
                <a:close/>
                <a:moveTo>
                  <a:pt x="2231319" y="2539052"/>
                </a:moveTo>
                <a:lnTo>
                  <a:pt x="2239675" y="2543924"/>
                </a:lnTo>
                <a:lnTo>
                  <a:pt x="2230668" y="2544033"/>
                </a:lnTo>
                <a:lnTo>
                  <a:pt x="2227087" y="2541434"/>
                </a:lnTo>
                <a:close/>
                <a:moveTo>
                  <a:pt x="6571985" y="2529850"/>
                </a:moveTo>
                <a:lnTo>
                  <a:pt x="6577193" y="2531691"/>
                </a:lnTo>
                <a:lnTo>
                  <a:pt x="6582185" y="2534939"/>
                </a:lnTo>
                <a:lnTo>
                  <a:pt x="6584247" y="2541110"/>
                </a:lnTo>
                <a:lnTo>
                  <a:pt x="6580666" y="2546957"/>
                </a:lnTo>
                <a:lnTo>
                  <a:pt x="6579689" y="2550421"/>
                </a:lnTo>
                <a:lnTo>
                  <a:pt x="6577302" y="2552370"/>
                </a:lnTo>
                <a:lnTo>
                  <a:pt x="6574915" y="2559733"/>
                </a:lnTo>
                <a:lnTo>
                  <a:pt x="6575782" y="2563847"/>
                </a:lnTo>
                <a:lnTo>
                  <a:pt x="6572309" y="2567420"/>
                </a:lnTo>
                <a:lnTo>
                  <a:pt x="6567861" y="2568286"/>
                </a:lnTo>
                <a:lnTo>
                  <a:pt x="6567861" y="2570994"/>
                </a:lnTo>
                <a:lnTo>
                  <a:pt x="6564930" y="2574783"/>
                </a:lnTo>
                <a:lnTo>
                  <a:pt x="6560915" y="2573808"/>
                </a:lnTo>
                <a:lnTo>
                  <a:pt x="6557118" y="2574458"/>
                </a:lnTo>
                <a:lnTo>
                  <a:pt x="6555924" y="2578789"/>
                </a:lnTo>
                <a:lnTo>
                  <a:pt x="6552994" y="2580305"/>
                </a:lnTo>
                <a:lnTo>
                  <a:pt x="6548653" y="2577382"/>
                </a:lnTo>
                <a:lnTo>
                  <a:pt x="6545180" y="2577382"/>
                </a:lnTo>
                <a:lnTo>
                  <a:pt x="6541925" y="2574783"/>
                </a:lnTo>
                <a:lnTo>
                  <a:pt x="6536933" y="2574783"/>
                </a:lnTo>
                <a:lnTo>
                  <a:pt x="6532375" y="2570994"/>
                </a:lnTo>
                <a:lnTo>
                  <a:pt x="6532375" y="2568286"/>
                </a:lnTo>
                <a:lnTo>
                  <a:pt x="6529663" y="2563631"/>
                </a:lnTo>
                <a:lnTo>
                  <a:pt x="6529663" y="2554753"/>
                </a:lnTo>
                <a:lnTo>
                  <a:pt x="6527384" y="2550963"/>
                </a:lnTo>
                <a:lnTo>
                  <a:pt x="6533570" y="2544466"/>
                </a:lnTo>
                <a:lnTo>
                  <a:pt x="6540731" y="2540136"/>
                </a:lnTo>
                <a:lnTo>
                  <a:pt x="6541708" y="2535697"/>
                </a:lnTo>
                <a:lnTo>
                  <a:pt x="6546049" y="2535047"/>
                </a:lnTo>
                <a:lnTo>
                  <a:pt x="6550715" y="2532665"/>
                </a:lnTo>
                <a:lnTo>
                  <a:pt x="6555165" y="2532665"/>
                </a:lnTo>
                <a:lnTo>
                  <a:pt x="6558528" y="2530392"/>
                </a:lnTo>
                <a:lnTo>
                  <a:pt x="6561024" y="2531149"/>
                </a:lnTo>
                <a:lnTo>
                  <a:pt x="6565907" y="2530175"/>
                </a:lnTo>
                <a:cubicBezTo>
                  <a:pt x="6565690" y="2530283"/>
                  <a:pt x="6568512" y="2532232"/>
                  <a:pt x="6568512" y="2532232"/>
                </a:cubicBezTo>
                <a:close/>
                <a:moveTo>
                  <a:pt x="6328908" y="2527468"/>
                </a:moveTo>
                <a:lnTo>
                  <a:pt x="6328907" y="2527468"/>
                </a:lnTo>
                <a:lnTo>
                  <a:pt x="6333574" y="2532990"/>
                </a:lnTo>
                <a:lnTo>
                  <a:pt x="6334767" y="2541219"/>
                </a:lnTo>
                <a:lnTo>
                  <a:pt x="6330969" y="2543925"/>
                </a:lnTo>
                <a:lnTo>
                  <a:pt x="6334442" y="2549988"/>
                </a:lnTo>
                <a:lnTo>
                  <a:pt x="6338240" y="2551396"/>
                </a:lnTo>
                <a:lnTo>
                  <a:pt x="6338241" y="2551395"/>
                </a:lnTo>
                <a:lnTo>
                  <a:pt x="6334443" y="2549988"/>
                </a:lnTo>
                <a:lnTo>
                  <a:pt x="6330970" y="2543925"/>
                </a:lnTo>
                <a:lnTo>
                  <a:pt x="6334768" y="2541219"/>
                </a:lnTo>
                <a:lnTo>
                  <a:pt x="6333575" y="2532989"/>
                </a:lnTo>
                <a:close/>
                <a:moveTo>
                  <a:pt x="6439684" y="2526880"/>
                </a:moveTo>
                <a:lnTo>
                  <a:pt x="6441547" y="2527359"/>
                </a:lnTo>
                <a:lnTo>
                  <a:pt x="6441547" y="2527359"/>
                </a:lnTo>
                <a:close/>
                <a:moveTo>
                  <a:pt x="6322505" y="2517291"/>
                </a:moveTo>
                <a:lnTo>
                  <a:pt x="6319792" y="2523354"/>
                </a:lnTo>
                <a:lnTo>
                  <a:pt x="6322505" y="2528984"/>
                </a:lnTo>
                <a:lnTo>
                  <a:pt x="6322506" y="2528984"/>
                </a:lnTo>
                <a:lnTo>
                  <a:pt x="6319793" y="2523354"/>
                </a:lnTo>
                <a:lnTo>
                  <a:pt x="6322506" y="2517291"/>
                </a:lnTo>
                <a:close/>
                <a:moveTo>
                  <a:pt x="6431824" y="2516210"/>
                </a:moveTo>
                <a:lnTo>
                  <a:pt x="6434060" y="2516641"/>
                </a:lnTo>
                <a:lnTo>
                  <a:pt x="6434060" y="2516641"/>
                </a:lnTo>
                <a:close/>
                <a:moveTo>
                  <a:pt x="6396955" y="2512531"/>
                </a:moveTo>
                <a:lnTo>
                  <a:pt x="6406498" y="2512635"/>
                </a:lnTo>
                <a:lnTo>
                  <a:pt x="6407533" y="2512941"/>
                </a:lnTo>
                <a:lnTo>
                  <a:pt x="6406497" y="2512635"/>
                </a:lnTo>
                <a:close/>
                <a:moveTo>
                  <a:pt x="4301241" y="2511219"/>
                </a:moveTo>
                <a:lnTo>
                  <a:pt x="4301057" y="2513934"/>
                </a:lnTo>
                <a:lnTo>
                  <a:pt x="4300351" y="2515288"/>
                </a:lnTo>
                <a:lnTo>
                  <a:pt x="4301057" y="2513934"/>
                </a:lnTo>
                <a:close/>
                <a:moveTo>
                  <a:pt x="6417675" y="2511119"/>
                </a:moveTo>
                <a:lnTo>
                  <a:pt x="6412357" y="2514367"/>
                </a:lnTo>
                <a:lnTo>
                  <a:pt x="6412358" y="2514367"/>
                </a:lnTo>
                <a:lnTo>
                  <a:pt x="6417675" y="2511119"/>
                </a:lnTo>
                <a:lnTo>
                  <a:pt x="6424402" y="2511119"/>
                </a:lnTo>
                <a:lnTo>
                  <a:pt x="6424402" y="2511119"/>
                </a:lnTo>
                <a:close/>
                <a:moveTo>
                  <a:pt x="2226652" y="2509712"/>
                </a:moveTo>
                <a:lnTo>
                  <a:pt x="2226652" y="2515342"/>
                </a:lnTo>
                <a:lnTo>
                  <a:pt x="2222746" y="2520647"/>
                </a:lnTo>
                <a:lnTo>
                  <a:pt x="2210375" y="2522055"/>
                </a:lnTo>
                <a:lnTo>
                  <a:pt x="2211568" y="2515017"/>
                </a:lnTo>
                <a:lnTo>
                  <a:pt x="2217211" y="2511444"/>
                </a:lnTo>
                <a:lnTo>
                  <a:pt x="2222094" y="2514151"/>
                </a:lnTo>
                <a:lnTo>
                  <a:pt x="2225024" y="2510686"/>
                </a:lnTo>
                <a:close/>
                <a:moveTo>
                  <a:pt x="6571334" y="2505056"/>
                </a:moveTo>
                <a:lnTo>
                  <a:pt x="6575675" y="2506788"/>
                </a:lnTo>
                <a:lnTo>
                  <a:pt x="6575675" y="2508846"/>
                </a:lnTo>
                <a:lnTo>
                  <a:pt x="6571009" y="2507980"/>
                </a:lnTo>
                <a:lnTo>
                  <a:pt x="6567753" y="2508196"/>
                </a:lnTo>
                <a:lnTo>
                  <a:pt x="6565583" y="2505814"/>
                </a:lnTo>
                <a:close/>
                <a:moveTo>
                  <a:pt x="2229256" y="2502783"/>
                </a:moveTo>
                <a:lnTo>
                  <a:pt x="2229256" y="2507114"/>
                </a:lnTo>
                <a:lnTo>
                  <a:pt x="2226652" y="2505598"/>
                </a:lnTo>
                <a:close/>
                <a:moveTo>
                  <a:pt x="6330645" y="2502024"/>
                </a:moveTo>
                <a:lnTo>
                  <a:pt x="6330644" y="2502024"/>
                </a:lnTo>
                <a:lnTo>
                  <a:pt x="6330535" y="2506464"/>
                </a:lnTo>
                <a:lnTo>
                  <a:pt x="6327714" y="2510254"/>
                </a:lnTo>
                <a:lnTo>
                  <a:pt x="6329993" y="2513393"/>
                </a:lnTo>
                <a:lnTo>
                  <a:pt x="6325218" y="2517291"/>
                </a:lnTo>
                <a:lnTo>
                  <a:pt x="6325219" y="2517291"/>
                </a:lnTo>
                <a:lnTo>
                  <a:pt x="6329994" y="2513393"/>
                </a:lnTo>
                <a:lnTo>
                  <a:pt x="6327715" y="2510253"/>
                </a:lnTo>
                <a:lnTo>
                  <a:pt x="6330536" y="2506463"/>
                </a:lnTo>
                <a:close/>
                <a:moveTo>
                  <a:pt x="6136943" y="2501807"/>
                </a:moveTo>
                <a:lnTo>
                  <a:pt x="6136942" y="2501808"/>
                </a:lnTo>
                <a:lnTo>
                  <a:pt x="6138895" y="2503107"/>
                </a:lnTo>
                <a:lnTo>
                  <a:pt x="6138895" y="2503106"/>
                </a:lnTo>
                <a:close/>
                <a:moveTo>
                  <a:pt x="6354164" y="2501006"/>
                </a:moveTo>
                <a:lnTo>
                  <a:pt x="6357556" y="2501808"/>
                </a:lnTo>
                <a:lnTo>
                  <a:pt x="6357556" y="2501807"/>
                </a:lnTo>
                <a:close/>
                <a:moveTo>
                  <a:pt x="6353432" y="2500833"/>
                </a:moveTo>
                <a:lnTo>
                  <a:pt x="6347247" y="2502674"/>
                </a:lnTo>
                <a:lnTo>
                  <a:pt x="6347247" y="2502674"/>
                </a:lnTo>
                <a:lnTo>
                  <a:pt x="6353433" y="2500834"/>
                </a:lnTo>
                <a:close/>
                <a:moveTo>
                  <a:pt x="6337438" y="2500560"/>
                </a:moveTo>
                <a:lnTo>
                  <a:pt x="6337372" y="2500617"/>
                </a:lnTo>
                <a:lnTo>
                  <a:pt x="6332259" y="2501687"/>
                </a:lnTo>
                <a:lnTo>
                  <a:pt x="6337373" y="2500617"/>
                </a:lnTo>
                <a:close/>
                <a:moveTo>
                  <a:pt x="6344473" y="2498262"/>
                </a:moveTo>
                <a:lnTo>
                  <a:pt x="6345185" y="2498776"/>
                </a:lnTo>
                <a:lnTo>
                  <a:pt x="6345485" y="2499344"/>
                </a:lnTo>
                <a:lnTo>
                  <a:pt x="6345185" y="2498776"/>
                </a:lnTo>
                <a:close/>
                <a:moveTo>
                  <a:pt x="6043834" y="2496179"/>
                </a:moveTo>
                <a:lnTo>
                  <a:pt x="6045354" y="2498669"/>
                </a:lnTo>
                <a:lnTo>
                  <a:pt x="6043834" y="2500293"/>
                </a:lnTo>
                <a:close/>
                <a:moveTo>
                  <a:pt x="6034827" y="2495420"/>
                </a:moveTo>
                <a:lnTo>
                  <a:pt x="6037214" y="2497693"/>
                </a:lnTo>
                <a:lnTo>
                  <a:pt x="6037866" y="2501916"/>
                </a:lnTo>
                <a:lnTo>
                  <a:pt x="6035261" y="2500075"/>
                </a:lnTo>
                <a:close/>
                <a:moveTo>
                  <a:pt x="6041447" y="2494446"/>
                </a:moveTo>
                <a:lnTo>
                  <a:pt x="6041772" y="2496936"/>
                </a:lnTo>
                <a:lnTo>
                  <a:pt x="6041229" y="2499860"/>
                </a:lnTo>
                <a:lnTo>
                  <a:pt x="6039602" y="2498668"/>
                </a:lnTo>
                <a:lnTo>
                  <a:pt x="6038625" y="2495962"/>
                </a:lnTo>
                <a:close/>
                <a:moveTo>
                  <a:pt x="6314844" y="2493312"/>
                </a:moveTo>
                <a:lnTo>
                  <a:pt x="6315017" y="2493796"/>
                </a:lnTo>
                <a:lnTo>
                  <a:pt x="6320451" y="2496454"/>
                </a:lnTo>
                <a:lnTo>
                  <a:pt x="6315017" y="2493795"/>
                </a:lnTo>
                <a:close/>
                <a:moveTo>
                  <a:pt x="1992690" y="2493146"/>
                </a:moveTo>
                <a:lnTo>
                  <a:pt x="1997030" y="2494012"/>
                </a:lnTo>
                <a:lnTo>
                  <a:pt x="2001262" y="2498993"/>
                </a:lnTo>
                <a:lnTo>
                  <a:pt x="2000503" y="2503324"/>
                </a:lnTo>
                <a:lnTo>
                  <a:pt x="1993775" y="2505273"/>
                </a:lnTo>
                <a:lnTo>
                  <a:pt x="1988458" y="2503215"/>
                </a:lnTo>
                <a:lnTo>
                  <a:pt x="1987807" y="2500725"/>
                </a:lnTo>
                <a:lnTo>
                  <a:pt x="1989869" y="2502132"/>
                </a:lnTo>
                <a:lnTo>
                  <a:pt x="1992256" y="2502566"/>
                </a:lnTo>
                <a:lnTo>
                  <a:pt x="1994535" y="2500725"/>
                </a:lnTo>
                <a:lnTo>
                  <a:pt x="1992256" y="2499317"/>
                </a:lnTo>
                <a:lnTo>
                  <a:pt x="1990954" y="2496503"/>
                </a:lnTo>
                <a:close/>
                <a:moveTo>
                  <a:pt x="6508828" y="2492171"/>
                </a:moveTo>
                <a:lnTo>
                  <a:pt x="6508828" y="2492172"/>
                </a:lnTo>
                <a:lnTo>
                  <a:pt x="6508937" y="2492172"/>
                </a:lnTo>
                <a:lnTo>
                  <a:pt x="6508936" y="2492171"/>
                </a:lnTo>
                <a:close/>
                <a:moveTo>
                  <a:pt x="6030703" y="2490440"/>
                </a:moveTo>
                <a:lnTo>
                  <a:pt x="6032222" y="2492822"/>
                </a:lnTo>
                <a:lnTo>
                  <a:pt x="6029944" y="2498560"/>
                </a:lnTo>
                <a:lnTo>
                  <a:pt x="6028208" y="2499426"/>
                </a:lnTo>
                <a:lnTo>
                  <a:pt x="6028099" y="2496936"/>
                </a:lnTo>
                <a:close/>
                <a:moveTo>
                  <a:pt x="6355822" y="2490157"/>
                </a:moveTo>
                <a:lnTo>
                  <a:pt x="6356144" y="2495852"/>
                </a:lnTo>
                <a:lnTo>
                  <a:pt x="6357513" y="2501625"/>
                </a:lnTo>
                <a:lnTo>
                  <a:pt x="6356146" y="2495853"/>
                </a:lnTo>
                <a:close/>
                <a:moveTo>
                  <a:pt x="6139979" y="2489589"/>
                </a:moveTo>
                <a:lnTo>
                  <a:pt x="6140632" y="2490656"/>
                </a:lnTo>
                <a:lnTo>
                  <a:pt x="6141225" y="2491247"/>
                </a:lnTo>
                <a:lnTo>
                  <a:pt x="6140632" y="2490655"/>
                </a:lnTo>
                <a:close/>
                <a:moveTo>
                  <a:pt x="6499929" y="2489140"/>
                </a:moveTo>
                <a:lnTo>
                  <a:pt x="6496306" y="2490265"/>
                </a:lnTo>
                <a:lnTo>
                  <a:pt x="6499930" y="2489140"/>
                </a:lnTo>
                <a:close/>
                <a:moveTo>
                  <a:pt x="6339976" y="2488815"/>
                </a:moveTo>
                <a:lnTo>
                  <a:pt x="6329124" y="2493362"/>
                </a:lnTo>
                <a:lnTo>
                  <a:pt x="6323807" y="2493362"/>
                </a:lnTo>
                <a:lnTo>
                  <a:pt x="6320551" y="2496502"/>
                </a:lnTo>
                <a:lnTo>
                  <a:pt x="6320552" y="2496503"/>
                </a:lnTo>
                <a:lnTo>
                  <a:pt x="6323808" y="2493363"/>
                </a:lnTo>
                <a:lnTo>
                  <a:pt x="6329124" y="2493363"/>
                </a:lnTo>
                <a:lnTo>
                  <a:pt x="6339976" y="2488816"/>
                </a:lnTo>
                <a:lnTo>
                  <a:pt x="6344642" y="2490332"/>
                </a:lnTo>
                <a:lnTo>
                  <a:pt x="6344642" y="2490331"/>
                </a:lnTo>
                <a:close/>
                <a:moveTo>
                  <a:pt x="2228280" y="2480695"/>
                </a:moveTo>
                <a:lnTo>
                  <a:pt x="2235443" y="2484809"/>
                </a:lnTo>
                <a:lnTo>
                  <a:pt x="2235117" y="2486650"/>
                </a:lnTo>
                <a:lnTo>
                  <a:pt x="2230668" y="2484593"/>
                </a:lnTo>
                <a:lnTo>
                  <a:pt x="2226218" y="2484917"/>
                </a:lnTo>
                <a:lnTo>
                  <a:pt x="2224157" y="2482535"/>
                </a:lnTo>
                <a:close/>
                <a:moveTo>
                  <a:pt x="6311545" y="2478638"/>
                </a:moveTo>
                <a:lnTo>
                  <a:pt x="6307963" y="2481885"/>
                </a:lnTo>
                <a:lnTo>
                  <a:pt x="6306662" y="2480478"/>
                </a:lnTo>
                <a:lnTo>
                  <a:pt x="6299174" y="2479612"/>
                </a:lnTo>
                <a:lnTo>
                  <a:pt x="6295749" y="2481321"/>
                </a:lnTo>
                <a:lnTo>
                  <a:pt x="6299174" y="2479613"/>
                </a:lnTo>
                <a:lnTo>
                  <a:pt x="6306661" y="2480479"/>
                </a:lnTo>
                <a:lnTo>
                  <a:pt x="6307964" y="2481887"/>
                </a:lnTo>
                <a:lnTo>
                  <a:pt x="6311545" y="2478638"/>
                </a:lnTo>
                <a:lnTo>
                  <a:pt x="6314800" y="2482969"/>
                </a:lnTo>
                <a:lnTo>
                  <a:pt x="6314800" y="2482968"/>
                </a:lnTo>
                <a:close/>
                <a:moveTo>
                  <a:pt x="6294616" y="2478097"/>
                </a:moveTo>
                <a:lnTo>
                  <a:pt x="6295484" y="2481453"/>
                </a:lnTo>
                <a:lnTo>
                  <a:pt x="6295485" y="2481452"/>
                </a:lnTo>
                <a:close/>
                <a:moveTo>
                  <a:pt x="6150072" y="2476256"/>
                </a:moveTo>
                <a:lnTo>
                  <a:pt x="6147359" y="2484158"/>
                </a:lnTo>
                <a:lnTo>
                  <a:pt x="6144755" y="2485458"/>
                </a:lnTo>
                <a:lnTo>
                  <a:pt x="6142476" y="2484484"/>
                </a:lnTo>
                <a:lnTo>
                  <a:pt x="6142279" y="2485380"/>
                </a:lnTo>
                <a:lnTo>
                  <a:pt x="6142476" y="2484485"/>
                </a:lnTo>
                <a:lnTo>
                  <a:pt x="6144755" y="2485459"/>
                </a:lnTo>
                <a:lnTo>
                  <a:pt x="6147359" y="2484160"/>
                </a:lnTo>
                <a:lnTo>
                  <a:pt x="6150072" y="2476256"/>
                </a:lnTo>
                <a:close/>
                <a:moveTo>
                  <a:pt x="6473596" y="2475967"/>
                </a:moveTo>
                <a:lnTo>
                  <a:pt x="6474537" y="2479288"/>
                </a:lnTo>
                <a:lnTo>
                  <a:pt x="6480976" y="2481597"/>
                </a:lnTo>
                <a:lnTo>
                  <a:pt x="6474537" y="2479287"/>
                </a:lnTo>
                <a:close/>
                <a:moveTo>
                  <a:pt x="5243744" y="2473435"/>
                </a:moveTo>
                <a:lnTo>
                  <a:pt x="5243741" y="2473441"/>
                </a:lnTo>
                <a:lnTo>
                  <a:pt x="5243742" y="2473437"/>
                </a:lnTo>
                <a:lnTo>
                  <a:pt x="5243740" y="2473441"/>
                </a:lnTo>
                <a:lnTo>
                  <a:pt x="5249275" y="2492713"/>
                </a:lnTo>
                <a:lnTo>
                  <a:pt x="5245911" y="2544683"/>
                </a:lnTo>
                <a:lnTo>
                  <a:pt x="5245912" y="2544683"/>
                </a:lnTo>
                <a:lnTo>
                  <a:pt x="5249276" y="2492713"/>
                </a:lnTo>
                <a:lnTo>
                  <a:pt x="5243742" y="2473441"/>
                </a:lnTo>
                <a:close/>
                <a:moveTo>
                  <a:pt x="6470413" y="2473332"/>
                </a:moveTo>
                <a:lnTo>
                  <a:pt x="6470413" y="2473333"/>
                </a:lnTo>
                <a:lnTo>
                  <a:pt x="6472222" y="2473982"/>
                </a:lnTo>
                <a:close/>
                <a:moveTo>
                  <a:pt x="6366020" y="2471059"/>
                </a:moveTo>
                <a:lnTo>
                  <a:pt x="6357013" y="2471383"/>
                </a:lnTo>
                <a:lnTo>
                  <a:pt x="6357013" y="2474848"/>
                </a:lnTo>
                <a:lnTo>
                  <a:pt x="6353758" y="2477122"/>
                </a:lnTo>
                <a:lnTo>
                  <a:pt x="6354083" y="2485134"/>
                </a:lnTo>
                <a:lnTo>
                  <a:pt x="6355653" y="2489637"/>
                </a:lnTo>
                <a:lnTo>
                  <a:pt x="6354084" y="2485134"/>
                </a:lnTo>
                <a:lnTo>
                  <a:pt x="6353759" y="2477122"/>
                </a:lnTo>
                <a:lnTo>
                  <a:pt x="6357014" y="2474848"/>
                </a:lnTo>
                <a:lnTo>
                  <a:pt x="6357014" y="2471384"/>
                </a:lnTo>
                <a:lnTo>
                  <a:pt x="6366020" y="2471059"/>
                </a:lnTo>
                <a:close/>
                <a:moveTo>
                  <a:pt x="6107534" y="2470843"/>
                </a:moveTo>
                <a:lnTo>
                  <a:pt x="6109054" y="2472467"/>
                </a:lnTo>
                <a:lnTo>
                  <a:pt x="6108510" y="2475823"/>
                </a:lnTo>
                <a:lnTo>
                  <a:pt x="6106232" y="2476906"/>
                </a:lnTo>
                <a:lnTo>
                  <a:pt x="6105581" y="2471925"/>
                </a:lnTo>
                <a:close/>
                <a:moveTo>
                  <a:pt x="2211026" y="2470843"/>
                </a:moveTo>
                <a:lnTo>
                  <a:pt x="2211894" y="2473117"/>
                </a:lnTo>
                <a:lnTo>
                  <a:pt x="2211568" y="2478639"/>
                </a:lnTo>
                <a:lnTo>
                  <a:pt x="2201151" y="2484594"/>
                </a:lnTo>
                <a:lnTo>
                  <a:pt x="2198764" y="2484485"/>
                </a:lnTo>
                <a:lnTo>
                  <a:pt x="2199306" y="2481886"/>
                </a:lnTo>
                <a:lnTo>
                  <a:pt x="2201911" y="2481453"/>
                </a:lnTo>
                <a:lnTo>
                  <a:pt x="2206685" y="2476148"/>
                </a:lnTo>
                <a:lnTo>
                  <a:pt x="2206360" y="2472251"/>
                </a:lnTo>
                <a:close/>
                <a:moveTo>
                  <a:pt x="6051866" y="2470678"/>
                </a:moveTo>
                <a:lnTo>
                  <a:pt x="6051973" y="2477121"/>
                </a:lnTo>
                <a:lnTo>
                  <a:pt x="6053311" y="2480413"/>
                </a:lnTo>
                <a:lnTo>
                  <a:pt x="6051974" y="2477122"/>
                </a:lnTo>
                <a:close/>
                <a:moveTo>
                  <a:pt x="6096573" y="2469002"/>
                </a:moveTo>
                <a:lnTo>
                  <a:pt x="6103084" y="2473333"/>
                </a:lnTo>
                <a:lnTo>
                  <a:pt x="6104278" y="2477122"/>
                </a:lnTo>
                <a:lnTo>
                  <a:pt x="6101022" y="2483294"/>
                </a:lnTo>
                <a:lnTo>
                  <a:pt x="6098960" y="2480154"/>
                </a:lnTo>
                <a:lnTo>
                  <a:pt x="6098960" y="2476256"/>
                </a:lnTo>
                <a:lnTo>
                  <a:pt x="6096573" y="2471276"/>
                </a:lnTo>
                <a:cubicBezTo>
                  <a:pt x="6096661" y="2470520"/>
                  <a:pt x="6096661" y="2469757"/>
                  <a:pt x="6096573" y="2469002"/>
                </a:cubicBezTo>
                <a:close/>
                <a:moveTo>
                  <a:pt x="6091797" y="2467810"/>
                </a:moveTo>
                <a:lnTo>
                  <a:pt x="6094728" y="2471924"/>
                </a:lnTo>
                <a:lnTo>
                  <a:pt x="6095270" y="2478963"/>
                </a:lnTo>
                <a:lnTo>
                  <a:pt x="6090930" y="2478746"/>
                </a:lnTo>
                <a:lnTo>
                  <a:pt x="6087674" y="2471708"/>
                </a:lnTo>
                <a:lnTo>
                  <a:pt x="6087457" y="2469651"/>
                </a:lnTo>
                <a:close/>
                <a:moveTo>
                  <a:pt x="6381538" y="2467053"/>
                </a:moveTo>
                <a:lnTo>
                  <a:pt x="6381538" y="2467053"/>
                </a:lnTo>
                <a:lnTo>
                  <a:pt x="6383600" y="2468785"/>
                </a:lnTo>
                <a:lnTo>
                  <a:pt x="6385282" y="2468731"/>
                </a:lnTo>
                <a:lnTo>
                  <a:pt x="6383600" y="2468785"/>
                </a:lnTo>
                <a:close/>
                <a:moveTo>
                  <a:pt x="2197244" y="2466944"/>
                </a:moveTo>
                <a:lnTo>
                  <a:pt x="2202887" y="2469975"/>
                </a:lnTo>
                <a:lnTo>
                  <a:pt x="2203430" y="2473981"/>
                </a:lnTo>
                <a:lnTo>
                  <a:pt x="2199849" y="2473223"/>
                </a:lnTo>
                <a:lnTo>
                  <a:pt x="2196919" y="2469867"/>
                </a:lnTo>
                <a:close/>
                <a:moveTo>
                  <a:pt x="6149747" y="2465537"/>
                </a:moveTo>
                <a:lnTo>
                  <a:pt x="6149563" y="2466772"/>
                </a:lnTo>
                <a:lnTo>
                  <a:pt x="6149747" y="2465538"/>
                </a:lnTo>
                <a:close/>
                <a:moveTo>
                  <a:pt x="6378716" y="2463046"/>
                </a:moveTo>
                <a:lnTo>
                  <a:pt x="6373617" y="2464995"/>
                </a:lnTo>
                <a:lnTo>
                  <a:pt x="6371011" y="2467269"/>
                </a:lnTo>
                <a:lnTo>
                  <a:pt x="6370030" y="2469228"/>
                </a:lnTo>
                <a:lnTo>
                  <a:pt x="6371012" y="2467269"/>
                </a:lnTo>
                <a:lnTo>
                  <a:pt x="6373617" y="2464996"/>
                </a:lnTo>
                <a:lnTo>
                  <a:pt x="6378717" y="2463047"/>
                </a:lnTo>
                <a:lnTo>
                  <a:pt x="6381863" y="2463372"/>
                </a:lnTo>
                <a:lnTo>
                  <a:pt x="6381863" y="2463371"/>
                </a:lnTo>
                <a:close/>
                <a:moveTo>
                  <a:pt x="6398684" y="2462830"/>
                </a:moveTo>
                <a:lnTo>
                  <a:pt x="6397436" y="2464508"/>
                </a:lnTo>
                <a:lnTo>
                  <a:pt x="6398684" y="2462830"/>
                </a:lnTo>
                <a:lnTo>
                  <a:pt x="6401396" y="2463047"/>
                </a:lnTo>
                <a:lnTo>
                  <a:pt x="6401396" y="2463046"/>
                </a:lnTo>
                <a:close/>
                <a:moveTo>
                  <a:pt x="6476589" y="2462328"/>
                </a:moveTo>
                <a:lnTo>
                  <a:pt x="6476273" y="2464021"/>
                </a:lnTo>
                <a:lnTo>
                  <a:pt x="6475226" y="2464184"/>
                </a:lnTo>
                <a:lnTo>
                  <a:pt x="6476273" y="2464021"/>
                </a:lnTo>
                <a:close/>
                <a:moveTo>
                  <a:pt x="4314404" y="2460231"/>
                </a:moveTo>
                <a:lnTo>
                  <a:pt x="4287275" y="2471492"/>
                </a:lnTo>
                <a:lnTo>
                  <a:pt x="4266006" y="2480261"/>
                </a:lnTo>
                <a:lnTo>
                  <a:pt x="4262099" y="2476147"/>
                </a:lnTo>
                <a:lnTo>
                  <a:pt x="4220104" y="2465754"/>
                </a:lnTo>
                <a:lnTo>
                  <a:pt x="4220104" y="2465754"/>
                </a:lnTo>
                <a:lnTo>
                  <a:pt x="4262099" y="2476148"/>
                </a:lnTo>
                <a:lnTo>
                  <a:pt x="4266006" y="2480262"/>
                </a:lnTo>
                <a:lnTo>
                  <a:pt x="4287275" y="2471493"/>
                </a:lnTo>
                <a:lnTo>
                  <a:pt x="4287275" y="2471492"/>
                </a:lnTo>
                <a:lnTo>
                  <a:pt x="4314404" y="2460232"/>
                </a:lnTo>
                <a:lnTo>
                  <a:pt x="4507130" y="2558000"/>
                </a:lnTo>
                <a:lnTo>
                  <a:pt x="4507130" y="2558000"/>
                </a:lnTo>
                <a:close/>
                <a:moveTo>
                  <a:pt x="3654190" y="2459798"/>
                </a:moveTo>
                <a:lnTo>
                  <a:pt x="3648329" y="2460664"/>
                </a:lnTo>
                <a:lnTo>
                  <a:pt x="3643121" y="2464346"/>
                </a:lnTo>
                <a:lnTo>
                  <a:pt x="3643121" y="2464346"/>
                </a:lnTo>
                <a:lnTo>
                  <a:pt x="3648330" y="2460665"/>
                </a:lnTo>
                <a:lnTo>
                  <a:pt x="3654189" y="2459799"/>
                </a:lnTo>
                <a:lnTo>
                  <a:pt x="3662545" y="2459799"/>
                </a:lnTo>
                <a:lnTo>
                  <a:pt x="3662545" y="2459798"/>
                </a:lnTo>
                <a:close/>
                <a:moveTo>
                  <a:pt x="6148879" y="2459256"/>
                </a:moveTo>
                <a:lnTo>
                  <a:pt x="6148879" y="2459257"/>
                </a:lnTo>
                <a:lnTo>
                  <a:pt x="6153870" y="2459907"/>
                </a:lnTo>
                <a:lnTo>
                  <a:pt x="6153870" y="2459906"/>
                </a:lnTo>
                <a:close/>
                <a:moveTo>
                  <a:pt x="2017215" y="2459149"/>
                </a:moveTo>
                <a:lnTo>
                  <a:pt x="2028175" y="2461098"/>
                </a:lnTo>
                <a:lnTo>
                  <a:pt x="2032515" y="2466186"/>
                </a:lnTo>
                <a:lnTo>
                  <a:pt x="2039895" y="2467702"/>
                </a:lnTo>
                <a:lnTo>
                  <a:pt x="2045754" y="2465537"/>
                </a:lnTo>
                <a:lnTo>
                  <a:pt x="2063551" y="2468135"/>
                </a:lnTo>
                <a:lnTo>
                  <a:pt x="2065830" y="2470842"/>
                </a:lnTo>
                <a:lnTo>
                  <a:pt x="2070062" y="2469867"/>
                </a:lnTo>
                <a:lnTo>
                  <a:pt x="2075597" y="2475822"/>
                </a:lnTo>
                <a:lnTo>
                  <a:pt x="2077333" y="2481020"/>
                </a:lnTo>
                <a:lnTo>
                  <a:pt x="2082216" y="2483185"/>
                </a:lnTo>
                <a:lnTo>
                  <a:pt x="2095455" y="2483943"/>
                </a:lnTo>
                <a:lnTo>
                  <a:pt x="2101423" y="2488598"/>
                </a:lnTo>
                <a:lnTo>
                  <a:pt x="2106958" y="2491630"/>
                </a:lnTo>
                <a:lnTo>
                  <a:pt x="2113035" y="2497368"/>
                </a:lnTo>
                <a:lnTo>
                  <a:pt x="2122150" y="2499426"/>
                </a:lnTo>
                <a:lnTo>
                  <a:pt x="2125080" y="2502457"/>
                </a:lnTo>
                <a:lnTo>
                  <a:pt x="2126599" y="2499534"/>
                </a:lnTo>
                <a:lnTo>
                  <a:pt x="2129204" y="2500724"/>
                </a:lnTo>
                <a:lnTo>
                  <a:pt x="2128119" y="2503648"/>
                </a:lnTo>
                <a:lnTo>
                  <a:pt x="2130072" y="2505922"/>
                </a:lnTo>
                <a:lnTo>
                  <a:pt x="2133870" y="2501916"/>
                </a:lnTo>
                <a:lnTo>
                  <a:pt x="2140164" y="2506788"/>
                </a:lnTo>
                <a:lnTo>
                  <a:pt x="2143962" y="2510252"/>
                </a:lnTo>
                <a:lnTo>
                  <a:pt x="2146458" y="2507979"/>
                </a:lnTo>
                <a:lnTo>
                  <a:pt x="2155030" y="2514367"/>
                </a:lnTo>
                <a:lnTo>
                  <a:pt x="2159480" y="2514691"/>
                </a:lnTo>
                <a:lnTo>
                  <a:pt x="2163495" y="2513175"/>
                </a:lnTo>
                <a:lnTo>
                  <a:pt x="2166425" y="2514150"/>
                </a:lnTo>
                <a:lnTo>
                  <a:pt x="2164689" y="2519997"/>
                </a:lnTo>
                <a:lnTo>
                  <a:pt x="2162084" y="2522379"/>
                </a:lnTo>
                <a:lnTo>
                  <a:pt x="2165339" y="2523678"/>
                </a:lnTo>
                <a:lnTo>
                  <a:pt x="2177819" y="2523678"/>
                </a:lnTo>
                <a:lnTo>
                  <a:pt x="2188345" y="2527901"/>
                </a:lnTo>
                <a:lnTo>
                  <a:pt x="2191167" y="2534505"/>
                </a:lnTo>
                <a:lnTo>
                  <a:pt x="2195507" y="2534938"/>
                </a:lnTo>
                <a:lnTo>
                  <a:pt x="2197569" y="2537211"/>
                </a:lnTo>
                <a:lnTo>
                  <a:pt x="2194965" y="2541976"/>
                </a:lnTo>
                <a:lnTo>
                  <a:pt x="2188996" y="2543599"/>
                </a:lnTo>
                <a:lnTo>
                  <a:pt x="2180858" y="2542517"/>
                </a:lnTo>
                <a:lnTo>
                  <a:pt x="2177385" y="2545332"/>
                </a:lnTo>
                <a:lnTo>
                  <a:pt x="2174455" y="2544791"/>
                </a:lnTo>
                <a:lnTo>
                  <a:pt x="2172827" y="2547389"/>
                </a:lnTo>
                <a:lnTo>
                  <a:pt x="2160565" y="2550313"/>
                </a:lnTo>
                <a:lnTo>
                  <a:pt x="2152318" y="2546631"/>
                </a:lnTo>
                <a:lnTo>
                  <a:pt x="2145807" y="2545765"/>
                </a:lnTo>
                <a:lnTo>
                  <a:pt x="2134195" y="2548472"/>
                </a:lnTo>
                <a:lnTo>
                  <a:pt x="2129964" y="2546739"/>
                </a:lnTo>
                <a:lnTo>
                  <a:pt x="2124429" y="2549663"/>
                </a:lnTo>
                <a:lnTo>
                  <a:pt x="2116073" y="2548255"/>
                </a:lnTo>
                <a:lnTo>
                  <a:pt x="2116290" y="2543925"/>
                </a:lnTo>
                <a:lnTo>
                  <a:pt x="2124212" y="2536779"/>
                </a:lnTo>
                <a:lnTo>
                  <a:pt x="2130289" y="2535263"/>
                </a:lnTo>
                <a:lnTo>
                  <a:pt x="2130940" y="2530607"/>
                </a:lnTo>
                <a:lnTo>
                  <a:pt x="2127034" y="2529308"/>
                </a:lnTo>
                <a:lnTo>
                  <a:pt x="2125839" y="2526818"/>
                </a:lnTo>
                <a:lnTo>
                  <a:pt x="2117267" y="2526818"/>
                </a:lnTo>
                <a:lnTo>
                  <a:pt x="2111950" y="2523570"/>
                </a:lnTo>
                <a:lnTo>
                  <a:pt x="2110214" y="2525085"/>
                </a:lnTo>
                <a:lnTo>
                  <a:pt x="2106307" y="2525085"/>
                </a:lnTo>
                <a:lnTo>
                  <a:pt x="2098385" y="2515666"/>
                </a:lnTo>
                <a:lnTo>
                  <a:pt x="2094478" y="2501483"/>
                </a:lnTo>
                <a:lnTo>
                  <a:pt x="2091657" y="2500400"/>
                </a:lnTo>
                <a:lnTo>
                  <a:pt x="2084929" y="2502673"/>
                </a:lnTo>
                <a:lnTo>
                  <a:pt x="2081456" y="2501050"/>
                </a:lnTo>
                <a:lnTo>
                  <a:pt x="2076898" y="2501699"/>
                </a:lnTo>
                <a:lnTo>
                  <a:pt x="2072884" y="2498234"/>
                </a:lnTo>
                <a:lnTo>
                  <a:pt x="2070279" y="2499750"/>
                </a:lnTo>
                <a:lnTo>
                  <a:pt x="2064094" y="2498667"/>
                </a:lnTo>
                <a:lnTo>
                  <a:pt x="2056389" y="2493146"/>
                </a:lnTo>
                <a:lnTo>
                  <a:pt x="2056063" y="2490547"/>
                </a:lnTo>
                <a:lnTo>
                  <a:pt x="2052917" y="2488165"/>
                </a:lnTo>
                <a:lnTo>
                  <a:pt x="2051180" y="2490764"/>
                </a:lnTo>
                <a:lnTo>
                  <a:pt x="2047925" y="2490981"/>
                </a:lnTo>
                <a:lnTo>
                  <a:pt x="2041197" y="2490114"/>
                </a:lnTo>
                <a:lnTo>
                  <a:pt x="2037398" y="2486866"/>
                </a:lnTo>
                <a:lnTo>
                  <a:pt x="2033058" y="2486866"/>
                </a:lnTo>
                <a:lnTo>
                  <a:pt x="2030128" y="2487840"/>
                </a:lnTo>
                <a:lnTo>
                  <a:pt x="2016021" y="2485675"/>
                </a:lnTo>
                <a:lnTo>
                  <a:pt x="2012332" y="2482751"/>
                </a:lnTo>
                <a:lnTo>
                  <a:pt x="2016021" y="2480153"/>
                </a:lnTo>
                <a:lnTo>
                  <a:pt x="2021338" y="2480694"/>
                </a:lnTo>
                <a:lnTo>
                  <a:pt x="2024051" y="2478421"/>
                </a:lnTo>
                <a:lnTo>
                  <a:pt x="2021338" y="2475822"/>
                </a:lnTo>
                <a:lnTo>
                  <a:pt x="2010812" y="2474631"/>
                </a:lnTo>
                <a:lnTo>
                  <a:pt x="2006146" y="2474848"/>
                </a:lnTo>
                <a:lnTo>
                  <a:pt x="1999635" y="2473765"/>
                </a:lnTo>
                <a:lnTo>
                  <a:pt x="1996705" y="2477014"/>
                </a:lnTo>
                <a:lnTo>
                  <a:pt x="1992582" y="2477879"/>
                </a:lnTo>
                <a:lnTo>
                  <a:pt x="1985528" y="2486433"/>
                </a:lnTo>
                <a:lnTo>
                  <a:pt x="1980645" y="2487407"/>
                </a:lnTo>
                <a:lnTo>
                  <a:pt x="1977606" y="2484917"/>
                </a:lnTo>
                <a:lnTo>
                  <a:pt x="1975110" y="2486975"/>
                </a:lnTo>
                <a:lnTo>
                  <a:pt x="1968925" y="2485783"/>
                </a:lnTo>
                <a:lnTo>
                  <a:pt x="1964150" y="2493146"/>
                </a:lnTo>
                <a:lnTo>
                  <a:pt x="1960026" y="2493579"/>
                </a:lnTo>
                <a:lnTo>
                  <a:pt x="1954167" y="2496935"/>
                </a:lnTo>
                <a:lnTo>
                  <a:pt x="1953949" y="2493146"/>
                </a:lnTo>
                <a:lnTo>
                  <a:pt x="1952214" y="2492171"/>
                </a:lnTo>
                <a:lnTo>
                  <a:pt x="1947439" y="2497693"/>
                </a:lnTo>
                <a:lnTo>
                  <a:pt x="1942881" y="2495420"/>
                </a:lnTo>
                <a:lnTo>
                  <a:pt x="1943098" y="2492279"/>
                </a:lnTo>
                <a:lnTo>
                  <a:pt x="1946571" y="2493362"/>
                </a:lnTo>
                <a:lnTo>
                  <a:pt x="1955035" y="2488382"/>
                </a:lnTo>
                <a:lnTo>
                  <a:pt x="1958942" y="2490655"/>
                </a:lnTo>
                <a:lnTo>
                  <a:pt x="1960135" y="2488382"/>
                </a:lnTo>
                <a:lnTo>
                  <a:pt x="1957422" y="2484809"/>
                </a:lnTo>
                <a:lnTo>
                  <a:pt x="1958073" y="2479287"/>
                </a:lnTo>
                <a:lnTo>
                  <a:pt x="1962414" y="2476905"/>
                </a:lnTo>
                <a:lnTo>
                  <a:pt x="1965886" y="2472683"/>
                </a:lnTo>
                <a:lnTo>
                  <a:pt x="1975978" y="2469867"/>
                </a:lnTo>
                <a:lnTo>
                  <a:pt x="1979668" y="2466512"/>
                </a:lnTo>
                <a:lnTo>
                  <a:pt x="1989651" y="2464129"/>
                </a:lnTo>
                <a:lnTo>
                  <a:pt x="2002673" y="2463480"/>
                </a:lnTo>
                <a:lnTo>
                  <a:pt x="2007557" y="2459474"/>
                </a:lnTo>
                <a:close/>
                <a:moveTo>
                  <a:pt x="6469816" y="2457417"/>
                </a:moveTo>
                <a:lnTo>
                  <a:pt x="6466615" y="2458716"/>
                </a:lnTo>
                <a:lnTo>
                  <a:pt x="6466311" y="2458346"/>
                </a:lnTo>
                <a:lnTo>
                  <a:pt x="6466615" y="2458716"/>
                </a:lnTo>
                <a:close/>
                <a:moveTo>
                  <a:pt x="6474517" y="2457298"/>
                </a:moveTo>
                <a:lnTo>
                  <a:pt x="6477141" y="2459366"/>
                </a:lnTo>
                <a:lnTo>
                  <a:pt x="6477141" y="2459365"/>
                </a:lnTo>
                <a:close/>
                <a:moveTo>
                  <a:pt x="6044060" y="2454908"/>
                </a:moveTo>
                <a:lnTo>
                  <a:pt x="6045028" y="2460881"/>
                </a:lnTo>
                <a:lnTo>
                  <a:pt x="6049225" y="2466863"/>
                </a:lnTo>
                <a:lnTo>
                  <a:pt x="6045029" y="2460881"/>
                </a:lnTo>
                <a:close/>
                <a:moveTo>
                  <a:pt x="6452310" y="2454238"/>
                </a:moveTo>
                <a:lnTo>
                  <a:pt x="6453810" y="2456443"/>
                </a:lnTo>
                <a:lnTo>
                  <a:pt x="6461133" y="2456369"/>
                </a:lnTo>
                <a:lnTo>
                  <a:pt x="6453810" y="2456442"/>
                </a:lnTo>
                <a:close/>
                <a:moveTo>
                  <a:pt x="6446431" y="2452328"/>
                </a:moveTo>
                <a:lnTo>
                  <a:pt x="6446431" y="2452328"/>
                </a:lnTo>
                <a:lnTo>
                  <a:pt x="6450298" y="2453115"/>
                </a:lnTo>
                <a:close/>
                <a:moveTo>
                  <a:pt x="6292229" y="2451354"/>
                </a:moveTo>
                <a:lnTo>
                  <a:pt x="6294182" y="2454385"/>
                </a:lnTo>
                <a:lnTo>
                  <a:pt x="6294942" y="2452545"/>
                </a:lnTo>
                <a:lnTo>
                  <a:pt x="6301670" y="2451679"/>
                </a:lnTo>
                <a:lnTo>
                  <a:pt x="6306552" y="2454710"/>
                </a:lnTo>
                <a:lnTo>
                  <a:pt x="6306552" y="2458391"/>
                </a:lnTo>
                <a:lnTo>
                  <a:pt x="6305767" y="2459959"/>
                </a:lnTo>
                <a:lnTo>
                  <a:pt x="6306553" y="2458391"/>
                </a:lnTo>
                <a:lnTo>
                  <a:pt x="6306553" y="2454710"/>
                </a:lnTo>
                <a:lnTo>
                  <a:pt x="6301670" y="2451678"/>
                </a:lnTo>
                <a:lnTo>
                  <a:pt x="6294942" y="2452544"/>
                </a:lnTo>
                <a:lnTo>
                  <a:pt x="6294182" y="2454385"/>
                </a:lnTo>
                <a:close/>
                <a:moveTo>
                  <a:pt x="6427007" y="2451354"/>
                </a:moveTo>
                <a:lnTo>
                  <a:pt x="6427331" y="2458716"/>
                </a:lnTo>
                <a:lnTo>
                  <a:pt x="6419302" y="2461314"/>
                </a:lnTo>
                <a:lnTo>
                  <a:pt x="6414636" y="2458608"/>
                </a:lnTo>
                <a:lnTo>
                  <a:pt x="6408775" y="2460340"/>
                </a:lnTo>
                <a:lnTo>
                  <a:pt x="6407907" y="2463913"/>
                </a:lnTo>
                <a:lnTo>
                  <a:pt x="6405252" y="2465211"/>
                </a:lnTo>
                <a:lnTo>
                  <a:pt x="6407908" y="2463913"/>
                </a:lnTo>
                <a:lnTo>
                  <a:pt x="6408776" y="2460340"/>
                </a:lnTo>
                <a:lnTo>
                  <a:pt x="6414636" y="2458608"/>
                </a:lnTo>
                <a:lnTo>
                  <a:pt x="6419302" y="2461314"/>
                </a:lnTo>
                <a:lnTo>
                  <a:pt x="6427332" y="2458716"/>
                </a:lnTo>
                <a:close/>
                <a:moveTo>
                  <a:pt x="6154416" y="2451181"/>
                </a:moveTo>
                <a:lnTo>
                  <a:pt x="6154413" y="2451353"/>
                </a:lnTo>
                <a:lnTo>
                  <a:pt x="6154365" y="2452116"/>
                </a:lnTo>
                <a:lnTo>
                  <a:pt x="6154413" y="2451354"/>
                </a:lnTo>
                <a:close/>
                <a:moveTo>
                  <a:pt x="2178580" y="2448106"/>
                </a:moveTo>
                <a:lnTo>
                  <a:pt x="2182812" y="2455685"/>
                </a:lnTo>
                <a:lnTo>
                  <a:pt x="2184114" y="2461532"/>
                </a:lnTo>
                <a:lnTo>
                  <a:pt x="2188346" y="2469110"/>
                </a:lnTo>
                <a:lnTo>
                  <a:pt x="2185308" y="2468785"/>
                </a:lnTo>
                <a:lnTo>
                  <a:pt x="2182486" y="2465212"/>
                </a:lnTo>
                <a:lnTo>
                  <a:pt x="2178471" y="2458824"/>
                </a:lnTo>
                <a:lnTo>
                  <a:pt x="2181076" y="2457092"/>
                </a:lnTo>
                <a:lnTo>
                  <a:pt x="2177929" y="2451030"/>
                </a:lnTo>
                <a:close/>
                <a:moveTo>
                  <a:pt x="6104279" y="2448031"/>
                </a:moveTo>
                <a:lnTo>
                  <a:pt x="6105039" y="2448755"/>
                </a:lnTo>
                <a:lnTo>
                  <a:pt x="6106015" y="2451137"/>
                </a:lnTo>
                <a:lnTo>
                  <a:pt x="6108047" y="2453105"/>
                </a:lnTo>
                <a:lnTo>
                  <a:pt x="6106015" y="2451136"/>
                </a:lnTo>
                <a:lnTo>
                  <a:pt x="6105039" y="2448754"/>
                </a:lnTo>
                <a:close/>
                <a:moveTo>
                  <a:pt x="6287238" y="2447673"/>
                </a:moveTo>
                <a:lnTo>
                  <a:pt x="6287238" y="2447673"/>
                </a:lnTo>
                <a:lnTo>
                  <a:pt x="6293422" y="2449080"/>
                </a:lnTo>
                <a:lnTo>
                  <a:pt x="6293422" y="2449079"/>
                </a:lnTo>
                <a:close/>
                <a:moveTo>
                  <a:pt x="2161542" y="2445940"/>
                </a:moveTo>
                <a:lnTo>
                  <a:pt x="2164472" y="2449838"/>
                </a:lnTo>
                <a:lnTo>
                  <a:pt x="2160674" y="2449838"/>
                </a:lnTo>
                <a:close/>
                <a:moveTo>
                  <a:pt x="6441331" y="2445073"/>
                </a:moveTo>
                <a:lnTo>
                  <a:pt x="6437966" y="2448430"/>
                </a:lnTo>
                <a:lnTo>
                  <a:pt x="6432215" y="2448430"/>
                </a:lnTo>
                <a:lnTo>
                  <a:pt x="6428901" y="2450291"/>
                </a:lnTo>
                <a:lnTo>
                  <a:pt x="6432215" y="2448431"/>
                </a:lnTo>
                <a:lnTo>
                  <a:pt x="6437967" y="2448431"/>
                </a:lnTo>
                <a:lnTo>
                  <a:pt x="6441331" y="2445074"/>
                </a:lnTo>
                <a:lnTo>
                  <a:pt x="6444731" y="2447889"/>
                </a:lnTo>
                <a:close/>
                <a:moveTo>
                  <a:pt x="6120427" y="2442906"/>
                </a:moveTo>
                <a:lnTo>
                  <a:pt x="6122510" y="2444316"/>
                </a:lnTo>
                <a:lnTo>
                  <a:pt x="6126633" y="2443991"/>
                </a:lnTo>
                <a:lnTo>
                  <a:pt x="6126633" y="2443991"/>
                </a:lnTo>
                <a:lnTo>
                  <a:pt x="6122510" y="2444315"/>
                </a:lnTo>
                <a:close/>
                <a:moveTo>
                  <a:pt x="6119470" y="2442258"/>
                </a:moveTo>
                <a:lnTo>
                  <a:pt x="6117300" y="2443991"/>
                </a:lnTo>
                <a:lnTo>
                  <a:pt x="6118711" y="2446264"/>
                </a:lnTo>
                <a:lnTo>
                  <a:pt x="6117409" y="2448430"/>
                </a:lnTo>
                <a:lnTo>
                  <a:pt x="6117300" y="2451028"/>
                </a:lnTo>
                <a:lnTo>
                  <a:pt x="6114804" y="2454601"/>
                </a:lnTo>
                <a:lnTo>
                  <a:pt x="6116324" y="2455792"/>
                </a:lnTo>
                <a:lnTo>
                  <a:pt x="6115890" y="2459581"/>
                </a:lnTo>
                <a:lnTo>
                  <a:pt x="6113503" y="2459689"/>
                </a:lnTo>
                <a:lnTo>
                  <a:pt x="6113503" y="2459690"/>
                </a:lnTo>
                <a:lnTo>
                  <a:pt x="6115890" y="2459582"/>
                </a:lnTo>
                <a:lnTo>
                  <a:pt x="6116325" y="2455793"/>
                </a:lnTo>
                <a:lnTo>
                  <a:pt x="6114805" y="2454601"/>
                </a:lnTo>
                <a:lnTo>
                  <a:pt x="6117301" y="2451028"/>
                </a:lnTo>
                <a:lnTo>
                  <a:pt x="6117409" y="2448430"/>
                </a:lnTo>
                <a:lnTo>
                  <a:pt x="6118712" y="2446265"/>
                </a:lnTo>
                <a:lnTo>
                  <a:pt x="6117301" y="2443991"/>
                </a:lnTo>
                <a:lnTo>
                  <a:pt x="6119471" y="2442259"/>
                </a:lnTo>
                <a:close/>
                <a:moveTo>
                  <a:pt x="4181146" y="2438686"/>
                </a:moveTo>
                <a:lnTo>
                  <a:pt x="4181146" y="2438686"/>
                </a:lnTo>
                <a:lnTo>
                  <a:pt x="4190804" y="2438686"/>
                </a:lnTo>
                <a:lnTo>
                  <a:pt x="4199703" y="2439336"/>
                </a:lnTo>
                <a:lnTo>
                  <a:pt x="4199702" y="2439335"/>
                </a:lnTo>
                <a:lnTo>
                  <a:pt x="4190804" y="2438686"/>
                </a:lnTo>
                <a:close/>
                <a:moveTo>
                  <a:pt x="5155080" y="2436532"/>
                </a:moveTo>
                <a:lnTo>
                  <a:pt x="5154865" y="2444532"/>
                </a:lnTo>
                <a:lnTo>
                  <a:pt x="5160617" y="2451354"/>
                </a:lnTo>
                <a:lnTo>
                  <a:pt x="5165826" y="2469976"/>
                </a:lnTo>
                <a:lnTo>
                  <a:pt x="5235819" y="2480695"/>
                </a:lnTo>
                <a:lnTo>
                  <a:pt x="5243795" y="2473274"/>
                </a:lnTo>
                <a:lnTo>
                  <a:pt x="5243795" y="2473274"/>
                </a:lnTo>
                <a:lnTo>
                  <a:pt x="5235819" y="2480694"/>
                </a:lnTo>
                <a:lnTo>
                  <a:pt x="5165826" y="2469975"/>
                </a:lnTo>
                <a:lnTo>
                  <a:pt x="5160617" y="2451353"/>
                </a:lnTo>
                <a:lnTo>
                  <a:pt x="5154866" y="2444532"/>
                </a:lnTo>
                <a:close/>
                <a:moveTo>
                  <a:pt x="2198764" y="2436087"/>
                </a:moveTo>
                <a:lnTo>
                  <a:pt x="2200391" y="2439226"/>
                </a:lnTo>
                <a:lnTo>
                  <a:pt x="2198221" y="2443124"/>
                </a:lnTo>
                <a:lnTo>
                  <a:pt x="2195834" y="2440959"/>
                </a:lnTo>
                <a:close/>
                <a:moveTo>
                  <a:pt x="6284849" y="2435654"/>
                </a:moveTo>
                <a:lnTo>
                  <a:pt x="6278697" y="2437163"/>
                </a:lnTo>
                <a:lnTo>
                  <a:pt x="6284849" y="2435655"/>
                </a:lnTo>
                <a:lnTo>
                  <a:pt x="6286043" y="2439769"/>
                </a:lnTo>
                <a:lnTo>
                  <a:pt x="6285377" y="2441575"/>
                </a:lnTo>
                <a:lnTo>
                  <a:pt x="6286044" y="2439769"/>
                </a:lnTo>
                <a:close/>
                <a:moveTo>
                  <a:pt x="6719133" y="2435546"/>
                </a:moveTo>
                <a:lnTo>
                  <a:pt x="6722064" y="2438361"/>
                </a:lnTo>
                <a:lnTo>
                  <a:pt x="6720435" y="2439768"/>
                </a:lnTo>
                <a:lnTo>
                  <a:pt x="6716203" y="2439551"/>
                </a:lnTo>
                <a:lnTo>
                  <a:pt x="6715552" y="2437278"/>
                </a:lnTo>
                <a:close/>
                <a:moveTo>
                  <a:pt x="4178477" y="2435502"/>
                </a:moveTo>
                <a:lnTo>
                  <a:pt x="4178650" y="2436195"/>
                </a:lnTo>
                <a:lnTo>
                  <a:pt x="4181018" y="2438558"/>
                </a:lnTo>
                <a:lnTo>
                  <a:pt x="4178650" y="2436195"/>
                </a:lnTo>
                <a:close/>
                <a:moveTo>
                  <a:pt x="2125732" y="2435222"/>
                </a:moveTo>
                <a:lnTo>
                  <a:pt x="2127577" y="2437171"/>
                </a:lnTo>
                <a:lnTo>
                  <a:pt x="2127033" y="2440527"/>
                </a:lnTo>
                <a:lnTo>
                  <a:pt x="2128336" y="2443559"/>
                </a:lnTo>
                <a:lnTo>
                  <a:pt x="2126166" y="2447781"/>
                </a:lnTo>
                <a:lnTo>
                  <a:pt x="2122151" y="2448539"/>
                </a:lnTo>
                <a:lnTo>
                  <a:pt x="2119764" y="2442693"/>
                </a:lnTo>
                <a:lnTo>
                  <a:pt x="2119547" y="2438579"/>
                </a:lnTo>
                <a:close/>
                <a:moveTo>
                  <a:pt x="6275734" y="2434788"/>
                </a:moveTo>
                <a:lnTo>
                  <a:pt x="6275734" y="2434789"/>
                </a:lnTo>
                <a:lnTo>
                  <a:pt x="6278664" y="2437171"/>
                </a:lnTo>
                <a:lnTo>
                  <a:pt x="6278665" y="2437170"/>
                </a:lnTo>
                <a:close/>
                <a:moveTo>
                  <a:pt x="2119981" y="2433706"/>
                </a:moveTo>
                <a:lnTo>
                  <a:pt x="2120415" y="2436738"/>
                </a:lnTo>
                <a:lnTo>
                  <a:pt x="2117811" y="2435547"/>
                </a:lnTo>
                <a:close/>
                <a:moveTo>
                  <a:pt x="6151592" y="2433380"/>
                </a:moveTo>
                <a:lnTo>
                  <a:pt x="6151592" y="2433381"/>
                </a:lnTo>
                <a:lnTo>
                  <a:pt x="6156692" y="2433706"/>
                </a:lnTo>
                <a:lnTo>
                  <a:pt x="6160815" y="2435114"/>
                </a:lnTo>
                <a:lnTo>
                  <a:pt x="6167109" y="2435005"/>
                </a:lnTo>
                <a:lnTo>
                  <a:pt x="6167109" y="2435004"/>
                </a:lnTo>
                <a:lnTo>
                  <a:pt x="6160815" y="2435112"/>
                </a:lnTo>
                <a:lnTo>
                  <a:pt x="6156692" y="2433705"/>
                </a:lnTo>
                <a:close/>
                <a:moveTo>
                  <a:pt x="6038941" y="2430952"/>
                </a:moveTo>
                <a:lnTo>
                  <a:pt x="6042424" y="2435328"/>
                </a:lnTo>
                <a:lnTo>
                  <a:pt x="6042424" y="2443232"/>
                </a:lnTo>
                <a:lnTo>
                  <a:pt x="6044594" y="2449295"/>
                </a:lnTo>
                <a:lnTo>
                  <a:pt x="6043835" y="2453518"/>
                </a:lnTo>
                <a:lnTo>
                  <a:pt x="6043835" y="2453519"/>
                </a:lnTo>
                <a:lnTo>
                  <a:pt x="6044595" y="2449296"/>
                </a:lnTo>
                <a:lnTo>
                  <a:pt x="6042425" y="2443233"/>
                </a:lnTo>
                <a:lnTo>
                  <a:pt x="6042425" y="2435329"/>
                </a:lnTo>
                <a:close/>
                <a:moveTo>
                  <a:pt x="2125298" y="2430782"/>
                </a:moveTo>
                <a:lnTo>
                  <a:pt x="2122585" y="2434355"/>
                </a:lnTo>
                <a:lnTo>
                  <a:pt x="2121066" y="2432081"/>
                </a:lnTo>
                <a:close/>
                <a:moveTo>
                  <a:pt x="6276276" y="2428075"/>
                </a:moveTo>
                <a:lnTo>
                  <a:pt x="6265425" y="2430349"/>
                </a:lnTo>
                <a:lnTo>
                  <a:pt x="6259674" y="2434463"/>
                </a:lnTo>
                <a:lnTo>
                  <a:pt x="6257395" y="2428941"/>
                </a:lnTo>
                <a:lnTo>
                  <a:pt x="6257395" y="2428941"/>
                </a:lnTo>
                <a:lnTo>
                  <a:pt x="6259674" y="2434463"/>
                </a:lnTo>
                <a:lnTo>
                  <a:pt x="6265425" y="2430349"/>
                </a:lnTo>
                <a:lnTo>
                  <a:pt x="6276276" y="2428076"/>
                </a:lnTo>
                <a:close/>
                <a:moveTo>
                  <a:pt x="5617697" y="2426453"/>
                </a:moveTo>
                <a:lnTo>
                  <a:pt x="5618341" y="2427208"/>
                </a:lnTo>
                <a:lnTo>
                  <a:pt x="5618341" y="2427208"/>
                </a:lnTo>
                <a:close/>
                <a:moveTo>
                  <a:pt x="5608140" y="2425909"/>
                </a:moveTo>
                <a:lnTo>
                  <a:pt x="5602714" y="2427533"/>
                </a:lnTo>
                <a:lnTo>
                  <a:pt x="5602063" y="2428219"/>
                </a:lnTo>
                <a:lnTo>
                  <a:pt x="5602714" y="2427534"/>
                </a:lnTo>
                <a:lnTo>
                  <a:pt x="5608140" y="2425909"/>
                </a:lnTo>
                <a:close/>
                <a:moveTo>
                  <a:pt x="6171356" y="2424012"/>
                </a:moveTo>
                <a:lnTo>
                  <a:pt x="6170907" y="2426018"/>
                </a:lnTo>
                <a:lnTo>
                  <a:pt x="6169759" y="2428735"/>
                </a:lnTo>
                <a:lnTo>
                  <a:pt x="6170907" y="2426018"/>
                </a:lnTo>
                <a:close/>
                <a:moveTo>
                  <a:pt x="2172611" y="2422878"/>
                </a:moveTo>
                <a:lnTo>
                  <a:pt x="2177277" y="2426343"/>
                </a:lnTo>
                <a:lnTo>
                  <a:pt x="2178579" y="2431431"/>
                </a:lnTo>
                <a:lnTo>
                  <a:pt x="2182268" y="2438144"/>
                </a:lnTo>
                <a:lnTo>
                  <a:pt x="2182051" y="2440959"/>
                </a:lnTo>
                <a:lnTo>
                  <a:pt x="2176409" y="2441392"/>
                </a:lnTo>
                <a:lnTo>
                  <a:pt x="2174347" y="2438794"/>
                </a:lnTo>
                <a:lnTo>
                  <a:pt x="2176409" y="2436520"/>
                </a:lnTo>
                <a:lnTo>
                  <a:pt x="2175432" y="2430024"/>
                </a:lnTo>
                <a:lnTo>
                  <a:pt x="2171743" y="2425802"/>
                </a:lnTo>
                <a:close/>
                <a:moveTo>
                  <a:pt x="6256881" y="2422123"/>
                </a:moveTo>
                <a:lnTo>
                  <a:pt x="6258155" y="2423312"/>
                </a:lnTo>
                <a:lnTo>
                  <a:pt x="6258155" y="2423312"/>
                </a:lnTo>
                <a:close/>
                <a:moveTo>
                  <a:pt x="1651839" y="2419197"/>
                </a:moveTo>
                <a:lnTo>
                  <a:pt x="1652056" y="2422770"/>
                </a:lnTo>
                <a:lnTo>
                  <a:pt x="1649778" y="2426885"/>
                </a:lnTo>
                <a:close/>
                <a:moveTo>
                  <a:pt x="1347667" y="2417682"/>
                </a:moveTo>
                <a:lnTo>
                  <a:pt x="1350055" y="2418331"/>
                </a:lnTo>
                <a:lnTo>
                  <a:pt x="1349404" y="2420931"/>
                </a:lnTo>
                <a:lnTo>
                  <a:pt x="1347342" y="2420713"/>
                </a:lnTo>
                <a:close/>
                <a:moveTo>
                  <a:pt x="6249039" y="2415408"/>
                </a:moveTo>
                <a:lnTo>
                  <a:pt x="6249039" y="2415408"/>
                </a:lnTo>
                <a:lnTo>
                  <a:pt x="6253054" y="2417032"/>
                </a:lnTo>
                <a:lnTo>
                  <a:pt x="6253563" y="2417953"/>
                </a:lnTo>
                <a:lnTo>
                  <a:pt x="6253054" y="2417032"/>
                </a:lnTo>
                <a:close/>
                <a:moveTo>
                  <a:pt x="1653142" y="2413134"/>
                </a:moveTo>
                <a:lnTo>
                  <a:pt x="1654445" y="2413134"/>
                </a:lnTo>
                <a:lnTo>
                  <a:pt x="1653251" y="2417140"/>
                </a:lnTo>
                <a:lnTo>
                  <a:pt x="1652600" y="2416490"/>
                </a:lnTo>
                <a:close/>
                <a:moveTo>
                  <a:pt x="6878545" y="2410536"/>
                </a:moveTo>
                <a:lnTo>
                  <a:pt x="6879738" y="2413459"/>
                </a:lnTo>
                <a:lnTo>
                  <a:pt x="6878111" y="2415083"/>
                </a:lnTo>
                <a:lnTo>
                  <a:pt x="6874856" y="2415083"/>
                </a:lnTo>
                <a:lnTo>
                  <a:pt x="6875832" y="2410644"/>
                </a:lnTo>
                <a:close/>
                <a:moveTo>
                  <a:pt x="2116182" y="2410536"/>
                </a:moveTo>
                <a:lnTo>
                  <a:pt x="2119437" y="2411835"/>
                </a:lnTo>
                <a:lnTo>
                  <a:pt x="2120523" y="2417465"/>
                </a:lnTo>
                <a:lnTo>
                  <a:pt x="2124646" y="2424935"/>
                </a:lnTo>
                <a:lnTo>
                  <a:pt x="2119004" y="2428725"/>
                </a:lnTo>
                <a:lnTo>
                  <a:pt x="2117918" y="2424502"/>
                </a:lnTo>
                <a:lnTo>
                  <a:pt x="2113903" y="2426668"/>
                </a:lnTo>
                <a:lnTo>
                  <a:pt x="2110648" y="2423528"/>
                </a:lnTo>
                <a:lnTo>
                  <a:pt x="2114338" y="2416924"/>
                </a:lnTo>
                <a:close/>
                <a:moveTo>
                  <a:pt x="2135173" y="2408262"/>
                </a:moveTo>
                <a:lnTo>
                  <a:pt x="2140708" y="2409561"/>
                </a:lnTo>
                <a:lnTo>
                  <a:pt x="2138755" y="2413135"/>
                </a:lnTo>
                <a:lnTo>
                  <a:pt x="2132243" y="2413026"/>
                </a:lnTo>
                <a:lnTo>
                  <a:pt x="2129205" y="2411510"/>
                </a:lnTo>
                <a:close/>
                <a:moveTo>
                  <a:pt x="1655854" y="2407288"/>
                </a:moveTo>
                <a:lnTo>
                  <a:pt x="1654986" y="2409994"/>
                </a:lnTo>
                <a:lnTo>
                  <a:pt x="1653576" y="2410645"/>
                </a:lnTo>
                <a:lnTo>
                  <a:pt x="1654226" y="2407396"/>
                </a:lnTo>
                <a:close/>
                <a:moveTo>
                  <a:pt x="6885489" y="2406746"/>
                </a:moveTo>
                <a:lnTo>
                  <a:pt x="6887767" y="2408803"/>
                </a:lnTo>
                <a:lnTo>
                  <a:pt x="6886466" y="2413134"/>
                </a:lnTo>
                <a:lnTo>
                  <a:pt x="6883970" y="2412484"/>
                </a:lnTo>
                <a:lnTo>
                  <a:pt x="6882885" y="2409452"/>
                </a:lnTo>
                <a:close/>
                <a:moveTo>
                  <a:pt x="6249960" y="2405926"/>
                </a:moveTo>
                <a:lnTo>
                  <a:pt x="6251209" y="2407829"/>
                </a:lnTo>
                <a:lnTo>
                  <a:pt x="6249583" y="2410506"/>
                </a:lnTo>
                <a:lnTo>
                  <a:pt x="6251210" y="2407829"/>
                </a:lnTo>
                <a:close/>
                <a:moveTo>
                  <a:pt x="6120773" y="2404688"/>
                </a:moveTo>
                <a:lnTo>
                  <a:pt x="6120774" y="2404689"/>
                </a:lnTo>
                <a:lnTo>
                  <a:pt x="6122419" y="2405435"/>
                </a:lnTo>
                <a:close/>
                <a:moveTo>
                  <a:pt x="2153404" y="2402523"/>
                </a:moveTo>
                <a:lnTo>
                  <a:pt x="2160024" y="2406313"/>
                </a:lnTo>
                <a:lnTo>
                  <a:pt x="2164256" y="2412376"/>
                </a:lnTo>
                <a:lnTo>
                  <a:pt x="2162303" y="2419847"/>
                </a:lnTo>
                <a:lnTo>
                  <a:pt x="2159698" y="2420605"/>
                </a:lnTo>
                <a:lnTo>
                  <a:pt x="2157637" y="2418223"/>
                </a:lnTo>
                <a:lnTo>
                  <a:pt x="2160458" y="2416707"/>
                </a:lnTo>
                <a:lnTo>
                  <a:pt x="2162085" y="2413134"/>
                </a:lnTo>
                <a:lnTo>
                  <a:pt x="2158505" y="2408153"/>
                </a:lnTo>
                <a:lnTo>
                  <a:pt x="2152862" y="2405988"/>
                </a:lnTo>
                <a:close/>
                <a:moveTo>
                  <a:pt x="6116649" y="2400465"/>
                </a:moveTo>
                <a:lnTo>
                  <a:pt x="6113937" y="2401116"/>
                </a:lnTo>
                <a:lnTo>
                  <a:pt x="6113937" y="2401116"/>
                </a:lnTo>
                <a:lnTo>
                  <a:pt x="6116649" y="2400466"/>
                </a:lnTo>
                <a:lnTo>
                  <a:pt x="6120345" y="2404249"/>
                </a:lnTo>
                <a:close/>
                <a:moveTo>
                  <a:pt x="5607164" y="2400249"/>
                </a:moveTo>
                <a:lnTo>
                  <a:pt x="5607164" y="2400249"/>
                </a:lnTo>
                <a:lnTo>
                  <a:pt x="5611830" y="2406421"/>
                </a:lnTo>
                <a:lnTo>
                  <a:pt x="5612556" y="2408490"/>
                </a:lnTo>
                <a:lnTo>
                  <a:pt x="5611830" y="2406420"/>
                </a:lnTo>
                <a:close/>
                <a:moveTo>
                  <a:pt x="6035153" y="2400249"/>
                </a:moveTo>
                <a:lnTo>
                  <a:pt x="6031681" y="2402306"/>
                </a:lnTo>
                <a:lnTo>
                  <a:pt x="6029619" y="2408694"/>
                </a:lnTo>
                <a:lnTo>
                  <a:pt x="6025170" y="2409669"/>
                </a:lnTo>
                <a:lnTo>
                  <a:pt x="6024953" y="2419196"/>
                </a:lnTo>
                <a:lnTo>
                  <a:pt x="6025170" y="2409669"/>
                </a:lnTo>
                <a:lnTo>
                  <a:pt x="6029619" y="2408694"/>
                </a:lnTo>
                <a:lnTo>
                  <a:pt x="6031681" y="2402306"/>
                </a:lnTo>
                <a:lnTo>
                  <a:pt x="6035154" y="2400249"/>
                </a:lnTo>
                <a:close/>
                <a:moveTo>
                  <a:pt x="6041231" y="2398841"/>
                </a:moveTo>
                <a:lnTo>
                  <a:pt x="6038083" y="2401332"/>
                </a:lnTo>
                <a:lnTo>
                  <a:pt x="6035634" y="2400427"/>
                </a:lnTo>
                <a:lnTo>
                  <a:pt x="6038083" y="2401332"/>
                </a:lnTo>
                <a:lnTo>
                  <a:pt x="6041231" y="2398842"/>
                </a:lnTo>
                <a:close/>
                <a:moveTo>
                  <a:pt x="6073336" y="2398778"/>
                </a:moveTo>
                <a:lnTo>
                  <a:pt x="6077042" y="2400466"/>
                </a:lnTo>
                <a:lnTo>
                  <a:pt x="6083227" y="2400466"/>
                </a:lnTo>
                <a:lnTo>
                  <a:pt x="6092885" y="2399708"/>
                </a:lnTo>
                <a:lnTo>
                  <a:pt x="6100156" y="2400575"/>
                </a:lnTo>
                <a:lnTo>
                  <a:pt x="6108186" y="2400249"/>
                </a:lnTo>
                <a:lnTo>
                  <a:pt x="6112200" y="2399925"/>
                </a:lnTo>
                <a:lnTo>
                  <a:pt x="6112200" y="2399924"/>
                </a:lnTo>
                <a:lnTo>
                  <a:pt x="6108185" y="2400249"/>
                </a:lnTo>
                <a:lnTo>
                  <a:pt x="6100155" y="2400574"/>
                </a:lnTo>
                <a:lnTo>
                  <a:pt x="6092884" y="2399708"/>
                </a:lnTo>
                <a:lnTo>
                  <a:pt x="6083227" y="2400465"/>
                </a:lnTo>
                <a:lnTo>
                  <a:pt x="6077041" y="2400465"/>
                </a:lnTo>
                <a:close/>
                <a:moveTo>
                  <a:pt x="1342350" y="2398193"/>
                </a:moveTo>
                <a:lnTo>
                  <a:pt x="1345063" y="2401982"/>
                </a:lnTo>
                <a:lnTo>
                  <a:pt x="1345823" y="2405447"/>
                </a:lnTo>
                <a:lnTo>
                  <a:pt x="1343219" y="2407179"/>
                </a:lnTo>
                <a:lnTo>
                  <a:pt x="1342350" y="2402307"/>
                </a:lnTo>
                <a:lnTo>
                  <a:pt x="1341157" y="2400250"/>
                </a:lnTo>
                <a:close/>
                <a:moveTo>
                  <a:pt x="6072049" y="2398192"/>
                </a:moveTo>
                <a:lnTo>
                  <a:pt x="6067600" y="2398517"/>
                </a:lnTo>
                <a:lnTo>
                  <a:pt x="6067601" y="2398517"/>
                </a:lnTo>
                <a:lnTo>
                  <a:pt x="6072050" y="2398192"/>
                </a:lnTo>
                <a:close/>
                <a:moveTo>
                  <a:pt x="3663630" y="2396893"/>
                </a:moveTo>
                <a:lnTo>
                  <a:pt x="3663017" y="2432455"/>
                </a:lnTo>
                <a:lnTo>
                  <a:pt x="3663630" y="2396894"/>
                </a:lnTo>
                <a:lnTo>
                  <a:pt x="3739375" y="2398193"/>
                </a:lnTo>
                <a:lnTo>
                  <a:pt x="3739375" y="2398192"/>
                </a:lnTo>
                <a:close/>
                <a:moveTo>
                  <a:pt x="6063042" y="2396784"/>
                </a:moveTo>
                <a:lnTo>
                  <a:pt x="6063042" y="2396785"/>
                </a:lnTo>
                <a:lnTo>
                  <a:pt x="6066838" y="2398227"/>
                </a:lnTo>
                <a:close/>
                <a:moveTo>
                  <a:pt x="5607346" y="2396127"/>
                </a:moveTo>
                <a:lnTo>
                  <a:pt x="5608357" y="2397001"/>
                </a:lnTo>
                <a:lnTo>
                  <a:pt x="5607336" y="2399781"/>
                </a:lnTo>
                <a:lnTo>
                  <a:pt x="5608358" y="2397001"/>
                </a:lnTo>
                <a:close/>
                <a:moveTo>
                  <a:pt x="6905348" y="2393104"/>
                </a:moveTo>
                <a:lnTo>
                  <a:pt x="6910774" y="2395702"/>
                </a:lnTo>
                <a:lnTo>
                  <a:pt x="6909905" y="2400141"/>
                </a:lnTo>
                <a:lnTo>
                  <a:pt x="6906650" y="2399816"/>
                </a:lnTo>
                <a:lnTo>
                  <a:pt x="6904805" y="2398085"/>
                </a:lnTo>
                <a:close/>
                <a:moveTo>
                  <a:pt x="5594507" y="2390786"/>
                </a:moveTo>
                <a:lnTo>
                  <a:pt x="5600436" y="2394619"/>
                </a:lnTo>
                <a:lnTo>
                  <a:pt x="5605102" y="2394186"/>
                </a:lnTo>
                <a:lnTo>
                  <a:pt x="5605102" y="2394186"/>
                </a:lnTo>
                <a:lnTo>
                  <a:pt x="5600436" y="2394619"/>
                </a:lnTo>
                <a:close/>
                <a:moveTo>
                  <a:pt x="6040796" y="2389747"/>
                </a:moveTo>
                <a:lnTo>
                  <a:pt x="6039820" y="2392670"/>
                </a:lnTo>
                <a:lnTo>
                  <a:pt x="6039820" y="2392670"/>
                </a:lnTo>
                <a:close/>
                <a:moveTo>
                  <a:pt x="5591646" y="2380868"/>
                </a:moveTo>
                <a:lnTo>
                  <a:pt x="5591646" y="2380869"/>
                </a:lnTo>
                <a:lnTo>
                  <a:pt x="5591711" y="2381391"/>
                </a:lnTo>
                <a:close/>
                <a:moveTo>
                  <a:pt x="6814519" y="2378488"/>
                </a:moveTo>
                <a:lnTo>
                  <a:pt x="6819837" y="2380329"/>
                </a:lnTo>
                <a:lnTo>
                  <a:pt x="6822441" y="2385742"/>
                </a:lnTo>
                <a:lnTo>
                  <a:pt x="6823960" y="2385742"/>
                </a:lnTo>
                <a:lnTo>
                  <a:pt x="6828083" y="2388774"/>
                </a:lnTo>
                <a:lnTo>
                  <a:pt x="6828952" y="2392888"/>
                </a:lnTo>
                <a:lnTo>
                  <a:pt x="6827216" y="2393213"/>
                </a:lnTo>
                <a:lnTo>
                  <a:pt x="6825696" y="2399601"/>
                </a:lnTo>
                <a:lnTo>
                  <a:pt x="6824503" y="2412052"/>
                </a:lnTo>
                <a:lnTo>
                  <a:pt x="6821898" y="2417032"/>
                </a:lnTo>
                <a:lnTo>
                  <a:pt x="6822983" y="2423853"/>
                </a:lnTo>
                <a:lnTo>
                  <a:pt x="6822441" y="2430242"/>
                </a:lnTo>
                <a:lnTo>
                  <a:pt x="6821030" y="2439336"/>
                </a:lnTo>
                <a:lnTo>
                  <a:pt x="6823310" y="2440203"/>
                </a:lnTo>
                <a:lnTo>
                  <a:pt x="6821573" y="2441935"/>
                </a:lnTo>
                <a:lnTo>
                  <a:pt x="6821356" y="2447781"/>
                </a:lnTo>
                <a:lnTo>
                  <a:pt x="6815387" y="2456877"/>
                </a:lnTo>
                <a:lnTo>
                  <a:pt x="6811372" y="2462181"/>
                </a:lnTo>
                <a:lnTo>
                  <a:pt x="6813760" y="2469219"/>
                </a:lnTo>
                <a:lnTo>
                  <a:pt x="6812566" y="2474957"/>
                </a:lnTo>
                <a:lnTo>
                  <a:pt x="6813651" y="2479722"/>
                </a:lnTo>
                <a:lnTo>
                  <a:pt x="6810179" y="2478530"/>
                </a:lnTo>
                <a:lnTo>
                  <a:pt x="6806706" y="2479722"/>
                </a:lnTo>
                <a:lnTo>
                  <a:pt x="6806380" y="2475824"/>
                </a:lnTo>
                <a:lnTo>
                  <a:pt x="6806706" y="2470302"/>
                </a:lnTo>
                <a:lnTo>
                  <a:pt x="6803343" y="2465105"/>
                </a:lnTo>
                <a:lnTo>
                  <a:pt x="6796615" y="2462940"/>
                </a:lnTo>
                <a:lnTo>
                  <a:pt x="6795855" y="2459800"/>
                </a:lnTo>
                <a:lnTo>
                  <a:pt x="6793359" y="2459150"/>
                </a:lnTo>
                <a:lnTo>
                  <a:pt x="6790755" y="2455144"/>
                </a:lnTo>
                <a:lnTo>
                  <a:pt x="6790863" y="2452220"/>
                </a:lnTo>
                <a:lnTo>
                  <a:pt x="6791949" y="2451896"/>
                </a:lnTo>
                <a:lnTo>
                  <a:pt x="6791297" y="2449189"/>
                </a:lnTo>
                <a:lnTo>
                  <a:pt x="6788801" y="2447565"/>
                </a:lnTo>
                <a:lnTo>
                  <a:pt x="6788150" y="2437929"/>
                </a:lnTo>
                <a:lnTo>
                  <a:pt x="6787933" y="2428618"/>
                </a:lnTo>
                <a:lnTo>
                  <a:pt x="6786414" y="2426452"/>
                </a:lnTo>
                <a:lnTo>
                  <a:pt x="6788150" y="2425045"/>
                </a:lnTo>
                <a:lnTo>
                  <a:pt x="6790755" y="2415625"/>
                </a:lnTo>
                <a:lnTo>
                  <a:pt x="6795855" y="2406530"/>
                </a:lnTo>
                <a:lnTo>
                  <a:pt x="6797916" y="2404581"/>
                </a:lnTo>
                <a:lnTo>
                  <a:pt x="6798785" y="2401333"/>
                </a:lnTo>
                <a:lnTo>
                  <a:pt x="6797591" y="2399168"/>
                </a:lnTo>
                <a:lnTo>
                  <a:pt x="6802474" y="2390831"/>
                </a:lnTo>
                <a:lnTo>
                  <a:pt x="6807574" y="2384984"/>
                </a:lnTo>
                <a:lnTo>
                  <a:pt x="6811915" y="2383469"/>
                </a:lnTo>
                <a:lnTo>
                  <a:pt x="6811372" y="2380220"/>
                </a:lnTo>
                <a:close/>
                <a:moveTo>
                  <a:pt x="5398702" y="2378272"/>
                </a:moveTo>
                <a:lnTo>
                  <a:pt x="5396206" y="2382927"/>
                </a:lnTo>
                <a:lnTo>
                  <a:pt x="5397509" y="2387041"/>
                </a:lnTo>
                <a:lnTo>
                  <a:pt x="5397510" y="2387040"/>
                </a:lnTo>
                <a:lnTo>
                  <a:pt x="5396207" y="2382926"/>
                </a:lnTo>
                <a:close/>
                <a:moveTo>
                  <a:pt x="6182302" y="2376647"/>
                </a:moveTo>
                <a:lnTo>
                  <a:pt x="6179046" y="2386174"/>
                </a:lnTo>
                <a:lnTo>
                  <a:pt x="6176484" y="2390297"/>
                </a:lnTo>
                <a:lnTo>
                  <a:pt x="6179046" y="2386175"/>
                </a:lnTo>
                <a:lnTo>
                  <a:pt x="6182302" y="2376647"/>
                </a:lnTo>
                <a:close/>
                <a:moveTo>
                  <a:pt x="6768400" y="2374699"/>
                </a:moveTo>
                <a:lnTo>
                  <a:pt x="6770136" y="2376540"/>
                </a:lnTo>
                <a:lnTo>
                  <a:pt x="6770028" y="2380005"/>
                </a:lnTo>
                <a:lnTo>
                  <a:pt x="6767532" y="2380871"/>
                </a:lnTo>
                <a:lnTo>
                  <a:pt x="6766555" y="2375565"/>
                </a:lnTo>
                <a:close/>
                <a:moveTo>
                  <a:pt x="6036022" y="2374264"/>
                </a:moveTo>
                <a:lnTo>
                  <a:pt x="6036022" y="2374264"/>
                </a:lnTo>
                <a:lnTo>
                  <a:pt x="6041013" y="2374914"/>
                </a:lnTo>
                <a:lnTo>
                  <a:pt x="6041014" y="2374914"/>
                </a:lnTo>
                <a:close/>
                <a:moveTo>
                  <a:pt x="5407327" y="2373875"/>
                </a:moveTo>
                <a:lnTo>
                  <a:pt x="5405973" y="2375348"/>
                </a:lnTo>
                <a:lnTo>
                  <a:pt x="5405974" y="2375347"/>
                </a:lnTo>
                <a:close/>
                <a:moveTo>
                  <a:pt x="6040037" y="2371666"/>
                </a:moveTo>
                <a:lnTo>
                  <a:pt x="6043400" y="2373723"/>
                </a:lnTo>
                <a:lnTo>
                  <a:pt x="6041549" y="2374647"/>
                </a:lnTo>
                <a:lnTo>
                  <a:pt x="6043401" y="2373723"/>
                </a:lnTo>
                <a:close/>
                <a:moveTo>
                  <a:pt x="6045788" y="2371435"/>
                </a:moveTo>
                <a:lnTo>
                  <a:pt x="6046548" y="2372099"/>
                </a:lnTo>
                <a:lnTo>
                  <a:pt x="6048935" y="2374481"/>
                </a:lnTo>
                <a:lnTo>
                  <a:pt x="6053601" y="2375996"/>
                </a:lnTo>
                <a:lnTo>
                  <a:pt x="6053927" y="2374264"/>
                </a:lnTo>
                <a:lnTo>
                  <a:pt x="6056314" y="2373723"/>
                </a:lnTo>
                <a:lnTo>
                  <a:pt x="6059678" y="2379570"/>
                </a:lnTo>
                <a:lnTo>
                  <a:pt x="6060655" y="2385308"/>
                </a:lnTo>
                <a:lnTo>
                  <a:pt x="6061306" y="2388231"/>
                </a:lnTo>
                <a:lnTo>
                  <a:pt x="6063259" y="2393320"/>
                </a:lnTo>
                <a:lnTo>
                  <a:pt x="6063259" y="2393320"/>
                </a:lnTo>
                <a:lnTo>
                  <a:pt x="6061306" y="2388231"/>
                </a:lnTo>
                <a:lnTo>
                  <a:pt x="6060655" y="2385308"/>
                </a:lnTo>
                <a:lnTo>
                  <a:pt x="6059678" y="2379569"/>
                </a:lnTo>
                <a:lnTo>
                  <a:pt x="6056314" y="2373723"/>
                </a:lnTo>
                <a:lnTo>
                  <a:pt x="6053927" y="2374264"/>
                </a:lnTo>
                <a:lnTo>
                  <a:pt x="6053601" y="2375996"/>
                </a:lnTo>
                <a:lnTo>
                  <a:pt x="6048935" y="2374480"/>
                </a:lnTo>
                <a:lnTo>
                  <a:pt x="6046548" y="2372098"/>
                </a:lnTo>
                <a:close/>
                <a:moveTo>
                  <a:pt x="6032549" y="2369933"/>
                </a:moveTo>
                <a:lnTo>
                  <a:pt x="6032549" y="2369933"/>
                </a:lnTo>
                <a:lnTo>
                  <a:pt x="6033086" y="2370603"/>
                </a:lnTo>
                <a:close/>
                <a:moveTo>
                  <a:pt x="6026689" y="2369825"/>
                </a:moveTo>
                <a:lnTo>
                  <a:pt x="6024518" y="2375996"/>
                </a:lnTo>
                <a:lnTo>
                  <a:pt x="6019852" y="2381302"/>
                </a:lnTo>
                <a:lnTo>
                  <a:pt x="6019093" y="2387040"/>
                </a:lnTo>
                <a:lnTo>
                  <a:pt x="6019853" y="2381302"/>
                </a:lnTo>
                <a:lnTo>
                  <a:pt x="6024519" y="2375996"/>
                </a:lnTo>
                <a:close/>
                <a:moveTo>
                  <a:pt x="3747258" y="2369152"/>
                </a:moveTo>
                <a:lnTo>
                  <a:pt x="3827056" y="2422662"/>
                </a:lnTo>
                <a:lnTo>
                  <a:pt x="3827056" y="2422771"/>
                </a:lnTo>
                <a:lnTo>
                  <a:pt x="3826839" y="2422554"/>
                </a:lnTo>
                <a:lnTo>
                  <a:pt x="3826838" y="2422554"/>
                </a:lnTo>
                <a:lnTo>
                  <a:pt x="3827055" y="2422770"/>
                </a:lnTo>
                <a:lnTo>
                  <a:pt x="3983645" y="2526385"/>
                </a:lnTo>
                <a:lnTo>
                  <a:pt x="3986466" y="2537754"/>
                </a:lnTo>
                <a:lnTo>
                  <a:pt x="3991458" y="2542409"/>
                </a:lnTo>
                <a:lnTo>
                  <a:pt x="3991459" y="2542409"/>
                </a:lnTo>
                <a:lnTo>
                  <a:pt x="3986467" y="2537753"/>
                </a:lnTo>
                <a:lnTo>
                  <a:pt x="3983646" y="2526385"/>
                </a:lnTo>
                <a:lnTo>
                  <a:pt x="3827056" y="2422770"/>
                </a:lnTo>
                <a:lnTo>
                  <a:pt x="3827056" y="2422662"/>
                </a:lnTo>
                <a:close/>
                <a:moveTo>
                  <a:pt x="5584050" y="2367443"/>
                </a:moveTo>
                <a:lnTo>
                  <a:pt x="5581446" y="2368742"/>
                </a:lnTo>
                <a:lnTo>
                  <a:pt x="5584050" y="2367443"/>
                </a:lnTo>
                <a:lnTo>
                  <a:pt x="5588607" y="2367552"/>
                </a:lnTo>
                <a:lnTo>
                  <a:pt x="5589453" y="2369403"/>
                </a:lnTo>
                <a:lnTo>
                  <a:pt x="5588607" y="2367551"/>
                </a:lnTo>
                <a:close/>
                <a:moveTo>
                  <a:pt x="5574688" y="2366964"/>
                </a:moveTo>
                <a:lnTo>
                  <a:pt x="5571896" y="2367118"/>
                </a:lnTo>
                <a:lnTo>
                  <a:pt x="5571896" y="2367119"/>
                </a:lnTo>
                <a:close/>
                <a:moveTo>
                  <a:pt x="3740351" y="2364521"/>
                </a:moveTo>
                <a:lnTo>
                  <a:pt x="3740351" y="2364735"/>
                </a:lnTo>
                <a:lnTo>
                  <a:pt x="3740351" y="2364736"/>
                </a:lnTo>
                <a:lnTo>
                  <a:pt x="3740351" y="2364521"/>
                </a:lnTo>
                <a:close/>
                <a:moveTo>
                  <a:pt x="2115422" y="2363979"/>
                </a:moveTo>
                <a:lnTo>
                  <a:pt x="2122801" y="2363979"/>
                </a:lnTo>
                <a:lnTo>
                  <a:pt x="2128010" y="2368742"/>
                </a:lnTo>
                <a:lnTo>
                  <a:pt x="2124212" y="2368201"/>
                </a:lnTo>
                <a:lnTo>
                  <a:pt x="2119546" y="2367227"/>
                </a:lnTo>
                <a:lnTo>
                  <a:pt x="2110539" y="2373507"/>
                </a:lnTo>
                <a:lnTo>
                  <a:pt x="2105764" y="2372640"/>
                </a:lnTo>
                <a:lnTo>
                  <a:pt x="2099688" y="2366036"/>
                </a:lnTo>
                <a:lnTo>
                  <a:pt x="2105764" y="2366036"/>
                </a:lnTo>
                <a:lnTo>
                  <a:pt x="2108694" y="2368093"/>
                </a:lnTo>
                <a:close/>
                <a:moveTo>
                  <a:pt x="2135173" y="2360948"/>
                </a:moveTo>
                <a:lnTo>
                  <a:pt x="2142444" y="2366037"/>
                </a:lnTo>
                <a:lnTo>
                  <a:pt x="2143313" y="2370584"/>
                </a:lnTo>
                <a:lnTo>
                  <a:pt x="2146785" y="2372858"/>
                </a:lnTo>
                <a:lnTo>
                  <a:pt x="2146785" y="2379354"/>
                </a:lnTo>
                <a:lnTo>
                  <a:pt x="2142119" y="2382277"/>
                </a:lnTo>
                <a:lnTo>
                  <a:pt x="2142444" y="2386500"/>
                </a:lnTo>
                <a:lnTo>
                  <a:pt x="2138429" y="2390505"/>
                </a:lnTo>
                <a:lnTo>
                  <a:pt x="2140165" y="2382602"/>
                </a:lnTo>
                <a:lnTo>
                  <a:pt x="2138863" y="2378162"/>
                </a:lnTo>
                <a:lnTo>
                  <a:pt x="2141902" y="2375239"/>
                </a:lnTo>
                <a:lnTo>
                  <a:pt x="2136584" y="2368419"/>
                </a:lnTo>
                <a:lnTo>
                  <a:pt x="2135716" y="2363546"/>
                </a:lnTo>
                <a:lnTo>
                  <a:pt x="2128554" y="2361164"/>
                </a:lnTo>
                <a:close/>
                <a:moveTo>
                  <a:pt x="6027557" y="2360839"/>
                </a:moveTo>
                <a:lnTo>
                  <a:pt x="6026147" y="2364303"/>
                </a:lnTo>
                <a:lnTo>
                  <a:pt x="6024085" y="2364520"/>
                </a:lnTo>
                <a:lnTo>
                  <a:pt x="6026147" y="2364304"/>
                </a:lnTo>
                <a:lnTo>
                  <a:pt x="6027558" y="2360840"/>
                </a:lnTo>
                <a:close/>
                <a:moveTo>
                  <a:pt x="3740351" y="2357838"/>
                </a:moveTo>
                <a:lnTo>
                  <a:pt x="3740350" y="2357937"/>
                </a:lnTo>
                <a:lnTo>
                  <a:pt x="3740351" y="2357838"/>
                </a:lnTo>
                <a:close/>
                <a:moveTo>
                  <a:pt x="6098675" y="2355150"/>
                </a:moveTo>
                <a:lnTo>
                  <a:pt x="6095163" y="2356291"/>
                </a:lnTo>
                <a:lnTo>
                  <a:pt x="6092766" y="2356135"/>
                </a:lnTo>
                <a:lnTo>
                  <a:pt x="6095163" y="2356292"/>
                </a:lnTo>
                <a:close/>
                <a:moveTo>
                  <a:pt x="6033673" y="2353575"/>
                </a:moveTo>
                <a:lnTo>
                  <a:pt x="6035370" y="2356292"/>
                </a:lnTo>
                <a:lnTo>
                  <a:pt x="6041717" y="2357575"/>
                </a:lnTo>
                <a:lnTo>
                  <a:pt x="6035370" y="2356291"/>
                </a:lnTo>
                <a:close/>
                <a:moveTo>
                  <a:pt x="3526140" y="2352719"/>
                </a:moveTo>
                <a:lnTo>
                  <a:pt x="3527659" y="2353152"/>
                </a:lnTo>
                <a:lnTo>
                  <a:pt x="3527659" y="2356184"/>
                </a:lnTo>
                <a:lnTo>
                  <a:pt x="3525923" y="2357483"/>
                </a:lnTo>
                <a:lnTo>
                  <a:pt x="3524621" y="2356833"/>
                </a:lnTo>
                <a:lnTo>
                  <a:pt x="3523644" y="2354451"/>
                </a:lnTo>
                <a:close/>
                <a:moveTo>
                  <a:pt x="6104604" y="2349362"/>
                </a:moveTo>
                <a:lnTo>
                  <a:pt x="6104604" y="2349362"/>
                </a:lnTo>
                <a:lnTo>
                  <a:pt x="6104821" y="2353151"/>
                </a:lnTo>
                <a:close/>
                <a:moveTo>
                  <a:pt x="4169147" y="2348776"/>
                </a:moveTo>
                <a:lnTo>
                  <a:pt x="4169752" y="2350229"/>
                </a:lnTo>
                <a:lnTo>
                  <a:pt x="4169752" y="2350228"/>
                </a:lnTo>
                <a:close/>
                <a:moveTo>
                  <a:pt x="6263689" y="2347305"/>
                </a:moveTo>
                <a:lnTo>
                  <a:pt x="6263689" y="2347305"/>
                </a:lnTo>
                <a:lnTo>
                  <a:pt x="6267596" y="2355317"/>
                </a:lnTo>
                <a:close/>
                <a:moveTo>
                  <a:pt x="1668768" y="2346656"/>
                </a:moveTo>
                <a:lnTo>
                  <a:pt x="1666272" y="2358024"/>
                </a:lnTo>
                <a:lnTo>
                  <a:pt x="1665621" y="2368851"/>
                </a:lnTo>
                <a:lnTo>
                  <a:pt x="1667791" y="2376538"/>
                </a:lnTo>
                <a:cubicBezTo>
                  <a:pt x="1667140" y="2374806"/>
                  <a:pt x="1664428" y="2368310"/>
                  <a:pt x="1664428" y="2368310"/>
                </a:cubicBezTo>
                <a:lnTo>
                  <a:pt x="1664428" y="2357483"/>
                </a:lnTo>
                <a:close/>
                <a:moveTo>
                  <a:pt x="6014101" y="2346006"/>
                </a:moveTo>
                <a:lnTo>
                  <a:pt x="6014101" y="2346007"/>
                </a:lnTo>
                <a:lnTo>
                  <a:pt x="6018550" y="2355318"/>
                </a:lnTo>
                <a:lnTo>
                  <a:pt x="6018550" y="2355317"/>
                </a:lnTo>
                <a:close/>
                <a:moveTo>
                  <a:pt x="5582476" y="2345681"/>
                </a:moveTo>
                <a:lnTo>
                  <a:pt x="5579275" y="2350228"/>
                </a:lnTo>
                <a:lnTo>
                  <a:pt x="5578081" y="2350625"/>
                </a:lnTo>
                <a:lnTo>
                  <a:pt x="5579275" y="2350228"/>
                </a:lnTo>
                <a:close/>
                <a:moveTo>
                  <a:pt x="6200918" y="2344685"/>
                </a:moveTo>
                <a:lnTo>
                  <a:pt x="6200098" y="2346655"/>
                </a:lnTo>
                <a:lnTo>
                  <a:pt x="6194347" y="2353693"/>
                </a:lnTo>
                <a:lnTo>
                  <a:pt x="6189030" y="2355533"/>
                </a:lnTo>
                <a:lnTo>
                  <a:pt x="6181108" y="2367984"/>
                </a:lnTo>
                <a:lnTo>
                  <a:pt x="6180749" y="2369676"/>
                </a:lnTo>
                <a:lnTo>
                  <a:pt x="6181108" y="2367986"/>
                </a:lnTo>
                <a:lnTo>
                  <a:pt x="6189030" y="2355534"/>
                </a:lnTo>
                <a:lnTo>
                  <a:pt x="6194347" y="2353694"/>
                </a:lnTo>
                <a:lnTo>
                  <a:pt x="6200098" y="2346656"/>
                </a:lnTo>
                <a:close/>
                <a:moveTo>
                  <a:pt x="6032476" y="2344622"/>
                </a:moveTo>
                <a:lnTo>
                  <a:pt x="6032441" y="2344923"/>
                </a:lnTo>
                <a:lnTo>
                  <a:pt x="6030704" y="2348821"/>
                </a:lnTo>
                <a:lnTo>
                  <a:pt x="6030704" y="2348821"/>
                </a:lnTo>
                <a:lnTo>
                  <a:pt x="6032441" y="2344923"/>
                </a:lnTo>
                <a:close/>
                <a:moveTo>
                  <a:pt x="3576491" y="2343949"/>
                </a:moveTo>
                <a:lnTo>
                  <a:pt x="3580940" y="2343949"/>
                </a:lnTo>
                <a:lnTo>
                  <a:pt x="3584955" y="2345140"/>
                </a:lnTo>
                <a:lnTo>
                  <a:pt x="3585823" y="2350661"/>
                </a:lnTo>
                <a:lnTo>
                  <a:pt x="3583002" y="2351744"/>
                </a:lnTo>
                <a:lnTo>
                  <a:pt x="3578878" y="2354451"/>
                </a:lnTo>
                <a:lnTo>
                  <a:pt x="3574430" y="2350878"/>
                </a:lnTo>
                <a:close/>
                <a:moveTo>
                  <a:pt x="3540898" y="2343842"/>
                </a:moveTo>
                <a:lnTo>
                  <a:pt x="3542851" y="2343842"/>
                </a:lnTo>
                <a:lnTo>
                  <a:pt x="3543502" y="2345899"/>
                </a:lnTo>
                <a:cubicBezTo>
                  <a:pt x="3543502" y="2345899"/>
                  <a:pt x="3542526" y="2347307"/>
                  <a:pt x="3542526" y="2347307"/>
                </a:cubicBezTo>
                <a:lnTo>
                  <a:pt x="3540898" y="2345791"/>
                </a:lnTo>
                <a:close/>
                <a:moveTo>
                  <a:pt x="5607183" y="2338358"/>
                </a:moveTo>
                <a:lnTo>
                  <a:pt x="5603908" y="2340051"/>
                </a:lnTo>
                <a:lnTo>
                  <a:pt x="5602751" y="2339834"/>
                </a:lnTo>
                <a:lnTo>
                  <a:pt x="5603908" y="2340051"/>
                </a:lnTo>
                <a:close/>
                <a:moveTo>
                  <a:pt x="3563252" y="2335721"/>
                </a:moveTo>
                <a:lnTo>
                  <a:pt x="3568026" y="2336696"/>
                </a:lnTo>
                <a:lnTo>
                  <a:pt x="3566832" y="2343084"/>
                </a:lnTo>
                <a:lnTo>
                  <a:pt x="3561841" y="2342975"/>
                </a:lnTo>
                <a:lnTo>
                  <a:pt x="3554245" y="2348497"/>
                </a:lnTo>
                <a:lnTo>
                  <a:pt x="3550447" y="2346007"/>
                </a:lnTo>
                <a:lnTo>
                  <a:pt x="3547843" y="2342109"/>
                </a:lnTo>
                <a:lnTo>
                  <a:pt x="3551641" y="2339186"/>
                </a:lnTo>
                <a:lnTo>
                  <a:pt x="3555981" y="2339511"/>
                </a:lnTo>
                <a:lnTo>
                  <a:pt x="3561299" y="2337453"/>
                </a:lnTo>
                <a:close/>
                <a:moveTo>
                  <a:pt x="1673217" y="2334963"/>
                </a:moveTo>
                <a:lnTo>
                  <a:pt x="1673434" y="2337345"/>
                </a:lnTo>
                <a:lnTo>
                  <a:pt x="1671155" y="2343192"/>
                </a:lnTo>
                <a:lnTo>
                  <a:pt x="1669528" y="2344275"/>
                </a:lnTo>
                <a:close/>
                <a:moveTo>
                  <a:pt x="6096465" y="2334637"/>
                </a:moveTo>
                <a:lnTo>
                  <a:pt x="6096465" y="2334638"/>
                </a:lnTo>
                <a:lnTo>
                  <a:pt x="6097225" y="2339401"/>
                </a:lnTo>
                <a:lnTo>
                  <a:pt x="6104604" y="2342650"/>
                </a:lnTo>
                <a:lnTo>
                  <a:pt x="6104604" y="2342649"/>
                </a:lnTo>
                <a:lnTo>
                  <a:pt x="6097225" y="2339401"/>
                </a:lnTo>
                <a:close/>
                <a:moveTo>
                  <a:pt x="6255045" y="2334459"/>
                </a:moveTo>
                <a:lnTo>
                  <a:pt x="6255225" y="2335396"/>
                </a:lnTo>
                <a:lnTo>
                  <a:pt x="6259348" y="2335288"/>
                </a:lnTo>
                <a:lnTo>
                  <a:pt x="6263689" y="2340052"/>
                </a:lnTo>
                <a:lnTo>
                  <a:pt x="6263689" y="2340051"/>
                </a:lnTo>
                <a:lnTo>
                  <a:pt x="6259348" y="2335287"/>
                </a:lnTo>
                <a:lnTo>
                  <a:pt x="6255225" y="2335395"/>
                </a:lnTo>
                <a:close/>
                <a:moveTo>
                  <a:pt x="6216919" y="2333662"/>
                </a:moveTo>
                <a:lnTo>
                  <a:pt x="6210191" y="2338535"/>
                </a:lnTo>
                <a:lnTo>
                  <a:pt x="6202486" y="2340917"/>
                </a:lnTo>
                <a:lnTo>
                  <a:pt x="6202486" y="2340917"/>
                </a:lnTo>
                <a:lnTo>
                  <a:pt x="6210191" y="2338536"/>
                </a:lnTo>
                <a:lnTo>
                  <a:pt x="6216919" y="2333664"/>
                </a:lnTo>
                <a:lnTo>
                  <a:pt x="6220934" y="2337020"/>
                </a:lnTo>
                <a:lnTo>
                  <a:pt x="6225600" y="2339077"/>
                </a:lnTo>
                <a:lnTo>
                  <a:pt x="6225600" y="2339076"/>
                </a:lnTo>
                <a:lnTo>
                  <a:pt x="6220934" y="2337019"/>
                </a:lnTo>
                <a:close/>
                <a:moveTo>
                  <a:pt x="5594250" y="2332472"/>
                </a:moveTo>
                <a:lnTo>
                  <a:pt x="5592160" y="2333982"/>
                </a:lnTo>
                <a:lnTo>
                  <a:pt x="5594251" y="2332472"/>
                </a:lnTo>
                <a:close/>
                <a:moveTo>
                  <a:pt x="3619896" y="2332257"/>
                </a:moveTo>
                <a:lnTo>
                  <a:pt x="3620222" y="2337995"/>
                </a:lnTo>
                <a:lnTo>
                  <a:pt x="3615122" y="2345141"/>
                </a:lnTo>
                <a:lnTo>
                  <a:pt x="3610022" y="2346549"/>
                </a:lnTo>
                <a:lnTo>
                  <a:pt x="3606984" y="2345682"/>
                </a:lnTo>
                <a:lnTo>
                  <a:pt x="3612192" y="2339294"/>
                </a:lnTo>
                <a:lnTo>
                  <a:pt x="3612518" y="2336046"/>
                </a:lnTo>
                <a:close/>
                <a:moveTo>
                  <a:pt x="6966118" y="2330524"/>
                </a:moveTo>
                <a:lnTo>
                  <a:pt x="6968180" y="2335396"/>
                </a:lnTo>
                <a:lnTo>
                  <a:pt x="6965900" y="2338320"/>
                </a:lnTo>
                <a:lnTo>
                  <a:pt x="6965791" y="2342434"/>
                </a:lnTo>
                <a:lnTo>
                  <a:pt x="6959932" y="2346006"/>
                </a:lnTo>
                <a:lnTo>
                  <a:pt x="6959715" y="2350338"/>
                </a:lnTo>
                <a:lnTo>
                  <a:pt x="6957328" y="2351204"/>
                </a:lnTo>
                <a:lnTo>
                  <a:pt x="6955483" y="2344816"/>
                </a:lnTo>
                <a:lnTo>
                  <a:pt x="6959932" y="2341676"/>
                </a:lnTo>
                <a:lnTo>
                  <a:pt x="6960583" y="2339510"/>
                </a:lnTo>
                <a:lnTo>
                  <a:pt x="6959607" y="2337778"/>
                </a:lnTo>
                <a:lnTo>
                  <a:pt x="6963730" y="2335396"/>
                </a:lnTo>
                <a:close/>
                <a:moveTo>
                  <a:pt x="6098092" y="2328791"/>
                </a:moveTo>
                <a:lnTo>
                  <a:pt x="6097008" y="2328899"/>
                </a:lnTo>
                <a:lnTo>
                  <a:pt x="6097008" y="2328899"/>
                </a:lnTo>
                <a:lnTo>
                  <a:pt x="6098093" y="2328791"/>
                </a:lnTo>
                <a:lnTo>
                  <a:pt x="6098093" y="2328791"/>
                </a:lnTo>
                <a:close/>
                <a:moveTo>
                  <a:pt x="6043075" y="2326626"/>
                </a:moveTo>
                <a:lnTo>
                  <a:pt x="6037757" y="2337128"/>
                </a:lnTo>
                <a:lnTo>
                  <a:pt x="6035562" y="2338198"/>
                </a:lnTo>
                <a:lnTo>
                  <a:pt x="6037758" y="2337128"/>
                </a:lnTo>
                <a:close/>
                <a:moveTo>
                  <a:pt x="3529612" y="2325328"/>
                </a:moveTo>
                <a:cubicBezTo>
                  <a:pt x="3530769" y="2325852"/>
                  <a:pt x="3531861" y="2326506"/>
                  <a:pt x="3532868" y="2327277"/>
                </a:cubicBezTo>
                <a:lnTo>
                  <a:pt x="3532325" y="2334205"/>
                </a:lnTo>
                <a:cubicBezTo>
                  <a:pt x="3532325" y="2334205"/>
                  <a:pt x="3529612" y="2336046"/>
                  <a:pt x="3529612" y="2336046"/>
                </a:cubicBezTo>
                <a:lnTo>
                  <a:pt x="3529612" y="2330741"/>
                </a:lnTo>
                <a:lnTo>
                  <a:pt x="3528093" y="2328034"/>
                </a:lnTo>
                <a:cubicBezTo>
                  <a:pt x="3528093" y="2328034"/>
                  <a:pt x="3528744" y="2325328"/>
                  <a:pt x="3529612" y="2325328"/>
                </a:cubicBezTo>
                <a:close/>
                <a:moveTo>
                  <a:pt x="3755355" y="2325027"/>
                </a:moveTo>
                <a:lnTo>
                  <a:pt x="3751854" y="2329658"/>
                </a:lnTo>
                <a:lnTo>
                  <a:pt x="3740785" y="2337453"/>
                </a:lnTo>
                <a:lnTo>
                  <a:pt x="3740459" y="2357808"/>
                </a:lnTo>
                <a:lnTo>
                  <a:pt x="3740427" y="2357841"/>
                </a:lnTo>
                <a:lnTo>
                  <a:pt x="3740460" y="2357808"/>
                </a:lnTo>
                <a:lnTo>
                  <a:pt x="3740785" y="2337453"/>
                </a:lnTo>
                <a:lnTo>
                  <a:pt x="3751854" y="2329658"/>
                </a:lnTo>
                <a:close/>
                <a:moveTo>
                  <a:pt x="6084212" y="2324677"/>
                </a:moveTo>
                <a:lnTo>
                  <a:pt x="6080838" y="2325976"/>
                </a:lnTo>
                <a:lnTo>
                  <a:pt x="6080839" y="2325976"/>
                </a:lnTo>
                <a:close/>
                <a:moveTo>
                  <a:pt x="6228964" y="2324460"/>
                </a:moveTo>
                <a:lnTo>
                  <a:pt x="6224407" y="2328790"/>
                </a:lnTo>
                <a:lnTo>
                  <a:pt x="6224407" y="2328791"/>
                </a:lnTo>
                <a:lnTo>
                  <a:pt x="6228964" y="2324460"/>
                </a:lnTo>
                <a:close/>
                <a:moveTo>
                  <a:pt x="1685371" y="2319806"/>
                </a:moveTo>
                <a:lnTo>
                  <a:pt x="1682007" y="2324353"/>
                </a:lnTo>
                <a:lnTo>
                  <a:pt x="1676907" y="2330524"/>
                </a:lnTo>
                <a:lnTo>
                  <a:pt x="1674954" y="2331932"/>
                </a:lnTo>
                <a:lnTo>
                  <a:pt x="1680488" y="2323379"/>
                </a:lnTo>
                <a:close/>
                <a:moveTo>
                  <a:pt x="4165411" y="2319804"/>
                </a:moveTo>
                <a:lnTo>
                  <a:pt x="4165411" y="2319805"/>
                </a:lnTo>
                <a:lnTo>
                  <a:pt x="4165438" y="2320163"/>
                </a:lnTo>
                <a:close/>
                <a:moveTo>
                  <a:pt x="3627494" y="2319697"/>
                </a:moveTo>
                <a:lnTo>
                  <a:pt x="3631401" y="2322512"/>
                </a:lnTo>
                <a:lnTo>
                  <a:pt x="3626626" y="2323162"/>
                </a:lnTo>
                <a:lnTo>
                  <a:pt x="3621417" y="2326085"/>
                </a:lnTo>
                <a:lnTo>
                  <a:pt x="3623695" y="2319913"/>
                </a:lnTo>
                <a:close/>
                <a:moveTo>
                  <a:pt x="6062390" y="2318722"/>
                </a:moveTo>
                <a:lnTo>
                  <a:pt x="6060818" y="2318946"/>
                </a:lnTo>
                <a:lnTo>
                  <a:pt x="6062390" y="2318722"/>
                </a:lnTo>
                <a:close/>
                <a:moveTo>
                  <a:pt x="6229721" y="2318592"/>
                </a:moveTo>
                <a:lnTo>
                  <a:pt x="6227445" y="2319696"/>
                </a:lnTo>
                <a:lnTo>
                  <a:pt x="6227445" y="2319696"/>
                </a:lnTo>
                <a:close/>
                <a:moveTo>
                  <a:pt x="6231460" y="2317748"/>
                </a:moveTo>
                <a:lnTo>
                  <a:pt x="6231459" y="2317748"/>
                </a:lnTo>
                <a:lnTo>
                  <a:pt x="6236994" y="2320130"/>
                </a:lnTo>
                <a:lnTo>
                  <a:pt x="6240575" y="2318073"/>
                </a:lnTo>
                <a:lnTo>
                  <a:pt x="6246109" y="2318289"/>
                </a:lnTo>
                <a:lnTo>
                  <a:pt x="6246109" y="2318289"/>
                </a:lnTo>
                <a:lnTo>
                  <a:pt x="6240575" y="2318072"/>
                </a:lnTo>
                <a:lnTo>
                  <a:pt x="6236994" y="2320129"/>
                </a:lnTo>
                <a:close/>
                <a:moveTo>
                  <a:pt x="6120012" y="2317748"/>
                </a:moveTo>
                <a:lnTo>
                  <a:pt x="6116432" y="2320346"/>
                </a:lnTo>
                <a:lnTo>
                  <a:pt x="6114044" y="2326192"/>
                </a:lnTo>
                <a:lnTo>
                  <a:pt x="6114045" y="2326192"/>
                </a:lnTo>
                <a:lnTo>
                  <a:pt x="6116433" y="2320345"/>
                </a:lnTo>
                <a:close/>
                <a:moveTo>
                  <a:pt x="5045707" y="2317236"/>
                </a:moveTo>
                <a:lnTo>
                  <a:pt x="5054053" y="2319805"/>
                </a:lnTo>
                <a:lnTo>
                  <a:pt x="5055464" y="2328575"/>
                </a:lnTo>
                <a:lnTo>
                  <a:pt x="5055465" y="2328574"/>
                </a:lnTo>
                <a:lnTo>
                  <a:pt x="5054054" y="2319805"/>
                </a:lnTo>
                <a:close/>
                <a:moveTo>
                  <a:pt x="3771496" y="2317079"/>
                </a:moveTo>
                <a:lnTo>
                  <a:pt x="3763465" y="2318722"/>
                </a:lnTo>
                <a:lnTo>
                  <a:pt x="3757824" y="2322592"/>
                </a:lnTo>
                <a:lnTo>
                  <a:pt x="3763465" y="2318723"/>
                </a:lnTo>
                <a:close/>
                <a:moveTo>
                  <a:pt x="6123812" y="2315799"/>
                </a:moveTo>
                <a:lnTo>
                  <a:pt x="6123811" y="2315799"/>
                </a:lnTo>
                <a:lnTo>
                  <a:pt x="6123705" y="2318886"/>
                </a:lnTo>
                <a:close/>
                <a:moveTo>
                  <a:pt x="5962304" y="2313645"/>
                </a:moveTo>
                <a:lnTo>
                  <a:pt x="5958648" y="2317748"/>
                </a:lnTo>
                <a:lnTo>
                  <a:pt x="5953548" y="2319264"/>
                </a:lnTo>
                <a:lnTo>
                  <a:pt x="5950618" y="2321862"/>
                </a:lnTo>
                <a:lnTo>
                  <a:pt x="5943890" y="2318613"/>
                </a:lnTo>
                <a:lnTo>
                  <a:pt x="5939875" y="2319480"/>
                </a:lnTo>
                <a:lnTo>
                  <a:pt x="5937162" y="2313958"/>
                </a:lnTo>
                <a:lnTo>
                  <a:pt x="5937162" y="2313959"/>
                </a:lnTo>
                <a:lnTo>
                  <a:pt x="5939875" y="2319481"/>
                </a:lnTo>
                <a:lnTo>
                  <a:pt x="5943890" y="2318614"/>
                </a:lnTo>
                <a:lnTo>
                  <a:pt x="5950618" y="2321862"/>
                </a:lnTo>
                <a:lnTo>
                  <a:pt x="5953548" y="2319264"/>
                </a:lnTo>
                <a:lnTo>
                  <a:pt x="5958648" y="2317748"/>
                </a:lnTo>
                <a:close/>
                <a:moveTo>
                  <a:pt x="5962990" y="2312875"/>
                </a:moveTo>
                <a:lnTo>
                  <a:pt x="5962989" y="2312876"/>
                </a:lnTo>
                <a:lnTo>
                  <a:pt x="5971996" y="2313959"/>
                </a:lnTo>
                <a:lnTo>
                  <a:pt x="5977747" y="2316882"/>
                </a:lnTo>
                <a:lnTo>
                  <a:pt x="5979158" y="2322512"/>
                </a:lnTo>
                <a:lnTo>
                  <a:pt x="5986212" y="2325327"/>
                </a:lnTo>
                <a:lnTo>
                  <a:pt x="5991095" y="2331823"/>
                </a:lnTo>
                <a:lnTo>
                  <a:pt x="5995218" y="2332906"/>
                </a:lnTo>
                <a:lnTo>
                  <a:pt x="6001187" y="2330307"/>
                </a:lnTo>
                <a:lnTo>
                  <a:pt x="6003683" y="2331282"/>
                </a:lnTo>
                <a:lnTo>
                  <a:pt x="6010194" y="2329225"/>
                </a:lnTo>
                <a:lnTo>
                  <a:pt x="6014534" y="2329550"/>
                </a:lnTo>
                <a:lnTo>
                  <a:pt x="6016163" y="2334638"/>
                </a:lnTo>
                <a:lnTo>
                  <a:pt x="6016163" y="2334637"/>
                </a:lnTo>
                <a:lnTo>
                  <a:pt x="6014535" y="2329549"/>
                </a:lnTo>
                <a:lnTo>
                  <a:pt x="6010194" y="2329225"/>
                </a:lnTo>
                <a:lnTo>
                  <a:pt x="6003683" y="2331282"/>
                </a:lnTo>
                <a:lnTo>
                  <a:pt x="6001187" y="2330307"/>
                </a:lnTo>
                <a:lnTo>
                  <a:pt x="5995218" y="2332905"/>
                </a:lnTo>
                <a:lnTo>
                  <a:pt x="5991095" y="2331823"/>
                </a:lnTo>
                <a:lnTo>
                  <a:pt x="5986212" y="2325327"/>
                </a:lnTo>
                <a:lnTo>
                  <a:pt x="5979158" y="2322511"/>
                </a:lnTo>
                <a:lnTo>
                  <a:pt x="5977747" y="2316881"/>
                </a:lnTo>
                <a:lnTo>
                  <a:pt x="5971996" y="2313958"/>
                </a:lnTo>
                <a:close/>
                <a:moveTo>
                  <a:pt x="6130431" y="2309518"/>
                </a:moveTo>
                <a:lnTo>
                  <a:pt x="6130430" y="2309519"/>
                </a:lnTo>
                <a:lnTo>
                  <a:pt x="6128980" y="2313860"/>
                </a:lnTo>
                <a:close/>
                <a:moveTo>
                  <a:pt x="6213663" y="2306162"/>
                </a:moveTo>
                <a:lnTo>
                  <a:pt x="6211783" y="2308252"/>
                </a:lnTo>
                <a:lnTo>
                  <a:pt x="6213663" y="2306162"/>
                </a:lnTo>
                <a:close/>
                <a:moveTo>
                  <a:pt x="3819062" y="2305116"/>
                </a:moveTo>
                <a:lnTo>
                  <a:pt x="3806112" y="2312767"/>
                </a:lnTo>
                <a:lnTo>
                  <a:pt x="3796671" y="2314824"/>
                </a:lnTo>
                <a:lnTo>
                  <a:pt x="3792013" y="2314935"/>
                </a:lnTo>
                <a:lnTo>
                  <a:pt x="3796671" y="2314825"/>
                </a:lnTo>
                <a:lnTo>
                  <a:pt x="3806112" y="2312768"/>
                </a:lnTo>
                <a:close/>
                <a:moveTo>
                  <a:pt x="6979139" y="2303023"/>
                </a:moveTo>
                <a:lnTo>
                  <a:pt x="6982177" y="2305513"/>
                </a:lnTo>
                <a:lnTo>
                  <a:pt x="6983045" y="2309411"/>
                </a:lnTo>
                <a:lnTo>
                  <a:pt x="6981635" y="2310386"/>
                </a:lnTo>
                <a:lnTo>
                  <a:pt x="6978162" y="2307570"/>
                </a:lnTo>
                <a:lnTo>
                  <a:pt x="6977946" y="2304647"/>
                </a:lnTo>
                <a:close/>
                <a:moveTo>
                  <a:pt x="4806788" y="2302500"/>
                </a:moveTo>
                <a:lnTo>
                  <a:pt x="4803380" y="2303023"/>
                </a:lnTo>
                <a:lnTo>
                  <a:pt x="4786126" y="2319805"/>
                </a:lnTo>
                <a:lnTo>
                  <a:pt x="4786126" y="2319805"/>
                </a:lnTo>
                <a:lnTo>
                  <a:pt x="4803381" y="2303023"/>
                </a:lnTo>
                <a:close/>
                <a:moveTo>
                  <a:pt x="4163995" y="2301539"/>
                </a:moveTo>
                <a:lnTo>
                  <a:pt x="4165411" y="2304214"/>
                </a:lnTo>
                <a:lnTo>
                  <a:pt x="4165411" y="2304214"/>
                </a:lnTo>
                <a:close/>
                <a:moveTo>
                  <a:pt x="4160094" y="2296851"/>
                </a:moveTo>
                <a:lnTo>
                  <a:pt x="4160094" y="2296852"/>
                </a:lnTo>
                <a:lnTo>
                  <a:pt x="4162373" y="2298476"/>
                </a:lnTo>
                <a:lnTo>
                  <a:pt x="4162373" y="2298475"/>
                </a:lnTo>
                <a:close/>
                <a:moveTo>
                  <a:pt x="5825282" y="2295118"/>
                </a:moveTo>
                <a:lnTo>
                  <a:pt x="5820870" y="2301679"/>
                </a:lnTo>
                <a:lnTo>
                  <a:pt x="5825282" y="2295120"/>
                </a:lnTo>
                <a:close/>
                <a:moveTo>
                  <a:pt x="5039513" y="2291331"/>
                </a:moveTo>
                <a:lnTo>
                  <a:pt x="5039512" y="2291331"/>
                </a:lnTo>
                <a:lnTo>
                  <a:pt x="5034303" y="2303024"/>
                </a:lnTo>
                <a:lnTo>
                  <a:pt x="5028986" y="2312984"/>
                </a:lnTo>
                <a:lnTo>
                  <a:pt x="5028987" y="2312984"/>
                </a:lnTo>
                <a:lnTo>
                  <a:pt x="5034304" y="2303023"/>
                </a:lnTo>
                <a:close/>
                <a:moveTo>
                  <a:pt x="5364195" y="2291113"/>
                </a:moveTo>
                <a:lnTo>
                  <a:pt x="5364194" y="2291114"/>
                </a:lnTo>
                <a:lnTo>
                  <a:pt x="5376565" y="2307571"/>
                </a:lnTo>
                <a:lnTo>
                  <a:pt x="5379386" y="2313093"/>
                </a:lnTo>
                <a:lnTo>
                  <a:pt x="5385572" y="2319589"/>
                </a:lnTo>
                <a:lnTo>
                  <a:pt x="5391649" y="2322837"/>
                </a:lnTo>
                <a:lnTo>
                  <a:pt x="5393711" y="2325327"/>
                </a:lnTo>
                <a:lnTo>
                  <a:pt x="5401632" y="2325977"/>
                </a:lnTo>
                <a:lnTo>
                  <a:pt x="5406082" y="2327709"/>
                </a:lnTo>
                <a:lnTo>
                  <a:pt x="5406841" y="2330308"/>
                </a:lnTo>
                <a:lnTo>
                  <a:pt x="5413353" y="2330957"/>
                </a:lnTo>
                <a:lnTo>
                  <a:pt x="5413569" y="2339077"/>
                </a:lnTo>
                <a:lnTo>
                  <a:pt x="5415197" y="2344491"/>
                </a:lnTo>
                <a:lnTo>
                  <a:pt x="5415522" y="2351095"/>
                </a:lnTo>
                <a:lnTo>
                  <a:pt x="5416825" y="2355318"/>
                </a:lnTo>
                <a:lnTo>
                  <a:pt x="5422685" y="2354993"/>
                </a:lnTo>
                <a:lnTo>
                  <a:pt x="5428870" y="2359107"/>
                </a:lnTo>
                <a:lnTo>
                  <a:pt x="5429521" y="2368419"/>
                </a:lnTo>
                <a:lnTo>
                  <a:pt x="5429522" y="2368418"/>
                </a:lnTo>
                <a:lnTo>
                  <a:pt x="5428871" y="2359107"/>
                </a:lnTo>
                <a:lnTo>
                  <a:pt x="5422685" y="2354992"/>
                </a:lnTo>
                <a:lnTo>
                  <a:pt x="5416826" y="2355317"/>
                </a:lnTo>
                <a:lnTo>
                  <a:pt x="5415523" y="2351095"/>
                </a:lnTo>
                <a:lnTo>
                  <a:pt x="5415198" y="2344490"/>
                </a:lnTo>
                <a:lnTo>
                  <a:pt x="5413570" y="2339077"/>
                </a:lnTo>
                <a:lnTo>
                  <a:pt x="5413353" y="2330956"/>
                </a:lnTo>
                <a:lnTo>
                  <a:pt x="5406842" y="2330306"/>
                </a:lnTo>
                <a:lnTo>
                  <a:pt x="5406083" y="2327708"/>
                </a:lnTo>
                <a:lnTo>
                  <a:pt x="5401633" y="2325975"/>
                </a:lnTo>
                <a:lnTo>
                  <a:pt x="5393711" y="2325326"/>
                </a:lnTo>
                <a:lnTo>
                  <a:pt x="5391649" y="2322836"/>
                </a:lnTo>
                <a:lnTo>
                  <a:pt x="5385573" y="2319588"/>
                </a:lnTo>
                <a:lnTo>
                  <a:pt x="5379387" y="2313091"/>
                </a:lnTo>
                <a:lnTo>
                  <a:pt x="5376565" y="2307569"/>
                </a:lnTo>
                <a:lnTo>
                  <a:pt x="5364195" y="2291113"/>
                </a:lnTo>
                <a:close/>
                <a:moveTo>
                  <a:pt x="6202218" y="2290840"/>
                </a:moveTo>
                <a:lnTo>
                  <a:pt x="6201292" y="2292628"/>
                </a:lnTo>
                <a:lnTo>
                  <a:pt x="6201292" y="2292628"/>
                </a:lnTo>
                <a:close/>
                <a:moveTo>
                  <a:pt x="1545276" y="2290247"/>
                </a:moveTo>
                <a:lnTo>
                  <a:pt x="1543851" y="2290654"/>
                </a:lnTo>
                <a:lnTo>
                  <a:pt x="1545276" y="2290248"/>
                </a:lnTo>
                <a:close/>
                <a:moveTo>
                  <a:pt x="6153328" y="2289922"/>
                </a:moveTo>
                <a:lnTo>
                  <a:pt x="6153327" y="2289922"/>
                </a:lnTo>
                <a:lnTo>
                  <a:pt x="6153762" y="2295011"/>
                </a:lnTo>
                <a:lnTo>
                  <a:pt x="6151445" y="2297877"/>
                </a:lnTo>
                <a:lnTo>
                  <a:pt x="6153763" y="2295010"/>
                </a:lnTo>
                <a:close/>
                <a:moveTo>
                  <a:pt x="5654458" y="2288829"/>
                </a:moveTo>
                <a:lnTo>
                  <a:pt x="5652524" y="2291545"/>
                </a:lnTo>
                <a:lnTo>
                  <a:pt x="5652129" y="2294380"/>
                </a:lnTo>
                <a:lnTo>
                  <a:pt x="5652524" y="2291546"/>
                </a:lnTo>
                <a:close/>
                <a:moveTo>
                  <a:pt x="4760407" y="2286783"/>
                </a:moveTo>
                <a:lnTo>
                  <a:pt x="4758562" y="2292737"/>
                </a:lnTo>
                <a:lnTo>
                  <a:pt x="4758562" y="2298151"/>
                </a:lnTo>
                <a:lnTo>
                  <a:pt x="4756283" y="2300533"/>
                </a:lnTo>
                <a:lnTo>
                  <a:pt x="4756478" y="2303351"/>
                </a:lnTo>
                <a:lnTo>
                  <a:pt x="4756284" y="2300533"/>
                </a:lnTo>
                <a:lnTo>
                  <a:pt x="4758563" y="2298151"/>
                </a:lnTo>
                <a:lnTo>
                  <a:pt x="4758563" y="2292738"/>
                </a:lnTo>
                <a:close/>
                <a:moveTo>
                  <a:pt x="1519015" y="2286133"/>
                </a:moveTo>
                <a:lnTo>
                  <a:pt x="1523898" y="2288624"/>
                </a:lnTo>
                <a:lnTo>
                  <a:pt x="1524550" y="2290248"/>
                </a:lnTo>
                <a:lnTo>
                  <a:pt x="1528565" y="2291547"/>
                </a:lnTo>
                <a:lnTo>
                  <a:pt x="1533339" y="2294037"/>
                </a:lnTo>
                <a:lnTo>
                  <a:pt x="1534750" y="2295661"/>
                </a:lnTo>
                <a:lnTo>
                  <a:pt x="1536812" y="2295986"/>
                </a:lnTo>
                <a:lnTo>
                  <a:pt x="1536812" y="2295986"/>
                </a:lnTo>
                <a:lnTo>
                  <a:pt x="1534751" y="2295661"/>
                </a:lnTo>
                <a:lnTo>
                  <a:pt x="1533340" y="2294037"/>
                </a:lnTo>
                <a:lnTo>
                  <a:pt x="1528565" y="2291547"/>
                </a:lnTo>
                <a:lnTo>
                  <a:pt x="1524550" y="2290247"/>
                </a:lnTo>
                <a:lnTo>
                  <a:pt x="1523899" y="2288624"/>
                </a:lnTo>
                <a:lnTo>
                  <a:pt x="1519016" y="2286133"/>
                </a:lnTo>
                <a:close/>
                <a:moveTo>
                  <a:pt x="6162117" y="2285375"/>
                </a:moveTo>
                <a:lnTo>
                  <a:pt x="6161319" y="2285944"/>
                </a:lnTo>
                <a:lnTo>
                  <a:pt x="6162117" y="2285375"/>
                </a:lnTo>
                <a:close/>
                <a:moveTo>
                  <a:pt x="5490470" y="2284256"/>
                </a:moveTo>
                <a:lnTo>
                  <a:pt x="5489640" y="2287648"/>
                </a:lnTo>
                <a:lnTo>
                  <a:pt x="5489641" y="2287648"/>
                </a:lnTo>
                <a:close/>
                <a:moveTo>
                  <a:pt x="4170077" y="2283209"/>
                </a:moveTo>
                <a:lnTo>
                  <a:pt x="4166387" y="2285482"/>
                </a:lnTo>
                <a:lnTo>
                  <a:pt x="4164977" y="2286782"/>
                </a:lnTo>
                <a:lnTo>
                  <a:pt x="4162048" y="2286782"/>
                </a:lnTo>
                <a:lnTo>
                  <a:pt x="4162048" y="2286782"/>
                </a:lnTo>
                <a:lnTo>
                  <a:pt x="4164977" y="2286782"/>
                </a:lnTo>
                <a:lnTo>
                  <a:pt x="4166387" y="2285483"/>
                </a:lnTo>
                <a:close/>
                <a:moveTo>
                  <a:pt x="5826621" y="2282641"/>
                </a:moveTo>
                <a:lnTo>
                  <a:pt x="5825282" y="2287107"/>
                </a:lnTo>
                <a:lnTo>
                  <a:pt x="5825282" y="2287108"/>
                </a:lnTo>
                <a:close/>
                <a:moveTo>
                  <a:pt x="6997371" y="2282344"/>
                </a:moveTo>
                <a:lnTo>
                  <a:pt x="6994658" y="2286999"/>
                </a:lnTo>
                <a:lnTo>
                  <a:pt x="6990316" y="2289923"/>
                </a:lnTo>
                <a:lnTo>
                  <a:pt x="6990100" y="2292846"/>
                </a:lnTo>
                <a:lnTo>
                  <a:pt x="6988906" y="2294254"/>
                </a:lnTo>
                <a:lnTo>
                  <a:pt x="6986953" y="2292629"/>
                </a:lnTo>
                <a:lnTo>
                  <a:pt x="6983046" y="2292521"/>
                </a:lnTo>
                <a:lnTo>
                  <a:pt x="6981744" y="2291438"/>
                </a:lnTo>
                <a:lnTo>
                  <a:pt x="6983480" y="2288082"/>
                </a:lnTo>
                <a:lnTo>
                  <a:pt x="6987603" y="2286242"/>
                </a:lnTo>
                <a:lnTo>
                  <a:pt x="6988906" y="2285809"/>
                </a:lnTo>
                <a:lnTo>
                  <a:pt x="6989775" y="2284401"/>
                </a:lnTo>
                <a:lnTo>
                  <a:pt x="6992379" y="2284185"/>
                </a:lnTo>
                <a:lnTo>
                  <a:pt x="6993898" y="2283210"/>
                </a:lnTo>
                <a:close/>
                <a:moveTo>
                  <a:pt x="1548872" y="2281671"/>
                </a:moveTo>
                <a:lnTo>
                  <a:pt x="1547447" y="2284292"/>
                </a:lnTo>
                <a:lnTo>
                  <a:pt x="1545385" y="2286999"/>
                </a:lnTo>
                <a:lnTo>
                  <a:pt x="1547447" y="2284293"/>
                </a:lnTo>
                <a:close/>
                <a:moveTo>
                  <a:pt x="6194021" y="2280069"/>
                </a:moveTo>
                <a:lnTo>
                  <a:pt x="6183712" y="2286132"/>
                </a:lnTo>
                <a:lnTo>
                  <a:pt x="6184363" y="2290355"/>
                </a:lnTo>
                <a:lnTo>
                  <a:pt x="6183550" y="2291133"/>
                </a:lnTo>
                <a:lnTo>
                  <a:pt x="6184364" y="2290354"/>
                </a:lnTo>
                <a:lnTo>
                  <a:pt x="6183713" y="2286132"/>
                </a:lnTo>
                <a:close/>
                <a:moveTo>
                  <a:pt x="5488772" y="2278553"/>
                </a:moveTo>
                <a:lnTo>
                  <a:pt x="5488772" y="2278554"/>
                </a:lnTo>
                <a:lnTo>
                  <a:pt x="5490726" y="2283209"/>
                </a:lnTo>
                <a:lnTo>
                  <a:pt x="5490726" y="2283209"/>
                </a:lnTo>
                <a:close/>
                <a:moveTo>
                  <a:pt x="1506425" y="2277175"/>
                </a:moveTo>
                <a:lnTo>
                  <a:pt x="1506318" y="2278446"/>
                </a:lnTo>
                <a:lnTo>
                  <a:pt x="1507730" y="2278446"/>
                </a:lnTo>
                <a:lnTo>
                  <a:pt x="1509683" y="2280395"/>
                </a:lnTo>
                <a:lnTo>
                  <a:pt x="1511202" y="2280287"/>
                </a:lnTo>
                <a:lnTo>
                  <a:pt x="1513481" y="2281261"/>
                </a:lnTo>
                <a:lnTo>
                  <a:pt x="1514349" y="2282993"/>
                </a:lnTo>
                <a:lnTo>
                  <a:pt x="1514674" y="2284509"/>
                </a:lnTo>
                <a:lnTo>
                  <a:pt x="1516302" y="2286133"/>
                </a:lnTo>
                <a:lnTo>
                  <a:pt x="1516303" y="2286133"/>
                </a:lnTo>
                <a:lnTo>
                  <a:pt x="1514675" y="2284509"/>
                </a:lnTo>
                <a:lnTo>
                  <a:pt x="1514350" y="2282993"/>
                </a:lnTo>
                <a:lnTo>
                  <a:pt x="1513481" y="2281261"/>
                </a:lnTo>
                <a:lnTo>
                  <a:pt x="1511202" y="2280286"/>
                </a:lnTo>
                <a:lnTo>
                  <a:pt x="1509683" y="2280394"/>
                </a:lnTo>
                <a:lnTo>
                  <a:pt x="1507730" y="2278446"/>
                </a:lnTo>
                <a:lnTo>
                  <a:pt x="1506319" y="2278446"/>
                </a:lnTo>
                <a:close/>
                <a:moveTo>
                  <a:pt x="4174201" y="2276821"/>
                </a:moveTo>
                <a:lnTo>
                  <a:pt x="4173799" y="2277376"/>
                </a:lnTo>
                <a:lnTo>
                  <a:pt x="4174201" y="2276821"/>
                </a:lnTo>
                <a:close/>
                <a:moveTo>
                  <a:pt x="4520477" y="2276713"/>
                </a:moveTo>
                <a:lnTo>
                  <a:pt x="4517114" y="2284941"/>
                </a:lnTo>
                <a:lnTo>
                  <a:pt x="4514292" y="2292521"/>
                </a:lnTo>
                <a:lnTo>
                  <a:pt x="4517114" y="2284942"/>
                </a:lnTo>
                <a:lnTo>
                  <a:pt x="4520477" y="2276713"/>
                </a:lnTo>
                <a:close/>
                <a:moveTo>
                  <a:pt x="5060239" y="2275739"/>
                </a:moveTo>
                <a:lnTo>
                  <a:pt x="5060239" y="2275740"/>
                </a:lnTo>
                <a:lnTo>
                  <a:pt x="5062304" y="2277166"/>
                </a:lnTo>
                <a:close/>
                <a:moveTo>
                  <a:pt x="1556128" y="2274440"/>
                </a:moveTo>
                <a:lnTo>
                  <a:pt x="1556128" y="2274440"/>
                </a:lnTo>
                <a:lnTo>
                  <a:pt x="1557972" y="2274873"/>
                </a:lnTo>
                <a:lnTo>
                  <a:pt x="1558407" y="2275523"/>
                </a:lnTo>
                <a:lnTo>
                  <a:pt x="1560252" y="2275198"/>
                </a:lnTo>
                <a:lnTo>
                  <a:pt x="1558408" y="2275522"/>
                </a:lnTo>
                <a:lnTo>
                  <a:pt x="1557973" y="2274873"/>
                </a:lnTo>
                <a:close/>
                <a:moveTo>
                  <a:pt x="1580544" y="2274332"/>
                </a:moveTo>
                <a:lnTo>
                  <a:pt x="1578879" y="2274619"/>
                </a:lnTo>
                <a:lnTo>
                  <a:pt x="1580544" y="2274332"/>
                </a:lnTo>
                <a:lnTo>
                  <a:pt x="1583691" y="2275956"/>
                </a:lnTo>
                <a:lnTo>
                  <a:pt x="1585753" y="2279529"/>
                </a:lnTo>
                <a:lnTo>
                  <a:pt x="1590419" y="2283318"/>
                </a:lnTo>
                <a:lnTo>
                  <a:pt x="1594109" y="2289057"/>
                </a:lnTo>
                <a:lnTo>
                  <a:pt x="1595954" y="2294037"/>
                </a:lnTo>
                <a:lnTo>
                  <a:pt x="1597256" y="2296095"/>
                </a:lnTo>
                <a:lnTo>
                  <a:pt x="1597798" y="2299775"/>
                </a:lnTo>
                <a:lnTo>
                  <a:pt x="1598124" y="2305405"/>
                </a:lnTo>
                <a:lnTo>
                  <a:pt x="1600728" y="2306705"/>
                </a:lnTo>
                <a:lnTo>
                  <a:pt x="1601922" y="2309953"/>
                </a:lnTo>
                <a:lnTo>
                  <a:pt x="1605068" y="2318614"/>
                </a:lnTo>
                <a:lnTo>
                  <a:pt x="1607022" y="2319914"/>
                </a:lnTo>
                <a:lnTo>
                  <a:pt x="1608107" y="2322946"/>
                </a:lnTo>
                <a:lnTo>
                  <a:pt x="1611797" y="2325003"/>
                </a:lnTo>
                <a:lnTo>
                  <a:pt x="1612882" y="2329550"/>
                </a:lnTo>
                <a:lnTo>
                  <a:pt x="1615161" y="2333556"/>
                </a:lnTo>
                <a:lnTo>
                  <a:pt x="1619176" y="2337670"/>
                </a:lnTo>
                <a:lnTo>
                  <a:pt x="1618742" y="2342001"/>
                </a:lnTo>
                <a:lnTo>
                  <a:pt x="1618308" y="2346332"/>
                </a:lnTo>
                <a:lnTo>
                  <a:pt x="1618199" y="2347631"/>
                </a:lnTo>
                <a:lnTo>
                  <a:pt x="1618634" y="2349039"/>
                </a:lnTo>
                <a:lnTo>
                  <a:pt x="1623408" y="2363005"/>
                </a:lnTo>
                <a:lnTo>
                  <a:pt x="1623191" y="2369177"/>
                </a:lnTo>
                <a:lnTo>
                  <a:pt x="1625253" y="2371558"/>
                </a:lnTo>
                <a:lnTo>
                  <a:pt x="1625795" y="2372209"/>
                </a:lnTo>
                <a:lnTo>
                  <a:pt x="1628617" y="2373291"/>
                </a:lnTo>
                <a:lnTo>
                  <a:pt x="1628618" y="2373291"/>
                </a:lnTo>
                <a:lnTo>
                  <a:pt x="1625796" y="2372208"/>
                </a:lnTo>
                <a:lnTo>
                  <a:pt x="1625254" y="2371558"/>
                </a:lnTo>
                <a:lnTo>
                  <a:pt x="1623192" y="2369177"/>
                </a:lnTo>
                <a:lnTo>
                  <a:pt x="1623409" y="2363005"/>
                </a:lnTo>
                <a:lnTo>
                  <a:pt x="1618634" y="2349038"/>
                </a:lnTo>
                <a:lnTo>
                  <a:pt x="1618200" y="2347631"/>
                </a:lnTo>
                <a:lnTo>
                  <a:pt x="1618308" y="2346332"/>
                </a:lnTo>
                <a:lnTo>
                  <a:pt x="1618742" y="2342001"/>
                </a:lnTo>
                <a:lnTo>
                  <a:pt x="1619176" y="2337670"/>
                </a:lnTo>
                <a:lnTo>
                  <a:pt x="1615161" y="2333556"/>
                </a:lnTo>
                <a:lnTo>
                  <a:pt x="1612883" y="2329550"/>
                </a:lnTo>
                <a:lnTo>
                  <a:pt x="1611798" y="2325003"/>
                </a:lnTo>
                <a:lnTo>
                  <a:pt x="1608108" y="2322945"/>
                </a:lnTo>
                <a:lnTo>
                  <a:pt x="1607023" y="2319914"/>
                </a:lnTo>
                <a:lnTo>
                  <a:pt x="1605069" y="2318614"/>
                </a:lnTo>
                <a:lnTo>
                  <a:pt x="1601922" y="2309953"/>
                </a:lnTo>
                <a:lnTo>
                  <a:pt x="1600729" y="2306705"/>
                </a:lnTo>
                <a:lnTo>
                  <a:pt x="1598124" y="2305405"/>
                </a:lnTo>
                <a:lnTo>
                  <a:pt x="1597799" y="2299775"/>
                </a:lnTo>
                <a:lnTo>
                  <a:pt x="1597256" y="2296094"/>
                </a:lnTo>
                <a:lnTo>
                  <a:pt x="1595954" y="2294037"/>
                </a:lnTo>
                <a:lnTo>
                  <a:pt x="1594109" y="2289057"/>
                </a:lnTo>
                <a:lnTo>
                  <a:pt x="1590420" y="2283318"/>
                </a:lnTo>
                <a:lnTo>
                  <a:pt x="1585754" y="2279528"/>
                </a:lnTo>
                <a:lnTo>
                  <a:pt x="1583692" y="2275955"/>
                </a:lnTo>
                <a:close/>
                <a:moveTo>
                  <a:pt x="1505342" y="2273790"/>
                </a:moveTo>
                <a:lnTo>
                  <a:pt x="1506427" y="2277147"/>
                </a:lnTo>
                <a:lnTo>
                  <a:pt x="1506427" y="2277147"/>
                </a:lnTo>
                <a:close/>
                <a:moveTo>
                  <a:pt x="4174902" y="2273778"/>
                </a:moveTo>
                <a:lnTo>
                  <a:pt x="4173984" y="2274764"/>
                </a:lnTo>
                <a:lnTo>
                  <a:pt x="4174189" y="2276708"/>
                </a:lnTo>
                <a:lnTo>
                  <a:pt x="4173984" y="2274764"/>
                </a:lnTo>
                <a:close/>
                <a:moveTo>
                  <a:pt x="5871650" y="2273497"/>
                </a:moveTo>
                <a:lnTo>
                  <a:pt x="5874874" y="2275740"/>
                </a:lnTo>
                <a:lnTo>
                  <a:pt x="5881927" y="2283210"/>
                </a:lnTo>
                <a:lnTo>
                  <a:pt x="5887461" y="2283318"/>
                </a:lnTo>
                <a:lnTo>
                  <a:pt x="5892671" y="2285917"/>
                </a:lnTo>
                <a:lnTo>
                  <a:pt x="5894624" y="2289057"/>
                </a:lnTo>
                <a:lnTo>
                  <a:pt x="5898856" y="2294037"/>
                </a:lnTo>
                <a:lnTo>
                  <a:pt x="5900918" y="2299126"/>
                </a:lnTo>
                <a:lnTo>
                  <a:pt x="5903305" y="2298151"/>
                </a:lnTo>
                <a:lnTo>
                  <a:pt x="5903848" y="2291114"/>
                </a:lnTo>
                <a:lnTo>
                  <a:pt x="5906669" y="2288515"/>
                </a:lnTo>
                <a:lnTo>
                  <a:pt x="5908297" y="2290572"/>
                </a:lnTo>
                <a:lnTo>
                  <a:pt x="5913289" y="2290572"/>
                </a:lnTo>
                <a:lnTo>
                  <a:pt x="5918389" y="2293604"/>
                </a:lnTo>
                <a:lnTo>
                  <a:pt x="5919040" y="2300208"/>
                </a:lnTo>
                <a:lnTo>
                  <a:pt x="5924900" y="2305405"/>
                </a:lnTo>
                <a:lnTo>
                  <a:pt x="5932496" y="2303348"/>
                </a:lnTo>
                <a:lnTo>
                  <a:pt x="5938573" y="2304106"/>
                </a:lnTo>
                <a:lnTo>
                  <a:pt x="5938573" y="2304105"/>
                </a:lnTo>
                <a:lnTo>
                  <a:pt x="5932496" y="2303348"/>
                </a:lnTo>
                <a:lnTo>
                  <a:pt x="5924900" y="2305405"/>
                </a:lnTo>
                <a:lnTo>
                  <a:pt x="5919040" y="2300208"/>
                </a:lnTo>
                <a:lnTo>
                  <a:pt x="5918389" y="2293603"/>
                </a:lnTo>
                <a:lnTo>
                  <a:pt x="5913289" y="2290571"/>
                </a:lnTo>
                <a:lnTo>
                  <a:pt x="5908297" y="2290571"/>
                </a:lnTo>
                <a:lnTo>
                  <a:pt x="5906669" y="2288514"/>
                </a:lnTo>
                <a:lnTo>
                  <a:pt x="5903848" y="2291113"/>
                </a:lnTo>
                <a:lnTo>
                  <a:pt x="5903305" y="2298150"/>
                </a:lnTo>
                <a:lnTo>
                  <a:pt x="5900918" y="2299125"/>
                </a:lnTo>
                <a:lnTo>
                  <a:pt x="5898856" y="2294036"/>
                </a:lnTo>
                <a:lnTo>
                  <a:pt x="5894624" y="2289056"/>
                </a:lnTo>
                <a:lnTo>
                  <a:pt x="5892671" y="2285916"/>
                </a:lnTo>
                <a:lnTo>
                  <a:pt x="5887461" y="2283318"/>
                </a:lnTo>
                <a:lnTo>
                  <a:pt x="5881927" y="2283209"/>
                </a:lnTo>
                <a:lnTo>
                  <a:pt x="5874874" y="2275738"/>
                </a:lnTo>
                <a:close/>
                <a:moveTo>
                  <a:pt x="1574576" y="2272599"/>
                </a:moveTo>
                <a:lnTo>
                  <a:pt x="1570835" y="2272955"/>
                </a:lnTo>
                <a:lnTo>
                  <a:pt x="1574576" y="2272600"/>
                </a:lnTo>
                <a:lnTo>
                  <a:pt x="1576421" y="2273574"/>
                </a:lnTo>
                <a:lnTo>
                  <a:pt x="1577397" y="2274873"/>
                </a:lnTo>
                <a:lnTo>
                  <a:pt x="1577398" y="2274873"/>
                </a:lnTo>
                <a:lnTo>
                  <a:pt x="1576421" y="2273574"/>
                </a:lnTo>
                <a:close/>
                <a:moveTo>
                  <a:pt x="1561663" y="2272383"/>
                </a:moveTo>
                <a:lnTo>
                  <a:pt x="1561663" y="2272383"/>
                </a:lnTo>
                <a:lnTo>
                  <a:pt x="1566003" y="2272383"/>
                </a:lnTo>
                <a:lnTo>
                  <a:pt x="1570018" y="2273032"/>
                </a:lnTo>
                <a:lnTo>
                  <a:pt x="1570018" y="2273032"/>
                </a:lnTo>
                <a:lnTo>
                  <a:pt x="1566004" y="2272383"/>
                </a:lnTo>
                <a:close/>
                <a:moveTo>
                  <a:pt x="3869452" y="2271109"/>
                </a:moveTo>
                <a:lnTo>
                  <a:pt x="3867641" y="2275198"/>
                </a:lnTo>
                <a:lnTo>
                  <a:pt x="3857711" y="2281997"/>
                </a:lnTo>
                <a:lnTo>
                  <a:pt x="3867642" y="2275197"/>
                </a:lnTo>
                <a:close/>
                <a:moveTo>
                  <a:pt x="5665944" y="2268303"/>
                </a:moveTo>
                <a:lnTo>
                  <a:pt x="5668042" y="2269892"/>
                </a:lnTo>
                <a:lnTo>
                  <a:pt x="5668043" y="2269945"/>
                </a:lnTo>
                <a:lnTo>
                  <a:pt x="5668042" y="2269891"/>
                </a:lnTo>
                <a:close/>
                <a:moveTo>
                  <a:pt x="5829405" y="2264803"/>
                </a:moveTo>
                <a:lnTo>
                  <a:pt x="5828428" y="2266210"/>
                </a:lnTo>
                <a:lnTo>
                  <a:pt x="5828104" y="2266643"/>
                </a:lnTo>
                <a:lnTo>
                  <a:pt x="5828104" y="2266644"/>
                </a:lnTo>
                <a:lnTo>
                  <a:pt x="5828429" y="2266210"/>
                </a:lnTo>
                <a:lnTo>
                  <a:pt x="5828429" y="2266210"/>
                </a:lnTo>
                <a:lnTo>
                  <a:pt x="5829405" y="2264804"/>
                </a:lnTo>
                <a:lnTo>
                  <a:pt x="5836459" y="2268377"/>
                </a:lnTo>
                <a:lnTo>
                  <a:pt x="5838195" y="2270975"/>
                </a:lnTo>
                <a:lnTo>
                  <a:pt x="5843079" y="2270759"/>
                </a:lnTo>
                <a:lnTo>
                  <a:pt x="5845574" y="2271950"/>
                </a:lnTo>
                <a:lnTo>
                  <a:pt x="5848613" y="2267728"/>
                </a:lnTo>
                <a:lnTo>
                  <a:pt x="5854473" y="2267186"/>
                </a:lnTo>
                <a:lnTo>
                  <a:pt x="5863153" y="2270434"/>
                </a:lnTo>
                <a:lnTo>
                  <a:pt x="5865650" y="2272924"/>
                </a:lnTo>
                <a:lnTo>
                  <a:pt x="5871293" y="2273249"/>
                </a:lnTo>
                <a:lnTo>
                  <a:pt x="5871292" y="2273248"/>
                </a:lnTo>
                <a:lnTo>
                  <a:pt x="5865650" y="2272924"/>
                </a:lnTo>
                <a:lnTo>
                  <a:pt x="5863154" y="2270434"/>
                </a:lnTo>
                <a:lnTo>
                  <a:pt x="5854472" y="2267185"/>
                </a:lnTo>
                <a:lnTo>
                  <a:pt x="5848613" y="2267726"/>
                </a:lnTo>
                <a:lnTo>
                  <a:pt x="5845574" y="2271949"/>
                </a:lnTo>
                <a:lnTo>
                  <a:pt x="5843079" y="2270758"/>
                </a:lnTo>
                <a:lnTo>
                  <a:pt x="5838195" y="2270975"/>
                </a:lnTo>
                <a:lnTo>
                  <a:pt x="5836459" y="2268376"/>
                </a:lnTo>
                <a:close/>
                <a:moveTo>
                  <a:pt x="4762689" y="2264640"/>
                </a:moveTo>
                <a:lnTo>
                  <a:pt x="4762903" y="2268268"/>
                </a:lnTo>
                <a:lnTo>
                  <a:pt x="4761818" y="2273574"/>
                </a:lnTo>
                <a:lnTo>
                  <a:pt x="4761818" y="2278770"/>
                </a:lnTo>
                <a:lnTo>
                  <a:pt x="4760299" y="2279745"/>
                </a:lnTo>
                <a:lnTo>
                  <a:pt x="4760299" y="2279745"/>
                </a:lnTo>
                <a:lnTo>
                  <a:pt x="4761818" y="2278771"/>
                </a:lnTo>
                <a:lnTo>
                  <a:pt x="4761818" y="2273574"/>
                </a:lnTo>
                <a:lnTo>
                  <a:pt x="4762904" y="2268269"/>
                </a:lnTo>
                <a:close/>
                <a:moveTo>
                  <a:pt x="4762687" y="2264582"/>
                </a:moveTo>
                <a:lnTo>
                  <a:pt x="4762686" y="2264587"/>
                </a:lnTo>
                <a:lnTo>
                  <a:pt x="4762686" y="2264587"/>
                </a:lnTo>
                <a:close/>
                <a:moveTo>
                  <a:pt x="5384053" y="2263721"/>
                </a:moveTo>
                <a:lnTo>
                  <a:pt x="5382099" y="2266645"/>
                </a:lnTo>
                <a:lnTo>
                  <a:pt x="5364199" y="2291107"/>
                </a:lnTo>
                <a:lnTo>
                  <a:pt x="5364196" y="2291112"/>
                </a:lnTo>
                <a:lnTo>
                  <a:pt x="5364198" y="2291109"/>
                </a:lnTo>
                <a:lnTo>
                  <a:pt x="5364199" y="2291107"/>
                </a:lnTo>
                <a:lnTo>
                  <a:pt x="5381868" y="2266963"/>
                </a:lnTo>
                <a:lnTo>
                  <a:pt x="5382100" y="2266644"/>
                </a:lnTo>
                <a:lnTo>
                  <a:pt x="5384053" y="2263721"/>
                </a:lnTo>
                <a:close/>
                <a:moveTo>
                  <a:pt x="5668313" y="2263720"/>
                </a:moveTo>
                <a:lnTo>
                  <a:pt x="5664895" y="2267509"/>
                </a:lnTo>
                <a:lnTo>
                  <a:pt x="5664895" y="2267509"/>
                </a:lnTo>
                <a:close/>
                <a:moveTo>
                  <a:pt x="1501224" y="2262152"/>
                </a:moveTo>
                <a:lnTo>
                  <a:pt x="1500675" y="2262530"/>
                </a:lnTo>
                <a:lnTo>
                  <a:pt x="1497962" y="2263288"/>
                </a:lnTo>
                <a:lnTo>
                  <a:pt x="1497962" y="2265020"/>
                </a:lnTo>
                <a:lnTo>
                  <a:pt x="1502087" y="2269892"/>
                </a:lnTo>
                <a:lnTo>
                  <a:pt x="1497963" y="2265020"/>
                </a:lnTo>
                <a:lnTo>
                  <a:pt x="1497963" y="2263288"/>
                </a:lnTo>
                <a:lnTo>
                  <a:pt x="1500676" y="2262530"/>
                </a:lnTo>
                <a:close/>
                <a:moveTo>
                  <a:pt x="5487036" y="2259282"/>
                </a:moveTo>
                <a:lnTo>
                  <a:pt x="5487469" y="2265778"/>
                </a:lnTo>
                <a:lnTo>
                  <a:pt x="5489097" y="2273574"/>
                </a:lnTo>
                <a:lnTo>
                  <a:pt x="5489097" y="2273573"/>
                </a:lnTo>
                <a:lnTo>
                  <a:pt x="5487470" y="2265777"/>
                </a:lnTo>
                <a:close/>
                <a:moveTo>
                  <a:pt x="4734942" y="2258776"/>
                </a:moveTo>
                <a:lnTo>
                  <a:pt x="4738053" y="2263396"/>
                </a:lnTo>
                <a:lnTo>
                  <a:pt x="4740548" y="2272166"/>
                </a:lnTo>
                <a:lnTo>
                  <a:pt x="4744530" y="2278189"/>
                </a:lnTo>
                <a:lnTo>
                  <a:pt x="4740549" y="2272166"/>
                </a:lnTo>
                <a:lnTo>
                  <a:pt x="4738053" y="2263396"/>
                </a:lnTo>
                <a:close/>
                <a:moveTo>
                  <a:pt x="4173501" y="2255499"/>
                </a:moveTo>
                <a:lnTo>
                  <a:pt x="4173332" y="2256791"/>
                </a:lnTo>
                <a:lnTo>
                  <a:pt x="4172464" y="2260039"/>
                </a:lnTo>
                <a:lnTo>
                  <a:pt x="4174852" y="2267510"/>
                </a:lnTo>
                <a:lnTo>
                  <a:pt x="4175394" y="2273248"/>
                </a:lnTo>
                <a:lnTo>
                  <a:pt x="4175395" y="2273248"/>
                </a:lnTo>
                <a:lnTo>
                  <a:pt x="4174852" y="2267510"/>
                </a:lnTo>
                <a:lnTo>
                  <a:pt x="4172465" y="2260039"/>
                </a:lnTo>
                <a:lnTo>
                  <a:pt x="4173333" y="2256791"/>
                </a:lnTo>
                <a:close/>
                <a:moveTo>
                  <a:pt x="4805442" y="2252028"/>
                </a:moveTo>
                <a:lnTo>
                  <a:pt x="4832463" y="2281261"/>
                </a:lnTo>
                <a:lnTo>
                  <a:pt x="4805442" y="2252028"/>
                </a:lnTo>
                <a:close/>
                <a:moveTo>
                  <a:pt x="4177022" y="2251811"/>
                </a:moveTo>
                <a:lnTo>
                  <a:pt x="4174089" y="2253982"/>
                </a:lnTo>
                <a:lnTo>
                  <a:pt x="4177022" y="2251811"/>
                </a:lnTo>
                <a:lnTo>
                  <a:pt x="4182556" y="2252027"/>
                </a:lnTo>
                <a:close/>
                <a:moveTo>
                  <a:pt x="5049581" y="2248088"/>
                </a:moveTo>
                <a:lnTo>
                  <a:pt x="5049278" y="2254627"/>
                </a:lnTo>
                <a:lnTo>
                  <a:pt x="5051123" y="2261015"/>
                </a:lnTo>
                <a:lnTo>
                  <a:pt x="5058719" y="2261015"/>
                </a:lnTo>
                <a:lnTo>
                  <a:pt x="5059602" y="2269570"/>
                </a:lnTo>
                <a:lnTo>
                  <a:pt x="5058720" y="2261014"/>
                </a:lnTo>
                <a:lnTo>
                  <a:pt x="5051123" y="2261014"/>
                </a:lnTo>
                <a:lnTo>
                  <a:pt x="5049279" y="2254627"/>
                </a:lnTo>
                <a:close/>
                <a:moveTo>
                  <a:pt x="4753788" y="2247263"/>
                </a:moveTo>
                <a:lnTo>
                  <a:pt x="4752702" y="2254626"/>
                </a:lnTo>
                <a:lnTo>
                  <a:pt x="4753630" y="2255552"/>
                </a:lnTo>
                <a:lnTo>
                  <a:pt x="4752703" y="2254627"/>
                </a:lnTo>
                <a:lnTo>
                  <a:pt x="4753788" y="2247264"/>
                </a:lnTo>
                <a:close/>
                <a:moveTo>
                  <a:pt x="5497453" y="2246398"/>
                </a:moveTo>
                <a:lnTo>
                  <a:pt x="5496491" y="2248378"/>
                </a:lnTo>
                <a:lnTo>
                  <a:pt x="5497454" y="2246398"/>
                </a:lnTo>
                <a:close/>
                <a:moveTo>
                  <a:pt x="3882508" y="2244016"/>
                </a:moveTo>
                <a:lnTo>
                  <a:pt x="3876756" y="2253110"/>
                </a:lnTo>
                <a:lnTo>
                  <a:pt x="3871765" y="2257549"/>
                </a:lnTo>
                <a:lnTo>
                  <a:pt x="3869797" y="2262223"/>
                </a:lnTo>
                <a:lnTo>
                  <a:pt x="3871765" y="2257550"/>
                </a:lnTo>
                <a:lnTo>
                  <a:pt x="3876757" y="2253111"/>
                </a:lnTo>
                <a:lnTo>
                  <a:pt x="3882508" y="2244016"/>
                </a:lnTo>
                <a:close/>
                <a:moveTo>
                  <a:pt x="5378742" y="2240210"/>
                </a:moveTo>
                <a:lnTo>
                  <a:pt x="5382099" y="2247698"/>
                </a:lnTo>
                <a:lnTo>
                  <a:pt x="5381665" y="2254302"/>
                </a:lnTo>
                <a:lnTo>
                  <a:pt x="5383816" y="2262785"/>
                </a:lnTo>
                <a:lnTo>
                  <a:pt x="5381666" y="2254301"/>
                </a:lnTo>
                <a:lnTo>
                  <a:pt x="5382100" y="2247697"/>
                </a:lnTo>
                <a:close/>
                <a:moveTo>
                  <a:pt x="4191909" y="2240108"/>
                </a:moveTo>
                <a:lnTo>
                  <a:pt x="4186897" y="2243257"/>
                </a:lnTo>
                <a:lnTo>
                  <a:pt x="4186897" y="2243258"/>
                </a:lnTo>
                <a:close/>
                <a:moveTo>
                  <a:pt x="5513623" y="2238493"/>
                </a:moveTo>
                <a:lnTo>
                  <a:pt x="5513622" y="2238494"/>
                </a:lnTo>
                <a:lnTo>
                  <a:pt x="5517528" y="2239685"/>
                </a:lnTo>
                <a:lnTo>
                  <a:pt x="5517529" y="2239684"/>
                </a:lnTo>
                <a:close/>
                <a:moveTo>
                  <a:pt x="6803560" y="2238169"/>
                </a:moveTo>
                <a:lnTo>
                  <a:pt x="6805513" y="2238926"/>
                </a:lnTo>
                <a:lnTo>
                  <a:pt x="6808335" y="2238602"/>
                </a:lnTo>
                <a:lnTo>
                  <a:pt x="6812892" y="2241308"/>
                </a:lnTo>
                <a:lnTo>
                  <a:pt x="6812784" y="2245206"/>
                </a:lnTo>
                <a:lnTo>
                  <a:pt x="6809419" y="2242932"/>
                </a:lnTo>
                <a:lnTo>
                  <a:pt x="6804753" y="2241417"/>
                </a:lnTo>
                <a:close/>
                <a:moveTo>
                  <a:pt x="3919187" y="2236761"/>
                </a:moveTo>
                <a:lnTo>
                  <a:pt x="3919729" y="2238169"/>
                </a:lnTo>
                <a:lnTo>
                  <a:pt x="3919729" y="2238169"/>
                </a:lnTo>
                <a:close/>
                <a:moveTo>
                  <a:pt x="1487941" y="2235831"/>
                </a:moveTo>
                <a:lnTo>
                  <a:pt x="1487653" y="2237737"/>
                </a:lnTo>
                <a:lnTo>
                  <a:pt x="1486460" y="2239577"/>
                </a:lnTo>
                <a:lnTo>
                  <a:pt x="1489390" y="2240443"/>
                </a:lnTo>
                <a:lnTo>
                  <a:pt x="1492646" y="2242608"/>
                </a:lnTo>
                <a:lnTo>
                  <a:pt x="1494816" y="2246073"/>
                </a:lnTo>
                <a:lnTo>
                  <a:pt x="1495359" y="2251270"/>
                </a:lnTo>
                <a:lnTo>
                  <a:pt x="1496986" y="2253219"/>
                </a:lnTo>
                <a:lnTo>
                  <a:pt x="1498397" y="2253544"/>
                </a:lnTo>
                <a:lnTo>
                  <a:pt x="1499157" y="2255384"/>
                </a:lnTo>
                <a:lnTo>
                  <a:pt x="1501978" y="2257875"/>
                </a:lnTo>
                <a:lnTo>
                  <a:pt x="1502087" y="2261555"/>
                </a:lnTo>
                <a:lnTo>
                  <a:pt x="1501979" y="2257874"/>
                </a:lnTo>
                <a:lnTo>
                  <a:pt x="1499157" y="2255384"/>
                </a:lnTo>
                <a:lnTo>
                  <a:pt x="1498398" y="2253543"/>
                </a:lnTo>
                <a:lnTo>
                  <a:pt x="1496986" y="2253219"/>
                </a:lnTo>
                <a:lnTo>
                  <a:pt x="1495359" y="2251270"/>
                </a:lnTo>
                <a:lnTo>
                  <a:pt x="1494816" y="2246073"/>
                </a:lnTo>
                <a:lnTo>
                  <a:pt x="1492646" y="2242608"/>
                </a:lnTo>
                <a:lnTo>
                  <a:pt x="1489390" y="2240443"/>
                </a:lnTo>
                <a:lnTo>
                  <a:pt x="1486461" y="2239577"/>
                </a:lnTo>
                <a:lnTo>
                  <a:pt x="1487654" y="2237736"/>
                </a:lnTo>
                <a:close/>
                <a:moveTo>
                  <a:pt x="5675963" y="2233886"/>
                </a:moveTo>
                <a:lnTo>
                  <a:pt x="5677483" y="2239468"/>
                </a:lnTo>
                <a:lnTo>
                  <a:pt x="5677483" y="2239467"/>
                </a:lnTo>
                <a:close/>
                <a:moveTo>
                  <a:pt x="4141276" y="2232609"/>
                </a:moveTo>
                <a:lnTo>
                  <a:pt x="4147180" y="2239144"/>
                </a:lnTo>
                <a:lnTo>
                  <a:pt x="4147180" y="2239143"/>
                </a:lnTo>
                <a:close/>
                <a:moveTo>
                  <a:pt x="4849614" y="2232107"/>
                </a:moveTo>
                <a:lnTo>
                  <a:pt x="4851875" y="2232379"/>
                </a:lnTo>
                <a:lnTo>
                  <a:pt x="4849615" y="2232107"/>
                </a:lnTo>
                <a:close/>
                <a:moveTo>
                  <a:pt x="4137414" y="2231672"/>
                </a:moveTo>
                <a:lnTo>
                  <a:pt x="4137414" y="2231673"/>
                </a:lnTo>
                <a:lnTo>
                  <a:pt x="4141212" y="2232539"/>
                </a:lnTo>
                <a:lnTo>
                  <a:pt x="4141212" y="2232538"/>
                </a:lnTo>
                <a:close/>
                <a:moveTo>
                  <a:pt x="4765182" y="2230266"/>
                </a:moveTo>
                <a:lnTo>
                  <a:pt x="4765616" y="2233081"/>
                </a:lnTo>
                <a:lnTo>
                  <a:pt x="4764748" y="2235354"/>
                </a:lnTo>
                <a:lnTo>
                  <a:pt x="4764314" y="2241742"/>
                </a:lnTo>
                <a:lnTo>
                  <a:pt x="4764748" y="2235355"/>
                </a:lnTo>
                <a:lnTo>
                  <a:pt x="4765617" y="2233081"/>
                </a:lnTo>
                <a:close/>
                <a:moveTo>
                  <a:pt x="4765073" y="2228641"/>
                </a:moveTo>
                <a:lnTo>
                  <a:pt x="4762252" y="2231240"/>
                </a:lnTo>
                <a:lnTo>
                  <a:pt x="4759756" y="2230915"/>
                </a:lnTo>
                <a:lnTo>
                  <a:pt x="4759756" y="2230915"/>
                </a:lnTo>
                <a:lnTo>
                  <a:pt x="4762253" y="2231240"/>
                </a:lnTo>
                <a:lnTo>
                  <a:pt x="4765073" y="2228642"/>
                </a:lnTo>
                <a:lnTo>
                  <a:pt x="4765073" y="2228642"/>
                </a:lnTo>
                <a:close/>
                <a:moveTo>
                  <a:pt x="5524148" y="2228534"/>
                </a:moveTo>
                <a:lnTo>
                  <a:pt x="5522629" y="2231565"/>
                </a:lnTo>
                <a:lnTo>
                  <a:pt x="5522630" y="2231564"/>
                </a:lnTo>
                <a:close/>
                <a:moveTo>
                  <a:pt x="4132355" y="2228040"/>
                </a:moveTo>
                <a:lnTo>
                  <a:pt x="4135135" y="2229183"/>
                </a:lnTo>
                <a:lnTo>
                  <a:pt x="4135134" y="2229182"/>
                </a:lnTo>
                <a:close/>
                <a:moveTo>
                  <a:pt x="5538764" y="2227353"/>
                </a:moveTo>
                <a:lnTo>
                  <a:pt x="5538472" y="2230264"/>
                </a:lnTo>
                <a:lnTo>
                  <a:pt x="5538473" y="2230264"/>
                </a:lnTo>
                <a:close/>
                <a:moveTo>
                  <a:pt x="4753570" y="2227126"/>
                </a:moveTo>
                <a:lnTo>
                  <a:pt x="4752377" y="2233622"/>
                </a:lnTo>
                <a:lnTo>
                  <a:pt x="4753617" y="2235809"/>
                </a:lnTo>
                <a:lnTo>
                  <a:pt x="4752378" y="2233622"/>
                </a:lnTo>
                <a:lnTo>
                  <a:pt x="4753571" y="2227126"/>
                </a:lnTo>
                <a:lnTo>
                  <a:pt x="4759322" y="2227126"/>
                </a:lnTo>
                <a:lnTo>
                  <a:pt x="4759343" y="2227308"/>
                </a:lnTo>
                <a:lnTo>
                  <a:pt x="4759322" y="2227126"/>
                </a:lnTo>
                <a:close/>
                <a:moveTo>
                  <a:pt x="3912466" y="2225593"/>
                </a:moveTo>
                <a:lnTo>
                  <a:pt x="3914737" y="2226259"/>
                </a:lnTo>
                <a:lnTo>
                  <a:pt x="3917124" y="2228425"/>
                </a:lnTo>
                <a:lnTo>
                  <a:pt x="3919729" y="2228533"/>
                </a:lnTo>
                <a:lnTo>
                  <a:pt x="3921899" y="2230157"/>
                </a:lnTo>
                <a:lnTo>
                  <a:pt x="3919800" y="2235268"/>
                </a:lnTo>
                <a:lnTo>
                  <a:pt x="3921900" y="2230157"/>
                </a:lnTo>
                <a:lnTo>
                  <a:pt x="3919729" y="2228533"/>
                </a:lnTo>
                <a:lnTo>
                  <a:pt x="3917125" y="2228424"/>
                </a:lnTo>
                <a:lnTo>
                  <a:pt x="3914738" y="2226259"/>
                </a:lnTo>
                <a:close/>
                <a:moveTo>
                  <a:pt x="4204472" y="2225063"/>
                </a:moveTo>
                <a:lnTo>
                  <a:pt x="4205996" y="2226583"/>
                </a:lnTo>
                <a:lnTo>
                  <a:pt x="4202186" y="2232324"/>
                </a:lnTo>
                <a:lnTo>
                  <a:pt x="4205996" y="2226583"/>
                </a:lnTo>
                <a:close/>
                <a:moveTo>
                  <a:pt x="7007897" y="2221170"/>
                </a:moveTo>
                <a:lnTo>
                  <a:pt x="7010827" y="2224743"/>
                </a:lnTo>
                <a:lnTo>
                  <a:pt x="7011696" y="2227991"/>
                </a:lnTo>
                <a:lnTo>
                  <a:pt x="7010502" y="2230048"/>
                </a:lnTo>
                <a:lnTo>
                  <a:pt x="7006378" y="2229398"/>
                </a:lnTo>
                <a:lnTo>
                  <a:pt x="7003665" y="2224635"/>
                </a:lnTo>
                <a:lnTo>
                  <a:pt x="7004858" y="2221711"/>
                </a:lnTo>
                <a:close/>
                <a:moveTo>
                  <a:pt x="4771368" y="2221063"/>
                </a:moveTo>
                <a:lnTo>
                  <a:pt x="4768438" y="2223661"/>
                </a:lnTo>
                <a:lnTo>
                  <a:pt x="4771368" y="2221063"/>
                </a:lnTo>
                <a:lnTo>
                  <a:pt x="4771368" y="2221063"/>
                </a:lnTo>
                <a:close/>
                <a:moveTo>
                  <a:pt x="5039132" y="2220576"/>
                </a:moveTo>
                <a:lnTo>
                  <a:pt x="5040597" y="2221604"/>
                </a:lnTo>
                <a:lnTo>
                  <a:pt x="5045155" y="2230049"/>
                </a:lnTo>
                <a:lnTo>
                  <a:pt x="5049604" y="2232432"/>
                </a:lnTo>
                <a:lnTo>
                  <a:pt x="5054596" y="2243150"/>
                </a:lnTo>
                <a:lnTo>
                  <a:pt x="5054596" y="2243150"/>
                </a:lnTo>
                <a:lnTo>
                  <a:pt x="5049604" y="2232431"/>
                </a:lnTo>
                <a:lnTo>
                  <a:pt x="5045155" y="2230049"/>
                </a:lnTo>
                <a:lnTo>
                  <a:pt x="5040597" y="2221604"/>
                </a:lnTo>
                <a:close/>
                <a:moveTo>
                  <a:pt x="3553594" y="2219546"/>
                </a:moveTo>
                <a:lnTo>
                  <a:pt x="3556089" y="2223444"/>
                </a:lnTo>
                <a:cubicBezTo>
                  <a:pt x="3555104" y="2223970"/>
                  <a:pt x="3554090" y="2224440"/>
                  <a:pt x="3553050" y="2224852"/>
                </a:cubicBezTo>
                <a:lnTo>
                  <a:pt x="3548601" y="2223011"/>
                </a:lnTo>
                <a:lnTo>
                  <a:pt x="3547191" y="2220412"/>
                </a:lnTo>
                <a:close/>
                <a:moveTo>
                  <a:pt x="4119928" y="2214817"/>
                </a:moveTo>
                <a:lnTo>
                  <a:pt x="4121028" y="2215216"/>
                </a:lnTo>
                <a:lnTo>
                  <a:pt x="4121027" y="2215215"/>
                </a:lnTo>
                <a:close/>
                <a:moveTo>
                  <a:pt x="5549433" y="2214566"/>
                </a:moveTo>
                <a:lnTo>
                  <a:pt x="5549433" y="2214567"/>
                </a:lnTo>
                <a:lnTo>
                  <a:pt x="5551277" y="2225177"/>
                </a:lnTo>
                <a:lnTo>
                  <a:pt x="5549763" y="2227381"/>
                </a:lnTo>
                <a:lnTo>
                  <a:pt x="5551278" y="2225176"/>
                </a:lnTo>
                <a:close/>
                <a:moveTo>
                  <a:pt x="1427211" y="2211535"/>
                </a:moveTo>
                <a:lnTo>
                  <a:pt x="1465950" y="2212726"/>
                </a:lnTo>
                <a:lnTo>
                  <a:pt x="1470400" y="2215541"/>
                </a:lnTo>
                <a:lnTo>
                  <a:pt x="1474198" y="2220955"/>
                </a:lnTo>
                <a:lnTo>
                  <a:pt x="1476259" y="2223445"/>
                </a:lnTo>
                <a:lnTo>
                  <a:pt x="1476694" y="2225610"/>
                </a:lnTo>
                <a:lnTo>
                  <a:pt x="1479189" y="2225718"/>
                </a:lnTo>
                <a:lnTo>
                  <a:pt x="1481360" y="2228858"/>
                </a:lnTo>
                <a:lnTo>
                  <a:pt x="1480600" y="2231240"/>
                </a:lnTo>
                <a:lnTo>
                  <a:pt x="1484290" y="2232539"/>
                </a:lnTo>
                <a:lnTo>
                  <a:pt x="1487980" y="2235571"/>
                </a:lnTo>
                <a:lnTo>
                  <a:pt x="1487980" y="2235570"/>
                </a:lnTo>
                <a:lnTo>
                  <a:pt x="1484291" y="2232539"/>
                </a:lnTo>
                <a:lnTo>
                  <a:pt x="1480601" y="2231240"/>
                </a:lnTo>
                <a:lnTo>
                  <a:pt x="1481361" y="2228858"/>
                </a:lnTo>
                <a:lnTo>
                  <a:pt x="1479190" y="2225718"/>
                </a:lnTo>
                <a:lnTo>
                  <a:pt x="1476695" y="2225610"/>
                </a:lnTo>
                <a:lnTo>
                  <a:pt x="1476260" y="2223445"/>
                </a:lnTo>
                <a:lnTo>
                  <a:pt x="1474198" y="2220954"/>
                </a:lnTo>
                <a:lnTo>
                  <a:pt x="1470400" y="2215541"/>
                </a:lnTo>
                <a:lnTo>
                  <a:pt x="1465951" y="2212725"/>
                </a:lnTo>
                <a:close/>
                <a:moveTo>
                  <a:pt x="5009186" y="2209720"/>
                </a:moveTo>
                <a:lnTo>
                  <a:pt x="5010863" y="2210994"/>
                </a:lnTo>
                <a:lnTo>
                  <a:pt x="5010863" y="2210994"/>
                </a:lnTo>
                <a:close/>
                <a:moveTo>
                  <a:pt x="5017374" y="2208937"/>
                </a:moveTo>
                <a:lnTo>
                  <a:pt x="5035171" y="2220630"/>
                </a:lnTo>
                <a:lnTo>
                  <a:pt x="5037667" y="2219547"/>
                </a:lnTo>
                <a:lnTo>
                  <a:pt x="5037667" y="2219547"/>
                </a:lnTo>
                <a:lnTo>
                  <a:pt x="5035171" y="2220629"/>
                </a:lnTo>
                <a:lnTo>
                  <a:pt x="5017375" y="2208937"/>
                </a:lnTo>
                <a:close/>
                <a:moveTo>
                  <a:pt x="7013865" y="2208611"/>
                </a:moveTo>
                <a:lnTo>
                  <a:pt x="7016577" y="2210885"/>
                </a:lnTo>
                <a:lnTo>
                  <a:pt x="7017011" y="2214891"/>
                </a:lnTo>
                <a:lnTo>
                  <a:pt x="7015926" y="2218139"/>
                </a:lnTo>
                <a:lnTo>
                  <a:pt x="7014732" y="2219438"/>
                </a:lnTo>
                <a:lnTo>
                  <a:pt x="7013756" y="2211750"/>
                </a:lnTo>
                <a:close/>
                <a:moveTo>
                  <a:pt x="5691265" y="2205579"/>
                </a:moveTo>
                <a:lnTo>
                  <a:pt x="5685513" y="2207744"/>
                </a:lnTo>
                <a:lnTo>
                  <a:pt x="5678243" y="2206229"/>
                </a:lnTo>
                <a:lnTo>
                  <a:pt x="5677964" y="2205652"/>
                </a:lnTo>
                <a:lnTo>
                  <a:pt x="5678243" y="2206229"/>
                </a:lnTo>
                <a:lnTo>
                  <a:pt x="5685513" y="2207744"/>
                </a:lnTo>
                <a:close/>
                <a:moveTo>
                  <a:pt x="4767352" y="2203739"/>
                </a:moveTo>
                <a:lnTo>
                  <a:pt x="4766050" y="2206554"/>
                </a:lnTo>
                <a:lnTo>
                  <a:pt x="4764856" y="2212617"/>
                </a:lnTo>
                <a:lnTo>
                  <a:pt x="4763554" y="2219655"/>
                </a:lnTo>
                <a:lnTo>
                  <a:pt x="4764531" y="2223877"/>
                </a:lnTo>
                <a:lnTo>
                  <a:pt x="4765616" y="2225934"/>
                </a:lnTo>
                <a:lnTo>
                  <a:pt x="4764965" y="2225934"/>
                </a:lnTo>
                <a:lnTo>
                  <a:pt x="4764965" y="2225935"/>
                </a:lnTo>
                <a:lnTo>
                  <a:pt x="4765092" y="2225942"/>
                </a:lnTo>
                <a:lnTo>
                  <a:pt x="4764966" y="2225935"/>
                </a:lnTo>
                <a:lnTo>
                  <a:pt x="4765616" y="2225935"/>
                </a:lnTo>
                <a:lnTo>
                  <a:pt x="4766787" y="2226042"/>
                </a:lnTo>
                <a:lnTo>
                  <a:pt x="4766810" y="2226043"/>
                </a:lnTo>
                <a:lnTo>
                  <a:pt x="4766810" y="2226043"/>
                </a:lnTo>
                <a:lnTo>
                  <a:pt x="4765617" y="2225935"/>
                </a:lnTo>
                <a:lnTo>
                  <a:pt x="4764532" y="2223877"/>
                </a:lnTo>
                <a:lnTo>
                  <a:pt x="4763555" y="2219655"/>
                </a:lnTo>
                <a:lnTo>
                  <a:pt x="4764857" y="2212617"/>
                </a:lnTo>
                <a:lnTo>
                  <a:pt x="4766050" y="2206554"/>
                </a:lnTo>
                <a:lnTo>
                  <a:pt x="4767353" y="2203739"/>
                </a:lnTo>
                <a:close/>
                <a:moveTo>
                  <a:pt x="4767570" y="2203739"/>
                </a:moveTo>
                <a:lnTo>
                  <a:pt x="4768872" y="2205471"/>
                </a:lnTo>
                <a:lnTo>
                  <a:pt x="4772235" y="2208827"/>
                </a:lnTo>
                <a:lnTo>
                  <a:pt x="4772235" y="2208827"/>
                </a:lnTo>
                <a:lnTo>
                  <a:pt x="4768872" y="2205470"/>
                </a:lnTo>
                <a:close/>
                <a:moveTo>
                  <a:pt x="5005329" y="2202549"/>
                </a:moveTo>
                <a:lnTo>
                  <a:pt x="5006740" y="2204281"/>
                </a:lnTo>
                <a:lnTo>
                  <a:pt x="5006332" y="2205655"/>
                </a:lnTo>
                <a:lnTo>
                  <a:pt x="5006740" y="2204281"/>
                </a:lnTo>
                <a:close/>
                <a:moveTo>
                  <a:pt x="5779272" y="2198974"/>
                </a:moveTo>
                <a:lnTo>
                  <a:pt x="5779271" y="2198975"/>
                </a:lnTo>
                <a:lnTo>
                  <a:pt x="5783285" y="2200274"/>
                </a:lnTo>
                <a:lnTo>
                  <a:pt x="5784154" y="2203630"/>
                </a:lnTo>
                <a:lnTo>
                  <a:pt x="5784155" y="2203629"/>
                </a:lnTo>
                <a:lnTo>
                  <a:pt x="5783287" y="2200274"/>
                </a:lnTo>
                <a:close/>
                <a:moveTo>
                  <a:pt x="4183859" y="2194969"/>
                </a:moveTo>
                <a:lnTo>
                  <a:pt x="4188200" y="2194969"/>
                </a:lnTo>
                <a:lnTo>
                  <a:pt x="4190045" y="2197134"/>
                </a:lnTo>
                <a:lnTo>
                  <a:pt x="4187006" y="2199624"/>
                </a:lnTo>
                <a:lnTo>
                  <a:pt x="4183208" y="2196701"/>
                </a:lnTo>
                <a:close/>
                <a:moveTo>
                  <a:pt x="5750696" y="2192746"/>
                </a:moveTo>
                <a:lnTo>
                  <a:pt x="5754095" y="2194102"/>
                </a:lnTo>
                <a:lnTo>
                  <a:pt x="5756591" y="2200706"/>
                </a:lnTo>
                <a:lnTo>
                  <a:pt x="5756592" y="2200706"/>
                </a:lnTo>
                <a:lnTo>
                  <a:pt x="5754096" y="2194102"/>
                </a:lnTo>
                <a:close/>
                <a:moveTo>
                  <a:pt x="6777516" y="2191396"/>
                </a:moveTo>
                <a:lnTo>
                  <a:pt x="6783268" y="2192371"/>
                </a:lnTo>
                <a:lnTo>
                  <a:pt x="6785437" y="2193778"/>
                </a:lnTo>
                <a:lnTo>
                  <a:pt x="6789452" y="2193453"/>
                </a:lnTo>
                <a:lnTo>
                  <a:pt x="6789995" y="2198543"/>
                </a:lnTo>
                <a:lnTo>
                  <a:pt x="6784895" y="2196269"/>
                </a:lnTo>
                <a:lnTo>
                  <a:pt x="6779795" y="2196160"/>
                </a:lnTo>
                <a:lnTo>
                  <a:pt x="6776973" y="2193237"/>
                </a:lnTo>
                <a:close/>
                <a:moveTo>
                  <a:pt x="5001600" y="2191065"/>
                </a:moveTo>
                <a:lnTo>
                  <a:pt x="5002182" y="2193129"/>
                </a:lnTo>
                <a:lnTo>
                  <a:pt x="5007608" y="2197568"/>
                </a:lnTo>
                <a:lnTo>
                  <a:pt x="5006732" y="2199482"/>
                </a:lnTo>
                <a:lnTo>
                  <a:pt x="5007608" y="2197568"/>
                </a:lnTo>
                <a:lnTo>
                  <a:pt x="5002182" y="2193129"/>
                </a:lnTo>
                <a:close/>
                <a:moveTo>
                  <a:pt x="4995997" y="2188581"/>
                </a:moveTo>
                <a:lnTo>
                  <a:pt x="4995997" y="2188582"/>
                </a:lnTo>
                <a:lnTo>
                  <a:pt x="5001205" y="2189665"/>
                </a:lnTo>
                <a:lnTo>
                  <a:pt x="5001205" y="2189664"/>
                </a:lnTo>
                <a:close/>
                <a:moveTo>
                  <a:pt x="5354861" y="2183926"/>
                </a:moveTo>
                <a:lnTo>
                  <a:pt x="5347483" y="2193129"/>
                </a:lnTo>
                <a:lnTo>
                  <a:pt x="5346289" y="2199300"/>
                </a:lnTo>
                <a:lnTo>
                  <a:pt x="5352692" y="2211643"/>
                </a:lnTo>
                <a:lnTo>
                  <a:pt x="5356164" y="2222795"/>
                </a:lnTo>
                <a:lnTo>
                  <a:pt x="5354428" y="2226043"/>
                </a:lnTo>
                <a:lnTo>
                  <a:pt x="5356815" y="2230374"/>
                </a:lnTo>
                <a:lnTo>
                  <a:pt x="5357466" y="2239144"/>
                </a:lnTo>
                <a:lnTo>
                  <a:pt x="5357467" y="2239144"/>
                </a:lnTo>
                <a:lnTo>
                  <a:pt x="5356816" y="2230373"/>
                </a:lnTo>
                <a:lnTo>
                  <a:pt x="5354429" y="2226043"/>
                </a:lnTo>
                <a:lnTo>
                  <a:pt x="5356165" y="2222795"/>
                </a:lnTo>
                <a:lnTo>
                  <a:pt x="5352692" y="2211643"/>
                </a:lnTo>
                <a:lnTo>
                  <a:pt x="5346290" y="2199300"/>
                </a:lnTo>
                <a:lnTo>
                  <a:pt x="5347484" y="2193129"/>
                </a:lnTo>
                <a:lnTo>
                  <a:pt x="5354862" y="2183926"/>
                </a:lnTo>
                <a:close/>
                <a:moveTo>
                  <a:pt x="1276698" y="2177105"/>
                </a:moveTo>
                <a:lnTo>
                  <a:pt x="1277891" y="2179162"/>
                </a:lnTo>
                <a:lnTo>
                  <a:pt x="1277023" y="2181003"/>
                </a:lnTo>
                <a:lnTo>
                  <a:pt x="1358411" y="2218139"/>
                </a:lnTo>
                <a:lnTo>
                  <a:pt x="1426776" y="2220196"/>
                </a:lnTo>
                <a:lnTo>
                  <a:pt x="1358411" y="2218139"/>
                </a:lnTo>
                <a:lnTo>
                  <a:pt x="1277023" y="2181003"/>
                </a:lnTo>
                <a:lnTo>
                  <a:pt x="1277892" y="2179162"/>
                </a:lnTo>
                <a:close/>
                <a:moveTo>
                  <a:pt x="3903235" y="2175047"/>
                </a:moveTo>
                <a:lnTo>
                  <a:pt x="3903669" y="2182735"/>
                </a:lnTo>
                <a:lnTo>
                  <a:pt x="3903560" y="2192046"/>
                </a:lnTo>
                <a:lnTo>
                  <a:pt x="3904537" y="2195835"/>
                </a:lnTo>
                <a:lnTo>
                  <a:pt x="3906490" y="2213484"/>
                </a:lnTo>
                <a:lnTo>
                  <a:pt x="3909854" y="2220521"/>
                </a:lnTo>
                <a:lnTo>
                  <a:pt x="3911048" y="2225176"/>
                </a:lnTo>
                <a:lnTo>
                  <a:pt x="3911048" y="2225177"/>
                </a:lnTo>
                <a:lnTo>
                  <a:pt x="3909855" y="2220521"/>
                </a:lnTo>
                <a:lnTo>
                  <a:pt x="3906490" y="2213483"/>
                </a:lnTo>
                <a:lnTo>
                  <a:pt x="3904537" y="2195835"/>
                </a:lnTo>
                <a:lnTo>
                  <a:pt x="3903560" y="2192046"/>
                </a:lnTo>
                <a:lnTo>
                  <a:pt x="3903669" y="2182735"/>
                </a:lnTo>
                <a:close/>
                <a:moveTo>
                  <a:pt x="5557138" y="2168659"/>
                </a:moveTo>
                <a:lnTo>
                  <a:pt x="5557137" y="2168659"/>
                </a:lnTo>
                <a:lnTo>
                  <a:pt x="5559742" y="2174831"/>
                </a:lnTo>
                <a:lnTo>
                  <a:pt x="5564733" y="2177646"/>
                </a:lnTo>
                <a:lnTo>
                  <a:pt x="5567772" y="2184142"/>
                </a:lnTo>
                <a:lnTo>
                  <a:pt x="5566919" y="2187376"/>
                </a:lnTo>
                <a:lnTo>
                  <a:pt x="5567773" y="2184142"/>
                </a:lnTo>
                <a:lnTo>
                  <a:pt x="5564734" y="2177645"/>
                </a:lnTo>
                <a:lnTo>
                  <a:pt x="5559742" y="2174830"/>
                </a:lnTo>
                <a:close/>
                <a:moveTo>
                  <a:pt x="6981418" y="2165845"/>
                </a:moveTo>
                <a:lnTo>
                  <a:pt x="6982829" y="2166495"/>
                </a:lnTo>
                <a:lnTo>
                  <a:pt x="6981093" y="2169418"/>
                </a:lnTo>
                <a:lnTo>
                  <a:pt x="6979574" y="2167902"/>
                </a:lnTo>
                <a:close/>
                <a:moveTo>
                  <a:pt x="5583652" y="2163786"/>
                </a:moveTo>
                <a:lnTo>
                  <a:pt x="5580577" y="2168334"/>
                </a:lnTo>
                <a:lnTo>
                  <a:pt x="5580578" y="2168334"/>
                </a:lnTo>
                <a:close/>
                <a:moveTo>
                  <a:pt x="4130230" y="2162599"/>
                </a:moveTo>
                <a:lnTo>
                  <a:pt x="4132639" y="2165086"/>
                </a:lnTo>
                <a:lnTo>
                  <a:pt x="4132639" y="2165086"/>
                </a:lnTo>
                <a:close/>
                <a:moveTo>
                  <a:pt x="4887263" y="2161405"/>
                </a:moveTo>
                <a:lnTo>
                  <a:pt x="4883465" y="2166926"/>
                </a:lnTo>
                <a:lnTo>
                  <a:pt x="4881295" y="2170607"/>
                </a:lnTo>
                <a:lnTo>
                  <a:pt x="4838756" y="2200815"/>
                </a:lnTo>
                <a:lnTo>
                  <a:pt x="4838648" y="2201031"/>
                </a:lnTo>
                <a:lnTo>
                  <a:pt x="4791551" y="2230590"/>
                </a:lnTo>
                <a:lnTo>
                  <a:pt x="4788187" y="2228532"/>
                </a:lnTo>
                <a:lnTo>
                  <a:pt x="4786451" y="2228532"/>
                </a:lnTo>
                <a:lnTo>
                  <a:pt x="4781676" y="2224743"/>
                </a:lnTo>
                <a:lnTo>
                  <a:pt x="4773755" y="2221278"/>
                </a:lnTo>
                <a:lnTo>
                  <a:pt x="4773736" y="2221277"/>
                </a:lnTo>
                <a:lnTo>
                  <a:pt x="4773755" y="2221279"/>
                </a:lnTo>
                <a:lnTo>
                  <a:pt x="4773744" y="2221278"/>
                </a:lnTo>
                <a:lnTo>
                  <a:pt x="4773755" y="2221279"/>
                </a:lnTo>
                <a:lnTo>
                  <a:pt x="4781677" y="2224744"/>
                </a:lnTo>
                <a:lnTo>
                  <a:pt x="4786451" y="2228534"/>
                </a:lnTo>
                <a:lnTo>
                  <a:pt x="4788188" y="2228534"/>
                </a:lnTo>
                <a:lnTo>
                  <a:pt x="4791551" y="2230591"/>
                </a:lnTo>
                <a:lnTo>
                  <a:pt x="4838648" y="2201033"/>
                </a:lnTo>
                <a:lnTo>
                  <a:pt x="4838648" y="2201033"/>
                </a:lnTo>
                <a:lnTo>
                  <a:pt x="4838756" y="2200816"/>
                </a:lnTo>
                <a:lnTo>
                  <a:pt x="4881295" y="2170609"/>
                </a:lnTo>
                <a:lnTo>
                  <a:pt x="4883465" y="2166927"/>
                </a:lnTo>
                <a:lnTo>
                  <a:pt x="4887263" y="2161406"/>
                </a:lnTo>
                <a:close/>
                <a:moveTo>
                  <a:pt x="6984675" y="2156316"/>
                </a:moveTo>
                <a:lnTo>
                  <a:pt x="6986411" y="2157290"/>
                </a:lnTo>
                <a:lnTo>
                  <a:pt x="6985977" y="2160213"/>
                </a:lnTo>
                <a:lnTo>
                  <a:pt x="6983589" y="2160430"/>
                </a:lnTo>
                <a:lnTo>
                  <a:pt x="6983264" y="2157832"/>
                </a:lnTo>
                <a:close/>
                <a:moveTo>
                  <a:pt x="6977729" y="2155559"/>
                </a:moveTo>
                <a:lnTo>
                  <a:pt x="6978813" y="2155775"/>
                </a:lnTo>
                <a:lnTo>
                  <a:pt x="6978922" y="2157291"/>
                </a:lnTo>
                <a:lnTo>
                  <a:pt x="6981526" y="2161838"/>
                </a:lnTo>
                <a:lnTo>
                  <a:pt x="6980550" y="2165736"/>
                </a:lnTo>
                <a:lnTo>
                  <a:pt x="6978380" y="2165736"/>
                </a:lnTo>
                <a:lnTo>
                  <a:pt x="6976643" y="2162379"/>
                </a:lnTo>
                <a:lnTo>
                  <a:pt x="6975884" y="2157832"/>
                </a:lnTo>
                <a:close/>
                <a:moveTo>
                  <a:pt x="4995454" y="2155126"/>
                </a:moveTo>
                <a:lnTo>
                  <a:pt x="4994586" y="2162488"/>
                </a:lnTo>
                <a:lnTo>
                  <a:pt x="4992090" y="2164762"/>
                </a:lnTo>
                <a:lnTo>
                  <a:pt x="4991873" y="2173532"/>
                </a:lnTo>
                <a:lnTo>
                  <a:pt x="4990462" y="2176780"/>
                </a:lnTo>
                <a:lnTo>
                  <a:pt x="4992090" y="2179162"/>
                </a:lnTo>
                <a:lnTo>
                  <a:pt x="4990710" y="2180999"/>
                </a:lnTo>
                <a:lnTo>
                  <a:pt x="4992091" y="2179162"/>
                </a:lnTo>
                <a:lnTo>
                  <a:pt x="4990463" y="2176780"/>
                </a:lnTo>
                <a:lnTo>
                  <a:pt x="4991873" y="2173532"/>
                </a:lnTo>
                <a:lnTo>
                  <a:pt x="4992091" y="2164762"/>
                </a:lnTo>
                <a:lnTo>
                  <a:pt x="4994586" y="2162489"/>
                </a:lnTo>
                <a:lnTo>
                  <a:pt x="4995454" y="2155126"/>
                </a:lnTo>
                <a:close/>
                <a:moveTo>
                  <a:pt x="5340430" y="2155126"/>
                </a:moveTo>
                <a:lnTo>
                  <a:pt x="5340429" y="2155126"/>
                </a:lnTo>
                <a:lnTo>
                  <a:pt x="5342491" y="2158374"/>
                </a:lnTo>
                <a:lnTo>
                  <a:pt x="5346506" y="2161405"/>
                </a:lnTo>
                <a:lnTo>
                  <a:pt x="5342057" y="2167793"/>
                </a:lnTo>
                <a:lnTo>
                  <a:pt x="5343142" y="2168876"/>
                </a:lnTo>
                <a:lnTo>
                  <a:pt x="5344770" y="2177430"/>
                </a:lnTo>
                <a:lnTo>
                  <a:pt x="5344770" y="2182085"/>
                </a:lnTo>
                <a:lnTo>
                  <a:pt x="5344771" y="2182085"/>
                </a:lnTo>
                <a:lnTo>
                  <a:pt x="5344771" y="2177429"/>
                </a:lnTo>
                <a:lnTo>
                  <a:pt x="5343143" y="2168876"/>
                </a:lnTo>
                <a:lnTo>
                  <a:pt x="5342058" y="2167794"/>
                </a:lnTo>
                <a:lnTo>
                  <a:pt x="5346507" y="2161406"/>
                </a:lnTo>
                <a:lnTo>
                  <a:pt x="5342492" y="2158374"/>
                </a:lnTo>
                <a:close/>
                <a:moveTo>
                  <a:pt x="4129675" y="2149932"/>
                </a:moveTo>
                <a:lnTo>
                  <a:pt x="4130035" y="2151445"/>
                </a:lnTo>
                <a:lnTo>
                  <a:pt x="4132170" y="2153869"/>
                </a:lnTo>
                <a:lnTo>
                  <a:pt x="4130035" y="2151444"/>
                </a:lnTo>
                <a:close/>
                <a:moveTo>
                  <a:pt x="5639937" y="2149147"/>
                </a:moveTo>
                <a:lnTo>
                  <a:pt x="5640044" y="2156424"/>
                </a:lnTo>
                <a:lnTo>
                  <a:pt x="5644386" y="2163462"/>
                </a:lnTo>
                <a:lnTo>
                  <a:pt x="5648183" y="2179703"/>
                </a:lnTo>
                <a:lnTo>
                  <a:pt x="5649377" y="2186740"/>
                </a:lnTo>
                <a:lnTo>
                  <a:pt x="5657950" y="2194535"/>
                </a:lnTo>
                <a:lnTo>
                  <a:pt x="5666956" y="2196701"/>
                </a:lnTo>
                <a:lnTo>
                  <a:pt x="5668881" y="2197499"/>
                </a:lnTo>
                <a:lnTo>
                  <a:pt x="5666956" y="2196701"/>
                </a:lnTo>
                <a:lnTo>
                  <a:pt x="5657951" y="2194535"/>
                </a:lnTo>
                <a:lnTo>
                  <a:pt x="5649377" y="2186740"/>
                </a:lnTo>
                <a:lnTo>
                  <a:pt x="5648183" y="2179702"/>
                </a:lnTo>
                <a:lnTo>
                  <a:pt x="5644386" y="2163462"/>
                </a:lnTo>
                <a:lnTo>
                  <a:pt x="5640045" y="2156424"/>
                </a:lnTo>
                <a:close/>
                <a:moveTo>
                  <a:pt x="6948321" y="2148088"/>
                </a:moveTo>
                <a:lnTo>
                  <a:pt x="6948647" y="2150903"/>
                </a:lnTo>
                <a:lnTo>
                  <a:pt x="6951468" y="2152419"/>
                </a:lnTo>
                <a:lnTo>
                  <a:pt x="6953096" y="2155667"/>
                </a:lnTo>
                <a:lnTo>
                  <a:pt x="6950383" y="2157941"/>
                </a:lnTo>
                <a:lnTo>
                  <a:pt x="6947236" y="2157508"/>
                </a:lnTo>
                <a:lnTo>
                  <a:pt x="6945608" y="2152419"/>
                </a:lnTo>
                <a:lnTo>
                  <a:pt x="6945825" y="2149279"/>
                </a:lnTo>
                <a:close/>
                <a:moveTo>
                  <a:pt x="5643843" y="2147330"/>
                </a:moveTo>
                <a:lnTo>
                  <a:pt x="5639936" y="2149061"/>
                </a:lnTo>
                <a:lnTo>
                  <a:pt x="5639936" y="2149062"/>
                </a:lnTo>
                <a:close/>
                <a:moveTo>
                  <a:pt x="6950708" y="2145706"/>
                </a:moveTo>
                <a:lnTo>
                  <a:pt x="6954072" y="2146247"/>
                </a:lnTo>
                <a:lnTo>
                  <a:pt x="6951251" y="2147872"/>
                </a:lnTo>
                <a:close/>
                <a:moveTo>
                  <a:pt x="5352692" y="2145273"/>
                </a:moveTo>
                <a:lnTo>
                  <a:pt x="5351498" y="2146464"/>
                </a:lnTo>
                <a:lnTo>
                  <a:pt x="5351823" y="2149604"/>
                </a:lnTo>
                <a:lnTo>
                  <a:pt x="5345638" y="2153718"/>
                </a:lnTo>
                <a:lnTo>
                  <a:pt x="5342051" y="2154688"/>
                </a:lnTo>
                <a:lnTo>
                  <a:pt x="5345639" y="2153718"/>
                </a:lnTo>
                <a:lnTo>
                  <a:pt x="5351824" y="2149604"/>
                </a:lnTo>
                <a:lnTo>
                  <a:pt x="5351499" y="2146464"/>
                </a:lnTo>
                <a:close/>
                <a:moveTo>
                  <a:pt x="4482713" y="2144840"/>
                </a:moveTo>
                <a:lnTo>
                  <a:pt x="4483798" y="2145165"/>
                </a:lnTo>
                <a:lnTo>
                  <a:pt x="4484666" y="2148738"/>
                </a:lnTo>
                <a:lnTo>
                  <a:pt x="4488247" y="2148521"/>
                </a:lnTo>
                <a:lnTo>
                  <a:pt x="4489658" y="2147330"/>
                </a:lnTo>
                <a:lnTo>
                  <a:pt x="4488464" y="2147005"/>
                </a:lnTo>
                <a:lnTo>
                  <a:pt x="4487704" y="2145165"/>
                </a:lnTo>
                <a:lnTo>
                  <a:pt x="4491394" y="2144840"/>
                </a:lnTo>
                <a:lnTo>
                  <a:pt x="4493130" y="2147763"/>
                </a:lnTo>
                <a:lnTo>
                  <a:pt x="4491177" y="2149495"/>
                </a:lnTo>
                <a:lnTo>
                  <a:pt x="4493999" y="2149171"/>
                </a:lnTo>
                <a:lnTo>
                  <a:pt x="4495735" y="2151011"/>
                </a:lnTo>
                <a:lnTo>
                  <a:pt x="4499425" y="2152960"/>
                </a:lnTo>
                <a:lnTo>
                  <a:pt x="4503656" y="2151769"/>
                </a:lnTo>
                <a:lnTo>
                  <a:pt x="4509299" y="2148305"/>
                </a:lnTo>
                <a:lnTo>
                  <a:pt x="4516027" y="2147979"/>
                </a:lnTo>
                <a:lnTo>
                  <a:pt x="4521128" y="2150254"/>
                </a:lnTo>
                <a:lnTo>
                  <a:pt x="4527638" y="2151120"/>
                </a:lnTo>
                <a:lnTo>
                  <a:pt x="4529917" y="2151011"/>
                </a:lnTo>
                <a:lnTo>
                  <a:pt x="4531219" y="2154151"/>
                </a:lnTo>
                <a:lnTo>
                  <a:pt x="4530677" y="2156317"/>
                </a:lnTo>
                <a:lnTo>
                  <a:pt x="4533172" y="2156750"/>
                </a:lnTo>
                <a:lnTo>
                  <a:pt x="4535669" y="2155775"/>
                </a:lnTo>
                <a:lnTo>
                  <a:pt x="4537730" y="2157616"/>
                </a:lnTo>
                <a:lnTo>
                  <a:pt x="4540660" y="2155126"/>
                </a:lnTo>
                <a:lnTo>
                  <a:pt x="4540768" y="2152744"/>
                </a:lnTo>
                <a:lnTo>
                  <a:pt x="4542071" y="2150903"/>
                </a:lnTo>
                <a:lnTo>
                  <a:pt x="4542071" y="2152960"/>
                </a:lnTo>
                <a:lnTo>
                  <a:pt x="4542939" y="2156208"/>
                </a:lnTo>
                <a:lnTo>
                  <a:pt x="4541420" y="2159565"/>
                </a:lnTo>
                <a:lnTo>
                  <a:pt x="4537947" y="2161730"/>
                </a:lnTo>
                <a:lnTo>
                  <a:pt x="4531979" y="2161513"/>
                </a:lnTo>
                <a:lnTo>
                  <a:pt x="4523081" y="2161838"/>
                </a:lnTo>
                <a:lnTo>
                  <a:pt x="4517655" y="2161297"/>
                </a:lnTo>
                <a:lnTo>
                  <a:pt x="4512663" y="2164437"/>
                </a:lnTo>
                <a:lnTo>
                  <a:pt x="4506694" y="2164654"/>
                </a:lnTo>
                <a:lnTo>
                  <a:pt x="4506152" y="2161513"/>
                </a:lnTo>
                <a:lnTo>
                  <a:pt x="4500943" y="2158482"/>
                </a:lnTo>
                <a:lnTo>
                  <a:pt x="4496168" y="2157183"/>
                </a:lnTo>
                <a:lnTo>
                  <a:pt x="4493022" y="2158265"/>
                </a:lnTo>
                <a:lnTo>
                  <a:pt x="4489766" y="2157399"/>
                </a:lnTo>
                <a:lnTo>
                  <a:pt x="4481736" y="2158374"/>
                </a:lnTo>
                <a:lnTo>
                  <a:pt x="4478263" y="2156858"/>
                </a:lnTo>
                <a:lnTo>
                  <a:pt x="4477830" y="2153285"/>
                </a:lnTo>
                <a:lnTo>
                  <a:pt x="4479349" y="2150254"/>
                </a:lnTo>
                <a:lnTo>
                  <a:pt x="4479566" y="2146897"/>
                </a:lnTo>
                <a:lnTo>
                  <a:pt x="4481085" y="2149820"/>
                </a:lnTo>
                <a:lnTo>
                  <a:pt x="4482929" y="2149171"/>
                </a:lnTo>
                <a:lnTo>
                  <a:pt x="4482279" y="2146789"/>
                </a:lnTo>
                <a:close/>
                <a:moveTo>
                  <a:pt x="5583897" y="2143106"/>
                </a:moveTo>
                <a:lnTo>
                  <a:pt x="5580902" y="2147005"/>
                </a:lnTo>
                <a:lnTo>
                  <a:pt x="5586871" y="2152527"/>
                </a:lnTo>
                <a:lnTo>
                  <a:pt x="5586871" y="2152526"/>
                </a:lnTo>
                <a:lnTo>
                  <a:pt x="5580903" y="2147004"/>
                </a:lnTo>
                <a:close/>
                <a:moveTo>
                  <a:pt x="6956460" y="2142783"/>
                </a:moveTo>
                <a:lnTo>
                  <a:pt x="6955591" y="2144083"/>
                </a:lnTo>
                <a:lnTo>
                  <a:pt x="6953638" y="2143216"/>
                </a:lnTo>
                <a:close/>
                <a:moveTo>
                  <a:pt x="4733604" y="2142025"/>
                </a:moveTo>
                <a:lnTo>
                  <a:pt x="4734906" y="2143324"/>
                </a:lnTo>
                <a:lnTo>
                  <a:pt x="4732411" y="2145273"/>
                </a:lnTo>
                <a:lnTo>
                  <a:pt x="4726876" y="2148737"/>
                </a:lnTo>
                <a:lnTo>
                  <a:pt x="4721559" y="2154909"/>
                </a:lnTo>
                <a:lnTo>
                  <a:pt x="4723403" y="2159131"/>
                </a:lnTo>
                <a:lnTo>
                  <a:pt x="4723078" y="2163679"/>
                </a:lnTo>
                <a:lnTo>
                  <a:pt x="4716676" y="2162921"/>
                </a:lnTo>
                <a:lnTo>
                  <a:pt x="4713095" y="2164654"/>
                </a:lnTo>
                <a:lnTo>
                  <a:pt x="4708103" y="2169309"/>
                </a:lnTo>
                <a:lnTo>
                  <a:pt x="4702569" y="2170500"/>
                </a:lnTo>
                <a:lnTo>
                  <a:pt x="4699856" y="2172774"/>
                </a:lnTo>
                <a:lnTo>
                  <a:pt x="4697034" y="2171041"/>
                </a:lnTo>
                <a:lnTo>
                  <a:pt x="4690523" y="2171367"/>
                </a:lnTo>
                <a:lnTo>
                  <a:pt x="4684989" y="2168118"/>
                </a:lnTo>
                <a:lnTo>
                  <a:pt x="4681842" y="2163679"/>
                </a:lnTo>
                <a:lnTo>
                  <a:pt x="4681842" y="2158266"/>
                </a:lnTo>
                <a:lnTo>
                  <a:pt x="4684664" y="2157616"/>
                </a:lnTo>
                <a:lnTo>
                  <a:pt x="4687593" y="2154151"/>
                </a:lnTo>
                <a:lnTo>
                  <a:pt x="4692259" y="2156100"/>
                </a:lnTo>
                <a:lnTo>
                  <a:pt x="4695515" y="2155017"/>
                </a:lnTo>
                <a:lnTo>
                  <a:pt x="4696926" y="2151986"/>
                </a:lnTo>
                <a:lnTo>
                  <a:pt x="4697034" y="2148846"/>
                </a:lnTo>
                <a:lnTo>
                  <a:pt x="4701700" y="2148846"/>
                </a:lnTo>
                <a:lnTo>
                  <a:pt x="4706475" y="2151228"/>
                </a:lnTo>
                <a:lnTo>
                  <a:pt x="4712769" y="2150903"/>
                </a:lnTo>
                <a:lnTo>
                  <a:pt x="4723403" y="2146789"/>
                </a:lnTo>
                <a:lnTo>
                  <a:pt x="4730783" y="2142133"/>
                </a:lnTo>
                <a:close/>
                <a:moveTo>
                  <a:pt x="4999457" y="2141689"/>
                </a:moveTo>
                <a:lnTo>
                  <a:pt x="4999686" y="2144299"/>
                </a:lnTo>
                <a:lnTo>
                  <a:pt x="5001531" y="2145490"/>
                </a:lnTo>
                <a:lnTo>
                  <a:pt x="5001531" y="2145490"/>
                </a:lnTo>
                <a:lnTo>
                  <a:pt x="4999687" y="2144299"/>
                </a:lnTo>
                <a:close/>
                <a:moveTo>
                  <a:pt x="4561063" y="2141592"/>
                </a:moveTo>
                <a:lnTo>
                  <a:pt x="4561714" y="2144407"/>
                </a:lnTo>
                <a:lnTo>
                  <a:pt x="4563993" y="2147439"/>
                </a:lnTo>
                <a:lnTo>
                  <a:pt x="4562257" y="2151877"/>
                </a:lnTo>
                <a:lnTo>
                  <a:pt x="4560737" y="2152527"/>
                </a:lnTo>
                <a:lnTo>
                  <a:pt x="4559977" y="2147763"/>
                </a:lnTo>
                <a:lnTo>
                  <a:pt x="4558567" y="2144840"/>
                </a:lnTo>
                <a:close/>
                <a:moveTo>
                  <a:pt x="6956459" y="2140401"/>
                </a:moveTo>
                <a:lnTo>
                  <a:pt x="6958087" y="2140617"/>
                </a:lnTo>
                <a:lnTo>
                  <a:pt x="6957327" y="2141701"/>
                </a:lnTo>
                <a:close/>
                <a:moveTo>
                  <a:pt x="4264271" y="2138669"/>
                </a:moveTo>
                <a:lnTo>
                  <a:pt x="4271433" y="2139752"/>
                </a:lnTo>
                <a:lnTo>
                  <a:pt x="4271541" y="2143432"/>
                </a:lnTo>
                <a:lnTo>
                  <a:pt x="4268937" y="2146140"/>
                </a:lnTo>
                <a:lnTo>
                  <a:pt x="4264054" y="2142134"/>
                </a:lnTo>
                <a:close/>
                <a:moveTo>
                  <a:pt x="5000415" y="2137835"/>
                </a:moveTo>
                <a:lnTo>
                  <a:pt x="4999144" y="2138127"/>
                </a:lnTo>
                <a:lnTo>
                  <a:pt x="4999144" y="2138128"/>
                </a:lnTo>
                <a:close/>
                <a:moveTo>
                  <a:pt x="4562365" y="2137261"/>
                </a:moveTo>
                <a:lnTo>
                  <a:pt x="4562365" y="2139534"/>
                </a:lnTo>
                <a:lnTo>
                  <a:pt x="4561823" y="2140401"/>
                </a:lnTo>
                <a:lnTo>
                  <a:pt x="4561063" y="2139318"/>
                </a:lnTo>
                <a:close/>
                <a:moveTo>
                  <a:pt x="6958956" y="2136287"/>
                </a:moveTo>
                <a:lnTo>
                  <a:pt x="6961885" y="2138236"/>
                </a:lnTo>
                <a:lnTo>
                  <a:pt x="6960258" y="2139211"/>
                </a:lnTo>
                <a:lnTo>
                  <a:pt x="6957761" y="2137261"/>
                </a:lnTo>
                <a:lnTo>
                  <a:pt x="6957545" y="2136395"/>
                </a:lnTo>
                <a:close/>
                <a:moveTo>
                  <a:pt x="5007002" y="2135677"/>
                </a:moveTo>
                <a:lnTo>
                  <a:pt x="5006632" y="2135962"/>
                </a:lnTo>
                <a:lnTo>
                  <a:pt x="5003183" y="2137082"/>
                </a:lnTo>
                <a:lnTo>
                  <a:pt x="5006631" y="2135962"/>
                </a:lnTo>
                <a:close/>
                <a:moveTo>
                  <a:pt x="5003810" y="2132497"/>
                </a:moveTo>
                <a:lnTo>
                  <a:pt x="5005980" y="2133580"/>
                </a:lnTo>
                <a:lnTo>
                  <a:pt x="5006966" y="2134201"/>
                </a:lnTo>
                <a:lnTo>
                  <a:pt x="5005980" y="2133580"/>
                </a:lnTo>
                <a:close/>
                <a:moveTo>
                  <a:pt x="5373527" y="2127625"/>
                </a:moveTo>
                <a:lnTo>
                  <a:pt x="5378845" y="2131523"/>
                </a:lnTo>
                <a:lnTo>
                  <a:pt x="5380255" y="2134988"/>
                </a:lnTo>
                <a:lnTo>
                  <a:pt x="5382317" y="2136936"/>
                </a:lnTo>
                <a:lnTo>
                  <a:pt x="5380256" y="2134988"/>
                </a:lnTo>
                <a:lnTo>
                  <a:pt x="5378845" y="2131523"/>
                </a:lnTo>
                <a:lnTo>
                  <a:pt x="5373528" y="2127625"/>
                </a:lnTo>
                <a:close/>
                <a:moveTo>
                  <a:pt x="6895148" y="2127084"/>
                </a:moveTo>
                <a:lnTo>
                  <a:pt x="6899814" y="2127842"/>
                </a:lnTo>
                <a:lnTo>
                  <a:pt x="6900140" y="2130982"/>
                </a:lnTo>
                <a:lnTo>
                  <a:pt x="6896993" y="2136504"/>
                </a:lnTo>
                <a:lnTo>
                  <a:pt x="6888637" y="2138019"/>
                </a:lnTo>
                <a:lnTo>
                  <a:pt x="6883971" y="2137153"/>
                </a:lnTo>
                <a:lnTo>
                  <a:pt x="6882235" y="2133580"/>
                </a:lnTo>
                <a:lnTo>
                  <a:pt x="6884948" y="2130115"/>
                </a:lnTo>
                <a:close/>
                <a:moveTo>
                  <a:pt x="4983348" y="2126548"/>
                </a:moveTo>
                <a:lnTo>
                  <a:pt x="4985905" y="2126868"/>
                </a:lnTo>
                <a:lnTo>
                  <a:pt x="4994043" y="2131523"/>
                </a:lnTo>
                <a:lnTo>
                  <a:pt x="4996906" y="2132237"/>
                </a:lnTo>
                <a:lnTo>
                  <a:pt x="4994044" y="2131523"/>
                </a:lnTo>
                <a:lnTo>
                  <a:pt x="4985905" y="2126867"/>
                </a:lnTo>
                <a:close/>
                <a:moveTo>
                  <a:pt x="4463289" y="2124485"/>
                </a:moveTo>
                <a:lnTo>
                  <a:pt x="4464157" y="2127624"/>
                </a:lnTo>
                <a:lnTo>
                  <a:pt x="4466544" y="2130873"/>
                </a:lnTo>
                <a:lnTo>
                  <a:pt x="4464808" y="2134338"/>
                </a:lnTo>
                <a:lnTo>
                  <a:pt x="4462529" y="2133146"/>
                </a:lnTo>
                <a:lnTo>
                  <a:pt x="4462637" y="2130656"/>
                </a:lnTo>
                <a:lnTo>
                  <a:pt x="4461227" y="2128383"/>
                </a:lnTo>
                <a:lnTo>
                  <a:pt x="4462529" y="2125459"/>
                </a:lnTo>
                <a:close/>
                <a:moveTo>
                  <a:pt x="4586238" y="2122861"/>
                </a:moveTo>
                <a:lnTo>
                  <a:pt x="4586021" y="2125351"/>
                </a:lnTo>
                <a:lnTo>
                  <a:pt x="4584285" y="2126650"/>
                </a:lnTo>
                <a:lnTo>
                  <a:pt x="4583417" y="2129140"/>
                </a:lnTo>
                <a:lnTo>
                  <a:pt x="4582114" y="2131306"/>
                </a:lnTo>
                <a:lnTo>
                  <a:pt x="4582223" y="2132822"/>
                </a:lnTo>
                <a:lnTo>
                  <a:pt x="4580053" y="2132930"/>
                </a:lnTo>
                <a:lnTo>
                  <a:pt x="4577449" y="2135420"/>
                </a:lnTo>
                <a:lnTo>
                  <a:pt x="4575278" y="2138018"/>
                </a:lnTo>
                <a:lnTo>
                  <a:pt x="4573325" y="2138343"/>
                </a:lnTo>
                <a:lnTo>
                  <a:pt x="4571806" y="2136828"/>
                </a:lnTo>
                <a:lnTo>
                  <a:pt x="4573000" y="2134229"/>
                </a:lnTo>
                <a:lnTo>
                  <a:pt x="4572240" y="2133255"/>
                </a:lnTo>
                <a:lnTo>
                  <a:pt x="4572565" y="2130765"/>
                </a:lnTo>
                <a:lnTo>
                  <a:pt x="4577774" y="2126434"/>
                </a:lnTo>
                <a:lnTo>
                  <a:pt x="4583200" y="2124160"/>
                </a:lnTo>
                <a:close/>
                <a:moveTo>
                  <a:pt x="4977216" y="2121864"/>
                </a:moveTo>
                <a:lnTo>
                  <a:pt x="4978091" y="2123944"/>
                </a:lnTo>
                <a:lnTo>
                  <a:pt x="4982432" y="2126434"/>
                </a:lnTo>
                <a:lnTo>
                  <a:pt x="4978092" y="2123944"/>
                </a:lnTo>
                <a:close/>
                <a:moveTo>
                  <a:pt x="4462204" y="2121021"/>
                </a:moveTo>
                <a:lnTo>
                  <a:pt x="4463506" y="2123078"/>
                </a:lnTo>
                <a:lnTo>
                  <a:pt x="4461770" y="2122970"/>
                </a:lnTo>
                <a:close/>
                <a:moveTo>
                  <a:pt x="5397618" y="2120155"/>
                </a:moveTo>
                <a:lnTo>
                  <a:pt x="5398812" y="2123511"/>
                </a:lnTo>
                <a:lnTo>
                  <a:pt x="5398812" y="2123511"/>
                </a:lnTo>
                <a:close/>
                <a:moveTo>
                  <a:pt x="4572349" y="2118422"/>
                </a:moveTo>
                <a:lnTo>
                  <a:pt x="4574302" y="2118530"/>
                </a:lnTo>
                <a:lnTo>
                  <a:pt x="4574844" y="2120263"/>
                </a:lnTo>
                <a:lnTo>
                  <a:pt x="4572783" y="2120804"/>
                </a:lnTo>
                <a:lnTo>
                  <a:pt x="4570721" y="2120154"/>
                </a:lnTo>
                <a:close/>
                <a:moveTo>
                  <a:pt x="4495301" y="2117880"/>
                </a:moveTo>
                <a:lnTo>
                  <a:pt x="4498340" y="2117988"/>
                </a:lnTo>
                <a:lnTo>
                  <a:pt x="4497689" y="2120478"/>
                </a:lnTo>
                <a:lnTo>
                  <a:pt x="4495085" y="2121453"/>
                </a:lnTo>
                <a:lnTo>
                  <a:pt x="4493023" y="2121128"/>
                </a:lnTo>
                <a:close/>
                <a:moveTo>
                  <a:pt x="4544134" y="2117664"/>
                </a:moveTo>
                <a:lnTo>
                  <a:pt x="4546087" y="2118530"/>
                </a:lnTo>
                <a:lnTo>
                  <a:pt x="4544243" y="2121346"/>
                </a:lnTo>
                <a:cubicBezTo>
                  <a:pt x="4543204" y="2121758"/>
                  <a:pt x="4542190" y="2122228"/>
                  <a:pt x="4541205" y="2122754"/>
                </a:cubicBezTo>
                <a:lnTo>
                  <a:pt x="4539360" y="2120804"/>
                </a:lnTo>
                <a:lnTo>
                  <a:pt x="4540445" y="2119071"/>
                </a:lnTo>
                <a:close/>
                <a:moveTo>
                  <a:pt x="4971312" y="2114013"/>
                </a:moveTo>
                <a:lnTo>
                  <a:pt x="4973425" y="2114525"/>
                </a:lnTo>
                <a:lnTo>
                  <a:pt x="4974619" y="2116527"/>
                </a:lnTo>
                <a:lnTo>
                  <a:pt x="4973426" y="2114524"/>
                </a:lnTo>
                <a:close/>
                <a:moveTo>
                  <a:pt x="5728159" y="2113116"/>
                </a:moveTo>
                <a:lnTo>
                  <a:pt x="5718718" y="2113332"/>
                </a:lnTo>
                <a:lnTo>
                  <a:pt x="5718488" y="2113304"/>
                </a:lnTo>
                <a:lnTo>
                  <a:pt x="5718720" y="2113333"/>
                </a:lnTo>
                <a:lnTo>
                  <a:pt x="5728160" y="2113116"/>
                </a:lnTo>
                <a:close/>
                <a:moveTo>
                  <a:pt x="5625070" y="2110192"/>
                </a:moveTo>
                <a:lnTo>
                  <a:pt x="5625069" y="2110193"/>
                </a:lnTo>
                <a:lnTo>
                  <a:pt x="5629952" y="2116255"/>
                </a:lnTo>
                <a:lnTo>
                  <a:pt x="5636463" y="2121777"/>
                </a:lnTo>
                <a:lnTo>
                  <a:pt x="5641145" y="2124549"/>
                </a:lnTo>
                <a:lnTo>
                  <a:pt x="5636464" y="2121777"/>
                </a:lnTo>
                <a:lnTo>
                  <a:pt x="5629953" y="2116256"/>
                </a:lnTo>
                <a:close/>
                <a:moveTo>
                  <a:pt x="5613350" y="2110084"/>
                </a:moveTo>
                <a:lnTo>
                  <a:pt x="5616821" y="2113332"/>
                </a:lnTo>
                <a:lnTo>
                  <a:pt x="5616822" y="2113332"/>
                </a:lnTo>
                <a:close/>
                <a:moveTo>
                  <a:pt x="4967565" y="2109002"/>
                </a:moveTo>
                <a:lnTo>
                  <a:pt x="4967565" y="2109003"/>
                </a:lnTo>
                <a:lnTo>
                  <a:pt x="4968705" y="2111330"/>
                </a:lnTo>
                <a:close/>
                <a:moveTo>
                  <a:pt x="5581337" y="2106729"/>
                </a:moveTo>
                <a:lnTo>
                  <a:pt x="5581337" y="2106729"/>
                </a:lnTo>
                <a:lnTo>
                  <a:pt x="5591646" y="2121886"/>
                </a:lnTo>
                <a:lnTo>
                  <a:pt x="5592297" y="2132172"/>
                </a:lnTo>
                <a:lnTo>
                  <a:pt x="5592297" y="2132171"/>
                </a:lnTo>
                <a:lnTo>
                  <a:pt x="5591646" y="2121886"/>
                </a:lnTo>
                <a:close/>
                <a:moveTo>
                  <a:pt x="6949515" y="2105863"/>
                </a:moveTo>
                <a:lnTo>
                  <a:pt x="6953205" y="2106079"/>
                </a:lnTo>
                <a:lnTo>
                  <a:pt x="6951902" y="2109220"/>
                </a:lnTo>
                <a:lnTo>
                  <a:pt x="6949949" y="2111169"/>
                </a:lnTo>
                <a:lnTo>
                  <a:pt x="6947996" y="2111494"/>
                </a:lnTo>
                <a:lnTo>
                  <a:pt x="6947453" y="2108787"/>
                </a:lnTo>
                <a:close/>
                <a:moveTo>
                  <a:pt x="4512122" y="2104996"/>
                </a:moveTo>
                <a:lnTo>
                  <a:pt x="4514509" y="2104996"/>
                </a:lnTo>
                <a:lnTo>
                  <a:pt x="4515594" y="2107486"/>
                </a:lnTo>
                <a:lnTo>
                  <a:pt x="4513315" y="2110627"/>
                </a:lnTo>
                <a:lnTo>
                  <a:pt x="4511145" y="2108786"/>
                </a:lnTo>
                <a:close/>
                <a:moveTo>
                  <a:pt x="4497038" y="2104888"/>
                </a:moveTo>
                <a:lnTo>
                  <a:pt x="4497038" y="2107920"/>
                </a:lnTo>
                <a:lnTo>
                  <a:pt x="4494867" y="2106404"/>
                </a:lnTo>
                <a:close/>
                <a:moveTo>
                  <a:pt x="4520803" y="2104130"/>
                </a:moveTo>
                <a:lnTo>
                  <a:pt x="4522973" y="2104563"/>
                </a:lnTo>
                <a:lnTo>
                  <a:pt x="4523516" y="2107054"/>
                </a:lnTo>
                <a:lnTo>
                  <a:pt x="4521345" y="2109761"/>
                </a:lnTo>
                <a:lnTo>
                  <a:pt x="4519067" y="2109652"/>
                </a:lnTo>
                <a:lnTo>
                  <a:pt x="4517439" y="2107054"/>
                </a:lnTo>
                <a:close/>
                <a:moveTo>
                  <a:pt x="4908485" y="2102064"/>
                </a:moveTo>
                <a:lnTo>
                  <a:pt x="4907122" y="2104346"/>
                </a:lnTo>
                <a:lnTo>
                  <a:pt x="4904843" y="2104346"/>
                </a:lnTo>
                <a:lnTo>
                  <a:pt x="4899852" y="2108677"/>
                </a:lnTo>
                <a:lnTo>
                  <a:pt x="4890520" y="2110626"/>
                </a:lnTo>
                <a:lnTo>
                  <a:pt x="4890519" y="2110627"/>
                </a:lnTo>
                <a:lnTo>
                  <a:pt x="4899851" y="2108678"/>
                </a:lnTo>
                <a:lnTo>
                  <a:pt x="4904842" y="2104347"/>
                </a:lnTo>
                <a:lnTo>
                  <a:pt x="4907122" y="2104347"/>
                </a:lnTo>
                <a:close/>
                <a:moveTo>
                  <a:pt x="5335764" y="2100732"/>
                </a:moveTo>
                <a:lnTo>
                  <a:pt x="5338910" y="2100990"/>
                </a:lnTo>
                <a:lnTo>
                  <a:pt x="5344879" y="2103481"/>
                </a:lnTo>
                <a:lnTo>
                  <a:pt x="5348677" y="2110194"/>
                </a:lnTo>
                <a:lnTo>
                  <a:pt x="5347048" y="2113875"/>
                </a:lnTo>
                <a:lnTo>
                  <a:pt x="5349110" y="2119722"/>
                </a:lnTo>
                <a:lnTo>
                  <a:pt x="5348893" y="2123294"/>
                </a:lnTo>
                <a:lnTo>
                  <a:pt x="5350846" y="2127084"/>
                </a:lnTo>
                <a:lnTo>
                  <a:pt x="5351172" y="2127625"/>
                </a:lnTo>
                <a:lnTo>
                  <a:pt x="5350738" y="2134338"/>
                </a:lnTo>
                <a:lnTo>
                  <a:pt x="5351281" y="2137586"/>
                </a:lnTo>
                <a:lnTo>
                  <a:pt x="5349545" y="2141159"/>
                </a:lnTo>
                <a:lnTo>
                  <a:pt x="5352273" y="2144725"/>
                </a:lnTo>
                <a:lnTo>
                  <a:pt x="5349546" y="2141158"/>
                </a:lnTo>
                <a:lnTo>
                  <a:pt x="5351282" y="2137586"/>
                </a:lnTo>
                <a:lnTo>
                  <a:pt x="5350739" y="2134338"/>
                </a:lnTo>
                <a:lnTo>
                  <a:pt x="5351173" y="2127625"/>
                </a:lnTo>
                <a:lnTo>
                  <a:pt x="5350847" y="2127084"/>
                </a:lnTo>
                <a:lnTo>
                  <a:pt x="5348894" y="2123294"/>
                </a:lnTo>
                <a:lnTo>
                  <a:pt x="5349111" y="2119722"/>
                </a:lnTo>
                <a:lnTo>
                  <a:pt x="5347049" y="2113875"/>
                </a:lnTo>
                <a:lnTo>
                  <a:pt x="5348678" y="2110194"/>
                </a:lnTo>
                <a:lnTo>
                  <a:pt x="5344879" y="2103481"/>
                </a:lnTo>
                <a:lnTo>
                  <a:pt x="5338911" y="2100990"/>
                </a:lnTo>
                <a:close/>
                <a:moveTo>
                  <a:pt x="5164307" y="2100233"/>
                </a:moveTo>
                <a:lnTo>
                  <a:pt x="5152370" y="2101749"/>
                </a:lnTo>
                <a:lnTo>
                  <a:pt x="5151689" y="2101939"/>
                </a:lnTo>
                <a:lnTo>
                  <a:pt x="5162569" y="2100557"/>
                </a:lnTo>
                <a:lnTo>
                  <a:pt x="5176352" y="2101749"/>
                </a:lnTo>
                <a:lnTo>
                  <a:pt x="5181669" y="2102831"/>
                </a:lnTo>
                <a:lnTo>
                  <a:pt x="5181846" y="2102189"/>
                </a:lnTo>
                <a:lnTo>
                  <a:pt x="5178088" y="2101424"/>
                </a:lnTo>
                <a:close/>
                <a:moveTo>
                  <a:pt x="4961055" y="2098392"/>
                </a:moveTo>
                <a:lnTo>
                  <a:pt x="4960512" y="2098500"/>
                </a:lnTo>
                <a:lnTo>
                  <a:pt x="4960512" y="2098500"/>
                </a:lnTo>
                <a:lnTo>
                  <a:pt x="4960513" y="2098500"/>
                </a:lnTo>
                <a:lnTo>
                  <a:pt x="4961055" y="2098392"/>
                </a:lnTo>
                <a:lnTo>
                  <a:pt x="4955321" y="2100087"/>
                </a:lnTo>
                <a:lnTo>
                  <a:pt x="4955312" y="2100090"/>
                </a:lnTo>
                <a:lnTo>
                  <a:pt x="4961054" y="2098392"/>
                </a:lnTo>
                <a:lnTo>
                  <a:pt x="4965503" y="2098717"/>
                </a:lnTo>
                <a:lnTo>
                  <a:pt x="4967782" y="2104672"/>
                </a:lnTo>
                <a:lnTo>
                  <a:pt x="4967571" y="2108883"/>
                </a:lnTo>
                <a:lnTo>
                  <a:pt x="4967783" y="2104672"/>
                </a:lnTo>
                <a:lnTo>
                  <a:pt x="4965503" y="2098717"/>
                </a:lnTo>
                <a:lnTo>
                  <a:pt x="4961055" y="2098392"/>
                </a:lnTo>
                <a:close/>
                <a:moveTo>
                  <a:pt x="4493891" y="2098175"/>
                </a:moveTo>
                <a:lnTo>
                  <a:pt x="4496062" y="2098717"/>
                </a:lnTo>
                <a:lnTo>
                  <a:pt x="4496062" y="2100882"/>
                </a:lnTo>
                <a:cubicBezTo>
                  <a:pt x="4495399" y="2101319"/>
                  <a:pt x="4494710" y="2101717"/>
                  <a:pt x="4494000" y="2102073"/>
                </a:cubicBezTo>
                <a:close/>
                <a:moveTo>
                  <a:pt x="6879737" y="2097959"/>
                </a:moveTo>
                <a:lnTo>
                  <a:pt x="6880932" y="2100449"/>
                </a:lnTo>
                <a:lnTo>
                  <a:pt x="6881257" y="2104563"/>
                </a:lnTo>
                <a:lnTo>
                  <a:pt x="6879521" y="2104563"/>
                </a:lnTo>
                <a:lnTo>
                  <a:pt x="6877676" y="2105755"/>
                </a:lnTo>
                <a:lnTo>
                  <a:pt x="6875614" y="2102398"/>
                </a:lnTo>
                <a:lnTo>
                  <a:pt x="6876591" y="2100774"/>
                </a:lnTo>
                <a:lnTo>
                  <a:pt x="6878110" y="2100774"/>
                </a:lnTo>
                <a:close/>
                <a:moveTo>
                  <a:pt x="4517873" y="2097309"/>
                </a:moveTo>
                <a:lnTo>
                  <a:pt x="4519935" y="2097850"/>
                </a:lnTo>
                <a:lnTo>
                  <a:pt x="4517765" y="2099150"/>
                </a:lnTo>
                <a:close/>
                <a:moveTo>
                  <a:pt x="7061070" y="2096985"/>
                </a:moveTo>
                <a:lnTo>
                  <a:pt x="7067256" y="2097310"/>
                </a:lnTo>
                <a:lnTo>
                  <a:pt x="7070729" y="2099909"/>
                </a:lnTo>
                <a:lnTo>
                  <a:pt x="7074309" y="2100017"/>
                </a:lnTo>
                <a:lnTo>
                  <a:pt x="7079518" y="2104131"/>
                </a:lnTo>
                <a:lnTo>
                  <a:pt x="7080494" y="2107487"/>
                </a:lnTo>
                <a:lnTo>
                  <a:pt x="7082231" y="2109111"/>
                </a:lnTo>
                <a:lnTo>
                  <a:pt x="7081688" y="2112251"/>
                </a:lnTo>
                <a:lnTo>
                  <a:pt x="7076371" y="2117232"/>
                </a:lnTo>
                <a:lnTo>
                  <a:pt x="7074201" y="2125677"/>
                </a:lnTo>
                <a:lnTo>
                  <a:pt x="7071270" y="2127084"/>
                </a:lnTo>
                <a:lnTo>
                  <a:pt x="7069317" y="2123728"/>
                </a:lnTo>
                <a:lnTo>
                  <a:pt x="7062589" y="2119505"/>
                </a:lnTo>
                <a:lnTo>
                  <a:pt x="7057272" y="2118747"/>
                </a:lnTo>
                <a:lnTo>
                  <a:pt x="7055753" y="2121346"/>
                </a:lnTo>
                <a:lnTo>
                  <a:pt x="7050001" y="2124811"/>
                </a:lnTo>
                <a:lnTo>
                  <a:pt x="7047939" y="2131631"/>
                </a:lnTo>
                <a:lnTo>
                  <a:pt x="7045877" y="2135854"/>
                </a:lnTo>
                <a:lnTo>
                  <a:pt x="7050219" y="2140401"/>
                </a:lnTo>
                <a:lnTo>
                  <a:pt x="7050543" y="2143325"/>
                </a:lnTo>
                <a:lnTo>
                  <a:pt x="7048265" y="2144082"/>
                </a:lnTo>
                <a:lnTo>
                  <a:pt x="7045335" y="2143000"/>
                </a:lnTo>
                <a:lnTo>
                  <a:pt x="7043815" y="2144733"/>
                </a:lnTo>
                <a:lnTo>
                  <a:pt x="7041862" y="2143866"/>
                </a:lnTo>
                <a:lnTo>
                  <a:pt x="7042297" y="2140943"/>
                </a:lnTo>
                <a:lnTo>
                  <a:pt x="7036436" y="2140293"/>
                </a:lnTo>
                <a:lnTo>
                  <a:pt x="7032639" y="2134554"/>
                </a:lnTo>
                <a:lnTo>
                  <a:pt x="7032639" y="2132173"/>
                </a:lnTo>
                <a:lnTo>
                  <a:pt x="7034049" y="2130874"/>
                </a:lnTo>
                <a:lnTo>
                  <a:pt x="7032747" y="2126218"/>
                </a:lnTo>
                <a:lnTo>
                  <a:pt x="7026127" y="2124486"/>
                </a:lnTo>
                <a:lnTo>
                  <a:pt x="7027104" y="2119613"/>
                </a:lnTo>
                <a:lnTo>
                  <a:pt x="7031227" y="2116690"/>
                </a:lnTo>
                <a:lnTo>
                  <a:pt x="7031445" y="2112468"/>
                </a:lnTo>
                <a:lnTo>
                  <a:pt x="7037738" y="2105213"/>
                </a:lnTo>
                <a:lnTo>
                  <a:pt x="7040018" y="2104997"/>
                </a:lnTo>
                <a:lnTo>
                  <a:pt x="7042839" y="2111385"/>
                </a:lnTo>
                <a:lnTo>
                  <a:pt x="7045010" y="2112035"/>
                </a:lnTo>
                <a:lnTo>
                  <a:pt x="7048590" y="2109544"/>
                </a:lnTo>
                <a:lnTo>
                  <a:pt x="7052931" y="2108137"/>
                </a:lnTo>
                <a:lnTo>
                  <a:pt x="7055210" y="2104672"/>
                </a:lnTo>
                <a:lnTo>
                  <a:pt x="7055210" y="2101749"/>
                </a:lnTo>
                <a:close/>
                <a:moveTo>
                  <a:pt x="5618981" y="2096140"/>
                </a:moveTo>
                <a:lnTo>
                  <a:pt x="5612373" y="2100556"/>
                </a:lnTo>
                <a:lnTo>
                  <a:pt x="5612373" y="2100557"/>
                </a:lnTo>
                <a:close/>
                <a:moveTo>
                  <a:pt x="4951396" y="2093520"/>
                </a:moveTo>
                <a:lnTo>
                  <a:pt x="4951180" y="2098175"/>
                </a:lnTo>
                <a:lnTo>
                  <a:pt x="4951180" y="2098175"/>
                </a:lnTo>
                <a:lnTo>
                  <a:pt x="4951397" y="2093520"/>
                </a:lnTo>
                <a:close/>
                <a:moveTo>
                  <a:pt x="4492372" y="2093086"/>
                </a:moveTo>
                <a:lnTo>
                  <a:pt x="4494108" y="2095468"/>
                </a:lnTo>
                <a:lnTo>
                  <a:pt x="4491721" y="2096551"/>
                </a:lnTo>
                <a:lnTo>
                  <a:pt x="4490961" y="2094926"/>
                </a:lnTo>
                <a:close/>
                <a:moveTo>
                  <a:pt x="4513098" y="2092437"/>
                </a:moveTo>
                <a:lnTo>
                  <a:pt x="4515159" y="2094386"/>
                </a:lnTo>
                <a:lnTo>
                  <a:pt x="4515594" y="2096659"/>
                </a:lnTo>
                <a:lnTo>
                  <a:pt x="4512881" y="2095468"/>
                </a:lnTo>
                <a:lnTo>
                  <a:pt x="4510928" y="2093194"/>
                </a:lnTo>
                <a:close/>
                <a:moveTo>
                  <a:pt x="6952661" y="2091680"/>
                </a:moveTo>
                <a:lnTo>
                  <a:pt x="6953530" y="2093629"/>
                </a:lnTo>
                <a:lnTo>
                  <a:pt x="6954398" y="2096985"/>
                </a:lnTo>
                <a:lnTo>
                  <a:pt x="6952010" y="2101857"/>
                </a:lnTo>
                <a:lnTo>
                  <a:pt x="6950165" y="2103482"/>
                </a:lnTo>
                <a:lnTo>
                  <a:pt x="6949080" y="2100125"/>
                </a:lnTo>
                <a:lnTo>
                  <a:pt x="6949189" y="2096119"/>
                </a:lnTo>
                <a:lnTo>
                  <a:pt x="6950491" y="2093088"/>
                </a:lnTo>
                <a:close/>
                <a:moveTo>
                  <a:pt x="4536538" y="2091680"/>
                </a:moveTo>
                <a:lnTo>
                  <a:pt x="4535779" y="2094062"/>
                </a:lnTo>
                <a:lnTo>
                  <a:pt x="4532414" y="2097202"/>
                </a:lnTo>
                <a:lnTo>
                  <a:pt x="4530787" y="2095253"/>
                </a:lnTo>
                <a:lnTo>
                  <a:pt x="4531546" y="2092654"/>
                </a:lnTo>
                <a:close/>
                <a:moveTo>
                  <a:pt x="5602064" y="2091246"/>
                </a:moveTo>
                <a:lnTo>
                  <a:pt x="5602063" y="2091246"/>
                </a:lnTo>
                <a:lnTo>
                  <a:pt x="5600804" y="2092319"/>
                </a:lnTo>
                <a:close/>
                <a:moveTo>
                  <a:pt x="7067364" y="2090055"/>
                </a:moveTo>
                <a:lnTo>
                  <a:pt x="7070402" y="2090705"/>
                </a:lnTo>
                <a:lnTo>
                  <a:pt x="7070293" y="2093087"/>
                </a:lnTo>
                <a:lnTo>
                  <a:pt x="7067255" y="2094602"/>
                </a:lnTo>
                <a:lnTo>
                  <a:pt x="7063674" y="2093628"/>
                </a:lnTo>
                <a:close/>
                <a:moveTo>
                  <a:pt x="3772319" y="2089721"/>
                </a:moveTo>
                <a:lnTo>
                  <a:pt x="3772256" y="2089838"/>
                </a:lnTo>
                <a:lnTo>
                  <a:pt x="3775728" y="2095359"/>
                </a:lnTo>
                <a:lnTo>
                  <a:pt x="3775728" y="2095143"/>
                </a:lnTo>
                <a:close/>
                <a:moveTo>
                  <a:pt x="5622357" y="2088756"/>
                </a:moveTo>
                <a:lnTo>
                  <a:pt x="5622356" y="2088756"/>
                </a:lnTo>
                <a:lnTo>
                  <a:pt x="5623193" y="2091021"/>
                </a:lnTo>
                <a:lnTo>
                  <a:pt x="5623128" y="2090844"/>
                </a:lnTo>
                <a:close/>
                <a:moveTo>
                  <a:pt x="5584266" y="2087889"/>
                </a:moveTo>
                <a:lnTo>
                  <a:pt x="5584266" y="2087889"/>
                </a:lnTo>
                <a:lnTo>
                  <a:pt x="5588607" y="2089622"/>
                </a:lnTo>
                <a:close/>
                <a:moveTo>
                  <a:pt x="5090795" y="2087673"/>
                </a:moveTo>
                <a:lnTo>
                  <a:pt x="5092251" y="2092654"/>
                </a:lnTo>
                <a:lnTo>
                  <a:pt x="5095940" y="2097093"/>
                </a:lnTo>
                <a:lnTo>
                  <a:pt x="5107986" y="2101965"/>
                </a:lnTo>
                <a:lnTo>
                  <a:pt x="5113304" y="2102398"/>
                </a:lnTo>
                <a:lnTo>
                  <a:pt x="5127736" y="2106621"/>
                </a:lnTo>
                <a:lnTo>
                  <a:pt x="5134790" y="2106621"/>
                </a:lnTo>
                <a:lnTo>
                  <a:pt x="5136298" y="2106188"/>
                </a:lnTo>
                <a:lnTo>
                  <a:pt x="5129472" y="2106188"/>
                </a:lnTo>
                <a:lnTo>
                  <a:pt x="5115040" y="2102073"/>
                </a:lnTo>
                <a:lnTo>
                  <a:pt x="5109722" y="2102073"/>
                </a:lnTo>
                <a:lnTo>
                  <a:pt x="5097677" y="2097310"/>
                </a:lnTo>
                <a:lnTo>
                  <a:pt x="5094096" y="2092871"/>
                </a:lnTo>
                <a:lnTo>
                  <a:pt x="5092576" y="2087673"/>
                </a:lnTo>
                <a:close/>
                <a:moveTo>
                  <a:pt x="6913921" y="2086807"/>
                </a:moveTo>
                <a:lnTo>
                  <a:pt x="6916308" y="2089189"/>
                </a:lnTo>
                <a:lnTo>
                  <a:pt x="6912728" y="2090597"/>
                </a:lnTo>
                <a:lnTo>
                  <a:pt x="6911642" y="2088431"/>
                </a:lnTo>
                <a:close/>
                <a:moveTo>
                  <a:pt x="7082664" y="2086374"/>
                </a:moveTo>
                <a:lnTo>
                  <a:pt x="7083641" y="2089298"/>
                </a:lnTo>
                <a:lnTo>
                  <a:pt x="7083097" y="2092762"/>
                </a:lnTo>
                <a:lnTo>
                  <a:pt x="7083857" y="2094819"/>
                </a:lnTo>
                <a:lnTo>
                  <a:pt x="7083097" y="2097743"/>
                </a:lnTo>
                <a:lnTo>
                  <a:pt x="7080601" y="2097852"/>
                </a:lnTo>
                <a:lnTo>
                  <a:pt x="7078431" y="2093087"/>
                </a:lnTo>
                <a:lnTo>
                  <a:pt x="7078540" y="2089298"/>
                </a:lnTo>
                <a:lnTo>
                  <a:pt x="7080168" y="2086807"/>
                </a:lnTo>
                <a:close/>
                <a:moveTo>
                  <a:pt x="4544676" y="2085617"/>
                </a:moveTo>
                <a:lnTo>
                  <a:pt x="4547498" y="2085942"/>
                </a:lnTo>
                <a:lnTo>
                  <a:pt x="4550319" y="2088215"/>
                </a:lnTo>
                <a:lnTo>
                  <a:pt x="4551079" y="2087241"/>
                </a:lnTo>
                <a:lnTo>
                  <a:pt x="4552381" y="2087566"/>
                </a:lnTo>
                <a:lnTo>
                  <a:pt x="4552923" y="2089298"/>
                </a:lnTo>
                <a:lnTo>
                  <a:pt x="4550211" y="2090597"/>
                </a:lnTo>
                <a:lnTo>
                  <a:pt x="4549126" y="2092005"/>
                </a:lnTo>
                <a:lnTo>
                  <a:pt x="4546847" y="2091897"/>
                </a:lnTo>
                <a:lnTo>
                  <a:pt x="4544785" y="2089623"/>
                </a:lnTo>
                <a:lnTo>
                  <a:pt x="4542180" y="2089839"/>
                </a:lnTo>
                <a:lnTo>
                  <a:pt x="4539685" y="2090597"/>
                </a:lnTo>
                <a:lnTo>
                  <a:pt x="4540770" y="2088865"/>
                </a:lnTo>
                <a:close/>
                <a:moveTo>
                  <a:pt x="5311251" y="2084971"/>
                </a:moveTo>
                <a:lnTo>
                  <a:pt x="5318726" y="2086699"/>
                </a:lnTo>
                <a:lnTo>
                  <a:pt x="5328383" y="2100124"/>
                </a:lnTo>
                <a:lnTo>
                  <a:pt x="5328384" y="2100124"/>
                </a:lnTo>
                <a:lnTo>
                  <a:pt x="5318727" y="2086699"/>
                </a:lnTo>
                <a:close/>
                <a:moveTo>
                  <a:pt x="5073154" y="2084750"/>
                </a:moveTo>
                <a:lnTo>
                  <a:pt x="5076082" y="2085725"/>
                </a:lnTo>
                <a:lnTo>
                  <a:pt x="5076402" y="2085608"/>
                </a:lnTo>
                <a:lnTo>
                  <a:pt x="5074020" y="2084750"/>
                </a:lnTo>
                <a:close/>
                <a:moveTo>
                  <a:pt x="5083570" y="2084100"/>
                </a:moveTo>
                <a:lnTo>
                  <a:pt x="5082799" y="2084382"/>
                </a:lnTo>
                <a:lnTo>
                  <a:pt x="5087259" y="2087349"/>
                </a:lnTo>
                <a:lnTo>
                  <a:pt x="5088669" y="2087393"/>
                </a:lnTo>
                <a:close/>
                <a:moveTo>
                  <a:pt x="4408054" y="2083884"/>
                </a:moveTo>
                <a:lnTo>
                  <a:pt x="4410984" y="2085183"/>
                </a:lnTo>
                <a:lnTo>
                  <a:pt x="4413154" y="2088106"/>
                </a:lnTo>
                <a:lnTo>
                  <a:pt x="4414999" y="2090272"/>
                </a:lnTo>
                <a:lnTo>
                  <a:pt x="4412069" y="2089730"/>
                </a:lnTo>
                <a:lnTo>
                  <a:pt x="4411418" y="2091355"/>
                </a:lnTo>
                <a:lnTo>
                  <a:pt x="4408705" y="2090596"/>
                </a:lnTo>
                <a:lnTo>
                  <a:pt x="4405450" y="2087349"/>
                </a:lnTo>
                <a:lnTo>
                  <a:pt x="4406209" y="2084750"/>
                </a:lnTo>
                <a:close/>
                <a:moveTo>
                  <a:pt x="4502463" y="2083667"/>
                </a:moveTo>
                <a:lnTo>
                  <a:pt x="4504417" y="2086591"/>
                </a:lnTo>
                <a:lnTo>
                  <a:pt x="4508432" y="2090272"/>
                </a:lnTo>
                <a:lnTo>
                  <a:pt x="4508324" y="2092762"/>
                </a:lnTo>
                <a:lnTo>
                  <a:pt x="4506370" y="2092654"/>
                </a:lnTo>
                <a:lnTo>
                  <a:pt x="4501270" y="2087673"/>
                </a:lnTo>
                <a:lnTo>
                  <a:pt x="4499100" y="2085941"/>
                </a:lnTo>
                <a:lnTo>
                  <a:pt x="4500293" y="2083883"/>
                </a:lnTo>
                <a:close/>
                <a:moveTo>
                  <a:pt x="5427678" y="2083234"/>
                </a:moveTo>
                <a:lnTo>
                  <a:pt x="5427678" y="2083235"/>
                </a:lnTo>
                <a:lnTo>
                  <a:pt x="5429207" y="2084455"/>
                </a:lnTo>
                <a:close/>
                <a:moveTo>
                  <a:pt x="5582589" y="2082426"/>
                </a:moveTo>
                <a:lnTo>
                  <a:pt x="5584266" y="2084642"/>
                </a:lnTo>
                <a:lnTo>
                  <a:pt x="5584266" y="2084641"/>
                </a:lnTo>
                <a:close/>
                <a:moveTo>
                  <a:pt x="6932043" y="2080635"/>
                </a:moveTo>
                <a:lnTo>
                  <a:pt x="6933888" y="2081826"/>
                </a:lnTo>
                <a:lnTo>
                  <a:pt x="6934214" y="2085940"/>
                </a:lnTo>
                <a:lnTo>
                  <a:pt x="6932585" y="2088430"/>
                </a:lnTo>
                <a:lnTo>
                  <a:pt x="6930307" y="2089296"/>
                </a:lnTo>
                <a:lnTo>
                  <a:pt x="6928896" y="2086048"/>
                </a:lnTo>
                <a:lnTo>
                  <a:pt x="6928679" y="2083341"/>
                </a:lnTo>
                <a:close/>
                <a:moveTo>
                  <a:pt x="5062062" y="2079770"/>
                </a:moveTo>
                <a:lnTo>
                  <a:pt x="5066424" y="2084425"/>
                </a:lnTo>
                <a:lnTo>
                  <a:pt x="5068072" y="2084425"/>
                </a:lnTo>
                <a:lnTo>
                  <a:pt x="5063711" y="2079770"/>
                </a:lnTo>
                <a:close/>
                <a:moveTo>
                  <a:pt x="3356745" y="2079553"/>
                </a:moveTo>
                <a:lnTo>
                  <a:pt x="3359458" y="2080202"/>
                </a:lnTo>
                <a:lnTo>
                  <a:pt x="3361194" y="2082584"/>
                </a:lnTo>
                <a:lnTo>
                  <a:pt x="3359349" y="2083884"/>
                </a:lnTo>
                <a:lnTo>
                  <a:pt x="3353164" y="2082910"/>
                </a:lnTo>
                <a:lnTo>
                  <a:pt x="3352513" y="2080852"/>
                </a:lnTo>
                <a:close/>
                <a:moveTo>
                  <a:pt x="5297728" y="2076470"/>
                </a:moveTo>
                <a:lnTo>
                  <a:pt x="5301146" y="2077063"/>
                </a:lnTo>
                <a:lnTo>
                  <a:pt x="5302557" y="2084100"/>
                </a:lnTo>
                <a:lnTo>
                  <a:pt x="5304727" y="2085833"/>
                </a:lnTo>
                <a:lnTo>
                  <a:pt x="5304728" y="2085833"/>
                </a:lnTo>
                <a:lnTo>
                  <a:pt x="5302558" y="2084100"/>
                </a:lnTo>
                <a:lnTo>
                  <a:pt x="5301147" y="2077063"/>
                </a:lnTo>
                <a:close/>
                <a:moveTo>
                  <a:pt x="5666956" y="2072623"/>
                </a:moveTo>
                <a:lnTo>
                  <a:pt x="5664569" y="2074355"/>
                </a:lnTo>
                <a:lnTo>
                  <a:pt x="5664570" y="2074355"/>
                </a:lnTo>
                <a:lnTo>
                  <a:pt x="5666956" y="2072623"/>
                </a:lnTo>
                <a:lnTo>
                  <a:pt x="5668022" y="2072709"/>
                </a:lnTo>
                <a:close/>
                <a:moveTo>
                  <a:pt x="4285322" y="2072407"/>
                </a:moveTo>
                <a:lnTo>
                  <a:pt x="4289012" y="2076738"/>
                </a:lnTo>
                <a:lnTo>
                  <a:pt x="4288035" y="2083017"/>
                </a:lnTo>
                <a:lnTo>
                  <a:pt x="4283695" y="2087023"/>
                </a:lnTo>
                <a:lnTo>
                  <a:pt x="4279354" y="2098608"/>
                </a:lnTo>
                <a:lnTo>
                  <a:pt x="4283695" y="2104563"/>
                </a:lnTo>
                <a:lnTo>
                  <a:pt x="4284237" y="2109760"/>
                </a:lnTo>
                <a:lnTo>
                  <a:pt x="4281958" y="2112684"/>
                </a:lnTo>
                <a:lnTo>
                  <a:pt x="4282284" y="2118638"/>
                </a:lnTo>
                <a:lnTo>
                  <a:pt x="4277727" y="2119288"/>
                </a:lnTo>
                <a:lnTo>
                  <a:pt x="4266766" y="2114957"/>
                </a:lnTo>
                <a:lnTo>
                  <a:pt x="4265789" y="2111168"/>
                </a:lnTo>
                <a:lnTo>
                  <a:pt x="4261123" y="2107811"/>
                </a:lnTo>
                <a:lnTo>
                  <a:pt x="4258953" y="2109219"/>
                </a:lnTo>
                <a:lnTo>
                  <a:pt x="4248318" y="2105213"/>
                </a:lnTo>
                <a:lnTo>
                  <a:pt x="4243760" y="2100341"/>
                </a:lnTo>
                <a:lnTo>
                  <a:pt x="4238877" y="2099150"/>
                </a:lnTo>
                <a:lnTo>
                  <a:pt x="4229871" y="2092978"/>
                </a:lnTo>
                <a:lnTo>
                  <a:pt x="4224770" y="2093844"/>
                </a:lnTo>
                <a:lnTo>
                  <a:pt x="4219670" y="2089189"/>
                </a:lnTo>
                <a:lnTo>
                  <a:pt x="4220430" y="2081393"/>
                </a:lnTo>
                <a:lnTo>
                  <a:pt x="4226181" y="2078686"/>
                </a:lnTo>
                <a:lnTo>
                  <a:pt x="4227917" y="2080852"/>
                </a:lnTo>
                <a:lnTo>
                  <a:pt x="4230739" y="2078578"/>
                </a:lnTo>
                <a:lnTo>
                  <a:pt x="4236055" y="2078037"/>
                </a:lnTo>
                <a:lnTo>
                  <a:pt x="4240505" y="2081068"/>
                </a:lnTo>
                <a:lnTo>
                  <a:pt x="4246799" y="2082260"/>
                </a:lnTo>
                <a:lnTo>
                  <a:pt x="4255697" y="2079661"/>
                </a:lnTo>
                <a:lnTo>
                  <a:pt x="4266549" y="2080311"/>
                </a:lnTo>
                <a:lnTo>
                  <a:pt x="4271649" y="2074897"/>
                </a:lnTo>
                <a:lnTo>
                  <a:pt x="4276858" y="2077821"/>
                </a:lnTo>
                <a:lnTo>
                  <a:pt x="4279354" y="2078145"/>
                </a:lnTo>
                <a:close/>
                <a:moveTo>
                  <a:pt x="5286497" y="2072190"/>
                </a:moveTo>
                <a:lnTo>
                  <a:pt x="5286497" y="2072191"/>
                </a:lnTo>
                <a:lnTo>
                  <a:pt x="5296154" y="2076196"/>
                </a:lnTo>
                <a:lnTo>
                  <a:pt x="5296155" y="2076197"/>
                </a:lnTo>
                <a:close/>
                <a:moveTo>
                  <a:pt x="5656755" y="2071216"/>
                </a:moveTo>
                <a:lnTo>
                  <a:pt x="5654585" y="2072623"/>
                </a:lnTo>
                <a:lnTo>
                  <a:pt x="5651004" y="2071649"/>
                </a:lnTo>
                <a:lnTo>
                  <a:pt x="5654585" y="2072623"/>
                </a:lnTo>
                <a:lnTo>
                  <a:pt x="5654801" y="2072623"/>
                </a:lnTo>
                <a:lnTo>
                  <a:pt x="5650027" y="2080852"/>
                </a:lnTo>
                <a:lnTo>
                  <a:pt x="5650028" y="2080851"/>
                </a:lnTo>
                <a:lnTo>
                  <a:pt x="5654803" y="2072623"/>
                </a:lnTo>
                <a:lnTo>
                  <a:pt x="5654586" y="2072623"/>
                </a:lnTo>
                <a:close/>
                <a:moveTo>
                  <a:pt x="5464030" y="2070566"/>
                </a:moveTo>
                <a:lnTo>
                  <a:pt x="5465658" y="2072191"/>
                </a:lnTo>
                <a:lnTo>
                  <a:pt x="5465659" y="2072190"/>
                </a:lnTo>
                <a:lnTo>
                  <a:pt x="5465658" y="2072190"/>
                </a:lnTo>
                <a:close/>
                <a:moveTo>
                  <a:pt x="5522846" y="2070565"/>
                </a:moveTo>
                <a:lnTo>
                  <a:pt x="5520133" y="2073056"/>
                </a:lnTo>
                <a:lnTo>
                  <a:pt x="5517420" y="2073597"/>
                </a:lnTo>
                <a:lnTo>
                  <a:pt x="5514815" y="2077387"/>
                </a:lnTo>
                <a:lnTo>
                  <a:pt x="5509607" y="2080310"/>
                </a:lnTo>
                <a:lnTo>
                  <a:pt x="5501685" y="2082042"/>
                </a:lnTo>
                <a:lnTo>
                  <a:pt x="5498104" y="2080526"/>
                </a:lnTo>
                <a:lnTo>
                  <a:pt x="5492895" y="2073814"/>
                </a:lnTo>
                <a:lnTo>
                  <a:pt x="5494957" y="2076412"/>
                </a:lnTo>
                <a:lnTo>
                  <a:pt x="5494957" y="2076411"/>
                </a:lnTo>
                <a:lnTo>
                  <a:pt x="5492896" y="2073814"/>
                </a:lnTo>
                <a:lnTo>
                  <a:pt x="5492895" y="2073814"/>
                </a:lnTo>
                <a:lnTo>
                  <a:pt x="5498104" y="2080527"/>
                </a:lnTo>
                <a:lnTo>
                  <a:pt x="5501685" y="2082043"/>
                </a:lnTo>
                <a:lnTo>
                  <a:pt x="5509607" y="2080311"/>
                </a:lnTo>
                <a:lnTo>
                  <a:pt x="5514816" y="2077387"/>
                </a:lnTo>
                <a:lnTo>
                  <a:pt x="5517420" y="2073598"/>
                </a:lnTo>
                <a:lnTo>
                  <a:pt x="5520133" y="2073056"/>
                </a:lnTo>
                <a:lnTo>
                  <a:pt x="5522846" y="2070566"/>
                </a:lnTo>
                <a:lnTo>
                  <a:pt x="5525342" y="2072191"/>
                </a:lnTo>
                <a:lnTo>
                  <a:pt x="5527946" y="2075655"/>
                </a:lnTo>
                <a:lnTo>
                  <a:pt x="5536194" y="2076413"/>
                </a:lnTo>
                <a:lnTo>
                  <a:pt x="5535977" y="2072623"/>
                </a:lnTo>
                <a:lnTo>
                  <a:pt x="5535423" y="2072044"/>
                </a:lnTo>
                <a:lnTo>
                  <a:pt x="5535976" y="2072623"/>
                </a:lnTo>
                <a:lnTo>
                  <a:pt x="5536193" y="2076412"/>
                </a:lnTo>
                <a:lnTo>
                  <a:pt x="5527946" y="2075655"/>
                </a:lnTo>
                <a:lnTo>
                  <a:pt x="5525342" y="2072190"/>
                </a:lnTo>
                <a:close/>
                <a:moveTo>
                  <a:pt x="5660120" y="2070349"/>
                </a:moveTo>
                <a:lnTo>
                  <a:pt x="5658073" y="2070876"/>
                </a:lnTo>
                <a:lnTo>
                  <a:pt x="5660121" y="2070350"/>
                </a:lnTo>
                <a:close/>
                <a:moveTo>
                  <a:pt x="5473472" y="2070133"/>
                </a:moveTo>
                <a:lnTo>
                  <a:pt x="5473431" y="2070144"/>
                </a:lnTo>
                <a:lnTo>
                  <a:pt x="5473471" y="2070133"/>
                </a:lnTo>
                <a:lnTo>
                  <a:pt x="5478680" y="2072623"/>
                </a:lnTo>
                <a:lnTo>
                  <a:pt x="5480561" y="2075438"/>
                </a:lnTo>
                <a:lnTo>
                  <a:pt x="5478680" y="2072623"/>
                </a:lnTo>
                <a:close/>
                <a:moveTo>
                  <a:pt x="5675854" y="2068617"/>
                </a:moveTo>
                <a:lnTo>
                  <a:pt x="5673684" y="2070998"/>
                </a:lnTo>
                <a:lnTo>
                  <a:pt x="5670971" y="2072948"/>
                </a:lnTo>
                <a:lnTo>
                  <a:pt x="5670972" y="2072948"/>
                </a:lnTo>
                <a:lnTo>
                  <a:pt x="5673685" y="2070999"/>
                </a:lnTo>
                <a:lnTo>
                  <a:pt x="5675855" y="2068617"/>
                </a:lnTo>
                <a:lnTo>
                  <a:pt x="5678893" y="2068833"/>
                </a:lnTo>
                <a:lnTo>
                  <a:pt x="5678893" y="2068833"/>
                </a:lnTo>
                <a:close/>
                <a:moveTo>
                  <a:pt x="5534132" y="2067101"/>
                </a:moveTo>
                <a:lnTo>
                  <a:pt x="5533806" y="2070349"/>
                </a:lnTo>
                <a:lnTo>
                  <a:pt x="5533806" y="2070349"/>
                </a:lnTo>
                <a:close/>
                <a:moveTo>
                  <a:pt x="5265010" y="2066235"/>
                </a:moveTo>
                <a:lnTo>
                  <a:pt x="5278900" y="2075006"/>
                </a:lnTo>
                <a:lnTo>
                  <a:pt x="5278901" y="2075006"/>
                </a:lnTo>
                <a:lnTo>
                  <a:pt x="5265011" y="2066236"/>
                </a:lnTo>
                <a:close/>
                <a:moveTo>
                  <a:pt x="5579600" y="2065694"/>
                </a:moveTo>
                <a:lnTo>
                  <a:pt x="5580251" y="2070566"/>
                </a:lnTo>
                <a:lnTo>
                  <a:pt x="5580262" y="2070890"/>
                </a:lnTo>
                <a:lnTo>
                  <a:pt x="5580251" y="2070565"/>
                </a:lnTo>
                <a:close/>
                <a:moveTo>
                  <a:pt x="4404472" y="2065369"/>
                </a:moveTo>
                <a:lnTo>
                  <a:pt x="4407077" y="2067643"/>
                </a:lnTo>
                <a:lnTo>
                  <a:pt x="4408596" y="2070999"/>
                </a:lnTo>
                <a:lnTo>
                  <a:pt x="4407945" y="2072948"/>
                </a:lnTo>
                <a:lnTo>
                  <a:pt x="4410007" y="2075114"/>
                </a:lnTo>
                <a:lnTo>
                  <a:pt x="4410658" y="2077387"/>
                </a:lnTo>
                <a:lnTo>
                  <a:pt x="4411634" y="2078687"/>
                </a:lnTo>
                <a:lnTo>
                  <a:pt x="4410115" y="2080961"/>
                </a:lnTo>
                <a:lnTo>
                  <a:pt x="4407294" y="2079445"/>
                </a:lnTo>
                <a:lnTo>
                  <a:pt x="4404038" y="2079012"/>
                </a:lnTo>
                <a:lnTo>
                  <a:pt x="4404038" y="2076305"/>
                </a:lnTo>
                <a:lnTo>
                  <a:pt x="4402844" y="2075114"/>
                </a:lnTo>
                <a:lnTo>
                  <a:pt x="4402844" y="2077496"/>
                </a:lnTo>
                <a:lnTo>
                  <a:pt x="4401651" y="2078795"/>
                </a:lnTo>
                <a:lnTo>
                  <a:pt x="4399481" y="2076630"/>
                </a:lnTo>
                <a:lnTo>
                  <a:pt x="4399481" y="2071540"/>
                </a:lnTo>
                <a:lnTo>
                  <a:pt x="4402302" y="2070783"/>
                </a:lnTo>
                <a:lnTo>
                  <a:pt x="4404364" y="2071108"/>
                </a:lnTo>
                <a:close/>
                <a:moveTo>
                  <a:pt x="5658199" y="2065091"/>
                </a:moveTo>
                <a:lnTo>
                  <a:pt x="5658274" y="2065369"/>
                </a:lnTo>
                <a:lnTo>
                  <a:pt x="5658274" y="2065369"/>
                </a:lnTo>
                <a:close/>
                <a:moveTo>
                  <a:pt x="3775765" y="2062950"/>
                </a:moveTo>
                <a:lnTo>
                  <a:pt x="3775728" y="2062987"/>
                </a:lnTo>
                <a:lnTo>
                  <a:pt x="3779093" y="2069916"/>
                </a:lnTo>
                <a:lnTo>
                  <a:pt x="3784190" y="2070234"/>
                </a:lnTo>
                <a:lnTo>
                  <a:pt x="3784300" y="2069482"/>
                </a:lnTo>
                <a:lnTo>
                  <a:pt x="3779091" y="2069482"/>
                </a:lnTo>
                <a:close/>
                <a:moveTo>
                  <a:pt x="5626805" y="2062771"/>
                </a:moveTo>
                <a:lnTo>
                  <a:pt x="5615953" y="2069700"/>
                </a:lnTo>
                <a:lnTo>
                  <a:pt x="5612697" y="2072514"/>
                </a:lnTo>
                <a:lnTo>
                  <a:pt x="5611721" y="2076845"/>
                </a:lnTo>
                <a:lnTo>
                  <a:pt x="5607814" y="2080310"/>
                </a:lnTo>
                <a:lnTo>
                  <a:pt x="5599567" y="2084100"/>
                </a:lnTo>
                <a:lnTo>
                  <a:pt x="5598699" y="2086481"/>
                </a:lnTo>
                <a:lnTo>
                  <a:pt x="5594575" y="2089622"/>
                </a:lnTo>
                <a:lnTo>
                  <a:pt x="5598699" y="2086482"/>
                </a:lnTo>
                <a:lnTo>
                  <a:pt x="5599567" y="2084100"/>
                </a:lnTo>
                <a:lnTo>
                  <a:pt x="5607814" y="2080311"/>
                </a:lnTo>
                <a:lnTo>
                  <a:pt x="5611721" y="2076846"/>
                </a:lnTo>
                <a:lnTo>
                  <a:pt x="5612697" y="2072515"/>
                </a:lnTo>
                <a:lnTo>
                  <a:pt x="5615954" y="2069700"/>
                </a:lnTo>
                <a:close/>
                <a:moveTo>
                  <a:pt x="5646989" y="2061363"/>
                </a:moveTo>
                <a:lnTo>
                  <a:pt x="5643842" y="2065152"/>
                </a:lnTo>
                <a:lnTo>
                  <a:pt x="5634944" y="2066235"/>
                </a:lnTo>
                <a:lnTo>
                  <a:pt x="5634944" y="2066236"/>
                </a:lnTo>
                <a:lnTo>
                  <a:pt x="5643842" y="2065153"/>
                </a:lnTo>
                <a:close/>
                <a:moveTo>
                  <a:pt x="4528616" y="2061363"/>
                </a:moveTo>
                <a:lnTo>
                  <a:pt x="4531546" y="2062554"/>
                </a:lnTo>
                <a:lnTo>
                  <a:pt x="4532739" y="2063637"/>
                </a:lnTo>
                <a:lnTo>
                  <a:pt x="4533716" y="2069484"/>
                </a:lnTo>
                <a:lnTo>
                  <a:pt x="4532848" y="2073382"/>
                </a:lnTo>
                <a:lnTo>
                  <a:pt x="4529593" y="2074898"/>
                </a:lnTo>
                <a:lnTo>
                  <a:pt x="4526988" y="2072949"/>
                </a:lnTo>
                <a:lnTo>
                  <a:pt x="4526988" y="2071000"/>
                </a:lnTo>
                <a:lnTo>
                  <a:pt x="4529158" y="2070241"/>
                </a:lnTo>
                <a:lnTo>
                  <a:pt x="4528941" y="2066669"/>
                </a:lnTo>
                <a:lnTo>
                  <a:pt x="4525903" y="2064287"/>
                </a:lnTo>
                <a:lnTo>
                  <a:pt x="4525903" y="2062771"/>
                </a:lnTo>
                <a:close/>
                <a:moveTo>
                  <a:pt x="5465333" y="2061255"/>
                </a:moveTo>
                <a:lnTo>
                  <a:pt x="5465333" y="2061255"/>
                </a:lnTo>
                <a:lnTo>
                  <a:pt x="5465666" y="2064000"/>
                </a:lnTo>
                <a:close/>
                <a:moveTo>
                  <a:pt x="5223449" y="2060497"/>
                </a:moveTo>
                <a:lnTo>
                  <a:pt x="5223448" y="2060497"/>
                </a:lnTo>
                <a:lnTo>
                  <a:pt x="5232455" y="2062447"/>
                </a:lnTo>
                <a:lnTo>
                  <a:pt x="5232455" y="2062446"/>
                </a:lnTo>
                <a:close/>
                <a:moveTo>
                  <a:pt x="5552688" y="2060064"/>
                </a:moveTo>
                <a:lnTo>
                  <a:pt x="5549432" y="2065152"/>
                </a:lnTo>
                <a:lnTo>
                  <a:pt x="5544333" y="2065694"/>
                </a:lnTo>
                <a:lnTo>
                  <a:pt x="5549433" y="2065153"/>
                </a:lnTo>
                <a:lnTo>
                  <a:pt x="5552688" y="2060064"/>
                </a:lnTo>
                <a:close/>
                <a:moveTo>
                  <a:pt x="3291201" y="2057899"/>
                </a:moveTo>
                <a:lnTo>
                  <a:pt x="3294999" y="2058440"/>
                </a:lnTo>
                <a:lnTo>
                  <a:pt x="3299340" y="2062229"/>
                </a:lnTo>
                <a:lnTo>
                  <a:pt x="3296519" y="2062879"/>
                </a:lnTo>
                <a:lnTo>
                  <a:pt x="3291634" y="2062554"/>
                </a:lnTo>
                <a:close/>
                <a:moveTo>
                  <a:pt x="4407512" y="2057682"/>
                </a:moveTo>
                <a:lnTo>
                  <a:pt x="4408163" y="2061688"/>
                </a:lnTo>
                <a:lnTo>
                  <a:pt x="4406752" y="2063529"/>
                </a:lnTo>
                <a:lnTo>
                  <a:pt x="4405233" y="2063854"/>
                </a:lnTo>
                <a:lnTo>
                  <a:pt x="4404039" y="2063421"/>
                </a:lnTo>
                <a:lnTo>
                  <a:pt x="4403714" y="2061796"/>
                </a:lnTo>
                <a:lnTo>
                  <a:pt x="4405884" y="2057898"/>
                </a:lnTo>
                <a:close/>
                <a:moveTo>
                  <a:pt x="5248950" y="2057249"/>
                </a:moveTo>
                <a:lnTo>
                  <a:pt x="5257522" y="2064178"/>
                </a:lnTo>
                <a:lnTo>
                  <a:pt x="5264960" y="2066222"/>
                </a:lnTo>
                <a:lnTo>
                  <a:pt x="5257523" y="2064178"/>
                </a:lnTo>
                <a:close/>
                <a:moveTo>
                  <a:pt x="4944127" y="2056817"/>
                </a:moveTo>
                <a:lnTo>
                  <a:pt x="4944127" y="2056817"/>
                </a:lnTo>
                <a:lnTo>
                  <a:pt x="4949660" y="2057466"/>
                </a:lnTo>
                <a:lnTo>
                  <a:pt x="4949660" y="2057466"/>
                </a:lnTo>
                <a:close/>
                <a:moveTo>
                  <a:pt x="5238967" y="2055517"/>
                </a:moveTo>
                <a:lnTo>
                  <a:pt x="5238966" y="2055517"/>
                </a:lnTo>
                <a:lnTo>
                  <a:pt x="5243632" y="2057466"/>
                </a:lnTo>
                <a:lnTo>
                  <a:pt x="5243633" y="2057466"/>
                </a:lnTo>
                <a:close/>
                <a:moveTo>
                  <a:pt x="5574173" y="2055063"/>
                </a:moveTo>
                <a:lnTo>
                  <a:pt x="5574283" y="2055408"/>
                </a:lnTo>
                <a:lnTo>
                  <a:pt x="5578189" y="2055192"/>
                </a:lnTo>
                <a:lnTo>
                  <a:pt x="5579926" y="2059739"/>
                </a:lnTo>
                <a:lnTo>
                  <a:pt x="5579926" y="2059739"/>
                </a:lnTo>
                <a:lnTo>
                  <a:pt x="5578189" y="2055191"/>
                </a:lnTo>
                <a:lnTo>
                  <a:pt x="5574283" y="2055408"/>
                </a:lnTo>
                <a:close/>
                <a:moveTo>
                  <a:pt x="3299774" y="2053677"/>
                </a:moveTo>
                <a:lnTo>
                  <a:pt x="3302703" y="2054110"/>
                </a:lnTo>
                <a:lnTo>
                  <a:pt x="3304114" y="2056710"/>
                </a:lnTo>
                <a:close/>
                <a:moveTo>
                  <a:pt x="3321476" y="2052810"/>
                </a:moveTo>
                <a:lnTo>
                  <a:pt x="3323755" y="2054218"/>
                </a:lnTo>
                <a:lnTo>
                  <a:pt x="3323538" y="2056058"/>
                </a:lnTo>
                <a:lnTo>
                  <a:pt x="3320283" y="2053676"/>
                </a:lnTo>
                <a:close/>
                <a:moveTo>
                  <a:pt x="4495192" y="2051186"/>
                </a:moveTo>
                <a:lnTo>
                  <a:pt x="4497146" y="2053351"/>
                </a:lnTo>
                <a:lnTo>
                  <a:pt x="4499533" y="2054109"/>
                </a:lnTo>
                <a:lnTo>
                  <a:pt x="4499967" y="2058115"/>
                </a:lnTo>
                <a:lnTo>
                  <a:pt x="4498448" y="2058765"/>
                </a:lnTo>
                <a:lnTo>
                  <a:pt x="4497146" y="2056057"/>
                </a:lnTo>
                <a:lnTo>
                  <a:pt x="4495951" y="2055733"/>
                </a:lnTo>
                <a:lnTo>
                  <a:pt x="4493456" y="2051727"/>
                </a:lnTo>
                <a:close/>
                <a:moveTo>
                  <a:pt x="4465135" y="2050970"/>
                </a:moveTo>
                <a:lnTo>
                  <a:pt x="4468716" y="2054976"/>
                </a:lnTo>
                <a:lnTo>
                  <a:pt x="4472948" y="2056492"/>
                </a:lnTo>
                <a:lnTo>
                  <a:pt x="4476962" y="2058657"/>
                </a:lnTo>
                <a:lnTo>
                  <a:pt x="4477505" y="2059631"/>
                </a:lnTo>
                <a:lnTo>
                  <a:pt x="4480544" y="2059740"/>
                </a:lnTo>
                <a:lnTo>
                  <a:pt x="4481087" y="2058982"/>
                </a:lnTo>
                <a:lnTo>
                  <a:pt x="4486729" y="2064721"/>
                </a:lnTo>
                <a:lnTo>
                  <a:pt x="4488791" y="2068294"/>
                </a:lnTo>
                <a:lnTo>
                  <a:pt x="4488900" y="2070243"/>
                </a:lnTo>
                <a:lnTo>
                  <a:pt x="4489551" y="2072733"/>
                </a:lnTo>
                <a:lnTo>
                  <a:pt x="4489116" y="2076197"/>
                </a:lnTo>
                <a:lnTo>
                  <a:pt x="4492372" y="2079337"/>
                </a:lnTo>
                <a:lnTo>
                  <a:pt x="4493674" y="2078363"/>
                </a:lnTo>
                <a:lnTo>
                  <a:pt x="4497906" y="2078796"/>
                </a:lnTo>
                <a:lnTo>
                  <a:pt x="4496170" y="2083560"/>
                </a:lnTo>
                <a:lnTo>
                  <a:pt x="4494000" y="2082369"/>
                </a:lnTo>
                <a:lnTo>
                  <a:pt x="4491938" y="2083452"/>
                </a:lnTo>
                <a:lnTo>
                  <a:pt x="4488465" y="2081178"/>
                </a:lnTo>
                <a:lnTo>
                  <a:pt x="4487163" y="2078796"/>
                </a:lnTo>
                <a:lnTo>
                  <a:pt x="4487598" y="2076197"/>
                </a:lnTo>
                <a:lnTo>
                  <a:pt x="4485644" y="2074357"/>
                </a:lnTo>
                <a:lnTo>
                  <a:pt x="4482605" y="2069809"/>
                </a:lnTo>
                <a:lnTo>
                  <a:pt x="4481412" y="2067752"/>
                </a:lnTo>
                <a:lnTo>
                  <a:pt x="4478374" y="2068077"/>
                </a:lnTo>
                <a:lnTo>
                  <a:pt x="4474033" y="2065695"/>
                </a:lnTo>
                <a:lnTo>
                  <a:pt x="4472079" y="2062772"/>
                </a:lnTo>
                <a:lnTo>
                  <a:pt x="4469150" y="2062122"/>
                </a:lnTo>
                <a:lnTo>
                  <a:pt x="4467305" y="2059523"/>
                </a:lnTo>
                <a:lnTo>
                  <a:pt x="4465135" y="2058549"/>
                </a:lnTo>
                <a:lnTo>
                  <a:pt x="4464158" y="2057033"/>
                </a:lnTo>
                <a:lnTo>
                  <a:pt x="4461879" y="2055084"/>
                </a:lnTo>
                <a:lnTo>
                  <a:pt x="4457756" y="2055301"/>
                </a:lnTo>
                <a:lnTo>
                  <a:pt x="4455694" y="2054868"/>
                </a:lnTo>
                <a:lnTo>
                  <a:pt x="4459057" y="2051945"/>
                </a:lnTo>
                <a:close/>
                <a:moveTo>
                  <a:pt x="3979087" y="2049129"/>
                </a:moveTo>
                <a:lnTo>
                  <a:pt x="3980932" y="2052160"/>
                </a:lnTo>
                <a:lnTo>
                  <a:pt x="3978328" y="2054759"/>
                </a:lnTo>
                <a:lnTo>
                  <a:pt x="3975614" y="2058549"/>
                </a:lnTo>
                <a:lnTo>
                  <a:pt x="3972143" y="2055300"/>
                </a:lnTo>
                <a:lnTo>
                  <a:pt x="3972902" y="2050970"/>
                </a:lnTo>
                <a:close/>
                <a:moveTo>
                  <a:pt x="5451551" y="2047992"/>
                </a:moveTo>
                <a:lnTo>
                  <a:pt x="5452962" y="2049562"/>
                </a:lnTo>
                <a:lnTo>
                  <a:pt x="5456760" y="2048913"/>
                </a:lnTo>
                <a:lnTo>
                  <a:pt x="5460820" y="2051728"/>
                </a:lnTo>
                <a:lnTo>
                  <a:pt x="5456760" y="2048912"/>
                </a:lnTo>
                <a:lnTo>
                  <a:pt x="5452962" y="2049562"/>
                </a:lnTo>
                <a:close/>
                <a:moveTo>
                  <a:pt x="4472187" y="2045880"/>
                </a:moveTo>
                <a:lnTo>
                  <a:pt x="4474684" y="2046746"/>
                </a:lnTo>
                <a:lnTo>
                  <a:pt x="4475443" y="2049777"/>
                </a:lnTo>
                <a:lnTo>
                  <a:pt x="4474684" y="2051402"/>
                </a:lnTo>
                <a:lnTo>
                  <a:pt x="4470777" y="2046313"/>
                </a:lnTo>
                <a:close/>
                <a:moveTo>
                  <a:pt x="4468173" y="2045123"/>
                </a:moveTo>
                <a:lnTo>
                  <a:pt x="4469149" y="2046097"/>
                </a:lnTo>
                <a:lnTo>
                  <a:pt x="4467955" y="2048480"/>
                </a:lnTo>
                <a:lnTo>
                  <a:pt x="4466328" y="2046422"/>
                </a:lnTo>
                <a:close/>
                <a:moveTo>
                  <a:pt x="5437335" y="2044365"/>
                </a:moveTo>
                <a:lnTo>
                  <a:pt x="5437336" y="2044365"/>
                </a:lnTo>
                <a:lnTo>
                  <a:pt x="5444023" y="2045439"/>
                </a:lnTo>
                <a:close/>
                <a:moveTo>
                  <a:pt x="5004678" y="2044040"/>
                </a:moveTo>
                <a:lnTo>
                  <a:pt x="5000447" y="2045988"/>
                </a:lnTo>
                <a:lnTo>
                  <a:pt x="4997084" y="2044797"/>
                </a:lnTo>
                <a:lnTo>
                  <a:pt x="4997082" y="2044798"/>
                </a:lnTo>
                <a:lnTo>
                  <a:pt x="4994113" y="2045354"/>
                </a:lnTo>
                <a:lnTo>
                  <a:pt x="4997082" y="2044798"/>
                </a:lnTo>
                <a:lnTo>
                  <a:pt x="5000446" y="2045989"/>
                </a:lnTo>
                <a:lnTo>
                  <a:pt x="5004678" y="2044040"/>
                </a:lnTo>
                <a:close/>
                <a:moveTo>
                  <a:pt x="4537841" y="2038951"/>
                </a:moveTo>
                <a:lnTo>
                  <a:pt x="4538600" y="2040141"/>
                </a:lnTo>
                <a:lnTo>
                  <a:pt x="4537623" y="2042849"/>
                </a:lnTo>
                <a:lnTo>
                  <a:pt x="4538708" y="2043065"/>
                </a:lnTo>
                <a:lnTo>
                  <a:pt x="4539576" y="2046421"/>
                </a:lnTo>
                <a:lnTo>
                  <a:pt x="4539468" y="2051510"/>
                </a:lnTo>
                <a:lnTo>
                  <a:pt x="4534693" y="2051835"/>
                </a:lnTo>
                <a:lnTo>
                  <a:pt x="4531437" y="2050319"/>
                </a:lnTo>
                <a:lnTo>
                  <a:pt x="4532740" y="2048371"/>
                </a:lnTo>
                <a:lnTo>
                  <a:pt x="4534693" y="2046746"/>
                </a:lnTo>
                <a:lnTo>
                  <a:pt x="4535019" y="2043823"/>
                </a:lnTo>
                <a:lnTo>
                  <a:pt x="4531546" y="2043931"/>
                </a:lnTo>
                <a:lnTo>
                  <a:pt x="4530461" y="2046638"/>
                </a:lnTo>
                <a:lnTo>
                  <a:pt x="4529918" y="2049453"/>
                </a:lnTo>
                <a:lnTo>
                  <a:pt x="4527748" y="2049994"/>
                </a:lnTo>
                <a:lnTo>
                  <a:pt x="4526229" y="2049886"/>
                </a:lnTo>
                <a:lnTo>
                  <a:pt x="4522648" y="2046963"/>
                </a:lnTo>
                <a:lnTo>
                  <a:pt x="4524818" y="2043282"/>
                </a:lnTo>
                <a:lnTo>
                  <a:pt x="4530244" y="2041333"/>
                </a:lnTo>
                <a:lnTo>
                  <a:pt x="4532740" y="2039709"/>
                </a:lnTo>
                <a:close/>
                <a:moveTo>
                  <a:pt x="5007175" y="2038951"/>
                </a:moveTo>
                <a:lnTo>
                  <a:pt x="5007174" y="2038952"/>
                </a:lnTo>
                <a:lnTo>
                  <a:pt x="5009561" y="2038952"/>
                </a:lnTo>
                <a:lnTo>
                  <a:pt x="5009562" y="2038951"/>
                </a:lnTo>
                <a:close/>
                <a:moveTo>
                  <a:pt x="4998338" y="2038499"/>
                </a:moveTo>
                <a:lnTo>
                  <a:pt x="4997407" y="2039601"/>
                </a:lnTo>
                <a:lnTo>
                  <a:pt x="4997407" y="2044689"/>
                </a:lnTo>
                <a:lnTo>
                  <a:pt x="4997409" y="2044688"/>
                </a:lnTo>
                <a:lnTo>
                  <a:pt x="4997409" y="2039600"/>
                </a:lnTo>
                <a:close/>
                <a:moveTo>
                  <a:pt x="7025693" y="2038085"/>
                </a:moveTo>
                <a:lnTo>
                  <a:pt x="7027864" y="2040359"/>
                </a:lnTo>
                <a:lnTo>
                  <a:pt x="7026127" y="2041333"/>
                </a:lnTo>
                <a:lnTo>
                  <a:pt x="7024825" y="2040683"/>
                </a:lnTo>
                <a:close/>
                <a:moveTo>
                  <a:pt x="5498183" y="2037773"/>
                </a:moveTo>
                <a:lnTo>
                  <a:pt x="5498430" y="2038410"/>
                </a:lnTo>
                <a:lnTo>
                  <a:pt x="5501620" y="2039754"/>
                </a:lnTo>
                <a:lnTo>
                  <a:pt x="5498430" y="2038410"/>
                </a:lnTo>
                <a:close/>
                <a:moveTo>
                  <a:pt x="5168686" y="2036907"/>
                </a:moveTo>
                <a:lnTo>
                  <a:pt x="5170167" y="2041551"/>
                </a:lnTo>
                <a:lnTo>
                  <a:pt x="5170167" y="2048371"/>
                </a:lnTo>
                <a:lnTo>
                  <a:pt x="5170817" y="2052160"/>
                </a:lnTo>
                <a:lnTo>
                  <a:pt x="5170817" y="2064395"/>
                </a:lnTo>
                <a:lnTo>
                  <a:pt x="5170832" y="2064427"/>
                </a:lnTo>
                <a:lnTo>
                  <a:pt x="5171252" y="2052594"/>
                </a:lnTo>
                <a:lnTo>
                  <a:pt x="5170492" y="2048804"/>
                </a:lnTo>
                <a:lnTo>
                  <a:pt x="5170709" y="2041983"/>
                </a:lnTo>
                <a:lnTo>
                  <a:pt x="5169081" y="2037111"/>
                </a:lnTo>
                <a:close/>
                <a:moveTo>
                  <a:pt x="5565699" y="2036607"/>
                </a:moveTo>
                <a:lnTo>
                  <a:pt x="5569617" y="2039385"/>
                </a:lnTo>
                <a:lnTo>
                  <a:pt x="5573957" y="2041658"/>
                </a:lnTo>
                <a:lnTo>
                  <a:pt x="5573957" y="2041657"/>
                </a:lnTo>
                <a:lnTo>
                  <a:pt x="5569617" y="2039384"/>
                </a:lnTo>
                <a:close/>
                <a:moveTo>
                  <a:pt x="5559742" y="2036460"/>
                </a:moveTo>
                <a:lnTo>
                  <a:pt x="5557354" y="2040791"/>
                </a:lnTo>
                <a:lnTo>
                  <a:pt x="5556486" y="2047612"/>
                </a:lnTo>
                <a:lnTo>
                  <a:pt x="5553556" y="2050211"/>
                </a:lnTo>
                <a:lnTo>
                  <a:pt x="5551494" y="2053459"/>
                </a:lnTo>
                <a:lnTo>
                  <a:pt x="5551494" y="2053459"/>
                </a:lnTo>
                <a:lnTo>
                  <a:pt x="5553556" y="2050211"/>
                </a:lnTo>
                <a:lnTo>
                  <a:pt x="5556486" y="2047612"/>
                </a:lnTo>
                <a:lnTo>
                  <a:pt x="5557354" y="2040792"/>
                </a:lnTo>
                <a:lnTo>
                  <a:pt x="5559742" y="2036461"/>
                </a:lnTo>
                <a:lnTo>
                  <a:pt x="5565493" y="2036461"/>
                </a:lnTo>
                <a:lnTo>
                  <a:pt x="5565492" y="2036460"/>
                </a:lnTo>
                <a:close/>
                <a:moveTo>
                  <a:pt x="5035380" y="2034708"/>
                </a:moveTo>
                <a:lnTo>
                  <a:pt x="5034954" y="2035054"/>
                </a:lnTo>
                <a:lnTo>
                  <a:pt x="5036257" y="2037436"/>
                </a:lnTo>
                <a:lnTo>
                  <a:pt x="5041790" y="2040900"/>
                </a:lnTo>
                <a:lnTo>
                  <a:pt x="5041792" y="2040899"/>
                </a:lnTo>
                <a:lnTo>
                  <a:pt x="5036258" y="2037435"/>
                </a:lnTo>
                <a:lnTo>
                  <a:pt x="5034956" y="2035053"/>
                </a:lnTo>
                <a:close/>
                <a:moveTo>
                  <a:pt x="7033181" y="2032888"/>
                </a:moveTo>
                <a:lnTo>
                  <a:pt x="7033941" y="2036678"/>
                </a:lnTo>
                <a:lnTo>
                  <a:pt x="7031987" y="2038519"/>
                </a:lnTo>
                <a:lnTo>
                  <a:pt x="7029925" y="2038302"/>
                </a:lnTo>
                <a:lnTo>
                  <a:pt x="7028406" y="2036461"/>
                </a:lnTo>
                <a:lnTo>
                  <a:pt x="7030251" y="2033321"/>
                </a:lnTo>
                <a:close/>
                <a:moveTo>
                  <a:pt x="5054597" y="2032454"/>
                </a:moveTo>
                <a:lnTo>
                  <a:pt x="5052644" y="2034186"/>
                </a:lnTo>
                <a:lnTo>
                  <a:pt x="5051233" y="2037976"/>
                </a:lnTo>
                <a:lnTo>
                  <a:pt x="5052969" y="2044147"/>
                </a:lnTo>
                <a:lnTo>
                  <a:pt x="5052535" y="2047937"/>
                </a:lnTo>
                <a:lnTo>
                  <a:pt x="5053729" y="2049994"/>
                </a:lnTo>
                <a:lnTo>
                  <a:pt x="5053512" y="2059088"/>
                </a:lnTo>
                <a:lnTo>
                  <a:pt x="5051450" y="2060388"/>
                </a:lnTo>
                <a:lnTo>
                  <a:pt x="5047543" y="2059522"/>
                </a:lnTo>
                <a:lnTo>
                  <a:pt x="5046024" y="2056815"/>
                </a:lnTo>
                <a:lnTo>
                  <a:pt x="5042009" y="2054866"/>
                </a:lnTo>
                <a:lnTo>
                  <a:pt x="5034087" y="2046097"/>
                </a:lnTo>
                <a:lnTo>
                  <a:pt x="5034086" y="2046097"/>
                </a:lnTo>
                <a:lnTo>
                  <a:pt x="5042008" y="2054868"/>
                </a:lnTo>
                <a:lnTo>
                  <a:pt x="5046023" y="2056816"/>
                </a:lnTo>
                <a:lnTo>
                  <a:pt x="5047543" y="2059523"/>
                </a:lnTo>
                <a:lnTo>
                  <a:pt x="5051449" y="2060390"/>
                </a:lnTo>
                <a:lnTo>
                  <a:pt x="5053511" y="2059090"/>
                </a:lnTo>
                <a:lnTo>
                  <a:pt x="5053511" y="2060497"/>
                </a:lnTo>
                <a:lnTo>
                  <a:pt x="5056984" y="2065478"/>
                </a:lnTo>
                <a:lnTo>
                  <a:pt x="5057634" y="2071108"/>
                </a:lnTo>
                <a:lnTo>
                  <a:pt x="5056657" y="2076629"/>
                </a:lnTo>
                <a:lnTo>
                  <a:pt x="5058177" y="2078903"/>
                </a:lnTo>
                <a:lnTo>
                  <a:pt x="5059706" y="2079134"/>
                </a:lnTo>
                <a:lnTo>
                  <a:pt x="5058611" y="2077496"/>
                </a:lnTo>
                <a:lnTo>
                  <a:pt x="5059588" y="2071974"/>
                </a:lnTo>
                <a:lnTo>
                  <a:pt x="5058937" y="2066344"/>
                </a:lnTo>
                <a:lnTo>
                  <a:pt x="5055464" y="2061364"/>
                </a:lnTo>
                <a:lnTo>
                  <a:pt x="5055464" y="2050537"/>
                </a:lnTo>
                <a:lnTo>
                  <a:pt x="5054270" y="2048480"/>
                </a:lnTo>
                <a:lnTo>
                  <a:pt x="5054270" y="2044690"/>
                </a:lnTo>
                <a:lnTo>
                  <a:pt x="5052534" y="2038519"/>
                </a:lnTo>
                <a:lnTo>
                  <a:pt x="5053945" y="2034729"/>
                </a:lnTo>
                <a:lnTo>
                  <a:pt x="5055466" y="2033379"/>
                </a:lnTo>
                <a:close/>
                <a:moveTo>
                  <a:pt x="4960078" y="2032130"/>
                </a:moveTo>
                <a:lnTo>
                  <a:pt x="4960078" y="2032131"/>
                </a:lnTo>
                <a:lnTo>
                  <a:pt x="4970495" y="2037760"/>
                </a:lnTo>
                <a:lnTo>
                  <a:pt x="4970495" y="2037759"/>
                </a:lnTo>
                <a:close/>
                <a:moveTo>
                  <a:pt x="4995672" y="2031264"/>
                </a:moveTo>
                <a:lnTo>
                  <a:pt x="4995671" y="2031264"/>
                </a:lnTo>
                <a:lnTo>
                  <a:pt x="4999144" y="2037544"/>
                </a:lnTo>
                <a:lnTo>
                  <a:pt x="4999144" y="2037543"/>
                </a:lnTo>
                <a:close/>
                <a:moveTo>
                  <a:pt x="3771611" y="2030508"/>
                </a:moveTo>
                <a:lnTo>
                  <a:pt x="3771171" y="2030614"/>
                </a:lnTo>
                <a:lnTo>
                  <a:pt x="3777465" y="2042307"/>
                </a:lnTo>
                <a:lnTo>
                  <a:pt x="3782999" y="2045771"/>
                </a:lnTo>
                <a:lnTo>
                  <a:pt x="3783215" y="2052152"/>
                </a:lnTo>
                <a:lnTo>
                  <a:pt x="3783215" y="2045446"/>
                </a:lnTo>
                <a:lnTo>
                  <a:pt x="3777681" y="2041982"/>
                </a:lnTo>
                <a:close/>
                <a:moveTo>
                  <a:pt x="4001768" y="2030505"/>
                </a:moveTo>
                <a:lnTo>
                  <a:pt x="4007302" y="2031371"/>
                </a:lnTo>
                <a:lnTo>
                  <a:pt x="4012185" y="2031696"/>
                </a:lnTo>
                <a:lnTo>
                  <a:pt x="4006759" y="2036568"/>
                </a:lnTo>
                <a:lnTo>
                  <a:pt x="4004698" y="2042740"/>
                </a:lnTo>
                <a:lnTo>
                  <a:pt x="4000900" y="2039276"/>
                </a:lnTo>
                <a:lnTo>
                  <a:pt x="3996125" y="2037760"/>
                </a:lnTo>
                <a:lnTo>
                  <a:pt x="3997102" y="2033645"/>
                </a:lnTo>
                <a:close/>
                <a:moveTo>
                  <a:pt x="5018064" y="2029913"/>
                </a:moveTo>
                <a:lnTo>
                  <a:pt x="5016507" y="2032021"/>
                </a:lnTo>
                <a:lnTo>
                  <a:pt x="5013686" y="2033212"/>
                </a:lnTo>
                <a:lnTo>
                  <a:pt x="5013685" y="2033213"/>
                </a:lnTo>
                <a:lnTo>
                  <a:pt x="5016507" y="2032022"/>
                </a:lnTo>
                <a:close/>
                <a:moveTo>
                  <a:pt x="4981130" y="2029640"/>
                </a:moveTo>
                <a:lnTo>
                  <a:pt x="4991764" y="2045771"/>
                </a:lnTo>
                <a:lnTo>
                  <a:pt x="4990462" y="2049561"/>
                </a:lnTo>
                <a:lnTo>
                  <a:pt x="4983734" y="2045771"/>
                </a:lnTo>
                <a:lnTo>
                  <a:pt x="4977549" y="2045555"/>
                </a:lnTo>
                <a:lnTo>
                  <a:pt x="4971364" y="2042416"/>
                </a:lnTo>
                <a:lnTo>
                  <a:pt x="4971364" y="2042416"/>
                </a:lnTo>
                <a:lnTo>
                  <a:pt x="4977549" y="2045556"/>
                </a:lnTo>
                <a:lnTo>
                  <a:pt x="4983735" y="2045772"/>
                </a:lnTo>
                <a:lnTo>
                  <a:pt x="4990463" y="2049562"/>
                </a:lnTo>
                <a:lnTo>
                  <a:pt x="4991764" y="2045772"/>
                </a:lnTo>
                <a:lnTo>
                  <a:pt x="4991766" y="2045772"/>
                </a:lnTo>
                <a:lnTo>
                  <a:pt x="4981253" y="2029825"/>
                </a:lnTo>
                <a:close/>
                <a:moveTo>
                  <a:pt x="5159797" y="2029365"/>
                </a:moveTo>
                <a:lnTo>
                  <a:pt x="5162244" y="2033538"/>
                </a:lnTo>
                <a:lnTo>
                  <a:pt x="5162746" y="2033793"/>
                </a:lnTo>
                <a:lnTo>
                  <a:pt x="5160183" y="2029424"/>
                </a:lnTo>
                <a:close/>
                <a:moveTo>
                  <a:pt x="3782033" y="2028755"/>
                </a:moveTo>
                <a:lnTo>
                  <a:pt x="3781470" y="2029530"/>
                </a:lnTo>
                <a:lnTo>
                  <a:pt x="3781479" y="2029531"/>
                </a:lnTo>
                <a:close/>
                <a:moveTo>
                  <a:pt x="4383312" y="2028124"/>
                </a:moveTo>
                <a:lnTo>
                  <a:pt x="4385483" y="2029423"/>
                </a:lnTo>
                <a:lnTo>
                  <a:pt x="4385265" y="2034187"/>
                </a:lnTo>
                <a:lnTo>
                  <a:pt x="4387978" y="2037110"/>
                </a:lnTo>
                <a:lnTo>
                  <a:pt x="4391017" y="2038301"/>
                </a:lnTo>
                <a:lnTo>
                  <a:pt x="4391559" y="2039925"/>
                </a:lnTo>
                <a:lnTo>
                  <a:pt x="4390474" y="2040791"/>
                </a:lnTo>
                <a:lnTo>
                  <a:pt x="4386568" y="2038950"/>
                </a:lnTo>
                <a:lnTo>
                  <a:pt x="4382336" y="2034511"/>
                </a:lnTo>
                <a:lnTo>
                  <a:pt x="4382010" y="2033104"/>
                </a:lnTo>
                <a:lnTo>
                  <a:pt x="4379514" y="2032130"/>
                </a:lnTo>
                <a:lnTo>
                  <a:pt x="4379189" y="2029640"/>
                </a:lnTo>
                <a:close/>
                <a:moveTo>
                  <a:pt x="5154540" y="2027366"/>
                </a:moveTo>
                <a:lnTo>
                  <a:pt x="5151719" y="2028016"/>
                </a:lnTo>
                <a:lnTo>
                  <a:pt x="5151730" y="2028127"/>
                </a:lnTo>
                <a:lnTo>
                  <a:pt x="5153998" y="2027584"/>
                </a:lnTo>
                <a:lnTo>
                  <a:pt x="5156059" y="2029099"/>
                </a:lnTo>
                <a:lnTo>
                  <a:pt x="5158034" y="2029099"/>
                </a:lnTo>
                <a:lnTo>
                  <a:pt x="5156602" y="2028882"/>
                </a:lnTo>
                <a:close/>
                <a:moveTo>
                  <a:pt x="5023019" y="2027257"/>
                </a:moveTo>
                <a:lnTo>
                  <a:pt x="5019546" y="2027907"/>
                </a:lnTo>
                <a:lnTo>
                  <a:pt x="5019545" y="2027908"/>
                </a:lnTo>
                <a:lnTo>
                  <a:pt x="5023018" y="2027258"/>
                </a:lnTo>
                <a:close/>
                <a:moveTo>
                  <a:pt x="5027468" y="2023901"/>
                </a:moveTo>
                <a:lnTo>
                  <a:pt x="5027466" y="2023902"/>
                </a:lnTo>
                <a:lnTo>
                  <a:pt x="5029962" y="2024011"/>
                </a:lnTo>
                <a:lnTo>
                  <a:pt x="5030396" y="2025309"/>
                </a:lnTo>
                <a:lnTo>
                  <a:pt x="5032675" y="2025850"/>
                </a:lnTo>
                <a:lnTo>
                  <a:pt x="5034737" y="2029424"/>
                </a:lnTo>
                <a:lnTo>
                  <a:pt x="5037884" y="2032671"/>
                </a:lnTo>
                <a:lnTo>
                  <a:pt x="5037885" y="2032670"/>
                </a:lnTo>
                <a:lnTo>
                  <a:pt x="5034738" y="2029423"/>
                </a:lnTo>
                <a:lnTo>
                  <a:pt x="5032676" y="2025850"/>
                </a:lnTo>
                <a:lnTo>
                  <a:pt x="5030398" y="2025308"/>
                </a:lnTo>
                <a:lnTo>
                  <a:pt x="5029963" y="2024009"/>
                </a:lnTo>
                <a:close/>
                <a:moveTo>
                  <a:pt x="5157482" y="2023137"/>
                </a:moveTo>
                <a:lnTo>
                  <a:pt x="5155802" y="2023539"/>
                </a:lnTo>
                <a:lnTo>
                  <a:pt x="5155843" y="2023577"/>
                </a:lnTo>
                <a:close/>
                <a:moveTo>
                  <a:pt x="4026401" y="2022060"/>
                </a:moveTo>
                <a:lnTo>
                  <a:pt x="4031285" y="2027041"/>
                </a:lnTo>
                <a:lnTo>
                  <a:pt x="4030091" y="2029531"/>
                </a:lnTo>
                <a:lnTo>
                  <a:pt x="4026293" y="2027474"/>
                </a:lnTo>
                <a:lnTo>
                  <a:pt x="4018480" y="2026715"/>
                </a:lnTo>
                <a:lnTo>
                  <a:pt x="4019565" y="2023468"/>
                </a:lnTo>
                <a:close/>
                <a:moveTo>
                  <a:pt x="5153130" y="2021845"/>
                </a:moveTo>
                <a:lnTo>
                  <a:pt x="5148680" y="2025417"/>
                </a:lnTo>
                <a:lnTo>
                  <a:pt x="5148680" y="2029748"/>
                </a:lnTo>
                <a:lnTo>
                  <a:pt x="5151285" y="2033755"/>
                </a:lnTo>
                <a:lnTo>
                  <a:pt x="5151285" y="2032036"/>
                </a:lnTo>
                <a:lnTo>
                  <a:pt x="5149657" y="2029532"/>
                </a:lnTo>
                <a:lnTo>
                  <a:pt x="5149331" y="2025309"/>
                </a:lnTo>
                <a:lnTo>
                  <a:pt x="5153317" y="2022012"/>
                </a:lnTo>
                <a:close/>
                <a:moveTo>
                  <a:pt x="5496910" y="2021519"/>
                </a:moveTo>
                <a:lnTo>
                  <a:pt x="5490182" y="2021735"/>
                </a:lnTo>
                <a:lnTo>
                  <a:pt x="5486059" y="2023901"/>
                </a:lnTo>
                <a:lnTo>
                  <a:pt x="5485005" y="2022388"/>
                </a:lnTo>
                <a:lnTo>
                  <a:pt x="5486059" y="2023901"/>
                </a:lnTo>
                <a:lnTo>
                  <a:pt x="5490183" y="2021736"/>
                </a:lnTo>
                <a:lnTo>
                  <a:pt x="5496910" y="2021520"/>
                </a:lnTo>
                <a:close/>
                <a:moveTo>
                  <a:pt x="4952645" y="2020977"/>
                </a:moveTo>
                <a:lnTo>
                  <a:pt x="4955737" y="2024660"/>
                </a:lnTo>
                <a:lnTo>
                  <a:pt x="4958775" y="2024335"/>
                </a:lnTo>
                <a:lnTo>
                  <a:pt x="4960403" y="2028666"/>
                </a:lnTo>
                <a:lnTo>
                  <a:pt x="4960403" y="2028665"/>
                </a:lnTo>
                <a:lnTo>
                  <a:pt x="4958776" y="2024335"/>
                </a:lnTo>
                <a:lnTo>
                  <a:pt x="4955737" y="2024659"/>
                </a:lnTo>
                <a:close/>
                <a:moveTo>
                  <a:pt x="4971472" y="2020329"/>
                </a:moveTo>
                <a:lnTo>
                  <a:pt x="4973278" y="2023932"/>
                </a:lnTo>
                <a:lnTo>
                  <a:pt x="4971472" y="2020329"/>
                </a:lnTo>
                <a:close/>
                <a:moveTo>
                  <a:pt x="4967349" y="2020329"/>
                </a:moveTo>
                <a:lnTo>
                  <a:pt x="4964636" y="2022710"/>
                </a:lnTo>
                <a:lnTo>
                  <a:pt x="4964636" y="2022710"/>
                </a:lnTo>
                <a:close/>
                <a:moveTo>
                  <a:pt x="4951059" y="2020167"/>
                </a:moveTo>
                <a:lnTo>
                  <a:pt x="4951397" y="2020654"/>
                </a:lnTo>
                <a:lnTo>
                  <a:pt x="4952373" y="2020654"/>
                </a:lnTo>
                <a:lnTo>
                  <a:pt x="4952373" y="2020653"/>
                </a:lnTo>
                <a:lnTo>
                  <a:pt x="4951397" y="2020653"/>
                </a:lnTo>
                <a:close/>
                <a:moveTo>
                  <a:pt x="5160834" y="2018056"/>
                </a:moveTo>
                <a:lnTo>
                  <a:pt x="5160275" y="2018283"/>
                </a:lnTo>
                <a:lnTo>
                  <a:pt x="5163330" y="2022278"/>
                </a:lnTo>
                <a:lnTo>
                  <a:pt x="5162165" y="2023887"/>
                </a:lnTo>
                <a:lnTo>
                  <a:pt x="5162570" y="2024010"/>
                </a:lnTo>
                <a:lnTo>
                  <a:pt x="5163981" y="2022170"/>
                </a:lnTo>
                <a:close/>
                <a:moveTo>
                  <a:pt x="4511689" y="2017730"/>
                </a:moveTo>
                <a:lnTo>
                  <a:pt x="4514184" y="2019029"/>
                </a:lnTo>
                <a:lnTo>
                  <a:pt x="4511145" y="2022277"/>
                </a:lnTo>
                <a:lnTo>
                  <a:pt x="4510603" y="2026825"/>
                </a:lnTo>
                <a:lnTo>
                  <a:pt x="4507890" y="2025634"/>
                </a:lnTo>
                <a:lnTo>
                  <a:pt x="4505936" y="2025959"/>
                </a:lnTo>
                <a:lnTo>
                  <a:pt x="4503766" y="2024118"/>
                </a:lnTo>
                <a:lnTo>
                  <a:pt x="4502681" y="2020545"/>
                </a:lnTo>
                <a:lnTo>
                  <a:pt x="4503875" y="2018704"/>
                </a:lnTo>
                <a:lnTo>
                  <a:pt x="4507673" y="2018596"/>
                </a:lnTo>
                <a:lnTo>
                  <a:pt x="4509301" y="2020004"/>
                </a:lnTo>
                <a:close/>
                <a:moveTo>
                  <a:pt x="3783647" y="2016860"/>
                </a:moveTo>
                <a:lnTo>
                  <a:pt x="3783325" y="2017188"/>
                </a:lnTo>
                <a:lnTo>
                  <a:pt x="3787394" y="2021248"/>
                </a:lnTo>
                <a:lnTo>
                  <a:pt x="3787665" y="2020870"/>
                </a:lnTo>
                <a:close/>
                <a:moveTo>
                  <a:pt x="4947445" y="2015087"/>
                </a:moveTo>
                <a:lnTo>
                  <a:pt x="4948575" y="2016215"/>
                </a:lnTo>
                <a:lnTo>
                  <a:pt x="4948575" y="2016214"/>
                </a:lnTo>
                <a:close/>
                <a:moveTo>
                  <a:pt x="4975271" y="2011342"/>
                </a:moveTo>
                <a:lnTo>
                  <a:pt x="4975270" y="2011343"/>
                </a:lnTo>
                <a:lnTo>
                  <a:pt x="4978417" y="2018596"/>
                </a:lnTo>
                <a:lnTo>
                  <a:pt x="4989052" y="2024443"/>
                </a:lnTo>
                <a:lnTo>
                  <a:pt x="4995997" y="2024768"/>
                </a:lnTo>
                <a:lnTo>
                  <a:pt x="5001531" y="2029964"/>
                </a:lnTo>
                <a:lnTo>
                  <a:pt x="5001532" y="2029964"/>
                </a:lnTo>
                <a:lnTo>
                  <a:pt x="4995998" y="2024766"/>
                </a:lnTo>
                <a:lnTo>
                  <a:pt x="4989053" y="2024442"/>
                </a:lnTo>
                <a:lnTo>
                  <a:pt x="4978418" y="2018595"/>
                </a:lnTo>
                <a:close/>
                <a:moveTo>
                  <a:pt x="4524818" y="2009718"/>
                </a:moveTo>
                <a:lnTo>
                  <a:pt x="4527097" y="2011234"/>
                </a:lnTo>
                <a:lnTo>
                  <a:pt x="4526446" y="2013832"/>
                </a:lnTo>
                <a:lnTo>
                  <a:pt x="4521672" y="2015132"/>
                </a:lnTo>
                <a:lnTo>
                  <a:pt x="4517982" y="2013616"/>
                </a:lnTo>
                <a:lnTo>
                  <a:pt x="4518850" y="2011775"/>
                </a:lnTo>
                <a:lnTo>
                  <a:pt x="4522322" y="2011667"/>
                </a:lnTo>
                <a:close/>
                <a:moveTo>
                  <a:pt x="5145534" y="2008744"/>
                </a:moveTo>
                <a:lnTo>
                  <a:pt x="5145286" y="2009029"/>
                </a:lnTo>
                <a:lnTo>
                  <a:pt x="5151935" y="2010152"/>
                </a:lnTo>
                <a:lnTo>
                  <a:pt x="5152312" y="2009889"/>
                </a:lnTo>
                <a:close/>
                <a:moveTo>
                  <a:pt x="4925570" y="2007987"/>
                </a:moveTo>
                <a:lnTo>
                  <a:pt x="4925570" y="2007987"/>
                </a:lnTo>
                <a:lnTo>
                  <a:pt x="4932406" y="2012101"/>
                </a:lnTo>
                <a:lnTo>
                  <a:pt x="4939894" y="2012426"/>
                </a:lnTo>
                <a:lnTo>
                  <a:pt x="4944452" y="2012101"/>
                </a:lnTo>
                <a:lnTo>
                  <a:pt x="4944451" y="2012100"/>
                </a:lnTo>
                <a:lnTo>
                  <a:pt x="4939894" y="2012425"/>
                </a:lnTo>
                <a:lnTo>
                  <a:pt x="4932406" y="2012100"/>
                </a:lnTo>
                <a:close/>
                <a:moveTo>
                  <a:pt x="5155843" y="2007770"/>
                </a:moveTo>
                <a:lnTo>
                  <a:pt x="5155394" y="2008069"/>
                </a:lnTo>
                <a:lnTo>
                  <a:pt x="5157036" y="2009610"/>
                </a:lnTo>
                <a:lnTo>
                  <a:pt x="5155842" y="2014374"/>
                </a:lnTo>
                <a:lnTo>
                  <a:pt x="5157253" y="2019354"/>
                </a:lnTo>
                <a:lnTo>
                  <a:pt x="5157867" y="2019105"/>
                </a:lnTo>
                <a:lnTo>
                  <a:pt x="5156602" y="2014266"/>
                </a:lnTo>
                <a:lnTo>
                  <a:pt x="5157796" y="2009393"/>
                </a:lnTo>
                <a:close/>
                <a:moveTo>
                  <a:pt x="4518307" y="2004197"/>
                </a:moveTo>
                <a:lnTo>
                  <a:pt x="4521237" y="2004954"/>
                </a:lnTo>
                <a:lnTo>
                  <a:pt x="4521345" y="2007121"/>
                </a:lnTo>
                <a:lnTo>
                  <a:pt x="4518741" y="2008095"/>
                </a:lnTo>
                <a:lnTo>
                  <a:pt x="4514292" y="2006254"/>
                </a:lnTo>
                <a:lnTo>
                  <a:pt x="4515052" y="2004630"/>
                </a:lnTo>
                <a:close/>
                <a:moveTo>
                  <a:pt x="5364504" y="2000565"/>
                </a:moveTo>
                <a:lnTo>
                  <a:pt x="5371465" y="2003764"/>
                </a:lnTo>
                <a:lnTo>
                  <a:pt x="5387309" y="2013725"/>
                </a:lnTo>
                <a:lnTo>
                  <a:pt x="5403261" y="2025417"/>
                </a:lnTo>
                <a:lnTo>
                  <a:pt x="5421166" y="2033430"/>
                </a:lnTo>
                <a:lnTo>
                  <a:pt x="5431893" y="2040684"/>
                </a:lnTo>
                <a:lnTo>
                  <a:pt x="5421166" y="2033429"/>
                </a:lnTo>
                <a:lnTo>
                  <a:pt x="5403261" y="2025417"/>
                </a:lnTo>
                <a:lnTo>
                  <a:pt x="5387309" y="2013724"/>
                </a:lnTo>
                <a:lnTo>
                  <a:pt x="5371466" y="2003763"/>
                </a:lnTo>
                <a:close/>
                <a:moveTo>
                  <a:pt x="4494216" y="1997483"/>
                </a:moveTo>
                <a:lnTo>
                  <a:pt x="4497471" y="1999107"/>
                </a:lnTo>
                <a:lnTo>
                  <a:pt x="4497905" y="2001705"/>
                </a:lnTo>
                <a:lnTo>
                  <a:pt x="4494867" y="2003221"/>
                </a:lnTo>
                <a:lnTo>
                  <a:pt x="4493564" y="2002354"/>
                </a:lnTo>
                <a:lnTo>
                  <a:pt x="4490961" y="2002462"/>
                </a:lnTo>
                <a:lnTo>
                  <a:pt x="4492371" y="1998132"/>
                </a:lnTo>
                <a:close/>
                <a:moveTo>
                  <a:pt x="4429974" y="1990555"/>
                </a:moveTo>
                <a:lnTo>
                  <a:pt x="4429649" y="1992611"/>
                </a:lnTo>
                <a:lnTo>
                  <a:pt x="4429649" y="1992611"/>
                </a:lnTo>
                <a:lnTo>
                  <a:pt x="4429975" y="1990555"/>
                </a:lnTo>
                <a:close/>
                <a:moveTo>
                  <a:pt x="5072693" y="1990446"/>
                </a:moveTo>
                <a:lnTo>
                  <a:pt x="5078362" y="1992827"/>
                </a:lnTo>
                <a:lnTo>
                  <a:pt x="5081726" y="1997807"/>
                </a:lnTo>
                <a:lnTo>
                  <a:pt x="5078145" y="1997266"/>
                </a:lnTo>
                <a:lnTo>
                  <a:pt x="5074889" y="1999648"/>
                </a:lnTo>
                <a:lnTo>
                  <a:pt x="5068487" y="1999973"/>
                </a:lnTo>
                <a:lnTo>
                  <a:pt x="5061217" y="2006036"/>
                </a:lnTo>
                <a:lnTo>
                  <a:pt x="5061759" y="2012207"/>
                </a:lnTo>
                <a:lnTo>
                  <a:pt x="5062627" y="2017188"/>
                </a:lnTo>
                <a:lnTo>
                  <a:pt x="5060457" y="2020111"/>
                </a:lnTo>
                <a:lnTo>
                  <a:pt x="5059914" y="2024442"/>
                </a:lnTo>
                <a:lnTo>
                  <a:pt x="5061434" y="2026933"/>
                </a:lnTo>
                <a:lnTo>
                  <a:pt x="5061434" y="2030397"/>
                </a:lnTo>
                <a:lnTo>
                  <a:pt x="5059155" y="2032454"/>
                </a:lnTo>
                <a:lnTo>
                  <a:pt x="5059155" y="2040682"/>
                </a:lnTo>
                <a:lnTo>
                  <a:pt x="5058276" y="2042801"/>
                </a:lnTo>
                <a:lnTo>
                  <a:pt x="5059153" y="2044365"/>
                </a:lnTo>
                <a:lnTo>
                  <a:pt x="5060564" y="2041225"/>
                </a:lnTo>
                <a:lnTo>
                  <a:pt x="5060564" y="2032997"/>
                </a:lnTo>
                <a:lnTo>
                  <a:pt x="5062843" y="2030939"/>
                </a:lnTo>
                <a:lnTo>
                  <a:pt x="5062843" y="2027475"/>
                </a:lnTo>
                <a:lnTo>
                  <a:pt x="5061324" y="2024876"/>
                </a:lnTo>
                <a:lnTo>
                  <a:pt x="5061324" y="2020546"/>
                </a:lnTo>
                <a:lnTo>
                  <a:pt x="5063603" y="2017622"/>
                </a:lnTo>
                <a:lnTo>
                  <a:pt x="5062734" y="2012642"/>
                </a:lnTo>
                <a:lnTo>
                  <a:pt x="5062734" y="2006470"/>
                </a:lnTo>
                <a:lnTo>
                  <a:pt x="5070005" y="2000407"/>
                </a:lnTo>
                <a:lnTo>
                  <a:pt x="5076408" y="2000407"/>
                </a:lnTo>
                <a:lnTo>
                  <a:pt x="5079663" y="1998025"/>
                </a:lnTo>
                <a:lnTo>
                  <a:pt x="5083244" y="1998025"/>
                </a:lnTo>
                <a:lnTo>
                  <a:pt x="5079772" y="1993045"/>
                </a:lnTo>
                <a:lnTo>
                  <a:pt x="5073586" y="1990446"/>
                </a:lnTo>
                <a:close/>
                <a:moveTo>
                  <a:pt x="3788350" y="1990424"/>
                </a:moveTo>
                <a:lnTo>
                  <a:pt x="3788100" y="1990662"/>
                </a:lnTo>
                <a:lnTo>
                  <a:pt x="3789185" y="1996942"/>
                </a:lnTo>
                <a:lnTo>
                  <a:pt x="3788431" y="2011876"/>
                </a:lnTo>
                <a:lnTo>
                  <a:pt x="3788750" y="2011558"/>
                </a:lnTo>
                <a:lnTo>
                  <a:pt x="3789401" y="1996400"/>
                </a:lnTo>
                <a:close/>
                <a:moveTo>
                  <a:pt x="4139911" y="1986656"/>
                </a:moveTo>
                <a:lnTo>
                  <a:pt x="4144142" y="1989904"/>
                </a:lnTo>
                <a:lnTo>
                  <a:pt x="4145878" y="1988172"/>
                </a:lnTo>
                <a:lnTo>
                  <a:pt x="4149351" y="1994451"/>
                </a:lnTo>
                <a:lnTo>
                  <a:pt x="4152390" y="1997916"/>
                </a:lnTo>
                <a:lnTo>
                  <a:pt x="4153692" y="2003438"/>
                </a:lnTo>
                <a:lnTo>
                  <a:pt x="4152933" y="2007119"/>
                </a:lnTo>
                <a:lnTo>
                  <a:pt x="4147723" y="2010476"/>
                </a:lnTo>
                <a:lnTo>
                  <a:pt x="4153909" y="2015889"/>
                </a:lnTo>
                <a:lnTo>
                  <a:pt x="4152064" y="2024551"/>
                </a:lnTo>
                <a:lnTo>
                  <a:pt x="4153150" y="2034186"/>
                </a:lnTo>
                <a:lnTo>
                  <a:pt x="4152282" y="2036677"/>
                </a:lnTo>
                <a:lnTo>
                  <a:pt x="4152282" y="2045555"/>
                </a:lnTo>
                <a:lnTo>
                  <a:pt x="4150437" y="2048912"/>
                </a:lnTo>
                <a:lnTo>
                  <a:pt x="4147723" y="2048912"/>
                </a:lnTo>
                <a:lnTo>
                  <a:pt x="4144794" y="2046096"/>
                </a:lnTo>
                <a:lnTo>
                  <a:pt x="4140344" y="2045663"/>
                </a:lnTo>
                <a:lnTo>
                  <a:pt x="4138825" y="2048912"/>
                </a:lnTo>
                <a:lnTo>
                  <a:pt x="4138499" y="2054325"/>
                </a:lnTo>
                <a:lnTo>
                  <a:pt x="4135136" y="2055841"/>
                </a:lnTo>
                <a:lnTo>
                  <a:pt x="4132748" y="2054758"/>
                </a:lnTo>
                <a:lnTo>
                  <a:pt x="4130904" y="2055841"/>
                </a:lnTo>
                <a:lnTo>
                  <a:pt x="4127322" y="2052051"/>
                </a:lnTo>
                <a:lnTo>
                  <a:pt x="4124935" y="2042307"/>
                </a:lnTo>
                <a:lnTo>
                  <a:pt x="4122982" y="2039167"/>
                </a:lnTo>
                <a:lnTo>
                  <a:pt x="4125152" y="2030830"/>
                </a:lnTo>
                <a:lnTo>
                  <a:pt x="4127973" y="2027474"/>
                </a:lnTo>
                <a:lnTo>
                  <a:pt x="4127973" y="2025525"/>
                </a:lnTo>
                <a:lnTo>
                  <a:pt x="4123307" y="2025092"/>
                </a:lnTo>
                <a:lnTo>
                  <a:pt x="4121896" y="2022276"/>
                </a:lnTo>
                <a:lnTo>
                  <a:pt x="4125260" y="2018596"/>
                </a:lnTo>
                <a:lnTo>
                  <a:pt x="4125260" y="2013074"/>
                </a:lnTo>
                <a:lnTo>
                  <a:pt x="4122222" y="2010367"/>
                </a:lnTo>
                <a:lnTo>
                  <a:pt x="4121354" y="2006686"/>
                </a:lnTo>
                <a:lnTo>
                  <a:pt x="4117556" y="2002896"/>
                </a:lnTo>
                <a:lnTo>
                  <a:pt x="4118424" y="1999540"/>
                </a:lnTo>
                <a:lnTo>
                  <a:pt x="4118424" y="1994235"/>
                </a:lnTo>
                <a:lnTo>
                  <a:pt x="4123850" y="1997483"/>
                </a:lnTo>
                <a:lnTo>
                  <a:pt x="4127648" y="1997374"/>
                </a:lnTo>
                <a:lnTo>
                  <a:pt x="4136330" y="1987089"/>
                </a:lnTo>
                <a:close/>
                <a:moveTo>
                  <a:pt x="4120593" y="1985357"/>
                </a:moveTo>
                <a:lnTo>
                  <a:pt x="4122438" y="1986981"/>
                </a:lnTo>
                <a:lnTo>
                  <a:pt x="4120485" y="1989147"/>
                </a:lnTo>
                <a:lnTo>
                  <a:pt x="4120051" y="1991312"/>
                </a:lnTo>
                <a:lnTo>
                  <a:pt x="4118532" y="1991529"/>
                </a:lnTo>
                <a:lnTo>
                  <a:pt x="4118315" y="1988497"/>
                </a:lnTo>
                <a:lnTo>
                  <a:pt x="4119833" y="1987631"/>
                </a:lnTo>
                <a:close/>
                <a:moveTo>
                  <a:pt x="4919819" y="1985033"/>
                </a:moveTo>
                <a:lnTo>
                  <a:pt x="4924159" y="1986116"/>
                </a:lnTo>
                <a:lnTo>
                  <a:pt x="4924159" y="1986115"/>
                </a:lnTo>
                <a:close/>
                <a:moveTo>
                  <a:pt x="5353218" y="1981905"/>
                </a:moveTo>
                <a:lnTo>
                  <a:pt x="5355948" y="1983842"/>
                </a:lnTo>
                <a:lnTo>
                  <a:pt x="5357684" y="1990013"/>
                </a:lnTo>
                <a:lnTo>
                  <a:pt x="5358530" y="1991536"/>
                </a:lnTo>
                <a:lnTo>
                  <a:pt x="5357684" y="1990013"/>
                </a:lnTo>
                <a:lnTo>
                  <a:pt x="5355948" y="1983841"/>
                </a:lnTo>
                <a:close/>
                <a:moveTo>
                  <a:pt x="4956146" y="1978843"/>
                </a:moveTo>
                <a:lnTo>
                  <a:pt x="4956170" y="1978866"/>
                </a:lnTo>
                <a:lnTo>
                  <a:pt x="4956280" y="1978970"/>
                </a:lnTo>
                <a:lnTo>
                  <a:pt x="4964961" y="1980052"/>
                </a:lnTo>
                <a:lnTo>
                  <a:pt x="4969736" y="1984816"/>
                </a:lnTo>
                <a:lnTo>
                  <a:pt x="4968000" y="1990338"/>
                </a:lnTo>
                <a:lnTo>
                  <a:pt x="4968434" y="1995210"/>
                </a:lnTo>
                <a:lnTo>
                  <a:pt x="4978091" y="2003114"/>
                </a:lnTo>
                <a:lnTo>
                  <a:pt x="4978417" y="2007878"/>
                </a:lnTo>
                <a:lnTo>
                  <a:pt x="4977193" y="2009226"/>
                </a:lnTo>
                <a:lnTo>
                  <a:pt x="4978418" y="2007876"/>
                </a:lnTo>
                <a:lnTo>
                  <a:pt x="4978092" y="2003113"/>
                </a:lnTo>
                <a:lnTo>
                  <a:pt x="4968435" y="1995209"/>
                </a:lnTo>
                <a:lnTo>
                  <a:pt x="4968000" y="1990337"/>
                </a:lnTo>
                <a:lnTo>
                  <a:pt x="4969737" y="1984815"/>
                </a:lnTo>
                <a:lnTo>
                  <a:pt x="4964962" y="1980051"/>
                </a:lnTo>
                <a:lnTo>
                  <a:pt x="4956281" y="1978968"/>
                </a:lnTo>
                <a:close/>
                <a:moveTo>
                  <a:pt x="4492372" y="1978752"/>
                </a:moveTo>
                <a:lnTo>
                  <a:pt x="4493022" y="1982650"/>
                </a:lnTo>
                <a:lnTo>
                  <a:pt x="4493023" y="1982650"/>
                </a:lnTo>
                <a:lnTo>
                  <a:pt x="4492372" y="1978752"/>
                </a:lnTo>
                <a:close/>
                <a:moveTo>
                  <a:pt x="4915521" y="1977833"/>
                </a:moveTo>
                <a:lnTo>
                  <a:pt x="4915520" y="1977834"/>
                </a:lnTo>
                <a:lnTo>
                  <a:pt x="4919493" y="1982109"/>
                </a:lnTo>
                <a:lnTo>
                  <a:pt x="4919493" y="1982109"/>
                </a:lnTo>
                <a:lnTo>
                  <a:pt x="4919464" y="1982077"/>
                </a:lnTo>
                <a:close/>
                <a:moveTo>
                  <a:pt x="5517095" y="1975504"/>
                </a:moveTo>
                <a:lnTo>
                  <a:pt x="5517095" y="1975505"/>
                </a:lnTo>
                <a:lnTo>
                  <a:pt x="5524474" y="1979077"/>
                </a:lnTo>
                <a:lnTo>
                  <a:pt x="5524474" y="1979077"/>
                </a:lnTo>
                <a:close/>
                <a:moveTo>
                  <a:pt x="4977637" y="1974963"/>
                </a:moveTo>
                <a:lnTo>
                  <a:pt x="4983376" y="1975170"/>
                </a:lnTo>
                <a:lnTo>
                  <a:pt x="4982977" y="1974963"/>
                </a:lnTo>
                <a:close/>
                <a:moveTo>
                  <a:pt x="4933601" y="1972906"/>
                </a:moveTo>
                <a:lnTo>
                  <a:pt x="4922749" y="1975288"/>
                </a:lnTo>
                <a:lnTo>
                  <a:pt x="4915531" y="1977830"/>
                </a:lnTo>
                <a:lnTo>
                  <a:pt x="4915804" y="1978103"/>
                </a:lnTo>
                <a:lnTo>
                  <a:pt x="4923182" y="1975505"/>
                </a:lnTo>
                <a:lnTo>
                  <a:pt x="4933925" y="1973123"/>
                </a:lnTo>
                <a:lnTo>
                  <a:pt x="4936963" y="1973772"/>
                </a:lnTo>
                <a:lnTo>
                  <a:pt x="4945965" y="1973555"/>
                </a:lnTo>
                <a:lnTo>
                  <a:pt x="4936748" y="1973555"/>
                </a:lnTo>
                <a:close/>
                <a:moveTo>
                  <a:pt x="4533515" y="1970973"/>
                </a:moveTo>
                <a:lnTo>
                  <a:pt x="4533499" y="1971065"/>
                </a:lnTo>
                <a:lnTo>
                  <a:pt x="4533499" y="1971065"/>
                </a:lnTo>
                <a:close/>
                <a:moveTo>
                  <a:pt x="4884442" y="1967926"/>
                </a:moveTo>
                <a:lnTo>
                  <a:pt x="4882164" y="1970849"/>
                </a:lnTo>
                <a:lnTo>
                  <a:pt x="4879480" y="1969992"/>
                </a:lnTo>
                <a:lnTo>
                  <a:pt x="4879559" y="1970308"/>
                </a:lnTo>
                <a:lnTo>
                  <a:pt x="4882272" y="1971174"/>
                </a:lnTo>
                <a:lnTo>
                  <a:pt x="4884550" y="1968251"/>
                </a:lnTo>
                <a:lnTo>
                  <a:pt x="4890736" y="1970633"/>
                </a:lnTo>
                <a:lnTo>
                  <a:pt x="4892499" y="1970307"/>
                </a:lnTo>
                <a:lnTo>
                  <a:pt x="4890628" y="1970307"/>
                </a:lnTo>
                <a:close/>
                <a:moveTo>
                  <a:pt x="4960513" y="1967384"/>
                </a:moveTo>
                <a:lnTo>
                  <a:pt x="4951506" y="1970849"/>
                </a:lnTo>
                <a:lnTo>
                  <a:pt x="4951506" y="1974472"/>
                </a:lnTo>
                <a:lnTo>
                  <a:pt x="4951730" y="1974682"/>
                </a:lnTo>
                <a:lnTo>
                  <a:pt x="4952157" y="1970740"/>
                </a:lnTo>
                <a:lnTo>
                  <a:pt x="4960662" y="1967468"/>
                </a:lnTo>
                <a:close/>
                <a:moveTo>
                  <a:pt x="4400241" y="1966301"/>
                </a:moveTo>
                <a:lnTo>
                  <a:pt x="4400241" y="1966302"/>
                </a:lnTo>
                <a:lnTo>
                  <a:pt x="4401327" y="1968468"/>
                </a:lnTo>
                <a:lnTo>
                  <a:pt x="4401327" y="1968469"/>
                </a:lnTo>
                <a:lnTo>
                  <a:pt x="4401760" y="1969226"/>
                </a:lnTo>
                <a:lnTo>
                  <a:pt x="4403713" y="1967277"/>
                </a:lnTo>
                <a:lnTo>
                  <a:pt x="4403713" y="1967277"/>
                </a:lnTo>
                <a:lnTo>
                  <a:pt x="4401761" y="1969225"/>
                </a:lnTo>
                <a:lnTo>
                  <a:pt x="4400382" y="1966572"/>
                </a:lnTo>
                <a:lnTo>
                  <a:pt x="4401760" y="1969225"/>
                </a:lnTo>
                <a:lnTo>
                  <a:pt x="4401326" y="1968466"/>
                </a:lnTo>
                <a:close/>
                <a:moveTo>
                  <a:pt x="3784951" y="1962728"/>
                </a:moveTo>
                <a:lnTo>
                  <a:pt x="3780502" y="1967167"/>
                </a:lnTo>
                <a:lnTo>
                  <a:pt x="3767372" y="1964460"/>
                </a:lnTo>
                <a:lnTo>
                  <a:pt x="3759450" y="1968575"/>
                </a:lnTo>
                <a:lnTo>
                  <a:pt x="3757434" y="1965186"/>
                </a:lnTo>
                <a:lnTo>
                  <a:pt x="3757389" y="1965543"/>
                </a:lnTo>
                <a:lnTo>
                  <a:pt x="3759451" y="1969008"/>
                </a:lnTo>
                <a:lnTo>
                  <a:pt x="3767373" y="1964894"/>
                </a:lnTo>
                <a:lnTo>
                  <a:pt x="3780504" y="1967601"/>
                </a:lnTo>
                <a:lnTo>
                  <a:pt x="3785061" y="1963162"/>
                </a:lnTo>
                <a:lnTo>
                  <a:pt x="3795843" y="1964493"/>
                </a:lnTo>
                <a:lnTo>
                  <a:pt x="3795803" y="1964135"/>
                </a:lnTo>
                <a:close/>
                <a:moveTo>
                  <a:pt x="4408001" y="1960901"/>
                </a:moveTo>
                <a:lnTo>
                  <a:pt x="4403389" y="1963378"/>
                </a:lnTo>
                <a:lnTo>
                  <a:pt x="4403389" y="1963378"/>
                </a:lnTo>
                <a:close/>
                <a:moveTo>
                  <a:pt x="5546234" y="1959597"/>
                </a:moveTo>
                <a:lnTo>
                  <a:pt x="5547371" y="1960779"/>
                </a:lnTo>
                <a:lnTo>
                  <a:pt x="5549324" y="1964244"/>
                </a:lnTo>
                <a:lnTo>
                  <a:pt x="5549325" y="1964244"/>
                </a:lnTo>
                <a:lnTo>
                  <a:pt x="5547372" y="1960780"/>
                </a:lnTo>
                <a:lnTo>
                  <a:pt x="5547371" y="1960779"/>
                </a:lnTo>
                <a:lnTo>
                  <a:pt x="5547371" y="1960779"/>
                </a:lnTo>
                <a:close/>
                <a:moveTo>
                  <a:pt x="4415016" y="1958196"/>
                </a:moveTo>
                <a:lnTo>
                  <a:pt x="4414023" y="1958939"/>
                </a:lnTo>
                <a:lnTo>
                  <a:pt x="4409032" y="1960347"/>
                </a:lnTo>
                <a:lnTo>
                  <a:pt x="4409030" y="1960348"/>
                </a:lnTo>
                <a:lnTo>
                  <a:pt x="4414022" y="1958940"/>
                </a:lnTo>
                <a:close/>
                <a:moveTo>
                  <a:pt x="2309451" y="1956990"/>
                </a:moveTo>
                <a:lnTo>
                  <a:pt x="2309559" y="1958289"/>
                </a:lnTo>
                <a:lnTo>
                  <a:pt x="2307823" y="1960346"/>
                </a:lnTo>
                <a:lnTo>
                  <a:pt x="2306087" y="1962836"/>
                </a:lnTo>
                <a:lnTo>
                  <a:pt x="2310753" y="1960779"/>
                </a:lnTo>
                <a:lnTo>
                  <a:pt x="2313248" y="1961971"/>
                </a:lnTo>
                <a:lnTo>
                  <a:pt x="2317155" y="1960563"/>
                </a:lnTo>
                <a:lnTo>
                  <a:pt x="2314551" y="1963053"/>
                </a:lnTo>
                <a:lnTo>
                  <a:pt x="2308149" y="1965002"/>
                </a:lnTo>
                <a:lnTo>
                  <a:pt x="2306087" y="1964569"/>
                </a:lnTo>
                <a:lnTo>
                  <a:pt x="2304351" y="1966193"/>
                </a:lnTo>
                <a:lnTo>
                  <a:pt x="2297623" y="1965868"/>
                </a:lnTo>
                <a:lnTo>
                  <a:pt x="2294041" y="1968033"/>
                </a:lnTo>
                <a:lnTo>
                  <a:pt x="2286120" y="1968141"/>
                </a:lnTo>
                <a:lnTo>
                  <a:pt x="2281236" y="1969657"/>
                </a:lnTo>
                <a:lnTo>
                  <a:pt x="2276028" y="1969874"/>
                </a:lnTo>
                <a:lnTo>
                  <a:pt x="2274508" y="1971390"/>
                </a:lnTo>
                <a:lnTo>
                  <a:pt x="2271036" y="1972472"/>
                </a:lnTo>
                <a:lnTo>
                  <a:pt x="2272990" y="1970740"/>
                </a:lnTo>
                <a:lnTo>
                  <a:pt x="2269951" y="1970524"/>
                </a:lnTo>
                <a:lnTo>
                  <a:pt x="2269300" y="1968467"/>
                </a:lnTo>
                <a:lnTo>
                  <a:pt x="2272013" y="1965110"/>
                </a:lnTo>
                <a:lnTo>
                  <a:pt x="2277221" y="1964244"/>
                </a:lnTo>
                <a:lnTo>
                  <a:pt x="2284058" y="1961429"/>
                </a:lnTo>
                <a:lnTo>
                  <a:pt x="2289050" y="1962620"/>
                </a:lnTo>
                <a:lnTo>
                  <a:pt x="2295127" y="1960779"/>
                </a:lnTo>
                <a:lnTo>
                  <a:pt x="2302723" y="1960779"/>
                </a:lnTo>
                <a:close/>
                <a:moveTo>
                  <a:pt x="7134969" y="1956774"/>
                </a:moveTo>
                <a:lnTo>
                  <a:pt x="7135729" y="1960131"/>
                </a:lnTo>
                <a:lnTo>
                  <a:pt x="7135402" y="1963595"/>
                </a:lnTo>
                <a:lnTo>
                  <a:pt x="7138659" y="1964678"/>
                </a:lnTo>
                <a:lnTo>
                  <a:pt x="7139527" y="1967168"/>
                </a:lnTo>
                <a:lnTo>
                  <a:pt x="7138333" y="1972473"/>
                </a:lnTo>
                <a:lnTo>
                  <a:pt x="7135729" y="1975072"/>
                </a:lnTo>
                <a:lnTo>
                  <a:pt x="7133992" y="1975613"/>
                </a:lnTo>
                <a:lnTo>
                  <a:pt x="7134209" y="1971066"/>
                </a:lnTo>
                <a:lnTo>
                  <a:pt x="7135729" y="1968359"/>
                </a:lnTo>
                <a:lnTo>
                  <a:pt x="7134643" y="1967601"/>
                </a:lnTo>
                <a:lnTo>
                  <a:pt x="7131713" y="1969333"/>
                </a:lnTo>
                <a:lnTo>
                  <a:pt x="7131279" y="1966302"/>
                </a:lnTo>
                <a:lnTo>
                  <a:pt x="7133341" y="1958398"/>
                </a:lnTo>
                <a:close/>
                <a:moveTo>
                  <a:pt x="4399338" y="1956376"/>
                </a:moveTo>
                <a:lnTo>
                  <a:pt x="4400350" y="1958940"/>
                </a:lnTo>
                <a:lnTo>
                  <a:pt x="4400241" y="1966301"/>
                </a:lnTo>
                <a:lnTo>
                  <a:pt x="4400241" y="1966302"/>
                </a:lnTo>
                <a:lnTo>
                  <a:pt x="4400350" y="1958939"/>
                </a:lnTo>
                <a:close/>
                <a:moveTo>
                  <a:pt x="5478740" y="1955772"/>
                </a:moveTo>
                <a:lnTo>
                  <a:pt x="5486167" y="1956774"/>
                </a:lnTo>
                <a:lnTo>
                  <a:pt x="5486167" y="1956774"/>
                </a:lnTo>
                <a:close/>
                <a:moveTo>
                  <a:pt x="5478136" y="1955691"/>
                </a:moveTo>
                <a:lnTo>
                  <a:pt x="5471083" y="1957099"/>
                </a:lnTo>
                <a:lnTo>
                  <a:pt x="5460340" y="1962837"/>
                </a:lnTo>
                <a:lnTo>
                  <a:pt x="5460341" y="1962837"/>
                </a:lnTo>
                <a:lnTo>
                  <a:pt x="5471084" y="1957099"/>
                </a:lnTo>
                <a:lnTo>
                  <a:pt x="5478138" y="1955691"/>
                </a:lnTo>
                <a:close/>
                <a:moveTo>
                  <a:pt x="4982976" y="1953094"/>
                </a:moveTo>
                <a:lnTo>
                  <a:pt x="4982976" y="1954393"/>
                </a:lnTo>
                <a:lnTo>
                  <a:pt x="4980350" y="1954682"/>
                </a:lnTo>
                <a:lnTo>
                  <a:pt x="4981878" y="1955597"/>
                </a:lnTo>
                <a:cubicBezTo>
                  <a:pt x="4983600" y="1955664"/>
                  <a:pt x="4985147" y="1955150"/>
                  <a:pt x="4985364" y="1954825"/>
                </a:cubicBezTo>
                <a:lnTo>
                  <a:pt x="4983302" y="1962187"/>
                </a:lnTo>
                <a:lnTo>
                  <a:pt x="4989487" y="1965977"/>
                </a:lnTo>
                <a:lnTo>
                  <a:pt x="4992960" y="1970740"/>
                </a:lnTo>
                <a:lnTo>
                  <a:pt x="4991567" y="1979291"/>
                </a:lnTo>
                <a:lnTo>
                  <a:pt x="4992200" y="1979618"/>
                </a:lnTo>
                <a:lnTo>
                  <a:pt x="4993610" y="1971065"/>
                </a:lnTo>
                <a:lnTo>
                  <a:pt x="4990138" y="1966193"/>
                </a:lnTo>
                <a:lnTo>
                  <a:pt x="4983952" y="1962403"/>
                </a:lnTo>
                <a:lnTo>
                  <a:pt x="4986340" y="1953850"/>
                </a:lnTo>
                <a:lnTo>
                  <a:pt x="4990530" y="1954248"/>
                </a:lnTo>
                <a:lnTo>
                  <a:pt x="4989920" y="1953743"/>
                </a:lnTo>
                <a:close/>
                <a:moveTo>
                  <a:pt x="4438440" y="1952984"/>
                </a:moveTo>
                <a:lnTo>
                  <a:pt x="4431712" y="1954500"/>
                </a:lnTo>
                <a:lnTo>
                  <a:pt x="4427262" y="1953742"/>
                </a:lnTo>
                <a:lnTo>
                  <a:pt x="4421530" y="1955139"/>
                </a:lnTo>
                <a:lnTo>
                  <a:pt x="4427261" y="1953743"/>
                </a:lnTo>
                <a:lnTo>
                  <a:pt x="4431711" y="1954501"/>
                </a:lnTo>
                <a:lnTo>
                  <a:pt x="4438438" y="1952985"/>
                </a:lnTo>
                <a:lnTo>
                  <a:pt x="4441911" y="1952985"/>
                </a:lnTo>
                <a:lnTo>
                  <a:pt x="4451569" y="1960456"/>
                </a:lnTo>
                <a:lnTo>
                  <a:pt x="4457863" y="1971716"/>
                </a:lnTo>
                <a:lnTo>
                  <a:pt x="4458731" y="1977346"/>
                </a:lnTo>
                <a:lnTo>
                  <a:pt x="4459599" y="1982109"/>
                </a:lnTo>
                <a:lnTo>
                  <a:pt x="4459599" y="1982109"/>
                </a:lnTo>
                <a:lnTo>
                  <a:pt x="4458731" y="1977345"/>
                </a:lnTo>
                <a:lnTo>
                  <a:pt x="4457863" y="1971714"/>
                </a:lnTo>
                <a:lnTo>
                  <a:pt x="4451570" y="1960455"/>
                </a:lnTo>
                <a:lnTo>
                  <a:pt x="4441912" y="1952984"/>
                </a:lnTo>
                <a:close/>
                <a:moveTo>
                  <a:pt x="5037341" y="1952444"/>
                </a:moveTo>
                <a:lnTo>
                  <a:pt x="5036789" y="1953109"/>
                </a:lnTo>
                <a:lnTo>
                  <a:pt x="5040815" y="1956015"/>
                </a:lnTo>
                <a:lnTo>
                  <a:pt x="5048195" y="1965651"/>
                </a:lnTo>
                <a:lnTo>
                  <a:pt x="5048520" y="1970307"/>
                </a:lnTo>
                <a:lnTo>
                  <a:pt x="5051667" y="1976911"/>
                </a:lnTo>
                <a:lnTo>
                  <a:pt x="5059697" y="1982650"/>
                </a:lnTo>
                <a:lnTo>
                  <a:pt x="5060565" y="1986439"/>
                </a:lnTo>
                <a:lnTo>
                  <a:pt x="5065774" y="1990337"/>
                </a:lnTo>
                <a:lnTo>
                  <a:pt x="5067010" y="1990316"/>
                </a:lnTo>
                <a:lnTo>
                  <a:pt x="5061975" y="1986548"/>
                </a:lnTo>
                <a:lnTo>
                  <a:pt x="5061107" y="1982759"/>
                </a:lnTo>
                <a:lnTo>
                  <a:pt x="5052968" y="1977020"/>
                </a:lnTo>
                <a:lnTo>
                  <a:pt x="5049821" y="1970308"/>
                </a:lnTo>
                <a:lnTo>
                  <a:pt x="5049821" y="1965652"/>
                </a:lnTo>
                <a:lnTo>
                  <a:pt x="5042442" y="1956016"/>
                </a:lnTo>
                <a:close/>
                <a:moveTo>
                  <a:pt x="4181255" y="1951793"/>
                </a:moveTo>
                <a:lnTo>
                  <a:pt x="4182123" y="1953959"/>
                </a:lnTo>
                <a:lnTo>
                  <a:pt x="4179410" y="1952659"/>
                </a:lnTo>
                <a:close/>
                <a:moveTo>
                  <a:pt x="2348408" y="1948437"/>
                </a:moveTo>
                <a:lnTo>
                  <a:pt x="2352314" y="1948437"/>
                </a:lnTo>
                <a:lnTo>
                  <a:pt x="2354484" y="1950710"/>
                </a:lnTo>
                <a:lnTo>
                  <a:pt x="2351120" y="1950710"/>
                </a:lnTo>
                <a:lnTo>
                  <a:pt x="2349058" y="1952659"/>
                </a:lnTo>
                <a:lnTo>
                  <a:pt x="2346455" y="1952984"/>
                </a:lnTo>
                <a:lnTo>
                  <a:pt x="2345478" y="1951143"/>
                </a:lnTo>
                <a:lnTo>
                  <a:pt x="2347431" y="1949736"/>
                </a:lnTo>
                <a:close/>
                <a:moveTo>
                  <a:pt x="3995311" y="1947272"/>
                </a:moveTo>
                <a:lnTo>
                  <a:pt x="3984683" y="1948302"/>
                </a:lnTo>
                <a:lnTo>
                  <a:pt x="3984731" y="1948328"/>
                </a:lnTo>
                <a:close/>
                <a:moveTo>
                  <a:pt x="3952473" y="1946933"/>
                </a:moveTo>
                <a:lnTo>
                  <a:pt x="3952171" y="1947243"/>
                </a:lnTo>
                <a:lnTo>
                  <a:pt x="3952176" y="1947245"/>
                </a:lnTo>
                <a:close/>
                <a:moveTo>
                  <a:pt x="4966264" y="1946922"/>
                </a:moveTo>
                <a:lnTo>
                  <a:pt x="4940865" y="1955854"/>
                </a:lnTo>
                <a:lnTo>
                  <a:pt x="4942825" y="1956990"/>
                </a:lnTo>
                <a:lnTo>
                  <a:pt x="4968091" y="1948105"/>
                </a:lnTo>
                <a:close/>
                <a:moveTo>
                  <a:pt x="4386855" y="1945129"/>
                </a:moveTo>
                <a:lnTo>
                  <a:pt x="4386854" y="1945130"/>
                </a:lnTo>
                <a:lnTo>
                  <a:pt x="4388630" y="1946380"/>
                </a:lnTo>
                <a:lnTo>
                  <a:pt x="4391777" y="1951685"/>
                </a:lnTo>
                <a:lnTo>
                  <a:pt x="4394056" y="1952227"/>
                </a:lnTo>
                <a:lnTo>
                  <a:pt x="4398939" y="1955366"/>
                </a:lnTo>
                <a:lnTo>
                  <a:pt x="4398939" y="1955366"/>
                </a:lnTo>
                <a:lnTo>
                  <a:pt x="4394056" y="1952227"/>
                </a:lnTo>
                <a:lnTo>
                  <a:pt x="4391777" y="1951685"/>
                </a:lnTo>
                <a:lnTo>
                  <a:pt x="4388631" y="1946380"/>
                </a:lnTo>
                <a:close/>
                <a:moveTo>
                  <a:pt x="3977569" y="1944540"/>
                </a:moveTo>
                <a:lnTo>
                  <a:pt x="3971227" y="1945162"/>
                </a:lnTo>
                <a:lnTo>
                  <a:pt x="3971274" y="1945188"/>
                </a:lnTo>
                <a:lnTo>
                  <a:pt x="3977601" y="1944557"/>
                </a:lnTo>
                <a:close/>
                <a:moveTo>
                  <a:pt x="4440653" y="1943311"/>
                </a:moveTo>
                <a:lnTo>
                  <a:pt x="4440718" y="1943782"/>
                </a:lnTo>
                <a:lnTo>
                  <a:pt x="4442804" y="1947126"/>
                </a:lnTo>
                <a:lnTo>
                  <a:pt x="4440718" y="1943781"/>
                </a:lnTo>
                <a:close/>
                <a:moveTo>
                  <a:pt x="5535868" y="1943131"/>
                </a:moveTo>
                <a:lnTo>
                  <a:pt x="5535869" y="1943132"/>
                </a:lnTo>
                <a:lnTo>
                  <a:pt x="5540337" y="1944451"/>
                </a:lnTo>
                <a:close/>
                <a:moveTo>
                  <a:pt x="5295685" y="1942049"/>
                </a:moveTo>
                <a:lnTo>
                  <a:pt x="5296264" y="1943890"/>
                </a:lnTo>
                <a:lnTo>
                  <a:pt x="5314169" y="1953526"/>
                </a:lnTo>
                <a:lnTo>
                  <a:pt x="5328276" y="1960671"/>
                </a:lnTo>
                <a:lnTo>
                  <a:pt x="5332182" y="1958290"/>
                </a:lnTo>
                <a:lnTo>
                  <a:pt x="5336957" y="1959048"/>
                </a:lnTo>
                <a:lnTo>
                  <a:pt x="5346941" y="1966193"/>
                </a:lnTo>
                <a:lnTo>
                  <a:pt x="5347271" y="1967328"/>
                </a:lnTo>
                <a:lnTo>
                  <a:pt x="5346941" y="1966193"/>
                </a:lnTo>
                <a:lnTo>
                  <a:pt x="5336957" y="1959048"/>
                </a:lnTo>
                <a:lnTo>
                  <a:pt x="5332182" y="1958289"/>
                </a:lnTo>
                <a:lnTo>
                  <a:pt x="5328276" y="1960671"/>
                </a:lnTo>
                <a:lnTo>
                  <a:pt x="5314169" y="1953526"/>
                </a:lnTo>
                <a:lnTo>
                  <a:pt x="5296264" y="1943889"/>
                </a:lnTo>
                <a:close/>
                <a:moveTo>
                  <a:pt x="5559958" y="1940749"/>
                </a:moveTo>
                <a:lnTo>
                  <a:pt x="5559307" y="1947462"/>
                </a:lnTo>
                <a:lnTo>
                  <a:pt x="5555183" y="1951901"/>
                </a:lnTo>
                <a:lnTo>
                  <a:pt x="5555185" y="1951901"/>
                </a:lnTo>
                <a:lnTo>
                  <a:pt x="5559308" y="1947462"/>
                </a:lnTo>
                <a:lnTo>
                  <a:pt x="5559959" y="1940750"/>
                </a:lnTo>
                <a:lnTo>
                  <a:pt x="5562998" y="1941399"/>
                </a:lnTo>
                <a:lnTo>
                  <a:pt x="5562997" y="1941399"/>
                </a:lnTo>
                <a:close/>
                <a:moveTo>
                  <a:pt x="5531311" y="1940425"/>
                </a:moveTo>
                <a:lnTo>
                  <a:pt x="5531311" y="1940425"/>
                </a:lnTo>
                <a:lnTo>
                  <a:pt x="5535508" y="1942918"/>
                </a:lnTo>
                <a:close/>
                <a:moveTo>
                  <a:pt x="4166821" y="1935444"/>
                </a:moveTo>
                <a:lnTo>
                  <a:pt x="4169101" y="1938150"/>
                </a:lnTo>
                <a:lnTo>
                  <a:pt x="4169643" y="1940750"/>
                </a:lnTo>
                <a:lnTo>
                  <a:pt x="4165845" y="1940533"/>
                </a:lnTo>
                <a:lnTo>
                  <a:pt x="4160961" y="1942265"/>
                </a:lnTo>
                <a:lnTo>
                  <a:pt x="4158357" y="1941183"/>
                </a:lnTo>
                <a:lnTo>
                  <a:pt x="4160419" y="1939017"/>
                </a:lnTo>
                <a:lnTo>
                  <a:pt x="4165736" y="1936960"/>
                </a:lnTo>
                <a:close/>
                <a:moveTo>
                  <a:pt x="5234992" y="1934992"/>
                </a:moveTo>
                <a:lnTo>
                  <a:pt x="5232348" y="1935228"/>
                </a:lnTo>
                <a:lnTo>
                  <a:pt x="5227247" y="1945622"/>
                </a:lnTo>
                <a:lnTo>
                  <a:pt x="5227247" y="1945622"/>
                </a:lnTo>
                <a:lnTo>
                  <a:pt x="5232348" y="1935228"/>
                </a:lnTo>
                <a:close/>
                <a:moveTo>
                  <a:pt x="4308653" y="1934254"/>
                </a:moveTo>
                <a:cubicBezTo>
                  <a:pt x="4308978" y="1934254"/>
                  <a:pt x="4316900" y="1934254"/>
                  <a:pt x="4316900" y="1934254"/>
                </a:cubicBezTo>
                <a:lnTo>
                  <a:pt x="4320047" y="1937177"/>
                </a:lnTo>
                <a:lnTo>
                  <a:pt x="4312776" y="1936527"/>
                </a:lnTo>
                <a:close/>
                <a:moveTo>
                  <a:pt x="4142514" y="1931979"/>
                </a:moveTo>
                <a:lnTo>
                  <a:pt x="4144793" y="1931979"/>
                </a:lnTo>
                <a:lnTo>
                  <a:pt x="4146095" y="1938908"/>
                </a:lnTo>
                <a:lnTo>
                  <a:pt x="4145552" y="1944971"/>
                </a:lnTo>
                <a:lnTo>
                  <a:pt x="4148048" y="1954608"/>
                </a:lnTo>
                <a:lnTo>
                  <a:pt x="4145227" y="1965543"/>
                </a:lnTo>
                <a:lnTo>
                  <a:pt x="4145335" y="1971715"/>
                </a:lnTo>
                <a:lnTo>
                  <a:pt x="4142839" y="1979293"/>
                </a:lnTo>
                <a:lnTo>
                  <a:pt x="4138281" y="1981459"/>
                </a:lnTo>
                <a:lnTo>
                  <a:pt x="4131119" y="1978428"/>
                </a:lnTo>
                <a:lnTo>
                  <a:pt x="4129817" y="1976262"/>
                </a:lnTo>
                <a:lnTo>
                  <a:pt x="4131445" y="1973663"/>
                </a:lnTo>
                <a:lnTo>
                  <a:pt x="4133290" y="1973989"/>
                </a:lnTo>
                <a:lnTo>
                  <a:pt x="4131987" y="1971931"/>
                </a:lnTo>
                <a:lnTo>
                  <a:pt x="4130359" y="1971931"/>
                </a:lnTo>
                <a:lnTo>
                  <a:pt x="4130577" y="1968683"/>
                </a:lnTo>
                <a:lnTo>
                  <a:pt x="4127321" y="1966842"/>
                </a:lnTo>
                <a:lnTo>
                  <a:pt x="4125802" y="1964460"/>
                </a:lnTo>
                <a:lnTo>
                  <a:pt x="4127646" y="1963377"/>
                </a:lnTo>
                <a:lnTo>
                  <a:pt x="4127646" y="1961645"/>
                </a:lnTo>
                <a:lnTo>
                  <a:pt x="4124174" y="1959805"/>
                </a:lnTo>
                <a:lnTo>
                  <a:pt x="4123306" y="1956340"/>
                </a:lnTo>
                <a:lnTo>
                  <a:pt x="4126019" y="1956340"/>
                </a:lnTo>
                <a:lnTo>
                  <a:pt x="4126996" y="1954175"/>
                </a:lnTo>
                <a:lnTo>
                  <a:pt x="4124174" y="1951685"/>
                </a:lnTo>
                <a:lnTo>
                  <a:pt x="4127538" y="1945946"/>
                </a:lnTo>
                <a:lnTo>
                  <a:pt x="4134700" y="1943348"/>
                </a:lnTo>
                <a:lnTo>
                  <a:pt x="4137630" y="1940532"/>
                </a:lnTo>
                <a:lnTo>
                  <a:pt x="4140560" y="1943564"/>
                </a:lnTo>
                <a:lnTo>
                  <a:pt x="4142296" y="1943564"/>
                </a:lnTo>
                <a:lnTo>
                  <a:pt x="4143056" y="1939233"/>
                </a:lnTo>
                <a:lnTo>
                  <a:pt x="4141537" y="1936201"/>
                </a:lnTo>
                <a:close/>
                <a:moveTo>
                  <a:pt x="4383096" y="1931748"/>
                </a:moveTo>
                <a:lnTo>
                  <a:pt x="4384724" y="1933279"/>
                </a:lnTo>
                <a:lnTo>
                  <a:pt x="4390692" y="1934362"/>
                </a:lnTo>
                <a:lnTo>
                  <a:pt x="4390711" y="1934676"/>
                </a:lnTo>
                <a:lnTo>
                  <a:pt x="4390692" y="1934362"/>
                </a:lnTo>
                <a:lnTo>
                  <a:pt x="4384724" y="1933279"/>
                </a:lnTo>
                <a:close/>
                <a:moveTo>
                  <a:pt x="4303119" y="1929274"/>
                </a:moveTo>
                <a:lnTo>
                  <a:pt x="4315381" y="1929490"/>
                </a:lnTo>
                <a:lnTo>
                  <a:pt x="4310389" y="1931872"/>
                </a:lnTo>
                <a:close/>
                <a:moveTo>
                  <a:pt x="5246100" y="1927209"/>
                </a:moveTo>
                <a:lnTo>
                  <a:pt x="5243416" y="1928732"/>
                </a:lnTo>
                <a:lnTo>
                  <a:pt x="5242035" y="1930858"/>
                </a:lnTo>
                <a:lnTo>
                  <a:pt x="5243416" y="1928732"/>
                </a:lnTo>
                <a:close/>
                <a:moveTo>
                  <a:pt x="5123627" y="1925654"/>
                </a:moveTo>
                <a:lnTo>
                  <a:pt x="5123504" y="1925917"/>
                </a:lnTo>
                <a:lnTo>
                  <a:pt x="5123504" y="1928299"/>
                </a:lnTo>
                <a:lnTo>
                  <a:pt x="5122636" y="1935012"/>
                </a:lnTo>
                <a:lnTo>
                  <a:pt x="5119923" y="1941616"/>
                </a:lnTo>
                <a:lnTo>
                  <a:pt x="5121226" y="1947246"/>
                </a:lnTo>
                <a:lnTo>
                  <a:pt x="5121226" y="1953418"/>
                </a:lnTo>
                <a:lnTo>
                  <a:pt x="5121226" y="1955258"/>
                </a:lnTo>
                <a:lnTo>
                  <a:pt x="5124806" y="1958940"/>
                </a:lnTo>
                <a:lnTo>
                  <a:pt x="5126434" y="1962404"/>
                </a:lnTo>
                <a:lnTo>
                  <a:pt x="5130340" y="1965436"/>
                </a:lnTo>
                <a:lnTo>
                  <a:pt x="5131752" y="1969658"/>
                </a:lnTo>
                <a:lnTo>
                  <a:pt x="5136960" y="1977670"/>
                </a:lnTo>
                <a:lnTo>
                  <a:pt x="5135875" y="1984708"/>
                </a:lnTo>
                <a:lnTo>
                  <a:pt x="5132945" y="1989689"/>
                </a:lnTo>
                <a:lnTo>
                  <a:pt x="5133922" y="2001707"/>
                </a:lnTo>
                <a:lnTo>
                  <a:pt x="5136635" y="2005280"/>
                </a:lnTo>
                <a:lnTo>
                  <a:pt x="5137828" y="2008852"/>
                </a:lnTo>
                <a:lnTo>
                  <a:pt x="5146076" y="2016539"/>
                </a:lnTo>
                <a:lnTo>
                  <a:pt x="5146076" y="2015225"/>
                </a:lnTo>
                <a:lnTo>
                  <a:pt x="5138914" y="2008636"/>
                </a:lnTo>
                <a:lnTo>
                  <a:pt x="5137720" y="2004954"/>
                </a:lnTo>
                <a:lnTo>
                  <a:pt x="5135007" y="2001381"/>
                </a:lnTo>
                <a:lnTo>
                  <a:pt x="5134031" y="1989364"/>
                </a:lnTo>
                <a:lnTo>
                  <a:pt x="5136961" y="1984383"/>
                </a:lnTo>
                <a:lnTo>
                  <a:pt x="5137937" y="1977346"/>
                </a:lnTo>
                <a:lnTo>
                  <a:pt x="5132728" y="1969334"/>
                </a:lnTo>
                <a:lnTo>
                  <a:pt x="5131426" y="1965111"/>
                </a:lnTo>
                <a:lnTo>
                  <a:pt x="5127520" y="1962079"/>
                </a:lnTo>
                <a:lnTo>
                  <a:pt x="5125892" y="1958614"/>
                </a:lnTo>
                <a:lnTo>
                  <a:pt x="5122202" y="1954825"/>
                </a:lnTo>
                <a:lnTo>
                  <a:pt x="5122094" y="1952985"/>
                </a:lnTo>
                <a:lnTo>
                  <a:pt x="5136852" y="1939775"/>
                </a:lnTo>
                <a:lnTo>
                  <a:pt x="5148572" y="1935553"/>
                </a:lnTo>
                <a:lnTo>
                  <a:pt x="5154749" y="1936544"/>
                </a:lnTo>
                <a:lnTo>
                  <a:pt x="5148571" y="1935552"/>
                </a:lnTo>
                <a:lnTo>
                  <a:pt x="5136851" y="1939775"/>
                </a:lnTo>
                <a:lnTo>
                  <a:pt x="5122093" y="1952984"/>
                </a:lnTo>
                <a:lnTo>
                  <a:pt x="5121550" y="1946813"/>
                </a:lnTo>
                <a:lnTo>
                  <a:pt x="5120248" y="1941183"/>
                </a:lnTo>
                <a:lnTo>
                  <a:pt x="5122961" y="1934578"/>
                </a:lnTo>
                <a:lnTo>
                  <a:pt x="5123830" y="1927866"/>
                </a:lnTo>
                <a:close/>
                <a:moveTo>
                  <a:pt x="5248951" y="1925592"/>
                </a:moveTo>
                <a:lnTo>
                  <a:pt x="5248950" y="1925592"/>
                </a:lnTo>
                <a:lnTo>
                  <a:pt x="5254810" y="1928732"/>
                </a:lnTo>
                <a:lnTo>
                  <a:pt x="5257632" y="1927000"/>
                </a:lnTo>
                <a:lnTo>
                  <a:pt x="5254810" y="1928732"/>
                </a:lnTo>
                <a:close/>
                <a:moveTo>
                  <a:pt x="4303336" y="1923752"/>
                </a:moveTo>
                <a:lnTo>
                  <a:pt x="4312777" y="1923752"/>
                </a:lnTo>
                <a:lnTo>
                  <a:pt x="4314839" y="1925160"/>
                </a:lnTo>
                <a:lnTo>
                  <a:pt x="4310172" y="1927434"/>
                </a:lnTo>
                <a:lnTo>
                  <a:pt x="4305506" y="1926676"/>
                </a:lnTo>
                <a:close/>
                <a:moveTo>
                  <a:pt x="5253399" y="1921153"/>
                </a:moveTo>
                <a:lnTo>
                  <a:pt x="5253399" y="1921153"/>
                </a:lnTo>
                <a:lnTo>
                  <a:pt x="5257424" y="1921507"/>
                </a:lnTo>
                <a:close/>
                <a:moveTo>
                  <a:pt x="5539778" y="1917352"/>
                </a:moveTo>
                <a:lnTo>
                  <a:pt x="5539778" y="1917352"/>
                </a:lnTo>
                <a:lnTo>
                  <a:pt x="5542271" y="1917688"/>
                </a:lnTo>
                <a:lnTo>
                  <a:pt x="5542282" y="1917864"/>
                </a:lnTo>
                <a:lnTo>
                  <a:pt x="5542271" y="1917687"/>
                </a:lnTo>
                <a:close/>
                <a:moveTo>
                  <a:pt x="5538254" y="1917147"/>
                </a:moveTo>
                <a:lnTo>
                  <a:pt x="5533480" y="1923318"/>
                </a:lnTo>
                <a:lnTo>
                  <a:pt x="5529356" y="1925050"/>
                </a:lnTo>
                <a:lnTo>
                  <a:pt x="5520024" y="1936311"/>
                </a:lnTo>
                <a:lnTo>
                  <a:pt x="5516768" y="1942807"/>
                </a:lnTo>
                <a:lnTo>
                  <a:pt x="5513946" y="1946055"/>
                </a:lnTo>
                <a:lnTo>
                  <a:pt x="5509172" y="1955041"/>
                </a:lnTo>
                <a:lnTo>
                  <a:pt x="5499515" y="1963919"/>
                </a:lnTo>
                <a:lnTo>
                  <a:pt x="5499516" y="1963920"/>
                </a:lnTo>
                <a:lnTo>
                  <a:pt x="5509174" y="1955042"/>
                </a:lnTo>
                <a:lnTo>
                  <a:pt x="5513948" y="1946055"/>
                </a:lnTo>
                <a:lnTo>
                  <a:pt x="5516770" y="1942807"/>
                </a:lnTo>
                <a:lnTo>
                  <a:pt x="5520025" y="1936310"/>
                </a:lnTo>
                <a:lnTo>
                  <a:pt x="5529357" y="1925050"/>
                </a:lnTo>
                <a:lnTo>
                  <a:pt x="5533482" y="1923318"/>
                </a:lnTo>
                <a:lnTo>
                  <a:pt x="5538256" y="1917147"/>
                </a:lnTo>
                <a:close/>
                <a:moveTo>
                  <a:pt x="4369856" y="1916822"/>
                </a:moveTo>
                <a:lnTo>
                  <a:pt x="4368229" y="1918446"/>
                </a:lnTo>
                <a:lnTo>
                  <a:pt x="4367795" y="1918879"/>
                </a:lnTo>
                <a:close/>
                <a:moveTo>
                  <a:pt x="4359953" y="1914881"/>
                </a:moveTo>
                <a:lnTo>
                  <a:pt x="4363997" y="1917689"/>
                </a:lnTo>
                <a:lnTo>
                  <a:pt x="4367795" y="1918879"/>
                </a:lnTo>
                <a:lnTo>
                  <a:pt x="4368229" y="1918446"/>
                </a:lnTo>
                <a:lnTo>
                  <a:pt x="4372931" y="1922938"/>
                </a:lnTo>
                <a:lnTo>
                  <a:pt x="4368229" y="1918446"/>
                </a:lnTo>
                <a:lnTo>
                  <a:pt x="4369857" y="1916822"/>
                </a:lnTo>
                <a:lnTo>
                  <a:pt x="4369856" y="1916821"/>
                </a:lnTo>
                <a:lnTo>
                  <a:pt x="4367795" y="1918878"/>
                </a:lnTo>
                <a:lnTo>
                  <a:pt x="4363996" y="1917688"/>
                </a:lnTo>
                <a:close/>
                <a:moveTo>
                  <a:pt x="4359004" y="1914223"/>
                </a:moveTo>
                <a:lnTo>
                  <a:pt x="4356075" y="1916280"/>
                </a:lnTo>
                <a:lnTo>
                  <a:pt x="4356291" y="1919961"/>
                </a:lnTo>
                <a:lnTo>
                  <a:pt x="4356293" y="1919962"/>
                </a:lnTo>
                <a:lnTo>
                  <a:pt x="4356075" y="1916281"/>
                </a:lnTo>
                <a:lnTo>
                  <a:pt x="4359006" y="1914224"/>
                </a:lnTo>
                <a:close/>
                <a:moveTo>
                  <a:pt x="5544006" y="1909026"/>
                </a:moveTo>
                <a:lnTo>
                  <a:pt x="5544006" y="1909026"/>
                </a:lnTo>
                <a:lnTo>
                  <a:pt x="5545742" y="1911841"/>
                </a:lnTo>
                <a:lnTo>
                  <a:pt x="5545742" y="1911841"/>
                </a:lnTo>
                <a:close/>
                <a:moveTo>
                  <a:pt x="4492809" y="1908427"/>
                </a:moveTo>
                <a:lnTo>
                  <a:pt x="4495953" y="1909568"/>
                </a:lnTo>
                <a:lnTo>
                  <a:pt x="4500185" y="1909568"/>
                </a:lnTo>
                <a:lnTo>
                  <a:pt x="4506004" y="1910275"/>
                </a:lnTo>
                <a:lnTo>
                  <a:pt x="4500184" y="1909567"/>
                </a:lnTo>
                <a:lnTo>
                  <a:pt x="4495952" y="1909567"/>
                </a:lnTo>
                <a:close/>
                <a:moveTo>
                  <a:pt x="4463368" y="1907343"/>
                </a:moveTo>
                <a:lnTo>
                  <a:pt x="4465025" y="1909135"/>
                </a:lnTo>
                <a:lnTo>
                  <a:pt x="4467413" y="1908376"/>
                </a:lnTo>
                <a:lnTo>
                  <a:pt x="4475660" y="1911517"/>
                </a:lnTo>
                <a:lnTo>
                  <a:pt x="4482497" y="1908268"/>
                </a:lnTo>
                <a:lnTo>
                  <a:pt x="4487163" y="1909568"/>
                </a:lnTo>
                <a:lnTo>
                  <a:pt x="4490107" y="1908297"/>
                </a:lnTo>
                <a:lnTo>
                  <a:pt x="4487163" y="1909567"/>
                </a:lnTo>
                <a:lnTo>
                  <a:pt x="4482497" y="1908268"/>
                </a:lnTo>
                <a:lnTo>
                  <a:pt x="4475660" y="1911516"/>
                </a:lnTo>
                <a:lnTo>
                  <a:pt x="4467413" y="1908376"/>
                </a:lnTo>
                <a:lnTo>
                  <a:pt x="4465025" y="1909134"/>
                </a:lnTo>
                <a:close/>
                <a:moveTo>
                  <a:pt x="4456018" y="1905995"/>
                </a:moveTo>
                <a:lnTo>
                  <a:pt x="4450159" y="1909783"/>
                </a:lnTo>
                <a:lnTo>
                  <a:pt x="4450159" y="1909784"/>
                </a:lnTo>
                <a:close/>
                <a:moveTo>
                  <a:pt x="4447555" y="1905453"/>
                </a:moveTo>
                <a:lnTo>
                  <a:pt x="4447554" y="1905453"/>
                </a:lnTo>
                <a:lnTo>
                  <a:pt x="4448663" y="1907297"/>
                </a:lnTo>
                <a:close/>
                <a:moveTo>
                  <a:pt x="5548563" y="1904263"/>
                </a:moveTo>
                <a:lnTo>
                  <a:pt x="5545594" y="1907367"/>
                </a:lnTo>
                <a:lnTo>
                  <a:pt x="5548564" y="1904263"/>
                </a:lnTo>
                <a:close/>
                <a:moveTo>
                  <a:pt x="4371355" y="1902026"/>
                </a:moveTo>
                <a:lnTo>
                  <a:pt x="4372678" y="1903396"/>
                </a:lnTo>
                <a:lnTo>
                  <a:pt x="4370942" y="1906211"/>
                </a:lnTo>
                <a:lnTo>
                  <a:pt x="4366818" y="1903937"/>
                </a:lnTo>
                <a:lnTo>
                  <a:pt x="4364539" y="1905453"/>
                </a:lnTo>
                <a:lnTo>
                  <a:pt x="4364539" y="1905454"/>
                </a:lnTo>
                <a:lnTo>
                  <a:pt x="4366818" y="1903938"/>
                </a:lnTo>
                <a:lnTo>
                  <a:pt x="4370942" y="1906211"/>
                </a:lnTo>
                <a:lnTo>
                  <a:pt x="4372679" y="1903397"/>
                </a:lnTo>
                <a:close/>
                <a:moveTo>
                  <a:pt x="4565725" y="1901990"/>
                </a:moveTo>
                <a:lnTo>
                  <a:pt x="4568984" y="1903504"/>
                </a:lnTo>
                <a:lnTo>
                  <a:pt x="4568984" y="1903504"/>
                </a:lnTo>
                <a:close/>
                <a:moveTo>
                  <a:pt x="4266440" y="1901447"/>
                </a:moveTo>
                <a:lnTo>
                  <a:pt x="4271215" y="1905344"/>
                </a:lnTo>
                <a:lnTo>
                  <a:pt x="4272408" y="1909567"/>
                </a:lnTo>
                <a:close/>
                <a:moveTo>
                  <a:pt x="4101534" y="1900979"/>
                </a:moveTo>
                <a:lnTo>
                  <a:pt x="4099433" y="1905995"/>
                </a:lnTo>
                <a:lnTo>
                  <a:pt x="4099433" y="1905996"/>
                </a:lnTo>
                <a:close/>
                <a:moveTo>
                  <a:pt x="4562690" y="1900581"/>
                </a:moveTo>
                <a:lnTo>
                  <a:pt x="4558133" y="1902313"/>
                </a:lnTo>
                <a:lnTo>
                  <a:pt x="4562690" y="1900581"/>
                </a:lnTo>
                <a:close/>
                <a:moveTo>
                  <a:pt x="4449327" y="1899035"/>
                </a:moveTo>
                <a:lnTo>
                  <a:pt x="4449616" y="1899282"/>
                </a:lnTo>
                <a:lnTo>
                  <a:pt x="4449616" y="1899281"/>
                </a:lnTo>
                <a:close/>
                <a:moveTo>
                  <a:pt x="5427676" y="1898957"/>
                </a:moveTo>
                <a:lnTo>
                  <a:pt x="5419321" y="1901556"/>
                </a:lnTo>
                <a:lnTo>
                  <a:pt x="5419321" y="1901556"/>
                </a:lnTo>
                <a:lnTo>
                  <a:pt x="5427676" y="1898958"/>
                </a:lnTo>
                <a:close/>
                <a:moveTo>
                  <a:pt x="2159646" y="1898427"/>
                </a:moveTo>
                <a:lnTo>
                  <a:pt x="2153295" y="1900473"/>
                </a:lnTo>
                <a:lnTo>
                  <a:pt x="2110837" y="1911848"/>
                </a:lnTo>
                <a:lnTo>
                  <a:pt x="2153295" y="1900473"/>
                </a:lnTo>
                <a:close/>
                <a:moveTo>
                  <a:pt x="4552107" y="1898139"/>
                </a:moveTo>
                <a:lnTo>
                  <a:pt x="4555637" y="1899607"/>
                </a:lnTo>
                <a:lnTo>
                  <a:pt x="4555636" y="1899606"/>
                </a:lnTo>
                <a:close/>
                <a:moveTo>
                  <a:pt x="5756700" y="1897438"/>
                </a:moveTo>
                <a:lnTo>
                  <a:pt x="5754311" y="1899065"/>
                </a:lnTo>
                <a:lnTo>
                  <a:pt x="5754528" y="1905345"/>
                </a:lnTo>
                <a:lnTo>
                  <a:pt x="5752733" y="1906326"/>
                </a:lnTo>
                <a:lnTo>
                  <a:pt x="5754529" y="1905345"/>
                </a:lnTo>
                <a:lnTo>
                  <a:pt x="5754312" y="1899065"/>
                </a:lnTo>
                <a:close/>
                <a:moveTo>
                  <a:pt x="4534259" y="1896683"/>
                </a:moveTo>
                <a:lnTo>
                  <a:pt x="4520152" y="1903287"/>
                </a:lnTo>
                <a:lnTo>
                  <a:pt x="4518090" y="1906644"/>
                </a:lnTo>
                <a:lnTo>
                  <a:pt x="4512013" y="1908593"/>
                </a:lnTo>
                <a:lnTo>
                  <a:pt x="4509083" y="1910650"/>
                </a:lnTo>
                <a:lnTo>
                  <a:pt x="4512013" y="1908593"/>
                </a:lnTo>
                <a:lnTo>
                  <a:pt x="4518091" y="1906645"/>
                </a:lnTo>
                <a:lnTo>
                  <a:pt x="4520152" y="1903288"/>
                </a:lnTo>
                <a:close/>
                <a:moveTo>
                  <a:pt x="4540444" y="1895709"/>
                </a:moveTo>
                <a:lnTo>
                  <a:pt x="4537495" y="1896173"/>
                </a:lnTo>
                <a:lnTo>
                  <a:pt x="4540445" y="1895709"/>
                </a:lnTo>
                <a:close/>
                <a:moveTo>
                  <a:pt x="5005437" y="1894518"/>
                </a:moveTo>
                <a:lnTo>
                  <a:pt x="5003050" y="1896792"/>
                </a:lnTo>
                <a:lnTo>
                  <a:pt x="5001860" y="1896047"/>
                </a:lnTo>
                <a:lnTo>
                  <a:pt x="5001097" y="1897659"/>
                </a:lnTo>
                <a:lnTo>
                  <a:pt x="4999904" y="1902098"/>
                </a:lnTo>
                <a:lnTo>
                  <a:pt x="4997516" y="1901016"/>
                </a:lnTo>
                <a:lnTo>
                  <a:pt x="4997516" y="1905130"/>
                </a:lnTo>
                <a:lnTo>
                  <a:pt x="5000772" y="1905130"/>
                </a:lnTo>
                <a:lnTo>
                  <a:pt x="5001423" y="1907728"/>
                </a:lnTo>
                <a:lnTo>
                  <a:pt x="5002834" y="1910976"/>
                </a:lnTo>
                <a:lnTo>
                  <a:pt x="5002834" y="1917906"/>
                </a:lnTo>
                <a:lnTo>
                  <a:pt x="5006415" y="1922020"/>
                </a:lnTo>
                <a:lnTo>
                  <a:pt x="5007934" y="1928841"/>
                </a:lnTo>
                <a:lnTo>
                  <a:pt x="5016941" y="1939668"/>
                </a:lnTo>
                <a:lnTo>
                  <a:pt x="5029637" y="1950495"/>
                </a:lnTo>
                <a:lnTo>
                  <a:pt x="5031808" y="1952011"/>
                </a:lnTo>
                <a:lnTo>
                  <a:pt x="5023777" y="1961755"/>
                </a:lnTo>
                <a:lnTo>
                  <a:pt x="5016833" y="1965545"/>
                </a:lnTo>
                <a:lnTo>
                  <a:pt x="5014771" y="1969659"/>
                </a:lnTo>
                <a:lnTo>
                  <a:pt x="5007159" y="1968900"/>
                </a:lnTo>
                <a:lnTo>
                  <a:pt x="5007392" y="1969332"/>
                </a:lnTo>
                <a:lnTo>
                  <a:pt x="5018461" y="1970415"/>
                </a:lnTo>
                <a:lnTo>
                  <a:pt x="5020522" y="1966193"/>
                </a:lnTo>
                <a:lnTo>
                  <a:pt x="5027359" y="1962403"/>
                </a:lnTo>
                <a:lnTo>
                  <a:pt x="5035715" y="1952334"/>
                </a:lnTo>
                <a:lnTo>
                  <a:pt x="5036755" y="1953085"/>
                </a:lnTo>
                <a:lnTo>
                  <a:pt x="5037016" y="1952768"/>
                </a:lnTo>
                <a:lnTo>
                  <a:pt x="5034846" y="1951252"/>
                </a:lnTo>
                <a:lnTo>
                  <a:pt x="5022149" y="1940425"/>
                </a:lnTo>
                <a:lnTo>
                  <a:pt x="5013142" y="1929598"/>
                </a:lnTo>
                <a:lnTo>
                  <a:pt x="5011623" y="1922777"/>
                </a:lnTo>
                <a:lnTo>
                  <a:pt x="5008042" y="1918663"/>
                </a:lnTo>
                <a:lnTo>
                  <a:pt x="5008042" y="1911733"/>
                </a:lnTo>
                <a:lnTo>
                  <a:pt x="5006631" y="1908485"/>
                </a:lnTo>
                <a:lnTo>
                  <a:pt x="5005981" y="1905886"/>
                </a:lnTo>
                <a:lnTo>
                  <a:pt x="5002724" y="1905886"/>
                </a:lnTo>
                <a:lnTo>
                  <a:pt x="5002724" y="1901773"/>
                </a:lnTo>
                <a:lnTo>
                  <a:pt x="5005112" y="1902855"/>
                </a:lnTo>
                <a:lnTo>
                  <a:pt x="5006306" y="1898416"/>
                </a:lnTo>
                <a:lnTo>
                  <a:pt x="5008150" y="1894518"/>
                </a:lnTo>
                <a:close/>
                <a:moveTo>
                  <a:pt x="2087767" y="1893762"/>
                </a:moveTo>
                <a:lnTo>
                  <a:pt x="2087317" y="1894843"/>
                </a:lnTo>
                <a:lnTo>
                  <a:pt x="2086291" y="1896892"/>
                </a:lnTo>
                <a:lnTo>
                  <a:pt x="2087317" y="1894843"/>
                </a:lnTo>
                <a:close/>
                <a:moveTo>
                  <a:pt x="4260364" y="1893544"/>
                </a:moveTo>
                <a:lnTo>
                  <a:pt x="4264054" y="1895060"/>
                </a:lnTo>
                <a:lnTo>
                  <a:pt x="4264596" y="1898525"/>
                </a:lnTo>
                <a:close/>
                <a:moveTo>
                  <a:pt x="4269261" y="1893327"/>
                </a:moveTo>
                <a:lnTo>
                  <a:pt x="4271974" y="1894084"/>
                </a:lnTo>
                <a:lnTo>
                  <a:pt x="4275012" y="1898199"/>
                </a:lnTo>
                <a:lnTo>
                  <a:pt x="4273276" y="1899390"/>
                </a:lnTo>
                <a:close/>
                <a:moveTo>
                  <a:pt x="5759521" y="1893219"/>
                </a:moveTo>
                <a:lnTo>
                  <a:pt x="5759520" y="1893219"/>
                </a:lnTo>
                <a:lnTo>
                  <a:pt x="5758760" y="1896034"/>
                </a:lnTo>
                <a:lnTo>
                  <a:pt x="5758761" y="1896033"/>
                </a:lnTo>
                <a:close/>
                <a:moveTo>
                  <a:pt x="6315887" y="1891379"/>
                </a:moveTo>
                <a:lnTo>
                  <a:pt x="6315885" y="1891380"/>
                </a:lnTo>
                <a:lnTo>
                  <a:pt x="6316753" y="1894951"/>
                </a:lnTo>
                <a:lnTo>
                  <a:pt x="6316753" y="1897549"/>
                </a:lnTo>
                <a:lnTo>
                  <a:pt x="6316754" y="1897550"/>
                </a:lnTo>
                <a:lnTo>
                  <a:pt x="6316754" y="1894951"/>
                </a:lnTo>
                <a:close/>
                <a:moveTo>
                  <a:pt x="5598373" y="1891054"/>
                </a:moveTo>
                <a:lnTo>
                  <a:pt x="5598916" y="1896142"/>
                </a:lnTo>
                <a:lnTo>
                  <a:pt x="5600326" y="1901556"/>
                </a:lnTo>
                <a:lnTo>
                  <a:pt x="5600434" y="1907835"/>
                </a:lnTo>
                <a:lnTo>
                  <a:pt x="5600435" y="1907835"/>
                </a:lnTo>
                <a:lnTo>
                  <a:pt x="5600326" y="1901555"/>
                </a:lnTo>
                <a:lnTo>
                  <a:pt x="5598916" y="1896142"/>
                </a:lnTo>
                <a:close/>
                <a:moveTo>
                  <a:pt x="6288757" y="1891054"/>
                </a:moveTo>
                <a:lnTo>
                  <a:pt x="6290255" y="1891819"/>
                </a:lnTo>
                <a:lnTo>
                  <a:pt x="6288758" y="1891054"/>
                </a:lnTo>
                <a:close/>
                <a:moveTo>
                  <a:pt x="5657948" y="1890837"/>
                </a:moveTo>
                <a:lnTo>
                  <a:pt x="5655594" y="1892945"/>
                </a:lnTo>
                <a:lnTo>
                  <a:pt x="5657948" y="1890837"/>
                </a:lnTo>
                <a:close/>
                <a:moveTo>
                  <a:pt x="2165191" y="1888655"/>
                </a:moveTo>
                <a:lnTo>
                  <a:pt x="2163713" y="1897117"/>
                </a:lnTo>
                <a:lnTo>
                  <a:pt x="2163713" y="1897117"/>
                </a:lnTo>
                <a:close/>
                <a:moveTo>
                  <a:pt x="5757567" y="1887480"/>
                </a:moveTo>
                <a:lnTo>
                  <a:pt x="5757567" y="1887481"/>
                </a:lnTo>
                <a:lnTo>
                  <a:pt x="5761690" y="1892136"/>
                </a:lnTo>
                <a:lnTo>
                  <a:pt x="5761691" y="1892135"/>
                </a:lnTo>
                <a:close/>
                <a:moveTo>
                  <a:pt x="4265356" y="1887048"/>
                </a:moveTo>
                <a:lnTo>
                  <a:pt x="4269696" y="1891487"/>
                </a:lnTo>
                <a:lnTo>
                  <a:pt x="4265247" y="1890296"/>
                </a:lnTo>
                <a:close/>
                <a:moveTo>
                  <a:pt x="4425851" y="1883149"/>
                </a:moveTo>
                <a:lnTo>
                  <a:pt x="4420860" y="1885206"/>
                </a:lnTo>
                <a:lnTo>
                  <a:pt x="4420860" y="1885207"/>
                </a:lnTo>
                <a:lnTo>
                  <a:pt x="4425852" y="1883150"/>
                </a:lnTo>
                <a:lnTo>
                  <a:pt x="4428457" y="1885526"/>
                </a:lnTo>
                <a:close/>
                <a:moveTo>
                  <a:pt x="4433664" y="1881200"/>
                </a:moveTo>
                <a:lnTo>
                  <a:pt x="4429649" y="1886614"/>
                </a:lnTo>
                <a:lnTo>
                  <a:pt x="4429650" y="1886614"/>
                </a:lnTo>
                <a:lnTo>
                  <a:pt x="4433665" y="1881201"/>
                </a:lnTo>
                <a:lnTo>
                  <a:pt x="4441911" y="1882933"/>
                </a:lnTo>
                <a:lnTo>
                  <a:pt x="4441911" y="1882933"/>
                </a:lnTo>
                <a:close/>
                <a:moveTo>
                  <a:pt x="4252008" y="1880660"/>
                </a:moveTo>
                <a:lnTo>
                  <a:pt x="4257976" y="1884882"/>
                </a:lnTo>
                <a:lnTo>
                  <a:pt x="4260038" y="1891162"/>
                </a:lnTo>
                <a:lnTo>
                  <a:pt x="4258193" y="1891487"/>
                </a:lnTo>
                <a:lnTo>
                  <a:pt x="4253962" y="1887048"/>
                </a:lnTo>
                <a:lnTo>
                  <a:pt x="4255046" y="1885641"/>
                </a:lnTo>
                <a:close/>
                <a:moveTo>
                  <a:pt x="4989920" y="1880227"/>
                </a:moveTo>
                <a:lnTo>
                  <a:pt x="4986990" y="1881093"/>
                </a:lnTo>
                <a:lnTo>
                  <a:pt x="4986060" y="1881093"/>
                </a:lnTo>
                <a:lnTo>
                  <a:pt x="4987859" y="1883259"/>
                </a:lnTo>
                <a:lnTo>
                  <a:pt x="4992308" y="1884666"/>
                </a:lnTo>
                <a:lnTo>
                  <a:pt x="4992308" y="1892570"/>
                </a:lnTo>
                <a:lnTo>
                  <a:pt x="4997842" y="1896035"/>
                </a:lnTo>
                <a:lnTo>
                  <a:pt x="4999428" y="1894525"/>
                </a:lnTo>
                <a:lnTo>
                  <a:pt x="4997516" y="1893328"/>
                </a:lnTo>
                <a:lnTo>
                  <a:pt x="4997516" y="1885424"/>
                </a:lnTo>
                <a:lnTo>
                  <a:pt x="4993067" y="1884016"/>
                </a:lnTo>
                <a:close/>
                <a:moveTo>
                  <a:pt x="4413518" y="1879517"/>
                </a:moveTo>
                <a:lnTo>
                  <a:pt x="4418580" y="1881201"/>
                </a:lnTo>
                <a:lnTo>
                  <a:pt x="4418580" y="1881200"/>
                </a:lnTo>
                <a:close/>
                <a:moveTo>
                  <a:pt x="4364647" y="1878169"/>
                </a:moveTo>
                <a:lnTo>
                  <a:pt x="4363996" y="1884340"/>
                </a:lnTo>
                <a:lnTo>
                  <a:pt x="4359221" y="1891594"/>
                </a:lnTo>
                <a:lnTo>
                  <a:pt x="4359330" y="1894843"/>
                </a:lnTo>
                <a:lnTo>
                  <a:pt x="4363150" y="1897880"/>
                </a:lnTo>
                <a:lnTo>
                  <a:pt x="4359331" y="1894843"/>
                </a:lnTo>
                <a:lnTo>
                  <a:pt x="4359222" y="1891595"/>
                </a:lnTo>
                <a:lnTo>
                  <a:pt x="4363997" y="1884340"/>
                </a:lnTo>
                <a:lnTo>
                  <a:pt x="4364648" y="1878169"/>
                </a:lnTo>
                <a:close/>
                <a:moveTo>
                  <a:pt x="5401089" y="1877953"/>
                </a:moveTo>
                <a:lnTo>
                  <a:pt x="5361806" y="1878061"/>
                </a:lnTo>
                <a:lnTo>
                  <a:pt x="5326215" y="1881850"/>
                </a:lnTo>
                <a:lnTo>
                  <a:pt x="5326215" y="1881851"/>
                </a:lnTo>
                <a:lnTo>
                  <a:pt x="5361808" y="1878061"/>
                </a:lnTo>
                <a:close/>
                <a:moveTo>
                  <a:pt x="6248168" y="1874317"/>
                </a:moveTo>
                <a:lnTo>
                  <a:pt x="6251752" y="1877844"/>
                </a:lnTo>
                <a:lnTo>
                  <a:pt x="6251753" y="1877845"/>
                </a:lnTo>
                <a:close/>
                <a:moveTo>
                  <a:pt x="4292375" y="1871239"/>
                </a:moveTo>
                <a:lnTo>
                  <a:pt x="4294220" y="1874488"/>
                </a:lnTo>
                <a:lnTo>
                  <a:pt x="4294220" y="1874488"/>
                </a:lnTo>
                <a:close/>
                <a:moveTo>
                  <a:pt x="4255914" y="1871023"/>
                </a:moveTo>
                <a:lnTo>
                  <a:pt x="4262425" y="1881309"/>
                </a:lnTo>
                <a:lnTo>
                  <a:pt x="4258953" y="1882717"/>
                </a:lnTo>
                <a:lnTo>
                  <a:pt x="4256999" y="1880334"/>
                </a:lnTo>
                <a:lnTo>
                  <a:pt x="4253527" y="1879468"/>
                </a:lnTo>
                <a:lnTo>
                  <a:pt x="4253527" y="1872755"/>
                </a:lnTo>
                <a:cubicBezTo>
                  <a:pt x="4254260" y="1872095"/>
                  <a:pt x="4255060" y="1871515"/>
                  <a:pt x="4255914" y="1871023"/>
                </a:cubicBezTo>
                <a:close/>
                <a:moveTo>
                  <a:pt x="4331116" y="1870698"/>
                </a:moveTo>
                <a:lnTo>
                  <a:pt x="4331115" y="1870699"/>
                </a:lnTo>
                <a:lnTo>
                  <a:pt x="4331994" y="1871893"/>
                </a:lnTo>
                <a:close/>
                <a:moveTo>
                  <a:pt x="4297473" y="1870649"/>
                </a:moveTo>
                <a:lnTo>
                  <a:pt x="4297367" y="1873838"/>
                </a:lnTo>
                <a:lnTo>
                  <a:pt x="4295793" y="1874163"/>
                </a:lnTo>
                <a:lnTo>
                  <a:pt x="4297367" y="1873838"/>
                </a:lnTo>
                <a:close/>
                <a:moveTo>
                  <a:pt x="4364647" y="1870373"/>
                </a:moveTo>
                <a:lnTo>
                  <a:pt x="4364647" y="1872322"/>
                </a:lnTo>
                <a:lnTo>
                  <a:pt x="4362477" y="1872322"/>
                </a:lnTo>
                <a:lnTo>
                  <a:pt x="4357810" y="1874054"/>
                </a:lnTo>
                <a:lnTo>
                  <a:pt x="4358349" y="1877811"/>
                </a:lnTo>
                <a:lnTo>
                  <a:pt x="4358350" y="1877812"/>
                </a:lnTo>
                <a:lnTo>
                  <a:pt x="4357811" y="1874055"/>
                </a:lnTo>
                <a:lnTo>
                  <a:pt x="4362478" y="1872322"/>
                </a:lnTo>
                <a:lnTo>
                  <a:pt x="4364648" y="1872322"/>
                </a:lnTo>
                <a:lnTo>
                  <a:pt x="4364648" y="1870373"/>
                </a:lnTo>
                <a:close/>
                <a:moveTo>
                  <a:pt x="4322000" y="1870373"/>
                </a:moveTo>
                <a:lnTo>
                  <a:pt x="4318853" y="1872647"/>
                </a:lnTo>
                <a:lnTo>
                  <a:pt x="4318853" y="1872647"/>
                </a:lnTo>
                <a:lnTo>
                  <a:pt x="4322001" y="1870374"/>
                </a:lnTo>
                <a:lnTo>
                  <a:pt x="4327119" y="1872249"/>
                </a:lnTo>
                <a:close/>
                <a:moveTo>
                  <a:pt x="5062518" y="1870158"/>
                </a:moveTo>
                <a:lnTo>
                  <a:pt x="5060456" y="1872648"/>
                </a:lnTo>
                <a:lnTo>
                  <a:pt x="5060456" y="1874813"/>
                </a:lnTo>
                <a:lnTo>
                  <a:pt x="5063386" y="1878386"/>
                </a:lnTo>
                <a:lnTo>
                  <a:pt x="5067184" y="1878386"/>
                </a:lnTo>
                <a:lnTo>
                  <a:pt x="5071307" y="1880010"/>
                </a:lnTo>
                <a:lnTo>
                  <a:pt x="5073043" y="1883692"/>
                </a:lnTo>
                <a:lnTo>
                  <a:pt x="5075757" y="1885315"/>
                </a:lnTo>
                <a:lnTo>
                  <a:pt x="5077493" y="1890404"/>
                </a:lnTo>
                <a:lnTo>
                  <a:pt x="5079446" y="1891054"/>
                </a:lnTo>
                <a:lnTo>
                  <a:pt x="5080748" y="1893977"/>
                </a:lnTo>
                <a:lnTo>
                  <a:pt x="5087368" y="1901773"/>
                </a:lnTo>
                <a:lnTo>
                  <a:pt x="5087368" y="1906428"/>
                </a:lnTo>
                <a:lnTo>
                  <a:pt x="5087368" y="1912275"/>
                </a:lnTo>
                <a:lnTo>
                  <a:pt x="5089430" y="1912275"/>
                </a:lnTo>
                <a:lnTo>
                  <a:pt x="5093879" y="1911192"/>
                </a:lnTo>
                <a:lnTo>
                  <a:pt x="5095507" y="1910326"/>
                </a:lnTo>
                <a:lnTo>
                  <a:pt x="5097677" y="1911517"/>
                </a:lnTo>
                <a:lnTo>
                  <a:pt x="5099739" y="1915414"/>
                </a:lnTo>
                <a:lnTo>
                  <a:pt x="5101693" y="1917255"/>
                </a:lnTo>
                <a:lnTo>
                  <a:pt x="5103537" y="1921261"/>
                </a:lnTo>
                <a:lnTo>
                  <a:pt x="5105599" y="1922020"/>
                </a:lnTo>
                <a:lnTo>
                  <a:pt x="5109180" y="1920504"/>
                </a:lnTo>
                <a:lnTo>
                  <a:pt x="5113520" y="1921586"/>
                </a:lnTo>
                <a:lnTo>
                  <a:pt x="5117318" y="1923210"/>
                </a:lnTo>
                <a:lnTo>
                  <a:pt x="5122527" y="1923210"/>
                </a:lnTo>
                <a:lnTo>
                  <a:pt x="5124190" y="1924247"/>
                </a:lnTo>
                <a:lnTo>
                  <a:pt x="5124371" y="1923860"/>
                </a:lnTo>
                <a:lnTo>
                  <a:pt x="5122635" y="1922669"/>
                </a:lnTo>
                <a:lnTo>
                  <a:pt x="5117426" y="1922993"/>
                </a:lnTo>
                <a:lnTo>
                  <a:pt x="5113737" y="1921369"/>
                </a:lnTo>
                <a:lnTo>
                  <a:pt x="5109396" y="1920287"/>
                </a:lnTo>
                <a:lnTo>
                  <a:pt x="5105816" y="1921803"/>
                </a:lnTo>
                <a:lnTo>
                  <a:pt x="5103753" y="1921044"/>
                </a:lnTo>
                <a:lnTo>
                  <a:pt x="5101909" y="1917038"/>
                </a:lnTo>
                <a:lnTo>
                  <a:pt x="5099847" y="1915198"/>
                </a:lnTo>
                <a:lnTo>
                  <a:pt x="5097785" y="1911300"/>
                </a:lnTo>
                <a:lnTo>
                  <a:pt x="5095615" y="1910109"/>
                </a:lnTo>
                <a:lnTo>
                  <a:pt x="5093987" y="1910975"/>
                </a:lnTo>
                <a:lnTo>
                  <a:pt x="5089646" y="1912058"/>
                </a:lnTo>
                <a:lnTo>
                  <a:pt x="5087584" y="1911950"/>
                </a:lnTo>
                <a:lnTo>
                  <a:pt x="5088019" y="1906103"/>
                </a:lnTo>
                <a:lnTo>
                  <a:pt x="5087584" y="1901448"/>
                </a:lnTo>
                <a:lnTo>
                  <a:pt x="5080856" y="1893652"/>
                </a:lnTo>
                <a:lnTo>
                  <a:pt x="5079555" y="1890729"/>
                </a:lnTo>
                <a:lnTo>
                  <a:pt x="5077710" y="1889971"/>
                </a:lnTo>
                <a:lnTo>
                  <a:pt x="5075974" y="1884882"/>
                </a:lnTo>
                <a:lnTo>
                  <a:pt x="5073261" y="1883258"/>
                </a:lnTo>
                <a:lnTo>
                  <a:pt x="5071524" y="1879577"/>
                </a:lnTo>
                <a:lnTo>
                  <a:pt x="5067401" y="1878061"/>
                </a:lnTo>
                <a:lnTo>
                  <a:pt x="5063603" y="1877845"/>
                </a:lnTo>
                <a:lnTo>
                  <a:pt x="5060673" y="1874271"/>
                </a:lnTo>
                <a:lnTo>
                  <a:pt x="5060998" y="1872106"/>
                </a:lnTo>
                <a:lnTo>
                  <a:pt x="5062590" y="1870183"/>
                </a:lnTo>
                <a:close/>
                <a:moveTo>
                  <a:pt x="4312312" y="1868491"/>
                </a:moveTo>
                <a:lnTo>
                  <a:pt x="4310931" y="1869723"/>
                </a:lnTo>
                <a:lnTo>
                  <a:pt x="4310932" y="1869723"/>
                </a:lnTo>
                <a:close/>
                <a:moveTo>
                  <a:pt x="4307133" y="1867450"/>
                </a:moveTo>
                <a:lnTo>
                  <a:pt x="4304746" y="1870048"/>
                </a:lnTo>
                <a:lnTo>
                  <a:pt x="4301816" y="1869940"/>
                </a:lnTo>
                <a:lnTo>
                  <a:pt x="4298633" y="1870417"/>
                </a:lnTo>
                <a:lnTo>
                  <a:pt x="4301816" y="1869941"/>
                </a:lnTo>
                <a:lnTo>
                  <a:pt x="4304746" y="1870048"/>
                </a:lnTo>
                <a:lnTo>
                  <a:pt x="4307134" y="1867450"/>
                </a:lnTo>
                <a:close/>
                <a:moveTo>
                  <a:pt x="4286623" y="1867017"/>
                </a:moveTo>
                <a:lnTo>
                  <a:pt x="4285775" y="1868012"/>
                </a:lnTo>
                <a:lnTo>
                  <a:pt x="4286624" y="1867017"/>
                </a:lnTo>
                <a:close/>
                <a:moveTo>
                  <a:pt x="6110636" y="1866214"/>
                </a:moveTo>
                <a:lnTo>
                  <a:pt x="6114912" y="1874488"/>
                </a:lnTo>
                <a:lnTo>
                  <a:pt x="6114914" y="1874488"/>
                </a:lnTo>
                <a:close/>
                <a:moveTo>
                  <a:pt x="4090561" y="1865713"/>
                </a:moveTo>
                <a:lnTo>
                  <a:pt x="4089775" y="1870482"/>
                </a:lnTo>
                <a:lnTo>
                  <a:pt x="4084241" y="1871240"/>
                </a:lnTo>
                <a:lnTo>
                  <a:pt x="4080768" y="1875030"/>
                </a:lnTo>
                <a:lnTo>
                  <a:pt x="4084240" y="1871241"/>
                </a:lnTo>
                <a:lnTo>
                  <a:pt x="4089775" y="1870483"/>
                </a:lnTo>
                <a:close/>
                <a:moveTo>
                  <a:pt x="4356944" y="1863547"/>
                </a:moveTo>
                <a:lnTo>
                  <a:pt x="4357810" y="1867342"/>
                </a:lnTo>
                <a:lnTo>
                  <a:pt x="4360198" y="1869399"/>
                </a:lnTo>
                <a:lnTo>
                  <a:pt x="4360198" y="1869399"/>
                </a:lnTo>
                <a:lnTo>
                  <a:pt x="4357811" y="1867342"/>
                </a:lnTo>
                <a:close/>
                <a:moveTo>
                  <a:pt x="4400024" y="1862145"/>
                </a:moveTo>
                <a:lnTo>
                  <a:pt x="4400024" y="1862146"/>
                </a:lnTo>
                <a:lnTo>
                  <a:pt x="4406209" y="1865393"/>
                </a:lnTo>
                <a:close/>
                <a:moveTo>
                  <a:pt x="6836986" y="1860731"/>
                </a:moveTo>
                <a:lnTo>
                  <a:pt x="6839262" y="1861929"/>
                </a:lnTo>
                <a:lnTo>
                  <a:pt x="6842626" y="1864961"/>
                </a:lnTo>
                <a:lnTo>
                  <a:pt x="6846750" y="1863337"/>
                </a:lnTo>
                <a:lnTo>
                  <a:pt x="6851854" y="1865352"/>
                </a:lnTo>
                <a:lnTo>
                  <a:pt x="6846749" y="1863336"/>
                </a:lnTo>
                <a:lnTo>
                  <a:pt x="6842625" y="1864960"/>
                </a:lnTo>
                <a:lnTo>
                  <a:pt x="6839261" y="1861928"/>
                </a:lnTo>
                <a:close/>
                <a:moveTo>
                  <a:pt x="4563821" y="1857591"/>
                </a:moveTo>
                <a:lnTo>
                  <a:pt x="4565213" y="1860053"/>
                </a:lnTo>
                <a:lnTo>
                  <a:pt x="4565295" y="1860196"/>
                </a:lnTo>
                <a:close/>
                <a:moveTo>
                  <a:pt x="2091658" y="1857165"/>
                </a:moveTo>
                <a:lnTo>
                  <a:pt x="2091542" y="1859056"/>
                </a:lnTo>
                <a:lnTo>
                  <a:pt x="2091658" y="1857165"/>
                </a:lnTo>
                <a:close/>
                <a:moveTo>
                  <a:pt x="4353470" y="1854133"/>
                </a:moveTo>
                <a:lnTo>
                  <a:pt x="4354264" y="1856039"/>
                </a:lnTo>
                <a:lnTo>
                  <a:pt x="4353470" y="1854133"/>
                </a:lnTo>
                <a:close/>
                <a:moveTo>
                  <a:pt x="6869309" y="1854040"/>
                </a:moveTo>
                <a:lnTo>
                  <a:pt x="6870622" y="1855323"/>
                </a:lnTo>
                <a:lnTo>
                  <a:pt x="6870948" y="1858788"/>
                </a:lnTo>
                <a:lnTo>
                  <a:pt x="6867801" y="1865393"/>
                </a:lnTo>
                <a:lnTo>
                  <a:pt x="6861616" y="1864310"/>
                </a:lnTo>
                <a:lnTo>
                  <a:pt x="6851957" y="1865393"/>
                </a:lnTo>
                <a:lnTo>
                  <a:pt x="6851959" y="1865393"/>
                </a:lnTo>
                <a:lnTo>
                  <a:pt x="6861617" y="1864311"/>
                </a:lnTo>
                <a:lnTo>
                  <a:pt x="6867802" y="1865393"/>
                </a:lnTo>
                <a:lnTo>
                  <a:pt x="6870949" y="1858789"/>
                </a:lnTo>
                <a:lnTo>
                  <a:pt x="6870624" y="1855325"/>
                </a:lnTo>
                <a:close/>
                <a:moveTo>
                  <a:pt x="2236505" y="1853878"/>
                </a:moveTo>
                <a:lnTo>
                  <a:pt x="2235225" y="1854133"/>
                </a:lnTo>
                <a:lnTo>
                  <a:pt x="2230776" y="1857382"/>
                </a:lnTo>
                <a:lnTo>
                  <a:pt x="2210701" y="1872323"/>
                </a:lnTo>
                <a:lnTo>
                  <a:pt x="2230777" y="1857382"/>
                </a:lnTo>
                <a:lnTo>
                  <a:pt x="2235226" y="1854133"/>
                </a:lnTo>
                <a:close/>
                <a:moveTo>
                  <a:pt x="4561177" y="1852951"/>
                </a:moveTo>
                <a:lnTo>
                  <a:pt x="4563509" y="1857054"/>
                </a:lnTo>
                <a:lnTo>
                  <a:pt x="4561187" y="1852969"/>
                </a:lnTo>
                <a:close/>
                <a:moveTo>
                  <a:pt x="4564969" y="1850994"/>
                </a:moveTo>
                <a:lnTo>
                  <a:pt x="4561497" y="1853483"/>
                </a:lnTo>
                <a:lnTo>
                  <a:pt x="4561498" y="1853484"/>
                </a:lnTo>
                <a:lnTo>
                  <a:pt x="4564970" y="1850994"/>
                </a:lnTo>
                <a:lnTo>
                  <a:pt x="4567097" y="1851643"/>
                </a:lnTo>
                <a:close/>
                <a:moveTo>
                  <a:pt x="4088039" y="1850236"/>
                </a:moveTo>
                <a:lnTo>
                  <a:pt x="4088364" y="1850344"/>
                </a:lnTo>
                <a:lnTo>
                  <a:pt x="4093573" y="1852293"/>
                </a:lnTo>
                <a:close/>
                <a:moveTo>
                  <a:pt x="6100382" y="1849034"/>
                </a:moveTo>
                <a:lnTo>
                  <a:pt x="6102541" y="1851643"/>
                </a:lnTo>
                <a:lnTo>
                  <a:pt x="6105528" y="1856111"/>
                </a:lnTo>
                <a:lnTo>
                  <a:pt x="6102543" y="1851643"/>
                </a:lnTo>
                <a:close/>
                <a:moveTo>
                  <a:pt x="4390800" y="1848827"/>
                </a:moveTo>
                <a:lnTo>
                  <a:pt x="4392390" y="1850704"/>
                </a:lnTo>
                <a:lnTo>
                  <a:pt x="4390800" y="1848828"/>
                </a:lnTo>
                <a:close/>
                <a:moveTo>
                  <a:pt x="4361826" y="1847312"/>
                </a:moveTo>
                <a:lnTo>
                  <a:pt x="4356292" y="1850127"/>
                </a:lnTo>
                <a:lnTo>
                  <a:pt x="4353036" y="1853808"/>
                </a:lnTo>
                <a:lnTo>
                  <a:pt x="4351722" y="1853098"/>
                </a:lnTo>
                <a:lnTo>
                  <a:pt x="4353036" y="1853808"/>
                </a:lnTo>
                <a:lnTo>
                  <a:pt x="4353468" y="1854132"/>
                </a:lnTo>
                <a:lnTo>
                  <a:pt x="4353469" y="1854132"/>
                </a:lnTo>
                <a:lnTo>
                  <a:pt x="4353037" y="1853808"/>
                </a:lnTo>
                <a:lnTo>
                  <a:pt x="4356292" y="1850127"/>
                </a:lnTo>
                <a:close/>
                <a:moveTo>
                  <a:pt x="4384941" y="1844389"/>
                </a:moveTo>
                <a:lnTo>
                  <a:pt x="4384940" y="1844389"/>
                </a:lnTo>
                <a:lnTo>
                  <a:pt x="4389390" y="1845905"/>
                </a:lnTo>
                <a:lnTo>
                  <a:pt x="4389389" y="1845904"/>
                </a:lnTo>
                <a:close/>
                <a:moveTo>
                  <a:pt x="4122547" y="1842332"/>
                </a:moveTo>
                <a:lnTo>
                  <a:pt x="4122547" y="1842332"/>
                </a:lnTo>
                <a:lnTo>
                  <a:pt x="4130143" y="1846014"/>
                </a:lnTo>
                <a:lnTo>
                  <a:pt x="4132531" y="1850886"/>
                </a:lnTo>
                <a:lnTo>
                  <a:pt x="4134422" y="1847497"/>
                </a:lnTo>
                <a:lnTo>
                  <a:pt x="4132531" y="1850885"/>
                </a:lnTo>
                <a:lnTo>
                  <a:pt x="4130143" y="1846013"/>
                </a:lnTo>
                <a:close/>
                <a:moveTo>
                  <a:pt x="5106901" y="1841899"/>
                </a:moveTo>
                <a:lnTo>
                  <a:pt x="5104969" y="1843116"/>
                </a:lnTo>
                <a:lnTo>
                  <a:pt x="5105056" y="1843198"/>
                </a:lnTo>
                <a:lnTo>
                  <a:pt x="5107117" y="1841899"/>
                </a:lnTo>
                <a:close/>
                <a:moveTo>
                  <a:pt x="5090515" y="1841358"/>
                </a:moveTo>
                <a:lnTo>
                  <a:pt x="5086282" y="1842874"/>
                </a:lnTo>
                <a:lnTo>
                  <a:pt x="5081074" y="1844389"/>
                </a:lnTo>
                <a:lnTo>
                  <a:pt x="5078253" y="1847421"/>
                </a:lnTo>
                <a:lnTo>
                  <a:pt x="5078904" y="1849586"/>
                </a:lnTo>
                <a:lnTo>
                  <a:pt x="5078904" y="1853376"/>
                </a:lnTo>
                <a:lnTo>
                  <a:pt x="5076625" y="1854891"/>
                </a:lnTo>
                <a:lnTo>
                  <a:pt x="5076625" y="1857274"/>
                </a:lnTo>
                <a:lnTo>
                  <a:pt x="5081291" y="1862687"/>
                </a:lnTo>
                <a:lnTo>
                  <a:pt x="5081291" y="1866151"/>
                </a:lnTo>
                <a:lnTo>
                  <a:pt x="5082702" y="1867126"/>
                </a:lnTo>
                <a:lnTo>
                  <a:pt x="5087477" y="1867126"/>
                </a:lnTo>
                <a:lnTo>
                  <a:pt x="5088670" y="1869508"/>
                </a:lnTo>
                <a:lnTo>
                  <a:pt x="5088293" y="1869947"/>
                </a:lnTo>
                <a:lnTo>
                  <a:pt x="5089213" y="1869183"/>
                </a:lnTo>
                <a:lnTo>
                  <a:pt x="5088019" y="1866801"/>
                </a:lnTo>
                <a:lnTo>
                  <a:pt x="5083353" y="1867018"/>
                </a:lnTo>
                <a:lnTo>
                  <a:pt x="5081942" y="1866151"/>
                </a:lnTo>
                <a:lnTo>
                  <a:pt x="5081942" y="1862686"/>
                </a:lnTo>
                <a:lnTo>
                  <a:pt x="5077275" y="1857273"/>
                </a:lnTo>
                <a:lnTo>
                  <a:pt x="5076842" y="1854783"/>
                </a:lnTo>
                <a:lnTo>
                  <a:pt x="5079120" y="1853375"/>
                </a:lnTo>
                <a:lnTo>
                  <a:pt x="5079120" y="1849586"/>
                </a:lnTo>
                <a:lnTo>
                  <a:pt x="5078469" y="1847421"/>
                </a:lnTo>
                <a:lnTo>
                  <a:pt x="5081291" y="1844389"/>
                </a:lnTo>
                <a:lnTo>
                  <a:pt x="5086500" y="1842873"/>
                </a:lnTo>
                <a:lnTo>
                  <a:pt x="5090604" y="1841403"/>
                </a:lnTo>
                <a:close/>
                <a:moveTo>
                  <a:pt x="5102777" y="1841249"/>
                </a:moveTo>
                <a:lnTo>
                  <a:pt x="5098762" y="1841899"/>
                </a:lnTo>
                <a:lnTo>
                  <a:pt x="5094236" y="1843159"/>
                </a:lnTo>
                <a:lnTo>
                  <a:pt x="5094312" y="1843198"/>
                </a:lnTo>
                <a:lnTo>
                  <a:pt x="5098979" y="1841899"/>
                </a:lnTo>
                <a:lnTo>
                  <a:pt x="5102809" y="1841279"/>
                </a:lnTo>
                <a:close/>
                <a:moveTo>
                  <a:pt x="4372894" y="1840816"/>
                </a:moveTo>
                <a:lnTo>
                  <a:pt x="4367252" y="1845688"/>
                </a:lnTo>
                <a:lnTo>
                  <a:pt x="4365733" y="1847853"/>
                </a:lnTo>
                <a:lnTo>
                  <a:pt x="4365733" y="1847853"/>
                </a:lnTo>
                <a:lnTo>
                  <a:pt x="4367253" y="1845688"/>
                </a:lnTo>
                <a:lnTo>
                  <a:pt x="4372895" y="1840816"/>
                </a:lnTo>
                <a:close/>
                <a:moveTo>
                  <a:pt x="4061127" y="1840275"/>
                </a:moveTo>
                <a:lnTo>
                  <a:pt x="4061126" y="1840275"/>
                </a:lnTo>
                <a:lnTo>
                  <a:pt x="4061669" y="1844065"/>
                </a:lnTo>
                <a:lnTo>
                  <a:pt x="4066769" y="1844606"/>
                </a:lnTo>
                <a:lnTo>
                  <a:pt x="4072629" y="1842223"/>
                </a:lnTo>
                <a:lnTo>
                  <a:pt x="4066770" y="1844605"/>
                </a:lnTo>
                <a:lnTo>
                  <a:pt x="4061669" y="1844064"/>
                </a:lnTo>
                <a:close/>
                <a:moveTo>
                  <a:pt x="4573542" y="1839625"/>
                </a:moveTo>
                <a:lnTo>
                  <a:pt x="4569093" y="1847854"/>
                </a:lnTo>
                <a:lnTo>
                  <a:pt x="4568882" y="1852075"/>
                </a:lnTo>
                <a:lnTo>
                  <a:pt x="4569093" y="1847854"/>
                </a:lnTo>
                <a:lnTo>
                  <a:pt x="4573542" y="1839626"/>
                </a:lnTo>
                <a:lnTo>
                  <a:pt x="4575667" y="1839915"/>
                </a:lnTo>
                <a:close/>
                <a:moveTo>
                  <a:pt x="4390284" y="1839337"/>
                </a:moveTo>
                <a:lnTo>
                  <a:pt x="4389714" y="1839516"/>
                </a:lnTo>
                <a:lnTo>
                  <a:pt x="4388344" y="1840915"/>
                </a:lnTo>
                <a:lnTo>
                  <a:pt x="4389715" y="1839516"/>
                </a:lnTo>
                <a:close/>
                <a:moveTo>
                  <a:pt x="4083465" y="1839261"/>
                </a:moveTo>
                <a:lnTo>
                  <a:pt x="4084891" y="1844065"/>
                </a:lnTo>
                <a:lnTo>
                  <a:pt x="4087604" y="1846338"/>
                </a:lnTo>
                <a:lnTo>
                  <a:pt x="4088364" y="1850344"/>
                </a:lnTo>
                <a:lnTo>
                  <a:pt x="4088039" y="1850235"/>
                </a:lnTo>
                <a:lnTo>
                  <a:pt x="4087629" y="1850709"/>
                </a:lnTo>
                <a:lnTo>
                  <a:pt x="4088038" y="1850236"/>
                </a:lnTo>
                <a:lnTo>
                  <a:pt x="4093573" y="1852293"/>
                </a:lnTo>
                <a:lnTo>
                  <a:pt x="4102796" y="1845364"/>
                </a:lnTo>
                <a:lnTo>
                  <a:pt x="4109091" y="1848179"/>
                </a:lnTo>
                <a:lnTo>
                  <a:pt x="4109091" y="1848178"/>
                </a:lnTo>
                <a:lnTo>
                  <a:pt x="4102797" y="1845363"/>
                </a:lnTo>
                <a:lnTo>
                  <a:pt x="4093573" y="1852293"/>
                </a:lnTo>
                <a:lnTo>
                  <a:pt x="4088365" y="1850344"/>
                </a:lnTo>
                <a:lnTo>
                  <a:pt x="4087605" y="1846338"/>
                </a:lnTo>
                <a:lnTo>
                  <a:pt x="4084892" y="1844064"/>
                </a:lnTo>
                <a:close/>
                <a:moveTo>
                  <a:pt x="7159819" y="1838434"/>
                </a:moveTo>
                <a:lnTo>
                  <a:pt x="7162098" y="1838650"/>
                </a:lnTo>
                <a:lnTo>
                  <a:pt x="7166330" y="1840599"/>
                </a:lnTo>
                <a:lnTo>
                  <a:pt x="7167415" y="1842007"/>
                </a:lnTo>
                <a:lnTo>
                  <a:pt x="7169585" y="1841682"/>
                </a:lnTo>
                <a:lnTo>
                  <a:pt x="7172407" y="1839950"/>
                </a:lnTo>
                <a:lnTo>
                  <a:pt x="7171973" y="1842440"/>
                </a:lnTo>
                <a:lnTo>
                  <a:pt x="7172515" y="1849694"/>
                </a:lnTo>
                <a:lnTo>
                  <a:pt x="7174469" y="1857056"/>
                </a:lnTo>
                <a:lnTo>
                  <a:pt x="7177073" y="1861929"/>
                </a:lnTo>
                <a:lnTo>
                  <a:pt x="7186840" y="1872756"/>
                </a:lnTo>
                <a:lnTo>
                  <a:pt x="7191289" y="1876870"/>
                </a:lnTo>
                <a:lnTo>
                  <a:pt x="7191831" y="1887047"/>
                </a:lnTo>
                <a:lnTo>
                  <a:pt x="7194436" y="1888455"/>
                </a:lnTo>
                <a:lnTo>
                  <a:pt x="7196823" y="1888455"/>
                </a:lnTo>
                <a:lnTo>
                  <a:pt x="7201164" y="1896034"/>
                </a:lnTo>
                <a:lnTo>
                  <a:pt x="7202465" y="1905237"/>
                </a:lnTo>
                <a:lnTo>
                  <a:pt x="7204419" y="1908701"/>
                </a:lnTo>
                <a:lnTo>
                  <a:pt x="7203334" y="1911625"/>
                </a:lnTo>
                <a:lnTo>
                  <a:pt x="7203660" y="1917471"/>
                </a:lnTo>
                <a:lnTo>
                  <a:pt x="7205071" y="1919637"/>
                </a:lnTo>
                <a:lnTo>
                  <a:pt x="7204527" y="1923318"/>
                </a:lnTo>
                <a:lnTo>
                  <a:pt x="7204636" y="1924725"/>
                </a:lnTo>
                <a:lnTo>
                  <a:pt x="7202900" y="1927649"/>
                </a:lnTo>
                <a:lnTo>
                  <a:pt x="7203009" y="1931330"/>
                </a:lnTo>
                <a:lnTo>
                  <a:pt x="7202683" y="1933712"/>
                </a:lnTo>
                <a:lnTo>
                  <a:pt x="7203877" y="1938476"/>
                </a:lnTo>
                <a:lnTo>
                  <a:pt x="7205395" y="1940316"/>
                </a:lnTo>
                <a:lnTo>
                  <a:pt x="7206264" y="1943998"/>
                </a:lnTo>
                <a:lnTo>
                  <a:pt x="7207458" y="1949411"/>
                </a:lnTo>
                <a:lnTo>
                  <a:pt x="7206155" y="1951143"/>
                </a:lnTo>
                <a:lnTo>
                  <a:pt x="7204202" y="1947896"/>
                </a:lnTo>
                <a:lnTo>
                  <a:pt x="7200621" y="1947896"/>
                </a:lnTo>
                <a:lnTo>
                  <a:pt x="7193242" y="1951360"/>
                </a:lnTo>
                <a:lnTo>
                  <a:pt x="7191831" y="1959047"/>
                </a:lnTo>
                <a:lnTo>
                  <a:pt x="7192374" y="1965218"/>
                </a:lnTo>
                <a:lnTo>
                  <a:pt x="7198234" y="1973231"/>
                </a:lnTo>
                <a:lnTo>
                  <a:pt x="7202358" y="1989796"/>
                </a:lnTo>
                <a:lnTo>
                  <a:pt x="7202032" y="1998999"/>
                </a:lnTo>
                <a:lnTo>
                  <a:pt x="7200296" y="2012424"/>
                </a:lnTo>
                <a:lnTo>
                  <a:pt x="7201815" y="2023901"/>
                </a:lnTo>
                <a:lnTo>
                  <a:pt x="7203660" y="2029531"/>
                </a:lnTo>
                <a:lnTo>
                  <a:pt x="7209194" y="2037111"/>
                </a:lnTo>
                <a:lnTo>
                  <a:pt x="7211799" y="2039492"/>
                </a:lnTo>
                <a:lnTo>
                  <a:pt x="7212450" y="2042632"/>
                </a:lnTo>
                <a:lnTo>
                  <a:pt x="7207349" y="2047396"/>
                </a:lnTo>
                <a:lnTo>
                  <a:pt x="7208326" y="2051402"/>
                </a:lnTo>
                <a:lnTo>
                  <a:pt x="7206698" y="2057574"/>
                </a:lnTo>
                <a:lnTo>
                  <a:pt x="7202141" y="2062446"/>
                </a:lnTo>
                <a:lnTo>
                  <a:pt x="7198234" y="2062770"/>
                </a:lnTo>
                <a:lnTo>
                  <a:pt x="7196172" y="2067209"/>
                </a:lnTo>
                <a:lnTo>
                  <a:pt x="7193025" y="2069266"/>
                </a:lnTo>
                <a:lnTo>
                  <a:pt x="7190747" y="2068184"/>
                </a:lnTo>
                <a:lnTo>
                  <a:pt x="7189444" y="2054650"/>
                </a:lnTo>
                <a:lnTo>
                  <a:pt x="7190638" y="2048154"/>
                </a:lnTo>
                <a:lnTo>
                  <a:pt x="7192808" y="2044905"/>
                </a:lnTo>
                <a:lnTo>
                  <a:pt x="7191831" y="2042307"/>
                </a:lnTo>
                <a:lnTo>
                  <a:pt x="7187382" y="2041441"/>
                </a:lnTo>
                <a:lnTo>
                  <a:pt x="7184452" y="2043282"/>
                </a:lnTo>
                <a:lnTo>
                  <a:pt x="7183259" y="2049020"/>
                </a:lnTo>
                <a:lnTo>
                  <a:pt x="7185429" y="2051727"/>
                </a:lnTo>
                <a:lnTo>
                  <a:pt x="7184452" y="2054001"/>
                </a:lnTo>
                <a:lnTo>
                  <a:pt x="7181088" y="2054109"/>
                </a:lnTo>
                <a:lnTo>
                  <a:pt x="7175336" y="2058548"/>
                </a:lnTo>
                <a:lnTo>
                  <a:pt x="7173927" y="2063745"/>
                </a:lnTo>
                <a:lnTo>
                  <a:pt x="7176639" y="2071974"/>
                </a:lnTo>
                <a:lnTo>
                  <a:pt x="7173058" y="2076954"/>
                </a:lnTo>
                <a:lnTo>
                  <a:pt x="7169368" y="2077387"/>
                </a:lnTo>
                <a:lnTo>
                  <a:pt x="7167524" y="2073922"/>
                </a:lnTo>
                <a:lnTo>
                  <a:pt x="7168934" y="2069484"/>
                </a:lnTo>
                <a:lnTo>
                  <a:pt x="7168066" y="2064611"/>
                </a:lnTo>
                <a:lnTo>
                  <a:pt x="7164051" y="2063962"/>
                </a:lnTo>
                <a:lnTo>
                  <a:pt x="7158951" y="2066560"/>
                </a:lnTo>
                <a:lnTo>
                  <a:pt x="7157757" y="2071974"/>
                </a:lnTo>
                <a:lnTo>
                  <a:pt x="7158951" y="2076845"/>
                </a:lnTo>
                <a:lnTo>
                  <a:pt x="7160579" y="2078361"/>
                </a:lnTo>
                <a:lnTo>
                  <a:pt x="7154393" y="2079119"/>
                </a:lnTo>
                <a:lnTo>
                  <a:pt x="7142347" y="2078037"/>
                </a:lnTo>
                <a:lnTo>
                  <a:pt x="7136488" y="2081176"/>
                </a:lnTo>
                <a:lnTo>
                  <a:pt x="7132798" y="2082151"/>
                </a:lnTo>
                <a:lnTo>
                  <a:pt x="7131279" y="2081393"/>
                </a:lnTo>
                <a:lnTo>
                  <a:pt x="7131822" y="2080202"/>
                </a:lnTo>
                <a:lnTo>
                  <a:pt x="7136162" y="2079119"/>
                </a:lnTo>
                <a:lnTo>
                  <a:pt x="7137030" y="2077062"/>
                </a:lnTo>
                <a:lnTo>
                  <a:pt x="7135403" y="2076629"/>
                </a:lnTo>
                <a:lnTo>
                  <a:pt x="7132907" y="2077496"/>
                </a:lnTo>
                <a:lnTo>
                  <a:pt x="7130520" y="2075763"/>
                </a:lnTo>
                <a:lnTo>
                  <a:pt x="7127264" y="2075005"/>
                </a:lnTo>
                <a:lnTo>
                  <a:pt x="7126179" y="2076413"/>
                </a:lnTo>
                <a:lnTo>
                  <a:pt x="7124009" y="2077928"/>
                </a:lnTo>
                <a:lnTo>
                  <a:pt x="7122381" y="2076521"/>
                </a:lnTo>
                <a:lnTo>
                  <a:pt x="7121838" y="2071323"/>
                </a:lnTo>
                <a:lnTo>
                  <a:pt x="7122814" y="2069375"/>
                </a:lnTo>
                <a:lnTo>
                  <a:pt x="7120970" y="2069916"/>
                </a:lnTo>
                <a:lnTo>
                  <a:pt x="7118257" y="2072298"/>
                </a:lnTo>
                <a:lnTo>
                  <a:pt x="7116412" y="2078794"/>
                </a:lnTo>
                <a:lnTo>
                  <a:pt x="7117498" y="2081176"/>
                </a:lnTo>
                <a:lnTo>
                  <a:pt x="7126070" y="2084858"/>
                </a:lnTo>
                <a:lnTo>
                  <a:pt x="7127047" y="2089729"/>
                </a:lnTo>
                <a:lnTo>
                  <a:pt x="7128241" y="2091462"/>
                </a:lnTo>
                <a:lnTo>
                  <a:pt x="7126830" y="2093952"/>
                </a:lnTo>
                <a:lnTo>
                  <a:pt x="7123140" y="2093952"/>
                </a:lnTo>
                <a:lnTo>
                  <a:pt x="7119017" y="2094494"/>
                </a:lnTo>
                <a:lnTo>
                  <a:pt x="7115978" y="2100340"/>
                </a:lnTo>
                <a:lnTo>
                  <a:pt x="7116847" y="2103480"/>
                </a:lnTo>
                <a:lnTo>
                  <a:pt x="7116195" y="2105862"/>
                </a:lnTo>
                <a:lnTo>
                  <a:pt x="7113591" y="2107486"/>
                </a:lnTo>
                <a:lnTo>
                  <a:pt x="7113157" y="2112034"/>
                </a:lnTo>
                <a:lnTo>
                  <a:pt x="7108490" y="2119071"/>
                </a:lnTo>
                <a:lnTo>
                  <a:pt x="7105560" y="2120587"/>
                </a:lnTo>
                <a:lnTo>
                  <a:pt x="7101111" y="2119288"/>
                </a:lnTo>
                <a:lnTo>
                  <a:pt x="7094383" y="2113116"/>
                </a:lnTo>
                <a:lnTo>
                  <a:pt x="7089609" y="2110951"/>
                </a:lnTo>
                <a:lnTo>
                  <a:pt x="7088416" y="2106404"/>
                </a:lnTo>
                <a:lnTo>
                  <a:pt x="7089066" y="2104563"/>
                </a:lnTo>
                <a:lnTo>
                  <a:pt x="7088740" y="2100124"/>
                </a:lnTo>
                <a:lnTo>
                  <a:pt x="7088198" y="2095793"/>
                </a:lnTo>
                <a:lnTo>
                  <a:pt x="7086027" y="2094386"/>
                </a:lnTo>
                <a:lnTo>
                  <a:pt x="7087113" y="2090271"/>
                </a:lnTo>
                <a:lnTo>
                  <a:pt x="7090693" y="2085182"/>
                </a:lnTo>
                <a:lnTo>
                  <a:pt x="7090693" y="2081284"/>
                </a:lnTo>
                <a:lnTo>
                  <a:pt x="7088740" y="2079553"/>
                </a:lnTo>
                <a:lnTo>
                  <a:pt x="7084617" y="2080635"/>
                </a:lnTo>
                <a:lnTo>
                  <a:pt x="7077455" y="2079336"/>
                </a:lnTo>
                <a:lnTo>
                  <a:pt x="7071703" y="2081284"/>
                </a:lnTo>
                <a:lnTo>
                  <a:pt x="7066169" y="2085832"/>
                </a:lnTo>
                <a:lnTo>
                  <a:pt x="7064975" y="2088431"/>
                </a:lnTo>
                <a:lnTo>
                  <a:pt x="7060092" y="2091137"/>
                </a:lnTo>
                <a:lnTo>
                  <a:pt x="7059875" y="2092653"/>
                </a:lnTo>
                <a:lnTo>
                  <a:pt x="7057271" y="2093952"/>
                </a:lnTo>
                <a:lnTo>
                  <a:pt x="7055426" y="2093086"/>
                </a:lnTo>
                <a:lnTo>
                  <a:pt x="7050542" y="2093303"/>
                </a:lnTo>
                <a:lnTo>
                  <a:pt x="7043055" y="2095684"/>
                </a:lnTo>
                <a:lnTo>
                  <a:pt x="7035242" y="2097200"/>
                </a:lnTo>
                <a:lnTo>
                  <a:pt x="7031227" y="2099366"/>
                </a:lnTo>
                <a:lnTo>
                  <a:pt x="7028188" y="2099149"/>
                </a:lnTo>
                <a:lnTo>
                  <a:pt x="7026235" y="2096334"/>
                </a:lnTo>
                <a:lnTo>
                  <a:pt x="7022979" y="2096551"/>
                </a:lnTo>
                <a:lnTo>
                  <a:pt x="7021569" y="2099149"/>
                </a:lnTo>
                <a:lnTo>
                  <a:pt x="7022328" y="2102506"/>
                </a:lnTo>
                <a:lnTo>
                  <a:pt x="7021895" y="2107270"/>
                </a:lnTo>
                <a:lnTo>
                  <a:pt x="7022111" y="2110518"/>
                </a:lnTo>
                <a:lnTo>
                  <a:pt x="7021352" y="2112575"/>
                </a:lnTo>
                <a:lnTo>
                  <a:pt x="7017771" y="2110951"/>
                </a:lnTo>
                <a:lnTo>
                  <a:pt x="7010717" y="2108461"/>
                </a:lnTo>
                <a:lnTo>
                  <a:pt x="7004206" y="2109651"/>
                </a:lnTo>
                <a:lnTo>
                  <a:pt x="6996827" y="2113333"/>
                </a:lnTo>
                <a:lnTo>
                  <a:pt x="6996067" y="2116689"/>
                </a:lnTo>
                <a:lnTo>
                  <a:pt x="7001276" y="2122428"/>
                </a:lnTo>
                <a:lnTo>
                  <a:pt x="7004640" y="2122861"/>
                </a:lnTo>
                <a:lnTo>
                  <a:pt x="7007895" y="2120587"/>
                </a:lnTo>
                <a:lnTo>
                  <a:pt x="7007895" y="2119071"/>
                </a:lnTo>
                <a:lnTo>
                  <a:pt x="7011694" y="2118313"/>
                </a:lnTo>
                <a:lnTo>
                  <a:pt x="7014732" y="2120262"/>
                </a:lnTo>
                <a:lnTo>
                  <a:pt x="7015926" y="2126433"/>
                </a:lnTo>
                <a:lnTo>
                  <a:pt x="7014732" y="2129465"/>
                </a:lnTo>
                <a:lnTo>
                  <a:pt x="7010934" y="2131739"/>
                </a:lnTo>
                <a:lnTo>
                  <a:pt x="7012019" y="2133471"/>
                </a:lnTo>
                <a:lnTo>
                  <a:pt x="7019833" y="2133363"/>
                </a:lnTo>
                <a:lnTo>
                  <a:pt x="7019073" y="2136503"/>
                </a:lnTo>
                <a:lnTo>
                  <a:pt x="7021569" y="2137044"/>
                </a:lnTo>
                <a:lnTo>
                  <a:pt x="7021786" y="2141483"/>
                </a:lnTo>
                <a:lnTo>
                  <a:pt x="7024173" y="2142133"/>
                </a:lnTo>
                <a:lnTo>
                  <a:pt x="7025150" y="2145814"/>
                </a:lnTo>
                <a:lnTo>
                  <a:pt x="7020701" y="2150253"/>
                </a:lnTo>
                <a:lnTo>
                  <a:pt x="7018205" y="2154584"/>
                </a:lnTo>
                <a:lnTo>
                  <a:pt x="7018639" y="2161730"/>
                </a:lnTo>
                <a:lnTo>
                  <a:pt x="7018313" y="2175372"/>
                </a:lnTo>
                <a:lnTo>
                  <a:pt x="7019724" y="2179162"/>
                </a:lnTo>
                <a:lnTo>
                  <a:pt x="7019833" y="2186632"/>
                </a:lnTo>
                <a:lnTo>
                  <a:pt x="7018639" y="2191504"/>
                </a:lnTo>
                <a:lnTo>
                  <a:pt x="7016577" y="2189988"/>
                </a:lnTo>
                <a:lnTo>
                  <a:pt x="7013104" y="2188905"/>
                </a:lnTo>
                <a:lnTo>
                  <a:pt x="7010934" y="2189988"/>
                </a:lnTo>
                <a:lnTo>
                  <a:pt x="7011043" y="2192479"/>
                </a:lnTo>
                <a:lnTo>
                  <a:pt x="7015383" y="2196809"/>
                </a:lnTo>
                <a:lnTo>
                  <a:pt x="7010717" y="2203305"/>
                </a:lnTo>
                <a:lnTo>
                  <a:pt x="7006268" y="2206013"/>
                </a:lnTo>
                <a:lnTo>
                  <a:pt x="7005726" y="2202656"/>
                </a:lnTo>
                <a:lnTo>
                  <a:pt x="7006919" y="2198866"/>
                </a:lnTo>
                <a:lnTo>
                  <a:pt x="7005508" y="2192479"/>
                </a:lnTo>
                <a:lnTo>
                  <a:pt x="7001819" y="2188689"/>
                </a:lnTo>
                <a:lnTo>
                  <a:pt x="7001927" y="2186415"/>
                </a:lnTo>
                <a:lnTo>
                  <a:pt x="7003338" y="2184358"/>
                </a:lnTo>
                <a:lnTo>
                  <a:pt x="7000842" y="2182409"/>
                </a:lnTo>
                <a:lnTo>
                  <a:pt x="6998780" y="2184791"/>
                </a:lnTo>
                <a:lnTo>
                  <a:pt x="6998780" y="2192479"/>
                </a:lnTo>
                <a:lnTo>
                  <a:pt x="7002253" y="2197892"/>
                </a:lnTo>
                <a:lnTo>
                  <a:pt x="7002253" y="2200491"/>
                </a:lnTo>
                <a:lnTo>
                  <a:pt x="7000733" y="2202223"/>
                </a:lnTo>
                <a:lnTo>
                  <a:pt x="6997478" y="2200382"/>
                </a:lnTo>
                <a:lnTo>
                  <a:pt x="6993680" y="2200923"/>
                </a:lnTo>
                <a:lnTo>
                  <a:pt x="6990642" y="2197134"/>
                </a:lnTo>
                <a:lnTo>
                  <a:pt x="6992704" y="2194644"/>
                </a:lnTo>
                <a:lnTo>
                  <a:pt x="6992704" y="2190638"/>
                </a:lnTo>
                <a:lnTo>
                  <a:pt x="6988797" y="2185982"/>
                </a:lnTo>
                <a:lnTo>
                  <a:pt x="6987278" y="2177646"/>
                </a:lnTo>
                <a:lnTo>
                  <a:pt x="6983588" y="2171366"/>
                </a:lnTo>
                <a:lnTo>
                  <a:pt x="6982612" y="2168659"/>
                </a:lnTo>
                <a:lnTo>
                  <a:pt x="6986735" y="2168226"/>
                </a:lnTo>
                <a:lnTo>
                  <a:pt x="6990207" y="2160647"/>
                </a:lnTo>
                <a:lnTo>
                  <a:pt x="6989882" y="2152526"/>
                </a:lnTo>
                <a:lnTo>
                  <a:pt x="6987820" y="2150145"/>
                </a:lnTo>
                <a:lnTo>
                  <a:pt x="6987278" y="2144840"/>
                </a:lnTo>
                <a:lnTo>
                  <a:pt x="6983045" y="2137802"/>
                </a:lnTo>
                <a:lnTo>
                  <a:pt x="6979139" y="2136286"/>
                </a:lnTo>
                <a:lnTo>
                  <a:pt x="6977185" y="2138885"/>
                </a:lnTo>
                <a:lnTo>
                  <a:pt x="6978162" y="2142457"/>
                </a:lnTo>
                <a:lnTo>
                  <a:pt x="6976968" y="2144515"/>
                </a:lnTo>
                <a:lnTo>
                  <a:pt x="6976751" y="2146463"/>
                </a:lnTo>
                <a:lnTo>
                  <a:pt x="6980983" y="2145273"/>
                </a:lnTo>
                <a:lnTo>
                  <a:pt x="6983588" y="2147655"/>
                </a:lnTo>
                <a:lnTo>
                  <a:pt x="6984022" y="2152093"/>
                </a:lnTo>
                <a:lnTo>
                  <a:pt x="6980333" y="2153177"/>
                </a:lnTo>
                <a:lnTo>
                  <a:pt x="6978597" y="2151877"/>
                </a:lnTo>
                <a:lnTo>
                  <a:pt x="6980441" y="2150145"/>
                </a:lnTo>
                <a:lnTo>
                  <a:pt x="6978053" y="2149279"/>
                </a:lnTo>
                <a:lnTo>
                  <a:pt x="6974472" y="2150469"/>
                </a:lnTo>
                <a:lnTo>
                  <a:pt x="6972845" y="2153718"/>
                </a:lnTo>
                <a:lnTo>
                  <a:pt x="6970458" y="2155016"/>
                </a:lnTo>
                <a:lnTo>
                  <a:pt x="6972085" y="2151985"/>
                </a:lnTo>
                <a:lnTo>
                  <a:pt x="6971542" y="2149170"/>
                </a:lnTo>
                <a:lnTo>
                  <a:pt x="6968504" y="2147871"/>
                </a:lnTo>
                <a:lnTo>
                  <a:pt x="6967310" y="2143648"/>
                </a:lnTo>
                <a:lnTo>
                  <a:pt x="6968396" y="2139751"/>
                </a:lnTo>
                <a:lnTo>
                  <a:pt x="6970349" y="2142674"/>
                </a:lnTo>
                <a:lnTo>
                  <a:pt x="6971217" y="2146355"/>
                </a:lnTo>
                <a:lnTo>
                  <a:pt x="6972845" y="2144840"/>
                </a:lnTo>
                <a:lnTo>
                  <a:pt x="6970783" y="2139210"/>
                </a:lnTo>
                <a:lnTo>
                  <a:pt x="6969155" y="2134987"/>
                </a:lnTo>
                <a:lnTo>
                  <a:pt x="6966876" y="2134662"/>
                </a:lnTo>
                <a:lnTo>
                  <a:pt x="6964706" y="2134662"/>
                </a:lnTo>
                <a:lnTo>
                  <a:pt x="6969047" y="2132280"/>
                </a:lnTo>
                <a:lnTo>
                  <a:pt x="6972954" y="2132280"/>
                </a:lnTo>
                <a:lnTo>
                  <a:pt x="6974581" y="2128490"/>
                </a:lnTo>
                <a:lnTo>
                  <a:pt x="6979139" y="2123618"/>
                </a:lnTo>
                <a:lnTo>
                  <a:pt x="6982177" y="2121237"/>
                </a:lnTo>
                <a:lnTo>
                  <a:pt x="6983479" y="2118530"/>
                </a:lnTo>
                <a:lnTo>
                  <a:pt x="6988471" y="2114632"/>
                </a:lnTo>
                <a:lnTo>
                  <a:pt x="6992486" y="2114307"/>
                </a:lnTo>
                <a:lnTo>
                  <a:pt x="6993897" y="2111817"/>
                </a:lnTo>
                <a:lnTo>
                  <a:pt x="6993137" y="2109110"/>
                </a:lnTo>
                <a:lnTo>
                  <a:pt x="6990751" y="2107811"/>
                </a:lnTo>
                <a:lnTo>
                  <a:pt x="6989231" y="2100340"/>
                </a:lnTo>
                <a:lnTo>
                  <a:pt x="6991510" y="2096984"/>
                </a:lnTo>
                <a:lnTo>
                  <a:pt x="6997803" y="2095684"/>
                </a:lnTo>
                <a:lnTo>
                  <a:pt x="7001385" y="2092112"/>
                </a:lnTo>
                <a:lnTo>
                  <a:pt x="7002469" y="2088972"/>
                </a:lnTo>
                <a:lnTo>
                  <a:pt x="7005942" y="2084208"/>
                </a:lnTo>
                <a:lnTo>
                  <a:pt x="7009957" y="2082692"/>
                </a:lnTo>
                <a:lnTo>
                  <a:pt x="7016469" y="2075329"/>
                </a:lnTo>
                <a:lnTo>
                  <a:pt x="7017229" y="2071865"/>
                </a:lnTo>
                <a:lnTo>
                  <a:pt x="7020592" y="2069592"/>
                </a:lnTo>
                <a:lnTo>
                  <a:pt x="7022219" y="2063962"/>
                </a:lnTo>
                <a:lnTo>
                  <a:pt x="7031118" y="2057790"/>
                </a:lnTo>
                <a:lnTo>
                  <a:pt x="7036219" y="2057140"/>
                </a:lnTo>
                <a:lnTo>
                  <a:pt x="7038280" y="2058440"/>
                </a:lnTo>
                <a:lnTo>
                  <a:pt x="7044140" y="2056707"/>
                </a:lnTo>
                <a:lnTo>
                  <a:pt x="7050217" y="2056274"/>
                </a:lnTo>
                <a:lnTo>
                  <a:pt x="7055643" y="2054325"/>
                </a:lnTo>
                <a:lnTo>
                  <a:pt x="7061178" y="2052268"/>
                </a:lnTo>
                <a:lnTo>
                  <a:pt x="7071487" y="2048587"/>
                </a:lnTo>
                <a:lnTo>
                  <a:pt x="7072897" y="2049670"/>
                </a:lnTo>
                <a:lnTo>
                  <a:pt x="7075827" y="2049562"/>
                </a:lnTo>
                <a:lnTo>
                  <a:pt x="7078974" y="2047288"/>
                </a:lnTo>
                <a:lnTo>
                  <a:pt x="7080384" y="2047937"/>
                </a:lnTo>
                <a:lnTo>
                  <a:pt x="7081253" y="2053026"/>
                </a:lnTo>
                <a:lnTo>
                  <a:pt x="7083314" y="2053784"/>
                </a:lnTo>
                <a:lnTo>
                  <a:pt x="7086787" y="2051185"/>
                </a:lnTo>
                <a:lnTo>
                  <a:pt x="7089283" y="2053135"/>
                </a:lnTo>
                <a:lnTo>
                  <a:pt x="7092864" y="2051619"/>
                </a:lnTo>
                <a:lnTo>
                  <a:pt x="7091345" y="2049453"/>
                </a:lnTo>
                <a:lnTo>
                  <a:pt x="7093624" y="2049237"/>
                </a:lnTo>
                <a:lnTo>
                  <a:pt x="7094818" y="2046313"/>
                </a:lnTo>
                <a:lnTo>
                  <a:pt x="7093841" y="2044905"/>
                </a:lnTo>
                <a:lnTo>
                  <a:pt x="7095360" y="2043607"/>
                </a:lnTo>
                <a:lnTo>
                  <a:pt x="7095035" y="2040142"/>
                </a:lnTo>
                <a:lnTo>
                  <a:pt x="7092973" y="2037868"/>
                </a:lnTo>
                <a:lnTo>
                  <a:pt x="7093732" y="2029423"/>
                </a:lnTo>
                <a:lnTo>
                  <a:pt x="7095686" y="2027258"/>
                </a:lnTo>
                <a:lnTo>
                  <a:pt x="7095794" y="2024118"/>
                </a:lnTo>
                <a:lnTo>
                  <a:pt x="7101328" y="2018487"/>
                </a:lnTo>
                <a:lnTo>
                  <a:pt x="7102088" y="2013074"/>
                </a:lnTo>
                <a:lnTo>
                  <a:pt x="7101328" y="2001814"/>
                </a:lnTo>
                <a:lnTo>
                  <a:pt x="7097965" y="1996075"/>
                </a:lnTo>
                <a:lnTo>
                  <a:pt x="7098941" y="1991528"/>
                </a:lnTo>
                <a:lnTo>
                  <a:pt x="7104041" y="1989579"/>
                </a:lnTo>
                <a:lnTo>
                  <a:pt x="7107948" y="1985465"/>
                </a:lnTo>
                <a:lnTo>
                  <a:pt x="7113482" y="1984166"/>
                </a:lnTo>
                <a:lnTo>
                  <a:pt x="7113808" y="1985465"/>
                </a:lnTo>
                <a:lnTo>
                  <a:pt x="7110878" y="1988389"/>
                </a:lnTo>
                <a:lnTo>
                  <a:pt x="7111312" y="1990879"/>
                </a:lnTo>
                <a:lnTo>
                  <a:pt x="7108816" y="1995318"/>
                </a:lnTo>
                <a:lnTo>
                  <a:pt x="7106212" y="1996509"/>
                </a:lnTo>
                <a:lnTo>
                  <a:pt x="7106103" y="1999432"/>
                </a:lnTo>
                <a:lnTo>
                  <a:pt x="7111746" y="2006361"/>
                </a:lnTo>
                <a:lnTo>
                  <a:pt x="7117498" y="2009609"/>
                </a:lnTo>
                <a:lnTo>
                  <a:pt x="7119776" y="2005062"/>
                </a:lnTo>
                <a:lnTo>
                  <a:pt x="7124226" y="2003763"/>
                </a:lnTo>
                <a:lnTo>
                  <a:pt x="7135620" y="1996942"/>
                </a:lnTo>
                <a:lnTo>
                  <a:pt x="7141371" y="1991528"/>
                </a:lnTo>
                <a:lnTo>
                  <a:pt x="7142239" y="1986765"/>
                </a:lnTo>
                <a:lnTo>
                  <a:pt x="7145169" y="1982109"/>
                </a:lnTo>
                <a:lnTo>
                  <a:pt x="7144736" y="1974205"/>
                </a:lnTo>
                <a:lnTo>
                  <a:pt x="7147339" y="1967167"/>
                </a:lnTo>
                <a:lnTo>
                  <a:pt x="7153200" y="1964136"/>
                </a:lnTo>
                <a:lnTo>
                  <a:pt x="7155153" y="1956882"/>
                </a:lnTo>
                <a:lnTo>
                  <a:pt x="7153959" y="1950494"/>
                </a:lnTo>
                <a:lnTo>
                  <a:pt x="7158083" y="1933820"/>
                </a:lnTo>
                <a:lnTo>
                  <a:pt x="7157540" y="1922452"/>
                </a:lnTo>
                <a:lnTo>
                  <a:pt x="7158516" y="1916064"/>
                </a:lnTo>
                <a:lnTo>
                  <a:pt x="7156780" y="1904588"/>
                </a:lnTo>
                <a:lnTo>
                  <a:pt x="7152223" y="1894085"/>
                </a:lnTo>
                <a:lnTo>
                  <a:pt x="7149075" y="1897550"/>
                </a:lnTo>
                <a:lnTo>
                  <a:pt x="7145495" y="1898415"/>
                </a:lnTo>
                <a:lnTo>
                  <a:pt x="7142023" y="1894085"/>
                </a:lnTo>
                <a:lnTo>
                  <a:pt x="7142782" y="1891486"/>
                </a:lnTo>
                <a:lnTo>
                  <a:pt x="7146472" y="1892244"/>
                </a:lnTo>
                <a:lnTo>
                  <a:pt x="7149727" y="1890187"/>
                </a:lnTo>
                <a:lnTo>
                  <a:pt x="7151788" y="1883691"/>
                </a:lnTo>
                <a:lnTo>
                  <a:pt x="7149727" y="1880118"/>
                </a:lnTo>
                <a:lnTo>
                  <a:pt x="7143867" y="1874055"/>
                </a:lnTo>
                <a:lnTo>
                  <a:pt x="7143759" y="1871348"/>
                </a:lnTo>
                <a:lnTo>
                  <a:pt x="7146580" y="1867125"/>
                </a:lnTo>
                <a:lnTo>
                  <a:pt x="7149402" y="1866043"/>
                </a:lnTo>
                <a:lnTo>
                  <a:pt x="7149293" y="1861171"/>
                </a:lnTo>
                <a:lnTo>
                  <a:pt x="7147556" y="1854242"/>
                </a:lnTo>
                <a:lnTo>
                  <a:pt x="7148425" y="1850452"/>
                </a:lnTo>
                <a:lnTo>
                  <a:pt x="7151029" y="1851859"/>
                </a:lnTo>
                <a:lnTo>
                  <a:pt x="7153959" y="1850885"/>
                </a:lnTo>
                <a:lnTo>
                  <a:pt x="7155478" y="1853375"/>
                </a:lnTo>
                <a:lnTo>
                  <a:pt x="7156238" y="1858139"/>
                </a:lnTo>
                <a:lnTo>
                  <a:pt x="7156998" y="1862362"/>
                </a:lnTo>
                <a:lnTo>
                  <a:pt x="7160362" y="1863661"/>
                </a:lnTo>
                <a:lnTo>
                  <a:pt x="7162532" y="1861387"/>
                </a:lnTo>
                <a:lnTo>
                  <a:pt x="7161121" y="1855757"/>
                </a:lnTo>
                <a:lnTo>
                  <a:pt x="7162206" y="1855757"/>
                </a:lnTo>
                <a:lnTo>
                  <a:pt x="7165245" y="1858139"/>
                </a:lnTo>
                <a:lnTo>
                  <a:pt x="7168175" y="1856299"/>
                </a:lnTo>
                <a:lnTo>
                  <a:pt x="7169911" y="1851968"/>
                </a:lnTo>
                <a:lnTo>
                  <a:pt x="7167524" y="1846013"/>
                </a:lnTo>
                <a:lnTo>
                  <a:pt x="7162206" y="1850777"/>
                </a:lnTo>
                <a:lnTo>
                  <a:pt x="7159927" y="1851751"/>
                </a:lnTo>
                <a:lnTo>
                  <a:pt x="7157866" y="1849803"/>
                </a:lnTo>
                <a:lnTo>
                  <a:pt x="7157757" y="1845797"/>
                </a:lnTo>
                <a:lnTo>
                  <a:pt x="7160145" y="1839950"/>
                </a:lnTo>
                <a:close/>
                <a:moveTo>
                  <a:pt x="5253398" y="1837568"/>
                </a:moveTo>
                <a:lnTo>
                  <a:pt x="5190242" y="1849478"/>
                </a:lnTo>
                <a:lnTo>
                  <a:pt x="5209666" y="1963162"/>
                </a:lnTo>
                <a:lnTo>
                  <a:pt x="5206194" y="1963486"/>
                </a:lnTo>
                <a:lnTo>
                  <a:pt x="5196536" y="1965543"/>
                </a:lnTo>
                <a:lnTo>
                  <a:pt x="5196537" y="1965544"/>
                </a:lnTo>
                <a:lnTo>
                  <a:pt x="5206195" y="1963487"/>
                </a:lnTo>
                <a:lnTo>
                  <a:pt x="5209667" y="1963162"/>
                </a:lnTo>
                <a:lnTo>
                  <a:pt x="5220627" y="1962079"/>
                </a:lnTo>
                <a:lnTo>
                  <a:pt x="5230611" y="1963812"/>
                </a:lnTo>
                <a:lnTo>
                  <a:pt x="5233107" y="1958290"/>
                </a:lnTo>
                <a:lnTo>
                  <a:pt x="5230611" y="1963811"/>
                </a:lnTo>
                <a:lnTo>
                  <a:pt x="5220627" y="1962079"/>
                </a:lnTo>
                <a:lnTo>
                  <a:pt x="5209667" y="1963162"/>
                </a:lnTo>
                <a:lnTo>
                  <a:pt x="5190243" y="1849478"/>
                </a:lnTo>
                <a:lnTo>
                  <a:pt x="5253398" y="1837568"/>
                </a:lnTo>
                <a:close/>
                <a:moveTo>
                  <a:pt x="4302613" y="1837397"/>
                </a:moveTo>
                <a:lnTo>
                  <a:pt x="4302682" y="1838092"/>
                </a:lnTo>
                <a:lnTo>
                  <a:pt x="4302684" y="1838109"/>
                </a:lnTo>
                <a:close/>
                <a:moveTo>
                  <a:pt x="5744111" y="1837026"/>
                </a:moveTo>
                <a:lnTo>
                  <a:pt x="5744110" y="1837027"/>
                </a:lnTo>
                <a:lnTo>
                  <a:pt x="5746389" y="1844064"/>
                </a:lnTo>
                <a:lnTo>
                  <a:pt x="5746715" y="1847745"/>
                </a:lnTo>
                <a:lnTo>
                  <a:pt x="5748776" y="1850777"/>
                </a:lnTo>
                <a:lnTo>
                  <a:pt x="5749645" y="1855757"/>
                </a:lnTo>
                <a:lnTo>
                  <a:pt x="5754094" y="1863012"/>
                </a:lnTo>
                <a:lnTo>
                  <a:pt x="5754962" y="1867018"/>
                </a:lnTo>
                <a:lnTo>
                  <a:pt x="5760171" y="1870698"/>
                </a:lnTo>
                <a:lnTo>
                  <a:pt x="5762015" y="1880551"/>
                </a:lnTo>
                <a:lnTo>
                  <a:pt x="5759930" y="1882401"/>
                </a:lnTo>
                <a:lnTo>
                  <a:pt x="5762016" y="1880551"/>
                </a:lnTo>
                <a:lnTo>
                  <a:pt x="5760172" y="1870698"/>
                </a:lnTo>
                <a:lnTo>
                  <a:pt x="5754963" y="1867017"/>
                </a:lnTo>
                <a:lnTo>
                  <a:pt x="5754094" y="1863011"/>
                </a:lnTo>
                <a:lnTo>
                  <a:pt x="5749645" y="1855757"/>
                </a:lnTo>
                <a:lnTo>
                  <a:pt x="5748778" y="1850776"/>
                </a:lnTo>
                <a:lnTo>
                  <a:pt x="5746715" y="1847745"/>
                </a:lnTo>
                <a:lnTo>
                  <a:pt x="5746390" y="1844064"/>
                </a:lnTo>
                <a:close/>
                <a:moveTo>
                  <a:pt x="6095271" y="1836810"/>
                </a:moveTo>
                <a:lnTo>
                  <a:pt x="6095596" y="1839841"/>
                </a:lnTo>
                <a:lnTo>
                  <a:pt x="6097134" y="1843558"/>
                </a:lnTo>
                <a:lnTo>
                  <a:pt x="6095597" y="1839842"/>
                </a:lnTo>
                <a:lnTo>
                  <a:pt x="6095272" y="1836811"/>
                </a:lnTo>
                <a:close/>
                <a:moveTo>
                  <a:pt x="4137306" y="1835727"/>
                </a:moveTo>
                <a:lnTo>
                  <a:pt x="4137306" y="1835728"/>
                </a:lnTo>
                <a:lnTo>
                  <a:pt x="4147723" y="1838543"/>
                </a:lnTo>
                <a:lnTo>
                  <a:pt x="4151846" y="1838110"/>
                </a:lnTo>
                <a:lnTo>
                  <a:pt x="4155970" y="1841575"/>
                </a:lnTo>
                <a:lnTo>
                  <a:pt x="4155970" y="1841573"/>
                </a:lnTo>
                <a:lnTo>
                  <a:pt x="4151847" y="1838109"/>
                </a:lnTo>
                <a:lnTo>
                  <a:pt x="4147723" y="1838542"/>
                </a:lnTo>
                <a:close/>
                <a:moveTo>
                  <a:pt x="4988835" y="1834537"/>
                </a:moveTo>
                <a:lnTo>
                  <a:pt x="4988835" y="1837569"/>
                </a:lnTo>
                <a:lnTo>
                  <a:pt x="4986665" y="1841358"/>
                </a:lnTo>
                <a:lnTo>
                  <a:pt x="4985688" y="1846664"/>
                </a:lnTo>
                <a:lnTo>
                  <a:pt x="4983084" y="1848395"/>
                </a:lnTo>
                <a:lnTo>
                  <a:pt x="4981564" y="1853376"/>
                </a:lnTo>
                <a:lnTo>
                  <a:pt x="4979611" y="1857166"/>
                </a:lnTo>
                <a:lnTo>
                  <a:pt x="4979611" y="1865936"/>
                </a:lnTo>
                <a:lnTo>
                  <a:pt x="4977006" y="1867776"/>
                </a:lnTo>
                <a:lnTo>
                  <a:pt x="4975488" y="1872107"/>
                </a:lnTo>
                <a:lnTo>
                  <a:pt x="4977766" y="1880335"/>
                </a:lnTo>
                <a:lnTo>
                  <a:pt x="4981781" y="1880335"/>
                </a:lnTo>
                <a:lnTo>
                  <a:pt x="4982691" y="1880067"/>
                </a:lnTo>
                <a:lnTo>
                  <a:pt x="4980696" y="1872864"/>
                </a:lnTo>
                <a:lnTo>
                  <a:pt x="4982215" y="1868533"/>
                </a:lnTo>
                <a:lnTo>
                  <a:pt x="4984819" y="1866693"/>
                </a:lnTo>
                <a:lnTo>
                  <a:pt x="4984819" y="1857923"/>
                </a:lnTo>
                <a:lnTo>
                  <a:pt x="4986772" y="1854133"/>
                </a:lnTo>
                <a:lnTo>
                  <a:pt x="4988292" y="1849153"/>
                </a:lnTo>
                <a:lnTo>
                  <a:pt x="4990897" y="1847421"/>
                </a:lnTo>
                <a:lnTo>
                  <a:pt x="4991873" y="1842115"/>
                </a:lnTo>
                <a:lnTo>
                  <a:pt x="4994044" y="1838326"/>
                </a:lnTo>
                <a:lnTo>
                  <a:pt x="4994044" y="1837052"/>
                </a:lnTo>
                <a:lnTo>
                  <a:pt x="4993502" y="1837352"/>
                </a:lnTo>
                <a:lnTo>
                  <a:pt x="4991222" y="1835403"/>
                </a:lnTo>
                <a:close/>
                <a:moveTo>
                  <a:pt x="4073715" y="1833454"/>
                </a:moveTo>
                <a:lnTo>
                  <a:pt x="4080768" y="1833778"/>
                </a:lnTo>
                <a:lnTo>
                  <a:pt x="4082952" y="1837840"/>
                </a:lnTo>
                <a:lnTo>
                  <a:pt x="4080769" y="1833778"/>
                </a:lnTo>
                <a:close/>
                <a:moveTo>
                  <a:pt x="4117664" y="1833346"/>
                </a:moveTo>
                <a:lnTo>
                  <a:pt x="4117664" y="1833346"/>
                </a:lnTo>
                <a:lnTo>
                  <a:pt x="4123198" y="1836811"/>
                </a:lnTo>
                <a:lnTo>
                  <a:pt x="4122651" y="1841453"/>
                </a:lnTo>
                <a:lnTo>
                  <a:pt x="4123198" y="1836810"/>
                </a:lnTo>
                <a:close/>
                <a:moveTo>
                  <a:pt x="4166387" y="1830530"/>
                </a:moveTo>
                <a:lnTo>
                  <a:pt x="4157056" y="1832587"/>
                </a:lnTo>
                <a:lnTo>
                  <a:pt x="4157056" y="1832587"/>
                </a:lnTo>
                <a:lnTo>
                  <a:pt x="4166388" y="1830531"/>
                </a:lnTo>
                <a:close/>
                <a:moveTo>
                  <a:pt x="5011190" y="1827933"/>
                </a:moveTo>
                <a:lnTo>
                  <a:pt x="5008323" y="1828690"/>
                </a:lnTo>
                <a:lnTo>
                  <a:pt x="5010538" y="1828690"/>
                </a:lnTo>
                <a:cubicBezTo>
                  <a:pt x="5011203" y="1829132"/>
                  <a:pt x="5011936" y="1829461"/>
                  <a:pt x="5012709" y="1829664"/>
                </a:cubicBezTo>
                <a:lnTo>
                  <a:pt x="5012879" y="1829619"/>
                </a:lnTo>
                <a:close/>
                <a:moveTo>
                  <a:pt x="5003051" y="1827933"/>
                </a:moveTo>
                <a:lnTo>
                  <a:pt x="5006524" y="1829232"/>
                </a:lnTo>
                <a:lnTo>
                  <a:pt x="5007174" y="1831181"/>
                </a:lnTo>
                <a:lnTo>
                  <a:pt x="5003919" y="1833563"/>
                </a:lnTo>
                <a:lnTo>
                  <a:pt x="5000772" y="1833563"/>
                </a:lnTo>
                <a:lnTo>
                  <a:pt x="4998493" y="1835403"/>
                </a:lnTo>
                <a:lnTo>
                  <a:pt x="4996540" y="1833455"/>
                </a:lnTo>
                <a:lnTo>
                  <a:pt x="4995611" y="1835864"/>
                </a:lnTo>
                <a:lnTo>
                  <a:pt x="4996431" y="1836161"/>
                </a:lnTo>
                <a:lnTo>
                  <a:pt x="4998710" y="1838109"/>
                </a:lnTo>
                <a:lnTo>
                  <a:pt x="5000663" y="1837027"/>
                </a:lnTo>
                <a:lnTo>
                  <a:pt x="5001748" y="1834211"/>
                </a:lnTo>
                <a:lnTo>
                  <a:pt x="5003701" y="1836161"/>
                </a:lnTo>
                <a:lnTo>
                  <a:pt x="5005981" y="1834320"/>
                </a:lnTo>
                <a:lnTo>
                  <a:pt x="5009127" y="1834320"/>
                </a:lnTo>
                <a:lnTo>
                  <a:pt x="5012383" y="1831938"/>
                </a:lnTo>
                <a:lnTo>
                  <a:pt x="5011732" y="1829989"/>
                </a:lnTo>
                <a:lnTo>
                  <a:pt x="5008286" y="1828700"/>
                </a:lnTo>
                <a:lnTo>
                  <a:pt x="5007501" y="1828907"/>
                </a:lnTo>
                <a:cubicBezTo>
                  <a:pt x="5006728" y="1828703"/>
                  <a:pt x="5005994" y="1828374"/>
                  <a:pt x="5005330" y="1827933"/>
                </a:cubicBezTo>
                <a:close/>
                <a:moveTo>
                  <a:pt x="2363173" y="1825488"/>
                </a:moveTo>
                <a:lnTo>
                  <a:pt x="2362081" y="1826199"/>
                </a:lnTo>
                <a:lnTo>
                  <a:pt x="2362082" y="1826199"/>
                </a:lnTo>
                <a:close/>
                <a:moveTo>
                  <a:pt x="2354810" y="1825334"/>
                </a:moveTo>
                <a:lnTo>
                  <a:pt x="2352640" y="1826958"/>
                </a:lnTo>
                <a:lnTo>
                  <a:pt x="2352641" y="1826958"/>
                </a:lnTo>
                <a:lnTo>
                  <a:pt x="2354811" y="1825334"/>
                </a:lnTo>
                <a:close/>
                <a:moveTo>
                  <a:pt x="5731307" y="1824683"/>
                </a:moveTo>
                <a:lnTo>
                  <a:pt x="5731306" y="1824684"/>
                </a:lnTo>
                <a:lnTo>
                  <a:pt x="5731197" y="1828040"/>
                </a:lnTo>
                <a:lnTo>
                  <a:pt x="5735212" y="1831180"/>
                </a:lnTo>
                <a:lnTo>
                  <a:pt x="5741831" y="1830747"/>
                </a:lnTo>
                <a:lnTo>
                  <a:pt x="5747366" y="1831505"/>
                </a:lnTo>
                <a:lnTo>
                  <a:pt x="5747475" y="1833670"/>
                </a:lnTo>
                <a:lnTo>
                  <a:pt x="5747367" y="1831504"/>
                </a:lnTo>
                <a:lnTo>
                  <a:pt x="5741832" y="1830746"/>
                </a:lnTo>
                <a:lnTo>
                  <a:pt x="5735213" y="1831180"/>
                </a:lnTo>
                <a:lnTo>
                  <a:pt x="5731198" y="1828039"/>
                </a:lnTo>
                <a:close/>
                <a:moveTo>
                  <a:pt x="6084202" y="1824576"/>
                </a:moveTo>
                <a:lnTo>
                  <a:pt x="6084853" y="1828798"/>
                </a:lnTo>
                <a:lnTo>
                  <a:pt x="6085830" y="1831504"/>
                </a:lnTo>
                <a:lnTo>
                  <a:pt x="6085831" y="1831505"/>
                </a:lnTo>
                <a:lnTo>
                  <a:pt x="6084854" y="1828798"/>
                </a:lnTo>
                <a:lnTo>
                  <a:pt x="6084203" y="1824576"/>
                </a:lnTo>
                <a:close/>
                <a:moveTo>
                  <a:pt x="4559109" y="1824034"/>
                </a:moveTo>
                <a:lnTo>
                  <a:pt x="4558024" y="1846445"/>
                </a:lnTo>
                <a:lnTo>
                  <a:pt x="4558024" y="1846446"/>
                </a:lnTo>
                <a:lnTo>
                  <a:pt x="4559110" y="1824034"/>
                </a:lnTo>
                <a:close/>
                <a:moveTo>
                  <a:pt x="4296716" y="1821977"/>
                </a:moveTo>
                <a:lnTo>
                  <a:pt x="4295631" y="1822301"/>
                </a:lnTo>
                <a:lnTo>
                  <a:pt x="4289771" y="1824250"/>
                </a:lnTo>
                <a:lnTo>
                  <a:pt x="4279353" y="1830097"/>
                </a:lnTo>
                <a:lnTo>
                  <a:pt x="4276857" y="1829772"/>
                </a:lnTo>
                <a:lnTo>
                  <a:pt x="4273385" y="1830205"/>
                </a:lnTo>
                <a:lnTo>
                  <a:pt x="4267959" y="1832695"/>
                </a:lnTo>
                <a:lnTo>
                  <a:pt x="4262750" y="1832695"/>
                </a:lnTo>
                <a:lnTo>
                  <a:pt x="4257107" y="1834969"/>
                </a:lnTo>
                <a:lnTo>
                  <a:pt x="4253961" y="1831288"/>
                </a:lnTo>
                <a:lnTo>
                  <a:pt x="4257107" y="1834969"/>
                </a:lnTo>
                <a:lnTo>
                  <a:pt x="4262750" y="1832696"/>
                </a:lnTo>
                <a:lnTo>
                  <a:pt x="4267959" y="1832696"/>
                </a:lnTo>
                <a:lnTo>
                  <a:pt x="4273384" y="1830206"/>
                </a:lnTo>
                <a:lnTo>
                  <a:pt x="4276857" y="1829773"/>
                </a:lnTo>
                <a:lnTo>
                  <a:pt x="4279354" y="1830097"/>
                </a:lnTo>
                <a:lnTo>
                  <a:pt x="4289771" y="1824251"/>
                </a:lnTo>
                <a:lnTo>
                  <a:pt x="4295631" y="1822302"/>
                </a:lnTo>
                <a:lnTo>
                  <a:pt x="4301599" y="1829231"/>
                </a:lnTo>
                <a:lnTo>
                  <a:pt x="4301623" y="1829424"/>
                </a:lnTo>
                <a:lnTo>
                  <a:pt x="4302247" y="1834406"/>
                </a:lnTo>
                <a:lnTo>
                  <a:pt x="4301599" y="1829231"/>
                </a:lnTo>
                <a:lnTo>
                  <a:pt x="4295631" y="1822302"/>
                </a:lnTo>
                <a:close/>
                <a:moveTo>
                  <a:pt x="5010430" y="1821328"/>
                </a:moveTo>
                <a:lnTo>
                  <a:pt x="5007283" y="1821977"/>
                </a:lnTo>
                <a:lnTo>
                  <a:pt x="5014228" y="1825984"/>
                </a:lnTo>
                <a:lnTo>
                  <a:pt x="5015205" y="1828691"/>
                </a:lnTo>
                <a:lnTo>
                  <a:pt x="5014689" y="1829141"/>
                </a:lnTo>
                <a:lnTo>
                  <a:pt x="5016398" y="1828690"/>
                </a:lnTo>
                <a:lnTo>
                  <a:pt x="5018676" y="1830964"/>
                </a:lnTo>
                <a:lnTo>
                  <a:pt x="5020413" y="1829448"/>
                </a:lnTo>
                <a:lnTo>
                  <a:pt x="5019436" y="1826741"/>
                </a:lnTo>
                <a:lnTo>
                  <a:pt x="5012492" y="1822735"/>
                </a:lnTo>
                <a:lnTo>
                  <a:pt x="5014294" y="1822363"/>
                </a:lnTo>
                <a:close/>
                <a:moveTo>
                  <a:pt x="5735538" y="1820678"/>
                </a:moveTo>
                <a:lnTo>
                  <a:pt x="5735537" y="1820678"/>
                </a:lnTo>
                <a:lnTo>
                  <a:pt x="5732055" y="1823975"/>
                </a:lnTo>
                <a:close/>
                <a:moveTo>
                  <a:pt x="5739552" y="1819054"/>
                </a:moveTo>
                <a:lnTo>
                  <a:pt x="5737240" y="1819989"/>
                </a:lnTo>
                <a:lnTo>
                  <a:pt x="5739552" y="1819054"/>
                </a:lnTo>
                <a:close/>
                <a:moveTo>
                  <a:pt x="4201872" y="1818837"/>
                </a:moveTo>
                <a:lnTo>
                  <a:pt x="4201872" y="1818838"/>
                </a:lnTo>
                <a:lnTo>
                  <a:pt x="4213700" y="1825767"/>
                </a:lnTo>
                <a:lnTo>
                  <a:pt x="4228133" y="1828474"/>
                </a:lnTo>
                <a:lnTo>
                  <a:pt x="4236055" y="1827824"/>
                </a:lnTo>
                <a:lnTo>
                  <a:pt x="4239527" y="1830964"/>
                </a:lnTo>
                <a:lnTo>
                  <a:pt x="4239527" y="1830963"/>
                </a:lnTo>
                <a:lnTo>
                  <a:pt x="4243217" y="1831396"/>
                </a:lnTo>
                <a:lnTo>
                  <a:pt x="4239528" y="1830963"/>
                </a:lnTo>
                <a:lnTo>
                  <a:pt x="4236055" y="1827823"/>
                </a:lnTo>
                <a:lnTo>
                  <a:pt x="4228133" y="1828473"/>
                </a:lnTo>
                <a:lnTo>
                  <a:pt x="4213700" y="1825766"/>
                </a:lnTo>
                <a:close/>
                <a:moveTo>
                  <a:pt x="2368141" y="1818662"/>
                </a:moveTo>
                <a:lnTo>
                  <a:pt x="2366205" y="1820786"/>
                </a:lnTo>
                <a:lnTo>
                  <a:pt x="2365121" y="1823761"/>
                </a:lnTo>
                <a:lnTo>
                  <a:pt x="2364903" y="1824359"/>
                </a:lnTo>
                <a:lnTo>
                  <a:pt x="2364903" y="1824359"/>
                </a:lnTo>
                <a:lnTo>
                  <a:pt x="2365121" y="1823761"/>
                </a:lnTo>
                <a:lnTo>
                  <a:pt x="2366205" y="1820786"/>
                </a:lnTo>
                <a:close/>
                <a:moveTo>
                  <a:pt x="5753938" y="1817608"/>
                </a:moveTo>
                <a:lnTo>
                  <a:pt x="5753226" y="1817754"/>
                </a:lnTo>
                <a:lnTo>
                  <a:pt x="5753226" y="1817754"/>
                </a:lnTo>
                <a:lnTo>
                  <a:pt x="5753225" y="1817754"/>
                </a:lnTo>
                <a:lnTo>
                  <a:pt x="5751480" y="1818420"/>
                </a:lnTo>
                <a:lnTo>
                  <a:pt x="5753226" y="1817754"/>
                </a:lnTo>
                <a:close/>
                <a:moveTo>
                  <a:pt x="4075840" y="1816720"/>
                </a:moveTo>
                <a:lnTo>
                  <a:pt x="4073823" y="1817429"/>
                </a:lnTo>
                <a:lnTo>
                  <a:pt x="4067637" y="1827282"/>
                </a:lnTo>
                <a:lnTo>
                  <a:pt x="4066661" y="1834537"/>
                </a:lnTo>
                <a:lnTo>
                  <a:pt x="4066661" y="1839083"/>
                </a:lnTo>
                <a:lnTo>
                  <a:pt x="4066662" y="1839083"/>
                </a:lnTo>
                <a:lnTo>
                  <a:pt x="4066662" y="1834536"/>
                </a:lnTo>
                <a:lnTo>
                  <a:pt x="4067638" y="1827282"/>
                </a:lnTo>
                <a:lnTo>
                  <a:pt x="4073823" y="1817430"/>
                </a:lnTo>
                <a:close/>
                <a:moveTo>
                  <a:pt x="6059243" y="1814831"/>
                </a:moveTo>
                <a:lnTo>
                  <a:pt x="6067279" y="1820572"/>
                </a:lnTo>
                <a:lnTo>
                  <a:pt x="6059244" y="1814831"/>
                </a:lnTo>
                <a:close/>
                <a:moveTo>
                  <a:pt x="6895742" y="1814058"/>
                </a:moveTo>
                <a:lnTo>
                  <a:pt x="6897535" y="1816130"/>
                </a:lnTo>
                <a:lnTo>
                  <a:pt x="6905132" y="1817863"/>
                </a:lnTo>
                <a:lnTo>
                  <a:pt x="6905131" y="1817862"/>
                </a:lnTo>
                <a:lnTo>
                  <a:pt x="6897535" y="1816130"/>
                </a:lnTo>
                <a:close/>
                <a:moveTo>
                  <a:pt x="5781874" y="1813532"/>
                </a:moveTo>
                <a:lnTo>
                  <a:pt x="5780664" y="1814304"/>
                </a:lnTo>
                <a:lnTo>
                  <a:pt x="5781875" y="1813532"/>
                </a:lnTo>
                <a:close/>
                <a:moveTo>
                  <a:pt x="4189176" y="1813315"/>
                </a:moveTo>
                <a:lnTo>
                  <a:pt x="4176697" y="1820569"/>
                </a:lnTo>
                <a:lnTo>
                  <a:pt x="4168775" y="1817105"/>
                </a:lnTo>
                <a:lnTo>
                  <a:pt x="4168775" y="1817106"/>
                </a:lnTo>
                <a:lnTo>
                  <a:pt x="4168775" y="1817105"/>
                </a:lnTo>
                <a:lnTo>
                  <a:pt x="4176697" y="1820570"/>
                </a:lnTo>
                <a:lnTo>
                  <a:pt x="4189176" y="1813316"/>
                </a:lnTo>
                <a:lnTo>
                  <a:pt x="4194276" y="1814724"/>
                </a:lnTo>
                <a:lnTo>
                  <a:pt x="4202632" y="1814074"/>
                </a:lnTo>
                <a:lnTo>
                  <a:pt x="4202632" y="1814073"/>
                </a:lnTo>
                <a:lnTo>
                  <a:pt x="4194276" y="1814722"/>
                </a:lnTo>
                <a:close/>
                <a:moveTo>
                  <a:pt x="4162915" y="1813315"/>
                </a:moveTo>
                <a:lnTo>
                  <a:pt x="4158792" y="1817105"/>
                </a:lnTo>
                <a:lnTo>
                  <a:pt x="4158792" y="1817105"/>
                </a:lnTo>
                <a:lnTo>
                  <a:pt x="4162916" y="1813315"/>
                </a:lnTo>
                <a:lnTo>
                  <a:pt x="4166713" y="1813315"/>
                </a:lnTo>
                <a:lnTo>
                  <a:pt x="4166713" y="1813315"/>
                </a:lnTo>
                <a:close/>
                <a:moveTo>
                  <a:pt x="4596331" y="1811258"/>
                </a:moveTo>
                <a:lnTo>
                  <a:pt x="4597090" y="1815589"/>
                </a:lnTo>
                <a:lnTo>
                  <a:pt x="4596113" y="1819487"/>
                </a:lnTo>
                <a:lnTo>
                  <a:pt x="4599043" y="1823710"/>
                </a:lnTo>
                <a:lnTo>
                  <a:pt x="4598175" y="1826200"/>
                </a:lnTo>
                <a:lnTo>
                  <a:pt x="4591122" y="1826416"/>
                </a:lnTo>
                <a:lnTo>
                  <a:pt x="4587324" y="1823276"/>
                </a:lnTo>
                <a:lnTo>
                  <a:pt x="4581138" y="1825333"/>
                </a:lnTo>
                <a:lnTo>
                  <a:pt x="4576472" y="1825550"/>
                </a:lnTo>
                <a:lnTo>
                  <a:pt x="4575821" y="1834104"/>
                </a:lnTo>
                <a:lnTo>
                  <a:pt x="4575929" y="1839950"/>
                </a:lnTo>
                <a:lnTo>
                  <a:pt x="4575930" y="1839950"/>
                </a:lnTo>
                <a:lnTo>
                  <a:pt x="4575821" y="1834104"/>
                </a:lnTo>
                <a:lnTo>
                  <a:pt x="4576473" y="1825550"/>
                </a:lnTo>
                <a:lnTo>
                  <a:pt x="4581139" y="1825334"/>
                </a:lnTo>
                <a:lnTo>
                  <a:pt x="4587324" y="1823277"/>
                </a:lnTo>
                <a:lnTo>
                  <a:pt x="4591122" y="1826417"/>
                </a:lnTo>
                <a:lnTo>
                  <a:pt x="4598176" y="1826200"/>
                </a:lnTo>
                <a:lnTo>
                  <a:pt x="4599044" y="1823710"/>
                </a:lnTo>
                <a:lnTo>
                  <a:pt x="4596114" y="1819487"/>
                </a:lnTo>
                <a:lnTo>
                  <a:pt x="4597091" y="1815589"/>
                </a:lnTo>
                <a:lnTo>
                  <a:pt x="4596331" y="1811259"/>
                </a:lnTo>
                <a:close/>
                <a:moveTo>
                  <a:pt x="6047849" y="1810717"/>
                </a:moveTo>
                <a:lnTo>
                  <a:pt x="6049384" y="1812843"/>
                </a:lnTo>
                <a:lnTo>
                  <a:pt x="6049802" y="1813423"/>
                </a:lnTo>
                <a:lnTo>
                  <a:pt x="6049802" y="1813423"/>
                </a:lnTo>
                <a:lnTo>
                  <a:pt x="6049384" y="1812843"/>
                </a:lnTo>
                <a:lnTo>
                  <a:pt x="6047850" y="1810717"/>
                </a:lnTo>
                <a:close/>
                <a:moveTo>
                  <a:pt x="7116847" y="1809742"/>
                </a:moveTo>
                <a:lnTo>
                  <a:pt x="7115870" y="1814073"/>
                </a:lnTo>
                <a:lnTo>
                  <a:pt x="7115653" y="1818079"/>
                </a:lnTo>
                <a:lnTo>
                  <a:pt x="7112940" y="1820028"/>
                </a:lnTo>
                <a:lnTo>
                  <a:pt x="7110988" y="1817754"/>
                </a:lnTo>
                <a:lnTo>
                  <a:pt x="7110445" y="1814073"/>
                </a:lnTo>
                <a:lnTo>
                  <a:pt x="7114243" y="1810717"/>
                </a:lnTo>
                <a:close/>
                <a:moveTo>
                  <a:pt x="4144328" y="1807686"/>
                </a:moveTo>
                <a:lnTo>
                  <a:pt x="4143165" y="1810392"/>
                </a:lnTo>
                <a:lnTo>
                  <a:pt x="4144685" y="1813207"/>
                </a:lnTo>
                <a:lnTo>
                  <a:pt x="4147072" y="1813315"/>
                </a:lnTo>
                <a:lnTo>
                  <a:pt x="4150871" y="1813532"/>
                </a:lnTo>
                <a:lnTo>
                  <a:pt x="4153800" y="1812341"/>
                </a:lnTo>
                <a:lnTo>
                  <a:pt x="4153799" y="1812340"/>
                </a:lnTo>
                <a:lnTo>
                  <a:pt x="4150870" y="1813532"/>
                </a:lnTo>
                <a:lnTo>
                  <a:pt x="4147071" y="1813315"/>
                </a:lnTo>
                <a:lnTo>
                  <a:pt x="4147071" y="1813315"/>
                </a:lnTo>
                <a:lnTo>
                  <a:pt x="4144685" y="1813207"/>
                </a:lnTo>
                <a:lnTo>
                  <a:pt x="4143166" y="1810392"/>
                </a:lnTo>
                <a:close/>
                <a:moveTo>
                  <a:pt x="6907193" y="1806819"/>
                </a:moveTo>
                <a:lnTo>
                  <a:pt x="6904480" y="1808442"/>
                </a:lnTo>
                <a:lnTo>
                  <a:pt x="6904424" y="1808738"/>
                </a:lnTo>
                <a:lnTo>
                  <a:pt x="6905999" y="1807795"/>
                </a:lnTo>
                <a:lnTo>
                  <a:pt x="6911642" y="1808444"/>
                </a:lnTo>
                <a:lnTo>
                  <a:pt x="6913270" y="1808444"/>
                </a:lnTo>
                <a:lnTo>
                  <a:pt x="6913270" y="1807252"/>
                </a:lnTo>
                <a:lnTo>
                  <a:pt x="6912836" y="1807360"/>
                </a:lnTo>
                <a:close/>
                <a:moveTo>
                  <a:pt x="4144576" y="1806711"/>
                </a:moveTo>
                <a:lnTo>
                  <a:pt x="4144576" y="1806711"/>
                </a:lnTo>
                <a:lnTo>
                  <a:pt x="4147289" y="1808876"/>
                </a:lnTo>
                <a:close/>
                <a:moveTo>
                  <a:pt x="5787397" y="1805590"/>
                </a:moveTo>
                <a:lnTo>
                  <a:pt x="5785455" y="1809742"/>
                </a:lnTo>
                <a:lnTo>
                  <a:pt x="5785035" y="1813408"/>
                </a:lnTo>
                <a:lnTo>
                  <a:pt x="5785456" y="1809742"/>
                </a:lnTo>
                <a:close/>
                <a:moveTo>
                  <a:pt x="6891349" y="1805411"/>
                </a:moveTo>
                <a:lnTo>
                  <a:pt x="6888202" y="1806819"/>
                </a:lnTo>
                <a:lnTo>
                  <a:pt x="6888202" y="1812015"/>
                </a:lnTo>
                <a:lnTo>
                  <a:pt x="6887876" y="1816780"/>
                </a:lnTo>
                <a:lnTo>
                  <a:pt x="6889613" y="1820244"/>
                </a:lnTo>
                <a:lnTo>
                  <a:pt x="6887876" y="1824683"/>
                </a:lnTo>
                <a:lnTo>
                  <a:pt x="6882993" y="1825441"/>
                </a:lnTo>
                <a:lnTo>
                  <a:pt x="6879195" y="1830529"/>
                </a:lnTo>
                <a:lnTo>
                  <a:pt x="6879195" y="1835727"/>
                </a:lnTo>
                <a:lnTo>
                  <a:pt x="6869971" y="1843306"/>
                </a:lnTo>
                <a:lnTo>
                  <a:pt x="6864437" y="1843955"/>
                </a:lnTo>
                <a:lnTo>
                  <a:pt x="6860205" y="1846445"/>
                </a:lnTo>
                <a:lnTo>
                  <a:pt x="6860206" y="1846446"/>
                </a:lnTo>
                <a:lnTo>
                  <a:pt x="6864438" y="1843956"/>
                </a:lnTo>
                <a:lnTo>
                  <a:pt x="6869973" y="1843307"/>
                </a:lnTo>
                <a:lnTo>
                  <a:pt x="6879196" y="1835728"/>
                </a:lnTo>
                <a:lnTo>
                  <a:pt x="6879196" y="1830530"/>
                </a:lnTo>
                <a:lnTo>
                  <a:pt x="6882995" y="1825442"/>
                </a:lnTo>
                <a:lnTo>
                  <a:pt x="6887877" y="1824684"/>
                </a:lnTo>
                <a:lnTo>
                  <a:pt x="6889614" y="1820245"/>
                </a:lnTo>
                <a:lnTo>
                  <a:pt x="6887877" y="1816781"/>
                </a:lnTo>
                <a:lnTo>
                  <a:pt x="6888203" y="1812016"/>
                </a:lnTo>
                <a:lnTo>
                  <a:pt x="6888203" y="1806820"/>
                </a:lnTo>
                <a:lnTo>
                  <a:pt x="6891350" y="1805412"/>
                </a:lnTo>
                <a:lnTo>
                  <a:pt x="6894224" y="1807826"/>
                </a:lnTo>
                <a:close/>
                <a:moveTo>
                  <a:pt x="4080701" y="1801159"/>
                </a:moveTo>
                <a:lnTo>
                  <a:pt x="4085543" y="1803680"/>
                </a:lnTo>
                <a:lnTo>
                  <a:pt x="4086411" y="1808227"/>
                </a:lnTo>
                <a:lnTo>
                  <a:pt x="4086412" y="1808226"/>
                </a:lnTo>
                <a:lnTo>
                  <a:pt x="4085543" y="1803679"/>
                </a:lnTo>
                <a:close/>
                <a:moveTo>
                  <a:pt x="4151708" y="1800008"/>
                </a:moveTo>
                <a:lnTo>
                  <a:pt x="4153474" y="1801946"/>
                </a:lnTo>
                <a:lnTo>
                  <a:pt x="4153475" y="1801947"/>
                </a:lnTo>
                <a:close/>
                <a:moveTo>
                  <a:pt x="4582657" y="1799241"/>
                </a:moveTo>
                <a:lnTo>
                  <a:pt x="4583526" y="1801839"/>
                </a:lnTo>
                <a:lnTo>
                  <a:pt x="4583526" y="1801839"/>
                </a:lnTo>
                <a:lnTo>
                  <a:pt x="4582658" y="1799241"/>
                </a:lnTo>
                <a:close/>
                <a:moveTo>
                  <a:pt x="4102579" y="1798158"/>
                </a:moveTo>
                <a:lnTo>
                  <a:pt x="4102577" y="1798159"/>
                </a:lnTo>
                <a:lnTo>
                  <a:pt x="4102471" y="1798265"/>
                </a:lnTo>
                <a:lnTo>
                  <a:pt x="4094970" y="1800617"/>
                </a:lnTo>
                <a:lnTo>
                  <a:pt x="4094908" y="1800637"/>
                </a:lnTo>
                <a:lnTo>
                  <a:pt x="4102472" y="1798265"/>
                </a:lnTo>
                <a:close/>
                <a:moveTo>
                  <a:pt x="2701847" y="1798157"/>
                </a:moveTo>
                <a:lnTo>
                  <a:pt x="2702064" y="1800430"/>
                </a:lnTo>
                <a:lnTo>
                  <a:pt x="2700544" y="1802596"/>
                </a:lnTo>
                <a:lnTo>
                  <a:pt x="2699351" y="1801188"/>
                </a:lnTo>
                <a:lnTo>
                  <a:pt x="2700002" y="1798806"/>
                </a:lnTo>
                <a:close/>
                <a:moveTo>
                  <a:pt x="6447625" y="1796967"/>
                </a:moveTo>
                <a:lnTo>
                  <a:pt x="6458369" y="1804005"/>
                </a:lnTo>
                <a:lnTo>
                  <a:pt x="6468134" y="1810067"/>
                </a:lnTo>
                <a:lnTo>
                  <a:pt x="6468134" y="1810066"/>
                </a:lnTo>
                <a:lnTo>
                  <a:pt x="6458368" y="1804003"/>
                </a:lnTo>
                <a:close/>
                <a:moveTo>
                  <a:pt x="4089232" y="1796966"/>
                </a:moveTo>
                <a:lnTo>
                  <a:pt x="4083698" y="1797399"/>
                </a:lnTo>
                <a:lnTo>
                  <a:pt x="4080551" y="1801081"/>
                </a:lnTo>
                <a:lnTo>
                  <a:pt x="4080551" y="1801081"/>
                </a:lnTo>
                <a:lnTo>
                  <a:pt x="4083699" y="1797400"/>
                </a:lnTo>
                <a:lnTo>
                  <a:pt x="4089232" y="1796967"/>
                </a:lnTo>
                <a:close/>
                <a:moveTo>
                  <a:pt x="5054812" y="1796533"/>
                </a:moveTo>
                <a:lnTo>
                  <a:pt x="5052099" y="1800323"/>
                </a:lnTo>
                <a:lnTo>
                  <a:pt x="5049496" y="1799998"/>
                </a:lnTo>
                <a:lnTo>
                  <a:pt x="5047433" y="1803030"/>
                </a:lnTo>
                <a:lnTo>
                  <a:pt x="5043418" y="1806386"/>
                </a:lnTo>
                <a:lnTo>
                  <a:pt x="5041248" y="1806061"/>
                </a:lnTo>
                <a:lnTo>
                  <a:pt x="5040380" y="1808876"/>
                </a:lnTo>
                <a:lnTo>
                  <a:pt x="5038644" y="1810717"/>
                </a:lnTo>
                <a:lnTo>
                  <a:pt x="5037016" y="1808876"/>
                </a:lnTo>
                <a:lnTo>
                  <a:pt x="5034845" y="1808660"/>
                </a:lnTo>
                <a:lnTo>
                  <a:pt x="5033326" y="1811150"/>
                </a:lnTo>
                <a:lnTo>
                  <a:pt x="5030071" y="1811042"/>
                </a:lnTo>
                <a:lnTo>
                  <a:pt x="5028878" y="1808660"/>
                </a:lnTo>
                <a:lnTo>
                  <a:pt x="5027249" y="1808768"/>
                </a:lnTo>
                <a:lnTo>
                  <a:pt x="5027033" y="1808660"/>
                </a:lnTo>
                <a:lnTo>
                  <a:pt x="5021172" y="1804870"/>
                </a:lnTo>
                <a:lnTo>
                  <a:pt x="5018183" y="1805917"/>
                </a:lnTo>
                <a:lnTo>
                  <a:pt x="5022258" y="1808552"/>
                </a:lnTo>
                <a:lnTo>
                  <a:pt x="5022258" y="1810393"/>
                </a:lnTo>
                <a:lnTo>
                  <a:pt x="5022258" y="1812883"/>
                </a:lnTo>
                <a:lnTo>
                  <a:pt x="5018677" y="1813532"/>
                </a:lnTo>
                <a:lnTo>
                  <a:pt x="5020739" y="1815373"/>
                </a:lnTo>
                <a:lnTo>
                  <a:pt x="5020739" y="1818621"/>
                </a:lnTo>
                <a:lnTo>
                  <a:pt x="5018135" y="1818621"/>
                </a:lnTo>
                <a:lnTo>
                  <a:pt x="5020414" y="1820137"/>
                </a:lnTo>
                <a:lnTo>
                  <a:pt x="5020414" y="1822952"/>
                </a:lnTo>
                <a:lnTo>
                  <a:pt x="5016615" y="1821977"/>
                </a:lnTo>
                <a:lnTo>
                  <a:pt x="5015979" y="1822176"/>
                </a:lnTo>
                <a:lnTo>
                  <a:pt x="5020088" y="1823276"/>
                </a:lnTo>
                <a:lnTo>
                  <a:pt x="5021824" y="1822735"/>
                </a:lnTo>
                <a:lnTo>
                  <a:pt x="5025622" y="1823709"/>
                </a:lnTo>
                <a:lnTo>
                  <a:pt x="5025622" y="1820895"/>
                </a:lnTo>
                <a:lnTo>
                  <a:pt x="5023343" y="1819379"/>
                </a:lnTo>
                <a:lnTo>
                  <a:pt x="5025947" y="1819379"/>
                </a:lnTo>
                <a:lnTo>
                  <a:pt x="5025947" y="1816672"/>
                </a:lnTo>
                <a:lnTo>
                  <a:pt x="5023886" y="1814831"/>
                </a:lnTo>
                <a:lnTo>
                  <a:pt x="5027467" y="1814182"/>
                </a:lnTo>
                <a:lnTo>
                  <a:pt x="5027467" y="1811691"/>
                </a:lnTo>
                <a:lnTo>
                  <a:pt x="5027467" y="1809850"/>
                </a:lnTo>
                <a:lnTo>
                  <a:pt x="5029420" y="1809850"/>
                </a:lnTo>
                <a:lnTo>
                  <a:pt x="5030614" y="1812232"/>
                </a:lnTo>
                <a:lnTo>
                  <a:pt x="5033869" y="1812232"/>
                </a:lnTo>
                <a:lnTo>
                  <a:pt x="5035388" y="1809743"/>
                </a:lnTo>
                <a:lnTo>
                  <a:pt x="5037450" y="1809743"/>
                </a:lnTo>
                <a:lnTo>
                  <a:pt x="5039078" y="1811583"/>
                </a:lnTo>
                <a:lnTo>
                  <a:pt x="5040923" y="1809743"/>
                </a:lnTo>
                <a:lnTo>
                  <a:pt x="5041683" y="1806927"/>
                </a:lnTo>
                <a:lnTo>
                  <a:pt x="5043961" y="1806927"/>
                </a:lnTo>
                <a:lnTo>
                  <a:pt x="5047976" y="1803571"/>
                </a:lnTo>
                <a:lnTo>
                  <a:pt x="5049930" y="1800540"/>
                </a:lnTo>
                <a:lnTo>
                  <a:pt x="5052534" y="1800540"/>
                </a:lnTo>
                <a:lnTo>
                  <a:pt x="5055247" y="1796750"/>
                </a:lnTo>
                <a:lnTo>
                  <a:pt x="5057342" y="1796750"/>
                </a:lnTo>
                <a:lnTo>
                  <a:pt x="5057092" y="1796533"/>
                </a:lnTo>
                <a:close/>
                <a:moveTo>
                  <a:pt x="5085306" y="1796209"/>
                </a:moveTo>
                <a:lnTo>
                  <a:pt x="5082484" y="1796317"/>
                </a:lnTo>
                <a:lnTo>
                  <a:pt x="5081131" y="1797667"/>
                </a:lnTo>
                <a:lnTo>
                  <a:pt x="5081616" y="1798266"/>
                </a:lnTo>
                <a:lnTo>
                  <a:pt x="5083136" y="1796750"/>
                </a:lnTo>
                <a:lnTo>
                  <a:pt x="5085396" y="1796750"/>
                </a:lnTo>
                <a:close/>
                <a:moveTo>
                  <a:pt x="4539467" y="1795775"/>
                </a:moveTo>
                <a:lnTo>
                  <a:pt x="4540444" y="1800647"/>
                </a:lnTo>
                <a:lnTo>
                  <a:pt x="4553249" y="1810608"/>
                </a:lnTo>
                <a:lnTo>
                  <a:pt x="4554848" y="1816589"/>
                </a:lnTo>
                <a:lnTo>
                  <a:pt x="4553250" y="1810609"/>
                </a:lnTo>
                <a:lnTo>
                  <a:pt x="4540445" y="1800648"/>
                </a:lnTo>
                <a:lnTo>
                  <a:pt x="4539468" y="1795776"/>
                </a:lnTo>
                <a:close/>
                <a:moveTo>
                  <a:pt x="4118071" y="1794842"/>
                </a:moveTo>
                <a:lnTo>
                  <a:pt x="4118315" y="1796208"/>
                </a:lnTo>
                <a:lnTo>
                  <a:pt x="4116579" y="1799024"/>
                </a:lnTo>
                <a:lnTo>
                  <a:pt x="4110719" y="1796967"/>
                </a:lnTo>
                <a:lnTo>
                  <a:pt x="4110719" y="1796967"/>
                </a:lnTo>
                <a:lnTo>
                  <a:pt x="4116579" y="1799024"/>
                </a:lnTo>
                <a:lnTo>
                  <a:pt x="4118316" y="1796208"/>
                </a:lnTo>
                <a:close/>
                <a:moveTo>
                  <a:pt x="4129710" y="1794801"/>
                </a:moveTo>
                <a:lnTo>
                  <a:pt x="4127213" y="1796967"/>
                </a:lnTo>
                <a:lnTo>
                  <a:pt x="4129710" y="1794801"/>
                </a:lnTo>
                <a:lnTo>
                  <a:pt x="4132965" y="1794910"/>
                </a:lnTo>
                <a:lnTo>
                  <a:pt x="4139476" y="1799781"/>
                </a:lnTo>
                <a:lnTo>
                  <a:pt x="4132965" y="1794909"/>
                </a:lnTo>
                <a:close/>
                <a:moveTo>
                  <a:pt x="4200354" y="1794585"/>
                </a:moveTo>
                <a:lnTo>
                  <a:pt x="4200353" y="1794585"/>
                </a:lnTo>
                <a:lnTo>
                  <a:pt x="4205888" y="1796208"/>
                </a:lnTo>
                <a:close/>
                <a:moveTo>
                  <a:pt x="5094205" y="1794149"/>
                </a:moveTo>
                <a:lnTo>
                  <a:pt x="5094095" y="1794476"/>
                </a:lnTo>
                <a:lnTo>
                  <a:pt x="5091491" y="1795884"/>
                </a:lnTo>
                <a:lnTo>
                  <a:pt x="5091382" y="1798158"/>
                </a:lnTo>
                <a:lnTo>
                  <a:pt x="5088995" y="1799456"/>
                </a:lnTo>
                <a:lnTo>
                  <a:pt x="5085957" y="1798284"/>
                </a:lnTo>
                <a:lnTo>
                  <a:pt x="5085957" y="1798699"/>
                </a:lnTo>
                <a:lnTo>
                  <a:pt x="5089321" y="1799998"/>
                </a:lnTo>
                <a:lnTo>
                  <a:pt x="5091600" y="1798699"/>
                </a:lnTo>
                <a:lnTo>
                  <a:pt x="5091600" y="1796317"/>
                </a:lnTo>
                <a:lnTo>
                  <a:pt x="5094205" y="1794909"/>
                </a:lnTo>
                <a:close/>
                <a:moveTo>
                  <a:pt x="2385847" y="1793285"/>
                </a:moveTo>
                <a:lnTo>
                  <a:pt x="2385846" y="1793285"/>
                </a:lnTo>
                <a:lnTo>
                  <a:pt x="2385087" y="1798591"/>
                </a:lnTo>
                <a:lnTo>
                  <a:pt x="2384066" y="1801219"/>
                </a:lnTo>
                <a:lnTo>
                  <a:pt x="2385087" y="1798591"/>
                </a:lnTo>
                <a:close/>
                <a:moveTo>
                  <a:pt x="5972369" y="1793277"/>
                </a:moveTo>
                <a:lnTo>
                  <a:pt x="5974926" y="1797182"/>
                </a:lnTo>
                <a:lnTo>
                  <a:pt x="5974927" y="1797183"/>
                </a:lnTo>
                <a:close/>
                <a:moveTo>
                  <a:pt x="5097785" y="1791878"/>
                </a:moveTo>
                <a:lnTo>
                  <a:pt x="5094639" y="1792852"/>
                </a:lnTo>
                <a:lnTo>
                  <a:pt x="5094523" y="1793198"/>
                </a:lnTo>
                <a:lnTo>
                  <a:pt x="5097351" y="1792419"/>
                </a:lnTo>
                <a:lnTo>
                  <a:pt x="5100390" y="1793069"/>
                </a:lnTo>
                <a:lnTo>
                  <a:pt x="5108637" y="1793069"/>
                </a:lnTo>
                <a:lnTo>
                  <a:pt x="5109288" y="1795126"/>
                </a:lnTo>
                <a:lnTo>
                  <a:pt x="5111133" y="1798266"/>
                </a:lnTo>
                <a:lnTo>
                  <a:pt x="5114280" y="1798915"/>
                </a:lnTo>
                <a:lnTo>
                  <a:pt x="5114280" y="1800322"/>
                </a:lnTo>
                <a:lnTo>
                  <a:pt x="5112327" y="1803354"/>
                </a:lnTo>
                <a:lnTo>
                  <a:pt x="5113412" y="1806062"/>
                </a:lnTo>
                <a:lnTo>
                  <a:pt x="5117101" y="1809743"/>
                </a:lnTo>
                <a:lnTo>
                  <a:pt x="5117101" y="1813315"/>
                </a:lnTo>
                <a:lnTo>
                  <a:pt x="5114388" y="1818188"/>
                </a:lnTo>
                <a:lnTo>
                  <a:pt x="5115148" y="1820462"/>
                </a:lnTo>
                <a:lnTo>
                  <a:pt x="5116668" y="1822519"/>
                </a:lnTo>
                <a:lnTo>
                  <a:pt x="5118186" y="1823926"/>
                </a:lnTo>
                <a:lnTo>
                  <a:pt x="5116342" y="1826199"/>
                </a:lnTo>
                <a:lnTo>
                  <a:pt x="5113195" y="1827607"/>
                </a:lnTo>
                <a:lnTo>
                  <a:pt x="5112435" y="1832913"/>
                </a:lnTo>
                <a:lnTo>
                  <a:pt x="5115583" y="1839192"/>
                </a:lnTo>
                <a:lnTo>
                  <a:pt x="5120140" y="1840275"/>
                </a:lnTo>
                <a:lnTo>
                  <a:pt x="5123612" y="1841466"/>
                </a:lnTo>
                <a:lnTo>
                  <a:pt x="5122853" y="1843631"/>
                </a:lnTo>
                <a:lnTo>
                  <a:pt x="5117862" y="1846121"/>
                </a:lnTo>
                <a:lnTo>
                  <a:pt x="5118078" y="1846121"/>
                </a:lnTo>
                <a:lnTo>
                  <a:pt x="5123070" y="1843631"/>
                </a:lnTo>
                <a:lnTo>
                  <a:pt x="5123830" y="1841466"/>
                </a:lnTo>
                <a:lnTo>
                  <a:pt x="5120465" y="1840275"/>
                </a:lnTo>
                <a:lnTo>
                  <a:pt x="5115907" y="1839192"/>
                </a:lnTo>
                <a:lnTo>
                  <a:pt x="5112760" y="1832912"/>
                </a:lnTo>
                <a:lnTo>
                  <a:pt x="5113520" y="1827607"/>
                </a:lnTo>
                <a:lnTo>
                  <a:pt x="5116667" y="1826200"/>
                </a:lnTo>
                <a:lnTo>
                  <a:pt x="5118404" y="1823926"/>
                </a:lnTo>
                <a:lnTo>
                  <a:pt x="5116993" y="1822518"/>
                </a:lnTo>
                <a:lnTo>
                  <a:pt x="5115365" y="1820353"/>
                </a:lnTo>
                <a:lnTo>
                  <a:pt x="5114605" y="1818188"/>
                </a:lnTo>
                <a:lnTo>
                  <a:pt x="5117318" y="1813207"/>
                </a:lnTo>
                <a:lnTo>
                  <a:pt x="5117752" y="1809742"/>
                </a:lnTo>
                <a:lnTo>
                  <a:pt x="5114062" y="1806061"/>
                </a:lnTo>
                <a:lnTo>
                  <a:pt x="5112977" y="1803354"/>
                </a:lnTo>
                <a:lnTo>
                  <a:pt x="5114931" y="1800323"/>
                </a:lnTo>
                <a:lnTo>
                  <a:pt x="5114713" y="1798915"/>
                </a:lnTo>
                <a:lnTo>
                  <a:pt x="5111567" y="1798266"/>
                </a:lnTo>
                <a:lnTo>
                  <a:pt x="5109722" y="1795017"/>
                </a:lnTo>
                <a:lnTo>
                  <a:pt x="5109071" y="1792960"/>
                </a:lnTo>
                <a:lnTo>
                  <a:pt x="5100823" y="1792527"/>
                </a:lnTo>
                <a:close/>
                <a:moveTo>
                  <a:pt x="4122656" y="1791553"/>
                </a:moveTo>
                <a:lnTo>
                  <a:pt x="4117773" y="1793177"/>
                </a:lnTo>
                <a:lnTo>
                  <a:pt x="4117773" y="1793177"/>
                </a:lnTo>
                <a:close/>
                <a:moveTo>
                  <a:pt x="4097080" y="1791512"/>
                </a:moveTo>
                <a:lnTo>
                  <a:pt x="4100409" y="1793610"/>
                </a:lnTo>
                <a:lnTo>
                  <a:pt x="4102065" y="1797078"/>
                </a:lnTo>
                <a:lnTo>
                  <a:pt x="4100410" y="1793610"/>
                </a:lnTo>
                <a:close/>
                <a:moveTo>
                  <a:pt x="4577883" y="1790795"/>
                </a:moveTo>
                <a:lnTo>
                  <a:pt x="4577340" y="1796533"/>
                </a:lnTo>
                <a:lnTo>
                  <a:pt x="4577341" y="1796534"/>
                </a:lnTo>
                <a:lnTo>
                  <a:pt x="4577883" y="1790796"/>
                </a:lnTo>
                <a:close/>
                <a:moveTo>
                  <a:pt x="5070764" y="1790254"/>
                </a:moveTo>
                <a:lnTo>
                  <a:pt x="5064471" y="1790362"/>
                </a:lnTo>
                <a:lnTo>
                  <a:pt x="5061107" y="1793719"/>
                </a:lnTo>
                <a:lnTo>
                  <a:pt x="5060022" y="1797183"/>
                </a:lnTo>
                <a:lnTo>
                  <a:pt x="5058772" y="1797911"/>
                </a:lnTo>
                <a:lnTo>
                  <a:pt x="5059153" y="1798266"/>
                </a:lnTo>
                <a:lnTo>
                  <a:pt x="5060456" y="1797508"/>
                </a:lnTo>
                <a:lnTo>
                  <a:pt x="5061541" y="1794044"/>
                </a:lnTo>
                <a:lnTo>
                  <a:pt x="5064905" y="1790687"/>
                </a:lnTo>
                <a:lnTo>
                  <a:pt x="5071090" y="1790687"/>
                </a:lnTo>
                <a:lnTo>
                  <a:pt x="5073369" y="1792203"/>
                </a:lnTo>
                <a:lnTo>
                  <a:pt x="5076408" y="1792203"/>
                </a:lnTo>
                <a:lnTo>
                  <a:pt x="5078209" y="1790723"/>
                </a:lnTo>
                <a:lnTo>
                  <a:pt x="5077818" y="1790254"/>
                </a:lnTo>
                <a:lnTo>
                  <a:pt x="5075974" y="1791878"/>
                </a:lnTo>
                <a:lnTo>
                  <a:pt x="5072935" y="1791878"/>
                </a:lnTo>
                <a:close/>
                <a:moveTo>
                  <a:pt x="4212399" y="1788521"/>
                </a:moveTo>
                <a:lnTo>
                  <a:pt x="4212399" y="1788522"/>
                </a:lnTo>
                <a:lnTo>
                  <a:pt x="4218258" y="1791553"/>
                </a:lnTo>
                <a:close/>
                <a:moveTo>
                  <a:pt x="4307676" y="1786356"/>
                </a:moveTo>
                <a:lnTo>
                  <a:pt x="4308327" y="1791120"/>
                </a:lnTo>
                <a:lnTo>
                  <a:pt x="4307459" y="1795992"/>
                </a:lnTo>
                <a:lnTo>
                  <a:pt x="4297150" y="1795775"/>
                </a:lnTo>
                <a:lnTo>
                  <a:pt x="4296065" y="1797832"/>
                </a:lnTo>
                <a:lnTo>
                  <a:pt x="4300405" y="1802812"/>
                </a:lnTo>
                <a:lnTo>
                  <a:pt x="4298344" y="1808334"/>
                </a:lnTo>
                <a:lnTo>
                  <a:pt x="4297801" y="1812882"/>
                </a:lnTo>
                <a:lnTo>
                  <a:pt x="4300405" y="1817321"/>
                </a:lnTo>
                <a:lnTo>
                  <a:pt x="4298226" y="1820071"/>
                </a:lnTo>
                <a:lnTo>
                  <a:pt x="4300406" y="1817321"/>
                </a:lnTo>
                <a:lnTo>
                  <a:pt x="4297801" y="1812882"/>
                </a:lnTo>
                <a:lnTo>
                  <a:pt x="4298344" y="1808335"/>
                </a:lnTo>
                <a:lnTo>
                  <a:pt x="4300406" y="1802813"/>
                </a:lnTo>
                <a:lnTo>
                  <a:pt x="4296065" y="1797833"/>
                </a:lnTo>
                <a:lnTo>
                  <a:pt x="4297150" y="1795776"/>
                </a:lnTo>
                <a:lnTo>
                  <a:pt x="4307459" y="1795992"/>
                </a:lnTo>
                <a:lnTo>
                  <a:pt x="4308327" y="1791119"/>
                </a:lnTo>
                <a:close/>
                <a:moveTo>
                  <a:pt x="2604181" y="1785814"/>
                </a:moveTo>
                <a:lnTo>
                  <a:pt x="2604616" y="1787763"/>
                </a:lnTo>
                <a:lnTo>
                  <a:pt x="2602445" y="1791119"/>
                </a:lnTo>
                <a:lnTo>
                  <a:pt x="2606569" y="1791552"/>
                </a:lnTo>
                <a:lnTo>
                  <a:pt x="2606678" y="1794692"/>
                </a:lnTo>
                <a:lnTo>
                  <a:pt x="2601469" y="1803571"/>
                </a:lnTo>
                <a:lnTo>
                  <a:pt x="2598322" y="1806494"/>
                </a:lnTo>
                <a:lnTo>
                  <a:pt x="2603205" y="1808226"/>
                </a:lnTo>
                <a:lnTo>
                  <a:pt x="2605158" y="1811691"/>
                </a:lnTo>
                <a:lnTo>
                  <a:pt x="2602880" y="1814830"/>
                </a:lnTo>
                <a:lnTo>
                  <a:pt x="2604507" y="1816779"/>
                </a:lnTo>
                <a:lnTo>
                  <a:pt x="2607437" y="1814830"/>
                </a:lnTo>
                <a:lnTo>
                  <a:pt x="2607437" y="1811366"/>
                </a:lnTo>
                <a:lnTo>
                  <a:pt x="2610259" y="1810608"/>
                </a:lnTo>
                <a:lnTo>
                  <a:pt x="2614924" y="1812232"/>
                </a:lnTo>
                <a:lnTo>
                  <a:pt x="2615792" y="1817537"/>
                </a:lnTo>
                <a:lnTo>
                  <a:pt x="2617095" y="1819595"/>
                </a:lnTo>
                <a:lnTo>
                  <a:pt x="2612537" y="1821002"/>
                </a:lnTo>
                <a:lnTo>
                  <a:pt x="2610150" y="1822951"/>
                </a:lnTo>
                <a:lnTo>
                  <a:pt x="2603531" y="1823817"/>
                </a:lnTo>
                <a:lnTo>
                  <a:pt x="2596152" y="1829339"/>
                </a:lnTo>
                <a:lnTo>
                  <a:pt x="2591919" y="1829339"/>
                </a:lnTo>
                <a:lnTo>
                  <a:pt x="2590184" y="1826740"/>
                </a:lnTo>
                <a:lnTo>
                  <a:pt x="2588447" y="1827498"/>
                </a:lnTo>
                <a:lnTo>
                  <a:pt x="2587471" y="1831938"/>
                </a:lnTo>
                <a:lnTo>
                  <a:pt x="2586168" y="1832912"/>
                </a:lnTo>
                <a:lnTo>
                  <a:pt x="2584432" y="1829555"/>
                </a:lnTo>
                <a:lnTo>
                  <a:pt x="2577053" y="1826091"/>
                </a:lnTo>
                <a:lnTo>
                  <a:pt x="2576619" y="1819595"/>
                </a:lnTo>
                <a:lnTo>
                  <a:pt x="2574883" y="1816563"/>
                </a:lnTo>
                <a:lnTo>
                  <a:pt x="2576728" y="1813098"/>
                </a:lnTo>
                <a:lnTo>
                  <a:pt x="2583347" y="1809309"/>
                </a:lnTo>
                <a:lnTo>
                  <a:pt x="2588447" y="1801838"/>
                </a:lnTo>
                <a:lnTo>
                  <a:pt x="2590617" y="1799565"/>
                </a:lnTo>
                <a:lnTo>
                  <a:pt x="2593005" y="1794584"/>
                </a:lnTo>
                <a:lnTo>
                  <a:pt x="2598539" y="1790145"/>
                </a:lnTo>
                <a:lnTo>
                  <a:pt x="2600601" y="1786463"/>
                </a:lnTo>
                <a:close/>
                <a:moveTo>
                  <a:pt x="4433106" y="1783068"/>
                </a:moveTo>
                <a:lnTo>
                  <a:pt x="4433121" y="1783108"/>
                </a:lnTo>
                <a:lnTo>
                  <a:pt x="4433121" y="1783107"/>
                </a:lnTo>
                <a:close/>
                <a:moveTo>
                  <a:pt x="2696096" y="1782566"/>
                </a:moveTo>
                <a:lnTo>
                  <a:pt x="2695770" y="1784298"/>
                </a:lnTo>
                <a:lnTo>
                  <a:pt x="2697399" y="1786139"/>
                </a:lnTo>
                <a:lnTo>
                  <a:pt x="2697182" y="1788954"/>
                </a:lnTo>
                <a:lnTo>
                  <a:pt x="2695553" y="1790361"/>
                </a:lnTo>
                <a:lnTo>
                  <a:pt x="2695662" y="1792527"/>
                </a:lnTo>
                <a:lnTo>
                  <a:pt x="2697073" y="1793826"/>
                </a:lnTo>
                <a:lnTo>
                  <a:pt x="2697941" y="1795775"/>
                </a:lnTo>
                <a:lnTo>
                  <a:pt x="2696422" y="1798915"/>
                </a:lnTo>
                <a:lnTo>
                  <a:pt x="2695228" y="1799023"/>
                </a:lnTo>
                <a:lnTo>
                  <a:pt x="2694034" y="1796316"/>
                </a:lnTo>
                <a:lnTo>
                  <a:pt x="2695119" y="1793068"/>
                </a:lnTo>
                <a:lnTo>
                  <a:pt x="2694359" y="1789387"/>
                </a:lnTo>
                <a:lnTo>
                  <a:pt x="2692949" y="1786247"/>
                </a:lnTo>
                <a:lnTo>
                  <a:pt x="2694468" y="1784190"/>
                </a:lnTo>
                <a:close/>
                <a:moveTo>
                  <a:pt x="2526375" y="1780726"/>
                </a:moveTo>
                <a:lnTo>
                  <a:pt x="2527352" y="1784840"/>
                </a:lnTo>
                <a:lnTo>
                  <a:pt x="2524314" y="1787872"/>
                </a:lnTo>
                <a:lnTo>
                  <a:pt x="2524205" y="1789604"/>
                </a:lnTo>
                <a:lnTo>
                  <a:pt x="2526050" y="1791986"/>
                </a:lnTo>
                <a:lnTo>
                  <a:pt x="2526158" y="1796101"/>
                </a:lnTo>
                <a:lnTo>
                  <a:pt x="2529848" y="1798158"/>
                </a:lnTo>
                <a:lnTo>
                  <a:pt x="2530500" y="1795126"/>
                </a:lnTo>
                <a:lnTo>
                  <a:pt x="2534080" y="1795018"/>
                </a:lnTo>
                <a:lnTo>
                  <a:pt x="2540157" y="1799781"/>
                </a:lnTo>
                <a:lnTo>
                  <a:pt x="2542762" y="1799781"/>
                </a:lnTo>
                <a:lnTo>
                  <a:pt x="2544932" y="1801947"/>
                </a:lnTo>
                <a:lnTo>
                  <a:pt x="2551878" y="1801730"/>
                </a:lnTo>
                <a:lnTo>
                  <a:pt x="2553722" y="1799565"/>
                </a:lnTo>
                <a:lnTo>
                  <a:pt x="2557846" y="1800864"/>
                </a:lnTo>
                <a:lnTo>
                  <a:pt x="2564682" y="1801081"/>
                </a:lnTo>
                <a:lnTo>
                  <a:pt x="2562620" y="1802597"/>
                </a:lnTo>
                <a:lnTo>
                  <a:pt x="2557520" y="1803571"/>
                </a:lnTo>
                <a:lnTo>
                  <a:pt x="2556001" y="1808010"/>
                </a:lnTo>
                <a:lnTo>
                  <a:pt x="2556761" y="1810934"/>
                </a:lnTo>
                <a:lnTo>
                  <a:pt x="2555024" y="1815589"/>
                </a:lnTo>
                <a:lnTo>
                  <a:pt x="2551551" y="1816889"/>
                </a:lnTo>
                <a:lnTo>
                  <a:pt x="2545908" y="1814290"/>
                </a:lnTo>
                <a:lnTo>
                  <a:pt x="2544607" y="1809418"/>
                </a:lnTo>
                <a:lnTo>
                  <a:pt x="2533863" y="1808118"/>
                </a:lnTo>
                <a:lnTo>
                  <a:pt x="2530825" y="1806603"/>
                </a:lnTo>
                <a:lnTo>
                  <a:pt x="2530391" y="1803896"/>
                </a:lnTo>
                <a:lnTo>
                  <a:pt x="2528220" y="1801514"/>
                </a:lnTo>
                <a:lnTo>
                  <a:pt x="2526375" y="1801406"/>
                </a:lnTo>
                <a:lnTo>
                  <a:pt x="2524639" y="1798483"/>
                </a:lnTo>
                <a:lnTo>
                  <a:pt x="2521817" y="1797508"/>
                </a:lnTo>
                <a:lnTo>
                  <a:pt x="2521817" y="1793935"/>
                </a:lnTo>
                <a:lnTo>
                  <a:pt x="2519647" y="1791877"/>
                </a:lnTo>
                <a:lnTo>
                  <a:pt x="2517151" y="1792419"/>
                </a:lnTo>
                <a:lnTo>
                  <a:pt x="2515741" y="1790687"/>
                </a:lnTo>
                <a:lnTo>
                  <a:pt x="2517586" y="1786897"/>
                </a:lnTo>
                <a:close/>
                <a:moveTo>
                  <a:pt x="4515214" y="1778546"/>
                </a:moveTo>
                <a:lnTo>
                  <a:pt x="4512783" y="1778967"/>
                </a:lnTo>
                <a:lnTo>
                  <a:pt x="4512758" y="1778972"/>
                </a:lnTo>
                <a:close/>
                <a:moveTo>
                  <a:pt x="4430843" y="1777261"/>
                </a:moveTo>
                <a:lnTo>
                  <a:pt x="4430852" y="1777285"/>
                </a:lnTo>
                <a:lnTo>
                  <a:pt x="4430846" y="1777270"/>
                </a:lnTo>
                <a:close/>
                <a:moveTo>
                  <a:pt x="4367578" y="1776719"/>
                </a:moveTo>
                <a:lnTo>
                  <a:pt x="4359873" y="1783215"/>
                </a:lnTo>
                <a:lnTo>
                  <a:pt x="4353145" y="1785489"/>
                </a:lnTo>
                <a:lnTo>
                  <a:pt x="4353145" y="1785490"/>
                </a:lnTo>
                <a:lnTo>
                  <a:pt x="4359872" y="1783216"/>
                </a:lnTo>
                <a:lnTo>
                  <a:pt x="4367577" y="1776720"/>
                </a:lnTo>
                <a:lnTo>
                  <a:pt x="4374306" y="1783757"/>
                </a:lnTo>
                <a:lnTo>
                  <a:pt x="4374306" y="1783756"/>
                </a:lnTo>
                <a:close/>
                <a:moveTo>
                  <a:pt x="4567492" y="1776571"/>
                </a:moveTo>
                <a:lnTo>
                  <a:pt x="4570287" y="1779319"/>
                </a:lnTo>
                <a:lnTo>
                  <a:pt x="4571485" y="1779927"/>
                </a:lnTo>
                <a:lnTo>
                  <a:pt x="4570287" y="1779319"/>
                </a:lnTo>
                <a:close/>
                <a:moveTo>
                  <a:pt x="4378331" y="1776538"/>
                </a:moveTo>
                <a:lnTo>
                  <a:pt x="4374849" y="1779317"/>
                </a:lnTo>
                <a:lnTo>
                  <a:pt x="4374849" y="1779318"/>
                </a:lnTo>
                <a:close/>
                <a:moveTo>
                  <a:pt x="4526989" y="1776503"/>
                </a:moveTo>
                <a:lnTo>
                  <a:pt x="4526988" y="1776503"/>
                </a:lnTo>
                <a:lnTo>
                  <a:pt x="4529701" y="1787221"/>
                </a:lnTo>
                <a:lnTo>
                  <a:pt x="4529702" y="1787222"/>
                </a:lnTo>
                <a:close/>
                <a:moveTo>
                  <a:pt x="4429351" y="1776260"/>
                </a:moveTo>
                <a:lnTo>
                  <a:pt x="4430843" y="1777261"/>
                </a:lnTo>
                <a:lnTo>
                  <a:pt x="4430846" y="1777270"/>
                </a:lnTo>
                <a:lnTo>
                  <a:pt x="4430869" y="1777329"/>
                </a:lnTo>
                <a:lnTo>
                  <a:pt x="4430843" y="1777261"/>
                </a:lnTo>
                <a:lnTo>
                  <a:pt x="4430843" y="1777261"/>
                </a:lnTo>
                <a:close/>
                <a:moveTo>
                  <a:pt x="4098348" y="1775854"/>
                </a:moveTo>
                <a:lnTo>
                  <a:pt x="4098348" y="1775854"/>
                </a:lnTo>
                <a:lnTo>
                  <a:pt x="4095852" y="1784082"/>
                </a:lnTo>
                <a:lnTo>
                  <a:pt x="4096276" y="1790847"/>
                </a:lnTo>
                <a:lnTo>
                  <a:pt x="4095853" y="1784082"/>
                </a:lnTo>
                <a:close/>
                <a:moveTo>
                  <a:pt x="4516680" y="1772281"/>
                </a:moveTo>
                <a:lnTo>
                  <a:pt x="4516680" y="1772281"/>
                </a:lnTo>
                <a:lnTo>
                  <a:pt x="4517374" y="1776958"/>
                </a:lnTo>
                <a:close/>
                <a:moveTo>
                  <a:pt x="4391235" y="1768815"/>
                </a:moveTo>
                <a:lnTo>
                  <a:pt x="4383313" y="1769465"/>
                </a:lnTo>
                <a:lnTo>
                  <a:pt x="4381993" y="1771510"/>
                </a:lnTo>
                <a:lnTo>
                  <a:pt x="4383312" y="1769466"/>
                </a:lnTo>
                <a:lnTo>
                  <a:pt x="4391234" y="1768816"/>
                </a:lnTo>
                <a:lnTo>
                  <a:pt x="4396769" y="1770332"/>
                </a:lnTo>
                <a:lnTo>
                  <a:pt x="4406426" y="1769682"/>
                </a:lnTo>
                <a:lnTo>
                  <a:pt x="4413806" y="1771415"/>
                </a:lnTo>
                <a:lnTo>
                  <a:pt x="4413871" y="1771372"/>
                </a:lnTo>
                <a:lnTo>
                  <a:pt x="4413806" y="1771414"/>
                </a:lnTo>
                <a:lnTo>
                  <a:pt x="4406427" y="1769681"/>
                </a:lnTo>
                <a:lnTo>
                  <a:pt x="4396769" y="1770331"/>
                </a:lnTo>
                <a:close/>
                <a:moveTo>
                  <a:pt x="2580308" y="1768383"/>
                </a:moveTo>
                <a:lnTo>
                  <a:pt x="2581176" y="1768491"/>
                </a:lnTo>
                <a:lnTo>
                  <a:pt x="2580850" y="1769682"/>
                </a:lnTo>
                <a:lnTo>
                  <a:pt x="2580742" y="1769032"/>
                </a:lnTo>
                <a:lnTo>
                  <a:pt x="2577161" y="1771956"/>
                </a:lnTo>
                <a:lnTo>
                  <a:pt x="2576076" y="1774879"/>
                </a:lnTo>
                <a:lnTo>
                  <a:pt x="2574449" y="1775746"/>
                </a:lnTo>
                <a:lnTo>
                  <a:pt x="2575317" y="1777478"/>
                </a:lnTo>
                <a:lnTo>
                  <a:pt x="2577270" y="1777695"/>
                </a:lnTo>
                <a:lnTo>
                  <a:pt x="2576402" y="1778778"/>
                </a:lnTo>
                <a:lnTo>
                  <a:pt x="2574882" y="1778128"/>
                </a:lnTo>
                <a:lnTo>
                  <a:pt x="2573472" y="1775638"/>
                </a:lnTo>
                <a:lnTo>
                  <a:pt x="2576185" y="1771740"/>
                </a:lnTo>
                <a:close/>
                <a:moveTo>
                  <a:pt x="4517195" y="1767422"/>
                </a:moveTo>
                <a:lnTo>
                  <a:pt x="4517548" y="1769466"/>
                </a:lnTo>
                <a:lnTo>
                  <a:pt x="4517548" y="1769466"/>
                </a:lnTo>
                <a:close/>
                <a:moveTo>
                  <a:pt x="2406140" y="1767409"/>
                </a:moveTo>
                <a:lnTo>
                  <a:pt x="2406139" y="1767409"/>
                </a:lnTo>
                <a:lnTo>
                  <a:pt x="2404294" y="1771198"/>
                </a:lnTo>
                <a:lnTo>
                  <a:pt x="2395830" y="1780618"/>
                </a:lnTo>
                <a:lnTo>
                  <a:pt x="2391598" y="1786032"/>
                </a:lnTo>
                <a:lnTo>
                  <a:pt x="2391923" y="1790038"/>
                </a:lnTo>
                <a:lnTo>
                  <a:pt x="2389004" y="1791598"/>
                </a:lnTo>
                <a:lnTo>
                  <a:pt x="2391924" y="1790037"/>
                </a:lnTo>
                <a:lnTo>
                  <a:pt x="2391598" y="1786031"/>
                </a:lnTo>
                <a:lnTo>
                  <a:pt x="2395831" y="1780618"/>
                </a:lnTo>
                <a:lnTo>
                  <a:pt x="2404295" y="1771198"/>
                </a:lnTo>
                <a:close/>
                <a:moveTo>
                  <a:pt x="5783267" y="1767374"/>
                </a:moveTo>
                <a:lnTo>
                  <a:pt x="5782959" y="1772389"/>
                </a:lnTo>
                <a:lnTo>
                  <a:pt x="5780680" y="1786140"/>
                </a:lnTo>
                <a:lnTo>
                  <a:pt x="5780680" y="1796858"/>
                </a:lnTo>
                <a:lnTo>
                  <a:pt x="5779487" y="1800431"/>
                </a:lnTo>
                <a:lnTo>
                  <a:pt x="5782200" y="1802488"/>
                </a:lnTo>
                <a:lnTo>
                  <a:pt x="5787734" y="1804870"/>
                </a:lnTo>
                <a:lnTo>
                  <a:pt x="5787734" y="1804870"/>
                </a:lnTo>
                <a:lnTo>
                  <a:pt x="5782201" y="1802487"/>
                </a:lnTo>
                <a:lnTo>
                  <a:pt x="5779488" y="1800430"/>
                </a:lnTo>
                <a:lnTo>
                  <a:pt x="5780681" y="1796858"/>
                </a:lnTo>
                <a:lnTo>
                  <a:pt x="5780681" y="1786138"/>
                </a:lnTo>
                <a:lnTo>
                  <a:pt x="5782960" y="1772389"/>
                </a:lnTo>
                <a:close/>
                <a:moveTo>
                  <a:pt x="2707815" y="1766759"/>
                </a:moveTo>
                <a:lnTo>
                  <a:pt x="2708900" y="1768383"/>
                </a:lnTo>
                <a:lnTo>
                  <a:pt x="2707924" y="1769466"/>
                </a:lnTo>
                <a:lnTo>
                  <a:pt x="2706622" y="1769033"/>
                </a:lnTo>
                <a:close/>
                <a:moveTo>
                  <a:pt x="2431423" y="1766543"/>
                </a:moveTo>
                <a:lnTo>
                  <a:pt x="2429362" y="1768491"/>
                </a:lnTo>
                <a:lnTo>
                  <a:pt x="2431423" y="1766543"/>
                </a:lnTo>
                <a:close/>
                <a:moveTo>
                  <a:pt x="4979610" y="1766434"/>
                </a:moveTo>
                <a:lnTo>
                  <a:pt x="4979310" y="1767017"/>
                </a:lnTo>
                <a:lnTo>
                  <a:pt x="4990029" y="1770008"/>
                </a:lnTo>
                <a:lnTo>
                  <a:pt x="5000881" y="1780835"/>
                </a:lnTo>
                <a:lnTo>
                  <a:pt x="5010538" y="1796967"/>
                </a:lnTo>
                <a:lnTo>
                  <a:pt x="5001423" y="1796967"/>
                </a:lnTo>
                <a:lnTo>
                  <a:pt x="5001423" y="1800974"/>
                </a:lnTo>
                <a:lnTo>
                  <a:pt x="5010213" y="1806820"/>
                </a:lnTo>
                <a:lnTo>
                  <a:pt x="5013201" y="1805826"/>
                </a:lnTo>
                <a:lnTo>
                  <a:pt x="5006197" y="1801081"/>
                </a:lnTo>
                <a:lnTo>
                  <a:pt x="5006740" y="1797183"/>
                </a:lnTo>
                <a:lnTo>
                  <a:pt x="5015855" y="1797183"/>
                </a:lnTo>
                <a:lnTo>
                  <a:pt x="5006197" y="1781050"/>
                </a:lnTo>
                <a:lnTo>
                  <a:pt x="4995129" y="1770657"/>
                </a:lnTo>
                <a:close/>
                <a:moveTo>
                  <a:pt x="6910991" y="1766414"/>
                </a:moveTo>
                <a:lnTo>
                  <a:pt x="6910990" y="1766434"/>
                </a:lnTo>
                <a:lnTo>
                  <a:pt x="6910991" y="1766444"/>
                </a:lnTo>
                <a:close/>
                <a:moveTo>
                  <a:pt x="4306243" y="1765841"/>
                </a:moveTo>
                <a:lnTo>
                  <a:pt x="4305831" y="1773038"/>
                </a:lnTo>
                <a:lnTo>
                  <a:pt x="4307242" y="1783108"/>
                </a:lnTo>
                <a:lnTo>
                  <a:pt x="4307242" y="1783108"/>
                </a:lnTo>
                <a:lnTo>
                  <a:pt x="4323194" y="1792311"/>
                </a:lnTo>
                <a:lnTo>
                  <a:pt x="4331658" y="1793935"/>
                </a:lnTo>
                <a:lnTo>
                  <a:pt x="4339689" y="1791119"/>
                </a:lnTo>
                <a:lnTo>
                  <a:pt x="4352493" y="1789929"/>
                </a:lnTo>
                <a:lnTo>
                  <a:pt x="4339689" y="1791119"/>
                </a:lnTo>
                <a:lnTo>
                  <a:pt x="4331659" y="1793934"/>
                </a:lnTo>
                <a:lnTo>
                  <a:pt x="4323194" y="1792310"/>
                </a:lnTo>
                <a:lnTo>
                  <a:pt x="4307242" y="1783107"/>
                </a:lnTo>
                <a:lnTo>
                  <a:pt x="4305832" y="1773038"/>
                </a:lnTo>
                <a:close/>
                <a:moveTo>
                  <a:pt x="4103086" y="1765013"/>
                </a:moveTo>
                <a:lnTo>
                  <a:pt x="4101603" y="1769141"/>
                </a:lnTo>
                <a:lnTo>
                  <a:pt x="4101603" y="1772823"/>
                </a:lnTo>
                <a:lnTo>
                  <a:pt x="4101604" y="1772822"/>
                </a:lnTo>
                <a:lnTo>
                  <a:pt x="4101604" y="1769141"/>
                </a:lnTo>
                <a:close/>
                <a:moveTo>
                  <a:pt x="4520639" y="1764174"/>
                </a:moveTo>
                <a:lnTo>
                  <a:pt x="4520260" y="1764702"/>
                </a:lnTo>
                <a:lnTo>
                  <a:pt x="4520261" y="1764702"/>
                </a:lnTo>
                <a:close/>
                <a:moveTo>
                  <a:pt x="4318745" y="1761778"/>
                </a:moveTo>
                <a:lnTo>
                  <a:pt x="4313211" y="1761886"/>
                </a:lnTo>
                <a:lnTo>
                  <a:pt x="4311677" y="1762926"/>
                </a:lnTo>
                <a:lnTo>
                  <a:pt x="4313211" y="1761886"/>
                </a:lnTo>
                <a:lnTo>
                  <a:pt x="4318745" y="1761778"/>
                </a:lnTo>
                <a:close/>
                <a:moveTo>
                  <a:pt x="4534585" y="1761563"/>
                </a:moveTo>
                <a:lnTo>
                  <a:pt x="4534585" y="1761563"/>
                </a:lnTo>
                <a:lnTo>
                  <a:pt x="4534851" y="1761986"/>
                </a:lnTo>
                <a:close/>
                <a:moveTo>
                  <a:pt x="4234753" y="1761237"/>
                </a:moveTo>
                <a:lnTo>
                  <a:pt x="4246906" y="1768166"/>
                </a:lnTo>
                <a:lnTo>
                  <a:pt x="4246907" y="1768166"/>
                </a:lnTo>
                <a:close/>
                <a:moveTo>
                  <a:pt x="5972322" y="1760479"/>
                </a:moveTo>
                <a:lnTo>
                  <a:pt x="5971236" y="1763510"/>
                </a:lnTo>
                <a:lnTo>
                  <a:pt x="5972430" y="1769140"/>
                </a:lnTo>
                <a:lnTo>
                  <a:pt x="5975143" y="1772280"/>
                </a:lnTo>
                <a:lnTo>
                  <a:pt x="5973624" y="1776611"/>
                </a:lnTo>
                <a:lnTo>
                  <a:pt x="5970260" y="1779318"/>
                </a:lnTo>
                <a:lnTo>
                  <a:pt x="5968741" y="1781808"/>
                </a:lnTo>
                <a:lnTo>
                  <a:pt x="5968741" y="1785273"/>
                </a:lnTo>
                <a:lnTo>
                  <a:pt x="5969459" y="1788406"/>
                </a:lnTo>
                <a:lnTo>
                  <a:pt x="5968742" y="1785273"/>
                </a:lnTo>
                <a:lnTo>
                  <a:pt x="5968742" y="1781809"/>
                </a:lnTo>
                <a:lnTo>
                  <a:pt x="5970261" y="1779318"/>
                </a:lnTo>
                <a:lnTo>
                  <a:pt x="5973624" y="1776612"/>
                </a:lnTo>
                <a:lnTo>
                  <a:pt x="5975144" y="1772281"/>
                </a:lnTo>
                <a:lnTo>
                  <a:pt x="5972431" y="1769141"/>
                </a:lnTo>
                <a:lnTo>
                  <a:pt x="5971238" y="1763511"/>
                </a:lnTo>
                <a:lnTo>
                  <a:pt x="5972322" y="1760479"/>
                </a:lnTo>
                <a:close/>
                <a:moveTo>
                  <a:pt x="4292809" y="1760262"/>
                </a:moveTo>
                <a:lnTo>
                  <a:pt x="4286515" y="1761561"/>
                </a:lnTo>
                <a:lnTo>
                  <a:pt x="4292809" y="1760263"/>
                </a:lnTo>
                <a:lnTo>
                  <a:pt x="4296933" y="1763294"/>
                </a:lnTo>
                <a:lnTo>
                  <a:pt x="4300291" y="1764073"/>
                </a:lnTo>
                <a:lnTo>
                  <a:pt x="4296933" y="1763294"/>
                </a:lnTo>
                <a:close/>
                <a:moveTo>
                  <a:pt x="4334401" y="1759778"/>
                </a:moveTo>
                <a:lnTo>
                  <a:pt x="4330031" y="1760370"/>
                </a:lnTo>
                <a:lnTo>
                  <a:pt x="4322983" y="1762882"/>
                </a:lnTo>
                <a:lnTo>
                  <a:pt x="4330031" y="1760370"/>
                </a:lnTo>
                <a:close/>
                <a:moveTo>
                  <a:pt x="4265138" y="1756798"/>
                </a:moveTo>
                <a:lnTo>
                  <a:pt x="4273927" y="1757122"/>
                </a:lnTo>
                <a:lnTo>
                  <a:pt x="4279787" y="1761237"/>
                </a:lnTo>
                <a:lnTo>
                  <a:pt x="4273928" y="1757122"/>
                </a:lnTo>
                <a:close/>
                <a:moveTo>
                  <a:pt x="5971996" y="1755065"/>
                </a:moveTo>
                <a:lnTo>
                  <a:pt x="5972306" y="1760220"/>
                </a:lnTo>
                <a:lnTo>
                  <a:pt x="5971997" y="1755066"/>
                </a:lnTo>
                <a:close/>
                <a:moveTo>
                  <a:pt x="4345224" y="1752792"/>
                </a:moveTo>
                <a:lnTo>
                  <a:pt x="4338820" y="1759179"/>
                </a:lnTo>
                <a:lnTo>
                  <a:pt x="4338821" y="1759179"/>
                </a:lnTo>
                <a:close/>
                <a:moveTo>
                  <a:pt x="4083156" y="1750951"/>
                </a:moveTo>
                <a:lnTo>
                  <a:pt x="4080070" y="1752033"/>
                </a:lnTo>
                <a:lnTo>
                  <a:pt x="4083156" y="1750952"/>
                </a:lnTo>
                <a:lnTo>
                  <a:pt x="4087279" y="1750952"/>
                </a:lnTo>
                <a:lnTo>
                  <a:pt x="4090426" y="1752142"/>
                </a:lnTo>
                <a:lnTo>
                  <a:pt x="4087280" y="1750951"/>
                </a:lnTo>
                <a:close/>
                <a:moveTo>
                  <a:pt x="4094658" y="1750735"/>
                </a:moveTo>
                <a:lnTo>
                  <a:pt x="4091356" y="1751833"/>
                </a:lnTo>
                <a:lnTo>
                  <a:pt x="4094658" y="1750735"/>
                </a:lnTo>
                <a:lnTo>
                  <a:pt x="4100409" y="1753334"/>
                </a:lnTo>
                <a:lnTo>
                  <a:pt x="4104859" y="1753334"/>
                </a:lnTo>
                <a:lnTo>
                  <a:pt x="4109525" y="1756473"/>
                </a:lnTo>
                <a:lnTo>
                  <a:pt x="4104859" y="1753333"/>
                </a:lnTo>
                <a:lnTo>
                  <a:pt x="4100410" y="1753333"/>
                </a:lnTo>
                <a:close/>
                <a:moveTo>
                  <a:pt x="5787410" y="1749436"/>
                </a:moveTo>
                <a:lnTo>
                  <a:pt x="5787408" y="1749436"/>
                </a:lnTo>
                <a:lnTo>
                  <a:pt x="5785346" y="1760263"/>
                </a:lnTo>
                <a:lnTo>
                  <a:pt x="5783760" y="1765512"/>
                </a:lnTo>
                <a:lnTo>
                  <a:pt x="5785347" y="1760262"/>
                </a:lnTo>
                <a:close/>
                <a:moveTo>
                  <a:pt x="5835807" y="1749003"/>
                </a:moveTo>
                <a:lnTo>
                  <a:pt x="5831683" y="1753875"/>
                </a:lnTo>
                <a:lnTo>
                  <a:pt x="5831256" y="1754021"/>
                </a:lnTo>
                <a:lnTo>
                  <a:pt x="5831685" y="1753874"/>
                </a:lnTo>
                <a:close/>
                <a:moveTo>
                  <a:pt x="4075017" y="1748894"/>
                </a:moveTo>
                <a:lnTo>
                  <a:pt x="4075017" y="1748895"/>
                </a:lnTo>
                <a:lnTo>
                  <a:pt x="4079140" y="1752359"/>
                </a:lnTo>
                <a:lnTo>
                  <a:pt x="4079141" y="1752359"/>
                </a:lnTo>
                <a:close/>
                <a:moveTo>
                  <a:pt x="4219414" y="1748039"/>
                </a:moveTo>
                <a:lnTo>
                  <a:pt x="4221840" y="1749652"/>
                </a:lnTo>
                <a:lnTo>
                  <a:pt x="4231498" y="1760696"/>
                </a:lnTo>
                <a:lnTo>
                  <a:pt x="4221840" y="1749652"/>
                </a:lnTo>
                <a:close/>
                <a:moveTo>
                  <a:pt x="5967114" y="1747271"/>
                </a:moveTo>
                <a:lnTo>
                  <a:pt x="5970043" y="1752142"/>
                </a:lnTo>
                <a:lnTo>
                  <a:pt x="5971776" y="1754735"/>
                </a:lnTo>
                <a:lnTo>
                  <a:pt x="5970044" y="1752143"/>
                </a:lnTo>
                <a:close/>
                <a:moveTo>
                  <a:pt x="4381920" y="1743253"/>
                </a:moveTo>
                <a:lnTo>
                  <a:pt x="4383855" y="1743480"/>
                </a:lnTo>
                <a:lnTo>
                  <a:pt x="4389607" y="1743480"/>
                </a:lnTo>
                <a:lnTo>
                  <a:pt x="4389606" y="1743480"/>
                </a:lnTo>
                <a:lnTo>
                  <a:pt x="4383854" y="1743480"/>
                </a:lnTo>
                <a:close/>
                <a:moveTo>
                  <a:pt x="4380165" y="1743047"/>
                </a:moveTo>
                <a:lnTo>
                  <a:pt x="4376367" y="1744346"/>
                </a:lnTo>
                <a:lnTo>
                  <a:pt x="4373545" y="1748677"/>
                </a:lnTo>
                <a:lnTo>
                  <a:pt x="4373546" y="1748677"/>
                </a:lnTo>
                <a:lnTo>
                  <a:pt x="4376368" y="1744346"/>
                </a:lnTo>
                <a:close/>
                <a:moveTo>
                  <a:pt x="4396008" y="1742722"/>
                </a:moveTo>
                <a:lnTo>
                  <a:pt x="4392971" y="1745753"/>
                </a:lnTo>
                <a:lnTo>
                  <a:pt x="4392971" y="1745754"/>
                </a:lnTo>
                <a:lnTo>
                  <a:pt x="4396009" y="1742722"/>
                </a:lnTo>
                <a:close/>
                <a:moveTo>
                  <a:pt x="4406534" y="1742506"/>
                </a:moveTo>
                <a:lnTo>
                  <a:pt x="4403605" y="1743913"/>
                </a:lnTo>
                <a:lnTo>
                  <a:pt x="4403605" y="1743913"/>
                </a:lnTo>
                <a:lnTo>
                  <a:pt x="4406535" y="1742506"/>
                </a:lnTo>
                <a:close/>
                <a:moveTo>
                  <a:pt x="4061126" y="1742181"/>
                </a:moveTo>
                <a:lnTo>
                  <a:pt x="4067095" y="1743373"/>
                </a:lnTo>
                <a:lnTo>
                  <a:pt x="4070567" y="1742507"/>
                </a:lnTo>
                <a:lnTo>
                  <a:pt x="4074195" y="1745331"/>
                </a:lnTo>
                <a:lnTo>
                  <a:pt x="4070568" y="1742506"/>
                </a:lnTo>
                <a:lnTo>
                  <a:pt x="4070567" y="1742506"/>
                </a:lnTo>
                <a:lnTo>
                  <a:pt x="4067096" y="1743372"/>
                </a:lnTo>
                <a:lnTo>
                  <a:pt x="4068669" y="1742967"/>
                </a:lnTo>
                <a:lnTo>
                  <a:pt x="4067095" y="1743372"/>
                </a:lnTo>
                <a:close/>
                <a:moveTo>
                  <a:pt x="4366508" y="1742044"/>
                </a:moveTo>
                <a:lnTo>
                  <a:pt x="4366510" y="1742051"/>
                </a:lnTo>
                <a:lnTo>
                  <a:pt x="4367794" y="1748136"/>
                </a:lnTo>
                <a:lnTo>
                  <a:pt x="4367794" y="1748352"/>
                </a:lnTo>
                <a:lnTo>
                  <a:pt x="4356726" y="1747270"/>
                </a:lnTo>
                <a:lnTo>
                  <a:pt x="4351625" y="1751925"/>
                </a:lnTo>
                <a:lnTo>
                  <a:pt x="4349272" y="1752135"/>
                </a:lnTo>
                <a:lnTo>
                  <a:pt x="4351626" y="1751925"/>
                </a:lnTo>
                <a:lnTo>
                  <a:pt x="4356726" y="1747270"/>
                </a:lnTo>
                <a:lnTo>
                  <a:pt x="4367794" y="1748352"/>
                </a:lnTo>
                <a:lnTo>
                  <a:pt x="4367795" y="1748352"/>
                </a:lnTo>
                <a:lnTo>
                  <a:pt x="4367795" y="1748137"/>
                </a:lnTo>
                <a:lnTo>
                  <a:pt x="4367794" y="1748136"/>
                </a:lnTo>
                <a:close/>
                <a:moveTo>
                  <a:pt x="6549800" y="1740229"/>
                </a:moveTo>
                <a:lnTo>
                  <a:pt x="6549848" y="1740774"/>
                </a:lnTo>
                <a:lnTo>
                  <a:pt x="6549848" y="1740773"/>
                </a:lnTo>
                <a:close/>
                <a:moveTo>
                  <a:pt x="5958593" y="1739306"/>
                </a:moveTo>
                <a:lnTo>
                  <a:pt x="5959734" y="1742397"/>
                </a:lnTo>
                <a:lnTo>
                  <a:pt x="5963531" y="1745538"/>
                </a:lnTo>
                <a:lnTo>
                  <a:pt x="5964278" y="1745899"/>
                </a:lnTo>
                <a:lnTo>
                  <a:pt x="5963533" y="1745538"/>
                </a:lnTo>
                <a:lnTo>
                  <a:pt x="5959735" y="1742398"/>
                </a:lnTo>
                <a:close/>
                <a:moveTo>
                  <a:pt x="4356400" y="1738067"/>
                </a:moveTo>
                <a:lnTo>
                  <a:pt x="4354338" y="1740449"/>
                </a:lnTo>
                <a:lnTo>
                  <a:pt x="4353118" y="1740385"/>
                </a:lnTo>
                <a:lnTo>
                  <a:pt x="4354338" y="1740449"/>
                </a:lnTo>
                <a:close/>
                <a:moveTo>
                  <a:pt x="4057979" y="1737742"/>
                </a:moveTo>
                <a:lnTo>
                  <a:pt x="4057979" y="1737742"/>
                </a:lnTo>
                <a:lnTo>
                  <a:pt x="4057980" y="1737742"/>
                </a:lnTo>
                <a:lnTo>
                  <a:pt x="4058305" y="1737742"/>
                </a:lnTo>
                <a:lnTo>
                  <a:pt x="4058305" y="1737742"/>
                </a:lnTo>
                <a:close/>
                <a:moveTo>
                  <a:pt x="7269963" y="1735252"/>
                </a:moveTo>
                <a:lnTo>
                  <a:pt x="7269203" y="1738825"/>
                </a:lnTo>
                <a:lnTo>
                  <a:pt x="7264971" y="1741640"/>
                </a:lnTo>
                <a:lnTo>
                  <a:pt x="7262802" y="1740882"/>
                </a:lnTo>
                <a:lnTo>
                  <a:pt x="7266491" y="1736768"/>
                </a:lnTo>
                <a:close/>
                <a:moveTo>
                  <a:pt x="4203067" y="1734819"/>
                </a:moveTo>
                <a:lnTo>
                  <a:pt x="4203067" y="1734819"/>
                </a:lnTo>
                <a:lnTo>
                  <a:pt x="4203316" y="1735501"/>
                </a:lnTo>
                <a:close/>
                <a:moveTo>
                  <a:pt x="4054507" y="1728107"/>
                </a:moveTo>
                <a:lnTo>
                  <a:pt x="4054507" y="1728107"/>
                </a:lnTo>
                <a:lnTo>
                  <a:pt x="4056134" y="1730164"/>
                </a:lnTo>
                <a:lnTo>
                  <a:pt x="4056134" y="1733412"/>
                </a:lnTo>
                <a:lnTo>
                  <a:pt x="4057979" y="1735144"/>
                </a:lnTo>
                <a:lnTo>
                  <a:pt x="4057979" y="1735143"/>
                </a:lnTo>
                <a:lnTo>
                  <a:pt x="4056135" y="1733411"/>
                </a:lnTo>
                <a:lnTo>
                  <a:pt x="4056135" y="1730163"/>
                </a:lnTo>
                <a:close/>
                <a:moveTo>
                  <a:pt x="4067312" y="1727564"/>
                </a:moveTo>
                <a:lnTo>
                  <a:pt x="4068289" y="1732653"/>
                </a:lnTo>
                <a:lnTo>
                  <a:pt x="4070893" y="1734927"/>
                </a:lnTo>
                <a:lnTo>
                  <a:pt x="4070459" y="1742506"/>
                </a:lnTo>
                <a:lnTo>
                  <a:pt x="4070460" y="1742506"/>
                </a:lnTo>
                <a:lnTo>
                  <a:pt x="4070894" y="1734927"/>
                </a:lnTo>
                <a:lnTo>
                  <a:pt x="4068289" y="1732653"/>
                </a:lnTo>
                <a:lnTo>
                  <a:pt x="4067312" y="1727565"/>
                </a:lnTo>
                <a:close/>
                <a:moveTo>
                  <a:pt x="5953657" y="1726698"/>
                </a:moveTo>
                <a:lnTo>
                  <a:pt x="5954308" y="1730488"/>
                </a:lnTo>
                <a:lnTo>
                  <a:pt x="5955719" y="1734710"/>
                </a:lnTo>
                <a:lnTo>
                  <a:pt x="5955720" y="1734711"/>
                </a:lnTo>
                <a:lnTo>
                  <a:pt x="5955720" y="1734712"/>
                </a:lnTo>
                <a:lnTo>
                  <a:pt x="5955809" y="1734839"/>
                </a:lnTo>
                <a:lnTo>
                  <a:pt x="5955720" y="1734711"/>
                </a:lnTo>
                <a:lnTo>
                  <a:pt x="5954309" y="1730489"/>
                </a:lnTo>
                <a:lnTo>
                  <a:pt x="5953658" y="1726699"/>
                </a:lnTo>
                <a:close/>
                <a:moveTo>
                  <a:pt x="4028869" y="1726212"/>
                </a:moveTo>
                <a:lnTo>
                  <a:pt x="4027160" y="1727348"/>
                </a:lnTo>
                <a:lnTo>
                  <a:pt x="4027161" y="1727348"/>
                </a:lnTo>
                <a:close/>
                <a:moveTo>
                  <a:pt x="4330208" y="1721715"/>
                </a:moveTo>
                <a:lnTo>
                  <a:pt x="4331224" y="1722043"/>
                </a:lnTo>
                <a:lnTo>
                  <a:pt x="4338494" y="1727294"/>
                </a:lnTo>
                <a:lnTo>
                  <a:pt x="4331224" y="1722043"/>
                </a:lnTo>
                <a:close/>
                <a:moveTo>
                  <a:pt x="6914355" y="1721068"/>
                </a:moveTo>
                <a:lnTo>
                  <a:pt x="6912510" y="1721501"/>
                </a:lnTo>
                <a:lnTo>
                  <a:pt x="6908061" y="1728322"/>
                </a:lnTo>
                <a:lnTo>
                  <a:pt x="6907084" y="1731571"/>
                </a:lnTo>
                <a:lnTo>
                  <a:pt x="6904805" y="1734602"/>
                </a:lnTo>
                <a:lnTo>
                  <a:pt x="6901984" y="1734818"/>
                </a:lnTo>
                <a:lnTo>
                  <a:pt x="6899054" y="1736767"/>
                </a:lnTo>
                <a:lnTo>
                  <a:pt x="6898077" y="1738933"/>
                </a:lnTo>
                <a:lnTo>
                  <a:pt x="6898309" y="1739454"/>
                </a:lnTo>
                <a:lnTo>
                  <a:pt x="6898837" y="1738285"/>
                </a:lnTo>
                <a:lnTo>
                  <a:pt x="6901767" y="1736336"/>
                </a:lnTo>
                <a:lnTo>
                  <a:pt x="6904480" y="1736336"/>
                </a:lnTo>
                <a:lnTo>
                  <a:pt x="6906758" y="1733304"/>
                </a:lnTo>
                <a:lnTo>
                  <a:pt x="6907735" y="1730056"/>
                </a:lnTo>
                <a:lnTo>
                  <a:pt x="6912184" y="1723235"/>
                </a:lnTo>
                <a:lnTo>
                  <a:pt x="6914029" y="1723235"/>
                </a:lnTo>
                <a:lnTo>
                  <a:pt x="6917827" y="1724209"/>
                </a:lnTo>
                <a:lnTo>
                  <a:pt x="6920757" y="1725400"/>
                </a:lnTo>
                <a:lnTo>
                  <a:pt x="6935950" y="1728107"/>
                </a:lnTo>
                <a:lnTo>
                  <a:pt x="6938228" y="1728865"/>
                </a:lnTo>
                <a:lnTo>
                  <a:pt x="6940941" y="1728865"/>
                </a:lnTo>
                <a:lnTo>
                  <a:pt x="6942894" y="1726483"/>
                </a:lnTo>
                <a:lnTo>
                  <a:pt x="6942660" y="1725201"/>
                </a:lnTo>
                <a:lnTo>
                  <a:pt x="6941375" y="1726698"/>
                </a:lnTo>
                <a:lnTo>
                  <a:pt x="6938662" y="1726698"/>
                </a:lnTo>
                <a:lnTo>
                  <a:pt x="6936383" y="1726049"/>
                </a:lnTo>
                <a:lnTo>
                  <a:pt x="6921082" y="1723234"/>
                </a:lnTo>
                <a:lnTo>
                  <a:pt x="6918153" y="1722043"/>
                </a:lnTo>
                <a:close/>
                <a:moveTo>
                  <a:pt x="4021342" y="1718021"/>
                </a:moveTo>
                <a:lnTo>
                  <a:pt x="4021843" y="1718254"/>
                </a:lnTo>
                <a:lnTo>
                  <a:pt x="4021843" y="1718254"/>
                </a:lnTo>
                <a:close/>
                <a:moveTo>
                  <a:pt x="4293243" y="1717062"/>
                </a:moveTo>
                <a:lnTo>
                  <a:pt x="4291921" y="1718444"/>
                </a:lnTo>
                <a:lnTo>
                  <a:pt x="4293243" y="1717062"/>
                </a:lnTo>
                <a:close/>
                <a:moveTo>
                  <a:pt x="4805225" y="1716522"/>
                </a:moveTo>
                <a:lnTo>
                  <a:pt x="4801644" y="1720096"/>
                </a:lnTo>
                <a:lnTo>
                  <a:pt x="4795056" y="1718820"/>
                </a:lnTo>
                <a:lnTo>
                  <a:pt x="4796652" y="1719770"/>
                </a:lnTo>
                <a:lnTo>
                  <a:pt x="4803923" y="1721178"/>
                </a:lnTo>
                <a:lnTo>
                  <a:pt x="4806138" y="1718967"/>
                </a:lnTo>
                <a:close/>
                <a:moveTo>
                  <a:pt x="5941828" y="1715872"/>
                </a:moveTo>
                <a:lnTo>
                  <a:pt x="5943673" y="1718686"/>
                </a:lnTo>
                <a:lnTo>
                  <a:pt x="5941829" y="1715872"/>
                </a:lnTo>
                <a:close/>
                <a:moveTo>
                  <a:pt x="7243812" y="1715222"/>
                </a:moveTo>
                <a:lnTo>
                  <a:pt x="7246200" y="1717495"/>
                </a:lnTo>
                <a:lnTo>
                  <a:pt x="7248804" y="1718362"/>
                </a:lnTo>
                <a:lnTo>
                  <a:pt x="7252276" y="1717495"/>
                </a:lnTo>
                <a:lnTo>
                  <a:pt x="7253688" y="1717495"/>
                </a:lnTo>
                <a:lnTo>
                  <a:pt x="7252602" y="1722693"/>
                </a:lnTo>
                <a:lnTo>
                  <a:pt x="7246742" y="1728215"/>
                </a:lnTo>
                <a:lnTo>
                  <a:pt x="7244680" y="1729297"/>
                </a:lnTo>
                <a:lnTo>
                  <a:pt x="7242619" y="1740774"/>
                </a:lnTo>
                <a:cubicBezTo>
                  <a:pt x="7242619" y="1740774"/>
                  <a:pt x="7242619" y="1747487"/>
                  <a:pt x="7242619" y="1747487"/>
                </a:cubicBezTo>
                <a:lnTo>
                  <a:pt x="7238278" y="1742506"/>
                </a:lnTo>
                <a:lnTo>
                  <a:pt x="7237301" y="1739583"/>
                </a:lnTo>
                <a:lnTo>
                  <a:pt x="7239471" y="1734603"/>
                </a:lnTo>
                <a:lnTo>
                  <a:pt x="7240340" y="1727565"/>
                </a:lnTo>
                <a:lnTo>
                  <a:pt x="7241534" y="1722585"/>
                </a:lnTo>
                <a:lnTo>
                  <a:pt x="7242401" y="1716954"/>
                </a:lnTo>
                <a:close/>
                <a:moveTo>
                  <a:pt x="4788188" y="1714898"/>
                </a:moveTo>
                <a:lnTo>
                  <a:pt x="4783371" y="1715699"/>
                </a:lnTo>
                <a:lnTo>
                  <a:pt x="4785258" y="1716847"/>
                </a:lnTo>
                <a:lnTo>
                  <a:pt x="4790196" y="1716128"/>
                </a:lnTo>
                <a:close/>
                <a:moveTo>
                  <a:pt x="6941300" y="1714722"/>
                </a:moveTo>
                <a:lnTo>
                  <a:pt x="6940832" y="1715655"/>
                </a:lnTo>
                <a:lnTo>
                  <a:pt x="6941043" y="1717268"/>
                </a:lnTo>
                <a:lnTo>
                  <a:pt x="6941701" y="1715872"/>
                </a:lnTo>
                <a:close/>
                <a:moveTo>
                  <a:pt x="4015657" y="1714356"/>
                </a:moveTo>
                <a:lnTo>
                  <a:pt x="4012728" y="1714464"/>
                </a:lnTo>
                <a:lnTo>
                  <a:pt x="4015658" y="1714356"/>
                </a:lnTo>
                <a:close/>
                <a:moveTo>
                  <a:pt x="4191781" y="1713923"/>
                </a:moveTo>
                <a:lnTo>
                  <a:pt x="4192106" y="1717496"/>
                </a:lnTo>
                <a:lnTo>
                  <a:pt x="4198401" y="1721285"/>
                </a:lnTo>
                <a:lnTo>
                  <a:pt x="4203392" y="1729080"/>
                </a:lnTo>
                <a:lnTo>
                  <a:pt x="4203392" y="1729080"/>
                </a:lnTo>
                <a:lnTo>
                  <a:pt x="4198401" y="1721284"/>
                </a:lnTo>
                <a:lnTo>
                  <a:pt x="4192106" y="1717495"/>
                </a:lnTo>
                <a:close/>
                <a:moveTo>
                  <a:pt x="5922903" y="1712563"/>
                </a:moveTo>
                <a:lnTo>
                  <a:pt x="5923055" y="1712840"/>
                </a:lnTo>
                <a:lnTo>
                  <a:pt x="5923055" y="1712839"/>
                </a:lnTo>
                <a:close/>
                <a:moveTo>
                  <a:pt x="4763555" y="1711217"/>
                </a:moveTo>
                <a:lnTo>
                  <a:pt x="4761545" y="1713222"/>
                </a:lnTo>
                <a:lnTo>
                  <a:pt x="4762578" y="1715331"/>
                </a:lnTo>
                <a:lnTo>
                  <a:pt x="4765833" y="1712083"/>
                </a:lnTo>
                <a:lnTo>
                  <a:pt x="4774406" y="1713923"/>
                </a:lnTo>
                <a:lnTo>
                  <a:pt x="4780280" y="1714123"/>
                </a:lnTo>
                <a:lnTo>
                  <a:pt x="4778530" y="1713058"/>
                </a:lnTo>
                <a:lnTo>
                  <a:pt x="4772127" y="1713058"/>
                </a:lnTo>
                <a:close/>
                <a:moveTo>
                  <a:pt x="4293026" y="1708292"/>
                </a:moveTo>
                <a:lnTo>
                  <a:pt x="4290747" y="1709808"/>
                </a:lnTo>
                <a:lnTo>
                  <a:pt x="4296282" y="1717062"/>
                </a:lnTo>
                <a:lnTo>
                  <a:pt x="4290748" y="1709808"/>
                </a:lnTo>
                <a:close/>
                <a:moveTo>
                  <a:pt x="5839582" y="1705657"/>
                </a:moveTo>
                <a:lnTo>
                  <a:pt x="5839062" y="1706020"/>
                </a:lnTo>
                <a:lnTo>
                  <a:pt x="5838194" y="1711541"/>
                </a:lnTo>
                <a:lnTo>
                  <a:pt x="5838520" y="1721718"/>
                </a:lnTo>
                <a:lnTo>
                  <a:pt x="5843187" y="1731138"/>
                </a:lnTo>
                <a:lnTo>
                  <a:pt x="5847744" y="1737201"/>
                </a:lnTo>
                <a:lnTo>
                  <a:pt x="5846984" y="1740449"/>
                </a:lnTo>
                <a:lnTo>
                  <a:pt x="5842454" y="1745544"/>
                </a:lnTo>
                <a:lnTo>
                  <a:pt x="5846985" y="1740449"/>
                </a:lnTo>
                <a:lnTo>
                  <a:pt x="5847745" y="1737200"/>
                </a:lnTo>
                <a:lnTo>
                  <a:pt x="5843187" y="1731137"/>
                </a:lnTo>
                <a:lnTo>
                  <a:pt x="5838521" y="1721718"/>
                </a:lnTo>
                <a:lnTo>
                  <a:pt x="5838195" y="1711540"/>
                </a:lnTo>
                <a:lnTo>
                  <a:pt x="5839064" y="1706018"/>
                </a:lnTo>
                <a:close/>
                <a:moveTo>
                  <a:pt x="5898314" y="1705586"/>
                </a:moveTo>
                <a:lnTo>
                  <a:pt x="5898314" y="1705586"/>
                </a:lnTo>
                <a:lnTo>
                  <a:pt x="5899155" y="1706615"/>
                </a:lnTo>
                <a:lnTo>
                  <a:pt x="5901677" y="1709700"/>
                </a:lnTo>
                <a:lnTo>
                  <a:pt x="5901786" y="1711324"/>
                </a:lnTo>
                <a:lnTo>
                  <a:pt x="5902979" y="1714896"/>
                </a:lnTo>
                <a:lnTo>
                  <a:pt x="5902980" y="1714897"/>
                </a:lnTo>
                <a:lnTo>
                  <a:pt x="5901787" y="1711325"/>
                </a:lnTo>
                <a:lnTo>
                  <a:pt x="5901678" y="1709701"/>
                </a:lnTo>
                <a:lnTo>
                  <a:pt x="5899155" y="1706615"/>
                </a:lnTo>
                <a:close/>
                <a:moveTo>
                  <a:pt x="3913001" y="1704720"/>
                </a:moveTo>
                <a:lnTo>
                  <a:pt x="3915280" y="1706452"/>
                </a:lnTo>
                <a:lnTo>
                  <a:pt x="3917667" y="1706236"/>
                </a:lnTo>
                <a:lnTo>
                  <a:pt x="3916148" y="1708834"/>
                </a:lnTo>
                <a:lnTo>
                  <a:pt x="3916148" y="1710567"/>
                </a:lnTo>
                <a:lnTo>
                  <a:pt x="3913001" y="1711108"/>
                </a:lnTo>
                <a:lnTo>
                  <a:pt x="3909746" y="1708726"/>
                </a:lnTo>
                <a:lnTo>
                  <a:pt x="3906599" y="1708077"/>
                </a:lnTo>
                <a:close/>
                <a:moveTo>
                  <a:pt x="2749703" y="1704071"/>
                </a:moveTo>
                <a:lnTo>
                  <a:pt x="2750571" y="1704396"/>
                </a:lnTo>
                <a:lnTo>
                  <a:pt x="2751222" y="1706995"/>
                </a:lnTo>
                <a:lnTo>
                  <a:pt x="2749269" y="1710350"/>
                </a:lnTo>
                <a:lnTo>
                  <a:pt x="2745797" y="1711975"/>
                </a:lnTo>
                <a:lnTo>
                  <a:pt x="2743735" y="1710567"/>
                </a:lnTo>
                <a:lnTo>
                  <a:pt x="2743952" y="1708618"/>
                </a:lnTo>
                <a:lnTo>
                  <a:pt x="2744820" y="1707536"/>
                </a:lnTo>
                <a:lnTo>
                  <a:pt x="2747316" y="1708510"/>
                </a:lnTo>
                <a:lnTo>
                  <a:pt x="2748943" y="1708077"/>
                </a:lnTo>
                <a:lnTo>
                  <a:pt x="2750028" y="1705479"/>
                </a:lnTo>
                <a:close/>
                <a:moveTo>
                  <a:pt x="2755237" y="1702879"/>
                </a:moveTo>
                <a:lnTo>
                  <a:pt x="2756865" y="1702879"/>
                </a:lnTo>
                <a:lnTo>
                  <a:pt x="2757841" y="1704179"/>
                </a:lnTo>
                <a:lnTo>
                  <a:pt x="2759035" y="1703312"/>
                </a:lnTo>
                <a:lnTo>
                  <a:pt x="2761422" y="1704936"/>
                </a:lnTo>
                <a:lnTo>
                  <a:pt x="2761422" y="1706885"/>
                </a:lnTo>
                <a:lnTo>
                  <a:pt x="2758709" y="1709051"/>
                </a:lnTo>
                <a:lnTo>
                  <a:pt x="2756214" y="1709051"/>
                </a:lnTo>
                <a:lnTo>
                  <a:pt x="2755237" y="1704179"/>
                </a:lnTo>
                <a:close/>
                <a:moveTo>
                  <a:pt x="6943458" y="1702700"/>
                </a:moveTo>
                <a:lnTo>
                  <a:pt x="6942352" y="1703961"/>
                </a:lnTo>
                <a:lnTo>
                  <a:pt x="6940290" y="1708726"/>
                </a:lnTo>
                <a:lnTo>
                  <a:pt x="6940529" y="1709872"/>
                </a:lnTo>
                <a:lnTo>
                  <a:pt x="6942243" y="1705912"/>
                </a:lnTo>
                <a:lnTo>
                  <a:pt x="6943763" y="1704180"/>
                </a:lnTo>
                <a:close/>
                <a:moveTo>
                  <a:pt x="6603781" y="1700714"/>
                </a:moveTo>
                <a:lnTo>
                  <a:pt x="6605950" y="1702986"/>
                </a:lnTo>
                <a:lnTo>
                  <a:pt x="6605951" y="1702987"/>
                </a:lnTo>
                <a:close/>
                <a:moveTo>
                  <a:pt x="6944726" y="1693612"/>
                </a:moveTo>
                <a:lnTo>
                  <a:pt x="6942352" y="1694759"/>
                </a:lnTo>
                <a:lnTo>
                  <a:pt x="6941701" y="1696166"/>
                </a:lnTo>
                <a:lnTo>
                  <a:pt x="6942146" y="1696918"/>
                </a:lnTo>
                <a:lnTo>
                  <a:pt x="6942243" y="1696709"/>
                </a:lnTo>
                <a:lnTo>
                  <a:pt x="6945499" y="1695085"/>
                </a:lnTo>
                <a:close/>
                <a:moveTo>
                  <a:pt x="4741526" y="1693460"/>
                </a:moveTo>
                <a:lnTo>
                  <a:pt x="4733387" y="1699632"/>
                </a:lnTo>
                <a:lnTo>
                  <a:pt x="4728178" y="1698658"/>
                </a:lnTo>
                <a:lnTo>
                  <a:pt x="4722644" y="1700174"/>
                </a:lnTo>
                <a:lnTo>
                  <a:pt x="4715915" y="1696601"/>
                </a:lnTo>
                <a:lnTo>
                  <a:pt x="4712059" y="1700930"/>
                </a:lnTo>
                <a:lnTo>
                  <a:pt x="4713962" y="1702772"/>
                </a:lnTo>
                <a:lnTo>
                  <a:pt x="4718303" y="1698008"/>
                </a:lnTo>
                <a:lnTo>
                  <a:pt x="4725032" y="1701580"/>
                </a:lnTo>
                <a:lnTo>
                  <a:pt x="4730458" y="1700065"/>
                </a:lnTo>
                <a:lnTo>
                  <a:pt x="4735666" y="1701039"/>
                </a:lnTo>
                <a:lnTo>
                  <a:pt x="4743805" y="1694868"/>
                </a:lnTo>
                <a:lnTo>
                  <a:pt x="4745857" y="1694634"/>
                </a:lnTo>
                <a:lnTo>
                  <a:pt x="4745324" y="1693460"/>
                </a:lnTo>
                <a:close/>
                <a:moveTo>
                  <a:pt x="4454093" y="1690656"/>
                </a:moveTo>
                <a:lnTo>
                  <a:pt x="4455258" y="1691402"/>
                </a:lnTo>
                <a:lnTo>
                  <a:pt x="4453196" y="1694001"/>
                </a:lnTo>
                <a:lnTo>
                  <a:pt x="4453848" y="1697790"/>
                </a:lnTo>
                <a:lnTo>
                  <a:pt x="4455584" y="1700713"/>
                </a:lnTo>
                <a:lnTo>
                  <a:pt x="4454281" y="1707751"/>
                </a:lnTo>
                <a:lnTo>
                  <a:pt x="4450375" y="1707968"/>
                </a:lnTo>
                <a:lnTo>
                  <a:pt x="4446685" y="1711757"/>
                </a:lnTo>
                <a:lnTo>
                  <a:pt x="4444624" y="1718903"/>
                </a:lnTo>
                <a:lnTo>
                  <a:pt x="4429974" y="1735251"/>
                </a:lnTo>
                <a:lnTo>
                  <a:pt x="4431059" y="1741856"/>
                </a:lnTo>
                <a:lnTo>
                  <a:pt x="4430733" y="1749002"/>
                </a:lnTo>
                <a:lnTo>
                  <a:pt x="4425529" y="1748677"/>
                </a:lnTo>
                <a:lnTo>
                  <a:pt x="4425535" y="1748679"/>
                </a:lnTo>
                <a:lnTo>
                  <a:pt x="4430734" y="1749003"/>
                </a:lnTo>
                <a:lnTo>
                  <a:pt x="4426177" y="1748786"/>
                </a:lnTo>
                <a:lnTo>
                  <a:pt x="4421185" y="1759179"/>
                </a:lnTo>
                <a:lnTo>
                  <a:pt x="4420208" y="1767299"/>
                </a:lnTo>
                <a:lnTo>
                  <a:pt x="4420196" y="1767307"/>
                </a:lnTo>
                <a:lnTo>
                  <a:pt x="4420208" y="1767300"/>
                </a:lnTo>
                <a:lnTo>
                  <a:pt x="4420172" y="1767323"/>
                </a:lnTo>
                <a:lnTo>
                  <a:pt x="4420209" y="1767301"/>
                </a:lnTo>
                <a:lnTo>
                  <a:pt x="4421186" y="1759181"/>
                </a:lnTo>
                <a:lnTo>
                  <a:pt x="4426177" y="1748787"/>
                </a:lnTo>
                <a:lnTo>
                  <a:pt x="4430735" y="1749003"/>
                </a:lnTo>
                <a:lnTo>
                  <a:pt x="4431060" y="1741857"/>
                </a:lnTo>
                <a:lnTo>
                  <a:pt x="4429975" y="1735253"/>
                </a:lnTo>
                <a:lnTo>
                  <a:pt x="4444625" y="1718904"/>
                </a:lnTo>
                <a:lnTo>
                  <a:pt x="4446687" y="1711758"/>
                </a:lnTo>
                <a:lnTo>
                  <a:pt x="4450376" y="1707968"/>
                </a:lnTo>
                <a:lnTo>
                  <a:pt x="4454283" y="1707752"/>
                </a:lnTo>
                <a:lnTo>
                  <a:pt x="4455585" y="1700715"/>
                </a:lnTo>
                <a:lnTo>
                  <a:pt x="4453849" y="1697791"/>
                </a:lnTo>
                <a:lnTo>
                  <a:pt x="4453198" y="1694002"/>
                </a:lnTo>
                <a:lnTo>
                  <a:pt x="4455259" y="1691403"/>
                </a:lnTo>
                <a:close/>
                <a:moveTo>
                  <a:pt x="7135512" y="1690103"/>
                </a:moveTo>
                <a:lnTo>
                  <a:pt x="7140829" y="1690103"/>
                </a:lnTo>
                <a:lnTo>
                  <a:pt x="7142566" y="1693676"/>
                </a:lnTo>
                <a:lnTo>
                  <a:pt x="7150270" y="1700064"/>
                </a:lnTo>
                <a:lnTo>
                  <a:pt x="7156782" y="1701363"/>
                </a:lnTo>
                <a:lnTo>
                  <a:pt x="7160145" y="1707751"/>
                </a:lnTo>
                <a:lnTo>
                  <a:pt x="7170997" y="1718470"/>
                </a:lnTo>
                <a:lnTo>
                  <a:pt x="7176965" y="1722692"/>
                </a:lnTo>
                <a:lnTo>
                  <a:pt x="7178919" y="1726157"/>
                </a:lnTo>
                <a:lnTo>
                  <a:pt x="7183585" y="1727240"/>
                </a:lnTo>
                <a:lnTo>
                  <a:pt x="7187708" y="1731679"/>
                </a:lnTo>
                <a:lnTo>
                  <a:pt x="7194762" y="1735144"/>
                </a:lnTo>
                <a:lnTo>
                  <a:pt x="7200622" y="1735793"/>
                </a:lnTo>
                <a:lnTo>
                  <a:pt x="7205288" y="1740232"/>
                </a:lnTo>
                <a:lnTo>
                  <a:pt x="7208869" y="1739583"/>
                </a:lnTo>
                <a:lnTo>
                  <a:pt x="7210605" y="1740774"/>
                </a:lnTo>
                <a:lnTo>
                  <a:pt x="7216574" y="1739907"/>
                </a:lnTo>
                <a:lnTo>
                  <a:pt x="7224387" y="1734711"/>
                </a:lnTo>
                <a:lnTo>
                  <a:pt x="7228186" y="1729622"/>
                </a:lnTo>
                <a:lnTo>
                  <a:pt x="7229162" y="1725399"/>
                </a:lnTo>
                <a:lnTo>
                  <a:pt x="7230247" y="1723992"/>
                </a:lnTo>
                <a:lnTo>
                  <a:pt x="7231550" y="1725941"/>
                </a:lnTo>
                <a:lnTo>
                  <a:pt x="7231550" y="1729946"/>
                </a:lnTo>
                <a:lnTo>
                  <a:pt x="7229053" y="1737092"/>
                </a:lnTo>
                <a:lnTo>
                  <a:pt x="7229053" y="1743589"/>
                </a:lnTo>
                <a:lnTo>
                  <a:pt x="7230682" y="1745754"/>
                </a:lnTo>
                <a:lnTo>
                  <a:pt x="7236432" y="1749435"/>
                </a:lnTo>
                <a:lnTo>
                  <a:pt x="7240447" y="1754307"/>
                </a:lnTo>
                <a:lnTo>
                  <a:pt x="7240773" y="1757989"/>
                </a:lnTo>
                <a:lnTo>
                  <a:pt x="7240231" y="1760370"/>
                </a:lnTo>
                <a:lnTo>
                  <a:pt x="7243812" y="1760370"/>
                </a:lnTo>
                <a:lnTo>
                  <a:pt x="7246090" y="1756798"/>
                </a:lnTo>
                <a:lnTo>
                  <a:pt x="7249563" y="1753441"/>
                </a:lnTo>
                <a:lnTo>
                  <a:pt x="7252493" y="1753117"/>
                </a:lnTo>
                <a:lnTo>
                  <a:pt x="7250865" y="1756582"/>
                </a:lnTo>
                <a:lnTo>
                  <a:pt x="7248695" y="1757989"/>
                </a:lnTo>
                <a:lnTo>
                  <a:pt x="7248370" y="1762645"/>
                </a:lnTo>
                <a:lnTo>
                  <a:pt x="7245439" y="1764810"/>
                </a:lnTo>
                <a:lnTo>
                  <a:pt x="7241207" y="1766543"/>
                </a:lnTo>
                <a:lnTo>
                  <a:pt x="7240447" y="1770115"/>
                </a:lnTo>
                <a:lnTo>
                  <a:pt x="7238711" y="1772713"/>
                </a:lnTo>
                <a:lnTo>
                  <a:pt x="7235348" y="1772930"/>
                </a:lnTo>
                <a:lnTo>
                  <a:pt x="7233719" y="1771523"/>
                </a:lnTo>
                <a:lnTo>
                  <a:pt x="7230355" y="1774121"/>
                </a:lnTo>
                <a:lnTo>
                  <a:pt x="7230790" y="1776503"/>
                </a:lnTo>
                <a:lnTo>
                  <a:pt x="7224713" y="1776503"/>
                </a:lnTo>
                <a:lnTo>
                  <a:pt x="7220047" y="1775312"/>
                </a:lnTo>
                <a:lnTo>
                  <a:pt x="7216140" y="1776503"/>
                </a:lnTo>
                <a:lnTo>
                  <a:pt x="7209737" y="1785490"/>
                </a:lnTo>
                <a:lnTo>
                  <a:pt x="7207350" y="1795126"/>
                </a:lnTo>
                <a:lnTo>
                  <a:pt x="7206265" y="1803029"/>
                </a:lnTo>
                <a:lnTo>
                  <a:pt x="7207676" y="1808335"/>
                </a:lnTo>
                <a:lnTo>
                  <a:pt x="7206807" y="1812233"/>
                </a:lnTo>
                <a:lnTo>
                  <a:pt x="7207133" y="1815914"/>
                </a:lnTo>
                <a:lnTo>
                  <a:pt x="7203010" y="1814181"/>
                </a:lnTo>
                <a:lnTo>
                  <a:pt x="7200622" y="1810933"/>
                </a:lnTo>
                <a:lnTo>
                  <a:pt x="7193243" y="1808984"/>
                </a:lnTo>
                <a:lnTo>
                  <a:pt x="7185972" y="1805195"/>
                </a:lnTo>
                <a:lnTo>
                  <a:pt x="7179569" y="1799565"/>
                </a:lnTo>
                <a:lnTo>
                  <a:pt x="7175446" y="1794909"/>
                </a:lnTo>
                <a:lnTo>
                  <a:pt x="7171106" y="1795559"/>
                </a:lnTo>
                <a:lnTo>
                  <a:pt x="7167307" y="1794801"/>
                </a:lnTo>
                <a:lnTo>
                  <a:pt x="7165462" y="1792852"/>
                </a:lnTo>
                <a:lnTo>
                  <a:pt x="7161013" y="1792635"/>
                </a:lnTo>
                <a:lnTo>
                  <a:pt x="7155588" y="1796641"/>
                </a:lnTo>
                <a:lnTo>
                  <a:pt x="7149945" y="1804329"/>
                </a:lnTo>
                <a:lnTo>
                  <a:pt x="7147557" y="1802813"/>
                </a:lnTo>
                <a:lnTo>
                  <a:pt x="7141480" y="1799024"/>
                </a:lnTo>
                <a:lnTo>
                  <a:pt x="7138225" y="1799349"/>
                </a:lnTo>
                <a:lnTo>
                  <a:pt x="7135078" y="1802163"/>
                </a:lnTo>
                <a:lnTo>
                  <a:pt x="7135078" y="1806819"/>
                </a:lnTo>
                <a:lnTo>
                  <a:pt x="7136706" y="1810608"/>
                </a:lnTo>
                <a:lnTo>
                  <a:pt x="7141698" y="1813315"/>
                </a:lnTo>
                <a:lnTo>
                  <a:pt x="7146906" y="1811908"/>
                </a:lnTo>
                <a:lnTo>
                  <a:pt x="7152875" y="1818620"/>
                </a:lnTo>
                <a:lnTo>
                  <a:pt x="7158083" y="1820028"/>
                </a:lnTo>
                <a:lnTo>
                  <a:pt x="7163509" y="1820028"/>
                </a:lnTo>
                <a:lnTo>
                  <a:pt x="7165462" y="1822735"/>
                </a:lnTo>
                <a:lnTo>
                  <a:pt x="7161881" y="1827607"/>
                </a:lnTo>
                <a:lnTo>
                  <a:pt x="7160579" y="1831072"/>
                </a:lnTo>
                <a:lnTo>
                  <a:pt x="7157324" y="1828473"/>
                </a:lnTo>
                <a:lnTo>
                  <a:pt x="7151030" y="1828040"/>
                </a:lnTo>
                <a:lnTo>
                  <a:pt x="7148534" y="1829773"/>
                </a:lnTo>
                <a:lnTo>
                  <a:pt x="7149077" y="1833237"/>
                </a:lnTo>
                <a:lnTo>
                  <a:pt x="7147341" y="1837243"/>
                </a:lnTo>
                <a:lnTo>
                  <a:pt x="7141806" y="1843631"/>
                </a:lnTo>
                <a:lnTo>
                  <a:pt x="7137791" y="1841141"/>
                </a:lnTo>
                <a:lnTo>
                  <a:pt x="7135838" y="1837243"/>
                </a:lnTo>
                <a:lnTo>
                  <a:pt x="7137356" y="1836161"/>
                </a:lnTo>
                <a:lnTo>
                  <a:pt x="7135838" y="1827607"/>
                </a:lnTo>
                <a:lnTo>
                  <a:pt x="7132908" y="1819487"/>
                </a:lnTo>
                <a:lnTo>
                  <a:pt x="7129327" y="1816130"/>
                </a:lnTo>
                <a:lnTo>
                  <a:pt x="7125202" y="1813315"/>
                </a:lnTo>
                <a:lnTo>
                  <a:pt x="7122382" y="1813207"/>
                </a:lnTo>
                <a:lnTo>
                  <a:pt x="7121839" y="1810067"/>
                </a:lnTo>
                <a:lnTo>
                  <a:pt x="7122273" y="1803571"/>
                </a:lnTo>
                <a:lnTo>
                  <a:pt x="7121079" y="1798807"/>
                </a:lnTo>
                <a:lnTo>
                  <a:pt x="7122816" y="1794909"/>
                </a:lnTo>
                <a:lnTo>
                  <a:pt x="7125638" y="1793394"/>
                </a:lnTo>
                <a:lnTo>
                  <a:pt x="7126397" y="1791228"/>
                </a:lnTo>
                <a:lnTo>
                  <a:pt x="7129544" y="1790686"/>
                </a:lnTo>
                <a:lnTo>
                  <a:pt x="7131605" y="1785923"/>
                </a:lnTo>
                <a:lnTo>
                  <a:pt x="7133341" y="1783541"/>
                </a:lnTo>
                <a:lnTo>
                  <a:pt x="7132799" y="1781484"/>
                </a:lnTo>
                <a:lnTo>
                  <a:pt x="7128024" y="1777911"/>
                </a:lnTo>
                <a:lnTo>
                  <a:pt x="7126179" y="1777586"/>
                </a:lnTo>
                <a:lnTo>
                  <a:pt x="7124769" y="1775853"/>
                </a:lnTo>
                <a:lnTo>
                  <a:pt x="7126505" y="1772280"/>
                </a:lnTo>
                <a:lnTo>
                  <a:pt x="7129977" y="1771523"/>
                </a:lnTo>
                <a:lnTo>
                  <a:pt x="7137465" y="1775637"/>
                </a:lnTo>
                <a:lnTo>
                  <a:pt x="7145495" y="1776936"/>
                </a:lnTo>
                <a:lnTo>
                  <a:pt x="7148208" y="1774771"/>
                </a:lnTo>
                <a:lnTo>
                  <a:pt x="7148534" y="1771198"/>
                </a:lnTo>
                <a:lnTo>
                  <a:pt x="7150054" y="1769682"/>
                </a:lnTo>
                <a:lnTo>
                  <a:pt x="7148534" y="1766217"/>
                </a:lnTo>
                <a:lnTo>
                  <a:pt x="7146364" y="1765027"/>
                </a:lnTo>
                <a:lnTo>
                  <a:pt x="7145495" y="1762753"/>
                </a:lnTo>
                <a:lnTo>
                  <a:pt x="7142891" y="1758422"/>
                </a:lnTo>
                <a:lnTo>
                  <a:pt x="7141480" y="1754091"/>
                </a:lnTo>
                <a:lnTo>
                  <a:pt x="7145061" y="1749976"/>
                </a:lnTo>
                <a:lnTo>
                  <a:pt x="7147124" y="1749652"/>
                </a:lnTo>
                <a:lnTo>
                  <a:pt x="7147557" y="1747703"/>
                </a:lnTo>
                <a:lnTo>
                  <a:pt x="7145821" y="1743047"/>
                </a:lnTo>
                <a:lnTo>
                  <a:pt x="7143434" y="1735793"/>
                </a:lnTo>
                <a:lnTo>
                  <a:pt x="7144302" y="1732545"/>
                </a:lnTo>
                <a:lnTo>
                  <a:pt x="7143759" y="1723558"/>
                </a:lnTo>
                <a:lnTo>
                  <a:pt x="7141806" y="1718145"/>
                </a:lnTo>
                <a:lnTo>
                  <a:pt x="7133558" y="1705369"/>
                </a:lnTo>
                <a:lnTo>
                  <a:pt x="7132257" y="1699631"/>
                </a:lnTo>
                <a:lnTo>
                  <a:pt x="7130195" y="1696599"/>
                </a:lnTo>
                <a:lnTo>
                  <a:pt x="7131388" y="1695083"/>
                </a:lnTo>
                <a:lnTo>
                  <a:pt x="7133558" y="1695083"/>
                </a:lnTo>
                <a:lnTo>
                  <a:pt x="7136054" y="1692160"/>
                </a:lnTo>
                <a:close/>
                <a:moveTo>
                  <a:pt x="4967783" y="1689671"/>
                </a:moveTo>
                <a:lnTo>
                  <a:pt x="4964311" y="1694110"/>
                </a:lnTo>
                <a:lnTo>
                  <a:pt x="4964311" y="1700174"/>
                </a:lnTo>
                <a:lnTo>
                  <a:pt x="4957908" y="1708077"/>
                </a:lnTo>
                <a:lnTo>
                  <a:pt x="4953242" y="1710351"/>
                </a:lnTo>
                <a:lnTo>
                  <a:pt x="4954435" y="1722044"/>
                </a:lnTo>
                <a:lnTo>
                  <a:pt x="4958016" y="1725617"/>
                </a:lnTo>
                <a:lnTo>
                  <a:pt x="4955955" y="1740450"/>
                </a:lnTo>
                <a:lnTo>
                  <a:pt x="4952374" y="1748679"/>
                </a:lnTo>
                <a:lnTo>
                  <a:pt x="4962249" y="1752468"/>
                </a:lnTo>
                <a:lnTo>
                  <a:pt x="4966372" y="1759181"/>
                </a:lnTo>
                <a:lnTo>
                  <a:pt x="4964853" y="1762754"/>
                </a:lnTo>
                <a:lnTo>
                  <a:pt x="4972558" y="1769250"/>
                </a:lnTo>
                <a:lnTo>
                  <a:pt x="4973900" y="1766794"/>
                </a:lnTo>
                <a:lnTo>
                  <a:pt x="4969952" y="1763511"/>
                </a:lnTo>
                <a:lnTo>
                  <a:pt x="4971581" y="1759830"/>
                </a:lnTo>
                <a:lnTo>
                  <a:pt x="4967457" y="1753225"/>
                </a:lnTo>
                <a:lnTo>
                  <a:pt x="4957582" y="1749436"/>
                </a:lnTo>
                <a:lnTo>
                  <a:pt x="4961163" y="1741099"/>
                </a:lnTo>
                <a:lnTo>
                  <a:pt x="4963333" y="1726374"/>
                </a:lnTo>
                <a:lnTo>
                  <a:pt x="4959644" y="1722801"/>
                </a:lnTo>
                <a:lnTo>
                  <a:pt x="4958450" y="1711000"/>
                </a:lnTo>
                <a:lnTo>
                  <a:pt x="4963116" y="1708834"/>
                </a:lnTo>
                <a:lnTo>
                  <a:pt x="4969410" y="1700931"/>
                </a:lnTo>
                <a:lnTo>
                  <a:pt x="4969410" y="1694867"/>
                </a:lnTo>
                <a:lnTo>
                  <a:pt x="4971117" y="1692685"/>
                </a:lnTo>
                <a:close/>
                <a:moveTo>
                  <a:pt x="5883354" y="1689146"/>
                </a:moveTo>
                <a:lnTo>
                  <a:pt x="5883555" y="1692051"/>
                </a:lnTo>
                <a:lnTo>
                  <a:pt x="5884640" y="1695083"/>
                </a:lnTo>
                <a:lnTo>
                  <a:pt x="5887049" y="1697278"/>
                </a:lnTo>
                <a:lnTo>
                  <a:pt x="5884641" y="1695084"/>
                </a:lnTo>
                <a:lnTo>
                  <a:pt x="5883556" y="1692053"/>
                </a:lnTo>
                <a:close/>
                <a:moveTo>
                  <a:pt x="4051468" y="1687288"/>
                </a:moveTo>
                <a:lnTo>
                  <a:pt x="4049166" y="1687444"/>
                </a:lnTo>
                <a:lnTo>
                  <a:pt x="4051468" y="1687289"/>
                </a:lnTo>
                <a:close/>
                <a:moveTo>
                  <a:pt x="2537661" y="1686747"/>
                </a:moveTo>
                <a:lnTo>
                  <a:pt x="2541892" y="1688479"/>
                </a:lnTo>
                <a:lnTo>
                  <a:pt x="2552961" y="1692269"/>
                </a:lnTo>
                <a:lnTo>
                  <a:pt x="2559255" y="1692810"/>
                </a:lnTo>
                <a:lnTo>
                  <a:pt x="2564898" y="1694975"/>
                </a:lnTo>
                <a:lnTo>
                  <a:pt x="2569456" y="1699956"/>
                </a:lnTo>
                <a:lnTo>
                  <a:pt x="2571518" y="1700281"/>
                </a:lnTo>
                <a:lnTo>
                  <a:pt x="2576943" y="1704287"/>
                </a:lnTo>
                <a:lnTo>
                  <a:pt x="2580742" y="1708834"/>
                </a:lnTo>
                <a:lnTo>
                  <a:pt x="2583888" y="1709808"/>
                </a:lnTo>
                <a:lnTo>
                  <a:pt x="2586384" y="1711865"/>
                </a:lnTo>
                <a:lnTo>
                  <a:pt x="2587578" y="1714139"/>
                </a:lnTo>
                <a:lnTo>
                  <a:pt x="2590291" y="1716629"/>
                </a:lnTo>
                <a:lnTo>
                  <a:pt x="2589748" y="1719444"/>
                </a:lnTo>
                <a:lnTo>
                  <a:pt x="2584105" y="1721285"/>
                </a:lnTo>
                <a:lnTo>
                  <a:pt x="2579656" y="1719444"/>
                </a:lnTo>
                <a:lnTo>
                  <a:pt x="2576401" y="1719011"/>
                </a:lnTo>
                <a:lnTo>
                  <a:pt x="2572819" y="1716196"/>
                </a:lnTo>
                <a:lnTo>
                  <a:pt x="2568153" y="1715114"/>
                </a:lnTo>
                <a:lnTo>
                  <a:pt x="2561425" y="1715114"/>
                </a:lnTo>
                <a:lnTo>
                  <a:pt x="2552310" y="1708401"/>
                </a:lnTo>
                <a:lnTo>
                  <a:pt x="2549815" y="1707968"/>
                </a:lnTo>
                <a:lnTo>
                  <a:pt x="2548512" y="1706019"/>
                </a:lnTo>
                <a:lnTo>
                  <a:pt x="2547535" y="1701688"/>
                </a:lnTo>
                <a:lnTo>
                  <a:pt x="2539614" y="1695733"/>
                </a:lnTo>
                <a:lnTo>
                  <a:pt x="2534948" y="1693568"/>
                </a:lnTo>
                <a:lnTo>
                  <a:pt x="2532886" y="1689345"/>
                </a:lnTo>
                <a:close/>
                <a:moveTo>
                  <a:pt x="5882037" y="1686423"/>
                </a:moveTo>
                <a:lnTo>
                  <a:pt x="5882037" y="1686423"/>
                </a:lnTo>
                <a:lnTo>
                  <a:pt x="5882500" y="1687309"/>
                </a:lnTo>
                <a:close/>
                <a:moveTo>
                  <a:pt x="5855158" y="1685804"/>
                </a:moveTo>
                <a:lnTo>
                  <a:pt x="5852193" y="1688913"/>
                </a:lnTo>
                <a:lnTo>
                  <a:pt x="5851976" y="1692702"/>
                </a:lnTo>
                <a:lnTo>
                  <a:pt x="5853387" y="1695192"/>
                </a:lnTo>
                <a:lnTo>
                  <a:pt x="5850927" y="1699557"/>
                </a:lnTo>
                <a:lnTo>
                  <a:pt x="5850458" y="1700388"/>
                </a:lnTo>
                <a:lnTo>
                  <a:pt x="5850458" y="1700388"/>
                </a:lnTo>
                <a:lnTo>
                  <a:pt x="5850927" y="1699557"/>
                </a:lnTo>
                <a:lnTo>
                  <a:pt x="5853388" y="1695192"/>
                </a:lnTo>
                <a:lnTo>
                  <a:pt x="5851977" y="1692701"/>
                </a:lnTo>
                <a:lnTo>
                  <a:pt x="5852194" y="1688912"/>
                </a:lnTo>
                <a:close/>
                <a:moveTo>
                  <a:pt x="5877139" y="1685108"/>
                </a:moveTo>
                <a:lnTo>
                  <a:pt x="5877587" y="1685555"/>
                </a:lnTo>
                <a:lnTo>
                  <a:pt x="5879323" y="1688587"/>
                </a:lnTo>
                <a:lnTo>
                  <a:pt x="5879324" y="1688587"/>
                </a:lnTo>
                <a:lnTo>
                  <a:pt x="5877588" y="1685556"/>
                </a:lnTo>
                <a:close/>
                <a:moveTo>
                  <a:pt x="4038217" y="1683921"/>
                </a:moveTo>
                <a:lnTo>
                  <a:pt x="4038663" y="1684366"/>
                </a:lnTo>
                <a:lnTo>
                  <a:pt x="4042895" y="1684366"/>
                </a:lnTo>
                <a:lnTo>
                  <a:pt x="4042895" y="1684365"/>
                </a:lnTo>
                <a:lnTo>
                  <a:pt x="4038663" y="1684365"/>
                </a:lnTo>
                <a:close/>
                <a:moveTo>
                  <a:pt x="4027811" y="1681442"/>
                </a:moveTo>
                <a:lnTo>
                  <a:pt x="4026509" y="1684907"/>
                </a:lnTo>
                <a:lnTo>
                  <a:pt x="4023037" y="1685231"/>
                </a:lnTo>
                <a:lnTo>
                  <a:pt x="4021952" y="1686855"/>
                </a:lnTo>
                <a:lnTo>
                  <a:pt x="4020469" y="1687144"/>
                </a:lnTo>
                <a:lnTo>
                  <a:pt x="4021952" y="1686856"/>
                </a:lnTo>
                <a:lnTo>
                  <a:pt x="4023037" y="1685231"/>
                </a:lnTo>
                <a:lnTo>
                  <a:pt x="4026509" y="1684907"/>
                </a:lnTo>
                <a:lnTo>
                  <a:pt x="4027812" y="1681442"/>
                </a:lnTo>
                <a:close/>
                <a:moveTo>
                  <a:pt x="6946150" y="1680871"/>
                </a:moveTo>
                <a:lnTo>
                  <a:pt x="6943871" y="1682523"/>
                </a:lnTo>
                <a:lnTo>
                  <a:pt x="6942894" y="1685664"/>
                </a:lnTo>
                <a:lnTo>
                  <a:pt x="6943232" y="1686181"/>
                </a:lnTo>
                <a:lnTo>
                  <a:pt x="6943763" y="1684474"/>
                </a:lnTo>
                <a:lnTo>
                  <a:pt x="6946150" y="1682742"/>
                </a:lnTo>
                <a:close/>
                <a:moveTo>
                  <a:pt x="3957276" y="1680034"/>
                </a:moveTo>
                <a:lnTo>
                  <a:pt x="3959555" y="1680034"/>
                </a:lnTo>
                <a:lnTo>
                  <a:pt x="3960965" y="1681766"/>
                </a:lnTo>
                <a:lnTo>
                  <a:pt x="3958470" y="1682416"/>
                </a:lnTo>
                <a:lnTo>
                  <a:pt x="3955648" y="1680900"/>
                </a:lnTo>
                <a:close/>
                <a:moveTo>
                  <a:pt x="5876018" y="1676865"/>
                </a:moveTo>
                <a:lnTo>
                  <a:pt x="5876393" y="1678735"/>
                </a:lnTo>
                <a:lnTo>
                  <a:pt x="5876176" y="1684148"/>
                </a:lnTo>
                <a:lnTo>
                  <a:pt x="5876177" y="1684149"/>
                </a:lnTo>
                <a:lnTo>
                  <a:pt x="5876394" y="1678735"/>
                </a:lnTo>
                <a:close/>
                <a:moveTo>
                  <a:pt x="4695902" y="1676139"/>
                </a:moveTo>
                <a:lnTo>
                  <a:pt x="4696057" y="1677328"/>
                </a:lnTo>
                <a:lnTo>
                  <a:pt x="4698119" y="1677679"/>
                </a:lnTo>
                <a:lnTo>
                  <a:pt x="4698119" y="1676462"/>
                </a:lnTo>
                <a:close/>
                <a:moveTo>
                  <a:pt x="4015875" y="1673213"/>
                </a:moveTo>
                <a:lnTo>
                  <a:pt x="4017720" y="1675703"/>
                </a:lnTo>
                <a:lnTo>
                  <a:pt x="4015333" y="1676353"/>
                </a:lnTo>
                <a:lnTo>
                  <a:pt x="4014465" y="1675161"/>
                </a:lnTo>
                <a:lnTo>
                  <a:pt x="4011752" y="1675053"/>
                </a:lnTo>
                <a:close/>
                <a:moveTo>
                  <a:pt x="6598939" y="1672167"/>
                </a:moveTo>
                <a:lnTo>
                  <a:pt x="6602804" y="1677003"/>
                </a:lnTo>
                <a:lnTo>
                  <a:pt x="6611702" y="1683390"/>
                </a:lnTo>
                <a:lnTo>
                  <a:pt x="6611702" y="1683390"/>
                </a:lnTo>
                <a:lnTo>
                  <a:pt x="6602804" y="1677002"/>
                </a:lnTo>
                <a:close/>
                <a:moveTo>
                  <a:pt x="5218457" y="1670724"/>
                </a:moveTo>
                <a:lnTo>
                  <a:pt x="5216394" y="1672131"/>
                </a:lnTo>
                <a:lnTo>
                  <a:pt x="5212665" y="1670922"/>
                </a:lnTo>
                <a:lnTo>
                  <a:pt x="5213138" y="1671481"/>
                </a:lnTo>
                <a:lnTo>
                  <a:pt x="5217371" y="1672888"/>
                </a:lnTo>
                <a:lnTo>
                  <a:pt x="5219541" y="1671481"/>
                </a:lnTo>
                <a:lnTo>
                  <a:pt x="5222796" y="1673430"/>
                </a:lnTo>
                <a:lnTo>
                  <a:pt x="5229783" y="1673113"/>
                </a:lnTo>
                <a:lnTo>
                  <a:pt x="5228983" y="1672673"/>
                </a:lnTo>
                <a:lnTo>
                  <a:pt x="5221712" y="1672673"/>
                </a:lnTo>
                <a:close/>
                <a:moveTo>
                  <a:pt x="4013814" y="1670181"/>
                </a:moveTo>
                <a:lnTo>
                  <a:pt x="4017177" y="1670289"/>
                </a:lnTo>
                <a:lnTo>
                  <a:pt x="4021518" y="1672022"/>
                </a:lnTo>
                <a:lnTo>
                  <a:pt x="4020650" y="1673213"/>
                </a:lnTo>
                <a:lnTo>
                  <a:pt x="4018263" y="1672672"/>
                </a:lnTo>
                <a:lnTo>
                  <a:pt x="4017503" y="1671264"/>
                </a:lnTo>
                <a:lnTo>
                  <a:pt x="4014573" y="1672239"/>
                </a:lnTo>
                <a:close/>
                <a:moveTo>
                  <a:pt x="2733968" y="1667691"/>
                </a:moveTo>
                <a:lnTo>
                  <a:pt x="2735595" y="1668124"/>
                </a:lnTo>
                <a:lnTo>
                  <a:pt x="2735595" y="1670615"/>
                </a:lnTo>
                <a:lnTo>
                  <a:pt x="2734076" y="1670722"/>
                </a:lnTo>
                <a:lnTo>
                  <a:pt x="2733208" y="1671589"/>
                </a:lnTo>
                <a:lnTo>
                  <a:pt x="2731906" y="1670939"/>
                </a:lnTo>
                <a:lnTo>
                  <a:pt x="2731798" y="1668340"/>
                </a:lnTo>
                <a:close/>
                <a:moveTo>
                  <a:pt x="7294381" y="1667150"/>
                </a:moveTo>
                <a:lnTo>
                  <a:pt x="7296008" y="1671805"/>
                </a:lnTo>
                <a:lnTo>
                  <a:pt x="7296334" y="1676570"/>
                </a:lnTo>
                <a:lnTo>
                  <a:pt x="7292536" y="1678952"/>
                </a:lnTo>
                <a:lnTo>
                  <a:pt x="7287219" y="1679493"/>
                </a:lnTo>
                <a:lnTo>
                  <a:pt x="7282552" y="1685123"/>
                </a:lnTo>
                <a:lnTo>
                  <a:pt x="7278971" y="1692160"/>
                </a:lnTo>
                <a:lnTo>
                  <a:pt x="7275715" y="1695300"/>
                </a:lnTo>
                <a:lnTo>
                  <a:pt x="7273219" y="1694217"/>
                </a:lnTo>
                <a:lnTo>
                  <a:pt x="7271049" y="1695950"/>
                </a:lnTo>
                <a:lnTo>
                  <a:pt x="7270723" y="1698549"/>
                </a:lnTo>
                <a:lnTo>
                  <a:pt x="7268445" y="1700606"/>
                </a:lnTo>
                <a:lnTo>
                  <a:pt x="7269205" y="1706777"/>
                </a:lnTo>
                <a:lnTo>
                  <a:pt x="7265949" y="1709700"/>
                </a:lnTo>
                <a:lnTo>
                  <a:pt x="7264538" y="1714789"/>
                </a:lnTo>
                <a:lnTo>
                  <a:pt x="7262150" y="1715764"/>
                </a:lnTo>
                <a:lnTo>
                  <a:pt x="7260957" y="1710458"/>
                </a:lnTo>
                <a:lnTo>
                  <a:pt x="7261825" y="1706777"/>
                </a:lnTo>
                <a:lnTo>
                  <a:pt x="7263779" y="1705153"/>
                </a:lnTo>
                <a:lnTo>
                  <a:pt x="7261500" y="1702771"/>
                </a:lnTo>
                <a:lnTo>
                  <a:pt x="7262043" y="1699956"/>
                </a:lnTo>
                <a:lnTo>
                  <a:pt x="7265840" y="1697899"/>
                </a:lnTo>
                <a:lnTo>
                  <a:pt x="7267143" y="1693243"/>
                </a:lnTo>
                <a:lnTo>
                  <a:pt x="7266709" y="1690537"/>
                </a:lnTo>
                <a:lnTo>
                  <a:pt x="7268879" y="1690645"/>
                </a:lnTo>
                <a:lnTo>
                  <a:pt x="7271700" y="1685772"/>
                </a:lnTo>
                <a:lnTo>
                  <a:pt x="7273545" y="1682633"/>
                </a:lnTo>
                <a:lnTo>
                  <a:pt x="7272026" y="1680034"/>
                </a:lnTo>
                <a:lnTo>
                  <a:pt x="7273654" y="1676028"/>
                </a:lnTo>
                <a:lnTo>
                  <a:pt x="7274739" y="1675487"/>
                </a:lnTo>
                <a:lnTo>
                  <a:pt x="7276475" y="1679060"/>
                </a:lnTo>
                <a:lnTo>
                  <a:pt x="7278971" y="1680034"/>
                </a:lnTo>
                <a:lnTo>
                  <a:pt x="7282336" y="1677760"/>
                </a:lnTo>
                <a:lnTo>
                  <a:pt x="7285265" y="1677436"/>
                </a:lnTo>
                <a:lnTo>
                  <a:pt x="7286242" y="1673754"/>
                </a:lnTo>
                <a:lnTo>
                  <a:pt x="7291342" y="1668016"/>
                </a:lnTo>
                <a:close/>
                <a:moveTo>
                  <a:pt x="4065576" y="1666934"/>
                </a:moveTo>
                <a:lnTo>
                  <a:pt x="4065575" y="1666934"/>
                </a:lnTo>
                <a:lnTo>
                  <a:pt x="4062645" y="1671698"/>
                </a:lnTo>
                <a:lnTo>
                  <a:pt x="4059606" y="1675488"/>
                </a:lnTo>
                <a:lnTo>
                  <a:pt x="4061017" y="1682417"/>
                </a:lnTo>
                <a:lnTo>
                  <a:pt x="4059389" y="1690320"/>
                </a:lnTo>
                <a:lnTo>
                  <a:pt x="4057436" y="1695517"/>
                </a:lnTo>
                <a:lnTo>
                  <a:pt x="4056555" y="1695263"/>
                </a:lnTo>
                <a:lnTo>
                  <a:pt x="4057437" y="1695517"/>
                </a:lnTo>
                <a:lnTo>
                  <a:pt x="4057979" y="1695734"/>
                </a:lnTo>
                <a:lnTo>
                  <a:pt x="4056460" y="1699199"/>
                </a:lnTo>
                <a:lnTo>
                  <a:pt x="4060041" y="1706561"/>
                </a:lnTo>
                <a:lnTo>
                  <a:pt x="4059932" y="1709484"/>
                </a:lnTo>
                <a:lnTo>
                  <a:pt x="4062862" y="1713923"/>
                </a:lnTo>
                <a:lnTo>
                  <a:pt x="4060042" y="1720527"/>
                </a:lnTo>
                <a:lnTo>
                  <a:pt x="4062863" y="1713923"/>
                </a:lnTo>
                <a:lnTo>
                  <a:pt x="4059933" y="1709484"/>
                </a:lnTo>
                <a:lnTo>
                  <a:pt x="4060042" y="1706560"/>
                </a:lnTo>
                <a:lnTo>
                  <a:pt x="4056461" y="1699198"/>
                </a:lnTo>
                <a:lnTo>
                  <a:pt x="4057980" y="1695733"/>
                </a:lnTo>
                <a:lnTo>
                  <a:pt x="4057438" y="1695517"/>
                </a:lnTo>
                <a:lnTo>
                  <a:pt x="4059391" y="1690319"/>
                </a:lnTo>
                <a:lnTo>
                  <a:pt x="4061019" y="1682415"/>
                </a:lnTo>
                <a:lnTo>
                  <a:pt x="4059608" y="1675486"/>
                </a:lnTo>
                <a:lnTo>
                  <a:pt x="4062646" y="1671697"/>
                </a:lnTo>
                <a:close/>
                <a:moveTo>
                  <a:pt x="4688136" y="1666718"/>
                </a:moveTo>
                <a:lnTo>
                  <a:pt x="4675933" y="1668414"/>
                </a:lnTo>
                <a:lnTo>
                  <a:pt x="4677284" y="1670182"/>
                </a:lnTo>
                <a:lnTo>
                  <a:pt x="4690022" y="1668307"/>
                </a:lnTo>
                <a:close/>
                <a:moveTo>
                  <a:pt x="4574628" y="1665417"/>
                </a:moveTo>
                <a:lnTo>
                  <a:pt x="4569637" y="1665634"/>
                </a:lnTo>
                <a:lnTo>
                  <a:pt x="4569636" y="1665635"/>
                </a:lnTo>
                <a:lnTo>
                  <a:pt x="4574628" y="1665419"/>
                </a:lnTo>
                <a:lnTo>
                  <a:pt x="4578751" y="1668017"/>
                </a:lnTo>
                <a:lnTo>
                  <a:pt x="4585588" y="1665960"/>
                </a:lnTo>
                <a:lnTo>
                  <a:pt x="4589712" y="1669641"/>
                </a:lnTo>
                <a:lnTo>
                  <a:pt x="4594920" y="1668883"/>
                </a:lnTo>
                <a:lnTo>
                  <a:pt x="4594920" y="1668882"/>
                </a:lnTo>
                <a:lnTo>
                  <a:pt x="4589712" y="1669640"/>
                </a:lnTo>
                <a:lnTo>
                  <a:pt x="4585589" y="1665958"/>
                </a:lnTo>
                <a:lnTo>
                  <a:pt x="4578752" y="1668016"/>
                </a:lnTo>
                <a:close/>
                <a:moveTo>
                  <a:pt x="5247539" y="1664444"/>
                </a:moveTo>
                <a:lnTo>
                  <a:pt x="5245152" y="1666718"/>
                </a:lnTo>
                <a:lnTo>
                  <a:pt x="5245152" y="1671374"/>
                </a:lnTo>
                <a:lnTo>
                  <a:pt x="5242764" y="1676354"/>
                </a:lnTo>
                <a:lnTo>
                  <a:pt x="5237724" y="1677277"/>
                </a:lnTo>
                <a:lnTo>
                  <a:pt x="5238423" y="1677653"/>
                </a:lnTo>
                <a:lnTo>
                  <a:pt x="5243741" y="1676678"/>
                </a:lnTo>
                <a:lnTo>
                  <a:pt x="5246236" y="1671698"/>
                </a:lnTo>
                <a:lnTo>
                  <a:pt x="5246562" y="1667042"/>
                </a:lnTo>
                <a:lnTo>
                  <a:pt x="5248612" y="1665089"/>
                </a:lnTo>
                <a:close/>
                <a:moveTo>
                  <a:pt x="4553793" y="1664334"/>
                </a:moveTo>
                <a:lnTo>
                  <a:pt x="4546305" y="1668882"/>
                </a:lnTo>
                <a:lnTo>
                  <a:pt x="4543050" y="1667366"/>
                </a:lnTo>
                <a:lnTo>
                  <a:pt x="4535779" y="1666391"/>
                </a:lnTo>
                <a:lnTo>
                  <a:pt x="4533744" y="1668423"/>
                </a:lnTo>
                <a:lnTo>
                  <a:pt x="4535779" y="1666393"/>
                </a:lnTo>
                <a:lnTo>
                  <a:pt x="4543049" y="1667367"/>
                </a:lnTo>
                <a:lnTo>
                  <a:pt x="4546305" y="1668883"/>
                </a:lnTo>
                <a:lnTo>
                  <a:pt x="4553793" y="1664336"/>
                </a:lnTo>
                <a:lnTo>
                  <a:pt x="4560303" y="1665201"/>
                </a:lnTo>
                <a:lnTo>
                  <a:pt x="4561280" y="1669749"/>
                </a:lnTo>
                <a:lnTo>
                  <a:pt x="4565187" y="1671048"/>
                </a:lnTo>
                <a:lnTo>
                  <a:pt x="4565187" y="1671048"/>
                </a:lnTo>
                <a:lnTo>
                  <a:pt x="4561280" y="1669748"/>
                </a:lnTo>
                <a:lnTo>
                  <a:pt x="4560304" y="1665201"/>
                </a:lnTo>
                <a:close/>
                <a:moveTo>
                  <a:pt x="5272997" y="1663932"/>
                </a:moveTo>
                <a:lnTo>
                  <a:pt x="5269785" y="1666826"/>
                </a:lnTo>
                <a:lnTo>
                  <a:pt x="5261646" y="1669533"/>
                </a:lnTo>
                <a:lnTo>
                  <a:pt x="5255758" y="1668964"/>
                </a:lnTo>
                <a:lnTo>
                  <a:pt x="5256328" y="1669315"/>
                </a:lnTo>
                <a:lnTo>
                  <a:pt x="5263056" y="1669965"/>
                </a:lnTo>
                <a:lnTo>
                  <a:pt x="5271195" y="1667259"/>
                </a:lnTo>
                <a:close/>
                <a:moveTo>
                  <a:pt x="6945345" y="1663834"/>
                </a:moveTo>
                <a:lnTo>
                  <a:pt x="6945391" y="1664226"/>
                </a:lnTo>
                <a:lnTo>
                  <a:pt x="6944305" y="1665200"/>
                </a:lnTo>
                <a:lnTo>
                  <a:pt x="6942786" y="1665850"/>
                </a:lnTo>
                <a:lnTo>
                  <a:pt x="6943003" y="1669609"/>
                </a:lnTo>
                <a:lnTo>
                  <a:pt x="6943003" y="1667801"/>
                </a:lnTo>
                <a:lnTo>
                  <a:pt x="6944522" y="1667151"/>
                </a:lnTo>
                <a:lnTo>
                  <a:pt x="6945608" y="1666068"/>
                </a:lnTo>
                <a:lnTo>
                  <a:pt x="6945608" y="1664228"/>
                </a:lnTo>
                <a:close/>
                <a:moveTo>
                  <a:pt x="6944218" y="1659684"/>
                </a:moveTo>
                <a:lnTo>
                  <a:pt x="6944088" y="1660761"/>
                </a:lnTo>
                <a:lnTo>
                  <a:pt x="6944522" y="1661411"/>
                </a:lnTo>
                <a:lnTo>
                  <a:pt x="6944522" y="1659897"/>
                </a:lnTo>
                <a:close/>
                <a:moveTo>
                  <a:pt x="4081053" y="1658712"/>
                </a:moveTo>
                <a:lnTo>
                  <a:pt x="4078814" y="1660330"/>
                </a:lnTo>
                <a:lnTo>
                  <a:pt x="4081418" y="1664768"/>
                </a:lnTo>
                <a:lnTo>
                  <a:pt x="4077947" y="1666717"/>
                </a:lnTo>
                <a:lnTo>
                  <a:pt x="4081419" y="1664768"/>
                </a:lnTo>
                <a:lnTo>
                  <a:pt x="4078815" y="1660329"/>
                </a:lnTo>
                <a:close/>
                <a:moveTo>
                  <a:pt x="5167236" y="1658381"/>
                </a:moveTo>
                <a:lnTo>
                  <a:pt x="5163439" y="1659572"/>
                </a:lnTo>
                <a:lnTo>
                  <a:pt x="5163439" y="1664011"/>
                </a:lnTo>
                <a:lnTo>
                  <a:pt x="5158447" y="1664011"/>
                </a:lnTo>
                <a:lnTo>
                  <a:pt x="5158447" y="1672889"/>
                </a:lnTo>
                <a:lnTo>
                  <a:pt x="5152587" y="1677328"/>
                </a:lnTo>
                <a:lnTo>
                  <a:pt x="5148789" y="1675813"/>
                </a:lnTo>
                <a:lnTo>
                  <a:pt x="5146076" y="1671374"/>
                </a:lnTo>
                <a:lnTo>
                  <a:pt x="5136961" y="1669966"/>
                </a:lnTo>
                <a:lnTo>
                  <a:pt x="5133705" y="1665311"/>
                </a:lnTo>
                <a:lnTo>
                  <a:pt x="5129038" y="1668017"/>
                </a:lnTo>
                <a:lnTo>
                  <a:pt x="5129038" y="1674080"/>
                </a:lnTo>
                <a:lnTo>
                  <a:pt x="5125892" y="1678736"/>
                </a:lnTo>
                <a:lnTo>
                  <a:pt x="5123783" y="1678063"/>
                </a:lnTo>
                <a:lnTo>
                  <a:pt x="5123830" y="1678843"/>
                </a:lnTo>
                <a:lnTo>
                  <a:pt x="5126651" y="1679818"/>
                </a:lnTo>
                <a:lnTo>
                  <a:pt x="5129689" y="1675162"/>
                </a:lnTo>
                <a:lnTo>
                  <a:pt x="5129255" y="1669099"/>
                </a:lnTo>
                <a:lnTo>
                  <a:pt x="5133812" y="1666392"/>
                </a:lnTo>
                <a:lnTo>
                  <a:pt x="5137177" y="1670939"/>
                </a:lnTo>
                <a:lnTo>
                  <a:pt x="5146292" y="1672347"/>
                </a:lnTo>
                <a:lnTo>
                  <a:pt x="5149005" y="1676894"/>
                </a:lnTo>
                <a:lnTo>
                  <a:pt x="5152803" y="1678410"/>
                </a:lnTo>
                <a:lnTo>
                  <a:pt x="5158663" y="1673863"/>
                </a:lnTo>
                <a:lnTo>
                  <a:pt x="5159205" y="1664985"/>
                </a:lnTo>
                <a:lnTo>
                  <a:pt x="5164198" y="1664443"/>
                </a:lnTo>
                <a:lnTo>
                  <a:pt x="5164523" y="1660004"/>
                </a:lnTo>
                <a:lnTo>
                  <a:pt x="5167710" y="1659005"/>
                </a:lnTo>
                <a:close/>
                <a:moveTo>
                  <a:pt x="5177546" y="1657190"/>
                </a:moveTo>
                <a:lnTo>
                  <a:pt x="5172011" y="1658056"/>
                </a:lnTo>
                <a:lnTo>
                  <a:pt x="5170260" y="1661367"/>
                </a:lnTo>
                <a:lnTo>
                  <a:pt x="5171034" y="1662386"/>
                </a:lnTo>
                <a:lnTo>
                  <a:pt x="5173095" y="1658488"/>
                </a:lnTo>
                <a:lnTo>
                  <a:pt x="5178098" y="1657706"/>
                </a:lnTo>
                <a:close/>
                <a:moveTo>
                  <a:pt x="4488792" y="1657081"/>
                </a:moveTo>
                <a:lnTo>
                  <a:pt x="4488791" y="1657081"/>
                </a:lnTo>
                <a:lnTo>
                  <a:pt x="4491721" y="1657189"/>
                </a:lnTo>
                <a:lnTo>
                  <a:pt x="4497581" y="1660546"/>
                </a:lnTo>
                <a:lnTo>
                  <a:pt x="4511363" y="1662603"/>
                </a:lnTo>
                <a:lnTo>
                  <a:pt x="4517222" y="1665527"/>
                </a:lnTo>
                <a:lnTo>
                  <a:pt x="4518199" y="1668233"/>
                </a:lnTo>
                <a:lnTo>
                  <a:pt x="4526555" y="1664985"/>
                </a:lnTo>
                <a:lnTo>
                  <a:pt x="4530461" y="1668558"/>
                </a:lnTo>
                <a:lnTo>
                  <a:pt x="4533717" y="1668450"/>
                </a:lnTo>
                <a:lnTo>
                  <a:pt x="4533718" y="1668449"/>
                </a:lnTo>
                <a:lnTo>
                  <a:pt x="4530462" y="1668557"/>
                </a:lnTo>
                <a:lnTo>
                  <a:pt x="4526555" y="1664984"/>
                </a:lnTo>
                <a:lnTo>
                  <a:pt x="4518199" y="1668232"/>
                </a:lnTo>
                <a:lnTo>
                  <a:pt x="4517223" y="1665526"/>
                </a:lnTo>
                <a:lnTo>
                  <a:pt x="4511363" y="1662603"/>
                </a:lnTo>
                <a:lnTo>
                  <a:pt x="4497581" y="1660545"/>
                </a:lnTo>
                <a:lnTo>
                  <a:pt x="4491722" y="1657189"/>
                </a:lnTo>
                <a:close/>
                <a:moveTo>
                  <a:pt x="5203373" y="1655241"/>
                </a:moveTo>
                <a:lnTo>
                  <a:pt x="5200768" y="1658489"/>
                </a:lnTo>
                <a:lnTo>
                  <a:pt x="5195451" y="1658489"/>
                </a:lnTo>
                <a:lnTo>
                  <a:pt x="5191653" y="1659680"/>
                </a:lnTo>
                <a:lnTo>
                  <a:pt x="5192521" y="1665527"/>
                </a:lnTo>
                <a:lnTo>
                  <a:pt x="5186673" y="1666092"/>
                </a:lnTo>
                <a:lnTo>
                  <a:pt x="5186878" y="1666501"/>
                </a:lnTo>
                <a:lnTo>
                  <a:pt x="5193605" y="1665851"/>
                </a:lnTo>
                <a:lnTo>
                  <a:pt x="5192846" y="1660004"/>
                </a:lnTo>
                <a:lnTo>
                  <a:pt x="5196535" y="1658813"/>
                </a:lnTo>
                <a:lnTo>
                  <a:pt x="5201961" y="1659247"/>
                </a:lnTo>
                <a:lnTo>
                  <a:pt x="5204457" y="1655998"/>
                </a:lnTo>
                <a:lnTo>
                  <a:pt x="5210209" y="1659139"/>
                </a:lnTo>
                <a:lnTo>
                  <a:pt x="5212427" y="1660245"/>
                </a:lnTo>
                <a:lnTo>
                  <a:pt x="5212488" y="1660113"/>
                </a:lnTo>
                <a:lnTo>
                  <a:pt x="5209016" y="1658381"/>
                </a:lnTo>
                <a:close/>
                <a:moveTo>
                  <a:pt x="5093330" y="1651658"/>
                </a:moveTo>
                <a:lnTo>
                  <a:pt x="5094530" y="1653508"/>
                </a:lnTo>
                <a:lnTo>
                  <a:pt x="5097351" y="1653617"/>
                </a:lnTo>
                <a:lnTo>
                  <a:pt x="5102126" y="1659788"/>
                </a:lnTo>
                <a:lnTo>
                  <a:pt x="5107334" y="1659788"/>
                </a:lnTo>
                <a:lnTo>
                  <a:pt x="5111132" y="1664768"/>
                </a:lnTo>
                <a:lnTo>
                  <a:pt x="5117861" y="1669749"/>
                </a:lnTo>
                <a:lnTo>
                  <a:pt x="5121659" y="1670182"/>
                </a:lnTo>
                <a:lnTo>
                  <a:pt x="5123179" y="1672858"/>
                </a:lnTo>
                <a:lnTo>
                  <a:pt x="5123179" y="1672348"/>
                </a:lnTo>
                <a:lnTo>
                  <a:pt x="5121334" y="1669099"/>
                </a:lnTo>
                <a:lnTo>
                  <a:pt x="5117536" y="1669099"/>
                </a:lnTo>
                <a:lnTo>
                  <a:pt x="5110808" y="1664119"/>
                </a:lnTo>
                <a:lnTo>
                  <a:pt x="5107010" y="1659139"/>
                </a:lnTo>
                <a:lnTo>
                  <a:pt x="5101801" y="1659139"/>
                </a:lnTo>
                <a:lnTo>
                  <a:pt x="5096918" y="1652968"/>
                </a:lnTo>
                <a:lnTo>
                  <a:pt x="5094205" y="1652968"/>
                </a:lnTo>
                <a:close/>
                <a:moveTo>
                  <a:pt x="5022475" y="1651126"/>
                </a:moveTo>
                <a:lnTo>
                  <a:pt x="5018894" y="1653942"/>
                </a:lnTo>
                <a:lnTo>
                  <a:pt x="5016615" y="1660330"/>
                </a:lnTo>
                <a:lnTo>
                  <a:pt x="5013360" y="1660330"/>
                </a:lnTo>
                <a:lnTo>
                  <a:pt x="5006306" y="1664769"/>
                </a:lnTo>
                <a:lnTo>
                  <a:pt x="5004787" y="1670291"/>
                </a:lnTo>
                <a:lnTo>
                  <a:pt x="5008260" y="1674621"/>
                </a:lnTo>
                <a:lnTo>
                  <a:pt x="5008260" y="1679711"/>
                </a:lnTo>
                <a:lnTo>
                  <a:pt x="5000555" y="1679711"/>
                </a:lnTo>
                <a:lnTo>
                  <a:pt x="4993176" y="1680576"/>
                </a:lnTo>
                <a:lnTo>
                  <a:pt x="4998710" y="1699632"/>
                </a:lnTo>
                <a:lnTo>
                  <a:pt x="4995780" y="1702014"/>
                </a:lnTo>
                <a:lnTo>
                  <a:pt x="4996648" y="1709268"/>
                </a:lnTo>
                <a:lnTo>
                  <a:pt x="4992737" y="1709613"/>
                </a:lnTo>
                <a:lnTo>
                  <a:pt x="4994477" y="1710675"/>
                </a:lnTo>
                <a:lnTo>
                  <a:pt x="5001856" y="1710026"/>
                </a:lnTo>
                <a:lnTo>
                  <a:pt x="5000988" y="1702771"/>
                </a:lnTo>
                <a:lnTo>
                  <a:pt x="5003918" y="1700389"/>
                </a:lnTo>
                <a:lnTo>
                  <a:pt x="4998383" y="1681333"/>
                </a:lnTo>
                <a:lnTo>
                  <a:pt x="5005871" y="1680468"/>
                </a:lnTo>
                <a:lnTo>
                  <a:pt x="5013576" y="1680468"/>
                </a:lnTo>
                <a:lnTo>
                  <a:pt x="5013576" y="1674837"/>
                </a:lnTo>
                <a:lnTo>
                  <a:pt x="5010104" y="1670507"/>
                </a:lnTo>
                <a:lnTo>
                  <a:pt x="5011731" y="1664985"/>
                </a:lnTo>
                <a:lnTo>
                  <a:pt x="5018785" y="1660546"/>
                </a:lnTo>
                <a:lnTo>
                  <a:pt x="5022040" y="1660329"/>
                </a:lnTo>
                <a:lnTo>
                  <a:pt x="5024320" y="1653941"/>
                </a:lnTo>
                <a:lnTo>
                  <a:pt x="5026530" y="1652270"/>
                </a:lnTo>
                <a:close/>
                <a:moveTo>
                  <a:pt x="6570356" y="1650151"/>
                </a:moveTo>
                <a:lnTo>
                  <a:pt x="6567970" y="1652208"/>
                </a:lnTo>
                <a:lnTo>
                  <a:pt x="6561350" y="1654265"/>
                </a:lnTo>
                <a:lnTo>
                  <a:pt x="6561024" y="1658704"/>
                </a:lnTo>
                <a:lnTo>
                  <a:pt x="6561784" y="1663901"/>
                </a:lnTo>
                <a:lnTo>
                  <a:pt x="6555816" y="1672888"/>
                </a:lnTo>
                <a:lnTo>
                  <a:pt x="6551041" y="1668015"/>
                </a:lnTo>
                <a:lnTo>
                  <a:pt x="6540732" y="1666283"/>
                </a:lnTo>
                <a:lnTo>
                  <a:pt x="6531074" y="1666283"/>
                </a:lnTo>
                <a:lnTo>
                  <a:pt x="6523478" y="1672129"/>
                </a:lnTo>
                <a:lnTo>
                  <a:pt x="6512084" y="1666717"/>
                </a:lnTo>
                <a:lnTo>
                  <a:pt x="6512084" y="1666717"/>
                </a:lnTo>
                <a:lnTo>
                  <a:pt x="6523479" y="1672131"/>
                </a:lnTo>
                <a:lnTo>
                  <a:pt x="6531074" y="1666284"/>
                </a:lnTo>
                <a:lnTo>
                  <a:pt x="6540732" y="1666284"/>
                </a:lnTo>
                <a:lnTo>
                  <a:pt x="6551042" y="1668017"/>
                </a:lnTo>
                <a:lnTo>
                  <a:pt x="6555816" y="1672889"/>
                </a:lnTo>
                <a:lnTo>
                  <a:pt x="6561785" y="1663902"/>
                </a:lnTo>
                <a:lnTo>
                  <a:pt x="6561025" y="1658705"/>
                </a:lnTo>
                <a:lnTo>
                  <a:pt x="6561351" y="1654266"/>
                </a:lnTo>
                <a:lnTo>
                  <a:pt x="6567970" y="1652209"/>
                </a:lnTo>
                <a:lnTo>
                  <a:pt x="6570358" y="1650152"/>
                </a:lnTo>
                <a:lnTo>
                  <a:pt x="6581100" y="1652858"/>
                </a:lnTo>
                <a:lnTo>
                  <a:pt x="6581100" y="1652858"/>
                </a:lnTo>
                <a:close/>
                <a:moveTo>
                  <a:pt x="6942322" y="1648712"/>
                </a:moveTo>
                <a:lnTo>
                  <a:pt x="6942134" y="1651017"/>
                </a:lnTo>
                <a:lnTo>
                  <a:pt x="6940832" y="1654482"/>
                </a:lnTo>
                <a:lnTo>
                  <a:pt x="6941334" y="1655252"/>
                </a:lnTo>
                <a:lnTo>
                  <a:pt x="6942352" y="1652751"/>
                </a:lnTo>
                <a:lnTo>
                  <a:pt x="6942352" y="1648745"/>
                </a:lnTo>
                <a:close/>
                <a:moveTo>
                  <a:pt x="5074177" y="1648706"/>
                </a:moveTo>
                <a:lnTo>
                  <a:pt x="5074237" y="1648852"/>
                </a:lnTo>
                <a:lnTo>
                  <a:pt x="5079555" y="1652425"/>
                </a:lnTo>
                <a:lnTo>
                  <a:pt x="5088236" y="1649719"/>
                </a:lnTo>
                <a:lnTo>
                  <a:pt x="5092106" y="1649826"/>
                </a:lnTo>
                <a:lnTo>
                  <a:pt x="5091818" y="1649395"/>
                </a:lnTo>
                <a:lnTo>
                  <a:pt x="5087802" y="1649395"/>
                </a:lnTo>
                <a:lnTo>
                  <a:pt x="5079229" y="1652101"/>
                </a:lnTo>
                <a:close/>
                <a:moveTo>
                  <a:pt x="2731906" y="1642356"/>
                </a:moveTo>
                <a:lnTo>
                  <a:pt x="2731906" y="1643980"/>
                </a:lnTo>
                <a:lnTo>
                  <a:pt x="2731906" y="1646362"/>
                </a:lnTo>
                <a:lnTo>
                  <a:pt x="2733968" y="1646362"/>
                </a:lnTo>
                <a:lnTo>
                  <a:pt x="2733968" y="1644738"/>
                </a:lnTo>
                <a:lnTo>
                  <a:pt x="2736681" y="1643655"/>
                </a:lnTo>
                <a:lnTo>
                  <a:pt x="2739828" y="1643655"/>
                </a:lnTo>
                <a:lnTo>
                  <a:pt x="2739828" y="1649610"/>
                </a:lnTo>
                <a:lnTo>
                  <a:pt x="2738200" y="1652209"/>
                </a:lnTo>
                <a:lnTo>
                  <a:pt x="2736356" y="1653183"/>
                </a:lnTo>
                <a:lnTo>
                  <a:pt x="2732883" y="1651234"/>
                </a:lnTo>
                <a:lnTo>
                  <a:pt x="2729410" y="1650476"/>
                </a:lnTo>
                <a:lnTo>
                  <a:pt x="2727023" y="1651018"/>
                </a:lnTo>
                <a:lnTo>
                  <a:pt x="2725938" y="1653183"/>
                </a:lnTo>
                <a:lnTo>
                  <a:pt x="2727348" y="1654590"/>
                </a:lnTo>
                <a:lnTo>
                  <a:pt x="2727999" y="1657947"/>
                </a:lnTo>
                <a:lnTo>
                  <a:pt x="2730061" y="1656323"/>
                </a:lnTo>
                <a:lnTo>
                  <a:pt x="2731689" y="1656323"/>
                </a:lnTo>
                <a:lnTo>
                  <a:pt x="2733208" y="1658488"/>
                </a:lnTo>
                <a:lnTo>
                  <a:pt x="2732014" y="1660978"/>
                </a:lnTo>
                <a:lnTo>
                  <a:pt x="2727565" y="1665417"/>
                </a:lnTo>
                <a:lnTo>
                  <a:pt x="2724853" y="1669965"/>
                </a:lnTo>
                <a:lnTo>
                  <a:pt x="2723550" y="1668016"/>
                </a:lnTo>
                <a:lnTo>
                  <a:pt x="2724201" y="1665959"/>
                </a:lnTo>
                <a:lnTo>
                  <a:pt x="2724201" y="1663360"/>
                </a:lnTo>
                <a:lnTo>
                  <a:pt x="2722899" y="1666176"/>
                </a:lnTo>
                <a:lnTo>
                  <a:pt x="2721380" y="1668774"/>
                </a:lnTo>
                <a:lnTo>
                  <a:pt x="2721380" y="1670831"/>
                </a:lnTo>
                <a:lnTo>
                  <a:pt x="2720729" y="1672347"/>
                </a:lnTo>
                <a:lnTo>
                  <a:pt x="2718450" y="1673105"/>
                </a:lnTo>
                <a:lnTo>
                  <a:pt x="2716605" y="1675811"/>
                </a:lnTo>
                <a:lnTo>
                  <a:pt x="2713892" y="1677761"/>
                </a:lnTo>
                <a:lnTo>
                  <a:pt x="2711831" y="1681767"/>
                </a:lnTo>
                <a:lnTo>
                  <a:pt x="2710311" y="1683282"/>
                </a:lnTo>
                <a:lnTo>
                  <a:pt x="2708141" y="1685339"/>
                </a:lnTo>
                <a:lnTo>
                  <a:pt x="2708141" y="1687180"/>
                </a:lnTo>
                <a:lnTo>
                  <a:pt x="2705103" y="1690320"/>
                </a:lnTo>
                <a:lnTo>
                  <a:pt x="2703149" y="1694326"/>
                </a:lnTo>
                <a:lnTo>
                  <a:pt x="2703149" y="1696600"/>
                </a:lnTo>
                <a:lnTo>
                  <a:pt x="2700979" y="1699955"/>
                </a:lnTo>
                <a:lnTo>
                  <a:pt x="2700328" y="1703096"/>
                </a:lnTo>
                <a:lnTo>
                  <a:pt x="2700328" y="1706885"/>
                </a:lnTo>
                <a:lnTo>
                  <a:pt x="2702932" y="1704070"/>
                </a:lnTo>
                <a:lnTo>
                  <a:pt x="2706296" y="1701904"/>
                </a:lnTo>
                <a:lnTo>
                  <a:pt x="2707165" y="1699306"/>
                </a:lnTo>
                <a:lnTo>
                  <a:pt x="2709443" y="1697791"/>
                </a:lnTo>
                <a:lnTo>
                  <a:pt x="2712373" y="1694651"/>
                </a:lnTo>
                <a:lnTo>
                  <a:pt x="2714326" y="1691727"/>
                </a:lnTo>
                <a:lnTo>
                  <a:pt x="2717256" y="1689453"/>
                </a:lnTo>
                <a:lnTo>
                  <a:pt x="2719752" y="1688804"/>
                </a:lnTo>
                <a:lnTo>
                  <a:pt x="2719752" y="1689778"/>
                </a:lnTo>
                <a:lnTo>
                  <a:pt x="2718450" y="1690969"/>
                </a:lnTo>
                <a:lnTo>
                  <a:pt x="2716605" y="1694975"/>
                </a:lnTo>
                <a:lnTo>
                  <a:pt x="2718450" y="1693568"/>
                </a:lnTo>
                <a:lnTo>
                  <a:pt x="2720404" y="1693568"/>
                </a:lnTo>
                <a:lnTo>
                  <a:pt x="2723985" y="1696383"/>
                </a:lnTo>
                <a:lnTo>
                  <a:pt x="2726371" y="1697141"/>
                </a:lnTo>
                <a:lnTo>
                  <a:pt x="2730387" y="1695950"/>
                </a:lnTo>
                <a:lnTo>
                  <a:pt x="2731689" y="1695300"/>
                </a:lnTo>
                <a:lnTo>
                  <a:pt x="2731689" y="1697249"/>
                </a:lnTo>
                <a:lnTo>
                  <a:pt x="2729627" y="1699523"/>
                </a:lnTo>
                <a:lnTo>
                  <a:pt x="2726155" y="1700281"/>
                </a:lnTo>
                <a:lnTo>
                  <a:pt x="2724310" y="1701363"/>
                </a:lnTo>
                <a:lnTo>
                  <a:pt x="2720295" y="1701363"/>
                </a:lnTo>
                <a:lnTo>
                  <a:pt x="2716605" y="1704503"/>
                </a:lnTo>
                <a:lnTo>
                  <a:pt x="2714869" y="1707426"/>
                </a:lnTo>
                <a:lnTo>
                  <a:pt x="2718124" y="1704828"/>
                </a:lnTo>
                <a:lnTo>
                  <a:pt x="2719969" y="1704828"/>
                </a:lnTo>
                <a:lnTo>
                  <a:pt x="2721488" y="1704828"/>
                </a:lnTo>
                <a:lnTo>
                  <a:pt x="2720404" y="1707968"/>
                </a:lnTo>
                <a:lnTo>
                  <a:pt x="2717907" y="1711865"/>
                </a:lnTo>
                <a:lnTo>
                  <a:pt x="2714001" y="1714464"/>
                </a:lnTo>
                <a:lnTo>
                  <a:pt x="2714001" y="1715547"/>
                </a:lnTo>
                <a:lnTo>
                  <a:pt x="2715846" y="1715547"/>
                </a:lnTo>
                <a:lnTo>
                  <a:pt x="2719427" y="1712624"/>
                </a:lnTo>
                <a:lnTo>
                  <a:pt x="2720512" y="1712624"/>
                </a:lnTo>
                <a:lnTo>
                  <a:pt x="2721814" y="1716305"/>
                </a:lnTo>
                <a:lnTo>
                  <a:pt x="2723442" y="1716305"/>
                </a:lnTo>
                <a:lnTo>
                  <a:pt x="2727348" y="1712732"/>
                </a:lnTo>
                <a:lnTo>
                  <a:pt x="2730387" y="1712191"/>
                </a:lnTo>
                <a:lnTo>
                  <a:pt x="2730387" y="1713165"/>
                </a:lnTo>
                <a:lnTo>
                  <a:pt x="2729736" y="1715655"/>
                </a:lnTo>
                <a:lnTo>
                  <a:pt x="2728108" y="1717279"/>
                </a:lnTo>
                <a:lnTo>
                  <a:pt x="2728976" y="1718903"/>
                </a:lnTo>
                <a:lnTo>
                  <a:pt x="2731581" y="1716196"/>
                </a:lnTo>
                <a:lnTo>
                  <a:pt x="2732774" y="1713922"/>
                </a:lnTo>
                <a:lnTo>
                  <a:pt x="2735379" y="1712840"/>
                </a:lnTo>
                <a:lnTo>
                  <a:pt x="2736464" y="1713489"/>
                </a:lnTo>
                <a:lnTo>
                  <a:pt x="2733859" y="1717928"/>
                </a:lnTo>
                <a:lnTo>
                  <a:pt x="2733317" y="1723883"/>
                </a:lnTo>
                <a:lnTo>
                  <a:pt x="2731038" y="1726373"/>
                </a:lnTo>
                <a:lnTo>
                  <a:pt x="2734185" y="1724100"/>
                </a:lnTo>
                <a:lnTo>
                  <a:pt x="2734836" y="1719553"/>
                </a:lnTo>
                <a:lnTo>
                  <a:pt x="2737983" y="1717496"/>
                </a:lnTo>
                <a:lnTo>
                  <a:pt x="2739502" y="1719011"/>
                </a:lnTo>
                <a:lnTo>
                  <a:pt x="2741998" y="1718037"/>
                </a:lnTo>
                <a:lnTo>
                  <a:pt x="2743300" y="1716521"/>
                </a:lnTo>
                <a:lnTo>
                  <a:pt x="2744711" y="1717928"/>
                </a:lnTo>
                <a:lnTo>
                  <a:pt x="2746013" y="1717496"/>
                </a:lnTo>
                <a:lnTo>
                  <a:pt x="2747641" y="1715005"/>
                </a:lnTo>
                <a:lnTo>
                  <a:pt x="2750896" y="1712515"/>
                </a:lnTo>
                <a:lnTo>
                  <a:pt x="2752416" y="1712515"/>
                </a:lnTo>
                <a:lnTo>
                  <a:pt x="2750788" y="1715763"/>
                </a:lnTo>
                <a:lnTo>
                  <a:pt x="2749703" y="1718037"/>
                </a:lnTo>
                <a:lnTo>
                  <a:pt x="2750788" y="1719553"/>
                </a:lnTo>
                <a:lnTo>
                  <a:pt x="2750137" y="1723450"/>
                </a:lnTo>
                <a:lnTo>
                  <a:pt x="2748509" y="1725508"/>
                </a:lnTo>
                <a:lnTo>
                  <a:pt x="2751114" y="1723559"/>
                </a:lnTo>
                <a:lnTo>
                  <a:pt x="2751982" y="1719769"/>
                </a:lnTo>
                <a:lnTo>
                  <a:pt x="2753718" y="1716412"/>
                </a:lnTo>
                <a:lnTo>
                  <a:pt x="2753718" y="1714031"/>
                </a:lnTo>
                <a:lnTo>
                  <a:pt x="2755671" y="1714031"/>
                </a:lnTo>
                <a:lnTo>
                  <a:pt x="2759687" y="1713057"/>
                </a:lnTo>
                <a:lnTo>
                  <a:pt x="2763593" y="1713057"/>
                </a:lnTo>
                <a:lnTo>
                  <a:pt x="2767608" y="1716846"/>
                </a:lnTo>
                <a:lnTo>
                  <a:pt x="2770429" y="1718470"/>
                </a:lnTo>
                <a:lnTo>
                  <a:pt x="2770429" y="1720852"/>
                </a:lnTo>
                <a:lnTo>
                  <a:pt x="2768693" y="1722476"/>
                </a:lnTo>
                <a:lnTo>
                  <a:pt x="2768693" y="1725508"/>
                </a:lnTo>
                <a:lnTo>
                  <a:pt x="2766414" y="1727024"/>
                </a:lnTo>
                <a:lnTo>
                  <a:pt x="2764135" y="1727024"/>
                </a:lnTo>
                <a:lnTo>
                  <a:pt x="2762725" y="1728756"/>
                </a:lnTo>
                <a:lnTo>
                  <a:pt x="2759578" y="1730272"/>
                </a:lnTo>
                <a:lnTo>
                  <a:pt x="2755562" y="1731030"/>
                </a:lnTo>
                <a:lnTo>
                  <a:pt x="2758059" y="1732870"/>
                </a:lnTo>
                <a:lnTo>
                  <a:pt x="2753718" y="1732870"/>
                </a:lnTo>
                <a:lnTo>
                  <a:pt x="2758167" y="1733520"/>
                </a:lnTo>
                <a:lnTo>
                  <a:pt x="2760988" y="1732546"/>
                </a:lnTo>
                <a:lnTo>
                  <a:pt x="2762508" y="1732546"/>
                </a:lnTo>
                <a:lnTo>
                  <a:pt x="2762508" y="1735144"/>
                </a:lnTo>
                <a:lnTo>
                  <a:pt x="2761531" y="1737634"/>
                </a:lnTo>
                <a:lnTo>
                  <a:pt x="2763376" y="1735577"/>
                </a:lnTo>
                <a:lnTo>
                  <a:pt x="2765003" y="1736335"/>
                </a:lnTo>
                <a:lnTo>
                  <a:pt x="2763593" y="1739691"/>
                </a:lnTo>
                <a:lnTo>
                  <a:pt x="2761640" y="1741423"/>
                </a:lnTo>
                <a:lnTo>
                  <a:pt x="2763376" y="1742506"/>
                </a:lnTo>
                <a:lnTo>
                  <a:pt x="2762291" y="1743913"/>
                </a:lnTo>
                <a:lnTo>
                  <a:pt x="2759903" y="1746295"/>
                </a:lnTo>
                <a:lnTo>
                  <a:pt x="2757516" y="1747595"/>
                </a:lnTo>
                <a:lnTo>
                  <a:pt x="2759903" y="1747595"/>
                </a:lnTo>
                <a:lnTo>
                  <a:pt x="2761423" y="1746079"/>
                </a:lnTo>
                <a:lnTo>
                  <a:pt x="2761423" y="1748894"/>
                </a:lnTo>
                <a:lnTo>
                  <a:pt x="2760663" y="1750843"/>
                </a:lnTo>
                <a:lnTo>
                  <a:pt x="2762291" y="1750085"/>
                </a:lnTo>
                <a:lnTo>
                  <a:pt x="2762291" y="1747703"/>
                </a:lnTo>
                <a:lnTo>
                  <a:pt x="2764569" y="1746295"/>
                </a:lnTo>
                <a:lnTo>
                  <a:pt x="2767608" y="1744022"/>
                </a:lnTo>
                <a:lnTo>
                  <a:pt x="2769453" y="1744022"/>
                </a:lnTo>
                <a:lnTo>
                  <a:pt x="2771298" y="1743048"/>
                </a:lnTo>
                <a:lnTo>
                  <a:pt x="2771298" y="1739907"/>
                </a:lnTo>
                <a:lnTo>
                  <a:pt x="2771298" y="1737959"/>
                </a:lnTo>
                <a:lnTo>
                  <a:pt x="2773902" y="1737959"/>
                </a:lnTo>
                <a:lnTo>
                  <a:pt x="2774553" y="1739475"/>
                </a:lnTo>
                <a:lnTo>
                  <a:pt x="2776940" y="1737959"/>
                </a:lnTo>
                <a:lnTo>
                  <a:pt x="2779979" y="1734710"/>
                </a:lnTo>
                <a:lnTo>
                  <a:pt x="2781173" y="1737093"/>
                </a:lnTo>
                <a:lnTo>
                  <a:pt x="2781173" y="1740449"/>
                </a:lnTo>
                <a:lnTo>
                  <a:pt x="2779762" y="1743481"/>
                </a:lnTo>
                <a:lnTo>
                  <a:pt x="2775421" y="1746187"/>
                </a:lnTo>
                <a:lnTo>
                  <a:pt x="2774336" y="1744888"/>
                </a:lnTo>
                <a:lnTo>
                  <a:pt x="2770755" y="1744888"/>
                </a:lnTo>
                <a:lnTo>
                  <a:pt x="2769236" y="1748894"/>
                </a:lnTo>
                <a:lnTo>
                  <a:pt x="2765655" y="1751817"/>
                </a:lnTo>
                <a:lnTo>
                  <a:pt x="2764461" y="1752791"/>
                </a:lnTo>
                <a:lnTo>
                  <a:pt x="2760446" y="1752791"/>
                </a:lnTo>
                <a:lnTo>
                  <a:pt x="2759143" y="1753658"/>
                </a:lnTo>
                <a:lnTo>
                  <a:pt x="2759143" y="1754839"/>
                </a:lnTo>
                <a:lnTo>
                  <a:pt x="2763485" y="1756149"/>
                </a:lnTo>
                <a:lnTo>
                  <a:pt x="2762834" y="1757773"/>
                </a:lnTo>
                <a:lnTo>
                  <a:pt x="2760759" y="1757773"/>
                </a:lnTo>
                <a:lnTo>
                  <a:pt x="2760988" y="1757989"/>
                </a:lnTo>
                <a:lnTo>
                  <a:pt x="2764787" y="1758746"/>
                </a:lnTo>
                <a:lnTo>
                  <a:pt x="2761097" y="1758746"/>
                </a:lnTo>
                <a:lnTo>
                  <a:pt x="2758818" y="1758746"/>
                </a:lnTo>
                <a:lnTo>
                  <a:pt x="2762400" y="1760046"/>
                </a:lnTo>
                <a:lnTo>
                  <a:pt x="2764244" y="1760046"/>
                </a:lnTo>
                <a:lnTo>
                  <a:pt x="2761531" y="1764268"/>
                </a:lnTo>
                <a:lnTo>
                  <a:pt x="2760012" y="1764268"/>
                </a:lnTo>
                <a:lnTo>
                  <a:pt x="2758275" y="1761670"/>
                </a:lnTo>
                <a:lnTo>
                  <a:pt x="2758275" y="1764485"/>
                </a:lnTo>
                <a:lnTo>
                  <a:pt x="2759361" y="1767191"/>
                </a:lnTo>
                <a:lnTo>
                  <a:pt x="2759361" y="1769574"/>
                </a:lnTo>
                <a:lnTo>
                  <a:pt x="2762616" y="1772389"/>
                </a:lnTo>
                <a:lnTo>
                  <a:pt x="2764895" y="1770764"/>
                </a:lnTo>
                <a:lnTo>
                  <a:pt x="2764895" y="1769032"/>
                </a:lnTo>
                <a:lnTo>
                  <a:pt x="2769670" y="1765351"/>
                </a:lnTo>
                <a:lnTo>
                  <a:pt x="2770321" y="1762970"/>
                </a:lnTo>
                <a:lnTo>
                  <a:pt x="2773251" y="1760262"/>
                </a:lnTo>
                <a:lnTo>
                  <a:pt x="2775964" y="1760262"/>
                </a:lnTo>
                <a:lnTo>
                  <a:pt x="2778894" y="1758746"/>
                </a:lnTo>
                <a:lnTo>
                  <a:pt x="2780521" y="1758746"/>
                </a:lnTo>
                <a:lnTo>
                  <a:pt x="2782583" y="1756906"/>
                </a:lnTo>
                <a:lnTo>
                  <a:pt x="2783560" y="1759288"/>
                </a:lnTo>
                <a:lnTo>
                  <a:pt x="2781824" y="1760262"/>
                </a:lnTo>
                <a:lnTo>
                  <a:pt x="2780630" y="1760262"/>
                </a:lnTo>
                <a:lnTo>
                  <a:pt x="2777049" y="1763511"/>
                </a:lnTo>
                <a:lnTo>
                  <a:pt x="2776180" y="1765134"/>
                </a:lnTo>
                <a:lnTo>
                  <a:pt x="2772166" y="1768274"/>
                </a:lnTo>
                <a:lnTo>
                  <a:pt x="2772166" y="1771956"/>
                </a:lnTo>
                <a:lnTo>
                  <a:pt x="2771514" y="1775312"/>
                </a:lnTo>
                <a:lnTo>
                  <a:pt x="2773034" y="1778235"/>
                </a:lnTo>
                <a:lnTo>
                  <a:pt x="2774987" y="1777586"/>
                </a:lnTo>
                <a:lnTo>
                  <a:pt x="2777808" y="1774337"/>
                </a:lnTo>
                <a:lnTo>
                  <a:pt x="2781064" y="1772172"/>
                </a:lnTo>
                <a:lnTo>
                  <a:pt x="2782692" y="1768599"/>
                </a:lnTo>
                <a:lnTo>
                  <a:pt x="2782692" y="1766867"/>
                </a:lnTo>
                <a:lnTo>
                  <a:pt x="2783994" y="1766867"/>
                </a:lnTo>
                <a:lnTo>
                  <a:pt x="2783994" y="1769357"/>
                </a:lnTo>
                <a:lnTo>
                  <a:pt x="2783994" y="1776286"/>
                </a:lnTo>
                <a:lnTo>
                  <a:pt x="2781607" y="1780076"/>
                </a:lnTo>
                <a:lnTo>
                  <a:pt x="2777592" y="1785489"/>
                </a:lnTo>
                <a:lnTo>
                  <a:pt x="2776615" y="1789279"/>
                </a:lnTo>
                <a:lnTo>
                  <a:pt x="2777808" y="1791661"/>
                </a:lnTo>
                <a:lnTo>
                  <a:pt x="2777049" y="1793718"/>
                </a:lnTo>
                <a:lnTo>
                  <a:pt x="2776072" y="1793718"/>
                </a:lnTo>
                <a:lnTo>
                  <a:pt x="2776072" y="1794368"/>
                </a:lnTo>
                <a:lnTo>
                  <a:pt x="2775204" y="1796641"/>
                </a:lnTo>
                <a:lnTo>
                  <a:pt x="2773794" y="1796641"/>
                </a:lnTo>
                <a:lnTo>
                  <a:pt x="2773794" y="1799023"/>
                </a:lnTo>
                <a:lnTo>
                  <a:pt x="2770646" y="1801080"/>
                </a:lnTo>
                <a:lnTo>
                  <a:pt x="2768585" y="1800431"/>
                </a:lnTo>
                <a:cubicBezTo>
                  <a:pt x="2768585" y="1800431"/>
                  <a:pt x="2766631" y="1797291"/>
                  <a:pt x="2766631" y="1797291"/>
                </a:cubicBezTo>
                <a:lnTo>
                  <a:pt x="2764461" y="1797291"/>
                </a:lnTo>
                <a:lnTo>
                  <a:pt x="2762400" y="1799565"/>
                </a:lnTo>
                <a:lnTo>
                  <a:pt x="2761748" y="1802813"/>
                </a:lnTo>
                <a:lnTo>
                  <a:pt x="2759469" y="1800755"/>
                </a:lnTo>
                <a:lnTo>
                  <a:pt x="2759469" y="1796533"/>
                </a:lnTo>
                <a:lnTo>
                  <a:pt x="2758493" y="1795017"/>
                </a:lnTo>
                <a:lnTo>
                  <a:pt x="2759469" y="1791769"/>
                </a:lnTo>
                <a:lnTo>
                  <a:pt x="2759469" y="1788954"/>
                </a:lnTo>
                <a:lnTo>
                  <a:pt x="2763485" y="1784731"/>
                </a:lnTo>
                <a:lnTo>
                  <a:pt x="2766306" y="1784082"/>
                </a:lnTo>
                <a:lnTo>
                  <a:pt x="2766306" y="1782458"/>
                </a:lnTo>
                <a:lnTo>
                  <a:pt x="2762508" y="1782458"/>
                </a:lnTo>
                <a:lnTo>
                  <a:pt x="2761856" y="1780942"/>
                </a:lnTo>
                <a:lnTo>
                  <a:pt x="2760120" y="1783432"/>
                </a:lnTo>
                <a:lnTo>
                  <a:pt x="2756865" y="1787330"/>
                </a:lnTo>
                <a:lnTo>
                  <a:pt x="2755129" y="1787330"/>
                </a:lnTo>
                <a:lnTo>
                  <a:pt x="2751982" y="1793502"/>
                </a:lnTo>
                <a:lnTo>
                  <a:pt x="2748509" y="1795559"/>
                </a:lnTo>
                <a:lnTo>
                  <a:pt x="2746230" y="1794801"/>
                </a:lnTo>
                <a:lnTo>
                  <a:pt x="2746230" y="1791986"/>
                </a:lnTo>
                <a:lnTo>
                  <a:pt x="2747641" y="1790686"/>
                </a:lnTo>
                <a:lnTo>
                  <a:pt x="2747641" y="1787546"/>
                </a:lnTo>
                <a:lnTo>
                  <a:pt x="2750246" y="1780725"/>
                </a:lnTo>
                <a:lnTo>
                  <a:pt x="2753826" y="1777802"/>
                </a:lnTo>
                <a:lnTo>
                  <a:pt x="2754912" y="1775312"/>
                </a:lnTo>
                <a:lnTo>
                  <a:pt x="2753718" y="1773038"/>
                </a:lnTo>
                <a:lnTo>
                  <a:pt x="2754369" y="1769682"/>
                </a:lnTo>
                <a:lnTo>
                  <a:pt x="2755129" y="1766975"/>
                </a:lnTo>
                <a:lnTo>
                  <a:pt x="2755129" y="1762319"/>
                </a:lnTo>
                <a:lnTo>
                  <a:pt x="2753392" y="1760803"/>
                </a:lnTo>
                <a:lnTo>
                  <a:pt x="2751873" y="1760803"/>
                </a:lnTo>
                <a:lnTo>
                  <a:pt x="2750137" y="1759180"/>
                </a:lnTo>
                <a:lnTo>
                  <a:pt x="2748726" y="1759180"/>
                </a:lnTo>
                <a:lnTo>
                  <a:pt x="2747641" y="1760587"/>
                </a:lnTo>
                <a:lnTo>
                  <a:pt x="2747641" y="1765027"/>
                </a:lnTo>
                <a:lnTo>
                  <a:pt x="2745362" y="1769682"/>
                </a:lnTo>
                <a:lnTo>
                  <a:pt x="2743517" y="1775095"/>
                </a:lnTo>
                <a:lnTo>
                  <a:pt x="2741455" y="1776611"/>
                </a:lnTo>
                <a:lnTo>
                  <a:pt x="2738960" y="1776611"/>
                </a:lnTo>
                <a:lnTo>
                  <a:pt x="2741673" y="1774987"/>
                </a:lnTo>
                <a:lnTo>
                  <a:pt x="2738525" y="1774987"/>
                </a:lnTo>
                <a:lnTo>
                  <a:pt x="2736572" y="1773472"/>
                </a:lnTo>
                <a:lnTo>
                  <a:pt x="2734619" y="1774662"/>
                </a:lnTo>
                <a:lnTo>
                  <a:pt x="2730604" y="1779210"/>
                </a:lnTo>
                <a:lnTo>
                  <a:pt x="2728868" y="1779859"/>
                </a:lnTo>
                <a:lnTo>
                  <a:pt x="2728216" y="1782891"/>
                </a:lnTo>
                <a:lnTo>
                  <a:pt x="2727240" y="1785489"/>
                </a:lnTo>
                <a:lnTo>
                  <a:pt x="2726263" y="1785489"/>
                </a:lnTo>
                <a:lnTo>
                  <a:pt x="2724853" y="1788196"/>
                </a:lnTo>
                <a:lnTo>
                  <a:pt x="2722790" y="1790470"/>
                </a:lnTo>
                <a:lnTo>
                  <a:pt x="2719318" y="1791769"/>
                </a:lnTo>
                <a:lnTo>
                  <a:pt x="2717799" y="1790362"/>
                </a:lnTo>
                <a:lnTo>
                  <a:pt x="2717799" y="1788413"/>
                </a:lnTo>
                <a:lnTo>
                  <a:pt x="2715954" y="1788413"/>
                </a:lnTo>
                <a:lnTo>
                  <a:pt x="2714435" y="1789929"/>
                </a:lnTo>
                <a:lnTo>
                  <a:pt x="2713132" y="1791769"/>
                </a:lnTo>
                <a:lnTo>
                  <a:pt x="2710094" y="1791769"/>
                </a:lnTo>
                <a:lnTo>
                  <a:pt x="2709118" y="1790253"/>
                </a:lnTo>
                <a:lnTo>
                  <a:pt x="2708033" y="1788846"/>
                </a:lnTo>
                <a:lnTo>
                  <a:pt x="2708683" y="1787005"/>
                </a:lnTo>
                <a:lnTo>
                  <a:pt x="2712156" y="1784298"/>
                </a:lnTo>
                <a:lnTo>
                  <a:pt x="2716280" y="1783215"/>
                </a:lnTo>
                <a:lnTo>
                  <a:pt x="2717907" y="1781700"/>
                </a:lnTo>
                <a:lnTo>
                  <a:pt x="2718992" y="1780076"/>
                </a:lnTo>
                <a:lnTo>
                  <a:pt x="2720620" y="1779426"/>
                </a:lnTo>
                <a:lnTo>
                  <a:pt x="2723550" y="1779426"/>
                </a:lnTo>
                <a:lnTo>
                  <a:pt x="2724310" y="1777586"/>
                </a:lnTo>
                <a:lnTo>
                  <a:pt x="2725612" y="1776936"/>
                </a:lnTo>
                <a:lnTo>
                  <a:pt x="2725612" y="1775095"/>
                </a:lnTo>
                <a:lnTo>
                  <a:pt x="2727891" y="1772605"/>
                </a:lnTo>
                <a:lnTo>
                  <a:pt x="2731906" y="1772605"/>
                </a:lnTo>
                <a:lnTo>
                  <a:pt x="2735921" y="1770873"/>
                </a:lnTo>
                <a:lnTo>
                  <a:pt x="2735921" y="1769357"/>
                </a:lnTo>
                <a:lnTo>
                  <a:pt x="2738634" y="1767625"/>
                </a:lnTo>
                <a:lnTo>
                  <a:pt x="2735487" y="1767625"/>
                </a:lnTo>
                <a:lnTo>
                  <a:pt x="2733208" y="1769032"/>
                </a:lnTo>
                <a:lnTo>
                  <a:pt x="2730604" y="1769682"/>
                </a:lnTo>
                <a:lnTo>
                  <a:pt x="2728759" y="1767625"/>
                </a:lnTo>
                <a:lnTo>
                  <a:pt x="2725178" y="1766975"/>
                </a:lnTo>
                <a:lnTo>
                  <a:pt x="2723225" y="1765676"/>
                </a:lnTo>
                <a:lnTo>
                  <a:pt x="2723225" y="1768166"/>
                </a:lnTo>
                <a:lnTo>
                  <a:pt x="2721705" y="1771414"/>
                </a:lnTo>
                <a:lnTo>
                  <a:pt x="2718992" y="1772064"/>
                </a:lnTo>
                <a:lnTo>
                  <a:pt x="2717256" y="1773363"/>
                </a:lnTo>
                <a:lnTo>
                  <a:pt x="2716171" y="1771956"/>
                </a:lnTo>
                <a:lnTo>
                  <a:pt x="2713458" y="1771956"/>
                </a:lnTo>
                <a:lnTo>
                  <a:pt x="2712590" y="1770548"/>
                </a:lnTo>
                <a:lnTo>
                  <a:pt x="2709877" y="1770548"/>
                </a:lnTo>
                <a:lnTo>
                  <a:pt x="2708575" y="1771306"/>
                </a:lnTo>
                <a:lnTo>
                  <a:pt x="2707273" y="1770331"/>
                </a:lnTo>
                <a:lnTo>
                  <a:pt x="2711722" y="1768491"/>
                </a:lnTo>
                <a:lnTo>
                  <a:pt x="2716388" y="1765568"/>
                </a:lnTo>
                <a:lnTo>
                  <a:pt x="2716388" y="1764593"/>
                </a:lnTo>
                <a:lnTo>
                  <a:pt x="2715194" y="1764593"/>
                </a:lnTo>
                <a:lnTo>
                  <a:pt x="2712264" y="1765243"/>
                </a:lnTo>
                <a:lnTo>
                  <a:pt x="2712264" y="1763402"/>
                </a:lnTo>
                <a:lnTo>
                  <a:pt x="2713784" y="1760912"/>
                </a:lnTo>
                <a:lnTo>
                  <a:pt x="2713784" y="1758097"/>
                </a:lnTo>
                <a:lnTo>
                  <a:pt x="2712807" y="1758097"/>
                </a:lnTo>
                <a:lnTo>
                  <a:pt x="2710203" y="1760803"/>
                </a:lnTo>
                <a:lnTo>
                  <a:pt x="2709118" y="1763185"/>
                </a:lnTo>
                <a:lnTo>
                  <a:pt x="2708250" y="1762103"/>
                </a:lnTo>
                <a:lnTo>
                  <a:pt x="2709443" y="1757556"/>
                </a:lnTo>
                <a:lnTo>
                  <a:pt x="2710528" y="1756473"/>
                </a:lnTo>
                <a:lnTo>
                  <a:pt x="2708901" y="1756473"/>
                </a:lnTo>
                <a:lnTo>
                  <a:pt x="2707381" y="1759180"/>
                </a:lnTo>
                <a:lnTo>
                  <a:pt x="2706079" y="1757772"/>
                </a:lnTo>
                <a:lnTo>
                  <a:pt x="2706079" y="1761345"/>
                </a:lnTo>
                <a:lnTo>
                  <a:pt x="2706079" y="1763294"/>
                </a:lnTo>
                <a:lnTo>
                  <a:pt x="2705211" y="1765351"/>
                </a:lnTo>
                <a:lnTo>
                  <a:pt x="2702932" y="1764268"/>
                </a:lnTo>
                <a:lnTo>
                  <a:pt x="2700653" y="1764268"/>
                </a:lnTo>
                <a:lnTo>
                  <a:pt x="2699134" y="1766001"/>
                </a:lnTo>
                <a:lnTo>
                  <a:pt x="2697181" y="1766001"/>
                </a:lnTo>
                <a:lnTo>
                  <a:pt x="2695879" y="1764701"/>
                </a:lnTo>
                <a:lnTo>
                  <a:pt x="2692189" y="1764701"/>
                </a:lnTo>
                <a:lnTo>
                  <a:pt x="2692189" y="1766217"/>
                </a:lnTo>
                <a:lnTo>
                  <a:pt x="2690236" y="1767625"/>
                </a:lnTo>
                <a:lnTo>
                  <a:pt x="2687523" y="1767625"/>
                </a:lnTo>
                <a:lnTo>
                  <a:pt x="2686655" y="1766217"/>
                </a:lnTo>
                <a:lnTo>
                  <a:pt x="2685135" y="1766867"/>
                </a:lnTo>
                <a:lnTo>
                  <a:pt x="2680903" y="1766867"/>
                </a:lnTo>
                <a:lnTo>
                  <a:pt x="2679167" y="1764918"/>
                </a:lnTo>
                <a:lnTo>
                  <a:pt x="2678407" y="1763294"/>
                </a:lnTo>
                <a:lnTo>
                  <a:pt x="2674609" y="1764377"/>
                </a:lnTo>
                <a:lnTo>
                  <a:pt x="2668424" y="1764377"/>
                </a:lnTo>
                <a:lnTo>
                  <a:pt x="2666796" y="1761995"/>
                </a:lnTo>
                <a:lnTo>
                  <a:pt x="2663215" y="1763402"/>
                </a:lnTo>
                <a:lnTo>
                  <a:pt x="2658332" y="1762428"/>
                </a:lnTo>
                <a:lnTo>
                  <a:pt x="2660610" y="1759180"/>
                </a:lnTo>
                <a:lnTo>
                  <a:pt x="2660610" y="1757664"/>
                </a:lnTo>
                <a:lnTo>
                  <a:pt x="2659742" y="1759613"/>
                </a:lnTo>
                <a:lnTo>
                  <a:pt x="2656596" y="1762319"/>
                </a:lnTo>
                <a:lnTo>
                  <a:pt x="2652580" y="1762319"/>
                </a:lnTo>
                <a:lnTo>
                  <a:pt x="2649325" y="1764918"/>
                </a:lnTo>
                <a:lnTo>
                  <a:pt x="2644007" y="1765676"/>
                </a:lnTo>
                <a:lnTo>
                  <a:pt x="2639341" y="1764160"/>
                </a:lnTo>
                <a:lnTo>
                  <a:pt x="2636737" y="1764160"/>
                </a:lnTo>
                <a:lnTo>
                  <a:pt x="2635978" y="1762319"/>
                </a:lnTo>
                <a:lnTo>
                  <a:pt x="2636954" y="1758855"/>
                </a:lnTo>
                <a:lnTo>
                  <a:pt x="2635869" y="1756364"/>
                </a:lnTo>
                <a:lnTo>
                  <a:pt x="2636846" y="1753983"/>
                </a:lnTo>
                <a:lnTo>
                  <a:pt x="2639559" y="1753983"/>
                </a:lnTo>
                <a:lnTo>
                  <a:pt x="2644116" y="1749977"/>
                </a:lnTo>
                <a:lnTo>
                  <a:pt x="2649542" y="1747162"/>
                </a:lnTo>
                <a:lnTo>
                  <a:pt x="2652255" y="1742723"/>
                </a:lnTo>
                <a:lnTo>
                  <a:pt x="2656704" y="1737201"/>
                </a:lnTo>
                <a:lnTo>
                  <a:pt x="2659851" y="1734061"/>
                </a:lnTo>
                <a:lnTo>
                  <a:pt x="2654643" y="1734061"/>
                </a:lnTo>
                <a:lnTo>
                  <a:pt x="2648023" y="1734819"/>
                </a:lnTo>
                <a:lnTo>
                  <a:pt x="2644658" y="1735901"/>
                </a:lnTo>
                <a:lnTo>
                  <a:pt x="2642922" y="1735901"/>
                </a:lnTo>
                <a:lnTo>
                  <a:pt x="2645201" y="1730163"/>
                </a:lnTo>
                <a:lnTo>
                  <a:pt x="2650736" y="1726915"/>
                </a:lnTo>
                <a:lnTo>
                  <a:pt x="2654099" y="1724533"/>
                </a:lnTo>
                <a:lnTo>
                  <a:pt x="2655184" y="1723234"/>
                </a:lnTo>
                <a:lnTo>
                  <a:pt x="2654208" y="1725508"/>
                </a:lnTo>
                <a:lnTo>
                  <a:pt x="2651495" y="1727456"/>
                </a:lnTo>
                <a:lnTo>
                  <a:pt x="2650844" y="1729405"/>
                </a:lnTo>
                <a:lnTo>
                  <a:pt x="2652689" y="1732437"/>
                </a:lnTo>
                <a:lnTo>
                  <a:pt x="2654208" y="1729189"/>
                </a:lnTo>
                <a:lnTo>
                  <a:pt x="2654208" y="1732653"/>
                </a:lnTo>
                <a:lnTo>
                  <a:pt x="2655619" y="1732653"/>
                </a:lnTo>
                <a:lnTo>
                  <a:pt x="2657897" y="1729514"/>
                </a:lnTo>
                <a:lnTo>
                  <a:pt x="2660285" y="1724642"/>
                </a:lnTo>
                <a:lnTo>
                  <a:pt x="2663107" y="1721826"/>
                </a:lnTo>
                <a:lnTo>
                  <a:pt x="2663107" y="1719661"/>
                </a:lnTo>
                <a:lnTo>
                  <a:pt x="2664191" y="1718253"/>
                </a:lnTo>
                <a:lnTo>
                  <a:pt x="2669292" y="1719769"/>
                </a:lnTo>
                <a:lnTo>
                  <a:pt x="2672004" y="1717712"/>
                </a:lnTo>
                <a:lnTo>
                  <a:pt x="2672004" y="1715330"/>
                </a:lnTo>
                <a:lnTo>
                  <a:pt x="2673524" y="1714031"/>
                </a:lnTo>
                <a:lnTo>
                  <a:pt x="2671788" y="1712406"/>
                </a:lnTo>
                <a:lnTo>
                  <a:pt x="2669292" y="1712406"/>
                </a:lnTo>
                <a:lnTo>
                  <a:pt x="2669292" y="1710567"/>
                </a:lnTo>
                <a:lnTo>
                  <a:pt x="2670920" y="1707426"/>
                </a:lnTo>
                <a:lnTo>
                  <a:pt x="2675261" y="1705369"/>
                </a:lnTo>
                <a:lnTo>
                  <a:pt x="2676671" y="1705369"/>
                </a:lnTo>
                <a:lnTo>
                  <a:pt x="2677648" y="1706669"/>
                </a:lnTo>
                <a:lnTo>
                  <a:pt x="2679167" y="1706669"/>
                </a:lnTo>
                <a:lnTo>
                  <a:pt x="2679167" y="1704286"/>
                </a:lnTo>
                <a:lnTo>
                  <a:pt x="2677322" y="1702338"/>
                </a:lnTo>
                <a:lnTo>
                  <a:pt x="2677322" y="1699955"/>
                </a:lnTo>
                <a:lnTo>
                  <a:pt x="2682314" y="1692485"/>
                </a:lnTo>
                <a:lnTo>
                  <a:pt x="2682965" y="1689995"/>
                </a:lnTo>
                <a:lnTo>
                  <a:pt x="2685678" y="1685988"/>
                </a:lnTo>
                <a:lnTo>
                  <a:pt x="2688391" y="1685988"/>
                </a:lnTo>
                <a:lnTo>
                  <a:pt x="2690778" y="1684581"/>
                </a:lnTo>
                <a:lnTo>
                  <a:pt x="2689368" y="1683824"/>
                </a:lnTo>
                <a:lnTo>
                  <a:pt x="2688174" y="1683824"/>
                </a:lnTo>
                <a:lnTo>
                  <a:pt x="2688174" y="1681983"/>
                </a:lnTo>
                <a:lnTo>
                  <a:pt x="2690453" y="1678627"/>
                </a:lnTo>
                <a:lnTo>
                  <a:pt x="2693491" y="1678627"/>
                </a:lnTo>
                <a:lnTo>
                  <a:pt x="2695227" y="1677111"/>
                </a:lnTo>
                <a:lnTo>
                  <a:pt x="2693274" y="1676028"/>
                </a:lnTo>
                <a:lnTo>
                  <a:pt x="2693274" y="1673755"/>
                </a:lnTo>
                <a:lnTo>
                  <a:pt x="2695227" y="1673755"/>
                </a:lnTo>
                <a:lnTo>
                  <a:pt x="2696421" y="1672130"/>
                </a:lnTo>
                <a:lnTo>
                  <a:pt x="2695770" y="1670939"/>
                </a:lnTo>
                <a:lnTo>
                  <a:pt x="2698266" y="1669532"/>
                </a:lnTo>
                <a:lnTo>
                  <a:pt x="2702498" y="1666392"/>
                </a:lnTo>
                <a:lnTo>
                  <a:pt x="2704668" y="1663794"/>
                </a:lnTo>
                <a:lnTo>
                  <a:pt x="2704668" y="1661412"/>
                </a:lnTo>
                <a:lnTo>
                  <a:pt x="2703475" y="1659896"/>
                </a:lnTo>
                <a:lnTo>
                  <a:pt x="2703475" y="1659138"/>
                </a:lnTo>
                <a:lnTo>
                  <a:pt x="2705537" y="1659788"/>
                </a:lnTo>
                <a:lnTo>
                  <a:pt x="2707924" y="1659788"/>
                </a:lnTo>
                <a:lnTo>
                  <a:pt x="2707924" y="1656106"/>
                </a:lnTo>
                <a:lnTo>
                  <a:pt x="2712156" y="1652966"/>
                </a:lnTo>
                <a:lnTo>
                  <a:pt x="2716280" y="1650260"/>
                </a:lnTo>
                <a:lnTo>
                  <a:pt x="2720186" y="1650260"/>
                </a:lnTo>
                <a:lnTo>
                  <a:pt x="2723008" y="1648094"/>
                </a:lnTo>
                <a:lnTo>
                  <a:pt x="2724635" y="1646037"/>
                </a:lnTo>
                <a:lnTo>
                  <a:pt x="2727565" y="1646037"/>
                </a:lnTo>
                <a:lnTo>
                  <a:pt x="2729844" y="1643655"/>
                </a:lnTo>
                <a:close/>
                <a:moveTo>
                  <a:pt x="5066967" y="1642140"/>
                </a:moveTo>
                <a:lnTo>
                  <a:pt x="5056658" y="1646471"/>
                </a:lnTo>
                <a:lnTo>
                  <a:pt x="5051992" y="1646471"/>
                </a:lnTo>
                <a:lnTo>
                  <a:pt x="5051341" y="1649395"/>
                </a:lnTo>
                <a:lnTo>
                  <a:pt x="5048193" y="1652642"/>
                </a:lnTo>
                <a:lnTo>
                  <a:pt x="5048193" y="1648528"/>
                </a:lnTo>
                <a:lnTo>
                  <a:pt x="5045706" y="1650101"/>
                </a:lnTo>
                <a:lnTo>
                  <a:pt x="5045589" y="1650585"/>
                </a:lnTo>
                <a:lnTo>
                  <a:pt x="5044505" y="1651882"/>
                </a:lnTo>
                <a:lnTo>
                  <a:pt x="5043744" y="1654158"/>
                </a:lnTo>
                <a:lnTo>
                  <a:pt x="5042649" y="1654798"/>
                </a:lnTo>
                <a:lnTo>
                  <a:pt x="5044721" y="1656864"/>
                </a:lnTo>
                <a:lnTo>
                  <a:pt x="5049278" y="1654266"/>
                </a:lnTo>
                <a:lnTo>
                  <a:pt x="5050472" y="1650693"/>
                </a:lnTo>
                <a:lnTo>
                  <a:pt x="5053727" y="1648636"/>
                </a:lnTo>
                <a:lnTo>
                  <a:pt x="5053944" y="1652750"/>
                </a:lnTo>
                <a:lnTo>
                  <a:pt x="5056983" y="1649502"/>
                </a:lnTo>
                <a:lnTo>
                  <a:pt x="5057742" y="1646579"/>
                </a:lnTo>
                <a:lnTo>
                  <a:pt x="5062300" y="1646037"/>
                </a:lnTo>
                <a:lnTo>
                  <a:pt x="5067292" y="1642681"/>
                </a:lnTo>
                <a:lnTo>
                  <a:pt x="5071444" y="1642474"/>
                </a:lnTo>
                <a:lnTo>
                  <a:pt x="5071308" y="1642140"/>
                </a:lnTo>
                <a:close/>
                <a:moveTo>
                  <a:pt x="5028119" y="1640732"/>
                </a:moveTo>
                <a:lnTo>
                  <a:pt x="5026924" y="1643873"/>
                </a:lnTo>
                <a:lnTo>
                  <a:pt x="5028119" y="1648203"/>
                </a:lnTo>
                <a:lnTo>
                  <a:pt x="5027632" y="1651437"/>
                </a:lnTo>
                <a:lnTo>
                  <a:pt x="5027901" y="1651234"/>
                </a:lnTo>
                <a:lnTo>
                  <a:pt x="5032892" y="1652642"/>
                </a:lnTo>
                <a:lnTo>
                  <a:pt x="5033544" y="1648311"/>
                </a:lnTo>
                <a:lnTo>
                  <a:pt x="5032349" y="1643980"/>
                </a:lnTo>
                <a:lnTo>
                  <a:pt x="5032599" y="1643346"/>
                </a:lnTo>
                <a:close/>
                <a:moveTo>
                  <a:pt x="4077077" y="1640191"/>
                </a:moveTo>
                <a:lnTo>
                  <a:pt x="4075016" y="1644847"/>
                </a:lnTo>
                <a:lnTo>
                  <a:pt x="4075775" y="1647987"/>
                </a:lnTo>
                <a:lnTo>
                  <a:pt x="4081635" y="1647770"/>
                </a:lnTo>
                <a:lnTo>
                  <a:pt x="4084022" y="1650044"/>
                </a:lnTo>
                <a:lnTo>
                  <a:pt x="4082612" y="1652967"/>
                </a:lnTo>
                <a:lnTo>
                  <a:pt x="4081960" y="1658056"/>
                </a:lnTo>
                <a:lnTo>
                  <a:pt x="4081962" y="1658055"/>
                </a:lnTo>
                <a:lnTo>
                  <a:pt x="4082613" y="1652966"/>
                </a:lnTo>
                <a:lnTo>
                  <a:pt x="4084024" y="1650042"/>
                </a:lnTo>
                <a:lnTo>
                  <a:pt x="4081637" y="1647769"/>
                </a:lnTo>
                <a:lnTo>
                  <a:pt x="4075776" y="1647986"/>
                </a:lnTo>
                <a:lnTo>
                  <a:pt x="4075017" y="1644846"/>
                </a:lnTo>
                <a:lnTo>
                  <a:pt x="4077078" y="1640192"/>
                </a:lnTo>
                <a:close/>
                <a:moveTo>
                  <a:pt x="4441990" y="1639262"/>
                </a:moveTo>
                <a:lnTo>
                  <a:pt x="4440826" y="1639649"/>
                </a:lnTo>
                <a:lnTo>
                  <a:pt x="4437244" y="1645604"/>
                </a:lnTo>
                <a:lnTo>
                  <a:pt x="4439089" y="1652642"/>
                </a:lnTo>
                <a:lnTo>
                  <a:pt x="4443972" y="1660329"/>
                </a:lnTo>
                <a:lnTo>
                  <a:pt x="4443756" y="1662711"/>
                </a:lnTo>
                <a:lnTo>
                  <a:pt x="4443430" y="1666717"/>
                </a:lnTo>
                <a:lnTo>
                  <a:pt x="4443756" y="1677652"/>
                </a:lnTo>
                <a:lnTo>
                  <a:pt x="4446685" y="1680792"/>
                </a:lnTo>
                <a:lnTo>
                  <a:pt x="4449507" y="1687721"/>
                </a:lnTo>
                <a:lnTo>
                  <a:pt x="4449508" y="1687722"/>
                </a:lnTo>
                <a:lnTo>
                  <a:pt x="4446687" y="1680793"/>
                </a:lnTo>
                <a:lnTo>
                  <a:pt x="4443757" y="1677652"/>
                </a:lnTo>
                <a:lnTo>
                  <a:pt x="4443432" y="1666717"/>
                </a:lnTo>
                <a:lnTo>
                  <a:pt x="4443757" y="1662711"/>
                </a:lnTo>
                <a:lnTo>
                  <a:pt x="4447555" y="1662278"/>
                </a:lnTo>
                <a:lnTo>
                  <a:pt x="4455368" y="1666176"/>
                </a:lnTo>
                <a:lnTo>
                  <a:pt x="4459492" y="1663903"/>
                </a:lnTo>
                <a:lnTo>
                  <a:pt x="4476203" y="1661521"/>
                </a:lnTo>
                <a:lnTo>
                  <a:pt x="4483800" y="1661195"/>
                </a:lnTo>
                <a:lnTo>
                  <a:pt x="4487387" y="1658239"/>
                </a:lnTo>
                <a:lnTo>
                  <a:pt x="4483799" y="1661195"/>
                </a:lnTo>
                <a:lnTo>
                  <a:pt x="4476203" y="1661520"/>
                </a:lnTo>
                <a:lnTo>
                  <a:pt x="4459492" y="1663901"/>
                </a:lnTo>
                <a:lnTo>
                  <a:pt x="4455368" y="1666175"/>
                </a:lnTo>
                <a:lnTo>
                  <a:pt x="4447555" y="1662277"/>
                </a:lnTo>
                <a:lnTo>
                  <a:pt x="4443757" y="1662711"/>
                </a:lnTo>
                <a:lnTo>
                  <a:pt x="4443974" y="1660329"/>
                </a:lnTo>
                <a:lnTo>
                  <a:pt x="4439091" y="1652642"/>
                </a:lnTo>
                <a:lnTo>
                  <a:pt x="4437246" y="1645604"/>
                </a:lnTo>
                <a:lnTo>
                  <a:pt x="4440827" y="1639649"/>
                </a:lnTo>
                <a:close/>
                <a:moveTo>
                  <a:pt x="4626932" y="1639109"/>
                </a:moveTo>
                <a:lnTo>
                  <a:pt x="4623351" y="1642357"/>
                </a:lnTo>
                <a:lnTo>
                  <a:pt x="4623351" y="1647338"/>
                </a:lnTo>
                <a:lnTo>
                  <a:pt x="4617817" y="1648528"/>
                </a:lnTo>
                <a:lnTo>
                  <a:pt x="4616733" y="1648281"/>
                </a:lnTo>
                <a:lnTo>
                  <a:pt x="4616733" y="1648636"/>
                </a:lnTo>
                <a:lnTo>
                  <a:pt x="4616082" y="1648419"/>
                </a:lnTo>
                <a:lnTo>
                  <a:pt x="4605881" y="1651017"/>
                </a:lnTo>
                <a:lnTo>
                  <a:pt x="4598827" y="1651775"/>
                </a:lnTo>
                <a:lnTo>
                  <a:pt x="4598827" y="1651776"/>
                </a:lnTo>
                <a:lnTo>
                  <a:pt x="4605880" y="1651019"/>
                </a:lnTo>
                <a:lnTo>
                  <a:pt x="4616081" y="1648420"/>
                </a:lnTo>
                <a:lnTo>
                  <a:pt x="4616732" y="1648636"/>
                </a:lnTo>
                <a:lnTo>
                  <a:pt x="4620530" y="1649503"/>
                </a:lnTo>
                <a:lnTo>
                  <a:pt x="4626065" y="1648311"/>
                </a:lnTo>
                <a:lnTo>
                  <a:pt x="4625522" y="1643331"/>
                </a:lnTo>
                <a:lnTo>
                  <a:pt x="4629211" y="1640083"/>
                </a:lnTo>
                <a:lnTo>
                  <a:pt x="4641040" y="1643981"/>
                </a:lnTo>
                <a:lnTo>
                  <a:pt x="4653302" y="1643981"/>
                </a:lnTo>
                <a:lnTo>
                  <a:pt x="4659379" y="1640732"/>
                </a:lnTo>
                <a:lnTo>
                  <a:pt x="4662918" y="1640945"/>
                </a:lnTo>
                <a:lnTo>
                  <a:pt x="4662525" y="1639758"/>
                </a:lnTo>
                <a:lnTo>
                  <a:pt x="4656991" y="1639758"/>
                </a:lnTo>
                <a:lnTo>
                  <a:pt x="4651023" y="1643006"/>
                </a:lnTo>
                <a:lnTo>
                  <a:pt x="4638760" y="1643006"/>
                </a:lnTo>
                <a:close/>
                <a:moveTo>
                  <a:pt x="6074304" y="1637593"/>
                </a:moveTo>
                <a:lnTo>
                  <a:pt x="6074762" y="1637809"/>
                </a:lnTo>
                <a:lnTo>
                  <a:pt x="6076581" y="1637593"/>
                </a:lnTo>
                <a:close/>
                <a:moveTo>
                  <a:pt x="6079754" y="1636402"/>
                </a:moveTo>
                <a:lnTo>
                  <a:pt x="6078921" y="1637315"/>
                </a:lnTo>
                <a:lnTo>
                  <a:pt x="6079320" y="1637268"/>
                </a:lnTo>
                <a:lnTo>
                  <a:pt x="6079992" y="1636448"/>
                </a:lnTo>
                <a:close/>
                <a:moveTo>
                  <a:pt x="6060462" y="1635752"/>
                </a:moveTo>
                <a:lnTo>
                  <a:pt x="6070666" y="1635964"/>
                </a:lnTo>
                <a:lnTo>
                  <a:pt x="6070204" y="1635752"/>
                </a:lnTo>
                <a:close/>
                <a:moveTo>
                  <a:pt x="6059352" y="1635752"/>
                </a:moveTo>
                <a:lnTo>
                  <a:pt x="6056380" y="1636684"/>
                </a:lnTo>
                <a:lnTo>
                  <a:pt x="6056749" y="1636943"/>
                </a:lnTo>
                <a:lnTo>
                  <a:pt x="6060437" y="1635752"/>
                </a:lnTo>
                <a:close/>
                <a:moveTo>
                  <a:pt x="1221354" y="1635752"/>
                </a:moveTo>
                <a:lnTo>
                  <a:pt x="1222765" y="1637917"/>
                </a:lnTo>
                <a:lnTo>
                  <a:pt x="1220052" y="1639000"/>
                </a:lnTo>
                <a:lnTo>
                  <a:pt x="1219184" y="1643006"/>
                </a:lnTo>
                <a:lnTo>
                  <a:pt x="1221897" y="1651884"/>
                </a:lnTo>
                <a:lnTo>
                  <a:pt x="1219943" y="1653400"/>
                </a:lnTo>
                <a:lnTo>
                  <a:pt x="1216688" y="1646254"/>
                </a:lnTo>
                <a:lnTo>
                  <a:pt x="1216796" y="1639650"/>
                </a:lnTo>
                <a:close/>
                <a:moveTo>
                  <a:pt x="7327586" y="1634561"/>
                </a:moveTo>
                <a:lnTo>
                  <a:pt x="7322594" y="1641273"/>
                </a:lnTo>
                <a:lnTo>
                  <a:pt x="7321183" y="1646362"/>
                </a:lnTo>
                <a:lnTo>
                  <a:pt x="7320967" y="1651126"/>
                </a:lnTo>
                <a:lnTo>
                  <a:pt x="7317928" y="1653399"/>
                </a:lnTo>
                <a:lnTo>
                  <a:pt x="7314455" y="1659030"/>
                </a:lnTo>
                <a:lnTo>
                  <a:pt x="7309464" y="1664118"/>
                </a:lnTo>
                <a:lnTo>
                  <a:pt x="7306860" y="1663252"/>
                </a:lnTo>
                <a:lnTo>
                  <a:pt x="7308487" y="1656215"/>
                </a:lnTo>
                <a:lnTo>
                  <a:pt x="7311960" y="1652425"/>
                </a:lnTo>
                <a:lnTo>
                  <a:pt x="7312828" y="1649610"/>
                </a:lnTo>
                <a:lnTo>
                  <a:pt x="7314672" y="1647661"/>
                </a:lnTo>
                <a:lnTo>
                  <a:pt x="7316084" y="1643330"/>
                </a:lnTo>
                <a:lnTo>
                  <a:pt x="7317928" y="1641598"/>
                </a:lnTo>
                <a:lnTo>
                  <a:pt x="7320316" y="1636726"/>
                </a:lnTo>
                <a:lnTo>
                  <a:pt x="7325199" y="1635860"/>
                </a:lnTo>
                <a:close/>
                <a:moveTo>
                  <a:pt x="6947018" y="1634466"/>
                </a:moveTo>
                <a:lnTo>
                  <a:pt x="6946259" y="1636076"/>
                </a:lnTo>
                <a:lnTo>
                  <a:pt x="6942569" y="1636725"/>
                </a:lnTo>
                <a:lnTo>
                  <a:pt x="6939313" y="1640731"/>
                </a:lnTo>
                <a:lnTo>
                  <a:pt x="6939313" y="1642332"/>
                </a:lnTo>
                <a:lnTo>
                  <a:pt x="6942460" y="1638459"/>
                </a:lnTo>
                <a:lnTo>
                  <a:pt x="6946041" y="1637810"/>
                </a:lnTo>
                <a:lnTo>
                  <a:pt x="6947018" y="1635969"/>
                </a:lnTo>
                <a:close/>
                <a:moveTo>
                  <a:pt x="6043291" y="1633154"/>
                </a:moveTo>
                <a:lnTo>
                  <a:pt x="6038082" y="1636943"/>
                </a:lnTo>
                <a:lnTo>
                  <a:pt x="6033199" y="1638675"/>
                </a:lnTo>
                <a:lnTo>
                  <a:pt x="6030120" y="1640371"/>
                </a:lnTo>
                <a:lnTo>
                  <a:pt x="6031356" y="1640949"/>
                </a:lnTo>
                <a:lnTo>
                  <a:pt x="6034503" y="1639217"/>
                </a:lnTo>
                <a:lnTo>
                  <a:pt x="6039278" y="1637484"/>
                </a:lnTo>
                <a:lnTo>
                  <a:pt x="6044486" y="1633695"/>
                </a:lnTo>
                <a:lnTo>
                  <a:pt x="6047807" y="1633259"/>
                </a:lnTo>
                <a:lnTo>
                  <a:pt x="6047415" y="1633154"/>
                </a:lnTo>
                <a:close/>
                <a:moveTo>
                  <a:pt x="5243090" y="1630613"/>
                </a:moveTo>
                <a:lnTo>
                  <a:pt x="5243090" y="1632829"/>
                </a:lnTo>
                <a:lnTo>
                  <a:pt x="5248733" y="1632829"/>
                </a:lnTo>
                <a:lnTo>
                  <a:pt x="5251988" y="1635969"/>
                </a:lnTo>
                <a:lnTo>
                  <a:pt x="5257306" y="1637160"/>
                </a:lnTo>
                <a:lnTo>
                  <a:pt x="5258174" y="1639758"/>
                </a:lnTo>
                <a:lnTo>
                  <a:pt x="5262623" y="1643332"/>
                </a:lnTo>
                <a:lnTo>
                  <a:pt x="5269676" y="1643332"/>
                </a:lnTo>
                <a:lnTo>
                  <a:pt x="5271956" y="1645063"/>
                </a:lnTo>
                <a:lnTo>
                  <a:pt x="5273141" y="1663666"/>
                </a:lnTo>
                <a:lnTo>
                  <a:pt x="5273365" y="1663252"/>
                </a:lnTo>
                <a:lnTo>
                  <a:pt x="5272280" y="1644521"/>
                </a:lnTo>
                <a:lnTo>
                  <a:pt x="5270002" y="1642789"/>
                </a:lnTo>
                <a:lnTo>
                  <a:pt x="5262947" y="1642681"/>
                </a:lnTo>
                <a:lnTo>
                  <a:pt x="5258390" y="1639000"/>
                </a:lnTo>
                <a:lnTo>
                  <a:pt x="5257521" y="1636401"/>
                </a:lnTo>
                <a:lnTo>
                  <a:pt x="5252205" y="1635211"/>
                </a:lnTo>
                <a:lnTo>
                  <a:pt x="5248949" y="1632179"/>
                </a:lnTo>
                <a:lnTo>
                  <a:pt x="5243306" y="1632179"/>
                </a:lnTo>
                <a:close/>
                <a:moveTo>
                  <a:pt x="5748125" y="1630468"/>
                </a:moveTo>
                <a:lnTo>
                  <a:pt x="5743786" y="1632179"/>
                </a:lnTo>
                <a:lnTo>
                  <a:pt x="5739771" y="1631313"/>
                </a:lnTo>
                <a:lnTo>
                  <a:pt x="5739348" y="1631532"/>
                </a:lnTo>
                <a:lnTo>
                  <a:pt x="5743351" y="1632503"/>
                </a:lnTo>
                <a:lnTo>
                  <a:pt x="5748017" y="1630663"/>
                </a:lnTo>
                <a:close/>
                <a:moveTo>
                  <a:pt x="5929017" y="1628059"/>
                </a:moveTo>
                <a:lnTo>
                  <a:pt x="5927070" y="1629797"/>
                </a:lnTo>
                <a:lnTo>
                  <a:pt x="5923815" y="1634454"/>
                </a:lnTo>
                <a:lnTo>
                  <a:pt x="5919800" y="1635428"/>
                </a:lnTo>
                <a:lnTo>
                  <a:pt x="5915784" y="1639217"/>
                </a:lnTo>
                <a:lnTo>
                  <a:pt x="5915784" y="1642465"/>
                </a:lnTo>
                <a:lnTo>
                  <a:pt x="5909599" y="1645389"/>
                </a:lnTo>
                <a:lnTo>
                  <a:pt x="5907863" y="1650152"/>
                </a:lnTo>
                <a:lnTo>
                  <a:pt x="5907863" y="1654916"/>
                </a:lnTo>
                <a:lnTo>
                  <a:pt x="5900267" y="1657623"/>
                </a:lnTo>
                <a:lnTo>
                  <a:pt x="5896142" y="1662062"/>
                </a:lnTo>
                <a:lnTo>
                  <a:pt x="5894624" y="1664444"/>
                </a:lnTo>
                <a:lnTo>
                  <a:pt x="5883772" y="1664444"/>
                </a:lnTo>
                <a:lnTo>
                  <a:pt x="5879432" y="1666718"/>
                </a:lnTo>
                <a:lnTo>
                  <a:pt x="5875633" y="1675487"/>
                </a:lnTo>
                <a:lnTo>
                  <a:pt x="5875633" y="1676029"/>
                </a:lnTo>
                <a:lnTo>
                  <a:pt x="5873572" y="1676029"/>
                </a:lnTo>
                <a:lnTo>
                  <a:pt x="5868797" y="1674297"/>
                </a:lnTo>
                <a:lnTo>
                  <a:pt x="5865867" y="1674297"/>
                </a:lnTo>
                <a:lnTo>
                  <a:pt x="5864674" y="1672889"/>
                </a:lnTo>
                <a:lnTo>
                  <a:pt x="5857619" y="1670507"/>
                </a:lnTo>
                <a:lnTo>
                  <a:pt x="5852302" y="1665852"/>
                </a:lnTo>
                <a:lnTo>
                  <a:pt x="5848874" y="1664996"/>
                </a:lnTo>
                <a:lnTo>
                  <a:pt x="5849046" y="1665526"/>
                </a:lnTo>
                <a:lnTo>
                  <a:pt x="5852519" y="1666392"/>
                </a:lnTo>
                <a:lnTo>
                  <a:pt x="5857836" y="1670939"/>
                </a:lnTo>
                <a:lnTo>
                  <a:pt x="5864890" y="1673430"/>
                </a:lnTo>
                <a:lnTo>
                  <a:pt x="5866083" y="1674729"/>
                </a:lnTo>
                <a:lnTo>
                  <a:pt x="5866625" y="1675487"/>
                </a:lnTo>
                <a:lnTo>
                  <a:pt x="5866626" y="1675486"/>
                </a:lnTo>
                <a:lnTo>
                  <a:pt x="5866084" y="1674728"/>
                </a:lnTo>
                <a:lnTo>
                  <a:pt x="5869014" y="1674837"/>
                </a:lnTo>
                <a:lnTo>
                  <a:pt x="5873897" y="1676569"/>
                </a:lnTo>
                <a:lnTo>
                  <a:pt x="5875959" y="1676569"/>
                </a:lnTo>
                <a:lnTo>
                  <a:pt x="5875743" y="1676029"/>
                </a:lnTo>
                <a:lnTo>
                  <a:pt x="5879541" y="1667259"/>
                </a:lnTo>
                <a:lnTo>
                  <a:pt x="5883882" y="1664985"/>
                </a:lnTo>
                <a:lnTo>
                  <a:pt x="5894950" y="1665527"/>
                </a:lnTo>
                <a:lnTo>
                  <a:pt x="5896469" y="1663036"/>
                </a:lnTo>
                <a:lnTo>
                  <a:pt x="5900593" y="1658597"/>
                </a:lnTo>
                <a:lnTo>
                  <a:pt x="5908190" y="1655890"/>
                </a:lnTo>
                <a:lnTo>
                  <a:pt x="5908514" y="1651018"/>
                </a:lnTo>
                <a:lnTo>
                  <a:pt x="5910251" y="1646254"/>
                </a:lnTo>
                <a:lnTo>
                  <a:pt x="5916436" y="1643331"/>
                </a:lnTo>
                <a:lnTo>
                  <a:pt x="5916654" y="1640083"/>
                </a:lnTo>
                <a:lnTo>
                  <a:pt x="5920561" y="1636293"/>
                </a:lnTo>
                <a:lnTo>
                  <a:pt x="5924575" y="1635211"/>
                </a:lnTo>
                <a:lnTo>
                  <a:pt x="5927831" y="1630555"/>
                </a:lnTo>
                <a:lnTo>
                  <a:pt x="5929893" y="1628714"/>
                </a:lnTo>
                <a:close/>
                <a:moveTo>
                  <a:pt x="2750679" y="1626873"/>
                </a:moveTo>
                <a:lnTo>
                  <a:pt x="2750679" y="1629904"/>
                </a:lnTo>
                <a:lnTo>
                  <a:pt x="2749377" y="1633045"/>
                </a:lnTo>
                <a:lnTo>
                  <a:pt x="2746989" y="1634561"/>
                </a:lnTo>
                <a:cubicBezTo>
                  <a:pt x="2746989" y="1634561"/>
                  <a:pt x="2745904" y="1633586"/>
                  <a:pt x="2745904" y="1633586"/>
                </a:cubicBezTo>
                <a:lnTo>
                  <a:pt x="2747749" y="1629147"/>
                </a:lnTo>
                <a:close/>
                <a:moveTo>
                  <a:pt x="6947993" y="1626809"/>
                </a:moveTo>
                <a:lnTo>
                  <a:pt x="6947344" y="1630121"/>
                </a:lnTo>
                <a:lnTo>
                  <a:pt x="6947328" y="1630434"/>
                </a:lnTo>
                <a:lnTo>
                  <a:pt x="6948103" y="1626874"/>
                </a:lnTo>
                <a:close/>
                <a:moveTo>
                  <a:pt x="6896047" y="1626742"/>
                </a:moveTo>
                <a:lnTo>
                  <a:pt x="6896015" y="1626874"/>
                </a:lnTo>
                <a:lnTo>
                  <a:pt x="6896015" y="1629327"/>
                </a:lnTo>
                <a:lnTo>
                  <a:pt x="6896450" y="1629146"/>
                </a:lnTo>
                <a:close/>
                <a:moveTo>
                  <a:pt x="4088898" y="1626668"/>
                </a:moveTo>
                <a:lnTo>
                  <a:pt x="4087495" y="1628390"/>
                </a:lnTo>
                <a:lnTo>
                  <a:pt x="4087170" y="1631097"/>
                </a:lnTo>
                <a:lnTo>
                  <a:pt x="4085325" y="1635211"/>
                </a:lnTo>
                <a:lnTo>
                  <a:pt x="4085216" y="1639867"/>
                </a:lnTo>
                <a:lnTo>
                  <a:pt x="4082178" y="1642464"/>
                </a:lnTo>
                <a:lnTo>
                  <a:pt x="4082179" y="1642464"/>
                </a:lnTo>
                <a:lnTo>
                  <a:pt x="4085217" y="1639866"/>
                </a:lnTo>
                <a:lnTo>
                  <a:pt x="4085326" y="1635210"/>
                </a:lnTo>
                <a:lnTo>
                  <a:pt x="4087171" y="1631095"/>
                </a:lnTo>
                <a:lnTo>
                  <a:pt x="4087497" y="1628389"/>
                </a:lnTo>
                <a:close/>
                <a:moveTo>
                  <a:pt x="5241612" y="1626613"/>
                </a:moveTo>
                <a:lnTo>
                  <a:pt x="5241570" y="1626765"/>
                </a:lnTo>
                <a:lnTo>
                  <a:pt x="5242917" y="1629356"/>
                </a:lnTo>
                <a:lnTo>
                  <a:pt x="5242873" y="1629039"/>
                </a:lnTo>
                <a:close/>
                <a:moveTo>
                  <a:pt x="6328426" y="1625782"/>
                </a:moveTo>
                <a:lnTo>
                  <a:pt x="6332055" y="1629689"/>
                </a:lnTo>
                <a:lnTo>
                  <a:pt x="6332096" y="1629691"/>
                </a:lnTo>
                <a:lnTo>
                  <a:pt x="6328474" y="1625791"/>
                </a:lnTo>
                <a:close/>
                <a:moveTo>
                  <a:pt x="5697557" y="1625574"/>
                </a:moveTo>
                <a:lnTo>
                  <a:pt x="5697557" y="1626008"/>
                </a:lnTo>
                <a:lnTo>
                  <a:pt x="5698600" y="1626954"/>
                </a:lnTo>
                <a:lnTo>
                  <a:pt x="5698751" y="1626548"/>
                </a:lnTo>
                <a:close/>
                <a:moveTo>
                  <a:pt x="6897125" y="1622423"/>
                </a:moveTo>
                <a:lnTo>
                  <a:pt x="6897101" y="1622435"/>
                </a:lnTo>
                <a:lnTo>
                  <a:pt x="6896897" y="1623268"/>
                </a:lnTo>
                <a:close/>
                <a:moveTo>
                  <a:pt x="5756916" y="1622110"/>
                </a:moveTo>
                <a:lnTo>
                  <a:pt x="5748994" y="1623193"/>
                </a:lnTo>
                <a:lnTo>
                  <a:pt x="5748899" y="1623466"/>
                </a:lnTo>
                <a:lnTo>
                  <a:pt x="5756481" y="1622326"/>
                </a:lnTo>
                <a:lnTo>
                  <a:pt x="5764946" y="1622326"/>
                </a:lnTo>
                <a:lnTo>
                  <a:pt x="5772216" y="1624275"/>
                </a:lnTo>
                <a:lnTo>
                  <a:pt x="5779270" y="1629472"/>
                </a:lnTo>
                <a:lnTo>
                  <a:pt x="5783176" y="1636293"/>
                </a:lnTo>
                <a:lnTo>
                  <a:pt x="5785672" y="1641815"/>
                </a:lnTo>
                <a:lnTo>
                  <a:pt x="5787951" y="1642031"/>
                </a:lnTo>
                <a:lnTo>
                  <a:pt x="5792943" y="1643439"/>
                </a:lnTo>
                <a:lnTo>
                  <a:pt x="5798585" y="1646903"/>
                </a:lnTo>
                <a:lnTo>
                  <a:pt x="5800322" y="1646903"/>
                </a:lnTo>
                <a:lnTo>
                  <a:pt x="5803903" y="1648636"/>
                </a:lnTo>
                <a:lnTo>
                  <a:pt x="5804120" y="1651343"/>
                </a:lnTo>
                <a:lnTo>
                  <a:pt x="5803252" y="1653617"/>
                </a:lnTo>
                <a:lnTo>
                  <a:pt x="5803360" y="1657514"/>
                </a:lnTo>
                <a:lnTo>
                  <a:pt x="5804662" y="1660654"/>
                </a:lnTo>
                <a:lnTo>
                  <a:pt x="5806941" y="1662927"/>
                </a:lnTo>
                <a:lnTo>
                  <a:pt x="5808026" y="1664119"/>
                </a:lnTo>
                <a:lnTo>
                  <a:pt x="5810197" y="1664010"/>
                </a:lnTo>
                <a:lnTo>
                  <a:pt x="5814863" y="1665959"/>
                </a:lnTo>
                <a:lnTo>
                  <a:pt x="5818553" y="1667692"/>
                </a:lnTo>
                <a:lnTo>
                  <a:pt x="5819855" y="1665526"/>
                </a:lnTo>
                <a:lnTo>
                  <a:pt x="5823653" y="1663469"/>
                </a:lnTo>
                <a:lnTo>
                  <a:pt x="5834939" y="1662711"/>
                </a:lnTo>
                <a:lnTo>
                  <a:pt x="5840148" y="1661195"/>
                </a:lnTo>
                <a:lnTo>
                  <a:pt x="5842535" y="1657081"/>
                </a:lnTo>
                <a:lnTo>
                  <a:pt x="5847201" y="1654482"/>
                </a:lnTo>
                <a:lnTo>
                  <a:pt x="5849395" y="1655486"/>
                </a:lnTo>
                <a:lnTo>
                  <a:pt x="5849481" y="1655241"/>
                </a:lnTo>
                <a:lnTo>
                  <a:pt x="5846877" y="1654050"/>
                </a:lnTo>
                <a:lnTo>
                  <a:pt x="5842210" y="1656648"/>
                </a:lnTo>
                <a:lnTo>
                  <a:pt x="5839822" y="1660763"/>
                </a:lnTo>
                <a:lnTo>
                  <a:pt x="5834723" y="1662279"/>
                </a:lnTo>
                <a:lnTo>
                  <a:pt x="5823871" y="1663036"/>
                </a:lnTo>
                <a:lnTo>
                  <a:pt x="5820073" y="1665093"/>
                </a:lnTo>
                <a:lnTo>
                  <a:pt x="5818771" y="1667259"/>
                </a:lnTo>
                <a:lnTo>
                  <a:pt x="5815190" y="1665527"/>
                </a:lnTo>
                <a:lnTo>
                  <a:pt x="5810415" y="1663578"/>
                </a:lnTo>
                <a:lnTo>
                  <a:pt x="5808245" y="1663578"/>
                </a:lnTo>
                <a:lnTo>
                  <a:pt x="5807160" y="1662387"/>
                </a:lnTo>
                <a:lnTo>
                  <a:pt x="5804880" y="1660113"/>
                </a:lnTo>
                <a:lnTo>
                  <a:pt x="5803579" y="1656973"/>
                </a:lnTo>
                <a:lnTo>
                  <a:pt x="5803579" y="1653184"/>
                </a:lnTo>
                <a:lnTo>
                  <a:pt x="5804447" y="1650910"/>
                </a:lnTo>
                <a:lnTo>
                  <a:pt x="5804447" y="1648203"/>
                </a:lnTo>
                <a:lnTo>
                  <a:pt x="5800866" y="1646579"/>
                </a:lnTo>
                <a:lnTo>
                  <a:pt x="5799129" y="1646579"/>
                </a:lnTo>
                <a:lnTo>
                  <a:pt x="5793486" y="1643006"/>
                </a:lnTo>
                <a:lnTo>
                  <a:pt x="5788495" y="1641599"/>
                </a:lnTo>
                <a:lnTo>
                  <a:pt x="5786107" y="1641599"/>
                </a:lnTo>
                <a:lnTo>
                  <a:pt x="5783611" y="1636077"/>
                </a:lnTo>
                <a:lnTo>
                  <a:pt x="5779704" y="1629148"/>
                </a:lnTo>
                <a:lnTo>
                  <a:pt x="5772652" y="1623951"/>
                </a:lnTo>
                <a:lnTo>
                  <a:pt x="5765380" y="1622110"/>
                </a:lnTo>
                <a:close/>
                <a:moveTo>
                  <a:pt x="5707927" y="1621986"/>
                </a:moveTo>
                <a:lnTo>
                  <a:pt x="5707215" y="1625033"/>
                </a:lnTo>
                <a:lnTo>
                  <a:pt x="5707541" y="1627473"/>
                </a:lnTo>
                <a:lnTo>
                  <a:pt x="5707541" y="1625358"/>
                </a:lnTo>
                <a:lnTo>
                  <a:pt x="5708192" y="1622110"/>
                </a:lnTo>
                <a:close/>
                <a:moveTo>
                  <a:pt x="3845612" y="1616588"/>
                </a:moveTo>
                <a:lnTo>
                  <a:pt x="3847565" y="1620486"/>
                </a:lnTo>
                <a:lnTo>
                  <a:pt x="3851580" y="1620486"/>
                </a:lnTo>
                <a:lnTo>
                  <a:pt x="3846046" y="1624492"/>
                </a:lnTo>
                <a:lnTo>
                  <a:pt x="3839535" y="1621243"/>
                </a:lnTo>
                <a:cubicBezTo>
                  <a:pt x="3839828" y="1619891"/>
                  <a:pt x="3840191" y="1618554"/>
                  <a:pt x="3840620" y="1617237"/>
                </a:cubicBezTo>
                <a:close/>
                <a:moveTo>
                  <a:pt x="5993916" y="1615289"/>
                </a:moveTo>
                <a:lnTo>
                  <a:pt x="5990336" y="1617671"/>
                </a:lnTo>
                <a:lnTo>
                  <a:pt x="5985995" y="1617671"/>
                </a:lnTo>
                <a:lnTo>
                  <a:pt x="5983390" y="1618538"/>
                </a:lnTo>
                <a:lnTo>
                  <a:pt x="5978658" y="1618538"/>
                </a:lnTo>
                <a:lnTo>
                  <a:pt x="5979702" y="1619620"/>
                </a:lnTo>
                <a:lnTo>
                  <a:pt x="5984693" y="1619295"/>
                </a:lnTo>
                <a:lnTo>
                  <a:pt x="5987298" y="1618320"/>
                </a:lnTo>
                <a:lnTo>
                  <a:pt x="5991530" y="1618753"/>
                </a:lnTo>
                <a:lnTo>
                  <a:pt x="5995219" y="1616371"/>
                </a:lnTo>
                <a:lnTo>
                  <a:pt x="6001759" y="1615905"/>
                </a:lnTo>
                <a:lnTo>
                  <a:pt x="6001512" y="1615289"/>
                </a:lnTo>
                <a:close/>
                <a:moveTo>
                  <a:pt x="4608811" y="1612581"/>
                </a:moveTo>
                <a:lnTo>
                  <a:pt x="4608317" y="1613489"/>
                </a:lnTo>
                <a:lnTo>
                  <a:pt x="4611631" y="1616589"/>
                </a:lnTo>
                <a:lnTo>
                  <a:pt x="4612905" y="1616411"/>
                </a:lnTo>
                <a:close/>
                <a:moveTo>
                  <a:pt x="6314541" y="1612232"/>
                </a:moveTo>
                <a:lnTo>
                  <a:pt x="6317080" y="1619620"/>
                </a:lnTo>
                <a:lnTo>
                  <a:pt x="6317402" y="1619839"/>
                </a:lnTo>
                <a:lnTo>
                  <a:pt x="6314909" y="1612583"/>
                </a:lnTo>
                <a:close/>
                <a:moveTo>
                  <a:pt x="6939734" y="1609104"/>
                </a:moveTo>
                <a:lnTo>
                  <a:pt x="6937903" y="1610848"/>
                </a:lnTo>
                <a:lnTo>
                  <a:pt x="6938400" y="1612213"/>
                </a:lnTo>
                <a:lnTo>
                  <a:pt x="6940399" y="1610309"/>
                </a:lnTo>
                <a:close/>
                <a:moveTo>
                  <a:pt x="6217352" y="1608901"/>
                </a:moveTo>
                <a:lnTo>
                  <a:pt x="6214097" y="1611175"/>
                </a:lnTo>
                <a:lnTo>
                  <a:pt x="6206826" y="1611175"/>
                </a:lnTo>
                <a:lnTo>
                  <a:pt x="6205090" y="1612799"/>
                </a:lnTo>
                <a:lnTo>
                  <a:pt x="6202168" y="1612799"/>
                </a:lnTo>
                <a:lnTo>
                  <a:pt x="6202378" y="1612907"/>
                </a:lnTo>
                <a:lnTo>
                  <a:pt x="6205742" y="1613015"/>
                </a:lnTo>
                <a:lnTo>
                  <a:pt x="6207478" y="1611391"/>
                </a:lnTo>
                <a:lnTo>
                  <a:pt x="6214749" y="1611716"/>
                </a:lnTo>
                <a:lnTo>
                  <a:pt x="6218004" y="1609550"/>
                </a:lnTo>
                <a:lnTo>
                  <a:pt x="6221585" y="1609659"/>
                </a:lnTo>
                <a:lnTo>
                  <a:pt x="6224515" y="1610742"/>
                </a:lnTo>
                <a:lnTo>
                  <a:pt x="6227554" y="1609767"/>
                </a:lnTo>
                <a:lnTo>
                  <a:pt x="6227620" y="1609696"/>
                </a:lnTo>
                <a:lnTo>
                  <a:pt x="6223863" y="1609984"/>
                </a:lnTo>
                <a:lnTo>
                  <a:pt x="6220934" y="1608901"/>
                </a:lnTo>
                <a:close/>
                <a:moveTo>
                  <a:pt x="5971562" y="1608901"/>
                </a:moveTo>
                <a:lnTo>
                  <a:pt x="5967982" y="1611175"/>
                </a:lnTo>
                <a:lnTo>
                  <a:pt x="5962447" y="1611175"/>
                </a:lnTo>
                <a:lnTo>
                  <a:pt x="5958540" y="1611175"/>
                </a:lnTo>
                <a:lnTo>
                  <a:pt x="5953874" y="1612366"/>
                </a:lnTo>
                <a:lnTo>
                  <a:pt x="5945410" y="1613449"/>
                </a:lnTo>
                <a:lnTo>
                  <a:pt x="5941611" y="1614965"/>
                </a:lnTo>
                <a:lnTo>
                  <a:pt x="5939224" y="1621136"/>
                </a:lnTo>
                <a:lnTo>
                  <a:pt x="5935969" y="1622868"/>
                </a:lnTo>
                <a:lnTo>
                  <a:pt x="5928046" y="1620595"/>
                </a:lnTo>
                <a:lnTo>
                  <a:pt x="5926528" y="1622652"/>
                </a:lnTo>
                <a:lnTo>
                  <a:pt x="5926528" y="1626116"/>
                </a:lnTo>
                <a:lnTo>
                  <a:pt x="5927285" y="1626651"/>
                </a:lnTo>
                <a:lnTo>
                  <a:pt x="5927180" y="1623409"/>
                </a:lnTo>
                <a:lnTo>
                  <a:pt x="5928699" y="1621352"/>
                </a:lnTo>
                <a:lnTo>
                  <a:pt x="5936621" y="1623517"/>
                </a:lnTo>
                <a:lnTo>
                  <a:pt x="5939876" y="1621785"/>
                </a:lnTo>
                <a:lnTo>
                  <a:pt x="5942264" y="1615614"/>
                </a:lnTo>
                <a:lnTo>
                  <a:pt x="5946062" y="1614098"/>
                </a:lnTo>
                <a:lnTo>
                  <a:pt x="5954525" y="1613015"/>
                </a:lnTo>
                <a:lnTo>
                  <a:pt x="5959192" y="1611824"/>
                </a:lnTo>
                <a:lnTo>
                  <a:pt x="5963099" y="1611716"/>
                </a:lnTo>
                <a:lnTo>
                  <a:pt x="5968633" y="1612040"/>
                </a:lnTo>
                <a:lnTo>
                  <a:pt x="5972322" y="1609767"/>
                </a:lnTo>
                <a:lnTo>
                  <a:pt x="5973516" y="1609983"/>
                </a:lnTo>
                <a:lnTo>
                  <a:pt x="5974667" y="1611514"/>
                </a:lnTo>
                <a:lnTo>
                  <a:pt x="5972755" y="1608901"/>
                </a:lnTo>
                <a:close/>
                <a:moveTo>
                  <a:pt x="5246236" y="1607959"/>
                </a:moveTo>
                <a:lnTo>
                  <a:pt x="5246236" y="1609551"/>
                </a:lnTo>
                <a:lnTo>
                  <a:pt x="5249818" y="1609551"/>
                </a:lnTo>
                <a:lnTo>
                  <a:pt x="5250784" y="1614020"/>
                </a:lnTo>
                <a:lnTo>
                  <a:pt x="5250902" y="1613881"/>
                </a:lnTo>
                <a:lnTo>
                  <a:pt x="5249600" y="1608468"/>
                </a:lnTo>
                <a:close/>
                <a:moveTo>
                  <a:pt x="6848604" y="1606417"/>
                </a:moveTo>
                <a:lnTo>
                  <a:pt x="6848702" y="1606842"/>
                </a:lnTo>
                <a:lnTo>
                  <a:pt x="6849877" y="1610092"/>
                </a:lnTo>
                <a:lnTo>
                  <a:pt x="6849896" y="1609984"/>
                </a:lnTo>
                <a:close/>
                <a:moveTo>
                  <a:pt x="6244814" y="1602663"/>
                </a:moveTo>
                <a:lnTo>
                  <a:pt x="6239056" y="1603055"/>
                </a:lnTo>
                <a:lnTo>
                  <a:pt x="6238783" y="1603141"/>
                </a:lnTo>
                <a:close/>
                <a:moveTo>
                  <a:pt x="6843554" y="1601863"/>
                </a:moveTo>
                <a:lnTo>
                  <a:pt x="6843710" y="1602836"/>
                </a:lnTo>
                <a:lnTo>
                  <a:pt x="6847683" y="1602622"/>
                </a:lnTo>
                <a:lnTo>
                  <a:pt x="6847508" y="1601863"/>
                </a:lnTo>
                <a:close/>
                <a:moveTo>
                  <a:pt x="6287211" y="1601430"/>
                </a:moveTo>
                <a:lnTo>
                  <a:pt x="6291687" y="1607926"/>
                </a:lnTo>
                <a:lnTo>
                  <a:pt x="6292115" y="1608091"/>
                </a:lnTo>
                <a:lnTo>
                  <a:pt x="6287454" y="1601430"/>
                </a:lnTo>
                <a:close/>
                <a:moveTo>
                  <a:pt x="6178843" y="1600023"/>
                </a:moveTo>
                <a:lnTo>
                  <a:pt x="6181204" y="1600110"/>
                </a:lnTo>
                <a:lnTo>
                  <a:pt x="6181108" y="1600023"/>
                </a:lnTo>
                <a:close/>
                <a:moveTo>
                  <a:pt x="4434843" y="1598808"/>
                </a:moveTo>
                <a:lnTo>
                  <a:pt x="4434858" y="1598831"/>
                </a:lnTo>
                <a:lnTo>
                  <a:pt x="4438438" y="1609767"/>
                </a:lnTo>
                <a:lnTo>
                  <a:pt x="4441694" y="1614747"/>
                </a:lnTo>
                <a:lnTo>
                  <a:pt x="4442779" y="1620594"/>
                </a:lnTo>
                <a:lnTo>
                  <a:pt x="4445492" y="1623084"/>
                </a:lnTo>
                <a:lnTo>
                  <a:pt x="4445709" y="1638025"/>
                </a:lnTo>
                <a:lnTo>
                  <a:pt x="4445710" y="1638024"/>
                </a:lnTo>
                <a:lnTo>
                  <a:pt x="4445493" y="1623083"/>
                </a:lnTo>
                <a:lnTo>
                  <a:pt x="4442780" y="1620593"/>
                </a:lnTo>
                <a:lnTo>
                  <a:pt x="4441695" y="1614747"/>
                </a:lnTo>
                <a:lnTo>
                  <a:pt x="4438440" y="1609766"/>
                </a:lnTo>
                <a:lnTo>
                  <a:pt x="4434858" y="1598831"/>
                </a:lnTo>
                <a:close/>
                <a:moveTo>
                  <a:pt x="7349072" y="1598290"/>
                </a:moveTo>
                <a:lnTo>
                  <a:pt x="7350700" y="1598615"/>
                </a:lnTo>
                <a:lnTo>
                  <a:pt x="7350049" y="1606410"/>
                </a:lnTo>
                <a:lnTo>
                  <a:pt x="7348205" y="1609008"/>
                </a:lnTo>
                <a:lnTo>
                  <a:pt x="7346577" y="1608467"/>
                </a:lnTo>
                <a:lnTo>
                  <a:pt x="7348639" y="1602296"/>
                </a:lnTo>
                <a:close/>
                <a:moveTo>
                  <a:pt x="6265642" y="1597749"/>
                </a:moveTo>
                <a:lnTo>
                  <a:pt x="6265552" y="1597776"/>
                </a:lnTo>
                <a:lnTo>
                  <a:pt x="6269408" y="1599853"/>
                </a:lnTo>
                <a:close/>
                <a:moveTo>
                  <a:pt x="6843494" y="1596403"/>
                </a:moveTo>
                <a:lnTo>
                  <a:pt x="6843168" y="1596882"/>
                </a:lnTo>
                <a:lnTo>
                  <a:pt x="6843276" y="1600130"/>
                </a:lnTo>
                <a:lnTo>
                  <a:pt x="6843494" y="1601490"/>
                </a:lnTo>
                <a:lnTo>
                  <a:pt x="6843494" y="1599157"/>
                </a:lnTo>
                <a:close/>
                <a:moveTo>
                  <a:pt x="4438981" y="1593310"/>
                </a:moveTo>
                <a:lnTo>
                  <a:pt x="4438981" y="1593310"/>
                </a:lnTo>
                <a:lnTo>
                  <a:pt x="4437555" y="1594298"/>
                </a:lnTo>
                <a:close/>
                <a:moveTo>
                  <a:pt x="2221443" y="1592552"/>
                </a:moveTo>
                <a:lnTo>
                  <a:pt x="2222637" y="1596342"/>
                </a:lnTo>
                <a:lnTo>
                  <a:pt x="2217320" y="1599265"/>
                </a:lnTo>
                <a:lnTo>
                  <a:pt x="2214715" y="1598507"/>
                </a:lnTo>
                <a:lnTo>
                  <a:pt x="2216343" y="1594717"/>
                </a:lnTo>
                <a:lnTo>
                  <a:pt x="2219815" y="1593960"/>
                </a:lnTo>
                <a:close/>
                <a:moveTo>
                  <a:pt x="6845555" y="1592030"/>
                </a:moveTo>
                <a:lnTo>
                  <a:pt x="6845326" y="1593311"/>
                </a:lnTo>
                <a:lnTo>
                  <a:pt x="6845555" y="1592985"/>
                </a:lnTo>
                <a:close/>
                <a:moveTo>
                  <a:pt x="6516571" y="1591722"/>
                </a:moveTo>
                <a:lnTo>
                  <a:pt x="6516967" y="1592119"/>
                </a:lnTo>
                <a:lnTo>
                  <a:pt x="6516967" y="1592118"/>
                </a:lnTo>
                <a:close/>
                <a:moveTo>
                  <a:pt x="4460032" y="1590603"/>
                </a:moveTo>
                <a:lnTo>
                  <a:pt x="4454420" y="1593354"/>
                </a:lnTo>
                <a:lnTo>
                  <a:pt x="4460033" y="1590603"/>
                </a:lnTo>
                <a:close/>
                <a:moveTo>
                  <a:pt x="6514391" y="1589335"/>
                </a:moveTo>
                <a:lnTo>
                  <a:pt x="6516533" y="1591685"/>
                </a:lnTo>
                <a:lnTo>
                  <a:pt x="6516618" y="1591661"/>
                </a:lnTo>
                <a:close/>
                <a:moveTo>
                  <a:pt x="7353087" y="1587788"/>
                </a:moveTo>
                <a:lnTo>
                  <a:pt x="7355475" y="1588763"/>
                </a:lnTo>
                <a:lnTo>
                  <a:pt x="7354824" y="1591253"/>
                </a:lnTo>
                <a:lnTo>
                  <a:pt x="7352654" y="1590603"/>
                </a:lnTo>
                <a:lnTo>
                  <a:pt x="7352111" y="1588871"/>
                </a:lnTo>
                <a:close/>
                <a:moveTo>
                  <a:pt x="4610075" y="1586667"/>
                </a:moveTo>
                <a:lnTo>
                  <a:pt x="4610113" y="1586813"/>
                </a:lnTo>
                <a:lnTo>
                  <a:pt x="4615833" y="1588278"/>
                </a:lnTo>
                <a:lnTo>
                  <a:pt x="4615646" y="1588114"/>
                </a:lnTo>
                <a:close/>
                <a:moveTo>
                  <a:pt x="5273149" y="1583607"/>
                </a:moveTo>
                <a:lnTo>
                  <a:pt x="5273149" y="1588005"/>
                </a:lnTo>
                <a:lnTo>
                  <a:pt x="5272716" y="1588827"/>
                </a:lnTo>
                <a:lnTo>
                  <a:pt x="5273257" y="1588438"/>
                </a:lnTo>
                <a:lnTo>
                  <a:pt x="5273365" y="1583673"/>
                </a:lnTo>
                <a:close/>
                <a:moveTo>
                  <a:pt x="4461769" y="1583349"/>
                </a:moveTo>
                <a:lnTo>
                  <a:pt x="4464156" y="1590278"/>
                </a:lnTo>
                <a:lnTo>
                  <a:pt x="4464158" y="1590277"/>
                </a:lnTo>
                <a:lnTo>
                  <a:pt x="4461771" y="1583349"/>
                </a:lnTo>
                <a:close/>
                <a:moveTo>
                  <a:pt x="3844636" y="1583133"/>
                </a:moveTo>
                <a:lnTo>
                  <a:pt x="3843768" y="1587139"/>
                </a:lnTo>
                <a:lnTo>
                  <a:pt x="3844636" y="1589629"/>
                </a:lnTo>
                <a:lnTo>
                  <a:pt x="3838993" y="1595367"/>
                </a:lnTo>
                <a:lnTo>
                  <a:pt x="3834978" y="1596017"/>
                </a:lnTo>
                <a:lnTo>
                  <a:pt x="3836823" y="1589845"/>
                </a:lnTo>
                <a:close/>
                <a:moveTo>
                  <a:pt x="7356452" y="1580642"/>
                </a:moveTo>
                <a:lnTo>
                  <a:pt x="7358948" y="1580750"/>
                </a:lnTo>
                <a:lnTo>
                  <a:pt x="7357320" y="1583565"/>
                </a:lnTo>
                <a:close/>
                <a:moveTo>
                  <a:pt x="1191946" y="1579775"/>
                </a:moveTo>
                <a:lnTo>
                  <a:pt x="1197047" y="1583781"/>
                </a:lnTo>
                <a:lnTo>
                  <a:pt x="1201387" y="1589952"/>
                </a:lnTo>
                <a:lnTo>
                  <a:pt x="1199977" y="1592334"/>
                </a:lnTo>
                <a:lnTo>
                  <a:pt x="1193139" y="1586163"/>
                </a:lnTo>
                <a:close/>
                <a:moveTo>
                  <a:pt x="4471102" y="1576745"/>
                </a:moveTo>
                <a:lnTo>
                  <a:pt x="4471101" y="1576745"/>
                </a:lnTo>
                <a:lnTo>
                  <a:pt x="4468714" y="1583024"/>
                </a:lnTo>
                <a:lnTo>
                  <a:pt x="4468715" y="1583024"/>
                </a:lnTo>
                <a:close/>
                <a:moveTo>
                  <a:pt x="5246996" y="1576183"/>
                </a:moveTo>
                <a:lnTo>
                  <a:pt x="5246996" y="1578261"/>
                </a:lnTo>
                <a:lnTo>
                  <a:pt x="5247355" y="1578261"/>
                </a:lnTo>
                <a:close/>
                <a:moveTo>
                  <a:pt x="6569970" y="1575832"/>
                </a:moveTo>
                <a:lnTo>
                  <a:pt x="6566342" y="1579451"/>
                </a:lnTo>
                <a:lnTo>
                  <a:pt x="6557769" y="1580967"/>
                </a:lnTo>
                <a:lnTo>
                  <a:pt x="6552343" y="1584757"/>
                </a:lnTo>
                <a:lnTo>
                  <a:pt x="6540949" y="1595585"/>
                </a:lnTo>
                <a:lnTo>
                  <a:pt x="6538236" y="1595585"/>
                </a:lnTo>
                <a:lnTo>
                  <a:pt x="6534763" y="1592661"/>
                </a:lnTo>
                <a:lnTo>
                  <a:pt x="6527818" y="1591686"/>
                </a:lnTo>
                <a:lnTo>
                  <a:pt x="6523477" y="1592444"/>
                </a:lnTo>
                <a:lnTo>
                  <a:pt x="6522718" y="1590820"/>
                </a:lnTo>
                <a:lnTo>
                  <a:pt x="6519355" y="1590820"/>
                </a:lnTo>
                <a:lnTo>
                  <a:pt x="6517435" y="1591433"/>
                </a:lnTo>
                <a:lnTo>
                  <a:pt x="6519246" y="1590927"/>
                </a:lnTo>
                <a:lnTo>
                  <a:pt x="6522610" y="1591360"/>
                </a:lnTo>
                <a:lnTo>
                  <a:pt x="6523369" y="1592984"/>
                </a:lnTo>
                <a:lnTo>
                  <a:pt x="6527709" y="1592226"/>
                </a:lnTo>
                <a:lnTo>
                  <a:pt x="6534764" y="1593201"/>
                </a:lnTo>
                <a:lnTo>
                  <a:pt x="6538127" y="1596124"/>
                </a:lnTo>
                <a:lnTo>
                  <a:pt x="6540840" y="1595691"/>
                </a:lnTo>
                <a:lnTo>
                  <a:pt x="6552234" y="1584864"/>
                </a:lnTo>
                <a:lnTo>
                  <a:pt x="6557660" y="1581074"/>
                </a:lnTo>
                <a:lnTo>
                  <a:pt x="6566234" y="1579667"/>
                </a:lnTo>
                <a:lnTo>
                  <a:pt x="6569923" y="1575985"/>
                </a:lnTo>
                <a:close/>
                <a:moveTo>
                  <a:pt x="4212941" y="1573929"/>
                </a:moveTo>
                <a:lnTo>
                  <a:pt x="4214569" y="1574795"/>
                </a:lnTo>
                <a:lnTo>
                  <a:pt x="4216196" y="1573929"/>
                </a:lnTo>
                <a:lnTo>
                  <a:pt x="4219669" y="1574687"/>
                </a:lnTo>
                <a:lnTo>
                  <a:pt x="4218692" y="1578585"/>
                </a:lnTo>
                <a:lnTo>
                  <a:pt x="4220754" y="1582266"/>
                </a:lnTo>
                <a:lnTo>
                  <a:pt x="4220428" y="1584432"/>
                </a:lnTo>
                <a:lnTo>
                  <a:pt x="4217498" y="1583566"/>
                </a:lnTo>
                <a:lnTo>
                  <a:pt x="4214460" y="1587789"/>
                </a:lnTo>
                <a:lnTo>
                  <a:pt x="4209577" y="1586164"/>
                </a:lnTo>
                <a:lnTo>
                  <a:pt x="4208275" y="1584432"/>
                </a:lnTo>
                <a:lnTo>
                  <a:pt x="4209360" y="1581076"/>
                </a:lnTo>
                <a:lnTo>
                  <a:pt x="4212290" y="1579343"/>
                </a:lnTo>
                <a:lnTo>
                  <a:pt x="4213267" y="1578043"/>
                </a:lnTo>
                <a:lnTo>
                  <a:pt x="4209577" y="1577719"/>
                </a:lnTo>
                <a:lnTo>
                  <a:pt x="4209360" y="1574795"/>
                </a:lnTo>
                <a:close/>
                <a:moveTo>
                  <a:pt x="5249058" y="1573281"/>
                </a:moveTo>
                <a:lnTo>
                  <a:pt x="5246996" y="1575121"/>
                </a:lnTo>
                <a:lnTo>
                  <a:pt x="5246996" y="1575456"/>
                </a:lnTo>
                <a:lnTo>
                  <a:pt x="5248949" y="1573713"/>
                </a:lnTo>
                <a:lnTo>
                  <a:pt x="5255352" y="1573496"/>
                </a:lnTo>
                <a:lnTo>
                  <a:pt x="5255271" y="1573281"/>
                </a:lnTo>
                <a:close/>
                <a:moveTo>
                  <a:pt x="7358080" y="1570789"/>
                </a:moveTo>
                <a:lnTo>
                  <a:pt x="7359057" y="1573387"/>
                </a:lnTo>
                <a:lnTo>
                  <a:pt x="7357755" y="1576961"/>
                </a:lnTo>
                <a:lnTo>
                  <a:pt x="7356452" y="1573063"/>
                </a:lnTo>
                <a:close/>
                <a:moveTo>
                  <a:pt x="6148736" y="1569645"/>
                </a:moveTo>
                <a:lnTo>
                  <a:pt x="6149313" y="1569924"/>
                </a:lnTo>
                <a:lnTo>
                  <a:pt x="6153437" y="1570573"/>
                </a:lnTo>
                <a:lnTo>
                  <a:pt x="6162723" y="1570274"/>
                </a:lnTo>
                <a:lnTo>
                  <a:pt x="6162659" y="1570249"/>
                </a:lnTo>
                <a:lnTo>
                  <a:pt x="6152568" y="1570249"/>
                </a:lnTo>
                <a:close/>
                <a:moveTo>
                  <a:pt x="6782339" y="1568639"/>
                </a:moveTo>
                <a:lnTo>
                  <a:pt x="6781964" y="1569056"/>
                </a:lnTo>
                <a:lnTo>
                  <a:pt x="6783483" y="1570463"/>
                </a:lnTo>
                <a:lnTo>
                  <a:pt x="6788800" y="1570897"/>
                </a:lnTo>
                <a:lnTo>
                  <a:pt x="6791188" y="1572196"/>
                </a:lnTo>
                <a:lnTo>
                  <a:pt x="6792816" y="1574036"/>
                </a:lnTo>
                <a:lnTo>
                  <a:pt x="6795746" y="1575985"/>
                </a:lnTo>
                <a:lnTo>
                  <a:pt x="6796397" y="1574036"/>
                </a:lnTo>
                <a:lnTo>
                  <a:pt x="6798784" y="1573062"/>
                </a:lnTo>
                <a:lnTo>
                  <a:pt x="6801280" y="1573820"/>
                </a:lnTo>
                <a:lnTo>
                  <a:pt x="6802257" y="1570897"/>
                </a:lnTo>
                <a:lnTo>
                  <a:pt x="6804644" y="1570572"/>
                </a:lnTo>
                <a:lnTo>
                  <a:pt x="6806489" y="1572304"/>
                </a:lnTo>
                <a:lnTo>
                  <a:pt x="6807466" y="1575011"/>
                </a:lnTo>
                <a:lnTo>
                  <a:pt x="6809853" y="1577826"/>
                </a:lnTo>
                <a:lnTo>
                  <a:pt x="6812458" y="1578151"/>
                </a:lnTo>
                <a:lnTo>
                  <a:pt x="6813217" y="1580533"/>
                </a:lnTo>
                <a:lnTo>
                  <a:pt x="6815714" y="1582590"/>
                </a:lnTo>
                <a:lnTo>
                  <a:pt x="6817015" y="1582481"/>
                </a:lnTo>
                <a:lnTo>
                  <a:pt x="6819185" y="1584755"/>
                </a:lnTo>
                <a:lnTo>
                  <a:pt x="6819728" y="1587029"/>
                </a:lnTo>
                <a:lnTo>
                  <a:pt x="6824937" y="1589411"/>
                </a:lnTo>
                <a:lnTo>
                  <a:pt x="6826130" y="1590494"/>
                </a:lnTo>
                <a:lnTo>
                  <a:pt x="6828409" y="1590818"/>
                </a:lnTo>
                <a:lnTo>
                  <a:pt x="6830905" y="1592659"/>
                </a:lnTo>
                <a:lnTo>
                  <a:pt x="6834161" y="1593309"/>
                </a:lnTo>
                <a:lnTo>
                  <a:pt x="6836657" y="1592551"/>
                </a:lnTo>
                <a:lnTo>
                  <a:pt x="6839478" y="1592226"/>
                </a:lnTo>
                <a:lnTo>
                  <a:pt x="6841974" y="1590385"/>
                </a:lnTo>
                <a:lnTo>
                  <a:pt x="6843927" y="1589952"/>
                </a:lnTo>
                <a:lnTo>
                  <a:pt x="6845555" y="1590716"/>
                </a:lnTo>
                <a:lnTo>
                  <a:pt x="6845555" y="1589846"/>
                </a:lnTo>
                <a:lnTo>
                  <a:pt x="6843710" y="1588979"/>
                </a:lnTo>
                <a:lnTo>
                  <a:pt x="6841865" y="1588979"/>
                </a:lnTo>
                <a:lnTo>
                  <a:pt x="6839370" y="1590820"/>
                </a:lnTo>
                <a:lnTo>
                  <a:pt x="6836548" y="1590820"/>
                </a:lnTo>
                <a:lnTo>
                  <a:pt x="6834053" y="1591578"/>
                </a:lnTo>
                <a:lnTo>
                  <a:pt x="6830796" y="1590928"/>
                </a:lnTo>
                <a:lnTo>
                  <a:pt x="6828410" y="1588979"/>
                </a:lnTo>
                <a:lnTo>
                  <a:pt x="6826130" y="1588979"/>
                </a:lnTo>
                <a:lnTo>
                  <a:pt x="6824937" y="1587896"/>
                </a:lnTo>
                <a:lnTo>
                  <a:pt x="6819728" y="1585623"/>
                </a:lnTo>
                <a:lnTo>
                  <a:pt x="6819077" y="1583349"/>
                </a:lnTo>
                <a:lnTo>
                  <a:pt x="6816907" y="1581076"/>
                </a:lnTo>
                <a:lnTo>
                  <a:pt x="6815604" y="1581076"/>
                </a:lnTo>
                <a:lnTo>
                  <a:pt x="6813108" y="1579018"/>
                </a:lnTo>
                <a:lnTo>
                  <a:pt x="6812349" y="1576745"/>
                </a:lnTo>
                <a:lnTo>
                  <a:pt x="6809744" y="1576745"/>
                </a:lnTo>
                <a:lnTo>
                  <a:pt x="6807248" y="1573930"/>
                </a:lnTo>
                <a:lnTo>
                  <a:pt x="6806272" y="1571224"/>
                </a:lnTo>
                <a:lnTo>
                  <a:pt x="6804428" y="1569491"/>
                </a:lnTo>
                <a:lnTo>
                  <a:pt x="6802040" y="1569491"/>
                </a:lnTo>
                <a:lnTo>
                  <a:pt x="6801063" y="1572306"/>
                </a:lnTo>
                <a:lnTo>
                  <a:pt x="6798567" y="1571656"/>
                </a:lnTo>
                <a:lnTo>
                  <a:pt x="6796180" y="1572631"/>
                </a:lnTo>
                <a:lnTo>
                  <a:pt x="6795529" y="1574471"/>
                </a:lnTo>
                <a:lnTo>
                  <a:pt x="6792599" y="1572631"/>
                </a:lnTo>
                <a:lnTo>
                  <a:pt x="6791080" y="1570790"/>
                </a:lnTo>
                <a:lnTo>
                  <a:pt x="6788692" y="1569599"/>
                </a:lnTo>
                <a:lnTo>
                  <a:pt x="6783375" y="1569599"/>
                </a:lnTo>
                <a:close/>
                <a:moveTo>
                  <a:pt x="4131652" y="1568558"/>
                </a:moveTo>
                <a:lnTo>
                  <a:pt x="4129817" y="1568840"/>
                </a:lnTo>
                <a:lnTo>
                  <a:pt x="4129818" y="1568840"/>
                </a:lnTo>
                <a:close/>
                <a:moveTo>
                  <a:pt x="6139502" y="1567389"/>
                </a:moveTo>
                <a:lnTo>
                  <a:pt x="6139763" y="1567649"/>
                </a:lnTo>
                <a:lnTo>
                  <a:pt x="6145697" y="1568273"/>
                </a:lnTo>
                <a:lnTo>
                  <a:pt x="6145080" y="1567975"/>
                </a:lnTo>
                <a:close/>
                <a:moveTo>
                  <a:pt x="4149460" y="1566458"/>
                </a:moveTo>
                <a:lnTo>
                  <a:pt x="4154668" y="1568407"/>
                </a:lnTo>
                <a:lnTo>
                  <a:pt x="4153041" y="1570031"/>
                </a:lnTo>
                <a:close/>
                <a:moveTo>
                  <a:pt x="6085504" y="1566135"/>
                </a:moveTo>
                <a:lnTo>
                  <a:pt x="6081598" y="1567542"/>
                </a:lnTo>
                <a:lnTo>
                  <a:pt x="6079211" y="1571548"/>
                </a:lnTo>
                <a:lnTo>
                  <a:pt x="6079211" y="1575121"/>
                </a:lnTo>
                <a:lnTo>
                  <a:pt x="6074328" y="1580643"/>
                </a:lnTo>
                <a:lnTo>
                  <a:pt x="6074328" y="1592336"/>
                </a:lnTo>
                <a:lnTo>
                  <a:pt x="6076064" y="1598183"/>
                </a:lnTo>
                <a:lnTo>
                  <a:pt x="6083117" y="1600023"/>
                </a:lnTo>
                <a:lnTo>
                  <a:pt x="6085504" y="1603163"/>
                </a:lnTo>
                <a:lnTo>
                  <a:pt x="6089954" y="1604679"/>
                </a:lnTo>
                <a:lnTo>
                  <a:pt x="6090822" y="1607818"/>
                </a:lnTo>
                <a:lnTo>
                  <a:pt x="6089411" y="1615506"/>
                </a:lnTo>
                <a:lnTo>
                  <a:pt x="6089411" y="1622760"/>
                </a:lnTo>
                <a:lnTo>
                  <a:pt x="6094185" y="1626008"/>
                </a:lnTo>
                <a:lnTo>
                  <a:pt x="6096791" y="1628932"/>
                </a:lnTo>
                <a:lnTo>
                  <a:pt x="6092441" y="1636022"/>
                </a:lnTo>
                <a:lnTo>
                  <a:pt x="6092884" y="1635968"/>
                </a:lnTo>
                <a:lnTo>
                  <a:pt x="6097334" y="1628714"/>
                </a:lnTo>
                <a:lnTo>
                  <a:pt x="6094729" y="1625791"/>
                </a:lnTo>
                <a:lnTo>
                  <a:pt x="6089955" y="1622543"/>
                </a:lnTo>
                <a:lnTo>
                  <a:pt x="6090172" y="1615289"/>
                </a:lnTo>
                <a:lnTo>
                  <a:pt x="6091474" y="1607602"/>
                </a:lnTo>
                <a:lnTo>
                  <a:pt x="6090606" y="1604462"/>
                </a:lnTo>
                <a:lnTo>
                  <a:pt x="6086156" y="1602946"/>
                </a:lnTo>
                <a:lnTo>
                  <a:pt x="6083770" y="1599806"/>
                </a:lnTo>
                <a:lnTo>
                  <a:pt x="6076715" y="1597965"/>
                </a:lnTo>
                <a:lnTo>
                  <a:pt x="6074979" y="1592119"/>
                </a:lnTo>
                <a:lnTo>
                  <a:pt x="6075088" y="1580426"/>
                </a:lnTo>
                <a:lnTo>
                  <a:pt x="6079971" y="1574904"/>
                </a:lnTo>
                <a:lnTo>
                  <a:pt x="6079971" y="1571331"/>
                </a:lnTo>
                <a:lnTo>
                  <a:pt x="6082358" y="1567325"/>
                </a:lnTo>
                <a:lnTo>
                  <a:pt x="6085627" y="1566179"/>
                </a:lnTo>
                <a:close/>
                <a:moveTo>
                  <a:pt x="5245336" y="1565524"/>
                </a:moveTo>
                <a:lnTo>
                  <a:pt x="5243198" y="1567759"/>
                </a:lnTo>
                <a:lnTo>
                  <a:pt x="5243275" y="1567780"/>
                </a:lnTo>
                <a:lnTo>
                  <a:pt x="5245368" y="1565593"/>
                </a:lnTo>
                <a:close/>
                <a:moveTo>
                  <a:pt x="6562544" y="1564942"/>
                </a:moveTo>
                <a:lnTo>
                  <a:pt x="6562544" y="1565268"/>
                </a:lnTo>
                <a:lnTo>
                  <a:pt x="6563981" y="1565268"/>
                </a:lnTo>
                <a:close/>
                <a:moveTo>
                  <a:pt x="4168883" y="1564835"/>
                </a:moveTo>
                <a:lnTo>
                  <a:pt x="4173224" y="1571006"/>
                </a:lnTo>
                <a:lnTo>
                  <a:pt x="4176262" y="1570031"/>
                </a:lnTo>
                <a:lnTo>
                  <a:pt x="4178757" y="1570031"/>
                </a:lnTo>
                <a:lnTo>
                  <a:pt x="4180277" y="1566459"/>
                </a:lnTo>
                <a:lnTo>
                  <a:pt x="4184183" y="1566676"/>
                </a:lnTo>
                <a:lnTo>
                  <a:pt x="4185052" y="1565918"/>
                </a:lnTo>
                <a:lnTo>
                  <a:pt x="4185811" y="1569274"/>
                </a:lnTo>
                <a:lnTo>
                  <a:pt x="4183641" y="1573388"/>
                </a:lnTo>
                <a:lnTo>
                  <a:pt x="4183749" y="1577286"/>
                </a:lnTo>
                <a:lnTo>
                  <a:pt x="4182555" y="1576636"/>
                </a:lnTo>
                <a:lnTo>
                  <a:pt x="4181362" y="1572955"/>
                </a:lnTo>
                <a:lnTo>
                  <a:pt x="4179083" y="1575986"/>
                </a:lnTo>
                <a:lnTo>
                  <a:pt x="4172355" y="1576528"/>
                </a:lnTo>
                <a:lnTo>
                  <a:pt x="4165519" y="1574255"/>
                </a:lnTo>
                <a:lnTo>
                  <a:pt x="4163566" y="1571547"/>
                </a:lnTo>
                <a:lnTo>
                  <a:pt x="4166279" y="1570573"/>
                </a:lnTo>
                <a:lnTo>
                  <a:pt x="4164651" y="1568408"/>
                </a:lnTo>
                <a:lnTo>
                  <a:pt x="4166604" y="1565376"/>
                </a:lnTo>
                <a:close/>
                <a:moveTo>
                  <a:pt x="6119364" y="1562994"/>
                </a:moveTo>
                <a:lnTo>
                  <a:pt x="6119688" y="1563102"/>
                </a:lnTo>
                <a:lnTo>
                  <a:pt x="6125656" y="1563643"/>
                </a:lnTo>
                <a:lnTo>
                  <a:pt x="6133874" y="1563336"/>
                </a:lnTo>
                <a:lnTo>
                  <a:pt x="6133361" y="1562994"/>
                </a:lnTo>
                <a:lnTo>
                  <a:pt x="6124788" y="1562994"/>
                </a:lnTo>
                <a:close/>
                <a:moveTo>
                  <a:pt x="4477288" y="1562669"/>
                </a:moveTo>
                <a:lnTo>
                  <a:pt x="4477287" y="1562669"/>
                </a:lnTo>
                <a:lnTo>
                  <a:pt x="4475876" y="1569923"/>
                </a:lnTo>
                <a:lnTo>
                  <a:pt x="4482170" y="1573063"/>
                </a:lnTo>
                <a:lnTo>
                  <a:pt x="4482170" y="1578151"/>
                </a:lnTo>
                <a:lnTo>
                  <a:pt x="4482172" y="1578151"/>
                </a:lnTo>
                <a:lnTo>
                  <a:pt x="4482172" y="1573062"/>
                </a:lnTo>
                <a:lnTo>
                  <a:pt x="4475878" y="1569922"/>
                </a:lnTo>
                <a:close/>
                <a:moveTo>
                  <a:pt x="1185760" y="1561153"/>
                </a:moveTo>
                <a:lnTo>
                  <a:pt x="1183373" y="1569057"/>
                </a:lnTo>
                <a:lnTo>
                  <a:pt x="1182288" y="1562235"/>
                </a:lnTo>
                <a:close/>
                <a:moveTo>
                  <a:pt x="4192215" y="1561045"/>
                </a:moveTo>
                <a:lnTo>
                  <a:pt x="4192866" y="1563643"/>
                </a:lnTo>
                <a:lnTo>
                  <a:pt x="4189719" y="1564185"/>
                </a:lnTo>
                <a:lnTo>
                  <a:pt x="4187549" y="1567324"/>
                </a:lnTo>
                <a:lnTo>
                  <a:pt x="4186789" y="1565483"/>
                </a:lnTo>
                <a:lnTo>
                  <a:pt x="4188742" y="1562452"/>
                </a:lnTo>
                <a:close/>
                <a:moveTo>
                  <a:pt x="4160202" y="1558772"/>
                </a:moveTo>
                <a:cubicBezTo>
                  <a:pt x="4161132" y="1560030"/>
                  <a:pt x="4162186" y="1561190"/>
                  <a:pt x="4163349" y="1562237"/>
                </a:cubicBezTo>
                <a:lnTo>
                  <a:pt x="4160636" y="1567759"/>
                </a:lnTo>
                <a:lnTo>
                  <a:pt x="4157923" y="1571331"/>
                </a:lnTo>
                <a:lnTo>
                  <a:pt x="4157055" y="1569057"/>
                </a:lnTo>
                <a:lnTo>
                  <a:pt x="4159008" y="1565268"/>
                </a:lnTo>
                <a:close/>
                <a:moveTo>
                  <a:pt x="5244609" y="1558122"/>
                </a:moveTo>
                <a:lnTo>
                  <a:pt x="5242873" y="1559638"/>
                </a:lnTo>
                <a:lnTo>
                  <a:pt x="5242947" y="1559803"/>
                </a:lnTo>
                <a:lnTo>
                  <a:pt x="5244500" y="1558447"/>
                </a:lnTo>
                <a:lnTo>
                  <a:pt x="5248322" y="1558122"/>
                </a:lnTo>
                <a:close/>
                <a:moveTo>
                  <a:pt x="7358731" y="1557256"/>
                </a:moveTo>
                <a:lnTo>
                  <a:pt x="7361011" y="1558772"/>
                </a:lnTo>
                <a:lnTo>
                  <a:pt x="7359057" y="1560180"/>
                </a:lnTo>
                <a:lnTo>
                  <a:pt x="7357212" y="1558122"/>
                </a:lnTo>
                <a:close/>
                <a:moveTo>
                  <a:pt x="5262732" y="1557148"/>
                </a:moveTo>
                <a:lnTo>
                  <a:pt x="5262545" y="1557170"/>
                </a:lnTo>
                <a:lnTo>
                  <a:pt x="5266854" y="1560287"/>
                </a:lnTo>
                <a:lnTo>
                  <a:pt x="5266935" y="1560189"/>
                </a:lnTo>
                <a:close/>
                <a:moveTo>
                  <a:pt x="5253787" y="1555199"/>
                </a:moveTo>
                <a:lnTo>
                  <a:pt x="5255460" y="1555307"/>
                </a:lnTo>
                <a:lnTo>
                  <a:pt x="5257088" y="1557906"/>
                </a:lnTo>
                <a:lnTo>
                  <a:pt x="5261335" y="1557312"/>
                </a:lnTo>
                <a:lnTo>
                  <a:pt x="5257197" y="1557798"/>
                </a:lnTo>
                <a:lnTo>
                  <a:pt x="5255678" y="1555199"/>
                </a:lnTo>
                <a:close/>
                <a:moveTo>
                  <a:pt x="6091907" y="1552709"/>
                </a:moveTo>
                <a:lnTo>
                  <a:pt x="6088868" y="1555415"/>
                </a:lnTo>
                <a:lnTo>
                  <a:pt x="6088217" y="1559097"/>
                </a:lnTo>
                <a:lnTo>
                  <a:pt x="6089628" y="1563103"/>
                </a:lnTo>
                <a:lnTo>
                  <a:pt x="6088096" y="1566543"/>
                </a:lnTo>
                <a:lnTo>
                  <a:pt x="6088761" y="1566784"/>
                </a:lnTo>
                <a:lnTo>
                  <a:pt x="6090497" y="1562886"/>
                </a:lnTo>
                <a:lnTo>
                  <a:pt x="6089086" y="1558880"/>
                </a:lnTo>
                <a:lnTo>
                  <a:pt x="6089737" y="1555198"/>
                </a:lnTo>
                <a:lnTo>
                  <a:pt x="6092532" y="1552709"/>
                </a:lnTo>
                <a:close/>
                <a:moveTo>
                  <a:pt x="4488917" y="1552412"/>
                </a:moveTo>
                <a:lnTo>
                  <a:pt x="4485209" y="1554115"/>
                </a:lnTo>
                <a:lnTo>
                  <a:pt x="4480759" y="1562019"/>
                </a:lnTo>
                <a:lnTo>
                  <a:pt x="4480761" y="1562019"/>
                </a:lnTo>
                <a:lnTo>
                  <a:pt x="4485211" y="1554115"/>
                </a:lnTo>
                <a:close/>
                <a:moveTo>
                  <a:pt x="5273041" y="1552384"/>
                </a:moveTo>
                <a:lnTo>
                  <a:pt x="5273033" y="1552389"/>
                </a:lnTo>
                <a:lnTo>
                  <a:pt x="5277163" y="1552600"/>
                </a:lnTo>
                <a:lnTo>
                  <a:pt x="5279984" y="1556822"/>
                </a:lnTo>
                <a:lnTo>
                  <a:pt x="5280079" y="1556690"/>
                </a:lnTo>
                <a:lnTo>
                  <a:pt x="5277381" y="1552384"/>
                </a:lnTo>
                <a:close/>
                <a:moveTo>
                  <a:pt x="6749626" y="1551926"/>
                </a:moveTo>
                <a:lnTo>
                  <a:pt x="6749517" y="1552599"/>
                </a:lnTo>
                <a:lnTo>
                  <a:pt x="6752122" y="1557146"/>
                </a:lnTo>
                <a:lnTo>
                  <a:pt x="6757440" y="1562668"/>
                </a:lnTo>
                <a:lnTo>
                  <a:pt x="6761455" y="1564075"/>
                </a:lnTo>
                <a:lnTo>
                  <a:pt x="6763191" y="1567216"/>
                </a:lnTo>
                <a:lnTo>
                  <a:pt x="6766230" y="1567649"/>
                </a:lnTo>
                <a:lnTo>
                  <a:pt x="6768617" y="1566783"/>
                </a:lnTo>
                <a:lnTo>
                  <a:pt x="6771112" y="1568190"/>
                </a:lnTo>
                <a:lnTo>
                  <a:pt x="6772957" y="1567216"/>
                </a:lnTo>
                <a:lnTo>
                  <a:pt x="6777949" y="1567865"/>
                </a:lnTo>
                <a:lnTo>
                  <a:pt x="6780554" y="1565808"/>
                </a:lnTo>
                <a:lnTo>
                  <a:pt x="6783810" y="1565808"/>
                </a:lnTo>
                <a:lnTo>
                  <a:pt x="6783810" y="1564943"/>
                </a:lnTo>
                <a:lnTo>
                  <a:pt x="6780553" y="1564943"/>
                </a:lnTo>
                <a:lnTo>
                  <a:pt x="6777949" y="1567000"/>
                </a:lnTo>
                <a:lnTo>
                  <a:pt x="6772958" y="1566351"/>
                </a:lnTo>
                <a:lnTo>
                  <a:pt x="6771112" y="1567325"/>
                </a:lnTo>
                <a:lnTo>
                  <a:pt x="6768726" y="1565918"/>
                </a:lnTo>
                <a:lnTo>
                  <a:pt x="6766338" y="1566784"/>
                </a:lnTo>
                <a:lnTo>
                  <a:pt x="6763191" y="1566784"/>
                </a:lnTo>
                <a:lnTo>
                  <a:pt x="6761455" y="1563644"/>
                </a:lnTo>
                <a:lnTo>
                  <a:pt x="6757548" y="1562237"/>
                </a:lnTo>
                <a:lnTo>
                  <a:pt x="6752231" y="1556715"/>
                </a:lnTo>
                <a:lnTo>
                  <a:pt x="6749626" y="1552059"/>
                </a:lnTo>
                <a:close/>
                <a:moveTo>
                  <a:pt x="4242566" y="1551409"/>
                </a:moveTo>
                <a:lnTo>
                  <a:pt x="4246907" y="1554007"/>
                </a:lnTo>
                <a:lnTo>
                  <a:pt x="4251031" y="1560612"/>
                </a:lnTo>
                <a:lnTo>
                  <a:pt x="4250163" y="1564619"/>
                </a:lnTo>
                <a:lnTo>
                  <a:pt x="4242566" y="1562020"/>
                </a:lnTo>
                <a:lnTo>
                  <a:pt x="4241373" y="1557689"/>
                </a:lnTo>
                <a:close/>
                <a:moveTo>
                  <a:pt x="2181943" y="1550217"/>
                </a:moveTo>
                <a:lnTo>
                  <a:pt x="2186609" y="1550217"/>
                </a:lnTo>
                <a:lnTo>
                  <a:pt x="2187694" y="1552166"/>
                </a:lnTo>
                <a:lnTo>
                  <a:pt x="2191601" y="1551733"/>
                </a:lnTo>
                <a:lnTo>
                  <a:pt x="2197135" y="1556388"/>
                </a:lnTo>
                <a:lnTo>
                  <a:pt x="2198111" y="1561369"/>
                </a:lnTo>
                <a:lnTo>
                  <a:pt x="2199414" y="1563534"/>
                </a:lnTo>
                <a:lnTo>
                  <a:pt x="2198329" y="1567107"/>
                </a:lnTo>
                <a:lnTo>
                  <a:pt x="2187152" y="1564833"/>
                </a:lnTo>
                <a:lnTo>
                  <a:pt x="2183246" y="1562343"/>
                </a:lnTo>
                <a:lnTo>
                  <a:pt x="2179013" y="1562127"/>
                </a:lnTo>
                <a:lnTo>
                  <a:pt x="2178796" y="1565050"/>
                </a:lnTo>
                <a:lnTo>
                  <a:pt x="2179231" y="1566782"/>
                </a:lnTo>
                <a:lnTo>
                  <a:pt x="2176626" y="1564292"/>
                </a:lnTo>
                <a:lnTo>
                  <a:pt x="2176192" y="1562019"/>
                </a:lnTo>
                <a:lnTo>
                  <a:pt x="2172068" y="1562451"/>
                </a:lnTo>
                <a:lnTo>
                  <a:pt x="2170658" y="1560503"/>
                </a:lnTo>
                <a:lnTo>
                  <a:pt x="2175324" y="1554764"/>
                </a:lnTo>
                <a:lnTo>
                  <a:pt x="2179231" y="1555414"/>
                </a:lnTo>
                <a:lnTo>
                  <a:pt x="2179556" y="1552058"/>
                </a:lnTo>
                <a:close/>
                <a:moveTo>
                  <a:pt x="3784626" y="1549676"/>
                </a:moveTo>
                <a:lnTo>
                  <a:pt x="3788099" y="1552815"/>
                </a:lnTo>
                <a:lnTo>
                  <a:pt x="3793199" y="1555523"/>
                </a:lnTo>
                <a:lnTo>
                  <a:pt x="3788967" y="1558013"/>
                </a:lnTo>
                <a:lnTo>
                  <a:pt x="3784192" y="1561694"/>
                </a:lnTo>
                <a:lnTo>
                  <a:pt x="3786363" y="1561261"/>
                </a:lnTo>
                <a:lnTo>
                  <a:pt x="3784083" y="1563751"/>
                </a:lnTo>
                <a:lnTo>
                  <a:pt x="3780828" y="1565483"/>
                </a:lnTo>
                <a:lnTo>
                  <a:pt x="3779526" y="1569598"/>
                </a:lnTo>
                <a:lnTo>
                  <a:pt x="3774642" y="1570247"/>
                </a:lnTo>
                <a:lnTo>
                  <a:pt x="3769434" y="1580966"/>
                </a:lnTo>
                <a:lnTo>
                  <a:pt x="3769434" y="1580966"/>
                </a:lnTo>
                <a:lnTo>
                  <a:pt x="3774642" y="1570248"/>
                </a:lnTo>
                <a:lnTo>
                  <a:pt x="3779526" y="1569598"/>
                </a:lnTo>
                <a:lnTo>
                  <a:pt x="3780828" y="1565484"/>
                </a:lnTo>
                <a:lnTo>
                  <a:pt x="3784083" y="1563751"/>
                </a:lnTo>
                <a:lnTo>
                  <a:pt x="3786363" y="1561261"/>
                </a:lnTo>
                <a:lnTo>
                  <a:pt x="3790811" y="1560395"/>
                </a:lnTo>
                <a:lnTo>
                  <a:pt x="3792331" y="1558771"/>
                </a:lnTo>
                <a:lnTo>
                  <a:pt x="3795044" y="1558447"/>
                </a:lnTo>
                <a:lnTo>
                  <a:pt x="3799493" y="1555523"/>
                </a:lnTo>
                <a:lnTo>
                  <a:pt x="3806763" y="1556281"/>
                </a:lnTo>
                <a:lnTo>
                  <a:pt x="3810345" y="1558121"/>
                </a:lnTo>
                <a:lnTo>
                  <a:pt x="3810779" y="1562561"/>
                </a:lnTo>
                <a:lnTo>
                  <a:pt x="3817724" y="1572413"/>
                </a:lnTo>
                <a:lnTo>
                  <a:pt x="3814143" y="1575012"/>
                </a:lnTo>
                <a:lnTo>
                  <a:pt x="3820653" y="1575337"/>
                </a:lnTo>
                <a:lnTo>
                  <a:pt x="3822064" y="1585731"/>
                </a:lnTo>
                <a:lnTo>
                  <a:pt x="3819352" y="1577610"/>
                </a:lnTo>
                <a:lnTo>
                  <a:pt x="3816747" y="1578043"/>
                </a:lnTo>
                <a:lnTo>
                  <a:pt x="3818049" y="1580750"/>
                </a:lnTo>
                <a:lnTo>
                  <a:pt x="3816747" y="1584431"/>
                </a:lnTo>
                <a:lnTo>
                  <a:pt x="3820220" y="1585189"/>
                </a:lnTo>
                <a:lnTo>
                  <a:pt x="3819460" y="1589087"/>
                </a:lnTo>
                <a:lnTo>
                  <a:pt x="3813817" y="1588329"/>
                </a:lnTo>
                <a:lnTo>
                  <a:pt x="3813491" y="1591686"/>
                </a:lnTo>
                <a:lnTo>
                  <a:pt x="3809802" y="1594609"/>
                </a:lnTo>
                <a:lnTo>
                  <a:pt x="3807631" y="1594067"/>
                </a:lnTo>
                <a:lnTo>
                  <a:pt x="3808066" y="1597641"/>
                </a:lnTo>
                <a:lnTo>
                  <a:pt x="3807089" y="1597424"/>
                </a:lnTo>
                <a:lnTo>
                  <a:pt x="3807086" y="1597422"/>
                </a:lnTo>
                <a:lnTo>
                  <a:pt x="3804159" y="1596990"/>
                </a:lnTo>
                <a:lnTo>
                  <a:pt x="3802423" y="1599804"/>
                </a:lnTo>
                <a:lnTo>
                  <a:pt x="3806004" y="1602403"/>
                </a:lnTo>
                <a:lnTo>
                  <a:pt x="3805136" y="1607167"/>
                </a:lnTo>
                <a:lnTo>
                  <a:pt x="3808174" y="1611931"/>
                </a:lnTo>
                <a:lnTo>
                  <a:pt x="3808174" y="1616695"/>
                </a:lnTo>
                <a:lnTo>
                  <a:pt x="3804810" y="1618969"/>
                </a:lnTo>
                <a:lnTo>
                  <a:pt x="3807632" y="1620701"/>
                </a:lnTo>
                <a:lnTo>
                  <a:pt x="3809476" y="1631419"/>
                </a:lnTo>
                <a:lnTo>
                  <a:pt x="3808174" y="1636183"/>
                </a:lnTo>
                <a:lnTo>
                  <a:pt x="3804376" y="1640406"/>
                </a:lnTo>
                <a:lnTo>
                  <a:pt x="3805136" y="1644303"/>
                </a:lnTo>
                <a:lnTo>
                  <a:pt x="3801446" y="1648743"/>
                </a:lnTo>
                <a:lnTo>
                  <a:pt x="3798082" y="1650150"/>
                </a:lnTo>
                <a:lnTo>
                  <a:pt x="3802748" y="1656213"/>
                </a:lnTo>
                <a:lnTo>
                  <a:pt x="3795912" y="1656321"/>
                </a:lnTo>
                <a:lnTo>
                  <a:pt x="3793091" y="1655239"/>
                </a:lnTo>
                <a:lnTo>
                  <a:pt x="3790269" y="1657946"/>
                </a:lnTo>
                <a:lnTo>
                  <a:pt x="3788207" y="1654481"/>
                </a:lnTo>
                <a:lnTo>
                  <a:pt x="3787122" y="1657404"/>
                </a:lnTo>
                <a:lnTo>
                  <a:pt x="3773774" y="1658920"/>
                </a:lnTo>
                <a:lnTo>
                  <a:pt x="3772580" y="1663359"/>
                </a:lnTo>
                <a:lnTo>
                  <a:pt x="3769434" y="1663143"/>
                </a:lnTo>
                <a:lnTo>
                  <a:pt x="3764985" y="1667798"/>
                </a:lnTo>
                <a:lnTo>
                  <a:pt x="3760318" y="1667798"/>
                </a:lnTo>
                <a:lnTo>
                  <a:pt x="3761621" y="1665092"/>
                </a:lnTo>
                <a:lnTo>
                  <a:pt x="3757063" y="1664658"/>
                </a:lnTo>
                <a:lnTo>
                  <a:pt x="3759016" y="1669314"/>
                </a:lnTo>
                <a:lnTo>
                  <a:pt x="3753047" y="1673320"/>
                </a:lnTo>
                <a:lnTo>
                  <a:pt x="3745451" y="1675594"/>
                </a:lnTo>
                <a:lnTo>
                  <a:pt x="3737422" y="1676568"/>
                </a:lnTo>
                <a:lnTo>
                  <a:pt x="3734383" y="1674403"/>
                </a:lnTo>
                <a:lnTo>
                  <a:pt x="3728523" y="1675918"/>
                </a:lnTo>
                <a:lnTo>
                  <a:pt x="3729608" y="1673645"/>
                </a:lnTo>
                <a:lnTo>
                  <a:pt x="3726027" y="1673645"/>
                </a:lnTo>
                <a:lnTo>
                  <a:pt x="3732538" y="1670505"/>
                </a:lnTo>
                <a:lnTo>
                  <a:pt x="3732972" y="1667582"/>
                </a:lnTo>
                <a:lnTo>
                  <a:pt x="3725268" y="1671804"/>
                </a:lnTo>
                <a:lnTo>
                  <a:pt x="3719299" y="1671804"/>
                </a:lnTo>
                <a:lnTo>
                  <a:pt x="3722771" y="1668881"/>
                </a:lnTo>
                <a:lnTo>
                  <a:pt x="3731236" y="1663359"/>
                </a:lnTo>
                <a:lnTo>
                  <a:pt x="3720058" y="1667041"/>
                </a:lnTo>
                <a:lnTo>
                  <a:pt x="3719190" y="1664225"/>
                </a:lnTo>
                <a:lnTo>
                  <a:pt x="3715284" y="1664225"/>
                </a:lnTo>
                <a:lnTo>
                  <a:pt x="3717345" y="1659137"/>
                </a:lnTo>
                <a:lnTo>
                  <a:pt x="3723531" y="1657729"/>
                </a:lnTo>
                <a:lnTo>
                  <a:pt x="3728414" y="1653615"/>
                </a:lnTo>
                <a:lnTo>
                  <a:pt x="3713765" y="1654481"/>
                </a:lnTo>
                <a:lnTo>
                  <a:pt x="3713114" y="1652749"/>
                </a:lnTo>
                <a:lnTo>
                  <a:pt x="3719516" y="1649392"/>
                </a:lnTo>
                <a:lnTo>
                  <a:pt x="3720601" y="1650692"/>
                </a:lnTo>
                <a:lnTo>
                  <a:pt x="3721795" y="1648851"/>
                </a:lnTo>
                <a:lnTo>
                  <a:pt x="3725051" y="1651666"/>
                </a:lnTo>
                <a:lnTo>
                  <a:pt x="3728849" y="1650908"/>
                </a:lnTo>
                <a:lnTo>
                  <a:pt x="3726678" y="1650258"/>
                </a:lnTo>
                <a:lnTo>
                  <a:pt x="3727763" y="1647985"/>
                </a:lnTo>
                <a:lnTo>
                  <a:pt x="3726027" y="1645495"/>
                </a:lnTo>
                <a:lnTo>
                  <a:pt x="3731127" y="1643762"/>
                </a:lnTo>
                <a:lnTo>
                  <a:pt x="3733081" y="1640731"/>
                </a:lnTo>
                <a:lnTo>
                  <a:pt x="3740894" y="1640406"/>
                </a:lnTo>
                <a:lnTo>
                  <a:pt x="3751529" y="1637591"/>
                </a:lnTo>
                <a:lnTo>
                  <a:pt x="3746754" y="1637158"/>
                </a:lnTo>
                <a:lnTo>
                  <a:pt x="3746428" y="1635425"/>
                </a:lnTo>
                <a:lnTo>
                  <a:pt x="3742630" y="1639215"/>
                </a:lnTo>
                <a:lnTo>
                  <a:pt x="3736987" y="1638999"/>
                </a:lnTo>
                <a:lnTo>
                  <a:pt x="3734274" y="1637374"/>
                </a:lnTo>
                <a:lnTo>
                  <a:pt x="3729717" y="1640297"/>
                </a:lnTo>
                <a:lnTo>
                  <a:pt x="3726353" y="1640297"/>
                </a:lnTo>
                <a:lnTo>
                  <a:pt x="3734709" y="1634668"/>
                </a:lnTo>
                <a:lnTo>
                  <a:pt x="3738615" y="1629146"/>
                </a:lnTo>
                <a:lnTo>
                  <a:pt x="3736445" y="1629362"/>
                </a:lnTo>
                <a:lnTo>
                  <a:pt x="3741328" y="1621350"/>
                </a:lnTo>
                <a:lnTo>
                  <a:pt x="3744366" y="1623083"/>
                </a:lnTo>
                <a:lnTo>
                  <a:pt x="3748490" y="1618860"/>
                </a:lnTo>
                <a:lnTo>
                  <a:pt x="3735577" y="1619077"/>
                </a:lnTo>
                <a:lnTo>
                  <a:pt x="3734165" y="1613230"/>
                </a:lnTo>
                <a:lnTo>
                  <a:pt x="3728740" y="1614313"/>
                </a:lnTo>
                <a:lnTo>
                  <a:pt x="3730368" y="1612040"/>
                </a:lnTo>
                <a:lnTo>
                  <a:pt x="3727546" y="1613122"/>
                </a:lnTo>
                <a:lnTo>
                  <a:pt x="3723965" y="1610957"/>
                </a:lnTo>
                <a:lnTo>
                  <a:pt x="3726353" y="1609982"/>
                </a:lnTo>
                <a:lnTo>
                  <a:pt x="3724833" y="1605976"/>
                </a:lnTo>
                <a:lnTo>
                  <a:pt x="3731561" y="1605868"/>
                </a:lnTo>
                <a:lnTo>
                  <a:pt x="3729825" y="1603486"/>
                </a:lnTo>
                <a:lnTo>
                  <a:pt x="3730585" y="1600779"/>
                </a:lnTo>
                <a:lnTo>
                  <a:pt x="3736553" y="1599589"/>
                </a:lnTo>
                <a:lnTo>
                  <a:pt x="3735034" y="1595907"/>
                </a:lnTo>
                <a:lnTo>
                  <a:pt x="3730368" y="1597098"/>
                </a:lnTo>
                <a:lnTo>
                  <a:pt x="3723531" y="1592226"/>
                </a:lnTo>
                <a:lnTo>
                  <a:pt x="3729391" y="1592010"/>
                </a:lnTo>
                <a:lnTo>
                  <a:pt x="3729934" y="1594283"/>
                </a:lnTo>
                <a:lnTo>
                  <a:pt x="3732538" y="1594175"/>
                </a:lnTo>
                <a:lnTo>
                  <a:pt x="3731127" y="1590277"/>
                </a:lnTo>
                <a:lnTo>
                  <a:pt x="3729825" y="1589519"/>
                </a:lnTo>
                <a:lnTo>
                  <a:pt x="3729174" y="1585513"/>
                </a:lnTo>
                <a:lnTo>
                  <a:pt x="3726136" y="1588545"/>
                </a:lnTo>
                <a:lnTo>
                  <a:pt x="3727221" y="1581940"/>
                </a:lnTo>
                <a:lnTo>
                  <a:pt x="3733297" y="1583565"/>
                </a:lnTo>
                <a:lnTo>
                  <a:pt x="3733297" y="1581616"/>
                </a:lnTo>
                <a:lnTo>
                  <a:pt x="3744258" y="1583239"/>
                </a:lnTo>
                <a:lnTo>
                  <a:pt x="3745669" y="1587679"/>
                </a:lnTo>
                <a:lnTo>
                  <a:pt x="3748708" y="1584214"/>
                </a:lnTo>
                <a:lnTo>
                  <a:pt x="3752179" y="1585838"/>
                </a:lnTo>
                <a:lnTo>
                  <a:pt x="3758908" y="1584539"/>
                </a:lnTo>
                <a:lnTo>
                  <a:pt x="3756520" y="1582373"/>
                </a:lnTo>
                <a:lnTo>
                  <a:pt x="3763356" y="1579775"/>
                </a:lnTo>
                <a:lnTo>
                  <a:pt x="3768782" y="1574037"/>
                </a:lnTo>
                <a:lnTo>
                  <a:pt x="3765961" y="1574037"/>
                </a:lnTo>
                <a:lnTo>
                  <a:pt x="3761838" y="1575444"/>
                </a:lnTo>
                <a:lnTo>
                  <a:pt x="3762597" y="1574037"/>
                </a:lnTo>
                <a:lnTo>
                  <a:pt x="3757497" y="1574037"/>
                </a:lnTo>
                <a:lnTo>
                  <a:pt x="3756195" y="1570247"/>
                </a:lnTo>
                <a:lnTo>
                  <a:pt x="3760861" y="1569056"/>
                </a:lnTo>
                <a:lnTo>
                  <a:pt x="3760535" y="1567216"/>
                </a:lnTo>
                <a:lnTo>
                  <a:pt x="3763900" y="1567108"/>
                </a:lnTo>
                <a:lnTo>
                  <a:pt x="3764768" y="1565267"/>
                </a:lnTo>
                <a:lnTo>
                  <a:pt x="3761512" y="1563967"/>
                </a:lnTo>
                <a:lnTo>
                  <a:pt x="3763031" y="1560070"/>
                </a:lnTo>
                <a:lnTo>
                  <a:pt x="3765201" y="1559961"/>
                </a:lnTo>
                <a:lnTo>
                  <a:pt x="3765201" y="1556821"/>
                </a:lnTo>
                <a:lnTo>
                  <a:pt x="3771712" y="1555198"/>
                </a:lnTo>
                <a:lnTo>
                  <a:pt x="3773774" y="1557147"/>
                </a:lnTo>
                <a:lnTo>
                  <a:pt x="3777464" y="1557038"/>
                </a:lnTo>
                <a:lnTo>
                  <a:pt x="3775619" y="1554331"/>
                </a:lnTo>
                <a:lnTo>
                  <a:pt x="3778766" y="1553682"/>
                </a:lnTo>
                <a:lnTo>
                  <a:pt x="3781045" y="1557796"/>
                </a:lnTo>
                <a:lnTo>
                  <a:pt x="3779200" y="1560070"/>
                </a:lnTo>
                <a:lnTo>
                  <a:pt x="3778766" y="1563426"/>
                </a:lnTo>
                <a:lnTo>
                  <a:pt x="3782130" y="1558446"/>
                </a:lnTo>
                <a:lnTo>
                  <a:pt x="3781371" y="1553032"/>
                </a:lnTo>
                <a:lnTo>
                  <a:pt x="3786254" y="1553032"/>
                </a:lnTo>
                <a:close/>
                <a:moveTo>
                  <a:pt x="5290620" y="1547512"/>
                </a:moveTo>
                <a:lnTo>
                  <a:pt x="5282373" y="1550110"/>
                </a:lnTo>
                <a:lnTo>
                  <a:pt x="5282373" y="1552400"/>
                </a:lnTo>
                <a:lnTo>
                  <a:pt x="5282698" y="1550326"/>
                </a:lnTo>
                <a:lnTo>
                  <a:pt x="5290945" y="1547728"/>
                </a:lnTo>
                <a:lnTo>
                  <a:pt x="5293150" y="1547512"/>
                </a:lnTo>
                <a:close/>
                <a:moveTo>
                  <a:pt x="1163514" y="1545562"/>
                </a:moveTo>
                <a:lnTo>
                  <a:pt x="1163839" y="1549244"/>
                </a:lnTo>
                <a:lnTo>
                  <a:pt x="1157112" y="1546320"/>
                </a:lnTo>
                <a:close/>
                <a:moveTo>
                  <a:pt x="4145660" y="1545237"/>
                </a:moveTo>
                <a:lnTo>
                  <a:pt x="4150869" y="1548052"/>
                </a:lnTo>
                <a:lnTo>
                  <a:pt x="4154124" y="1547510"/>
                </a:lnTo>
                <a:lnTo>
                  <a:pt x="4157162" y="1554223"/>
                </a:lnTo>
                <a:lnTo>
                  <a:pt x="4158356" y="1558013"/>
                </a:lnTo>
                <a:lnTo>
                  <a:pt x="4155535" y="1563643"/>
                </a:lnTo>
                <a:lnTo>
                  <a:pt x="4150869" y="1564509"/>
                </a:lnTo>
                <a:lnTo>
                  <a:pt x="4148264" y="1562777"/>
                </a:lnTo>
                <a:lnTo>
                  <a:pt x="4144249" y="1562235"/>
                </a:lnTo>
                <a:lnTo>
                  <a:pt x="4139800" y="1557688"/>
                </a:lnTo>
                <a:lnTo>
                  <a:pt x="4137413" y="1552491"/>
                </a:lnTo>
                <a:lnTo>
                  <a:pt x="4138390" y="1546645"/>
                </a:lnTo>
                <a:close/>
                <a:moveTo>
                  <a:pt x="6746985" y="1544697"/>
                </a:moveTo>
                <a:lnTo>
                  <a:pt x="6748636" y="1545055"/>
                </a:lnTo>
                <a:lnTo>
                  <a:pt x="6748542" y="1544697"/>
                </a:lnTo>
                <a:close/>
                <a:moveTo>
                  <a:pt x="5543683" y="1543753"/>
                </a:moveTo>
                <a:lnTo>
                  <a:pt x="5543464" y="1543831"/>
                </a:lnTo>
                <a:lnTo>
                  <a:pt x="5544233" y="1548090"/>
                </a:lnTo>
                <a:lnTo>
                  <a:pt x="5544440" y="1547945"/>
                </a:lnTo>
                <a:close/>
                <a:moveTo>
                  <a:pt x="2218405" y="1543505"/>
                </a:moveTo>
                <a:lnTo>
                  <a:pt x="2218405" y="1549027"/>
                </a:lnTo>
                <a:lnTo>
                  <a:pt x="2217320" y="1551301"/>
                </a:lnTo>
                <a:lnTo>
                  <a:pt x="2216126" y="1549676"/>
                </a:lnTo>
                <a:lnTo>
                  <a:pt x="2215801" y="1544696"/>
                </a:lnTo>
                <a:lnTo>
                  <a:pt x="2217103" y="1544371"/>
                </a:lnTo>
                <a:close/>
                <a:moveTo>
                  <a:pt x="4195795" y="1540582"/>
                </a:moveTo>
                <a:lnTo>
                  <a:pt x="4197315" y="1546645"/>
                </a:lnTo>
                <a:lnTo>
                  <a:pt x="4194060" y="1545563"/>
                </a:lnTo>
                <a:close/>
                <a:moveTo>
                  <a:pt x="3827490" y="1540149"/>
                </a:moveTo>
                <a:lnTo>
                  <a:pt x="3830746" y="1546753"/>
                </a:lnTo>
                <a:lnTo>
                  <a:pt x="3829335" y="1551518"/>
                </a:lnTo>
                <a:lnTo>
                  <a:pt x="3824886" y="1549677"/>
                </a:lnTo>
                <a:lnTo>
                  <a:pt x="3823692" y="1542747"/>
                </a:lnTo>
                <a:close/>
                <a:moveTo>
                  <a:pt x="1164818" y="1537117"/>
                </a:moveTo>
                <a:lnTo>
                  <a:pt x="1167747" y="1539282"/>
                </a:lnTo>
                <a:lnTo>
                  <a:pt x="1164166" y="1542530"/>
                </a:lnTo>
                <a:lnTo>
                  <a:pt x="1160043" y="1542855"/>
                </a:lnTo>
                <a:lnTo>
                  <a:pt x="1160368" y="1539282"/>
                </a:lnTo>
                <a:lnTo>
                  <a:pt x="1163515" y="1539066"/>
                </a:lnTo>
                <a:close/>
                <a:moveTo>
                  <a:pt x="3829335" y="1534410"/>
                </a:moveTo>
                <a:lnTo>
                  <a:pt x="3831288" y="1536467"/>
                </a:lnTo>
                <a:lnTo>
                  <a:pt x="3831505" y="1539824"/>
                </a:lnTo>
                <a:lnTo>
                  <a:pt x="3828901" y="1537658"/>
                </a:lnTo>
                <a:close/>
                <a:moveTo>
                  <a:pt x="5519569" y="1534372"/>
                </a:moveTo>
                <a:lnTo>
                  <a:pt x="5517962" y="1538200"/>
                </a:lnTo>
                <a:lnTo>
                  <a:pt x="5515032" y="1540798"/>
                </a:lnTo>
                <a:lnTo>
                  <a:pt x="5514923" y="1546970"/>
                </a:lnTo>
                <a:lnTo>
                  <a:pt x="5515141" y="1547253"/>
                </a:lnTo>
                <a:lnTo>
                  <a:pt x="5515141" y="1541882"/>
                </a:lnTo>
                <a:lnTo>
                  <a:pt x="5518071" y="1539284"/>
                </a:lnTo>
                <a:lnTo>
                  <a:pt x="5520025" y="1534627"/>
                </a:lnTo>
                <a:close/>
                <a:moveTo>
                  <a:pt x="3809043" y="1533002"/>
                </a:moveTo>
                <a:lnTo>
                  <a:pt x="3810996" y="1540689"/>
                </a:lnTo>
                <a:lnTo>
                  <a:pt x="3806113" y="1543720"/>
                </a:lnTo>
                <a:lnTo>
                  <a:pt x="3806656" y="1539065"/>
                </a:lnTo>
                <a:lnTo>
                  <a:pt x="3802316" y="1541879"/>
                </a:lnTo>
                <a:lnTo>
                  <a:pt x="3802207" y="1535817"/>
                </a:lnTo>
                <a:close/>
                <a:moveTo>
                  <a:pt x="5496809" y="1532695"/>
                </a:moveTo>
                <a:lnTo>
                  <a:pt x="5496368" y="1532787"/>
                </a:lnTo>
                <a:lnTo>
                  <a:pt x="5497670" y="1535494"/>
                </a:lnTo>
                <a:lnTo>
                  <a:pt x="5499707" y="1536426"/>
                </a:lnTo>
                <a:lnTo>
                  <a:pt x="5500382" y="1535710"/>
                </a:lnTo>
                <a:lnTo>
                  <a:pt x="5497669" y="1534411"/>
                </a:lnTo>
                <a:close/>
                <a:moveTo>
                  <a:pt x="1158849" y="1531812"/>
                </a:moveTo>
                <a:lnTo>
                  <a:pt x="1160694" y="1535926"/>
                </a:lnTo>
                <a:lnTo>
                  <a:pt x="1155919" y="1535493"/>
                </a:lnTo>
                <a:close/>
                <a:moveTo>
                  <a:pt x="4154234" y="1530838"/>
                </a:moveTo>
                <a:lnTo>
                  <a:pt x="4155970" y="1536901"/>
                </a:lnTo>
                <a:lnTo>
                  <a:pt x="4155536" y="1540257"/>
                </a:lnTo>
                <a:lnTo>
                  <a:pt x="4151847" y="1541015"/>
                </a:lnTo>
                <a:lnTo>
                  <a:pt x="4154234" y="1537334"/>
                </a:lnTo>
                <a:close/>
                <a:moveTo>
                  <a:pt x="5334623" y="1530587"/>
                </a:moveTo>
                <a:lnTo>
                  <a:pt x="5334461" y="1530730"/>
                </a:lnTo>
                <a:lnTo>
                  <a:pt x="5334461" y="1534591"/>
                </a:lnTo>
                <a:lnTo>
                  <a:pt x="5334786" y="1534302"/>
                </a:lnTo>
                <a:close/>
                <a:moveTo>
                  <a:pt x="4192540" y="1529321"/>
                </a:moveTo>
                <a:lnTo>
                  <a:pt x="4193951" y="1533219"/>
                </a:lnTo>
                <a:lnTo>
                  <a:pt x="4194384" y="1538415"/>
                </a:lnTo>
                <a:lnTo>
                  <a:pt x="4192866" y="1544046"/>
                </a:lnTo>
                <a:lnTo>
                  <a:pt x="4187874" y="1546428"/>
                </a:lnTo>
                <a:lnTo>
                  <a:pt x="4187874" y="1548160"/>
                </a:lnTo>
                <a:lnTo>
                  <a:pt x="4192214" y="1551084"/>
                </a:lnTo>
                <a:lnTo>
                  <a:pt x="4193082" y="1554007"/>
                </a:lnTo>
                <a:lnTo>
                  <a:pt x="4190586" y="1556281"/>
                </a:lnTo>
                <a:lnTo>
                  <a:pt x="4185594" y="1558338"/>
                </a:lnTo>
                <a:lnTo>
                  <a:pt x="4185812" y="1561586"/>
                </a:lnTo>
                <a:lnTo>
                  <a:pt x="4183967" y="1564076"/>
                </a:lnTo>
                <a:lnTo>
                  <a:pt x="4180387" y="1564293"/>
                </a:lnTo>
                <a:lnTo>
                  <a:pt x="4178541" y="1561803"/>
                </a:lnTo>
                <a:lnTo>
                  <a:pt x="4180603" y="1559313"/>
                </a:lnTo>
                <a:lnTo>
                  <a:pt x="4179735" y="1557147"/>
                </a:lnTo>
                <a:lnTo>
                  <a:pt x="4174201" y="1555631"/>
                </a:lnTo>
                <a:lnTo>
                  <a:pt x="4171162" y="1555631"/>
                </a:lnTo>
                <a:lnTo>
                  <a:pt x="4168449" y="1552275"/>
                </a:lnTo>
                <a:lnTo>
                  <a:pt x="4168666" y="1547403"/>
                </a:lnTo>
                <a:lnTo>
                  <a:pt x="4166822" y="1544479"/>
                </a:lnTo>
                <a:lnTo>
                  <a:pt x="4166171" y="1541015"/>
                </a:lnTo>
                <a:lnTo>
                  <a:pt x="4169101" y="1540148"/>
                </a:lnTo>
                <a:lnTo>
                  <a:pt x="4170945" y="1536575"/>
                </a:lnTo>
                <a:lnTo>
                  <a:pt x="4173224" y="1534951"/>
                </a:lnTo>
                <a:lnTo>
                  <a:pt x="4175394" y="1537766"/>
                </a:lnTo>
                <a:lnTo>
                  <a:pt x="4175612" y="1540040"/>
                </a:lnTo>
                <a:lnTo>
                  <a:pt x="4179952" y="1542963"/>
                </a:lnTo>
                <a:lnTo>
                  <a:pt x="4180928" y="1541772"/>
                </a:lnTo>
                <a:lnTo>
                  <a:pt x="4183425" y="1542422"/>
                </a:lnTo>
                <a:lnTo>
                  <a:pt x="4183750" y="1539931"/>
                </a:lnTo>
                <a:lnTo>
                  <a:pt x="4180060" y="1537441"/>
                </a:lnTo>
                <a:lnTo>
                  <a:pt x="4178433" y="1535276"/>
                </a:lnTo>
                <a:lnTo>
                  <a:pt x="4180712" y="1531053"/>
                </a:lnTo>
                <a:lnTo>
                  <a:pt x="4187006" y="1529537"/>
                </a:lnTo>
                <a:close/>
                <a:moveTo>
                  <a:pt x="6562251" y="1528573"/>
                </a:moveTo>
                <a:lnTo>
                  <a:pt x="6562218" y="1528672"/>
                </a:lnTo>
                <a:lnTo>
                  <a:pt x="6562978" y="1533870"/>
                </a:lnTo>
                <a:lnTo>
                  <a:pt x="6565764" y="1536756"/>
                </a:lnTo>
                <a:lnTo>
                  <a:pt x="6565799" y="1536467"/>
                </a:lnTo>
                <a:lnTo>
                  <a:pt x="6562978" y="1533543"/>
                </a:lnTo>
                <a:close/>
                <a:moveTo>
                  <a:pt x="1126076" y="1527589"/>
                </a:moveTo>
                <a:lnTo>
                  <a:pt x="1130417" y="1528563"/>
                </a:lnTo>
                <a:lnTo>
                  <a:pt x="1133347" y="1533760"/>
                </a:lnTo>
                <a:lnTo>
                  <a:pt x="1138882" y="1533436"/>
                </a:lnTo>
                <a:lnTo>
                  <a:pt x="1140075" y="1537875"/>
                </a:lnTo>
                <a:lnTo>
                  <a:pt x="1143548" y="1541989"/>
                </a:lnTo>
                <a:lnTo>
                  <a:pt x="1151035" y="1546103"/>
                </a:lnTo>
                <a:lnTo>
                  <a:pt x="1153097" y="1550217"/>
                </a:lnTo>
                <a:lnTo>
                  <a:pt x="1158523" y="1552275"/>
                </a:lnTo>
                <a:lnTo>
                  <a:pt x="1163298" y="1552275"/>
                </a:lnTo>
                <a:lnTo>
                  <a:pt x="1171762" y="1556822"/>
                </a:lnTo>
                <a:lnTo>
                  <a:pt x="1176754" y="1557472"/>
                </a:lnTo>
                <a:lnTo>
                  <a:pt x="1179358" y="1560178"/>
                </a:lnTo>
                <a:lnTo>
                  <a:pt x="1179467" y="1568515"/>
                </a:lnTo>
                <a:lnTo>
                  <a:pt x="1185218" y="1577068"/>
                </a:lnTo>
                <a:lnTo>
                  <a:pt x="1186195" y="1590819"/>
                </a:lnTo>
                <a:lnTo>
                  <a:pt x="1197047" y="1598182"/>
                </a:lnTo>
                <a:lnTo>
                  <a:pt x="1201061" y="1603703"/>
                </a:lnTo>
                <a:lnTo>
                  <a:pt x="1199976" y="1613015"/>
                </a:lnTo>
                <a:lnTo>
                  <a:pt x="1201713" y="1616804"/>
                </a:lnTo>
                <a:lnTo>
                  <a:pt x="1200845" y="1622976"/>
                </a:lnTo>
                <a:lnTo>
                  <a:pt x="1204100" y="1635210"/>
                </a:lnTo>
                <a:lnTo>
                  <a:pt x="1199868" y="1634669"/>
                </a:lnTo>
                <a:lnTo>
                  <a:pt x="1197372" y="1636402"/>
                </a:lnTo>
                <a:lnTo>
                  <a:pt x="1182831" y="1627956"/>
                </a:lnTo>
                <a:lnTo>
                  <a:pt x="1180878" y="1624492"/>
                </a:lnTo>
                <a:lnTo>
                  <a:pt x="1177730" y="1623625"/>
                </a:lnTo>
                <a:lnTo>
                  <a:pt x="1168832" y="1614531"/>
                </a:lnTo>
                <a:lnTo>
                  <a:pt x="1175560" y="1607493"/>
                </a:lnTo>
                <a:lnTo>
                  <a:pt x="1171220" y="1607493"/>
                </a:lnTo>
                <a:lnTo>
                  <a:pt x="1168941" y="1605111"/>
                </a:lnTo>
                <a:lnTo>
                  <a:pt x="1165359" y="1608359"/>
                </a:lnTo>
                <a:lnTo>
                  <a:pt x="1160043" y="1603487"/>
                </a:lnTo>
                <a:lnTo>
                  <a:pt x="1161561" y="1599048"/>
                </a:lnTo>
                <a:lnTo>
                  <a:pt x="1159825" y="1594609"/>
                </a:lnTo>
                <a:lnTo>
                  <a:pt x="1156787" y="1594067"/>
                </a:lnTo>
                <a:lnTo>
                  <a:pt x="1157221" y="1590170"/>
                </a:lnTo>
                <a:lnTo>
                  <a:pt x="1148974" y="1591036"/>
                </a:lnTo>
                <a:lnTo>
                  <a:pt x="1147563" y="1585297"/>
                </a:lnTo>
                <a:lnTo>
                  <a:pt x="1145176" y="1586164"/>
                </a:lnTo>
                <a:lnTo>
                  <a:pt x="1144850" y="1582266"/>
                </a:lnTo>
                <a:lnTo>
                  <a:pt x="1148866" y="1578584"/>
                </a:lnTo>
                <a:lnTo>
                  <a:pt x="1150384" y="1572954"/>
                </a:lnTo>
                <a:lnTo>
                  <a:pt x="1144199" y="1574687"/>
                </a:lnTo>
                <a:lnTo>
                  <a:pt x="1143656" y="1578909"/>
                </a:lnTo>
                <a:lnTo>
                  <a:pt x="1140184" y="1580100"/>
                </a:lnTo>
                <a:lnTo>
                  <a:pt x="1137254" y="1574362"/>
                </a:lnTo>
                <a:lnTo>
                  <a:pt x="1143656" y="1566891"/>
                </a:lnTo>
                <a:lnTo>
                  <a:pt x="1138665" y="1569706"/>
                </a:lnTo>
                <a:lnTo>
                  <a:pt x="1133999" y="1566458"/>
                </a:lnTo>
                <a:lnTo>
                  <a:pt x="1133782" y="1561803"/>
                </a:lnTo>
                <a:lnTo>
                  <a:pt x="1128681" y="1562127"/>
                </a:lnTo>
                <a:lnTo>
                  <a:pt x="1128030" y="1557688"/>
                </a:lnTo>
                <a:lnTo>
                  <a:pt x="1122496" y="1559529"/>
                </a:lnTo>
                <a:lnTo>
                  <a:pt x="1121085" y="1558013"/>
                </a:lnTo>
                <a:lnTo>
                  <a:pt x="1123689" y="1552275"/>
                </a:lnTo>
                <a:lnTo>
                  <a:pt x="1120868" y="1550542"/>
                </a:lnTo>
                <a:lnTo>
                  <a:pt x="1124340" y="1545346"/>
                </a:lnTo>
                <a:lnTo>
                  <a:pt x="1130201" y="1545670"/>
                </a:lnTo>
                <a:lnTo>
                  <a:pt x="1135084" y="1542855"/>
                </a:lnTo>
                <a:lnTo>
                  <a:pt x="1123364" y="1541556"/>
                </a:lnTo>
                <a:lnTo>
                  <a:pt x="1121302" y="1535709"/>
                </a:lnTo>
                <a:lnTo>
                  <a:pt x="1119132" y="1535385"/>
                </a:lnTo>
                <a:lnTo>
                  <a:pt x="1117070" y="1528780"/>
                </a:lnTo>
                <a:lnTo>
                  <a:pt x="1124232" y="1529321"/>
                </a:lnTo>
                <a:close/>
                <a:moveTo>
                  <a:pt x="5565382" y="1527168"/>
                </a:moveTo>
                <a:lnTo>
                  <a:pt x="5564950" y="1527590"/>
                </a:lnTo>
                <a:lnTo>
                  <a:pt x="5564950" y="1529847"/>
                </a:lnTo>
                <a:lnTo>
                  <a:pt x="5565058" y="1529755"/>
                </a:lnTo>
                <a:close/>
                <a:moveTo>
                  <a:pt x="4480434" y="1526724"/>
                </a:moveTo>
                <a:lnTo>
                  <a:pt x="4485969" y="1534194"/>
                </a:lnTo>
                <a:lnTo>
                  <a:pt x="4492913" y="1534519"/>
                </a:lnTo>
                <a:lnTo>
                  <a:pt x="4495192" y="1536576"/>
                </a:lnTo>
                <a:lnTo>
                  <a:pt x="4489766" y="1543721"/>
                </a:lnTo>
                <a:lnTo>
                  <a:pt x="4493456" y="1545454"/>
                </a:lnTo>
                <a:lnTo>
                  <a:pt x="4493456" y="1550326"/>
                </a:lnTo>
                <a:lnTo>
                  <a:pt x="4493458" y="1550325"/>
                </a:lnTo>
                <a:lnTo>
                  <a:pt x="4493458" y="1545453"/>
                </a:lnTo>
                <a:lnTo>
                  <a:pt x="4489768" y="1543721"/>
                </a:lnTo>
                <a:lnTo>
                  <a:pt x="4495193" y="1536576"/>
                </a:lnTo>
                <a:lnTo>
                  <a:pt x="4492916" y="1534519"/>
                </a:lnTo>
                <a:lnTo>
                  <a:pt x="4485970" y="1534194"/>
                </a:lnTo>
                <a:lnTo>
                  <a:pt x="4480436" y="1526724"/>
                </a:lnTo>
                <a:close/>
                <a:moveTo>
                  <a:pt x="4570544" y="1526074"/>
                </a:moveTo>
                <a:lnTo>
                  <a:pt x="4571156" y="1526831"/>
                </a:lnTo>
                <a:lnTo>
                  <a:pt x="4573863" y="1526831"/>
                </a:lnTo>
                <a:lnTo>
                  <a:pt x="4571697" y="1526074"/>
                </a:lnTo>
                <a:close/>
                <a:moveTo>
                  <a:pt x="3808390" y="1526074"/>
                </a:moveTo>
                <a:lnTo>
                  <a:pt x="3809041" y="1528456"/>
                </a:lnTo>
                <a:lnTo>
                  <a:pt x="3806980" y="1530621"/>
                </a:lnTo>
                <a:close/>
                <a:moveTo>
                  <a:pt x="3818700" y="1525856"/>
                </a:moveTo>
                <a:lnTo>
                  <a:pt x="3815119" y="1533868"/>
                </a:lnTo>
                <a:lnTo>
                  <a:pt x="3812189" y="1537658"/>
                </a:lnTo>
                <a:lnTo>
                  <a:pt x="3810561" y="1533435"/>
                </a:lnTo>
                <a:close/>
                <a:moveTo>
                  <a:pt x="5460014" y="1524262"/>
                </a:moveTo>
                <a:lnTo>
                  <a:pt x="5456433" y="1525208"/>
                </a:lnTo>
                <a:lnTo>
                  <a:pt x="5456737" y="1525845"/>
                </a:lnTo>
                <a:lnTo>
                  <a:pt x="5460014" y="1524884"/>
                </a:lnTo>
                <a:close/>
                <a:moveTo>
                  <a:pt x="5587889" y="1523007"/>
                </a:moveTo>
                <a:lnTo>
                  <a:pt x="5584373" y="1523908"/>
                </a:lnTo>
                <a:lnTo>
                  <a:pt x="5584385" y="1523931"/>
                </a:lnTo>
                <a:lnTo>
                  <a:pt x="5587847" y="1523043"/>
                </a:lnTo>
                <a:close/>
                <a:moveTo>
                  <a:pt x="4565512" y="1522609"/>
                </a:moveTo>
                <a:lnTo>
                  <a:pt x="4558567" y="1524666"/>
                </a:lnTo>
                <a:lnTo>
                  <a:pt x="4554086" y="1528118"/>
                </a:lnTo>
                <a:lnTo>
                  <a:pt x="4555312" y="1530295"/>
                </a:lnTo>
                <a:lnTo>
                  <a:pt x="4561497" y="1525531"/>
                </a:lnTo>
                <a:lnTo>
                  <a:pt x="4566613" y="1524016"/>
                </a:lnTo>
                <a:close/>
                <a:moveTo>
                  <a:pt x="5480401" y="1521630"/>
                </a:moveTo>
                <a:lnTo>
                  <a:pt x="5480090" y="1521852"/>
                </a:lnTo>
                <a:lnTo>
                  <a:pt x="5481932" y="1526715"/>
                </a:lnTo>
                <a:lnTo>
                  <a:pt x="5482042" y="1525966"/>
                </a:lnTo>
                <a:close/>
                <a:moveTo>
                  <a:pt x="7367737" y="1521526"/>
                </a:moveTo>
                <a:lnTo>
                  <a:pt x="7369257" y="1523258"/>
                </a:lnTo>
                <a:lnTo>
                  <a:pt x="7368931" y="1527589"/>
                </a:lnTo>
                <a:lnTo>
                  <a:pt x="7367195" y="1529863"/>
                </a:lnTo>
                <a:lnTo>
                  <a:pt x="7365458" y="1530946"/>
                </a:lnTo>
                <a:lnTo>
                  <a:pt x="7366326" y="1524991"/>
                </a:lnTo>
                <a:close/>
                <a:moveTo>
                  <a:pt x="4542723" y="1520877"/>
                </a:moveTo>
                <a:lnTo>
                  <a:pt x="4538692" y="1522739"/>
                </a:lnTo>
                <a:lnTo>
                  <a:pt x="4539794" y="1524449"/>
                </a:lnTo>
                <a:lnTo>
                  <a:pt x="4545654" y="1521742"/>
                </a:lnTo>
                <a:lnTo>
                  <a:pt x="4548235" y="1522064"/>
                </a:lnTo>
                <a:lnTo>
                  <a:pt x="4547932" y="1521527"/>
                </a:lnTo>
                <a:close/>
                <a:moveTo>
                  <a:pt x="5591753" y="1518864"/>
                </a:moveTo>
                <a:lnTo>
                  <a:pt x="5588788" y="1522235"/>
                </a:lnTo>
                <a:lnTo>
                  <a:pt x="5591753" y="1519686"/>
                </a:lnTo>
                <a:close/>
                <a:moveTo>
                  <a:pt x="4469149" y="1518820"/>
                </a:moveTo>
                <a:lnTo>
                  <a:pt x="4475334" y="1525965"/>
                </a:lnTo>
                <a:lnTo>
                  <a:pt x="4477404" y="1526273"/>
                </a:lnTo>
                <a:lnTo>
                  <a:pt x="4475336" y="1525965"/>
                </a:lnTo>
                <a:lnTo>
                  <a:pt x="4469150" y="1518820"/>
                </a:lnTo>
                <a:close/>
                <a:moveTo>
                  <a:pt x="4443323" y="1517629"/>
                </a:moveTo>
                <a:lnTo>
                  <a:pt x="4443321" y="1517629"/>
                </a:lnTo>
                <a:lnTo>
                  <a:pt x="4445453" y="1518692"/>
                </a:lnTo>
                <a:close/>
                <a:moveTo>
                  <a:pt x="7360792" y="1517087"/>
                </a:moveTo>
                <a:lnTo>
                  <a:pt x="7362637" y="1517736"/>
                </a:lnTo>
                <a:lnTo>
                  <a:pt x="7363396" y="1519252"/>
                </a:lnTo>
                <a:lnTo>
                  <a:pt x="7362094" y="1519902"/>
                </a:lnTo>
                <a:lnTo>
                  <a:pt x="7359815" y="1519143"/>
                </a:lnTo>
                <a:close/>
                <a:moveTo>
                  <a:pt x="4523643" y="1517021"/>
                </a:moveTo>
                <a:lnTo>
                  <a:pt x="4523722" y="1517641"/>
                </a:lnTo>
                <a:lnTo>
                  <a:pt x="4524356" y="1517489"/>
                </a:lnTo>
                <a:close/>
                <a:moveTo>
                  <a:pt x="4532089" y="1516005"/>
                </a:moveTo>
                <a:lnTo>
                  <a:pt x="4527706" y="1518647"/>
                </a:lnTo>
                <a:lnTo>
                  <a:pt x="4529702" y="1520009"/>
                </a:lnTo>
                <a:lnTo>
                  <a:pt x="4533260" y="1517865"/>
                </a:lnTo>
                <a:close/>
                <a:moveTo>
                  <a:pt x="4453307" y="1513731"/>
                </a:moveTo>
                <a:lnTo>
                  <a:pt x="4453306" y="1513731"/>
                </a:lnTo>
                <a:lnTo>
                  <a:pt x="4461660" y="1517629"/>
                </a:lnTo>
                <a:lnTo>
                  <a:pt x="4464654" y="1518105"/>
                </a:lnTo>
                <a:lnTo>
                  <a:pt x="4461662" y="1517629"/>
                </a:lnTo>
                <a:close/>
                <a:moveTo>
                  <a:pt x="4431928" y="1513406"/>
                </a:moveTo>
                <a:lnTo>
                  <a:pt x="4435834" y="1517845"/>
                </a:lnTo>
                <a:lnTo>
                  <a:pt x="4435835" y="1517845"/>
                </a:lnTo>
                <a:lnTo>
                  <a:pt x="4431929" y="1513406"/>
                </a:lnTo>
                <a:close/>
                <a:moveTo>
                  <a:pt x="6563563" y="1513284"/>
                </a:moveTo>
                <a:lnTo>
                  <a:pt x="6563412" y="1513407"/>
                </a:lnTo>
                <a:lnTo>
                  <a:pt x="6560699" y="1518170"/>
                </a:lnTo>
                <a:lnTo>
                  <a:pt x="6560699" y="1521742"/>
                </a:lnTo>
                <a:lnTo>
                  <a:pt x="6560699" y="1522068"/>
                </a:lnTo>
                <a:lnTo>
                  <a:pt x="6563016" y="1525957"/>
                </a:lnTo>
                <a:lnTo>
                  <a:pt x="6563086" y="1525748"/>
                </a:lnTo>
                <a:lnTo>
                  <a:pt x="6560699" y="1521742"/>
                </a:lnTo>
                <a:lnTo>
                  <a:pt x="6561024" y="1517844"/>
                </a:lnTo>
                <a:close/>
                <a:moveTo>
                  <a:pt x="3794068" y="1512431"/>
                </a:moveTo>
                <a:lnTo>
                  <a:pt x="3797866" y="1512647"/>
                </a:lnTo>
                <a:lnTo>
                  <a:pt x="3793634" y="1515788"/>
                </a:lnTo>
                <a:close/>
                <a:moveTo>
                  <a:pt x="4414132" y="1511998"/>
                </a:moveTo>
                <a:lnTo>
                  <a:pt x="4414131" y="1511999"/>
                </a:lnTo>
                <a:lnTo>
                  <a:pt x="4417277" y="1514597"/>
                </a:lnTo>
                <a:lnTo>
                  <a:pt x="4417278" y="1514596"/>
                </a:lnTo>
                <a:close/>
                <a:moveTo>
                  <a:pt x="4400134" y="1511457"/>
                </a:moveTo>
                <a:lnTo>
                  <a:pt x="4400133" y="1511457"/>
                </a:lnTo>
                <a:lnTo>
                  <a:pt x="4402422" y="1511695"/>
                </a:lnTo>
                <a:close/>
                <a:moveTo>
                  <a:pt x="4426720" y="1510267"/>
                </a:moveTo>
                <a:lnTo>
                  <a:pt x="4426719" y="1510267"/>
                </a:lnTo>
                <a:lnTo>
                  <a:pt x="4427803" y="1513189"/>
                </a:lnTo>
                <a:lnTo>
                  <a:pt x="4427805" y="1513189"/>
                </a:lnTo>
                <a:close/>
                <a:moveTo>
                  <a:pt x="3810344" y="1508859"/>
                </a:moveTo>
                <a:lnTo>
                  <a:pt x="3814142" y="1513082"/>
                </a:lnTo>
                <a:lnTo>
                  <a:pt x="3817073" y="1513514"/>
                </a:lnTo>
                <a:lnTo>
                  <a:pt x="3818809" y="1517412"/>
                </a:lnTo>
                <a:lnTo>
                  <a:pt x="3814577" y="1520553"/>
                </a:lnTo>
                <a:lnTo>
                  <a:pt x="3814251" y="1519145"/>
                </a:lnTo>
                <a:lnTo>
                  <a:pt x="3805461" y="1521094"/>
                </a:lnTo>
                <a:lnTo>
                  <a:pt x="3809584" y="1518171"/>
                </a:lnTo>
                <a:lnTo>
                  <a:pt x="3808716" y="1516763"/>
                </a:lnTo>
                <a:lnTo>
                  <a:pt x="3812081" y="1514922"/>
                </a:lnTo>
                <a:lnTo>
                  <a:pt x="3806003" y="1511890"/>
                </a:lnTo>
                <a:close/>
                <a:moveTo>
                  <a:pt x="7368714" y="1507776"/>
                </a:moveTo>
                <a:lnTo>
                  <a:pt x="7372186" y="1509075"/>
                </a:lnTo>
                <a:lnTo>
                  <a:pt x="7372946" y="1511999"/>
                </a:lnTo>
                <a:lnTo>
                  <a:pt x="7370667" y="1513082"/>
                </a:lnTo>
                <a:lnTo>
                  <a:pt x="7368171" y="1510807"/>
                </a:lnTo>
                <a:lnTo>
                  <a:pt x="7367303" y="1508751"/>
                </a:lnTo>
                <a:close/>
                <a:moveTo>
                  <a:pt x="3803616" y="1506043"/>
                </a:moveTo>
                <a:lnTo>
                  <a:pt x="3802640" y="1509616"/>
                </a:lnTo>
                <a:lnTo>
                  <a:pt x="3799493" y="1511023"/>
                </a:lnTo>
                <a:close/>
                <a:moveTo>
                  <a:pt x="4121787" y="1500846"/>
                </a:moveTo>
                <a:lnTo>
                  <a:pt x="4121136" y="1503877"/>
                </a:lnTo>
                <a:lnTo>
                  <a:pt x="4117339" y="1508209"/>
                </a:lnTo>
                <a:lnTo>
                  <a:pt x="4114951" y="1509400"/>
                </a:lnTo>
                <a:lnTo>
                  <a:pt x="4114517" y="1504419"/>
                </a:lnTo>
                <a:lnTo>
                  <a:pt x="4117989" y="1501062"/>
                </a:lnTo>
                <a:close/>
                <a:moveTo>
                  <a:pt x="6570762" y="1500617"/>
                </a:moveTo>
                <a:lnTo>
                  <a:pt x="6570465" y="1500847"/>
                </a:lnTo>
                <a:lnTo>
                  <a:pt x="6567319" y="1505503"/>
                </a:lnTo>
                <a:lnTo>
                  <a:pt x="6566377" y="1510825"/>
                </a:lnTo>
                <a:lnTo>
                  <a:pt x="6566667" y="1510590"/>
                </a:lnTo>
                <a:lnTo>
                  <a:pt x="6567753" y="1505068"/>
                </a:lnTo>
                <a:close/>
                <a:moveTo>
                  <a:pt x="5393435" y="1499719"/>
                </a:moveTo>
                <a:lnTo>
                  <a:pt x="5392951" y="1499981"/>
                </a:lnTo>
                <a:lnTo>
                  <a:pt x="5395154" y="1503435"/>
                </a:lnTo>
                <a:lnTo>
                  <a:pt x="5395121" y="1502362"/>
                </a:lnTo>
                <a:close/>
                <a:moveTo>
                  <a:pt x="3809042" y="1499439"/>
                </a:moveTo>
                <a:lnTo>
                  <a:pt x="3811320" y="1499439"/>
                </a:lnTo>
                <a:lnTo>
                  <a:pt x="3809150" y="1501605"/>
                </a:lnTo>
                <a:close/>
                <a:moveTo>
                  <a:pt x="3806981" y="1494999"/>
                </a:moveTo>
                <a:lnTo>
                  <a:pt x="3808174" y="1497597"/>
                </a:lnTo>
                <a:lnTo>
                  <a:pt x="3806547" y="1499113"/>
                </a:lnTo>
                <a:lnTo>
                  <a:pt x="3804702" y="1495432"/>
                </a:lnTo>
                <a:close/>
                <a:moveTo>
                  <a:pt x="1140075" y="1494350"/>
                </a:moveTo>
                <a:lnTo>
                  <a:pt x="1141052" y="1498464"/>
                </a:lnTo>
                <a:lnTo>
                  <a:pt x="1139750" y="1505068"/>
                </a:lnTo>
                <a:lnTo>
                  <a:pt x="1137145" y="1502145"/>
                </a:lnTo>
                <a:lnTo>
                  <a:pt x="1136820" y="1497815"/>
                </a:lnTo>
                <a:close/>
                <a:moveTo>
                  <a:pt x="3785277" y="1494242"/>
                </a:moveTo>
                <a:lnTo>
                  <a:pt x="3786470" y="1497166"/>
                </a:lnTo>
                <a:lnTo>
                  <a:pt x="3783216" y="1499115"/>
                </a:lnTo>
                <a:lnTo>
                  <a:pt x="3783433" y="1496624"/>
                </a:lnTo>
                <a:close/>
                <a:moveTo>
                  <a:pt x="5448294" y="1493593"/>
                </a:moveTo>
                <a:lnTo>
                  <a:pt x="5450030" y="1498790"/>
                </a:lnTo>
                <a:lnTo>
                  <a:pt x="5450031" y="1498791"/>
                </a:lnTo>
                <a:lnTo>
                  <a:pt x="5448295" y="1493593"/>
                </a:lnTo>
                <a:close/>
                <a:moveTo>
                  <a:pt x="7368172" y="1491427"/>
                </a:moveTo>
                <a:lnTo>
                  <a:pt x="7369582" y="1492077"/>
                </a:lnTo>
                <a:lnTo>
                  <a:pt x="7369582" y="1496191"/>
                </a:lnTo>
                <a:lnTo>
                  <a:pt x="7371862" y="1500847"/>
                </a:lnTo>
                <a:cubicBezTo>
                  <a:pt x="7371862" y="1500847"/>
                  <a:pt x="7369799" y="1503878"/>
                  <a:pt x="7369799" y="1503878"/>
                </a:cubicBezTo>
                <a:lnTo>
                  <a:pt x="7366652" y="1500414"/>
                </a:lnTo>
                <a:lnTo>
                  <a:pt x="7368172" y="1495758"/>
                </a:lnTo>
                <a:close/>
                <a:moveTo>
                  <a:pt x="4284671" y="1487313"/>
                </a:moveTo>
                <a:lnTo>
                  <a:pt x="4287275" y="1490128"/>
                </a:lnTo>
                <a:lnTo>
                  <a:pt x="4286407" y="1497166"/>
                </a:lnTo>
                <a:lnTo>
                  <a:pt x="4284019" y="1505178"/>
                </a:lnTo>
                <a:lnTo>
                  <a:pt x="4283151" y="1513081"/>
                </a:lnTo>
                <a:lnTo>
                  <a:pt x="4280547" y="1520660"/>
                </a:lnTo>
                <a:lnTo>
                  <a:pt x="4278811" y="1524775"/>
                </a:lnTo>
                <a:lnTo>
                  <a:pt x="4277292" y="1523259"/>
                </a:lnTo>
                <a:lnTo>
                  <a:pt x="4277292" y="1520010"/>
                </a:lnTo>
                <a:lnTo>
                  <a:pt x="4276641" y="1515571"/>
                </a:lnTo>
                <a:lnTo>
                  <a:pt x="4278268" y="1502579"/>
                </a:lnTo>
                <a:lnTo>
                  <a:pt x="4280872" y="1500955"/>
                </a:lnTo>
                <a:lnTo>
                  <a:pt x="4282501" y="1493809"/>
                </a:lnTo>
                <a:lnTo>
                  <a:pt x="4281741" y="1491752"/>
                </a:lnTo>
                <a:close/>
                <a:moveTo>
                  <a:pt x="4159768" y="1483956"/>
                </a:moveTo>
                <a:lnTo>
                  <a:pt x="4164977" y="1483956"/>
                </a:lnTo>
                <a:lnTo>
                  <a:pt x="4161070" y="1486771"/>
                </a:lnTo>
                <a:lnTo>
                  <a:pt x="4157598" y="1486880"/>
                </a:lnTo>
                <a:close/>
                <a:moveTo>
                  <a:pt x="3786796" y="1483307"/>
                </a:moveTo>
                <a:lnTo>
                  <a:pt x="3789184" y="1483740"/>
                </a:lnTo>
                <a:lnTo>
                  <a:pt x="3789727" y="1486555"/>
                </a:lnTo>
                <a:lnTo>
                  <a:pt x="3788533" y="1488721"/>
                </a:lnTo>
                <a:lnTo>
                  <a:pt x="3789401" y="1492727"/>
                </a:lnTo>
                <a:lnTo>
                  <a:pt x="3786579" y="1492076"/>
                </a:lnTo>
                <a:lnTo>
                  <a:pt x="3785711" y="1488937"/>
                </a:lnTo>
                <a:lnTo>
                  <a:pt x="3787013" y="1486013"/>
                </a:lnTo>
                <a:close/>
                <a:moveTo>
                  <a:pt x="1145285" y="1481032"/>
                </a:moveTo>
                <a:lnTo>
                  <a:pt x="1147129" y="1483089"/>
                </a:lnTo>
                <a:lnTo>
                  <a:pt x="1144091" y="1488936"/>
                </a:lnTo>
                <a:lnTo>
                  <a:pt x="1140619" y="1488936"/>
                </a:lnTo>
                <a:lnTo>
                  <a:pt x="1138557" y="1488936"/>
                </a:lnTo>
                <a:lnTo>
                  <a:pt x="1139642" y="1484280"/>
                </a:lnTo>
                <a:close/>
                <a:moveTo>
                  <a:pt x="3790812" y="1479409"/>
                </a:moveTo>
                <a:lnTo>
                  <a:pt x="3789618" y="1482658"/>
                </a:lnTo>
                <a:lnTo>
                  <a:pt x="3786580" y="1481466"/>
                </a:lnTo>
                <a:lnTo>
                  <a:pt x="3786580" y="1480058"/>
                </a:lnTo>
                <a:close/>
                <a:moveTo>
                  <a:pt x="4505589" y="1474899"/>
                </a:moveTo>
                <a:lnTo>
                  <a:pt x="4505176" y="1475511"/>
                </a:lnTo>
                <a:lnTo>
                  <a:pt x="4505177" y="1475511"/>
                </a:lnTo>
                <a:lnTo>
                  <a:pt x="4507028" y="1475804"/>
                </a:lnTo>
                <a:lnTo>
                  <a:pt x="4506913" y="1475079"/>
                </a:lnTo>
                <a:close/>
                <a:moveTo>
                  <a:pt x="4499281" y="1474721"/>
                </a:moveTo>
                <a:lnTo>
                  <a:pt x="4507034" y="1475846"/>
                </a:lnTo>
                <a:lnTo>
                  <a:pt x="4507034" y="1475845"/>
                </a:lnTo>
                <a:close/>
                <a:moveTo>
                  <a:pt x="6702340" y="1474646"/>
                </a:moveTo>
                <a:lnTo>
                  <a:pt x="6702964" y="1477243"/>
                </a:lnTo>
                <a:lnTo>
                  <a:pt x="6701553" y="1480382"/>
                </a:lnTo>
                <a:lnTo>
                  <a:pt x="6701771" y="1481426"/>
                </a:lnTo>
                <a:lnTo>
                  <a:pt x="6701771" y="1480601"/>
                </a:lnTo>
                <a:lnTo>
                  <a:pt x="6703182" y="1477352"/>
                </a:lnTo>
                <a:lnTo>
                  <a:pt x="6702422" y="1474646"/>
                </a:lnTo>
                <a:close/>
                <a:moveTo>
                  <a:pt x="4498014" y="1474536"/>
                </a:moveTo>
                <a:lnTo>
                  <a:pt x="4489659" y="1477892"/>
                </a:lnTo>
                <a:lnTo>
                  <a:pt x="4489660" y="1477894"/>
                </a:lnTo>
                <a:lnTo>
                  <a:pt x="4498015" y="1474537"/>
                </a:lnTo>
                <a:lnTo>
                  <a:pt x="4498022" y="1474538"/>
                </a:lnTo>
                <a:lnTo>
                  <a:pt x="4502860" y="1475196"/>
                </a:lnTo>
                <a:close/>
                <a:moveTo>
                  <a:pt x="1143005" y="1474212"/>
                </a:moveTo>
                <a:lnTo>
                  <a:pt x="1144307" y="1476161"/>
                </a:lnTo>
                <a:lnTo>
                  <a:pt x="1142571" y="1479409"/>
                </a:lnTo>
                <a:lnTo>
                  <a:pt x="1141160" y="1479517"/>
                </a:lnTo>
                <a:lnTo>
                  <a:pt x="1140835" y="1475620"/>
                </a:lnTo>
                <a:close/>
                <a:moveTo>
                  <a:pt x="3786363" y="1473995"/>
                </a:moveTo>
                <a:lnTo>
                  <a:pt x="3792222" y="1474644"/>
                </a:lnTo>
                <a:lnTo>
                  <a:pt x="3791896" y="1477243"/>
                </a:lnTo>
                <a:lnTo>
                  <a:pt x="3787773" y="1478326"/>
                </a:lnTo>
                <a:lnTo>
                  <a:pt x="3784518" y="1474969"/>
                </a:lnTo>
                <a:close/>
                <a:moveTo>
                  <a:pt x="3808284" y="1473887"/>
                </a:moveTo>
                <a:lnTo>
                  <a:pt x="3810779" y="1478001"/>
                </a:lnTo>
                <a:lnTo>
                  <a:pt x="3810237" y="1486013"/>
                </a:lnTo>
                <a:lnTo>
                  <a:pt x="3815012" y="1488612"/>
                </a:lnTo>
                <a:lnTo>
                  <a:pt x="3817725" y="1487962"/>
                </a:lnTo>
                <a:lnTo>
                  <a:pt x="3819461" y="1489262"/>
                </a:lnTo>
                <a:lnTo>
                  <a:pt x="3816206" y="1491102"/>
                </a:lnTo>
                <a:lnTo>
                  <a:pt x="3814795" y="1495217"/>
                </a:lnTo>
                <a:lnTo>
                  <a:pt x="3812950" y="1495542"/>
                </a:lnTo>
                <a:lnTo>
                  <a:pt x="3812516" y="1490994"/>
                </a:lnTo>
                <a:lnTo>
                  <a:pt x="3806981" y="1491535"/>
                </a:lnTo>
                <a:lnTo>
                  <a:pt x="3803835" y="1485905"/>
                </a:lnTo>
                <a:lnTo>
                  <a:pt x="3804485" y="1484389"/>
                </a:lnTo>
                <a:lnTo>
                  <a:pt x="3802749" y="1483090"/>
                </a:lnTo>
                <a:lnTo>
                  <a:pt x="3802640" y="1484822"/>
                </a:lnTo>
                <a:lnTo>
                  <a:pt x="3798300" y="1481683"/>
                </a:lnTo>
                <a:lnTo>
                  <a:pt x="3800036" y="1479950"/>
                </a:lnTo>
                <a:lnTo>
                  <a:pt x="3801664" y="1481032"/>
                </a:lnTo>
                <a:lnTo>
                  <a:pt x="3801447" y="1476918"/>
                </a:lnTo>
                <a:lnTo>
                  <a:pt x="3806548" y="1480383"/>
                </a:lnTo>
                <a:lnTo>
                  <a:pt x="3806005" y="1474969"/>
                </a:lnTo>
                <a:close/>
                <a:moveTo>
                  <a:pt x="4152389" y="1469989"/>
                </a:moveTo>
                <a:lnTo>
                  <a:pt x="4153040" y="1471721"/>
                </a:lnTo>
                <a:lnTo>
                  <a:pt x="4149568" y="1477893"/>
                </a:lnTo>
                <a:lnTo>
                  <a:pt x="4150653" y="1482656"/>
                </a:lnTo>
                <a:lnTo>
                  <a:pt x="4149785" y="1484713"/>
                </a:lnTo>
                <a:lnTo>
                  <a:pt x="4150870" y="1489694"/>
                </a:lnTo>
                <a:lnTo>
                  <a:pt x="4146203" y="1497815"/>
                </a:lnTo>
                <a:lnTo>
                  <a:pt x="4143599" y="1499005"/>
                </a:lnTo>
                <a:lnTo>
                  <a:pt x="4139584" y="1497273"/>
                </a:lnTo>
                <a:lnTo>
                  <a:pt x="4134918" y="1497273"/>
                </a:lnTo>
                <a:lnTo>
                  <a:pt x="4131553" y="1498464"/>
                </a:lnTo>
                <a:lnTo>
                  <a:pt x="4126345" y="1497489"/>
                </a:lnTo>
                <a:lnTo>
                  <a:pt x="4122438" y="1498139"/>
                </a:lnTo>
                <a:lnTo>
                  <a:pt x="4121353" y="1497273"/>
                </a:lnTo>
                <a:lnTo>
                  <a:pt x="4113431" y="1502254"/>
                </a:lnTo>
                <a:lnTo>
                  <a:pt x="4112346" y="1505501"/>
                </a:lnTo>
                <a:lnTo>
                  <a:pt x="4113431" y="1511782"/>
                </a:lnTo>
                <a:lnTo>
                  <a:pt x="4108439" y="1506043"/>
                </a:lnTo>
                <a:lnTo>
                  <a:pt x="4106377" y="1507234"/>
                </a:lnTo>
                <a:lnTo>
                  <a:pt x="4104099" y="1505393"/>
                </a:lnTo>
                <a:lnTo>
                  <a:pt x="4107789" y="1501821"/>
                </a:lnTo>
                <a:lnTo>
                  <a:pt x="4109307" y="1496623"/>
                </a:lnTo>
                <a:lnTo>
                  <a:pt x="4112780" y="1496407"/>
                </a:lnTo>
                <a:lnTo>
                  <a:pt x="4114516" y="1497598"/>
                </a:lnTo>
                <a:lnTo>
                  <a:pt x="4120485" y="1492834"/>
                </a:lnTo>
                <a:lnTo>
                  <a:pt x="4125694" y="1492834"/>
                </a:lnTo>
                <a:lnTo>
                  <a:pt x="4130360" y="1489586"/>
                </a:lnTo>
                <a:lnTo>
                  <a:pt x="4132748" y="1484064"/>
                </a:lnTo>
                <a:lnTo>
                  <a:pt x="4135677" y="1479625"/>
                </a:lnTo>
                <a:lnTo>
                  <a:pt x="4139909" y="1479083"/>
                </a:lnTo>
                <a:lnTo>
                  <a:pt x="4145987" y="1476377"/>
                </a:lnTo>
                <a:close/>
                <a:moveTo>
                  <a:pt x="1167748" y="1469448"/>
                </a:moveTo>
                <a:lnTo>
                  <a:pt x="1167097" y="1472046"/>
                </a:lnTo>
                <a:lnTo>
                  <a:pt x="1160043" y="1478543"/>
                </a:lnTo>
                <a:lnTo>
                  <a:pt x="1156353" y="1479085"/>
                </a:lnTo>
                <a:lnTo>
                  <a:pt x="1151253" y="1483740"/>
                </a:lnTo>
                <a:lnTo>
                  <a:pt x="1148432" y="1484065"/>
                </a:lnTo>
                <a:lnTo>
                  <a:pt x="1154183" y="1475944"/>
                </a:lnTo>
                <a:lnTo>
                  <a:pt x="1157765" y="1475836"/>
                </a:lnTo>
                <a:lnTo>
                  <a:pt x="1161237" y="1471722"/>
                </a:lnTo>
                <a:close/>
                <a:moveTo>
                  <a:pt x="6694300" y="1468230"/>
                </a:moveTo>
                <a:lnTo>
                  <a:pt x="6695150" y="1470313"/>
                </a:lnTo>
                <a:lnTo>
                  <a:pt x="6695150" y="1472587"/>
                </a:lnTo>
                <a:lnTo>
                  <a:pt x="6695368" y="1472949"/>
                </a:lnTo>
                <a:lnTo>
                  <a:pt x="6695368" y="1470748"/>
                </a:lnTo>
                <a:close/>
                <a:moveTo>
                  <a:pt x="4325582" y="1465983"/>
                </a:moveTo>
                <a:lnTo>
                  <a:pt x="4328294" y="1467391"/>
                </a:lnTo>
                <a:lnTo>
                  <a:pt x="4326341" y="1469231"/>
                </a:lnTo>
                <a:lnTo>
                  <a:pt x="4325799" y="1471938"/>
                </a:lnTo>
                <a:lnTo>
                  <a:pt x="4323846" y="1475944"/>
                </a:lnTo>
                <a:lnTo>
                  <a:pt x="4327209" y="1478976"/>
                </a:lnTo>
                <a:lnTo>
                  <a:pt x="4327752" y="1481141"/>
                </a:lnTo>
                <a:lnTo>
                  <a:pt x="4324388" y="1485255"/>
                </a:lnTo>
                <a:lnTo>
                  <a:pt x="4323628" y="1488395"/>
                </a:lnTo>
                <a:lnTo>
                  <a:pt x="4318094" y="1492726"/>
                </a:lnTo>
                <a:lnTo>
                  <a:pt x="4317226" y="1495649"/>
                </a:lnTo>
                <a:lnTo>
                  <a:pt x="4318853" y="1496840"/>
                </a:lnTo>
                <a:lnTo>
                  <a:pt x="4317768" y="1499655"/>
                </a:lnTo>
                <a:lnTo>
                  <a:pt x="4312234" y="1501280"/>
                </a:lnTo>
                <a:lnTo>
                  <a:pt x="4311800" y="1499222"/>
                </a:lnTo>
                <a:lnTo>
                  <a:pt x="4314622" y="1495758"/>
                </a:lnTo>
                <a:lnTo>
                  <a:pt x="4315707" y="1491752"/>
                </a:lnTo>
                <a:lnTo>
                  <a:pt x="4313753" y="1492401"/>
                </a:lnTo>
                <a:lnTo>
                  <a:pt x="4309087" y="1485580"/>
                </a:lnTo>
                <a:lnTo>
                  <a:pt x="4310823" y="1484389"/>
                </a:lnTo>
                <a:lnTo>
                  <a:pt x="4309304" y="1478976"/>
                </a:lnTo>
                <a:lnTo>
                  <a:pt x="4312451" y="1475619"/>
                </a:lnTo>
                <a:lnTo>
                  <a:pt x="4314730" y="1471397"/>
                </a:lnTo>
                <a:lnTo>
                  <a:pt x="4317985" y="1467391"/>
                </a:lnTo>
                <a:lnTo>
                  <a:pt x="4323086" y="1467391"/>
                </a:lnTo>
                <a:close/>
                <a:moveTo>
                  <a:pt x="3797540" y="1465875"/>
                </a:moveTo>
                <a:lnTo>
                  <a:pt x="3801229" y="1467391"/>
                </a:lnTo>
                <a:lnTo>
                  <a:pt x="3796020" y="1472047"/>
                </a:lnTo>
                <a:lnTo>
                  <a:pt x="3792982" y="1469773"/>
                </a:lnTo>
                <a:lnTo>
                  <a:pt x="3794610" y="1468799"/>
                </a:lnTo>
                <a:lnTo>
                  <a:pt x="3795586" y="1466958"/>
                </a:lnTo>
                <a:close/>
                <a:moveTo>
                  <a:pt x="6692382" y="1461885"/>
                </a:moveTo>
                <a:lnTo>
                  <a:pt x="6693741" y="1464142"/>
                </a:lnTo>
                <a:lnTo>
                  <a:pt x="6693957" y="1467390"/>
                </a:lnTo>
                <a:lnTo>
                  <a:pt x="6694174" y="1467922"/>
                </a:lnTo>
                <a:lnTo>
                  <a:pt x="6694174" y="1464685"/>
                </a:lnTo>
                <a:lnTo>
                  <a:pt x="6692546" y="1461978"/>
                </a:lnTo>
                <a:close/>
                <a:moveTo>
                  <a:pt x="4336108" y="1461328"/>
                </a:moveTo>
                <a:lnTo>
                  <a:pt x="4337193" y="1462952"/>
                </a:lnTo>
                <a:lnTo>
                  <a:pt x="4332961" y="1464143"/>
                </a:lnTo>
                <a:lnTo>
                  <a:pt x="4330356" y="1466634"/>
                </a:lnTo>
                <a:lnTo>
                  <a:pt x="4328729" y="1464359"/>
                </a:lnTo>
                <a:lnTo>
                  <a:pt x="4331224" y="1461436"/>
                </a:lnTo>
                <a:close/>
                <a:moveTo>
                  <a:pt x="4468607" y="1460244"/>
                </a:moveTo>
                <a:lnTo>
                  <a:pt x="4468608" y="1460245"/>
                </a:lnTo>
                <a:lnTo>
                  <a:pt x="4471646" y="1460353"/>
                </a:lnTo>
                <a:lnTo>
                  <a:pt x="4471645" y="1460353"/>
                </a:lnTo>
                <a:close/>
                <a:moveTo>
                  <a:pt x="6553466" y="1458429"/>
                </a:moveTo>
                <a:lnTo>
                  <a:pt x="6551583" y="1462087"/>
                </a:lnTo>
                <a:lnTo>
                  <a:pt x="6549630" y="1464468"/>
                </a:lnTo>
                <a:lnTo>
                  <a:pt x="6549630" y="1466850"/>
                </a:lnTo>
                <a:lnTo>
                  <a:pt x="6548111" y="1468907"/>
                </a:lnTo>
                <a:lnTo>
                  <a:pt x="6548111" y="1475837"/>
                </a:lnTo>
                <a:lnTo>
                  <a:pt x="6549630" y="1477786"/>
                </a:lnTo>
                <a:lnTo>
                  <a:pt x="6552018" y="1477786"/>
                </a:lnTo>
                <a:lnTo>
                  <a:pt x="6557335" y="1474538"/>
                </a:lnTo>
                <a:lnTo>
                  <a:pt x="6560591" y="1473130"/>
                </a:lnTo>
                <a:lnTo>
                  <a:pt x="6563520" y="1473780"/>
                </a:lnTo>
                <a:lnTo>
                  <a:pt x="6566993" y="1479410"/>
                </a:lnTo>
                <a:lnTo>
                  <a:pt x="6568838" y="1483848"/>
                </a:lnTo>
                <a:lnTo>
                  <a:pt x="6572310" y="1486447"/>
                </a:lnTo>
                <a:lnTo>
                  <a:pt x="6572310" y="1490021"/>
                </a:lnTo>
                <a:lnTo>
                  <a:pt x="6573396" y="1492944"/>
                </a:lnTo>
                <a:lnTo>
                  <a:pt x="6573396" y="1498567"/>
                </a:lnTo>
                <a:lnTo>
                  <a:pt x="6573829" y="1498247"/>
                </a:lnTo>
                <a:lnTo>
                  <a:pt x="6574155" y="1492509"/>
                </a:lnTo>
                <a:lnTo>
                  <a:pt x="6573069" y="1489586"/>
                </a:lnTo>
                <a:lnTo>
                  <a:pt x="6573069" y="1486013"/>
                </a:lnTo>
                <a:lnTo>
                  <a:pt x="6569598" y="1483414"/>
                </a:lnTo>
                <a:lnTo>
                  <a:pt x="6567753" y="1478975"/>
                </a:lnTo>
                <a:lnTo>
                  <a:pt x="6564280" y="1473345"/>
                </a:lnTo>
                <a:lnTo>
                  <a:pt x="6561350" y="1472587"/>
                </a:lnTo>
                <a:lnTo>
                  <a:pt x="6558095" y="1473995"/>
                </a:lnTo>
                <a:lnTo>
                  <a:pt x="6552777" y="1477243"/>
                </a:lnTo>
                <a:lnTo>
                  <a:pt x="6550390" y="1476918"/>
                </a:lnTo>
                <a:lnTo>
                  <a:pt x="6548762" y="1474969"/>
                </a:lnTo>
                <a:lnTo>
                  <a:pt x="6548762" y="1469123"/>
                </a:lnTo>
                <a:lnTo>
                  <a:pt x="6550390" y="1467065"/>
                </a:lnTo>
                <a:lnTo>
                  <a:pt x="6550390" y="1464683"/>
                </a:lnTo>
                <a:lnTo>
                  <a:pt x="6552234" y="1462301"/>
                </a:lnTo>
                <a:close/>
                <a:moveTo>
                  <a:pt x="6689725" y="1457900"/>
                </a:moveTo>
                <a:lnTo>
                  <a:pt x="6689725" y="1460136"/>
                </a:lnTo>
                <a:lnTo>
                  <a:pt x="6690268" y="1460431"/>
                </a:lnTo>
                <a:lnTo>
                  <a:pt x="6690268" y="1458405"/>
                </a:lnTo>
                <a:close/>
                <a:moveTo>
                  <a:pt x="4171271" y="1456564"/>
                </a:moveTo>
                <a:lnTo>
                  <a:pt x="4170294" y="1460570"/>
                </a:lnTo>
                <a:lnTo>
                  <a:pt x="4167907" y="1460678"/>
                </a:lnTo>
                <a:lnTo>
                  <a:pt x="4168232" y="1457321"/>
                </a:lnTo>
                <a:close/>
                <a:moveTo>
                  <a:pt x="1140727" y="1454182"/>
                </a:moveTo>
                <a:lnTo>
                  <a:pt x="1142246" y="1456888"/>
                </a:lnTo>
                <a:lnTo>
                  <a:pt x="1140401" y="1459704"/>
                </a:lnTo>
                <a:lnTo>
                  <a:pt x="1134867" y="1457105"/>
                </a:lnTo>
                <a:close/>
                <a:moveTo>
                  <a:pt x="4463397" y="1454181"/>
                </a:moveTo>
                <a:lnTo>
                  <a:pt x="4462420" y="1458295"/>
                </a:lnTo>
                <a:lnTo>
                  <a:pt x="4459274" y="1458728"/>
                </a:lnTo>
                <a:lnTo>
                  <a:pt x="4459275" y="1458729"/>
                </a:lnTo>
                <a:lnTo>
                  <a:pt x="4462422" y="1458296"/>
                </a:lnTo>
                <a:lnTo>
                  <a:pt x="4463398" y="1454182"/>
                </a:lnTo>
                <a:close/>
                <a:moveTo>
                  <a:pt x="6681197" y="1449012"/>
                </a:moveTo>
                <a:lnTo>
                  <a:pt x="6681912" y="1451150"/>
                </a:lnTo>
                <a:lnTo>
                  <a:pt x="6680610" y="1453423"/>
                </a:lnTo>
                <a:lnTo>
                  <a:pt x="6681695" y="1455480"/>
                </a:lnTo>
                <a:lnTo>
                  <a:pt x="6682134" y="1455611"/>
                </a:lnTo>
                <a:lnTo>
                  <a:pt x="6681152" y="1453750"/>
                </a:lnTo>
                <a:lnTo>
                  <a:pt x="6682454" y="1451368"/>
                </a:lnTo>
                <a:lnTo>
                  <a:pt x="6681695" y="1449094"/>
                </a:lnTo>
                <a:close/>
                <a:moveTo>
                  <a:pt x="1147997" y="1448768"/>
                </a:moveTo>
                <a:lnTo>
                  <a:pt x="1149516" y="1453640"/>
                </a:lnTo>
                <a:lnTo>
                  <a:pt x="1146912" y="1455481"/>
                </a:lnTo>
                <a:lnTo>
                  <a:pt x="1146912" y="1457105"/>
                </a:lnTo>
                <a:lnTo>
                  <a:pt x="1144850" y="1458513"/>
                </a:lnTo>
                <a:lnTo>
                  <a:pt x="1144850" y="1453099"/>
                </a:lnTo>
                <a:close/>
                <a:moveTo>
                  <a:pt x="6674508" y="1448661"/>
                </a:moveTo>
                <a:lnTo>
                  <a:pt x="6675401" y="1450175"/>
                </a:lnTo>
                <a:lnTo>
                  <a:pt x="6675721" y="1449939"/>
                </a:lnTo>
                <a:lnTo>
                  <a:pt x="6674967" y="1448661"/>
                </a:lnTo>
                <a:close/>
                <a:moveTo>
                  <a:pt x="2259291" y="1446637"/>
                </a:moveTo>
                <a:lnTo>
                  <a:pt x="2256386" y="1450501"/>
                </a:lnTo>
                <a:lnTo>
                  <a:pt x="2256494" y="1450501"/>
                </a:lnTo>
                <a:close/>
                <a:moveTo>
                  <a:pt x="3809910" y="1446495"/>
                </a:moveTo>
                <a:lnTo>
                  <a:pt x="3810670" y="1452666"/>
                </a:lnTo>
                <a:lnTo>
                  <a:pt x="3806546" y="1456456"/>
                </a:lnTo>
                <a:lnTo>
                  <a:pt x="3805244" y="1459920"/>
                </a:lnTo>
                <a:lnTo>
                  <a:pt x="3806655" y="1461003"/>
                </a:lnTo>
                <a:lnTo>
                  <a:pt x="3803725" y="1465226"/>
                </a:lnTo>
                <a:lnTo>
                  <a:pt x="3799493" y="1464144"/>
                </a:lnTo>
                <a:lnTo>
                  <a:pt x="3795478" y="1464793"/>
                </a:lnTo>
                <a:lnTo>
                  <a:pt x="3793308" y="1462952"/>
                </a:lnTo>
                <a:lnTo>
                  <a:pt x="3795369" y="1461328"/>
                </a:lnTo>
                <a:lnTo>
                  <a:pt x="3792874" y="1458621"/>
                </a:lnTo>
                <a:lnTo>
                  <a:pt x="3795478" y="1455373"/>
                </a:lnTo>
                <a:lnTo>
                  <a:pt x="3800469" y="1457647"/>
                </a:lnTo>
                <a:lnTo>
                  <a:pt x="3799276" y="1454074"/>
                </a:lnTo>
                <a:close/>
                <a:moveTo>
                  <a:pt x="1128030" y="1442814"/>
                </a:moveTo>
                <a:lnTo>
                  <a:pt x="1131286" y="1447253"/>
                </a:lnTo>
                <a:lnTo>
                  <a:pt x="1133130" y="1452559"/>
                </a:lnTo>
                <a:lnTo>
                  <a:pt x="1130418" y="1457106"/>
                </a:lnTo>
                <a:lnTo>
                  <a:pt x="1130201" y="1453641"/>
                </a:lnTo>
                <a:lnTo>
                  <a:pt x="1127271" y="1451584"/>
                </a:lnTo>
                <a:close/>
                <a:moveTo>
                  <a:pt x="3863627" y="1442272"/>
                </a:moveTo>
                <a:lnTo>
                  <a:pt x="3868293" y="1442272"/>
                </a:lnTo>
                <a:lnTo>
                  <a:pt x="3868509" y="1444113"/>
                </a:lnTo>
                <a:lnTo>
                  <a:pt x="3866665" y="1447036"/>
                </a:lnTo>
                <a:lnTo>
                  <a:pt x="3868293" y="1448768"/>
                </a:lnTo>
                <a:lnTo>
                  <a:pt x="3866773" y="1452990"/>
                </a:lnTo>
                <a:lnTo>
                  <a:pt x="3863627" y="1454074"/>
                </a:lnTo>
                <a:lnTo>
                  <a:pt x="3860914" y="1458621"/>
                </a:lnTo>
                <a:lnTo>
                  <a:pt x="3851581" y="1465658"/>
                </a:lnTo>
                <a:lnTo>
                  <a:pt x="3850821" y="1468473"/>
                </a:lnTo>
                <a:lnTo>
                  <a:pt x="3848868" y="1469772"/>
                </a:lnTo>
                <a:lnTo>
                  <a:pt x="3852232" y="1470963"/>
                </a:lnTo>
                <a:lnTo>
                  <a:pt x="3854945" y="1469448"/>
                </a:lnTo>
                <a:lnTo>
                  <a:pt x="3851147" y="1475511"/>
                </a:lnTo>
                <a:lnTo>
                  <a:pt x="3847675" y="1479517"/>
                </a:lnTo>
                <a:lnTo>
                  <a:pt x="3848434" y="1480383"/>
                </a:lnTo>
                <a:lnTo>
                  <a:pt x="3851038" y="1478218"/>
                </a:lnTo>
                <a:lnTo>
                  <a:pt x="3852666" y="1478326"/>
                </a:lnTo>
                <a:lnTo>
                  <a:pt x="3856573" y="1476161"/>
                </a:lnTo>
                <a:lnTo>
                  <a:pt x="3860154" y="1475078"/>
                </a:lnTo>
                <a:lnTo>
                  <a:pt x="3860479" y="1473778"/>
                </a:lnTo>
                <a:lnTo>
                  <a:pt x="3863083" y="1473670"/>
                </a:lnTo>
                <a:lnTo>
                  <a:pt x="3866665" y="1474970"/>
                </a:lnTo>
                <a:lnTo>
                  <a:pt x="3869486" y="1474970"/>
                </a:lnTo>
                <a:lnTo>
                  <a:pt x="3871222" y="1473778"/>
                </a:lnTo>
                <a:lnTo>
                  <a:pt x="3877191" y="1474861"/>
                </a:lnTo>
                <a:lnTo>
                  <a:pt x="3886740" y="1474537"/>
                </a:lnTo>
                <a:lnTo>
                  <a:pt x="3887934" y="1473562"/>
                </a:lnTo>
                <a:lnTo>
                  <a:pt x="3893468" y="1478651"/>
                </a:lnTo>
                <a:lnTo>
                  <a:pt x="3893468" y="1482332"/>
                </a:lnTo>
                <a:lnTo>
                  <a:pt x="3889670" y="1485580"/>
                </a:lnTo>
                <a:lnTo>
                  <a:pt x="3887717" y="1491318"/>
                </a:lnTo>
                <a:lnTo>
                  <a:pt x="3888585" y="1492726"/>
                </a:lnTo>
                <a:lnTo>
                  <a:pt x="3886306" y="1496840"/>
                </a:lnTo>
                <a:lnTo>
                  <a:pt x="3886523" y="1498897"/>
                </a:lnTo>
                <a:lnTo>
                  <a:pt x="3884570" y="1501712"/>
                </a:lnTo>
                <a:lnTo>
                  <a:pt x="3881423" y="1507884"/>
                </a:lnTo>
                <a:lnTo>
                  <a:pt x="3879252" y="1509291"/>
                </a:lnTo>
                <a:lnTo>
                  <a:pt x="3878710" y="1511781"/>
                </a:lnTo>
                <a:lnTo>
                  <a:pt x="3875563" y="1514488"/>
                </a:lnTo>
                <a:lnTo>
                  <a:pt x="3870029" y="1514163"/>
                </a:lnTo>
                <a:lnTo>
                  <a:pt x="3865580" y="1517520"/>
                </a:lnTo>
                <a:lnTo>
                  <a:pt x="3866556" y="1518711"/>
                </a:lnTo>
                <a:lnTo>
                  <a:pt x="3872416" y="1515571"/>
                </a:lnTo>
                <a:lnTo>
                  <a:pt x="3874153" y="1516871"/>
                </a:lnTo>
                <a:lnTo>
                  <a:pt x="3874478" y="1519361"/>
                </a:lnTo>
                <a:lnTo>
                  <a:pt x="3878710" y="1521418"/>
                </a:lnTo>
                <a:lnTo>
                  <a:pt x="3874478" y="1524557"/>
                </a:lnTo>
                <a:lnTo>
                  <a:pt x="3869920" y="1524341"/>
                </a:lnTo>
                <a:lnTo>
                  <a:pt x="3868509" y="1527914"/>
                </a:lnTo>
                <a:lnTo>
                  <a:pt x="3864060" y="1529430"/>
                </a:lnTo>
                <a:lnTo>
                  <a:pt x="3858634" y="1528997"/>
                </a:lnTo>
                <a:lnTo>
                  <a:pt x="3855922" y="1527589"/>
                </a:lnTo>
                <a:lnTo>
                  <a:pt x="3857224" y="1530079"/>
                </a:lnTo>
                <a:lnTo>
                  <a:pt x="3861782" y="1531487"/>
                </a:lnTo>
                <a:lnTo>
                  <a:pt x="3864495" y="1531162"/>
                </a:lnTo>
                <a:lnTo>
                  <a:pt x="3870029" y="1533002"/>
                </a:lnTo>
                <a:lnTo>
                  <a:pt x="3874044" y="1530404"/>
                </a:lnTo>
                <a:lnTo>
                  <a:pt x="3876106" y="1528563"/>
                </a:lnTo>
                <a:lnTo>
                  <a:pt x="3881097" y="1530512"/>
                </a:lnTo>
                <a:lnTo>
                  <a:pt x="3884245" y="1533111"/>
                </a:lnTo>
                <a:lnTo>
                  <a:pt x="3888260" y="1533977"/>
                </a:lnTo>
                <a:lnTo>
                  <a:pt x="3894879" y="1543938"/>
                </a:lnTo>
                <a:lnTo>
                  <a:pt x="3897158" y="1543938"/>
                </a:lnTo>
                <a:lnTo>
                  <a:pt x="3899437" y="1547619"/>
                </a:lnTo>
                <a:lnTo>
                  <a:pt x="3901498" y="1558663"/>
                </a:lnTo>
                <a:lnTo>
                  <a:pt x="3904320" y="1563318"/>
                </a:lnTo>
                <a:lnTo>
                  <a:pt x="3906925" y="1571980"/>
                </a:lnTo>
                <a:lnTo>
                  <a:pt x="3908661" y="1573062"/>
                </a:lnTo>
                <a:lnTo>
                  <a:pt x="3909095" y="1576203"/>
                </a:lnTo>
                <a:lnTo>
                  <a:pt x="3917017" y="1578043"/>
                </a:lnTo>
                <a:lnTo>
                  <a:pt x="3922659" y="1580966"/>
                </a:lnTo>
                <a:lnTo>
                  <a:pt x="3926458" y="1587787"/>
                </a:lnTo>
                <a:lnTo>
                  <a:pt x="3927760" y="1588004"/>
                </a:lnTo>
                <a:lnTo>
                  <a:pt x="3929170" y="1590386"/>
                </a:lnTo>
                <a:lnTo>
                  <a:pt x="3932317" y="1592119"/>
                </a:lnTo>
                <a:lnTo>
                  <a:pt x="3930581" y="1592768"/>
                </a:lnTo>
                <a:lnTo>
                  <a:pt x="3928736" y="1595799"/>
                </a:lnTo>
                <a:lnTo>
                  <a:pt x="3931666" y="1599589"/>
                </a:lnTo>
                <a:lnTo>
                  <a:pt x="3938069" y="1607601"/>
                </a:lnTo>
                <a:lnTo>
                  <a:pt x="3935790" y="1607060"/>
                </a:lnTo>
                <a:lnTo>
                  <a:pt x="3933294" y="1607493"/>
                </a:lnTo>
                <a:lnTo>
                  <a:pt x="3931449" y="1605544"/>
                </a:lnTo>
                <a:lnTo>
                  <a:pt x="3929279" y="1604570"/>
                </a:lnTo>
                <a:lnTo>
                  <a:pt x="3925698" y="1605327"/>
                </a:lnTo>
                <a:lnTo>
                  <a:pt x="3923636" y="1604786"/>
                </a:lnTo>
                <a:lnTo>
                  <a:pt x="3920380" y="1605652"/>
                </a:lnTo>
                <a:lnTo>
                  <a:pt x="3922117" y="1605652"/>
                </a:lnTo>
                <a:lnTo>
                  <a:pt x="3925047" y="1606627"/>
                </a:lnTo>
                <a:lnTo>
                  <a:pt x="3926675" y="1606085"/>
                </a:lnTo>
                <a:lnTo>
                  <a:pt x="3929170" y="1605652"/>
                </a:lnTo>
                <a:lnTo>
                  <a:pt x="3931124" y="1609009"/>
                </a:lnTo>
                <a:lnTo>
                  <a:pt x="3935899" y="1611715"/>
                </a:lnTo>
                <a:lnTo>
                  <a:pt x="3938069" y="1612148"/>
                </a:lnTo>
                <a:lnTo>
                  <a:pt x="3943495" y="1620918"/>
                </a:lnTo>
                <a:lnTo>
                  <a:pt x="3943495" y="1625141"/>
                </a:lnTo>
                <a:lnTo>
                  <a:pt x="3936658" y="1631962"/>
                </a:lnTo>
                <a:lnTo>
                  <a:pt x="3940999" y="1633045"/>
                </a:lnTo>
                <a:lnTo>
                  <a:pt x="3944580" y="1637159"/>
                </a:lnTo>
                <a:lnTo>
                  <a:pt x="3946425" y="1634127"/>
                </a:lnTo>
                <a:lnTo>
                  <a:pt x="3946967" y="1629039"/>
                </a:lnTo>
                <a:lnTo>
                  <a:pt x="3953912" y="1628822"/>
                </a:lnTo>
                <a:lnTo>
                  <a:pt x="3964981" y="1629363"/>
                </a:lnTo>
                <a:lnTo>
                  <a:pt x="3972902" y="1635535"/>
                </a:lnTo>
                <a:lnTo>
                  <a:pt x="3973987" y="1641382"/>
                </a:lnTo>
                <a:lnTo>
                  <a:pt x="3976049" y="1643980"/>
                </a:lnTo>
                <a:lnTo>
                  <a:pt x="3973445" y="1650368"/>
                </a:lnTo>
                <a:lnTo>
                  <a:pt x="3973011" y="1657297"/>
                </a:lnTo>
                <a:lnTo>
                  <a:pt x="3970298" y="1658380"/>
                </a:lnTo>
                <a:lnTo>
                  <a:pt x="3967476" y="1662061"/>
                </a:lnTo>
                <a:lnTo>
                  <a:pt x="3966826" y="1660220"/>
                </a:lnTo>
                <a:lnTo>
                  <a:pt x="3964330" y="1659679"/>
                </a:lnTo>
                <a:lnTo>
                  <a:pt x="3962810" y="1662169"/>
                </a:lnTo>
                <a:lnTo>
                  <a:pt x="3966717" y="1662602"/>
                </a:lnTo>
                <a:lnTo>
                  <a:pt x="3965632" y="1664335"/>
                </a:lnTo>
                <a:lnTo>
                  <a:pt x="3967259" y="1664659"/>
                </a:lnTo>
                <a:lnTo>
                  <a:pt x="3965849" y="1666716"/>
                </a:lnTo>
                <a:lnTo>
                  <a:pt x="3962485" y="1669207"/>
                </a:lnTo>
                <a:lnTo>
                  <a:pt x="3960315" y="1667367"/>
                </a:lnTo>
                <a:lnTo>
                  <a:pt x="3958361" y="1669315"/>
                </a:lnTo>
                <a:lnTo>
                  <a:pt x="3955648" y="1671697"/>
                </a:lnTo>
                <a:lnTo>
                  <a:pt x="3959338" y="1671697"/>
                </a:lnTo>
                <a:lnTo>
                  <a:pt x="3960315" y="1674837"/>
                </a:lnTo>
                <a:lnTo>
                  <a:pt x="3956734" y="1676569"/>
                </a:lnTo>
                <a:lnTo>
                  <a:pt x="3953695" y="1676245"/>
                </a:lnTo>
                <a:lnTo>
                  <a:pt x="3949138" y="1679384"/>
                </a:lnTo>
                <a:lnTo>
                  <a:pt x="3952393" y="1678193"/>
                </a:lnTo>
                <a:lnTo>
                  <a:pt x="3956082" y="1679168"/>
                </a:lnTo>
                <a:lnTo>
                  <a:pt x="3955757" y="1679926"/>
                </a:lnTo>
                <a:lnTo>
                  <a:pt x="3954455" y="1680142"/>
                </a:lnTo>
                <a:lnTo>
                  <a:pt x="3953044" y="1681549"/>
                </a:lnTo>
                <a:lnTo>
                  <a:pt x="3954563" y="1681875"/>
                </a:lnTo>
                <a:lnTo>
                  <a:pt x="3958687" y="1683390"/>
                </a:lnTo>
                <a:lnTo>
                  <a:pt x="3961292" y="1682957"/>
                </a:lnTo>
                <a:lnTo>
                  <a:pt x="3965740" y="1681225"/>
                </a:lnTo>
                <a:lnTo>
                  <a:pt x="3971926" y="1681008"/>
                </a:lnTo>
                <a:lnTo>
                  <a:pt x="3970841" y="1683932"/>
                </a:lnTo>
                <a:lnTo>
                  <a:pt x="3971818" y="1686314"/>
                </a:lnTo>
                <a:lnTo>
                  <a:pt x="3971600" y="1689887"/>
                </a:lnTo>
                <a:lnTo>
                  <a:pt x="3968128" y="1690644"/>
                </a:lnTo>
                <a:lnTo>
                  <a:pt x="3962593" y="1694434"/>
                </a:lnTo>
                <a:lnTo>
                  <a:pt x="3963136" y="1697032"/>
                </a:lnTo>
                <a:lnTo>
                  <a:pt x="3960748" y="1696491"/>
                </a:lnTo>
                <a:lnTo>
                  <a:pt x="3958361" y="1696708"/>
                </a:lnTo>
                <a:lnTo>
                  <a:pt x="3954889" y="1699848"/>
                </a:lnTo>
                <a:lnTo>
                  <a:pt x="3951091" y="1700605"/>
                </a:lnTo>
                <a:lnTo>
                  <a:pt x="3947509" y="1703528"/>
                </a:lnTo>
                <a:lnTo>
                  <a:pt x="3945231" y="1703095"/>
                </a:lnTo>
                <a:lnTo>
                  <a:pt x="3940456" y="1701580"/>
                </a:lnTo>
                <a:lnTo>
                  <a:pt x="3935573" y="1702554"/>
                </a:lnTo>
                <a:lnTo>
                  <a:pt x="3927760" y="1702663"/>
                </a:lnTo>
                <a:lnTo>
                  <a:pt x="3924395" y="1704936"/>
                </a:lnTo>
                <a:lnTo>
                  <a:pt x="3921357" y="1703204"/>
                </a:lnTo>
                <a:lnTo>
                  <a:pt x="3920706" y="1701471"/>
                </a:lnTo>
                <a:lnTo>
                  <a:pt x="3918210" y="1703312"/>
                </a:lnTo>
                <a:lnTo>
                  <a:pt x="3916365" y="1703528"/>
                </a:lnTo>
                <a:lnTo>
                  <a:pt x="3912892" y="1702771"/>
                </a:lnTo>
                <a:lnTo>
                  <a:pt x="3907901" y="1706019"/>
                </a:lnTo>
                <a:lnTo>
                  <a:pt x="3904428" y="1705044"/>
                </a:lnTo>
                <a:lnTo>
                  <a:pt x="3899220" y="1707643"/>
                </a:lnTo>
                <a:lnTo>
                  <a:pt x="3897809" y="1711216"/>
                </a:lnTo>
                <a:lnTo>
                  <a:pt x="3894771" y="1710133"/>
                </a:lnTo>
                <a:lnTo>
                  <a:pt x="3889128" y="1709916"/>
                </a:lnTo>
                <a:lnTo>
                  <a:pt x="3887283" y="1710675"/>
                </a:lnTo>
                <a:lnTo>
                  <a:pt x="3882183" y="1707102"/>
                </a:lnTo>
                <a:lnTo>
                  <a:pt x="3877625" y="1706777"/>
                </a:lnTo>
                <a:lnTo>
                  <a:pt x="3869161" y="1708726"/>
                </a:lnTo>
                <a:lnTo>
                  <a:pt x="3868293" y="1710350"/>
                </a:lnTo>
                <a:lnTo>
                  <a:pt x="3866122" y="1710675"/>
                </a:lnTo>
                <a:lnTo>
                  <a:pt x="3863518" y="1713165"/>
                </a:lnTo>
                <a:lnTo>
                  <a:pt x="3864277" y="1717387"/>
                </a:lnTo>
                <a:lnTo>
                  <a:pt x="3863518" y="1719661"/>
                </a:lnTo>
                <a:lnTo>
                  <a:pt x="3860479" y="1721068"/>
                </a:lnTo>
                <a:lnTo>
                  <a:pt x="3861239" y="1723450"/>
                </a:lnTo>
                <a:lnTo>
                  <a:pt x="3857441" y="1723667"/>
                </a:lnTo>
                <a:lnTo>
                  <a:pt x="3854186" y="1720960"/>
                </a:lnTo>
                <a:lnTo>
                  <a:pt x="3851798" y="1721177"/>
                </a:lnTo>
                <a:lnTo>
                  <a:pt x="3849844" y="1718470"/>
                </a:lnTo>
                <a:lnTo>
                  <a:pt x="3847783" y="1719553"/>
                </a:lnTo>
                <a:lnTo>
                  <a:pt x="3845070" y="1719120"/>
                </a:lnTo>
                <a:lnTo>
                  <a:pt x="3841597" y="1720744"/>
                </a:lnTo>
                <a:lnTo>
                  <a:pt x="3837148" y="1719553"/>
                </a:lnTo>
                <a:lnTo>
                  <a:pt x="3835737" y="1723017"/>
                </a:lnTo>
                <a:lnTo>
                  <a:pt x="3833784" y="1723017"/>
                </a:lnTo>
                <a:lnTo>
                  <a:pt x="3830963" y="1725832"/>
                </a:lnTo>
                <a:lnTo>
                  <a:pt x="3829769" y="1724316"/>
                </a:lnTo>
                <a:lnTo>
                  <a:pt x="3827382" y="1727456"/>
                </a:lnTo>
                <a:lnTo>
                  <a:pt x="3828575" y="1729297"/>
                </a:lnTo>
                <a:lnTo>
                  <a:pt x="3825971" y="1731679"/>
                </a:lnTo>
                <a:lnTo>
                  <a:pt x="3823909" y="1727889"/>
                </a:lnTo>
                <a:lnTo>
                  <a:pt x="3818700" y="1726590"/>
                </a:lnTo>
                <a:lnTo>
                  <a:pt x="3818484" y="1729838"/>
                </a:lnTo>
                <a:lnTo>
                  <a:pt x="3814251" y="1729513"/>
                </a:lnTo>
                <a:lnTo>
                  <a:pt x="3814251" y="1725940"/>
                </a:lnTo>
                <a:lnTo>
                  <a:pt x="3818158" y="1723234"/>
                </a:lnTo>
                <a:lnTo>
                  <a:pt x="3820653" y="1724100"/>
                </a:lnTo>
                <a:lnTo>
                  <a:pt x="3826297" y="1720094"/>
                </a:lnTo>
                <a:lnTo>
                  <a:pt x="3827382" y="1717604"/>
                </a:lnTo>
                <a:lnTo>
                  <a:pt x="3829335" y="1717495"/>
                </a:lnTo>
                <a:lnTo>
                  <a:pt x="3830529" y="1712840"/>
                </a:lnTo>
                <a:lnTo>
                  <a:pt x="3835195" y="1712082"/>
                </a:lnTo>
                <a:lnTo>
                  <a:pt x="3836280" y="1709916"/>
                </a:lnTo>
                <a:lnTo>
                  <a:pt x="3840404" y="1706127"/>
                </a:lnTo>
                <a:lnTo>
                  <a:pt x="3841055" y="1698007"/>
                </a:lnTo>
                <a:lnTo>
                  <a:pt x="3844962" y="1698007"/>
                </a:lnTo>
                <a:lnTo>
                  <a:pt x="3847891" y="1695083"/>
                </a:lnTo>
                <a:lnTo>
                  <a:pt x="3847783" y="1691510"/>
                </a:lnTo>
                <a:lnTo>
                  <a:pt x="3854945" y="1689670"/>
                </a:lnTo>
                <a:lnTo>
                  <a:pt x="3864820" y="1690753"/>
                </a:lnTo>
                <a:lnTo>
                  <a:pt x="3868401" y="1692702"/>
                </a:lnTo>
                <a:lnTo>
                  <a:pt x="3871440" y="1691510"/>
                </a:lnTo>
                <a:lnTo>
                  <a:pt x="3875346" y="1691727"/>
                </a:lnTo>
                <a:lnTo>
                  <a:pt x="3875563" y="1685339"/>
                </a:lnTo>
                <a:lnTo>
                  <a:pt x="3881315" y="1679818"/>
                </a:lnTo>
                <a:lnTo>
                  <a:pt x="3886957" y="1673213"/>
                </a:lnTo>
                <a:lnTo>
                  <a:pt x="3882833" y="1675161"/>
                </a:lnTo>
                <a:lnTo>
                  <a:pt x="3880989" y="1677977"/>
                </a:lnTo>
                <a:lnTo>
                  <a:pt x="3875997" y="1679818"/>
                </a:lnTo>
                <a:lnTo>
                  <a:pt x="3872308" y="1681333"/>
                </a:lnTo>
                <a:lnTo>
                  <a:pt x="3870571" y="1684365"/>
                </a:lnTo>
                <a:lnTo>
                  <a:pt x="3862867" y="1684473"/>
                </a:lnTo>
                <a:lnTo>
                  <a:pt x="3859829" y="1680900"/>
                </a:lnTo>
                <a:lnTo>
                  <a:pt x="3856356" y="1676894"/>
                </a:lnTo>
                <a:lnTo>
                  <a:pt x="3852991" y="1677869"/>
                </a:lnTo>
                <a:lnTo>
                  <a:pt x="3852991" y="1679168"/>
                </a:lnTo>
                <a:lnTo>
                  <a:pt x="3846263" y="1678951"/>
                </a:lnTo>
                <a:lnTo>
                  <a:pt x="3846806" y="1676677"/>
                </a:lnTo>
                <a:lnTo>
                  <a:pt x="3850713" y="1675595"/>
                </a:lnTo>
                <a:lnTo>
                  <a:pt x="3845830" y="1674404"/>
                </a:lnTo>
                <a:lnTo>
                  <a:pt x="3845287" y="1671589"/>
                </a:lnTo>
                <a:lnTo>
                  <a:pt x="3839102" y="1673646"/>
                </a:lnTo>
                <a:lnTo>
                  <a:pt x="3835412" y="1675920"/>
                </a:lnTo>
                <a:lnTo>
                  <a:pt x="3832048" y="1676894"/>
                </a:lnTo>
                <a:lnTo>
                  <a:pt x="3829878" y="1675595"/>
                </a:lnTo>
                <a:lnTo>
                  <a:pt x="3831288" y="1674187"/>
                </a:lnTo>
                <a:lnTo>
                  <a:pt x="3825537" y="1673213"/>
                </a:lnTo>
                <a:lnTo>
                  <a:pt x="3828793" y="1671697"/>
                </a:lnTo>
                <a:lnTo>
                  <a:pt x="3828466" y="1668341"/>
                </a:lnTo>
                <a:lnTo>
                  <a:pt x="3823909" y="1667691"/>
                </a:lnTo>
                <a:lnTo>
                  <a:pt x="3829661" y="1664010"/>
                </a:lnTo>
                <a:lnTo>
                  <a:pt x="3833241" y="1664010"/>
                </a:lnTo>
                <a:lnTo>
                  <a:pt x="3838125" y="1660978"/>
                </a:lnTo>
                <a:lnTo>
                  <a:pt x="3839970" y="1660870"/>
                </a:lnTo>
                <a:lnTo>
                  <a:pt x="3843768" y="1658055"/>
                </a:lnTo>
                <a:lnTo>
                  <a:pt x="3847566" y="1656756"/>
                </a:lnTo>
                <a:lnTo>
                  <a:pt x="3852775" y="1646686"/>
                </a:lnTo>
                <a:lnTo>
                  <a:pt x="3850930" y="1646253"/>
                </a:lnTo>
                <a:lnTo>
                  <a:pt x="3849193" y="1643006"/>
                </a:lnTo>
                <a:lnTo>
                  <a:pt x="3852232" y="1640840"/>
                </a:lnTo>
                <a:lnTo>
                  <a:pt x="3849411" y="1637917"/>
                </a:lnTo>
                <a:lnTo>
                  <a:pt x="3850062" y="1633694"/>
                </a:lnTo>
                <a:lnTo>
                  <a:pt x="3842032" y="1635860"/>
                </a:lnTo>
                <a:lnTo>
                  <a:pt x="3841489" y="1637917"/>
                </a:lnTo>
                <a:lnTo>
                  <a:pt x="3839644" y="1637267"/>
                </a:lnTo>
                <a:lnTo>
                  <a:pt x="3836063" y="1637917"/>
                </a:lnTo>
                <a:lnTo>
                  <a:pt x="3838559" y="1634452"/>
                </a:lnTo>
                <a:lnTo>
                  <a:pt x="3844202" y="1630879"/>
                </a:lnTo>
                <a:lnTo>
                  <a:pt x="3848325" y="1625141"/>
                </a:lnTo>
                <a:lnTo>
                  <a:pt x="3856139" y="1621351"/>
                </a:lnTo>
                <a:lnTo>
                  <a:pt x="3859611" y="1621784"/>
                </a:lnTo>
                <a:lnTo>
                  <a:pt x="3867207" y="1619402"/>
                </a:lnTo>
                <a:lnTo>
                  <a:pt x="3870138" y="1622434"/>
                </a:lnTo>
                <a:lnTo>
                  <a:pt x="3873935" y="1623192"/>
                </a:lnTo>
                <a:lnTo>
                  <a:pt x="3871548" y="1621784"/>
                </a:lnTo>
                <a:lnTo>
                  <a:pt x="3869378" y="1617995"/>
                </a:lnTo>
                <a:lnTo>
                  <a:pt x="3871982" y="1617021"/>
                </a:lnTo>
                <a:lnTo>
                  <a:pt x="3874695" y="1620918"/>
                </a:lnTo>
                <a:lnTo>
                  <a:pt x="3877842" y="1620702"/>
                </a:lnTo>
                <a:lnTo>
                  <a:pt x="3879795" y="1619294"/>
                </a:lnTo>
                <a:lnTo>
                  <a:pt x="3876974" y="1618970"/>
                </a:lnTo>
                <a:lnTo>
                  <a:pt x="3873501" y="1616046"/>
                </a:lnTo>
                <a:lnTo>
                  <a:pt x="3870680" y="1612257"/>
                </a:lnTo>
                <a:lnTo>
                  <a:pt x="3873176" y="1607384"/>
                </a:lnTo>
                <a:lnTo>
                  <a:pt x="3871765" y="1600996"/>
                </a:lnTo>
                <a:lnTo>
                  <a:pt x="3876431" y="1597315"/>
                </a:lnTo>
                <a:lnTo>
                  <a:pt x="3874912" y="1596341"/>
                </a:lnTo>
                <a:lnTo>
                  <a:pt x="3876648" y="1590711"/>
                </a:lnTo>
                <a:lnTo>
                  <a:pt x="3871873" y="1589953"/>
                </a:lnTo>
                <a:lnTo>
                  <a:pt x="3868075" y="1594609"/>
                </a:lnTo>
                <a:lnTo>
                  <a:pt x="3868075" y="1589087"/>
                </a:lnTo>
                <a:lnTo>
                  <a:pt x="3865145" y="1590711"/>
                </a:lnTo>
                <a:lnTo>
                  <a:pt x="3859394" y="1580317"/>
                </a:lnTo>
                <a:lnTo>
                  <a:pt x="3864060" y="1566891"/>
                </a:lnTo>
                <a:lnTo>
                  <a:pt x="3871873" y="1564834"/>
                </a:lnTo>
                <a:lnTo>
                  <a:pt x="3860045" y="1564293"/>
                </a:lnTo>
                <a:lnTo>
                  <a:pt x="3858852" y="1568299"/>
                </a:lnTo>
                <a:lnTo>
                  <a:pt x="3854511" y="1568191"/>
                </a:lnTo>
                <a:lnTo>
                  <a:pt x="3854511" y="1570139"/>
                </a:lnTo>
                <a:lnTo>
                  <a:pt x="3849736" y="1570897"/>
                </a:lnTo>
                <a:lnTo>
                  <a:pt x="3843009" y="1566783"/>
                </a:lnTo>
                <a:lnTo>
                  <a:pt x="3840838" y="1567324"/>
                </a:lnTo>
                <a:lnTo>
                  <a:pt x="3844310" y="1570031"/>
                </a:lnTo>
                <a:lnTo>
                  <a:pt x="3844093" y="1574795"/>
                </a:lnTo>
                <a:lnTo>
                  <a:pt x="3835737" y="1568732"/>
                </a:lnTo>
                <a:lnTo>
                  <a:pt x="3832482" y="1569706"/>
                </a:lnTo>
                <a:lnTo>
                  <a:pt x="3834001" y="1575769"/>
                </a:lnTo>
                <a:lnTo>
                  <a:pt x="3829226" y="1569165"/>
                </a:lnTo>
                <a:lnTo>
                  <a:pt x="3829010" y="1564185"/>
                </a:lnTo>
                <a:lnTo>
                  <a:pt x="3832482" y="1566458"/>
                </a:lnTo>
                <a:lnTo>
                  <a:pt x="3831614" y="1561803"/>
                </a:lnTo>
                <a:lnTo>
                  <a:pt x="3835521" y="1551517"/>
                </a:lnTo>
                <a:lnTo>
                  <a:pt x="3839427" y="1547619"/>
                </a:lnTo>
                <a:lnTo>
                  <a:pt x="3837908" y="1543505"/>
                </a:lnTo>
                <a:lnTo>
                  <a:pt x="3835303" y="1542855"/>
                </a:lnTo>
                <a:lnTo>
                  <a:pt x="3834218" y="1538199"/>
                </a:lnTo>
                <a:lnTo>
                  <a:pt x="3835846" y="1531812"/>
                </a:lnTo>
                <a:lnTo>
                  <a:pt x="3840187" y="1533002"/>
                </a:lnTo>
                <a:lnTo>
                  <a:pt x="3835086" y="1529213"/>
                </a:lnTo>
                <a:lnTo>
                  <a:pt x="3835954" y="1524232"/>
                </a:lnTo>
                <a:lnTo>
                  <a:pt x="3833892" y="1525207"/>
                </a:lnTo>
                <a:lnTo>
                  <a:pt x="3834436" y="1529105"/>
                </a:lnTo>
                <a:lnTo>
                  <a:pt x="3832048" y="1534626"/>
                </a:lnTo>
                <a:lnTo>
                  <a:pt x="3830637" y="1529971"/>
                </a:lnTo>
                <a:lnTo>
                  <a:pt x="3827707" y="1532461"/>
                </a:lnTo>
                <a:lnTo>
                  <a:pt x="3827273" y="1535385"/>
                </a:lnTo>
                <a:lnTo>
                  <a:pt x="3825645" y="1534193"/>
                </a:lnTo>
                <a:lnTo>
                  <a:pt x="3826080" y="1529213"/>
                </a:lnTo>
                <a:lnTo>
                  <a:pt x="3830637" y="1522392"/>
                </a:lnTo>
                <a:lnTo>
                  <a:pt x="3824669" y="1529538"/>
                </a:lnTo>
                <a:lnTo>
                  <a:pt x="3822824" y="1529538"/>
                </a:lnTo>
                <a:lnTo>
                  <a:pt x="3824777" y="1537983"/>
                </a:lnTo>
                <a:lnTo>
                  <a:pt x="3822173" y="1541231"/>
                </a:lnTo>
                <a:lnTo>
                  <a:pt x="3822390" y="1544371"/>
                </a:lnTo>
                <a:lnTo>
                  <a:pt x="3820219" y="1549352"/>
                </a:lnTo>
                <a:lnTo>
                  <a:pt x="3820871" y="1552924"/>
                </a:lnTo>
                <a:lnTo>
                  <a:pt x="3815771" y="1552924"/>
                </a:lnTo>
                <a:lnTo>
                  <a:pt x="3815662" y="1551300"/>
                </a:lnTo>
                <a:lnTo>
                  <a:pt x="3817940" y="1549026"/>
                </a:lnTo>
                <a:lnTo>
                  <a:pt x="3818484" y="1542206"/>
                </a:lnTo>
                <a:lnTo>
                  <a:pt x="3821522" y="1537442"/>
                </a:lnTo>
                <a:lnTo>
                  <a:pt x="3819785" y="1538199"/>
                </a:lnTo>
                <a:lnTo>
                  <a:pt x="3818484" y="1536034"/>
                </a:lnTo>
                <a:lnTo>
                  <a:pt x="3820219" y="1533436"/>
                </a:lnTo>
                <a:lnTo>
                  <a:pt x="3819569" y="1528997"/>
                </a:lnTo>
                <a:lnTo>
                  <a:pt x="3822173" y="1522284"/>
                </a:lnTo>
                <a:lnTo>
                  <a:pt x="3820871" y="1521526"/>
                </a:lnTo>
                <a:lnTo>
                  <a:pt x="3823909" y="1515787"/>
                </a:lnTo>
                <a:lnTo>
                  <a:pt x="3823584" y="1514488"/>
                </a:lnTo>
                <a:lnTo>
                  <a:pt x="3825971" y="1508858"/>
                </a:lnTo>
                <a:lnTo>
                  <a:pt x="3828793" y="1507775"/>
                </a:lnTo>
                <a:lnTo>
                  <a:pt x="3827382" y="1506910"/>
                </a:lnTo>
                <a:lnTo>
                  <a:pt x="3828901" y="1503986"/>
                </a:lnTo>
                <a:lnTo>
                  <a:pt x="3819243" y="1513730"/>
                </a:lnTo>
                <a:lnTo>
                  <a:pt x="3817398" y="1511781"/>
                </a:lnTo>
                <a:lnTo>
                  <a:pt x="3816204" y="1512214"/>
                </a:lnTo>
                <a:lnTo>
                  <a:pt x="3812514" y="1508750"/>
                </a:lnTo>
                <a:lnTo>
                  <a:pt x="3815227" y="1508750"/>
                </a:lnTo>
                <a:lnTo>
                  <a:pt x="3815771" y="1507667"/>
                </a:lnTo>
                <a:lnTo>
                  <a:pt x="3813383" y="1507018"/>
                </a:lnTo>
                <a:lnTo>
                  <a:pt x="3809802" y="1507234"/>
                </a:lnTo>
                <a:lnTo>
                  <a:pt x="3808283" y="1506259"/>
                </a:lnTo>
                <a:lnTo>
                  <a:pt x="3810019" y="1504311"/>
                </a:lnTo>
                <a:lnTo>
                  <a:pt x="3814251" y="1504202"/>
                </a:lnTo>
                <a:lnTo>
                  <a:pt x="3816313" y="1502686"/>
                </a:lnTo>
                <a:lnTo>
                  <a:pt x="3817289" y="1500846"/>
                </a:lnTo>
                <a:lnTo>
                  <a:pt x="3815553" y="1499655"/>
                </a:lnTo>
                <a:lnTo>
                  <a:pt x="3816313" y="1496840"/>
                </a:lnTo>
                <a:lnTo>
                  <a:pt x="3820653" y="1498464"/>
                </a:lnTo>
                <a:lnTo>
                  <a:pt x="3820002" y="1496516"/>
                </a:lnTo>
                <a:lnTo>
                  <a:pt x="3817398" y="1495541"/>
                </a:lnTo>
                <a:lnTo>
                  <a:pt x="3818917" y="1493375"/>
                </a:lnTo>
                <a:lnTo>
                  <a:pt x="3821087" y="1493051"/>
                </a:lnTo>
                <a:lnTo>
                  <a:pt x="3819569" y="1491968"/>
                </a:lnTo>
                <a:lnTo>
                  <a:pt x="3820437" y="1489369"/>
                </a:lnTo>
                <a:lnTo>
                  <a:pt x="3821522" y="1488612"/>
                </a:lnTo>
                <a:lnTo>
                  <a:pt x="3824344" y="1489802"/>
                </a:lnTo>
                <a:lnTo>
                  <a:pt x="3822824" y="1487853"/>
                </a:lnTo>
                <a:lnTo>
                  <a:pt x="3823692" y="1486879"/>
                </a:lnTo>
                <a:lnTo>
                  <a:pt x="3819894" y="1488287"/>
                </a:lnTo>
                <a:lnTo>
                  <a:pt x="3818592" y="1487529"/>
                </a:lnTo>
                <a:lnTo>
                  <a:pt x="3819026" y="1486446"/>
                </a:lnTo>
                <a:lnTo>
                  <a:pt x="3822932" y="1484498"/>
                </a:lnTo>
                <a:lnTo>
                  <a:pt x="3816964" y="1485472"/>
                </a:lnTo>
                <a:lnTo>
                  <a:pt x="3817072" y="1483739"/>
                </a:lnTo>
                <a:lnTo>
                  <a:pt x="3816313" y="1478434"/>
                </a:lnTo>
                <a:lnTo>
                  <a:pt x="3819569" y="1480275"/>
                </a:lnTo>
                <a:lnTo>
                  <a:pt x="3822824" y="1479084"/>
                </a:lnTo>
                <a:lnTo>
                  <a:pt x="3820111" y="1478976"/>
                </a:lnTo>
                <a:lnTo>
                  <a:pt x="3817289" y="1475835"/>
                </a:lnTo>
                <a:lnTo>
                  <a:pt x="3818700" y="1473887"/>
                </a:lnTo>
                <a:lnTo>
                  <a:pt x="3816856" y="1471829"/>
                </a:lnTo>
                <a:lnTo>
                  <a:pt x="3818484" y="1468149"/>
                </a:lnTo>
                <a:lnTo>
                  <a:pt x="3820328" y="1471721"/>
                </a:lnTo>
                <a:lnTo>
                  <a:pt x="3821413" y="1469989"/>
                </a:lnTo>
                <a:lnTo>
                  <a:pt x="3820545" y="1467824"/>
                </a:lnTo>
                <a:lnTo>
                  <a:pt x="3820653" y="1466200"/>
                </a:lnTo>
                <a:lnTo>
                  <a:pt x="3824126" y="1468473"/>
                </a:lnTo>
                <a:lnTo>
                  <a:pt x="3825862" y="1466957"/>
                </a:lnTo>
                <a:lnTo>
                  <a:pt x="3830529" y="1469339"/>
                </a:lnTo>
                <a:lnTo>
                  <a:pt x="3828901" y="1466416"/>
                </a:lnTo>
                <a:lnTo>
                  <a:pt x="3824344" y="1462302"/>
                </a:lnTo>
                <a:lnTo>
                  <a:pt x="3826188" y="1462194"/>
                </a:lnTo>
                <a:lnTo>
                  <a:pt x="3827816" y="1458945"/>
                </a:lnTo>
                <a:lnTo>
                  <a:pt x="3825971" y="1455806"/>
                </a:lnTo>
                <a:lnTo>
                  <a:pt x="3829878" y="1454939"/>
                </a:lnTo>
                <a:lnTo>
                  <a:pt x="3829661" y="1451150"/>
                </a:lnTo>
                <a:lnTo>
                  <a:pt x="3830746" y="1451150"/>
                </a:lnTo>
                <a:lnTo>
                  <a:pt x="3830203" y="1448119"/>
                </a:lnTo>
                <a:lnTo>
                  <a:pt x="3832048" y="1446711"/>
                </a:lnTo>
                <a:lnTo>
                  <a:pt x="3832916" y="1443354"/>
                </a:lnTo>
                <a:lnTo>
                  <a:pt x="3838234" y="1445845"/>
                </a:lnTo>
                <a:lnTo>
                  <a:pt x="3837039" y="1448876"/>
                </a:lnTo>
                <a:lnTo>
                  <a:pt x="3840946" y="1445411"/>
                </a:lnTo>
                <a:lnTo>
                  <a:pt x="3842900" y="1446278"/>
                </a:lnTo>
                <a:lnTo>
                  <a:pt x="3842465" y="1448335"/>
                </a:lnTo>
                <a:lnTo>
                  <a:pt x="3844527" y="1446494"/>
                </a:lnTo>
                <a:lnTo>
                  <a:pt x="3846480" y="1446386"/>
                </a:lnTo>
                <a:lnTo>
                  <a:pt x="3850062" y="1444978"/>
                </a:lnTo>
                <a:lnTo>
                  <a:pt x="3854186" y="1445411"/>
                </a:lnTo>
                <a:lnTo>
                  <a:pt x="3858634" y="1443354"/>
                </a:lnTo>
                <a:lnTo>
                  <a:pt x="3861673" y="1444329"/>
                </a:lnTo>
                <a:close/>
                <a:moveTo>
                  <a:pt x="6670155" y="1441445"/>
                </a:moveTo>
                <a:lnTo>
                  <a:pt x="6671494" y="1443354"/>
                </a:lnTo>
                <a:lnTo>
                  <a:pt x="6670843" y="1445844"/>
                </a:lnTo>
                <a:lnTo>
                  <a:pt x="6671602" y="1448334"/>
                </a:lnTo>
                <a:lnTo>
                  <a:pt x="6672150" y="1448334"/>
                </a:lnTo>
                <a:lnTo>
                  <a:pt x="6671494" y="1446279"/>
                </a:lnTo>
                <a:lnTo>
                  <a:pt x="6672146" y="1443789"/>
                </a:lnTo>
                <a:lnTo>
                  <a:pt x="6670627" y="1441623"/>
                </a:lnTo>
                <a:close/>
                <a:moveTo>
                  <a:pt x="4328947" y="1441082"/>
                </a:moveTo>
                <a:lnTo>
                  <a:pt x="4331442" y="1443139"/>
                </a:lnTo>
                <a:lnTo>
                  <a:pt x="4328947" y="1446278"/>
                </a:lnTo>
                <a:lnTo>
                  <a:pt x="4326885" y="1442381"/>
                </a:lnTo>
                <a:close/>
                <a:moveTo>
                  <a:pt x="2262029" y="1440431"/>
                </a:moveTo>
                <a:lnTo>
                  <a:pt x="2255626" y="1446927"/>
                </a:lnTo>
                <a:lnTo>
                  <a:pt x="2255554" y="1447325"/>
                </a:lnTo>
                <a:lnTo>
                  <a:pt x="2261773" y="1441014"/>
                </a:lnTo>
                <a:close/>
                <a:moveTo>
                  <a:pt x="2272122" y="1440216"/>
                </a:moveTo>
                <a:lnTo>
                  <a:pt x="2273532" y="1440216"/>
                </a:lnTo>
                <a:lnTo>
                  <a:pt x="2273532" y="1445846"/>
                </a:lnTo>
                <a:lnTo>
                  <a:pt x="2269735" y="1447904"/>
                </a:lnTo>
                <a:lnTo>
                  <a:pt x="2267890" y="1447904"/>
                </a:lnTo>
                <a:lnTo>
                  <a:pt x="2271037" y="1443897"/>
                </a:lnTo>
                <a:close/>
                <a:moveTo>
                  <a:pt x="6662596" y="1437726"/>
                </a:moveTo>
                <a:lnTo>
                  <a:pt x="6662286" y="1437880"/>
                </a:lnTo>
                <a:lnTo>
                  <a:pt x="6664441" y="1440322"/>
                </a:lnTo>
                <a:lnTo>
                  <a:pt x="6664931" y="1440258"/>
                </a:lnTo>
                <a:close/>
                <a:moveTo>
                  <a:pt x="6655326" y="1437726"/>
                </a:moveTo>
                <a:lnTo>
                  <a:pt x="6655316" y="1437732"/>
                </a:lnTo>
                <a:lnTo>
                  <a:pt x="6656844" y="1438374"/>
                </a:lnTo>
                <a:lnTo>
                  <a:pt x="6656869" y="1438374"/>
                </a:lnTo>
                <a:close/>
                <a:moveTo>
                  <a:pt x="7377287" y="1436859"/>
                </a:moveTo>
                <a:lnTo>
                  <a:pt x="7384883" y="1443463"/>
                </a:lnTo>
                <a:lnTo>
                  <a:pt x="7386294" y="1448119"/>
                </a:lnTo>
                <a:lnTo>
                  <a:pt x="7383689" y="1450501"/>
                </a:lnTo>
                <a:lnTo>
                  <a:pt x="7382929" y="1454291"/>
                </a:lnTo>
                <a:lnTo>
                  <a:pt x="7383255" y="1459271"/>
                </a:lnTo>
                <a:lnTo>
                  <a:pt x="7380434" y="1463601"/>
                </a:lnTo>
                <a:lnTo>
                  <a:pt x="7376527" y="1465550"/>
                </a:lnTo>
                <a:lnTo>
                  <a:pt x="7375876" y="1469340"/>
                </a:lnTo>
                <a:lnTo>
                  <a:pt x="7375767" y="1474754"/>
                </a:lnTo>
                <a:lnTo>
                  <a:pt x="7374031" y="1474536"/>
                </a:lnTo>
                <a:lnTo>
                  <a:pt x="7372513" y="1472046"/>
                </a:lnTo>
                <a:lnTo>
                  <a:pt x="7368171" y="1472263"/>
                </a:lnTo>
                <a:lnTo>
                  <a:pt x="7367086" y="1470748"/>
                </a:lnTo>
                <a:lnTo>
                  <a:pt x="7369799" y="1469232"/>
                </a:lnTo>
                <a:lnTo>
                  <a:pt x="7369799" y="1465550"/>
                </a:lnTo>
                <a:lnTo>
                  <a:pt x="7366218" y="1461328"/>
                </a:lnTo>
                <a:lnTo>
                  <a:pt x="7366652" y="1460028"/>
                </a:lnTo>
                <a:lnTo>
                  <a:pt x="7369582" y="1459704"/>
                </a:lnTo>
                <a:lnTo>
                  <a:pt x="7372295" y="1455265"/>
                </a:lnTo>
                <a:lnTo>
                  <a:pt x="7376310" y="1453749"/>
                </a:lnTo>
                <a:lnTo>
                  <a:pt x="7376853" y="1448985"/>
                </a:lnTo>
                <a:lnTo>
                  <a:pt x="7376202" y="1440648"/>
                </a:lnTo>
                <a:close/>
                <a:moveTo>
                  <a:pt x="4396443" y="1434260"/>
                </a:moveTo>
                <a:lnTo>
                  <a:pt x="4398504" y="1435343"/>
                </a:lnTo>
                <a:lnTo>
                  <a:pt x="4405775" y="1435992"/>
                </a:lnTo>
                <a:lnTo>
                  <a:pt x="4409465" y="1438699"/>
                </a:lnTo>
                <a:lnTo>
                  <a:pt x="4411744" y="1440107"/>
                </a:lnTo>
                <a:lnTo>
                  <a:pt x="4412829" y="1441514"/>
                </a:lnTo>
                <a:lnTo>
                  <a:pt x="4411635" y="1442164"/>
                </a:lnTo>
                <a:lnTo>
                  <a:pt x="4408488" y="1441514"/>
                </a:lnTo>
                <a:lnTo>
                  <a:pt x="4405775" y="1445629"/>
                </a:lnTo>
                <a:lnTo>
                  <a:pt x="4402737" y="1449093"/>
                </a:lnTo>
                <a:lnTo>
                  <a:pt x="4396226" y="1450393"/>
                </a:lnTo>
                <a:lnTo>
                  <a:pt x="4392970" y="1456780"/>
                </a:lnTo>
                <a:lnTo>
                  <a:pt x="4393078" y="1459271"/>
                </a:lnTo>
                <a:lnTo>
                  <a:pt x="4389388" y="1462303"/>
                </a:lnTo>
                <a:lnTo>
                  <a:pt x="4387435" y="1461870"/>
                </a:lnTo>
                <a:lnTo>
                  <a:pt x="4389280" y="1455915"/>
                </a:lnTo>
                <a:lnTo>
                  <a:pt x="4391233" y="1456131"/>
                </a:lnTo>
                <a:lnTo>
                  <a:pt x="4392536" y="1452558"/>
                </a:lnTo>
                <a:lnTo>
                  <a:pt x="4388846" y="1448985"/>
                </a:lnTo>
                <a:lnTo>
                  <a:pt x="4385157" y="1448011"/>
                </a:lnTo>
                <a:lnTo>
                  <a:pt x="4385157" y="1445303"/>
                </a:lnTo>
                <a:lnTo>
                  <a:pt x="4387544" y="1443572"/>
                </a:lnTo>
                <a:lnTo>
                  <a:pt x="4387544" y="1441189"/>
                </a:lnTo>
                <a:lnTo>
                  <a:pt x="4384397" y="1440215"/>
                </a:lnTo>
                <a:lnTo>
                  <a:pt x="4386784" y="1439240"/>
                </a:lnTo>
                <a:lnTo>
                  <a:pt x="4386675" y="1437291"/>
                </a:lnTo>
                <a:lnTo>
                  <a:pt x="4389172" y="1438050"/>
                </a:lnTo>
                <a:lnTo>
                  <a:pt x="4390365" y="1440431"/>
                </a:lnTo>
                <a:lnTo>
                  <a:pt x="4392645" y="1437617"/>
                </a:lnTo>
                <a:lnTo>
                  <a:pt x="4394163" y="1437075"/>
                </a:lnTo>
                <a:close/>
                <a:moveTo>
                  <a:pt x="3863627" y="1433827"/>
                </a:moveTo>
                <a:lnTo>
                  <a:pt x="3865254" y="1436209"/>
                </a:lnTo>
                <a:lnTo>
                  <a:pt x="3864169" y="1438374"/>
                </a:lnTo>
                <a:lnTo>
                  <a:pt x="3861565" y="1434260"/>
                </a:lnTo>
                <a:close/>
                <a:moveTo>
                  <a:pt x="7363613" y="1432961"/>
                </a:moveTo>
                <a:lnTo>
                  <a:pt x="7368171" y="1436750"/>
                </a:lnTo>
                <a:lnTo>
                  <a:pt x="7367302" y="1439998"/>
                </a:lnTo>
                <a:lnTo>
                  <a:pt x="7362528" y="1440324"/>
                </a:lnTo>
                <a:lnTo>
                  <a:pt x="7360467" y="1438483"/>
                </a:lnTo>
                <a:lnTo>
                  <a:pt x="7360792" y="1434693"/>
                </a:lnTo>
                <a:close/>
                <a:moveTo>
                  <a:pt x="1141377" y="1432853"/>
                </a:moveTo>
                <a:lnTo>
                  <a:pt x="1146803" y="1435777"/>
                </a:lnTo>
                <a:lnTo>
                  <a:pt x="1145935" y="1446928"/>
                </a:lnTo>
                <a:lnTo>
                  <a:pt x="1141052" y="1452125"/>
                </a:lnTo>
                <a:lnTo>
                  <a:pt x="1140401" y="1447578"/>
                </a:lnTo>
                <a:lnTo>
                  <a:pt x="1142788" y="1442165"/>
                </a:lnTo>
                <a:lnTo>
                  <a:pt x="1138122" y="1446820"/>
                </a:lnTo>
                <a:lnTo>
                  <a:pt x="1134541" y="1446062"/>
                </a:lnTo>
                <a:lnTo>
                  <a:pt x="1134323" y="1442489"/>
                </a:lnTo>
                <a:lnTo>
                  <a:pt x="1135518" y="1439349"/>
                </a:lnTo>
                <a:lnTo>
                  <a:pt x="1131828" y="1438700"/>
                </a:lnTo>
                <a:lnTo>
                  <a:pt x="1136603" y="1434044"/>
                </a:lnTo>
                <a:close/>
                <a:moveTo>
                  <a:pt x="4408380" y="1431877"/>
                </a:moveTo>
                <a:lnTo>
                  <a:pt x="4414565" y="1432093"/>
                </a:lnTo>
                <a:lnTo>
                  <a:pt x="4416627" y="1437290"/>
                </a:lnTo>
                <a:lnTo>
                  <a:pt x="4414131" y="1438914"/>
                </a:lnTo>
                <a:lnTo>
                  <a:pt x="4408597" y="1434692"/>
                </a:lnTo>
                <a:close/>
                <a:moveTo>
                  <a:pt x="2254107" y="1431877"/>
                </a:moveTo>
                <a:lnTo>
                  <a:pt x="2251286" y="1437399"/>
                </a:lnTo>
                <a:lnTo>
                  <a:pt x="2245101" y="1441513"/>
                </a:lnTo>
                <a:lnTo>
                  <a:pt x="2241302" y="1442920"/>
                </a:lnTo>
                <a:lnTo>
                  <a:pt x="2240109" y="1442054"/>
                </a:lnTo>
                <a:lnTo>
                  <a:pt x="2242279" y="1437182"/>
                </a:lnTo>
                <a:lnTo>
                  <a:pt x="2245534" y="1437073"/>
                </a:lnTo>
                <a:lnTo>
                  <a:pt x="2246945" y="1435666"/>
                </a:lnTo>
                <a:lnTo>
                  <a:pt x="2248573" y="1435666"/>
                </a:lnTo>
                <a:lnTo>
                  <a:pt x="2251937" y="1433609"/>
                </a:lnTo>
                <a:close/>
                <a:moveTo>
                  <a:pt x="7386185" y="1431661"/>
                </a:moveTo>
                <a:lnTo>
                  <a:pt x="7388789" y="1434585"/>
                </a:lnTo>
                <a:lnTo>
                  <a:pt x="7389766" y="1438699"/>
                </a:lnTo>
                <a:lnTo>
                  <a:pt x="7387813" y="1440973"/>
                </a:lnTo>
                <a:lnTo>
                  <a:pt x="7385859" y="1440973"/>
                </a:lnTo>
                <a:lnTo>
                  <a:pt x="7382821" y="1437291"/>
                </a:lnTo>
                <a:lnTo>
                  <a:pt x="7382821" y="1434259"/>
                </a:lnTo>
                <a:close/>
                <a:moveTo>
                  <a:pt x="2263765" y="1430687"/>
                </a:moveTo>
                <a:lnTo>
                  <a:pt x="2267237" y="1432528"/>
                </a:lnTo>
                <a:lnTo>
                  <a:pt x="2267237" y="1435884"/>
                </a:lnTo>
                <a:lnTo>
                  <a:pt x="2268648" y="1435884"/>
                </a:lnTo>
                <a:lnTo>
                  <a:pt x="2270601" y="1438050"/>
                </a:lnTo>
                <a:lnTo>
                  <a:pt x="2269842" y="1443246"/>
                </a:lnTo>
                <a:lnTo>
                  <a:pt x="2267888" y="1444979"/>
                </a:lnTo>
                <a:lnTo>
                  <a:pt x="2262571" y="1451583"/>
                </a:lnTo>
                <a:lnTo>
                  <a:pt x="2259858" y="1453423"/>
                </a:lnTo>
                <a:lnTo>
                  <a:pt x="2261377" y="1449850"/>
                </a:lnTo>
                <a:lnTo>
                  <a:pt x="2267563" y="1442921"/>
                </a:lnTo>
                <a:lnTo>
                  <a:pt x="2267563" y="1439890"/>
                </a:lnTo>
                <a:lnTo>
                  <a:pt x="2265935" y="1439890"/>
                </a:lnTo>
                <a:lnTo>
                  <a:pt x="2264741" y="1443030"/>
                </a:lnTo>
                <a:lnTo>
                  <a:pt x="2259207" y="1450609"/>
                </a:lnTo>
                <a:cubicBezTo>
                  <a:pt x="2259099" y="1450501"/>
                  <a:pt x="2255626" y="1455048"/>
                  <a:pt x="2255626" y="1455048"/>
                </a:cubicBezTo>
                <a:lnTo>
                  <a:pt x="2253130" y="1455048"/>
                </a:lnTo>
                <a:lnTo>
                  <a:pt x="2249983" y="1456997"/>
                </a:lnTo>
                <a:lnTo>
                  <a:pt x="2248464" y="1456997"/>
                </a:lnTo>
                <a:lnTo>
                  <a:pt x="2251611" y="1452125"/>
                </a:lnTo>
                <a:lnTo>
                  <a:pt x="2252805" y="1449093"/>
                </a:lnTo>
                <a:lnTo>
                  <a:pt x="2250417" y="1449743"/>
                </a:lnTo>
                <a:lnTo>
                  <a:pt x="2245752" y="1456022"/>
                </a:lnTo>
                <a:lnTo>
                  <a:pt x="2244015" y="1456022"/>
                </a:lnTo>
                <a:lnTo>
                  <a:pt x="2242930" y="1453099"/>
                </a:lnTo>
                <a:lnTo>
                  <a:pt x="2246402" y="1448876"/>
                </a:lnTo>
                <a:lnTo>
                  <a:pt x="2247053" y="1446386"/>
                </a:lnTo>
                <a:lnTo>
                  <a:pt x="2252371" y="1441189"/>
                </a:lnTo>
                <a:lnTo>
                  <a:pt x="2255192" y="1435559"/>
                </a:lnTo>
                <a:lnTo>
                  <a:pt x="2258231" y="1433285"/>
                </a:lnTo>
                <a:lnTo>
                  <a:pt x="2259099" y="1434693"/>
                </a:lnTo>
                <a:lnTo>
                  <a:pt x="2257688" y="1438807"/>
                </a:lnTo>
                <a:lnTo>
                  <a:pt x="2253890" y="1442272"/>
                </a:lnTo>
                <a:lnTo>
                  <a:pt x="2253021" y="1445411"/>
                </a:lnTo>
                <a:lnTo>
                  <a:pt x="2256603" y="1443030"/>
                </a:lnTo>
                <a:lnTo>
                  <a:pt x="2260075" y="1439673"/>
                </a:lnTo>
                <a:lnTo>
                  <a:pt x="2262137" y="1433069"/>
                </a:lnTo>
                <a:close/>
                <a:moveTo>
                  <a:pt x="1128573" y="1430255"/>
                </a:moveTo>
                <a:lnTo>
                  <a:pt x="1131068" y="1434152"/>
                </a:lnTo>
                <a:lnTo>
                  <a:pt x="1128573" y="1436318"/>
                </a:lnTo>
                <a:close/>
                <a:moveTo>
                  <a:pt x="2266695" y="1427547"/>
                </a:moveTo>
                <a:lnTo>
                  <a:pt x="2267346" y="1428846"/>
                </a:lnTo>
                <a:lnTo>
                  <a:pt x="2266261" y="1430037"/>
                </a:lnTo>
                <a:lnTo>
                  <a:pt x="2265285" y="1427872"/>
                </a:lnTo>
                <a:close/>
                <a:moveTo>
                  <a:pt x="3865471" y="1426140"/>
                </a:moveTo>
                <a:lnTo>
                  <a:pt x="3868293" y="1428846"/>
                </a:lnTo>
                <a:lnTo>
                  <a:pt x="3866556" y="1430904"/>
                </a:lnTo>
                <a:lnTo>
                  <a:pt x="3871765" y="1430362"/>
                </a:lnTo>
                <a:lnTo>
                  <a:pt x="3871657" y="1433936"/>
                </a:lnTo>
                <a:lnTo>
                  <a:pt x="3869161" y="1432420"/>
                </a:lnTo>
                <a:lnTo>
                  <a:pt x="3864712" y="1432961"/>
                </a:lnTo>
                <a:lnTo>
                  <a:pt x="3864494" y="1429605"/>
                </a:lnTo>
                <a:lnTo>
                  <a:pt x="3863518" y="1432420"/>
                </a:lnTo>
                <a:lnTo>
                  <a:pt x="3861890" y="1430687"/>
                </a:lnTo>
                <a:lnTo>
                  <a:pt x="3861890" y="1426356"/>
                </a:lnTo>
                <a:close/>
                <a:moveTo>
                  <a:pt x="1134324" y="1426140"/>
                </a:moveTo>
                <a:lnTo>
                  <a:pt x="1136277" y="1428846"/>
                </a:lnTo>
                <a:lnTo>
                  <a:pt x="1135083" y="1431662"/>
                </a:lnTo>
                <a:lnTo>
                  <a:pt x="1131828" y="1427980"/>
                </a:lnTo>
                <a:close/>
                <a:moveTo>
                  <a:pt x="3869051" y="1424299"/>
                </a:moveTo>
                <a:lnTo>
                  <a:pt x="3868617" y="1426681"/>
                </a:lnTo>
                <a:lnTo>
                  <a:pt x="3866773" y="1424624"/>
                </a:lnTo>
                <a:close/>
                <a:moveTo>
                  <a:pt x="4045500" y="1420402"/>
                </a:moveTo>
                <a:lnTo>
                  <a:pt x="4048647" y="1423541"/>
                </a:lnTo>
                <a:lnTo>
                  <a:pt x="4044958" y="1424841"/>
                </a:lnTo>
                <a:close/>
                <a:moveTo>
                  <a:pt x="4412503" y="1419427"/>
                </a:moveTo>
                <a:lnTo>
                  <a:pt x="4413697" y="1421809"/>
                </a:lnTo>
                <a:lnTo>
                  <a:pt x="4409248" y="1422459"/>
                </a:lnTo>
                <a:lnTo>
                  <a:pt x="4408380" y="1419752"/>
                </a:lnTo>
                <a:close/>
                <a:moveTo>
                  <a:pt x="4397203" y="1418886"/>
                </a:moveTo>
                <a:lnTo>
                  <a:pt x="4399807" y="1419319"/>
                </a:lnTo>
                <a:lnTo>
                  <a:pt x="4402195" y="1421592"/>
                </a:lnTo>
                <a:lnTo>
                  <a:pt x="4406427" y="1421917"/>
                </a:lnTo>
                <a:lnTo>
                  <a:pt x="4408272" y="1426573"/>
                </a:lnTo>
                <a:lnTo>
                  <a:pt x="4405451" y="1425599"/>
                </a:lnTo>
                <a:lnTo>
                  <a:pt x="4401435" y="1428306"/>
                </a:lnTo>
                <a:lnTo>
                  <a:pt x="4399916" y="1431013"/>
                </a:lnTo>
                <a:lnTo>
                  <a:pt x="4396986" y="1426249"/>
                </a:lnTo>
                <a:lnTo>
                  <a:pt x="4392971" y="1426573"/>
                </a:lnTo>
                <a:lnTo>
                  <a:pt x="4388847" y="1428414"/>
                </a:lnTo>
                <a:lnTo>
                  <a:pt x="4387111" y="1427115"/>
                </a:lnTo>
                <a:lnTo>
                  <a:pt x="4394599" y="1423541"/>
                </a:lnTo>
                <a:lnTo>
                  <a:pt x="4396877" y="1420618"/>
                </a:lnTo>
                <a:close/>
                <a:moveTo>
                  <a:pt x="1147346" y="1412064"/>
                </a:moveTo>
                <a:lnTo>
                  <a:pt x="1149733" y="1412389"/>
                </a:lnTo>
                <a:lnTo>
                  <a:pt x="1148214" y="1416286"/>
                </a:lnTo>
                <a:lnTo>
                  <a:pt x="1143656" y="1418018"/>
                </a:lnTo>
                <a:lnTo>
                  <a:pt x="1140618" y="1420400"/>
                </a:lnTo>
                <a:lnTo>
                  <a:pt x="1142463" y="1414770"/>
                </a:lnTo>
                <a:close/>
                <a:moveTo>
                  <a:pt x="1111644" y="1406759"/>
                </a:moveTo>
                <a:lnTo>
                  <a:pt x="1121411" y="1418236"/>
                </a:lnTo>
                <a:lnTo>
                  <a:pt x="1124992" y="1425057"/>
                </a:lnTo>
                <a:lnTo>
                  <a:pt x="1122930" y="1428955"/>
                </a:lnTo>
                <a:lnTo>
                  <a:pt x="1119349" y="1427439"/>
                </a:lnTo>
                <a:lnTo>
                  <a:pt x="1119349" y="1422133"/>
                </a:lnTo>
                <a:lnTo>
                  <a:pt x="1112296" y="1414337"/>
                </a:lnTo>
                <a:lnTo>
                  <a:pt x="1110234" y="1409682"/>
                </a:lnTo>
                <a:cubicBezTo>
                  <a:pt x="1110234" y="1409682"/>
                  <a:pt x="1111644" y="1406759"/>
                  <a:pt x="1111644" y="1406759"/>
                </a:cubicBezTo>
                <a:close/>
                <a:moveTo>
                  <a:pt x="4310498" y="1402645"/>
                </a:moveTo>
                <a:lnTo>
                  <a:pt x="4316249" y="1402645"/>
                </a:lnTo>
                <a:lnTo>
                  <a:pt x="4316141" y="1406543"/>
                </a:lnTo>
                <a:lnTo>
                  <a:pt x="4311474" y="1410657"/>
                </a:lnTo>
                <a:lnTo>
                  <a:pt x="4311366" y="1416505"/>
                </a:lnTo>
                <a:lnTo>
                  <a:pt x="4309521" y="1414989"/>
                </a:lnTo>
                <a:lnTo>
                  <a:pt x="4305940" y="1409358"/>
                </a:lnTo>
                <a:close/>
                <a:moveTo>
                  <a:pt x="1122278" y="1400155"/>
                </a:moveTo>
                <a:lnTo>
                  <a:pt x="1124558" y="1400804"/>
                </a:lnTo>
                <a:lnTo>
                  <a:pt x="1126728" y="1407192"/>
                </a:lnTo>
                <a:lnTo>
                  <a:pt x="1131068" y="1416504"/>
                </a:lnTo>
                <a:lnTo>
                  <a:pt x="1130417" y="1424083"/>
                </a:lnTo>
                <a:lnTo>
                  <a:pt x="1125534" y="1420077"/>
                </a:lnTo>
                <a:lnTo>
                  <a:pt x="1124883" y="1413363"/>
                </a:lnTo>
                <a:lnTo>
                  <a:pt x="1121410" y="1407734"/>
                </a:lnTo>
                <a:lnTo>
                  <a:pt x="1120868" y="1401779"/>
                </a:lnTo>
                <a:close/>
                <a:moveTo>
                  <a:pt x="4174526" y="1398530"/>
                </a:moveTo>
                <a:lnTo>
                  <a:pt x="4171162" y="1400262"/>
                </a:lnTo>
                <a:lnTo>
                  <a:pt x="4169317" y="1404377"/>
                </a:lnTo>
                <a:lnTo>
                  <a:pt x="4169859" y="1405344"/>
                </a:lnTo>
                <a:lnTo>
                  <a:pt x="4169317" y="1404377"/>
                </a:lnTo>
                <a:lnTo>
                  <a:pt x="4171162" y="1400263"/>
                </a:lnTo>
                <a:lnTo>
                  <a:pt x="4174526" y="1398531"/>
                </a:lnTo>
                <a:close/>
                <a:moveTo>
                  <a:pt x="4037361" y="1392901"/>
                </a:moveTo>
                <a:lnTo>
                  <a:pt x="4039965" y="1395608"/>
                </a:lnTo>
                <a:lnTo>
                  <a:pt x="4038230" y="1399073"/>
                </a:lnTo>
                <a:lnTo>
                  <a:pt x="4034649" y="1393767"/>
                </a:lnTo>
                <a:cubicBezTo>
                  <a:pt x="4034540" y="1393117"/>
                  <a:pt x="4037361" y="1392901"/>
                  <a:pt x="4037361" y="1392901"/>
                </a:cubicBezTo>
                <a:close/>
                <a:moveTo>
                  <a:pt x="1121084" y="1389003"/>
                </a:moveTo>
                <a:lnTo>
                  <a:pt x="1125208" y="1392251"/>
                </a:lnTo>
                <a:lnTo>
                  <a:pt x="1122929" y="1397774"/>
                </a:lnTo>
                <a:lnTo>
                  <a:pt x="1119565" y="1397774"/>
                </a:lnTo>
                <a:lnTo>
                  <a:pt x="1119348" y="1395174"/>
                </a:lnTo>
                <a:lnTo>
                  <a:pt x="1112512" y="1395174"/>
                </a:lnTo>
                <a:lnTo>
                  <a:pt x="1115225" y="1391601"/>
                </a:lnTo>
                <a:close/>
                <a:moveTo>
                  <a:pt x="4183099" y="1386620"/>
                </a:moveTo>
                <a:lnTo>
                  <a:pt x="4181037" y="1390301"/>
                </a:lnTo>
                <a:lnTo>
                  <a:pt x="4173658" y="1390951"/>
                </a:lnTo>
                <a:lnTo>
                  <a:pt x="4172030" y="1393658"/>
                </a:lnTo>
                <a:lnTo>
                  <a:pt x="4172030" y="1393659"/>
                </a:lnTo>
                <a:lnTo>
                  <a:pt x="4173658" y="1390952"/>
                </a:lnTo>
                <a:lnTo>
                  <a:pt x="4181037" y="1390302"/>
                </a:lnTo>
                <a:lnTo>
                  <a:pt x="4183099" y="1386621"/>
                </a:lnTo>
                <a:close/>
                <a:moveTo>
                  <a:pt x="4043004" y="1384564"/>
                </a:moveTo>
                <a:lnTo>
                  <a:pt x="4042787" y="1388353"/>
                </a:lnTo>
                <a:lnTo>
                  <a:pt x="4040943" y="1388786"/>
                </a:lnTo>
                <a:close/>
                <a:moveTo>
                  <a:pt x="3909421" y="1384131"/>
                </a:moveTo>
                <a:lnTo>
                  <a:pt x="3910831" y="1385430"/>
                </a:lnTo>
                <a:lnTo>
                  <a:pt x="3907359" y="1388029"/>
                </a:lnTo>
                <a:close/>
                <a:moveTo>
                  <a:pt x="4038880" y="1382290"/>
                </a:moveTo>
                <a:lnTo>
                  <a:pt x="4038121" y="1386404"/>
                </a:lnTo>
                <a:lnTo>
                  <a:pt x="4034540" y="1385755"/>
                </a:lnTo>
                <a:close/>
                <a:moveTo>
                  <a:pt x="4399482" y="1379041"/>
                </a:moveTo>
                <a:lnTo>
                  <a:pt x="4400458" y="1382614"/>
                </a:lnTo>
                <a:lnTo>
                  <a:pt x="4397311" y="1384672"/>
                </a:lnTo>
                <a:lnTo>
                  <a:pt x="4395575" y="1382614"/>
                </a:lnTo>
                <a:lnTo>
                  <a:pt x="4397853" y="1381315"/>
                </a:lnTo>
                <a:close/>
                <a:moveTo>
                  <a:pt x="1068345" y="1377309"/>
                </a:moveTo>
                <a:lnTo>
                  <a:pt x="1075941" y="1379582"/>
                </a:lnTo>
                <a:lnTo>
                  <a:pt x="1074748" y="1385429"/>
                </a:lnTo>
                <a:lnTo>
                  <a:pt x="1077461" y="1384130"/>
                </a:lnTo>
                <a:lnTo>
                  <a:pt x="1080607" y="1381423"/>
                </a:lnTo>
                <a:lnTo>
                  <a:pt x="1083863" y="1382939"/>
                </a:lnTo>
                <a:lnTo>
                  <a:pt x="1084080" y="1386079"/>
                </a:lnTo>
                <a:lnTo>
                  <a:pt x="1083537" y="1391601"/>
                </a:lnTo>
                <a:lnTo>
                  <a:pt x="1079414" y="1395499"/>
                </a:lnTo>
                <a:lnTo>
                  <a:pt x="1070407" y="1398963"/>
                </a:lnTo>
                <a:lnTo>
                  <a:pt x="1073228" y="1401237"/>
                </a:lnTo>
                <a:lnTo>
                  <a:pt x="1073879" y="1403835"/>
                </a:lnTo>
                <a:lnTo>
                  <a:pt x="1079197" y="1402536"/>
                </a:lnTo>
                <a:lnTo>
                  <a:pt x="1082344" y="1395174"/>
                </a:lnTo>
                <a:lnTo>
                  <a:pt x="1088203" y="1388136"/>
                </a:lnTo>
                <a:lnTo>
                  <a:pt x="1095583" y="1384563"/>
                </a:lnTo>
                <a:lnTo>
                  <a:pt x="1097861" y="1384996"/>
                </a:lnTo>
                <a:lnTo>
                  <a:pt x="1089180" y="1394632"/>
                </a:lnTo>
                <a:lnTo>
                  <a:pt x="1087335" y="1402103"/>
                </a:lnTo>
                <a:lnTo>
                  <a:pt x="1082995" y="1407192"/>
                </a:lnTo>
                <a:lnTo>
                  <a:pt x="1082452" y="1415096"/>
                </a:lnTo>
                <a:lnTo>
                  <a:pt x="1077135" y="1419427"/>
                </a:lnTo>
                <a:lnTo>
                  <a:pt x="1072794" y="1419427"/>
                </a:lnTo>
                <a:lnTo>
                  <a:pt x="1069430" y="1423433"/>
                </a:lnTo>
                <a:lnTo>
                  <a:pt x="1073337" y="1423541"/>
                </a:lnTo>
                <a:lnTo>
                  <a:pt x="1076267" y="1421809"/>
                </a:lnTo>
                <a:lnTo>
                  <a:pt x="1081584" y="1422566"/>
                </a:lnTo>
                <a:lnTo>
                  <a:pt x="1082127" y="1428197"/>
                </a:lnTo>
                <a:lnTo>
                  <a:pt x="1075833" y="1427980"/>
                </a:lnTo>
                <a:lnTo>
                  <a:pt x="1072794" y="1433935"/>
                </a:lnTo>
                <a:lnTo>
                  <a:pt x="1074422" y="1438807"/>
                </a:lnTo>
                <a:lnTo>
                  <a:pt x="1073554" y="1445520"/>
                </a:lnTo>
                <a:lnTo>
                  <a:pt x="1076158" y="1453640"/>
                </a:lnTo>
                <a:lnTo>
                  <a:pt x="1077461" y="1459704"/>
                </a:lnTo>
                <a:lnTo>
                  <a:pt x="1080933" y="1459487"/>
                </a:lnTo>
                <a:lnTo>
                  <a:pt x="1082995" y="1462411"/>
                </a:lnTo>
                <a:lnTo>
                  <a:pt x="1080390" y="1466417"/>
                </a:lnTo>
                <a:lnTo>
                  <a:pt x="1074205" y="1465009"/>
                </a:lnTo>
                <a:lnTo>
                  <a:pt x="1067043" y="1449526"/>
                </a:lnTo>
                <a:lnTo>
                  <a:pt x="1066283" y="1442813"/>
                </a:lnTo>
                <a:lnTo>
                  <a:pt x="1067694" y="1439565"/>
                </a:lnTo>
                <a:lnTo>
                  <a:pt x="1062160" y="1438482"/>
                </a:lnTo>
                <a:lnTo>
                  <a:pt x="1060749" y="1434368"/>
                </a:lnTo>
                <a:lnTo>
                  <a:pt x="1062702" y="1430903"/>
                </a:lnTo>
                <a:lnTo>
                  <a:pt x="1068237" y="1431661"/>
                </a:lnTo>
                <a:lnTo>
                  <a:pt x="1063896" y="1426789"/>
                </a:lnTo>
                <a:lnTo>
                  <a:pt x="1060966" y="1425598"/>
                </a:lnTo>
                <a:lnTo>
                  <a:pt x="1063679" y="1420617"/>
                </a:lnTo>
                <a:lnTo>
                  <a:pt x="1060098" y="1416503"/>
                </a:lnTo>
                <a:lnTo>
                  <a:pt x="1060749" y="1413905"/>
                </a:lnTo>
                <a:lnTo>
                  <a:pt x="1064764" y="1414446"/>
                </a:lnTo>
                <a:lnTo>
                  <a:pt x="1067043" y="1415854"/>
                </a:lnTo>
                <a:lnTo>
                  <a:pt x="1066826" y="1411739"/>
                </a:lnTo>
                <a:lnTo>
                  <a:pt x="1063679" y="1407950"/>
                </a:lnTo>
                <a:lnTo>
                  <a:pt x="1059772" y="1407084"/>
                </a:lnTo>
                <a:lnTo>
                  <a:pt x="1059447" y="1402752"/>
                </a:lnTo>
                <a:lnTo>
                  <a:pt x="1062160" y="1398097"/>
                </a:lnTo>
                <a:lnTo>
                  <a:pt x="1060966" y="1389652"/>
                </a:lnTo>
                <a:close/>
                <a:moveTo>
                  <a:pt x="4186138" y="1374278"/>
                </a:moveTo>
                <a:lnTo>
                  <a:pt x="4182773" y="1381640"/>
                </a:lnTo>
                <a:lnTo>
                  <a:pt x="4182773" y="1381641"/>
                </a:lnTo>
                <a:lnTo>
                  <a:pt x="4186138" y="1374278"/>
                </a:lnTo>
                <a:close/>
                <a:moveTo>
                  <a:pt x="4393078" y="1374170"/>
                </a:moveTo>
                <a:lnTo>
                  <a:pt x="4394489" y="1377527"/>
                </a:lnTo>
                <a:lnTo>
                  <a:pt x="4392536" y="1377527"/>
                </a:lnTo>
                <a:close/>
                <a:moveTo>
                  <a:pt x="4032478" y="1373196"/>
                </a:moveTo>
                <a:lnTo>
                  <a:pt x="4031067" y="1378392"/>
                </a:lnTo>
                <a:lnTo>
                  <a:pt x="4028029" y="1374603"/>
                </a:lnTo>
                <a:close/>
                <a:moveTo>
                  <a:pt x="4037579" y="1372329"/>
                </a:moveTo>
                <a:lnTo>
                  <a:pt x="4041160" y="1376985"/>
                </a:lnTo>
                <a:lnTo>
                  <a:pt x="4039640" y="1381425"/>
                </a:lnTo>
                <a:close/>
                <a:moveTo>
                  <a:pt x="3908445" y="1369298"/>
                </a:moveTo>
                <a:lnTo>
                  <a:pt x="3911158" y="1370597"/>
                </a:lnTo>
                <a:lnTo>
                  <a:pt x="3914413" y="1371788"/>
                </a:lnTo>
                <a:lnTo>
                  <a:pt x="3912460" y="1373845"/>
                </a:lnTo>
                <a:lnTo>
                  <a:pt x="3913002" y="1376444"/>
                </a:lnTo>
                <a:lnTo>
                  <a:pt x="3910833" y="1378718"/>
                </a:lnTo>
                <a:lnTo>
                  <a:pt x="3911917" y="1382508"/>
                </a:lnTo>
                <a:lnTo>
                  <a:pt x="3909313" y="1381641"/>
                </a:lnTo>
                <a:lnTo>
                  <a:pt x="3907468" y="1377851"/>
                </a:lnTo>
                <a:lnTo>
                  <a:pt x="3901717" y="1377635"/>
                </a:lnTo>
                <a:lnTo>
                  <a:pt x="3899872" y="1375253"/>
                </a:lnTo>
                <a:lnTo>
                  <a:pt x="3902802" y="1374062"/>
                </a:lnTo>
                <a:lnTo>
                  <a:pt x="3907685" y="1374495"/>
                </a:lnTo>
                <a:lnTo>
                  <a:pt x="3908228" y="1372329"/>
                </a:lnTo>
                <a:lnTo>
                  <a:pt x="3907143" y="1370597"/>
                </a:lnTo>
                <a:close/>
                <a:moveTo>
                  <a:pt x="4028788" y="1367891"/>
                </a:moveTo>
                <a:lnTo>
                  <a:pt x="4032260" y="1367999"/>
                </a:lnTo>
                <a:lnTo>
                  <a:pt x="4030524" y="1370057"/>
                </a:lnTo>
                <a:close/>
                <a:moveTo>
                  <a:pt x="4390691" y="1367566"/>
                </a:moveTo>
                <a:lnTo>
                  <a:pt x="4390148" y="1370273"/>
                </a:lnTo>
                <a:lnTo>
                  <a:pt x="4385916" y="1373738"/>
                </a:lnTo>
                <a:lnTo>
                  <a:pt x="4382552" y="1371897"/>
                </a:lnTo>
                <a:lnTo>
                  <a:pt x="4383420" y="1368974"/>
                </a:lnTo>
                <a:close/>
                <a:moveTo>
                  <a:pt x="1122496" y="1366266"/>
                </a:moveTo>
                <a:lnTo>
                  <a:pt x="1122604" y="1370813"/>
                </a:lnTo>
                <a:lnTo>
                  <a:pt x="1119674" y="1373412"/>
                </a:lnTo>
                <a:lnTo>
                  <a:pt x="1118915" y="1368540"/>
                </a:lnTo>
                <a:close/>
                <a:moveTo>
                  <a:pt x="3906925" y="1364967"/>
                </a:moveTo>
                <a:lnTo>
                  <a:pt x="3906491" y="1370598"/>
                </a:lnTo>
                <a:lnTo>
                  <a:pt x="3902910" y="1368649"/>
                </a:lnTo>
                <a:lnTo>
                  <a:pt x="3903778" y="1365725"/>
                </a:lnTo>
                <a:close/>
                <a:moveTo>
                  <a:pt x="4514726" y="1364642"/>
                </a:moveTo>
                <a:lnTo>
                  <a:pt x="4519284" y="1368973"/>
                </a:lnTo>
                <a:lnTo>
                  <a:pt x="4517765" y="1371355"/>
                </a:lnTo>
                <a:lnTo>
                  <a:pt x="4512990" y="1368865"/>
                </a:lnTo>
                <a:cubicBezTo>
                  <a:pt x="4512990" y="1368865"/>
                  <a:pt x="4514726" y="1364642"/>
                  <a:pt x="4514726" y="1364642"/>
                </a:cubicBezTo>
                <a:close/>
                <a:moveTo>
                  <a:pt x="4336867" y="1363559"/>
                </a:moveTo>
                <a:lnTo>
                  <a:pt x="4343921" y="1368323"/>
                </a:lnTo>
                <a:lnTo>
                  <a:pt x="4344572" y="1372004"/>
                </a:lnTo>
                <a:lnTo>
                  <a:pt x="4341208" y="1371463"/>
                </a:lnTo>
                <a:lnTo>
                  <a:pt x="4339580" y="1373195"/>
                </a:lnTo>
                <a:lnTo>
                  <a:pt x="4342076" y="1377309"/>
                </a:lnTo>
                <a:lnTo>
                  <a:pt x="4345657" y="1376985"/>
                </a:lnTo>
                <a:lnTo>
                  <a:pt x="4346742" y="1381099"/>
                </a:lnTo>
                <a:lnTo>
                  <a:pt x="4343379" y="1382940"/>
                </a:lnTo>
                <a:lnTo>
                  <a:pt x="4339472" y="1379150"/>
                </a:lnTo>
                <a:lnTo>
                  <a:pt x="4334806" y="1377634"/>
                </a:lnTo>
                <a:lnTo>
                  <a:pt x="4332093" y="1374494"/>
                </a:lnTo>
                <a:lnTo>
                  <a:pt x="4329163" y="1372329"/>
                </a:lnTo>
                <a:lnTo>
                  <a:pt x="4331008" y="1369947"/>
                </a:lnTo>
                <a:lnTo>
                  <a:pt x="4336542" y="1371896"/>
                </a:lnTo>
                <a:lnTo>
                  <a:pt x="4337844" y="1369730"/>
                </a:lnTo>
                <a:lnTo>
                  <a:pt x="4334263" y="1367348"/>
                </a:lnTo>
                <a:lnTo>
                  <a:pt x="4334371" y="1363775"/>
                </a:lnTo>
                <a:close/>
                <a:moveTo>
                  <a:pt x="4362695" y="1363127"/>
                </a:moveTo>
                <a:lnTo>
                  <a:pt x="4367252" y="1363776"/>
                </a:lnTo>
                <a:lnTo>
                  <a:pt x="4364540" y="1364859"/>
                </a:lnTo>
                <a:close/>
                <a:moveTo>
                  <a:pt x="3038032" y="1361503"/>
                </a:moveTo>
                <a:lnTo>
                  <a:pt x="3039551" y="1362802"/>
                </a:lnTo>
                <a:lnTo>
                  <a:pt x="3038032" y="1365292"/>
                </a:lnTo>
                <a:lnTo>
                  <a:pt x="3035102" y="1365508"/>
                </a:lnTo>
                <a:lnTo>
                  <a:pt x="3033149" y="1366700"/>
                </a:lnTo>
                <a:lnTo>
                  <a:pt x="3031304" y="1365833"/>
                </a:lnTo>
                <a:lnTo>
                  <a:pt x="3034559" y="1361828"/>
                </a:lnTo>
                <a:close/>
                <a:moveTo>
                  <a:pt x="4373546" y="1361070"/>
                </a:moveTo>
                <a:lnTo>
                  <a:pt x="4378429" y="1365293"/>
                </a:lnTo>
                <a:lnTo>
                  <a:pt x="4375499" y="1367242"/>
                </a:lnTo>
                <a:lnTo>
                  <a:pt x="4373546" y="1364968"/>
                </a:lnTo>
                <a:close/>
                <a:moveTo>
                  <a:pt x="3911374" y="1359121"/>
                </a:moveTo>
                <a:lnTo>
                  <a:pt x="3913111" y="1360420"/>
                </a:lnTo>
                <a:lnTo>
                  <a:pt x="3913219" y="1365725"/>
                </a:lnTo>
                <a:lnTo>
                  <a:pt x="3911700" y="1367457"/>
                </a:lnTo>
                <a:lnTo>
                  <a:pt x="3909204" y="1364859"/>
                </a:lnTo>
                <a:lnTo>
                  <a:pt x="3911049" y="1362152"/>
                </a:lnTo>
                <a:close/>
                <a:moveTo>
                  <a:pt x="4030524" y="1358904"/>
                </a:moveTo>
                <a:cubicBezTo>
                  <a:pt x="4030524" y="1358904"/>
                  <a:pt x="4030524" y="1363559"/>
                  <a:pt x="4030524" y="1364209"/>
                </a:cubicBezTo>
                <a:lnTo>
                  <a:pt x="4026943" y="1361827"/>
                </a:lnTo>
                <a:close/>
                <a:moveTo>
                  <a:pt x="3918101" y="1354248"/>
                </a:moveTo>
                <a:lnTo>
                  <a:pt x="3916365" y="1359662"/>
                </a:lnTo>
                <a:lnTo>
                  <a:pt x="3915063" y="1357388"/>
                </a:lnTo>
                <a:close/>
                <a:moveTo>
                  <a:pt x="4028030" y="1350675"/>
                </a:moveTo>
                <a:lnTo>
                  <a:pt x="4028789" y="1352948"/>
                </a:lnTo>
                <a:lnTo>
                  <a:pt x="4026402" y="1355330"/>
                </a:lnTo>
                <a:lnTo>
                  <a:pt x="4024014" y="1353706"/>
                </a:lnTo>
                <a:close/>
                <a:moveTo>
                  <a:pt x="3035102" y="1350675"/>
                </a:moveTo>
                <a:lnTo>
                  <a:pt x="3038465" y="1351108"/>
                </a:lnTo>
                <a:lnTo>
                  <a:pt x="3046170" y="1355438"/>
                </a:lnTo>
                <a:lnTo>
                  <a:pt x="3042698" y="1357171"/>
                </a:lnTo>
                <a:lnTo>
                  <a:pt x="3039985" y="1357171"/>
                </a:lnTo>
                <a:lnTo>
                  <a:pt x="3035102" y="1352083"/>
                </a:lnTo>
                <a:close/>
                <a:moveTo>
                  <a:pt x="1118155" y="1350134"/>
                </a:moveTo>
                <a:lnTo>
                  <a:pt x="1121628" y="1352407"/>
                </a:lnTo>
                <a:lnTo>
                  <a:pt x="1118372" y="1356197"/>
                </a:lnTo>
                <a:lnTo>
                  <a:pt x="1114249" y="1353057"/>
                </a:lnTo>
                <a:close/>
                <a:moveTo>
                  <a:pt x="2500765" y="1345695"/>
                </a:moveTo>
                <a:lnTo>
                  <a:pt x="2500873" y="1348077"/>
                </a:lnTo>
                <a:lnTo>
                  <a:pt x="2499680" y="1348185"/>
                </a:lnTo>
                <a:close/>
                <a:moveTo>
                  <a:pt x="2503479" y="1345045"/>
                </a:moveTo>
                <a:lnTo>
                  <a:pt x="2504998" y="1348943"/>
                </a:lnTo>
                <a:lnTo>
                  <a:pt x="2504455" y="1353057"/>
                </a:lnTo>
                <a:lnTo>
                  <a:pt x="2502936" y="1353490"/>
                </a:lnTo>
                <a:lnTo>
                  <a:pt x="2503154" y="1351541"/>
                </a:lnTo>
                <a:lnTo>
                  <a:pt x="2502177" y="1347535"/>
                </a:lnTo>
                <a:close/>
                <a:moveTo>
                  <a:pt x="2498270" y="1345045"/>
                </a:moveTo>
                <a:lnTo>
                  <a:pt x="2498921" y="1346128"/>
                </a:lnTo>
                <a:lnTo>
                  <a:pt x="2497619" y="1347318"/>
                </a:lnTo>
                <a:close/>
                <a:moveTo>
                  <a:pt x="1079089" y="1343097"/>
                </a:moveTo>
                <a:lnTo>
                  <a:pt x="1082237" y="1345046"/>
                </a:lnTo>
                <a:lnTo>
                  <a:pt x="1081585" y="1347752"/>
                </a:lnTo>
                <a:lnTo>
                  <a:pt x="1084949" y="1353383"/>
                </a:lnTo>
                <a:lnTo>
                  <a:pt x="1081260" y="1359230"/>
                </a:lnTo>
                <a:lnTo>
                  <a:pt x="1079524" y="1357281"/>
                </a:lnTo>
                <a:lnTo>
                  <a:pt x="1079415" y="1352842"/>
                </a:lnTo>
                <a:lnTo>
                  <a:pt x="1075834" y="1346995"/>
                </a:lnTo>
                <a:lnTo>
                  <a:pt x="1077136" y="1343746"/>
                </a:lnTo>
                <a:close/>
                <a:moveTo>
                  <a:pt x="3008189" y="1342663"/>
                </a:moveTo>
                <a:lnTo>
                  <a:pt x="3010359" y="1342771"/>
                </a:lnTo>
                <a:lnTo>
                  <a:pt x="3010467" y="1345803"/>
                </a:lnTo>
                <a:lnTo>
                  <a:pt x="3008080" y="1349159"/>
                </a:lnTo>
                <a:lnTo>
                  <a:pt x="3007971" y="1350892"/>
                </a:lnTo>
                <a:lnTo>
                  <a:pt x="3006018" y="1350892"/>
                </a:lnTo>
                <a:lnTo>
                  <a:pt x="3005368" y="1346453"/>
                </a:lnTo>
                <a:lnTo>
                  <a:pt x="3007321" y="1344612"/>
                </a:lnTo>
                <a:close/>
                <a:moveTo>
                  <a:pt x="6911425" y="1342555"/>
                </a:moveTo>
                <a:lnTo>
                  <a:pt x="6913921" y="1344720"/>
                </a:lnTo>
                <a:lnTo>
                  <a:pt x="6912944" y="1347644"/>
                </a:lnTo>
                <a:lnTo>
                  <a:pt x="6910123" y="1349702"/>
                </a:lnTo>
                <a:lnTo>
                  <a:pt x="6909255" y="1348510"/>
                </a:lnTo>
                <a:lnTo>
                  <a:pt x="6911100" y="1345478"/>
                </a:lnTo>
                <a:lnTo>
                  <a:pt x="6910666" y="1343746"/>
                </a:lnTo>
                <a:close/>
                <a:moveTo>
                  <a:pt x="6905565" y="1341797"/>
                </a:moveTo>
                <a:lnTo>
                  <a:pt x="6906867" y="1342988"/>
                </a:lnTo>
                <a:lnTo>
                  <a:pt x="6907084" y="1346452"/>
                </a:lnTo>
                <a:lnTo>
                  <a:pt x="6905999" y="1348834"/>
                </a:lnTo>
                <a:lnTo>
                  <a:pt x="6904154" y="1345695"/>
                </a:lnTo>
                <a:lnTo>
                  <a:pt x="6904263" y="1342988"/>
                </a:lnTo>
                <a:close/>
                <a:moveTo>
                  <a:pt x="1087553" y="1339198"/>
                </a:moveTo>
                <a:lnTo>
                  <a:pt x="1089289" y="1341904"/>
                </a:lnTo>
                <a:lnTo>
                  <a:pt x="1088204" y="1344612"/>
                </a:lnTo>
                <a:lnTo>
                  <a:pt x="1086468" y="1342446"/>
                </a:lnTo>
                <a:close/>
                <a:moveTo>
                  <a:pt x="1119891" y="1338440"/>
                </a:moveTo>
                <a:lnTo>
                  <a:pt x="1122279" y="1343962"/>
                </a:lnTo>
                <a:lnTo>
                  <a:pt x="1117830" y="1348293"/>
                </a:lnTo>
                <a:lnTo>
                  <a:pt x="1114357" y="1345803"/>
                </a:lnTo>
                <a:lnTo>
                  <a:pt x="1116962" y="1343420"/>
                </a:lnTo>
                <a:lnTo>
                  <a:pt x="1115876" y="1340172"/>
                </a:lnTo>
                <a:close/>
                <a:moveTo>
                  <a:pt x="1079848" y="1336167"/>
                </a:moveTo>
                <a:lnTo>
                  <a:pt x="1082018" y="1336708"/>
                </a:lnTo>
                <a:lnTo>
                  <a:pt x="1083429" y="1340064"/>
                </a:lnTo>
                <a:lnTo>
                  <a:pt x="1079631" y="1341689"/>
                </a:lnTo>
                <a:lnTo>
                  <a:pt x="1077895" y="1337357"/>
                </a:lnTo>
                <a:close/>
                <a:moveTo>
                  <a:pt x="1114901" y="1329563"/>
                </a:moveTo>
                <a:lnTo>
                  <a:pt x="1118481" y="1334651"/>
                </a:lnTo>
                <a:lnTo>
                  <a:pt x="1114358" y="1338441"/>
                </a:lnTo>
                <a:lnTo>
                  <a:pt x="1114901" y="1334327"/>
                </a:lnTo>
                <a:lnTo>
                  <a:pt x="1112839" y="1331945"/>
                </a:lnTo>
                <a:close/>
                <a:moveTo>
                  <a:pt x="4190152" y="1329237"/>
                </a:moveTo>
                <a:lnTo>
                  <a:pt x="4187874" y="1334542"/>
                </a:lnTo>
                <a:lnTo>
                  <a:pt x="4187765" y="1342337"/>
                </a:lnTo>
                <a:lnTo>
                  <a:pt x="4176914" y="1345910"/>
                </a:lnTo>
                <a:lnTo>
                  <a:pt x="4176588" y="1349916"/>
                </a:lnTo>
                <a:lnTo>
                  <a:pt x="4176588" y="1349917"/>
                </a:lnTo>
                <a:lnTo>
                  <a:pt x="4176914" y="1345911"/>
                </a:lnTo>
                <a:lnTo>
                  <a:pt x="4187765" y="1342339"/>
                </a:lnTo>
                <a:lnTo>
                  <a:pt x="4187874" y="1334543"/>
                </a:lnTo>
                <a:lnTo>
                  <a:pt x="4190153" y="1329238"/>
                </a:lnTo>
                <a:close/>
                <a:moveTo>
                  <a:pt x="7018315" y="1328913"/>
                </a:moveTo>
                <a:lnTo>
                  <a:pt x="7019942" y="1330970"/>
                </a:lnTo>
                <a:lnTo>
                  <a:pt x="7023306" y="1337683"/>
                </a:lnTo>
                <a:lnTo>
                  <a:pt x="7030468" y="1340498"/>
                </a:lnTo>
                <a:lnTo>
                  <a:pt x="7033290" y="1343529"/>
                </a:lnTo>
                <a:lnTo>
                  <a:pt x="7032964" y="1351433"/>
                </a:lnTo>
                <a:lnTo>
                  <a:pt x="7036220" y="1356739"/>
                </a:lnTo>
                <a:lnTo>
                  <a:pt x="7045877" y="1364534"/>
                </a:lnTo>
                <a:lnTo>
                  <a:pt x="7047180" y="1368648"/>
                </a:lnTo>
                <a:lnTo>
                  <a:pt x="7049242" y="1368648"/>
                </a:lnTo>
                <a:lnTo>
                  <a:pt x="7054776" y="1374494"/>
                </a:lnTo>
                <a:lnTo>
                  <a:pt x="7060310" y="1382723"/>
                </a:lnTo>
                <a:lnTo>
                  <a:pt x="7062372" y="1388787"/>
                </a:lnTo>
                <a:lnTo>
                  <a:pt x="7057923" y="1382182"/>
                </a:lnTo>
                <a:lnTo>
                  <a:pt x="7053473" y="1377743"/>
                </a:lnTo>
                <a:lnTo>
                  <a:pt x="7051303" y="1378284"/>
                </a:lnTo>
                <a:lnTo>
                  <a:pt x="7051303" y="1380666"/>
                </a:lnTo>
                <a:lnTo>
                  <a:pt x="7053908" y="1383265"/>
                </a:lnTo>
                <a:lnTo>
                  <a:pt x="7054450" y="1386296"/>
                </a:lnTo>
                <a:lnTo>
                  <a:pt x="7059442" y="1391818"/>
                </a:lnTo>
                <a:lnTo>
                  <a:pt x="7064326" y="1393875"/>
                </a:lnTo>
                <a:lnTo>
                  <a:pt x="7065519" y="1399289"/>
                </a:lnTo>
                <a:lnTo>
                  <a:pt x="7066496" y="1406976"/>
                </a:lnTo>
                <a:lnTo>
                  <a:pt x="7067689" y="1413905"/>
                </a:lnTo>
                <a:lnTo>
                  <a:pt x="7066713" y="1412931"/>
                </a:lnTo>
                <a:lnTo>
                  <a:pt x="7065519" y="1416828"/>
                </a:lnTo>
                <a:lnTo>
                  <a:pt x="7066170" y="1421917"/>
                </a:lnTo>
                <a:lnTo>
                  <a:pt x="7068557" y="1425599"/>
                </a:lnTo>
                <a:lnTo>
                  <a:pt x="7070945" y="1432095"/>
                </a:lnTo>
                <a:lnTo>
                  <a:pt x="7075285" y="1437291"/>
                </a:lnTo>
                <a:lnTo>
                  <a:pt x="7079734" y="1439999"/>
                </a:lnTo>
                <a:lnTo>
                  <a:pt x="7081146" y="1443463"/>
                </a:lnTo>
                <a:lnTo>
                  <a:pt x="7080169" y="1447361"/>
                </a:lnTo>
                <a:lnTo>
                  <a:pt x="7081146" y="1449309"/>
                </a:lnTo>
                <a:lnTo>
                  <a:pt x="7084076" y="1449634"/>
                </a:lnTo>
                <a:lnTo>
                  <a:pt x="7084293" y="1447577"/>
                </a:lnTo>
                <a:lnTo>
                  <a:pt x="7087331" y="1448768"/>
                </a:lnTo>
                <a:lnTo>
                  <a:pt x="7090152" y="1453207"/>
                </a:lnTo>
                <a:lnTo>
                  <a:pt x="7090152" y="1458187"/>
                </a:lnTo>
                <a:lnTo>
                  <a:pt x="7093516" y="1460570"/>
                </a:lnTo>
                <a:lnTo>
                  <a:pt x="7097857" y="1468907"/>
                </a:lnTo>
                <a:lnTo>
                  <a:pt x="7106321" y="1480058"/>
                </a:lnTo>
                <a:lnTo>
                  <a:pt x="7107841" y="1485905"/>
                </a:lnTo>
                <a:lnTo>
                  <a:pt x="7114460" y="1497598"/>
                </a:lnTo>
                <a:lnTo>
                  <a:pt x="7121514" y="1506043"/>
                </a:lnTo>
                <a:lnTo>
                  <a:pt x="7122165" y="1510699"/>
                </a:lnTo>
                <a:lnTo>
                  <a:pt x="7125420" y="1512323"/>
                </a:lnTo>
                <a:lnTo>
                  <a:pt x="7127482" y="1517845"/>
                </a:lnTo>
                <a:lnTo>
                  <a:pt x="7132040" y="1526290"/>
                </a:lnTo>
                <a:lnTo>
                  <a:pt x="7134753" y="1528672"/>
                </a:lnTo>
                <a:lnTo>
                  <a:pt x="7134753" y="1531812"/>
                </a:lnTo>
                <a:lnTo>
                  <a:pt x="7138876" y="1537659"/>
                </a:lnTo>
                <a:lnTo>
                  <a:pt x="7142675" y="1544155"/>
                </a:lnTo>
                <a:lnTo>
                  <a:pt x="7149620" y="1549135"/>
                </a:lnTo>
                <a:lnTo>
                  <a:pt x="7154394" y="1555198"/>
                </a:lnTo>
                <a:lnTo>
                  <a:pt x="7156673" y="1561369"/>
                </a:lnTo>
                <a:lnTo>
                  <a:pt x="7154069" y="1560179"/>
                </a:lnTo>
                <a:lnTo>
                  <a:pt x="7149728" y="1553357"/>
                </a:lnTo>
                <a:lnTo>
                  <a:pt x="7145279" y="1550543"/>
                </a:lnTo>
                <a:lnTo>
                  <a:pt x="7140287" y="1548702"/>
                </a:lnTo>
                <a:lnTo>
                  <a:pt x="7137031" y="1541881"/>
                </a:lnTo>
                <a:lnTo>
                  <a:pt x="7131931" y="1538524"/>
                </a:lnTo>
                <a:lnTo>
                  <a:pt x="7126289" y="1537767"/>
                </a:lnTo>
                <a:lnTo>
                  <a:pt x="7120754" y="1539066"/>
                </a:lnTo>
                <a:lnTo>
                  <a:pt x="7118041" y="1538524"/>
                </a:lnTo>
                <a:lnTo>
                  <a:pt x="7115762" y="1538849"/>
                </a:lnTo>
                <a:lnTo>
                  <a:pt x="7115871" y="1541556"/>
                </a:lnTo>
                <a:lnTo>
                  <a:pt x="7115003" y="1545129"/>
                </a:lnTo>
                <a:lnTo>
                  <a:pt x="7112832" y="1548269"/>
                </a:lnTo>
                <a:lnTo>
                  <a:pt x="7116088" y="1554332"/>
                </a:lnTo>
                <a:lnTo>
                  <a:pt x="7116522" y="1558988"/>
                </a:lnTo>
                <a:lnTo>
                  <a:pt x="7115437" y="1567000"/>
                </a:lnTo>
                <a:lnTo>
                  <a:pt x="7118366" y="1571871"/>
                </a:lnTo>
                <a:lnTo>
                  <a:pt x="7119234" y="1581075"/>
                </a:lnTo>
                <a:lnTo>
                  <a:pt x="7119018" y="1588870"/>
                </a:lnTo>
                <a:lnTo>
                  <a:pt x="7120754" y="1594717"/>
                </a:lnTo>
                <a:lnTo>
                  <a:pt x="7124444" y="1600888"/>
                </a:lnTo>
                <a:lnTo>
                  <a:pt x="7126505" y="1609117"/>
                </a:lnTo>
                <a:lnTo>
                  <a:pt x="7130304" y="1613772"/>
                </a:lnTo>
                <a:lnTo>
                  <a:pt x="7133885" y="1614639"/>
                </a:lnTo>
                <a:lnTo>
                  <a:pt x="7139744" y="1619836"/>
                </a:lnTo>
                <a:lnTo>
                  <a:pt x="7142891" y="1625358"/>
                </a:lnTo>
                <a:lnTo>
                  <a:pt x="7143868" y="1632395"/>
                </a:lnTo>
                <a:lnTo>
                  <a:pt x="7150379" y="1636509"/>
                </a:lnTo>
                <a:lnTo>
                  <a:pt x="7153527" y="1636509"/>
                </a:lnTo>
                <a:lnTo>
                  <a:pt x="7156999" y="1634777"/>
                </a:lnTo>
                <a:lnTo>
                  <a:pt x="7158735" y="1638674"/>
                </a:lnTo>
                <a:lnTo>
                  <a:pt x="7159929" y="1645062"/>
                </a:lnTo>
                <a:lnTo>
                  <a:pt x="7164378" y="1648852"/>
                </a:lnTo>
                <a:lnTo>
                  <a:pt x="7164378" y="1654374"/>
                </a:lnTo>
                <a:lnTo>
                  <a:pt x="7164052" y="1659354"/>
                </a:lnTo>
                <a:lnTo>
                  <a:pt x="7165029" y="1661953"/>
                </a:lnTo>
                <a:lnTo>
                  <a:pt x="7164921" y="1665201"/>
                </a:lnTo>
                <a:lnTo>
                  <a:pt x="7162099" y="1662278"/>
                </a:lnTo>
                <a:lnTo>
                  <a:pt x="7161448" y="1657947"/>
                </a:lnTo>
                <a:lnTo>
                  <a:pt x="7156456" y="1652641"/>
                </a:lnTo>
                <a:lnTo>
                  <a:pt x="7156131" y="1649068"/>
                </a:lnTo>
                <a:lnTo>
                  <a:pt x="7157324" y="1647336"/>
                </a:lnTo>
                <a:lnTo>
                  <a:pt x="7155805" y="1644954"/>
                </a:lnTo>
                <a:lnTo>
                  <a:pt x="7153527" y="1645388"/>
                </a:lnTo>
                <a:lnTo>
                  <a:pt x="7152550" y="1647661"/>
                </a:lnTo>
                <a:lnTo>
                  <a:pt x="7143217" y="1648527"/>
                </a:lnTo>
                <a:lnTo>
                  <a:pt x="7140396" y="1646578"/>
                </a:lnTo>
                <a:lnTo>
                  <a:pt x="7140396" y="1643222"/>
                </a:lnTo>
                <a:lnTo>
                  <a:pt x="7138225" y="1642139"/>
                </a:lnTo>
                <a:lnTo>
                  <a:pt x="7133885" y="1645929"/>
                </a:lnTo>
                <a:lnTo>
                  <a:pt x="7132800" y="1653724"/>
                </a:lnTo>
                <a:lnTo>
                  <a:pt x="7134427" y="1659138"/>
                </a:lnTo>
                <a:lnTo>
                  <a:pt x="7136489" y="1663685"/>
                </a:lnTo>
                <a:lnTo>
                  <a:pt x="7135621" y="1668774"/>
                </a:lnTo>
                <a:lnTo>
                  <a:pt x="7136272" y="1674188"/>
                </a:lnTo>
                <a:lnTo>
                  <a:pt x="7130304" y="1670506"/>
                </a:lnTo>
                <a:lnTo>
                  <a:pt x="7126831" y="1663361"/>
                </a:lnTo>
                <a:lnTo>
                  <a:pt x="7121839" y="1659679"/>
                </a:lnTo>
                <a:lnTo>
                  <a:pt x="7119777" y="1653724"/>
                </a:lnTo>
                <a:lnTo>
                  <a:pt x="7120429" y="1643655"/>
                </a:lnTo>
                <a:lnTo>
                  <a:pt x="7121839" y="1636184"/>
                </a:lnTo>
                <a:lnTo>
                  <a:pt x="7121079" y="1632503"/>
                </a:lnTo>
                <a:lnTo>
                  <a:pt x="7114786" y="1624275"/>
                </a:lnTo>
                <a:lnTo>
                  <a:pt x="7113592" y="1619294"/>
                </a:lnTo>
                <a:lnTo>
                  <a:pt x="7109577" y="1611932"/>
                </a:lnTo>
                <a:lnTo>
                  <a:pt x="7108383" y="1604028"/>
                </a:lnTo>
                <a:lnTo>
                  <a:pt x="7109252" y="1594067"/>
                </a:lnTo>
                <a:lnTo>
                  <a:pt x="7105562" y="1587463"/>
                </a:lnTo>
                <a:lnTo>
                  <a:pt x="7105562" y="1582807"/>
                </a:lnTo>
                <a:lnTo>
                  <a:pt x="7096880" y="1571871"/>
                </a:lnTo>
                <a:lnTo>
                  <a:pt x="7092214" y="1567757"/>
                </a:lnTo>
                <a:lnTo>
                  <a:pt x="7091455" y="1561369"/>
                </a:lnTo>
                <a:lnTo>
                  <a:pt x="7092540" y="1557905"/>
                </a:lnTo>
                <a:lnTo>
                  <a:pt x="7088742" y="1548594"/>
                </a:lnTo>
                <a:lnTo>
                  <a:pt x="7087657" y="1540690"/>
                </a:lnTo>
                <a:lnTo>
                  <a:pt x="7088416" y="1536143"/>
                </a:lnTo>
                <a:lnTo>
                  <a:pt x="7086680" y="1533002"/>
                </a:lnTo>
                <a:lnTo>
                  <a:pt x="7086029" y="1524233"/>
                </a:lnTo>
                <a:lnTo>
                  <a:pt x="7083533" y="1517737"/>
                </a:lnTo>
                <a:lnTo>
                  <a:pt x="7082340" y="1512323"/>
                </a:lnTo>
                <a:lnTo>
                  <a:pt x="7077021" y="1503986"/>
                </a:lnTo>
                <a:lnTo>
                  <a:pt x="7076479" y="1500305"/>
                </a:lnTo>
                <a:lnTo>
                  <a:pt x="7077890" y="1498898"/>
                </a:lnTo>
                <a:lnTo>
                  <a:pt x="7073441" y="1494025"/>
                </a:lnTo>
                <a:lnTo>
                  <a:pt x="7069426" y="1491210"/>
                </a:lnTo>
                <a:lnTo>
                  <a:pt x="7069426" y="1486446"/>
                </a:lnTo>
                <a:lnTo>
                  <a:pt x="7065627" y="1480058"/>
                </a:lnTo>
                <a:lnTo>
                  <a:pt x="7066170" y="1473887"/>
                </a:lnTo>
                <a:lnTo>
                  <a:pt x="7064651" y="1465983"/>
                </a:lnTo>
                <a:lnTo>
                  <a:pt x="7059117" y="1457863"/>
                </a:lnTo>
                <a:lnTo>
                  <a:pt x="7055102" y="1456456"/>
                </a:lnTo>
                <a:lnTo>
                  <a:pt x="7043382" y="1444979"/>
                </a:lnTo>
                <a:lnTo>
                  <a:pt x="7045661" y="1443463"/>
                </a:lnTo>
                <a:lnTo>
                  <a:pt x="7045117" y="1441189"/>
                </a:lnTo>
                <a:lnTo>
                  <a:pt x="7040018" y="1438483"/>
                </a:lnTo>
                <a:lnTo>
                  <a:pt x="7036220" y="1430904"/>
                </a:lnTo>
                <a:lnTo>
                  <a:pt x="7033072" y="1419536"/>
                </a:lnTo>
                <a:lnTo>
                  <a:pt x="7032096" y="1411956"/>
                </a:lnTo>
                <a:lnTo>
                  <a:pt x="7030360" y="1409791"/>
                </a:lnTo>
                <a:lnTo>
                  <a:pt x="7029817" y="1399614"/>
                </a:lnTo>
                <a:lnTo>
                  <a:pt x="7025694" y="1392035"/>
                </a:lnTo>
                <a:lnTo>
                  <a:pt x="7020810" y="1386188"/>
                </a:lnTo>
                <a:lnTo>
                  <a:pt x="7019508" y="1380558"/>
                </a:lnTo>
                <a:lnTo>
                  <a:pt x="7015167" y="1375686"/>
                </a:lnTo>
                <a:lnTo>
                  <a:pt x="7017772" y="1369298"/>
                </a:lnTo>
                <a:lnTo>
                  <a:pt x="7020810" y="1366374"/>
                </a:lnTo>
                <a:lnTo>
                  <a:pt x="7023740" y="1370380"/>
                </a:lnTo>
                <a:lnTo>
                  <a:pt x="7027430" y="1371030"/>
                </a:lnTo>
                <a:lnTo>
                  <a:pt x="7031228" y="1368865"/>
                </a:lnTo>
                <a:lnTo>
                  <a:pt x="7030034" y="1363992"/>
                </a:lnTo>
                <a:lnTo>
                  <a:pt x="7026344" y="1363884"/>
                </a:lnTo>
                <a:lnTo>
                  <a:pt x="7025476" y="1360745"/>
                </a:lnTo>
                <a:lnTo>
                  <a:pt x="7028732" y="1359337"/>
                </a:lnTo>
                <a:lnTo>
                  <a:pt x="7030686" y="1357172"/>
                </a:lnTo>
                <a:lnTo>
                  <a:pt x="7029492" y="1353815"/>
                </a:lnTo>
                <a:lnTo>
                  <a:pt x="7026670" y="1354249"/>
                </a:lnTo>
                <a:lnTo>
                  <a:pt x="7024500" y="1356305"/>
                </a:lnTo>
                <a:lnTo>
                  <a:pt x="7025151" y="1350892"/>
                </a:lnTo>
                <a:lnTo>
                  <a:pt x="7022763" y="1347102"/>
                </a:lnTo>
                <a:lnTo>
                  <a:pt x="7014517" y="1342339"/>
                </a:lnTo>
                <a:lnTo>
                  <a:pt x="7008331" y="1335842"/>
                </a:lnTo>
                <a:lnTo>
                  <a:pt x="7012237" y="1335409"/>
                </a:lnTo>
                <a:lnTo>
                  <a:pt x="7015710" y="1337899"/>
                </a:lnTo>
                <a:lnTo>
                  <a:pt x="7018423" y="1336817"/>
                </a:lnTo>
                <a:lnTo>
                  <a:pt x="7018315" y="1333352"/>
                </a:lnTo>
                <a:lnTo>
                  <a:pt x="7016579" y="1331295"/>
                </a:lnTo>
                <a:close/>
                <a:moveTo>
                  <a:pt x="1078872" y="1328479"/>
                </a:moveTo>
                <a:lnTo>
                  <a:pt x="1079089" y="1333785"/>
                </a:lnTo>
                <a:lnTo>
                  <a:pt x="1075834" y="1332052"/>
                </a:lnTo>
                <a:close/>
                <a:moveTo>
                  <a:pt x="3796562" y="1327397"/>
                </a:moveTo>
                <a:lnTo>
                  <a:pt x="3800360" y="1329238"/>
                </a:lnTo>
                <a:lnTo>
                  <a:pt x="3799817" y="1331728"/>
                </a:lnTo>
                <a:lnTo>
                  <a:pt x="3800360" y="1336493"/>
                </a:lnTo>
                <a:close/>
                <a:moveTo>
                  <a:pt x="2607" y="1325448"/>
                </a:moveTo>
                <a:lnTo>
                  <a:pt x="4668" y="1328697"/>
                </a:lnTo>
                <a:lnTo>
                  <a:pt x="0" y="1330212"/>
                </a:lnTo>
                <a:close/>
                <a:moveTo>
                  <a:pt x="1072361" y="1324906"/>
                </a:moveTo>
                <a:lnTo>
                  <a:pt x="1075942" y="1326314"/>
                </a:lnTo>
                <a:lnTo>
                  <a:pt x="1071819" y="1331078"/>
                </a:lnTo>
                <a:close/>
                <a:moveTo>
                  <a:pt x="3066680" y="1322742"/>
                </a:moveTo>
                <a:lnTo>
                  <a:pt x="3067547" y="1324907"/>
                </a:lnTo>
                <a:lnTo>
                  <a:pt x="3065703" y="1325991"/>
                </a:lnTo>
                <a:lnTo>
                  <a:pt x="3062448" y="1323825"/>
                </a:lnTo>
                <a:lnTo>
                  <a:pt x="3064401" y="1322850"/>
                </a:lnTo>
                <a:close/>
                <a:moveTo>
                  <a:pt x="6883537" y="1320576"/>
                </a:moveTo>
                <a:lnTo>
                  <a:pt x="6884622" y="1323499"/>
                </a:lnTo>
                <a:lnTo>
                  <a:pt x="6882777" y="1326314"/>
                </a:lnTo>
                <a:lnTo>
                  <a:pt x="6884187" y="1329670"/>
                </a:lnTo>
                <a:lnTo>
                  <a:pt x="6882560" y="1330862"/>
                </a:lnTo>
                <a:lnTo>
                  <a:pt x="6879847" y="1329129"/>
                </a:lnTo>
                <a:lnTo>
                  <a:pt x="6878327" y="1330753"/>
                </a:lnTo>
                <a:lnTo>
                  <a:pt x="6878327" y="1331945"/>
                </a:lnTo>
                <a:lnTo>
                  <a:pt x="6876591" y="1332811"/>
                </a:lnTo>
                <a:lnTo>
                  <a:pt x="6874638" y="1329454"/>
                </a:lnTo>
                <a:lnTo>
                  <a:pt x="6874747" y="1325556"/>
                </a:lnTo>
                <a:lnTo>
                  <a:pt x="6879413" y="1323824"/>
                </a:lnTo>
                <a:lnTo>
                  <a:pt x="6882126" y="1320792"/>
                </a:lnTo>
                <a:close/>
                <a:moveTo>
                  <a:pt x="2955233" y="1320034"/>
                </a:moveTo>
                <a:lnTo>
                  <a:pt x="2958814" y="1320900"/>
                </a:lnTo>
                <a:lnTo>
                  <a:pt x="2960224" y="1324364"/>
                </a:lnTo>
                <a:lnTo>
                  <a:pt x="2956860" y="1325772"/>
                </a:lnTo>
                <a:lnTo>
                  <a:pt x="2955775" y="1323390"/>
                </a:lnTo>
                <a:lnTo>
                  <a:pt x="2953822" y="1322957"/>
                </a:lnTo>
                <a:lnTo>
                  <a:pt x="2953280" y="1321333"/>
                </a:lnTo>
                <a:close/>
                <a:moveTo>
                  <a:pt x="2980952" y="1317436"/>
                </a:moveTo>
                <a:lnTo>
                  <a:pt x="2982905" y="1318736"/>
                </a:lnTo>
                <a:lnTo>
                  <a:pt x="2982688" y="1321118"/>
                </a:lnTo>
                <a:lnTo>
                  <a:pt x="2979758" y="1321118"/>
                </a:lnTo>
                <a:lnTo>
                  <a:pt x="2979107" y="1318519"/>
                </a:lnTo>
                <a:close/>
                <a:moveTo>
                  <a:pt x="4026293" y="1317328"/>
                </a:moveTo>
                <a:lnTo>
                  <a:pt x="4031827" y="1319926"/>
                </a:lnTo>
                <a:lnTo>
                  <a:pt x="4027270" y="1320793"/>
                </a:lnTo>
                <a:close/>
                <a:moveTo>
                  <a:pt x="6895363" y="1317111"/>
                </a:moveTo>
                <a:lnTo>
                  <a:pt x="6898728" y="1318843"/>
                </a:lnTo>
                <a:lnTo>
                  <a:pt x="6903828" y="1317869"/>
                </a:lnTo>
                <a:lnTo>
                  <a:pt x="6905130" y="1318843"/>
                </a:lnTo>
                <a:lnTo>
                  <a:pt x="6904804" y="1320684"/>
                </a:lnTo>
                <a:lnTo>
                  <a:pt x="6902851" y="1323715"/>
                </a:lnTo>
                <a:lnTo>
                  <a:pt x="6903828" y="1325015"/>
                </a:lnTo>
                <a:lnTo>
                  <a:pt x="6906324" y="1323391"/>
                </a:lnTo>
                <a:lnTo>
                  <a:pt x="6907192" y="1321225"/>
                </a:lnTo>
                <a:lnTo>
                  <a:pt x="6911099" y="1321225"/>
                </a:lnTo>
                <a:lnTo>
                  <a:pt x="6910230" y="1323391"/>
                </a:lnTo>
                <a:lnTo>
                  <a:pt x="6907517" y="1325989"/>
                </a:lnTo>
                <a:lnTo>
                  <a:pt x="6907410" y="1329021"/>
                </a:lnTo>
                <a:lnTo>
                  <a:pt x="6909037" y="1331511"/>
                </a:lnTo>
                <a:lnTo>
                  <a:pt x="6907626" y="1334326"/>
                </a:lnTo>
                <a:lnTo>
                  <a:pt x="6905021" y="1336925"/>
                </a:lnTo>
                <a:lnTo>
                  <a:pt x="6901115" y="1335842"/>
                </a:lnTo>
                <a:lnTo>
                  <a:pt x="6898076" y="1332486"/>
                </a:lnTo>
                <a:lnTo>
                  <a:pt x="6895906" y="1331944"/>
                </a:lnTo>
                <a:lnTo>
                  <a:pt x="6894496" y="1333460"/>
                </a:lnTo>
                <a:lnTo>
                  <a:pt x="6893845" y="1335733"/>
                </a:lnTo>
                <a:lnTo>
                  <a:pt x="6892326" y="1336383"/>
                </a:lnTo>
                <a:lnTo>
                  <a:pt x="6888527" y="1329995"/>
                </a:lnTo>
                <a:lnTo>
                  <a:pt x="6888527" y="1326422"/>
                </a:lnTo>
                <a:lnTo>
                  <a:pt x="6891566" y="1323823"/>
                </a:lnTo>
                <a:lnTo>
                  <a:pt x="6892868" y="1319493"/>
                </a:lnTo>
                <a:close/>
                <a:moveTo>
                  <a:pt x="2994407" y="1317111"/>
                </a:moveTo>
                <a:lnTo>
                  <a:pt x="2995058" y="1318627"/>
                </a:lnTo>
                <a:lnTo>
                  <a:pt x="2992129" y="1320359"/>
                </a:lnTo>
                <a:lnTo>
                  <a:pt x="2989308" y="1320468"/>
                </a:lnTo>
                <a:lnTo>
                  <a:pt x="2988331" y="1319601"/>
                </a:lnTo>
                <a:lnTo>
                  <a:pt x="2990935" y="1317327"/>
                </a:lnTo>
                <a:close/>
                <a:moveTo>
                  <a:pt x="3799276" y="1316354"/>
                </a:moveTo>
                <a:lnTo>
                  <a:pt x="3800795" y="1318627"/>
                </a:lnTo>
                <a:lnTo>
                  <a:pt x="3800578" y="1321876"/>
                </a:lnTo>
                <a:lnTo>
                  <a:pt x="3797106" y="1317762"/>
                </a:lnTo>
                <a:close/>
                <a:moveTo>
                  <a:pt x="6078" y="1315271"/>
                </a:moveTo>
                <a:lnTo>
                  <a:pt x="10526" y="1317112"/>
                </a:lnTo>
                <a:lnTo>
                  <a:pt x="5643" y="1320902"/>
                </a:lnTo>
                <a:lnTo>
                  <a:pt x="2931" y="1317545"/>
                </a:lnTo>
                <a:close/>
                <a:moveTo>
                  <a:pt x="135104" y="1313539"/>
                </a:moveTo>
                <a:lnTo>
                  <a:pt x="146605" y="1315812"/>
                </a:lnTo>
                <a:lnTo>
                  <a:pt x="149861" y="1314947"/>
                </a:lnTo>
                <a:lnTo>
                  <a:pt x="153551" y="1317653"/>
                </a:lnTo>
                <a:lnTo>
                  <a:pt x="147910" y="1319061"/>
                </a:lnTo>
                <a:lnTo>
                  <a:pt x="137057" y="1316354"/>
                </a:lnTo>
                <a:lnTo>
                  <a:pt x="133150" y="1317436"/>
                </a:lnTo>
                <a:lnTo>
                  <a:pt x="130654" y="1314838"/>
                </a:lnTo>
                <a:close/>
                <a:moveTo>
                  <a:pt x="1135953" y="1311481"/>
                </a:moveTo>
                <a:lnTo>
                  <a:pt x="1137798" y="1316461"/>
                </a:lnTo>
                <a:lnTo>
                  <a:pt x="1135953" y="1321766"/>
                </a:lnTo>
                <a:lnTo>
                  <a:pt x="1137472" y="1325772"/>
                </a:lnTo>
                <a:lnTo>
                  <a:pt x="1131287" y="1334650"/>
                </a:lnTo>
                <a:lnTo>
                  <a:pt x="1124016" y="1340497"/>
                </a:lnTo>
                <a:lnTo>
                  <a:pt x="1121846" y="1338115"/>
                </a:lnTo>
                <a:lnTo>
                  <a:pt x="1124884" y="1332810"/>
                </a:lnTo>
                <a:lnTo>
                  <a:pt x="1129659" y="1329345"/>
                </a:lnTo>
                <a:lnTo>
                  <a:pt x="1129659" y="1327288"/>
                </a:lnTo>
                <a:lnTo>
                  <a:pt x="1120869" y="1331619"/>
                </a:lnTo>
                <a:lnTo>
                  <a:pt x="1119350" y="1328804"/>
                </a:lnTo>
                <a:lnTo>
                  <a:pt x="1123365" y="1324907"/>
                </a:lnTo>
                <a:lnTo>
                  <a:pt x="1122931" y="1322633"/>
                </a:lnTo>
                <a:lnTo>
                  <a:pt x="1125426" y="1316136"/>
                </a:lnTo>
                <a:lnTo>
                  <a:pt x="1130202" y="1314079"/>
                </a:lnTo>
                <a:lnTo>
                  <a:pt x="1130419" y="1311697"/>
                </a:lnTo>
                <a:close/>
                <a:moveTo>
                  <a:pt x="4027813" y="1309099"/>
                </a:moveTo>
                <a:lnTo>
                  <a:pt x="4032262" y="1312022"/>
                </a:lnTo>
                <a:lnTo>
                  <a:pt x="4030091" y="1314946"/>
                </a:lnTo>
                <a:close/>
                <a:moveTo>
                  <a:pt x="4174643" y="1308019"/>
                </a:moveTo>
                <a:lnTo>
                  <a:pt x="4174960" y="1316678"/>
                </a:lnTo>
                <a:lnTo>
                  <a:pt x="4174961" y="1316678"/>
                </a:lnTo>
                <a:close/>
                <a:moveTo>
                  <a:pt x="1085058" y="1306826"/>
                </a:moveTo>
                <a:lnTo>
                  <a:pt x="1086794" y="1309749"/>
                </a:lnTo>
                <a:lnTo>
                  <a:pt x="1084407" y="1311481"/>
                </a:lnTo>
                <a:lnTo>
                  <a:pt x="1082345" y="1308775"/>
                </a:lnTo>
                <a:close/>
                <a:moveTo>
                  <a:pt x="65760" y="1306826"/>
                </a:moveTo>
                <a:lnTo>
                  <a:pt x="68040" y="1307584"/>
                </a:lnTo>
                <a:lnTo>
                  <a:pt x="69775" y="1313755"/>
                </a:lnTo>
                <a:lnTo>
                  <a:pt x="64026" y="1318845"/>
                </a:lnTo>
                <a:lnTo>
                  <a:pt x="58925" y="1318845"/>
                </a:lnTo>
                <a:lnTo>
                  <a:pt x="61745" y="1312998"/>
                </a:lnTo>
                <a:lnTo>
                  <a:pt x="64242" y="1312132"/>
                </a:lnTo>
                <a:close/>
                <a:moveTo>
                  <a:pt x="54910" y="1305634"/>
                </a:moveTo>
                <a:lnTo>
                  <a:pt x="56539" y="1306825"/>
                </a:lnTo>
                <a:lnTo>
                  <a:pt x="53932" y="1310723"/>
                </a:lnTo>
                <a:lnTo>
                  <a:pt x="53392" y="1315054"/>
                </a:lnTo>
                <a:lnTo>
                  <a:pt x="47639" y="1318626"/>
                </a:lnTo>
                <a:lnTo>
                  <a:pt x="44927" y="1317111"/>
                </a:lnTo>
                <a:lnTo>
                  <a:pt x="48834" y="1314187"/>
                </a:lnTo>
                <a:lnTo>
                  <a:pt x="50571" y="1309965"/>
                </a:lnTo>
                <a:close/>
                <a:moveTo>
                  <a:pt x="170263" y="1304769"/>
                </a:moveTo>
                <a:lnTo>
                  <a:pt x="174711" y="1307692"/>
                </a:lnTo>
                <a:lnTo>
                  <a:pt x="169503" y="1310291"/>
                </a:lnTo>
                <a:lnTo>
                  <a:pt x="162775" y="1310291"/>
                </a:lnTo>
                <a:lnTo>
                  <a:pt x="164402" y="1305418"/>
                </a:lnTo>
                <a:close/>
                <a:moveTo>
                  <a:pt x="1157981" y="1304444"/>
                </a:moveTo>
                <a:lnTo>
                  <a:pt x="1157981" y="1304444"/>
                </a:lnTo>
                <a:lnTo>
                  <a:pt x="1158516" y="1304700"/>
                </a:lnTo>
                <a:close/>
                <a:moveTo>
                  <a:pt x="3787882" y="1302820"/>
                </a:moveTo>
                <a:lnTo>
                  <a:pt x="3792222" y="1308234"/>
                </a:lnTo>
                <a:lnTo>
                  <a:pt x="3788533" y="1307042"/>
                </a:lnTo>
                <a:close/>
                <a:moveTo>
                  <a:pt x="15843" y="1302387"/>
                </a:moveTo>
                <a:lnTo>
                  <a:pt x="15194" y="1307151"/>
                </a:lnTo>
                <a:lnTo>
                  <a:pt x="12046" y="1304119"/>
                </a:lnTo>
                <a:close/>
                <a:moveTo>
                  <a:pt x="33099" y="1301304"/>
                </a:moveTo>
                <a:lnTo>
                  <a:pt x="36678" y="1301737"/>
                </a:lnTo>
                <a:lnTo>
                  <a:pt x="42214" y="1307692"/>
                </a:lnTo>
                <a:lnTo>
                  <a:pt x="39283" y="1309316"/>
                </a:lnTo>
                <a:lnTo>
                  <a:pt x="36354" y="1312997"/>
                </a:lnTo>
                <a:lnTo>
                  <a:pt x="32773" y="1313863"/>
                </a:lnTo>
                <a:lnTo>
                  <a:pt x="31469" y="1310182"/>
                </a:lnTo>
                <a:lnTo>
                  <a:pt x="35487" y="1309208"/>
                </a:lnTo>
                <a:lnTo>
                  <a:pt x="30494" y="1306934"/>
                </a:lnTo>
                <a:lnTo>
                  <a:pt x="29517" y="1304335"/>
                </a:lnTo>
                <a:close/>
                <a:moveTo>
                  <a:pt x="199019" y="1300005"/>
                </a:moveTo>
                <a:lnTo>
                  <a:pt x="201081" y="1305960"/>
                </a:lnTo>
                <a:lnTo>
                  <a:pt x="196958" y="1304444"/>
                </a:lnTo>
                <a:close/>
                <a:moveTo>
                  <a:pt x="4041266" y="1299463"/>
                </a:moveTo>
                <a:lnTo>
                  <a:pt x="4042677" y="1303252"/>
                </a:lnTo>
                <a:lnTo>
                  <a:pt x="4038120" y="1303361"/>
                </a:lnTo>
                <a:close/>
                <a:moveTo>
                  <a:pt x="126312" y="1299247"/>
                </a:moveTo>
                <a:lnTo>
                  <a:pt x="129676" y="1300438"/>
                </a:lnTo>
                <a:lnTo>
                  <a:pt x="130546" y="1305418"/>
                </a:lnTo>
                <a:lnTo>
                  <a:pt x="127074" y="1307691"/>
                </a:lnTo>
                <a:lnTo>
                  <a:pt x="127290" y="1311805"/>
                </a:lnTo>
                <a:lnTo>
                  <a:pt x="121538" y="1311048"/>
                </a:lnTo>
                <a:lnTo>
                  <a:pt x="115789" y="1313213"/>
                </a:lnTo>
                <a:lnTo>
                  <a:pt x="110796" y="1312672"/>
                </a:lnTo>
                <a:lnTo>
                  <a:pt x="108299" y="1313646"/>
                </a:lnTo>
                <a:lnTo>
                  <a:pt x="104828" y="1311048"/>
                </a:lnTo>
                <a:lnTo>
                  <a:pt x="106238" y="1308774"/>
                </a:lnTo>
                <a:lnTo>
                  <a:pt x="110037" y="1309857"/>
                </a:lnTo>
                <a:lnTo>
                  <a:pt x="113182" y="1309965"/>
                </a:lnTo>
                <a:lnTo>
                  <a:pt x="116764" y="1306393"/>
                </a:lnTo>
                <a:lnTo>
                  <a:pt x="119150" y="1307367"/>
                </a:lnTo>
                <a:lnTo>
                  <a:pt x="121430" y="1306067"/>
                </a:lnTo>
                <a:lnTo>
                  <a:pt x="121646" y="1302387"/>
                </a:lnTo>
                <a:close/>
                <a:moveTo>
                  <a:pt x="1116745" y="1298922"/>
                </a:moveTo>
                <a:lnTo>
                  <a:pt x="1119349" y="1299571"/>
                </a:lnTo>
                <a:lnTo>
                  <a:pt x="1119349" y="1304660"/>
                </a:lnTo>
                <a:lnTo>
                  <a:pt x="1115876" y="1306826"/>
                </a:lnTo>
                <a:lnTo>
                  <a:pt x="1113381" y="1306176"/>
                </a:lnTo>
                <a:close/>
                <a:moveTo>
                  <a:pt x="1069106" y="1298922"/>
                </a:moveTo>
                <a:lnTo>
                  <a:pt x="1072470" y="1300654"/>
                </a:lnTo>
                <a:lnTo>
                  <a:pt x="1070083" y="1302712"/>
                </a:lnTo>
                <a:close/>
                <a:moveTo>
                  <a:pt x="4176262" y="1298922"/>
                </a:moveTo>
                <a:lnTo>
                  <a:pt x="4174635" y="1307799"/>
                </a:lnTo>
                <a:lnTo>
                  <a:pt x="4174635" y="1307800"/>
                </a:lnTo>
                <a:lnTo>
                  <a:pt x="4176262" y="1298922"/>
                </a:lnTo>
                <a:close/>
                <a:moveTo>
                  <a:pt x="3792873" y="1298706"/>
                </a:moveTo>
                <a:lnTo>
                  <a:pt x="3798842" y="1308667"/>
                </a:lnTo>
                <a:lnTo>
                  <a:pt x="3803399" y="1312132"/>
                </a:lnTo>
                <a:lnTo>
                  <a:pt x="3799492" y="1312023"/>
                </a:lnTo>
                <a:lnTo>
                  <a:pt x="3793199" y="1305743"/>
                </a:lnTo>
                <a:lnTo>
                  <a:pt x="3791354" y="1300655"/>
                </a:lnTo>
                <a:close/>
                <a:moveTo>
                  <a:pt x="3795261" y="1297947"/>
                </a:moveTo>
                <a:lnTo>
                  <a:pt x="3797757" y="1297947"/>
                </a:lnTo>
                <a:lnTo>
                  <a:pt x="3802314" y="1301087"/>
                </a:lnTo>
                <a:lnTo>
                  <a:pt x="3802314" y="1305094"/>
                </a:lnTo>
                <a:lnTo>
                  <a:pt x="3799168" y="1304010"/>
                </a:lnTo>
                <a:close/>
                <a:moveTo>
                  <a:pt x="3802314" y="1297730"/>
                </a:moveTo>
                <a:lnTo>
                  <a:pt x="3804159" y="1297838"/>
                </a:lnTo>
                <a:lnTo>
                  <a:pt x="3805027" y="1300979"/>
                </a:lnTo>
                <a:close/>
                <a:moveTo>
                  <a:pt x="4045609" y="1296540"/>
                </a:moveTo>
                <a:lnTo>
                  <a:pt x="4048973" y="1297514"/>
                </a:lnTo>
                <a:lnTo>
                  <a:pt x="4050601" y="1300330"/>
                </a:lnTo>
                <a:lnTo>
                  <a:pt x="4045718" y="1303253"/>
                </a:lnTo>
                <a:close/>
                <a:moveTo>
                  <a:pt x="228104" y="1295024"/>
                </a:moveTo>
                <a:lnTo>
                  <a:pt x="230817" y="1297406"/>
                </a:lnTo>
                <a:lnTo>
                  <a:pt x="228428" y="1298706"/>
                </a:lnTo>
                <a:lnTo>
                  <a:pt x="225174" y="1297189"/>
                </a:lnTo>
                <a:close/>
                <a:moveTo>
                  <a:pt x="1091134" y="1294375"/>
                </a:moveTo>
                <a:lnTo>
                  <a:pt x="1094172" y="1296973"/>
                </a:lnTo>
                <a:lnTo>
                  <a:pt x="1091459" y="1300005"/>
                </a:lnTo>
                <a:lnTo>
                  <a:pt x="1088854" y="1300005"/>
                </a:lnTo>
                <a:lnTo>
                  <a:pt x="1085708" y="1302279"/>
                </a:lnTo>
                <a:lnTo>
                  <a:pt x="1083321" y="1301304"/>
                </a:lnTo>
                <a:lnTo>
                  <a:pt x="1087010" y="1295783"/>
                </a:lnTo>
                <a:close/>
                <a:moveTo>
                  <a:pt x="214538" y="1294158"/>
                </a:moveTo>
                <a:lnTo>
                  <a:pt x="218986" y="1298272"/>
                </a:lnTo>
                <a:lnTo>
                  <a:pt x="215190" y="1297948"/>
                </a:lnTo>
                <a:lnTo>
                  <a:pt x="209980" y="1302171"/>
                </a:lnTo>
                <a:lnTo>
                  <a:pt x="210416" y="1297948"/>
                </a:lnTo>
                <a:close/>
                <a:moveTo>
                  <a:pt x="2548514" y="1293508"/>
                </a:moveTo>
                <a:lnTo>
                  <a:pt x="2549057" y="1295240"/>
                </a:lnTo>
                <a:lnTo>
                  <a:pt x="2548623" y="1297730"/>
                </a:lnTo>
                <a:lnTo>
                  <a:pt x="2549816" y="1298597"/>
                </a:lnTo>
                <a:lnTo>
                  <a:pt x="2549599" y="1300762"/>
                </a:lnTo>
                <a:lnTo>
                  <a:pt x="2546127" y="1303360"/>
                </a:lnTo>
                <a:lnTo>
                  <a:pt x="2544391" y="1305851"/>
                </a:lnTo>
                <a:lnTo>
                  <a:pt x="2541243" y="1305959"/>
                </a:lnTo>
                <a:lnTo>
                  <a:pt x="2536903" y="1309424"/>
                </a:lnTo>
                <a:lnTo>
                  <a:pt x="2535058" y="1309424"/>
                </a:lnTo>
                <a:lnTo>
                  <a:pt x="2534407" y="1306608"/>
                </a:lnTo>
                <a:lnTo>
                  <a:pt x="2535817" y="1302602"/>
                </a:lnTo>
                <a:lnTo>
                  <a:pt x="2537771" y="1300437"/>
                </a:lnTo>
                <a:lnTo>
                  <a:pt x="2538205" y="1298271"/>
                </a:lnTo>
                <a:lnTo>
                  <a:pt x="2543088" y="1294157"/>
                </a:lnTo>
                <a:close/>
                <a:moveTo>
                  <a:pt x="1152068" y="1292851"/>
                </a:moveTo>
                <a:lnTo>
                  <a:pt x="1155267" y="1295025"/>
                </a:lnTo>
                <a:lnTo>
                  <a:pt x="1156137" y="1296760"/>
                </a:lnTo>
                <a:lnTo>
                  <a:pt x="1155267" y="1295024"/>
                </a:lnTo>
                <a:close/>
                <a:moveTo>
                  <a:pt x="1118480" y="1291885"/>
                </a:moveTo>
                <a:lnTo>
                  <a:pt x="1118480" y="1295133"/>
                </a:lnTo>
                <a:lnTo>
                  <a:pt x="1116093" y="1297515"/>
                </a:lnTo>
                <a:lnTo>
                  <a:pt x="1113488" y="1301522"/>
                </a:lnTo>
                <a:lnTo>
                  <a:pt x="1110125" y="1300763"/>
                </a:lnTo>
                <a:lnTo>
                  <a:pt x="1110776" y="1296865"/>
                </a:lnTo>
                <a:close/>
                <a:moveTo>
                  <a:pt x="238630" y="1290802"/>
                </a:moveTo>
                <a:lnTo>
                  <a:pt x="240476" y="1293400"/>
                </a:lnTo>
                <a:lnTo>
                  <a:pt x="237112" y="1295674"/>
                </a:lnTo>
                <a:lnTo>
                  <a:pt x="233637" y="1292967"/>
                </a:lnTo>
                <a:close/>
                <a:moveTo>
                  <a:pt x="1124232" y="1290368"/>
                </a:moveTo>
                <a:lnTo>
                  <a:pt x="1125751" y="1291667"/>
                </a:lnTo>
                <a:lnTo>
                  <a:pt x="1125534" y="1296864"/>
                </a:lnTo>
                <a:lnTo>
                  <a:pt x="1122821" y="1300329"/>
                </a:lnTo>
                <a:lnTo>
                  <a:pt x="1120217" y="1296756"/>
                </a:lnTo>
                <a:lnTo>
                  <a:pt x="1121953" y="1294266"/>
                </a:lnTo>
                <a:close/>
                <a:moveTo>
                  <a:pt x="1094714" y="1287228"/>
                </a:moveTo>
                <a:lnTo>
                  <a:pt x="1098730" y="1288311"/>
                </a:lnTo>
                <a:lnTo>
                  <a:pt x="1101768" y="1293291"/>
                </a:lnTo>
                <a:lnTo>
                  <a:pt x="1098730" y="1297730"/>
                </a:lnTo>
                <a:lnTo>
                  <a:pt x="1097645" y="1300437"/>
                </a:lnTo>
                <a:lnTo>
                  <a:pt x="1100466" y="1303360"/>
                </a:lnTo>
                <a:lnTo>
                  <a:pt x="1101660" y="1302711"/>
                </a:lnTo>
                <a:lnTo>
                  <a:pt x="1106978" y="1305850"/>
                </a:lnTo>
                <a:lnTo>
                  <a:pt x="1107194" y="1312888"/>
                </a:lnTo>
                <a:lnTo>
                  <a:pt x="1103830" y="1313213"/>
                </a:lnTo>
                <a:lnTo>
                  <a:pt x="1107846" y="1317544"/>
                </a:lnTo>
                <a:lnTo>
                  <a:pt x="1107846" y="1320900"/>
                </a:lnTo>
                <a:lnTo>
                  <a:pt x="1104373" y="1321225"/>
                </a:lnTo>
                <a:lnTo>
                  <a:pt x="1103179" y="1320034"/>
                </a:lnTo>
                <a:lnTo>
                  <a:pt x="1101117" y="1324581"/>
                </a:lnTo>
                <a:lnTo>
                  <a:pt x="1106434" y="1328371"/>
                </a:lnTo>
                <a:lnTo>
                  <a:pt x="1108822" y="1332485"/>
                </a:lnTo>
                <a:lnTo>
                  <a:pt x="1104047" y="1335409"/>
                </a:lnTo>
                <a:lnTo>
                  <a:pt x="1103505" y="1336924"/>
                </a:lnTo>
                <a:lnTo>
                  <a:pt x="1106760" y="1336383"/>
                </a:lnTo>
                <a:lnTo>
                  <a:pt x="1108714" y="1337466"/>
                </a:lnTo>
                <a:lnTo>
                  <a:pt x="1108714" y="1340822"/>
                </a:lnTo>
                <a:lnTo>
                  <a:pt x="1104373" y="1343745"/>
                </a:lnTo>
                <a:lnTo>
                  <a:pt x="1101660" y="1344503"/>
                </a:lnTo>
                <a:lnTo>
                  <a:pt x="1099598" y="1348293"/>
                </a:lnTo>
                <a:lnTo>
                  <a:pt x="1101660" y="1348401"/>
                </a:lnTo>
                <a:lnTo>
                  <a:pt x="1103505" y="1350891"/>
                </a:lnTo>
                <a:lnTo>
                  <a:pt x="1101443" y="1352948"/>
                </a:lnTo>
                <a:lnTo>
                  <a:pt x="1103396" y="1356197"/>
                </a:lnTo>
                <a:lnTo>
                  <a:pt x="1100792" y="1358578"/>
                </a:lnTo>
                <a:lnTo>
                  <a:pt x="1096777" y="1358795"/>
                </a:lnTo>
                <a:lnTo>
                  <a:pt x="1094606" y="1356846"/>
                </a:lnTo>
                <a:lnTo>
                  <a:pt x="1095909" y="1352948"/>
                </a:lnTo>
                <a:lnTo>
                  <a:pt x="1091459" y="1349268"/>
                </a:lnTo>
                <a:lnTo>
                  <a:pt x="1092110" y="1345694"/>
                </a:lnTo>
                <a:lnTo>
                  <a:pt x="1095257" y="1342987"/>
                </a:lnTo>
                <a:lnTo>
                  <a:pt x="1092653" y="1340064"/>
                </a:lnTo>
                <a:lnTo>
                  <a:pt x="1093521" y="1337466"/>
                </a:lnTo>
                <a:lnTo>
                  <a:pt x="1096994" y="1335409"/>
                </a:lnTo>
                <a:lnTo>
                  <a:pt x="1095040" y="1333135"/>
                </a:lnTo>
                <a:lnTo>
                  <a:pt x="1092002" y="1333784"/>
                </a:lnTo>
                <a:lnTo>
                  <a:pt x="1090591" y="1336275"/>
                </a:lnTo>
                <a:lnTo>
                  <a:pt x="1088746" y="1334001"/>
                </a:lnTo>
                <a:lnTo>
                  <a:pt x="1085273" y="1334001"/>
                </a:lnTo>
                <a:lnTo>
                  <a:pt x="1083863" y="1331619"/>
                </a:lnTo>
                <a:lnTo>
                  <a:pt x="1085599" y="1329021"/>
                </a:lnTo>
                <a:lnTo>
                  <a:pt x="1088203" y="1329021"/>
                </a:lnTo>
                <a:lnTo>
                  <a:pt x="1089397" y="1325772"/>
                </a:lnTo>
                <a:lnTo>
                  <a:pt x="1089397" y="1323715"/>
                </a:lnTo>
                <a:lnTo>
                  <a:pt x="1094172" y="1320034"/>
                </a:lnTo>
                <a:lnTo>
                  <a:pt x="1094172" y="1317869"/>
                </a:lnTo>
                <a:lnTo>
                  <a:pt x="1091459" y="1317111"/>
                </a:lnTo>
                <a:lnTo>
                  <a:pt x="1088746" y="1317977"/>
                </a:lnTo>
                <a:lnTo>
                  <a:pt x="1087553" y="1316136"/>
                </a:lnTo>
                <a:lnTo>
                  <a:pt x="1088854" y="1314079"/>
                </a:lnTo>
                <a:lnTo>
                  <a:pt x="1093304" y="1312888"/>
                </a:lnTo>
                <a:lnTo>
                  <a:pt x="1094606" y="1308340"/>
                </a:lnTo>
                <a:lnTo>
                  <a:pt x="1094172" y="1304876"/>
                </a:lnTo>
                <a:lnTo>
                  <a:pt x="1096342" y="1298163"/>
                </a:lnTo>
                <a:lnTo>
                  <a:pt x="1095257" y="1293724"/>
                </a:lnTo>
                <a:lnTo>
                  <a:pt x="1092002" y="1289718"/>
                </a:lnTo>
                <a:close/>
                <a:moveTo>
                  <a:pt x="231360" y="1287228"/>
                </a:moveTo>
                <a:lnTo>
                  <a:pt x="232551" y="1289934"/>
                </a:lnTo>
                <a:lnTo>
                  <a:pt x="228104" y="1290152"/>
                </a:lnTo>
                <a:close/>
                <a:moveTo>
                  <a:pt x="4173292" y="1284978"/>
                </a:moveTo>
                <a:lnTo>
                  <a:pt x="4174960" y="1289393"/>
                </a:lnTo>
                <a:lnTo>
                  <a:pt x="4176133" y="1297974"/>
                </a:lnTo>
                <a:lnTo>
                  <a:pt x="4174961" y="1289394"/>
                </a:lnTo>
                <a:close/>
                <a:moveTo>
                  <a:pt x="1109256" y="1284955"/>
                </a:moveTo>
                <a:lnTo>
                  <a:pt x="1116744" y="1285712"/>
                </a:lnTo>
                <a:lnTo>
                  <a:pt x="1116093" y="1288744"/>
                </a:lnTo>
                <a:lnTo>
                  <a:pt x="1111644" y="1294483"/>
                </a:lnTo>
                <a:lnTo>
                  <a:pt x="1107628" y="1292750"/>
                </a:lnTo>
                <a:lnTo>
                  <a:pt x="1105241" y="1288961"/>
                </a:lnTo>
                <a:close/>
                <a:moveTo>
                  <a:pt x="1134216" y="1278567"/>
                </a:moveTo>
                <a:lnTo>
                  <a:pt x="1134216" y="1278568"/>
                </a:lnTo>
                <a:lnTo>
                  <a:pt x="1138231" y="1278676"/>
                </a:lnTo>
                <a:lnTo>
                  <a:pt x="1141486" y="1279975"/>
                </a:lnTo>
                <a:lnTo>
                  <a:pt x="1141486" y="1279975"/>
                </a:lnTo>
                <a:lnTo>
                  <a:pt x="1138230" y="1278675"/>
                </a:lnTo>
                <a:close/>
                <a:moveTo>
                  <a:pt x="3087840" y="1275753"/>
                </a:moveTo>
                <a:lnTo>
                  <a:pt x="3087298" y="1277485"/>
                </a:lnTo>
                <a:lnTo>
                  <a:pt x="3086538" y="1276077"/>
                </a:lnTo>
                <a:close/>
                <a:moveTo>
                  <a:pt x="4174526" y="1275427"/>
                </a:moveTo>
                <a:lnTo>
                  <a:pt x="4172464" y="1282789"/>
                </a:lnTo>
                <a:lnTo>
                  <a:pt x="4172464" y="1282789"/>
                </a:lnTo>
                <a:lnTo>
                  <a:pt x="4174526" y="1275428"/>
                </a:lnTo>
                <a:close/>
                <a:moveTo>
                  <a:pt x="3090227" y="1269255"/>
                </a:moveTo>
                <a:lnTo>
                  <a:pt x="3090119" y="1271637"/>
                </a:lnTo>
                <a:lnTo>
                  <a:pt x="3088600" y="1272612"/>
                </a:lnTo>
                <a:lnTo>
                  <a:pt x="3089034" y="1270013"/>
                </a:lnTo>
                <a:close/>
                <a:moveTo>
                  <a:pt x="1119674" y="1268823"/>
                </a:moveTo>
                <a:lnTo>
                  <a:pt x="1122170" y="1276402"/>
                </a:lnTo>
                <a:lnTo>
                  <a:pt x="1119240" y="1280840"/>
                </a:lnTo>
                <a:lnTo>
                  <a:pt x="1113489" y="1282465"/>
                </a:lnTo>
                <a:lnTo>
                  <a:pt x="1111753" y="1280191"/>
                </a:lnTo>
                <a:lnTo>
                  <a:pt x="1111753" y="1277268"/>
                </a:lnTo>
                <a:lnTo>
                  <a:pt x="1116310" y="1270555"/>
                </a:lnTo>
                <a:close/>
                <a:moveTo>
                  <a:pt x="288980" y="1267308"/>
                </a:moveTo>
                <a:lnTo>
                  <a:pt x="290500" y="1272288"/>
                </a:lnTo>
                <a:lnTo>
                  <a:pt x="293649" y="1272938"/>
                </a:lnTo>
                <a:lnTo>
                  <a:pt x="288980" y="1274886"/>
                </a:lnTo>
                <a:lnTo>
                  <a:pt x="287462" y="1279326"/>
                </a:lnTo>
                <a:lnTo>
                  <a:pt x="280408" y="1281925"/>
                </a:lnTo>
                <a:lnTo>
                  <a:pt x="272813" y="1290370"/>
                </a:lnTo>
                <a:lnTo>
                  <a:pt x="266410" y="1290370"/>
                </a:lnTo>
                <a:lnTo>
                  <a:pt x="261201" y="1296217"/>
                </a:lnTo>
                <a:lnTo>
                  <a:pt x="252196" y="1296217"/>
                </a:lnTo>
                <a:lnTo>
                  <a:pt x="256862" y="1292102"/>
                </a:lnTo>
                <a:lnTo>
                  <a:pt x="259572" y="1292102"/>
                </a:lnTo>
                <a:lnTo>
                  <a:pt x="262830" y="1286797"/>
                </a:lnTo>
                <a:lnTo>
                  <a:pt x="265762" y="1285064"/>
                </a:lnTo>
                <a:lnTo>
                  <a:pt x="265762" y="1282682"/>
                </a:lnTo>
                <a:lnTo>
                  <a:pt x="271619" y="1277702"/>
                </a:lnTo>
                <a:lnTo>
                  <a:pt x="276285" y="1276836"/>
                </a:lnTo>
                <a:lnTo>
                  <a:pt x="278130" y="1272397"/>
                </a:lnTo>
                <a:lnTo>
                  <a:pt x="276936" y="1269690"/>
                </a:lnTo>
                <a:lnTo>
                  <a:pt x="284533" y="1269690"/>
                </a:lnTo>
                <a:cubicBezTo>
                  <a:pt x="286084" y="1269030"/>
                  <a:pt x="287573" y="1268233"/>
                  <a:pt x="288980" y="1267308"/>
                </a:cubicBezTo>
                <a:close/>
                <a:moveTo>
                  <a:pt x="4092271" y="1262110"/>
                </a:moveTo>
                <a:lnTo>
                  <a:pt x="4093465" y="1267307"/>
                </a:lnTo>
                <a:lnTo>
                  <a:pt x="4091077" y="1269473"/>
                </a:lnTo>
                <a:lnTo>
                  <a:pt x="4088039" y="1266874"/>
                </a:lnTo>
                <a:close/>
                <a:moveTo>
                  <a:pt x="3093157" y="1261244"/>
                </a:moveTo>
                <a:lnTo>
                  <a:pt x="3092506" y="1263084"/>
                </a:lnTo>
                <a:lnTo>
                  <a:pt x="3091313" y="1263301"/>
                </a:lnTo>
                <a:lnTo>
                  <a:pt x="3090879" y="1261893"/>
                </a:lnTo>
                <a:lnTo>
                  <a:pt x="3091530" y="1261352"/>
                </a:lnTo>
                <a:close/>
                <a:moveTo>
                  <a:pt x="2611778" y="1258862"/>
                </a:moveTo>
                <a:lnTo>
                  <a:pt x="2618832" y="1259945"/>
                </a:lnTo>
                <a:lnTo>
                  <a:pt x="2623390" y="1262543"/>
                </a:lnTo>
                <a:lnTo>
                  <a:pt x="2623715" y="1264492"/>
                </a:lnTo>
                <a:lnTo>
                  <a:pt x="2621437" y="1266116"/>
                </a:lnTo>
                <a:lnTo>
                  <a:pt x="2621002" y="1268823"/>
                </a:lnTo>
                <a:lnTo>
                  <a:pt x="2619266" y="1270339"/>
                </a:lnTo>
                <a:lnTo>
                  <a:pt x="2618289" y="1272829"/>
                </a:lnTo>
                <a:lnTo>
                  <a:pt x="2617204" y="1273154"/>
                </a:lnTo>
                <a:lnTo>
                  <a:pt x="2615468" y="1271421"/>
                </a:lnTo>
                <a:lnTo>
                  <a:pt x="2615251" y="1268715"/>
                </a:lnTo>
                <a:lnTo>
                  <a:pt x="2612972" y="1266982"/>
                </a:lnTo>
                <a:lnTo>
                  <a:pt x="2610476" y="1266441"/>
                </a:lnTo>
                <a:lnTo>
                  <a:pt x="2607546" y="1262976"/>
                </a:lnTo>
                <a:lnTo>
                  <a:pt x="2607546" y="1260486"/>
                </a:lnTo>
                <a:lnTo>
                  <a:pt x="2609499" y="1260053"/>
                </a:lnTo>
                <a:close/>
                <a:moveTo>
                  <a:pt x="1087662" y="1256263"/>
                </a:moveTo>
                <a:lnTo>
                  <a:pt x="1089940" y="1256263"/>
                </a:lnTo>
                <a:lnTo>
                  <a:pt x="1094064" y="1262001"/>
                </a:lnTo>
                <a:lnTo>
                  <a:pt x="1092111" y="1265791"/>
                </a:lnTo>
                <a:lnTo>
                  <a:pt x="1092653" y="1268714"/>
                </a:lnTo>
                <a:lnTo>
                  <a:pt x="1095041" y="1265899"/>
                </a:lnTo>
                <a:lnTo>
                  <a:pt x="1096668" y="1268281"/>
                </a:lnTo>
                <a:lnTo>
                  <a:pt x="1092979" y="1277809"/>
                </a:lnTo>
                <a:lnTo>
                  <a:pt x="1085925" y="1285171"/>
                </a:lnTo>
                <a:lnTo>
                  <a:pt x="1086034" y="1289285"/>
                </a:lnTo>
                <a:lnTo>
                  <a:pt x="1083646" y="1292750"/>
                </a:lnTo>
                <a:lnTo>
                  <a:pt x="1078871" y="1294266"/>
                </a:lnTo>
                <a:lnTo>
                  <a:pt x="1080608" y="1289826"/>
                </a:lnTo>
                <a:lnTo>
                  <a:pt x="1079089" y="1287228"/>
                </a:lnTo>
                <a:lnTo>
                  <a:pt x="1076267" y="1295673"/>
                </a:lnTo>
                <a:lnTo>
                  <a:pt x="1074531" y="1293399"/>
                </a:lnTo>
                <a:lnTo>
                  <a:pt x="1075073" y="1289935"/>
                </a:lnTo>
                <a:lnTo>
                  <a:pt x="1077135" y="1286254"/>
                </a:lnTo>
                <a:lnTo>
                  <a:pt x="1076810" y="1283655"/>
                </a:lnTo>
                <a:lnTo>
                  <a:pt x="1078763" y="1280191"/>
                </a:lnTo>
                <a:lnTo>
                  <a:pt x="1081476" y="1282464"/>
                </a:lnTo>
                <a:lnTo>
                  <a:pt x="1083864" y="1279866"/>
                </a:lnTo>
                <a:lnTo>
                  <a:pt x="1084080" y="1276726"/>
                </a:lnTo>
                <a:lnTo>
                  <a:pt x="1080282" y="1274128"/>
                </a:lnTo>
                <a:lnTo>
                  <a:pt x="1083646" y="1269363"/>
                </a:lnTo>
                <a:lnTo>
                  <a:pt x="1081259" y="1267306"/>
                </a:lnTo>
                <a:lnTo>
                  <a:pt x="1081802" y="1262326"/>
                </a:lnTo>
                <a:lnTo>
                  <a:pt x="1083646" y="1259403"/>
                </a:lnTo>
                <a:lnTo>
                  <a:pt x="1087878" y="1261135"/>
                </a:lnTo>
                <a:close/>
                <a:moveTo>
                  <a:pt x="4083046" y="1255505"/>
                </a:moveTo>
                <a:lnTo>
                  <a:pt x="4088037" y="1255505"/>
                </a:lnTo>
                <a:lnTo>
                  <a:pt x="4089448" y="1259078"/>
                </a:lnTo>
                <a:lnTo>
                  <a:pt x="4087603" y="1260595"/>
                </a:lnTo>
                <a:close/>
                <a:moveTo>
                  <a:pt x="4349998" y="1253557"/>
                </a:moveTo>
                <a:lnTo>
                  <a:pt x="4352819" y="1255939"/>
                </a:lnTo>
                <a:lnTo>
                  <a:pt x="4355858" y="1254423"/>
                </a:lnTo>
                <a:lnTo>
                  <a:pt x="4355423" y="1258429"/>
                </a:lnTo>
                <a:lnTo>
                  <a:pt x="4351192" y="1260812"/>
                </a:lnTo>
                <a:lnTo>
                  <a:pt x="4348479" y="1257563"/>
                </a:lnTo>
                <a:close/>
                <a:moveTo>
                  <a:pt x="362663" y="1253232"/>
                </a:moveTo>
                <a:lnTo>
                  <a:pt x="365049" y="1255398"/>
                </a:lnTo>
                <a:lnTo>
                  <a:pt x="360167" y="1255290"/>
                </a:lnTo>
                <a:close/>
                <a:moveTo>
                  <a:pt x="340416" y="1253232"/>
                </a:moveTo>
                <a:lnTo>
                  <a:pt x="343999" y="1255397"/>
                </a:lnTo>
                <a:lnTo>
                  <a:pt x="344105" y="1258104"/>
                </a:lnTo>
                <a:lnTo>
                  <a:pt x="339984" y="1256155"/>
                </a:lnTo>
                <a:close/>
                <a:moveTo>
                  <a:pt x="1102855" y="1252040"/>
                </a:moveTo>
                <a:lnTo>
                  <a:pt x="1107629" y="1257345"/>
                </a:lnTo>
                <a:lnTo>
                  <a:pt x="1112079" y="1257345"/>
                </a:lnTo>
                <a:lnTo>
                  <a:pt x="1115443" y="1261568"/>
                </a:lnTo>
                <a:lnTo>
                  <a:pt x="1115443" y="1267631"/>
                </a:lnTo>
                <a:lnTo>
                  <a:pt x="1111754" y="1273694"/>
                </a:lnTo>
                <a:lnTo>
                  <a:pt x="1109583" y="1274344"/>
                </a:lnTo>
                <a:lnTo>
                  <a:pt x="1108823" y="1268172"/>
                </a:lnTo>
                <a:lnTo>
                  <a:pt x="1106219" y="1269146"/>
                </a:lnTo>
                <a:lnTo>
                  <a:pt x="1106219" y="1274344"/>
                </a:lnTo>
                <a:lnTo>
                  <a:pt x="1104374" y="1276401"/>
                </a:lnTo>
                <a:lnTo>
                  <a:pt x="1106979" y="1280407"/>
                </a:lnTo>
                <a:lnTo>
                  <a:pt x="1103831" y="1282464"/>
                </a:lnTo>
                <a:lnTo>
                  <a:pt x="1101987" y="1280840"/>
                </a:lnTo>
                <a:lnTo>
                  <a:pt x="1099165" y="1284305"/>
                </a:lnTo>
                <a:lnTo>
                  <a:pt x="1096127" y="1283655"/>
                </a:lnTo>
                <a:lnTo>
                  <a:pt x="1096344" y="1277808"/>
                </a:lnTo>
                <a:lnTo>
                  <a:pt x="1099165" y="1266981"/>
                </a:lnTo>
                <a:lnTo>
                  <a:pt x="1101444" y="1263733"/>
                </a:lnTo>
                <a:lnTo>
                  <a:pt x="1097104" y="1262001"/>
                </a:lnTo>
                <a:lnTo>
                  <a:pt x="1098189" y="1257995"/>
                </a:lnTo>
                <a:lnTo>
                  <a:pt x="1096344" y="1255288"/>
                </a:lnTo>
                <a:lnTo>
                  <a:pt x="1096778" y="1252148"/>
                </a:lnTo>
                <a:close/>
                <a:moveTo>
                  <a:pt x="367764" y="1252040"/>
                </a:moveTo>
                <a:lnTo>
                  <a:pt x="372106" y="1252148"/>
                </a:lnTo>
                <a:lnTo>
                  <a:pt x="373516" y="1254530"/>
                </a:lnTo>
                <a:lnTo>
                  <a:pt x="369175" y="1255180"/>
                </a:lnTo>
                <a:lnTo>
                  <a:pt x="368307" y="1254421"/>
                </a:lnTo>
                <a:close/>
                <a:moveTo>
                  <a:pt x="329024" y="1251283"/>
                </a:moveTo>
                <a:lnTo>
                  <a:pt x="330650" y="1254314"/>
                </a:lnTo>
                <a:lnTo>
                  <a:pt x="335859" y="1255830"/>
                </a:lnTo>
                <a:lnTo>
                  <a:pt x="337054" y="1260053"/>
                </a:lnTo>
                <a:lnTo>
                  <a:pt x="332387" y="1263518"/>
                </a:lnTo>
                <a:lnTo>
                  <a:pt x="336185" y="1264601"/>
                </a:lnTo>
                <a:lnTo>
                  <a:pt x="336294" y="1266550"/>
                </a:lnTo>
                <a:lnTo>
                  <a:pt x="329890" y="1269689"/>
                </a:lnTo>
                <a:lnTo>
                  <a:pt x="326203" y="1274236"/>
                </a:lnTo>
                <a:lnTo>
                  <a:pt x="323706" y="1274886"/>
                </a:lnTo>
                <a:lnTo>
                  <a:pt x="322513" y="1272179"/>
                </a:lnTo>
                <a:lnTo>
                  <a:pt x="319691" y="1271313"/>
                </a:lnTo>
                <a:lnTo>
                  <a:pt x="318389" y="1275103"/>
                </a:lnTo>
                <a:lnTo>
                  <a:pt x="316760" y="1279650"/>
                </a:lnTo>
                <a:lnTo>
                  <a:pt x="314266" y="1278675"/>
                </a:lnTo>
                <a:lnTo>
                  <a:pt x="313723" y="1274453"/>
                </a:lnTo>
                <a:lnTo>
                  <a:pt x="308622" y="1280408"/>
                </a:lnTo>
                <a:lnTo>
                  <a:pt x="301895" y="1282357"/>
                </a:lnTo>
                <a:lnTo>
                  <a:pt x="294300" y="1282465"/>
                </a:lnTo>
                <a:lnTo>
                  <a:pt x="291153" y="1279434"/>
                </a:lnTo>
                <a:lnTo>
                  <a:pt x="294190" y="1278892"/>
                </a:lnTo>
                <a:lnTo>
                  <a:pt x="298423" y="1279001"/>
                </a:lnTo>
                <a:lnTo>
                  <a:pt x="304064" y="1274995"/>
                </a:lnTo>
                <a:lnTo>
                  <a:pt x="306777" y="1274778"/>
                </a:lnTo>
                <a:lnTo>
                  <a:pt x="311011" y="1269581"/>
                </a:lnTo>
                <a:lnTo>
                  <a:pt x="313396" y="1268823"/>
                </a:lnTo>
                <a:lnTo>
                  <a:pt x="312964" y="1265791"/>
                </a:lnTo>
                <a:lnTo>
                  <a:pt x="317195" y="1262218"/>
                </a:lnTo>
                <a:lnTo>
                  <a:pt x="322077" y="1264601"/>
                </a:lnTo>
                <a:lnTo>
                  <a:pt x="323922" y="1263193"/>
                </a:lnTo>
                <a:lnTo>
                  <a:pt x="320126" y="1259511"/>
                </a:lnTo>
                <a:lnTo>
                  <a:pt x="320126" y="1255830"/>
                </a:lnTo>
                <a:lnTo>
                  <a:pt x="324790" y="1251824"/>
                </a:lnTo>
                <a:close/>
                <a:moveTo>
                  <a:pt x="3088925" y="1250849"/>
                </a:moveTo>
                <a:lnTo>
                  <a:pt x="3091312" y="1252798"/>
                </a:lnTo>
                <a:lnTo>
                  <a:pt x="3095436" y="1252906"/>
                </a:lnTo>
                <a:lnTo>
                  <a:pt x="3097606" y="1254746"/>
                </a:lnTo>
                <a:lnTo>
                  <a:pt x="3097171" y="1256154"/>
                </a:lnTo>
                <a:lnTo>
                  <a:pt x="3092180" y="1256371"/>
                </a:lnTo>
                <a:lnTo>
                  <a:pt x="3090878" y="1254963"/>
                </a:lnTo>
                <a:lnTo>
                  <a:pt x="3087948" y="1254530"/>
                </a:lnTo>
                <a:lnTo>
                  <a:pt x="3086755" y="1251824"/>
                </a:lnTo>
                <a:close/>
                <a:moveTo>
                  <a:pt x="4107898" y="1249876"/>
                </a:moveTo>
                <a:lnTo>
                  <a:pt x="4110394" y="1252582"/>
                </a:lnTo>
                <a:lnTo>
                  <a:pt x="4106921" y="1256804"/>
                </a:lnTo>
                <a:lnTo>
                  <a:pt x="4101495" y="1256480"/>
                </a:lnTo>
                <a:lnTo>
                  <a:pt x="4098348" y="1258212"/>
                </a:lnTo>
                <a:lnTo>
                  <a:pt x="4095201" y="1258104"/>
                </a:lnTo>
                <a:lnTo>
                  <a:pt x="4098131" y="1252690"/>
                </a:lnTo>
                <a:lnTo>
                  <a:pt x="4102797" y="1252582"/>
                </a:lnTo>
                <a:lnTo>
                  <a:pt x="4104208" y="1250092"/>
                </a:lnTo>
                <a:close/>
                <a:moveTo>
                  <a:pt x="3535798" y="1249009"/>
                </a:moveTo>
                <a:lnTo>
                  <a:pt x="3536557" y="1253989"/>
                </a:lnTo>
                <a:lnTo>
                  <a:pt x="3533518" y="1256155"/>
                </a:lnTo>
                <a:lnTo>
                  <a:pt x="3532108" y="1252907"/>
                </a:lnTo>
                <a:lnTo>
                  <a:pt x="3533410" y="1249550"/>
                </a:lnTo>
                <a:close/>
                <a:moveTo>
                  <a:pt x="4352602" y="1247602"/>
                </a:moveTo>
                <a:lnTo>
                  <a:pt x="4355424" y="1250092"/>
                </a:lnTo>
                <a:lnTo>
                  <a:pt x="4353470" y="1252041"/>
                </a:lnTo>
                <a:lnTo>
                  <a:pt x="4352060" y="1250741"/>
                </a:lnTo>
                <a:close/>
                <a:moveTo>
                  <a:pt x="2617422" y="1246518"/>
                </a:moveTo>
                <a:lnTo>
                  <a:pt x="2619592" y="1249550"/>
                </a:lnTo>
                <a:lnTo>
                  <a:pt x="2620243" y="1251715"/>
                </a:lnTo>
                <a:lnTo>
                  <a:pt x="2622305" y="1254421"/>
                </a:lnTo>
                <a:lnTo>
                  <a:pt x="2622739" y="1257994"/>
                </a:lnTo>
                <a:lnTo>
                  <a:pt x="2621654" y="1258644"/>
                </a:lnTo>
                <a:lnTo>
                  <a:pt x="2617313" y="1255287"/>
                </a:lnTo>
                <a:lnTo>
                  <a:pt x="2617313" y="1252364"/>
                </a:lnTo>
                <a:lnTo>
                  <a:pt x="2615360" y="1250740"/>
                </a:lnTo>
                <a:lnTo>
                  <a:pt x="2615360" y="1248467"/>
                </a:lnTo>
                <a:close/>
                <a:moveTo>
                  <a:pt x="4538434" y="1246465"/>
                </a:moveTo>
                <a:lnTo>
                  <a:pt x="4540445" y="1249333"/>
                </a:lnTo>
                <a:lnTo>
                  <a:pt x="4546630" y="1251390"/>
                </a:lnTo>
                <a:lnTo>
                  <a:pt x="4555463" y="1260997"/>
                </a:lnTo>
                <a:lnTo>
                  <a:pt x="4555311" y="1260270"/>
                </a:lnTo>
                <a:lnTo>
                  <a:pt x="4544460" y="1248469"/>
                </a:lnTo>
                <a:close/>
                <a:moveTo>
                  <a:pt x="349535" y="1246302"/>
                </a:moveTo>
                <a:lnTo>
                  <a:pt x="351378" y="1249658"/>
                </a:lnTo>
                <a:lnTo>
                  <a:pt x="353982" y="1250632"/>
                </a:lnTo>
                <a:lnTo>
                  <a:pt x="352791" y="1252906"/>
                </a:lnTo>
                <a:lnTo>
                  <a:pt x="349317" y="1254963"/>
                </a:lnTo>
                <a:lnTo>
                  <a:pt x="345085" y="1251391"/>
                </a:lnTo>
                <a:lnTo>
                  <a:pt x="344758" y="1247818"/>
                </a:lnTo>
                <a:close/>
                <a:moveTo>
                  <a:pt x="3108567" y="1244029"/>
                </a:moveTo>
                <a:lnTo>
                  <a:pt x="3109001" y="1246952"/>
                </a:lnTo>
                <a:lnTo>
                  <a:pt x="3107265" y="1249119"/>
                </a:lnTo>
                <a:lnTo>
                  <a:pt x="3107265" y="1245329"/>
                </a:lnTo>
                <a:close/>
                <a:moveTo>
                  <a:pt x="424517" y="1243595"/>
                </a:moveTo>
                <a:lnTo>
                  <a:pt x="429075" y="1247926"/>
                </a:lnTo>
                <a:lnTo>
                  <a:pt x="425603" y="1249983"/>
                </a:lnTo>
                <a:lnTo>
                  <a:pt x="421804" y="1246301"/>
                </a:lnTo>
                <a:close/>
                <a:moveTo>
                  <a:pt x="358108" y="1243488"/>
                </a:moveTo>
                <a:lnTo>
                  <a:pt x="360058" y="1244137"/>
                </a:lnTo>
                <a:lnTo>
                  <a:pt x="361253" y="1248902"/>
                </a:lnTo>
                <a:lnTo>
                  <a:pt x="357238" y="1250851"/>
                </a:lnTo>
                <a:lnTo>
                  <a:pt x="358216" y="1247277"/>
                </a:lnTo>
                <a:close/>
                <a:moveTo>
                  <a:pt x="4101494" y="1242513"/>
                </a:moveTo>
                <a:lnTo>
                  <a:pt x="4104641" y="1245436"/>
                </a:lnTo>
                <a:lnTo>
                  <a:pt x="4099758" y="1248792"/>
                </a:lnTo>
                <a:lnTo>
                  <a:pt x="4094007" y="1249009"/>
                </a:lnTo>
                <a:close/>
                <a:moveTo>
                  <a:pt x="1080934" y="1235368"/>
                </a:moveTo>
                <a:lnTo>
                  <a:pt x="1084406" y="1235584"/>
                </a:lnTo>
                <a:lnTo>
                  <a:pt x="1083104" y="1238941"/>
                </a:lnTo>
                <a:close/>
                <a:moveTo>
                  <a:pt x="1063788" y="1235150"/>
                </a:moveTo>
                <a:lnTo>
                  <a:pt x="1065198" y="1238615"/>
                </a:lnTo>
                <a:lnTo>
                  <a:pt x="1064004" y="1241862"/>
                </a:lnTo>
                <a:lnTo>
                  <a:pt x="1063462" y="1246843"/>
                </a:lnTo>
                <a:lnTo>
                  <a:pt x="1059448" y="1248142"/>
                </a:lnTo>
                <a:lnTo>
                  <a:pt x="1058471" y="1245652"/>
                </a:lnTo>
                <a:lnTo>
                  <a:pt x="1061183" y="1242837"/>
                </a:lnTo>
                <a:lnTo>
                  <a:pt x="1060207" y="1241321"/>
                </a:lnTo>
                <a:lnTo>
                  <a:pt x="1060749" y="1237532"/>
                </a:lnTo>
                <a:close/>
                <a:moveTo>
                  <a:pt x="511006" y="1233743"/>
                </a:moveTo>
                <a:lnTo>
                  <a:pt x="511222" y="1236991"/>
                </a:lnTo>
                <a:lnTo>
                  <a:pt x="509269" y="1239157"/>
                </a:lnTo>
                <a:lnTo>
                  <a:pt x="508618" y="1236233"/>
                </a:lnTo>
                <a:close/>
                <a:moveTo>
                  <a:pt x="1075725" y="1232444"/>
                </a:moveTo>
                <a:lnTo>
                  <a:pt x="1078329" y="1233418"/>
                </a:lnTo>
                <a:lnTo>
                  <a:pt x="1080282" y="1239915"/>
                </a:lnTo>
                <a:lnTo>
                  <a:pt x="1080825" y="1248143"/>
                </a:lnTo>
                <a:lnTo>
                  <a:pt x="1079414" y="1255830"/>
                </a:lnTo>
                <a:lnTo>
                  <a:pt x="1077353" y="1257887"/>
                </a:lnTo>
                <a:lnTo>
                  <a:pt x="1076051" y="1266333"/>
                </a:lnTo>
                <a:lnTo>
                  <a:pt x="1073338" y="1269256"/>
                </a:lnTo>
                <a:lnTo>
                  <a:pt x="1071493" y="1275536"/>
                </a:lnTo>
                <a:lnTo>
                  <a:pt x="1070733" y="1281382"/>
                </a:lnTo>
                <a:lnTo>
                  <a:pt x="1069431" y="1285064"/>
                </a:lnTo>
                <a:lnTo>
                  <a:pt x="1067478" y="1286038"/>
                </a:lnTo>
                <a:lnTo>
                  <a:pt x="1066827" y="1282682"/>
                </a:lnTo>
                <a:lnTo>
                  <a:pt x="1067695" y="1279001"/>
                </a:lnTo>
                <a:lnTo>
                  <a:pt x="1065525" y="1277376"/>
                </a:lnTo>
                <a:lnTo>
                  <a:pt x="1064005" y="1270988"/>
                </a:lnTo>
                <a:lnTo>
                  <a:pt x="1065959" y="1267415"/>
                </a:lnTo>
                <a:lnTo>
                  <a:pt x="1069105" y="1266766"/>
                </a:lnTo>
                <a:lnTo>
                  <a:pt x="1071493" y="1264817"/>
                </a:lnTo>
                <a:lnTo>
                  <a:pt x="1070950" y="1262652"/>
                </a:lnTo>
                <a:lnTo>
                  <a:pt x="1068237" y="1264168"/>
                </a:lnTo>
                <a:lnTo>
                  <a:pt x="1065959" y="1264168"/>
                </a:lnTo>
                <a:lnTo>
                  <a:pt x="1065633" y="1261244"/>
                </a:lnTo>
                <a:lnTo>
                  <a:pt x="1067695" y="1260053"/>
                </a:lnTo>
                <a:lnTo>
                  <a:pt x="1068888" y="1257779"/>
                </a:lnTo>
                <a:lnTo>
                  <a:pt x="1063680" y="1256372"/>
                </a:lnTo>
                <a:lnTo>
                  <a:pt x="1063897" y="1254315"/>
                </a:lnTo>
                <a:lnTo>
                  <a:pt x="1068020" y="1253665"/>
                </a:lnTo>
                <a:lnTo>
                  <a:pt x="1070299" y="1250309"/>
                </a:lnTo>
                <a:lnTo>
                  <a:pt x="1070842" y="1245653"/>
                </a:lnTo>
                <a:lnTo>
                  <a:pt x="1073555" y="1242730"/>
                </a:lnTo>
                <a:lnTo>
                  <a:pt x="1070082" y="1239589"/>
                </a:lnTo>
                <a:lnTo>
                  <a:pt x="1069431" y="1236666"/>
                </a:lnTo>
                <a:lnTo>
                  <a:pt x="1073663" y="1234934"/>
                </a:lnTo>
                <a:close/>
                <a:moveTo>
                  <a:pt x="509272" y="1226488"/>
                </a:moveTo>
                <a:lnTo>
                  <a:pt x="509272" y="1230710"/>
                </a:lnTo>
                <a:lnTo>
                  <a:pt x="506232" y="1232010"/>
                </a:lnTo>
                <a:close/>
                <a:moveTo>
                  <a:pt x="444267" y="1225298"/>
                </a:moveTo>
                <a:lnTo>
                  <a:pt x="445137" y="1228763"/>
                </a:lnTo>
                <a:lnTo>
                  <a:pt x="441989" y="1232335"/>
                </a:lnTo>
                <a:lnTo>
                  <a:pt x="439709" y="1228546"/>
                </a:lnTo>
                <a:close/>
                <a:moveTo>
                  <a:pt x="501566" y="1224865"/>
                </a:moveTo>
                <a:lnTo>
                  <a:pt x="498092" y="1228113"/>
                </a:lnTo>
                <a:lnTo>
                  <a:pt x="496900" y="1231144"/>
                </a:lnTo>
                <a:lnTo>
                  <a:pt x="490387" y="1234393"/>
                </a:lnTo>
                <a:lnTo>
                  <a:pt x="487241" y="1237965"/>
                </a:lnTo>
                <a:lnTo>
                  <a:pt x="489846" y="1231577"/>
                </a:lnTo>
                <a:lnTo>
                  <a:pt x="495055" y="1227138"/>
                </a:lnTo>
                <a:lnTo>
                  <a:pt x="495271" y="1225190"/>
                </a:lnTo>
                <a:close/>
                <a:moveTo>
                  <a:pt x="4201655" y="1223673"/>
                </a:moveTo>
                <a:lnTo>
                  <a:pt x="4197532" y="1229412"/>
                </a:lnTo>
                <a:lnTo>
                  <a:pt x="4189501" y="1228870"/>
                </a:lnTo>
                <a:lnTo>
                  <a:pt x="4183099" y="1227463"/>
                </a:lnTo>
                <a:lnTo>
                  <a:pt x="4177890" y="1230603"/>
                </a:lnTo>
                <a:lnTo>
                  <a:pt x="4172573" y="1240022"/>
                </a:lnTo>
                <a:lnTo>
                  <a:pt x="4170836" y="1250632"/>
                </a:lnTo>
                <a:lnTo>
                  <a:pt x="4172473" y="1259418"/>
                </a:lnTo>
                <a:lnTo>
                  <a:pt x="4170837" y="1250633"/>
                </a:lnTo>
                <a:lnTo>
                  <a:pt x="4172573" y="1240023"/>
                </a:lnTo>
                <a:lnTo>
                  <a:pt x="4177890" y="1230604"/>
                </a:lnTo>
                <a:lnTo>
                  <a:pt x="4183099" y="1227463"/>
                </a:lnTo>
                <a:lnTo>
                  <a:pt x="4189501" y="1228871"/>
                </a:lnTo>
                <a:lnTo>
                  <a:pt x="4197532" y="1229412"/>
                </a:lnTo>
                <a:lnTo>
                  <a:pt x="4201655" y="1223674"/>
                </a:lnTo>
                <a:close/>
                <a:moveTo>
                  <a:pt x="2637279" y="1223349"/>
                </a:moveTo>
                <a:lnTo>
                  <a:pt x="2639883" y="1224324"/>
                </a:lnTo>
                <a:lnTo>
                  <a:pt x="2639558" y="1226597"/>
                </a:lnTo>
                <a:lnTo>
                  <a:pt x="2638256" y="1228438"/>
                </a:lnTo>
                <a:lnTo>
                  <a:pt x="2637496" y="1231578"/>
                </a:lnTo>
                <a:lnTo>
                  <a:pt x="2635326" y="1232986"/>
                </a:lnTo>
                <a:lnTo>
                  <a:pt x="2631203" y="1229088"/>
                </a:lnTo>
                <a:lnTo>
                  <a:pt x="2627513" y="1228979"/>
                </a:lnTo>
                <a:lnTo>
                  <a:pt x="2626428" y="1228113"/>
                </a:lnTo>
                <a:lnTo>
                  <a:pt x="2629791" y="1225947"/>
                </a:lnTo>
                <a:lnTo>
                  <a:pt x="2634024" y="1224757"/>
                </a:lnTo>
                <a:close/>
                <a:moveTo>
                  <a:pt x="459786" y="1220100"/>
                </a:moveTo>
                <a:lnTo>
                  <a:pt x="462498" y="1223131"/>
                </a:lnTo>
                <a:lnTo>
                  <a:pt x="458808" y="1225190"/>
                </a:lnTo>
                <a:lnTo>
                  <a:pt x="457181" y="1220533"/>
                </a:lnTo>
                <a:close/>
                <a:moveTo>
                  <a:pt x="410954" y="1216636"/>
                </a:moveTo>
                <a:lnTo>
                  <a:pt x="417466" y="1217069"/>
                </a:lnTo>
                <a:lnTo>
                  <a:pt x="420502" y="1221291"/>
                </a:lnTo>
                <a:lnTo>
                  <a:pt x="418225" y="1225514"/>
                </a:lnTo>
                <a:lnTo>
                  <a:pt x="424628" y="1231577"/>
                </a:lnTo>
                <a:lnTo>
                  <a:pt x="424520" y="1234067"/>
                </a:lnTo>
                <a:lnTo>
                  <a:pt x="418441" y="1232660"/>
                </a:lnTo>
                <a:lnTo>
                  <a:pt x="414861" y="1235691"/>
                </a:lnTo>
                <a:lnTo>
                  <a:pt x="407591" y="1236666"/>
                </a:lnTo>
                <a:lnTo>
                  <a:pt x="402490" y="1235150"/>
                </a:lnTo>
                <a:lnTo>
                  <a:pt x="393917" y="1235366"/>
                </a:lnTo>
                <a:lnTo>
                  <a:pt x="388927" y="1240888"/>
                </a:lnTo>
                <a:lnTo>
                  <a:pt x="386862" y="1240455"/>
                </a:lnTo>
                <a:lnTo>
                  <a:pt x="383391" y="1242188"/>
                </a:lnTo>
                <a:lnTo>
                  <a:pt x="378833" y="1239589"/>
                </a:lnTo>
                <a:lnTo>
                  <a:pt x="377748" y="1235583"/>
                </a:lnTo>
                <a:lnTo>
                  <a:pt x="379049" y="1231360"/>
                </a:lnTo>
                <a:lnTo>
                  <a:pt x="381003" y="1228978"/>
                </a:lnTo>
                <a:lnTo>
                  <a:pt x="383283" y="1229736"/>
                </a:lnTo>
                <a:lnTo>
                  <a:pt x="387298" y="1226813"/>
                </a:lnTo>
                <a:lnTo>
                  <a:pt x="389143" y="1225622"/>
                </a:lnTo>
                <a:lnTo>
                  <a:pt x="393050" y="1217827"/>
                </a:lnTo>
                <a:lnTo>
                  <a:pt x="394785" y="1218044"/>
                </a:lnTo>
                <a:lnTo>
                  <a:pt x="399234" y="1221832"/>
                </a:lnTo>
                <a:lnTo>
                  <a:pt x="401515" y="1219884"/>
                </a:lnTo>
                <a:lnTo>
                  <a:pt x="405853" y="1220425"/>
                </a:lnTo>
                <a:lnTo>
                  <a:pt x="409652" y="1218693"/>
                </a:lnTo>
                <a:close/>
                <a:moveTo>
                  <a:pt x="489627" y="1215878"/>
                </a:moveTo>
                <a:lnTo>
                  <a:pt x="492883" y="1217502"/>
                </a:lnTo>
                <a:lnTo>
                  <a:pt x="490062" y="1220100"/>
                </a:lnTo>
                <a:close/>
                <a:moveTo>
                  <a:pt x="483659" y="1214146"/>
                </a:moveTo>
                <a:lnTo>
                  <a:pt x="486590" y="1216636"/>
                </a:lnTo>
                <a:lnTo>
                  <a:pt x="484529" y="1220534"/>
                </a:lnTo>
                <a:lnTo>
                  <a:pt x="483986" y="1223241"/>
                </a:lnTo>
                <a:lnTo>
                  <a:pt x="480946" y="1223458"/>
                </a:lnTo>
                <a:lnTo>
                  <a:pt x="478777" y="1220426"/>
                </a:lnTo>
                <a:lnTo>
                  <a:pt x="480295" y="1215878"/>
                </a:lnTo>
                <a:close/>
                <a:moveTo>
                  <a:pt x="497114" y="1213063"/>
                </a:moveTo>
                <a:lnTo>
                  <a:pt x="498199" y="1215661"/>
                </a:lnTo>
                <a:lnTo>
                  <a:pt x="495163" y="1214579"/>
                </a:lnTo>
                <a:cubicBezTo>
                  <a:pt x="495055" y="1214470"/>
                  <a:pt x="497114" y="1213063"/>
                  <a:pt x="497114" y="1213063"/>
                </a:cubicBezTo>
                <a:close/>
                <a:moveTo>
                  <a:pt x="609324" y="1210248"/>
                </a:moveTo>
                <a:lnTo>
                  <a:pt x="608345" y="1213929"/>
                </a:lnTo>
                <a:lnTo>
                  <a:pt x="605741" y="1215012"/>
                </a:lnTo>
                <a:lnTo>
                  <a:pt x="603679" y="1214795"/>
                </a:lnTo>
                <a:lnTo>
                  <a:pt x="604115" y="1211980"/>
                </a:lnTo>
                <a:close/>
                <a:moveTo>
                  <a:pt x="4527843" y="1206523"/>
                </a:moveTo>
                <a:lnTo>
                  <a:pt x="4528834" y="1208624"/>
                </a:lnTo>
                <a:lnTo>
                  <a:pt x="4533824" y="1212094"/>
                </a:lnTo>
                <a:lnTo>
                  <a:pt x="4533824" y="1210682"/>
                </a:lnTo>
                <a:close/>
                <a:moveTo>
                  <a:pt x="7555362" y="1204618"/>
                </a:moveTo>
                <a:lnTo>
                  <a:pt x="7561222" y="1206242"/>
                </a:lnTo>
                <a:lnTo>
                  <a:pt x="7564478" y="1210140"/>
                </a:lnTo>
                <a:lnTo>
                  <a:pt x="7569252" y="1210681"/>
                </a:lnTo>
                <a:lnTo>
                  <a:pt x="7572399" y="1213280"/>
                </a:lnTo>
                <a:lnTo>
                  <a:pt x="7579669" y="1216204"/>
                </a:lnTo>
                <a:lnTo>
                  <a:pt x="7581515" y="1217935"/>
                </a:lnTo>
                <a:lnTo>
                  <a:pt x="7575112" y="1219235"/>
                </a:lnTo>
                <a:lnTo>
                  <a:pt x="7572616" y="1217069"/>
                </a:lnTo>
                <a:lnTo>
                  <a:pt x="7565345" y="1214796"/>
                </a:lnTo>
                <a:lnTo>
                  <a:pt x="7560136" y="1210140"/>
                </a:lnTo>
                <a:lnTo>
                  <a:pt x="7555687" y="1209924"/>
                </a:lnTo>
                <a:lnTo>
                  <a:pt x="7553300" y="1206242"/>
                </a:lnTo>
                <a:close/>
                <a:moveTo>
                  <a:pt x="2507385" y="1195848"/>
                </a:moveTo>
                <a:lnTo>
                  <a:pt x="2510532" y="1195956"/>
                </a:lnTo>
                <a:lnTo>
                  <a:pt x="2514765" y="1198446"/>
                </a:lnTo>
                <a:lnTo>
                  <a:pt x="2515850" y="1199529"/>
                </a:lnTo>
                <a:lnTo>
                  <a:pt x="2518888" y="1201045"/>
                </a:lnTo>
                <a:lnTo>
                  <a:pt x="2521818" y="1203643"/>
                </a:lnTo>
                <a:lnTo>
                  <a:pt x="2522035" y="1206567"/>
                </a:lnTo>
                <a:lnTo>
                  <a:pt x="2521167" y="1207000"/>
                </a:lnTo>
                <a:lnTo>
                  <a:pt x="2520299" y="1208407"/>
                </a:lnTo>
                <a:lnTo>
                  <a:pt x="2517478" y="1208732"/>
                </a:lnTo>
                <a:lnTo>
                  <a:pt x="2515633" y="1207325"/>
                </a:lnTo>
                <a:lnTo>
                  <a:pt x="2512703" y="1205809"/>
                </a:lnTo>
                <a:lnTo>
                  <a:pt x="2512268" y="1202777"/>
                </a:lnTo>
                <a:lnTo>
                  <a:pt x="2512594" y="1201478"/>
                </a:lnTo>
                <a:lnTo>
                  <a:pt x="2511835" y="1198880"/>
                </a:lnTo>
                <a:lnTo>
                  <a:pt x="2506952" y="1197472"/>
                </a:lnTo>
                <a:lnTo>
                  <a:pt x="2505975" y="1196064"/>
                </a:lnTo>
                <a:close/>
                <a:moveTo>
                  <a:pt x="4160094" y="1192925"/>
                </a:moveTo>
                <a:lnTo>
                  <a:pt x="4154668" y="1199637"/>
                </a:lnTo>
                <a:lnTo>
                  <a:pt x="4152172" y="1201803"/>
                </a:lnTo>
                <a:lnTo>
                  <a:pt x="4150544" y="1198880"/>
                </a:lnTo>
                <a:lnTo>
                  <a:pt x="4146204" y="1199205"/>
                </a:lnTo>
                <a:lnTo>
                  <a:pt x="4149894" y="1195198"/>
                </a:lnTo>
                <a:lnTo>
                  <a:pt x="4156513" y="1194441"/>
                </a:lnTo>
                <a:close/>
                <a:moveTo>
                  <a:pt x="1078112" y="1192817"/>
                </a:moveTo>
                <a:lnTo>
                  <a:pt x="1082887" y="1195415"/>
                </a:lnTo>
                <a:lnTo>
                  <a:pt x="1082887" y="1199205"/>
                </a:lnTo>
                <a:lnTo>
                  <a:pt x="1080608" y="1202345"/>
                </a:lnTo>
                <a:lnTo>
                  <a:pt x="1082019" y="1205268"/>
                </a:lnTo>
                <a:lnTo>
                  <a:pt x="1083864" y="1202670"/>
                </a:lnTo>
                <a:lnTo>
                  <a:pt x="1087662" y="1201154"/>
                </a:lnTo>
                <a:lnTo>
                  <a:pt x="1092870" y="1205268"/>
                </a:lnTo>
                <a:lnTo>
                  <a:pt x="1092870" y="1208841"/>
                </a:lnTo>
                <a:lnTo>
                  <a:pt x="1088530" y="1209924"/>
                </a:lnTo>
                <a:lnTo>
                  <a:pt x="1089940" y="1212847"/>
                </a:lnTo>
                <a:lnTo>
                  <a:pt x="1087336" y="1215337"/>
                </a:lnTo>
                <a:lnTo>
                  <a:pt x="1083864" y="1214363"/>
                </a:lnTo>
                <a:lnTo>
                  <a:pt x="1080391" y="1209166"/>
                </a:lnTo>
                <a:lnTo>
                  <a:pt x="1074965" y="1204186"/>
                </a:lnTo>
                <a:lnTo>
                  <a:pt x="1074531" y="1205376"/>
                </a:lnTo>
                <a:lnTo>
                  <a:pt x="1080391" y="1214688"/>
                </a:lnTo>
                <a:lnTo>
                  <a:pt x="1080391" y="1218478"/>
                </a:lnTo>
                <a:lnTo>
                  <a:pt x="1085600" y="1219127"/>
                </a:lnTo>
                <a:lnTo>
                  <a:pt x="1087987" y="1222917"/>
                </a:lnTo>
                <a:lnTo>
                  <a:pt x="1085600" y="1225299"/>
                </a:lnTo>
                <a:lnTo>
                  <a:pt x="1085274" y="1232119"/>
                </a:lnTo>
                <a:lnTo>
                  <a:pt x="1082344" y="1232553"/>
                </a:lnTo>
                <a:lnTo>
                  <a:pt x="1077678" y="1227464"/>
                </a:lnTo>
                <a:lnTo>
                  <a:pt x="1077461" y="1222808"/>
                </a:lnTo>
                <a:lnTo>
                  <a:pt x="1071818" y="1212631"/>
                </a:lnTo>
                <a:lnTo>
                  <a:pt x="1070841" y="1217286"/>
                </a:lnTo>
                <a:lnTo>
                  <a:pt x="1073663" y="1223999"/>
                </a:lnTo>
                <a:lnTo>
                  <a:pt x="1073880" y="1229088"/>
                </a:lnTo>
                <a:lnTo>
                  <a:pt x="1070950" y="1232770"/>
                </a:lnTo>
                <a:lnTo>
                  <a:pt x="1066609" y="1232445"/>
                </a:lnTo>
                <a:lnTo>
                  <a:pt x="1062702" y="1227464"/>
                </a:lnTo>
                <a:lnTo>
                  <a:pt x="1065415" y="1223783"/>
                </a:lnTo>
                <a:lnTo>
                  <a:pt x="1062486" y="1221617"/>
                </a:lnTo>
                <a:lnTo>
                  <a:pt x="1063679" y="1216962"/>
                </a:lnTo>
                <a:lnTo>
                  <a:pt x="1060424" y="1210790"/>
                </a:lnTo>
                <a:lnTo>
                  <a:pt x="1063028" y="1206135"/>
                </a:lnTo>
                <a:lnTo>
                  <a:pt x="1065632" y="1208517"/>
                </a:lnTo>
                <a:lnTo>
                  <a:pt x="1067477" y="1205701"/>
                </a:lnTo>
                <a:lnTo>
                  <a:pt x="1064764" y="1203860"/>
                </a:lnTo>
                <a:lnTo>
                  <a:pt x="1064114" y="1198231"/>
                </a:lnTo>
                <a:lnTo>
                  <a:pt x="1066284" y="1193033"/>
                </a:lnTo>
                <a:lnTo>
                  <a:pt x="1068345" y="1197689"/>
                </a:lnTo>
                <a:lnTo>
                  <a:pt x="1070841" y="1196823"/>
                </a:lnTo>
                <a:lnTo>
                  <a:pt x="1071601" y="1194333"/>
                </a:lnTo>
                <a:close/>
                <a:moveTo>
                  <a:pt x="1101226" y="1192384"/>
                </a:moveTo>
                <a:lnTo>
                  <a:pt x="1102854" y="1194766"/>
                </a:lnTo>
                <a:lnTo>
                  <a:pt x="1102854" y="1199205"/>
                </a:lnTo>
                <a:lnTo>
                  <a:pt x="1108822" y="1203211"/>
                </a:lnTo>
                <a:lnTo>
                  <a:pt x="1111752" y="1207000"/>
                </a:lnTo>
                <a:lnTo>
                  <a:pt x="1112946" y="1224324"/>
                </a:lnTo>
                <a:lnTo>
                  <a:pt x="1110233" y="1231253"/>
                </a:lnTo>
                <a:lnTo>
                  <a:pt x="1108171" y="1229629"/>
                </a:lnTo>
                <a:lnTo>
                  <a:pt x="1109257" y="1219018"/>
                </a:lnTo>
                <a:lnTo>
                  <a:pt x="1107303" y="1209166"/>
                </a:lnTo>
                <a:lnTo>
                  <a:pt x="1106109" y="1213714"/>
                </a:lnTo>
                <a:lnTo>
                  <a:pt x="1105784" y="1229953"/>
                </a:lnTo>
                <a:lnTo>
                  <a:pt x="1104373" y="1232985"/>
                </a:lnTo>
                <a:lnTo>
                  <a:pt x="1103831" y="1236991"/>
                </a:lnTo>
                <a:lnTo>
                  <a:pt x="1101443" y="1239048"/>
                </a:lnTo>
                <a:lnTo>
                  <a:pt x="1097862" y="1237532"/>
                </a:lnTo>
                <a:lnTo>
                  <a:pt x="1096560" y="1244570"/>
                </a:lnTo>
                <a:lnTo>
                  <a:pt x="1089724" y="1248576"/>
                </a:lnTo>
                <a:lnTo>
                  <a:pt x="1085816" y="1252149"/>
                </a:lnTo>
                <a:lnTo>
                  <a:pt x="1083321" y="1248685"/>
                </a:lnTo>
                <a:lnTo>
                  <a:pt x="1085925" y="1243704"/>
                </a:lnTo>
                <a:lnTo>
                  <a:pt x="1086251" y="1238399"/>
                </a:lnTo>
                <a:lnTo>
                  <a:pt x="1089397" y="1235475"/>
                </a:lnTo>
                <a:lnTo>
                  <a:pt x="1094932" y="1235692"/>
                </a:lnTo>
                <a:lnTo>
                  <a:pt x="1093196" y="1232769"/>
                </a:lnTo>
                <a:lnTo>
                  <a:pt x="1095367" y="1229845"/>
                </a:lnTo>
                <a:lnTo>
                  <a:pt x="1091460" y="1227788"/>
                </a:lnTo>
                <a:lnTo>
                  <a:pt x="1092328" y="1219885"/>
                </a:lnTo>
                <a:lnTo>
                  <a:pt x="1096994" y="1213496"/>
                </a:lnTo>
                <a:lnTo>
                  <a:pt x="1097971" y="1198663"/>
                </a:lnTo>
                <a:close/>
                <a:moveTo>
                  <a:pt x="2432618" y="1191193"/>
                </a:moveTo>
                <a:lnTo>
                  <a:pt x="2435548" y="1191734"/>
                </a:lnTo>
                <a:lnTo>
                  <a:pt x="2440865" y="1195957"/>
                </a:lnTo>
                <a:lnTo>
                  <a:pt x="2444663" y="1197906"/>
                </a:lnTo>
                <a:lnTo>
                  <a:pt x="2446183" y="1199747"/>
                </a:lnTo>
                <a:lnTo>
                  <a:pt x="2441408" y="1198123"/>
                </a:lnTo>
                <a:lnTo>
                  <a:pt x="2437826" y="1197581"/>
                </a:lnTo>
                <a:lnTo>
                  <a:pt x="2434680" y="1194225"/>
                </a:lnTo>
                <a:lnTo>
                  <a:pt x="2430990" y="1191626"/>
                </a:lnTo>
                <a:close/>
                <a:moveTo>
                  <a:pt x="2321061" y="1189136"/>
                </a:moveTo>
                <a:lnTo>
                  <a:pt x="2322689" y="1189894"/>
                </a:lnTo>
                <a:lnTo>
                  <a:pt x="2325076" y="1192601"/>
                </a:lnTo>
                <a:lnTo>
                  <a:pt x="2327139" y="1192601"/>
                </a:lnTo>
                <a:lnTo>
                  <a:pt x="2329417" y="1191518"/>
                </a:lnTo>
                <a:lnTo>
                  <a:pt x="2330937" y="1193034"/>
                </a:lnTo>
                <a:lnTo>
                  <a:pt x="2331045" y="1195957"/>
                </a:lnTo>
                <a:lnTo>
                  <a:pt x="2331913" y="1198447"/>
                </a:lnTo>
                <a:lnTo>
                  <a:pt x="2329851" y="1201479"/>
                </a:lnTo>
                <a:lnTo>
                  <a:pt x="2327681" y="1203752"/>
                </a:lnTo>
                <a:lnTo>
                  <a:pt x="2328224" y="1206568"/>
                </a:lnTo>
                <a:lnTo>
                  <a:pt x="2328441" y="1208191"/>
                </a:lnTo>
                <a:lnTo>
                  <a:pt x="2327464" y="1209383"/>
                </a:lnTo>
                <a:lnTo>
                  <a:pt x="2324968" y="1209924"/>
                </a:lnTo>
                <a:lnTo>
                  <a:pt x="2322255" y="1213821"/>
                </a:lnTo>
                <a:lnTo>
                  <a:pt x="2318023" y="1217286"/>
                </a:lnTo>
                <a:lnTo>
                  <a:pt x="2317263" y="1219343"/>
                </a:lnTo>
                <a:lnTo>
                  <a:pt x="2318457" y="1220426"/>
                </a:lnTo>
                <a:lnTo>
                  <a:pt x="2318023" y="1222483"/>
                </a:lnTo>
                <a:lnTo>
                  <a:pt x="2316395" y="1224757"/>
                </a:lnTo>
                <a:lnTo>
                  <a:pt x="2315853" y="1226597"/>
                </a:lnTo>
                <a:lnTo>
                  <a:pt x="2314550" y="1228438"/>
                </a:lnTo>
                <a:lnTo>
                  <a:pt x="2313249" y="1228330"/>
                </a:lnTo>
                <a:lnTo>
                  <a:pt x="2312380" y="1224757"/>
                </a:lnTo>
                <a:lnTo>
                  <a:pt x="2310752" y="1223782"/>
                </a:lnTo>
                <a:lnTo>
                  <a:pt x="2309451" y="1220859"/>
                </a:lnTo>
                <a:lnTo>
                  <a:pt x="2305978" y="1220209"/>
                </a:lnTo>
                <a:lnTo>
                  <a:pt x="2304676" y="1218477"/>
                </a:lnTo>
                <a:lnTo>
                  <a:pt x="2306629" y="1215770"/>
                </a:lnTo>
                <a:lnTo>
                  <a:pt x="2306086" y="1211656"/>
                </a:lnTo>
                <a:lnTo>
                  <a:pt x="2307389" y="1208841"/>
                </a:lnTo>
                <a:lnTo>
                  <a:pt x="2310210" y="1207001"/>
                </a:lnTo>
                <a:lnTo>
                  <a:pt x="2309125" y="1203536"/>
                </a:lnTo>
                <a:lnTo>
                  <a:pt x="2309993" y="1199313"/>
                </a:lnTo>
                <a:lnTo>
                  <a:pt x="2312814" y="1196499"/>
                </a:lnTo>
                <a:lnTo>
                  <a:pt x="2314659" y="1196065"/>
                </a:lnTo>
                <a:lnTo>
                  <a:pt x="2319217" y="1191734"/>
                </a:lnTo>
                <a:close/>
                <a:moveTo>
                  <a:pt x="2362190" y="1188811"/>
                </a:moveTo>
                <a:lnTo>
                  <a:pt x="2367073" y="1189569"/>
                </a:lnTo>
                <a:cubicBezTo>
                  <a:pt x="2367073" y="1189569"/>
                  <a:pt x="2366422" y="1191193"/>
                  <a:pt x="2366422" y="1191193"/>
                </a:cubicBezTo>
                <a:lnTo>
                  <a:pt x="2362298" y="1191193"/>
                </a:lnTo>
                <a:lnTo>
                  <a:pt x="2361105" y="1189460"/>
                </a:lnTo>
                <a:close/>
                <a:moveTo>
                  <a:pt x="7513150" y="1186645"/>
                </a:moveTo>
                <a:lnTo>
                  <a:pt x="7518142" y="1187078"/>
                </a:lnTo>
                <a:lnTo>
                  <a:pt x="7515862" y="1189135"/>
                </a:lnTo>
                <a:lnTo>
                  <a:pt x="7515862" y="1190867"/>
                </a:lnTo>
                <a:lnTo>
                  <a:pt x="7520203" y="1197363"/>
                </a:lnTo>
                <a:lnTo>
                  <a:pt x="7524652" y="1197796"/>
                </a:lnTo>
                <a:lnTo>
                  <a:pt x="7526389" y="1202236"/>
                </a:lnTo>
                <a:lnTo>
                  <a:pt x="7532900" y="1207000"/>
                </a:lnTo>
                <a:lnTo>
                  <a:pt x="7537892" y="1208732"/>
                </a:lnTo>
                <a:lnTo>
                  <a:pt x="7540713" y="1214146"/>
                </a:lnTo>
                <a:lnTo>
                  <a:pt x="7539628" y="1215986"/>
                </a:lnTo>
                <a:lnTo>
                  <a:pt x="7534527" y="1215336"/>
                </a:lnTo>
                <a:lnTo>
                  <a:pt x="7529970" y="1210789"/>
                </a:lnTo>
                <a:lnTo>
                  <a:pt x="7527908" y="1211872"/>
                </a:lnTo>
                <a:lnTo>
                  <a:pt x="7525738" y="1211547"/>
                </a:lnTo>
                <a:lnTo>
                  <a:pt x="7521723" y="1207000"/>
                </a:lnTo>
                <a:lnTo>
                  <a:pt x="7518359" y="1206350"/>
                </a:lnTo>
                <a:lnTo>
                  <a:pt x="7513584" y="1200504"/>
                </a:lnTo>
                <a:lnTo>
                  <a:pt x="7514018" y="1198771"/>
                </a:lnTo>
                <a:lnTo>
                  <a:pt x="7511414" y="1196065"/>
                </a:lnTo>
                <a:lnTo>
                  <a:pt x="7507398" y="1196173"/>
                </a:lnTo>
                <a:lnTo>
                  <a:pt x="7503600" y="1194440"/>
                </a:lnTo>
                <a:lnTo>
                  <a:pt x="7503492" y="1191734"/>
                </a:lnTo>
                <a:lnTo>
                  <a:pt x="7506965" y="1187620"/>
                </a:lnTo>
                <a:lnTo>
                  <a:pt x="7510220" y="1187620"/>
                </a:lnTo>
                <a:close/>
                <a:moveTo>
                  <a:pt x="4165086" y="1185778"/>
                </a:moveTo>
                <a:lnTo>
                  <a:pt x="4160203" y="1191625"/>
                </a:lnTo>
                <a:lnTo>
                  <a:pt x="4157273" y="1190325"/>
                </a:lnTo>
                <a:lnTo>
                  <a:pt x="4159009" y="1186861"/>
                </a:lnTo>
                <a:close/>
                <a:moveTo>
                  <a:pt x="1077029" y="1185455"/>
                </a:moveTo>
                <a:lnTo>
                  <a:pt x="1078656" y="1188161"/>
                </a:lnTo>
                <a:lnTo>
                  <a:pt x="1075184" y="1190761"/>
                </a:lnTo>
                <a:lnTo>
                  <a:pt x="1072579" y="1189245"/>
                </a:lnTo>
                <a:close/>
                <a:moveTo>
                  <a:pt x="4517006" y="1182481"/>
                </a:moveTo>
                <a:lnTo>
                  <a:pt x="4517006" y="1182639"/>
                </a:lnTo>
                <a:lnTo>
                  <a:pt x="4520152" y="1186645"/>
                </a:lnTo>
                <a:lnTo>
                  <a:pt x="4525130" y="1187473"/>
                </a:lnTo>
                <a:lnTo>
                  <a:pt x="4523842" y="1184697"/>
                </a:lnTo>
                <a:lnTo>
                  <a:pt x="4517981" y="1183723"/>
                </a:lnTo>
                <a:close/>
                <a:moveTo>
                  <a:pt x="655008" y="1182207"/>
                </a:moveTo>
                <a:lnTo>
                  <a:pt x="653163" y="1185130"/>
                </a:lnTo>
                <a:lnTo>
                  <a:pt x="651644" y="1182748"/>
                </a:lnTo>
                <a:close/>
                <a:moveTo>
                  <a:pt x="651425" y="1178417"/>
                </a:moveTo>
                <a:lnTo>
                  <a:pt x="642312" y="1187512"/>
                </a:lnTo>
                <a:lnTo>
                  <a:pt x="637970" y="1188054"/>
                </a:lnTo>
                <a:lnTo>
                  <a:pt x="641661" y="1181882"/>
                </a:lnTo>
                <a:close/>
                <a:moveTo>
                  <a:pt x="4414566" y="1176901"/>
                </a:moveTo>
                <a:lnTo>
                  <a:pt x="4421728" y="1178092"/>
                </a:lnTo>
                <a:lnTo>
                  <a:pt x="4421402" y="1180149"/>
                </a:lnTo>
                <a:lnTo>
                  <a:pt x="4417062" y="1180258"/>
                </a:lnTo>
                <a:lnTo>
                  <a:pt x="4419340" y="1182856"/>
                </a:lnTo>
                <a:lnTo>
                  <a:pt x="4417495" y="1185130"/>
                </a:lnTo>
                <a:lnTo>
                  <a:pt x="4413372" y="1184805"/>
                </a:lnTo>
                <a:lnTo>
                  <a:pt x="4410008" y="1180149"/>
                </a:lnTo>
                <a:close/>
                <a:moveTo>
                  <a:pt x="2651387" y="1176576"/>
                </a:moveTo>
                <a:lnTo>
                  <a:pt x="2653015" y="1178092"/>
                </a:lnTo>
                <a:lnTo>
                  <a:pt x="2653666" y="1182856"/>
                </a:lnTo>
                <a:lnTo>
                  <a:pt x="2652147" y="1188270"/>
                </a:lnTo>
                <a:lnTo>
                  <a:pt x="2652907" y="1191409"/>
                </a:lnTo>
                <a:lnTo>
                  <a:pt x="2651387" y="1193250"/>
                </a:lnTo>
                <a:lnTo>
                  <a:pt x="2649217" y="1189460"/>
                </a:lnTo>
                <a:lnTo>
                  <a:pt x="2650519" y="1184155"/>
                </a:lnTo>
                <a:close/>
                <a:moveTo>
                  <a:pt x="592719" y="1172029"/>
                </a:moveTo>
                <a:lnTo>
                  <a:pt x="595215" y="1174735"/>
                </a:lnTo>
                <a:lnTo>
                  <a:pt x="591960" y="1176251"/>
                </a:lnTo>
                <a:lnTo>
                  <a:pt x="587944" y="1172137"/>
                </a:lnTo>
                <a:close/>
                <a:moveTo>
                  <a:pt x="2929407" y="1167156"/>
                </a:moveTo>
                <a:lnTo>
                  <a:pt x="2925934" y="1172028"/>
                </a:lnTo>
                <a:lnTo>
                  <a:pt x="2922136" y="1175060"/>
                </a:lnTo>
                <a:lnTo>
                  <a:pt x="2920183" y="1175385"/>
                </a:lnTo>
                <a:lnTo>
                  <a:pt x="2925066" y="1170729"/>
                </a:lnTo>
                <a:lnTo>
                  <a:pt x="2927345" y="1168022"/>
                </a:lnTo>
                <a:close/>
                <a:moveTo>
                  <a:pt x="4515594" y="1166845"/>
                </a:moveTo>
                <a:lnTo>
                  <a:pt x="4515594" y="1169213"/>
                </a:lnTo>
                <a:lnTo>
                  <a:pt x="4516596" y="1169469"/>
                </a:lnTo>
                <a:lnTo>
                  <a:pt x="4518090" y="1167482"/>
                </a:lnTo>
                <a:close/>
                <a:moveTo>
                  <a:pt x="2923873" y="1166183"/>
                </a:moveTo>
                <a:lnTo>
                  <a:pt x="2925609" y="1166183"/>
                </a:lnTo>
                <a:lnTo>
                  <a:pt x="2923981" y="1168997"/>
                </a:lnTo>
                <a:lnTo>
                  <a:pt x="2921593" y="1170946"/>
                </a:lnTo>
                <a:lnTo>
                  <a:pt x="2919966" y="1171704"/>
                </a:lnTo>
                <a:cubicBezTo>
                  <a:pt x="2919966" y="1171704"/>
                  <a:pt x="2919966" y="1170405"/>
                  <a:pt x="2919966" y="1170405"/>
                </a:cubicBezTo>
                <a:close/>
                <a:moveTo>
                  <a:pt x="2261053" y="1164342"/>
                </a:moveTo>
                <a:lnTo>
                  <a:pt x="2262463" y="1168673"/>
                </a:lnTo>
                <a:lnTo>
                  <a:pt x="2266261" y="1170621"/>
                </a:lnTo>
                <a:lnTo>
                  <a:pt x="2269191" y="1167157"/>
                </a:lnTo>
                <a:lnTo>
                  <a:pt x="2271579" y="1166291"/>
                </a:lnTo>
                <a:lnTo>
                  <a:pt x="2273424" y="1167698"/>
                </a:lnTo>
                <a:lnTo>
                  <a:pt x="2277005" y="1165858"/>
                </a:lnTo>
                <a:lnTo>
                  <a:pt x="2280260" y="1165858"/>
                </a:lnTo>
                <a:lnTo>
                  <a:pt x="2282322" y="1167266"/>
                </a:lnTo>
                <a:lnTo>
                  <a:pt x="2286663" y="1167266"/>
                </a:lnTo>
                <a:lnTo>
                  <a:pt x="2288399" y="1168673"/>
                </a:lnTo>
                <a:lnTo>
                  <a:pt x="2284601" y="1173111"/>
                </a:lnTo>
                <a:lnTo>
                  <a:pt x="2284601" y="1176360"/>
                </a:lnTo>
                <a:lnTo>
                  <a:pt x="2279067" y="1180366"/>
                </a:lnTo>
                <a:lnTo>
                  <a:pt x="2275377" y="1180582"/>
                </a:lnTo>
                <a:lnTo>
                  <a:pt x="2271579" y="1186212"/>
                </a:lnTo>
                <a:lnTo>
                  <a:pt x="2267455" y="1188919"/>
                </a:lnTo>
                <a:lnTo>
                  <a:pt x="2263983" y="1190002"/>
                </a:lnTo>
                <a:lnTo>
                  <a:pt x="2257472" y="1195523"/>
                </a:lnTo>
                <a:lnTo>
                  <a:pt x="2253999" y="1195523"/>
                </a:lnTo>
                <a:lnTo>
                  <a:pt x="2253348" y="1192925"/>
                </a:lnTo>
                <a:lnTo>
                  <a:pt x="2251069" y="1192275"/>
                </a:lnTo>
                <a:lnTo>
                  <a:pt x="2247922" y="1192275"/>
                </a:lnTo>
                <a:lnTo>
                  <a:pt x="2243798" y="1197472"/>
                </a:lnTo>
                <a:lnTo>
                  <a:pt x="2241954" y="1198339"/>
                </a:lnTo>
                <a:cubicBezTo>
                  <a:pt x="2241954" y="1198339"/>
                  <a:pt x="2240869" y="1196931"/>
                  <a:pt x="2240869" y="1196931"/>
                </a:cubicBezTo>
                <a:lnTo>
                  <a:pt x="2240869" y="1192600"/>
                </a:lnTo>
                <a:lnTo>
                  <a:pt x="2242279" y="1189135"/>
                </a:lnTo>
                <a:lnTo>
                  <a:pt x="2240869" y="1184480"/>
                </a:lnTo>
                <a:lnTo>
                  <a:pt x="2238807" y="1182639"/>
                </a:lnTo>
                <a:lnTo>
                  <a:pt x="2239675" y="1179716"/>
                </a:lnTo>
                <a:lnTo>
                  <a:pt x="2248140" y="1177442"/>
                </a:lnTo>
                <a:lnTo>
                  <a:pt x="2249984" y="1175060"/>
                </a:lnTo>
                <a:lnTo>
                  <a:pt x="2249984" y="1172787"/>
                </a:lnTo>
                <a:lnTo>
                  <a:pt x="2254976" y="1166615"/>
                </a:lnTo>
                <a:lnTo>
                  <a:pt x="2259317" y="1165425"/>
                </a:lnTo>
                <a:close/>
                <a:moveTo>
                  <a:pt x="4628560" y="1163475"/>
                </a:moveTo>
                <a:lnTo>
                  <a:pt x="4631708" y="1164124"/>
                </a:lnTo>
                <a:lnTo>
                  <a:pt x="4632250" y="1167048"/>
                </a:lnTo>
                <a:lnTo>
                  <a:pt x="4630622" y="1168997"/>
                </a:lnTo>
                <a:lnTo>
                  <a:pt x="4632793" y="1173003"/>
                </a:lnTo>
                <a:lnTo>
                  <a:pt x="4632250" y="1175276"/>
                </a:lnTo>
                <a:lnTo>
                  <a:pt x="4630297" y="1175385"/>
                </a:lnTo>
                <a:lnTo>
                  <a:pt x="4629212" y="1173219"/>
                </a:lnTo>
                <a:lnTo>
                  <a:pt x="4625631" y="1169971"/>
                </a:lnTo>
                <a:lnTo>
                  <a:pt x="4625522" y="1166723"/>
                </a:lnTo>
                <a:close/>
                <a:moveTo>
                  <a:pt x="3136348" y="1163367"/>
                </a:moveTo>
                <a:lnTo>
                  <a:pt x="3138084" y="1165208"/>
                </a:lnTo>
                <a:lnTo>
                  <a:pt x="3139711" y="1169646"/>
                </a:lnTo>
                <a:lnTo>
                  <a:pt x="3141665" y="1171812"/>
                </a:lnTo>
                <a:lnTo>
                  <a:pt x="3141014" y="1176793"/>
                </a:lnTo>
                <a:lnTo>
                  <a:pt x="3141882" y="1181881"/>
                </a:lnTo>
                <a:lnTo>
                  <a:pt x="3139386" y="1181231"/>
                </a:lnTo>
                <a:lnTo>
                  <a:pt x="3137650" y="1177658"/>
                </a:lnTo>
                <a:lnTo>
                  <a:pt x="3138193" y="1172028"/>
                </a:lnTo>
                <a:lnTo>
                  <a:pt x="3136131" y="1168781"/>
                </a:lnTo>
                <a:lnTo>
                  <a:pt x="3135480" y="1165099"/>
                </a:lnTo>
                <a:close/>
                <a:moveTo>
                  <a:pt x="4163891" y="1161635"/>
                </a:moveTo>
                <a:lnTo>
                  <a:pt x="4165844" y="1162934"/>
                </a:lnTo>
                <a:lnTo>
                  <a:pt x="4166061" y="1165749"/>
                </a:lnTo>
                <a:lnTo>
                  <a:pt x="4163565" y="1168023"/>
                </a:lnTo>
                <a:lnTo>
                  <a:pt x="4161504" y="1165425"/>
                </a:lnTo>
                <a:close/>
                <a:moveTo>
                  <a:pt x="4212399" y="1157303"/>
                </a:moveTo>
                <a:lnTo>
                  <a:pt x="4210011" y="1163366"/>
                </a:lnTo>
                <a:lnTo>
                  <a:pt x="4207515" y="1174194"/>
                </a:lnTo>
                <a:lnTo>
                  <a:pt x="4207190" y="1185562"/>
                </a:lnTo>
                <a:lnTo>
                  <a:pt x="4199160" y="1205267"/>
                </a:lnTo>
                <a:lnTo>
                  <a:pt x="4198725" y="1211114"/>
                </a:lnTo>
                <a:lnTo>
                  <a:pt x="4198725" y="1211114"/>
                </a:lnTo>
                <a:lnTo>
                  <a:pt x="4199160" y="1205268"/>
                </a:lnTo>
                <a:lnTo>
                  <a:pt x="4207190" y="1185562"/>
                </a:lnTo>
                <a:lnTo>
                  <a:pt x="4207515" y="1174194"/>
                </a:lnTo>
                <a:lnTo>
                  <a:pt x="4210011" y="1163367"/>
                </a:lnTo>
                <a:lnTo>
                  <a:pt x="4212399" y="1157304"/>
                </a:lnTo>
                <a:close/>
                <a:moveTo>
                  <a:pt x="3159678" y="1150483"/>
                </a:moveTo>
                <a:lnTo>
                  <a:pt x="3161523" y="1152324"/>
                </a:lnTo>
                <a:lnTo>
                  <a:pt x="3160980" y="1154165"/>
                </a:lnTo>
                <a:lnTo>
                  <a:pt x="3158701" y="1152865"/>
                </a:lnTo>
                <a:lnTo>
                  <a:pt x="3157942" y="1150699"/>
                </a:lnTo>
                <a:close/>
                <a:moveTo>
                  <a:pt x="4174961" y="1150267"/>
                </a:moveTo>
                <a:lnTo>
                  <a:pt x="4179410" y="1150916"/>
                </a:lnTo>
                <a:lnTo>
                  <a:pt x="4173767" y="1155573"/>
                </a:lnTo>
                <a:lnTo>
                  <a:pt x="4172899" y="1152649"/>
                </a:lnTo>
                <a:close/>
                <a:moveTo>
                  <a:pt x="2368484" y="1149833"/>
                </a:moveTo>
                <a:lnTo>
                  <a:pt x="2371414" y="1152865"/>
                </a:lnTo>
                <a:lnTo>
                  <a:pt x="2373802" y="1155138"/>
                </a:lnTo>
                <a:lnTo>
                  <a:pt x="2378793" y="1155571"/>
                </a:lnTo>
                <a:lnTo>
                  <a:pt x="2380963" y="1156762"/>
                </a:lnTo>
                <a:lnTo>
                  <a:pt x="2381289" y="1162934"/>
                </a:lnTo>
                <a:lnTo>
                  <a:pt x="2380855" y="1164557"/>
                </a:lnTo>
                <a:lnTo>
                  <a:pt x="2380855" y="1167048"/>
                </a:lnTo>
                <a:lnTo>
                  <a:pt x="2378793" y="1168455"/>
                </a:lnTo>
                <a:lnTo>
                  <a:pt x="2376188" y="1168888"/>
                </a:lnTo>
                <a:lnTo>
                  <a:pt x="2374019" y="1170404"/>
                </a:lnTo>
                <a:lnTo>
                  <a:pt x="2370329" y="1170945"/>
                </a:lnTo>
                <a:lnTo>
                  <a:pt x="2368376" y="1169321"/>
                </a:lnTo>
                <a:lnTo>
                  <a:pt x="2367724" y="1165748"/>
                </a:lnTo>
                <a:lnTo>
                  <a:pt x="2365988" y="1164232"/>
                </a:lnTo>
                <a:lnTo>
                  <a:pt x="2364035" y="1159469"/>
                </a:lnTo>
                <a:lnTo>
                  <a:pt x="2360563" y="1156762"/>
                </a:lnTo>
                <a:lnTo>
                  <a:pt x="2359803" y="1152648"/>
                </a:lnTo>
                <a:lnTo>
                  <a:pt x="2360563" y="1150266"/>
                </a:lnTo>
                <a:lnTo>
                  <a:pt x="2362733" y="1151457"/>
                </a:lnTo>
                <a:lnTo>
                  <a:pt x="2366856" y="1151241"/>
                </a:lnTo>
                <a:close/>
                <a:moveTo>
                  <a:pt x="1073889" y="1147565"/>
                </a:moveTo>
                <a:lnTo>
                  <a:pt x="1067585" y="1148426"/>
                </a:lnTo>
                <a:lnTo>
                  <a:pt x="1058361" y="1149942"/>
                </a:lnTo>
                <a:lnTo>
                  <a:pt x="1056734" y="1150266"/>
                </a:lnTo>
                <a:lnTo>
                  <a:pt x="1056734" y="1150267"/>
                </a:lnTo>
                <a:lnTo>
                  <a:pt x="1058362" y="1149942"/>
                </a:lnTo>
                <a:lnTo>
                  <a:pt x="1067586" y="1148426"/>
                </a:lnTo>
                <a:close/>
                <a:moveTo>
                  <a:pt x="2647480" y="1146910"/>
                </a:moveTo>
                <a:lnTo>
                  <a:pt x="2648782" y="1148209"/>
                </a:lnTo>
                <a:lnTo>
                  <a:pt x="2648674" y="1151349"/>
                </a:lnTo>
                <a:lnTo>
                  <a:pt x="2647154" y="1151024"/>
                </a:lnTo>
                <a:lnTo>
                  <a:pt x="2645635" y="1148859"/>
                </a:lnTo>
                <a:close/>
                <a:moveTo>
                  <a:pt x="2391163" y="1144745"/>
                </a:moveTo>
                <a:lnTo>
                  <a:pt x="2393333" y="1146044"/>
                </a:lnTo>
                <a:lnTo>
                  <a:pt x="2395612" y="1145828"/>
                </a:lnTo>
                <a:lnTo>
                  <a:pt x="2396806" y="1147127"/>
                </a:lnTo>
                <a:lnTo>
                  <a:pt x="2397240" y="1148643"/>
                </a:lnTo>
                <a:lnTo>
                  <a:pt x="2400712" y="1148967"/>
                </a:lnTo>
                <a:lnTo>
                  <a:pt x="2404727" y="1152324"/>
                </a:lnTo>
                <a:lnTo>
                  <a:pt x="2404727" y="1153515"/>
                </a:lnTo>
                <a:lnTo>
                  <a:pt x="2402557" y="1155031"/>
                </a:lnTo>
                <a:lnTo>
                  <a:pt x="2405161" y="1156655"/>
                </a:lnTo>
                <a:lnTo>
                  <a:pt x="2404619" y="1158929"/>
                </a:lnTo>
                <a:lnTo>
                  <a:pt x="2403208" y="1159362"/>
                </a:lnTo>
                <a:lnTo>
                  <a:pt x="2402774" y="1160878"/>
                </a:lnTo>
                <a:lnTo>
                  <a:pt x="2400604" y="1161960"/>
                </a:lnTo>
                <a:lnTo>
                  <a:pt x="2398868" y="1160445"/>
                </a:lnTo>
                <a:lnTo>
                  <a:pt x="2396155" y="1160445"/>
                </a:lnTo>
                <a:lnTo>
                  <a:pt x="2395178" y="1159470"/>
                </a:lnTo>
                <a:lnTo>
                  <a:pt x="2394744" y="1156005"/>
                </a:lnTo>
                <a:lnTo>
                  <a:pt x="2392683" y="1153515"/>
                </a:lnTo>
                <a:lnTo>
                  <a:pt x="2391272" y="1151025"/>
                </a:lnTo>
                <a:lnTo>
                  <a:pt x="2389318" y="1149942"/>
                </a:lnTo>
                <a:lnTo>
                  <a:pt x="2388016" y="1149833"/>
                </a:lnTo>
                <a:lnTo>
                  <a:pt x="2386823" y="1147019"/>
                </a:lnTo>
                <a:lnTo>
                  <a:pt x="2388016" y="1145828"/>
                </a:lnTo>
                <a:close/>
                <a:moveTo>
                  <a:pt x="3164670" y="1143770"/>
                </a:moveTo>
                <a:lnTo>
                  <a:pt x="3166406" y="1145286"/>
                </a:lnTo>
                <a:lnTo>
                  <a:pt x="3165972" y="1147127"/>
                </a:lnTo>
                <a:lnTo>
                  <a:pt x="3164670" y="1145178"/>
                </a:lnTo>
                <a:close/>
                <a:moveTo>
                  <a:pt x="4174093" y="1139547"/>
                </a:moveTo>
                <a:lnTo>
                  <a:pt x="4175069" y="1144094"/>
                </a:lnTo>
                <a:lnTo>
                  <a:pt x="4171271" y="1150049"/>
                </a:lnTo>
                <a:lnTo>
                  <a:pt x="4169752" y="1144202"/>
                </a:lnTo>
                <a:close/>
                <a:moveTo>
                  <a:pt x="3217626" y="1134350"/>
                </a:moveTo>
                <a:lnTo>
                  <a:pt x="3216325" y="1136732"/>
                </a:lnTo>
                <a:lnTo>
                  <a:pt x="3217626" y="1139439"/>
                </a:lnTo>
                <a:lnTo>
                  <a:pt x="3216866" y="1140522"/>
                </a:lnTo>
                <a:lnTo>
                  <a:pt x="3215131" y="1138898"/>
                </a:lnTo>
                <a:lnTo>
                  <a:pt x="3215131" y="1136191"/>
                </a:lnTo>
                <a:close/>
                <a:moveTo>
                  <a:pt x="1092521" y="1129611"/>
                </a:moveTo>
                <a:lnTo>
                  <a:pt x="1087879" y="1134242"/>
                </a:lnTo>
                <a:lnTo>
                  <a:pt x="1081151" y="1144312"/>
                </a:lnTo>
                <a:lnTo>
                  <a:pt x="1075508" y="1147343"/>
                </a:lnTo>
                <a:lnTo>
                  <a:pt x="1081151" y="1144312"/>
                </a:lnTo>
                <a:lnTo>
                  <a:pt x="1087879" y="1134243"/>
                </a:lnTo>
                <a:close/>
                <a:moveTo>
                  <a:pt x="2646612" y="1129262"/>
                </a:moveTo>
                <a:lnTo>
                  <a:pt x="2647263" y="1131860"/>
                </a:lnTo>
                <a:lnTo>
                  <a:pt x="2643791" y="1134567"/>
                </a:lnTo>
                <a:lnTo>
                  <a:pt x="2642055" y="1136625"/>
                </a:lnTo>
                <a:lnTo>
                  <a:pt x="2639776" y="1135974"/>
                </a:lnTo>
                <a:lnTo>
                  <a:pt x="2643031" y="1130994"/>
                </a:lnTo>
                <a:close/>
                <a:moveTo>
                  <a:pt x="3203736" y="1128179"/>
                </a:moveTo>
                <a:lnTo>
                  <a:pt x="3205039" y="1130994"/>
                </a:lnTo>
                <a:lnTo>
                  <a:pt x="3206775" y="1131860"/>
                </a:lnTo>
                <a:lnTo>
                  <a:pt x="3209813" y="1137057"/>
                </a:lnTo>
                <a:lnTo>
                  <a:pt x="3208945" y="1139547"/>
                </a:lnTo>
                <a:lnTo>
                  <a:pt x="3205256" y="1139222"/>
                </a:lnTo>
                <a:lnTo>
                  <a:pt x="3202760" y="1141605"/>
                </a:lnTo>
                <a:lnTo>
                  <a:pt x="3200590" y="1141388"/>
                </a:lnTo>
                <a:lnTo>
                  <a:pt x="3199613" y="1139222"/>
                </a:lnTo>
                <a:lnTo>
                  <a:pt x="3196683" y="1136732"/>
                </a:lnTo>
                <a:lnTo>
                  <a:pt x="3197660" y="1134350"/>
                </a:lnTo>
                <a:lnTo>
                  <a:pt x="3197985" y="1131752"/>
                </a:lnTo>
                <a:lnTo>
                  <a:pt x="3201023" y="1128395"/>
                </a:lnTo>
                <a:close/>
                <a:moveTo>
                  <a:pt x="2388342" y="1127962"/>
                </a:moveTo>
                <a:lnTo>
                  <a:pt x="2390621" y="1130235"/>
                </a:lnTo>
                <a:lnTo>
                  <a:pt x="2388885" y="1131427"/>
                </a:lnTo>
                <a:lnTo>
                  <a:pt x="2383677" y="1130885"/>
                </a:lnTo>
                <a:lnTo>
                  <a:pt x="2385087" y="1128503"/>
                </a:lnTo>
                <a:close/>
                <a:moveTo>
                  <a:pt x="1103059" y="1125444"/>
                </a:moveTo>
                <a:lnTo>
                  <a:pt x="1101769" y="1126230"/>
                </a:lnTo>
                <a:lnTo>
                  <a:pt x="1097709" y="1127512"/>
                </a:lnTo>
                <a:lnTo>
                  <a:pt x="1101769" y="1126231"/>
                </a:lnTo>
                <a:close/>
                <a:moveTo>
                  <a:pt x="4388088" y="1124125"/>
                </a:moveTo>
                <a:lnTo>
                  <a:pt x="4386784" y="1127097"/>
                </a:lnTo>
                <a:lnTo>
                  <a:pt x="4387110" y="1128027"/>
                </a:lnTo>
                <a:lnTo>
                  <a:pt x="4388088" y="1125797"/>
                </a:lnTo>
                <a:close/>
                <a:moveTo>
                  <a:pt x="3496514" y="1122657"/>
                </a:moveTo>
                <a:lnTo>
                  <a:pt x="3501507" y="1124173"/>
                </a:lnTo>
                <a:lnTo>
                  <a:pt x="3505847" y="1123090"/>
                </a:lnTo>
                <a:lnTo>
                  <a:pt x="3508235" y="1127529"/>
                </a:lnTo>
                <a:lnTo>
                  <a:pt x="3508343" y="1131643"/>
                </a:lnTo>
                <a:lnTo>
                  <a:pt x="3514202" y="1134891"/>
                </a:lnTo>
                <a:lnTo>
                  <a:pt x="3516482" y="1138573"/>
                </a:lnTo>
                <a:lnTo>
                  <a:pt x="3519086" y="1136516"/>
                </a:lnTo>
                <a:lnTo>
                  <a:pt x="3522667" y="1140413"/>
                </a:lnTo>
                <a:lnTo>
                  <a:pt x="3518652" y="1143336"/>
                </a:lnTo>
                <a:lnTo>
                  <a:pt x="3523210" y="1145394"/>
                </a:lnTo>
                <a:lnTo>
                  <a:pt x="3524187" y="1148209"/>
                </a:lnTo>
                <a:lnTo>
                  <a:pt x="3520388" y="1152106"/>
                </a:lnTo>
                <a:lnTo>
                  <a:pt x="3517024" y="1149941"/>
                </a:lnTo>
                <a:lnTo>
                  <a:pt x="3519737" y="1155355"/>
                </a:lnTo>
                <a:lnTo>
                  <a:pt x="3517459" y="1158495"/>
                </a:lnTo>
                <a:lnTo>
                  <a:pt x="3522775" y="1158495"/>
                </a:lnTo>
                <a:lnTo>
                  <a:pt x="3522775" y="1162067"/>
                </a:lnTo>
                <a:lnTo>
                  <a:pt x="3519412" y="1166615"/>
                </a:lnTo>
                <a:lnTo>
                  <a:pt x="3518652" y="1170187"/>
                </a:lnTo>
                <a:lnTo>
                  <a:pt x="3522125" y="1170512"/>
                </a:lnTo>
                <a:lnTo>
                  <a:pt x="3525380" y="1177875"/>
                </a:lnTo>
                <a:lnTo>
                  <a:pt x="3525597" y="1170296"/>
                </a:lnTo>
                <a:lnTo>
                  <a:pt x="3528527" y="1168455"/>
                </a:lnTo>
                <a:lnTo>
                  <a:pt x="3530371" y="1162717"/>
                </a:lnTo>
                <a:lnTo>
                  <a:pt x="3535255" y="1160335"/>
                </a:lnTo>
                <a:lnTo>
                  <a:pt x="3535364" y="1166073"/>
                </a:lnTo>
                <a:lnTo>
                  <a:pt x="3539595" y="1165857"/>
                </a:lnTo>
                <a:lnTo>
                  <a:pt x="3542417" y="1162067"/>
                </a:lnTo>
                <a:lnTo>
                  <a:pt x="3542851" y="1154489"/>
                </a:lnTo>
                <a:lnTo>
                  <a:pt x="3540355" y="1151240"/>
                </a:lnTo>
                <a:lnTo>
                  <a:pt x="3539595" y="1140413"/>
                </a:lnTo>
                <a:lnTo>
                  <a:pt x="3545346" y="1135433"/>
                </a:lnTo>
                <a:lnTo>
                  <a:pt x="3548711" y="1138032"/>
                </a:lnTo>
                <a:lnTo>
                  <a:pt x="3549362" y="1147775"/>
                </a:lnTo>
                <a:lnTo>
                  <a:pt x="3552618" y="1149183"/>
                </a:lnTo>
                <a:lnTo>
                  <a:pt x="3553160" y="1156220"/>
                </a:lnTo>
                <a:lnTo>
                  <a:pt x="3556959" y="1156220"/>
                </a:lnTo>
                <a:lnTo>
                  <a:pt x="3560865" y="1149941"/>
                </a:lnTo>
                <a:lnTo>
                  <a:pt x="3559237" y="1145935"/>
                </a:lnTo>
                <a:lnTo>
                  <a:pt x="3560539" y="1140738"/>
                </a:lnTo>
                <a:lnTo>
                  <a:pt x="3569871" y="1134783"/>
                </a:lnTo>
                <a:lnTo>
                  <a:pt x="3574646" y="1137706"/>
                </a:lnTo>
                <a:lnTo>
                  <a:pt x="3574212" y="1142471"/>
                </a:lnTo>
                <a:lnTo>
                  <a:pt x="3576057" y="1144420"/>
                </a:lnTo>
                <a:lnTo>
                  <a:pt x="3576057" y="1148209"/>
                </a:lnTo>
                <a:lnTo>
                  <a:pt x="3580723" y="1155246"/>
                </a:lnTo>
                <a:lnTo>
                  <a:pt x="3578878" y="1165532"/>
                </a:lnTo>
                <a:lnTo>
                  <a:pt x="3583978" y="1153514"/>
                </a:lnTo>
                <a:lnTo>
                  <a:pt x="3579747" y="1145069"/>
                </a:lnTo>
                <a:lnTo>
                  <a:pt x="3581266" y="1137165"/>
                </a:lnTo>
                <a:lnTo>
                  <a:pt x="3584847" y="1136840"/>
                </a:lnTo>
                <a:lnTo>
                  <a:pt x="3586366" y="1138032"/>
                </a:lnTo>
                <a:lnTo>
                  <a:pt x="3589839" y="1137165"/>
                </a:lnTo>
                <a:lnTo>
                  <a:pt x="3594288" y="1144852"/>
                </a:lnTo>
                <a:lnTo>
                  <a:pt x="3598954" y="1145069"/>
                </a:lnTo>
                <a:lnTo>
                  <a:pt x="3601559" y="1139006"/>
                </a:lnTo>
                <a:lnTo>
                  <a:pt x="3604380" y="1135000"/>
                </a:lnTo>
                <a:lnTo>
                  <a:pt x="3606876" y="1136840"/>
                </a:lnTo>
                <a:lnTo>
                  <a:pt x="3606985" y="1140738"/>
                </a:lnTo>
                <a:lnTo>
                  <a:pt x="3611651" y="1138681"/>
                </a:lnTo>
                <a:lnTo>
                  <a:pt x="3616317" y="1138248"/>
                </a:lnTo>
                <a:lnTo>
                  <a:pt x="3618053" y="1134891"/>
                </a:lnTo>
                <a:lnTo>
                  <a:pt x="3616208" y="1130344"/>
                </a:lnTo>
                <a:lnTo>
                  <a:pt x="3618379" y="1126338"/>
                </a:lnTo>
                <a:lnTo>
                  <a:pt x="3621200" y="1127637"/>
                </a:lnTo>
                <a:lnTo>
                  <a:pt x="3624890" y="1125255"/>
                </a:lnTo>
                <a:lnTo>
                  <a:pt x="3629447" y="1126555"/>
                </a:lnTo>
                <a:lnTo>
                  <a:pt x="3630207" y="1130777"/>
                </a:lnTo>
                <a:lnTo>
                  <a:pt x="3632486" y="1133159"/>
                </a:lnTo>
                <a:lnTo>
                  <a:pt x="3630641" y="1135974"/>
                </a:lnTo>
                <a:lnTo>
                  <a:pt x="3633679" y="1140630"/>
                </a:lnTo>
                <a:lnTo>
                  <a:pt x="3636500" y="1140197"/>
                </a:lnTo>
                <a:lnTo>
                  <a:pt x="3637912" y="1136191"/>
                </a:lnTo>
                <a:lnTo>
                  <a:pt x="3645508" y="1129045"/>
                </a:lnTo>
                <a:lnTo>
                  <a:pt x="3649197" y="1128071"/>
                </a:lnTo>
                <a:lnTo>
                  <a:pt x="3653972" y="1130128"/>
                </a:lnTo>
                <a:lnTo>
                  <a:pt x="3649523" y="1131318"/>
                </a:lnTo>
                <a:lnTo>
                  <a:pt x="3647352" y="1133159"/>
                </a:lnTo>
                <a:lnTo>
                  <a:pt x="3646810" y="1136732"/>
                </a:lnTo>
                <a:lnTo>
                  <a:pt x="3642578" y="1138681"/>
                </a:lnTo>
                <a:lnTo>
                  <a:pt x="3644423" y="1143012"/>
                </a:lnTo>
                <a:lnTo>
                  <a:pt x="3648329" y="1144636"/>
                </a:lnTo>
                <a:lnTo>
                  <a:pt x="3651476" y="1142146"/>
                </a:lnTo>
                <a:lnTo>
                  <a:pt x="3653864" y="1143553"/>
                </a:lnTo>
                <a:lnTo>
                  <a:pt x="3654623" y="1149724"/>
                </a:lnTo>
                <a:lnTo>
                  <a:pt x="3651042" y="1150916"/>
                </a:lnTo>
                <a:lnTo>
                  <a:pt x="3647678" y="1155030"/>
                </a:lnTo>
                <a:lnTo>
                  <a:pt x="3649414" y="1159361"/>
                </a:lnTo>
                <a:lnTo>
                  <a:pt x="3650825" y="1158169"/>
                </a:lnTo>
                <a:lnTo>
                  <a:pt x="3656142" y="1158603"/>
                </a:lnTo>
                <a:lnTo>
                  <a:pt x="3656794" y="1162067"/>
                </a:lnTo>
                <a:lnTo>
                  <a:pt x="3654297" y="1166399"/>
                </a:lnTo>
                <a:lnTo>
                  <a:pt x="3657227" y="1164124"/>
                </a:lnTo>
                <a:lnTo>
                  <a:pt x="3666777" y="1164883"/>
                </a:lnTo>
                <a:lnTo>
                  <a:pt x="3670792" y="1168780"/>
                </a:lnTo>
                <a:lnTo>
                  <a:pt x="3668513" y="1172136"/>
                </a:lnTo>
                <a:lnTo>
                  <a:pt x="3664823" y="1172136"/>
                </a:lnTo>
                <a:lnTo>
                  <a:pt x="3660591" y="1174302"/>
                </a:lnTo>
                <a:lnTo>
                  <a:pt x="3661025" y="1178633"/>
                </a:lnTo>
                <a:lnTo>
                  <a:pt x="3658421" y="1180799"/>
                </a:lnTo>
                <a:lnTo>
                  <a:pt x="3658530" y="1185562"/>
                </a:lnTo>
                <a:lnTo>
                  <a:pt x="3662870" y="1190001"/>
                </a:lnTo>
                <a:lnTo>
                  <a:pt x="3664173" y="1194224"/>
                </a:lnTo>
                <a:lnTo>
                  <a:pt x="3661568" y="1199313"/>
                </a:lnTo>
                <a:lnTo>
                  <a:pt x="3657662" y="1199854"/>
                </a:lnTo>
                <a:lnTo>
                  <a:pt x="3656902" y="1196064"/>
                </a:lnTo>
                <a:lnTo>
                  <a:pt x="3652778" y="1193574"/>
                </a:lnTo>
                <a:lnTo>
                  <a:pt x="3650934" y="1195848"/>
                </a:lnTo>
                <a:lnTo>
                  <a:pt x="3652996" y="1201695"/>
                </a:lnTo>
                <a:lnTo>
                  <a:pt x="3650174" y="1202452"/>
                </a:lnTo>
                <a:lnTo>
                  <a:pt x="3649631" y="1205484"/>
                </a:lnTo>
                <a:lnTo>
                  <a:pt x="3651151" y="1207108"/>
                </a:lnTo>
                <a:lnTo>
                  <a:pt x="3650499" y="1210031"/>
                </a:lnTo>
                <a:lnTo>
                  <a:pt x="3647135" y="1213821"/>
                </a:lnTo>
                <a:lnTo>
                  <a:pt x="3641167" y="1211764"/>
                </a:lnTo>
                <a:lnTo>
                  <a:pt x="3640082" y="1208191"/>
                </a:lnTo>
                <a:lnTo>
                  <a:pt x="3637912" y="1207974"/>
                </a:lnTo>
                <a:lnTo>
                  <a:pt x="3637260" y="1211114"/>
                </a:lnTo>
                <a:lnTo>
                  <a:pt x="3638345" y="1213279"/>
                </a:lnTo>
                <a:lnTo>
                  <a:pt x="3636067" y="1216203"/>
                </a:lnTo>
                <a:lnTo>
                  <a:pt x="3624130" y="1218476"/>
                </a:lnTo>
                <a:lnTo>
                  <a:pt x="3620332" y="1223674"/>
                </a:lnTo>
                <a:lnTo>
                  <a:pt x="3610348" y="1232443"/>
                </a:lnTo>
                <a:lnTo>
                  <a:pt x="3608286" y="1233635"/>
                </a:lnTo>
                <a:lnTo>
                  <a:pt x="3608395" y="1232443"/>
                </a:lnTo>
                <a:lnTo>
                  <a:pt x="3604380" y="1232119"/>
                </a:lnTo>
                <a:lnTo>
                  <a:pt x="3602861" y="1232660"/>
                </a:lnTo>
                <a:lnTo>
                  <a:pt x="3600582" y="1231360"/>
                </a:lnTo>
                <a:lnTo>
                  <a:pt x="3596241" y="1236991"/>
                </a:lnTo>
                <a:lnTo>
                  <a:pt x="3592552" y="1237749"/>
                </a:lnTo>
                <a:lnTo>
                  <a:pt x="3590707" y="1240023"/>
                </a:lnTo>
                <a:lnTo>
                  <a:pt x="3588971" y="1237749"/>
                </a:lnTo>
                <a:lnTo>
                  <a:pt x="3591249" y="1234825"/>
                </a:lnTo>
                <a:lnTo>
                  <a:pt x="3585064" y="1235475"/>
                </a:lnTo>
                <a:lnTo>
                  <a:pt x="3584630" y="1241321"/>
                </a:lnTo>
                <a:lnTo>
                  <a:pt x="3579530" y="1246302"/>
                </a:lnTo>
                <a:lnTo>
                  <a:pt x="3574212" y="1244895"/>
                </a:lnTo>
                <a:lnTo>
                  <a:pt x="3572910" y="1242080"/>
                </a:lnTo>
                <a:lnTo>
                  <a:pt x="3571391" y="1244245"/>
                </a:lnTo>
                <a:lnTo>
                  <a:pt x="3572259" y="1249550"/>
                </a:lnTo>
                <a:lnTo>
                  <a:pt x="3565857" y="1251499"/>
                </a:lnTo>
                <a:lnTo>
                  <a:pt x="3561950" y="1249875"/>
                </a:lnTo>
                <a:lnTo>
                  <a:pt x="3551966" y="1250092"/>
                </a:lnTo>
                <a:lnTo>
                  <a:pt x="3544370" y="1242946"/>
                </a:lnTo>
                <a:lnTo>
                  <a:pt x="3539921" y="1242513"/>
                </a:lnTo>
                <a:lnTo>
                  <a:pt x="3536123" y="1245760"/>
                </a:lnTo>
                <a:lnTo>
                  <a:pt x="3532325" y="1243920"/>
                </a:lnTo>
                <a:lnTo>
                  <a:pt x="3527008" y="1238615"/>
                </a:lnTo>
                <a:lnTo>
                  <a:pt x="3527441" y="1233635"/>
                </a:lnTo>
                <a:lnTo>
                  <a:pt x="3522450" y="1235366"/>
                </a:lnTo>
                <a:lnTo>
                  <a:pt x="3519520" y="1234501"/>
                </a:lnTo>
                <a:lnTo>
                  <a:pt x="3518652" y="1231794"/>
                </a:lnTo>
                <a:lnTo>
                  <a:pt x="3515071" y="1234068"/>
                </a:lnTo>
                <a:lnTo>
                  <a:pt x="3510296" y="1231469"/>
                </a:lnTo>
                <a:lnTo>
                  <a:pt x="3504653" y="1235800"/>
                </a:lnTo>
                <a:lnTo>
                  <a:pt x="3496840" y="1234825"/>
                </a:lnTo>
                <a:lnTo>
                  <a:pt x="3493151" y="1232660"/>
                </a:lnTo>
                <a:lnTo>
                  <a:pt x="3491631" y="1234501"/>
                </a:lnTo>
                <a:lnTo>
                  <a:pt x="3485988" y="1234501"/>
                </a:lnTo>
                <a:lnTo>
                  <a:pt x="3486639" y="1226813"/>
                </a:lnTo>
                <a:lnTo>
                  <a:pt x="3488376" y="1225514"/>
                </a:lnTo>
                <a:lnTo>
                  <a:pt x="3486097" y="1224431"/>
                </a:lnTo>
                <a:lnTo>
                  <a:pt x="3485120" y="1218801"/>
                </a:lnTo>
                <a:lnTo>
                  <a:pt x="3486857" y="1218801"/>
                </a:lnTo>
                <a:lnTo>
                  <a:pt x="3486965" y="1216744"/>
                </a:lnTo>
                <a:lnTo>
                  <a:pt x="3490980" y="1219451"/>
                </a:lnTo>
                <a:lnTo>
                  <a:pt x="3492391" y="1222482"/>
                </a:lnTo>
                <a:lnTo>
                  <a:pt x="3495429" y="1220750"/>
                </a:lnTo>
                <a:lnTo>
                  <a:pt x="3498034" y="1221399"/>
                </a:lnTo>
                <a:lnTo>
                  <a:pt x="3500312" y="1218585"/>
                </a:lnTo>
                <a:lnTo>
                  <a:pt x="3500530" y="1215337"/>
                </a:lnTo>
                <a:lnTo>
                  <a:pt x="3504979" y="1215228"/>
                </a:lnTo>
                <a:lnTo>
                  <a:pt x="3508343" y="1212305"/>
                </a:lnTo>
                <a:lnTo>
                  <a:pt x="3513009" y="1210681"/>
                </a:lnTo>
                <a:lnTo>
                  <a:pt x="3516047" y="1212522"/>
                </a:lnTo>
                <a:lnTo>
                  <a:pt x="3514854" y="1209815"/>
                </a:lnTo>
                <a:lnTo>
                  <a:pt x="3509753" y="1208191"/>
                </a:lnTo>
                <a:lnTo>
                  <a:pt x="3503243" y="1213388"/>
                </a:lnTo>
                <a:lnTo>
                  <a:pt x="3499662" y="1210789"/>
                </a:lnTo>
                <a:lnTo>
                  <a:pt x="3501940" y="1207325"/>
                </a:lnTo>
                <a:lnTo>
                  <a:pt x="3506281" y="1204185"/>
                </a:lnTo>
                <a:lnTo>
                  <a:pt x="3507258" y="1201153"/>
                </a:lnTo>
                <a:lnTo>
                  <a:pt x="3501289" y="1205268"/>
                </a:lnTo>
                <a:lnTo>
                  <a:pt x="3498468" y="1205809"/>
                </a:lnTo>
                <a:lnTo>
                  <a:pt x="3497491" y="1202669"/>
                </a:lnTo>
                <a:lnTo>
                  <a:pt x="3493151" y="1199638"/>
                </a:lnTo>
                <a:lnTo>
                  <a:pt x="3493259" y="1197147"/>
                </a:lnTo>
                <a:lnTo>
                  <a:pt x="3496406" y="1195090"/>
                </a:lnTo>
                <a:lnTo>
                  <a:pt x="3496732" y="1192925"/>
                </a:lnTo>
                <a:lnTo>
                  <a:pt x="3491631" y="1192491"/>
                </a:lnTo>
                <a:lnTo>
                  <a:pt x="3482625" y="1193141"/>
                </a:lnTo>
                <a:lnTo>
                  <a:pt x="3474920" y="1191084"/>
                </a:lnTo>
                <a:lnTo>
                  <a:pt x="3474920" y="1192600"/>
                </a:lnTo>
                <a:lnTo>
                  <a:pt x="3468734" y="1192167"/>
                </a:lnTo>
                <a:lnTo>
                  <a:pt x="3466890" y="1187944"/>
                </a:lnTo>
                <a:lnTo>
                  <a:pt x="3463634" y="1182856"/>
                </a:lnTo>
                <a:lnTo>
                  <a:pt x="3465913" y="1183180"/>
                </a:lnTo>
                <a:lnTo>
                  <a:pt x="3469168" y="1181881"/>
                </a:lnTo>
                <a:lnTo>
                  <a:pt x="3473943" y="1183722"/>
                </a:lnTo>
                <a:lnTo>
                  <a:pt x="3478067" y="1181664"/>
                </a:lnTo>
                <a:lnTo>
                  <a:pt x="3482082" y="1181340"/>
                </a:lnTo>
                <a:lnTo>
                  <a:pt x="3484903" y="1182856"/>
                </a:lnTo>
                <a:lnTo>
                  <a:pt x="3488593" y="1180257"/>
                </a:lnTo>
                <a:lnTo>
                  <a:pt x="3487725" y="1178308"/>
                </a:lnTo>
                <a:lnTo>
                  <a:pt x="3488484" y="1177117"/>
                </a:lnTo>
                <a:lnTo>
                  <a:pt x="3490871" y="1177875"/>
                </a:lnTo>
                <a:lnTo>
                  <a:pt x="3490980" y="1179824"/>
                </a:lnTo>
                <a:lnTo>
                  <a:pt x="3492391" y="1181340"/>
                </a:lnTo>
                <a:lnTo>
                  <a:pt x="3494344" y="1183613"/>
                </a:lnTo>
                <a:lnTo>
                  <a:pt x="3498142" y="1180040"/>
                </a:lnTo>
                <a:lnTo>
                  <a:pt x="3500855" y="1180799"/>
                </a:lnTo>
                <a:lnTo>
                  <a:pt x="3509103" y="1179824"/>
                </a:lnTo>
                <a:lnTo>
                  <a:pt x="3511816" y="1176142"/>
                </a:lnTo>
                <a:lnTo>
                  <a:pt x="3512033" y="1172353"/>
                </a:lnTo>
                <a:lnTo>
                  <a:pt x="3509320" y="1173436"/>
                </a:lnTo>
                <a:lnTo>
                  <a:pt x="3507583" y="1176359"/>
                </a:lnTo>
                <a:lnTo>
                  <a:pt x="3503243" y="1177009"/>
                </a:lnTo>
                <a:lnTo>
                  <a:pt x="3495321" y="1174735"/>
                </a:lnTo>
                <a:lnTo>
                  <a:pt x="3495755" y="1173003"/>
                </a:lnTo>
                <a:lnTo>
                  <a:pt x="3501940" y="1170296"/>
                </a:lnTo>
                <a:lnTo>
                  <a:pt x="3505847" y="1169971"/>
                </a:lnTo>
                <a:lnTo>
                  <a:pt x="3509211" y="1167481"/>
                </a:lnTo>
                <a:lnTo>
                  <a:pt x="3511924" y="1167481"/>
                </a:lnTo>
                <a:lnTo>
                  <a:pt x="3514637" y="1166290"/>
                </a:lnTo>
                <a:lnTo>
                  <a:pt x="3509645" y="1163367"/>
                </a:lnTo>
                <a:lnTo>
                  <a:pt x="3506390" y="1166073"/>
                </a:lnTo>
                <a:lnTo>
                  <a:pt x="3504328" y="1164450"/>
                </a:lnTo>
                <a:lnTo>
                  <a:pt x="3505847" y="1160660"/>
                </a:lnTo>
                <a:lnTo>
                  <a:pt x="3506173" y="1158495"/>
                </a:lnTo>
                <a:lnTo>
                  <a:pt x="3501289" y="1162393"/>
                </a:lnTo>
                <a:lnTo>
                  <a:pt x="3499878" y="1162501"/>
                </a:lnTo>
                <a:lnTo>
                  <a:pt x="3499444" y="1157736"/>
                </a:lnTo>
                <a:lnTo>
                  <a:pt x="3498250" y="1160227"/>
                </a:lnTo>
                <a:lnTo>
                  <a:pt x="3494452" y="1163258"/>
                </a:lnTo>
                <a:lnTo>
                  <a:pt x="3492499" y="1163258"/>
                </a:lnTo>
                <a:lnTo>
                  <a:pt x="3491631" y="1158711"/>
                </a:lnTo>
                <a:lnTo>
                  <a:pt x="3488593" y="1160660"/>
                </a:lnTo>
                <a:lnTo>
                  <a:pt x="3485988" y="1160660"/>
                </a:lnTo>
                <a:lnTo>
                  <a:pt x="3485880" y="1158278"/>
                </a:lnTo>
                <a:lnTo>
                  <a:pt x="3484361" y="1155896"/>
                </a:lnTo>
                <a:lnTo>
                  <a:pt x="3482190" y="1160010"/>
                </a:lnTo>
                <a:lnTo>
                  <a:pt x="3476982" y="1161526"/>
                </a:lnTo>
                <a:lnTo>
                  <a:pt x="3474052" y="1166181"/>
                </a:lnTo>
                <a:lnTo>
                  <a:pt x="3468192" y="1164991"/>
                </a:lnTo>
                <a:lnTo>
                  <a:pt x="3464177" y="1160660"/>
                </a:lnTo>
                <a:lnTo>
                  <a:pt x="3459185" y="1158603"/>
                </a:lnTo>
                <a:lnTo>
                  <a:pt x="3461680" y="1153947"/>
                </a:lnTo>
                <a:lnTo>
                  <a:pt x="3465696" y="1155138"/>
                </a:lnTo>
                <a:lnTo>
                  <a:pt x="3469711" y="1160552"/>
                </a:lnTo>
                <a:lnTo>
                  <a:pt x="3471556" y="1159794"/>
                </a:lnTo>
                <a:lnTo>
                  <a:pt x="3469711" y="1156438"/>
                </a:lnTo>
                <a:lnTo>
                  <a:pt x="3466781" y="1151024"/>
                </a:lnTo>
                <a:lnTo>
                  <a:pt x="3469060" y="1148642"/>
                </a:lnTo>
                <a:lnTo>
                  <a:pt x="3471121" y="1149075"/>
                </a:lnTo>
                <a:lnTo>
                  <a:pt x="3477850" y="1155246"/>
                </a:lnTo>
                <a:lnTo>
                  <a:pt x="3479260" y="1154922"/>
                </a:lnTo>
                <a:lnTo>
                  <a:pt x="3478175" y="1152214"/>
                </a:lnTo>
                <a:lnTo>
                  <a:pt x="3479477" y="1151132"/>
                </a:lnTo>
                <a:lnTo>
                  <a:pt x="3482516" y="1150591"/>
                </a:lnTo>
                <a:lnTo>
                  <a:pt x="3476222" y="1148750"/>
                </a:lnTo>
                <a:lnTo>
                  <a:pt x="3473618" y="1144961"/>
                </a:lnTo>
                <a:lnTo>
                  <a:pt x="3477850" y="1143228"/>
                </a:lnTo>
                <a:lnTo>
                  <a:pt x="3482190" y="1144961"/>
                </a:lnTo>
                <a:lnTo>
                  <a:pt x="3480562" y="1142579"/>
                </a:lnTo>
                <a:lnTo>
                  <a:pt x="3477850" y="1140955"/>
                </a:lnTo>
                <a:lnTo>
                  <a:pt x="3475137" y="1137490"/>
                </a:lnTo>
                <a:lnTo>
                  <a:pt x="3476331" y="1134675"/>
                </a:lnTo>
                <a:lnTo>
                  <a:pt x="3480129" y="1135866"/>
                </a:lnTo>
                <a:lnTo>
                  <a:pt x="3482950" y="1139980"/>
                </a:lnTo>
                <a:lnTo>
                  <a:pt x="3483926" y="1137490"/>
                </a:lnTo>
                <a:lnTo>
                  <a:pt x="3480562" y="1133051"/>
                </a:lnTo>
                <a:lnTo>
                  <a:pt x="3483926" y="1130994"/>
                </a:lnTo>
                <a:lnTo>
                  <a:pt x="3488593" y="1132943"/>
                </a:lnTo>
                <a:lnTo>
                  <a:pt x="3492391" y="1137814"/>
                </a:lnTo>
                <a:lnTo>
                  <a:pt x="3491089" y="1140738"/>
                </a:lnTo>
                <a:lnTo>
                  <a:pt x="3493802" y="1141604"/>
                </a:lnTo>
                <a:lnTo>
                  <a:pt x="3497057" y="1138681"/>
                </a:lnTo>
                <a:lnTo>
                  <a:pt x="3501940" y="1142038"/>
                </a:lnTo>
                <a:lnTo>
                  <a:pt x="3501940" y="1144961"/>
                </a:lnTo>
                <a:lnTo>
                  <a:pt x="3504111" y="1144528"/>
                </a:lnTo>
                <a:lnTo>
                  <a:pt x="3505304" y="1141171"/>
                </a:lnTo>
                <a:lnTo>
                  <a:pt x="3500964" y="1135974"/>
                </a:lnTo>
                <a:lnTo>
                  <a:pt x="3494452" y="1131643"/>
                </a:lnTo>
                <a:lnTo>
                  <a:pt x="3493802" y="1130128"/>
                </a:lnTo>
                <a:lnTo>
                  <a:pt x="3498034" y="1130020"/>
                </a:lnTo>
                <a:lnTo>
                  <a:pt x="3502266" y="1131318"/>
                </a:lnTo>
                <a:lnTo>
                  <a:pt x="3504219" y="1129045"/>
                </a:lnTo>
                <a:lnTo>
                  <a:pt x="3500312" y="1127746"/>
                </a:lnTo>
                <a:lnTo>
                  <a:pt x="3497600" y="1125905"/>
                </a:lnTo>
                <a:lnTo>
                  <a:pt x="3494127" y="1125797"/>
                </a:lnTo>
                <a:lnTo>
                  <a:pt x="3493584" y="1127853"/>
                </a:lnTo>
                <a:lnTo>
                  <a:pt x="3490763" y="1128071"/>
                </a:lnTo>
                <a:lnTo>
                  <a:pt x="3488810" y="1125147"/>
                </a:lnTo>
                <a:lnTo>
                  <a:pt x="3489461" y="1123198"/>
                </a:lnTo>
                <a:close/>
                <a:moveTo>
                  <a:pt x="1119239" y="1122116"/>
                </a:moveTo>
                <a:lnTo>
                  <a:pt x="1115184" y="1122358"/>
                </a:lnTo>
                <a:lnTo>
                  <a:pt x="1119240" y="1122116"/>
                </a:lnTo>
                <a:close/>
                <a:moveTo>
                  <a:pt x="2901299" y="1120925"/>
                </a:moveTo>
                <a:lnTo>
                  <a:pt x="2902928" y="1121250"/>
                </a:lnTo>
                <a:lnTo>
                  <a:pt x="2903579" y="1123199"/>
                </a:lnTo>
                <a:lnTo>
                  <a:pt x="2899672" y="1124282"/>
                </a:lnTo>
                <a:lnTo>
                  <a:pt x="2898153" y="1124065"/>
                </a:lnTo>
                <a:lnTo>
                  <a:pt x="2899998" y="1121250"/>
                </a:lnTo>
                <a:close/>
                <a:moveTo>
                  <a:pt x="705901" y="1120383"/>
                </a:moveTo>
                <a:lnTo>
                  <a:pt x="710025" y="1123306"/>
                </a:lnTo>
                <a:lnTo>
                  <a:pt x="710025" y="1126879"/>
                </a:lnTo>
                <a:lnTo>
                  <a:pt x="707854" y="1128503"/>
                </a:lnTo>
                <a:lnTo>
                  <a:pt x="707854" y="1130236"/>
                </a:lnTo>
                <a:lnTo>
                  <a:pt x="710568" y="1130993"/>
                </a:lnTo>
                <a:lnTo>
                  <a:pt x="714908" y="1125905"/>
                </a:lnTo>
                <a:lnTo>
                  <a:pt x="719142" y="1125038"/>
                </a:lnTo>
                <a:lnTo>
                  <a:pt x="722287" y="1126121"/>
                </a:lnTo>
                <a:lnTo>
                  <a:pt x="724240" y="1131101"/>
                </a:lnTo>
                <a:lnTo>
                  <a:pt x="720117" y="1132293"/>
                </a:lnTo>
                <a:lnTo>
                  <a:pt x="715776" y="1132293"/>
                </a:lnTo>
                <a:lnTo>
                  <a:pt x="715560" y="1135107"/>
                </a:lnTo>
                <a:lnTo>
                  <a:pt x="717838" y="1136515"/>
                </a:lnTo>
                <a:lnTo>
                  <a:pt x="719250" y="1139655"/>
                </a:lnTo>
                <a:lnTo>
                  <a:pt x="716103" y="1144636"/>
                </a:lnTo>
                <a:lnTo>
                  <a:pt x="712521" y="1144094"/>
                </a:lnTo>
                <a:lnTo>
                  <a:pt x="711327" y="1141820"/>
                </a:lnTo>
                <a:lnTo>
                  <a:pt x="708289" y="1142903"/>
                </a:lnTo>
                <a:lnTo>
                  <a:pt x="705141" y="1141279"/>
                </a:lnTo>
                <a:lnTo>
                  <a:pt x="701562" y="1141712"/>
                </a:lnTo>
                <a:lnTo>
                  <a:pt x="699390" y="1143986"/>
                </a:lnTo>
                <a:lnTo>
                  <a:pt x="703950" y="1145068"/>
                </a:lnTo>
                <a:lnTo>
                  <a:pt x="706228" y="1150049"/>
                </a:lnTo>
                <a:lnTo>
                  <a:pt x="703405" y="1154164"/>
                </a:lnTo>
                <a:lnTo>
                  <a:pt x="699718" y="1153838"/>
                </a:lnTo>
                <a:lnTo>
                  <a:pt x="696896" y="1149183"/>
                </a:lnTo>
                <a:lnTo>
                  <a:pt x="690928" y="1148750"/>
                </a:lnTo>
                <a:lnTo>
                  <a:pt x="687345" y="1150158"/>
                </a:lnTo>
                <a:lnTo>
                  <a:pt x="692228" y="1152323"/>
                </a:lnTo>
                <a:lnTo>
                  <a:pt x="693530" y="1155354"/>
                </a:lnTo>
                <a:lnTo>
                  <a:pt x="690928" y="1157411"/>
                </a:lnTo>
                <a:lnTo>
                  <a:pt x="687019" y="1156437"/>
                </a:lnTo>
                <a:lnTo>
                  <a:pt x="682571" y="1157628"/>
                </a:lnTo>
                <a:lnTo>
                  <a:pt x="680402" y="1156978"/>
                </a:lnTo>
                <a:lnTo>
                  <a:pt x="677905" y="1162175"/>
                </a:lnTo>
                <a:lnTo>
                  <a:pt x="675733" y="1162392"/>
                </a:lnTo>
                <a:lnTo>
                  <a:pt x="673131" y="1164341"/>
                </a:lnTo>
                <a:lnTo>
                  <a:pt x="674432" y="1166939"/>
                </a:lnTo>
                <a:lnTo>
                  <a:pt x="669116" y="1169862"/>
                </a:lnTo>
                <a:lnTo>
                  <a:pt x="669005" y="1173002"/>
                </a:lnTo>
                <a:lnTo>
                  <a:pt x="666077" y="1174735"/>
                </a:lnTo>
                <a:lnTo>
                  <a:pt x="664015" y="1177658"/>
                </a:lnTo>
                <a:lnTo>
                  <a:pt x="659130" y="1176792"/>
                </a:lnTo>
                <a:lnTo>
                  <a:pt x="659781" y="1174627"/>
                </a:lnTo>
                <a:lnTo>
                  <a:pt x="668246" y="1167913"/>
                </a:lnTo>
                <a:lnTo>
                  <a:pt x="668246" y="1165315"/>
                </a:lnTo>
                <a:lnTo>
                  <a:pt x="671070" y="1161093"/>
                </a:lnTo>
                <a:lnTo>
                  <a:pt x="669332" y="1160876"/>
                </a:lnTo>
                <a:lnTo>
                  <a:pt x="665643" y="1163907"/>
                </a:lnTo>
                <a:lnTo>
                  <a:pt x="663797" y="1161958"/>
                </a:lnTo>
                <a:lnTo>
                  <a:pt x="665207" y="1159685"/>
                </a:lnTo>
                <a:lnTo>
                  <a:pt x="659999" y="1159468"/>
                </a:lnTo>
                <a:lnTo>
                  <a:pt x="657612" y="1161958"/>
                </a:lnTo>
                <a:lnTo>
                  <a:pt x="659891" y="1162609"/>
                </a:lnTo>
                <a:lnTo>
                  <a:pt x="661084" y="1164124"/>
                </a:lnTo>
                <a:lnTo>
                  <a:pt x="660325" y="1166831"/>
                </a:lnTo>
                <a:lnTo>
                  <a:pt x="657285" y="1167589"/>
                </a:lnTo>
                <a:lnTo>
                  <a:pt x="654246" y="1165748"/>
                </a:lnTo>
                <a:lnTo>
                  <a:pt x="653705" y="1160984"/>
                </a:lnTo>
                <a:lnTo>
                  <a:pt x="655984" y="1158170"/>
                </a:lnTo>
                <a:lnTo>
                  <a:pt x="657069" y="1153297"/>
                </a:lnTo>
                <a:lnTo>
                  <a:pt x="656742" y="1147450"/>
                </a:lnTo>
                <a:lnTo>
                  <a:pt x="655335" y="1145068"/>
                </a:lnTo>
                <a:lnTo>
                  <a:pt x="656418" y="1142254"/>
                </a:lnTo>
                <a:lnTo>
                  <a:pt x="662711" y="1137381"/>
                </a:lnTo>
                <a:lnTo>
                  <a:pt x="673131" y="1132293"/>
                </a:lnTo>
                <a:lnTo>
                  <a:pt x="679099" y="1131534"/>
                </a:lnTo>
                <a:lnTo>
                  <a:pt x="680834" y="1132617"/>
                </a:lnTo>
                <a:lnTo>
                  <a:pt x="681161" y="1141929"/>
                </a:lnTo>
                <a:lnTo>
                  <a:pt x="682898" y="1142903"/>
                </a:lnTo>
                <a:lnTo>
                  <a:pt x="687019" y="1137706"/>
                </a:lnTo>
                <a:lnTo>
                  <a:pt x="685500" y="1133375"/>
                </a:lnTo>
                <a:lnTo>
                  <a:pt x="686695" y="1132617"/>
                </a:lnTo>
                <a:lnTo>
                  <a:pt x="689841" y="1134783"/>
                </a:lnTo>
                <a:lnTo>
                  <a:pt x="691144" y="1130993"/>
                </a:lnTo>
                <a:lnTo>
                  <a:pt x="687129" y="1128070"/>
                </a:lnTo>
                <a:lnTo>
                  <a:pt x="686043" y="1125905"/>
                </a:lnTo>
                <a:lnTo>
                  <a:pt x="690385" y="1121141"/>
                </a:lnTo>
                <a:lnTo>
                  <a:pt x="693530" y="1120816"/>
                </a:lnTo>
                <a:lnTo>
                  <a:pt x="696680" y="1123198"/>
                </a:lnTo>
                <a:lnTo>
                  <a:pt x="696461" y="1127962"/>
                </a:lnTo>
                <a:lnTo>
                  <a:pt x="694725" y="1130127"/>
                </a:lnTo>
                <a:lnTo>
                  <a:pt x="694725" y="1133592"/>
                </a:lnTo>
                <a:lnTo>
                  <a:pt x="697436" y="1132834"/>
                </a:lnTo>
                <a:lnTo>
                  <a:pt x="699608" y="1128936"/>
                </a:lnTo>
                <a:lnTo>
                  <a:pt x="701562" y="1127962"/>
                </a:lnTo>
                <a:lnTo>
                  <a:pt x="704056" y="1129369"/>
                </a:lnTo>
                <a:lnTo>
                  <a:pt x="704817" y="1125038"/>
                </a:lnTo>
                <a:lnTo>
                  <a:pt x="703515" y="1122115"/>
                </a:lnTo>
                <a:close/>
                <a:moveTo>
                  <a:pt x="2900433" y="1113995"/>
                </a:moveTo>
                <a:lnTo>
                  <a:pt x="2902711" y="1114861"/>
                </a:lnTo>
                <a:lnTo>
                  <a:pt x="2902494" y="1118434"/>
                </a:lnTo>
                <a:lnTo>
                  <a:pt x="2899022" y="1117893"/>
                </a:lnTo>
                <a:lnTo>
                  <a:pt x="2897503" y="1115403"/>
                </a:lnTo>
                <a:close/>
                <a:moveTo>
                  <a:pt x="4388063" y="1108152"/>
                </a:moveTo>
                <a:lnTo>
                  <a:pt x="4387218" y="1110748"/>
                </a:lnTo>
                <a:lnTo>
                  <a:pt x="4387435" y="1111462"/>
                </a:lnTo>
                <a:lnTo>
                  <a:pt x="4388197" y="1108907"/>
                </a:lnTo>
                <a:close/>
                <a:moveTo>
                  <a:pt x="4244303" y="1101653"/>
                </a:moveTo>
                <a:lnTo>
                  <a:pt x="4242023" y="1107066"/>
                </a:lnTo>
                <a:lnTo>
                  <a:pt x="4235295" y="1116377"/>
                </a:lnTo>
                <a:lnTo>
                  <a:pt x="4228784" y="1127962"/>
                </a:lnTo>
                <a:lnTo>
                  <a:pt x="4228459" y="1132726"/>
                </a:lnTo>
                <a:lnTo>
                  <a:pt x="4224661" y="1135974"/>
                </a:lnTo>
                <a:lnTo>
                  <a:pt x="4216522" y="1137706"/>
                </a:lnTo>
                <a:lnTo>
                  <a:pt x="4208926" y="1142254"/>
                </a:lnTo>
                <a:lnTo>
                  <a:pt x="4208818" y="1147017"/>
                </a:lnTo>
                <a:lnTo>
                  <a:pt x="4208926" y="1142254"/>
                </a:lnTo>
                <a:lnTo>
                  <a:pt x="4216522" y="1137707"/>
                </a:lnTo>
                <a:lnTo>
                  <a:pt x="4224661" y="1135975"/>
                </a:lnTo>
                <a:lnTo>
                  <a:pt x="4228459" y="1132726"/>
                </a:lnTo>
                <a:lnTo>
                  <a:pt x="4228784" y="1127963"/>
                </a:lnTo>
                <a:lnTo>
                  <a:pt x="4235295" y="1116378"/>
                </a:lnTo>
                <a:lnTo>
                  <a:pt x="4242023" y="1107067"/>
                </a:lnTo>
                <a:lnTo>
                  <a:pt x="4244303" y="1101653"/>
                </a:lnTo>
                <a:close/>
                <a:moveTo>
                  <a:pt x="727278" y="1100137"/>
                </a:moveTo>
                <a:lnTo>
                  <a:pt x="729884" y="1101220"/>
                </a:lnTo>
                <a:lnTo>
                  <a:pt x="728907" y="1105551"/>
                </a:lnTo>
                <a:lnTo>
                  <a:pt x="731076" y="1106092"/>
                </a:lnTo>
                <a:lnTo>
                  <a:pt x="732270" y="1103818"/>
                </a:lnTo>
                <a:lnTo>
                  <a:pt x="735201" y="1102952"/>
                </a:lnTo>
                <a:lnTo>
                  <a:pt x="737047" y="1106525"/>
                </a:lnTo>
                <a:lnTo>
                  <a:pt x="734767" y="1108690"/>
                </a:lnTo>
                <a:lnTo>
                  <a:pt x="733032" y="1112047"/>
                </a:lnTo>
                <a:lnTo>
                  <a:pt x="735853" y="1113021"/>
                </a:lnTo>
                <a:lnTo>
                  <a:pt x="737371" y="1115944"/>
                </a:lnTo>
                <a:lnTo>
                  <a:pt x="733789" y="1116918"/>
                </a:lnTo>
                <a:lnTo>
                  <a:pt x="731403" y="1114970"/>
                </a:lnTo>
                <a:lnTo>
                  <a:pt x="727713" y="1118759"/>
                </a:lnTo>
                <a:lnTo>
                  <a:pt x="725107" y="1118759"/>
                </a:lnTo>
                <a:lnTo>
                  <a:pt x="724024" y="1115728"/>
                </a:lnTo>
                <a:lnTo>
                  <a:pt x="719574" y="1119517"/>
                </a:lnTo>
                <a:lnTo>
                  <a:pt x="716211" y="1119626"/>
                </a:lnTo>
                <a:lnTo>
                  <a:pt x="710786" y="1114428"/>
                </a:lnTo>
                <a:lnTo>
                  <a:pt x="709915" y="1112371"/>
                </a:lnTo>
                <a:lnTo>
                  <a:pt x="711980" y="1110206"/>
                </a:lnTo>
                <a:lnTo>
                  <a:pt x="715016" y="1111614"/>
                </a:lnTo>
                <a:lnTo>
                  <a:pt x="717186" y="1109773"/>
                </a:lnTo>
                <a:lnTo>
                  <a:pt x="719899" y="1111072"/>
                </a:lnTo>
                <a:lnTo>
                  <a:pt x="722612" y="1106958"/>
                </a:lnTo>
                <a:lnTo>
                  <a:pt x="720658" y="1104576"/>
                </a:lnTo>
                <a:lnTo>
                  <a:pt x="722722" y="1101436"/>
                </a:lnTo>
                <a:close/>
                <a:moveTo>
                  <a:pt x="4200897" y="1098730"/>
                </a:moveTo>
                <a:lnTo>
                  <a:pt x="4203610" y="1099271"/>
                </a:lnTo>
                <a:lnTo>
                  <a:pt x="4201656" y="1103169"/>
                </a:lnTo>
                <a:lnTo>
                  <a:pt x="4199378" y="1101112"/>
                </a:lnTo>
                <a:close/>
                <a:moveTo>
                  <a:pt x="4492529" y="1092350"/>
                </a:moveTo>
                <a:lnTo>
                  <a:pt x="4492372" y="1092774"/>
                </a:lnTo>
                <a:lnTo>
                  <a:pt x="4496224" y="1096908"/>
                </a:lnTo>
                <a:lnTo>
                  <a:pt x="4495953" y="1096024"/>
                </a:lnTo>
                <a:close/>
                <a:moveTo>
                  <a:pt x="732379" y="1091042"/>
                </a:moveTo>
                <a:lnTo>
                  <a:pt x="735853" y="1091258"/>
                </a:lnTo>
                <a:lnTo>
                  <a:pt x="735526" y="1094940"/>
                </a:lnTo>
                <a:lnTo>
                  <a:pt x="731838" y="1097538"/>
                </a:lnTo>
                <a:lnTo>
                  <a:pt x="729125" y="1095373"/>
                </a:lnTo>
                <a:lnTo>
                  <a:pt x="730316" y="1091475"/>
                </a:lnTo>
                <a:close/>
                <a:moveTo>
                  <a:pt x="4756175" y="1088660"/>
                </a:moveTo>
                <a:lnTo>
                  <a:pt x="4758779" y="1091691"/>
                </a:lnTo>
                <a:lnTo>
                  <a:pt x="4759105" y="1094182"/>
                </a:lnTo>
                <a:lnTo>
                  <a:pt x="4756717" y="1094507"/>
                </a:lnTo>
                <a:lnTo>
                  <a:pt x="4753679" y="1091583"/>
                </a:lnTo>
                <a:lnTo>
                  <a:pt x="4753679" y="1089093"/>
                </a:lnTo>
                <a:close/>
                <a:moveTo>
                  <a:pt x="880070" y="1085629"/>
                </a:moveTo>
                <a:lnTo>
                  <a:pt x="882783" y="1087795"/>
                </a:lnTo>
                <a:lnTo>
                  <a:pt x="875729" y="1088336"/>
                </a:lnTo>
                <a:close/>
                <a:moveTo>
                  <a:pt x="4385170" y="1085051"/>
                </a:moveTo>
                <a:lnTo>
                  <a:pt x="4383420" y="1087794"/>
                </a:lnTo>
                <a:lnTo>
                  <a:pt x="4383588" y="1089250"/>
                </a:lnTo>
                <a:lnTo>
                  <a:pt x="4385484" y="1086278"/>
                </a:lnTo>
                <a:close/>
                <a:moveTo>
                  <a:pt x="1047655" y="1084195"/>
                </a:moveTo>
                <a:lnTo>
                  <a:pt x="1045666" y="1088336"/>
                </a:lnTo>
                <a:lnTo>
                  <a:pt x="1045666" y="1088336"/>
                </a:lnTo>
                <a:close/>
                <a:moveTo>
                  <a:pt x="1008988" y="1078592"/>
                </a:moveTo>
                <a:lnTo>
                  <a:pt x="1008987" y="1078592"/>
                </a:lnTo>
                <a:lnTo>
                  <a:pt x="1024614" y="1078808"/>
                </a:lnTo>
                <a:lnTo>
                  <a:pt x="1029052" y="1081022"/>
                </a:lnTo>
                <a:lnTo>
                  <a:pt x="1024613" y="1078808"/>
                </a:lnTo>
                <a:close/>
                <a:moveTo>
                  <a:pt x="7094276" y="1077942"/>
                </a:moveTo>
                <a:lnTo>
                  <a:pt x="7094059" y="1081299"/>
                </a:lnTo>
                <a:lnTo>
                  <a:pt x="7090803" y="1086171"/>
                </a:lnTo>
                <a:lnTo>
                  <a:pt x="7088633" y="1085846"/>
                </a:lnTo>
                <a:lnTo>
                  <a:pt x="7088959" y="1082165"/>
                </a:lnTo>
                <a:lnTo>
                  <a:pt x="7091346" y="1078591"/>
                </a:lnTo>
                <a:close/>
                <a:moveTo>
                  <a:pt x="4170729" y="1076643"/>
                </a:moveTo>
                <a:lnTo>
                  <a:pt x="4172791" y="1079133"/>
                </a:lnTo>
                <a:lnTo>
                  <a:pt x="4171488" y="1081515"/>
                </a:lnTo>
                <a:lnTo>
                  <a:pt x="4168993" y="1080000"/>
                </a:lnTo>
                <a:close/>
                <a:moveTo>
                  <a:pt x="1038720" y="1076318"/>
                </a:moveTo>
                <a:lnTo>
                  <a:pt x="1029605" y="1081298"/>
                </a:lnTo>
                <a:lnTo>
                  <a:pt x="1029605" y="1081298"/>
                </a:lnTo>
                <a:lnTo>
                  <a:pt x="1038721" y="1076318"/>
                </a:lnTo>
                <a:close/>
                <a:moveTo>
                  <a:pt x="934006" y="1073394"/>
                </a:moveTo>
                <a:lnTo>
                  <a:pt x="937044" y="1073394"/>
                </a:lnTo>
                <a:lnTo>
                  <a:pt x="932812" y="1078374"/>
                </a:lnTo>
                <a:lnTo>
                  <a:pt x="928144" y="1079566"/>
                </a:lnTo>
                <a:lnTo>
                  <a:pt x="928254" y="1075668"/>
                </a:lnTo>
                <a:close/>
                <a:moveTo>
                  <a:pt x="4379492" y="1068147"/>
                </a:moveTo>
                <a:lnTo>
                  <a:pt x="4377452" y="1073611"/>
                </a:lnTo>
                <a:lnTo>
                  <a:pt x="4377779" y="1077119"/>
                </a:lnTo>
                <a:lnTo>
                  <a:pt x="4377779" y="1075992"/>
                </a:lnTo>
                <a:lnTo>
                  <a:pt x="4379949" y="1070579"/>
                </a:lnTo>
                <a:close/>
                <a:moveTo>
                  <a:pt x="2904231" y="1067115"/>
                </a:moveTo>
                <a:lnTo>
                  <a:pt x="2906509" y="1067981"/>
                </a:lnTo>
                <a:lnTo>
                  <a:pt x="2904882" y="1070039"/>
                </a:lnTo>
                <a:lnTo>
                  <a:pt x="2900541" y="1068847"/>
                </a:lnTo>
                <a:close/>
                <a:moveTo>
                  <a:pt x="2906619" y="1062135"/>
                </a:moveTo>
                <a:lnTo>
                  <a:pt x="2911068" y="1063651"/>
                </a:lnTo>
                <a:lnTo>
                  <a:pt x="2908355" y="1065275"/>
                </a:lnTo>
                <a:lnTo>
                  <a:pt x="2904882" y="1065275"/>
                </a:lnTo>
                <a:lnTo>
                  <a:pt x="2902712" y="1064083"/>
                </a:lnTo>
                <a:lnTo>
                  <a:pt x="2903363" y="1063110"/>
                </a:lnTo>
                <a:close/>
                <a:moveTo>
                  <a:pt x="2895332" y="1061809"/>
                </a:moveTo>
                <a:lnTo>
                  <a:pt x="2896743" y="1062134"/>
                </a:lnTo>
                <a:lnTo>
                  <a:pt x="2897394" y="1063758"/>
                </a:lnTo>
                <a:lnTo>
                  <a:pt x="2895332" y="1064841"/>
                </a:lnTo>
                <a:lnTo>
                  <a:pt x="2894247" y="1062242"/>
                </a:lnTo>
                <a:close/>
                <a:moveTo>
                  <a:pt x="4252255" y="1061328"/>
                </a:moveTo>
                <a:lnTo>
                  <a:pt x="4249402" y="1067439"/>
                </a:lnTo>
                <a:lnTo>
                  <a:pt x="4246147" y="1069171"/>
                </a:lnTo>
                <a:lnTo>
                  <a:pt x="4244736" y="1075018"/>
                </a:lnTo>
                <a:lnTo>
                  <a:pt x="4241807" y="1078915"/>
                </a:lnTo>
                <a:lnTo>
                  <a:pt x="4238768" y="1080540"/>
                </a:lnTo>
                <a:lnTo>
                  <a:pt x="4238768" y="1080541"/>
                </a:lnTo>
                <a:lnTo>
                  <a:pt x="4241807" y="1078916"/>
                </a:lnTo>
                <a:lnTo>
                  <a:pt x="4244736" y="1075019"/>
                </a:lnTo>
                <a:lnTo>
                  <a:pt x="4246147" y="1069172"/>
                </a:lnTo>
                <a:lnTo>
                  <a:pt x="4249402" y="1067439"/>
                </a:lnTo>
                <a:close/>
                <a:moveTo>
                  <a:pt x="4379569" y="1058081"/>
                </a:moveTo>
                <a:lnTo>
                  <a:pt x="4378211" y="1061268"/>
                </a:lnTo>
                <a:lnTo>
                  <a:pt x="4378660" y="1063618"/>
                </a:lnTo>
                <a:lnTo>
                  <a:pt x="4380383" y="1059319"/>
                </a:lnTo>
                <a:close/>
                <a:moveTo>
                  <a:pt x="4177564" y="1057912"/>
                </a:moveTo>
                <a:lnTo>
                  <a:pt x="4178758" y="1064625"/>
                </a:lnTo>
                <a:lnTo>
                  <a:pt x="4173224" y="1069931"/>
                </a:lnTo>
                <a:lnTo>
                  <a:pt x="4173224" y="1065275"/>
                </a:lnTo>
                <a:close/>
                <a:moveTo>
                  <a:pt x="4182231" y="1055854"/>
                </a:moveTo>
                <a:lnTo>
                  <a:pt x="4184184" y="1057045"/>
                </a:lnTo>
                <a:lnTo>
                  <a:pt x="4182231" y="1061051"/>
                </a:lnTo>
                <a:lnTo>
                  <a:pt x="4180278" y="1058235"/>
                </a:lnTo>
                <a:close/>
                <a:moveTo>
                  <a:pt x="4258084" y="1055746"/>
                </a:moveTo>
                <a:lnTo>
                  <a:pt x="4253092" y="1059535"/>
                </a:lnTo>
                <a:lnTo>
                  <a:pt x="4253092" y="1059536"/>
                </a:lnTo>
                <a:lnTo>
                  <a:pt x="4258084" y="1055747"/>
                </a:lnTo>
                <a:lnTo>
                  <a:pt x="4263401" y="1058129"/>
                </a:lnTo>
                <a:lnTo>
                  <a:pt x="4265571" y="1060727"/>
                </a:lnTo>
                <a:lnTo>
                  <a:pt x="4268719" y="1060186"/>
                </a:lnTo>
                <a:lnTo>
                  <a:pt x="4272299" y="1056937"/>
                </a:lnTo>
                <a:lnTo>
                  <a:pt x="4272299" y="1056937"/>
                </a:lnTo>
                <a:lnTo>
                  <a:pt x="4268719" y="1060185"/>
                </a:lnTo>
                <a:lnTo>
                  <a:pt x="4265571" y="1060726"/>
                </a:lnTo>
                <a:lnTo>
                  <a:pt x="4263401" y="1058128"/>
                </a:lnTo>
                <a:close/>
                <a:moveTo>
                  <a:pt x="4488790" y="1055495"/>
                </a:moveTo>
                <a:lnTo>
                  <a:pt x="4489659" y="1057587"/>
                </a:lnTo>
                <a:lnTo>
                  <a:pt x="4500510" y="1064516"/>
                </a:lnTo>
                <a:lnTo>
                  <a:pt x="4501041" y="1065006"/>
                </a:lnTo>
                <a:lnTo>
                  <a:pt x="4501270" y="1064300"/>
                </a:lnTo>
                <a:lnTo>
                  <a:pt x="4498340" y="1061594"/>
                </a:lnTo>
                <a:close/>
                <a:moveTo>
                  <a:pt x="863360" y="1051090"/>
                </a:moveTo>
                <a:lnTo>
                  <a:pt x="863360" y="1054663"/>
                </a:lnTo>
                <a:lnTo>
                  <a:pt x="859345" y="1057262"/>
                </a:lnTo>
                <a:cubicBezTo>
                  <a:pt x="858502" y="1056964"/>
                  <a:pt x="857702" y="1056564"/>
                  <a:pt x="856957" y="1056070"/>
                </a:cubicBezTo>
                <a:close/>
                <a:moveTo>
                  <a:pt x="4196013" y="1050332"/>
                </a:moveTo>
                <a:lnTo>
                  <a:pt x="4195470" y="1054338"/>
                </a:lnTo>
                <a:lnTo>
                  <a:pt x="4186789" y="1060834"/>
                </a:lnTo>
                <a:lnTo>
                  <a:pt x="4188199" y="1052389"/>
                </a:lnTo>
                <a:close/>
                <a:moveTo>
                  <a:pt x="733899" y="1050008"/>
                </a:moveTo>
                <a:lnTo>
                  <a:pt x="737371" y="1051198"/>
                </a:lnTo>
                <a:lnTo>
                  <a:pt x="733789" y="1053147"/>
                </a:lnTo>
                <a:lnTo>
                  <a:pt x="730209" y="1050874"/>
                </a:lnTo>
                <a:close/>
                <a:moveTo>
                  <a:pt x="4272191" y="1049357"/>
                </a:moveTo>
                <a:lnTo>
                  <a:pt x="4269369" y="1051956"/>
                </a:lnTo>
                <a:lnTo>
                  <a:pt x="4269369" y="1051957"/>
                </a:lnTo>
                <a:lnTo>
                  <a:pt x="4272191" y="1049358"/>
                </a:lnTo>
                <a:close/>
                <a:moveTo>
                  <a:pt x="573403" y="1049033"/>
                </a:moveTo>
                <a:lnTo>
                  <a:pt x="572101" y="1051739"/>
                </a:lnTo>
                <a:lnTo>
                  <a:pt x="570364" y="1052498"/>
                </a:lnTo>
                <a:lnTo>
                  <a:pt x="569063" y="1050657"/>
                </a:lnTo>
                <a:close/>
                <a:moveTo>
                  <a:pt x="4273385" y="1044161"/>
                </a:moveTo>
                <a:lnTo>
                  <a:pt x="4272191" y="1046759"/>
                </a:lnTo>
                <a:lnTo>
                  <a:pt x="4272191" y="1046760"/>
                </a:lnTo>
                <a:lnTo>
                  <a:pt x="4273385" y="1044162"/>
                </a:lnTo>
                <a:close/>
                <a:moveTo>
                  <a:pt x="568411" y="1043511"/>
                </a:moveTo>
                <a:lnTo>
                  <a:pt x="568954" y="1045893"/>
                </a:lnTo>
                <a:lnTo>
                  <a:pt x="563637" y="1052389"/>
                </a:lnTo>
                <a:lnTo>
                  <a:pt x="560708" y="1054664"/>
                </a:lnTo>
                <a:lnTo>
                  <a:pt x="558320" y="1053472"/>
                </a:lnTo>
                <a:lnTo>
                  <a:pt x="558755" y="1049358"/>
                </a:lnTo>
                <a:lnTo>
                  <a:pt x="564396" y="1045785"/>
                </a:lnTo>
                <a:close/>
                <a:moveTo>
                  <a:pt x="4209903" y="1041780"/>
                </a:moveTo>
                <a:lnTo>
                  <a:pt x="4209795" y="1051200"/>
                </a:lnTo>
                <a:lnTo>
                  <a:pt x="4204803" y="1048817"/>
                </a:lnTo>
                <a:lnTo>
                  <a:pt x="4198400" y="1052932"/>
                </a:lnTo>
                <a:lnTo>
                  <a:pt x="4199051" y="1048276"/>
                </a:lnTo>
                <a:close/>
                <a:moveTo>
                  <a:pt x="4473245" y="1041130"/>
                </a:moveTo>
                <a:lnTo>
                  <a:pt x="4474358" y="1044053"/>
                </a:lnTo>
                <a:lnTo>
                  <a:pt x="4477614" y="1044053"/>
                </a:lnTo>
                <a:lnTo>
                  <a:pt x="4483780" y="1047437"/>
                </a:lnTo>
                <a:lnTo>
                  <a:pt x="4481954" y="1044704"/>
                </a:lnTo>
                <a:lnTo>
                  <a:pt x="4475443" y="1041130"/>
                </a:lnTo>
                <a:close/>
                <a:moveTo>
                  <a:pt x="888319" y="1040047"/>
                </a:moveTo>
                <a:lnTo>
                  <a:pt x="889187" y="1042645"/>
                </a:lnTo>
                <a:lnTo>
                  <a:pt x="887992" y="1045244"/>
                </a:lnTo>
                <a:lnTo>
                  <a:pt x="890272" y="1047084"/>
                </a:lnTo>
                <a:lnTo>
                  <a:pt x="887666" y="1049467"/>
                </a:lnTo>
                <a:lnTo>
                  <a:pt x="882351" y="1051524"/>
                </a:lnTo>
                <a:lnTo>
                  <a:pt x="875188" y="1059644"/>
                </a:lnTo>
                <a:lnTo>
                  <a:pt x="870954" y="1061051"/>
                </a:lnTo>
                <a:lnTo>
                  <a:pt x="871823" y="1063867"/>
                </a:lnTo>
                <a:lnTo>
                  <a:pt x="870630" y="1066465"/>
                </a:lnTo>
                <a:lnTo>
                  <a:pt x="865203" y="1065274"/>
                </a:lnTo>
                <a:lnTo>
                  <a:pt x="862490" y="1067223"/>
                </a:lnTo>
                <a:lnTo>
                  <a:pt x="857608" y="1067223"/>
                </a:lnTo>
                <a:lnTo>
                  <a:pt x="857825" y="1065166"/>
                </a:lnTo>
                <a:lnTo>
                  <a:pt x="861188" y="1064300"/>
                </a:lnTo>
                <a:lnTo>
                  <a:pt x="863033" y="1063109"/>
                </a:lnTo>
                <a:lnTo>
                  <a:pt x="863684" y="1060510"/>
                </a:lnTo>
                <a:lnTo>
                  <a:pt x="872476" y="1053365"/>
                </a:lnTo>
                <a:lnTo>
                  <a:pt x="876598" y="1052065"/>
                </a:lnTo>
                <a:lnTo>
                  <a:pt x="881481" y="1046651"/>
                </a:lnTo>
                <a:lnTo>
                  <a:pt x="883651" y="1046002"/>
                </a:lnTo>
                <a:close/>
                <a:moveTo>
                  <a:pt x="899170" y="1036258"/>
                </a:moveTo>
                <a:lnTo>
                  <a:pt x="902100" y="1037666"/>
                </a:lnTo>
                <a:lnTo>
                  <a:pt x="902317" y="1041780"/>
                </a:lnTo>
                <a:lnTo>
                  <a:pt x="905354" y="1041780"/>
                </a:lnTo>
                <a:lnTo>
                  <a:pt x="906982" y="1045027"/>
                </a:lnTo>
                <a:lnTo>
                  <a:pt x="902750" y="1046976"/>
                </a:lnTo>
                <a:lnTo>
                  <a:pt x="896241" y="1045894"/>
                </a:lnTo>
                <a:lnTo>
                  <a:pt x="896132" y="1038315"/>
                </a:lnTo>
                <a:close/>
                <a:moveTo>
                  <a:pt x="4206322" y="1035717"/>
                </a:moveTo>
                <a:lnTo>
                  <a:pt x="4210445" y="1039182"/>
                </a:lnTo>
                <a:lnTo>
                  <a:pt x="4203718" y="1040048"/>
                </a:lnTo>
                <a:close/>
                <a:moveTo>
                  <a:pt x="5277056" y="1035608"/>
                </a:moveTo>
                <a:lnTo>
                  <a:pt x="5280312" y="1035608"/>
                </a:lnTo>
                <a:lnTo>
                  <a:pt x="5283675" y="1036799"/>
                </a:lnTo>
                <a:lnTo>
                  <a:pt x="5287365" y="1035716"/>
                </a:lnTo>
                <a:lnTo>
                  <a:pt x="5291164" y="1036799"/>
                </a:lnTo>
                <a:lnTo>
                  <a:pt x="5293009" y="1041238"/>
                </a:lnTo>
                <a:lnTo>
                  <a:pt x="5291164" y="1043295"/>
                </a:lnTo>
                <a:lnTo>
                  <a:pt x="5286280" y="1045028"/>
                </a:lnTo>
                <a:lnTo>
                  <a:pt x="5280962" y="1041671"/>
                </a:lnTo>
                <a:lnTo>
                  <a:pt x="5280637" y="1038748"/>
                </a:lnTo>
                <a:lnTo>
                  <a:pt x="5277490" y="1037773"/>
                </a:lnTo>
                <a:close/>
                <a:moveTo>
                  <a:pt x="4284019" y="1034091"/>
                </a:moveTo>
                <a:lnTo>
                  <a:pt x="4278919" y="1036798"/>
                </a:lnTo>
                <a:lnTo>
                  <a:pt x="4271974" y="1036690"/>
                </a:lnTo>
                <a:lnTo>
                  <a:pt x="4269587" y="1038206"/>
                </a:lnTo>
                <a:lnTo>
                  <a:pt x="4269587" y="1038206"/>
                </a:lnTo>
                <a:lnTo>
                  <a:pt x="4271974" y="1036691"/>
                </a:lnTo>
                <a:lnTo>
                  <a:pt x="4278919" y="1036799"/>
                </a:lnTo>
                <a:lnTo>
                  <a:pt x="4284019" y="1034092"/>
                </a:lnTo>
                <a:lnTo>
                  <a:pt x="4291941" y="1036150"/>
                </a:lnTo>
                <a:lnTo>
                  <a:pt x="4296824" y="1039398"/>
                </a:lnTo>
                <a:lnTo>
                  <a:pt x="4302358" y="1039939"/>
                </a:lnTo>
                <a:lnTo>
                  <a:pt x="4305397" y="1042537"/>
                </a:lnTo>
                <a:lnTo>
                  <a:pt x="4307893" y="1041672"/>
                </a:lnTo>
                <a:lnTo>
                  <a:pt x="4310063" y="1042970"/>
                </a:lnTo>
                <a:lnTo>
                  <a:pt x="4310063" y="1042969"/>
                </a:lnTo>
                <a:lnTo>
                  <a:pt x="4307893" y="1041671"/>
                </a:lnTo>
                <a:lnTo>
                  <a:pt x="4305397" y="1042536"/>
                </a:lnTo>
                <a:lnTo>
                  <a:pt x="4302359" y="1039938"/>
                </a:lnTo>
                <a:lnTo>
                  <a:pt x="4296825" y="1039397"/>
                </a:lnTo>
                <a:lnTo>
                  <a:pt x="4291941" y="1036149"/>
                </a:lnTo>
                <a:close/>
                <a:moveTo>
                  <a:pt x="4307597" y="1031996"/>
                </a:moveTo>
                <a:lnTo>
                  <a:pt x="4307459" y="1033334"/>
                </a:lnTo>
                <a:lnTo>
                  <a:pt x="4307459" y="1033334"/>
                </a:lnTo>
                <a:close/>
                <a:moveTo>
                  <a:pt x="878768" y="1031602"/>
                </a:moveTo>
                <a:lnTo>
                  <a:pt x="881700" y="1031818"/>
                </a:lnTo>
                <a:lnTo>
                  <a:pt x="882892" y="1033875"/>
                </a:lnTo>
                <a:lnTo>
                  <a:pt x="879636" y="1037232"/>
                </a:lnTo>
                <a:lnTo>
                  <a:pt x="877577" y="1040480"/>
                </a:lnTo>
                <a:lnTo>
                  <a:pt x="872909" y="1044594"/>
                </a:lnTo>
                <a:lnTo>
                  <a:pt x="872149" y="1047085"/>
                </a:lnTo>
                <a:lnTo>
                  <a:pt x="869872" y="1046868"/>
                </a:lnTo>
                <a:lnTo>
                  <a:pt x="868677" y="1044594"/>
                </a:lnTo>
                <a:lnTo>
                  <a:pt x="875296" y="1037881"/>
                </a:lnTo>
                <a:lnTo>
                  <a:pt x="875839" y="1034850"/>
                </a:lnTo>
                <a:close/>
                <a:moveTo>
                  <a:pt x="4467034" y="1029070"/>
                </a:moveTo>
                <a:lnTo>
                  <a:pt x="4466979" y="1029328"/>
                </a:lnTo>
                <a:lnTo>
                  <a:pt x="4468290" y="1030897"/>
                </a:lnTo>
                <a:lnTo>
                  <a:pt x="4468063" y="1030303"/>
                </a:lnTo>
                <a:close/>
                <a:moveTo>
                  <a:pt x="2261486" y="1025431"/>
                </a:moveTo>
                <a:lnTo>
                  <a:pt x="2263765" y="1026405"/>
                </a:lnTo>
                <a:lnTo>
                  <a:pt x="2260293" y="1030845"/>
                </a:lnTo>
                <a:lnTo>
                  <a:pt x="2260293" y="1033984"/>
                </a:lnTo>
                <a:lnTo>
                  <a:pt x="2264416" y="1032902"/>
                </a:lnTo>
                <a:lnTo>
                  <a:pt x="2265609" y="1037232"/>
                </a:lnTo>
                <a:lnTo>
                  <a:pt x="2264741" y="1041022"/>
                </a:lnTo>
                <a:lnTo>
                  <a:pt x="2265936" y="1044053"/>
                </a:lnTo>
                <a:lnTo>
                  <a:pt x="2262680" y="1044053"/>
                </a:lnTo>
                <a:lnTo>
                  <a:pt x="2260293" y="1044053"/>
                </a:lnTo>
                <a:lnTo>
                  <a:pt x="2259641" y="1046760"/>
                </a:lnTo>
                <a:lnTo>
                  <a:pt x="2261703" y="1051199"/>
                </a:lnTo>
                <a:lnTo>
                  <a:pt x="2261703" y="1057045"/>
                </a:lnTo>
                <a:lnTo>
                  <a:pt x="2263765" y="1058886"/>
                </a:lnTo>
                <a:lnTo>
                  <a:pt x="2266369" y="1056612"/>
                </a:lnTo>
                <a:lnTo>
                  <a:pt x="2267237" y="1052498"/>
                </a:lnTo>
                <a:lnTo>
                  <a:pt x="2271578" y="1047302"/>
                </a:lnTo>
                <a:lnTo>
                  <a:pt x="2273097" y="1047302"/>
                </a:lnTo>
                <a:lnTo>
                  <a:pt x="2274182" y="1050549"/>
                </a:lnTo>
                <a:lnTo>
                  <a:pt x="2277763" y="1053256"/>
                </a:lnTo>
                <a:lnTo>
                  <a:pt x="2277763" y="1055638"/>
                </a:lnTo>
                <a:lnTo>
                  <a:pt x="2275810" y="1058020"/>
                </a:lnTo>
                <a:lnTo>
                  <a:pt x="2278089" y="1062676"/>
                </a:lnTo>
                <a:lnTo>
                  <a:pt x="2285794" y="1065599"/>
                </a:lnTo>
                <a:lnTo>
                  <a:pt x="2291654" y="1065599"/>
                </a:lnTo>
                <a:lnTo>
                  <a:pt x="2293173" y="1069063"/>
                </a:lnTo>
                <a:lnTo>
                  <a:pt x="2292305" y="1074585"/>
                </a:lnTo>
                <a:lnTo>
                  <a:pt x="2293498" y="1077509"/>
                </a:lnTo>
                <a:lnTo>
                  <a:pt x="2296754" y="1077509"/>
                </a:lnTo>
                <a:lnTo>
                  <a:pt x="2298273" y="1083030"/>
                </a:lnTo>
                <a:lnTo>
                  <a:pt x="2298273" y="1085087"/>
                </a:lnTo>
                <a:lnTo>
                  <a:pt x="2304133" y="1087469"/>
                </a:lnTo>
                <a:lnTo>
                  <a:pt x="2310427" y="1094399"/>
                </a:lnTo>
                <a:lnTo>
                  <a:pt x="2310427" y="1097647"/>
                </a:lnTo>
                <a:lnTo>
                  <a:pt x="2313032" y="1099921"/>
                </a:lnTo>
                <a:lnTo>
                  <a:pt x="2313032" y="1102303"/>
                </a:lnTo>
                <a:lnTo>
                  <a:pt x="2311512" y="1105117"/>
                </a:lnTo>
                <a:lnTo>
                  <a:pt x="2311512" y="1110206"/>
                </a:lnTo>
                <a:lnTo>
                  <a:pt x="2313032" y="1111613"/>
                </a:lnTo>
                <a:lnTo>
                  <a:pt x="2313032" y="1114754"/>
                </a:lnTo>
                <a:lnTo>
                  <a:pt x="2309559" y="1117352"/>
                </a:lnTo>
                <a:lnTo>
                  <a:pt x="2306412" y="1117352"/>
                </a:lnTo>
                <a:lnTo>
                  <a:pt x="2302288" y="1119842"/>
                </a:lnTo>
                <a:lnTo>
                  <a:pt x="2305436" y="1122441"/>
                </a:lnTo>
                <a:lnTo>
                  <a:pt x="2312815" y="1122441"/>
                </a:lnTo>
                <a:lnTo>
                  <a:pt x="2315962" y="1119084"/>
                </a:lnTo>
                <a:lnTo>
                  <a:pt x="2317589" y="1118326"/>
                </a:lnTo>
                <a:lnTo>
                  <a:pt x="2317589" y="1121358"/>
                </a:lnTo>
                <a:lnTo>
                  <a:pt x="2321604" y="1123199"/>
                </a:lnTo>
                <a:lnTo>
                  <a:pt x="2323449" y="1124389"/>
                </a:lnTo>
                <a:lnTo>
                  <a:pt x="2325294" y="1123090"/>
                </a:lnTo>
                <a:lnTo>
                  <a:pt x="2325294" y="1120275"/>
                </a:lnTo>
                <a:lnTo>
                  <a:pt x="2327030" y="1119517"/>
                </a:lnTo>
                <a:lnTo>
                  <a:pt x="2328875" y="1123199"/>
                </a:lnTo>
                <a:lnTo>
                  <a:pt x="2331697" y="1124389"/>
                </a:lnTo>
                <a:lnTo>
                  <a:pt x="2330177" y="1127096"/>
                </a:lnTo>
                <a:lnTo>
                  <a:pt x="2327355" y="1128070"/>
                </a:lnTo>
                <a:lnTo>
                  <a:pt x="2329635" y="1130994"/>
                </a:lnTo>
                <a:lnTo>
                  <a:pt x="2332456" y="1132618"/>
                </a:lnTo>
                <a:lnTo>
                  <a:pt x="2331480" y="1134892"/>
                </a:lnTo>
                <a:lnTo>
                  <a:pt x="2327464" y="1134892"/>
                </a:lnTo>
                <a:lnTo>
                  <a:pt x="2323774" y="1138790"/>
                </a:lnTo>
                <a:lnTo>
                  <a:pt x="2321062" y="1139764"/>
                </a:lnTo>
                <a:lnTo>
                  <a:pt x="2318458" y="1145178"/>
                </a:lnTo>
                <a:lnTo>
                  <a:pt x="2316396" y="1146476"/>
                </a:lnTo>
                <a:lnTo>
                  <a:pt x="2310644" y="1143012"/>
                </a:lnTo>
                <a:lnTo>
                  <a:pt x="2308040" y="1143012"/>
                </a:lnTo>
                <a:lnTo>
                  <a:pt x="2305436" y="1140630"/>
                </a:lnTo>
                <a:lnTo>
                  <a:pt x="2301203" y="1140630"/>
                </a:lnTo>
                <a:lnTo>
                  <a:pt x="2299793" y="1137707"/>
                </a:lnTo>
                <a:lnTo>
                  <a:pt x="2296971" y="1138356"/>
                </a:lnTo>
                <a:lnTo>
                  <a:pt x="2295452" y="1136949"/>
                </a:lnTo>
                <a:lnTo>
                  <a:pt x="2292305" y="1136949"/>
                </a:lnTo>
                <a:lnTo>
                  <a:pt x="2290352" y="1138248"/>
                </a:lnTo>
                <a:lnTo>
                  <a:pt x="2287422" y="1136840"/>
                </a:lnTo>
                <a:lnTo>
                  <a:pt x="2287422" y="1131211"/>
                </a:lnTo>
                <a:lnTo>
                  <a:pt x="2290352" y="1130345"/>
                </a:lnTo>
                <a:lnTo>
                  <a:pt x="2293173" y="1125905"/>
                </a:lnTo>
                <a:lnTo>
                  <a:pt x="2292088" y="1122549"/>
                </a:lnTo>
                <a:lnTo>
                  <a:pt x="2288941" y="1121358"/>
                </a:lnTo>
                <a:lnTo>
                  <a:pt x="2284166" y="1121358"/>
                </a:lnTo>
                <a:lnTo>
                  <a:pt x="2280476" y="1118976"/>
                </a:lnTo>
                <a:lnTo>
                  <a:pt x="2282429" y="1116378"/>
                </a:lnTo>
                <a:lnTo>
                  <a:pt x="2285468" y="1113779"/>
                </a:lnTo>
                <a:lnTo>
                  <a:pt x="2284817" y="1109990"/>
                </a:lnTo>
                <a:lnTo>
                  <a:pt x="2282538" y="1108799"/>
                </a:lnTo>
                <a:lnTo>
                  <a:pt x="2279825" y="1109881"/>
                </a:lnTo>
                <a:lnTo>
                  <a:pt x="2277546" y="1112264"/>
                </a:lnTo>
                <a:lnTo>
                  <a:pt x="2275376" y="1110315"/>
                </a:lnTo>
                <a:lnTo>
                  <a:pt x="2272447" y="1110315"/>
                </a:lnTo>
                <a:lnTo>
                  <a:pt x="2270927" y="1113346"/>
                </a:lnTo>
                <a:lnTo>
                  <a:pt x="2266912" y="1116052"/>
                </a:lnTo>
                <a:lnTo>
                  <a:pt x="2266912" y="1121791"/>
                </a:lnTo>
                <a:lnTo>
                  <a:pt x="2265176" y="1127854"/>
                </a:lnTo>
                <a:lnTo>
                  <a:pt x="2262354" y="1127854"/>
                </a:lnTo>
                <a:lnTo>
                  <a:pt x="2260075" y="1129370"/>
                </a:lnTo>
                <a:lnTo>
                  <a:pt x="2256603" y="1131860"/>
                </a:lnTo>
                <a:lnTo>
                  <a:pt x="2254432" y="1129695"/>
                </a:lnTo>
                <a:lnTo>
                  <a:pt x="2252370" y="1129695"/>
                </a:lnTo>
                <a:lnTo>
                  <a:pt x="2250092" y="1133268"/>
                </a:lnTo>
                <a:lnTo>
                  <a:pt x="2246945" y="1135974"/>
                </a:lnTo>
                <a:lnTo>
                  <a:pt x="2245642" y="1141063"/>
                </a:lnTo>
                <a:lnTo>
                  <a:pt x="2241736" y="1144636"/>
                </a:lnTo>
                <a:lnTo>
                  <a:pt x="2238480" y="1144636"/>
                </a:lnTo>
                <a:lnTo>
                  <a:pt x="2235008" y="1146585"/>
                </a:lnTo>
                <a:lnTo>
                  <a:pt x="2233923" y="1148533"/>
                </a:lnTo>
                <a:lnTo>
                  <a:pt x="2230016" y="1148533"/>
                </a:lnTo>
                <a:lnTo>
                  <a:pt x="2227412" y="1150266"/>
                </a:lnTo>
                <a:lnTo>
                  <a:pt x="2223939" y="1150266"/>
                </a:lnTo>
                <a:lnTo>
                  <a:pt x="2222203" y="1148967"/>
                </a:lnTo>
                <a:lnTo>
                  <a:pt x="2219598" y="1150266"/>
                </a:lnTo>
                <a:lnTo>
                  <a:pt x="2218622" y="1148318"/>
                </a:lnTo>
                <a:lnTo>
                  <a:pt x="2218622" y="1141929"/>
                </a:lnTo>
                <a:lnTo>
                  <a:pt x="2221335" y="1138140"/>
                </a:lnTo>
                <a:lnTo>
                  <a:pt x="2220575" y="1134351"/>
                </a:lnTo>
                <a:lnTo>
                  <a:pt x="2224156" y="1129695"/>
                </a:lnTo>
                <a:lnTo>
                  <a:pt x="2223505" y="1126880"/>
                </a:lnTo>
                <a:lnTo>
                  <a:pt x="2220901" y="1125147"/>
                </a:lnTo>
                <a:lnTo>
                  <a:pt x="2218622" y="1125147"/>
                </a:lnTo>
                <a:lnTo>
                  <a:pt x="2216777" y="1126231"/>
                </a:lnTo>
                <a:lnTo>
                  <a:pt x="2213087" y="1126231"/>
                </a:lnTo>
                <a:lnTo>
                  <a:pt x="2210049" y="1124498"/>
                </a:lnTo>
                <a:lnTo>
                  <a:pt x="2208421" y="1123307"/>
                </a:lnTo>
                <a:lnTo>
                  <a:pt x="2206142" y="1124173"/>
                </a:lnTo>
                <a:lnTo>
                  <a:pt x="2205166" y="1128179"/>
                </a:lnTo>
                <a:lnTo>
                  <a:pt x="2203104" y="1128179"/>
                </a:lnTo>
                <a:lnTo>
                  <a:pt x="2202236" y="1123199"/>
                </a:lnTo>
                <a:lnTo>
                  <a:pt x="2204623" y="1115078"/>
                </a:lnTo>
                <a:lnTo>
                  <a:pt x="2204623" y="1110748"/>
                </a:lnTo>
                <a:lnTo>
                  <a:pt x="2212328" y="1107607"/>
                </a:lnTo>
                <a:lnTo>
                  <a:pt x="2218188" y="1107607"/>
                </a:lnTo>
                <a:lnTo>
                  <a:pt x="2220901" y="1104685"/>
                </a:lnTo>
                <a:lnTo>
                  <a:pt x="2220901" y="1097864"/>
                </a:lnTo>
                <a:lnTo>
                  <a:pt x="2222094" y="1095265"/>
                </a:lnTo>
                <a:lnTo>
                  <a:pt x="2222094" y="1088769"/>
                </a:lnTo>
                <a:lnTo>
                  <a:pt x="2224156" y="1084763"/>
                </a:lnTo>
                <a:lnTo>
                  <a:pt x="2230125" y="1079457"/>
                </a:lnTo>
                <a:lnTo>
                  <a:pt x="2230125" y="1075668"/>
                </a:lnTo>
                <a:lnTo>
                  <a:pt x="2231319" y="1071337"/>
                </a:lnTo>
                <a:lnTo>
                  <a:pt x="2233923" y="1069930"/>
                </a:lnTo>
                <a:lnTo>
                  <a:pt x="2232187" y="1066682"/>
                </a:lnTo>
                <a:lnTo>
                  <a:pt x="2236853" y="1059102"/>
                </a:lnTo>
                <a:lnTo>
                  <a:pt x="2236853" y="1056179"/>
                </a:lnTo>
                <a:lnTo>
                  <a:pt x="2239783" y="1052173"/>
                </a:lnTo>
                <a:lnTo>
                  <a:pt x="2239783" y="1048709"/>
                </a:lnTo>
                <a:lnTo>
                  <a:pt x="2244123" y="1042321"/>
                </a:lnTo>
                <a:lnTo>
                  <a:pt x="2247704" y="1033226"/>
                </a:lnTo>
                <a:lnTo>
                  <a:pt x="2252370" y="1029220"/>
                </a:lnTo>
                <a:close/>
                <a:moveTo>
                  <a:pt x="4312017" y="1023914"/>
                </a:moveTo>
                <a:lnTo>
                  <a:pt x="4308219" y="1025971"/>
                </a:lnTo>
                <a:lnTo>
                  <a:pt x="4308219" y="1025972"/>
                </a:lnTo>
                <a:lnTo>
                  <a:pt x="4312017" y="1023915"/>
                </a:lnTo>
                <a:close/>
                <a:moveTo>
                  <a:pt x="890597" y="1023590"/>
                </a:moveTo>
                <a:lnTo>
                  <a:pt x="894071" y="1023915"/>
                </a:lnTo>
                <a:lnTo>
                  <a:pt x="894503" y="1027488"/>
                </a:lnTo>
                <a:lnTo>
                  <a:pt x="889837" y="1026838"/>
                </a:lnTo>
                <a:close/>
                <a:moveTo>
                  <a:pt x="2730604" y="1022940"/>
                </a:moveTo>
                <a:lnTo>
                  <a:pt x="2732883" y="1024348"/>
                </a:lnTo>
                <a:lnTo>
                  <a:pt x="2730279" y="1028787"/>
                </a:lnTo>
                <a:lnTo>
                  <a:pt x="2727457" y="1029761"/>
                </a:lnTo>
                <a:cubicBezTo>
                  <a:pt x="2727457" y="1029761"/>
                  <a:pt x="2725504" y="1030736"/>
                  <a:pt x="2725504" y="1030736"/>
                </a:cubicBezTo>
                <a:lnTo>
                  <a:pt x="2725504" y="1026188"/>
                </a:lnTo>
                <a:lnTo>
                  <a:pt x="2728976" y="1024239"/>
                </a:lnTo>
                <a:close/>
                <a:moveTo>
                  <a:pt x="4247884" y="1020017"/>
                </a:moveTo>
                <a:lnTo>
                  <a:pt x="4250488" y="1024023"/>
                </a:lnTo>
                <a:lnTo>
                  <a:pt x="4246256" y="1025864"/>
                </a:lnTo>
                <a:close/>
                <a:moveTo>
                  <a:pt x="2272012" y="1019692"/>
                </a:moveTo>
                <a:lnTo>
                  <a:pt x="2274942" y="1019800"/>
                </a:lnTo>
                <a:lnTo>
                  <a:pt x="2275810" y="1023806"/>
                </a:lnTo>
                <a:lnTo>
                  <a:pt x="2273965" y="1025106"/>
                </a:lnTo>
                <a:lnTo>
                  <a:pt x="2274291" y="1028029"/>
                </a:lnTo>
                <a:lnTo>
                  <a:pt x="2276353" y="1031277"/>
                </a:lnTo>
                <a:lnTo>
                  <a:pt x="2273097" y="1039073"/>
                </a:lnTo>
                <a:lnTo>
                  <a:pt x="2270384" y="1039939"/>
                </a:lnTo>
                <a:lnTo>
                  <a:pt x="2270710" y="1035608"/>
                </a:lnTo>
                <a:lnTo>
                  <a:pt x="2269625" y="1033010"/>
                </a:lnTo>
                <a:lnTo>
                  <a:pt x="2270493" y="1029978"/>
                </a:lnTo>
                <a:lnTo>
                  <a:pt x="2270493" y="1023481"/>
                </a:lnTo>
                <a:close/>
                <a:moveTo>
                  <a:pt x="4224769" y="1018609"/>
                </a:moveTo>
                <a:lnTo>
                  <a:pt x="4221839" y="1031060"/>
                </a:lnTo>
                <a:lnTo>
                  <a:pt x="4223033" y="1035607"/>
                </a:lnTo>
                <a:lnTo>
                  <a:pt x="4226288" y="1029544"/>
                </a:lnTo>
                <a:lnTo>
                  <a:pt x="4233884" y="1029219"/>
                </a:lnTo>
                <a:lnTo>
                  <a:pt x="4230954" y="1025105"/>
                </a:lnTo>
                <a:lnTo>
                  <a:pt x="4230737" y="1021640"/>
                </a:lnTo>
                <a:lnTo>
                  <a:pt x="4233992" y="1024131"/>
                </a:lnTo>
                <a:lnTo>
                  <a:pt x="4240069" y="1029977"/>
                </a:lnTo>
                <a:lnTo>
                  <a:pt x="4231931" y="1038855"/>
                </a:lnTo>
                <a:lnTo>
                  <a:pt x="4226396" y="1041994"/>
                </a:lnTo>
                <a:lnTo>
                  <a:pt x="4224552" y="1045784"/>
                </a:lnTo>
                <a:lnTo>
                  <a:pt x="4220862" y="1044485"/>
                </a:lnTo>
                <a:lnTo>
                  <a:pt x="4221405" y="1039829"/>
                </a:lnTo>
                <a:lnTo>
                  <a:pt x="4215762" y="1047300"/>
                </a:lnTo>
                <a:lnTo>
                  <a:pt x="4213158" y="1047300"/>
                </a:lnTo>
                <a:lnTo>
                  <a:pt x="4214026" y="1041453"/>
                </a:lnTo>
                <a:lnTo>
                  <a:pt x="4216521" y="1040046"/>
                </a:lnTo>
                <a:lnTo>
                  <a:pt x="4215762" y="1035715"/>
                </a:lnTo>
                <a:lnTo>
                  <a:pt x="4219018" y="1031818"/>
                </a:lnTo>
                <a:lnTo>
                  <a:pt x="4219018" y="1027378"/>
                </a:lnTo>
                <a:close/>
                <a:moveTo>
                  <a:pt x="4213049" y="1018609"/>
                </a:moveTo>
                <a:lnTo>
                  <a:pt x="4214568" y="1024889"/>
                </a:lnTo>
                <a:lnTo>
                  <a:pt x="4214785" y="1032793"/>
                </a:lnTo>
                <a:lnTo>
                  <a:pt x="4208382" y="1034742"/>
                </a:lnTo>
                <a:lnTo>
                  <a:pt x="4205778" y="1032468"/>
                </a:lnTo>
                <a:lnTo>
                  <a:pt x="4211638" y="1028354"/>
                </a:lnTo>
                <a:lnTo>
                  <a:pt x="4208382" y="1028245"/>
                </a:lnTo>
                <a:lnTo>
                  <a:pt x="4202306" y="1033009"/>
                </a:lnTo>
                <a:lnTo>
                  <a:pt x="4200461" y="1029870"/>
                </a:lnTo>
                <a:lnTo>
                  <a:pt x="4202197" y="1025105"/>
                </a:lnTo>
                <a:lnTo>
                  <a:pt x="4206646" y="1026080"/>
                </a:lnTo>
                <a:lnTo>
                  <a:pt x="4210770" y="1021315"/>
                </a:lnTo>
                <a:lnTo>
                  <a:pt x="4209902" y="1019042"/>
                </a:lnTo>
                <a:close/>
                <a:moveTo>
                  <a:pt x="2909440" y="1018609"/>
                </a:moveTo>
                <a:lnTo>
                  <a:pt x="2911719" y="1018609"/>
                </a:lnTo>
                <a:lnTo>
                  <a:pt x="2911393" y="1020558"/>
                </a:lnTo>
                <a:lnTo>
                  <a:pt x="2908680" y="1023589"/>
                </a:lnTo>
                <a:lnTo>
                  <a:pt x="2906510" y="1024023"/>
                </a:lnTo>
                <a:lnTo>
                  <a:pt x="2905317" y="1022831"/>
                </a:lnTo>
                <a:lnTo>
                  <a:pt x="2906402" y="1021424"/>
                </a:lnTo>
                <a:close/>
                <a:moveTo>
                  <a:pt x="4235295" y="1015903"/>
                </a:moveTo>
                <a:lnTo>
                  <a:pt x="4240070" y="1018393"/>
                </a:lnTo>
                <a:lnTo>
                  <a:pt x="4240070" y="1021641"/>
                </a:lnTo>
                <a:lnTo>
                  <a:pt x="4233233" y="1018825"/>
                </a:lnTo>
                <a:lnTo>
                  <a:pt x="4231823" y="1017310"/>
                </a:lnTo>
                <a:close/>
                <a:moveTo>
                  <a:pt x="2289158" y="1015578"/>
                </a:moveTo>
                <a:lnTo>
                  <a:pt x="2290460" y="1020341"/>
                </a:lnTo>
                <a:lnTo>
                  <a:pt x="2294801" y="1022074"/>
                </a:lnTo>
                <a:lnTo>
                  <a:pt x="2295777" y="1025106"/>
                </a:lnTo>
                <a:lnTo>
                  <a:pt x="2298599" y="1027379"/>
                </a:lnTo>
                <a:lnTo>
                  <a:pt x="2298599" y="1034092"/>
                </a:lnTo>
                <a:lnTo>
                  <a:pt x="2303373" y="1036473"/>
                </a:lnTo>
                <a:lnTo>
                  <a:pt x="2306629" y="1036798"/>
                </a:lnTo>
                <a:lnTo>
                  <a:pt x="2305978" y="1041671"/>
                </a:lnTo>
                <a:lnTo>
                  <a:pt x="2301312" y="1040588"/>
                </a:lnTo>
                <a:lnTo>
                  <a:pt x="2298056" y="1041454"/>
                </a:lnTo>
                <a:lnTo>
                  <a:pt x="2298056" y="1038206"/>
                </a:lnTo>
                <a:lnTo>
                  <a:pt x="2295452" y="1035499"/>
                </a:lnTo>
                <a:lnTo>
                  <a:pt x="2291003" y="1033009"/>
                </a:lnTo>
                <a:lnTo>
                  <a:pt x="2291654" y="1030086"/>
                </a:lnTo>
                <a:lnTo>
                  <a:pt x="2290352" y="1025863"/>
                </a:lnTo>
                <a:lnTo>
                  <a:pt x="2287422" y="1023482"/>
                </a:lnTo>
                <a:lnTo>
                  <a:pt x="2287747" y="1017202"/>
                </a:lnTo>
                <a:close/>
                <a:moveTo>
                  <a:pt x="901339" y="1014820"/>
                </a:moveTo>
                <a:lnTo>
                  <a:pt x="904594" y="1016010"/>
                </a:lnTo>
                <a:lnTo>
                  <a:pt x="902207" y="1018177"/>
                </a:lnTo>
                <a:lnTo>
                  <a:pt x="898953" y="1016985"/>
                </a:lnTo>
                <a:close/>
                <a:moveTo>
                  <a:pt x="2314985" y="1014062"/>
                </a:moveTo>
                <a:lnTo>
                  <a:pt x="2317155" y="1014387"/>
                </a:lnTo>
                <a:lnTo>
                  <a:pt x="2319868" y="1016443"/>
                </a:lnTo>
                <a:lnTo>
                  <a:pt x="2319651" y="1018176"/>
                </a:lnTo>
                <a:lnTo>
                  <a:pt x="2317155" y="1017634"/>
                </a:lnTo>
                <a:lnTo>
                  <a:pt x="2313683" y="1014928"/>
                </a:lnTo>
                <a:close/>
                <a:moveTo>
                  <a:pt x="4467534" y="1012459"/>
                </a:moveTo>
                <a:lnTo>
                  <a:pt x="4466003" y="1013520"/>
                </a:lnTo>
                <a:lnTo>
                  <a:pt x="4467280" y="1013957"/>
                </a:lnTo>
                <a:close/>
                <a:moveTo>
                  <a:pt x="4319288" y="1011896"/>
                </a:moveTo>
                <a:lnTo>
                  <a:pt x="4317551" y="1012762"/>
                </a:lnTo>
                <a:lnTo>
                  <a:pt x="4312125" y="1013737"/>
                </a:lnTo>
                <a:lnTo>
                  <a:pt x="4306699" y="1012112"/>
                </a:lnTo>
                <a:lnTo>
                  <a:pt x="4306699" y="1012114"/>
                </a:lnTo>
                <a:lnTo>
                  <a:pt x="4312125" y="1013738"/>
                </a:lnTo>
                <a:lnTo>
                  <a:pt x="4317551" y="1012763"/>
                </a:lnTo>
                <a:lnTo>
                  <a:pt x="4319287" y="1011897"/>
                </a:lnTo>
                <a:lnTo>
                  <a:pt x="4320412" y="1013237"/>
                </a:lnTo>
                <a:lnTo>
                  <a:pt x="4320412" y="1013236"/>
                </a:lnTo>
                <a:lnTo>
                  <a:pt x="4319288" y="1011896"/>
                </a:lnTo>
                <a:close/>
                <a:moveTo>
                  <a:pt x="878441" y="1010489"/>
                </a:moveTo>
                <a:lnTo>
                  <a:pt x="881698" y="1012005"/>
                </a:lnTo>
                <a:lnTo>
                  <a:pt x="880829" y="1014820"/>
                </a:lnTo>
                <a:lnTo>
                  <a:pt x="881480" y="1017310"/>
                </a:lnTo>
                <a:lnTo>
                  <a:pt x="879854" y="1019584"/>
                </a:lnTo>
                <a:lnTo>
                  <a:pt x="875729" y="1013954"/>
                </a:lnTo>
                <a:close/>
                <a:moveTo>
                  <a:pt x="4320264" y="1010380"/>
                </a:moveTo>
                <a:lnTo>
                  <a:pt x="4319288" y="1011788"/>
                </a:lnTo>
                <a:lnTo>
                  <a:pt x="4319288" y="1011788"/>
                </a:lnTo>
                <a:lnTo>
                  <a:pt x="4320441" y="1013195"/>
                </a:lnTo>
                <a:lnTo>
                  <a:pt x="4320591" y="1012979"/>
                </a:lnTo>
                <a:lnTo>
                  <a:pt x="4322652" y="1013954"/>
                </a:lnTo>
                <a:lnTo>
                  <a:pt x="4324280" y="1012871"/>
                </a:lnTo>
                <a:lnTo>
                  <a:pt x="4323377" y="1010584"/>
                </a:lnTo>
                <a:lnTo>
                  <a:pt x="4322217" y="1011355"/>
                </a:lnTo>
                <a:close/>
                <a:moveTo>
                  <a:pt x="786962" y="1009623"/>
                </a:moveTo>
                <a:lnTo>
                  <a:pt x="790544" y="1009623"/>
                </a:lnTo>
                <a:lnTo>
                  <a:pt x="790764" y="1013304"/>
                </a:lnTo>
                <a:lnTo>
                  <a:pt x="784684" y="1017311"/>
                </a:lnTo>
                <a:lnTo>
                  <a:pt x="780237" y="1016878"/>
                </a:lnTo>
                <a:close/>
                <a:moveTo>
                  <a:pt x="7383580" y="1007024"/>
                </a:moveTo>
                <a:lnTo>
                  <a:pt x="7386186" y="1007890"/>
                </a:lnTo>
                <a:lnTo>
                  <a:pt x="7391719" y="1014169"/>
                </a:lnTo>
                <a:lnTo>
                  <a:pt x="7394215" y="1020124"/>
                </a:lnTo>
                <a:lnTo>
                  <a:pt x="7395518" y="1025321"/>
                </a:lnTo>
                <a:lnTo>
                  <a:pt x="7393238" y="1026513"/>
                </a:lnTo>
                <a:lnTo>
                  <a:pt x="7387379" y="1030843"/>
                </a:lnTo>
                <a:lnTo>
                  <a:pt x="7383689" y="1035066"/>
                </a:lnTo>
                <a:lnTo>
                  <a:pt x="7381194" y="1040696"/>
                </a:lnTo>
                <a:lnTo>
                  <a:pt x="7381194" y="1044052"/>
                </a:lnTo>
                <a:lnTo>
                  <a:pt x="7379782" y="1046325"/>
                </a:lnTo>
                <a:lnTo>
                  <a:pt x="7381953" y="1050765"/>
                </a:lnTo>
                <a:lnTo>
                  <a:pt x="7382604" y="1056070"/>
                </a:lnTo>
                <a:lnTo>
                  <a:pt x="7381085" y="1055420"/>
                </a:lnTo>
                <a:lnTo>
                  <a:pt x="7376852" y="1050982"/>
                </a:lnTo>
                <a:lnTo>
                  <a:pt x="7375985" y="1048383"/>
                </a:lnTo>
                <a:lnTo>
                  <a:pt x="7378155" y="1045351"/>
                </a:lnTo>
                <a:lnTo>
                  <a:pt x="7377829" y="1040046"/>
                </a:lnTo>
                <a:lnTo>
                  <a:pt x="7375225" y="1036473"/>
                </a:lnTo>
                <a:lnTo>
                  <a:pt x="7373597" y="1028894"/>
                </a:lnTo>
                <a:lnTo>
                  <a:pt x="7375008" y="1024672"/>
                </a:lnTo>
                <a:lnTo>
                  <a:pt x="7374465" y="1023914"/>
                </a:lnTo>
                <a:lnTo>
                  <a:pt x="7370016" y="1025538"/>
                </a:lnTo>
                <a:lnTo>
                  <a:pt x="7367303" y="1025863"/>
                </a:lnTo>
                <a:lnTo>
                  <a:pt x="7370125" y="1021315"/>
                </a:lnTo>
                <a:lnTo>
                  <a:pt x="7372512" y="1020233"/>
                </a:lnTo>
                <a:lnTo>
                  <a:pt x="7378372" y="1013303"/>
                </a:lnTo>
                <a:lnTo>
                  <a:pt x="7380325" y="1012004"/>
                </a:lnTo>
                <a:lnTo>
                  <a:pt x="7381085" y="1009622"/>
                </a:lnTo>
                <a:close/>
                <a:moveTo>
                  <a:pt x="2948614" y="1002044"/>
                </a:moveTo>
                <a:lnTo>
                  <a:pt x="2954149" y="1003343"/>
                </a:lnTo>
                <a:lnTo>
                  <a:pt x="2954582" y="1005725"/>
                </a:lnTo>
                <a:lnTo>
                  <a:pt x="2948289" y="1006591"/>
                </a:lnTo>
                <a:lnTo>
                  <a:pt x="2945034" y="1004967"/>
                </a:lnTo>
                <a:lnTo>
                  <a:pt x="2945034" y="1003127"/>
                </a:lnTo>
                <a:close/>
                <a:moveTo>
                  <a:pt x="4228892" y="1000854"/>
                </a:moveTo>
                <a:lnTo>
                  <a:pt x="4230086" y="1005293"/>
                </a:lnTo>
                <a:lnTo>
                  <a:pt x="4225094" y="1008974"/>
                </a:lnTo>
                <a:lnTo>
                  <a:pt x="4224551" y="1013738"/>
                </a:lnTo>
                <a:lnTo>
                  <a:pt x="4218149" y="1021317"/>
                </a:lnTo>
                <a:lnTo>
                  <a:pt x="4215762" y="1019584"/>
                </a:lnTo>
                <a:lnTo>
                  <a:pt x="4216087" y="1012655"/>
                </a:lnTo>
                <a:lnTo>
                  <a:pt x="4222490" y="1007566"/>
                </a:lnTo>
                <a:lnTo>
                  <a:pt x="4222707" y="1003236"/>
                </a:lnTo>
                <a:close/>
                <a:moveTo>
                  <a:pt x="4326666" y="999878"/>
                </a:moveTo>
                <a:lnTo>
                  <a:pt x="4323302" y="1002584"/>
                </a:lnTo>
                <a:lnTo>
                  <a:pt x="4322434" y="1006699"/>
                </a:lnTo>
                <a:lnTo>
                  <a:pt x="4323075" y="1008322"/>
                </a:lnTo>
                <a:lnTo>
                  <a:pt x="4323737" y="1005184"/>
                </a:lnTo>
                <a:lnTo>
                  <a:pt x="4326993" y="1002477"/>
                </a:lnTo>
                <a:lnTo>
                  <a:pt x="4331442" y="1003126"/>
                </a:lnTo>
                <a:lnTo>
                  <a:pt x="4335023" y="1008432"/>
                </a:lnTo>
                <a:lnTo>
                  <a:pt x="4345223" y="1016660"/>
                </a:lnTo>
                <a:lnTo>
                  <a:pt x="4347177" y="1021641"/>
                </a:lnTo>
                <a:lnTo>
                  <a:pt x="4350975" y="1026838"/>
                </a:lnTo>
                <a:lnTo>
                  <a:pt x="4357703" y="1029544"/>
                </a:lnTo>
                <a:lnTo>
                  <a:pt x="4368555" y="1029544"/>
                </a:lnTo>
                <a:lnTo>
                  <a:pt x="4374414" y="1023914"/>
                </a:lnTo>
                <a:lnTo>
                  <a:pt x="4377670" y="1020450"/>
                </a:lnTo>
                <a:lnTo>
                  <a:pt x="4382662" y="1020450"/>
                </a:lnTo>
                <a:lnTo>
                  <a:pt x="4390583" y="1025971"/>
                </a:lnTo>
                <a:lnTo>
                  <a:pt x="4395901" y="1026838"/>
                </a:lnTo>
                <a:lnTo>
                  <a:pt x="4398614" y="1021641"/>
                </a:lnTo>
                <a:lnTo>
                  <a:pt x="4401761" y="1019908"/>
                </a:lnTo>
                <a:lnTo>
                  <a:pt x="4405558" y="1016336"/>
                </a:lnTo>
                <a:lnTo>
                  <a:pt x="4409683" y="1016336"/>
                </a:lnTo>
                <a:lnTo>
                  <a:pt x="4413806" y="1013629"/>
                </a:lnTo>
                <a:lnTo>
                  <a:pt x="4415543" y="1010489"/>
                </a:lnTo>
                <a:lnTo>
                  <a:pt x="4415127" y="1009505"/>
                </a:lnTo>
                <a:lnTo>
                  <a:pt x="4413805" y="1011896"/>
                </a:lnTo>
                <a:lnTo>
                  <a:pt x="4409682" y="1014602"/>
                </a:lnTo>
                <a:lnTo>
                  <a:pt x="4405558" y="1014278"/>
                </a:lnTo>
                <a:lnTo>
                  <a:pt x="4401760" y="1017959"/>
                </a:lnTo>
                <a:lnTo>
                  <a:pt x="4398613" y="1019583"/>
                </a:lnTo>
                <a:lnTo>
                  <a:pt x="4395900" y="1024780"/>
                </a:lnTo>
                <a:lnTo>
                  <a:pt x="4390583" y="1023914"/>
                </a:lnTo>
                <a:lnTo>
                  <a:pt x="4382661" y="1018392"/>
                </a:lnTo>
                <a:lnTo>
                  <a:pt x="4377670" y="1018284"/>
                </a:lnTo>
                <a:lnTo>
                  <a:pt x="4374305" y="1021640"/>
                </a:lnTo>
                <a:lnTo>
                  <a:pt x="4368445" y="1027379"/>
                </a:lnTo>
                <a:lnTo>
                  <a:pt x="4357268" y="1027054"/>
                </a:lnTo>
                <a:lnTo>
                  <a:pt x="4350540" y="1024239"/>
                </a:lnTo>
                <a:lnTo>
                  <a:pt x="4346742" y="1019150"/>
                </a:lnTo>
                <a:lnTo>
                  <a:pt x="4344898" y="1014170"/>
                </a:lnTo>
                <a:lnTo>
                  <a:pt x="4334697" y="1005833"/>
                </a:lnTo>
                <a:lnTo>
                  <a:pt x="4331115" y="1000527"/>
                </a:lnTo>
                <a:close/>
                <a:moveTo>
                  <a:pt x="2708358" y="999554"/>
                </a:moveTo>
                <a:lnTo>
                  <a:pt x="2711180" y="1002152"/>
                </a:lnTo>
                <a:lnTo>
                  <a:pt x="2711505" y="1007024"/>
                </a:lnTo>
                <a:lnTo>
                  <a:pt x="2709010" y="1008107"/>
                </a:lnTo>
                <a:lnTo>
                  <a:pt x="2706513" y="1008215"/>
                </a:lnTo>
                <a:lnTo>
                  <a:pt x="2705320" y="1002585"/>
                </a:lnTo>
                <a:close/>
                <a:moveTo>
                  <a:pt x="4900612" y="995007"/>
                </a:moveTo>
                <a:lnTo>
                  <a:pt x="4906580" y="995656"/>
                </a:lnTo>
                <a:lnTo>
                  <a:pt x="4904084" y="997389"/>
                </a:lnTo>
                <a:lnTo>
                  <a:pt x="4898767" y="998472"/>
                </a:lnTo>
                <a:lnTo>
                  <a:pt x="4897573" y="999879"/>
                </a:lnTo>
                <a:lnTo>
                  <a:pt x="4895946" y="999879"/>
                </a:lnTo>
                <a:lnTo>
                  <a:pt x="4896163" y="997281"/>
                </a:lnTo>
                <a:close/>
                <a:moveTo>
                  <a:pt x="4959645" y="994681"/>
                </a:moveTo>
                <a:lnTo>
                  <a:pt x="4961272" y="997171"/>
                </a:lnTo>
                <a:lnTo>
                  <a:pt x="4959102" y="999877"/>
                </a:lnTo>
                <a:lnTo>
                  <a:pt x="4955630" y="999444"/>
                </a:lnTo>
                <a:lnTo>
                  <a:pt x="4957257" y="995655"/>
                </a:lnTo>
                <a:close/>
                <a:moveTo>
                  <a:pt x="4969628" y="992408"/>
                </a:moveTo>
                <a:lnTo>
                  <a:pt x="4969845" y="995873"/>
                </a:lnTo>
                <a:lnTo>
                  <a:pt x="4966481" y="1000312"/>
                </a:lnTo>
                <a:lnTo>
                  <a:pt x="4964853" y="998471"/>
                </a:lnTo>
                <a:lnTo>
                  <a:pt x="4964636" y="996089"/>
                </a:lnTo>
                <a:lnTo>
                  <a:pt x="4966481" y="992949"/>
                </a:lnTo>
                <a:close/>
                <a:moveTo>
                  <a:pt x="4249946" y="989160"/>
                </a:moveTo>
                <a:lnTo>
                  <a:pt x="4257108" y="989918"/>
                </a:lnTo>
                <a:lnTo>
                  <a:pt x="4257977" y="993707"/>
                </a:lnTo>
                <a:lnTo>
                  <a:pt x="4261231" y="994790"/>
                </a:lnTo>
                <a:lnTo>
                  <a:pt x="4262534" y="1000203"/>
                </a:lnTo>
                <a:lnTo>
                  <a:pt x="4261666" y="1002910"/>
                </a:lnTo>
                <a:lnTo>
                  <a:pt x="4262751" y="1006700"/>
                </a:lnTo>
                <a:lnTo>
                  <a:pt x="4257650" y="1007891"/>
                </a:lnTo>
                <a:lnTo>
                  <a:pt x="4255806" y="1010490"/>
                </a:lnTo>
                <a:lnTo>
                  <a:pt x="4250272" y="1010056"/>
                </a:lnTo>
                <a:lnTo>
                  <a:pt x="4249078" y="1015903"/>
                </a:lnTo>
                <a:lnTo>
                  <a:pt x="4246907" y="1016011"/>
                </a:lnTo>
                <a:lnTo>
                  <a:pt x="4246691" y="1011572"/>
                </a:lnTo>
                <a:lnTo>
                  <a:pt x="4242784" y="1011031"/>
                </a:lnTo>
                <a:lnTo>
                  <a:pt x="4246582" y="1005942"/>
                </a:lnTo>
                <a:lnTo>
                  <a:pt x="4241916" y="1005509"/>
                </a:lnTo>
                <a:lnTo>
                  <a:pt x="4243978" y="999987"/>
                </a:lnTo>
                <a:lnTo>
                  <a:pt x="4250054" y="999446"/>
                </a:lnTo>
                <a:lnTo>
                  <a:pt x="4244520" y="996631"/>
                </a:lnTo>
                <a:lnTo>
                  <a:pt x="4247450" y="991433"/>
                </a:lnTo>
                <a:lnTo>
                  <a:pt x="4251031" y="994249"/>
                </a:lnTo>
                <a:close/>
                <a:moveTo>
                  <a:pt x="2932445" y="982664"/>
                </a:moveTo>
                <a:lnTo>
                  <a:pt x="2936569" y="982989"/>
                </a:lnTo>
                <a:lnTo>
                  <a:pt x="2937437" y="985586"/>
                </a:lnTo>
                <a:lnTo>
                  <a:pt x="2930600" y="986778"/>
                </a:lnTo>
                <a:lnTo>
                  <a:pt x="2929190" y="985154"/>
                </a:lnTo>
                <a:lnTo>
                  <a:pt x="2929732" y="983205"/>
                </a:lnTo>
                <a:close/>
                <a:moveTo>
                  <a:pt x="4413906" y="982573"/>
                </a:moveTo>
                <a:lnTo>
                  <a:pt x="4412828" y="985261"/>
                </a:lnTo>
                <a:lnTo>
                  <a:pt x="4411527" y="997496"/>
                </a:lnTo>
                <a:lnTo>
                  <a:pt x="4411648" y="997878"/>
                </a:lnTo>
                <a:lnTo>
                  <a:pt x="4412721" y="986886"/>
                </a:lnTo>
                <a:lnTo>
                  <a:pt x="4414240" y="983096"/>
                </a:lnTo>
                <a:close/>
                <a:moveTo>
                  <a:pt x="2952412" y="980498"/>
                </a:moveTo>
                <a:lnTo>
                  <a:pt x="2956427" y="982122"/>
                </a:lnTo>
                <a:lnTo>
                  <a:pt x="2953823" y="983529"/>
                </a:lnTo>
                <a:lnTo>
                  <a:pt x="2949916" y="983747"/>
                </a:lnTo>
                <a:lnTo>
                  <a:pt x="2948614" y="981689"/>
                </a:lnTo>
                <a:close/>
                <a:moveTo>
                  <a:pt x="4497906" y="978657"/>
                </a:moveTo>
                <a:lnTo>
                  <a:pt x="4497275" y="978710"/>
                </a:lnTo>
                <a:lnTo>
                  <a:pt x="4501487" y="980391"/>
                </a:lnTo>
                <a:lnTo>
                  <a:pt x="4501621" y="980222"/>
                </a:lnTo>
                <a:close/>
                <a:moveTo>
                  <a:pt x="3504111" y="978441"/>
                </a:moveTo>
                <a:lnTo>
                  <a:pt x="3504653" y="980498"/>
                </a:lnTo>
                <a:lnTo>
                  <a:pt x="3502049" y="982014"/>
                </a:lnTo>
                <a:lnTo>
                  <a:pt x="3500313" y="981797"/>
                </a:lnTo>
                <a:lnTo>
                  <a:pt x="3500638" y="979848"/>
                </a:lnTo>
                <a:close/>
                <a:moveTo>
                  <a:pt x="4277617" y="978332"/>
                </a:moveTo>
                <a:lnTo>
                  <a:pt x="4280764" y="982987"/>
                </a:lnTo>
                <a:lnTo>
                  <a:pt x="4277400" y="987102"/>
                </a:lnTo>
                <a:lnTo>
                  <a:pt x="4277617" y="990567"/>
                </a:lnTo>
                <a:lnTo>
                  <a:pt x="4271974" y="990675"/>
                </a:lnTo>
                <a:lnTo>
                  <a:pt x="4267417" y="992408"/>
                </a:lnTo>
                <a:lnTo>
                  <a:pt x="4262642" y="986236"/>
                </a:lnTo>
                <a:lnTo>
                  <a:pt x="4269044" y="985911"/>
                </a:lnTo>
                <a:lnTo>
                  <a:pt x="4269262" y="982338"/>
                </a:lnTo>
                <a:lnTo>
                  <a:pt x="4274904" y="982122"/>
                </a:lnTo>
                <a:close/>
                <a:moveTo>
                  <a:pt x="2942212" y="975409"/>
                </a:moveTo>
                <a:lnTo>
                  <a:pt x="2946878" y="976600"/>
                </a:lnTo>
                <a:lnTo>
                  <a:pt x="2949591" y="978115"/>
                </a:lnTo>
                <a:lnTo>
                  <a:pt x="2946552" y="980498"/>
                </a:lnTo>
                <a:lnTo>
                  <a:pt x="2943297" y="980931"/>
                </a:lnTo>
                <a:lnTo>
                  <a:pt x="2937654" y="978441"/>
                </a:lnTo>
                <a:lnTo>
                  <a:pt x="2938088" y="976925"/>
                </a:lnTo>
                <a:close/>
                <a:moveTo>
                  <a:pt x="4290530" y="971295"/>
                </a:moveTo>
                <a:lnTo>
                  <a:pt x="4292592" y="975734"/>
                </a:lnTo>
                <a:lnTo>
                  <a:pt x="4289120" y="977683"/>
                </a:lnTo>
                <a:close/>
                <a:moveTo>
                  <a:pt x="4418472" y="971118"/>
                </a:moveTo>
                <a:lnTo>
                  <a:pt x="4414781" y="976166"/>
                </a:lnTo>
                <a:lnTo>
                  <a:pt x="4412069" y="977899"/>
                </a:lnTo>
                <a:lnTo>
                  <a:pt x="4412774" y="979005"/>
                </a:lnTo>
                <a:lnTo>
                  <a:pt x="4414675" y="977791"/>
                </a:lnTo>
                <a:lnTo>
                  <a:pt x="4418472" y="972594"/>
                </a:lnTo>
                <a:close/>
                <a:moveTo>
                  <a:pt x="2672222" y="970104"/>
                </a:moveTo>
                <a:lnTo>
                  <a:pt x="2674826" y="970212"/>
                </a:lnTo>
                <a:lnTo>
                  <a:pt x="2675694" y="973135"/>
                </a:lnTo>
                <a:lnTo>
                  <a:pt x="2673958" y="974435"/>
                </a:lnTo>
                <a:lnTo>
                  <a:pt x="2669509" y="971620"/>
                </a:lnTo>
                <a:cubicBezTo>
                  <a:pt x="2670370" y="971042"/>
                  <a:pt x="2671278" y="970535"/>
                  <a:pt x="2672222" y="970104"/>
                </a:cubicBezTo>
                <a:close/>
                <a:moveTo>
                  <a:pt x="4991874" y="968914"/>
                </a:moveTo>
                <a:lnTo>
                  <a:pt x="4995454" y="970754"/>
                </a:lnTo>
                <a:lnTo>
                  <a:pt x="4994695" y="973136"/>
                </a:lnTo>
                <a:lnTo>
                  <a:pt x="4991765" y="973028"/>
                </a:lnTo>
                <a:lnTo>
                  <a:pt x="4989595" y="970430"/>
                </a:lnTo>
                <a:close/>
                <a:moveTo>
                  <a:pt x="5021282" y="968372"/>
                </a:moveTo>
                <a:lnTo>
                  <a:pt x="5025622" y="969563"/>
                </a:lnTo>
                <a:lnTo>
                  <a:pt x="5023886" y="971837"/>
                </a:lnTo>
                <a:lnTo>
                  <a:pt x="5017158" y="974002"/>
                </a:lnTo>
                <a:lnTo>
                  <a:pt x="5014554" y="975951"/>
                </a:lnTo>
                <a:lnTo>
                  <a:pt x="5012601" y="975409"/>
                </a:lnTo>
                <a:lnTo>
                  <a:pt x="5014988" y="971512"/>
                </a:lnTo>
                <a:close/>
                <a:moveTo>
                  <a:pt x="4971147" y="967830"/>
                </a:moveTo>
                <a:lnTo>
                  <a:pt x="4973426" y="968696"/>
                </a:lnTo>
                <a:lnTo>
                  <a:pt x="4971473" y="971187"/>
                </a:lnTo>
                <a:lnTo>
                  <a:pt x="4968543" y="971187"/>
                </a:lnTo>
                <a:lnTo>
                  <a:pt x="4967892" y="969779"/>
                </a:lnTo>
                <a:close/>
                <a:moveTo>
                  <a:pt x="4978636" y="967073"/>
                </a:moveTo>
                <a:lnTo>
                  <a:pt x="4982868" y="968914"/>
                </a:lnTo>
                <a:lnTo>
                  <a:pt x="4984821" y="973569"/>
                </a:lnTo>
                <a:lnTo>
                  <a:pt x="4980372" y="972487"/>
                </a:lnTo>
                <a:lnTo>
                  <a:pt x="4978310" y="970321"/>
                </a:lnTo>
                <a:lnTo>
                  <a:pt x="4975163" y="969455"/>
                </a:lnTo>
                <a:close/>
                <a:moveTo>
                  <a:pt x="4283477" y="965990"/>
                </a:moveTo>
                <a:lnTo>
                  <a:pt x="4285213" y="968696"/>
                </a:lnTo>
                <a:lnTo>
                  <a:pt x="4289337" y="968047"/>
                </a:lnTo>
                <a:lnTo>
                  <a:pt x="4289988" y="969347"/>
                </a:lnTo>
                <a:lnTo>
                  <a:pt x="4286299" y="972161"/>
                </a:lnTo>
                <a:lnTo>
                  <a:pt x="4286732" y="976276"/>
                </a:lnTo>
                <a:lnTo>
                  <a:pt x="4285431" y="978333"/>
                </a:lnTo>
                <a:lnTo>
                  <a:pt x="4282066" y="978333"/>
                </a:lnTo>
                <a:lnTo>
                  <a:pt x="4276098" y="972161"/>
                </a:lnTo>
                <a:close/>
                <a:moveTo>
                  <a:pt x="4279895" y="961876"/>
                </a:moveTo>
                <a:lnTo>
                  <a:pt x="4279678" y="965124"/>
                </a:lnTo>
                <a:cubicBezTo>
                  <a:pt x="4279678" y="965124"/>
                  <a:pt x="4273710" y="969130"/>
                  <a:pt x="4273710" y="969130"/>
                </a:cubicBezTo>
                <a:lnTo>
                  <a:pt x="4273710" y="963608"/>
                </a:lnTo>
                <a:close/>
                <a:moveTo>
                  <a:pt x="4446903" y="959818"/>
                </a:moveTo>
                <a:lnTo>
                  <a:pt x="4436703" y="959926"/>
                </a:lnTo>
                <a:lnTo>
                  <a:pt x="4432796" y="964257"/>
                </a:lnTo>
                <a:lnTo>
                  <a:pt x="4433121" y="966314"/>
                </a:lnTo>
                <a:lnTo>
                  <a:pt x="4429540" y="967180"/>
                </a:lnTo>
                <a:lnTo>
                  <a:pt x="4423246" y="965989"/>
                </a:lnTo>
                <a:lnTo>
                  <a:pt x="4418254" y="968263"/>
                </a:lnTo>
                <a:lnTo>
                  <a:pt x="4418472" y="970074"/>
                </a:lnTo>
                <a:lnTo>
                  <a:pt x="4418472" y="969888"/>
                </a:lnTo>
                <a:lnTo>
                  <a:pt x="4423464" y="967614"/>
                </a:lnTo>
                <a:lnTo>
                  <a:pt x="4429649" y="968805"/>
                </a:lnTo>
                <a:lnTo>
                  <a:pt x="4433231" y="967939"/>
                </a:lnTo>
                <a:lnTo>
                  <a:pt x="4433231" y="965882"/>
                </a:lnTo>
                <a:lnTo>
                  <a:pt x="4437246" y="961551"/>
                </a:lnTo>
                <a:lnTo>
                  <a:pt x="4447446" y="961551"/>
                </a:lnTo>
                <a:lnTo>
                  <a:pt x="4451896" y="964582"/>
                </a:lnTo>
                <a:lnTo>
                  <a:pt x="4457647" y="971945"/>
                </a:lnTo>
                <a:lnTo>
                  <a:pt x="4461011" y="975410"/>
                </a:lnTo>
                <a:lnTo>
                  <a:pt x="4466220" y="977359"/>
                </a:lnTo>
                <a:lnTo>
                  <a:pt x="4474141" y="978224"/>
                </a:lnTo>
                <a:lnTo>
                  <a:pt x="4475552" y="982122"/>
                </a:lnTo>
                <a:lnTo>
                  <a:pt x="4479627" y="986373"/>
                </a:lnTo>
                <a:lnTo>
                  <a:pt x="4479784" y="985370"/>
                </a:lnTo>
                <a:lnTo>
                  <a:pt x="4475009" y="980281"/>
                </a:lnTo>
                <a:lnTo>
                  <a:pt x="4473707" y="976492"/>
                </a:lnTo>
                <a:lnTo>
                  <a:pt x="4465676" y="975625"/>
                </a:lnTo>
                <a:lnTo>
                  <a:pt x="4460576" y="973676"/>
                </a:lnTo>
                <a:lnTo>
                  <a:pt x="4457212" y="970212"/>
                </a:lnTo>
                <a:lnTo>
                  <a:pt x="4451352" y="962849"/>
                </a:lnTo>
                <a:close/>
                <a:moveTo>
                  <a:pt x="4309087" y="955812"/>
                </a:moveTo>
                <a:lnTo>
                  <a:pt x="4313971" y="959601"/>
                </a:lnTo>
                <a:lnTo>
                  <a:pt x="4311909" y="964257"/>
                </a:lnTo>
                <a:lnTo>
                  <a:pt x="4314730" y="968047"/>
                </a:lnTo>
                <a:lnTo>
                  <a:pt x="4312560" y="972161"/>
                </a:lnTo>
                <a:lnTo>
                  <a:pt x="4309955" y="968155"/>
                </a:lnTo>
                <a:lnTo>
                  <a:pt x="4306374" y="966855"/>
                </a:lnTo>
                <a:lnTo>
                  <a:pt x="4305832" y="958952"/>
                </a:lnTo>
                <a:close/>
                <a:moveTo>
                  <a:pt x="4284887" y="955163"/>
                </a:moveTo>
                <a:lnTo>
                  <a:pt x="4281957" y="959818"/>
                </a:lnTo>
                <a:lnTo>
                  <a:pt x="4280764" y="956462"/>
                </a:lnTo>
                <a:close/>
                <a:moveTo>
                  <a:pt x="4845703" y="953971"/>
                </a:moveTo>
                <a:lnTo>
                  <a:pt x="4853624" y="955379"/>
                </a:lnTo>
                <a:lnTo>
                  <a:pt x="4870879" y="962632"/>
                </a:lnTo>
                <a:lnTo>
                  <a:pt x="4875328" y="967721"/>
                </a:lnTo>
                <a:lnTo>
                  <a:pt x="4875328" y="973243"/>
                </a:lnTo>
                <a:lnTo>
                  <a:pt x="4871856" y="979198"/>
                </a:lnTo>
                <a:lnTo>
                  <a:pt x="4873266" y="972701"/>
                </a:lnTo>
                <a:lnTo>
                  <a:pt x="4871530" y="968587"/>
                </a:lnTo>
                <a:lnTo>
                  <a:pt x="4868600" y="971727"/>
                </a:lnTo>
                <a:lnTo>
                  <a:pt x="4868600" y="979956"/>
                </a:lnTo>
                <a:lnTo>
                  <a:pt x="4864368" y="985261"/>
                </a:lnTo>
                <a:lnTo>
                  <a:pt x="4857965" y="990566"/>
                </a:lnTo>
                <a:lnTo>
                  <a:pt x="4852973" y="990999"/>
                </a:lnTo>
                <a:lnTo>
                  <a:pt x="4849392" y="994248"/>
                </a:lnTo>
                <a:lnTo>
                  <a:pt x="4845703" y="994248"/>
                </a:lnTo>
                <a:lnTo>
                  <a:pt x="4847113" y="990999"/>
                </a:lnTo>
                <a:lnTo>
                  <a:pt x="4843423" y="988834"/>
                </a:lnTo>
                <a:lnTo>
                  <a:pt x="4841904" y="990133"/>
                </a:lnTo>
                <a:lnTo>
                  <a:pt x="4840494" y="984070"/>
                </a:lnTo>
                <a:lnTo>
                  <a:pt x="4837564" y="978765"/>
                </a:lnTo>
                <a:lnTo>
                  <a:pt x="4837781" y="966855"/>
                </a:lnTo>
                <a:lnTo>
                  <a:pt x="4840710" y="957111"/>
                </a:lnTo>
                <a:close/>
                <a:moveTo>
                  <a:pt x="2517803" y="952131"/>
                </a:moveTo>
                <a:lnTo>
                  <a:pt x="2518019" y="954729"/>
                </a:lnTo>
                <a:lnTo>
                  <a:pt x="2518128" y="957220"/>
                </a:lnTo>
                <a:lnTo>
                  <a:pt x="2519756" y="956353"/>
                </a:lnTo>
                <a:lnTo>
                  <a:pt x="2523445" y="956678"/>
                </a:lnTo>
                <a:lnTo>
                  <a:pt x="2525616" y="960143"/>
                </a:lnTo>
                <a:lnTo>
                  <a:pt x="2530282" y="960468"/>
                </a:lnTo>
                <a:lnTo>
                  <a:pt x="2530065" y="965340"/>
                </a:lnTo>
                <a:lnTo>
                  <a:pt x="2531476" y="968047"/>
                </a:lnTo>
                <a:lnTo>
                  <a:pt x="2529740" y="971078"/>
                </a:lnTo>
                <a:lnTo>
                  <a:pt x="2525507" y="969671"/>
                </a:lnTo>
                <a:lnTo>
                  <a:pt x="2521601" y="970428"/>
                </a:lnTo>
                <a:lnTo>
                  <a:pt x="2519214" y="969345"/>
                </a:lnTo>
                <a:lnTo>
                  <a:pt x="2514873" y="968155"/>
                </a:lnTo>
                <a:lnTo>
                  <a:pt x="2512377" y="969237"/>
                </a:lnTo>
                <a:lnTo>
                  <a:pt x="2510315" y="967830"/>
                </a:lnTo>
                <a:lnTo>
                  <a:pt x="2509447" y="961984"/>
                </a:lnTo>
                <a:lnTo>
                  <a:pt x="2508145" y="957653"/>
                </a:lnTo>
                <a:lnTo>
                  <a:pt x="2509013" y="955920"/>
                </a:lnTo>
                <a:lnTo>
                  <a:pt x="2512051" y="956029"/>
                </a:lnTo>
                <a:lnTo>
                  <a:pt x="2514330" y="955596"/>
                </a:lnTo>
                <a:lnTo>
                  <a:pt x="2516066" y="952780"/>
                </a:lnTo>
                <a:close/>
                <a:moveTo>
                  <a:pt x="4292701" y="952023"/>
                </a:moveTo>
                <a:lnTo>
                  <a:pt x="4293678" y="958627"/>
                </a:lnTo>
                <a:lnTo>
                  <a:pt x="4298126" y="962200"/>
                </a:lnTo>
                <a:lnTo>
                  <a:pt x="4299429" y="965015"/>
                </a:lnTo>
                <a:lnTo>
                  <a:pt x="4297258" y="966747"/>
                </a:lnTo>
                <a:lnTo>
                  <a:pt x="4291942" y="964473"/>
                </a:lnTo>
                <a:lnTo>
                  <a:pt x="4291724" y="960143"/>
                </a:lnTo>
                <a:lnTo>
                  <a:pt x="4289988" y="953863"/>
                </a:lnTo>
                <a:close/>
                <a:moveTo>
                  <a:pt x="5054161" y="950616"/>
                </a:moveTo>
                <a:cubicBezTo>
                  <a:pt x="5053093" y="951729"/>
                  <a:pt x="5052114" y="952924"/>
                  <a:pt x="5051232" y="954189"/>
                </a:cubicBezTo>
                <a:lnTo>
                  <a:pt x="5050364" y="951265"/>
                </a:lnTo>
                <a:close/>
                <a:moveTo>
                  <a:pt x="2653232" y="949749"/>
                </a:moveTo>
                <a:lnTo>
                  <a:pt x="2655294" y="951265"/>
                </a:lnTo>
                <a:lnTo>
                  <a:pt x="2652907" y="952131"/>
                </a:lnTo>
                <a:lnTo>
                  <a:pt x="2649977" y="950074"/>
                </a:lnTo>
                <a:close/>
                <a:moveTo>
                  <a:pt x="4342076" y="946826"/>
                </a:moveTo>
                <a:lnTo>
                  <a:pt x="4347176" y="947259"/>
                </a:lnTo>
                <a:lnTo>
                  <a:pt x="4349455" y="949641"/>
                </a:lnTo>
                <a:lnTo>
                  <a:pt x="4348479" y="954081"/>
                </a:lnTo>
                <a:lnTo>
                  <a:pt x="4343812" y="952023"/>
                </a:lnTo>
                <a:lnTo>
                  <a:pt x="4338604" y="949424"/>
                </a:lnTo>
                <a:close/>
                <a:moveTo>
                  <a:pt x="2524747" y="940438"/>
                </a:moveTo>
                <a:lnTo>
                  <a:pt x="2525941" y="941304"/>
                </a:lnTo>
                <a:lnTo>
                  <a:pt x="2526158" y="944876"/>
                </a:lnTo>
                <a:lnTo>
                  <a:pt x="2524747" y="946176"/>
                </a:lnTo>
                <a:lnTo>
                  <a:pt x="2523120" y="943469"/>
                </a:lnTo>
                <a:close/>
                <a:moveTo>
                  <a:pt x="494944" y="940114"/>
                </a:moveTo>
                <a:lnTo>
                  <a:pt x="494512" y="943795"/>
                </a:lnTo>
                <a:lnTo>
                  <a:pt x="499937" y="947693"/>
                </a:lnTo>
                <a:lnTo>
                  <a:pt x="500480" y="951699"/>
                </a:lnTo>
                <a:lnTo>
                  <a:pt x="496030" y="958195"/>
                </a:lnTo>
                <a:lnTo>
                  <a:pt x="494296" y="964042"/>
                </a:lnTo>
                <a:lnTo>
                  <a:pt x="487893" y="964042"/>
                </a:lnTo>
                <a:lnTo>
                  <a:pt x="483443" y="962310"/>
                </a:lnTo>
                <a:lnTo>
                  <a:pt x="479320" y="965233"/>
                </a:lnTo>
                <a:lnTo>
                  <a:pt x="474978" y="961985"/>
                </a:lnTo>
                <a:lnTo>
                  <a:pt x="470312" y="961119"/>
                </a:lnTo>
                <a:lnTo>
                  <a:pt x="465320" y="952565"/>
                </a:lnTo>
                <a:lnTo>
                  <a:pt x="462934" y="943579"/>
                </a:lnTo>
                <a:lnTo>
                  <a:pt x="468686" y="943254"/>
                </a:lnTo>
                <a:lnTo>
                  <a:pt x="474327" y="945203"/>
                </a:lnTo>
                <a:lnTo>
                  <a:pt x="478993" y="944769"/>
                </a:lnTo>
                <a:lnTo>
                  <a:pt x="482791" y="946502"/>
                </a:lnTo>
                <a:lnTo>
                  <a:pt x="488433" y="941522"/>
                </a:lnTo>
                <a:close/>
                <a:moveTo>
                  <a:pt x="3452022" y="938706"/>
                </a:moveTo>
                <a:lnTo>
                  <a:pt x="3455603" y="939355"/>
                </a:lnTo>
                <a:lnTo>
                  <a:pt x="3455603" y="941196"/>
                </a:lnTo>
                <a:lnTo>
                  <a:pt x="3452347" y="941846"/>
                </a:lnTo>
                <a:lnTo>
                  <a:pt x="3450069" y="940763"/>
                </a:lnTo>
                <a:cubicBezTo>
                  <a:pt x="3450668" y="940030"/>
                  <a:pt x="3451321" y="939342"/>
                  <a:pt x="3452022" y="938706"/>
                </a:cubicBezTo>
                <a:close/>
                <a:moveTo>
                  <a:pt x="2489696" y="936324"/>
                </a:moveTo>
                <a:lnTo>
                  <a:pt x="2494688" y="937840"/>
                </a:lnTo>
                <a:lnTo>
                  <a:pt x="2496858" y="940979"/>
                </a:lnTo>
                <a:lnTo>
                  <a:pt x="2499462" y="940979"/>
                </a:lnTo>
                <a:lnTo>
                  <a:pt x="2502718" y="944553"/>
                </a:lnTo>
                <a:lnTo>
                  <a:pt x="2504454" y="949208"/>
                </a:lnTo>
                <a:lnTo>
                  <a:pt x="2504346" y="952781"/>
                </a:lnTo>
                <a:lnTo>
                  <a:pt x="2500222" y="956246"/>
                </a:lnTo>
                <a:lnTo>
                  <a:pt x="2498160" y="960902"/>
                </a:lnTo>
                <a:lnTo>
                  <a:pt x="2497726" y="965665"/>
                </a:lnTo>
                <a:lnTo>
                  <a:pt x="2491541" y="975302"/>
                </a:lnTo>
                <a:lnTo>
                  <a:pt x="2489479" y="978875"/>
                </a:lnTo>
                <a:lnTo>
                  <a:pt x="2485681" y="980065"/>
                </a:lnTo>
                <a:lnTo>
                  <a:pt x="2479821" y="982989"/>
                </a:lnTo>
                <a:lnTo>
                  <a:pt x="2478519" y="984613"/>
                </a:lnTo>
                <a:lnTo>
                  <a:pt x="2475046" y="985046"/>
                </a:lnTo>
                <a:lnTo>
                  <a:pt x="2469838" y="987320"/>
                </a:lnTo>
                <a:lnTo>
                  <a:pt x="2467125" y="985479"/>
                </a:lnTo>
                <a:lnTo>
                  <a:pt x="2460397" y="986779"/>
                </a:lnTo>
                <a:lnTo>
                  <a:pt x="2456599" y="985479"/>
                </a:lnTo>
                <a:lnTo>
                  <a:pt x="2453669" y="985587"/>
                </a:lnTo>
                <a:lnTo>
                  <a:pt x="2452909" y="984071"/>
                </a:lnTo>
                <a:lnTo>
                  <a:pt x="2454536" y="978767"/>
                </a:lnTo>
                <a:lnTo>
                  <a:pt x="2453126" y="976818"/>
                </a:lnTo>
                <a:lnTo>
                  <a:pt x="2453669" y="971512"/>
                </a:lnTo>
                <a:lnTo>
                  <a:pt x="2454211" y="966207"/>
                </a:lnTo>
                <a:lnTo>
                  <a:pt x="2460397" y="960036"/>
                </a:lnTo>
                <a:lnTo>
                  <a:pt x="2463001" y="954622"/>
                </a:lnTo>
                <a:lnTo>
                  <a:pt x="2466582" y="952240"/>
                </a:lnTo>
                <a:lnTo>
                  <a:pt x="2473527" y="942279"/>
                </a:lnTo>
                <a:lnTo>
                  <a:pt x="2478085" y="939355"/>
                </a:lnTo>
                <a:lnTo>
                  <a:pt x="2480364" y="939355"/>
                </a:lnTo>
                <a:lnTo>
                  <a:pt x="2482208" y="937298"/>
                </a:lnTo>
                <a:lnTo>
                  <a:pt x="2485030" y="938706"/>
                </a:lnTo>
                <a:close/>
                <a:moveTo>
                  <a:pt x="4357811" y="936215"/>
                </a:moveTo>
                <a:lnTo>
                  <a:pt x="4359222" y="941520"/>
                </a:lnTo>
                <a:lnTo>
                  <a:pt x="4355424" y="946067"/>
                </a:lnTo>
                <a:lnTo>
                  <a:pt x="4354664" y="950182"/>
                </a:lnTo>
                <a:lnTo>
                  <a:pt x="4349347" y="943577"/>
                </a:lnTo>
                <a:close/>
                <a:moveTo>
                  <a:pt x="5035606" y="934592"/>
                </a:moveTo>
                <a:lnTo>
                  <a:pt x="5038644" y="937840"/>
                </a:lnTo>
                <a:lnTo>
                  <a:pt x="5046241" y="941738"/>
                </a:lnTo>
                <a:lnTo>
                  <a:pt x="5047109" y="947151"/>
                </a:lnTo>
                <a:lnTo>
                  <a:pt x="5039404" y="941629"/>
                </a:lnTo>
                <a:lnTo>
                  <a:pt x="5034521" y="936974"/>
                </a:lnTo>
                <a:close/>
                <a:moveTo>
                  <a:pt x="2435222" y="929177"/>
                </a:moveTo>
                <a:lnTo>
                  <a:pt x="2436523" y="930152"/>
                </a:lnTo>
                <a:lnTo>
                  <a:pt x="2440539" y="930476"/>
                </a:lnTo>
                <a:lnTo>
                  <a:pt x="2440431" y="933508"/>
                </a:lnTo>
                <a:lnTo>
                  <a:pt x="2436958" y="934266"/>
                </a:lnTo>
                <a:lnTo>
                  <a:pt x="2436523" y="937297"/>
                </a:lnTo>
                <a:lnTo>
                  <a:pt x="2434896" y="938489"/>
                </a:lnTo>
                <a:lnTo>
                  <a:pt x="2433160" y="932858"/>
                </a:lnTo>
                <a:close/>
                <a:moveTo>
                  <a:pt x="5028227" y="929070"/>
                </a:moveTo>
                <a:lnTo>
                  <a:pt x="5030614" y="930478"/>
                </a:lnTo>
                <a:lnTo>
                  <a:pt x="5029855" y="934050"/>
                </a:lnTo>
                <a:lnTo>
                  <a:pt x="5028010" y="934917"/>
                </a:lnTo>
                <a:close/>
                <a:moveTo>
                  <a:pt x="4365734" y="929070"/>
                </a:moveTo>
                <a:lnTo>
                  <a:pt x="4371268" y="933184"/>
                </a:lnTo>
                <a:lnTo>
                  <a:pt x="4369640" y="937299"/>
                </a:lnTo>
                <a:lnTo>
                  <a:pt x="4363237" y="939681"/>
                </a:lnTo>
                <a:lnTo>
                  <a:pt x="4362695" y="935133"/>
                </a:lnTo>
                <a:lnTo>
                  <a:pt x="4359114" y="931452"/>
                </a:lnTo>
                <a:close/>
                <a:moveTo>
                  <a:pt x="2518345" y="927337"/>
                </a:moveTo>
                <a:lnTo>
                  <a:pt x="2519755" y="931884"/>
                </a:lnTo>
                <a:lnTo>
                  <a:pt x="2521275" y="934591"/>
                </a:lnTo>
                <a:lnTo>
                  <a:pt x="2519864" y="936540"/>
                </a:lnTo>
                <a:lnTo>
                  <a:pt x="2518129" y="936322"/>
                </a:lnTo>
                <a:lnTo>
                  <a:pt x="2517152" y="932642"/>
                </a:lnTo>
                <a:close/>
                <a:moveTo>
                  <a:pt x="2271903" y="926796"/>
                </a:moveTo>
                <a:lnTo>
                  <a:pt x="2276353" y="927553"/>
                </a:lnTo>
                <a:lnTo>
                  <a:pt x="2277112" y="929394"/>
                </a:lnTo>
                <a:lnTo>
                  <a:pt x="2274073" y="932534"/>
                </a:lnTo>
                <a:lnTo>
                  <a:pt x="2269082" y="932534"/>
                </a:lnTo>
                <a:lnTo>
                  <a:pt x="2267780" y="931342"/>
                </a:lnTo>
                <a:lnTo>
                  <a:pt x="2268322" y="927012"/>
                </a:lnTo>
                <a:close/>
                <a:moveTo>
                  <a:pt x="2986487" y="926038"/>
                </a:moveTo>
                <a:lnTo>
                  <a:pt x="2987681" y="927770"/>
                </a:lnTo>
                <a:lnTo>
                  <a:pt x="2984209" y="931018"/>
                </a:lnTo>
                <a:lnTo>
                  <a:pt x="2982472" y="937840"/>
                </a:lnTo>
                <a:lnTo>
                  <a:pt x="2979433" y="940114"/>
                </a:lnTo>
                <a:lnTo>
                  <a:pt x="2977697" y="938056"/>
                </a:lnTo>
                <a:lnTo>
                  <a:pt x="2978999" y="933401"/>
                </a:lnTo>
                <a:lnTo>
                  <a:pt x="2978674" y="930477"/>
                </a:lnTo>
                <a:lnTo>
                  <a:pt x="2976178" y="930910"/>
                </a:lnTo>
                <a:lnTo>
                  <a:pt x="2976178" y="929395"/>
                </a:lnTo>
                <a:lnTo>
                  <a:pt x="2979759" y="926254"/>
                </a:lnTo>
                <a:lnTo>
                  <a:pt x="2984100" y="926579"/>
                </a:lnTo>
                <a:close/>
                <a:moveTo>
                  <a:pt x="4355859" y="925713"/>
                </a:moveTo>
                <a:lnTo>
                  <a:pt x="4356727" y="928853"/>
                </a:lnTo>
                <a:lnTo>
                  <a:pt x="4344356" y="941304"/>
                </a:lnTo>
                <a:lnTo>
                  <a:pt x="4341209" y="941954"/>
                </a:lnTo>
                <a:lnTo>
                  <a:pt x="4333613" y="939680"/>
                </a:lnTo>
                <a:lnTo>
                  <a:pt x="4331768" y="934699"/>
                </a:lnTo>
                <a:lnTo>
                  <a:pt x="4336000" y="935674"/>
                </a:lnTo>
                <a:lnTo>
                  <a:pt x="4340015" y="932534"/>
                </a:lnTo>
                <a:lnTo>
                  <a:pt x="4342837" y="935782"/>
                </a:lnTo>
                <a:lnTo>
                  <a:pt x="4345224" y="931018"/>
                </a:lnTo>
                <a:lnTo>
                  <a:pt x="4348263" y="932750"/>
                </a:lnTo>
                <a:close/>
                <a:moveTo>
                  <a:pt x="2512051" y="922789"/>
                </a:moveTo>
                <a:lnTo>
                  <a:pt x="2514547" y="926579"/>
                </a:lnTo>
                <a:lnTo>
                  <a:pt x="2513679" y="932967"/>
                </a:lnTo>
                <a:lnTo>
                  <a:pt x="2514547" y="939788"/>
                </a:lnTo>
                <a:lnTo>
                  <a:pt x="2512485" y="940654"/>
                </a:lnTo>
                <a:lnTo>
                  <a:pt x="2510098" y="942387"/>
                </a:lnTo>
                <a:lnTo>
                  <a:pt x="2509446" y="939030"/>
                </a:lnTo>
                <a:lnTo>
                  <a:pt x="2507710" y="936864"/>
                </a:lnTo>
                <a:lnTo>
                  <a:pt x="2506951" y="932425"/>
                </a:lnTo>
                <a:lnTo>
                  <a:pt x="2509338" y="927553"/>
                </a:lnTo>
                <a:lnTo>
                  <a:pt x="2509664" y="923547"/>
                </a:lnTo>
                <a:close/>
                <a:moveTo>
                  <a:pt x="3434552" y="918892"/>
                </a:moveTo>
                <a:lnTo>
                  <a:pt x="3433249" y="921382"/>
                </a:lnTo>
                <a:lnTo>
                  <a:pt x="3430645" y="922032"/>
                </a:lnTo>
                <a:lnTo>
                  <a:pt x="3429126" y="921490"/>
                </a:lnTo>
                <a:lnTo>
                  <a:pt x="3431404" y="919325"/>
                </a:lnTo>
                <a:close/>
                <a:moveTo>
                  <a:pt x="4369856" y="917160"/>
                </a:moveTo>
                <a:lnTo>
                  <a:pt x="4372135" y="919975"/>
                </a:lnTo>
                <a:lnTo>
                  <a:pt x="4370724" y="922357"/>
                </a:lnTo>
                <a:lnTo>
                  <a:pt x="4368662" y="923007"/>
                </a:lnTo>
                <a:lnTo>
                  <a:pt x="4365624" y="918243"/>
                </a:lnTo>
                <a:close/>
                <a:moveTo>
                  <a:pt x="5192304" y="915753"/>
                </a:moveTo>
                <a:lnTo>
                  <a:pt x="5194583" y="918351"/>
                </a:lnTo>
                <a:lnTo>
                  <a:pt x="5194583" y="921924"/>
                </a:lnTo>
                <a:lnTo>
                  <a:pt x="5192413" y="925173"/>
                </a:lnTo>
                <a:lnTo>
                  <a:pt x="5189157" y="924090"/>
                </a:lnTo>
                <a:cubicBezTo>
                  <a:pt x="5189157" y="924090"/>
                  <a:pt x="5188072" y="922032"/>
                  <a:pt x="5188072" y="922032"/>
                </a:cubicBezTo>
                <a:lnTo>
                  <a:pt x="5189374" y="919867"/>
                </a:lnTo>
                <a:lnTo>
                  <a:pt x="5189374" y="917594"/>
                </a:lnTo>
                <a:close/>
                <a:moveTo>
                  <a:pt x="2439888" y="914778"/>
                </a:moveTo>
                <a:lnTo>
                  <a:pt x="2442168" y="915644"/>
                </a:lnTo>
                <a:lnTo>
                  <a:pt x="2444772" y="917592"/>
                </a:lnTo>
                <a:lnTo>
                  <a:pt x="2443687" y="920516"/>
                </a:lnTo>
                <a:lnTo>
                  <a:pt x="2443144" y="923655"/>
                </a:lnTo>
                <a:lnTo>
                  <a:pt x="2439346" y="923981"/>
                </a:lnTo>
                <a:lnTo>
                  <a:pt x="2439346" y="921490"/>
                </a:lnTo>
                <a:lnTo>
                  <a:pt x="2441191" y="919325"/>
                </a:lnTo>
                <a:close/>
                <a:moveTo>
                  <a:pt x="3465152" y="911639"/>
                </a:moveTo>
                <a:lnTo>
                  <a:pt x="3468951" y="911855"/>
                </a:lnTo>
                <a:lnTo>
                  <a:pt x="3470904" y="916294"/>
                </a:lnTo>
                <a:lnTo>
                  <a:pt x="3474268" y="919434"/>
                </a:lnTo>
                <a:lnTo>
                  <a:pt x="3473833" y="932318"/>
                </a:lnTo>
                <a:lnTo>
                  <a:pt x="3468082" y="936649"/>
                </a:lnTo>
                <a:lnTo>
                  <a:pt x="3465478" y="935891"/>
                </a:lnTo>
                <a:lnTo>
                  <a:pt x="3460052" y="938057"/>
                </a:lnTo>
                <a:lnTo>
                  <a:pt x="3454843" y="934917"/>
                </a:lnTo>
                <a:lnTo>
                  <a:pt x="3450394" y="935891"/>
                </a:lnTo>
                <a:lnTo>
                  <a:pt x="3447247" y="939248"/>
                </a:lnTo>
                <a:lnTo>
                  <a:pt x="3436938" y="936974"/>
                </a:lnTo>
                <a:lnTo>
                  <a:pt x="3426412" y="939248"/>
                </a:lnTo>
                <a:lnTo>
                  <a:pt x="3420769" y="940114"/>
                </a:lnTo>
                <a:lnTo>
                  <a:pt x="3419901" y="937840"/>
                </a:lnTo>
                <a:lnTo>
                  <a:pt x="3421637" y="934592"/>
                </a:lnTo>
                <a:lnTo>
                  <a:pt x="3422288" y="931452"/>
                </a:lnTo>
                <a:lnTo>
                  <a:pt x="3427497" y="930586"/>
                </a:lnTo>
                <a:lnTo>
                  <a:pt x="3430210" y="925822"/>
                </a:lnTo>
                <a:lnTo>
                  <a:pt x="3434876" y="923549"/>
                </a:lnTo>
                <a:lnTo>
                  <a:pt x="3438348" y="919651"/>
                </a:lnTo>
                <a:lnTo>
                  <a:pt x="3451262" y="918027"/>
                </a:lnTo>
                <a:close/>
                <a:moveTo>
                  <a:pt x="4380817" y="909147"/>
                </a:moveTo>
                <a:lnTo>
                  <a:pt x="4384181" y="909147"/>
                </a:lnTo>
                <a:lnTo>
                  <a:pt x="4382445" y="912504"/>
                </a:lnTo>
                <a:lnTo>
                  <a:pt x="4379189" y="912504"/>
                </a:lnTo>
                <a:close/>
                <a:moveTo>
                  <a:pt x="2279934" y="908606"/>
                </a:moveTo>
                <a:lnTo>
                  <a:pt x="2280694" y="910014"/>
                </a:lnTo>
                <a:lnTo>
                  <a:pt x="2280694" y="914777"/>
                </a:lnTo>
                <a:lnTo>
                  <a:pt x="2279609" y="919649"/>
                </a:lnTo>
                <a:lnTo>
                  <a:pt x="2279609" y="924089"/>
                </a:lnTo>
                <a:lnTo>
                  <a:pt x="2275702" y="925496"/>
                </a:lnTo>
                <a:lnTo>
                  <a:pt x="2269300" y="925063"/>
                </a:lnTo>
                <a:lnTo>
                  <a:pt x="2271579" y="920949"/>
                </a:lnTo>
                <a:lnTo>
                  <a:pt x="2271362" y="916185"/>
                </a:lnTo>
                <a:lnTo>
                  <a:pt x="2276679" y="911530"/>
                </a:lnTo>
                <a:close/>
                <a:moveTo>
                  <a:pt x="3472857" y="907957"/>
                </a:moveTo>
                <a:lnTo>
                  <a:pt x="3474919" y="909473"/>
                </a:lnTo>
                <a:lnTo>
                  <a:pt x="3475353" y="912612"/>
                </a:lnTo>
                <a:lnTo>
                  <a:pt x="3474160" y="914236"/>
                </a:lnTo>
                <a:lnTo>
                  <a:pt x="3472098" y="912395"/>
                </a:lnTo>
                <a:lnTo>
                  <a:pt x="3472315" y="909473"/>
                </a:lnTo>
                <a:close/>
                <a:moveTo>
                  <a:pt x="4397093" y="906224"/>
                </a:moveTo>
                <a:lnTo>
                  <a:pt x="4399806" y="908497"/>
                </a:lnTo>
                <a:lnTo>
                  <a:pt x="4403604" y="909472"/>
                </a:lnTo>
                <a:lnTo>
                  <a:pt x="4400565" y="913370"/>
                </a:lnTo>
                <a:lnTo>
                  <a:pt x="4406317" y="913370"/>
                </a:lnTo>
                <a:lnTo>
                  <a:pt x="4404255" y="918783"/>
                </a:lnTo>
                <a:lnTo>
                  <a:pt x="4399372" y="919866"/>
                </a:lnTo>
                <a:lnTo>
                  <a:pt x="4394271" y="915860"/>
                </a:lnTo>
                <a:lnTo>
                  <a:pt x="4389063" y="915101"/>
                </a:lnTo>
                <a:lnTo>
                  <a:pt x="4389388" y="912720"/>
                </a:lnTo>
                <a:lnTo>
                  <a:pt x="4391450" y="910771"/>
                </a:lnTo>
                <a:lnTo>
                  <a:pt x="4394271" y="912070"/>
                </a:lnTo>
                <a:lnTo>
                  <a:pt x="4396551" y="910013"/>
                </a:lnTo>
                <a:close/>
                <a:moveTo>
                  <a:pt x="2675261" y="899620"/>
                </a:moveTo>
                <a:lnTo>
                  <a:pt x="2678950" y="900919"/>
                </a:lnTo>
                <a:lnTo>
                  <a:pt x="2676455" y="903518"/>
                </a:lnTo>
                <a:lnTo>
                  <a:pt x="2673633" y="903518"/>
                </a:lnTo>
                <a:lnTo>
                  <a:pt x="2672765" y="902326"/>
                </a:lnTo>
                <a:close/>
                <a:moveTo>
                  <a:pt x="356586" y="897671"/>
                </a:moveTo>
                <a:lnTo>
                  <a:pt x="359299" y="899620"/>
                </a:lnTo>
                <a:lnTo>
                  <a:pt x="359518" y="903734"/>
                </a:lnTo>
                <a:lnTo>
                  <a:pt x="366027" y="910554"/>
                </a:lnTo>
                <a:lnTo>
                  <a:pt x="365160" y="914453"/>
                </a:lnTo>
                <a:lnTo>
                  <a:pt x="356479" y="907740"/>
                </a:lnTo>
                <a:lnTo>
                  <a:pt x="355611" y="902976"/>
                </a:lnTo>
                <a:lnTo>
                  <a:pt x="354093" y="899511"/>
                </a:lnTo>
                <a:cubicBezTo>
                  <a:pt x="354869" y="898827"/>
                  <a:pt x="355703" y="898211"/>
                  <a:pt x="356586" y="897671"/>
                </a:cubicBezTo>
                <a:close/>
                <a:moveTo>
                  <a:pt x="2921050" y="896371"/>
                </a:moveTo>
                <a:lnTo>
                  <a:pt x="2926260" y="898428"/>
                </a:lnTo>
                <a:lnTo>
                  <a:pt x="2933313" y="899186"/>
                </a:lnTo>
                <a:lnTo>
                  <a:pt x="2937762" y="904166"/>
                </a:lnTo>
                <a:lnTo>
                  <a:pt x="2945250" y="905899"/>
                </a:lnTo>
                <a:lnTo>
                  <a:pt x="2949699" y="913586"/>
                </a:lnTo>
                <a:lnTo>
                  <a:pt x="2952738" y="924954"/>
                </a:lnTo>
                <a:lnTo>
                  <a:pt x="2957295" y="927011"/>
                </a:lnTo>
                <a:lnTo>
                  <a:pt x="2961853" y="927336"/>
                </a:lnTo>
                <a:lnTo>
                  <a:pt x="2964675" y="933399"/>
                </a:lnTo>
                <a:lnTo>
                  <a:pt x="2966085" y="940437"/>
                </a:lnTo>
                <a:lnTo>
                  <a:pt x="2957730" y="947583"/>
                </a:lnTo>
                <a:lnTo>
                  <a:pt x="2950567" y="947583"/>
                </a:lnTo>
                <a:lnTo>
                  <a:pt x="2937762" y="949856"/>
                </a:lnTo>
                <a:lnTo>
                  <a:pt x="2934833" y="952130"/>
                </a:lnTo>
                <a:lnTo>
                  <a:pt x="2930600" y="951264"/>
                </a:lnTo>
                <a:lnTo>
                  <a:pt x="2929298" y="947799"/>
                </a:lnTo>
                <a:lnTo>
                  <a:pt x="2922244" y="946933"/>
                </a:lnTo>
                <a:lnTo>
                  <a:pt x="2919749" y="944984"/>
                </a:lnTo>
                <a:lnTo>
                  <a:pt x="2920074" y="940762"/>
                </a:lnTo>
                <a:lnTo>
                  <a:pt x="2922787" y="940112"/>
                </a:lnTo>
                <a:lnTo>
                  <a:pt x="2929515" y="942603"/>
                </a:lnTo>
                <a:lnTo>
                  <a:pt x="2933530" y="942494"/>
                </a:lnTo>
                <a:lnTo>
                  <a:pt x="2938847" y="935781"/>
                </a:lnTo>
                <a:lnTo>
                  <a:pt x="2931360" y="940437"/>
                </a:lnTo>
                <a:lnTo>
                  <a:pt x="2928321" y="939354"/>
                </a:lnTo>
                <a:lnTo>
                  <a:pt x="2926585" y="937189"/>
                </a:lnTo>
                <a:lnTo>
                  <a:pt x="2915191" y="934374"/>
                </a:lnTo>
                <a:lnTo>
                  <a:pt x="2913346" y="930476"/>
                </a:lnTo>
                <a:lnTo>
                  <a:pt x="2914756" y="928744"/>
                </a:lnTo>
                <a:lnTo>
                  <a:pt x="2918881" y="927553"/>
                </a:lnTo>
                <a:lnTo>
                  <a:pt x="2912478" y="923872"/>
                </a:lnTo>
                <a:lnTo>
                  <a:pt x="2913997" y="920299"/>
                </a:lnTo>
                <a:lnTo>
                  <a:pt x="2913997" y="916726"/>
                </a:lnTo>
                <a:lnTo>
                  <a:pt x="2918012" y="914993"/>
                </a:lnTo>
                <a:lnTo>
                  <a:pt x="2922461" y="917701"/>
                </a:lnTo>
                <a:lnTo>
                  <a:pt x="2920399" y="913261"/>
                </a:lnTo>
                <a:lnTo>
                  <a:pt x="2915191" y="910338"/>
                </a:lnTo>
                <a:lnTo>
                  <a:pt x="2915191" y="904491"/>
                </a:lnTo>
                <a:lnTo>
                  <a:pt x="2920725" y="899294"/>
                </a:lnTo>
                <a:close/>
                <a:moveTo>
                  <a:pt x="2670594" y="895614"/>
                </a:moveTo>
                <a:lnTo>
                  <a:pt x="2672005" y="897779"/>
                </a:lnTo>
                <a:lnTo>
                  <a:pt x="2668316" y="902218"/>
                </a:lnTo>
                <a:lnTo>
                  <a:pt x="2665168" y="902435"/>
                </a:lnTo>
                <a:lnTo>
                  <a:pt x="2663975" y="900811"/>
                </a:lnTo>
                <a:lnTo>
                  <a:pt x="2664083" y="897779"/>
                </a:lnTo>
                <a:lnTo>
                  <a:pt x="2668966" y="897022"/>
                </a:lnTo>
                <a:close/>
                <a:moveTo>
                  <a:pt x="7288304" y="890633"/>
                </a:moveTo>
                <a:lnTo>
                  <a:pt x="7289714" y="892041"/>
                </a:lnTo>
                <a:lnTo>
                  <a:pt x="7289606" y="894855"/>
                </a:lnTo>
                <a:lnTo>
                  <a:pt x="7287435" y="897562"/>
                </a:lnTo>
                <a:lnTo>
                  <a:pt x="7285808" y="892690"/>
                </a:lnTo>
                <a:lnTo>
                  <a:pt x="7287327" y="891932"/>
                </a:lnTo>
                <a:close/>
                <a:moveTo>
                  <a:pt x="358324" y="890417"/>
                </a:moveTo>
                <a:lnTo>
                  <a:pt x="359842" y="893882"/>
                </a:lnTo>
                <a:lnTo>
                  <a:pt x="357238" y="894748"/>
                </a:lnTo>
                <a:lnTo>
                  <a:pt x="356152" y="892907"/>
                </a:lnTo>
                <a:close/>
                <a:moveTo>
                  <a:pt x="2486224" y="886952"/>
                </a:moveTo>
                <a:lnTo>
                  <a:pt x="2488829" y="887493"/>
                </a:lnTo>
                <a:lnTo>
                  <a:pt x="2494146" y="888035"/>
                </a:lnTo>
                <a:lnTo>
                  <a:pt x="2495014" y="893340"/>
                </a:lnTo>
                <a:lnTo>
                  <a:pt x="2492952" y="897238"/>
                </a:lnTo>
                <a:lnTo>
                  <a:pt x="2490022" y="897563"/>
                </a:lnTo>
                <a:lnTo>
                  <a:pt x="2487093" y="901569"/>
                </a:lnTo>
                <a:lnTo>
                  <a:pt x="2483294" y="900919"/>
                </a:lnTo>
                <a:lnTo>
                  <a:pt x="2482101" y="893989"/>
                </a:lnTo>
                <a:lnTo>
                  <a:pt x="2483837" y="892041"/>
                </a:lnTo>
                <a:close/>
                <a:moveTo>
                  <a:pt x="2979758" y="885545"/>
                </a:moveTo>
                <a:lnTo>
                  <a:pt x="2982036" y="886302"/>
                </a:lnTo>
                <a:lnTo>
                  <a:pt x="2983990" y="888793"/>
                </a:lnTo>
                <a:lnTo>
                  <a:pt x="2982796" y="891283"/>
                </a:lnTo>
                <a:lnTo>
                  <a:pt x="2980626" y="889226"/>
                </a:lnTo>
                <a:close/>
                <a:moveTo>
                  <a:pt x="2922786" y="884029"/>
                </a:moveTo>
                <a:lnTo>
                  <a:pt x="2925390" y="888793"/>
                </a:lnTo>
                <a:lnTo>
                  <a:pt x="2924414" y="891392"/>
                </a:lnTo>
                <a:lnTo>
                  <a:pt x="2921158" y="890417"/>
                </a:lnTo>
                <a:lnTo>
                  <a:pt x="2918880" y="886411"/>
                </a:lnTo>
                <a:lnTo>
                  <a:pt x="2920398" y="884137"/>
                </a:lnTo>
                <a:close/>
                <a:moveTo>
                  <a:pt x="5020414" y="883704"/>
                </a:moveTo>
                <a:lnTo>
                  <a:pt x="5023669" y="883920"/>
                </a:lnTo>
                <a:lnTo>
                  <a:pt x="5029746" y="888359"/>
                </a:lnTo>
                <a:lnTo>
                  <a:pt x="5031266" y="891608"/>
                </a:lnTo>
                <a:lnTo>
                  <a:pt x="5036257" y="894314"/>
                </a:lnTo>
                <a:lnTo>
                  <a:pt x="5041466" y="899620"/>
                </a:lnTo>
                <a:lnTo>
                  <a:pt x="5046240" y="900161"/>
                </a:lnTo>
                <a:lnTo>
                  <a:pt x="5051774" y="906332"/>
                </a:lnTo>
                <a:lnTo>
                  <a:pt x="5060564" y="911854"/>
                </a:lnTo>
                <a:lnTo>
                  <a:pt x="5061758" y="919433"/>
                </a:lnTo>
                <a:lnTo>
                  <a:pt x="5059371" y="924089"/>
                </a:lnTo>
                <a:lnTo>
                  <a:pt x="5054379" y="922681"/>
                </a:lnTo>
                <a:lnTo>
                  <a:pt x="5051992" y="925930"/>
                </a:lnTo>
                <a:lnTo>
                  <a:pt x="5045806" y="924955"/>
                </a:lnTo>
                <a:lnTo>
                  <a:pt x="5042985" y="922140"/>
                </a:lnTo>
                <a:lnTo>
                  <a:pt x="5043853" y="920083"/>
                </a:lnTo>
                <a:lnTo>
                  <a:pt x="5042333" y="914236"/>
                </a:lnTo>
                <a:lnTo>
                  <a:pt x="5040923" y="912396"/>
                </a:lnTo>
                <a:lnTo>
                  <a:pt x="5036800" y="912937"/>
                </a:lnTo>
                <a:lnTo>
                  <a:pt x="5033327" y="911313"/>
                </a:lnTo>
                <a:lnTo>
                  <a:pt x="5033002" y="916726"/>
                </a:lnTo>
                <a:lnTo>
                  <a:pt x="5030722" y="916402"/>
                </a:lnTo>
                <a:lnTo>
                  <a:pt x="5027684" y="912071"/>
                </a:lnTo>
                <a:lnTo>
                  <a:pt x="5023018" y="909473"/>
                </a:lnTo>
                <a:lnTo>
                  <a:pt x="5014771" y="900161"/>
                </a:lnTo>
                <a:lnTo>
                  <a:pt x="5013035" y="896263"/>
                </a:lnTo>
                <a:lnTo>
                  <a:pt x="5014880" y="895938"/>
                </a:lnTo>
                <a:lnTo>
                  <a:pt x="5018352" y="898861"/>
                </a:lnTo>
                <a:lnTo>
                  <a:pt x="5020740" y="897996"/>
                </a:lnTo>
                <a:lnTo>
                  <a:pt x="5021608" y="895722"/>
                </a:lnTo>
                <a:lnTo>
                  <a:pt x="5017701" y="895073"/>
                </a:lnTo>
                <a:lnTo>
                  <a:pt x="5014880" y="891067"/>
                </a:lnTo>
                <a:lnTo>
                  <a:pt x="5018243" y="888359"/>
                </a:lnTo>
                <a:lnTo>
                  <a:pt x="5017810" y="885761"/>
                </a:lnTo>
                <a:close/>
                <a:moveTo>
                  <a:pt x="2463436" y="881647"/>
                </a:moveTo>
                <a:lnTo>
                  <a:pt x="2465715" y="882838"/>
                </a:lnTo>
                <a:lnTo>
                  <a:pt x="2466040" y="887494"/>
                </a:lnTo>
                <a:lnTo>
                  <a:pt x="2462134" y="890741"/>
                </a:lnTo>
                <a:lnTo>
                  <a:pt x="2458119" y="894639"/>
                </a:lnTo>
                <a:lnTo>
                  <a:pt x="2455732" y="894639"/>
                </a:lnTo>
                <a:lnTo>
                  <a:pt x="2453778" y="897996"/>
                </a:lnTo>
                <a:lnTo>
                  <a:pt x="2444880" y="905359"/>
                </a:lnTo>
                <a:lnTo>
                  <a:pt x="2441733" y="905359"/>
                </a:lnTo>
                <a:lnTo>
                  <a:pt x="2437284" y="904276"/>
                </a:lnTo>
                <a:lnTo>
                  <a:pt x="2435547" y="905684"/>
                </a:lnTo>
                <a:lnTo>
                  <a:pt x="2434137" y="900378"/>
                </a:lnTo>
                <a:lnTo>
                  <a:pt x="2437609" y="897996"/>
                </a:lnTo>
                <a:lnTo>
                  <a:pt x="2439345" y="894206"/>
                </a:lnTo>
                <a:lnTo>
                  <a:pt x="2442818" y="892257"/>
                </a:lnTo>
                <a:lnTo>
                  <a:pt x="2449003" y="892474"/>
                </a:lnTo>
                <a:lnTo>
                  <a:pt x="2452584" y="890741"/>
                </a:lnTo>
                <a:lnTo>
                  <a:pt x="2456708" y="886302"/>
                </a:lnTo>
                <a:lnTo>
                  <a:pt x="2458987" y="886302"/>
                </a:lnTo>
                <a:lnTo>
                  <a:pt x="2459855" y="882513"/>
                </a:lnTo>
                <a:close/>
                <a:moveTo>
                  <a:pt x="7285048" y="880023"/>
                </a:moveTo>
                <a:lnTo>
                  <a:pt x="7288304" y="884570"/>
                </a:lnTo>
                <a:lnTo>
                  <a:pt x="7288087" y="886735"/>
                </a:lnTo>
                <a:lnTo>
                  <a:pt x="7285916" y="887386"/>
                </a:lnTo>
                <a:lnTo>
                  <a:pt x="7280925" y="882621"/>
                </a:lnTo>
                <a:lnTo>
                  <a:pt x="7281901" y="880348"/>
                </a:lnTo>
                <a:close/>
                <a:moveTo>
                  <a:pt x="2976828" y="874284"/>
                </a:moveTo>
                <a:lnTo>
                  <a:pt x="2981169" y="875908"/>
                </a:lnTo>
                <a:lnTo>
                  <a:pt x="2982580" y="880022"/>
                </a:lnTo>
                <a:lnTo>
                  <a:pt x="2980301" y="880022"/>
                </a:lnTo>
                <a:lnTo>
                  <a:pt x="2975526" y="876774"/>
                </a:lnTo>
                <a:close/>
                <a:moveTo>
                  <a:pt x="2037942" y="872011"/>
                </a:moveTo>
                <a:lnTo>
                  <a:pt x="2042174" y="872011"/>
                </a:lnTo>
                <a:lnTo>
                  <a:pt x="2042174" y="876125"/>
                </a:lnTo>
                <a:lnTo>
                  <a:pt x="2039461" y="877642"/>
                </a:lnTo>
                <a:lnTo>
                  <a:pt x="2038050" y="875801"/>
                </a:lnTo>
                <a:close/>
                <a:moveTo>
                  <a:pt x="1840442" y="869737"/>
                </a:moveTo>
                <a:lnTo>
                  <a:pt x="1841853" y="872335"/>
                </a:lnTo>
                <a:lnTo>
                  <a:pt x="1840767" y="875476"/>
                </a:lnTo>
                <a:lnTo>
                  <a:pt x="1842721" y="877533"/>
                </a:lnTo>
                <a:lnTo>
                  <a:pt x="1841310" y="880023"/>
                </a:lnTo>
                <a:lnTo>
                  <a:pt x="1842721" y="882947"/>
                </a:lnTo>
                <a:lnTo>
                  <a:pt x="1839574" y="884678"/>
                </a:lnTo>
                <a:lnTo>
                  <a:pt x="1838597" y="887494"/>
                </a:lnTo>
                <a:lnTo>
                  <a:pt x="1836318" y="888793"/>
                </a:lnTo>
                <a:lnTo>
                  <a:pt x="1834799" y="881214"/>
                </a:lnTo>
                <a:lnTo>
                  <a:pt x="1836969" y="878723"/>
                </a:lnTo>
                <a:lnTo>
                  <a:pt x="1837404" y="875043"/>
                </a:lnTo>
                <a:close/>
                <a:moveTo>
                  <a:pt x="2401257" y="869088"/>
                </a:moveTo>
                <a:lnTo>
                  <a:pt x="2403861" y="870820"/>
                </a:lnTo>
                <a:lnTo>
                  <a:pt x="2403644" y="873527"/>
                </a:lnTo>
                <a:lnTo>
                  <a:pt x="2400605" y="872228"/>
                </a:lnTo>
                <a:lnTo>
                  <a:pt x="2398110" y="872553"/>
                </a:lnTo>
                <a:lnTo>
                  <a:pt x="2396482" y="870387"/>
                </a:lnTo>
                <a:lnTo>
                  <a:pt x="2397567" y="869304"/>
                </a:lnTo>
                <a:close/>
                <a:moveTo>
                  <a:pt x="2475048" y="865623"/>
                </a:moveTo>
                <a:lnTo>
                  <a:pt x="2477001" y="868113"/>
                </a:lnTo>
                <a:lnTo>
                  <a:pt x="2476567" y="870278"/>
                </a:lnTo>
                <a:lnTo>
                  <a:pt x="2472009" y="872335"/>
                </a:lnTo>
                <a:lnTo>
                  <a:pt x="2468103" y="875367"/>
                </a:lnTo>
                <a:lnTo>
                  <a:pt x="2464739" y="875584"/>
                </a:lnTo>
                <a:lnTo>
                  <a:pt x="2462460" y="876125"/>
                </a:lnTo>
                <a:lnTo>
                  <a:pt x="2465390" y="873094"/>
                </a:lnTo>
                <a:lnTo>
                  <a:pt x="2467886" y="868871"/>
                </a:lnTo>
                <a:lnTo>
                  <a:pt x="2471358" y="868979"/>
                </a:lnTo>
                <a:lnTo>
                  <a:pt x="2473312" y="865948"/>
                </a:lnTo>
                <a:close/>
                <a:moveTo>
                  <a:pt x="2400170" y="864324"/>
                </a:moveTo>
                <a:lnTo>
                  <a:pt x="2402341" y="864649"/>
                </a:lnTo>
                <a:lnTo>
                  <a:pt x="2401690" y="866381"/>
                </a:lnTo>
                <a:close/>
                <a:moveTo>
                  <a:pt x="2392792" y="863025"/>
                </a:moveTo>
                <a:lnTo>
                  <a:pt x="2395287" y="864324"/>
                </a:lnTo>
                <a:lnTo>
                  <a:pt x="2395830" y="865948"/>
                </a:lnTo>
                <a:lnTo>
                  <a:pt x="2395071" y="867139"/>
                </a:lnTo>
                <a:close/>
                <a:moveTo>
                  <a:pt x="1848038" y="858261"/>
                </a:moveTo>
                <a:lnTo>
                  <a:pt x="1850968" y="858261"/>
                </a:lnTo>
                <a:lnTo>
                  <a:pt x="1848689" y="860859"/>
                </a:lnTo>
                <a:lnTo>
                  <a:pt x="1850100" y="862592"/>
                </a:lnTo>
                <a:lnTo>
                  <a:pt x="1846627" y="866815"/>
                </a:lnTo>
                <a:lnTo>
                  <a:pt x="1844782" y="866165"/>
                </a:lnTo>
                <a:lnTo>
                  <a:pt x="1842829" y="860102"/>
                </a:lnTo>
                <a:lnTo>
                  <a:pt x="1845107" y="859236"/>
                </a:lnTo>
                <a:lnTo>
                  <a:pt x="1846519" y="860968"/>
                </a:lnTo>
                <a:close/>
                <a:moveTo>
                  <a:pt x="4897681" y="856311"/>
                </a:moveTo>
                <a:lnTo>
                  <a:pt x="4900828" y="858043"/>
                </a:lnTo>
                <a:lnTo>
                  <a:pt x="4901913" y="861183"/>
                </a:lnTo>
                <a:lnTo>
                  <a:pt x="4907230" y="862915"/>
                </a:lnTo>
                <a:lnTo>
                  <a:pt x="4908750" y="866489"/>
                </a:lnTo>
                <a:lnTo>
                  <a:pt x="4906579" y="870278"/>
                </a:lnTo>
                <a:lnTo>
                  <a:pt x="4908750" y="873201"/>
                </a:lnTo>
                <a:lnTo>
                  <a:pt x="4908424" y="875909"/>
                </a:lnTo>
                <a:lnTo>
                  <a:pt x="4906579" y="875042"/>
                </a:lnTo>
                <a:lnTo>
                  <a:pt x="4903107" y="870062"/>
                </a:lnTo>
                <a:lnTo>
                  <a:pt x="4899092" y="869195"/>
                </a:lnTo>
                <a:lnTo>
                  <a:pt x="4898766" y="864973"/>
                </a:lnTo>
                <a:lnTo>
                  <a:pt x="4895294" y="863565"/>
                </a:lnTo>
                <a:lnTo>
                  <a:pt x="4892907" y="864431"/>
                </a:lnTo>
                <a:lnTo>
                  <a:pt x="4889651" y="862699"/>
                </a:lnTo>
                <a:lnTo>
                  <a:pt x="4889000" y="860101"/>
                </a:lnTo>
                <a:lnTo>
                  <a:pt x="4892255" y="856852"/>
                </a:lnTo>
                <a:close/>
                <a:moveTo>
                  <a:pt x="2431424" y="852847"/>
                </a:moveTo>
                <a:lnTo>
                  <a:pt x="2435655" y="853496"/>
                </a:lnTo>
                <a:lnTo>
                  <a:pt x="2439128" y="856745"/>
                </a:lnTo>
                <a:lnTo>
                  <a:pt x="2445096" y="857178"/>
                </a:lnTo>
                <a:lnTo>
                  <a:pt x="2447375" y="860318"/>
                </a:lnTo>
                <a:lnTo>
                  <a:pt x="2444771" y="862916"/>
                </a:lnTo>
                <a:lnTo>
                  <a:pt x="2443034" y="862916"/>
                </a:lnTo>
                <a:lnTo>
                  <a:pt x="2439453" y="863782"/>
                </a:lnTo>
                <a:lnTo>
                  <a:pt x="2436523" y="862592"/>
                </a:lnTo>
                <a:lnTo>
                  <a:pt x="2436523" y="865840"/>
                </a:lnTo>
                <a:lnTo>
                  <a:pt x="2433810" y="866923"/>
                </a:lnTo>
                <a:lnTo>
                  <a:pt x="2432725" y="864649"/>
                </a:lnTo>
                <a:lnTo>
                  <a:pt x="2433377" y="862592"/>
                </a:lnTo>
                <a:lnTo>
                  <a:pt x="2432183" y="861076"/>
                </a:lnTo>
                <a:lnTo>
                  <a:pt x="2431206" y="858694"/>
                </a:lnTo>
                <a:lnTo>
                  <a:pt x="2427734" y="857935"/>
                </a:lnTo>
                <a:cubicBezTo>
                  <a:pt x="2428906" y="856991"/>
                  <a:pt x="2430138" y="856123"/>
                  <a:pt x="2431424" y="855337"/>
                </a:cubicBezTo>
                <a:close/>
                <a:moveTo>
                  <a:pt x="2968690" y="851115"/>
                </a:moveTo>
                <a:lnTo>
                  <a:pt x="2973139" y="852847"/>
                </a:lnTo>
                <a:lnTo>
                  <a:pt x="2973790" y="857719"/>
                </a:lnTo>
                <a:lnTo>
                  <a:pt x="2970209" y="861617"/>
                </a:lnTo>
                <a:lnTo>
                  <a:pt x="2965977" y="862158"/>
                </a:lnTo>
                <a:lnTo>
                  <a:pt x="2963915" y="860426"/>
                </a:lnTo>
                <a:lnTo>
                  <a:pt x="2965651" y="852414"/>
                </a:lnTo>
                <a:close/>
                <a:moveTo>
                  <a:pt x="2956970" y="850574"/>
                </a:moveTo>
                <a:lnTo>
                  <a:pt x="2955559" y="857178"/>
                </a:lnTo>
                <a:lnTo>
                  <a:pt x="2956102" y="859994"/>
                </a:lnTo>
                <a:lnTo>
                  <a:pt x="2952954" y="863784"/>
                </a:lnTo>
                <a:lnTo>
                  <a:pt x="2949048" y="861617"/>
                </a:lnTo>
                <a:lnTo>
                  <a:pt x="2948723" y="856745"/>
                </a:lnTo>
                <a:lnTo>
                  <a:pt x="2950676" y="853605"/>
                </a:lnTo>
                <a:close/>
                <a:moveTo>
                  <a:pt x="2484270" y="850140"/>
                </a:moveTo>
                <a:lnTo>
                  <a:pt x="2483076" y="853605"/>
                </a:lnTo>
                <a:lnTo>
                  <a:pt x="2481232" y="854146"/>
                </a:lnTo>
                <a:lnTo>
                  <a:pt x="2481991" y="851115"/>
                </a:lnTo>
                <a:close/>
                <a:moveTo>
                  <a:pt x="2383785" y="846026"/>
                </a:moveTo>
                <a:lnTo>
                  <a:pt x="2387474" y="846026"/>
                </a:lnTo>
                <a:lnTo>
                  <a:pt x="2387908" y="847217"/>
                </a:lnTo>
                <a:lnTo>
                  <a:pt x="2391489" y="849274"/>
                </a:lnTo>
                <a:lnTo>
                  <a:pt x="2391597" y="851331"/>
                </a:lnTo>
                <a:lnTo>
                  <a:pt x="2388993" y="851764"/>
                </a:lnTo>
                <a:lnTo>
                  <a:pt x="2387148" y="849923"/>
                </a:lnTo>
                <a:lnTo>
                  <a:pt x="2384218" y="849490"/>
                </a:lnTo>
                <a:lnTo>
                  <a:pt x="2382808" y="848299"/>
                </a:lnTo>
                <a:close/>
                <a:moveTo>
                  <a:pt x="2378576" y="845701"/>
                </a:moveTo>
                <a:lnTo>
                  <a:pt x="2379987" y="848191"/>
                </a:lnTo>
                <a:lnTo>
                  <a:pt x="2376406" y="847109"/>
                </a:lnTo>
                <a:close/>
                <a:moveTo>
                  <a:pt x="1835667" y="843319"/>
                </a:moveTo>
                <a:lnTo>
                  <a:pt x="1836860" y="847217"/>
                </a:lnTo>
                <a:lnTo>
                  <a:pt x="1835124" y="847000"/>
                </a:lnTo>
                <a:lnTo>
                  <a:pt x="1834582" y="844294"/>
                </a:lnTo>
                <a:close/>
                <a:moveTo>
                  <a:pt x="1832194" y="843103"/>
                </a:moveTo>
                <a:lnTo>
                  <a:pt x="1835341" y="849166"/>
                </a:lnTo>
                <a:lnTo>
                  <a:pt x="1832736" y="847542"/>
                </a:lnTo>
                <a:lnTo>
                  <a:pt x="1831001" y="845160"/>
                </a:lnTo>
                <a:close/>
                <a:moveTo>
                  <a:pt x="2365988" y="841695"/>
                </a:moveTo>
                <a:lnTo>
                  <a:pt x="2368701" y="842778"/>
                </a:lnTo>
                <a:lnTo>
                  <a:pt x="2371522" y="842778"/>
                </a:lnTo>
                <a:lnTo>
                  <a:pt x="2372282" y="845376"/>
                </a:lnTo>
                <a:lnTo>
                  <a:pt x="2370980" y="846459"/>
                </a:lnTo>
                <a:lnTo>
                  <a:pt x="2367941" y="846351"/>
                </a:lnTo>
                <a:close/>
                <a:moveTo>
                  <a:pt x="2227954" y="841046"/>
                </a:moveTo>
                <a:lnTo>
                  <a:pt x="2229473" y="842995"/>
                </a:lnTo>
                <a:lnTo>
                  <a:pt x="2229799" y="849382"/>
                </a:lnTo>
                <a:lnTo>
                  <a:pt x="2228605" y="851223"/>
                </a:lnTo>
                <a:lnTo>
                  <a:pt x="2227303" y="849923"/>
                </a:lnTo>
                <a:lnTo>
                  <a:pt x="2227411" y="847650"/>
                </a:lnTo>
                <a:lnTo>
                  <a:pt x="2225350" y="845160"/>
                </a:lnTo>
                <a:lnTo>
                  <a:pt x="2226869" y="842020"/>
                </a:lnTo>
                <a:close/>
                <a:moveTo>
                  <a:pt x="2233489" y="839746"/>
                </a:moveTo>
                <a:lnTo>
                  <a:pt x="2235659" y="841262"/>
                </a:lnTo>
                <a:lnTo>
                  <a:pt x="2235442" y="845051"/>
                </a:lnTo>
                <a:lnTo>
                  <a:pt x="2234248" y="845160"/>
                </a:lnTo>
                <a:lnTo>
                  <a:pt x="2231535" y="847650"/>
                </a:lnTo>
                <a:lnTo>
                  <a:pt x="2231210" y="841803"/>
                </a:lnTo>
                <a:close/>
                <a:moveTo>
                  <a:pt x="2966954" y="833574"/>
                </a:moveTo>
                <a:lnTo>
                  <a:pt x="2970100" y="835631"/>
                </a:lnTo>
                <a:lnTo>
                  <a:pt x="2974007" y="835847"/>
                </a:lnTo>
                <a:lnTo>
                  <a:pt x="2973899" y="837688"/>
                </a:lnTo>
                <a:lnTo>
                  <a:pt x="2970317" y="838988"/>
                </a:lnTo>
                <a:lnTo>
                  <a:pt x="2966845" y="842560"/>
                </a:lnTo>
                <a:lnTo>
                  <a:pt x="2963589" y="842452"/>
                </a:lnTo>
                <a:lnTo>
                  <a:pt x="2962504" y="839204"/>
                </a:lnTo>
                <a:lnTo>
                  <a:pt x="2963697" y="835739"/>
                </a:lnTo>
                <a:close/>
                <a:moveTo>
                  <a:pt x="1829590" y="827295"/>
                </a:moveTo>
                <a:lnTo>
                  <a:pt x="1832520" y="827944"/>
                </a:lnTo>
                <a:lnTo>
                  <a:pt x="1833280" y="829894"/>
                </a:lnTo>
                <a:lnTo>
                  <a:pt x="1828071" y="830002"/>
                </a:lnTo>
                <a:close/>
                <a:moveTo>
                  <a:pt x="1992691" y="826645"/>
                </a:moveTo>
                <a:lnTo>
                  <a:pt x="1993558" y="827511"/>
                </a:lnTo>
                <a:lnTo>
                  <a:pt x="1992799" y="830326"/>
                </a:lnTo>
                <a:lnTo>
                  <a:pt x="1993124" y="832924"/>
                </a:lnTo>
                <a:lnTo>
                  <a:pt x="1992148" y="835739"/>
                </a:lnTo>
                <a:lnTo>
                  <a:pt x="1988458" y="837905"/>
                </a:lnTo>
                <a:lnTo>
                  <a:pt x="1986180" y="836497"/>
                </a:lnTo>
                <a:lnTo>
                  <a:pt x="1983033" y="832383"/>
                </a:lnTo>
                <a:lnTo>
                  <a:pt x="1984010" y="830326"/>
                </a:lnTo>
                <a:lnTo>
                  <a:pt x="1988675" y="830542"/>
                </a:lnTo>
                <a:lnTo>
                  <a:pt x="1989326" y="828918"/>
                </a:lnTo>
                <a:close/>
                <a:moveTo>
                  <a:pt x="1846084" y="820799"/>
                </a:moveTo>
                <a:lnTo>
                  <a:pt x="1849556" y="820799"/>
                </a:lnTo>
                <a:lnTo>
                  <a:pt x="1846518" y="823072"/>
                </a:lnTo>
                <a:lnTo>
                  <a:pt x="1843805" y="823072"/>
                </a:lnTo>
                <a:close/>
                <a:moveTo>
                  <a:pt x="2032734" y="817551"/>
                </a:moveTo>
                <a:lnTo>
                  <a:pt x="2035664" y="818092"/>
                </a:lnTo>
                <a:lnTo>
                  <a:pt x="2035772" y="820799"/>
                </a:lnTo>
                <a:lnTo>
                  <a:pt x="2038919" y="824697"/>
                </a:lnTo>
                <a:lnTo>
                  <a:pt x="2036206" y="829461"/>
                </a:lnTo>
                <a:lnTo>
                  <a:pt x="2031757" y="832059"/>
                </a:lnTo>
                <a:lnTo>
                  <a:pt x="2031106" y="834766"/>
                </a:lnTo>
                <a:lnTo>
                  <a:pt x="2029261" y="837149"/>
                </a:lnTo>
                <a:lnTo>
                  <a:pt x="2026440" y="832817"/>
                </a:lnTo>
                <a:lnTo>
                  <a:pt x="2026331" y="830219"/>
                </a:lnTo>
                <a:lnTo>
                  <a:pt x="2030780" y="823506"/>
                </a:lnTo>
                <a:lnTo>
                  <a:pt x="2030563" y="820149"/>
                </a:lnTo>
                <a:close/>
                <a:moveTo>
                  <a:pt x="3502916" y="817334"/>
                </a:moveTo>
                <a:lnTo>
                  <a:pt x="3508125" y="818092"/>
                </a:lnTo>
                <a:lnTo>
                  <a:pt x="3510295" y="819175"/>
                </a:lnTo>
                <a:lnTo>
                  <a:pt x="3513876" y="819066"/>
                </a:lnTo>
                <a:lnTo>
                  <a:pt x="3519845" y="822856"/>
                </a:lnTo>
                <a:lnTo>
                  <a:pt x="3523968" y="822748"/>
                </a:lnTo>
                <a:lnTo>
                  <a:pt x="3526247" y="823938"/>
                </a:lnTo>
                <a:lnTo>
                  <a:pt x="3530045" y="830651"/>
                </a:lnTo>
                <a:lnTo>
                  <a:pt x="3541439" y="835956"/>
                </a:lnTo>
                <a:lnTo>
                  <a:pt x="3543501" y="840503"/>
                </a:lnTo>
                <a:lnTo>
                  <a:pt x="3542307" y="842128"/>
                </a:lnTo>
                <a:lnTo>
                  <a:pt x="3540680" y="840612"/>
                </a:lnTo>
                <a:lnTo>
                  <a:pt x="3535688" y="840071"/>
                </a:lnTo>
                <a:lnTo>
                  <a:pt x="3531890" y="837148"/>
                </a:lnTo>
                <a:lnTo>
                  <a:pt x="3529286" y="836389"/>
                </a:lnTo>
                <a:lnTo>
                  <a:pt x="3527875" y="838555"/>
                </a:lnTo>
                <a:lnTo>
                  <a:pt x="3526247" y="839962"/>
                </a:lnTo>
                <a:lnTo>
                  <a:pt x="3528743" y="842994"/>
                </a:lnTo>
                <a:lnTo>
                  <a:pt x="3530696" y="842994"/>
                </a:lnTo>
                <a:lnTo>
                  <a:pt x="3535688" y="844943"/>
                </a:lnTo>
                <a:lnTo>
                  <a:pt x="3538943" y="849707"/>
                </a:lnTo>
                <a:lnTo>
                  <a:pt x="3536339" y="851656"/>
                </a:lnTo>
                <a:lnTo>
                  <a:pt x="3536556" y="854470"/>
                </a:lnTo>
                <a:lnTo>
                  <a:pt x="3535470" y="856203"/>
                </a:lnTo>
                <a:lnTo>
                  <a:pt x="3530588" y="854362"/>
                </a:lnTo>
                <a:lnTo>
                  <a:pt x="3529503" y="851872"/>
                </a:lnTo>
                <a:lnTo>
                  <a:pt x="3526790" y="851547"/>
                </a:lnTo>
                <a:lnTo>
                  <a:pt x="3522231" y="849382"/>
                </a:lnTo>
                <a:lnTo>
                  <a:pt x="3518651" y="844293"/>
                </a:lnTo>
                <a:lnTo>
                  <a:pt x="3513225" y="839854"/>
                </a:lnTo>
                <a:lnTo>
                  <a:pt x="3507148" y="838122"/>
                </a:lnTo>
                <a:lnTo>
                  <a:pt x="3504978" y="833142"/>
                </a:lnTo>
                <a:lnTo>
                  <a:pt x="3501722" y="827295"/>
                </a:lnTo>
                <a:lnTo>
                  <a:pt x="3502048" y="823722"/>
                </a:lnTo>
                <a:lnTo>
                  <a:pt x="3500963" y="822206"/>
                </a:lnTo>
                <a:lnTo>
                  <a:pt x="3500963" y="819066"/>
                </a:lnTo>
                <a:close/>
                <a:moveTo>
                  <a:pt x="2616661" y="814736"/>
                </a:moveTo>
                <a:lnTo>
                  <a:pt x="2620242" y="815818"/>
                </a:lnTo>
                <a:lnTo>
                  <a:pt x="2621110" y="819067"/>
                </a:lnTo>
                <a:lnTo>
                  <a:pt x="2624257" y="819067"/>
                </a:lnTo>
                <a:lnTo>
                  <a:pt x="2626428" y="821016"/>
                </a:lnTo>
                <a:lnTo>
                  <a:pt x="2623715" y="824697"/>
                </a:lnTo>
                <a:lnTo>
                  <a:pt x="2619808" y="825780"/>
                </a:lnTo>
                <a:lnTo>
                  <a:pt x="2617855" y="824481"/>
                </a:lnTo>
                <a:lnTo>
                  <a:pt x="2615034" y="825888"/>
                </a:lnTo>
                <a:lnTo>
                  <a:pt x="2613514" y="828271"/>
                </a:lnTo>
                <a:lnTo>
                  <a:pt x="2611778" y="827296"/>
                </a:lnTo>
                <a:lnTo>
                  <a:pt x="2611778" y="823614"/>
                </a:lnTo>
                <a:lnTo>
                  <a:pt x="2610259" y="821232"/>
                </a:lnTo>
                <a:lnTo>
                  <a:pt x="2612538" y="817334"/>
                </a:lnTo>
                <a:close/>
                <a:moveTo>
                  <a:pt x="5479222" y="814628"/>
                </a:moveTo>
                <a:lnTo>
                  <a:pt x="5481067" y="814953"/>
                </a:lnTo>
                <a:lnTo>
                  <a:pt x="5482694" y="818309"/>
                </a:lnTo>
                <a:lnTo>
                  <a:pt x="5481610" y="822857"/>
                </a:lnTo>
                <a:lnTo>
                  <a:pt x="5479330" y="819934"/>
                </a:lnTo>
                <a:close/>
                <a:moveTo>
                  <a:pt x="3494344" y="814195"/>
                </a:moveTo>
                <a:lnTo>
                  <a:pt x="3492065" y="817119"/>
                </a:lnTo>
                <a:lnTo>
                  <a:pt x="3492391" y="819934"/>
                </a:lnTo>
                <a:lnTo>
                  <a:pt x="3490220" y="821342"/>
                </a:lnTo>
                <a:lnTo>
                  <a:pt x="3487942" y="819717"/>
                </a:lnTo>
                <a:lnTo>
                  <a:pt x="3488267" y="816902"/>
                </a:lnTo>
                <a:close/>
                <a:moveTo>
                  <a:pt x="2928322" y="813870"/>
                </a:moveTo>
                <a:lnTo>
                  <a:pt x="2931577" y="816901"/>
                </a:lnTo>
                <a:lnTo>
                  <a:pt x="2929950" y="819176"/>
                </a:lnTo>
                <a:lnTo>
                  <a:pt x="2927453" y="818309"/>
                </a:lnTo>
                <a:lnTo>
                  <a:pt x="2926260" y="814303"/>
                </a:lnTo>
                <a:close/>
                <a:moveTo>
                  <a:pt x="2310970" y="813870"/>
                </a:moveTo>
                <a:lnTo>
                  <a:pt x="2314768" y="813870"/>
                </a:lnTo>
                <a:lnTo>
                  <a:pt x="2317264" y="817659"/>
                </a:lnTo>
                <a:lnTo>
                  <a:pt x="2322256" y="818525"/>
                </a:lnTo>
                <a:lnTo>
                  <a:pt x="2323015" y="822423"/>
                </a:lnTo>
                <a:lnTo>
                  <a:pt x="2321496" y="825129"/>
                </a:lnTo>
                <a:lnTo>
                  <a:pt x="2318566" y="825780"/>
                </a:lnTo>
                <a:lnTo>
                  <a:pt x="2317264" y="823614"/>
                </a:lnTo>
                <a:lnTo>
                  <a:pt x="2313792" y="823614"/>
                </a:lnTo>
                <a:lnTo>
                  <a:pt x="2311079" y="820907"/>
                </a:lnTo>
                <a:lnTo>
                  <a:pt x="2310102" y="822856"/>
                </a:lnTo>
                <a:lnTo>
                  <a:pt x="2307172" y="822207"/>
                </a:lnTo>
                <a:lnTo>
                  <a:pt x="2307172" y="818092"/>
                </a:lnTo>
                <a:lnTo>
                  <a:pt x="2305219" y="816576"/>
                </a:lnTo>
                <a:lnTo>
                  <a:pt x="2310102" y="815386"/>
                </a:lnTo>
                <a:close/>
                <a:moveTo>
                  <a:pt x="2217537" y="813328"/>
                </a:moveTo>
                <a:lnTo>
                  <a:pt x="2220684" y="813328"/>
                </a:lnTo>
                <a:lnTo>
                  <a:pt x="2222528" y="814627"/>
                </a:lnTo>
                <a:lnTo>
                  <a:pt x="2221443" y="816901"/>
                </a:lnTo>
                <a:lnTo>
                  <a:pt x="2219381" y="817009"/>
                </a:lnTo>
                <a:lnTo>
                  <a:pt x="2216994" y="817767"/>
                </a:lnTo>
                <a:lnTo>
                  <a:pt x="2215801" y="815601"/>
                </a:lnTo>
                <a:close/>
                <a:moveTo>
                  <a:pt x="2137559" y="812354"/>
                </a:moveTo>
                <a:lnTo>
                  <a:pt x="2143202" y="814303"/>
                </a:lnTo>
                <a:lnTo>
                  <a:pt x="2143202" y="818417"/>
                </a:lnTo>
                <a:lnTo>
                  <a:pt x="2138536" y="826104"/>
                </a:lnTo>
                <a:lnTo>
                  <a:pt x="2135172" y="827403"/>
                </a:lnTo>
                <a:lnTo>
                  <a:pt x="2135823" y="823831"/>
                </a:lnTo>
                <a:lnTo>
                  <a:pt x="2135823" y="819716"/>
                </a:lnTo>
                <a:lnTo>
                  <a:pt x="2134087" y="822098"/>
                </a:lnTo>
                <a:lnTo>
                  <a:pt x="2133436" y="824805"/>
                </a:lnTo>
                <a:cubicBezTo>
                  <a:pt x="2132388" y="824890"/>
                  <a:pt x="2131336" y="824890"/>
                  <a:pt x="2130289" y="824805"/>
                </a:cubicBezTo>
                <a:lnTo>
                  <a:pt x="2132567" y="817009"/>
                </a:lnTo>
                <a:close/>
                <a:moveTo>
                  <a:pt x="2044886" y="811921"/>
                </a:moveTo>
                <a:lnTo>
                  <a:pt x="2047382" y="816360"/>
                </a:lnTo>
                <a:lnTo>
                  <a:pt x="2044995" y="819284"/>
                </a:lnTo>
                <a:lnTo>
                  <a:pt x="2044235" y="823181"/>
                </a:lnTo>
                <a:lnTo>
                  <a:pt x="2041957" y="823940"/>
                </a:lnTo>
                <a:lnTo>
                  <a:pt x="2041305" y="820907"/>
                </a:lnTo>
                <a:lnTo>
                  <a:pt x="2039678" y="819176"/>
                </a:lnTo>
                <a:lnTo>
                  <a:pt x="2042933" y="812679"/>
                </a:lnTo>
                <a:close/>
                <a:moveTo>
                  <a:pt x="3526031" y="809539"/>
                </a:moveTo>
                <a:lnTo>
                  <a:pt x="3532217" y="809539"/>
                </a:lnTo>
                <a:lnTo>
                  <a:pt x="3538185" y="813220"/>
                </a:lnTo>
                <a:lnTo>
                  <a:pt x="3542092" y="813870"/>
                </a:lnTo>
                <a:lnTo>
                  <a:pt x="3547734" y="818092"/>
                </a:lnTo>
                <a:lnTo>
                  <a:pt x="3544696" y="819500"/>
                </a:lnTo>
                <a:lnTo>
                  <a:pt x="3543611" y="822748"/>
                </a:lnTo>
                <a:lnTo>
                  <a:pt x="3545022" y="824914"/>
                </a:lnTo>
                <a:lnTo>
                  <a:pt x="3545022" y="827512"/>
                </a:lnTo>
                <a:lnTo>
                  <a:pt x="3541766" y="828378"/>
                </a:lnTo>
                <a:lnTo>
                  <a:pt x="3539053" y="827296"/>
                </a:lnTo>
                <a:lnTo>
                  <a:pt x="3534604" y="827296"/>
                </a:lnTo>
                <a:lnTo>
                  <a:pt x="3531891" y="825347"/>
                </a:lnTo>
                <a:lnTo>
                  <a:pt x="3531891" y="822639"/>
                </a:lnTo>
                <a:lnTo>
                  <a:pt x="3529938" y="821665"/>
                </a:lnTo>
                <a:lnTo>
                  <a:pt x="3526357" y="821665"/>
                </a:lnTo>
                <a:lnTo>
                  <a:pt x="3521039" y="818850"/>
                </a:lnTo>
                <a:lnTo>
                  <a:pt x="3514854" y="817767"/>
                </a:lnTo>
                <a:lnTo>
                  <a:pt x="3510405" y="815277"/>
                </a:lnTo>
                <a:lnTo>
                  <a:pt x="3502809" y="815277"/>
                </a:lnTo>
                <a:lnTo>
                  <a:pt x="3499879" y="812787"/>
                </a:lnTo>
                <a:cubicBezTo>
                  <a:pt x="3500460" y="812039"/>
                  <a:pt x="3501115" y="811350"/>
                  <a:pt x="3501832" y="810730"/>
                </a:cubicBezTo>
                <a:lnTo>
                  <a:pt x="3505955" y="810730"/>
                </a:lnTo>
                <a:lnTo>
                  <a:pt x="3513009" y="810080"/>
                </a:lnTo>
                <a:lnTo>
                  <a:pt x="3517784" y="811704"/>
                </a:lnTo>
                <a:close/>
                <a:moveTo>
                  <a:pt x="2128337" y="809106"/>
                </a:moveTo>
                <a:lnTo>
                  <a:pt x="2131158" y="814520"/>
                </a:lnTo>
                <a:lnTo>
                  <a:pt x="2128553" y="819717"/>
                </a:lnTo>
                <a:lnTo>
                  <a:pt x="2126492" y="819067"/>
                </a:lnTo>
                <a:lnTo>
                  <a:pt x="2126275" y="812354"/>
                </a:lnTo>
                <a:close/>
                <a:moveTo>
                  <a:pt x="603026" y="805641"/>
                </a:moveTo>
                <a:lnTo>
                  <a:pt x="605306" y="807590"/>
                </a:lnTo>
                <a:lnTo>
                  <a:pt x="605087" y="817226"/>
                </a:lnTo>
                <a:lnTo>
                  <a:pt x="602483" y="822747"/>
                </a:lnTo>
                <a:lnTo>
                  <a:pt x="601507" y="833250"/>
                </a:lnTo>
                <a:lnTo>
                  <a:pt x="598035" y="831192"/>
                </a:lnTo>
                <a:lnTo>
                  <a:pt x="598252" y="828052"/>
                </a:lnTo>
                <a:lnTo>
                  <a:pt x="594780" y="825995"/>
                </a:lnTo>
                <a:lnTo>
                  <a:pt x="589244" y="827619"/>
                </a:lnTo>
                <a:lnTo>
                  <a:pt x="584578" y="824371"/>
                </a:lnTo>
                <a:lnTo>
                  <a:pt x="584686" y="821556"/>
                </a:lnTo>
                <a:lnTo>
                  <a:pt x="597493" y="808564"/>
                </a:lnTo>
                <a:close/>
                <a:moveTo>
                  <a:pt x="3559236" y="805316"/>
                </a:moveTo>
                <a:lnTo>
                  <a:pt x="3559453" y="808022"/>
                </a:lnTo>
                <a:lnTo>
                  <a:pt x="3557066" y="809538"/>
                </a:lnTo>
                <a:lnTo>
                  <a:pt x="3554896" y="808130"/>
                </a:lnTo>
                <a:lnTo>
                  <a:pt x="3556198" y="806291"/>
                </a:lnTo>
                <a:close/>
                <a:moveTo>
                  <a:pt x="5471518" y="800120"/>
                </a:moveTo>
                <a:lnTo>
                  <a:pt x="5474556" y="806075"/>
                </a:lnTo>
                <a:lnTo>
                  <a:pt x="5475859" y="818958"/>
                </a:lnTo>
                <a:lnTo>
                  <a:pt x="5473146" y="823289"/>
                </a:lnTo>
                <a:lnTo>
                  <a:pt x="5471626" y="821556"/>
                </a:lnTo>
                <a:lnTo>
                  <a:pt x="5472278" y="813870"/>
                </a:lnTo>
                <a:lnTo>
                  <a:pt x="5469890" y="808673"/>
                </a:lnTo>
                <a:lnTo>
                  <a:pt x="5469890" y="800228"/>
                </a:lnTo>
                <a:close/>
                <a:moveTo>
                  <a:pt x="618979" y="798495"/>
                </a:moveTo>
                <a:lnTo>
                  <a:pt x="627336" y="804017"/>
                </a:lnTo>
                <a:lnTo>
                  <a:pt x="627336" y="807048"/>
                </a:lnTo>
                <a:lnTo>
                  <a:pt x="622235" y="809322"/>
                </a:lnTo>
                <a:lnTo>
                  <a:pt x="612468" y="818093"/>
                </a:lnTo>
                <a:lnTo>
                  <a:pt x="609432" y="816901"/>
                </a:lnTo>
                <a:cubicBezTo>
                  <a:pt x="609104" y="816793"/>
                  <a:pt x="611817" y="814519"/>
                  <a:pt x="611817" y="814519"/>
                </a:cubicBezTo>
                <a:lnTo>
                  <a:pt x="611817" y="812029"/>
                </a:lnTo>
                <a:lnTo>
                  <a:pt x="608996" y="809105"/>
                </a:lnTo>
                <a:lnTo>
                  <a:pt x="610299" y="805316"/>
                </a:lnTo>
                <a:lnTo>
                  <a:pt x="606282" y="801201"/>
                </a:lnTo>
                <a:lnTo>
                  <a:pt x="609864" y="799253"/>
                </a:lnTo>
                <a:close/>
                <a:moveTo>
                  <a:pt x="2940151" y="794598"/>
                </a:moveTo>
                <a:lnTo>
                  <a:pt x="2941995" y="795681"/>
                </a:lnTo>
                <a:lnTo>
                  <a:pt x="2940910" y="798171"/>
                </a:lnTo>
                <a:lnTo>
                  <a:pt x="2936244" y="799687"/>
                </a:lnTo>
                <a:lnTo>
                  <a:pt x="2932880" y="803910"/>
                </a:lnTo>
                <a:lnTo>
                  <a:pt x="2929733" y="803910"/>
                </a:lnTo>
                <a:lnTo>
                  <a:pt x="2929950" y="799903"/>
                </a:lnTo>
                <a:cubicBezTo>
                  <a:pt x="2930627" y="799590"/>
                  <a:pt x="2931279" y="799228"/>
                  <a:pt x="2931903" y="798820"/>
                </a:cubicBezTo>
                <a:lnTo>
                  <a:pt x="2932988" y="795897"/>
                </a:lnTo>
                <a:lnTo>
                  <a:pt x="2937871" y="795897"/>
                </a:lnTo>
                <a:close/>
                <a:moveTo>
                  <a:pt x="5465224" y="790483"/>
                </a:moveTo>
                <a:lnTo>
                  <a:pt x="5468263" y="793623"/>
                </a:lnTo>
                <a:lnTo>
                  <a:pt x="5468155" y="797412"/>
                </a:lnTo>
                <a:lnTo>
                  <a:pt x="5465659" y="796221"/>
                </a:lnTo>
                <a:lnTo>
                  <a:pt x="5463271" y="791241"/>
                </a:lnTo>
                <a:close/>
                <a:moveTo>
                  <a:pt x="2033601" y="788318"/>
                </a:moveTo>
                <a:lnTo>
                  <a:pt x="2033601" y="791349"/>
                </a:lnTo>
                <a:lnTo>
                  <a:pt x="2035880" y="793515"/>
                </a:lnTo>
                <a:lnTo>
                  <a:pt x="2035880" y="796222"/>
                </a:lnTo>
                <a:lnTo>
                  <a:pt x="2034036" y="799037"/>
                </a:lnTo>
                <a:lnTo>
                  <a:pt x="2032191" y="798604"/>
                </a:lnTo>
                <a:lnTo>
                  <a:pt x="2030671" y="801202"/>
                </a:lnTo>
                <a:lnTo>
                  <a:pt x="2028935" y="800877"/>
                </a:lnTo>
                <a:lnTo>
                  <a:pt x="2028176" y="798604"/>
                </a:lnTo>
                <a:lnTo>
                  <a:pt x="2029044" y="795897"/>
                </a:lnTo>
                <a:lnTo>
                  <a:pt x="2032299" y="794814"/>
                </a:lnTo>
                <a:lnTo>
                  <a:pt x="2029912" y="791566"/>
                </a:lnTo>
                <a:lnTo>
                  <a:pt x="2031323" y="788751"/>
                </a:lnTo>
                <a:close/>
                <a:moveTo>
                  <a:pt x="3494235" y="787885"/>
                </a:moveTo>
                <a:lnTo>
                  <a:pt x="3508560" y="790483"/>
                </a:lnTo>
                <a:lnTo>
                  <a:pt x="3518651" y="797629"/>
                </a:lnTo>
                <a:lnTo>
                  <a:pt x="3521039" y="800444"/>
                </a:lnTo>
                <a:lnTo>
                  <a:pt x="3518435" y="800769"/>
                </a:lnTo>
                <a:lnTo>
                  <a:pt x="3509753" y="799362"/>
                </a:lnTo>
                <a:lnTo>
                  <a:pt x="3502483" y="793948"/>
                </a:lnTo>
                <a:lnTo>
                  <a:pt x="3499228" y="793840"/>
                </a:lnTo>
                <a:lnTo>
                  <a:pt x="3497166" y="795572"/>
                </a:lnTo>
                <a:lnTo>
                  <a:pt x="3499228" y="798279"/>
                </a:lnTo>
                <a:lnTo>
                  <a:pt x="3503894" y="798928"/>
                </a:lnTo>
                <a:lnTo>
                  <a:pt x="3510296" y="802393"/>
                </a:lnTo>
                <a:lnTo>
                  <a:pt x="3514853" y="804342"/>
                </a:lnTo>
                <a:lnTo>
                  <a:pt x="3526248" y="803909"/>
                </a:lnTo>
                <a:lnTo>
                  <a:pt x="3531782" y="804883"/>
                </a:lnTo>
                <a:lnTo>
                  <a:pt x="3531999" y="807049"/>
                </a:lnTo>
                <a:lnTo>
                  <a:pt x="3526139" y="808456"/>
                </a:lnTo>
                <a:lnTo>
                  <a:pt x="3512466" y="807591"/>
                </a:lnTo>
                <a:lnTo>
                  <a:pt x="3502917" y="808673"/>
                </a:lnTo>
                <a:lnTo>
                  <a:pt x="3496298" y="806075"/>
                </a:lnTo>
                <a:lnTo>
                  <a:pt x="3491088" y="800336"/>
                </a:lnTo>
                <a:lnTo>
                  <a:pt x="3484686" y="799470"/>
                </a:lnTo>
                <a:lnTo>
                  <a:pt x="3481431" y="796330"/>
                </a:lnTo>
                <a:lnTo>
                  <a:pt x="3484252" y="793840"/>
                </a:lnTo>
                <a:lnTo>
                  <a:pt x="3490655" y="791783"/>
                </a:lnTo>
                <a:lnTo>
                  <a:pt x="3490763" y="789076"/>
                </a:lnTo>
                <a:close/>
                <a:moveTo>
                  <a:pt x="2110867" y="785177"/>
                </a:moveTo>
                <a:lnTo>
                  <a:pt x="2110867" y="790374"/>
                </a:lnTo>
                <a:lnTo>
                  <a:pt x="2110215" y="794163"/>
                </a:lnTo>
                <a:lnTo>
                  <a:pt x="2112277" y="799036"/>
                </a:lnTo>
                <a:lnTo>
                  <a:pt x="2108804" y="802067"/>
                </a:lnTo>
                <a:lnTo>
                  <a:pt x="2108479" y="807589"/>
                </a:lnTo>
                <a:lnTo>
                  <a:pt x="2112277" y="802717"/>
                </a:lnTo>
                <a:lnTo>
                  <a:pt x="2116075" y="803150"/>
                </a:lnTo>
                <a:lnTo>
                  <a:pt x="2116075" y="807914"/>
                </a:lnTo>
                <a:lnTo>
                  <a:pt x="2122586" y="812461"/>
                </a:lnTo>
                <a:lnTo>
                  <a:pt x="2125082" y="828268"/>
                </a:lnTo>
                <a:lnTo>
                  <a:pt x="2121609" y="839312"/>
                </a:lnTo>
                <a:lnTo>
                  <a:pt x="2121935" y="843751"/>
                </a:lnTo>
                <a:lnTo>
                  <a:pt x="2125299" y="836713"/>
                </a:lnTo>
                <a:lnTo>
                  <a:pt x="2130616" y="833682"/>
                </a:lnTo>
                <a:lnTo>
                  <a:pt x="2129205" y="838337"/>
                </a:lnTo>
                <a:lnTo>
                  <a:pt x="2124431" y="848298"/>
                </a:lnTo>
                <a:lnTo>
                  <a:pt x="2126818" y="851872"/>
                </a:lnTo>
                <a:lnTo>
                  <a:pt x="2132352" y="849814"/>
                </a:lnTo>
                <a:lnTo>
                  <a:pt x="2132135" y="853387"/>
                </a:lnTo>
                <a:lnTo>
                  <a:pt x="2125407" y="857935"/>
                </a:lnTo>
                <a:lnTo>
                  <a:pt x="2123346" y="860208"/>
                </a:lnTo>
                <a:lnTo>
                  <a:pt x="2121284" y="856527"/>
                </a:lnTo>
                <a:lnTo>
                  <a:pt x="2115750" y="860641"/>
                </a:lnTo>
                <a:lnTo>
                  <a:pt x="2112277" y="861291"/>
                </a:lnTo>
                <a:lnTo>
                  <a:pt x="2107394" y="866163"/>
                </a:lnTo>
                <a:lnTo>
                  <a:pt x="2102944" y="866163"/>
                </a:lnTo>
                <a:lnTo>
                  <a:pt x="2099472" y="866488"/>
                </a:lnTo>
                <a:lnTo>
                  <a:pt x="2093286" y="861291"/>
                </a:lnTo>
                <a:lnTo>
                  <a:pt x="2092961" y="856852"/>
                </a:lnTo>
                <a:lnTo>
                  <a:pt x="2089163" y="862698"/>
                </a:lnTo>
                <a:lnTo>
                  <a:pt x="2086016" y="859233"/>
                </a:lnTo>
                <a:lnTo>
                  <a:pt x="2083629" y="852304"/>
                </a:lnTo>
                <a:lnTo>
                  <a:pt x="2079179" y="851330"/>
                </a:lnTo>
                <a:lnTo>
                  <a:pt x="2073645" y="845159"/>
                </a:lnTo>
                <a:lnTo>
                  <a:pt x="2075381" y="840936"/>
                </a:lnTo>
                <a:lnTo>
                  <a:pt x="2073645" y="837905"/>
                </a:lnTo>
                <a:lnTo>
                  <a:pt x="2070824" y="842668"/>
                </a:lnTo>
                <a:lnTo>
                  <a:pt x="2065615" y="838554"/>
                </a:lnTo>
                <a:lnTo>
                  <a:pt x="2067351" y="832058"/>
                </a:lnTo>
                <a:lnTo>
                  <a:pt x="2062902" y="828268"/>
                </a:lnTo>
                <a:lnTo>
                  <a:pt x="2061491" y="831625"/>
                </a:lnTo>
                <a:lnTo>
                  <a:pt x="2062576" y="834440"/>
                </a:lnTo>
                <a:lnTo>
                  <a:pt x="2058453" y="836822"/>
                </a:lnTo>
                <a:lnTo>
                  <a:pt x="2053570" y="830650"/>
                </a:lnTo>
                <a:lnTo>
                  <a:pt x="2052593" y="825886"/>
                </a:lnTo>
                <a:lnTo>
                  <a:pt x="2063227" y="819282"/>
                </a:lnTo>
                <a:lnTo>
                  <a:pt x="2066374" y="819932"/>
                </a:lnTo>
                <a:lnTo>
                  <a:pt x="2069522" y="818633"/>
                </a:lnTo>
                <a:lnTo>
                  <a:pt x="2077118" y="819282"/>
                </a:lnTo>
                <a:lnTo>
                  <a:pt x="2079831" y="815168"/>
                </a:lnTo>
                <a:lnTo>
                  <a:pt x="2083629" y="815168"/>
                </a:lnTo>
                <a:lnTo>
                  <a:pt x="2086342" y="811054"/>
                </a:lnTo>
                <a:lnTo>
                  <a:pt x="2083954" y="806615"/>
                </a:lnTo>
                <a:lnTo>
                  <a:pt x="2087101" y="806181"/>
                </a:lnTo>
                <a:lnTo>
                  <a:pt x="2088078" y="800660"/>
                </a:lnTo>
                <a:lnTo>
                  <a:pt x="2090140" y="800984"/>
                </a:lnTo>
                <a:lnTo>
                  <a:pt x="2091876" y="807264"/>
                </a:lnTo>
                <a:lnTo>
                  <a:pt x="2095674" y="808672"/>
                </a:lnTo>
                <a:lnTo>
                  <a:pt x="2093938" y="801417"/>
                </a:lnTo>
                <a:lnTo>
                  <a:pt x="2097085" y="793081"/>
                </a:lnTo>
                <a:lnTo>
                  <a:pt x="2104029" y="787234"/>
                </a:lnTo>
                <a:close/>
                <a:moveTo>
                  <a:pt x="662713" y="784853"/>
                </a:moveTo>
                <a:lnTo>
                  <a:pt x="665426" y="788534"/>
                </a:lnTo>
                <a:lnTo>
                  <a:pt x="663905" y="791999"/>
                </a:lnTo>
                <a:lnTo>
                  <a:pt x="660976" y="792541"/>
                </a:lnTo>
                <a:lnTo>
                  <a:pt x="654900" y="786802"/>
                </a:lnTo>
                <a:lnTo>
                  <a:pt x="657069" y="785286"/>
                </a:lnTo>
                <a:close/>
                <a:moveTo>
                  <a:pt x="2601686" y="783878"/>
                </a:moveTo>
                <a:lnTo>
                  <a:pt x="2603314" y="787126"/>
                </a:lnTo>
                <a:lnTo>
                  <a:pt x="2604833" y="786693"/>
                </a:lnTo>
                <a:lnTo>
                  <a:pt x="2607438" y="788317"/>
                </a:lnTo>
                <a:lnTo>
                  <a:pt x="2603857" y="791023"/>
                </a:lnTo>
                <a:lnTo>
                  <a:pt x="2602012" y="795355"/>
                </a:lnTo>
                <a:lnTo>
                  <a:pt x="2600492" y="796221"/>
                </a:lnTo>
                <a:lnTo>
                  <a:pt x="2598756" y="792539"/>
                </a:lnTo>
                <a:lnTo>
                  <a:pt x="2599733" y="790374"/>
                </a:lnTo>
                <a:lnTo>
                  <a:pt x="2599407" y="785719"/>
                </a:lnTo>
                <a:close/>
                <a:moveTo>
                  <a:pt x="2938088" y="780631"/>
                </a:moveTo>
                <a:lnTo>
                  <a:pt x="2940150" y="781931"/>
                </a:lnTo>
                <a:lnTo>
                  <a:pt x="2937763" y="784313"/>
                </a:lnTo>
                <a:lnTo>
                  <a:pt x="2936461" y="783771"/>
                </a:lnTo>
                <a:lnTo>
                  <a:pt x="2936461" y="781714"/>
                </a:lnTo>
                <a:close/>
                <a:moveTo>
                  <a:pt x="2946335" y="779006"/>
                </a:moveTo>
                <a:lnTo>
                  <a:pt x="2946986" y="781279"/>
                </a:lnTo>
                <a:lnTo>
                  <a:pt x="2944381" y="781930"/>
                </a:lnTo>
                <a:lnTo>
                  <a:pt x="2944056" y="780197"/>
                </a:lnTo>
                <a:close/>
                <a:moveTo>
                  <a:pt x="2609933" y="776408"/>
                </a:moveTo>
                <a:lnTo>
                  <a:pt x="2611777" y="779548"/>
                </a:lnTo>
                <a:lnTo>
                  <a:pt x="2610584" y="783337"/>
                </a:lnTo>
                <a:lnTo>
                  <a:pt x="2608522" y="783987"/>
                </a:lnTo>
                <a:lnTo>
                  <a:pt x="2607437" y="781279"/>
                </a:lnTo>
                <a:lnTo>
                  <a:pt x="2607437" y="778032"/>
                </a:lnTo>
                <a:close/>
                <a:moveTo>
                  <a:pt x="2015587" y="776083"/>
                </a:moveTo>
                <a:lnTo>
                  <a:pt x="2016130" y="778140"/>
                </a:lnTo>
                <a:lnTo>
                  <a:pt x="2015262" y="780847"/>
                </a:lnTo>
                <a:lnTo>
                  <a:pt x="2013852" y="780197"/>
                </a:lnTo>
                <a:lnTo>
                  <a:pt x="2013960" y="777815"/>
                </a:lnTo>
                <a:close/>
                <a:moveTo>
                  <a:pt x="2603423" y="774459"/>
                </a:moveTo>
                <a:lnTo>
                  <a:pt x="2603531" y="779006"/>
                </a:lnTo>
                <a:lnTo>
                  <a:pt x="2601903" y="779873"/>
                </a:lnTo>
                <a:lnTo>
                  <a:pt x="2601578" y="776408"/>
                </a:lnTo>
                <a:close/>
                <a:moveTo>
                  <a:pt x="2951001" y="773918"/>
                </a:moveTo>
                <a:lnTo>
                  <a:pt x="2950784" y="775759"/>
                </a:lnTo>
                <a:lnTo>
                  <a:pt x="2948723" y="777167"/>
                </a:lnTo>
                <a:lnTo>
                  <a:pt x="2947529" y="777058"/>
                </a:lnTo>
                <a:close/>
                <a:moveTo>
                  <a:pt x="2937220" y="766988"/>
                </a:moveTo>
                <a:lnTo>
                  <a:pt x="2937437" y="768937"/>
                </a:lnTo>
                <a:lnTo>
                  <a:pt x="2936026" y="769045"/>
                </a:lnTo>
                <a:lnTo>
                  <a:pt x="2932336" y="770670"/>
                </a:lnTo>
                <a:lnTo>
                  <a:pt x="2930600" y="769262"/>
                </a:lnTo>
                <a:lnTo>
                  <a:pt x="2932445" y="767096"/>
                </a:lnTo>
                <a:close/>
                <a:moveTo>
                  <a:pt x="2947746" y="766230"/>
                </a:moveTo>
                <a:lnTo>
                  <a:pt x="2951544" y="766230"/>
                </a:lnTo>
                <a:lnTo>
                  <a:pt x="2951761" y="768720"/>
                </a:lnTo>
                <a:lnTo>
                  <a:pt x="2947420" y="772509"/>
                </a:lnTo>
                <a:lnTo>
                  <a:pt x="2939716" y="778572"/>
                </a:lnTo>
                <a:lnTo>
                  <a:pt x="2938631" y="779331"/>
                </a:lnTo>
                <a:lnTo>
                  <a:pt x="2937328" y="779222"/>
                </a:lnTo>
                <a:lnTo>
                  <a:pt x="2937437" y="777056"/>
                </a:lnTo>
                <a:lnTo>
                  <a:pt x="2937003" y="774350"/>
                </a:lnTo>
                <a:lnTo>
                  <a:pt x="2938848" y="773050"/>
                </a:lnTo>
                <a:lnTo>
                  <a:pt x="2940584" y="770128"/>
                </a:lnTo>
                <a:lnTo>
                  <a:pt x="2943623" y="769803"/>
                </a:lnTo>
                <a:close/>
                <a:moveTo>
                  <a:pt x="2948614" y="755078"/>
                </a:moveTo>
                <a:lnTo>
                  <a:pt x="2950893" y="756268"/>
                </a:lnTo>
                <a:lnTo>
                  <a:pt x="2949917" y="758651"/>
                </a:lnTo>
                <a:lnTo>
                  <a:pt x="2947638" y="758651"/>
                </a:lnTo>
                <a:cubicBezTo>
                  <a:pt x="2946913" y="758364"/>
                  <a:pt x="2946222" y="758001"/>
                  <a:pt x="2945576" y="757568"/>
                </a:cubicBezTo>
                <a:close/>
                <a:moveTo>
                  <a:pt x="2939173" y="753022"/>
                </a:moveTo>
                <a:lnTo>
                  <a:pt x="2942211" y="753347"/>
                </a:lnTo>
                <a:lnTo>
                  <a:pt x="2944381" y="753347"/>
                </a:lnTo>
                <a:lnTo>
                  <a:pt x="2943513" y="754863"/>
                </a:lnTo>
                <a:lnTo>
                  <a:pt x="2939933" y="754972"/>
                </a:lnTo>
                <a:close/>
                <a:moveTo>
                  <a:pt x="2942862" y="744251"/>
                </a:moveTo>
                <a:lnTo>
                  <a:pt x="2942536" y="745767"/>
                </a:lnTo>
                <a:lnTo>
                  <a:pt x="2940258" y="746741"/>
                </a:lnTo>
                <a:lnTo>
                  <a:pt x="2940909" y="744467"/>
                </a:lnTo>
                <a:close/>
                <a:moveTo>
                  <a:pt x="4901913" y="743061"/>
                </a:moveTo>
                <a:lnTo>
                  <a:pt x="4905712" y="743061"/>
                </a:lnTo>
                <a:lnTo>
                  <a:pt x="4910161" y="745985"/>
                </a:lnTo>
                <a:lnTo>
                  <a:pt x="4921664" y="747716"/>
                </a:lnTo>
                <a:lnTo>
                  <a:pt x="4930453" y="747716"/>
                </a:lnTo>
                <a:lnTo>
                  <a:pt x="4932407" y="749773"/>
                </a:lnTo>
                <a:lnTo>
                  <a:pt x="4931213" y="752481"/>
                </a:lnTo>
                <a:lnTo>
                  <a:pt x="4924811" y="754971"/>
                </a:lnTo>
                <a:lnTo>
                  <a:pt x="4923075" y="757028"/>
                </a:lnTo>
                <a:lnTo>
                  <a:pt x="4927415" y="755728"/>
                </a:lnTo>
                <a:lnTo>
                  <a:pt x="4931539" y="754971"/>
                </a:lnTo>
                <a:lnTo>
                  <a:pt x="4932516" y="759085"/>
                </a:lnTo>
                <a:lnTo>
                  <a:pt x="4931647" y="768179"/>
                </a:lnTo>
                <a:lnTo>
                  <a:pt x="4926330" y="771428"/>
                </a:lnTo>
                <a:lnTo>
                  <a:pt x="4919818" y="770887"/>
                </a:lnTo>
                <a:lnTo>
                  <a:pt x="4918733" y="772510"/>
                </a:lnTo>
                <a:lnTo>
                  <a:pt x="4921664" y="774676"/>
                </a:lnTo>
                <a:lnTo>
                  <a:pt x="4925353" y="772944"/>
                </a:lnTo>
                <a:lnTo>
                  <a:pt x="4929477" y="774026"/>
                </a:lnTo>
                <a:lnTo>
                  <a:pt x="4930019" y="776950"/>
                </a:lnTo>
                <a:lnTo>
                  <a:pt x="4927741" y="780956"/>
                </a:lnTo>
                <a:lnTo>
                  <a:pt x="4928826" y="783987"/>
                </a:lnTo>
                <a:lnTo>
                  <a:pt x="4930888" y="797088"/>
                </a:lnTo>
                <a:lnTo>
                  <a:pt x="4934360" y="803909"/>
                </a:lnTo>
                <a:lnTo>
                  <a:pt x="4934685" y="815711"/>
                </a:lnTo>
                <a:lnTo>
                  <a:pt x="4939135" y="823289"/>
                </a:lnTo>
                <a:lnTo>
                  <a:pt x="4942282" y="833576"/>
                </a:lnTo>
                <a:lnTo>
                  <a:pt x="4950529" y="843536"/>
                </a:lnTo>
                <a:lnTo>
                  <a:pt x="4956497" y="853930"/>
                </a:lnTo>
                <a:lnTo>
                  <a:pt x="4961598" y="853930"/>
                </a:lnTo>
                <a:lnTo>
                  <a:pt x="4964420" y="858694"/>
                </a:lnTo>
                <a:lnTo>
                  <a:pt x="4972341" y="864865"/>
                </a:lnTo>
                <a:lnTo>
                  <a:pt x="4977115" y="864865"/>
                </a:lnTo>
                <a:lnTo>
                  <a:pt x="4980588" y="871145"/>
                </a:lnTo>
                <a:lnTo>
                  <a:pt x="4984386" y="872120"/>
                </a:lnTo>
                <a:lnTo>
                  <a:pt x="4987099" y="870820"/>
                </a:lnTo>
                <a:lnTo>
                  <a:pt x="4992308" y="874610"/>
                </a:lnTo>
                <a:lnTo>
                  <a:pt x="4992525" y="877100"/>
                </a:lnTo>
                <a:lnTo>
                  <a:pt x="4991331" y="880023"/>
                </a:lnTo>
                <a:lnTo>
                  <a:pt x="4988184" y="884029"/>
                </a:lnTo>
                <a:lnTo>
                  <a:pt x="4985471" y="884029"/>
                </a:lnTo>
                <a:lnTo>
                  <a:pt x="4983193" y="882947"/>
                </a:lnTo>
                <a:lnTo>
                  <a:pt x="4982325" y="884571"/>
                </a:lnTo>
                <a:lnTo>
                  <a:pt x="4984712" y="886520"/>
                </a:lnTo>
                <a:lnTo>
                  <a:pt x="4987642" y="886736"/>
                </a:lnTo>
                <a:lnTo>
                  <a:pt x="4989595" y="890309"/>
                </a:lnTo>
                <a:lnTo>
                  <a:pt x="4988727" y="894098"/>
                </a:lnTo>
                <a:lnTo>
                  <a:pt x="4986556" y="895290"/>
                </a:lnTo>
                <a:lnTo>
                  <a:pt x="4983626" y="893341"/>
                </a:lnTo>
                <a:lnTo>
                  <a:pt x="4982108" y="888902"/>
                </a:lnTo>
                <a:lnTo>
                  <a:pt x="4980805" y="888793"/>
                </a:lnTo>
                <a:lnTo>
                  <a:pt x="4978960" y="886520"/>
                </a:lnTo>
                <a:lnTo>
                  <a:pt x="4974077" y="883921"/>
                </a:lnTo>
                <a:lnTo>
                  <a:pt x="4972124" y="884787"/>
                </a:lnTo>
                <a:lnTo>
                  <a:pt x="4972124" y="886845"/>
                </a:lnTo>
                <a:lnTo>
                  <a:pt x="4976139" y="890092"/>
                </a:lnTo>
                <a:lnTo>
                  <a:pt x="4976139" y="892908"/>
                </a:lnTo>
                <a:lnTo>
                  <a:pt x="4972775" y="893232"/>
                </a:lnTo>
                <a:lnTo>
                  <a:pt x="4967458" y="890634"/>
                </a:lnTo>
                <a:lnTo>
                  <a:pt x="4964636" y="886845"/>
                </a:lnTo>
                <a:lnTo>
                  <a:pt x="4962791" y="887602"/>
                </a:lnTo>
                <a:lnTo>
                  <a:pt x="4961707" y="891716"/>
                </a:lnTo>
                <a:lnTo>
                  <a:pt x="4959970" y="891933"/>
                </a:lnTo>
                <a:lnTo>
                  <a:pt x="4957800" y="887169"/>
                </a:lnTo>
                <a:lnTo>
                  <a:pt x="4955738" y="883704"/>
                </a:lnTo>
                <a:lnTo>
                  <a:pt x="4951072" y="880890"/>
                </a:lnTo>
                <a:lnTo>
                  <a:pt x="4947599" y="880023"/>
                </a:lnTo>
                <a:lnTo>
                  <a:pt x="4945537" y="881214"/>
                </a:lnTo>
                <a:lnTo>
                  <a:pt x="4947708" y="882622"/>
                </a:lnTo>
                <a:lnTo>
                  <a:pt x="4953893" y="885437"/>
                </a:lnTo>
                <a:lnTo>
                  <a:pt x="4954978" y="890309"/>
                </a:lnTo>
                <a:lnTo>
                  <a:pt x="4951722" y="894207"/>
                </a:lnTo>
                <a:lnTo>
                  <a:pt x="4948468" y="894423"/>
                </a:lnTo>
                <a:lnTo>
                  <a:pt x="4944778" y="891392"/>
                </a:lnTo>
                <a:lnTo>
                  <a:pt x="4942933" y="884896"/>
                </a:lnTo>
                <a:lnTo>
                  <a:pt x="4941305" y="881972"/>
                </a:lnTo>
                <a:lnTo>
                  <a:pt x="4938592" y="881106"/>
                </a:lnTo>
                <a:lnTo>
                  <a:pt x="4938918" y="885437"/>
                </a:lnTo>
                <a:lnTo>
                  <a:pt x="4932949" y="882947"/>
                </a:lnTo>
                <a:lnTo>
                  <a:pt x="4928066" y="884246"/>
                </a:lnTo>
                <a:lnTo>
                  <a:pt x="4923291" y="881972"/>
                </a:lnTo>
                <a:lnTo>
                  <a:pt x="4916237" y="881214"/>
                </a:lnTo>
                <a:lnTo>
                  <a:pt x="4913634" y="878724"/>
                </a:lnTo>
                <a:lnTo>
                  <a:pt x="4913416" y="875801"/>
                </a:lnTo>
                <a:lnTo>
                  <a:pt x="4916237" y="876667"/>
                </a:lnTo>
                <a:lnTo>
                  <a:pt x="4918950" y="876451"/>
                </a:lnTo>
                <a:lnTo>
                  <a:pt x="4918625" y="872986"/>
                </a:lnTo>
                <a:lnTo>
                  <a:pt x="4914284" y="869196"/>
                </a:lnTo>
                <a:lnTo>
                  <a:pt x="4915152" y="866490"/>
                </a:lnTo>
                <a:lnTo>
                  <a:pt x="4918408" y="864433"/>
                </a:lnTo>
                <a:lnTo>
                  <a:pt x="4919927" y="861509"/>
                </a:lnTo>
                <a:lnTo>
                  <a:pt x="4922532" y="861509"/>
                </a:lnTo>
                <a:lnTo>
                  <a:pt x="4923725" y="859560"/>
                </a:lnTo>
                <a:lnTo>
                  <a:pt x="4921555" y="858369"/>
                </a:lnTo>
                <a:lnTo>
                  <a:pt x="4918300" y="860643"/>
                </a:lnTo>
                <a:lnTo>
                  <a:pt x="4914502" y="860859"/>
                </a:lnTo>
                <a:lnTo>
                  <a:pt x="4908967" y="857503"/>
                </a:lnTo>
                <a:lnTo>
                  <a:pt x="4904301" y="850357"/>
                </a:lnTo>
                <a:lnTo>
                  <a:pt x="4904084" y="846027"/>
                </a:lnTo>
                <a:lnTo>
                  <a:pt x="4904843" y="843969"/>
                </a:lnTo>
                <a:lnTo>
                  <a:pt x="4903650" y="841588"/>
                </a:lnTo>
                <a:lnTo>
                  <a:pt x="4901045" y="846351"/>
                </a:lnTo>
                <a:lnTo>
                  <a:pt x="4901045" y="849599"/>
                </a:lnTo>
                <a:lnTo>
                  <a:pt x="4897899" y="851873"/>
                </a:lnTo>
                <a:lnTo>
                  <a:pt x="4894969" y="851007"/>
                </a:lnTo>
                <a:lnTo>
                  <a:pt x="4893233" y="844835"/>
                </a:lnTo>
                <a:lnTo>
                  <a:pt x="4891171" y="841588"/>
                </a:lnTo>
                <a:lnTo>
                  <a:pt x="4891387" y="838123"/>
                </a:lnTo>
                <a:lnTo>
                  <a:pt x="4893666" y="832601"/>
                </a:lnTo>
                <a:lnTo>
                  <a:pt x="4890736" y="836931"/>
                </a:lnTo>
                <a:lnTo>
                  <a:pt x="4889651" y="841588"/>
                </a:lnTo>
                <a:lnTo>
                  <a:pt x="4891171" y="847867"/>
                </a:lnTo>
                <a:lnTo>
                  <a:pt x="4887264" y="853930"/>
                </a:lnTo>
                <a:lnTo>
                  <a:pt x="4883466" y="855013"/>
                </a:lnTo>
                <a:lnTo>
                  <a:pt x="4881078" y="856312"/>
                </a:lnTo>
                <a:lnTo>
                  <a:pt x="4876737" y="854580"/>
                </a:lnTo>
                <a:lnTo>
                  <a:pt x="4870335" y="849599"/>
                </a:lnTo>
                <a:lnTo>
                  <a:pt x="4870226" y="846676"/>
                </a:lnTo>
                <a:lnTo>
                  <a:pt x="4863824" y="841370"/>
                </a:lnTo>
                <a:lnTo>
                  <a:pt x="4862630" y="837040"/>
                </a:lnTo>
                <a:lnTo>
                  <a:pt x="4863607" y="831735"/>
                </a:lnTo>
                <a:lnTo>
                  <a:pt x="4862197" y="825780"/>
                </a:lnTo>
                <a:lnTo>
                  <a:pt x="4862088" y="820907"/>
                </a:lnTo>
                <a:lnTo>
                  <a:pt x="4866211" y="815819"/>
                </a:lnTo>
                <a:lnTo>
                  <a:pt x="4869250" y="815386"/>
                </a:lnTo>
                <a:lnTo>
                  <a:pt x="4872722" y="817335"/>
                </a:lnTo>
                <a:lnTo>
                  <a:pt x="4877063" y="816144"/>
                </a:lnTo>
                <a:lnTo>
                  <a:pt x="4879450" y="817335"/>
                </a:lnTo>
                <a:lnTo>
                  <a:pt x="4881512" y="815602"/>
                </a:lnTo>
                <a:lnTo>
                  <a:pt x="4879017" y="810838"/>
                </a:lnTo>
                <a:lnTo>
                  <a:pt x="4878799" y="807482"/>
                </a:lnTo>
                <a:lnTo>
                  <a:pt x="4881947" y="804558"/>
                </a:lnTo>
                <a:lnTo>
                  <a:pt x="4885202" y="804450"/>
                </a:lnTo>
                <a:lnTo>
                  <a:pt x="4887915" y="802935"/>
                </a:lnTo>
                <a:lnTo>
                  <a:pt x="4883140" y="802935"/>
                </a:lnTo>
                <a:lnTo>
                  <a:pt x="4879667" y="799145"/>
                </a:lnTo>
                <a:lnTo>
                  <a:pt x="4880535" y="795681"/>
                </a:lnTo>
                <a:lnTo>
                  <a:pt x="4884334" y="792216"/>
                </a:lnTo>
                <a:lnTo>
                  <a:pt x="4883248" y="790159"/>
                </a:lnTo>
                <a:lnTo>
                  <a:pt x="4880210" y="791025"/>
                </a:lnTo>
                <a:lnTo>
                  <a:pt x="4877063" y="794815"/>
                </a:lnTo>
                <a:lnTo>
                  <a:pt x="4874459" y="794815"/>
                </a:lnTo>
                <a:lnTo>
                  <a:pt x="4875327" y="790809"/>
                </a:lnTo>
                <a:lnTo>
                  <a:pt x="4879667" y="787019"/>
                </a:lnTo>
                <a:lnTo>
                  <a:pt x="4878582" y="784962"/>
                </a:lnTo>
                <a:lnTo>
                  <a:pt x="4872614" y="788318"/>
                </a:lnTo>
                <a:lnTo>
                  <a:pt x="4868816" y="789509"/>
                </a:lnTo>
                <a:lnTo>
                  <a:pt x="4866537" y="786911"/>
                </a:lnTo>
                <a:lnTo>
                  <a:pt x="4866863" y="781605"/>
                </a:lnTo>
                <a:lnTo>
                  <a:pt x="4870877" y="774676"/>
                </a:lnTo>
                <a:lnTo>
                  <a:pt x="4875869" y="773160"/>
                </a:lnTo>
                <a:lnTo>
                  <a:pt x="4880210" y="773269"/>
                </a:lnTo>
                <a:lnTo>
                  <a:pt x="4881187" y="770778"/>
                </a:lnTo>
                <a:lnTo>
                  <a:pt x="4879450" y="769046"/>
                </a:lnTo>
                <a:lnTo>
                  <a:pt x="4875327" y="768505"/>
                </a:lnTo>
                <a:lnTo>
                  <a:pt x="4874133" y="763849"/>
                </a:lnTo>
                <a:lnTo>
                  <a:pt x="4875652" y="760817"/>
                </a:lnTo>
                <a:lnTo>
                  <a:pt x="4876195" y="755404"/>
                </a:lnTo>
                <a:lnTo>
                  <a:pt x="4882380" y="750965"/>
                </a:lnTo>
                <a:lnTo>
                  <a:pt x="4885310" y="748583"/>
                </a:lnTo>
                <a:lnTo>
                  <a:pt x="4893449" y="748583"/>
                </a:lnTo>
                <a:close/>
                <a:moveTo>
                  <a:pt x="2942863" y="738947"/>
                </a:moveTo>
                <a:lnTo>
                  <a:pt x="2944925" y="740030"/>
                </a:lnTo>
                <a:lnTo>
                  <a:pt x="2943622" y="741437"/>
                </a:lnTo>
                <a:lnTo>
                  <a:pt x="2942212" y="740571"/>
                </a:lnTo>
                <a:close/>
                <a:moveTo>
                  <a:pt x="2949700" y="738838"/>
                </a:moveTo>
                <a:lnTo>
                  <a:pt x="2950893" y="739054"/>
                </a:lnTo>
                <a:lnTo>
                  <a:pt x="2951327" y="740246"/>
                </a:lnTo>
                <a:lnTo>
                  <a:pt x="2950459" y="740246"/>
                </a:lnTo>
                <a:close/>
                <a:moveTo>
                  <a:pt x="2936677" y="738405"/>
                </a:moveTo>
                <a:lnTo>
                  <a:pt x="2937546" y="740245"/>
                </a:lnTo>
                <a:lnTo>
                  <a:pt x="2935918" y="741870"/>
                </a:lnTo>
                <a:lnTo>
                  <a:pt x="2935375" y="740570"/>
                </a:lnTo>
                <a:close/>
                <a:moveTo>
                  <a:pt x="4253961" y="738296"/>
                </a:moveTo>
                <a:lnTo>
                  <a:pt x="4258302" y="738621"/>
                </a:lnTo>
                <a:lnTo>
                  <a:pt x="4261557" y="742085"/>
                </a:lnTo>
                <a:lnTo>
                  <a:pt x="4261015" y="748473"/>
                </a:lnTo>
                <a:lnTo>
                  <a:pt x="4259170" y="751396"/>
                </a:lnTo>
                <a:lnTo>
                  <a:pt x="4257433" y="750314"/>
                </a:lnTo>
                <a:lnTo>
                  <a:pt x="4256891" y="747282"/>
                </a:lnTo>
                <a:lnTo>
                  <a:pt x="4253852" y="744900"/>
                </a:lnTo>
                <a:lnTo>
                  <a:pt x="4252659" y="741219"/>
                </a:lnTo>
                <a:close/>
                <a:moveTo>
                  <a:pt x="3572041" y="734507"/>
                </a:moveTo>
                <a:lnTo>
                  <a:pt x="3581590" y="740137"/>
                </a:lnTo>
                <a:lnTo>
                  <a:pt x="3581807" y="746200"/>
                </a:lnTo>
                <a:lnTo>
                  <a:pt x="3580071" y="749123"/>
                </a:lnTo>
                <a:lnTo>
                  <a:pt x="3579203" y="753562"/>
                </a:lnTo>
                <a:lnTo>
                  <a:pt x="3575297" y="755945"/>
                </a:lnTo>
                <a:lnTo>
                  <a:pt x="3569979" y="755294"/>
                </a:lnTo>
                <a:lnTo>
                  <a:pt x="3566615" y="755294"/>
                </a:lnTo>
                <a:lnTo>
                  <a:pt x="3562166" y="750964"/>
                </a:lnTo>
                <a:lnTo>
                  <a:pt x="3558693" y="749773"/>
                </a:lnTo>
                <a:lnTo>
                  <a:pt x="3555439" y="747499"/>
                </a:lnTo>
                <a:lnTo>
                  <a:pt x="3555330" y="743602"/>
                </a:lnTo>
                <a:lnTo>
                  <a:pt x="3559020" y="736889"/>
                </a:lnTo>
                <a:lnTo>
                  <a:pt x="3565639" y="735698"/>
                </a:lnTo>
                <a:close/>
                <a:moveTo>
                  <a:pt x="2074404" y="729635"/>
                </a:moveTo>
                <a:lnTo>
                  <a:pt x="2076032" y="731584"/>
                </a:lnTo>
                <a:lnTo>
                  <a:pt x="2075706" y="733857"/>
                </a:lnTo>
                <a:lnTo>
                  <a:pt x="2077985" y="736456"/>
                </a:lnTo>
                <a:lnTo>
                  <a:pt x="2075598" y="739163"/>
                </a:lnTo>
                <a:lnTo>
                  <a:pt x="2075164" y="743926"/>
                </a:lnTo>
                <a:lnTo>
                  <a:pt x="2072993" y="744143"/>
                </a:lnTo>
                <a:lnTo>
                  <a:pt x="2072017" y="738188"/>
                </a:lnTo>
                <a:lnTo>
                  <a:pt x="2070498" y="736456"/>
                </a:lnTo>
                <a:lnTo>
                  <a:pt x="2071583" y="730718"/>
                </a:lnTo>
                <a:close/>
                <a:moveTo>
                  <a:pt x="3609697" y="726928"/>
                </a:moveTo>
                <a:lnTo>
                  <a:pt x="3609914" y="729526"/>
                </a:lnTo>
                <a:lnTo>
                  <a:pt x="3606550" y="733207"/>
                </a:lnTo>
                <a:lnTo>
                  <a:pt x="3604055" y="732882"/>
                </a:lnTo>
                <a:lnTo>
                  <a:pt x="3604272" y="729309"/>
                </a:lnTo>
                <a:lnTo>
                  <a:pt x="3607202" y="727144"/>
                </a:lnTo>
                <a:close/>
                <a:moveTo>
                  <a:pt x="2943946" y="726712"/>
                </a:moveTo>
                <a:lnTo>
                  <a:pt x="2945031" y="729635"/>
                </a:lnTo>
                <a:lnTo>
                  <a:pt x="2946550" y="732559"/>
                </a:lnTo>
                <a:lnTo>
                  <a:pt x="2945357" y="734075"/>
                </a:lnTo>
                <a:lnTo>
                  <a:pt x="2943404" y="733749"/>
                </a:lnTo>
                <a:lnTo>
                  <a:pt x="2943296" y="728661"/>
                </a:lnTo>
                <a:close/>
                <a:moveTo>
                  <a:pt x="482573" y="722164"/>
                </a:moveTo>
                <a:lnTo>
                  <a:pt x="485396" y="722164"/>
                </a:lnTo>
                <a:lnTo>
                  <a:pt x="485396" y="731150"/>
                </a:lnTo>
                <a:lnTo>
                  <a:pt x="483227" y="734182"/>
                </a:lnTo>
                <a:lnTo>
                  <a:pt x="489303" y="736456"/>
                </a:lnTo>
                <a:lnTo>
                  <a:pt x="489522" y="739596"/>
                </a:lnTo>
                <a:lnTo>
                  <a:pt x="494947" y="740245"/>
                </a:lnTo>
                <a:lnTo>
                  <a:pt x="497441" y="737972"/>
                </a:lnTo>
                <a:lnTo>
                  <a:pt x="506340" y="738837"/>
                </a:lnTo>
                <a:lnTo>
                  <a:pt x="511006" y="743385"/>
                </a:lnTo>
                <a:lnTo>
                  <a:pt x="510463" y="746308"/>
                </a:lnTo>
                <a:lnTo>
                  <a:pt x="507750" y="748798"/>
                </a:lnTo>
                <a:lnTo>
                  <a:pt x="510463" y="754862"/>
                </a:lnTo>
                <a:lnTo>
                  <a:pt x="515130" y="758110"/>
                </a:lnTo>
                <a:lnTo>
                  <a:pt x="515021" y="762982"/>
                </a:lnTo>
                <a:lnTo>
                  <a:pt x="523810" y="771319"/>
                </a:lnTo>
                <a:lnTo>
                  <a:pt x="525115" y="775867"/>
                </a:lnTo>
                <a:lnTo>
                  <a:pt x="521206" y="778573"/>
                </a:lnTo>
                <a:lnTo>
                  <a:pt x="515021" y="774675"/>
                </a:lnTo>
                <a:lnTo>
                  <a:pt x="512417" y="775650"/>
                </a:lnTo>
                <a:lnTo>
                  <a:pt x="510463" y="778032"/>
                </a:lnTo>
                <a:lnTo>
                  <a:pt x="505689" y="778249"/>
                </a:lnTo>
                <a:lnTo>
                  <a:pt x="498962" y="783770"/>
                </a:lnTo>
                <a:lnTo>
                  <a:pt x="494947" y="781821"/>
                </a:lnTo>
                <a:lnTo>
                  <a:pt x="499286" y="775650"/>
                </a:lnTo>
                <a:lnTo>
                  <a:pt x="497875" y="770020"/>
                </a:lnTo>
                <a:lnTo>
                  <a:pt x="492558" y="767205"/>
                </a:lnTo>
                <a:lnTo>
                  <a:pt x="493753" y="761250"/>
                </a:lnTo>
                <a:lnTo>
                  <a:pt x="492015" y="753346"/>
                </a:lnTo>
                <a:lnTo>
                  <a:pt x="486914" y="749231"/>
                </a:lnTo>
                <a:lnTo>
                  <a:pt x="478993" y="749015"/>
                </a:lnTo>
                <a:lnTo>
                  <a:pt x="477258" y="753021"/>
                </a:lnTo>
                <a:lnTo>
                  <a:pt x="472373" y="753129"/>
                </a:lnTo>
                <a:lnTo>
                  <a:pt x="467599" y="747500"/>
                </a:lnTo>
                <a:lnTo>
                  <a:pt x="467599" y="741436"/>
                </a:lnTo>
                <a:lnTo>
                  <a:pt x="478669" y="731475"/>
                </a:lnTo>
                <a:close/>
                <a:moveTo>
                  <a:pt x="5329904" y="717834"/>
                </a:moveTo>
                <a:lnTo>
                  <a:pt x="5334787" y="718483"/>
                </a:lnTo>
                <a:lnTo>
                  <a:pt x="5337066" y="719783"/>
                </a:lnTo>
                <a:lnTo>
                  <a:pt x="5337500" y="723464"/>
                </a:lnTo>
                <a:lnTo>
                  <a:pt x="5333376" y="728877"/>
                </a:lnTo>
                <a:lnTo>
                  <a:pt x="5329578" y="730610"/>
                </a:lnTo>
                <a:lnTo>
                  <a:pt x="5326323" y="735915"/>
                </a:lnTo>
                <a:lnTo>
                  <a:pt x="5323284" y="737431"/>
                </a:lnTo>
                <a:lnTo>
                  <a:pt x="5318509" y="741546"/>
                </a:lnTo>
                <a:lnTo>
                  <a:pt x="5315905" y="741979"/>
                </a:lnTo>
                <a:lnTo>
                  <a:pt x="5313626" y="738947"/>
                </a:lnTo>
                <a:lnTo>
                  <a:pt x="5314386" y="734508"/>
                </a:lnTo>
                <a:lnTo>
                  <a:pt x="5317099" y="732559"/>
                </a:lnTo>
                <a:lnTo>
                  <a:pt x="5320245" y="728228"/>
                </a:lnTo>
                <a:lnTo>
                  <a:pt x="5319703" y="723681"/>
                </a:lnTo>
                <a:lnTo>
                  <a:pt x="5322958" y="719783"/>
                </a:lnTo>
                <a:close/>
                <a:moveTo>
                  <a:pt x="2938088" y="713286"/>
                </a:moveTo>
                <a:lnTo>
                  <a:pt x="2939824" y="714261"/>
                </a:lnTo>
                <a:lnTo>
                  <a:pt x="2944707" y="715126"/>
                </a:lnTo>
                <a:lnTo>
                  <a:pt x="2941669" y="717508"/>
                </a:lnTo>
                <a:lnTo>
                  <a:pt x="2938088" y="716750"/>
                </a:lnTo>
                <a:lnTo>
                  <a:pt x="2937003" y="714693"/>
                </a:lnTo>
                <a:close/>
                <a:moveTo>
                  <a:pt x="2511834" y="712529"/>
                </a:moveTo>
                <a:lnTo>
                  <a:pt x="2515089" y="715235"/>
                </a:lnTo>
                <a:lnTo>
                  <a:pt x="2513570" y="716643"/>
                </a:lnTo>
                <a:lnTo>
                  <a:pt x="2510314" y="715777"/>
                </a:lnTo>
                <a:lnTo>
                  <a:pt x="2509772" y="712962"/>
                </a:lnTo>
                <a:close/>
                <a:moveTo>
                  <a:pt x="2501308" y="711988"/>
                </a:moveTo>
                <a:lnTo>
                  <a:pt x="2503045" y="712204"/>
                </a:lnTo>
                <a:lnTo>
                  <a:pt x="2503587" y="715452"/>
                </a:lnTo>
                <a:lnTo>
                  <a:pt x="2501091" y="716643"/>
                </a:lnTo>
                <a:lnTo>
                  <a:pt x="2499355" y="713720"/>
                </a:lnTo>
                <a:close/>
                <a:moveTo>
                  <a:pt x="2163604" y="710363"/>
                </a:moveTo>
                <a:lnTo>
                  <a:pt x="2163604" y="714910"/>
                </a:lnTo>
                <a:lnTo>
                  <a:pt x="2161868" y="715669"/>
                </a:lnTo>
                <a:lnTo>
                  <a:pt x="2160349" y="714044"/>
                </a:lnTo>
                <a:lnTo>
                  <a:pt x="2161542" y="711121"/>
                </a:lnTo>
                <a:close/>
                <a:moveTo>
                  <a:pt x="3584196" y="706141"/>
                </a:moveTo>
                <a:lnTo>
                  <a:pt x="3587342" y="706682"/>
                </a:lnTo>
                <a:lnTo>
                  <a:pt x="3591792" y="709822"/>
                </a:lnTo>
                <a:lnTo>
                  <a:pt x="3592443" y="714045"/>
                </a:lnTo>
                <a:lnTo>
                  <a:pt x="3590381" y="716535"/>
                </a:lnTo>
                <a:lnTo>
                  <a:pt x="3590055" y="720432"/>
                </a:lnTo>
                <a:lnTo>
                  <a:pt x="3587886" y="722057"/>
                </a:lnTo>
                <a:lnTo>
                  <a:pt x="3583979" y="719133"/>
                </a:lnTo>
                <a:lnTo>
                  <a:pt x="3582351" y="715344"/>
                </a:lnTo>
                <a:lnTo>
                  <a:pt x="3582460" y="709172"/>
                </a:lnTo>
                <a:close/>
                <a:moveTo>
                  <a:pt x="2495230" y="705166"/>
                </a:moveTo>
                <a:lnTo>
                  <a:pt x="2496750" y="707223"/>
                </a:lnTo>
                <a:lnTo>
                  <a:pt x="2496750" y="710146"/>
                </a:lnTo>
                <a:lnTo>
                  <a:pt x="2493929" y="712421"/>
                </a:lnTo>
                <a:lnTo>
                  <a:pt x="2493495" y="707656"/>
                </a:lnTo>
                <a:close/>
                <a:moveTo>
                  <a:pt x="5254158" y="701593"/>
                </a:moveTo>
                <a:lnTo>
                  <a:pt x="5258390" y="702784"/>
                </a:lnTo>
                <a:lnTo>
                  <a:pt x="5259909" y="706032"/>
                </a:lnTo>
                <a:lnTo>
                  <a:pt x="5257522" y="708089"/>
                </a:lnTo>
                <a:lnTo>
                  <a:pt x="5257413" y="711338"/>
                </a:lnTo>
                <a:lnTo>
                  <a:pt x="5259909" y="713936"/>
                </a:lnTo>
                <a:lnTo>
                  <a:pt x="5260886" y="718592"/>
                </a:lnTo>
                <a:lnTo>
                  <a:pt x="5257413" y="718375"/>
                </a:lnTo>
                <a:lnTo>
                  <a:pt x="5254809" y="715344"/>
                </a:lnTo>
                <a:lnTo>
                  <a:pt x="5250903" y="714910"/>
                </a:lnTo>
                <a:lnTo>
                  <a:pt x="5249058" y="711554"/>
                </a:lnTo>
                <a:lnTo>
                  <a:pt x="5250468" y="703434"/>
                </a:lnTo>
                <a:close/>
                <a:moveTo>
                  <a:pt x="2945250" y="701376"/>
                </a:moveTo>
                <a:lnTo>
                  <a:pt x="2949590" y="704191"/>
                </a:lnTo>
                <a:lnTo>
                  <a:pt x="2951001" y="707007"/>
                </a:lnTo>
                <a:lnTo>
                  <a:pt x="2948289" y="708523"/>
                </a:lnTo>
                <a:lnTo>
                  <a:pt x="2946444" y="705815"/>
                </a:lnTo>
                <a:lnTo>
                  <a:pt x="2942971" y="705815"/>
                </a:lnTo>
                <a:lnTo>
                  <a:pt x="2941669" y="703433"/>
                </a:lnTo>
                <a:lnTo>
                  <a:pt x="2942646" y="701917"/>
                </a:lnTo>
                <a:close/>
                <a:moveTo>
                  <a:pt x="5181994" y="688600"/>
                </a:moveTo>
                <a:lnTo>
                  <a:pt x="5184707" y="690332"/>
                </a:lnTo>
                <a:lnTo>
                  <a:pt x="5188831" y="695421"/>
                </a:lnTo>
                <a:lnTo>
                  <a:pt x="5189699" y="699210"/>
                </a:lnTo>
                <a:lnTo>
                  <a:pt x="5196101" y="702459"/>
                </a:lnTo>
                <a:lnTo>
                  <a:pt x="5198489" y="707439"/>
                </a:lnTo>
                <a:lnTo>
                  <a:pt x="5197837" y="709930"/>
                </a:lnTo>
                <a:lnTo>
                  <a:pt x="5193063" y="711553"/>
                </a:lnTo>
                <a:lnTo>
                  <a:pt x="5188614" y="715451"/>
                </a:lnTo>
                <a:lnTo>
                  <a:pt x="5186878" y="719349"/>
                </a:lnTo>
                <a:lnTo>
                  <a:pt x="5183297" y="720216"/>
                </a:lnTo>
                <a:lnTo>
                  <a:pt x="5181452" y="719241"/>
                </a:lnTo>
                <a:lnTo>
                  <a:pt x="5178847" y="720432"/>
                </a:lnTo>
                <a:lnTo>
                  <a:pt x="5176894" y="715992"/>
                </a:lnTo>
                <a:lnTo>
                  <a:pt x="5174072" y="716210"/>
                </a:lnTo>
                <a:lnTo>
                  <a:pt x="5173747" y="719024"/>
                </a:lnTo>
                <a:lnTo>
                  <a:pt x="5174941" y="721731"/>
                </a:lnTo>
                <a:lnTo>
                  <a:pt x="5173096" y="721406"/>
                </a:lnTo>
                <a:lnTo>
                  <a:pt x="5168972" y="717833"/>
                </a:lnTo>
                <a:lnTo>
                  <a:pt x="5169623" y="711229"/>
                </a:lnTo>
                <a:lnTo>
                  <a:pt x="5168972" y="706790"/>
                </a:lnTo>
                <a:lnTo>
                  <a:pt x="5165825" y="702242"/>
                </a:lnTo>
                <a:lnTo>
                  <a:pt x="5165500" y="698669"/>
                </a:lnTo>
                <a:lnTo>
                  <a:pt x="5170275" y="694555"/>
                </a:lnTo>
                <a:lnTo>
                  <a:pt x="5174181" y="694230"/>
                </a:lnTo>
                <a:lnTo>
                  <a:pt x="5178413" y="690224"/>
                </a:lnTo>
                <a:close/>
                <a:moveTo>
                  <a:pt x="5276406" y="688275"/>
                </a:moveTo>
                <a:lnTo>
                  <a:pt x="5280855" y="690224"/>
                </a:lnTo>
                <a:lnTo>
                  <a:pt x="5287691" y="691198"/>
                </a:lnTo>
                <a:lnTo>
                  <a:pt x="5287908" y="693905"/>
                </a:lnTo>
                <a:lnTo>
                  <a:pt x="5284653" y="694663"/>
                </a:lnTo>
                <a:lnTo>
                  <a:pt x="5278467" y="693797"/>
                </a:lnTo>
                <a:lnTo>
                  <a:pt x="5273584" y="689574"/>
                </a:lnTo>
                <a:close/>
                <a:moveTo>
                  <a:pt x="3626625" y="683187"/>
                </a:moveTo>
                <a:lnTo>
                  <a:pt x="3629664" y="684811"/>
                </a:lnTo>
                <a:lnTo>
                  <a:pt x="3629338" y="688601"/>
                </a:lnTo>
                <a:lnTo>
                  <a:pt x="3627167" y="688601"/>
                </a:lnTo>
                <a:lnTo>
                  <a:pt x="3624889" y="690658"/>
                </a:lnTo>
                <a:lnTo>
                  <a:pt x="3628035" y="694447"/>
                </a:lnTo>
                <a:lnTo>
                  <a:pt x="3627602" y="697478"/>
                </a:lnTo>
                <a:lnTo>
                  <a:pt x="3630532" y="702134"/>
                </a:lnTo>
                <a:lnTo>
                  <a:pt x="3633461" y="703866"/>
                </a:lnTo>
                <a:lnTo>
                  <a:pt x="3633461" y="700943"/>
                </a:lnTo>
                <a:lnTo>
                  <a:pt x="3634655" y="697911"/>
                </a:lnTo>
                <a:lnTo>
                  <a:pt x="3637585" y="699752"/>
                </a:lnTo>
                <a:lnTo>
                  <a:pt x="3637585" y="706573"/>
                </a:lnTo>
                <a:lnTo>
                  <a:pt x="3635523" y="707980"/>
                </a:lnTo>
                <a:lnTo>
                  <a:pt x="3633353" y="712745"/>
                </a:lnTo>
                <a:lnTo>
                  <a:pt x="3630098" y="711229"/>
                </a:lnTo>
                <a:lnTo>
                  <a:pt x="3629230" y="707980"/>
                </a:lnTo>
                <a:lnTo>
                  <a:pt x="3627276" y="709496"/>
                </a:lnTo>
                <a:lnTo>
                  <a:pt x="3622284" y="709496"/>
                </a:lnTo>
                <a:lnTo>
                  <a:pt x="3617293" y="710579"/>
                </a:lnTo>
                <a:lnTo>
                  <a:pt x="3613169" y="707114"/>
                </a:lnTo>
                <a:lnTo>
                  <a:pt x="3611650" y="703000"/>
                </a:lnTo>
                <a:lnTo>
                  <a:pt x="3613386" y="697911"/>
                </a:lnTo>
                <a:lnTo>
                  <a:pt x="3613386" y="687842"/>
                </a:lnTo>
                <a:lnTo>
                  <a:pt x="3617076" y="687301"/>
                </a:lnTo>
                <a:lnTo>
                  <a:pt x="3618812" y="686219"/>
                </a:lnTo>
                <a:lnTo>
                  <a:pt x="3622501" y="686976"/>
                </a:lnTo>
                <a:close/>
                <a:moveTo>
                  <a:pt x="591198" y="681130"/>
                </a:moveTo>
                <a:lnTo>
                  <a:pt x="594672" y="681779"/>
                </a:lnTo>
                <a:lnTo>
                  <a:pt x="591308" y="685352"/>
                </a:lnTo>
                <a:lnTo>
                  <a:pt x="587726" y="681887"/>
                </a:lnTo>
                <a:close/>
                <a:moveTo>
                  <a:pt x="5336957" y="680155"/>
                </a:moveTo>
                <a:lnTo>
                  <a:pt x="5339344" y="685352"/>
                </a:lnTo>
                <a:lnTo>
                  <a:pt x="5344879" y="690116"/>
                </a:lnTo>
                <a:lnTo>
                  <a:pt x="5345856" y="696612"/>
                </a:lnTo>
                <a:lnTo>
                  <a:pt x="5349654" y="703542"/>
                </a:lnTo>
                <a:lnTo>
                  <a:pt x="5349545" y="706573"/>
                </a:lnTo>
                <a:lnTo>
                  <a:pt x="5345530" y="707981"/>
                </a:lnTo>
                <a:lnTo>
                  <a:pt x="5341623" y="706248"/>
                </a:lnTo>
                <a:lnTo>
                  <a:pt x="5336740" y="705707"/>
                </a:lnTo>
                <a:lnTo>
                  <a:pt x="5334895" y="703324"/>
                </a:lnTo>
                <a:lnTo>
                  <a:pt x="5329361" y="702459"/>
                </a:lnTo>
                <a:lnTo>
                  <a:pt x="5328710" y="698994"/>
                </a:lnTo>
                <a:lnTo>
                  <a:pt x="5331640" y="693255"/>
                </a:lnTo>
                <a:lnTo>
                  <a:pt x="5332833" y="685677"/>
                </a:lnTo>
                <a:close/>
                <a:moveTo>
                  <a:pt x="2942753" y="672252"/>
                </a:moveTo>
                <a:lnTo>
                  <a:pt x="2943296" y="674202"/>
                </a:lnTo>
                <a:lnTo>
                  <a:pt x="2941668" y="674202"/>
                </a:lnTo>
                <a:lnTo>
                  <a:pt x="2940475" y="672685"/>
                </a:lnTo>
                <a:close/>
                <a:moveTo>
                  <a:pt x="5265335" y="669762"/>
                </a:moveTo>
                <a:lnTo>
                  <a:pt x="5266637" y="671061"/>
                </a:lnTo>
                <a:lnTo>
                  <a:pt x="5264033" y="672576"/>
                </a:lnTo>
                <a:lnTo>
                  <a:pt x="5263273" y="675067"/>
                </a:lnTo>
                <a:lnTo>
                  <a:pt x="5264250" y="677665"/>
                </a:lnTo>
                <a:lnTo>
                  <a:pt x="5260018" y="680805"/>
                </a:lnTo>
                <a:lnTo>
                  <a:pt x="5257197" y="679398"/>
                </a:lnTo>
                <a:lnTo>
                  <a:pt x="5252856" y="683945"/>
                </a:lnTo>
                <a:lnTo>
                  <a:pt x="5252639" y="680372"/>
                </a:lnTo>
                <a:lnTo>
                  <a:pt x="5255243" y="674959"/>
                </a:lnTo>
                <a:lnTo>
                  <a:pt x="5261755" y="670087"/>
                </a:lnTo>
                <a:close/>
                <a:moveTo>
                  <a:pt x="2938305" y="661641"/>
                </a:moveTo>
                <a:lnTo>
                  <a:pt x="2942754" y="664456"/>
                </a:lnTo>
                <a:lnTo>
                  <a:pt x="2944816" y="663049"/>
                </a:lnTo>
                <a:lnTo>
                  <a:pt x="2950676" y="664239"/>
                </a:lnTo>
                <a:lnTo>
                  <a:pt x="2954040" y="667704"/>
                </a:lnTo>
                <a:lnTo>
                  <a:pt x="2952737" y="670953"/>
                </a:lnTo>
                <a:lnTo>
                  <a:pt x="2951436" y="669112"/>
                </a:lnTo>
                <a:lnTo>
                  <a:pt x="2948180" y="667379"/>
                </a:lnTo>
                <a:lnTo>
                  <a:pt x="2940150" y="667812"/>
                </a:lnTo>
                <a:lnTo>
                  <a:pt x="2937762" y="666513"/>
                </a:lnTo>
                <a:lnTo>
                  <a:pt x="2934290" y="665863"/>
                </a:lnTo>
                <a:lnTo>
                  <a:pt x="2933422" y="663698"/>
                </a:lnTo>
                <a:lnTo>
                  <a:pt x="2935484" y="661857"/>
                </a:lnTo>
                <a:close/>
                <a:moveTo>
                  <a:pt x="1362752" y="653737"/>
                </a:moveTo>
                <a:lnTo>
                  <a:pt x="1369045" y="659800"/>
                </a:lnTo>
                <a:lnTo>
                  <a:pt x="1374146" y="659800"/>
                </a:lnTo>
                <a:lnTo>
                  <a:pt x="1374146" y="667163"/>
                </a:lnTo>
                <a:lnTo>
                  <a:pt x="1376967" y="675066"/>
                </a:lnTo>
                <a:lnTo>
                  <a:pt x="1374363" y="679181"/>
                </a:lnTo>
                <a:lnTo>
                  <a:pt x="1367635" y="670844"/>
                </a:lnTo>
                <a:lnTo>
                  <a:pt x="1362643" y="666838"/>
                </a:lnTo>
                <a:lnTo>
                  <a:pt x="1362643" y="664131"/>
                </a:lnTo>
                <a:lnTo>
                  <a:pt x="1368828" y="664997"/>
                </a:lnTo>
                <a:lnTo>
                  <a:pt x="1360039" y="657527"/>
                </a:lnTo>
                <a:lnTo>
                  <a:pt x="1360039" y="654278"/>
                </a:lnTo>
                <a:close/>
                <a:moveTo>
                  <a:pt x="2935375" y="644534"/>
                </a:moveTo>
                <a:lnTo>
                  <a:pt x="2937111" y="646266"/>
                </a:lnTo>
                <a:lnTo>
                  <a:pt x="2934832" y="649189"/>
                </a:lnTo>
                <a:lnTo>
                  <a:pt x="2933096" y="648215"/>
                </a:lnTo>
                <a:lnTo>
                  <a:pt x="2933964" y="645075"/>
                </a:lnTo>
                <a:close/>
                <a:moveTo>
                  <a:pt x="1608650" y="643235"/>
                </a:moveTo>
                <a:lnTo>
                  <a:pt x="1613967" y="643884"/>
                </a:lnTo>
                <a:lnTo>
                  <a:pt x="1611689" y="645076"/>
                </a:lnTo>
                <a:lnTo>
                  <a:pt x="1611797" y="647241"/>
                </a:lnTo>
                <a:lnTo>
                  <a:pt x="1609627" y="648325"/>
                </a:lnTo>
                <a:lnTo>
                  <a:pt x="1606697" y="645833"/>
                </a:lnTo>
                <a:close/>
                <a:moveTo>
                  <a:pt x="1367417" y="637713"/>
                </a:moveTo>
                <a:lnTo>
                  <a:pt x="1367417" y="647349"/>
                </a:lnTo>
                <a:lnTo>
                  <a:pt x="1365898" y="651680"/>
                </a:lnTo>
                <a:lnTo>
                  <a:pt x="1361449" y="649514"/>
                </a:lnTo>
                <a:lnTo>
                  <a:pt x="1359713" y="647998"/>
                </a:lnTo>
                <a:lnTo>
                  <a:pt x="1361558" y="646482"/>
                </a:lnTo>
                <a:lnTo>
                  <a:pt x="1362426" y="642152"/>
                </a:lnTo>
                <a:close/>
                <a:moveTo>
                  <a:pt x="2518454" y="636522"/>
                </a:moveTo>
                <a:lnTo>
                  <a:pt x="2521493" y="639446"/>
                </a:lnTo>
                <a:lnTo>
                  <a:pt x="2522578" y="643343"/>
                </a:lnTo>
                <a:lnTo>
                  <a:pt x="2531693" y="646483"/>
                </a:lnTo>
                <a:lnTo>
                  <a:pt x="2535166" y="650056"/>
                </a:lnTo>
                <a:lnTo>
                  <a:pt x="2540483" y="651463"/>
                </a:lnTo>
                <a:lnTo>
                  <a:pt x="2542328" y="649514"/>
                </a:lnTo>
                <a:lnTo>
                  <a:pt x="2551009" y="652438"/>
                </a:lnTo>
                <a:lnTo>
                  <a:pt x="2557846" y="652329"/>
                </a:lnTo>
                <a:lnTo>
                  <a:pt x="2560884" y="654495"/>
                </a:lnTo>
                <a:lnTo>
                  <a:pt x="2561969" y="658825"/>
                </a:lnTo>
                <a:lnTo>
                  <a:pt x="2568697" y="662940"/>
                </a:lnTo>
                <a:lnTo>
                  <a:pt x="2570976" y="667812"/>
                </a:lnTo>
                <a:lnTo>
                  <a:pt x="2569132" y="672901"/>
                </a:lnTo>
                <a:lnTo>
                  <a:pt x="2569457" y="675824"/>
                </a:lnTo>
                <a:lnTo>
                  <a:pt x="2573364" y="678747"/>
                </a:lnTo>
                <a:lnTo>
                  <a:pt x="2572387" y="681346"/>
                </a:lnTo>
                <a:lnTo>
                  <a:pt x="2573364" y="685460"/>
                </a:lnTo>
                <a:lnTo>
                  <a:pt x="2573038" y="688383"/>
                </a:lnTo>
                <a:lnTo>
                  <a:pt x="2575426" y="693688"/>
                </a:lnTo>
                <a:lnTo>
                  <a:pt x="2574558" y="697153"/>
                </a:lnTo>
                <a:lnTo>
                  <a:pt x="2572387" y="700401"/>
                </a:lnTo>
                <a:lnTo>
                  <a:pt x="2578247" y="702133"/>
                </a:lnTo>
                <a:lnTo>
                  <a:pt x="2578247" y="704515"/>
                </a:lnTo>
                <a:lnTo>
                  <a:pt x="2575317" y="706789"/>
                </a:lnTo>
                <a:lnTo>
                  <a:pt x="2573798" y="709388"/>
                </a:lnTo>
                <a:lnTo>
                  <a:pt x="2564791" y="707439"/>
                </a:lnTo>
                <a:lnTo>
                  <a:pt x="2563380" y="705706"/>
                </a:lnTo>
                <a:lnTo>
                  <a:pt x="2554590" y="703649"/>
                </a:lnTo>
                <a:lnTo>
                  <a:pt x="2551877" y="701267"/>
                </a:lnTo>
                <a:lnTo>
                  <a:pt x="2545692" y="700076"/>
                </a:lnTo>
                <a:lnTo>
                  <a:pt x="2543304" y="700076"/>
                </a:lnTo>
                <a:lnTo>
                  <a:pt x="2539506" y="697694"/>
                </a:lnTo>
                <a:lnTo>
                  <a:pt x="2532778" y="699751"/>
                </a:lnTo>
                <a:lnTo>
                  <a:pt x="2528546" y="700076"/>
                </a:lnTo>
                <a:lnTo>
                  <a:pt x="2523988" y="704407"/>
                </a:lnTo>
                <a:lnTo>
                  <a:pt x="2521384" y="704949"/>
                </a:lnTo>
                <a:lnTo>
                  <a:pt x="2514981" y="701592"/>
                </a:lnTo>
                <a:lnTo>
                  <a:pt x="2509989" y="700293"/>
                </a:lnTo>
                <a:lnTo>
                  <a:pt x="2507927" y="694555"/>
                </a:lnTo>
                <a:lnTo>
                  <a:pt x="2504998" y="693039"/>
                </a:lnTo>
                <a:lnTo>
                  <a:pt x="2502936" y="688600"/>
                </a:lnTo>
                <a:lnTo>
                  <a:pt x="2504455" y="682537"/>
                </a:lnTo>
                <a:lnTo>
                  <a:pt x="2509339" y="679613"/>
                </a:lnTo>
                <a:lnTo>
                  <a:pt x="2508796" y="676040"/>
                </a:lnTo>
                <a:lnTo>
                  <a:pt x="2511400" y="672792"/>
                </a:lnTo>
                <a:lnTo>
                  <a:pt x="2510532" y="669003"/>
                </a:lnTo>
                <a:lnTo>
                  <a:pt x="2506409" y="668245"/>
                </a:lnTo>
                <a:lnTo>
                  <a:pt x="2501851" y="664672"/>
                </a:lnTo>
                <a:lnTo>
                  <a:pt x="2506409" y="654819"/>
                </a:lnTo>
                <a:lnTo>
                  <a:pt x="2509447" y="655361"/>
                </a:lnTo>
                <a:lnTo>
                  <a:pt x="2510857" y="652329"/>
                </a:lnTo>
                <a:lnTo>
                  <a:pt x="2509989" y="647782"/>
                </a:lnTo>
                <a:lnTo>
                  <a:pt x="2512702" y="644426"/>
                </a:lnTo>
                <a:lnTo>
                  <a:pt x="2514330" y="638039"/>
                </a:lnTo>
                <a:close/>
                <a:moveTo>
                  <a:pt x="1378160" y="630567"/>
                </a:moveTo>
                <a:lnTo>
                  <a:pt x="1380222" y="635764"/>
                </a:lnTo>
                <a:lnTo>
                  <a:pt x="1379571" y="647240"/>
                </a:lnTo>
                <a:lnTo>
                  <a:pt x="1377075" y="650813"/>
                </a:lnTo>
                <a:lnTo>
                  <a:pt x="1379137" y="654603"/>
                </a:lnTo>
                <a:lnTo>
                  <a:pt x="1372844" y="657959"/>
                </a:lnTo>
                <a:lnTo>
                  <a:pt x="1366984" y="654928"/>
                </a:lnTo>
                <a:lnTo>
                  <a:pt x="1370022" y="653303"/>
                </a:lnTo>
                <a:lnTo>
                  <a:pt x="1371650" y="650164"/>
                </a:lnTo>
                <a:lnTo>
                  <a:pt x="1369371" y="645075"/>
                </a:lnTo>
                <a:lnTo>
                  <a:pt x="1369697" y="636089"/>
                </a:lnTo>
                <a:lnTo>
                  <a:pt x="1372409" y="633165"/>
                </a:lnTo>
                <a:lnTo>
                  <a:pt x="1374905" y="634898"/>
                </a:lnTo>
                <a:lnTo>
                  <a:pt x="1375557" y="631759"/>
                </a:lnTo>
                <a:close/>
                <a:moveTo>
                  <a:pt x="2211677" y="622123"/>
                </a:moveTo>
                <a:lnTo>
                  <a:pt x="2209507" y="627969"/>
                </a:lnTo>
                <a:lnTo>
                  <a:pt x="2207337" y="629701"/>
                </a:lnTo>
                <a:lnTo>
                  <a:pt x="2204407" y="628401"/>
                </a:lnTo>
                <a:lnTo>
                  <a:pt x="2204732" y="625262"/>
                </a:lnTo>
                <a:lnTo>
                  <a:pt x="2208205" y="622339"/>
                </a:lnTo>
                <a:close/>
                <a:moveTo>
                  <a:pt x="3585281" y="622015"/>
                </a:moveTo>
                <a:lnTo>
                  <a:pt x="3589296" y="622772"/>
                </a:lnTo>
                <a:lnTo>
                  <a:pt x="3591466" y="625479"/>
                </a:lnTo>
                <a:lnTo>
                  <a:pt x="3588862" y="628294"/>
                </a:lnTo>
                <a:lnTo>
                  <a:pt x="3584087" y="628403"/>
                </a:lnTo>
                <a:lnTo>
                  <a:pt x="3582351" y="627103"/>
                </a:lnTo>
                <a:lnTo>
                  <a:pt x="3583653" y="623639"/>
                </a:lnTo>
                <a:close/>
                <a:moveTo>
                  <a:pt x="1393027" y="619091"/>
                </a:moveTo>
                <a:lnTo>
                  <a:pt x="1394329" y="621473"/>
                </a:lnTo>
                <a:lnTo>
                  <a:pt x="1391725" y="622556"/>
                </a:lnTo>
                <a:lnTo>
                  <a:pt x="1390640" y="620282"/>
                </a:lnTo>
                <a:close/>
                <a:moveTo>
                  <a:pt x="1413321" y="618225"/>
                </a:moveTo>
                <a:lnTo>
                  <a:pt x="1414298" y="626453"/>
                </a:lnTo>
                <a:lnTo>
                  <a:pt x="1416902" y="628510"/>
                </a:lnTo>
                <a:lnTo>
                  <a:pt x="1419832" y="626995"/>
                </a:lnTo>
                <a:lnTo>
                  <a:pt x="1416793" y="632841"/>
                </a:lnTo>
                <a:lnTo>
                  <a:pt x="1409632" y="636631"/>
                </a:lnTo>
                <a:lnTo>
                  <a:pt x="1393680" y="649839"/>
                </a:lnTo>
                <a:lnTo>
                  <a:pt x="1389556" y="650164"/>
                </a:lnTo>
                <a:lnTo>
                  <a:pt x="1386300" y="652979"/>
                </a:lnTo>
                <a:lnTo>
                  <a:pt x="1381634" y="652762"/>
                </a:lnTo>
                <a:lnTo>
                  <a:pt x="1380766" y="648432"/>
                </a:lnTo>
                <a:lnTo>
                  <a:pt x="1383479" y="644534"/>
                </a:lnTo>
                <a:lnTo>
                  <a:pt x="1383153" y="637064"/>
                </a:lnTo>
                <a:lnTo>
                  <a:pt x="1385757" y="634032"/>
                </a:lnTo>
                <a:lnTo>
                  <a:pt x="1387928" y="628835"/>
                </a:lnTo>
                <a:lnTo>
                  <a:pt x="1389664" y="629918"/>
                </a:lnTo>
                <a:lnTo>
                  <a:pt x="1392594" y="626237"/>
                </a:lnTo>
                <a:lnTo>
                  <a:pt x="1395524" y="629052"/>
                </a:lnTo>
                <a:lnTo>
                  <a:pt x="1393680" y="631434"/>
                </a:lnTo>
                <a:lnTo>
                  <a:pt x="1395850" y="635548"/>
                </a:lnTo>
                <a:lnTo>
                  <a:pt x="1397586" y="631434"/>
                </a:lnTo>
                <a:lnTo>
                  <a:pt x="1399323" y="629918"/>
                </a:lnTo>
                <a:lnTo>
                  <a:pt x="1403121" y="630243"/>
                </a:lnTo>
                <a:lnTo>
                  <a:pt x="1402252" y="626453"/>
                </a:lnTo>
                <a:lnTo>
                  <a:pt x="1406919" y="624613"/>
                </a:lnTo>
                <a:lnTo>
                  <a:pt x="1409848" y="618766"/>
                </a:lnTo>
                <a:close/>
                <a:moveTo>
                  <a:pt x="5398811" y="617793"/>
                </a:moveTo>
                <a:lnTo>
                  <a:pt x="5403585" y="620282"/>
                </a:lnTo>
                <a:lnTo>
                  <a:pt x="5401415" y="621798"/>
                </a:lnTo>
                <a:lnTo>
                  <a:pt x="5394687" y="621474"/>
                </a:lnTo>
                <a:lnTo>
                  <a:pt x="5392951" y="620066"/>
                </a:lnTo>
                <a:close/>
                <a:moveTo>
                  <a:pt x="5367666" y="614869"/>
                </a:moveTo>
                <a:lnTo>
                  <a:pt x="5369620" y="617035"/>
                </a:lnTo>
                <a:lnTo>
                  <a:pt x="5365930" y="622448"/>
                </a:lnTo>
                <a:lnTo>
                  <a:pt x="5362349" y="621798"/>
                </a:lnTo>
                <a:lnTo>
                  <a:pt x="5360613" y="617900"/>
                </a:lnTo>
                <a:lnTo>
                  <a:pt x="5363651" y="615193"/>
                </a:lnTo>
                <a:close/>
                <a:moveTo>
                  <a:pt x="3581050" y="614544"/>
                </a:moveTo>
                <a:lnTo>
                  <a:pt x="3582786" y="617901"/>
                </a:lnTo>
                <a:lnTo>
                  <a:pt x="3580073" y="619199"/>
                </a:lnTo>
                <a:lnTo>
                  <a:pt x="3577794" y="615952"/>
                </a:lnTo>
                <a:lnTo>
                  <a:pt x="3578987" y="614761"/>
                </a:lnTo>
                <a:close/>
                <a:moveTo>
                  <a:pt x="3619464" y="612162"/>
                </a:moveTo>
                <a:lnTo>
                  <a:pt x="3621634" y="614653"/>
                </a:lnTo>
                <a:lnTo>
                  <a:pt x="3622611" y="618442"/>
                </a:lnTo>
                <a:lnTo>
                  <a:pt x="3621091" y="623423"/>
                </a:lnTo>
                <a:lnTo>
                  <a:pt x="3621959" y="632626"/>
                </a:lnTo>
                <a:lnTo>
                  <a:pt x="3624781" y="637715"/>
                </a:lnTo>
                <a:lnTo>
                  <a:pt x="3625432" y="644535"/>
                </a:lnTo>
                <a:lnTo>
                  <a:pt x="3623262" y="646700"/>
                </a:lnTo>
                <a:lnTo>
                  <a:pt x="3622502" y="653413"/>
                </a:lnTo>
                <a:lnTo>
                  <a:pt x="3620658" y="655904"/>
                </a:lnTo>
                <a:lnTo>
                  <a:pt x="3618921" y="653629"/>
                </a:lnTo>
                <a:lnTo>
                  <a:pt x="3619030" y="648324"/>
                </a:lnTo>
                <a:lnTo>
                  <a:pt x="3620658" y="643235"/>
                </a:lnTo>
                <a:lnTo>
                  <a:pt x="3620332" y="635766"/>
                </a:lnTo>
                <a:lnTo>
                  <a:pt x="3617402" y="630461"/>
                </a:lnTo>
                <a:lnTo>
                  <a:pt x="3617510" y="624289"/>
                </a:lnTo>
                <a:lnTo>
                  <a:pt x="3619572" y="622015"/>
                </a:lnTo>
                <a:lnTo>
                  <a:pt x="3619030" y="619199"/>
                </a:lnTo>
                <a:lnTo>
                  <a:pt x="3616425" y="616926"/>
                </a:lnTo>
                <a:lnTo>
                  <a:pt x="3615883" y="615086"/>
                </a:lnTo>
                <a:close/>
                <a:moveTo>
                  <a:pt x="5379061" y="611838"/>
                </a:moveTo>
                <a:lnTo>
                  <a:pt x="5384271" y="612596"/>
                </a:lnTo>
                <a:lnTo>
                  <a:pt x="5383294" y="615736"/>
                </a:lnTo>
                <a:lnTo>
                  <a:pt x="5380146" y="618660"/>
                </a:lnTo>
                <a:lnTo>
                  <a:pt x="5375046" y="617037"/>
                </a:lnTo>
                <a:lnTo>
                  <a:pt x="5373310" y="614871"/>
                </a:lnTo>
                <a:lnTo>
                  <a:pt x="5377000" y="613464"/>
                </a:lnTo>
                <a:close/>
                <a:moveTo>
                  <a:pt x="1395415" y="611404"/>
                </a:moveTo>
                <a:lnTo>
                  <a:pt x="1397477" y="612054"/>
                </a:lnTo>
                <a:lnTo>
                  <a:pt x="1394981" y="615843"/>
                </a:lnTo>
                <a:lnTo>
                  <a:pt x="1392594" y="614435"/>
                </a:lnTo>
                <a:close/>
                <a:moveTo>
                  <a:pt x="2405597" y="611079"/>
                </a:moveTo>
                <a:lnTo>
                  <a:pt x="2411782" y="612271"/>
                </a:lnTo>
                <a:lnTo>
                  <a:pt x="2415364" y="611079"/>
                </a:lnTo>
                <a:lnTo>
                  <a:pt x="2417968" y="612053"/>
                </a:lnTo>
                <a:lnTo>
                  <a:pt x="2425564" y="612271"/>
                </a:lnTo>
                <a:lnTo>
                  <a:pt x="2430556" y="615735"/>
                </a:lnTo>
                <a:lnTo>
                  <a:pt x="2440540" y="620499"/>
                </a:lnTo>
                <a:lnTo>
                  <a:pt x="2441299" y="623422"/>
                </a:lnTo>
                <a:lnTo>
                  <a:pt x="2439997" y="627212"/>
                </a:lnTo>
                <a:lnTo>
                  <a:pt x="2434029" y="629810"/>
                </a:lnTo>
                <a:lnTo>
                  <a:pt x="2426215" y="632842"/>
                </a:lnTo>
                <a:lnTo>
                  <a:pt x="2421658" y="632734"/>
                </a:lnTo>
                <a:lnTo>
                  <a:pt x="2419378" y="636307"/>
                </a:lnTo>
                <a:lnTo>
                  <a:pt x="2415364" y="641287"/>
                </a:lnTo>
                <a:lnTo>
                  <a:pt x="2410263" y="642694"/>
                </a:lnTo>
                <a:lnTo>
                  <a:pt x="2401473" y="651139"/>
                </a:lnTo>
                <a:lnTo>
                  <a:pt x="2393009" y="661533"/>
                </a:lnTo>
                <a:lnTo>
                  <a:pt x="2385956" y="666189"/>
                </a:lnTo>
                <a:lnTo>
                  <a:pt x="2383243" y="667596"/>
                </a:lnTo>
                <a:lnTo>
                  <a:pt x="2378685" y="676691"/>
                </a:lnTo>
                <a:lnTo>
                  <a:pt x="2378034" y="682213"/>
                </a:lnTo>
                <a:lnTo>
                  <a:pt x="2379878" y="686868"/>
                </a:lnTo>
                <a:lnTo>
                  <a:pt x="2382483" y="690117"/>
                </a:lnTo>
                <a:lnTo>
                  <a:pt x="2382483" y="694231"/>
                </a:lnTo>
                <a:lnTo>
                  <a:pt x="2378577" y="696288"/>
                </a:lnTo>
                <a:lnTo>
                  <a:pt x="2375104" y="700943"/>
                </a:lnTo>
                <a:lnTo>
                  <a:pt x="2370763" y="705708"/>
                </a:lnTo>
                <a:lnTo>
                  <a:pt x="2370438" y="710580"/>
                </a:lnTo>
                <a:lnTo>
                  <a:pt x="2367508" y="716643"/>
                </a:lnTo>
                <a:lnTo>
                  <a:pt x="2365120" y="718267"/>
                </a:lnTo>
                <a:lnTo>
                  <a:pt x="2364795" y="721948"/>
                </a:lnTo>
                <a:lnTo>
                  <a:pt x="2366965" y="726063"/>
                </a:lnTo>
                <a:lnTo>
                  <a:pt x="2368050" y="732883"/>
                </a:lnTo>
                <a:lnTo>
                  <a:pt x="2369786" y="736023"/>
                </a:lnTo>
                <a:lnTo>
                  <a:pt x="2369786" y="742195"/>
                </a:lnTo>
                <a:lnTo>
                  <a:pt x="2373910" y="747716"/>
                </a:lnTo>
                <a:lnTo>
                  <a:pt x="2374778" y="750098"/>
                </a:lnTo>
                <a:lnTo>
                  <a:pt x="2379227" y="752697"/>
                </a:lnTo>
                <a:lnTo>
                  <a:pt x="2379227" y="757461"/>
                </a:lnTo>
                <a:lnTo>
                  <a:pt x="2377274" y="761791"/>
                </a:lnTo>
                <a:lnTo>
                  <a:pt x="2375755" y="757894"/>
                </a:lnTo>
                <a:lnTo>
                  <a:pt x="2373367" y="757894"/>
                </a:lnTo>
                <a:lnTo>
                  <a:pt x="2373042" y="760059"/>
                </a:lnTo>
                <a:lnTo>
                  <a:pt x="2370112" y="760384"/>
                </a:lnTo>
                <a:lnTo>
                  <a:pt x="2366965" y="761575"/>
                </a:lnTo>
                <a:lnTo>
                  <a:pt x="2364686" y="762549"/>
                </a:lnTo>
                <a:lnTo>
                  <a:pt x="2366423" y="763740"/>
                </a:lnTo>
                <a:lnTo>
                  <a:pt x="2369461" y="767313"/>
                </a:lnTo>
                <a:lnTo>
                  <a:pt x="2372825" y="766881"/>
                </a:lnTo>
                <a:lnTo>
                  <a:pt x="2373693" y="765906"/>
                </a:lnTo>
                <a:lnTo>
                  <a:pt x="2375321" y="767638"/>
                </a:lnTo>
                <a:lnTo>
                  <a:pt x="2371631" y="771211"/>
                </a:lnTo>
                <a:lnTo>
                  <a:pt x="2369895" y="778032"/>
                </a:lnTo>
                <a:lnTo>
                  <a:pt x="2369786" y="782471"/>
                </a:lnTo>
                <a:lnTo>
                  <a:pt x="2368593" y="785070"/>
                </a:lnTo>
                <a:lnTo>
                  <a:pt x="2374452" y="779332"/>
                </a:lnTo>
                <a:lnTo>
                  <a:pt x="2374452" y="776191"/>
                </a:lnTo>
                <a:lnTo>
                  <a:pt x="2379445" y="767422"/>
                </a:lnTo>
                <a:lnTo>
                  <a:pt x="2381723" y="765256"/>
                </a:lnTo>
                <a:lnTo>
                  <a:pt x="2383025" y="756595"/>
                </a:lnTo>
                <a:lnTo>
                  <a:pt x="2385088" y="753563"/>
                </a:lnTo>
                <a:lnTo>
                  <a:pt x="2389211" y="750748"/>
                </a:lnTo>
                <a:lnTo>
                  <a:pt x="2389211" y="746309"/>
                </a:lnTo>
                <a:lnTo>
                  <a:pt x="2387909" y="743385"/>
                </a:lnTo>
                <a:lnTo>
                  <a:pt x="2388777" y="740354"/>
                </a:lnTo>
                <a:lnTo>
                  <a:pt x="2385738" y="738189"/>
                </a:lnTo>
                <a:lnTo>
                  <a:pt x="2382808" y="737539"/>
                </a:lnTo>
                <a:lnTo>
                  <a:pt x="2382591" y="731584"/>
                </a:lnTo>
                <a:lnTo>
                  <a:pt x="2381615" y="730177"/>
                </a:lnTo>
                <a:lnTo>
                  <a:pt x="2381289" y="724222"/>
                </a:lnTo>
                <a:lnTo>
                  <a:pt x="2378794" y="719458"/>
                </a:lnTo>
                <a:lnTo>
                  <a:pt x="2378142" y="714802"/>
                </a:lnTo>
                <a:lnTo>
                  <a:pt x="2380204" y="713611"/>
                </a:lnTo>
                <a:lnTo>
                  <a:pt x="2381723" y="717076"/>
                </a:lnTo>
                <a:lnTo>
                  <a:pt x="2383893" y="715127"/>
                </a:lnTo>
                <a:lnTo>
                  <a:pt x="2388777" y="713719"/>
                </a:lnTo>
                <a:lnTo>
                  <a:pt x="2391381" y="710255"/>
                </a:lnTo>
                <a:lnTo>
                  <a:pt x="2390404" y="707223"/>
                </a:lnTo>
                <a:lnTo>
                  <a:pt x="2392900" y="703217"/>
                </a:lnTo>
                <a:lnTo>
                  <a:pt x="2396482" y="704408"/>
                </a:lnTo>
                <a:lnTo>
                  <a:pt x="2399412" y="710580"/>
                </a:lnTo>
                <a:lnTo>
                  <a:pt x="2398218" y="713286"/>
                </a:lnTo>
                <a:lnTo>
                  <a:pt x="2400388" y="715019"/>
                </a:lnTo>
                <a:lnTo>
                  <a:pt x="2403535" y="711445"/>
                </a:lnTo>
                <a:lnTo>
                  <a:pt x="2403535" y="707115"/>
                </a:lnTo>
                <a:lnTo>
                  <a:pt x="2406791" y="703217"/>
                </a:lnTo>
                <a:lnTo>
                  <a:pt x="2409938" y="703217"/>
                </a:lnTo>
                <a:lnTo>
                  <a:pt x="2409395" y="700619"/>
                </a:lnTo>
                <a:lnTo>
                  <a:pt x="2411240" y="698994"/>
                </a:lnTo>
                <a:lnTo>
                  <a:pt x="2415580" y="697696"/>
                </a:lnTo>
                <a:lnTo>
                  <a:pt x="2414061" y="695097"/>
                </a:lnTo>
                <a:lnTo>
                  <a:pt x="2410806" y="694555"/>
                </a:lnTo>
                <a:lnTo>
                  <a:pt x="2402993" y="700077"/>
                </a:lnTo>
                <a:lnTo>
                  <a:pt x="2399737" y="699861"/>
                </a:lnTo>
                <a:lnTo>
                  <a:pt x="2398327" y="695313"/>
                </a:lnTo>
                <a:lnTo>
                  <a:pt x="2395830" y="692715"/>
                </a:lnTo>
                <a:lnTo>
                  <a:pt x="2396156" y="689900"/>
                </a:lnTo>
                <a:lnTo>
                  <a:pt x="2401148" y="688168"/>
                </a:lnTo>
                <a:lnTo>
                  <a:pt x="2398218" y="684270"/>
                </a:lnTo>
                <a:lnTo>
                  <a:pt x="2399954" y="677774"/>
                </a:lnTo>
                <a:lnTo>
                  <a:pt x="2403318" y="671386"/>
                </a:lnTo>
                <a:lnTo>
                  <a:pt x="2403861" y="667813"/>
                </a:lnTo>
                <a:lnTo>
                  <a:pt x="2407442" y="664131"/>
                </a:lnTo>
                <a:lnTo>
                  <a:pt x="2413193" y="664673"/>
                </a:lnTo>
                <a:lnTo>
                  <a:pt x="2417100" y="669004"/>
                </a:lnTo>
                <a:lnTo>
                  <a:pt x="2417642" y="672035"/>
                </a:lnTo>
                <a:lnTo>
                  <a:pt x="2424045" y="675500"/>
                </a:lnTo>
                <a:lnTo>
                  <a:pt x="2426974" y="679831"/>
                </a:lnTo>
                <a:lnTo>
                  <a:pt x="2431424" y="680156"/>
                </a:lnTo>
                <a:lnTo>
                  <a:pt x="2427843" y="677233"/>
                </a:lnTo>
                <a:lnTo>
                  <a:pt x="2426974" y="673768"/>
                </a:lnTo>
                <a:lnTo>
                  <a:pt x="2420247" y="669329"/>
                </a:lnTo>
                <a:lnTo>
                  <a:pt x="2419053" y="664564"/>
                </a:lnTo>
                <a:lnTo>
                  <a:pt x="2417859" y="661966"/>
                </a:lnTo>
                <a:lnTo>
                  <a:pt x="2412759" y="661966"/>
                </a:lnTo>
                <a:lnTo>
                  <a:pt x="2410806" y="659692"/>
                </a:lnTo>
                <a:lnTo>
                  <a:pt x="2412325" y="659043"/>
                </a:lnTo>
                <a:lnTo>
                  <a:pt x="2420355" y="658501"/>
                </a:lnTo>
                <a:lnTo>
                  <a:pt x="2421766" y="656228"/>
                </a:lnTo>
                <a:lnTo>
                  <a:pt x="2423828" y="656228"/>
                </a:lnTo>
                <a:lnTo>
                  <a:pt x="2431207" y="664348"/>
                </a:lnTo>
                <a:lnTo>
                  <a:pt x="2437610" y="667921"/>
                </a:lnTo>
                <a:lnTo>
                  <a:pt x="2439888" y="667813"/>
                </a:lnTo>
                <a:lnTo>
                  <a:pt x="2434029" y="664348"/>
                </a:lnTo>
                <a:lnTo>
                  <a:pt x="2429904" y="657419"/>
                </a:lnTo>
                <a:lnTo>
                  <a:pt x="2424370" y="653521"/>
                </a:lnTo>
                <a:lnTo>
                  <a:pt x="2424153" y="650597"/>
                </a:lnTo>
                <a:lnTo>
                  <a:pt x="2426106" y="646267"/>
                </a:lnTo>
                <a:lnTo>
                  <a:pt x="2432943" y="644860"/>
                </a:lnTo>
                <a:lnTo>
                  <a:pt x="2435439" y="645942"/>
                </a:lnTo>
                <a:lnTo>
                  <a:pt x="2434679" y="650056"/>
                </a:lnTo>
                <a:lnTo>
                  <a:pt x="2435439" y="653305"/>
                </a:lnTo>
                <a:lnTo>
                  <a:pt x="2437501" y="651247"/>
                </a:lnTo>
                <a:lnTo>
                  <a:pt x="2437284" y="647999"/>
                </a:lnTo>
                <a:lnTo>
                  <a:pt x="2439997" y="644534"/>
                </a:lnTo>
                <a:lnTo>
                  <a:pt x="2445423" y="644534"/>
                </a:lnTo>
                <a:lnTo>
                  <a:pt x="2447919" y="649731"/>
                </a:lnTo>
                <a:lnTo>
                  <a:pt x="2450089" y="651464"/>
                </a:lnTo>
                <a:lnTo>
                  <a:pt x="2451717" y="657419"/>
                </a:lnTo>
                <a:lnTo>
                  <a:pt x="2453995" y="654821"/>
                </a:lnTo>
                <a:lnTo>
                  <a:pt x="2453995" y="651247"/>
                </a:lnTo>
                <a:lnTo>
                  <a:pt x="2449546" y="645942"/>
                </a:lnTo>
                <a:lnTo>
                  <a:pt x="2450849" y="643235"/>
                </a:lnTo>
                <a:lnTo>
                  <a:pt x="2462785" y="640420"/>
                </a:lnTo>
                <a:lnTo>
                  <a:pt x="2469730" y="637389"/>
                </a:lnTo>
                <a:lnTo>
                  <a:pt x="2475590" y="636848"/>
                </a:lnTo>
                <a:lnTo>
                  <a:pt x="2480908" y="633058"/>
                </a:lnTo>
                <a:lnTo>
                  <a:pt x="2487744" y="635440"/>
                </a:lnTo>
                <a:lnTo>
                  <a:pt x="2495340" y="635765"/>
                </a:lnTo>
                <a:lnTo>
                  <a:pt x="2502611" y="637497"/>
                </a:lnTo>
                <a:lnTo>
                  <a:pt x="2503262" y="640312"/>
                </a:lnTo>
                <a:lnTo>
                  <a:pt x="2501851" y="642153"/>
                </a:lnTo>
                <a:lnTo>
                  <a:pt x="2500983" y="652546"/>
                </a:lnTo>
                <a:lnTo>
                  <a:pt x="2499790" y="655362"/>
                </a:lnTo>
                <a:lnTo>
                  <a:pt x="2496751" y="658935"/>
                </a:lnTo>
                <a:lnTo>
                  <a:pt x="2493495" y="664889"/>
                </a:lnTo>
                <a:lnTo>
                  <a:pt x="2494689" y="667380"/>
                </a:lnTo>
                <a:lnTo>
                  <a:pt x="2498921" y="669329"/>
                </a:lnTo>
                <a:lnTo>
                  <a:pt x="2500658" y="673118"/>
                </a:lnTo>
                <a:lnTo>
                  <a:pt x="2499790" y="675608"/>
                </a:lnTo>
                <a:lnTo>
                  <a:pt x="2493278" y="682862"/>
                </a:lnTo>
                <a:lnTo>
                  <a:pt x="2492085" y="685786"/>
                </a:lnTo>
                <a:lnTo>
                  <a:pt x="2491542" y="690441"/>
                </a:lnTo>
                <a:lnTo>
                  <a:pt x="2495340" y="693906"/>
                </a:lnTo>
                <a:lnTo>
                  <a:pt x="2495232" y="696180"/>
                </a:lnTo>
                <a:lnTo>
                  <a:pt x="2492085" y="701160"/>
                </a:lnTo>
                <a:lnTo>
                  <a:pt x="2488395" y="701484"/>
                </a:lnTo>
                <a:lnTo>
                  <a:pt x="2485139" y="705274"/>
                </a:lnTo>
                <a:lnTo>
                  <a:pt x="2481016" y="706465"/>
                </a:lnTo>
                <a:lnTo>
                  <a:pt x="2477760" y="709497"/>
                </a:lnTo>
                <a:lnTo>
                  <a:pt x="2474830" y="713719"/>
                </a:lnTo>
                <a:lnTo>
                  <a:pt x="2471792" y="717292"/>
                </a:lnTo>
                <a:lnTo>
                  <a:pt x="2475047" y="716967"/>
                </a:lnTo>
                <a:lnTo>
                  <a:pt x="2480040" y="711987"/>
                </a:lnTo>
                <a:lnTo>
                  <a:pt x="2486008" y="707331"/>
                </a:lnTo>
                <a:lnTo>
                  <a:pt x="2488395" y="707439"/>
                </a:lnTo>
                <a:lnTo>
                  <a:pt x="2490565" y="707115"/>
                </a:lnTo>
                <a:lnTo>
                  <a:pt x="2487419" y="710580"/>
                </a:lnTo>
                <a:lnTo>
                  <a:pt x="2486442" y="714044"/>
                </a:lnTo>
                <a:lnTo>
                  <a:pt x="2479714" y="720216"/>
                </a:lnTo>
                <a:lnTo>
                  <a:pt x="2475156" y="722381"/>
                </a:lnTo>
                <a:lnTo>
                  <a:pt x="2474830" y="724114"/>
                </a:lnTo>
                <a:lnTo>
                  <a:pt x="2475156" y="726387"/>
                </a:lnTo>
                <a:lnTo>
                  <a:pt x="2474505" y="728769"/>
                </a:lnTo>
                <a:lnTo>
                  <a:pt x="2472117" y="727470"/>
                </a:lnTo>
                <a:lnTo>
                  <a:pt x="2468971" y="727794"/>
                </a:lnTo>
                <a:lnTo>
                  <a:pt x="2469187" y="730285"/>
                </a:lnTo>
                <a:lnTo>
                  <a:pt x="2471249" y="730502"/>
                </a:lnTo>
                <a:lnTo>
                  <a:pt x="2473094" y="732559"/>
                </a:lnTo>
                <a:lnTo>
                  <a:pt x="2472769" y="736240"/>
                </a:lnTo>
                <a:lnTo>
                  <a:pt x="2469079" y="738947"/>
                </a:lnTo>
                <a:lnTo>
                  <a:pt x="2472986" y="738947"/>
                </a:lnTo>
                <a:lnTo>
                  <a:pt x="2474939" y="736131"/>
                </a:lnTo>
                <a:lnTo>
                  <a:pt x="2478303" y="734941"/>
                </a:lnTo>
                <a:lnTo>
                  <a:pt x="2481341" y="730610"/>
                </a:lnTo>
                <a:lnTo>
                  <a:pt x="2481450" y="727253"/>
                </a:lnTo>
                <a:lnTo>
                  <a:pt x="2485791" y="725629"/>
                </a:lnTo>
                <a:lnTo>
                  <a:pt x="2487527" y="721731"/>
                </a:lnTo>
                <a:lnTo>
                  <a:pt x="2488938" y="722922"/>
                </a:lnTo>
                <a:lnTo>
                  <a:pt x="2488938" y="728986"/>
                </a:lnTo>
                <a:lnTo>
                  <a:pt x="2491651" y="730610"/>
                </a:lnTo>
                <a:lnTo>
                  <a:pt x="2491651" y="725304"/>
                </a:lnTo>
                <a:lnTo>
                  <a:pt x="2490457" y="720432"/>
                </a:lnTo>
                <a:lnTo>
                  <a:pt x="2491325" y="716967"/>
                </a:lnTo>
                <a:lnTo>
                  <a:pt x="2493495" y="715451"/>
                </a:lnTo>
                <a:lnTo>
                  <a:pt x="2497945" y="716643"/>
                </a:lnTo>
                <a:lnTo>
                  <a:pt x="2497293" y="721948"/>
                </a:lnTo>
                <a:lnTo>
                  <a:pt x="2498813" y="724547"/>
                </a:lnTo>
                <a:lnTo>
                  <a:pt x="2501200" y="722057"/>
                </a:lnTo>
                <a:lnTo>
                  <a:pt x="2506192" y="716967"/>
                </a:lnTo>
                <a:lnTo>
                  <a:pt x="2507603" y="721082"/>
                </a:lnTo>
                <a:lnTo>
                  <a:pt x="2510641" y="724547"/>
                </a:lnTo>
                <a:lnTo>
                  <a:pt x="2509339" y="728444"/>
                </a:lnTo>
                <a:lnTo>
                  <a:pt x="2503479" y="736565"/>
                </a:lnTo>
                <a:lnTo>
                  <a:pt x="2498813" y="740137"/>
                </a:lnTo>
                <a:lnTo>
                  <a:pt x="2496534" y="743385"/>
                </a:lnTo>
                <a:lnTo>
                  <a:pt x="2501091" y="744469"/>
                </a:lnTo>
                <a:lnTo>
                  <a:pt x="2505215" y="746526"/>
                </a:lnTo>
                <a:lnTo>
                  <a:pt x="2508254" y="744469"/>
                </a:lnTo>
                <a:lnTo>
                  <a:pt x="2505649" y="741328"/>
                </a:lnTo>
                <a:lnTo>
                  <a:pt x="2507711" y="736673"/>
                </a:lnTo>
                <a:lnTo>
                  <a:pt x="2511509" y="732234"/>
                </a:lnTo>
                <a:lnTo>
                  <a:pt x="2514873" y="738297"/>
                </a:lnTo>
                <a:lnTo>
                  <a:pt x="2514982" y="742520"/>
                </a:lnTo>
                <a:lnTo>
                  <a:pt x="2516175" y="739488"/>
                </a:lnTo>
                <a:lnTo>
                  <a:pt x="2515524" y="733641"/>
                </a:lnTo>
                <a:lnTo>
                  <a:pt x="2513137" y="729094"/>
                </a:lnTo>
                <a:lnTo>
                  <a:pt x="2512920" y="720324"/>
                </a:lnTo>
                <a:lnTo>
                  <a:pt x="2514873" y="719349"/>
                </a:lnTo>
                <a:lnTo>
                  <a:pt x="2519865" y="721623"/>
                </a:lnTo>
                <a:lnTo>
                  <a:pt x="2518780" y="726063"/>
                </a:lnTo>
                <a:lnTo>
                  <a:pt x="2517260" y="729635"/>
                </a:lnTo>
                <a:lnTo>
                  <a:pt x="2519865" y="728444"/>
                </a:lnTo>
                <a:lnTo>
                  <a:pt x="2523663" y="727794"/>
                </a:lnTo>
                <a:lnTo>
                  <a:pt x="2531367" y="735157"/>
                </a:lnTo>
                <a:lnTo>
                  <a:pt x="2531367" y="738297"/>
                </a:lnTo>
                <a:lnTo>
                  <a:pt x="2536685" y="738297"/>
                </a:lnTo>
                <a:lnTo>
                  <a:pt x="2540158" y="740354"/>
                </a:lnTo>
                <a:lnTo>
                  <a:pt x="2542328" y="740354"/>
                </a:lnTo>
                <a:lnTo>
                  <a:pt x="2540158" y="735482"/>
                </a:lnTo>
                <a:lnTo>
                  <a:pt x="2536902" y="734832"/>
                </a:lnTo>
                <a:lnTo>
                  <a:pt x="2535491" y="732559"/>
                </a:lnTo>
                <a:lnTo>
                  <a:pt x="2526919" y="724980"/>
                </a:lnTo>
                <a:lnTo>
                  <a:pt x="2523663" y="724005"/>
                </a:lnTo>
                <a:lnTo>
                  <a:pt x="2522035" y="721731"/>
                </a:lnTo>
                <a:lnTo>
                  <a:pt x="2526919" y="714586"/>
                </a:lnTo>
                <a:lnTo>
                  <a:pt x="2532236" y="714369"/>
                </a:lnTo>
                <a:lnTo>
                  <a:pt x="2536685" y="710255"/>
                </a:lnTo>
                <a:lnTo>
                  <a:pt x="2543739" y="708955"/>
                </a:lnTo>
                <a:lnTo>
                  <a:pt x="2549599" y="709497"/>
                </a:lnTo>
                <a:lnTo>
                  <a:pt x="2551660" y="711770"/>
                </a:lnTo>
                <a:lnTo>
                  <a:pt x="2553939" y="711445"/>
                </a:lnTo>
                <a:lnTo>
                  <a:pt x="2560450" y="714586"/>
                </a:lnTo>
                <a:lnTo>
                  <a:pt x="2560885" y="717400"/>
                </a:lnTo>
                <a:lnTo>
                  <a:pt x="2564574" y="720649"/>
                </a:lnTo>
                <a:lnTo>
                  <a:pt x="2567504" y="721948"/>
                </a:lnTo>
                <a:lnTo>
                  <a:pt x="2568046" y="725737"/>
                </a:lnTo>
                <a:lnTo>
                  <a:pt x="2570434" y="725521"/>
                </a:lnTo>
                <a:lnTo>
                  <a:pt x="2571519" y="723680"/>
                </a:lnTo>
                <a:lnTo>
                  <a:pt x="2575317" y="724330"/>
                </a:lnTo>
                <a:lnTo>
                  <a:pt x="2577053" y="728120"/>
                </a:lnTo>
                <a:lnTo>
                  <a:pt x="2582153" y="730502"/>
                </a:lnTo>
                <a:lnTo>
                  <a:pt x="2582371" y="733641"/>
                </a:lnTo>
                <a:lnTo>
                  <a:pt x="2582045" y="736889"/>
                </a:lnTo>
                <a:lnTo>
                  <a:pt x="2583239" y="739271"/>
                </a:lnTo>
                <a:lnTo>
                  <a:pt x="2583781" y="742411"/>
                </a:lnTo>
                <a:lnTo>
                  <a:pt x="2579658" y="747175"/>
                </a:lnTo>
                <a:lnTo>
                  <a:pt x="2575860" y="746526"/>
                </a:lnTo>
                <a:lnTo>
                  <a:pt x="2571519" y="745334"/>
                </a:lnTo>
                <a:lnTo>
                  <a:pt x="2564791" y="747175"/>
                </a:lnTo>
                <a:lnTo>
                  <a:pt x="2557520" y="753888"/>
                </a:lnTo>
                <a:lnTo>
                  <a:pt x="2565659" y="748691"/>
                </a:lnTo>
                <a:lnTo>
                  <a:pt x="2573364" y="748257"/>
                </a:lnTo>
                <a:lnTo>
                  <a:pt x="2574991" y="750640"/>
                </a:lnTo>
                <a:lnTo>
                  <a:pt x="2571627" y="753888"/>
                </a:lnTo>
                <a:lnTo>
                  <a:pt x="2566527" y="757136"/>
                </a:lnTo>
                <a:lnTo>
                  <a:pt x="2561210" y="764932"/>
                </a:lnTo>
                <a:lnTo>
                  <a:pt x="2557412" y="767855"/>
                </a:lnTo>
                <a:lnTo>
                  <a:pt x="2554807" y="768179"/>
                </a:lnTo>
                <a:lnTo>
                  <a:pt x="2554156" y="771752"/>
                </a:lnTo>
                <a:lnTo>
                  <a:pt x="2556543" y="772077"/>
                </a:lnTo>
                <a:lnTo>
                  <a:pt x="2565116" y="763307"/>
                </a:lnTo>
                <a:lnTo>
                  <a:pt x="2568697" y="757677"/>
                </a:lnTo>
                <a:lnTo>
                  <a:pt x="2574991" y="755404"/>
                </a:lnTo>
                <a:lnTo>
                  <a:pt x="2579983" y="750640"/>
                </a:lnTo>
                <a:lnTo>
                  <a:pt x="2584758" y="752155"/>
                </a:lnTo>
                <a:lnTo>
                  <a:pt x="2586820" y="754212"/>
                </a:lnTo>
                <a:lnTo>
                  <a:pt x="2590075" y="754538"/>
                </a:lnTo>
                <a:lnTo>
                  <a:pt x="2590075" y="758002"/>
                </a:lnTo>
                <a:lnTo>
                  <a:pt x="2588230" y="761575"/>
                </a:lnTo>
                <a:lnTo>
                  <a:pt x="2588556" y="765256"/>
                </a:lnTo>
                <a:lnTo>
                  <a:pt x="2583347" y="766989"/>
                </a:lnTo>
                <a:lnTo>
                  <a:pt x="2580960" y="771752"/>
                </a:lnTo>
                <a:lnTo>
                  <a:pt x="2575968" y="772077"/>
                </a:lnTo>
                <a:lnTo>
                  <a:pt x="2573798" y="770345"/>
                </a:lnTo>
                <a:lnTo>
                  <a:pt x="2569457" y="770345"/>
                </a:lnTo>
                <a:lnTo>
                  <a:pt x="2567070" y="773485"/>
                </a:lnTo>
                <a:lnTo>
                  <a:pt x="2571844" y="773485"/>
                </a:lnTo>
                <a:lnTo>
                  <a:pt x="2572930" y="776083"/>
                </a:lnTo>
                <a:lnTo>
                  <a:pt x="2564574" y="780522"/>
                </a:lnTo>
                <a:lnTo>
                  <a:pt x="2567721" y="781280"/>
                </a:lnTo>
                <a:lnTo>
                  <a:pt x="2570434" y="778465"/>
                </a:lnTo>
                <a:lnTo>
                  <a:pt x="2575643" y="776950"/>
                </a:lnTo>
                <a:lnTo>
                  <a:pt x="2578355" y="775326"/>
                </a:lnTo>
                <a:lnTo>
                  <a:pt x="2579115" y="777599"/>
                </a:lnTo>
                <a:lnTo>
                  <a:pt x="2577162" y="780197"/>
                </a:lnTo>
                <a:lnTo>
                  <a:pt x="2572170" y="781280"/>
                </a:lnTo>
                <a:lnTo>
                  <a:pt x="2567721" y="784853"/>
                </a:lnTo>
                <a:lnTo>
                  <a:pt x="2571194" y="784312"/>
                </a:lnTo>
                <a:lnTo>
                  <a:pt x="2572495" y="785395"/>
                </a:lnTo>
                <a:lnTo>
                  <a:pt x="2569891" y="789509"/>
                </a:lnTo>
                <a:lnTo>
                  <a:pt x="2565008" y="793731"/>
                </a:lnTo>
                <a:lnTo>
                  <a:pt x="2561535" y="796654"/>
                </a:lnTo>
                <a:lnTo>
                  <a:pt x="2564574" y="797196"/>
                </a:lnTo>
                <a:lnTo>
                  <a:pt x="2570108" y="793623"/>
                </a:lnTo>
                <a:lnTo>
                  <a:pt x="2573907" y="786261"/>
                </a:lnTo>
                <a:lnTo>
                  <a:pt x="2577053" y="782471"/>
                </a:lnTo>
                <a:lnTo>
                  <a:pt x="2584216" y="777058"/>
                </a:lnTo>
                <a:lnTo>
                  <a:pt x="2585409" y="778790"/>
                </a:lnTo>
                <a:lnTo>
                  <a:pt x="2585409" y="781280"/>
                </a:lnTo>
                <a:lnTo>
                  <a:pt x="2589424" y="779332"/>
                </a:lnTo>
                <a:lnTo>
                  <a:pt x="2590075" y="776083"/>
                </a:lnTo>
                <a:lnTo>
                  <a:pt x="2595935" y="772294"/>
                </a:lnTo>
                <a:lnTo>
                  <a:pt x="2599082" y="772618"/>
                </a:lnTo>
                <a:lnTo>
                  <a:pt x="2598756" y="775542"/>
                </a:lnTo>
                <a:lnTo>
                  <a:pt x="2591486" y="781713"/>
                </a:lnTo>
                <a:lnTo>
                  <a:pt x="2583347" y="787019"/>
                </a:lnTo>
                <a:lnTo>
                  <a:pt x="2580091" y="787885"/>
                </a:lnTo>
                <a:lnTo>
                  <a:pt x="2580091" y="790158"/>
                </a:lnTo>
                <a:lnTo>
                  <a:pt x="2582153" y="791241"/>
                </a:lnTo>
                <a:lnTo>
                  <a:pt x="2579766" y="795356"/>
                </a:lnTo>
                <a:lnTo>
                  <a:pt x="2578790" y="799578"/>
                </a:lnTo>
                <a:lnTo>
                  <a:pt x="2580309" y="800228"/>
                </a:lnTo>
                <a:lnTo>
                  <a:pt x="2583021" y="796330"/>
                </a:lnTo>
                <a:lnTo>
                  <a:pt x="2583998" y="792107"/>
                </a:lnTo>
                <a:lnTo>
                  <a:pt x="2590509" y="786694"/>
                </a:lnTo>
                <a:lnTo>
                  <a:pt x="2595501" y="783554"/>
                </a:lnTo>
                <a:lnTo>
                  <a:pt x="2595284" y="786694"/>
                </a:lnTo>
                <a:lnTo>
                  <a:pt x="2595935" y="789401"/>
                </a:lnTo>
                <a:lnTo>
                  <a:pt x="2593548" y="792432"/>
                </a:lnTo>
                <a:lnTo>
                  <a:pt x="2587796" y="797954"/>
                </a:lnTo>
                <a:lnTo>
                  <a:pt x="2587146" y="800877"/>
                </a:lnTo>
                <a:lnTo>
                  <a:pt x="2583456" y="807265"/>
                </a:lnTo>
                <a:lnTo>
                  <a:pt x="2580960" y="809431"/>
                </a:lnTo>
                <a:lnTo>
                  <a:pt x="2581286" y="810621"/>
                </a:lnTo>
                <a:lnTo>
                  <a:pt x="2585517" y="809431"/>
                </a:lnTo>
                <a:lnTo>
                  <a:pt x="2587362" y="805858"/>
                </a:lnTo>
                <a:lnTo>
                  <a:pt x="2593222" y="797954"/>
                </a:lnTo>
                <a:lnTo>
                  <a:pt x="2596912" y="796330"/>
                </a:lnTo>
                <a:lnTo>
                  <a:pt x="2598865" y="799362"/>
                </a:lnTo>
                <a:lnTo>
                  <a:pt x="2600059" y="800228"/>
                </a:lnTo>
                <a:lnTo>
                  <a:pt x="2599841" y="802718"/>
                </a:lnTo>
                <a:lnTo>
                  <a:pt x="2596695" y="803909"/>
                </a:lnTo>
                <a:lnTo>
                  <a:pt x="2592463" y="810080"/>
                </a:lnTo>
                <a:lnTo>
                  <a:pt x="2591269" y="816035"/>
                </a:lnTo>
                <a:lnTo>
                  <a:pt x="2593114" y="816793"/>
                </a:lnTo>
                <a:lnTo>
                  <a:pt x="2594850" y="813545"/>
                </a:lnTo>
                <a:lnTo>
                  <a:pt x="2595827" y="809864"/>
                </a:lnTo>
                <a:lnTo>
                  <a:pt x="2598973" y="805208"/>
                </a:lnTo>
                <a:lnTo>
                  <a:pt x="2603857" y="803042"/>
                </a:lnTo>
                <a:lnTo>
                  <a:pt x="2603857" y="798387"/>
                </a:lnTo>
                <a:lnTo>
                  <a:pt x="2605702" y="794706"/>
                </a:lnTo>
                <a:lnTo>
                  <a:pt x="2609391" y="792865"/>
                </a:lnTo>
                <a:lnTo>
                  <a:pt x="2609934" y="789401"/>
                </a:lnTo>
                <a:lnTo>
                  <a:pt x="2611236" y="787019"/>
                </a:lnTo>
                <a:lnTo>
                  <a:pt x="2613298" y="786152"/>
                </a:lnTo>
                <a:lnTo>
                  <a:pt x="2615468" y="782796"/>
                </a:lnTo>
                <a:lnTo>
                  <a:pt x="2615793" y="779440"/>
                </a:lnTo>
                <a:lnTo>
                  <a:pt x="2617747" y="778573"/>
                </a:lnTo>
                <a:lnTo>
                  <a:pt x="2621328" y="785828"/>
                </a:lnTo>
                <a:lnTo>
                  <a:pt x="2624692" y="787885"/>
                </a:lnTo>
                <a:lnTo>
                  <a:pt x="2628815" y="792107"/>
                </a:lnTo>
                <a:lnTo>
                  <a:pt x="2629792" y="796438"/>
                </a:lnTo>
                <a:lnTo>
                  <a:pt x="2630769" y="800985"/>
                </a:lnTo>
                <a:lnTo>
                  <a:pt x="2635218" y="805858"/>
                </a:lnTo>
                <a:lnTo>
                  <a:pt x="2635543" y="807915"/>
                </a:lnTo>
                <a:lnTo>
                  <a:pt x="2632397" y="811054"/>
                </a:lnTo>
                <a:lnTo>
                  <a:pt x="2627839" y="816685"/>
                </a:lnTo>
                <a:lnTo>
                  <a:pt x="2625126" y="816793"/>
                </a:lnTo>
                <a:lnTo>
                  <a:pt x="2621979" y="814195"/>
                </a:lnTo>
                <a:lnTo>
                  <a:pt x="2617964" y="810730"/>
                </a:lnTo>
                <a:lnTo>
                  <a:pt x="2615685" y="811054"/>
                </a:lnTo>
                <a:lnTo>
                  <a:pt x="2613515" y="812787"/>
                </a:lnTo>
                <a:lnTo>
                  <a:pt x="2610694" y="813870"/>
                </a:lnTo>
                <a:lnTo>
                  <a:pt x="2608523" y="818201"/>
                </a:lnTo>
                <a:lnTo>
                  <a:pt x="2605159" y="820150"/>
                </a:lnTo>
                <a:lnTo>
                  <a:pt x="2602338" y="820041"/>
                </a:lnTo>
                <a:lnTo>
                  <a:pt x="2599733" y="823181"/>
                </a:lnTo>
                <a:lnTo>
                  <a:pt x="2604942" y="822423"/>
                </a:lnTo>
                <a:lnTo>
                  <a:pt x="2607329" y="822423"/>
                </a:lnTo>
                <a:lnTo>
                  <a:pt x="2608414" y="825238"/>
                </a:lnTo>
                <a:lnTo>
                  <a:pt x="2604725" y="829352"/>
                </a:lnTo>
                <a:lnTo>
                  <a:pt x="2600818" y="831301"/>
                </a:lnTo>
                <a:lnTo>
                  <a:pt x="2597020" y="833250"/>
                </a:lnTo>
                <a:lnTo>
                  <a:pt x="2602663" y="833358"/>
                </a:lnTo>
                <a:lnTo>
                  <a:pt x="2606461" y="831085"/>
                </a:lnTo>
                <a:lnTo>
                  <a:pt x="2611562" y="830327"/>
                </a:lnTo>
                <a:lnTo>
                  <a:pt x="2615360" y="830976"/>
                </a:lnTo>
                <a:lnTo>
                  <a:pt x="2619483" y="827620"/>
                </a:lnTo>
                <a:lnTo>
                  <a:pt x="2623716" y="827728"/>
                </a:lnTo>
                <a:lnTo>
                  <a:pt x="2626429" y="829894"/>
                </a:lnTo>
                <a:lnTo>
                  <a:pt x="2626862" y="832059"/>
                </a:lnTo>
                <a:lnTo>
                  <a:pt x="2626102" y="833683"/>
                </a:lnTo>
                <a:lnTo>
                  <a:pt x="2628056" y="832492"/>
                </a:lnTo>
                <a:lnTo>
                  <a:pt x="2629250" y="827187"/>
                </a:lnTo>
                <a:lnTo>
                  <a:pt x="2628815" y="823181"/>
                </a:lnTo>
                <a:lnTo>
                  <a:pt x="2631529" y="819717"/>
                </a:lnTo>
                <a:lnTo>
                  <a:pt x="2638365" y="816468"/>
                </a:lnTo>
                <a:lnTo>
                  <a:pt x="2639559" y="817659"/>
                </a:lnTo>
                <a:lnTo>
                  <a:pt x="2639016" y="820799"/>
                </a:lnTo>
                <a:lnTo>
                  <a:pt x="2640318" y="824697"/>
                </a:lnTo>
                <a:lnTo>
                  <a:pt x="2638148" y="828811"/>
                </a:lnTo>
                <a:lnTo>
                  <a:pt x="2633916" y="834441"/>
                </a:lnTo>
                <a:lnTo>
                  <a:pt x="2629141" y="836282"/>
                </a:lnTo>
                <a:lnTo>
                  <a:pt x="2625777" y="839205"/>
                </a:lnTo>
                <a:lnTo>
                  <a:pt x="2624909" y="841262"/>
                </a:lnTo>
                <a:lnTo>
                  <a:pt x="2620568" y="841154"/>
                </a:lnTo>
                <a:lnTo>
                  <a:pt x="2617964" y="839963"/>
                </a:lnTo>
                <a:lnTo>
                  <a:pt x="2615143" y="840071"/>
                </a:lnTo>
                <a:lnTo>
                  <a:pt x="2612755" y="842994"/>
                </a:lnTo>
                <a:lnTo>
                  <a:pt x="2611995" y="846243"/>
                </a:lnTo>
                <a:lnTo>
                  <a:pt x="2607764" y="850465"/>
                </a:lnTo>
                <a:lnTo>
                  <a:pt x="2607112" y="853280"/>
                </a:lnTo>
                <a:lnTo>
                  <a:pt x="2605811" y="855987"/>
                </a:lnTo>
                <a:lnTo>
                  <a:pt x="2608197" y="855554"/>
                </a:lnTo>
                <a:lnTo>
                  <a:pt x="2613623" y="849707"/>
                </a:lnTo>
                <a:lnTo>
                  <a:pt x="2617096" y="843752"/>
                </a:lnTo>
                <a:lnTo>
                  <a:pt x="2619591" y="842670"/>
                </a:lnTo>
                <a:lnTo>
                  <a:pt x="2620894" y="843969"/>
                </a:lnTo>
                <a:lnTo>
                  <a:pt x="2622630" y="844186"/>
                </a:lnTo>
                <a:lnTo>
                  <a:pt x="2623173" y="846026"/>
                </a:lnTo>
                <a:lnTo>
                  <a:pt x="2621003" y="848408"/>
                </a:lnTo>
                <a:lnTo>
                  <a:pt x="2618181" y="853605"/>
                </a:lnTo>
                <a:lnTo>
                  <a:pt x="2612321" y="859452"/>
                </a:lnTo>
                <a:lnTo>
                  <a:pt x="2608740" y="862916"/>
                </a:lnTo>
                <a:lnTo>
                  <a:pt x="2608849" y="864324"/>
                </a:lnTo>
                <a:lnTo>
                  <a:pt x="2616336" y="860318"/>
                </a:lnTo>
                <a:lnTo>
                  <a:pt x="2624258" y="851439"/>
                </a:lnTo>
                <a:lnTo>
                  <a:pt x="2627405" y="844077"/>
                </a:lnTo>
                <a:lnTo>
                  <a:pt x="2628165" y="840937"/>
                </a:lnTo>
                <a:lnTo>
                  <a:pt x="2630118" y="838447"/>
                </a:lnTo>
                <a:lnTo>
                  <a:pt x="2632722" y="838447"/>
                </a:lnTo>
                <a:lnTo>
                  <a:pt x="2639559" y="833683"/>
                </a:lnTo>
                <a:lnTo>
                  <a:pt x="2645744" y="831193"/>
                </a:lnTo>
                <a:lnTo>
                  <a:pt x="2648783" y="830219"/>
                </a:lnTo>
                <a:lnTo>
                  <a:pt x="2649217" y="831843"/>
                </a:lnTo>
                <a:lnTo>
                  <a:pt x="2647480" y="834658"/>
                </a:lnTo>
                <a:lnTo>
                  <a:pt x="2642597" y="839746"/>
                </a:lnTo>
                <a:lnTo>
                  <a:pt x="2637931" y="839746"/>
                </a:lnTo>
                <a:lnTo>
                  <a:pt x="2635218" y="842020"/>
                </a:lnTo>
                <a:lnTo>
                  <a:pt x="2634567" y="846026"/>
                </a:lnTo>
                <a:lnTo>
                  <a:pt x="2635652" y="846892"/>
                </a:lnTo>
                <a:lnTo>
                  <a:pt x="2638799" y="843644"/>
                </a:lnTo>
                <a:lnTo>
                  <a:pt x="2643574" y="843103"/>
                </a:lnTo>
                <a:lnTo>
                  <a:pt x="2647806" y="839421"/>
                </a:lnTo>
                <a:lnTo>
                  <a:pt x="2651170" y="838339"/>
                </a:lnTo>
                <a:lnTo>
                  <a:pt x="2653449" y="836390"/>
                </a:lnTo>
                <a:lnTo>
                  <a:pt x="2656813" y="834225"/>
                </a:lnTo>
                <a:lnTo>
                  <a:pt x="2660068" y="834658"/>
                </a:lnTo>
                <a:lnTo>
                  <a:pt x="2662131" y="838988"/>
                </a:lnTo>
                <a:lnTo>
                  <a:pt x="2667230" y="844727"/>
                </a:lnTo>
                <a:lnTo>
                  <a:pt x="2669835" y="848841"/>
                </a:lnTo>
                <a:lnTo>
                  <a:pt x="2673525" y="850682"/>
                </a:lnTo>
                <a:lnTo>
                  <a:pt x="2674393" y="853280"/>
                </a:lnTo>
                <a:lnTo>
                  <a:pt x="2673742" y="857178"/>
                </a:lnTo>
                <a:lnTo>
                  <a:pt x="2669075" y="861617"/>
                </a:lnTo>
                <a:lnTo>
                  <a:pt x="2667230" y="860535"/>
                </a:lnTo>
                <a:lnTo>
                  <a:pt x="2667665" y="855878"/>
                </a:lnTo>
                <a:lnTo>
                  <a:pt x="2664734" y="856637"/>
                </a:lnTo>
                <a:lnTo>
                  <a:pt x="2663975" y="858910"/>
                </a:lnTo>
                <a:lnTo>
                  <a:pt x="2661804" y="861509"/>
                </a:lnTo>
                <a:lnTo>
                  <a:pt x="2658766" y="864324"/>
                </a:lnTo>
                <a:lnTo>
                  <a:pt x="2651279" y="864865"/>
                </a:lnTo>
                <a:lnTo>
                  <a:pt x="2647915" y="866381"/>
                </a:lnTo>
                <a:lnTo>
                  <a:pt x="2642923" y="866164"/>
                </a:lnTo>
                <a:lnTo>
                  <a:pt x="2636520" y="870387"/>
                </a:lnTo>
                <a:lnTo>
                  <a:pt x="2632614" y="870712"/>
                </a:lnTo>
                <a:lnTo>
                  <a:pt x="2625994" y="874501"/>
                </a:lnTo>
                <a:lnTo>
                  <a:pt x="2630227" y="873960"/>
                </a:lnTo>
                <a:lnTo>
                  <a:pt x="2632505" y="875151"/>
                </a:lnTo>
                <a:lnTo>
                  <a:pt x="2631203" y="878290"/>
                </a:lnTo>
                <a:lnTo>
                  <a:pt x="2625234" y="879590"/>
                </a:lnTo>
                <a:lnTo>
                  <a:pt x="2623498" y="881755"/>
                </a:lnTo>
                <a:lnTo>
                  <a:pt x="2631529" y="880672"/>
                </a:lnTo>
                <a:lnTo>
                  <a:pt x="2636195" y="875800"/>
                </a:lnTo>
                <a:lnTo>
                  <a:pt x="2643140" y="869737"/>
                </a:lnTo>
                <a:lnTo>
                  <a:pt x="2648240" y="869304"/>
                </a:lnTo>
                <a:lnTo>
                  <a:pt x="2651821" y="870387"/>
                </a:lnTo>
                <a:lnTo>
                  <a:pt x="2655077" y="869088"/>
                </a:lnTo>
                <a:lnTo>
                  <a:pt x="2658115" y="868980"/>
                </a:lnTo>
                <a:lnTo>
                  <a:pt x="2658332" y="870712"/>
                </a:lnTo>
                <a:lnTo>
                  <a:pt x="2657898" y="875692"/>
                </a:lnTo>
                <a:lnTo>
                  <a:pt x="2654751" y="877857"/>
                </a:lnTo>
                <a:lnTo>
                  <a:pt x="2650627" y="880456"/>
                </a:lnTo>
                <a:lnTo>
                  <a:pt x="2648023" y="880348"/>
                </a:lnTo>
                <a:lnTo>
                  <a:pt x="2644442" y="881972"/>
                </a:lnTo>
                <a:lnTo>
                  <a:pt x="2641729" y="886194"/>
                </a:lnTo>
                <a:lnTo>
                  <a:pt x="2637931" y="887818"/>
                </a:lnTo>
                <a:lnTo>
                  <a:pt x="2634242" y="885870"/>
                </a:lnTo>
                <a:lnTo>
                  <a:pt x="2631637" y="886953"/>
                </a:lnTo>
                <a:lnTo>
                  <a:pt x="2627622" y="890850"/>
                </a:lnTo>
                <a:lnTo>
                  <a:pt x="2630118" y="890309"/>
                </a:lnTo>
                <a:lnTo>
                  <a:pt x="2634133" y="888793"/>
                </a:lnTo>
                <a:lnTo>
                  <a:pt x="2637388" y="889659"/>
                </a:lnTo>
                <a:lnTo>
                  <a:pt x="2639668" y="891067"/>
                </a:lnTo>
                <a:lnTo>
                  <a:pt x="2644442" y="887169"/>
                </a:lnTo>
                <a:lnTo>
                  <a:pt x="2647480" y="882838"/>
                </a:lnTo>
                <a:lnTo>
                  <a:pt x="2651604" y="881431"/>
                </a:lnTo>
                <a:lnTo>
                  <a:pt x="2654643" y="882621"/>
                </a:lnTo>
                <a:lnTo>
                  <a:pt x="2658875" y="883488"/>
                </a:lnTo>
                <a:lnTo>
                  <a:pt x="2661913" y="879915"/>
                </a:lnTo>
                <a:lnTo>
                  <a:pt x="2666471" y="877857"/>
                </a:lnTo>
                <a:lnTo>
                  <a:pt x="2668207" y="876450"/>
                </a:lnTo>
                <a:lnTo>
                  <a:pt x="2668207" y="873635"/>
                </a:lnTo>
                <a:lnTo>
                  <a:pt x="2666579" y="872227"/>
                </a:lnTo>
                <a:lnTo>
                  <a:pt x="2669292" y="868329"/>
                </a:lnTo>
                <a:lnTo>
                  <a:pt x="2669401" y="865839"/>
                </a:lnTo>
                <a:lnTo>
                  <a:pt x="2672548" y="864974"/>
                </a:lnTo>
                <a:lnTo>
                  <a:pt x="2673633" y="865948"/>
                </a:lnTo>
                <a:lnTo>
                  <a:pt x="2675478" y="865298"/>
                </a:lnTo>
                <a:lnTo>
                  <a:pt x="2676888" y="870278"/>
                </a:lnTo>
                <a:lnTo>
                  <a:pt x="2681121" y="879698"/>
                </a:lnTo>
                <a:lnTo>
                  <a:pt x="2682314" y="885437"/>
                </a:lnTo>
                <a:lnTo>
                  <a:pt x="2684919" y="888901"/>
                </a:lnTo>
                <a:lnTo>
                  <a:pt x="2684051" y="892582"/>
                </a:lnTo>
                <a:lnTo>
                  <a:pt x="2681989" y="895831"/>
                </a:lnTo>
                <a:lnTo>
                  <a:pt x="2676888" y="895614"/>
                </a:lnTo>
                <a:lnTo>
                  <a:pt x="2673742" y="893340"/>
                </a:lnTo>
                <a:lnTo>
                  <a:pt x="2667230" y="892799"/>
                </a:lnTo>
                <a:lnTo>
                  <a:pt x="2663758" y="894639"/>
                </a:lnTo>
                <a:lnTo>
                  <a:pt x="2660068" y="897130"/>
                </a:lnTo>
                <a:lnTo>
                  <a:pt x="2657138" y="897238"/>
                </a:lnTo>
                <a:lnTo>
                  <a:pt x="2655728" y="896047"/>
                </a:lnTo>
                <a:lnTo>
                  <a:pt x="2652038" y="896263"/>
                </a:lnTo>
                <a:lnTo>
                  <a:pt x="2649108" y="899079"/>
                </a:lnTo>
                <a:lnTo>
                  <a:pt x="2641838" y="900161"/>
                </a:lnTo>
                <a:lnTo>
                  <a:pt x="2644984" y="901353"/>
                </a:lnTo>
                <a:lnTo>
                  <a:pt x="2653232" y="900161"/>
                </a:lnTo>
                <a:lnTo>
                  <a:pt x="2657464" y="901461"/>
                </a:lnTo>
                <a:lnTo>
                  <a:pt x="2663867" y="907416"/>
                </a:lnTo>
                <a:lnTo>
                  <a:pt x="2667122" y="909256"/>
                </a:lnTo>
                <a:lnTo>
                  <a:pt x="2669618" y="907957"/>
                </a:lnTo>
                <a:lnTo>
                  <a:pt x="2672331" y="907199"/>
                </a:lnTo>
                <a:lnTo>
                  <a:pt x="2674610" y="908823"/>
                </a:lnTo>
                <a:lnTo>
                  <a:pt x="2678408" y="911205"/>
                </a:lnTo>
                <a:lnTo>
                  <a:pt x="2683182" y="913045"/>
                </a:lnTo>
                <a:lnTo>
                  <a:pt x="2683725" y="916402"/>
                </a:lnTo>
                <a:lnTo>
                  <a:pt x="2686004" y="920191"/>
                </a:lnTo>
                <a:lnTo>
                  <a:pt x="2686221" y="925280"/>
                </a:lnTo>
                <a:lnTo>
                  <a:pt x="2684376" y="926796"/>
                </a:lnTo>
                <a:lnTo>
                  <a:pt x="2681121" y="926688"/>
                </a:lnTo>
                <a:lnTo>
                  <a:pt x="2678842" y="922898"/>
                </a:lnTo>
                <a:lnTo>
                  <a:pt x="2677214" y="923223"/>
                </a:lnTo>
                <a:lnTo>
                  <a:pt x="2675152" y="925713"/>
                </a:lnTo>
                <a:lnTo>
                  <a:pt x="2672982" y="924630"/>
                </a:lnTo>
                <a:lnTo>
                  <a:pt x="2671463" y="922140"/>
                </a:lnTo>
                <a:lnTo>
                  <a:pt x="2668967" y="923440"/>
                </a:lnTo>
                <a:lnTo>
                  <a:pt x="2666037" y="922681"/>
                </a:lnTo>
                <a:lnTo>
                  <a:pt x="2660503" y="916510"/>
                </a:lnTo>
                <a:lnTo>
                  <a:pt x="2658224" y="915752"/>
                </a:lnTo>
                <a:lnTo>
                  <a:pt x="2655077" y="916185"/>
                </a:lnTo>
                <a:lnTo>
                  <a:pt x="2651170" y="916618"/>
                </a:lnTo>
                <a:lnTo>
                  <a:pt x="2647589" y="914886"/>
                </a:lnTo>
                <a:lnTo>
                  <a:pt x="2649000" y="916943"/>
                </a:lnTo>
                <a:lnTo>
                  <a:pt x="2653557" y="918351"/>
                </a:lnTo>
                <a:lnTo>
                  <a:pt x="2657247" y="919108"/>
                </a:lnTo>
                <a:lnTo>
                  <a:pt x="2656053" y="921166"/>
                </a:lnTo>
                <a:lnTo>
                  <a:pt x="2650410" y="921599"/>
                </a:lnTo>
                <a:lnTo>
                  <a:pt x="2648023" y="922790"/>
                </a:lnTo>
                <a:lnTo>
                  <a:pt x="2642814" y="922790"/>
                </a:lnTo>
                <a:lnTo>
                  <a:pt x="2639016" y="925280"/>
                </a:lnTo>
                <a:lnTo>
                  <a:pt x="2639668" y="928312"/>
                </a:lnTo>
                <a:lnTo>
                  <a:pt x="2641946" y="927879"/>
                </a:lnTo>
                <a:lnTo>
                  <a:pt x="2643031" y="925822"/>
                </a:lnTo>
                <a:lnTo>
                  <a:pt x="2648891" y="925930"/>
                </a:lnTo>
                <a:lnTo>
                  <a:pt x="2652581" y="923873"/>
                </a:lnTo>
                <a:lnTo>
                  <a:pt x="2656162" y="923223"/>
                </a:lnTo>
                <a:lnTo>
                  <a:pt x="2658549" y="926579"/>
                </a:lnTo>
                <a:lnTo>
                  <a:pt x="2658658" y="928312"/>
                </a:lnTo>
                <a:lnTo>
                  <a:pt x="2661479" y="929611"/>
                </a:lnTo>
                <a:lnTo>
                  <a:pt x="2661913" y="931235"/>
                </a:lnTo>
                <a:lnTo>
                  <a:pt x="2660828" y="931777"/>
                </a:lnTo>
                <a:lnTo>
                  <a:pt x="2656379" y="931777"/>
                </a:lnTo>
                <a:lnTo>
                  <a:pt x="2654208" y="933400"/>
                </a:lnTo>
                <a:lnTo>
                  <a:pt x="2652255" y="932101"/>
                </a:lnTo>
                <a:lnTo>
                  <a:pt x="2651062" y="930369"/>
                </a:lnTo>
                <a:lnTo>
                  <a:pt x="2648457" y="930585"/>
                </a:lnTo>
                <a:lnTo>
                  <a:pt x="2647264" y="931560"/>
                </a:lnTo>
                <a:lnTo>
                  <a:pt x="2650736" y="934158"/>
                </a:lnTo>
                <a:lnTo>
                  <a:pt x="2654100" y="935566"/>
                </a:lnTo>
                <a:lnTo>
                  <a:pt x="2655945" y="937623"/>
                </a:lnTo>
                <a:lnTo>
                  <a:pt x="2655836" y="940546"/>
                </a:lnTo>
                <a:lnTo>
                  <a:pt x="2657356" y="942603"/>
                </a:lnTo>
                <a:lnTo>
                  <a:pt x="2654860" y="942928"/>
                </a:lnTo>
                <a:lnTo>
                  <a:pt x="2645744" y="940438"/>
                </a:lnTo>
                <a:lnTo>
                  <a:pt x="2640101" y="940222"/>
                </a:lnTo>
                <a:lnTo>
                  <a:pt x="2631312" y="936973"/>
                </a:lnTo>
                <a:lnTo>
                  <a:pt x="2627622" y="937514"/>
                </a:lnTo>
                <a:lnTo>
                  <a:pt x="2628815" y="939030"/>
                </a:lnTo>
                <a:lnTo>
                  <a:pt x="2634025" y="940438"/>
                </a:lnTo>
                <a:lnTo>
                  <a:pt x="2646287" y="946393"/>
                </a:lnTo>
                <a:lnTo>
                  <a:pt x="2646938" y="948883"/>
                </a:lnTo>
                <a:lnTo>
                  <a:pt x="2644876" y="949316"/>
                </a:lnTo>
                <a:lnTo>
                  <a:pt x="2638148" y="945202"/>
                </a:lnTo>
                <a:lnTo>
                  <a:pt x="2636086" y="945852"/>
                </a:lnTo>
                <a:lnTo>
                  <a:pt x="2632831" y="949532"/>
                </a:lnTo>
                <a:lnTo>
                  <a:pt x="2635978" y="948991"/>
                </a:lnTo>
                <a:lnTo>
                  <a:pt x="2638040" y="950399"/>
                </a:lnTo>
                <a:lnTo>
                  <a:pt x="2640536" y="952564"/>
                </a:lnTo>
                <a:lnTo>
                  <a:pt x="2642163" y="951698"/>
                </a:lnTo>
                <a:lnTo>
                  <a:pt x="2644225" y="952781"/>
                </a:lnTo>
                <a:lnTo>
                  <a:pt x="2644551" y="955921"/>
                </a:lnTo>
                <a:lnTo>
                  <a:pt x="2646070" y="958411"/>
                </a:lnTo>
                <a:lnTo>
                  <a:pt x="2647806" y="957220"/>
                </a:lnTo>
                <a:lnTo>
                  <a:pt x="2648349" y="954622"/>
                </a:lnTo>
                <a:lnTo>
                  <a:pt x="2652255" y="954622"/>
                </a:lnTo>
                <a:lnTo>
                  <a:pt x="2651930" y="957112"/>
                </a:lnTo>
                <a:lnTo>
                  <a:pt x="2650410" y="958952"/>
                </a:lnTo>
                <a:lnTo>
                  <a:pt x="2650410" y="960901"/>
                </a:lnTo>
                <a:lnTo>
                  <a:pt x="2653015" y="960685"/>
                </a:lnTo>
                <a:lnTo>
                  <a:pt x="2653123" y="956354"/>
                </a:lnTo>
                <a:lnTo>
                  <a:pt x="2656379" y="956354"/>
                </a:lnTo>
                <a:lnTo>
                  <a:pt x="2661045" y="958844"/>
                </a:lnTo>
                <a:lnTo>
                  <a:pt x="2665386" y="960144"/>
                </a:lnTo>
                <a:lnTo>
                  <a:pt x="2669075" y="960035"/>
                </a:lnTo>
                <a:lnTo>
                  <a:pt x="2667447" y="963824"/>
                </a:lnTo>
                <a:lnTo>
                  <a:pt x="2666797" y="965881"/>
                </a:lnTo>
                <a:lnTo>
                  <a:pt x="2662673" y="964474"/>
                </a:lnTo>
                <a:lnTo>
                  <a:pt x="2660068" y="962742"/>
                </a:lnTo>
                <a:lnTo>
                  <a:pt x="2654751" y="963608"/>
                </a:lnTo>
                <a:lnTo>
                  <a:pt x="2647480" y="967073"/>
                </a:lnTo>
                <a:lnTo>
                  <a:pt x="2647264" y="970429"/>
                </a:lnTo>
                <a:lnTo>
                  <a:pt x="2650410" y="967181"/>
                </a:lnTo>
                <a:lnTo>
                  <a:pt x="2656053" y="967181"/>
                </a:lnTo>
                <a:lnTo>
                  <a:pt x="2660286" y="968372"/>
                </a:lnTo>
                <a:lnTo>
                  <a:pt x="2656379" y="969130"/>
                </a:lnTo>
                <a:lnTo>
                  <a:pt x="2655077" y="972053"/>
                </a:lnTo>
                <a:lnTo>
                  <a:pt x="2658006" y="970646"/>
                </a:lnTo>
                <a:lnTo>
                  <a:pt x="2663867" y="970862"/>
                </a:lnTo>
                <a:lnTo>
                  <a:pt x="2665929" y="972919"/>
                </a:lnTo>
                <a:lnTo>
                  <a:pt x="2664734" y="974219"/>
                </a:lnTo>
                <a:lnTo>
                  <a:pt x="2668641" y="975842"/>
                </a:lnTo>
                <a:lnTo>
                  <a:pt x="2670377" y="978766"/>
                </a:lnTo>
                <a:lnTo>
                  <a:pt x="2669075" y="981364"/>
                </a:lnTo>
                <a:lnTo>
                  <a:pt x="2666797" y="986670"/>
                </a:lnTo>
                <a:lnTo>
                  <a:pt x="2667339" y="989593"/>
                </a:lnTo>
                <a:lnTo>
                  <a:pt x="2668859" y="988185"/>
                </a:lnTo>
                <a:lnTo>
                  <a:pt x="2669401" y="984937"/>
                </a:lnTo>
                <a:lnTo>
                  <a:pt x="2672440" y="981689"/>
                </a:lnTo>
                <a:lnTo>
                  <a:pt x="2675695" y="981364"/>
                </a:lnTo>
                <a:lnTo>
                  <a:pt x="2676455" y="984937"/>
                </a:lnTo>
                <a:lnTo>
                  <a:pt x="2674718" y="987536"/>
                </a:lnTo>
                <a:lnTo>
                  <a:pt x="2670269" y="995007"/>
                </a:lnTo>
                <a:lnTo>
                  <a:pt x="2668424" y="999229"/>
                </a:lnTo>
                <a:lnTo>
                  <a:pt x="2668424" y="1002585"/>
                </a:lnTo>
                <a:lnTo>
                  <a:pt x="2670595" y="1001286"/>
                </a:lnTo>
                <a:lnTo>
                  <a:pt x="2673850" y="995548"/>
                </a:lnTo>
                <a:lnTo>
                  <a:pt x="2673850" y="992841"/>
                </a:lnTo>
                <a:lnTo>
                  <a:pt x="2676129" y="989809"/>
                </a:lnTo>
                <a:lnTo>
                  <a:pt x="2680469" y="987752"/>
                </a:lnTo>
                <a:lnTo>
                  <a:pt x="2680144" y="986562"/>
                </a:lnTo>
                <a:lnTo>
                  <a:pt x="2681772" y="983421"/>
                </a:lnTo>
                <a:lnTo>
                  <a:pt x="2685136" y="980931"/>
                </a:lnTo>
                <a:lnTo>
                  <a:pt x="2686329" y="982014"/>
                </a:lnTo>
                <a:lnTo>
                  <a:pt x="2685027" y="985370"/>
                </a:lnTo>
                <a:lnTo>
                  <a:pt x="2680795" y="991109"/>
                </a:lnTo>
                <a:lnTo>
                  <a:pt x="2678733" y="994465"/>
                </a:lnTo>
                <a:lnTo>
                  <a:pt x="2678625" y="998796"/>
                </a:lnTo>
                <a:lnTo>
                  <a:pt x="2679059" y="1003127"/>
                </a:lnTo>
                <a:lnTo>
                  <a:pt x="2681012" y="1001719"/>
                </a:lnTo>
                <a:lnTo>
                  <a:pt x="2680686" y="998904"/>
                </a:lnTo>
                <a:lnTo>
                  <a:pt x="2681121" y="994682"/>
                </a:lnTo>
                <a:lnTo>
                  <a:pt x="2684159" y="992083"/>
                </a:lnTo>
                <a:lnTo>
                  <a:pt x="2686764" y="988619"/>
                </a:lnTo>
                <a:lnTo>
                  <a:pt x="2692190" y="984179"/>
                </a:lnTo>
                <a:lnTo>
                  <a:pt x="2695879" y="981256"/>
                </a:lnTo>
                <a:lnTo>
                  <a:pt x="2696856" y="982988"/>
                </a:lnTo>
                <a:lnTo>
                  <a:pt x="2696638" y="988185"/>
                </a:lnTo>
                <a:lnTo>
                  <a:pt x="2694577" y="990351"/>
                </a:lnTo>
                <a:lnTo>
                  <a:pt x="2689368" y="991542"/>
                </a:lnTo>
                <a:lnTo>
                  <a:pt x="2688717" y="995331"/>
                </a:lnTo>
                <a:lnTo>
                  <a:pt x="2686980" y="999121"/>
                </a:lnTo>
                <a:lnTo>
                  <a:pt x="2688392" y="999987"/>
                </a:lnTo>
                <a:lnTo>
                  <a:pt x="2689802" y="998471"/>
                </a:lnTo>
                <a:lnTo>
                  <a:pt x="2691972" y="999987"/>
                </a:lnTo>
                <a:lnTo>
                  <a:pt x="2694360" y="998254"/>
                </a:lnTo>
                <a:lnTo>
                  <a:pt x="2699786" y="996305"/>
                </a:lnTo>
                <a:lnTo>
                  <a:pt x="2701413" y="998904"/>
                </a:lnTo>
                <a:lnTo>
                  <a:pt x="2702824" y="1004643"/>
                </a:lnTo>
                <a:lnTo>
                  <a:pt x="2702499" y="1007349"/>
                </a:lnTo>
                <a:lnTo>
                  <a:pt x="2698918" y="1008974"/>
                </a:lnTo>
                <a:lnTo>
                  <a:pt x="2698918" y="1010381"/>
                </a:lnTo>
                <a:lnTo>
                  <a:pt x="2701739" y="1011031"/>
                </a:lnTo>
                <a:lnTo>
                  <a:pt x="2703909" y="1014820"/>
                </a:lnTo>
                <a:lnTo>
                  <a:pt x="2700545" y="1015903"/>
                </a:lnTo>
                <a:lnTo>
                  <a:pt x="2697615" y="1015361"/>
                </a:lnTo>
                <a:lnTo>
                  <a:pt x="2700545" y="1017202"/>
                </a:lnTo>
                <a:lnTo>
                  <a:pt x="2704343" y="1018935"/>
                </a:lnTo>
                <a:lnTo>
                  <a:pt x="2695228" y="1020992"/>
                </a:lnTo>
                <a:lnTo>
                  <a:pt x="2690779" y="1020666"/>
                </a:lnTo>
                <a:lnTo>
                  <a:pt x="2692949" y="1022941"/>
                </a:lnTo>
                <a:lnTo>
                  <a:pt x="2697398" y="1022615"/>
                </a:lnTo>
                <a:lnTo>
                  <a:pt x="2703692" y="1023915"/>
                </a:lnTo>
                <a:lnTo>
                  <a:pt x="2705537" y="1021858"/>
                </a:lnTo>
                <a:lnTo>
                  <a:pt x="2709878" y="1020992"/>
                </a:lnTo>
                <a:lnTo>
                  <a:pt x="2710854" y="1021316"/>
                </a:lnTo>
                <a:lnTo>
                  <a:pt x="2707490" y="1025972"/>
                </a:lnTo>
                <a:lnTo>
                  <a:pt x="2705537" y="1030627"/>
                </a:lnTo>
                <a:lnTo>
                  <a:pt x="2709660" y="1026513"/>
                </a:lnTo>
                <a:lnTo>
                  <a:pt x="2713242" y="1025322"/>
                </a:lnTo>
                <a:lnTo>
                  <a:pt x="2716063" y="1022182"/>
                </a:lnTo>
                <a:lnTo>
                  <a:pt x="2720512" y="1018935"/>
                </a:lnTo>
                <a:lnTo>
                  <a:pt x="2723985" y="1020017"/>
                </a:lnTo>
                <a:lnTo>
                  <a:pt x="2723117" y="1022182"/>
                </a:lnTo>
                <a:lnTo>
                  <a:pt x="2720404" y="1025322"/>
                </a:lnTo>
                <a:lnTo>
                  <a:pt x="2718451" y="1025539"/>
                </a:lnTo>
                <a:lnTo>
                  <a:pt x="2716388" y="1029112"/>
                </a:lnTo>
                <a:lnTo>
                  <a:pt x="2714327" y="1033767"/>
                </a:lnTo>
                <a:lnTo>
                  <a:pt x="2709010" y="1035825"/>
                </a:lnTo>
                <a:lnTo>
                  <a:pt x="2706730" y="1039939"/>
                </a:lnTo>
                <a:lnTo>
                  <a:pt x="2706947" y="1042862"/>
                </a:lnTo>
                <a:lnTo>
                  <a:pt x="2709660" y="1043404"/>
                </a:lnTo>
                <a:lnTo>
                  <a:pt x="2713133" y="1039722"/>
                </a:lnTo>
                <a:lnTo>
                  <a:pt x="2713133" y="1037882"/>
                </a:lnTo>
                <a:lnTo>
                  <a:pt x="2717799" y="1032143"/>
                </a:lnTo>
                <a:lnTo>
                  <a:pt x="2721923" y="1030627"/>
                </a:lnTo>
                <a:lnTo>
                  <a:pt x="2721597" y="1033876"/>
                </a:lnTo>
                <a:lnTo>
                  <a:pt x="2718451" y="1039072"/>
                </a:lnTo>
                <a:lnTo>
                  <a:pt x="2717908" y="1044053"/>
                </a:lnTo>
                <a:lnTo>
                  <a:pt x="2716606" y="1047193"/>
                </a:lnTo>
                <a:lnTo>
                  <a:pt x="2719101" y="1045244"/>
                </a:lnTo>
                <a:lnTo>
                  <a:pt x="2722466" y="1039398"/>
                </a:lnTo>
                <a:lnTo>
                  <a:pt x="2722574" y="1036474"/>
                </a:lnTo>
                <a:lnTo>
                  <a:pt x="2724311" y="1035608"/>
                </a:lnTo>
                <a:lnTo>
                  <a:pt x="2725721" y="1036690"/>
                </a:lnTo>
                <a:lnTo>
                  <a:pt x="2726264" y="1043186"/>
                </a:lnTo>
                <a:lnTo>
                  <a:pt x="2728651" y="1045244"/>
                </a:lnTo>
                <a:lnTo>
                  <a:pt x="2730170" y="1045135"/>
                </a:lnTo>
                <a:lnTo>
                  <a:pt x="2729519" y="1040047"/>
                </a:lnTo>
                <a:lnTo>
                  <a:pt x="2731255" y="1037232"/>
                </a:lnTo>
                <a:lnTo>
                  <a:pt x="2737115" y="1034092"/>
                </a:lnTo>
                <a:lnTo>
                  <a:pt x="2738309" y="1035608"/>
                </a:lnTo>
                <a:lnTo>
                  <a:pt x="2736247" y="1038423"/>
                </a:lnTo>
                <a:lnTo>
                  <a:pt x="2737549" y="1038856"/>
                </a:lnTo>
                <a:lnTo>
                  <a:pt x="2741347" y="1038748"/>
                </a:lnTo>
                <a:lnTo>
                  <a:pt x="2743626" y="1041671"/>
                </a:lnTo>
                <a:lnTo>
                  <a:pt x="2741890" y="1046435"/>
                </a:lnTo>
                <a:lnTo>
                  <a:pt x="2745905" y="1046002"/>
                </a:lnTo>
                <a:lnTo>
                  <a:pt x="2747424" y="1048167"/>
                </a:lnTo>
                <a:lnTo>
                  <a:pt x="2747750" y="1051307"/>
                </a:lnTo>
                <a:lnTo>
                  <a:pt x="2750572" y="1053689"/>
                </a:lnTo>
                <a:lnTo>
                  <a:pt x="2751222" y="1056504"/>
                </a:lnTo>
                <a:lnTo>
                  <a:pt x="2749920" y="1057912"/>
                </a:lnTo>
                <a:lnTo>
                  <a:pt x="2748075" y="1059427"/>
                </a:lnTo>
                <a:lnTo>
                  <a:pt x="2743192" y="1059427"/>
                </a:lnTo>
                <a:lnTo>
                  <a:pt x="2743409" y="1056504"/>
                </a:lnTo>
                <a:lnTo>
                  <a:pt x="2741347" y="1053473"/>
                </a:lnTo>
                <a:lnTo>
                  <a:pt x="2738851" y="1052173"/>
                </a:lnTo>
                <a:lnTo>
                  <a:pt x="2737333" y="1050874"/>
                </a:lnTo>
                <a:lnTo>
                  <a:pt x="2735271" y="1052715"/>
                </a:lnTo>
                <a:lnTo>
                  <a:pt x="2732775" y="1055963"/>
                </a:lnTo>
                <a:lnTo>
                  <a:pt x="2735813" y="1054663"/>
                </a:lnTo>
                <a:lnTo>
                  <a:pt x="2738092" y="1055205"/>
                </a:lnTo>
                <a:lnTo>
                  <a:pt x="2739719" y="1057262"/>
                </a:lnTo>
                <a:lnTo>
                  <a:pt x="2738092" y="1058128"/>
                </a:lnTo>
                <a:lnTo>
                  <a:pt x="2740262" y="1059319"/>
                </a:lnTo>
                <a:lnTo>
                  <a:pt x="2741239" y="1061810"/>
                </a:lnTo>
                <a:lnTo>
                  <a:pt x="2739286" y="1062675"/>
                </a:lnTo>
                <a:lnTo>
                  <a:pt x="2735921" y="1061810"/>
                </a:lnTo>
                <a:lnTo>
                  <a:pt x="2733208" y="1063433"/>
                </a:lnTo>
                <a:lnTo>
                  <a:pt x="2734728" y="1064733"/>
                </a:lnTo>
                <a:lnTo>
                  <a:pt x="2740696" y="1064841"/>
                </a:lnTo>
                <a:lnTo>
                  <a:pt x="2742867" y="1064841"/>
                </a:lnTo>
                <a:lnTo>
                  <a:pt x="2743192" y="1066573"/>
                </a:lnTo>
                <a:lnTo>
                  <a:pt x="2741022" y="1069388"/>
                </a:lnTo>
                <a:lnTo>
                  <a:pt x="2737333" y="1069388"/>
                </a:lnTo>
                <a:lnTo>
                  <a:pt x="2733968" y="1070146"/>
                </a:lnTo>
                <a:lnTo>
                  <a:pt x="2729410" y="1069496"/>
                </a:lnTo>
                <a:lnTo>
                  <a:pt x="2725612" y="1068739"/>
                </a:lnTo>
                <a:lnTo>
                  <a:pt x="2726697" y="1065274"/>
                </a:lnTo>
                <a:lnTo>
                  <a:pt x="2726372" y="1063217"/>
                </a:lnTo>
                <a:lnTo>
                  <a:pt x="2723225" y="1061484"/>
                </a:lnTo>
                <a:lnTo>
                  <a:pt x="2721923" y="1059861"/>
                </a:lnTo>
                <a:lnTo>
                  <a:pt x="2719969" y="1060510"/>
                </a:lnTo>
                <a:lnTo>
                  <a:pt x="2720404" y="1063000"/>
                </a:lnTo>
                <a:lnTo>
                  <a:pt x="2722466" y="1064516"/>
                </a:lnTo>
                <a:lnTo>
                  <a:pt x="2723442" y="1068197"/>
                </a:lnTo>
                <a:lnTo>
                  <a:pt x="2722791" y="1070038"/>
                </a:lnTo>
                <a:lnTo>
                  <a:pt x="2719644" y="1070363"/>
                </a:lnTo>
                <a:lnTo>
                  <a:pt x="2716280" y="1068197"/>
                </a:lnTo>
                <a:lnTo>
                  <a:pt x="2715520" y="1065816"/>
                </a:lnTo>
                <a:lnTo>
                  <a:pt x="2714869" y="1070038"/>
                </a:lnTo>
                <a:lnTo>
                  <a:pt x="2717256" y="1072528"/>
                </a:lnTo>
                <a:lnTo>
                  <a:pt x="2721923" y="1072528"/>
                </a:lnTo>
                <a:lnTo>
                  <a:pt x="2724311" y="1074694"/>
                </a:lnTo>
                <a:lnTo>
                  <a:pt x="2727024" y="1075559"/>
                </a:lnTo>
                <a:lnTo>
                  <a:pt x="2727566" y="1078267"/>
                </a:lnTo>
                <a:lnTo>
                  <a:pt x="2726264" y="1081514"/>
                </a:lnTo>
                <a:lnTo>
                  <a:pt x="2719536" y="1081298"/>
                </a:lnTo>
                <a:lnTo>
                  <a:pt x="2717908" y="1078483"/>
                </a:lnTo>
                <a:lnTo>
                  <a:pt x="2713676" y="1075776"/>
                </a:lnTo>
                <a:lnTo>
                  <a:pt x="2711722" y="1073719"/>
                </a:lnTo>
                <a:lnTo>
                  <a:pt x="2710420" y="1073828"/>
                </a:lnTo>
                <a:lnTo>
                  <a:pt x="2711614" y="1075776"/>
                </a:lnTo>
                <a:lnTo>
                  <a:pt x="2716280" y="1079241"/>
                </a:lnTo>
                <a:lnTo>
                  <a:pt x="2718016" y="1082814"/>
                </a:lnTo>
                <a:lnTo>
                  <a:pt x="2717908" y="1087902"/>
                </a:lnTo>
                <a:lnTo>
                  <a:pt x="2716388" y="1090609"/>
                </a:lnTo>
                <a:lnTo>
                  <a:pt x="2714218" y="1090285"/>
                </a:lnTo>
                <a:lnTo>
                  <a:pt x="2713025" y="1087036"/>
                </a:lnTo>
                <a:lnTo>
                  <a:pt x="2710203" y="1084763"/>
                </a:lnTo>
                <a:lnTo>
                  <a:pt x="2706947" y="1083572"/>
                </a:lnTo>
                <a:lnTo>
                  <a:pt x="2707707" y="1084871"/>
                </a:lnTo>
                <a:lnTo>
                  <a:pt x="2709335" y="1086387"/>
                </a:lnTo>
                <a:lnTo>
                  <a:pt x="2709227" y="1090609"/>
                </a:lnTo>
                <a:lnTo>
                  <a:pt x="2709010" y="1096240"/>
                </a:lnTo>
                <a:lnTo>
                  <a:pt x="2707815" y="1097106"/>
                </a:lnTo>
                <a:lnTo>
                  <a:pt x="2705537" y="1097106"/>
                </a:lnTo>
                <a:lnTo>
                  <a:pt x="2704017" y="1095590"/>
                </a:lnTo>
                <a:lnTo>
                  <a:pt x="2704235" y="1091259"/>
                </a:lnTo>
                <a:lnTo>
                  <a:pt x="2702499" y="1092017"/>
                </a:lnTo>
                <a:lnTo>
                  <a:pt x="2701847" y="1094616"/>
                </a:lnTo>
                <a:lnTo>
                  <a:pt x="2698592" y="1095373"/>
                </a:lnTo>
                <a:lnTo>
                  <a:pt x="2696530" y="1094507"/>
                </a:lnTo>
                <a:lnTo>
                  <a:pt x="2697181" y="1091367"/>
                </a:lnTo>
                <a:lnTo>
                  <a:pt x="2695988" y="1088010"/>
                </a:lnTo>
                <a:lnTo>
                  <a:pt x="2695770" y="1084438"/>
                </a:lnTo>
                <a:lnTo>
                  <a:pt x="2694251" y="1082706"/>
                </a:lnTo>
                <a:lnTo>
                  <a:pt x="2693600" y="1085196"/>
                </a:lnTo>
                <a:lnTo>
                  <a:pt x="2693600" y="1091584"/>
                </a:lnTo>
                <a:lnTo>
                  <a:pt x="2691538" y="1093316"/>
                </a:lnTo>
                <a:lnTo>
                  <a:pt x="2688500" y="1093424"/>
                </a:lnTo>
                <a:lnTo>
                  <a:pt x="2689585" y="1094616"/>
                </a:lnTo>
                <a:lnTo>
                  <a:pt x="2692190" y="1095048"/>
                </a:lnTo>
                <a:lnTo>
                  <a:pt x="2692840" y="1096997"/>
                </a:lnTo>
                <a:lnTo>
                  <a:pt x="2690887" y="1099487"/>
                </a:lnTo>
                <a:lnTo>
                  <a:pt x="2688066" y="1098838"/>
                </a:lnTo>
                <a:lnTo>
                  <a:pt x="2686872" y="1098080"/>
                </a:lnTo>
                <a:lnTo>
                  <a:pt x="2686547" y="1099487"/>
                </a:lnTo>
                <a:lnTo>
                  <a:pt x="2689151" y="1101545"/>
                </a:lnTo>
                <a:lnTo>
                  <a:pt x="2691104" y="1101545"/>
                </a:lnTo>
                <a:lnTo>
                  <a:pt x="2691538" y="1103493"/>
                </a:lnTo>
                <a:lnTo>
                  <a:pt x="2691104" y="1106308"/>
                </a:lnTo>
                <a:lnTo>
                  <a:pt x="2689151" y="1106958"/>
                </a:lnTo>
                <a:lnTo>
                  <a:pt x="2688717" y="1109124"/>
                </a:lnTo>
                <a:lnTo>
                  <a:pt x="2690127" y="1112480"/>
                </a:lnTo>
                <a:lnTo>
                  <a:pt x="2690127" y="1115079"/>
                </a:lnTo>
                <a:lnTo>
                  <a:pt x="2688717" y="1115079"/>
                </a:lnTo>
                <a:lnTo>
                  <a:pt x="2686764" y="1113671"/>
                </a:lnTo>
                <a:lnTo>
                  <a:pt x="2685787" y="1114104"/>
                </a:lnTo>
                <a:lnTo>
                  <a:pt x="2688825" y="1117352"/>
                </a:lnTo>
                <a:lnTo>
                  <a:pt x="2689259" y="1119951"/>
                </a:lnTo>
                <a:lnTo>
                  <a:pt x="2688717" y="1123524"/>
                </a:lnTo>
                <a:lnTo>
                  <a:pt x="2684051" y="1125040"/>
                </a:lnTo>
                <a:lnTo>
                  <a:pt x="2682966" y="1126880"/>
                </a:lnTo>
                <a:lnTo>
                  <a:pt x="2681121" y="1126122"/>
                </a:lnTo>
                <a:lnTo>
                  <a:pt x="2680686" y="1124173"/>
                </a:lnTo>
                <a:lnTo>
                  <a:pt x="2679710" y="1123199"/>
                </a:lnTo>
                <a:lnTo>
                  <a:pt x="2679927" y="1121250"/>
                </a:lnTo>
                <a:lnTo>
                  <a:pt x="2677431" y="1120383"/>
                </a:lnTo>
                <a:lnTo>
                  <a:pt x="2676888" y="1118760"/>
                </a:lnTo>
                <a:lnTo>
                  <a:pt x="2678516" y="1116377"/>
                </a:lnTo>
                <a:lnTo>
                  <a:pt x="2678516" y="1114429"/>
                </a:lnTo>
                <a:lnTo>
                  <a:pt x="2677106" y="1114646"/>
                </a:lnTo>
                <a:lnTo>
                  <a:pt x="2673850" y="1116053"/>
                </a:lnTo>
                <a:lnTo>
                  <a:pt x="2672765" y="1118543"/>
                </a:lnTo>
                <a:lnTo>
                  <a:pt x="2671245" y="1118326"/>
                </a:lnTo>
                <a:lnTo>
                  <a:pt x="2669075" y="1115620"/>
                </a:lnTo>
                <a:lnTo>
                  <a:pt x="2670595" y="1113454"/>
                </a:lnTo>
                <a:lnTo>
                  <a:pt x="2668967" y="1111289"/>
                </a:lnTo>
                <a:lnTo>
                  <a:pt x="2668967" y="1109773"/>
                </a:lnTo>
                <a:lnTo>
                  <a:pt x="2670595" y="1108257"/>
                </a:lnTo>
                <a:lnTo>
                  <a:pt x="2670812" y="1106417"/>
                </a:lnTo>
                <a:lnTo>
                  <a:pt x="2671463" y="1104360"/>
                </a:lnTo>
                <a:lnTo>
                  <a:pt x="2670595" y="1103926"/>
                </a:lnTo>
                <a:lnTo>
                  <a:pt x="2668207" y="1106417"/>
                </a:lnTo>
                <a:lnTo>
                  <a:pt x="2666254" y="1110964"/>
                </a:lnTo>
                <a:lnTo>
                  <a:pt x="2663649" y="1113887"/>
                </a:lnTo>
                <a:lnTo>
                  <a:pt x="2662890" y="1112805"/>
                </a:lnTo>
                <a:lnTo>
                  <a:pt x="2662781" y="1110098"/>
                </a:lnTo>
                <a:lnTo>
                  <a:pt x="2661045" y="1107175"/>
                </a:lnTo>
                <a:lnTo>
                  <a:pt x="2660177" y="1104360"/>
                </a:lnTo>
                <a:lnTo>
                  <a:pt x="2661804" y="1102628"/>
                </a:lnTo>
                <a:lnTo>
                  <a:pt x="2666037" y="1100895"/>
                </a:lnTo>
                <a:lnTo>
                  <a:pt x="2666037" y="1099812"/>
                </a:lnTo>
                <a:lnTo>
                  <a:pt x="2668424" y="1098946"/>
                </a:lnTo>
                <a:lnTo>
                  <a:pt x="2667556" y="1097755"/>
                </a:lnTo>
                <a:lnTo>
                  <a:pt x="2664084" y="1097430"/>
                </a:lnTo>
                <a:lnTo>
                  <a:pt x="2661154" y="1098188"/>
                </a:lnTo>
                <a:lnTo>
                  <a:pt x="2658006" y="1097430"/>
                </a:lnTo>
                <a:lnTo>
                  <a:pt x="2657247" y="1095914"/>
                </a:lnTo>
                <a:lnTo>
                  <a:pt x="2658224" y="1093749"/>
                </a:lnTo>
                <a:lnTo>
                  <a:pt x="2661804" y="1092883"/>
                </a:lnTo>
                <a:lnTo>
                  <a:pt x="2664952" y="1088877"/>
                </a:lnTo>
                <a:lnTo>
                  <a:pt x="2662890" y="1089526"/>
                </a:lnTo>
                <a:lnTo>
                  <a:pt x="2660068" y="1090718"/>
                </a:lnTo>
                <a:lnTo>
                  <a:pt x="2658006" y="1089743"/>
                </a:lnTo>
                <a:lnTo>
                  <a:pt x="2657681" y="1087469"/>
                </a:lnTo>
                <a:lnTo>
                  <a:pt x="2660068" y="1086495"/>
                </a:lnTo>
                <a:lnTo>
                  <a:pt x="2663216" y="1085196"/>
                </a:lnTo>
                <a:lnTo>
                  <a:pt x="2666362" y="1084222"/>
                </a:lnTo>
                <a:lnTo>
                  <a:pt x="2663649" y="1083030"/>
                </a:lnTo>
                <a:lnTo>
                  <a:pt x="2660177" y="1083139"/>
                </a:lnTo>
                <a:lnTo>
                  <a:pt x="2657898" y="1084655"/>
                </a:lnTo>
                <a:lnTo>
                  <a:pt x="2656270" y="1083572"/>
                </a:lnTo>
                <a:lnTo>
                  <a:pt x="2656705" y="1081514"/>
                </a:lnTo>
                <a:lnTo>
                  <a:pt x="2660286" y="1076426"/>
                </a:lnTo>
                <a:lnTo>
                  <a:pt x="2662564" y="1075559"/>
                </a:lnTo>
                <a:lnTo>
                  <a:pt x="2667339" y="1074694"/>
                </a:lnTo>
                <a:lnTo>
                  <a:pt x="2671137" y="1071553"/>
                </a:lnTo>
                <a:lnTo>
                  <a:pt x="2674176" y="1069605"/>
                </a:lnTo>
                <a:lnTo>
                  <a:pt x="2676020" y="1065816"/>
                </a:lnTo>
                <a:lnTo>
                  <a:pt x="2679493" y="1061918"/>
                </a:lnTo>
                <a:lnTo>
                  <a:pt x="2681446" y="1060835"/>
                </a:lnTo>
                <a:lnTo>
                  <a:pt x="2681012" y="1059211"/>
                </a:lnTo>
                <a:lnTo>
                  <a:pt x="2679059" y="1059535"/>
                </a:lnTo>
                <a:lnTo>
                  <a:pt x="2674718" y="1063000"/>
                </a:lnTo>
                <a:lnTo>
                  <a:pt x="2672331" y="1064300"/>
                </a:lnTo>
                <a:lnTo>
                  <a:pt x="2670269" y="1067765"/>
                </a:lnTo>
                <a:lnTo>
                  <a:pt x="2664734" y="1070363"/>
                </a:lnTo>
                <a:lnTo>
                  <a:pt x="2661804" y="1070363"/>
                </a:lnTo>
                <a:lnTo>
                  <a:pt x="2655620" y="1074694"/>
                </a:lnTo>
                <a:lnTo>
                  <a:pt x="2651170" y="1075343"/>
                </a:lnTo>
                <a:lnTo>
                  <a:pt x="2648132" y="1074152"/>
                </a:lnTo>
                <a:lnTo>
                  <a:pt x="2648240" y="1072420"/>
                </a:lnTo>
                <a:lnTo>
                  <a:pt x="2654643" y="1065707"/>
                </a:lnTo>
                <a:lnTo>
                  <a:pt x="2659418" y="1063108"/>
                </a:lnTo>
                <a:lnTo>
                  <a:pt x="2660719" y="1060835"/>
                </a:lnTo>
                <a:lnTo>
                  <a:pt x="2662456" y="1058886"/>
                </a:lnTo>
                <a:lnTo>
                  <a:pt x="2662131" y="1055638"/>
                </a:lnTo>
                <a:lnTo>
                  <a:pt x="2658766" y="1060618"/>
                </a:lnTo>
                <a:lnTo>
                  <a:pt x="2649759" y="1066032"/>
                </a:lnTo>
                <a:lnTo>
                  <a:pt x="2646829" y="1067547"/>
                </a:lnTo>
                <a:lnTo>
                  <a:pt x="2644659" y="1066790"/>
                </a:lnTo>
                <a:lnTo>
                  <a:pt x="2643574" y="1065057"/>
                </a:lnTo>
                <a:lnTo>
                  <a:pt x="2644116" y="1061810"/>
                </a:lnTo>
                <a:lnTo>
                  <a:pt x="2642923" y="1060185"/>
                </a:lnTo>
                <a:lnTo>
                  <a:pt x="2640427" y="1060943"/>
                </a:lnTo>
                <a:lnTo>
                  <a:pt x="2638148" y="1059535"/>
                </a:lnTo>
                <a:lnTo>
                  <a:pt x="2639341" y="1057804"/>
                </a:lnTo>
                <a:lnTo>
                  <a:pt x="2641621" y="1057045"/>
                </a:lnTo>
                <a:lnTo>
                  <a:pt x="2641621" y="1054772"/>
                </a:lnTo>
                <a:lnTo>
                  <a:pt x="2639884" y="1053473"/>
                </a:lnTo>
                <a:lnTo>
                  <a:pt x="2637606" y="1053473"/>
                </a:lnTo>
                <a:lnTo>
                  <a:pt x="2637171" y="1052282"/>
                </a:lnTo>
                <a:lnTo>
                  <a:pt x="2637714" y="1047843"/>
                </a:lnTo>
                <a:lnTo>
                  <a:pt x="2639341" y="1046868"/>
                </a:lnTo>
                <a:lnTo>
                  <a:pt x="2639450" y="1044270"/>
                </a:lnTo>
                <a:lnTo>
                  <a:pt x="2636955" y="1042862"/>
                </a:lnTo>
                <a:lnTo>
                  <a:pt x="2635110" y="1040480"/>
                </a:lnTo>
                <a:lnTo>
                  <a:pt x="2634133" y="1040696"/>
                </a:lnTo>
                <a:lnTo>
                  <a:pt x="2634025" y="1043837"/>
                </a:lnTo>
                <a:lnTo>
                  <a:pt x="2634784" y="1046327"/>
                </a:lnTo>
                <a:lnTo>
                  <a:pt x="2631095" y="1047734"/>
                </a:lnTo>
                <a:lnTo>
                  <a:pt x="2629032" y="1045785"/>
                </a:lnTo>
                <a:lnTo>
                  <a:pt x="2626646" y="1043512"/>
                </a:lnTo>
                <a:lnTo>
                  <a:pt x="2622630" y="1043620"/>
                </a:lnTo>
                <a:lnTo>
                  <a:pt x="2627079" y="1046327"/>
                </a:lnTo>
                <a:lnTo>
                  <a:pt x="2629684" y="1050766"/>
                </a:lnTo>
                <a:lnTo>
                  <a:pt x="2630227" y="1054772"/>
                </a:lnTo>
                <a:lnTo>
                  <a:pt x="2627297" y="1054014"/>
                </a:lnTo>
                <a:lnTo>
                  <a:pt x="2626537" y="1055313"/>
                </a:lnTo>
                <a:lnTo>
                  <a:pt x="2627188" y="1056504"/>
                </a:lnTo>
                <a:lnTo>
                  <a:pt x="2623607" y="1057045"/>
                </a:lnTo>
                <a:lnTo>
                  <a:pt x="2621436" y="1054447"/>
                </a:lnTo>
                <a:lnTo>
                  <a:pt x="2620351" y="1049792"/>
                </a:lnTo>
                <a:lnTo>
                  <a:pt x="2618398" y="1048384"/>
                </a:lnTo>
                <a:lnTo>
                  <a:pt x="2617096" y="1049683"/>
                </a:lnTo>
                <a:lnTo>
                  <a:pt x="2619591" y="1052173"/>
                </a:lnTo>
                <a:lnTo>
                  <a:pt x="2620026" y="1055313"/>
                </a:lnTo>
                <a:lnTo>
                  <a:pt x="2618615" y="1058669"/>
                </a:lnTo>
                <a:lnTo>
                  <a:pt x="2621545" y="1059319"/>
                </a:lnTo>
                <a:lnTo>
                  <a:pt x="2624475" y="1062892"/>
                </a:lnTo>
                <a:lnTo>
                  <a:pt x="2625994" y="1066898"/>
                </a:lnTo>
                <a:lnTo>
                  <a:pt x="2625560" y="1069930"/>
                </a:lnTo>
                <a:lnTo>
                  <a:pt x="2627514" y="1070471"/>
                </a:lnTo>
                <a:lnTo>
                  <a:pt x="2627079" y="1072528"/>
                </a:lnTo>
                <a:lnTo>
                  <a:pt x="2624475" y="1073394"/>
                </a:lnTo>
                <a:lnTo>
                  <a:pt x="2619591" y="1072853"/>
                </a:lnTo>
                <a:lnTo>
                  <a:pt x="2617530" y="1070255"/>
                </a:lnTo>
                <a:lnTo>
                  <a:pt x="2616228" y="1074369"/>
                </a:lnTo>
                <a:lnTo>
                  <a:pt x="2614708" y="1074369"/>
                </a:lnTo>
                <a:lnTo>
                  <a:pt x="2610259" y="1069280"/>
                </a:lnTo>
                <a:lnTo>
                  <a:pt x="2609500" y="1066140"/>
                </a:lnTo>
                <a:lnTo>
                  <a:pt x="2611127" y="1063433"/>
                </a:lnTo>
                <a:lnTo>
                  <a:pt x="2610259" y="1060618"/>
                </a:lnTo>
                <a:lnTo>
                  <a:pt x="2606461" y="1058237"/>
                </a:lnTo>
                <a:lnTo>
                  <a:pt x="2602663" y="1058453"/>
                </a:lnTo>
                <a:lnTo>
                  <a:pt x="2602012" y="1055963"/>
                </a:lnTo>
                <a:lnTo>
                  <a:pt x="2600276" y="1052715"/>
                </a:lnTo>
                <a:lnTo>
                  <a:pt x="2597888" y="1054447"/>
                </a:lnTo>
                <a:lnTo>
                  <a:pt x="2593765" y="1055529"/>
                </a:lnTo>
                <a:lnTo>
                  <a:pt x="2588447" y="1055096"/>
                </a:lnTo>
                <a:lnTo>
                  <a:pt x="2590509" y="1057587"/>
                </a:lnTo>
                <a:lnTo>
                  <a:pt x="2596261" y="1058020"/>
                </a:lnTo>
                <a:lnTo>
                  <a:pt x="2599841" y="1059535"/>
                </a:lnTo>
                <a:lnTo>
                  <a:pt x="2604834" y="1061051"/>
                </a:lnTo>
                <a:lnTo>
                  <a:pt x="2604834" y="1065816"/>
                </a:lnTo>
                <a:lnTo>
                  <a:pt x="2602229" y="1069063"/>
                </a:lnTo>
                <a:lnTo>
                  <a:pt x="2602338" y="1071770"/>
                </a:lnTo>
                <a:lnTo>
                  <a:pt x="2604942" y="1071229"/>
                </a:lnTo>
                <a:lnTo>
                  <a:pt x="2606461" y="1073394"/>
                </a:lnTo>
                <a:lnTo>
                  <a:pt x="2604725" y="1075885"/>
                </a:lnTo>
                <a:lnTo>
                  <a:pt x="2606679" y="1076751"/>
                </a:lnTo>
                <a:lnTo>
                  <a:pt x="2610585" y="1076751"/>
                </a:lnTo>
                <a:lnTo>
                  <a:pt x="2610802" y="1078808"/>
                </a:lnTo>
                <a:lnTo>
                  <a:pt x="2608197" y="1082922"/>
                </a:lnTo>
                <a:lnTo>
                  <a:pt x="2601904" y="1088336"/>
                </a:lnTo>
                <a:lnTo>
                  <a:pt x="2597997" y="1091584"/>
                </a:lnTo>
                <a:lnTo>
                  <a:pt x="2606461" y="1089526"/>
                </a:lnTo>
                <a:lnTo>
                  <a:pt x="2609065" y="1086495"/>
                </a:lnTo>
                <a:lnTo>
                  <a:pt x="2609934" y="1084438"/>
                </a:lnTo>
                <a:lnTo>
                  <a:pt x="2616553" y="1084546"/>
                </a:lnTo>
                <a:lnTo>
                  <a:pt x="2618506" y="1086712"/>
                </a:lnTo>
                <a:lnTo>
                  <a:pt x="2618506" y="1088336"/>
                </a:lnTo>
                <a:lnTo>
                  <a:pt x="2614383" y="1090501"/>
                </a:lnTo>
                <a:lnTo>
                  <a:pt x="2612321" y="1093424"/>
                </a:lnTo>
                <a:lnTo>
                  <a:pt x="2614057" y="1094724"/>
                </a:lnTo>
                <a:lnTo>
                  <a:pt x="2618073" y="1095265"/>
                </a:lnTo>
                <a:lnTo>
                  <a:pt x="2620677" y="1097863"/>
                </a:lnTo>
                <a:lnTo>
                  <a:pt x="2618398" y="1099271"/>
                </a:lnTo>
                <a:lnTo>
                  <a:pt x="2614166" y="1099812"/>
                </a:lnTo>
                <a:lnTo>
                  <a:pt x="2612864" y="1101761"/>
                </a:lnTo>
                <a:lnTo>
                  <a:pt x="2615143" y="1102519"/>
                </a:lnTo>
                <a:lnTo>
                  <a:pt x="2615902" y="1105334"/>
                </a:lnTo>
                <a:lnTo>
                  <a:pt x="2615360" y="1105875"/>
                </a:lnTo>
                <a:lnTo>
                  <a:pt x="2615793" y="1107391"/>
                </a:lnTo>
                <a:lnTo>
                  <a:pt x="2617530" y="1107391"/>
                </a:lnTo>
                <a:lnTo>
                  <a:pt x="2616770" y="1111181"/>
                </a:lnTo>
                <a:lnTo>
                  <a:pt x="2618723" y="1111614"/>
                </a:lnTo>
                <a:lnTo>
                  <a:pt x="2619591" y="1114862"/>
                </a:lnTo>
                <a:lnTo>
                  <a:pt x="2620134" y="1120601"/>
                </a:lnTo>
                <a:lnTo>
                  <a:pt x="2621219" y="1121358"/>
                </a:lnTo>
                <a:lnTo>
                  <a:pt x="2622522" y="1118760"/>
                </a:lnTo>
                <a:lnTo>
                  <a:pt x="2622956" y="1114320"/>
                </a:lnTo>
                <a:lnTo>
                  <a:pt x="2625017" y="1113021"/>
                </a:lnTo>
                <a:lnTo>
                  <a:pt x="2627730" y="1115512"/>
                </a:lnTo>
                <a:lnTo>
                  <a:pt x="2628382" y="1120383"/>
                </a:lnTo>
                <a:lnTo>
                  <a:pt x="2630227" y="1122549"/>
                </a:lnTo>
                <a:lnTo>
                  <a:pt x="2629250" y="1124173"/>
                </a:lnTo>
                <a:lnTo>
                  <a:pt x="2625777" y="1126338"/>
                </a:lnTo>
                <a:lnTo>
                  <a:pt x="2626537" y="1128071"/>
                </a:lnTo>
                <a:lnTo>
                  <a:pt x="2632288" y="1127205"/>
                </a:lnTo>
                <a:lnTo>
                  <a:pt x="2633590" y="1126122"/>
                </a:lnTo>
                <a:lnTo>
                  <a:pt x="2633916" y="1129154"/>
                </a:lnTo>
                <a:lnTo>
                  <a:pt x="2635978" y="1126014"/>
                </a:lnTo>
                <a:lnTo>
                  <a:pt x="2636086" y="1123524"/>
                </a:lnTo>
                <a:lnTo>
                  <a:pt x="2638691" y="1123848"/>
                </a:lnTo>
                <a:lnTo>
                  <a:pt x="2640753" y="1127313"/>
                </a:lnTo>
                <a:lnTo>
                  <a:pt x="2639884" y="1131319"/>
                </a:lnTo>
                <a:lnTo>
                  <a:pt x="2636846" y="1134350"/>
                </a:lnTo>
                <a:lnTo>
                  <a:pt x="2636195" y="1137058"/>
                </a:lnTo>
                <a:lnTo>
                  <a:pt x="2635218" y="1138465"/>
                </a:lnTo>
                <a:lnTo>
                  <a:pt x="2637497" y="1140522"/>
                </a:lnTo>
                <a:lnTo>
                  <a:pt x="2643140" y="1139981"/>
                </a:lnTo>
                <a:lnTo>
                  <a:pt x="2645961" y="1138573"/>
                </a:lnTo>
                <a:lnTo>
                  <a:pt x="2647915" y="1140414"/>
                </a:lnTo>
                <a:lnTo>
                  <a:pt x="2644225" y="1143121"/>
                </a:lnTo>
                <a:lnTo>
                  <a:pt x="2643248" y="1144744"/>
                </a:lnTo>
                <a:lnTo>
                  <a:pt x="2638148" y="1145611"/>
                </a:lnTo>
                <a:lnTo>
                  <a:pt x="2640969" y="1148859"/>
                </a:lnTo>
                <a:lnTo>
                  <a:pt x="2643682" y="1153839"/>
                </a:lnTo>
                <a:lnTo>
                  <a:pt x="2642706" y="1157304"/>
                </a:lnTo>
                <a:lnTo>
                  <a:pt x="2644876" y="1157845"/>
                </a:lnTo>
                <a:lnTo>
                  <a:pt x="2645744" y="1163692"/>
                </a:lnTo>
                <a:lnTo>
                  <a:pt x="2650953" y="1171812"/>
                </a:lnTo>
                <a:lnTo>
                  <a:pt x="2652472" y="1173111"/>
                </a:lnTo>
                <a:lnTo>
                  <a:pt x="2649434" y="1174844"/>
                </a:lnTo>
                <a:lnTo>
                  <a:pt x="2648891" y="1181448"/>
                </a:lnTo>
                <a:lnTo>
                  <a:pt x="2646612" y="1186212"/>
                </a:lnTo>
                <a:lnTo>
                  <a:pt x="2647697" y="1191193"/>
                </a:lnTo>
                <a:lnTo>
                  <a:pt x="2646287" y="1192925"/>
                </a:lnTo>
                <a:lnTo>
                  <a:pt x="2640210" y="1186104"/>
                </a:lnTo>
                <a:lnTo>
                  <a:pt x="2638908" y="1180690"/>
                </a:lnTo>
                <a:lnTo>
                  <a:pt x="2639559" y="1175927"/>
                </a:lnTo>
                <a:lnTo>
                  <a:pt x="2638040" y="1169213"/>
                </a:lnTo>
                <a:lnTo>
                  <a:pt x="2637497" y="1175168"/>
                </a:lnTo>
                <a:lnTo>
                  <a:pt x="2636629" y="1181882"/>
                </a:lnTo>
                <a:lnTo>
                  <a:pt x="2639559" y="1189785"/>
                </a:lnTo>
                <a:lnTo>
                  <a:pt x="2639016" y="1197256"/>
                </a:lnTo>
                <a:lnTo>
                  <a:pt x="2637497" y="1201045"/>
                </a:lnTo>
                <a:lnTo>
                  <a:pt x="2640101" y="1205484"/>
                </a:lnTo>
                <a:lnTo>
                  <a:pt x="2638691" y="1207000"/>
                </a:lnTo>
                <a:lnTo>
                  <a:pt x="2634567" y="1206134"/>
                </a:lnTo>
                <a:lnTo>
                  <a:pt x="2632505" y="1202669"/>
                </a:lnTo>
                <a:lnTo>
                  <a:pt x="2628707" y="1202669"/>
                </a:lnTo>
                <a:lnTo>
                  <a:pt x="2631312" y="1211439"/>
                </a:lnTo>
                <a:lnTo>
                  <a:pt x="2630986" y="1217178"/>
                </a:lnTo>
                <a:lnTo>
                  <a:pt x="2632288" y="1218585"/>
                </a:lnTo>
                <a:lnTo>
                  <a:pt x="2632288" y="1221617"/>
                </a:lnTo>
                <a:lnTo>
                  <a:pt x="2628056" y="1221075"/>
                </a:lnTo>
                <a:lnTo>
                  <a:pt x="2625452" y="1218152"/>
                </a:lnTo>
                <a:lnTo>
                  <a:pt x="2623716" y="1210790"/>
                </a:lnTo>
                <a:lnTo>
                  <a:pt x="2625234" y="1208624"/>
                </a:lnTo>
                <a:lnTo>
                  <a:pt x="2625234" y="1203968"/>
                </a:lnTo>
                <a:lnTo>
                  <a:pt x="2623173" y="1206459"/>
                </a:lnTo>
                <a:lnTo>
                  <a:pt x="2619917" y="1207000"/>
                </a:lnTo>
                <a:lnTo>
                  <a:pt x="2617964" y="1204294"/>
                </a:lnTo>
                <a:lnTo>
                  <a:pt x="2617964" y="1197364"/>
                </a:lnTo>
                <a:lnTo>
                  <a:pt x="2615468" y="1198880"/>
                </a:lnTo>
                <a:lnTo>
                  <a:pt x="2615143" y="1202345"/>
                </a:lnTo>
                <a:lnTo>
                  <a:pt x="2614057" y="1200829"/>
                </a:lnTo>
                <a:lnTo>
                  <a:pt x="2614275" y="1197905"/>
                </a:lnTo>
                <a:lnTo>
                  <a:pt x="2612647" y="1193574"/>
                </a:lnTo>
                <a:lnTo>
                  <a:pt x="2609717" y="1192925"/>
                </a:lnTo>
                <a:lnTo>
                  <a:pt x="2609717" y="1194766"/>
                </a:lnTo>
                <a:lnTo>
                  <a:pt x="2611453" y="1197039"/>
                </a:lnTo>
                <a:lnTo>
                  <a:pt x="2610150" y="1199746"/>
                </a:lnTo>
                <a:lnTo>
                  <a:pt x="2607112" y="1197689"/>
                </a:lnTo>
                <a:lnTo>
                  <a:pt x="2604942" y="1197039"/>
                </a:lnTo>
                <a:lnTo>
                  <a:pt x="2604399" y="1193250"/>
                </a:lnTo>
                <a:lnTo>
                  <a:pt x="2604942" y="1189135"/>
                </a:lnTo>
                <a:lnTo>
                  <a:pt x="2602338" y="1181882"/>
                </a:lnTo>
                <a:lnTo>
                  <a:pt x="2602338" y="1178958"/>
                </a:lnTo>
                <a:lnTo>
                  <a:pt x="2601144" y="1183180"/>
                </a:lnTo>
                <a:lnTo>
                  <a:pt x="2601469" y="1190218"/>
                </a:lnTo>
                <a:lnTo>
                  <a:pt x="2602663" y="1194657"/>
                </a:lnTo>
                <a:lnTo>
                  <a:pt x="2600059" y="1197364"/>
                </a:lnTo>
                <a:lnTo>
                  <a:pt x="2596803" y="1189677"/>
                </a:lnTo>
                <a:lnTo>
                  <a:pt x="2593548" y="1186429"/>
                </a:lnTo>
                <a:lnTo>
                  <a:pt x="2593548" y="1184155"/>
                </a:lnTo>
                <a:lnTo>
                  <a:pt x="2590292" y="1183505"/>
                </a:lnTo>
                <a:lnTo>
                  <a:pt x="2588014" y="1176035"/>
                </a:lnTo>
                <a:lnTo>
                  <a:pt x="2585952" y="1174194"/>
                </a:lnTo>
                <a:lnTo>
                  <a:pt x="2585952" y="1171812"/>
                </a:lnTo>
                <a:lnTo>
                  <a:pt x="2583889" y="1168348"/>
                </a:lnTo>
                <a:lnTo>
                  <a:pt x="2581503" y="1169755"/>
                </a:lnTo>
                <a:lnTo>
                  <a:pt x="2581177" y="1171812"/>
                </a:lnTo>
                <a:lnTo>
                  <a:pt x="2583347" y="1177334"/>
                </a:lnTo>
                <a:lnTo>
                  <a:pt x="2583781" y="1181015"/>
                </a:lnTo>
                <a:lnTo>
                  <a:pt x="2581719" y="1178958"/>
                </a:lnTo>
                <a:lnTo>
                  <a:pt x="2581286" y="1175927"/>
                </a:lnTo>
                <a:lnTo>
                  <a:pt x="2578898" y="1173870"/>
                </a:lnTo>
                <a:lnTo>
                  <a:pt x="2573580" y="1171271"/>
                </a:lnTo>
                <a:lnTo>
                  <a:pt x="2570434" y="1165316"/>
                </a:lnTo>
                <a:lnTo>
                  <a:pt x="2570108" y="1160768"/>
                </a:lnTo>
                <a:lnTo>
                  <a:pt x="2565442" y="1159686"/>
                </a:lnTo>
                <a:lnTo>
                  <a:pt x="2563598" y="1162826"/>
                </a:lnTo>
                <a:lnTo>
                  <a:pt x="2560450" y="1161093"/>
                </a:lnTo>
                <a:lnTo>
                  <a:pt x="2559908" y="1165099"/>
                </a:lnTo>
                <a:lnTo>
                  <a:pt x="2561210" y="1170946"/>
                </a:lnTo>
                <a:lnTo>
                  <a:pt x="2567721" y="1176468"/>
                </a:lnTo>
                <a:lnTo>
                  <a:pt x="2567829" y="1178633"/>
                </a:lnTo>
                <a:lnTo>
                  <a:pt x="2568372" y="1181882"/>
                </a:lnTo>
                <a:lnTo>
                  <a:pt x="2568914" y="1187619"/>
                </a:lnTo>
                <a:lnTo>
                  <a:pt x="2570868" y="1187295"/>
                </a:lnTo>
                <a:lnTo>
                  <a:pt x="2576293" y="1188270"/>
                </a:lnTo>
                <a:lnTo>
                  <a:pt x="2579223" y="1192276"/>
                </a:lnTo>
                <a:lnTo>
                  <a:pt x="2578030" y="1194766"/>
                </a:lnTo>
                <a:lnTo>
                  <a:pt x="2580091" y="1194441"/>
                </a:lnTo>
                <a:lnTo>
                  <a:pt x="2583239" y="1195199"/>
                </a:lnTo>
                <a:lnTo>
                  <a:pt x="2580634" y="1198555"/>
                </a:lnTo>
                <a:lnTo>
                  <a:pt x="2584975" y="1198772"/>
                </a:lnTo>
                <a:lnTo>
                  <a:pt x="2586494" y="1201803"/>
                </a:lnTo>
                <a:lnTo>
                  <a:pt x="2588882" y="1206351"/>
                </a:lnTo>
                <a:lnTo>
                  <a:pt x="2588014" y="1210249"/>
                </a:lnTo>
                <a:lnTo>
                  <a:pt x="2591812" y="1209815"/>
                </a:lnTo>
                <a:lnTo>
                  <a:pt x="2594307" y="1210790"/>
                </a:lnTo>
                <a:lnTo>
                  <a:pt x="2595501" y="1216204"/>
                </a:lnTo>
                <a:lnTo>
                  <a:pt x="2591703" y="1220426"/>
                </a:lnTo>
                <a:lnTo>
                  <a:pt x="2594199" y="1220318"/>
                </a:lnTo>
                <a:lnTo>
                  <a:pt x="2595393" y="1223349"/>
                </a:lnTo>
                <a:lnTo>
                  <a:pt x="2595610" y="1225623"/>
                </a:lnTo>
                <a:lnTo>
                  <a:pt x="2599516" y="1221833"/>
                </a:lnTo>
                <a:lnTo>
                  <a:pt x="2600601" y="1222916"/>
                </a:lnTo>
                <a:lnTo>
                  <a:pt x="2600059" y="1227896"/>
                </a:lnTo>
                <a:lnTo>
                  <a:pt x="2601469" y="1229737"/>
                </a:lnTo>
                <a:lnTo>
                  <a:pt x="2603314" y="1228546"/>
                </a:lnTo>
                <a:lnTo>
                  <a:pt x="2604725" y="1231253"/>
                </a:lnTo>
                <a:lnTo>
                  <a:pt x="2603423" y="1234176"/>
                </a:lnTo>
                <a:lnTo>
                  <a:pt x="2599841" y="1233310"/>
                </a:lnTo>
                <a:lnTo>
                  <a:pt x="2597997" y="1235367"/>
                </a:lnTo>
                <a:lnTo>
                  <a:pt x="2599733" y="1238398"/>
                </a:lnTo>
                <a:lnTo>
                  <a:pt x="2602663" y="1241647"/>
                </a:lnTo>
                <a:lnTo>
                  <a:pt x="2602446" y="1244353"/>
                </a:lnTo>
                <a:lnTo>
                  <a:pt x="2601469" y="1245545"/>
                </a:lnTo>
                <a:lnTo>
                  <a:pt x="2597237" y="1245545"/>
                </a:lnTo>
                <a:lnTo>
                  <a:pt x="2593005" y="1242946"/>
                </a:lnTo>
                <a:lnTo>
                  <a:pt x="2585734" y="1240455"/>
                </a:lnTo>
                <a:lnTo>
                  <a:pt x="2582371" y="1237857"/>
                </a:lnTo>
                <a:lnTo>
                  <a:pt x="2579115" y="1237316"/>
                </a:lnTo>
                <a:lnTo>
                  <a:pt x="2572604" y="1231686"/>
                </a:lnTo>
                <a:lnTo>
                  <a:pt x="2571410" y="1228979"/>
                </a:lnTo>
                <a:lnTo>
                  <a:pt x="2567937" y="1227030"/>
                </a:lnTo>
                <a:lnTo>
                  <a:pt x="2565116" y="1227355"/>
                </a:lnTo>
                <a:lnTo>
                  <a:pt x="2562512" y="1226272"/>
                </a:lnTo>
                <a:lnTo>
                  <a:pt x="2560667" y="1227788"/>
                </a:lnTo>
                <a:lnTo>
                  <a:pt x="2553505" y="1224757"/>
                </a:lnTo>
                <a:lnTo>
                  <a:pt x="2552637" y="1222266"/>
                </a:lnTo>
                <a:lnTo>
                  <a:pt x="2550032" y="1219776"/>
                </a:lnTo>
                <a:lnTo>
                  <a:pt x="2546777" y="1219776"/>
                </a:lnTo>
                <a:lnTo>
                  <a:pt x="2541894" y="1214146"/>
                </a:lnTo>
                <a:lnTo>
                  <a:pt x="2542003" y="1211006"/>
                </a:lnTo>
                <a:lnTo>
                  <a:pt x="2539723" y="1211223"/>
                </a:lnTo>
                <a:lnTo>
                  <a:pt x="2536902" y="1209274"/>
                </a:lnTo>
                <a:lnTo>
                  <a:pt x="2534840" y="1205160"/>
                </a:lnTo>
                <a:lnTo>
                  <a:pt x="2536793" y="1203319"/>
                </a:lnTo>
                <a:lnTo>
                  <a:pt x="2539073" y="1201803"/>
                </a:lnTo>
                <a:lnTo>
                  <a:pt x="2534732" y="1199963"/>
                </a:lnTo>
                <a:lnTo>
                  <a:pt x="2533212" y="1201045"/>
                </a:lnTo>
                <a:lnTo>
                  <a:pt x="2532019" y="1202778"/>
                </a:lnTo>
                <a:lnTo>
                  <a:pt x="2529523" y="1201262"/>
                </a:lnTo>
                <a:lnTo>
                  <a:pt x="2529632" y="1199313"/>
                </a:lnTo>
                <a:lnTo>
                  <a:pt x="2525725" y="1199313"/>
                </a:lnTo>
                <a:lnTo>
                  <a:pt x="2518346" y="1194333"/>
                </a:lnTo>
                <a:lnTo>
                  <a:pt x="2515307" y="1194116"/>
                </a:lnTo>
                <a:lnTo>
                  <a:pt x="2512920" y="1191843"/>
                </a:lnTo>
                <a:lnTo>
                  <a:pt x="2508579" y="1188270"/>
                </a:lnTo>
                <a:lnTo>
                  <a:pt x="2508905" y="1185779"/>
                </a:lnTo>
                <a:lnTo>
                  <a:pt x="2505866" y="1185346"/>
                </a:lnTo>
                <a:lnTo>
                  <a:pt x="2503153" y="1181990"/>
                </a:lnTo>
                <a:lnTo>
                  <a:pt x="2500223" y="1178092"/>
                </a:lnTo>
                <a:lnTo>
                  <a:pt x="2499790" y="1172462"/>
                </a:lnTo>
                <a:lnTo>
                  <a:pt x="2495340" y="1170188"/>
                </a:lnTo>
                <a:lnTo>
                  <a:pt x="2496860" y="1168348"/>
                </a:lnTo>
                <a:lnTo>
                  <a:pt x="2503262" y="1168672"/>
                </a:lnTo>
                <a:lnTo>
                  <a:pt x="2511835" y="1162826"/>
                </a:lnTo>
                <a:lnTo>
                  <a:pt x="2513571" y="1160444"/>
                </a:lnTo>
                <a:lnTo>
                  <a:pt x="2506734" y="1161310"/>
                </a:lnTo>
                <a:lnTo>
                  <a:pt x="2503479" y="1156329"/>
                </a:lnTo>
                <a:lnTo>
                  <a:pt x="2501851" y="1151133"/>
                </a:lnTo>
                <a:lnTo>
                  <a:pt x="2502936" y="1149292"/>
                </a:lnTo>
                <a:lnTo>
                  <a:pt x="2500332" y="1150483"/>
                </a:lnTo>
                <a:lnTo>
                  <a:pt x="2498162" y="1154814"/>
                </a:lnTo>
                <a:lnTo>
                  <a:pt x="2497619" y="1158170"/>
                </a:lnTo>
                <a:lnTo>
                  <a:pt x="2493604" y="1154272"/>
                </a:lnTo>
                <a:lnTo>
                  <a:pt x="2496425" y="1150807"/>
                </a:lnTo>
                <a:lnTo>
                  <a:pt x="2497293" y="1143554"/>
                </a:lnTo>
                <a:lnTo>
                  <a:pt x="2494255" y="1148750"/>
                </a:lnTo>
                <a:lnTo>
                  <a:pt x="2492302" y="1146693"/>
                </a:lnTo>
                <a:lnTo>
                  <a:pt x="2492302" y="1141497"/>
                </a:lnTo>
                <a:lnTo>
                  <a:pt x="2488395" y="1142254"/>
                </a:lnTo>
                <a:lnTo>
                  <a:pt x="2487419" y="1137924"/>
                </a:lnTo>
                <a:lnTo>
                  <a:pt x="2487744" y="1133809"/>
                </a:lnTo>
                <a:lnTo>
                  <a:pt x="2485465" y="1127638"/>
                </a:lnTo>
                <a:lnTo>
                  <a:pt x="2481885" y="1125581"/>
                </a:lnTo>
                <a:lnTo>
                  <a:pt x="2482101" y="1121899"/>
                </a:lnTo>
                <a:lnTo>
                  <a:pt x="2487093" y="1117136"/>
                </a:lnTo>
                <a:lnTo>
                  <a:pt x="2485899" y="1114862"/>
                </a:lnTo>
                <a:lnTo>
                  <a:pt x="2477760" y="1121791"/>
                </a:lnTo>
                <a:lnTo>
                  <a:pt x="2477435" y="1125905"/>
                </a:lnTo>
                <a:lnTo>
                  <a:pt x="2476024" y="1122658"/>
                </a:lnTo>
                <a:lnTo>
                  <a:pt x="2478846" y="1117136"/>
                </a:lnTo>
                <a:lnTo>
                  <a:pt x="2475156" y="1115944"/>
                </a:lnTo>
                <a:lnTo>
                  <a:pt x="2472986" y="1117244"/>
                </a:lnTo>
                <a:lnTo>
                  <a:pt x="2471792" y="1116053"/>
                </a:lnTo>
                <a:lnTo>
                  <a:pt x="2469187" y="1123957"/>
                </a:lnTo>
                <a:lnTo>
                  <a:pt x="2465173" y="1126447"/>
                </a:lnTo>
                <a:lnTo>
                  <a:pt x="2464847" y="1121466"/>
                </a:lnTo>
                <a:lnTo>
                  <a:pt x="2468103" y="1117460"/>
                </a:lnTo>
                <a:lnTo>
                  <a:pt x="2467777" y="1112805"/>
                </a:lnTo>
                <a:lnTo>
                  <a:pt x="2468645" y="1109881"/>
                </a:lnTo>
                <a:lnTo>
                  <a:pt x="2464738" y="1111289"/>
                </a:lnTo>
                <a:lnTo>
                  <a:pt x="2461049" y="1114862"/>
                </a:lnTo>
                <a:lnTo>
                  <a:pt x="2458878" y="1115079"/>
                </a:lnTo>
                <a:lnTo>
                  <a:pt x="2456057" y="1118868"/>
                </a:lnTo>
                <a:lnTo>
                  <a:pt x="2454538" y="1121575"/>
                </a:lnTo>
                <a:lnTo>
                  <a:pt x="2448787" y="1120383"/>
                </a:lnTo>
                <a:lnTo>
                  <a:pt x="2445965" y="1116919"/>
                </a:lnTo>
                <a:lnTo>
                  <a:pt x="2442493" y="1116919"/>
                </a:lnTo>
                <a:lnTo>
                  <a:pt x="2437826" y="1109232"/>
                </a:lnTo>
                <a:lnTo>
                  <a:pt x="2435873" y="1109015"/>
                </a:lnTo>
                <a:lnTo>
                  <a:pt x="2434571" y="1112480"/>
                </a:lnTo>
                <a:lnTo>
                  <a:pt x="2434571" y="1117136"/>
                </a:lnTo>
                <a:lnTo>
                  <a:pt x="2432292" y="1119409"/>
                </a:lnTo>
                <a:lnTo>
                  <a:pt x="2428494" y="1118002"/>
                </a:lnTo>
                <a:lnTo>
                  <a:pt x="2425564" y="1119193"/>
                </a:lnTo>
                <a:lnTo>
                  <a:pt x="2420572" y="1119409"/>
                </a:lnTo>
                <a:lnTo>
                  <a:pt x="2418836" y="1121791"/>
                </a:lnTo>
                <a:lnTo>
                  <a:pt x="2414170" y="1121466"/>
                </a:lnTo>
                <a:lnTo>
                  <a:pt x="2412108" y="1123632"/>
                </a:lnTo>
                <a:lnTo>
                  <a:pt x="2407768" y="1122116"/>
                </a:lnTo>
                <a:lnTo>
                  <a:pt x="2400713" y="1121575"/>
                </a:lnTo>
                <a:lnTo>
                  <a:pt x="2401582" y="1118652"/>
                </a:lnTo>
                <a:lnTo>
                  <a:pt x="2396807" y="1113130"/>
                </a:lnTo>
                <a:lnTo>
                  <a:pt x="2394529" y="1114754"/>
                </a:lnTo>
                <a:lnTo>
                  <a:pt x="2390404" y="1110748"/>
                </a:lnTo>
                <a:lnTo>
                  <a:pt x="2387366" y="1101653"/>
                </a:lnTo>
                <a:lnTo>
                  <a:pt x="2389103" y="1096348"/>
                </a:lnTo>
                <a:lnTo>
                  <a:pt x="2392684" y="1093857"/>
                </a:lnTo>
                <a:lnTo>
                  <a:pt x="2392684" y="1089418"/>
                </a:lnTo>
                <a:lnTo>
                  <a:pt x="2396156" y="1085845"/>
                </a:lnTo>
                <a:lnTo>
                  <a:pt x="2401256" y="1085304"/>
                </a:lnTo>
                <a:lnTo>
                  <a:pt x="2404078" y="1082164"/>
                </a:lnTo>
                <a:lnTo>
                  <a:pt x="2408527" y="1081406"/>
                </a:lnTo>
                <a:lnTo>
                  <a:pt x="2410589" y="1081731"/>
                </a:lnTo>
                <a:lnTo>
                  <a:pt x="2411240" y="1077941"/>
                </a:lnTo>
                <a:lnTo>
                  <a:pt x="2409286" y="1074910"/>
                </a:lnTo>
                <a:lnTo>
                  <a:pt x="2409069" y="1071987"/>
                </a:lnTo>
                <a:lnTo>
                  <a:pt x="2410154" y="1071120"/>
                </a:lnTo>
                <a:lnTo>
                  <a:pt x="2412759" y="1071770"/>
                </a:lnTo>
                <a:lnTo>
                  <a:pt x="2413519" y="1069605"/>
                </a:lnTo>
                <a:lnTo>
                  <a:pt x="2413085" y="1066790"/>
                </a:lnTo>
                <a:lnTo>
                  <a:pt x="2414604" y="1064949"/>
                </a:lnTo>
                <a:lnTo>
                  <a:pt x="2419595" y="1072420"/>
                </a:lnTo>
                <a:lnTo>
                  <a:pt x="2424479" y="1073286"/>
                </a:lnTo>
                <a:lnTo>
                  <a:pt x="2429471" y="1076859"/>
                </a:lnTo>
                <a:lnTo>
                  <a:pt x="2432943" y="1080757"/>
                </a:lnTo>
                <a:lnTo>
                  <a:pt x="2435439" y="1081406"/>
                </a:lnTo>
                <a:lnTo>
                  <a:pt x="2440648" y="1083896"/>
                </a:lnTo>
                <a:lnTo>
                  <a:pt x="2443686" y="1081190"/>
                </a:lnTo>
                <a:lnTo>
                  <a:pt x="2447159" y="1081298"/>
                </a:lnTo>
                <a:lnTo>
                  <a:pt x="2449004" y="1083896"/>
                </a:lnTo>
                <a:lnTo>
                  <a:pt x="2452151" y="1084005"/>
                </a:lnTo>
                <a:lnTo>
                  <a:pt x="2457468" y="1085087"/>
                </a:lnTo>
                <a:lnTo>
                  <a:pt x="2460723" y="1081514"/>
                </a:lnTo>
                <a:lnTo>
                  <a:pt x="2463003" y="1077075"/>
                </a:lnTo>
                <a:lnTo>
                  <a:pt x="2468971" y="1077075"/>
                </a:lnTo>
                <a:lnTo>
                  <a:pt x="2468971" y="1078916"/>
                </a:lnTo>
                <a:lnTo>
                  <a:pt x="2467669" y="1080865"/>
                </a:lnTo>
                <a:lnTo>
                  <a:pt x="2470924" y="1082706"/>
                </a:lnTo>
                <a:lnTo>
                  <a:pt x="2475373" y="1078916"/>
                </a:lnTo>
                <a:lnTo>
                  <a:pt x="2477218" y="1074694"/>
                </a:lnTo>
                <a:lnTo>
                  <a:pt x="2481776" y="1072095"/>
                </a:lnTo>
                <a:lnTo>
                  <a:pt x="2483621" y="1074694"/>
                </a:lnTo>
                <a:lnTo>
                  <a:pt x="2483838" y="1081190"/>
                </a:lnTo>
                <a:lnTo>
                  <a:pt x="2485139" y="1085087"/>
                </a:lnTo>
                <a:lnTo>
                  <a:pt x="2486008" y="1080324"/>
                </a:lnTo>
                <a:lnTo>
                  <a:pt x="2488612" y="1078267"/>
                </a:lnTo>
                <a:lnTo>
                  <a:pt x="2490891" y="1079457"/>
                </a:lnTo>
                <a:lnTo>
                  <a:pt x="2493062" y="1077400"/>
                </a:lnTo>
                <a:lnTo>
                  <a:pt x="2491867" y="1065598"/>
                </a:lnTo>
                <a:lnTo>
                  <a:pt x="2487961" y="1059535"/>
                </a:lnTo>
                <a:lnTo>
                  <a:pt x="2487310" y="1055422"/>
                </a:lnTo>
                <a:lnTo>
                  <a:pt x="2484380" y="1051090"/>
                </a:lnTo>
                <a:lnTo>
                  <a:pt x="2485682" y="1045569"/>
                </a:lnTo>
                <a:lnTo>
                  <a:pt x="2487744" y="1043512"/>
                </a:lnTo>
                <a:lnTo>
                  <a:pt x="2490349" y="1043404"/>
                </a:lnTo>
                <a:lnTo>
                  <a:pt x="2497293" y="1037882"/>
                </a:lnTo>
                <a:lnTo>
                  <a:pt x="2505541" y="1032901"/>
                </a:lnTo>
                <a:lnTo>
                  <a:pt x="2508796" y="1030952"/>
                </a:lnTo>
                <a:lnTo>
                  <a:pt x="2514656" y="1024997"/>
                </a:lnTo>
                <a:lnTo>
                  <a:pt x="2517043" y="1024997"/>
                </a:lnTo>
                <a:lnTo>
                  <a:pt x="2519865" y="1027271"/>
                </a:lnTo>
                <a:lnTo>
                  <a:pt x="2523229" y="1026188"/>
                </a:lnTo>
                <a:lnTo>
                  <a:pt x="2525508" y="1025864"/>
                </a:lnTo>
                <a:lnTo>
                  <a:pt x="2519323" y="1022399"/>
                </a:lnTo>
                <a:lnTo>
                  <a:pt x="2519105" y="1018826"/>
                </a:lnTo>
                <a:lnTo>
                  <a:pt x="2527787" y="1011897"/>
                </a:lnTo>
                <a:lnTo>
                  <a:pt x="2528764" y="1008432"/>
                </a:lnTo>
                <a:lnTo>
                  <a:pt x="2531367" y="1006916"/>
                </a:lnTo>
                <a:lnTo>
                  <a:pt x="2538313" y="1008432"/>
                </a:lnTo>
                <a:lnTo>
                  <a:pt x="2545366" y="1006050"/>
                </a:lnTo>
                <a:lnTo>
                  <a:pt x="2546126" y="1003019"/>
                </a:lnTo>
                <a:lnTo>
                  <a:pt x="2543630" y="998471"/>
                </a:lnTo>
                <a:lnTo>
                  <a:pt x="2546017" y="995115"/>
                </a:lnTo>
                <a:lnTo>
                  <a:pt x="2546994" y="986453"/>
                </a:lnTo>
                <a:lnTo>
                  <a:pt x="2547428" y="984829"/>
                </a:lnTo>
                <a:lnTo>
                  <a:pt x="2546451" y="983421"/>
                </a:lnTo>
                <a:lnTo>
                  <a:pt x="2546451" y="979632"/>
                </a:lnTo>
                <a:lnTo>
                  <a:pt x="2548947" y="975193"/>
                </a:lnTo>
                <a:lnTo>
                  <a:pt x="2549056" y="970970"/>
                </a:lnTo>
                <a:lnTo>
                  <a:pt x="2545692" y="969887"/>
                </a:lnTo>
                <a:lnTo>
                  <a:pt x="2545584" y="967938"/>
                </a:lnTo>
                <a:lnTo>
                  <a:pt x="2547646" y="961442"/>
                </a:lnTo>
                <a:lnTo>
                  <a:pt x="2550901" y="960793"/>
                </a:lnTo>
                <a:lnTo>
                  <a:pt x="2551443" y="957328"/>
                </a:lnTo>
                <a:lnTo>
                  <a:pt x="2553722" y="953322"/>
                </a:lnTo>
                <a:lnTo>
                  <a:pt x="2553288" y="950615"/>
                </a:lnTo>
                <a:lnTo>
                  <a:pt x="2550901" y="951048"/>
                </a:lnTo>
                <a:lnTo>
                  <a:pt x="2548405" y="953972"/>
                </a:lnTo>
                <a:lnTo>
                  <a:pt x="2548296" y="956679"/>
                </a:lnTo>
                <a:lnTo>
                  <a:pt x="2546343" y="957436"/>
                </a:lnTo>
                <a:lnTo>
                  <a:pt x="2546017" y="954405"/>
                </a:lnTo>
                <a:lnTo>
                  <a:pt x="2546343" y="950291"/>
                </a:lnTo>
                <a:lnTo>
                  <a:pt x="2544607" y="949100"/>
                </a:lnTo>
                <a:lnTo>
                  <a:pt x="2535166" y="948775"/>
                </a:lnTo>
                <a:lnTo>
                  <a:pt x="2532127" y="945635"/>
                </a:lnTo>
                <a:lnTo>
                  <a:pt x="2533104" y="943578"/>
                </a:lnTo>
                <a:lnTo>
                  <a:pt x="2539941" y="940763"/>
                </a:lnTo>
                <a:lnTo>
                  <a:pt x="2539073" y="938922"/>
                </a:lnTo>
                <a:lnTo>
                  <a:pt x="2535600" y="936865"/>
                </a:lnTo>
                <a:lnTo>
                  <a:pt x="2538096" y="932534"/>
                </a:lnTo>
                <a:lnTo>
                  <a:pt x="2538096" y="929286"/>
                </a:lnTo>
                <a:lnTo>
                  <a:pt x="2532887" y="925497"/>
                </a:lnTo>
                <a:lnTo>
                  <a:pt x="2530934" y="926255"/>
                </a:lnTo>
                <a:lnTo>
                  <a:pt x="2530500" y="929178"/>
                </a:lnTo>
                <a:lnTo>
                  <a:pt x="2532127" y="932101"/>
                </a:lnTo>
                <a:lnTo>
                  <a:pt x="2530934" y="934700"/>
                </a:lnTo>
                <a:lnTo>
                  <a:pt x="2525399" y="935999"/>
                </a:lnTo>
                <a:lnTo>
                  <a:pt x="2523446" y="931777"/>
                </a:lnTo>
                <a:lnTo>
                  <a:pt x="2521385" y="931018"/>
                </a:lnTo>
                <a:lnTo>
                  <a:pt x="2520625" y="925389"/>
                </a:lnTo>
                <a:lnTo>
                  <a:pt x="2524423" y="921707"/>
                </a:lnTo>
                <a:lnTo>
                  <a:pt x="2523229" y="918675"/>
                </a:lnTo>
                <a:lnTo>
                  <a:pt x="2517043" y="919434"/>
                </a:lnTo>
                <a:lnTo>
                  <a:pt x="2517586" y="918026"/>
                </a:lnTo>
                <a:lnTo>
                  <a:pt x="2522578" y="916402"/>
                </a:lnTo>
                <a:lnTo>
                  <a:pt x="2523012" y="914345"/>
                </a:lnTo>
                <a:lnTo>
                  <a:pt x="2520408" y="913371"/>
                </a:lnTo>
                <a:lnTo>
                  <a:pt x="2522903" y="911530"/>
                </a:lnTo>
                <a:lnTo>
                  <a:pt x="2525725" y="910122"/>
                </a:lnTo>
                <a:lnTo>
                  <a:pt x="2526159" y="907632"/>
                </a:lnTo>
                <a:lnTo>
                  <a:pt x="2523771" y="905683"/>
                </a:lnTo>
                <a:lnTo>
                  <a:pt x="2519648" y="908823"/>
                </a:lnTo>
                <a:lnTo>
                  <a:pt x="2516392" y="914020"/>
                </a:lnTo>
                <a:lnTo>
                  <a:pt x="2513245" y="916077"/>
                </a:lnTo>
                <a:lnTo>
                  <a:pt x="2511617" y="914561"/>
                </a:lnTo>
                <a:lnTo>
                  <a:pt x="2511075" y="909256"/>
                </a:lnTo>
                <a:lnTo>
                  <a:pt x="2508796" y="910663"/>
                </a:lnTo>
                <a:lnTo>
                  <a:pt x="2506517" y="914778"/>
                </a:lnTo>
                <a:lnTo>
                  <a:pt x="2502936" y="914886"/>
                </a:lnTo>
                <a:lnTo>
                  <a:pt x="2500006" y="916943"/>
                </a:lnTo>
                <a:lnTo>
                  <a:pt x="2495665" y="916835"/>
                </a:lnTo>
                <a:lnTo>
                  <a:pt x="2492627" y="918026"/>
                </a:lnTo>
                <a:lnTo>
                  <a:pt x="2492085" y="919542"/>
                </a:lnTo>
                <a:lnTo>
                  <a:pt x="2489589" y="919542"/>
                </a:lnTo>
                <a:lnTo>
                  <a:pt x="2488829" y="917051"/>
                </a:lnTo>
                <a:lnTo>
                  <a:pt x="2491434" y="913912"/>
                </a:lnTo>
                <a:lnTo>
                  <a:pt x="2490999" y="911746"/>
                </a:lnTo>
                <a:lnTo>
                  <a:pt x="2489155" y="910555"/>
                </a:lnTo>
                <a:lnTo>
                  <a:pt x="2492519" y="905791"/>
                </a:lnTo>
                <a:lnTo>
                  <a:pt x="2494689" y="905033"/>
                </a:lnTo>
                <a:lnTo>
                  <a:pt x="2497619" y="906441"/>
                </a:lnTo>
                <a:lnTo>
                  <a:pt x="2500115" y="907957"/>
                </a:lnTo>
                <a:lnTo>
                  <a:pt x="2502503" y="906766"/>
                </a:lnTo>
                <a:lnTo>
                  <a:pt x="2505324" y="906441"/>
                </a:lnTo>
                <a:lnTo>
                  <a:pt x="2509122" y="902977"/>
                </a:lnTo>
                <a:lnTo>
                  <a:pt x="2510424" y="898862"/>
                </a:lnTo>
                <a:lnTo>
                  <a:pt x="2508905" y="896155"/>
                </a:lnTo>
                <a:lnTo>
                  <a:pt x="2506192" y="893340"/>
                </a:lnTo>
                <a:lnTo>
                  <a:pt x="2501634" y="891824"/>
                </a:lnTo>
                <a:lnTo>
                  <a:pt x="2499681" y="888468"/>
                </a:lnTo>
                <a:lnTo>
                  <a:pt x="2499464" y="885437"/>
                </a:lnTo>
                <a:lnTo>
                  <a:pt x="2498053" y="883488"/>
                </a:lnTo>
                <a:lnTo>
                  <a:pt x="2498162" y="880348"/>
                </a:lnTo>
                <a:lnTo>
                  <a:pt x="2493604" y="879806"/>
                </a:lnTo>
                <a:lnTo>
                  <a:pt x="2492953" y="878616"/>
                </a:lnTo>
                <a:lnTo>
                  <a:pt x="2490240" y="876992"/>
                </a:lnTo>
                <a:lnTo>
                  <a:pt x="2489372" y="874068"/>
                </a:lnTo>
                <a:lnTo>
                  <a:pt x="2492953" y="872553"/>
                </a:lnTo>
                <a:lnTo>
                  <a:pt x="2494580" y="874826"/>
                </a:lnTo>
                <a:lnTo>
                  <a:pt x="2496425" y="873635"/>
                </a:lnTo>
                <a:lnTo>
                  <a:pt x="2497185" y="871037"/>
                </a:lnTo>
                <a:lnTo>
                  <a:pt x="2501417" y="868871"/>
                </a:lnTo>
                <a:lnTo>
                  <a:pt x="2495232" y="867680"/>
                </a:lnTo>
                <a:lnTo>
                  <a:pt x="2492627" y="864757"/>
                </a:lnTo>
                <a:lnTo>
                  <a:pt x="2489697" y="864649"/>
                </a:lnTo>
                <a:lnTo>
                  <a:pt x="2489372" y="863241"/>
                </a:lnTo>
                <a:lnTo>
                  <a:pt x="2485465" y="862266"/>
                </a:lnTo>
                <a:lnTo>
                  <a:pt x="2483621" y="866381"/>
                </a:lnTo>
                <a:lnTo>
                  <a:pt x="2482101" y="866814"/>
                </a:lnTo>
                <a:lnTo>
                  <a:pt x="2482101" y="864107"/>
                </a:lnTo>
                <a:lnTo>
                  <a:pt x="2485465" y="856637"/>
                </a:lnTo>
                <a:lnTo>
                  <a:pt x="2489481" y="850249"/>
                </a:lnTo>
                <a:lnTo>
                  <a:pt x="2489806" y="848408"/>
                </a:lnTo>
                <a:lnTo>
                  <a:pt x="2492302" y="842129"/>
                </a:lnTo>
                <a:lnTo>
                  <a:pt x="2492410" y="837581"/>
                </a:lnTo>
                <a:lnTo>
                  <a:pt x="2493821" y="835091"/>
                </a:lnTo>
                <a:lnTo>
                  <a:pt x="2492302" y="832492"/>
                </a:lnTo>
                <a:lnTo>
                  <a:pt x="2488069" y="834874"/>
                </a:lnTo>
                <a:lnTo>
                  <a:pt x="2485465" y="833033"/>
                </a:lnTo>
                <a:lnTo>
                  <a:pt x="2483838" y="834008"/>
                </a:lnTo>
                <a:lnTo>
                  <a:pt x="2483403" y="836715"/>
                </a:lnTo>
                <a:lnTo>
                  <a:pt x="2480908" y="836065"/>
                </a:lnTo>
                <a:lnTo>
                  <a:pt x="2475047" y="829894"/>
                </a:lnTo>
                <a:lnTo>
                  <a:pt x="2474722" y="826537"/>
                </a:lnTo>
                <a:lnTo>
                  <a:pt x="2472552" y="823723"/>
                </a:lnTo>
                <a:lnTo>
                  <a:pt x="2470490" y="822640"/>
                </a:lnTo>
                <a:lnTo>
                  <a:pt x="2471358" y="817442"/>
                </a:lnTo>
                <a:lnTo>
                  <a:pt x="2475807" y="815494"/>
                </a:lnTo>
                <a:lnTo>
                  <a:pt x="2476675" y="813328"/>
                </a:lnTo>
                <a:lnTo>
                  <a:pt x="2475265" y="810621"/>
                </a:lnTo>
                <a:lnTo>
                  <a:pt x="2474830" y="805858"/>
                </a:lnTo>
                <a:lnTo>
                  <a:pt x="2472226" y="806507"/>
                </a:lnTo>
                <a:lnTo>
                  <a:pt x="2469622" y="809106"/>
                </a:lnTo>
                <a:lnTo>
                  <a:pt x="2469405" y="815927"/>
                </a:lnTo>
                <a:lnTo>
                  <a:pt x="2466909" y="819825"/>
                </a:lnTo>
                <a:lnTo>
                  <a:pt x="2465715" y="815602"/>
                </a:lnTo>
                <a:lnTo>
                  <a:pt x="2463436" y="813762"/>
                </a:lnTo>
                <a:lnTo>
                  <a:pt x="2462243" y="814736"/>
                </a:lnTo>
                <a:lnTo>
                  <a:pt x="2461917" y="817659"/>
                </a:lnTo>
                <a:lnTo>
                  <a:pt x="2459747" y="818417"/>
                </a:lnTo>
                <a:lnTo>
                  <a:pt x="2458878" y="823505"/>
                </a:lnTo>
                <a:lnTo>
                  <a:pt x="2462676" y="828703"/>
                </a:lnTo>
                <a:lnTo>
                  <a:pt x="2465389" y="828270"/>
                </a:lnTo>
                <a:lnTo>
                  <a:pt x="2469079" y="836715"/>
                </a:lnTo>
                <a:lnTo>
                  <a:pt x="2471467" y="839313"/>
                </a:lnTo>
                <a:lnTo>
                  <a:pt x="2469947" y="843860"/>
                </a:lnTo>
                <a:lnTo>
                  <a:pt x="2469622" y="847650"/>
                </a:lnTo>
                <a:lnTo>
                  <a:pt x="2466474" y="852522"/>
                </a:lnTo>
                <a:lnTo>
                  <a:pt x="2463220" y="854904"/>
                </a:lnTo>
                <a:lnTo>
                  <a:pt x="2452694" y="854688"/>
                </a:lnTo>
                <a:lnTo>
                  <a:pt x="2451282" y="853388"/>
                </a:lnTo>
                <a:lnTo>
                  <a:pt x="2447159" y="853713"/>
                </a:lnTo>
                <a:lnTo>
                  <a:pt x="2442384" y="850682"/>
                </a:lnTo>
                <a:lnTo>
                  <a:pt x="2443578" y="848949"/>
                </a:lnTo>
                <a:lnTo>
                  <a:pt x="2443578" y="844619"/>
                </a:lnTo>
                <a:lnTo>
                  <a:pt x="2436090" y="844727"/>
                </a:lnTo>
                <a:lnTo>
                  <a:pt x="2428277" y="840829"/>
                </a:lnTo>
                <a:lnTo>
                  <a:pt x="2421658" y="840180"/>
                </a:lnTo>
                <a:lnTo>
                  <a:pt x="2424804" y="848733"/>
                </a:lnTo>
                <a:lnTo>
                  <a:pt x="2426974" y="853930"/>
                </a:lnTo>
                <a:lnTo>
                  <a:pt x="2425998" y="854904"/>
                </a:lnTo>
                <a:lnTo>
                  <a:pt x="2422200" y="854796"/>
                </a:lnTo>
                <a:lnTo>
                  <a:pt x="2420030" y="850140"/>
                </a:lnTo>
                <a:lnTo>
                  <a:pt x="2416123" y="845917"/>
                </a:lnTo>
                <a:lnTo>
                  <a:pt x="2414495" y="845160"/>
                </a:lnTo>
                <a:lnTo>
                  <a:pt x="2413302" y="841803"/>
                </a:lnTo>
                <a:lnTo>
                  <a:pt x="2408744" y="837040"/>
                </a:lnTo>
                <a:lnTo>
                  <a:pt x="2405271" y="832817"/>
                </a:lnTo>
                <a:lnTo>
                  <a:pt x="2404511" y="830435"/>
                </a:lnTo>
                <a:lnTo>
                  <a:pt x="2401256" y="829677"/>
                </a:lnTo>
                <a:lnTo>
                  <a:pt x="2397350" y="824697"/>
                </a:lnTo>
                <a:lnTo>
                  <a:pt x="2394420" y="823505"/>
                </a:lnTo>
                <a:lnTo>
                  <a:pt x="2393009" y="821665"/>
                </a:lnTo>
                <a:lnTo>
                  <a:pt x="2389211" y="819608"/>
                </a:lnTo>
                <a:lnTo>
                  <a:pt x="2390079" y="823181"/>
                </a:lnTo>
                <a:lnTo>
                  <a:pt x="2399195" y="830435"/>
                </a:lnTo>
                <a:lnTo>
                  <a:pt x="2401256" y="834008"/>
                </a:lnTo>
                <a:lnTo>
                  <a:pt x="2404511" y="837906"/>
                </a:lnTo>
                <a:lnTo>
                  <a:pt x="2408201" y="840396"/>
                </a:lnTo>
                <a:lnTo>
                  <a:pt x="2409504" y="843752"/>
                </a:lnTo>
                <a:lnTo>
                  <a:pt x="2407116" y="846892"/>
                </a:lnTo>
                <a:lnTo>
                  <a:pt x="2405380" y="845376"/>
                </a:lnTo>
                <a:lnTo>
                  <a:pt x="2402993" y="847758"/>
                </a:lnTo>
                <a:lnTo>
                  <a:pt x="2396265" y="843427"/>
                </a:lnTo>
                <a:lnTo>
                  <a:pt x="2393660" y="844186"/>
                </a:lnTo>
                <a:lnTo>
                  <a:pt x="2391490" y="840504"/>
                </a:lnTo>
                <a:lnTo>
                  <a:pt x="2387149" y="838988"/>
                </a:lnTo>
                <a:lnTo>
                  <a:pt x="2385413" y="834982"/>
                </a:lnTo>
                <a:lnTo>
                  <a:pt x="2377708" y="836065"/>
                </a:lnTo>
                <a:lnTo>
                  <a:pt x="2373693" y="838339"/>
                </a:lnTo>
                <a:lnTo>
                  <a:pt x="2370221" y="835415"/>
                </a:lnTo>
                <a:lnTo>
                  <a:pt x="2365120" y="834333"/>
                </a:lnTo>
                <a:lnTo>
                  <a:pt x="2360780" y="834658"/>
                </a:lnTo>
                <a:lnTo>
                  <a:pt x="2358392" y="831409"/>
                </a:lnTo>
                <a:lnTo>
                  <a:pt x="2352858" y="827837"/>
                </a:lnTo>
                <a:lnTo>
                  <a:pt x="2352749" y="824913"/>
                </a:lnTo>
                <a:lnTo>
                  <a:pt x="2359369" y="818742"/>
                </a:lnTo>
                <a:lnTo>
                  <a:pt x="2362190" y="817334"/>
                </a:lnTo>
                <a:lnTo>
                  <a:pt x="2361973" y="815385"/>
                </a:lnTo>
                <a:lnTo>
                  <a:pt x="2358935" y="815602"/>
                </a:lnTo>
                <a:lnTo>
                  <a:pt x="2354811" y="819933"/>
                </a:lnTo>
                <a:lnTo>
                  <a:pt x="2351447" y="823723"/>
                </a:lnTo>
                <a:lnTo>
                  <a:pt x="2349060" y="824588"/>
                </a:lnTo>
                <a:lnTo>
                  <a:pt x="2345261" y="821448"/>
                </a:lnTo>
                <a:lnTo>
                  <a:pt x="2340813" y="820582"/>
                </a:lnTo>
                <a:lnTo>
                  <a:pt x="2338859" y="821232"/>
                </a:lnTo>
                <a:lnTo>
                  <a:pt x="2342875" y="824047"/>
                </a:lnTo>
                <a:lnTo>
                  <a:pt x="2340595" y="825780"/>
                </a:lnTo>
                <a:lnTo>
                  <a:pt x="2334410" y="825346"/>
                </a:lnTo>
                <a:lnTo>
                  <a:pt x="2328550" y="820474"/>
                </a:lnTo>
                <a:lnTo>
                  <a:pt x="2327682" y="814086"/>
                </a:lnTo>
                <a:lnTo>
                  <a:pt x="2323558" y="810946"/>
                </a:lnTo>
                <a:lnTo>
                  <a:pt x="2324318" y="807048"/>
                </a:lnTo>
                <a:lnTo>
                  <a:pt x="2332348" y="802934"/>
                </a:lnTo>
                <a:lnTo>
                  <a:pt x="2334302" y="800011"/>
                </a:lnTo>
                <a:lnTo>
                  <a:pt x="2332674" y="798928"/>
                </a:lnTo>
                <a:lnTo>
                  <a:pt x="2329093" y="801635"/>
                </a:lnTo>
                <a:lnTo>
                  <a:pt x="2323450" y="802393"/>
                </a:lnTo>
                <a:lnTo>
                  <a:pt x="2321388" y="807374"/>
                </a:lnTo>
                <a:lnTo>
                  <a:pt x="2318892" y="807915"/>
                </a:lnTo>
                <a:lnTo>
                  <a:pt x="2318024" y="804450"/>
                </a:lnTo>
                <a:lnTo>
                  <a:pt x="2319109" y="800661"/>
                </a:lnTo>
                <a:lnTo>
                  <a:pt x="2317156" y="798928"/>
                </a:lnTo>
                <a:lnTo>
                  <a:pt x="2314877" y="799470"/>
                </a:lnTo>
                <a:lnTo>
                  <a:pt x="2314009" y="802501"/>
                </a:lnTo>
                <a:lnTo>
                  <a:pt x="2314660" y="804991"/>
                </a:lnTo>
                <a:lnTo>
                  <a:pt x="2313466" y="807482"/>
                </a:lnTo>
                <a:lnTo>
                  <a:pt x="2310103" y="806507"/>
                </a:lnTo>
                <a:lnTo>
                  <a:pt x="2307281" y="803260"/>
                </a:lnTo>
                <a:lnTo>
                  <a:pt x="2303375" y="802393"/>
                </a:lnTo>
                <a:lnTo>
                  <a:pt x="2300227" y="803260"/>
                </a:lnTo>
                <a:lnTo>
                  <a:pt x="2299793" y="806183"/>
                </a:lnTo>
                <a:lnTo>
                  <a:pt x="2297297" y="806291"/>
                </a:lnTo>
                <a:lnTo>
                  <a:pt x="2294151" y="802501"/>
                </a:lnTo>
                <a:lnTo>
                  <a:pt x="2292848" y="798712"/>
                </a:lnTo>
                <a:lnTo>
                  <a:pt x="2294259" y="798928"/>
                </a:lnTo>
                <a:lnTo>
                  <a:pt x="2296646" y="800661"/>
                </a:lnTo>
                <a:lnTo>
                  <a:pt x="2296537" y="798928"/>
                </a:lnTo>
                <a:lnTo>
                  <a:pt x="2292089" y="794706"/>
                </a:lnTo>
                <a:lnTo>
                  <a:pt x="2286446" y="791458"/>
                </a:lnTo>
                <a:lnTo>
                  <a:pt x="2285795" y="787452"/>
                </a:lnTo>
                <a:lnTo>
                  <a:pt x="2286555" y="782363"/>
                </a:lnTo>
                <a:lnTo>
                  <a:pt x="2285903" y="776516"/>
                </a:lnTo>
                <a:lnTo>
                  <a:pt x="2283733" y="769371"/>
                </a:lnTo>
                <a:lnTo>
                  <a:pt x="2285143" y="765906"/>
                </a:lnTo>
                <a:lnTo>
                  <a:pt x="2288073" y="765906"/>
                </a:lnTo>
                <a:lnTo>
                  <a:pt x="2288073" y="763199"/>
                </a:lnTo>
                <a:lnTo>
                  <a:pt x="2286337" y="757677"/>
                </a:lnTo>
                <a:lnTo>
                  <a:pt x="2287096" y="755728"/>
                </a:lnTo>
                <a:lnTo>
                  <a:pt x="2291546" y="757028"/>
                </a:lnTo>
                <a:lnTo>
                  <a:pt x="2293282" y="759410"/>
                </a:lnTo>
                <a:lnTo>
                  <a:pt x="2300987" y="759951"/>
                </a:lnTo>
                <a:lnTo>
                  <a:pt x="2305111" y="763199"/>
                </a:lnTo>
                <a:lnTo>
                  <a:pt x="2306521" y="767638"/>
                </a:lnTo>
                <a:lnTo>
                  <a:pt x="2314986" y="770887"/>
                </a:lnTo>
                <a:lnTo>
                  <a:pt x="2322582" y="770887"/>
                </a:lnTo>
                <a:lnTo>
                  <a:pt x="2324752" y="769587"/>
                </a:lnTo>
                <a:lnTo>
                  <a:pt x="2331480" y="769371"/>
                </a:lnTo>
                <a:lnTo>
                  <a:pt x="2328550" y="766989"/>
                </a:lnTo>
                <a:lnTo>
                  <a:pt x="2327899" y="763849"/>
                </a:lnTo>
                <a:lnTo>
                  <a:pt x="2321713" y="760059"/>
                </a:lnTo>
                <a:lnTo>
                  <a:pt x="2320954" y="753671"/>
                </a:lnTo>
                <a:lnTo>
                  <a:pt x="2314769" y="753671"/>
                </a:lnTo>
                <a:lnTo>
                  <a:pt x="2309451" y="750423"/>
                </a:lnTo>
                <a:lnTo>
                  <a:pt x="2305870" y="750423"/>
                </a:lnTo>
                <a:lnTo>
                  <a:pt x="2300336" y="746850"/>
                </a:lnTo>
                <a:lnTo>
                  <a:pt x="2295669" y="746634"/>
                </a:lnTo>
                <a:lnTo>
                  <a:pt x="2287205" y="741978"/>
                </a:lnTo>
                <a:lnTo>
                  <a:pt x="2284926" y="737755"/>
                </a:lnTo>
                <a:lnTo>
                  <a:pt x="2286663" y="730177"/>
                </a:lnTo>
                <a:lnTo>
                  <a:pt x="2290678" y="727578"/>
                </a:lnTo>
                <a:lnTo>
                  <a:pt x="2290352" y="724114"/>
                </a:lnTo>
                <a:lnTo>
                  <a:pt x="2291871" y="718808"/>
                </a:lnTo>
                <a:lnTo>
                  <a:pt x="2295669" y="718808"/>
                </a:lnTo>
                <a:lnTo>
                  <a:pt x="2298057" y="714153"/>
                </a:lnTo>
                <a:lnTo>
                  <a:pt x="2298057" y="705708"/>
                </a:lnTo>
                <a:lnTo>
                  <a:pt x="2299685" y="702351"/>
                </a:lnTo>
                <a:lnTo>
                  <a:pt x="2303048" y="701268"/>
                </a:lnTo>
                <a:lnTo>
                  <a:pt x="2304243" y="697154"/>
                </a:lnTo>
                <a:lnTo>
                  <a:pt x="2310645" y="693690"/>
                </a:lnTo>
                <a:lnTo>
                  <a:pt x="2314443" y="693364"/>
                </a:lnTo>
                <a:lnTo>
                  <a:pt x="2315528" y="690117"/>
                </a:lnTo>
                <a:lnTo>
                  <a:pt x="2313900" y="690333"/>
                </a:lnTo>
                <a:lnTo>
                  <a:pt x="2311730" y="691199"/>
                </a:lnTo>
                <a:lnTo>
                  <a:pt x="2311187" y="687301"/>
                </a:lnTo>
                <a:lnTo>
                  <a:pt x="2315962" y="680156"/>
                </a:lnTo>
                <a:lnTo>
                  <a:pt x="2319652" y="673227"/>
                </a:lnTo>
                <a:lnTo>
                  <a:pt x="2321388" y="671602"/>
                </a:lnTo>
                <a:lnTo>
                  <a:pt x="2324969" y="666946"/>
                </a:lnTo>
                <a:lnTo>
                  <a:pt x="2328441" y="666946"/>
                </a:lnTo>
                <a:lnTo>
                  <a:pt x="2330178" y="667380"/>
                </a:lnTo>
                <a:lnTo>
                  <a:pt x="2332239" y="660017"/>
                </a:lnTo>
                <a:lnTo>
                  <a:pt x="2334410" y="660342"/>
                </a:lnTo>
                <a:lnTo>
                  <a:pt x="2336146" y="664023"/>
                </a:lnTo>
                <a:lnTo>
                  <a:pt x="2338534" y="660667"/>
                </a:lnTo>
                <a:lnTo>
                  <a:pt x="2336797" y="657635"/>
                </a:lnTo>
                <a:lnTo>
                  <a:pt x="2342332" y="649082"/>
                </a:lnTo>
                <a:lnTo>
                  <a:pt x="2346130" y="649190"/>
                </a:lnTo>
                <a:lnTo>
                  <a:pt x="2345804" y="644860"/>
                </a:lnTo>
                <a:lnTo>
                  <a:pt x="2349711" y="639446"/>
                </a:lnTo>
                <a:lnTo>
                  <a:pt x="2354811" y="639229"/>
                </a:lnTo>
                <a:lnTo>
                  <a:pt x="2357632" y="635116"/>
                </a:lnTo>
                <a:lnTo>
                  <a:pt x="2361322" y="635224"/>
                </a:lnTo>
                <a:lnTo>
                  <a:pt x="2364252" y="636848"/>
                </a:lnTo>
                <a:lnTo>
                  <a:pt x="2362733" y="632517"/>
                </a:lnTo>
                <a:lnTo>
                  <a:pt x="2363926" y="628078"/>
                </a:lnTo>
                <a:lnTo>
                  <a:pt x="2372391" y="624289"/>
                </a:lnTo>
                <a:lnTo>
                  <a:pt x="2380421" y="617251"/>
                </a:lnTo>
                <a:lnTo>
                  <a:pt x="2393334" y="612920"/>
                </a:lnTo>
                <a:lnTo>
                  <a:pt x="2401908" y="612379"/>
                </a:lnTo>
                <a:close/>
                <a:moveTo>
                  <a:pt x="5435707" y="610865"/>
                </a:moveTo>
                <a:lnTo>
                  <a:pt x="5439397" y="612381"/>
                </a:lnTo>
                <a:lnTo>
                  <a:pt x="5442327" y="615520"/>
                </a:lnTo>
                <a:lnTo>
                  <a:pt x="5440157" y="618119"/>
                </a:lnTo>
                <a:lnTo>
                  <a:pt x="5437769" y="616820"/>
                </a:lnTo>
                <a:close/>
                <a:moveTo>
                  <a:pt x="2214282" y="604582"/>
                </a:moveTo>
                <a:lnTo>
                  <a:pt x="2215475" y="608372"/>
                </a:lnTo>
                <a:lnTo>
                  <a:pt x="2216886" y="610429"/>
                </a:lnTo>
                <a:lnTo>
                  <a:pt x="2216343" y="613677"/>
                </a:lnTo>
                <a:lnTo>
                  <a:pt x="2212437" y="618657"/>
                </a:lnTo>
                <a:lnTo>
                  <a:pt x="2210158" y="619415"/>
                </a:lnTo>
                <a:lnTo>
                  <a:pt x="2207879" y="616709"/>
                </a:lnTo>
                <a:lnTo>
                  <a:pt x="2207337" y="611295"/>
                </a:lnTo>
                <a:lnTo>
                  <a:pt x="2209832" y="609671"/>
                </a:lnTo>
                <a:lnTo>
                  <a:pt x="2211026" y="605990"/>
                </a:lnTo>
                <a:close/>
                <a:moveTo>
                  <a:pt x="5419538" y="602094"/>
                </a:moveTo>
                <a:lnTo>
                  <a:pt x="5423662" y="603611"/>
                </a:lnTo>
                <a:lnTo>
                  <a:pt x="5420949" y="607182"/>
                </a:lnTo>
                <a:lnTo>
                  <a:pt x="5415740" y="607507"/>
                </a:lnTo>
                <a:lnTo>
                  <a:pt x="5417042" y="605233"/>
                </a:lnTo>
                <a:lnTo>
                  <a:pt x="5416717" y="602959"/>
                </a:lnTo>
                <a:close/>
                <a:moveTo>
                  <a:pt x="2213630" y="599928"/>
                </a:moveTo>
                <a:lnTo>
                  <a:pt x="2216559" y="600252"/>
                </a:lnTo>
                <a:lnTo>
                  <a:pt x="2215583" y="602525"/>
                </a:lnTo>
                <a:lnTo>
                  <a:pt x="2213305" y="602202"/>
                </a:lnTo>
                <a:close/>
                <a:moveTo>
                  <a:pt x="1568283" y="593863"/>
                </a:moveTo>
                <a:lnTo>
                  <a:pt x="1568391" y="599169"/>
                </a:lnTo>
                <a:lnTo>
                  <a:pt x="1563834" y="601551"/>
                </a:lnTo>
                <a:lnTo>
                  <a:pt x="1560904" y="599927"/>
                </a:lnTo>
                <a:lnTo>
                  <a:pt x="1563074" y="596678"/>
                </a:lnTo>
                <a:close/>
                <a:moveTo>
                  <a:pt x="5299952" y="592242"/>
                </a:moveTo>
                <a:lnTo>
                  <a:pt x="5303316" y="593649"/>
                </a:lnTo>
                <a:lnTo>
                  <a:pt x="5302991" y="596464"/>
                </a:lnTo>
                <a:lnTo>
                  <a:pt x="5304185" y="600362"/>
                </a:lnTo>
                <a:lnTo>
                  <a:pt x="5301038" y="602419"/>
                </a:lnTo>
                <a:lnTo>
                  <a:pt x="5297240" y="600578"/>
                </a:lnTo>
                <a:lnTo>
                  <a:pt x="5296263" y="597006"/>
                </a:lnTo>
                <a:lnTo>
                  <a:pt x="5293767" y="595381"/>
                </a:lnTo>
                <a:lnTo>
                  <a:pt x="5294852" y="593107"/>
                </a:lnTo>
                <a:close/>
                <a:moveTo>
                  <a:pt x="1324011" y="590183"/>
                </a:moveTo>
                <a:lnTo>
                  <a:pt x="1328677" y="591807"/>
                </a:lnTo>
                <a:lnTo>
                  <a:pt x="1333560" y="598519"/>
                </a:lnTo>
                <a:lnTo>
                  <a:pt x="1331824" y="599711"/>
                </a:lnTo>
                <a:lnTo>
                  <a:pt x="1327483" y="597220"/>
                </a:lnTo>
                <a:lnTo>
                  <a:pt x="1324445" y="598195"/>
                </a:lnTo>
                <a:lnTo>
                  <a:pt x="1320864" y="592673"/>
                </a:lnTo>
                <a:close/>
                <a:moveTo>
                  <a:pt x="5397618" y="584770"/>
                </a:moveTo>
                <a:lnTo>
                  <a:pt x="5400331" y="584987"/>
                </a:lnTo>
                <a:lnTo>
                  <a:pt x="5400222" y="587152"/>
                </a:lnTo>
                <a:lnTo>
                  <a:pt x="5397184" y="588885"/>
                </a:lnTo>
                <a:lnTo>
                  <a:pt x="5396533" y="590292"/>
                </a:lnTo>
                <a:lnTo>
                  <a:pt x="5397510" y="591917"/>
                </a:lnTo>
                <a:lnTo>
                  <a:pt x="5396316" y="593649"/>
                </a:lnTo>
                <a:lnTo>
                  <a:pt x="5391975" y="591699"/>
                </a:lnTo>
                <a:lnTo>
                  <a:pt x="5391975" y="588993"/>
                </a:lnTo>
                <a:close/>
                <a:moveTo>
                  <a:pt x="4923074" y="582065"/>
                </a:moveTo>
                <a:lnTo>
                  <a:pt x="4924593" y="582173"/>
                </a:lnTo>
                <a:lnTo>
                  <a:pt x="4923833" y="585529"/>
                </a:lnTo>
                <a:lnTo>
                  <a:pt x="4917323" y="589860"/>
                </a:lnTo>
                <a:lnTo>
                  <a:pt x="4916021" y="592350"/>
                </a:lnTo>
                <a:lnTo>
                  <a:pt x="4914176" y="592782"/>
                </a:lnTo>
                <a:lnTo>
                  <a:pt x="4912331" y="589860"/>
                </a:lnTo>
                <a:lnTo>
                  <a:pt x="4914935" y="586720"/>
                </a:lnTo>
                <a:lnTo>
                  <a:pt x="4917865" y="585746"/>
                </a:lnTo>
                <a:close/>
                <a:moveTo>
                  <a:pt x="2357198" y="581196"/>
                </a:moveTo>
                <a:lnTo>
                  <a:pt x="2363383" y="582929"/>
                </a:lnTo>
                <a:lnTo>
                  <a:pt x="2364143" y="584986"/>
                </a:lnTo>
                <a:lnTo>
                  <a:pt x="2361213" y="586827"/>
                </a:lnTo>
                <a:lnTo>
                  <a:pt x="2358934" y="586285"/>
                </a:lnTo>
                <a:lnTo>
                  <a:pt x="2355896" y="583037"/>
                </a:lnTo>
                <a:close/>
                <a:moveTo>
                  <a:pt x="5406842" y="580657"/>
                </a:moveTo>
                <a:lnTo>
                  <a:pt x="5411834" y="580874"/>
                </a:lnTo>
                <a:lnTo>
                  <a:pt x="5412810" y="583798"/>
                </a:lnTo>
                <a:lnTo>
                  <a:pt x="5412267" y="585421"/>
                </a:lnTo>
                <a:lnTo>
                  <a:pt x="5409772" y="587045"/>
                </a:lnTo>
                <a:lnTo>
                  <a:pt x="5406299" y="586828"/>
                </a:lnTo>
                <a:lnTo>
                  <a:pt x="5405431" y="582821"/>
                </a:lnTo>
                <a:close/>
                <a:moveTo>
                  <a:pt x="5420406" y="576867"/>
                </a:moveTo>
                <a:lnTo>
                  <a:pt x="5422577" y="579575"/>
                </a:lnTo>
                <a:lnTo>
                  <a:pt x="5422251" y="582716"/>
                </a:lnTo>
                <a:lnTo>
                  <a:pt x="5417801" y="586504"/>
                </a:lnTo>
                <a:lnTo>
                  <a:pt x="5415848" y="587261"/>
                </a:lnTo>
                <a:lnTo>
                  <a:pt x="5414763" y="586178"/>
                </a:lnTo>
                <a:lnTo>
                  <a:pt x="5416282" y="583254"/>
                </a:lnTo>
                <a:lnTo>
                  <a:pt x="5415522" y="580441"/>
                </a:lnTo>
                <a:lnTo>
                  <a:pt x="5416065" y="577083"/>
                </a:lnTo>
                <a:close/>
                <a:moveTo>
                  <a:pt x="5399680" y="564524"/>
                </a:moveTo>
                <a:lnTo>
                  <a:pt x="5402827" y="565391"/>
                </a:lnTo>
                <a:lnTo>
                  <a:pt x="5403913" y="567230"/>
                </a:lnTo>
                <a:lnTo>
                  <a:pt x="5400331" y="571886"/>
                </a:lnTo>
                <a:lnTo>
                  <a:pt x="5398269" y="570047"/>
                </a:lnTo>
                <a:lnTo>
                  <a:pt x="5392409" y="568206"/>
                </a:lnTo>
                <a:lnTo>
                  <a:pt x="5392192" y="566905"/>
                </a:lnTo>
                <a:lnTo>
                  <a:pt x="5396099" y="565932"/>
                </a:lnTo>
                <a:close/>
                <a:moveTo>
                  <a:pt x="2287097" y="559759"/>
                </a:moveTo>
                <a:lnTo>
                  <a:pt x="2289375" y="561492"/>
                </a:lnTo>
                <a:lnTo>
                  <a:pt x="2293716" y="561492"/>
                </a:lnTo>
                <a:lnTo>
                  <a:pt x="2294910" y="564956"/>
                </a:lnTo>
                <a:lnTo>
                  <a:pt x="2298165" y="562249"/>
                </a:lnTo>
                <a:lnTo>
                  <a:pt x="2304243" y="562249"/>
                </a:lnTo>
                <a:lnTo>
                  <a:pt x="2307389" y="567555"/>
                </a:lnTo>
                <a:lnTo>
                  <a:pt x="2312055" y="568962"/>
                </a:lnTo>
                <a:lnTo>
                  <a:pt x="2313032" y="570153"/>
                </a:lnTo>
                <a:lnTo>
                  <a:pt x="2315311" y="570153"/>
                </a:lnTo>
                <a:lnTo>
                  <a:pt x="2317915" y="574592"/>
                </a:lnTo>
                <a:lnTo>
                  <a:pt x="2317915" y="578381"/>
                </a:lnTo>
                <a:lnTo>
                  <a:pt x="2319760" y="579897"/>
                </a:lnTo>
                <a:lnTo>
                  <a:pt x="2323016" y="578381"/>
                </a:lnTo>
                <a:lnTo>
                  <a:pt x="2329744" y="579031"/>
                </a:lnTo>
                <a:lnTo>
                  <a:pt x="2340595" y="580439"/>
                </a:lnTo>
                <a:lnTo>
                  <a:pt x="2346998" y="584445"/>
                </a:lnTo>
                <a:lnTo>
                  <a:pt x="2346998" y="588234"/>
                </a:lnTo>
                <a:lnTo>
                  <a:pt x="2349927" y="590291"/>
                </a:lnTo>
                <a:lnTo>
                  <a:pt x="2351121" y="594081"/>
                </a:lnTo>
                <a:lnTo>
                  <a:pt x="2349277" y="592890"/>
                </a:lnTo>
                <a:lnTo>
                  <a:pt x="2347214" y="592890"/>
                </a:lnTo>
                <a:lnTo>
                  <a:pt x="2344936" y="598195"/>
                </a:lnTo>
                <a:lnTo>
                  <a:pt x="2337991" y="604583"/>
                </a:lnTo>
                <a:lnTo>
                  <a:pt x="2334410" y="609780"/>
                </a:lnTo>
                <a:lnTo>
                  <a:pt x="2330286" y="610971"/>
                </a:lnTo>
                <a:lnTo>
                  <a:pt x="2330286" y="612811"/>
                </a:lnTo>
                <a:lnTo>
                  <a:pt x="2320411" y="620390"/>
                </a:lnTo>
                <a:lnTo>
                  <a:pt x="2315420" y="627320"/>
                </a:lnTo>
                <a:lnTo>
                  <a:pt x="2310102" y="627320"/>
                </a:lnTo>
                <a:lnTo>
                  <a:pt x="2309451" y="629593"/>
                </a:lnTo>
                <a:lnTo>
                  <a:pt x="2311187" y="631109"/>
                </a:lnTo>
                <a:lnTo>
                  <a:pt x="2308800" y="634574"/>
                </a:lnTo>
                <a:lnTo>
                  <a:pt x="2301529" y="639879"/>
                </a:lnTo>
                <a:lnTo>
                  <a:pt x="2295670" y="645942"/>
                </a:lnTo>
                <a:lnTo>
                  <a:pt x="2287097" y="651572"/>
                </a:lnTo>
                <a:lnTo>
                  <a:pt x="2281454" y="655037"/>
                </a:lnTo>
                <a:lnTo>
                  <a:pt x="2278632" y="653629"/>
                </a:lnTo>
                <a:lnTo>
                  <a:pt x="2277656" y="651464"/>
                </a:lnTo>
                <a:lnTo>
                  <a:pt x="2274617" y="651464"/>
                </a:lnTo>
                <a:lnTo>
                  <a:pt x="2268323" y="646375"/>
                </a:lnTo>
                <a:lnTo>
                  <a:pt x="2267672" y="642369"/>
                </a:lnTo>
                <a:lnTo>
                  <a:pt x="2264308" y="640854"/>
                </a:lnTo>
                <a:lnTo>
                  <a:pt x="2260944" y="642694"/>
                </a:lnTo>
                <a:lnTo>
                  <a:pt x="2256387" y="641503"/>
                </a:lnTo>
                <a:lnTo>
                  <a:pt x="2252588" y="641503"/>
                </a:lnTo>
                <a:lnTo>
                  <a:pt x="2249224" y="639554"/>
                </a:lnTo>
                <a:lnTo>
                  <a:pt x="2245643" y="639554"/>
                </a:lnTo>
                <a:lnTo>
                  <a:pt x="2244992" y="642478"/>
                </a:lnTo>
                <a:lnTo>
                  <a:pt x="2246837" y="644751"/>
                </a:lnTo>
                <a:lnTo>
                  <a:pt x="2255952" y="644751"/>
                </a:lnTo>
                <a:lnTo>
                  <a:pt x="2254433" y="648215"/>
                </a:lnTo>
                <a:lnTo>
                  <a:pt x="2251177" y="651788"/>
                </a:lnTo>
                <a:lnTo>
                  <a:pt x="2253674" y="654278"/>
                </a:lnTo>
                <a:lnTo>
                  <a:pt x="2253674" y="659476"/>
                </a:lnTo>
                <a:lnTo>
                  <a:pt x="2251395" y="663807"/>
                </a:lnTo>
                <a:lnTo>
                  <a:pt x="2248247" y="665864"/>
                </a:lnTo>
                <a:lnTo>
                  <a:pt x="2245534" y="668896"/>
                </a:lnTo>
                <a:lnTo>
                  <a:pt x="2240977" y="668896"/>
                </a:lnTo>
                <a:lnTo>
                  <a:pt x="2238047" y="671277"/>
                </a:lnTo>
                <a:lnTo>
                  <a:pt x="2235768" y="675825"/>
                </a:lnTo>
                <a:lnTo>
                  <a:pt x="2232187" y="679289"/>
                </a:lnTo>
                <a:lnTo>
                  <a:pt x="2228715" y="679289"/>
                </a:lnTo>
                <a:lnTo>
                  <a:pt x="2228715" y="683620"/>
                </a:lnTo>
                <a:cubicBezTo>
                  <a:pt x="2228202" y="684161"/>
                  <a:pt x="2227730" y="684741"/>
                  <a:pt x="2227304" y="685353"/>
                </a:cubicBezTo>
                <a:lnTo>
                  <a:pt x="2220033" y="679181"/>
                </a:lnTo>
                <a:lnTo>
                  <a:pt x="2216561" y="680588"/>
                </a:lnTo>
                <a:lnTo>
                  <a:pt x="2208314" y="679614"/>
                </a:lnTo>
                <a:lnTo>
                  <a:pt x="2211569" y="674526"/>
                </a:lnTo>
                <a:lnTo>
                  <a:pt x="2215367" y="672793"/>
                </a:lnTo>
                <a:lnTo>
                  <a:pt x="2218080" y="673984"/>
                </a:lnTo>
                <a:lnTo>
                  <a:pt x="2219600" y="672468"/>
                </a:lnTo>
                <a:lnTo>
                  <a:pt x="2218948" y="670411"/>
                </a:lnTo>
                <a:lnTo>
                  <a:pt x="2214825" y="670411"/>
                </a:lnTo>
                <a:lnTo>
                  <a:pt x="2213631" y="668679"/>
                </a:lnTo>
                <a:lnTo>
                  <a:pt x="2219491" y="660775"/>
                </a:lnTo>
                <a:lnTo>
                  <a:pt x="2222095" y="652871"/>
                </a:lnTo>
                <a:lnTo>
                  <a:pt x="2222095" y="648541"/>
                </a:lnTo>
                <a:lnTo>
                  <a:pt x="2224483" y="647133"/>
                </a:lnTo>
                <a:lnTo>
                  <a:pt x="2224483" y="644426"/>
                </a:lnTo>
                <a:lnTo>
                  <a:pt x="2220685" y="641503"/>
                </a:lnTo>
                <a:lnTo>
                  <a:pt x="2223072" y="638255"/>
                </a:lnTo>
                <a:lnTo>
                  <a:pt x="2223072" y="632733"/>
                </a:lnTo>
                <a:lnTo>
                  <a:pt x="2227413" y="623097"/>
                </a:lnTo>
                <a:lnTo>
                  <a:pt x="2230668" y="620824"/>
                </a:lnTo>
                <a:lnTo>
                  <a:pt x="2230668" y="616493"/>
                </a:lnTo>
                <a:lnTo>
                  <a:pt x="2234683" y="613569"/>
                </a:lnTo>
                <a:lnTo>
                  <a:pt x="2236311" y="608914"/>
                </a:lnTo>
                <a:lnTo>
                  <a:pt x="2237830" y="605774"/>
                </a:lnTo>
                <a:lnTo>
                  <a:pt x="2238481" y="600577"/>
                </a:lnTo>
                <a:lnTo>
                  <a:pt x="2244558" y="594081"/>
                </a:lnTo>
                <a:lnTo>
                  <a:pt x="2245969" y="587585"/>
                </a:lnTo>
                <a:lnTo>
                  <a:pt x="2249984" y="586935"/>
                </a:lnTo>
                <a:lnTo>
                  <a:pt x="2249984" y="583795"/>
                </a:lnTo>
                <a:lnTo>
                  <a:pt x="2248791" y="581955"/>
                </a:lnTo>
                <a:lnTo>
                  <a:pt x="2252263" y="576108"/>
                </a:lnTo>
                <a:lnTo>
                  <a:pt x="2255193" y="577191"/>
                </a:lnTo>
                <a:lnTo>
                  <a:pt x="2258991" y="582821"/>
                </a:lnTo>
                <a:lnTo>
                  <a:pt x="2260185" y="587260"/>
                </a:lnTo>
                <a:lnTo>
                  <a:pt x="2265176" y="587260"/>
                </a:lnTo>
                <a:lnTo>
                  <a:pt x="2264308" y="582063"/>
                </a:lnTo>
                <a:lnTo>
                  <a:pt x="2260727" y="577949"/>
                </a:lnTo>
                <a:lnTo>
                  <a:pt x="2261378" y="575891"/>
                </a:lnTo>
                <a:lnTo>
                  <a:pt x="2264851" y="574700"/>
                </a:lnTo>
                <a:lnTo>
                  <a:pt x="2261053" y="570045"/>
                </a:lnTo>
                <a:lnTo>
                  <a:pt x="2265176" y="563548"/>
                </a:lnTo>
                <a:lnTo>
                  <a:pt x="2276028" y="561167"/>
                </a:lnTo>
                <a:lnTo>
                  <a:pt x="2283081" y="561167"/>
                </a:lnTo>
                <a:close/>
                <a:moveTo>
                  <a:pt x="2178798" y="548931"/>
                </a:moveTo>
                <a:lnTo>
                  <a:pt x="2184984" y="549580"/>
                </a:lnTo>
                <a:lnTo>
                  <a:pt x="2186394" y="551855"/>
                </a:lnTo>
                <a:lnTo>
                  <a:pt x="2184332" y="553586"/>
                </a:lnTo>
                <a:lnTo>
                  <a:pt x="2184332" y="556510"/>
                </a:lnTo>
                <a:lnTo>
                  <a:pt x="2187588" y="558784"/>
                </a:lnTo>
                <a:lnTo>
                  <a:pt x="2190843" y="563439"/>
                </a:lnTo>
                <a:lnTo>
                  <a:pt x="2194641" y="562032"/>
                </a:lnTo>
                <a:lnTo>
                  <a:pt x="2199416" y="564306"/>
                </a:lnTo>
                <a:lnTo>
                  <a:pt x="2205059" y="564306"/>
                </a:lnTo>
                <a:lnTo>
                  <a:pt x="2207447" y="562032"/>
                </a:lnTo>
                <a:lnTo>
                  <a:pt x="2211028" y="562898"/>
                </a:lnTo>
                <a:lnTo>
                  <a:pt x="2221879" y="562898"/>
                </a:lnTo>
                <a:lnTo>
                  <a:pt x="2225460" y="566904"/>
                </a:lnTo>
                <a:lnTo>
                  <a:pt x="2228390" y="566038"/>
                </a:lnTo>
                <a:lnTo>
                  <a:pt x="2229258" y="568961"/>
                </a:lnTo>
                <a:lnTo>
                  <a:pt x="2228607" y="571559"/>
                </a:lnTo>
                <a:lnTo>
                  <a:pt x="2229801" y="575025"/>
                </a:lnTo>
                <a:lnTo>
                  <a:pt x="2227522" y="578814"/>
                </a:lnTo>
                <a:lnTo>
                  <a:pt x="2221445" y="582386"/>
                </a:lnTo>
                <a:lnTo>
                  <a:pt x="2217864" y="580871"/>
                </a:lnTo>
                <a:lnTo>
                  <a:pt x="2216996" y="578598"/>
                </a:lnTo>
                <a:lnTo>
                  <a:pt x="2214608" y="580979"/>
                </a:lnTo>
                <a:lnTo>
                  <a:pt x="2211678" y="581954"/>
                </a:lnTo>
                <a:lnTo>
                  <a:pt x="2212764" y="584552"/>
                </a:lnTo>
                <a:lnTo>
                  <a:pt x="2217973" y="587800"/>
                </a:lnTo>
                <a:lnTo>
                  <a:pt x="2216236" y="590724"/>
                </a:lnTo>
                <a:lnTo>
                  <a:pt x="2215368" y="596679"/>
                </a:lnTo>
                <a:lnTo>
                  <a:pt x="2212981" y="597869"/>
                </a:lnTo>
                <a:lnTo>
                  <a:pt x="2211245" y="596137"/>
                </a:lnTo>
                <a:lnTo>
                  <a:pt x="2207772" y="596137"/>
                </a:lnTo>
                <a:lnTo>
                  <a:pt x="2202780" y="597328"/>
                </a:lnTo>
                <a:lnTo>
                  <a:pt x="2201044" y="599927"/>
                </a:lnTo>
                <a:lnTo>
                  <a:pt x="2191928" y="601984"/>
                </a:lnTo>
                <a:lnTo>
                  <a:pt x="2186394" y="606423"/>
                </a:lnTo>
                <a:lnTo>
                  <a:pt x="2183681" y="606423"/>
                </a:lnTo>
                <a:lnTo>
                  <a:pt x="2179883" y="612269"/>
                </a:lnTo>
                <a:lnTo>
                  <a:pt x="2179883" y="614976"/>
                </a:lnTo>
                <a:lnTo>
                  <a:pt x="2183031" y="614976"/>
                </a:lnTo>
                <a:lnTo>
                  <a:pt x="2184224" y="612920"/>
                </a:lnTo>
                <a:lnTo>
                  <a:pt x="2191277" y="611404"/>
                </a:lnTo>
                <a:lnTo>
                  <a:pt x="2193882" y="610320"/>
                </a:lnTo>
                <a:lnTo>
                  <a:pt x="2201152" y="614435"/>
                </a:lnTo>
                <a:lnTo>
                  <a:pt x="2202563" y="619416"/>
                </a:lnTo>
                <a:lnTo>
                  <a:pt x="2200501" y="620931"/>
                </a:lnTo>
                <a:lnTo>
                  <a:pt x="2197354" y="620931"/>
                </a:lnTo>
                <a:lnTo>
                  <a:pt x="2200827" y="622447"/>
                </a:lnTo>
                <a:lnTo>
                  <a:pt x="2201695" y="626236"/>
                </a:lnTo>
                <a:lnTo>
                  <a:pt x="2201695" y="630675"/>
                </a:lnTo>
                <a:lnTo>
                  <a:pt x="2198114" y="633057"/>
                </a:lnTo>
                <a:lnTo>
                  <a:pt x="2198114" y="637930"/>
                </a:lnTo>
                <a:lnTo>
                  <a:pt x="2199524" y="639987"/>
                </a:lnTo>
                <a:lnTo>
                  <a:pt x="2202237" y="634681"/>
                </a:lnTo>
                <a:lnTo>
                  <a:pt x="2207447" y="632733"/>
                </a:lnTo>
                <a:lnTo>
                  <a:pt x="2209183" y="630675"/>
                </a:lnTo>
                <a:lnTo>
                  <a:pt x="2211896" y="630675"/>
                </a:lnTo>
                <a:lnTo>
                  <a:pt x="2209292" y="633815"/>
                </a:lnTo>
                <a:lnTo>
                  <a:pt x="2209292" y="640636"/>
                </a:lnTo>
                <a:lnTo>
                  <a:pt x="2206579" y="647891"/>
                </a:lnTo>
                <a:lnTo>
                  <a:pt x="2206579" y="652221"/>
                </a:lnTo>
                <a:lnTo>
                  <a:pt x="2198656" y="656877"/>
                </a:lnTo>
                <a:lnTo>
                  <a:pt x="2195510" y="656660"/>
                </a:lnTo>
                <a:lnTo>
                  <a:pt x="2194099" y="658934"/>
                </a:lnTo>
                <a:lnTo>
                  <a:pt x="2195618" y="661532"/>
                </a:lnTo>
                <a:lnTo>
                  <a:pt x="2193556" y="667921"/>
                </a:lnTo>
                <a:lnTo>
                  <a:pt x="2190952" y="668570"/>
                </a:lnTo>
                <a:lnTo>
                  <a:pt x="2189758" y="666513"/>
                </a:lnTo>
                <a:lnTo>
                  <a:pt x="2186611" y="668245"/>
                </a:lnTo>
                <a:lnTo>
                  <a:pt x="2186611" y="670303"/>
                </a:lnTo>
                <a:lnTo>
                  <a:pt x="2192688" y="673550"/>
                </a:lnTo>
                <a:lnTo>
                  <a:pt x="2191495" y="675932"/>
                </a:lnTo>
                <a:lnTo>
                  <a:pt x="2186828" y="675932"/>
                </a:lnTo>
                <a:lnTo>
                  <a:pt x="2189541" y="680264"/>
                </a:lnTo>
                <a:lnTo>
                  <a:pt x="2184332" y="684703"/>
                </a:lnTo>
                <a:lnTo>
                  <a:pt x="2182271" y="682645"/>
                </a:lnTo>
                <a:lnTo>
                  <a:pt x="2179341" y="685244"/>
                </a:lnTo>
                <a:lnTo>
                  <a:pt x="2174891" y="685244"/>
                </a:lnTo>
                <a:lnTo>
                  <a:pt x="2169357" y="687842"/>
                </a:lnTo>
                <a:lnTo>
                  <a:pt x="2169357" y="691415"/>
                </a:lnTo>
                <a:lnTo>
                  <a:pt x="2162846" y="693472"/>
                </a:lnTo>
                <a:lnTo>
                  <a:pt x="2157311" y="689683"/>
                </a:lnTo>
                <a:lnTo>
                  <a:pt x="2152645" y="692282"/>
                </a:lnTo>
                <a:lnTo>
                  <a:pt x="2149498" y="691199"/>
                </a:lnTo>
                <a:lnTo>
                  <a:pt x="2147654" y="681887"/>
                </a:lnTo>
                <a:lnTo>
                  <a:pt x="2151777" y="676041"/>
                </a:lnTo>
                <a:lnTo>
                  <a:pt x="2151777" y="672576"/>
                </a:lnTo>
                <a:lnTo>
                  <a:pt x="2143856" y="680155"/>
                </a:lnTo>
                <a:lnTo>
                  <a:pt x="2143204" y="684594"/>
                </a:lnTo>
                <a:lnTo>
                  <a:pt x="2146677" y="693472"/>
                </a:lnTo>
                <a:lnTo>
                  <a:pt x="2149064" y="695854"/>
                </a:lnTo>
                <a:lnTo>
                  <a:pt x="2147870" y="700185"/>
                </a:lnTo>
                <a:lnTo>
                  <a:pt x="2141902" y="706790"/>
                </a:lnTo>
                <a:lnTo>
                  <a:pt x="2139623" y="711770"/>
                </a:lnTo>
                <a:lnTo>
                  <a:pt x="2133221" y="713719"/>
                </a:lnTo>
                <a:lnTo>
                  <a:pt x="2130291" y="711337"/>
                </a:lnTo>
                <a:lnTo>
                  <a:pt x="2130291" y="706031"/>
                </a:lnTo>
                <a:lnTo>
                  <a:pt x="2128337" y="703974"/>
                </a:lnTo>
                <a:lnTo>
                  <a:pt x="2125407" y="706573"/>
                </a:lnTo>
                <a:lnTo>
                  <a:pt x="2124322" y="703974"/>
                </a:lnTo>
                <a:lnTo>
                  <a:pt x="2125516" y="699319"/>
                </a:lnTo>
                <a:lnTo>
                  <a:pt x="2124431" y="694339"/>
                </a:lnTo>
                <a:lnTo>
                  <a:pt x="2121176" y="690874"/>
                </a:lnTo>
                <a:lnTo>
                  <a:pt x="2123888" y="685568"/>
                </a:lnTo>
                <a:lnTo>
                  <a:pt x="2123020" y="678748"/>
                </a:lnTo>
                <a:lnTo>
                  <a:pt x="2124539" y="675824"/>
                </a:lnTo>
                <a:lnTo>
                  <a:pt x="2121067" y="674091"/>
                </a:lnTo>
                <a:lnTo>
                  <a:pt x="2119005" y="669978"/>
                </a:lnTo>
                <a:lnTo>
                  <a:pt x="2119005" y="666188"/>
                </a:lnTo>
                <a:lnTo>
                  <a:pt x="2115098" y="661207"/>
                </a:lnTo>
                <a:lnTo>
                  <a:pt x="2115098" y="653845"/>
                </a:lnTo>
                <a:lnTo>
                  <a:pt x="2111952" y="648215"/>
                </a:lnTo>
                <a:lnTo>
                  <a:pt x="2109564" y="648215"/>
                </a:lnTo>
                <a:lnTo>
                  <a:pt x="2108045" y="645942"/>
                </a:lnTo>
                <a:lnTo>
                  <a:pt x="2108045" y="640636"/>
                </a:lnTo>
                <a:lnTo>
                  <a:pt x="2105441" y="639229"/>
                </a:lnTo>
                <a:lnTo>
                  <a:pt x="2101859" y="641503"/>
                </a:lnTo>
                <a:lnTo>
                  <a:pt x="2099906" y="639662"/>
                </a:lnTo>
                <a:lnTo>
                  <a:pt x="2096433" y="640312"/>
                </a:lnTo>
                <a:lnTo>
                  <a:pt x="2094155" y="638038"/>
                </a:lnTo>
                <a:lnTo>
                  <a:pt x="2094155" y="632841"/>
                </a:lnTo>
                <a:lnTo>
                  <a:pt x="2099038" y="630243"/>
                </a:lnTo>
                <a:lnTo>
                  <a:pt x="2100015" y="623530"/>
                </a:lnTo>
                <a:lnTo>
                  <a:pt x="2097627" y="620282"/>
                </a:lnTo>
                <a:lnTo>
                  <a:pt x="2098821" y="617575"/>
                </a:lnTo>
                <a:lnTo>
                  <a:pt x="2098821" y="609454"/>
                </a:lnTo>
                <a:lnTo>
                  <a:pt x="2097085" y="606206"/>
                </a:lnTo>
                <a:lnTo>
                  <a:pt x="2102728" y="598953"/>
                </a:lnTo>
                <a:lnTo>
                  <a:pt x="2107394" y="597220"/>
                </a:lnTo>
                <a:lnTo>
                  <a:pt x="2109239" y="594080"/>
                </a:lnTo>
                <a:lnTo>
                  <a:pt x="2111626" y="593430"/>
                </a:lnTo>
                <a:lnTo>
                  <a:pt x="2113037" y="595704"/>
                </a:lnTo>
                <a:lnTo>
                  <a:pt x="2120090" y="593430"/>
                </a:lnTo>
                <a:lnTo>
                  <a:pt x="2124214" y="594621"/>
                </a:lnTo>
                <a:lnTo>
                  <a:pt x="2126276" y="597545"/>
                </a:lnTo>
                <a:lnTo>
                  <a:pt x="2124431" y="599818"/>
                </a:lnTo>
                <a:lnTo>
                  <a:pt x="2122369" y="600468"/>
                </a:lnTo>
                <a:lnTo>
                  <a:pt x="2122369" y="602849"/>
                </a:lnTo>
                <a:lnTo>
                  <a:pt x="2126384" y="603499"/>
                </a:lnTo>
                <a:lnTo>
                  <a:pt x="2127252" y="606206"/>
                </a:lnTo>
                <a:lnTo>
                  <a:pt x="2127252" y="610320"/>
                </a:lnTo>
                <a:lnTo>
                  <a:pt x="2133112" y="616708"/>
                </a:lnTo>
                <a:lnTo>
                  <a:pt x="2133112" y="620822"/>
                </a:lnTo>
                <a:lnTo>
                  <a:pt x="2135825" y="624829"/>
                </a:lnTo>
                <a:lnTo>
                  <a:pt x="2140274" y="625479"/>
                </a:lnTo>
                <a:lnTo>
                  <a:pt x="2142336" y="623746"/>
                </a:lnTo>
                <a:lnTo>
                  <a:pt x="2141468" y="619740"/>
                </a:lnTo>
                <a:lnTo>
                  <a:pt x="2144072" y="617900"/>
                </a:lnTo>
                <a:lnTo>
                  <a:pt x="2147219" y="612702"/>
                </a:lnTo>
                <a:lnTo>
                  <a:pt x="2146351" y="609563"/>
                </a:lnTo>
                <a:lnTo>
                  <a:pt x="2149607" y="606423"/>
                </a:lnTo>
                <a:lnTo>
                  <a:pt x="2150258" y="602959"/>
                </a:lnTo>
                <a:lnTo>
                  <a:pt x="2148522" y="598844"/>
                </a:lnTo>
                <a:lnTo>
                  <a:pt x="2150258" y="596786"/>
                </a:lnTo>
                <a:lnTo>
                  <a:pt x="2154598" y="595812"/>
                </a:lnTo>
                <a:lnTo>
                  <a:pt x="2157746" y="597003"/>
                </a:lnTo>
                <a:lnTo>
                  <a:pt x="2160024" y="601767"/>
                </a:lnTo>
                <a:lnTo>
                  <a:pt x="2163280" y="601767"/>
                </a:lnTo>
                <a:lnTo>
                  <a:pt x="2163280" y="598844"/>
                </a:lnTo>
                <a:lnTo>
                  <a:pt x="2159808" y="593214"/>
                </a:lnTo>
                <a:lnTo>
                  <a:pt x="2158723" y="588775"/>
                </a:lnTo>
                <a:lnTo>
                  <a:pt x="2156986" y="588775"/>
                </a:lnTo>
                <a:lnTo>
                  <a:pt x="2154707" y="593106"/>
                </a:lnTo>
                <a:lnTo>
                  <a:pt x="2149390" y="593106"/>
                </a:lnTo>
                <a:lnTo>
                  <a:pt x="2145266" y="587259"/>
                </a:lnTo>
                <a:lnTo>
                  <a:pt x="2145266" y="584119"/>
                </a:lnTo>
                <a:lnTo>
                  <a:pt x="2141468" y="579355"/>
                </a:lnTo>
                <a:lnTo>
                  <a:pt x="2141468" y="573833"/>
                </a:lnTo>
                <a:lnTo>
                  <a:pt x="2144398" y="570910"/>
                </a:lnTo>
                <a:lnTo>
                  <a:pt x="2147979" y="570910"/>
                </a:lnTo>
                <a:lnTo>
                  <a:pt x="2149064" y="567121"/>
                </a:lnTo>
                <a:lnTo>
                  <a:pt x="2152645" y="569178"/>
                </a:lnTo>
                <a:lnTo>
                  <a:pt x="2155033" y="573292"/>
                </a:lnTo>
                <a:lnTo>
                  <a:pt x="2156552" y="582604"/>
                </a:lnTo>
                <a:lnTo>
                  <a:pt x="2157637" y="582604"/>
                </a:lnTo>
                <a:lnTo>
                  <a:pt x="2158614" y="577623"/>
                </a:lnTo>
                <a:lnTo>
                  <a:pt x="2160350" y="575349"/>
                </a:lnTo>
                <a:lnTo>
                  <a:pt x="2160350" y="570368"/>
                </a:lnTo>
                <a:lnTo>
                  <a:pt x="2156878" y="568528"/>
                </a:lnTo>
                <a:lnTo>
                  <a:pt x="2156878" y="564089"/>
                </a:lnTo>
                <a:lnTo>
                  <a:pt x="2155901" y="559433"/>
                </a:lnTo>
                <a:lnTo>
                  <a:pt x="2157963" y="558243"/>
                </a:lnTo>
                <a:lnTo>
                  <a:pt x="2159373" y="553478"/>
                </a:lnTo>
                <a:lnTo>
                  <a:pt x="2163822" y="551746"/>
                </a:lnTo>
                <a:lnTo>
                  <a:pt x="2165884" y="552829"/>
                </a:lnTo>
                <a:lnTo>
                  <a:pt x="2168163" y="552180"/>
                </a:lnTo>
                <a:lnTo>
                  <a:pt x="2171636" y="557376"/>
                </a:lnTo>
                <a:lnTo>
                  <a:pt x="2177279" y="558784"/>
                </a:lnTo>
                <a:lnTo>
                  <a:pt x="2179558" y="554778"/>
                </a:lnTo>
                <a:lnTo>
                  <a:pt x="2174891" y="554778"/>
                </a:lnTo>
                <a:lnTo>
                  <a:pt x="2172830" y="552504"/>
                </a:lnTo>
                <a:lnTo>
                  <a:pt x="2175217" y="550664"/>
                </a:lnTo>
                <a:close/>
                <a:moveTo>
                  <a:pt x="5417911" y="548501"/>
                </a:moveTo>
                <a:lnTo>
                  <a:pt x="5423662" y="549259"/>
                </a:lnTo>
                <a:lnTo>
                  <a:pt x="5426701" y="552723"/>
                </a:lnTo>
                <a:lnTo>
                  <a:pt x="5426484" y="554673"/>
                </a:lnTo>
                <a:lnTo>
                  <a:pt x="5422794" y="555430"/>
                </a:lnTo>
                <a:lnTo>
                  <a:pt x="5424639" y="558136"/>
                </a:lnTo>
                <a:lnTo>
                  <a:pt x="5424965" y="559761"/>
                </a:lnTo>
                <a:lnTo>
                  <a:pt x="5422903" y="560735"/>
                </a:lnTo>
                <a:lnTo>
                  <a:pt x="5419430" y="558355"/>
                </a:lnTo>
                <a:lnTo>
                  <a:pt x="5414764" y="558136"/>
                </a:lnTo>
                <a:lnTo>
                  <a:pt x="5412159" y="556404"/>
                </a:lnTo>
                <a:lnTo>
                  <a:pt x="5409772" y="552399"/>
                </a:lnTo>
                <a:lnTo>
                  <a:pt x="5411183" y="551423"/>
                </a:lnTo>
                <a:lnTo>
                  <a:pt x="5414655" y="553481"/>
                </a:lnTo>
                <a:lnTo>
                  <a:pt x="5415957" y="553156"/>
                </a:lnTo>
                <a:lnTo>
                  <a:pt x="5415523" y="550016"/>
                </a:lnTo>
                <a:close/>
                <a:moveTo>
                  <a:pt x="2223614" y="544384"/>
                </a:moveTo>
                <a:lnTo>
                  <a:pt x="2230450" y="548390"/>
                </a:lnTo>
                <a:lnTo>
                  <a:pt x="2230993" y="551963"/>
                </a:lnTo>
                <a:lnTo>
                  <a:pt x="2225133" y="551639"/>
                </a:lnTo>
                <a:lnTo>
                  <a:pt x="2221769" y="555212"/>
                </a:lnTo>
                <a:lnTo>
                  <a:pt x="2218405" y="556078"/>
                </a:lnTo>
                <a:lnTo>
                  <a:pt x="2214824" y="554670"/>
                </a:lnTo>
                <a:lnTo>
                  <a:pt x="2209073" y="557594"/>
                </a:lnTo>
                <a:lnTo>
                  <a:pt x="2204732" y="555970"/>
                </a:lnTo>
                <a:lnTo>
                  <a:pt x="2202671" y="558460"/>
                </a:lnTo>
                <a:lnTo>
                  <a:pt x="2196485" y="553913"/>
                </a:lnTo>
                <a:lnTo>
                  <a:pt x="2190625" y="552288"/>
                </a:lnTo>
                <a:lnTo>
                  <a:pt x="2188672" y="549256"/>
                </a:lnTo>
                <a:lnTo>
                  <a:pt x="2190191" y="548607"/>
                </a:lnTo>
                <a:lnTo>
                  <a:pt x="2195725" y="549148"/>
                </a:lnTo>
                <a:lnTo>
                  <a:pt x="2200608" y="545684"/>
                </a:lnTo>
                <a:lnTo>
                  <a:pt x="2207011" y="548715"/>
                </a:lnTo>
                <a:lnTo>
                  <a:pt x="2211786" y="546009"/>
                </a:lnTo>
                <a:lnTo>
                  <a:pt x="2214173" y="547308"/>
                </a:lnTo>
                <a:lnTo>
                  <a:pt x="2219708" y="546550"/>
                </a:lnTo>
                <a:close/>
                <a:moveTo>
                  <a:pt x="3646919" y="541028"/>
                </a:moveTo>
                <a:lnTo>
                  <a:pt x="3646919" y="545899"/>
                </a:lnTo>
                <a:lnTo>
                  <a:pt x="3645399" y="548606"/>
                </a:lnTo>
                <a:lnTo>
                  <a:pt x="3644857" y="553262"/>
                </a:lnTo>
                <a:lnTo>
                  <a:pt x="3645616" y="555860"/>
                </a:lnTo>
                <a:lnTo>
                  <a:pt x="3644206" y="558350"/>
                </a:lnTo>
                <a:lnTo>
                  <a:pt x="3640625" y="558351"/>
                </a:lnTo>
                <a:cubicBezTo>
                  <a:pt x="3640243" y="557506"/>
                  <a:pt x="3639917" y="556639"/>
                  <a:pt x="3639648" y="555752"/>
                </a:cubicBezTo>
                <a:lnTo>
                  <a:pt x="3642144" y="551746"/>
                </a:lnTo>
                <a:lnTo>
                  <a:pt x="3642144" y="547091"/>
                </a:lnTo>
                <a:close/>
                <a:moveTo>
                  <a:pt x="3609806" y="536156"/>
                </a:moveTo>
                <a:lnTo>
                  <a:pt x="3611759" y="536373"/>
                </a:lnTo>
                <a:lnTo>
                  <a:pt x="3615124" y="540920"/>
                </a:lnTo>
                <a:lnTo>
                  <a:pt x="3618488" y="542760"/>
                </a:lnTo>
                <a:lnTo>
                  <a:pt x="3618596" y="545576"/>
                </a:lnTo>
                <a:lnTo>
                  <a:pt x="3615774" y="545251"/>
                </a:lnTo>
                <a:lnTo>
                  <a:pt x="3612302" y="543085"/>
                </a:lnTo>
                <a:lnTo>
                  <a:pt x="3608938" y="537455"/>
                </a:lnTo>
                <a:close/>
                <a:moveTo>
                  <a:pt x="5322742" y="529445"/>
                </a:moveTo>
                <a:lnTo>
                  <a:pt x="5323935" y="533344"/>
                </a:lnTo>
                <a:lnTo>
                  <a:pt x="5323935" y="536374"/>
                </a:lnTo>
                <a:lnTo>
                  <a:pt x="5327300" y="539623"/>
                </a:lnTo>
                <a:lnTo>
                  <a:pt x="5327300" y="542220"/>
                </a:lnTo>
                <a:lnTo>
                  <a:pt x="5324044" y="544386"/>
                </a:lnTo>
                <a:lnTo>
                  <a:pt x="5325563" y="549800"/>
                </a:lnTo>
                <a:lnTo>
                  <a:pt x="5325129" y="554563"/>
                </a:lnTo>
                <a:lnTo>
                  <a:pt x="5322850" y="551857"/>
                </a:lnTo>
                <a:lnTo>
                  <a:pt x="5322308" y="546878"/>
                </a:lnTo>
                <a:lnTo>
                  <a:pt x="5320463" y="545470"/>
                </a:lnTo>
                <a:lnTo>
                  <a:pt x="5317967" y="547634"/>
                </a:lnTo>
                <a:lnTo>
                  <a:pt x="5314820" y="546552"/>
                </a:lnTo>
                <a:lnTo>
                  <a:pt x="5314386" y="537565"/>
                </a:lnTo>
                <a:lnTo>
                  <a:pt x="5316339" y="539730"/>
                </a:lnTo>
                <a:lnTo>
                  <a:pt x="5318509" y="540705"/>
                </a:lnTo>
                <a:lnTo>
                  <a:pt x="5319161" y="537132"/>
                </a:lnTo>
                <a:lnTo>
                  <a:pt x="5315688" y="533451"/>
                </a:lnTo>
                <a:lnTo>
                  <a:pt x="5317207" y="531502"/>
                </a:lnTo>
                <a:lnTo>
                  <a:pt x="5319377" y="531502"/>
                </a:lnTo>
                <a:close/>
                <a:moveTo>
                  <a:pt x="2062358" y="526953"/>
                </a:moveTo>
                <a:lnTo>
                  <a:pt x="2065940" y="529875"/>
                </a:lnTo>
                <a:lnTo>
                  <a:pt x="2069304" y="530092"/>
                </a:lnTo>
                <a:lnTo>
                  <a:pt x="2073427" y="532799"/>
                </a:lnTo>
                <a:lnTo>
                  <a:pt x="2076140" y="531933"/>
                </a:lnTo>
                <a:lnTo>
                  <a:pt x="2080807" y="533881"/>
                </a:lnTo>
                <a:lnTo>
                  <a:pt x="2083520" y="533016"/>
                </a:lnTo>
                <a:lnTo>
                  <a:pt x="2086992" y="533124"/>
                </a:lnTo>
                <a:lnTo>
                  <a:pt x="2091332" y="539187"/>
                </a:lnTo>
                <a:lnTo>
                  <a:pt x="2091116" y="542652"/>
                </a:lnTo>
                <a:lnTo>
                  <a:pt x="2089922" y="544709"/>
                </a:lnTo>
                <a:lnTo>
                  <a:pt x="2092743" y="549473"/>
                </a:lnTo>
                <a:lnTo>
                  <a:pt x="2092743" y="552396"/>
                </a:lnTo>
                <a:lnTo>
                  <a:pt x="2090681" y="554345"/>
                </a:lnTo>
                <a:lnTo>
                  <a:pt x="2090464" y="557917"/>
                </a:lnTo>
                <a:lnTo>
                  <a:pt x="2084930" y="563440"/>
                </a:lnTo>
                <a:lnTo>
                  <a:pt x="2082543" y="563440"/>
                </a:lnTo>
                <a:lnTo>
                  <a:pt x="2075815" y="569827"/>
                </a:lnTo>
                <a:lnTo>
                  <a:pt x="2069846" y="573617"/>
                </a:lnTo>
                <a:lnTo>
                  <a:pt x="2064312" y="580221"/>
                </a:lnTo>
                <a:lnTo>
                  <a:pt x="2059754" y="580221"/>
                </a:lnTo>
                <a:lnTo>
                  <a:pt x="2056824" y="582279"/>
                </a:lnTo>
                <a:lnTo>
                  <a:pt x="2057150" y="585743"/>
                </a:lnTo>
                <a:lnTo>
                  <a:pt x="2055522" y="587151"/>
                </a:lnTo>
                <a:lnTo>
                  <a:pt x="2052049" y="582821"/>
                </a:lnTo>
                <a:lnTo>
                  <a:pt x="2051507" y="573076"/>
                </a:lnTo>
                <a:lnTo>
                  <a:pt x="2048794" y="568203"/>
                </a:lnTo>
                <a:lnTo>
                  <a:pt x="2048794" y="564414"/>
                </a:lnTo>
                <a:lnTo>
                  <a:pt x="2049663" y="561924"/>
                </a:lnTo>
                <a:lnTo>
                  <a:pt x="2048251" y="556402"/>
                </a:lnTo>
                <a:lnTo>
                  <a:pt x="2048251" y="550880"/>
                </a:lnTo>
                <a:lnTo>
                  <a:pt x="2044453" y="545358"/>
                </a:lnTo>
                <a:lnTo>
                  <a:pt x="2040330" y="541785"/>
                </a:lnTo>
                <a:lnTo>
                  <a:pt x="2040438" y="539187"/>
                </a:lnTo>
                <a:lnTo>
                  <a:pt x="2047926" y="533341"/>
                </a:lnTo>
                <a:lnTo>
                  <a:pt x="2051507" y="531933"/>
                </a:lnTo>
                <a:lnTo>
                  <a:pt x="2055956" y="527710"/>
                </a:lnTo>
                <a:close/>
                <a:moveTo>
                  <a:pt x="2026548" y="526629"/>
                </a:moveTo>
                <a:lnTo>
                  <a:pt x="2032191" y="527495"/>
                </a:lnTo>
                <a:lnTo>
                  <a:pt x="2034144" y="530310"/>
                </a:lnTo>
                <a:lnTo>
                  <a:pt x="2032517" y="532150"/>
                </a:lnTo>
                <a:lnTo>
                  <a:pt x="2029152" y="530742"/>
                </a:lnTo>
                <a:lnTo>
                  <a:pt x="2026331" y="531934"/>
                </a:lnTo>
                <a:lnTo>
                  <a:pt x="2024921" y="530418"/>
                </a:lnTo>
                <a:lnTo>
                  <a:pt x="2024812" y="527603"/>
                </a:lnTo>
                <a:close/>
                <a:moveTo>
                  <a:pt x="2281019" y="522405"/>
                </a:moveTo>
                <a:lnTo>
                  <a:pt x="2282972" y="523379"/>
                </a:lnTo>
                <a:lnTo>
                  <a:pt x="2284817" y="526953"/>
                </a:lnTo>
                <a:lnTo>
                  <a:pt x="2283514" y="531176"/>
                </a:lnTo>
                <a:lnTo>
                  <a:pt x="2281887" y="532475"/>
                </a:lnTo>
                <a:lnTo>
                  <a:pt x="2280259" y="530202"/>
                </a:lnTo>
                <a:lnTo>
                  <a:pt x="2278849" y="524895"/>
                </a:lnTo>
                <a:close/>
                <a:moveTo>
                  <a:pt x="3629555" y="520672"/>
                </a:moveTo>
                <a:lnTo>
                  <a:pt x="3629881" y="523595"/>
                </a:lnTo>
                <a:lnTo>
                  <a:pt x="3628470" y="528360"/>
                </a:lnTo>
                <a:lnTo>
                  <a:pt x="3626517" y="529442"/>
                </a:lnTo>
                <a:lnTo>
                  <a:pt x="3625432" y="528468"/>
                </a:lnTo>
                <a:lnTo>
                  <a:pt x="3628036" y="522296"/>
                </a:lnTo>
                <a:close/>
                <a:moveTo>
                  <a:pt x="2242712" y="515801"/>
                </a:moveTo>
                <a:lnTo>
                  <a:pt x="2245968" y="518075"/>
                </a:lnTo>
                <a:lnTo>
                  <a:pt x="2244557" y="520890"/>
                </a:lnTo>
                <a:lnTo>
                  <a:pt x="2241193" y="521108"/>
                </a:lnTo>
                <a:lnTo>
                  <a:pt x="2237829" y="523489"/>
                </a:lnTo>
                <a:lnTo>
                  <a:pt x="2234031" y="523056"/>
                </a:lnTo>
                <a:lnTo>
                  <a:pt x="2237069" y="518075"/>
                </a:lnTo>
                <a:close/>
                <a:moveTo>
                  <a:pt x="1898715" y="513202"/>
                </a:moveTo>
                <a:lnTo>
                  <a:pt x="1902622" y="513419"/>
                </a:lnTo>
                <a:lnTo>
                  <a:pt x="1904032" y="517641"/>
                </a:lnTo>
                <a:lnTo>
                  <a:pt x="1902839" y="521430"/>
                </a:lnTo>
                <a:lnTo>
                  <a:pt x="1903381" y="528577"/>
                </a:lnTo>
                <a:lnTo>
                  <a:pt x="1899909" y="535289"/>
                </a:lnTo>
                <a:lnTo>
                  <a:pt x="1896111" y="535289"/>
                </a:lnTo>
                <a:lnTo>
                  <a:pt x="1894266" y="537779"/>
                </a:lnTo>
                <a:lnTo>
                  <a:pt x="1893940" y="543301"/>
                </a:lnTo>
                <a:lnTo>
                  <a:pt x="1890468" y="547957"/>
                </a:lnTo>
                <a:lnTo>
                  <a:pt x="1887538" y="547308"/>
                </a:lnTo>
                <a:lnTo>
                  <a:pt x="1883522" y="548823"/>
                </a:lnTo>
                <a:lnTo>
                  <a:pt x="1881786" y="552938"/>
                </a:lnTo>
                <a:lnTo>
                  <a:pt x="1874949" y="554453"/>
                </a:lnTo>
                <a:lnTo>
                  <a:pt x="1873213" y="556185"/>
                </a:lnTo>
                <a:lnTo>
                  <a:pt x="1875058" y="557918"/>
                </a:lnTo>
                <a:lnTo>
                  <a:pt x="1879941" y="558134"/>
                </a:lnTo>
                <a:lnTo>
                  <a:pt x="1882003" y="556185"/>
                </a:lnTo>
                <a:lnTo>
                  <a:pt x="1886670" y="555861"/>
                </a:lnTo>
                <a:lnTo>
                  <a:pt x="1890142" y="558243"/>
                </a:lnTo>
                <a:lnTo>
                  <a:pt x="1893723" y="557593"/>
                </a:lnTo>
                <a:lnTo>
                  <a:pt x="1893940" y="559650"/>
                </a:lnTo>
                <a:lnTo>
                  <a:pt x="1897196" y="558134"/>
                </a:lnTo>
                <a:lnTo>
                  <a:pt x="1900126" y="557052"/>
                </a:lnTo>
                <a:lnTo>
                  <a:pt x="1900234" y="554020"/>
                </a:lnTo>
                <a:lnTo>
                  <a:pt x="1898389" y="552288"/>
                </a:lnTo>
                <a:lnTo>
                  <a:pt x="1905877" y="544492"/>
                </a:lnTo>
                <a:lnTo>
                  <a:pt x="1909024" y="544167"/>
                </a:lnTo>
                <a:lnTo>
                  <a:pt x="1914232" y="540378"/>
                </a:lnTo>
                <a:lnTo>
                  <a:pt x="1918139" y="540378"/>
                </a:lnTo>
                <a:lnTo>
                  <a:pt x="1919224" y="542977"/>
                </a:lnTo>
                <a:lnTo>
                  <a:pt x="1926495" y="549690"/>
                </a:lnTo>
                <a:lnTo>
                  <a:pt x="1927146" y="552938"/>
                </a:lnTo>
                <a:lnTo>
                  <a:pt x="1932463" y="554670"/>
                </a:lnTo>
                <a:lnTo>
                  <a:pt x="1936479" y="562573"/>
                </a:lnTo>
                <a:lnTo>
                  <a:pt x="1939517" y="565281"/>
                </a:lnTo>
                <a:lnTo>
                  <a:pt x="1938649" y="568095"/>
                </a:lnTo>
                <a:lnTo>
                  <a:pt x="1938649" y="571993"/>
                </a:lnTo>
                <a:lnTo>
                  <a:pt x="1933874" y="576107"/>
                </a:lnTo>
                <a:lnTo>
                  <a:pt x="1930619" y="575132"/>
                </a:lnTo>
                <a:lnTo>
                  <a:pt x="1927471" y="576107"/>
                </a:lnTo>
                <a:lnTo>
                  <a:pt x="1927146" y="579030"/>
                </a:lnTo>
                <a:lnTo>
                  <a:pt x="1921829" y="580438"/>
                </a:lnTo>
                <a:lnTo>
                  <a:pt x="1918899" y="579464"/>
                </a:lnTo>
                <a:lnTo>
                  <a:pt x="1912822" y="580114"/>
                </a:lnTo>
                <a:lnTo>
                  <a:pt x="1909024" y="583578"/>
                </a:lnTo>
                <a:lnTo>
                  <a:pt x="1911303" y="585635"/>
                </a:lnTo>
                <a:lnTo>
                  <a:pt x="1916620" y="584769"/>
                </a:lnTo>
                <a:lnTo>
                  <a:pt x="1917705" y="587367"/>
                </a:lnTo>
                <a:lnTo>
                  <a:pt x="1923022" y="587151"/>
                </a:lnTo>
                <a:lnTo>
                  <a:pt x="1925952" y="584228"/>
                </a:lnTo>
                <a:lnTo>
                  <a:pt x="1928991" y="583903"/>
                </a:lnTo>
                <a:lnTo>
                  <a:pt x="1932246" y="589533"/>
                </a:lnTo>
                <a:lnTo>
                  <a:pt x="1937672" y="584444"/>
                </a:lnTo>
                <a:lnTo>
                  <a:pt x="1943858" y="581954"/>
                </a:lnTo>
                <a:lnTo>
                  <a:pt x="1945268" y="583036"/>
                </a:lnTo>
                <a:lnTo>
                  <a:pt x="1942339" y="586068"/>
                </a:lnTo>
                <a:lnTo>
                  <a:pt x="1942339" y="591049"/>
                </a:lnTo>
                <a:lnTo>
                  <a:pt x="1944183" y="591915"/>
                </a:lnTo>
                <a:lnTo>
                  <a:pt x="1946788" y="587151"/>
                </a:lnTo>
                <a:lnTo>
                  <a:pt x="1949718" y="586609"/>
                </a:lnTo>
                <a:lnTo>
                  <a:pt x="1949718" y="590615"/>
                </a:lnTo>
                <a:lnTo>
                  <a:pt x="1953624" y="593647"/>
                </a:lnTo>
                <a:lnTo>
                  <a:pt x="1954926" y="588233"/>
                </a:lnTo>
                <a:lnTo>
                  <a:pt x="1956988" y="590291"/>
                </a:lnTo>
                <a:lnTo>
                  <a:pt x="1957639" y="592131"/>
                </a:lnTo>
                <a:lnTo>
                  <a:pt x="1960027" y="590399"/>
                </a:lnTo>
                <a:lnTo>
                  <a:pt x="1958291" y="584769"/>
                </a:lnTo>
                <a:lnTo>
                  <a:pt x="1957097" y="580763"/>
                </a:lnTo>
                <a:lnTo>
                  <a:pt x="1955035" y="579464"/>
                </a:lnTo>
                <a:lnTo>
                  <a:pt x="1956771" y="574266"/>
                </a:lnTo>
                <a:lnTo>
                  <a:pt x="1960027" y="574266"/>
                </a:lnTo>
                <a:lnTo>
                  <a:pt x="1961546" y="578706"/>
                </a:lnTo>
                <a:lnTo>
                  <a:pt x="1964693" y="578598"/>
                </a:lnTo>
                <a:lnTo>
                  <a:pt x="1964693" y="574916"/>
                </a:lnTo>
                <a:lnTo>
                  <a:pt x="1962305" y="571993"/>
                </a:lnTo>
                <a:lnTo>
                  <a:pt x="1962414" y="567879"/>
                </a:lnTo>
                <a:lnTo>
                  <a:pt x="1957965" y="564414"/>
                </a:lnTo>
                <a:lnTo>
                  <a:pt x="1959484" y="559434"/>
                </a:lnTo>
                <a:lnTo>
                  <a:pt x="1966212" y="557268"/>
                </a:lnTo>
                <a:lnTo>
                  <a:pt x="1970553" y="562898"/>
                </a:lnTo>
                <a:lnTo>
                  <a:pt x="1973483" y="563440"/>
                </a:lnTo>
                <a:lnTo>
                  <a:pt x="1973157" y="569069"/>
                </a:lnTo>
                <a:lnTo>
                  <a:pt x="1971638" y="571018"/>
                </a:lnTo>
                <a:lnTo>
                  <a:pt x="1973700" y="576540"/>
                </a:lnTo>
                <a:lnTo>
                  <a:pt x="1976196" y="578164"/>
                </a:lnTo>
                <a:lnTo>
                  <a:pt x="1975762" y="588017"/>
                </a:lnTo>
                <a:lnTo>
                  <a:pt x="1972832" y="591265"/>
                </a:lnTo>
                <a:lnTo>
                  <a:pt x="1972397" y="594730"/>
                </a:lnTo>
                <a:lnTo>
                  <a:pt x="1974676" y="595271"/>
                </a:lnTo>
                <a:lnTo>
                  <a:pt x="1977389" y="594730"/>
                </a:lnTo>
                <a:lnTo>
                  <a:pt x="1976955" y="600360"/>
                </a:lnTo>
                <a:lnTo>
                  <a:pt x="1971421" y="603283"/>
                </a:lnTo>
                <a:lnTo>
                  <a:pt x="1968816" y="613244"/>
                </a:lnTo>
                <a:lnTo>
                  <a:pt x="1967623" y="617250"/>
                </a:lnTo>
                <a:lnTo>
                  <a:pt x="1967297" y="621148"/>
                </a:lnTo>
                <a:lnTo>
                  <a:pt x="1964042" y="623963"/>
                </a:lnTo>
                <a:lnTo>
                  <a:pt x="1963174" y="629809"/>
                </a:lnTo>
                <a:lnTo>
                  <a:pt x="1959701" y="636847"/>
                </a:lnTo>
                <a:lnTo>
                  <a:pt x="1959810" y="643884"/>
                </a:lnTo>
                <a:lnTo>
                  <a:pt x="1962414" y="647024"/>
                </a:lnTo>
                <a:lnTo>
                  <a:pt x="1961112" y="650597"/>
                </a:lnTo>
                <a:lnTo>
                  <a:pt x="1961546" y="655361"/>
                </a:lnTo>
                <a:lnTo>
                  <a:pt x="1964801" y="657310"/>
                </a:lnTo>
                <a:lnTo>
                  <a:pt x="1966971" y="655253"/>
                </a:lnTo>
                <a:lnTo>
                  <a:pt x="1966538" y="650597"/>
                </a:lnTo>
                <a:lnTo>
                  <a:pt x="1968708" y="648323"/>
                </a:lnTo>
                <a:lnTo>
                  <a:pt x="1971638" y="649406"/>
                </a:lnTo>
                <a:lnTo>
                  <a:pt x="1975327" y="646808"/>
                </a:lnTo>
                <a:lnTo>
                  <a:pt x="1978474" y="646050"/>
                </a:lnTo>
                <a:lnTo>
                  <a:pt x="1981405" y="647457"/>
                </a:lnTo>
                <a:lnTo>
                  <a:pt x="1981405" y="643343"/>
                </a:lnTo>
                <a:lnTo>
                  <a:pt x="1977281" y="641503"/>
                </a:lnTo>
                <a:lnTo>
                  <a:pt x="1975327" y="639229"/>
                </a:lnTo>
                <a:lnTo>
                  <a:pt x="1980428" y="639229"/>
                </a:lnTo>
                <a:lnTo>
                  <a:pt x="1981079" y="635764"/>
                </a:lnTo>
                <a:lnTo>
                  <a:pt x="1978692" y="632191"/>
                </a:lnTo>
                <a:lnTo>
                  <a:pt x="1982055" y="627752"/>
                </a:lnTo>
                <a:lnTo>
                  <a:pt x="1982598" y="622880"/>
                </a:lnTo>
                <a:lnTo>
                  <a:pt x="1984009" y="618441"/>
                </a:lnTo>
                <a:lnTo>
                  <a:pt x="1982490" y="615734"/>
                </a:lnTo>
                <a:lnTo>
                  <a:pt x="1985745" y="607939"/>
                </a:lnTo>
                <a:lnTo>
                  <a:pt x="1987807" y="608805"/>
                </a:lnTo>
                <a:lnTo>
                  <a:pt x="1991388" y="606423"/>
                </a:lnTo>
                <a:lnTo>
                  <a:pt x="1991931" y="596787"/>
                </a:lnTo>
                <a:lnTo>
                  <a:pt x="1995403" y="594513"/>
                </a:lnTo>
                <a:lnTo>
                  <a:pt x="1995729" y="590615"/>
                </a:lnTo>
                <a:lnTo>
                  <a:pt x="1997248" y="589208"/>
                </a:lnTo>
                <a:lnTo>
                  <a:pt x="1997574" y="583578"/>
                </a:lnTo>
                <a:lnTo>
                  <a:pt x="2000178" y="579789"/>
                </a:lnTo>
                <a:lnTo>
                  <a:pt x="2000178" y="574916"/>
                </a:lnTo>
                <a:lnTo>
                  <a:pt x="2003976" y="563440"/>
                </a:lnTo>
                <a:lnTo>
                  <a:pt x="2006906" y="561707"/>
                </a:lnTo>
                <a:lnTo>
                  <a:pt x="2006906" y="558784"/>
                </a:lnTo>
                <a:lnTo>
                  <a:pt x="2009293" y="553154"/>
                </a:lnTo>
                <a:lnTo>
                  <a:pt x="2012549" y="554020"/>
                </a:lnTo>
                <a:lnTo>
                  <a:pt x="2014285" y="552720"/>
                </a:lnTo>
                <a:lnTo>
                  <a:pt x="2013417" y="546766"/>
                </a:lnTo>
                <a:lnTo>
                  <a:pt x="2016564" y="545034"/>
                </a:lnTo>
                <a:lnTo>
                  <a:pt x="2019820" y="548823"/>
                </a:lnTo>
                <a:lnTo>
                  <a:pt x="2022966" y="549364"/>
                </a:lnTo>
                <a:lnTo>
                  <a:pt x="2027958" y="558459"/>
                </a:lnTo>
                <a:lnTo>
                  <a:pt x="2030129" y="558567"/>
                </a:lnTo>
                <a:lnTo>
                  <a:pt x="2030997" y="552396"/>
                </a:lnTo>
                <a:lnTo>
                  <a:pt x="2032950" y="552071"/>
                </a:lnTo>
                <a:lnTo>
                  <a:pt x="2034795" y="554128"/>
                </a:lnTo>
                <a:lnTo>
                  <a:pt x="2039135" y="554994"/>
                </a:lnTo>
                <a:lnTo>
                  <a:pt x="2042391" y="563115"/>
                </a:lnTo>
                <a:lnTo>
                  <a:pt x="2040872" y="565281"/>
                </a:lnTo>
                <a:lnTo>
                  <a:pt x="2042933" y="572210"/>
                </a:lnTo>
                <a:lnTo>
                  <a:pt x="2047057" y="574375"/>
                </a:lnTo>
                <a:lnTo>
                  <a:pt x="2047057" y="578056"/>
                </a:lnTo>
                <a:lnTo>
                  <a:pt x="2046298" y="580979"/>
                </a:lnTo>
                <a:lnTo>
                  <a:pt x="2048793" y="585960"/>
                </a:lnTo>
                <a:lnTo>
                  <a:pt x="2048468" y="590615"/>
                </a:lnTo>
                <a:lnTo>
                  <a:pt x="2045321" y="591481"/>
                </a:lnTo>
                <a:lnTo>
                  <a:pt x="2044778" y="594730"/>
                </a:lnTo>
                <a:lnTo>
                  <a:pt x="2045321" y="599927"/>
                </a:lnTo>
                <a:lnTo>
                  <a:pt x="2040112" y="605665"/>
                </a:lnTo>
                <a:lnTo>
                  <a:pt x="2040112" y="610213"/>
                </a:lnTo>
                <a:lnTo>
                  <a:pt x="2037182" y="611403"/>
                </a:lnTo>
                <a:lnTo>
                  <a:pt x="2037182" y="620499"/>
                </a:lnTo>
                <a:lnTo>
                  <a:pt x="2034686" y="623638"/>
                </a:lnTo>
                <a:lnTo>
                  <a:pt x="2034144" y="627536"/>
                </a:lnTo>
                <a:lnTo>
                  <a:pt x="2029261" y="634032"/>
                </a:lnTo>
                <a:lnTo>
                  <a:pt x="2028935" y="640961"/>
                </a:lnTo>
                <a:lnTo>
                  <a:pt x="2026005" y="641503"/>
                </a:lnTo>
                <a:lnTo>
                  <a:pt x="2024268" y="647024"/>
                </a:lnTo>
                <a:lnTo>
                  <a:pt x="2027741" y="654712"/>
                </a:lnTo>
                <a:lnTo>
                  <a:pt x="2026765" y="657310"/>
                </a:lnTo>
                <a:lnTo>
                  <a:pt x="2026765" y="663481"/>
                </a:lnTo>
                <a:lnTo>
                  <a:pt x="2022423" y="672792"/>
                </a:lnTo>
                <a:lnTo>
                  <a:pt x="2022207" y="676907"/>
                </a:lnTo>
                <a:lnTo>
                  <a:pt x="2019169" y="678964"/>
                </a:lnTo>
                <a:lnTo>
                  <a:pt x="2018300" y="677557"/>
                </a:lnTo>
                <a:lnTo>
                  <a:pt x="2015153" y="677557"/>
                </a:lnTo>
                <a:lnTo>
                  <a:pt x="2013634" y="682537"/>
                </a:lnTo>
                <a:lnTo>
                  <a:pt x="2008859" y="683078"/>
                </a:lnTo>
                <a:lnTo>
                  <a:pt x="2008859" y="686326"/>
                </a:lnTo>
                <a:lnTo>
                  <a:pt x="2010487" y="689466"/>
                </a:lnTo>
                <a:lnTo>
                  <a:pt x="2010704" y="694014"/>
                </a:lnTo>
                <a:lnTo>
                  <a:pt x="2013959" y="698344"/>
                </a:lnTo>
                <a:lnTo>
                  <a:pt x="2014827" y="706140"/>
                </a:lnTo>
                <a:lnTo>
                  <a:pt x="2017757" y="707872"/>
                </a:lnTo>
                <a:lnTo>
                  <a:pt x="2019169" y="717616"/>
                </a:lnTo>
                <a:lnTo>
                  <a:pt x="2024160" y="720323"/>
                </a:lnTo>
                <a:lnTo>
                  <a:pt x="2027741" y="725412"/>
                </a:lnTo>
                <a:lnTo>
                  <a:pt x="2027416" y="720648"/>
                </a:lnTo>
                <a:lnTo>
                  <a:pt x="2030129" y="715234"/>
                </a:lnTo>
                <a:lnTo>
                  <a:pt x="2032299" y="722164"/>
                </a:lnTo>
                <a:lnTo>
                  <a:pt x="2030129" y="727252"/>
                </a:lnTo>
                <a:lnTo>
                  <a:pt x="2030671" y="733099"/>
                </a:lnTo>
                <a:lnTo>
                  <a:pt x="2034035" y="740354"/>
                </a:lnTo>
                <a:lnTo>
                  <a:pt x="2034035" y="743818"/>
                </a:lnTo>
                <a:lnTo>
                  <a:pt x="2038375" y="747391"/>
                </a:lnTo>
                <a:lnTo>
                  <a:pt x="2039135" y="749448"/>
                </a:lnTo>
                <a:lnTo>
                  <a:pt x="2043585" y="748907"/>
                </a:lnTo>
                <a:lnTo>
                  <a:pt x="2044995" y="751289"/>
                </a:lnTo>
                <a:lnTo>
                  <a:pt x="2042933" y="752696"/>
                </a:lnTo>
                <a:lnTo>
                  <a:pt x="2042933" y="757893"/>
                </a:lnTo>
                <a:lnTo>
                  <a:pt x="2045646" y="755728"/>
                </a:lnTo>
                <a:lnTo>
                  <a:pt x="2048251" y="757027"/>
                </a:lnTo>
                <a:lnTo>
                  <a:pt x="2050964" y="756702"/>
                </a:lnTo>
                <a:lnTo>
                  <a:pt x="2051723" y="759084"/>
                </a:lnTo>
                <a:lnTo>
                  <a:pt x="2049987" y="761141"/>
                </a:lnTo>
                <a:lnTo>
                  <a:pt x="2051181" y="766230"/>
                </a:lnTo>
                <a:lnTo>
                  <a:pt x="2048902" y="771211"/>
                </a:lnTo>
                <a:lnTo>
                  <a:pt x="2047274" y="778140"/>
                </a:lnTo>
                <a:lnTo>
                  <a:pt x="2041848" y="782796"/>
                </a:lnTo>
                <a:lnTo>
                  <a:pt x="2039787" y="786043"/>
                </a:lnTo>
                <a:lnTo>
                  <a:pt x="2036857" y="784095"/>
                </a:lnTo>
                <a:lnTo>
                  <a:pt x="2033384" y="783986"/>
                </a:lnTo>
                <a:lnTo>
                  <a:pt x="2032407" y="776624"/>
                </a:lnTo>
                <a:lnTo>
                  <a:pt x="2036205" y="772076"/>
                </a:lnTo>
                <a:lnTo>
                  <a:pt x="2037182" y="767096"/>
                </a:lnTo>
                <a:lnTo>
                  <a:pt x="2034252" y="768287"/>
                </a:lnTo>
                <a:lnTo>
                  <a:pt x="2030671" y="775325"/>
                </a:lnTo>
                <a:lnTo>
                  <a:pt x="2028284" y="777057"/>
                </a:lnTo>
                <a:lnTo>
                  <a:pt x="2026222" y="782254"/>
                </a:lnTo>
                <a:lnTo>
                  <a:pt x="2023292" y="782254"/>
                </a:lnTo>
                <a:lnTo>
                  <a:pt x="2025354" y="778464"/>
                </a:lnTo>
                <a:lnTo>
                  <a:pt x="2023292" y="777274"/>
                </a:lnTo>
                <a:lnTo>
                  <a:pt x="2021339" y="778356"/>
                </a:lnTo>
                <a:lnTo>
                  <a:pt x="2021013" y="772293"/>
                </a:lnTo>
                <a:lnTo>
                  <a:pt x="2024486" y="764714"/>
                </a:lnTo>
                <a:lnTo>
                  <a:pt x="2020470" y="768287"/>
                </a:lnTo>
                <a:lnTo>
                  <a:pt x="2018734" y="768179"/>
                </a:lnTo>
                <a:lnTo>
                  <a:pt x="2017975" y="764064"/>
                </a:lnTo>
                <a:lnTo>
                  <a:pt x="2016347" y="769045"/>
                </a:lnTo>
                <a:lnTo>
                  <a:pt x="2012549" y="772618"/>
                </a:lnTo>
                <a:lnTo>
                  <a:pt x="2010161" y="773268"/>
                </a:lnTo>
                <a:lnTo>
                  <a:pt x="2008643" y="771644"/>
                </a:lnTo>
                <a:lnTo>
                  <a:pt x="2005387" y="771752"/>
                </a:lnTo>
                <a:lnTo>
                  <a:pt x="2005170" y="773701"/>
                </a:lnTo>
                <a:lnTo>
                  <a:pt x="2007774" y="775866"/>
                </a:lnTo>
                <a:lnTo>
                  <a:pt x="2005495" y="781280"/>
                </a:lnTo>
                <a:lnTo>
                  <a:pt x="2000720" y="781388"/>
                </a:lnTo>
                <a:lnTo>
                  <a:pt x="1998442" y="782470"/>
                </a:lnTo>
                <a:lnTo>
                  <a:pt x="1995403" y="779331"/>
                </a:lnTo>
                <a:lnTo>
                  <a:pt x="1993341" y="772835"/>
                </a:lnTo>
                <a:lnTo>
                  <a:pt x="1993992" y="770236"/>
                </a:lnTo>
                <a:lnTo>
                  <a:pt x="1990737" y="770019"/>
                </a:lnTo>
                <a:lnTo>
                  <a:pt x="1987916" y="773701"/>
                </a:lnTo>
                <a:lnTo>
                  <a:pt x="1991062" y="779547"/>
                </a:lnTo>
                <a:lnTo>
                  <a:pt x="1987048" y="782470"/>
                </a:lnTo>
                <a:lnTo>
                  <a:pt x="1987265" y="786260"/>
                </a:lnTo>
                <a:lnTo>
                  <a:pt x="1989326" y="787235"/>
                </a:lnTo>
                <a:lnTo>
                  <a:pt x="1991279" y="784095"/>
                </a:lnTo>
                <a:lnTo>
                  <a:pt x="1991388" y="789508"/>
                </a:lnTo>
                <a:lnTo>
                  <a:pt x="1988784" y="792865"/>
                </a:lnTo>
                <a:lnTo>
                  <a:pt x="1983683" y="796004"/>
                </a:lnTo>
                <a:lnTo>
                  <a:pt x="1983575" y="798062"/>
                </a:lnTo>
                <a:lnTo>
                  <a:pt x="1988133" y="795139"/>
                </a:lnTo>
                <a:lnTo>
                  <a:pt x="1993776" y="789292"/>
                </a:lnTo>
                <a:lnTo>
                  <a:pt x="1999527" y="789508"/>
                </a:lnTo>
                <a:lnTo>
                  <a:pt x="2002348" y="791132"/>
                </a:lnTo>
                <a:lnTo>
                  <a:pt x="2004085" y="789400"/>
                </a:lnTo>
                <a:lnTo>
                  <a:pt x="2004410" y="786476"/>
                </a:lnTo>
                <a:lnTo>
                  <a:pt x="2007448" y="785394"/>
                </a:lnTo>
                <a:lnTo>
                  <a:pt x="2012223" y="788101"/>
                </a:lnTo>
                <a:lnTo>
                  <a:pt x="2011789" y="792107"/>
                </a:lnTo>
                <a:lnTo>
                  <a:pt x="2008100" y="792865"/>
                </a:lnTo>
                <a:lnTo>
                  <a:pt x="2006580" y="796654"/>
                </a:lnTo>
                <a:lnTo>
                  <a:pt x="2007448" y="800227"/>
                </a:lnTo>
                <a:lnTo>
                  <a:pt x="2011138" y="800335"/>
                </a:lnTo>
                <a:lnTo>
                  <a:pt x="2011355" y="803475"/>
                </a:lnTo>
                <a:lnTo>
                  <a:pt x="2009184" y="806182"/>
                </a:lnTo>
                <a:lnTo>
                  <a:pt x="2009184" y="808131"/>
                </a:lnTo>
                <a:lnTo>
                  <a:pt x="2006255" y="811487"/>
                </a:lnTo>
                <a:lnTo>
                  <a:pt x="2007123" y="814194"/>
                </a:lnTo>
                <a:lnTo>
                  <a:pt x="2006580" y="815926"/>
                </a:lnTo>
                <a:lnTo>
                  <a:pt x="2004627" y="816792"/>
                </a:lnTo>
                <a:lnTo>
                  <a:pt x="2002782" y="816035"/>
                </a:lnTo>
                <a:lnTo>
                  <a:pt x="2001805" y="814410"/>
                </a:lnTo>
                <a:lnTo>
                  <a:pt x="1998659" y="814086"/>
                </a:lnTo>
                <a:lnTo>
                  <a:pt x="1996054" y="816792"/>
                </a:lnTo>
                <a:lnTo>
                  <a:pt x="1994861" y="817333"/>
                </a:lnTo>
                <a:lnTo>
                  <a:pt x="1993341" y="819391"/>
                </a:lnTo>
                <a:lnTo>
                  <a:pt x="1991388" y="819499"/>
                </a:lnTo>
                <a:lnTo>
                  <a:pt x="1990628" y="816576"/>
                </a:lnTo>
                <a:lnTo>
                  <a:pt x="1988784" y="815493"/>
                </a:lnTo>
                <a:lnTo>
                  <a:pt x="1986288" y="818958"/>
                </a:lnTo>
                <a:lnTo>
                  <a:pt x="1982598" y="820041"/>
                </a:lnTo>
                <a:lnTo>
                  <a:pt x="1980970" y="819066"/>
                </a:lnTo>
                <a:lnTo>
                  <a:pt x="1981187" y="815818"/>
                </a:lnTo>
                <a:lnTo>
                  <a:pt x="1979342" y="814302"/>
                </a:lnTo>
                <a:lnTo>
                  <a:pt x="1976087" y="815493"/>
                </a:lnTo>
                <a:lnTo>
                  <a:pt x="1973917" y="815493"/>
                </a:lnTo>
                <a:lnTo>
                  <a:pt x="1974134" y="819282"/>
                </a:lnTo>
                <a:lnTo>
                  <a:pt x="1972397" y="819174"/>
                </a:lnTo>
                <a:lnTo>
                  <a:pt x="1970336" y="816684"/>
                </a:lnTo>
                <a:lnTo>
                  <a:pt x="1966863" y="816684"/>
                </a:lnTo>
                <a:lnTo>
                  <a:pt x="1964801" y="813653"/>
                </a:lnTo>
                <a:lnTo>
                  <a:pt x="1961112" y="812678"/>
                </a:lnTo>
                <a:lnTo>
                  <a:pt x="1958399" y="814519"/>
                </a:lnTo>
                <a:lnTo>
                  <a:pt x="1955578" y="813653"/>
                </a:lnTo>
                <a:lnTo>
                  <a:pt x="1952973" y="808997"/>
                </a:lnTo>
                <a:lnTo>
                  <a:pt x="1953299" y="805099"/>
                </a:lnTo>
                <a:lnTo>
                  <a:pt x="1951779" y="804991"/>
                </a:lnTo>
                <a:lnTo>
                  <a:pt x="1948306" y="809755"/>
                </a:lnTo>
                <a:lnTo>
                  <a:pt x="1945377" y="810729"/>
                </a:lnTo>
                <a:lnTo>
                  <a:pt x="1941687" y="807590"/>
                </a:lnTo>
                <a:lnTo>
                  <a:pt x="1938757" y="806939"/>
                </a:lnTo>
                <a:lnTo>
                  <a:pt x="1936262" y="806939"/>
                </a:lnTo>
                <a:lnTo>
                  <a:pt x="1935719" y="804666"/>
                </a:lnTo>
                <a:lnTo>
                  <a:pt x="1938324" y="801418"/>
                </a:lnTo>
                <a:lnTo>
                  <a:pt x="1941796" y="801418"/>
                </a:lnTo>
                <a:lnTo>
                  <a:pt x="1944726" y="798603"/>
                </a:lnTo>
                <a:lnTo>
                  <a:pt x="1944726" y="795571"/>
                </a:lnTo>
                <a:lnTo>
                  <a:pt x="1941796" y="794272"/>
                </a:lnTo>
                <a:lnTo>
                  <a:pt x="1940385" y="795680"/>
                </a:lnTo>
                <a:lnTo>
                  <a:pt x="1940168" y="797737"/>
                </a:lnTo>
                <a:lnTo>
                  <a:pt x="1938215" y="795896"/>
                </a:lnTo>
                <a:lnTo>
                  <a:pt x="1936804" y="791674"/>
                </a:lnTo>
                <a:lnTo>
                  <a:pt x="1932898" y="789725"/>
                </a:lnTo>
                <a:lnTo>
                  <a:pt x="1929968" y="790049"/>
                </a:lnTo>
                <a:lnTo>
                  <a:pt x="1928557" y="791241"/>
                </a:lnTo>
                <a:lnTo>
                  <a:pt x="1924976" y="788317"/>
                </a:lnTo>
                <a:lnTo>
                  <a:pt x="1921829" y="787668"/>
                </a:lnTo>
                <a:lnTo>
                  <a:pt x="1921504" y="786043"/>
                </a:lnTo>
                <a:lnTo>
                  <a:pt x="1923782" y="784419"/>
                </a:lnTo>
                <a:lnTo>
                  <a:pt x="1925735" y="781496"/>
                </a:lnTo>
                <a:lnTo>
                  <a:pt x="1925735" y="778573"/>
                </a:lnTo>
                <a:lnTo>
                  <a:pt x="1929208" y="776299"/>
                </a:lnTo>
                <a:lnTo>
                  <a:pt x="1927580" y="773917"/>
                </a:lnTo>
                <a:lnTo>
                  <a:pt x="1927580" y="771644"/>
                </a:lnTo>
                <a:lnTo>
                  <a:pt x="1926061" y="768937"/>
                </a:lnTo>
                <a:lnTo>
                  <a:pt x="1923890" y="769370"/>
                </a:lnTo>
                <a:lnTo>
                  <a:pt x="1921829" y="768504"/>
                </a:lnTo>
                <a:lnTo>
                  <a:pt x="1922263" y="770886"/>
                </a:lnTo>
                <a:lnTo>
                  <a:pt x="1920635" y="773376"/>
                </a:lnTo>
                <a:lnTo>
                  <a:pt x="1917705" y="773809"/>
                </a:lnTo>
                <a:lnTo>
                  <a:pt x="1915861" y="773051"/>
                </a:lnTo>
                <a:lnTo>
                  <a:pt x="1914449" y="774892"/>
                </a:lnTo>
                <a:lnTo>
                  <a:pt x="1914667" y="777815"/>
                </a:lnTo>
                <a:lnTo>
                  <a:pt x="1910977" y="779980"/>
                </a:lnTo>
                <a:lnTo>
                  <a:pt x="1909566" y="782579"/>
                </a:lnTo>
                <a:lnTo>
                  <a:pt x="1908047" y="780955"/>
                </a:lnTo>
                <a:lnTo>
                  <a:pt x="1906311" y="781063"/>
                </a:lnTo>
                <a:lnTo>
                  <a:pt x="1904792" y="783986"/>
                </a:lnTo>
                <a:lnTo>
                  <a:pt x="1895351" y="790158"/>
                </a:lnTo>
                <a:lnTo>
                  <a:pt x="1886235" y="790158"/>
                </a:lnTo>
                <a:lnTo>
                  <a:pt x="1882980" y="788425"/>
                </a:lnTo>
                <a:lnTo>
                  <a:pt x="1879724" y="788967"/>
                </a:lnTo>
                <a:lnTo>
                  <a:pt x="1874949" y="788101"/>
                </a:lnTo>
                <a:lnTo>
                  <a:pt x="1871694" y="787992"/>
                </a:lnTo>
                <a:lnTo>
                  <a:pt x="1870609" y="790049"/>
                </a:lnTo>
                <a:lnTo>
                  <a:pt x="1866593" y="791024"/>
                </a:lnTo>
                <a:lnTo>
                  <a:pt x="1860951" y="793514"/>
                </a:lnTo>
                <a:lnTo>
                  <a:pt x="1856068" y="798278"/>
                </a:lnTo>
                <a:lnTo>
                  <a:pt x="1852595" y="798278"/>
                </a:lnTo>
                <a:lnTo>
                  <a:pt x="1848797" y="799577"/>
                </a:lnTo>
                <a:lnTo>
                  <a:pt x="1846084" y="802500"/>
                </a:lnTo>
                <a:lnTo>
                  <a:pt x="1840116" y="803151"/>
                </a:lnTo>
                <a:lnTo>
                  <a:pt x="1838162" y="805208"/>
                </a:lnTo>
                <a:lnTo>
                  <a:pt x="1835775" y="805316"/>
                </a:lnTo>
                <a:lnTo>
                  <a:pt x="1834907" y="801743"/>
                </a:lnTo>
                <a:lnTo>
                  <a:pt x="1832736" y="800335"/>
                </a:lnTo>
                <a:lnTo>
                  <a:pt x="1831000" y="801418"/>
                </a:lnTo>
                <a:lnTo>
                  <a:pt x="1828287" y="801851"/>
                </a:lnTo>
                <a:lnTo>
                  <a:pt x="1827636" y="799036"/>
                </a:lnTo>
                <a:lnTo>
                  <a:pt x="1825466" y="798170"/>
                </a:lnTo>
                <a:lnTo>
                  <a:pt x="1821994" y="799036"/>
                </a:lnTo>
                <a:lnTo>
                  <a:pt x="1820257" y="800227"/>
                </a:lnTo>
                <a:lnTo>
                  <a:pt x="1818955" y="799794"/>
                </a:lnTo>
                <a:lnTo>
                  <a:pt x="1817761" y="797629"/>
                </a:lnTo>
                <a:lnTo>
                  <a:pt x="1811685" y="797304"/>
                </a:lnTo>
                <a:lnTo>
                  <a:pt x="1808755" y="800768"/>
                </a:lnTo>
                <a:lnTo>
                  <a:pt x="1801267" y="797304"/>
                </a:lnTo>
                <a:lnTo>
                  <a:pt x="1795298" y="797304"/>
                </a:lnTo>
                <a:lnTo>
                  <a:pt x="1793236" y="796004"/>
                </a:lnTo>
                <a:lnTo>
                  <a:pt x="1790632" y="796437"/>
                </a:lnTo>
                <a:lnTo>
                  <a:pt x="1788679" y="799145"/>
                </a:lnTo>
                <a:lnTo>
                  <a:pt x="1787160" y="797520"/>
                </a:lnTo>
                <a:lnTo>
                  <a:pt x="1784880" y="797196"/>
                </a:lnTo>
                <a:lnTo>
                  <a:pt x="1781734" y="798062"/>
                </a:lnTo>
                <a:lnTo>
                  <a:pt x="1773812" y="796546"/>
                </a:lnTo>
                <a:lnTo>
                  <a:pt x="1772185" y="794597"/>
                </a:lnTo>
                <a:lnTo>
                  <a:pt x="1777719" y="793406"/>
                </a:lnTo>
                <a:lnTo>
                  <a:pt x="1778153" y="790482"/>
                </a:lnTo>
                <a:lnTo>
                  <a:pt x="1775656" y="784961"/>
                </a:lnTo>
                <a:lnTo>
                  <a:pt x="1775440" y="779331"/>
                </a:lnTo>
                <a:lnTo>
                  <a:pt x="1771750" y="776732"/>
                </a:lnTo>
                <a:lnTo>
                  <a:pt x="1773486" y="773701"/>
                </a:lnTo>
                <a:lnTo>
                  <a:pt x="1773812" y="771319"/>
                </a:lnTo>
                <a:lnTo>
                  <a:pt x="1779563" y="768395"/>
                </a:lnTo>
                <a:lnTo>
                  <a:pt x="1781299" y="765364"/>
                </a:lnTo>
                <a:lnTo>
                  <a:pt x="1780974" y="762982"/>
                </a:lnTo>
                <a:lnTo>
                  <a:pt x="1783253" y="760600"/>
                </a:lnTo>
                <a:lnTo>
                  <a:pt x="1782710" y="757785"/>
                </a:lnTo>
                <a:lnTo>
                  <a:pt x="1787810" y="756161"/>
                </a:lnTo>
                <a:lnTo>
                  <a:pt x="1786834" y="753562"/>
                </a:lnTo>
                <a:lnTo>
                  <a:pt x="1784012" y="752588"/>
                </a:lnTo>
                <a:lnTo>
                  <a:pt x="1780974" y="747283"/>
                </a:lnTo>
                <a:lnTo>
                  <a:pt x="1775874" y="747283"/>
                </a:lnTo>
                <a:lnTo>
                  <a:pt x="1772510" y="743710"/>
                </a:lnTo>
                <a:lnTo>
                  <a:pt x="1769472" y="743601"/>
                </a:lnTo>
                <a:lnTo>
                  <a:pt x="1764588" y="745767"/>
                </a:lnTo>
                <a:lnTo>
                  <a:pt x="1761441" y="745009"/>
                </a:lnTo>
                <a:lnTo>
                  <a:pt x="1758945" y="742303"/>
                </a:lnTo>
                <a:lnTo>
                  <a:pt x="1755038" y="743277"/>
                </a:lnTo>
                <a:lnTo>
                  <a:pt x="1752976" y="741111"/>
                </a:lnTo>
                <a:lnTo>
                  <a:pt x="1746140" y="737105"/>
                </a:lnTo>
                <a:lnTo>
                  <a:pt x="1745055" y="734832"/>
                </a:lnTo>
                <a:lnTo>
                  <a:pt x="1741583" y="731908"/>
                </a:lnTo>
                <a:lnTo>
                  <a:pt x="1738327" y="722056"/>
                </a:lnTo>
                <a:lnTo>
                  <a:pt x="1740063" y="720648"/>
                </a:lnTo>
                <a:lnTo>
                  <a:pt x="1740931" y="718050"/>
                </a:lnTo>
                <a:lnTo>
                  <a:pt x="1737676" y="716642"/>
                </a:lnTo>
                <a:lnTo>
                  <a:pt x="1736591" y="714152"/>
                </a:lnTo>
                <a:lnTo>
                  <a:pt x="1738110" y="711337"/>
                </a:lnTo>
                <a:lnTo>
                  <a:pt x="1736808" y="704083"/>
                </a:lnTo>
                <a:lnTo>
                  <a:pt x="1740931" y="697587"/>
                </a:lnTo>
                <a:lnTo>
                  <a:pt x="1741366" y="690332"/>
                </a:lnTo>
                <a:lnTo>
                  <a:pt x="1743970" y="686651"/>
                </a:lnTo>
                <a:lnTo>
                  <a:pt x="1749504" y="685244"/>
                </a:lnTo>
                <a:lnTo>
                  <a:pt x="1752543" y="683944"/>
                </a:lnTo>
                <a:lnTo>
                  <a:pt x="1771316" y="684269"/>
                </a:lnTo>
                <a:lnTo>
                  <a:pt x="1775983" y="685677"/>
                </a:lnTo>
                <a:lnTo>
                  <a:pt x="1782276" y="686218"/>
                </a:lnTo>
                <a:lnTo>
                  <a:pt x="1792803" y="685785"/>
                </a:lnTo>
                <a:lnTo>
                  <a:pt x="1795081" y="687084"/>
                </a:lnTo>
                <a:lnTo>
                  <a:pt x="1800182" y="686759"/>
                </a:lnTo>
                <a:lnTo>
                  <a:pt x="1802786" y="687842"/>
                </a:lnTo>
                <a:lnTo>
                  <a:pt x="1804631" y="687842"/>
                </a:lnTo>
                <a:lnTo>
                  <a:pt x="1805499" y="691524"/>
                </a:lnTo>
                <a:lnTo>
                  <a:pt x="1810708" y="693473"/>
                </a:lnTo>
                <a:lnTo>
                  <a:pt x="1812878" y="695530"/>
                </a:lnTo>
                <a:lnTo>
                  <a:pt x="1815591" y="696287"/>
                </a:lnTo>
                <a:lnTo>
                  <a:pt x="1820583" y="695638"/>
                </a:lnTo>
                <a:lnTo>
                  <a:pt x="1822753" y="696396"/>
                </a:lnTo>
                <a:lnTo>
                  <a:pt x="1825466" y="700402"/>
                </a:lnTo>
                <a:lnTo>
                  <a:pt x="1828505" y="700510"/>
                </a:lnTo>
                <a:lnTo>
                  <a:pt x="1831868" y="704408"/>
                </a:lnTo>
                <a:lnTo>
                  <a:pt x="1835233" y="704408"/>
                </a:lnTo>
                <a:lnTo>
                  <a:pt x="1836318" y="703433"/>
                </a:lnTo>
                <a:lnTo>
                  <a:pt x="1839899" y="704624"/>
                </a:lnTo>
                <a:lnTo>
                  <a:pt x="1843371" y="703433"/>
                </a:lnTo>
                <a:lnTo>
                  <a:pt x="1850316" y="705491"/>
                </a:lnTo>
                <a:lnTo>
                  <a:pt x="1858564" y="707439"/>
                </a:lnTo>
                <a:lnTo>
                  <a:pt x="1860842" y="708630"/>
                </a:lnTo>
                <a:lnTo>
                  <a:pt x="1859757" y="706032"/>
                </a:lnTo>
                <a:lnTo>
                  <a:pt x="1860951" y="704732"/>
                </a:lnTo>
                <a:lnTo>
                  <a:pt x="1860842" y="702134"/>
                </a:lnTo>
                <a:lnTo>
                  <a:pt x="1854766" y="698236"/>
                </a:lnTo>
                <a:lnTo>
                  <a:pt x="1850533" y="693797"/>
                </a:lnTo>
                <a:lnTo>
                  <a:pt x="1850968" y="690332"/>
                </a:lnTo>
                <a:lnTo>
                  <a:pt x="1851618" y="688600"/>
                </a:lnTo>
                <a:lnTo>
                  <a:pt x="1848905" y="685569"/>
                </a:lnTo>
                <a:lnTo>
                  <a:pt x="1846302" y="684810"/>
                </a:lnTo>
                <a:lnTo>
                  <a:pt x="1845216" y="681563"/>
                </a:lnTo>
                <a:lnTo>
                  <a:pt x="1842395" y="680155"/>
                </a:lnTo>
                <a:lnTo>
                  <a:pt x="1837946" y="680155"/>
                </a:lnTo>
                <a:lnTo>
                  <a:pt x="1836426" y="678098"/>
                </a:lnTo>
                <a:lnTo>
                  <a:pt x="1836209" y="676257"/>
                </a:lnTo>
                <a:lnTo>
                  <a:pt x="1832194" y="673009"/>
                </a:lnTo>
                <a:lnTo>
                  <a:pt x="1831543" y="669003"/>
                </a:lnTo>
                <a:lnTo>
                  <a:pt x="1828613" y="670952"/>
                </a:lnTo>
                <a:lnTo>
                  <a:pt x="1827093" y="667596"/>
                </a:lnTo>
                <a:lnTo>
                  <a:pt x="1823296" y="665863"/>
                </a:lnTo>
                <a:lnTo>
                  <a:pt x="1818413" y="667163"/>
                </a:lnTo>
                <a:lnTo>
                  <a:pt x="1812770" y="666621"/>
                </a:lnTo>
                <a:lnTo>
                  <a:pt x="1809948" y="665430"/>
                </a:lnTo>
                <a:lnTo>
                  <a:pt x="1806042" y="667379"/>
                </a:lnTo>
                <a:lnTo>
                  <a:pt x="1801701" y="665539"/>
                </a:lnTo>
                <a:lnTo>
                  <a:pt x="1798337" y="666188"/>
                </a:lnTo>
                <a:lnTo>
                  <a:pt x="1793236" y="665971"/>
                </a:lnTo>
                <a:lnTo>
                  <a:pt x="1791283" y="664023"/>
                </a:lnTo>
                <a:lnTo>
                  <a:pt x="1788462" y="663914"/>
                </a:lnTo>
                <a:lnTo>
                  <a:pt x="1784664" y="664997"/>
                </a:lnTo>
                <a:lnTo>
                  <a:pt x="1781734" y="664131"/>
                </a:lnTo>
                <a:lnTo>
                  <a:pt x="1781299" y="661424"/>
                </a:lnTo>
                <a:lnTo>
                  <a:pt x="1778587" y="658934"/>
                </a:lnTo>
                <a:lnTo>
                  <a:pt x="1776199" y="659800"/>
                </a:lnTo>
                <a:lnTo>
                  <a:pt x="1774355" y="658068"/>
                </a:lnTo>
                <a:lnTo>
                  <a:pt x="1771316" y="656552"/>
                </a:lnTo>
                <a:lnTo>
                  <a:pt x="1770340" y="656985"/>
                </a:lnTo>
                <a:lnTo>
                  <a:pt x="1769146" y="658934"/>
                </a:lnTo>
                <a:lnTo>
                  <a:pt x="1764914" y="658826"/>
                </a:lnTo>
                <a:lnTo>
                  <a:pt x="1762201" y="656769"/>
                </a:lnTo>
                <a:lnTo>
                  <a:pt x="1759705" y="656769"/>
                </a:lnTo>
                <a:lnTo>
                  <a:pt x="1755581" y="657418"/>
                </a:lnTo>
                <a:lnTo>
                  <a:pt x="1753520" y="655578"/>
                </a:lnTo>
                <a:lnTo>
                  <a:pt x="1752976" y="652113"/>
                </a:lnTo>
                <a:lnTo>
                  <a:pt x="1754822" y="650922"/>
                </a:lnTo>
                <a:lnTo>
                  <a:pt x="1754822" y="645941"/>
                </a:lnTo>
                <a:lnTo>
                  <a:pt x="1753736" y="643343"/>
                </a:lnTo>
                <a:lnTo>
                  <a:pt x="1752435" y="630351"/>
                </a:lnTo>
                <a:lnTo>
                  <a:pt x="1753953" y="625262"/>
                </a:lnTo>
                <a:lnTo>
                  <a:pt x="1762961" y="623638"/>
                </a:lnTo>
                <a:lnTo>
                  <a:pt x="1764805" y="622013"/>
                </a:lnTo>
                <a:lnTo>
                  <a:pt x="1776091" y="621364"/>
                </a:lnTo>
                <a:lnTo>
                  <a:pt x="1779672" y="621689"/>
                </a:lnTo>
                <a:lnTo>
                  <a:pt x="1783253" y="620715"/>
                </a:lnTo>
                <a:lnTo>
                  <a:pt x="1786074" y="620715"/>
                </a:lnTo>
                <a:lnTo>
                  <a:pt x="1789113" y="622555"/>
                </a:lnTo>
                <a:lnTo>
                  <a:pt x="1791935" y="619957"/>
                </a:lnTo>
                <a:lnTo>
                  <a:pt x="1802352" y="618766"/>
                </a:lnTo>
                <a:lnTo>
                  <a:pt x="1805824" y="621689"/>
                </a:lnTo>
                <a:lnTo>
                  <a:pt x="1813638" y="621689"/>
                </a:lnTo>
                <a:lnTo>
                  <a:pt x="1812227" y="619091"/>
                </a:lnTo>
                <a:lnTo>
                  <a:pt x="1806367" y="617033"/>
                </a:lnTo>
                <a:lnTo>
                  <a:pt x="1808103" y="615301"/>
                </a:lnTo>
                <a:lnTo>
                  <a:pt x="1817219" y="615517"/>
                </a:lnTo>
                <a:lnTo>
                  <a:pt x="1823730" y="619848"/>
                </a:lnTo>
                <a:lnTo>
                  <a:pt x="1827202" y="619848"/>
                </a:lnTo>
                <a:lnTo>
                  <a:pt x="1828722" y="617358"/>
                </a:lnTo>
                <a:lnTo>
                  <a:pt x="1825140" y="616925"/>
                </a:lnTo>
                <a:lnTo>
                  <a:pt x="1822427" y="613027"/>
                </a:lnTo>
                <a:lnTo>
                  <a:pt x="1817761" y="610970"/>
                </a:lnTo>
                <a:lnTo>
                  <a:pt x="1812661" y="611945"/>
                </a:lnTo>
                <a:lnTo>
                  <a:pt x="1805933" y="609022"/>
                </a:lnTo>
                <a:lnTo>
                  <a:pt x="1801375" y="609022"/>
                </a:lnTo>
                <a:lnTo>
                  <a:pt x="1793996" y="611078"/>
                </a:lnTo>
                <a:lnTo>
                  <a:pt x="1786074" y="609671"/>
                </a:lnTo>
                <a:lnTo>
                  <a:pt x="1782276" y="610104"/>
                </a:lnTo>
                <a:lnTo>
                  <a:pt x="1784121" y="606748"/>
                </a:lnTo>
                <a:lnTo>
                  <a:pt x="1782494" y="604474"/>
                </a:lnTo>
                <a:lnTo>
                  <a:pt x="1779781" y="604582"/>
                </a:lnTo>
                <a:lnTo>
                  <a:pt x="1778804" y="608048"/>
                </a:lnTo>
                <a:lnTo>
                  <a:pt x="1776091" y="609779"/>
                </a:lnTo>
                <a:lnTo>
                  <a:pt x="1767844" y="605556"/>
                </a:lnTo>
                <a:lnTo>
                  <a:pt x="1766867" y="601226"/>
                </a:lnTo>
                <a:lnTo>
                  <a:pt x="1770448" y="599277"/>
                </a:lnTo>
                <a:lnTo>
                  <a:pt x="1775656" y="602200"/>
                </a:lnTo>
                <a:lnTo>
                  <a:pt x="1781083" y="599927"/>
                </a:lnTo>
                <a:lnTo>
                  <a:pt x="1782602" y="596354"/>
                </a:lnTo>
                <a:lnTo>
                  <a:pt x="1778912" y="593972"/>
                </a:lnTo>
                <a:lnTo>
                  <a:pt x="1774463" y="593539"/>
                </a:lnTo>
                <a:lnTo>
                  <a:pt x="1770340" y="596029"/>
                </a:lnTo>
                <a:lnTo>
                  <a:pt x="1767518" y="596570"/>
                </a:lnTo>
                <a:lnTo>
                  <a:pt x="1766107" y="595379"/>
                </a:lnTo>
                <a:lnTo>
                  <a:pt x="1767844" y="592348"/>
                </a:lnTo>
                <a:lnTo>
                  <a:pt x="1764697" y="589641"/>
                </a:lnTo>
                <a:lnTo>
                  <a:pt x="1761332" y="591373"/>
                </a:lnTo>
                <a:lnTo>
                  <a:pt x="1761549" y="585527"/>
                </a:lnTo>
                <a:lnTo>
                  <a:pt x="1764479" y="581738"/>
                </a:lnTo>
                <a:lnTo>
                  <a:pt x="1770882" y="576973"/>
                </a:lnTo>
                <a:lnTo>
                  <a:pt x="1772076" y="572751"/>
                </a:lnTo>
                <a:lnTo>
                  <a:pt x="1775331" y="569936"/>
                </a:lnTo>
                <a:lnTo>
                  <a:pt x="1781951" y="569611"/>
                </a:lnTo>
                <a:lnTo>
                  <a:pt x="1789438" y="562790"/>
                </a:lnTo>
                <a:lnTo>
                  <a:pt x="1793996" y="562790"/>
                </a:lnTo>
                <a:lnTo>
                  <a:pt x="1798662" y="559325"/>
                </a:lnTo>
                <a:lnTo>
                  <a:pt x="1796166" y="557377"/>
                </a:lnTo>
                <a:lnTo>
                  <a:pt x="1792260" y="557052"/>
                </a:lnTo>
                <a:lnTo>
                  <a:pt x="1792803" y="553479"/>
                </a:lnTo>
                <a:lnTo>
                  <a:pt x="1798771" y="547957"/>
                </a:lnTo>
                <a:lnTo>
                  <a:pt x="1816134" y="539837"/>
                </a:lnTo>
                <a:lnTo>
                  <a:pt x="1829264" y="536805"/>
                </a:lnTo>
                <a:lnTo>
                  <a:pt x="1834798" y="531933"/>
                </a:lnTo>
                <a:lnTo>
                  <a:pt x="1856176" y="523704"/>
                </a:lnTo>
                <a:lnTo>
                  <a:pt x="1873539" y="520998"/>
                </a:lnTo>
                <a:lnTo>
                  <a:pt x="1882654" y="517316"/>
                </a:lnTo>
                <a:lnTo>
                  <a:pt x="1891444" y="515476"/>
                </a:lnTo>
                <a:close/>
                <a:moveTo>
                  <a:pt x="3630424" y="511254"/>
                </a:moveTo>
                <a:lnTo>
                  <a:pt x="3630207" y="513420"/>
                </a:lnTo>
                <a:lnTo>
                  <a:pt x="3629122" y="514503"/>
                </a:lnTo>
                <a:lnTo>
                  <a:pt x="3627277" y="512987"/>
                </a:lnTo>
                <a:lnTo>
                  <a:pt x="3628254" y="511363"/>
                </a:lnTo>
                <a:close/>
                <a:moveTo>
                  <a:pt x="5300387" y="507141"/>
                </a:moveTo>
                <a:lnTo>
                  <a:pt x="5303208" y="508006"/>
                </a:lnTo>
                <a:lnTo>
                  <a:pt x="5304836" y="510822"/>
                </a:lnTo>
                <a:lnTo>
                  <a:pt x="5311021" y="512446"/>
                </a:lnTo>
                <a:lnTo>
                  <a:pt x="5309176" y="514830"/>
                </a:lnTo>
                <a:lnTo>
                  <a:pt x="5304510" y="514612"/>
                </a:lnTo>
                <a:lnTo>
                  <a:pt x="5298976" y="512121"/>
                </a:lnTo>
                <a:lnTo>
                  <a:pt x="5298325" y="509090"/>
                </a:lnTo>
                <a:close/>
                <a:moveTo>
                  <a:pt x="4295415" y="506382"/>
                </a:moveTo>
                <a:lnTo>
                  <a:pt x="4297151" y="511687"/>
                </a:lnTo>
                <a:lnTo>
                  <a:pt x="4300949" y="517317"/>
                </a:lnTo>
                <a:lnTo>
                  <a:pt x="4300624" y="519808"/>
                </a:lnTo>
                <a:lnTo>
                  <a:pt x="4296934" y="520783"/>
                </a:lnTo>
                <a:lnTo>
                  <a:pt x="4295415" y="523055"/>
                </a:lnTo>
                <a:lnTo>
                  <a:pt x="4296500" y="528902"/>
                </a:lnTo>
                <a:lnTo>
                  <a:pt x="4302034" y="534748"/>
                </a:lnTo>
                <a:lnTo>
                  <a:pt x="4307460" y="538214"/>
                </a:lnTo>
                <a:lnTo>
                  <a:pt x="4310607" y="535398"/>
                </a:lnTo>
                <a:lnTo>
                  <a:pt x="4316141" y="532476"/>
                </a:lnTo>
                <a:lnTo>
                  <a:pt x="4320048" y="534532"/>
                </a:lnTo>
                <a:lnTo>
                  <a:pt x="4322111" y="537132"/>
                </a:lnTo>
                <a:lnTo>
                  <a:pt x="4326668" y="539187"/>
                </a:lnTo>
                <a:lnTo>
                  <a:pt x="4324932" y="540920"/>
                </a:lnTo>
                <a:lnTo>
                  <a:pt x="4319723" y="542978"/>
                </a:lnTo>
                <a:lnTo>
                  <a:pt x="4315382" y="549798"/>
                </a:lnTo>
                <a:lnTo>
                  <a:pt x="4314731" y="554129"/>
                </a:lnTo>
                <a:lnTo>
                  <a:pt x="4311584" y="563765"/>
                </a:lnTo>
                <a:lnTo>
                  <a:pt x="4307894" y="564849"/>
                </a:lnTo>
                <a:lnTo>
                  <a:pt x="4303554" y="567338"/>
                </a:lnTo>
                <a:lnTo>
                  <a:pt x="4301166" y="571020"/>
                </a:lnTo>
                <a:lnTo>
                  <a:pt x="4301166" y="574917"/>
                </a:lnTo>
                <a:lnTo>
                  <a:pt x="4297476" y="577840"/>
                </a:lnTo>
                <a:lnTo>
                  <a:pt x="4294763" y="577732"/>
                </a:lnTo>
                <a:lnTo>
                  <a:pt x="4293245" y="573726"/>
                </a:lnTo>
                <a:lnTo>
                  <a:pt x="4295849" y="570152"/>
                </a:lnTo>
                <a:lnTo>
                  <a:pt x="4294981" y="564631"/>
                </a:lnTo>
                <a:lnTo>
                  <a:pt x="4296934" y="557702"/>
                </a:lnTo>
                <a:lnTo>
                  <a:pt x="4296934" y="552722"/>
                </a:lnTo>
                <a:lnTo>
                  <a:pt x="4294981" y="554346"/>
                </a:lnTo>
                <a:lnTo>
                  <a:pt x="4291508" y="553589"/>
                </a:lnTo>
                <a:lnTo>
                  <a:pt x="4289120" y="555320"/>
                </a:lnTo>
                <a:lnTo>
                  <a:pt x="4286299" y="560842"/>
                </a:lnTo>
                <a:lnTo>
                  <a:pt x="4283261" y="563441"/>
                </a:lnTo>
                <a:lnTo>
                  <a:pt x="4279788" y="563224"/>
                </a:lnTo>
                <a:lnTo>
                  <a:pt x="4275230" y="567555"/>
                </a:lnTo>
                <a:lnTo>
                  <a:pt x="4270781" y="568096"/>
                </a:lnTo>
                <a:lnTo>
                  <a:pt x="4266874" y="570152"/>
                </a:lnTo>
                <a:lnTo>
                  <a:pt x="4264921" y="569829"/>
                </a:lnTo>
                <a:lnTo>
                  <a:pt x="4264379" y="566147"/>
                </a:lnTo>
                <a:lnTo>
                  <a:pt x="4265789" y="563765"/>
                </a:lnTo>
                <a:lnTo>
                  <a:pt x="4265247" y="559435"/>
                </a:lnTo>
                <a:lnTo>
                  <a:pt x="4268719" y="556945"/>
                </a:lnTo>
                <a:lnTo>
                  <a:pt x="4269805" y="549798"/>
                </a:lnTo>
                <a:lnTo>
                  <a:pt x="4273277" y="543627"/>
                </a:lnTo>
                <a:lnTo>
                  <a:pt x="4273385" y="538971"/>
                </a:lnTo>
                <a:lnTo>
                  <a:pt x="4274471" y="536156"/>
                </a:lnTo>
                <a:lnTo>
                  <a:pt x="4273603" y="533558"/>
                </a:lnTo>
                <a:lnTo>
                  <a:pt x="4269370" y="533558"/>
                </a:lnTo>
                <a:lnTo>
                  <a:pt x="4265681" y="529552"/>
                </a:lnTo>
                <a:lnTo>
                  <a:pt x="4261666" y="527169"/>
                </a:lnTo>
                <a:lnTo>
                  <a:pt x="4263944" y="522298"/>
                </a:lnTo>
                <a:lnTo>
                  <a:pt x="4268177" y="518617"/>
                </a:lnTo>
                <a:lnTo>
                  <a:pt x="4277509" y="516451"/>
                </a:lnTo>
                <a:lnTo>
                  <a:pt x="4282718" y="516019"/>
                </a:lnTo>
                <a:lnTo>
                  <a:pt x="4288687" y="510821"/>
                </a:lnTo>
                <a:close/>
                <a:moveTo>
                  <a:pt x="2612863" y="502374"/>
                </a:moveTo>
                <a:lnTo>
                  <a:pt x="2610042" y="507139"/>
                </a:lnTo>
                <a:lnTo>
                  <a:pt x="2603205" y="512552"/>
                </a:lnTo>
                <a:lnTo>
                  <a:pt x="2601795" y="516125"/>
                </a:lnTo>
                <a:lnTo>
                  <a:pt x="2603531" y="519048"/>
                </a:lnTo>
                <a:lnTo>
                  <a:pt x="2602988" y="521539"/>
                </a:lnTo>
                <a:lnTo>
                  <a:pt x="2600601" y="520889"/>
                </a:lnTo>
                <a:lnTo>
                  <a:pt x="2598756" y="517858"/>
                </a:lnTo>
                <a:lnTo>
                  <a:pt x="2596586" y="519373"/>
                </a:lnTo>
                <a:lnTo>
                  <a:pt x="2595066" y="521647"/>
                </a:lnTo>
                <a:lnTo>
                  <a:pt x="2593005" y="521430"/>
                </a:lnTo>
                <a:lnTo>
                  <a:pt x="2592571" y="515801"/>
                </a:lnTo>
                <a:lnTo>
                  <a:pt x="2594958" y="514393"/>
                </a:lnTo>
                <a:lnTo>
                  <a:pt x="2597888" y="510062"/>
                </a:lnTo>
                <a:lnTo>
                  <a:pt x="2608631" y="503240"/>
                </a:lnTo>
                <a:close/>
                <a:moveTo>
                  <a:pt x="5317316" y="501186"/>
                </a:moveTo>
                <a:lnTo>
                  <a:pt x="5320571" y="503135"/>
                </a:lnTo>
                <a:lnTo>
                  <a:pt x="5327951" y="504216"/>
                </a:lnTo>
                <a:lnTo>
                  <a:pt x="5327299" y="506057"/>
                </a:lnTo>
                <a:lnTo>
                  <a:pt x="5323067" y="507790"/>
                </a:lnTo>
                <a:lnTo>
                  <a:pt x="5319486" y="507790"/>
                </a:lnTo>
                <a:lnTo>
                  <a:pt x="5313951" y="508765"/>
                </a:lnTo>
                <a:cubicBezTo>
                  <a:pt x="5313189" y="508317"/>
                  <a:pt x="5312463" y="507810"/>
                  <a:pt x="5311781" y="507248"/>
                </a:cubicBezTo>
                <a:lnTo>
                  <a:pt x="5314385" y="502052"/>
                </a:lnTo>
                <a:close/>
                <a:moveTo>
                  <a:pt x="6051756" y="498913"/>
                </a:moveTo>
                <a:lnTo>
                  <a:pt x="6055446" y="498913"/>
                </a:lnTo>
                <a:lnTo>
                  <a:pt x="6060330" y="502377"/>
                </a:lnTo>
                <a:lnTo>
                  <a:pt x="6063368" y="505409"/>
                </a:lnTo>
                <a:lnTo>
                  <a:pt x="6063368" y="507356"/>
                </a:lnTo>
                <a:lnTo>
                  <a:pt x="6061415" y="507356"/>
                </a:lnTo>
                <a:lnTo>
                  <a:pt x="6059570" y="508874"/>
                </a:lnTo>
                <a:lnTo>
                  <a:pt x="6053385" y="508874"/>
                </a:lnTo>
                <a:lnTo>
                  <a:pt x="6053385" y="505300"/>
                </a:lnTo>
                <a:lnTo>
                  <a:pt x="6049586" y="503026"/>
                </a:lnTo>
                <a:lnTo>
                  <a:pt x="6049586" y="500861"/>
                </a:lnTo>
                <a:close/>
                <a:moveTo>
                  <a:pt x="2574014" y="496747"/>
                </a:moveTo>
                <a:lnTo>
                  <a:pt x="2575425" y="498587"/>
                </a:lnTo>
                <a:lnTo>
                  <a:pt x="2573689" y="501186"/>
                </a:lnTo>
                <a:lnTo>
                  <a:pt x="2571301" y="501186"/>
                </a:lnTo>
                <a:cubicBezTo>
                  <a:pt x="2570608" y="500464"/>
                  <a:pt x="2569956" y="499706"/>
                  <a:pt x="2569348" y="498912"/>
                </a:cubicBezTo>
                <a:close/>
                <a:moveTo>
                  <a:pt x="5053946" y="492308"/>
                </a:moveTo>
                <a:lnTo>
                  <a:pt x="5055791" y="494798"/>
                </a:lnTo>
                <a:lnTo>
                  <a:pt x="5055791" y="498697"/>
                </a:lnTo>
                <a:lnTo>
                  <a:pt x="5058395" y="502161"/>
                </a:lnTo>
                <a:lnTo>
                  <a:pt x="5062844" y="502811"/>
                </a:lnTo>
                <a:lnTo>
                  <a:pt x="5065232" y="505409"/>
                </a:lnTo>
                <a:lnTo>
                  <a:pt x="5070115" y="506058"/>
                </a:lnTo>
                <a:lnTo>
                  <a:pt x="5071525" y="508116"/>
                </a:lnTo>
                <a:lnTo>
                  <a:pt x="5069138" y="513963"/>
                </a:lnTo>
                <a:lnTo>
                  <a:pt x="5069138" y="520027"/>
                </a:lnTo>
                <a:lnTo>
                  <a:pt x="5072285" y="520027"/>
                </a:lnTo>
                <a:lnTo>
                  <a:pt x="5073804" y="521218"/>
                </a:lnTo>
                <a:lnTo>
                  <a:pt x="5073804" y="527712"/>
                </a:lnTo>
                <a:lnTo>
                  <a:pt x="5074455" y="531719"/>
                </a:lnTo>
                <a:lnTo>
                  <a:pt x="5072177" y="536159"/>
                </a:lnTo>
                <a:lnTo>
                  <a:pt x="5073587" y="538432"/>
                </a:lnTo>
                <a:lnTo>
                  <a:pt x="5073587" y="541572"/>
                </a:lnTo>
                <a:lnTo>
                  <a:pt x="5070006" y="543088"/>
                </a:lnTo>
                <a:lnTo>
                  <a:pt x="5067402" y="543088"/>
                </a:lnTo>
                <a:lnTo>
                  <a:pt x="5063604" y="545469"/>
                </a:lnTo>
                <a:lnTo>
                  <a:pt x="5056876" y="553698"/>
                </a:lnTo>
                <a:lnTo>
                  <a:pt x="5052426" y="557272"/>
                </a:lnTo>
                <a:lnTo>
                  <a:pt x="5044830" y="559544"/>
                </a:lnTo>
                <a:lnTo>
                  <a:pt x="5038428" y="565066"/>
                </a:lnTo>
                <a:lnTo>
                  <a:pt x="5035715" y="565066"/>
                </a:lnTo>
                <a:lnTo>
                  <a:pt x="5028010" y="571238"/>
                </a:lnTo>
                <a:lnTo>
                  <a:pt x="5018352" y="582065"/>
                </a:lnTo>
                <a:lnTo>
                  <a:pt x="5009562" y="588561"/>
                </a:lnTo>
                <a:lnTo>
                  <a:pt x="5005764" y="588561"/>
                </a:lnTo>
                <a:lnTo>
                  <a:pt x="5003051" y="597114"/>
                </a:lnTo>
                <a:lnTo>
                  <a:pt x="4999253" y="603828"/>
                </a:lnTo>
                <a:lnTo>
                  <a:pt x="4992308" y="608158"/>
                </a:lnTo>
                <a:lnTo>
                  <a:pt x="4991657" y="614004"/>
                </a:lnTo>
                <a:lnTo>
                  <a:pt x="4988944" y="616603"/>
                </a:lnTo>
                <a:lnTo>
                  <a:pt x="4987208" y="621908"/>
                </a:lnTo>
                <a:lnTo>
                  <a:pt x="4980479" y="630462"/>
                </a:lnTo>
                <a:lnTo>
                  <a:pt x="4977550" y="632844"/>
                </a:lnTo>
                <a:lnTo>
                  <a:pt x="4975271" y="628729"/>
                </a:lnTo>
                <a:lnTo>
                  <a:pt x="4972883" y="632844"/>
                </a:lnTo>
                <a:lnTo>
                  <a:pt x="4974837" y="636308"/>
                </a:lnTo>
                <a:lnTo>
                  <a:pt x="4978743" y="638906"/>
                </a:lnTo>
                <a:lnTo>
                  <a:pt x="4977550" y="642370"/>
                </a:lnTo>
                <a:lnTo>
                  <a:pt x="4971364" y="645293"/>
                </a:lnTo>
                <a:lnTo>
                  <a:pt x="4970496" y="647242"/>
                </a:lnTo>
                <a:lnTo>
                  <a:pt x="4972015" y="648974"/>
                </a:lnTo>
                <a:lnTo>
                  <a:pt x="4972015" y="653738"/>
                </a:lnTo>
                <a:lnTo>
                  <a:pt x="4968543" y="656878"/>
                </a:lnTo>
                <a:lnTo>
                  <a:pt x="4965830" y="655470"/>
                </a:lnTo>
                <a:lnTo>
                  <a:pt x="4962032" y="655470"/>
                </a:lnTo>
                <a:lnTo>
                  <a:pt x="4962032" y="658069"/>
                </a:lnTo>
                <a:lnTo>
                  <a:pt x="4965504" y="660343"/>
                </a:lnTo>
                <a:lnTo>
                  <a:pt x="4963551" y="663050"/>
                </a:lnTo>
                <a:lnTo>
                  <a:pt x="4957366" y="660668"/>
                </a:lnTo>
                <a:lnTo>
                  <a:pt x="4953242" y="657744"/>
                </a:lnTo>
                <a:lnTo>
                  <a:pt x="4950312" y="658611"/>
                </a:lnTo>
                <a:lnTo>
                  <a:pt x="4950312" y="664566"/>
                </a:lnTo>
                <a:lnTo>
                  <a:pt x="4953459" y="664566"/>
                </a:lnTo>
                <a:lnTo>
                  <a:pt x="4954653" y="665973"/>
                </a:lnTo>
                <a:lnTo>
                  <a:pt x="4952808" y="671170"/>
                </a:lnTo>
                <a:lnTo>
                  <a:pt x="4949552" y="672036"/>
                </a:lnTo>
                <a:lnTo>
                  <a:pt x="4945754" y="668572"/>
                </a:lnTo>
                <a:lnTo>
                  <a:pt x="4942282" y="668572"/>
                </a:lnTo>
                <a:lnTo>
                  <a:pt x="4947274" y="674743"/>
                </a:lnTo>
                <a:lnTo>
                  <a:pt x="4950855" y="679182"/>
                </a:lnTo>
                <a:lnTo>
                  <a:pt x="4950855" y="683621"/>
                </a:lnTo>
                <a:lnTo>
                  <a:pt x="4948142" y="688385"/>
                </a:lnTo>
                <a:lnTo>
                  <a:pt x="4948142" y="691308"/>
                </a:lnTo>
                <a:lnTo>
                  <a:pt x="4949987" y="693149"/>
                </a:lnTo>
                <a:lnTo>
                  <a:pt x="4949987" y="696288"/>
                </a:lnTo>
                <a:lnTo>
                  <a:pt x="4948793" y="698996"/>
                </a:lnTo>
                <a:lnTo>
                  <a:pt x="4944669" y="697804"/>
                </a:lnTo>
                <a:lnTo>
                  <a:pt x="4940220" y="695747"/>
                </a:lnTo>
                <a:lnTo>
                  <a:pt x="4939569" y="692282"/>
                </a:lnTo>
                <a:lnTo>
                  <a:pt x="4936313" y="688493"/>
                </a:lnTo>
                <a:lnTo>
                  <a:pt x="4934903" y="691092"/>
                </a:lnTo>
                <a:lnTo>
                  <a:pt x="4939569" y="697588"/>
                </a:lnTo>
                <a:lnTo>
                  <a:pt x="4944561" y="704301"/>
                </a:lnTo>
                <a:lnTo>
                  <a:pt x="4946406" y="711338"/>
                </a:lnTo>
                <a:lnTo>
                  <a:pt x="4944126" y="714478"/>
                </a:lnTo>
                <a:lnTo>
                  <a:pt x="4941739" y="713071"/>
                </a:lnTo>
                <a:lnTo>
                  <a:pt x="4941739" y="710147"/>
                </a:lnTo>
                <a:lnTo>
                  <a:pt x="4939135" y="706358"/>
                </a:lnTo>
                <a:lnTo>
                  <a:pt x="4935988" y="707441"/>
                </a:lnTo>
                <a:lnTo>
                  <a:pt x="4932190" y="706358"/>
                </a:lnTo>
                <a:lnTo>
                  <a:pt x="4929477" y="707765"/>
                </a:lnTo>
                <a:lnTo>
                  <a:pt x="4931213" y="710039"/>
                </a:lnTo>
                <a:lnTo>
                  <a:pt x="4934469" y="710039"/>
                </a:lnTo>
                <a:lnTo>
                  <a:pt x="4938918" y="711121"/>
                </a:lnTo>
                <a:lnTo>
                  <a:pt x="4941523" y="716968"/>
                </a:lnTo>
                <a:lnTo>
                  <a:pt x="4944777" y="719892"/>
                </a:lnTo>
                <a:lnTo>
                  <a:pt x="4944126" y="724222"/>
                </a:lnTo>
                <a:lnTo>
                  <a:pt x="4940980" y="729419"/>
                </a:lnTo>
                <a:lnTo>
                  <a:pt x="4940980" y="734616"/>
                </a:lnTo>
                <a:lnTo>
                  <a:pt x="4938592" y="740463"/>
                </a:lnTo>
                <a:lnTo>
                  <a:pt x="4935011" y="741329"/>
                </a:lnTo>
                <a:lnTo>
                  <a:pt x="4933817" y="743928"/>
                </a:lnTo>
                <a:lnTo>
                  <a:pt x="4926872" y="743928"/>
                </a:lnTo>
                <a:lnTo>
                  <a:pt x="4922858" y="741871"/>
                </a:lnTo>
                <a:lnTo>
                  <a:pt x="4920578" y="737215"/>
                </a:lnTo>
                <a:lnTo>
                  <a:pt x="4918517" y="736565"/>
                </a:lnTo>
                <a:lnTo>
                  <a:pt x="4918517" y="740030"/>
                </a:lnTo>
                <a:lnTo>
                  <a:pt x="4920578" y="742628"/>
                </a:lnTo>
                <a:lnTo>
                  <a:pt x="4916997" y="744686"/>
                </a:lnTo>
                <a:lnTo>
                  <a:pt x="4911680" y="743494"/>
                </a:lnTo>
                <a:lnTo>
                  <a:pt x="4909401" y="740788"/>
                </a:lnTo>
                <a:lnTo>
                  <a:pt x="4904952" y="739705"/>
                </a:lnTo>
                <a:lnTo>
                  <a:pt x="4899309" y="742304"/>
                </a:lnTo>
                <a:lnTo>
                  <a:pt x="4892472" y="745769"/>
                </a:lnTo>
                <a:lnTo>
                  <a:pt x="4885419" y="745769"/>
                </a:lnTo>
                <a:cubicBezTo>
                  <a:pt x="4885482" y="745012"/>
                  <a:pt x="4885482" y="744251"/>
                  <a:pt x="4885419" y="743494"/>
                </a:cubicBezTo>
                <a:lnTo>
                  <a:pt x="4886504" y="741546"/>
                </a:lnTo>
                <a:lnTo>
                  <a:pt x="4885202" y="737539"/>
                </a:lnTo>
                <a:lnTo>
                  <a:pt x="4886179" y="733426"/>
                </a:lnTo>
                <a:lnTo>
                  <a:pt x="4888783" y="729528"/>
                </a:lnTo>
                <a:lnTo>
                  <a:pt x="4895185" y="725738"/>
                </a:lnTo>
                <a:lnTo>
                  <a:pt x="4896813" y="723031"/>
                </a:lnTo>
                <a:lnTo>
                  <a:pt x="4899526" y="723031"/>
                </a:lnTo>
                <a:lnTo>
                  <a:pt x="4902456" y="725414"/>
                </a:lnTo>
                <a:lnTo>
                  <a:pt x="4904518" y="725414"/>
                </a:lnTo>
                <a:lnTo>
                  <a:pt x="4904518" y="723139"/>
                </a:lnTo>
                <a:lnTo>
                  <a:pt x="4902239" y="721082"/>
                </a:lnTo>
                <a:lnTo>
                  <a:pt x="4897356" y="721082"/>
                </a:lnTo>
                <a:lnTo>
                  <a:pt x="4892472" y="722815"/>
                </a:lnTo>
                <a:lnTo>
                  <a:pt x="4886396" y="727687"/>
                </a:lnTo>
                <a:lnTo>
                  <a:pt x="4883140" y="729528"/>
                </a:lnTo>
                <a:lnTo>
                  <a:pt x="4881946" y="732235"/>
                </a:lnTo>
                <a:lnTo>
                  <a:pt x="4879993" y="733534"/>
                </a:lnTo>
                <a:lnTo>
                  <a:pt x="4875652" y="731260"/>
                </a:lnTo>
                <a:lnTo>
                  <a:pt x="4870444" y="726063"/>
                </a:lnTo>
                <a:lnTo>
                  <a:pt x="4870444" y="724547"/>
                </a:lnTo>
                <a:lnTo>
                  <a:pt x="4874459" y="723465"/>
                </a:lnTo>
                <a:lnTo>
                  <a:pt x="4875870" y="721516"/>
                </a:lnTo>
                <a:lnTo>
                  <a:pt x="4875110" y="719783"/>
                </a:lnTo>
                <a:lnTo>
                  <a:pt x="4876520" y="715994"/>
                </a:lnTo>
                <a:lnTo>
                  <a:pt x="4879342" y="712529"/>
                </a:lnTo>
                <a:lnTo>
                  <a:pt x="4881513" y="712529"/>
                </a:lnTo>
                <a:lnTo>
                  <a:pt x="4884334" y="711880"/>
                </a:lnTo>
                <a:lnTo>
                  <a:pt x="4884985" y="709714"/>
                </a:lnTo>
                <a:lnTo>
                  <a:pt x="4883249" y="707657"/>
                </a:lnTo>
                <a:lnTo>
                  <a:pt x="4883249" y="705058"/>
                </a:lnTo>
                <a:lnTo>
                  <a:pt x="4885093" y="703326"/>
                </a:lnTo>
                <a:lnTo>
                  <a:pt x="4885853" y="700186"/>
                </a:lnTo>
                <a:lnTo>
                  <a:pt x="4888566" y="697480"/>
                </a:lnTo>
                <a:lnTo>
                  <a:pt x="4892690" y="697480"/>
                </a:lnTo>
                <a:lnTo>
                  <a:pt x="4896596" y="699862"/>
                </a:lnTo>
                <a:lnTo>
                  <a:pt x="4900828" y="699862"/>
                </a:lnTo>
                <a:lnTo>
                  <a:pt x="4905603" y="701919"/>
                </a:lnTo>
                <a:lnTo>
                  <a:pt x="4908751" y="705600"/>
                </a:lnTo>
                <a:lnTo>
                  <a:pt x="4908751" y="702568"/>
                </a:lnTo>
                <a:lnTo>
                  <a:pt x="4908751" y="701161"/>
                </a:lnTo>
                <a:lnTo>
                  <a:pt x="4904952" y="699645"/>
                </a:lnTo>
                <a:lnTo>
                  <a:pt x="4898333" y="695423"/>
                </a:lnTo>
                <a:lnTo>
                  <a:pt x="4892472" y="694665"/>
                </a:lnTo>
                <a:lnTo>
                  <a:pt x="4890954" y="693690"/>
                </a:lnTo>
                <a:lnTo>
                  <a:pt x="4890954" y="691200"/>
                </a:lnTo>
                <a:lnTo>
                  <a:pt x="4895728" y="690442"/>
                </a:lnTo>
                <a:lnTo>
                  <a:pt x="4898658" y="689359"/>
                </a:lnTo>
                <a:lnTo>
                  <a:pt x="4898658" y="687411"/>
                </a:lnTo>
                <a:lnTo>
                  <a:pt x="4893883" y="687411"/>
                </a:lnTo>
                <a:lnTo>
                  <a:pt x="4889759" y="688060"/>
                </a:lnTo>
                <a:lnTo>
                  <a:pt x="4887481" y="686436"/>
                </a:lnTo>
                <a:lnTo>
                  <a:pt x="4887481" y="683837"/>
                </a:lnTo>
                <a:lnTo>
                  <a:pt x="4890194" y="681889"/>
                </a:lnTo>
                <a:lnTo>
                  <a:pt x="4895837" y="681889"/>
                </a:lnTo>
                <a:lnTo>
                  <a:pt x="4901154" y="679615"/>
                </a:lnTo>
                <a:lnTo>
                  <a:pt x="4902239" y="677774"/>
                </a:lnTo>
                <a:lnTo>
                  <a:pt x="4900720" y="676258"/>
                </a:lnTo>
                <a:lnTo>
                  <a:pt x="4897573" y="677558"/>
                </a:lnTo>
                <a:lnTo>
                  <a:pt x="4894426" y="676908"/>
                </a:lnTo>
                <a:lnTo>
                  <a:pt x="4890736" y="674851"/>
                </a:lnTo>
                <a:lnTo>
                  <a:pt x="4889217" y="669870"/>
                </a:lnTo>
                <a:lnTo>
                  <a:pt x="4890954" y="666839"/>
                </a:lnTo>
                <a:lnTo>
                  <a:pt x="4893666" y="667922"/>
                </a:lnTo>
                <a:lnTo>
                  <a:pt x="4895837" y="665215"/>
                </a:lnTo>
                <a:lnTo>
                  <a:pt x="4901588" y="665215"/>
                </a:lnTo>
                <a:lnTo>
                  <a:pt x="4905278" y="664349"/>
                </a:lnTo>
                <a:lnTo>
                  <a:pt x="4906906" y="661101"/>
                </a:lnTo>
                <a:lnTo>
                  <a:pt x="4905494" y="659909"/>
                </a:lnTo>
                <a:lnTo>
                  <a:pt x="4902456" y="661967"/>
                </a:lnTo>
                <a:lnTo>
                  <a:pt x="4897681" y="661967"/>
                </a:lnTo>
                <a:lnTo>
                  <a:pt x="4895728" y="660560"/>
                </a:lnTo>
                <a:lnTo>
                  <a:pt x="4893666" y="660560"/>
                </a:lnTo>
                <a:lnTo>
                  <a:pt x="4891279" y="663374"/>
                </a:lnTo>
                <a:lnTo>
                  <a:pt x="4888349" y="661858"/>
                </a:lnTo>
                <a:lnTo>
                  <a:pt x="4887698" y="659585"/>
                </a:lnTo>
                <a:lnTo>
                  <a:pt x="4889977" y="654605"/>
                </a:lnTo>
                <a:lnTo>
                  <a:pt x="4889977" y="651464"/>
                </a:lnTo>
                <a:lnTo>
                  <a:pt x="4888457" y="650815"/>
                </a:lnTo>
                <a:lnTo>
                  <a:pt x="4885419" y="651789"/>
                </a:lnTo>
                <a:lnTo>
                  <a:pt x="4881187" y="648325"/>
                </a:lnTo>
                <a:lnTo>
                  <a:pt x="4880210" y="643128"/>
                </a:lnTo>
                <a:lnTo>
                  <a:pt x="4881513" y="637067"/>
                </a:lnTo>
                <a:lnTo>
                  <a:pt x="4883357" y="636093"/>
                </a:lnTo>
                <a:lnTo>
                  <a:pt x="4884551" y="639340"/>
                </a:lnTo>
                <a:lnTo>
                  <a:pt x="4887047" y="642478"/>
                </a:lnTo>
                <a:lnTo>
                  <a:pt x="4890411" y="644319"/>
                </a:lnTo>
                <a:lnTo>
                  <a:pt x="4894752" y="640639"/>
                </a:lnTo>
                <a:lnTo>
                  <a:pt x="4896813" y="636634"/>
                </a:lnTo>
                <a:lnTo>
                  <a:pt x="4896813" y="633277"/>
                </a:lnTo>
                <a:lnTo>
                  <a:pt x="4898115" y="630029"/>
                </a:lnTo>
                <a:lnTo>
                  <a:pt x="4903216" y="627322"/>
                </a:lnTo>
                <a:lnTo>
                  <a:pt x="4908967" y="628622"/>
                </a:lnTo>
                <a:lnTo>
                  <a:pt x="4911897" y="629704"/>
                </a:lnTo>
                <a:lnTo>
                  <a:pt x="4915044" y="627105"/>
                </a:lnTo>
                <a:lnTo>
                  <a:pt x="4915044" y="623100"/>
                </a:lnTo>
                <a:lnTo>
                  <a:pt x="4915804" y="620718"/>
                </a:lnTo>
                <a:lnTo>
                  <a:pt x="4914393" y="618769"/>
                </a:lnTo>
                <a:lnTo>
                  <a:pt x="4910920" y="619418"/>
                </a:lnTo>
                <a:lnTo>
                  <a:pt x="4908642" y="619418"/>
                </a:lnTo>
                <a:lnTo>
                  <a:pt x="4907882" y="615845"/>
                </a:lnTo>
                <a:lnTo>
                  <a:pt x="4908859" y="609674"/>
                </a:lnTo>
                <a:lnTo>
                  <a:pt x="4911463" y="607617"/>
                </a:lnTo>
                <a:lnTo>
                  <a:pt x="4918517" y="607617"/>
                </a:lnTo>
                <a:lnTo>
                  <a:pt x="4921990" y="604260"/>
                </a:lnTo>
                <a:lnTo>
                  <a:pt x="4919168" y="604260"/>
                </a:lnTo>
                <a:lnTo>
                  <a:pt x="4917865" y="602744"/>
                </a:lnTo>
                <a:lnTo>
                  <a:pt x="4918842" y="596140"/>
                </a:lnTo>
                <a:lnTo>
                  <a:pt x="4921555" y="593325"/>
                </a:lnTo>
                <a:lnTo>
                  <a:pt x="4925896" y="591917"/>
                </a:lnTo>
                <a:lnTo>
                  <a:pt x="4926547" y="589103"/>
                </a:lnTo>
                <a:lnTo>
                  <a:pt x="4929477" y="586720"/>
                </a:lnTo>
                <a:lnTo>
                  <a:pt x="4934794" y="586720"/>
                </a:lnTo>
                <a:lnTo>
                  <a:pt x="4936639" y="582930"/>
                </a:lnTo>
                <a:lnTo>
                  <a:pt x="4939026" y="580982"/>
                </a:lnTo>
                <a:lnTo>
                  <a:pt x="4935988" y="579466"/>
                </a:lnTo>
                <a:lnTo>
                  <a:pt x="4935988" y="576109"/>
                </a:lnTo>
                <a:lnTo>
                  <a:pt x="4939460" y="573620"/>
                </a:lnTo>
                <a:lnTo>
                  <a:pt x="4943367" y="568314"/>
                </a:lnTo>
                <a:lnTo>
                  <a:pt x="4946406" y="568314"/>
                </a:lnTo>
                <a:lnTo>
                  <a:pt x="4946406" y="571671"/>
                </a:lnTo>
                <a:lnTo>
                  <a:pt x="4944669" y="573620"/>
                </a:lnTo>
                <a:lnTo>
                  <a:pt x="4944669" y="576326"/>
                </a:lnTo>
                <a:lnTo>
                  <a:pt x="4946622" y="576976"/>
                </a:lnTo>
                <a:lnTo>
                  <a:pt x="4949552" y="572862"/>
                </a:lnTo>
                <a:lnTo>
                  <a:pt x="4951832" y="571996"/>
                </a:lnTo>
                <a:lnTo>
                  <a:pt x="4951832" y="569938"/>
                </a:lnTo>
                <a:lnTo>
                  <a:pt x="4949878" y="567991"/>
                </a:lnTo>
                <a:lnTo>
                  <a:pt x="4947165" y="561927"/>
                </a:lnTo>
                <a:lnTo>
                  <a:pt x="4948575" y="559436"/>
                </a:lnTo>
                <a:lnTo>
                  <a:pt x="4952048" y="558787"/>
                </a:lnTo>
                <a:lnTo>
                  <a:pt x="4953893" y="557055"/>
                </a:lnTo>
                <a:lnTo>
                  <a:pt x="4962900" y="554673"/>
                </a:lnTo>
                <a:lnTo>
                  <a:pt x="4970170" y="553914"/>
                </a:lnTo>
                <a:lnTo>
                  <a:pt x="4972450" y="557920"/>
                </a:lnTo>
                <a:lnTo>
                  <a:pt x="4973968" y="562034"/>
                </a:lnTo>
                <a:lnTo>
                  <a:pt x="4975488" y="560409"/>
                </a:lnTo>
                <a:lnTo>
                  <a:pt x="4974728" y="555105"/>
                </a:lnTo>
                <a:lnTo>
                  <a:pt x="4975488" y="551966"/>
                </a:lnTo>
                <a:lnTo>
                  <a:pt x="4977333" y="551966"/>
                </a:lnTo>
                <a:lnTo>
                  <a:pt x="4978852" y="555430"/>
                </a:lnTo>
                <a:lnTo>
                  <a:pt x="4980697" y="556730"/>
                </a:lnTo>
                <a:lnTo>
                  <a:pt x="4984278" y="554347"/>
                </a:lnTo>
                <a:lnTo>
                  <a:pt x="4988184" y="548392"/>
                </a:lnTo>
                <a:lnTo>
                  <a:pt x="4991765" y="545685"/>
                </a:lnTo>
                <a:lnTo>
                  <a:pt x="4995781" y="545685"/>
                </a:lnTo>
                <a:lnTo>
                  <a:pt x="4997625" y="546552"/>
                </a:lnTo>
                <a:lnTo>
                  <a:pt x="5000556" y="544170"/>
                </a:lnTo>
                <a:lnTo>
                  <a:pt x="5008803" y="538757"/>
                </a:lnTo>
                <a:lnTo>
                  <a:pt x="5011515" y="535184"/>
                </a:lnTo>
                <a:lnTo>
                  <a:pt x="5013795" y="533559"/>
                </a:lnTo>
                <a:lnTo>
                  <a:pt x="5013795" y="530095"/>
                </a:lnTo>
                <a:lnTo>
                  <a:pt x="5015856" y="527712"/>
                </a:lnTo>
                <a:lnTo>
                  <a:pt x="5019871" y="527712"/>
                </a:lnTo>
                <a:lnTo>
                  <a:pt x="5019871" y="524572"/>
                </a:lnTo>
                <a:lnTo>
                  <a:pt x="5017050" y="519809"/>
                </a:lnTo>
                <a:lnTo>
                  <a:pt x="5017050" y="517426"/>
                </a:lnTo>
                <a:lnTo>
                  <a:pt x="5020631" y="513530"/>
                </a:lnTo>
                <a:lnTo>
                  <a:pt x="5020631" y="510174"/>
                </a:lnTo>
                <a:lnTo>
                  <a:pt x="5023452" y="507250"/>
                </a:lnTo>
                <a:lnTo>
                  <a:pt x="5026925" y="506600"/>
                </a:lnTo>
                <a:lnTo>
                  <a:pt x="5029747" y="504327"/>
                </a:lnTo>
                <a:lnTo>
                  <a:pt x="5031048" y="500212"/>
                </a:lnTo>
                <a:lnTo>
                  <a:pt x="5036908" y="496423"/>
                </a:lnTo>
                <a:lnTo>
                  <a:pt x="5040924" y="495340"/>
                </a:lnTo>
                <a:lnTo>
                  <a:pt x="5044614" y="497072"/>
                </a:lnTo>
                <a:lnTo>
                  <a:pt x="5047543" y="498155"/>
                </a:lnTo>
                <a:lnTo>
                  <a:pt x="5048520" y="495773"/>
                </a:lnTo>
                <a:close/>
                <a:moveTo>
                  <a:pt x="6438510" y="490033"/>
                </a:moveTo>
                <a:lnTo>
                  <a:pt x="6440355" y="495338"/>
                </a:lnTo>
                <a:lnTo>
                  <a:pt x="6442091" y="498479"/>
                </a:lnTo>
                <a:lnTo>
                  <a:pt x="6440680" y="500752"/>
                </a:lnTo>
                <a:lnTo>
                  <a:pt x="6434277" y="502701"/>
                </a:lnTo>
                <a:lnTo>
                  <a:pt x="6434277" y="505300"/>
                </a:lnTo>
                <a:lnTo>
                  <a:pt x="6430045" y="503676"/>
                </a:lnTo>
                <a:lnTo>
                  <a:pt x="6425704" y="498046"/>
                </a:lnTo>
                <a:cubicBezTo>
                  <a:pt x="6427545" y="498226"/>
                  <a:pt x="6429398" y="498226"/>
                  <a:pt x="6431239" y="498046"/>
                </a:cubicBezTo>
                <a:lnTo>
                  <a:pt x="6435689" y="494907"/>
                </a:lnTo>
                <a:lnTo>
                  <a:pt x="6436557" y="490900"/>
                </a:lnTo>
                <a:close/>
                <a:moveTo>
                  <a:pt x="4275773" y="486678"/>
                </a:moveTo>
                <a:lnTo>
                  <a:pt x="4277509" y="487543"/>
                </a:lnTo>
                <a:lnTo>
                  <a:pt x="4279137" y="490141"/>
                </a:lnTo>
                <a:lnTo>
                  <a:pt x="4282827" y="490683"/>
                </a:lnTo>
                <a:lnTo>
                  <a:pt x="4284563" y="494365"/>
                </a:lnTo>
                <a:lnTo>
                  <a:pt x="4282935" y="498262"/>
                </a:lnTo>
                <a:lnTo>
                  <a:pt x="4280114" y="500104"/>
                </a:lnTo>
                <a:lnTo>
                  <a:pt x="4279462" y="506166"/>
                </a:lnTo>
                <a:lnTo>
                  <a:pt x="4280114" y="508765"/>
                </a:lnTo>
                <a:lnTo>
                  <a:pt x="4277184" y="511362"/>
                </a:lnTo>
                <a:lnTo>
                  <a:pt x="4274036" y="511362"/>
                </a:lnTo>
                <a:lnTo>
                  <a:pt x="4267743" y="515152"/>
                </a:lnTo>
                <a:lnTo>
                  <a:pt x="4265898" y="516994"/>
                </a:lnTo>
                <a:lnTo>
                  <a:pt x="4263511" y="516018"/>
                </a:lnTo>
                <a:lnTo>
                  <a:pt x="4260472" y="516452"/>
                </a:lnTo>
                <a:lnTo>
                  <a:pt x="4262534" y="512770"/>
                </a:lnTo>
                <a:lnTo>
                  <a:pt x="4260364" y="511362"/>
                </a:lnTo>
                <a:lnTo>
                  <a:pt x="4260689" y="508765"/>
                </a:lnTo>
                <a:lnTo>
                  <a:pt x="4259170" y="506275"/>
                </a:lnTo>
                <a:lnTo>
                  <a:pt x="4257325" y="502161"/>
                </a:lnTo>
                <a:lnTo>
                  <a:pt x="4252442" y="502052"/>
                </a:lnTo>
                <a:lnTo>
                  <a:pt x="4248427" y="499995"/>
                </a:lnTo>
                <a:lnTo>
                  <a:pt x="4251682" y="497829"/>
                </a:lnTo>
                <a:lnTo>
                  <a:pt x="4254395" y="494473"/>
                </a:lnTo>
                <a:lnTo>
                  <a:pt x="4258085" y="495230"/>
                </a:lnTo>
                <a:lnTo>
                  <a:pt x="4260038" y="493606"/>
                </a:lnTo>
                <a:lnTo>
                  <a:pt x="4260581" y="490900"/>
                </a:lnTo>
                <a:lnTo>
                  <a:pt x="4263945" y="488626"/>
                </a:lnTo>
                <a:lnTo>
                  <a:pt x="4266007" y="489600"/>
                </a:lnTo>
                <a:lnTo>
                  <a:pt x="4266657" y="491983"/>
                </a:lnTo>
                <a:lnTo>
                  <a:pt x="4273495" y="488843"/>
                </a:lnTo>
                <a:close/>
                <a:moveTo>
                  <a:pt x="4096829" y="479098"/>
                </a:moveTo>
                <a:lnTo>
                  <a:pt x="4099107" y="479856"/>
                </a:lnTo>
                <a:lnTo>
                  <a:pt x="4103773" y="485378"/>
                </a:lnTo>
                <a:lnTo>
                  <a:pt x="4103773" y="489925"/>
                </a:lnTo>
                <a:lnTo>
                  <a:pt x="4103122" y="494690"/>
                </a:lnTo>
                <a:lnTo>
                  <a:pt x="4106704" y="500103"/>
                </a:lnTo>
                <a:lnTo>
                  <a:pt x="4109308" y="502485"/>
                </a:lnTo>
                <a:lnTo>
                  <a:pt x="4111044" y="502485"/>
                </a:lnTo>
                <a:lnTo>
                  <a:pt x="4111695" y="503892"/>
                </a:lnTo>
                <a:lnTo>
                  <a:pt x="4113540" y="503892"/>
                </a:lnTo>
                <a:lnTo>
                  <a:pt x="4115168" y="508656"/>
                </a:lnTo>
                <a:lnTo>
                  <a:pt x="4118966" y="514828"/>
                </a:lnTo>
                <a:lnTo>
                  <a:pt x="4120376" y="519266"/>
                </a:lnTo>
                <a:lnTo>
                  <a:pt x="4119725" y="522191"/>
                </a:lnTo>
                <a:lnTo>
                  <a:pt x="4117446" y="522839"/>
                </a:lnTo>
                <a:cubicBezTo>
                  <a:pt x="4117446" y="522839"/>
                  <a:pt x="4115602" y="521215"/>
                  <a:pt x="4115602" y="521215"/>
                </a:cubicBezTo>
                <a:lnTo>
                  <a:pt x="4113323" y="515369"/>
                </a:lnTo>
                <a:lnTo>
                  <a:pt x="4111695" y="514503"/>
                </a:lnTo>
                <a:lnTo>
                  <a:pt x="4110068" y="510064"/>
                </a:lnTo>
                <a:lnTo>
                  <a:pt x="4105727" y="506708"/>
                </a:lnTo>
                <a:lnTo>
                  <a:pt x="4102146" y="506708"/>
                </a:lnTo>
                <a:lnTo>
                  <a:pt x="4099759" y="503135"/>
                </a:lnTo>
                <a:lnTo>
                  <a:pt x="4099759" y="495338"/>
                </a:lnTo>
                <a:lnTo>
                  <a:pt x="4097697" y="490900"/>
                </a:lnTo>
                <a:lnTo>
                  <a:pt x="4094984" y="487436"/>
                </a:lnTo>
                <a:lnTo>
                  <a:pt x="4094984" y="481589"/>
                </a:lnTo>
                <a:close/>
                <a:moveTo>
                  <a:pt x="2272773" y="473576"/>
                </a:moveTo>
                <a:lnTo>
                  <a:pt x="2273749" y="475091"/>
                </a:lnTo>
                <a:lnTo>
                  <a:pt x="2272773" y="477473"/>
                </a:lnTo>
                <a:lnTo>
                  <a:pt x="2271362" y="478231"/>
                </a:lnTo>
                <a:lnTo>
                  <a:pt x="2270928" y="474658"/>
                </a:lnTo>
                <a:close/>
                <a:moveTo>
                  <a:pt x="4346634" y="472277"/>
                </a:moveTo>
                <a:lnTo>
                  <a:pt x="4348045" y="472710"/>
                </a:lnTo>
                <a:lnTo>
                  <a:pt x="4348913" y="478016"/>
                </a:lnTo>
                <a:lnTo>
                  <a:pt x="4352494" y="481264"/>
                </a:lnTo>
                <a:lnTo>
                  <a:pt x="4352386" y="483754"/>
                </a:lnTo>
                <a:lnTo>
                  <a:pt x="4349130" y="487651"/>
                </a:lnTo>
                <a:lnTo>
                  <a:pt x="4346743" y="487003"/>
                </a:lnTo>
                <a:lnTo>
                  <a:pt x="4346417" y="483320"/>
                </a:lnTo>
                <a:lnTo>
                  <a:pt x="4344030" y="479424"/>
                </a:lnTo>
                <a:lnTo>
                  <a:pt x="4344030" y="475418"/>
                </a:lnTo>
                <a:lnTo>
                  <a:pt x="4345332" y="474226"/>
                </a:lnTo>
                <a:close/>
                <a:moveTo>
                  <a:pt x="2318240" y="469353"/>
                </a:moveTo>
                <a:lnTo>
                  <a:pt x="2324534" y="472276"/>
                </a:lnTo>
                <a:lnTo>
                  <a:pt x="2325619" y="476174"/>
                </a:lnTo>
                <a:lnTo>
                  <a:pt x="2327681" y="478557"/>
                </a:lnTo>
                <a:lnTo>
                  <a:pt x="2327681" y="483321"/>
                </a:lnTo>
                <a:lnTo>
                  <a:pt x="2331371" y="486677"/>
                </a:lnTo>
                <a:lnTo>
                  <a:pt x="2332781" y="491333"/>
                </a:lnTo>
                <a:lnTo>
                  <a:pt x="2331045" y="493065"/>
                </a:lnTo>
                <a:lnTo>
                  <a:pt x="2330937" y="499020"/>
                </a:lnTo>
                <a:lnTo>
                  <a:pt x="2328441" y="507032"/>
                </a:lnTo>
                <a:lnTo>
                  <a:pt x="2326813" y="508764"/>
                </a:lnTo>
                <a:lnTo>
                  <a:pt x="2323340" y="515261"/>
                </a:lnTo>
                <a:lnTo>
                  <a:pt x="2324426" y="520241"/>
                </a:lnTo>
                <a:lnTo>
                  <a:pt x="2322038" y="526520"/>
                </a:lnTo>
                <a:lnTo>
                  <a:pt x="2318023" y="527820"/>
                </a:lnTo>
                <a:lnTo>
                  <a:pt x="2319217" y="531067"/>
                </a:lnTo>
                <a:lnTo>
                  <a:pt x="2317915" y="532583"/>
                </a:lnTo>
                <a:lnTo>
                  <a:pt x="2316504" y="531067"/>
                </a:lnTo>
                <a:lnTo>
                  <a:pt x="2312163" y="531176"/>
                </a:lnTo>
                <a:lnTo>
                  <a:pt x="2306412" y="527711"/>
                </a:lnTo>
                <a:lnTo>
                  <a:pt x="2301963" y="527820"/>
                </a:lnTo>
                <a:lnTo>
                  <a:pt x="2300878" y="523164"/>
                </a:lnTo>
                <a:lnTo>
                  <a:pt x="2296428" y="524030"/>
                </a:lnTo>
                <a:lnTo>
                  <a:pt x="2295560" y="521756"/>
                </a:lnTo>
                <a:lnTo>
                  <a:pt x="2295886" y="515585"/>
                </a:lnTo>
                <a:lnTo>
                  <a:pt x="2292956" y="514935"/>
                </a:lnTo>
                <a:lnTo>
                  <a:pt x="2291219" y="517534"/>
                </a:lnTo>
                <a:lnTo>
                  <a:pt x="2289701" y="517751"/>
                </a:lnTo>
                <a:lnTo>
                  <a:pt x="2289158" y="513528"/>
                </a:lnTo>
                <a:lnTo>
                  <a:pt x="2287638" y="512445"/>
                </a:lnTo>
                <a:lnTo>
                  <a:pt x="2285685" y="513419"/>
                </a:lnTo>
                <a:lnTo>
                  <a:pt x="2282321" y="511363"/>
                </a:lnTo>
                <a:lnTo>
                  <a:pt x="2281670" y="509197"/>
                </a:lnTo>
                <a:lnTo>
                  <a:pt x="2283406" y="504325"/>
                </a:lnTo>
                <a:lnTo>
                  <a:pt x="2282321" y="503675"/>
                </a:lnTo>
                <a:lnTo>
                  <a:pt x="2279283" y="507140"/>
                </a:lnTo>
                <a:lnTo>
                  <a:pt x="2278197" y="506815"/>
                </a:lnTo>
                <a:lnTo>
                  <a:pt x="2278523" y="503892"/>
                </a:lnTo>
                <a:lnTo>
                  <a:pt x="2279500" y="501510"/>
                </a:lnTo>
                <a:lnTo>
                  <a:pt x="2277438" y="501077"/>
                </a:lnTo>
                <a:lnTo>
                  <a:pt x="2276570" y="499778"/>
                </a:lnTo>
                <a:lnTo>
                  <a:pt x="2277980" y="498261"/>
                </a:lnTo>
                <a:lnTo>
                  <a:pt x="2279934" y="493714"/>
                </a:lnTo>
                <a:lnTo>
                  <a:pt x="2283623" y="490358"/>
                </a:lnTo>
                <a:lnTo>
                  <a:pt x="2289049" y="488951"/>
                </a:lnTo>
                <a:lnTo>
                  <a:pt x="2294041" y="490683"/>
                </a:lnTo>
                <a:lnTo>
                  <a:pt x="2294258" y="488951"/>
                </a:lnTo>
                <a:lnTo>
                  <a:pt x="2293173" y="488517"/>
                </a:lnTo>
                <a:lnTo>
                  <a:pt x="2291002" y="483862"/>
                </a:lnTo>
                <a:lnTo>
                  <a:pt x="2293064" y="482563"/>
                </a:lnTo>
                <a:lnTo>
                  <a:pt x="2299250" y="481804"/>
                </a:lnTo>
                <a:lnTo>
                  <a:pt x="2299792" y="479964"/>
                </a:lnTo>
                <a:lnTo>
                  <a:pt x="2298165" y="478015"/>
                </a:lnTo>
                <a:lnTo>
                  <a:pt x="2294041" y="477907"/>
                </a:lnTo>
                <a:lnTo>
                  <a:pt x="2295669" y="475308"/>
                </a:lnTo>
                <a:lnTo>
                  <a:pt x="2299358" y="475633"/>
                </a:lnTo>
                <a:lnTo>
                  <a:pt x="2303265" y="478665"/>
                </a:lnTo>
                <a:lnTo>
                  <a:pt x="2305110" y="478881"/>
                </a:lnTo>
                <a:lnTo>
                  <a:pt x="2304893" y="476391"/>
                </a:lnTo>
                <a:lnTo>
                  <a:pt x="2302180" y="472926"/>
                </a:lnTo>
                <a:lnTo>
                  <a:pt x="2303590" y="470653"/>
                </a:lnTo>
                <a:lnTo>
                  <a:pt x="2309451" y="470111"/>
                </a:lnTo>
                <a:lnTo>
                  <a:pt x="2313574" y="471303"/>
                </a:lnTo>
                <a:close/>
                <a:moveTo>
                  <a:pt x="2286988" y="464264"/>
                </a:moveTo>
                <a:lnTo>
                  <a:pt x="2289592" y="465889"/>
                </a:lnTo>
                <a:lnTo>
                  <a:pt x="2290894" y="467295"/>
                </a:lnTo>
                <a:lnTo>
                  <a:pt x="2289700" y="469461"/>
                </a:lnTo>
                <a:lnTo>
                  <a:pt x="2289918" y="472385"/>
                </a:lnTo>
                <a:lnTo>
                  <a:pt x="2286988" y="473142"/>
                </a:lnTo>
                <a:lnTo>
                  <a:pt x="2285685" y="475199"/>
                </a:lnTo>
                <a:lnTo>
                  <a:pt x="2283949" y="475849"/>
                </a:lnTo>
                <a:lnTo>
                  <a:pt x="2281128" y="474117"/>
                </a:lnTo>
                <a:lnTo>
                  <a:pt x="2280260" y="467837"/>
                </a:lnTo>
                <a:lnTo>
                  <a:pt x="2282105" y="466538"/>
                </a:lnTo>
                <a:lnTo>
                  <a:pt x="2284058" y="464806"/>
                </a:lnTo>
                <a:close/>
                <a:moveTo>
                  <a:pt x="2295126" y="462315"/>
                </a:moveTo>
                <a:lnTo>
                  <a:pt x="2297514" y="464590"/>
                </a:lnTo>
                <a:lnTo>
                  <a:pt x="2299250" y="467838"/>
                </a:lnTo>
                <a:lnTo>
                  <a:pt x="2295343" y="471085"/>
                </a:lnTo>
                <a:lnTo>
                  <a:pt x="2293281" y="471410"/>
                </a:lnTo>
                <a:lnTo>
                  <a:pt x="2294040" y="468379"/>
                </a:lnTo>
                <a:lnTo>
                  <a:pt x="2292630" y="466646"/>
                </a:lnTo>
                <a:lnTo>
                  <a:pt x="2293390" y="462748"/>
                </a:lnTo>
                <a:close/>
                <a:moveTo>
                  <a:pt x="6954397" y="461018"/>
                </a:moveTo>
                <a:lnTo>
                  <a:pt x="6958630" y="464482"/>
                </a:lnTo>
                <a:lnTo>
                  <a:pt x="6960366" y="470653"/>
                </a:lnTo>
                <a:lnTo>
                  <a:pt x="6959063" y="472711"/>
                </a:lnTo>
                <a:lnTo>
                  <a:pt x="6956677" y="468164"/>
                </a:lnTo>
                <a:lnTo>
                  <a:pt x="6952770" y="462966"/>
                </a:lnTo>
                <a:lnTo>
                  <a:pt x="6952444" y="461125"/>
                </a:lnTo>
                <a:close/>
                <a:moveTo>
                  <a:pt x="4378536" y="459610"/>
                </a:moveTo>
                <a:lnTo>
                  <a:pt x="4379838" y="462207"/>
                </a:lnTo>
                <a:lnTo>
                  <a:pt x="4386675" y="462966"/>
                </a:lnTo>
                <a:lnTo>
                  <a:pt x="4389713" y="462641"/>
                </a:lnTo>
                <a:lnTo>
                  <a:pt x="4388303" y="465889"/>
                </a:lnTo>
                <a:lnTo>
                  <a:pt x="4384179" y="468162"/>
                </a:lnTo>
                <a:lnTo>
                  <a:pt x="4378536" y="465132"/>
                </a:lnTo>
                <a:lnTo>
                  <a:pt x="4375390" y="465132"/>
                </a:lnTo>
                <a:lnTo>
                  <a:pt x="4373110" y="466757"/>
                </a:lnTo>
                <a:lnTo>
                  <a:pt x="4370615" y="466863"/>
                </a:lnTo>
                <a:lnTo>
                  <a:pt x="4366600" y="471844"/>
                </a:lnTo>
                <a:lnTo>
                  <a:pt x="4364864" y="471520"/>
                </a:lnTo>
                <a:lnTo>
                  <a:pt x="4368445" y="464697"/>
                </a:lnTo>
                <a:lnTo>
                  <a:pt x="4372894" y="461666"/>
                </a:lnTo>
                <a:lnTo>
                  <a:pt x="4375390" y="461666"/>
                </a:lnTo>
                <a:close/>
                <a:moveTo>
                  <a:pt x="6944848" y="457335"/>
                </a:moveTo>
                <a:lnTo>
                  <a:pt x="6947778" y="458852"/>
                </a:lnTo>
                <a:lnTo>
                  <a:pt x="6949080" y="463940"/>
                </a:lnTo>
                <a:lnTo>
                  <a:pt x="6947778" y="464590"/>
                </a:lnTo>
                <a:lnTo>
                  <a:pt x="6946367" y="467188"/>
                </a:lnTo>
                <a:lnTo>
                  <a:pt x="6943329" y="465023"/>
                </a:lnTo>
                <a:lnTo>
                  <a:pt x="6940724" y="460042"/>
                </a:lnTo>
                <a:lnTo>
                  <a:pt x="6944197" y="458635"/>
                </a:lnTo>
                <a:close/>
                <a:moveTo>
                  <a:pt x="2290677" y="456902"/>
                </a:moveTo>
                <a:lnTo>
                  <a:pt x="2288615" y="459825"/>
                </a:lnTo>
                <a:lnTo>
                  <a:pt x="2286770" y="460908"/>
                </a:lnTo>
                <a:lnTo>
                  <a:pt x="2285902" y="459068"/>
                </a:lnTo>
                <a:lnTo>
                  <a:pt x="2288724" y="457119"/>
                </a:lnTo>
                <a:close/>
                <a:moveTo>
                  <a:pt x="4241264" y="455603"/>
                </a:moveTo>
                <a:lnTo>
                  <a:pt x="4249620" y="457336"/>
                </a:lnTo>
                <a:lnTo>
                  <a:pt x="4252333" y="460583"/>
                </a:lnTo>
                <a:lnTo>
                  <a:pt x="4252333" y="464807"/>
                </a:lnTo>
                <a:lnTo>
                  <a:pt x="4248101" y="466104"/>
                </a:lnTo>
                <a:lnTo>
                  <a:pt x="4243868" y="465781"/>
                </a:lnTo>
                <a:lnTo>
                  <a:pt x="4241047" y="462425"/>
                </a:lnTo>
                <a:lnTo>
                  <a:pt x="4239745" y="457878"/>
                </a:lnTo>
                <a:lnTo>
                  <a:pt x="4239745" y="456470"/>
                </a:lnTo>
                <a:close/>
                <a:moveTo>
                  <a:pt x="6953747" y="454197"/>
                </a:moveTo>
                <a:lnTo>
                  <a:pt x="6956786" y="454304"/>
                </a:lnTo>
                <a:lnTo>
                  <a:pt x="6958957" y="458093"/>
                </a:lnTo>
                <a:lnTo>
                  <a:pt x="6959174" y="461667"/>
                </a:lnTo>
                <a:lnTo>
                  <a:pt x="6956895" y="460583"/>
                </a:lnTo>
                <a:lnTo>
                  <a:pt x="6953422" y="456470"/>
                </a:lnTo>
                <a:close/>
                <a:moveTo>
                  <a:pt x="2300444" y="449539"/>
                </a:moveTo>
                <a:lnTo>
                  <a:pt x="2301203" y="450731"/>
                </a:lnTo>
                <a:lnTo>
                  <a:pt x="2298816" y="452246"/>
                </a:lnTo>
                <a:lnTo>
                  <a:pt x="2297731" y="454411"/>
                </a:lnTo>
                <a:lnTo>
                  <a:pt x="2295343" y="454953"/>
                </a:lnTo>
                <a:lnTo>
                  <a:pt x="2293716" y="452896"/>
                </a:lnTo>
                <a:lnTo>
                  <a:pt x="2295778" y="450405"/>
                </a:lnTo>
                <a:close/>
                <a:moveTo>
                  <a:pt x="5890175" y="449108"/>
                </a:moveTo>
                <a:lnTo>
                  <a:pt x="5893865" y="449973"/>
                </a:lnTo>
                <a:lnTo>
                  <a:pt x="5893973" y="453006"/>
                </a:lnTo>
                <a:lnTo>
                  <a:pt x="5896252" y="457985"/>
                </a:lnTo>
                <a:lnTo>
                  <a:pt x="5899182" y="461125"/>
                </a:lnTo>
                <a:lnTo>
                  <a:pt x="5899291" y="469246"/>
                </a:lnTo>
                <a:lnTo>
                  <a:pt x="5901895" y="471953"/>
                </a:lnTo>
                <a:lnTo>
                  <a:pt x="5901895" y="474877"/>
                </a:lnTo>
                <a:lnTo>
                  <a:pt x="5899508" y="476934"/>
                </a:lnTo>
                <a:lnTo>
                  <a:pt x="5898640" y="480724"/>
                </a:lnTo>
                <a:lnTo>
                  <a:pt x="5895167" y="482672"/>
                </a:lnTo>
                <a:lnTo>
                  <a:pt x="5892454" y="481049"/>
                </a:lnTo>
                <a:lnTo>
                  <a:pt x="5887137" y="479856"/>
                </a:lnTo>
                <a:lnTo>
                  <a:pt x="5875200" y="477150"/>
                </a:lnTo>
                <a:lnTo>
                  <a:pt x="5868472" y="476718"/>
                </a:lnTo>
                <a:lnTo>
                  <a:pt x="5866302" y="474010"/>
                </a:lnTo>
                <a:lnTo>
                  <a:pt x="5867061" y="472604"/>
                </a:lnTo>
                <a:lnTo>
                  <a:pt x="5871620" y="473036"/>
                </a:lnTo>
                <a:lnTo>
                  <a:pt x="5873681" y="470546"/>
                </a:lnTo>
                <a:lnTo>
                  <a:pt x="5872596" y="466648"/>
                </a:lnTo>
                <a:lnTo>
                  <a:pt x="5868689" y="464266"/>
                </a:lnTo>
                <a:lnTo>
                  <a:pt x="5867278" y="459177"/>
                </a:lnTo>
                <a:lnTo>
                  <a:pt x="5868472" y="457011"/>
                </a:lnTo>
                <a:lnTo>
                  <a:pt x="5873030" y="456794"/>
                </a:lnTo>
                <a:lnTo>
                  <a:pt x="5881385" y="451707"/>
                </a:lnTo>
                <a:close/>
                <a:moveTo>
                  <a:pt x="2328766" y="448998"/>
                </a:moveTo>
                <a:lnTo>
                  <a:pt x="2335277" y="448998"/>
                </a:lnTo>
                <a:lnTo>
                  <a:pt x="2332347" y="459284"/>
                </a:lnTo>
                <a:lnTo>
                  <a:pt x="2329851" y="463723"/>
                </a:lnTo>
                <a:lnTo>
                  <a:pt x="2328332" y="465455"/>
                </a:lnTo>
                <a:lnTo>
                  <a:pt x="2327464" y="461666"/>
                </a:lnTo>
                <a:lnTo>
                  <a:pt x="2325728" y="460367"/>
                </a:lnTo>
                <a:lnTo>
                  <a:pt x="2325728" y="458093"/>
                </a:lnTo>
                <a:lnTo>
                  <a:pt x="2327573" y="456469"/>
                </a:lnTo>
                <a:lnTo>
                  <a:pt x="2327573" y="451164"/>
                </a:lnTo>
                <a:close/>
                <a:moveTo>
                  <a:pt x="6959064" y="448675"/>
                </a:moveTo>
                <a:lnTo>
                  <a:pt x="6961561" y="448891"/>
                </a:lnTo>
                <a:lnTo>
                  <a:pt x="6963080" y="452788"/>
                </a:lnTo>
                <a:lnTo>
                  <a:pt x="6962103" y="456578"/>
                </a:lnTo>
                <a:lnTo>
                  <a:pt x="6960366" y="456794"/>
                </a:lnTo>
                <a:lnTo>
                  <a:pt x="6958304" y="450623"/>
                </a:lnTo>
                <a:close/>
                <a:moveTo>
                  <a:pt x="3656359" y="447265"/>
                </a:moveTo>
                <a:lnTo>
                  <a:pt x="3658530" y="448781"/>
                </a:lnTo>
                <a:lnTo>
                  <a:pt x="3657227" y="452246"/>
                </a:lnTo>
                <a:lnTo>
                  <a:pt x="3657662" y="457226"/>
                </a:lnTo>
                <a:lnTo>
                  <a:pt x="3655709" y="463182"/>
                </a:lnTo>
                <a:lnTo>
                  <a:pt x="3651476" y="466321"/>
                </a:lnTo>
                <a:lnTo>
                  <a:pt x="3651259" y="464264"/>
                </a:lnTo>
                <a:lnTo>
                  <a:pt x="3648981" y="460150"/>
                </a:lnTo>
                <a:lnTo>
                  <a:pt x="3652127" y="453220"/>
                </a:lnTo>
                <a:lnTo>
                  <a:pt x="3653321" y="449323"/>
                </a:lnTo>
                <a:close/>
                <a:moveTo>
                  <a:pt x="2758059" y="444452"/>
                </a:moveTo>
                <a:lnTo>
                  <a:pt x="2764787" y="447049"/>
                </a:lnTo>
                <a:lnTo>
                  <a:pt x="2770539" y="452030"/>
                </a:lnTo>
                <a:lnTo>
                  <a:pt x="2765005" y="455170"/>
                </a:lnTo>
                <a:lnTo>
                  <a:pt x="2760881" y="452679"/>
                </a:lnTo>
                <a:lnTo>
                  <a:pt x="2755346" y="452572"/>
                </a:lnTo>
                <a:lnTo>
                  <a:pt x="2750680" y="447049"/>
                </a:lnTo>
                <a:lnTo>
                  <a:pt x="2752416" y="444993"/>
                </a:lnTo>
                <a:close/>
                <a:moveTo>
                  <a:pt x="2774445" y="444342"/>
                </a:moveTo>
                <a:lnTo>
                  <a:pt x="2777593" y="445316"/>
                </a:lnTo>
                <a:lnTo>
                  <a:pt x="2781824" y="444342"/>
                </a:lnTo>
                <a:lnTo>
                  <a:pt x="2785623" y="448890"/>
                </a:lnTo>
                <a:lnTo>
                  <a:pt x="2788444" y="448890"/>
                </a:lnTo>
                <a:lnTo>
                  <a:pt x="2790940" y="452896"/>
                </a:lnTo>
                <a:lnTo>
                  <a:pt x="2787251" y="452896"/>
                </a:lnTo>
                <a:lnTo>
                  <a:pt x="2783452" y="451164"/>
                </a:lnTo>
                <a:lnTo>
                  <a:pt x="2776725" y="450514"/>
                </a:lnTo>
                <a:lnTo>
                  <a:pt x="2773903" y="446400"/>
                </a:lnTo>
                <a:close/>
                <a:moveTo>
                  <a:pt x="2209832" y="440986"/>
                </a:moveTo>
                <a:lnTo>
                  <a:pt x="2211568" y="442827"/>
                </a:lnTo>
                <a:lnTo>
                  <a:pt x="2210483" y="445208"/>
                </a:lnTo>
                <a:lnTo>
                  <a:pt x="2208747" y="443152"/>
                </a:lnTo>
                <a:close/>
                <a:moveTo>
                  <a:pt x="2332131" y="436872"/>
                </a:moveTo>
                <a:lnTo>
                  <a:pt x="2335712" y="436872"/>
                </a:lnTo>
                <a:cubicBezTo>
                  <a:pt x="2335284" y="438307"/>
                  <a:pt x="2334777" y="439716"/>
                  <a:pt x="2334193" y="441095"/>
                </a:cubicBezTo>
                <a:lnTo>
                  <a:pt x="2331263" y="438929"/>
                </a:lnTo>
                <a:close/>
                <a:moveTo>
                  <a:pt x="2161218" y="434599"/>
                </a:moveTo>
                <a:lnTo>
                  <a:pt x="2161326" y="439146"/>
                </a:lnTo>
                <a:lnTo>
                  <a:pt x="2162194" y="441745"/>
                </a:lnTo>
                <a:lnTo>
                  <a:pt x="2162194" y="447916"/>
                </a:lnTo>
                <a:lnTo>
                  <a:pt x="2161000" y="452247"/>
                </a:lnTo>
                <a:lnTo>
                  <a:pt x="2156768" y="455929"/>
                </a:lnTo>
                <a:lnTo>
                  <a:pt x="2152536" y="455712"/>
                </a:lnTo>
                <a:lnTo>
                  <a:pt x="2150257" y="457119"/>
                </a:lnTo>
                <a:lnTo>
                  <a:pt x="2146567" y="457119"/>
                </a:lnTo>
                <a:lnTo>
                  <a:pt x="2145157" y="453655"/>
                </a:lnTo>
                <a:lnTo>
                  <a:pt x="2141901" y="451381"/>
                </a:lnTo>
                <a:lnTo>
                  <a:pt x="2140491" y="449323"/>
                </a:lnTo>
                <a:lnTo>
                  <a:pt x="2141684" y="447808"/>
                </a:lnTo>
                <a:lnTo>
                  <a:pt x="2146676" y="446184"/>
                </a:lnTo>
                <a:lnTo>
                  <a:pt x="2148412" y="442610"/>
                </a:lnTo>
                <a:lnTo>
                  <a:pt x="2148412" y="440445"/>
                </a:lnTo>
                <a:lnTo>
                  <a:pt x="2155466" y="436547"/>
                </a:lnTo>
                <a:lnTo>
                  <a:pt x="2156768" y="434814"/>
                </a:lnTo>
                <a:close/>
                <a:moveTo>
                  <a:pt x="6115672" y="432542"/>
                </a:moveTo>
                <a:lnTo>
                  <a:pt x="6116215" y="436440"/>
                </a:lnTo>
                <a:lnTo>
                  <a:pt x="6115347" y="441746"/>
                </a:lnTo>
                <a:lnTo>
                  <a:pt x="6113068" y="443154"/>
                </a:lnTo>
                <a:lnTo>
                  <a:pt x="6111115" y="441204"/>
                </a:lnTo>
                <a:lnTo>
                  <a:pt x="6108836" y="441097"/>
                </a:lnTo>
                <a:lnTo>
                  <a:pt x="6107859" y="436981"/>
                </a:lnTo>
                <a:lnTo>
                  <a:pt x="6109270" y="435466"/>
                </a:lnTo>
                <a:close/>
                <a:moveTo>
                  <a:pt x="5545526" y="426912"/>
                </a:moveTo>
                <a:lnTo>
                  <a:pt x="5546827" y="431025"/>
                </a:lnTo>
                <a:lnTo>
                  <a:pt x="5545959" y="433301"/>
                </a:lnTo>
                <a:lnTo>
                  <a:pt x="5547479" y="433735"/>
                </a:lnTo>
                <a:lnTo>
                  <a:pt x="5547479" y="435683"/>
                </a:lnTo>
                <a:lnTo>
                  <a:pt x="5545742" y="438714"/>
                </a:lnTo>
                <a:lnTo>
                  <a:pt x="5542053" y="439579"/>
                </a:lnTo>
                <a:lnTo>
                  <a:pt x="5537278" y="438931"/>
                </a:lnTo>
                <a:lnTo>
                  <a:pt x="5534240" y="440013"/>
                </a:lnTo>
                <a:lnTo>
                  <a:pt x="5529790" y="440121"/>
                </a:lnTo>
                <a:lnTo>
                  <a:pt x="5527403" y="437848"/>
                </a:lnTo>
                <a:lnTo>
                  <a:pt x="5523822" y="438605"/>
                </a:lnTo>
                <a:lnTo>
                  <a:pt x="5522303" y="436767"/>
                </a:lnTo>
                <a:lnTo>
                  <a:pt x="5524473" y="433518"/>
                </a:lnTo>
                <a:lnTo>
                  <a:pt x="5528054" y="434060"/>
                </a:lnTo>
                <a:lnTo>
                  <a:pt x="5530442" y="432760"/>
                </a:lnTo>
                <a:lnTo>
                  <a:pt x="5532503" y="429944"/>
                </a:lnTo>
                <a:lnTo>
                  <a:pt x="5534348" y="430052"/>
                </a:lnTo>
                <a:lnTo>
                  <a:pt x="5535976" y="432218"/>
                </a:lnTo>
                <a:lnTo>
                  <a:pt x="5538363" y="432868"/>
                </a:lnTo>
                <a:lnTo>
                  <a:pt x="5539991" y="431892"/>
                </a:lnTo>
                <a:lnTo>
                  <a:pt x="5539232" y="429509"/>
                </a:lnTo>
                <a:lnTo>
                  <a:pt x="5541727" y="427129"/>
                </a:lnTo>
                <a:close/>
                <a:moveTo>
                  <a:pt x="2437067" y="415434"/>
                </a:moveTo>
                <a:lnTo>
                  <a:pt x="2444121" y="418467"/>
                </a:lnTo>
                <a:lnTo>
                  <a:pt x="2444880" y="423988"/>
                </a:lnTo>
                <a:lnTo>
                  <a:pt x="2441625" y="433299"/>
                </a:lnTo>
                <a:lnTo>
                  <a:pt x="2440539" y="436005"/>
                </a:lnTo>
                <a:lnTo>
                  <a:pt x="2441950" y="437738"/>
                </a:lnTo>
                <a:lnTo>
                  <a:pt x="2442818" y="441419"/>
                </a:lnTo>
                <a:lnTo>
                  <a:pt x="2440322" y="441527"/>
                </a:lnTo>
                <a:lnTo>
                  <a:pt x="2434788" y="439578"/>
                </a:lnTo>
                <a:lnTo>
                  <a:pt x="2434245" y="434923"/>
                </a:lnTo>
                <a:lnTo>
                  <a:pt x="2434897" y="426153"/>
                </a:lnTo>
                <a:lnTo>
                  <a:pt x="2433269" y="423879"/>
                </a:lnTo>
                <a:lnTo>
                  <a:pt x="2433160" y="418574"/>
                </a:lnTo>
                <a:lnTo>
                  <a:pt x="2432292" y="417383"/>
                </a:lnTo>
                <a:close/>
                <a:moveTo>
                  <a:pt x="2213631" y="411861"/>
                </a:moveTo>
                <a:lnTo>
                  <a:pt x="2216453" y="411970"/>
                </a:lnTo>
                <a:lnTo>
                  <a:pt x="2217429" y="414568"/>
                </a:lnTo>
                <a:lnTo>
                  <a:pt x="2213740" y="417167"/>
                </a:lnTo>
                <a:lnTo>
                  <a:pt x="2210158" y="417708"/>
                </a:lnTo>
                <a:lnTo>
                  <a:pt x="2204732" y="418249"/>
                </a:lnTo>
                <a:lnTo>
                  <a:pt x="2203430" y="420523"/>
                </a:lnTo>
                <a:lnTo>
                  <a:pt x="2198221" y="423988"/>
                </a:lnTo>
                <a:lnTo>
                  <a:pt x="2193447" y="421389"/>
                </a:lnTo>
                <a:lnTo>
                  <a:pt x="2189323" y="421174"/>
                </a:lnTo>
                <a:lnTo>
                  <a:pt x="2187369" y="422580"/>
                </a:lnTo>
                <a:lnTo>
                  <a:pt x="2185742" y="421389"/>
                </a:lnTo>
                <a:lnTo>
                  <a:pt x="2186284" y="419333"/>
                </a:lnTo>
                <a:lnTo>
                  <a:pt x="2189648" y="418142"/>
                </a:lnTo>
                <a:lnTo>
                  <a:pt x="2193230" y="417925"/>
                </a:lnTo>
                <a:lnTo>
                  <a:pt x="2198547" y="414568"/>
                </a:lnTo>
                <a:lnTo>
                  <a:pt x="2208422" y="412511"/>
                </a:lnTo>
                <a:lnTo>
                  <a:pt x="2210810" y="413053"/>
                </a:lnTo>
                <a:close/>
                <a:moveTo>
                  <a:pt x="1820366" y="410887"/>
                </a:moveTo>
                <a:lnTo>
                  <a:pt x="1833388" y="414784"/>
                </a:lnTo>
                <a:lnTo>
                  <a:pt x="1832086" y="419873"/>
                </a:lnTo>
                <a:lnTo>
                  <a:pt x="1835124" y="422363"/>
                </a:lnTo>
                <a:lnTo>
                  <a:pt x="1838271" y="427776"/>
                </a:lnTo>
                <a:lnTo>
                  <a:pt x="1850643" y="434382"/>
                </a:lnTo>
                <a:lnTo>
                  <a:pt x="1851402" y="437845"/>
                </a:lnTo>
                <a:lnTo>
                  <a:pt x="1848255" y="441202"/>
                </a:lnTo>
                <a:lnTo>
                  <a:pt x="1852053" y="440553"/>
                </a:lnTo>
                <a:lnTo>
                  <a:pt x="1856177" y="438495"/>
                </a:lnTo>
                <a:lnTo>
                  <a:pt x="1861060" y="441202"/>
                </a:lnTo>
                <a:lnTo>
                  <a:pt x="1859324" y="447482"/>
                </a:lnTo>
                <a:lnTo>
                  <a:pt x="1852813" y="454303"/>
                </a:lnTo>
                <a:lnTo>
                  <a:pt x="1853138" y="456794"/>
                </a:lnTo>
                <a:lnTo>
                  <a:pt x="1862470" y="450839"/>
                </a:lnTo>
                <a:lnTo>
                  <a:pt x="1862470" y="445424"/>
                </a:lnTo>
                <a:lnTo>
                  <a:pt x="1865835" y="442285"/>
                </a:lnTo>
                <a:lnTo>
                  <a:pt x="1872454" y="442935"/>
                </a:lnTo>
                <a:lnTo>
                  <a:pt x="1878640" y="440878"/>
                </a:lnTo>
                <a:lnTo>
                  <a:pt x="1881352" y="441960"/>
                </a:lnTo>
                <a:lnTo>
                  <a:pt x="1882763" y="446399"/>
                </a:lnTo>
                <a:lnTo>
                  <a:pt x="1891770" y="455710"/>
                </a:lnTo>
                <a:lnTo>
                  <a:pt x="1892747" y="467404"/>
                </a:lnTo>
                <a:lnTo>
                  <a:pt x="1890685" y="471843"/>
                </a:lnTo>
                <a:lnTo>
                  <a:pt x="1894157" y="479854"/>
                </a:lnTo>
                <a:lnTo>
                  <a:pt x="1893832" y="486676"/>
                </a:lnTo>
                <a:lnTo>
                  <a:pt x="1892096" y="489057"/>
                </a:lnTo>
                <a:lnTo>
                  <a:pt x="1894483" y="492198"/>
                </a:lnTo>
                <a:lnTo>
                  <a:pt x="1894483" y="497070"/>
                </a:lnTo>
                <a:lnTo>
                  <a:pt x="1895568" y="501509"/>
                </a:lnTo>
                <a:lnTo>
                  <a:pt x="1891444" y="507031"/>
                </a:lnTo>
                <a:lnTo>
                  <a:pt x="1882438" y="509088"/>
                </a:lnTo>
                <a:lnTo>
                  <a:pt x="1878965" y="511470"/>
                </a:lnTo>
                <a:lnTo>
                  <a:pt x="1868873" y="512661"/>
                </a:lnTo>
                <a:lnTo>
                  <a:pt x="1861711" y="512012"/>
                </a:lnTo>
                <a:lnTo>
                  <a:pt x="1848580" y="517858"/>
                </a:lnTo>
                <a:lnTo>
                  <a:pt x="1840116" y="518615"/>
                </a:lnTo>
                <a:lnTo>
                  <a:pt x="1829807" y="523379"/>
                </a:lnTo>
                <a:lnTo>
                  <a:pt x="1825683" y="523487"/>
                </a:lnTo>
                <a:lnTo>
                  <a:pt x="1820475" y="526953"/>
                </a:lnTo>
                <a:lnTo>
                  <a:pt x="1812228" y="527277"/>
                </a:lnTo>
                <a:lnTo>
                  <a:pt x="1808972" y="529551"/>
                </a:lnTo>
                <a:lnTo>
                  <a:pt x="1806476" y="526953"/>
                </a:lnTo>
                <a:lnTo>
                  <a:pt x="1803655" y="528360"/>
                </a:lnTo>
                <a:lnTo>
                  <a:pt x="1795516" y="530093"/>
                </a:lnTo>
                <a:lnTo>
                  <a:pt x="1793237" y="536264"/>
                </a:lnTo>
                <a:lnTo>
                  <a:pt x="1788896" y="540920"/>
                </a:lnTo>
                <a:lnTo>
                  <a:pt x="1786183" y="541136"/>
                </a:lnTo>
                <a:lnTo>
                  <a:pt x="1784447" y="547740"/>
                </a:lnTo>
                <a:lnTo>
                  <a:pt x="1778262" y="549148"/>
                </a:lnTo>
                <a:lnTo>
                  <a:pt x="1772945" y="554020"/>
                </a:lnTo>
                <a:lnTo>
                  <a:pt x="1766433" y="553479"/>
                </a:lnTo>
                <a:lnTo>
                  <a:pt x="1762310" y="547308"/>
                </a:lnTo>
                <a:lnTo>
                  <a:pt x="1759706" y="553262"/>
                </a:lnTo>
                <a:lnTo>
                  <a:pt x="1758946" y="558134"/>
                </a:lnTo>
                <a:lnTo>
                  <a:pt x="1753520" y="560191"/>
                </a:lnTo>
                <a:lnTo>
                  <a:pt x="1747443" y="566363"/>
                </a:lnTo>
                <a:lnTo>
                  <a:pt x="1746249" y="569936"/>
                </a:lnTo>
                <a:lnTo>
                  <a:pt x="1740715" y="575999"/>
                </a:lnTo>
                <a:lnTo>
                  <a:pt x="1741583" y="579248"/>
                </a:lnTo>
                <a:lnTo>
                  <a:pt x="1734638" y="585743"/>
                </a:lnTo>
                <a:lnTo>
                  <a:pt x="1730406" y="590724"/>
                </a:lnTo>
                <a:lnTo>
                  <a:pt x="1723352" y="590291"/>
                </a:lnTo>
                <a:lnTo>
                  <a:pt x="1717167" y="593323"/>
                </a:lnTo>
                <a:lnTo>
                  <a:pt x="1713151" y="593539"/>
                </a:lnTo>
                <a:lnTo>
                  <a:pt x="1710438" y="589209"/>
                </a:lnTo>
                <a:lnTo>
                  <a:pt x="1714020" y="586285"/>
                </a:lnTo>
                <a:lnTo>
                  <a:pt x="1713694" y="580438"/>
                </a:lnTo>
                <a:lnTo>
                  <a:pt x="1711090" y="577731"/>
                </a:lnTo>
                <a:lnTo>
                  <a:pt x="1707075" y="581305"/>
                </a:lnTo>
                <a:lnTo>
                  <a:pt x="1707292" y="583578"/>
                </a:lnTo>
                <a:lnTo>
                  <a:pt x="1704362" y="584878"/>
                </a:lnTo>
                <a:lnTo>
                  <a:pt x="1697308" y="591266"/>
                </a:lnTo>
                <a:lnTo>
                  <a:pt x="1691232" y="592781"/>
                </a:lnTo>
                <a:lnTo>
                  <a:pt x="1686999" y="592023"/>
                </a:lnTo>
                <a:lnTo>
                  <a:pt x="1682007" y="593431"/>
                </a:lnTo>
                <a:lnTo>
                  <a:pt x="1678209" y="597003"/>
                </a:lnTo>
                <a:lnTo>
                  <a:pt x="1675930" y="595921"/>
                </a:lnTo>
                <a:lnTo>
                  <a:pt x="1672132" y="596029"/>
                </a:lnTo>
                <a:lnTo>
                  <a:pt x="1672567" y="593756"/>
                </a:lnTo>
                <a:lnTo>
                  <a:pt x="1672567" y="584878"/>
                </a:lnTo>
                <a:lnTo>
                  <a:pt x="1676798" y="577190"/>
                </a:lnTo>
                <a:lnTo>
                  <a:pt x="1674736" y="571344"/>
                </a:lnTo>
                <a:lnTo>
                  <a:pt x="1676473" y="564847"/>
                </a:lnTo>
                <a:lnTo>
                  <a:pt x="1677124" y="559326"/>
                </a:lnTo>
                <a:lnTo>
                  <a:pt x="1673977" y="556620"/>
                </a:lnTo>
                <a:lnTo>
                  <a:pt x="1670179" y="543843"/>
                </a:lnTo>
                <a:lnTo>
                  <a:pt x="1675713" y="545575"/>
                </a:lnTo>
                <a:lnTo>
                  <a:pt x="1675713" y="541461"/>
                </a:lnTo>
                <a:lnTo>
                  <a:pt x="1667466" y="541461"/>
                </a:lnTo>
                <a:lnTo>
                  <a:pt x="1659544" y="538646"/>
                </a:lnTo>
                <a:lnTo>
                  <a:pt x="1659219" y="534532"/>
                </a:lnTo>
                <a:lnTo>
                  <a:pt x="1663017" y="535939"/>
                </a:lnTo>
                <a:lnTo>
                  <a:pt x="1667792" y="532150"/>
                </a:lnTo>
                <a:lnTo>
                  <a:pt x="1673977" y="529010"/>
                </a:lnTo>
                <a:lnTo>
                  <a:pt x="1674736" y="525220"/>
                </a:lnTo>
                <a:lnTo>
                  <a:pt x="1677450" y="525220"/>
                </a:lnTo>
                <a:lnTo>
                  <a:pt x="1681247" y="520781"/>
                </a:lnTo>
                <a:lnTo>
                  <a:pt x="1685372" y="520132"/>
                </a:lnTo>
                <a:lnTo>
                  <a:pt x="1687759" y="513202"/>
                </a:lnTo>
                <a:lnTo>
                  <a:pt x="1696766" y="511144"/>
                </a:lnTo>
                <a:lnTo>
                  <a:pt x="1697525" y="509088"/>
                </a:lnTo>
                <a:lnTo>
                  <a:pt x="1700564" y="507681"/>
                </a:lnTo>
                <a:lnTo>
                  <a:pt x="1704687" y="501509"/>
                </a:lnTo>
                <a:lnTo>
                  <a:pt x="1705447" y="493605"/>
                </a:lnTo>
                <a:lnTo>
                  <a:pt x="1706749" y="496312"/>
                </a:lnTo>
                <a:lnTo>
                  <a:pt x="1719879" y="498044"/>
                </a:lnTo>
                <a:lnTo>
                  <a:pt x="1720206" y="491548"/>
                </a:lnTo>
                <a:lnTo>
                  <a:pt x="1717493" y="484618"/>
                </a:lnTo>
                <a:lnTo>
                  <a:pt x="1717818" y="481154"/>
                </a:lnTo>
                <a:lnTo>
                  <a:pt x="1722701" y="479422"/>
                </a:lnTo>
                <a:lnTo>
                  <a:pt x="1733336" y="471518"/>
                </a:lnTo>
                <a:lnTo>
                  <a:pt x="1737894" y="465022"/>
                </a:lnTo>
                <a:lnTo>
                  <a:pt x="1747551" y="461557"/>
                </a:lnTo>
                <a:lnTo>
                  <a:pt x="1749613" y="457118"/>
                </a:lnTo>
                <a:lnTo>
                  <a:pt x="1755799" y="450839"/>
                </a:lnTo>
                <a:lnTo>
                  <a:pt x="1761333" y="450839"/>
                </a:lnTo>
                <a:lnTo>
                  <a:pt x="1764372" y="447157"/>
                </a:lnTo>
                <a:lnTo>
                  <a:pt x="1761007" y="442610"/>
                </a:lnTo>
                <a:lnTo>
                  <a:pt x="1762310" y="432974"/>
                </a:lnTo>
                <a:lnTo>
                  <a:pt x="1762310" y="426478"/>
                </a:lnTo>
                <a:lnTo>
                  <a:pt x="1764805" y="421930"/>
                </a:lnTo>
                <a:lnTo>
                  <a:pt x="1762744" y="419548"/>
                </a:lnTo>
                <a:lnTo>
                  <a:pt x="1764372" y="415759"/>
                </a:lnTo>
                <a:lnTo>
                  <a:pt x="1771642" y="413702"/>
                </a:lnTo>
                <a:lnTo>
                  <a:pt x="1775440" y="414784"/>
                </a:lnTo>
                <a:lnTo>
                  <a:pt x="1789981" y="413702"/>
                </a:lnTo>
                <a:lnTo>
                  <a:pt x="1793346" y="415434"/>
                </a:lnTo>
                <a:lnTo>
                  <a:pt x="1809298" y="415434"/>
                </a:lnTo>
                <a:close/>
                <a:moveTo>
                  <a:pt x="5499407" y="407425"/>
                </a:moveTo>
                <a:lnTo>
                  <a:pt x="5502553" y="409697"/>
                </a:lnTo>
                <a:lnTo>
                  <a:pt x="5502988" y="412188"/>
                </a:lnTo>
                <a:lnTo>
                  <a:pt x="5497995" y="414029"/>
                </a:lnTo>
                <a:lnTo>
                  <a:pt x="5493546" y="414462"/>
                </a:lnTo>
                <a:lnTo>
                  <a:pt x="5492244" y="412405"/>
                </a:lnTo>
                <a:lnTo>
                  <a:pt x="5497345" y="410564"/>
                </a:lnTo>
                <a:close/>
                <a:moveTo>
                  <a:pt x="2190843" y="403524"/>
                </a:moveTo>
                <a:lnTo>
                  <a:pt x="2196702" y="403957"/>
                </a:lnTo>
                <a:lnTo>
                  <a:pt x="2198330" y="405906"/>
                </a:lnTo>
                <a:lnTo>
                  <a:pt x="2202888" y="404716"/>
                </a:lnTo>
                <a:lnTo>
                  <a:pt x="2213522" y="403524"/>
                </a:lnTo>
                <a:lnTo>
                  <a:pt x="2216886" y="404390"/>
                </a:lnTo>
                <a:lnTo>
                  <a:pt x="2216778" y="407531"/>
                </a:lnTo>
                <a:lnTo>
                  <a:pt x="2212437" y="408180"/>
                </a:lnTo>
                <a:lnTo>
                  <a:pt x="2209181" y="409696"/>
                </a:lnTo>
                <a:lnTo>
                  <a:pt x="2207445" y="408288"/>
                </a:lnTo>
                <a:lnTo>
                  <a:pt x="2203213" y="408288"/>
                </a:lnTo>
                <a:lnTo>
                  <a:pt x="2198981" y="410345"/>
                </a:lnTo>
                <a:lnTo>
                  <a:pt x="2188021" y="407206"/>
                </a:lnTo>
                <a:lnTo>
                  <a:pt x="2187153" y="404932"/>
                </a:lnTo>
                <a:close/>
                <a:moveTo>
                  <a:pt x="5520025" y="402010"/>
                </a:moveTo>
                <a:lnTo>
                  <a:pt x="5522846" y="402010"/>
                </a:lnTo>
                <a:lnTo>
                  <a:pt x="5522521" y="407316"/>
                </a:lnTo>
                <a:lnTo>
                  <a:pt x="5524258" y="408723"/>
                </a:lnTo>
                <a:lnTo>
                  <a:pt x="5523823" y="412405"/>
                </a:lnTo>
                <a:lnTo>
                  <a:pt x="5521761" y="414786"/>
                </a:lnTo>
                <a:lnTo>
                  <a:pt x="5520568" y="410348"/>
                </a:lnTo>
                <a:lnTo>
                  <a:pt x="5518832" y="408940"/>
                </a:lnTo>
                <a:lnTo>
                  <a:pt x="5515901" y="411647"/>
                </a:lnTo>
                <a:lnTo>
                  <a:pt x="5513297" y="412620"/>
                </a:lnTo>
                <a:lnTo>
                  <a:pt x="5512537" y="410889"/>
                </a:lnTo>
                <a:lnTo>
                  <a:pt x="5516444" y="407857"/>
                </a:lnTo>
                <a:lnTo>
                  <a:pt x="5517746" y="404176"/>
                </a:lnTo>
                <a:close/>
                <a:moveTo>
                  <a:pt x="2681446" y="397678"/>
                </a:moveTo>
                <a:lnTo>
                  <a:pt x="2683833" y="401684"/>
                </a:lnTo>
                <a:lnTo>
                  <a:pt x="2679493" y="401900"/>
                </a:lnTo>
                <a:lnTo>
                  <a:pt x="2677648" y="398870"/>
                </a:lnTo>
                <a:close/>
                <a:moveTo>
                  <a:pt x="4175502" y="395513"/>
                </a:moveTo>
                <a:lnTo>
                  <a:pt x="4177238" y="396271"/>
                </a:lnTo>
                <a:lnTo>
                  <a:pt x="4181688" y="402334"/>
                </a:lnTo>
                <a:lnTo>
                  <a:pt x="4182664" y="407855"/>
                </a:lnTo>
                <a:lnTo>
                  <a:pt x="4184943" y="409480"/>
                </a:lnTo>
                <a:lnTo>
                  <a:pt x="4187005" y="405799"/>
                </a:lnTo>
                <a:lnTo>
                  <a:pt x="4190369" y="403634"/>
                </a:lnTo>
                <a:lnTo>
                  <a:pt x="4194058" y="406232"/>
                </a:lnTo>
                <a:lnTo>
                  <a:pt x="4198725" y="412945"/>
                </a:lnTo>
                <a:lnTo>
                  <a:pt x="4200678" y="418250"/>
                </a:lnTo>
                <a:lnTo>
                  <a:pt x="4200895" y="423556"/>
                </a:lnTo>
                <a:lnTo>
                  <a:pt x="4199050" y="426045"/>
                </a:lnTo>
                <a:lnTo>
                  <a:pt x="4198833" y="436223"/>
                </a:lnTo>
                <a:lnTo>
                  <a:pt x="4198942" y="442179"/>
                </a:lnTo>
                <a:lnTo>
                  <a:pt x="4198616" y="444560"/>
                </a:lnTo>
                <a:lnTo>
                  <a:pt x="4200244" y="445426"/>
                </a:lnTo>
                <a:lnTo>
                  <a:pt x="4203283" y="442611"/>
                </a:lnTo>
                <a:lnTo>
                  <a:pt x="4203174" y="436764"/>
                </a:lnTo>
                <a:lnTo>
                  <a:pt x="4202306" y="427996"/>
                </a:lnTo>
                <a:lnTo>
                  <a:pt x="4203499" y="423664"/>
                </a:lnTo>
                <a:lnTo>
                  <a:pt x="4206647" y="421281"/>
                </a:lnTo>
                <a:lnTo>
                  <a:pt x="4212615" y="426370"/>
                </a:lnTo>
                <a:lnTo>
                  <a:pt x="4216196" y="435248"/>
                </a:lnTo>
                <a:lnTo>
                  <a:pt x="4219235" y="446076"/>
                </a:lnTo>
                <a:lnTo>
                  <a:pt x="4219343" y="449215"/>
                </a:lnTo>
                <a:lnTo>
                  <a:pt x="4222164" y="452356"/>
                </a:lnTo>
                <a:lnTo>
                  <a:pt x="4227047" y="452680"/>
                </a:lnTo>
                <a:lnTo>
                  <a:pt x="4229435" y="453872"/>
                </a:lnTo>
                <a:lnTo>
                  <a:pt x="4235078" y="460583"/>
                </a:lnTo>
                <a:lnTo>
                  <a:pt x="4237900" y="462966"/>
                </a:lnTo>
                <a:lnTo>
                  <a:pt x="4244085" y="469462"/>
                </a:lnTo>
                <a:lnTo>
                  <a:pt x="4249185" y="472277"/>
                </a:lnTo>
                <a:lnTo>
                  <a:pt x="4259494" y="474876"/>
                </a:lnTo>
                <a:lnTo>
                  <a:pt x="4262858" y="475850"/>
                </a:lnTo>
                <a:lnTo>
                  <a:pt x="4263075" y="481264"/>
                </a:lnTo>
                <a:lnTo>
                  <a:pt x="4261556" y="483862"/>
                </a:lnTo>
                <a:lnTo>
                  <a:pt x="4260796" y="487003"/>
                </a:lnTo>
                <a:lnTo>
                  <a:pt x="4258843" y="487544"/>
                </a:lnTo>
                <a:lnTo>
                  <a:pt x="4256238" y="483104"/>
                </a:lnTo>
                <a:lnTo>
                  <a:pt x="4251464" y="485270"/>
                </a:lnTo>
                <a:lnTo>
                  <a:pt x="4248100" y="484729"/>
                </a:lnTo>
                <a:lnTo>
                  <a:pt x="4241589" y="489925"/>
                </a:lnTo>
                <a:lnTo>
                  <a:pt x="4237032" y="490250"/>
                </a:lnTo>
                <a:lnTo>
                  <a:pt x="4236272" y="491983"/>
                </a:lnTo>
                <a:lnTo>
                  <a:pt x="4237791" y="494582"/>
                </a:lnTo>
                <a:lnTo>
                  <a:pt x="4237574" y="497287"/>
                </a:lnTo>
                <a:lnTo>
                  <a:pt x="4232365" y="501727"/>
                </a:lnTo>
                <a:lnTo>
                  <a:pt x="4231497" y="504217"/>
                </a:lnTo>
                <a:lnTo>
                  <a:pt x="4232799" y="509955"/>
                </a:lnTo>
                <a:lnTo>
                  <a:pt x="4233016" y="518619"/>
                </a:lnTo>
                <a:lnTo>
                  <a:pt x="4232040" y="522406"/>
                </a:lnTo>
                <a:lnTo>
                  <a:pt x="4232473" y="527820"/>
                </a:lnTo>
                <a:lnTo>
                  <a:pt x="4233559" y="529661"/>
                </a:lnTo>
                <a:lnTo>
                  <a:pt x="4231388" y="533125"/>
                </a:lnTo>
                <a:lnTo>
                  <a:pt x="4227047" y="531285"/>
                </a:lnTo>
                <a:lnTo>
                  <a:pt x="4225202" y="532584"/>
                </a:lnTo>
                <a:lnTo>
                  <a:pt x="4224769" y="537673"/>
                </a:lnTo>
                <a:lnTo>
                  <a:pt x="4228133" y="543520"/>
                </a:lnTo>
                <a:lnTo>
                  <a:pt x="4228133" y="548608"/>
                </a:lnTo>
                <a:lnTo>
                  <a:pt x="4226722" y="553805"/>
                </a:lnTo>
                <a:lnTo>
                  <a:pt x="4226831" y="560085"/>
                </a:lnTo>
                <a:lnTo>
                  <a:pt x="4226397" y="564740"/>
                </a:lnTo>
                <a:lnTo>
                  <a:pt x="4224552" y="564849"/>
                </a:lnTo>
                <a:lnTo>
                  <a:pt x="4219560" y="564307"/>
                </a:lnTo>
                <a:lnTo>
                  <a:pt x="4215654" y="567664"/>
                </a:lnTo>
                <a:lnTo>
                  <a:pt x="4219994" y="569830"/>
                </a:lnTo>
                <a:lnTo>
                  <a:pt x="4219235" y="571670"/>
                </a:lnTo>
                <a:lnTo>
                  <a:pt x="4216196" y="574701"/>
                </a:lnTo>
                <a:lnTo>
                  <a:pt x="4216196" y="578167"/>
                </a:lnTo>
                <a:lnTo>
                  <a:pt x="4215545" y="582173"/>
                </a:lnTo>
                <a:lnTo>
                  <a:pt x="4215111" y="597006"/>
                </a:lnTo>
                <a:lnTo>
                  <a:pt x="4213266" y="600903"/>
                </a:lnTo>
                <a:lnTo>
                  <a:pt x="4211095" y="603826"/>
                </a:lnTo>
                <a:lnTo>
                  <a:pt x="4211747" y="609240"/>
                </a:lnTo>
                <a:lnTo>
                  <a:pt x="4213808" y="615303"/>
                </a:lnTo>
                <a:lnTo>
                  <a:pt x="4213808" y="618335"/>
                </a:lnTo>
                <a:lnTo>
                  <a:pt x="4212615" y="619526"/>
                </a:lnTo>
                <a:lnTo>
                  <a:pt x="4211964" y="624614"/>
                </a:lnTo>
                <a:lnTo>
                  <a:pt x="4209034" y="628837"/>
                </a:lnTo>
                <a:lnTo>
                  <a:pt x="4205344" y="629487"/>
                </a:lnTo>
                <a:lnTo>
                  <a:pt x="4202740" y="626671"/>
                </a:lnTo>
                <a:lnTo>
                  <a:pt x="4200895" y="627322"/>
                </a:lnTo>
                <a:lnTo>
                  <a:pt x="4199593" y="629487"/>
                </a:lnTo>
                <a:lnTo>
                  <a:pt x="4197965" y="629811"/>
                </a:lnTo>
                <a:lnTo>
                  <a:pt x="4197206" y="626346"/>
                </a:lnTo>
                <a:lnTo>
                  <a:pt x="4197640" y="620175"/>
                </a:lnTo>
                <a:lnTo>
                  <a:pt x="4196012" y="617793"/>
                </a:lnTo>
                <a:lnTo>
                  <a:pt x="4193625" y="616602"/>
                </a:lnTo>
                <a:lnTo>
                  <a:pt x="4186245" y="609348"/>
                </a:lnTo>
                <a:lnTo>
                  <a:pt x="4186245" y="606966"/>
                </a:lnTo>
                <a:lnTo>
                  <a:pt x="4190369" y="603611"/>
                </a:lnTo>
                <a:lnTo>
                  <a:pt x="4192431" y="603502"/>
                </a:lnTo>
                <a:lnTo>
                  <a:pt x="4194167" y="601553"/>
                </a:lnTo>
                <a:lnTo>
                  <a:pt x="4194602" y="598630"/>
                </a:lnTo>
                <a:lnTo>
                  <a:pt x="4193082" y="597655"/>
                </a:lnTo>
                <a:lnTo>
                  <a:pt x="4190477" y="597980"/>
                </a:lnTo>
                <a:lnTo>
                  <a:pt x="4188959" y="596032"/>
                </a:lnTo>
                <a:lnTo>
                  <a:pt x="4187114" y="596032"/>
                </a:lnTo>
                <a:lnTo>
                  <a:pt x="4185377" y="599495"/>
                </a:lnTo>
                <a:lnTo>
                  <a:pt x="4180386" y="601228"/>
                </a:lnTo>
                <a:lnTo>
                  <a:pt x="4175177" y="597114"/>
                </a:lnTo>
                <a:lnTo>
                  <a:pt x="4175068" y="593649"/>
                </a:lnTo>
                <a:lnTo>
                  <a:pt x="4173332" y="592999"/>
                </a:lnTo>
                <a:lnTo>
                  <a:pt x="4170727" y="589860"/>
                </a:lnTo>
                <a:lnTo>
                  <a:pt x="4167798" y="589101"/>
                </a:lnTo>
                <a:lnTo>
                  <a:pt x="4166604" y="589209"/>
                </a:lnTo>
                <a:lnTo>
                  <a:pt x="4164325" y="586612"/>
                </a:lnTo>
                <a:lnTo>
                  <a:pt x="4164108" y="584338"/>
                </a:lnTo>
                <a:lnTo>
                  <a:pt x="4161395" y="581631"/>
                </a:lnTo>
                <a:lnTo>
                  <a:pt x="4159768" y="581848"/>
                </a:lnTo>
                <a:lnTo>
                  <a:pt x="4159008" y="580441"/>
                </a:lnTo>
                <a:lnTo>
                  <a:pt x="4158682" y="577408"/>
                </a:lnTo>
                <a:lnTo>
                  <a:pt x="4155319" y="575351"/>
                </a:lnTo>
                <a:lnTo>
                  <a:pt x="4154775" y="573619"/>
                </a:lnTo>
                <a:lnTo>
                  <a:pt x="4154884" y="571670"/>
                </a:lnTo>
                <a:lnTo>
                  <a:pt x="4153907" y="571128"/>
                </a:lnTo>
                <a:lnTo>
                  <a:pt x="4154993" y="568206"/>
                </a:lnTo>
                <a:lnTo>
                  <a:pt x="4154884" y="565823"/>
                </a:lnTo>
                <a:lnTo>
                  <a:pt x="4152388" y="563008"/>
                </a:lnTo>
                <a:lnTo>
                  <a:pt x="4152497" y="561601"/>
                </a:lnTo>
                <a:lnTo>
                  <a:pt x="4158140" y="557812"/>
                </a:lnTo>
                <a:lnTo>
                  <a:pt x="4160527" y="558028"/>
                </a:lnTo>
                <a:lnTo>
                  <a:pt x="4163131" y="561817"/>
                </a:lnTo>
                <a:lnTo>
                  <a:pt x="4165085" y="563550"/>
                </a:lnTo>
                <a:lnTo>
                  <a:pt x="4166279" y="563550"/>
                </a:lnTo>
                <a:lnTo>
                  <a:pt x="4167580" y="561492"/>
                </a:lnTo>
                <a:lnTo>
                  <a:pt x="4171704" y="562575"/>
                </a:lnTo>
                <a:lnTo>
                  <a:pt x="4173875" y="563767"/>
                </a:lnTo>
                <a:lnTo>
                  <a:pt x="4177456" y="563116"/>
                </a:lnTo>
                <a:lnTo>
                  <a:pt x="4185594" y="562575"/>
                </a:lnTo>
                <a:lnTo>
                  <a:pt x="4185920" y="560301"/>
                </a:lnTo>
                <a:lnTo>
                  <a:pt x="4181471" y="557162"/>
                </a:lnTo>
                <a:lnTo>
                  <a:pt x="4177673" y="557487"/>
                </a:lnTo>
                <a:lnTo>
                  <a:pt x="4171379" y="556404"/>
                </a:lnTo>
                <a:lnTo>
                  <a:pt x="4167038" y="554563"/>
                </a:lnTo>
                <a:lnTo>
                  <a:pt x="4167038" y="553047"/>
                </a:lnTo>
                <a:lnTo>
                  <a:pt x="4170836" y="552073"/>
                </a:lnTo>
                <a:lnTo>
                  <a:pt x="4174200" y="551966"/>
                </a:lnTo>
                <a:lnTo>
                  <a:pt x="4181796" y="548608"/>
                </a:lnTo>
                <a:lnTo>
                  <a:pt x="4185703" y="546119"/>
                </a:lnTo>
                <a:lnTo>
                  <a:pt x="4191889" y="546551"/>
                </a:lnTo>
                <a:lnTo>
                  <a:pt x="4194927" y="545035"/>
                </a:lnTo>
                <a:lnTo>
                  <a:pt x="4196771" y="544927"/>
                </a:lnTo>
                <a:lnTo>
                  <a:pt x="4197748" y="545793"/>
                </a:lnTo>
                <a:lnTo>
                  <a:pt x="4198291" y="542545"/>
                </a:lnTo>
                <a:lnTo>
                  <a:pt x="4200678" y="540704"/>
                </a:lnTo>
                <a:lnTo>
                  <a:pt x="4200786" y="538323"/>
                </a:lnTo>
                <a:lnTo>
                  <a:pt x="4198725" y="537565"/>
                </a:lnTo>
                <a:lnTo>
                  <a:pt x="4195252" y="539947"/>
                </a:lnTo>
                <a:lnTo>
                  <a:pt x="4192865" y="542220"/>
                </a:lnTo>
                <a:lnTo>
                  <a:pt x="4183532" y="542220"/>
                </a:lnTo>
                <a:lnTo>
                  <a:pt x="4181037" y="542436"/>
                </a:lnTo>
                <a:lnTo>
                  <a:pt x="4180060" y="541030"/>
                </a:lnTo>
                <a:lnTo>
                  <a:pt x="4176153" y="541030"/>
                </a:lnTo>
                <a:lnTo>
                  <a:pt x="4174525" y="542327"/>
                </a:lnTo>
                <a:lnTo>
                  <a:pt x="4173224" y="542653"/>
                </a:lnTo>
                <a:lnTo>
                  <a:pt x="4169859" y="546984"/>
                </a:lnTo>
                <a:lnTo>
                  <a:pt x="4166061" y="547634"/>
                </a:lnTo>
                <a:lnTo>
                  <a:pt x="4163240" y="547201"/>
                </a:lnTo>
                <a:lnTo>
                  <a:pt x="4161070" y="548608"/>
                </a:lnTo>
                <a:lnTo>
                  <a:pt x="4156187" y="549149"/>
                </a:lnTo>
                <a:lnTo>
                  <a:pt x="4152714" y="551099"/>
                </a:lnTo>
                <a:lnTo>
                  <a:pt x="4149350" y="551207"/>
                </a:lnTo>
                <a:lnTo>
                  <a:pt x="4147939" y="550016"/>
                </a:lnTo>
                <a:lnTo>
                  <a:pt x="4147614" y="543737"/>
                </a:lnTo>
                <a:lnTo>
                  <a:pt x="4146202" y="536807"/>
                </a:lnTo>
                <a:lnTo>
                  <a:pt x="4146854" y="534749"/>
                </a:lnTo>
                <a:lnTo>
                  <a:pt x="4147071" y="532584"/>
                </a:lnTo>
                <a:lnTo>
                  <a:pt x="4149784" y="531068"/>
                </a:lnTo>
                <a:lnTo>
                  <a:pt x="4152931" y="529553"/>
                </a:lnTo>
                <a:lnTo>
                  <a:pt x="4154450" y="531177"/>
                </a:lnTo>
                <a:lnTo>
                  <a:pt x="4155427" y="534209"/>
                </a:lnTo>
                <a:lnTo>
                  <a:pt x="4157055" y="533884"/>
                </a:lnTo>
                <a:lnTo>
                  <a:pt x="4158140" y="529986"/>
                </a:lnTo>
                <a:lnTo>
                  <a:pt x="4162154" y="527604"/>
                </a:lnTo>
                <a:lnTo>
                  <a:pt x="4164216" y="528254"/>
                </a:lnTo>
                <a:lnTo>
                  <a:pt x="4167038" y="524464"/>
                </a:lnTo>
                <a:lnTo>
                  <a:pt x="4171053" y="520024"/>
                </a:lnTo>
                <a:lnTo>
                  <a:pt x="4175502" y="518292"/>
                </a:lnTo>
                <a:lnTo>
                  <a:pt x="4174852" y="515369"/>
                </a:lnTo>
                <a:lnTo>
                  <a:pt x="4176262" y="513095"/>
                </a:lnTo>
                <a:lnTo>
                  <a:pt x="4182339" y="510606"/>
                </a:lnTo>
                <a:lnTo>
                  <a:pt x="4189827" y="510172"/>
                </a:lnTo>
                <a:lnTo>
                  <a:pt x="4193625" y="506816"/>
                </a:lnTo>
                <a:lnTo>
                  <a:pt x="4197748" y="505300"/>
                </a:lnTo>
                <a:lnTo>
                  <a:pt x="4200244" y="502918"/>
                </a:lnTo>
                <a:lnTo>
                  <a:pt x="4200353" y="500753"/>
                </a:lnTo>
                <a:lnTo>
                  <a:pt x="4197748" y="500753"/>
                </a:lnTo>
                <a:lnTo>
                  <a:pt x="4194384" y="504108"/>
                </a:lnTo>
                <a:lnTo>
                  <a:pt x="4190586" y="504867"/>
                </a:lnTo>
                <a:lnTo>
                  <a:pt x="4187222" y="503135"/>
                </a:lnTo>
                <a:lnTo>
                  <a:pt x="4187331" y="499778"/>
                </a:lnTo>
                <a:lnTo>
                  <a:pt x="4189501" y="495123"/>
                </a:lnTo>
                <a:lnTo>
                  <a:pt x="4189827" y="489708"/>
                </a:lnTo>
                <a:lnTo>
                  <a:pt x="4187765" y="486353"/>
                </a:lnTo>
                <a:lnTo>
                  <a:pt x="4185594" y="486244"/>
                </a:lnTo>
                <a:lnTo>
                  <a:pt x="4184292" y="488734"/>
                </a:lnTo>
                <a:lnTo>
                  <a:pt x="4184401" y="493931"/>
                </a:lnTo>
                <a:lnTo>
                  <a:pt x="4182990" y="498371"/>
                </a:lnTo>
                <a:lnTo>
                  <a:pt x="4176262" y="505191"/>
                </a:lnTo>
                <a:lnTo>
                  <a:pt x="4172464" y="506165"/>
                </a:lnTo>
                <a:lnTo>
                  <a:pt x="4170402" y="504867"/>
                </a:lnTo>
                <a:lnTo>
                  <a:pt x="4169317" y="498587"/>
                </a:lnTo>
                <a:lnTo>
                  <a:pt x="4169968" y="496422"/>
                </a:lnTo>
                <a:lnTo>
                  <a:pt x="4172572" y="493390"/>
                </a:lnTo>
                <a:lnTo>
                  <a:pt x="4172572" y="490575"/>
                </a:lnTo>
                <a:lnTo>
                  <a:pt x="4171053" y="488193"/>
                </a:lnTo>
                <a:lnTo>
                  <a:pt x="4170402" y="482347"/>
                </a:lnTo>
                <a:lnTo>
                  <a:pt x="4168883" y="479639"/>
                </a:lnTo>
                <a:lnTo>
                  <a:pt x="4167472" y="479748"/>
                </a:lnTo>
                <a:lnTo>
                  <a:pt x="4165627" y="482780"/>
                </a:lnTo>
                <a:lnTo>
                  <a:pt x="4166604" y="490142"/>
                </a:lnTo>
                <a:lnTo>
                  <a:pt x="4165844" y="493498"/>
                </a:lnTo>
                <a:lnTo>
                  <a:pt x="4163023" y="496314"/>
                </a:lnTo>
                <a:lnTo>
                  <a:pt x="4162372" y="493931"/>
                </a:lnTo>
                <a:lnTo>
                  <a:pt x="4162914" y="492199"/>
                </a:lnTo>
                <a:lnTo>
                  <a:pt x="4160745" y="488085"/>
                </a:lnTo>
                <a:lnTo>
                  <a:pt x="4158357" y="487003"/>
                </a:lnTo>
                <a:lnTo>
                  <a:pt x="4156512" y="488085"/>
                </a:lnTo>
                <a:lnTo>
                  <a:pt x="4156403" y="491333"/>
                </a:lnTo>
                <a:lnTo>
                  <a:pt x="4157380" y="494582"/>
                </a:lnTo>
                <a:lnTo>
                  <a:pt x="4157380" y="499669"/>
                </a:lnTo>
                <a:lnTo>
                  <a:pt x="4159659" y="503784"/>
                </a:lnTo>
                <a:lnTo>
                  <a:pt x="4161721" y="508549"/>
                </a:lnTo>
                <a:lnTo>
                  <a:pt x="4161829" y="511472"/>
                </a:lnTo>
                <a:lnTo>
                  <a:pt x="4158465" y="511147"/>
                </a:lnTo>
                <a:lnTo>
                  <a:pt x="4155644" y="512229"/>
                </a:lnTo>
                <a:lnTo>
                  <a:pt x="4153582" y="517535"/>
                </a:lnTo>
                <a:lnTo>
                  <a:pt x="4153474" y="520783"/>
                </a:lnTo>
                <a:lnTo>
                  <a:pt x="4150327" y="523273"/>
                </a:lnTo>
                <a:lnTo>
                  <a:pt x="4141645" y="524030"/>
                </a:lnTo>
                <a:lnTo>
                  <a:pt x="4136762" y="523490"/>
                </a:lnTo>
                <a:lnTo>
                  <a:pt x="4137413" y="521324"/>
                </a:lnTo>
                <a:lnTo>
                  <a:pt x="4138824" y="519266"/>
                </a:lnTo>
                <a:lnTo>
                  <a:pt x="4136870" y="515694"/>
                </a:lnTo>
                <a:lnTo>
                  <a:pt x="4131336" y="510280"/>
                </a:lnTo>
                <a:lnTo>
                  <a:pt x="4127755" y="509198"/>
                </a:lnTo>
                <a:lnTo>
                  <a:pt x="4126561" y="509740"/>
                </a:lnTo>
                <a:lnTo>
                  <a:pt x="4124066" y="505191"/>
                </a:lnTo>
                <a:lnTo>
                  <a:pt x="4123523" y="501186"/>
                </a:lnTo>
                <a:lnTo>
                  <a:pt x="4128949" y="500969"/>
                </a:lnTo>
                <a:lnTo>
                  <a:pt x="4131662" y="499021"/>
                </a:lnTo>
                <a:lnTo>
                  <a:pt x="4130685" y="497612"/>
                </a:lnTo>
                <a:lnTo>
                  <a:pt x="4127104" y="497287"/>
                </a:lnTo>
                <a:lnTo>
                  <a:pt x="4124825" y="497938"/>
                </a:lnTo>
                <a:lnTo>
                  <a:pt x="4121461" y="496314"/>
                </a:lnTo>
                <a:lnTo>
                  <a:pt x="4120268" y="493390"/>
                </a:lnTo>
                <a:lnTo>
                  <a:pt x="4117555" y="491333"/>
                </a:lnTo>
                <a:lnTo>
                  <a:pt x="4113431" y="489275"/>
                </a:lnTo>
                <a:lnTo>
                  <a:pt x="4110935" y="486244"/>
                </a:lnTo>
                <a:lnTo>
                  <a:pt x="4112997" y="483971"/>
                </a:lnTo>
                <a:lnTo>
                  <a:pt x="4112889" y="482780"/>
                </a:lnTo>
                <a:lnTo>
                  <a:pt x="4110392" y="480289"/>
                </a:lnTo>
                <a:lnTo>
                  <a:pt x="4107137" y="478665"/>
                </a:lnTo>
                <a:lnTo>
                  <a:pt x="4104098" y="474442"/>
                </a:lnTo>
                <a:lnTo>
                  <a:pt x="4104424" y="471303"/>
                </a:lnTo>
                <a:lnTo>
                  <a:pt x="4106052" y="470653"/>
                </a:lnTo>
                <a:lnTo>
                  <a:pt x="4111804" y="475309"/>
                </a:lnTo>
                <a:lnTo>
                  <a:pt x="4113431" y="477474"/>
                </a:lnTo>
                <a:lnTo>
                  <a:pt x="4113539" y="479098"/>
                </a:lnTo>
                <a:lnTo>
                  <a:pt x="4115493" y="479098"/>
                </a:lnTo>
                <a:lnTo>
                  <a:pt x="4119074" y="476392"/>
                </a:lnTo>
                <a:lnTo>
                  <a:pt x="4119399" y="472493"/>
                </a:lnTo>
                <a:lnTo>
                  <a:pt x="4118097" y="471518"/>
                </a:lnTo>
                <a:lnTo>
                  <a:pt x="4115058" y="471953"/>
                </a:lnTo>
                <a:lnTo>
                  <a:pt x="4112997" y="470653"/>
                </a:lnTo>
                <a:lnTo>
                  <a:pt x="4112997" y="469246"/>
                </a:lnTo>
                <a:lnTo>
                  <a:pt x="4108873" y="465782"/>
                </a:lnTo>
                <a:lnTo>
                  <a:pt x="4108765" y="462533"/>
                </a:lnTo>
                <a:lnTo>
                  <a:pt x="4109633" y="461775"/>
                </a:lnTo>
                <a:lnTo>
                  <a:pt x="4111369" y="455712"/>
                </a:lnTo>
                <a:lnTo>
                  <a:pt x="4113648" y="451056"/>
                </a:lnTo>
                <a:lnTo>
                  <a:pt x="4112563" y="450190"/>
                </a:lnTo>
                <a:lnTo>
                  <a:pt x="4109416" y="451922"/>
                </a:lnTo>
                <a:lnTo>
                  <a:pt x="4106703" y="449433"/>
                </a:lnTo>
                <a:lnTo>
                  <a:pt x="4104858" y="449757"/>
                </a:lnTo>
                <a:lnTo>
                  <a:pt x="4104207" y="454737"/>
                </a:lnTo>
                <a:lnTo>
                  <a:pt x="4104858" y="458960"/>
                </a:lnTo>
                <a:lnTo>
                  <a:pt x="4102579" y="462100"/>
                </a:lnTo>
                <a:lnTo>
                  <a:pt x="4099541" y="463615"/>
                </a:lnTo>
                <a:lnTo>
                  <a:pt x="4098998" y="459392"/>
                </a:lnTo>
                <a:lnTo>
                  <a:pt x="4094224" y="452356"/>
                </a:lnTo>
                <a:lnTo>
                  <a:pt x="4093681" y="447158"/>
                </a:lnTo>
                <a:lnTo>
                  <a:pt x="4092162" y="441203"/>
                </a:lnTo>
                <a:lnTo>
                  <a:pt x="4092162" y="437198"/>
                </a:lnTo>
                <a:lnTo>
                  <a:pt x="4094983" y="436547"/>
                </a:lnTo>
                <a:lnTo>
                  <a:pt x="4098673" y="433300"/>
                </a:lnTo>
                <a:lnTo>
                  <a:pt x="4099975" y="432434"/>
                </a:lnTo>
                <a:lnTo>
                  <a:pt x="4099975" y="428320"/>
                </a:lnTo>
                <a:lnTo>
                  <a:pt x="4098673" y="426045"/>
                </a:lnTo>
                <a:lnTo>
                  <a:pt x="4098347" y="420957"/>
                </a:lnTo>
                <a:lnTo>
                  <a:pt x="4102579" y="416301"/>
                </a:lnTo>
                <a:lnTo>
                  <a:pt x="4105834" y="416518"/>
                </a:lnTo>
                <a:lnTo>
                  <a:pt x="4108439" y="422906"/>
                </a:lnTo>
                <a:lnTo>
                  <a:pt x="4110392" y="427020"/>
                </a:lnTo>
                <a:lnTo>
                  <a:pt x="4114190" y="427670"/>
                </a:lnTo>
                <a:lnTo>
                  <a:pt x="4115276" y="425613"/>
                </a:lnTo>
                <a:lnTo>
                  <a:pt x="4110392" y="419333"/>
                </a:lnTo>
                <a:lnTo>
                  <a:pt x="4110392" y="414677"/>
                </a:lnTo>
                <a:lnTo>
                  <a:pt x="4112345" y="413703"/>
                </a:lnTo>
                <a:lnTo>
                  <a:pt x="4115058" y="415435"/>
                </a:lnTo>
                <a:lnTo>
                  <a:pt x="4115493" y="418250"/>
                </a:lnTo>
                <a:lnTo>
                  <a:pt x="4117338" y="420090"/>
                </a:lnTo>
                <a:lnTo>
                  <a:pt x="4121027" y="418359"/>
                </a:lnTo>
                <a:lnTo>
                  <a:pt x="4130685" y="410780"/>
                </a:lnTo>
                <a:lnTo>
                  <a:pt x="4135460" y="409697"/>
                </a:lnTo>
                <a:lnTo>
                  <a:pt x="4138173" y="411971"/>
                </a:lnTo>
                <a:lnTo>
                  <a:pt x="4140994" y="417276"/>
                </a:lnTo>
                <a:lnTo>
                  <a:pt x="4140126" y="420740"/>
                </a:lnTo>
                <a:lnTo>
                  <a:pt x="4137522" y="423556"/>
                </a:lnTo>
                <a:lnTo>
                  <a:pt x="4134592" y="423339"/>
                </a:lnTo>
                <a:lnTo>
                  <a:pt x="4133290" y="422148"/>
                </a:lnTo>
                <a:lnTo>
                  <a:pt x="4131010" y="422473"/>
                </a:lnTo>
                <a:lnTo>
                  <a:pt x="4126019" y="426478"/>
                </a:lnTo>
                <a:lnTo>
                  <a:pt x="4125259" y="428644"/>
                </a:lnTo>
                <a:lnTo>
                  <a:pt x="4123306" y="429078"/>
                </a:lnTo>
                <a:lnTo>
                  <a:pt x="4122329" y="432000"/>
                </a:lnTo>
                <a:lnTo>
                  <a:pt x="4124825" y="433842"/>
                </a:lnTo>
                <a:lnTo>
                  <a:pt x="4128623" y="431459"/>
                </a:lnTo>
                <a:lnTo>
                  <a:pt x="4134157" y="429078"/>
                </a:lnTo>
                <a:lnTo>
                  <a:pt x="4136436" y="430269"/>
                </a:lnTo>
                <a:lnTo>
                  <a:pt x="4136328" y="432000"/>
                </a:lnTo>
                <a:lnTo>
                  <a:pt x="4131987" y="435357"/>
                </a:lnTo>
                <a:lnTo>
                  <a:pt x="4131554" y="437631"/>
                </a:lnTo>
                <a:lnTo>
                  <a:pt x="4133941" y="438713"/>
                </a:lnTo>
                <a:lnTo>
                  <a:pt x="4135351" y="436981"/>
                </a:lnTo>
                <a:lnTo>
                  <a:pt x="4137088" y="437198"/>
                </a:lnTo>
                <a:lnTo>
                  <a:pt x="4138932" y="440337"/>
                </a:lnTo>
                <a:lnTo>
                  <a:pt x="4140886" y="441853"/>
                </a:lnTo>
                <a:lnTo>
                  <a:pt x="4140560" y="444777"/>
                </a:lnTo>
                <a:lnTo>
                  <a:pt x="4141536" y="450081"/>
                </a:lnTo>
                <a:lnTo>
                  <a:pt x="4143924" y="453006"/>
                </a:lnTo>
                <a:lnTo>
                  <a:pt x="4145986" y="453980"/>
                </a:lnTo>
                <a:lnTo>
                  <a:pt x="4144901" y="447267"/>
                </a:lnTo>
                <a:lnTo>
                  <a:pt x="4142188" y="441853"/>
                </a:lnTo>
                <a:lnTo>
                  <a:pt x="4141428" y="436439"/>
                </a:lnTo>
                <a:lnTo>
                  <a:pt x="4142622" y="431025"/>
                </a:lnTo>
                <a:lnTo>
                  <a:pt x="4147397" y="423556"/>
                </a:lnTo>
                <a:lnTo>
                  <a:pt x="4148265" y="418899"/>
                </a:lnTo>
                <a:lnTo>
                  <a:pt x="4150435" y="416951"/>
                </a:lnTo>
                <a:lnTo>
                  <a:pt x="4152714" y="417925"/>
                </a:lnTo>
                <a:lnTo>
                  <a:pt x="4156946" y="422798"/>
                </a:lnTo>
                <a:lnTo>
                  <a:pt x="4162046" y="426370"/>
                </a:lnTo>
                <a:lnTo>
                  <a:pt x="4162589" y="429078"/>
                </a:lnTo>
                <a:lnTo>
                  <a:pt x="4162589" y="438171"/>
                </a:lnTo>
                <a:lnTo>
                  <a:pt x="4166496" y="447917"/>
                </a:lnTo>
                <a:lnTo>
                  <a:pt x="4166496" y="451922"/>
                </a:lnTo>
                <a:lnTo>
                  <a:pt x="4165411" y="454954"/>
                </a:lnTo>
                <a:lnTo>
                  <a:pt x="4161938" y="458203"/>
                </a:lnTo>
                <a:lnTo>
                  <a:pt x="4162372" y="460044"/>
                </a:lnTo>
                <a:lnTo>
                  <a:pt x="4163999" y="460800"/>
                </a:lnTo>
                <a:lnTo>
                  <a:pt x="4167364" y="458744"/>
                </a:lnTo>
                <a:lnTo>
                  <a:pt x="4169751" y="459176"/>
                </a:lnTo>
                <a:lnTo>
                  <a:pt x="4172681" y="463508"/>
                </a:lnTo>
                <a:lnTo>
                  <a:pt x="4175828" y="471086"/>
                </a:lnTo>
                <a:lnTo>
                  <a:pt x="4177890" y="473143"/>
                </a:lnTo>
                <a:lnTo>
                  <a:pt x="4181145" y="473035"/>
                </a:lnTo>
                <a:lnTo>
                  <a:pt x="4182013" y="469246"/>
                </a:lnTo>
                <a:lnTo>
                  <a:pt x="4177456" y="463833"/>
                </a:lnTo>
                <a:lnTo>
                  <a:pt x="4176697" y="459068"/>
                </a:lnTo>
                <a:lnTo>
                  <a:pt x="4172681" y="452572"/>
                </a:lnTo>
                <a:lnTo>
                  <a:pt x="4170945" y="447267"/>
                </a:lnTo>
                <a:lnTo>
                  <a:pt x="4170836" y="440554"/>
                </a:lnTo>
                <a:lnTo>
                  <a:pt x="4171053" y="426370"/>
                </a:lnTo>
                <a:lnTo>
                  <a:pt x="4169642" y="423556"/>
                </a:lnTo>
                <a:lnTo>
                  <a:pt x="4167580" y="422256"/>
                </a:lnTo>
                <a:lnTo>
                  <a:pt x="4168666" y="417276"/>
                </a:lnTo>
                <a:lnTo>
                  <a:pt x="4168340" y="412838"/>
                </a:lnTo>
                <a:lnTo>
                  <a:pt x="4170402" y="408723"/>
                </a:lnTo>
                <a:lnTo>
                  <a:pt x="4169859" y="401685"/>
                </a:lnTo>
                <a:lnTo>
                  <a:pt x="4172681" y="396705"/>
                </a:lnTo>
                <a:close/>
                <a:moveTo>
                  <a:pt x="5536519" y="393782"/>
                </a:moveTo>
                <a:lnTo>
                  <a:pt x="5538364" y="393891"/>
                </a:lnTo>
                <a:lnTo>
                  <a:pt x="5540426" y="397463"/>
                </a:lnTo>
                <a:lnTo>
                  <a:pt x="5544441" y="398872"/>
                </a:lnTo>
                <a:lnTo>
                  <a:pt x="5543464" y="401578"/>
                </a:lnTo>
                <a:lnTo>
                  <a:pt x="5541511" y="402660"/>
                </a:lnTo>
                <a:lnTo>
                  <a:pt x="5539449" y="402770"/>
                </a:lnTo>
                <a:lnTo>
                  <a:pt x="5538581" y="398546"/>
                </a:lnTo>
                <a:lnTo>
                  <a:pt x="5536085" y="395839"/>
                </a:lnTo>
                <a:close/>
                <a:moveTo>
                  <a:pt x="2328875" y="393130"/>
                </a:moveTo>
                <a:lnTo>
                  <a:pt x="2329201" y="396920"/>
                </a:lnTo>
                <a:lnTo>
                  <a:pt x="2326705" y="399301"/>
                </a:lnTo>
                <a:lnTo>
                  <a:pt x="2324535" y="399735"/>
                </a:lnTo>
                <a:lnTo>
                  <a:pt x="2327465" y="396379"/>
                </a:lnTo>
                <a:close/>
                <a:moveTo>
                  <a:pt x="7107190" y="388152"/>
                </a:moveTo>
                <a:lnTo>
                  <a:pt x="7106430" y="391617"/>
                </a:lnTo>
                <a:lnTo>
                  <a:pt x="7103392" y="394429"/>
                </a:lnTo>
                <a:lnTo>
                  <a:pt x="7101438" y="391617"/>
                </a:lnTo>
                <a:lnTo>
                  <a:pt x="7102957" y="389342"/>
                </a:lnTo>
                <a:close/>
                <a:moveTo>
                  <a:pt x="2556976" y="387934"/>
                </a:moveTo>
                <a:lnTo>
                  <a:pt x="2559146" y="390640"/>
                </a:lnTo>
                <a:lnTo>
                  <a:pt x="2559146" y="394863"/>
                </a:lnTo>
                <a:lnTo>
                  <a:pt x="2557627" y="396595"/>
                </a:lnTo>
                <a:lnTo>
                  <a:pt x="2556217" y="396703"/>
                </a:lnTo>
                <a:lnTo>
                  <a:pt x="2554047" y="390965"/>
                </a:lnTo>
                <a:lnTo>
                  <a:pt x="2554264" y="388150"/>
                </a:lnTo>
                <a:close/>
                <a:moveTo>
                  <a:pt x="2444989" y="387176"/>
                </a:moveTo>
                <a:lnTo>
                  <a:pt x="2445639" y="390425"/>
                </a:lnTo>
                <a:lnTo>
                  <a:pt x="2447592" y="391724"/>
                </a:lnTo>
                <a:lnTo>
                  <a:pt x="2448026" y="394430"/>
                </a:lnTo>
                <a:lnTo>
                  <a:pt x="2446616" y="396162"/>
                </a:lnTo>
                <a:lnTo>
                  <a:pt x="2443904" y="394539"/>
                </a:lnTo>
                <a:lnTo>
                  <a:pt x="2442927" y="390425"/>
                </a:lnTo>
                <a:lnTo>
                  <a:pt x="2443686" y="387718"/>
                </a:lnTo>
                <a:close/>
                <a:moveTo>
                  <a:pt x="5536085" y="386852"/>
                </a:moveTo>
                <a:lnTo>
                  <a:pt x="5539558" y="387718"/>
                </a:lnTo>
                <a:lnTo>
                  <a:pt x="5537170" y="391183"/>
                </a:lnTo>
                <a:lnTo>
                  <a:pt x="5531962" y="392160"/>
                </a:lnTo>
                <a:lnTo>
                  <a:pt x="5530985" y="390860"/>
                </a:lnTo>
                <a:lnTo>
                  <a:pt x="5532287" y="388477"/>
                </a:lnTo>
                <a:close/>
                <a:moveTo>
                  <a:pt x="5381233" y="385877"/>
                </a:moveTo>
                <a:lnTo>
                  <a:pt x="5384271" y="386095"/>
                </a:lnTo>
                <a:lnTo>
                  <a:pt x="5387635" y="389126"/>
                </a:lnTo>
                <a:lnTo>
                  <a:pt x="5388070" y="395405"/>
                </a:lnTo>
                <a:lnTo>
                  <a:pt x="5386550" y="398437"/>
                </a:lnTo>
                <a:lnTo>
                  <a:pt x="5382317" y="400386"/>
                </a:lnTo>
                <a:lnTo>
                  <a:pt x="5379930" y="400062"/>
                </a:lnTo>
                <a:lnTo>
                  <a:pt x="5379062" y="397138"/>
                </a:lnTo>
                <a:lnTo>
                  <a:pt x="5379388" y="392481"/>
                </a:lnTo>
                <a:lnTo>
                  <a:pt x="5378845" y="388368"/>
                </a:lnTo>
                <a:close/>
                <a:moveTo>
                  <a:pt x="2194314" y="384685"/>
                </a:moveTo>
                <a:lnTo>
                  <a:pt x="2197895" y="385010"/>
                </a:lnTo>
                <a:lnTo>
                  <a:pt x="2202127" y="386093"/>
                </a:lnTo>
                <a:lnTo>
                  <a:pt x="2208095" y="385660"/>
                </a:lnTo>
                <a:lnTo>
                  <a:pt x="2213956" y="388150"/>
                </a:lnTo>
                <a:lnTo>
                  <a:pt x="2218079" y="387608"/>
                </a:lnTo>
                <a:lnTo>
                  <a:pt x="2221335" y="391831"/>
                </a:lnTo>
                <a:lnTo>
                  <a:pt x="2217971" y="398544"/>
                </a:lnTo>
                <a:lnTo>
                  <a:pt x="2214607" y="401466"/>
                </a:lnTo>
                <a:lnTo>
                  <a:pt x="2205166" y="400601"/>
                </a:lnTo>
                <a:lnTo>
                  <a:pt x="2199740" y="399952"/>
                </a:lnTo>
                <a:lnTo>
                  <a:pt x="2196050" y="397677"/>
                </a:lnTo>
                <a:lnTo>
                  <a:pt x="2192252" y="396920"/>
                </a:lnTo>
                <a:lnTo>
                  <a:pt x="2190841" y="394213"/>
                </a:lnTo>
                <a:lnTo>
                  <a:pt x="2188997" y="393780"/>
                </a:lnTo>
                <a:lnTo>
                  <a:pt x="2188237" y="391831"/>
                </a:lnTo>
                <a:lnTo>
                  <a:pt x="2188888" y="388367"/>
                </a:lnTo>
                <a:lnTo>
                  <a:pt x="2191818" y="386851"/>
                </a:lnTo>
                <a:close/>
                <a:moveTo>
                  <a:pt x="7063023" y="382196"/>
                </a:moveTo>
                <a:lnTo>
                  <a:pt x="7067906" y="382412"/>
                </a:lnTo>
                <a:lnTo>
                  <a:pt x="7072138" y="384579"/>
                </a:lnTo>
                <a:lnTo>
                  <a:pt x="7076153" y="385012"/>
                </a:lnTo>
                <a:lnTo>
                  <a:pt x="7077238" y="382955"/>
                </a:lnTo>
                <a:lnTo>
                  <a:pt x="7082230" y="386311"/>
                </a:lnTo>
                <a:lnTo>
                  <a:pt x="7084074" y="390859"/>
                </a:lnTo>
                <a:lnTo>
                  <a:pt x="7082556" y="392373"/>
                </a:lnTo>
                <a:lnTo>
                  <a:pt x="7086354" y="396813"/>
                </a:lnTo>
                <a:lnTo>
                  <a:pt x="7087222" y="402009"/>
                </a:lnTo>
                <a:lnTo>
                  <a:pt x="7084401" y="406664"/>
                </a:lnTo>
                <a:lnTo>
                  <a:pt x="7078975" y="407965"/>
                </a:lnTo>
                <a:lnTo>
                  <a:pt x="7073874" y="405473"/>
                </a:lnTo>
                <a:lnTo>
                  <a:pt x="7067906" y="400926"/>
                </a:lnTo>
                <a:lnTo>
                  <a:pt x="7062046" y="399736"/>
                </a:lnTo>
                <a:lnTo>
                  <a:pt x="7057596" y="400494"/>
                </a:lnTo>
                <a:lnTo>
                  <a:pt x="7055317" y="399086"/>
                </a:lnTo>
                <a:lnTo>
                  <a:pt x="7054992" y="390965"/>
                </a:lnTo>
                <a:lnTo>
                  <a:pt x="7056512" y="386852"/>
                </a:lnTo>
                <a:lnTo>
                  <a:pt x="7060092" y="386527"/>
                </a:lnTo>
                <a:lnTo>
                  <a:pt x="7059441" y="384795"/>
                </a:lnTo>
                <a:lnTo>
                  <a:pt x="7062371" y="384253"/>
                </a:lnTo>
                <a:close/>
                <a:moveTo>
                  <a:pt x="1076051" y="381873"/>
                </a:moveTo>
                <a:lnTo>
                  <a:pt x="1078329" y="382307"/>
                </a:lnTo>
                <a:lnTo>
                  <a:pt x="1077461" y="384146"/>
                </a:lnTo>
                <a:lnTo>
                  <a:pt x="1074966" y="385012"/>
                </a:lnTo>
                <a:lnTo>
                  <a:pt x="1074098" y="386420"/>
                </a:lnTo>
                <a:lnTo>
                  <a:pt x="1075725" y="387722"/>
                </a:lnTo>
                <a:lnTo>
                  <a:pt x="1077461" y="389562"/>
                </a:lnTo>
                <a:lnTo>
                  <a:pt x="1077787" y="393458"/>
                </a:lnTo>
                <a:lnTo>
                  <a:pt x="1079632" y="393351"/>
                </a:lnTo>
                <a:lnTo>
                  <a:pt x="1085275" y="395731"/>
                </a:lnTo>
                <a:lnTo>
                  <a:pt x="1086360" y="397787"/>
                </a:lnTo>
                <a:lnTo>
                  <a:pt x="1085057" y="400063"/>
                </a:lnTo>
                <a:lnTo>
                  <a:pt x="1084515" y="402230"/>
                </a:lnTo>
                <a:lnTo>
                  <a:pt x="1079740" y="406991"/>
                </a:lnTo>
                <a:lnTo>
                  <a:pt x="1075399" y="408182"/>
                </a:lnTo>
                <a:lnTo>
                  <a:pt x="1068888" y="410890"/>
                </a:lnTo>
                <a:lnTo>
                  <a:pt x="1063680" y="406883"/>
                </a:lnTo>
                <a:lnTo>
                  <a:pt x="1058905" y="408074"/>
                </a:lnTo>
                <a:lnTo>
                  <a:pt x="1053479" y="412297"/>
                </a:lnTo>
                <a:lnTo>
                  <a:pt x="1052611" y="415436"/>
                </a:lnTo>
                <a:lnTo>
                  <a:pt x="1056952" y="414896"/>
                </a:lnTo>
                <a:lnTo>
                  <a:pt x="1059664" y="419442"/>
                </a:lnTo>
                <a:lnTo>
                  <a:pt x="1056952" y="426481"/>
                </a:lnTo>
                <a:lnTo>
                  <a:pt x="1060532" y="425506"/>
                </a:lnTo>
                <a:lnTo>
                  <a:pt x="1061835" y="422368"/>
                </a:lnTo>
                <a:lnTo>
                  <a:pt x="1064982" y="419116"/>
                </a:lnTo>
                <a:lnTo>
                  <a:pt x="1067043" y="419766"/>
                </a:lnTo>
                <a:lnTo>
                  <a:pt x="1064765" y="423884"/>
                </a:lnTo>
                <a:lnTo>
                  <a:pt x="1064873" y="428753"/>
                </a:lnTo>
                <a:lnTo>
                  <a:pt x="1066610" y="433627"/>
                </a:lnTo>
                <a:lnTo>
                  <a:pt x="1066827" y="428863"/>
                </a:lnTo>
                <a:lnTo>
                  <a:pt x="1069431" y="422910"/>
                </a:lnTo>
                <a:lnTo>
                  <a:pt x="1070733" y="424750"/>
                </a:lnTo>
                <a:lnTo>
                  <a:pt x="1072904" y="424423"/>
                </a:lnTo>
                <a:lnTo>
                  <a:pt x="1076051" y="421067"/>
                </a:lnTo>
                <a:lnTo>
                  <a:pt x="1075074" y="416302"/>
                </a:lnTo>
                <a:lnTo>
                  <a:pt x="1076051" y="413923"/>
                </a:lnTo>
                <a:lnTo>
                  <a:pt x="1080825" y="412081"/>
                </a:lnTo>
                <a:lnTo>
                  <a:pt x="1084081" y="414464"/>
                </a:lnTo>
                <a:lnTo>
                  <a:pt x="1085275" y="414356"/>
                </a:lnTo>
                <a:lnTo>
                  <a:pt x="1086468" y="410242"/>
                </a:lnTo>
                <a:lnTo>
                  <a:pt x="1092111" y="404827"/>
                </a:lnTo>
                <a:lnTo>
                  <a:pt x="1093631" y="405042"/>
                </a:lnTo>
                <a:lnTo>
                  <a:pt x="1095041" y="407749"/>
                </a:lnTo>
                <a:lnTo>
                  <a:pt x="1093631" y="411865"/>
                </a:lnTo>
                <a:lnTo>
                  <a:pt x="1093196" y="416302"/>
                </a:lnTo>
                <a:lnTo>
                  <a:pt x="1090809" y="417710"/>
                </a:lnTo>
                <a:lnTo>
                  <a:pt x="1089181" y="420960"/>
                </a:lnTo>
                <a:lnTo>
                  <a:pt x="1089506" y="424965"/>
                </a:lnTo>
                <a:lnTo>
                  <a:pt x="1087445" y="426264"/>
                </a:lnTo>
                <a:lnTo>
                  <a:pt x="1085708" y="430160"/>
                </a:lnTo>
                <a:lnTo>
                  <a:pt x="1088530" y="434060"/>
                </a:lnTo>
                <a:lnTo>
                  <a:pt x="1088530" y="432005"/>
                </a:lnTo>
                <a:lnTo>
                  <a:pt x="1091026" y="428104"/>
                </a:lnTo>
                <a:lnTo>
                  <a:pt x="1096452" y="427996"/>
                </a:lnTo>
                <a:lnTo>
                  <a:pt x="1099924" y="426805"/>
                </a:lnTo>
                <a:lnTo>
                  <a:pt x="1102637" y="427672"/>
                </a:lnTo>
                <a:lnTo>
                  <a:pt x="1108063" y="430052"/>
                </a:lnTo>
                <a:lnTo>
                  <a:pt x="1112621" y="429510"/>
                </a:lnTo>
                <a:lnTo>
                  <a:pt x="1116311" y="431353"/>
                </a:lnTo>
                <a:lnTo>
                  <a:pt x="1118047" y="434494"/>
                </a:lnTo>
                <a:lnTo>
                  <a:pt x="1120542" y="433301"/>
                </a:lnTo>
                <a:lnTo>
                  <a:pt x="1122713" y="433518"/>
                </a:lnTo>
                <a:lnTo>
                  <a:pt x="1125317" y="438607"/>
                </a:lnTo>
                <a:lnTo>
                  <a:pt x="1127705" y="441311"/>
                </a:lnTo>
                <a:lnTo>
                  <a:pt x="1124449" y="444997"/>
                </a:lnTo>
                <a:lnTo>
                  <a:pt x="1118047" y="448028"/>
                </a:lnTo>
                <a:lnTo>
                  <a:pt x="1115551" y="451814"/>
                </a:lnTo>
                <a:lnTo>
                  <a:pt x="1116744" y="454740"/>
                </a:lnTo>
                <a:lnTo>
                  <a:pt x="1128356" y="461235"/>
                </a:lnTo>
                <a:lnTo>
                  <a:pt x="1128681" y="463075"/>
                </a:lnTo>
                <a:lnTo>
                  <a:pt x="1124883" y="463292"/>
                </a:lnTo>
                <a:lnTo>
                  <a:pt x="1120434" y="465025"/>
                </a:lnTo>
                <a:lnTo>
                  <a:pt x="1120434" y="466974"/>
                </a:lnTo>
                <a:lnTo>
                  <a:pt x="1128030" y="471522"/>
                </a:lnTo>
                <a:lnTo>
                  <a:pt x="1128247" y="475526"/>
                </a:lnTo>
                <a:lnTo>
                  <a:pt x="1127270" y="481051"/>
                </a:lnTo>
                <a:lnTo>
                  <a:pt x="1128030" y="487436"/>
                </a:lnTo>
                <a:lnTo>
                  <a:pt x="1123472" y="492417"/>
                </a:lnTo>
                <a:lnTo>
                  <a:pt x="1129006" y="488195"/>
                </a:lnTo>
                <a:lnTo>
                  <a:pt x="1135409" y="481267"/>
                </a:lnTo>
                <a:lnTo>
                  <a:pt x="1142137" y="480184"/>
                </a:lnTo>
                <a:lnTo>
                  <a:pt x="1143982" y="478776"/>
                </a:lnTo>
                <a:lnTo>
                  <a:pt x="1147780" y="478776"/>
                </a:lnTo>
                <a:lnTo>
                  <a:pt x="1153857" y="476392"/>
                </a:lnTo>
                <a:lnTo>
                  <a:pt x="1159717" y="476392"/>
                </a:lnTo>
                <a:lnTo>
                  <a:pt x="1166011" y="480833"/>
                </a:lnTo>
                <a:lnTo>
                  <a:pt x="1169158" y="482890"/>
                </a:lnTo>
                <a:lnTo>
                  <a:pt x="1167964" y="488737"/>
                </a:lnTo>
                <a:lnTo>
                  <a:pt x="1162647" y="494042"/>
                </a:lnTo>
                <a:lnTo>
                  <a:pt x="1157221" y="502164"/>
                </a:lnTo>
                <a:lnTo>
                  <a:pt x="1148431" y="508223"/>
                </a:lnTo>
                <a:lnTo>
                  <a:pt x="1158524" y="503245"/>
                </a:lnTo>
                <a:lnTo>
                  <a:pt x="1167747" y="494581"/>
                </a:lnTo>
                <a:lnTo>
                  <a:pt x="1169918" y="492852"/>
                </a:lnTo>
                <a:lnTo>
                  <a:pt x="1172956" y="493716"/>
                </a:lnTo>
                <a:lnTo>
                  <a:pt x="1174367" y="495448"/>
                </a:lnTo>
                <a:lnTo>
                  <a:pt x="1173607" y="496855"/>
                </a:lnTo>
                <a:lnTo>
                  <a:pt x="1176862" y="500971"/>
                </a:lnTo>
                <a:lnTo>
                  <a:pt x="1180878" y="503570"/>
                </a:lnTo>
                <a:lnTo>
                  <a:pt x="1181203" y="505301"/>
                </a:lnTo>
                <a:lnTo>
                  <a:pt x="1180010" y="507358"/>
                </a:lnTo>
                <a:lnTo>
                  <a:pt x="1183482" y="506492"/>
                </a:lnTo>
                <a:lnTo>
                  <a:pt x="1187280" y="508007"/>
                </a:lnTo>
                <a:lnTo>
                  <a:pt x="1188583" y="510065"/>
                </a:lnTo>
                <a:lnTo>
                  <a:pt x="1186955" y="511257"/>
                </a:lnTo>
                <a:lnTo>
                  <a:pt x="1186738" y="514180"/>
                </a:lnTo>
                <a:lnTo>
                  <a:pt x="1189125" y="515912"/>
                </a:lnTo>
                <a:lnTo>
                  <a:pt x="1191946" y="511691"/>
                </a:lnTo>
                <a:lnTo>
                  <a:pt x="1195311" y="513531"/>
                </a:lnTo>
                <a:lnTo>
                  <a:pt x="1196070" y="515372"/>
                </a:lnTo>
                <a:lnTo>
                  <a:pt x="1195527" y="517102"/>
                </a:lnTo>
                <a:lnTo>
                  <a:pt x="1197807" y="515048"/>
                </a:lnTo>
                <a:lnTo>
                  <a:pt x="1199868" y="515048"/>
                </a:lnTo>
                <a:lnTo>
                  <a:pt x="1201713" y="516452"/>
                </a:lnTo>
                <a:lnTo>
                  <a:pt x="1203232" y="515912"/>
                </a:lnTo>
                <a:lnTo>
                  <a:pt x="1210394" y="521108"/>
                </a:lnTo>
                <a:lnTo>
                  <a:pt x="1213758" y="524572"/>
                </a:lnTo>
                <a:lnTo>
                  <a:pt x="1213433" y="526956"/>
                </a:lnTo>
                <a:lnTo>
                  <a:pt x="1217014" y="527605"/>
                </a:lnTo>
                <a:lnTo>
                  <a:pt x="1219835" y="527279"/>
                </a:lnTo>
                <a:lnTo>
                  <a:pt x="1221572" y="529119"/>
                </a:lnTo>
                <a:lnTo>
                  <a:pt x="1219510" y="530744"/>
                </a:lnTo>
                <a:lnTo>
                  <a:pt x="1218750" y="532259"/>
                </a:lnTo>
                <a:lnTo>
                  <a:pt x="1221897" y="533455"/>
                </a:lnTo>
                <a:lnTo>
                  <a:pt x="1224610" y="531936"/>
                </a:lnTo>
                <a:lnTo>
                  <a:pt x="1228734" y="534644"/>
                </a:lnTo>
                <a:lnTo>
                  <a:pt x="1228408" y="536916"/>
                </a:lnTo>
                <a:lnTo>
                  <a:pt x="1226238" y="537350"/>
                </a:lnTo>
                <a:lnTo>
                  <a:pt x="1226563" y="538647"/>
                </a:lnTo>
                <a:lnTo>
                  <a:pt x="1229276" y="539190"/>
                </a:lnTo>
                <a:lnTo>
                  <a:pt x="1230796" y="537784"/>
                </a:lnTo>
                <a:lnTo>
                  <a:pt x="1232857" y="538973"/>
                </a:lnTo>
                <a:lnTo>
                  <a:pt x="1234811" y="538324"/>
                </a:lnTo>
                <a:lnTo>
                  <a:pt x="1237524" y="540380"/>
                </a:lnTo>
                <a:lnTo>
                  <a:pt x="1243600" y="538973"/>
                </a:lnTo>
                <a:lnTo>
                  <a:pt x="1250437" y="539842"/>
                </a:lnTo>
                <a:lnTo>
                  <a:pt x="1251848" y="538432"/>
                </a:lnTo>
                <a:lnTo>
                  <a:pt x="1260312" y="538756"/>
                </a:lnTo>
                <a:lnTo>
                  <a:pt x="1262373" y="540814"/>
                </a:lnTo>
                <a:lnTo>
                  <a:pt x="1265521" y="546985"/>
                </a:lnTo>
                <a:lnTo>
                  <a:pt x="1266498" y="552182"/>
                </a:lnTo>
                <a:lnTo>
                  <a:pt x="1269644" y="554022"/>
                </a:lnTo>
                <a:lnTo>
                  <a:pt x="1272141" y="559004"/>
                </a:lnTo>
                <a:lnTo>
                  <a:pt x="1273877" y="568317"/>
                </a:lnTo>
                <a:lnTo>
                  <a:pt x="1276481" y="571239"/>
                </a:lnTo>
                <a:lnTo>
                  <a:pt x="1280279" y="570591"/>
                </a:lnTo>
                <a:lnTo>
                  <a:pt x="1285271" y="572105"/>
                </a:lnTo>
                <a:lnTo>
                  <a:pt x="1286030" y="574160"/>
                </a:lnTo>
                <a:lnTo>
                  <a:pt x="1286030" y="574159"/>
                </a:lnTo>
                <a:lnTo>
                  <a:pt x="1287223" y="577300"/>
                </a:lnTo>
                <a:lnTo>
                  <a:pt x="1289936" y="577300"/>
                </a:lnTo>
                <a:lnTo>
                  <a:pt x="1303392" y="587152"/>
                </a:lnTo>
                <a:lnTo>
                  <a:pt x="1307516" y="587260"/>
                </a:lnTo>
                <a:lnTo>
                  <a:pt x="1311856" y="591050"/>
                </a:lnTo>
                <a:lnTo>
                  <a:pt x="1313593" y="594514"/>
                </a:lnTo>
                <a:lnTo>
                  <a:pt x="1315438" y="594298"/>
                </a:lnTo>
                <a:lnTo>
                  <a:pt x="1320104" y="597979"/>
                </a:lnTo>
                <a:lnTo>
                  <a:pt x="1320104" y="601985"/>
                </a:lnTo>
                <a:lnTo>
                  <a:pt x="1325422" y="607724"/>
                </a:lnTo>
                <a:lnTo>
                  <a:pt x="1324445" y="610430"/>
                </a:lnTo>
                <a:lnTo>
                  <a:pt x="1325096" y="612054"/>
                </a:lnTo>
                <a:lnTo>
                  <a:pt x="1322817" y="617359"/>
                </a:lnTo>
                <a:lnTo>
                  <a:pt x="1324770" y="622340"/>
                </a:lnTo>
                <a:lnTo>
                  <a:pt x="1326940" y="623314"/>
                </a:lnTo>
                <a:lnTo>
                  <a:pt x="1328677" y="621149"/>
                </a:lnTo>
                <a:lnTo>
                  <a:pt x="1330088" y="622015"/>
                </a:lnTo>
                <a:lnTo>
                  <a:pt x="1330196" y="629378"/>
                </a:lnTo>
                <a:lnTo>
                  <a:pt x="1331933" y="636415"/>
                </a:lnTo>
                <a:lnTo>
                  <a:pt x="1339854" y="644643"/>
                </a:lnTo>
                <a:lnTo>
                  <a:pt x="1344087" y="647891"/>
                </a:lnTo>
                <a:lnTo>
                  <a:pt x="1345823" y="646592"/>
                </a:lnTo>
                <a:lnTo>
                  <a:pt x="1348861" y="648433"/>
                </a:lnTo>
                <a:lnTo>
                  <a:pt x="1349512" y="652438"/>
                </a:lnTo>
                <a:lnTo>
                  <a:pt x="1352659" y="653954"/>
                </a:lnTo>
                <a:lnTo>
                  <a:pt x="1353853" y="653629"/>
                </a:lnTo>
                <a:lnTo>
                  <a:pt x="1358844" y="660884"/>
                </a:lnTo>
                <a:lnTo>
                  <a:pt x="1359387" y="667055"/>
                </a:lnTo>
                <a:lnTo>
                  <a:pt x="1362100" y="668246"/>
                </a:lnTo>
                <a:lnTo>
                  <a:pt x="1364162" y="672035"/>
                </a:lnTo>
                <a:lnTo>
                  <a:pt x="1367635" y="672144"/>
                </a:lnTo>
                <a:lnTo>
                  <a:pt x="1372952" y="679398"/>
                </a:lnTo>
                <a:lnTo>
                  <a:pt x="1372952" y="682538"/>
                </a:lnTo>
                <a:lnTo>
                  <a:pt x="1375447" y="683729"/>
                </a:lnTo>
                <a:lnTo>
                  <a:pt x="1374579" y="687302"/>
                </a:lnTo>
                <a:lnTo>
                  <a:pt x="1369913" y="692823"/>
                </a:lnTo>
                <a:lnTo>
                  <a:pt x="1366983" y="697154"/>
                </a:lnTo>
                <a:lnTo>
                  <a:pt x="1376967" y="688492"/>
                </a:lnTo>
                <a:lnTo>
                  <a:pt x="1380548" y="686652"/>
                </a:lnTo>
                <a:lnTo>
                  <a:pt x="1382827" y="687518"/>
                </a:lnTo>
                <a:lnTo>
                  <a:pt x="1384020" y="681131"/>
                </a:lnTo>
                <a:lnTo>
                  <a:pt x="1383152" y="667921"/>
                </a:lnTo>
                <a:lnTo>
                  <a:pt x="1383695" y="660126"/>
                </a:lnTo>
                <a:lnTo>
                  <a:pt x="1386300" y="655687"/>
                </a:lnTo>
                <a:lnTo>
                  <a:pt x="1394221" y="653088"/>
                </a:lnTo>
                <a:lnTo>
                  <a:pt x="1400407" y="649623"/>
                </a:lnTo>
                <a:lnTo>
                  <a:pt x="1404205" y="646267"/>
                </a:lnTo>
                <a:lnTo>
                  <a:pt x="1408654" y="645076"/>
                </a:lnTo>
                <a:lnTo>
                  <a:pt x="1410824" y="641936"/>
                </a:lnTo>
                <a:lnTo>
                  <a:pt x="1414188" y="641396"/>
                </a:lnTo>
                <a:lnTo>
                  <a:pt x="1417552" y="639663"/>
                </a:lnTo>
                <a:lnTo>
                  <a:pt x="1423086" y="639663"/>
                </a:lnTo>
                <a:lnTo>
                  <a:pt x="1424280" y="640422"/>
                </a:lnTo>
                <a:lnTo>
                  <a:pt x="1429163" y="640422"/>
                </a:lnTo>
                <a:lnTo>
                  <a:pt x="1431225" y="642045"/>
                </a:lnTo>
                <a:lnTo>
                  <a:pt x="1437302" y="635440"/>
                </a:lnTo>
                <a:lnTo>
                  <a:pt x="1439472" y="630244"/>
                </a:lnTo>
                <a:lnTo>
                  <a:pt x="1442620" y="629702"/>
                </a:lnTo>
                <a:lnTo>
                  <a:pt x="1446743" y="630785"/>
                </a:lnTo>
                <a:lnTo>
                  <a:pt x="1449348" y="629053"/>
                </a:lnTo>
                <a:lnTo>
                  <a:pt x="1448588" y="627104"/>
                </a:lnTo>
                <a:lnTo>
                  <a:pt x="1452061" y="626995"/>
                </a:lnTo>
                <a:lnTo>
                  <a:pt x="1454339" y="629594"/>
                </a:lnTo>
                <a:lnTo>
                  <a:pt x="1467904" y="628295"/>
                </a:lnTo>
                <a:lnTo>
                  <a:pt x="1479081" y="624722"/>
                </a:lnTo>
                <a:lnTo>
                  <a:pt x="1483205" y="622015"/>
                </a:lnTo>
                <a:lnTo>
                  <a:pt x="1485483" y="621798"/>
                </a:lnTo>
                <a:lnTo>
                  <a:pt x="1487871" y="625588"/>
                </a:lnTo>
                <a:lnTo>
                  <a:pt x="1491017" y="623855"/>
                </a:lnTo>
                <a:lnTo>
                  <a:pt x="1492754" y="619092"/>
                </a:lnTo>
                <a:lnTo>
                  <a:pt x="1500676" y="615627"/>
                </a:lnTo>
                <a:lnTo>
                  <a:pt x="1505668" y="615627"/>
                </a:lnTo>
                <a:lnTo>
                  <a:pt x="1507078" y="617467"/>
                </a:lnTo>
                <a:lnTo>
                  <a:pt x="1509466" y="617467"/>
                </a:lnTo>
                <a:lnTo>
                  <a:pt x="1510659" y="620067"/>
                </a:lnTo>
                <a:lnTo>
                  <a:pt x="1514566" y="619200"/>
                </a:lnTo>
                <a:lnTo>
                  <a:pt x="1514783" y="615953"/>
                </a:lnTo>
                <a:lnTo>
                  <a:pt x="1516302" y="613569"/>
                </a:lnTo>
                <a:lnTo>
                  <a:pt x="1519775" y="615627"/>
                </a:lnTo>
                <a:lnTo>
                  <a:pt x="1519775" y="620067"/>
                </a:lnTo>
                <a:lnTo>
                  <a:pt x="1522162" y="622340"/>
                </a:lnTo>
                <a:lnTo>
                  <a:pt x="1520317" y="624614"/>
                </a:lnTo>
                <a:lnTo>
                  <a:pt x="1518038" y="624614"/>
                </a:lnTo>
                <a:lnTo>
                  <a:pt x="1516845" y="629053"/>
                </a:lnTo>
                <a:lnTo>
                  <a:pt x="1506210" y="631975"/>
                </a:lnTo>
                <a:lnTo>
                  <a:pt x="1496878" y="634683"/>
                </a:lnTo>
                <a:lnTo>
                  <a:pt x="1493731" y="638797"/>
                </a:lnTo>
                <a:lnTo>
                  <a:pt x="1488088" y="640422"/>
                </a:lnTo>
                <a:lnTo>
                  <a:pt x="1484290" y="639880"/>
                </a:lnTo>
                <a:lnTo>
                  <a:pt x="1480817" y="642478"/>
                </a:lnTo>
                <a:lnTo>
                  <a:pt x="1478430" y="642478"/>
                </a:lnTo>
                <a:lnTo>
                  <a:pt x="1476694" y="639122"/>
                </a:lnTo>
                <a:lnTo>
                  <a:pt x="1469314" y="642586"/>
                </a:lnTo>
                <a:lnTo>
                  <a:pt x="1462044" y="642261"/>
                </a:lnTo>
                <a:lnTo>
                  <a:pt x="1460633" y="643993"/>
                </a:lnTo>
                <a:lnTo>
                  <a:pt x="1452277" y="643344"/>
                </a:lnTo>
                <a:lnTo>
                  <a:pt x="1447068" y="645293"/>
                </a:lnTo>
                <a:lnTo>
                  <a:pt x="1443488" y="650815"/>
                </a:lnTo>
                <a:lnTo>
                  <a:pt x="1432419" y="655687"/>
                </a:lnTo>
                <a:lnTo>
                  <a:pt x="1431768" y="653629"/>
                </a:lnTo>
                <a:lnTo>
                  <a:pt x="1426016" y="657744"/>
                </a:lnTo>
                <a:lnTo>
                  <a:pt x="1425148" y="661209"/>
                </a:lnTo>
                <a:lnTo>
                  <a:pt x="1421567" y="662941"/>
                </a:lnTo>
                <a:lnTo>
                  <a:pt x="1419180" y="660450"/>
                </a:lnTo>
                <a:lnTo>
                  <a:pt x="1414731" y="664240"/>
                </a:lnTo>
                <a:lnTo>
                  <a:pt x="1411801" y="668896"/>
                </a:lnTo>
                <a:lnTo>
                  <a:pt x="1408436" y="669112"/>
                </a:lnTo>
                <a:lnTo>
                  <a:pt x="1406050" y="673010"/>
                </a:lnTo>
                <a:lnTo>
                  <a:pt x="1410173" y="678315"/>
                </a:lnTo>
                <a:lnTo>
                  <a:pt x="1414839" y="680805"/>
                </a:lnTo>
                <a:lnTo>
                  <a:pt x="1410064" y="675284"/>
                </a:lnTo>
                <a:lnTo>
                  <a:pt x="1410824" y="673551"/>
                </a:lnTo>
                <a:lnTo>
                  <a:pt x="1415273" y="674959"/>
                </a:lnTo>
                <a:lnTo>
                  <a:pt x="1417660" y="673227"/>
                </a:lnTo>
                <a:lnTo>
                  <a:pt x="1421784" y="674634"/>
                </a:lnTo>
                <a:lnTo>
                  <a:pt x="1420048" y="670411"/>
                </a:lnTo>
                <a:lnTo>
                  <a:pt x="1425908" y="664240"/>
                </a:lnTo>
                <a:lnTo>
                  <a:pt x="1433938" y="662183"/>
                </a:lnTo>
                <a:lnTo>
                  <a:pt x="1438387" y="662183"/>
                </a:lnTo>
                <a:lnTo>
                  <a:pt x="1450758" y="654279"/>
                </a:lnTo>
                <a:lnTo>
                  <a:pt x="1451843" y="650490"/>
                </a:lnTo>
                <a:lnTo>
                  <a:pt x="1455641" y="649407"/>
                </a:lnTo>
                <a:lnTo>
                  <a:pt x="1458788" y="652872"/>
                </a:lnTo>
                <a:lnTo>
                  <a:pt x="1461827" y="650490"/>
                </a:lnTo>
                <a:lnTo>
                  <a:pt x="1465299" y="649840"/>
                </a:lnTo>
                <a:lnTo>
                  <a:pt x="1465950" y="651897"/>
                </a:lnTo>
                <a:lnTo>
                  <a:pt x="1473221" y="647025"/>
                </a:lnTo>
                <a:lnTo>
                  <a:pt x="1474957" y="649840"/>
                </a:lnTo>
                <a:lnTo>
                  <a:pt x="1469098" y="657419"/>
                </a:lnTo>
                <a:lnTo>
                  <a:pt x="1469749" y="661209"/>
                </a:lnTo>
                <a:lnTo>
                  <a:pt x="1474957" y="652872"/>
                </a:lnTo>
                <a:lnTo>
                  <a:pt x="1482553" y="651139"/>
                </a:lnTo>
                <a:lnTo>
                  <a:pt x="1496335" y="640854"/>
                </a:lnTo>
                <a:lnTo>
                  <a:pt x="1503606" y="640854"/>
                </a:lnTo>
                <a:lnTo>
                  <a:pt x="1509140" y="637389"/>
                </a:lnTo>
                <a:lnTo>
                  <a:pt x="1517713" y="637064"/>
                </a:lnTo>
                <a:lnTo>
                  <a:pt x="1521945" y="634683"/>
                </a:lnTo>
                <a:lnTo>
                  <a:pt x="1526069" y="634683"/>
                </a:lnTo>
                <a:lnTo>
                  <a:pt x="1524658" y="639446"/>
                </a:lnTo>
                <a:lnTo>
                  <a:pt x="1518472" y="641504"/>
                </a:lnTo>
                <a:lnTo>
                  <a:pt x="1518472" y="645293"/>
                </a:lnTo>
                <a:lnTo>
                  <a:pt x="1522271" y="648107"/>
                </a:lnTo>
                <a:lnTo>
                  <a:pt x="1528131" y="641504"/>
                </a:lnTo>
                <a:lnTo>
                  <a:pt x="1539199" y="636307"/>
                </a:lnTo>
                <a:lnTo>
                  <a:pt x="1541586" y="636740"/>
                </a:lnTo>
                <a:lnTo>
                  <a:pt x="1541261" y="633600"/>
                </a:lnTo>
                <a:lnTo>
                  <a:pt x="1545710" y="630136"/>
                </a:lnTo>
                <a:lnTo>
                  <a:pt x="1549508" y="631868"/>
                </a:lnTo>
                <a:lnTo>
                  <a:pt x="1549834" y="628078"/>
                </a:lnTo>
                <a:lnTo>
                  <a:pt x="1551244" y="625371"/>
                </a:lnTo>
                <a:lnTo>
                  <a:pt x="1554283" y="628403"/>
                </a:lnTo>
                <a:lnTo>
                  <a:pt x="1558081" y="629485"/>
                </a:lnTo>
                <a:lnTo>
                  <a:pt x="1559166" y="622232"/>
                </a:lnTo>
                <a:lnTo>
                  <a:pt x="1557105" y="617035"/>
                </a:lnTo>
                <a:lnTo>
                  <a:pt x="1559492" y="614328"/>
                </a:lnTo>
                <a:lnTo>
                  <a:pt x="1556779" y="611188"/>
                </a:lnTo>
                <a:lnTo>
                  <a:pt x="1560903" y="605017"/>
                </a:lnTo>
                <a:lnTo>
                  <a:pt x="1567739" y="602310"/>
                </a:lnTo>
                <a:lnTo>
                  <a:pt x="1567739" y="608481"/>
                </a:lnTo>
                <a:lnTo>
                  <a:pt x="1569150" y="626671"/>
                </a:lnTo>
                <a:lnTo>
                  <a:pt x="1566437" y="631868"/>
                </a:lnTo>
                <a:lnTo>
                  <a:pt x="1567088" y="646700"/>
                </a:lnTo>
                <a:lnTo>
                  <a:pt x="1562964" y="655254"/>
                </a:lnTo>
                <a:lnTo>
                  <a:pt x="1562639" y="676691"/>
                </a:lnTo>
                <a:lnTo>
                  <a:pt x="1564701" y="682538"/>
                </a:lnTo>
                <a:lnTo>
                  <a:pt x="1569801" y="684270"/>
                </a:lnTo>
                <a:lnTo>
                  <a:pt x="1572948" y="691091"/>
                </a:lnTo>
                <a:lnTo>
                  <a:pt x="1580544" y="686976"/>
                </a:lnTo>
                <a:lnTo>
                  <a:pt x="1578157" y="683512"/>
                </a:lnTo>
                <a:lnTo>
                  <a:pt x="1573707" y="683512"/>
                </a:lnTo>
                <a:lnTo>
                  <a:pt x="1572297" y="680480"/>
                </a:lnTo>
                <a:lnTo>
                  <a:pt x="1576746" y="677666"/>
                </a:lnTo>
                <a:lnTo>
                  <a:pt x="1581303" y="679398"/>
                </a:lnTo>
                <a:lnTo>
                  <a:pt x="1582606" y="674201"/>
                </a:lnTo>
                <a:lnTo>
                  <a:pt x="1579893" y="673227"/>
                </a:lnTo>
                <a:lnTo>
                  <a:pt x="1584668" y="669112"/>
                </a:lnTo>
                <a:lnTo>
                  <a:pt x="1590853" y="669437"/>
                </a:lnTo>
                <a:lnTo>
                  <a:pt x="1591612" y="673227"/>
                </a:lnTo>
                <a:lnTo>
                  <a:pt x="1595411" y="669762"/>
                </a:lnTo>
                <a:lnTo>
                  <a:pt x="1590527" y="660776"/>
                </a:lnTo>
                <a:lnTo>
                  <a:pt x="1595085" y="661533"/>
                </a:lnTo>
                <a:lnTo>
                  <a:pt x="1603984" y="656011"/>
                </a:lnTo>
                <a:lnTo>
                  <a:pt x="1603984" y="652222"/>
                </a:lnTo>
                <a:lnTo>
                  <a:pt x="1609518" y="650815"/>
                </a:lnTo>
                <a:lnTo>
                  <a:pt x="1610603" y="656336"/>
                </a:lnTo>
                <a:lnTo>
                  <a:pt x="1610386" y="659801"/>
                </a:lnTo>
                <a:lnTo>
                  <a:pt x="1605937" y="664132"/>
                </a:lnTo>
                <a:lnTo>
                  <a:pt x="1606479" y="666622"/>
                </a:lnTo>
                <a:lnTo>
                  <a:pt x="1601922" y="670519"/>
                </a:lnTo>
                <a:lnTo>
                  <a:pt x="1601271" y="673335"/>
                </a:lnTo>
                <a:lnTo>
                  <a:pt x="1603116" y="675284"/>
                </a:lnTo>
                <a:lnTo>
                  <a:pt x="1606588" y="674201"/>
                </a:lnTo>
                <a:lnTo>
                  <a:pt x="1607782" y="676799"/>
                </a:lnTo>
                <a:lnTo>
                  <a:pt x="1606696" y="678748"/>
                </a:lnTo>
                <a:lnTo>
                  <a:pt x="1603116" y="680480"/>
                </a:lnTo>
                <a:lnTo>
                  <a:pt x="1598883" y="684703"/>
                </a:lnTo>
                <a:lnTo>
                  <a:pt x="1595954" y="684270"/>
                </a:lnTo>
                <a:lnTo>
                  <a:pt x="1594325" y="686652"/>
                </a:lnTo>
                <a:lnTo>
                  <a:pt x="1590853" y="691091"/>
                </a:lnTo>
                <a:lnTo>
                  <a:pt x="1593675" y="693906"/>
                </a:lnTo>
                <a:lnTo>
                  <a:pt x="1600620" y="694880"/>
                </a:lnTo>
                <a:lnTo>
                  <a:pt x="1604309" y="697696"/>
                </a:lnTo>
                <a:lnTo>
                  <a:pt x="1608867" y="697263"/>
                </a:lnTo>
                <a:lnTo>
                  <a:pt x="1612990" y="693582"/>
                </a:lnTo>
                <a:lnTo>
                  <a:pt x="1617873" y="692498"/>
                </a:lnTo>
                <a:lnTo>
                  <a:pt x="1622648" y="683837"/>
                </a:lnTo>
                <a:lnTo>
                  <a:pt x="1628183" y="678315"/>
                </a:lnTo>
                <a:lnTo>
                  <a:pt x="1633392" y="676691"/>
                </a:lnTo>
                <a:lnTo>
                  <a:pt x="1636430" y="679398"/>
                </a:lnTo>
                <a:lnTo>
                  <a:pt x="1641313" y="680047"/>
                </a:lnTo>
                <a:lnTo>
                  <a:pt x="1645111" y="683188"/>
                </a:lnTo>
                <a:lnTo>
                  <a:pt x="1649235" y="683512"/>
                </a:lnTo>
                <a:lnTo>
                  <a:pt x="1655095" y="688060"/>
                </a:lnTo>
                <a:lnTo>
                  <a:pt x="1659218" y="688060"/>
                </a:lnTo>
                <a:lnTo>
                  <a:pt x="1659218" y="692498"/>
                </a:lnTo>
                <a:lnTo>
                  <a:pt x="1663342" y="703867"/>
                </a:lnTo>
                <a:lnTo>
                  <a:pt x="1663342" y="710039"/>
                </a:lnTo>
                <a:lnTo>
                  <a:pt x="1668877" y="718267"/>
                </a:lnTo>
                <a:lnTo>
                  <a:pt x="1688192" y="730393"/>
                </a:lnTo>
                <a:lnTo>
                  <a:pt x="1689604" y="734832"/>
                </a:lnTo>
                <a:lnTo>
                  <a:pt x="1696223" y="737973"/>
                </a:lnTo>
                <a:lnTo>
                  <a:pt x="1703276" y="745551"/>
                </a:lnTo>
                <a:lnTo>
                  <a:pt x="1705664" y="745551"/>
                </a:lnTo>
                <a:lnTo>
                  <a:pt x="1710547" y="748799"/>
                </a:lnTo>
                <a:lnTo>
                  <a:pt x="1712175" y="753022"/>
                </a:lnTo>
                <a:lnTo>
                  <a:pt x="1715213" y="754863"/>
                </a:lnTo>
                <a:lnTo>
                  <a:pt x="1717601" y="752589"/>
                </a:lnTo>
                <a:lnTo>
                  <a:pt x="1719120" y="755512"/>
                </a:lnTo>
                <a:lnTo>
                  <a:pt x="1726174" y="760167"/>
                </a:lnTo>
                <a:lnTo>
                  <a:pt x="1730189" y="760167"/>
                </a:lnTo>
                <a:lnTo>
                  <a:pt x="1730189" y="764824"/>
                </a:lnTo>
                <a:lnTo>
                  <a:pt x="1733444" y="769154"/>
                </a:lnTo>
                <a:lnTo>
                  <a:pt x="1735180" y="764824"/>
                </a:lnTo>
                <a:lnTo>
                  <a:pt x="1733118" y="761900"/>
                </a:lnTo>
                <a:lnTo>
                  <a:pt x="1734095" y="759302"/>
                </a:lnTo>
                <a:lnTo>
                  <a:pt x="1729755" y="755728"/>
                </a:lnTo>
                <a:lnTo>
                  <a:pt x="1729755" y="753130"/>
                </a:lnTo>
                <a:lnTo>
                  <a:pt x="1736700" y="756703"/>
                </a:lnTo>
                <a:lnTo>
                  <a:pt x="1738219" y="760385"/>
                </a:lnTo>
                <a:lnTo>
                  <a:pt x="1740281" y="760167"/>
                </a:lnTo>
                <a:lnTo>
                  <a:pt x="1741691" y="756595"/>
                </a:lnTo>
                <a:lnTo>
                  <a:pt x="1743536" y="756053"/>
                </a:lnTo>
                <a:lnTo>
                  <a:pt x="1749938" y="762225"/>
                </a:lnTo>
                <a:lnTo>
                  <a:pt x="1751024" y="765581"/>
                </a:lnTo>
                <a:lnTo>
                  <a:pt x="1754062" y="766881"/>
                </a:lnTo>
                <a:lnTo>
                  <a:pt x="1756667" y="772944"/>
                </a:lnTo>
                <a:lnTo>
                  <a:pt x="1759054" y="777058"/>
                </a:lnTo>
                <a:lnTo>
                  <a:pt x="1759596" y="782905"/>
                </a:lnTo>
                <a:lnTo>
                  <a:pt x="1761876" y="788318"/>
                </a:lnTo>
                <a:lnTo>
                  <a:pt x="1759596" y="793082"/>
                </a:lnTo>
                <a:lnTo>
                  <a:pt x="1759054" y="798387"/>
                </a:lnTo>
                <a:lnTo>
                  <a:pt x="1754822" y="803151"/>
                </a:lnTo>
                <a:lnTo>
                  <a:pt x="1744296" y="799362"/>
                </a:lnTo>
                <a:lnTo>
                  <a:pt x="1738436" y="798820"/>
                </a:lnTo>
                <a:lnTo>
                  <a:pt x="1738545" y="800769"/>
                </a:lnTo>
                <a:lnTo>
                  <a:pt x="1736483" y="802285"/>
                </a:lnTo>
                <a:lnTo>
                  <a:pt x="1730514" y="799903"/>
                </a:lnTo>
                <a:lnTo>
                  <a:pt x="1726499" y="799687"/>
                </a:lnTo>
                <a:lnTo>
                  <a:pt x="1727692" y="803368"/>
                </a:lnTo>
                <a:lnTo>
                  <a:pt x="1723786" y="806074"/>
                </a:lnTo>
                <a:lnTo>
                  <a:pt x="1723244" y="811055"/>
                </a:lnTo>
                <a:lnTo>
                  <a:pt x="1718251" y="810513"/>
                </a:lnTo>
                <a:lnTo>
                  <a:pt x="1713911" y="812138"/>
                </a:lnTo>
                <a:lnTo>
                  <a:pt x="1715647" y="814519"/>
                </a:lnTo>
                <a:lnTo>
                  <a:pt x="1720313" y="816577"/>
                </a:lnTo>
                <a:lnTo>
                  <a:pt x="1721724" y="821882"/>
                </a:lnTo>
                <a:lnTo>
                  <a:pt x="1725631" y="825130"/>
                </a:lnTo>
                <a:lnTo>
                  <a:pt x="1728560" y="823290"/>
                </a:lnTo>
                <a:lnTo>
                  <a:pt x="1734095" y="827729"/>
                </a:lnTo>
                <a:lnTo>
                  <a:pt x="1734421" y="831843"/>
                </a:lnTo>
                <a:lnTo>
                  <a:pt x="1741040" y="831843"/>
                </a:lnTo>
                <a:lnTo>
                  <a:pt x="1748419" y="836390"/>
                </a:lnTo>
                <a:lnTo>
                  <a:pt x="1756341" y="836823"/>
                </a:lnTo>
                <a:lnTo>
                  <a:pt x="1766325" y="841370"/>
                </a:lnTo>
                <a:lnTo>
                  <a:pt x="1772402" y="841696"/>
                </a:lnTo>
                <a:lnTo>
                  <a:pt x="1772402" y="839097"/>
                </a:lnTo>
                <a:lnTo>
                  <a:pt x="1774789" y="838772"/>
                </a:lnTo>
                <a:lnTo>
                  <a:pt x="1779021" y="841154"/>
                </a:lnTo>
                <a:lnTo>
                  <a:pt x="1778696" y="844944"/>
                </a:lnTo>
                <a:lnTo>
                  <a:pt x="1785641" y="839422"/>
                </a:lnTo>
                <a:lnTo>
                  <a:pt x="1788028" y="842129"/>
                </a:lnTo>
                <a:lnTo>
                  <a:pt x="1790958" y="841804"/>
                </a:lnTo>
                <a:lnTo>
                  <a:pt x="1794213" y="838014"/>
                </a:lnTo>
                <a:lnTo>
                  <a:pt x="1796275" y="838231"/>
                </a:lnTo>
                <a:lnTo>
                  <a:pt x="1796167" y="840505"/>
                </a:lnTo>
                <a:lnTo>
                  <a:pt x="1798663" y="841479"/>
                </a:lnTo>
                <a:lnTo>
                  <a:pt x="1806259" y="837582"/>
                </a:lnTo>
                <a:lnTo>
                  <a:pt x="1819389" y="832709"/>
                </a:lnTo>
                <a:lnTo>
                  <a:pt x="1823404" y="831843"/>
                </a:lnTo>
                <a:lnTo>
                  <a:pt x="1823187" y="836390"/>
                </a:lnTo>
                <a:lnTo>
                  <a:pt x="1821994" y="838772"/>
                </a:lnTo>
                <a:lnTo>
                  <a:pt x="1821994" y="840505"/>
                </a:lnTo>
                <a:lnTo>
                  <a:pt x="1824164" y="840613"/>
                </a:lnTo>
                <a:lnTo>
                  <a:pt x="1824598" y="845593"/>
                </a:lnTo>
                <a:lnTo>
                  <a:pt x="1823839" y="849274"/>
                </a:lnTo>
                <a:lnTo>
                  <a:pt x="1825032" y="851764"/>
                </a:lnTo>
                <a:lnTo>
                  <a:pt x="1826660" y="852847"/>
                </a:lnTo>
                <a:lnTo>
                  <a:pt x="1829373" y="849924"/>
                </a:lnTo>
                <a:lnTo>
                  <a:pt x="1832303" y="852523"/>
                </a:lnTo>
                <a:lnTo>
                  <a:pt x="1831651" y="856637"/>
                </a:lnTo>
                <a:lnTo>
                  <a:pt x="1828505" y="864216"/>
                </a:lnTo>
                <a:lnTo>
                  <a:pt x="1829590" y="869196"/>
                </a:lnTo>
                <a:lnTo>
                  <a:pt x="1830892" y="870171"/>
                </a:lnTo>
                <a:lnTo>
                  <a:pt x="1834365" y="866814"/>
                </a:lnTo>
                <a:lnTo>
                  <a:pt x="1835016" y="860968"/>
                </a:lnTo>
                <a:lnTo>
                  <a:pt x="1836752" y="858045"/>
                </a:lnTo>
                <a:lnTo>
                  <a:pt x="1838163" y="858045"/>
                </a:lnTo>
                <a:lnTo>
                  <a:pt x="1837620" y="864324"/>
                </a:lnTo>
                <a:lnTo>
                  <a:pt x="1834365" y="872120"/>
                </a:lnTo>
                <a:lnTo>
                  <a:pt x="1830892" y="877316"/>
                </a:lnTo>
                <a:lnTo>
                  <a:pt x="1830567" y="885653"/>
                </a:lnTo>
                <a:lnTo>
                  <a:pt x="1833822" y="890851"/>
                </a:lnTo>
                <a:lnTo>
                  <a:pt x="1834039" y="899079"/>
                </a:lnTo>
                <a:lnTo>
                  <a:pt x="1832303" y="904926"/>
                </a:lnTo>
                <a:lnTo>
                  <a:pt x="1837294" y="908498"/>
                </a:lnTo>
                <a:lnTo>
                  <a:pt x="1837294" y="911530"/>
                </a:lnTo>
                <a:lnTo>
                  <a:pt x="1835233" y="915428"/>
                </a:lnTo>
                <a:lnTo>
                  <a:pt x="1837294" y="917810"/>
                </a:lnTo>
                <a:lnTo>
                  <a:pt x="1839899" y="924847"/>
                </a:lnTo>
                <a:lnTo>
                  <a:pt x="1840767" y="939681"/>
                </a:lnTo>
                <a:lnTo>
                  <a:pt x="1841093" y="924847"/>
                </a:lnTo>
                <a:lnTo>
                  <a:pt x="1838488" y="913154"/>
                </a:lnTo>
                <a:lnTo>
                  <a:pt x="1839899" y="902869"/>
                </a:lnTo>
                <a:lnTo>
                  <a:pt x="1845433" y="892908"/>
                </a:lnTo>
                <a:lnTo>
                  <a:pt x="1848689" y="893016"/>
                </a:lnTo>
                <a:lnTo>
                  <a:pt x="1848689" y="897347"/>
                </a:lnTo>
                <a:lnTo>
                  <a:pt x="1846952" y="897996"/>
                </a:lnTo>
                <a:lnTo>
                  <a:pt x="1846302" y="901894"/>
                </a:lnTo>
                <a:lnTo>
                  <a:pt x="1847929" y="903085"/>
                </a:lnTo>
                <a:lnTo>
                  <a:pt x="1851076" y="901028"/>
                </a:lnTo>
                <a:lnTo>
                  <a:pt x="1852270" y="902869"/>
                </a:lnTo>
                <a:lnTo>
                  <a:pt x="1854331" y="900703"/>
                </a:lnTo>
                <a:lnTo>
                  <a:pt x="1854331" y="895831"/>
                </a:lnTo>
                <a:lnTo>
                  <a:pt x="1851618" y="891500"/>
                </a:lnTo>
                <a:lnTo>
                  <a:pt x="1851402" y="888793"/>
                </a:lnTo>
                <a:lnTo>
                  <a:pt x="1855959" y="887602"/>
                </a:lnTo>
                <a:lnTo>
                  <a:pt x="1857153" y="885112"/>
                </a:lnTo>
                <a:lnTo>
                  <a:pt x="1852813" y="881755"/>
                </a:lnTo>
                <a:lnTo>
                  <a:pt x="1853138" y="878508"/>
                </a:lnTo>
                <a:lnTo>
                  <a:pt x="1855417" y="869521"/>
                </a:lnTo>
                <a:lnTo>
                  <a:pt x="1859541" y="857503"/>
                </a:lnTo>
                <a:lnTo>
                  <a:pt x="1858456" y="853497"/>
                </a:lnTo>
                <a:lnTo>
                  <a:pt x="1858456" y="849708"/>
                </a:lnTo>
                <a:lnTo>
                  <a:pt x="1861602" y="847325"/>
                </a:lnTo>
                <a:lnTo>
                  <a:pt x="1868330" y="846676"/>
                </a:lnTo>
                <a:lnTo>
                  <a:pt x="1868656" y="845160"/>
                </a:lnTo>
                <a:lnTo>
                  <a:pt x="1870718" y="842345"/>
                </a:lnTo>
                <a:lnTo>
                  <a:pt x="1873973" y="841804"/>
                </a:lnTo>
                <a:lnTo>
                  <a:pt x="1876035" y="844294"/>
                </a:lnTo>
                <a:lnTo>
                  <a:pt x="1879507" y="842670"/>
                </a:lnTo>
                <a:lnTo>
                  <a:pt x="1882437" y="838772"/>
                </a:lnTo>
                <a:lnTo>
                  <a:pt x="1884717" y="838556"/>
                </a:lnTo>
                <a:lnTo>
                  <a:pt x="1884717" y="841804"/>
                </a:lnTo>
                <a:lnTo>
                  <a:pt x="1887103" y="840613"/>
                </a:lnTo>
                <a:lnTo>
                  <a:pt x="1892313" y="839747"/>
                </a:lnTo>
                <a:lnTo>
                  <a:pt x="1894700" y="835091"/>
                </a:lnTo>
                <a:lnTo>
                  <a:pt x="1897413" y="835091"/>
                </a:lnTo>
                <a:lnTo>
                  <a:pt x="1899041" y="838772"/>
                </a:lnTo>
                <a:lnTo>
                  <a:pt x="1901211" y="839313"/>
                </a:lnTo>
                <a:lnTo>
                  <a:pt x="1902404" y="845268"/>
                </a:lnTo>
                <a:lnTo>
                  <a:pt x="1902296" y="839313"/>
                </a:lnTo>
                <a:lnTo>
                  <a:pt x="1900668" y="834117"/>
                </a:lnTo>
                <a:lnTo>
                  <a:pt x="1904467" y="826862"/>
                </a:lnTo>
                <a:lnTo>
                  <a:pt x="1907830" y="826754"/>
                </a:lnTo>
                <a:lnTo>
                  <a:pt x="1910001" y="828486"/>
                </a:lnTo>
                <a:lnTo>
                  <a:pt x="1914016" y="828270"/>
                </a:lnTo>
                <a:lnTo>
                  <a:pt x="1916620" y="826538"/>
                </a:lnTo>
                <a:lnTo>
                  <a:pt x="1919442" y="828811"/>
                </a:lnTo>
                <a:lnTo>
                  <a:pt x="1924867" y="822964"/>
                </a:lnTo>
                <a:lnTo>
                  <a:pt x="1923131" y="819825"/>
                </a:lnTo>
                <a:lnTo>
                  <a:pt x="1926170" y="816577"/>
                </a:lnTo>
                <a:lnTo>
                  <a:pt x="1921937" y="816252"/>
                </a:lnTo>
                <a:lnTo>
                  <a:pt x="1921395" y="814844"/>
                </a:lnTo>
                <a:lnTo>
                  <a:pt x="1917814" y="815061"/>
                </a:lnTo>
                <a:lnTo>
                  <a:pt x="1908156" y="818417"/>
                </a:lnTo>
                <a:lnTo>
                  <a:pt x="1905335" y="818093"/>
                </a:lnTo>
                <a:lnTo>
                  <a:pt x="1904032" y="821341"/>
                </a:lnTo>
                <a:lnTo>
                  <a:pt x="1899801" y="821774"/>
                </a:lnTo>
                <a:lnTo>
                  <a:pt x="1899801" y="824697"/>
                </a:lnTo>
                <a:lnTo>
                  <a:pt x="1898824" y="827079"/>
                </a:lnTo>
                <a:lnTo>
                  <a:pt x="1894808" y="822207"/>
                </a:lnTo>
                <a:lnTo>
                  <a:pt x="1895351" y="818417"/>
                </a:lnTo>
                <a:lnTo>
                  <a:pt x="1892638" y="820691"/>
                </a:lnTo>
                <a:lnTo>
                  <a:pt x="1891553" y="824805"/>
                </a:lnTo>
                <a:lnTo>
                  <a:pt x="1888297" y="826213"/>
                </a:lnTo>
                <a:lnTo>
                  <a:pt x="1883849" y="823290"/>
                </a:lnTo>
                <a:lnTo>
                  <a:pt x="1880159" y="823290"/>
                </a:lnTo>
                <a:lnTo>
                  <a:pt x="1879507" y="821016"/>
                </a:lnTo>
                <a:lnTo>
                  <a:pt x="1876469" y="821882"/>
                </a:lnTo>
                <a:lnTo>
                  <a:pt x="1875926" y="824697"/>
                </a:lnTo>
                <a:lnTo>
                  <a:pt x="1879182" y="827945"/>
                </a:lnTo>
                <a:lnTo>
                  <a:pt x="1879182" y="830652"/>
                </a:lnTo>
                <a:lnTo>
                  <a:pt x="1874190" y="832276"/>
                </a:lnTo>
                <a:lnTo>
                  <a:pt x="1872780" y="830002"/>
                </a:lnTo>
                <a:lnTo>
                  <a:pt x="1866377" y="829136"/>
                </a:lnTo>
                <a:lnTo>
                  <a:pt x="1865509" y="826754"/>
                </a:lnTo>
                <a:lnTo>
                  <a:pt x="1868547" y="824156"/>
                </a:lnTo>
                <a:lnTo>
                  <a:pt x="1869850" y="819825"/>
                </a:lnTo>
                <a:lnTo>
                  <a:pt x="1868005" y="819609"/>
                </a:lnTo>
                <a:lnTo>
                  <a:pt x="1865184" y="821341"/>
                </a:lnTo>
                <a:lnTo>
                  <a:pt x="1861602" y="819500"/>
                </a:lnTo>
                <a:lnTo>
                  <a:pt x="1863447" y="815711"/>
                </a:lnTo>
                <a:lnTo>
                  <a:pt x="1867788" y="813112"/>
                </a:lnTo>
                <a:lnTo>
                  <a:pt x="1873864" y="804558"/>
                </a:lnTo>
                <a:lnTo>
                  <a:pt x="1878097" y="804558"/>
                </a:lnTo>
                <a:lnTo>
                  <a:pt x="1883306" y="805966"/>
                </a:lnTo>
                <a:lnTo>
                  <a:pt x="1900668" y="805209"/>
                </a:lnTo>
                <a:lnTo>
                  <a:pt x="1912931" y="801419"/>
                </a:lnTo>
                <a:lnTo>
                  <a:pt x="1916186" y="802177"/>
                </a:lnTo>
                <a:lnTo>
                  <a:pt x="1922263" y="800011"/>
                </a:lnTo>
                <a:lnTo>
                  <a:pt x="1924433" y="803476"/>
                </a:lnTo>
                <a:lnTo>
                  <a:pt x="1927363" y="806074"/>
                </a:lnTo>
                <a:lnTo>
                  <a:pt x="1929642" y="806291"/>
                </a:lnTo>
                <a:lnTo>
                  <a:pt x="1931053" y="810080"/>
                </a:lnTo>
                <a:lnTo>
                  <a:pt x="1930185" y="819609"/>
                </a:lnTo>
                <a:lnTo>
                  <a:pt x="1928991" y="822748"/>
                </a:lnTo>
                <a:lnTo>
                  <a:pt x="1931270" y="824156"/>
                </a:lnTo>
                <a:lnTo>
                  <a:pt x="1930510" y="825996"/>
                </a:lnTo>
                <a:lnTo>
                  <a:pt x="1926712" y="828486"/>
                </a:lnTo>
                <a:lnTo>
                  <a:pt x="1927255" y="830111"/>
                </a:lnTo>
                <a:lnTo>
                  <a:pt x="1928991" y="831518"/>
                </a:lnTo>
                <a:lnTo>
                  <a:pt x="1930185" y="840829"/>
                </a:lnTo>
                <a:lnTo>
                  <a:pt x="1933766" y="840937"/>
                </a:lnTo>
                <a:lnTo>
                  <a:pt x="1936696" y="842345"/>
                </a:lnTo>
                <a:lnTo>
                  <a:pt x="1936696" y="844727"/>
                </a:lnTo>
                <a:lnTo>
                  <a:pt x="1932898" y="847542"/>
                </a:lnTo>
                <a:lnTo>
                  <a:pt x="1932572" y="851115"/>
                </a:lnTo>
                <a:lnTo>
                  <a:pt x="1930728" y="854255"/>
                </a:lnTo>
                <a:lnTo>
                  <a:pt x="1935394" y="854039"/>
                </a:lnTo>
                <a:lnTo>
                  <a:pt x="1939626" y="855988"/>
                </a:lnTo>
                <a:lnTo>
                  <a:pt x="1940494" y="857719"/>
                </a:lnTo>
                <a:lnTo>
                  <a:pt x="1942447" y="857178"/>
                </a:lnTo>
                <a:lnTo>
                  <a:pt x="1945703" y="860751"/>
                </a:lnTo>
                <a:lnTo>
                  <a:pt x="1950694" y="860968"/>
                </a:lnTo>
                <a:lnTo>
                  <a:pt x="1954818" y="858478"/>
                </a:lnTo>
                <a:lnTo>
                  <a:pt x="1956554" y="859560"/>
                </a:lnTo>
                <a:lnTo>
                  <a:pt x="1956229" y="862808"/>
                </a:lnTo>
                <a:lnTo>
                  <a:pt x="1957423" y="864216"/>
                </a:lnTo>
                <a:lnTo>
                  <a:pt x="1959592" y="863349"/>
                </a:lnTo>
                <a:lnTo>
                  <a:pt x="1962089" y="866273"/>
                </a:lnTo>
                <a:lnTo>
                  <a:pt x="1960787" y="868547"/>
                </a:lnTo>
                <a:lnTo>
                  <a:pt x="1960787" y="871362"/>
                </a:lnTo>
                <a:lnTo>
                  <a:pt x="1962849" y="872228"/>
                </a:lnTo>
                <a:lnTo>
                  <a:pt x="1963825" y="875151"/>
                </a:lnTo>
                <a:lnTo>
                  <a:pt x="1970336" y="881431"/>
                </a:lnTo>
                <a:lnTo>
                  <a:pt x="1970336" y="884787"/>
                </a:lnTo>
                <a:lnTo>
                  <a:pt x="1975436" y="881214"/>
                </a:lnTo>
                <a:lnTo>
                  <a:pt x="1977172" y="882622"/>
                </a:lnTo>
                <a:lnTo>
                  <a:pt x="1977932" y="886736"/>
                </a:lnTo>
                <a:lnTo>
                  <a:pt x="1979126" y="887277"/>
                </a:lnTo>
                <a:lnTo>
                  <a:pt x="1984118" y="891392"/>
                </a:lnTo>
                <a:lnTo>
                  <a:pt x="1989435" y="888577"/>
                </a:lnTo>
                <a:lnTo>
                  <a:pt x="1997357" y="888902"/>
                </a:lnTo>
                <a:lnTo>
                  <a:pt x="1999744" y="885112"/>
                </a:lnTo>
                <a:lnTo>
                  <a:pt x="2006146" y="881755"/>
                </a:lnTo>
                <a:lnTo>
                  <a:pt x="2007557" y="881755"/>
                </a:lnTo>
                <a:lnTo>
                  <a:pt x="2008968" y="884463"/>
                </a:lnTo>
                <a:lnTo>
                  <a:pt x="2018192" y="883921"/>
                </a:lnTo>
                <a:lnTo>
                  <a:pt x="2026113" y="890200"/>
                </a:lnTo>
                <a:lnTo>
                  <a:pt x="2029694" y="891175"/>
                </a:lnTo>
                <a:lnTo>
                  <a:pt x="2033384" y="894640"/>
                </a:lnTo>
                <a:lnTo>
                  <a:pt x="2035446" y="892908"/>
                </a:lnTo>
                <a:lnTo>
                  <a:pt x="2044019" y="891067"/>
                </a:lnTo>
                <a:lnTo>
                  <a:pt x="2047166" y="895181"/>
                </a:lnTo>
                <a:lnTo>
                  <a:pt x="2049553" y="893557"/>
                </a:lnTo>
                <a:lnTo>
                  <a:pt x="2048902" y="888468"/>
                </a:lnTo>
                <a:lnTo>
                  <a:pt x="2045213" y="884354"/>
                </a:lnTo>
                <a:lnTo>
                  <a:pt x="2043910" y="877749"/>
                </a:lnTo>
                <a:lnTo>
                  <a:pt x="2045646" y="875692"/>
                </a:lnTo>
                <a:lnTo>
                  <a:pt x="2048359" y="876234"/>
                </a:lnTo>
                <a:lnTo>
                  <a:pt x="2050964" y="883921"/>
                </a:lnTo>
                <a:lnTo>
                  <a:pt x="2052158" y="890200"/>
                </a:lnTo>
                <a:lnTo>
                  <a:pt x="2058669" y="897996"/>
                </a:lnTo>
                <a:lnTo>
                  <a:pt x="2061924" y="900703"/>
                </a:lnTo>
                <a:lnTo>
                  <a:pt x="2063552" y="906008"/>
                </a:lnTo>
                <a:lnTo>
                  <a:pt x="2063877" y="896155"/>
                </a:lnTo>
                <a:lnTo>
                  <a:pt x="2061490" y="892908"/>
                </a:lnTo>
                <a:lnTo>
                  <a:pt x="2054871" y="890200"/>
                </a:lnTo>
                <a:lnTo>
                  <a:pt x="2053351" y="883271"/>
                </a:lnTo>
                <a:lnTo>
                  <a:pt x="2050964" y="873852"/>
                </a:lnTo>
                <a:lnTo>
                  <a:pt x="2052158" y="870604"/>
                </a:lnTo>
                <a:lnTo>
                  <a:pt x="2054002" y="871037"/>
                </a:lnTo>
                <a:lnTo>
                  <a:pt x="2054219" y="874176"/>
                </a:lnTo>
                <a:lnTo>
                  <a:pt x="2056064" y="876017"/>
                </a:lnTo>
                <a:lnTo>
                  <a:pt x="2058669" y="873960"/>
                </a:lnTo>
                <a:lnTo>
                  <a:pt x="2058669" y="870712"/>
                </a:lnTo>
                <a:lnTo>
                  <a:pt x="2056607" y="866814"/>
                </a:lnTo>
                <a:lnTo>
                  <a:pt x="2058234" y="864216"/>
                </a:lnTo>
                <a:lnTo>
                  <a:pt x="2056824" y="861617"/>
                </a:lnTo>
                <a:lnTo>
                  <a:pt x="2057692" y="858694"/>
                </a:lnTo>
                <a:lnTo>
                  <a:pt x="2061273" y="858911"/>
                </a:lnTo>
                <a:lnTo>
                  <a:pt x="2063877" y="862484"/>
                </a:lnTo>
                <a:lnTo>
                  <a:pt x="2063660" y="865515"/>
                </a:lnTo>
                <a:lnTo>
                  <a:pt x="2065722" y="866814"/>
                </a:lnTo>
                <a:lnTo>
                  <a:pt x="2066590" y="864865"/>
                </a:lnTo>
                <a:lnTo>
                  <a:pt x="2071474" y="862159"/>
                </a:lnTo>
                <a:lnTo>
                  <a:pt x="2073210" y="857286"/>
                </a:lnTo>
                <a:lnTo>
                  <a:pt x="2077334" y="857286"/>
                </a:lnTo>
                <a:lnTo>
                  <a:pt x="2079504" y="861292"/>
                </a:lnTo>
                <a:lnTo>
                  <a:pt x="2077984" y="864000"/>
                </a:lnTo>
                <a:lnTo>
                  <a:pt x="2077984" y="866814"/>
                </a:lnTo>
                <a:lnTo>
                  <a:pt x="2079179" y="863674"/>
                </a:lnTo>
                <a:lnTo>
                  <a:pt x="2081565" y="863025"/>
                </a:lnTo>
                <a:lnTo>
                  <a:pt x="2085255" y="866056"/>
                </a:lnTo>
                <a:lnTo>
                  <a:pt x="2084495" y="871362"/>
                </a:lnTo>
                <a:lnTo>
                  <a:pt x="2082976" y="874502"/>
                </a:lnTo>
                <a:lnTo>
                  <a:pt x="2085798" y="877749"/>
                </a:lnTo>
                <a:lnTo>
                  <a:pt x="2089596" y="876775"/>
                </a:lnTo>
                <a:lnTo>
                  <a:pt x="2092634" y="878508"/>
                </a:lnTo>
                <a:lnTo>
                  <a:pt x="2091441" y="882188"/>
                </a:lnTo>
                <a:lnTo>
                  <a:pt x="2085906" y="884463"/>
                </a:lnTo>
                <a:lnTo>
                  <a:pt x="2085038" y="886303"/>
                </a:lnTo>
                <a:lnTo>
                  <a:pt x="2088294" y="887710"/>
                </a:lnTo>
                <a:lnTo>
                  <a:pt x="2093719" y="884137"/>
                </a:lnTo>
                <a:lnTo>
                  <a:pt x="2096649" y="879374"/>
                </a:lnTo>
                <a:lnTo>
                  <a:pt x="2102510" y="877749"/>
                </a:lnTo>
                <a:lnTo>
                  <a:pt x="2107284" y="878291"/>
                </a:lnTo>
                <a:lnTo>
                  <a:pt x="2107176" y="880240"/>
                </a:lnTo>
                <a:lnTo>
                  <a:pt x="2103811" y="881214"/>
                </a:lnTo>
                <a:lnTo>
                  <a:pt x="2100882" y="883813"/>
                </a:lnTo>
                <a:lnTo>
                  <a:pt x="2100447" y="889443"/>
                </a:lnTo>
                <a:lnTo>
                  <a:pt x="2093394" y="893774"/>
                </a:lnTo>
                <a:lnTo>
                  <a:pt x="2092851" y="896697"/>
                </a:lnTo>
                <a:lnTo>
                  <a:pt x="2085906" y="903085"/>
                </a:lnTo>
                <a:lnTo>
                  <a:pt x="2085906" y="906116"/>
                </a:lnTo>
                <a:lnTo>
                  <a:pt x="2084062" y="908715"/>
                </a:lnTo>
                <a:lnTo>
                  <a:pt x="2082976" y="904709"/>
                </a:lnTo>
                <a:lnTo>
                  <a:pt x="2080047" y="909040"/>
                </a:lnTo>
                <a:lnTo>
                  <a:pt x="2078202" y="916944"/>
                </a:lnTo>
                <a:lnTo>
                  <a:pt x="2078635" y="919759"/>
                </a:lnTo>
                <a:lnTo>
                  <a:pt x="2082433" y="917810"/>
                </a:lnTo>
                <a:lnTo>
                  <a:pt x="2085255" y="917702"/>
                </a:lnTo>
                <a:lnTo>
                  <a:pt x="2085038" y="921924"/>
                </a:lnTo>
                <a:lnTo>
                  <a:pt x="2080047" y="925389"/>
                </a:lnTo>
                <a:lnTo>
                  <a:pt x="2079720" y="928095"/>
                </a:lnTo>
                <a:lnTo>
                  <a:pt x="2086123" y="926255"/>
                </a:lnTo>
                <a:lnTo>
                  <a:pt x="2089379" y="923115"/>
                </a:lnTo>
                <a:lnTo>
                  <a:pt x="2092851" y="923548"/>
                </a:lnTo>
                <a:lnTo>
                  <a:pt x="2089704" y="928528"/>
                </a:lnTo>
                <a:lnTo>
                  <a:pt x="2086449" y="930910"/>
                </a:lnTo>
                <a:lnTo>
                  <a:pt x="2089379" y="931777"/>
                </a:lnTo>
                <a:lnTo>
                  <a:pt x="2093177" y="930153"/>
                </a:lnTo>
                <a:lnTo>
                  <a:pt x="2091115" y="936216"/>
                </a:lnTo>
                <a:lnTo>
                  <a:pt x="2090572" y="940005"/>
                </a:lnTo>
                <a:lnTo>
                  <a:pt x="2087317" y="942712"/>
                </a:lnTo>
                <a:lnTo>
                  <a:pt x="2082108" y="940655"/>
                </a:lnTo>
                <a:lnTo>
                  <a:pt x="2079938" y="936324"/>
                </a:lnTo>
                <a:lnTo>
                  <a:pt x="2074186" y="939139"/>
                </a:lnTo>
                <a:lnTo>
                  <a:pt x="2072124" y="932643"/>
                </a:lnTo>
                <a:lnTo>
                  <a:pt x="2070280" y="932751"/>
                </a:lnTo>
                <a:lnTo>
                  <a:pt x="2068652" y="939356"/>
                </a:lnTo>
                <a:lnTo>
                  <a:pt x="2071799" y="944011"/>
                </a:lnTo>
                <a:lnTo>
                  <a:pt x="2073644" y="950183"/>
                </a:lnTo>
                <a:lnTo>
                  <a:pt x="2072016" y="960468"/>
                </a:lnTo>
                <a:lnTo>
                  <a:pt x="2076140" y="950940"/>
                </a:lnTo>
                <a:lnTo>
                  <a:pt x="2074729" y="943578"/>
                </a:lnTo>
                <a:lnTo>
                  <a:pt x="2077659" y="940979"/>
                </a:lnTo>
                <a:lnTo>
                  <a:pt x="2080589" y="944011"/>
                </a:lnTo>
                <a:lnTo>
                  <a:pt x="2085798" y="944336"/>
                </a:lnTo>
                <a:lnTo>
                  <a:pt x="2089704" y="947259"/>
                </a:lnTo>
                <a:lnTo>
                  <a:pt x="2092960" y="944444"/>
                </a:lnTo>
                <a:lnTo>
                  <a:pt x="2093502" y="939139"/>
                </a:lnTo>
                <a:lnTo>
                  <a:pt x="2099688" y="937299"/>
                </a:lnTo>
                <a:lnTo>
                  <a:pt x="2103811" y="932643"/>
                </a:lnTo>
                <a:lnTo>
                  <a:pt x="2108478" y="932426"/>
                </a:lnTo>
                <a:lnTo>
                  <a:pt x="2111733" y="928095"/>
                </a:lnTo>
                <a:lnTo>
                  <a:pt x="2107826" y="930910"/>
                </a:lnTo>
                <a:lnTo>
                  <a:pt x="2103160" y="930153"/>
                </a:lnTo>
                <a:lnTo>
                  <a:pt x="2100882" y="933617"/>
                </a:lnTo>
                <a:lnTo>
                  <a:pt x="2097843" y="935024"/>
                </a:lnTo>
                <a:lnTo>
                  <a:pt x="2096215" y="935024"/>
                </a:lnTo>
                <a:lnTo>
                  <a:pt x="2098385" y="929720"/>
                </a:lnTo>
                <a:lnTo>
                  <a:pt x="2101424" y="927338"/>
                </a:lnTo>
                <a:lnTo>
                  <a:pt x="2099688" y="924414"/>
                </a:lnTo>
                <a:lnTo>
                  <a:pt x="2099905" y="921058"/>
                </a:lnTo>
                <a:lnTo>
                  <a:pt x="2102618" y="914237"/>
                </a:lnTo>
                <a:lnTo>
                  <a:pt x="2102292" y="910772"/>
                </a:lnTo>
                <a:lnTo>
                  <a:pt x="2099905" y="908065"/>
                </a:lnTo>
                <a:lnTo>
                  <a:pt x="2101424" y="906008"/>
                </a:lnTo>
                <a:lnTo>
                  <a:pt x="2105331" y="899945"/>
                </a:lnTo>
                <a:lnTo>
                  <a:pt x="2107176" y="893882"/>
                </a:lnTo>
                <a:lnTo>
                  <a:pt x="2111951" y="889984"/>
                </a:lnTo>
                <a:lnTo>
                  <a:pt x="2113361" y="891825"/>
                </a:lnTo>
                <a:lnTo>
                  <a:pt x="2112059" y="893882"/>
                </a:lnTo>
                <a:lnTo>
                  <a:pt x="2114880" y="893016"/>
                </a:lnTo>
                <a:lnTo>
                  <a:pt x="2117485" y="889335"/>
                </a:lnTo>
                <a:lnTo>
                  <a:pt x="2118679" y="891500"/>
                </a:lnTo>
                <a:lnTo>
                  <a:pt x="2120523" y="891716"/>
                </a:lnTo>
                <a:lnTo>
                  <a:pt x="2121933" y="894098"/>
                </a:lnTo>
                <a:lnTo>
                  <a:pt x="2126275" y="893232"/>
                </a:lnTo>
                <a:lnTo>
                  <a:pt x="2128988" y="889335"/>
                </a:lnTo>
                <a:lnTo>
                  <a:pt x="2139839" y="884787"/>
                </a:lnTo>
                <a:lnTo>
                  <a:pt x="2142118" y="880673"/>
                </a:lnTo>
                <a:lnTo>
                  <a:pt x="2141901" y="878291"/>
                </a:lnTo>
                <a:lnTo>
                  <a:pt x="2144831" y="877425"/>
                </a:lnTo>
                <a:lnTo>
                  <a:pt x="2149280" y="872661"/>
                </a:lnTo>
                <a:lnTo>
                  <a:pt x="2156008" y="871903"/>
                </a:lnTo>
                <a:lnTo>
                  <a:pt x="2159372" y="868114"/>
                </a:lnTo>
                <a:lnTo>
                  <a:pt x="2158938" y="865190"/>
                </a:lnTo>
                <a:lnTo>
                  <a:pt x="2160132" y="859019"/>
                </a:lnTo>
                <a:lnTo>
                  <a:pt x="2163496" y="853389"/>
                </a:lnTo>
                <a:lnTo>
                  <a:pt x="2164255" y="849058"/>
                </a:lnTo>
                <a:lnTo>
                  <a:pt x="2162628" y="846784"/>
                </a:lnTo>
                <a:lnTo>
                  <a:pt x="2159806" y="848950"/>
                </a:lnTo>
                <a:lnTo>
                  <a:pt x="2156008" y="849599"/>
                </a:lnTo>
                <a:lnTo>
                  <a:pt x="2156876" y="851440"/>
                </a:lnTo>
                <a:lnTo>
                  <a:pt x="2154706" y="855446"/>
                </a:lnTo>
                <a:lnTo>
                  <a:pt x="2150148" y="856312"/>
                </a:lnTo>
                <a:lnTo>
                  <a:pt x="2147761" y="854363"/>
                </a:lnTo>
                <a:lnTo>
                  <a:pt x="2144614" y="854363"/>
                </a:lnTo>
                <a:lnTo>
                  <a:pt x="2143637" y="852631"/>
                </a:lnTo>
                <a:lnTo>
                  <a:pt x="2146893" y="846459"/>
                </a:lnTo>
                <a:lnTo>
                  <a:pt x="2149823" y="846459"/>
                </a:lnTo>
                <a:lnTo>
                  <a:pt x="2152644" y="842995"/>
                </a:lnTo>
                <a:lnTo>
                  <a:pt x="2158830" y="840288"/>
                </a:lnTo>
                <a:lnTo>
                  <a:pt x="2159155" y="837256"/>
                </a:lnTo>
                <a:lnTo>
                  <a:pt x="2156550" y="834983"/>
                </a:lnTo>
                <a:lnTo>
                  <a:pt x="2160674" y="829786"/>
                </a:lnTo>
                <a:lnTo>
                  <a:pt x="2165991" y="828811"/>
                </a:lnTo>
                <a:lnTo>
                  <a:pt x="2171417" y="830327"/>
                </a:lnTo>
                <a:lnTo>
                  <a:pt x="2167402" y="832925"/>
                </a:lnTo>
                <a:lnTo>
                  <a:pt x="2166751" y="837690"/>
                </a:lnTo>
                <a:lnTo>
                  <a:pt x="2168271" y="838772"/>
                </a:lnTo>
                <a:lnTo>
                  <a:pt x="2173045" y="836390"/>
                </a:lnTo>
                <a:lnTo>
                  <a:pt x="2177277" y="827403"/>
                </a:lnTo>
                <a:lnTo>
                  <a:pt x="2177385" y="823615"/>
                </a:lnTo>
                <a:lnTo>
                  <a:pt x="2172394" y="822423"/>
                </a:lnTo>
                <a:lnTo>
                  <a:pt x="2168271" y="822640"/>
                </a:lnTo>
                <a:lnTo>
                  <a:pt x="2165341" y="820366"/>
                </a:lnTo>
                <a:lnTo>
                  <a:pt x="2158612" y="818850"/>
                </a:lnTo>
                <a:lnTo>
                  <a:pt x="2156225" y="812138"/>
                </a:lnTo>
                <a:lnTo>
                  <a:pt x="2157202" y="806832"/>
                </a:lnTo>
                <a:lnTo>
                  <a:pt x="2153837" y="811705"/>
                </a:lnTo>
                <a:lnTo>
                  <a:pt x="2151233" y="811705"/>
                </a:lnTo>
                <a:lnTo>
                  <a:pt x="2148846" y="807482"/>
                </a:lnTo>
                <a:lnTo>
                  <a:pt x="2144505" y="804883"/>
                </a:lnTo>
                <a:lnTo>
                  <a:pt x="2143311" y="799578"/>
                </a:lnTo>
                <a:lnTo>
                  <a:pt x="2141250" y="798495"/>
                </a:lnTo>
                <a:lnTo>
                  <a:pt x="2137777" y="799037"/>
                </a:lnTo>
                <a:lnTo>
                  <a:pt x="2136800" y="795248"/>
                </a:lnTo>
                <a:lnTo>
                  <a:pt x="2135173" y="793190"/>
                </a:lnTo>
                <a:lnTo>
                  <a:pt x="2137452" y="789293"/>
                </a:lnTo>
                <a:lnTo>
                  <a:pt x="2137235" y="785503"/>
                </a:lnTo>
                <a:lnTo>
                  <a:pt x="2135390" y="780956"/>
                </a:lnTo>
                <a:lnTo>
                  <a:pt x="2136041" y="769479"/>
                </a:lnTo>
                <a:lnTo>
                  <a:pt x="2139405" y="765581"/>
                </a:lnTo>
                <a:lnTo>
                  <a:pt x="2147326" y="758544"/>
                </a:lnTo>
                <a:lnTo>
                  <a:pt x="2151993" y="756703"/>
                </a:lnTo>
                <a:lnTo>
                  <a:pt x="2155791" y="756811"/>
                </a:lnTo>
                <a:lnTo>
                  <a:pt x="2156225" y="755079"/>
                </a:lnTo>
                <a:lnTo>
                  <a:pt x="2160023" y="752047"/>
                </a:lnTo>
                <a:lnTo>
                  <a:pt x="2160457" y="749232"/>
                </a:lnTo>
                <a:lnTo>
                  <a:pt x="2157853" y="749232"/>
                </a:lnTo>
                <a:lnTo>
                  <a:pt x="2154164" y="751722"/>
                </a:lnTo>
                <a:lnTo>
                  <a:pt x="2151667" y="750532"/>
                </a:lnTo>
                <a:lnTo>
                  <a:pt x="2151776" y="747608"/>
                </a:lnTo>
                <a:lnTo>
                  <a:pt x="2150039" y="742628"/>
                </a:lnTo>
                <a:lnTo>
                  <a:pt x="2150691" y="737647"/>
                </a:lnTo>
                <a:lnTo>
                  <a:pt x="2156767" y="730935"/>
                </a:lnTo>
                <a:lnTo>
                  <a:pt x="2160566" y="722598"/>
                </a:lnTo>
                <a:lnTo>
                  <a:pt x="2163496" y="721298"/>
                </a:lnTo>
                <a:lnTo>
                  <a:pt x="2166751" y="715127"/>
                </a:lnTo>
                <a:lnTo>
                  <a:pt x="2169789" y="715019"/>
                </a:lnTo>
                <a:lnTo>
                  <a:pt x="2173262" y="709714"/>
                </a:lnTo>
                <a:lnTo>
                  <a:pt x="2178905" y="707223"/>
                </a:lnTo>
                <a:lnTo>
                  <a:pt x="2182269" y="710039"/>
                </a:lnTo>
                <a:lnTo>
                  <a:pt x="2180533" y="715127"/>
                </a:lnTo>
                <a:lnTo>
                  <a:pt x="2183137" y="717726"/>
                </a:lnTo>
                <a:lnTo>
                  <a:pt x="2182052" y="721190"/>
                </a:lnTo>
                <a:lnTo>
                  <a:pt x="2186935" y="718592"/>
                </a:lnTo>
                <a:lnTo>
                  <a:pt x="2187586" y="715452"/>
                </a:lnTo>
                <a:lnTo>
                  <a:pt x="2193121" y="707223"/>
                </a:lnTo>
                <a:lnTo>
                  <a:pt x="2193121" y="705166"/>
                </a:lnTo>
                <a:lnTo>
                  <a:pt x="2189323" y="704625"/>
                </a:lnTo>
                <a:lnTo>
                  <a:pt x="2185308" y="703001"/>
                </a:lnTo>
                <a:lnTo>
                  <a:pt x="2182269" y="698670"/>
                </a:lnTo>
                <a:lnTo>
                  <a:pt x="2186393" y="694880"/>
                </a:lnTo>
                <a:lnTo>
                  <a:pt x="2192687" y="694880"/>
                </a:lnTo>
                <a:lnTo>
                  <a:pt x="2194423" y="692066"/>
                </a:lnTo>
                <a:lnTo>
                  <a:pt x="2201043" y="687843"/>
                </a:lnTo>
                <a:lnTo>
                  <a:pt x="2200825" y="683837"/>
                </a:lnTo>
                <a:lnTo>
                  <a:pt x="2204298" y="682105"/>
                </a:lnTo>
                <a:lnTo>
                  <a:pt x="2209615" y="684053"/>
                </a:lnTo>
                <a:lnTo>
                  <a:pt x="2217428" y="685786"/>
                </a:lnTo>
                <a:lnTo>
                  <a:pt x="2217862" y="690225"/>
                </a:lnTo>
                <a:lnTo>
                  <a:pt x="2216886" y="692282"/>
                </a:lnTo>
                <a:lnTo>
                  <a:pt x="2219816" y="693473"/>
                </a:lnTo>
                <a:lnTo>
                  <a:pt x="2223614" y="697263"/>
                </a:lnTo>
                <a:lnTo>
                  <a:pt x="2227195" y="699645"/>
                </a:lnTo>
                <a:lnTo>
                  <a:pt x="2225459" y="704300"/>
                </a:lnTo>
                <a:lnTo>
                  <a:pt x="2223288" y="705383"/>
                </a:lnTo>
                <a:lnTo>
                  <a:pt x="2224156" y="709497"/>
                </a:lnTo>
                <a:lnTo>
                  <a:pt x="2223397" y="713070"/>
                </a:lnTo>
                <a:lnTo>
                  <a:pt x="2227412" y="716859"/>
                </a:lnTo>
                <a:lnTo>
                  <a:pt x="2228714" y="720649"/>
                </a:lnTo>
                <a:lnTo>
                  <a:pt x="2227846" y="728877"/>
                </a:lnTo>
                <a:lnTo>
                  <a:pt x="2230776" y="730935"/>
                </a:lnTo>
                <a:lnTo>
                  <a:pt x="2230776" y="733208"/>
                </a:lnTo>
                <a:lnTo>
                  <a:pt x="2227412" y="737864"/>
                </a:lnTo>
                <a:lnTo>
                  <a:pt x="2227195" y="741437"/>
                </a:lnTo>
                <a:lnTo>
                  <a:pt x="2223614" y="746959"/>
                </a:lnTo>
                <a:lnTo>
                  <a:pt x="2223397" y="753022"/>
                </a:lnTo>
                <a:lnTo>
                  <a:pt x="2221010" y="754538"/>
                </a:lnTo>
                <a:lnTo>
                  <a:pt x="2223288" y="758760"/>
                </a:lnTo>
                <a:lnTo>
                  <a:pt x="2221552" y="763416"/>
                </a:lnTo>
                <a:lnTo>
                  <a:pt x="2226327" y="769154"/>
                </a:lnTo>
                <a:lnTo>
                  <a:pt x="2226327" y="772944"/>
                </a:lnTo>
                <a:lnTo>
                  <a:pt x="2224916" y="774676"/>
                </a:lnTo>
                <a:lnTo>
                  <a:pt x="2226327" y="778791"/>
                </a:lnTo>
                <a:lnTo>
                  <a:pt x="2224916" y="783013"/>
                </a:lnTo>
                <a:lnTo>
                  <a:pt x="2224916" y="786369"/>
                </a:lnTo>
                <a:lnTo>
                  <a:pt x="2228063" y="787127"/>
                </a:lnTo>
                <a:lnTo>
                  <a:pt x="2231102" y="791458"/>
                </a:lnTo>
                <a:lnTo>
                  <a:pt x="2230667" y="795464"/>
                </a:lnTo>
                <a:lnTo>
                  <a:pt x="2227195" y="798495"/>
                </a:lnTo>
                <a:lnTo>
                  <a:pt x="2224265" y="796980"/>
                </a:lnTo>
                <a:lnTo>
                  <a:pt x="2220141" y="797846"/>
                </a:lnTo>
                <a:lnTo>
                  <a:pt x="2217754" y="793407"/>
                </a:lnTo>
                <a:lnTo>
                  <a:pt x="2219273" y="788210"/>
                </a:lnTo>
                <a:lnTo>
                  <a:pt x="2213739" y="790591"/>
                </a:lnTo>
                <a:lnTo>
                  <a:pt x="2211569" y="795572"/>
                </a:lnTo>
                <a:lnTo>
                  <a:pt x="2207445" y="797305"/>
                </a:lnTo>
                <a:lnTo>
                  <a:pt x="2207445" y="799362"/>
                </a:lnTo>
                <a:lnTo>
                  <a:pt x="2213414" y="797846"/>
                </a:lnTo>
                <a:lnTo>
                  <a:pt x="2216560" y="800986"/>
                </a:lnTo>
                <a:lnTo>
                  <a:pt x="2215800" y="803368"/>
                </a:lnTo>
                <a:lnTo>
                  <a:pt x="2203105" y="812246"/>
                </a:lnTo>
                <a:lnTo>
                  <a:pt x="2199848" y="812787"/>
                </a:lnTo>
                <a:lnTo>
                  <a:pt x="2199089" y="815386"/>
                </a:lnTo>
                <a:lnTo>
                  <a:pt x="2196159" y="816793"/>
                </a:lnTo>
                <a:lnTo>
                  <a:pt x="2194965" y="821341"/>
                </a:lnTo>
                <a:lnTo>
                  <a:pt x="2197353" y="823939"/>
                </a:lnTo>
                <a:lnTo>
                  <a:pt x="2202019" y="822748"/>
                </a:lnTo>
                <a:lnTo>
                  <a:pt x="2204949" y="823831"/>
                </a:lnTo>
                <a:lnTo>
                  <a:pt x="2205491" y="828270"/>
                </a:lnTo>
                <a:lnTo>
                  <a:pt x="2209832" y="832601"/>
                </a:lnTo>
                <a:lnTo>
                  <a:pt x="2215800" y="830652"/>
                </a:lnTo>
                <a:lnTo>
                  <a:pt x="2216669" y="827079"/>
                </a:lnTo>
                <a:lnTo>
                  <a:pt x="2220250" y="826213"/>
                </a:lnTo>
                <a:lnTo>
                  <a:pt x="2221878" y="828054"/>
                </a:lnTo>
                <a:lnTo>
                  <a:pt x="2219598" y="830002"/>
                </a:lnTo>
                <a:lnTo>
                  <a:pt x="2219598" y="831301"/>
                </a:lnTo>
                <a:lnTo>
                  <a:pt x="2223723" y="832925"/>
                </a:lnTo>
                <a:lnTo>
                  <a:pt x="2226653" y="835957"/>
                </a:lnTo>
                <a:lnTo>
                  <a:pt x="2230993" y="832709"/>
                </a:lnTo>
                <a:lnTo>
                  <a:pt x="2234249" y="834658"/>
                </a:lnTo>
                <a:lnTo>
                  <a:pt x="2231102" y="838014"/>
                </a:lnTo>
                <a:lnTo>
                  <a:pt x="2226653" y="838231"/>
                </a:lnTo>
                <a:lnTo>
                  <a:pt x="2221878" y="843753"/>
                </a:lnTo>
                <a:lnTo>
                  <a:pt x="2220141" y="845268"/>
                </a:lnTo>
                <a:lnTo>
                  <a:pt x="2219057" y="839639"/>
                </a:lnTo>
                <a:lnTo>
                  <a:pt x="2216886" y="839747"/>
                </a:lnTo>
                <a:lnTo>
                  <a:pt x="2214932" y="838772"/>
                </a:lnTo>
                <a:lnTo>
                  <a:pt x="2214932" y="841154"/>
                </a:lnTo>
                <a:lnTo>
                  <a:pt x="2217537" y="845485"/>
                </a:lnTo>
                <a:lnTo>
                  <a:pt x="2217537" y="849058"/>
                </a:lnTo>
                <a:lnTo>
                  <a:pt x="2221986" y="856096"/>
                </a:lnTo>
                <a:lnTo>
                  <a:pt x="2221227" y="861725"/>
                </a:lnTo>
                <a:lnTo>
                  <a:pt x="2221986" y="862808"/>
                </a:lnTo>
                <a:lnTo>
                  <a:pt x="2221552" y="867572"/>
                </a:lnTo>
                <a:lnTo>
                  <a:pt x="2218188" y="869521"/>
                </a:lnTo>
                <a:lnTo>
                  <a:pt x="2217971" y="874069"/>
                </a:lnTo>
                <a:lnTo>
                  <a:pt x="2217320" y="878941"/>
                </a:lnTo>
                <a:lnTo>
                  <a:pt x="2212762" y="884571"/>
                </a:lnTo>
                <a:lnTo>
                  <a:pt x="2213956" y="887169"/>
                </a:lnTo>
                <a:lnTo>
                  <a:pt x="2214282" y="892258"/>
                </a:lnTo>
                <a:lnTo>
                  <a:pt x="2211352" y="893557"/>
                </a:lnTo>
                <a:lnTo>
                  <a:pt x="2211786" y="896805"/>
                </a:lnTo>
                <a:lnTo>
                  <a:pt x="2214607" y="896697"/>
                </a:lnTo>
                <a:lnTo>
                  <a:pt x="2218405" y="892366"/>
                </a:lnTo>
                <a:lnTo>
                  <a:pt x="2220141" y="889118"/>
                </a:lnTo>
                <a:lnTo>
                  <a:pt x="2226218" y="885978"/>
                </a:lnTo>
                <a:lnTo>
                  <a:pt x="2227195" y="883921"/>
                </a:lnTo>
                <a:lnTo>
                  <a:pt x="2226327" y="882622"/>
                </a:lnTo>
                <a:lnTo>
                  <a:pt x="2229039" y="879374"/>
                </a:lnTo>
                <a:lnTo>
                  <a:pt x="2231861" y="881539"/>
                </a:lnTo>
                <a:lnTo>
                  <a:pt x="2234140" y="879374"/>
                </a:lnTo>
                <a:lnTo>
                  <a:pt x="2234140" y="871037"/>
                </a:lnTo>
                <a:lnTo>
                  <a:pt x="2235117" y="866381"/>
                </a:lnTo>
                <a:lnTo>
                  <a:pt x="2241193" y="861401"/>
                </a:lnTo>
                <a:lnTo>
                  <a:pt x="2246619" y="853064"/>
                </a:lnTo>
                <a:lnTo>
                  <a:pt x="2248356" y="848192"/>
                </a:lnTo>
                <a:lnTo>
                  <a:pt x="2250417" y="847867"/>
                </a:lnTo>
                <a:lnTo>
                  <a:pt x="2252479" y="849924"/>
                </a:lnTo>
                <a:lnTo>
                  <a:pt x="2253347" y="854255"/>
                </a:lnTo>
                <a:lnTo>
                  <a:pt x="2257037" y="862267"/>
                </a:lnTo>
                <a:lnTo>
                  <a:pt x="2257905" y="868547"/>
                </a:lnTo>
                <a:lnTo>
                  <a:pt x="2262138" y="873852"/>
                </a:lnTo>
                <a:lnTo>
                  <a:pt x="2262138" y="878941"/>
                </a:lnTo>
                <a:lnTo>
                  <a:pt x="2260510" y="883488"/>
                </a:lnTo>
                <a:lnTo>
                  <a:pt x="2262029" y="893016"/>
                </a:lnTo>
                <a:lnTo>
                  <a:pt x="2259099" y="897888"/>
                </a:lnTo>
                <a:lnTo>
                  <a:pt x="2255627" y="899404"/>
                </a:lnTo>
                <a:lnTo>
                  <a:pt x="2252914" y="897022"/>
                </a:lnTo>
                <a:lnTo>
                  <a:pt x="2250092" y="899404"/>
                </a:lnTo>
                <a:lnTo>
                  <a:pt x="2248030" y="903518"/>
                </a:lnTo>
                <a:lnTo>
                  <a:pt x="2249224" y="908498"/>
                </a:lnTo>
                <a:lnTo>
                  <a:pt x="2245860" y="912829"/>
                </a:lnTo>
                <a:lnTo>
                  <a:pt x="2243689" y="918676"/>
                </a:lnTo>
                <a:lnTo>
                  <a:pt x="2245318" y="921816"/>
                </a:lnTo>
                <a:lnTo>
                  <a:pt x="2245426" y="929720"/>
                </a:lnTo>
                <a:lnTo>
                  <a:pt x="2249224" y="946177"/>
                </a:lnTo>
                <a:lnTo>
                  <a:pt x="2252914" y="953106"/>
                </a:lnTo>
                <a:lnTo>
                  <a:pt x="2251502" y="957654"/>
                </a:lnTo>
                <a:lnTo>
                  <a:pt x="2255084" y="961334"/>
                </a:lnTo>
                <a:lnTo>
                  <a:pt x="2258557" y="961334"/>
                </a:lnTo>
                <a:lnTo>
                  <a:pt x="2257688" y="955488"/>
                </a:lnTo>
                <a:lnTo>
                  <a:pt x="2256169" y="953756"/>
                </a:lnTo>
                <a:lnTo>
                  <a:pt x="2259533" y="950291"/>
                </a:lnTo>
                <a:lnTo>
                  <a:pt x="2262571" y="949966"/>
                </a:lnTo>
                <a:lnTo>
                  <a:pt x="2264959" y="955705"/>
                </a:lnTo>
                <a:lnTo>
                  <a:pt x="2267346" y="955163"/>
                </a:lnTo>
                <a:lnTo>
                  <a:pt x="2268431" y="949750"/>
                </a:lnTo>
                <a:lnTo>
                  <a:pt x="2271795" y="946068"/>
                </a:lnTo>
                <a:lnTo>
                  <a:pt x="2272555" y="938598"/>
                </a:lnTo>
                <a:lnTo>
                  <a:pt x="2276353" y="936865"/>
                </a:lnTo>
                <a:lnTo>
                  <a:pt x="2280802" y="930694"/>
                </a:lnTo>
                <a:lnTo>
                  <a:pt x="2282538" y="930369"/>
                </a:lnTo>
                <a:lnTo>
                  <a:pt x="2285143" y="926255"/>
                </a:lnTo>
                <a:lnTo>
                  <a:pt x="2293499" y="920083"/>
                </a:lnTo>
                <a:lnTo>
                  <a:pt x="2299250" y="910447"/>
                </a:lnTo>
                <a:lnTo>
                  <a:pt x="2303374" y="900270"/>
                </a:lnTo>
                <a:lnTo>
                  <a:pt x="2307280" y="891825"/>
                </a:lnTo>
                <a:lnTo>
                  <a:pt x="2311838" y="888577"/>
                </a:lnTo>
                <a:lnTo>
                  <a:pt x="2315202" y="893557"/>
                </a:lnTo>
                <a:lnTo>
                  <a:pt x="2318132" y="890851"/>
                </a:lnTo>
                <a:lnTo>
                  <a:pt x="2320736" y="892691"/>
                </a:lnTo>
                <a:lnTo>
                  <a:pt x="2325294" y="892041"/>
                </a:lnTo>
                <a:lnTo>
                  <a:pt x="2325402" y="889335"/>
                </a:lnTo>
                <a:lnTo>
                  <a:pt x="2322798" y="889118"/>
                </a:lnTo>
                <a:lnTo>
                  <a:pt x="2318891" y="885112"/>
                </a:lnTo>
                <a:lnTo>
                  <a:pt x="2320736" y="882406"/>
                </a:lnTo>
                <a:lnTo>
                  <a:pt x="2325728" y="881755"/>
                </a:lnTo>
                <a:lnTo>
                  <a:pt x="2328332" y="883921"/>
                </a:lnTo>
                <a:lnTo>
                  <a:pt x="2330394" y="882188"/>
                </a:lnTo>
                <a:lnTo>
                  <a:pt x="2333867" y="882622"/>
                </a:lnTo>
                <a:lnTo>
                  <a:pt x="2335712" y="881214"/>
                </a:lnTo>
                <a:lnTo>
                  <a:pt x="2333541" y="876775"/>
                </a:lnTo>
                <a:lnTo>
                  <a:pt x="2331479" y="876342"/>
                </a:lnTo>
                <a:lnTo>
                  <a:pt x="2329201" y="872228"/>
                </a:lnTo>
                <a:lnTo>
                  <a:pt x="2326596" y="872120"/>
                </a:lnTo>
                <a:lnTo>
                  <a:pt x="2326922" y="865082"/>
                </a:lnTo>
                <a:lnTo>
                  <a:pt x="2329744" y="861942"/>
                </a:lnTo>
                <a:lnTo>
                  <a:pt x="2330286" y="857719"/>
                </a:lnTo>
                <a:lnTo>
                  <a:pt x="2333541" y="857503"/>
                </a:lnTo>
                <a:lnTo>
                  <a:pt x="2331045" y="853713"/>
                </a:lnTo>
                <a:lnTo>
                  <a:pt x="2331588" y="850574"/>
                </a:lnTo>
                <a:lnTo>
                  <a:pt x="2335060" y="847001"/>
                </a:lnTo>
                <a:lnTo>
                  <a:pt x="2333541" y="845268"/>
                </a:lnTo>
                <a:lnTo>
                  <a:pt x="2333324" y="843861"/>
                </a:lnTo>
                <a:lnTo>
                  <a:pt x="2337773" y="843861"/>
                </a:lnTo>
                <a:lnTo>
                  <a:pt x="2339401" y="839639"/>
                </a:lnTo>
                <a:lnTo>
                  <a:pt x="2335712" y="837582"/>
                </a:lnTo>
                <a:lnTo>
                  <a:pt x="2334518" y="835091"/>
                </a:lnTo>
                <a:lnTo>
                  <a:pt x="2339401" y="835849"/>
                </a:lnTo>
                <a:lnTo>
                  <a:pt x="2341463" y="839313"/>
                </a:lnTo>
                <a:lnTo>
                  <a:pt x="2345044" y="839639"/>
                </a:lnTo>
                <a:lnTo>
                  <a:pt x="2348082" y="837582"/>
                </a:lnTo>
                <a:lnTo>
                  <a:pt x="2355570" y="838014"/>
                </a:lnTo>
                <a:lnTo>
                  <a:pt x="2362081" y="842886"/>
                </a:lnTo>
                <a:lnTo>
                  <a:pt x="2362624" y="845268"/>
                </a:lnTo>
                <a:lnTo>
                  <a:pt x="2364686" y="848192"/>
                </a:lnTo>
                <a:lnTo>
                  <a:pt x="2373692" y="852631"/>
                </a:lnTo>
                <a:lnTo>
                  <a:pt x="2377816" y="849924"/>
                </a:lnTo>
                <a:lnTo>
                  <a:pt x="2382374" y="853172"/>
                </a:lnTo>
                <a:lnTo>
                  <a:pt x="2388342" y="855662"/>
                </a:lnTo>
                <a:lnTo>
                  <a:pt x="2388342" y="858153"/>
                </a:lnTo>
                <a:lnTo>
                  <a:pt x="2385846" y="859776"/>
                </a:lnTo>
                <a:lnTo>
                  <a:pt x="2388668" y="862808"/>
                </a:lnTo>
                <a:lnTo>
                  <a:pt x="2385738" y="864324"/>
                </a:lnTo>
                <a:lnTo>
                  <a:pt x="2382374" y="861292"/>
                </a:lnTo>
                <a:lnTo>
                  <a:pt x="2379118" y="860968"/>
                </a:lnTo>
                <a:lnTo>
                  <a:pt x="2379661" y="863458"/>
                </a:lnTo>
                <a:lnTo>
                  <a:pt x="2389644" y="869846"/>
                </a:lnTo>
                <a:lnTo>
                  <a:pt x="2390187" y="874826"/>
                </a:lnTo>
                <a:lnTo>
                  <a:pt x="2386280" y="876342"/>
                </a:lnTo>
                <a:lnTo>
                  <a:pt x="2388668" y="877749"/>
                </a:lnTo>
                <a:lnTo>
                  <a:pt x="2392792" y="876342"/>
                </a:lnTo>
                <a:lnTo>
                  <a:pt x="2399845" y="878074"/>
                </a:lnTo>
                <a:lnTo>
                  <a:pt x="2401364" y="880890"/>
                </a:lnTo>
                <a:lnTo>
                  <a:pt x="2403969" y="881864"/>
                </a:lnTo>
                <a:lnTo>
                  <a:pt x="2404728" y="883921"/>
                </a:lnTo>
                <a:lnTo>
                  <a:pt x="2401798" y="888577"/>
                </a:lnTo>
                <a:lnTo>
                  <a:pt x="2394419" y="894315"/>
                </a:lnTo>
                <a:lnTo>
                  <a:pt x="2389970" y="895181"/>
                </a:lnTo>
                <a:lnTo>
                  <a:pt x="2386606" y="896805"/>
                </a:lnTo>
                <a:lnTo>
                  <a:pt x="2393008" y="896914"/>
                </a:lnTo>
                <a:lnTo>
                  <a:pt x="2395396" y="898429"/>
                </a:lnTo>
                <a:lnTo>
                  <a:pt x="2395830" y="902002"/>
                </a:lnTo>
                <a:lnTo>
                  <a:pt x="2397566" y="901894"/>
                </a:lnTo>
                <a:lnTo>
                  <a:pt x="2399194" y="903193"/>
                </a:lnTo>
                <a:lnTo>
                  <a:pt x="2396155" y="907849"/>
                </a:lnTo>
                <a:lnTo>
                  <a:pt x="2397891" y="909581"/>
                </a:lnTo>
                <a:lnTo>
                  <a:pt x="2392249" y="913371"/>
                </a:lnTo>
                <a:lnTo>
                  <a:pt x="2385738" y="915536"/>
                </a:lnTo>
                <a:lnTo>
                  <a:pt x="2382266" y="914887"/>
                </a:lnTo>
                <a:lnTo>
                  <a:pt x="2379986" y="917810"/>
                </a:lnTo>
                <a:lnTo>
                  <a:pt x="2376405" y="916618"/>
                </a:lnTo>
                <a:lnTo>
                  <a:pt x="2372607" y="912180"/>
                </a:lnTo>
                <a:lnTo>
                  <a:pt x="2368267" y="911963"/>
                </a:lnTo>
                <a:lnTo>
                  <a:pt x="2366964" y="909581"/>
                </a:lnTo>
                <a:lnTo>
                  <a:pt x="2364034" y="909906"/>
                </a:lnTo>
                <a:lnTo>
                  <a:pt x="2363818" y="913695"/>
                </a:lnTo>
                <a:lnTo>
                  <a:pt x="2361756" y="915103"/>
                </a:lnTo>
                <a:lnTo>
                  <a:pt x="2365662" y="915969"/>
                </a:lnTo>
                <a:lnTo>
                  <a:pt x="2368701" y="918351"/>
                </a:lnTo>
                <a:lnTo>
                  <a:pt x="2367290" y="921599"/>
                </a:lnTo>
                <a:lnTo>
                  <a:pt x="2364469" y="924522"/>
                </a:lnTo>
                <a:lnTo>
                  <a:pt x="2368484" y="924847"/>
                </a:lnTo>
                <a:lnTo>
                  <a:pt x="2365662" y="928961"/>
                </a:lnTo>
                <a:lnTo>
                  <a:pt x="2366096" y="931885"/>
                </a:lnTo>
                <a:lnTo>
                  <a:pt x="2367615" y="932318"/>
                </a:lnTo>
                <a:lnTo>
                  <a:pt x="2370545" y="929287"/>
                </a:lnTo>
                <a:lnTo>
                  <a:pt x="2372065" y="929503"/>
                </a:lnTo>
                <a:lnTo>
                  <a:pt x="2370871" y="932967"/>
                </a:lnTo>
                <a:lnTo>
                  <a:pt x="2365228" y="935241"/>
                </a:lnTo>
                <a:lnTo>
                  <a:pt x="2363058" y="939572"/>
                </a:lnTo>
                <a:lnTo>
                  <a:pt x="2364034" y="944661"/>
                </a:lnTo>
                <a:lnTo>
                  <a:pt x="2369460" y="948775"/>
                </a:lnTo>
                <a:lnTo>
                  <a:pt x="2368701" y="952023"/>
                </a:lnTo>
                <a:lnTo>
                  <a:pt x="2373801" y="962201"/>
                </a:lnTo>
                <a:lnTo>
                  <a:pt x="2373150" y="968048"/>
                </a:lnTo>
                <a:lnTo>
                  <a:pt x="2371414" y="969238"/>
                </a:lnTo>
                <a:lnTo>
                  <a:pt x="2370762" y="972703"/>
                </a:lnTo>
                <a:lnTo>
                  <a:pt x="2364360" y="978117"/>
                </a:lnTo>
                <a:lnTo>
                  <a:pt x="2365554" y="982447"/>
                </a:lnTo>
                <a:lnTo>
                  <a:pt x="2363275" y="985587"/>
                </a:lnTo>
                <a:lnTo>
                  <a:pt x="2359151" y="983854"/>
                </a:lnTo>
                <a:lnTo>
                  <a:pt x="2351772" y="983963"/>
                </a:lnTo>
                <a:lnTo>
                  <a:pt x="2348517" y="986237"/>
                </a:lnTo>
                <a:lnTo>
                  <a:pt x="2347323" y="991758"/>
                </a:lnTo>
                <a:lnTo>
                  <a:pt x="2342656" y="994466"/>
                </a:lnTo>
                <a:lnTo>
                  <a:pt x="2340378" y="997605"/>
                </a:lnTo>
                <a:lnTo>
                  <a:pt x="2336580" y="997713"/>
                </a:lnTo>
                <a:lnTo>
                  <a:pt x="2329852" y="1004968"/>
                </a:lnTo>
                <a:lnTo>
                  <a:pt x="2327464" y="1004101"/>
                </a:lnTo>
                <a:lnTo>
                  <a:pt x="2323558" y="1004318"/>
                </a:lnTo>
                <a:lnTo>
                  <a:pt x="2321062" y="1008974"/>
                </a:lnTo>
                <a:lnTo>
                  <a:pt x="2309559" y="1012221"/>
                </a:lnTo>
                <a:lnTo>
                  <a:pt x="2307280" y="1010164"/>
                </a:lnTo>
                <a:lnTo>
                  <a:pt x="2309017" y="1007241"/>
                </a:lnTo>
                <a:lnTo>
                  <a:pt x="2307497" y="1001503"/>
                </a:lnTo>
                <a:lnTo>
                  <a:pt x="2304242" y="997930"/>
                </a:lnTo>
                <a:lnTo>
                  <a:pt x="2304242" y="995331"/>
                </a:lnTo>
                <a:lnTo>
                  <a:pt x="2306954" y="994357"/>
                </a:lnTo>
                <a:lnTo>
                  <a:pt x="2307172" y="990568"/>
                </a:lnTo>
                <a:lnTo>
                  <a:pt x="2310970" y="983963"/>
                </a:lnTo>
                <a:lnTo>
                  <a:pt x="2305978" y="988835"/>
                </a:lnTo>
                <a:lnTo>
                  <a:pt x="2304242" y="989376"/>
                </a:lnTo>
                <a:lnTo>
                  <a:pt x="2303699" y="979415"/>
                </a:lnTo>
                <a:lnTo>
                  <a:pt x="2301420" y="978550"/>
                </a:lnTo>
                <a:lnTo>
                  <a:pt x="2298708" y="974002"/>
                </a:lnTo>
                <a:lnTo>
                  <a:pt x="2294258" y="976601"/>
                </a:lnTo>
                <a:lnTo>
                  <a:pt x="2292630" y="975085"/>
                </a:lnTo>
                <a:lnTo>
                  <a:pt x="2288507" y="975409"/>
                </a:lnTo>
                <a:lnTo>
                  <a:pt x="2284274" y="981906"/>
                </a:lnTo>
                <a:lnTo>
                  <a:pt x="2286445" y="982447"/>
                </a:lnTo>
                <a:lnTo>
                  <a:pt x="2292630" y="978333"/>
                </a:lnTo>
                <a:lnTo>
                  <a:pt x="2295127" y="979524"/>
                </a:lnTo>
                <a:lnTo>
                  <a:pt x="2294801" y="983638"/>
                </a:lnTo>
                <a:lnTo>
                  <a:pt x="2298925" y="985587"/>
                </a:lnTo>
                <a:lnTo>
                  <a:pt x="2301854" y="992733"/>
                </a:lnTo>
                <a:lnTo>
                  <a:pt x="2300552" y="999662"/>
                </a:lnTo>
                <a:lnTo>
                  <a:pt x="2302831" y="1001070"/>
                </a:lnTo>
                <a:lnTo>
                  <a:pt x="2303916" y="1007566"/>
                </a:lnTo>
                <a:lnTo>
                  <a:pt x="2301963" y="1010490"/>
                </a:lnTo>
                <a:lnTo>
                  <a:pt x="2303483" y="1012221"/>
                </a:lnTo>
                <a:lnTo>
                  <a:pt x="2303156" y="1016011"/>
                </a:lnTo>
                <a:lnTo>
                  <a:pt x="2300770" y="1016119"/>
                </a:lnTo>
                <a:lnTo>
                  <a:pt x="2293173" y="1009623"/>
                </a:lnTo>
                <a:lnTo>
                  <a:pt x="2292522" y="1005725"/>
                </a:lnTo>
                <a:lnTo>
                  <a:pt x="2289267" y="1004426"/>
                </a:lnTo>
                <a:lnTo>
                  <a:pt x="2288181" y="1000637"/>
                </a:lnTo>
                <a:lnTo>
                  <a:pt x="2285468" y="1004643"/>
                </a:lnTo>
                <a:lnTo>
                  <a:pt x="2289917" y="1008757"/>
                </a:lnTo>
                <a:lnTo>
                  <a:pt x="2288832" y="1012655"/>
                </a:lnTo>
                <a:lnTo>
                  <a:pt x="2283406" y="1009623"/>
                </a:lnTo>
                <a:lnTo>
                  <a:pt x="2279717" y="1008757"/>
                </a:lnTo>
                <a:lnTo>
                  <a:pt x="2278849" y="1006484"/>
                </a:lnTo>
                <a:lnTo>
                  <a:pt x="2275593" y="1008107"/>
                </a:lnTo>
                <a:lnTo>
                  <a:pt x="2275485" y="1004859"/>
                </a:lnTo>
                <a:lnTo>
                  <a:pt x="2277655" y="997930"/>
                </a:lnTo>
                <a:lnTo>
                  <a:pt x="2278740" y="996739"/>
                </a:lnTo>
                <a:lnTo>
                  <a:pt x="2276136" y="995548"/>
                </a:lnTo>
                <a:lnTo>
                  <a:pt x="2275919" y="993274"/>
                </a:lnTo>
                <a:lnTo>
                  <a:pt x="2269082" y="996089"/>
                </a:lnTo>
                <a:lnTo>
                  <a:pt x="2263548" y="996089"/>
                </a:lnTo>
                <a:lnTo>
                  <a:pt x="2259533" y="993166"/>
                </a:lnTo>
                <a:lnTo>
                  <a:pt x="2255627" y="993815"/>
                </a:lnTo>
                <a:lnTo>
                  <a:pt x="2250417" y="990351"/>
                </a:lnTo>
                <a:lnTo>
                  <a:pt x="2249658" y="994032"/>
                </a:lnTo>
                <a:lnTo>
                  <a:pt x="2250960" y="996956"/>
                </a:lnTo>
                <a:lnTo>
                  <a:pt x="2248681" y="998472"/>
                </a:lnTo>
                <a:lnTo>
                  <a:pt x="2249115" y="1003127"/>
                </a:lnTo>
                <a:lnTo>
                  <a:pt x="2251286" y="1006484"/>
                </a:lnTo>
                <a:lnTo>
                  <a:pt x="2257145" y="1007566"/>
                </a:lnTo>
                <a:lnTo>
                  <a:pt x="2259750" y="1011897"/>
                </a:lnTo>
                <a:lnTo>
                  <a:pt x="2255952" y="1018393"/>
                </a:lnTo>
                <a:lnTo>
                  <a:pt x="2252914" y="1019368"/>
                </a:lnTo>
                <a:lnTo>
                  <a:pt x="2241628" y="1027488"/>
                </a:lnTo>
                <a:lnTo>
                  <a:pt x="2236853" y="1033659"/>
                </a:lnTo>
                <a:lnTo>
                  <a:pt x="2231319" y="1040588"/>
                </a:lnTo>
                <a:lnTo>
                  <a:pt x="2227846" y="1039181"/>
                </a:lnTo>
                <a:lnTo>
                  <a:pt x="2224265" y="1041563"/>
                </a:lnTo>
                <a:lnTo>
                  <a:pt x="2222420" y="1047302"/>
                </a:lnTo>
                <a:lnTo>
                  <a:pt x="2218080" y="1049033"/>
                </a:lnTo>
                <a:lnTo>
                  <a:pt x="2203105" y="1045677"/>
                </a:lnTo>
                <a:lnTo>
                  <a:pt x="2199848" y="1041130"/>
                </a:lnTo>
                <a:lnTo>
                  <a:pt x="2197787" y="1035933"/>
                </a:lnTo>
                <a:lnTo>
                  <a:pt x="2190299" y="1032684"/>
                </a:lnTo>
                <a:lnTo>
                  <a:pt x="2190516" y="1030411"/>
                </a:lnTo>
                <a:lnTo>
                  <a:pt x="2192904" y="1030303"/>
                </a:lnTo>
                <a:lnTo>
                  <a:pt x="2194749" y="1028678"/>
                </a:lnTo>
                <a:lnTo>
                  <a:pt x="2192361" y="1026080"/>
                </a:lnTo>
                <a:lnTo>
                  <a:pt x="2187912" y="1024890"/>
                </a:lnTo>
                <a:lnTo>
                  <a:pt x="2182920" y="1015470"/>
                </a:lnTo>
                <a:lnTo>
                  <a:pt x="2177060" y="1010814"/>
                </a:lnTo>
                <a:lnTo>
                  <a:pt x="2167402" y="1010814"/>
                </a:lnTo>
                <a:lnTo>
                  <a:pt x="2160566" y="1006700"/>
                </a:lnTo>
                <a:lnTo>
                  <a:pt x="2149497" y="1006050"/>
                </a:lnTo>
                <a:lnTo>
                  <a:pt x="2145156" y="1004643"/>
                </a:lnTo>
                <a:lnTo>
                  <a:pt x="2145048" y="1007891"/>
                </a:lnTo>
                <a:lnTo>
                  <a:pt x="2147978" y="1011139"/>
                </a:lnTo>
                <a:lnTo>
                  <a:pt x="2149606" y="1008974"/>
                </a:lnTo>
                <a:lnTo>
                  <a:pt x="2152644" y="1008433"/>
                </a:lnTo>
                <a:lnTo>
                  <a:pt x="2163278" y="1012221"/>
                </a:lnTo>
                <a:lnTo>
                  <a:pt x="2173045" y="1012005"/>
                </a:lnTo>
                <a:lnTo>
                  <a:pt x="2176192" y="1014062"/>
                </a:lnTo>
                <a:lnTo>
                  <a:pt x="2175107" y="1016878"/>
                </a:lnTo>
                <a:lnTo>
                  <a:pt x="2173262" y="1016661"/>
                </a:lnTo>
                <a:lnTo>
                  <a:pt x="2171743" y="1018610"/>
                </a:lnTo>
                <a:lnTo>
                  <a:pt x="2173045" y="1019909"/>
                </a:lnTo>
                <a:lnTo>
                  <a:pt x="2173805" y="1027813"/>
                </a:lnTo>
                <a:lnTo>
                  <a:pt x="2175867" y="1028029"/>
                </a:lnTo>
                <a:lnTo>
                  <a:pt x="2181075" y="1038098"/>
                </a:lnTo>
                <a:lnTo>
                  <a:pt x="2184114" y="1045244"/>
                </a:lnTo>
                <a:lnTo>
                  <a:pt x="2192904" y="1048167"/>
                </a:lnTo>
                <a:lnTo>
                  <a:pt x="2202236" y="1049792"/>
                </a:lnTo>
                <a:lnTo>
                  <a:pt x="2219273" y="1054664"/>
                </a:lnTo>
                <a:lnTo>
                  <a:pt x="2219925" y="1059861"/>
                </a:lnTo>
                <a:lnTo>
                  <a:pt x="2217862" y="1061593"/>
                </a:lnTo>
                <a:lnTo>
                  <a:pt x="2212545" y="1065491"/>
                </a:lnTo>
                <a:lnTo>
                  <a:pt x="2208204" y="1067765"/>
                </a:lnTo>
                <a:lnTo>
                  <a:pt x="2201368" y="1076859"/>
                </a:lnTo>
                <a:lnTo>
                  <a:pt x="2200283" y="1074910"/>
                </a:lnTo>
                <a:lnTo>
                  <a:pt x="2198221" y="1076426"/>
                </a:lnTo>
                <a:lnTo>
                  <a:pt x="2197570" y="1079349"/>
                </a:lnTo>
                <a:lnTo>
                  <a:pt x="2182378" y="1095049"/>
                </a:lnTo>
                <a:lnTo>
                  <a:pt x="2176192" y="1097972"/>
                </a:lnTo>
                <a:lnTo>
                  <a:pt x="2172069" y="1105226"/>
                </a:lnTo>
                <a:lnTo>
                  <a:pt x="2167945" y="1106093"/>
                </a:lnTo>
                <a:lnTo>
                  <a:pt x="2165666" y="1104360"/>
                </a:lnTo>
                <a:lnTo>
                  <a:pt x="2162953" y="1104360"/>
                </a:lnTo>
                <a:lnTo>
                  <a:pt x="2161868" y="1106958"/>
                </a:lnTo>
                <a:lnTo>
                  <a:pt x="2156008" y="1100029"/>
                </a:lnTo>
                <a:lnTo>
                  <a:pt x="2152427" y="1098513"/>
                </a:lnTo>
                <a:lnTo>
                  <a:pt x="2149606" y="1101978"/>
                </a:lnTo>
                <a:lnTo>
                  <a:pt x="2148521" y="1098622"/>
                </a:lnTo>
                <a:lnTo>
                  <a:pt x="2146567" y="1097755"/>
                </a:lnTo>
                <a:lnTo>
                  <a:pt x="2150039" y="1093208"/>
                </a:lnTo>
                <a:lnTo>
                  <a:pt x="2148521" y="1092017"/>
                </a:lnTo>
                <a:lnTo>
                  <a:pt x="2147435" y="1089527"/>
                </a:lnTo>
                <a:lnTo>
                  <a:pt x="2142769" y="1092126"/>
                </a:lnTo>
                <a:lnTo>
                  <a:pt x="2139188" y="1101545"/>
                </a:lnTo>
                <a:lnTo>
                  <a:pt x="2138862" y="1097322"/>
                </a:lnTo>
                <a:lnTo>
                  <a:pt x="2136258" y="1089744"/>
                </a:lnTo>
                <a:lnTo>
                  <a:pt x="2134196" y="1096456"/>
                </a:lnTo>
                <a:lnTo>
                  <a:pt x="2136584" y="1099379"/>
                </a:lnTo>
                <a:lnTo>
                  <a:pt x="2136041" y="1108258"/>
                </a:lnTo>
                <a:lnTo>
                  <a:pt x="2130398" y="1116161"/>
                </a:lnTo>
                <a:lnTo>
                  <a:pt x="2127251" y="1115403"/>
                </a:lnTo>
                <a:lnTo>
                  <a:pt x="2126275" y="1112372"/>
                </a:lnTo>
                <a:lnTo>
                  <a:pt x="2122802" y="1106742"/>
                </a:lnTo>
                <a:lnTo>
                  <a:pt x="2121608" y="1111073"/>
                </a:lnTo>
                <a:lnTo>
                  <a:pt x="2124864" y="1113671"/>
                </a:lnTo>
                <a:lnTo>
                  <a:pt x="2120089" y="1116161"/>
                </a:lnTo>
                <a:lnTo>
                  <a:pt x="2119547" y="1121358"/>
                </a:lnTo>
                <a:lnTo>
                  <a:pt x="2117810" y="1119626"/>
                </a:lnTo>
                <a:lnTo>
                  <a:pt x="2112601" y="1117894"/>
                </a:lnTo>
                <a:lnTo>
                  <a:pt x="2111951" y="1114429"/>
                </a:lnTo>
                <a:lnTo>
                  <a:pt x="2107935" y="1111939"/>
                </a:lnTo>
                <a:lnTo>
                  <a:pt x="2103269" y="1105659"/>
                </a:lnTo>
                <a:lnTo>
                  <a:pt x="2093828" y="1102303"/>
                </a:lnTo>
                <a:lnTo>
                  <a:pt x="2084930" y="1097106"/>
                </a:lnTo>
                <a:lnTo>
                  <a:pt x="2082000" y="1090068"/>
                </a:lnTo>
                <a:lnTo>
                  <a:pt x="2078202" y="1088661"/>
                </a:lnTo>
                <a:lnTo>
                  <a:pt x="2071582" y="1083680"/>
                </a:lnTo>
                <a:lnTo>
                  <a:pt x="2069411" y="1079891"/>
                </a:lnTo>
                <a:lnTo>
                  <a:pt x="2069086" y="1086928"/>
                </a:lnTo>
                <a:lnTo>
                  <a:pt x="2064854" y="1085954"/>
                </a:lnTo>
                <a:lnTo>
                  <a:pt x="2067458" y="1092775"/>
                </a:lnTo>
                <a:lnTo>
                  <a:pt x="2071582" y="1096456"/>
                </a:lnTo>
                <a:lnTo>
                  <a:pt x="2073210" y="1094507"/>
                </a:lnTo>
                <a:lnTo>
                  <a:pt x="2071256" y="1091043"/>
                </a:lnTo>
                <a:lnTo>
                  <a:pt x="2072124" y="1088985"/>
                </a:lnTo>
                <a:lnTo>
                  <a:pt x="2074078" y="1089202"/>
                </a:lnTo>
                <a:lnTo>
                  <a:pt x="2083627" y="1099163"/>
                </a:lnTo>
                <a:lnTo>
                  <a:pt x="2092309" y="1104468"/>
                </a:lnTo>
                <a:lnTo>
                  <a:pt x="2093177" y="1106526"/>
                </a:lnTo>
                <a:lnTo>
                  <a:pt x="2087426" y="1110315"/>
                </a:lnTo>
                <a:lnTo>
                  <a:pt x="2081783" y="1111181"/>
                </a:lnTo>
                <a:lnTo>
                  <a:pt x="2078635" y="1110315"/>
                </a:lnTo>
                <a:lnTo>
                  <a:pt x="2079720" y="1113238"/>
                </a:lnTo>
                <a:lnTo>
                  <a:pt x="2079720" y="1114862"/>
                </a:lnTo>
                <a:lnTo>
                  <a:pt x="2082108" y="1113671"/>
                </a:lnTo>
                <a:lnTo>
                  <a:pt x="2091441" y="1112913"/>
                </a:lnTo>
                <a:lnTo>
                  <a:pt x="2096432" y="1107933"/>
                </a:lnTo>
                <a:lnTo>
                  <a:pt x="2098711" y="1107391"/>
                </a:lnTo>
                <a:lnTo>
                  <a:pt x="2101641" y="1110856"/>
                </a:lnTo>
                <a:lnTo>
                  <a:pt x="2102618" y="1116919"/>
                </a:lnTo>
                <a:lnTo>
                  <a:pt x="2111624" y="1127422"/>
                </a:lnTo>
                <a:lnTo>
                  <a:pt x="2110756" y="1138248"/>
                </a:lnTo>
                <a:lnTo>
                  <a:pt x="2104571" y="1144745"/>
                </a:lnTo>
                <a:lnTo>
                  <a:pt x="2100556" y="1145070"/>
                </a:lnTo>
                <a:lnTo>
                  <a:pt x="2097843" y="1147343"/>
                </a:lnTo>
                <a:lnTo>
                  <a:pt x="2092309" y="1147019"/>
                </a:lnTo>
                <a:lnTo>
                  <a:pt x="2088294" y="1144203"/>
                </a:lnTo>
                <a:lnTo>
                  <a:pt x="2077659" y="1142146"/>
                </a:lnTo>
                <a:lnTo>
                  <a:pt x="2071474" y="1134134"/>
                </a:lnTo>
                <a:lnTo>
                  <a:pt x="2069194" y="1126339"/>
                </a:lnTo>
                <a:lnTo>
                  <a:pt x="2065722" y="1123091"/>
                </a:lnTo>
                <a:lnTo>
                  <a:pt x="2064528" y="1124931"/>
                </a:lnTo>
                <a:lnTo>
                  <a:pt x="2065288" y="1128071"/>
                </a:lnTo>
                <a:lnTo>
                  <a:pt x="2065071" y="1132727"/>
                </a:lnTo>
                <a:lnTo>
                  <a:pt x="2069194" y="1137815"/>
                </a:lnTo>
                <a:lnTo>
                  <a:pt x="2072667" y="1147668"/>
                </a:lnTo>
                <a:lnTo>
                  <a:pt x="2077442" y="1155897"/>
                </a:lnTo>
                <a:lnTo>
                  <a:pt x="2074729" y="1158279"/>
                </a:lnTo>
                <a:lnTo>
                  <a:pt x="2072016" y="1156980"/>
                </a:lnTo>
                <a:lnTo>
                  <a:pt x="2067458" y="1157629"/>
                </a:lnTo>
                <a:lnTo>
                  <a:pt x="2065940" y="1151458"/>
                </a:lnTo>
                <a:lnTo>
                  <a:pt x="2065071" y="1154489"/>
                </a:lnTo>
                <a:lnTo>
                  <a:pt x="2063227" y="1155897"/>
                </a:lnTo>
                <a:lnTo>
                  <a:pt x="2064745" y="1158820"/>
                </a:lnTo>
                <a:lnTo>
                  <a:pt x="2068652" y="1160552"/>
                </a:lnTo>
                <a:lnTo>
                  <a:pt x="2070063" y="1163476"/>
                </a:lnTo>
                <a:lnTo>
                  <a:pt x="2061598" y="1161419"/>
                </a:lnTo>
                <a:lnTo>
                  <a:pt x="2059537" y="1159686"/>
                </a:lnTo>
                <a:lnTo>
                  <a:pt x="2059211" y="1163801"/>
                </a:lnTo>
                <a:lnTo>
                  <a:pt x="2061924" y="1166182"/>
                </a:lnTo>
                <a:lnTo>
                  <a:pt x="2061924" y="1169864"/>
                </a:lnTo>
                <a:lnTo>
                  <a:pt x="2058343" y="1174411"/>
                </a:lnTo>
                <a:lnTo>
                  <a:pt x="2057475" y="1168997"/>
                </a:lnTo>
                <a:lnTo>
                  <a:pt x="2054545" y="1168456"/>
                </a:lnTo>
                <a:lnTo>
                  <a:pt x="2056064" y="1170513"/>
                </a:lnTo>
                <a:lnTo>
                  <a:pt x="2055304" y="1174086"/>
                </a:lnTo>
                <a:lnTo>
                  <a:pt x="2053677" y="1172895"/>
                </a:lnTo>
                <a:lnTo>
                  <a:pt x="2047817" y="1172570"/>
                </a:lnTo>
                <a:lnTo>
                  <a:pt x="2045646" y="1175494"/>
                </a:lnTo>
                <a:lnTo>
                  <a:pt x="2038484" y="1178309"/>
                </a:lnTo>
                <a:lnTo>
                  <a:pt x="2042391" y="1180691"/>
                </a:lnTo>
                <a:lnTo>
                  <a:pt x="2043150" y="1184047"/>
                </a:lnTo>
                <a:lnTo>
                  <a:pt x="2041089" y="1184913"/>
                </a:lnTo>
                <a:lnTo>
                  <a:pt x="2040220" y="1182856"/>
                </a:lnTo>
                <a:lnTo>
                  <a:pt x="2034904" y="1178958"/>
                </a:lnTo>
                <a:lnTo>
                  <a:pt x="2031105" y="1178309"/>
                </a:lnTo>
                <a:lnTo>
                  <a:pt x="2030780" y="1181123"/>
                </a:lnTo>
                <a:lnTo>
                  <a:pt x="2028393" y="1182531"/>
                </a:lnTo>
                <a:lnTo>
                  <a:pt x="2034253" y="1186862"/>
                </a:lnTo>
                <a:lnTo>
                  <a:pt x="2032191" y="1189461"/>
                </a:lnTo>
                <a:lnTo>
                  <a:pt x="2032191" y="1192059"/>
                </a:lnTo>
                <a:lnTo>
                  <a:pt x="2027524" y="1191843"/>
                </a:lnTo>
                <a:lnTo>
                  <a:pt x="2023727" y="1198014"/>
                </a:lnTo>
                <a:lnTo>
                  <a:pt x="2017866" y="1201154"/>
                </a:lnTo>
                <a:lnTo>
                  <a:pt x="2020254" y="1204186"/>
                </a:lnTo>
                <a:lnTo>
                  <a:pt x="2019060" y="1207000"/>
                </a:lnTo>
                <a:lnTo>
                  <a:pt x="2016021" y="1207000"/>
                </a:lnTo>
                <a:lnTo>
                  <a:pt x="2013200" y="1210573"/>
                </a:lnTo>
                <a:lnTo>
                  <a:pt x="2014068" y="1214471"/>
                </a:lnTo>
                <a:lnTo>
                  <a:pt x="2009945" y="1216204"/>
                </a:lnTo>
                <a:lnTo>
                  <a:pt x="2002891" y="1224107"/>
                </a:lnTo>
                <a:lnTo>
                  <a:pt x="1997791" y="1225515"/>
                </a:lnTo>
                <a:lnTo>
                  <a:pt x="1997466" y="1229629"/>
                </a:lnTo>
                <a:lnTo>
                  <a:pt x="1992582" y="1234068"/>
                </a:lnTo>
                <a:lnTo>
                  <a:pt x="1987373" y="1230604"/>
                </a:lnTo>
                <a:lnTo>
                  <a:pt x="1987048" y="1233418"/>
                </a:lnTo>
                <a:lnTo>
                  <a:pt x="1989435" y="1238832"/>
                </a:lnTo>
                <a:lnTo>
                  <a:pt x="1984985" y="1243379"/>
                </a:lnTo>
                <a:lnTo>
                  <a:pt x="1983250" y="1251933"/>
                </a:lnTo>
                <a:lnTo>
                  <a:pt x="1980537" y="1256480"/>
                </a:lnTo>
                <a:lnTo>
                  <a:pt x="1978475" y="1262652"/>
                </a:lnTo>
                <a:lnTo>
                  <a:pt x="1974676" y="1264708"/>
                </a:lnTo>
                <a:lnTo>
                  <a:pt x="1971204" y="1274345"/>
                </a:lnTo>
                <a:lnTo>
                  <a:pt x="1973049" y="1276402"/>
                </a:lnTo>
                <a:lnTo>
                  <a:pt x="1973049" y="1283331"/>
                </a:lnTo>
                <a:lnTo>
                  <a:pt x="1968816" y="1290693"/>
                </a:lnTo>
                <a:lnTo>
                  <a:pt x="1967189" y="1294808"/>
                </a:lnTo>
                <a:lnTo>
                  <a:pt x="1962849" y="1296215"/>
                </a:lnTo>
                <a:lnTo>
                  <a:pt x="1960787" y="1298381"/>
                </a:lnTo>
                <a:lnTo>
                  <a:pt x="1965887" y="1299464"/>
                </a:lnTo>
                <a:lnTo>
                  <a:pt x="1967080" y="1303036"/>
                </a:lnTo>
                <a:lnTo>
                  <a:pt x="1965670" y="1307367"/>
                </a:lnTo>
                <a:lnTo>
                  <a:pt x="1968057" y="1310291"/>
                </a:lnTo>
                <a:lnTo>
                  <a:pt x="1967840" y="1316462"/>
                </a:lnTo>
                <a:lnTo>
                  <a:pt x="1969793" y="1317545"/>
                </a:lnTo>
                <a:lnTo>
                  <a:pt x="1965344" y="1328697"/>
                </a:lnTo>
                <a:lnTo>
                  <a:pt x="1959050" y="1334652"/>
                </a:lnTo>
                <a:lnTo>
                  <a:pt x="1946137" y="1337575"/>
                </a:lnTo>
                <a:lnTo>
                  <a:pt x="1944292" y="1342447"/>
                </a:lnTo>
                <a:lnTo>
                  <a:pt x="1950694" y="1337142"/>
                </a:lnTo>
                <a:lnTo>
                  <a:pt x="1961655" y="1335734"/>
                </a:lnTo>
                <a:lnTo>
                  <a:pt x="1970010" y="1325556"/>
                </a:lnTo>
                <a:lnTo>
                  <a:pt x="1975979" y="1313755"/>
                </a:lnTo>
                <a:lnTo>
                  <a:pt x="1989760" y="1313214"/>
                </a:lnTo>
                <a:lnTo>
                  <a:pt x="1993884" y="1315054"/>
                </a:lnTo>
                <a:lnTo>
                  <a:pt x="1993884" y="1319601"/>
                </a:lnTo>
                <a:lnTo>
                  <a:pt x="1992039" y="1324691"/>
                </a:lnTo>
                <a:lnTo>
                  <a:pt x="1992039" y="1330429"/>
                </a:lnTo>
                <a:lnTo>
                  <a:pt x="1994753" y="1336709"/>
                </a:lnTo>
                <a:lnTo>
                  <a:pt x="1994753" y="1346345"/>
                </a:lnTo>
                <a:lnTo>
                  <a:pt x="1991171" y="1355656"/>
                </a:lnTo>
                <a:lnTo>
                  <a:pt x="1994101" y="1359770"/>
                </a:lnTo>
                <a:lnTo>
                  <a:pt x="1995837" y="1369082"/>
                </a:lnTo>
                <a:lnTo>
                  <a:pt x="1993884" y="1373845"/>
                </a:lnTo>
                <a:lnTo>
                  <a:pt x="1979234" y="1387812"/>
                </a:lnTo>
                <a:lnTo>
                  <a:pt x="1972181" y="1390194"/>
                </a:lnTo>
                <a:lnTo>
                  <a:pt x="1967080" y="1389328"/>
                </a:lnTo>
                <a:lnTo>
                  <a:pt x="1972398" y="1391602"/>
                </a:lnTo>
                <a:lnTo>
                  <a:pt x="1979451" y="1391710"/>
                </a:lnTo>
                <a:lnTo>
                  <a:pt x="1996489" y="1386296"/>
                </a:lnTo>
                <a:lnTo>
                  <a:pt x="2013743" y="1380558"/>
                </a:lnTo>
                <a:lnTo>
                  <a:pt x="2022207" y="1379692"/>
                </a:lnTo>
                <a:lnTo>
                  <a:pt x="2033059" y="1386730"/>
                </a:lnTo>
                <a:lnTo>
                  <a:pt x="2040112" y="1393118"/>
                </a:lnTo>
                <a:lnTo>
                  <a:pt x="2050421" y="1396257"/>
                </a:lnTo>
                <a:lnTo>
                  <a:pt x="2053243" y="1398639"/>
                </a:lnTo>
                <a:lnTo>
                  <a:pt x="2057801" y="1399830"/>
                </a:lnTo>
                <a:lnTo>
                  <a:pt x="2065397" y="1407518"/>
                </a:lnTo>
                <a:lnTo>
                  <a:pt x="2069086" y="1409141"/>
                </a:lnTo>
                <a:lnTo>
                  <a:pt x="2072884" y="1416179"/>
                </a:lnTo>
                <a:lnTo>
                  <a:pt x="2077008" y="1418778"/>
                </a:lnTo>
                <a:lnTo>
                  <a:pt x="2077008" y="1422892"/>
                </a:lnTo>
                <a:lnTo>
                  <a:pt x="2080047" y="1426357"/>
                </a:lnTo>
                <a:lnTo>
                  <a:pt x="2083302" y="1434369"/>
                </a:lnTo>
                <a:lnTo>
                  <a:pt x="2083193" y="1436642"/>
                </a:lnTo>
                <a:lnTo>
                  <a:pt x="2086449" y="1435235"/>
                </a:lnTo>
                <a:lnTo>
                  <a:pt x="2088728" y="1437834"/>
                </a:lnTo>
                <a:lnTo>
                  <a:pt x="2098494" y="1444330"/>
                </a:lnTo>
                <a:lnTo>
                  <a:pt x="2101967" y="1445196"/>
                </a:lnTo>
                <a:lnTo>
                  <a:pt x="2109020" y="1450176"/>
                </a:lnTo>
                <a:lnTo>
                  <a:pt x="2112601" y="1451367"/>
                </a:lnTo>
                <a:lnTo>
                  <a:pt x="2120740" y="1458621"/>
                </a:lnTo>
                <a:lnTo>
                  <a:pt x="2121608" y="1462086"/>
                </a:lnTo>
                <a:lnTo>
                  <a:pt x="2127576" y="1467932"/>
                </a:lnTo>
                <a:lnTo>
                  <a:pt x="2126708" y="1470098"/>
                </a:lnTo>
                <a:lnTo>
                  <a:pt x="2128336" y="1471722"/>
                </a:lnTo>
                <a:lnTo>
                  <a:pt x="2135824" y="1471830"/>
                </a:lnTo>
                <a:lnTo>
                  <a:pt x="2138103" y="1472697"/>
                </a:lnTo>
                <a:lnTo>
                  <a:pt x="2143528" y="1471505"/>
                </a:lnTo>
                <a:lnTo>
                  <a:pt x="2153621" y="1471830"/>
                </a:lnTo>
                <a:lnTo>
                  <a:pt x="2156008" y="1474104"/>
                </a:lnTo>
                <a:lnTo>
                  <a:pt x="2157962" y="1474104"/>
                </a:lnTo>
                <a:lnTo>
                  <a:pt x="2165341" y="1476378"/>
                </a:lnTo>
                <a:lnTo>
                  <a:pt x="2173479" y="1477893"/>
                </a:lnTo>
                <a:lnTo>
                  <a:pt x="2179339" y="1475944"/>
                </a:lnTo>
                <a:lnTo>
                  <a:pt x="2182703" y="1475944"/>
                </a:lnTo>
                <a:lnTo>
                  <a:pt x="2182595" y="1477677"/>
                </a:lnTo>
                <a:lnTo>
                  <a:pt x="2184114" y="1476811"/>
                </a:lnTo>
                <a:lnTo>
                  <a:pt x="2186501" y="1476811"/>
                </a:lnTo>
                <a:lnTo>
                  <a:pt x="2187369" y="1483956"/>
                </a:lnTo>
                <a:lnTo>
                  <a:pt x="2181184" y="1495542"/>
                </a:lnTo>
                <a:lnTo>
                  <a:pt x="2180858" y="1499656"/>
                </a:lnTo>
                <a:lnTo>
                  <a:pt x="2177603" y="1504203"/>
                </a:lnTo>
                <a:lnTo>
                  <a:pt x="2174130" y="1510483"/>
                </a:lnTo>
                <a:lnTo>
                  <a:pt x="2174998" y="1515896"/>
                </a:lnTo>
                <a:lnTo>
                  <a:pt x="2176518" y="1517196"/>
                </a:lnTo>
                <a:lnTo>
                  <a:pt x="2176844" y="1527590"/>
                </a:lnTo>
                <a:lnTo>
                  <a:pt x="2170658" y="1537117"/>
                </a:lnTo>
                <a:lnTo>
                  <a:pt x="2170658" y="1541340"/>
                </a:lnTo>
                <a:lnTo>
                  <a:pt x="2168813" y="1547511"/>
                </a:lnTo>
                <a:lnTo>
                  <a:pt x="2164146" y="1551409"/>
                </a:lnTo>
                <a:lnTo>
                  <a:pt x="2161542" y="1560937"/>
                </a:lnTo>
                <a:lnTo>
                  <a:pt x="2163605" y="1564835"/>
                </a:lnTo>
                <a:lnTo>
                  <a:pt x="2168488" y="1568624"/>
                </a:lnTo>
                <a:lnTo>
                  <a:pt x="2168488" y="1574471"/>
                </a:lnTo>
                <a:lnTo>
                  <a:pt x="2172069" y="1576420"/>
                </a:lnTo>
                <a:lnTo>
                  <a:pt x="2174782" y="1580318"/>
                </a:lnTo>
                <a:lnTo>
                  <a:pt x="2173805" y="1584324"/>
                </a:lnTo>
                <a:lnTo>
                  <a:pt x="2174456" y="1586381"/>
                </a:lnTo>
                <a:lnTo>
                  <a:pt x="2174130" y="1589737"/>
                </a:lnTo>
                <a:lnTo>
                  <a:pt x="2178580" y="1591469"/>
                </a:lnTo>
                <a:lnTo>
                  <a:pt x="2184331" y="1594392"/>
                </a:lnTo>
                <a:lnTo>
                  <a:pt x="2185524" y="1594392"/>
                </a:lnTo>
                <a:lnTo>
                  <a:pt x="2186176" y="1597641"/>
                </a:lnTo>
                <a:lnTo>
                  <a:pt x="2189106" y="1601647"/>
                </a:lnTo>
                <a:lnTo>
                  <a:pt x="2189974" y="1609226"/>
                </a:lnTo>
                <a:lnTo>
                  <a:pt x="2191167" y="1612257"/>
                </a:lnTo>
                <a:lnTo>
                  <a:pt x="2189323" y="1618970"/>
                </a:lnTo>
                <a:lnTo>
                  <a:pt x="2180207" y="1627091"/>
                </a:lnTo>
                <a:lnTo>
                  <a:pt x="2187044" y="1623626"/>
                </a:lnTo>
                <a:lnTo>
                  <a:pt x="2192904" y="1619295"/>
                </a:lnTo>
                <a:lnTo>
                  <a:pt x="2199306" y="1621569"/>
                </a:lnTo>
                <a:lnTo>
                  <a:pt x="2203430" y="1625575"/>
                </a:lnTo>
                <a:lnTo>
                  <a:pt x="2207445" y="1625899"/>
                </a:lnTo>
                <a:lnTo>
                  <a:pt x="2208747" y="1621893"/>
                </a:lnTo>
                <a:lnTo>
                  <a:pt x="2208747" y="1617779"/>
                </a:lnTo>
                <a:lnTo>
                  <a:pt x="2216886" y="1607818"/>
                </a:lnTo>
                <a:lnTo>
                  <a:pt x="2218730" y="1607710"/>
                </a:lnTo>
                <a:lnTo>
                  <a:pt x="2217754" y="1611608"/>
                </a:lnTo>
                <a:lnTo>
                  <a:pt x="2218405" y="1614206"/>
                </a:lnTo>
                <a:lnTo>
                  <a:pt x="2221227" y="1614856"/>
                </a:lnTo>
                <a:lnTo>
                  <a:pt x="2222854" y="1623301"/>
                </a:lnTo>
                <a:lnTo>
                  <a:pt x="2221986" y="1629797"/>
                </a:lnTo>
                <a:lnTo>
                  <a:pt x="2227521" y="1634128"/>
                </a:lnTo>
                <a:lnTo>
                  <a:pt x="2235659" y="1634994"/>
                </a:lnTo>
                <a:lnTo>
                  <a:pt x="2231102" y="1632937"/>
                </a:lnTo>
                <a:lnTo>
                  <a:pt x="2226544" y="1627740"/>
                </a:lnTo>
                <a:lnTo>
                  <a:pt x="2225676" y="1622110"/>
                </a:lnTo>
                <a:lnTo>
                  <a:pt x="2226653" y="1614748"/>
                </a:lnTo>
                <a:lnTo>
                  <a:pt x="2229039" y="1611499"/>
                </a:lnTo>
                <a:lnTo>
                  <a:pt x="2226653" y="1608467"/>
                </a:lnTo>
                <a:lnTo>
                  <a:pt x="2226327" y="1603920"/>
                </a:lnTo>
                <a:lnTo>
                  <a:pt x="2228172" y="1604895"/>
                </a:lnTo>
                <a:lnTo>
                  <a:pt x="2230776" y="1604028"/>
                </a:lnTo>
                <a:lnTo>
                  <a:pt x="2233055" y="1597208"/>
                </a:lnTo>
                <a:lnTo>
                  <a:pt x="2238698" y="1591686"/>
                </a:lnTo>
                <a:lnTo>
                  <a:pt x="2237070" y="1589737"/>
                </a:lnTo>
                <a:lnTo>
                  <a:pt x="2236310" y="1582699"/>
                </a:lnTo>
                <a:lnTo>
                  <a:pt x="2233597" y="1581184"/>
                </a:lnTo>
                <a:lnTo>
                  <a:pt x="2233706" y="1576203"/>
                </a:lnTo>
                <a:lnTo>
                  <a:pt x="2238263" y="1570681"/>
                </a:lnTo>
                <a:lnTo>
                  <a:pt x="2236310" y="1568083"/>
                </a:lnTo>
                <a:lnTo>
                  <a:pt x="2236527" y="1565376"/>
                </a:lnTo>
                <a:lnTo>
                  <a:pt x="2234140" y="1564510"/>
                </a:lnTo>
                <a:lnTo>
                  <a:pt x="2233380" y="1561370"/>
                </a:lnTo>
                <a:lnTo>
                  <a:pt x="2237178" y="1549677"/>
                </a:lnTo>
                <a:lnTo>
                  <a:pt x="2235985" y="1545129"/>
                </a:lnTo>
                <a:lnTo>
                  <a:pt x="2237178" y="1537117"/>
                </a:lnTo>
                <a:lnTo>
                  <a:pt x="2239783" y="1534627"/>
                </a:lnTo>
                <a:lnTo>
                  <a:pt x="2238698" y="1530080"/>
                </a:lnTo>
                <a:lnTo>
                  <a:pt x="2240976" y="1528564"/>
                </a:lnTo>
                <a:lnTo>
                  <a:pt x="2239240" y="1524666"/>
                </a:lnTo>
                <a:lnTo>
                  <a:pt x="2242061" y="1522609"/>
                </a:lnTo>
                <a:lnTo>
                  <a:pt x="2239457" y="1521851"/>
                </a:lnTo>
                <a:lnTo>
                  <a:pt x="2237938" y="1518819"/>
                </a:lnTo>
                <a:lnTo>
                  <a:pt x="2240325" y="1517412"/>
                </a:lnTo>
                <a:lnTo>
                  <a:pt x="2238372" y="1513839"/>
                </a:lnTo>
                <a:lnTo>
                  <a:pt x="2238589" y="1509509"/>
                </a:lnTo>
                <a:lnTo>
                  <a:pt x="2236527" y="1505719"/>
                </a:lnTo>
                <a:lnTo>
                  <a:pt x="2235985" y="1500955"/>
                </a:lnTo>
                <a:lnTo>
                  <a:pt x="2234465" y="1498356"/>
                </a:lnTo>
                <a:lnTo>
                  <a:pt x="2240868" y="1495433"/>
                </a:lnTo>
                <a:lnTo>
                  <a:pt x="2250309" y="1493809"/>
                </a:lnTo>
                <a:lnTo>
                  <a:pt x="2254975" y="1490236"/>
                </a:lnTo>
                <a:lnTo>
                  <a:pt x="2260510" y="1490453"/>
                </a:lnTo>
                <a:lnTo>
                  <a:pt x="2263006" y="1488395"/>
                </a:lnTo>
                <a:lnTo>
                  <a:pt x="2272338" y="1483740"/>
                </a:lnTo>
                <a:lnTo>
                  <a:pt x="2287204" y="1478218"/>
                </a:lnTo>
                <a:lnTo>
                  <a:pt x="2287313" y="1476486"/>
                </a:lnTo>
                <a:lnTo>
                  <a:pt x="2290460" y="1473562"/>
                </a:lnTo>
                <a:lnTo>
                  <a:pt x="2301638" y="1468799"/>
                </a:lnTo>
                <a:lnTo>
                  <a:pt x="2302288" y="1464685"/>
                </a:lnTo>
                <a:lnTo>
                  <a:pt x="2307822" y="1462086"/>
                </a:lnTo>
                <a:lnTo>
                  <a:pt x="2314442" y="1451800"/>
                </a:lnTo>
                <a:lnTo>
                  <a:pt x="2317263" y="1452125"/>
                </a:lnTo>
                <a:lnTo>
                  <a:pt x="2319543" y="1454291"/>
                </a:lnTo>
                <a:lnTo>
                  <a:pt x="2324318" y="1453965"/>
                </a:lnTo>
                <a:lnTo>
                  <a:pt x="2328007" y="1450068"/>
                </a:lnTo>
                <a:lnTo>
                  <a:pt x="2323666" y="1444546"/>
                </a:lnTo>
                <a:lnTo>
                  <a:pt x="2323341" y="1438483"/>
                </a:lnTo>
                <a:lnTo>
                  <a:pt x="2320411" y="1441081"/>
                </a:lnTo>
                <a:lnTo>
                  <a:pt x="2319435" y="1445845"/>
                </a:lnTo>
                <a:lnTo>
                  <a:pt x="2317263" y="1446387"/>
                </a:lnTo>
                <a:lnTo>
                  <a:pt x="2319000" y="1440215"/>
                </a:lnTo>
                <a:lnTo>
                  <a:pt x="2323341" y="1428738"/>
                </a:lnTo>
                <a:lnTo>
                  <a:pt x="2325077" y="1426790"/>
                </a:lnTo>
                <a:lnTo>
                  <a:pt x="2325077" y="1418561"/>
                </a:lnTo>
                <a:lnTo>
                  <a:pt x="2325728" y="1412714"/>
                </a:lnTo>
                <a:lnTo>
                  <a:pt x="2321930" y="1405461"/>
                </a:lnTo>
                <a:lnTo>
                  <a:pt x="2322689" y="1391061"/>
                </a:lnTo>
                <a:lnTo>
                  <a:pt x="2321062" y="1378392"/>
                </a:lnTo>
                <a:lnTo>
                  <a:pt x="2313900" y="1367133"/>
                </a:lnTo>
                <a:lnTo>
                  <a:pt x="2308691" y="1363776"/>
                </a:lnTo>
                <a:lnTo>
                  <a:pt x="2307280" y="1358688"/>
                </a:lnTo>
                <a:lnTo>
                  <a:pt x="2302506" y="1357280"/>
                </a:lnTo>
                <a:lnTo>
                  <a:pt x="2301095" y="1353599"/>
                </a:lnTo>
                <a:lnTo>
                  <a:pt x="2303916" y="1344288"/>
                </a:lnTo>
                <a:lnTo>
                  <a:pt x="2308582" y="1342231"/>
                </a:lnTo>
                <a:lnTo>
                  <a:pt x="2321062" y="1329130"/>
                </a:lnTo>
                <a:lnTo>
                  <a:pt x="2325077" y="1328697"/>
                </a:lnTo>
                <a:lnTo>
                  <a:pt x="2328115" y="1325123"/>
                </a:lnTo>
                <a:lnTo>
                  <a:pt x="2328007" y="1321768"/>
                </a:lnTo>
                <a:lnTo>
                  <a:pt x="2326271" y="1320793"/>
                </a:lnTo>
                <a:lnTo>
                  <a:pt x="2326054" y="1318844"/>
                </a:lnTo>
                <a:lnTo>
                  <a:pt x="2331045" y="1312348"/>
                </a:lnTo>
                <a:lnTo>
                  <a:pt x="2333650" y="1312348"/>
                </a:lnTo>
                <a:lnTo>
                  <a:pt x="2336580" y="1317978"/>
                </a:lnTo>
                <a:lnTo>
                  <a:pt x="2339726" y="1319601"/>
                </a:lnTo>
                <a:lnTo>
                  <a:pt x="2337990" y="1317003"/>
                </a:lnTo>
                <a:lnTo>
                  <a:pt x="2338316" y="1311481"/>
                </a:lnTo>
                <a:lnTo>
                  <a:pt x="2343525" y="1309208"/>
                </a:lnTo>
                <a:lnTo>
                  <a:pt x="2348517" y="1300113"/>
                </a:lnTo>
                <a:lnTo>
                  <a:pt x="2347649" y="1297081"/>
                </a:lnTo>
                <a:lnTo>
                  <a:pt x="2341138" y="1297081"/>
                </a:lnTo>
                <a:lnTo>
                  <a:pt x="2340595" y="1295024"/>
                </a:lnTo>
                <a:lnTo>
                  <a:pt x="2344827" y="1289503"/>
                </a:lnTo>
                <a:lnTo>
                  <a:pt x="2342331" y="1287446"/>
                </a:lnTo>
                <a:lnTo>
                  <a:pt x="2340703" y="1283981"/>
                </a:lnTo>
                <a:lnTo>
                  <a:pt x="2343959" y="1280191"/>
                </a:lnTo>
                <a:lnTo>
                  <a:pt x="2348625" y="1278675"/>
                </a:lnTo>
                <a:lnTo>
                  <a:pt x="2343525" y="1277809"/>
                </a:lnTo>
                <a:lnTo>
                  <a:pt x="2343199" y="1275211"/>
                </a:lnTo>
                <a:lnTo>
                  <a:pt x="2345261" y="1268498"/>
                </a:lnTo>
                <a:lnTo>
                  <a:pt x="2348842" y="1266224"/>
                </a:lnTo>
                <a:lnTo>
                  <a:pt x="2346021" y="1265791"/>
                </a:lnTo>
                <a:lnTo>
                  <a:pt x="2338208" y="1266441"/>
                </a:lnTo>
                <a:lnTo>
                  <a:pt x="2335928" y="1265467"/>
                </a:lnTo>
                <a:lnTo>
                  <a:pt x="2336254" y="1261785"/>
                </a:lnTo>
                <a:lnTo>
                  <a:pt x="2346455" y="1253773"/>
                </a:lnTo>
                <a:lnTo>
                  <a:pt x="2352749" y="1244571"/>
                </a:lnTo>
                <a:lnTo>
                  <a:pt x="2353834" y="1239049"/>
                </a:lnTo>
                <a:lnTo>
                  <a:pt x="2356873" y="1239590"/>
                </a:lnTo>
                <a:lnTo>
                  <a:pt x="2359043" y="1236991"/>
                </a:lnTo>
                <a:lnTo>
                  <a:pt x="2359043" y="1231578"/>
                </a:lnTo>
                <a:lnTo>
                  <a:pt x="2356438" y="1230495"/>
                </a:lnTo>
                <a:lnTo>
                  <a:pt x="2356113" y="1228438"/>
                </a:lnTo>
                <a:lnTo>
                  <a:pt x="2353617" y="1227896"/>
                </a:lnTo>
                <a:lnTo>
                  <a:pt x="2350687" y="1223241"/>
                </a:lnTo>
                <a:lnTo>
                  <a:pt x="2350904" y="1214147"/>
                </a:lnTo>
                <a:lnTo>
                  <a:pt x="2354160" y="1207109"/>
                </a:lnTo>
                <a:lnTo>
                  <a:pt x="2354377" y="1201154"/>
                </a:lnTo>
                <a:lnTo>
                  <a:pt x="2358175" y="1199096"/>
                </a:lnTo>
                <a:lnTo>
                  <a:pt x="2360019" y="1200396"/>
                </a:lnTo>
                <a:lnTo>
                  <a:pt x="2362841" y="1200288"/>
                </a:lnTo>
                <a:lnTo>
                  <a:pt x="2362841" y="1197364"/>
                </a:lnTo>
                <a:lnTo>
                  <a:pt x="2366096" y="1194116"/>
                </a:lnTo>
                <a:lnTo>
                  <a:pt x="2369026" y="1193683"/>
                </a:lnTo>
                <a:lnTo>
                  <a:pt x="2371956" y="1192492"/>
                </a:lnTo>
                <a:lnTo>
                  <a:pt x="2374886" y="1194441"/>
                </a:lnTo>
                <a:lnTo>
                  <a:pt x="2382808" y="1194874"/>
                </a:lnTo>
                <a:lnTo>
                  <a:pt x="2390838" y="1199313"/>
                </a:lnTo>
                <a:lnTo>
                  <a:pt x="2401473" y="1205160"/>
                </a:lnTo>
                <a:lnTo>
                  <a:pt x="2407332" y="1205160"/>
                </a:lnTo>
                <a:lnTo>
                  <a:pt x="2406031" y="1209599"/>
                </a:lnTo>
                <a:lnTo>
                  <a:pt x="2399845" y="1211981"/>
                </a:lnTo>
                <a:lnTo>
                  <a:pt x="2407767" y="1211656"/>
                </a:lnTo>
                <a:lnTo>
                  <a:pt x="2414278" y="1206892"/>
                </a:lnTo>
                <a:lnTo>
                  <a:pt x="2418727" y="1207217"/>
                </a:lnTo>
                <a:lnTo>
                  <a:pt x="2421223" y="1209924"/>
                </a:lnTo>
                <a:lnTo>
                  <a:pt x="2424587" y="1209924"/>
                </a:lnTo>
                <a:lnTo>
                  <a:pt x="2428059" y="1214796"/>
                </a:lnTo>
                <a:lnTo>
                  <a:pt x="2428059" y="1209599"/>
                </a:lnTo>
                <a:lnTo>
                  <a:pt x="2433593" y="1211981"/>
                </a:lnTo>
                <a:lnTo>
                  <a:pt x="2435981" y="1209274"/>
                </a:lnTo>
                <a:lnTo>
                  <a:pt x="2439779" y="1208949"/>
                </a:lnTo>
                <a:lnTo>
                  <a:pt x="2446073" y="1205160"/>
                </a:lnTo>
                <a:lnTo>
                  <a:pt x="2454320" y="1211656"/>
                </a:lnTo>
                <a:lnTo>
                  <a:pt x="2454320" y="1216528"/>
                </a:lnTo>
                <a:lnTo>
                  <a:pt x="2459854" y="1220967"/>
                </a:lnTo>
                <a:lnTo>
                  <a:pt x="2463979" y="1220967"/>
                </a:lnTo>
                <a:lnTo>
                  <a:pt x="2463979" y="1228546"/>
                </a:lnTo>
                <a:lnTo>
                  <a:pt x="2461266" y="1232336"/>
                </a:lnTo>
                <a:lnTo>
                  <a:pt x="2461266" y="1235800"/>
                </a:lnTo>
                <a:lnTo>
                  <a:pt x="2464304" y="1233743"/>
                </a:lnTo>
                <a:lnTo>
                  <a:pt x="2469513" y="1238507"/>
                </a:lnTo>
                <a:lnTo>
                  <a:pt x="2471900" y="1243704"/>
                </a:lnTo>
                <a:lnTo>
                  <a:pt x="2468102" y="1244787"/>
                </a:lnTo>
                <a:lnTo>
                  <a:pt x="2472225" y="1247818"/>
                </a:lnTo>
                <a:lnTo>
                  <a:pt x="2475698" y="1244787"/>
                </a:lnTo>
                <a:lnTo>
                  <a:pt x="2479822" y="1250634"/>
                </a:lnTo>
                <a:lnTo>
                  <a:pt x="2479171" y="1253340"/>
                </a:lnTo>
                <a:lnTo>
                  <a:pt x="2475047" y="1250200"/>
                </a:lnTo>
                <a:lnTo>
                  <a:pt x="2472985" y="1254748"/>
                </a:lnTo>
                <a:lnTo>
                  <a:pt x="2468753" y="1254748"/>
                </a:lnTo>
                <a:lnTo>
                  <a:pt x="2474613" y="1260594"/>
                </a:lnTo>
                <a:lnTo>
                  <a:pt x="2474613" y="1265034"/>
                </a:lnTo>
                <a:lnTo>
                  <a:pt x="2478845" y="1261244"/>
                </a:lnTo>
                <a:lnTo>
                  <a:pt x="2478845" y="1265034"/>
                </a:lnTo>
                <a:lnTo>
                  <a:pt x="2482643" y="1262652"/>
                </a:lnTo>
                <a:lnTo>
                  <a:pt x="2490240" y="1269148"/>
                </a:lnTo>
                <a:lnTo>
                  <a:pt x="2492952" y="1268173"/>
                </a:lnTo>
                <a:lnTo>
                  <a:pt x="2494688" y="1270555"/>
                </a:lnTo>
                <a:lnTo>
                  <a:pt x="2499897" y="1268173"/>
                </a:lnTo>
                <a:lnTo>
                  <a:pt x="2506083" y="1270230"/>
                </a:lnTo>
                <a:lnTo>
                  <a:pt x="2504997" y="1278784"/>
                </a:lnTo>
                <a:lnTo>
                  <a:pt x="2507494" y="1282573"/>
                </a:lnTo>
                <a:lnTo>
                  <a:pt x="2512920" y="1278459"/>
                </a:lnTo>
                <a:lnTo>
                  <a:pt x="2514005" y="1271313"/>
                </a:lnTo>
                <a:lnTo>
                  <a:pt x="2517803" y="1270880"/>
                </a:lnTo>
                <a:lnTo>
                  <a:pt x="2518128" y="1279217"/>
                </a:lnTo>
                <a:lnTo>
                  <a:pt x="2516826" y="1287120"/>
                </a:lnTo>
                <a:lnTo>
                  <a:pt x="2510532" y="1288420"/>
                </a:lnTo>
                <a:lnTo>
                  <a:pt x="2506083" y="1295350"/>
                </a:lnTo>
                <a:lnTo>
                  <a:pt x="2507060" y="1307042"/>
                </a:lnTo>
                <a:lnTo>
                  <a:pt x="2504997" y="1311156"/>
                </a:lnTo>
                <a:lnTo>
                  <a:pt x="2504021" y="1304985"/>
                </a:lnTo>
                <a:lnTo>
                  <a:pt x="2501959" y="1307801"/>
                </a:lnTo>
                <a:lnTo>
                  <a:pt x="2500549" y="1314946"/>
                </a:lnTo>
                <a:lnTo>
                  <a:pt x="2490240" y="1313647"/>
                </a:lnTo>
                <a:lnTo>
                  <a:pt x="2477760" y="1309858"/>
                </a:lnTo>
                <a:lnTo>
                  <a:pt x="2488829" y="1315704"/>
                </a:lnTo>
                <a:lnTo>
                  <a:pt x="2497836" y="1317436"/>
                </a:lnTo>
                <a:lnTo>
                  <a:pt x="2504238" y="1322850"/>
                </a:lnTo>
                <a:lnTo>
                  <a:pt x="2503696" y="1331078"/>
                </a:lnTo>
                <a:lnTo>
                  <a:pt x="2499572" y="1337142"/>
                </a:lnTo>
                <a:lnTo>
                  <a:pt x="2498921" y="1340065"/>
                </a:lnTo>
                <a:lnTo>
                  <a:pt x="2493929" y="1346345"/>
                </a:lnTo>
                <a:lnTo>
                  <a:pt x="2495231" y="1347103"/>
                </a:lnTo>
                <a:lnTo>
                  <a:pt x="2501199" y="1356305"/>
                </a:lnTo>
                <a:lnTo>
                  <a:pt x="2505106" y="1357496"/>
                </a:lnTo>
                <a:lnTo>
                  <a:pt x="2502719" y="1358579"/>
                </a:lnTo>
                <a:lnTo>
                  <a:pt x="2494471" y="1354573"/>
                </a:lnTo>
                <a:lnTo>
                  <a:pt x="2499897" y="1362910"/>
                </a:lnTo>
                <a:lnTo>
                  <a:pt x="2504238" y="1365941"/>
                </a:lnTo>
                <a:lnTo>
                  <a:pt x="2505757" y="1365833"/>
                </a:lnTo>
                <a:lnTo>
                  <a:pt x="2504238" y="1360853"/>
                </a:lnTo>
                <a:lnTo>
                  <a:pt x="2508579" y="1360637"/>
                </a:lnTo>
                <a:lnTo>
                  <a:pt x="2513353" y="1364751"/>
                </a:lnTo>
                <a:lnTo>
                  <a:pt x="2515958" y="1369623"/>
                </a:lnTo>
                <a:lnTo>
                  <a:pt x="2514873" y="1374712"/>
                </a:lnTo>
                <a:lnTo>
                  <a:pt x="2515306" y="1380125"/>
                </a:lnTo>
                <a:lnTo>
                  <a:pt x="2510098" y="1388137"/>
                </a:lnTo>
                <a:lnTo>
                  <a:pt x="2509122" y="1393334"/>
                </a:lnTo>
                <a:lnTo>
                  <a:pt x="2505649" y="1397773"/>
                </a:lnTo>
                <a:lnTo>
                  <a:pt x="2510640" y="1395175"/>
                </a:lnTo>
                <a:lnTo>
                  <a:pt x="2516826" y="1382615"/>
                </a:lnTo>
                <a:lnTo>
                  <a:pt x="2523011" y="1376444"/>
                </a:lnTo>
                <a:lnTo>
                  <a:pt x="2524422" y="1376985"/>
                </a:lnTo>
                <a:lnTo>
                  <a:pt x="2523662" y="1381641"/>
                </a:lnTo>
                <a:lnTo>
                  <a:pt x="2524205" y="1391277"/>
                </a:lnTo>
                <a:lnTo>
                  <a:pt x="2522903" y="1393118"/>
                </a:lnTo>
                <a:lnTo>
                  <a:pt x="2523229" y="1397124"/>
                </a:lnTo>
                <a:lnTo>
                  <a:pt x="2521275" y="1401779"/>
                </a:lnTo>
                <a:lnTo>
                  <a:pt x="2526592" y="1395716"/>
                </a:lnTo>
                <a:lnTo>
                  <a:pt x="2527352" y="1390194"/>
                </a:lnTo>
                <a:lnTo>
                  <a:pt x="2532453" y="1386080"/>
                </a:lnTo>
                <a:lnTo>
                  <a:pt x="2536793" y="1385539"/>
                </a:lnTo>
                <a:lnTo>
                  <a:pt x="2540917" y="1381749"/>
                </a:lnTo>
                <a:lnTo>
                  <a:pt x="2544389" y="1382290"/>
                </a:lnTo>
                <a:lnTo>
                  <a:pt x="2545040" y="1384564"/>
                </a:lnTo>
                <a:lnTo>
                  <a:pt x="2547102" y="1382182"/>
                </a:lnTo>
                <a:lnTo>
                  <a:pt x="2551443" y="1381100"/>
                </a:lnTo>
                <a:lnTo>
                  <a:pt x="2552094" y="1376661"/>
                </a:lnTo>
                <a:lnTo>
                  <a:pt x="2555241" y="1372329"/>
                </a:lnTo>
                <a:lnTo>
                  <a:pt x="2561644" y="1367674"/>
                </a:lnTo>
                <a:lnTo>
                  <a:pt x="2564682" y="1370814"/>
                </a:lnTo>
                <a:lnTo>
                  <a:pt x="2566092" y="1377635"/>
                </a:lnTo>
                <a:lnTo>
                  <a:pt x="2565224" y="1383157"/>
                </a:lnTo>
                <a:lnTo>
                  <a:pt x="2568480" y="1375794"/>
                </a:lnTo>
                <a:lnTo>
                  <a:pt x="2568155" y="1368757"/>
                </a:lnTo>
                <a:lnTo>
                  <a:pt x="2570216" y="1368215"/>
                </a:lnTo>
                <a:lnTo>
                  <a:pt x="2569673" y="1365941"/>
                </a:lnTo>
                <a:lnTo>
                  <a:pt x="2572495" y="1361502"/>
                </a:lnTo>
                <a:lnTo>
                  <a:pt x="2576401" y="1360853"/>
                </a:lnTo>
                <a:lnTo>
                  <a:pt x="2577596" y="1354573"/>
                </a:lnTo>
                <a:lnTo>
                  <a:pt x="2581285" y="1352192"/>
                </a:lnTo>
                <a:lnTo>
                  <a:pt x="2584215" y="1347752"/>
                </a:lnTo>
                <a:lnTo>
                  <a:pt x="2585734" y="1344612"/>
                </a:lnTo>
                <a:lnTo>
                  <a:pt x="2588338" y="1344504"/>
                </a:lnTo>
                <a:lnTo>
                  <a:pt x="2592245" y="1348619"/>
                </a:lnTo>
                <a:lnTo>
                  <a:pt x="2592462" y="1345695"/>
                </a:lnTo>
                <a:lnTo>
                  <a:pt x="2590400" y="1342122"/>
                </a:lnTo>
                <a:lnTo>
                  <a:pt x="2586385" y="1341906"/>
                </a:lnTo>
                <a:lnTo>
                  <a:pt x="2586277" y="1338982"/>
                </a:lnTo>
                <a:lnTo>
                  <a:pt x="2589315" y="1331728"/>
                </a:lnTo>
                <a:lnTo>
                  <a:pt x="2591811" y="1330537"/>
                </a:lnTo>
                <a:lnTo>
                  <a:pt x="2594524" y="1333460"/>
                </a:lnTo>
                <a:lnTo>
                  <a:pt x="2594198" y="1329021"/>
                </a:lnTo>
                <a:lnTo>
                  <a:pt x="2597128" y="1326964"/>
                </a:lnTo>
                <a:lnTo>
                  <a:pt x="2597671" y="1323391"/>
                </a:lnTo>
                <a:lnTo>
                  <a:pt x="2602771" y="1317653"/>
                </a:lnTo>
                <a:lnTo>
                  <a:pt x="2605050" y="1313755"/>
                </a:lnTo>
                <a:lnTo>
                  <a:pt x="2603965" y="1310399"/>
                </a:lnTo>
                <a:lnTo>
                  <a:pt x="2608088" y="1304985"/>
                </a:lnTo>
                <a:lnTo>
                  <a:pt x="2612971" y="1303361"/>
                </a:lnTo>
                <a:lnTo>
                  <a:pt x="2614816" y="1305310"/>
                </a:lnTo>
                <a:lnTo>
                  <a:pt x="2611018" y="1308558"/>
                </a:lnTo>
                <a:lnTo>
                  <a:pt x="2615251" y="1306826"/>
                </a:lnTo>
                <a:lnTo>
                  <a:pt x="2616770" y="1308883"/>
                </a:lnTo>
                <a:lnTo>
                  <a:pt x="2613840" y="1310940"/>
                </a:lnTo>
                <a:lnTo>
                  <a:pt x="2613298" y="1314188"/>
                </a:lnTo>
                <a:lnTo>
                  <a:pt x="2616444" y="1316246"/>
                </a:lnTo>
                <a:lnTo>
                  <a:pt x="2613623" y="1320035"/>
                </a:lnTo>
                <a:lnTo>
                  <a:pt x="2611018" y="1320576"/>
                </a:lnTo>
                <a:lnTo>
                  <a:pt x="2610910" y="1321659"/>
                </a:lnTo>
                <a:lnTo>
                  <a:pt x="2613840" y="1322309"/>
                </a:lnTo>
                <a:lnTo>
                  <a:pt x="2616770" y="1322850"/>
                </a:lnTo>
                <a:lnTo>
                  <a:pt x="2615359" y="1326748"/>
                </a:lnTo>
                <a:lnTo>
                  <a:pt x="2613948" y="1328697"/>
                </a:lnTo>
                <a:lnTo>
                  <a:pt x="2617421" y="1328480"/>
                </a:lnTo>
                <a:lnTo>
                  <a:pt x="2617746" y="1332594"/>
                </a:lnTo>
                <a:lnTo>
                  <a:pt x="2614708" y="1334652"/>
                </a:lnTo>
                <a:lnTo>
                  <a:pt x="2615684" y="1339307"/>
                </a:lnTo>
                <a:lnTo>
                  <a:pt x="2620134" y="1343421"/>
                </a:lnTo>
                <a:lnTo>
                  <a:pt x="2620459" y="1349376"/>
                </a:lnTo>
                <a:lnTo>
                  <a:pt x="2618614" y="1351217"/>
                </a:lnTo>
                <a:lnTo>
                  <a:pt x="2616336" y="1349160"/>
                </a:lnTo>
                <a:lnTo>
                  <a:pt x="2613189" y="1350459"/>
                </a:lnTo>
                <a:lnTo>
                  <a:pt x="2616336" y="1353274"/>
                </a:lnTo>
                <a:lnTo>
                  <a:pt x="2617313" y="1356198"/>
                </a:lnTo>
                <a:lnTo>
                  <a:pt x="2619374" y="1356198"/>
                </a:lnTo>
                <a:lnTo>
                  <a:pt x="2622412" y="1353166"/>
                </a:lnTo>
                <a:lnTo>
                  <a:pt x="2622847" y="1356414"/>
                </a:lnTo>
                <a:lnTo>
                  <a:pt x="2626211" y="1358363"/>
                </a:lnTo>
                <a:lnTo>
                  <a:pt x="2622630" y="1364318"/>
                </a:lnTo>
                <a:lnTo>
                  <a:pt x="2618397" y="1365509"/>
                </a:lnTo>
                <a:lnTo>
                  <a:pt x="2613406" y="1364643"/>
                </a:lnTo>
                <a:lnTo>
                  <a:pt x="2611018" y="1367566"/>
                </a:lnTo>
                <a:lnTo>
                  <a:pt x="2614599" y="1369731"/>
                </a:lnTo>
                <a:lnTo>
                  <a:pt x="2625560" y="1366700"/>
                </a:lnTo>
                <a:lnTo>
                  <a:pt x="2629141" y="1367457"/>
                </a:lnTo>
                <a:lnTo>
                  <a:pt x="2627838" y="1371680"/>
                </a:lnTo>
                <a:lnTo>
                  <a:pt x="2623607" y="1376444"/>
                </a:lnTo>
                <a:lnTo>
                  <a:pt x="2627079" y="1378068"/>
                </a:lnTo>
                <a:lnTo>
                  <a:pt x="2631094" y="1375578"/>
                </a:lnTo>
                <a:lnTo>
                  <a:pt x="2631094" y="1380883"/>
                </a:lnTo>
                <a:lnTo>
                  <a:pt x="2627079" y="1386622"/>
                </a:lnTo>
                <a:lnTo>
                  <a:pt x="2619700" y="1386622"/>
                </a:lnTo>
                <a:lnTo>
                  <a:pt x="2616227" y="1384023"/>
                </a:lnTo>
                <a:lnTo>
                  <a:pt x="2614383" y="1387271"/>
                </a:lnTo>
                <a:lnTo>
                  <a:pt x="2615359" y="1390519"/>
                </a:lnTo>
                <a:lnTo>
                  <a:pt x="2613623" y="1394308"/>
                </a:lnTo>
                <a:lnTo>
                  <a:pt x="2620242" y="1391385"/>
                </a:lnTo>
                <a:lnTo>
                  <a:pt x="2627622" y="1391602"/>
                </a:lnTo>
                <a:lnTo>
                  <a:pt x="2632830" y="1389328"/>
                </a:lnTo>
                <a:lnTo>
                  <a:pt x="2634133" y="1390735"/>
                </a:lnTo>
                <a:lnTo>
                  <a:pt x="2631420" y="1393767"/>
                </a:lnTo>
                <a:lnTo>
                  <a:pt x="2631420" y="1396041"/>
                </a:lnTo>
                <a:lnTo>
                  <a:pt x="2627296" y="1398639"/>
                </a:lnTo>
                <a:lnTo>
                  <a:pt x="2622739" y="1398639"/>
                </a:lnTo>
                <a:lnTo>
                  <a:pt x="2615902" y="1407085"/>
                </a:lnTo>
                <a:lnTo>
                  <a:pt x="2623498" y="1403620"/>
                </a:lnTo>
                <a:lnTo>
                  <a:pt x="2628598" y="1403620"/>
                </a:lnTo>
                <a:lnTo>
                  <a:pt x="2632071" y="1402429"/>
                </a:lnTo>
                <a:lnTo>
                  <a:pt x="2636411" y="1403295"/>
                </a:lnTo>
                <a:lnTo>
                  <a:pt x="2636411" y="1407518"/>
                </a:lnTo>
                <a:lnTo>
                  <a:pt x="2632613" y="1408059"/>
                </a:lnTo>
                <a:lnTo>
                  <a:pt x="2627622" y="1411307"/>
                </a:lnTo>
                <a:lnTo>
                  <a:pt x="2626211" y="1415963"/>
                </a:lnTo>
                <a:lnTo>
                  <a:pt x="2629141" y="1413039"/>
                </a:lnTo>
                <a:lnTo>
                  <a:pt x="2633590" y="1414447"/>
                </a:lnTo>
                <a:lnTo>
                  <a:pt x="2636194" y="1411524"/>
                </a:lnTo>
                <a:lnTo>
                  <a:pt x="2640644" y="1415638"/>
                </a:lnTo>
                <a:lnTo>
                  <a:pt x="2642922" y="1423542"/>
                </a:lnTo>
                <a:lnTo>
                  <a:pt x="2638147" y="1427548"/>
                </a:lnTo>
                <a:lnTo>
                  <a:pt x="2634892" y="1426357"/>
                </a:lnTo>
                <a:lnTo>
                  <a:pt x="2632396" y="1428414"/>
                </a:lnTo>
                <a:lnTo>
                  <a:pt x="2627730" y="1428414"/>
                </a:lnTo>
                <a:lnTo>
                  <a:pt x="2631203" y="1431446"/>
                </a:lnTo>
                <a:lnTo>
                  <a:pt x="2634458" y="1430796"/>
                </a:lnTo>
                <a:lnTo>
                  <a:pt x="2636520" y="1432095"/>
                </a:lnTo>
                <a:lnTo>
                  <a:pt x="2641729" y="1432312"/>
                </a:lnTo>
                <a:lnTo>
                  <a:pt x="2643790" y="1434369"/>
                </a:lnTo>
                <a:lnTo>
                  <a:pt x="2642380" y="1438158"/>
                </a:lnTo>
                <a:lnTo>
                  <a:pt x="2639124" y="1440432"/>
                </a:lnTo>
                <a:lnTo>
                  <a:pt x="2643465" y="1441948"/>
                </a:lnTo>
                <a:lnTo>
                  <a:pt x="2646937" y="1441298"/>
                </a:lnTo>
                <a:lnTo>
                  <a:pt x="2651386" y="1445196"/>
                </a:lnTo>
                <a:lnTo>
                  <a:pt x="2650301" y="1449310"/>
                </a:lnTo>
                <a:lnTo>
                  <a:pt x="2646720" y="1451259"/>
                </a:lnTo>
                <a:lnTo>
                  <a:pt x="2640861" y="1456022"/>
                </a:lnTo>
                <a:lnTo>
                  <a:pt x="2637279" y="1454615"/>
                </a:lnTo>
                <a:lnTo>
                  <a:pt x="2635869" y="1456781"/>
                </a:lnTo>
                <a:lnTo>
                  <a:pt x="2640209" y="1458621"/>
                </a:lnTo>
                <a:lnTo>
                  <a:pt x="2640535" y="1461544"/>
                </a:lnTo>
                <a:lnTo>
                  <a:pt x="2635543" y="1462086"/>
                </a:lnTo>
                <a:lnTo>
                  <a:pt x="2629358" y="1458513"/>
                </a:lnTo>
                <a:lnTo>
                  <a:pt x="2622630" y="1458621"/>
                </a:lnTo>
                <a:lnTo>
                  <a:pt x="2628815" y="1462086"/>
                </a:lnTo>
                <a:lnTo>
                  <a:pt x="2628923" y="1466525"/>
                </a:lnTo>
                <a:lnTo>
                  <a:pt x="2633807" y="1470964"/>
                </a:lnTo>
                <a:lnTo>
                  <a:pt x="2635869" y="1473779"/>
                </a:lnTo>
                <a:lnTo>
                  <a:pt x="2635001" y="1475944"/>
                </a:lnTo>
                <a:lnTo>
                  <a:pt x="2629792" y="1476703"/>
                </a:lnTo>
                <a:lnTo>
                  <a:pt x="2627947" y="1479409"/>
                </a:lnTo>
                <a:lnTo>
                  <a:pt x="2621436" y="1478868"/>
                </a:lnTo>
                <a:lnTo>
                  <a:pt x="2629792" y="1481358"/>
                </a:lnTo>
                <a:lnTo>
                  <a:pt x="2632939" y="1480600"/>
                </a:lnTo>
                <a:lnTo>
                  <a:pt x="2633481" y="1478868"/>
                </a:lnTo>
                <a:lnTo>
                  <a:pt x="2639992" y="1477569"/>
                </a:lnTo>
                <a:lnTo>
                  <a:pt x="2642597" y="1478001"/>
                </a:lnTo>
                <a:lnTo>
                  <a:pt x="2642597" y="1481358"/>
                </a:lnTo>
                <a:lnTo>
                  <a:pt x="2644442" y="1483523"/>
                </a:lnTo>
                <a:lnTo>
                  <a:pt x="2642271" y="1485581"/>
                </a:lnTo>
                <a:lnTo>
                  <a:pt x="2645201" y="1486014"/>
                </a:lnTo>
                <a:lnTo>
                  <a:pt x="2646070" y="1487313"/>
                </a:lnTo>
                <a:lnTo>
                  <a:pt x="2645201" y="1490994"/>
                </a:lnTo>
                <a:lnTo>
                  <a:pt x="2646503" y="1492619"/>
                </a:lnTo>
                <a:lnTo>
                  <a:pt x="2651061" y="1489695"/>
                </a:lnTo>
                <a:lnTo>
                  <a:pt x="2652580" y="1490561"/>
                </a:lnTo>
                <a:lnTo>
                  <a:pt x="2655727" y="1491427"/>
                </a:lnTo>
                <a:lnTo>
                  <a:pt x="2655293" y="1497490"/>
                </a:lnTo>
                <a:lnTo>
                  <a:pt x="2653666" y="1500197"/>
                </a:lnTo>
                <a:lnTo>
                  <a:pt x="2653666" y="1502471"/>
                </a:lnTo>
                <a:lnTo>
                  <a:pt x="2655836" y="1502146"/>
                </a:lnTo>
                <a:lnTo>
                  <a:pt x="2660502" y="1495758"/>
                </a:lnTo>
                <a:lnTo>
                  <a:pt x="2661587" y="1496408"/>
                </a:lnTo>
                <a:lnTo>
                  <a:pt x="2660827" y="1500413"/>
                </a:lnTo>
                <a:lnTo>
                  <a:pt x="2663649" y="1503445"/>
                </a:lnTo>
                <a:lnTo>
                  <a:pt x="2657897" y="1507127"/>
                </a:lnTo>
                <a:lnTo>
                  <a:pt x="2650736" y="1516546"/>
                </a:lnTo>
                <a:lnTo>
                  <a:pt x="2646503" y="1519794"/>
                </a:lnTo>
                <a:lnTo>
                  <a:pt x="2641512" y="1518495"/>
                </a:lnTo>
                <a:lnTo>
                  <a:pt x="2646178" y="1521202"/>
                </a:lnTo>
                <a:lnTo>
                  <a:pt x="2650301" y="1520011"/>
                </a:lnTo>
                <a:lnTo>
                  <a:pt x="2659091" y="1511566"/>
                </a:lnTo>
                <a:lnTo>
                  <a:pt x="2662564" y="1511566"/>
                </a:lnTo>
                <a:lnTo>
                  <a:pt x="2662781" y="1514164"/>
                </a:lnTo>
                <a:lnTo>
                  <a:pt x="2658766" y="1517087"/>
                </a:lnTo>
                <a:lnTo>
                  <a:pt x="2656596" y="1521418"/>
                </a:lnTo>
                <a:lnTo>
                  <a:pt x="2658982" y="1522176"/>
                </a:lnTo>
                <a:lnTo>
                  <a:pt x="2663757" y="1516762"/>
                </a:lnTo>
                <a:lnTo>
                  <a:pt x="2667881" y="1511890"/>
                </a:lnTo>
                <a:lnTo>
                  <a:pt x="2673090" y="1511025"/>
                </a:lnTo>
                <a:lnTo>
                  <a:pt x="2673090" y="1513082"/>
                </a:lnTo>
                <a:lnTo>
                  <a:pt x="2669509" y="1515139"/>
                </a:lnTo>
                <a:lnTo>
                  <a:pt x="2667447" y="1517196"/>
                </a:lnTo>
                <a:lnTo>
                  <a:pt x="2668966" y="1518278"/>
                </a:lnTo>
                <a:lnTo>
                  <a:pt x="2675369" y="1515572"/>
                </a:lnTo>
                <a:lnTo>
                  <a:pt x="2677431" y="1517412"/>
                </a:lnTo>
                <a:lnTo>
                  <a:pt x="2670486" y="1522609"/>
                </a:lnTo>
                <a:lnTo>
                  <a:pt x="2667556" y="1526182"/>
                </a:lnTo>
                <a:lnTo>
                  <a:pt x="2669835" y="1526723"/>
                </a:lnTo>
                <a:lnTo>
                  <a:pt x="2673633" y="1523584"/>
                </a:lnTo>
                <a:lnTo>
                  <a:pt x="2682531" y="1515896"/>
                </a:lnTo>
                <a:lnTo>
                  <a:pt x="2684267" y="1516546"/>
                </a:lnTo>
                <a:lnTo>
                  <a:pt x="2681880" y="1518603"/>
                </a:lnTo>
                <a:lnTo>
                  <a:pt x="2681337" y="1520985"/>
                </a:lnTo>
                <a:lnTo>
                  <a:pt x="2687848" y="1516546"/>
                </a:lnTo>
                <a:lnTo>
                  <a:pt x="2687197" y="1518928"/>
                </a:lnTo>
                <a:lnTo>
                  <a:pt x="2687088" y="1526507"/>
                </a:lnTo>
                <a:lnTo>
                  <a:pt x="2684267" y="1527373"/>
                </a:lnTo>
                <a:lnTo>
                  <a:pt x="2685027" y="1530296"/>
                </a:lnTo>
                <a:lnTo>
                  <a:pt x="2690127" y="1529647"/>
                </a:lnTo>
                <a:lnTo>
                  <a:pt x="2695661" y="1532895"/>
                </a:lnTo>
                <a:lnTo>
                  <a:pt x="2699242" y="1528564"/>
                </a:lnTo>
                <a:lnTo>
                  <a:pt x="2705970" y="1526831"/>
                </a:lnTo>
                <a:lnTo>
                  <a:pt x="2709118" y="1528023"/>
                </a:lnTo>
                <a:lnTo>
                  <a:pt x="2706838" y="1532570"/>
                </a:lnTo>
                <a:lnTo>
                  <a:pt x="2703908" y="1532570"/>
                </a:lnTo>
                <a:lnTo>
                  <a:pt x="2702172" y="1534411"/>
                </a:lnTo>
                <a:lnTo>
                  <a:pt x="2713567" y="1537659"/>
                </a:lnTo>
                <a:lnTo>
                  <a:pt x="2718016" y="1541665"/>
                </a:lnTo>
                <a:lnTo>
                  <a:pt x="2710528" y="1542639"/>
                </a:lnTo>
                <a:lnTo>
                  <a:pt x="2710528" y="1544372"/>
                </a:lnTo>
                <a:lnTo>
                  <a:pt x="2701195" y="1546104"/>
                </a:lnTo>
                <a:lnTo>
                  <a:pt x="2699242" y="1544372"/>
                </a:lnTo>
                <a:lnTo>
                  <a:pt x="2691863" y="1547295"/>
                </a:lnTo>
                <a:lnTo>
                  <a:pt x="2687848" y="1551626"/>
                </a:lnTo>
                <a:lnTo>
                  <a:pt x="2678733" y="1551951"/>
                </a:lnTo>
                <a:lnTo>
                  <a:pt x="2666362" y="1554224"/>
                </a:lnTo>
                <a:lnTo>
                  <a:pt x="2665711" y="1557473"/>
                </a:lnTo>
                <a:lnTo>
                  <a:pt x="2674826" y="1555415"/>
                </a:lnTo>
                <a:lnTo>
                  <a:pt x="2683942" y="1552708"/>
                </a:lnTo>
                <a:lnTo>
                  <a:pt x="2687088" y="1553466"/>
                </a:lnTo>
                <a:lnTo>
                  <a:pt x="2687740" y="1555523"/>
                </a:lnTo>
                <a:lnTo>
                  <a:pt x="2678624" y="1556931"/>
                </a:lnTo>
                <a:lnTo>
                  <a:pt x="2669835" y="1558663"/>
                </a:lnTo>
                <a:lnTo>
                  <a:pt x="2661913" y="1562778"/>
                </a:lnTo>
                <a:lnTo>
                  <a:pt x="2658766" y="1565701"/>
                </a:lnTo>
                <a:lnTo>
                  <a:pt x="2653231" y="1565918"/>
                </a:lnTo>
                <a:lnTo>
                  <a:pt x="2652580" y="1570140"/>
                </a:lnTo>
                <a:lnTo>
                  <a:pt x="2650736" y="1572630"/>
                </a:lnTo>
                <a:lnTo>
                  <a:pt x="2642271" y="1566892"/>
                </a:lnTo>
                <a:lnTo>
                  <a:pt x="2637279" y="1558339"/>
                </a:lnTo>
                <a:lnTo>
                  <a:pt x="2637605" y="1562345"/>
                </a:lnTo>
                <a:lnTo>
                  <a:pt x="2636303" y="1564726"/>
                </a:lnTo>
                <a:lnTo>
                  <a:pt x="2639775" y="1566242"/>
                </a:lnTo>
                <a:lnTo>
                  <a:pt x="2640644" y="1568300"/>
                </a:lnTo>
                <a:lnTo>
                  <a:pt x="2650193" y="1576203"/>
                </a:lnTo>
                <a:lnTo>
                  <a:pt x="2648782" y="1579126"/>
                </a:lnTo>
                <a:lnTo>
                  <a:pt x="2646070" y="1578261"/>
                </a:lnTo>
                <a:lnTo>
                  <a:pt x="2642922" y="1580967"/>
                </a:lnTo>
                <a:lnTo>
                  <a:pt x="2644875" y="1584648"/>
                </a:lnTo>
                <a:lnTo>
                  <a:pt x="2647263" y="1585190"/>
                </a:lnTo>
                <a:lnTo>
                  <a:pt x="2649000" y="1583132"/>
                </a:lnTo>
                <a:lnTo>
                  <a:pt x="2652038" y="1583241"/>
                </a:lnTo>
                <a:lnTo>
                  <a:pt x="2656053" y="1575012"/>
                </a:lnTo>
                <a:lnTo>
                  <a:pt x="2663107" y="1575337"/>
                </a:lnTo>
                <a:lnTo>
                  <a:pt x="2668098" y="1571006"/>
                </a:lnTo>
                <a:lnTo>
                  <a:pt x="2671679" y="1570681"/>
                </a:lnTo>
                <a:lnTo>
                  <a:pt x="2673633" y="1566242"/>
                </a:lnTo>
                <a:lnTo>
                  <a:pt x="2678299" y="1561045"/>
                </a:lnTo>
                <a:lnTo>
                  <a:pt x="2683725" y="1560396"/>
                </a:lnTo>
                <a:lnTo>
                  <a:pt x="2691321" y="1557147"/>
                </a:lnTo>
                <a:lnTo>
                  <a:pt x="2697506" y="1557797"/>
                </a:lnTo>
                <a:lnTo>
                  <a:pt x="2702498" y="1557473"/>
                </a:lnTo>
                <a:lnTo>
                  <a:pt x="2700436" y="1556065"/>
                </a:lnTo>
                <a:lnTo>
                  <a:pt x="2694902" y="1556065"/>
                </a:lnTo>
                <a:lnTo>
                  <a:pt x="2693383" y="1554765"/>
                </a:lnTo>
                <a:lnTo>
                  <a:pt x="2696856" y="1553358"/>
                </a:lnTo>
                <a:lnTo>
                  <a:pt x="2706838" y="1552167"/>
                </a:lnTo>
                <a:lnTo>
                  <a:pt x="2714977" y="1554224"/>
                </a:lnTo>
                <a:lnTo>
                  <a:pt x="2718342" y="1561803"/>
                </a:lnTo>
                <a:lnTo>
                  <a:pt x="2717691" y="1566026"/>
                </a:lnTo>
                <a:lnTo>
                  <a:pt x="2712373" y="1570898"/>
                </a:lnTo>
                <a:lnTo>
                  <a:pt x="2709768" y="1571006"/>
                </a:lnTo>
                <a:lnTo>
                  <a:pt x="2706296" y="1574687"/>
                </a:lnTo>
                <a:lnTo>
                  <a:pt x="2712373" y="1575012"/>
                </a:lnTo>
                <a:lnTo>
                  <a:pt x="2714109" y="1578910"/>
                </a:lnTo>
                <a:lnTo>
                  <a:pt x="2716497" y="1576745"/>
                </a:lnTo>
                <a:lnTo>
                  <a:pt x="2718016" y="1572630"/>
                </a:lnTo>
                <a:lnTo>
                  <a:pt x="2724961" y="1568949"/>
                </a:lnTo>
                <a:lnTo>
                  <a:pt x="2730170" y="1569165"/>
                </a:lnTo>
                <a:lnTo>
                  <a:pt x="2730929" y="1571006"/>
                </a:lnTo>
                <a:lnTo>
                  <a:pt x="2729193" y="1571764"/>
                </a:lnTo>
                <a:lnTo>
                  <a:pt x="2728542" y="1574687"/>
                </a:lnTo>
                <a:lnTo>
                  <a:pt x="2735161" y="1575012"/>
                </a:lnTo>
                <a:lnTo>
                  <a:pt x="2741130" y="1577719"/>
                </a:lnTo>
                <a:lnTo>
                  <a:pt x="2742215" y="1580534"/>
                </a:lnTo>
                <a:lnTo>
                  <a:pt x="2737874" y="1578261"/>
                </a:lnTo>
                <a:lnTo>
                  <a:pt x="2735596" y="1578910"/>
                </a:lnTo>
                <a:lnTo>
                  <a:pt x="2736789" y="1583241"/>
                </a:lnTo>
                <a:lnTo>
                  <a:pt x="2743408" y="1586056"/>
                </a:lnTo>
                <a:lnTo>
                  <a:pt x="2744603" y="1589412"/>
                </a:lnTo>
                <a:lnTo>
                  <a:pt x="2740804" y="1592552"/>
                </a:lnTo>
                <a:lnTo>
                  <a:pt x="2737006" y="1591361"/>
                </a:lnTo>
                <a:lnTo>
                  <a:pt x="2733208" y="1594718"/>
                </a:lnTo>
                <a:lnTo>
                  <a:pt x="2740262" y="1596991"/>
                </a:lnTo>
                <a:lnTo>
                  <a:pt x="2738417" y="1601430"/>
                </a:lnTo>
                <a:lnTo>
                  <a:pt x="2735270" y="1602512"/>
                </a:lnTo>
                <a:lnTo>
                  <a:pt x="2733859" y="1606627"/>
                </a:lnTo>
                <a:lnTo>
                  <a:pt x="2729953" y="1608576"/>
                </a:lnTo>
                <a:lnTo>
                  <a:pt x="2724310" y="1604895"/>
                </a:lnTo>
                <a:lnTo>
                  <a:pt x="2726697" y="1608685"/>
                </a:lnTo>
                <a:lnTo>
                  <a:pt x="2733317" y="1611608"/>
                </a:lnTo>
                <a:lnTo>
                  <a:pt x="2737224" y="1611283"/>
                </a:lnTo>
                <a:lnTo>
                  <a:pt x="2740587" y="1615072"/>
                </a:lnTo>
                <a:lnTo>
                  <a:pt x="2737115" y="1616263"/>
                </a:lnTo>
                <a:lnTo>
                  <a:pt x="2732883" y="1615505"/>
                </a:lnTo>
                <a:lnTo>
                  <a:pt x="2730495" y="1615722"/>
                </a:lnTo>
                <a:lnTo>
                  <a:pt x="2733859" y="1618320"/>
                </a:lnTo>
                <a:lnTo>
                  <a:pt x="2737657" y="1617238"/>
                </a:lnTo>
                <a:lnTo>
                  <a:pt x="2740587" y="1618862"/>
                </a:lnTo>
                <a:lnTo>
                  <a:pt x="2738200" y="1623301"/>
                </a:lnTo>
                <a:lnTo>
                  <a:pt x="2737549" y="1627632"/>
                </a:lnTo>
                <a:lnTo>
                  <a:pt x="2734076" y="1627740"/>
                </a:lnTo>
                <a:lnTo>
                  <a:pt x="2732340" y="1631529"/>
                </a:lnTo>
                <a:lnTo>
                  <a:pt x="2725829" y="1636401"/>
                </a:lnTo>
                <a:lnTo>
                  <a:pt x="2720404" y="1636726"/>
                </a:lnTo>
                <a:lnTo>
                  <a:pt x="2715846" y="1640624"/>
                </a:lnTo>
                <a:lnTo>
                  <a:pt x="2713784" y="1640624"/>
                </a:lnTo>
                <a:lnTo>
                  <a:pt x="2710094" y="1644413"/>
                </a:lnTo>
                <a:lnTo>
                  <a:pt x="2707381" y="1644630"/>
                </a:lnTo>
                <a:lnTo>
                  <a:pt x="2706296" y="1647229"/>
                </a:lnTo>
                <a:lnTo>
                  <a:pt x="2702172" y="1647878"/>
                </a:lnTo>
                <a:lnTo>
                  <a:pt x="2699677" y="1645280"/>
                </a:lnTo>
                <a:lnTo>
                  <a:pt x="2696204" y="1647337"/>
                </a:lnTo>
                <a:lnTo>
                  <a:pt x="2692406" y="1646795"/>
                </a:lnTo>
                <a:lnTo>
                  <a:pt x="2691213" y="1645171"/>
                </a:lnTo>
                <a:lnTo>
                  <a:pt x="2686329" y="1648528"/>
                </a:lnTo>
                <a:lnTo>
                  <a:pt x="2681012" y="1647878"/>
                </a:lnTo>
                <a:lnTo>
                  <a:pt x="2678733" y="1644413"/>
                </a:lnTo>
                <a:lnTo>
                  <a:pt x="2677214" y="1645821"/>
                </a:lnTo>
                <a:lnTo>
                  <a:pt x="2677756" y="1648744"/>
                </a:lnTo>
                <a:lnTo>
                  <a:pt x="2673198" y="1649827"/>
                </a:lnTo>
                <a:lnTo>
                  <a:pt x="2668424" y="1649394"/>
                </a:lnTo>
                <a:lnTo>
                  <a:pt x="2666905" y="1651343"/>
                </a:lnTo>
                <a:lnTo>
                  <a:pt x="2668749" y="1651993"/>
                </a:lnTo>
                <a:lnTo>
                  <a:pt x="2668098" y="1654807"/>
                </a:lnTo>
                <a:lnTo>
                  <a:pt x="2664517" y="1658164"/>
                </a:lnTo>
                <a:lnTo>
                  <a:pt x="2661695" y="1657731"/>
                </a:lnTo>
                <a:lnTo>
                  <a:pt x="2661587" y="1661845"/>
                </a:lnTo>
                <a:lnTo>
                  <a:pt x="2658332" y="1668450"/>
                </a:lnTo>
                <a:lnTo>
                  <a:pt x="2654534" y="1667800"/>
                </a:lnTo>
                <a:lnTo>
                  <a:pt x="2653123" y="1669857"/>
                </a:lnTo>
                <a:lnTo>
                  <a:pt x="2649000" y="1672131"/>
                </a:lnTo>
                <a:lnTo>
                  <a:pt x="2645852" y="1676786"/>
                </a:lnTo>
                <a:lnTo>
                  <a:pt x="2644007" y="1676137"/>
                </a:lnTo>
                <a:lnTo>
                  <a:pt x="2641186" y="1677761"/>
                </a:lnTo>
                <a:lnTo>
                  <a:pt x="2636194" y="1677652"/>
                </a:lnTo>
                <a:lnTo>
                  <a:pt x="2635218" y="1680684"/>
                </a:lnTo>
                <a:lnTo>
                  <a:pt x="2630877" y="1682633"/>
                </a:lnTo>
                <a:lnTo>
                  <a:pt x="2627730" y="1680684"/>
                </a:lnTo>
                <a:lnTo>
                  <a:pt x="2620242" y="1680576"/>
                </a:lnTo>
                <a:lnTo>
                  <a:pt x="2618289" y="1678952"/>
                </a:lnTo>
                <a:lnTo>
                  <a:pt x="2612971" y="1680684"/>
                </a:lnTo>
                <a:lnTo>
                  <a:pt x="2610367" y="1680576"/>
                </a:lnTo>
                <a:lnTo>
                  <a:pt x="2599516" y="1684366"/>
                </a:lnTo>
                <a:lnTo>
                  <a:pt x="2595066" y="1683174"/>
                </a:lnTo>
                <a:lnTo>
                  <a:pt x="2596043" y="1680576"/>
                </a:lnTo>
                <a:lnTo>
                  <a:pt x="2592679" y="1679710"/>
                </a:lnTo>
                <a:lnTo>
                  <a:pt x="2588338" y="1681442"/>
                </a:lnTo>
                <a:lnTo>
                  <a:pt x="2584757" y="1681550"/>
                </a:lnTo>
                <a:lnTo>
                  <a:pt x="2577813" y="1678519"/>
                </a:lnTo>
                <a:lnTo>
                  <a:pt x="2575533" y="1679168"/>
                </a:lnTo>
                <a:lnTo>
                  <a:pt x="2570108" y="1678519"/>
                </a:lnTo>
                <a:lnTo>
                  <a:pt x="2566092" y="1675595"/>
                </a:lnTo>
                <a:lnTo>
                  <a:pt x="2563705" y="1675595"/>
                </a:lnTo>
                <a:lnTo>
                  <a:pt x="2560449" y="1678194"/>
                </a:lnTo>
                <a:lnTo>
                  <a:pt x="2553288" y="1677436"/>
                </a:lnTo>
                <a:lnTo>
                  <a:pt x="2547645" y="1673863"/>
                </a:lnTo>
                <a:lnTo>
                  <a:pt x="2543847" y="1676245"/>
                </a:lnTo>
                <a:lnTo>
                  <a:pt x="2539614" y="1676462"/>
                </a:lnTo>
                <a:lnTo>
                  <a:pt x="2535925" y="1673539"/>
                </a:lnTo>
                <a:lnTo>
                  <a:pt x="2530608" y="1676462"/>
                </a:lnTo>
                <a:lnTo>
                  <a:pt x="2527895" y="1675595"/>
                </a:lnTo>
                <a:lnTo>
                  <a:pt x="2524747" y="1675704"/>
                </a:lnTo>
                <a:lnTo>
                  <a:pt x="2517477" y="1672780"/>
                </a:lnTo>
                <a:lnTo>
                  <a:pt x="2507710" y="1674405"/>
                </a:lnTo>
                <a:lnTo>
                  <a:pt x="2501851" y="1672672"/>
                </a:lnTo>
                <a:lnTo>
                  <a:pt x="2497510" y="1668341"/>
                </a:lnTo>
                <a:lnTo>
                  <a:pt x="2493712" y="1670182"/>
                </a:lnTo>
                <a:lnTo>
                  <a:pt x="2491325" y="1672997"/>
                </a:lnTo>
                <a:lnTo>
                  <a:pt x="2493603" y="1675162"/>
                </a:lnTo>
                <a:lnTo>
                  <a:pt x="2491542" y="1677328"/>
                </a:lnTo>
                <a:lnTo>
                  <a:pt x="2487201" y="1678194"/>
                </a:lnTo>
                <a:lnTo>
                  <a:pt x="2478628" y="1685990"/>
                </a:lnTo>
                <a:lnTo>
                  <a:pt x="2473093" y="1688588"/>
                </a:lnTo>
                <a:lnTo>
                  <a:pt x="2472768" y="1692269"/>
                </a:lnTo>
                <a:lnTo>
                  <a:pt x="2470706" y="1694759"/>
                </a:lnTo>
                <a:lnTo>
                  <a:pt x="2469947" y="1700606"/>
                </a:lnTo>
                <a:lnTo>
                  <a:pt x="2467017" y="1704612"/>
                </a:lnTo>
                <a:lnTo>
                  <a:pt x="2459854" y="1704612"/>
                </a:lnTo>
                <a:lnTo>
                  <a:pt x="2455948" y="1706453"/>
                </a:lnTo>
                <a:lnTo>
                  <a:pt x="2447700" y="1706994"/>
                </a:lnTo>
                <a:lnTo>
                  <a:pt x="2443903" y="1712408"/>
                </a:lnTo>
                <a:lnTo>
                  <a:pt x="2441190" y="1713057"/>
                </a:lnTo>
                <a:lnTo>
                  <a:pt x="2439236" y="1711108"/>
                </a:lnTo>
                <a:lnTo>
                  <a:pt x="2435330" y="1713490"/>
                </a:lnTo>
                <a:lnTo>
                  <a:pt x="2433485" y="1718363"/>
                </a:lnTo>
                <a:lnTo>
                  <a:pt x="2428819" y="1719445"/>
                </a:lnTo>
                <a:lnTo>
                  <a:pt x="2423827" y="1723126"/>
                </a:lnTo>
                <a:lnTo>
                  <a:pt x="2422634" y="1725616"/>
                </a:lnTo>
                <a:lnTo>
                  <a:pt x="2420029" y="1726483"/>
                </a:lnTo>
                <a:lnTo>
                  <a:pt x="2414278" y="1735036"/>
                </a:lnTo>
                <a:lnTo>
                  <a:pt x="2404837" y="1739800"/>
                </a:lnTo>
                <a:lnTo>
                  <a:pt x="2402449" y="1748137"/>
                </a:lnTo>
                <a:lnTo>
                  <a:pt x="2396047" y="1751385"/>
                </a:lnTo>
                <a:lnTo>
                  <a:pt x="2390730" y="1756907"/>
                </a:lnTo>
                <a:lnTo>
                  <a:pt x="2385846" y="1758098"/>
                </a:lnTo>
                <a:lnTo>
                  <a:pt x="2384219" y="1764053"/>
                </a:lnTo>
                <a:lnTo>
                  <a:pt x="2380854" y="1769033"/>
                </a:lnTo>
                <a:lnTo>
                  <a:pt x="2369894" y="1775638"/>
                </a:lnTo>
                <a:lnTo>
                  <a:pt x="2369135" y="1779318"/>
                </a:lnTo>
                <a:lnTo>
                  <a:pt x="2356547" y="1784732"/>
                </a:lnTo>
                <a:lnTo>
                  <a:pt x="2349385" y="1786465"/>
                </a:lnTo>
                <a:lnTo>
                  <a:pt x="2355136" y="1786681"/>
                </a:lnTo>
                <a:lnTo>
                  <a:pt x="2367399" y="1781267"/>
                </a:lnTo>
                <a:lnTo>
                  <a:pt x="2378141" y="1776071"/>
                </a:lnTo>
                <a:lnTo>
                  <a:pt x="2386280" y="1771090"/>
                </a:lnTo>
                <a:lnTo>
                  <a:pt x="2392575" y="1763078"/>
                </a:lnTo>
                <a:lnTo>
                  <a:pt x="2397891" y="1757340"/>
                </a:lnTo>
                <a:lnTo>
                  <a:pt x="2401907" y="1755499"/>
                </a:lnTo>
                <a:lnTo>
                  <a:pt x="2413843" y="1744455"/>
                </a:lnTo>
                <a:lnTo>
                  <a:pt x="2430013" y="1733304"/>
                </a:lnTo>
                <a:lnTo>
                  <a:pt x="2440648" y="1726483"/>
                </a:lnTo>
                <a:lnTo>
                  <a:pt x="2447592" y="1725616"/>
                </a:lnTo>
                <a:lnTo>
                  <a:pt x="2453778" y="1721935"/>
                </a:lnTo>
                <a:lnTo>
                  <a:pt x="2466040" y="1719878"/>
                </a:lnTo>
                <a:lnTo>
                  <a:pt x="2481016" y="1714790"/>
                </a:lnTo>
                <a:lnTo>
                  <a:pt x="2486007" y="1714465"/>
                </a:lnTo>
                <a:lnTo>
                  <a:pt x="2490673" y="1711866"/>
                </a:lnTo>
                <a:lnTo>
                  <a:pt x="2506842" y="1712191"/>
                </a:lnTo>
                <a:lnTo>
                  <a:pt x="2515415" y="1715439"/>
                </a:lnTo>
                <a:lnTo>
                  <a:pt x="2524965" y="1721177"/>
                </a:lnTo>
                <a:lnTo>
                  <a:pt x="2524965" y="1723343"/>
                </a:lnTo>
                <a:lnTo>
                  <a:pt x="2517694" y="1721935"/>
                </a:lnTo>
                <a:lnTo>
                  <a:pt x="2518237" y="1723018"/>
                </a:lnTo>
                <a:lnTo>
                  <a:pt x="2517477" y="1724534"/>
                </a:lnTo>
                <a:lnTo>
                  <a:pt x="2521275" y="1724209"/>
                </a:lnTo>
                <a:lnTo>
                  <a:pt x="2526484" y="1726266"/>
                </a:lnTo>
                <a:lnTo>
                  <a:pt x="2528329" y="1729190"/>
                </a:lnTo>
                <a:lnTo>
                  <a:pt x="2525399" y="1730381"/>
                </a:lnTo>
                <a:lnTo>
                  <a:pt x="2527678" y="1732113"/>
                </a:lnTo>
                <a:lnTo>
                  <a:pt x="2524097" y="1740341"/>
                </a:lnTo>
                <a:lnTo>
                  <a:pt x="2518888" y="1741532"/>
                </a:lnTo>
                <a:lnTo>
                  <a:pt x="2514113" y="1745538"/>
                </a:lnTo>
                <a:lnTo>
                  <a:pt x="2510315" y="1745863"/>
                </a:lnTo>
                <a:lnTo>
                  <a:pt x="2503912" y="1750735"/>
                </a:lnTo>
                <a:lnTo>
                  <a:pt x="2498704" y="1750518"/>
                </a:lnTo>
                <a:lnTo>
                  <a:pt x="2494797" y="1747271"/>
                </a:lnTo>
                <a:lnTo>
                  <a:pt x="2489588" y="1745322"/>
                </a:lnTo>
                <a:lnTo>
                  <a:pt x="2486116" y="1747595"/>
                </a:lnTo>
                <a:lnTo>
                  <a:pt x="2481016" y="1748570"/>
                </a:lnTo>
                <a:lnTo>
                  <a:pt x="2475806" y="1747595"/>
                </a:lnTo>
                <a:lnTo>
                  <a:pt x="2469404" y="1750518"/>
                </a:lnTo>
                <a:lnTo>
                  <a:pt x="2476132" y="1749653"/>
                </a:lnTo>
                <a:lnTo>
                  <a:pt x="2482643" y="1750302"/>
                </a:lnTo>
                <a:lnTo>
                  <a:pt x="2491976" y="1752900"/>
                </a:lnTo>
                <a:lnTo>
                  <a:pt x="2493386" y="1757340"/>
                </a:lnTo>
                <a:lnTo>
                  <a:pt x="2495123" y="1760479"/>
                </a:lnTo>
                <a:lnTo>
                  <a:pt x="2500440" y="1758098"/>
                </a:lnTo>
                <a:lnTo>
                  <a:pt x="2505106" y="1754849"/>
                </a:lnTo>
                <a:lnTo>
                  <a:pt x="2509772" y="1754849"/>
                </a:lnTo>
                <a:lnTo>
                  <a:pt x="2511183" y="1756907"/>
                </a:lnTo>
                <a:lnTo>
                  <a:pt x="2514547" y="1756582"/>
                </a:lnTo>
                <a:lnTo>
                  <a:pt x="2515633" y="1759614"/>
                </a:lnTo>
                <a:lnTo>
                  <a:pt x="2511183" y="1763403"/>
                </a:lnTo>
                <a:lnTo>
                  <a:pt x="2505106" y="1775421"/>
                </a:lnTo>
                <a:lnTo>
                  <a:pt x="2502176" y="1775962"/>
                </a:lnTo>
                <a:lnTo>
                  <a:pt x="2499029" y="1778994"/>
                </a:lnTo>
                <a:lnTo>
                  <a:pt x="2508036" y="1779210"/>
                </a:lnTo>
                <a:lnTo>
                  <a:pt x="2508036" y="1781484"/>
                </a:lnTo>
                <a:lnTo>
                  <a:pt x="2505323" y="1785382"/>
                </a:lnTo>
                <a:lnTo>
                  <a:pt x="2508579" y="1789063"/>
                </a:lnTo>
                <a:lnTo>
                  <a:pt x="2507819" y="1793285"/>
                </a:lnTo>
                <a:lnTo>
                  <a:pt x="2508362" y="1799890"/>
                </a:lnTo>
                <a:lnTo>
                  <a:pt x="2510640" y="1801514"/>
                </a:lnTo>
                <a:lnTo>
                  <a:pt x="2513245" y="1807577"/>
                </a:lnTo>
                <a:lnTo>
                  <a:pt x="2518019" y="1807577"/>
                </a:lnTo>
                <a:lnTo>
                  <a:pt x="2520081" y="1809526"/>
                </a:lnTo>
                <a:lnTo>
                  <a:pt x="2527027" y="1809851"/>
                </a:lnTo>
                <a:lnTo>
                  <a:pt x="2525724" y="1813207"/>
                </a:lnTo>
                <a:lnTo>
                  <a:pt x="2520407" y="1814940"/>
                </a:lnTo>
                <a:lnTo>
                  <a:pt x="2527027" y="1819487"/>
                </a:lnTo>
                <a:lnTo>
                  <a:pt x="2534406" y="1819487"/>
                </a:lnTo>
                <a:lnTo>
                  <a:pt x="2538855" y="1821544"/>
                </a:lnTo>
                <a:lnTo>
                  <a:pt x="2540917" y="1820137"/>
                </a:lnTo>
                <a:lnTo>
                  <a:pt x="2547428" y="1822519"/>
                </a:lnTo>
                <a:lnTo>
                  <a:pt x="2548730" y="1825117"/>
                </a:lnTo>
                <a:lnTo>
                  <a:pt x="2556760" y="1826525"/>
                </a:lnTo>
                <a:lnTo>
                  <a:pt x="2558279" y="1824251"/>
                </a:lnTo>
                <a:lnTo>
                  <a:pt x="2565224" y="1819487"/>
                </a:lnTo>
                <a:lnTo>
                  <a:pt x="2565875" y="1823385"/>
                </a:lnTo>
                <a:lnTo>
                  <a:pt x="2564682" y="1825334"/>
                </a:lnTo>
                <a:lnTo>
                  <a:pt x="2570542" y="1826092"/>
                </a:lnTo>
                <a:lnTo>
                  <a:pt x="2578681" y="1830314"/>
                </a:lnTo>
                <a:lnTo>
                  <a:pt x="2578897" y="1832696"/>
                </a:lnTo>
                <a:lnTo>
                  <a:pt x="2575533" y="1833562"/>
                </a:lnTo>
                <a:lnTo>
                  <a:pt x="2573471" y="1833995"/>
                </a:lnTo>
                <a:lnTo>
                  <a:pt x="2577921" y="1836594"/>
                </a:lnTo>
                <a:lnTo>
                  <a:pt x="2582696" y="1836269"/>
                </a:lnTo>
                <a:lnTo>
                  <a:pt x="2584866" y="1838868"/>
                </a:lnTo>
                <a:lnTo>
                  <a:pt x="2581068" y="1840600"/>
                </a:lnTo>
                <a:lnTo>
                  <a:pt x="2578138" y="1839409"/>
                </a:lnTo>
                <a:lnTo>
                  <a:pt x="2573689" y="1839842"/>
                </a:lnTo>
                <a:lnTo>
                  <a:pt x="2566744" y="1841791"/>
                </a:lnTo>
                <a:lnTo>
                  <a:pt x="2555892" y="1847854"/>
                </a:lnTo>
                <a:lnTo>
                  <a:pt x="2551660" y="1847962"/>
                </a:lnTo>
                <a:lnTo>
                  <a:pt x="2543412" y="1850236"/>
                </a:lnTo>
                <a:lnTo>
                  <a:pt x="2535925" y="1851860"/>
                </a:lnTo>
                <a:lnTo>
                  <a:pt x="2528546" y="1856082"/>
                </a:lnTo>
                <a:lnTo>
                  <a:pt x="2524747" y="1856082"/>
                </a:lnTo>
                <a:lnTo>
                  <a:pt x="2525290" y="1858248"/>
                </a:lnTo>
                <a:lnTo>
                  <a:pt x="2518888" y="1857598"/>
                </a:lnTo>
                <a:lnTo>
                  <a:pt x="2516826" y="1852618"/>
                </a:lnTo>
                <a:lnTo>
                  <a:pt x="2514547" y="1852293"/>
                </a:lnTo>
                <a:lnTo>
                  <a:pt x="2512811" y="1855000"/>
                </a:lnTo>
                <a:lnTo>
                  <a:pt x="2510098" y="1854675"/>
                </a:lnTo>
                <a:lnTo>
                  <a:pt x="2506517" y="1860197"/>
                </a:lnTo>
                <a:lnTo>
                  <a:pt x="2508253" y="1862578"/>
                </a:lnTo>
                <a:lnTo>
                  <a:pt x="2500983" y="1868425"/>
                </a:lnTo>
                <a:lnTo>
                  <a:pt x="2494580" y="1876871"/>
                </a:lnTo>
                <a:lnTo>
                  <a:pt x="2489913" y="1877737"/>
                </a:lnTo>
                <a:lnTo>
                  <a:pt x="2484597" y="1881851"/>
                </a:lnTo>
                <a:lnTo>
                  <a:pt x="2481884" y="1881526"/>
                </a:lnTo>
                <a:lnTo>
                  <a:pt x="2479931" y="1882717"/>
                </a:lnTo>
                <a:lnTo>
                  <a:pt x="2479496" y="1887048"/>
                </a:lnTo>
                <a:lnTo>
                  <a:pt x="2477326" y="1888888"/>
                </a:lnTo>
                <a:lnTo>
                  <a:pt x="2474938" y="1886615"/>
                </a:lnTo>
                <a:lnTo>
                  <a:pt x="2472334" y="1888564"/>
                </a:lnTo>
                <a:lnTo>
                  <a:pt x="2468536" y="1885857"/>
                </a:lnTo>
                <a:lnTo>
                  <a:pt x="2468102" y="1880335"/>
                </a:lnTo>
                <a:lnTo>
                  <a:pt x="2465606" y="1878711"/>
                </a:lnTo>
                <a:lnTo>
                  <a:pt x="2463219" y="1880335"/>
                </a:lnTo>
                <a:lnTo>
                  <a:pt x="2462567" y="1875463"/>
                </a:lnTo>
                <a:lnTo>
                  <a:pt x="2461048" y="1871024"/>
                </a:lnTo>
                <a:lnTo>
                  <a:pt x="2461374" y="1865502"/>
                </a:lnTo>
                <a:lnTo>
                  <a:pt x="2464738" y="1858140"/>
                </a:lnTo>
                <a:lnTo>
                  <a:pt x="2470706" y="1853484"/>
                </a:lnTo>
                <a:lnTo>
                  <a:pt x="2471466" y="1849695"/>
                </a:lnTo>
                <a:lnTo>
                  <a:pt x="2480473" y="1844714"/>
                </a:lnTo>
                <a:lnTo>
                  <a:pt x="2490673" y="1842115"/>
                </a:lnTo>
                <a:lnTo>
                  <a:pt x="2498595" y="1836594"/>
                </a:lnTo>
                <a:lnTo>
                  <a:pt x="2506083" y="1834753"/>
                </a:lnTo>
                <a:lnTo>
                  <a:pt x="2509230" y="1835944"/>
                </a:lnTo>
                <a:lnTo>
                  <a:pt x="2510098" y="1840275"/>
                </a:lnTo>
                <a:lnTo>
                  <a:pt x="2513028" y="1842440"/>
                </a:lnTo>
                <a:lnTo>
                  <a:pt x="2512485" y="1840275"/>
                </a:lnTo>
                <a:lnTo>
                  <a:pt x="2513245" y="1837460"/>
                </a:lnTo>
                <a:lnTo>
                  <a:pt x="2517803" y="1836594"/>
                </a:lnTo>
                <a:lnTo>
                  <a:pt x="2524205" y="1835836"/>
                </a:lnTo>
                <a:lnTo>
                  <a:pt x="2529522" y="1833237"/>
                </a:lnTo>
                <a:lnTo>
                  <a:pt x="2522361" y="1833670"/>
                </a:lnTo>
                <a:lnTo>
                  <a:pt x="2512377" y="1832805"/>
                </a:lnTo>
                <a:lnTo>
                  <a:pt x="2508904" y="1830639"/>
                </a:lnTo>
                <a:lnTo>
                  <a:pt x="2504455" y="1830639"/>
                </a:lnTo>
                <a:lnTo>
                  <a:pt x="2501308" y="1834537"/>
                </a:lnTo>
                <a:lnTo>
                  <a:pt x="2495774" y="1833021"/>
                </a:lnTo>
                <a:lnTo>
                  <a:pt x="2500657" y="1827066"/>
                </a:lnTo>
                <a:lnTo>
                  <a:pt x="2505323" y="1825983"/>
                </a:lnTo>
                <a:lnTo>
                  <a:pt x="2510315" y="1820786"/>
                </a:lnTo>
                <a:lnTo>
                  <a:pt x="2510423" y="1818296"/>
                </a:lnTo>
                <a:lnTo>
                  <a:pt x="2507385" y="1819920"/>
                </a:lnTo>
                <a:lnTo>
                  <a:pt x="2506842" y="1817213"/>
                </a:lnTo>
                <a:lnTo>
                  <a:pt x="2501634" y="1824468"/>
                </a:lnTo>
                <a:lnTo>
                  <a:pt x="2497727" y="1825442"/>
                </a:lnTo>
                <a:lnTo>
                  <a:pt x="2492735" y="1830639"/>
                </a:lnTo>
                <a:lnTo>
                  <a:pt x="2486658" y="1831180"/>
                </a:lnTo>
                <a:lnTo>
                  <a:pt x="2484922" y="1833995"/>
                </a:lnTo>
                <a:lnTo>
                  <a:pt x="2474288" y="1836811"/>
                </a:lnTo>
                <a:lnTo>
                  <a:pt x="2472334" y="1835619"/>
                </a:lnTo>
                <a:lnTo>
                  <a:pt x="2473419" y="1833237"/>
                </a:lnTo>
                <a:lnTo>
                  <a:pt x="2471792" y="1833021"/>
                </a:lnTo>
                <a:lnTo>
                  <a:pt x="2474830" y="1828149"/>
                </a:lnTo>
                <a:lnTo>
                  <a:pt x="2470706" y="1832696"/>
                </a:lnTo>
                <a:lnTo>
                  <a:pt x="2468210" y="1837135"/>
                </a:lnTo>
                <a:lnTo>
                  <a:pt x="2462567" y="1838543"/>
                </a:lnTo>
                <a:lnTo>
                  <a:pt x="2458878" y="1836811"/>
                </a:lnTo>
                <a:lnTo>
                  <a:pt x="2456491" y="1839842"/>
                </a:lnTo>
                <a:lnTo>
                  <a:pt x="2453778" y="1839192"/>
                </a:lnTo>
                <a:lnTo>
                  <a:pt x="2452693" y="1835836"/>
                </a:lnTo>
                <a:lnTo>
                  <a:pt x="2447375" y="1836485"/>
                </a:lnTo>
                <a:lnTo>
                  <a:pt x="2440559" y="1834998"/>
                </a:lnTo>
                <a:lnTo>
                  <a:pt x="2449329" y="1840058"/>
                </a:lnTo>
                <a:lnTo>
                  <a:pt x="2447701" y="1845364"/>
                </a:lnTo>
                <a:lnTo>
                  <a:pt x="2451066" y="1849044"/>
                </a:lnTo>
                <a:lnTo>
                  <a:pt x="2453019" y="1845688"/>
                </a:lnTo>
                <a:lnTo>
                  <a:pt x="2457577" y="1848395"/>
                </a:lnTo>
                <a:lnTo>
                  <a:pt x="2454429" y="1852401"/>
                </a:lnTo>
                <a:lnTo>
                  <a:pt x="2450197" y="1852942"/>
                </a:lnTo>
                <a:lnTo>
                  <a:pt x="2448570" y="1850127"/>
                </a:lnTo>
                <a:lnTo>
                  <a:pt x="2442710" y="1853484"/>
                </a:lnTo>
                <a:lnTo>
                  <a:pt x="2439129" y="1853159"/>
                </a:lnTo>
                <a:lnTo>
                  <a:pt x="2434788" y="1856082"/>
                </a:lnTo>
                <a:lnTo>
                  <a:pt x="2432184" y="1857382"/>
                </a:lnTo>
                <a:lnTo>
                  <a:pt x="2428603" y="1855866"/>
                </a:lnTo>
                <a:lnTo>
                  <a:pt x="2424696" y="1861171"/>
                </a:lnTo>
                <a:lnTo>
                  <a:pt x="2421332" y="1861171"/>
                </a:lnTo>
                <a:lnTo>
                  <a:pt x="2420030" y="1855866"/>
                </a:lnTo>
                <a:lnTo>
                  <a:pt x="2414604" y="1855866"/>
                </a:lnTo>
                <a:lnTo>
                  <a:pt x="2410480" y="1860413"/>
                </a:lnTo>
                <a:lnTo>
                  <a:pt x="2406031" y="1861062"/>
                </a:lnTo>
                <a:lnTo>
                  <a:pt x="2404837" y="1857273"/>
                </a:lnTo>
                <a:lnTo>
                  <a:pt x="2406248" y="1852617"/>
                </a:lnTo>
                <a:lnTo>
                  <a:pt x="2399954" y="1860413"/>
                </a:lnTo>
                <a:lnTo>
                  <a:pt x="2395505" y="1867776"/>
                </a:lnTo>
                <a:lnTo>
                  <a:pt x="2392792" y="1869616"/>
                </a:lnTo>
                <a:lnTo>
                  <a:pt x="2391381" y="1867450"/>
                </a:lnTo>
                <a:lnTo>
                  <a:pt x="2388668" y="1872756"/>
                </a:lnTo>
                <a:lnTo>
                  <a:pt x="2385847" y="1872756"/>
                </a:lnTo>
                <a:lnTo>
                  <a:pt x="2385196" y="1867776"/>
                </a:lnTo>
                <a:lnTo>
                  <a:pt x="2382592" y="1872539"/>
                </a:lnTo>
                <a:lnTo>
                  <a:pt x="2380312" y="1875462"/>
                </a:lnTo>
                <a:lnTo>
                  <a:pt x="2377057" y="1874488"/>
                </a:lnTo>
                <a:lnTo>
                  <a:pt x="2376731" y="1871348"/>
                </a:lnTo>
                <a:lnTo>
                  <a:pt x="2374019" y="1875679"/>
                </a:lnTo>
                <a:lnTo>
                  <a:pt x="2371414" y="1875679"/>
                </a:lnTo>
                <a:lnTo>
                  <a:pt x="2368485" y="1881959"/>
                </a:lnTo>
                <a:lnTo>
                  <a:pt x="2359694" y="1888888"/>
                </a:lnTo>
                <a:lnTo>
                  <a:pt x="2356548" y="1897333"/>
                </a:lnTo>
                <a:lnTo>
                  <a:pt x="2353618" y="1900906"/>
                </a:lnTo>
                <a:lnTo>
                  <a:pt x="2352641" y="1904371"/>
                </a:lnTo>
                <a:lnTo>
                  <a:pt x="2350253" y="1906212"/>
                </a:lnTo>
                <a:lnTo>
                  <a:pt x="2349711" y="1909135"/>
                </a:lnTo>
                <a:lnTo>
                  <a:pt x="2352749" y="1909135"/>
                </a:lnTo>
                <a:lnTo>
                  <a:pt x="2353183" y="1912816"/>
                </a:lnTo>
                <a:lnTo>
                  <a:pt x="2344719" y="1920394"/>
                </a:lnTo>
                <a:lnTo>
                  <a:pt x="2344719" y="1922561"/>
                </a:lnTo>
                <a:lnTo>
                  <a:pt x="2350688" y="1926025"/>
                </a:lnTo>
                <a:lnTo>
                  <a:pt x="2353292" y="1933712"/>
                </a:lnTo>
                <a:lnTo>
                  <a:pt x="2354051" y="1937718"/>
                </a:lnTo>
                <a:lnTo>
                  <a:pt x="2360888" y="1937502"/>
                </a:lnTo>
                <a:lnTo>
                  <a:pt x="2362842" y="1932196"/>
                </a:lnTo>
                <a:lnTo>
                  <a:pt x="2362299" y="1928082"/>
                </a:lnTo>
                <a:lnTo>
                  <a:pt x="2364469" y="1927432"/>
                </a:lnTo>
                <a:lnTo>
                  <a:pt x="2366748" y="1935445"/>
                </a:lnTo>
                <a:lnTo>
                  <a:pt x="2363818" y="1940425"/>
                </a:lnTo>
                <a:lnTo>
                  <a:pt x="2352641" y="1945947"/>
                </a:lnTo>
                <a:lnTo>
                  <a:pt x="2349711" y="1944864"/>
                </a:lnTo>
                <a:lnTo>
                  <a:pt x="2349819" y="1941616"/>
                </a:lnTo>
                <a:lnTo>
                  <a:pt x="2347649" y="1937177"/>
                </a:lnTo>
                <a:lnTo>
                  <a:pt x="2343200" y="1945405"/>
                </a:lnTo>
                <a:lnTo>
                  <a:pt x="2338859" y="1949953"/>
                </a:lnTo>
                <a:lnTo>
                  <a:pt x="2335713" y="1949412"/>
                </a:lnTo>
                <a:lnTo>
                  <a:pt x="2336254" y="1946163"/>
                </a:lnTo>
                <a:lnTo>
                  <a:pt x="2336254" y="1941508"/>
                </a:lnTo>
                <a:lnTo>
                  <a:pt x="2331480" y="1936310"/>
                </a:lnTo>
                <a:lnTo>
                  <a:pt x="2331480" y="1941832"/>
                </a:lnTo>
                <a:lnTo>
                  <a:pt x="2330720" y="1948220"/>
                </a:lnTo>
                <a:lnTo>
                  <a:pt x="2332674" y="1950386"/>
                </a:lnTo>
                <a:lnTo>
                  <a:pt x="2329852" y="1951469"/>
                </a:lnTo>
                <a:lnTo>
                  <a:pt x="2320086" y="1952118"/>
                </a:lnTo>
                <a:lnTo>
                  <a:pt x="2314009" y="1953526"/>
                </a:lnTo>
                <a:lnTo>
                  <a:pt x="2309560" y="1952335"/>
                </a:lnTo>
                <a:lnTo>
                  <a:pt x="2300119" y="1952985"/>
                </a:lnTo>
                <a:lnTo>
                  <a:pt x="2298166" y="1951469"/>
                </a:lnTo>
                <a:lnTo>
                  <a:pt x="2295453" y="1951577"/>
                </a:lnTo>
                <a:lnTo>
                  <a:pt x="2287857" y="1956991"/>
                </a:lnTo>
                <a:lnTo>
                  <a:pt x="2282647" y="1957099"/>
                </a:lnTo>
                <a:lnTo>
                  <a:pt x="2275268" y="1961105"/>
                </a:lnTo>
                <a:lnTo>
                  <a:pt x="2271036" y="1962404"/>
                </a:lnTo>
                <a:lnTo>
                  <a:pt x="2267130" y="1965760"/>
                </a:lnTo>
                <a:lnTo>
                  <a:pt x="2267021" y="1968901"/>
                </a:lnTo>
                <a:lnTo>
                  <a:pt x="2260619" y="1972473"/>
                </a:lnTo>
                <a:lnTo>
                  <a:pt x="2262572" y="1975721"/>
                </a:lnTo>
                <a:lnTo>
                  <a:pt x="2265502" y="1978211"/>
                </a:lnTo>
                <a:lnTo>
                  <a:pt x="2266262" y="1981134"/>
                </a:lnTo>
                <a:lnTo>
                  <a:pt x="2263549" y="1984491"/>
                </a:lnTo>
                <a:lnTo>
                  <a:pt x="2263766" y="1986115"/>
                </a:lnTo>
                <a:lnTo>
                  <a:pt x="2261704" y="1990662"/>
                </a:lnTo>
                <a:lnTo>
                  <a:pt x="2262355" y="1992828"/>
                </a:lnTo>
                <a:lnTo>
                  <a:pt x="2260510" y="1995860"/>
                </a:lnTo>
                <a:lnTo>
                  <a:pt x="2258666" y="2000840"/>
                </a:lnTo>
                <a:lnTo>
                  <a:pt x="2256603" y="2000840"/>
                </a:lnTo>
                <a:lnTo>
                  <a:pt x="2254216" y="2003546"/>
                </a:lnTo>
                <a:lnTo>
                  <a:pt x="2252155" y="2010693"/>
                </a:lnTo>
                <a:lnTo>
                  <a:pt x="2248790" y="2011667"/>
                </a:lnTo>
                <a:lnTo>
                  <a:pt x="2246945" y="2014482"/>
                </a:lnTo>
                <a:lnTo>
                  <a:pt x="2244992" y="2014374"/>
                </a:lnTo>
                <a:lnTo>
                  <a:pt x="2244450" y="2017405"/>
                </a:lnTo>
                <a:lnTo>
                  <a:pt x="2240652" y="2022170"/>
                </a:lnTo>
                <a:lnTo>
                  <a:pt x="2240218" y="2020870"/>
                </a:lnTo>
                <a:lnTo>
                  <a:pt x="2236745" y="2023468"/>
                </a:lnTo>
                <a:lnTo>
                  <a:pt x="2239349" y="2017080"/>
                </a:lnTo>
                <a:lnTo>
                  <a:pt x="2237288" y="2014915"/>
                </a:lnTo>
                <a:lnTo>
                  <a:pt x="2233815" y="2015781"/>
                </a:lnTo>
                <a:lnTo>
                  <a:pt x="2228280" y="2010260"/>
                </a:lnTo>
                <a:lnTo>
                  <a:pt x="2226327" y="2006795"/>
                </a:lnTo>
                <a:lnTo>
                  <a:pt x="2227738" y="2003222"/>
                </a:lnTo>
                <a:lnTo>
                  <a:pt x="2235443" y="1994885"/>
                </a:lnTo>
                <a:lnTo>
                  <a:pt x="2230343" y="1997484"/>
                </a:lnTo>
                <a:lnTo>
                  <a:pt x="2226002" y="2001381"/>
                </a:lnTo>
                <a:lnTo>
                  <a:pt x="2223723" y="2005929"/>
                </a:lnTo>
                <a:lnTo>
                  <a:pt x="2224374" y="2010801"/>
                </a:lnTo>
                <a:lnTo>
                  <a:pt x="2226544" y="2013074"/>
                </a:lnTo>
                <a:lnTo>
                  <a:pt x="2227195" y="2019571"/>
                </a:lnTo>
                <a:lnTo>
                  <a:pt x="2229475" y="2022061"/>
                </a:lnTo>
                <a:lnTo>
                  <a:pt x="2232513" y="2030073"/>
                </a:lnTo>
                <a:lnTo>
                  <a:pt x="2232405" y="2036028"/>
                </a:lnTo>
                <a:lnTo>
                  <a:pt x="2228389" y="2045014"/>
                </a:lnTo>
                <a:lnTo>
                  <a:pt x="2223072" y="2048046"/>
                </a:lnTo>
                <a:lnTo>
                  <a:pt x="2219274" y="2057682"/>
                </a:lnTo>
                <a:lnTo>
                  <a:pt x="2216561" y="2062337"/>
                </a:lnTo>
                <a:lnTo>
                  <a:pt x="2216561" y="2065261"/>
                </a:lnTo>
                <a:lnTo>
                  <a:pt x="2215150" y="2067210"/>
                </a:lnTo>
                <a:lnTo>
                  <a:pt x="2214825" y="2065261"/>
                </a:lnTo>
                <a:lnTo>
                  <a:pt x="2214282" y="2063529"/>
                </a:lnTo>
                <a:lnTo>
                  <a:pt x="2209399" y="2072082"/>
                </a:lnTo>
                <a:lnTo>
                  <a:pt x="2208965" y="2074356"/>
                </a:lnTo>
                <a:lnTo>
                  <a:pt x="2207771" y="2076196"/>
                </a:lnTo>
                <a:lnTo>
                  <a:pt x="2207228" y="2071649"/>
                </a:lnTo>
                <a:lnTo>
                  <a:pt x="2208422" y="2066343"/>
                </a:lnTo>
                <a:lnTo>
                  <a:pt x="2211135" y="2061796"/>
                </a:lnTo>
                <a:lnTo>
                  <a:pt x="2210484" y="2058765"/>
                </a:lnTo>
                <a:lnTo>
                  <a:pt x="2213414" y="2054975"/>
                </a:lnTo>
                <a:lnTo>
                  <a:pt x="2212655" y="2053892"/>
                </a:lnTo>
                <a:lnTo>
                  <a:pt x="2216778" y="2051619"/>
                </a:lnTo>
                <a:lnTo>
                  <a:pt x="2211027" y="2051727"/>
                </a:lnTo>
                <a:lnTo>
                  <a:pt x="2209399" y="2048371"/>
                </a:lnTo>
                <a:lnTo>
                  <a:pt x="2210918" y="2046097"/>
                </a:lnTo>
                <a:lnTo>
                  <a:pt x="2210701" y="2045123"/>
                </a:lnTo>
                <a:lnTo>
                  <a:pt x="2208530" y="2045231"/>
                </a:lnTo>
                <a:lnTo>
                  <a:pt x="2207988" y="2043282"/>
                </a:lnTo>
                <a:lnTo>
                  <a:pt x="2206360" y="2045123"/>
                </a:lnTo>
                <a:lnTo>
                  <a:pt x="2202562" y="2040251"/>
                </a:lnTo>
                <a:lnTo>
                  <a:pt x="2202454" y="2035811"/>
                </a:lnTo>
                <a:lnTo>
                  <a:pt x="2205817" y="2030831"/>
                </a:lnTo>
                <a:lnTo>
                  <a:pt x="2206903" y="2024010"/>
                </a:lnTo>
                <a:lnTo>
                  <a:pt x="2203105" y="2017730"/>
                </a:lnTo>
                <a:lnTo>
                  <a:pt x="2205817" y="2012642"/>
                </a:lnTo>
                <a:lnTo>
                  <a:pt x="2209833" y="2010260"/>
                </a:lnTo>
                <a:lnTo>
                  <a:pt x="2208530" y="2008744"/>
                </a:lnTo>
                <a:lnTo>
                  <a:pt x="2209724" y="2004197"/>
                </a:lnTo>
                <a:lnTo>
                  <a:pt x="2208422" y="2002356"/>
                </a:lnTo>
                <a:lnTo>
                  <a:pt x="2208530" y="2003764"/>
                </a:lnTo>
                <a:lnTo>
                  <a:pt x="2207337" y="2008311"/>
                </a:lnTo>
                <a:lnTo>
                  <a:pt x="2202562" y="2012100"/>
                </a:lnTo>
                <a:lnTo>
                  <a:pt x="2199415" y="2014266"/>
                </a:lnTo>
                <a:lnTo>
                  <a:pt x="2197462" y="2014049"/>
                </a:lnTo>
                <a:lnTo>
                  <a:pt x="2199741" y="2017405"/>
                </a:lnTo>
                <a:lnTo>
                  <a:pt x="2198873" y="2020112"/>
                </a:lnTo>
                <a:lnTo>
                  <a:pt x="2198113" y="2027041"/>
                </a:lnTo>
                <a:lnTo>
                  <a:pt x="2199089" y="2029856"/>
                </a:lnTo>
                <a:lnTo>
                  <a:pt x="2198439" y="2033105"/>
                </a:lnTo>
                <a:lnTo>
                  <a:pt x="2198764" y="2037760"/>
                </a:lnTo>
                <a:lnTo>
                  <a:pt x="2198221" y="2047072"/>
                </a:lnTo>
                <a:lnTo>
                  <a:pt x="2196919" y="2047396"/>
                </a:lnTo>
                <a:lnTo>
                  <a:pt x="2191168" y="2040684"/>
                </a:lnTo>
                <a:lnTo>
                  <a:pt x="2186502" y="2040034"/>
                </a:lnTo>
                <a:lnTo>
                  <a:pt x="2183572" y="2034621"/>
                </a:lnTo>
                <a:lnTo>
                  <a:pt x="2181401" y="2034512"/>
                </a:lnTo>
                <a:lnTo>
                  <a:pt x="2180533" y="2032131"/>
                </a:lnTo>
                <a:lnTo>
                  <a:pt x="2182596" y="2027041"/>
                </a:lnTo>
                <a:lnTo>
                  <a:pt x="2179123" y="2031697"/>
                </a:lnTo>
                <a:lnTo>
                  <a:pt x="2179123" y="2035811"/>
                </a:lnTo>
                <a:lnTo>
                  <a:pt x="2182596" y="2037435"/>
                </a:lnTo>
                <a:lnTo>
                  <a:pt x="2185308" y="2041874"/>
                </a:lnTo>
                <a:lnTo>
                  <a:pt x="2190625" y="2043931"/>
                </a:lnTo>
                <a:lnTo>
                  <a:pt x="2196051" y="2050428"/>
                </a:lnTo>
                <a:lnTo>
                  <a:pt x="2199415" y="2052485"/>
                </a:lnTo>
                <a:lnTo>
                  <a:pt x="2200175" y="2056708"/>
                </a:lnTo>
                <a:lnTo>
                  <a:pt x="2198764" y="2061580"/>
                </a:lnTo>
                <a:lnTo>
                  <a:pt x="2195292" y="2061255"/>
                </a:lnTo>
                <a:lnTo>
                  <a:pt x="2193773" y="2057141"/>
                </a:lnTo>
                <a:lnTo>
                  <a:pt x="2191493" y="2056166"/>
                </a:lnTo>
                <a:lnTo>
                  <a:pt x="2193664" y="2062013"/>
                </a:lnTo>
                <a:lnTo>
                  <a:pt x="2198764" y="2065261"/>
                </a:lnTo>
                <a:lnTo>
                  <a:pt x="2200175" y="2068509"/>
                </a:lnTo>
                <a:lnTo>
                  <a:pt x="2198547" y="2069917"/>
                </a:lnTo>
                <a:lnTo>
                  <a:pt x="2198221" y="2072082"/>
                </a:lnTo>
                <a:lnTo>
                  <a:pt x="2193230" y="2071108"/>
                </a:lnTo>
                <a:lnTo>
                  <a:pt x="2199307" y="2076196"/>
                </a:lnTo>
                <a:lnTo>
                  <a:pt x="2197353" y="2079553"/>
                </a:lnTo>
                <a:lnTo>
                  <a:pt x="2194423" y="2078145"/>
                </a:lnTo>
                <a:lnTo>
                  <a:pt x="2192036" y="2073814"/>
                </a:lnTo>
                <a:lnTo>
                  <a:pt x="2186176" y="2073706"/>
                </a:lnTo>
                <a:lnTo>
                  <a:pt x="2182269" y="2071757"/>
                </a:lnTo>
                <a:lnTo>
                  <a:pt x="2185525" y="2075763"/>
                </a:lnTo>
                <a:lnTo>
                  <a:pt x="2189323" y="2077063"/>
                </a:lnTo>
                <a:lnTo>
                  <a:pt x="2192253" y="2077171"/>
                </a:lnTo>
                <a:lnTo>
                  <a:pt x="2194098" y="2082909"/>
                </a:lnTo>
                <a:lnTo>
                  <a:pt x="2198221" y="2083992"/>
                </a:lnTo>
                <a:lnTo>
                  <a:pt x="2201586" y="2083125"/>
                </a:lnTo>
                <a:lnTo>
                  <a:pt x="2203756" y="2085075"/>
                </a:lnTo>
                <a:lnTo>
                  <a:pt x="2204949" y="2089514"/>
                </a:lnTo>
                <a:lnTo>
                  <a:pt x="2203105" y="2094061"/>
                </a:lnTo>
                <a:lnTo>
                  <a:pt x="2200609" y="2092870"/>
                </a:lnTo>
                <a:lnTo>
                  <a:pt x="2200501" y="2095143"/>
                </a:lnTo>
                <a:lnTo>
                  <a:pt x="2202454" y="2097200"/>
                </a:lnTo>
                <a:lnTo>
                  <a:pt x="2203322" y="2102398"/>
                </a:lnTo>
                <a:lnTo>
                  <a:pt x="2201802" y="2104888"/>
                </a:lnTo>
                <a:lnTo>
                  <a:pt x="2198764" y="2104888"/>
                </a:lnTo>
                <a:lnTo>
                  <a:pt x="2197571" y="2106187"/>
                </a:lnTo>
                <a:lnTo>
                  <a:pt x="2191277" y="2107920"/>
                </a:lnTo>
                <a:lnTo>
                  <a:pt x="2188780" y="2110085"/>
                </a:lnTo>
                <a:lnTo>
                  <a:pt x="2185742" y="2109110"/>
                </a:lnTo>
                <a:lnTo>
                  <a:pt x="2183463" y="2104130"/>
                </a:lnTo>
                <a:lnTo>
                  <a:pt x="2181836" y="2105104"/>
                </a:lnTo>
                <a:lnTo>
                  <a:pt x="2181619" y="2112251"/>
                </a:lnTo>
                <a:lnTo>
                  <a:pt x="2180751" y="2115065"/>
                </a:lnTo>
                <a:lnTo>
                  <a:pt x="2185525" y="2113550"/>
                </a:lnTo>
                <a:lnTo>
                  <a:pt x="2195183" y="2112142"/>
                </a:lnTo>
                <a:lnTo>
                  <a:pt x="2197136" y="2113008"/>
                </a:lnTo>
                <a:lnTo>
                  <a:pt x="2197788" y="2120046"/>
                </a:lnTo>
                <a:lnTo>
                  <a:pt x="2200175" y="2121020"/>
                </a:lnTo>
                <a:lnTo>
                  <a:pt x="2200392" y="2118097"/>
                </a:lnTo>
                <a:lnTo>
                  <a:pt x="2202888" y="2113333"/>
                </a:lnTo>
                <a:lnTo>
                  <a:pt x="2204082" y="2113008"/>
                </a:lnTo>
                <a:lnTo>
                  <a:pt x="2205926" y="2117014"/>
                </a:lnTo>
                <a:lnTo>
                  <a:pt x="2204732" y="2122103"/>
                </a:lnTo>
                <a:lnTo>
                  <a:pt x="2203214" y="2122211"/>
                </a:lnTo>
                <a:lnTo>
                  <a:pt x="2198221" y="2126434"/>
                </a:lnTo>
                <a:lnTo>
                  <a:pt x="2196485" y="2129899"/>
                </a:lnTo>
                <a:lnTo>
                  <a:pt x="2194423" y="2131631"/>
                </a:lnTo>
                <a:lnTo>
                  <a:pt x="2191168" y="2129573"/>
                </a:lnTo>
                <a:lnTo>
                  <a:pt x="2187912" y="2130115"/>
                </a:lnTo>
                <a:lnTo>
                  <a:pt x="2185959" y="2124918"/>
                </a:lnTo>
                <a:lnTo>
                  <a:pt x="2185525" y="2128166"/>
                </a:lnTo>
                <a:lnTo>
                  <a:pt x="2182269" y="2129573"/>
                </a:lnTo>
                <a:lnTo>
                  <a:pt x="2178906" y="2127950"/>
                </a:lnTo>
                <a:lnTo>
                  <a:pt x="2175650" y="2127842"/>
                </a:lnTo>
                <a:lnTo>
                  <a:pt x="2178254" y="2130873"/>
                </a:lnTo>
                <a:lnTo>
                  <a:pt x="2183897" y="2131956"/>
                </a:lnTo>
                <a:lnTo>
                  <a:pt x="2185525" y="2134338"/>
                </a:lnTo>
                <a:lnTo>
                  <a:pt x="2183137" y="2136395"/>
                </a:lnTo>
                <a:lnTo>
                  <a:pt x="2184114" y="2138127"/>
                </a:lnTo>
                <a:lnTo>
                  <a:pt x="2177712" y="2140834"/>
                </a:lnTo>
                <a:lnTo>
                  <a:pt x="2173480" y="2139210"/>
                </a:lnTo>
                <a:lnTo>
                  <a:pt x="2177061" y="2142566"/>
                </a:lnTo>
                <a:lnTo>
                  <a:pt x="2183137" y="2143108"/>
                </a:lnTo>
                <a:lnTo>
                  <a:pt x="2187370" y="2139210"/>
                </a:lnTo>
                <a:lnTo>
                  <a:pt x="2188455" y="2140834"/>
                </a:lnTo>
                <a:lnTo>
                  <a:pt x="2190192" y="2141592"/>
                </a:lnTo>
                <a:lnTo>
                  <a:pt x="2185634" y="2146789"/>
                </a:lnTo>
                <a:lnTo>
                  <a:pt x="2181510" y="2146897"/>
                </a:lnTo>
                <a:lnTo>
                  <a:pt x="2181076" y="2145381"/>
                </a:lnTo>
                <a:lnTo>
                  <a:pt x="2178146" y="2145706"/>
                </a:lnTo>
                <a:lnTo>
                  <a:pt x="2176518" y="2146897"/>
                </a:lnTo>
                <a:lnTo>
                  <a:pt x="2170658" y="2147438"/>
                </a:lnTo>
                <a:lnTo>
                  <a:pt x="2159481" y="2154152"/>
                </a:lnTo>
                <a:lnTo>
                  <a:pt x="2147436" y="2163895"/>
                </a:lnTo>
                <a:lnTo>
                  <a:pt x="2143529" y="2171366"/>
                </a:lnTo>
                <a:lnTo>
                  <a:pt x="2141359" y="2171691"/>
                </a:lnTo>
                <a:lnTo>
                  <a:pt x="2138971" y="2170175"/>
                </a:lnTo>
                <a:lnTo>
                  <a:pt x="2132135" y="2170933"/>
                </a:lnTo>
                <a:lnTo>
                  <a:pt x="2127469" y="2175048"/>
                </a:lnTo>
                <a:lnTo>
                  <a:pt x="2118462" y="2186957"/>
                </a:lnTo>
                <a:lnTo>
                  <a:pt x="2118462" y="2189664"/>
                </a:lnTo>
                <a:lnTo>
                  <a:pt x="2114663" y="2193021"/>
                </a:lnTo>
                <a:lnTo>
                  <a:pt x="2112277" y="2192803"/>
                </a:lnTo>
                <a:lnTo>
                  <a:pt x="2111950" y="2195835"/>
                </a:lnTo>
                <a:lnTo>
                  <a:pt x="2107827" y="2200599"/>
                </a:lnTo>
                <a:lnTo>
                  <a:pt x="2105006" y="2199300"/>
                </a:lnTo>
                <a:lnTo>
                  <a:pt x="2102510" y="2200058"/>
                </a:lnTo>
                <a:lnTo>
                  <a:pt x="2101208" y="2202223"/>
                </a:lnTo>
                <a:lnTo>
                  <a:pt x="2096216" y="2201790"/>
                </a:lnTo>
                <a:lnTo>
                  <a:pt x="2093720" y="2205147"/>
                </a:lnTo>
                <a:lnTo>
                  <a:pt x="2086449" y="2206013"/>
                </a:lnTo>
                <a:lnTo>
                  <a:pt x="2085256" y="2208611"/>
                </a:lnTo>
                <a:lnTo>
                  <a:pt x="2080589" y="2208286"/>
                </a:lnTo>
                <a:lnTo>
                  <a:pt x="2079721" y="2211209"/>
                </a:lnTo>
                <a:lnTo>
                  <a:pt x="2074079" y="2211209"/>
                </a:lnTo>
                <a:lnTo>
                  <a:pt x="2072668" y="2212401"/>
                </a:lnTo>
                <a:lnTo>
                  <a:pt x="2074404" y="2213592"/>
                </a:lnTo>
                <a:lnTo>
                  <a:pt x="2073862" y="2217598"/>
                </a:lnTo>
                <a:lnTo>
                  <a:pt x="2070606" y="2222253"/>
                </a:lnTo>
                <a:lnTo>
                  <a:pt x="2068544" y="2222578"/>
                </a:lnTo>
                <a:lnTo>
                  <a:pt x="2066482" y="2225502"/>
                </a:lnTo>
                <a:lnTo>
                  <a:pt x="2062468" y="2226476"/>
                </a:lnTo>
                <a:lnTo>
                  <a:pt x="2058343" y="2233188"/>
                </a:lnTo>
                <a:lnTo>
                  <a:pt x="2054871" y="2240118"/>
                </a:lnTo>
                <a:lnTo>
                  <a:pt x="2054871" y="2248130"/>
                </a:lnTo>
                <a:lnTo>
                  <a:pt x="2053677" y="2262963"/>
                </a:lnTo>
                <a:lnTo>
                  <a:pt x="2054437" y="2269676"/>
                </a:lnTo>
                <a:lnTo>
                  <a:pt x="2053026" y="2279961"/>
                </a:lnTo>
                <a:lnTo>
                  <a:pt x="2055630" y="2286458"/>
                </a:lnTo>
                <a:lnTo>
                  <a:pt x="2056607" y="2296852"/>
                </a:lnTo>
                <a:lnTo>
                  <a:pt x="2058669" y="2301075"/>
                </a:lnTo>
                <a:lnTo>
                  <a:pt x="2061165" y="2312659"/>
                </a:lnTo>
                <a:lnTo>
                  <a:pt x="2064203" y="2316773"/>
                </a:lnTo>
                <a:lnTo>
                  <a:pt x="2065939" y="2320996"/>
                </a:lnTo>
                <a:lnTo>
                  <a:pt x="2063878" y="2326518"/>
                </a:lnTo>
                <a:lnTo>
                  <a:pt x="2063227" y="2333772"/>
                </a:lnTo>
                <a:lnTo>
                  <a:pt x="2064854" y="2336154"/>
                </a:lnTo>
                <a:lnTo>
                  <a:pt x="2067459" y="2351529"/>
                </a:lnTo>
                <a:lnTo>
                  <a:pt x="2072342" y="2354560"/>
                </a:lnTo>
                <a:lnTo>
                  <a:pt x="2073862" y="2361597"/>
                </a:lnTo>
                <a:lnTo>
                  <a:pt x="2071149" y="2364305"/>
                </a:lnTo>
                <a:lnTo>
                  <a:pt x="2072342" y="2366145"/>
                </a:lnTo>
                <a:lnTo>
                  <a:pt x="2071474" y="2374482"/>
                </a:lnTo>
                <a:lnTo>
                  <a:pt x="2070280" y="2376756"/>
                </a:lnTo>
                <a:lnTo>
                  <a:pt x="2070714" y="2380870"/>
                </a:lnTo>
                <a:lnTo>
                  <a:pt x="2066591" y="2389315"/>
                </a:lnTo>
                <a:lnTo>
                  <a:pt x="2064421" y="2394945"/>
                </a:lnTo>
                <a:lnTo>
                  <a:pt x="2061491" y="2399276"/>
                </a:lnTo>
                <a:lnTo>
                  <a:pt x="2060731" y="2405231"/>
                </a:lnTo>
                <a:lnTo>
                  <a:pt x="2056825" y="2406639"/>
                </a:lnTo>
                <a:lnTo>
                  <a:pt x="2052375" y="2408154"/>
                </a:lnTo>
                <a:lnTo>
                  <a:pt x="2047818" y="2406963"/>
                </a:lnTo>
                <a:lnTo>
                  <a:pt x="2045647" y="2404040"/>
                </a:lnTo>
                <a:lnTo>
                  <a:pt x="2040655" y="2402741"/>
                </a:lnTo>
                <a:lnTo>
                  <a:pt x="2043368" y="2401550"/>
                </a:lnTo>
                <a:lnTo>
                  <a:pt x="2037617" y="2396786"/>
                </a:lnTo>
                <a:lnTo>
                  <a:pt x="2038160" y="2392780"/>
                </a:lnTo>
                <a:lnTo>
                  <a:pt x="2036423" y="2389640"/>
                </a:lnTo>
                <a:lnTo>
                  <a:pt x="2032408" y="2389423"/>
                </a:lnTo>
                <a:lnTo>
                  <a:pt x="2030564" y="2387799"/>
                </a:lnTo>
                <a:lnTo>
                  <a:pt x="2030889" y="2381519"/>
                </a:lnTo>
                <a:lnTo>
                  <a:pt x="2030129" y="2376647"/>
                </a:lnTo>
                <a:lnTo>
                  <a:pt x="2024269" y="2372100"/>
                </a:lnTo>
                <a:lnTo>
                  <a:pt x="2023835" y="2369285"/>
                </a:lnTo>
                <a:lnTo>
                  <a:pt x="2025789" y="2367119"/>
                </a:lnTo>
                <a:lnTo>
                  <a:pt x="2026657" y="2363113"/>
                </a:lnTo>
                <a:lnTo>
                  <a:pt x="2030129" y="2359649"/>
                </a:lnTo>
                <a:lnTo>
                  <a:pt x="2025680" y="2360840"/>
                </a:lnTo>
                <a:lnTo>
                  <a:pt x="2023726" y="2359540"/>
                </a:lnTo>
                <a:lnTo>
                  <a:pt x="2023726" y="2361489"/>
                </a:lnTo>
                <a:lnTo>
                  <a:pt x="2022208" y="2363655"/>
                </a:lnTo>
                <a:lnTo>
                  <a:pt x="2021014" y="2359216"/>
                </a:lnTo>
                <a:lnTo>
                  <a:pt x="2019060" y="2359757"/>
                </a:lnTo>
                <a:lnTo>
                  <a:pt x="2018192" y="2357375"/>
                </a:lnTo>
                <a:lnTo>
                  <a:pt x="2015262" y="2353911"/>
                </a:lnTo>
                <a:lnTo>
                  <a:pt x="2014937" y="2349364"/>
                </a:lnTo>
                <a:lnTo>
                  <a:pt x="2013526" y="2346440"/>
                </a:lnTo>
                <a:lnTo>
                  <a:pt x="2019386" y="2338103"/>
                </a:lnTo>
                <a:lnTo>
                  <a:pt x="2019169" y="2333664"/>
                </a:lnTo>
                <a:lnTo>
                  <a:pt x="2015697" y="2332256"/>
                </a:lnTo>
                <a:lnTo>
                  <a:pt x="2013960" y="2333664"/>
                </a:lnTo>
                <a:lnTo>
                  <a:pt x="2014828" y="2335721"/>
                </a:lnTo>
                <a:lnTo>
                  <a:pt x="2012007" y="2339511"/>
                </a:lnTo>
                <a:lnTo>
                  <a:pt x="2010705" y="2340810"/>
                </a:lnTo>
                <a:lnTo>
                  <a:pt x="2007883" y="2335938"/>
                </a:lnTo>
                <a:lnTo>
                  <a:pt x="2008101" y="2332365"/>
                </a:lnTo>
                <a:lnTo>
                  <a:pt x="2012767" y="2323703"/>
                </a:lnTo>
                <a:lnTo>
                  <a:pt x="2015914" y="2312551"/>
                </a:lnTo>
                <a:lnTo>
                  <a:pt x="2016348" y="2307030"/>
                </a:lnTo>
                <a:lnTo>
                  <a:pt x="2013201" y="2301075"/>
                </a:lnTo>
                <a:lnTo>
                  <a:pt x="2009728" y="2300425"/>
                </a:lnTo>
                <a:lnTo>
                  <a:pt x="2007558" y="2297069"/>
                </a:lnTo>
                <a:lnTo>
                  <a:pt x="2007666" y="2295336"/>
                </a:lnTo>
                <a:lnTo>
                  <a:pt x="2005604" y="2295336"/>
                </a:lnTo>
                <a:lnTo>
                  <a:pt x="2002240" y="2292846"/>
                </a:lnTo>
                <a:lnTo>
                  <a:pt x="2001589" y="2287865"/>
                </a:lnTo>
                <a:lnTo>
                  <a:pt x="1999962" y="2287324"/>
                </a:lnTo>
                <a:lnTo>
                  <a:pt x="1997465" y="2284834"/>
                </a:lnTo>
                <a:lnTo>
                  <a:pt x="1995079" y="2276605"/>
                </a:lnTo>
                <a:lnTo>
                  <a:pt x="1989544" y="2274657"/>
                </a:lnTo>
                <a:lnTo>
                  <a:pt x="1986506" y="2272924"/>
                </a:lnTo>
                <a:lnTo>
                  <a:pt x="1981731" y="2273790"/>
                </a:lnTo>
                <a:lnTo>
                  <a:pt x="1978584" y="2276281"/>
                </a:lnTo>
                <a:lnTo>
                  <a:pt x="1978584" y="2277363"/>
                </a:lnTo>
                <a:lnTo>
                  <a:pt x="1977715" y="2278121"/>
                </a:lnTo>
                <a:lnTo>
                  <a:pt x="1975762" y="2277255"/>
                </a:lnTo>
                <a:lnTo>
                  <a:pt x="1969686" y="2283426"/>
                </a:lnTo>
                <a:lnTo>
                  <a:pt x="1965236" y="2283967"/>
                </a:lnTo>
                <a:lnTo>
                  <a:pt x="1958400" y="2284942"/>
                </a:lnTo>
                <a:lnTo>
                  <a:pt x="1957206" y="2283210"/>
                </a:lnTo>
                <a:lnTo>
                  <a:pt x="1957857" y="2281369"/>
                </a:lnTo>
                <a:lnTo>
                  <a:pt x="1958508" y="2282993"/>
                </a:lnTo>
                <a:lnTo>
                  <a:pt x="1959593" y="2282560"/>
                </a:lnTo>
                <a:lnTo>
                  <a:pt x="1958400" y="2280286"/>
                </a:lnTo>
                <a:lnTo>
                  <a:pt x="1956121" y="2276930"/>
                </a:lnTo>
                <a:lnTo>
                  <a:pt x="1950261" y="2272924"/>
                </a:lnTo>
                <a:lnTo>
                  <a:pt x="1951021" y="2272599"/>
                </a:lnTo>
                <a:lnTo>
                  <a:pt x="1954167" y="2274115"/>
                </a:lnTo>
                <a:lnTo>
                  <a:pt x="1954927" y="2272491"/>
                </a:lnTo>
                <a:lnTo>
                  <a:pt x="1950369" y="2269351"/>
                </a:lnTo>
                <a:lnTo>
                  <a:pt x="1949501" y="2266861"/>
                </a:lnTo>
                <a:lnTo>
                  <a:pt x="1947440" y="2266536"/>
                </a:lnTo>
                <a:lnTo>
                  <a:pt x="1946897" y="2268702"/>
                </a:lnTo>
                <a:lnTo>
                  <a:pt x="1949176" y="2271949"/>
                </a:lnTo>
                <a:lnTo>
                  <a:pt x="1945594" y="2269892"/>
                </a:lnTo>
                <a:lnTo>
                  <a:pt x="1941905" y="2266536"/>
                </a:lnTo>
                <a:lnTo>
                  <a:pt x="1935720" y="2266536"/>
                </a:lnTo>
                <a:lnTo>
                  <a:pt x="1929534" y="2265670"/>
                </a:lnTo>
                <a:lnTo>
                  <a:pt x="1930402" y="2264479"/>
                </a:lnTo>
                <a:lnTo>
                  <a:pt x="1936045" y="2264912"/>
                </a:lnTo>
                <a:lnTo>
                  <a:pt x="1938867" y="2264046"/>
                </a:lnTo>
                <a:lnTo>
                  <a:pt x="1937673" y="2262530"/>
                </a:lnTo>
                <a:lnTo>
                  <a:pt x="1932572" y="2262206"/>
                </a:lnTo>
                <a:lnTo>
                  <a:pt x="1927256" y="2265886"/>
                </a:lnTo>
                <a:lnTo>
                  <a:pt x="1925085" y="2264804"/>
                </a:lnTo>
                <a:lnTo>
                  <a:pt x="1917923" y="2265670"/>
                </a:lnTo>
                <a:lnTo>
                  <a:pt x="1915210" y="2263721"/>
                </a:lnTo>
                <a:lnTo>
                  <a:pt x="1911737" y="2265129"/>
                </a:lnTo>
                <a:lnTo>
                  <a:pt x="1905010" y="2264804"/>
                </a:lnTo>
                <a:lnTo>
                  <a:pt x="1901211" y="2266428"/>
                </a:lnTo>
                <a:lnTo>
                  <a:pt x="1896545" y="2262422"/>
                </a:lnTo>
                <a:lnTo>
                  <a:pt x="1896437" y="2259715"/>
                </a:lnTo>
                <a:lnTo>
                  <a:pt x="1897088" y="2256575"/>
                </a:lnTo>
                <a:lnTo>
                  <a:pt x="1894158" y="2256033"/>
                </a:lnTo>
                <a:lnTo>
                  <a:pt x="1892096" y="2260148"/>
                </a:lnTo>
                <a:lnTo>
                  <a:pt x="1889817" y="2263938"/>
                </a:lnTo>
                <a:lnTo>
                  <a:pt x="1886453" y="2263288"/>
                </a:lnTo>
                <a:lnTo>
                  <a:pt x="1883523" y="2264371"/>
                </a:lnTo>
                <a:lnTo>
                  <a:pt x="1878097" y="2263504"/>
                </a:lnTo>
                <a:lnTo>
                  <a:pt x="1863990" y="2265994"/>
                </a:lnTo>
                <a:lnTo>
                  <a:pt x="1860084" y="2269459"/>
                </a:lnTo>
                <a:lnTo>
                  <a:pt x="1852162" y="2272708"/>
                </a:lnTo>
                <a:lnTo>
                  <a:pt x="1847821" y="2277255"/>
                </a:lnTo>
                <a:lnTo>
                  <a:pt x="1847821" y="2280503"/>
                </a:lnTo>
                <a:lnTo>
                  <a:pt x="1850968" y="2279312"/>
                </a:lnTo>
                <a:lnTo>
                  <a:pt x="1853681" y="2276497"/>
                </a:lnTo>
                <a:lnTo>
                  <a:pt x="1855201" y="2276822"/>
                </a:lnTo>
                <a:lnTo>
                  <a:pt x="1856937" y="2279096"/>
                </a:lnTo>
                <a:lnTo>
                  <a:pt x="1861060" y="2280828"/>
                </a:lnTo>
                <a:lnTo>
                  <a:pt x="1859541" y="2282560"/>
                </a:lnTo>
                <a:lnTo>
                  <a:pt x="1851945" y="2285483"/>
                </a:lnTo>
                <a:lnTo>
                  <a:pt x="1852162" y="2289598"/>
                </a:lnTo>
                <a:lnTo>
                  <a:pt x="1853464" y="2293063"/>
                </a:lnTo>
                <a:lnTo>
                  <a:pt x="1861060" y="2295553"/>
                </a:lnTo>
                <a:lnTo>
                  <a:pt x="1866811" y="2299883"/>
                </a:lnTo>
                <a:lnTo>
                  <a:pt x="1866378" y="2301399"/>
                </a:lnTo>
                <a:lnTo>
                  <a:pt x="1862797" y="2302482"/>
                </a:lnTo>
                <a:lnTo>
                  <a:pt x="1861277" y="2305405"/>
                </a:lnTo>
                <a:lnTo>
                  <a:pt x="1861060" y="2300750"/>
                </a:lnTo>
                <a:lnTo>
                  <a:pt x="1858673" y="2299234"/>
                </a:lnTo>
                <a:lnTo>
                  <a:pt x="1855960" y="2299559"/>
                </a:lnTo>
                <a:lnTo>
                  <a:pt x="1853464" y="2296310"/>
                </a:lnTo>
                <a:lnTo>
                  <a:pt x="1850100" y="2294903"/>
                </a:lnTo>
                <a:lnTo>
                  <a:pt x="1846628" y="2289706"/>
                </a:lnTo>
                <a:lnTo>
                  <a:pt x="1842287" y="2290139"/>
                </a:lnTo>
                <a:lnTo>
                  <a:pt x="1844348" y="2294037"/>
                </a:lnTo>
                <a:lnTo>
                  <a:pt x="1844240" y="2299883"/>
                </a:lnTo>
                <a:lnTo>
                  <a:pt x="1840550" y="2301940"/>
                </a:lnTo>
                <a:lnTo>
                  <a:pt x="1838706" y="2298909"/>
                </a:lnTo>
                <a:lnTo>
                  <a:pt x="1834691" y="2296094"/>
                </a:lnTo>
                <a:lnTo>
                  <a:pt x="1831218" y="2298692"/>
                </a:lnTo>
                <a:lnTo>
                  <a:pt x="1828831" y="2301399"/>
                </a:lnTo>
                <a:lnTo>
                  <a:pt x="1822862" y="2299667"/>
                </a:lnTo>
                <a:lnTo>
                  <a:pt x="1819607" y="2297610"/>
                </a:lnTo>
                <a:lnTo>
                  <a:pt x="1815592" y="2298367"/>
                </a:lnTo>
                <a:lnTo>
                  <a:pt x="1813096" y="2297177"/>
                </a:lnTo>
                <a:lnTo>
                  <a:pt x="1814941" y="2294795"/>
                </a:lnTo>
                <a:lnTo>
                  <a:pt x="1818196" y="2292304"/>
                </a:lnTo>
                <a:lnTo>
                  <a:pt x="1816569" y="2289706"/>
                </a:lnTo>
                <a:lnTo>
                  <a:pt x="1811685" y="2290247"/>
                </a:lnTo>
                <a:lnTo>
                  <a:pt x="1810275" y="2288406"/>
                </a:lnTo>
                <a:lnTo>
                  <a:pt x="1810275" y="2284834"/>
                </a:lnTo>
                <a:lnTo>
                  <a:pt x="1808646" y="2283102"/>
                </a:lnTo>
                <a:lnTo>
                  <a:pt x="1805391" y="2284401"/>
                </a:lnTo>
                <a:lnTo>
                  <a:pt x="1802787" y="2283535"/>
                </a:lnTo>
                <a:lnTo>
                  <a:pt x="1804632" y="2280720"/>
                </a:lnTo>
                <a:lnTo>
                  <a:pt x="1802027" y="2279637"/>
                </a:lnTo>
                <a:lnTo>
                  <a:pt x="1797252" y="2281369"/>
                </a:lnTo>
                <a:lnTo>
                  <a:pt x="1796819" y="2283859"/>
                </a:lnTo>
                <a:lnTo>
                  <a:pt x="1797687" y="2286783"/>
                </a:lnTo>
                <a:lnTo>
                  <a:pt x="1793346" y="2287324"/>
                </a:lnTo>
                <a:lnTo>
                  <a:pt x="1779564" y="2286025"/>
                </a:lnTo>
                <a:lnTo>
                  <a:pt x="1777719" y="2283751"/>
                </a:lnTo>
                <a:lnTo>
                  <a:pt x="1766542" y="2281044"/>
                </a:lnTo>
                <a:lnTo>
                  <a:pt x="1760249" y="2281044"/>
                </a:lnTo>
                <a:lnTo>
                  <a:pt x="1752218" y="2282669"/>
                </a:lnTo>
                <a:lnTo>
                  <a:pt x="1748963" y="2284942"/>
                </a:lnTo>
                <a:lnTo>
                  <a:pt x="1745490" y="2285267"/>
                </a:lnTo>
                <a:lnTo>
                  <a:pt x="1741475" y="2291005"/>
                </a:lnTo>
                <a:lnTo>
                  <a:pt x="1736158" y="2291655"/>
                </a:lnTo>
                <a:lnTo>
                  <a:pt x="1737026" y="2287324"/>
                </a:lnTo>
                <a:lnTo>
                  <a:pt x="1735832" y="2283751"/>
                </a:lnTo>
                <a:lnTo>
                  <a:pt x="1738545" y="2279961"/>
                </a:lnTo>
                <a:lnTo>
                  <a:pt x="1736917" y="2274981"/>
                </a:lnTo>
                <a:lnTo>
                  <a:pt x="1736483" y="2277904"/>
                </a:lnTo>
                <a:lnTo>
                  <a:pt x="1731817" y="2281802"/>
                </a:lnTo>
                <a:lnTo>
                  <a:pt x="1729430" y="2281802"/>
                </a:lnTo>
                <a:lnTo>
                  <a:pt x="1726825" y="2278446"/>
                </a:lnTo>
                <a:lnTo>
                  <a:pt x="1729646" y="2285483"/>
                </a:lnTo>
                <a:lnTo>
                  <a:pt x="1729430" y="2290247"/>
                </a:lnTo>
                <a:lnTo>
                  <a:pt x="1730515" y="2295120"/>
                </a:lnTo>
                <a:lnTo>
                  <a:pt x="1727368" y="2297718"/>
                </a:lnTo>
                <a:lnTo>
                  <a:pt x="1724329" y="2297718"/>
                </a:lnTo>
                <a:lnTo>
                  <a:pt x="1716733" y="2304539"/>
                </a:lnTo>
                <a:lnTo>
                  <a:pt x="1706532" y="2309520"/>
                </a:lnTo>
                <a:lnTo>
                  <a:pt x="1703385" y="2309303"/>
                </a:lnTo>
                <a:lnTo>
                  <a:pt x="1698936" y="2313201"/>
                </a:lnTo>
                <a:lnTo>
                  <a:pt x="1695681" y="2313526"/>
                </a:lnTo>
                <a:lnTo>
                  <a:pt x="1699804" y="2309844"/>
                </a:lnTo>
                <a:lnTo>
                  <a:pt x="1696223" y="2307246"/>
                </a:lnTo>
                <a:lnTo>
                  <a:pt x="1693945" y="2308545"/>
                </a:lnTo>
                <a:lnTo>
                  <a:pt x="1692208" y="2307246"/>
                </a:lnTo>
                <a:lnTo>
                  <a:pt x="1687759" y="2309844"/>
                </a:lnTo>
                <a:lnTo>
                  <a:pt x="1690363" y="2312226"/>
                </a:lnTo>
                <a:lnTo>
                  <a:pt x="1685372" y="2314175"/>
                </a:lnTo>
                <a:lnTo>
                  <a:pt x="1682767" y="2312118"/>
                </a:lnTo>
                <a:lnTo>
                  <a:pt x="1683093" y="2318073"/>
                </a:lnTo>
                <a:lnTo>
                  <a:pt x="1678752" y="2320130"/>
                </a:lnTo>
                <a:lnTo>
                  <a:pt x="1676365" y="2318614"/>
                </a:lnTo>
                <a:lnTo>
                  <a:pt x="1672133" y="2323920"/>
                </a:lnTo>
                <a:lnTo>
                  <a:pt x="1674846" y="2327059"/>
                </a:lnTo>
                <a:lnTo>
                  <a:pt x="1670071" y="2330849"/>
                </a:lnTo>
                <a:lnTo>
                  <a:pt x="1666598" y="2332365"/>
                </a:lnTo>
                <a:lnTo>
                  <a:pt x="1668118" y="2341459"/>
                </a:lnTo>
                <a:lnTo>
                  <a:pt x="1664862" y="2346115"/>
                </a:lnTo>
                <a:lnTo>
                  <a:pt x="1662800" y="2353044"/>
                </a:lnTo>
                <a:lnTo>
                  <a:pt x="1659979" y="2358891"/>
                </a:lnTo>
                <a:lnTo>
                  <a:pt x="1662041" y="2362464"/>
                </a:lnTo>
                <a:lnTo>
                  <a:pt x="1661607" y="2372750"/>
                </a:lnTo>
                <a:lnTo>
                  <a:pt x="1662800" y="2376106"/>
                </a:lnTo>
                <a:lnTo>
                  <a:pt x="1661281" y="2381195"/>
                </a:lnTo>
                <a:lnTo>
                  <a:pt x="1658785" y="2388233"/>
                </a:lnTo>
                <a:lnTo>
                  <a:pt x="1656723" y="2387258"/>
                </a:lnTo>
                <a:lnTo>
                  <a:pt x="1655204" y="2384335"/>
                </a:lnTo>
                <a:lnTo>
                  <a:pt x="1650863" y="2383252"/>
                </a:lnTo>
                <a:lnTo>
                  <a:pt x="1646414" y="2380978"/>
                </a:lnTo>
                <a:lnTo>
                  <a:pt x="1638601" y="2378380"/>
                </a:lnTo>
                <a:lnTo>
                  <a:pt x="1634694" y="2374590"/>
                </a:lnTo>
                <a:lnTo>
                  <a:pt x="1631656" y="2372858"/>
                </a:lnTo>
                <a:lnTo>
                  <a:pt x="1634694" y="2374590"/>
                </a:lnTo>
                <a:lnTo>
                  <a:pt x="1638600" y="2378380"/>
                </a:lnTo>
                <a:lnTo>
                  <a:pt x="1646413" y="2380978"/>
                </a:lnTo>
                <a:lnTo>
                  <a:pt x="1650863" y="2383252"/>
                </a:lnTo>
                <a:lnTo>
                  <a:pt x="1655204" y="2384335"/>
                </a:lnTo>
                <a:lnTo>
                  <a:pt x="1656722" y="2387258"/>
                </a:lnTo>
                <a:lnTo>
                  <a:pt x="1658785" y="2388233"/>
                </a:lnTo>
                <a:lnTo>
                  <a:pt x="1657591" y="2391697"/>
                </a:lnTo>
                <a:lnTo>
                  <a:pt x="1661715" y="2388990"/>
                </a:lnTo>
                <a:lnTo>
                  <a:pt x="1663125" y="2382061"/>
                </a:lnTo>
                <a:lnTo>
                  <a:pt x="1666381" y="2379354"/>
                </a:lnTo>
                <a:lnTo>
                  <a:pt x="1665730" y="2381737"/>
                </a:lnTo>
                <a:lnTo>
                  <a:pt x="1664970" y="2387908"/>
                </a:lnTo>
                <a:lnTo>
                  <a:pt x="1663125" y="2389965"/>
                </a:lnTo>
                <a:lnTo>
                  <a:pt x="1661715" y="2395270"/>
                </a:lnTo>
                <a:lnTo>
                  <a:pt x="1658134" y="2400467"/>
                </a:lnTo>
                <a:lnTo>
                  <a:pt x="1657482" y="2404581"/>
                </a:lnTo>
                <a:lnTo>
                  <a:pt x="1654661" y="2404906"/>
                </a:lnTo>
                <a:lnTo>
                  <a:pt x="1655529" y="2402524"/>
                </a:lnTo>
                <a:lnTo>
                  <a:pt x="1656289" y="2398194"/>
                </a:lnTo>
                <a:lnTo>
                  <a:pt x="1652056" y="2397869"/>
                </a:lnTo>
                <a:lnTo>
                  <a:pt x="1652056" y="2404581"/>
                </a:lnTo>
                <a:lnTo>
                  <a:pt x="1649126" y="2408155"/>
                </a:lnTo>
                <a:lnTo>
                  <a:pt x="1652274" y="2410645"/>
                </a:lnTo>
                <a:lnTo>
                  <a:pt x="1651188" y="2412810"/>
                </a:lnTo>
                <a:lnTo>
                  <a:pt x="1649669" y="2419523"/>
                </a:lnTo>
                <a:lnTo>
                  <a:pt x="1647281" y="2421904"/>
                </a:lnTo>
                <a:lnTo>
                  <a:pt x="1647281" y="2427643"/>
                </a:lnTo>
                <a:lnTo>
                  <a:pt x="1648801" y="2429700"/>
                </a:lnTo>
                <a:lnTo>
                  <a:pt x="1647065" y="2432948"/>
                </a:lnTo>
                <a:lnTo>
                  <a:pt x="1647390" y="2436413"/>
                </a:lnTo>
                <a:lnTo>
                  <a:pt x="1644895" y="2448214"/>
                </a:lnTo>
                <a:lnTo>
                  <a:pt x="1646088" y="2455685"/>
                </a:lnTo>
                <a:lnTo>
                  <a:pt x="1644895" y="2466946"/>
                </a:lnTo>
                <a:lnTo>
                  <a:pt x="1641097" y="2471926"/>
                </a:lnTo>
                <a:lnTo>
                  <a:pt x="1642290" y="2475715"/>
                </a:lnTo>
                <a:lnTo>
                  <a:pt x="1643809" y="2484810"/>
                </a:lnTo>
                <a:lnTo>
                  <a:pt x="1643158" y="2490007"/>
                </a:lnTo>
                <a:lnTo>
                  <a:pt x="1649344" y="2499860"/>
                </a:lnTo>
                <a:lnTo>
                  <a:pt x="1649452" y="2506897"/>
                </a:lnTo>
                <a:lnTo>
                  <a:pt x="1647933" y="2508196"/>
                </a:lnTo>
                <a:lnTo>
                  <a:pt x="1647281" y="2499860"/>
                </a:lnTo>
                <a:lnTo>
                  <a:pt x="1641965" y="2492930"/>
                </a:lnTo>
                <a:lnTo>
                  <a:pt x="1641205" y="2498127"/>
                </a:lnTo>
                <a:lnTo>
                  <a:pt x="1644895" y="2501375"/>
                </a:lnTo>
                <a:lnTo>
                  <a:pt x="1647608" y="2511119"/>
                </a:lnTo>
                <a:lnTo>
                  <a:pt x="1648801" y="2514476"/>
                </a:lnTo>
                <a:lnTo>
                  <a:pt x="1647065" y="2517724"/>
                </a:lnTo>
                <a:lnTo>
                  <a:pt x="1649886" y="2521838"/>
                </a:lnTo>
                <a:lnTo>
                  <a:pt x="1650863" y="2526494"/>
                </a:lnTo>
                <a:lnTo>
                  <a:pt x="1663993" y="2540569"/>
                </a:lnTo>
                <a:lnTo>
                  <a:pt x="1666163" y="2545874"/>
                </a:lnTo>
                <a:lnTo>
                  <a:pt x="1670613" y="2552371"/>
                </a:lnTo>
                <a:lnTo>
                  <a:pt x="1670179" y="2555943"/>
                </a:lnTo>
                <a:lnTo>
                  <a:pt x="1671481" y="2559841"/>
                </a:lnTo>
                <a:lnTo>
                  <a:pt x="1681465" y="2571643"/>
                </a:lnTo>
                <a:lnTo>
                  <a:pt x="1684611" y="2575000"/>
                </a:lnTo>
                <a:lnTo>
                  <a:pt x="1686890" y="2574458"/>
                </a:lnTo>
                <a:lnTo>
                  <a:pt x="1693510" y="2574566"/>
                </a:lnTo>
                <a:lnTo>
                  <a:pt x="1695029" y="2576407"/>
                </a:lnTo>
                <a:lnTo>
                  <a:pt x="1701974" y="2579330"/>
                </a:lnTo>
                <a:lnTo>
                  <a:pt x="1707400" y="2586909"/>
                </a:lnTo>
                <a:lnTo>
                  <a:pt x="1709244" y="2592864"/>
                </a:lnTo>
                <a:lnTo>
                  <a:pt x="1714996" y="2590265"/>
                </a:lnTo>
                <a:lnTo>
                  <a:pt x="1723026" y="2588533"/>
                </a:lnTo>
                <a:lnTo>
                  <a:pt x="1725088" y="2590915"/>
                </a:lnTo>
                <a:lnTo>
                  <a:pt x="1727909" y="2590915"/>
                </a:lnTo>
                <a:lnTo>
                  <a:pt x="1737893" y="2585285"/>
                </a:lnTo>
                <a:lnTo>
                  <a:pt x="1739304" y="2583228"/>
                </a:lnTo>
                <a:lnTo>
                  <a:pt x="1747768" y="2582470"/>
                </a:lnTo>
                <a:lnTo>
                  <a:pt x="1753194" y="2582362"/>
                </a:lnTo>
                <a:lnTo>
                  <a:pt x="1757535" y="2578680"/>
                </a:lnTo>
                <a:lnTo>
                  <a:pt x="1763937" y="2578572"/>
                </a:lnTo>
                <a:lnTo>
                  <a:pt x="1769038" y="2580088"/>
                </a:lnTo>
                <a:lnTo>
                  <a:pt x="1771099" y="2577381"/>
                </a:lnTo>
                <a:lnTo>
                  <a:pt x="1777827" y="2579222"/>
                </a:lnTo>
                <a:lnTo>
                  <a:pt x="1773269" y="2581604"/>
                </a:lnTo>
                <a:lnTo>
                  <a:pt x="1771967" y="2584527"/>
                </a:lnTo>
                <a:lnTo>
                  <a:pt x="1777502" y="2587018"/>
                </a:lnTo>
                <a:lnTo>
                  <a:pt x="1780323" y="2589724"/>
                </a:lnTo>
                <a:lnTo>
                  <a:pt x="1781300" y="2587126"/>
                </a:lnTo>
                <a:lnTo>
                  <a:pt x="1784121" y="2587018"/>
                </a:lnTo>
                <a:lnTo>
                  <a:pt x="1788679" y="2581496"/>
                </a:lnTo>
                <a:lnTo>
                  <a:pt x="1788896" y="2574566"/>
                </a:lnTo>
                <a:lnTo>
                  <a:pt x="1790089" y="2570452"/>
                </a:lnTo>
                <a:lnTo>
                  <a:pt x="1785423" y="2573592"/>
                </a:lnTo>
                <a:lnTo>
                  <a:pt x="1784555" y="2572725"/>
                </a:lnTo>
                <a:lnTo>
                  <a:pt x="1795299" y="2566987"/>
                </a:lnTo>
                <a:lnTo>
                  <a:pt x="1798880" y="2566229"/>
                </a:lnTo>
                <a:lnTo>
                  <a:pt x="1803437" y="2560707"/>
                </a:lnTo>
                <a:lnTo>
                  <a:pt x="1803437" y="2552371"/>
                </a:lnTo>
                <a:lnTo>
                  <a:pt x="1812119" y="2543060"/>
                </a:lnTo>
                <a:lnTo>
                  <a:pt x="1811467" y="2541327"/>
                </a:lnTo>
                <a:lnTo>
                  <a:pt x="1812119" y="2526602"/>
                </a:lnTo>
                <a:lnTo>
                  <a:pt x="1821125" y="2516641"/>
                </a:lnTo>
                <a:lnTo>
                  <a:pt x="1817327" y="2516209"/>
                </a:lnTo>
                <a:lnTo>
                  <a:pt x="1817327" y="2512852"/>
                </a:lnTo>
                <a:lnTo>
                  <a:pt x="1832845" y="2509062"/>
                </a:lnTo>
                <a:lnTo>
                  <a:pt x="1853138" y="2509387"/>
                </a:lnTo>
                <a:lnTo>
                  <a:pt x="1856610" y="2504515"/>
                </a:lnTo>
                <a:lnTo>
                  <a:pt x="1862470" y="2503866"/>
                </a:lnTo>
                <a:lnTo>
                  <a:pt x="1864532" y="2505923"/>
                </a:lnTo>
                <a:lnTo>
                  <a:pt x="1870392" y="2503216"/>
                </a:lnTo>
                <a:lnTo>
                  <a:pt x="1870066" y="2500726"/>
                </a:lnTo>
                <a:lnTo>
                  <a:pt x="1879399" y="2500401"/>
                </a:lnTo>
                <a:lnTo>
                  <a:pt x="1890467" y="2503216"/>
                </a:lnTo>
                <a:lnTo>
                  <a:pt x="1893180" y="2502133"/>
                </a:lnTo>
                <a:lnTo>
                  <a:pt x="1892204" y="2499427"/>
                </a:lnTo>
                <a:lnTo>
                  <a:pt x="1896653" y="2498993"/>
                </a:lnTo>
                <a:lnTo>
                  <a:pt x="1903598" y="2507763"/>
                </a:lnTo>
                <a:lnTo>
                  <a:pt x="1904032" y="2513068"/>
                </a:lnTo>
                <a:lnTo>
                  <a:pt x="1900234" y="2519023"/>
                </a:lnTo>
                <a:lnTo>
                  <a:pt x="1894808" y="2528010"/>
                </a:lnTo>
                <a:lnTo>
                  <a:pt x="1884391" y="2537429"/>
                </a:lnTo>
                <a:lnTo>
                  <a:pt x="1882329" y="2540894"/>
                </a:lnTo>
                <a:lnTo>
                  <a:pt x="1881786" y="2547282"/>
                </a:lnTo>
                <a:lnTo>
                  <a:pt x="1877120" y="2550205"/>
                </a:lnTo>
                <a:lnTo>
                  <a:pt x="1875600" y="2551937"/>
                </a:lnTo>
                <a:lnTo>
                  <a:pt x="1878639" y="2554536"/>
                </a:lnTo>
                <a:lnTo>
                  <a:pt x="1882654" y="2554536"/>
                </a:lnTo>
                <a:lnTo>
                  <a:pt x="1881786" y="2557892"/>
                </a:lnTo>
                <a:lnTo>
                  <a:pt x="1876468" y="2563631"/>
                </a:lnTo>
                <a:lnTo>
                  <a:pt x="1876468" y="2565472"/>
                </a:lnTo>
                <a:lnTo>
                  <a:pt x="1878531" y="2566554"/>
                </a:lnTo>
                <a:lnTo>
                  <a:pt x="1880918" y="2564064"/>
                </a:lnTo>
                <a:lnTo>
                  <a:pt x="1883088" y="2563739"/>
                </a:lnTo>
                <a:lnTo>
                  <a:pt x="1880701" y="2567745"/>
                </a:lnTo>
                <a:lnTo>
                  <a:pt x="1876903" y="2582686"/>
                </a:lnTo>
                <a:lnTo>
                  <a:pt x="1872454" y="2590374"/>
                </a:lnTo>
                <a:lnTo>
                  <a:pt x="1871477" y="2591457"/>
                </a:lnTo>
                <a:lnTo>
                  <a:pt x="1869524" y="2587018"/>
                </a:lnTo>
                <a:lnTo>
                  <a:pt x="1864206" y="2583661"/>
                </a:lnTo>
                <a:lnTo>
                  <a:pt x="1863989" y="2582362"/>
                </a:lnTo>
                <a:lnTo>
                  <a:pt x="1866268" y="2580088"/>
                </a:lnTo>
                <a:lnTo>
                  <a:pt x="1866811" y="2575324"/>
                </a:lnTo>
                <a:lnTo>
                  <a:pt x="1863989" y="2576190"/>
                </a:lnTo>
                <a:lnTo>
                  <a:pt x="1858781" y="2582145"/>
                </a:lnTo>
                <a:lnTo>
                  <a:pt x="1854657" y="2585718"/>
                </a:lnTo>
                <a:lnTo>
                  <a:pt x="1854765" y="2585826"/>
                </a:lnTo>
                <a:lnTo>
                  <a:pt x="1854766" y="2585826"/>
                </a:lnTo>
                <a:lnTo>
                  <a:pt x="1855959" y="2587991"/>
                </a:lnTo>
                <a:lnTo>
                  <a:pt x="1858347" y="2585718"/>
                </a:lnTo>
                <a:lnTo>
                  <a:pt x="1861385" y="2585718"/>
                </a:lnTo>
                <a:lnTo>
                  <a:pt x="1861928" y="2588316"/>
                </a:lnTo>
                <a:lnTo>
                  <a:pt x="1861277" y="2590914"/>
                </a:lnTo>
                <a:lnTo>
                  <a:pt x="1860626" y="2602608"/>
                </a:lnTo>
                <a:lnTo>
                  <a:pt x="1858021" y="2606939"/>
                </a:lnTo>
                <a:lnTo>
                  <a:pt x="1856936" y="2613977"/>
                </a:lnTo>
                <a:lnTo>
                  <a:pt x="1859541" y="2616575"/>
                </a:lnTo>
                <a:lnTo>
                  <a:pt x="1859324" y="2624479"/>
                </a:lnTo>
                <a:lnTo>
                  <a:pt x="1856936" y="2630975"/>
                </a:lnTo>
                <a:lnTo>
                  <a:pt x="1850208" y="2640286"/>
                </a:lnTo>
                <a:lnTo>
                  <a:pt x="1847603" y="2638013"/>
                </a:lnTo>
                <a:lnTo>
                  <a:pt x="1843155" y="2642668"/>
                </a:lnTo>
                <a:lnTo>
                  <a:pt x="1841310" y="2646673"/>
                </a:lnTo>
                <a:lnTo>
                  <a:pt x="1842830" y="2649380"/>
                </a:lnTo>
                <a:lnTo>
                  <a:pt x="1846302" y="2649380"/>
                </a:lnTo>
                <a:lnTo>
                  <a:pt x="1850100" y="2651978"/>
                </a:lnTo>
                <a:lnTo>
                  <a:pt x="1851294" y="2649055"/>
                </a:lnTo>
                <a:lnTo>
                  <a:pt x="1855526" y="2649597"/>
                </a:lnTo>
                <a:lnTo>
                  <a:pt x="1857479" y="2651113"/>
                </a:lnTo>
                <a:lnTo>
                  <a:pt x="1857479" y="2651113"/>
                </a:lnTo>
                <a:lnTo>
                  <a:pt x="1860409" y="2653495"/>
                </a:lnTo>
                <a:lnTo>
                  <a:pt x="1866594" y="2650030"/>
                </a:lnTo>
                <a:lnTo>
                  <a:pt x="1880701" y="2649706"/>
                </a:lnTo>
                <a:lnTo>
                  <a:pt x="1890902" y="2650571"/>
                </a:lnTo>
                <a:lnTo>
                  <a:pt x="1898823" y="2648514"/>
                </a:lnTo>
                <a:lnTo>
                  <a:pt x="1902730" y="2649922"/>
                </a:lnTo>
                <a:lnTo>
                  <a:pt x="1905226" y="2648190"/>
                </a:lnTo>
                <a:lnTo>
                  <a:pt x="1908916" y="2646674"/>
                </a:lnTo>
                <a:lnTo>
                  <a:pt x="1907071" y="2645267"/>
                </a:lnTo>
                <a:lnTo>
                  <a:pt x="1908156" y="2642343"/>
                </a:lnTo>
                <a:lnTo>
                  <a:pt x="1913147" y="2644725"/>
                </a:lnTo>
                <a:lnTo>
                  <a:pt x="1918682" y="2649380"/>
                </a:lnTo>
                <a:lnTo>
                  <a:pt x="1928774" y="2649922"/>
                </a:lnTo>
                <a:lnTo>
                  <a:pt x="1939300" y="2650896"/>
                </a:lnTo>
                <a:lnTo>
                  <a:pt x="1942447" y="2653170"/>
                </a:lnTo>
                <a:lnTo>
                  <a:pt x="1943424" y="2650247"/>
                </a:lnTo>
                <a:lnTo>
                  <a:pt x="1946028" y="2651437"/>
                </a:lnTo>
                <a:lnTo>
                  <a:pt x="1949935" y="2650571"/>
                </a:lnTo>
                <a:lnTo>
                  <a:pt x="1954167" y="2650896"/>
                </a:lnTo>
                <a:lnTo>
                  <a:pt x="1960027" y="2654145"/>
                </a:lnTo>
                <a:lnTo>
                  <a:pt x="1964259" y="2657610"/>
                </a:lnTo>
                <a:lnTo>
                  <a:pt x="1963391" y="2658259"/>
                </a:lnTo>
                <a:lnTo>
                  <a:pt x="1957097" y="2656418"/>
                </a:lnTo>
                <a:lnTo>
                  <a:pt x="1953299" y="2655552"/>
                </a:lnTo>
                <a:lnTo>
                  <a:pt x="1951237" y="2656094"/>
                </a:lnTo>
                <a:lnTo>
                  <a:pt x="1951562" y="2658259"/>
                </a:lnTo>
                <a:lnTo>
                  <a:pt x="1948416" y="2659125"/>
                </a:lnTo>
                <a:lnTo>
                  <a:pt x="1947439" y="2661074"/>
                </a:lnTo>
                <a:lnTo>
                  <a:pt x="1951346" y="2661074"/>
                </a:lnTo>
                <a:lnTo>
                  <a:pt x="1955795" y="2661615"/>
                </a:lnTo>
                <a:lnTo>
                  <a:pt x="1958291" y="2663456"/>
                </a:lnTo>
                <a:lnTo>
                  <a:pt x="1964476" y="2664106"/>
                </a:lnTo>
                <a:lnTo>
                  <a:pt x="1969576" y="2664322"/>
                </a:lnTo>
                <a:lnTo>
                  <a:pt x="1967514" y="2660424"/>
                </a:lnTo>
                <a:lnTo>
                  <a:pt x="1967840" y="2659558"/>
                </a:lnTo>
                <a:lnTo>
                  <a:pt x="1973049" y="2661723"/>
                </a:lnTo>
                <a:lnTo>
                  <a:pt x="1978583" y="2666271"/>
                </a:lnTo>
                <a:lnTo>
                  <a:pt x="1979994" y="2668653"/>
                </a:lnTo>
                <a:lnTo>
                  <a:pt x="1978475" y="2670169"/>
                </a:lnTo>
                <a:lnTo>
                  <a:pt x="1976305" y="2670602"/>
                </a:lnTo>
                <a:lnTo>
                  <a:pt x="1977823" y="2670602"/>
                </a:lnTo>
                <a:lnTo>
                  <a:pt x="1976412" y="2672118"/>
                </a:lnTo>
                <a:lnTo>
                  <a:pt x="1975002" y="2674716"/>
                </a:lnTo>
                <a:lnTo>
                  <a:pt x="1975002" y="2681104"/>
                </a:lnTo>
                <a:lnTo>
                  <a:pt x="1975653" y="2685110"/>
                </a:lnTo>
                <a:lnTo>
                  <a:pt x="1974242" y="2688141"/>
                </a:lnTo>
                <a:lnTo>
                  <a:pt x="1974242" y="2690198"/>
                </a:lnTo>
                <a:lnTo>
                  <a:pt x="1976521" y="2691823"/>
                </a:lnTo>
                <a:lnTo>
                  <a:pt x="1976521" y="2694205"/>
                </a:lnTo>
                <a:lnTo>
                  <a:pt x="1974676" y="2697453"/>
                </a:lnTo>
                <a:lnTo>
                  <a:pt x="1970769" y="2702325"/>
                </a:lnTo>
                <a:lnTo>
                  <a:pt x="1969250" y="2708280"/>
                </a:lnTo>
                <a:lnTo>
                  <a:pt x="1968382" y="2706764"/>
                </a:lnTo>
                <a:lnTo>
                  <a:pt x="1966863" y="2706764"/>
                </a:lnTo>
                <a:lnTo>
                  <a:pt x="1965235" y="2708496"/>
                </a:lnTo>
                <a:lnTo>
                  <a:pt x="1965235" y="2710879"/>
                </a:lnTo>
                <a:lnTo>
                  <a:pt x="1966755" y="2711528"/>
                </a:lnTo>
                <a:lnTo>
                  <a:pt x="1968600" y="2714235"/>
                </a:lnTo>
                <a:lnTo>
                  <a:pt x="1967731" y="2716617"/>
                </a:lnTo>
                <a:lnTo>
                  <a:pt x="1967731" y="2727444"/>
                </a:lnTo>
                <a:lnTo>
                  <a:pt x="1966646" y="2736647"/>
                </a:lnTo>
                <a:lnTo>
                  <a:pt x="1964802" y="2739787"/>
                </a:lnTo>
                <a:lnTo>
                  <a:pt x="1963499" y="2739787"/>
                </a:lnTo>
                <a:lnTo>
                  <a:pt x="1963499" y="2734807"/>
                </a:lnTo>
                <a:cubicBezTo>
                  <a:pt x="1963499" y="2733940"/>
                  <a:pt x="1963499" y="2731017"/>
                  <a:pt x="1963499" y="2731017"/>
                </a:cubicBezTo>
                <a:lnTo>
                  <a:pt x="1964367" y="2729177"/>
                </a:lnTo>
                <a:lnTo>
                  <a:pt x="1962305" y="2729177"/>
                </a:lnTo>
                <a:lnTo>
                  <a:pt x="1959592" y="2736214"/>
                </a:lnTo>
                <a:lnTo>
                  <a:pt x="1959592" y="2739462"/>
                </a:lnTo>
                <a:lnTo>
                  <a:pt x="1960244" y="2742602"/>
                </a:lnTo>
                <a:lnTo>
                  <a:pt x="1957965" y="2747799"/>
                </a:lnTo>
                <a:lnTo>
                  <a:pt x="1956771" y="2751588"/>
                </a:lnTo>
                <a:lnTo>
                  <a:pt x="1956771" y="2755053"/>
                </a:lnTo>
                <a:lnTo>
                  <a:pt x="1959159" y="2753646"/>
                </a:lnTo>
                <a:lnTo>
                  <a:pt x="1959809" y="2751372"/>
                </a:lnTo>
                <a:lnTo>
                  <a:pt x="1961220" y="2748665"/>
                </a:lnTo>
                <a:lnTo>
                  <a:pt x="1961220" y="2753646"/>
                </a:lnTo>
                <a:lnTo>
                  <a:pt x="1959701" y="2757435"/>
                </a:lnTo>
                <a:lnTo>
                  <a:pt x="1956771" y="2763065"/>
                </a:lnTo>
                <a:lnTo>
                  <a:pt x="1957965" y="2768046"/>
                </a:lnTo>
                <a:lnTo>
                  <a:pt x="1960569" y="2771185"/>
                </a:lnTo>
                <a:lnTo>
                  <a:pt x="1961220" y="2774758"/>
                </a:lnTo>
                <a:lnTo>
                  <a:pt x="1958941" y="2776166"/>
                </a:lnTo>
                <a:lnTo>
                  <a:pt x="1958562" y="2776166"/>
                </a:lnTo>
                <a:lnTo>
                  <a:pt x="1957749" y="2777464"/>
                </a:lnTo>
                <a:lnTo>
                  <a:pt x="1962740" y="2777464"/>
                </a:lnTo>
                <a:lnTo>
                  <a:pt x="1963392" y="2775191"/>
                </a:lnTo>
                <a:lnTo>
                  <a:pt x="1965670" y="2774758"/>
                </a:lnTo>
                <a:lnTo>
                  <a:pt x="1967298" y="2778980"/>
                </a:lnTo>
                <a:lnTo>
                  <a:pt x="1968058" y="2784068"/>
                </a:lnTo>
                <a:lnTo>
                  <a:pt x="1970988" y="2788725"/>
                </a:lnTo>
                <a:lnTo>
                  <a:pt x="1975762" y="2793596"/>
                </a:lnTo>
                <a:lnTo>
                  <a:pt x="1977282" y="2797494"/>
                </a:lnTo>
                <a:lnTo>
                  <a:pt x="1979886" y="2800634"/>
                </a:lnTo>
                <a:lnTo>
                  <a:pt x="1983684" y="2801825"/>
                </a:lnTo>
                <a:lnTo>
                  <a:pt x="1987048" y="2804315"/>
                </a:lnTo>
                <a:lnTo>
                  <a:pt x="1987482" y="2805506"/>
                </a:lnTo>
                <a:lnTo>
                  <a:pt x="1983358" y="2805290"/>
                </a:lnTo>
                <a:lnTo>
                  <a:pt x="1981080" y="2806805"/>
                </a:lnTo>
                <a:lnTo>
                  <a:pt x="1981080" y="2806806"/>
                </a:lnTo>
                <a:lnTo>
                  <a:pt x="1983358" y="2805291"/>
                </a:lnTo>
                <a:lnTo>
                  <a:pt x="1987481" y="2805507"/>
                </a:lnTo>
                <a:lnTo>
                  <a:pt x="1988458" y="2808106"/>
                </a:lnTo>
                <a:lnTo>
                  <a:pt x="1991063" y="2810812"/>
                </a:lnTo>
                <a:lnTo>
                  <a:pt x="1993992" y="2811787"/>
                </a:lnTo>
                <a:lnTo>
                  <a:pt x="1995946" y="2811679"/>
                </a:lnTo>
                <a:lnTo>
                  <a:pt x="1997140" y="2813086"/>
                </a:lnTo>
                <a:lnTo>
                  <a:pt x="1995512" y="2813628"/>
                </a:lnTo>
                <a:lnTo>
                  <a:pt x="1994644" y="2814602"/>
                </a:lnTo>
                <a:lnTo>
                  <a:pt x="1995837" y="2816442"/>
                </a:lnTo>
                <a:lnTo>
                  <a:pt x="1999744" y="2818499"/>
                </a:lnTo>
                <a:lnTo>
                  <a:pt x="2003542" y="2817850"/>
                </a:lnTo>
                <a:lnTo>
                  <a:pt x="2003542" y="2815468"/>
                </a:lnTo>
                <a:lnTo>
                  <a:pt x="2000829" y="2813736"/>
                </a:lnTo>
                <a:lnTo>
                  <a:pt x="2002240" y="2812545"/>
                </a:lnTo>
                <a:lnTo>
                  <a:pt x="2007666" y="2815035"/>
                </a:lnTo>
                <a:lnTo>
                  <a:pt x="2016022" y="2820773"/>
                </a:lnTo>
                <a:lnTo>
                  <a:pt x="2023726" y="2821098"/>
                </a:lnTo>
                <a:lnTo>
                  <a:pt x="2027850" y="2820557"/>
                </a:lnTo>
                <a:lnTo>
                  <a:pt x="2032191" y="2816442"/>
                </a:lnTo>
                <a:lnTo>
                  <a:pt x="2046840" y="2809080"/>
                </a:lnTo>
                <a:lnTo>
                  <a:pt x="2054002" y="2807348"/>
                </a:lnTo>
                <a:lnTo>
                  <a:pt x="2060730" y="2802584"/>
                </a:lnTo>
                <a:lnTo>
                  <a:pt x="2063226" y="2802151"/>
                </a:lnTo>
                <a:lnTo>
                  <a:pt x="2066807" y="2803775"/>
                </a:lnTo>
                <a:lnTo>
                  <a:pt x="2068218" y="2806049"/>
                </a:lnTo>
                <a:lnTo>
                  <a:pt x="2071582" y="2806806"/>
                </a:lnTo>
                <a:lnTo>
                  <a:pt x="2082108" y="2806806"/>
                </a:lnTo>
                <a:lnTo>
                  <a:pt x="2087968" y="2808214"/>
                </a:lnTo>
                <a:lnTo>
                  <a:pt x="2097951" y="2814061"/>
                </a:lnTo>
                <a:lnTo>
                  <a:pt x="2102292" y="2819041"/>
                </a:lnTo>
                <a:lnTo>
                  <a:pt x="2103160" y="2821639"/>
                </a:lnTo>
                <a:lnTo>
                  <a:pt x="2106415" y="2823480"/>
                </a:lnTo>
                <a:lnTo>
                  <a:pt x="2108369" y="2825212"/>
                </a:lnTo>
                <a:lnTo>
                  <a:pt x="2107392" y="2829434"/>
                </a:lnTo>
                <a:lnTo>
                  <a:pt x="2108151" y="2832466"/>
                </a:lnTo>
                <a:lnTo>
                  <a:pt x="2110322" y="2838421"/>
                </a:lnTo>
                <a:lnTo>
                  <a:pt x="2107939" y="2842657"/>
                </a:lnTo>
                <a:lnTo>
                  <a:pt x="2110323" y="2838421"/>
                </a:lnTo>
                <a:lnTo>
                  <a:pt x="2108152" y="2832466"/>
                </a:lnTo>
                <a:lnTo>
                  <a:pt x="2107393" y="2829434"/>
                </a:lnTo>
                <a:lnTo>
                  <a:pt x="2108369" y="2825211"/>
                </a:lnTo>
                <a:lnTo>
                  <a:pt x="2113687" y="2829867"/>
                </a:lnTo>
                <a:lnTo>
                  <a:pt x="2115206" y="2834415"/>
                </a:lnTo>
                <a:lnTo>
                  <a:pt x="2118787" y="2835931"/>
                </a:lnTo>
                <a:lnTo>
                  <a:pt x="2117268" y="2838637"/>
                </a:lnTo>
                <a:lnTo>
                  <a:pt x="2116725" y="2840370"/>
                </a:lnTo>
                <a:lnTo>
                  <a:pt x="2121066" y="2843943"/>
                </a:lnTo>
                <a:lnTo>
                  <a:pt x="2123670" y="2844159"/>
                </a:lnTo>
                <a:lnTo>
                  <a:pt x="2126057" y="2838962"/>
                </a:lnTo>
                <a:lnTo>
                  <a:pt x="2126057" y="2833115"/>
                </a:lnTo>
                <a:lnTo>
                  <a:pt x="2121934" y="2828460"/>
                </a:lnTo>
                <a:lnTo>
                  <a:pt x="2120523" y="2824021"/>
                </a:lnTo>
                <a:lnTo>
                  <a:pt x="2124539" y="2823804"/>
                </a:lnTo>
                <a:lnTo>
                  <a:pt x="2127252" y="2823479"/>
                </a:lnTo>
                <a:lnTo>
                  <a:pt x="2131918" y="2816658"/>
                </a:lnTo>
                <a:lnTo>
                  <a:pt x="2134522" y="2815250"/>
                </a:lnTo>
                <a:lnTo>
                  <a:pt x="2140707" y="2809296"/>
                </a:lnTo>
                <a:lnTo>
                  <a:pt x="2144180" y="2807347"/>
                </a:lnTo>
                <a:lnTo>
                  <a:pt x="2148629" y="2807023"/>
                </a:lnTo>
                <a:lnTo>
                  <a:pt x="2152102" y="2805290"/>
                </a:lnTo>
                <a:lnTo>
                  <a:pt x="2153404" y="2800959"/>
                </a:lnTo>
                <a:lnTo>
                  <a:pt x="2152753" y="2797061"/>
                </a:lnTo>
                <a:lnTo>
                  <a:pt x="2151017" y="2795113"/>
                </a:lnTo>
                <a:lnTo>
                  <a:pt x="2149172" y="2795979"/>
                </a:lnTo>
                <a:lnTo>
                  <a:pt x="2150040" y="2792622"/>
                </a:lnTo>
                <a:lnTo>
                  <a:pt x="2156443" y="2780496"/>
                </a:lnTo>
                <a:lnTo>
                  <a:pt x="2161759" y="2774324"/>
                </a:lnTo>
                <a:lnTo>
                  <a:pt x="2163604" y="2771076"/>
                </a:lnTo>
                <a:lnTo>
                  <a:pt x="2171526" y="2766204"/>
                </a:lnTo>
                <a:lnTo>
                  <a:pt x="2174673" y="2766096"/>
                </a:lnTo>
                <a:lnTo>
                  <a:pt x="2180642" y="2768695"/>
                </a:lnTo>
                <a:lnTo>
                  <a:pt x="2185634" y="2769128"/>
                </a:lnTo>
                <a:lnTo>
                  <a:pt x="2182269" y="2770426"/>
                </a:lnTo>
                <a:lnTo>
                  <a:pt x="2182704" y="2771618"/>
                </a:lnTo>
                <a:lnTo>
                  <a:pt x="2181835" y="2775407"/>
                </a:lnTo>
                <a:lnTo>
                  <a:pt x="2184331" y="2776381"/>
                </a:lnTo>
                <a:lnTo>
                  <a:pt x="2187912" y="2773134"/>
                </a:lnTo>
                <a:lnTo>
                  <a:pt x="2188455" y="2769344"/>
                </a:lnTo>
                <a:lnTo>
                  <a:pt x="2186935" y="2765554"/>
                </a:lnTo>
                <a:lnTo>
                  <a:pt x="2186502" y="2762631"/>
                </a:lnTo>
                <a:lnTo>
                  <a:pt x="2191385" y="2760032"/>
                </a:lnTo>
                <a:lnTo>
                  <a:pt x="2199089" y="2760899"/>
                </a:lnTo>
                <a:lnTo>
                  <a:pt x="2206143" y="2760357"/>
                </a:lnTo>
                <a:lnTo>
                  <a:pt x="2212546" y="2759058"/>
                </a:lnTo>
                <a:lnTo>
                  <a:pt x="2218080" y="2755052"/>
                </a:lnTo>
                <a:lnTo>
                  <a:pt x="2226327" y="2750071"/>
                </a:lnTo>
                <a:lnTo>
                  <a:pt x="2232513" y="2747040"/>
                </a:lnTo>
                <a:lnTo>
                  <a:pt x="2234141" y="2744767"/>
                </a:lnTo>
                <a:lnTo>
                  <a:pt x="2232078" y="2742385"/>
                </a:lnTo>
                <a:lnTo>
                  <a:pt x="2233923" y="2740111"/>
                </a:lnTo>
                <a:lnTo>
                  <a:pt x="2237396" y="2738704"/>
                </a:lnTo>
                <a:lnTo>
                  <a:pt x="2241302" y="2739245"/>
                </a:lnTo>
                <a:lnTo>
                  <a:pt x="2243255" y="2737729"/>
                </a:lnTo>
                <a:lnTo>
                  <a:pt x="2246837" y="2737188"/>
                </a:lnTo>
                <a:lnTo>
                  <a:pt x="2247162" y="2735022"/>
                </a:lnTo>
                <a:lnTo>
                  <a:pt x="2248356" y="2732857"/>
                </a:lnTo>
                <a:lnTo>
                  <a:pt x="2251828" y="2733073"/>
                </a:lnTo>
                <a:lnTo>
                  <a:pt x="2260510" y="2737729"/>
                </a:lnTo>
                <a:lnTo>
                  <a:pt x="2263223" y="2741302"/>
                </a:lnTo>
                <a:lnTo>
                  <a:pt x="2262138" y="2744117"/>
                </a:lnTo>
                <a:lnTo>
                  <a:pt x="2259425" y="2746174"/>
                </a:lnTo>
                <a:lnTo>
                  <a:pt x="2258774" y="2746932"/>
                </a:lnTo>
                <a:lnTo>
                  <a:pt x="2253782" y="2752670"/>
                </a:lnTo>
                <a:lnTo>
                  <a:pt x="2248031" y="2754078"/>
                </a:lnTo>
                <a:lnTo>
                  <a:pt x="2242496" y="2756460"/>
                </a:lnTo>
                <a:lnTo>
                  <a:pt x="2241303" y="2759708"/>
                </a:lnTo>
                <a:lnTo>
                  <a:pt x="2243256" y="2763714"/>
                </a:lnTo>
                <a:lnTo>
                  <a:pt x="2247054" y="2766421"/>
                </a:lnTo>
                <a:lnTo>
                  <a:pt x="2247163" y="2769344"/>
                </a:lnTo>
                <a:lnTo>
                  <a:pt x="2246837" y="2771618"/>
                </a:lnTo>
                <a:lnTo>
                  <a:pt x="2249659" y="2776490"/>
                </a:lnTo>
                <a:lnTo>
                  <a:pt x="2249659" y="2784069"/>
                </a:lnTo>
                <a:lnTo>
                  <a:pt x="2240651" y="2793055"/>
                </a:lnTo>
                <a:lnTo>
                  <a:pt x="2240326" y="2795871"/>
                </a:lnTo>
                <a:lnTo>
                  <a:pt x="2235877" y="2799660"/>
                </a:lnTo>
                <a:lnTo>
                  <a:pt x="2237287" y="2804423"/>
                </a:lnTo>
                <a:lnTo>
                  <a:pt x="2242062" y="2809945"/>
                </a:lnTo>
                <a:lnTo>
                  <a:pt x="2242062" y="2816875"/>
                </a:lnTo>
                <a:lnTo>
                  <a:pt x="2246186" y="2817524"/>
                </a:lnTo>
                <a:lnTo>
                  <a:pt x="2254542" y="2812652"/>
                </a:lnTo>
                <a:lnTo>
                  <a:pt x="2257906" y="2805506"/>
                </a:lnTo>
                <a:lnTo>
                  <a:pt x="2255844" y="2799984"/>
                </a:lnTo>
                <a:lnTo>
                  <a:pt x="2254867" y="2793380"/>
                </a:lnTo>
                <a:lnTo>
                  <a:pt x="2254867" y="2783744"/>
                </a:lnTo>
                <a:lnTo>
                  <a:pt x="2252154" y="2778872"/>
                </a:lnTo>
                <a:lnTo>
                  <a:pt x="2252154" y="2774866"/>
                </a:lnTo>
                <a:lnTo>
                  <a:pt x="2255410" y="2770751"/>
                </a:lnTo>
                <a:lnTo>
                  <a:pt x="2265936" y="2766204"/>
                </a:lnTo>
                <a:lnTo>
                  <a:pt x="2276462" y="2764364"/>
                </a:lnTo>
                <a:lnTo>
                  <a:pt x="2281996" y="2761441"/>
                </a:lnTo>
                <a:lnTo>
                  <a:pt x="2282213" y="2759600"/>
                </a:lnTo>
                <a:lnTo>
                  <a:pt x="2283190" y="2758192"/>
                </a:lnTo>
                <a:lnTo>
                  <a:pt x="2285469" y="2759708"/>
                </a:lnTo>
                <a:lnTo>
                  <a:pt x="2290244" y="2761982"/>
                </a:lnTo>
                <a:lnTo>
                  <a:pt x="2294367" y="2760790"/>
                </a:lnTo>
                <a:lnTo>
                  <a:pt x="2295127" y="2757867"/>
                </a:lnTo>
                <a:lnTo>
                  <a:pt x="2291329" y="2753753"/>
                </a:lnTo>
                <a:lnTo>
                  <a:pt x="2286988" y="2753428"/>
                </a:lnTo>
                <a:lnTo>
                  <a:pt x="2282539" y="2755810"/>
                </a:lnTo>
                <a:lnTo>
                  <a:pt x="2280260" y="2753753"/>
                </a:lnTo>
                <a:lnTo>
                  <a:pt x="2278741" y="2748556"/>
                </a:lnTo>
                <a:lnTo>
                  <a:pt x="2285252" y="2740869"/>
                </a:lnTo>
                <a:lnTo>
                  <a:pt x="2291980" y="2738054"/>
                </a:lnTo>
                <a:lnTo>
                  <a:pt x="2294259" y="2738920"/>
                </a:lnTo>
                <a:lnTo>
                  <a:pt x="2295887" y="2746823"/>
                </a:lnTo>
                <a:lnTo>
                  <a:pt x="2295887" y="2753211"/>
                </a:lnTo>
                <a:lnTo>
                  <a:pt x="2299901" y="2759600"/>
                </a:lnTo>
                <a:lnTo>
                  <a:pt x="2303049" y="2758517"/>
                </a:lnTo>
                <a:lnTo>
                  <a:pt x="2306738" y="2758733"/>
                </a:lnTo>
                <a:lnTo>
                  <a:pt x="2311947" y="2761657"/>
                </a:lnTo>
                <a:lnTo>
                  <a:pt x="2323341" y="2760790"/>
                </a:lnTo>
                <a:lnTo>
                  <a:pt x="2327790" y="2761982"/>
                </a:lnTo>
                <a:lnTo>
                  <a:pt x="2332674" y="2768478"/>
                </a:lnTo>
                <a:lnTo>
                  <a:pt x="2333108" y="2773350"/>
                </a:lnTo>
                <a:lnTo>
                  <a:pt x="2330395" y="2773458"/>
                </a:lnTo>
                <a:lnTo>
                  <a:pt x="2330395" y="2777573"/>
                </a:lnTo>
                <a:lnTo>
                  <a:pt x="2332131" y="2781037"/>
                </a:lnTo>
                <a:lnTo>
                  <a:pt x="2336472" y="2783311"/>
                </a:lnTo>
                <a:lnTo>
                  <a:pt x="2347432" y="2783311"/>
                </a:lnTo>
                <a:lnTo>
                  <a:pt x="2370003" y="2779521"/>
                </a:lnTo>
                <a:lnTo>
                  <a:pt x="2381723" y="2778655"/>
                </a:lnTo>
                <a:lnTo>
                  <a:pt x="2384871" y="2779196"/>
                </a:lnTo>
                <a:lnTo>
                  <a:pt x="2386932" y="2783419"/>
                </a:lnTo>
                <a:lnTo>
                  <a:pt x="2397458" y="2790457"/>
                </a:lnTo>
                <a:lnTo>
                  <a:pt x="2401039" y="2791756"/>
                </a:lnTo>
                <a:lnTo>
                  <a:pt x="2403318" y="2790349"/>
                </a:lnTo>
                <a:lnTo>
                  <a:pt x="2410372" y="2789483"/>
                </a:lnTo>
                <a:lnTo>
                  <a:pt x="2412433" y="2786884"/>
                </a:lnTo>
                <a:lnTo>
                  <a:pt x="2417751" y="2784177"/>
                </a:lnTo>
                <a:lnTo>
                  <a:pt x="2422200" y="2783094"/>
                </a:lnTo>
                <a:lnTo>
                  <a:pt x="2430990" y="2776923"/>
                </a:lnTo>
                <a:lnTo>
                  <a:pt x="2435331" y="2776382"/>
                </a:lnTo>
                <a:lnTo>
                  <a:pt x="2438911" y="2777898"/>
                </a:lnTo>
                <a:lnTo>
                  <a:pt x="2449438" y="2774216"/>
                </a:lnTo>
                <a:lnTo>
                  <a:pt x="2454646" y="2774541"/>
                </a:lnTo>
                <a:lnTo>
                  <a:pt x="2462351" y="2773458"/>
                </a:lnTo>
                <a:lnTo>
                  <a:pt x="2473094" y="2775732"/>
                </a:lnTo>
                <a:lnTo>
                  <a:pt x="2479279" y="2774541"/>
                </a:lnTo>
                <a:lnTo>
                  <a:pt x="2478629" y="2778439"/>
                </a:lnTo>
                <a:lnTo>
                  <a:pt x="2471792" y="2779196"/>
                </a:lnTo>
                <a:lnTo>
                  <a:pt x="2467885" y="2781795"/>
                </a:lnTo>
                <a:lnTo>
                  <a:pt x="2457251" y="2781363"/>
                </a:lnTo>
                <a:lnTo>
                  <a:pt x="2454646" y="2783419"/>
                </a:lnTo>
                <a:lnTo>
                  <a:pt x="2455949" y="2786018"/>
                </a:lnTo>
                <a:lnTo>
                  <a:pt x="2460832" y="2788400"/>
                </a:lnTo>
                <a:lnTo>
                  <a:pt x="2462677" y="2793055"/>
                </a:lnTo>
                <a:lnTo>
                  <a:pt x="2465824" y="2797169"/>
                </a:lnTo>
                <a:lnTo>
                  <a:pt x="2465607" y="2793272"/>
                </a:lnTo>
                <a:lnTo>
                  <a:pt x="2468211" y="2793055"/>
                </a:lnTo>
                <a:lnTo>
                  <a:pt x="2473094" y="2795112"/>
                </a:lnTo>
                <a:lnTo>
                  <a:pt x="2474613" y="2797386"/>
                </a:lnTo>
                <a:lnTo>
                  <a:pt x="2479279" y="2797603"/>
                </a:lnTo>
                <a:lnTo>
                  <a:pt x="2482210" y="2799443"/>
                </a:lnTo>
                <a:lnTo>
                  <a:pt x="2484597" y="2801825"/>
                </a:lnTo>
                <a:lnTo>
                  <a:pt x="2492519" y="2803882"/>
                </a:lnTo>
                <a:lnTo>
                  <a:pt x="2499030" y="2807347"/>
                </a:lnTo>
                <a:lnTo>
                  <a:pt x="2500441" y="2811136"/>
                </a:lnTo>
                <a:lnTo>
                  <a:pt x="2500115" y="2812652"/>
                </a:lnTo>
                <a:lnTo>
                  <a:pt x="2503370" y="2814926"/>
                </a:lnTo>
                <a:lnTo>
                  <a:pt x="2502394" y="2817308"/>
                </a:lnTo>
                <a:lnTo>
                  <a:pt x="2497402" y="2821097"/>
                </a:lnTo>
                <a:lnTo>
                  <a:pt x="2495231" y="2824887"/>
                </a:lnTo>
                <a:lnTo>
                  <a:pt x="2491868" y="2827161"/>
                </a:lnTo>
                <a:lnTo>
                  <a:pt x="2489046" y="2826727"/>
                </a:lnTo>
                <a:lnTo>
                  <a:pt x="2484054" y="2827702"/>
                </a:lnTo>
                <a:lnTo>
                  <a:pt x="2486985" y="2828027"/>
                </a:lnTo>
                <a:lnTo>
                  <a:pt x="2492519" y="2828677"/>
                </a:lnTo>
                <a:lnTo>
                  <a:pt x="2500224" y="2827377"/>
                </a:lnTo>
                <a:lnTo>
                  <a:pt x="2504130" y="2825645"/>
                </a:lnTo>
                <a:lnTo>
                  <a:pt x="2506735" y="2825645"/>
                </a:lnTo>
                <a:lnTo>
                  <a:pt x="2511618" y="2826619"/>
                </a:lnTo>
                <a:lnTo>
                  <a:pt x="2514873" y="2825320"/>
                </a:lnTo>
                <a:lnTo>
                  <a:pt x="2518129" y="2825428"/>
                </a:lnTo>
                <a:lnTo>
                  <a:pt x="2527244" y="2829542"/>
                </a:lnTo>
                <a:lnTo>
                  <a:pt x="2528437" y="2830409"/>
                </a:lnTo>
                <a:lnTo>
                  <a:pt x="2529848" y="2831166"/>
                </a:lnTo>
                <a:lnTo>
                  <a:pt x="2534188" y="2832140"/>
                </a:lnTo>
                <a:lnTo>
                  <a:pt x="2538855" y="2836580"/>
                </a:lnTo>
                <a:lnTo>
                  <a:pt x="2539397" y="2840370"/>
                </a:lnTo>
                <a:lnTo>
                  <a:pt x="2545692" y="2847407"/>
                </a:lnTo>
                <a:lnTo>
                  <a:pt x="2555133" y="2853254"/>
                </a:lnTo>
                <a:lnTo>
                  <a:pt x="2558714" y="2855960"/>
                </a:lnTo>
                <a:lnTo>
                  <a:pt x="2561209" y="2863864"/>
                </a:lnTo>
                <a:lnTo>
                  <a:pt x="2559582" y="2868086"/>
                </a:lnTo>
                <a:lnTo>
                  <a:pt x="2558605" y="2875557"/>
                </a:lnTo>
                <a:lnTo>
                  <a:pt x="2559473" y="2881188"/>
                </a:lnTo>
                <a:lnTo>
                  <a:pt x="2560450" y="2876749"/>
                </a:lnTo>
                <a:lnTo>
                  <a:pt x="2563705" y="2873067"/>
                </a:lnTo>
                <a:lnTo>
                  <a:pt x="2568588" y="2871443"/>
                </a:lnTo>
                <a:lnTo>
                  <a:pt x="2571518" y="2869927"/>
                </a:lnTo>
                <a:lnTo>
                  <a:pt x="2575968" y="2873392"/>
                </a:lnTo>
                <a:lnTo>
                  <a:pt x="2583672" y="2881404"/>
                </a:lnTo>
                <a:lnTo>
                  <a:pt x="2592679" y="2883894"/>
                </a:lnTo>
                <a:lnTo>
                  <a:pt x="2594199" y="2887467"/>
                </a:lnTo>
                <a:lnTo>
                  <a:pt x="2594199" y="2893314"/>
                </a:lnTo>
                <a:lnTo>
                  <a:pt x="2595609" y="2898077"/>
                </a:lnTo>
                <a:lnTo>
                  <a:pt x="2595609" y="2898078"/>
                </a:lnTo>
                <a:lnTo>
                  <a:pt x="2596586" y="2892556"/>
                </a:lnTo>
                <a:lnTo>
                  <a:pt x="2602663" y="2890390"/>
                </a:lnTo>
                <a:lnTo>
                  <a:pt x="2613189" y="2890174"/>
                </a:lnTo>
                <a:lnTo>
                  <a:pt x="2620894" y="2892448"/>
                </a:lnTo>
                <a:lnTo>
                  <a:pt x="2630226" y="2890499"/>
                </a:lnTo>
                <a:lnTo>
                  <a:pt x="2637605" y="2891256"/>
                </a:lnTo>
                <a:lnTo>
                  <a:pt x="2641946" y="2889307"/>
                </a:lnTo>
                <a:lnTo>
                  <a:pt x="2644985" y="2888983"/>
                </a:lnTo>
                <a:lnTo>
                  <a:pt x="2654534" y="2892556"/>
                </a:lnTo>
                <a:lnTo>
                  <a:pt x="2662781" y="2893964"/>
                </a:lnTo>
                <a:lnTo>
                  <a:pt x="2667773" y="2896237"/>
                </a:lnTo>
                <a:lnTo>
                  <a:pt x="2668099" y="2899485"/>
                </a:lnTo>
                <a:lnTo>
                  <a:pt x="2663433" y="2905115"/>
                </a:lnTo>
                <a:lnTo>
                  <a:pt x="2663215" y="2905332"/>
                </a:lnTo>
                <a:lnTo>
                  <a:pt x="2661370" y="2907389"/>
                </a:lnTo>
                <a:lnTo>
                  <a:pt x="2658570" y="2911141"/>
                </a:lnTo>
                <a:lnTo>
                  <a:pt x="2661370" y="2907390"/>
                </a:lnTo>
                <a:lnTo>
                  <a:pt x="2663215" y="2905333"/>
                </a:lnTo>
                <a:lnTo>
                  <a:pt x="2663432" y="2905117"/>
                </a:lnTo>
                <a:lnTo>
                  <a:pt x="2667773" y="2902734"/>
                </a:lnTo>
                <a:lnTo>
                  <a:pt x="2672113" y="2899703"/>
                </a:lnTo>
                <a:lnTo>
                  <a:pt x="2679059" y="2900352"/>
                </a:lnTo>
                <a:lnTo>
                  <a:pt x="2685135" y="2903925"/>
                </a:lnTo>
                <a:lnTo>
                  <a:pt x="2698591" y="2907390"/>
                </a:lnTo>
                <a:lnTo>
                  <a:pt x="2704125" y="2912695"/>
                </a:lnTo>
                <a:lnTo>
                  <a:pt x="2706296" y="2913561"/>
                </a:lnTo>
                <a:lnTo>
                  <a:pt x="2714760" y="2922331"/>
                </a:lnTo>
                <a:lnTo>
                  <a:pt x="2715303" y="2926121"/>
                </a:lnTo>
                <a:lnTo>
                  <a:pt x="2718233" y="2928719"/>
                </a:lnTo>
                <a:lnTo>
                  <a:pt x="2720295" y="2926445"/>
                </a:lnTo>
                <a:lnTo>
                  <a:pt x="2724635" y="2931317"/>
                </a:lnTo>
                <a:lnTo>
                  <a:pt x="2724948" y="2937044"/>
                </a:lnTo>
                <a:lnTo>
                  <a:pt x="2725829" y="2935648"/>
                </a:lnTo>
                <a:lnTo>
                  <a:pt x="2725829" y="2931858"/>
                </a:lnTo>
                <a:lnTo>
                  <a:pt x="2727023" y="2931209"/>
                </a:lnTo>
                <a:lnTo>
                  <a:pt x="2729953" y="2936839"/>
                </a:lnTo>
                <a:lnTo>
                  <a:pt x="2730712" y="2941494"/>
                </a:lnTo>
                <a:lnTo>
                  <a:pt x="2732666" y="2943335"/>
                </a:lnTo>
                <a:lnTo>
                  <a:pt x="2733860" y="2948316"/>
                </a:lnTo>
                <a:lnTo>
                  <a:pt x="2733860" y="2953296"/>
                </a:lnTo>
                <a:lnTo>
                  <a:pt x="2737332" y="2962390"/>
                </a:lnTo>
                <a:lnTo>
                  <a:pt x="2742215" y="2969212"/>
                </a:lnTo>
                <a:lnTo>
                  <a:pt x="2747532" y="2982421"/>
                </a:lnTo>
                <a:lnTo>
                  <a:pt x="2750680" y="2991407"/>
                </a:lnTo>
                <a:lnTo>
                  <a:pt x="2752958" y="2995197"/>
                </a:lnTo>
                <a:lnTo>
                  <a:pt x="2754478" y="2993465"/>
                </a:lnTo>
                <a:lnTo>
                  <a:pt x="2759469" y="2993465"/>
                </a:lnTo>
                <a:lnTo>
                  <a:pt x="2763919" y="2996712"/>
                </a:lnTo>
                <a:lnTo>
                  <a:pt x="2763919" y="3001368"/>
                </a:lnTo>
                <a:lnTo>
                  <a:pt x="2762399" y="3002667"/>
                </a:lnTo>
                <a:lnTo>
                  <a:pt x="2761531" y="3005916"/>
                </a:lnTo>
                <a:lnTo>
                  <a:pt x="2763919" y="3009055"/>
                </a:lnTo>
                <a:lnTo>
                  <a:pt x="2761639" y="3010787"/>
                </a:lnTo>
                <a:lnTo>
                  <a:pt x="2760989" y="3013495"/>
                </a:lnTo>
                <a:lnTo>
                  <a:pt x="2750137" y="3024322"/>
                </a:lnTo>
                <a:lnTo>
                  <a:pt x="2745687" y="3031034"/>
                </a:lnTo>
                <a:lnTo>
                  <a:pt x="2742107" y="3032550"/>
                </a:lnTo>
                <a:lnTo>
                  <a:pt x="2737114" y="3036123"/>
                </a:lnTo>
                <a:lnTo>
                  <a:pt x="2732448" y="3038721"/>
                </a:lnTo>
                <a:lnTo>
                  <a:pt x="2729302" y="3043052"/>
                </a:lnTo>
                <a:lnTo>
                  <a:pt x="2727240" y="3050090"/>
                </a:lnTo>
                <a:lnTo>
                  <a:pt x="2718776" y="3060917"/>
                </a:lnTo>
                <a:lnTo>
                  <a:pt x="2718124" y="3066547"/>
                </a:lnTo>
                <a:lnTo>
                  <a:pt x="2714327" y="3073801"/>
                </a:lnTo>
                <a:lnTo>
                  <a:pt x="2718233" y="3071203"/>
                </a:lnTo>
                <a:lnTo>
                  <a:pt x="2720621" y="3065031"/>
                </a:lnTo>
                <a:lnTo>
                  <a:pt x="2723008" y="3059509"/>
                </a:lnTo>
                <a:lnTo>
                  <a:pt x="2727782" y="3055611"/>
                </a:lnTo>
                <a:lnTo>
                  <a:pt x="2730170" y="3055611"/>
                </a:lnTo>
                <a:lnTo>
                  <a:pt x="2730170" y="3059076"/>
                </a:lnTo>
                <a:lnTo>
                  <a:pt x="2728976" y="3061891"/>
                </a:lnTo>
                <a:lnTo>
                  <a:pt x="2728976" y="3066872"/>
                </a:lnTo>
                <a:lnTo>
                  <a:pt x="2723442" y="3074559"/>
                </a:lnTo>
                <a:lnTo>
                  <a:pt x="2730821" y="3066114"/>
                </a:lnTo>
                <a:lnTo>
                  <a:pt x="2736355" y="3058427"/>
                </a:lnTo>
                <a:lnTo>
                  <a:pt x="2741564" y="3056369"/>
                </a:lnTo>
                <a:lnTo>
                  <a:pt x="2743843" y="3057236"/>
                </a:lnTo>
                <a:lnTo>
                  <a:pt x="2745037" y="3060809"/>
                </a:lnTo>
                <a:lnTo>
                  <a:pt x="2746773" y="3056695"/>
                </a:lnTo>
                <a:lnTo>
                  <a:pt x="2748726" y="3055720"/>
                </a:lnTo>
                <a:lnTo>
                  <a:pt x="2751873" y="3055720"/>
                </a:lnTo>
                <a:lnTo>
                  <a:pt x="2750462" y="3053446"/>
                </a:lnTo>
                <a:lnTo>
                  <a:pt x="2748292" y="3051823"/>
                </a:lnTo>
                <a:lnTo>
                  <a:pt x="2748292" y="3049115"/>
                </a:lnTo>
                <a:lnTo>
                  <a:pt x="2754803" y="3042186"/>
                </a:lnTo>
                <a:lnTo>
                  <a:pt x="2763810" y="3042836"/>
                </a:lnTo>
                <a:lnTo>
                  <a:pt x="2772057" y="3046301"/>
                </a:lnTo>
                <a:lnTo>
                  <a:pt x="2777917" y="3046301"/>
                </a:lnTo>
                <a:lnTo>
                  <a:pt x="2784862" y="3042186"/>
                </a:lnTo>
                <a:lnTo>
                  <a:pt x="2789637" y="3042186"/>
                </a:lnTo>
                <a:lnTo>
                  <a:pt x="2794846" y="3046301"/>
                </a:lnTo>
                <a:lnTo>
                  <a:pt x="2801357" y="3047708"/>
                </a:lnTo>
                <a:lnTo>
                  <a:pt x="2801357" y="3051823"/>
                </a:lnTo>
                <a:lnTo>
                  <a:pt x="2798969" y="3055287"/>
                </a:lnTo>
                <a:lnTo>
                  <a:pt x="2798969" y="3060484"/>
                </a:lnTo>
                <a:lnTo>
                  <a:pt x="2793001" y="3064815"/>
                </a:lnTo>
                <a:lnTo>
                  <a:pt x="2793001" y="3070336"/>
                </a:lnTo>
                <a:lnTo>
                  <a:pt x="2786055" y="3072719"/>
                </a:lnTo>
                <a:lnTo>
                  <a:pt x="2781932" y="3075100"/>
                </a:lnTo>
                <a:lnTo>
                  <a:pt x="2779544" y="3075858"/>
                </a:lnTo>
                <a:lnTo>
                  <a:pt x="2777266" y="3074126"/>
                </a:lnTo>
                <a:lnTo>
                  <a:pt x="2775313" y="3074126"/>
                </a:lnTo>
                <a:lnTo>
                  <a:pt x="2771515" y="3078890"/>
                </a:lnTo>
                <a:lnTo>
                  <a:pt x="2767391" y="3079864"/>
                </a:lnTo>
                <a:lnTo>
                  <a:pt x="2760229" y="3078565"/>
                </a:lnTo>
                <a:lnTo>
                  <a:pt x="2755997" y="3079539"/>
                </a:lnTo>
                <a:lnTo>
                  <a:pt x="2751982" y="3082571"/>
                </a:lnTo>
                <a:lnTo>
                  <a:pt x="2748509" y="3082571"/>
                </a:lnTo>
                <a:lnTo>
                  <a:pt x="2751548" y="3085170"/>
                </a:lnTo>
                <a:lnTo>
                  <a:pt x="2755888" y="3084087"/>
                </a:lnTo>
                <a:lnTo>
                  <a:pt x="2761206" y="3084087"/>
                </a:lnTo>
                <a:lnTo>
                  <a:pt x="2767391" y="3085927"/>
                </a:lnTo>
                <a:lnTo>
                  <a:pt x="2773034" y="3083978"/>
                </a:lnTo>
                <a:lnTo>
                  <a:pt x="2775855" y="3083978"/>
                </a:lnTo>
                <a:lnTo>
                  <a:pt x="2775855" y="3086902"/>
                </a:lnTo>
                <a:lnTo>
                  <a:pt x="2773902" y="3092423"/>
                </a:lnTo>
                <a:lnTo>
                  <a:pt x="2774553" y="3099028"/>
                </a:lnTo>
                <a:lnTo>
                  <a:pt x="2770647" y="3102168"/>
                </a:lnTo>
                <a:lnTo>
                  <a:pt x="2767391" y="3106282"/>
                </a:lnTo>
                <a:lnTo>
                  <a:pt x="2767391" y="3110288"/>
                </a:lnTo>
                <a:lnTo>
                  <a:pt x="2770647" y="3115594"/>
                </a:lnTo>
                <a:lnTo>
                  <a:pt x="2772166" y="3121007"/>
                </a:lnTo>
                <a:lnTo>
                  <a:pt x="2773034" y="3112021"/>
                </a:lnTo>
                <a:lnTo>
                  <a:pt x="2772274" y="3107149"/>
                </a:lnTo>
                <a:lnTo>
                  <a:pt x="2772274" y="3104333"/>
                </a:lnTo>
                <a:lnTo>
                  <a:pt x="2776181" y="3100219"/>
                </a:lnTo>
                <a:lnTo>
                  <a:pt x="2778459" y="3096755"/>
                </a:lnTo>
                <a:lnTo>
                  <a:pt x="2779436" y="3090258"/>
                </a:lnTo>
                <a:lnTo>
                  <a:pt x="2782041" y="3083545"/>
                </a:lnTo>
                <a:lnTo>
                  <a:pt x="2786164" y="3078348"/>
                </a:lnTo>
                <a:lnTo>
                  <a:pt x="2794737" y="3073368"/>
                </a:lnTo>
                <a:lnTo>
                  <a:pt x="2801466" y="3069362"/>
                </a:lnTo>
                <a:lnTo>
                  <a:pt x="2806674" y="3064165"/>
                </a:lnTo>
                <a:lnTo>
                  <a:pt x="2806674" y="3061458"/>
                </a:lnTo>
                <a:lnTo>
                  <a:pt x="2809279" y="3056803"/>
                </a:lnTo>
                <a:lnTo>
                  <a:pt x="2813945" y="3054204"/>
                </a:lnTo>
                <a:lnTo>
                  <a:pt x="2819479" y="3054204"/>
                </a:lnTo>
                <a:lnTo>
                  <a:pt x="2820672" y="3057452"/>
                </a:lnTo>
                <a:lnTo>
                  <a:pt x="2822952" y="3057452"/>
                </a:lnTo>
                <a:lnTo>
                  <a:pt x="2823602" y="3054529"/>
                </a:lnTo>
                <a:lnTo>
                  <a:pt x="2826750" y="3054529"/>
                </a:lnTo>
                <a:lnTo>
                  <a:pt x="2831090" y="3057452"/>
                </a:lnTo>
                <a:lnTo>
                  <a:pt x="2832284" y="3055395"/>
                </a:lnTo>
                <a:lnTo>
                  <a:pt x="2834346" y="3055395"/>
                </a:lnTo>
                <a:lnTo>
                  <a:pt x="2841399" y="3059509"/>
                </a:lnTo>
                <a:lnTo>
                  <a:pt x="2846717" y="3061025"/>
                </a:lnTo>
                <a:lnTo>
                  <a:pt x="2849647" y="3059834"/>
                </a:lnTo>
                <a:lnTo>
                  <a:pt x="2851383" y="3063299"/>
                </a:lnTo>
                <a:lnTo>
                  <a:pt x="2853987" y="3064815"/>
                </a:lnTo>
                <a:lnTo>
                  <a:pt x="2853987" y="3066872"/>
                </a:lnTo>
                <a:lnTo>
                  <a:pt x="2855832" y="3064489"/>
                </a:lnTo>
                <a:lnTo>
                  <a:pt x="2859088" y="3065681"/>
                </a:lnTo>
                <a:lnTo>
                  <a:pt x="2860932" y="3068063"/>
                </a:lnTo>
                <a:lnTo>
                  <a:pt x="2864730" y="3068063"/>
                </a:lnTo>
                <a:lnTo>
                  <a:pt x="2867443" y="3070228"/>
                </a:lnTo>
                <a:lnTo>
                  <a:pt x="2868420" y="3073693"/>
                </a:lnTo>
                <a:lnTo>
                  <a:pt x="2870698" y="3075100"/>
                </a:lnTo>
                <a:lnTo>
                  <a:pt x="2872218" y="3078673"/>
                </a:lnTo>
                <a:lnTo>
                  <a:pt x="2875256" y="3077158"/>
                </a:lnTo>
                <a:lnTo>
                  <a:pt x="2878404" y="3073152"/>
                </a:lnTo>
                <a:lnTo>
                  <a:pt x="2883720" y="3074017"/>
                </a:lnTo>
                <a:lnTo>
                  <a:pt x="2887302" y="3074017"/>
                </a:lnTo>
                <a:lnTo>
                  <a:pt x="2891100" y="3079972"/>
                </a:lnTo>
                <a:lnTo>
                  <a:pt x="2897611" y="3087010"/>
                </a:lnTo>
                <a:lnTo>
                  <a:pt x="2892619" y="3092640"/>
                </a:lnTo>
                <a:lnTo>
                  <a:pt x="2896418" y="3092640"/>
                </a:lnTo>
                <a:lnTo>
                  <a:pt x="2898154" y="3094156"/>
                </a:lnTo>
                <a:lnTo>
                  <a:pt x="2896091" y="3096105"/>
                </a:lnTo>
                <a:lnTo>
                  <a:pt x="2893705" y="3103792"/>
                </a:lnTo>
                <a:lnTo>
                  <a:pt x="2894573" y="3109097"/>
                </a:lnTo>
                <a:lnTo>
                  <a:pt x="2893053" y="3115160"/>
                </a:lnTo>
                <a:lnTo>
                  <a:pt x="2894464" y="3121115"/>
                </a:lnTo>
                <a:lnTo>
                  <a:pt x="2894464" y="3114727"/>
                </a:lnTo>
                <a:lnTo>
                  <a:pt x="2898371" y="3107149"/>
                </a:lnTo>
                <a:lnTo>
                  <a:pt x="2898371" y="3102709"/>
                </a:lnTo>
                <a:lnTo>
                  <a:pt x="2900758" y="3101735"/>
                </a:lnTo>
                <a:lnTo>
                  <a:pt x="2902169" y="3105308"/>
                </a:lnTo>
                <a:lnTo>
                  <a:pt x="2904556" y="3109422"/>
                </a:lnTo>
                <a:lnTo>
                  <a:pt x="2905207" y="3103792"/>
                </a:lnTo>
                <a:lnTo>
                  <a:pt x="2906835" y="3101410"/>
                </a:lnTo>
                <a:lnTo>
                  <a:pt x="2911393" y="3099244"/>
                </a:lnTo>
                <a:lnTo>
                  <a:pt x="2912152" y="3097296"/>
                </a:lnTo>
                <a:lnTo>
                  <a:pt x="2913346" y="3096646"/>
                </a:lnTo>
                <a:lnTo>
                  <a:pt x="2916059" y="3098162"/>
                </a:lnTo>
                <a:lnTo>
                  <a:pt x="2917144" y="3096862"/>
                </a:lnTo>
                <a:lnTo>
                  <a:pt x="2916059" y="3094156"/>
                </a:lnTo>
                <a:lnTo>
                  <a:pt x="2916059" y="3092749"/>
                </a:lnTo>
                <a:lnTo>
                  <a:pt x="2921050" y="3092749"/>
                </a:lnTo>
                <a:lnTo>
                  <a:pt x="2934181" y="3098920"/>
                </a:lnTo>
                <a:lnTo>
                  <a:pt x="2940149" y="3100003"/>
                </a:lnTo>
                <a:lnTo>
                  <a:pt x="2942429" y="3100003"/>
                </a:lnTo>
                <a:lnTo>
                  <a:pt x="2949482" y="3102709"/>
                </a:lnTo>
                <a:lnTo>
                  <a:pt x="2950893" y="3101735"/>
                </a:lnTo>
                <a:lnTo>
                  <a:pt x="2950025" y="3099353"/>
                </a:lnTo>
                <a:lnTo>
                  <a:pt x="2952846" y="3100111"/>
                </a:lnTo>
                <a:lnTo>
                  <a:pt x="2953497" y="3102493"/>
                </a:lnTo>
                <a:lnTo>
                  <a:pt x="2957295" y="3105633"/>
                </a:lnTo>
                <a:lnTo>
                  <a:pt x="2957295" y="3103251"/>
                </a:lnTo>
                <a:lnTo>
                  <a:pt x="2958381" y="3100111"/>
                </a:lnTo>
                <a:lnTo>
                  <a:pt x="2961093" y="3102493"/>
                </a:lnTo>
                <a:lnTo>
                  <a:pt x="2962179" y="3100435"/>
                </a:lnTo>
                <a:lnTo>
                  <a:pt x="2968690" y="3105308"/>
                </a:lnTo>
                <a:lnTo>
                  <a:pt x="2971402" y="3108015"/>
                </a:lnTo>
                <a:lnTo>
                  <a:pt x="2973464" y="3104875"/>
                </a:lnTo>
                <a:lnTo>
                  <a:pt x="2977913" y="3102817"/>
                </a:lnTo>
                <a:lnTo>
                  <a:pt x="2982037" y="3104875"/>
                </a:lnTo>
                <a:lnTo>
                  <a:pt x="2988982" y="3104875"/>
                </a:lnTo>
                <a:lnTo>
                  <a:pt x="2993431" y="3102493"/>
                </a:lnTo>
                <a:lnTo>
                  <a:pt x="3000702" y="3105633"/>
                </a:lnTo>
                <a:lnTo>
                  <a:pt x="3007213" y="3105633"/>
                </a:lnTo>
                <a:lnTo>
                  <a:pt x="3021754" y="3116460"/>
                </a:lnTo>
                <a:lnTo>
                  <a:pt x="3026963" y="3116460"/>
                </a:lnTo>
                <a:lnTo>
                  <a:pt x="3032822" y="3121982"/>
                </a:lnTo>
                <a:lnTo>
                  <a:pt x="3036946" y="3123064"/>
                </a:lnTo>
                <a:lnTo>
                  <a:pt x="3045519" y="3135082"/>
                </a:lnTo>
                <a:lnTo>
                  <a:pt x="3056371" y="3146451"/>
                </a:lnTo>
                <a:lnTo>
                  <a:pt x="3061254" y="3147100"/>
                </a:lnTo>
                <a:lnTo>
                  <a:pt x="3068199" y="3150565"/>
                </a:lnTo>
                <a:lnTo>
                  <a:pt x="3073408" y="3156412"/>
                </a:lnTo>
                <a:lnTo>
                  <a:pt x="3078617" y="3157386"/>
                </a:lnTo>
                <a:lnTo>
                  <a:pt x="3083066" y="3163557"/>
                </a:lnTo>
                <a:lnTo>
                  <a:pt x="3089576" y="3160742"/>
                </a:lnTo>
                <a:lnTo>
                  <a:pt x="3098583" y="3160742"/>
                </a:lnTo>
                <a:lnTo>
                  <a:pt x="3114101" y="3167671"/>
                </a:lnTo>
                <a:lnTo>
                  <a:pt x="3115512" y="3175251"/>
                </a:lnTo>
                <a:lnTo>
                  <a:pt x="3115512" y="3181422"/>
                </a:lnTo>
                <a:lnTo>
                  <a:pt x="3123760" y="3199720"/>
                </a:lnTo>
                <a:lnTo>
                  <a:pt x="3124845" y="3205566"/>
                </a:lnTo>
                <a:lnTo>
                  <a:pt x="3127558" y="3207299"/>
                </a:lnTo>
                <a:lnTo>
                  <a:pt x="3128317" y="3219100"/>
                </a:lnTo>
                <a:lnTo>
                  <a:pt x="3125713" y="3221373"/>
                </a:lnTo>
                <a:lnTo>
                  <a:pt x="3124519" y="3226138"/>
                </a:lnTo>
                <a:lnTo>
                  <a:pt x="3127666" y="3230793"/>
                </a:lnTo>
                <a:lnTo>
                  <a:pt x="3127666" y="3234908"/>
                </a:lnTo>
                <a:lnTo>
                  <a:pt x="3124736" y="3239022"/>
                </a:lnTo>
                <a:lnTo>
                  <a:pt x="3123217" y="3244652"/>
                </a:lnTo>
                <a:lnTo>
                  <a:pt x="3117357" y="3257537"/>
                </a:lnTo>
                <a:lnTo>
                  <a:pt x="3114969" y="3261001"/>
                </a:lnTo>
                <a:lnTo>
                  <a:pt x="3105528" y="3273777"/>
                </a:lnTo>
                <a:lnTo>
                  <a:pt x="3094677" y="3283413"/>
                </a:lnTo>
                <a:lnTo>
                  <a:pt x="3091964" y="3287852"/>
                </a:lnTo>
                <a:lnTo>
                  <a:pt x="3087841" y="3289801"/>
                </a:lnTo>
                <a:lnTo>
                  <a:pt x="3086322" y="3293915"/>
                </a:lnTo>
                <a:lnTo>
                  <a:pt x="3073733" y="3302469"/>
                </a:lnTo>
                <a:lnTo>
                  <a:pt x="3070261" y="3309506"/>
                </a:lnTo>
                <a:lnTo>
                  <a:pt x="3067223" y="3316761"/>
                </a:lnTo>
                <a:lnTo>
                  <a:pt x="3064075" y="3319467"/>
                </a:lnTo>
                <a:lnTo>
                  <a:pt x="3062882" y="3324989"/>
                </a:lnTo>
                <a:lnTo>
                  <a:pt x="3059300" y="3334084"/>
                </a:lnTo>
                <a:lnTo>
                  <a:pt x="3051162" y="3346426"/>
                </a:lnTo>
                <a:lnTo>
                  <a:pt x="3044760" y="3349675"/>
                </a:lnTo>
                <a:lnTo>
                  <a:pt x="3040094" y="3354005"/>
                </a:lnTo>
                <a:lnTo>
                  <a:pt x="3037706" y="3354005"/>
                </a:lnTo>
                <a:lnTo>
                  <a:pt x="3038574" y="3351082"/>
                </a:lnTo>
                <a:lnTo>
                  <a:pt x="3042047" y="3348483"/>
                </a:lnTo>
                <a:lnTo>
                  <a:pt x="3044651" y="3344910"/>
                </a:lnTo>
                <a:lnTo>
                  <a:pt x="3042264" y="3343720"/>
                </a:lnTo>
                <a:lnTo>
                  <a:pt x="3040853" y="3340797"/>
                </a:lnTo>
                <a:lnTo>
                  <a:pt x="3037597" y="3340797"/>
                </a:lnTo>
                <a:lnTo>
                  <a:pt x="3036187" y="3345993"/>
                </a:lnTo>
                <a:lnTo>
                  <a:pt x="3032714" y="3344803"/>
                </a:lnTo>
                <a:lnTo>
                  <a:pt x="3028916" y="3342529"/>
                </a:lnTo>
                <a:lnTo>
                  <a:pt x="3027722" y="3339930"/>
                </a:lnTo>
                <a:lnTo>
                  <a:pt x="3026854" y="3341987"/>
                </a:lnTo>
                <a:lnTo>
                  <a:pt x="3025010" y="3343503"/>
                </a:lnTo>
                <a:lnTo>
                  <a:pt x="3031412" y="3346426"/>
                </a:lnTo>
                <a:lnTo>
                  <a:pt x="3034667" y="3351732"/>
                </a:lnTo>
                <a:lnTo>
                  <a:pt x="3034016" y="3357362"/>
                </a:lnTo>
                <a:lnTo>
                  <a:pt x="3030869" y="3358228"/>
                </a:lnTo>
                <a:lnTo>
                  <a:pt x="3030001" y="3361801"/>
                </a:lnTo>
                <a:lnTo>
                  <a:pt x="3030869" y="3367106"/>
                </a:lnTo>
                <a:lnTo>
                  <a:pt x="3027396" y="3372411"/>
                </a:lnTo>
                <a:lnTo>
                  <a:pt x="3027396" y="3375118"/>
                </a:lnTo>
                <a:lnTo>
                  <a:pt x="3031195" y="3377825"/>
                </a:lnTo>
                <a:lnTo>
                  <a:pt x="3033256" y="3375552"/>
                </a:lnTo>
                <a:lnTo>
                  <a:pt x="3033256" y="3379882"/>
                </a:lnTo>
                <a:lnTo>
                  <a:pt x="3031303" y="3384430"/>
                </a:lnTo>
                <a:lnTo>
                  <a:pt x="3031303" y="3390384"/>
                </a:lnTo>
                <a:lnTo>
                  <a:pt x="3033691" y="3422866"/>
                </a:lnTo>
                <a:lnTo>
                  <a:pt x="3031629" y="3431852"/>
                </a:lnTo>
                <a:lnTo>
                  <a:pt x="3031629" y="3435317"/>
                </a:lnTo>
                <a:lnTo>
                  <a:pt x="3030218" y="3441488"/>
                </a:lnTo>
                <a:lnTo>
                  <a:pt x="3031303" y="3449717"/>
                </a:lnTo>
                <a:lnTo>
                  <a:pt x="3027505" y="3460544"/>
                </a:lnTo>
                <a:lnTo>
                  <a:pt x="3029350" y="3469421"/>
                </a:lnTo>
                <a:lnTo>
                  <a:pt x="3028373" y="3472129"/>
                </a:lnTo>
                <a:lnTo>
                  <a:pt x="3021320" y="3477759"/>
                </a:lnTo>
                <a:lnTo>
                  <a:pt x="3021320" y="3480898"/>
                </a:lnTo>
                <a:lnTo>
                  <a:pt x="3018932" y="3484471"/>
                </a:lnTo>
                <a:lnTo>
                  <a:pt x="3016002" y="3493566"/>
                </a:lnTo>
                <a:lnTo>
                  <a:pt x="3017088" y="3495839"/>
                </a:lnTo>
                <a:lnTo>
                  <a:pt x="3018932" y="3510998"/>
                </a:lnTo>
                <a:lnTo>
                  <a:pt x="3018932" y="3515761"/>
                </a:lnTo>
                <a:lnTo>
                  <a:pt x="3009817" y="3526589"/>
                </a:lnTo>
                <a:lnTo>
                  <a:pt x="3003089" y="3537416"/>
                </a:lnTo>
                <a:lnTo>
                  <a:pt x="3004283" y="3538065"/>
                </a:lnTo>
                <a:lnTo>
                  <a:pt x="3003415" y="3542830"/>
                </a:lnTo>
                <a:lnTo>
                  <a:pt x="2999399" y="3545644"/>
                </a:lnTo>
                <a:lnTo>
                  <a:pt x="2997121" y="3547485"/>
                </a:lnTo>
                <a:lnTo>
                  <a:pt x="2997121" y="3552140"/>
                </a:lnTo>
                <a:lnTo>
                  <a:pt x="2993756" y="3556255"/>
                </a:lnTo>
                <a:lnTo>
                  <a:pt x="2990826" y="3562426"/>
                </a:lnTo>
                <a:lnTo>
                  <a:pt x="2994842" y="3571521"/>
                </a:lnTo>
                <a:lnTo>
                  <a:pt x="2996144" y="3573362"/>
                </a:lnTo>
                <a:lnTo>
                  <a:pt x="2994733" y="3576285"/>
                </a:lnTo>
                <a:lnTo>
                  <a:pt x="2990067" y="3579100"/>
                </a:lnTo>
                <a:lnTo>
                  <a:pt x="2981060" y="3582348"/>
                </a:lnTo>
                <a:lnTo>
                  <a:pt x="2970208" y="3589711"/>
                </a:lnTo>
                <a:lnTo>
                  <a:pt x="2969558" y="3592093"/>
                </a:lnTo>
                <a:lnTo>
                  <a:pt x="2970751" y="3593283"/>
                </a:lnTo>
                <a:lnTo>
                  <a:pt x="2970751" y="3595666"/>
                </a:lnTo>
                <a:lnTo>
                  <a:pt x="2965977" y="3598913"/>
                </a:lnTo>
                <a:lnTo>
                  <a:pt x="2958054" y="3598047"/>
                </a:lnTo>
                <a:lnTo>
                  <a:pt x="2951543" y="3598047"/>
                </a:lnTo>
                <a:lnTo>
                  <a:pt x="2947637" y="3600213"/>
                </a:lnTo>
                <a:lnTo>
                  <a:pt x="2940692" y="3599239"/>
                </a:lnTo>
                <a:cubicBezTo>
                  <a:pt x="2940041" y="3599130"/>
                  <a:pt x="2940041" y="3595124"/>
                  <a:pt x="2940041" y="3595124"/>
                </a:cubicBezTo>
                <a:lnTo>
                  <a:pt x="2941017" y="3592417"/>
                </a:lnTo>
                <a:lnTo>
                  <a:pt x="2938304" y="3592417"/>
                </a:lnTo>
                <a:lnTo>
                  <a:pt x="2935375" y="3594907"/>
                </a:lnTo>
                <a:lnTo>
                  <a:pt x="2936351" y="3596748"/>
                </a:lnTo>
                <a:lnTo>
                  <a:pt x="2925500" y="3601187"/>
                </a:lnTo>
                <a:lnTo>
                  <a:pt x="2916276" y="3604652"/>
                </a:lnTo>
                <a:lnTo>
                  <a:pt x="2914323" y="3603136"/>
                </a:lnTo>
                <a:lnTo>
                  <a:pt x="2915516" y="3601729"/>
                </a:lnTo>
                <a:lnTo>
                  <a:pt x="2921593" y="3600538"/>
                </a:lnTo>
                <a:lnTo>
                  <a:pt x="2927345" y="3597289"/>
                </a:lnTo>
                <a:lnTo>
                  <a:pt x="2927345" y="3595340"/>
                </a:lnTo>
                <a:lnTo>
                  <a:pt x="2923329" y="3595340"/>
                </a:lnTo>
                <a:lnTo>
                  <a:pt x="2920399" y="3597614"/>
                </a:lnTo>
                <a:lnTo>
                  <a:pt x="2916384" y="3597614"/>
                </a:lnTo>
                <a:lnTo>
                  <a:pt x="2912803" y="3596640"/>
                </a:lnTo>
                <a:lnTo>
                  <a:pt x="2906618" y="3600429"/>
                </a:lnTo>
                <a:lnTo>
                  <a:pt x="2903037" y="3601296"/>
                </a:lnTo>
                <a:lnTo>
                  <a:pt x="2904556" y="3604218"/>
                </a:lnTo>
                <a:lnTo>
                  <a:pt x="2907812" y="3604869"/>
                </a:lnTo>
                <a:lnTo>
                  <a:pt x="2910199" y="3606384"/>
                </a:lnTo>
                <a:lnTo>
                  <a:pt x="2910199" y="3608225"/>
                </a:lnTo>
                <a:lnTo>
                  <a:pt x="2906292" y="3609416"/>
                </a:lnTo>
                <a:lnTo>
                  <a:pt x="2896091" y="3615803"/>
                </a:lnTo>
                <a:lnTo>
                  <a:pt x="2892511" y="3622192"/>
                </a:lnTo>
                <a:lnTo>
                  <a:pt x="2892511" y="3625657"/>
                </a:lnTo>
                <a:lnTo>
                  <a:pt x="2888930" y="3624790"/>
                </a:lnTo>
                <a:lnTo>
                  <a:pt x="2885782" y="3622192"/>
                </a:lnTo>
                <a:lnTo>
                  <a:pt x="2879706" y="3622192"/>
                </a:lnTo>
                <a:lnTo>
                  <a:pt x="2874497" y="3626306"/>
                </a:lnTo>
                <a:lnTo>
                  <a:pt x="2869831" y="3630745"/>
                </a:lnTo>
                <a:lnTo>
                  <a:pt x="2861257" y="3631828"/>
                </a:lnTo>
                <a:lnTo>
                  <a:pt x="2851491" y="3642655"/>
                </a:lnTo>
                <a:lnTo>
                  <a:pt x="2844112" y="3647419"/>
                </a:lnTo>
                <a:lnTo>
                  <a:pt x="2837710" y="3652940"/>
                </a:lnTo>
                <a:lnTo>
                  <a:pt x="2837710" y="3655322"/>
                </a:lnTo>
                <a:lnTo>
                  <a:pt x="2833261" y="3658246"/>
                </a:lnTo>
                <a:lnTo>
                  <a:pt x="2825664" y="3665283"/>
                </a:lnTo>
                <a:lnTo>
                  <a:pt x="2823277" y="3663443"/>
                </a:lnTo>
                <a:lnTo>
                  <a:pt x="2820130" y="3667882"/>
                </a:lnTo>
                <a:lnTo>
                  <a:pt x="2815355" y="3669289"/>
                </a:lnTo>
                <a:lnTo>
                  <a:pt x="2821215" y="3671888"/>
                </a:lnTo>
                <a:lnTo>
                  <a:pt x="2821215" y="3676544"/>
                </a:lnTo>
                <a:lnTo>
                  <a:pt x="2815573" y="3677952"/>
                </a:lnTo>
                <a:lnTo>
                  <a:pt x="2818502" y="3679683"/>
                </a:lnTo>
                <a:lnTo>
                  <a:pt x="2820021" y="3683689"/>
                </a:lnTo>
                <a:lnTo>
                  <a:pt x="2813945" y="3684880"/>
                </a:lnTo>
                <a:lnTo>
                  <a:pt x="2812100" y="3686613"/>
                </a:lnTo>
                <a:lnTo>
                  <a:pt x="2814487" y="3693867"/>
                </a:lnTo>
                <a:lnTo>
                  <a:pt x="2816006" y="3700688"/>
                </a:lnTo>
                <a:lnTo>
                  <a:pt x="2816874" y="3703828"/>
                </a:lnTo>
                <a:lnTo>
                  <a:pt x="2816006" y="3706751"/>
                </a:lnTo>
                <a:lnTo>
                  <a:pt x="2816006" y="3709675"/>
                </a:lnTo>
                <a:lnTo>
                  <a:pt x="2820672" y="3716171"/>
                </a:lnTo>
                <a:lnTo>
                  <a:pt x="2820672" y="3720934"/>
                </a:lnTo>
                <a:lnTo>
                  <a:pt x="2821758" y="3722558"/>
                </a:lnTo>
                <a:lnTo>
                  <a:pt x="2822843" y="3723966"/>
                </a:lnTo>
                <a:lnTo>
                  <a:pt x="2821758" y="3727106"/>
                </a:lnTo>
                <a:lnTo>
                  <a:pt x="2822843" y="3731436"/>
                </a:lnTo>
                <a:lnTo>
                  <a:pt x="2819696" y="3733278"/>
                </a:lnTo>
                <a:lnTo>
                  <a:pt x="2817959" y="3738583"/>
                </a:lnTo>
                <a:lnTo>
                  <a:pt x="2815681" y="3739232"/>
                </a:lnTo>
                <a:lnTo>
                  <a:pt x="2815681" y="3742480"/>
                </a:lnTo>
                <a:lnTo>
                  <a:pt x="2816766" y="3743779"/>
                </a:lnTo>
                <a:lnTo>
                  <a:pt x="2815030" y="3747569"/>
                </a:lnTo>
                <a:lnTo>
                  <a:pt x="2804178" y="3760237"/>
                </a:lnTo>
                <a:lnTo>
                  <a:pt x="2793327" y="3780916"/>
                </a:lnTo>
                <a:lnTo>
                  <a:pt x="2788986" y="3793259"/>
                </a:lnTo>
                <a:lnTo>
                  <a:pt x="2784645" y="3802896"/>
                </a:lnTo>
                <a:lnTo>
                  <a:pt x="2773793" y="3821951"/>
                </a:lnTo>
                <a:lnTo>
                  <a:pt x="2766089" y="3830721"/>
                </a:lnTo>
                <a:lnTo>
                  <a:pt x="2750897" y="3842522"/>
                </a:lnTo>
                <a:lnTo>
                  <a:pt x="2746231" y="3841115"/>
                </a:lnTo>
                <a:lnTo>
                  <a:pt x="2746231" y="3838516"/>
                </a:lnTo>
                <a:lnTo>
                  <a:pt x="2748184" y="3836676"/>
                </a:lnTo>
                <a:lnTo>
                  <a:pt x="2752090" y="3836026"/>
                </a:lnTo>
                <a:lnTo>
                  <a:pt x="2752090" y="3833428"/>
                </a:lnTo>
                <a:lnTo>
                  <a:pt x="2755671" y="3830288"/>
                </a:lnTo>
                <a:lnTo>
                  <a:pt x="2760663" y="3827581"/>
                </a:lnTo>
                <a:lnTo>
                  <a:pt x="2762182" y="3827581"/>
                </a:lnTo>
                <a:lnTo>
                  <a:pt x="2763919" y="3824333"/>
                </a:lnTo>
                <a:lnTo>
                  <a:pt x="2764569" y="3818270"/>
                </a:lnTo>
                <a:lnTo>
                  <a:pt x="2769562" y="3818270"/>
                </a:lnTo>
                <a:lnTo>
                  <a:pt x="2775096" y="3808742"/>
                </a:lnTo>
                <a:lnTo>
                  <a:pt x="2777375" y="3800513"/>
                </a:lnTo>
                <a:lnTo>
                  <a:pt x="2779219" y="3800513"/>
                </a:lnTo>
                <a:lnTo>
                  <a:pt x="2779219" y="3796399"/>
                </a:lnTo>
                <a:lnTo>
                  <a:pt x="2777700" y="3794884"/>
                </a:lnTo>
                <a:lnTo>
                  <a:pt x="2775313" y="3796291"/>
                </a:lnTo>
                <a:lnTo>
                  <a:pt x="2773034" y="3796291"/>
                </a:lnTo>
                <a:lnTo>
                  <a:pt x="2767391" y="3790120"/>
                </a:lnTo>
                <a:lnTo>
                  <a:pt x="2764678" y="3784489"/>
                </a:lnTo>
                <a:lnTo>
                  <a:pt x="2762291" y="3783840"/>
                </a:lnTo>
                <a:lnTo>
                  <a:pt x="2764352" y="3785680"/>
                </a:lnTo>
                <a:lnTo>
                  <a:pt x="2764352" y="3792935"/>
                </a:lnTo>
                <a:lnTo>
                  <a:pt x="2766957" y="3795641"/>
                </a:lnTo>
                <a:lnTo>
                  <a:pt x="2768150" y="3799105"/>
                </a:lnTo>
                <a:lnTo>
                  <a:pt x="2766414" y="3803761"/>
                </a:lnTo>
                <a:lnTo>
                  <a:pt x="2762616" y="3803761"/>
                </a:lnTo>
                <a:lnTo>
                  <a:pt x="2760880" y="3806035"/>
                </a:lnTo>
                <a:lnTo>
                  <a:pt x="2760880" y="3811557"/>
                </a:lnTo>
                <a:lnTo>
                  <a:pt x="2759361" y="3813181"/>
                </a:lnTo>
                <a:lnTo>
                  <a:pt x="2759361" y="3817945"/>
                </a:lnTo>
                <a:lnTo>
                  <a:pt x="2755346" y="3822600"/>
                </a:lnTo>
                <a:lnTo>
                  <a:pt x="2752090" y="3822600"/>
                </a:lnTo>
                <a:lnTo>
                  <a:pt x="2749703" y="3820652"/>
                </a:lnTo>
                <a:lnTo>
                  <a:pt x="2749703" y="3824116"/>
                </a:lnTo>
                <a:lnTo>
                  <a:pt x="2745687" y="3828555"/>
                </a:lnTo>
                <a:lnTo>
                  <a:pt x="2745687" y="3831587"/>
                </a:lnTo>
                <a:lnTo>
                  <a:pt x="2742215" y="3833320"/>
                </a:lnTo>
                <a:lnTo>
                  <a:pt x="2740479" y="3838083"/>
                </a:lnTo>
                <a:lnTo>
                  <a:pt x="2743951" y="3843714"/>
                </a:lnTo>
                <a:lnTo>
                  <a:pt x="2746013" y="3846312"/>
                </a:lnTo>
                <a:lnTo>
                  <a:pt x="2744494" y="3848585"/>
                </a:lnTo>
                <a:lnTo>
                  <a:pt x="2740913" y="3859412"/>
                </a:lnTo>
                <a:lnTo>
                  <a:pt x="2736898" y="3876087"/>
                </a:lnTo>
                <a:lnTo>
                  <a:pt x="2733860" y="3883340"/>
                </a:lnTo>
                <a:lnTo>
                  <a:pt x="2725178" y="3890486"/>
                </a:lnTo>
                <a:lnTo>
                  <a:pt x="2723876" y="3889403"/>
                </a:lnTo>
                <a:lnTo>
                  <a:pt x="2721054" y="3885722"/>
                </a:lnTo>
                <a:lnTo>
                  <a:pt x="2720403" y="3884531"/>
                </a:lnTo>
                <a:lnTo>
                  <a:pt x="2719535" y="3882799"/>
                </a:lnTo>
                <a:lnTo>
                  <a:pt x="2717256" y="3875545"/>
                </a:lnTo>
                <a:lnTo>
                  <a:pt x="2721706" y="3869374"/>
                </a:lnTo>
                <a:lnTo>
                  <a:pt x="2722672" y="3862727"/>
                </a:lnTo>
                <a:lnTo>
                  <a:pt x="2721598" y="3869373"/>
                </a:lnTo>
                <a:lnTo>
                  <a:pt x="2717148" y="3875546"/>
                </a:lnTo>
                <a:lnTo>
                  <a:pt x="2719427" y="3882799"/>
                </a:lnTo>
                <a:lnTo>
                  <a:pt x="2720295" y="3884532"/>
                </a:lnTo>
                <a:lnTo>
                  <a:pt x="2720946" y="3885723"/>
                </a:lnTo>
                <a:lnTo>
                  <a:pt x="2723659" y="3889512"/>
                </a:lnTo>
                <a:lnTo>
                  <a:pt x="2725070" y="3890595"/>
                </a:lnTo>
                <a:lnTo>
                  <a:pt x="2723008" y="3892218"/>
                </a:lnTo>
                <a:lnTo>
                  <a:pt x="2719210" y="3896658"/>
                </a:lnTo>
                <a:lnTo>
                  <a:pt x="2719210" y="3903371"/>
                </a:lnTo>
                <a:lnTo>
                  <a:pt x="2714652" y="3907701"/>
                </a:lnTo>
                <a:lnTo>
                  <a:pt x="2712265" y="3911383"/>
                </a:lnTo>
                <a:lnTo>
                  <a:pt x="2713134" y="3912140"/>
                </a:lnTo>
                <a:lnTo>
                  <a:pt x="2711614" y="3914631"/>
                </a:lnTo>
                <a:lnTo>
                  <a:pt x="2705863" y="3921344"/>
                </a:lnTo>
                <a:lnTo>
                  <a:pt x="2696965" y="3924592"/>
                </a:lnTo>
                <a:lnTo>
                  <a:pt x="2694902" y="3922860"/>
                </a:lnTo>
                <a:lnTo>
                  <a:pt x="2693709" y="3923726"/>
                </a:lnTo>
                <a:lnTo>
                  <a:pt x="2693166" y="3926540"/>
                </a:lnTo>
                <a:lnTo>
                  <a:pt x="2690779" y="3928273"/>
                </a:lnTo>
                <a:lnTo>
                  <a:pt x="2687306" y="3927948"/>
                </a:lnTo>
                <a:lnTo>
                  <a:pt x="2683725" y="3926540"/>
                </a:lnTo>
                <a:lnTo>
                  <a:pt x="2681230" y="3927082"/>
                </a:lnTo>
                <a:lnTo>
                  <a:pt x="2678191" y="3925350"/>
                </a:lnTo>
                <a:lnTo>
                  <a:pt x="2673525" y="3923617"/>
                </a:lnTo>
                <a:lnTo>
                  <a:pt x="2666796" y="3924809"/>
                </a:lnTo>
                <a:lnTo>
                  <a:pt x="2661588" y="3928056"/>
                </a:lnTo>
                <a:lnTo>
                  <a:pt x="2656705" y="3927840"/>
                </a:lnTo>
                <a:lnTo>
                  <a:pt x="2656813" y="3925350"/>
                </a:lnTo>
                <a:lnTo>
                  <a:pt x="2657464" y="3923509"/>
                </a:lnTo>
                <a:lnTo>
                  <a:pt x="2656270" y="3922318"/>
                </a:lnTo>
                <a:lnTo>
                  <a:pt x="2652581" y="3922101"/>
                </a:lnTo>
                <a:lnTo>
                  <a:pt x="2648891" y="3921452"/>
                </a:lnTo>
                <a:lnTo>
                  <a:pt x="2643248" y="3917554"/>
                </a:lnTo>
                <a:lnTo>
                  <a:pt x="2637063" y="3917121"/>
                </a:lnTo>
                <a:lnTo>
                  <a:pt x="2626537" y="3918095"/>
                </a:lnTo>
                <a:lnTo>
                  <a:pt x="2622956" y="3917229"/>
                </a:lnTo>
                <a:lnTo>
                  <a:pt x="2616336" y="3910625"/>
                </a:lnTo>
                <a:lnTo>
                  <a:pt x="2613949" y="3910084"/>
                </a:lnTo>
                <a:lnTo>
                  <a:pt x="2606895" y="3900339"/>
                </a:lnTo>
                <a:lnTo>
                  <a:pt x="2603640" y="3891894"/>
                </a:lnTo>
                <a:lnTo>
                  <a:pt x="2603423" y="3881283"/>
                </a:lnTo>
                <a:lnTo>
                  <a:pt x="2603531" y="3880850"/>
                </a:lnTo>
                <a:lnTo>
                  <a:pt x="2604400" y="3879226"/>
                </a:lnTo>
                <a:lnTo>
                  <a:pt x="2607981" y="3875978"/>
                </a:lnTo>
                <a:lnTo>
                  <a:pt x="2609499" y="3872514"/>
                </a:lnTo>
                <a:lnTo>
                  <a:pt x="2609499" y="3872513"/>
                </a:lnTo>
                <a:lnTo>
                  <a:pt x="2607981" y="3875977"/>
                </a:lnTo>
                <a:lnTo>
                  <a:pt x="2604399" y="3879226"/>
                </a:lnTo>
                <a:lnTo>
                  <a:pt x="2603531" y="3880850"/>
                </a:lnTo>
                <a:lnTo>
                  <a:pt x="2603423" y="3881283"/>
                </a:lnTo>
                <a:lnTo>
                  <a:pt x="2602229" y="3891027"/>
                </a:lnTo>
                <a:lnTo>
                  <a:pt x="2603965" y="3899689"/>
                </a:lnTo>
                <a:lnTo>
                  <a:pt x="2602988" y="3902287"/>
                </a:lnTo>
                <a:lnTo>
                  <a:pt x="2606027" y="3905427"/>
                </a:lnTo>
                <a:lnTo>
                  <a:pt x="2606244" y="3909542"/>
                </a:lnTo>
                <a:lnTo>
                  <a:pt x="2604724" y="3911058"/>
                </a:lnTo>
                <a:lnTo>
                  <a:pt x="2607112" y="3915388"/>
                </a:lnTo>
                <a:lnTo>
                  <a:pt x="2617095" y="3923184"/>
                </a:lnTo>
                <a:lnTo>
                  <a:pt x="2627079" y="3926974"/>
                </a:lnTo>
                <a:lnTo>
                  <a:pt x="2639450" y="3936501"/>
                </a:lnTo>
                <a:lnTo>
                  <a:pt x="2642271" y="3939966"/>
                </a:lnTo>
                <a:lnTo>
                  <a:pt x="2641946" y="3944838"/>
                </a:lnTo>
                <a:lnTo>
                  <a:pt x="2636086" y="3956531"/>
                </a:lnTo>
                <a:lnTo>
                  <a:pt x="2635652" y="3959996"/>
                </a:lnTo>
                <a:lnTo>
                  <a:pt x="2639341" y="3966817"/>
                </a:lnTo>
                <a:lnTo>
                  <a:pt x="2645527" y="3970931"/>
                </a:lnTo>
                <a:lnTo>
                  <a:pt x="2650736" y="3971147"/>
                </a:lnTo>
                <a:lnTo>
                  <a:pt x="2653774" y="3967900"/>
                </a:lnTo>
                <a:lnTo>
                  <a:pt x="2654968" y="3968007"/>
                </a:lnTo>
                <a:lnTo>
                  <a:pt x="2656053" y="3972013"/>
                </a:lnTo>
                <a:lnTo>
                  <a:pt x="2656053" y="3982083"/>
                </a:lnTo>
                <a:lnTo>
                  <a:pt x="2654968" y="3986739"/>
                </a:lnTo>
                <a:lnTo>
                  <a:pt x="2650302" y="3994318"/>
                </a:lnTo>
                <a:lnTo>
                  <a:pt x="2648674" y="4001896"/>
                </a:lnTo>
                <a:lnTo>
                  <a:pt x="2646937" y="4004278"/>
                </a:lnTo>
                <a:lnTo>
                  <a:pt x="2646178" y="4001680"/>
                </a:lnTo>
                <a:lnTo>
                  <a:pt x="2644442" y="4003304"/>
                </a:lnTo>
                <a:lnTo>
                  <a:pt x="2642054" y="4010666"/>
                </a:lnTo>
                <a:lnTo>
                  <a:pt x="2643465" y="4016188"/>
                </a:lnTo>
                <a:lnTo>
                  <a:pt x="2641512" y="4020843"/>
                </a:lnTo>
                <a:lnTo>
                  <a:pt x="2628490" y="4028855"/>
                </a:lnTo>
                <a:lnTo>
                  <a:pt x="2618290" y="4032320"/>
                </a:lnTo>
                <a:lnTo>
                  <a:pt x="2616445" y="4029722"/>
                </a:lnTo>
                <a:lnTo>
                  <a:pt x="2615685" y="4032862"/>
                </a:lnTo>
                <a:lnTo>
                  <a:pt x="2601035" y="4038816"/>
                </a:lnTo>
                <a:lnTo>
                  <a:pt x="2584324" y="4043147"/>
                </a:lnTo>
                <a:lnTo>
                  <a:pt x="2574340" y="4043689"/>
                </a:lnTo>
                <a:lnTo>
                  <a:pt x="2566418" y="4042498"/>
                </a:lnTo>
                <a:lnTo>
                  <a:pt x="2559039" y="4043797"/>
                </a:lnTo>
                <a:lnTo>
                  <a:pt x="2554373" y="4043797"/>
                </a:lnTo>
                <a:lnTo>
                  <a:pt x="2549056" y="4040441"/>
                </a:lnTo>
                <a:lnTo>
                  <a:pt x="2542328" y="4038167"/>
                </a:lnTo>
                <a:lnTo>
                  <a:pt x="2539072" y="4038167"/>
                </a:lnTo>
                <a:lnTo>
                  <a:pt x="2537010" y="4035352"/>
                </a:lnTo>
                <a:lnTo>
                  <a:pt x="2535382" y="4036976"/>
                </a:lnTo>
                <a:lnTo>
                  <a:pt x="2535382" y="4040874"/>
                </a:lnTo>
                <a:lnTo>
                  <a:pt x="2536685" y="4043689"/>
                </a:lnTo>
                <a:lnTo>
                  <a:pt x="2536685" y="4052026"/>
                </a:lnTo>
                <a:lnTo>
                  <a:pt x="2538855" y="4055382"/>
                </a:lnTo>
                <a:lnTo>
                  <a:pt x="2538312" y="4057873"/>
                </a:lnTo>
                <a:lnTo>
                  <a:pt x="2542328" y="4058305"/>
                </a:lnTo>
                <a:lnTo>
                  <a:pt x="2543196" y="4062420"/>
                </a:lnTo>
                <a:lnTo>
                  <a:pt x="2542436" y="4065451"/>
                </a:lnTo>
                <a:lnTo>
                  <a:pt x="2540808" y="4065993"/>
                </a:lnTo>
                <a:lnTo>
                  <a:pt x="2540917" y="4067617"/>
                </a:lnTo>
                <a:lnTo>
                  <a:pt x="2536685" y="4071839"/>
                </a:lnTo>
                <a:lnTo>
                  <a:pt x="2537662" y="4074113"/>
                </a:lnTo>
                <a:lnTo>
                  <a:pt x="2535925" y="4077361"/>
                </a:lnTo>
                <a:lnTo>
                  <a:pt x="2535925" y="4081692"/>
                </a:lnTo>
                <a:lnTo>
                  <a:pt x="2538855" y="4086672"/>
                </a:lnTo>
                <a:lnTo>
                  <a:pt x="2542979" y="4087863"/>
                </a:lnTo>
                <a:lnTo>
                  <a:pt x="2541676" y="4091761"/>
                </a:lnTo>
                <a:lnTo>
                  <a:pt x="2540266" y="4094360"/>
                </a:lnTo>
                <a:lnTo>
                  <a:pt x="2541460" y="4097825"/>
                </a:lnTo>
                <a:lnTo>
                  <a:pt x="2540375" y="4102264"/>
                </a:lnTo>
                <a:lnTo>
                  <a:pt x="2534949" y="4106270"/>
                </a:lnTo>
                <a:lnTo>
                  <a:pt x="2535600" y="4107785"/>
                </a:lnTo>
                <a:lnTo>
                  <a:pt x="2527461" y="4113307"/>
                </a:lnTo>
                <a:lnTo>
                  <a:pt x="2514113" y="4113415"/>
                </a:lnTo>
                <a:lnTo>
                  <a:pt x="2506843" y="4111683"/>
                </a:lnTo>
                <a:lnTo>
                  <a:pt x="2498378" y="4104645"/>
                </a:lnTo>
                <a:lnTo>
                  <a:pt x="2489263" y="4101722"/>
                </a:lnTo>
                <a:lnTo>
                  <a:pt x="2483946" y="4102264"/>
                </a:lnTo>
                <a:lnTo>
                  <a:pt x="2482535" y="4101397"/>
                </a:lnTo>
                <a:lnTo>
                  <a:pt x="2484054" y="4098691"/>
                </a:lnTo>
                <a:lnTo>
                  <a:pt x="2480473" y="4098799"/>
                </a:lnTo>
                <a:lnTo>
                  <a:pt x="2475590" y="4103671"/>
                </a:lnTo>
                <a:lnTo>
                  <a:pt x="2475481" y="4112116"/>
                </a:lnTo>
                <a:lnTo>
                  <a:pt x="2480690" y="4116772"/>
                </a:lnTo>
                <a:lnTo>
                  <a:pt x="2482535" y="4125325"/>
                </a:lnTo>
                <a:lnTo>
                  <a:pt x="2482318" y="4136585"/>
                </a:lnTo>
                <a:lnTo>
                  <a:pt x="2483946" y="4140916"/>
                </a:lnTo>
                <a:lnTo>
                  <a:pt x="2489480" y="4144056"/>
                </a:lnTo>
                <a:lnTo>
                  <a:pt x="2496642" y="4143515"/>
                </a:lnTo>
                <a:lnTo>
                  <a:pt x="2499247" y="4144922"/>
                </a:lnTo>
                <a:lnTo>
                  <a:pt x="2496534" y="4146438"/>
                </a:lnTo>
                <a:lnTo>
                  <a:pt x="2494255" y="4148711"/>
                </a:lnTo>
                <a:lnTo>
                  <a:pt x="2497835" y="4150011"/>
                </a:lnTo>
                <a:lnTo>
                  <a:pt x="2505974" y="4147629"/>
                </a:lnTo>
                <a:lnTo>
                  <a:pt x="2506300" y="4145030"/>
                </a:lnTo>
                <a:lnTo>
                  <a:pt x="2502393" y="4144056"/>
                </a:lnTo>
                <a:lnTo>
                  <a:pt x="2500983" y="4142973"/>
                </a:lnTo>
                <a:lnTo>
                  <a:pt x="2503261" y="4141133"/>
                </a:lnTo>
                <a:lnTo>
                  <a:pt x="2506843" y="4140916"/>
                </a:lnTo>
                <a:lnTo>
                  <a:pt x="2511509" y="4137884"/>
                </a:lnTo>
                <a:lnTo>
                  <a:pt x="2515090" y="4138209"/>
                </a:lnTo>
                <a:lnTo>
                  <a:pt x="2518345" y="4143731"/>
                </a:lnTo>
                <a:lnTo>
                  <a:pt x="2517369" y="4147954"/>
                </a:lnTo>
                <a:lnTo>
                  <a:pt x="2515415" y="4148819"/>
                </a:lnTo>
                <a:lnTo>
                  <a:pt x="2518562" y="4152609"/>
                </a:lnTo>
                <a:lnTo>
                  <a:pt x="2520733" y="4157590"/>
                </a:lnTo>
                <a:lnTo>
                  <a:pt x="2519430" y="4162245"/>
                </a:lnTo>
                <a:lnTo>
                  <a:pt x="2510098" y="4167551"/>
                </a:lnTo>
                <a:lnTo>
                  <a:pt x="2506626" y="4166359"/>
                </a:lnTo>
                <a:lnTo>
                  <a:pt x="2504781" y="4161704"/>
                </a:lnTo>
                <a:lnTo>
                  <a:pt x="2505649" y="4159647"/>
                </a:lnTo>
                <a:lnTo>
                  <a:pt x="2505649" y="4156940"/>
                </a:lnTo>
                <a:lnTo>
                  <a:pt x="2499789" y="4153800"/>
                </a:lnTo>
                <a:lnTo>
                  <a:pt x="2493387" y="4156290"/>
                </a:lnTo>
                <a:lnTo>
                  <a:pt x="2489046" y="4159539"/>
                </a:lnTo>
                <a:lnTo>
                  <a:pt x="2488178" y="4162137"/>
                </a:lnTo>
                <a:lnTo>
                  <a:pt x="2490239" y="4165494"/>
                </a:lnTo>
                <a:lnTo>
                  <a:pt x="2495123" y="4165710"/>
                </a:lnTo>
                <a:lnTo>
                  <a:pt x="2502176" y="4167767"/>
                </a:lnTo>
                <a:lnTo>
                  <a:pt x="2502393" y="4170149"/>
                </a:lnTo>
                <a:lnTo>
                  <a:pt x="2497185" y="4175021"/>
                </a:lnTo>
                <a:lnTo>
                  <a:pt x="2489806" y="4177727"/>
                </a:lnTo>
                <a:lnTo>
                  <a:pt x="2486984" y="4180868"/>
                </a:lnTo>
                <a:lnTo>
                  <a:pt x="2488721" y="4182708"/>
                </a:lnTo>
                <a:lnTo>
                  <a:pt x="2486876" y="4187364"/>
                </a:lnTo>
                <a:lnTo>
                  <a:pt x="2483078" y="4191262"/>
                </a:lnTo>
                <a:lnTo>
                  <a:pt x="2484597" y="4197325"/>
                </a:lnTo>
                <a:lnTo>
                  <a:pt x="2486333" y="4199924"/>
                </a:lnTo>
                <a:lnTo>
                  <a:pt x="2486333" y="4203171"/>
                </a:lnTo>
                <a:lnTo>
                  <a:pt x="2485465" y="4206095"/>
                </a:lnTo>
                <a:lnTo>
                  <a:pt x="2491107" y="4212266"/>
                </a:lnTo>
                <a:lnTo>
                  <a:pt x="2490999" y="4214540"/>
                </a:lnTo>
                <a:lnTo>
                  <a:pt x="2488721" y="4217788"/>
                </a:lnTo>
                <a:lnTo>
                  <a:pt x="2489914" y="4219196"/>
                </a:lnTo>
                <a:lnTo>
                  <a:pt x="2483403" y="4223418"/>
                </a:lnTo>
                <a:lnTo>
                  <a:pt x="2482535" y="4227099"/>
                </a:lnTo>
                <a:lnTo>
                  <a:pt x="2481884" y="4229157"/>
                </a:lnTo>
                <a:lnTo>
                  <a:pt x="2486441" y="4230889"/>
                </a:lnTo>
                <a:lnTo>
                  <a:pt x="2488721" y="4233054"/>
                </a:lnTo>
                <a:lnTo>
                  <a:pt x="2488394" y="4235111"/>
                </a:lnTo>
                <a:lnTo>
                  <a:pt x="2480798" y="4236519"/>
                </a:lnTo>
                <a:lnTo>
                  <a:pt x="2476567" y="4235869"/>
                </a:lnTo>
                <a:lnTo>
                  <a:pt x="2469621" y="4236844"/>
                </a:lnTo>
                <a:lnTo>
                  <a:pt x="2465172" y="4241716"/>
                </a:lnTo>
                <a:lnTo>
                  <a:pt x="2459855" y="4242365"/>
                </a:lnTo>
                <a:lnTo>
                  <a:pt x="2455840" y="4247021"/>
                </a:lnTo>
                <a:lnTo>
                  <a:pt x="2452693" y="4247671"/>
                </a:lnTo>
                <a:lnTo>
                  <a:pt x="2451065" y="4253409"/>
                </a:lnTo>
                <a:lnTo>
                  <a:pt x="2449112" y="4257524"/>
                </a:lnTo>
                <a:lnTo>
                  <a:pt x="2443795" y="4261312"/>
                </a:lnTo>
                <a:lnTo>
                  <a:pt x="2443469" y="4264236"/>
                </a:lnTo>
                <a:lnTo>
                  <a:pt x="2446399" y="4268134"/>
                </a:lnTo>
                <a:lnTo>
                  <a:pt x="2446399" y="4273331"/>
                </a:lnTo>
                <a:lnTo>
                  <a:pt x="2451499" y="4281884"/>
                </a:lnTo>
                <a:lnTo>
                  <a:pt x="2456382" y="4285890"/>
                </a:lnTo>
                <a:lnTo>
                  <a:pt x="2459638" y="4286865"/>
                </a:lnTo>
                <a:lnTo>
                  <a:pt x="2466040" y="4292387"/>
                </a:lnTo>
                <a:lnTo>
                  <a:pt x="2475481" y="4301156"/>
                </a:lnTo>
                <a:lnTo>
                  <a:pt x="2483403" y="4300507"/>
                </a:lnTo>
                <a:lnTo>
                  <a:pt x="2487744" y="4300615"/>
                </a:lnTo>
                <a:lnTo>
                  <a:pt x="2489806" y="4299640"/>
                </a:lnTo>
                <a:lnTo>
                  <a:pt x="2493604" y="4300832"/>
                </a:lnTo>
                <a:lnTo>
                  <a:pt x="2495123" y="4303430"/>
                </a:lnTo>
                <a:lnTo>
                  <a:pt x="2493387" y="4305271"/>
                </a:lnTo>
                <a:lnTo>
                  <a:pt x="2493387" y="4307870"/>
                </a:lnTo>
                <a:lnTo>
                  <a:pt x="2496208" y="4313499"/>
                </a:lnTo>
                <a:lnTo>
                  <a:pt x="2496208" y="4317289"/>
                </a:lnTo>
                <a:lnTo>
                  <a:pt x="2491976" y="4321295"/>
                </a:lnTo>
                <a:lnTo>
                  <a:pt x="2494797" y="4321295"/>
                </a:lnTo>
                <a:lnTo>
                  <a:pt x="2499030" y="4325192"/>
                </a:lnTo>
                <a:lnTo>
                  <a:pt x="2496208" y="4327250"/>
                </a:lnTo>
                <a:lnTo>
                  <a:pt x="2495665" y="4330390"/>
                </a:lnTo>
                <a:lnTo>
                  <a:pt x="2496534" y="4332122"/>
                </a:lnTo>
                <a:lnTo>
                  <a:pt x="2492736" y="4336452"/>
                </a:lnTo>
                <a:lnTo>
                  <a:pt x="2488937" y="4338294"/>
                </a:lnTo>
                <a:lnTo>
                  <a:pt x="2488069" y="4342083"/>
                </a:lnTo>
                <a:lnTo>
                  <a:pt x="2485682" y="4342949"/>
                </a:lnTo>
                <a:lnTo>
                  <a:pt x="2482210" y="4347604"/>
                </a:lnTo>
                <a:lnTo>
                  <a:pt x="2480473" y="4353126"/>
                </a:lnTo>
                <a:lnTo>
                  <a:pt x="2475807" y="4353451"/>
                </a:lnTo>
                <a:lnTo>
                  <a:pt x="2470272" y="4358756"/>
                </a:lnTo>
                <a:lnTo>
                  <a:pt x="2469296" y="4364062"/>
                </a:lnTo>
                <a:lnTo>
                  <a:pt x="2467559" y="4369259"/>
                </a:lnTo>
                <a:lnTo>
                  <a:pt x="2463436" y="4373157"/>
                </a:lnTo>
                <a:lnTo>
                  <a:pt x="2462351" y="4376296"/>
                </a:lnTo>
                <a:lnTo>
                  <a:pt x="2464630" y="4374564"/>
                </a:lnTo>
                <a:lnTo>
                  <a:pt x="2468211" y="4375430"/>
                </a:lnTo>
                <a:lnTo>
                  <a:pt x="2469838" y="4382685"/>
                </a:lnTo>
                <a:lnTo>
                  <a:pt x="2468428" y="4386474"/>
                </a:lnTo>
                <a:lnTo>
                  <a:pt x="2464087" y="4391454"/>
                </a:lnTo>
                <a:lnTo>
                  <a:pt x="2463436" y="4395136"/>
                </a:lnTo>
                <a:lnTo>
                  <a:pt x="2458444" y="4399358"/>
                </a:lnTo>
                <a:lnTo>
                  <a:pt x="2454754" y="4398059"/>
                </a:lnTo>
                <a:lnTo>
                  <a:pt x="2451716" y="4394594"/>
                </a:lnTo>
                <a:lnTo>
                  <a:pt x="2448569" y="4392970"/>
                </a:lnTo>
                <a:lnTo>
                  <a:pt x="2450848" y="4395893"/>
                </a:lnTo>
                <a:lnTo>
                  <a:pt x="2450848" y="4400224"/>
                </a:lnTo>
                <a:lnTo>
                  <a:pt x="2452584" y="4402065"/>
                </a:lnTo>
                <a:lnTo>
                  <a:pt x="2450523" y="4405854"/>
                </a:lnTo>
                <a:lnTo>
                  <a:pt x="2444663" y="4410618"/>
                </a:lnTo>
                <a:lnTo>
                  <a:pt x="2441841" y="4418630"/>
                </a:lnTo>
                <a:lnTo>
                  <a:pt x="2442709" y="4425668"/>
                </a:lnTo>
                <a:lnTo>
                  <a:pt x="2447376" y="4432814"/>
                </a:lnTo>
                <a:lnTo>
                  <a:pt x="2451391" y="4443857"/>
                </a:lnTo>
                <a:lnTo>
                  <a:pt x="2451391" y="4447214"/>
                </a:lnTo>
                <a:lnTo>
                  <a:pt x="2452693" y="4447972"/>
                </a:lnTo>
                <a:lnTo>
                  <a:pt x="2451824" y="4451111"/>
                </a:lnTo>
                <a:lnTo>
                  <a:pt x="2448244" y="4453168"/>
                </a:lnTo>
                <a:lnTo>
                  <a:pt x="2450848" y="4455659"/>
                </a:lnTo>
                <a:lnTo>
                  <a:pt x="2453561" y="4454793"/>
                </a:lnTo>
                <a:lnTo>
                  <a:pt x="2457685" y="4458799"/>
                </a:lnTo>
                <a:lnTo>
                  <a:pt x="2458553" y="4463454"/>
                </a:lnTo>
                <a:lnTo>
                  <a:pt x="2466691" y="4468434"/>
                </a:lnTo>
                <a:lnTo>
                  <a:pt x="2471466" y="4472224"/>
                </a:lnTo>
                <a:lnTo>
                  <a:pt x="2472009" y="4476663"/>
                </a:lnTo>
                <a:lnTo>
                  <a:pt x="2469947" y="4476555"/>
                </a:lnTo>
                <a:lnTo>
                  <a:pt x="2464413" y="4473956"/>
                </a:lnTo>
                <a:lnTo>
                  <a:pt x="2460504" y="4470440"/>
                </a:lnTo>
                <a:lnTo>
                  <a:pt x="2464413" y="4473957"/>
                </a:lnTo>
                <a:lnTo>
                  <a:pt x="2463545" y="4473632"/>
                </a:lnTo>
                <a:lnTo>
                  <a:pt x="2460615" y="4475256"/>
                </a:lnTo>
                <a:lnTo>
                  <a:pt x="2454430" y="4471684"/>
                </a:lnTo>
                <a:lnTo>
                  <a:pt x="2449112" y="4473091"/>
                </a:lnTo>
                <a:lnTo>
                  <a:pt x="2446399" y="4475690"/>
                </a:lnTo>
                <a:lnTo>
                  <a:pt x="2446834" y="4481644"/>
                </a:lnTo>
                <a:lnTo>
                  <a:pt x="2444989" y="4483593"/>
                </a:lnTo>
                <a:lnTo>
                  <a:pt x="2440106" y="4483593"/>
                </a:lnTo>
                <a:lnTo>
                  <a:pt x="2436850" y="4484892"/>
                </a:lnTo>
                <a:lnTo>
                  <a:pt x="2431424" y="4491388"/>
                </a:lnTo>
                <a:lnTo>
                  <a:pt x="2425456" y="4494854"/>
                </a:lnTo>
                <a:lnTo>
                  <a:pt x="2424804" y="4498210"/>
                </a:lnTo>
                <a:lnTo>
                  <a:pt x="2425999" y="4502974"/>
                </a:lnTo>
                <a:lnTo>
                  <a:pt x="2425564" y="4510119"/>
                </a:lnTo>
                <a:lnTo>
                  <a:pt x="2424804" y="4516400"/>
                </a:lnTo>
                <a:lnTo>
                  <a:pt x="2425130" y="4519539"/>
                </a:lnTo>
                <a:lnTo>
                  <a:pt x="2424479" y="4523004"/>
                </a:lnTo>
                <a:lnTo>
                  <a:pt x="2426867" y="4530258"/>
                </a:lnTo>
                <a:lnTo>
                  <a:pt x="2424045" y="4535563"/>
                </a:lnTo>
                <a:lnTo>
                  <a:pt x="2421874" y="4537837"/>
                </a:lnTo>
                <a:lnTo>
                  <a:pt x="2418728" y="4536213"/>
                </a:lnTo>
                <a:lnTo>
                  <a:pt x="2415798" y="4536429"/>
                </a:lnTo>
                <a:lnTo>
                  <a:pt x="2411349" y="4533939"/>
                </a:lnTo>
                <a:lnTo>
                  <a:pt x="2404512" y="4532748"/>
                </a:lnTo>
                <a:lnTo>
                  <a:pt x="2396807" y="4525386"/>
                </a:lnTo>
                <a:lnTo>
                  <a:pt x="2394420" y="4521380"/>
                </a:lnTo>
                <a:lnTo>
                  <a:pt x="2396265" y="4519106"/>
                </a:lnTo>
                <a:lnTo>
                  <a:pt x="2398869" y="4518890"/>
                </a:lnTo>
                <a:lnTo>
                  <a:pt x="2400606" y="4519539"/>
                </a:lnTo>
                <a:lnTo>
                  <a:pt x="2401365" y="4516400"/>
                </a:lnTo>
                <a:lnTo>
                  <a:pt x="2403536" y="4514776"/>
                </a:lnTo>
                <a:lnTo>
                  <a:pt x="2405163" y="4515641"/>
                </a:lnTo>
                <a:lnTo>
                  <a:pt x="2405054" y="4521596"/>
                </a:lnTo>
                <a:lnTo>
                  <a:pt x="2402993" y="4523004"/>
                </a:lnTo>
                <a:lnTo>
                  <a:pt x="2402884" y="4525061"/>
                </a:lnTo>
                <a:lnTo>
                  <a:pt x="2406682" y="4523329"/>
                </a:lnTo>
                <a:lnTo>
                  <a:pt x="2409070" y="4520622"/>
                </a:lnTo>
                <a:lnTo>
                  <a:pt x="2407767" y="4517374"/>
                </a:lnTo>
                <a:lnTo>
                  <a:pt x="2407767" y="4512502"/>
                </a:lnTo>
                <a:lnTo>
                  <a:pt x="2411783" y="4508387"/>
                </a:lnTo>
                <a:lnTo>
                  <a:pt x="2412651" y="4505572"/>
                </a:lnTo>
                <a:lnTo>
                  <a:pt x="2414930" y="4501674"/>
                </a:lnTo>
                <a:lnTo>
                  <a:pt x="2418185" y="4500376"/>
                </a:lnTo>
                <a:lnTo>
                  <a:pt x="2417643" y="4499184"/>
                </a:lnTo>
                <a:lnTo>
                  <a:pt x="2414930" y="4499184"/>
                </a:lnTo>
                <a:lnTo>
                  <a:pt x="2411674" y="4497452"/>
                </a:lnTo>
                <a:lnTo>
                  <a:pt x="2410915" y="4496152"/>
                </a:lnTo>
                <a:lnTo>
                  <a:pt x="2407984" y="4497993"/>
                </a:lnTo>
                <a:lnTo>
                  <a:pt x="2403861" y="4503948"/>
                </a:lnTo>
                <a:lnTo>
                  <a:pt x="2400063" y="4507413"/>
                </a:lnTo>
                <a:lnTo>
                  <a:pt x="2393768" y="4508712"/>
                </a:lnTo>
                <a:lnTo>
                  <a:pt x="2397458" y="4512827"/>
                </a:lnTo>
                <a:lnTo>
                  <a:pt x="2397025" y="4514776"/>
                </a:lnTo>
                <a:lnTo>
                  <a:pt x="2393877" y="4515533"/>
                </a:lnTo>
                <a:lnTo>
                  <a:pt x="2391164" y="4518890"/>
                </a:lnTo>
                <a:lnTo>
                  <a:pt x="2392141" y="4522463"/>
                </a:lnTo>
                <a:lnTo>
                  <a:pt x="2391164" y="4524628"/>
                </a:lnTo>
                <a:lnTo>
                  <a:pt x="2389645" y="4524520"/>
                </a:lnTo>
                <a:lnTo>
                  <a:pt x="2384654" y="4520189"/>
                </a:lnTo>
                <a:lnTo>
                  <a:pt x="2377708" y="4517807"/>
                </a:lnTo>
                <a:lnTo>
                  <a:pt x="2377708" y="4515966"/>
                </a:lnTo>
                <a:lnTo>
                  <a:pt x="2379445" y="4513801"/>
                </a:lnTo>
                <a:lnTo>
                  <a:pt x="2377383" y="4512502"/>
                </a:lnTo>
                <a:lnTo>
                  <a:pt x="2377275" y="4510661"/>
                </a:lnTo>
                <a:lnTo>
                  <a:pt x="2378576" y="4508821"/>
                </a:lnTo>
                <a:lnTo>
                  <a:pt x="2380096" y="4505789"/>
                </a:lnTo>
                <a:lnTo>
                  <a:pt x="2379445" y="4502866"/>
                </a:lnTo>
                <a:lnTo>
                  <a:pt x="2382266" y="4499834"/>
                </a:lnTo>
                <a:lnTo>
                  <a:pt x="2384436" y="4500267"/>
                </a:lnTo>
                <a:lnTo>
                  <a:pt x="2386172" y="4499942"/>
                </a:lnTo>
                <a:lnTo>
                  <a:pt x="2393552" y="4493446"/>
                </a:lnTo>
                <a:lnTo>
                  <a:pt x="2396699" y="4492580"/>
                </a:lnTo>
                <a:lnTo>
                  <a:pt x="2399629" y="4494854"/>
                </a:lnTo>
                <a:lnTo>
                  <a:pt x="2402341" y="4495611"/>
                </a:lnTo>
                <a:lnTo>
                  <a:pt x="2404404" y="4492580"/>
                </a:lnTo>
                <a:lnTo>
                  <a:pt x="2407008" y="4491388"/>
                </a:lnTo>
                <a:lnTo>
                  <a:pt x="2406574" y="4489657"/>
                </a:lnTo>
                <a:lnTo>
                  <a:pt x="2402559" y="4489331"/>
                </a:lnTo>
                <a:lnTo>
                  <a:pt x="2397893" y="4489764"/>
                </a:lnTo>
                <a:lnTo>
                  <a:pt x="2393768" y="4488465"/>
                </a:lnTo>
                <a:lnTo>
                  <a:pt x="2389102" y="4489548"/>
                </a:lnTo>
                <a:lnTo>
                  <a:pt x="2387909" y="4491930"/>
                </a:lnTo>
                <a:lnTo>
                  <a:pt x="2385522" y="4490847"/>
                </a:lnTo>
                <a:lnTo>
                  <a:pt x="2384654" y="4488356"/>
                </a:lnTo>
                <a:lnTo>
                  <a:pt x="2382374" y="4489764"/>
                </a:lnTo>
                <a:lnTo>
                  <a:pt x="2377057" y="4488032"/>
                </a:lnTo>
                <a:lnTo>
                  <a:pt x="2374995" y="4489115"/>
                </a:lnTo>
                <a:lnTo>
                  <a:pt x="2375104" y="4491930"/>
                </a:lnTo>
                <a:lnTo>
                  <a:pt x="2372391" y="4493771"/>
                </a:lnTo>
                <a:lnTo>
                  <a:pt x="2371197" y="4495070"/>
                </a:lnTo>
                <a:lnTo>
                  <a:pt x="2374670" y="4495611"/>
                </a:lnTo>
                <a:lnTo>
                  <a:pt x="2376515" y="4494529"/>
                </a:lnTo>
                <a:lnTo>
                  <a:pt x="2377816" y="4498318"/>
                </a:lnTo>
                <a:lnTo>
                  <a:pt x="2376623" y="4501891"/>
                </a:lnTo>
                <a:lnTo>
                  <a:pt x="2378576" y="4506763"/>
                </a:lnTo>
                <a:lnTo>
                  <a:pt x="2376515" y="4509686"/>
                </a:lnTo>
                <a:lnTo>
                  <a:pt x="2374236" y="4510553"/>
                </a:lnTo>
                <a:lnTo>
                  <a:pt x="2367616" y="4506872"/>
                </a:lnTo>
                <a:lnTo>
                  <a:pt x="2361973" y="4506330"/>
                </a:lnTo>
                <a:lnTo>
                  <a:pt x="2360996" y="4503840"/>
                </a:lnTo>
                <a:lnTo>
                  <a:pt x="2364361" y="4500917"/>
                </a:lnTo>
                <a:lnTo>
                  <a:pt x="2367725" y="4499617"/>
                </a:lnTo>
                <a:lnTo>
                  <a:pt x="2367725" y="4498318"/>
                </a:lnTo>
                <a:lnTo>
                  <a:pt x="2364144" y="4497019"/>
                </a:lnTo>
                <a:lnTo>
                  <a:pt x="2361973" y="4495719"/>
                </a:lnTo>
                <a:lnTo>
                  <a:pt x="2360128" y="4499293"/>
                </a:lnTo>
                <a:lnTo>
                  <a:pt x="2356981" y="4498751"/>
                </a:lnTo>
                <a:lnTo>
                  <a:pt x="2356222" y="4497127"/>
                </a:lnTo>
                <a:lnTo>
                  <a:pt x="2357633" y="4494637"/>
                </a:lnTo>
                <a:lnTo>
                  <a:pt x="2356873" y="4491821"/>
                </a:lnTo>
                <a:lnTo>
                  <a:pt x="2354811" y="4488249"/>
                </a:lnTo>
                <a:lnTo>
                  <a:pt x="2354486" y="4482510"/>
                </a:lnTo>
                <a:lnTo>
                  <a:pt x="2350362" y="4479478"/>
                </a:lnTo>
                <a:lnTo>
                  <a:pt x="2354811" y="4477638"/>
                </a:lnTo>
                <a:lnTo>
                  <a:pt x="2360237" y="4477638"/>
                </a:lnTo>
                <a:lnTo>
                  <a:pt x="2363818" y="4475148"/>
                </a:lnTo>
                <a:lnTo>
                  <a:pt x="2366423" y="4475148"/>
                </a:lnTo>
                <a:lnTo>
                  <a:pt x="2367399" y="4479045"/>
                </a:lnTo>
                <a:lnTo>
                  <a:pt x="2369027" y="4480994"/>
                </a:lnTo>
                <a:lnTo>
                  <a:pt x="2370872" y="4477313"/>
                </a:lnTo>
                <a:lnTo>
                  <a:pt x="2368810" y="4474498"/>
                </a:lnTo>
                <a:lnTo>
                  <a:pt x="2369136" y="4470600"/>
                </a:lnTo>
                <a:lnTo>
                  <a:pt x="2371089" y="4467677"/>
                </a:lnTo>
                <a:lnTo>
                  <a:pt x="2374345" y="4470492"/>
                </a:lnTo>
                <a:lnTo>
                  <a:pt x="2377600" y="4478179"/>
                </a:lnTo>
                <a:lnTo>
                  <a:pt x="2375863" y="4483701"/>
                </a:lnTo>
                <a:lnTo>
                  <a:pt x="2379336" y="4481103"/>
                </a:lnTo>
                <a:lnTo>
                  <a:pt x="2379661" y="4477638"/>
                </a:lnTo>
                <a:lnTo>
                  <a:pt x="2376515" y="4471358"/>
                </a:lnTo>
                <a:lnTo>
                  <a:pt x="2376732" y="4467677"/>
                </a:lnTo>
                <a:lnTo>
                  <a:pt x="2379879" y="4464321"/>
                </a:lnTo>
                <a:lnTo>
                  <a:pt x="2378685" y="4458582"/>
                </a:lnTo>
                <a:lnTo>
                  <a:pt x="2371089" y="4454360"/>
                </a:lnTo>
                <a:lnTo>
                  <a:pt x="2363601" y="4451544"/>
                </a:lnTo>
                <a:lnTo>
                  <a:pt x="2361105" y="4452627"/>
                </a:lnTo>
                <a:lnTo>
                  <a:pt x="2361431" y="4454685"/>
                </a:lnTo>
                <a:lnTo>
                  <a:pt x="2369895" y="4455226"/>
                </a:lnTo>
                <a:lnTo>
                  <a:pt x="2374453" y="4457608"/>
                </a:lnTo>
                <a:lnTo>
                  <a:pt x="2375755" y="4461506"/>
                </a:lnTo>
                <a:lnTo>
                  <a:pt x="2370872" y="4461397"/>
                </a:lnTo>
                <a:lnTo>
                  <a:pt x="2369678" y="4459665"/>
                </a:lnTo>
                <a:lnTo>
                  <a:pt x="2362082" y="4457391"/>
                </a:lnTo>
                <a:lnTo>
                  <a:pt x="2358501" y="4457391"/>
                </a:lnTo>
                <a:lnTo>
                  <a:pt x="2358501" y="4459340"/>
                </a:lnTo>
                <a:lnTo>
                  <a:pt x="2364144" y="4460207"/>
                </a:lnTo>
                <a:lnTo>
                  <a:pt x="2367291" y="4461181"/>
                </a:lnTo>
                <a:lnTo>
                  <a:pt x="2367399" y="4464321"/>
                </a:lnTo>
                <a:lnTo>
                  <a:pt x="2364469" y="4467244"/>
                </a:lnTo>
                <a:lnTo>
                  <a:pt x="2362841" y="4471900"/>
                </a:lnTo>
                <a:lnTo>
                  <a:pt x="2360020" y="4468110"/>
                </a:lnTo>
                <a:lnTo>
                  <a:pt x="2359369" y="4464321"/>
                </a:lnTo>
                <a:lnTo>
                  <a:pt x="2355354" y="4461506"/>
                </a:lnTo>
                <a:lnTo>
                  <a:pt x="2356548" y="4465187"/>
                </a:lnTo>
                <a:lnTo>
                  <a:pt x="2355571" y="4467894"/>
                </a:lnTo>
                <a:lnTo>
                  <a:pt x="2357850" y="4474282"/>
                </a:lnTo>
                <a:lnTo>
                  <a:pt x="2354486" y="4474823"/>
                </a:lnTo>
                <a:lnTo>
                  <a:pt x="2350362" y="4471033"/>
                </a:lnTo>
                <a:lnTo>
                  <a:pt x="2348300" y="4468219"/>
                </a:lnTo>
                <a:lnTo>
                  <a:pt x="2346781" y="4463238"/>
                </a:lnTo>
                <a:lnTo>
                  <a:pt x="2345262" y="4462805"/>
                </a:lnTo>
                <a:lnTo>
                  <a:pt x="2340921" y="4457500"/>
                </a:lnTo>
                <a:lnTo>
                  <a:pt x="2341898" y="4454793"/>
                </a:lnTo>
                <a:lnTo>
                  <a:pt x="2344177" y="4454468"/>
                </a:lnTo>
                <a:lnTo>
                  <a:pt x="2346239" y="4455984"/>
                </a:lnTo>
                <a:lnTo>
                  <a:pt x="2348517" y="4456092"/>
                </a:lnTo>
                <a:lnTo>
                  <a:pt x="2347107" y="4451544"/>
                </a:lnTo>
                <a:lnTo>
                  <a:pt x="2347541" y="4446998"/>
                </a:lnTo>
                <a:lnTo>
                  <a:pt x="2344828" y="4449704"/>
                </a:lnTo>
                <a:lnTo>
                  <a:pt x="2342658" y="4449813"/>
                </a:lnTo>
                <a:lnTo>
                  <a:pt x="2338968" y="4445590"/>
                </a:lnTo>
                <a:lnTo>
                  <a:pt x="2338968" y="4442666"/>
                </a:lnTo>
                <a:lnTo>
                  <a:pt x="2335603" y="4442666"/>
                </a:lnTo>
                <a:lnTo>
                  <a:pt x="2333108" y="4441042"/>
                </a:lnTo>
                <a:lnTo>
                  <a:pt x="2335930" y="4437253"/>
                </a:lnTo>
                <a:lnTo>
                  <a:pt x="2339728" y="4435954"/>
                </a:lnTo>
                <a:lnTo>
                  <a:pt x="2340704" y="4433031"/>
                </a:lnTo>
                <a:lnTo>
                  <a:pt x="2340921" y="4429457"/>
                </a:lnTo>
                <a:lnTo>
                  <a:pt x="2337123" y="4433680"/>
                </a:lnTo>
                <a:lnTo>
                  <a:pt x="2335387" y="4431299"/>
                </a:lnTo>
                <a:lnTo>
                  <a:pt x="2333976" y="4426859"/>
                </a:lnTo>
                <a:lnTo>
                  <a:pt x="2336146" y="4426642"/>
                </a:lnTo>
                <a:lnTo>
                  <a:pt x="2336798" y="4424369"/>
                </a:lnTo>
                <a:lnTo>
                  <a:pt x="2333108" y="4421662"/>
                </a:lnTo>
                <a:lnTo>
                  <a:pt x="2323993" y="4419713"/>
                </a:lnTo>
                <a:lnTo>
                  <a:pt x="2317481" y="4414949"/>
                </a:lnTo>
                <a:lnTo>
                  <a:pt x="2317156" y="4411809"/>
                </a:lnTo>
                <a:lnTo>
                  <a:pt x="2319001" y="4407695"/>
                </a:lnTo>
                <a:lnTo>
                  <a:pt x="2321496" y="4406071"/>
                </a:lnTo>
                <a:lnTo>
                  <a:pt x="2321496" y="4401849"/>
                </a:lnTo>
                <a:lnTo>
                  <a:pt x="2322473" y="4397626"/>
                </a:lnTo>
                <a:lnTo>
                  <a:pt x="2321822" y="4395136"/>
                </a:lnTo>
                <a:lnTo>
                  <a:pt x="2325946" y="4391455"/>
                </a:lnTo>
                <a:lnTo>
                  <a:pt x="2331480" y="4390156"/>
                </a:lnTo>
                <a:lnTo>
                  <a:pt x="2332674" y="4388965"/>
                </a:lnTo>
                <a:lnTo>
                  <a:pt x="2329527" y="4389181"/>
                </a:lnTo>
                <a:lnTo>
                  <a:pt x="2325946" y="4386799"/>
                </a:lnTo>
                <a:lnTo>
                  <a:pt x="2325621" y="4384200"/>
                </a:lnTo>
                <a:lnTo>
                  <a:pt x="2328333" y="4374240"/>
                </a:lnTo>
                <a:lnTo>
                  <a:pt x="2330612" y="4374023"/>
                </a:lnTo>
                <a:lnTo>
                  <a:pt x="2329419" y="4371966"/>
                </a:lnTo>
                <a:lnTo>
                  <a:pt x="2326054" y="4374240"/>
                </a:lnTo>
                <a:lnTo>
                  <a:pt x="2323667" y="4383118"/>
                </a:lnTo>
                <a:lnTo>
                  <a:pt x="2323667" y="4391022"/>
                </a:lnTo>
                <a:lnTo>
                  <a:pt x="2319869" y="4389506"/>
                </a:lnTo>
                <a:lnTo>
                  <a:pt x="2317156" y="4384850"/>
                </a:lnTo>
                <a:lnTo>
                  <a:pt x="2317265" y="4379545"/>
                </a:lnTo>
                <a:lnTo>
                  <a:pt x="2314768" y="4376297"/>
                </a:lnTo>
                <a:lnTo>
                  <a:pt x="2311947" y="4364712"/>
                </a:lnTo>
                <a:lnTo>
                  <a:pt x="2312273" y="4361681"/>
                </a:lnTo>
                <a:lnTo>
                  <a:pt x="2314877" y="4361464"/>
                </a:lnTo>
                <a:lnTo>
                  <a:pt x="2316288" y="4358757"/>
                </a:lnTo>
                <a:lnTo>
                  <a:pt x="2315528" y="4356700"/>
                </a:lnTo>
                <a:lnTo>
                  <a:pt x="2315420" y="4354318"/>
                </a:lnTo>
                <a:lnTo>
                  <a:pt x="2319001" y="4350853"/>
                </a:lnTo>
                <a:lnTo>
                  <a:pt x="2319543" y="4348255"/>
                </a:lnTo>
                <a:lnTo>
                  <a:pt x="2316071" y="4350204"/>
                </a:lnTo>
                <a:lnTo>
                  <a:pt x="2311947" y="4349121"/>
                </a:lnTo>
                <a:lnTo>
                  <a:pt x="2311079" y="4345115"/>
                </a:lnTo>
                <a:lnTo>
                  <a:pt x="2306413" y="4342300"/>
                </a:lnTo>
                <a:lnTo>
                  <a:pt x="2305653" y="4339809"/>
                </a:lnTo>
                <a:lnTo>
                  <a:pt x="2307281" y="4336453"/>
                </a:lnTo>
                <a:lnTo>
                  <a:pt x="2314552" y="4334504"/>
                </a:lnTo>
                <a:lnTo>
                  <a:pt x="2317807" y="4337103"/>
                </a:lnTo>
                <a:lnTo>
                  <a:pt x="2319001" y="4335371"/>
                </a:lnTo>
                <a:lnTo>
                  <a:pt x="2323341" y="4335154"/>
                </a:lnTo>
                <a:lnTo>
                  <a:pt x="2324861" y="4334180"/>
                </a:lnTo>
                <a:lnTo>
                  <a:pt x="2323993" y="4332447"/>
                </a:lnTo>
                <a:lnTo>
                  <a:pt x="2325729" y="4329307"/>
                </a:lnTo>
                <a:lnTo>
                  <a:pt x="2321822" y="4331039"/>
                </a:lnTo>
                <a:lnTo>
                  <a:pt x="2319435" y="4331257"/>
                </a:lnTo>
                <a:lnTo>
                  <a:pt x="2316830" y="4328658"/>
                </a:lnTo>
                <a:lnTo>
                  <a:pt x="2310428" y="4331906"/>
                </a:lnTo>
                <a:lnTo>
                  <a:pt x="2304026" y="4330931"/>
                </a:lnTo>
                <a:lnTo>
                  <a:pt x="2302506" y="4327575"/>
                </a:lnTo>
                <a:lnTo>
                  <a:pt x="2298925" y="4324327"/>
                </a:lnTo>
                <a:lnTo>
                  <a:pt x="2299251" y="4320646"/>
                </a:lnTo>
                <a:lnTo>
                  <a:pt x="2301855" y="4320213"/>
                </a:lnTo>
                <a:lnTo>
                  <a:pt x="2303374" y="4322486"/>
                </a:lnTo>
                <a:lnTo>
                  <a:pt x="2307715" y="4324327"/>
                </a:lnTo>
                <a:lnTo>
                  <a:pt x="2308366" y="4323027"/>
                </a:lnTo>
                <a:lnTo>
                  <a:pt x="2304026" y="4320213"/>
                </a:lnTo>
                <a:lnTo>
                  <a:pt x="2302181" y="4317506"/>
                </a:lnTo>
                <a:lnTo>
                  <a:pt x="2304243" y="4314258"/>
                </a:lnTo>
                <a:lnTo>
                  <a:pt x="2306956" y="4312201"/>
                </a:lnTo>
                <a:lnTo>
                  <a:pt x="2304894" y="4309386"/>
                </a:lnTo>
                <a:lnTo>
                  <a:pt x="2306087" y="4307003"/>
                </a:lnTo>
                <a:lnTo>
                  <a:pt x="2308692" y="4306462"/>
                </a:lnTo>
                <a:lnTo>
                  <a:pt x="2306304" y="4303756"/>
                </a:lnTo>
                <a:lnTo>
                  <a:pt x="2300119" y="4300615"/>
                </a:lnTo>
                <a:lnTo>
                  <a:pt x="2298383" y="4297909"/>
                </a:lnTo>
                <a:lnTo>
                  <a:pt x="2295453" y="4296718"/>
                </a:lnTo>
                <a:lnTo>
                  <a:pt x="2293174" y="4299100"/>
                </a:lnTo>
                <a:lnTo>
                  <a:pt x="2287856" y="4299317"/>
                </a:lnTo>
                <a:lnTo>
                  <a:pt x="2283408" y="4296285"/>
                </a:lnTo>
                <a:lnTo>
                  <a:pt x="2282322" y="4290872"/>
                </a:lnTo>
                <a:lnTo>
                  <a:pt x="2281128" y="4292388"/>
                </a:lnTo>
                <a:lnTo>
                  <a:pt x="2275052" y="4292929"/>
                </a:lnTo>
                <a:lnTo>
                  <a:pt x="2272881" y="4297368"/>
                </a:lnTo>
                <a:lnTo>
                  <a:pt x="2273424" y="4299750"/>
                </a:lnTo>
                <a:lnTo>
                  <a:pt x="2277656" y="4301049"/>
                </a:lnTo>
                <a:lnTo>
                  <a:pt x="2277982" y="4303972"/>
                </a:lnTo>
                <a:lnTo>
                  <a:pt x="2275811" y="4306354"/>
                </a:lnTo>
                <a:lnTo>
                  <a:pt x="2272122" y="4305813"/>
                </a:lnTo>
                <a:lnTo>
                  <a:pt x="2265611" y="4298558"/>
                </a:lnTo>
                <a:lnTo>
                  <a:pt x="2265936" y="4294986"/>
                </a:lnTo>
                <a:lnTo>
                  <a:pt x="2272122" y="4291521"/>
                </a:lnTo>
                <a:lnTo>
                  <a:pt x="2273858" y="4287515"/>
                </a:lnTo>
                <a:lnTo>
                  <a:pt x="2277113" y="4285133"/>
                </a:lnTo>
                <a:lnTo>
                  <a:pt x="2278741" y="4280694"/>
                </a:lnTo>
                <a:lnTo>
                  <a:pt x="2281671" y="4280152"/>
                </a:lnTo>
                <a:lnTo>
                  <a:pt x="2280586" y="4276472"/>
                </a:lnTo>
                <a:lnTo>
                  <a:pt x="2278850" y="4276254"/>
                </a:lnTo>
                <a:lnTo>
                  <a:pt x="2276462" y="4271274"/>
                </a:lnTo>
                <a:lnTo>
                  <a:pt x="2276679" y="4268568"/>
                </a:lnTo>
                <a:lnTo>
                  <a:pt x="2279935" y="4267701"/>
                </a:lnTo>
                <a:lnTo>
                  <a:pt x="2282648" y="4268568"/>
                </a:lnTo>
                <a:lnTo>
                  <a:pt x="2291112" y="4268134"/>
                </a:lnTo>
                <a:lnTo>
                  <a:pt x="2295887" y="4266402"/>
                </a:lnTo>
                <a:lnTo>
                  <a:pt x="2297732" y="4267701"/>
                </a:lnTo>
                <a:lnTo>
                  <a:pt x="2297732" y="4274197"/>
                </a:lnTo>
                <a:lnTo>
                  <a:pt x="2294910" y="4276254"/>
                </a:lnTo>
                <a:lnTo>
                  <a:pt x="2290569" y="4277770"/>
                </a:lnTo>
                <a:lnTo>
                  <a:pt x="2290461" y="4279828"/>
                </a:lnTo>
                <a:lnTo>
                  <a:pt x="2293065" y="4280152"/>
                </a:lnTo>
                <a:lnTo>
                  <a:pt x="2297515" y="4277121"/>
                </a:lnTo>
                <a:lnTo>
                  <a:pt x="2303699" y="4275064"/>
                </a:lnTo>
                <a:lnTo>
                  <a:pt x="2305762" y="4275713"/>
                </a:lnTo>
                <a:lnTo>
                  <a:pt x="2304894" y="4278095"/>
                </a:lnTo>
                <a:lnTo>
                  <a:pt x="2305653" y="4282101"/>
                </a:lnTo>
                <a:lnTo>
                  <a:pt x="2304243" y="4289680"/>
                </a:lnTo>
                <a:lnTo>
                  <a:pt x="2302506" y="4291846"/>
                </a:lnTo>
                <a:lnTo>
                  <a:pt x="2304243" y="4294661"/>
                </a:lnTo>
                <a:lnTo>
                  <a:pt x="2305111" y="4290005"/>
                </a:lnTo>
                <a:lnTo>
                  <a:pt x="2308366" y="4288273"/>
                </a:lnTo>
                <a:lnTo>
                  <a:pt x="2308692" y="4279395"/>
                </a:lnTo>
                <a:lnTo>
                  <a:pt x="2309885" y="4276579"/>
                </a:lnTo>
                <a:lnTo>
                  <a:pt x="2307281" y="4275389"/>
                </a:lnTo>
                <a:lnTo>
                  <a:pt x="2307498" y="4270084"/>
                </a:lnTo>
                <a:lnTo>
                  <a:pt x="2310102" y="4262613"/>
                </a:lnTo>
                <a:lnTo>
                  <a:pt x="2313467" y="4258499"/>
                </a:lnTo>
                <a:lnTo>
                  <a:pt x="2311622" y="4257307"/>
                </a:lnTo>
                <a:lnTo>
                  <a:pt x="2311405" y="4254384"/>
                </a:lnTo>
                <a:lnTo>
                  <a:pt x="2313141" y="4252111"/>
                </a:lnTo>
                <a:lnTo>
                  <a:pt x="2311296" y="4247022"/>
                </a:lnTo>
                <a:lnTo>
                  <a:pt x="2311839" y="4242366"/>
                </a:lnTo>
                <a:lnTo>
                  <a:pt x="2314552" y="4242366"/>
                </a:lnTo>
                <a:lnTo>
                  <a:pt x="2320737" y="4238577"/>
                </a:lnTo>
                <a:lnTo>
                  <a:pt x="2324209" y="4233379"/>
                </a:lnTo>
                <a:lnTo>
                  <a:pt x="2324752" y="4225909"/>
                </a:lnTo>
                <a:lnTo>
                  <a:pt x="2322799" y="4222985"/>
                </a:lnTo>
                <a:lnTo>
                  <a:pt x="2318675" y="4222228"/>
                </a:lnTo>
                <a:lnTo>
                  <a:pt x="2318133" y="4218655"/>
                </a:lnTo>
                <a:lnTo>
                  <a:pt x="2315203" y="4215732"/>
                </a:lnTo>
                <a:lnTo>
                  <a:pt x="2310645" y="4215515"/>
                </a:lnTo>
                <a:lnTo>
                  <a:pt x="2308149" y="4213133"/>
                </a:lnTo>
                <a:lnTo>
                  <a:pt x="2308366" y="4210210"/>
                </a:lnTo>
                <a:lnTo>
                  <a:pt x="2311296" y="4206637"/>
                </a:lnTo>
                <a:lnTo>
                  <a:pt x="2312164" y="4200790"/>
                </a:lnTo>
                <a:lnTo>
                  <a:pt x="2313467" y="4196784"/>
                </a:lnTo>
                <a:lnTo>
                  <a:pt x="2308366" y="4193536"/>
                </a:lnTo>
                <a:lnTo>
                  <a:pt x="2307715" y="4191154"/>
                </a:lnTo>
                <a:lnTo>
                  <a:pt x="2311839" y="4186715"/>
                </a:lnTo>
                <a:lnTo>
                  <a:pt x="2310102" y="4185308"/>
                </a:lnTo>
                <a:lnTo>
                  <a:pt x="2310428" y="4182059"/>
                </a:lnTo>
                <a:lnTo>
                  <a:pt x="2314009" y="4177945"/>
                </a:lnTo>
                <a:lnTo>
                  <a:pt x="2310102" y="4174155"/>
                </a:lnTo>
                <a:lnTo>
                  <a:pt x="2309669" y="4168309"/>
                </a:lnTo>
                <a:lnTo>
                  <a:pt x="2311839" y="4166576"/>
                </a:lnTo>
                <a:lnTo>
                  <a:pt x="2314877" y="4165494"/>
                </a:lnTo>
                <a:lnTo>
                  <a:pt x="2314009" y="4163112"/>
                </a:lnTo>
                <a:lnTo>
                  <a:pt x="2309560" y="4159864"/>
                </a:lnTo>
                <a:lnTo>
                  <a:pt x="2309234" y="4157482"/>
                </a:lnTo>
                <a:lnTo>
                  <a:pt x="2310645" y="4155100"/>
                </a:lnTo>
                <a:lnTo>
                  <a:pt x="2313358" y="4156291"/>
                </a:lnTo>
                <a:lnTo>
                  <a:pt x="2315094" y="4160188"/>
                </a:lnTo>
                <a:lnTo>
                  <a:pt x="2317265" y="4162570"/>
                </a:lnTo>
                <a:lnTo>
                  <a:pt x="2318567" y="4161380"/>
                </a:lnTo>
                <a:lnTo>
                  <a:pt x="2316288" y="4158673"/>
                </a:lnTo>
                <a:lnTo>
                  <a:pt x="2315745" y="4150336"/>
                </a:lnTo>
                <a:lnTo>
                  <a:pt x="2315203" y="4146763"/>
                </a:lnTo>
                <a:lnTo>
                  <a:pt x="2312490" y="4148496"/>
                </a:lnTo>
                <a:lnTo>
                  <a:pt x="2308583" y="4146763"/>
                </a:lnTo>
                <a:lnTo>
                  <a:pt x="2308583" y="4143731"/>
                </a:lnTo>
                <a:lnTo>
                  <a:pt x="2313684" y="4139076"/>
                </a:lnTo>
                <a:lnTo>
                  <a:pt x="2316071" y="4135503"/>
                </a:lnTo>
                <a:lnTo>
                  <a:pt x="2313032" y="4135936"/>
                </a:lnTo>
                <a:lnTo>
                  <a:pt x="2311405" y="4137019"/>
                </a:lnTo>
                <a:lnTo>
                  <a:pt x="2307824" y="4132688"/>
                </a:lnTo>
                <a:lnTo>
                  <a:pt x="2303483" y="4132580"/>
                </a:lnTo>
                <a:lnTo>
                  <a:pt x="2302506" y="4133879"/>
                </a:lnTo>
                <a:lnTo>
                  <a:pt x="2302181" y="4140592"/>
                </a:lnTo>
                <a:lnTo>
                  <a:pt x="2295453" y="4142324"/>
                </a:lnTo>
                <a:lnTo>
                  <a:pt x="2288507" y="4139401"/>
                </a:lnTo>
                <a:lnTo>
                  <a:pt x="2286771" y="4135828"/>
                </a:lnTo>
                <a:lnTo>
                  <a:pt x="2284601" y="4133554"/>
                </a:lnTo>
                <a:lnTo>
                  <a:pt x="2277113" y="4122078"/>
                </a:lnTo>
                <a:lnTo>
                  <a:pt x="2275594" y="4119587"/>
                </a:lnTo>
                <a:lnTo>
                  <a:pt x="2276679" y="4118072"/>
                </a:lnTo>
                <a:lnTo>
                  <a:pt x="2277656" y="4114823"/>
                </a:lnTo>
                <a:lnTo>
                  <a:pt x="2275052" y="4112550"/>
                </a:lnTo>
                <a:lnTo>
                  <a:pt x="2277330" y="4109843"/>
                </a:lnTo>
                <a:lnTo>
                  <a:pt x="2276462" y="4105512"/>
                </a:lnTo>
                <a:lnTo>
                  <a:pt x="2279067" y="4095768"/>
                </a:lnTo>
                <a:lnTo>
                  <a:pt x="2275920" y="4093169"/>
                </a:lnTo>
                <a:lnTo>
                  <a:pt x="2274726" y="4088730"/>
                </a:lnTo>
                <a:lnTo>
                  <a:pt x="2276354" y="4084399"/>
                </a:lnTo>
                <a:lnTo>
                  <a:pt x="2278850" y="4084075"/>
                </a:lnTo>
                <a:lnTo>
                  <a:pt x="2280586" y="4085049"/>
                </a:lnTo>
                <a:lnTo>
                  <a:pt x="2281454" y="4082017"/>
                </a:lnTo>
                <a:lnTo>
                  <a:pt x="2280586" y="4078661"/>
                </a:lnTo>
                <a:lnTo>
                  <a:pt x="2282539" y="4077145"/>
                </a:lnTo>
                <a:lnTo>
                  <a:pt x="2284601" y="4066643"/>
                </a:lnTo>
                <a:lnTo>
                  <a:pt x="2284601" y="4058631"/>
                </a:lnTo>
                <a:lnTo>
                  <a:pt x="2281671" y="4055924"/>
                </a:lnTo>
                <a:lnTo>
                  <a:pt x="2280477" y="4052460"/>
                </a:lnTo>
                <a:lnTo>
                  <a:pt x="2272990" y="4039900"/>
                </a:lnTo>
                <a:lnTo>
                  <a:pt x="2273858" y="4033512"/>
                </a:lnTo>
                <a:lnTo>
                  <a:pt x="2273207" y="4028531"/>
                </a:lnTo>
                <a:lnTo>
                  <a:pt x="2267998" y="4024200"/>
                </a:lnTo>
                <a:lnTo>
                  <a:pt x="2264743" y="4019437"/>
                </a:lnTo>
                <a:lnTo>
                  <a:pt x="2264634" y="4012183"/>
                </a:lnTo>
                <a:lnTo>
                  <a:pt x="2263766" y="4006986"/>
                </a:lnTo>
                <a:lnTo>
                  <a:pt x="2264200" y="4004063"/>
                </a:lnTo>
                <a:lnTo>
                  <a:pt x="2267672" y="4003304"/>
                </a:lnTo>
                <a:lnTo>
                  <a:pt x="2270602" y="4005470"/>
                </a:lnTo>
                <a:lnTo>
                  <a:pt x="2273424" y="4005145"/>
                </a:lnTo>
                <a:lnTo>
                  <a:pt x="2276137" y="4001247"/>
                </a:lnTo>
                <a:lnTo>
                  <a:pt x="2275920" y="3996375"/>
                </a:lnTo>
                <a:lnTo>
                  <a:pt x="2274400" y="3992478"/>
                </a:lnTo>
                <a:lnTo>
                  <a:pt x="2274726" y="3989013"/>
                </a:lnTo>
                <a:lnTo>
                  <a:pt x="2276354" y="3986090"/>
                </a:lnTo>
                <a:lnTo>
                  <a:pt x="2276354" y="3981651"/>
                </a:lnTo>
                <a:lnTo>
                  <a:pt x="2279610" y="3979377"/>
                </a:lnTo>
                <a:lnTo>
                  <a:pt x="2280151" y="3975371"/>
                </a:lnTo>
                <a:lnTo>
                  <a:pt x="2280260" y="3968874"/>
                </a:lnTo>
                <a:lnTo>
                  <a:pt x="2283190" y="3964544"/>
                </a:lnTo>
                <a:lnTo>
                  <a:pt x="2281454" y="3961837"/>
                </a:lnTo>
                <a:lnTo>
                  <a:pt x="2281128" y="3959238"/>
                </a:lnTo>
                <a:lnTo>
                  <a:pt x="2283841" y="3956315"/>
                </a:lnTo>
                <a:lnTo>
                  <a:pt x="2284384" y="3950468"/>
                </a:lnTo>
                <a:lnTo>
                  <a:pt x="2285578" y="3948411"/>
                </a:lnTo>
                <a:lnTo>
                  <a:pt x="2285252" y="3944081"/>
                </a:lnTo>
                <a:lnTo>
                  <a:pt x="2287314" y="3940183"/>
                </a:lnTo>
                <a:lnTo>
                  <a:pt x="2287965" y="3932929"/>
                </a:lnTo>
                <a:lnTo>
                  <a:pt x="2287965" y="3929031"/>
                </a:lnTo>
                <a:lnTo>
                  <a:pt x="2290787" y="3925891"/>
                </a:lnTo>
                <a:lnTo>
                  <a:pt x="2292522" y="3920261"/>
                </a:lnTo>
                <a:lnTo>
                  <a:pt x="2290569" y="3917987"/>
                </a:lnTo>
                <a:lnTo>
                  <a:pt x="2290569" y="3915930"/>
                </a:lnTo>
                <a:lnTo>
                  <a:pt x="2293825" y="3909217"/>
                </a:lnTo>
                <a:lnTo>
                  <a:pt x="2297515" y="3907052"/>
                </a:lnTo>
                <a:lnTo>
                  <a:pt x="2300119" y="3902830"/>
                </a:lnTo>
                <a:lnTo>
                  <a:pt x="2299360" y="3898715"/>
                </a:lnTo>
                <a:lnTo>
                  <a:pt x="2294042" y="3891353"/>
                </a:lnTo>
                <a:lnTo>
                  <a:pt x="2292631" y="3888971"/>
                </a:lnTo>
                <a:lnTo>
                  <a:pt x="2293825" y="3884857"/>
                </a:lnTo>
                <a:lnTo>
                  <a:pt x="2294585" y="3881175"/>
                </a:lnTo>
                <a:lnTo>
                  <a:pt x="2293390" y="3877061"/>
                </a:lnTo>
                <a:lnTo>
                  <a:pt x="2293174" y="3874679"/>
                </a:lnTo>
                <a:lnTo>
                  <a:pt x="2294802" y="3868832"/>
                </a:lnTo>
                <a:lnTo>
                  <a:pt x="2294367" y="3860387"/>
                </a:lnTo>
                <a:lnTo>
                  <a:pt x="2289376" y="3853133"/>
                </a:lnTo>
                <a:lnTo>
                  <a:pt x="2288833" y="3848911"/>
                </a:lnTo>
                <a:lnTo>
                  <a:pt x="2291112" y="3846312"/>
                </a:lnTo>
                <a:lnTo>
                  <a:pt x="2291112" y="3838408"/>
                </a:lnTo>
                <a:lnTo>
                  <a:pt x="2285578" y="3824117"/>
                </a:lnTo>
                <a:lnTo>
                  <a:pt x="2285144" y="3819137"/>
                </a:lnTo>
                <a:lnTo>
                  <a:pt x="2284058" y="3813831"/>
                </a:lnTo>
                <a:lnTo>
                  <a:pt x="2284276" y="3807660"/>
                </a:lnTo>
                <a:lnTo>
                  <a:pt x="2287531" y="3806252"/>
                </a:lnTo>
                <a:lnTo>
                  <a:pt x="2291004" y="3802138"/>
                </a:lnTo>
                <a:lnTo>
                  <a:pt x="2287639" y="3798023"/>
                </a:lnTo>
                <a:lnTo>
                  <a:pt x="2289701" y="3792719"/>
                </a:lnTo>
                <a:lnTo>
                  <a:pt x="2293174" y="3790228"/>
                </a:lnTo>
                <a:lnTo>
                  <a:pt x="2290461" y="3786005"/>
                </a:lnTo>
                <a:lnTo>
                  <a:pt x="2289593" y="3779076"/>
                </a:lnTo>
                <a:lnTo>
                  <a:pt x="2285252" y="3772364"/>
                </a:lnTo>
                <a:lnTo>
                  <a:pt x="2285252" y="3768574"/>
                </a:lnTo>
                <a:lnTo>
                  <a:pt x="2289267" y="3759695"/>
                </a:lnTo>
                <a:lnTo>
                  <a:pt x="2290135" y="3756340"/>
                </a:lnTo>
                <a:lnTo>
                  <a:pt x="2288724" y="3748869"/>
                </a:lnTo>
                <a:lnTo>
                  <a:pt x="2291112" y="3744863"/>
                </a:lnTo>
                <a:lnTo>
                  <a:pt x="2291437" y="3738691"/>
                </a:lnTo>
                <a:lnTo>
                  <a:pt x="2295453" y="3732628"/>
                </a:lnTo>
                <a:lnTo>
                  <a:pt x="2295453" y="3729813"/>
                </a:lnTo>
                <a:lnTo>
                  <a:pt x="2294259" y="3726348"/>
                </a:lnTo>
                <a:lnTo>
                  <a:pt x="2294259" y="3719744"/>
                </a:lnTo>
                <a:lnTo>
                  <a:pt x="2296863" y="3715305"/>
                </a:lnTo>
                <a:lnTo>
                  <a:pt x="2297297" y="3703287"/>
                </a:lnTo>
                <a:lnTo>
                  <a:pt x="2298383" y="3698306"/>
                </a:lnTo>
                <a:lnTo>
                  <a:pt x="2293825" y="3690186"/>
                </a:lnTo>
                <a:lnTo>
                  <a:pt x="2293825" y="3684014"/>
                </a:lnTo>
                <a:lnTo>
                  <a:pt x="2297840" y="3677627"/>
                </a:lnTo>
                <a:lnTo>
                  <a:pt x="2298708" y="3671455"/>
                </a:lnTo>
                <a:lnTo>
                  <a:pt x="2297948" y="3664093"/>
                </a:lnTo>
                <a:lnTo>
                  <a:pt x="2294585" y="3654673"/>
                </a:lnTo>
                <a:lnTo>
                  <a:pt x="2294367" y="3629662"/>
                </a:lnTo>
                <a:lnTo>
                  <a:pt x="2297297" y="3626956"/>
                </a:lnTo>
                <a:lnTo>
                  <a:pt x="2295453" y="3625223"/>
                </a:lnTo>
                <a:lnTo>
                  <a:pt x="2292306" y="3627498"/>
                </a:lnTo>
                <a:lnTo>
                  <a:pt x="2290787" y="3625115"/>
                </a:lnTo>
                <a:lnTo>
                  <a:pt x="2290244" y="3615588"/>
                </a:lnTo>
                <a:lnTo>
                  <a:pt x="2293499" y="3613422"/>
                </a:lnTo>
                <a:lnTo>
                  <a:pt x="2296972" y="3611365"/>
                </a:lnTo>
                <a:lnTo>
                  <a:pt x="2296972" y="3607251"/>
                </a:lnTo>
                <a:lnTo>
                  <a:pt x="2296103" y="3590360"/>
                </a:lnTo>
                <a:lnTo>
                  <a:pt x="2297189" y="3588087"/>
                </a:lnTo>
                <a:lnTo>
                  <a:pt x="2298491" y="3584730"/>
                </a:lnTo>
                <a:lnTo>
                  <a:pt x="2298491" y="3572279"/>
                </a:lnTo>
                <a:lnTo>
                  <a:pt x="2295453" y="3564700"/>
                </a:lnTo>
                <a:lnTo>
                  <a:pt x="2292522" y="3555822"/>
                </a:lnTo>
                <a:lnTo>
                  <a:pt x="2290569" y="3546728"/>
                </a:lnTo>
                <a:lnTo>
                  <a:pt x="2293174" y="3543912"/>
                </a:lnTo>
                <a:lnTo>
                  <a:pt x="2294585" y="3539149"/>
                </a:lnTo>
                <a:lnTo>
                  <a:pt x="2294585" y="3532436"/>
                </a:lnTo>
                <a:lnTo>
                  <a:pt x="2290787" y="3514571"/>
                </a:lnTo>
                <a:lnTo>
                  <a:pt x="2289593" y="3507859"/>
                </a:lnTo>
                <a:lnTo>
                  <a:pt x="2290244" y="3502878"/>
                </a:lnTo>
                <a:lnTo>
                  <a:pt x="2289701" y="3496165"/>
                </a:lnTo>
                <a:lnTo>
                  <a:pt x="2287639" y="3494216"/>
                </a:lnTo>
                <a:lnTo>
                  <a:pt x="2293608" y="3491402"/>
                </a:lnTo>
                <a:lnTo>
                  <a:pt x="2298816" y="3487937"/>
                </a:lnTo>
                <a:lnTo>
                  <a:pt x="2301964" y="3488586"/>
                </a:lnTo>
                <a:lnTo>
                  <a:pt x="2306521" y="3485663"/>
                </a:lnTo>
                <a:lnTo>
                  <a:pt x="2308258" y="3481765"/>
                </a:lnTo>
                <a:lnTo>
                  <a:pt x="2308257" y="3481765"/>
                </a:lnTo>
                <a:lnTo>
                  <a:pt x="2306521" y="3485663"/>
                </a:lnTo>
                <a:lnTo>
                  <a:pt x="2301963" y="3488586"/>
                </a:lnTo>
                <a:lnTo>
                  <a:pt x="2298816" y="3487936"/>
                </a:lnTo>
                <a:lnTo>
                  <a:pt x="2293608" y="3491401"/>
                </a:lnTo>
                <a:lnTo>
                  <a:pt x="2287639" y="3494216"/>
                </a:lnTo>
                <a:lnTo>
                  <a:pt x="2286771" y="3493350"/>
                </a:lnTo>
                <a:lnTo>
                  <a:pt x="2282648" y="3492050"/>
                </a:lnTo>
                <a:lnTo>
                  <a:pt x="2276462" y="3486420"/>
                </a:lnTo>
                <a:lnTo>
                  <a:pt x="2269950" y="3479708"/>
                </a:lnTo>
                <a:lnTo>
                  <a:pt x="2264525" y="3477434"/>
                </a:lnTo>
                <a:lnTo>
                  <a:pt x="2259099" y="3476351"/>
                </a:lnTo>
                <a:lnTo>
                  <a:pt x="2258991" y="3472995"/>
                </a:lnTo>
                <a:lnTo>
                  <a:pt x="2259316" y="3470505"/>
                </a:lnTo>
                <a:lnTo>
                  <a:pt x="2257797" y="3467473"/>
                </a:lnTo>
                <a:lnTo>
                  <a:pt x="2254541" y="3466174"/>
                </a:lnTo>
                <a:lnTo>
                  <a:pt x="2249441" y="3461302"/>
                </a:lnTo>
                <a:lnTo>
                  <a:pt x="2245751" y="3459028"/>
                </a:lnTo>
                <a:lnTo>
                  <a:pt x="2239241" y="3454264"/>
                </a:lnTo>
                <a:lnTo>
                  <a:pt x="2237938" y="3451124"/>
                </a:lnTo>
                <a:lnTo>
                  <a:pt x="2235768" y="3449934"/>
                </a:lnTo>
                <a:lnTo>
                  <a:pt x="2231319" y="3449717"/>
                </a:lnTo>
                <a:lnTo>
                  <a:pt x="2225024" y="3447335"/>
                </a:lnTo>
                <a:lnTo>
                  <a:pt x="2215801" y="3441704"/>
                </a:lnTo>
                <a:lnTo>
                  <a:pt x="2211677" y="3440622"/>
                </a:lnTo>
                <a:lnTo>
                  <a:pt x="2209615" y="3441380"/>
                </a:lnTo>
                <a:lnTo>
                  <a:pt x="2203864" y="3439323"/>
                </a:lnTo>
                <a:lnTo>
                  <a:pt x="2200175" y="3436941"/>
                </a:lnTo>
                <a:lnTo>
                  <a:pt x="2199632" y="3433368"/>
                </a:lnTo>
                <a:lnTo>
                  <a:pt x="2196160" y="3430120"/>
                </a:lnTo>
                <a:lnTo>
                  <a:pt x="2188454" y="3426114"/>
                </a:lnTo>
                <a:lnTo>
                  <a:pt x="2184331" y="3421458"/>
                </a:lnTo>
                <a:lnTo>
                  <a:pt x="2185742" y="3417344"/>
                </a:lnTo>
                <a:lnTo>
                  <a:pt x="2183463" y="3420159"/>
                </a:lnTo>
                <a:lnTo>
                  <a:pt x="2176192" y="3420484"/>
                </a:lnTo>
                <a:lnTo>
                  <a:pt x="2173154" y="3418535"/>
                </a:lnTo>
                <a:lnTo>
                  <a:pt x="2171417" y="3414529"/>
                </a:lnTo>
                <a:lnTo>
                  <a:pt x="2169681" y="3412255"/>
                </a:lnTo>
                <a:lnTo>
                  <a:pt x="2165123" y="3411713"/>
                </a:lnTo>
                <a:lnTo>
                  <a:pt x="2161543" y="3407275"/>
                </a:lnTo>
                <a:lnTo>
                  <a:pt x="2161217" y="3404027"/>
                </a:lnTo>
                <a:lnTo>
                  <a:pt x="2153621" y="3400237"/>
                </a:lnTo>
                <a:lnTo>
                  <a:pt x="2145699" y="3394715"/>
                </a:lnTo>
                <a:lnTo>
                  <a:pt x="2146784" y="3392333"/>
                </a:lnTo>
                <a:lnTo>
                  <a:pt x="2146024" y="3389193"/>
                </a:lnTo>
                <a:lnTo>
                  <a:pt x="2142986" y="3387136"/>
                </a:lnTo>
                <a:lnTo>
                  <a:pt x="2140165" y="3387678"/>
                </a:lnTo>
                <a:lnTo>
                  <a:pt x="2140165" y="3384105"/>
                </a:lnTo>
                <a:lnTo>
                  <a:pt x="2139297" y="3380099"/>
                </a:lnTo>
                <a:lnTo>
                  <a:pt x="2139513" y="3377717"/>
                </a:lnTo>
                <a:lnTo>
                  <a:pt x="2141793" y="3379232"/>
                </a:lnTo>
                <a:lnTo>
                  <a:pt x="2143854" y="3378366"/>
                </a:lnTo>
                <a:lnTo>
                  <a:pt x="2143637" y="3373927"/>
                </a:lnTo>
                <a:lnTo>
                  <a:pt x="2135715" y="3362775"/>
                </a:lnTo>
                <a:lnTo>
                  <a:pt x="2133979" y="3357254"/>
                </a:lnTo>
                <a:lnTo>
                  <a:pt x="2127143" y="3346210"/>
                </a:lnTo>
                <a:lnTo>
                  <a:pt x="2125841" y="3340580"/>
                </a:lnTo>
                <a:lnTo>
                  <a:pt x="2119655" y="3338306"/>
                </a:lnTo>
                <a:lnTo>
                  <a:pt x="2117485" y="3335383"/>
                </a:lnTo>
                <a:lnTo>
                  <a:pt x="2116617" y="3328671"/>
                </a:lnTo>
                <a:lnTo>
                  <a:pt x="2114555" y="3324447"/>
                </a:lnTo>
                <a:lnTo>
                  <a:pt x="2106416" y="3317194"/>
                </a:lnTo>
                <a:lnTo>
                  <a:pt x="2103269" y="3316220"/>
                </a:lnTo>
                <a:lnTo>
                  <a:pt x="2102510" y="3312863"/>
                </a:lnTo>
                <a:lnTo>
                  <a:pt x="2103703" y="3308965"/>
                </a:lnTo>
                <a:lnTo>
                  <a:pt x="2100773" y="3303985"/>
                </a:lnTo>
                <a:lnTo>
                  <a:pt x="2093177" y="3294457"/>
                </a:lnTo>
                <a:lnTo>
                  <a:pt x="2089379" y="3286228"/>
                </a:lnTo>
                <a:lnTo>
                  <a:pt x="2090789" y="3284388"/>
                </a:lnTo>
                <a:lnTo>
                  <a:pt x="2089921" y="3278649"/>
                </a:lnTo>
                <a:lnTo>
                  <a:pt x="2085581" y="3270962"/>
                </a:lnTo>
                <a:lnTo>
                  <a:pt x="2081783" y="3268688"/>
                </a:lnTo>
                <a:lnTo>
                  <a:pt x="2078527" y="3263384"/>
                </a:lnTo>
                <a:lnTo>
                  <a:pt x="2077659" y="3255588"/>
                </a:lnTo>
                <a:lnTo>
                  <a:pt x="2074946" y="3251040"/>
                </a:lnTo>
                <a:lnTo>
                  <a:pt x="2073536" y="3244111"/>
                </a:lnTo>
                <a:lnTo>
                  <a:pt x="2069194" y="3237074"/>
                </a:lnTo>
                <a:lnTo>
                  <a:pt x="2059537" y="3232093"/>
                </a:lnTo>
                <a:lnTo>
                  <a:pt x="2056824" y="3227329"/>
                </a:lnTo>
                <a:lnTo>
                  <a:pt x="2056064" y="3220725"/>
                </a:lnTo>
                <a:lnTo>
                  <a:pt x="2050747" y="3213254"/>
                </a:lnTo>
                <a:lnTo>
                  <a:pt x="2049553" y="3209248"/>
                </a:lnTo>
                <a:lnTo>
                  <a:pt x="2044778" y="3208057"/>
                </a:lnTo>
                <a:lnTo>
                  <a:pt x="2034903" y="3201561"/>
                </a:lnTo>
                <a:lnTo>
                  <a:pt x="2028393" y="3200695"/>
                </a:lnTo>
                <a:lnTo>
                  <a:pt x="2021339" y="3194632"/>
                </a:lnTo>
                <a:lnTo>
                  <a:pt x="2016456" y="3192791"/>
                </a:lnTo>
                <a:lnTo>
                  <a:pt x="2012549" y="3189001"/>
                </a:lnTo>
                <a:lnTo>
                  <a:pt x="2013959" y="3185320"/>
                </a:lnTo>
                <a:lnTo>
                  <a:pt x="2017757" y="3183696"/>
                </a:lnTo>
                <a:lnTo>
                  <a:pt x="2021339" y="3183479"/>
                </a:lnTo>
                <a:lnTo>
                  <a:pt x="2021773" y="3178824"/>
                </a:lnTo>
                <a:lnTo>
                  <a:pt x="2018192" y="3172111"/>
                </a:lnTo>
                <a:lnTo>
                  <a:pt x="2013526" y="3167997"/>
                </a:lnTo>
                <a:lnTo>
                  <a:pt x="2013526" y="3165398"/>
                </a:lnTo>
                <a:lnTo>
                  <a:pt x="2016456" y="3163342"/>
                </a:lnTo>
                <a:lnTo>
                  <a:pt x="2016021" y="3159877"/>
                </a:lnTo>
                <a:lnTo>
                  <a:pt x="2012223" y="3156845"/>
                </a:lnTo>
                <a:lnTo>
                  <a:pt x="2011681" y="3154571"/>
                </a:lnTo>
                <a:lnTo>
                  <a:pt x="2013526" y="3149916"/>
                </a:lnTo>
                <a:lnTo>
                  <a:pt x="2015262" y="3143961"/>
                </a:lnTo>
                <a:lnTo>
                  <a:pt x="2023509" y="3135841"/>
                </a:lnTo>
                <a:lnTo>
                  <a:pt x="2027850" y="3131835"/>
                </a:lnTo>
                <a:lnTo>
                  <a:pt x="2039570" y="3126746"/>
                </a:lnTo>
                <a:lnTo>
                  <a:pt x="2039895" y="3126421"/>
                </a:lnTo>
                <a:lnTo>
                  <a:pt x="2042065" y="3127612"/>
                </a:lnTo>
                <a:lnTo>
                  <a:pt x="2044127" y="3134108"/>
                </a:lnTo>
                <a:lnTo>
                  <a:pt x="2039135" y="3136707"/>
                </a:lnTo>
                <a:lnTo>
                  <a:pt x="2035120" y="3141146"/>
                </a:lnTo>
                <a:lnTo>
                  <a:pt x="2035880" y="3145802"/>
                </a:lnTo>
                <a:lnTo>
                  <a:pt x="2040655" y="3146018"/>
                </a:lnTo>
                <a:lnTo>
                  <a:pt x="2035881" y="3145801"/>
                </a:lnTo>
                <a:lnTo>
                  <a:pt x="2035121" y="3141145"/>
                </a:lnTo>
                <a:lnTo>
                  <a:pt x="2039136" y="3136706"/>
                </a:lnTo>
                <a:lnTo>
                  <a:pt x="2044128" y="3134108"/>
                </a:lnTo>
                <a:lnTo>
                  <a:pt x="2042066" y="3127612"/>
                </a:lnTo>
                <a:lnTo>
                  <a:pt x="2039896" y="3126421"/>
                </a:lnTo>
                <a:lnTo>
                  <a:pt x="2046081" y="3121224"/>
                </a:lnTo>
                <a:lnTo>
                  <a:pt x="2048577" y="3115160"/>
                </a:lnTo>
                <a:lnTo>
                  <a:pt x="2047817" y="3111588"/>
                </a:lnTo>
                <a:lnTo>
                  <a:pt x="2049012" y="3104875"/>
                </a:lnTo>
                <a:lnTo>
                  <a:pt x="2047492" y="3098704"/>
                </a:lnTo>
                <a:lnTo>
                  <a:pt x="2045973" y="3098379"/>
                </a:lnTo>
                <a:lnTo>
                  <a:pt x="2046299" y="3102168"/>
                </a:lnTo>
                <a:lnTo>
                  <a:pt x="2045431" y="3104442"/>
                </a:lnTo>
                <a:lnTo>
                  <a:pt x="2044888" y="3100761"/>
                </a:lnTo>
                <a:lnTo>
                  <a:pt x="2044779" y="3096647"/>
                </a:lnTo>
                <a:lnTo>
                  <a:pt x="2041306" y="3100111"/>
                </a:lnTo>
                <a:lnTo>
                  <a:pt x="2039788" y="3103035"/>
                </a:lnTo>
                <a:lnTo>
                  <a:pt x="2037726" y="3108664"/>
                </a:lnTo>
                <a:lnTo>
                  <a:pt x="2035772" y="3110072"/>
                </a:lnTo>
                <a:lnTo>
                  <a:pt x="2031865" y="3107474"/>
                </a:lnTo>
                <a:lnTo>
                  <a:pt x="2026982" y="3102493"/>
                </a:lnTo>
                <a:lnTo>
                  <a:pt x="2021774" y="3100436"/>
                </a:lnTo>
                <a:lnTo>
                  <a:pt x="2019061" y="3096863"/>
                </a:lnTo>
                <a:lnTo>
                  <a:pt x="2021448" y="3094589"/>
                </a:lnTo>
                <a:lnTo>
                  <a:pt x="2024053" y="3090150"/>
                </a:lnTo>
                <a:lnTo>
                  <a:pt x="2023184" y="3083113"/>
                </a:lnTo>
                <a:lnTo>
                  <a:pt x="2023727" y="3079323"/>
                </a:lnTo>
                <a:lnTo>
                  <a:pt x="2021883" y="3074343"/>
                </a:lnTo>
                <a:lnTo>
                  <a:pt x="2020146" y="3070554"/>
                </a:lnTo>
                <a:lnTo>
                  <a:pt x="2024378" y="3064707"/>
                </a:lnTo>
                <a:lnTo>
                  <a:pt x="2029479" y="3064057"/>
                </a:lnTo>
                <a:lnTo>
                  <a:pt x="2034036" y="3057452"/>
                </a:lnTo>
                <a:lnTo>
                  <a:pt x="2031974" y="3054746"/>
                </a:lnTo>
                <a:lnTo>
                  <a:pt x="2032625" y="3050632"/>
                </a:lnTo>
                <a:lnTo>
                  <a:pt x="2041632" y="3040995"/>
                </a:lnTo>
                <a:lnTo>
                  <a:pt x="2042934" y="3034391"/>
                </a:lnTo>
                <a:lnTo>
                  <a:pt x="2040873" y="3030926"/>
                </a:lnTo>
                <a:lnTo>
                  <a:pt x="2040547" y="3027570"/>
                </a:lnTo>
                <a:lnTo>
                  <a:pt x="2037400" y="3022048"/>
                </a:lnTo>
                <a:lnTo>
                  <a:pt x="2043694" y="3018908"/>
                </a:lnTo>
                <a:lnTo>
                  <a:pt x="2049554" y="3018583"/>
                </a:lnTo>
                <a:lnTo>
                  <a:pt x="2060948" y="3010680"/>
                </a:lnTo>
                <a:lnTo>
                  <a:pt x="2067785" y="3010355"/>
                </a:lnTo>
                <a:lnTo>
                  <a:pt x="2069195" y="3004725"/>
                </a:lnTo>
                <a:lnTo>
                  <a:pt x="2076140" y="3007324"/>
                </a:lnTo>
                <a:lnTo>
                  <a:pt x="2081966" y="3011359"/>
                </a:lnTo>
                <a:lnTo>
                  <a:pt x="2076140" y="3007323"/>
                </a:lnTo>
                <a:lnTo>
                  <a:pt x="2069195" y="3004724"/>
                </a:lnTo>
                <a:lnTo>
                  <a:pt x="2070280" y="3000393"/>
                </a:lnTo>
                <a:lnTo>
                  <a:pt x="2071257" y="2992382"/>
                </a:lnTo>
                <a:lnTo>
                  <a:pt x="2077876" y="2982421"/>
                </a:lnTo>
                <a:lnTo>
                  <a:pt x="2084712" y="2977224"/>
                </a:lnTo>
                <a:lnTo>
                  <a:pt x="2093720" y="2975275"/>
                </a:lnTo>
                <a:lnTo>
                  <a:pt x="2100448" y="2968779"/>
                </a:lnTo>
                <a:lnTo>
                  <a:pt x="2102835" y="2963798"/>
                </a:lnTo>
                <a:lnTo>
                  <a:pt x="2111733" y="2954812"/>
                </a:lnTo>
                <a:lnTo>
                  <a:pt x="2113795" y="2949507"/>
                </a:lnTo>
                <a:lnTo>
                  <a:pt x="2116291" y="2946475"/>
                </a:lnTo>
                <a:lnTo>
                  <a:pt x="2116074" y="2944201"/>
                </a:lnTo>
                <a:lnTo>
                  <a:pt x="2113578" y="2944418"/>
                </a:lnTo>
                <a:lnTo>
                  <a:pt x="2111082" y="2940953"/>
                </a:lnTo>
                <a:lnTo>
                  <a:pt x="2111733" y="2938354"/>
                </a:lnTo>
                <a:lnTo>
                  <a:pt x="2107501" y="2940195"/>
                </a:lnTo>
                <a:lnTo>
                  <a:pt x="2104680" y="2936189"/>
                </a:lnTo>
                <a:lnTo>
                  <a:pt x="2105222" y="2932832"/>
                </a:lnTo>
                <a:lnTo>
                  <a:pt x="2108587" y="2928935"/>
                </a:lnTo>
                <a:lnTo>
                  <a:pt x="2108152" y="2917783"/>
                </a:lnTo>
                <a:lnTo>
                  <a:pt x="2108695" y="2909771"/>
                </a:lnTo>
                <a:lnTo>
                  <a:pt x="2106850" y="2905440"/>
                </a:lnTo>
                <a:lnTo>
                  <a:pt x="2104897" y="2904574"/>
                </a:lnTo>
                <a:lnTo>
                  <a:pt x="2106850" y="2901110"/>
                </a:lnTo>
                <a:lnTo>
                  <a:pt x="2109888" y="2898835"/>
                </a:lnTo>
                <a:lnTo>
                  <a:pt x="2109888" y="2892231"/>
                </a:lnTo>
                <a:lnTo>
                  <a:pt x="2107067" y="2889091"/>
                </a:lnTo>
                <a:lnTo>
                  <a:pt x="2107175" y="2887034"/>
                </a:lnTo>
                <a:lnTo>
                  <a:pt x="2110105" y="2883786"/>
                </a:lnTo>
                <a:lnTo>
                  <a:pt x="2109455" y="2878480"/>
                </a:lnTo>
                <a:lnTo>
                  <a:pt x="2108152" y="2876316"/>
                </a:lnTo>
                <a:lnTo>
                  <a:pt x="2105874" y="2877506"/>
                </a:lnTo>
                <a:lnTo>
                  <a:pt x="2104029" y="2877723"/>
                </a:lnTo>
                <a:lnTo>
                  <a:pt x="2099363" y="2871876"/>
                </a:lnTo>
                <a:lnTo>
                  <a:pt x="2098820" y="2866463"/>
                </a:lnTo>
                <a:lnTo>
                  <a:pt x="2097843" y="2860941"/>
                </a:lnTo>
                <a:lnTo>
                  <a:pt x="2096866" y="2860075"/>
                </a:lnTo>
                <a:lnTo>
                  <a:pt x="2099905" y="2852821"/>
                </a:lnTo>
                <a:lnTo>
                  <a:pt x="2099905" y="2852821"/>
                </a:lnTo>
                <a:lnTo>
                  <a:pt x="2096866" y="2860075"/>
                </a:lnTo>
                <a:lnTo>
                  <a:pt x="2091874" y="2855636"/>
                </a:lnTo>
                <a:lnTo>
                  <a:pt x="2086557" y="2848166"/>
                </a:lnTo>
                <a:lnTo>
                  <a:pt x="2084495" y="2841994"/>
                </a:lnTo>
                <a:lnTo>
                  <a:pt x="2086448" y="2840154"/>
                </a:lnTo>
                <a:lnTo>
                  <a:pt x="2090355" y="2834199"/>
                </a:lnTo>
                <a:lnTo>
                  <a:pt x="2092851" y="2833873"/>
                </a:lnTo>
                <a:lnTo>
                  <a:pt x="2094804" y="2831816"/>
                </a:lnTo>
                <a:lnTo>
                  <a:pt x="2093719" y="2828569"/>
                </a:lnTo>
                <a:lnTo>
                  <a:pt x="2091114" y="2828677"/>
                </a:lnTo>
                <a:lnTo>
                  <a:pt x="2087968" y="2832250"/>
                </a:lnTo>
                <a:lnTo>
                  <a:pt x="2086557" y="2833441"/>
                </a:lnTo>
                <a:lnTo>
                  <a:pt x="2084061" y="2831492"/>
                </a:lnTo>
                <a:lnTo>
                  <a:pt x="2082433" y="2827053"/>
                </a:lnTo>
                <a:lnTo>
                  <a:pt x="2078201" y="2821531"/>
                </a:lnTo>
                <a:lnTo>
                  <a:pt x="2075054" y="2820989"/>
                </a:lnTo>
                <a:lnTo>
                  <a:pt x="2070714" y="2816659"/>
                </a:lnTo>
                <a:lnTo>
                  <a:pt x="2067675" y="2815035"/>
                </a:lnTo>
                <a:lnTo>
                  <a:pt x="2061923" y="2815576"/>
                </a:lnTo>
                <a:lnTo>
                  <a:pt x="2054762" y="2819365"/>
                </a:lnTo>
                <a:lnTo>
                  <a:pt x="2054219" y="2824021"/>
                </a:lnTo>
                <a:lnTo>
                  <a:pt x="2055630" y="2825104"/>
                </a:lnTo>
                <a:lnTo>
                  <a:pt x="2055847" y="2827269"/>
                </a:lnTo>
                <a:lnTo>
                  <a:pt x="2049119" y="2833441"/>
                </a:lnTo>
                <a:lnTo>
                  <a:pt x="2041632" y="2835065"/>
                </a:lnTo>
                <a:lnTo>
                  <a:pt x="2037725" y="2837122"/>
                </a:lnTo>
                <a:lnTo>
                  <a:pt x="2036857" y="2839829"/>
                </a:lnTo>
                <a:lnTo>
                  <a:pt x="2038702" y="2843726"/>
                </a:lnTo>
                <a:lnTo>
                  <a:pt x="2042717" y="2846541"/>
                </a:lnTo>
                <a:lnTo>
                  <a:pt x="2046406" y="2849789"/>
                </a:lnTo>
                <a:lnTo>
                  <a:pt x="2046080" y="2854662"/>
                </a:lnTo>
                <a:lnTo>
                  <a:pt x="2043585" y="2855419"/>
                </a:lnTo>
                <a:lnTo>
                  <a:pt x="2039352" y="2854770"/>
                </a:lnTo>
                <a:lnTo>
                  <a:pt x="2036097" y="2858127"/>
                </a:lnTo>
                <a:lnTo>
                  <a:pt x="2033167" y="2862565"/>
                </a:lnTo>
                <a:lnTo>
                  <a:pt x="2026439" y="2861591"/>
                </a:lnTo>
                <a:lnTo>
                  <a:pt x="2024920" y="2858884"/>
                </a:lnTo>
                <a:lnTo>
                  <a:pt x="2025788" y="2855419"/>
                </a:lnTo>
                <a:lnTo>
                  <a:pt x="2024595" y="2850656"/>
                </a:lnTo>
                <a:lnTo>
                  <a:pt x="2025463" y="2848057"/>
                </a:lnTo>
                <a:lnTo>
                  <a:pt x="2023943" y="2846000"/>
                </a:lnTo>
                <a:lnTo>
                  <a:pt x="2020796" y="2845458"/>
                </a:lnTo>
                <a:lnTo>
                  <a:pt x="2019169" y="2848057"/>
                </a:lnTo>
                <a:lnTo>
                  <a:pt x="2020796" y="2849789"/>
                </a:lnTo>
                <a:lnTo>
                  <a:pt x="2019385" y="2852713"/>
                </a:lnTo>
                <a:lnTo>
                  <a:pt x="2015371" y="2852821"/>
                </a:lnTo>
                <a:lnTo>
                  <a:pt x="2011572" y="2850656"/>
                </a:lnTo>
                <a:lnTo>
                  <a:pt x="2008534" y="2844484"/>
                </a:lnTo>
                <a:lnTo>
                  <a:pt x="2007449" y="2838313"/>
                </a:lnTo>
                <a:lnTo>
                  <a:pt x="1998767" y="2837122"/>
                </a:lnTo>
                <a:lnTo>
                  <a:pt x="1996054" y="2836364"/>
                </a:lnTo>
                <a:lnTo>
                  <a:pt x="1996380" y="2834632"/>
                </a:lnTo>
                <a:lnTo>
                  <a:pt x="1994209" y="2832466"/>
                </a:lnTo>
                <a:lnTo>
                  <a:pt x="1992039" y="2834091"/>
                </a:lnTo>
                <a:lnTo>
                  <a:pt x="1987590" y="2834848"/>
                </a:lnTo>
                <a:lnTo>
                  <a:pt x="1983575" y="2834199"/>
                </a:lnTo>
                <a:lnTo>
                  <a:pt x="1980211" y="2834523"/>
                </a:lnTo>
                <a:lnTo>
                  <a:pt x="1980210" y="2834522"/>
                </a:lnTo>
                <a:lnTo>
                  <a:pt x="1979452" y="2834522"/>
                </a:lnTo>
                <a:lnTo>
                  <a:pt x="1979777" y="2837337"/>
                </a:lnTo>
                <a:lnTo>
                  <a:pt x="1979018" y="2839611"/>
                </a:lnTo>
                <a:lnTo>
                  <a:pt x="1975979" y="2839503"/>
                </a:lnTo>
                <a:lnTo>
                  <a:pt x="1974243" y="2837554"/>
                </a:lnTo>
                <a:lnTo>
                  <a:pt x="1972941" y="2836796"/>
                </a:lnTo>
                <a:lnTo>
                  <a:pt x="1971313" y="2835930"/>
                </a:lnTo>
                <a:lnTo>
                  <a:pt x="1971530" y="2831599"/>
                </a:lnTo>
                <a:lnTo>
                  <a:pt x="1967407" y="2826619"/>
                </a:lnTo>
                <a:lnTo>
                  <a:pt x="1964802" y="2824670"/>
                </a:lnTo>
                <a:lnTo>
                  <a:pt x="1963066" y="2825969"/>
                </a:lnTo>
                <a:lnTo>
                  <a:pt x="1963066" y="2826727"/>
                </a:lnTo>
                <a:lnTo>
                  <a:pt x="1967190" y="2828784"/>
                </a:lnTo>
                <a:lnTo>
                  <a:pt x="1969468" y="2831708"/>
                </a:lnTo>
                <a:lnTo>
                  <a:pt x="1968926" y="2835714"/>
                </a:lnTo>
                <a:lnTo>
                  <a:pt x="1967081" y="2836796"/>
                </a:lnTo>
                <a:lnTo>
                  <a:pt x="1963283" y="2834414"/>
                </a:lnTo>
                <a:lnTo>
                  <a:pt x="1957532" y="2832249"/>
                </a:lnTo>
                <a:lnTo>
                  <a:pt x="1955470" y="2829000"/>
                </a:lnTo>
                <a:lnTo>
                  <a:pt x="1955470" y="2825753"/>
                </a:lnTo>
                <a:lnTo>
                  <a:pt x="1958617" y="2821855"/>
                </a:lnTo>
                <a:lnTo>
                  <a:pt x="1957749" y="2819581"/>
                </a:lnTo>
                <a:lnTo>
                  <a:pt x="1952539" y="2813518"/>
                </a:lnTo>
                <a:lnTo>
                  <a:pt x="1949501" y="2811678"/>
                </a:lnTo>
                <a:lnTo>
                  <a:pt x="1945378" y="2807888"/>
                </a:lnTo>
                <a:lnTo>
                  <a:pt x="1939844" y="2804748"/>
                </a:lnTo>
                <a:lnTo>
                  <a:pt x="1938324" y="2799984"/>
                </a:lnTo>
                <a:lnTo>
                  <a:pt x="1933658" y="2796736"/>
                </a:lnTo>
                <a:lnTo>
                  <a:pt x="1933333" y="2792730"/>
                </a:lnTo>
                <a:lnTo>
                  <a:pt x="1928775" y="2790457"/>
                </a:lnTo>
                <a:lnTo>
                  <a:pt x="1924651" y="2787209"/>
                </a:lnTo>
                <a:lnTo>
                  <a:pt x="1922589" y="2788941"/>
                </a:lnTo>
                <a:lnTo>
                  <a:pt x="1924108" y="2791539"/>
                </a:lnTo>
                <a:lnTo>
                  <a:pt x="1930511" y="2796195"/>
                </a:lnTo>
                <a:lnTo>
                  <a:pt x="1931704" y="2800309"/>
                </a:lnTo>
                <a:lnTo>
                  <a:pt x="1928991" y="2805073"/>
                </a:lnTo>
                <a:lnTo>
                  <a:pt x="1926713" y="2805073"/>
                </a:lnTo>
                <a:lnTo>
                  <a:pt x="1924434" y="2801176"/>
                </a:lnTo>
                <a:lnTo>
                  <a:pt x="1920744" y="2798793"/>
                </a:lnTo>
                <a:lnTo>
                  <a:pt x="1914342" y="2798577"/>
                </a:lnTo>
                <a:lnTo>
                  <a:pt x="1907940" y="2793055"/>
                </a:lnTo>
                <a:lnTo>
                  <a:pt x="1906963" y="2788399"/>
                </a:lnTo>
                <a:lnTo>
                  <a:pt x="1909133" y="2782986"/>
                </a:lnTo>
                <a:lnTo>
                  <a:pt x="1913257" y="2780495"/>
                </a:lnTo>
                <a:lnTo>
                  <a:pt x="1912280" y="2775732"/>
                </a:lnTo>
                <a:lnTo>
                  <a:pt x="1908590" y="2774866"/>
                </a:lnTo>
                <a:lnTo>
                  <a:pt x="1907288" y="2773675"/>
                </a:lnTo>
                <a:lnTo>
                  <a:pt x="1908808" y="2772267"/>
                </a:lnTo>
                <a:lnTo>
                  <a:pt x="1910218" y="2766962"/>
                </a:lnTo>
                <a:lnTo>
                  <a:pt x="1909676" y="2766637"/>
                </a:lnTo>
                <a:lnTo>
                  <a:pt x="1911303" y="2765879"/>
                </a:lnTo>
                <a:lnTo>
                  <a:pt x="1911303" y="2764581"/>
                </a:lnTo>
                <a:lnTo>
                  <a:pt x="1911303" y="2764581"/>
                </a:lnTo>
                <a:lnTo>
                  <a:pt x="1910543" y="2763715"/>
                </a:lnTo>
                <a:lnTo>
                  <a:pt x="1908915" y="2764364"/>
                </a:lnTo>
                <a:lnTo>
                  <a:pt x="1907179" y="2763174"/>
                </a:lnTo>
                <a:lnTo>
                  <a:pt x="1904249" y="2763174"/>
                </a:lnTo>
                <a:lnTo>
                  <a:pt x="1893398" y="2751155"/>
                </a:lnTo>
                <a:lnTo>
                  <a:pt x="1887321" y="2742927"/>
                </a:lnTo>
                <a:lnTo>
                  <a:pt x="1880484" y="2736756"/>
                </a:lnTo>
                <a:lnTo>
                  <a:pt x="1880484" y="2733832"/>
                </a:lnTo>
                <a:lnTo>
                  <a:pt x="1876361" y="2731125"/>
                </a:lnTo>
                <a:lnTo>
                  <a:pt x="1867788" y="2720298"/>
                </a:lnTo>
                <a:lnTo>
                  <a:pt x="1868656" y="2718783"/>
                </a:lnTo>
                <a:lnTo>
                  <a:pt x="1872996" y="2720298"/>
                </a:lnTo>
                <a:lnTo>
                  <a:pt x="1874841" y="2720298"/>
                </a:lnTo>
                <a:lnTo>
                  <a:pt x="1874841" y="2717700"/>
                </a:lnTo>
                <a:lnTo>
                  <a:pt x="1874918" y="2717687"/>
                </a:lnTo>
                <a:lnTo>
                  <a:pt x="1874516" y="2716725"/>
                </a:lnTo>
                <a:lnTo>
                  <a:pt x="1874516" y="2713802"/>
                </a:lnTo>
                <a:lnTo>
                  <a:pt x="1872671" y="2712828"/>
                </a:lnTo>
                <a:lnTo>
                  <a:pt x="1871586" y="2714343"/>
                </a:lnTo>
                <a:lnTo>
                  <a:pt x="1869524" y="2714560"/>
                </a:lnTo>
                <a:lnTo>
                  <a:pt x="1868330" y="2712828"/>
                </a:lnTo>
                <a:lnTo>
                  <a:pt x="1865726" y="2711420"/>
                </a:lnTo>
                <a:lnTo>
                  <a:pt x="1865618" y="2711636"/>
                </a:lnTo>
                <a:lnTo>
                  <a:pt x="1865618" y="2711636"/>
                </a:lnTo>
                <a:lnTo>
                  <a:pt x="1865617" y="2711636"/>
                </a:lnTo>
                <a:lnTo>
                  <a:pt x="1865617" y="2711637"/>
                </a:lnTo>
                <a:lnTo>
                  <a:pt x="1864207" y="2712936"/>
                </a:lnTo>
                <a:lnTo>
                  <a:pt x="1865401" y="2715209"/>
                </a:lnTo>
                <a:lnTo>
                  <a:pt x="1862254" y="2719540"/>
                </a:lnTo>
                <a:lnTo>
                  <a:pt x="1851402" y="2719323"/>
                </a:lnTo>
                <a:lnTo>
                  <a:pt x="1848906" y="2717158"/>
                </a:lnTo>
                <a:lnTo>
                  <a:pt x="1845217" y="2712286"/>
                </a:lnTo>
                <a:lnTo>
                  <a:pt x="1840876" y="2712070"/>
                </a:lnTo>
                <a:lnTo>
                  <a:pt x="1839248" y="2713152"/>
                </a:lnTo>
                <a:lnTo>
                  <a:pt x="1842613" y="2715101"/>
                </a:lnTo>
                <a:lnTo>
                  <a:pt x="1841636" y="2717158"/>
                </a:lnTo>
                <a:lnTo>
                  <a:pt x="1834040" y="2712936"/>
                </a:lnTo>
                <a:lnTo>
                  <a:pt x="1825901" y="2709363"/>
                </a:lnTo>
                <a:lnTo>
                  <a:pt x="1823948" y="2709471"/>
                </a:lnTo>
                <a:lnTo>
                  <a:pt x="1823188" y="2709579"/>
                </a:lnTo>
                <a:lnTo>
                  <a:pt x="1817653" y="2708389"/>
                </a:lnTo>
                <a:lnTo>
                  <a:pt x="1813855" y="2704707"/>
                </a:lnTo>
                <a:lnTo>
                  <a:pt x="1809189" y="2704707"/>
                </a:lnTo>
                <a:lnTo>
                  <a:pt x="1807019" y="2703950"/>
                </a:lnTo>
                <a:lnTo>
                  <a:pt x="1808755" y="2701242"/>
                </a:lnTo>
                <a:lnTo>
                  <a:pt x="1807019" y="2703949"/>
                </a:lnTo>
                <a:lnTo>
                  <a:pt x="1797903" y="2700808"/>
                </a:lnTo>
                <a:lnTo>
                  <a:pt x="1792152" y="2701458"/>
                </a:lnTo>
                <a:lnTo>
                  <a:pt x="1784773" y="2701350"/>
                </a:lnTo>
                <a:lnTo>
                  <a:pt x="1772185" y="2696478"/>
                </a:lnTo>
                <a:lnTo>
                  <a:pt x="1768929" y="2692580"/>
                </a:lnTo>
                <a:lnTo>
                  <a:pt x="1765240" y="2692147"/>
                </a:lnTo>
                <a:lnTo>
                  <a:pt x="1762418" y="2687383"/>
                </a:lnTo>
                <a:lnTo>
                  <a:pt x="1758513" y="2682620"/>
                </a:lnTo>
                <a:lnTo>
                  <a:pt x="1758512" y="2682621"/>
                </a:lnTo>
                <a:lnTo>
                  <a:pt x="1754822" y="2678073"/>
                </a:lnTo>
                <a:lnTo>
                  <a:pt x="1748094" y="2672876"/>
                </a:lnTo>
                <a:lnTo>
                  <a:pt x="1747334" y="2670169"/>
                </a:lnTo>
                <a:lnTo>
                  <a:pt x="1742234" y="2668654"/>
                </a:lnTo>
                <a:lnTo>
                  <a:pt x="1725631" y="2654903"/>
                </a:lnTo>
                <a:lnTo>
                  <a:pt x="1723569" y="2652088"/>
                </a:lnTo>
                <a:lnTo>
                  <a:pt x="1723569" y="2650030"/>
                </a:lnTo>
                <a:lnTo>
                  <a:pt x="1719445" y="2644834"/>
                </a:lnTo>
                <a:lnTo>
                  <a:pt x="1715322" y="2641261"/>
                </a:lnTo>
                <a:lnTo>
                  <a:pt x="1710656" y="2640395"/>
                </a:lnTo>
                <a:lnTo>
                  <a:pt x="1709787" y="2639528"/>
                </a:lnTo>
                <a:lnTo>
                  <a:pt x="1708051" y="2639745"/>
                </a:lnTo>
                <a:lnTo>
                  <a:pt x="1708485" y="2641152"/>
                </a:lnTo>
                <a:lnTo>
                  <a:pt x="1716190" y="2644509"/>
                </a:lnTo>
                <a:lnTo>
                  <a:pt x="1721724" y="2650030"/>
                </a:lnTo>
                <a:lnTo>
                  <a:pt x="1721724" y="2651438"/>
                </a:lnTo>
                <a:lnTo>
                  <a:pt x="1718360" y="2648515"/>
                </a:lnTo>
                <a:lnTo>
                  <a:pt x="1711198" y="2643859"/>
                </a:lnTo>
                <a:lnTo>
                  <a:pt x="1706858" y="2642344"/>
                </a:lnTo>
                <a:lnTo>
                  <a:pt x="1703385" y="2642452"/>
                </a:lnTo>
                <a:lnTo>
                  <a:pt x="1701757" y="2641694"/>
                </a:lnTo>
                <a:lnTo>
                  <a:pt x="1702733" y="2640611"/>
                </a:lnTo>
                <a:lnTo>
                  <a:pt x="1705121" y="2640395"/>
                </a:lnTo>
                <a:lnTo>
                  <a:pt x="1705121" y="2638446"/>
                </a:lnTo>
                <a:lnTo>
                  <a:pt x="1702083" y="2638446"/>
                </a:lnTo>
                <a:lnTo>
                  <a:pt x="1699153" y="2639962"/>
                </a:lnTo>
                <a:lnTo>
                  <a:pt x="1699153" y="2637363"/>
                </a:lnTo>
                <a:lnTo>
                  <a:pt x="1697417" y="2636497"/>
                </a:lnTo>
                <a:lnTo>
                  <a:pt x="1692099" y="2639528"/>
                </a:lnTo>
                <a:lnTo>
                  <a:pt x="1691882" y="2641802"/>
                </a:lnTo>
                <a:lnTo>
                  <a:pt x="1695897" y="2641802"/>
                </a:lnTo>
                <a:lnTo>
                  <a:pt x="1700563" y="2642452"/>
                </a:lnTo>
                <a:lnTo>
                  <a:pt x="1700563" y="2643859"/>
                </a:lnTo>
                <a:lnTo>
                  <a:pt x="1698067" y="2643534"/>
                </a:lnTo>
                <a:lnTo>
                  <a:pt x="1692099" y="2644076"/>
                </a:lnTo>
                <a:lnTo>
                  <a:pt x="1687216" y="2644834"/>
                </a:lnTo>
                <a:lnTo>
                  <a:pt x="1680705" y="2649165"/>
                </a:lnTo>
                <a:lnTo>
                  <a:pt x="1675496" y="2649597"/>
                </a:lnTo>
                <a:lnTo>
                  <a:pt x="1663342" y="2654687"/>
                </a:lnTo>
                <a:lnTo>
                  <a:pt x="1658459" y="2655011"/>
                </a:lnTo>
                <a:lnTo>
                  <a:pt x="1646631" y="2650789"/>
                </a:lnTo>
                <a:lnTo>
                  <a:pt x="1640228" y="2647324"/>
                </a:lnTo>
                <a:lnTo>
                  <a:pt x="1631873" y="2647324"/>
                </a:lnTo>
                <a:lnTo>
                  <a:pt x="1623191" y="2643859"/>
                </a:lnTo>
                <a:lnTo>
                  <a:pt x="1618634" y="2641152"/>
                </a:lnTo>
                <a:lnTo>
                  <a:pt x="1616789" y="2641694"/>
                </a:lnTo>
                <a:lnTo>
                  <a:pt x="1612774" y="2641261"/>
                </a:lnTo>
                <a:lnTo>
                  <a:pt x="1606805" y="2638554"/>
                </a:lnTo>
                <a:lnTo>
                  <a:pt x="1603550" y="2633249"/>
                </a:lnTo>
                <a:lnTo>
                  <a:pt x="1602139" y="2632166"/>
                </a:lnTo>
                <a:lnTo>
                  <a:pt x="1598666" y="2633573"/>
                </a:lnTo>
                <a:lnTo>
                  <a:pt x="1592481" y="2630650"/>
                </a:lnTo>
                <a:lnTo>
                  <a:pt x="1585753" y="2630109"/>
                </a:lnTo>
                <a:lnTo>
                  <a:pt x="1582823" y="2625345"/>
                </a:lnTo>
                <a:lnTo>
                  <a:pt x="1577180" y="2622422"/>
                </a:lnTo>
                <a:lnTo>
                  <a:pt x="1565243" y="2620689"/>
                </a:lnTo>
                <a:lnTo>
                  <a:pt x="1554934" y="2616575"/>
                </a:lnTo>
                <a:lnTo>
                  <a:pt x="1547989" y="2609538"/>
                </a:lnTo>
                <a:lnTo>
                  <a:pt x="1544950" y="2608996"/>
                </a:lnTo>
                <a:lnTo>
                  <a:pt x="1533231" y="2597628"/>
                </a:lnTo>
                <a:lnTo>
                  <a:pt x="1531061" y="2594813"/>
                </a:lnTo>
                <a:lnTo>
                  <a:pt x="1528456" y="2595029"/>
                </a:lnTo>
                <a:lnTo>
                  <a:pt x="1527154" y="2596870"/>
                </a:lnTo>
                <a:lnTo>
                  <a:pt x="1523573" y="2596653"/>
                </a:lnTo>
                <a:lnTo>
                  <a:pt x="1514349" y="2593080"/>
                </a:lnTo>
                <a:lnTo>
                  <a:pt x="1511311" y="2592755"/>
                </a:lnTo>
                <a:lnTo>
                  <a:pt x="1506536" y="2590806"/>
                </a:lnTo>
                <a:lnTo>
                  <a:pt x="1504582" y="2591457"/>
                </a:lnTo>
                <a:lnTo>
                  <a:pt x="1499807" y="2589724"/>
                </a:lnTo>
                <a:lnTo>
                  <a:pt x="1496335" y="2584419"/>
                </a:lnTo>
                <a:lnTo>
                  <a:pt x="1492211" y="2577814"/>
                </a:lnTo>
                <a:lnTo>
                  <a:pt x="1486135" y="2572184"/>
                </a:lnTo>
                <a:lnTo>
                  <a:pt x="1480275" y="2570127"/>
                </a:lnTo>
                <a:lnTo>
                  <a:pt x="1480275" y="2568070"/>
                </a:lnTo>
                <a:lnTo>
                  <a:pt x="1482554" y="2565147"/>
                </a:lnTo>
                <a:lnTo>
                  <a:pt x="1479624" y="2564605"/>
                </a:lnTo>
                <a:lnTo>
                  <a:pt x="1474414" y="2565688"/>
                </a:lnTo>
                <a:lnTo>
                  <a:pt x="1466927" y="2563739"/>
                </a:lnTo>
                <a:lnTo>
                  <a:pt x="1465517" y="2561033"/>
                </a:lnTo>
                <a:lnTo>
                  <a:pt x="1461935" y="2561033"/>
                </a:lnTo>
                <a:lnTo>
                  <a:pt x="1459657" y="2559084"/>
                </a:lnTo>
                <a:lnTo>
                  <a:pt x="1457921" y="2553237"/>
                </a:lnTo>
                <a:lnTo>
                  <a:pt x="1453471" y="2547390"/>
                </a:lnTo>
                <a:lnTo>
                  <a:pt x="1453471" y="2544034"/>
                </a:lnTo>
                <a:lnTo>
                  <a:pt x="1450324" y="2540894"/>
                </a:lnTo>
                <a:lnTo>
                  <a:pt x="1447069" y="2532449"/>
                </a:lnTo>
                <a:lnTo>
                  <a:pt x="1447069" y="2530176"/>
                </a:lnTo>
                <a:lnTo>
                  <a:pt x="1449998" y="2528551"/>
                </a:lnTo>
                <a:lnTo>
                  <a:pt x="1455533" y="2528660"/>
                </a:lnTo>
                <a:lnTo>
                  <a:pt x="1457594" y="2526278"/>
                </a:lnTo>
                <a:lnTo>
                  <a:pt x="1454773" y="2523679"/>
                </a:lnTo>
                <a:lnTo>
                  <a:pt x="1452386" y="2523354"/>
                </a:lnTo>
                <a:lnTo>
                  <a:pt x="1453146" y="2520648"/>
                </a:lnTo>
                <a:lnTo>
                  <a:pt x="1458571" y="2515775"/>
                </a:lnTo>
                <a:lnTo>
                  <a:pt x="1461175" y="2511552"/>
                </a:lnTo>
                <a:lnTo>
                  <a:pt x="1460850" y="2506139"/>
                </a:lnTo>
                <a:lnTo>
                  <a:pt x="1455641" y="2493146"/>
                </a:lnTo>
                <a:lnTo>
                  <a:pt x="1453146" y="2486217"/>
                </a:lnTo>
                <a:lnTo>
                  <a:pt x="1451409" y="2482969"/>
                </a:lnTo>
                <a:lnTo>
                  <a:pt x="1453146" y="2478530"/>
                </a:lnTo>
                <a:lnTo>
                  <a:pt x="1452278" y="2473875"/>
                </a:lnTo>
                <a:lnTo>
                  <a:pt x="1443487" y="2462831"/>
                </a:lnTo>
                <a:lnTo>
                  <a:pt x="1443270" y="2458067"/>
                </a:lnTo>
                <a:lnTo>
                  <a:pt x="1435566" y="2450163"/>
                </a:lnTo>
                <a:lnTo>
                  <a:pt x="1430140" y="2440310"/>
                </a:lnTo>
                <a:lnTo>
                  <a:pt x="1422978" y="2430891"/>
                </a:lnTo>
                <a:lnTo>
                  <a:pt x="1416576" y="2425369"/>
                </a:lnTo>
                <a:lnTo>
                  <a:pt x="1414296" y="2423853"/>
                </a:lnTo>
                <a:lnTo>
                  <a:pt x="1413971" y="2420930"/>
                </a:lnTo>
                <a:lnTo>
                  <a:pt x="1406917" y="2418007"/>
                </a:lnTo>
                <a:lnTo>
                  <a:pt x="1403010" y="2415733"/>
                </a:lnTo>
                <a:lnTo>
                  <a:pt x="1402577" y="2414001"/>
                </a:lnTo>
                <a:lnTo>
                  <a:pt x="1405507" y="2412810"/>
                </a:lnTo>
                <a:lnTo>
                  <a:pt x="1407460" y="2408696"/>
                </a:lnTo>
                <a:lnTo>
                  <a:pt x="1405507" y="2405772"/>
                </a:lnTo>
                <a:lnTo>
                  <a:pt x="1403770" y="2401333"/>
                </a:lnTo>
                <a:lnTo>
                  <a:pt x="1402577" y="2398518"/>
                </a:lnTo>
                <a:lnTo>
                  <a:pt x="1399647" y="2398518"/>
                </a:lnTo>
                <a:lnTo>
                  <a:pt x="1394221" y="2397219"/>
                </a:lnTo>
                <a:lnTo>
                  <a:pt x="1384672" y="2389749"/>
                </a:lnTo>
                <a:lnTo>
                  <a:pt x="1381959" y="2387366"/>
                </a:lnTo>
                <a:lnTo>
                  <a:pt x="1377618" y="2387041"/>
                </a:lnTo>
                <a:lnTo>
                  <a:pt x="1373711" y="2384335"/>
                </a:lnTo>
                <a:lnTo>
                  <a:pt x="1372951" y="2379463"/>
                </a:lnTo>
                <a:lnTo>
                  <a:pt x="1375448" y="2372750"/>
                </a:lnTo>
                <a:lnTo>
                  <a:pt x="1379571" y="2368311"/>
                </a:lnTo>
                <a:lnTo>
                  <a:pt x="1382610" y="2367336"/>
                </a:lnTo>
                <a:lnTo>
                  <a:pt x="1384997" y="2369827"/>
                </a:lnTo>
                <a:lnTo>
                  <a:pt x="1386950" y="2367661"/>
                </a:lnTo>
                <a:lnTo>
                  <a:pt x="1386299" y="2364521"/>
                </a:lnTo>
                <a:lnTo>
                  <a:pt x="1384997" y="2363005"/>
                </a:lnTo>
                <a:lnTo>
                  <a:pt x="1383478" y="2364521"/>
                </a:lnTo>
                <a:lnTo>
                  <a:pt x="1380222" y="2362789"/>
                </a:lnTo>
                <a:lnTo>
                  <a:pt x="1379571" y="2359216"/>
                </a:lnTo>
                <a:lnTo>
                  <a:pt x="1375448" y="2354019"/>
                </a:lnTo>
                <a:lnTo>
                  <a:pt x="1371650" y="2354560"/>
                </a:lnTo>
                <a:lnTo>
                  <a:pt x="1367526" y="2353478"/>
                </a:lnTo>
                <a:lnTo>
                  <a:pt x="1365355" y="2349580"/>
                </a:lnTo>
                <a:lnTo>
                  <a:pt x="1366440" y="2345249"/>
                </a:lnTo>
                <a:lnTo>
                  <a:pt x="1363511" y="2344275"/>
                </a:lnTo>
                <a:lnTo>
                  <a:pt x="1360581" y="2344599"/>
                </a:lnTo>
                <a:lnTo>
                  <a:pt x="1352333" y="2337237"/>
                </a:lnTo>
                <a:lnTo>
                  <a:pt x="1351465" y="2330632"/>
                </a:lnTo>
                <a:lnTo>
                  <a:pt x="1353310" y="2327709"/>
                </a:lnTo>
                <a:lnTo>
                  <a:pt x="1353527" y="2322295"/>
                </a:lnTo>
                <a:lnTo>
                  <a:pt x="1350923" y="2320130"/>
                </a:lnTo>
                <a:lnTo>
                  <a:pt x="1347667" y="2321538"/>
                </a:lnTo>
                <a:lnTo>
                  <a:pt x="1345931" y="2320130"/>
                </a:lnTo>
                <a:lnTo>
                  <a:pt x="1342784" y="2320022"/>
                </a:lnTo>
                <a:lnTo>
                  <a:pt x="1341807" y="2317748"/>
                </a:lnTo>
                <a:lnTo>
                  <a:pt x="1338661" y="2315258"/>
                </a:lnTo>
                <a:lnTo>
                  <a:pt x="1337358" y="2311144"/>
                </a:lnTo>
                <a:lnTo>
                  <a:pt x="1334754" y="2305514"/>
                </a:lnTo>
                <a:lnTo>
                  <a:pt x="1331607" y="2304756"/>
                </a:lnTo>
                <a:lnTo>
                  <a:pt x="1329762" y="2302699"/>
                </a:lnTo>
                <a:lnTo>
                  <a:pt x="1329220" y="2297177"/>
                </a:lnTo>
                <a:lnTo>
                  <a:pt x="1327809" y="2293387"/>
                </a:lnTo>
                <a:lnTo>
                  <a:pt x="1324554" y="2291871"/>
                </a:lnTo>
                <a:lnTo>
                  <a:pt x="1321949" y="2284077"/>
                </a:lnTo>
                <a:lnTo>
                  <a:pt x="1320321" y="2281477"/>
                </a:lnTo>
                <a:lnTo>
                  <a:pt x="1318368" y="2281477"/>
                </a:lnTo>
                <a:lnTo>
                  <a:pt x="1316849" y="2278230"/>
                </a:lnTo>
                <a:lnTo>
                  <a:pt x="1318151" y="2276064"/>
                </a:lnTo>
                <a:lnTo>
                  <a:pt x="1318585" y="2273574"/>
                </a:lnTo>
                <a:lnTo>
                  <a:pt x="1312725" y="2265345"/>
                </a:lnTo>
                <a:lnTo>
                  <a:pt x="1310988" y="2261231"/>
                </a:lnTo>
                <a:lnTo>
                  <a:pt x="1311965" y="2258091"/>
                </a:lnTo>
                <a:lnTo>
                  <a:pt x="1311315" y="2252461"/>
                </a:lnTo>
                <a:lnTo>
                  <a:pt x="1309252" y="2248672"/>
                </a:lnTo>
                <a:lnTo>
                  <a:pt x="1308059" y="2240443"/>
                </a:lnTo>
                <a:lnTo>
                  <a:pt x="1305563" y="2234705"/>
                </a:lnTo>
                <a:lnTo>
                  <a:pt x="1305237" y="2230590"/>
                </a:lnTo>
                <a:lnTo>
                  <a:pt x="1308493" y="2226801"/>
                </a:lnTo>
                <a:lnTo>
                  <a:pt x="1308493" y="2224419"/>
                </a:lnTo>
                <a:lnTo>
                  <a:pt x="1303609" y="2221712"/>
                </a:lnTo>
                <a:lnTo>
                  <a:pt x="1298943" y="2221496"/>
                </a:lnTo>
                <a:lnTo>
                  <a:pt x="1297533" y="2218789"/>
                </a:lnTo>
                <a:lnTo>
                  <a:pt x="1293518" y="2215000"/>
                </a:lnTo>
                <a:lnTo>
                  <a:pt x="1291347" y="2216732"/>
                </a:lnTo>
                <a:lnTo>
                  <a:pt x="1287332" y="2217382"/>
                </a:lnTo>
                <a:lnTo>
                  <a:pt x="1284619" y="2215000"/>
                </a:lnTo>
                <a:lnTo>
                  <a:pt x="1280279" y="2208287"/>
                </a:lnTo>
                <a:lnTo>
                  <a:pt x="1273876" y="2205364"/>
                </a:lnTo>
                <a:lnTo>
                  <a:pt x="1270838" y="2199842"/>
                </a:lnTo>
                <a:lnTo>
                  <a:pt x="1272574" y="2205364"/>
                </a:lnTo>
                <a:lnTo>
                  <a:pt x="1273442" y="2209803"/>
                </a:lnTo>
                <a:lnTo>
                  <a:pt x="1271163" y="2218031"/>
                </a:lnTo>
                <a:lnTo>
                  <a:pt x="1269102" y="2223445"/>
                </a:lnTo>
                <a:lnTo>
                  <a:pt x="1270295" y="2233514"/>
                </a:lnTo>
                <a:lnTo>
                  <a:pt x="1270946" y="2250188"/>
                </a:lnTo>
                <a:lnTo>
                  <a:pt x="1268884" y="2254194"/>
                </a:lnTo>
                <a:lnTo>
                  <a:pt x="1271488" y="2256900"/>
                </a:lnTo>
                <a:lnTo>
                  <a:pt x="1274745" y="2263830"/>
                </a:lnTo>
                <a:lnTo>
                  <a:pt x="1274636" y="2268485"/>
                </a:lnTo>
                <a:lnTo>
                  <a:pt x="1277240" y="2268594"/>
                </a:lnTo>
                <a:lnTo>
                  <a:pt x="1279411" y="2272058"/>
                </a:lnTo>
                <a:lnTo>
                  <a:pt x="1285922" y="2276497"/>
                </a:lnTo>
                <a:lnTo>
                  <a:pt x="1287332" y="2282885"/>
                </a:lnTo>
                <a:lnTo>
                  <a:pt x="1286464" y="2286025"/>
                </a:lnTo>
                <a:lnTo>
                  <a:pt x="1287658" y="2290248"/>
                </a:lnTo>
                <a:lnTo>
                  <a:pt x="1291673" y="2292197"/>
                </a:lnTo>
                <a:lnTo>
                  <a:pt x="1294711" y="2295444"/>
                </a:lnTo>
                <a:lnTo>
                  <a:pt x="1295254" y="2300534"/>
                </a:lnTo>
                <a:lnTo>
                  <a:pt x="1297207" y="2302699"/>
                </a:lnTo>
                <a:lnTo>
                  <a:pt x="1300246" y="2303348"/>
                </a:lnTo>
                <a:lnTo>
                  <a:pt x="1304261" y="2309520"/>
                </a:lnTo>
                <a:lnTo>
                  <a:pt x="1303718" y="2314501"/>
                </a:lnTo>
                <a:lnTo>
                  <a:pt x="1303935" y="2320130"/>
                </a:lnTo>
                <a:lnTo>
                  <a:pt x="1308384" y="2324353"/>
                </a:lnTo>
                <a:lnTo>
                  <a:pt x="1310229" y="2325003"/>
                </a:lnTo>
                <a:lnTo>
                  <a:pt x="1314245" y="2331391"/>
                </a:lnTo>
                <a:lnTo>
                  <a:pt x="1315655" y="2341027"/>
                </a:lnTo>
                <a:lnTo>
                  <a:pt x="1317717" y="2341135"/>
                </a:lnTo>
                <a:lnTo>
                  <a:pt x="1319019" y="2343625"/>
                </a:lnTo>
                <a:lnTo>
                  <a:pt x="1317500" y="2346982"/>
                </a:lnTo>
                <a:lnTo>
                  <a:pt x="1317825" y="2350121"/>
                </a:lnTo>
                <a:lnTo>
                  <a:pt x="1322166" y="2356617"/>
                </a:lnTo>
                <a:lnTo>
                  <a:pt x="1323902" y="2355102"/>
                </a:lnTo>
                <a:lnTo>
                  <a:pt x="1323685" y="2352287"/>
                </a:lnTo>
                <a:lnTo>
                  <a:pt x="1323902" y="2350446"/>
                </a:lnTo>
                <a:lnTo>
                  <a:pt x="1325639" y="2350771"/>
                </a:lnTo>
                <a:lnTo>
                  <a:pt x="1326940" y="2354019"/>
                </a:lnTo>
                <a:lnTo>
                  <a:pt x="1329870" y="2358891"/>
                </a:lnTo>
                <a:lnTo>
                  <a:pt x="1331281" y="2367770"/>
                </a:lnTo>
                <a:lnTo>
                  <a:pt x="1330196" y="2371234"/>
                </a:lnTo>
                <a:lnTo>
                  <a:pt x="1330738" y="2377298"/>
                </a:lnTo>
                <a:lnTo>
                  <a:pt x="1332150" y="2379463"/>
                </a:lnTo>
                <a:lnTo>
                  <a:pt x="1332150" y="2384118"/>
                </a:lnTo>
                <a:lnTo>
                  <a:pt x="1334863" y="2387258"/>
                </a:lnTo>
                <a:lnTo>
                  <a:pt x="1334754" y="2390614"/>
                </a:lnTo>
                <a:lnTo>
                  <a:pt x="1337033" y="2393321"/>
                </a:lnTo>
                <a:lnTo>
                  <a:pt x="1337141" y="2396245"/>
                </a:lnTo>
                <a:lnTo>
                  <a:pt x="1336164" y="2399492"/>
                </a:lnTo>
                <a:lnTo>
                  <a:pt x="1339746" y="2404473"/>
                </a:lnTo>
                <a:lnTo>
                  <a:pt x="1339854" y="2409453"/>
                </a:lnTo>
                <a:lnTo>
                  <a:pt x="1337467" y="2414434"/>
                </a:lnTo>
                <a:lnTo>
                  <a:pt x="1338009" y="2417249"/>
                </a:lnTo>
                <a:lnTo>
                  <a:pt x="1342133" y="2422337"/>
                </a:lnTo>
                <a:lnTo>
                  <a:pt x="1345822" y="2425261"/>
                </a:lnTo>
                <a:lnTo>
                  <a:pt x="1346474" y="2427968"/>
                </a:lnTo>
                <a:lnTo>
                  <a:pt x="1348535" y="2427102"/>
                </a:lnTo>
                <a:lnTo>
                  <a:pt x="1348318" y="2423853"/>
                </a:lnTo>
                <a:lnTo>
                  <a:pt x="1349729" y="2422771"/>
                </a:lnTo>
                <a:lnTo>
                  <a:pt x="1352008" y="2423962"/>
                </a:lnTo>
                <a:lnTo>
                  <a:pt x="1354395" y="2427102"/>
                </a:lnTo>
                <a:lnTo>
                  <a:pt x="1355914" y="2430242"/>
                </a:lnTo>
                <a:lnTo>
                  <a:pt x="1359496" y="2432298"/>
                </a:lnTo>
                <a:lnTo>
                  <a:pt x="1360906" y="2436738"/>
                </a:lnTo>
                <a:lnTo>
                  <a:pt x="1363185" y="2439012"/>
                </a:lnTo>
                <a:lnTo>
                  <a:pt x="1364596" y="2443234"/>
                </a:lnTo>
                <a:lnTo>
                  <a:pt x="1367526" y="2445183"/>
                </a:lnTo>
                <a:lnTo>
                  <a:pt x="1367092" y="2451138"/>
                </a:lnTo>
                <a:lnTo>
                  <a:pt x="1362751" y="2457742"/>
                </a:lnTo>
                <a:lnTo>
                  <a:pt x="1355589" y="2460991"/>
                </a:lnTo>
                <a:lnTo>
                  <a:pt x="1352659" y="2460124"/>
                </a:lnTo>
                <a:lnTo>
                  <a:pt x="1350597" y="2455144"/>
                </a:lnTo>
                <a:lnTo>
                  <a:pt x="1350272" y="2451571"/>
                </a:lnTo>
                <a:lnTo>
                  <a:pt x="1347450" y="2449297"/>
                </a:lnTo>
                <a:lnTo>
                  <a:pt x="1347017" y="2442909"/>
                </a:lnTo>
                <a:lnTo>
                  <a:pt x="1344737" y="2439877"/>
                </a:lnTo>
                <a:lnTo>
                  <a:pt x="1339746" y="2439336"/>
                </a:lnTo>
                <a:lnTo>
                  <a:pt x="1336164" y="2435006"/>
                </a:lnTo>
                <a:lnTo>
                  <a:pt x="1334428" y="2431757"/>
                </a:lnTo>
                <a:lnTo>
                  <a:pt x="1330738" y="2430242"/>
                </a:lnTo>
                <a:lnTo>
                  <a:pt x="1320647" y="2419198"/>
                </a:lnTo>
                <a:lnTo>
                  <a:pt x="1318368" y="2414542"/>
                </a:lnTo>
                <a:lnTo>
                  <a:pt x="1313701" y="2413568"/>
                </a:lnTo>
                <a:lnTo>
                  <a:pt x="1312508" y="2410320"/>
                </a:lnTo>
                <a:lnTo>
                  <a:pt x="1310446" y="2410753"/>
                </a:lnTo>
                <a:lnTo>
                  <a:pt x="1305780" y="2406963"/>
                </a:lnTo>
                <a:lnTo>
                  <a:pt x="1305129" y="2403174"/>
                </a:lnTo>
                <a:lnTo>
                  <a:pt x="1309035" y="2396461"/>
                </a:lnTo>
                <a:lnTo>
                  <a:pt x="1310663" y="2388774"/>
                </a:lnTo>
                <a:lnTo>
                  <a:pt x="1309903" y="2379029"/>
                </a:lnTo>
                <a:lnTo>
                  <a:pt x="1306974" y="2369827"/>
                </a:lnTo>
                <a:lnTo>
                  <a:pt x="1304586" y="2366254"/>
                </a:lnTo>
                <a:lnTo>
                  <a:pt x="1302199" y="2366903"/>
                </a:lnTo>
                <a:lnTo>
                  <a:pt x="1298726" y="2365388"/>
                </a:lnTo>
                <a:lnTo>
                  <a:pt x="1290479" y="2357484"/>
                </a:lnTo>
                <a:lnTo>
                  <a:pt x="1289285" y="2349905"/>
                </a:lnTo>
                <a:lnTo>
                  <a:pt x="1290805" y="2346007"/>
                </a:lnTo>
                <a:lnTo>
                  <a:pt x="1288960" y="2345466"/>
                </a:lnTo>
                <a:lnTo>
                  <a:pt x="1284727" y="2350229"/>
                </a:lnTo>
                <a:lnTo>
                  <a:pt x="1281689" y="2350446"/>
                </a:lnTo>
                <a:lnTo>
                  <a:pt x="1278543" y="2351854"/>
                </a:lnTo>
                <a:lnTo>
                  <a:pt x="1276806" y="2348389"/>
                </a:lnTo>
                <a:lnTo>
                  <a:pt x="1277566" y="2346656"/>
                </a:lnTo>
                <a:lnTo>
                  <a:pt x="1274418" y="2345466"/>
                </a:lnTo>
                <a:lnTo>
                  <a:pt x="1271380" y="2345574"/>
                </a:lnTo>
                <a:lnTo>
                  <a:pt x="1271380" y="2343192"/>
                </a:lnTo>
                <a:lnTo>
                  <a:pt x="1265846" y="2340701"/>
                </a:lnTo>
                <a:lnTo>
                  <a:pt x="1261722" y="2339294"/>
                </a:lnTo>
                <a:lnTo>
                  <a:pt x="1259226" y="2334964"/>
                </a:lnTo>
                <a:lnTo>
                  <a:pt x="1258901" y="2330308"/>
                </a:lnTo>
                <a:lnTo>
                  <a:pt x="1254560" y="2328467"/>
                </a:lnTo>
                <a:lnTo>
                  <a:pt x="1249785" y="2322079"/>
                </a:lnTo>
                <a:lnTo>
                  <a:pt x="1250979" y="2320671"/>
                </a:lnTo>
                <a:lnTo>
                  <a:pt x="1257165" y="2320130"/>
                </a:lnTo>
                <a:lnTo>
                  <a:pt x="1260854" y="2321538"/>
                </a:lnTo>
                <a:lnTo>
                  <a:pt x="1266714" y="2322621"/>
                </a:lnTo>
                <a:lnTo>
                  <a:pt x="1269970" y="2324678"/>
                </a:lnTo>
                <a:lnTo>
                  <a:pt x="1271706" y="2322295"/>
                </a:lnTo>
                <a:lnTo>
                  <a:pt x="1272357" y="2319372"/>
                </a:lnTo>
                <a:lnTo>
                  <a:pt x="1268450" y="2318614"/>
                </a:lnTo>
                <a:lnTo>
                  <a:pt x="1267907" y="2317424"/>
                </a:lnTo>
                <a:lnTo>
                  <a:pt x="1270295" y="2314825"/>
                </a:lnTo>
                <a:lnTo>
                  <a:pt x="1273008" y="2316016"/>
                </a:lnTo>
                <a:lnTo>
                  <a:pt x="1274310" y="2312226"/>
                </a:lnTo>
                <a:lnTo>
                  <a:pt x="1272574" y="2309520"/>
                </a:lnTo>
                <a:lnTo>
                  <a:pt x="1272682" y="2306921"/>
                </a:lnTo>
                <a:lnTo>
                  <a:pt x="1275504" y="2303348"/>
                </a:lnTo>
                <a:lnTo>
                  <a:pt x="1272357" y="2298151"/>
                </a:lnTo>
                <a:lnTo>
                  <a:pt x="1270295" y="2297285"/>
                </a:lnTo>
                <a:lnTo>
                  <a:pt x="1267907" y="2290140"/>
                </a:lnTo>
                <a:lnTo>
                  <a:pt x="1262048" y="2284293"/>
                </a:lnTo>
                <a:lnTo>
                  <a:pt x="1260963" y="2280503"/>
                </a:lnTo>
                <a:lnTo>
                  <a:pt x="1257598" y="2275631"/>
                </a:lnTo>
                <a:lnTo>
                  <a:pt x="1250870" y="2268918"/>
                </a:lnTo>
                <a:lnTo>
                  <a:pt x="1248049" y="2269135"/>
                </a:lnTo>
                <a:lnTo>
                  <a:pt x="1243926" y="2265129"/>
                </a:lnTo>
                <a:lnTo>
                  <a:pt x="1241646" y="2258633"/>
                </a:lnTo>
                <a:lnTo>
                  <a:pt x="1241538" y="2250620"/>
                </a:lnTo>
                <a:lnTo>
                  <a:pt x="1240128" y="2247806"/>
                </a:lnTo>
                <a:lnTo>
                  <a:pt x="1237198" y="2245207"/>
                </a:lnTo>
                <a:lnTo>
                  <a:pt x="1237523" y="2240443"/>
                </a:lnTo>
                <a:lnTo>
                  <a:pt x="1239151" y="2238169"/>
                </a:lnTo>
                <a:lnTo>
                  <a:pt x="1238391" y="2233514"/>
                </a:lnTo>
                <a:lnTo>
                  <a:pt x="1233400" y="2229075"/>
                </a:lnTo>
                <a:lnTo>
                  <a:pt x="1232423" y="2226151"/>
                </a:lnTo>
                <a:lnTo>
                  <a:pt x="1233942" y="2224635"/>
                </a:lnTo>
                <a:lnTo>
                  <a:pt x="1234159" y="2222037"/>
                </a:lnTo>
                <a:lnTo>
                  <a:pt x="1227757" y="2214242"/>
                </a:lnTo>
                <a:lnTo>
                  <a:pt x="1226237" y="2209803"/>
                </a:lnTo>
                <a:lnTo>
                  <a:pt x="1226889" y="2206013"/>
                </a:lnTo>
                <a:lnTo>
                  <a:pt x="1228734" y="2204605"/>
                </a:lnTo>
                <a:lnTo>
                  <a:pt x="1226237" y="2201249"/>
                </a:lnTo>
                <a:lnTo>
                  <a:pt x="1223416" y="2196052"/>
                </a:lnTo>
                <a:lnTo>
                  <a:pt x="1220161" y="2183926"/>
                </a:lnTo>
                <a:lnTo>
                  <a:pt x="1219401" y="2178079"/>
                </a:lnTo>
                <a:lnTo>
                  <a:pt x="1219401" y="2178079"/>
                </a:lnTo>
                <a:lnTo>
                  <a:pt x="1218967" y="2174289"/>
                </a:lnTo>
                <a:lnTo>
                  <a:pt x="1220160" y="2168443"/>
                </a:lnTo>
                <a:lnTo>
                  <a:pt x="1219075" y="2161189"/>
                </a:lnTo>
                <a:lnTo>
                  <a:pt x="1210828" y="2148630"/>
                </a:lnTo>
                <a:lnTo>
                  <a:pt x="1205511" y="2143108"/>
                </a:lnTo>
                <a:lnTo>
                  <a:pt x="1202473" y="2143757"/>
                </a:lnTo>
                <a:lnTo>
                  <a:pt x="1199977" y="2143974"/>
                </a:lnTo>
                <a:lnTo>
                  <a:pt x="1198457" y="2143108"/>
                </a:lnTo>
                <a:lnTo>
                  <a:pt x="1198674" y="2138993"/>
                </a:lnTo>
                <a:lnTo>
                  <a:pt x="1197589" y="2136395"/>
                </a:lnTo>
                <a:lnTo>
                  <a:pt x="1191729" y="2134663"/>
                </a:lnTo>
                <a:lnTo>
                  <a:pt x="1187823" y="2134554"/>
                </a:lnTo>
                <a:lnTo>
                  <a:pt x="1181420" y="2131089"/>
                </a:lnTo>
                <a:lnTo>
                  <a:pt x="1181420" y="2126975"/>
                </a:lnTo>
                <a:lnTo>
                  <a:pt x="1178490" y="2123727"/>
                </a:lnTo>
                <a:lnTo>
                  <a:pt x="1172088" y="2123727"/>
                </a:lnTo>
                <a:lnTo>
                  <a:pt x="1168615" y="2123077"/>
                </a:lnTo>
                <a:lnTo>
                  <a:pt x="1164817" y="2120696"/>
                </a:lnTo>
                <a:lnTo>
                  <a:pt x="1159934" y="2119396"/>
                </a:lnTo>
                <a:lnTo>
                  <a:pt x="1151795" y="2119396"/>
                </a:lnTo>
                <a:lnTo>
                  <a:pt x="1149299" y="2117664"/>
                </a:lnTo>
                <a:lnTo>
                  <a:pt x="1147997" y="2113766"/>
                </a:lnTo>
                <a:lnTo>
                  <a:pt x="1149083" y="2113008"/>
                </a:lnTo>
                <a:lnTo>
                  <a:pt x="1150276" y="2109219"/>
                </a:lnTo>
                <a:lnTo>
                  <a:pt x="1152012" y="2101965"/>
                </a:lnTo>
                <a:lnTo>
                  <a:pt x="1150493" y="2096984"/>
                </a:lnTo>
                <a:lnTo>
                  <a:pt x="1146695" y="2092653"/>
                </a:lnTo>
                <a:lnTo>
                  <a:pt x="1146261" y="2091354"/>
                </a:lnTo>
                <a:lnTo>
                  <a:pt x="1147238" y="2089622"/>
                </a:lnTo>
                <a:lnTo>
                  <a:pt x="1145176" y="2088106"/>
                </a:lnTo>
                <a:lnTo>
                  <a:pt x="1141595" y="2083125"/>
                </a:lnTo>
                <a:lnTo>
                  <a:pt x="1136603" y="2072515"/>
                </a:lnTo>
                <a:lnTo>
                  <a:pt x="1135517" y="2064178"/>
                </a:lnTo>
                <a:lnTo>
                  <a:pt x="1131828" y="2061472"/>
                </a:lnTo>
                <a:lnTo>
                  <a:pt x="1131068" y="2058549"/>
                </a:lnTo>
                <a:lnTo>
                  <a:pt x="1131394" y="2054109"/>
                </a:lnTo>
                <a:lnTo>
                  <a:pt x="1130200" y="2049129"/>
                </a:lnTo>
                <a:lnTo>
                  <a:pt x="1130418" y="2047072"/>
                </a:lnTo>
                <a:lnTo>
                  <a:pt x="1132479" y="2047396"/>
                </a:lnTo>
                <a:lnTo>
                  <a:pt x="1135517" y="2043931"/>
                </a:lnTo>
                <a:lnTo>
                  <a:pt x="1135409" y="2040142"/>
                </a:lnTo>
                <a:lnTo>
                  <a:pt x="1132804" y="2037544"/>
                </a:lnTo>
                <a:lnTo>
                  <a:pt x="1129224" y="2035378"/>
                </a:lnTo>
                <a:lnTo>
                  <a:pt x="1128138" y="2030723"/>
                </a:lnTo>
                <a:lnTo>
                  <a:pt x="1125860" y="2029532"/>
                </a:lnTo>
                <a:lnTo>
                  <a:pt x="1125426" y="2025742"/>
                </a:lnTo>
                <a:lnTo>
                  <a:pt x="1126620" y="2021411"/>
                </a:lnTo>
                <a:lnTo>
                  <a:pt x="1126077" y="2019246"/>
                </a:lnTo>
                <a:lnTo>
                  <a:pt x="1128356" y="2016972"/>
                </a:lnTo>
                <a:lnTo>
                  <a:pt x="1127813" y="2014049"/>
                </a:lnTo>
                <a:lnTo>
                  <a:pt x="1129549" y="2011558"/>
                </a:lnTo>
                <a:lnTo>
                  <a:pt x="1131611" y="2012966"/>
                </a:lnTo>
                <a:lnTo>
                  <a:pt x="1133673" y="2017297"/>
                </a:lnTo>
                <a:lnTo>
                  <a:pt x="1137579" y="2019354"/>
                </a:lnTo>
                <a:lnTo>
                  <a:pt x="1136061" y="2017297"/>
                </a:lnTo>
                <a:lnTo>
                  <a:pt x="1134541" y="2013725"/>
                </a:lnTo>
                <a:lnTo>
                  <a:pt x="1133781" y="2007444"/>
                </a:lnTo>
                <a:lnTo>
                  <a:pt x="1131936" y="2006145"/>
                </a:lnTo>
                <a:lnTo>
                  <a:pt x="1132262" y="2002897"/>
                </a:lnTo>
                <a:lnTo>
                  <a:pt x="1134324" y="2002897"/>
                </a:lnTo>
                <a:lnTo>
                  <a:pt x="1136061" y="2004413"/>
                </a:lnTo>
                <a:lnTo>
                  <a:pt x="1140184" y="2003222"/>
                </a:lnTo>
                <a:lnTo>
                  <a:pt x="1144525" y="2002139"/>
                </a:lnTo>
                <a:lnTo>
                  <a:pt x="1138556" y="2001489"/>
                </a:lnTo>
                <a:lnTo>
                  <a:pt x="1137254" y="1999758"/>
                </a:lnTo>
                <a:lnTo>
                  <a:pt x="1133456" y="1999649"/>
                </a:lnTo>
                <a:lnTo>
                  <a:pt x="1133022" y="1997700"/>
                </a:lnTo>
                <a:lnTo>
                  <a:pt x="1131828" y="1998675"/>
                </a:lnTo>
                <a:lnTo>
                  <a:pt x="1128681" y="1996834"/>
                </a:lnTo>
                <a:lnTo>
                  <a:pt x="1128464" y="2002139"/>
                </a:lnTo>
                <a:lnTo>
                  <a:pt x="1128464" y="2007336"/>
                </a:lnTo>
                <a:lnTo>
                  <a:pt x="1127270" y="2006687"/>
                </a:lnTo>
                <a:lnTo>
                  <a:pt x="1125426" y="2006795"/>
                </a:lnTo>
                <a:lnTo>
                  <a:pt x="1124558" y="2004413"/>
                </a:lnTo>
                <a:lnTo>
                  <a:pt x="1119023" y="1999216"/>
                </a:lnTo>
                <a:lnTo>
                  <a:pt x="1117829" y="1995860"/>
                </a:lnTo>
                <a:lnTo>
                  <a:pt x="1119240" y="1992828"/>
                </a:lnTo>
                <a:lnTo>
                  <a:pt x="1118480" y="1988281"/>
                </a:lnTo>
                <a:lnTo>
                  <a:pt x="1108497" y="1972906"/>
                </a:lnTo>
                <a:lnTo>
                  <a:pt x="1107520" y="1970199"/>
                </a:lnTo>
                <a:lnTo>
                  <a:pt x="1108388" y="1967059"/>
                </a:lnTo>
                <a:lnTo>
                  <a:pt x="1110450" y="1963487"/>
                </a:lnTo>
                <a:lnTo>
                  <a:pt x="1109908" y="1958722"/>
                </a:lnTo>
                <a:lnTo>
                  <a:pt x="1107846" y="1954608"/>
                </a:lnTo>
                <a:lnTo>
                  <a:pt x="1107846" y="1952335"/>
                </a:lnTo>
                <a:lnTo>
                  <a:pt x="1110559" y="1948004"/>
                </a:lnTo>
                <a:lnTo>
                  <a:pt x="1111427" y="1942698"/>
                </a:lnTo>
                <a:lnTo>
                  <a:pt x="1111101" y="1933063"/>
                </a:lnTo>
                <a:lnTo>
                  <a:pt x="1107303" y="1924292"/>
                </a:lnTo>
                <a:lnTo>
                  <a:pt x="1103180" y="1918663"/>
                </a:lnTo>
                <a:lnTo>
                  <a:pt x="1103180" y="1913249"/>
                </a:lnTo>
                <a:lnTo>
                  <a:pt x="1105784" y="1907835"/>
                </a:lnTo>
                <a:lnTo>
                  <a:pt x="1112838" y="1902963"/>
                </a:lnTo>
                <a:lnTo>
                  <a:pt x="1115225" y="1896684"/>
                </a:lnTo>
                <a:lnTo>
                  <a:pt x="1113706" y="1895601"/>
                </a:lnTo>
                <a:lnTo>
                  <a:pt x="1112946" y="1892461"/>
                </a:lnTo>
                <a:lnTo>
                  <a:pt x="1115551" y="1889971"/>
                </a:lnTo>
                <a:lnTo>
                  <a:pt x="1118155" y="1884557"/>
                </a:lnTo>
                <a:lnTo>
                  <a:pt x="1119240" y="1874813"/>
                </a:lnTo>
                <a:lnTo>
                  <a:pt x="1117504" y="1868966"/>
                </a:lnTo>
                <a:lnTo>
                  <a:pt x="1117612" y="1865177"/>
                </a:lnTo>
                <a:lnTo>
                  <a:pt x="1119674" y="1862362"/>
                </a:lnTo>
                <a:lnTo>
                  <a:pt x="1116419" y="1857273"/>
                </a:lnTo>
                <a:lnTo>
                  <a:pt x="1116744" y="1851102"/>
                </a:lnTo>
                <a:lnTo>
                  <a:pt x="1119240" y="1842007"/>
                </a:lnTo>
                <a:lnTo>
                  <a:pt x="1118480" y="1832804"/>
                </a:lnTo>
                <a:lnTo>
                  <a:pt x="1120217" y="1828689"/>
                </a:lnTo>
                <a:lnTo>
                  <a:pt x="1126402" y="1820786"/>
                </a:lnTo>
                <a:lnTo>
                  <a:pt x="1127813" y="1815914"/>
                </a:lnTo>
                <a:lnTo>
                  <a:pt x="1130200" y="1813532"/>
                </a:lnTo>
                <a:lnTo>
                  <a:pt x="1133022" y="1805628"/>
                </a:lnTo>
                <a:lnTo>
                  <a:pt x="1137471" y="1800431"/>
                </a:lnTo>
                <a:lnTo>
                  <a:pt x="1140618" y="1794260"/>
                </a:lnTo>
                <a:lnTo>
                  <a:pt x="1142354" y="1781483"/>
                </a:lnTo>
                <a:lnTo>
                  <a:pt x="1148214" y="1770115"/>
                </a:lnTo>
                <a:lnTo>
                  <a:pt x="1149191" y="1759504"/>
                </a:lnTo>
                <a:lnTo>
                  <a:pt x="1155702" y="1744996"/>
                </a:lnTo>
                <a:lnTo>
                  <a:pt x="1158197" y="1739800"/>
                </a:lnTo>
                <a:lnTo>
                  <a:pt x="1161887" y="1733303"/>
                </a:lnTo>
                <a:lnTo>
                  <a:pt x="1161453" y="1729839"/>
                </a:lnTo>
                <a:lnTo>
                  <a:pt x="1161453" y="1726266"/>
                </a:lnTo>
                <a:lnTo>
                  <a:pt x="1166228" y="1720094"/>
                </a:lnTo>
                <a:lnTo>
                  <a:pt x="1166011" y="1716305"/>
                </a:lnTo>
                <a:lnTo>
                  <a:pt x="1167638" y="1715114"/>
                </a:lnTo>
                <a:lnTo>
                  <a:pt x="1170351" y="1717171"/>
                </a:lnTo>
                <a:lnTo>
                  <a:pt x="1178490" y="1717496"/>
                </a:lnTo>
                <a:lnTo>
                  <a:pt x="1181963" y="1719878"/>
                </a:lnTo>
                <a:lnTo>
                  <a:pt x="1184893" y="1719445"/>
                </a:lnTo>
                <a:lnTo>
                  <a:pt x="1189125" y="1721935"/>
                </a:lnTo>
                <a:lnTo>
                  <a:pt x="1191404" y="1727349"/>
                </a:lnTo>
                <a:lnTo>
                  <a:pt x="1190536" y="1721502"/>
                </a:lnTo>
                <a:lnTo>
                  <a:pt x="1188148" y="1718362"/>
                </a:lnTo>
                <a:lnTo>
                  <a:pt x="1183157" y="1717496"/>
                </a:lnTo>
                <a:lnTo>
                  <a:pt x="1179142" y="1714247"/>
                </a:lnTo>
                <a:lnTo>
                  <a:pt x="1172631" y="1713706"/>
                </a:lnTo>
                <a:lnTo>
                  <a:pt x="1166011" y="1711974"/>
                </a:lnTo>
                <a:lnTo>
                  <a:pt x="1165577" y="1709376"/>
                </a:lnTo>
                <a:lnTo>
                  <a:pt x="1167205" y="1707535"/>
                </a:lnTo>
                <a:lnTo>
                  <a:pt x="1168833" y="1708184"/>
                </a:lnTo>
                <a:lnTo>
                  <a:pt x="1171545" y="1704937"/>
                </a:lnTo>
                <a:lnTo>
                  <a:pt x="1171762" y="1700280"/>
                </a:lnTo>
                <a:lnTo>
                  <a:pt x="1173173" y="1696708"/>
                </a:lnTo>
                <a:lnTo>
                  <a:pt x="1169375" y="1695192"/>
                </a:lnTo>
                <a:lnTo>
                  <a:pt x="1167638" y="1693135"/>
                </a:lnTo>
                <a:lnTo>
                  <a:pt x="1168833" y="1689345"/>
                </a:lnTo>
                <a:lnTo>
                  <a:pt x="1171219" y="1689345"/>
                </a:lnTo>
                <a:lnTo>
                  <a:pt x="1173173" y="1686531"/>
                </a:lnTo>
                <a:lnTo>
                  <a:pt x="1172739" y="1684798"/>
                </a:lnTo>
                <a:lnTo>
                  <a:pt x="1169701" y="1683932"/>
                </a:lnTo>
                <a:lnTo>
                  <a:pt x="1169375" y="1680900"/>
                </a:lnTo>
                <a:lnTo>
                  <a:pt x="1170351" y="1674837"/>
                </a:lnTo>
                <a:lnTo>
                  <a:pt x="1169158" y="1668666"/>
                </a:lnTo>
                <a:lnTo>
                  <a:pt x="1171545" y="1656539"/>
                </a:lnTo>
                <a:lnTo>
                  <a:pt x="1168941" y="1647661"/>
                </a:lnTo>
                <a:lnTo>
                  <a:pt x="1168833" y="1643438"/>
                </a:lnTo>
                <a:lnTo>
                  <a:pt x="1172631" y="1634669"/>
                </a:lnTo>
                <a:lnTo>
                  <a:pt x="1173281" y="1629797"/>
                </a:lnTo>
                <a:lnTo>
                  <a:pt x="1175017" y="1629364"/>
                </a:lnTo>
                <a:lnTo>
                  <a:pt x="1186086" y="1638999"/>
                </a:lnTo>
                <a:lnTo>
                  <a:pt x="1191946" y="1642681"/>
                </a:lnTo>
                <a:lnTo>
                  <a:pt x="1202581" y="1643438"/>
                </a:lnTo>
                <a:lnTo>
                  <a:pt x="1206379" y="1645279"/>
                </a:lnTo>
                <a:lnTo>
                  <a:pt x="1208658" y="1649610"/>
                </a:lnTo>
                <a:lnTo>
                  <a:pt x="1210828" y="1648527"/>
                </a:lnTo>
                <a:lnTo>
                  <a:pt x="1213107" y="1648744"/>
                </a:lnTo>
                <a:lnTo>
                  <a:pt x="1214626" y="1651668"/>
                </a:lnTo>
                <a:lnTo>
                  <a:pt x="1213324" y="1654374"/>
                </a:lnTo>
                <a:lnTo>
                  <a:pt x="1208224" y="1656323"/>
                </a:lnTo>
                <a:lnTo>
                  <a:pt x="1203775" y="1660762"/>
                </a:lnTo>
                <a:lnTo>
                  <a:pt x="1203666" y="1663144"/>
                </a:lnTo>
                <a:lnTo>
                  <a:pt x="1207464" y="1663144"/>
                </a:lnTo>
                <a:lnTo>
                  <a:pt x="1209092" y="1660221"/>
                </a:lnTo>
                <a:lnTo>
                  <a:pt x="1214084" y="1656106"/>
                </a:lnTo>
                <a:lnTo>
                  <a:pt x="1216580" y="1655565"/>
                </a:lnTo>
                <a:lnTo>
                  <a:pt x="1217014" y="1659354"/>
                </a:lnTo>
                <a:lnTo>
                  <a:pt x="1213432" y="1662494"/>
                </a:lnTo>
                <a:lnTo>
                  <a:pt x="1210719" y="1668125"/>
                </a:lnTo>
                <a:lnTo>
                  <a:pt x="1210503" y="1673971"/>
                </a:lnTo>
                <a:lnTo>
                  <a:pt x="1208983" y="1675703"/>
                </a:lnTo>
                <a:lnTo>
                  <a:pt x="1208224" y="1672131"/>
                </a:lnTo>
                <a:lnTo>
                  <a:pt x="1205185" y="1674729"/>
                </a:lnTo>
                <a:lnTo>
                  <a:pt x="1204100" y="1672780"/>
                </a:lnTo>
                <a:lnTo>
                  <a:pt x="1200737" y="1677111"/>
                </a:lnTo>
                <a:lnTo>
                  <a:pt x="1202038" y="1679493"/>
                </a:lnTo>
                <a:lnTo>
                  <a:pt x="1206053" y="1681550"/>
                </a:lnTo>
                <a:lnTo>
                  <a:pt x="1211154" y="1678193"/>
                </a:lnTo>
                <a:lnTo>
                  <a:pt x="1212782" y="1673971"/>
                </a:lnTo>
                <a:lnTo>
                  <a:pt x="1215386" y="1671048"/>
                </a:lnTo>
                <a:lnTo>
                  <a:pt x="1215494" y="1665742"/>
                </a:lnTo>
                <a:lnTo>
                  <a:pt x="1218316" y="1663360"/>
                </a:lnTo>
                <a:lnTo>
                  <a:pt x="1219618" y="1657297"/>
                </a:lnTo>
                <a:lnTo>
                  <a:pt x="1223633" y="1654807"/>
                </a:lnTo>
                <a:lnTo>
                  <a:pt x="1227540" y="1649935"/>
                </a:lnTo>
                <a:lnTo>
                  <a:pt x="1225370" y="1647228"/>
                </a:lnTo>
                <a:lnTo>
                  <a:pt x="1224935" y="1643872"/>
                </a:lnTo>
                <a:lnTo>
                  <a:pt x="1223416" y="1642572"/>
                </a:lnTo>
                <a:lnTo>
                  <a:pt x="1226238" y="1638783"/>
                </a:lnTo>
                <a:lnTo>
                  <a:pt x="1227757" y="1636834"/>
                </a:lnTo>
                <a:lnTo>
                  <a:pt x="1224285" y="1634452"/>
                </a:lnTo>
                <a:lnTo>
                  <a:pt x="1223633" y="1630554"/>
                </a:lnTo>
                <a:lnTo>
                  <a:pt x="1227757" y="1627414"/>
                </a:lnTo>
                <a:lnTo>
                  <a:pt x="1228299" y="1624166"/>
                </a:lnTo>
                <a:lnTo>
                  <a:pt x="1223091" y="1620377"/>
                </a:lnTo>
                <a:lnTo>
                  <a:pt x="1221246" y="1611933"/>
                </a:lnTo>
                <a:lnTo>
                  <a:pt x="1221245" y="1611932"/>
                </a:lnTo>
                <a:lnTo>
                  <a:pt x="1221245" y="1611824"/>
                </a:lnTo>
                <a:lnTo>
                  <a:pt x="1217556" y="1611066"/>
                </a:lnTo>
                <a:lnTo>
                  <a:pt x="1216036" y="1603054"/>
                </a:lnTo>
                <a:lnTo>
                  <a:pt x="1220486" y="1593418"/>
                </a:lnTo>
                <a:lnTo>
                  <a:pt x="1221897" y="1587355"/>
                </a:lnTo>
                <a:lnTo>
                  <a:pt x="1218966" y="1590170"/>
                </a:lnTo>
                <a:lnTo>
                  <a:pt x="1213432" y="1592010"/>
                </a:lnTo>
                <a:lnTo>
                  <a:pt x="1207572" y="1595259"/>
                </a:lnTo>
                <a:lnTo>
                  <a:pt x="1203232" y="1589087"/>
                </a:lnTo>
                <a:lnTo>
                  <a:pt x="1203449" y="1584324"/>
                </a:lnTo>
                <a:lnTo>
                  <a:pt x="1206053" y="1584757"/>
                </a:lnTo>
                <a:lnTo>
                  <a:pt x="1207789" y="1588763"/>
                </a:lnTo>
                <a:lnTo>
                  <a:pt x="1209960" y="1589304"/>
                </a:lnTo>
                <a:lnTo>
                  <a:pt x="1210393" y="1586489"/>
                </a:lnTo>
                <a:lnTo>
                  <a:pt x="1208115" y="1582591"/>
                </a:lnTo>
                <a:lnTo>
                  <a:pt x="1206921" y="1578585"/>
                </a:lnTo>
                <a:lnTo>
                  <a:pt x="1203449" y="1578585"/>
                </a:lnTo>
                <a:lnTo>
                  <a:pt x="1200302" y="1580642"/>
                </a:lnTo>
                <a:lnTo>
                  <a:pt x="1195310" y="1578261"/>
                </a:lnTo>
                <a:lnTo>
                  <a:pt x="1191946" y="1572089"/>
                </a:lnTo>
                <a:lnTo>
                  <a:pt x="1192055" y="1569816"/>
                </a:lnTo>
                <a:lnTo>
                  <a:pt x="1198131" y="1565701"/>
                </a:lnTo>
                <a:lnTo>
                  <a:pt x="1200736" y="1560071"/>
                </a:lnTo>
                <a:lnTo>
                  <a:pt x="1203774" y="1556931"/>
                </a:lnTo>
                <a:lnTo>
                  <a:pt x="1202472" y="1555523"/>
                </a:lnTo>
                <a:lnTo>
                  <a:pt x="1197914" y="1556931"/>
                </a:lnTo>
                <a:lnTo>
                  <a:pt x="1192814" y="1556931"/>
                </a:lnTo>
                <a:lnTo>
                  <a:pt x="1191512" y="1555090"/>
                </a:lnTo>
                <a:lnTo>
                  <a:pt x="1194984" y="1551409"/>
                </a:lnTo>
                <a:lnTo>
                  <a:pt x="1199108" y="1545129"/>
                </a:lnTo>
                <a:lnTo>
                  <a:pt x="1199325" y="1538417"/>
                </a:lnTo>
                <a:lnTo>
                  <a:pt x="1201170" y="1535927"/>
                </a:lnTo>
                <a:lnTo>
                  <a:pt x="1201170" y="1533112"/>
                </a:lnTo>
                <a:lnTo>
                  <a:pt x="1198239" y="1533869"/>
                </a:lnTo>
                <a:lnTo>
                  <a:pt x="1196395" y="1537875"/>
                </a:lnTo>
                <a:lnTo>
                  <a:pt x="1195744" y="1546212"/>
                </a:lnTo>
                <a:lnTo>
                  <a:pt x="1190535" y="1553358"/>
                </a:lnTo>
                <a:lnTo>
                  <a:pt x="1187605" y="1553900"/>
                </a:lnTo>
                <a:lnTo>
                  <a:pt x="1184784" y="1551951"/>
                </a:lnTo>
                <a:lnTo>
                  <a:pt x="1182179" y="1550976"/>
                </a:lnTo>
                <a:lnTo>
                  <a:pt x="1182179" y="1548594"/>
                </a:lnTo>
                <a:lnTo>
                  <a:pt x="1183699" y="1546537"/>
                </a:lnTo>
                <a:lnTo>
                  <a:pt x="1183699" y="1544372"/>
                </a:lnTo>
                <a:lnTo>
                  <a:pt x="1179901" y="1546862"/>
                </a:lnTo>
                <a:lnTo>
                  <a:pt x="1177730" y="1549785"/>
                </a:lnTo>
                <a:lnTo>
                  <a:pt x="1176211" y="1549894"/>
                </a:lnTo>
                <a:lnTo>
                  <a:pt x="1175018" y="1547186"/>
                </a:lnTo>
                <a:lnTo>
                  <a:pt x="1172413" y="1547945"/>
                </a:lnTo>
                <a:lnTo>
                  <a:pt x="1169917" y="1550002"/>
                </a:lnTo>
                <a:lnTo>
                  <a:pt x="1166662" y="1548161"/>
                </a:lnTo>
                <a:lnTo>
                  <a:pt x="1166553" y="1546429"/>
                </a:lnTo>
                <a:lnTo>
                  <a:pt x="1169917" y="1542747"/>
                </a:lnTo>
                <a:lnTo>
                  <a:pt x="1173823" y="1542531"/>
                </a:lnTo>
                <a:lnTo>
                  <a:pt x="1179466" y="1541015"/>
                </a:lnTo>
                <a:lnTo>
                  <a:pt x="1185760" y="1536468"/>
                </a:lnTo>
                <a:lnTo>
                  <a:pt x="1187930" y="1532029"/>
                </a:lnTo>
                <a:lnTo>
                  <a:pt x="1187822" y="1527048"/>
                </a:lnTo>
                <a:lnTo>
                  <a:pt x="1187062" y="1531162"/>
                </a:lnTo>
                <a:lnTo>
                  <a:pt x="1182830" y="1534086"/>
                </a:lnTo>
                <a:lnTo>
                  <a:pt x="1180009" y="1539066"/>
                </a:lnTo>
                <a:lnTo>
                  <a:pt x="1177404" y="1540798"/>
                </a:lnTo>
                <a:lnTo>
                  <a:pt x="1170893" y="1538525"/>
                </a:lnTo>
                <a:lnTo>
                  <a:pt x="1169483" y="1535168"/>
                </a:lnTo>
                <a:lnTo>
                  <a:pt x="1165359" y="1534735"/>
                </a:lnTo>
                <a:lnTo>
                  <a:pt x="1165359" y="1533112"/>
                </a:lnTo>
                <a:lnTo>
                  <a:pt x="1168832" y="1531704"/>
                </a:lnTo>
                <a:lnTo>
                  <a:pt x="1166879" y="1529972"/>
                </a:lnTo>
                <a:lnTo>
                  <a:pt x="1160910" y="1531162"/>
                </a:lnTo>
                <a:lnTo>
                  <a:pt x="1157112" y="1529105"/>
                </a:lnTo>
                <a:lnTo>
                  <a:pt x="1153856" y="1529430"/>
                </a:lnTo>
                <a:lnTo>
                  <a:pt x="1152988" y="1533112"/>
                </a:lnTo>
                <a:lnTo>
                  <a:pt x="1147454" y="1529322"/>
                </a:lnTo>
                <a:lnTo>
                  <a:pt x="1145175" y="1524666"/>
                </a:lnTo>
                <a:lnTo>
                  <a:pt x="1146912" y="1522934"/>
                </a:lnTo>
                <a:lnTo>
                  <a:pt x="1149842" y="1525100"/>
                </a:lnTo>
                <a:lnTo>
                  <a:pt x="1155376" y="1526507"/>
                </a:lnTo>
                <a:lnTo>
                  <a:pt x="1160910" y="1525533"/>
                </a:lnTo>
                <a:lnTo>
                  <a:pt x="1161236" y="1523150"/>
                </a:lnTo>
                <a:lnTo>
                  <a:pt x="1158631" y="1523476"/>
                </a:lnTo>
                <a:lnTo>
                  <a:pt x="1152228" y="1523259"/>
                </a:lnTo>
                <a:lnTo>
                  <a:pt x="1150710" y="1522068"/>
                </a:lnTo>
                <a:lnTo>
                  <a:pt x="1151578" y="1520877"/>
                </a:lnTo>
                <a:lnTo>
                  <a:pt x="1155701" y="1521851"/>
                </a:lnTo>
                <a:lnTo>
                  <a:pt x="1160367" y="1520877"/>
                </a:lnTo>
                <a:lnTo>
                  <a:pt x="1161127" y="1518819"/>
                </a:lnTo>
                <a:lnTo>
                  <a:pt x="1155050" y="1518928"/>
                </a:lnTo>
                <a:lnTo>
                  <a:pt x="1151903" y="1517087"/>
                </a:lnTo>
                <a:lnTo>
                  <a:pt x="1146803" y="1518278"/>
                </a:lnTo>
                <a:lnTo>
                  <a:pt x="1143547" y="1518278"/>
                </a:lnTo>
                <a:lnTo>
                  <a:pt x="1141269" y="1516438"/>
                </a:lnTo>
                <a:lnTo>
                  <a:pt x="1142246" y="1512215"/>
                </a:lnTo>
                <a:lnTo>
                  <a:pt x="1146586" y="1511241"/>
                </a:lnTo>
                <a:lnTo>
                  <a:pt x="1149516" y="1513298"/>
                </a:lnTo>
                <a:lnTo>
                  <a:pt x="1154182" y="1513623"/>
                </a:lnTo>
                <a:lnTo>
                  <a:pt x="1156895" y="1511025"/>
                </a:lnTo>
                <a:lnTo>
                  <a:pt x="1152228" y="1511025"/>
                </a:lnTo>
                <a:lnTo>
                  <a:pt x="1148865" y="1509184"/>
                </a:lnTo>
                <a:lnTo>
                  <a:pt x="1143114" y="1508967"/>
                </a:lnTo>
                <a:lnTo>
                  <a:pt x="1143656" y="1507235"/>
                </a:lnTo>
                <a:lnTo>
                  <a:pt x="1150384" y="1505503"/>
                </a:lnTo>
                <a:lnTo>
                  <a:pt x="1152988" y="1506801"/>
                </a:lnTo>
                <a:lnTo>
                  <a:pt x="1155918" y="1505935"/>
                </a:lnTo>
                <a:lnTo>
                  <a:pt x="1155050" y="1503662"/>
                </a:lnTo>
                <a:lnTo>
                  <a:pt x="1155050" y="1501280"/>
                </a:lnTo>
                <a:lnTo>
                  <a:pt x="1157763" y="1498681"/>
                </a:lnTo>
                <a:lnTo>
                  <a:pt x="1163840" y="1498681"/>
                </a:lnTo>
                <a:lnTo>
                  <a:pt x="1167963" y="1499548"/>
                </a:lnTo>
                <a:lnTo>
                  <a:pt x="1169375" y="1498140"/>
                </a:lnTo>
                <a:lnTo>
                  <a:pt x="1161887" y="1497166"/>
                </a:lnTo>
                <a:lnTo>
                  <a:pt x="1159716" y="1494784"/>
                </a:lnTo>
                <a:lnTo>
                  <a:pt x="1157438" y="1494026"/>
                </a:lnTo>
                <a:lnTo>
                  <a:pt x="1155050" y="1497815"/>
                </a:lnTo>
                <a:lnTo>
                  <a:pt x="1150710" y="1499872"/>
                </a:lnTo>
                <a:lnTo>
                  <a:pt x="1147562" y="1502146"/>
                </a:lnTo>
                <a:lnTo>
                  <a:pt x="1146044" y="1500739"/>
                </a:lnTo>
                <a:lnTo>
                  <a:pt x="1146369" y="1497274"/>
                </a:lnTo>
                <a:lnTo>
                  <a:pt x="1145718" y="1493809"/>
                </a:lnTo>
                <a:lnTo>
                  <a:pt x="1147454" y="1490128"/>
                </a:lnTo>
                <a:lnTo>
                  <a:pt x="1153531" y="1487097"/>
                </a:lnTo>
                <a:lnTo>
                  <a:pt x="1156027" y="1483956"/>
                </a:lnTo>
                <a:lnTo>
                  <a:pt x="1167095" y="1475836"/>
                </a:lnTo>
                <a:lnTo>
                  <a:pt x="1170568" y="1474104"/>
                </a:lnTo>
                <a:lnTo>
                  <a:pt x="1172413" y="1477027"/>
                </a:lnTo>
                <a:lnTo>
                  <a:pt x="1172630" y="1483523"/>
                </a:lnTo>
                <a:lnTo>
                  <a:pt x="1175234" y="1487313"/>
                </a:lnTo>
                <a:lnTo>
                  <a:pt x="1176753" y="1486122"/>
                </a:lnTo>
                <a:lnTo>
                  <a:pt x="1175234" y="1480275"/>
                </a:lnTo>
                <a:lnTo>
                  <a:pt x="1175234" y="1473454"/>
                </a:lnTo>
                <a:lnTo>
                  <a:pt x="1179684" y="1471505"/>
                </a:lnTo>
                <a:lnTo>
                  <a:pt x="1185000" y="1471505"/>
                </a:lnTo>
                <a:lnTo>
                  <a:pt x="1180660" y="1470098"/>
                </a:lnTo>
                <a:lnTo>
                  <a:pt x="1175234" y="1470098"/>
                </a:lnTo>
                <a:lnTo>
                  <a:pt x="1171978" y="1471181"/>
                </a:lnTo>
                <a:lnTo>
                  <a:pt x="1169700" y="1468474"/>
                </a:lnTo>
                <a:lnTo>
                  <a:pt x="1170893" y="1465334"/>
                </a:lnTo>
                <a:lnTo>
                  <a:pt x="1175668" y="1463385"/>
                </a:lnTo>
                <a:lnTo>
                  <a:pt x="1180552" y="1460029"/>
                </a:lnTo>
                <a:lnTo>
                  <a:pt x="1184132" y="1453965"/>
                </a:lnTo>
                <a:lnTo>
                  <a:pt x="1182939" y="1450501"/>
                </a:lnTo>
                <a:lnTo>
                  <a:pt x="1181420" y="1451367"/>
                </a:lnTo>
                <a:lnTo>
                  <a:pt x="1180226" y="1455481"/>
                </a:lnTo>
                <a:lnTo>
                  <a:pt x="1176211" y="1459163"/>
                </a:lnTo>
                <a:lnTo>
                  <a:pt x="1171436" y="1459487"/>
                </a:lnTo>
                <a:lnTo>
                  <a:pt x="1166879" y="1465442"/>
                </a:lnTo>
                <a:lnTo>
                  <a:pt x="1160259" y="1470423"/>
                </a:lnTo>
                <a:lnTo>
                  <a:pt x="1153531" y="1472913"/>
                </a:lnTo>
                <a:lnTo>
                  <a:pt x="1150167" y="1468799"/>
                </a:lnTo>
                <a:lnTo>
                  <a:pt x="1151252" y="1466525"/>
                </a:lnTo>
                <a:lnTo>
                  <a:pt x="1155050" y="1465442"/>
                </a:lnTo>
                <a:lnTo>
                  <a:pt x="1151469" y="1464685"/>
                </a:lnTo>
                <a:lnTo>
                  <a:pt x="1144741" y="1467066"/>
                </a:lnTo>
                <a:lnTo>
                  <a:pt x="1142246" y="1464793"/>
                </a:lnTo>
                <a:lnTo>
                  <a:pt x="1143331" y="1462627"/>
                </a:lnTo>
                <a:lnTo>
                  <a:pt x="1149190" y="1458621"/>
                </a:lnTo>
                <a:lnTo>
                  <a:pt x="1153097" y="1456781"/>
                </a:lnTo>
                <a:lnTo>
                  <a:pt x="1157112" y="1457430"/>
                </a:lnTo>
                <a:lnTo>
                  <a:pt x="1158631" y="1455481"/>
                </a:lnTo>
                <a:lnTo>
                  <a:pt x="1158848" y="1453316"/>
                </a:lnTo>
                <a:lnTo>
                  <a:pt x="1156027" y="1451259"/>
                </a:lnTo>
                <a:lnTo>
                  <a:pt x="1156895" y="1449310"/>
                </a:lnTo>
                <a:lnTo>
                  <a:pt x="1159174" y="1447253"/>
                </a:lnTo>
                <a:lnTo>
                  <a:pt x="1157221" y="1445412"/>
                </a:lnTo>
                <a:lnTo>
                  <a:pt x="1153531" y="1447469"/>
                </a:lnTo>
                <a:lnTo>
                  <a:pt x="1151252" y="1447469"/>
                </a:lnTo>
                <a:lnTo>
                  <a:pt x="1149516" y="1443680"/>
                </a:lnTo>
                <a:lnTo>
                  <a:pt x="1148865" y="1433719"/>
                </a:lnTo>
                <a:lnTo>
                  <a:pt x="1146586" y="1430471"/>
                </a:lnTo>
                <a:lnTo>
                  <a:pt x="1146260" y="1426681"/>
                </a:lnTo>
                <a:lnTo>
                  <a:pt x="1147997" y="1423216"/>
                </a:lnTo>
                <a:lnTo>
                  <a:pt x="1153965" y="1423758"/>
                </a:lnTo>
                <a:lnTo>
                  <a:pt x="1158523" y="1425815"/>
                </a:lnTo>
                <a:lnTo>
                  <a:pt x="1164382" y="1425491"/>
                </a:lnTo>
                <a:lnTo>
                  <a:pt x="1169483" y="1427981"/>
                </a:lnTo>
                <a:lnTo>
                  <a:pt x="1167747" y="1425491"/>
                </a:lnTo>
                <a:lnTo>
                  <a:pt x="1163949" y="1424191"/>
                </a:lnTo>
                <a:lnTo>
                  <a:pt x="1159499" y="1424191"/>
                </a:lnTo>
                <a:lnTo>
                  <a:pt x="1156244" y="1420835"/>
                </a:lnTo>
                <a:lnTo>
                  <a:pt x="1152228" y="1417695"/>
                </a:lnTo>
                <a:lnTo>
                  <a:pt x="1152120" y="1415530"/>
                </a:lnTo>
                <a:lnTo>
                  <a:pt x="1155050" y="1410657"/>
                </a:lnTo>
                <a:lnTo>
                  <a:pt x="1157654" y="1409683"/>
                </a:lnTo>
                <a:lnTo>
                  <a:pt x="1159825" y="1405352"/>
                </a:lnTo>
                <a:lnTo>
                  <a:pt x="1159499" y="1400372"/>
                </a:lnTo>
                <a:lnTo>
                  <a:pt x="1157654" y="1400804"/>
                </a:lnTo>
                <a:lnTo>
                  <a:pt x="1153314" y="1406002"/>
                </a:lnTo>
                <a:lnTo>
                  <a:pt x="1149190" y="1408925"/>
                </a:lnTo>
                <a:lnTo>
                  <a:pt x="1141919" y="1411198"/>
                </a:lnTo>
                <a:lnTo>
                  <a:pt x="1138339" y="1414988"/>
                </a:lnTo>
                <a:lnTo>
                  <a:pt x="1137471" y="1418561"/>
                </a:lnTo>
                <a:lnTo>
                  <a:pt x="1134649" y="1417912"/>
                </a:lnTo>
                <a:lnTo>
                  <a:pt x="1131285" y="1410983"/>
                </a:lnTo>
                <a:lnTo>
                  <a:pt x="1129223" y="1403945"/>
                </a:lnTo>
                <a:lnTo>
                  <a:pt x="1130200" y="1391710"/>
                </a:lnTo>
                <a:lnTo>
                  <a:pt x="1131936" y="1384023"/>
                </a:lnTo>
                <a:lnTo>
                  <a:pt x="1131285" y="1380883"/>
                </a:lnTo>
                <a:lnTo>
                  <a:pt x="1127162" y="1380450"/>
                </a:lnTo>
                <a:lnTo>
                  <a:pt x="1126944" y="1373737"/>
                </a:lnTo>
                <a:lnTo>
                  <a:pt x="1130417" y="1371463"/>
                </a:lnTo>
                <a:lnTo>
                  <a:pt x="1132696" y="1373521"/>
                </a:lnTo>
                <a:lnTo>
                  <a:pt x="1135191" y="1374604"/>
                </a:lnTo>
                <a:lnTo>
                  <a:pt x="1134215" y="1369623"/>
                </a:lnTo>
                <a:lnTo>
                  <a:pt x="1138881" y="1365833"/>
                </a:lnTo>
                <a:lnTo>
                  <a:pt x="1141269" y="1359445"/>
                </a:lnTo>
                <a:lnTo>
                  <a:pt x="1145067" y="1358579"/>
                </a:lnTo>
                <a:lnTo>
                  <a:pt x="1150167" y="1359445"/>
                </a:lnTo>
                <a:lnTo>
                  <a:pt x="1152771" y="1357172"/>
                </a:lnTo>
                <a:lnTo>
                  <a:pt x="1149733" y="1356847"/>
                </a:lnTo>
                <a:lnTo>
                  <a:pt x="1149190" y="1355331"/>
                </a:lnTo>
                <a:lnTo>
                  <a:pt x="1155701" y="1347968"/>
                </a:lnTo>
                <a:lnTo>
                  <a:pt x="1158306" y="1343746"/>
                </a:lnTo>
                <a:lnTo>
                  <a:pt x="1164817" y="1340065"/>
                </a:lnTo>
                <a:lnTo>
                  <a:pt x="1165359" y="1337791"/>
                </a:lnTo>
                <a:lnTo>
                  <a:pt x="1162321" y="1337142"/>
                </a:lnTo>
                <a:lnTo>
                  <a:pt x="1161452" y="1334652"/>
                </a:lnTo>
                <a:lnTo>
                  <a:pt x="1155593" y="1339523"/>
                </a:lnTo>
                <a:lnTo>
                  <a:pt x="1154725" y="1344612"/>
                </a:lnTo>
                <a:lnTo>
                  <a:pt x="1146803" y="1353599"/>
                </a:lnTo>
                <a:lnTo>
                  <a:pt x="1145175" y="1353599"/>
                </a:lnTo>
                <a:lnTo>
                  <a:pt x="1145718" y="1350351"/>
                </a:lnTo>
                <a:lnTo>
                  <a:pt x="1150710" y="1343638"/>
                </a:lnTo>
                <a:lnTo>
                  <a:pt x="1151578" y="1335842"/>
                </a:lnTo>
                <a:lnTo>
                  <a:pt x="1157763" y="1324149"/>
                </a:lnTo>
                <a:lnTo>
                  <a:pt x="1160042" y="1319060"/>
                </a:lnTo>
                <a:lnTo>
                  <a:pt x="1158739" y="1318411"/>
                </a:lnTo>
                <a:lnTo>
                  <a:pt x="1158632" y="1318411"/>
                </a:lnTo>
                <a:lnTo>
                  <a:pt x="1156787" y="1319927"/>
                </a:lnTo>
                <a:lnTo>
                  <a:pt x="1151469" y="1331079"/>
                </a:lnTo>
                <a:lnTo>
                  <a:pt x="1149516" y="1340823"/>
                </a:lnTo>
                <a:lnTo>
                  <a:pt x="1144525" y="1348185"/>
                </a:lnTo>
                <a:lnTo>
                  <a:pt x="1138665" y="1355006"/>
                </a:lnTo>
                <a:lnTo>
                  <a:pt x="1134324" y="1356847"/>
                </a:lnTo>
                <a:lnTo>
                  <a:pt x="1131177" y="1356306"/>
                </a:lnTo>
                <a:lnTo>
                  <a:pt x="1130526" y="1359662"/>
                </a:lnTo>
                <a:lnTo>
                  <a:pt x="1127488" y="1361287"/>
                </a:lnTo>
                <a:lnTo>
                  <a:pt x="1125208" y="1356522"/>
                </a:lnTo>
                <a:lnTo>
                  <a:pt x="1126294" y="1351000"/>
                </a:lnTo>
                <a:lnTo>
                  <a:pt x="1128681" y="1349051"/>
                </a:lnTo>
                <a:lnTo>
                  <a:pt x="1131069" y="1348943"/>
                </a:lnTo>
                <a:lnTo>
                  <a:pt x="1134324" y="1349377"/>
                </a:lnTo>
                <a:lnTo>
                  <a:pt x="1138231" y="1345912"/>
                </a:lnTo>
                <a:lnTo>
                  <a:pt x="1137797" y="1344612"/>
                </a:lnTo>
                <a:lnTo>
                  <a:pt x="1133131" y="1344396"/>
                </a:lnTo>
                <a:lnTo>
                  <a:pt x="1130960" y="1345479"/>
                </a:lnTo>
                <a:lnTo>
                  <a:pt x="1127379" y="1344937"/>
                </a:lnTo>
                <a:lnTo>
                  <a:pt x="1127270" y="1343097"/>
                </a:lnTo>
                <a:lnTo>
                  <a:pt x="1130526" y="1339416"/>
                </a:lnTo>
                <a:lnTo>
                  <a:pt x="1134867" y="1339091"/>
                </a:lnTo>
                <a:lnTo>
                  <a:pt x="1138231" y="1339524"/>
                </a:lnTo>
                <a:lnTo>
                  <a:pt x="1137146" y="1337250"/>
                </a:lnTo>
                <a:lnTo>
                  <a:pt x="1135952" y="1334760"/>
                </a:lnTo>
                <a:lnTo>
                  <a:pt x="1137471" y="1331404"/>
                </a:lnTo>
                <a:lnTo>
                  <a:pt x="1140727" y="1325882"/>
                </a:lnTo>
                <a:lnTo>
                  <a:pt x="1139859" y="1322850"/>
                </a:lnTo>
                <a:lnTo>
                  <a:pt x="1139859" y="1318736"/>
                </a:lnTo>
                <a:lnTo>
                  <a:pt x="1144742" y="1314188"/>
                </a:lnTo>
                <a:lnTo>
                  <a:pt x="1144742" y="1312348"/>
                </a:lnTo>
                <a:lnTo>
                  <a:pt x="1139207" y="1312131"/>
                </a:lnTo>
                <a:lnTo>
                  <a:pt x="1138556" y="1310616"/>
                </a:lnTo>
                <a:lnTo>
                  <a:pt x="1142137" y="1306502"/>
                </a:lnTo>
                <a:lnTo>
                  <a:pt x="1136277" y="1307043"/>
                </a:lnTo>
                <a:lnTo>
                  <a:pt x="1132696" y="1307367"/>
                </a:lnTo>
                <a:lnTo>
                  <a:pt x="1131611" y="1305419"/>
                </a:lnTo>
                <a:lnTo>
                  <a:pt x="1126077" y="1310941"/>
                </a:lnTo>
                <a:lnTo>
                  <a:pt x="1122279" y="1311806"/>
                </a:lnTo>
                <a:lnTo>
                  <a:pt x="1121953" y="1313864"/>
                </a:lnTo>
                <a:lnTo>
                  <a:pt x="1119024" y="1320576"/>
                </a:lnTo>
                <a:lnTo>
                  <a:pt x="1114031" y="1324908"/>
                </a:lnTo>
                <a:lnTo>
                  <a:pt x="1112078" y="1320468"/>
                </a:lnTo>
                <a:lnTo>
                  <a:pt x="1112078" y="1315812"/>
                </a:lnTo>
                <a:lnTo>
                  <a:pt x="1117504" y="1311482"/>
                </a:lnTo>
                <a:lnTo>
                  <a:pt x="1124666" y="1303794"/>
                </a:lnTo>
                <a:lnTo>
                  <a:pt x="1127596" y="1297515"/>
                </a:lnTo>
                <a:lnTo>
                  <a:pt x="1130960" y="1296757"/>
                </a:lnTo>
                <a:lnTo>
                  <a:pt x="1136061" y="1297731"/>
                </a:lnTo>
                <a:lnTo>
                  <a:pt x="1141052" y="1295025"/>
                </a:lnTo>
                <a:lnTo>
                  <a:pt x="1138339" y="1293942"/>
                </a:lnTo>
                <a:lnTo>
                  <a:pt x="1133131" y="1294158"/>
                </a:lnTo>
                <a:lnTo>
                  <a:pt x="1129549" y="1291668"/>
                </a:lnTo>
                <a:lnTo>
                  <a:pt x="1125534" y="1284739"/>
                </a:lnTo>
                <a:lnTo>
                  <a:pt x="1124883" y="1279542"/>
                </a:lnTo>
                <a:lnTo>
                  <a:pt x="1127705" y="1275752"/>
                </a:lnTo>
                <a:lnTo>
                  <a:pt x="1130635" y="1275319"/>
                </a:lnTo>
                <a:lnTo>
                  <a:pt x="1133456" y="1274129"/>
                </a:lnTo>
                <a:lnTo>
                  <a:pt x="1131069" y="1274020"/>
                </a:lnTo>
                <a:lnTo>
                  <a:pt x="1127270" y="1270664"/>
                </a:lnTo>
                <a:lnTo>
                  <a:pt x="1125643" y="1266658"/>
                </a:lnTo>
                <a:lnTo>
                  <a:pt x="1122279" y="1264384"/>
                </a:lnTo>
                <a:lnTo>
                  <a:pt x="1121302" y="1261786"/>
                </a:lnTo>
                <a:lnTo>
                  <a:pt x="1122930" y="1260378"/>
                </a:lnTo>
                <a:lnTo>
                  <a:pt x="1126836" y="1260811"/>
                </a:lnTo>
                <a:lnTo>
                  <a:pt x="1126620" y="1259187"/>
                </a:lnTo>
                <a:lnTo>
                  <a:pt x="1124232" y="1257346"/>
                </a:lnTo>
                <a:lnTo>
                  <a:pt x="1121410" y="1257780"/>
                </a:lnTo>
                <a:lnTo>
                  <a:pt x="1118264" y="1254748"/>
                </a:lnTo>
                <a:lnTo>
                  <a:pt x="1116961" y="1250742"/>
                </a:lnTo>
                <a:lnTo>
                  <a:pt x="1114249" y="1251066"/>
                </a:lnTo>
                <a:lnTo>
                  <a:pt x="1111536" y="1250742"/>
                </a:lnTo>
                <a:lnTo>
                  <a:pt x="1110776" y="1248901"/>
                </a:lnTo>
                <a:lnTo>
                  <a:pt x="1112946" y="1245220"/>
                </a:lnTo>
                <a:lnTo>
                  <a:pt x="1116093" y="1244679"/>
                </a:lnTo>
                <a:lnTo>
                  <a:pt x="1117721" y="1242405"/>
                </a:lnTo>
                <a:lnTo>
                  <a:pt x="1116419" y="1240781"/>
                </a:lnTo>
                <a:lnTo>
                  <a:pt x="1116202" y="1235584"/>
                </a:lnTo>
                <a:lnTo>
                  <a:pt x="1118697" y="1231903"/>
                </a:lnTo>
                <a:lnTo>
                  <a:pt x="1117504" y="1228979"/>
                </a:lnTo>
                <a:lnTo>
                  <a:pt x="1118806" y="1227356"/>
                </a:lnTo>
                <a:lnTo>
                  <a:pt x="1120434" y="1231036"/>
                </a:lnTo>
                <a:lnTo>
                  <a:pt x="1124015" y="1233744"/>
                </a:lnTo>
                <a:lnTo>
                  <a:pt x="1125860" y="1232985"/>
                </a:lnTo>
                <a:lnTo>
                  <a:pt x="1125860" y="1228330"/>
                </a:lnTo>
                <a:lnTo>
                  <a:pt x="1122604" y="1222916"/>
                </a:lnTo>
                <a:lnTo>
                  <a:pt x="1122279" y="1220426"/>
                </a:lnTo>
                <a:lnTo>
                  <a:pt x="1125860" y="1219885"/>
                </a:lnTo>
                <a:lnTo>
                  <a:pt x="1128030" y="1218152"/>
                </a:lnTo>
                <a:lnTo>
                  <a:pt x="1124883" y="1215770"/>
                </a:lnTo>
                <a:lnTo>
                  <a:pt x="1124883" y="1213713"/>
                </a:lnTo>
                <a:lnTo>
                  <a:pt x="1127270" y="1212630"/>
                </a:lnTo>
                <a:lnTo>
                  <a:pt x="1133673" y="1208516"/>
                </a:lnTo>
                <a:lnTo>
                  <a:pt x="1133781" y="1207109"/>
                </a:lnTo>
                <a:lnTo>
                  <a:pt x="1128030" y="1207434"/>
                </a:lnTo>
                <a:lnTo>
                  <a:pt x="1124015" y="1209166"/>
                </a:lnTo>
                <a:lnTo>
                  <a:pt x="1121410" y="1207650"/>
                </a:lnTo>
                <a:lnTo>
                  <a:pt x="1118915" y="1209491"/>
                </a:lnTo>
                <a:lnTo>
                  <a:pt x="1115442" y="1206567"/>
                </a:lnTo>
                <a:lnTo>
                  <a:pt x="1115008" y="1201479"/>
                </a:lnTo>
                <a:lnTo>
                  <a:pt x="1112838" y="1201479"/>
                </a:lnTo>
                <a:lnTo>
                  <a:pt x="1112078" y="1195957"/>
                </a:lnTo>
                <a:lnTo>
                  <a:pt x="1107955" y="1192059"/>
                </a:lnTo>
                <a:lnTo>
                  <a:pt x="1106978" y="1187187"/>
                </a:lnTo>
                <a:lnTo>
                  <a:pt x="1106110" y="1183181"/>
                </a:lnTo>
                <a:lnTo>
                  <a:pt x="1106435" y="1176252"/>
                </a:lnTo>
                <a:lnTo>
                  <a:pt x="1109583" y="1173437"/>
                </a:lnTo>
                <a:lnTo>
                  <a:pt x="1107955" y="1170514"/>
                </a:lnTo>
                <a:lnTo>
                  <a:pt x="1108497" y="1164883"/>
                </a:lnTo>
                <a:lnTo>
                  <a:pt x="1112946" y="1156114"/>
                </a:lnTo>
                <a:lnTo>
                  <a:pt x="1111644" y="1149400"/>
                </a:lnTo>
                <a:lnTo>
                  <a:pt x="1113489" y="1141172"/>
                </a:lnTo>
                <a:lnTo>
                  <a:pt x="1116744" y="1134567"/>
                </a:lnTo>
                <a:lnTo>
                  <a:pt x="1111753" y="1138249"/>
                </a:lnTo>
                <a:lnTo>
                  <a:pt x="1109365" y="1144095"/>
                </a:lnTo>
                <a:lnTo>
                  <a:pt x="1106761" y="1143012"/>
                </a:lnTo>
                <a:lnTo>
                  <a:pt x="1104590" y="1137166"/>
                </a:lnTo>
                <a:lnTo>
                  <a:pt x="1102854" y="1136300"/>
                </a:lnTo>
                <a:lnTo>
                  <a:pt x="1102529" y="1137166"/>
                </a:lnTo>
                <a:lnTo>
                  <a:pt x="1104157" y="1140631"/>
                </a:lnTo>
                <a:lnTo>
                  <a:pt x="1105458" y="1147451"/>
                </a:lnTo>
                <a:lnTo>
                  <a:pt x="1105458" y="1157412"/>
                </a:lnTo>
                <a:lnTo>
                  <a:pt x="1101986" y="1167590"/>
                </a:lnTo>
                <a:lnTo>
                  <a:pt x="1101118" y="1179067"/>
                </a:lnTo>
                <a:lnTo>
                  <a:pt x="1099382" y="1182532"/>
                </a:lnTo>
                <a:lnTo>
                  <a:pt x="1098839" y="1188595"/>
                </a:lnTo>
                <a:lnTo>
                  <a:pt x="1094716" y="1196499"/>
                </a:lnTo>
                <a:lnTo>
                  <a:pt x="1091677" y="1194224"/>
                </a:lnTo>
                <a:lnTo>
                  <a:pt x="1090049" y="1188269"/>
                </a:lnTo>
                <a:lnTo>
                  <a:pt x="1091460" y="1186538"/>
                </a:lnTo>
                <a:lnTo>
                  <a:pt x="1090918" y="1183073"/>
                </a:lnTo>
                <a:lnTo>
                  <a:pt x="1088530" y="1186862"/>
                </a:lnTo>
                <a:lnTo>
                  <a:pt x="1087879" y="1188919"/>
                </a:lnTo>
                <a:lnTo>
                  <a:pt x="1082887" y="1187512"/>
                </a:lnTo>
                <a:lnTo>
                  <a:pt x="1081477" y="1185130"/>
                </a:lnTo>
                <a:lnTo>
                  <a:pt x="1083213" y="1180149"/>
                </a:lnTo>
                <a:lnTo>
                  <a:pt x="1082019" y="1175818"/>
                </a:lnTo>
                <a:lnTo>
                  <a:pt x="1081802" y="1172246"/>
                </a:lnTo>
                <a:lnTo>
                  <a:pt x="1085275" y="1169106"/>
                </a:lnTo>
                <a:lnTo>
                  <a:pt x="1086685" y="1165424"/>
                </a:lnTo>
                <a:lnTo>
                  <a:pt x="1084515" y="1165749"/>
                </a:lnTo>
                <a:lnTo>
                  <a:pt x="1080391" y="1169647"/>
                </a:lnTo>
                <a:lnTo>
                  <a:pt x="1077896" y="1168998"/>
                </a:lnTo>
                <a:lnTo>
                  <a:pt x="1076811" y="1165424"/>
                </a:lnTo>
                <a:lnTo>
                  <a:pt x="1078547" y="1160661"/>
                </a:lnTo>
                <a:lnTo>
                  <a:pt x="1076811" y="1157412"/>
                </a:lnTo>
                <a:lnTo>
                  <a:pt x="1075399" y="1154706"/>
                </a:lnTo>
                <a:lnTo>
                  <a:pt x="1072686" y="1159145"/>
                </a:lnTo>
                <a:lnTo>
                  <a:pt x="1071168" y="1156222"/>
                </a:lnTo>
                <a:lnTo>
                  <a:pt x="1070841" y="1151457"/>
                </a:lnTo>
                <a:lnTo>
                  <a:pt x="1068020" y="1151133"/>
                </a:lnTo>
                <a:lnTo>
                  <a:pt x="1067370" y="1156438"/>
                </a:lnTo>
                <a:lnTo>
                  <a:pt x="1065633" y="1158712"/>
                </a:lnTo>
                <a:lnTo>
                  <a:pt x="1065742" y="1161094"/>
                </a:lnTo>
                <a:lnTo>
                  <a:pt x="1068997" y="1162501"/>
                </a:lnTo>
                <a:lnTo>
                  <a:pt x="1070408" y="1165749"/>
                </a:lnTo>
                <a:lnTo>
                  <a:pt x="1070841" y="1168781"/>
                </a:lnTo>
                <a:lnTo>
                  <a:pt x="1067478" y="1173112"/>
                </a:lnTo>
                <a:lnTo>
                  <a:pt x="1069106" y="1174628"/>
                </a:lnTo>
                <a:lnTo>
                  <a:pt x="1070841" y="1173653"/>
                </a:lnTo>
                <a:lnTo>
                  <a:pt x="1073338" y="1173437"/>
                </a:lnTo>
                <a:lnTo>
                  <a:pt x="1076159" y="1180149"/>
                </a:lnTo>
                <a:lnTo>
                  <a:pt x="1074423" y="1183939"/>
                </a:lnTo>
                <a:lnTo>
                  <a:pt x="1071601" y="1183181"/>
                </a:lnTo>
                <a:lnTo>
                  <a:pt x="1069756" y="1181016"/>
                </a:lnTo>
                <a:lnTo>
                  <a:pt x="1068346" y="1183073"/>
                </a:lnTo>
                <a:lnTo>
                  <a:pt x="1069865" y="1185130"/>
                </a:lnTo>
                <a:lnTo>
                  <a:pt x="1066501" y="1186320"/>
                </a:lnTo>
                <a:lnTo>
                  <a:pt x="1063897" y="1183073"/>
                </a:lnTo>
                <a:lnTo>
                  <a:pt x="1061292" y="1185130"/>
                </a:lnTo>
                <a:lnTo>
                  <a:pt x="1060750" y="1182532"/>
                </a:lnTo>
                <a:lnTo>
                  <a:pt x="1058254" y="1181340"/>
                </a:lnTo>
                <a:lnTo>
                  <a:pt x="1051091" y="1173220"/>
                </a:lnTo>
                <a:lnTo>
                  <a:pt x="1049790" y="1169106"/>
                </a:lnTo>
                <a:lnTo>
                  <a:pt x="1050983" y="1165208"/>
                </a:lnTo>
                <a:lnTo>
                  <a:pt x="1047728" y="1164991"/>
                </a:lnTo>
                <a:lnTo>
                  <a:pt x="1045340" y="1162610"/>
                </a:lnTo>
                <a:lnTo>
                  <a:pt x="1045449" y="1151782"/>
                </a:lnTo>
                <a:lnTo>
                  <a:pt x="1047185" y="1149184"/>
                </a:lnTo>
                <a:lnTo>
                  <a:pt x="1043604" y="1146586"/>
                </a:lnTo>
                <a:lnTo>
                  <a:pt x="1042845" y="1143879"/>
                </a:lnTo>
                <a:lnTo>
                  <a:pt x="1046208" y="1139981"/>
                </a:lnTo>
                <a:lnTo>
                  <a:pt x="1048705" y="1138573"/>
                </a:lnTo>
                <a:lnTo>
                  <a:pt x="1049898" y="1135325"/>
                </a:lnTo>
                <a:lnTo>
                  <a:pt x="1049898" y="1129912"/>
                </a:lnTo>
                <a:lnTo>
                  <a:pt x="1052503" y="1122225"/>
                </a:lnTo>
                <a:lnTo>
                  <a:pt x="1046968" y="1132186"/>
                </a:lnTo>
                <a:lnTo>
                  <a:pt x="1044798" y="1136841"/>
                </a:lnTo>
                <a:lnTo>
                  <a:pt x="1039372" y="1136192"/>
                </a:lnTo>
                <a:lnTo>
                  <a:pt x="1037202" y="1137490"/>
                </a:lnTo>
                <a:lnTo>
                  <a:pt x="1030257" y="1130778"/>
                </a:lnTo>
                <a:lnTo>
                  <a:pt x="1030257" y="1129045"/>
                </a:lnTo>
                <a:lnTo>
                  <a:pt x="1033078" y="1129045"/>
                </a:lnTo>
                <a:lnTo>
                  <a:pt x="1034380" y="1126122"/>
                </a:lnTo>
                <a:lnTo>
                  <a:pt x="1031668" y="1124606"/>
                </a:lnTo>
                <a:lnTo>
                  <a:pt x="1027761" y="1125798"/>
                </a:lnTo>
                <a:lnTo>
                  <a:pt x="1024830" y="1123416"/>
                </a:lnTo>
                <a:lnTo>
                  <a:pt x="1023529" y="1118868"/>
                </a:lnTo>
                <a:lnTo>
                  <a:pt x="1020273" y="1113238"/>
                </a:lnTo>
                <a:lnTo>
                  <a:pt x="1022009" y="1112588"/>
                </a:lnTo>
                <a:lnTo>
                  <a:pt x="1027001" y="1115404"/>
                </a:lnTo>
                <a:lnTo>
                  <a:pt x="1030148" y="1114862"/>
                </a:lnTo>
                <a:lnTo>
                  <a:pt x="1032210" y="1109882"/>
                </a:lnTo>
                <a:lnTo>
                  <a:pt x="1033078" y="1101545"/>
                </a:lnTo>
                <a:lnTo>
                  <a:pt x="1037527" y="1098188"/>
                </a:lnTo>
                <a:lnTo>
                  <a:pt x="1039372" y="1095265"/>
                </a:lnTo>
                <a:lnTo>
                  <a:pt x="1036984" y="1095049"/>
                </a:lnTo>
                <a:lnTo>
                  <a:pt x="1030799" y="1099488"/>
                </a:lnTo>
                <a:lnTo>
                  <a:pt x="1028086" y="1103169"/>
                </a:lnTo>
                <a:lnTo>
                  <a:pt x="1026893" y="1100678"/>
                </a:lnTo>
                <a:lnTo>
                  <a:pt x="1023094" y="1102086"/>
                </a:lnTo>
                <a:lnTo>
                  <a:pt x="1014305" y="1104143"/>
                </a:lnTo>
                <a:lnTo>
                  <a:pt x="1007143" y="1101870"/>
                </a:lnTo>
                <a:lnTo>
                  <a:pt x="1004321" y="1099163"/>
                </a:lnTo>
                <a:lnTo>
                  <a:pt x="1003127" y="1094940"/>
                </a:lnTo>
                <a:lnTo>
                  <a:pt x="996183" y="1093208"/>
                </a:lnTo>
                <a:lnTo>
                  <a:pt x="995314" y="1090935"/>
                </a:lnTo>
                <a:lnTo>
                  <a:pt x="999764" y="1089743"/>
                </a:lnTo>
                <a:lnTo>
                  <a:pt x="1003236" y="1086929"/>
                </a:lnTo>
                <a:lnTo>
                  <a:pt x="1003562" y="1083356"/>
                </a:lnTo>
                <a:lnTo>
                  <a:pt x="1001174" y="1082164"/>
                </a:lnTo>
                <a:lnTo>
                  <a:pt x="999764" y="1083680"/>
                </a:lnTo>
                <a:lnTo>
                  <a:pt x="993253" y="1086929"/>
                </a:lnTo>
                <a:lnTo>
                  <a:pt x="989128" y="1087145"/>
                </a:lnTo>
                <a:lnTo>
                  <a:pt x="987935" y="1083897"/>
                </a:lnTo>
                <a:lnTo>
                  <a:pt x="984788" y="1081623"/>
                </a:lnTo>
                <a:lnTo>
                  <a:pt x="981751" y="1077834"/>
                </a:lnTo>
                <a:lnTo>
                  <a:pt x="978496" y="1077509"/>
                </a:lnTo>
                <a:lnTo>
                  <a:pt x="978604" y="1074044"/>
                </a:lnTo>
                <a:lnTo>
                  <a:pt x="976216" y="1073286"/>
                </a:lnTo>
                <a:lnTo>
                  <a:pt x="970898" y="1074260"/>
                </a:lnTo>
                <a:lnTo>
                  <a:pt x="964931" y="1073719"/>
                </a:lnTo>
                <a:lnTo>
                  <a:pt x="960156" y="1074260"/>
                </a:lnTo>
                <a:lnTo>
                  <a:pt x="956576" y="1073395"/>
                </a:lnTo>
                <a:lnTo>
                  <a:pt x="953210" y="1074802"/>
                </a:lnTo>
                <a:lnTo>
                  <a:pt x="941816" y="1072528"/>
                </a:lnTo>
                <a:lnTo>
                  <a:pt x="940298" y="1069713"/>
                </a:lnTo>
                <a:lnTo>
                  <a:pt x="943227" y="1068631"/>
                </a:lnTo>
                <a:lnTo>
                  <a:pt x="945723" y="1069605"/>
                </a:lnTo>
                <a:lnTo>
                  <a:pt x="947785" y="1068414"/>
                </a:lnTo>
                <a:lnTo>
                  <a:pt x="943118" y="1064083"/>
                </a:lnTo>
                <a:lnTo>
                  <a:pt x="949195" y="1058128"/>
                </a:lnTo>
                <a:lnTo>
                  <a:pt x="948760" y="1055205"/>
                </a:lnTo>
                <a:lnTo>
                  <a:pt x="952235" y="1050766"/>
                </a:lnTo>
                <a:lnTo>
                  <a:pt x="946374" y="1050550"/>
                </a:lnTo>
                <a:lnTo>
                  <a:pt x="945180" y="1052607"/>
                </a:lnTo>
                <a:lnTo>
                  <a:pt x="946590" y="1054664"/>
                </a:lnTo>
                <a:lnTo>
                  <a:pt x="943444" y="1059428"/>
                </a:lnTo>
                <a:lnTo>
                  <a:pt x="939647" y="1058128"/>
                </a:lnTo>
                <a:lnTo>
                  <a:pt x="938996" y="1055205"/>
                </a:lnTo>
                <a:lnTo>
                  <a:pt x="936932" y="1054339"/>
                </a:lnTo>
                <a:lnTo>
                  <a:pt x="936173" y="1051632"/>
                </a:lnTo>
                <a:lnTo>
                  <a:pt x="939104" y="1049575"/>
                </a:lnTo>
                <a:lnTo>
                  <a:pt x="939104" y="1047301"/>
                </a:lnTo>
                <a:lnTo>
                  <a:pt x="937042" y="1044486"/>
                </a:lnTo>
                <a:lnTo>
                  <a:pt x="930313" y="1047085"/>
                </a:lnTo>
                <a:lnTo>
                  <a:pt x="926189" y="1045244"/>
                </a:lnTo>
                <a:lnTo>
                  <a:pt x="922067" y="1041563"/>
                </a:lnTo>
                <a:lnTo>
                  <a:pt x="917292" y="1043620"/>
                </a:lnTo>
                <a:lnTo>
                  <a:pt x="912627" y="1043620"/>
                </a:lnTo>
                <a:lnTo>
                  <a:pt x="912084" y="1041130"/>
                </a:lnTo>
                <a:lnTo>
                  <a:pt x="915882" y="1039722"/>
                </a:lnTo>
                <a:lnTo>
                  <a:pt x="919462" y="1038531"/>
                </a:lnTo>
                <a:lnTo>
                  <a:pt x="917292" y="1035391"/>
                </a:lnTo>
                <a:lnTo>
                  <a:pt x="910673" y="1033659"/>
                </a:lnTo>
                <a:lnTo>
                  <a:pt x="910238" y="1030303"/>
                </a:lnTo>
                <a:lnTo>
                  <a:pt x="915229" y="1030086"/>
                </a:lnTo>
                <a:lnTo>
                  <a:pt x="917400" y="1028895"/>
                </a:lnTo>
                <a:lnTo>
                  <a:pt x="913602" y="1026080"/>
                </a:lnTo>
                <a:lnTo>
                  <a:pt x="909695" y="1028354"/>
                </a:lnTo>
                <a:lnTo>
                  <a:pt x="906223" y="1027163"/>
                </a:lnTo>
                <a:lnTo>
                  <a:pt x="906765" y="1023157"/>
                </a:lnTo>
                <a:lnTo>
                  <a:pt x="910673" y="1021316"/>
                </a:lnTo>
                <a:lnTo>
                  <a:pt x="917074" y="1021966"/>
                </a:lnTo>
                <a:lnTo>
                  <a:pt x="922283" y="1026297"/>
                </a:lnTo>
                <a:lnTo>
                  <a:pt x="922826" y="1023915"/>
                </a:lnTo>
                <a:lnTo>
                  <a:pt x="919678" y="1020775"/>
                </a:lnTo>
                <a:lnTo>
                  <a:pt x="910673" y="1018934"/>
                </a:lnTo>
                <a:lnTo>
                  <a:pt x="908828" y="1016336"/>
                </a:lnTo>
                <a:lnTo>
                  <a:pt x="911215" y="1013088"/>
                </a:lnTo>
                <a:lnTo>
                  <a:pt x="914472" y="1013088"/>
                </a:lnTo>
                <a:lnTo>
                  <a:pt x="919462" y="1007891"/>
                </a:lnTo>
                <a:lnTo>
                  <a:pt x="924455" y="1007783"/>
                </a:lnTo>
                <a:lnTo>
                  <a:pt x="925323" y="1006050"/>
                </a:lnTo>
                <a:lnTo>
                  <a:pt x="921415" y="1004643"/>
                </a:lnTo>
                <a:lnTo>
                  <a:pt x="916098" y="1005726"/>
                </a:lnTo>
                <a:lnTo>
                  <a:pt x="911432" y="1008973"/>
                </a:lnTo>
                <a:lnTo>
                  <a:pt x="909479" y="1009082"/>
                </a:lnTo>
                <a:lnTo>
                  <a:pt x="904921" y="1012546"/>
                </a:lnTo>
                <a:lnTo>
                  <a:pt x="901231" y="1009840"/>
                </a:lnTo>
                <a:lnTo>
                  <a:pt x="900037" y="1012546"/>
                </a:lnTo>
                <a:lnTo>
                  <a:pt x="894395" y="1016661"/>
                </a:lnTo>
                <a:lnTo>
                  <a:pt x="893526" y="1013629"/>
                </a:lnTo>
                <a:lnTo>
                  <a:pt x="895913" y="1009948"/>
                </a:lnTo>
                <a:lnTo>
                  <a:pt x="897433" y="1007024"/>
                </a:lnTo>
                <a:lnTo>
                  <a:pt x="895262" y="1007024"/>
                </a:lnTo>
                <a:lnTo>
                  <a:pt x="891574" y="1009407"/>
                </a:lnTo>
                <a:lnTo>
                  <a:pt x="888643" y="1018610"/>
                </a:lnTo>
                <a:lnTo>
                  <a:pt x="886581" y="1019042"/>
                </a:lnTo>
                <a:lnTo>
                  <a:pt x="885063" y="1011139"/>
                </a:lnTo>
                <a:lnTo>
                  <a:pt x="884520" y="1007241"/>
                </a:lnTo>
                <a:lnTo>
                  <a:pt x="893309" y="1001178"/>
                </a:lnTo>
                <a:lnTo>
                  <a:pt x="887449" y="1001178"/>
                </a:lnTo>
                <a:lnTo>
                  <a:pt x="884194" y="1002044"/>
                </a:lnTo>
                <a:lnTo>
                  <a:pt x="879744" y="998796"/>
                </a:lnTo>
                <a:lnTo>
                  <a:pt x="871931" y="1002044"/>
                </a:lnTo>
                <a:lnTo>
                  <a:pt x="873667" y="1007566"/>
                </a:lnTo>
                <a:lnTo>
                  <a:pt x="873016" y="1009840"/>
                </a:lnTo>
                <a:lnTo>
                  <a:pt x="870954" y="1008432"/>
                </a:lnTo>
                <a:lnTo>
                  <a:pt x="868134" y="1009840"/>
                </a:lnTo>
                <a:lnTo>
                  <a:pt x="861947" y="1010489"/>
                </a:lnTo>
                <a:lnTo>
                  <a:pt x="862166" y="1014279"/>
                </a:lnTo>
                <a:lnTo>
                  <a:pt x="866940" y="1018177"/>
                </a:lnTo>
                <a:lnTo>
                  <a:pt x="871065" y="1016552"/>
                </a:lnTo>
                <a:lnTo>
                  <a:pt x="871065" y="1020450"/>
                </a:lnTo>
                <a:lnTo>
                  <a:pt x="869001" y="1023157"/>
                </a:lnTo>
                <a:lnTo>
                  <a:pt x="865421" y="1021858"/>
                </a:lnTo>
                <a:lnTo>
                  <a:pt x="861298" y="1021966"/>
                </a:lnTo>
                <a:lnTo>
                  <a:pt x="859343" y="1024889"/>
                </a:lnTo>
                <a:lnTo>
                  <a:pt x="864770" y="1025648"/>
                </a:lnTo>
                <a:lnTo>
                  <a:pt x="867810" y="1027704"/>
                </a:lnTo>
                <a:lnTo>
                  <a:pt x="872149" y="1026946"/>
                </a:lnTo>
                <a:lnTo>
                  <a:pt x="871931" y="1031602"/>
                </a:lnTo>
                <a:lnTo>
                  <a:pt x="870412" y="1034850"/>
                </a:lnTo>
                <a:lnTo>
                  <a:pt x="861623" y="1037990"/>
                </a:lnTo>
                <a:lnTo>
                  <a:pt x="860104" y="1042970"/>
                </a:lnTo>
                <a:lnTo>
                  <a:pt x="863033" y="1044486"/>
                </a:lnTo>
                <a:lnTo>
                  <a:pt x="859018" y="1047301"/>
                </a:lnTo>
                <a:lnTo>
                  <a:pt x="852615" y="1047951"/>
                </a:lnTo>
                <a:lnTo>
                  <a:pt x="850554" y="1053256"/>
                </a:lnTo>
                <a:lnTo>
                  <a:pt x="846756" y="1056396"/>
                </a:lnTo>
                <a:lnTo>
                  <a:pt x="844693" y="1054664"/>
                </a:lnTo>
                <a:lnTo>
                  <a:pt x="839593" y="1054014"/>
                </a:lnTo>
                <a:lnTo>
                  <a:pt x="839919" y="1050874"/>
                </a:lnTo>
                <a:lnTo>
                  <a:pt x="838291" y="1048060"/>
                </a:lnTo>
                <a:lnTo>
                  <a:pt x="832322" y="1053797"/>
                </a:lnTo>
                <a:lnTo>
                  <a:pt x="831998" y="1051848"/>
                </a:lnTo>
                <a:lnTo>
                  <a:pt x="835145" y="1046219"/>
                </a:lnTo>
                <a:lnTo>
                  <a:pt x="835253" y="1042754"/>
                </a:lnTo>
                <a:lnTo>
                  <a:pt x="831890" y="1044703"/>
                </a:lnTo>
                <a:lnTo>
                  <a:pt x="828850" y="1052607"/>
                </a:lnTo>
                <a:lnTo>
                  <a:pt x="823860" y="1059319"/>
                </a:lnTo>
                <a:lnTo>
                  <a:pt x="820928" y="1061376"/>
                </a:lnTo>
                <a:lnTo>
                  <a:pt x="820820" y="1057587"/>
                </a:lnTo>
                <a:lnTo>
                  <a:pt x="826463" y="1051524"/>
                </a:lnTo>
                <a:lnTo>
                  <a:pt x="824076" y="1051091"/>
                </a:lnTo>
                <a:lnTo>
                  <a:pt x="818759" y="1054664"/>
                </a:lnTo>
                <a:lnTo>
                  <a:pt x="816696" y="1063109"/>
                </a:lnTo>
                <a:lnTo>
                  <a:pt x="813766" y="1065166"/>
                </a:lnTo>
                <a:lnTo>
                  <a:pt x="812572" y="1062351"/>
                </a:lnTo>
                <a:lnTo>
                  <a:pt x="807364" y="1062568"/>
                </a:lnTo>
                <a:lnTo>
                  <a:pt x="800094" y="1068414"/>
                </a:lnTo>
                <a:lnTo>
                  <a:pt x="794775" y="1068631"/>
                </a:lnTo>
                <a:lnTo>
                  <a:pt x="792714" y="1065815"/>
                </a:lnTo>
                <a:lnTo>
                  <a:pt x="794451" y="1063434"/>
                </a:lnTo>
                <a:lnTo>
                  <a:pt x="793908" y="1061052"/>
                </a:lnTo>
                <a:lnTo>
                  <a:pt x="790653" y="1064083"/>
                </a:lnTo>
                <a:lnTo>
                  <a:pt x="790110" y="1069280"/>
                </a:lnTo>
                <a:lnTo>
                  <a:pt x="785443" y="1072745"/>
                </a:lnTo>
                <a:lnTo>
                  <a:pt x="781862" y="1074369"/>
                </a:lnTo>
                <a:lnTo>
                  <a:pt x="780997" y="1077184"/>
                </a:lnTo>
                <a:lnTo>
                  <a:pt x="778065" y="1079025"/>
                </a:lnTo>
                <a:lnTo>
                  <a:pt x="778282" y="1075127"/>
                </a:lnTo>
                <a:lnTo>
                  <a:pt x="774809" y="1074911"/>
                </a:lnTo>
                <a:lnTo>
                  <a:pt x="773072" y="1080324"/>
                </a:lnTo>
                <a:lnTo>
                  <a:pt x="770468" y="1077509"/>
                </a:lnTo>
                <a:lnTo>
                  <a:pt x="768299" y="1080757"/>
                </a:lnTo>
                <a:lnTo>
                  <a:pt x="766237" y="1081840"/>
                </a:lnTo>
                <a:lnTo>
                  <a:pt x="759617" y="1074586"/>
                </a:lnTo>
                <a:lnTo>
                  <a:pt x="759401" y="1068739"/>
                </a:lnTo>
                <a:lnTo>
                  <a:pt x="763197" y="1067873"/>
                </a:lnTo>
                <a:lnTo>
                  <a:pt x="766345" y="1068739"/>
                </a:lnTo>
                <a:lnTo>
                  <a:pt x="766345" y="1064625"/>
                </a:lnTo>
                <a:lnTo>
                  <a:pt x="769927" y="1063217"/>
                </a:lnTo>
                <a:lnTo>
                  <a:pt x="773615" y="1063109"/>
                </a:lnTo>
                <a:lnTo>
                  <a:pt x="778065" y="1065166"/>
                </a:lnTo>
                <a:lnTo>
                  <a:pt x="780343" y="1060835"/>
                </a:lnTo>
                <a:lnTo>
                  <a:pt x="784033" y="1060727"/>
                </a:lnTo>
                <a:lnTo>
                  <a:pt x="792388" y="1054122"/>
                </a:lnTo>
                <a:lnTo>
                  <a:pt x="792388" y="1051524"/>
                </a:lnTo>
                <a:lnTo>
                  <a:pt x="788808" y="1050874"/>
                </a:lnTo>
                <a:lnTo>
                  <a:pt x="784468" y="1053797"/>
                </a:lnTo>
                <a:lnTo>
                  <a:pt x="781972" y="1054014"/>
                </a:lnTo>
                <a:lnTo>
                  <a:pt x="779475" y="1057695"/>
                </a:lnTo>
                <a:lnTo>
                  <a:pt x="774809" y="1051091"/>
                </a:lnTo>
                <a:lnTo>
                  <a:pt x="774266" y="1047626"/>
                </a:lnTo>
                <a:lnTo>
                  <a:pt x="777849" y="1042754"/>
                </a:lnTo>
                <a:lnTo>
                  <a:pt x="791628" y="1030952"/>
                </a:lnTo>
                <a:lnTo>
                  <a:pt x="793908" y="1024348"/>
                </a:lnTo>
                <a:lnTo>
                  <a:pt x="799441" y="1021100"/>
                </a:lnTo>
                <a:lnTo>
                  <a:pt x="803240" y="1013738"/>
                </a:lnTo>
                <a:lnTo>
                  <a:pt x="802373" y="1011356"/>
                </a:lnTo>
                <a:lnTo>
                  <a:pt x="802697" y="1006700"/>
                </a:lnTo>
                <a:lnTo>
                  <a:pt x="807582" y="1002261"/>
                </a:lnTo>
                <a:lnTo>
                  <a:pt x="813875" y="1002261"/>
                </a:lnTo>
                <a:lnTo>
                  <a:pt x="820820" y="997389"/>
                </a:lnTo>
                <a:lnTo>
                  <a:pt x="824619" y="997063"/>
                </a:lnTo>
                <a:lnTo>
                  <a:pt x="832215" y="993599"/>
                </a:lnTo>
                <a:lnTo>
                  <a:pt x="833408" y="999662"/>
                </a:lnTo>
                <a:lnTo>
                  <a:pt x="838185" y="1002910"/>
                </a:lnTo>
                <a:lnTo>
                  <a:pt x="841764" y="1002910"/>
                </a:lnTo>
                <a:lnTo>
                  <a:pt x="844043" y="1001828"/>
                </a:lnTo>
                <a:lnTo>
                  <a:pt x="847841" y="1002261"/>
                </a:lnTo>
                <a:lnTo>
                  <a:pt x="852834" y="1006050"/>
                </a:lnTo>
                <a:lnTo>
                  <a:pt x="851421" y="1000637"/>
                </a:lnTo>
                <a:lnTo>
                  <a:pt x="846322" y="993166"/>
                </a:lnTo>
                <a:lnTo>
                  <a:pt x="847190" y="988943"/>
                </a:lnTo>
                <a:lnTo>
                  <a:pt x="857500" y="978333"/>
                </a:lnTo>
                <a:lnTo>
                  <a:pt x="863141" y="977792"/>
                </a:lnTo>
                <a:lnTo>
                  <a:pt x="870630" y="973353"/>
                </a:lnTo>
                <a:lnTo>
                  <a:pt x="872473" y="968372"/>
                </a:lnTo>
                <a:lnTo>
                  <a:pt x="869328" y="971837"/>
                </a:lnTo>
                <a:lnTo>
                  <a:pt x="859561" y="974760"/>
                </a:lnTo>
                <a:lnTo>
                  <a:pt x="854895" y="976492"/>
                </a:lnTo>
                <a:lnTo>
                  <a:pt x="848927" y="982989"/>
                </a:lnTo>
                <a:lnTo>
                  <a:pt x="847515" y="981256"/>
                </a:lnTo>
                <a:lnTo>
                  <a:pt x="843934" y="980606"/>
                </a:lnTo>
                <a:lnTo>
                  <a:pt x="841438" y="979199"/>
                </a:lnTo>
                <a:lnTo>
                  <a:pt x="841113" y="973894"/>
                </a:lnTo>
                <a:lnTo>
                  <a:pt x="843934" y="967722"/>
                </a:lnTo>
                <a:lnTo>
                  <a:pt x="835796" y="977792"/>
                </a:lnTo>
                <a:lnTo>
                  <a:pt x="828526" y="978549"/>
                </a:lnTo>
                <a:lnTo>
                  <a:pt x="818759" y="987320"/>
                </a:lnTo>
                <a:lnTo>
                  <a:pt x="810294" y="988077"/>
                </a:lnTo>
                <a:lnTo>
                  <a:pt x="800094" y="995656"/>
                </a:lnTo>
                <a:lnTo>
                  <a:pt x="800094" y="998471"/>
                </a:lnTo>
                <a:lnTo>
                  <a:pt x="798031" y="1000637"/>
                </a:lnTo>
                <a:lnTo>
                  <a:pt x="793041" y="1001069"/>
                </a:lnTo>
                <a:lnTo>
                  <a:pt x="787181" y="1006050"/>
                </a:lnTo>
                <a:lnTo>
                  <a:pt x="776328" y="1011463"/>
                </a:lnTo>
                <a:lnTo>
                  <a:pt x="776545" y="1014279"/>
                </a:lnTo>
                <a:lnTo>
                  <a:pt x="771878" y="1018610"/>
                </a:lnTo>
                <a:lnTo>
                  <a:pt x="765477" y="1019042"/>
                </a:lnTo>
                <a:lnTo>
                  <a:pt x="762004" y="1016011"/>
                </a:lnTo>
                <a:lnTo>
                  <a:pt x="756035" y="1016552"/>
                </a:lnTo>
                <a:lnTo>
                  <a:pt x="752780" y="1019042"/>
                </a:lnTo>
                <a:lnTo>
                  <a:pt x="752780" y="1020234"/>
                </a:lnTo>
                <a:lnTo>
                  <a:pt x="755387" y="1018177"/>
                </a:lnTo>
                <a:lnTo>
                  <a:pt x="758099" y="1017852"/>
                </a:lnTo>
                <a:lnTo>
                  <a:pt x="764934" y="1022507"/>
                </a:lnTo>
                <a:lnTo>
                  <a:pt x="766888" y="1027813"/>
                </a:lnTo>
                <a:lnTo>
                  <a:pt x="765151" y="1034201"/>
                </a:lnTo>
                <a:lnTo>
                  <a:pt x="756905" y="1036799"/>
                </a:lnTo>
                <a:lnTo>
                  <a:pt x="752347" y="1035067"/>
                </a:lnTo>
                <a:lnTo>
                  <a:pt x="749958" y="1035933"/>
                </a:lnTo>
                <a:lnTo>
                  <a:pt x="750829" y="1038315"/>
                </a:lnTo>
                <a:lnTo>
                  <a:pt x="753215" y="1039181"/>
                </a:lnTo>
                <a:lnTo>
                  <a:pt x="754625" y="1041238"/>
                </a:lnTo>
                <a:lnTo>
                  <a:pt x="749417" y="1046760"/>
                </a:lnTo>
                <a:lnTo>
                  <a:pt x="746704" y="1047085"/>
                </a:lnTo>
                <a:lnTo>
                  <a:pt x="745509" y="1044486"/>
                </a:lnTo>
                <a:lnTo>
                  <a:pt x="746161" y="1041130"/>
                </a:lnTo>
                <a:lnTo>
                  <a:pt x="740300" y="1044378"/>
                </a:lnTo>
                <a:lnTo>
                  <a:pt x="736069" y="1040589"/>
                </a:lnTo>
                <a:lnTo>
                  <a:pt x="729992" y="1044811"/>
                </a:lnTo>
                <a:lnTo>
                  <a:pt x="725216" y="1043836"/>
                </a:lnTo>
                <a:lnTo>
                  <a:pt x="722612" y="1045677"/>
                </a:lnTo>
                <a:lnTo>
                  <a:pt x="723808" y="1046219"/>
                </a:lnTo>
                <a:lnTo>
                  <a:pt x="722612" y="1049142"/>
                </a:lnTo>
                <a:lnTo>
                  <a:pt x="719356" y="1049791"/>
                </a:lnTo>
                <a:lnTo>
                  <a:pt x="718056" y="1052282"/>
                </a:lnTo>
                <a:lnTo>
                  <a:pt x="711761" y="1054772"/>
                </a:lnTo>
                <a:lnTo>
                  <a:pt x="712086" y="1059319"/>
                </a:lnTo>
                <a:lnTo>
                  <a:pt x="711110" y="1063758"/>
                </a:lnTo>
                <a:lnTo>
                  <a:pt x="717403" y="1063542"/>
                </a:lnTo>
                <a:lnTo>
                  <a:pt x="719791" y="1065166"/>
                </a:lnTo>
                <a:lnTo>
                  <a:pt x="721528" y="1070363"/>
                </a:lnTo>
                <a:lnTo>
                  <a:pt x="722938" y="1070363"/>
                </a:lnTo>
                <a:lnTo>
                  <a:pt x="724783" y="1071987"/>
                </a:lnTo>
                <a:lnTo>
                  <a:pt x="724783" y="1079025"/>
                </a:lnTo>
                <a:lnTo>
                  <a:pt x="719140" y="1084438"/>
                </a:lnTo>
                <a:lnTo>
                  <a:pt x="715668" y="1085088"/>
                </a:lnTo>
                <a:lnTo>
                  <a:pt x="710894" y="1088986"/>
                </a:lnTo>
                <a:lnTo>
                  <a:pt x="705141" y="1088986"/>
                </a:lnTo>
                <a:lnTo>
                  <a:pt x="700149" y="1094074"/>
                </a:lnTo>
                <a:lnTo>
                  <a:pt x="695918" y="1092450"/>
                </a:lnTo>
                <a:lnTo>
                  <a:pt x="693421" y="1093641"/>
                </a:lnTo>
                <a:lnTo>
                  <a:pt x="696243" y="1095049"/>
                </a:lnTo>
                <a:lnTo>
                  <a:pt x="697979" y="1097755"/>
                </a:lnTo>
                <a:lnTo>
                  <a:pt x="697112" y="1099163"/>
                </a:lnTo>
                <a:lnTo>
                  <a:pt x="695374" y="1097755"/>
                </a:lnTo>
                <a:lnTo>
                  <a:pt x="692987" y="1097755"/>
                </a:lnTo>
                <a:lnTo>
                  <a:pt x="688321" y="1101545"/>
                </a:lnTo>
                <a:lnTo>
                  <a:pt x="686802" y="1105009"/>
                </a:lnTo>
                <a:lnTo>
                  <a:pt x="689190" y="1104035"/>
                </a:lnTo>
                <a:lnTo>
                  <a:pt x="691252" y="1104035"/>
                </a:lnTo>
                <a:lnTo>
                  <a:pt x="688973" y="1110639"/>
                </a:lnTo>
                <a:lnTo>
                  <a:pt x="687237" y="1111939"/>
                </a:lnTo>
                <a:lnTo>
                  <a:pt x="685176" y="1109990"/>
                </a:lnTo>
                <a:lnTo>
                  <a:pt x="682787" y="1112047"/>
                </a:lnTo>
                <a:lnTo>
                  <a:pt x="681050" y="1112264"/>
                </a:lnTo>
                <a:lnTo>
                  <a:pt x="680726" y="1109882"/>
                </a:lnTo>
                <a:lnTo>
                  <a:pt x="678664" y="1109990"/>
                </a:lnTo>
                <a:lnTo>
                  <a:pt x="677252" y="1114104"/>
                </a:lnTo>
                <a:lnTo>
                  <a:pt x="670415" y="1113455"/>
                </a:lnTo>
                <a:lnTo>
                  <a:pt x="669222" y="1112264"/>
                </a:lnTo>
                <a:lnTo>
                  <a:pt x="667811" y="1114104"/>
                </a:lnTo>
                <a:lnTo>
                  <a:pt x="663689" y="1115187"/>
                </a:lnTo>
                <a:lnTo>
                  <a:pt x="663796" y="1118110"/>
                </a:lnTo>
                <a:lnTo>
                  <a:pt x="661951" y="1119626"/>
                </a:lnTo>
                <a:lnTo>
                  <a:pt x="657937" y="1119626"/>
                </a:lnTo>
                <a:lnTo>
                  <a:pt x="656742" y="1123090"/>
                </a:lnTo>
                <a:lnTo>
                  <a:pt x="654681" y="1121900"/>
                </a:lnTo>
                <a:lnTo>
                  <a:pt x="653163" y="1119084"/>
                </a:lnTo>
                <a:lnTo>
                  <a:pt x="649907" y="1119626"/>
                </a:lnTo>
                <a:lnTo>
                  <a:pt x="648280" y="1121900"/>
                </a:lnTo>
                <a:lnTo>
                  <a:pt x="645568" y="1122874"/>
                </a:lnTo>
                <a:lnTo>
                  <a:pt x="644155" y="1126555"/>
                </a:lnTo>
                <a:lnTo>
                  <a:pt x="639924" y="1128396"/>
                </a:lnTo>
                <a:lnTo>
                  <a:pt x="634930" y="1133593"/>
                </a:lnTo>
                <a:lnTo>
                  <a:pt x="633304" y="1131861"/>
                </a:lnTo>
                <a:lnTo>
                  <a:pt x="631568" y="1131427"/>
                </a:lnTo>
                <a:lnTo>
                  <a:pt x="628203" y="1135434"/>
                </a:lnTo>
                <a:lnTo>
                  <a:pt x="623861" y="1137057"/>
                </a:lnTo>
                <a:lnTo>
                  <a:pt x="617351" y="1141822"/>
                </a:lnTo>
                <a:lnTo>
                  <a:pt x="618220" y="1142471"/>
                </a:lnTo>
                <a:lnTo>
                  <a:pt x="621476" y="1142363"/>
                </a:lnTo>
                <a:lnTo>
                  <a:pt x="622886" y="1142471"/>
                </a:lnTo>
                <a:lnTo>
                  <a:pt x="622670" y="1146261"/>
                </a:lnTo>
                <a:lnTo>
                  <a:pt x="617677" y="1152324"/>
                </a:lnTo>
                <a:lnTo>
                  <a:pt x="613662" y="1153190"/>
                </a:lnTo>
                <a:lnTo>
                  <a:pt x="611491" y="1150700"/>
                </a:lnTo>
                <a:lnTo>
                  <a:pt x="609864" y="1151782"/>
                </a:lnTo>
                <a:lnTo>
                  <a:pt x="607367" y="1155788"/>
                </a:lnTo>
                <a:lnTo>
                  <a:pt x="603895" y="1155572"/>
                </a:lnTo>
                <a:lnTo>
                  <a:pt x="601834" y="1159037"/>
                </a:lnTo>
                <a:lnTo>
                  <a:pt x="595974" y="1162718"/>
                </a:lnTo>
                <a:lnTo>
                  <a:pt x="593586" y="1161094"/>
                </a:lnTo>
                <a:lnTo>
                  <a:pt x="593586" y="1157954"/>
                </a:lnTo>
                <a:lnTo>
                  <a:pt x="591851" y="1155897"/>
                </a:lnTo>
                <a:lnTo>
                  <a:pt x="589898" y="1157629"/>
                </a:lnTo>
                <a:lnTo>
                  <a:pt x="589787" y="1161743"/>
                </a:lnTo>
                <a:lnTo>
                  <a:pt x="586315" y="1164559"/>
                </a:lnTo>
                <a:lnTo>
                  <a:pt x="587183" y="1166074"/>
                </a:lnTo>
                <a:lnTo>
                  <a:pt x="585448" y="1169106"/>
                </a:lnTo>
                <a:lnTo>
                  <a:pt x="583168" y="1169106"/>
                </a:lnTo>
                <a:lnTo>
                  <a:pt x="581976" y="1165208"/>
                </a:lnTo>
                <a:lnTo>
                  <a:pt x="579588" y="1164991"/>
                </a:lnTo>
                <a:lnTo>
                  <a:pt x="576657" y="1167049"/>
                </a:lnTo>
                <a:lnTo>
                  <a:pt x="573076" y="1167806"/>
                </a:lnTo>
                <a:lnTo>
                  <a:pt x="570799" y="1169106"/>
                </a:lnTo>
                <a:lnTo>
                  <a:pt x="572642" y="1169647"/>
                </a:lnTo>
                <a:lnTo>
                  <a:pt x="573184" y="1172787"/>
                </a:lnTo>
                <a:lnTo>
                  <a:pt x="571015" y="1174844"/>
                </a:lnTo>
                <a:lnTo>
                  <a:pt x="561683" y="1175169"/>
                </a:lnTo>
                <a:lnTo>
                  <a:pt x="554303" y="1179067"/>
                </a:lnTo>
                <a:lnTo>
                  <a:pt x="548334" y="1180691"/>
                </a:lnTo>
                <a:lnTo>
                  <a:pt x="549855" y="1182098"/>
                </a:lnTo>
                <a:lnTo>
                  <a:pt x="557233" y="1182206"/>
                </a:lnTo>
                <a:lnTo>
                  <a:pt x="557450" y="1184263"/>
                </a:lnTo>
                <a:lnTo>
                  <a:pt x="553762" y="1186971"/>
                </a:lnTo>
                <a:lnTo>
                  <a:pt x="555605" y="1188053"/>
                </a:lnTo>
                <a:lnTo>
                  <a:pt x="551916" y="1192059"/>
                </a:lnTo>
                <a:lnTo>
                  <a:pt x="549312" y="1193250"/>
                </a:lnTo>
                <a:lnTo>
                  <a:pt x="549096" y="1189028"/>
                </a:lnTo>
                <a:lnTo>
                  <a:pt x="549855" y="1185779"/>
                </a:lnTo>
                <a:lnTo>
                  <a:pt x="548988" y="1184372"/>
                </a:lnTo>
                <a:lnTo>
                  <a:pt x="546273" y="1186646"/>
                </a:lnTo>
                <a:lnTo>
                  <a:pt x="543887" y="1192059"/>
                </a:lnTo>
                <a:lnTo>
                  <a:pt x="542801" y="1190760"/>
                </a:lnTo>
                <a:lnTo>
                  <a:pt x="541282" y="1191193"/>
                </a:lnTo>
                <a:lnTo>
                  <a:pt x="537049" y="1196281"/>
                </a:lnTo>
                <a:lnTo>
                  <a:pt x="532166" y="1196499"/>
                </a:lnTo>
                <a:lnTo>
                  <a:pt x="528803" y="1195632"/>
                </a:lnTo>
                <a:lnTo>
                  <a:pt x="525871" y="1197364"/>
                </a:lnTo>
                <a:lnTo>
                  <a:pt x="523267" y="1194441"/>
                </a:lnTo>
                <a:lnTo>
                  <a:pt x="522507" y="1195957"/>
                </a:lnTo>
                <a:lnTo>
                  <a:pt x="522183" y="1203211"/>
                </a:lnTo>
                <a:lnTo>
                  <a:pt x="515672" y="1210032"/>
                </a:lnTo>
                <a:lnTo>
                  <a:pt x="513393" y="1209924"/>
                </a:lnTo>
                <a:lnTo>
                  <a:pt x="513284" y="1207975"/>
                </a:lnTo>
                <a:lnTo>
                  <a:pt x="516215" y="1202886"/>
                </a:lnTo>
                <a:lnTo>
                  <a:pt x="519471" y="1198555"/>
                </a:lnTo>
                <a:lnTo>
                  <a:pt x="519471" y="1195740"/>
                </a:lnTo>
                <a:lnTo>
                  <a:pt x="516323" y="1194550"/>
                </a:lnTo>
                <a:lnTo>
                  <a:pt x="512089" y="1197040"/>
                </a:lnTo>
                <a:lnTo>
                  <a:pt x="507532" y="1203536"/>
                </a:lnTo>
                <a:lnTo>
                  <a:pt x="503409" y="1203536"/>
                </a:lnTo>
                <a:lnTo>
                  <a:pt x="499829" y="1206459"/>
                </a:lnTo>
                <a:lnTo>
                  <a:pt x="496246" y="1205918"/>
                </a:lnTo>
                <a:lnTo>
                  <a:pt x="492883" y="1210790"/>
                </a:lnTo>
                <a:lnTo>
                  <a:pt x="491256" y="1210357"/>
                </a:lnTo>
                <a:lnTo>
                  <a:pt x="492774" y="1207325"/>
                </a:lnTo>
                <a:lnTo>
                  <a:pt x="491689" y="1204402"/>
                </a:lnTo>
                <a:lnTo>
                  <a:pt x="489303" y="1204185"/>
                </a:lnTo>
                <a:lnTo>
                  <a:pt x="488216" y="1206784"/>
                </a:lnTo>
                <a:lnTo>
                  <a:pt x="487025" y="1204510"/>
                </a:lnTo>
                <a:lnTo>
                  <a:pt x="484311" y="1205701"/>
                </a:lnTo>
                <a:lnTo>
                  <a:pt x="483227" y="1209166"/>
                </a:lnTo>
                <a:lnTo>
                  <a:pt x="476388" y="1213822"/>
                </a:lnTo>
                <a:lnTo>
                  <a:pt x="474870" y="1212847"/>
                </a:lnTo>
                <a:lnTo>
                  <a:pt x="474870" y="1208732"/>
                </a:lnTo>
                <a:lnTo>
                  <a:pt x="477583" y="1204726"/>
                </a:lnTo>
                <a:lnTo>
                  <a:pt x="481162" y="1204077"/>
                </a:lnTo>
                <a:lnTo>
                  <a:pt x="482573" y="1202020"/>
                </a:lnTo>
                <a:lnTo>
                  <a:pt x="477799" y="1198230"/>
                </a:lnTo>
                <a:lnTo>
                  <a:pt x="475303" y="1198339"/>
                </a:lnTo>
                <a:lnTo>
                  <a:pt x="471396" y="1202886"/>
                </a:lnTo>
                <a:lnTo>
                  <a:pt x="467599" y="1205052"/>
                </a:lnTo>
                <a:lnTo>
                  <a:pt x="468249" y="1209058"/>
                </a:lnTo>
                <a:lnTo>
                  <a:pt x="465536" y="1214363"/>
                </a:lnTo>
                <a:lnTo>
                  <a:pt x="461088" y="1217070"/>
                </a:lnTo>
                <a:lnTo>
                  <a:pt x="456422" y="1216853"/>
                </a:lnTo>
                <a:lnTo>
                  <a:pt x="453491" y="1218802"/>
                </a:lnTo>
                <a:lnTo>
                  <a:pt x="452623" y="1222158"/>
                </a:lnTo>
                <a:lnTo>
                  <a:pt x="451105" y="1221725"/>
                </a:lnTo>
                <a:lnTo>
                  <a:pt x="450562" y="1218802"/>
                </a:lnTo>
                <a:lnTo>
                  <a:pt x="447958" y="1223133"/>
                </a:lnTo>
                <a:lnTo>
                  <a:pt x="443943" y="1223350"/>
                </a:lnTo>
                <a:lnTo>
                  <a:pt x="443292" y="1221401"/>
                </a:lnTo>
                <a:lnTo>
                  <a:pt x="444159" y="1218802"/>
                </a:lnTo>
                <a:lnTo>
                  <a:pt x="442313" y="1215554"/>
                </a:lnTo>
                <a:lnTo>
                  <a:pt x="440252" y="1216745"/>
                </a:lnTo>
                <a:lnTo>
                  <a:pt x="436345" y="1224107"/>
                </a:lnTo>
                <a:lnTo>
                  <a:pt x="432004" y="1224324"/>
                </a:lnTo>
                <a:lnTo>
                  <a:pt x="431680" y="1222808"/>
                </a:lnTo>
                <a:lnTo>
                  <a:pt x="432004" y="1219560"/>
                </a:lnTo>
                <a:lnTo>
                  <a:pt x="430812" y="1217828"/>
                </a:lnTo>
                <a:lnTo>
                  <a:pt x="427557" y="1219560"/>
                </a:lnTo>
                <a:lnTo>
                  <a:pt x="428100" y="1222483"/>
                </a:lnTo>
                <a:lnTo>
                  <a:pt x="426687" y="1225515"/>
                </a:lnTo>
                <a:lnTo>
                  <a:pt x="423542" y="1226814"/>
                </a:lnTo>
                <a:lnTo>
                  <a:pt x="422455" y="1223891"/>
                </a:lnTo>
                <a:lnTo>
                  <a:pt x="423434" y="1218802"/>
                </a:lnTo>
                <a:lnTo>
                  <a:pt x="424952" y="1215770"/>
                </a:lnTo>
                <a:lnTo>
                  <a:pt x="429618" y="1214471"/>
                </a:lnTo>
                <a:lnTo>
                  <a:pt x="433741" y="1215662"/>
                </a:lnTo>
                <a:lnTo>
                  <a:pt x="435802" y="1215229"/>
                </a:lnTo>
                <a:lnTo>
                  <a:pt x="436237" y="1212414"/>
                </a:lnTo>
                <a:lnTo>
                  <a:pt x="439493" y="1209924"/>
                </a:lnTo>
                <a:lnTo>
                  <a:pt x="445245" y="1207867"/>
                </a:lnTo>
                <a:lnTo>
                  <a:pt x="447522" y="1208408"/>
                </a:lnTo>
                <a:lnTo>
                  <a:pt x="449368" y="1206134"/>
                </a:lnTo>
                <a:lnTo>
                  <a:pt x="448175" y="1204185"/>
                </a:lnTo>
                <a:lnTo>
                  <a:pt x="454034" y="1198014"/>
                </a:lnTo>
                <a:lnTo>
                  <a:pt x="459460" y="1194550"/>
                </a:lnTo>
                <a:lnTo>
                  <a:pt x="465646" y="1192059"/>
                </a:lnTo>
                <a:lnTo>
                  <a:pt x="468575" y="1188053"/>
                </a:lnTo>
                <a:lnTo>
                  <a:pt x="472917" y="1186212"/>
                </a:lnTo>
                <a:lnTo>
                  <a:pt x="479971" y="1185346"/>
                </a:lnTo>
                <a:lnTo>
                  <a:pt x="484637" y="1184047"/>
                </a:lnTo>
                <a:lnTo>
                  <a:pt x="486914" y="1185130"/>
                </a:lnTo>
                <a:lnTo>
                  <a:pt x="491580" y="1184697"/>
                </a:lnTo>
                <a:lnTo>
                  <a:pt x="494944" y="1186429"/>
                </a:lnTo>
                <a:lnTo>
                  <a:pt x="493210" y="1189569"/>
                </a:lnTo>
                <a:lnTo>
                  <a:pt x="493210" y="1193791"/>
                </a:lnTo>
                <a:lnTo>
                  <a:pt x="495814" y="1197148"/>
                </a:lnTo>
                <a:lnTo>
                  <a:pt x="498092" y="1195849"/>
                </a:lnTo>
                <a:lnTo>
                  <a:pt x="497440" y="1192384"/>
                </a:lnTo>
                <a:lnTo>
                  <a:pt x="498200" y="1190110"/>
                </a:lnTo>
                <a:lnTo>
                  <a:pt x="500696" y="1190110"/>
                </a:lnTo>
                <a:lnTo>
                  <a:pt x="503409" y="1194116"/>
                </a:lnTo>
                <a:lnTo>
                  <a:pt x="504928" y="1193034"/>
                </a:lnTo>
                <a:lnTo>
                  <a:pt x="505254" y="1189677"/>
                </a:lnTo>
                <a:lnTo>
                  <a:pt x="503300" y="1185888"/>
                </a:lnTo>
                <a:lnTo>
                  <a:pt x="503734" y="1183397"/>
                </a:lnTo>
                <a:lnTo>
                  <a:pt x="506665" y="1176793"/>
                </a:lnTo>
                <a:lnTo>
                  <a:pt x="514260" y="1170730"/>
                </a:lnTo>
                <a:lnTo>
                  <a:pt x="525329" y="1166724"/>
                </a:lnTo>
                <a:lnTo>
                  <a:pt x="531839" y="1160661"/>
                </a:lnTo>
                <a:lnTo>
                  <a:pt x="538568" y="1160661"/>
                </a:lnTo>
                <a:lnTo>
                  <a:pt x="542476" y="1158928"/>
                </a:lnTo>
                <a:lnTo>
                  <a:pt x="543125" y="1155463"/>
                </a:lnTo>
                <a:lnTo>
                  <a:pt x="547466" y="1153731"/>
                </a:lnTo>
                <a:lnTo>
                  <a:pt x="552784" y="1150050"/>
                </a:lnTo>
                <a:lnTo>
                  <a:pt x="559730" y="1146910"/>
                </a:lnTo>
                <a:lnTo>
                  <a:pt x="559730" y="1151674"/>
                </a:lnTo>
                <a:lnTo>
                  <a:pt x="563418" y="1153190"/>
                </a:lnTo>
                <a:lnTo>
                  <a:pt x="565047" y="1151133"/>
                </a:lnTo>
                <a:lnTo>
                  <a:pt x="564396" y="1148318"/>
                </a:lnTo>
                <a:lnTo>
                  <a:pt x="567109" y="1143445"/>
                </a:lnTo>
                <a:lnTo>
                  <a:pt x="577635" y="1135109"/>
                </a:lnTo>
                <a:lnTo>
                  <a:pt x="580348" y="1133376"/>
                </a:lnTo>
                <a:lnTo>
                  <a:pt x="581325" y="1135867"/>
                </a:lnTo>
                <a:lnTo>
                  <a:pt x="584689" y="1136516"/>
                </a:lnTo>
                <a:lnTo>
                  <a:pt x="586642" y="1133160"/>
                </a:lnTo>
                <a:lnTo>
                  <a:pt x="584689" y="1130237"/>
                </a:lnTo>
                <a:lnTo>
                  <a:pt x="591200" y="1126555"/>
                </a:lnTo>
                <a:lnTo>
                  <a:pt x="594672" y="1121900"/>
                </a:lnTo>
                <a:lnTo>
                  <a:pt x="597819" y="1122441"/>
                </a:lnTo>
                <a:lnTo>
                  <a:pt x="599122" y="1125581"/>
                </a:lnTo>
                <a:lnTo>
                  <a:pt x="602267" y="1126664"/>
                </a:lnTo>
                <a:lnTo>
                  <a:pt x="603026" y="1123199"/>
                </a:lnTo>
                <a:lnTo>
                  <a:pt x="601399" y="1121359"/>
                </a:lnTo>
                <a:lnTo>
                  <a:pt x="599989" y="1118868"/>
                </a:lnTo>
                <a:lnTo>
                  <a:pt x="602810" y="1114429"/>
                </a:lnTo>
                <a:lnTo>
                  <a:pt x="608888" y="1107500"/>
                </a:lnTo>
                <a:lnTo>
                  <a:pt x="610515" y="1101653"/>
                </a:lnTo>
                <a:lnTo>
                  <a:pt x="614747" y="1096131"/>
                </a:lnTo>
                <a:lnTo>
                  <a:pt x="617786" y="1094940"/>
                </a:lnTo>
                <a:lnTo>
                  <a:pt x="625707" y="1096348"/>
                </a:lnTo>
                <a:lnTo>
                  <a:pt x="621258" y="1093425"/>
                </a:lnTo>
                <a:lnTo>
                  <a:pt x="619415" y="1089419"/>
                </a:lnTo>
                <a:lnTo>
                  <a:pt x="620174" y="1084871"/>
                </a:lnTo>
                <a:lnTo>
                  <a:pt x="624079" y="1077509"/>
                </a:lnTo>
                <a:lnTo>
                  <a:pt x="630049" y="1072528"/>
                </a:lnTo>
                <a:lnTo>
                  <a:pt x="643287" y="1065382"/>
                </a:lnTo>
                <a:lnTo>
                  <a:pt x="646543" y="1062242"/>
                </a:lnTo>
                <a:lnTo>
                  <a:pt x="646435" y="1059644"/>
                </a:lnTo>
                <a:lnTo>
                  <a:pt x="651642" y="1053581"/>
                </a:lnTo>
                <a:lnTo>
                  <a:pt x="654681" y="1052174"/>
                </a:lnTo>
                <a:lnTo>
                  <a:pt x="651860" y="1052174"/>
                </a:lnTo>
                <a:lnTo>
                  <a:pt x="643503" y="1056287"/>
                </a:lnTo>
                <a:lnTo>
                  <a:pt x="640575" y="1056396"/>
                </a:lnTo>
                <a:lnTo>
                  <a:pt x="636125" y="1059860"/>
                </a:lnTo>
                <a:lnTo>
                  <a:pt x="626685" y="1061268"/>
                </a:lnTo>
                <a:lnTo>
                  <a:pt x="619847" y="1064733"/>
                </a:lnTo>
                <a:lnTo>
                  <a:pt x="616808" y="1063975"/>
                </a:lnTo>
                <a:lnTo>
                  <a:pt x="610950" y="1057154"/>
                </a:lnTo>
                <a:lnTo>
                  <a:pt x="611166" y="1054556"/>
                </a:lnTo>
                <a:lnTo>
                  <a:pt x="617786" y="1047518"/>
                </a:lnTo>
                <a:lnTo>
                  <a:pt x="623861" y="1044595"/>
                </a:lnTo>
                <a:lnTo>
                  <a:pt x="616918" y="1044919"/>
                </a:lnTo>
                <a:lnTo>
                  <a:pt x="612144" y="1048384"/>
                </a:lnTo>
                <a:lnTo>
                  <a:pt x="610623" y="1048601"/>
                </a:lnTo>
                <a:lnTo>
                  <a:pt x="605414" y="1052823"/>
                </a:lnTo>
                <a:lnTo>
                  <a:pt x="604654" y="1056721"/>
                </a:lnTo>
                <a:lnTo>
                  <a:pt x="600313" y="1063650"/>
                </a:lnTo>
                <a:lnTo>
                  <a:pt x="600856" y="1068414"/>
                </a:lnTo>
                <a:lnTo>
                  <a:pt x="598686" y="1074152"/>
                </a:lnTo>
                <a:lnTo>
                  <a:pt x="595974" y="1073719"/>
                </a:lnTo>
                <a:lnTo>
                  <a:pt x="593694" y="1067656"/>
                </a:lnTo>
                <a:lnTo>
                  <a:pt x="594780" y="1063325"/>
                </a:lnTo>
                <a:lnTo>
                  <a:pt x="593261" y="1055854"/>
                </a:lnTo>
                <a:lnTo>
                  <a:pt x="590222" y="1050333"/>
                </a:lnTo>
                <a:lnTo>
                  <a:pt x="591851" y="1047951"/>
                </a:lnTo>
                <a:lnTo>
                  <a:pt x="590114" y="1045785"/>
                </a:lnTo>
                <a:lnTo>
                  <a:pt x="587836" y="1049358"/>
                </a:lnTo>
                <a:lnTo>
                  <a:pt x="583819" y="1052282"/>
                </a:lnTo>
                <a:lnTo>
                  <a:pt x="580455" y="1050441"/>
                </a:lnTo>
                <a:lnTo>
                  <a:pt x="581215" y="1047842"/>
                </a:lnTo>
                <a:lnTo>
                  <a:pt x="580239" y="1043295"/>
                </a:lnTo>
                <a:lnTo>
                  <a:pt x="576657" y="1041779"/>
                </a:lnTo>
                <a:lnTo>
                  <a:pt x="576657" y="1040047"/>
                </a:lnTo>
                <a:lnTo>
                  <a:pt x="580023" y="1037990"/>
                </a:lnTo>
                <a:lnTo>
                  <a:pt x="580998" y="1034742"/>
                </a:lnTo>
                <a:lnTo>
                  <a:pt x="573295" y="1037665"/>
                </a:lnTo>
                <a:lnTo>
                  <a:pt x="569929" y="1041238"/>
                </a:lnTo>
                <a:lnTo>
                  <a:pt x="566241" y="1040697"/>
                </a:lnTo>
                <a:lnTo>
                  <a:pt x="564288" y="1040264"/>
                </a:lnTo>
                <a:lnTo>
                  <a:pt x="554413" y="1046544"/>
                </a:lnTo>
                <a:lnTo>
                  <a:pt x="549204" y="1051632"/>
                </a:lnTo>
                <a:lnTo>
                  <a:pt x="546273" y="1049250"/>
                </a:lnTo>
                <a:lnTo>
                  <a:pt x="541823" y="1048709"/>
                </a:lnTo>
                <a:lnTo>
                  <a:pt x="538893" y="1046327"/>
                </a:lnTo>
                <a:lnTo>
                  <a:pt x="540847" y="1045352"/>
                </a:lnTo>
                <a:lnTo>
                  <a:pt x="543887" y="1046219"/>
                </a:lnTo>
                <a:lnTo>
                  <a:pt x="548229" y="1043512"/>
                </a:lnTo>
                <a:lnTo>
                  <a:pt x="552025" y="1042754"/>
                </a:lnTo>
                <a:lnTo>
                  <a:pt x="554737" y="1040589"/>
                </a:lnTo>
                <a:lnTo>
                  <a:pt x="553543" y="1037124"/>
                </a:lnTo>
                <a:lnTo>
                  <a:pt x="554194" y="1035175"/>
                </a:lnTo>
                <a:lnTo>
                  <a:pt x="553110" y="1032577"/>
                </a:lnTo>
                <a:lnTo>
                  <a:pt x="555064" y="1030411"/>
                </a:lnTo>
                <a:lnTo>
                  <a:pt x="560489" y="1030519"/>
                </a:lnTo>
                <a:lnTo>
                  <a:pt x="562985" y="1027596"/>
                </a:lnTo>
                <a:lnTo>
                  <a:pt x="562226" y="1024997"/>
                </a:lnTo>
                <a:lnTo>
                  <a:pt x="558860" y="1025106"/>
                </a:lnTo>
                <a:lnTo>
                  <a:pt x="554521" y="1026513"/>
                </a:lnTo>
                <a:lnTo>
                  <a:pt x="552349" y="1025648"/>
                </a:lnTo>
                <a:lnTo>
                  <a:pt x="552132" y="1020775"/>
                </a:lnTo>
                <a:lnTo>
                  <a:pt x="550506" y="1016011"/>
                </a:lnTo>
                <a:lnTo>
                  <a:pt x="552459" y="1014604"/>
                </a:lnTo>
                <a:lnTo>
                  <a:pt x="554737" y="1015469"/>
                </a:lnTo>
                <a:lnTo>
                  <a:pt x="555931" y="1011789"/>
                </a:lnTo>
                <a:lnTo>
                  <a:pt x="558755" y="1009407"/>
                </a:lnTo>
                <a:lnTo>
                  <a:pt x="565263" y="1007349"/>
                </a:lnTo>
                <a:lnTo>
                  <a:pt x="564504" y="1002044"/>
                </a:lnTo>
                <a:lnTo>
                  <a:pt x="564829" y="998038"/>
                </a:lnTo>
                <a:lnTo>
                  <a:pt x="564504" y="995656"/>
                </a:lnTo>
                <a:lnTo>
                  <a:pt x="566025" y="991109"/>
                </a:lnTo>
                <a:lnTo>
                  <a:pt x="564829" y="985046"/>
                </a:lnTo>
                <a:lnTo>
                  <a:pt x="565482" y="979957"/>
                </a:lnTo>
                <a:lnTo>
                  <a:pt x="570689" y="976709"/>
                </a:lnTo>
                <a:lnTo>
                  <a:pt x="574596" y="969888"/>
                </a:lnTo>
                <a:lnTo>
                  <a:pt x="574704" y="967073"/>
                </a:lnTo>
                <a:lnTo>
                  <a:pt x="570799" y="963716"/>
                </a:lnTo>
                <a:lnTo>
                  <a:pt x="571124" y="961010"/>
                </a:lnTo>
                <a:lnTo>
                  <a:pt x="577200" y="957328"/>
                </a:lnTo>
                <a:lnTo>
                  <a:pt x="587183" y="947476"/>
                </a:lnTo>
                <a:lnTo>
                  <a:pt x="591959" y="947043"/>
                </a:lnTo>
                <a:lnTo>
                  <a:pt x="587509" y="946068"/>
                </a:lnTo>
                <a:lnTo>
                  <a:pt x="576875" y="952998"/>
                </a:lnTo>
                <a:lnTo>
                  <a:pt x="569929" y="958303"/>
                </a:lnTo>
                <a:lnTo>
                  <a:pt x="563744" y="961551"/>
                </a:lnTo>
                <a:lnTo>
                  <a:pt x="563636" y="963608"/>
                </a:lnTo>
                <a:lnTo>
                  <a:pt x="566131" y="967073"/>
                </a:lnTo>
                <a:lnTo>
                  <a:pt x="566025" y="971187"/>
                </a:lnTo>
                <a:lnTo>
                  <a:pt x="559622" y="979740"/>
                </a:lnTo>
                <a:lnTo>
                  <a:pt x="556799" y="979957"/>
                </a:lnTo>
                <a:lnTo>
                  <a:pt x="554086" y="978333"/>
                </a:lnTo>
                <a:lnTo>
                  <a:pt x="550288" y="979957"/>
                </a:lnTo>
                <a:lnTo>
                  <a:pt x="543235" y="982880"/>
                </a:lnTo>
                <a:lnTo>
                  <a:pt x="537159" y="982880"/>
                </a:lnTo>
                <a:lnTo>
                  <a:pt x="521422" y="975734"/>
                </a:lnTo>
                <a:lnTo>
                  <a:pt x="522834" y="973136"/>
                </a:lnTo>
                <a:lnTo>
                  <a:pt x="528151" y="972378"/>
                </a:lnTo>
                <a:lnTo>
                  <a:pt x="528041" y="970645"/>
                </a:lnTo>
                <a:lnTo>
                  <a:pt x="523594" y="966856"/>
                </a:lnTo>
                <a:lnTo>
                  <a:pt x="523702" y="963175"/>
                </a:lnTo>
                <a:lnTo>
                  <a:pt x="522942" y="960577"/>
                </a:lnTo>
                <a:lnTo>
                  <a:pt x="522507" y="952457"/>
                </a:lnTo>
                <a:lnTo>
                  <a:pt x="519252" y="952131"/>
                </a:lnTo>
                <a:lnTo>
                  <a:pt x="517841" y="947909"/>
                </a:lnTo>
                <a:lnTo>
                  <a:pt x="518820" y="941629"/>
                </a:lnTo>
                <a:lnTo>
                  <a:pt x="521640" y="937948"/>
                </a:lnTo>
                <a:lnTo>
                  <a:pt x="519252" y="937623"/>
                </a:lnTo>
                <a:lnTo>
                  <a:pt x="516866" y="933833"/>
                </a:lnTo>
                <a:lnTo>
                  <a:pt x="517734" y="930586"/>
                </a:lnTo>
                <a:lnTo>
                  <a:pt x="522726" y="931776"/>
                </a:lnTo>
                <a:lnTo>
                  <a:pt x="526306" y="929286"/>
                </a:lnTo>
                <a:lnTo>
                  <a:pt x="527500" y="925388"/>
                </a:lnTo>
                <a:lnTo>
                  <a:pt x="531515" y="924523"/>
                </a:lnTo>
                <a:lnTo>
                  <a:pt x="535206" y="921707"/>
                </a:lnTo>
                <a:lnTo>
                  <a:pt x="537483" y="924955"/>
                </a:lnTo>
                <a:lnTo>
                  <a:pt x="544103" y="926147"/>
                </a:lnTo>
                <a:lnTo>
                  <a:pt x="546381" y="929936"/>
                </a:lnTo>
                <a:lnTo>
                  <a:pt x="550722" y="929611"/>
                </a:lnTo>
                <a:lnTo>
                  <a:pt x="552784" y="932101"/>
                </a:lnTo>
                <a:lnTo>
                  <a:pt x="552784" y="935025"/>
                </a:lnTo>
                <a:lnTo>
                  <a:pt x="554956" y="936974"/>
                </a:lnTo>
                <a:lnTo>
                  <a:pt x="561140" y="935349"/>
                </a:lnTo>
                <a:lnTo>
                  <a:pt x="560814" y="931993"/>
                </a:lnTo>
                <a:lnTo>
                  <a:pt x="556366" y="927121"/>
                </a:lnTo>
                <a:lnTo>
                  <a:pt x="559403" y="923981"/>
                </a:lnTo>
                <a:lnTo>
                  <a:pt x="560273" y="919433"/>
                </a:lnTo>
                <a:lnTo>
                  <a:pt x="567868" y="911963"/>
                </a:lnTo>
                <a:lnTo>
                  <a:pt x="571666" y="911421"/>
                </a:lnTo>
                <a:lnTo>
                  <a:pt x="575898" y="906549"/>
                </a:lnTo>
                <a:lnTo>
                  <a:pt x="572317" y="909148"/>
                </a:lnTo>
                <a:lnTo>
                  <a:pt x="563636" y="909148"/>
                </a:lnTo>
                <a:lnTo>
                  <a:pt x="560597" y="912504"/>
                </a:lnTo>
                <a:lnTo>
                  <a:pt x="558643" y="921274"/>
                </a:lnTo>
                <a:lnTo>
                  <a:pt x="554845" y="924631"/>
                </a:lnTo>
                <a:lnTo>
                  <a:pt x="549855" y="924955"/>
                </a:lnTo>
                <a:lnTo>
                  <a:pt x="545948" y="922357"/>
                </a:lnTo>
                <a:lnTo>
                  <a:pt x="540847" y="921707"/>
                </a:lnTo>
                <a:lnTo>
                  <a:pt x="540412" y="919109"/>
                </a:lnTo>
                <a:lnTo>
                  <a:pt x="538893" y="917376"/>
                </a:lnTo>
                <a:lnTo>
                  <a:pt x="536073" y="917485"/>
                </a:lnTo>
                <a:lnTo>
                  <a:pt x="533904" y="919433"/>
                </a:lnTo>
                <a:lnTo>
                  <a:pt x="530756" y="919975"/>
                </a:lnTo>
                <a:lnTo>
                  <a:pt x="529346" y="918135"/>
                </a:lnTo>
                <a:lnTo>
                  <a:pt x="531080" y="915752"/>
                </a:lnTo>
                <a:lnTo>
                  <a:pt x="533361" y="914453"/>
                </a:lnTo>
                <a:lnTo>
                  <a:pt x="532599" y="907849"/>
                </a:lnTo>
                <a:lnTo>
                  <a:pt x="531515" y="905250"/>
                </a:lnTo>
                <a:lnTo>
                  <a:pt x="528803" y="908931"/>
                </a:lnTo>
                <a:lnTo>
                  <a:pt x="525871" y="909581"/>
                </a:lnTo>
                <a:lnTo>
                  <a:pt x="524896" y="905684"/>
                </a:lnTo>
                <a:lnTo>
                  <a:pt x="527065" y="901460"/>
                </a:lnTo>
                <a:lnTo>
                  <a:pt x="528041" y="897563"/>
                </a:lnTo>
                <a:lnTo>
                  <a:pt x="527282" y="891608"/>
                </a:lnTo>
                <a:lnTo>
                  <a:pt x="523158" y="885437"/>
                </a:lnTo>
                <a:lnTo>
                  <a:pt x="523158" y="882513"/>
                </a:lnTo>
                <a:lnTo>
                  <a:pt x="528803" y="875801"/>
                </a:lnTo>
                <a:lnTo>
                  <a:pt x="531080" y="871362"/>
                </a:lnTo>
                <a:lnTo>
                  <a:pt x="533142" y="871036"/>
                </a:lnTo>
                <a:lnTo>
                  <a:pt x="535530" y="875151"/>
                </a:lnTo>
                <a:lnTo>
                  <a:pt x="538350" y="874826"/>
                </a:lnTo>
                <a:lnTo>
                  <a:pt x="539545" y="871470"/>
                </a:lnTo>
                <a:lnTo>
                  <a:pt x="534663" y="866056"/>
                </a:lnTo>
                <a:lnTo>
                  <a:pt x="535747" y="864865"/>
                </a:lnTo>
                <a:lnTo>
                  <a:pt x="540412" y="866489"/>
                </a:lnTo>
                <a:lnTo>
                  <a:pt x="545514" y="865299"/>
                </a:lnTo>
                <a:lnTo>
                  <a:pt x="547575" y="863783"/>
                </a:lnTo>
                <a:lnTo>
                  <a:pt x="549529" y="856528"/>
                </a:lnTo>
                <a:lnTo>
                  <a:pt x="560055" y="847001"/>
                </a:lnTo>
                <a:lnTo>
                  <a:pt x="562769" y="846784"/>
                </a:lnTo>
                <a:lnTo>
                  <a:pt x="565698" y="845485"/>
                </a:lnTo>
                <a:lnTo>
                  <a:pt x="568302" y="839638"/>
                </a:lnTo>
                <a:lnTo>
                  <a:pt x="575247" y="832817"/>
                </a:lnTo>
                <a:lnTo>
                  <a:pt x="577310" y="832709"/>
                </a:lnTo>
                <a:lnTo>
                  <a:pt x="581325" y="837473"/>
                </a:lnTo>
                <a:lnTo>
                  <a:pt x="583062" y="841804"/>
                </a:lnTo>
                <a:lnTo>
                  <a:pt x="585448" y="841804"/>
                </a:lnTo>
                <a:lnTo>
                  <a:pt x="587617" y="838014"/>
                </a:lnTo>
                <a:lnTo>
                  <a:pt x="584689" y="835416"/>
                </a:lnTo>
                <a:lnTo>
                  <a:pt x="583711" y="831951"/>
                </a:lnTo>
                <a:lnTo>
                  <a:pt x="586750" y="830327"/>
                </a:lnTo>
                <a:lnTo>
                  <a:pt x="593586" y="830652"/>
                </a:lnTo>
                <a:lnTo>
                  <a:pt x="599122" y="836606"/>
                </a:lnTo>
                <a:lnTo>
                  <a:pt x="599663" y="839746"/>
                </a:lnTo>
                <a:lnTo>
                  <a:pt x="603136" y="836282"/>
                </a:lnTo>
                <a:lnTo>
                  <a:pt x="606392" y="828053"/>
                </a:lnTo>
                <a:lnTo>
                  <a:pt x="606608" y="822098"/>
                </a:lnTo>
                <a:lnTo>
                  <a:pt x="609648" y="819716"/>
                </a:lnTo>
                <a:lnTo>
                  <a:pt x="615181" y="819283"/>
                </a:lnTo>
                <a:lnTo>
                  <a:pt x="621041" y="814953"/>
                </a:lnTo>
                <a:lnTo>
                  <a:pt x="628419" y="814953"/>
                </a:lnTo>
                <a:lnTo>
                  <a:pt x="632869" y="816252"/>
                </a:lnTo>
                <a:lnTo>
                  <a:pt x="637101" y="816035"/>
                </a:lnTo>
                <a:lnTo>
                  <a:pt x="639924" y="813545"/>
                </a:lnTo>
                <a:lnTo>
                  <a:pt x="649583" y="810189"/>
                </a:lnTo>
                <a:lnTo>
                  <a:pt x="653054" y="805425"/>
                </a:lnTo>
                <a:lnTo>
                  <a:pt x="658587" y="801851"/>
                </a:lnTo>
                <a:lnTo>
                  <a:pt x="663146" y="795680"/>
                </a:lnTo>
                <a:lnTo>
                  <a:pt x="664664" y="795031"/>
                </a:lnTo>
                <a:lnTo>
                  <a:pt x="668354" y="799253"/>
                </a:lnTo>
                <a:lnTo>
                  <a:pt x="670308" y="801635"/>
                </a:lnTo>
                <a:lnTo>
                  <a:pt x="672478" y="800661"/>
                </a:lnTo>
                <a:lnTo>
                  <a:pt x="679532" y="804775"/>
                </a:lnTo>
                <a:lnTo>
                  <a:pt x="684524" y="805533"/>
                </a:lnTo>
                <a:lnTo>
                  <a:pt x="688212" y="804234"/>
                </a:lnTo>
                <a:lnTo>
                  <a:pt x="693095" y="799794"/>
                </a:lnTo>
                <a:lnTo>
                  <a:pt x="696134" y="798171"/>
                </a:lnTo>
                <a:lnTo>
                  <a:pt x="700691" y="798604"/>
                </a:lnTo>
                <a:lnTo>
                  <a:pt x="704707" y="795572"/>
                </a:lnTo>
                <a:lnTo>
                  <a:pt x="709156" y="789834"/>
                </a:lnTo>
                <a:lnTo>
                  <a:pt x="710675" y="785070"/>
                </a:lnTo>
                <a:lnTo>
                  <a:pt x="709915" y="781388"/>
                </a:lnTo>
                <a:lnTo>
                  <a:pt x="708724" y="779223"/>
                </a:lnTo>
                <a:lnTo>
                  <a:pt x="709915" y="776408"/>
                </a:lnTo>
                <a:lnTo>
                  <a:pt x="712196" y="772835"/>
                </a:lnTo>
                <a:lnTo>
                  <a:pt x="713498" y="767205"/>
                </a:lnTo>
                <a:lnTo>
                  <a:pt x="720985" y="758760"/>
                </a:lnTo>
                <a:lnTo>
                  <a:pt x="721528" y="752264"/>
                </a:lnTo>
                <a:lnTo>
                  <a:pt x="718597" y="749015"/>
                </a:lnTo>
                <a:lnTo>
                  <a:pt x="713498" y="748366"/>
                </a:lnTo>
                <a:lnTo>
                  <a:pt x="712955" y="747175"/>
                </a:lnTo>
                <a:lnTo>
                  <a:pt x="719356" y="742195"/>
                </a:lnTo>
                <a:lnTo>
                  <a:pt x="722287" y="742519"/>
                </a:lnTo>
                <a:lnTo>
                  <a:pt x="724457" y="744685"/>
                </a:lnTo>
                <a:lnTo>
                  <a:pt x="731403" y="743710"/>
                </a:lnTo>
                <a:lnTo>
                  <a:pt x="735635" y="735807"/>
                </a:lnTo>
                <a:lnTo>
                  <a:pt x="733138" y="734399"/>
                </a:lnTo>
                <a:lnTo>
                  <a:pt x="732922" y="732558"/>
                </a:lnTo>
                <a:lnTo>
                  <a:pt x="738238" y="728769"/>
                </a:lnTo>
                <a:lnTo>
                  <a:pt x="740300" y="725304"/>
                </a:lnTo>
                <a:lnTo>
                  <a:pt x="737914" y="727037"/>
                </a:lnTo>
                <a:lnTo>
                  <a:pt x="731727" y="727362"/>
                </a:lnTo>
                <a:lnTo>
                  <a:pt x="723589" y="732342"/>
                </a:lnTo>
                <a:lnTo>
                  <a:pt x="721201" y="731476"/>
                </a:lnTo>
                <a:lnTo>
                  <a:pt x="720225" y="728552"/>
                </a:lnTo>
                <a:lnTo>
                  <a:pt x="718272" y="728552"/>
                </a:lnTo>
                <a:lnTo>
                  <a:pt x="715233" y="733317"/>
                </a:lnTo>
                <a:lnTo>
                  <a:pt x="708287" y="734074"/>
                </a:lnTo>
                <a:lnTo>
                  <a:pt x="698414" y="740029"/>
                </a:lnTo>
                <a:lnTo>
                  <a:pt x="690709" y="741762"/>
                </a:lnTo>
                <a:lnTo>
                  <a:pt x="688973" y="744576"/>
                </a:lnTo>
                <a:lnTo>
                  <a:pt x="682787" y="749882"/>
                </a:lnTo>
                <a:lnTo>
                  <a:pt x="680399" y="749665"/>
                </a:lnTo>
                <a:lnTo>
                  <a:pt x="680182" y="745226"/>
                </a:lnTo>
                <a:lnTo>
                  <a:pt x="685065" y="739380"/>
                </a:lnTo>
                <a:lnTo>
                  <a:pt x="685176" y="736672"/>
                </a:lnTo>
                <a:lnTo>
                  <a:pt x="680399" y="734941"/>
                </a:lnTo>
                <a:lnTo>
                  <a:pt x="678772" y="736998"/>
                </a:lnTo>
                <a:lnTo>
                  <a:pt x="679205" y="743494"/>
                </a:lnTo>
                <a:lnTo>
                  <a:pt x="677143" y="745876"/>
                </a:lnTo>
                <a:lnTo>
                  <a:pt x="674539" y="744576"/>
                </a:lnTo>
                <a:lnTo>
                  <a:pt x="673020" y="738838"/>
                </a:lnTo>
                <a:lnTo>
                  <a:pt x="669005" y="736131"/>
                </a:lnTo>
                <a:lnTo>
                  <a:pt x="658371" y="734724"/>
                </a:lnTo>
                <a:lnTo>
                  <a:pt x="652838" y="731692"/>
                </a:lnTo>
                <a:lnTo>
                  <a:pt x="646109" y="733858"/>
                </a:lnTo>
                <a:lnTo>
                  <a:pt x="639924" y="738297"/>
                </a:lnTo>
                <a:lnTo>
                  <a:pt x="636776" y="738188"/>
                </a:lnTo>
                <a:lnTo>
                  <a:pt x="631568" y="732558"/>
                </a:lnTo>
                <a:lnTo>
                  <a:pt x="623755" y="729419"/>
                </a:lnTo>
                <a:lnTo>
                  <a:pt x="615397" y="720107"/>
                </a:lnTo>
                <a:lnTo>
                  <a:pt x="614747" y="713828"/>
                </a:lnTo>
                <a:lnTo>
                  <a:pt x="615940" y="707115"/>
                </a:lnTo>
                <a:lnTo>
                  <a:pt x="619738" y="701052"/>
                </a:lnTo>
                <a:lnTo>
                  <a:pt x="624948" y="696288"/>
                </a:lnTo>
                <a:lnTo>
                  <a:pt x="624732" y="692607"/>
                </a:lnTo>
                <a:lnTo>
                  <a:pt x="623319" y="690874"/>
                </a:lnTo>
                <a:lnTo>
                  <a:pt x="622343" y="681238"/>
                </a:lnTo>
                <a:lnTo>
                  <a:pt x="625924" y="676366"/>
                </a:lnTo>
                <a:lnTo>
                  <a:pt x="629722" y="675933"/>
                </a:lnTo>
                <a:lnTo>
                  <a:pt x="629722" y="677882"/>
                </a:lnTo>
                <a:lnTo>
                  <a:pt x="625599" y="682321"/>
                </a:lnTo>
                <a:lnTo>
                  <a:pt x="628855" y="686977"/>
                </a:lnTo>
                <a:lnTo>
                  <a:pt x="631784" y="686977"/>
                </a:lnTo>
                <a:lnTo>
                  <a:pt x="637101" y="681455"/>
                </a:lnTo>
                <a:lnTo>
                  <a:pt x="639381" y="681130"/>
                </a:lnTo>
                <a:lnTo>
                  <a:pt x="642636" y="683728"/>
                </a:lnTo>
                <a:lnTo>
                  <a:pt x="648170" y="687518"/>
                </a:lnTo>
                <a:lnTo>
                  <a:pt x="649039" y="692282"/>
                </a:lnTo>
                <a:lnTo>
                  <a:pt x="657069" y="692065"/>
                </a:lnTo>
                <a:lnTo>
                  <a:pt x="658806" y="690766"/>
                </a:lnTo>
                <a:lnTo>
                  <a:pt x="653270" y="687842"/>
                </a:lnTo>
                <a:lnTo>
                  <a:pt x="648496" y="686652"/>
                </a:lnTo>
                <a:lnTo>
                  <a:pt x="646435" y="680913"/>
                </a:lnTo>
                <a:lnTo>
                  <a:pt x="641226" y="678207"/>
                </a:lnTo>
                <a:lnTo>
                  <a:pt x="636233" y="671277"/>
                </a:lnTo>
                <a:lnTo>
                  <a:pt x="629505" y="669545"/>
                </a:lnTo>
                <a:lnTo>
                  <a:pt x="623319" y="660017"/>
                </a:lnTo>
                <a:lnTo>
                  <a:pt x="616808" y="651897"/>
                </a:lnTo>
                <a:lnTo>
                  <a:pt x="616918" y="650165"/>
                </a:lnTo>
                <a:lnTo>
                  <a:pt x="620717" y="644534"/>
                </a:lnTo>
                <a:lnTo>
                  <a:pt x="624732" y="642802"/>
                </a:lnTo>
                <a:lnTo>
                  <a:pt x="623537" y="645726"/>
                </a:lnTo>
                <a:lnTo>
                  <a:pt x="622343" y="647458"/>
                </a:lnTo>
                <a:lnTo>
                  <a:pt x="625273" y="646916"/>
                </a:lnTo>
                <a:lnTo>
                  <a:pt x="630265" y="643669"/>
                </a:lnTo>
                <a:lnTo>
                  <a:pt x="637427" y="640422"/>
                </a:lnTo>
                <a:lnTo>
                  <a:pt x="641116" y="639014"/>
                </a:lnTo>
                <a:lnTo>
                  <a:pt x="641116" y="636418"/>
                </a:lnTo>
                <a:lnTo>
                  <a:pt x="647845" y="632518"/>
                </a:lnTo>
                <a:lnTo>
                  <a:pt x="651425" y="632518"/>
                </a:lnTo>
                <a:lnTo>
                  <a:pt x="652511" y="634036"/>
                </a:lnTo>
                <a:lnTo>
                  <a:pt x="657285" y="633819"/>
                </a:lnTo>
                <a:lnTo>
                  <a:pt x="657610" y="631436"/>
                </a:lnTo>
                <a:lnTo>
                  <a:pt x="660758" y="628836"/>
                </a:lnTo>
                <a:lnTo>
                  <a:pt x="669873" y="627430"/>
                </a:lnTo>
                <a:lnTo>
                  <a:pt x="678337" y="628836"/>
                </a:lnTo>
                <a:lnTo>
                  <a:pt x="682787" y="630461"/>
                </a:lnTo>
                <a:lnTo>
                  <a:pt x="684524" y="632844"/>
                </a:lnTo>
                <a:lnTo>
                  <a:pt x="688647" y="632844"/>
                </a:lnTo>
                <a:lnTo>
                  <a:pt x="692662" y="633494"/>
                </a:lnTo>
                <a:lnTo>
                  <a:pt x="693421" y="631978"/>
                </a:lnTo>
                <a:lnTo>
                  <a:pt x="688104" y="627106"/>
                </a:lnTo>
                <a:lnTo>
                  <a:pt x="685935" y="624725"/>
                </a:lnTo>
                <a:lnTo>
                  <a:pt x="686910" y="622343"/>
                </a:lnTo>
                <a:lnTo>
                  <a:pt x="701235" y="616495"/>
                </a:lnTo>
                <a:lnTo>
                  <a:pt x="705358" y="616278"/>
                </a:lnTo>
                <a:lnTo>
                  <a:pt x="709264" y="619093"/>
                </a:lnTo>
                <a:lnTo>
                  <a:pt x="713606" y="618877"/>
                </a:lnTo>
                <a:lnTo>
                  <a:pt x="721201" y="614764"/>
                </a:lnTo>
                <a:lnTo>
                  <a:pt x="725868" y="614982"/>
                </a:lnTo>
                <a:lnTo>
                  <a:pt x="729666" y="616603"/>
                </a:lnTo>
                <a:lnTo>
                  <a:pt x="735853" y="623210"/>
                </a:lnTo>
                <a:lnTo>
                  <a:pt x="736177" y="626133"/>
                </a:lnTo>
                <a:lnTo>
                  <a:pt x="733248" y="629596"/>
                </a:lnTo>
                <a:lnTo>
                  <a:pt x="730536" y="630029"/>
                </a:lnTo>
                <a:lnTo>
                  <a:pt x="725542" y="637285"/>
                </a:lnTo>
                <a:lnTo>
                  <a:pt x="721201" y="638797"/>
                </a:lnTo>
                <a:lnTo>
                  <a:pt x="720985" y="641614"/>
                </a:lnTo>
                <a:lnTo>
                  <a:pt x="722938" y="645292"/>
                </a:lnTo>
                <a:lnTo>
                  <a:pt x="723265" y="650489"/>
                </a:lnTo>
                <a:lnTo>
                  <a:pt x="725326" y="650814"/>
                </a:lnTo>
                <a:lnTo>
                  <a:pt x="728582" y="648973"/>
                </a:lnTo>
                <a:lnTo>
                  <a:pt x="731838" y="651247"/>
                </a:lnTo>
                <a:lnTo>
                  <a:pt x="732379" y="654928"/>
                </a:lnTo>
                <a:lnTo>
                  <a:pt x="736504" y="655145"/>
                </a:lnTo>
                <a:lnTo>
                  <a:pt x="739108" y="654171"/>
                </a:lnTo>
                <a:lnTo>
                  <a:pt x="742364" y="654928"/>
                </a:lnTo>
                <a:lnTo>
                  <a:pt x="743123" y="660017"/>
                </a:lnTo>
                <a:lnTo>
                  <a:pt x="746161" y="661533"/>
                </a:lnTo>
                <a:lnTo>
                  <a:pt x="752237" y="660991"/>
                </a:lnTo>
                <a:lnTo>
                  <a:pt x="754082" y="662074"/>
                </a:lnTo>
                <a:lnTo>
                  <a:pt x="755387" y="666513"/>
                </a:lnTo>
                <a:lnTo>
                  <a:pt x="759617" y="664456"/>
                </a:lnTo>
                <a:lnTo>
                  <a:pt x="763959" y="662940"/>
                </a:lnTo>
                <a:lnTo>
                  <a:pt x="764500" y="658718"/>
                </a:lnTo>
                <a:lnTo>
                  <a:pt x="771662" y="653088"/>
                </a:lnTo>
                <a:lnTo>
                  <a:pt x="774485" y="650706"/>
                </a:lnTo>
                <a:lnTo>
                  <a:pt x="776328" y="652438"/>
                </a:lnTo>
                <a:lnTo>
                  <a:pt x="779475" y="653954"/>
                </a:lnTo>
                <a:lnTo>
                  <a:pt x="779800" y="656661"/>
                </a:lnTo>
                <a:lnTo>
                  <a:pt x="773615" y="664565"/>
                </a:lnTo>
                <a:lnTo>
                  <a:pt x="780451" y="662074"/>
                </a:lnTo>
                <a:lnTo>
                  <a:pt x="785335" y="656661"/>
                </a:lnTo>
                <a:lnTo>
                  <a:pt x="785660" y="648324"/>
                </a:lnTo>
                <a:lnTo>
                  <a:pt x="783274" y="642802"/>
                </a:lnTo>
                <a:lnTo>
                  <a:pt x="777414" y="642802"/>
                </a:lnTo>
                <a:lnTo>
                  <a:pt x="775134" y="640529"/>
                </a:lnTo>
                <a:lnTo>
                  <a:pt x="771878" y="640529"/>
                </a:lnTo>
                <a:lnTo>
                  <a:pt x="768733" y="645509"/>
                </a:lnTo>
                <a:lnTo>
                  <a:pt x="768733" y="641721"/>
                </a:lnTo>
                <a:lnTo>
                  <a:pt x="773072" y="636959"/>
                </a:lnTo>
                <a:lnTo>
                  <a:pt x="775352" y="627863"/>
                </a:lnTo>
                <a:lnTo>
                  <a:pt x="775786" y="613897"/>
                </a:lnTo>
                <a:lnTo>
                  <a:pt x="779910" y="609457"/>
                </a:lnTo>
                <a:lnTo>
                  <a:pt x="781862" y="609565"/>
                </a:lnTo>
                <a:lnTo>
                  <a:pt x="782515" y="614115"/>
                </a:lnTo>
                <a:lnTo>
                  <a:pt x="777414" y="628189"/>
                </a:lnTo>
                <a:lnTo>
                  <a:pt x="776655" y="635444"/>
                </a:lnTo>
                <a:lnTo>
                  <a:pt x="782404" y="639881"/>
                </a:lnTo>
                <a:lnTo>
                  <a:pt x="784576" y="639556"/>
                </a:lnTo>
                <a:lnTo>
                  <a:pt x="788808" y="641071"/>
                </a:lnTo>
                <a:lnTo>
                  <a:pt x="790977" y="647783"/>
                </a:lnTo>
                <a:lnTo>
                  <a:pt x="793582" y="650381"/>
                </a:lnTo>
                <a:lnTo>
                  <a:pt x="799768" y="651030"/>
                </a:lnTo>
                <a:lnTo>
                  <a:pt x="802697" y="649298"/>
                </a:lnTo>
                <a:lnTo>
                  <a:pt x="807582" y="652114"/>
                </a:lnTo>
                <a:lnTo>
                  <a:pt x="806823" y="655361"/>
                </a:lnTo>
                <a:lnTo>
                  <a:pt x="814744" y="654495"/>
                </a:lnTo>
                <a:lnTo>
                  <a:pt x="816263" y="649623"/>
                </a:lnTo>
                <a:lnTo>
                  <a:pt x="814961" y="644318"/>
                </a:lnTo>
                <a:lnTo>
                  <a:pt x="821148" y="641071"/>
                </a:lnTo>
                <a:lnTo>
                  <a:pt x="814744" y="637609"/>
                </a:lnTo>
                <a:lnTo>
                  <a:pt x="807364" y="635444"/>
                </a:lnTo>
                <a:lnTo>
                  <a:pt x="801179" y="637285"/>
                </a:lnTo>
                <a:lnTo>
                  <a:pt x="799441" y="634146"/>
                </a:lnTo>
                <a:lnTo>
                  <a:pt x="795643" y="632518"/>
                </a:lnTo>
                <a:lnTo>
                  <a:pt x="790218" y="634036"/>
                </a:lnTo>
                <a:lnTo>
                  <a:pt x="786746" y="636959"/>
                </a:lnTo>
                <a:lnTo>
                  <a:pt x="784358" y="635011"/>
                </a:lnTo>
                <a:lnTo>
                  <a:pt x="783817" y="629596"/>
                </a:lnTo>
                <a:lnTo>
                  <a:pt x="784468" y="617254"/>
                </a:lnTo>
                <a:lnTo>
                  <a:pt x="785878" y="613897"/>
                </a:lnTo>
                <a:lnTo>
                  <a:pt x="790869" y="614546"/>
                </a:lnTo>
                <a:lnTo>
                  <a:pt x="793690" y="612599"/>
                </a:lnTo>
                <a:lnTo>
                  <a:pt x="781972" y="603287"/>
                </a:lnTo>
                <a:lnTo>
                  <a:pt x="782404" y="600147"/>
                </a:lnTo>
                <a:lnTo>
                  <a:pt x="785878" y="597223"/>
                </a:lnTo>
                <a:lnTo>
                  <a:pt x="782404" y="597223"/>
                </a:lnTo>
                <a:lnTo>
                  <a:pt x="778606" y="599607"/>
                </a:lnTo>
                <a:lnTo>
                  <a:pt x="776220" y="597441"/>
                </a:lnTo>
                <a:lnTo>
                  <a:pt x="776328" y="602529"/>
                </a:lnTo>
                <a:lnTo>
                  <a:pt x="771338" y="600363"/>
                </a:lnTo>
                <a:lnTo>
                  <a:pt x="762330" y="589536"/>
                </a:lnTo>
                <a:lnTo>
                  <a:pt x="762330" y="586936"/>
                </a:lnTo>
                <a:lnTo>
                  <a:pt x="766561" y="580875"/>
                </a:lnTo>
                <a:lnTo>
                  <a:pt x="771989" y="570914"/>
                </a:lnTo>
                <a:lnTo>
                  <a:pt x="773399" y="557921"/>
                </a:lnTo>
                <a:lnTo>
                  <a:pt x="771010" y="543412"/>
                </a:lnTo>
                <a:lnTo>
                  <a:pt x="765151" y="527172"/>
                </a:lnTo>
                <a:lnTo>
                  <a:pt x="759291" y="506167"/>
                </a:lnTo>
                <a:lnTo>
                  <a:pt x="754951" y="496205"/>
                </a:lnTo>
                <a:lnTo>
                  <a:pt x="757772" y="494258"/>
                </a:lnTo>
                <a:lnTo>
                  <a:pt x="760812" y="496532"/>
                </a:lnTo>
                <a:lnTo>
                  <a:pt x="764500" y="496963"/>
                </a:lnTo>
                <a:lnTo>
                  <a:pt x="766888" y="491227"/>
                </a:lnTo>
                <a:lnTo>
                  <a:pt x="771554" y="486680"/>
                </a:lnTo>
                <a:lnTo>
                  <a:pt x="773723" y="481267"/>
                </a:lnTo>
                <a:lnTo>
                  <a:pt x="782188" y="472060"/>
                </a:lnTo>
                <a:lnTo>
                  <a:pt x="787940" y="466542"/>
                </a:lnTo>
                <a:lnTo>
                  <a:pt x="790653" y="465892"/>
                </a:lnTo>
                <a:lnTo>
                  <a:pt x="797923" y="469573"/>
                </a:lnTo>
                <a:lnTo>
                  <a:pt x="802697" y="472060"/>
                </a:lnTo>
                <a:lnTo>
                  <a:pt x="809208" y="476068"/>
                </a:lnTo>
                <a:lnTo>
                  <a:pt x="816263" y="476718"/>
                </a:lnTo>
                <a:lnTo>
                  <a:pt x="819951" y="479426"/>
                </a:lnTo>
                <a:lnTo>
                  <a:pt x="827005" y="479317"/>
                </a:lnTo>
                <a:lnTo>
                  <a:pt x="835145" y="474335"/>
                </a:lnTo>
                <a:lnTo>
                  <a:pt x="840462" y="474011"/>
                </a:lnTo>
                <a:lnTo>
                  <a:pt x="847190" y="470006"/>
                </a:lnTo>
                <a:lnTo>
                  <a:pt x="851313" y="469357"/>
                </a:lnTo>
                <a:lnTo>
                  <a:pt x="859234" y="466107"/>
                </a:lnTo>
                <a:lnTo>
                  <a:pt x="871281" y="455281"/>
                </a:lnTo>
                <a:lnTo>
                  <a:pt x="881264" y="446294"/>
                </a:lnTo>
                <a:lnTo>
                  <a:pt x="890705" y="439256"/>
                </a:lnTo>
                <a:lnTo>
                  <a:pt x="904487" y="432760"/>
                </a:lnTo>
                <a:lnTo>
                  <a:pt x="916966" y="422368"/>
                </a:lnTo>
                <a:lnTo>
                  <a:pt x="926732" y="417603"/>
                </a:lnTo>
                <a:lnTo>
                  <a:pt x="934871" y="418792"/>
                </a:lnTo>
                <a:lnTo>
                  <a:pt x="941708" y="420525"/>
                </a:lnTo>
                <a:lnTo>
                  <a:pt x="944095" y="419116"/>
                </a:lnTo>
                <a:lnTo>
                  <a:pt x="941599" y="416086"/>
                </a:lnTo>
                <a:lnTo>
                  <a:pt x="934546" y="412946"/>
                </a:lnTo>
                <a:lnTo>
                  <a:pt x="934003" y="411216"/>
                </a:lnTo>
                <a:lnTo>
                  <a:pt x="936932" y="411108"/>
                </a:lnTo>
                <a:lnTo>
                  <a:pt x="942575" y="412405"/>
                </a:lnTo>
                <a:lnTo>
                  <a:pt x="946266" y="417276"/>
                </a:lnTo>
                <a:lnTo>
                  <a:pt x="949303" y="418792"/>
                </a:lnTo>
                <a:lnTo>
                  <a:pt x="954296" y="418792"/>
                </a:lnTo>
                <a:lnTo>
                  <a:pt x="966340" y="413598"/>
                </a:lnTo>
                <a:lnTo>
                  <a:pt x="968837" y="413813"/>
                </a:lnTo>
                <a:lnTo>
                  <a:pt x="968405" y="416952"/>
                </a:lnTo>
                <a:lnTo>
                  <a:pt x="961350" y="427563"/>
                </a:lnTo>
                <a:lnTo>
                  <a:pt x="959829" y="435684"/>
                </a:lnTo>
                <a:lnTo>
                  <a:pt x="960915" y="437417"/>
                </a:lnTo>
                <a:lnTo>
                  <a:pt x="963085" y="436983"/>
                </a:lnTo>
                <a:lnTo>
                  <a:pt x="965690" y="428971"/>
                </a:lnTo>
                <a:lnTo>
                  <a:pt x="970355" y="418468"/>
                </a:lnTo>
                <a:lnTo>
                  <a:pt x="976324" y="413272"/>
                </a:lnTo>
                <a:lnTo>
                  <a:pt x="982618" y="413272"/>
                </a:lnTo>
                <a:lnTo>
                  <a:pt x="985874" y="410564"/>
                </a:lnTo>
                <a:lnTo>
                  <a:pt x="980122" y="409155"/>
                </a:lnTo>
                <a:lnTo>
                  <a:pt x="979147" y="405042"/>
                </a:lnTo>
                <a:lnTo>
                  <a:pt x="981533" y="400063"/>
                </a:lnTo>
                <a:lnTo>
                  <a:pt x="988043" y="396813"/>
                </a:lnTo>
                <a:lnTo>
                  <a:pt x="997051" y="391944"/>
                </a:lnTo>
                <a:lnTo>
                  <a:pt x="1002694" y="390319"/>
                </a:lnTo>
                <a:lnTo>
                  <a:pt x="1004972" y="392267"/>
                </a:lnTo>
                <a:lnTo>
                  <a:pt x="1000849" y="393999"/>
                </a:lnTo>
                <a:lnTo>
                  <a:pt x="999764" y="396922"/>
                </a:lnTo>
                <a:lnTo>
                  <a:pt x="1001066" y="400063"/>
                </a:lnTo>
                <a:lnTo>
                  <a:pt x="1003453" y="399846"/>
                </a:lnTo>
                <a:lnTo>
                  <a:pt x="1004755" y="396163"/>
                </a:lnTo>
                <a:lnTo>
                  <a:pt x="1008770" y="394216"/>
                </a:lnTo>
                <a:lnTo>
                  <a:pt x="1013545" y="398329"/>
                </a:lnTo>
                <a:lnTo>
                  <a:pt x="1017018" y="398872"/>
                </a:lnTo>
                <a:lnTo>
                  <a:pt x="1017560" y="396272"/>
                </a:lnTo>
                <a:lnTo>
                  <a:pt x="1020164" y="398222"/>
                </a:lnTo>
                <a:lnTo>
                  <a:pt x="1026350" y="402120"/>
                </a:lnTo>
                <a:lnTo>
                  <a:pt x="1037527" y="402230"/>
                </a:lnTo>
                <a:lnTo>
                  <a:pt x="1043604" y="399955"/>
                </a:lnTo>
                <a:lnTo>
                  <a:pt x="1053805" y="391727"/>
                </a:lnTo>
                <a:lnTo>
                  <a:pt x="1058797" y="388696"/>
                </a:lnTo>
                <a:lnTo>
                  <a:pt x="1064982" y="388152"/>
                </a:lnTo>
                <a:lnTo>
                  <a:pt x="1067152" y="386203"/>
                </a:lnTo>
                <a:close/>
                <a:moveTo>
                  <a:pt x="6871382" y="378407"/>
                </a:moveTo>
                <a:lnTo>
                  <a:pt x="6874963" y="379490"/>
                </a:lnTo>
                <a:lnTo>
                  <a:pt x="6875940" y="383605"/>
                </a:lnTo>
                <a:lnTo>
                  <a:pt x="6874312" y="385228"/>
                </a:lnTo>
                <a:lnTo>
                  <a:pt x="6872250" y="385337"/>
                </a:lnTo>
                <a:lnTo>
                  <a:pt x="6869320" y="381656"/>
                </a:lnTo>
                <a:close/>
                <a:moveTo>
                  <a:pt x="6908820" y="377215"/>
                </a:moveTo>
                <a:lnTo>
                  <a:pt x="6911317" y="379273"/>
                </a:lnTo>
                <a:lnTo>
                  <a:pt x="6910231" y="382087"/>
                </a:lnTo>
                <a:lnTo>
                  <a:pt x="6908495" y="382629"/>
                </a:lnTo>
                <a:lnTo>
                  <a:pt x="6907084" y="379273"/>
                </a:lnTo>
                <a:close/>
                <a:moveTo>
                  <a:pt x="2272771" y="376674"/>
                </a:moveTo>
                <a:lnTo>
                  <a:pt x="2275918" y="376674"/>
                </a:lnTo>
                <a:lnTo>
                  <a:pt x="2277112" y="380031"/>
                </a:lnTo>
                <a:lnTo>
                  <a:pt x="2280693" y="381872"/>
                </a:lnTo>
                <a:lnTo>
                  <a:pt x="2283840" y="380788"/>
                </a:lnTo>
                <a:lnTo>
                  <a:pt x="2286119" y="383279"/>
                </a:lnTo>
                <a:lnTo>
                  <a:pt x="2284708" y="392807"/>
                </a:lnTo>
                <a:lnTo>
                  <a:pt x="2281669" y="396380"/>
                </a:lnTo>
                <a:lnTo>
                  <a:pt x="2281669" y="399736"/>
                </a:lnTo>
                <a:lnTo>
                  <a:pt x="2284165" y="399736"/>
                </a:lnTo>
                <a:lnTo>
                  <a:pt x="2286010" y="397245"/>
                </a:lnTo>
                <a:lnTo>
                  <a:pt x="2288289" y="397245"/>
                </a:lnTo>
                <a:lnTo>
                  <a:pt x="2290677" y="394972"/>
                </a:lnTo>
                <a:lnTo>
                  <a:pt x="2290677" y="387935"/>
                </a:lnTo>
                <a:lnTo>
                  <a:pt x="2294040" y="385011"/>
                </a:lnTo>
                <a:lnTo>
                  <a:pt x="2297621" y="387718"/>
                </a:lnTo>
                <a:lnTo>
                  <a:pt x="2301202" y="386635"/>
                </a:lnTo>
                <a:lnTo>
                  <a:pt x="2301202" y="382412"/>
                </a:lnTo>
                <a:lnTo>
                  <a:pt x="2300226" y="380681"/>
                </a:lnTo>
                <a:lnTo>
                  <a:pt x="2303590" y="380681"/>
                </a:lnTo>
                <a:lnTo>
                  <a:pt x="2305109" y="384145"/>
                </a:lnTo>
                <a:lnTo>
                  <a:pt x="2304349" y="387284"/>
                </a:lnTo>
                <a:lnTo>
                  <a:pt x="2305326" y="389234"/>
                </a:lnTo>
                <a:lnTo>
                  <a:pt x="2304241" y="391399"/>
                </a:lnTo>
                <a:lnTo>
                  <a:pt x="2301745" y="391399"/>
                </a:lnTo>
                <a:lnTo>
                  <a:pt x="2304024" y="395513"/>
                </a:lnTo>
                <a:lnTo>
                  <a:pt x="2308473" y="397029"/>
                </a:lnTo>
                <a:lnTo>
                  <a:pt x="2310318" y="401252"/>
                </a:lnTo>
                <a:lnTo>
                  <a:pt x="2309124" y="405799"/>
                </a:lnTo>
                <a:lnTo>
                  <a:pt x="2304675" y="408831"/>
                </a:lnTo>
                <a:lnTo>
                  <a:pt x="2300660" y="416085"/>
                </a:lnTo>
                <a:lnTo>
                  <a:pt x="2301311" y="421282"/>
                </a:lnTo>
                <a:lnTo>
                  <a:pt x="2300009" y="424422"/>
                </a:lnTo>
                <a:lnTo>
                  <a:pt x="2295776" y="426804"/>
                </a:lnTo>
                <a:lnTo>
                  <a:pt x="2290568" y="432650"/>
                </a:lnTo>
                <a:lnTo>
                  <a:pt x="2289157" y="435357"/>
                </a:lnTo>
                <a:lnTo>
                  <a:pt x="2284600" y="440338"/>
                </a:lnTo>
                <a:lnTo>
                  <a:pt x="2284600" y="442178"/>
                </a:lnTo>
                <a:lnTo>
                  <a:pt x="2283189" y="446076"/>
                </a:lnTo>
                <a:lnTo>
                  <a:pt x="2279934" y="446076"/>
                </a:lnTo>
                <a:lnTo>
                  <a:pt x="2277329" y="445426"/>
                </a:lnTo>
                <a:lnTo>
                  <a:pt x="2274941" y="447268"/>
                </a:lnTo>
                <a:lnTo>
                  <a:pt x="2274941" y="449324"/>
                </a:lnTo>
                <a:lnTo>
                  <a:pt x="2280584" y="452356"/>
                </a:lnTo>
                <a:lnTo>
                  <a:pt x="2280584" y="454738"/>
                </a:lnTo>
                <a:lnTo>
                  <a:pt x="2274941" y="462858"/>
                </a:lnTo>
                <a:lnTo>
                  <a:pt x="2273205" y="465457"/>
                </a:lnTo>
                <a:lnTo>
                  <a:pt x="2273205" y="462425"/>
                </a:lnTo>
                <a:lnTo>
                  <a:pt x="2273205" y="459611"/>
                </a:lnTo>
                <a:lnTo>
                  <a:pt x="2270275" y="458419"/>
                </a:lnTo>
                <a:lnTo>
                  <a:pt x="2267888" y="459718"/>
                </a:lnTo>
                <a:lnTo>
                  <a:pt x="2267888" y="462858"/>
                </a:lnTo>
                <a:lnTo>
                  <a:pt x="2265067" y="464590"/>
                </a:lnTo>
                <a:lnTo>
                  <a:pt x="2262679" y="467730"/>
                </a:lnTo>
                <a:lnTo>
                  <a:pt x="2258013" y="468596"/>
                </a:lnTo>
                <a:lnTo>
                  <a:pt x="2256386" y="472819"/>
                </a:lnTo>
                <a:lnTo>
                  <a:pt x="2259316" y="474443"/>
                </a:lnTo>
                <a:lnTo>
                  <a:pt x="2263439" y="473794"/>
                </a:lnTo>
                <a:lnTo>
                  <a:pt x="2262788" y="476392"/>
                </a:lnTo>
                <a:lnTo>
                  <a:pt x="2260726" y="479207"/>
                </a:lnTo>
                <a:lnTo>
                  <a:pt x="2260726" y="481264"/>
                </a:lnTo>
                <a:lnTo>
                  <a:pt x="2260726" y="485595"/>
                </a:lnTo>
                <a:lnTo>
                  <a:pt x="2259207" y="487544"/>
                </a:lnTo>
                <a:lnTo>
                  <a:pt x="2256494" y="482997"/>
                </a:lnTo>
                <a:lnTo>
                  <a:pt x="2256494" y="478449"/>
                </a:lnTo>
                <a:lnTo>
                  <a:pt x="2255409" y="475850"/>
                </a:lnTo>
                <a:lnTo>
                  <a:pt x="2253781" y="478125"/>
                </a:lnTo>
                <a:lnTo>
                  <a:pt x="2253130" y="481914"/>
                </a:lnTo>
                <a:lnTo>
                  <a:pt x="2254215" y="484946"/>
                </a:lnTo>
                <a:lnTo>
                  <a:pt x="2250851" y="489493"/>
                </a:lnTo>
                <a:lnTo>
                  <a:pt x="2238372" y="488843"/>
                </a:lnTo>
                <a:lnTo>
                  <a:pt x="2237721" y="484946"/>
                </a:lnTo>
                <a:lnTo>
                  <a:pt x="2236201" y="482780"/>
                </a:lnTo>
                <a:lnTo>
                  <a:pt x="2232946" y="486353"/>
                </a:lnTo>
                <a:lnTo>
                  <a:pt x="2229365" y="486353"/>
                </a:lnTo>
                <a:lnTo>
                  <a:pt x="2228714" y="483538"/>
                </a:lnTo>
                <a:lnTo>
                  <a:pt x="2232186" y="479207"/>
                </a:lnTo>
                <a:lnTo>
                  <a:pt x="2226327" y="481698"/>
                </a:lnTo>
                <a:lnTo>
                  <a:pt x="2224590" y="484946"/>
                </a:lnTo>
                <a:lnTo>
                  <a:pt x="2222745" y="484946"/>
                </a:lnTo>
                <a:lnTo>
                  <a:pt x="2220358" y="482563"/>
                </a:lnTo>
                <a:lnTo>
                  <a:pt x="2216018" y="482563"/>
                </a:lnTo>
                <a:lnTo>
                  <a:pt x="2213304" y="479965"/>
                </a:lnTo>
                <a:lnTo>
                  <a:pt x="2213304" y="475310"/>
                </a:lnTo>
                <a:lnTo>
                  <a:pt x="2214716" y="473469"/>
                </a:lnTo>
                <a:lnTo>
                  <a:pt x="2214716" y="471086"/>
                </a:lnTo>
                <a:lnTo>
                  <a:pt x="2216777" y="466431"/>
                </a:lnTo>
                <a:lnTo>
                  <a:pt x="2218514" y="466431"/>
                </a:lnTo>
                <a:lnTo>
                  <a:pt x="2220792" y="469463"/>
                </a:lnTo>
                <a:lnTo>
                  <a:pt x="2222854" y="469463"/>
                </a:lnTo>
                <a:lnTo>
                  <a:pt x="2220250" y="465998"/>
                </a:lnTo>
                <a:lnTo>
                  <a:pt x="2221444" y="463292"/>
                </a:lnTo>
                <a:lnTo>
                  <a:pt x="2217971" y="462425"/>
                </a:lnTo>
                <a:lnTo>
                  <a:pt x="2215366" y="460043"/>
                </a:lnTo>
                <a:lnTo>
                  <a:pt x="2215366" y="457661"/>
                </a:lnTo>
                <a:lnTo>
                  <a:pt x="2214716" y="455929"/>
                </a:lnTo>
                <a:lnTo>
                  <a:pt x="2216451" y="455929"/>
                </a:lnTo>
                <a:lnTo>
                  <a:pt x="2218839" y="458310"/>
                </a:lnTo>
                <a:lnTo>
                  <a:pt x="2220250" y="456578"/>
                </a:lnTo>
                <a:lnTo>
                  <a:pt x="2219599" y="454304"/>
                </a:lnTo>
                <a:lnTo>
                  <a:pt x="2222312" y="452572"/>
                </a:lnTo>
                <a:lnTo>
                  <a:pt x="2225892" y="453980"/>
                </a:lnTo>
                <a:lnTo>
                  <a:pt x="2233271" y="455712"/>
                </a:lnTo>
                <a:lnTo>
                  <a:pt x="2235551" y="454304"/>
                </a:lnTo>
                <a:lnTo>
                  <a:pt x="2232946" y="452031"/>
                </a:lnTo>
                <a:lnTo>
                  <a:pt x="2231535" y="452031"/>
                </a:lnTo>
                <a:lnTo>
                  <a:pt x="2238806" y="450949"/>
                </a:lnTo>
                <a:lnTo>
                  <a:pt x="2243472" y="448350"/>
                </a:lnTo>
                <a:lnTo>
                  <a:pt x="2249332" y="448350"/>
                </a:lnTo>
                <a:lnTo>
                  <a:pt x="2254541" y="449000"/>
                </a:lnTo>
                <a:lnTo>
                  <a:pt x="2258013" y="446617"/>
                </a:lnTo>
                <a:lnTo>
                  <a:pt x="2255409" y="444560"/>
                </a:lnTo>
                <a:lnTo>
                  <a:pt x="2236093" y="441096"/>
                </a:lnTo>
                <a:lnTo>
                  <a:pt x="2231318" y="441096"/>
                </a:lnTo>
                <a:lnTo>
                  <a:pt x="2227737" y="439364"/>
                </a:lnTo>
                <a:lnTo>
                  <a:pt x="2221335" y="440229"/>
                </a:lnTo>
                <a:lnTo>
                  <a:pt x="2216343" y="437631"/>
                </a:lnTo>
                <a:lnTo>
                  <a:pt x="2213413" y="438281"/>
                </a:lnTo>
                <a:lnTo>
                  <a:pt x="2210266" y="436873"/>
                </a:lnTo>
                <a:lnTo>
                  <a:pt x="2205925" y="436873"/>
                </a:lnTo>
                <a:lnTo>
                  <a:pt x="2203864" y="438389"/>
                </a:lnTo>
                <a:lnTo>
                  <a:pt x="2201477" y="437306"/>
                </a:lnTo>
                <a:lnTo>
                  <a:pt x="2198764" y="437306"/>
                </a:lnTo>
                <a:lnTo>
                  <a:pt x="2196919" y="435466"/>
                </a:lnTo>
                <a:lnTo>
                  <a:pt x="2196919" y="430160"/>
                </a:lnTo>
                <a:lnTo>
                  <a:pt x="2200500" y="430810"/>
                </a:lnTo>
                <a:lnTo>
                  <a:pt x="2203212" y="428211"/>
                </a:lnTo>
                <a:lnTo>
                  <a:pt x="2205925" y="429944"/>
                </a:lnTo>
                <a:lnTo>
                  <a:pt x="2208638" y="428861"/>
                </a:lnTo>
                <a:lnTo>
                  <a:pt x="2206793" y="426263"/>
                </a:lnTo>
                <a:lnTo>
                  <a:pt x="2208205" y="423122"/>
                </a:lnTo>
                <a:lnTo>
                  <a:pt x="2210809" y="421066"/>
                </a:lnTo>
                <a:lnTo>
                  <a:pt x="2215475" y="421066"/>
                </a:lnTo>
                <a:lnTo>
                  <a:pt x="2217754" y="419982"/>
                </a:lnTo>
                <a:lnTo>
                  <a:pt x="2217754" y="424097"/>
                </a:lnTo>
                <a:lnTo>
                  <a:pt x="2220141" y="425505"/>
                </a:lnTo>
                <a:lnTo>
                  <a:pt x="2220141" y="432001"/>
                </a:lnTo>
                <a:lnTo>
                  <a:pt x="2221877" y="432976"/>
                </a:lnTo>
                <a:lnTo>
                  <a:pt x="2223939" y="430377"/>
                </a:lnTo>
                <a:lnTo>
                  <a:pt x="2223288" y="425721"/>
                </a:lnTo>
                <a:lnTo>
                  <a:pt x="2220901" y="422473"/>
                </a:lnTo>
                <a:lnTo>
                  <a:pt x="2222420" y="418575"/>
                </a:lnTo>
                <a:lnTo>
                  <a:pt x="2227412" y="416843"/>
                </a:lnTo>
                <a:lnTo>
                  <a:pt x="2227412" y="414244"/>
                </a:lnTo>
                <a:lnTo>
                  <a:pt x="2223397" y="412728"/>
                </a:lnTo>
                <a:lnTo>
                  <a:pt x="2224807" y="406557"/>
                </a:lnTo>
                <a:lnTo>
                  <a:pt x="2229473" y="404825"/>
                </a:lnTo>
                <a:lnTo>
                  <a:pt x="2230450" y="401901"/>
                </a:lnTo>
                <a:lnTo>
                  <a:pt x="2235225" y="400386"/>
                </a:lnTo>
                <a:lnTo>
                  <a:pt x="2232621" y="397138"/>
                </a:lnTo>
                <a:lnTo>
                  <a:pt x="2230233" y="397138"/>
                </a:lnTo>
                <a:lnTo>
                  <a:pt x="2227846" y="396272"/>
                </a:lnTo>
                <a:lnTo>
                  <a:pt x="2228497" y="393564"/>
                </a:lnTo>
                <a:lnTo>
                  <a:pt x="2232838" y="389884"/>
                </a:lnTo>
                <a:lnTo>
                  <a:pt x="2233923" y="387935"/>
                </a:lnTo>
                <a:lnTo>
                  <a:pt x="2239240" y="387935"/>
                </a:lnTo>
                <a:lnTo>
                  <a:pt x="2241302" y="389559"/>
                </a:lnTo>
                <a:lnTo>
                  <a:pt x="2241953" y="393673"/>
                </a:lnTo>
                <a:lnTo>
                  <a:pt x="2244232" y="395946"/>
                </a:lnTo>
                <a:lnTo>
                  <a:pt x="2244232" y="399736"/>
                </a:lnTo>
                <a:lnTo>
                  <a:pt x="2243038" y="401468"/>
                </a:lnTo>
                <a:lnTo>
                  <a:pt x="2244232" y="404933"/>
                </a:lnTo>
                <a:lnTo>
                  <a:pt x="2246945" y="408074"/>
                </a:lnTo>
                <a:lnTo>
                  <a:pt x="2248355" y="421066"/>
                </a:lnTo>
                <a:lnTo>
                  <a:pt x="2247270" y="425288"/>
                </a:lnTo>
                <a:lnTo>
                  <a:pt x="2247270" y="427670"/>
                </a:lnTo>
                <a:lnTo>
                  <a:pt x="2251393" y="430269"/>
                </a:lnTo>
                <a:lnTo>
                  <a:pt x="2256168" y="426696"/>
                </a:lnTo>
                <a:lnTo>
                  <a:pt x="2253890" y="423447"/>
                </a:lnTo>
                <a:lnTo>
                  <a:pt x="2255192" y="416410"/>
                </a:lnTo>
                <a:lnTo>
                  <a:pt x="2259098" y="415543"/>
                </a:lnTo>
                <a:lnTo>
                  <a:pt x="2259098" y="411754"/>
                </a:lnTo>
                <a:lnTo>
                  <a:pt x="2251720" y="406666"/>
                </a:lnTo>
                <a:lnTo>
                  <a:pt x="2252696" y="404500"/>
                </a:lnTo>
                <a:lnTo>
                  <a:pt x="2256386" y="404500"/>
                </a:lnTo>
                <a:lnTo>
                  <a:pt x="2260617" y="406991"/>
                </a:lnTo>
                <a:lnTo>
                  <a:pt x="2259749" y="403525"/>
                </a:lnTo>
                <a:lnTo>
                  <a:pt x="2255409" y="398762"/>
                </a:lnTo>
                <a:lnTo>
                  <a:pt x="2254106" y="392807"/>
                </a:lnTo>
                <a:lnTo>
                  <a:pt x="2255192" y="390209"/>
                </a:lnTo>
                <a:lnTo>
                  <a:pt x="2255192" y="383929"/>
                </a:lnTo>
                <a:lnTo>
                  <a:pt x="2257904" y="381980"/>
                </a:lnTo>
                <a:lnTo>
                  <a:pt x="2261920" y="381980"/>
                </a:lnTo>
                <a:lnTo>
                  <a:pt x="2263656" y="379598"/>
                </a:lnTo>
                <a:lnTo>
                  <a:pt x="2267780" y="379598"/>
                </a:lnTo>
                <a:cubicBezTo>
                  <a:pt x="2269388" y="378532"/>
                  <a:pt x="2271054" y="377555"/>
                  <a:pt x="2272771" y="376674"/>
                </a:cubicBezTo>
                <a:close/>
                <a:moveTo>
                  <a:pt x="3644531" y="376456"/>
                </a:moveTo>
                <a:lnTo>
                  <a:pt x="3647895" y="379813"/>
                </a:lnTo>
                <a:lnTo>
                  <a:pt x="3647678" y="385118"/>
                </a:lnTo>
                <a:lnTo>
                  <a:pt x="3644422" y="388799"/>
                </a:lnTo>
                <a:lnTo>
                  <a:pt x="3638671" y="388366"/>
                </a:lnTo>
                <a:lnTo>
                  <a:pt x="3637043" y="390315"/>
                </a:lnTo>
                <a:lnTo>
                  <a:pt x="3635198" y="390423"/>
                </a:lnTo>
                <a:lnTo>
                  <a:pt x="3634873" y="386201"/>
                </a:lnTo>
                <a:lnTo>
                  <a:pt x="3636718" y="379705"/>
                </a:lnTo>
                <a:close/>
                <a:moveTo>
                  <a:pt x="6889177" y="374293"/>
                </a:moveTo>
                <a:lnTo>
                  <a:pt x="6894929" y="375916"/>
                </a:lnTo>
                <a:lnTo>
                  <a:pt x="6893301" y="378515"/>
                </a:lnTo>
                <a:lnTo>
                  <a:pt x="6890371" y="378948"/>
                </a:lnTo>
                <a:lnTo>
                  <a:pt x="6887984" y="376566"/>
                </a:lnTo>
                <a:close/>
                <a:moveTo>
                  <a:pt x="4347719" y="373751"/>
                </a:moveTo>
                <a:lnTo>
                  <a:pt x="4350866" y="375592"/>
                </a:lnTo>
                <a:lnTo>
                  <a:pt x="4352385" y="379382"/>
                </a:lnTo>
                <a:lnTo>
                  <a:pt x="4350432" y="381655"/>
                </a:lnTo>
                <a:lnTo>
                  <a:pt x="4347611" y="381546"/>
                </a:lnTo>
                <a:lnTo>
                  <a:pt x="4345224" y="377216"/>
                </a:lnTo>
                <a:lnTo>
                  <a:pt x="4345874" y="374835"/>
                </a:lnTo>
                <a:close/>
                <a:moveTo>
                  <a:pt x="4207081" y="371802"/>
                </a:moveTo>
                <a:lnTo>
                  <a:pt x="4209577" y="372777"/>
                </a:lnTo>
                <a:lnTo>
                  <a:pt x="4211856" y="376674"/>
                </a:lnTo>
                <a:lnTo>
                  <a:pt x="4211530" y="379165"/>
                </a:lnTo>
                <a:lnTo>
                  <a:pt x="4209685" y="381330"/>
                </a:lnTo>
                <a:lnTo>
                  <a:pt x="4208167" y="381655"/>
                </a:lnTo>
                <a:lnTo>
                  <a:pt x="4204260" y="379165"/>
                </a:lnTo>
                <a:lnTo>
                  <a:pt x="4203500" y="376891"/>
                </a:lnTo>
                <a:lnTo>
                  <a:pt x="4204260" y="373969"/>
                </a:lnTo>
                <a:close/>
                <a:moveTo>
                  <a:pt x="2356005" y="371584"/>
                </a:moveTo>
                <a:lnTo>
                  <a:pt x="2361105" y="374183"/>
                </a:lnTo>
                <a:lnTo>
                  <a:pt x="2365771" y="374183"/>
                </a:lnTo>
                <a:lnTo>
                  <a:pt x="2369786" y="378513"/>
                </a:lnTo>
                <a:lnTo>
                  <a:pt x="2377491" y="381004"/>
                </a:lnTo>
                <a:lnTo>
                  <a:pt x="2378250" y="383927"/>
                </a:lnTo>
                <a:lnTo>
                  <a:pt x="2378359" y="388258"/>
                </a:lnTo>
                <a:lnTo>
                  <a:pt x="2380746" y="390640"/>
                </a:lnTo>
                <a:lnTo>
                  <a:pt x="2385955" y="390965"/>
                </a:lnTo>
                <a:lnTo>
                  <a:pt x="2388017" y="388583"/>
                </a:lnTo>
                <a:lnTo>
                  <a:pt x="2391489" y="392697"/>
                </a:lnTo>
                <a:lnTo>
                  <a:pt x="2390079" y="394105"/>
                </a:lnTo>
                <a:lnTo>
                  <a:pt x="2389862" y="404607"/>
                </a:lnTo>
                <a:lnTo>
                  <a:pt x="2392140" y="409262"/>
                </a:lnTo>
                <a:lnTo>
                  <a:pt x="2391272" y="412186"/>
                </a:lnTo>
                <a:lnTo>
                  <a:pt x="2381506" y="421388"/>
                </a:lnTo>
                <a:lnTo>
                  <a:pt x="2378901" y="422471"/>
                </a:lnTo>
                <a:lnTo>
                  <a:pt x="2375646" y="426803"/>
                </a:lnTo>
                <a:lnTo>
                  <a:pt x="2375755" y="430051"/>
                </a:lnTo>
                <a:lnTo>
                  <a:pt x="2379227" y="427994"/>
                </a:lnTo>
                <a:lnTo>
                  <a:pt x="2380421" y="424313"/>
                </a:lnTo>
                <a:lnTo>
                  <a:pt x="2387041" y="420956"/>
                </a:lnTo>
                <a:lnTo>
                  <a:pt x="2391815" y="413702"/>
                </a:lnTo>
                <a:lnTo>
                  <a:pt x="2394745" y="417491"/>
                </a:lnTo>
                <a:lnTo>
                  <a:pt x="2398000" y="416841"/>
                </a:lnTo>
                <a:lnTo>
                  <a:pt x="2402124" y="419873"/>
                </a:lnTo>
                <a:lnTo>
                  <a:pt x="2406464" y="419873"/>
                </a:lnTo>
                <a:lnTo>
                  <a:pt x="2411782" y="416624"/>
                </a:lnTo>
                <a:lnTo>
                  <a:pt x="2416557" y="416409"/>
                </a:lnTo>
                <a:lnTo>
                  <a:pt x="2417859" y="417491"/>
                </a:lnTo>
                <a:lnTo>
                  <a:pt x="2421766" y="417274"/>
                </a:lnTo>
                <a:lnTo>
                  <a:pt x="2427083" y="424205"/>
                </a:lnTo>
                <a:lnTo>
                  <a:pt x="2429036" y="431892"/>
                </a:lnTo>
                <a:lnTo>
                  <a:pt x="2427300" y="435248"/>
                </a:lnTo>
                <a:lnTo>
                  <a:pt x="2424587" y="434814"/>
                </a:lnTo>
                <a:lnTo>
                  <a:pt x="2423502" y="430700"/>
                </a:lnTo>
                <a:lnTo>
                  <a:pt x="2420246" y="430700"/>
                </a:lnTo>
                <a:lnTo>
                  <a:pt x="2416991" y="426803"/>
                </a:lnTo>
                <a:lnTo>
                  <a:pt x="2413518" y="425612"/>
                </a:lnTo>
                <a:lnTo>
                  <a:pt x="2411999" y="428318"/>
                </a:lnTo>
                <a:lnTo>
                  <a:pt x="2414061" y="430700"/>
                </a:lnTo>
                <a:lnTo>
                  <a:pt x="2416231" y="430916"/>
                </a:lnTo>
                <a:lnTo>
                  <a:pt x="2420572" y="435248"/>
                </a:lnTo>
                <a:lnTo>
                  <a:pt x="2421657" y="439361"/>
                </a:lnTo>
                <a:lnTo>
                  <a:pt x="2424587" y="438821"/>
                </a:lnTo>
                <a:lnTo>
                  <a:pt x="2428710" y="443259"/>
                </a:lnTo>
                <a:lnTo>
                  <a:pt x="2438260" y="450514"/>
                </a:lnTo>
                <a:lnTo>
                  <a:pt x="2439888" y="455818"/>
                </a:lnTo>
                <a:lnTo>
                  <a:pt x="2438151" y="459825"/>
                </a:lnTo>
                <a:lnTo>
                  <a:pt x="2433160" y="459825"/>
                </a:lnTo>
                <a:lnTo>
                  <a:pt x="2425781" y="458093"/>
                </a:lnTo>
                <a:lnTo>
                  <a:pt x="2422959" y="454736"/>
                </a:lnTo>
                <a:lnTo>
                  <a:pt x="2420572" y="457551"/>
                </a:lnTo>
                <a:lnTo>
                  <a:pt x="2416557" y="453545"/>
                </a:lnTo>
                <a:lnTo>
                  <a:pt x="2410914" y="452030"/>
                </a:lnTo>
                <a:lnTo>
                  <a:pt x="2406248" y="447265"/>
                </a:lnTo>
                <a:lnTo>
                  <a:pt x="2404077" y="442610"/>
                </a:lnTo>
                <a:lnTo>
                  <a:pt x="2401581" y="442610"/>
                </a:lnTo>
                <a:lnTo>
                  <a:pt x="2401148" y="445641"/>
                </a:lnTo>
                <a:lnTo>
                  <a:pt x="2398543" y="446400"/>
                </a:lnTo>
                <a:lnTo>
                  <a:pt x="2403209" y="448890"/>
                </a:lnTo>
                <a:lnTo>
                  <a:pt x="2408852" y="454736"/>
                </a:lnTo>
                <a:lnTo>
                  <a:pt x="2406464" y="456360"/>
                </a:lnTo>
                <a:lnTo>
                  <a:pt x="2410805" y="456901"/>
                </a:lnTo>
                <a:lnTo>
                  <a:pt x="2414929" y="461449"/>
                </a:lnTo>
                <a:lnTo>
                  <a:pt x="2415580" y="464264"/>
                </a:lnTo>
                <a:lnTo>
                  <a:pt x="2409069" y="464264"/>
                </a:lnTo>
                <a:lnTo>
                  <a:pt x="2405054" y="460150"/>
                </a:lnTo>
                <a:lnTo>
                  <a:pt x="2401907" y="459933"/>
                </a:lnTo>
                <a:lnTo>
                  <a:pt x="2400930" y="463506"/>
                </a:lnTo>
                <a:lnTo>
                  <a:pt x="2398651" y="467296"/>
                </a:lnTo>
                <a:lnTo>
                  <a:pt x="2395830" y="468920"/>
                </a:lnTo>
                <a:lnTo>
                  <a:pt x="2395830" y="471301"/>
                </a:lnTo>
                <a:lnTo>
                  <a:pt x="2401473" y="470219"/>
                </a:lnTo>
                <a:lnTo>
                  <a:pt x="2404403" y="467296"/>
                </a:lnTo>
                <a:lnTo>
                  <a:pt x="2408201" y="467296"/>
                </a:lnTo>
                <a:lnTo>
                  <a:pt x="2408852" y="469569"/>
                </a:lnTo>
                <a:lnTo>
                  <a:pt x="2406248" y="471627"/>
                </a:lnTo>
                <a:lnTo>
                  <a:pt x="2410371" y="471518"/>
                </a:lnTo>
                <a:lnTo>
                  <a:pt x="2412107" y="470111"/>
                </a:lnTo>
                <a:lnTo>
                  <a:pt x="2416231" y="471301"/>
                </a:lnTo>
                <a:lnTo>
                  <a:pt x="2419595" y="469894"/>
                </a:lnTo>
                <a:lnTo>
                  <a:pt x="2420029" y="473467"/>
                </a:lnTo>
                <a:lnTo>
                  <a:pt x="2417641" y="478881"/>
                </a:lnTo>
                <a:lnTo>
                  <a:pt x="2414061" y="480396"/>
                </a:lnTo>
                <a:lnTo>
                  <a:pt x="2414061" y="482995"/>
                </a:lnTo>
                <a:lnTo>
                  <a:pt x="2419595" y="480722"/>
                </a:lnTo>
                <a:lnTo>
                  <a:pt x="2422851" y="484186"/>
                </a:lnTo>
                <a:lnTo>
                  <a:pt x="2420029" y="491224"/>
                </a:lnTo>
                <a:lnTo>
                  <a:pt x="2420029" y="494363"/>
                </a:lnTo>
                <a:lnTo>
                  <a:pt x="2418185" y="498153"/>
                </a:lnTo>
                <a:lnTo>
                  <a:pt x="2420029" y="502376"/>
                </a:lnTo>
                <a:lnTo>
                  <a:pt x="2423176" y="502268"/>
                </a:lnTo>
                <a:lnTo>
                  <a:pt x="2422634" y="496529"/>
                </a:lnTo>
                <a:lnTo>
                  <a:pt x="2427517" y="491007"/>
                </a:lnTo>
                <a:lnTo>
                  <a:pt x="2432617" y="489708"/>
                </a:lnTo>
                <a:lnTo>
                  <a:pt x="2432834" y="494797"/>
                </a:lnTo>
                <a:lnTo>
                  <a:pt x="2433377" y="497070"/>
                </a:lnTo>
                <a:lnTo>
                  <a:pt x="2431966" y="501401"/>
                </a:lnTo>
                <a:lnTo>
                  <a:pt x="2435222" y="501401"/>
                </a:lnTo>
                <a:lnTo>
                  <a:pt x="2437935" y="499344"/>
                </a:lnTo>
                <a:lnTo>
                  <a:pt x="2442492" y="500534"/>
                </a:lnTo>
                <a:lnTo>
                  <a:pt x="2442926" y="503459"/>
                </a:lnTo>
                <a:lnTo>
                  <a:pt x="2441298" y="506381"/>
                </a:lnTo>
                <a:lnTo>
                  <a:pt x="2445205" y="507681"/>
                </a:lnTo>
                <a:lnTo>
                  <a:pt x="2446399" y="504974"/>
                </a:lnTo>
                <a:lnTo>
                  <a:pt x="2445422" y="501726"/>
                </a:lnTo>
                <a:lnTo>
                  <a:pt x="2451065" y="498477"/>
                </a:lnTo>
                <a:lnTo>
                  <a:pt x="2452584" y="500968"/>
                </a:lnTo>
                <a:lnTo>
                  <a:pt x="2452150" y="504000"/>
                </a:lnTo>
                <a:lnTo>
                  <a:pt x="2457142" y="509629"/>
                </a:lnTo>
                <a:lnTo>
                  <a:pt x="2456925" y="513203"/>
                </a:lnTo>
                <a:lnTo>
                  <a:pt x="2451933" y="515152"/>
                </a:lnTo>
                <a:lnTo>
                  <a:pt x="2454646" y="516667"/>
                </a:lnTo>
                <a:lnTo>
                  <a:pt x="2460940" y="515152"/>
                </a:lnTo>
                <a:lnTo>
                  <a:pt x="2464196" y="516018"/>
                </a:lnTo>
                <a:lnTo>
                  <a:pt x="2466040" y="519049"/>
                </a:lnTo>
                <a:lnTo>
                  <a:pt x="2471032" y="520132"/>
                </a:lnTo>
                <a:lnTo>
                  <a:pt x="2467234" y="516884"/>
                </a:lnTo>
                <a:lnTo>
                  <a:pt x="2467451" y="513203"/>
                </a:lnTo>
                <a:lnTo>
                  <a:pt x="2464196" y="509954"/>
                </a:lnTo>
                <a:lnTo>
                  <a:pt x="2465497" y="508546"/>
                </a:lnTo>
                <a:lnTo>
                  <a:pt x="2475915" y="510171"/>
                </a:lnTo>
                <a:lnTo>
                  <a:pt x="2480365" y="508763"/>
                </a:lnTo>
                <a:lnTo>
                  <a:pt x="2482426" y="510820"/>
                </a:lnTo>
                <a:lnTo>
                  <a:pt x="2482426" y="513960"/>
                </a:lnTo>
                <a:lnTo>
                  <a:pt x="2484379" y="512228"/>
                </a:lnTo>
                <a:lnTo>
                  <a:pt x="2484162" y="509305"/>
                </a:lnTo>
                <a:lnTo>
                  <a:pt x="2489697" y="508439"/>
                </a:lnTo>
                <a:lnTo>
                  <a:pt x="2494146" y="506706"/>
                </a:lnTo>
                <a:lnTo>
                  <a:pt x="2497944" y="509089"/>
                </a:lnTo>
                <a:lnTo>
                  <a:pt x="2500331" y="512012"/>
                </a:lnTo>
                <a:lnTo>
                  <a:pt x="2502285" y="507572"/>
                </a:lnTo>
                <a:lnTo>
                  <a:pt x="2507602" y="507356"/>
                </a:lnTo>
                <a:lnTo>
                  <a:pt x="2510207" y="506165"/>
                </a:lnTo>
                <a:lnTo>
                  <a:pt x="2513462" y="506489"/>
                </a:lnTo>
                <a:lnTo>
                  <a:pt x="2517694" y="503783"/>
                </a:lnTo>
                <a:lnTo>
                  <a:pt x="2520299" y="505191"/>
                </a:lnTo>
                <a:lnTo>
                  <a:pt x="2521492" y="508763"/>
                </a:lnTo>
                <a:lnTo>
                  <a:pt x="2529631" y="514393"/>
                </a:lnTo>
                <a:lnTo>
                  <a:pt x="2536901" y="512336"/>
                </a:lnTo>
                <a:lnTo>
                  <a:pt x="2543087" y="512336"/>
                </a:lnTo>
                <a:lnTo>
                  <a:pt x="2546668" y="510171"/>
                </a:lnTo>
                <a:lnTo>
                  <a:pt x="2550467" y="510171"/>
                </a:lnTo>
                <a:lnTo>
                  <a:pt x="2558063" y="516343"/>
                </a:lnTo>
                <a:lnTo>
                  <a:pt x="2559582" y="520673"/>
                </a:lnTo>
                <a:lnTo>
                  <a:pt x="2557194" y="521648"/>
                </a:lnTo>
                <a:lnTo>
                  <a:pt x="2556651" y="524462"/>
                </a:lnTo>
                <a:lnTo>
                  <a:pt x="2558605" y="527278"/>
                </a:lnTo>
                <a:lnTo>
                  <a:pt x="2567829" y="527169"/>
                </a:lnTo>
                <a:lnTo>
                  <a:pt x="2572061" y="529876"/>
                </a:lnTo>
                <a:lnTo>
                  <a:pt x="2571627" y="534315"/>
                </a:lnTo>
                <a:lnTo>
                  <a:pt x="2568914" y="535398"/>
                </a:lnTo>
                <a:lnTo>
                  <a:pt x="2567178" y="539187"/>
                </a:lnTo>
                <a:lnTo>
                  <a:pt x="2571627" y="538213"/>
                </a:lnTo>
                <a:lnTo>
                  <a:pt x="2577378" y="539729"/>
                </a:lnTo>
                <a:lnTo>
                  <a:pt x="2576619" y="541894"/>
                </a:lnTo>
                <a:lnTo>
                  <a:pt x="2573906" y="542652"/>
                </a:lnTo>
                <a:lnTo>
                  <a:pt x="2574991" y="545576"/>
                </a:lnTo>
                <a:lnTo>
                  <a:pt x="2572495" y="550231"/>
                </a:lnTo>
                <a:lnTo>
                  <a:pt x="2573255" y="552938"/>
                </a:lnTo>
                <a:lnTo>
                  <a:pt x="2570650" y="557377"/>
                </a:lnTo>
                <a:lnTo>
                  <a:pt x="2567720" y="557918"/>
                </a:lnTo>
                <a:lnTo>
                  <a:pt x="2565116" y="555537"/>
                </a:lnTo>
                <a:lnTo>
                  <a:pt x="2562403" y="559650"/>
                </a:lnTo>
                <a:lnTo>
                  <a:pt x="2557411" y="561383"/>
                </a:lnTo>
                <a:lnTo>
                  <a:pt x="2554481" y="560192"/>
                </a:lnTo>
                <a:lnTo>
                  <a:pt x="2552203" y="561599"/>
                </a:lnTo>
                <a:lnTo>
                  <a:pt x="2553396" y="565497"/>
                </a:lnTo>
                <a:lnTo>
                  <a:pt x="2558931" y="565173"/>
                </a:lnTo>
                <a:lnTo>
                  <a:pt x="2564139" y="563440"/>
                </a:lnTo>
                <a:lnTo>
                  <a:pt x="2567069" y="565605"/>
                </a:lnTo>
                <a:lnTo>
                  <a:pt x="2566527" y="568745"/>
                </a:lnTo>
                <a:lnTo>
                  <a:pt x="2567829" y="573942"/>
                </a:lnTo>
                <a:lnTo>
                  <a:pt x="2567069" y="576541"/>
                </a:lnTo>
                <a:lnTo>
                  <a:pt x="2564791" y="575242"/>
                </a:lnTo>
                <a:lnTo>
                  <a:pt x="2561644" y="575999"/>
                </a:lnTo>
                <a:lnTo>
                  <a:pt x="2558714" y="575458"/>
                </a:lnTo>
                <a:lnTo>
                  <a:pt x="2556651" y="578706"/>
                </a:lnTo>
                <a:lnTo>
                  <a:pt x="2552745" y="573077"/>
                </a:lnTo>
                <a:lnTo>
                  <a:pt x="2552853" y="570153"/>
                </a:lnTo>
                <a:lnTo>
                  <a:pt x="2550141" y="567230"/>
                </a:lnTo>
                <a:lnTo>
                  <a:pt x="2550141" y="572535"/>
                </a:lnTo>
                <a:lnTo>
                  <a:pt x="2552528" y="577732"/>
                </a:lnTo>
                <a:lnTo>
                  <a:pt x="2552420" y="580439"/>
                </a:lnTo>
                <a:lnTo>
                  <a:pt x="2549490" y="580656"/>
                </a:lnTo>
                <a:lnTo>
                  <a:pt x="2546342" y="586610"/>
                </a:lnTo>
                <a:lnTo>
                  <a:pt x="2546560" y="588992"/>
                </a:lnTo>
                <a:lnTo>
                  <a:pt x="2543847" y="591482"/>
                </a:lnTo>
                <a:lnTo>
                  <a:pt x="2541134" y="589966"/>
                </a:lnTo>
                <a:lnTo>
                  <a:pt x="2536901" y="590508"/>
                </a:lnTo>
                <a:lnTo>
                  <a:pt x="2529631" y="587043"/>
                </a:lnTo>
                <a:lnTo>
                  <a:pt x="2525507" y="587476"/>
                </a:lnTo>
                <a:lnTo>
                  <a:pt x="2517151" y="592998"/>
                </a:lnTo>
                <a:lnTo>
                  <a:pt x="2512703" y="592782"/>
                </a:lnTo>
                <a:lnTo>
                  <a:pt x="2511835" y="590832"/>
                </a:lnTo>
                <a:lnTo>
                  <a:pt x="2507385" y="590832"/>
                </a:lnTo>
                <a:lnTo>
                  <a:pt x="2506517" y="586068"/>
                </a:lnTo>
                <a:lnTo>
                  <a:pt x="2501851" y="588125"/>
                </a:lnTo>
                <a:lnTo>
                  <a:pt x="2497076" y="586610"/>
                </a:lnTo>
                <a:lnTo>
                  <a:pt x="2496208" y="576649"/>
                </a:lnTo>
                <a:lnTo>
                  <a:pt x="2498595" y="570261"/>
                </a:lnTo>
                <a:lnTo>
                  <a:pt x="2502068" y="567230"/>
                </a:lnTo>
                <a:lnTo>
                  <a:pt x="2501742" y="564847"/>
                </a:lnTo>
                <a:lnTo>
                  <a:pt x="2498921" y="564306"/>
                </a:lnTo>
                <a:lnTo>
                  <a:pt x="2498595" y="558568"/>
                </a:lnTo>
                <a:lnTo>
                  <a:pt x="2496751" y="557918"/>
                </a:lnTo>
                <a:lnTo>
                  <a:pt x="2494688" y="561925"/>
                </a:lnTo>
                <a:lnTo>
                  <a:pt x="2496859" y="566580"/>
                </a:lnTo>
                <a:lnTo>
                  <a:pt x="2495231" y="569611"/>
                </a:lnTo>
                <a:lnTo>
                  <a:pt x="2490674" y="573726"/>
                </a:lnTo>
                <a:lnTo>
                  <a:pt x="2490674" y="578706"/>
                </a:lnTo>
                <a:lnTo>
                  <a:pt x="2487418" y="580656"/>
                </a:lnTo>
                <a:lnTo>
                  <a:pt x="2481884" y="582171"/>
                </a:lnTo>
                <a:lnTo>
                  <a:pt x="2480690" y="579464"/>
                </a:lnTo>
                <a:lnTo>
                  <a:pt x="2477543" y="580439"/>
                </a:lnTo>
                <a:lnTo>
                  <a:pt x="2473528" y="581954"/>
                </a:lnTo>
                <a:lnTo>
                  <a:pt x="2466909" y="578166"/>
                </a:lnTo>
                <a:lnTo>
                  <a:pt x="2462459" y="578057"/>
                </a:lnTo>
                <a:lnTo>
                  <a:pt x="2461591" y="574809"/>
                </a:lnTo>
                <a:lnTo>
                  <a:pt x="2462785" y="564956"/>
                </a:lnTo>
                <a:lnTo>
                  <a:pt x="2460940" y="567771"/>
                </a:lnTo>
                <a:lnTo>
                  <a:pt x="2458987" y="574268"/>
                </a:lnTo>
                <a:lnTo>
                  <a:pt x="2453452" y="575242"/>
                </a:lnTo>
                <a:lnTo>
                  <a:pt x="2453452" y="571884"/>
                </a:lnTo>
                <a:lnTo>
                  <a:pt x="2455515" y="568962"/>
                </a:lnTo>
                <a:lnTo>
                  <a:pt x="2454863" y="565173"/>
                </a:lnTo>
                <a:lnTo>
                  <a:pt x="2451608" y="572318"/>
                </a:lnTo>
                <a:lnTo>
                  <a:pt x="2447918" y="574917"/>
                </a:lnTo>
                <a:lnTo>
                  <a:pt x="2441733" y="574809"/>
                </a:lnTo>
                <a:lnTo>
                  <a:pt x="2441624" y="571019"/>
                </a:lnTo>
                <a:lnTo>
                  <a:pt x="2443794" y="569070"/>
                </a:lnTo>
                <a:lnTo>
                  <a:pt x="2444011" y="566364"/>
                </a:lnTo>
                <a:lnTo>
                  <a:pt x="2440539" y="566905"/>
                </a:lnTo>
                <a:lnTo>
                  <a:pt x="2439020" y="569395"/>
                </a:lnTo>
                <a:lnTo>
                  <a:pt x="2437826" y="574051"/>
                </a:lnTo>
                <a:lnTo>
                  <a:pt x="2434570" y="574268"/>
                </a:lnTo>
                <a:lnTo>
                  <a:pt x="2433485" y="569286"/>
                </a:lnTo>
                <a:lnTo>
                  <a:pt x="2434679" y="565173"/>
                </a:lnTo>
                <a:lnTo>
                  <a:pt x="2433485" y="561707"/>
                </a:lnTo>
                <a:lnTo>
                  <a:pt x="2430555" y="565822"/>
                </a:lnTo>
                <a:lnTo>
                  <a:pt x="2430772" y="569611"/>
                </a:lnTo>
                <a:lnTo>
                  <a:pt x="2431749" y="572318"/>
                </a:lnTo>
                <a:lnTo>
                  <a:pt x="2428819" y="574268"/>
                </a:lnTo>
                <a:lnTo>
                  <a:pt x="2425564" y="571884"/>
                </a:lnTo>
                <a:lnTo>
                  <a:pt x="2422091" y="570802"/>
                </a:lnTo>
                <a:lnTo>
                  <a:pt x="2421657" y="568420"/>
                </a:lnTo>
                <a:lnTo>
                  <a:pt x="2423176" y="566148"/>
                </a:lnTo>
                <a:lnTo>
                  <a:pt x="2418293" y="565605"/>
                </a:lnTo>
                <a:lnTo>
                  <a:pt x="2416991" y="569070"/>
                </a:lnTo>
                <a:lnTo>
                  <a:pt x="2411999" y="568637"/>
                </a:lnTo>
                <a:lnTo>
                  <a:pt x="2410589" y="567013"/>
                </a:lnTo>
                <a:lnTo>
                  <a:pt x="2406464" y="567338"/>
                </a:lnTo>
                <a:lnTo>
                  <a:pt x="2402449" y="564090"/>
                </a:lnTo>
                <a:lnTo>
                  <a:pt x="2397350" y="562358"/>
                </a:lnTo>
                <a:lnTo>
                  <a:pt x="2397458" y="558785"/>
                </a:lnTo>
                <a:lnTo>
                  <a:pt x="2400279" y="555861"/>
                </a:lnTo>
                <a:lnTo>
                  <a:pt x="2406464" y="547741"/>
                </a:lnTo>
                <a:lnTo>
                  <a:pt x="2407659" y="542652"/>
                </a:lnTo>
                <a:lnTo>
                  <a:pt x="2406248" y="540378"/>
                </a:lnTo>
                <a:lnTo>
                  <a:pt x="2403535" y="541570"/>
                </a:lnTo>
                <a:lnTo>
                  <a:pt x="2400713" y="548499"/>
                </a:lnTo>
                <a:lnTo>
                  <a:pt x="2398326" y="549473"/>
                </a:lnTo>
                <a:lnTo>
                  <a:pt x="2398000" y="545684"/>
                </a:lnTo>
                <a:lnTo>
                  <a:pt x="2399086" y="544168"/>
                </a:lnTo>
                <a:lnTo>
                  <a:pt x="2398218" y="541461"/>
                </a:lnTo>
                <a:lnTo>
                  <a:pt x="2396155" y="543519"/>
                </a:lnTo>
                <a:lnTo>
                  <a:pt x="2393334" y="543627"/>
                </a:lnTo>
                <a:lnTo>
                  <a:pt x="2393660" y="549148"/>
                </a:lnTo>
                <a:lnTo>
                  <a:pt x="2388126" y="551206"/>
                </a:lnTo>
                <a:lnTo>
                  <a:pt x="2385413" y="553804"/>
                </a:lnTo>
                <a:lnTo>
                  <a:pt x="2379553" y="553154"/>
                </a:lnTo>
                <a:lnTo>
                  <a:pt x="2378359" y="551206"/>
                </a:lnTo>
                <a:lnTo>
                  <a:pt x="2373910" y="552613"/>
                </a:lnTo>
                <a:lnTo>
                  <a:pt x="2369352" y="547091"/>
                </a:lnTo>
                <a:lnTo>
                  <a:pt x="2368918" y="544492"/>
                </a:lnTo>
                <a:lnTo>
                  <a:pt x="2367182" y="542327"/>
                </a:lnTo>
                <a:lnTo>
                  <a:pt x="2367832" y="540054"/>
                </a:lnTo>
                <a:lnTo>
                  <a:pt x="2371957" y="538971"/>
                </a:lnTo>
                <a:lnTo>
                  <a:pt x="2374452" y="532799"/>
                </a:lnTo>
                <a:lnTo>
                  <a:pt x="2372825" y="530958"/>
                </a:lnTo>
                <a:lnTo>
                  <a:pt x="2368592" y="536589"/>
                </a:lnTo>
                <a:lnTo>
                  <a:pt x="2366422" y="536805"/>
                </a:lnTo>
                <a:lnTo>
                  <a:pt x="2364251" y="535073"/>
                </a:lnTo>
                <a:lnTo>
                  <a:pt x="2362733" y="537455"/>
                </a:lnTo>
                <a:lnTo>
                  <a:pt x="2362190" y="541787"/>
                </a:lnTo>
                <a:lnTo>
                  <a:pt x="2359585" y="542327"/>
                </a:lnTo>
                <a:lnTo>
                  <a:pt x="2355787" y="538862"/>
                </a:lnTo>
                <a:lnTo>
                  <a:pt x="2355787" y="535723"/>
                </a:lnTo>
                <a:lnTo>
                  <a:pt x="2352857" y="534857"/>
                </a:lnTo>
                <a:lnTo>
                  <a:pt x="2350796" y="529876"/>
                </a:lnTo>
                <a:lnTo>
                  <a:pt x="2351989" y="525654"/>
                </a:lnTo>
                <a:lnTo>
                  <a:pt x="2355462" y="521107"/>
                </a:lnTo>
                <a:lnTo>
                  <a:pt x="2353183" y="518940"/>
                </a:lnTo>
                <a:lnTo>
                  <a:pt x="2354051" y="515476"/>
                </a:lnTo>
                <a:lnTo>
                  <a:pt x="2358392" y="513636"/>
                </a:lnTo>
                <a:lnTo>
                  <a:pt x="2358392" y="510495"/>
                </a:lnTo>
                <a:lnTo>
                  <a:pt x="2355137" y="509413"/>
                </a:lnTo>
                <a:lnTo>
                  <a:pt x="2354810" y="504324"/>
                </a:lnTo>
                <a:lnTo>
                  <a:pt x="2357307" y="500318"/>
                </a:lnTo>
                <a:lnTo>
                  <a:pt x="2361539" y="497611"/>
                </a:lnTo>
                <a:lnTo>
                  <a:pt x="2361322" y="494472"/>
                </a:lnTo>
                <a:lnTo>
                  <a:pt x="2366314" y="488300"/>
                </a:lnTo>
                <a:lnTo>
                  <a:pt x="2367182" y="484294"/>
                </a:lnTo>
                <a:lnTo>
                  <a:pt x="2373042" y="482995"/>
                </a:lnTo>
                <a:lnTo>
                  <a:pt x="2379553" y="478339"/>
                </a:lnTo>
                <a:lnTo>
                  <a:pt x="2381506" y="472818"/>
                </a:lnTo>
                <a:lnTo>
                  <a:pt x="2381506" y="469569"/>
                </a:lnTo>
                <a:lnTo>
                  <a:pt x="2383025" y="463939"/>
                </a:lnTo>
                <a:lnTo>
                  <a:pt x="2379878" y="459284"/>
                </a:lnTo>
                <a:lnTo>
                  <a:pt x="2379878" y="455169"/>
                </a:lnTo>
                <a:lnTo>
                  <a:pt x="2381831" y="449323"/>
                </a:lnTo>
                <a:lnTo>
                  <a:pt x="2381831" y="440878"/>
                </a:lnTo>
                <a:lnTo>
                  <a:pt x="2383676" y="436547"/>
                </a:lnTo>
                <a:lnTo>
                  <a:pt x="2382700" y="433515"/>
                </a:lnTo>
                <a:lnTo>
                  <a:pt x="2379444" y="432758"/>
                </a:lnTo>
                <a:lnTo>
                  <a:pt x="2374887" y="435356"/>
                </a:lnTo>
                <a:lnTo>
                  <a:pt x="2373042" y="433515"/>
                </a:lnTo>
                <a:lnTo>
                  <a:pt x="2372716" y="436547"/>
                </a:lnTo>
                <a:lnTo>
                  <a:pt x="2370220" y="436763"/>
                </a:lnTo>
                <a:lnTo>
                  <a:pt x="2363926" y="431567"/>
                </a:lnTo>
                <a:lnTo>
                  <a:pt x="2363166" y="428535"/>
                </a:lnTo>
                <a:lnTo>
                  <a:pt x="2358066" y="427452"/>
                </a:lnTo>
                <a:lnTo>
                  <a:pt x="2357307" y="424313"/>
                </a:lnTo>
                <a:lnTo>
                  <a:pt x="2349711" y="427127"/>
                </a:lnTo>
                <a:lnTo>
                  <a:pt x="2346672" y="424528"/>
                </a:lnTo>
                <a:lnTo>
                  <a:pt x="2340270" y="427127"/>
                </a:lnTo>
                <a:lnTo>
                  <a:pt x="2341680" y="423555"/>
                </a:lnTo>
                <a:lnTo>
                  <a:pt x="2344284" y="421606"/>
                </a:lnTo>
                <a:lnTo>
                  <a:pt x="2344284" y="419223"/>
                </a:lnTo>
                <a:lnTo>
                  <a:pt x="2351664" y="419765"/>
                </a:lnTo>
                <a:lnTo>
                  <a:pt x="2353400" y="421606"/>
                </a:lnTo>
                <a:lnTo>
                  <a:pt x="2353509" y="418357"/>
                </a:lnTo>
                <a:lnTo>
                  <a:pt x="2348951" y="416409"/>
                </a:lnTo>
                <a:lnTo>
                  <a:pt x="2343091" y="408721"/>
                </a:lnTo>
                <a:lnTo>
                  <a:pt x="2343959" y="404066"/>
                </a:lnTo>
                <a:lnTo>
                  <a:pt x="2347866" y="404282"/>
                </a:lnTo>
                <a:lnTo>
                  <a:pt x="2350687" y="401684"/>
                </a:lnTo>
                <a:lnTo>
                  <a:pt x="2346346" y="401684"/>
                </a:lnTo>
                <a:lnTo>
                  <a:pt x="2341897" y="393564"/>
                </a:lnTo>
                <a:lnTo>
                  <a:pt x="2337014" y="391506"/>
                </a:lnTo>
                <a:lnTo>
                  <a:pt x="2335495" y="387067"/>
                </a:lnTo>
                <a:lnTo>
                  <a:pt x="2336472" y="382087"/>
                </a:lnTo>
                <a:lnTo>
                  <a:pt x="2341897" y="389666"/>
                </a:lnTo>
                <a:lnTo>
                  <a:pt x="2345153" y="389774"/>
                </a:lnTo>
                <a:lnTo>
                  <a:pt x="2343091" y="385334"/>
                </a:lnTo>
                <a:lnTo>
                  <a:pt x="2339944" y="381004"/>
                </a:lnTo>
                <a:lnTo>
                  <a:pt x="2341897" y="376781"/>
                </a:lnTo>
                <a:lnTo>
                  <a:pt x="2344284" y="376565"/>
                </a:lnTo>
                <a:lnTo>
                  <a:pt x="2345261" y="374833"/>
                </a:lnTo>
                <a:lnTo>
                  <a:pt x="2353942" y="373858"/>
                </a:lnTo>
                <a:close/>
                <a:moveTo>
                  <a:pt x="2284493" y="368879"/>
                </a:moveTo>
                <a:lnTo>
                  <a:pt x="2286446" y="369095"/>
                </a:lnTo>
                <a:lnTo>
                  <a:pt x="2289376" y="372235"/>
                </a:lnTo>
                <a:lnTo>
                  <a:pt x="2290352" y="376459"/>
                </a:lnTo>
                <a:lnTo>
                  <a:pt x="2287964" y="377432"/>
                </a:lnTo>
                <a:lnTo>
                  <a:pt x="2287096" y="374942"/>
                </a:lnTo>
                <a:lnTo>
                  <a:pt x="2284384" y="371044"/>
                </a:lnTo>
                <a:close/>
                <a:moveTo>
                  <a:pt x="2456057" y="367470"/>
                </a:moveTo>
                <a:lnTo>
                  <a:pt x="2459530" y="367579"/>
                </a:lnTo>
                <a:lnTo>
                  <a:pt x="2461917" y="372450"/>
                </a:lnTo>
                <a:lnTo>
                  <a:pt x="2465607" y="372667"/>
                </a:lnTo>
                <a:lnTo>
                  <a:pt x="2467994" y="376240"/>
                </a:lnTo>
                <a:lnTo>
                  <a:pt x="2467343" y="378297"/>
                </a:lnTo>
                <a:lnTo>
                  <a:pt x="2469296" y="380137"/>
                </a:lnTo>
                <a:lnTo>
                  <a:pt x="2468754" y="382953"/>
                </a:lnTo>
                <a:lnTo>
                  <a:pt x="2463979" y="391072"/>
                </a:lnTo>
                <a:lnTo>
                  <a:pt x="2458662" y="393238"/>
                </a:lnTo>
                <a:lnTo>
                  <a:pt x="2453344" y="393130"/>
                </a:lnTo>
                <a:lnTo>
                  <a:pt x="2450089" y="389665"/>
                </a:lnTo>
                <a:lnTo>
                  <a:pt x="2449980" y="385768"/>
                </a:lnTo>
                <a:lnTo>
                  <a:pt x="2448461" y="380679"/>
                </a:lnTo>
                <a:lnTo>
                  <a:pt x="2450414" y="376023"/>
                </a:lnTo>
                <a:lnTo>
                  <a:pt x="2450957" y="371044"/>
                </a:lnTo>
                <a:close/>
                <a:moveTo>
                  <a:pt x="5506242" y="366824"/>
                </a:moveTo>
                <a:lnTo>
                  <a:pt x="5507870" y="368339"/>
                </a:lnTo>
                <a:lnTo>
                  <a:pt x="5508087" y="373751"/>
                </a:lnTo>
                <a:lnTo>
                  <a:pt x="5505374" y="375592"/>
                </a:lnTo>
                <a:lnTo>
                  <a:pt x="5505049" y="379707"/>
                </a:lnTo>
                <a:lnTo>
                  <a:pt x="5500925" y="384471"/>
                </a:lnTo>
                <a:lnTo>
                  <a:pt x="5495933" y="387829"/>
                </a:lnTo>
                <a:lnTo>
                  <a:pt x="5497453" y="385229"/>
                </a:lnTo>
                <a:lnTo>
                  <a:pt x="5497127" y="383064"/>
                </a:lnTo>
                <a:lnTo>
                  <a:pt x="5494957" y="383496"/>
                </a:lnTo>
                <a:lnTo>
                  <a:pt x="5491810" y="387071"/>
                </a:lnTo>
                <a:lnTo>
                  <a:pt x="5487469" y="388586"/>
                </a:lnTo>
                <a:lnTo>
                  <a:pt x="5485082" y="388586"/>
                </a:lnTo>
                <a:lnTo>
                  <a:pt x="5487252" y="383172"/>
                </a:lnTo>
                <a:lnTo>
                  <a:pt x="5491918" y="376784"/>
                </a:lnTo>
                <a:lnTo>
                  <a:pt x="5497778" y="373751"/>
                </a:lnTo>
                <a:lnTo>
                  <a:pt x="5502119" y="370072"/>
                </a:lnTo>
                <a:lnTo>
                  <a:pt x="5503746" y="367907"/>
                </a:lnTo>
                <a:close/>
                <a:moveTo>
                  <a:pt x="2333541" y="366822"/>
                </a:moveTo>
                <a:lnTo>
                  <a:pt x="2336580" y="367795"/>
                </a:lnTo>
                <a:lnTo>
                  <a:pt x="2336580" y="369961"/>
                </a:lnTo>
                <a:lnTo>
                  <a:pt x="2333325" y="370827"/>
                </a:lnTo>
                <a:lnTo>
                  <a:pt x="2331263" y="368879"/>
                </a:lnTo>
                <a:close/>
                <a:moveTo>
                  <a:pt x="2268431" y="364764"/>
                </a:moveTo>
                <a:lnTo>
                  <a:pt x="2275376" y="365630"/>
                </a:lnTo>
                <a:lnTo>
                  <a:pt x="2276896" y="367146"/>
                </a:lnTo>
                <a:lnTo>
                  <a:pt x="2272663" y="368987"/>
                </a:lnTo>
                <a:lnTo>
                  <a:pt x="2268974" y="368987"/>
                </a:lnTo>
                <a:lnTo>
                  <a:pt x="2262029" y="373101"/>
                </a:lnTo>
                <a:lnTo>
                  <a:pt x="2258665" y="372126"/>
                </a:lnTo>
                <a:lnTo>
                  <a:pt x="2253781" y="373209"/>
                </a:lnTo>
                <a:lnTo>
                  <a:pt x="2250526" y="375482"/>
                </a:lnTo>
                <a:lnTo>
                  <a:pt x="2248464" y="373317"/>
                </a:lnTo>
                <a:lnTo>
                  <a:pt x="2248464" y="370611"/>
                </a:lnTo>
                <a:lnTo>
                  <a:pt x="2251068" y="368987"/>
                </a:lnTo>
                <a:lnTo>
                  <a:pt x="2255517" y="367579"/>
                </a:lnTo>
                <a:cubicBezTo>
                  <a:pt x="2256656" y="367909"/>
                  <a:pt x="2257817" y="368162"/>
                  <a:pt x="2258990" y="368337"/>
                </a:cubicBezTo>
                <a:cubicBezTo>
                  <a:pt x="2260453" y="367663"/>
                  <a:pt x="2261836" y="366827"/>
                  <a:pt x="2263114" y="365847"/>
                </a:cubicBezTo>
                <a:close/>
                <a:moveTo>
                  <a:pt x="4424874" y="358269"/>
                </a:moveTo>
                <a:lnTo>
                  <a:pt x="4429214" y="358269"/>
                </a:lnTo>
                <a:lnTo>
                  <a:pt x="4430516" y="360001"/>
                </a:lnTo>
                <a:lnTo>
                  <a:pt x="4430516" y="362167"/>
                </a:lnTo>
                <a:lnTo>
                  <a:pt x="4423788" y="366929"/>
                </a:lnTo>
                <a:lnTo>
                  <a:pt x="4420316" y="368662"/>
                </a:lnTo>
                <a:lnTo>
                  <a:pt x="4414130" y="373967"/>
                </a:lnTo>
                <a:lnTo>
                  <a:pt x="4408814" y="375375"/>
                </a:lnTo>
                <a:lnTo>
                  <a:pt x="4406209" y="374726"/>
                </a:lnTo>
                <a:lnTo>
                  <a:pt x="4405124" y="372777"/>
                </a:lnTo>
                <a:cubicBezTo>
                  <a:pt x="4405557" y="372451"/>
                  <a:pt x="4407837" y="369852"/>
                  <a:pt x="4407837" y="369852"/>
                </a:cubicBezTo>
                <a:lnTo>
                  <a:pt x="4412503" y="368554"/>
                </a:lnTo>
                <a:lnTo>
                  <a:pt x="4416083" y="365847"/>
                </a:lnTo>
                <a:lnTo>
                  <a:pt x="4420208" y="360867"/>
                </a:lnTo>
                <a:close/>
                <a:moveTo>
                  <a:pt x="2203214" y="355669"/>
                </a:moveTo>
                <a:lnTo>
                  <a:pt x="2209507" y="355669"/>
                </a:lnTo>
                <a:lnTo>
                  <a:pt x="2211352" y="357076"/>
                </a:lnTo>
                <a:lnTo>
                  <a:pt x="2213197" y="358266"/>
                </a:lnTo>
                <a:lnTo>
                  <a:pt x="2214173" y="360541"/>
                </a:lnTo>
                <a:lnTo>
                  <a:pt x="2211244" y="362056"/>
                </a:lnTo>
                <a:lnTo>
                  <a:pt x="2210158" y="364654"/>
                </a:lnTo>
                <a:lnTo>
                  <a:pt x="2212112" y="365305"/>
                </a:lnTo>
                <a:lnTo>
                  <a:pt x="2216452" y="365196"/>
                </a:lnTo>
                <a:lnTo>
                  <a:pt x="2216344" y="367361"/>
                </a:lnTo>
                <a:lnTo>
                  <a:pt x="2214608" y="370068"/>
                </a:lnTo>
                <a:lnTo>
                  <a:pt x="2216344" y="373425"/>
                </a:lnTo>
                <a:lnTo>
                  <a:pt x="2216344" y="378080"/>
                </a:lnTo>
                <a:lnTo>
                  <a:pt x="2214716" y="381869"/>
                </a:lnTo>
                <a:lnTo>
                  <a:pt x="2211678" y="383169"/>
                </a:lnTo>
                <a:lnTo>
                  <a:pt x="2209182" y="380354"/>
                </a:lnTo>
                <a:lnTo>
                  <a:pt x="2202454" y="379704"/>
                </a:lnTo>
                <a:lnTo>
                  <a:pt x="2197788" y="378297"/>
                </a:lnTo>
                <a:lnTo>
                  <a:pt x="2196486" y="371909"/>
                </a:lnTo>
                <a:lnTo>
                  <a:pt x="2200175" y="368444"/>
                </a:lnTo>
                <a:lnTo>
                  <a:pt x="2200826" y="365088"/>
                </a:lnTo>
                <a:lnTo>
                  <a:pt x="2199741" y="362489"/>
                </a:lnTo>
                <a:lnTo>
                  <a:pt x="2200392" y="357834"/>
                </a:lnTo>
                <a:close/>
                <a:moveTo>
                  <a:pt x="4268502" y="355344"/>
                </a:moveTo>
                <a:lnTo>
                  <a:pt x="4270021" y="355344"/>
                </a:lnTo>
                <a:lnTo>
                  <a:pt x="4272299" y="358593"/>
                </a:lnTo>
                <a:lnTo>
                  <a:pt x="4277074" y="361299"/>
                </a:lnTo>
                <a:lnTo>
                  <a:pt x="4277943" y="364547"/>
                </a:lnTo>
                <a:lnTo>
                  <a:pt x="4277943" y="373858"/>
                </a:lnTo>
                <a:lnTo>
                  <a:pt x="4276749" y="378838"/>
                </a:lnTo>
                <a:lnTo>
                  <a:pt x="4276749" y="382304"/>
                </a:lnTo>
                <a:lnTo>
                  <a:pt x="4278159" y="384902"/>
                </a:lnTo>
                <a:lnTo>
                  <a:pt x="4279244" y="382195"/>
                </a:lnTo>
                <a:lnTo>
                  <a:pt x="4279244" y="379489"/>
                </a:lnTo>
                <a:lnTo>
                  <a:pt x="4280438" y="379489"/>
                </a:lnTo>
                <a:lnTo>
                  <a:pt x="4281957" y="382195"/>
                </a:lnTo>
                <a:lnTo>
                  <a:pt x="4285213" y="383711"/>
                </a:lnTo>
                <a:lnTo>
                  <a:pt x="4286081" y="380572"/>
                </a:lnTo>
                <a:lnTo>
                  <a:pt x="4286081" y="376458"/>
                </a:lnTo>
                <a:lnTo>
                  <a:pt x="4289011" y="373209"/>
                </a:lnTo>
                <a:lnTo>
                  <a:pt x="4289880" y="370937"/>
                </a:lnTo>
                <a:lnTo>
                  <a:pt x="4288794" y="369204"/>
                </a:lnTo>
                <a:lnTo>
                  <a:pt x="4290856" y="366929"/>
                </a:lnTo>
                <a:lnTo>
                  <a:pt x="4291941" y="366929"/>
                </a:lnTo>
                <a:lnTo>
                  <a:pt x="4292809" y="372235"/>
                </a:lnTo>
                <a:lnTo>
                  <a:pt x="4294871" y="371152"/>
                </a:lnTo>
                <a:lnTo>
                  <a:pt x="4296282" y="367146"/>
                </a:lnTo>
                <a:lnTo>
                  <a:pt x="4298994" y="365198"/>
                </a:lnTo>
                <a:lnTo>
                  <a:pt x="4298994" y="367687"/>
                </a:lnTo>
                <a:lnTo>
                  <a:pt x="4298994" y="370937"/>
                </a:lnTo>
                <a:lnTo>
                  <a:pt x="4298994" y="372992"/>
                </a:lnTo>
                <a:lnTo>
                  <a:pt x="4303010" y="370393"/>
                </a:lnTo>
                <a:lnTo>
                  <a:pt x="4304529" y="371801"/>
                </a:lnTo>
                <a:lnTo>
                  <a:pt x="4304529" y="373967"/>
                </a:lnTo>
                <a:lnTo>
                  <a:pt x="4307893" y="376023"/>
                </a:lnTo>
                <a:lnTo>
                  <a:pt x="4312125" y="376023"/>
                </a:lnTo>
                <a:lnTo>
                  <a:pt x="4315489" y="378189"/>
                </a:lnTo>
                <a:lnTo>
                  <a:pt x="4319939" y="378838"/>
                </a:lnTo>
                <a:lnTo>
                  <a:pt x="4328077" y="378189"/>
                </a:lnTo>
                <a:lnTo>
                  <a:pt x="4330573" y="378189"/>
                </a:lnTo>
                <a:lnTo>
                  <a:pt x="4334371" y="381438"/>
                </a:lnTo>
                <a:lnTo>
                  <a:pt x="4340882" y="381438"/>
                </a:lnTo>
                <a:lnTo>
                  <a:pt x="4342510" y="382521"/>
                </a:lnTo>
                <a:lnTo>
                  <a:pt x="4342510" y="385227"/>
                </a:lnTo>
                <a:lnTo>
                  <a:pt x="4341099" y="387826"/>
                </a:lnTo>
                <a:lnTo>
                  <a:pt x="4341750" y="391290"/>
                </a:lnTo>
                <a:lnTo>
                  <a:pt x="4343269" y="395187"/>
                </a:lnTo>
                <a:lnTo>
                  <a:pt x="4343269" y="398652"/>
                </a:lnTo>
                <a:lnTo>
                  <a:pt x="4341967" y="402442"/>
                </a:lnTo>
                <a:lnTo>
                  <a:pt x="4336976" y="408289"/>
                </a:lnTo>
                <a:lnTo>
                  <a:pt x="4333937" y="412294"/>
                </a:lnTo>
                <a:lnTo>
                  <a:pt x="4330356" y="419765"/>
                </a:lnTo>
                <a:lnTo>
                  <a:pt x="4326992" y="422905"/>
                </a:lnTo>
                <a:lnTo>
                  <a:pt x="4324387" y="425828"/>
                </a:lnTo>
                <a:lnTo>
                  <a:pt x="4325473" y="429509"/>
                </a:lnTo>
                <a:lnTo>
                  <a:pt x="4326558" y="435789"/>
                </a:lnTo>
                <a:lnTo>
                  <a:pt x="4325039" y="437955"/>
                </a:lnTo>
                <a:lnTo>
                  <a:pt x="4320047" y="441527"/>
                </a:lnTo>
                <a:lnTo>
                  <a:pt x="4315598" y="441527"/>
                </a:lnTo>
                <a:lnTo>
                  <a:pt x="4311908" y="439146"/>
                </a:lnTo>
                <a:lnTo>
                  <a:pt x="4308870" y="436547"/>
                </a:lnTo>
                <a:lnTo>
                  <a:pt x="4305940" y="437088"/>
                </a:lnTo>
                <a:lnTo>
                  <a:pt x="4301599" y="441311"/>
                </a:lnTo>
                <a:lnTo>
                  <a:pt x="4299754" y="444452"/>
                </a:lnTo>
                <a:lnTo>
                  <a:pt x="4299754" y="447049"/>
                </a:lnTo>
                <a:lnTo>
                  <a:pt x="4300297" y="449107"/>
                </a:lnTo>
                <a:lnTo>
                  <a:pt x="4298777" y="451379"/>
                </a:lnTo>
                <a:lnTo>
                  <a:pt x="4291615" y="453546"/>
                </a:lnTo>
                <a:lnTo>
                  <a:pt x="4286298" y="452896"/>
                </a:lnTo>
                <a:lnTo>
                  <a:pt x="4281306" y="449323"/>
                </a:lnTo>
                <a:lnTo>
                  <a:pt x="4280330" y="444884"/>
                </a:lnTo>
                <a:lnTo>
                  <a:pt x="4281089" y="440878"/>
                </a:lnTo>
                <a:lnTo>
                  <a:pt x="4281089" y="438389"/>
                </a:lnTo>
                <a:lnTo>
                  <a:pt x="4275012" y="439578"/>
                </a:lnTo>
                <a:lnTo>
                  <a:pt x="4270238" y="439578"/>
                </a:lnTo>
                <a:lnTo>
                  <a:pt x="4263727" y="442068"/>
                </a:lnTo>
                <a:lnTo>
                  <a:pt x="4257216" y="442068"/>
                </a:lnTo>
                <a:lnTo>
                  <a:pt x="4252875" y="443476"/>
                </a:lnTo>
                <a:lnTo>
                  <a:pt x="4249620" y="442393"/>
                </a:lnTo>
                <a:lnTo>
                  <a:pt x="4249620" y="438711"/>
                </a:lnTo>
                <a:lnTo>
                  <a:pt x="4247666" y="434166"/>
                </a:lnTo>
                <a:lnTo>
                  <a:pt x="4245279" y="433407"/>
                </a:lnTo>
                <a:lnTo>
                  <a:pt x="4241372" y="435465"/>
                </a:lnTo>
                <a:lnTo>
                  <a:pt x="4238551" y="434814"/>
                </a:lnTo>
                <a:lnTo>
                  <a:pt x="4229978" y="427235"/>
                </a:lnTo>
                <a:lnTo>
                  <a:pt x="4227156" y="425721"/>
                </a:lnTo>
                <a:lnTo>
                  <a:pt x="4227156" y="423229"/>
                </a:lnTo>
                <a:lnTo>
                  <a:pt x="4233016" y="421498"/>
                </a:lnTo>
                <a:lnTo>
                  <a:pt x="4237574" y="422364"/>
                </a:lnTo>
                <a:lnTo>
                  <a:pt x="4242240" y="425937"/>
                </a:lnTo>
                <a:lnTo>
                  <a:pt x="4244845" y="425937"/>
                </a:lnTo>
                <a:lnTo>
                  <a:pt x="4246039" y="424312"/>
                </a:lnTo>
                <a:lnTo>
                  <a:pt x="4250921" y="426262"/>
                </a:lnTo>
                <a:lnTo>
                  <a:pt x="4253309" y="426262"/>
                </a:lnTo>
                <a:lnTo>
                  <a:pt x="4253309" y="424095"/>
                </a:lnTo>
                <a:lnTo>
                  <a:pt x="4250921" y="422255"/>
                </a:lnTo>
                <a:lnTo>
                  <a:pt x="4243868" y="420416"/>
                </a:lnTo>
                <a:lnTo>
                  <a:pt x="4241915" y="419008"/>
                </a:lnTo>
                <a:lnTo>
                  <a:pt x="4242892" y="417274"/>
                </a:lnTo>
                <a:lnTo>
                  <a:pt x="4247232" y="418249"/>
                </a:lnTo>
                <a:lnTo>
                  <a:pt x="4252875" y="418249"/>
                </a:lnTo>
                <a:lnTo>
                  <a:pt x="4257867" y="419333"/>
                </a:lnTo>
                <a:lnTo>
                  <a:pt x="4260471" y="417817"/>
                </a:lnTo>
                <a:lnTo>
                  <a:pt x="4261991" y="415001"/>
                </a:lnTo>
                <a:lnTo>
                  <a:pt x="4263510" y="413269"/>
                </a:lnTo>
                <a:lnTo>
                  <a:pt x="4263510" y="411320"/>
                </a:lnTo>
                <a:lnTo>
                  <a:pt x="4261556" y="409913"/>
                </a:lnTo>
                <a:lnTo>
                  <a:pt x="4258952" y="409913"/>
                </a:lnTo>
                <a:lnTo>
                  <a:pt x="4255371" y="412510"/>
                </a:lnTo>
                <a:lnTo>
                  <a:pt x="4248752" y="412510"/>
                </a:lnTo>
                <a:lnTo>
                  <a:pt x="4240287" y="413269"/>
                </a:lnTo>
                <a:lnTo>
                  <a:pt x="4237574" y="414352"/>
                </a:lnTo>
                <a:lnTo>
                  <a:pt x="4232256" y="418140"/>
                </a:lnTo>
                <a:lnTo>
                  <a:pt x="4230303" y="418140"/>
                </a:lnTo>
                <a:lnTo>
                  <a:pt x="4227374" y="415867"/>
                </a:lnTo>
                <a:lnTo>
                  <a:pt x="4223575" y="417383"/>
                </a:lnTo>
                <a:lnTo>
                  <a:pt x="4217716" y="417383"/>
                </a:lnTo>
                <a:lnTo>
                  <a:pt x="4213592" y="414785"/>
                </a:lnTo>
                <a:lnTo>
                  <a:pt x="4210120" y="413377"/>
                </a:lnTo>
                <a:lnTo>
                  <a:pt x="4205128" y="405690"/>
                </a:lnTo>
                <a:lnTo>
                  <a:pt x="4205128" y="403092"/>
                </a:lnTo>
                <a:lnTo>
                  <a:pt x="4211530" y="398976"/>
                </a:lnTo>
                <a:lnTo>
                  <a:pt x="4210336" y="397245"/>
                </a:lnTo>
                <a:lnTo>
                  <a:pt x="4206213" y="397245"/>
                </a:lnTo>
                <a:lnTo>
                  <a:pt x="4205019" y="395513"/>
                </a:lnTo>
                <a:lnTo>
                  <a:pt x="4206538" y="392913"/>
                </a:lnTo>
                <a:lnTo>
                  <a:pt x="4203934" y="390315"/>
                </a:lnTo>
                <a:lnTo>
                  <a:pt x="4200570" y="390858"/>
                </a:lnTo>
                <a:lnTo>
                  <a:pt x="4198834" y="386202"/>
                </a:lnTo>
                <a:lnTo>
                  <a:pt x="4202524" y="383170"/>
                </a:lnTo>
                <a:lnTo>
                  <a:pt x="4205779" y="385552"/>
                </a:lnTo>
                <a:lnTo>
                  <a:pt x="4214026" y="384469"/>
                </a:lnTo>
                <a:lnTo>
                  <a:pt x="4215763" y="386526"/>
                </a:lnTo>
                <a:lnTo>
                  <a:pt x="4217824" y="392048"/>
                </a:lnTo>
                <a:lnTo>
                  <a:pt x="4219344" y="392913"/>
                </a:lnTo>
                <a:lnTo>
                  <a:pt x="4220537" y="389449"/>
                </a:lnTo>
                <a:lnTo>
                  <a:pt x="4220537" y="385985"/>
                </a:lnTo>
                <a:lnTo>
                  <a:pt x="4218149" y="382521"/>
                </a:lnTo>
                <a:lnTo>
                  <a:pt x="4217173" y="377323"/>
                </a:lnTo>
                <a:lnTo>
                  <a:pt x="4217173" y="373317"/>
                </a:lnTo>
                <a:lnTo>
                  <a:pt x="4218692" y="374833"/>
                </a:lnTo>
                <a:lnTo>
                  <a:pt x="4220103" y="378948"/>
                </a:lnTo>
                <a:lnTo>
                  <a:pt x="4222816" y="382087"/>
                </a:lnTo>
                <a:lnTo>
                  <a:pt x="4224878" y="380896"/>
                </a:lnTo>
                <a:lnTo>
                  <a:pt x="4223467" y="374726"/>
                </a:lnTo>
                <a:lnTo>
                  <a:pt x="4220754" y="369744"/>
                </a:lnTo>
                <a:lnTo>
                  <a:pt x="4219886" y="364764"/>
                </a:lnTo>
                <a:lnTo>
                  <a:pt x="4220537" y="358269"/>
                </a:lnTo>
                <a:lnTo>
                  <a:pt x="4222924" y="355560"/>
                </a:lnTo>
                <a:lnTo>
                  <a:pt x="4224878" y="356427"/>
                </a:lnTo>
                <a:lnTo>
                  <a:pt x="4226397" y="360325"/>
                </a:lnTo>
                <a:lnTo>
                  <a:pt x="4225312" y="363898"/>
                </a:lnTo>
                <a:lnTo>
                  <a:pt x="4228025" y="366821"/>
                </a:lnTo>
                <a:lnTo>
                  <a:pt x="4229869" y="365954"/>
                </a:lnTo>
                <a:lnTo>
                  <a:pt x="4233125" y="367362"/>
                </a:lnTo>
                <a:lnTo>
                  <a:pt x="4234536" y="371693"/>
                </a:lnTo>
                <a:lnTo>
                  <a:pt x="4237249" y="375483"/>
                </a:lnTo>
                <a:lnTo>
                  <a:pt x="4239853" y="375483"/>
                </a:lnTo>
                <a:lnTo>
                  <a:pt x="4239853" y="377540"/>
                </a:lnTo>
                <a:lnTo>
                  <a:pt x="4239853" y="379922"/>
                </a:lnTo>
                <a:lnTo>
                  <a:pt x="4243108" y="381438"/>
                </a:lnTo>
                <a:lnTo>
                  <a:pt x="4246907" y="378838"/>
                </a:lnTo>
                <a:lnTo>
                  <a:pt x="4248100" y="377107"/>
                </a:lnTo>
                <a:lnTo>
                  <a:pt x="4249945" y="377107"/>
                </a:lnTo>
                <a:lnTo>
                  <a:pt x="4254286" y="374508"/>
                </a:lnTo>
                <a:lnTo>
                  <a:pt x="4256999" y="376023"/>
                </a:lnTo>
                <a:lnTo>
                  <a:pt x="4256999" y="378297"/>
                </a:lnTo>
                <a:lnTo>
                  <a:pt x="4255154" y="381546"/>
                </a:lnTo>
                <a:lnTo>
                  <a:pt x="4255805" y="384686"/>
                </a:lnTo>
                <a:lnTo>
                  <a:pt x="4260146" y="387284"/>
                </a:lnTo>
                <a:lnTo>
                  <a:pt x="4264269" y="390858"/>
                </a:lnTo>
                <a:lnTo>
                  <a:pt x="4265789" y="395295"/>
                </a:lnTo>
                <a:lnTo>
                  <a:pt x="4267633" y="395295"/>
                </a:lnTo>
                <a:lnTo>
                  <a:pt x="4269153" y="391398"/>
                </a:lnTo>
                <a:lnTo>
                  <a:pt x="4266548" y="384902"/>
                </a:lnTo>
                <a:lnTo>
                  <a:pt x="4266548" y="379380"/>
                </a:lnTo>
                <a:lnTo>
                  <a:pt x="4267417" y="375267"/>
                </a:lnTo>
                <a:lnTo>
                  <a:pt x="4267417" y="370827"/>
                </a:lnTo>
                <a:lnTo>
                  <a:pt x="4263944" y="367037"/>
                </a:lnTo>
                <a:lnTo>
                  <a:pt x="4263944" y="362382"/>
                </a:lnTo>
                <a:lnTo>
                  <a:pt x="4266005" y="360866"/>
                </a:lnTo>
                <a:lnTo>
                  <a:pt x="4267958" y="363248"/>
                </a:lnTo>
                <a:lnTo>
                  <a:pt x="4271431" y="364115"/>
                </a:lnTo>
                <a:lnTo>
                  <a:pt x="4270238" y="361190"/>
                </a:lnTo>
                <a:lnTo>
                  <a:pt x="4267633" y="358484"/>
                </a:lnTo>
                <a:close/>
                <a:moveTo>
                  <a:pt x="5404454" y="350365"/>
                </a:moveTo>
                <a:lnTo>
                  <a:pt x="5407819" y="351664"/>
                </a:lnTo>
                <a:lnTo>
                  <a:pt x="5407927" y="354912"/>
                </a:lnTo>
                <a:lnTo>
                  <a:pt x="5405757" y="355455"/>
                </a:lnTo>
                <a:lnTo>
                  <a:pt x="5402501" y="351664"/>
                </a:lnTo>
                <a:close/>
                <a:moveTo>
                  <a:pt x="2763485" y="345925"/>
                </a:moveTo>
                <a:lnTo>
                  <a:pt x="2765655" y="345925"/>
                </a:lnTo>
                <a:lnTo>
                  <a:pt x="2768693" y="347658"/>
                </a:lnTo>
                <a:lnTo>
                  <a:pt x="2768476" y="350580"/>
                </a:lnTo>
                <a:lnTo>
                  <a:pt x="2763810" y="350580"/>
                </a:lnTo>
                <a:lnTo>
                  <a:pt x="2761640" y="347766"/>
                </a:lnTo>
                <a:close/>
                <a:moveTo>
                  <a:pt x="6275083" y="345816"/>
                </a:moveTo>
                <a:lnTo>
                  <a:pt x="6278556" y="346682"/>
                </a:lnTo>
                <a:lnTo>
                  <a:pt x="6284415" y="351772"/>
                </a:lnTo>
                <a:lnTo>
                  <a:pt x="6289950" y="351988"/>
                </a:lnTo>
                <a:lnTo>
                  <a:pt x="6294942" y="353720"/>
                </a:lnTo>
                <a:lnTo>
                  <a:pt x="6301669" y="360216"/>
                </a:lnTo>
                <a:lnTo>
                  <a:pt x="6301344" y="363464"/>
                </a:lnTo>
                <a:lnTo>
                  <a:pt x="6298414" y="363248"/>
                </a:lnTo>
                <a:lnTo>
                  <a:pt x="6293530" y="358808"/>
                </a:lnTo>
                <a:lnTo>
                  <a:pt x="6288105" y="358267"/>
                </a:lnTo>
                <a:lnTo>
                  <a:pt x="6283547" y="354911"/>
                </a:lnTo>
                <a:lnTo>
                  <a:pt x="6278556" y="355019"/>
                </a:lnTo>
                <a:lnTo>
                  <a:pt x="6275843" y="351447"/>
                </a:lnTo>
                <a:lnTo>
                  <a:pt x="6274106" y="347116"/>
                </a:lnTo>
                <a:close/>
                <a:moveTo>
                  <a:pt x="4230087" y="337697"/>
                </a:moveTo>
                <a:lnTo>
                  <a:pt x="4233669" y="338888"/>
                </a:lnTo>
                <a:lnTo>
                  <a:pt x="4238768" y="341811"/>
                </a:lnTo>
                <a:lnTo>
                  <a:pt x="4243760" y="341054"/>
                </a:lnTo>
                <a:lnTo>
                  <a:pt x="4245822" y="342894"/>
                </a:lnTo>
                <a:lnTo>
                  <a:pt x="4243869" y="346250"/>
                </a:lnTo>
                <a:lnTo>
                  <a:pt x="4241807" y="347658"/>
                </a:lnTo>
                <a:lnTo>
                  <a:pt x="4238335" y="346901"/>
                </a:lnTo>
                <a:lnTo>
                  <a:pt x="4230847" y="341054"/>
                </a:lnTo>
                <a:lnTo>
                  <a:pt x="4229002" y="339322"/>
                </a:lnTo>
                <a:close/>
                <a:moveTo>
                  <a:pt x="4693670" y="334665"/>
                </a:moveTo>
                <a:lnTo>
                  <a:pt x="4698879" y="342353"/>
                </a:lnTo>
                <a:lnTo>
                  <a:pt x="4698879" y="347116"/>
                </a:lnTo>
                <a:lnTo>
                  <a:pt x="4704196" y="347982"/>
                </a:lnTo>
                <a:lnTo>
                  <a:pt x="4705390" y="351447"/>
                </a:lnTo>
                <a:lnTo>
                  <a:pt x="4703546" y="354263"/>
                </a:lnTo>
                <a:lnTo>
                  <a:pt x="4696491" y="354263"/>
                </a:lnTo>
                <a:lnTo>
                  <a:pt x="4692910" y="356536"/>
                </a:lnTo>
                <a:lnTo>
                  <a:pt x="4688787" y="356536"/>
                </a:lnTo>
                <a:lnTo>
                  <a:pt x="4687702" y="352422"/>
                </a:lnTo>
                <a:lnTo>
                  <a:pt x="4682927" y="348849"/>
                </a:lnTo>
                <a:lnTo>
                  <a:pt x="4685314" y="347766"/>
                </a:lnTo>
                <a:lnTo>
                  <a:pt x="4690957" y="347766"/>
                </a:lnTo>
                <a:lnTo>
                  <a:pt x="4692476" y="344844"/>
                </a:lnTo>
                <a:lnTo>
                  <a:pt x="4692476" y="336940"/>
                </a:lnTo>
                <a:close/>
                <a:moveTo>
                  <a:pt x="4812495" y="332717"/>
                </a:moveTo>
                <a:lnTo>
                  <a:pt x="4816728" y="332717"/>
                </a:lnTo>
                <a:lnTo>
                  <a:pt x="4821068" y="337155"/>
                </a:lnTo>
                <a:lnTo>
                  <a:pt x="4819006" y="338779"/>
                </a:lnTo>
                <a:lnTo>
                  <a:pt x="4816728" y="337479"/>
                </a:lnTo>
                <a:lnTo>
                  <a:pt x="4811953" y="335965"/>
                </a:lnTo>
                <a:close/>
                <a:moveTo>
                  <a:pt x="2387148" y="331741"/>
                </a:moveTo>
                <a:lnTo>
                  <a:pt x="2390730" y="332932"/>
                </a:lnTo>
                <a:lnTo>
                  <a:pt x="2394203" y="332175"/>
                </a:lnTo>
                <a:lnTo>
                  <a:pt x="2396807" y="332932"/>
                </a:lnTo>
                <a:lnTo>
                  <a:pt x="2397349" y="335531"/>
                </a:lnTo>
                <a:lnTo>
                  <a:pt x="2401473" y="335964"/>
                </a:lnTo>
                <a:lnTo>
                  <a:pt x="2403209" y="334664"/>
                </a:lnTo>
                <a:lnTo>
                  <a:pt x="2406790" y="336722"/>
                </a:lnTo>
                <a:lnTo>
                  <a:pt x="2410371" y="337155"/>
                </a:lnTo>
                <a:lnTo>
                  <a:pt x="2415255" y="343001"/>
                </a:lnTo>
                <a:lnTo>
                  <a:pt x="2418619" y="344951"/>
                </a:lnTo>
                <a:lnTo>
                  <a:pt x="2416774" y="346791"/>
                </a:lnTo>
                <a:lnTo>
                  <a:pt x="2418185" y="349065"/>
                </a:lnTo>
                <a:lnTo>
                  <a:pt x="2421440" y="349065"/>
                </a:lnTo>
                <a:lnTo>
                  <a:pt x="2424913" y="347224"/>
                </a:lnTo>
                <a:lnTo>
                  <a:pt x="2427843" y="351122"/>
                </a:lnTo>
                <a:lnTo>
                  <a:pt x="2430773" y="353504"/>
                </a:lnTo>
                <a:lnTo>
                  <a:pt x="2430231" y="356426"/>
                </a:lnTo>
                <a:lnTo>
                  <a:pt x="2431207" y="358700"/>
                </a:lnTo>
                <a:lnTo>
                  <a:pt x="2429145" y="360541"/>
                </a:lnTo>
                <a:lnTo>
                  <a:pt x="2424045" y="359242"/>
                </a:lnTo>
                <a:lnTo>
                  <a:pt x="2417968" y="364655"/>
                </a:lnTo>
                <a:lnTo>
                  <a:pt x="2413844" y="365738"/>
                </a:lnTo>
                <a:lnTo>
                  <a:pt x="2407984" y="361949"/>
                </a:lnTo>
                <a:lnTo>
                  <a:pt x="2400930" y="361840"/>
                </a:lnTo>
                <a:lnTo>
                  <a:pt x="2394419" y="357185"/>
                </a:lnTo>
                <a:lnTo>
                  <a:pt x="2389102" y="357185"/>
                </a:lnTo>
                <a:lnTo>
                  <a:pt x="2384435" y="354694"/>
                </a:lnTo>
                <a:lnTo>
                  <a:pt x="2381289" y="350580"/>
                </a:lnTo>
                <a:lnTo>
                  <a:pt x="2376297" y="351122"/>
                </a:lnTo>
                <a:lnTo>
                  <a:pt x="2373367" y="350580"/>
                </a:lnTo>
                <a:lnTo>
                  <a:pt x="2372716" y="343543"/>
                </a:lnTo>
                <a:lnTo>
                  <a:pt x="2375212" y="336180"/>
                </a:lnTo>
                <a:lnTo>
                  <a:pt x="2378901" y="332175"/>
                </a:lnTo>
                <a:lnTo>
                  <a:pt x="2383676" y="332390"/>
                </a:lnTo>
                <a:close/>
                <a:moveTo>
                  <a:pt x="2227086" y="327518"/>
                </a:moveTo>
                <a:lnTo>
                  <a:pt x="2234031" y="327518"/>
                </a:lnTo>
                <a:lnTo>
                  <a:pt x="2232295" y="331201"/>
                </a:lnTo>
                <a:lnTo>
                  <a:pt x="2226761" y="332607"/>
                </a:lnTo>
                <a:lnTo>
                  <a:pt x="2223614" y="330334"/>
                </a:lnTo>
                <a:close/>
                <a:moveTo>
                  <a:pt x="4675331" y="327410"/>
                </a:moveTo>
                <a:lnTo>
                  <a:pt x="4679455" y="329793"/>
                </a:lnTo>
                <a:lnTo>
                  <a:pt x="4684772" y="331524"/>
                </a:lnTo>
                <a:lnTo>
                  <a:pt x="4684989" y="335965"/>
                </a:lnTo>
                <a:lnTo>
                  <a:pt x="4682710" y="339862"/>
                </a:lnTo>
                <a:lnTo>
                  <a:pt x="4681733" y="344084"/>
                </a:lnTo>
                <a:lnTo>
                  <a:pt x="4674788" y="340294"/>
                </a:lnTo>
                <a:lnTo>
                  <a:pt x="4673269" y="336180"/>
                </a:lnTo>
                <a:lnTo>
                  <a:pt x="4674246" y="333366"/>
                </a:lnTo>
                <a:close/>
                <a:moveTo>
                  <a:pt x="1962305" y="324162"/>
                </a:moveTo>
                <a:lnTo>
                  <a:pt x="1964367" y="324596"/>
                </a:lnTo>
                <a:lnTo>
                  <a:pt x="1962956" y="328060"/>
                </a:lnTo>
                <a:lnTo>
                  <a:pt x="1955903" y="333474"/>
                </a:lnTo>
                <a:lnTo>
                  <a:pt x="1948524" y="338237"/>
                </a:lnTo>
                <a:lnTo>
                  <a:pt x="1934308" y="348956"/>
                </a:lnTo>
                <a:lnTo>
                  <a:pt x="1929751" y="354694"/>
                </a:lnTo>
                <a:lnTo>
                  <a:pt x="1925953" y="355994"/>
                </a:lnTo>
                <a:lnTo>
                  <a:pt x="1923131" y="355994"/>
                </a:lnTo>
                <a:lnTo>
                  <a:pt x="1920960" y="359025"/>
                </a:lnTo>
                <a:lnTo>
                  <a:pt x="1918899" y="359241"/>
                </a:lnTo>
                <a:lnTo>
                  <a:pt x="1916945" y="354044"/>
                </a:lnTo>
                <a:lnTo>
                  <a:pt x="1913907" y="353179"/>
                </a:lnTo>
                <a:lnTo>
                  <a:pt x="1911303" y="353936"/>
                </a:lnTo>
                <a:lnTo>
                  <a:pt x="1909241" y="352312"/>
                </a:lnTo>
                <a:lnTo>
                  <a:pt x="1911845" y="347007"/>
                </a:lnTo>
                <a:lnTo>
                  <a:pt x="1921286" y="339103"/>
                </a:lnTo>
                <a:lnTo>
                  <a:pt x="1927797" y="337047"/>
                </a:lnTo>
                <a:lnTo>
                  <a:pt x="1931812" y="333798"/>
                </a:lnTo>
                <a:lnTo>
                  <a:pt x="1934742" y="333474"/>
                </a:lnTo>
                <a:lnTo>
                  <a:pt x="1941145" y="328926"/>
                </a:lnTo>
                <a:lnTo>
                  <a:pt x="1948198" y="327735"/>
                </a:lnTo>
                <a:lnTo>
                  <a:pt x="1951779" y="325895"/>
                </a:lnTo>
                <a:lnTo>
                  <a:pt x="1954167" y="326219"/>
                </a:lnTo>
                <a:close/>
                <a:moveTo>
                  <a:pt x="2534405" y="323839"/>
                </a:moveTo>
                <a:lnTo>
                  <a:pt x="2536141" y="325138"/>
                </a:lnTo>
                <a:lnTo>
                  <a:pt x="2534405" y="328169"/>
                </a:lnTo>
                <a:lnTo>
                  <a:pt x="2533862" y="330876"/>
                </a:lnTo>
                <a:lnTo>
                  <a:pt x="2528979" y="335315"/>
                </a:lnTo>
                <a:lnTo>
                  <a:pt x="2527026" y="335748"/>
                </a:lnTo>
                <a:lnTo>
                  <a:pt x="2527786" y="331526"/>
                </a:lnTo>
                <a:lnTo>
                  <a:pt x="2530932" y="328386"/>
                </a:lnTo>
                <a:lnTo>
                  <a:pt x="2531366" y="325246"/>
                </a:lnTo>
                <a:close/>
                <a:moveTo>
                  <a:pt x="6400746" y="322755"/>
                </a:moveTo>
                <a:lnTo>
                  <a:pt x="6404327" y="322755"/>
                </a:lnTo>
                <a:lnTo>
                  <a:pt x="6411054" y="325462"/>
                </a:lnTo>
                <a:lnTo>
                  <a:pt x="6414202" y="323405"/>
                </a:lnTo>
                <a:lnTo>
                  <a:pt x="6418434" y="323405"/>
                </a:lnTo>
                <a:lnTo>
                  <a:pt x="6423101" y="328061"/>
                </a:lnTo>
                <a:lnTo>
                  <a:pt x="6429720" y="329793"/>
                </a:lnTo>
                <a:lnTo>
                  <a:pt x="6436014" y="330334"/>
                </a:lnTo>
                <a:lnTo>
                  <a:pt x="6445671" y="338021"/>
                </a:lnTo>
                <a:lnTo>
                  <a:pt x="6451423" y="345383"/>
                </a:lnTo>
                <a:lnTo>
                  <a:pt x="6453485" y="349931"/>
                </a:lnTo>
                <a:lnTo>
                  <a:pt x="6457718" y="353505"/>
                </a:lnTo>
                <a:lnTo>
                  <a:pt x="6453485" y="357293"/>
                </a:lnTo>
                <a:lnTo>
                  <a:pt x="6448601" y="356101"/>
                </a:lnTo>
                <a:lnTo>
                  <a:pt x="6441005" y="356752"/>
                </a:lnTo>
                <a:lnTo>
                  <a:pt x="6436556" y="359675"/>
                </a:lnTo>
                <a:lnTo>
                  <a:pt x="6425596" y="359567"/>
                </a:lnTo>
                <a:lnTo>
                  <a:pt x="6418977" y="360867"/>
                </a:lnTo>
                <a:lnTo>
                  <a:pt x="6409318" y="360758"/>
                </a:lnTo>
                <a:lnTo>
                  <a:pt x="6402156" y="359135"/>
                </a:lnTo>
                <a:lnTo>
                  <a:pt x="6394886" y="363465"/>
                </a:lnTo>
                <a:lnTo>
                  <a:pt x="6391304" y="368987"/>
                </a:lnTo>
                <a:lnTo>
                  <a:pt x="6388158" y="370719"/>
                </a:lnTo>
                <a:lnTo>
                  <a:pt x="6384685" y="370176"/>
                </a:lnTo>
                <a:lnTo>
                  <a:pt x="6385011" y="366063"/>
                </a:lnTo>
                <a:lnTo>
                  <a:pt x="6389894" y="361948"/>
                </a:lnTo>
                <a:lnTo>
                  <a:pt x="6393041" y="350580"/>
                </a:lnTo>
                <a:lnTo>
                  <a:pt x="6393150" y="340620"/>
                </a:lnTo>
                <a:lnTo>
                  <a:pt x="6391630" y="335423"/>
                </a:lnTo>
                <a:lnTo>
                  <a:pt x="6396947" y="327953"/>
                </a:lnTo>
                <a:close/>
                <a:moveTo>
                  <a:pt x="1896437" y="318748"/>
                </a:moveTo>
                <a:lnTo>
                  <a:pt x="1896437" y="320913"/>
                </a:lnTo>
                <a:lnTo>
                  <a:pt x="1891554" y="324486"/>
                </a:lnTo>
                <a:lnTo>
                  <a:pt x="1891554" y="322646"/>
                </a:lnTo>
                <a:close/>
                <a:moveTo>
                  <a:pt x="4826710" y="316910"/>
                </a:moveTo>
                <a:lnTo>
                  <a:pt x="4830943" y="319183"/>
                </a:lnTo>
                <a:lnTo>
                  <a:pt x="4832787" y="326221"/>
                </a:lnTo>
                <a:lnTo>
                  <a:pt x="4828881" y="333257"/>
                </a:lnTo>
                <a:lnTo>
                  <a:pt x="4823021" y="332717"/>
                </a:lnTo>
                <a:lnTo>
                  <a:pt x="4819006" y="328603"/>
                </a:lnTo>
                <a:lnTo>
                  <a:pt x="4813689" y="325679"/>
                </a:lnTo>
                <a:lnTo>
                  <a:pt x="4814014" y="322756"/>
                </a:lnTo>
                <a:lnTo>
                  <a:pt x="4820742" y="318425"/>
                </a:lnTo>
                <a:close/>
                <a:moveTo>
                  <a:pt x="4737836" y="316585"/>
                </a:moveTo>
                <a:lnTo>
                  <a:pt x="4740657" y="317558"/>
                </a:lnTo>
                <a:lnTo>
                  <a:pt x="4742718" y="321131"/>
                </a:lnTo>
                <a:lnTo>
                  <a:pt x="4742501" y="325787"/>
                </a:lnTo>
                <a:lnTo>
                  <a:pt x="4739572" y="324596"/>
                </a:lnTo>
                <a:lnTo>
                  <a:pt x="4738053" y="320483"/>
                </a:lnTo>
                <a:close/>
                <a:moveTo>
                  <a:pt x="4726009" y="316151"/>
                </a:moveTo>
                <a:lnTo>
                  <a:pt x="4729807" y="320483"/>
                </a:lnTo>
                <a:lnTo>
                  <a:pt x="4733171" y="320374"/>
                </a:lnTo>
                <a:lnTo>
                  <a:pt x="4734256" y="324489"/>
                </a:lnTo>
                <a:lnTo>
                  <a:pt x="4731977" y="330011"/>
                </a:lnTo>
                <a:lnTo>
                  <a:pt x="4727203" y="333366"/>
                </a:lnTo>
                <a:lnTo>
                  <a:pt x="4720149" y="331634"/>
                </a:lnTo>
                <a:lnTo>
                  <a:pt x="4718087" y="328929"/>
                </a:lnTo>
                <a:lnTo>
                  <a:pt x="4722210" y="325790"/>
                </a:lnTo>
                <a:lnTo>
                  <a:pt x="4722210" y="322432"/>
                </a:lnTo>
                <a:lnTo>
                  <a:pt x="4719823" y="318641"/>
                </a:lnTo>
                <a:lnTo>
                  <a:pt x="4723187" y="316369"/>
                </a:lnTo>
                <a:close/>
                <a:moveTo>
                  <a:pt x="2014611" y="313876"/>
                </a:moveTo>
                <a:lnTo>
                  <a:pt x="2018735" y="314850"/>
                </a:lnTo>
                <a:lnTo>
                  <a:pt x="2026331" y="314525"/>
                </a:lnTo>
                <a:lnTo>
                  <a:pt x="2031214" y="318640"/>
                </a:lnTo>
                <a:lnTo>
                  <a:pt x="2033276" y="325895"/>
                </a:lnTo>
                <a:lnTo>
                  <a:pt x="2029478" y="327952"/>
                </a:lnTo>
                <a:lnTo>
                  <a:pt x="2025680" y="333798"/>
                </a:lnTo>
                <a:lnTo>
                  <a:pt x="2026982" y="337912"/>
                </a:lnTo>
                <a:lnTo>
                  <a:pt x="2036206" y="337371"/>
                </a:lnTo>
                <a:lnTo>
                  <a:pt x="2039136" y="335531"/>
                </a:lnTo>
                <a:lnTo>
                  <a:pt x="2042065" y="337371"/>
                </a:lnTo>
                <a:lnTo>
                  <a:pt x="2044996" y="337371"/>
                </a:lnTo>
                <a:lnTo>
                  <a:pt x="2046515" y="340511"/>
                </a:lnTo>
                <a:lnTo>
                  <a:pt x="2047275" y="343218"/>
                </a:lnTo>
                <a:lnTo>
                  <a:pt x="2049988" y="345925"/>
                </a:lnTo>
                <a:lnTo>
                  <a:pt x="2049662" y="349281"/>
                </a:lnTo>
                <a:lnTo>
                  <a:pt x="2046732" y="350796"/>
                </a:lnTo>
                <a:lnTo>
                  <a:pt x="2044996" y="354044"/>
                </a:lnTo>
                <a:lnTo>
                  <a:pt x="2049120" y="359350"/>
                </a:lnTo>
                <a:lnTo>
                  <a:pt x="2049771" y="369202"/>
                </a:lnTo>
                <a:lnTo>
                  <a:pt x="2048143" y="372451"/>
                </a:lnTo>
                <a:lnTo>
                  <a:pt x="2043260" y="370935"/>
                </a:lnTo>
                <a:lnTo>
                  <a:pt x="2038919" y="372667"/>
                </a:lnTo>
                <a:lnTo>
                  <a:pt x="2040112" y="375590"/>
                </a:lnTo>
                <a:lnTo>
                  <a:pt x="2044453" y="374616"/>
                </a:lnTo>
                <a:lnTo>
                  <a:pt x="2049771" y="376890"/>
                </a:lnTo>
                <a:lnTo>
                  <a:pt x="2053026" y="376890"/>
                </a:lnTo>
                <a:lnTo>
                  <a:pt x="2049771" y="386742"/>
                </a:lnTo>
                <a:lnTo>
                  <a:pt x="2046190" y="389774"/>
                </a:lnTo>
                <a:lnTo>
                  <a:pt x="2045864" y="398436"/>
                </a:lnTo>
                <a:lnTo>
                  <a:pt x="2048468" y="399735"/>
                </a:lnTo>
                <a:lnTo>
                  <a:pt x="2053786" y="398436"/>
                </a:lnTo>
                <a:lnTo>
                  <a:pt x="2056499" y="395188"/>
                </a:lnTo>
                <a:lnTo>
                  <a:pt x="2058560" y="397245"/>
                </a:lnTo>
                <a:lnTo>
                  <a:pt x="2059645" y="400601"/>
                </a:lnTo>
                <a:lnTo>
                  <a:pt x="2064963" y="401359"/>
                </a:lnTo>
                <a:lnTo>
                  <a:pt x="2067676" y="400601"/>
                </a:lnTo>
                <a:lnTo>
                  <a:pt x="2076357" y="402874"/>
                </a:lnTo>
                <a:lnTo>
                  <a:pt x="2079830" y="408180"/>
                </a:lnTo>
                <a:lnTo>
                  <a:pt x="2082868" y="407206"/>
                </a:lnTo>
                <a:lnTo>
                  <a:pt x="2082217" y="404066"/>
                </a:lnTo>
                <a:lnTo>
                  <a:pt x="2080698" y="402659"/>
                </a:lnTo>
                <a:lnTo>
                  <a:pt x="2087860" y="399085"/>
                </a:lnTo>
                <a:lnTo>
                  <a:pt x="2086015" y="391181"/>
                </a:lnTo>
                <a:lnTo>
                  <a:pt x="2081675" y="386418"/>
                </a:lnTo>
                <a:lnTo>
                  <a:pt x="2082000" y="382953"/>
                </a:lnTo>
                <a:lnTo>
                  <a:pt x="2079287" y="378947"/>
                </a:lnTo>
                <a:lnTo>
                  <a:pt x="2081457" y="376565"/>
                </a:lnTo>
                <a:lnTo>
                  <a:pt x="2084387" y="376565"/>
                </a:lnTo>
                <a:lnTo>
                  <a:pt x="2091333" y="373858"/>
                </a:lnTo>
                <a:lnTo>
                  <a:pt x="2096324" y="374292"/>
                </a:lnTo>
                <a:lnTo>
                  <a:pt x="2098712" y="367578"/>
                </a:lnTo>
                <a:lnTo>
                  <a:pt x="2095673" y="360541"/>
                </a:lnTo>
                <a:lnTo>
                  <a:pt x="2093394" y="358159"/>
                </a:lnTo>
                <a:lnTo>
                  <a:pt x="2093720" y="352854"/>
                </a:lnTo>
                <a:lnTo>
                  <a:pt x="2091549" y="347223"/>
                </a:lnTo>
                <a:lnTo>
                  <a:pt x="2095782" y="341160"/>
                </a:lnTo>
                <a:lnTo>
                  <a:pt x="2099580" y="338778"/>
                </a:lnTo>
                <a:lnTo>
                  <a:pt x="2101967" y="339645"/>
                </a:lnTo>
                <a:lnTo>
                  <a:pt x="2106850" y="339754"/>
                </a:lnTo>
                <a:lnTo>
                  <a:pt x="2105656" y="337047"/>
                </a:lnTo>
                <a:lnTo>
                  <a:pt x="2107718" y="332932"/>
                </a:lnTo>
                <a:lnTo>
                  <a:pt x="2113253" y="330983"/>
                </a:lnTo>
                <a:lnTo>
                  <a:pt x="2123888" y="321023"/>
                </a:lnTo>
                <a:lnTo>
                  <a:pt x="2127034" y="321347"/>
                </a:lnTo>
                <a:lnTo>
                  <a:pt x="2133762" y="324595"/>
                </a:lnTo>
                <a:lnTo>
                  <a:pt x="2132677" y="327411"/>
                </a:lnTo>
                <a:lnTo>
                  <a:pt x="2134631" y="331201"/>
                </a:lnTo>
                <a:lnTo>
                  <a:pt x="2133220" y="334123"/>
                </a:lnTo>
                <a:lnTo>
                  <a:pt x="2128879" y="334231"/>
                </a:lnTo>
                <a:lnTo>
                  <a:pt x="2126166" y="337047"/>
                </a:lnTo>
                <a:lnTo>
                  <a:pt x="2126166" y="340836"/>
                </a:lnTo>
                <a:lnTo>
                  <a:pt x="2124755" y="345492"/>
                </a:lnTo>
                <a:lnTo>
                  <a:pt x="2124755" y="351338"/>
                </a:lnTo>
                <a:lnTo>
                  <a:pt x="2126166" y="353070"/>
                </a:lnTo>
                <a:lnTo>
                  <a:pt x="2126166" y="364547"/>
                </a:lnTo>
                <a:lnTo>
                  <a:pt x="2123888" y="366604"/>
                </a:lnTo>
                <a:lnTo>
                  <a:pt x="2121500" y="366604"/>
                </a:lnTo>
                <a:lnTo>
                  <a:pt x="2114772" y="372667"/>
                </a:lnTo>
                <a:lnTo>
                  <a:pt x="2110974" y="375374"/>
                </a:lnTo>
                <a:lnTo>
                  <a:pt x="2110974" y="377106"/>
                </a:lnTo>
                <a:lnTo>
                  <a:pt x="2113361" y="377215"/>
                </a:lnTo>
                <a:lnTo>
                  <a:pt x="2117485" y="376024"/>
                </a:lnTo>
                <a:lnTo>
                  <a:pt x="2124430" y="376457"/>
                </a:lnTo>
                <a:lnTo>
                  <a:pt x="2125623" y="378838"/>
                </a:lnTo>
                <a:lnTo>
                  <a:pt x="2122151" y="384144"/>
                </a:lnTo>
                <a:lnTo>
                  <a:pt x="2114555" y="388475"/>
                </a:lnTo>
                <a:lnTo>
                  <a:pt x="2108044" y="394322"/>
                </a:lnTo>
                <a:lnTo>
                  <a:pt x="2106525" y="398544"/>
                </a:lnTo>
                <a:lnTo>
                  <a:pt x="2108369" y="400926"/>
                </a:lnTo>
                <a:lnTo>
                  <a:pt x="2110648" y="396487"/>
                </a:lnTo>
                <a:lnTo>
                  <a:pt x="2118895" y="392698"/>
                </a:lnTo>
                <a:lnTo>
                  <a:pt x="2121934" y="389666"/>
                </a:lnTo>
                <a:lnTo>
                  <a:pt x="2124864" y="388475"/>
                </a:lnTo>
                <a:lnTo>
                  <a:pt x="2131266" y="391506"/>
                </a:lnTo>
                <a:lnTo>
                  <a:pt x="2130616" y="397569"/>
                </a:lnTo>
                <a:lnTo>
                  <a:pt x="2127034" y="404390"/>
                </a:lnTo>
                <a:lnTo>
                  <a:pt x="2128011" y="406989"/>
                </a:lnTo>
                <a:lnTo>
                  <a:pt x="2132460" y="402225"/>
                </a:lnTo>
                <a:lnTo>
                  <a:pt x="2136259" y="402659"/>
                </a:lnTo>
                <a:lnTo>
                  <a:pt x="2137127" y="399952"/>
                </a:lnTo>
                <a:lnTo>
                  <a:pt x="2136150" y="398761"/>
                </a:lnTo>
                <a:lnTo>
                  <a:pt x="2138863" y="394322"/>
                </a:lnTo>
                <a:lnTo>
                  <a:pt x="2139622" y="389449"/>
                </a:lnTo>
                <a:lnTo>
                  <a:pt x="2147001" y="384144"/>
                </a:lnTo>
                <a:lnTo>
                  <a:pt x="2149931" y="383927"/>
                </a:lnTo>
                <a:lnTo>
                  <a:pt x="2155791" y="387717"/>
                </a:lnTo>
                <a:lnTo>
                  <a:pt x="2158504" y="395295"/>
                </a:lnTo>
                <a:lnTo>
                  <a:pt x="2160566" y="398869"/>
                </a:lnTo>
                <a:lnTo>
                  <a:pt x="2159264" y="405581"/>
                </a:lnTo>
                <a:lnTo>
                  <a:pt x="2153187" y="416841"/>
                </a:lnTo>
                <a:lnTo>
                  <a:pt x="2147653" y="421606"/>
                </a:lnTo>
                <a:lnTo>
                  <a:pt x="2143203" y="423663"/>
                </a:lnTo>
                <a:lnTo>
                  <a:pt x="2139948" y="423988"/>
                </a:lnTo>
                <a:lnTo>
                  <a:pt x="2138754" y="426045"/>
                </a:lnTo>
                <a:lnTo>
                  <a:pt x="2139405" y="429726"/>
                </a:lnTo>
                <a:lnTo>
                  <a:pt x="2134414" y="436547"/>
                </a:lnTo>
                <a:lnTo>
                  <a:pt x="2130616" y="436763"/>
                </a:lnTo>
                <a:lnTo>
                  <a:pt x="2126166" y="440012"/>
                </a:lnTo>
                <a:lnTo>
                  <a:pt x="2126275" y="443909"/>
                </a:lnTo>
                <a:lnTo>
                  <a:pt x="2124538" y="446400"/>
                </a:lnTo>
                <a:lnTo>
                  <a:pt x="2121825" y="446507"/>
                </a:lnTo>
                <a:lnTo>
                  <a:pt x="2119655" y="447807"/>
                </a:lnTo>
                <a:lnTo>
                  <a:pt x="2119655" y="450406"/>
                </a:lnTo>
                <a:lnTo>
                  <a:pt x="2117485" y="451597"/>
                </a:lnTo>
                <a:lnTo>
                  <a:pt x="2114121" y="448781"/>
                </a:lnTo>
                <a:lnTo>
                  <a:pt x="2109998" y="450622"/>
                </a:lnTo>
                <a:lnTo>
                  <a:pt x="2106633" y="449864"/>
                </a:lnTo>
                <a:lnTo>
                  <a:pt x="2098820" y="453762"/>
                </a:lnTo>
                <a:lnTo>
                  <a:pt x="2091766" y="454845"/>
                </a:lnTo>
                <a:lnTo>
                  <a:pt x="2086123" y="452354"/>
                </a:lnTo>
                <a:lnTo>
                  <a:pt x="2084821" y="449215"/>
                </a:lnTo>
                <a:lnTo>
                  <a:pt x="2087643" y="445317"/>
                </a:lnTo>
                <a:lnTo>
                  <a:pt x="2087209" y="442502"/>
                </a:lnTo>
                <a:lnTo>
                  <a:pt x="2085690" y="442177"/>
                </a:lnTo>
                <a:lnTo>
                  <a:pt x="2080698" y="444450"/>
                </a:lnTo>
                <a:lnTo>
                  <a:pt x="2079612" y="447374"/>
                </a:lnTo>
                <a:lnTo>
                  <a:pt x="2075923" y="448781"/>
                </a:lnTo>
                <a:lnTo>
                  <a:pt x="2069955" y="446940"/>
                </a:lnTo>
                <a:lnTo>
                  <a:pt x="2069955" y="444126"/>
                </a:lnTo>
                <a:lnTo>
                  <a:pt x="2071908" y="441636"/>
                </a:lnTo>
                <a:lnTo>
                  <a:pt x="2070606" y="438171"/>
                </a:lnTo>
                <a:lnTo>
                  <a:pt x="2067459" y="437089"/>
                </a:lnTo>
                <a:lnTo>
                  <a:pt x="2067133" y="439903"/>
                </a:lnTo>
                <a:lnTo>
                  <a:pt x="2064312" y="441744"/>
                </a:lnTo>
                <a:lnTo>
                  <a:pt x="2060839" y="441744"/>
                </a:lnTo>
                <a:lnTo>
                  <a:pt x="2053243" y="445101"/>
                </a:lnTo>
                <a:lnTo>
                  <a:pt x="2050964" y="446940"/>
                </a:lnTo>
                <a:lnTo>
                  <a:pt x="2045972" y="446832"/>
                </a:lnTo>
                <a:lnTo>
                  <a:pt x="2044237" y="445209"/>
                </a:lnTo>
                <a:lnTo>
                  <a:pt x="2038159" y="445966"/>
                </a:lnTo>
                <a:lnTo>
                  <a:pt x="2035229" y="443801"/>
                </a:lnTo>
                <a:lnTo>
                  <a:pt x="2033276" y="446616"/>
                </a:lnTo>
                <a:lnTo>
                  <a:pt x="2029803" y="446400"/>
                </a:lnTo>
                <a:lnTo>
                  <a:pt x="2026440" y="448024"/>
                </a:lnTo>
                <a:lnTo>
                  <a:pt x="2025680" y="451813"/>
                </a:lnTo>
                <a:lnTo>
                  <a:pt x="2023292" y="453762"/>
                </a:lnTo>
                <a:lnTo>
                  <a:pt x="2017649" y="453870"/>
                </a:lnTo>
                <a:lnTo>
                  <a:pt x="2016564" y="456360"/>
                </a:lnTo>
                <a:lnTo>
                  <a:pt x="2011681" y="457877"/>
                </a:lnTo>
                <a:lnTo>
                  <a:pt x="2010053" y="457118"/>
                </a:lnTo>
                <a:lnTo>
                  <a:pt x="2005062" y="459283"/>
                </a:lnTo>
                <a:lnTo>
                  <a:pt x="1999744" y="459283"/>
                </a:lnTo>
                <a:lnTo>
                  <a:pt x="1998117" y="456685"/>
                </a:lnTo>
                <a:lnTo>
                  <a:pt x="1991606" y="456794"/>
                </a:lnTo>
                <a:lnTo>
                  <a:pt x="1985312" y="458742"/>
                </a:lnTo>
                <a:lnTo>
                  <a:pt x="1978258" y="458742"/>
                </a:lnTo>
                <a:lnTo>
                  <a:pt x="1971204" y="455278"/>
                </a:lnTo>
                <a:lnTo>
                  <a:pt x="1965019" y="454087"/>
                </a:lnTo>
                <a:lnTo>
                  <a:pt x="1961981" y="449648"/>
                </a:lnTo>
                <a:lnTo>
                  <a:pt x="1957314" y="444667"/>
                </a:lnTo>
                <a:lnTo>
                  <a:pt x="1958725" y="439470"/>
                </a:lnTo>
                <a:lnTo>
                  <a:pt x="1958074" y="435789"/>
                </a:lnTo>
                <a:lnTo>
                  <a:pt x="1958725" y="428210"/>
                </a:lnTo>
                <a:lnTo>
                  <a:pt x="1965887" y="426802"/>
                </a:lnTo>
                <a:lnTo>
                  <a:pt x="1973158" y="428860"/>
                </a:lnTo>
                <a:lnTo>
                  <a:pt x="1976631" y="426478"/>
                </a:lnTo>
                <a:lnTo>
                  <a:pt x="1982165" y="427777"/>
                </a:lnTo>
                <a:lnTo>
                  <a:pt x="1986614" y="427128"/>
                </a:lnTo>
                <a:lnTo>
                  <a:pt x="1992908" y="423663"/>
                </a:lnTo>
                <a:lnTo>
                  <a:pt x="2000395" y="423663"/>
                </a:lnTo>
                <a:lnTo>
                  <a:pt x="2007666" y="426478"/>
                </a:lnTo>
                <a:lnTo>
                  <a:pt x="2013526" y="426478"/>
                </a:lnTo>
                <a:lnTo>
                  <a:pt x="2016673" y="427777"/>
                </a:lnTo>
                <a:lnTo>
                  <a:pt x="2020471" y="424420"/>
                </a:lnTo>
                <a:lnTo>
                  <a:pt x="2032191" y="423988"/>
                </a:lnTo>
                <a:lnTo>
                  <a:pt x="2033276" y="420956"/>
                </a:lnTo>
                <a:lnTo>
                  <a:pt x="2035989" y="418574"/>
                </a:lnTo>
                <a:lnTo>
                  <a:pt x="2034253" y="416084"/>
                </a:lnTo>
                <a:lnTo>
                  <a:pt x="2031214" y="419549"/>
                </a:lnTo>
                <a:lnTo>
                  <a:pt x="2024595" y="419549"/>
                </a:lnTo>
                <a:lnTo>
                  <a:pt x="2024269" y="416841"/>
                </a:lnTo>
                <a:lnTo>
                  <a:pt x="2017324" y="419873"/>
                </a:lnTo>
                <a:lnTo>
                  <a:pt x="2011464" y="419873"/>
                </a:lnTo>
                <a:lnTo>
                  <a:pt x="2011464" y="416084"/>
                </a:lnTo>
                <a:lnTo>
                  <a:pt x="2008426" y="413702"/>
                </a:lnTo>
                <a:lnTo>
                  <a:pt x="2004953" y="416517"/>
                </a:lnTo>
                <a:lnTo>
                  <a:pt x="1999744" y="417166"/>
                </a:lnTo>
                <a:lnTo>
                  <a:pt x="1995946" y="418141"/>
                </a:lnTo>
                <a:lnTo>
                  <a:pt x="1993559" y="416517"/>
                </a:lnTo>
                <a:lnTo>
                  <a:pt x="1989110" y="417491"/>
                </a:lnTo>
                <a:lnTo>
                  <a:pt x="1983141" y="415759"/>
                </a:lnTo>
                <a:lnTo>
                  <a:pt x="1983141" y="411645"/>
                </a:lnTo>
                <a:lnTo>
                  <a:pt x="1988350" y="407855"/>
                </a:lnTo>
                <a:lnTo>
                  <a:pt x="1993884" y="403741"/>
                </a:lnTo>
                <a:lnTo>
                  <a:pt x="1990846" y="403416"/>
                </a:lnTo>
                <a:lnTo>
                  <a:pt x="1985637" y="404390"/>
                </a:lnTo>
                <a:lnTo>
                  <a:pt x="1982490" y="408180"/>
                </a:lnTo>
                <a:lnTo>
                  <a:pt x="1980102" y="403092"/>
                </a:lnTo>
                <a:lnTo>
                  <a:pt x="1978366" y="405040"/>
                </a:lnTo>
                <a:lnTo>
                  <a:pt x="1977716" y="409587"/>
                </a:lnTo>
                <a:lnTo>
                  <a:pt x="1969685" y="413702"/>
                </a:lnTo>
                <a:lnTo>
                  <a:pt x="1968383" y="416841"/>
                </a:lnTo>
                <a:lnTo>
                  <a:pt x="1964259" y="417816"/>
                </a:lnTo>
                <a:lnTo>
                  <a:pt x="1958725" y="414026"/>
                </a:lnTo>
                <a:lnTo>
                  <a:pt x="1959051" y="410237"/>
                </a:lnTo>
                <a:lnTo>
                  <a:pt x="1961438" y="406773"/>
                </a:lnTo>
                <a:lnTo>
                  <a:pt x="1957314" y="407206"/>
                </a:lnTo>
                <a:lnTo>
                  <a:pt x="1955252" y="405473"/>
                </a:lnTo>
                <a:lnTo>
                  <a:pt x="1954601" y="411645"/>
                </a:lnTo>
                <a:lnTo>
                  <a:pt x="1951455" y="414026"/>
                </a:lnTo>
                <a:lnTo>
                  <a:pt x="1947005" y="411969"/>
                </a:lnTo>
                <a:lnTo>
                  <a:pt x="1947331" y="406448"/>
                </a:lnTo>
                <a:lnTo>
                  <a:pt x="1942122" y="402659"/>
                </a:lnTo>
                <a:lnTo>
                  <a:pt x="1943532" y="398869"/>
                </a:lnTo>
                <a:lnTo>
                  <a:pt x="1940711" y="397894"/>
                </a:lnTo>
                <a:lnTo>
                  <a:pt x="1940060" y="402659"/>
                </a:lnTo>
                <a:lnTo>
                  <a:pt x="1937347" y="402333"/>
                </a:lnTo>
                <a:lnTo>
                  <a:pt x="1932464" y="395404"/>
                </a:lnTo>
                <a:lnTo>
                  <a:pt x="1924217" y="390316"/>
                </a:lnTo>
                <a:lnTo>
                  <a:pt x="1924217" y="388259"/>
                </a:lnTo>
                <a:lnTo>
                  <a:pt x="1929751" y="387933"/>
                </a:lnTo>
                <a:lnTo>
                  <a:pt x="1929751" y="383386"/>
                </a:lnTo>
                <a:lnTo>
                  <a:pt x="1927580" y="380355"/>
                </a:lnTo>
                <a:lnTo>
                  <a:pt x="1936913" y="374075"/>
                </a:lnTo>
                <a:lnTo>
                  <a:pt x="1942122" y="372776"/>
                </a:lnTo>
                <a:lnTo>
                  <a:pt x="1944509" y="374075"/>
                </a:lnTo>
                <a:lnTo>
                  <a:pt x="1953191" y="373749"/>
                </a:lnTo>
                <a:lnTo>
                  <a:pt x="1959051" y="377540"/>
                </a:lnTo>
                <a:lnTo>
                  <a:pt x="1964910" y="378297"/>
                </a:lnTo>
                <a:lnTo>
                  <a:pt x="1968383" y="375482"/>
                </a:lnTo>
                <a:lnTo>
                  <a:pt x="1974243" y="375157"/>
                </a:lnTo>
                <a:lnTo>
                  <a:pt x="1979777" y="371367"/>
                </a:lnTo>
                <a:lnTo>
                  <a:pt x="1976304" y="368987"/>
                </a:lnTo>
                <a:lnTo>
                  <a:pt x="1973917" y="366929"/>
                </a:lnTo>
                <a:lnTo>
                  <a:pt x="1968708" y="366929"/>
                </a:lnTo>
                <a:lnTo>
                  <a:pt x="1963825" y="368228"/>
                </a:lnTo>
                <a:lnTo>
                  <a:pt x="1955904" y="365197"/>
                </a:lnTo>
                <a:lnTo>
                  <a:pt x="1950803" y="365197"/>
                </a:lnTo>
                <a:lnTo>
                  <a:pt x="1949393" y="363464"/>
                </a:lnTo>
                <a:lnTo>
                  <a:pt x="1956229" y="356860"/>
                </a:lnTo>
                <a:lnTo>
                  <a:pt x="1961764" y="350364"/>
                </a:lnTo>
                <a:lnTo>
                  <a:pt x="1966647" y="349714"/>
                </a:lnTo>
                <a:lnTo>
                  <a:pt x="1969685" y="350688"/>
                </a:lnTo>
                <a:lnTo>
                  <a:pt x="1978692" y="348956"/>
                </a:lnTo>
                <a:lnTo>
                  <a:pt x="1989110" y="350039"/>
                </a:lnTo>
                <a:lnTo>
                  <a:pt x="1994969" y="351771"/>
                </a:lnTo>
                <a:lnTo>
                  <a:pt x="1997357" y="350688"/>
                </a:lnTo>
                <a:lnTo>
                  <a:pt x="1995946" y="347982"/>
                </a:lnTo>
                <a:lnTo>
                  <a:pt x="1993233" y="347982"/>
                </a:lnTo>
                <a:lnTo>
                  <a:pt x="1988350" y="345492"/>
                </a:lnTo>
                <a:lnTo>
                  <a:pt x="1983575" y="345492"/>
                </a:lnTo>
                <a:lnTo>
                  <a:pt x="1973917" y="342784"/>
                </a:lnTo>
                <a:lnTo>
                  <a:pt x="1970770" y="338671"/>
                </a:lnTo>
                <a:lnTo>
                  <a:pt x="1976304" y="334556"/>
                </a:lnTo>
                <a:lnTo>
                  <a:pt x="1979017" y="330334"/>
                </a:lnTo>
                <a:lnTo>
                  <a:pt x="1982165" y="327952"/>
                </a:lnTo>
                <a:lnTo>
                  <a:pt x="1985312" y="327952"/>
                </a:lnTo>
                <a:lnTo>
                  <a:pt x="1990846" y="325246"/>
                </a:lnTo>
                <a:lnTo>
                  <a:pt x="1994969" y="325246"/>
                </a:lnTo>
                <a:lnTo>
                  <a:pt x="1996706" y="327627"/>
                </a:lnTo>
                <a:lnTo>
                  <a:pt x="2000829" y="327627"/>
                </a:lnTo>
                <a:lnTo>
                  <a:pt x="2005930" y="332065"/>
                </a:lnTo>
                <a:lnTo>
                  <a:pt x="2009077" y="333473"/>
                </a:lnTo>
                <a:lnTo>
                  <a:pt x="2007015" y="329034"/>
                </a:lnTo>
                <a:lnTo>
                  <a:pt x="2001806" y="325246"/>
                </a:lnTo>
                <a:lnTo>
                  <a:pt x="2001155" y="321455"/>
                </a:lnTo>
                <a:lnTo>
                  <a:pt x="1999093" y="319399"/>
                </a:lnTo>
                <a:lnTo>
                  <a:pt x="2001806" y="316583"/>
                </a:lnTo>
                <a:close/>
                <a:moveTo>
                  <a:pt x="4755850" y="309763"/>
                </a:moveTo>
                <a:lnTo>
                  <a:pt x="4757912" y="312470"/>
                </a:lnTo>
                <a:lnTo>
                  <a:pt x="4758563" y="316151"/>
                </a:lnTo>
                <a:lnTo>
                  <a:pt x="4757043" y="318858"/>
                </a:lnTo>
                <a:lnTo>
                  <a:pt x="4753680" y="319618"/>
                </a:lnTo>
                <a:lnTo>
                  <a:pt x="4748688" y="318208"/>
                </a:lnTo>
                <a:lnTo>
                  <a:pt x="4747386" y="315177"/>
                </a:lnTo>
                <a:lnTo>
                  <a:pt x="4750749" y="314094"/>
                </a:lnTo>
                <a:lnTo>
                  <a:pt x="4753462" y="310630"/>
                </a:lnTo>
                <a:close/>
                <a:moveTo>
                  <a:pt x="6366671" y="305325"/>
                </a:moveTo>
                <a:lnTo>
                  <a:pt x="6370035" y="306081"/>
                </a:lnTo>
                <a:lnTo>
                  <a:pt x="6372313" y="311712"/>
                </a:lnTo>
                <a:lnTo>
                  <a:pt x="6378716" y="318208"/>
                </a:lnTo>
                <a:lnTo>
                  <a:pt x="6379694" y="322864"/>
                </a:lnTo>
                <a:lnTo>
                  <a:pt x="6377088" y="326871"/>
                </a:lnTo>
                <a:lnTo>
                  <a:pt x="6375352" y="331525"/>
                </a:lnTo>
                <a:lnTo>
                  <a:pt x="6376437" y="333259"/>
                </a:lnTo>
                <a:lnTo>
                  <a:pt x="6374159" y="335099"/>
                </a:lnTo>
                <a:lnTo>
                  <a:pt x="6369709" y="333042"/>
                </a:lnTo>
                <a:lnTo>
                  <a:pt x="6365369" y="327196"/>
                </a:lnTo>
                <a:lnTo>
                  <a:pt x="6361462" y="326005"/>
                </a:lnTo>
                <a:lnTo>
                  <a:pt x="6359726" y="323081"/>
                </a:lnTo>
                <a:lnTo>
                  <a:pt x="6360485" y="320483"/>
                </a:lnTo>
                <a:lnTo>
                  <a:pt x="6357122" y="315393"/>
                </a:lnTo>
                <a:lnTo>
                  <a:pt x="6356579" y="311279"/>
                </a:lnTo>
                <a:lnTo>
                  <a:pt x="6361137" y="306732"/>
                </a:lnTo>
                <a:close/>
                <a:moveTo>
                  <a:pt x="4739356" y="301642"/>
                </a:moveTo>
                <a:lnTo>
                  <a:pt x="4743154" y="303160"/>
                </a:lnTo>
                <a:lnTo>
                  <a:pt x="4743588" y="305866"/>
                </a:lnTo>
                <a:lnTo>
                  <a:pt x="4742177" y="310847"/>
                </a:lnTo>
                <a:lnTo>
                  <a:pt x="4740224" y="312254"/>
                </a:lnTo>
                <a:lnTo>
                  <a:pt x="4737294" y="309548"/>
                </a:lnTo>
                <a:lnTo>
                  <a:pt x="4738704" y="306190"/>
                </a:lnTo>
                <a:lnTo>
                  <a:pt x="4738379" y="303700"/>
                </a:lnTo>
                <a:close/>
                <a:moveTo>
                  <a:pt x="2434353" y="301425"/>
                </a:moveTo>
                <a:lnTo>
                  <a:pt x="2435330" y="309438"/>
                </a:lnTo>
                <a:lnTo>
                  <a:pt x="2434136" y="313119"/>
                </a:lnTo>
                <a:lnTo>
                  <a:pt x="2431966" y="313444"/>
                </a:lnTo>
                <a:lnTo>
                  <a:pt x="2430664" y="309655"/>
                </a:lnTo>
                <a:lnTo>
                  <a:pt x="2430555" y="304132"/>
                </a:lnTo>
                <a:lnTo>
                  <a:pt x="2431748" y="301534"/>
                </a:lnTo>
                <a:close/>
                <a:moveTo>
                  <a:pt x="4777010" y="301102"/>
                </a:moveTo>
                <a:lnTo>
                  <a:pt x="4780375" y="303807"/>
                </a:lnTo>
                <a:lnTo>
                  <a:pt x="4784064" y="309871"/>
                </a:lnTo>
                <a:lnTo>
                  <a:pt x="4783305" y="313769"/>
                </a:lnTo>
                <a:lnTo>
                  <a:pt x="4784064" y="319290"/>
                </a:lnTo>
                <a:lnTo>
                  <a:pt x="4786994" y="323406"/>
                </a:lnTo>
                <a:lnTo>
                  <a:pt x="4786668" y="326545"/>
                </a:lnTo>
                <a:lnTo>
                  <a:pt x="4780917" y="326219"/>
                </a:lnTo>
                <a:lnTo>
                  <a:pt x="4774081" y="328926"/>
                </a:lnTo>
                <a:lnTo>
                  <a:pt x="4770717" y="327736"/>
                </a:lnTo>
                <a:lnTo>
                  <a:pt x="4767678" y="324813"/>
                </a:lnTo>
                <a:lnTo>
                  <a:pt x="4766268" y="316909"/>
                </a:lnTo>
                <a:lnTo>
                  <a:pt x="4762361" y="311279"/>
                </a:lnTo>
                <a:lnTo>
                  <a:pt x="4763555" y="307489"/>
                </a:lnTo>
                <a:lnTo>
                  <a:pt x="4768872" y="304024"/>
                </a:lnTo>
                <a:lnTo>
                  <a:pt x="4774732" y="303267"/>
                </a:lnTo>
                <a:close/>
                <a:moveTo>
                  <a:pt x="4753680" y="299910"/>
                </a:moveTo>
                <a:lnTo>
                  <a:pt x="4753463" y="303160"/>
                </a:lnTo>
                <a:lnTo>
                  <a:pt x="4751618" y="305864"/>
                </a:lnTo>
                <a:lnTo>
                  <a:pt x="4749882" y="306407"/>
                </a:lnTo>
                <a:lnTo>
                  <a:pt x="4750859" y="301535"/>
                </a:lnTo>
                <a:close/>
                <a:moveTo>
                  <a:pt x="4763663" y="299586"/>
                </a:moveTo>
                <a:lnTo>
                  <a:pt x="4765182" y="301425"/>
                </a:lnTo>
                <a:lnTo>
                  <a:pt x="4763771" y="304024"/>
                </a:lnTo>
                <a:lnTo>
                  <a:pt x="4760299" y="305107"/>
                </a:lnTo>
                <a:lnTo>
                  <a:pt x="4757260" y="304240"/>
                </a:lnTo>
                <a:lnTo>
                  <a:pt x="4756718" y="302508"/>
                </a:lnTo>
                <a:lnTo>
                  <a:pt x="4759540" y="301425"/>
                </a:lnTo>
                <a:lnTo>
                  <a:pt x="4760516" y="299693"/>
                </a:lnTo>
                <a:close/>
                <a:moveTo>
                  <a:pt x="5669452" y="297854"/>
                </a:moveTo>
                <a:lnTo>
                  <a:pt x="5674335" y="298503"/>
                </a:lnTo>
                <a:lnTo>
                  <a:pt x="5677374" y="305324"/>
                </a:lnTo>
                <a:lnTo>
                  <a:pt x="5675854" y="310304"/>
                </a:lnTo>
                <a:lnTo>
                  <a:pt x="5671405" y="312252"/>
                </a:lnTo>
                <a:lnTo>
                  <a:pt x="5670863" y="310196"/>
                </a:lnTo>
                <a:lnTo>
                  <a:pt x="5671839" y="308354"/>
                </a:lnTo>
                <a:lnTo>
                  <a:pt x="5667390" y="302618"/>
                </a:lnTo>
                <a:lnTo>
                  <a:pt x="5667390" y="298827"/>
                </a:lnTo>
                <a:close/>
                <a:moveTo>
                  <a:pt x="4721884" y="295039"/>
                </a:moveTo>
                <a:lnTo>
                  <a:pt x="4724379" y="296122"/>
                </a:lnTo>
                <a:lnTo>
                  <a:pt x="4724706" y="302835"/>
                </a:lnTo>
                <a:lnTo>
                  <a:pt x="4727527" y="306949"/>
                </a:lnTo>
                <a:lnTo>
                  <a:pt x="4725465" y="308465"/>
                </a:lnTo>
                <a:lnTo>
                  <a:pt x="4721125" y="306624"/>
                </a:lnTo>
                <a:lnTo>
                  <a:pt x="4719280" y="303700"/>
                </a:lnTo>
                <a:lnTo>
                  <a:pt x="4720799" y="302077"/>
                </a:lnTo>
                <a:close/>
                <a:moveTo>
                  <a:pt x="4739790" y="294714"/>
                </a:moveTo>
                <a:lnTo>
                  <a:pt x="4743805" y="295579"/>
                </a:lnTo>
                <a:lnTo>
                  <a:pt x="4746843" y="299586"/>
                </a:lnTo>
                <a:lnTo>
                  <a:pt x="4746301" y="301751"/>
                </a:lnTo>
                <a:cubicBezTo>
                  <a:pt x="4746301" y="301751"/>
                  <a:pt x="4741851" y="300344"/>
                  <a:pt x="4741851" y="300344"/>
                </a:cubicBezTo>
                <a:lnTo>
                  <a:pt x="4738271" y="296230"/>
                </a:lnTo>
                <a:close/>
                <a:moveTo>
                  <a:pt x="1869958" y="293955"/>
                </a:moveTo>
                <a:lnTo>
                  <a:pt x="1874733" y="295471"/>
                </a:lnTo>
                <a:lnTo>
                  <a:pt x="1875492" y="298178"/>
                </a:lnTo>
                <a:lnTo>
                  <a:pt x="1873648" y="299261"/>
                </a:lnTo>
                <a:lnTo>
                  <a:pt x="1869415" y="297421"/>
                </a:lnTo>
                <a:lnTo>
                  <a:pt x="1868222" y="295471"/>
                </a:lnTo>
                <a:close/>
                <a:moveTo>
                  <a:pt x="4730458" y="293524"/>
                </a:moveTo>
                <a:lnTo>
                  <a:pt x="4733930" y="298505"/>
                </a:lnTo>
                <a:lnTo>
                  <a:pt x="4735666" y="302836"/>
                </a:lnTo>
                <a:lnTo>
                  <a:pt x="4734364" y="305542"/>
                </a:lnTo>
                <a:lnTo>
                  <a:pt x="4732194" y="305218"/>
                </a:lnTo>
                <a:lnTo>
                  <a:pt x="4727853" y="298505"/>
                </a:lnTo>
                <a:lnTo>
                  <a:pt x="4727853" y="294064"/>
                </a:lnTo>
                <a:close/>
                <a:moveTo>
                  <a:pt x="5097026" y="292873"/>
                </a:moveTo>
                <a:lnTo>
                  <a:pt x="5099847" y="294822"/>
                </a:lnTo>
                <a:lnTo>
                  <a:pt x="5103754" y="296121"/>
                </a:lnTo>
                <a:lnTo>
                  <a:pt x="5109940" y="294497"/>
                </a:lnTo>
                <a:lnTo>
                  <a:pt x="5112544" y="295688"/>
                </a:lnTo>
                <a:lnTo>
                  <a:pt x="5112001" y="298286"/>
                </a:lnTo>
                <a:lnTo>
                  <a:pt x="5105165" y="301317"/>
                </a:lnTo>
                <a:lnTo>
                  <a:pt x="5102777" y="301428"/>
                </a:lnTo>
                <a:lnTo>
                  <a:pt x="5099304" y="298395"/>
                </a:lnTo>
                <a:lnTo>
                  <a:pt x="5094421" y="297528"/>
                </a:lnTo>
                <a:lnTo>
                  <a:pt x="5093228" y="296121"/>
                </a:lnTo>
                <a:lnTo>
                  <a:pt x="5094096" y="293522"/>
                </a:lnTo>
                <a:close/>
                <a:moveTo>
                  <a:pt x="5605860" y="289191"/>
                </a:moveTo>
                <a:lnTo>
                  <a:pt x="5609117" y="289191"/>
                </a:lnTo>
                <a:lnTo>
                  <a:pt x="5614868" y="295904"/>
                </a:lnTo>
                <a:lnTo>
                  <a:pt x="5619426" y="291356"/>
                </a:lnTo>
                <a:lnTo>
                  <a:pt x="5623549" y="291356"/>
                </a:lnTo>
                <a:lnTo>
                  <a:pt x="5626046" y="298177"/>
                </a:lnTo>
                <a:lnTo>
                  <a:pt x="5632556" y="299260"/>
                </a:lnTo>
                <a:lnTo>
                  <a:pt x="5638958" y="293846"/>
                </a:lnTo>
                <a:lnTo>
                  <a:pt x="5641129" y="294605"/>
                </a:lnTo>
                <a:lnTo>
                  <a:pt x="5641129" y="301426"/>
                </a:lnTo>
                <a:lnTo>
                  <a:pt x="5642974" y="303591"/>
                </a:lnTo>
                <a:lnTo>
                  <a:pt x="5650244" y="305432"/>
                </a:lnTo>
                <a:lnTo>
                  <a:pt x="5650244" y="307381"/>
                </a:lnTo>
                <a:lnTo>
                  <a:pt x="5645578" y="310304"/>
                </a:lnTo>
                <a:lnTo>
                  <a:pt x="5645578" y="312470"/>
                </a:lnTo>
                <a:lnTo>
                  <a:pt x="5643190" y="316584"/>
                </a:lnTo>
                <a:lnTo>
                  <a:pt x="5644601" y="321672"/>
                </a:lnTo>
                <a:lnTo>
                  <a:pt x="5639501" y="329468"/>
                </a:lnTo>
                <a:lnTo>
                  <a:pt x="5634292" y="330550"/>
                </a:lnTo>
                <a:lnTo>
                  <a:pt x="5630494" y="336830"/>
                </a:lnTo>
                <a:lnTo>
                  <a:pt x="5634292" y="337913"/>
                </a:lnTo>
                <a:lnTo>
                  <a:pt x="5645144" y="333582"/>
                </a:lnTo>
                <a:lnTo>
                  <a:pt x="5652957" y="321997"/>
                </a:lnTo>
                <a:lnTo>
                  <a:pt x="5656430" y="322755"/>
                </a:lnTo>
                <a:lnTo>
                  <a:pt x="5656430" y="326219"/>
                </a:lnTo>
                <a:lnTo>
                  <a:pt x="5652957" y="331092"/>
                </a:lnTo>
                <a:lnTo>
                  <a:pt x="5652957" y="334556"/>
                </a:lnTo>
                <a:lnTo>
                  <a:pt x="5656430" y="334556"/>
                </a:lnTo>
                <a:lnTo>
                  <a:pt x="5660553" y="328277"/>
                </a:lnTo>
                <a:lnTo>
                  <a:pt x="5665219" y="325787"/>
                </a:lnTo>
                <a:lnTo>
                  <a:pt x="5667499" y="327952"/>
                </a:lnTo>
                <a:lnTo>
                  <a:pt x="5673467" y="327411"/>
                </a:lnTo>
                <a:lnTo>
                  <a:pt x="5674769" y="321997"/>
                </a:lnTo>
                <a:lnTo>
                  <a:pt x="5677265" y="321997"/>
                </a:lnTo>
                <a:lnTo>
                  <a:pt x="5680520" y="324162"/>
                </a:lnTo>
                <a:lnTo>
                  <a:pt x="5684319" y="321997"/>
                </a:lnTo>
                <a:lnTo>
                  <a:pt x="5690612" y="328277"/>
                </a:lnTo>
                <a:lnTo>
                  <a:pt x="5690612" y="332933"/>
                </a:lnTo>
                <a:lnTo>
                  <a:pt x="5693434" y="340186"/>
                </a:lnTo>
                <a:lnTo>
                  <a:pt x="5691698" y="343110"/>
                </a:lnTo>
                <a:lnTo>
                  <a:pt x="5691698" y="347657"/>
                </a:lnTo>
                <a:lnTo>
                  <a:pt x="5688442" y="354478"/>
                </a:lnTo>
                <a:lnTo>
                  <a:pt x="5694193" y="364006"/>
                </a:lnTo>
                <a:lnTo>
                  <a:pt x="5693651" y="369419"/>
                </a:lnTo>
                <a:lnTo>
                  <a:pt x="5689853" y="370827"/>
                </a:lnTo>
                <a:lnTo>
                  <a:pt x="5685838" y="374076"/>
                </a:lnTo>
                <a:lnTo>
                  <a:pt x="5689094" y="374833"/>
                </a:lnTo>
                <a:lnTo>
                  <a:pt x="5698317" y="372668"/>
                </a:lnTo>
                <a:lnTo>
                  <a:pt x="5703960" y="367037"/>
                </a:lnTo>
                <a:lnTo>
                  <a:pt x="5711230" y="367037"/>
                </a:lnTo>
                <a:lnTo>
                  <a:pt x="5714486" y="360325"/>
                </a:lnTo>
                <a:lnTo>
                  <a:pt x="5713726" y="351772"/>
                </a:lnTo>
                <a:lnTo>
                  <a:pt x="5711339" y="345276"/>
                </a:lnTo>
                <a:lnTo>
                  <a:pt x="5708735" y="345276"/>
                </a:lnTo>
                <a:lnTo>
                  <a:pt x="5705154" y="343868"/>
                </a:lnTo>
                <a:lnTo>
                  <a:pt x="5705154" y="338996"/>
                </a:lnTo>
                <a:lnTo>
                  <a:pt x="5707215" y="337264"/>
                </a:lnTo>
                <a:lnTo>
                  <a:pt x="5710797" y="337264"/>
                </a:lnTo>
                <a:lnTo>
                  <a:pt x="5713075" y="338996"/>
                </a:lnTo>
                <a:lnTo>
                  <a:pt x="5716332" y="337805"/>
                </a:lnTo>
                <a:lnTo>
                  <a:pt x="5724470" y="335747"/>
                </a:lnTo>
                <a:lnTo>
                  <a:pt x="5730438" y="329468"/>
                </a:lnTo>
                <a:lnTo>
                  <a:pt x="5733910" y="330225"/>
                </a:lnTo>
                <a:lnTo>
                  <a:pt x="5740422" y="330225"/>
                </a:lnTo>
                <a:lnTo>
                  <a:pt x="5742158" y="325570"/>
                </a:lnTo>
                <a:lnTo>
                  <a:pt x="5746499" y="321564"/>
                </a:lnTo>
                <a:lnTo>
                  <a:pt x="5748235" y="322647"/>
                </a:lnTo>
                <a:lnTo>
                  <a:pt x="5751925" y="319074"/>
                </a:lnTo>
                <a:lnTo>
                  <a:pt x="5756808" y="317991"/>
                </a:lnTo>
                <a:lnTo>
                  <a:pt x="5758761" y="319832"/>
                </a:lnTo>
                <a:lnTo>
                  <a:pt x="5763753" y="318749"/>
                </a:lnTo>
                <a:lnTo>
                  <a:pt x="5764620" y="321780"/>
                </a:lnTo>
                <a:lnTo>
                  <a:pt x="5762993" y="324271"/>
                </a:lnTo>
                <a:lnTo>
                  <a:pt x="5763861" y="328169"/>
                </a:lnTo>
                <a:lnTo>
                  <a:pt x="5774712" y="327303"/>
                </a:lnTo>
                <a:lnTo>
                  <a:pt x="5776015" y="328710"/>
                </a:lnTo>
                <a:lnTo>
                  <a:pt x="5780790" y="330442"/>
                </a:lnTo>
                <a:lnTo>
                  <a:pt x="5798695" y="341270"/>
                </a:lnTo>
                <a:lnTo>
                  <a:pt x="5802819" y="342136"/>
                </a:lnTo>
                <a:lnTo>
                  <a:pt x="5805423" y="347224"/>
                </a:lnTo>
                <a:lnTo>
                  <a:pt x="5805423" y="350689"/>
                </a:lnTo>
                <a:lnTo>
                  <a:pt x="5813670" y="360325"/>
                </a:lnTo>
                <a:lnTo>
                  <a:pt x="5815732" y="359242"/>
                </a:lnTo>
                <a:lnTo>
                  <a:pt x="5815732" y="355778"/>
                </a:lnTo>
                <a:lnTo>
                  <a:pt x="5818445" y="353937"/>
                </a:lnTo>
                <a:lnTo>
                  <a:pt x="5819204" y="351447"/>
                </a:lnTo>
                <a:lnTo>
                  <a:pt x="5816166" y="349282"/>
                </a:lnTo>
                <a:lnTo>
                  <a:pt x="5811826" y="349282"/>
                </a:lnTo>
                <a:lnTo>
                  <a:pt x="5811826" y="344734"/>
                </a:lnTo>
                <a:lnTo>
                  <a:pt x="5815732" y="342027"/>
                </a:lnTo>
                <a:lnTo>
                  <a:pt x="5819747" y="342027"/>
                </a:lnTo>
                <a:lnTo>
                  <a:pt x="5822243" y="345817"/>
                </a:lnTo>
                <a:lnTo>
                  <a:pt x="5825824" y="348956"/>
                </a:lnTo>
                <a:lnTo>
                  <a:pt x="5825824" y="352962"/>
                </a:lnTo>
                <a:lnTo>
                  <a:pt x="5832661" y="359242"/>
                </a:lnTo>
                <a:lnTo>
                  <a:pt x="5833638" y="364439"/>
                </a:lnTo>
                <a:lnTo>
                  <a:pt x="5836784" y="365739"/>
                </a:lnTo>
                <a:lnTo>
                  <a:pt x="5839389" y="364114"/>
                </a:lnTo>
                <a:lnTo>
                  <a:pt x="5841233" y="364114"/>
                </a:lnTo>
                <a:lnTo>
                  <a:pt x="5844272" y="366063"/>
                </a:lnTo>
                <a:lnTo>
                  <a:pt x="5847419" y="370610"/>
                </a:lnTo>
                <a:lnTo>
                  <a:pt x="5847419" y="375158"/>
                </a:lnTo>
                <a:lnTo>
                  <a:pt x="5851326" y="380139"/>
                </a:lnTo>
                <a:lnTo>
                  <a:pt x="5851326" y="383712"/>
                </a:lnTo>
                <a:lnTo>
                  <a:pt x="5849481" y="383712"/>
                </a:lnTo>
                <a:lnTo>
                  <a:pt x="5848830" y="381113"/>
                </a:lnTo>
                <a:lnTo>
                  <a:pt x="5846877" y="378298"/>
                </a:lnTo>
                <a:lnTo>
                  <a:pt x="5845032" y="378298"/>
                </a:lnTo>
                <a:lnTo>
                  <a:pt x="5842862" y="380788"/>
                </a:lnTo>
                <a:lnTo>
                  <a:pt x="5839063" y="377323"/>
                </a:lnTo>
                <a:lnTo>
                  <a:pt x="5830816" y="374076"/>
                </a:lnTo>
                <a:lnTo>
                  <a:pt x="5824413" y="374076"/>
                </a:lnTo>
                <a:lnTo>
                  <a:pt x="5823437" y="375482"/>
                </a:lnTo>
                <a:lnTo>
                  <a:pt x="5826692" y="379814"/>
                </a:lnTo>
                <a:lnTo>
                  <a:pt x="5832878" y="380572"/>
                </a:lnTo>
                <a:lnTo>
                  <a:pt x="5835156" y="382196"/>
                </a:lnTo>
                <a:lnTo>
                  <a:pt x="5834180" y="383495"/>
                </a:lnTo>
                <a:lnTo>
                  <a:pt x="5837110" y="389125"/>
                </a:lnTo>
                <a:lnTo>
                  <a:pt x="5839714" y="390965"/>
                </a:lnTo>
                <a:lnTo>
                  <a:pt x="5841668" y="389233"/>
                </a:lnTo>
                <a:lnTo>
                  <a:pt x="5844272" y="383820"/>
                </a:lnTo>
                <a:lnTo>
                  <a:pt x="5845683" y="383820"/>
                </a:lnTo>
                <a:lnTo>
                  <a:pt x="5847961" y="387501"/>
                </a:lnTo>
                <a:lnTo>
                  <a:pt x="5851326" y="389449"/>
                </a:lnTo>
                <a:lnTo>
                  <a:pt x="5853713" y="388043"/>
                </a:lnTo>
                <a:lnTo>
                  <a:pt x="5856426" y="388909"/>
                </a:lnTo>
                <a:lnTo>
                  <a:pt x="5857511" y="392265"/>
                </a:lnTo>
                <a:lnTo>
                  <a:pt x="5856100" y="394863"/>
                </a:lnTo>
                <a:lnTo>
                  <a:pt x="5860441" y="402334"/>
                </a:lnTo>
                <a:lnTo>
                  <a:pt x="5862069" y="410563"/>
                </a:lnTo>
                <a:lnTo>
                  <a:pt x="5862069" y="419765"/>
                </a:lnTo>
                <a:lnTo>
                  <a:pt x="5858705" y="427453"/>
                </a:lnTo>
                <a:lnTo>
                  <a:pt x="5856752" y="428211"/>
                </a:lnTo>
                <a:lnTo>
                  <a:pt x="5854798" y="432108"/>
                </a:lnTo>
                <a:lnTo>
                  <a:pt x="5855992" y="436656"/>
                </a:lnTo>
                <a:lnTo>
                  <a:pt x="5852411" y="442611"/>
                </a:lnTo>
                <a:lnTo>
                  <a:pt x="5852411" y="444885"/>
                </a:lnTo>
                <a:lnTo>
                  <a:pt x="5855449" y="448132"/>
                </a:lnTo>
                <a:lnTo>
                  <a:pt x="5855449" y="452030"/>
                </a:lnTo>
                <a:lnTo>
                  <a:pt x="5849372" y="454954"/>
                </a:lnTo>
                <a:lnTo>
                  <a:pt x="5847419" y="459718"/>
                </a:lnTo>
                <a:lnTo>
                  <a:pt x="5848721" y="462099"/>
                </a:lnTo>
                <a:lnTo>
                  <a:pt x="5845141" y="469787"/>
                </a:lnTo>
                <a:lnTo>
                  <a:pt x="5842428" y="472926"/>
                </a:lnTo>
                <a:lnTo>
                  <a:pt x="5843187" y="475525"/>
                </a:lnTo>
                <a:lnTo>
                  <a:pt x="5841016" y="480289"/>
                </a:lnTo>
                <a:lnTo>
                  <a:pt x="5836784" y="482346"/>
                </a:lnTo>
                <a:lnTo>
                  <a:pt x="5831250" y="487001"/>
                </a:lnTo>
                <a:lnTo>
                  <a:pt x="5826258" y="487001"/>
                </a:lnTo>
                <a:lnTo>
                  <a:pt x="5831684" y="488734"/>
                </a:lnTo>
                <a:lnTo>
                  <a:pt x="5835482" y="488734"/>
                </a:lnTo>
                <a:lnTo>
                  <a:pt x="5838413" y="485486"/>
                </a:lnTo>
                <a:lnTo>
                  <a:pt x="5839931" y="485486"/>
                </a:lnTo>
                <a:lnTo>
                  <a:pt x="5842428" y="492307"/>
                </a:lnTo>
                <a:lnTo>
                  <a:pt x="5838520" y="500427"/>
                </a:lnTo>
                <a:lnTo>
                  <a:pt x="5834831" y="505516"/>
                </a:lnTo>
                <a:lnTo>
                  <a:pt x="5832010" y="516992"/>
                </a:lnTo>
                <a:lnTo>
                  <a:pt x="5834614" y="522082"/>
                </a:lnTo>
                <a:lnTo>
                  <a:pt x="5835374" y="526087"/>
                </a:lnTo>
                <a:lnTo>
                  <a:pt x="5831141" y="536914"/>
                </a:lnTo>
                <a:lnTo>
                  <a:pt x="5824739" y="539188"/>
                </a:lnTo>
                <a:lnTo>
                  <a:pt x="5822786" y="538430"/>
                </a:lnTo>
                <a:lnTo>
                  <a:pt x="5819639" y="538430"/>
                </a:lnTo>
                <a:lnTo>
                  <a:pt x="5817903" y="541353"/>
                </a:lnTo>
                <a:lnTo>
                  <a:pt x="5819313" y="544060"/>
                </a:lnTo>
                <a:lnTo>
                  <a:pt x="5822026" y="553480"/>
                </a:lnTo>
                <a:lnTo>
                  <a:pt x="5820181" y="557702"/>
                </a:lnTo>
                <a:lnTo>
                  <a:pt x="5815515" y="560626"/>
                </a:lnTo>
                <a:lnTo>
                  <a:pt x="5813237" y="567014"/>
                </a:lnTo>
                <a:lnTo>
                  <a:pt x="5815515" y="573726"/>
                </a:lnTo>
                <a:lnTo>
                  <a:pt x="5815515" y="579465"/>
                </a:lnTo>
                <a:lnTo>
                  <a:pt x="5813453" y="581955"/>
                </a:lnTo>
                <a:lnTo>
                  <a:pt x="5813453" y="585853"/>
                </a:lnTo>
                <a:lnTo>
                  <a:pt x="5816709" y="588126"/>
                </a:lnTo>
                <a:lnTo>
                  <a:pt x="5813453" y="600686"/>
                </a:lnTo>
                <a:lnTo>
                  <a:pt x="5809547" y="603718"/>
                </a:lnTo>
                <a:lnTo>
                  <a:pt x="5808462" y="608156"/>
                </a:lnTo>
                <a:lnTo>
                  <a:pt x="5810089" y="605124"/>
                </a:lnTo>
                <a:lnTo>
                  <a:pt x="5814647" y="605124"/>
                </a:lnTo>
                <a:lnTo>
                  <a:pt x="5819204" y="600577"/>
                </a:lnTo>
                <a:lnTo>
                  <a:pt x="5821376" y="596138"/>
                </a:lnTo>
                <a:lnTo>
                  <a:pt x="5820290" y="594189"/>
                </a:lnTo>
                <a:lnTo>
                  <a:pt x="5821917" y="590941"/>
                </a:lnTo>
                <a:lnTo>
                  <a:pt x="5828212" y="590941"/>
                </a:lnTo>
                <a:lnTo>
                  <a:pt x="5831684" y="589859"/>
                </a:lnTo>
                <a:lnTo>
                  <a:pt x="5828103" y="588884"/>
                </a:lnTo>
                <a:lnTo>
                  <a:pt x="5820073" y="580547"/>
                </a:lnTo>
                <a:lnTo>
                  <a:pt x="5817686" y="574268"/>
                </a:lnTo>
                <a:lnTo>
                  <a:pt x="5820398" y="569071"/>
                </a:lnTo>
                <a:lnTo>
                  <a:pt x="5828537" y="568313"/>
                </a:lnTo>
                <a:lnTo>
                  <a:pt x="5837110" y="567230"/>
                </a:lnTo>
                <a:lnTo>
                  <a:pt x="5844164" y="561059"/>
                </a:lnTo>
                <a:lnTo>
                  <a:pt x="5847745" y="561059"/>
                </a:lnTo>
                <a:lnTo>
                  <a:pt x="5850458" y="558676"/>
                </a:lnTo>
                <a:lnTo>
                  <a:pt x="5847745" y="554671"/>
                </a:lnTo>
                <a:lnTo>
                  <a:pt x="5854798" y="549041"/>
                </a:lnTo>
                <a:lnTo>
                  <a:pt x="5858270" y="543410"/>
                </a:lnTo>
                <a:lnTo>
                  <a:pt x="5855775" y="538322"/>
                </a:lnTo>
                <a:lnTo>
                  <a:pt x="5855775" y="536481"/>
                </a:lnTo>
                <a:lnTo>
                  <a:pt x="5860875" y="539405"/>
                </a:lnTo>
                <a:lnTo>
                  <a:pt x="5866627" y="537564"/>
                </a:lnTo>
                <a:lnTo>
                  <a:pt x="5870099" y="532367"/>
                </a:lnTo>
                <a:lnTo>
                  <a:pt x="5867386" y="528794"/>
                </a:lnTo>
                <a:lnTo>
                  <a:pt x="5876285" y="522082"/>
                </a:lnTo>
                <a:lnTo>
                  <a:pt x="5876827" y="516884"/>
                </a:lnTo>
                <a:lnTo>
                  <a:pt x="5874874" y="513311"/>
                </a:lnTo>
                <a:lnTo>
                  <a:pt x="5865975" y="518400"/>
                </a:lnTo>
                <a:lnTo>
                  <a:pt x="5865216" y="521648"/>
                </a:lnTo>
                <a:lnTo>
                  <a:pt x="5858162" y="526845"/>
                </a:lnTo>
                <a:lnTo>
                  <a:pt x="5852953" y="524355"/>
                </a:lnTo>
                <a:lnTo>
                  <a:pt x="5849481" y="518184"/>
                </a:lnTo>
                <a:lnTo>
                  <a:pt x="5853279" y="512770"/>
                </a:lnTo>
                <a:lnTo>
                  <a:pt x="5852194" y="504866"/>
                </a:lnTo>
                <a:lnTo>
                  <a:pt x="5856860" y="500860"/>
                </a:lnTo>
                <a:lnTo>
                  <a:pt x="5863697" y="500860"/>
                </a:lnTo>
                <a:lnTo>
                  <a:pt x="5871835" y="506274"/>
                </a:lnTo>
                <a:lnTo>
                  <a:pt x="5875090" y="502484"/>
                </a:lnTo>
                <a:lnTo>
                  <a:pt x="5875090" y="497070"/>
                </a:lnTo>
                <a:lnTo>
                  <a:pt x="5881602" y="494364"/>
                </a:lnTo>
                <a:lnTo>
                  <a:pt x="5882362" y="498153"/>
                </a:lnTo>
                <a:lnTo>
                  <a:pt x="5879649" y="501185"/>
                </a:lnTo>
                <a:lnTo>
                  <a:pt x="5879649" y="505841"/>
                </a:lnTo>
                <a:lnTo>
                  <a:pt x="5892670" y="516668"/>
                </a:lnTo>
                <a:lnTo>
                  <a:pt x="5899072" y="516668"/>
                </a:lnTo>
                <a:lnTo>
                  <a:pt x="5902328" y="514719"/>
                </a:lnTo>
                <a:lnTo>
                  <a:pt x="5911335" y="513094"/>
                </a:lnTo>
                <a:lnTo>
                  <a:pt x="5915351" y="508764"/>
                </a:lnTo>
                <a:lnTo>
                  <a:pt x="5914591" y="503675"/>
                </a:lnTo>
                <a:lnTo>
                  <a:pt x="5907211" y="495231"/>
                </a:lnTo>
                <a:lnTo>
                  <a:pt x="5907211" y="492307"/>
                </a:lnTo>
                <a:lnTo>
                  <a:pt x="5909707" y="492307"/>
                </a:lnTo>
                <a:lnTo>
                  <a:pt x="5918932" y="501293"/>
                </a:lnTo>
                <a:lnTo>
                  <a:pt x="5922187" y="501293"/>
                </a:lnTo>
                <a:lnTo>
                  <a:pt x="5927287" y="505841"/>
                </a:lnTo>
                <a:lnTo>
                  <a:pt x="5926202" y="509413"/>
                </a:lnTo>
                <a:lnTo>
                  <a:pt x="5927287" y="512878"/>
                </a:lnTo>
                <a:lnTo>
                  <a:pt x="5933581" y="517967"/>
                </a:lnTo>
                <a:lnTo>
                  <a:pt x="5934449" y="526953"/>
                </a:lnTo>
                <a:lnTo>
                  <a:pt x="5936294" y="528577"/>
                </a:lnTo>
                <a:lnTo>
                  <a:pt x="5936294" y="526087"/>
                </a:lnTo>
                <a:lnTo>
                  <a:pt x="5940635" y="521432"/>
                </a:lnTo>
                <a:lnTo>
                  <a:pt x="5943130" y="520890"/>
                </a:lnTo>
                <a:lnTo>
                  <a:pt x="5945519" y="517317"/>
                </a:lnTo>
                <a:lnTo>
                  <a:pt x="5943565" y="515909"/>
                </a:lnTo>
                <a:lnTo>
                  <a:pt x="5939767" y="517750"/>
                </a:lnTo>
                <a:lnTo>
                  <a:pt x="5936294" y="516668"/>
                </a:lnTo>
                <a:lnTo>
                  <a:pt x="5933256" y="510713"/>
                </a:lnTo>
                <a:lnTo>
                  <a:pt x="5939441" y="504975"/>
                </a:lnTo>
                <a:lnTo>
                  <a:pt x="5944542" y="502051"/>
                </a:lnTo>
                <a:lnTo>
                  <a:pt x="5946929" y="498803"/>
                </a:lnTo>
                <a:lnTo>
                  <a:pt x="5949968" y="498803"/>
                </a:lnTo>
                <a:lnTo>
                  <a:pt x="5951921" y="495338"/>
                </a:lnTo>
                <a:lnTo>
                  <a:pt x="5961904" y="493498"/>
                </a:lnTo>
                <a:lnTo>
                  <a:pt x="5977639" y="489384"/>
                </a:lnTo>
                <a:lnTo>
                  <a:pt x="5996629" y="488626"/>
                </a:lnTo>
                <a:lnTo>
                  <a:pt x="6011280" y="482129"/>
                </a:lnTo>
                <a:lnTo>
                  <a:pt x="6018550" y="482129"/>
                </a:lnTo>
                <a:lnTo>
                  <a:pt x="6025278" y="484620"/>
                </a:lnTo>
                <a:lnTo>
                  <a:pt x="6025278" y="488409"/>
                </a:lnTo>
                <a:lnTo>
                  <a:pt x="6023433" y="489276"/>
                </a:lnTo>
                <a:lnTo>
                  <a:pt x="6020395" y="494905"/>
                </a:lnTo>
                <a:lnTo>
                  <a:pt x="6023108" y="503892"/>
                </a:lnTo>
                <a:lnTo>
                  <a:pt x="6029401" y="508980"/>
                </a:lnTo>
                <a:lnTo>
                  <a:pt x="6051105" y="509847"/>
                </a:lnTo>
                <a:lnTo>
                  <a:pt x="6055229" y="511146"/>
                </a:lnTo>
                <a:lnTo>
                  <a:pt x="6056856" y="510280"/>
                </a:lnTo>
                <a:lnTo>
                  <a:pt x="6064561" y="510280"/>
                </a:lnTo>
                <a:lnTo>
                  <a:pt x="6070313" y="512120"/>
                </a:lnTo>
                <a:lnTo>
                  <a:pt x="6085070" y="509739"/>
                </a:lnTo>
                <a:lnTo>
                  <a:pt x="6095922" y="504109"/>
                </a:lnTo>
                <a:lnTo>
                  <a:pt x="6099611" y="505407"/>
                </a:lnTo>
                <a:lnTo>
                  <a:pt x="6104603" y="505407"/>
                </a:lnTo>
                <a:lnTo>
                  <a:pt x="6107425" y="500752"/>
                </a:lnTo>
                <a:lnTo>
                  <a:pt x="6105580" y="497396"/>
                </a:lnTo>
                <a:lnTo>
                  <a:pt x="6110029" y="496313"/>
                </a:lnTo>
                <a:lnTo>
                  <a:pt x="6114262" y="497504"/>
                </a:lnTo>
                <a:lnTo>
                  <a:pt x="6120772" y="495663"/>
                </a:lnTo>
                <a:lnTo>
                  <a:pt x="6122292" y="499344"/>
                </a:lnTo>
                <a:lnTo>
                  <a:pt x="6124679" y="500103"/>
                </a:lnTo>
                <a:lnTo>
                  <a:pt x="6127718" y="495446"/>
                </a:lnTo>
                <a:lnTo>
                  <a:pt x="6126198" y="491874"/>
                </a:lnTo>
                <a:lnTo>
                  <a:pt x="6122183" y="488084"/>
                </a:lnTo>
                <a:lnTo>
                  <a:pt x="6122183" y="483429"/>
                </a:lnTo>
                <a:lnTo>
                  <a:pt x="6119796" y="479856"/>
                </a:lnTo>
                <a:lnTo>
                  <a:pt x="6114479" y="478773"/>
                </a:lnTo>
                <a:lnTo>
                  <a:pt x="6113719" y="472601"/>
                </a:lnTo>
                <a:lnTo>
                  <a:pt x="6111222" y="471519"/>
                </a:lnTo>
                <a:lnTo>
                  <a:pt x="6110029" y="466755"/>
                </a:lnTo>
                <a:lnTo>
                  <a:pt x="6106774" y="463074"/>
                </a:lnTo>
                <a:lnTo>
                  <a:pt x="6106014" y="457010"/>
                </a:lnTo>
                <a:lnTo>
                  <a:pt x="6108510" y="452571"/>
                </a:lnTo>
                <a:lnTo>
                  <a:pt x="6109269" y="455387"/>
                </a:lnTo>
                <a:lnTo>
                  <a:pt x="6111549" y="456794"/>
                </a:lnTo>
                <a:lnTo>
                  <a:pt x="6116866" y="452463"/>
                </a:lnTo>
                <a:lnTo>
                  <a:pt x="6115781" y="450623"/>
                </a:lnTo>
                <a:lnTo>
                  <a:pt x="6114695" y="446509"/>
                </a:lnTo>
                <a:lnTo>
                  <a:pt x="6118494" y="446509"/>
                </a:lnTo>
                <a:lnTo>
                  <a:pt x="6124136" y="450948"/>
                </a:lnTo>
                <a:lnTo>
                  <a:pt x="6126958" y="448891"/>
                </a:lnTo>
                <a:lnTo>
                  <a:pt x="6127935" y="444885"/>
                </a:lnTo>
                <a:lnTo>
                  <a:pt x="6129779" y="447699"/>
                </a:lnTo>
                <a:lnTo>
                  <a:pt x="6135965" y="447699"/>
                </a:lnTo>
                <a:lnTo>
                  <a:pt x="6139546" y="446942"/>
                </a:lnTo>
                <a:lnTo>
                  <a:pt x="6141065" y="444018"/>
                </a:lnTo>
                <a:lnTo>
                  <a:pt x="6145406" y="448565"/>
                </a:lnTo>
                <a:lnTo>
                  <a:pt x="6149421" y="449865"/>
                </a:lnTo>
                <a:lnTo>
                  <a:pt x="6152351" y="453762"/>
                </a:lnTo>
                <a:lnTo>
                  <a:pt x="6155280" y="451489"/>
                </a:lnTo>
                <a:lnTo>
                  <a:pt x="6155280" y="447050"/>
                </a:lnTo>
                <a:lnTo>
                  <a:pt x="6159513" y="447916"/>
                </a:lnTo>
                <a:lnTo>
                  <a:pt x="6162226" y="452463"/>
                </a:lnTo>
                <a:lnTo>
                  <a:pt x="6159296" y="454954"/>
                </a:lnTo>
                <a:lnTo>
                  <a:pt x="6157234" y="458960"/>
                </a:lnTo>
                <a:lnTo>
                  <a:pt x="6158862" y="460367"/>
                </a:lnTo>
                <a:lnTo>
                  <a:pt x="6164179" y="459176"/>
                </a:lnTo>
                <a:lnTo>
                  <a:pt x="6165589" y="459934"/>
                </a:lnTo>
                <a:lnTo>
                  <a:pt x="6165589" y="456361"/>
                </a:lnTo>
                <a:lnTo>
                  <a:pt x="6167760" y="455170"/>
                </a:lnTo>
                <a:lnTo>
                  <a:pt x="6170907" y="455928"/>
                </a:lnTo>
                <a:lnTo>
                  <a:pt x="6169280" y="450948"/>
                </a:lnTo>
                <a:lnTo>
                  <a:pt x="6166675" y="448782"/>
                </a:lnTo>
                <a:lnTo>
                  <a:pt x="6167760" y="446617"/>
                </a:lnTo>
                <a:lnTo>
                  <a:pt x="6172101" y="446617"/>
                </a:lnTo>
                <a:lnTo>
                  <a:pt x="6179154" y="444559"/>
                </a:lnTo>
                <a:lnTo>
                  <a:pt x="6181433" y="446725"/>
                </a:lnTo>
                <a:lnTo>
                  <a:pt x="6184255" y="445209"/>
                </a:lnTo>
                <a:lnTo>
                  <a:pt x="6190766" y="445209"/>
                </a:lnTo>
                <a:lnTo>
                  <a:pt x="6190766" y="448565"/>
                </a:lnTo>
                <a:lnTo>
                  <a:pt x="6192176" y="454845"/>
                </a:lnTo>
                <a:lnTo>
                  <a:pt x="6193370" y="451922"/>
                </a:lnTo>
                <a:lnTo>
                  <a:pt x="6195649" y="451922"/>
                </a:lnTo>
                <a:lnTo>
                  <a:pt x="6199773" y="448024"/>
                </a:lnTo>
                <a:lnTo>
                  <a:pt x="6201618" y="454629"/>
                </a:lnTo>
                <a:lnTo>
                  <a:pt x="6204439" y="454629"/>
                </a:lnTo>
                <a:lnTo>
                  <a:pt x="6208888" y="451273"/>
                </a:lnTo>
                <a:lnTo>
                  <a:pt x="6213446" y="455062"/>
                </a:lnTo>
                <a:lnTo>
                  <a:pt x="6214965" y="464264"/>
                </a:lnTo>
                <a:lnTo>
                  <a:pt x="6218112" y="458526"/>
                </a:lnTo>
                <a:lnTo>
                  <a:pt x="6220934" y="456144"/>
                </a:lnTo>
                <a:lnTo>
                  <a:pt x="6223104" y="458202"/>
                </a:lnTo>
                <a:lnTo>
                  <a:pt x="6220499" y="464373"/>
                </a:lnTo>
                <a:lnTo>
                  <a:pt x="6224080" y="467297"/>
                </a:lnTo>
                <a:lnTo>
                  <a:pt x="6225708" y="469354"/>
                </a:lnTo>
                <a:lnTo>
                  <a:pt x="6230157" y="469354"/>
                </a:lnTo>
                <a:lnTo>
                  <a:pt x="6231459" y="473901"/>
                </a:lnTo>
                <a:lnTo>
                  <a:pt x="6233412" y="472060"/>
                </a:lnTo>
                <a:lnTo>
                  <a:pt x="6235257" y="471519"/>
                </a:lnTo>
                <a:lnTo>
                  <a:pt x="6236885" y="476715"/>
                </a:lnTo>
                <a:lnTo>
                  <a:pt x="6233304" y="480722"/>
                </a:lnTo>
                <a:lnTo>
                  <a:pt x="6233847" y="486244"/>
                </a:lnTo>
                <a:lnTo>
                  <a:pt x="6240358" y="479748"/>
                </a:lnTo>
                <a:lnTo>
                  <a:pt x="6244264" y="479748"/>
                </a:lnTo>
                <a:lnTo>
                  <a:pt x="6245024" y="483321"/>
                </a:lnTo>
                <a:lnTo>
                  <a:pt x="6236017" y="491441"/>
                </a:lnTo>
                <a:lnTo>
                  <a:pt x="6236668" y="497937"/>
                </a:lnTo>
                <a:lnTo>
                  <a:pt x="6244373" y="499019"/>
                </a:lnTo>
                <a:lnTo>
                  <a:pt x="6246434" y="496421"/>
                </a:lnTo>
                <a:lnTo>
                  <a:pt x="6249690" y="494364"/>
                </a:lnTo>
                <a:lnTo>
                  <a:pt x="6252512" y="495880"/>
                </a:lnTo>
                <a:lnTo>
                  <a:pt x="6253489" y="499886"/>
                </a:lnTo>
                <a:lnTo>
                  <a:pt x="6256961" y="497829"/>
                </a:lnTo>
                <a:lnTo>
                  <a:pt x="6262278" y="503567"/>
                </a:lnTo>
                <a:lnTo>
                  <a:pt x="6260650" y="510713"/>
                </a:lnTo>
                <a:lnTo>
                  <a:pt x="6265208" y="509955"/>
                </a:lnTo>
                <a:lnTo>
                  <a:pt x="6266293" y="513528"/>
                </a:lnTo>
                <a:lnTo>
                  <a:pt x="6270091" y="511904"/>
                </a:lnTo>
                <a:lnTo>
                  <a:pt x="6270091" y="515476"/>
                </a:lnTo>
                <a:lnTo>
                  <a:pt x="6265967" y="522839"/>
                </a:lnTo>
                <a:lnTo>
                  <a:pt x="6260759" y="525004"/>
                </a:lnTo>
                <a:lnTo>
                  <a:pt x="6256418" y="521757"/>
                </a:lnTo>
                <a:lnTo>
                  <a:pt x="6247194" y="519374"/>
                </a:lnTo>
                <a:lnTo>
                  <a:pt x="6236343" y="519374"/>
                </a:lnTo>
                <a:lnTo>
                  <a:pt x="6240467" y="522082"/>
                </a:lnTo>
                <a:lnTo>
                  <a:pt x="6242311" y="527170"/>
                </a:lnTo>
                <a:lnTo>
                  <a:pt x="6251535" y="528253"/>
                </a:lnTo>
                <a:lnTo>
                  <a:pt x="6253380" y="531825"/>
                </a:lnTo>
                <a:lnTo>
                  <a:pt x="6262278" y="538539"/>
                </a:lnTo>
                <a:lnTo>
                  <a:pt x="6271176" y="540920"/>
                </a:lnTo>
                <a:lnTo>
                  <a:pt x="6276820" y="537131"/>
                </a:lnTo>
                <a:lnTo>
                  <a:pt x="6276820" y="532259"/>
                </a:lnTo>
                <a:lnTo>
                  <a:pt x="6272262" y="527928"/>
                </a:lnTo>
                <a:lnTo>
                  <a:pt x="6270851" y="524896"/>
                </a:lnTo>
                <a:lnTo>
                  <a:pt x="6272262" y="524896"/>
                </a:lnTo>
                <a:lnTo>
                  <a:pt x="6277688" y="530310"/>
                </a:lnTo>
                <a:lnTo>
                  <a:pt x="6283330" y="533017"/>
                </a:lnTo>
                <a:lnTo>
                  <a:pt x="6286586" y="535182"/>
                </a:lnTo>
                <a:lnTo>
                  <a:pt x="6282462" y="535182"/>
                </a:lnTo>
                <a:lnTo>
                  <a:pt x="6273022" y="544060"/>
                </a:lnTo>
                <a:lnTo>
                  <a:pt x="6275192" y="546984"/>
                </a:lnTo>
                <a:lnTo>
                  <a:pt x="6279315" y="546984"/>
                </a:lnTo>
                <a:lnTo>
                  <a:pt x="6282354" y="544602"/>
                </a:lnTo>
                <a:lnTo>
                  <a:pt x="6289191" y="544602"/>
                </a:lnTo>
                <a:lnTo>
                  <a:pt x="6304708" y="558893"/>
                </a:lnTo>
                <a:lnTo>
                  <a:pt x="6308724" y="560517"/>
                </a:lnTo>
                <a:lnTo>
                  <a:pt x="6313607" y="566797"/>
                </a:lnTo>
                <a:lnTo>
                  <a:pt x="6324458" y="567880"/>
                </a:lnTo>
                <a:lnTo>
                  <a:pt x="6331295" y="575784"/>
                </a:lnTo>
                <a:lnTo>
                  <a:pt x="6338348" y="577408"/>
                </a:lnTo>
                <a:lnTo>
                  <a:pt x="6339976" y="574376"/>
                </a:lnTo>
                <a:lnTo>
                  <a:pt x="6338132" y="571128"/>
                </a:lnTo>
                <a:lnTo>
                  <a:pt x="6340628" y="569287"/>
                </a:lnTo>
                <a:lnTo>
                  <a:pt x="6344751" y="573618"/>
                </a:lnTo>
                <a:lnTo>
                  <a:pt x="6345835" y="577408"/>
                </a:lnTo>
                <a:lnTo>
                  <a:pt x="6348766" y="581738"/>
                </a:lnTo>
                <a:lnTo>
                  <a:pt x="6351696" y="581738"/>
                </a:lnTo>
                <a:lnTo>
                  <a:pt x="6352998" y="576324"/>
                </a:lnTo>
                <a:lnTo>
                  <a:pt x="6348115" y="551098"/>
                </a:lnTo>
                <a:lnTo>
                  <a:pt x="6343015" y="540271"/>
                </a:lnTo>
                <a:lnTo>
                  <a:pt x="6336286" y="525979"/>
                </a:lnTo>
                <a:lnTo>
                  <a:pt x="6334876" y="513311"/>
                </a:lnTo>
                <a:lnTo>
                  <a:pt x="6331295" y="505516"/>
                </a:lnTo>
                <a:lnTo>
                  <a:pt x="6331295" y="501943"/>
                </a:lnTo>
                <a:lnTo>
                  <a:pt x="6335635" y="503784"/>
                </a:lnTo>
                <a:lnTo>
                  <a:pt x="6338565" y="509955"/>
                </a:lnTo>
                <a:lnTo>
                  <a:pt x="6343774" y="515585"/>
                </a:lnTo>
                <a:lnTo>
                  <a:pt x="6349526" y="516992"/>
                </a:lnTo>
                <a:lnTo>
                  <a:pt x="6354626" y="522731"/>
                </a:lnTo>
                <a:lnTo>
                  <a:pt x="6363524" y="523597"/>
                </a:lnTo>
                <a:lnTo>
                  <a:pt x="6382298" y="521432"/>
                </a:lnTo>
                <a:lnTo>
                  <a:pt x="6386421" y="523056"/>
                </a:lnTo>
                <a:lnTo>
                  <a:pt x="6390002" y="521215"/>
                </a:lnTo>
                <a:lnTo>
                  <a:pt x="6394668" y="525221"/>
                </a:lnTo>
                <a:lnTo>
                  <a:pt x="6395536" y="523922"/>
                </a:lnTo>
                <a:lnTo>
                  <a:pt x="6391955" y="518508"/>
                </a:lnTo>
                <a:lnTo>
                  <a:pt x="6393040" y="515476"/>
                </a:lnTo>
                <a:lnTo>
                  <a:pt x="6389460" y="512012"/>
                </a:lnTo>
                <a:lnTo>
                  <a:pt x="6391413" y="509630"/>
                </a:lnTo>
                <a:lnTo>
                  <a:pt x="6392172" y="505083"/>
                </a:lnTo>
                <a:lnTo>
                  <a:pt x="6408233" y="498370"/>
                </a:lnTo>
                <a:lnTo>
                  <a:pt x="6410729" y="499669"/>
                </a:lnTo>
                <a:lnTo>
                  <a:pt x="6414744" y="498911"/>
                </a:lnTo>
                <a:lnTo>
                  <a:pt x="6419844" y="501835"/>
                </a:lnTo>
                <a:lnTo>
                  <a:pt x="6427223" y="501835"/>
                </a:lnTo>
                <a:lnTo>
                  <a:pt x="6432866" y="507465"/>
                </a:lnTo>
                <a:lnTo>
                  <a:pt x="6438510" y="509089"/>
                </a:lnTo>
                <a:lnTo>
                  <a:pt x="6441547" y="514178"/>
                </a:lnTo>
                <a:lnTo>
                  <a:pt x="6449469" y="514178"/>
                </a:lnTo>
                <a:lnTo>
                  <a:pt x="6451965" y="518833"/>
                </a:lnTo>
                <a:lnTo>
                  <a:pt x="6462817" y="518833"/>
                </a:lnTo>
                <a:lnTo>
                  <a:pt x="6456089" y="515044"/>
                </a:lnTo>
                <a:lnTo>
                  <a:pt x="6456089" y="512662"/>
                </a:lnTo>
                <a:lnTo>
                  <a:pt x="6462600" y="514502"/>
                </a:lnTo>
                <a:lnTo>
                  <a:pt x="6466941" y="511037"/>
                </a:lnTo>
                <a:lnTo>
                  <a:pt x="6461732" y="508331"/>
                </a:lnTo>
                <a:lnTo>
                  <a:pt x="6465530" y="505083"/>
                </a:lnTo>
                <a:lnTo>
                  <a:pt x="6461406" y="500752"/>
                </a:lnTo>
                <a:lnTo>
                  <a:pt x="6455221" y="504000"/>
                </a:lnTo>
                <a:lnTo>
                  <a:pt x="6449795" y="502593"/>
                </a:lnTo>
                <a:lnTo>
                  <a:pt x="6449035" y="495013"/>
                </a:lnTo>
                <a:lnTo>
                  <a:pt x="6446865" y="489600"/>
                </a:lnTo>
                <a:lnTo>
                  <a:pt x="6449795" y="487218"/>
                </a:lnTo>
                <a:lnTo>
                  <a:pt x="6452725" y="489708"/>
                </a:lnTo>
                <a:lnTo>
                  <a:pt x="6456848" y="487001"/>
                </a:lnTo>
                <a:lnTo>
                  <a:pt x="6454353" y="483212"/>
                </a:lnTo>
                <a:lnTo>
                  <a:pt x="6457934" y="481913"/>
                </a:lnTo>
                <a:lnTo>
                  <a:pt x="6465312" y="487543"/>
                </a:lnTo>
                <a:lnTo>
                  <a:pt x="6467266" y="492740"/>
                </a:lnTo>
                <a:lnTo>
                  <a:pt x="6470305" y="491658"/>
                </a:lnTo>
                <a:lnTo>
                  <a:pt x="6473018" y="494040"/>
                </a:lnTo>
                <a:lnTo>
                  <a:pt x="6475948" y="492415"/>
                </a:lnTo>
                <a:lnTo>
                  <a:pt x="6474320" y="486785"/>
                </a:lnTo>
                <a:lnTo>
                  <a:pt x="6479420" y="484836"/>
                </a:lnTo>
                <a:lnTo>
                  <a:pt x="6483001" y="487326"/>
                </a:lnTo>
                <a:lnTo>
                  <a:pt x="6484303" y="482995"/>
                </a:lnTo>
                <a:lnTo>
                  <a:pt x="6476924" y="474334"/>
                </a:lnTo>
                <a:lnTo>
                  <a:pt x="6471064" y="473793"/>
                </a:lnTo>
                <a:lnTo>
                  <a:pt x="6465312" y="467838"/>
                </a:lnTo>
                <a:lnTo>
                  <a:pt x="6466398" y="462424"/>
                </a:lnTo>
                <a:lnTo>
                  <a:pt x="6463902" y="458634"/>
                </a:lnTo>
                <a:lnTo>
                  <a:pt x="6458910" y="460800"/>
                </a:lnTo>
                <a:lnTo>
                  <a:pt x="6454027" y="459501"/>
                </a:lnTo>
                <a:lnTo>
                  <a:pt x="6459996" y="456036"/>
                </a:lnTo>
                <a:lnTo>
                  <a:pt x="6457825" y="451922"/>
                </a:lnTo>
                <a:lnTo>
                  <a:pt x="6458910" y="450623"/>
                </a:lnTo>
                <a:lnTo>
                  <a:pt x="6455112" y="444885"/>
                </a:lnTo>
                <a:lnTo>
                  <a:pt x="6463251" y="444885"/>
                </a:lnTo>
                <a:lnTo>
                  <a:pt x="6464879" y="436222"/>
                </a:lnTo>
                <a:lnTo>
                  <a:pt x="6455980" y="438929"/>
                </a:lnTo>
                <a:lnTo>
                  <a:pt x="6450881" y="444018"/>
                </a:lnTo>
                <a:lnTo>
                  <a:pt x="6450012" y="449215"/>
                </a:lnTo>
                <a:lnTo>
                  <a:pt x="6441547" y="446833"/>
                </a:lnTo>
                <a:lnTo>
                  <a:pt x="6436448" y="437630"/>
                </a:lnTo>
                <a:lnTo>
                  <a:pt x="6439160" y="433083"/>
                </a:lnTo>
                <a:lnTo>
                  <a:pt x="6440028" y="426370"/>
                </a:lnTo>
                <a:lnTo>
                  <a:pt x="6448167" y="423338"/>
                </a:lnTo>
                <a:lnTo>
                  <a:pt x="6453268" y="424096"/>
                </a:lnTo>
                <a:lnTo>
                  <a:pt x="6461623" y="416301"/>
                </a:lnTo>
                <a:lnTo>
                  <a:pt x="6461623" y="412836"/>
                </a:lnTo>
                <a:lnTo>
                  <a:pt x="6456740" y="407098"/>
                </a:lnTo>
                <a:lnTo>
                  <a:pt x="6452182" y="407856"/>
                </a:lnTo>
                <a:lnTo>
                  <a:pt x="6447624" y="406015"/>
                </a:lnTo>
                <a:lnTo>
                  <a:pt x="6439486" y="406015"/>
                </a:lnTo>
                <a:lnTo>
                  <a:pt x="6434277" y="399735"/>
                </a:lnTo>
                <a:lnTo>
                  <a:pt x="6441114" y="397028"/>
                </a:lnTo>
                <a:lnTo>
                  <a:pt x="6450555" y="395621"/>
                </a:lnTo>
                <a:lnTo>
                  <a:pt x="6461406" y="400277"/>
                </a:lnTo>
                <a:lnTo>
                  <a:pt x="6471390" y="398328"/>
                </a:lnTo>
                <a:lnTo>
                  <a:pt x="6487451" y="398328"/>
                </a:lnTo>
                <a:lnTo>
                  <a:pt x="6515122" y="396379"/>
                </a:lnTo>
                <a:lnTo>
                  <a:pt x="6519679" y="393673"/>
                </a:lnTo>
                <a:lnTo>
                  <a:pt x="6540081" y="393673"/>
                </a:lnTo>
                <a:lnTo>
                  <a:pt x="6549304" y="394755"/>
                </a:lnTo>
                <a:lnTo>
                  <a:pt x="6556141" y="393673"/>
                </a:lnTo>
                <a:lnTo>
                  <a:pt x="6567752" y="393673"/>
                </a:lnTo>
                <a:lnTo>
                  <a:pt x="6561567" y="395621"/>
                </a:lnTo>
                <a:lnTo>
                  <a:pt x="6545615" y="402659"/>
                </a:lnTo>
                <a:lnTo>
                  <a:pt x="6540298" y="399952"/>
                </a:lnTo>
                <a:lnTo>
                  <a:pt x="6537802" y="400818"/>
                </a:lnTo>
                <a:lnTo>
                  <a:pt x="6532702" y="398869"/>
                </a:lnTo>
                <a:lnTo>
                  <a:pt x="6529663" y="408938"/>
                </a:lnTo>
                <a:lnTo>
                  <a:pt x="6534546" y="414352"/>
                </a:lnTo>
                <a:lnTo>
                  <a:pt x="6530531" y="415976"/>
                </a:lnTo>
                <a:lnTo>
                  <a:pt x="6529446" y="419549"/>
                </a:lnTo>
                <a:lnTo>
                  <a:pt x="6534112" y="422473"/>
                </a:lnTo>
                <a:lnTo>
                  <a:pt x="6541165" y="417383"/>
                </a:lnTo>
                <a:lnTo>
                  <a:pt x="6541165" y="412295"/>
                </a:lnTo>
                <a:lnTo>
                  <a:pt x="6553645" y="403850"/>
                </a:lnTo>
                <a:lnTo>
                  <a:pt x="6569706" y="397570"/>
                </a:lnTo>
                <a:lnTo>
                  <a:pt x="6572093" y="406232"/>
                </a:lnTo>
                <a:lnTo>
                  <a:pt x="6572853" y="418467"/>
                </a:lnTo>
                <a:lnTo>
                  <a:pt x="6571442" y="421173"/>
                </a:lnTo>
                <a:lnTo>
                  <a:pt x="6568512" y="413377"/>
                </a:lnTo>
                <a:lnTo>
                  <a:pt x="6563846" y="408830"/>
                </a:lnTo>
                <a:lnTo>
                  <a:pt x="6563846" y="403741"/>
                </a:lnTo>
                <a:lnTo>
                  <a:pt x="6558962" y="408073"/>
                </a:lnTo>
                <a:lnTo>
                  <a:pt x="6555708" y="406773"/>
                </a:lnTo>
                <a:lnTo>
                  <a:pt x="6558854" y="415218"/>
                </a:lnTo>
                <a:lnTo>
                  <a:pt x="6563737" y="417167"/>
                </a:lnTo>
                <a:lnTo>
                  <a:pt x="6565582" y="426695"/>
                </a:lnTo>
                <a:lnTo>
                  <a:pt x="6562110" y="434274"/>
                </a:lnTo>
                <a:lnTo>
                  <a:pt x="6558854" y="432866"/>
                </a:lnTo>
                <a:lnTo>
                  <a:pt x="6555381" y="435790"/>
                </a:lnTo>
                <a:lnTo>
                  <a:pt x="6561024" y="439579"/>
                </a:lnTo>
                <a:lnTo>
                  <a:pt x="6561024" y="442827"/>
                </a:lnTo>
                <a:lnTo>
                  <a:pt x="6563195" y="445209"/>
                </a:lnTo>
                <a:lnTo>
                  <a:pt x="6567210" y="445209"/>
                </a:lnTo>
                <a:lnTo>
                  <a:pt x="6573396" y="440337"/>
                </a:lnTo>
                <a:lnTo>
                  <a:pt x="6573396" y="433191"/>
                </a:lnTo>
                <a:lnTo>
                  <a:pt x="6578062" y="426153"/>
                </a:lnTo>
                <a:lnTo>
                  <a:pt x="6576217" y="421606"/>
                </a:lnTo>
                <a:lnTo>
                  <a:pt x="6576759" y="415110"/>
                </a:lnTo>
                <a:lnTo>
                  <a:pt x="6574915" y="390749"/>
                </a:lnTo>
                <a:lnTo>
                  <a:pt x="6583270" y="384037"/>
                </a:lnTo>
                <a:lnTo>
                  <a:pt x="6595967" y="381329"/>
                </a:lnTo>
                <a:lnTo>
                  <a:pt x="6609857" y="377757"/>
                </a:lnTo>
                <a:lnTo>
                  <a:pt x="6622662" y="379380"/>
                </a:lnTo>
                <a:lnTo>
                  <a:pt x="6638614" y="385119"/>
                </a:lnTo>
                <a:lnTo>
                  <a:pt x="6646536" y="395946"/>
                </a:lnTo>
                <a:lnTo>
                  <a:pt x="6645776" y="401359"/>
                </a:lnTo>
                <a:lnTo>
                  <a:pt x="6641760" y="404283"/>
                </a:lnTo>
                <a:lnTo>
                  <a:pt x="6633080" y="397570"/>
                </a:lnTo>
                <a:lnTo>
                  <a:pt x="6632211" y="398978"/>
                </a:lnTo>
                <a:lnTo>
                  <a:pt x="6633840" y="404066"/>
                </a:lnTo>
                <a:lnTo>
                  <a:pt x="6633840" y="408722"/>
                </a:lnTo>
                <a:lnTo>
                  <a:pt x="6634924" y="413269"/>
                </a:lnTo>
                <a:lnTo>
                  <a:pt x="6630800" y="416734"/>
                </a:lnTo>
                <a:lnTo>
                  <a:pt x="6634273" y="418141"/>
                </a:lnTo>
                <a:lnTo>
                  <a:pt x="6639482" y="414893"/>
                </a:lnTo>
                <a:lnTo>
                  <a:pt x="6647620" y="414352"/>
                </a:lnTo>
                <a:lnTo>
                  <a:pt x="6652504" y="409479"/>
                </a:lnTo>
                <a:lnTo>
                  <a:pt x="6654674" y="416517"/>
                </a:lnTo>
                <a:lnTo>
                  <a:pt x="6657387" y="421606"/>
                </a:lnTo>
                <a:lnTo>
                  <a:pt x="6658147" y="427561"/>
                </a:lnTo>
                <a:lnTo>
                  <a:pt x="6661077" y="430593"/>
                </a:lnTo>
                <a:lnTo>
                  <a:pt x="6664115" y="425179"/>
                </a:lnTo>
                <a:lnTo>
                  <a:pt x="6663247" y="421931"/>
                </a:lnTo>
                <a:lnTo>
                  <a:pt x="6668998" y="416734"/>
                </a:lnTo>
                <a:lnTo>
                  <a:pt x="6674750" y="419657"/>
                </a:lnTo>
                <a:lnTo>
                  <a:pt x="6676920" y="425612"/>
                </a:lnTo>
                <a:lnTo>
                  <a:pt x="6674750" y="428860"/>
                </a:lnTo>
                <a:lnTo>
                  <a:pt x="6672905" y="435573"/>
                </a:lnTo>
                <a:lnTo>
                  <a:pt x="6674316" y="437955"/>
                </a:lnTo>
                <a:lnTo>
                  <a:pt x="6677788" y="436114"/>
                </a:lnTo>
                <a:lnTo>
                  <a:pt x="6680284" y="430159"/>
                </a:lnTo>
                <a:lnTo>
                  <a:pt x="6682781" y="429077"/>
                </a:lnTo>
                <a:lnTo>
                  <a:pt x="6684734" y="432650"/>
                </a:lnTo>
                <a:lnTo>
                  <a:pt x="6684734" y="427236"/>
                </a:lnTo>
                <a:lnTo>
                  <a:pt x="6689400" y="417708"/>
                </a:lnTo>
                <a:lnTo>
                  <a:pt x="6691353" y="415759"/>
                </a:lnTo>
                <a:lnTo>
                  <a:pt x="6694934" y="417600"/>
                </a:lnTo>
                <a:lnTo>
                  <a:pt x="6705786" y="425179"/>
                </a:lnTo>
                <a:lnTo>
                  <a:pt x="6717940" y="428102"/>
                </a:lnTo>
                <a:lnTo>
                  <a:pt x="6724668" y="436006"/>
                </a:lnTo>
                <a:lnTo>
                  <a:pt x="6723582" y="440120"/>
                </a:lnTo>
                <a:lnTo>
                  <a:pt x="6715769" y="444777"/>
                </a:lnTo>
                <a:lnTo>
                  <a:pt x="6710560" y="450189"/>
                </a:lnTo>
                <a:lnTo>
                  <a:pt x="6717398" y="446725"/>
                </a:lnTo>
                <a:lnTo>
                  <a:pt x="6727489" y="444559"/>
                </a:lnTo>
                <a:lnTo>
                  <a:pt x="6734218" y="446942"/>
                </a:lnTo>
                <a:lnTo>
                  <a:pt x="6742138" y="444993"/>
                </a:lnTo>
                <a:lnTo>
                  <a:pt x="6747890" y="439795"/>
                </a:lnTo>
                <a:lnTo>
                  <a:pt x="6753316" y="437306"/>
                </a:lnTo>
                <a:lnTo>
                  <a:pt x="6762866" y="429402"/>
                </a:lnTo>
                <a:lnTo>
                  <a:pt x="6767532" y="427561"/>
                </a:lnTo>
                <a:lnTo>
                  <a:pt x="6775344" y="419765"/>
                </a:lnTo>
                <a:lnTo>
                  <a:pt x="6782073" y="418141"/>
                </a:lnTo>
                <a:lnTo>
                  <a:pt x="6799978" y="409155"/>
                </a:lnTo>
                <a:lnTo>
                  <a:pt x="6808877" y="406124"/>
                </a:lnTo>
                <a:lnTo>
                  <a:pt x="6814085" y="407206"/>
                </a:lnTo>
                <a:lnTo>
                  <a:pt x="6814085" y="405257"/>
                </a:lnTo>
                <a:lnTo>
                  <a:pt x="6824178" y="398544"/>
                </a:lnTo>
                <a:lnTo>
                  <a:pt x="6829820" y="397462"/>
                </a:lnTo>
                <a:lnTo>
                  <a:pt x="6842082" y="397462"/>
                </a:lnTo>
                <a:lnTo>
                  <a:pt x="6865414" y="405257"/>
                </a:lnTo>
                <a:lnTo>
                  <a:pt x="6875397" y="416084"/>
                </a:lnTo>
                <a:lnTo>
                  <a:pt x="6885490" y="421281"/>
                </a:lnTo>
                <a:lnTo>
                  <a:pt x="6893953" y="431026"/>
                </a:lnTo>
                <a:lnTo>
                  <a:pt x="6898512" y="439471"/>
                </a:lnTo>
                <a:lnTo>
                  <a:pt x="6898512" y="444018"/>
                </a:lnTo>
                <a:lnTo>
                  <a:pt x="6900681" y="446509"/>
                </a:lnTo>
                <a:lnTo>
                  <a:pt x="6900681" y="453330"/>
                </a:lnTo>
                <a:lnTo>
                  <a:pt x="6905564" y="462749"/>
                </a:lnTo>
                <a:lnTo>
                  <a:pt x="6905564" y="467297"/>
                </a:lnTo>
                <a:lnTo>
                  <a:pt x="6902092" y="472385"/>
                </a:lnTo>
                <a:lnTo>
                  <a:pt x="6907518" y="471085"/>
                </a:lnTo>
                <a:lnTo>
                  <a:pt x="6913161" y="464373"/>
                </a:lnTo>
                <a:lnTo>
                  <a:pt x="6919672" y="464373"/>
                </a:lnTo>
                <a:lnTo>
                  <a:pt x="6922710" y="467405"/>
                </a:lnTo>
                <a:lnTo>
                  <a:pt x="6922710" y="463940"/>
                </a:lnTo>
                <a:lnTo>
                  <a:pt x="6929221" y="463074"/>
                </a:lnTo>
                <a:lnTo>
                  <a:pt x="6934431" y="466106"/>
                </a:lnTo>
                <a:lnTo>
                  <a:pt x="6936600" y="471844"/>
                </a:lnTo>
                <a:lnTo>
                  <a:pt x="6937686" y="467297"/>
                </a:lnTo>
                <a:lnTo>
                  <a:pt x="6935732" y="459934"/>
                </a:lnTo>
                <a:lnTo>
                  <a:pt x="6939856" y="459934"/>
                </a:lnTo>
                <a:lnTo>
                  <a:pt x="6943437" y="466213"/>
                </a:lnTo>
                <a:lnTo>
                  <a:pt x="6951359" y="473793"/>
                </a:lnTo>
                <a:lnTo>
                  <a:pt x="6952770" y="482454"/>
                </a:lnTo>
                <a:lnTo>
                  <a:pt x="6957110" y="482454"/>
                </a:lnTo>
                <a:lnTo>
                  <a:pt x="6964164" y="491333"/>
                </a:lnTo>
                <a:lnTo>
                  <a:pt x="6964164" y="488626"/>
                </a:lnTo>
                <a:lnTo>
                  <a:pt x="6961776" y="481046"/>
                </a:lnTo>
                <a:lnTo>
                  <a:pt x="6957110" y="478881"/>
                </a:lnTo>
                <a:lnTo>
                  <a:pt x="6956242" y="474550"/>
                </a:lnTo>
                <a:lnTo>
                  <a:pt x="6961342" y="477474"/>
                </a:lnTo>
                <a:lnTo>
                  <a:pt x="6965358" y="476932"/>
                </a:lnTo>
                <a:lnTo>
                  <a:pt x="6970241" y="481805"/>
                </a:lnTo>
                <a:lnTo>
                  <a:pt x="6976752" y="490791"/>
                </a:lnTo>
                <a:lnTo>
                  <a:pt x="6975450" y="483537"/>
                </a:lnTo>
                <a:lnTo>
                  <a:pt x="6966551" y="471085"/>
                </a:lnTo>
                <a:lnTo>
                  <a:pt x="6966551" y="460258"/>
                </a:lnTo>
                <a:lnTo>
                  <a:pt x="6966551" y="451164"/>
                </a:lnTo>
                <a:lnTo>
                  <a:pt x="6972303" y="444559"/>
                </a:lnTo>
                <a:lnTo>
                  <a:pt x="6981852" y="443585"/>
                </a:lnTo>
                <a:lnTo>
                  <a:pt x="6986301" y="440120"/>
                </a:lnTo>
                <a:lnTo>
                  <a:pt x="6994549" y="436764"/>
                </a:lnTo>
                <a:lnTo>
                  <a:pt x="6994006" y="433191"/>
                </a:lnTo>
                <a:lnTo>
                  <a:pt x="6995633" y="431350"/>
                </a:lnTo>
                <a:lnTo>
                  <a:pt x="6998890" y="431350"/>
                </a:lnTo>
                <a:lnTo>
                  <a:pt x="7003664" y="435898"/>
                </a:lnTo>
                <a:lnTo>
                  <a:pt x="7007679" y="437197"/>
                </a:lnTo>
                <a:lnTo>
                  <a:pt x="7014624" y="435790"/>
                </a:lnTo>
                <a:lnTo>
                  <a:pt x="7021026" y="430810"/>
                </a:lnTo>
                <a:lnTo>
                  <a:pt x="7024499" y="432000"/>
                </a:lnTo>
                <a:lnTo>
                  <a:pt x="7033072" y="428860"/>
                </a:lnTo>
                <a:lnTo>
                  <a:pt x="7043055" y="429618"/>
                </a:lnTo>
                <a:lnTo>
                  <a:pt x="7047504" y="426695"/>
                </a:lnTo>
                <a:lnTo>
                  <a:pt x="7049783" y="426695"/>
                </a:lnTo>
                <a:lnTo>
                  <a:pt x="7050434" y="429618"/>
                </a:lnTo>
                <a:lnTo>
                  <a:pt x="7053473" y="432758"/>
                </a:lnTo>
                <a:lnTo>
                  <a:pt x="7055535" y="427669"/>
                </a:lnTo>
                <a:lnTo>
                  <a:pt x="7061069" y="419982"/>
                </a:lnTo>
                <a:lnTo>
                  <a:pt x="7060201" y="416517"/>
                </a:lnTo>
                <a:lnTo>
                  <a:pt x="7060201" y="410130"/>
                </a:lnTo>
                <a:lnTo>
                  <a:pt x="7060201" y="404824"/>
                </a:lnTo>
                <a:lnTo>
                  <a:pt x="7062696" y="402550"/>
                </a:lnTo>
                <a:lnTo>
                  <a:pt x="7070293" y="404392"/>
                </a:lnTo>
                <a:lnTo>
                  <a:pt x="7072789" y="409804"/>
                </a:lnTo>
                <a:lnTo>
                  <a:pt x="7073874" y="412728"/>
                </a:lnTo>
                <a:lnTo>
                  <a:pt x="7080060" y="413486"/>
                </a:lnTo>
                <a:lnTo>
                  <a:pt x="7084400" y="416951"/>
                </a:lnTo>
                <a:lnTo>
                  <a:pt x="7084400" y="422689"/>
                </a:lnTo>
                <a:lnTo>
                  <a:pt x="7091237" y="430268"/>
                </a:lnTo>
                <a:lnTo>
                  <a:pt x="7094709" y="432650"/>
                </a:lnTo>
                <a:lnTo>
                  <a:pt x="7101980" y="431567"/>
                </a:lnTo>
                <a:lnTo>
                  <a:pt x="7112832" y="434057"/>
                </a:lnTo>
                <a:lnTo>
                  <a:pt x="7114460" y="432650"/>
                </a:lnTo>
                <a:lnTo>
                  <a:pt x="7117932" y="432650"/>
                </a:lnTo>
                <a:lnTo>
                  <a:pt x="7125853" y="443477"/>
                </a:lnTo>
                <a:lnTo>
                  <a:pt x="7125853" y="448674"/>
                </a:lnTo>
                <a:lnTo>
                  <a:pt x="7128892" y="451597"/>
                </a:lnTo>
                <a:lnTo>
                  <a:pt x="7136814" y="452679"/>
                </a:lnTo>
                <a:lnTo>
                  <a:pt x="7140612" y="449973"/>
                </a:lnTo>
                <a:lnTo>
                  <a:pt x="7146581" y="449215"/>
                </a:lnTo>
                <a:lnTo>
                  <a:pt x="7145821" y="445426"/>
                </a:lnTo>
                <a:lnTo>
                  <a:pt x="7151464" y="441853"/>
                </a:lnTo>
                <a:lnTo>
                  <a:pt x="7154719" y="442935"/>
                </a:lnTo>
                <a:lnTo>
                  <a:pt x="7156672" y="440987"/>
                </a:lnTo>
                <a:lnTo>
                  <a:pt x="7153417" y="436439"/>
                </a:lnTo>
                <a:lnTo>
                  <a:pt x="7155586" y="434491"/>
                </a:lnTo>
                <a:lnTo>
                  <a:pt x="7154177" y="431567"/>
                </a:lnTo>
                <a:lnTo>
                  <a:pt x="7154177" y="428319"/>
                </a:lnTo>
                <a:lnTo>
                  <a:pt x="7149510" y="422364"/>
                </a:lnTo>
                <a:lnTo>
                  <a:pt x="7142674" y="419982"/>
                </a:lnTo>
                <a:lnTo>
                  <a:pt x="7141046" y="412403"/>
                </a:lnTo>
                <a:lnTo>
                  <a:pt x="7132365" y="403958"/>
                </a:lnTo>
                <a:lnTo>
                  <a:pt x="7128892" y="403092"/>
                </a:lnTo>
                <a:lnTo>
                  <a:pt x="7126722" y="399519"/>
                </a:lnTo>
                <a:lnTo>
                  <a:pt x="7118258" y="395512"/>
                </a:lnTo>
                <a:lnTo>
                  <a:pt x="7113917" y="399302"/>
                </a:lnTo>
                <a:lnTo>
                  <a:pt x="7111204" y="399302"/>
                </a:lnTo>
                <a:lnTo>
                  <a:pt x="7111204" y="393131"/>
                </a:lnTo>
                <a:lnTo>
                  <a:pt x="7113157" y="390208"/>
                </a:lnTo>
                <a:lnTo>
                  <a:pt x="7109576" y="382953"/>
                </a:lnTo>
                <a:lnTo>
                  <a:pt x="7108165" y="378081"/>
                </a:lnTo>
                <a:lnTo>
                  <a:pt x="7105236" y="375916"/>
                </a:lnTo>
                <a:lnTo>
                  <a:pt x="7102197" y="368120"/>
                </a:lnTo>
                <a:lnTo>
                  <a:pt x="7095578" y="363248"/>
                </a:lnTo>
                <a:lnTo>
                  <a:pt x="7096662" y="361949"/>
                </a:lnTo>
                <a:lnTo>
                  <a:pt x="7107514" y="360217"/>
                </a:lnTo>
                <a:lnTo>
                  <a:pt x="7110662" y="362165"/>
                </a:lnTo>
                <a:lnTo>
                  <a:pt x="7123683" y="360866"/>
                </a:lnTo>
                <a:lnTo>
                  <a:pt x="7134535" y="360866"/>
                </a:lnTo>
                <a:lnTo>
                  <a:pt x="7134535" y="357402"/>
                </a:lnTo>
                <a:lnTo>
                  <a:pt x="7140178" y="355453"/>
                </a:lnTo>
                <a:lnTo>
                  <a:pt x="7146472" y="359567"/>
                </a:lnTo>
                <a:lnTo>
                  <a:pt x="7150487" y="357727"/>
                </a:lnTo>
                <a:lnTo>
                  <a:pt x="7153742" y="357727"/>
                </a:lnTo>
                <a:lnTo>
                  <a:pt x="7153742" y="353179"/>
                </a:lnTo>
                <a:lnTo>
                  <a:pt x="7160470" y="352421"/>
                </a:lnTo>
                <a:lnTo>
                  <a:pt x="7162316" y="355669"/>
                </a:lnTo>
                <a:lnTo>
                  <a:pt x="7164160" y="355669"/>
                </a:lnTo>
                <a:lnTo>
                  <a:pt x="7166655" y="350256"/>
                </a:lnTo>
                <a:lnTo>
                  <a:pt x="7171213" y="351880"/>
                </a:lnTo>
                <a:lnTo>
                  <a:pt x="7171213" y="347224"/>
                </a:lnTo>
                <a:lnTo>
                  <a:pt x="7190420" y="342136"/>
                </a:lnTo>
                <a:lnTo>
                  <a:pt x="7192809" y="346682"/>
                </a:lnTo>
                <a:lnTo>
                  <a:pt x="7193893" y="342894"/>
                </a:lnTo>
                <a:lnTo>
                  <a:pt x="7195955" y="340511"/>
                </a:lnTo>
                <a:lnTo>
                  <a:pt x="7197800" y="341811"/>
                </a:lnTo>
                <a:lnTo>
                  <a:pt x="7204528" y="340945"/>
                </a:lnTo>
                <a:lnTo>
                  <a:pt x="7207784" y="340403"/>
                </a:lnTo>
                <a:lnTo>
                  <a:pt x="7211906" y="343976"/>
                </a:lnTo>
                <a:lnTo>
                  <a:pt x="7220805" y="343976"/>
                </a:lnTo>
                <a:lnTo>
                  <a:pt x="7225364" y="341919"/>
                </a:lnTo>
                <a:lnTo>
                  <a:pt x="7227750" y="344951"/>
                </a:lnTo>
                <a:lnTo>
                  <a:pt x="7231223" y="346250"/>
                </a:lnTo>
                <a:lnTo>
                  <a:pt x="7233936" y="343001"/>
                </a:lnTo>
                <a:lnTo>
                  <a:pt x="7241749" y="342136"/>
                </a:lnTo>
                <a:lnTo>
                  <a:pt x="7256617" y="346791"/>
                </a:lnTo>
                <a:lnTo>
                  <a:pt x="7262042" y="349282"/>
                </a:lnTo>
                <a:lnTo>
                  <a:pt x="7265514" y="348198"/>
                </a:lnTo>
                <a:lnTo>
                  <a:pt x="7263887" y="346791"/>
                </a:lnTo>
                <a:lnTo>
                  <a:pt x="7268987" y="345492"/>
                </a:lnTo>
                <a:lnTo>
                  <a:pt x="7272785" y="348198"/>
                </a:lnTo>
                <a:lnTo>
                  <a:pt x="7270072" y="350689"/>
                </a:lnTo>
                <a:lnTo>
                  <a:pt x="7272459" y="352313"/>
                </a:lnTo>
                <a:lnTo>
                  <a:pt x="7279513" y="350472"/>
                </a:lnTo>
                <a:lnTo>
                  <a:pt x="7296007" y="352313"/>
                </a:lnTo>
                <a:lnTo>
                  <a:pt x="7309898" y="361733"/>
                </a:lnTo>
                <a:lnTo>
                  <a:pt x="7309138" y="363898"/>
                </a:lnTo>
                <a:lnTo>
                  <a:pt x="7304797" y="361733"/>
                </a:lnTo>
                <a:lnTo>
                  <a:pt x="7296442" y="358701"/>
                </a:lnTo>
                <a:lnTo>
                  <a:pt x="7295900" y="360541"/>
                </a:lnTo>
                <a:lnTo>
                  <a:pt x="7310223" y="365630"/>
                </a:lnTo>
                <a:lnTo>
                  <a:pt x="7317494" y="365630"/>
                </a:lnTo>
                <a:lnTo>
                  <a:pt x="7319122" y="361841"/>
                </a:lnTo>
                <a:lnTo>
                  <a:pt x="7325307" y="361300"/>
                </a:lnTo>
                <a:lnTo>
                  <a:pt x="7332144" y="361300"/>
                </a:lnTo>
                <a:lnTo>
                  <a:pt x="7330841" y="357294"/>
                </a:lnTo>
                <a:lnTo>
                  <a:pt x="7333771" y="355886"/>
                </a:lnTo>
                <a:lnTo>
                  <a:pt x="7338112" y="359351"/>
                </a:lnTo>
                <a:lnTo>
                  <a:pt x="7342670" y="360758"/>
                </a:lnTo>
                <a:lnTo>
                  <a:pt x="7345166" y="362382"/>
                </a:lnTo>
                <a:lnTo>
                  <a:pt x="7345166" y="359892"/>
                </a:lnTo>
                <a:lnTo>
                  <a:pt x="7345925" y="358593"/>
                </a:lnTo>
                <a:lnTo>
                  <a:pt x="7352979" y="360433"/>
                </a:lnTo>
                <a:lnTo>
                  <a:pt x="7352979" y="363465"/>
                </a:lnTo>
                <a:lnTo>
                  <a:pt x="7360792" y="366172"/>
                </a:lnTo>
                <a:lnTo>
                  <a:pt x="7366435" y="364006"/>
                </a:lnTo>
                <a:lnTo>
                  <a:pt x="7386836" y="368012"/>
                </a:lnTo>
                <a:lnTo>
                  <a:pt x="7384666" y="364223"/>
                </a:lnTo>
                <a:lnTo>
                  <a:pt x="7391502" y="364223"/>
                </a:lnTo>
                <a:lnTo>
                  <a:pt x="7393456" y="368337"/>
                </a:lnTo>
                <a:lnTo>
                  <a:pt x="7397471" y="369636"/>
                </a:lnTo>
                <a:lnTo>
                  <a:pt x="7396602" y="365089"/>
                </a:lnTo>
                <a:lnTo>
                  <a:pt x="7398447" y="364331"/>
                </a:lnTo>
                <a:lnTo>
                  <a:pt x="7406260" y="365739"/>
                </a:lnTo>
                <a:lnTo>
                  <a:pt x="7404850" y="368120"/>
                </a:lnTo>
                <a:lnTo>
                  <a:pt x="7408648" y="372776"/>
                </a:lnTo>
                <a:lnTo>
                  <a:pt x="7415375" y="370935"/>
                </a:lnTo>
                <a:lnTo>
                  <a:pt x="7415375" y="368445"/>
                </a:lnTo>
                <a:lnTo>
                  <a:pt x="7412880" y="366821"/>
                </a:lnTo>
                <a:lnTo>
                  <a:pt x="7420476" y="366821"/>
                </a:lnTo>
                <a:lnTo>
                  <a:pt x="7422863" y="368445"/>
                </a:lnTo>
                <a:lnTo>
                  <a:pt x="7421779" y="371910"/>
                </a:lnTo>
                <a:lnTo>
                  <a:pt x="7426119" y="376241"/>
                </a:lnTo>
                <a:lnTo>
                  <a:pt x="7434474" y="379706"/>
                </a:lnTo>
                <a:lnTo>
                  <a:pt x="7440986" y="377215"/>
                </a:lnTo>
                <a:lnTo>
                  <a:pt x="7431979" y="373967"/>
                </a:lnTo>
                <a:lnTo>
                  <a:pt x="7427855" y="371586"/>
                </a:lnTo>
                <a:lnTo>
                  <a:pt x="7426878" y="368445"/>
                </a:lnTo>
                <a:lnTo>
                  <a:pt x="7431762" y="367362"/>
                </a:lnTo>
                <a:lnTo>
                  <a:pt x="7437404" y="368012"/>
                </a:lnTo>
                <a:lnTo>
                  <a:pt x="7446846" y="373209"/>
                </a:lnTo>
                <a:lnTo>
                  <a:pt x="7449016" y="378406"/>
                </a:lnTo>
                <a:lnTo>
                  <a:pt x="7451078" y="379814"/>
                </a:lnTo>
                <a:lnTo>
                  <a:pt x="7452488" y="375808"/>
                </a:lnTo>
                <a:lnTo>
                  <a:pt x="7451187" y="373967"/>
                </a:lnTo>
                <a:lnTo>
                  <a:pt x="7455093" y="374833"/>
                </a:lnTo>
                <a:lnTo>
                  <a:pt x="7458132" y="377649"/>
                </a:lnTo>
                <a:lnTo>
                  <a:pt x="7457372" y="379706"/>
                </a:lnTo>
                <a:lnTo>
                  <a:pt x="7462255" y="385227"/>
                </a:lnTo>
                <a:lnTo>
                  <a:pt x="7469851" y="398869"/>
                </a:lnTo>
                <a:lnTo>
                  <a:pt x="7478099" y="401576"/>
                </a:lnTo>
                <a:lnTo>
                  <a:pt x="7479509" y="406773"/>
                </a:lnTo>
                <a:lnTo>
                  <a:pt x="7483850" y="410563"/>
                </a:lnTo>
                <a:lnTo>
                  <a:pt x="7486780" y="415543"/>
                </a:lnTo>
                <a:lnTo>
                  <a:pt x="7484610" y="417925"/>
                </a:lnTo>
                <a:lnTo>
                  <a:pt x="7486128" y="423014"/>
                </a:lnTo>
                <a:lnTo>
                  <a:pt x="7489818" y="424530"/>
                </a:lnTo>
                <a:lnTo>
                  <a:pt x="7494593" y="420198"/>
                </a:lnTo>
                <a:lnTo>
                  <a:pt x="7500779" y="421065"/>
                </a:lnTo>
                <a:lnTo>
                  <a:pt x="7504685" y="427777"/>
                </a:lnTo>
                <a:lnTo>
                  <a:pt x="7508809" y="428860"/>
                </a:lnTo>
                <a:lnTo>
                  <a:pt x="7509676" y="427344"/>
                </a:lnTo>
                <a:lnTo>
                  <a:pt x="7507507" y="425828"/>
                </a:lnTo>
                <a:lnTo>
                  <a:pt x="7506096" y="421389"/>
                </a:lnTo>
                <a:lnTo>
                  <a:pt x="7508809" y="417383"/>
                </a:lnTo>
                <a:lnTo>
                  <a:pt x="7511739" y="418683"/>
                </a:lnTo>
                <a:lnTo>
                  <a:pt x="7514452" y="424746"/>
                </a:lnTo>
                <a:lnTo>
                  <a:pt x="7518792" y="429293"/>
                </a:lnTo>
                <a:lnTo>
                  <a:pt x="7518792" y="427236"/>
                </a:lnTo>
                <a:lnTo>
                  <a:pt x="7515646" y="419549"/>
                </a:lnTo>
                <a:lnTo>
                  <a:pt x="7515646" y="415326"/>
                </a:lnTo>
                <a:lnTo>
                  <a:pt x="7512173" y="411320"/>
                </a:lnTo>
                <a:lnTo>
                  <a:pt x="7506096" y="414569"/>
                </a:lnTo>
                <a:lnTo>
                  <a:pt x="7499802" y="415759"/>
                </a:lnTo>
                <a:lnTo>
                  <a:pt x="7498825" y="411861"/>
                </a:lnTo>
                <a:lnTo>
                  <a:pt x="7502081" y="408181"/>
                </a:lnTo>
                <a:lnTo>
                  <a:pt x="7500670" y="402659"/>
                </a:lnTo>
                <a:lnTo>
                  <a:pt x="7492097" y="396596"/>
                </a:lnTo>
                <a:lnTo>
                  <a:pt x="7487540" y="392590"/>
                </a:lnTo>
                <a:lnTo>
                  <a:pt x="7485369" y="387718"/>
                </a:lnTo>
                <a:lnTo>
                  <a:pt x="7482331" y="387718"/>
                </a:lnTo>
                <a:lnTo>
                  <a:pt x="7476146" y="392698"/>
                </a:lnTo>
                <a:lnTo>
                  <a:pt x="7475277" y="390208"/>
                </a:lnTo>
                <a:lnTo>
                  <a:pt x="7480161" y="386202"/>
                </a:lnTo>
                <a:lnTo>
                  <a:pt x="7483633" y="379164"/>
                </a:lnTo>
                <a:lnTo>
                  <a:pt x="7489818" y="370394"/>
                </a:lnTo>
                <a:lnTo>
                  <a:pt x="7492966" y="369636"/>
                </a:lnTo>
                <a:lnTo>
                  <a:pt x="7492314" y="372343"/>
                </a:lnTo>
                <a:lnTo>
                  <a:pt x="7496004" y="381221"/>
                </a:lnTo>
                <a:lnTo>
                  <a:pt x="7500887" y="382520"/>
                </a:lnTo>
                <a:lnTo>
                  <a:pt x="7502189" y="380572"/>
                </a:lnTo>
                <a:lnTo>
                  <a:pt x="7497849" y="376998"/>
                </a:lnTo>
                <a:lnTo>
                  <a:pt x="7496221" y="372776"/>
                </a:lnTo>
                <a:lnTo>
                  <a:pt x="7498608" y="372776"/>
                </a:lnTo>
                <a:lnTo>
                  <a:pt x="7504142" y="369312"/>
                </a:lnTo>
                <a:lnTo>
                  <a:pt x="7505878" y="365847"/>
                </a:lnTo>
                <a:lnTo>
                  <a:pt x="7499911" y="365847"/>
                </a:lnTo>
                <a:lnTo>
                  <a:pt x="7502406" y="363790"/>
                </a:lnTo>
                <a:lnTo>
                  <a:pt x="7504685" y="362490"/>
                </a:lnTo>
                <a:lnTo>
                  <a:pt x="7509351" y="361408"/>
                </a:lnTo>
                <a:lnTo>
                  <a:pt x="7513475" y="354586"/>
                </a:lnTo>
                <a:lnTo>
                  <a:pt x="7517599" y="354586"/>
                </a:lnTo>
                <a:lnTo>
                  <a:pt x="7519444" y="357402"/>
                </a:lnTo>
                <a:lnTo>
                  <a:pt x="7521830" y="356535"/>
                </a:lnTo>
                <a:lnTo>
                  <a:pt x="7526063" y="357619"/>
                </a:lnTo>
                <a:lnTo>
                  <a:pt x="7526714" y="359892"/>
                </a:lnTo>
                <a:lnTo>
                  <a:pt x="7530838" y="363898"/>
                </a:lnTo>
                <a:lnTo>
                  <a:pt x="7537782" y="365197"/>
                </a:lnTo>
                <a:lnTo>
                  <a:pt x="7541038" y="363465"/>
                </a:lnTo>
                <a:lnTo>
                  <a:pt x="7555796" y="366063"/>
                </a:lnTo>
                <a:lnTo>
                  <a:pt x="7554711" y="371152"/>
                </a:lnTo>
                <a:lnTo>
                  <a:pt x="7556014" y="373426"/>
                </a:lnTo>
                <a:lnTo>
                  <a:pt x="7558944" y="372235"/>
                </a:lnTo>
                <a:lnTo>
                  <a:pt x="7558944" y="368770"/>
                </a:lnTo>
                <a:lnTo>
                  <a:pt x="7563176" y="368770"/>
                </a:lnTo>
                <a:lnTo>
                  <a:pt x="7563176" y="374833"/>
                </a:lnTo>
                <a:lnTo>
                  <a:pt x="7567191" y="371910"/>
                </a:lnTo>
                <a:lnTo>
                  <a:pt x="7571748" y="366713"/>
                </a:lnTo>
                <a:lnTo>
                  <a:pt x="7576306" y="368337"/>
                </a:lnTo>
                <a:lnTo>
                  <a:pt x="7576306" y="371802"/>
                </a:lnTo>
                <a:lnTo>
                  <a:pt x="7573702" y="375374"/>
                </a:lnTo>
                <a:lnTo>
                  <a:pt x="7573268" y="377540"/>
                </a:lnTo>
                <a:lnTo>
                  <a:pt x="7577283" y="390316"/>
                </a:lnTo>
                <a:lnTo>
                  <a:pt x="7575546" y="396487"/>
                </a:lnTo>
                <a:lnTo>
                  <a:pt x="7576089" y="399302"/>
                </a:lnTo>
                <a:lnTo>
                  <a:pt x="7580539" y="398220"/>
                </a:lnTo>
                <a:lnTo>
                  <a:pt x="7583469" y="403200"/>
                </a:lnTo>
                <a:lnTo>
                  <a:pt x="7588678" y="405582"/>
                </a:lnTo>
                <a:lnTo>
                  <a:pt x="7590522" y="410563"/>
                </a:lnTo>
                <a:lnTo>
                  <a:pt x="7587918" y="413486"/>
                </a:lnTo>
                <a:lnTo>
                  <a:pt x="7580321" y="413486"/>
                </a:lnTo>
                <a:lnTo>
                  <a:pt x="7572291" y="414893"/>
                </a:lnTo>
                <a:lnTo>
                  <a:pt x="7583143" y="417275"/>
                </a:lnTo>
                <a:lnTo>
                  <a:pt x="7586073" y="421498"/>
                </a:lnTo>
                <a:lnTo>
                  <a:pt x="7584879" y="425504"/>
                </a:lnTo>
                <a:lnTo>
                  <a:pt x="7579454" y="426803"/>
                </a:lnTo>
                <a:lnTo>
                  <a:pt x="7574895" y="434815"/>
                </a:lnTo>
                <a:lnTo>
                  <a:pt x="7573268" y="432216"/>
                </a:lnTo>
                <a:lnTo>
                  <a:pt x="7567516" y="436872"/>
                </a:lnTo>
                <a:lnTo>
                  <a:pt x="7561114" y="436872"/>
                </a:lnTo>
                <a:lnTo>
                  <a:pt x="7556122" y="441420"/>
                </a:lnTo>
                <a:lnTo>
                  <a:pt x="7562850" y="440337"/>
                </a:lnTo>
                <a:lnTo>
                  <a:pt x="7566540" y="441528"/>
                </a:lnTo>
                <a:lnTo>
                  <a:pt x="7569036" y="445209"/>
                </a:lnTo>
                <a:lnTo>
                  <a:pt x="7572725" y="441420"/>
                </a:lnTo>
                <a:lnTo>
                  <a:pt x="7575004" y="441420"/>
                </a:lnTo>
                <a:lnTo>
                  <a:pt x="7575004" y="445534"/>
                </a:lnTo>
                <a:lnTo>
                  <a:pt x="7579561" y="451597"/>
                </a:lnTo>
                <a:lnTo>
                  <a:pt x="7575546" y="454087"/>
                </a:lnTo>
                <a:lnTo>
                  <a:pt x="7574462" y="461558"/>
                </a:lnTo>
                <a:lnTo>
                  <a:pt x="7580104" y="455711"/>
                </a:lnTo>
                <a:lnTo>
                  <a:pt x="7586073" y="455062"/>
                </a:lnTo>
                <a:lnTo>
                  <a:pt x="7592475" y="460475"/>
                </a:lnTo>
                <a:lnTo>
                  <a:pt x="7591715" y="463940"/>
                </a:lnTo>
                <a:lnTo>
                  <a:pt x="7595296" y="470111"/>
                </a:lnTo>
                <a:lnTo>
                  <a:pt x="7589654" y="474117"/>
                </a:lnTo>
                <a:lnTo>
                  <a:pt x="7592584" y="475525"/>
                </a:lnTo>
                <a:lnTo>
                  <a:pt x="7593886" y="482779"/>
                </a:lnTo>
                <a:lnTo>
                  <a:pt x="7588678" y="485160"/>
                </a:lnTo>
                <a:lnTo>
                  <a:pt x="7588678" y="488626"/>
                </a:lnTo>
                <a:lnTo>
                  <a:pt x="7590630" y="491658"/>
                </a:lnTo>
                <a:lnTo>
                  <a:pt x="7590630" y="487868"/>
                </a:lnTo>
                <a:lnTo>
                  <a:pt x="7594754" y="486785"/>
                </a:lnTo>
                <a:lnTo>
                  <a:pt x="7597684" y="490033"/>
                </a:lnTo>
                <a:lnTo>
                  <a:pt x="7596816" y="496205"/>
                </a:lnTo>
                <a:lnTo>
                  <a:pt x="7602242" y="494905"/>
                </a:lnTo>
                <a:lnTo>
                  <a:pt x="7603978" y="498370"/>
                </a:lnTo>
                <a:lnTo>
                  <a:pt x="7603978" y="494364"/>
                </a:lnTo>
                <a:lnTo>
                  <a:pt x="7606908" y="491874"/>
                </a:lnTo>
                <a:lnTo>
                  <a:pt x="7610380" y="493715"/>
                </a:lnTo>
                <a:lnTo>
                  <a:pt x="7615264" y="494472"/>
                </a:lnTo>
                <a:lnTo>
                  <a:pt x="7615264" y="500968"/>
                </a:lnTo>
                <a:lnTo>
                  <a:pt x="7611683" y="502593"/>
                </a:lnTo>
                <a:lnTo>
                  <a:pt x="7607342" y="499886"/>
                </a:lnTo>
                <a:lnTo>
                  <a:pt x="7604303" y="504000"/>
                </a:lnTo>
                <a:lnTo>
                  <a:pt x="7609729" y="507248"/>
                </a:lnTo>
                <a:lnTo>
                  <a:pt x="7613744" y="506491"/>
                </a:lnTo>
                <a:lnTo>
                  <a:pt x="7617109" y="512878"/>
                </a:lnTo>
                <a:lnTo>
                  <a:pt x="7617109" y="516126"/>
                </a:lnTo>
                <a:lnTo>
                  <a:pt x="7607885" y="521215"/>
                </a:lnTo>
                <a:lnTo>
                  <a:pt x="7602676" y="513419"/>
                </a:lnTo>
                <a:lnTo>
                  <a:pt x="7601048" y="512337"/>
                </a:lnTo>
                <a:lnTo>
                  <a:pt x="7603544" y="521215"/>
                </a:lnTo>
                <a:lnTo>
                  <a:pt x="7599963" y="524680"/>
                </a:lnTo>
                <a:lnTo>
                  <a:pt x="7597576" y="524680"/>
                </a:lnTo>
                <a:lnTo>
                  <a:pt x="7596274" y="522731"/>
                </a:lnTo>
                <a:lnTo>
                  <a:pt x="7592475" y="522731"/>
                </a:lnTo>
                <a:lnTo>
                  <a:pt x="7589437" y="520782"/>
                </a:lnTo>
                <a:lnTo>
                  <a:pt x="7578585" y="519916"/>
                </a:lnTo>
                <a:lnTo>
                  <a:pt x="7574462" y="522298"/>
                </a:lnTo>
                <a:lnTo>
                  <a:pt x="7569795" y="522298"/>
                </a:lnTo>
                <a:lnTo>
                  <a:pt x="7571098" y="518833"/>
                </a:lnTo>
                <a:lnTo>
                  <a:pt x="7569253" y="515585"/>
                </a:lnTo>
                <a:lnTo>
                  <a:pt x="7565672" y="514935"/>
                </a:lnTo>
                <a:lnTo>
                  <a:pt x="7566756" y="521107"/>
                </a:lnTo>
                <a:lnTo>
                  <a:pt x="7563827" y="521107"/>
                </a:lnTo>
                <a:lnTo>
                  <a:pt x="7562959" y="522514"/>
                </a:lnTo>
                <a:lnTo>
                  <a:pt x="7565237" y="526412"/>
                </a:lnTo>
                <a:lnTo>
                  <a:pt x="7561440" y="530959"/>
                </a:lnTo>
                <a:lnTo>
                  <a:pt x="7560028" y="530959"/>
                </a:lnTo>
                <a:lnTo>
                  <a:pt x="7560028" y="528577"/>
                </a:lnTo>
                <a:lnTo>
                  <a:pt x="7558184" y="527278"/>
                </a:lnTo>
                <a:lnTo>
                  <a:pt x="7548200" y="529768"/>
                </a:lnTo>
                <a:lnTo>
                  <a:pt x="7545596" y="528361"/>
                </a:lnTo>
                <a:lnTo>
                  <a:pt x="7545596" y="525654"/>
                </a:lnTo>
                <a:lnTo>
                  <a:pt x="7543642" y="519591"/>
                </a:lnTo>
                <a:lnTo>
                  <a:pt x="7541907" y="518400"/>
                </a:lnTo>
                <a:lnTo>
                  <a:pt x="7530404" y="509955"/>
                </a:lnTo>
                <a:lnTo>
                  <a:pt x="7528993" y="508115"/>
                </a:lnTo>
                <a:lnTo>
                  <a:pt x="7530186" y="506382"/>
                </a:lnTo>
                <a:lnTo>
                  <a:pt x="7522048" y="503675"/>
                </a:lnTo>
                <a:lnTo>
                  <a:pt x="7520962" y="508656"/>
                </a:lnTo>
                <a:lnTo>
                  <a:pt x="7512824" y="510821"/>
                </a:lnTo>
                <a:lnTo>
                  <a:pt x="7508700" y="514935"/>
                </a:lnTo>
                <a:lnTo>
                  <a:pt x="7505878" y="514935"/>
                </a:lnTo>
                <a:lnTo>
                  <a:pt x="7505878" y="508872"/>
                </a:lnTo>
                <a:lnTo>
                  <a:pt x="7503384" y="504217"/>
                </a:lnTo>
                <a:lnTo>
                  <a:pt x="7504685" y="508764"/>
                </a:lnTo>
                <a:lnTo>
                  <a:pt x="7503708" y="518292"/>
                </a:lnTo>
                <a:lnTo>
                  <a:pt x="7505770" y="523597"/>
                </a:lnTo>
                <a:lnTo>
                  <a:pt x="7504034" y="529227"/>
                </a:lnTo>
                <a:lnTo>
                  <a:pt x="7495244" y="541570"/>
                </a:lnTo>
                <a:lnTo>
                  <a:pt x="7490795" y="541570"/>
                </a:lnTo>
                <a:lnTo>
                  <a:pt x="7490795" y="533017"/>
                </a:lnTo>
                <a:lnTo>
                  <a:pt x="7485695" y="531068"/>
                </a:lnTo>
                <a:lnTo>
                  <a:pt x="7481354" y="533666"/>
                </a:lnTo>
                <a:lnTo>
                  <a:pt x="7469634" y="524788"/>
                </a:lnTo>
                <a:lnTo>
                  <a:pt x="7470394" y="520998"/>
                </a:lnTo>
                <a:lnTo>
                  <a:pt x="7468658" y="509521"/>
                </a:lnTo>
                <a:lnTo>
                  <a:pt x="7464208" y="507898"/>
                </a:lnTo>
                <a:lnTo>
                  <a:pt x="7462581" y="504649"/>
                </a:lnTo>
                <a:lnTo>
                  <a:pt x="7459976" y="501727"/>
                </a:lnTo>
                <a:lnTo>
                  <a:pt x="7457589" y="504109"/>
                </a:lnTo>
                <a:lnTo>
                  <a:pt x="7459217" y="507790"/>
                </a:lnTo>
                <a:lnTo>
                  <a:pt x="7459217" y="511796"/>
                </a:lnTo>
                <a:lnTo>
                  <a:pt x="7462146" y="515152"/>
                </a:lnTo>
                <a:lnTo>
                  <a:pt x="7460844" y="518508"/>
                </a:lnTo>
                <a:lnTo>
                  <a:pt x="7453356" y="514286"/>
                </a:lnTo>
                <a:lnTo>
                  <a:pt x="7448039" y="507790"/>
                </a:lnTo>
                <a:lnTo>
                  <a:pt x="7447063" y="508331"/>
                </a:lnTo>
                <a:lnTo>
                  <a:pt x="7449776" y="514502"/>
                </a:lnTo>
                <a:lnTo>
                  <a:pt x="7446737" y="516884"/>
                </a:lnTo>
                <a:lnTo>
                  <a:pt x="7448908" y="518725"/>
                </a:lnTo>
                <a:lnTo>
                  <a:pt x="7454551" y="518725"/>
                </a:lnTo>
                <a:lnTo>
                  <a:pt x="7457697" y="522514"/>
                </a:lnTo>
                <a:lnTo>
                  <a:pt x="7455853" y="527603"/>
                </a:lnTo>
                <a:lnTo>
                  <a:pt x="7448799" y="527603"/>
                </a:lnTo>
                <a:lnTo>
                  <a:pt x="7448039" y="530635"/>
                </a:lnTo>
                <a:lnTo>
                  <a:pt x="7451187" y="532259"/>
                </a:lnTo>
                <a:lnTo>
                  <a:pt x="7464425" y="547958"/>
                </a:lnTo>
                <a:lnTo>
                  <a:pt x="7474084" y="550556"/>
                </a:lnTo>
                <a:lnTo>
                  <a:pt x="7479618" y="548282"/>
                </a:lnTo>
                <a:lnTo>
                  <a:pt x="7485695" y="551314"/>
                </a:lnTo>
                <a:lnTo>
                  <a:pt x="7487431" y="558027"/>
                </a:lnTo>
                <a:lnTo>
                  <a:pt x="7486454" y="558027"/>
                </a:lnTo>
                <a:lnTo>
                  <a:pt x="7482114" y="552288"/>
                </a:lnTo>
                <a:lnTo>
                  <a:pt x="7479835" y="552288"/>
                </a:lnTo>
                <a:lnTo>
                  <a:pt x="7482874" y="559435"/>
                </a:lnTo>
                <a:lnTo>
                  <a:pt x="7489710" y="564631"/>
                </a:lnTo>
                <a:lnTo>
                  <a:pt x="7491554" y="570586"/>
                </a:lnTo>
                <a:lnTo>
                  <a:pt x="7496004" y="575892"/>
                </a:lnTo>
                <a:lnTo>
                  <a:pt x="7496004" y="586069"/>
                </a:lnTo>
                <a:lnTo>
                  <a:pt x="7492097" y="601768"/>
                </a:lnTo>
                <a:lnTo>
                  <a:pt x="7494485" y="610971"/>
                </a:lnTo>
                <a:lnTo>
                  <a:pt x="7494485" y="617467"/>
                </a:lnTo>
                <a:lnTo>
                  <a:pt x="7495896" y="620716"/>
                </a:lnTo>
                <a:lnTo>
                  <a:pt x="7490144" y="629594"/>
                </a:lnTo>
                <a:lnTo>
                  <a:pt x="7490144" y="635332"/>
                </a:lnTo>
                <a:lnTo>
                  <a:pt x="7486020" y="638364"/>
                </a:lnTo>
                <a:lnTo>
                  <a:pt x="7487322" y="633925"/>
                </a:lnTo>
                <a:lnTo>
                  <a:pt x="7486020" y="632084"/>
                </a:lnTo>
                <a:lnTo>
                  <a:pt x="7475169" y="640421"/>
                </a:lnTo>
                <a:lnTo>
                  <a:pt x="7472456" y="637173"/>
                </a:lnTo>
                <a:lnTo>
                  <a:pt x="7467356" y="640746"/>
                </a:lnTo>
                <a:lnTo>
                  <a:pt x="7463774" y="639880"/>
                </a:lnTo>
                <a:lnTo>
                  <a:pt x="7461170" y="635332"/>
                </a:lnTo>
                <a:lnTo>
                  <a:pt x="7456070" y="635332"/>
                </a:lnTo>
                <a:lnTo>
                  <a:pt x="7449234" y="628078"/>
                </a:lnTo>
                <a:lnTo>
                  <a:pt x="7443699" y="624181"/>
                </a:lnTo>
                <a:lnTo>
                  <a:pt x="7437514" y="623422"/>
                </a:lnTo>
                <a:lnTo>
                  <a:pt x="7433607" y="620824"/>
                </a:lnTo>
                <a:lnTo>
                  <a:pt x="7429483" y="621907"/>
                </a:lnTo>
                <a:lnTo>
                  <a:pt x="7425142" y="627645"/>
                </a:lnTo>
                <a:lnTo>
                  <a:pt x="7419934" y="627645"/>
                </a:lnTo>
                <a:lnTo>
                  <a:pt x="7425251" y="630027"/>
                </a:lnTo>
                <a:lnTo>
                  <a:pt x="7431979" y="630027"/>
                </a:lnTo>
                <a:lnTo>
                  <a:pt x="7435126" y="625155"/>
                </a:lnTo>
                <a:lnTo>
                  <a:pt x="7447822" y="630460"/>
                </a:lnTo>
                <a:lnTo>
                  <a:pt x="7450210" y="634791"/>
                </a:lnTo>
                <a:lnTo>
                  <a:pt x="7443916" y="639122"/>
                </a:lnTo>
                <a:lnTo>
                  <a:pt x="7439792" y="636415"/>
                </a:lnTo>
                <a:lnTo>
                  <a:pt x="7434366" y="636415"/>
                </a:lnTo>
                <a:lnTo>
                  <a:pt x="7434366" y="641287"/>
                </a:lnTo>
                <a:lnTo>
                  <a:pt x="7429808" y="636090"/>
                </a:lnTo>
                <a:lnTo>
                  <a:pt x="7425468" y="636632"/>
                </a:lnTo>
                <a:lnTo>
                  <a:pt x="7427638" y="636632"/>
                </a:lnTo>
                <a:lnTo>
                  <a:pt x="7430026" y="642911"/>
                </a:lnTo>
                <a:lnTo>
                  <a:pt x="7437296" y="646701"/>
                </a:lnTo>
                <a:lnTo>
                  <a:pt x="7435452" y="653521"/>
                </a:lnTo>
                <a:lnTo>
                  <a:pt x="7438382" y="661858"/>
                </a:lnTo>
                <a:lnTo>
                  <a:pt x="7442939" y="664240"/>
                </a:lnTo>
                <a:lnTo>
                  <a:pt x="7440226" y="661533"/>
                </a:lnTo>
                <a:lnTo>
                  <a:pt x="7440226" y="651572"/>
                </a:lnTo>
                <a:lnTo>
                  <a:pt x="7443482" y="649624"/>
                </a:lnTo>
                <a:lnTo>
                  <a:pt x="7447605" y="650707"/>
                </a:lnTo>
                <a:lnTo>
                  <a:pt x="7447605" y="647999"/>
                </a:lnTo>
                <a:lnTo>
                  <a:pt x="7454984" y="641287"/>
                </a:lnTo>
                <a:lnTo>
                  <a:pt x="7459000" y="640205"/>
                </a:lnTo>
                <a:lnTo>
                  <a:pt x="7462038" y="642695"/>
                </a:lnTo>
                <a:lnTo>
                  <a:pt x="7462038" y="645726"/>
                </a:lnTo>
                <a:lnTo>
                  <a:pt x="7468007" y="654929"/>
                </a:lnTo>
                <a:lnTo>
                  <a:pt x="7473975" y="656553"/>
                </a:lnTo>
                <a:lnTo>
                  <a:pt x="7479726" y="662184"/>
                </a:lnTo>
                <a:lnTo>
                  <a:pt x="7486454" y="661209"/>
                </a:lnTo>
                <a:lnTo>
                  <a:pt x="7488408" y="657203"/>
                </a:lnTo>
                <a:lnTo>
                  <a:pt x="7487106" y="653738"/>
                </a:lnTo>
                <a:lnTo>
                  <a:pt x="7489276" y="653738"/>
                </a:lnTo>
                <a:lnTo>
                  <a:pt x="7501755" y="663807"/>
                </a:lnTo>
                <a:lnTo>
                  <a:pt x="7503926" y="667813"/>
                </a:lnTo>
                <a:lnTo>
                  <a:pt x="7499259" y="667055"/>
                </a:lnTo>
                <a:lnTo>
                  <a:pt x="7499259" y="671603"/>
                </a:lnTo>
                <a:lnTo>
                  <a:pt x="7507940" y="680048"/>
                </a:lnTo>
                <a:lnTo>
                  <a:pt x="7511196" y="680048"/>
                </a:lnTo>
                <a:lnTo>
                  <a:pt x="7511196" y="678099"/>
                </a:lnTo>
                <a:lnTo>
                  <a:pt x="7511196" y="671061"/>
                </a:lnTo>
                <a:lnTo>
                  <a:pt x="7518032" y="676258"/>
                </a:lnTo>
                <a:lnTo>
                  <a:pt x="7527582" y="691200"/>
                </a:lnTo>
                <a:lnTo>
                  <a:pt x="7524001" y="687951"/>
                </a:lnTo>
                <a:lnTo>
                  <a:pt x="7520962" y="687951"/>
                </a:lnTo>
                <a:lnTo>
                  <a:pt x="7519877" y="689576"/>
                </a:lnTo>
                <a:lnTo>
                  <a:pt x="7523567" y="694448"/>
                </a:lnTo>
                <a:lnTo>
                  <a:pt x="7518684" y="697912"/>
                </a:lnTo>
                <a:lnTo>
                  <a:pt x="7518684" y="703110"/>
                </a:lnTo>
                <a:lnTo>
                  <a:pt x="7520421" y="706141"/>
                </a:lnTo>
                <a:lnTo>
                  <a:pt x="7525303" y="704517"/>
                </a:lnTo>
                <a:lnTo>
                  <a:pt x="7526171" y="699104"/>
                </a:lnTo>
                <a:lnTo>
                  <a:pt x="7528016" y="697696"/>
                </a:lnTo>
                <a:lnTo>
                  <a:pt x="7531489" y="699104"/>
                </a:lnTo>
                <a:lnTo>
                  <a:pt x="7532791" y="694556"/>
                </a:lnTo>
                <a:lnTo>
                  <a:pt x="7536806" y="701594"/>
                </a:lnTo>
                <a:lnTo>
                  <a:pt x="7547658" y="708631"/>
                </a:lnTo>
                <a:lnTo>
                  <a:pt x="7558510" y="711121"/>
                </a:lnTo>
                <a:lnTo>
                  <a:pt x="7564803" y="716751"/>
                </a:lnTo>
                <a:lnTo>
                  <a:pt x="7561440" y="720324"/>
                </a:lnTo>
                <a:lnTo>
                  <a:pt x="7567625" y="728986"/>
                </a:lnTo>
                <a:lnTo>
                  <a:pt x="7572834" y="730285"/>
                </a:lnTo>
                <a:lnTo>
                  <a:pt x="7579128" y="740030"/>
                </a:lnTo>
                <a:lnTo>
                  <a:pt x="7579128" y="754322"/>
                </a:lnTo>
                <a:lnTo>
                  <a:pt x="7575872" y="755404"/>
                </a:lnTo>
                <a:lnTo>
                  <a:pt x="7575872" y="757786"/>
                </a:lnTo>
                <a:lnTo>
                  <a:pt x="7580647" y="760709"/>
                </a:lnTo>
                <a:lnTo>
                  <a:pt x="7583143" y="766881"/>
                </a:lnTo>
                <a:lnTo>
                  <a:pt x="7580756" y="767747"/>
                </a:lnTo>
                <a:lnTo>
                  <a:pt x="7577717" y="765040"/>
                </a:lnTo>
                <a:lnTo>
                  <a:pt x="7560137" y="765040"/>
                </a:lnTo>
                <a:lnTo>
                  <a:pt x="7554928" y="761792"/>
                </a:lnTo>
                <a:lnTo>
                  <a:pt x="7551456" y="763957"/>
                </a:lnTo>
                <a:lnTo>
                  <a:pt x="7547115" y="762550"/>
                </a:lnTo>
                <a:lnTo>
                  <a:pt x="7546246" y="758436"/>
                </a:lnTo>
                <a:lnTo>
                  <a:pt x="7543534" y="756812"/>
                </a:lnTo>
                <a:lnTo>
                  <a:pt x="7542231" y="758761"/>
                </a:lnTo>
                <a:lnTo>
                  <a:pt x="7544402" y="762334"/>
                </a:lnTo>
                <a:lnTo>
                  <a:pt x="7536806" y="766989"/>
                </a:lnTo>
                <a:lnTo>
                  <a:pt x="7530838" y="766989"/>
                </a:lnTo>
                <a:lnTo>
                  <a:pt x="7528993" y="768938"/>
                </a:lnTo>
                <a:lnTo>
                  <a:pt x="7532466" y="771103"/>
                </a:lnTo>
                <a:lnTo>
                  <a:pt x="7524327" y="778466"/>
                </a:lnTo>
                <a:lnTo>
                  <a:pt x="7519986" y="778466"/>
                </a:lnTo>
                <a:lnTo>
                  <a:pt x="7519986" y="782797"/>
                </a:lnTo>
                <a:lnTo>
                  <a:pt x="7523024" y="783879"/>
                </a:lnTo>
                <a:lnTo>
                  <a:pt x="7515754" y="793082"/>
                </a:lnTo>
                <a:lnTo>
                  <a:pt x="7513041" y="795789"/>
                </a:lnTo>
                <a:lnTo>
                  <a:pt x="7512282" y="794490"/>
                </a:lnTo>
                <a:lnTo>
                  <a:pt x="7508266" y="794490"/>
                </a:lnTo>
                <a:lnTo>
                  <a:pt x="7508266" y="801311"/>
                </a:lnTo>
                <a:lnTo>
                  <a:pt x="7511305" y="808132"/>
                </a:lnTo>
                <a:lnTo>
                  <a:pt x="7506421" y="812787"/>
                </a:lnTo>
                <a:lnTo>
                  <a:pt x="7503708" y="809864"/>
                </a:lnTo>
                <a:lnTo>
                  <a:pt x="7502840" y="814736"/>
                </a:lnTo>
                <a:lnTo>
                  <a:pt x="7505010" y="818201"/>
                </a:lnTo>
                <a:lnTo>
                  <a:pt x="7499585" y="823831"/>
                </a:lnTo>
                <a:lnTo>
                  <a:pt x="7495570" y="824914"/>
                </a:lnTo>
                <a:lnTo>
                  <a:pt x="7498066" y="827296"/>
                </a:lnTo>
                <a:lnTo>
                  <a:pt x="7496763" y="829786"/>
                </a:lnTo>
                <a:lnTo>
                  <a:pt x="7494919" y="833900"/>
                </a:lnTo>
                <a:lnTo>
                  <a:pt x="7491989" y="832493"/>
                </a:lnTo>
                <a:lnTo>
                  <a:pt x="7488408" y="834333"/>
                </a:lnTo>
                <a:lnTo>
                  <a:pt x="7491337" y="837798"/>
                </a:lnTo>
                <a:lnTo>
                  <a:pt x="7491337" y="841588"/>
                </a:lnTo>
                <a:lnTo>
                  <a:pt x="7486454" y="845377"/>
                </a:lnTo>
                <a:lnTo>
                  <a:pt x="7488842" y="848842"/>
                </a:lnTo>
                <a:lnTo>
                  <a:pt x="7487757" y="852631"/>
                </a:lnTo>
                <a:lnTo>
                  <a:pt x="7484502" y="853389"/>
                </a:lnTo>
                <a:lnTo>
                  <a:pt x="7482005" y="850899"/>
                </a:lnTo>
                <a:lnTo>
                  <a:pt x="7478967" y="851982"/>
                </a:lnTo>
                <a:lnTo>
                  <a:pt x="7481462" y="855771"/>
                </a:lnTo>
                <a:lnTo>
                  <a:pt x="7488517" y="859019"/>
                </a:lnTo>
                <a:lnTo>
                  <a:pt x="7486128" y="864216"/>
                </a:lnTo>
                <a:lnTo>
                  <a:pt x="7479401" y="864216"/>
                </a:lnTo>
                <a:lnTo>
                  <a:pt x="7479401" y="866706"/>
                </a:lnTo>
                <a:lnTo>
                  <a:pt x="7482656" y="868547"/>
                </a:lnTo>
                <a:lnTo>
                  <a:pt x="7486128" y="876343"/>
                </a:lnTo>
                <a:lnTo>
                  <a:pt x="7483198" y="878724"/>
                </a:lnTo>
                <a:lnTo>
                  <a:pt x="7485044" y="881973"/>
                </a:lnTo>
                <a:lnTo>
                  <a:pt x="7479943" y="889227"/>
                </a:lnTo>
                <a:lnTo>
                  <a:pt x="7481245" y="893016"/>
                </a:lnTo>
                <a:lnTo>
                  <a:pt x="7477990" y="901353"/>
                </a:lnTo>
                <a:lnTo>
                  <a:pt x="7476146" y="912180"/>
                </a:lnTo>
                <a:lnTo>
                  <a:pt x="7473433" y="916294"/>
                </a:lnTo>
                <a:lnTo>
                  <a:pt x="7473433" y="920625"/>
                </a:lnTo>
                <a:lnTo>
                  <a:pt x="7476470" y="921708"/>
                </a:lnTo>
                <a:lnTo>
                  <a:pt x="7477882" y="924631"/>
                </a:lnTo>
                <a:lnTo>
                  <a:pt x="7476037" y="927554"/>
                </a:lnTo>
                <a:lnTo>
                  <a:pt x="7481245" y="937840"/>
                </a:lnTo>
                <a:lnTo>
                  <a:pt x="7481245" y="941846"/>
                </a:lnTo>
                <a:lnTo>
                  <a:pt x="7477447" y="940547"/>
                </a:lnTo>
                <a:lnTo>
                  <a:pt x="7471804" y="941413"/>
                </a:lnTo>
                <a:lnTo>
                  <a:pt x="7467681" y="937299"/>
                </a:lnTo>
                <a:lnTo>
                  <a:pt x="7465185" y="939681"/>
                </a:lnTo>
                <a:lnTo>
                  <a:pt x="7458349" y="931885"/>
                </a:lnTo>
                <a:lnTo>
                  <a:pt x="7460519" y="930261"/>
                </a:lnTo>
                <a:lnTo>
                  <a:pt x="7458132" y="928962"/>
                </a:lnTo>
                <a:lnTo>
                  <a:pt x="7454007" y="929828"/>
                </a:lnTo>
                <a:lnTo>
                  <a:pt x="7450318" y="929287"/>
                </a:lnTo>
                <a:lnTo>
                  <a:pt x="7449450" y="925173"/>
                </a:lnTo>
                <a:lnTo>
                  <a:pt x="7436754" y="917810"/>
                </a:lnTo>
                <a:lnTo>
                  <a:pt x="7430026" y="916511"/>
                </a:lnTo>
                <a:lnTo>
                  <a:pt x="7422104" y="921600"/>
                </a:lnTo>
                <a:lnTo>
                  <a:pt x="7419608" y="919651"/>
                </a:lnTo>
                <a:lnTo>
                  <a:pt x="7414508" y="921058"/>
                </a:lnTo>
                <a:lnTo>
                  <a:pt x="7409408" y="927554"/>
                </a:lnTo>
                <a:lnTo>
                  <a:pt x="7404741" y="927554"/>
                </a:lnTo>
                <a:lnTo>
                  <a:pt x="7402354" y="936432"/>
                </a:lnTo>
                <a:lnTo>
                  <a:pt x="7399098" y="939464"/>
                </a:lnTo>
                <a:lnTo>
                  <a:pt x="7394432" y="936974"/>
                </a:lnTo>
                <a:lnTo>
                  <a:pt x="7398122" y="943470"/>
                </a:lnTo>
                <a:lnTo>
                  <a:pt x="7395409" y="947476"/>
                </a:lnTo>
                <a:lnTo>
                  <a:pt x="7396494" y="952889"/>
                </a:lnTo>
                <a:lnTo>
                  <a:pt x="7394866" y="957004"/>
                </a:lnTo>
                <a:lnTo>
                  <a:pt x="7393238" y="969672"/>
                </a:lnTo>
                <a:lnTo>
                  <a:pt x="7390852" y="971621"/>
                </a:lnTo>
                <a:lnTo>
                  <a:pt x="7387813" y="967831"/>
                </a:lnTo>
                <a:lnTo>
                  <a:pt x="7382062" y="952457"/>
                </a:lnTo>
                <a:lnTo>
                  <a:pt x="7382062" y="947260"/>
                </a:lnTo>
                <a:lnTo>
                  <a:pt x="7377721" y="944878"/>
                </a:lnTo>
                <a:lnTo>
                  <a:pt x="7374139" y="940222"/>
                </a:lnTo>
                <a:lnTo>
                  <a:pt x="7374139" y="945636"/>
                </a:lnTo>
                <a:lnTo>
                  <a:pt x="7368280" y="955705"/>
                </a:lnTo>
                <a:lnTo>
                  <a:pt x="7364481" y="958087"/>
                </a:lnTo>
                <a:lnTo>
                  <a:pt x="7363614" y="962742"/>
                </a:lnTo>
                <a:lnTo>
                  <a:pt x="7368822" y="964691"/>
                </a:lnTo>
                <a:lnTo>
                  <a:pt x="7363830" y="975518"/>
                </a:lnTo>
                <a:lnTo>
                  <a:pt x="7360249" y="970321"/>
                </a:lnTo>
                <a:lnTo>
                  <a:pt x="7357754" y="970321"/>
                </a:lnTo>
                <a:lnTo>
                  <a:pt x="7355366" y="966856"/>
                </a:lnTo>
                <a:lnTo>
                  <a:pt x="7351785" y="966856"/>
                </a:lnTo>
                <a:lnTo>
                  <a:pt x="7349832" y="973678"/>
                </a:lnTo>
                <a:lnTo>
                  <a:pt x="7347119" y="974544"/>
                </a:lnTo>
                <a:lnTo>
                  <a:pt x="7342344" y="971837"/>
                </a:lnTo>
                <a:lnTo>
                  <a:pt x="7338872" y="971837"/>
                </a:lnTo>
                <a:lnTo>
                  <a:pt x="7338221" y="974869"/>
                </a:lnTo>
                <a:lnTo>
                  <a:pt x="7341368" y="979416"/>
                </a:lnTo>
                <a:lnTo>
                  <a:pt x="7338980" y="981256"/>
                </a:lnTo>
                <a:lnTo>
                  <a:pt x="7337461" y="985371"/>
                </a:lnTo>
                <a:lnTo>
                  <a:pt x="7336810" y="989377"/>
                </a:lnTo>
                <a:lnTo>
                  <a:pt x="7341151" y="994249"/>
                </a:lnTo>
                <a:lnTo>
                  <a:pt x="7342344" y="999879"/>
                </a:lnTo>
                <a:lnTo>
                  <a:pt x="7339957" y="1000745"/>
                </a:lnTo>
                <a:lnTo>
                  <a:pt x="7341151" y="1003993"/>
                </a:lnTo>
                <a:lnTo>
                  <a:pt x="7346142" y="1005509"/>
                </a:lnTo>
                <a:lnTo>
                  <a:pt x="7349723" y="1009299"/>
                </a:lnTo>
                <a:lnTo>
                  <a:pt x="7350591" y="1012330"/>
                </a:lnTo>
                <a:lnTo>
                  <a:pt x="7348747" y="1012330"/>
                </a:lnTo>
                <a:lnTo>
                  <a:pt x="7347228" y="1015578"/>
                </a:lnTo>
                <a:lnTo>
                  <a:pt x="7351026" y="1019043"/>
                </a:lnTo>
                <a:lnTo>
                  <a:pt x="7354606" y="1021966"/>
                </a:lnTo>
                <a:lnTo>
                  <a:pt x="7354606" y="1023915"/>
                </a:lnTo>
                <a:lnTo>
                  <a:pt x="7350266" y="1020992"/>
                </a:lnTo>
                <a:lnTo>
                  <a:pt x="7346901" y="1022183"/>
                </a:lnTo>
                <a:lnTo>
                  <a:pt x="7346250" y="1024023"/>
                </a:lnTo>
                <a:lnTo>
                  <a:pt x="7350916" y="1029112"/>
                </a:lnTo>
                <a:lnTo>
                  <a:pt x="7353413" y="1027596"/>
                </a:lnTo>
                <a:lnTo>
                  <a:pt x="7353413" y="1032577"/>
                </a:lnTo>
                <a:lnTo>
                  <a:pt x="7352002" y="1037990"/>
                </a:lnTo>
                <a:lnTo>
                  <a:pt x="7352002" y="1042213"/>
                </a:lnTo>
                <a:lnTo>
                  <a:pt x="7349072" y="1046111"/>
                </a:lnTo>
                <a:lnTo>
                  <a:pt x="7351460" y="1053257"/>
                </a:lnTo>
                <a:lnTo>
                  <a:pt x="7349723" y="1056613"/>
                </a:lnTo>
                <a:lnTo>
                  <a:pt x="7352111" y="1061485"/>
                </a:lnTo>
                <a:lnTo>
                  <a:pt x="7352111" y="1064300"/>
                </a:lnTo>
                <a:lnTo>
                  <a:pt x="7352111" y="1069389"/>
                </a:lnTo>
                <a:lnTo>
                  <a:pt x="7356018" y="1077942"/>
                </a:lnTo>
                <a:lnTo>
                  <a:pt x="7354173" y="1080324"/>
                </a:lnTo>
                <a:lnTo>
                  <a:pt x="7357862" y="1082814"/>
                </a:lnTo>
                <a:lnTo>
                  <a:pt x="7362202" y="1087253"/>
                </a:lnTo>
                <a:lnTo>
                  <a:pt x="7368605" y="1095699"/>
                </a:lnTo>
                <a:lnTo>
                  <a:pt x="7374466" y="1098405"/>
                </a:lnTo>
                <a:lnTo>
                  <a:pt x="7376418" y="1096781"/>
                </a:lnTo>
                <a:lnTo>
                  <a:pt x="7377178" y="1092559"/>
                </a:lnTo>
                <a:lnTo>
                  <a:pt x="7371210" y="1085846"/>
                </a:lnTo>
                <a:lnTo>
                  <a:pt x="7371210" y="1082490"/>
                </a:lnTo>
                <a:lnTo>
                  <a:pt x="7374682" y="1079675"/>
                </a:lnTo>
                <a:lnTo>
                  <a:pt x="7379674" y="1079675"/>
                </a:lnTo>
                <a:lnTo>
                  <a:pt x="7387813" y="1085846"/>
                </a:lnTo>
                <a:lnTo>
                  <a:pt x="7391828" y="1085088"/>
                </a:lnTo>
                <a:lnTo>
                  <a:pt x="7395192" y="1086820"/>
                </a:lnTo>
                <a:lnTo>
                  <a:pt x="7395192" y="1091043"/>
                </a:lnTo>
                <a:lnTo>
                  <a:pt x="7393998" y="1093858"/>
                </a:lnTo>
                <a:lnTo>
                  <a:pt x="7397036" y="1097431"/>
                </a:lnTo>
                <a:lnTo>
                  <a:pt x="7394106" y="1101870"/>
                </a:lnTo>
                <a:lnTo>
                  <a:pt x="7395409" y="1105767"/>
                </a:lnTo>
                <a:lnTo>
                  <a:pt x="7393672" y="1107175"/>
                </a:lnTo>
                <a:lnTo>
                  <a:pt x="7390200" y="1111289"/>
                </a:lnTo>
                <a:lnTo>
                  <a:pt x="7394649" y="1120168"/>
                </a:lnTo>
                <a:lnTo>
                  <a:pt x="7398122" y="1125365"/>
                </a:lnTo>
                <a:lnTo>
                  <a:pt x="7398122" y="1133810"/>
                </a:lnTo>
                <a:lnTo>
                  <a:pt x="7403222" y="1137383"/>
                </a:lnTo>
                <a:lnTo>
                  <a:pt x="7405718" y="1135542"/>
                </a:lnTo>
                <a:lnTo>
                  <a:pt x="7405718" y="1133052"/>
                </a:lnTo>
                <a:lnTo>
                  <a:pt x="7409516" y="1130128"/>
                </a:lnTo>
                <a:lnTo>
                  <a:pt x="7410926" y="1128180"/>
                </a:lnTo>
                <a:lnTo>
                  <a:pt x="7412229" y="1129479"/>
                </a:lnTo>
                <a:lnTo>
                  <a:pt x="7417329" y="1131970"/>
                </a:lnTo>
                <a:lnTo>
                  <a:pt x="7417329" y="1142797"/>
                </a:lnTo>
                <a:lnTo>
                  <a:pt x="7428182" y="1152216"/>
                </a:lnTo>
                <a:lnTo>
                  <a:pt x="7431979" y="1159795"/>
                </a:lnTo>
                <a:lnTo>
                  <a:pt x="7429808" y="1162827"/>
                </a:lnTo>
                <a:lnTo>
                  <a:pt x="7429808" y="1169323"/>
                </a:lnTo>
                <a:lnTo>
                  <a:pt x="7426553" y="1170622"/>
                </a:lnTo>
                <a:lnTo>
                  <a:pt x="7420368" y="1166074"/>
                </a:lnTo>
                <a:lnTo>
                  <a:pt x="7413098" y="1163368"/>
                </a:lnTo>
                <a:lnTo>
                  <a:pt x="7413098" y="1156546"/>
                </a:lnTo>
                <a:lnTo>
                  <a:pt x="7415268" y="1151674"/>
                </a:lnTo>
                <a:lnTo>
                  <a:pt x="7415268" y="1145720"/>
                </a:lnTo>
                <a:lnTo>
                  <a:pt x="7413966" y="1141172"/>
                </a:lnTo>
                <a:lnTo>
                  <a:pt x="7410926" y="1144095"/>
                </a:lnTo>
                <a:lnTo>
                  <a:pt x="7411795" y="1146152"/>
                </a:lnTo>
                <a:lnTo>
                  <a:pt x="7411795" y="1149726"/>
                </a:lnTo>
                <a:lnTo>
                  <a:pt x="7407129" y="1150592"/>
                </a:lnTo>
                <a:lnTo>
                  <a:pt x="7402570" y="1157305"/>
                </a:lnTo>
                <a:lnTo>
                  <a:pt x="7403873" y="1160228"/>
                </a:lnTo>
                <a:lnTo>
                  <a:pt x="7409516" y="1158929"/>
                </a:lnTo>
                <a:lnTo>
                  <a:pt x="7409516" y="1163801"/>
                </a:lnTo>
                <a:lnTo>
                  <a:pt x="7406043" y="1169215"/>
                </a:lnTo>
                <a:lnTo>
                  <a:pt x="7407996" y="1176793"/>
                </a:lnTo>
                <a:lnTo>
                  <a:pt x="7406912" y="1178959"/>
                </a:lnTo>
                <a:lnTo>
                  <a:pt x="7407454" y="1195741"/>
                </a:lnTo>
                <a:lnTo>
                  <a:pt x="7410926" y="1199205"/>
                </a:lnTo>
                <a:lnTo>
                  <a:pt x="7410926" y="1203211"/>
                </a:lnTo>
                <a:lnTo>
                  <a:pt x="7423623" y="1221076"/>
                </a:lnTo>
                <a:lnTo>
                  <a:pt x="7427204" y="1221076"/>
                </a:lnTo>
                <a:lnTo>
                  <a:pt x="7435343" y="1232445"/>
                </a:lnTo>
                <a:lnTo>
                  <a:pt x="7440769" y="1235476"/>
                </a:lnTo>
                <a:lnTo>
                  <a:pt x="7437514" y="1239265"/>
                </a:lnTo>
                <a:lnTo>
                  <a:pt x="7437514" y="1245437"/>
                </a:lnTo>
                <a:lnTo>
                  <a:pt x="7423406" y="1250851"/>
                </a:lnTo>
                <a:lnTo>
                  <a:pt x="7422320" y="1248360"/>
                </a:lnTo>
                <a:lnTo>
                  <a:pt x="7414508" y="1253232"/>
                </a:lnTo>
                <a:lnTo>
                  <a:pt x="7410926" y="1252367"/>
                </a:lnTo>
                <a:lnTo>
                  <a:pt x="7411252" y="1251500"/>
                </a:lnTo>
                <a:lnTo>
                  <a:pt x="7406912" y="1260703"/>
                </a:lnTo>
                <a:lnTo>
                  <a:pt x="7406043" y="1266983"/>
                </a:lnTo>
                <a:lnTo>
                  <a:pt x="7403005" y="1269906"/>
                </a:lnTo>
                <a:lnTo>
                  <a:pt x="7406912" y="1274020"/>
                </a:lnTo>
                <a:lnTo>
                  <a:pt x="7403982" y="1286147"/>
                </a:lnTo>
                <a:lnTo>
                  <a:pt x="7408540" y="1299897"/>
                </a:lnTo>
                <a:lnTo>
                  <a:pt x="7415050" y="1303470"/>
                </a:lnTo>
                <a:lnTo>
                  <a:pt x="7415050" y="1309424"/>
                </a:lnTo>
                <a:lnTo>
                  <a:pt x="7421887" y="1312889"/>
                </a:lnTo>
                <a:lnTo>
                  <a:pt x="7425360" y="1317545"/>
                </a:lnTo>
                <a:lnTo>
                  <a:pt x="7419934" y="1317004"/>
                </a:lnTo>
                <a:lnTo>
                  <a:pt x="7418306" y="1315380"/>
                </a:lnTo>
                <a:lnTo>
                  <a:pt x="7413748" y="1318303"/>
                </a:lnTo>
                <a:lnTo>
                  <a:pt x="7409733" y="1322093"/>
                </a:lnTo>
                <a:lnTo>
                  <a:pt x="7406152" y="1321334"/>
                </a:lnTo>
                <a:lnTo>
                  <a:pt x="7399098" y="1327831"/>
                </a:lnTo>
                <a:lnTo>
                  <a:pt x="7394432" y="1324041"/>
                </a:lnTo>
                <a:lnTo>
                  <a:pt x="7391936" y="1328697"/>
                </a:lnTo>
                <a:lnTo>
                  <a:pt x="7394866" y="1331187"/>
                </a:lnTo>
                <a:lnTo>
                  <a:pt x="7399966" y="1331187"/>
                </a:lnTo>
                <a:lnTo>
                  <a:pt x="7398773" y="1336384"/>
                </a:lnTo>
                <a:lnTo>
                  <a:pt x="7397688" y="1339524"/>
                </a:lnTo>
                <a:lnTo>
                  <a:pt x="7402354" y="1344180"/>
                </a:lnTo>
                <a:lnTo>
                  <a:pt x="7400509" y="1346562"/>
                </a:lnTo>
                <a:lnTo>
                  <a:pt x="7397796" y="1345695"/>
                </a:lnTo>
                <a:lnTo>
                  <a:pt x="7401052" y="1352517"/>
                </a:lnTo>
                <a:lnTo>
                  <a:pt x="7399424" y="1356089"/>
                </a:lnTo>
                <a:lnTo>
                  <a:pt x="7402462" y="1356847"/>
                </a:lnTo>
                <a:lnTo>
                  <a:pt x="7405175" y="1355440"/>
                </a:lnTo>
                <a:lnTo>
                  <a:pt x="7409516" y="1359988"/>
                </a:lnTo>
                <a:lnTo>
                  <a:pt x="7405610" y="1363560"/>
                </a:lnTo>
                <a:lnTo>
                  <a:pt x="7405067" y="1370598"/>
                </a:lnTo>
                <a:lnTo>
                  <a:pt x="7407780" y="1374929"/>
                </a:lnTo>
                <a:lnTo>
                  <a:pt x="7406152" y="1385755"/>
                </a:lnTo>
                <a:lnTo>
                  <a:pt x="7404199" y="1389761"/>
                </a:lnTo>
                <a:lnTo>
                  <a:pt x="7405284" y="1391927"/>
                </a:lnTo>
                <a:lnTo>
                  <a:pt x="7404199" y="1396258"/>
                </a:lnTo>
                <a:lnTo>
                  <a:pt x="7398447" y="1401347"/>
                </a:lnTo>
                <a:lnTo>
                  <a:pt x="7398447" y="1406219"/>
                </a:lnTo>
                <a:lnTo>
                  <a:pt x="7397036" y="1407085"/>
                </a:lnTo>
                <a:lnTo>
                  <a:pt x="7394541" y="1417912"/>
                </a:lnTo>
                <a:lnTo>
                  <a:pt x="7389440" y="1428739"/>
                </a:lnTo>
                <a:lnTo>
                  <a:pt x="7390308" y="1423650"/>
                </a:lnTo>
                <a:lnTo>
                  <a:pt x="7389006" y="1420077"/>
                </a:lnTo>
                <a:lnTo>
                  <a:pt x="7389006" y="1415205"/>
                </a:lnTo>
                <a:lnTo>
                  <a:pt x="7387596" y="1411957"/>
                </a:lnTo>
                <a:lnTo>
                  <a:pt x="7378154" y="1410875"/>
                </a:lnTo>
                <a:lnTo>
                  <a:pt x="7373055" y="1403512"/>
                </a:lnTo>
                <a:lnTo>
                  <a:pt x="7371969" y="1395067"/>
                </a:lnTo>
                <a:lnTo>
                  <a:pt x="7362745" y="1374712"/>
                </a:lnTo>
                <a:lnTo>
                  <a:pt x="7356560" y="1364968"/>
                </a:lnTo>
                <a:lnTo>
                  <a:pt x="7360032" y="1364968"/>
                </a:lnTo>
                <a:lnTo>
                  <a:pt x="7364048" y="1362802"/>
                </a:lnTo>
                <a:lnTo>
                  <a:pt x="7365892" y="1358796"/>
                </a:lnTo>
                <a:lnTo>
                  <a:pt x="7362094" y="1360637"/>
                </a:lnTo>
                <a:lnTo>
                  <a:pt x="7355800" y="1360637"/>
                </a:lnTo>
                <a:lnTo>
                  <a:pt x="7347336" y="1356306"/>
                </a:lnTo>
                <a:lnTo>
                  <a:pt x="7328888" y="1322958"/>
                </a:lnTo>
                <a:lnTo>
                  <a:pt x="7312068" y="1303254"/>
                </a:lnTo>
                <a:lnTo>
                  <a:pt x="7312068" y="1295999"/>
                </a:lnTo>
                <a:lnTo>
                  <a:pt x="7305882" y="1289178"/>
                </a:lnTo>
                <a:lnTo>
                  <a:pt x="7292644" y="1268391"/>
                </a:lnTo>
                <a:lnTo>
                  <a:pt x="7279947" y="1243055"/>
                </a:lnTo>
                <a:lnTo>
                  <a:pt x="7269095" y="1219235"/>
                </a:lnTo>
                <a:lnTo>
                  <a:pt x="7269095" y="1210898"/>
                </a:lnTo>
                <a:lnTo>
                  <a:pt x="7262584" y="1200072"/>
                </a:lnTo>
                <a:lnTo>
                  <a:pt x="7260414" y="1183398"/>
                </a:lnTo>
                <a:lnTo>
                  <a:pt x="7256399" y="1175061"/>
                </a:lnTo>
                <a:lnTo>
                  <a:pt x="7257484" y="1165209"/>
                </a:lnTo>
                <a:lnTo>
                  <a:pt x="7262802" y="1158820"/>
                </a:lnTo>
                <a:lnTo>
                  <a:pt x="7264103" y="1150700"/>
                </a:lnTo>
                <a:lnTo>
                  <a:pt x="7267902" y="1149293"/>
                </a:lnTo>
                <a:lnTo>
                  <a:pt x="7265189" y="1146044"/>
                </a:lnTo>
                <a:lnTo>
                  <a:pt x="7267142" y="1143121"/>
                </a:lnTo>
                <a:lnTo>
                  <a:pt x="7267142" y="1131428"/>
                </a:lnTo>
                <a:lnTo>
                  <a:pt x="7258135" y="1118977"/>
                </a:lnTo>
                <a:lnTo>
                  <a:pt x="7251949" y="1118977"/>
                </a:lnTo>
                <a:lnTo>
                  <a:pt x="7251949" y="1115512"/>
                </a:lnTo>
                <a:lnTo>
                  <a:pt x="7256617" y="1111181"/>
                </a:lnTo>
                <a:lnTo>
                  <a:pt x="7266057" y="1115729"/>
                </a:lnTo>
                <a:lnTo>
                  <a:pt x="7271266" y="1109991"/>
                </a:lnTo>
                <a:lnTo>
                  <a:pt x="7269964" y="1106201"/>
                </a:lnTo>
                <a:lnTo>
                  <a:pt x="7269964" y="1096998"/>
                </a:lnTo>
                <a:lnTo>
                  <a:pt x="7278103" y="1095915"/>
                </a:lnTo>
                <a:lnTo>
                  <a:pt x="7282660" y="1097215"/>
                </a:lnTo>
                <a:lnTo>
                  <a:pt x="7278644" y="1091584"/>
                </a:lnTo>
                <a:lnTo>
                  <a:pt x="7286024" y="1077292"/>
                </a:lnTo>
                <a:lnTo>
                  <a:pt x="7282986" y="1068414"/>
                </a:lnTo>
                <a:lnTo>
                  <a:pt x="7282986" y="1058995"/>
                </a:lnTo>
                <a:lnTo>
                  <a:pt x="7280056" y="1053906"/>
                </a:lnTo>
                <a:lnTo>
                  <a:pt x="7284071" y="1049575"/>
                </a:lnTo>
                <a:lnTo>
                  <a:pt x="7284071" y="1043621"/>
                </a:lnTo>
                <a:lnTo>
                  <a:pt x="7282443" y="1040914"/>
                </a:lnTo>
                <a:lnTo>
                  <a:pt x="7283962" y="1032902"/>
                </a:lnTo>
                <a:lnTo>
                  <a:pt x="7287652" y="1032902"/>
                </a:lnTo>
                <a:lnTo>
                  <a:pt x="7283202" y="1028463"/>
                </a:lnTo>
                <a:lnTo>
                  <a:pt x="7282226" y="1024673"/>
                </a:lnTo>
                <a:lnTo>
                  <a:pt x="7283746" y="1022507"/>
                </a:lnTo>
                <a:lnTo>
                  <a:pt x="7284939" y="1013305"/>
                </a:lnTo>
                <a:lnTo>
                  <a:pt x="7282877" y="1011464"/>
                </a:lnTo>
                <a:lnTo>
                  <a:pt x="7283637" y="1006700"/>
                </a:lnTo>
                <a:lnTo>
                  <a:pt x="7289062" y="1004643"/>
                </a:lnTo>
                <a:lnTo>
                  <a:pt x="7291341" y="1001287"/>
                </a:lnTo>
                <a:lnTo>
                  <a:pt x="7289822" y="993599"/>
                </a:lnTo>
                <a:lnTo>
                  <a:pt x="7291450" y="983422"/>
                </a:lnTo>
                <a:lnTo>
                  <a:pt x="7288954" y="981906"/>
                </a:lnTo>
                <a:lnTo>
                  <a:pt x="7288086" y="978875"/>
                </a:lnTo>
                <a:lnTo>
                  <a:pt x="7292210" y="971404"/>
                </a:lnTo>
                <a:lnTo>
                  <a:pt x="7292210" y="964799"/>
                </a:lnTo>
                <a:lnTo>
                  <a:pt x="7288737" y="965991"/>
                </a:lnTo>
                <a:lnTo>
                  <a:pt x="7286892" y="960036"/>
                </a:lnTo>
                <a:lnTo>
                  <a:pt x="7289388" y="956354"/>
                </a:lnTo>
                <a:lnTo>
                  <a:pt x="7289388" y="951699"/>
                </a:lnTo>
                <a:lnTo>
                  <a:pt x="7293078" y="950399"/>
                </a:lnTo>
                <a:lnTo>
                  <a:pt x="7294054" y="948018"/>
                </a:lnTo>
                <a:lnTo>
                  <a:pt x="7299480" y="944661"/>
                </a:lnTo>
                <a:lnTo>
                  <a:pt x="7300023" y="940114"/>
                </a:lnTo>
                <a:lnTo>
                  <a:pt x="7305992" y="934484"/>
                </a:lnTo>
                <a:lnTo>
                  <a:pt x="7307510" y="934484"/>
                </a:lnTo>
                <a:lnTo>
                  <a:pt x="7311960" y="931127"/>
                </a:lnTo>
                <a:lnTo>
                  <a:pt x="7314781" y="931127"/>
                </a:lnTo>
                <a:lnTo>
                  <a:pt x="7315757" y="928096"/>
                </a:lnTo>
                <a:lnTo>
                  <a:pt x="7314564" y="926255"/>
                </a:lnTo>
                <a:lnTo>
                  <a:pt x="7310007" y="925606"/>
                </a:lnTo>
                <a:lnTo>
                  <a:pt x="7306968" y="927554"/>
                </a:lnTo>
                <a:lnTo>
                  <a:pt x="7303278" y="924739"/>
                </a:lnTo>
                <a:lnTo>
                  <a:pt x="7303278" y="915536"/>
                </a:lnTo>
                <a:lnTo>
                  <a:pt x="7306100" y="908282"/>
                </a:lnTo>
                <a:lnTo>
                  <a:pt x="7304363" y="905359"/>
                </a:lnTo>
                <a:lnTo>
                  <a:pt x="7301650" y="900487"/>
                </a:lnTo>
                <a:lnTo>
                  <a:pt x="7299914" y="900487"/>
                </a:lnTo>
                <a:lnTo>
                  <a:pt x="7298178" y="903735"/>
                </a:lnTo>
                <a:lnTo>
                  <a:pt x="7296442" y="903085"/>
                </a:lnTo>
                <a:lnTo>
                  <a:pt x="7295356" y="892258"/>
                </a:lnTo>
                <a:lnTo>
                  <a:pt x="7297310" y="889768"/>
                </a:lnTo>
                <a:lnTo>
                  <a:pt x="7297310" y="887061"/>
                </a:lnTo>
                <a:lnTo>
                  <a:pt x="7296007" y="881431"/>
                </a:lnTo>
                <a:lnTo>
                  <a:pt x="7291016" y="879374"/>
                </a:lnTo>
                <a:lnTo>
                  <a:pt x="7292210" y="877425"/>
                </a:lnTo>
                <a:lnTo>
                  <a:pt x="7291558" y="877425"/>
                </a:lnTo>
                <a:lnTo>
                  <a:pt x="7291558" y="874935"/>
                </a:lnTo>
                <a:lnTo>
                  <a:pt x="7286242" y="868763"/>
                </a:lnTo>
                <a:lnTo>
                  <a:pt x="7285482" y="865190"/>
                </a:lnTo>
                <a:lnTo>
                  <a:pt x="7282552" y="862484"/>
                </a:lnTo>
                <a:lnTo>
                  <a:pt x="7282552" y="857503"/>
                </a:lnTo>
                <a:lnTo>
                  <a:pt x="7279947" y="851549"/>
                </a:lnTo>
                <a:lnTo>
                  <a:pt x="7279947" y="847976"/>
                </a:lnTo>
                <a:lnTo>
                  <a:pt x="7286350" y="841371"/>
                </a:lnTo>
                <a:lnTo>
                  <a:pt x="7291884" y="842670"/>
                </a:lnTo>
                <a:lnTo>
                  <a:pt x="7296767" y="840938"/>
                </a:lnTo>
                <a:lnTo>
                  <a:pt x="7293838" y="838556"/>
                </a:lnTo>
                <a:lnTo>
                  <a:pt x="7299914" y="835091"/>
                </a:lnTo>
                <a:lnTo>
                  <a:pt x="7297093" y="835849"/>
                </a:lnTo>
                <a:lnTo>
                  <a:pt x="7292210" y="835308"/>
                </a:lnTo>
                <a:lnTo>
                  <a:pt x="7289605" y="834009"/>
                </a:lnTo>
                <a:lnTo>
                  <a:pt x="7282986" y="834009"/>
                </a:lnTo>
                <a:lnTo>
                  <a:pt x="7276041" y="828378"/>
                </a:lnTo>
                <a:lnTo>
                  <a:pt x="7274196" y="830111"/>
                </a:lnTo>
                <a:lnTo>
                  <a:pt x="7268010" y="830111"/>
                </a:lnTo>
                <a:lnTo>
                  <a:pt x="7263670" y="835200"/>
                </a:lnTo>
                <a:lnTo>
                  <a:pt x="7258678" y="835200"/>
                </a:lnTo>
                <a:lnTo>
                  <a:pt x="7252384" y="841154"/>
                </a:lnTo>
                <a:lnTo>
                  <a:pt x="7254555" y="843536"/>
                </a:lnTo>
                <a:lnTo>
                  <a:pt x="7253904" y="847542"/>
                </a:lnTo>
                <a:lnTo>
                  <a:pt x="7259221" y="851765"/>
                </a:lnTo>
                <a:lnTo>
                  <a:pt x="7260306" y="856745"/>
                </a:lnTo>
                <a:lnTo>
                  <a:pt x="7258461" y="858694"/>
                </a:lnTo>
                <a:lnTo>
                  <a:pt x="7259980" y="865623"/>
                </a:lnTo>
                <a:lnTo>
                  <a:pt x="7264429" y="869088"/>
                </a:lnTo>
                <a:lnTo>
                  <a:pt x="7264429" y="871686"/>
                </a:lnTo>
                <a:lnTo>
                  <a:pt x="7267576" y="873528"/>
                </a:lnTo>
                <a:lnTo>
                  <a:pt x="7269964" y="883380"/>
                </a:lnTo>
                <a:lnTo>
                  <a:pt x="7277017" y="886845"/>
                </a:lnTo>
                <a:lnTo>
                  <a:pt x="7276150" y="891826"/>
                </a:lnTo>
                <a:lnTo>
                  <a:pt x="7279187" y="895290"/>
                </a:lnTo>
                <a:lnTo>
                  <a:pt x="7277343" y="898213"/>
                </a:lnTo>
                <a:lnTo>
                  <a:pt x="7273762" y="895290"/>
                </a:lnTo>
                <a:lnTo>
                  <a:pt x="7272026" y="891500"/>
                </a:lnTo>
                <a:lnTo>
                  <a:pt x="7265514" y="893016"/>
                </a:lnTo>
                <a:lnTo>
                  <a:pt x="7261825" y="895831"/>
                </a:lnTo>
                <a:lnTo>
                  <a:pt x="7259221" y="903085"/>
                </a:lnTo>
                <a:lnTo>
                  <a:pt x="7262042" y="906008"/>
                </a:lnTo>
                <a:lnTo>
                  <a:pt x="7260740" y="913155"/>
                </a:lnTo>
                <a:lnTo>
                  <a:pt x="7259004" y="914454"/>
                </a:lnTo>
                <a:lnTo>
                  <a:pt x="7259004" y="916078"/>
                </a:lnTo>
                <a:lnTo>
                  <a:pt x="7260740" y="917269"/>
                </a:lnTo>
                <a:lnTo>
                  <a:pt x="7260740" y="921058"/>
                </a:lnTo>
                <a:lnTo>
                  <a:pt x="7256724" y="924848"/>
                </a:lnTo>
                <a:lnTo>
                  <a:pt x="7260089" y="927879"/>
                </a:lnTo>
                <a:lnTo>
                  <a:pt x="7256942" y="931236"/>
                </a:lnTo>
                <a:lnTo>
                  <a:pt x="7256942" y="943254"/>
                </a:lnTo>
                <a:lnTo>
                  <a:pt x="7255097" y="946177"/>
                </a:lnTo>
                <a:lnTo>
                  <a:pt x="7255097" y="949100"/>
                </a:lnTo>
                <a:lnTo>
                  <a:pt x="7251624" y="951266"/>
                </a:lnTo>
                <a:lnTo>
                  <a:pt x="7248803" y="958411"/>
                </a:lnTo>
                <a:lnTo>
                  <a:pt x="7247283" y="953106"/>
                </a:lnTo>
                <a:lnTo>
                  <a:pt x="7243052" y="949317"/>
                </a:lnTo>
                <a:lnTo>
                  <a:pt x="7246958" y="942279"/>
                </a:lnTo>
                <a:lnTo>
                  <a:pt x="7244896" y="939681"/>
                </a:lnTo>
                <a:lnTo>
                  <a:pt x="7241641" y="939681"/>
                </a:lnTo>
                <a:lnTo>
                  <a:pt x="7237408" y="943579"/>
                </a:lnTo>
                <a:lnTo>
                  <a:pt x="7237408" y="947260"/>
                </a:lnTo>
                <a:lnTo>
                  <a:pt x="7235021" y="949100"/>
                </a:lnTo>
                <a:lnTo>
                  <a:pt x="7234261" y="940655"/>
                </a:lnTo>
                <a:lnTo>
                  <a:pt x="7229487" y="939464"/>
                </a:lnTo>
                <a:lnTo>
                  <a:pt x="7227859" y="936108"/>
                </a:lnTo>
                <a:lnTo>
                  <a:pt x="7223736" y="940006"/>
                </a:lnTo>
                <a:lnTo>
                  <a:pt x="7222216" y="937624"/>
                </a:lnTo>
                <a:lnTo>
                  <a:pt x="7223627" y="935783"/>
                </a:lnTo>
                <a:lnTo>
                  <a:pt x="7225689" y="932752"/>
                </a:lnTo>
                <a:lnTo>
                  <a:pt x="7224278" y="930802"/>
                </a:lnTo>
                <a:lnTo>
                  <a:pt x="7224278" y="927122"/>
                </a:lnTo>
                <a:lnTo>
                  <a:pt x="7225689" y="927122"/>
                </a:lnTo>
                <a:lnTo>
                  <a:pt x="7224278" y="922032"/>
                </a:lnTo>
                <a:lnTo>
                  <a:pt x="7222108" y="920625"/>
                </a:lnTo>
                <a:lnTo>
                  <a:pt x="7225255" y="917161"/>
                </a:lnTo>
                <a:lnTo>
                  <a:pt x="7223736" y="912830"/>
                </a:lnTo>
                <a:lnTo>
                  <a:pt x="7221674" y="910340"/>
                </a:lnTo>
                <a:lnTo>
                  <a:pt x="7223084" y="908282"/>
                </a:lnTo>
                <a:lnTo>
                  <a:pt x="7223084" y="902544"/>
                </a:lnTo>
                <a:lnTo>
                  <a:pt x="7218092" y="898971"/>
                </a:lnTo>
                <a:lnTo>
                  <a:pt x="7216682" y="894965"/>
                </a:lnTo>
                <a:lnTo>
                  <a:pt x="7214620" y="894965"/>
                </a:lnTo>
                <a:lnTo>
                  <a:pt x="7213643" y="900703"/>
                </a:lnTo>
                <a:lnTo>
                  <a:pt x="7210497" y="901569"/>
                </a:lnTo>
                <a:lnTo>
                  <a:pt x="7210497" y="907524"/>
                </a:lnTo>
                <a:lnTo>
                  <a:pt x="7206481" y="912504"/>
                </a:lnTo>
                <a:lnTo>
                  <a:pt x="7204636" y="912504"/>
                </a:lnTo>
                <a:lnTo>
                  <a:pt x="7201815" y="906658"/>
                </a:lnTo>
                <a:lnTo>
                  <a:pt x="7199970" y="906658"/>
                </a:lnTo>
                <a:lnTo>
                  <a:pt x="7197800" y="908174"/>
                </a:lnTo>
                <a:lnTo>
                  <a:pt x="7196823" y="903626"/>
                </a:lnTo>
                <a:lnTo>
                  <a:pt x="7191289" y="903626"/>
                </a:lnTo>
                <a:lnTo>
                  <a:pt x="7189661" y="905251"/>
                </a:lnTo>
                <a:lnTo>
                  <a:pt x="7187600" y="905251"/>
                </a:lnTo>
                <a:lnTo>
                  <a:pt x="7186623" y="909798"/>
                </a:lnTo>
                <a:lnTo>
                  <a:pt x="7183042" y="910773"/>
                </a:lnTo>
                <a:lnTo>
                  <a:pt x="7182391" y="913046"/>
                </a:lnTo>
                <a:lnTo>
                  <a:pt x="7173710" y="913046"/>
                </a:lnTo>
                <a:lnTo>
                  <a:pt x="7171213" y="916619"/>
                </a:lnTo>
                <a:lnTo>
                  <a:pt x="7167850" y="915428"/>
                </a:lnTo>
                <a:lnTo>
                  <a:pt x="7165028" y="917485"/>
                </a:lnTo>
                <a:lnTo>
                  <a:pt x="7159385" y="916728"/>
                </a:lnTo>
                <a:lnTo>
                  <a:pt x="7154177" y="925173"/>
                </a:lnTo>
                <a:lnTo>
                  <a:pt x="7151247" y="926905"/>
                </a:lnTo>
                <a:lnTo>
                  <a:pt x="7151898" y="933401"/>
                </a:lnTo>
                <a:lnTo>
                  <a:pt x="7147665" y="936649"/>
                </a:lnTo>
                <a:lnTo>
                  <a:pt x="7147665" y="939031"/>
                </a:lnTo>
                <a:lnTo>
                  <a:pt x="7150920" y="941413"/>
                </a:lnTo>
                <a:lnTo>
                  <a:pt x="7151789" y="947585"/>
                </a:lnTo>
                <a:lnTo>
                  <a:pt x="7156672" y="954297"/>
                </a:lnTo>
                <a:lnTo>
                  <a:pt x="7152766" y="957654"/>
                </a:lnTo>
                <a:lnTo>
                  <a:pt x="7150270" y="974436"/>
                </a:lnTo>
                <a:lnTo>
                  <a:pt x="7156239" y="981148"/>
                </a:lnTo>
                <a:lnTo>
                  <a:pt x="7151355" y="982989"/>
                </a:lnTo>
                <a:lnTo>
                  <a:pt x="7152766" y="983855"/>
                </a:lnTo>
                <a:lnTo>
                  <a:pt x="7152766" y="989160"/>
                </a:lnTo>
                <a:lnTo>
                  <a:pt x="7148208" y="994033"/>
                </a:lnTo>
                <a:lnTo>
                  <a:pt x="7148208" y="1001287"/>
                </a:lnTo>
                <a:lnTo>
                  <a:pt x="7144735" y="1005617"/>
                </a:lnTo>
                <a:lnTo>
                  <a:pt x="7144735" y="1010923"/>
                </a:lnTo>
                <a:lnTo>
                  <a:pt x="7142456" y="1019260"/>
                </a:lnTo>
                <a:lnTo>
                  <a:pt x="7146905" y="1025323"/>
                </a:lnTo>
                <a:lnTo>
                  <a:pt x="7143108" y="1028246"/>
                </a:lnTo>
                <a:lnTo>
                  <a:pt x="7149510" y="1037016"/>
                </a:lnTo>
                <a:lnTo>
                  <a:pt x="7147232" y="1038316"/>
                </a:lnTo>
                <a:lnTo>
                  <a:pt x="7145929" y="1042429"/>
                </a:lnTo>
                <a:lnTo>
                  <a:pt x="7149727" y="1044486"/>
                </a:lnTo>
                <a:lnTo>
                  <a:pt x="7151571" y="1042755"/>
                </a:lnTo>
                <a:lnTo>
                  <a:pt x="7156130" y="1042755"/>
                </a:lnTo>
                <a:lnTo>
                  <a:pt x="7156130" y="1040373"/>
                </a:lnTo>
                <a:lnTo>
                  <a:pt x="7157432" y="1039614"/>
                </a:lnTo>
                <a:lnTo>
                  <a:pt x="7161664" y="1041888"/>
                </a:lnTo>
                <a:lnTo>
                  <a:pt x="7164378" y="1041888"/>
                </a:lnTo>
                <a:lnTo>
                  <a:pt x="7164378" y="1039939"/>
                </a:lnTo>
                <a:lnTo>
                  <a:pt x="7164378" y="1038965"/>
                </a:lnTo>
                <a:lnTo>
                  <a:pt x="7167090" y="1040805"/>
                </a:lnTo>
                <a:lnTo>
                  <a:pt x="7171973" y="1042755"/>
                </a:lnTo>
                <a:lnTo>
                  <a:pt x="7171973" y="1045245"/>
                </a:lnTo>
                <a:lnTo>
                  <a:pt x="7171105" y="1046977"/>
                </a:lnTo>
                <a:lnTo>
                  <a:pt x="7175229" y="1051416"/>
                </a:lnTo>
                <a:lnTo>
                  <a:pt x="7174360" y="1053798"/>
                </a:lnTo>
                <a:lnTo>
                  <a:pt x="7171213" y="1053798"/>
                </a:lnTo>
                <a:lnTo>
                  <a:pt x="7168284" y="1055747"/>
                </a:lnTo>
                <a:lnTo>
                  <a:pt x="7164920" y="1054339"/>
                </a:lnTo>
                <a:lnTo>
                  <a:pt x="7161230" y="1056721"/>
                </a:lnTo>
                <a:lnTo>
                  <a:pt x="7161230" y="1058237"/>
                </a:lnTo>
                <a:lnTo>
                  <a:pt x="7164160" y="1060835"/>
                </a:lnTo>
                <a:lnTo>
                  <a:pt x="7157866" y="1066898"/>
                </a:lnTo>
                <a:lnTo>
                  <a:pt x="7154610" y="1065166"/>
                </a:lnTo>
                <a:lnTo>
                  <a:pt x="7153960" y="1061485"/>
                </a:lnTo>
                <a:lnTo>
                  <a:pt x="7151464" y="1059212"/>
                </a:lnTo>
                <a:lnTo>
                  <a:pt x="7148100" y="1061161"/>
                </a:lnTo>
                <a:lnTo>
                  <a:pt x="7145278" y="1059103"/>
                </a:lnTo>
                <a:lnTo>
                  <a:pt x="7142022" y="1060402"/>
                </a:lnTo>
                <a:lnTo>
                  <a:pt x="7142782" y="1063542"/>
                </a:lnTo>
                <a:lnTo>
                  <a:pt x="7142782" y="1067657"/>
                </a:lnTo>
                <a:lnTo>
                  <a:pt x="7141371" y="1067657"/>
                </a:lnTo>
                <a:lnTo>
                  <a:pt x="7139093" y="1070797"/>
                </a:lnTo>
                <a:lnTo>
                  <a:pt x="7135946" y="1073070"/>
                </a:lnTo>
                <a:lnTo>
                  <a:pt x="7138116" y="1075236"/>
                </a:lnTo>
                <a:lnTo>
                  <a:pt x="7135946" y="1078267"/>
                </a:lnTo>
                <a:lnTo>
                  <a:pt x="7132474" y="1077726"/>
                </a:lnTo>
                <a:lnTo>
                  <a:pt x="7126504" y="1071555"/>
                </a:lnTo>
                <a:lnTo>
                  <a:pt x="7123575" y="1071555"/>
                </a:lnTo>
                <a:lnTo>
                  <a:pt x="7127155" y="1076643"/>
                </a:lnTo>
                <a:lnTo>
                  <a:pt x="7122273" y="1079025"/>
                </a:lnTo>
                <a:lnTo>
                  <a:pt x="7123358" y="1080865"/>
                </a:lnTo>
                <a:lnTo>
                  <a:pt x="7120319" y="1084871"/>
                </a:lnTo>
                <a:lnTo>
                  <a:pt x="7113048" y="1087037"/>
                </a:lnTo>
                <a:lnTo>
                  <a:pt x="7111095" y="1089419"/>
                </a:lnTo>
                <a:lnTo>
                  <a:pt x="7104801" y="1080757"/>
                </a:lnTo>
                <a:lnTo>
                  <a:pt x="7101003" y="1080757"/>
                </a:lnTo>
                <a:lnTo>
                  <a:pt x="7099050" y="1079458"/>
                </a:lnTo>
                <a:lnTo>
                  <a:pt x="7100352" y="1077076"/>
                </a:lnTo>
                <a:lnTo>
                  <a:pt x="7104367" y="1077076"/>
                </a:lnTo>
                <a:lnTo>
                  <a:pt x="7104367" y="1072204"/>
                </a:lnTo>
                <a:lnTo>
                  <a:pt x="7106212" y="1069714"/>
                </a:lnTo>
                <a:lnTo>
                  <a:pt x="7113591" y="1069714"/>
                </a:lnTo>
                <a:lnTo>
                  <a:pt x="7121947" y="1063542"/>
                </a:lnTo>
                <a:lnTo>
                  <a:pt x="7120862" y="1060619"/>
                </a:lnTo>
                <a:lnTo>
                  <a:pt x="7117064" y="1059861"/>
                </a:lnTo>
                <a:lnTo>
                  <a:pt x="7112940" y="1063867"/>
                </a:lnTo>
                <a:lnTo>
                  <a:pt x="7106972" y="1062784"/>
                </a:lnTo>
                <a:lnTo>
                  <a:pt x="7106972" y="1060619"/>
                </a:lnTo>
                <a:lnTo>
                  <a:pt x="7102414" y="1057155"/>
                </a:lnTo>
                <a:lnTo>
                  <a:pt x="7098073" y="1057155"/>
                </a:lnTo>
                <a:lnTo>
                  <a:pt x="7091237" y="1055855"/>
                </a:lnTo>
                <a:lnTo>
                  <a:pt x="7084183" y="1055855"/>
                </a:lnTo>
                <a:lnTo>
                  <a:pt x="7086136" y="1059320"/>
                </a:lnTo>
                <a:lnTo>
                  <a:pt x="7083098" y="1060186"/>
                </a:lnTo>
                <a:lnTo>
                  <a:pt x="7080060" y="1058020"/>
                </a:lnTo>
                <a:lnTo>
                  <a:pt x="7080060" y="1055639"/>
                </a:lnTo>
                <a:lnTo>
                  <a:pt x="7073548" y="1055639"/>
                </a:lnTo>
                <a:lnTo>
                  <a:pt x="7065084" y="1053473"/>
                </a:lnTo>
                <a:lnTo>
                  <a:pt x="7061287" y="1055422"/>
                </a:lnTo>
                <a:lnTo>
                  <a:pt x="7057705" y="1052715"/>
                </a:lnTo>
                <a:lnTo>
                  <a:pt x="7050869" y="1052715"/>
                </a:lnTo>
                <a:lnTo>
                  <a:pt x="7044574" y="1060294"/>
                </a:lnTo>
                <a:lnTo>
                  <a:pt x="7041536" y="1060294"/>
                </a:lnTo>
                <a:lnTo>
                  <a:pt x="7041536" y="1063326"/>
                </a:lnTo>
                <a:lnTo>
                  <a:pt x="7047830" y="1067332"/>
                </a:lnTo>
                <a:lnTo>
                  <a:pt x="7040994" y="1070039"/>
                </a:lnTo>
                <a:lnTo>
                  <a:pt x="7039908" y="1066574"/>
                </a:lnTo>
                <a:lnTo>
                  <a:pt x="7036327" y="1072204"/>
                </a:lnTo>
                <a:lnTo>
                  <a:pt x="7042078" y="1075236"/>
                </a:lnTo>
                <a:lnTo>
                  <a:pt x="7044032" y="1073612"/>
                </a:lnTo>
                <a:lnTo>
                  <a:pt x="7046962" y="1075236"/>
                </a:lnTo>
                <a:lnTo>
                  <a:pt x="7046962" y="1078808"/>
                </a:lnTo>
                <a:lnTo>
                  <a:pt x="7037738" y="1082381"/>
                </a:lnTo>
                <a:lnTo>
                  <a:pt x="7034482" y="1078375"/>
                </a:lnTo>
                <a:lnTo>
                  <a:pt x="7026670" y="1078375"/>
                </a:lnTo>
                <a:lnTo>
                  <a:pt x="7023739" y="1080541"/>
                </a:lnTo>
                <a:lnTo>
                  <a:pt x="7025042" y="1084547"/>
                </a:lnTo>
                <a:lnTo>
                  <a:pt x="7021460" y="1084547"/>
                </a:lnTo>
                <a:lnTo>
                  <a:pt x="7018748" y="1087470"/>
                </a:lnTo>
                <a:lnTo>
                  <a:pt x="7016360" y="1087470"/>
                </a:lnTo>
                <a:lnTo>
                  <a:pt x="7014732" y="1084006"/>
                </a:lnTo>
                <a:lnTo>
                  <a:pt x="7004966" y="1084006"/>
                </a:lnTo>
                <a:lnTo>
                  <a:pt x="7000951" y="1086387"/>
                </a:lnTo>
                <a:lnTo>
                  <a:pt x="6991727" y="1085088"/>
                </a:lnTo>
                <a:lnTo>
                  <a:pt x="6986301" y="1088012"/>
                </a:lnTo>
                <a:lnTo>
                  <a:pt x="6986301" y="1090393"/>
                </a:lnTo>
                <a:lnTo>
                  <a:pt x="6993138" y="1095590"/>
                </a:lnTo>
                <a:lnTo>
                  <a:pt x="6989340" y="1098838"/>
                </a:lnTo>
                <a:lnTo>
                  <a:pt x="6986952" y="1103494"/>
                </a:lnTo>
                <a:lnTo>
                  <a:pt x="6982612" y="1099380"/>
                </a:lnTo>
                <a:lnTo>
                  <a:pt x="6979139" y="1098081"/>
                </a:lnTo>
                <a:lnTo>
                  <a:pt x="6981092" y="1092883"/>
                </a:lnTo>
                <a:lnTo>
                  <a:pt x="6976969" y="1090177"/>
                </a:lnTo>
                <a:lnTo>
                  <a:pt x="6974798" y="1093750"/>
                </a:lnTo>
                <a:lnTo>
                  <a:pt x="6970674" y="1094291"/>
                </a:lnTo>
                <a:lnTo>
                  <a:pt x="6966551" y="1094291"/>
                </a:lnTo>
                <a:lnTo>
                  <a:pt x="6961668" y="1097756"/>
                </a:lnTo>
                <a:lnTo>
                  <a:pt x="6956785" y="1097756"/>
                </a:lnTo>
                <a:lnTo>
                  <a:pt x="6949731" y="1102087"/>
                </a:lnTo>
                <a:lnTo>
                  <a:pt x="6942677" y="1102087"/>
                </a:lnTo>
                <a:lnTo>
                  <a:pt x="6934322" y="1108799"/>
                </a:lnTo>
                <a:lnTo>
                  <a:pt x="6929330" y="1109666"/>
                </a:lnTo>
                <a:lnTo>
                  <a:pt x="6926075" y="1106201"/>
                </a:lnTo>
                <a:lnTo>
                  <a:pt x="6923036" y="1106201"/>
                </a:lnTo>
                <a:lnTo>
                  <a:pt x="6921734" y="1110857"/>
                </a:lnTo>
                <a:lnTo>
                  <a:pt x="6913052" y="1117353"/>
                </a:lnTo>
                <a:lnTo>
                  <a:pt x="6911750" y="1122442"/>
                </a:lnTo>
                <a:lnTo>
                  <a:pt x="6902743" y="1126772"/>
                </a:lnTo>
                <a:lnTo>
                  <a:pt x="6901875" y="1132185"/>
                </a:lnTo>
                <a:lnTo>
                  <a:pt x="6908060" y="1141714"/>
                </a:lnTo>
                <a:lnTo>
                  <a:pt x="6906433" y="1150917"/>
                </a:lnTo>
                <a:lnTo>
                  <a:pt x="6899380" y="1158820"/>
                </a:lnTo>
                <a:lnTo>
                  <a:pt x="6895907" y="1166399"/>
                </a:lnTo>
                <a:lnTo>
                  <a:pt x="6897318" y="1172354"/>
                </a:lnTo>
                <a:lnTo>
                  <a:pt x="6897318" y="1181774"/>
                </a:lnTo>
                <a:lnTo>
                  <a:pt x="6899488" y="1185347"/>
                </a:lnTo>
                <a:lnTo>
                  <a:pt x="6899488" y="1190544"/>
                </a:lnTo>
                <a:lnTo>
                  <a:pt x="6897318" y="1190544"/>
                </a:lnTo>
                <a:lnTo>
                  <a:pt x="6894279" y="1192384"/>
                </a:lnTo>
                <a:lnTo>
                  <a:pt x="6894279" y="1198014"/>
                </a:lnTo>
                <a:lnTo>
                  <a:pt x="6891892" y="1199855"/>
                </a:lnTo>
                <a:lnTo>
                  <a:pt x="6894604" y="1207975"/>
                </a:lnTo>
                <a:lnTo>
                  <a:pt x="6889938" y="1211440"/>
                </a:lnTo>
                <a:lnTo>
                  <a:pt x="6889179" y="1217612"/>
                </a:lnTo>
                <a:lnTo>
                  <a:pt x="6882668" y="1225515"/>
                </a:lnTo>
                <a:lnTo>
                  <a:pt x="6883753" y="1230712"/>
                </a:lnTo>
                <a:lnTo>
                  <a:pt x="6879955" y="1232661"/>
                </a:lnTo>
                <a:lnTo>
                  <a:pt x="6878652" y="1241539"/>
                </a:lnTo>
                <a:lnTo>
                  <a:pt x="6876808" y="1241539"/>
                </a:lnTo>
                <a:lnTo>
                  <a:pt x="6874096" y="1253124"/>
                </a:lnTo>
                <a:lnTo>
                  <a:pt x="6874096" y="1261786"/>
                </a:lnTo>
                <a:lnTo>
                  <a:pt x="6872467" y="1264709"/>
                </a:lnTo>
                <a:lnTo>
                  <a:pt x="6874420" y="1270123"/>
                </a:lnTo>
                <a:lnTo>
                  <a:pt x="6870948" y="1275320"/>
                </a:lnTo>
                <a:lnTo>
                  <a:pt x="6870080" y="1280733"/>
                </a:lnTo>
                <a:lnTo>
                  <a:pt x="6865522" y="1287771"/>
                </a:lnTo>
                <a:lnTo>
                  <a:pt x="6865522" y="1290261"/>
                </a:lnTo>
                <a:lnTo>
                  <a:pt x="6863135" y="1291127"/>
                </a:lnTo>
                <a:lnTo>
                  <a:pt x="6863135" y="1297299"/>
                </a:lnTo>
                <a:lnTo>
                  <a:pt x="6855864" y="1303254"/>
                </a:lnTo>
                <a:lnTo>
                  <a:pt x="6855864" y="1311157"/>
                </a:lnTo>
                <a:lnTo>
                  <a:pt x="6849136" y="1317329"/>
                </a:lnTo>
                <a:lnTo>
                  <a:pt x="6849136" y="1321551"/>
                </a:lnTo>
                <a:lnTo>
                  <a:pt x="6844470" y="1328805"/>
                </a:lnTo>
                <a:lnTo>
                  <a:pt x="6843168" y="1333785"/>
                </a:lnTo>
                <a:lnTo>
                  <a:pt x="6840780" y="1338008"/>
                </a:lnTo>
                <a:lnTo>
                  <a:pt x="6843385" y="1342447"/>
                </a:lnTo>
                <a:lnTo>
                  <a:pt x="6847834" y="1345479"/>
                </a:lnTo>
                <a:lnTo>
                  <a:pt x="6852392" y="1343747"/>
                </a:lnTo>
                <a:lnTo>
                  <a:pt x="6856407" y="1347319"/>
                </a:lnTo>
                <a:lnTo>
                  <a:pt x="6861073" y="1347319"/>
                </a:lnTo>
                <a:lnTo>
                  <a:pt x="6867041" y="1342989"/>
                </a:lnTo>
                <a:lnTo>
                  <a:pt x="6870730" y="1341690"/>
                </a:lnTo>
                <a:lnTo>
                  <a:pt x="6874746" y="1338983"/>
                </a:lnTo>
                <a:lnTo>
                  <a:pt x="6876916" y="1338983"/>
                </a:lnTo>
                <a:lnTo>
                  <a:pt x="6882125" y="1337575"/>
                </a:lnTo>
                <a:lnTo>
                  <a:pt x="6882125" y="1349810"/>
                </a:lnTo>
                <a:lnTo>
                  <a:pt x="6887551" y="1357064"/>
                </a:lnTo>
                <a:lnTo>
                  <a:pt x="6889504" y="1364426"/>
                </a:lnTo>
                <a:lnTo>
                  <a:pt x="6888636" y="1370598"/>
                </a:lnTo>
                <a:lnTo>
                  <a:pt x="6894822" y="1375794"/>
                </a:lnTo>
                <a:lnTo>
                  <a:pt x="6898077" y="1371788"/>
                </a:lnTo>
                <a:lnTo>
                  <a:pt x="6899380" y="1371788"/>
                </a:lnTo>
                <a:lnTo>
                  <a:pt x="6902310" y="1369840"/>
                </a:lnTo>
                <a:lnTo>
                  <a:pt x="6904480" y="1365184"/>
                </a:lnTo>
                <a:lnTo>
                  <a:pt x="6905401" y="1364817"/>
                </a:lnTo>
                <a:lnTo>
                  <a:pt x="6901985" y="1362260"/>
                </a:lnTo>
                <a:lnTo>
                  <a:pt x="6901442" y="1358795"/>
                </a:lnTo>
                <a:lnTo>
                  <a:pt x="6905457" y="1353381"/>
                </a:lnTo>
                <a:lnTo>
                  <a:pt x="6912510" y="1351649"/>
                </a:lnTo>
                <a:lnTo>
                  <a:pt x="6911208" y="1354573"/>
                </a:lnTo>
                <a:lnTo>
                  <a:pt x="6912293" y="1355871"/>
                </a:lnTo>
                <a:lnTo>
                  <a:pt x="6910774" y="1359661"/>
                </a:lnTo>
                <a:lnTo>
                  <a:pt x="6908170" y="1360419"/>
                </a:lnTo>
                <a:lnTo>
                  <a:pt x="6905509" y="1364774"/>
                </a:lnTo>
                <a:lnTo>
                  <a:pt x="6907735" y="1363885"/>
                </a:lnTo>
                <a:lnTo>
                  <a:pt x="6909580" y="1366592"/>
                </a:lnTo>
                <a:lnTo>
                  <a:pt x="6912292" y="1364102"/>
                </a:lnTo>
                <a:lnTo>
                  <a:pt x="6917502" y="1364102"/>
                </a:lnTo>
                <a:lnTo>
                  <a:pt x="6915548" y="1366050"/>
                </a:lnTo>
                <a:lnTo>
                  <a:pt x="6913378" y="1369623"/>
                </a:lnTo>
                <a:lnTo>
                  <a:pt x="6913378" y="1376444"/>
                </a:lnTo>
                <a:lnTo>
                  <a:pt x="6910666" y="1376444"/>
                </a:lnTo>
                <a:lnTo>
                  <a:pt x="6906867" y="1380017"/>
                </a:lnTo>
                <a:lnTo>
                  <a:pt x="6908278" y="1382182"/>
                </a:lnTo>
                <a:lnTo>
                  <a:pt x="6919130" y="1380559"/>
                </a:lnTo>
                <a:lnTo>
                  <a:pt x="6924772" y="1377094"/>
                </a:lnTo>
                <a:lnTo>
                  <a:pt x="6926726" y="1369840"/>
                </a:lnTo>
                <a:lnTo>
                  <a:pt x="6925857" y="1365184"/>
                </a:lnTo>
                <a:lnTo>
                  <a:pt x="6927702" y="1361719"/>
                </a:lnTo>
                <a:lnTo>
                  <a:pt x="6930632" y="1368216"/>
                </a:lnTo>
                <a:lnTo>
                  <a:pt x="6929764" y="1374170"/>
                </a:lnTo>
                <a:lnTo>
                  <a:pt x="6929764" y="1380125"/>
                </a:lnTo>
                <a:lnTo>
                  <a:pt x="6932802" y="1378176"/>
                </a:lnTo>
                <a:lnTo>
                  <a:pt x="6934647" y="1371680"/>
                </a:lnTo>
                <a:lnTo>
                  <a:pt x="6932042" y="1363668"/>
                </a:lnTo>
                <a:lnTo>
                  <a:pt x="6933996" y="1359554"/>
                </a:lnTo>
                <a:lnTo>
                  <a:pt x="6929872" y="1355115"/>
                </a:lnTo>
                <a:lnTo>
                  <a:pt x="6927594" y="1346995"/>
                </a:lnTo>
                <a:lnTo>
                  <a:pt x="6932260" y="1346995"/>
                </a:lnTo>
                <a:lnTo>
                  <a:pt x="6936818" y="1349594"/>
                </a:lnTo>
                <a:lnTo>
                  <a:pt x="6936818" y="1351758"/>
                </a:lnTo>
                <a:lnTo>
                  <a:pt x="6938554" y="1353924"/>
                </a:lnTo>
                <a:lnTo>
                  <a:pt x="6941266" y="1353924"/>
                </a:lnTo>
                <a:lnTo>
                  <a:pt x="6943220" y="1350892"/>
                </a:lnTo>
                <a:lnTo>
                  <a:pt x="6947778" y="1350892"/>
                </a:lnTo>
                <a:lnTo>
                  <a:pt x="6953312" y="1346670"/>
                </a:lnTo>
                <a:lnTo>
                  <a:pt x="6958738" y="1351109"/>
                </a:lnTo>
                <a:lnTo>
                  <a:pt x="6964272" y="1351109"/>
                </a:lnTo>
                <a:lnTo>
                  <a:pt x="6967744" y="1354249"/>
                </a:lnTo>
                <a:lnTo>
                  <a:pt x="6970458" y="1359988"/>
                </a:lnTo>
                <a:lnTo>
                  <a:pt x="6973388" y="1361936"/>
                </a:lnTo>
                <a:lnTo>
                  <a:pt x="6980007" y="1362802"/>
                </a:lnTo>
                <a:lnTo>
                  <a:pt x="6982503" y="1366050"/>
                </a:lnTo>
                <a:lnTo>
                  <a:pt x="6993355" y="1369840"/>
                </a:lnTo>
                <a:lnTo>
                  <a:pt x="6994657" y="1372980"/>
                </a:lnTo>
                <a:lnTo>
                  <a:pt x="6998563" y="1373629"/>
                </a:lnTo>
                <a:lnTo>
                  <a:pt x="7001602" y="1377419"/>
                </a:lnTo>
                <a:lnTo>
                  <a:pt x="7004424" y="1377419"/>
                </a:lnTo>
                <a:lnTo>
                  <a:pt x="7008438" y="1384998"/>
                </a:lnTo>
                <a:lnTo>
                  <a:pt x="7005942" y="1389004"/>
                </a:lnTo>
                <a:lnTo>
                  <a:pt x="7005942" y="1393010"/>
                </a:lnTo>
                <a:lnTo>
                  <a:pt x="7002688" y="1394959"/>
                </a:lnTo>
                <a:lnTo>
                  <a:pt x="7007354" y="1400155"/>
                </a:lnTo>
                <a:lnTo>
                  <a:pt x="7010826" y="1400155"/>
                </a:lnTo>
                <a:lnTo>
                  <a:pt x="7017120" y="1408276"/>
                </a:lnTo>
                <a:lnTo>
                  <a:pt x="7017120" y="1412606"/>
                </a:lnTo>
                <a:lnTo>
                  <a:pt x="7014407" y="1415855"/>
                </a:lnTo>
                <a:lnTo>
                  <a:pt x="7014407" y="1421051"/>
                </a:lnTo>
                <a:lnTo>
                  <a:pt x="7019290" y="1425166"/>
                </a:lnTo>
                <a:lnTo>
                  <a:pt x="7023306" y="1426249"/>
                </a:lnTo>
                <a:lnTo>
                  <a:pt x="7026344" y="1423542"/>
                </a:lnTo>
                <a:lnTo>
                  <a:pt x="7027212" y="1427656"/>
                </a:lnTo>
                <a:lnTo>
                  <a:pt x="7025042" y="1430363"/>
                </a:lnTo>
                <a:lnTo>
                  <a:pt x="7025801" y="1436101"/>
                </a:lnTo>
                <a:lnTo>
                  <a:pt x="7029816" y="1439674"/>
                </a:lnTo>
                <a:lnTo>
                  <a:pt x="7026886" y="1442056"/>
                </a:lnTo>
                <a:lnTo>
                  <a:pt x="7026886" y="1445521"/>
                </a:lnTo>
                <a:lnTo>
                  <a:pt x="7028840" y="1449636"/>
                </a:lnTo>
                <a:lnTo>
                  <a:pt x="7026344" y="1454507"/>
                </a:lnTo>
                <a:lnTo>
                  <a:pt x="7028297" y="1456132"/>
                </a:lnTo>
                <a:lnTo>
                  <a:pt x="7028297" y="1459379"/>
                </a:lnTo>
                <a:lnTo>
                  <a:pt x="7027212" y="1461761"/>
                </a:lnTo>
                <a:lnTo>
                  <a:pt x="7029708" y="1463385"/>
                </a:lnTo>
                <a:lnTo>
                  <a:pt x="7026778" y="1466850"/>
                </a:lnTo>
                <a:lnTo>
                  <a:pt x="7030576" y="1478218"/>
                </a:lnTo>
                <a:lnTo>
                  <a:pt x="7028948" y="1481467"/>
                </a:lnTo>
                <a:lnTo>
                  <a:pt x="7029816" y="1490345"/>
                </a:lnTo>
                <a:lnTo>
                  <a:pt x="7030576" y="1493809"/>
                </a:lnTo>
                <a:lnTo>
                  <a:pt x="7030576" y="1497815"/>
                </a:lnTo>
                <a:lnTo>
                  <a:pt x="7035460" y="1513515"/>
                </a:lnTo>
                <a:lnTo>
                  <a:pt x="7039258" y="1514273"/>
                </a:lnTo>
                <a:lnTo>
                  <a:pt x="7043598" y="1511241"/>
                </a:lnTo>
                <a:lnTo>
                  <a:pt x="7043598" y="1513407"/>
                </a:lnTo>
                <a:lnTo>
                  <a:pt x="7040017" y="1519578"/>
                </a:lnTo>
                <a:lnTo>
                  <a:pt x="7038064" y="1521743"/>
                </a:lnTo>
                <a:lnTo>
                  <a:pt x="7040451" y="1525858"/>
                </a:lnTo>
                <a:lnTo>
                  <a:pt x="7042621" y="1525858"/>
                </a:lnTo>
                <a:lnTo>
                  <a:pt x="7049349" y="1533220"/>
                </a:lnTo>
                <a:lnTo>
                  <a:pt x="7049349" y="1542207"/>
                </a:lnTo>
                <a:lnTo>
                  <a:pt x="7050977" y="1545455"/>
                </a:lnTo>
                <a:lnTo>
                  <a:pt x="7050977" y="1548486"/>
                </a:lnTo>
                <a:lnTo>
                  <a:pt x="7052605" y="1560071"/>
                </a:lnTo>
                <a:lnTo>
                  <a:pt x="7056186" y="1560071"/>
                </a:lnTo>
                <a:lnTo>
                  <a:pt x="7056186" y="1565702"/>
                </a:lnTo>
                <a:lnTo>
                  <a:pt x="7054558" y="1567542"/>
                </a:lnTo>
                <a:lnTo>
                  <a:pt x="7054558" y="1574796"/>
                </a:lnTo>
                <a:lnTo>
                  <a:pt x="7056946" y="1579344"/>
                </a:lnTo>
                <a:lnTo>
                  <a:pt x="7056946" y="1585623"/>
                </a:lnTo>
                <a:lnTo>
                  <a:pt x="7050109" y="1592877"/>
                </a:lnTo>
                <a:lnTo>
                  <a:pt x="7050109" y="1599698"/>
                </a:lnTo>
                <a:lnTo>
                  <a:pt x="7047070" y="1607277"/>
                </a:lnTo>
                <a:lnTo>
                  <a:pt x="7047939" y="1615181"/>
                </a:lnTo>
                <a:lnTo>
                  <a:pt x="7049240" y="1615939"/>
                </a:lnTo>
                <a:lnTo>
                  <a:pt x="7049240" y="1622977"/>
                </a:lnTo>
                <a:lnTo>
                  <a:pt x="7044683" y="1627307"/>
                </a:lnTo>
                <a:lnTo>
                  <a:pt x="7044683" y="1633479"/>
                </a:lnTo>
                <a:lnTo>
                  <a:pt x="7041210" y="1641274"/>
                </a:lnTo>
                <a:lnTo>
                  <a:pt x="7043164" y="1641274"/>
                </a:lnTo>
                <a:lnTo>
                  <a:pt x="7043164" y="1644847"/>
                </a:lnTo>
                <a:lnTo>
                  <a:pt x="7039040" y="1649936"/>
                </a:lnTo>
                <a:lnTo>
                  <a:pt x="7041536" y="1660763"/>
                </a:lnTo>
                <a:lnTo>
                  <a:pt x="7036436" y="1665852"/>
                </a:lnTo>
                <a:lnTo>
                  <a:pt x="7038064" y="1672131"/>
                </a:lnTo>
                <a:lnTo>
                  <a:pt x="7040451" y="1672889"/>
                </a:lnTo>
                <a:lnTo>
                  <a:pt x="7040451" y="1677762"/>
                </a:lnTo>
                <a:lnTo>
                  <a:pt x="7034700" y="1684799"/>
                </a:lnTo>
                <a:lnTo>
                  <a:pt x="7033614" y="1690429"/>
                </a:lnTo>
                <a:lnTo>
                  <a:pt x="7028731" y="1694760"/>
                </a:lnTo>
                <a:lnTo>
                  <a:pt x="7028731" y="1699091"/>
                </a:lnTo>
                <a:lnTo>
                  <a:pt x="7023848" y="1705370"/>
                </a:lnTo>
                <a:lnTo>
                  <a:pt x="7019290" y="1725725"/>
                </a:lnTo>
                <a:lnTo>
                  <a:pt x="7016577" y="1727349"/>
                </a:lnTo>
                <a:lnTo>
                  <a:pt x="7015709" y="1732980"/>
                </a:lnTo>
                <a:lnTo>
                  <a:pt x="7017662" y="1734820"/>
                </a:lnTo>
                <a:lnTo>
                  <a:pt x="7016794" y="1737202"/>
                </a:lnTo>
                <a:lnTo>
                  <a:pt x="7010284" y="1741533"/>
                </a:lnTo>
                <a:lnTo>
                  <a:pt x="7010284" y="1746405"/>
                </a:lnTo>
                <a:lnTo>
                  <a:pt x="7005942" y="1748787"/>
                </a:lnTo>
                <a:lnTo>
                  <a:pt x="7005942" y="1756149"/>
                </a:lnTo>
                <a:lnTo>
                  <a:pt x="7003447" y="1756907"/>
                </a:lnTo>
                <a:lnTo>
                  <a:pt x="7005834" y="1761455"/>
                </a:lnTo>
                <a:lnTo>
                  <a:pt x="7000192" y="1769359"/>
                </a:lnTo>
                <a:lnTo>
                  <a:pt x="7000192" y="1768059"/>
                </a:lnTo>
                <a:lnTo>
                  <a:pt x="6996610" y="1766977"/>
                </a:lnTo>
                <a:lnTo>
                  <a:pt x="6998455" y="1772065"/>
                </a:lnTo>
                <a:lnTo>
                  <a:pt x="6998455" y="1778995"/>
                </a:lnTo>
                <a:lnTo>
                  <a:pt x="6992812" y="1781485"/>
                </a:lnTo>
                <a:lnTo>
                  <a:pt x="6994223" y="1783975"/>
                </a:lnTo>
                <a:lnTo>
                  <a:pt x="6986301" y="1793719"/>
                </a:lnTo>
                <a:lnTo>
                  <a:pt x="6982720" y="1799891"/>
                </a:lnTo>
                <a:lnTo>
                  <a:pt x="6979247" y="1799891"/>
                </a:lnTo>
                <a:lnTo>
                  <a:pt x="6978380" y="1803139"/>
                </a:lnTo>
                <a:lnTo>
                  <a:pt x="6971652" y="1804222"/>
                </a:lnTo>
                <a:lnTo>
                  <a:pt x="6966226" y="1809852"/>
                </a:lnTo>
                <a:lnTo>
                  <a:pt x="6963296" y="1806820"/>
                </a:lnTo>
                <a:lnTo>
                  <a:pt x="6960583" y="1809526"/>
                </a:lnTo>
                <a:lnTo>
                  <a:pt x="6953204" y="1804871"/>
                </a:lnTo>
                <a:lnTo>
                  <a:pt x="6945825" y="1802922"/>
                </a:lnTo>
                <a:lnTo>
                  <a:pt x="6945825" y="1794477"/>
                </a:lnTo>
                <a:lnTo>
                  <a:pt x="6943112" y="1792095"/>
                </a:lnTo>
                <a:lnTo>
                  <a:pt x="6937360" y="1794585"/>
                </a:lnTo>
                <a:lnTo>
                  <a:pt x="6932260" y="1791338"/>
                </a:lnTo>
                <a:lnTo>
                  <a:pt x="6930849" y="1793828"/>
                </a:lnTo>
                <a:lnTo>
                  <a:pt x="6930849" y="1798158"/>
                </a:lnTo>
                <a:lnTo>
                  <a:pt x="6926508" y="1801623"/>
                </a:lnTo>
                <a:lnTo>
                  <a:pt x="6926508" y="1810285"/>
                </a:lnTo>
                <a:lnTo>
                  <a:pt x="6923470" y="1812450"/>
                </a:lnTo>
                <a:lnTo>
                  <a:pt x="6921517" y="1820354"/>
                </a:lnTo>
                <a:lnTo>
                  <a:pt x="6919563" y="1818189"/>
                </a:lnTo>
                <a:lnTo>
                  <a:pt x="6913378" y="1819271"/>
                </a:lnTo>
                <a:lnTo>
                  <a:pt x="6911750" y="1826309"/>
                </a:lnTo>
                <a:lnTo>
                  <a:pt x="6910122" y="1826309"/>
                </a:lnTo>
                <a:lnTo>
                  <a:pt x="6909492" y="1825432"/>
                </a:lnTo>
                <a:lnTo>
                  <a:pt x="6901768" y="1833995"/>
                </a:lnTo>
                <a:lnTo>
                  <a:pt x="6898838" y="1833454"/>
                </a:lnTo>
                <a:lnTo>
                  <a:pt x="6898729" y="1839193"/>
                </a:lnTo>
                <a:lnTo>
                  <a:pt x="6895474" y="1851102"/>
                </a:lnTo>
                <a:lnTo>
                  <a:pt x="6895799" y="1857923"/>
                </a:lnTo>
                <a:lnTo>
                  <a:pt x="6900683" y="1861821"/>
                </a:lnTo>
                <a:lnTo>
                  <a:pt x="6900791" y="1874164"/>
                </a:lnTo>
                <a:lnTo>
                  <a:pt x="6904698" y="1877087"/>
                </a:lnTo>
                <a:lnTo>
                  <a:pt x="6902636" y="1882717"/>
                </a:lnTo>
                <a:lnTo>
                  <a:pt x="6896559" y="1887914"/>
                </a:lnTo>
                <a:lnTo>
                  <a:pt x="6897753" y="1889754"/>
                </a:lnTo>
                <a:lnTo>
                  <a:pt x="6885816" y="1902206"/>
                </a:lnTo>
                <a:lnTo>
                  <a:pt x="6887335" y="1905778"/>
                </a:lnTo>
                <a:lnTo>
                  <a:pt x="6883863" y="1908810"/>
                </a:lnTo>
                <a:lnTo>
                  <a:pt x="6882778" y="1911409"/>
                </a:lnTo>
                <a:lnTo>
                  <a:pt x="6877894" y="1911192"/>
                </a:lnTo>
                <a:lnTo>
                  <a:pt x="6873228" y="1914224"/>
                </a:lnTo>
                <a:lnTo>
                  <a:pt x="6871166" y="1919529"/>
                </a:lnTo>
                <a:lnTo>
                  <a:pt x="6864872" y="1923427"/>
                </a:lnTo>
                <a:lnTo>
                  <a:pt x="6864872" y="1929382"/>
                </a:lnTo>
                <a:lnTo>
                  <a:pt x="6866717" y="1934904"/>
                </a:lnTo>
                <a:lnTo>
                  <a:pt x="6864330" y="1937394"/>
                </a:lnTo>
                <a:lnTo>
                  <a:pt x="6865740" y="1943673"/>
                </a:lnTo>
                <a:lnTo>
                  <a:pt x="6874530" y="1945298"/>
                </a:lnTo>
                <a:lnTo>
                  <a:pt x="6877026" y="1949304"/>
                </a:lnTo>
                <a:lnTo>
                  <a:pt x="6894498" y="1959373"/>
                </a:lnTo>
                <a:lnTo>
                  <a:pt x="6897318" y="1964569"/>
                </a:lnTo>
                <a:lnTo>
                  <a:pt x="6897317" y="1964570"/>
                </a:lnTo>
                <a:lnTo>
                  <a:pt x="6906107" y="1980701"/>
                </a:lnTo>
                <a:lnTo>
                  <a:pt x="6918912" y="1994018"/>
                </a:lnTo>
                <a:lnTo>
                  <a:pt x="6933019" y="2011666"/>
                </a:lnTo>
                <a:lnTo>
                  <a:pt x="6933453" y="2022385"/>
                </a:lnTo>
                <a:lnTo>
                  <a:pt x="6937034" y="2026174"/>
                </a:lnTo>
                <a:lnTo>
                  <a:pt x="6940289" y="2042957"/>
                </a:lnTo>
                <a:lnTo>
                  <a:pt x="6940507" y="2048478"/>
                </a:lnTo>
                <a:lnTo>
                  <a:pt x="6942134" y="2046746"/>
                </a:lnTo>
                <a:lnTo>
                  <a:pt x="6943762" y="2046746"/>
                </a:lnTo>
                <a:lnTo>
                  <a:pt x="6944956" y="2064935"/>
                </a:lnTo>
                <a:lnTo>
                  <a:pt x="6941700" y="2067426"/>
                </a:lnTo>
                <a:lnTo>
                  <a:pt x="6943220" y="2070024"/>
                </a:lnTo>
                <a:lnTo>
                  <a:pt x="6936708" y="2078253"/>
                </a:lnTo>
                <a:lnTo>
                  <a:pt x="6931282" y="2078253"/>
                </a:lnTo>
                <a:lnTo>
                  <a:pt x="6925423" y="2081934"/>
                </a:lnTo>
                <a:lnTo>
                  <a:pt x="6927267" y="2085290"/>
                </a:lnTo>
                <a:lnTo>
                  <a:pt x="6924880" y="2086914"/>
                </a:lnTo>
                <a:lnTo>
                  <a:pt x="6923144" y="2084749"/>
                </a:lnTo>
                <a:lnTo>
                  <a:pt x="6918586" y="2086589"/>
                </a:lnTo>
                <a:lnTo>
                  <a:pt x="6916199" y="2081934"/>
                </a:lnTo>
                <a:lnTo>
                  <a:pt x="6913703" y="2081501"/>
                </a:lnTo>
                <a:lnTo>
                  <a:pt x="6910447" y="2085506"/>
                </a:lnTo>
                <a:lnTo>
                  <a:pt x="6909687" y="2083016"/>
                </a:lnTo>
                <a:lnTo>
                  <a:pt x="6905347" y="2083883"/>
                </a:lnTo>
                <a:lnTo>
                  <a:pt x="6894712" y="2093086"/>
                </a:lnTo>
                <a:lnTo>
                  <a:pt x="6891240" y="2097958"/>
                </a:lnTo>
                <a:lnTo>
                  <a:pt x="6889070" y="2095034"/>
                </a:lnTo>
                <a:lnTo>
                  <a:pt x="6888744" y="2101206"/>
                </a:lnTo>
                <a:lnTo>
                  <a:pt x="6885271" y="2103696"/>
                </a:lnTo>
                <a:lnTo>
                  <a:pt x="6885489" y="2099582"/>
                </a:lnTo>
                <a:lnTo>
                  <a:pt x="6883644" y="2098175"/>
                </a:lnTo>
                <a:lnTo>
                  <a:pt x="6882558" y="2092653"/>
                </a:lnTo>
                <a:lnTo>
                  <a:pt x="6879195" y="2092328"/>
                </a:lnTo>
                <a:lnTo>
                  <a:pt x="6873335" y="2081176"/>
                </a:lnTo>
                <a:lnTo>
                  <a:pt x="6876481" y="2080959"/>
                </a:lnTo>
                <a:lnTo>
                  <a:pt x="6873986" y="2076520"/>
                </a:lnTo>
                <a:lnTo>
                  <a:pt x="6873986" y="2071973"/>
                </a:lnTo>
                <a:lnTo>
                  <a:pt x="6876807" y="2070349"/>
                </a:lnTo>
                <a:lnTo>
                  <a:pt x="6876590" y="2066235"/>
                </a:lnTo>
                <a:lnTo>
                  <a:pt x="6873335" y="2063636"/>
                </a:lnTo>
                <a:lnTo>
                  <a:pt x="6873551" y="2060930"/>
                </a:lnTo>
                <a:lnTo>
                  <a:pt x="6881365" y="2055733"/>
                </a:lnTo>
                <a:lnTo>
                  <a:pt x="6877133" y="2047612"/>
                </a:lnTo>
                <a:lnTo>
                  <a:pt x="6875397" y="2049236"/>
                </a:lnTo>
                <a:lnTo>
                  <a:pt x="6872684" y="2047396"/>
                </a:lnTo>
                <a:lnTo>
                  <a:pt x="6872467" y="2037543"/>
                </a:lnTo>
                <a:lnTo>
                  <a:pt x="6870079" y="2032238"/>
                </a:lnTo>
                <a:lnTo>
                  <a:pt x="6867366" y="2033212"/>
                </a:lnTo>
                <a:lnTo>
                  <a:pt x="6856948" y="2028340"/>
                </a:lnTo>
                <a:lnTo>
                  <a:pt x="6861832" y="2021411"/>
                </a:lnTo>
                <a:lnTo>
                  <a:pt x="6865196" y="2022385"/>
                </a:lnTo>
                <a:lnTo>
                  <a:pt x="6866824" y="2018162"/>
                </a:lnTo>
                <a:lnTo>
                  <a:pt x="6868451" y="2020544"/>
                </a:lnTo>
                <a:lnTo>
                  <a:pt x="6876481" y="2023251"/>
                </a:lnTo>
                <a:lnTo>
                  <a:pt x="6874528" y="2019137"/>
                </a:lnTo>
                <a:lnTo>
                  <a:pt x="6871055" y="2014265"/>
                </a:lnTo>
                <a:lnTo>
                  <a:pt x="6872684" y="2011666"/>
                </a:lnTo>
                <a:lnTo>
                  <a:pt x="6869428" y="2011017"/>
                </a:lnTo>
                <a:lnTo>
                  <a:pt x="6863243" y="2002138"/>
                </a:lnTo>
                <a:lnTo>
                  <a:pt x="6853802" y="1994235"/>
                </a:lnTo>
                <a:lnTo>
                  <a:pt x="6857274" y="1992395"/>
                </a:lnTo>
                <a:lnTo>
                  <a:pt x="6850112" y="1992178"/>
                </a:lnTo>
                <a:lnTo>
                  <a:pt x="6846097" y="1995101"/>
                </a:lnTo>
                <a:lnTo>
                  <a:pt x="6845446" y="1994452"/>
                </a:lnTo>
                <a:lnTo>
                  <a:pt x="6845446" y="1994451"/>
                </a:lnTo>
                <a:lnTo>
                  <a:pt x="6840130" y="1988606"/>
                </a:lnTo>
                <a:lnTo>
                  <a:pt x="6837417" y="1990446"/>
                </a:lnTo>
                <a:lnTo>
                  <a:pt x="6838611" y="1992936"/>
                </a:lnTo>
                <a:lnTo>
                  <a:pt x="6834270" y="1998567"/>
                </a:lnTo>
                <a:lnTo>
                  <a:pt x="6831450" y="1996510"/>
                </a:lnTo>
                <a:lnTo>
                  <a:pt x="6826566" y="2000516"/>
                </a:lnTo>
                <a:lnTo>
                  <a:pt x="6824504" y="1997267"/>
                </a:lnTo>
                <a:lnTo>
                  <a:pt x="6828844" y="1990446"/>
                </a:lnTo>
                <a:lnTo>
                  <a:pt x="6823853" y="1988606"/>
                </a:lnTo>
                <a:lnTo>
                  <a:pt x="6819621" y="1990988"/>
                </a:lnTo>
                <a:lnTo>
                  <a:pt x="6817559" y="1990446"/>
                </a:lnTo>
                <a:lnTo>
                  <a:pt x="6818753" y="1986116"/>
                </a:lnTo>
                <a:lnTo>
                  <a:pt x="6819079" y="1976155"/>
                </a:lnTo>
                <a:lnTo>
                  <a:pt x="6822333" y="1969442"/>
                </a:lnTo>
                <a:lnTo>
                  <a:pt x="6828519" y="1968900"/>
                </a:lnTo>
                <a:lnTo>
                  <a:pt x="6833619" y="1964245"/>
                </a:lnTo>
                <a:lnTo>
                  <a:pt x="6828844" y="1966627"/>
                </a:lnTo>
                <a:lnTo>
                  <a:pt x="6820055" y="1966410"/>
                </a:lnTo>
                <a:lnTo>
                  <a:pt x="6818427" y="1964461"/>
                </a:lnTo>
                <a:lnTo>
                  <a:pt x="6817993" y="1953093"/>
                </a:lnTo>
                <a:lnTo>
                  <a:pt x="6823853" y="1943673"/>
                </a:lnTo>
                <a:lnTo>
                  <a:pt x="6820706" y="1939126"/>
                </a:lnTo>
                <a:lnTo>
                  <a:pt x="6823962" y="1936961"/>
                </a:lnTo>
                <a:lnTo>
                  <a:pt x="6825264" y="1932847"/>
                </a:lnTo>
                <a:lnTo>
                  <a:pt x="6822225" y="1933171"/>
                </a:lnTo>
                <a:lnTo>
                  <a:pt x="6819621" y="1936419"/>
                </a:lnTo>
                <a:lnTo>
                  <a:pt x="6811916" y="1937502"/>
                </a:lnTo>
                <a:lnTo>
                  <a:pt x="6809746" y="1934470"/>
                </a:lnTo>
                <a:lnTo>
                  <a:pt x="6804428" y="1931547"/>
                </a:lnTo>
                <a:lnTo>
                  <a:pt x="6804103" y="1935228"/>
                </a:lnTo>
                <a:lnTo>
                  <a:pt x="6800739" y="1937502"/>
                </a:lnTo>
                <a:lnTo>
                  <a:pt x="6798460" y="1929057"/>
                </a:lnTo>
                <a:lnTo>
                  <a:pt x="6797375" y="1929598"/>
                </a:lnTo>
                <a:lnTo>
                  <a:pt x="6796724" y="1927974"/>
                </a:lnTo>
                <a:lnTo>
                  <a:pt x="6796724" y="1927649"/>
                </a:lnTo>
                <a:lnTo>
                  <a:pt x="6796724" y="1914224"/>
                </a:lnTo>
                <a:lnTo>
                  <a:pt x="6803018" y="1909027"/>
                </a:lnTo>
                <a:lnTo>
                  <a:pt x="6805731" y="1902855"/>
                </a:lnTo>
                <a:lnTo>
                  <a:pt x="6805731" y="1898741"/>
                </a:lnTo>
                <a:lnTo>
                  <a:pt x="6811916" y="1894627"/>
                </a:lnTo>
                <a:lnTo>
                  <a:pt x="6816148" y="1886723"/>
                </a:lnTo>
                <a:lnTo>
                  <a:pt x="6820597" y="1884666"/>
                </a:lnTo>
                <a:lnTo>
                  <a:pt x="6824395" y="1872973"/>
                </a:lnTo>
                <a:lnTo>
                  <a:pt x="6826458" y="1868750"/>
                </a:lnTo>
                <a:lnTo>
                  <a:pt x="6826131" y="1866368"/>
                </a:lnTo>
                <a:lnTo>
                  <a:pt x="6826458" y="1858464"/>
                </a:lnTo>
                <a:lnTo>
                  <a:pt x="6830906" y="1852943"/>
                </a:lnTo>
                <a:lnTo>
                  <a:pt x="6830905" y="1852941"/>
                </a:lnTo>
                <a:lnTo>
                  <a:pt x="6826456" y="1858463"/>
                </a:lnTo>
                <a:lnTo>
                  <a:pt x="6826130" y="1866367"/>
                </a:lnTo>
                <a:lnTo>
                  <a:pt x="6826456" y="1868749"/>
                </a:lnTo>
                <a:lnTo>
                  <a:pt x="6824394" y="1872972"/>
                </a:lnTo>
                <a:lnTo>
                  <a:pt x="6820597" y="1884665"/>
                </a:lnTo>
                <a:lnTo>
                  <a:pt x="6816147" y="1886722"/>
                </a:lnTo>
                <a:lnTo>
                  <a:pt x="6811915" y="1894626"/>
                </a:lnTo>
                <a:lnTo>
                  <a:pt x="6805729" y="1898740"/>
                </a:lnTo>
                <a:lnTo>
                  <a:pt x="6805729" y="1902855"/>
                </a:lnTo>
                <a:lnTo>
                  <a:pt x="6803016" y="1909026"/>
                </a:lnTo>
                <a:lnTo>
                  <a:pt x="6796722" y="1914223"/>
                </a:lnTo>
                <a:lnTo>
                  <a:pt x="6796722" y="1927648"/>
                </a:lnTo>
                <a:lnTo>
                  <a:pt x="6795204" y="1923534"/>
                </a:lnTo>
                <a:lnTo>
                  <a:pt x="6788258" y="1931546"/>
                </a:lnTo>
                <a:lnTo>
                  <a:pt x="6783050" y="1931871"/>
                </a:lnTo>
                <a:lnTo>
                  <a:pt x="6780337" y="1932737"/>
                </a:lnTo>
                <a:lnTo>
                  <a:pt x="6777841" y="1930571"/>
                </a:lnTo>
                <a:lnTo>
                  <a:pt x="6771438" y="1935119"/>
                </a:lnTo>
                <a:lnTo>
                  <a:pt x="6766013" y="1935119"/>
                </a:lnTo>
                <a:lnTo>
                  <a:pt x="6765144" y="1939991"/>
                </a:lnTo>
                <a:lnTo>
                  <a:pt x="6762106" y="1939667"/>
                </a:lnTo>
                <a:lnTo>
                  <a:pt x="6751580" y="1947570"/>
                </a:lnTo>
                <a:lnTo>
                  <a:pt x="6745611" y="1952009"/>
                </a:lnTo>
                <a:lnTo>
                  <a:pt x="6747564" y="1956773"/>
                </a:lnTo>
                <a:lnTo>
                  <a:pt x="6746913" y="1958614"/>
                </a:lnTo>
                <a:lnTo>
                  <a:pt x="6740077" y="1961537"/>
                </a:lnTo>
                <a:lnTo>
                  <a:pt x="6736279" y="1967384"/>
                </a:lnTo>
                <a:lnTo>
                  <a:pt x="6733457" y="1967275"/>
                </a:lnTo>
                <a:lnTo>
                  <a:pt x="6730636" y="1970956"/>
                </a:lnTo>
                <a:lnTo>
                  <a:pt x="6727598" y="1971498"/>
                </a:lnTo>
                <a:lnTo>
                  <a:pt x="6726947" y="1967709"/>
                </a:lnTo>
                <a:lnTo>
                  <a:pt x="6723257" y="1965110"/>
                </a:lnTo>
                <a:lnTo>
                  <a:pt x="6725210" y="1961537"/>
                </a:lnTo>
                <a:lnTo>
                  <a:pt x="6729116" y="1961320"/>
                </a:lnTo>
                <a:lnTo>
                  <a:pt x="6731504" y="1957964"/>
                </a:lnTo>
                <a:lnTo>
                  <a:pt x="6736930" y="1958722"/>
                </a:lnTo>
                <a:lnTo>
                  <a:pt x="6738883" y="1957315"/>
                </a:lnTo>
                <a:lnTo>
                  <a:pt x="6739426" y="1954608"/>
                </a:lnTo>
                <a:lnTo>
                  <a:pt x="6736713" y="1954066"/>
                </a:lnTo>
                <a:lnTo>
                  <a:pt x="6736170" y="1951685"/>
                </a:lnTo>
                <a:lnTo>
                  <a:pt x="6740728" y="1948653"/>
                </a:lnTo>
                <a:lnTo>
                  <a:pt x="6742898" y="1944322"/>
                </a:lnTo>
                <a:lnTo>
                  <a:pt x="6737255" y="1948653"/>
                </a:lnTo>
                <a:lnTo>
                  <a:pt x="6732047" y="1950385"/>
                </a:lnTo>
                <a:lnTo>
                  <a:pt x="6729876" y="1947895"/>
                </a:lnTo>
                <a:lnTo>
                  <a:pt x="6729876" y="1945080"/>
                </a:lnTo>
                <a:lnTo>
                  <a:pt x="6731829" y="1944105"/>
                </a:lnTo>
                <a:lnTo>
                  <a:pt x="6732264" y="1940857"/>
                </a:lnTo>
                <a:lnTo>
                  <a:pt x="6726947" y="1935660"/>
                </a:lnTo>
                <a:lnTo>
                  <a:pt x="6728031" y="1929489"/>
                </a:lnTo>
                <a:lnTo>
                  <a:pt x="6727489" y="1927648"/>
                </a:lnTo>
                <a:lnTo>
                  <a:pt x="6732047" y="1927540"/>
                </a:lnTo>
                <a:lnTo>
                  <a:pt x="6732589" y="1921585"/>
                </a:lnTo>
                <a:lnTo>
                  <a:pt x="6737690" y="1915089"/>
                </a:lnTo>
                <a:lnTo>
                  <a:pt x="6738775" y="1911841"/>
                </a:lnTo>
                <a:lnTo>
                  <a:pt x="6741596" y="1910217"/>
                </a:lnTo>
                <a:lnTo>
                  <a:pt x="6741054" y="1906211"/>
                </a:lnTo>
                <a:lnTo>
                  <a:pt x="6730419" y="1899931"/>
                </a:lnTo>
                <a:lnTo>
                  <a:pt x="6723039" y="1891053"/>
                </a:lnTo>
                <a:lnTo>
                  <a:pt x="6721412" y="1895708"/>
                </a:lnTo>
                <a:lnTo>
                  <a:pt x="6717180" y="1895708"/>
                </a:lnTo>
                <a:lnTo>
                  <a:pt x="6715010" y="1894301"/>
                </a:lnTo>
                <a:lnTo>
                  <a:pt x="6709584" y="1894518"/>
                </a:lnTo>
                <a:lnTo>
                  <a:pt x="6706545" y="1899714"/>
                </a:lnTo>
                <a:lnTo>
                  <a:pt x="6704592" y="1900797"/>
                </a:lnTo>
                <a:lnTo>
                  <a:pt x="6703615" y="1906211"/>
                </a:lnTo>
                <a:lnTo>
                  <a:pt x="6698732" y="1911624"/>
                </a:lnTo>
                <a:lnTo>
                  <a:pt x="6698190" y="1921044"/>
                </a:lnTo>
                <a:lnTo>
                  <a:pt x="6695694" y="1921585"/>
                </a:lnTo>
                <a:lnTo>
                  <a:pt x="6691895" y="1928081"/>
                </a:lnTo>
                <a:lnTo>
                  <a:pt x="6686795" y="1928190"/>
                </a:lnTo>
                <a:lnTo>
                  <a:pt x="6678330" y="1932954"/>
                </a:lnTo>
                <a:lnTo>
                  <a:pt x="6675835" y="1945080"/>
                </a:lnTo>
                <a:lnTo>
                  <a:pt x="6673991" y="1947787"/>
                </a:lnTo>
                <a:lnTo>
                  <a:pt x="6675401" y="1948977"/>
                </a:lnTo>
                <a:lnTo>
                  <a:pt x="6676377" y="1954716"/>
                </a:lnTo>
                <a:lnTo>
                  <a:pt x="6672905" y="1954716"/>
                </a:lnTo>
                <a:lnTo>
                  <a:pt x="6674315" y="1957098"/>
                </a:lnTo>
                <a:lnTo>
                  <a:pt x="6672038" y="1962187"/>
                </a:lnTo>
                <a:lnTo>
                  <a:pt x="6665852" y="1962403"/>
                </a:lnTo>
                <a:lnTo>
                  <a:pt x="6658038" y="1962511"/>
                </a:lnTo>
                <a:lnTo>
                  <a:pt x="6649031" y="1959264"/>
                </a:lnTo>
                <a:lnTo>
                  <a:pt x="6648489" y="1961970"/>
                </a:lnTo>
                <a:lnTo>
                  <a:pt x="6645559" y="1964136"/>
                </a:lnTo>
                <a:lnTo>
                  <a:pt x="6645016" y="1969008"/>
                </a:lnTo>
                <a:lnTo>
                  <a:pt x="6644365" y="1971607"/>
                </a:lnTo>
                <a:lnTo>
                  <a:pt x="6644473" y="1973880"/>
                </a:lnTo>
                <a:lnTo>
                  <a:pt x="6642303" y="1975937"/>
                </a:lnTo>
                <a:lnTo>
                  <a:pt x="6644908" y="1981459"/>
                </a:lnTo>
                <a:lnTo>
                  <a:pt x="6645450" y="1986764"/>
                </a:lnTo>
                <a:lnTo>
                  <a:pt x="6650442" y="1989579"/>
                </a:lnTo>
                <a:lnTo>
                  <a:pt x="6658473" y="1994993"/>
                </a:lnTo>
                <a:lnTo>
                  <a:pt x="6659340" y="1997916"/>
                </a:lnTo>
                <a:lnTo>
                  <a:pt x="6662922" y="2004088"/>
                </a:lnTo>
                <a:lnTo>
                  <a:pt x="6663139" y="2001813"/>
                </a:lnTo>
                <a:lnTo>
                  <a:pt x="6664766" y="2004412"/>
                </a:lnTo>
                <a:lnTo>
                  <a:pt x="6666719" y="2001489"/>
                </a:lnTo>
                <a:lnTo>
                  <a:pt x="6669432" y="2001489"/>
                </a:lnTo>
                <a:lnTo>
                  <a:pt x="6669866" y="2003871"/>
                </a:lnTo>
                <a:lnTo>
                  <a:pt x="6672362" y="2002355"/>
                </a:lnTo>
                <a:lnTo>
                  <a:pt x="6678657" y="2002247"/>
                </a:lnTo>
                <a:lnTo>
                  <a:pt x="6679742" y="2006686"/>
                </a:lnTo>
                <a:lnTo>
                  <a:pt x="6679742" y="2013182"/>
                </a:lnTo>
                <a:lnTo>
                  <a:pt x="6686253" y="2025850"/>
                </a:lnTo>
                <a:lnTo>
                  <a:pt x="6692655" y="2026066"/>
                </a:lnTo>
                <a:lnTo>
                  <a:pt x="6697104" y="2023360"/>
                </a:lnTo>
                <a:lnTo>
                  <a:pt x="6701879" y="2025092"/>
                </a:lnTo>
                <a:lnTo>
                  <a:pt x="6704049" y="2023143"/>
                </a:lnTo>
                <a:lnTo>
                  <a:pt x="6706545" y="2018704"/>
                </a:lnTo>
                <a:lnTo>
                  <a:pt x="6704375" y="2015780"/>
                </a:lnTo>
                <a:lnTo>
                  <a:pt x="6703289" y="2015023"/>
                </a:lnTo>
                <a:lnTo>
                  <a:pt x="6709801" y="2012533"/>
                </a:lnTo>
                <a:lnTo>
                  <a:pt x="6713056" y="2009826"/>
                </a:lnTo>
                <a:lnTo>
                  <a:pt x="6713056" y="2005495"/>
                </a:lnTo>
                <a:lnTo>
                  <a:pt x="6711103" y="2003871"/>
                </a:lnTo>
                <a:lnTo>
                  <a:pt x="6716854" y="2003654"/>
                </a:lnTo>
                <a:lnTo>
                  <a:pt x="6727706" y="1998566"/>
                </a:lnTo>
                <a:lnTo>
                  <a:pt x="6729116" y="2000623"/>
                </a:lnTo>
                <a:lnTo>
                  <a:pt x="6731829" y="2001706"/>
                </a:lnTo>
                <a:lnTo>
                  <a:pt x="6734542" y="2005819"/>
                </a:lnTo>
                <a:lnTo>
                  <a:pt x="6737472" y="2007119"/>
                </a:lnTo>
                <a:lnTo>
                  <a:pt x="6740511" y="2009826"/>
                </a:lnTo>
                <a:lnTo>
                  <a:pt x="6755703" y="2009284"/>
                </a:lnTo>
                <a:lnTo>
                  <a:pt x="6757765" y="2007119"/>
                </a:lnTo>
                <a:lnTo>
                  <a:pt x="6762974" y="2006903"/>
                </a:lnTo>
                <a:lnTo>
                  <a:pt x="6762648" y="2008851"/>
                </a:lnTo>
                <a:lnTo>
                  <a:pt x="6769267" y="2008743"/>
                </a:lnTo>
                <a:lnTo>
                  <a:pt x="6774911" y="2007660"/>
                </a:lnTo>
                <a:lnTo>
                  <a:pt x="6777949" y="2009068"/>
                </a:lnTo>
                <a:lnTo>
                  <a:pt x="6772740" y="2010692"/>
                </a:lnTo>
                <a:lnTo>
                  <a:pt x="6772415" y="2013399"/>
                </a:lnTo>
                <a:lnTo>
                  <a:pt x="6776322" y="2019029"/>
                </a:lnTo>
                <a:lnTo>
                  <a:pt x="6773825" y="2019029"/>
                </a:lnTo>
                <a:lnTo>
                  <a:pt x="6770787" y="2020653"/>
                </a:lnTo>
                <a:lnTo>
                  <a:pt x="6771330" y="2025633"/>
                </a:lnTo>
                <a:lnTo>
                  <a:pt x="6775128" y="2026392"/>
                </a:lnTo>
                <a:lnTo>
                  <a:pt x="6775128" y="2028557"/>
                </a:lnTo>
                <a:lnTo>
                  <a:pt x="6769159" y="2033645"/>
                </a:lnTo>
                <a:lnTo>
                  <a:pt x="6763300" y="2029639"/>
                </a:lnTo>
                <a:lnTo>
                  <a:pt x="6762757" y="2027149"/>
                </a:lnTo>
                <a:lnTo>
                  <a:pt x="6760587" y="2029856"/>
                </a:lnTo>
                <a:lnTo>
                  <a:pt x="6758851" y="2026933"/>
                </a:lnTo>
                <a:lnTo>
                  <a:pt x="6753750" y="2033645"/>
                </a:lnTo>
                <a:lnTo>
                  <a:pt x="6750712" y="2033645"/>
                </a:lnTo>
                <a:lnTo>
                  <a:pt x="6746371" y="2037218"/>
                </a:lnTo>
                <a:lnTo>
                  <a:pt x="6742030" y="2037110"/>
                </a:lnTo>
                <a:lnTo>
                  <a:pt x="6740945" y="2039925"/>
                </a:lnTo>
                <a:lnTo>
                  <a:pt x="6736930" y="2036894"/>
                </a:lnTo>
                <a:lnTo>
                  <a:pt x="6731504" y="2037543"/>
                </a:lnTo>
                <a:lnTo>
                  <a:pt x="6736930" y="2041008"/>
                </a:lnTo>
                <a:lnTo>
                  <a:pt x="6737472" y="2044798"/>
                </a:lnTo>
                <a:lnTo>
                  <a:pt x="6731504" y="2045880"/>
                </a:lnTo>
                <a:lnTo>
                  <a:pt x="6731287" y="2050969"/>
                </a:lnTo>
                <a:lnTo>
                  <a:pt x="6724125" y="2050535"/>
                </a:lnTo>
                <a:lnTo>
                  <a:pt x="6720326" y="2054758"/>
                </a:lnTo>
                <a:lnTo>
                  <a:pt x="6722497" y="2057573"/>
                </a:lnTo>
                <a:lnTo>
                  <a:pt x="6726947" y="2060388"/>
                </a:lnTo>
                <a:lnTo>
                  <a:pt x="6722606" y="2065369"/>
                </a:lnTo>
                <a:lnTo>
                  <a:pt x="6720326" y="2063961"/>
                </a:lnTo>
                <a:lnTo>
                  <a:pt x="6715986" y="2070998"/>
                </a:lnTo>
                <a:lnTo>
                  <a:pt x="6712514" y="2072081"/>
                </a:lnTo>
                <a:lnTo>
                  <a:pt x="6710886" y="2070998"/>
                </a:lnTo>
                <a:lnTo>
                  <a:pt x="6709584" y="2077820"/>
                </a:lnTo>
                <a:lnTo>
                  <a:pt x="6711645" y="2083234"/>
                </a:lnTo>
                <a:lnTo>
                  <a:pt x="6709584" y="2091354"/>
                </a:lnTo>
                <a:lnTo>
                  <a:pt x="6709801" y="2103263"/>
                </a:lnTo>
                <a:lnTo>
                  <a:pt x="6711645" y="2103155"/>
                </a:lnTo>
                <a:lnTo>
                  <a:pt x="6723908" y="2108893"/>
                </a:lnTo>
                <a:lnTo>
                  <a:pt x="6723908" y="2112358"/>
                </a:lnTo>
                <a:lnTo>
                  <a:pt x="6727380" y="2110301"/>
                </a:lnTo>
                <a:lnTo>
                  <a:pt x="6740511" y="2117014"/>
                </a:lnTo>
                <a:lnTo>
                  <a:pt x="6747781" y="2131955"/>
                </a:lnTo>
                <a:lnTo>
                  <a:pt x="6749409" y="2132388"/>
                </a:lnTo>
                <a:lnTo>
                  <a:pt x="6747022" y="2137910"/>
                </a:lnTo>
                <a:lnTo>
                  <a:pt x="6751797" y="2139534"/>
                </a:lnTo>
                <a:lnTo>
                  <a:pt x="6752339" y="2146572"/>
                </a:lnTo>
                <a:lnTo>
                  <a:pt x="6761129" y="2153068"/>
                </a:lnTo>
                <a:lnTo>
                  <a:pt x="6761346" y="2160105"/>
                </a:lnTo>
                <a:lnTo>
                  <a:pt x="6767640" y="2169092"/>
                </a:lnTo>
                <a:lnTo>
                  <a:pt x="6772415" y="2171149"/>
                </a:lnTo>
                <a:lnTo>
                  <a:pt x="6777298" y="2170825"/>
                </a:lnTo>
                <a:lnTo>
                  <a:pt x="6779794" y="2172773"/>
                </a:lnTo>
                <a:lnTo>
                  <a:pt x="6779794" y="2174505"/>
                </a:lnTo>
                <a:lnTo>
                  <a:pt x="6785436" y="2181435"/>
                </a:lnTo>
                <a:lnTo>
                  <a:pt x="6788476" y="2182625"/>
                </a:lnTo>
                <a:lnTo>
                  <a:pt x="6791948" y="2189555"/>
                </a:lnTo>
                <a:lnTo>
                  <a:pt x="6789235" y="2191179"/>
                </a:lnTo>
                <a:lnTo>
                  <a:pt x="6779468" y="2187498"/>
                </a:lnTo>
                <a:lnTo>
                  <a:pt x="6772523" y="2191504"/>
                </a:lnTo>
                <a:lnTo>
                  <a:pt x="6767857" y="2186632"/>
                </a:lnTo>
                <a:lnTo>
                  <a:pt x="6764277" y="2186415"/>
                </a:lnTo>
                <a:lnTo>
                  <a:pt x="6758958" y="2182843"/>
                </a:lnTo>
                <a:lnTo>
                  <a:pt x="6751363" y="2181760"/>
                </a:lnTo>
                <a:lnTo>
                  <a:pt x="6748324" y="2185874"/>
                </a:lnTo>
                <a:lnTo>
                  <a:pt x="6743658" y="2185874"/>
                </a:lnTo>
                <a:lnTo>
                  <a:pt x="6740511" y="2183384"/>
                </a:lnTo>
                <a:lnTo>
                  <a:pt x="6737690" y="2176129"/>
                </a:lnTo>
                <a:lnTo>
                  <a:pt x="6731287" y="2178728"/>
                </a:lnTo>
                <a:lnTo>
                  <a:pt x="6727706" y="2177212"/>
                </a:lnTo>
                <a:lnTo>
                  <a:pt x="6726404" y="2178728"/>
                </a:lnTo>
                <a:lnTo>
                  <a:pt x="6723365" y="2178728"/>
                </a:lnTo>
                <a:lnTo>
                  <a:pt x="6720435" y="2177862"/>
                </a:lnTo>
                <a:lnTo>
                  <a:pt x="6716095" y="2179919"/>
                </a:lnTo>
                <a:lnTo>
                  <a:pt x="6710561" y="2190855"/>
                </a:lnTo>
                <a:lnTo>
                  <a:pt x="6717180" y="2182625"/>
                </a:lnTo>
                <a:lnTo>
                  <a:pt x="6722497" y="2180893"/>
                </a:lnTo>
                <a:lnTo>
                  <a:pt x="6728574" y="2181651"/>
                </a:lnTo>
                <a:lnTo>
                  <a:pt x="6734000" y="2179378"/>
                </a:lnTo>
                <a:lnTo>
                  <a:pt x="6736604" y="2180568"/>
                </a:lnTo>
                <a:lnTo>
                  <a:pt x="6736713" y="2183059"/>
                </a:lnTo>
                <a:lnTo>
                  <a:pt x="6742898" y="2188580"/>
                </a:lnTo>
                <a:lnTo>
                  <a:pt x="6746696" y="2189555"/>
                </a:lnTo>
                <a:lnTo>
                  <a:pt x="6754510" y="2184141"/>
                </a:lnTo>
                <a:lnTo>
                  <a:pt x="6759176" y="2184358"/>
                </a:lnTo>
                <a:lnTo>
                  <a:pt x="6768726" y="2193669"/>
                </a:lnTo>
                <a:lnTo>
                  <a:pt x="6776755" y="2198217"/>
                </a:lnTo>
                <a:lnTo>
                  <a:pt x="6789018" y="2205796"/>
                </a:lnTo>
                <a:lnTo>
                  <a:pt x="6794769" y="2215216"/>
                </a:lnTo>
                <a:lnTo>
                  <a:pt x="6794661" y="2218572"/>
                </a:lnTo>
                <a:lnTo>
                  <a:pt x="6788150" y="2219329"/>
                </a:lnTo>
                <a:lnTo>
                  <a:pt x="6782507" y="2225826"/>
                </a:lnTo>
                <a:lnTo>
                  <a:pt x="6779577" y="2225392"/>
                </a:lnTo>
                <a:lnTo>
                  <a:pt x="6777298" y="2227667"/>
                </a:lnTo>
                <a:lnTo>
                  <a:pt x="6776864" y="2231781"/>
                </a:lnTo>
                <a:lnTo>
                  <a:pt x="6772740" y="2233729"/>
                </a:lnTo>
                <a:lnTo>
                  <a:pt x="6766990" y="2230806"/>
                </a:lnTo>
                <a:lnTo>
                  <a:pt x="6763733" y="2233188"/>
                </a:lnTo>
                <a:lnTo>
                  <a:pt x="6760587" y="2233080"/>
                </a:lnTo>
                <a:lnTo>
                  <a:pt x="6755160" y="2237519"/>
                </a:lnTo>
                <a:lnTo>
                  <a:pt x="6754618" y="2243149"/>
                </a:lnTo>
                <a:lnTo>
                  <a:pt x="6756137" y="2239035"/>
                </a:lnTo>
                <a:lnTo>
                  <a:pt x="6761020" y="2235029"/>
                </a:lnTo>
                <a:lnTo>
                  <a:pt x="6765904" y="2233946"/>
                </a:lnTo>
                <a:lnTo>
                  <a:pt x="6770787" y="2240984"/>
                </a:lnTo>
                <a:lnTo>
                  <a:pt x="6774585" y="2242283"/>
                </a:lnTo>
                <a:lnTo>
                  <a:pt x="6781964" y="2235895"/>
                </a:lnTo>
                <a:lnTo>
                  <a:pt x="6787607" y="2236761"/>
                </a:lnTo>
                <a:lnTo>
                  <a:pt x="6795312" y="2246722"/>
                </a:lnTo>
                <a:lnTo>
                  <a:pt x="6796614" y="2244557"/>
                </a:lnTo>
                <a:lnTo>
                  <a:pt x="6798567" y="2247047"/>
                </a:lnTo>
                <a:lnTo>
                  <a:pt x="6803342" y="2247047"/>
                </a:lnTo>
                <a:lnTo>
                  <a:pt x="6803993" y="2248563"/>
                </a:lnTo>
                <a:lnTo>
                  <a:pt x="6793359" y="2258524"/>
                </a:lnTo>
                <a:lnTo>
                  <a:pt x="6786847" y="2259714"/>
                </a:lnTo>
                <a:lnTo>
                  <a:pt x="6786847" y="2264045"/>
                </a:lnTo>
                <a:lnTo>
                  <a:pt x="6790103" y="2264587"/>
                </a:lnTo>
                <a:lnTo>
                  <a:pt x="6796288" y="2259390"/>
                </a:lnTo>
                <a:lnTo>
                  <a:pt x="6801280" y="2260473"/>
                </a:lnTo>
                <a:lnTo>
                  <a:pt x="6801280" y="2258307"/>
                </a:lnTo>
                <a:lnTo>
                  <a:pt x="6800412" y="2257008"/>
                </a:lnTo>
                <a:lnTo>
                  <a:pt x="6803342" y="2254193"/>
                </a:lnTo>
                <a:lnTo>
                  <a:pt x="6805838" y="2255816"/>
                </a:lnTo>
                <a:lnTo>
                  <a:pt x="6806489" y="2262854"/>
                </a:lnTo>
                <a:lnTo>
                  <a:pt x="6807900" y="2265777"/>
                </a:lnTo>
                <a:lnTo>
                  <a:pt x="6804970" y="2268160"/>
                </a:lnTo>
                <a:lnTo>
                  <a:pt x="6804644" y="2266428"/>
                </a:lnTo>
                <a:lnTo>
                  <a:pt x="6801823" y="2264912"/>
                </a:lnTo>
                <a:lnTo>
                  <a:pt x="6801171" y="2267293"/>
                </a:lnTo>
                <a:lnTo>
                  <a:pt x="6799761" y="2268376"/>
                </a:lnTo>
                <a:lnTo>
                  <a:pt x="6795095" y="2267293"/>
                </a:lnTo>
                <a:lnTo>
                  <a:pt x="6790103" y="2271516"/>
                </a:lnTo>
                <a:lnTo>
                  <a:pt x="6789669" y="2273681"/>
                </a:lnTo>
                <a:lnTo>
                  <a:pt x="6797482" y="2273357"/>
                </a:lnTo>
                <a:lnTo>
                  <a:pt x="6800087" y="2275847"/>
                </a:lnTo>
                <a:lnTo>
                  <a:pt x="6799435" y="2277796"/>
                </a:lnTo>
                <a:lnTo>
                  <a:pt x="6797808" y="2277363"/>
                </a:lnTo>
                <a:lnTo>
                  <a:pt x="6794552" y="2280394"/>
                </a:lnTo>
                <a:lnTo>
                  <a:pt x="6797590" y="2281910"/>
                </a:lnTo>
                <a:lnTo>
                  <a:pt x="6799761" y="2284292"/>
                </a:lnTo>
                <a:lnTo>
                  <a:pt x="6797048" y="2286782"/>
                </a:lnTo>
                <a:lnTo>
                  <a:pt x="6793792" y="2286132"/>
                </a:lnTo>
                <a:lnTo>
                  <a:pt x="6791839" y="2287756"/>
                </a:lnTo>
                <a:lnTo>
                  <a:pt x="6793901" y="2289705"/>
                </a:lnTo>
                <a:lnTo>
                  <a:pt x="6798350" y="2290138"/>
                </a:lnTo>
                <a:lnTo>
                  <a:pt x="6800954" y="2294577"/>
                </a:lnTo>
                <a:lnTo>
                  <a:pt x="6797699" y="2296634"/>
                </a:lnTo>
                <a:lnTo>
                  <a:pt x="6796722" y="2301399"/>
                </a:lnTo>
                <a:lnTo>
                  <a:pt x="6795528" y="2299775"/>
                </a:lnTo>
                <a:lnTo>
                  <a:pt x="6794661" y="2295877"/>
                </a:lnTo>
                <a:lnTo>
                  <a:pt x="6790754" y="2296418"/>
                </a:lnTo>
                <a:lnTo>
                  <a:pt x="6787173" y="2304864"/>
                </a:lnTo>
                <a:lnTo>
                  <a:pt x="6784460" y="2307029"/>
                </a:lnTo>
                <a:lnTo>
                  <a:pt x="6777949" y="2304972"/>
                </a:lnTo>
                <a:lnTo>
                  <a:pt x="6782507" y="2307570"/>
                </a:lnTo>
                <a:lnTo>
                  <a:pt x="6782507" y="2310060"/>
                </a:lnTo>
                <a:lnTo>
                  <a:pt x="6784351" y="2312984"/>
                </a:lnTo>
                <a:lnTo>
                  <a:pt x="6781638" y="2314824"/>
                </a:lnTo>
                <a:lnTo>
                  <a:pt x="6781205" y="2318072"/>
                </a:lnTo>
                <a:lnTo>
                  <a:pt x="6783267" y="2320779"/>
                </a:lnTo>
                <a:lnTo>
                  <a:pt x="6781638" y="2322511"/>
                </a:lnTo>
                <a:lnTo>
                  <a:pt x="6781747" y="2326734"/>
                </a:lnTo>
                <a:lnTo>
                  <a:pt x="6777841" y="2328683"/>
                </a:lnTo>
                <a:lnTo>
                  <a:pt x="6774585" y="2325218"/>
                </a:lnTo>
                <a:lnTo>
                  <a:pt x="6773500" y="2329440"/>
                </a:lnTo>
                <a:lnTo>
                  <a:pt x="6777081" y="2329766"/>
                </a:lnTo>
                <a:lnTo>
                  <a:pt x="6780337" y="2333772"/>
                </a:lnTo>
                <a:lnTo>
                  <a:pt x="6774911" y="2333338"/>
                </a:lnTo>
                <a:lnTo>
                  <a:pt x="6774585" y="2336262"/>
                </a:lnTo>
                <a:lnTo>
                  <a:pt x="6768617" y="2342541"/>
                </a:lnTo>
                <a:lnTo>
                  <a:pt x="6765470" y="2342541"/>
                </a:lnTo>
                <a:lnTo>
                  <a:pt x="6765904" y="2337886"/>
                </a:lnTo>
                <a:lnTo>
                  <a:pt x="6763300" y="2338211"/>
                </a:lnTo>
                <a:lnTo>
                  <a:pt x="6761888" y="2337886"/>
                </a:lnTo>
                <a:lnTo>
                  <a:pt x="6761020" y="2341892"/>
                </a:lnTo>
                <a:lnTo>
                  <a:pt x="6757874" y="2341134"/>
                </a:lnTo>
                <a:lnTo>
                  <a:pt x="6759935" y="2343624"/>
                </a:lnTo>
                <a:lnTo>
                  <a:pt x="6757331" y="2345790"/>
                </a:lnTo>
                <a:lnTo>
                  <a:pt x="6761129" y="2346223"/>
                </a:lnTo>
                <a:lnTo>
                  <a:pt x="6764384" y="2350554"/>
                </a:lnTo>
                <a:lnTo>
                  <a:pt x="6759393" y="2350554"/>
                </a:lnTo>
                <a:lnTo>
                  <a:pt x="6765144" y="2355534"/>
                </a:lnTo>
                <a:lnTo>
                  <a:pt x="6768074" y="2352827"/>
                </a:lnTo>
                <a:lnTo>
                  <a:pt x="6770570" y="2355534"/>
                </a:lnTo>
                <a:lnTo>
                  <a:pt x="6762648" y="2358999"/>
                </a:lnTo>
                <a:lnTo>
                  <a:pt x="6757765" y="2362463"/>
                </a:lnTo>
                <a:lnTo>
                  <a:pt x="6756896" y="2366145"/>
                </a:lnTo>
                <a:lnTo>
                  <a:pt x="6758742" y="2364304"/>
                </a:lnTo>
                <a:lnTo>
                  <a:pt x="6762431" y="2364088"/>
                </a:lnTo>
                <a:lnTo>
                  <a:pt x="6765144" y="2366794"/>
                </a:lnTo>
                <a:lnTo>
                  <a:pt x="6759610" y="2371341"/>
                </a:lnTo>
                <a:lnTo>
                  <a:pt x="6763517" y="2372641"/>
                </a:lnTo>
                <a:lnTo>
                  <a:pt x="6762974" y="2375780"/>
                </a:lnTo>
                <a:lnTo>
                  <a:pt x="6759718" y="2376647"/>
                </a:lnTo>
                <a:lnTo>
                  <a:pt x="6760587" y="2379353"/>
                </a:lnTo>
                <a:lnTo>
                  <a:pt x="6762974" y="2379353"/>
                </a:lnTo>
                <a:lnTo>
                  <a:pt x="6764818" y="2382818"/>
                </a:lnTo>
                <a:lnTo>
                  <a:pt x="6764384" y="2388557"/>
                </a:lnTo>
                <a:lnTo>
                  <a:pt x="6761888" y="2384659"/>
                </a:lnTo>
                <a:lnTo>
                  <a:pt x="6759393" y="2384659"/>
                </a:lnTo>
                <a:lnTo>
                  <a:pt x="6759393" y="2381411"/>
                </a:lnTo>
                <a:lnTo>
                  <a:pt x="6755703" y="2378162"/>
                </a:lnTo>
                <a:lnTo>
                  <a:pt x="6754076" y="2380978"/>
                </a:lnTo>
                <a:lnTo>
                  <a:pt x="6751580" y="2380978"/>
                </a:lnTo>
                <a:lnTo>
                  <a:pt x="6751146" y="2384767"/>
                </a:lnTo>
                <a:lnTo>
                  <a:pt x="6755378" y="2387907"/>
                </a:lnTo>
                <a:lnTo>
                  <a:pt x="6755160" y="2391804"/>
                </a:lnTo>
                <a:lnTo>
                  <a:pt x="6753533" y="2389531"/>
                </a:lnTo>
                <a:lnTo>
                  <a:pt x="6751146" y="2389531"/>
                </a:lnTo>
                <a:lnTo>
                  <a:pt x="6749409" y="2387149"/>
                </a:lnTo>
                <a:lnTo>
                  <a:pt x="6745937" y="2388015"/>
                </a:lnTo>
                <a:lnTo>
                  <a:pt x="6748541" y="2390072"/>
                </a:lnTo>
                <a:lnTo>
                  <a:pt x="6749193" y="2394403"/>
                </a:lnTo>
                <a:lnTo>
                  <a:pt x="6752447" y="2394403"/>
                </a:lnTo>
                <a:lnTo>
                  <a:pt x="6752990" y="2395594"/>
                </a:lnTo>
                <a:lnTo>
                  <a:pt x="6750277" y="2398842"/>
                </a:lnTo>
                <a:lnTo>
                  <a:pt x="6745394" y="2395486"/>
                </a:lnTo>
                <a:lnTo>
                  <a:pt x="6744743" y="2398518"/>
                </a:lnTo>
                <a:lnTo>
                  <a:pt x="6746371" y="2400900"/>
                </a:lnTo>
                <a:lnTo>
                  <a:pt x="6750277" y="2402090"/>
                </a:lnTo>
                <a:lnTo>
                  <a:pt x="6748541" y="2407179"/>
                </a:lnTo>
                <a:lnTo>
                  <a:pt x="6742030" y="2403173"/>
                </a:lnTo>
                <a:lnTo>
                  <a:pt x="6739426" y="2405555"/>
                </a:lnTo>
                <a:lnTo>
                  <a:pt x="6737690" y="2403714"/>
                </a:lnTo>
                <a:lnTo>
                  <a:pt x="6734000" y="2408803"/>
                </a:lnTo>
                <a:lnTo>
                  <a:pt x="6726078" y="2409128"/>
                </a:lnTo>
                <a:lnTo>
                  <a:pt x="6732047" y="2413675"/>
                </a:lnTo>
                <a:lnTo>
                  <a:pt x="6735519" y="2412376"/>
                </a:lnTo>
                <a:lnTo>
                  <a:pt x="6739643" y="2413351"/>
                </a:lnTo>
                <a:lnTo>
                  <a:pt x="6737798" y="2417140"/>
                </a:lnTo>
                <a:lnTo>
                  <a:pt x="6735086" y="2417465"/>
                </a:lnTo>
                <a:lnTo>
                  <a:pt x="6734434" y="2422337"/>
                </a:lnTo>
                <a:lnTo>
                  <a:pt x="6731721" y="2419089"/>
                </a:lnTo>
                <a:lnTo>
                  <a:pt x="6728791" y="2423420"/>
                </a:lnTo>
                <a:lnTo>
                  <a:pt x="6727380" y="2424286"/>
                </a:lnTo>
                <a:lnTo>
                  <a:pt x="6726947" y="2422337"/>
                </a:lnTo>
                <a:lnTo>
                  <a:pt x="6724776" y="2422553"/>
                </a:lnTo>
                <a:lnTo>
                  <a:pt x="6724125" y="2426343"/>
                </a:lnTo>
                <a:lnTo>
                  <a:pt x="6721738" y="2426343"/>
                </a:lnTo>
                <a:lnTo>
                  <a:pt x="6720652" y="2431865"/>
                </a:lnTo>
                <a:lnTo>
                  <a:pt x="6716095" y="2431865"/>
                </a:lnTo>
                <a:lnTo>
                  <a:pt x="6715552" y="2429699"/>
                </a:lnTo>
                <a:lnTo>
                  <a:pt x="6709584" y="2430674"/>
                </a:lnTo>
                <a:lnTo>
                  <a:pt x="6707956" y="2433164"/>
                </a:lnTo>
                <a:lnTo>
                  <a:pt x="6705677" y="2432406"/>
                </a:lnTo>
                <a:lnTo>
                  <a:pt x="6707848" y="2437279"/>
                </a:lnTo>
                <a:lnTo>
                  <a:pt x="6706219" y="2442367"/>
                </a:lnTo>
                <a:lnTo>
                  <a:pt x="6704158" y="2445182"/>
                </a:lnTo>
                <a:lnTo>
                  <a:pt x="6706002" y="2448322"/>
                </a:lnTo>
                <a:lnTo>
                  <a:pt x="6701988" y="2450163"/>
                </a:lnTo>
                <a:lnTo>
                  <a:pt x="6699492" y="2449404"/>
                </a:lnTo>
                <a:lnTo>
                  <a:pt x="6697863" y="2451570"/>
                </a:lnTo>
                <a:lnTo>
                  <a:pt x="6697321" y="2448863"/>
                </a:lnTo>
                <a:lnTo>
                  <a:pt x="6695150" y="2450812"/>
                </a:lnTo>
                <a:lnTo>
                  <a:pt x="6692221" y="2453736"/>
                </a:lnTo>
                <a:lnTo>
                  <a:pt x="6686795" y="2454385"/>
                </a:lnTo>
                <a:lnTo>
                  <a:pt x="6686253" y="2456767"/>
                </a:lnTo>
                <a:lnTo>
                  <a:pt x="6682346" y="2456767"/>
                </a:lnTo>
                <a:lnTo>
                  <a:pt x="6681912" y="2455359"/>
                </a:lnTo>
                <a:lnTo>
                  <a:pt x="6679416" y="2455359"/>
                </a:lnTo>
                <a:lnTo>
                  <a:pt x="6678657" y="2459474"/>
                </a:lnTo>
                <a:lnTo>
                  <a:pt x="6676377" y="2461531"/>
                </a:lnTo>
                <a:lnTo>
                  <a:pt x="6672688" y="2457524"/>
                </a:lnTo>
                <a:lnTo>
                  <a:pt x="6670952" y="2454601"/>
                </a:lnTo>
                <a:lnTo>
                  <a:pt x="6669866" y="2456983"/>
                </a:lnTo>
                <a:lnTo>
                  <a:pt x="6665960" y="2457850"/>
                </a:lnTo>
                <a:lnTo>
                  <a:pt x="6665635" y="2461098"/>
                </a:lnTo>
                <a:lnTo>
                  <a:pt x="6661837" y="2462072"/>
                </a:lnTo>
                <a:lnTo>
                  <a:pt x="6658038" y="2459799"/>
                </a:lnTo>
                <a:lnTo>
                  <a:pt x="6655868" y="2461856"/>
                </a:lnTo>
                <a:lnTo>
                  <a:pt x="6651528" y="2463263"/>
                </a:lnTo>
                <a:lnTo>
                  <a:pt x="6650985" y="2468027"/>
                </a:lnTo>
                <a:lnTo>
                  <a:pt x="6642520" y="2472142"/>
                </a:lnTo>
                <a:lnTo>
                  <a:pt x="6641978" y="2470193"/>
                </a:lnTo>
                <a:lnTo>
                  <a:pt x="6645016" y="2468677"/>
                </a:lnTo>
                <a:lnTo>
                  <a:pt x="6647404" y="2465320"/>
                </a:lnTo>
                <a:lnTo>
                  <a:pt x="6644257" y="2466078"/>
                </a:lnTo>
                <a:lnTo>
                  <a:pt x="6639374" y="2461314"/>
                </a:lnTo>
                <a:lnTo>
                  <a:pt x="6638614" y="2458283"/>
                </a:lnTo>
                <a:lnTo>
                  <a:pt x="6632754" y="2455251"/>
                </a:lnTo>
                <a:lnTo>
                  <a:pt x="6630366" y="2453302"/>
                </a:lnTo>
                <a:lnTo>
                  <a:pt x="6631452" y="2455793"/>
                </a:lnTo>
                <a:lnTo>
                  <a:pt x="6631126" y="2459257"/>
                </a:lnTo>
                <a:lnTo>
                  <a:pt x="6632211" y="2463479"/>
                </a:lnTo>
                <a:lnTo>
                  <a:pt x="6632971" y="2469218"/>
                </a:lnTo>
                <a:lnTo>
                  <a:pt x="6629173" y="2471275"/>
                </a:lnTo>
                <a:lnTo>
                  <a:pt x="6627003" y="2474848"/>
                </a:lnTo>
                <a:lnTo>
                  <a:pt x="6624832" y="2476581"/>
                </a:lnTo>
                <a:lnTo>
                  <a:pt x="6622770" y="2474956"/>
                </a:lnTo>
                <a:lnTo>
                  <a:pt x="6621468" y="2473765"/>
                </a:lnTo>
                <a:lnTo>
                  <a:pt x="6621034" y="2475606"/>
                </a:lnTo>
                <a:lnTo>
                  <a:pt x="6617995" y="2479720"/>
                </a:lnTo>
                <a:lnTo>
                  <a:pt x="6613438" y="2484268"/>
                </a:lnTo>
                <a:lnTo>
                  <a:pt x="6608230" y="2486866"/>
                </a:lnTo>
                <a:lnTo>
                  <a:pt x="6605408" y="2487732"/>
                </a:lnTo>
                <a:lnTo>
                  <a:pt x="6600742" y="2486109"/>
                </a:lnTo>
                <a:lnTo>
                  <a:pt x="6596076" y="2487407"/>
                </a:lnTo>
                <a:lnTo>
                  <a:pt x="6592060" y="2487299"/>
                </a:lnTo>
                <a:lnTo>
                  <a:pt x="6593796" y="2490439"/>
                </a:lnTo>
                <a:lnTo>
                  <a:pt x="6588696" y="2493254"/>
                </a:lnTo>
                <a:lnTo>
                  <a:pt x="6584355" y="2494770"/>
                </a:lnTo>
                <a:lnTo>
                  <a:pt x="6580449" y="2493362"/>
                </a:lnTo>
                <a:lnTo>
                  <a:pt x="6578712" y="2496827"/>
                </a:lnTo>
                <a:lnTo>
                  <a:pt x="6574046" y="2497585"/>
                </a:lnTo>
                <a:lnTo>
                  <a:pt x="6571551" y="2500183"/>
                </a:lnTo>
                <a:lnTo>
                  <a:pt x="6570356" y="2499967"/>
                </a:lnTo>
                <a:lnTo>
                  <a:pt x="6571334" y="2498776"/>
                </a:lnTo>
                <a:lnTo>
                  <a:pt x="6569163" y="2498343"/>
                </a:lnTo>
                <a:lnTo>
                  <a:pt x="6568838" y="2497368"/>
                </a:lnTo>
                <a:lnTo>
                  <a:pt x="6569706" y="2496611"/>
                </a:lnTo>
                <a:lnTo>
                  <a:pt x="6568403" y="2496611"/>
                </a:lnTo>
                <a:lnTo>
                  <a:pt x="6567318" y="2494770"/>
                </a:lnTo>
                <a:lnTo>
                  <a:pt x="6566885" y="2493579"/>
                </a:lnTo>
                <a:lnTo>
                  <a:pt x="6565257" y="2495311"/>
                </a:lnTo>
                <a:lnTo>
                  <a:pt x="6564063" y="2495419"/>
                </a:lnTo>
                <a:lnTo>
                  <a:pt x="6564822" y="2497910"/>
                </a:lnTo>
                <a:lnTo>
                  <a:pt x="6563954" y="2501050"/>
                </a:lnTo>
                <a:lnTo>
                  <a:pt x="6560699" y="2503756"/>
                </a:lnTo>
                <a:lnTo>
                  <a:pt x="6559613" y="2505705"/>
                </a:lnTo>
                <a:lnTo>
                  <a:pt x="6561350" y="2510144"/>
                </a:lnTo>
                <a:lnTo>
                  <a:pt x="6564172" y="2510144"/>
                </a:lnTo>
                <a:lnTo>
                  <a:pt x="6566667" y="2514908"/>
                </a:lnTo>
                <a:lnTo>
                  <a:pt x="6566667" y="2516207"/>
                </a:lnTo>
                <a:lnTo>
                  <a:pt x="6568620" y="2516641"/>
                </a:lnTo>
                <a:lnTo>
                  <a:pt x="6569814" y="2518698"/>
                </a:lnTo>
                <a:lnTo>
                  <a:pt x="6565582" y="2523895"/>
                </a:lnTo>
                <a:lnTo>
                  <a:pt x="6562869" y="2523895"/>
                </a:lnTo>
                <a:lnTo>
                  <a:pt x="6562869" y="2522596"/>
                </a:lnTo>
                <a:lnTo>
                  <a:pt x="6557552" y="2521621"/>
                </a:lnTo>
                <a:lnTo>
                  <a:pt x="6555707" y="2524869"/>
                </a:lnTo>
                <a:lnTo>
                  <a:pt x="6554731" y="2525844"/>
                </a:lnTo>
                <a:lnTo>
                  <a:pt x="6553971" y="2520755"/>
                </a:lnTo>
                <a:lnTo>
                  <a:pt x="6554187" y="2518482"/>
                </a:lnTo>
                <a:lnTo>
                  <a:pt x="6550715" y="2516424"/>
                </a:lnTo>
                <a:lnTo>
                  <a:pt x="6544964" y="2508521"/>
                </a:lnTo>
                <a:lnTo>
                  <a:pt x="6545072" y="2505705"/>
                </a:lnTo>
                <a:lnTo>
                  <a:pt x="6548437" y="2501483"/>
                </a:lnTo>
                <a:lnTo>
                  <a:pt x="6549197" y="2497368"/>
                </a:lnTo>
                <a:lnTo>
                  <a:pt x="6552669" y="2496827"/>
                </a:lnTo>
                <a:lnTo>
                  <a:pt x="6552451" y="2495311"/>
                </a:lnTo>
                <a:lnTo>
                  <a:pt x="6549956" y="2494121"/>
                </a:lnTo>
                <a:lnTo>
                  <a:pt x="6546484" y="2495311"/>
                </a:lnTo>
                <a:lnTo>
                  <a:pt x="6543119" y="2492171"/>
                </a:lnTo>
                <a:lnTo>
                  <a:pt x="6540623" y="2496286"/>
                </a:lnTo>
                <a:lnTo>
                  <a:pt x="6537367" y="2495961"/>
                </a:lnTo>
                <a:lnTo>
                  <a:pt x="6534872" y="2496827"/>
                </a:lnTo>
                <a:lnTo>
                  <a:pt x="6529012" y="2491955"/>
                </a:lnTo>
                <a:lnTo>
                  <a:pt x="6526625" y="2492713"/>
                </a:lnTo>
                <a:lnTo>
                  <a:pt x="6522283" y="2488274"/>
                </a:lnTo>
                <a:lnTo>
                  <a:pt x="6519897" y="2483943"/>
                </a:lnTo>
                <a:lnTo>
                  <a:pt x="6518811" y="2488599"/>
                </a:lnTo>
                <a:lnTo>
                  <a:pt x="6519029" y="2491089"/>
                </a:lnTo>
                <a:lnTo>
                  <a:pt x="6515122" y="2492713"/>
                </a:lnTo>
                <a:lnTo>
                  <a:pt x="6512192" y="2491413"/>
                </a:lnTo>
                <a:lnTo>
                  <a:pt x="6510456" y="2492496"/>
                </a:lnTo>
                <a:lnTo>
                  <a:pt x="6509045" y="2492171"/>
                </a:lnTo>
                <a:lnTo>
                  <a:pt x="6504922" y="2490006"/>
                </a:lnTo>
                <a:lnTo>
                  <a:pt x="6503286" y="2490489"/>
                </a:lnTo>
                <a:lnTo>
                  <a:pt x="6504922" y="2490006"/>
                </a:lnTo>
                <a:lnTo>
                  <a:pt x="6509045" y="2492171"/>
                </a:lnTo>
                <a:lnTo>
                  <a:pt x="6509154" y="2492280"/>
                </a:lnTo>
                <a:lnTo>
                  <a:pt x="6508938" y="2492172"/>
                </a:lnTo>
                <a:lnTo>
                  <a:pt x="6508938" y="2492281"/>
                </a:lnTo>
                <a:lnTo>
                  <a:pt x="6508828" y="2492172"/>
                </a:lnTo>
                <a:lnTo>
                  <a:pt x="6509696" y="2494012"/>
                </a:lnTo>
                <a:lnTo>
                  <a:pt x="6508068" y="2496719"/>
                </a:lnTo>
                <a:lnTo>
                  <a:pt x="6505573" y="2497802"/>
                </a:lnTo>
                <a:lnTo>
                  <a:pt x="6503619" y="2497693"/>
                </a:lnTo>
                <a:lnTo>
                  <a:pt x="6499387" y="2500400"/>
                </a:lnTo>
                <a:lnTo>
                  <a:pt x="6495264" y="2500075"/>
                </a:lnTo>
                <a:lnTo>
                  <a:pt x="6490923" y="2500833"/>
                </a:lnTo>
                <a:lnTo>
                  <a:pt x="6489729" y="2503107"/>
                </a:lnTo>
                <a:lnTo>
                  <a:pt x="6490706" y="2506463"/>
                </a:lnTo>
                <a:lnTo>
                  <a:pt x="6488318" y="2508087"/>
                </a:lnTo>
                <a:lnTo>
                  <a:pt x="6487450" y="2509712"/>
                </a:lnTo>
                <a:lnTo>
                  <a:pt x="6485172" y="2508412"/>
                </a:lnTo>
                <a:lnTo>
                  <a:pt x="6481590" y="2509170"/>
                </a:lnTo>
                <a:lnTo>
                  <a:pt x="6479312" y="2511335"/>
                </a:lnTo>
                <a:lnTo>
                  <a:pt x="6477684" y="2511985"/>
                </a:lnTo>
                <a:lnTo>
                  <a:pt x="6476164" y="2509712"/>
                </a:lnTo>
                <a:lnTo>
                  <a:pt x="6474537" y="2509170"/>
                </a:lnTo>
                <a:lnTo>
                  <a:pt x="6474211" y="2512526"/>
                </a:lnTo>
                <a:lnTo>
                  <a:pt x="6472366" y="2515016"/>
                </a:lnTo>
                <a:lnTo>
                  <a:pt x="6473669" y="2516424"/>
                </a:lnTo>
                <a:lnTo>
                  <a:pt x="6473018" y="2519997"/>
                </a:lnTo>
                <a:lnTo>
                  <a:pt x="6473235" y="2523787"/>
                </a:lnTo>
                <a:lnTo>
                  <a:pt x="6472583" y="2524761"/>
                </a:lnTo>
                <a:lnTo>
                  <a:pt x="6473886" y="2527468"/>
                </a:lnTo>
                <a:lnTo>
                  <a:pt x="6472692" y="2529634"/>
                </a:lnTo>
                <a:lnTo>
                  <a:pt x="6470847" y="2530175"/>
                </a:lnTo>
                <a:lnTo>
                  <a:pt x="6467375" y="2535805"/>
                </a:lnTo>
                <a:lnTo>
                  <a:pt x="6464228" y="2535913"/>
                </a:lnTo>
                <a:lnTo>
                  <a:pt x="6463034" y="2534289"/>
                </a:lnTo>
                <a:lnTo>
                  <a:pt x="6462926" y="2536238"/>
                </a:lnTo>
                <a:lnTo>
                  <a:pt x="6460755" y="2537861"/>
                </a:lnTo>
                <a:lnTo>
                  <a:pt x="6459453" y="2541976"/>
                </a:lnTo>
                <a:lnTo>
                  <a:pt x="6457391" y="2543709"/>
                </a:lnTo>
                <a:lnTo>
                  <a:pt x="6457174" y="2547931"/>
                </a:lnTo>
                <a:lnTo>
                  <a:pt x="6459019" y="2548364"/>
                </a:lnTo>
                <a:lnTo>
                  <a:pt x="6460864" y="2550746"/>
                </a:lnTo>
                <a:lnTo>
                  <a:pt x="6458476" y="2558650"/>
                </a:lnTo>
                <a:lnTo>
                  <a:pt x="6455763" y="2562656"/>
                </a:lnTo>
                <a:lnTo>
                  <a:pt x="6460864" y="2566987"/>
                </a:lnTo>
                <a:lnTo>
                  <a:pt x="6460321" y="2569477"/>
                </a:lnTo>
                <a:lnTo>
                  <a:pt x="6456306" y="2570560"/>
                </a:lnTo>
                <a:lnTo>
                  <a:pt x="6460430" y="2571750"/>
                </a:lnTo>
                <a:lnTo>
                  <a:pt x="6467592" y="2575973"/>
                </a:lnTo>
                <a:lnTo>
                  <a:pt x="6473886" y="2582144"/>
                </a:lnTo>
                <a:lnTo>
                  <a:pt x="6476164" y="2581928"/>
                </a:lnTo>
                <a:lnTo>
                  <a:pt x="6479312" y="2587342"/>
                </a:lnTo>
                <a:lnTo>
                  <a:pt x="6479312" y="2590048"/>
                </a:lnTo>
                <a:lnTo>
                  <a:pt x="6478335" y="2591672"/>
                </a:lnTo>
                <a:lnTo>
                  <a:pt x="6480397" y="2597086"/>
                </a:lnTo>
                <a:lnTo>
                  <a:pt x="6481265" y="2600009"/>
                </a:lnTo>
                <a:lnTo>
                  <a:pt x="6490706" y="2607588"/>
                </a:lnTo>
                <a:lnTo>
                  <a:pt x="6495914" y="2610619"/>
                </a:lnTo>
                <a:lnTo>
                  <a:pt x="6496457" y="2612244"/>
                </a:lnTo>
                <a:lnTo>
                  <a:pt x="6509262" y="2619282"/>
                </a:lnTo>
                <a:lnTo>
                  <a:pt x="6520873" y="2627727"/>
                </a:lnTo>
                <a:lnTo>
                  <a:pt x="6523369" y="2632274"/>
                </a:lnTo>
                <a:lnTo>
                  <a:pt x="6534113" y="2640178"/>
                </a:lnTo>
                <a:lnTo>
                  <a:pt x="6537476" y="2646349"/>
                </a:lnTo>
                <a:lnTo>
                  <a:pt x="6538236" y="2650139"/>
                </a:lnTo>
                <a:lnTo>
                  <a:pt x="6539647" y="2650139"/>
                </a:lnTo>
                <a:lnTo>
                  <a:pt x="6539539" y="2653386"/>
                </a:lnTo>
                <a:lnTo>
                  <a:pt x="6544964" y="2658908"/>
                </a:lnTo>
                <a:lnTo>
                  <a:pt x="6544964" y="2661507"/>
                </a:lnTo>
                <a:lnTo>
                  <a:pt x="6546158" y="2663455"/>
                </a:lnTo>
                <a:lnTo>
                  <a:pt x="6545073" y="2665404"/>
                </a:lnTo>
                <a:lnTo>
                  <a:pt x="6549305" y="2670493"/>
                </a:lnTo>
                <a:lnTo>
                  <a:pt x="6550390" y="2679263"/>
                </a:lnTo>
                <a:lnTo>
                  <a:pt x="6552126" y="2680671"/>
                </a:lnTo>
                <a:lnTo>
                  <a:pt x="6554079" y="2688249"/>
                </a:lnTo>
                <a:lnTo>
                  <a:pt x="6555599" y="2689873"/>
                </a:lnTo>
                <a:lnTo>
                  <a:pt x="6555816" y="2694096"/>
                </a:lnTo>
                <a:lnTo>
                  <a:pt x="6554947" y="2696803"/>
                </a:lnTo>
                <a:lnTo>
                  <a:pt x="6556576" y="2700809"/>
                </a:lnTo>
                <a:lnTo>
                  <a:pt x="6555382" y="2702433"/>
                </a:lnTo>
                <a:lnTo>
                  <a:pt x="6557118" y="2708497"/>
                </a:lnTo>
                <a:lnTo>
                  <a:pt x="6557335" y="2710770"/>
                </a:lnTo>
                <a:lnTo>
                  <a:pt x="6559505" y="2711744"/>
                </a:lnTo>
                <a:lnTo>
                  <a:pt x="6560590" y="2715101"/>
                </a:lnTo>
                <a:lnTo>
                  <a:pt x="6563412" y="2720622"/>
                </a:lnTo>
                <a:lnTo>
                  <a:pt x="6562869" y="2724195"/>
                </a:lnTo>
                <a:lnTo>
                  <a:pt x="6561675" y="2724087"/>
                </a:lnTo>
                <a:lnTo>
                  <a:pt x="6561675" y="2722355"/>
                </a:lnTo>
                <a:lnTo>
                  <a:pt x="6560157" y="2720514"/>
                </a:lnTo>
                <a:lnTo>
                  <a:pt x="6558095" y="2721705"/>
                </a:lnTo>
                <a:lnTo>
                  <a:pt x="6558420" y="2725387"/>
                </a:lnTo>
                <a:lnTo>
                  <a:pt x="6560699" y="2727768"/>
                </a:lnTo>
                <a:lnTo>
                  <a:pt x="6560157" y="2729826"/>
                </a:lnTo>
                <a:lnTo>
                  <a:pt x="6557769" y="2731775"/>
                </a:lnTo>
                <a:lnTo>
                  <a:pt x="6557552" y="2734481"/>
                </a:lnTo>
                <a:lnTo>
                  <a:pt x="6553863" y="2737297"/>
                </a:lnTo>
                <a:lnTo>
                  <a:pt x="6557118" y="2742385"/>
                </a:lnTo>
                <a:lnTo>
                  <a:pt x="6555382" y="2746607"/>
                </a:lnTo>
                <a:lnTo>
                  <a:pt x="6556900" y="2748556"/>
                </a:lnTo>
                <a:lnTo>
                  <a:pt x="6553754" y="2751588"/>
                </a:lnTo>
                <a:lnTo>
                  <a:pt x="6551150" y="2752562"/>
                </a:lnTo>
                <a:lnTo>
                  <a:pt x="6550390" y="2758409"/>
                </a:lnTo>
                <a:lnTo>
                  <a:pt x="6547894" y="2759383"/>
                </a:lnTo>
                <a:lnTo>
                  <a:pt x="6542469" y="2764905"/>
                </a:lnTo>
                <a:lnTo>
                  <a:pt x="6538887" y="2766746"/>
                </a:lnTo>
                <a:lnTo>
                  <a:pt x="6534113" y="2770102"/>
                </a:lnTo>
                <a:lnTo>
                  <a:pt x="6533570" y="2774108"/>
                </a:lnTo>
                <a:lnTo>
                  <a:pt x="6529229" y="2774108"/>
                </a:lnTo>
                <a:lnTo>
                  <a:pt x="6526516" y="2777248"/>
                </a:lnTo>
                <a:lnTo>
                  <a:pt x="6516098" y="2783311"/>
                </a:lnTo>
                <a:lnTo>
                  <a:pt x="6509913" y="2783961"/>
                </a:lnTo>
                <a:lnTo>
                  <a:pt x="6507200" y="2782553"/>
                </a:lnTo>
                <a:lnTo>
                  <a:pt x="6502642" y="2783744"/>
                </a:lnTo>
                <a:lnTo>
                  <a:pt x="6501774" y="2782878"/>
                </a:lnTo>
                <a:lnTo>
                  <a:pt x="6502426" y="2779847"/>
                </a:lnTo>
                <a:lnTo>
                  <a:pt x="6502209" y="2777031"/>
                </a:lnTo>
                <a:lnTo>
                  <a:pt x="6501124" y="2779847"/>
                </a:lnTo>
                <a:lnTo>
                  <a:pt x="6500364" y="2780929"/>
                </a:lnTo>
                <a:lnTo>
                  <a:pt x="6496349" y="2779847"/>
                </a:lnTo>
                <a:lnTo>
                  <a:pt x="6499062" y="2782012"/>
                </a:lnTo>
                <a:lnTo>
                  <a:pt x="6498953" y="2783744"/>
                </a:lnTo>
                <a:lnTo>
                  <a:pt x="6497760" y="2784610"/>
                </a:lnTo>
                <a:lnTo>
                  <a:pt x="6493852" y="2783961"/>
                </a:lnTo>
                <a:lnTo>
                  <a:pt x="6500364" y="2786992"/>
                </a:lnTo>
                <a:lnTo>
                  <a:pt x="6498844" y="2789158"/>
                </a:lnTo>
                <a:lnTo>
                  <a:pt x="6500689" y="2792947"/>
                </a:lnTo>
                <a:lnTo>
                  <a:pt x="6497217" y="2794788"/>
                </a:lnTo>
                <a:lnTo>
                  <a:pt x="6492008" y="2790890"/>
                </a:lnTo>
                <a:lnTo>
                  <a:pt x="6496349" y="2795654"/>
                </a:lnTo>
                <a:lnTo>
                  <a:pt x="6495914" y="2797928"/>
                </a:lnTo>
                <a:lnTo>
                  <a:pt x="6493961" y="2800635"/>
                </a:lnTo>
                <a:lnTo>
                  <a:pt x="6491899" y="2799876"/>
                </a:lnTo>
                <a:lnTo>
                  <a:pt x="6489946" y="2797062"/>
                </a:lnTo>
                <a:lnTo>
                  <a:pt x="6487233" y="2797494"/>
                </a:lnTo>
                <a:lnTo>
                  <a:pt x="6488535" y="2801068"/>
                </a:lnTo>
                <a:lnTo>
                  <a:pt x="6488318" y="2802259"/>
                </a:lnTo>
                <a:lnTo>
                  <a:pt x="6489295" y="2803558"/>
                </a:lnTo>
                <a:lnTo>
                  <a:pt x="6487450" y="2804857"/>
                </a:lnTo>
                <a:lnTo>
                  <a:pt x="6486149" y="2806698"/>
                </a:lnTo>
                <a:lnTo>
                  <a:pt x="6483760" y="2806914"/>
                </a:lnTo>
                <a:lnTo>
                  <a:pt x="6479203" y="2810920"/>
                </a:lnTo>
                <a:lnTo>
                  <a:pt x="6477141" y="2812328"/>
                </a:lnTo>
                <a:lnTo>
                  <a:pt x="6473995" y="2811894"/>
                </a:lnTo>
                <a:lnTo>
                  <a:pt x="6472909" y="2814493"/>
                </a:lnTo>
                <a:lnTo>
                  <a:pt x="6472258" y="2819582"/>
                </a:lnTo>
                <a:lnTo>
                  <a:pt x="6469328" y="2822289"/>
                </a:lnTo>
                <a:lnTo>
                  <a:pt x="6468134" y="2822180"/>
                </a:lnTo>
                <a:lnTo>
                  <a:pt x="6468460" y="2823263"/>
                </a:lnTo>
                <a:lnTo>
                  <a:pt x="6457825" y="2828027"/>
                </a:lnTo>
                <a:lnTo>
                  <a:pt x="6452183" y="2827161"/>
                </a:lnTo>
                <a:lnTo>
                  <a:pt x="6455763" y="2824996"/>
                </a:lnTo>
                <a:lnTo>
                  <a:pt x="6460104" y="2823047"/>
                </a:lnTo>
                <a:lnTo>
                  <a:pt x="6462492" y="2820339"/>
                </a:lnTo>
                <a:lnTo>
                  <a:pt x="6459995" y="2821314"/>
                </a:lnTo>
                <a:lnTo>
                  <a:pt x="6456740" y="2819582"/>
                </a:lnTo>
                <a:lnTo>
                  <a:pt x="6457174" y="2812328"/>
                </a:lnTo>
                <a:lnTo>
                  <a:pt x="6457825" y="2811570"/>
                </a:lnTo>
                <a:lnTo>
                  <a:pt x="6456414" y="2811137"/>
                </a:lnTo>
                <a:lnTo>
                  <a:pt x="6457282" y="2808105"/>
                </a:lnTo>
                <a:lnTo>
                  <a:pt x="6456849" y="2800526"/>
                </a:lnTo>
                <a:lnTo>
                  <a:pt x="6460430" y="2794788"/>
                </a:lnTo>
                <a:lnTo>
                  <a:pt x="6467049" y="2789483"/>
                </a:lnTo>
                <a:lnTo>
                  <a:pt x="6469111" y="2787101"/>
                </a:lnTo>
                <a:lnTo>
                  <a:pt x="6465747" y="2788617"/>
                </a:lnTo>
                <a:lnTo>
                  <a:pt x="6460647" y="2787858"/>
                </a:lnTo>
                <a:lnTo>
                  <a:pt x="6457066" y="2789049"/>
                </a:lnTo>
                <a:lnTo>
                  <a:pt x="6454787" y="2787642"/>
                </a:lnTo>
                <a:lnTo>
                  <a:pt x="6452508" y="2788508"/>
                </a:lnTo>
                <a:lnTo>
                  <a:pt x="6447950" y="2787317"/>
                </a:lnTo>
                <a:lnTo>
                  <a:pt x="6448601" y="2786126"/>
                </a:lnTo>
                <a:lnTo>
                  <a:pt x="6448493" y="2782120"/>
                </a:lnTo>
                <a:lnTo>
                  <a:pt x="6447299" y="2781254"/>
                </a:lnTo>
                <a:lnTo>
                  <a:pt x="6451748" y="2775841"/>
                </a:lnTo>
                <a:lnTo>
                  <a:pt x="6456958" y="2774974"/>
                </a:lnTo>
                <a:lnTo>
                  <a:pt x="6459670" y="2768153"/>
                </a:lnTo>
                <a:lnTo>
                  <a:pt x="6456957" y="2774974"/>
                </a:lnTo>
                <a:lnTo>
                  <a:pt x="6451747" y="2775841"/>
                </a:lnTo>
                <a:lnTo>
                  <a:pt x="6447298" y="2781254"/>
                </a:lnTo>
                <a:lnTo>
                  <a:pt x="6442958" y="2778114"/>
                </a:lnTo>
                <a:lnTo>
                  <a:pt x="6441547" y="2778980"/>
                </a:lnTo>
                <a:lnTo>
                  <a:pt x="6436772" y="2777464"/>
                </a:lnTo>
                <a:lnTo>
                  <a:pt x="6434168" y="2775515"/>
                </a:lnTo>
                <a:lnTo>
                  <a:pt x="6433734" y="2776815"/>
                </a:lnTo>
                <a:lnTo>
                  <a:pt x="6429936" y="2780388"/>
                </a:lnTo>
                <a:lnTo>
                  <a:pt x="6427331" y="2780280"/>
                </a:lnTo>
                <a:lnTo>
                  <a:pt x="6426680" y="2778439"/>
                </a:lnTo>
                <a:lnTo>
                  <a:pt x="6425162" y="2776165"/>
                </a:lnTo>
                <a:lnTo>
                  <a:pt x="6428091" y="2772809"/>
                </a:lnTo>
                <a:lnTo>
                  <a:pt x="6428416" y="2769669"/>
                </a:lnTo>
                <a:lnTo>
                  <a:pt x="6426789" y="2765988"/>
                </a:lnTo>
                <a:lnTo>
                  <a:pt x="6426789" y="2763173"/>
                </a:lnTo>
                <a:lnTo>
                  <a:pt x="6424836" y="2764472"/>
                </a:lnTo>
                <a:lnTo>
                  <a:pt x="6421906" y="2766962"/>
                </a:lnTo>
                <a:lnTo>
                  <a:pt x="6421906" y="2771076"/>
                </a:lnTo>
                <a:lnTo>
                  <a:pt x="6418867" y="2771509"/>
                </a:lnTo>
                <a:lnTo>
                  <a:pt x="6415177" y="2771076"/>
                </a:lnTo>
                <a:lnTo>
                  <a:pt x="6414527" y="2767503"/>
                </a:lnTo>
                <a:lnTo>
                  <a:pt x="6413007" y="2764797"/>
                </a:lnTo>
                <a:lnTo>
                  <a:pt x="6413333" y="2761007"/>
                </a:lnTo>
                <a:lnTo>
                  <a:pt x="6411488" y="2757543"/>
                </a:lnTo>
                <a:lnTo>
                  <a:pt x="6409643" y="2758192"/>
                </a:lnTo>
                <a:lnTo>
                  <a:pt x="6406279" y="2753428"/>
                </a:lnTo>
                <a:lnTo>
                  <a:pt x="6406063" y="2748881"/>
                </a:lnTo>
                <a:lnTo>
                  <a:pt x="6402915" y="2746066"/>
                </a:lnTo>
                <a:lnTo>
                  <a:pt x="6402807" y="2741519"/>
                </a:lnTo>
                <a:lnTo>
                  <a:pt x="6399551" y="2737729"/>
                </a:lnTo>
                <a:lnTo>
                  <a:pt x="6399443" y="2737729"/>
                </a:lnTo>
                <a:lnTo>
                  <a:pt x="6399768" y="2735889"/>
                </a:lnTo>
                <a:lnTo>
                  <a:pt x="6399443" y="2737729"/>
                </a:lnTo>
                <a:lnTo>
                  <a:pt x="6397382" y="2737513"/>
                </a:lnTo>
                <a:lnTo>
                  <a:pt x="6397055" y="2740869"/>
                </a:lnTo>
                <a:lnTo>
                  <a:pt x="6396187" y="2741194"/>
                </a:lnTo>
                <a:lnTo>
                  <a:pt x="6395428" y="2740003"/>
                </a:lnTo>
                <a:lnTo>
                  <a:pt x="6390436" y="2735889"/>
                </a:lnTo>
                <a:lnTo>
                  <a:pt x="6388591" y="2735780"/>
                </a:lnTo>
                <a:lnTo>
                  <a:pt x="6388700" y="2733615"/>
                </a:lnTo>
                <a:lnTo>
                  <a:pt x="6385770" y="2732099"/>
                </a:lnTo>
                <a:lnTo>
                  <a:pt x="6379476" y="2726036"/>
                </a:lnTo>
                <a:lnTo>
                  <a:pt x="6376003" y="2724737"/>
                </a:lnTo>
                <a:lnTo>
                  <a:pt x="6373290" y="2727010"/>
                </a:lnTo>
                <a:lnTo>
                  <a:pt x="6373833" y="2728093"/>
                </a:lnTo>
                <a:lnTo>
                  <a:pt x="6373399" y="2728959"/>
                </a:lnTo>
                <a:lnTo>
                  <a:pt x="6371337" y="2727552"/>
                </a:lnTo>
                <a:lnTo>
                  <a:pt x="6366128" y="2726253"/>
                </a:lnTo>
                <a:lnTo>
                  <a:pt x="6361354" y="2727443"/>
                </a:lnTo>
                <a:lnTo>
                  <a:pt x="6357990" y="2726253"/>
                </a:lnTo>
                <a:lnTo>
                  <a:pt x="6354409" y="2726577"/>
                </a:lnTo>
                <a:lnTo>
                  <a:pt x="6355711" y="2722896"/>
                </a:lnTo>
                <a:lnTo>
                  <a:pt x="6357230" y="2721272"/>
                </a:lnTo>
                <a:lnTo>
                  <a:pt x="6355060" y="2717483"/>
                </a:lnTo>
                <a:lnTo>
                  <a:pt x="6355385" y="2711203"/>
                </a:lnTo>
                <a:lnTo>
                  <a:pt x="6356796" y="2709688"/>
                </a:lnTo>
                <a:lnTo>
                  <a:pt x="6355493" y="2706547"/>
                </a:lnTo>
                <a:lnTo>
                  <a:pt x="6351370" y="2705790"/>
                </a:lnTo>
                <a:lnTo>
                  <a:pt x="6350610" y="2705140"/>
                </a:lnTo>
                <a:lnTo>
                  <a:pt x="6348983" y="2705573"/>
                </a:lnTo>
                <a:lnTo>
                  <a:pt x="6347246" y="2704274"/>
                </a:lnTo>
                <a:lnTo>
                  <a:pt x="6343557" y="2706006"/>
                </a:lnTo>
                <a:lnTo>
                  <a:pt x="6340735" y="2706331"/>
                </a:lnTo>
                <a:lnTo>
                  <a:pt x="6339000" y="2704815"/>
                </a:lnTo>
                <a:lnTo>
                  <a:pt x="6337480" y="2706764"/>
                </a:lnTo>
                <a:lnTo>
                  <a:pt x="6334767" y="2706764"/>
                </a:lnTo>
                <a:lnTo>
                  <a:pt x="6333357" y="2706114"/>
                </a:lnTo>
                <a:lnTo>
                  <a:pt x="6333357" y="2707089"/>
                </a:lnTo>
                <a:lnTo>
                  <a:pt x="6332271" y="2710445"/>
                </a:lnTo>
                <a:lnTo>
                  <a:pt x="6336287" y="2712394"/>
                </a:lnTo>
                <a:lnTo>
                  <a:pt x="6336937" y="2716725"/>
                </a:lnTo>
                <a:lnTo>
                  <a:pt x="6334442" y="2720839"/>
                </a:lnTo>
                <a:lnTo>
                  <a:pt x="6334659" y="2726036"/>
                </a:lnTo>
                <a:lnTo>
                  <a:pt x="6333682" y="2728959"/>
                </a:lnTo>
                <a:lnTo>
                  <a:pt x="6335527" y="2730475"/>
                </a:lnTo>
                <a:lnTo>
                  <a:pt x="6334767" y="2737080"/>
                </a:lnTo>
                <a:lnTo>
                  <a:pt x="6331403" y="2741410"/>
                </a:lnTo>
                <a:lnTo>
                  <a:pt x="6330644" y="2746283"/>
                </a:lnTo>
                <a:lnTo>
                  <a:pt x="6327171" y="2751371"/>
                </a:lnTo>
                <a:lnTo>
                  <a:pt x="6325978" y="2769452"/>
                </a:lnTo>
                <a:lnTo>
                  <a:pt x="6320226" y="2776706"/>
                </a:lnTo>
                <a:lnTo>
                  <a:pt x="6320226" y="2781795"/>
                </a:lnTo>
                <a:lnTo>
                  <a:pt x="6317947" y="2786559"/>
                </a:lnTo>
                <a:lnTo>
                  <a:pt x="6320443" y="2786992"/>
                </a:lnTo>
                <a:lnTo>
                  <a:pt x="6321094" y="2788183"/>
                </a:lnTo>
                <a:lnTo>
                  <a:pt x="6318923" y="2790999"/>
                </a:lnTo>
                <a:lnTo>
                  <a:pt x="6319250" y="2793164"/>
                </a:lnTo>
                <a:lnTo>
                  <a:pt x="6320443" y="2798144"/>
                </a:lnTo>
                <a:lnTo>
                  <a:pt x="6320443" y="2801284"/>
                </a:lnTo>
                <a:lnTo>
                  <a:pt x="6325109" y="2808105"/>
                </a:lnTo>
                <a:lnTo>
                  <a:pt x="6322722" y="2812760"/>
                </a:lnTo>
                <a:lnTo>
                  <a:pt x="6324241" y="2814493"/>
                </a:lnTo>
                <a:lnTo>
                  <a:pt x="6326846" y="2813735"/>
                </a:lnTo>
                <a:lnTo>
                  <a:pt x="6327497" y="2811786"/>
                </a:lnTo>
                <a:lnTo>
                  <a:pt x="6329775" y="2809187"/>
                </a:lnTo>
                <a:lnTo>
                  <a:pt x="6330969" y="2810054"/>
                </a:lnTo>
                <a:lnTo>
                  <a:pt x="6334550" y="2810703"/>
                </a:lnTo>
                <a:lnTo>
                  <a:pt x="6336612" y="2812760"/>
                </a:lnTo>
                <a:lnTo>
                  <a:pt x="6337155" y="2817633"/>
                </a:lnTo>
                <a:lnTo>
                  <a:pt x="6339325" y="2820556"/>
                </a:lnTo>
                <a:lnTo>
                  <a:pt x="6338891" y="2825645"/>
                </a:lnTo>
                <a:lnTo>
                  <a:pt x="6341495" y="2826619"/>
                </a:lnTo>
                <a:lnTo>
                  <a:pt x="6343882" y="2831925"/>
                </a:lnTo>
                <a:lnTo>
                  <a:pt x="6346487" y="2831816"/>
                </a:lnTo>
                <a:lnTo>
                  <a:pt x="6346378" y="2829217"/>
                </a:lnTo>
                <a:lnTo>
                  <a:pt x="6346813" y="2827160"/>
                </a:lnTo>
                <a:lnTo>
                  <a:pt x="6347897" y="2830950"/>
                </a:lnTo>
                <a:lnTo>
                  <a:pt x="6350610" y="2834848"/>
                </a:lnTo>
                <a:lnTo>
                  <a:pt x="6350719" y="2838854"/>
                </a:lnTo>
                <a:lnTo>
                  <a:pt x="6352998" y="2840045"/>
                </a:lnTo>
                <a:lnTo>
                  <a:pt x="6354843" y="2849898"/>
                </a:lnTo>
                <a:lnTo>
                  <a:pt x="6353975" y="2851196"/>
                </a:lnTo>
                <a:lnTo>
                  <a:pt x="6353215" y="2852929"/>
                </a:lnTo>
                <a:lnTo>
                  <a:pt x="6352021" y="2851305"/>
                </a:lnTo>
                <a:lnTo>
                  <a:pt x="6348223" y="2853795"/>
                </a:lnTo>
                <a:lnTo>
                  <a:pt x="6347572" y="2857260"/>
                </a:lnTo>
                <a:lnTo>
                  <a:pt x="6354517" y="2859859"/>
                </a:lnTo>
                <a:lnTo>
                  <a:pt x="6355385" y="2856286"/>
                </a:lnTo>
                <a:lnTo>
                  <a:pt x="6356796" y="2857368"/>
                </a:lnTo>
                <a:lnTo>
                  <a:pt x="6357230" y="2861590"/>
                </a:lnTo>
                <a:lnTo>
                  <a:pt x="6360377" y="2864189"/>
                </a:lnTo>
                <a:lnTo>
                  <a:pt x="6367214" y="2870902"/>
                </a:lnTo>
                <a:lnTo>
                  <a:pt x="6370035" y="2873175"/>
                </a:lnTo>
                <a:lnTo>
                  <a:pt x="6372097" y="2871768"/>
                </a:lnTo>
                <a:lnTo>
                  <a:pt x="6376872" y="2872310"/>
                </a:lnTo>
                <a:lnTo>
                  <a:pt x="6381321" y="2873933"/>
                </a:lnTo>
                <a:lnTo>
                  <a:pt x="6384468" y="2880863"/>
                </a:lnTo>
                <a:lnTo>
                  <a:pt x="6387073" y="2884219"/>
                </a:lnTo>
                <a:lnTo>
                  <a:pt x="6391412" y="2887034"/>
                </a:lnTo>
                <a:lnTo>
                  <a:pt x="6391956" y="2889308"/>
                </a:lnTo>
                <a:lnTo>
                  <a:pt x="6390762" y="2890499"/>
                </a:lnTo>
                <a:lnTo>
                  <a:pt x="6390762" y="2890500"/>
                </a:lnTo>
                <a:lnTo>
                  <a:pt x="6391956" y="2889308"/>
                </a:lnTo>
                <a:lnTo>
                  <a:pt x="6391956" y="2889417"/>
                </a:lnTo>
                <a:lnTo>
                  <a:pt x="6395428" y="2889200"/>
                </a:lnTo>
                <a:lnTo>
                  <a:pt x="6397490" y="2886818"/>
                </a:lnTo>
                <a:lnTo>
                  <a:pt x="6399552" y="2886276"/>
                </a:lnTo>
                <a:lnTo>
                  <a:pt x="6403133" y="2892881"/>
                </a:lnTo>
                <a:lnTo>
                  <a:pt x="6420495" y="2910530"/>
                </a:lnTo>
                <a:lnTo>
                  <a:pt x="6425705" y="2918867"/>
                </a:lnTo>
                <a:lnTo>
                  <a:pt x="6428092" y="2928503"/>
                </a:lnTo>
                <a:lnTo>
                  <a:pt x="6426138" y="2931101"/>
                </a:lnTo>
                <a:lnTo>
                  <a:pt x="6426790" y="2942794"/>
                </a:lnTo>
                <a:lnTo>
                  <a:pt x="6425596" y="2944851"/>
                </a:lnTo>
                <a:lnTo>
                  <a:pt x="6425596" y="2949074"/>
                </a:lnTo>
                <a:lnTo>
                  <a:pt x="6427332" y="2952214"/>
                </a:lnTo>
                <a:lnTo>
                  <a:pt x="6427332" y="2964016"/>
                </a:lnTo>
                <a:lnTo>
                  <a:pt x="6430480" y="2970295"/>
                </a:lnTo>
                <a:lnTo>
                  <a:pt x="6435906" y="2975275"/>
                </a:lnTo>
                <a:lnTo>
                  <a:pt x="6439703" y="2975275"/>
                </a:lnTo>
                <a:lnTo>
                  <a:pt x="6440789" y="2977332"/>
                </a:lnTo>
                <a:lnTo>
                  <a:pt x="6440137" y="2979173"/>
                </a:lnTo>
                <a:lnTo>
                  <a:pt x="6441114" y="2986319"/>
                </a:lnTo>
                <a:lnTo>
                  <a:pt x="6442742" y="2987727"/>
                </a:lnTo>
                <a:lnTo>
                  <a:pt x="6443718" y="2989567"/>
                </a:lnTo>
                <a:lnTo>
                  <a:pt x="6443610" y="2990975"/>
                </a:lnTo>
                <a:lnTo>
                  <a:pt x="6445020" y="2991624"/>
                </a:lnTo>
                <a:lnTo>
                  <a:pt x="6450121" y="3001585"/>
                </a:lnTo>
                <a:lnTo>
                  <a:pt x="6450230" y="3007540"/>
                </a:lnTo>
                <a:lnTo>
                  <a:pt x="6446540" y="3006891"/>
                </a:lnTo>
                <a:lnTo>
                  <a:pt x="6445671" y="3005050"/>
                </a:lnTo>
                <a:lnTo>
                  <a:pt x="6445888" y="3002452"/>
                </a:lnTo>
                <a:lnTo>
                  <a:pt x="6443284" y="3000503"/>
                </a:lnTo>
                <a:lnTo>
                  <a:pt x="6444695" y="3002343"/>
                </a:lnTo>
                <a:lnTo>
                  <a:pt x="6444369" y="3004942"/>
                </a:lnTo>
                <a:lnTo>
                  <a:pt x="6442850" y="3005483"/>
                </a:lnTo>
                <a:lnTo>
                  <a:pt x="6445020" y="3005808"/>
                </a:lnTo>
                <a:lnTo>
                  <a:pt x="6445020" y="3006891"/>
                </a:lnTo>
                <a:lnTo>
                  <a:pt x="6440245" y="3009814"/>
                </a:lnTo>
                <a:lnTo>
                  <a:pt x="6438618" y="3007324"/>
                </a:lnTo>
                <a:lnTo>
                  <a:pt x="6436990" y="3008948"/>
                </a:lnTo>
                <a:lnTo>
                  <a:pt x="6432324" y="3006674"/>
                </a:lnTo>
                <a:lnTo>
                  <a:pt x="6429285" y="3003101"/>
                </a:lnTo>
                <a:lnTo>
                  <a:pt x="6421472" y="3001585"/>
                </a:lnTo>
                <a:lnTo>
                  <a:pt x="6414202" y="2997796"/>
                </a:lnTo>
                <a:lnTo>
                  <a:pt x="6410621" y="2993898"/>
                </a:lnTo>
                <a:lnTo>
                  <a:pt x="6408016" y="2991733"/>
                </a:lnTo>
                <a:lnTo>
                  <a:pt x="6404652" y="2992599"/>
                </a:lnTo>
                <a:lnTo>
                  <a:pt x="6401180" y="2992383"/>
                </a:lnTo>
                <a:lnTo>
                  <a:pt x="6395428" y="2986319"/>
                </a:lnTo>
                <a:lnTo>
                  <a:pt x="6395863" y="2981880"/>
                </a:lnTo>
                <a:lnTo>
                  <a:pt x="6388592" y="2976142"/>
                </a:lnTo>
                <a:lnTo>
                  <a:pt x="6380019" y="2972785"/>
                </a:lnTo>
                <a:lnTo>
                  <a:pt x="6377089" y="2970079"/>
                </a:lnTo>
                <a:lnTo>
                  <a:pt x="6377632" y="2966830"/>
                </a:lnTo>
                <a:lnTo>
                  <a:pt x="6381213" y="2963366"/>
                </a:lnTo>
                <a:lnTo>
                  <a:pt x="6378391" y="2959035"/>
                </a:lnTo>
                <a:lnTo>
                  <a:pt x="6374051" y="2956545"/>
                </a:lnTo>
                <a:lnTo>
                  <a:pt x="6369927" y="2950048"/>
                </a:lnTo>
                <a:lnTo>
                  <a:pt x="6363416" y="2946259"/>
                </a:lnTo>
                <a:lnTo>
                  <a:pt x="6360486" y="2942036"/>
                </a:lnTo>
                <a:lnTo>
                  <a:pt x="6361788" y="2939871"/>
                </a:lnTo>
                <a:lnTo>
                  <a:pt x="6358098" y="2936514"/>
                </a:lnTo>
                <a:lnTo>
                  <a:pt x="6357556" y="2931209"/>
                </a:lnTo>
                <a:lnTo>
                  <a:pt x="6359075" y="2930018"/>
                </a:lnTo>
                <a:lnTo>
                  <a:pt x="6359944" y="2922223"/>
                </a:lnTo>
                <a:lnTo>
                  <a:pt x="6357014" y="2916268"/>
                </a:lnTo>
                <a:lnTo>
                  <a:pt x="6354301" y="2909772"/>
                </a:lnTo>
                <a:lnTo>
                  <a:pt x="6351805" y="2890066"/>
                </a:lnTo>
                <a:lnTo>
                  <a:pt x="6346813" y="2882055"/>
                </a:lnTo>
                <a:lnTo>
                  <a:pt x="6348441" y="2876641"/>
                </a:lnTo>
                <a:lnTo>
                  <a:pt x="6351479" y="2872635"/>
                </a:lnTo>
                <a:lnTo>
                  <a:pt x="6354188" y="2875016"/>
                </a:lnTo>
                <a:lnTo>
                  <a:pt x="6351479" y="2872634"/>
                </a:lnTo>
                <a:lnTo>
                  <a:pt x="6348441" y="2876640"/>
                </a:lnTo>
                <a:lnTo>
                  <a:pt x="6346813" y="2882053"/>
                </a:lnTo>
                <a:lnTo>
                  <a:pt x="6344859" y="2878806"/>
                </a:lnTo>
                <a:lnTo>
                  <a:pt x="6334550" y="2871443"/>
                </a:lnTo>
                <a:lnTo>
                  <a:pt x="6334225" y="2869494"/>
                </a:lnTo>
                <a:lnTo>
                  <a:pt x="6336287" y="2867221"/>
                </a:lnTo>
                <a:lnTo>
                  <a:pt x="6336395" y="2864622"/>
                </a:lnTo>
                <a:lnTo>
                  <a:pt x="6333899" y="2864297"/>
                </a:lnTo>
                <a:lnTo>
                  <a:pt x="6332271" y="2860400"/>
                </a:lnTo>
                <a:lnTo>
                  <a:pt x="6327605" y="2859641"/>
                </a:lnTo>
                <a:lnTo>
                  <a:pt x="6327605" y="2856394"/>
                </a:lnTo>
                <a:lnTo>
                  <a:pt x="6322179" y="2849139"/>
                </a:lnTo>
                <a:lnTo>
                  <a:pt x="6318707" y="2849139"/>
                </a:lnTo>
                <a:lnTo>
                  <a:pt x="6315994" y="2840478"/>
                </a:lnTo>
                <a:lnTo>
                  <a:pt x="6311653" y="2839720"/>
                </a:lnTo>
                <a:lnTo>
                  <a:pt x="6311653" y="2836147"/>
                </a:lnTo>
                <a:lnTo>
                  <a:pt x="6308941" y="2834198"/>
                </a:lnTo>
                <a:lnTo>
                  <a:pt x="6309049" y="2831816"/>
                </a:lnTo>
                <a:lnTo>
                  <a:pt x="6304599" y="2833982"/>
                </a:lnTo>
                <a:lnTo>
                  <a:pt x="6304708" y="2838529"/>
                </a:lnTo>
                <a:lnTo>
                  <a:pt x="6301670" y="2838096"/>
                </a:lnTo>
                <a:lnTo>
                  <a:pt x="6299500" y="2834848"/>
                </a:lnTo>
                <a:lnTo>
                  <a:pt x="6298197" y="2826727"/>
                </a:lnTo>
                <a:lnTo>
                  <a:pt x="6299391" y="2824562"/>
                </a:lnTo>
                <a:lnTo>
                  <a:pt x="6298631" y="2817741"/>
                </a:lnTo>
                <a:lnTo>
                  <a:pt x="6301670" y="2816333"/>
                </a:lnTo>
                <a:lnTo>
                  <a:pt x="6301562" y="2807130"/>
                </a:lnTo>
                <a:lnTo>
                  <a:pt x="6304057" y="2807672"/>
                </a:lnTo>
                <a:lnTo>
                  <a:pt x="6305902" y="2803991"/>
                </a:lnTo>
                <a:lnTo>
                  <a:pt x="6303189" y="2803450"/>
                </a:lnTo>
                <a:lnTo>
                  <a:pt x="6306552" y="2798578"/>
                </a:lnTo>
                <a:lnTo>
                  <a:pt x="6305468" y="2796628"/>
                </a:lnTo>
                <a:lnTo>
                  <a:pt x="6308614" y="2792081"/>
                </a:lnTo>
                <a:lnTo>
                  <a:pt x="6305902" y="2791756"/>
                </a:lnTo>
                <a:lnTo>
                  <a:pt x="6306878" y="2783961"/>
                </a:lnTo>
                <a:lnTo>
                  <a:pt x="6306880" y="2783956"/>
                </a:lnTo>
                <a:lnTo>
                  <a:pt x="6306988" y="2783095"/>
                </a:lnTo>
                <a:lnTo>
                  <a:pt x="6304708" y="2787967"/>
                </a:lnTo>
                <a:lnTo>
                  <a:pt x="6304166" y="2795005"/>
                </a:lnTo>
                <a:lnTo>
                  <a:pt x="6301886" y="2787643"/>
                </a:lnTo>
                <a:lnTo>
                  <a:pt x="6301670" y="2780713"/>
                </a:lnTo>
                <a:lnTo>
                  <a:pt x="6300042" y="2777898"/>
                </a:lnTo>
                <a:lnTo>
                  <a:pt x="6299825" y="2775516"/>
                </a:lnTo>
                <a:lnTo>
                  <a:pt x="6301670" y="2776275"/>
                </a:lnTo>
                <a:lnTo>
                  <a:pt x="6303515" y="2774650"/>
                </a:lnTo>
                <a:lnTo>
                  <a:pt x="6306336" y="2769886"/>
                </a:lnTo>
                <a:lnTo>
                  <a:pt x="6306336" y="2765988"/>
                </a:lnTo>
                <a:lnTo>
                  <a:pt x="6304925" y="2764690"/>
                </a:lnTo>
                <a:lnTo>
                  <a:pt x="6305685" y="2758410"/>
                </a:lnTo>
                <a:lnTo>
                  <a:pt x="6307312" y="2757652"/>
                </a:lnTo>
                <a:lnTo>
                  <a:pt x="6308507" y="2754837"/>
                </a:lnTo>
                <a:lnTo>
                  <a:pt x="6306228" y="2748341"/>
                </a:lnTo>
                <a:lnTo>
                  <a:pt x="6309592" y="2745742"/>
                </a:lnTo>
                <a:lnTo>
                  <a:pt x="6306011" y="2741952"/>
                </a:lnTo>
                <a:lnTo>
                  <a:pt x="6303732" y="2738596"/>
                </a:lnTo>
                <a:lnTo>
                  <a:pt x="6303515" y="2732425"/>
                </a:lnTo>
                <a:lnTo>
                  <a:pt x="6305143" y="2730042"/>
                </a:lnTo>
                <a:lnTo>
                  <a:pt x="6303732" y="2725712"/>
                </a:lnTo>
                <a:lnTo>
                  <a:pt x="6301345" y="2723980"/>
                </a:lnTo>
                <a:lnTo>
                  <a:pt x="6299717" y="2709363"/>
                </a:lnTo>
                <a:lnTo>
                  <a:pt x="6296461" y="2706440"/>
                </a:lnTo>
                <a:lnTo>
                  <a:pt x="6295376" y="2701351"/>
                </a:lnTo>
                <a:lnTo>
                  <a:pt x="6291904" y="2695613"/>
                </a:lnTo>
                <a:lnTo>
                  <a:pt x="6291035" y="2703191"/>
                </a:lnTo>
                <a:lnTo>
                  <a:pt x="6289624" y="2704274"/>
                </a:lnTo>
                <a:lnTo>
                  <a:pt x="6289733" y="2700052"/>
                </a:lnTo>
                <a:lnTo>
                  <a:pt x="6287562" y="2695721"/>
                </a:lnTo>
                <a:lnTo>
                  <a:pt x="6287997" y="2685327"/>
                </a:lnTo>
                <a:lnTo>
                  <a:pt x="6284525" y="2681105"/>
                </a:lnTo>
                <a:lnTo>
                  <a:pt x="6284198" y="2676340"/>
                </a:lnTo>
                <a:lnTo>
                  <a:pt x="6285935" y="2674500"/>
                </a:lnTo>
                <a:lnTo>
                  <a:pt x="6279967" y="2671036"/>
                </a:lnTo>
                <a:lnTo>
                  <a:pt x="6279858" y="2662807"/>
                </a:lnTo>
                <a:lnTo>
                  <a:pt x="6278121" y="2662590"/>
                </a:lnTo>
                <a:lnTo>
                  <a:pt x="6276168" y="2644834"/>
                </a:lnTo>
                <a:lnTo>
                  <a:pt x="6273347" y="2642885"/>
                </a:lnTo>
                <a:lnTo>
                  <a:pt x="6272371" y="2638446"/>
                </a:lnTo>
                <a:lnTo>
                  <a:pt x="6274215" y="2637688"/>
                </a:lnTo>
                <a:lnTo>
                  <a:pt x="6274215" y="2634765"/>
                </a:lnTo>
                <a:lnTo>
                  <a:pt x="6271285" y="2629243"/>
                </a:lnTo>
                <a:lnTo>
                  <a:pt x="6272588" y="2627077"/>
                </a:lnTo>
                <a:lnTo>
                  <a:pt x="6272695" y="2624371"/>
                </a:lnTo>
                <a:lnTo>
                  <a:pt x="6271177" y="2627186"/>
                </a:lnTo>
                <a:lnTo>
                  <a:pt x="6267921" y="2628485"/>
                </a:lnTo>
                <a:lnTo>
                  <a:pt x="6263689" y="2628485"/>
                </a:lnTo>
                <a:lnTo>
                  <a:pt x="6262495" y="2622747"/>
                </a:lnTo>
                <a:lnTo>
                  <a:pt x="6260433" y="2620148"/>
                </a:lnTo>
                <a:lnTo>
                  <a:pt x="6255767" y="2610945"/>
                </a:lnTo>
                <a:lnTo>
                  <a:pt x="6254791" y="2608455"/>
                </a:lnTo>
                <a:lnTo>
                  <a:pt x="6252512" y="2608238"/>
                </a:lnTo>
                <a:lnTo>
                  <a:pt x="6252512" y="2605531"/>
                </a:lnTo>
                <a:lnTo>
                  <a:pt x="6248172" y="2603041"/>
                </a:lnTo>
                <a:lnTo>
                  <a:pt x="6250885" y="2606073"/>
                </a:lnTo>
                <a:lnTo>
                  <a:pt x="6250016" y="2607697"/>
                </a:lnTo>
                <a:lnTo>
                  <a:pt x="6249582" y="2610404"/>
                </a:lnTo>
                <a:lnTo>
                  <a:pt x="6252295" y="2612461"/>
                </a:lnTo>
                <a:lnTo>
                  <a:pt x="6251752" y="2617333"/>
                </a:lnTo>
                <a:lnTo>
                  <a:pt x="6249582" y="2619606"/>
                </a:lnTo>
                <a:lnTo>
                  <a:pt x="6250559" y="2622530"/>
                </a:lnTo>
                <a:lnTo>
                  <a:pt x="6244373" y="2627618"/>
                </a:lnTo>
                <a:lnTo>
                  <a:pt x="6240358" y="2626861"/>
                </a:lnTo>
                <a:lnTo>
                  <a:pt x="6237645" y="2623396"/>
                </a:lnTo>
                <a:lnTo>
                  <a:pt x="6236017" y="2623396"/>
                </a:lnTo>
                <a:lnTo>
                  <a:pt x="6237862" y="2627186"/>
                </a:lnTo>
                <a:lnTo>
                  <a:pt x="6237428" y="2628810"/>
                </a:lnTo>
                <a:lnTo>
                  <a:pt x="6241226" y="2629892"/>
                </a:lnTo>
                <a:lnTo>
                  <a:pt x="6236017" y="2633032"/>
                </a:lnTo>
                <a:lnTo>
                  <a:pt x="6232653" y="2633032"/>
                </a:lnTo>
                <a:lnTo>
                  <a:pt x="6230266" y="2631408"/>
                </a:lnTo>
                <a:lnTo>
                  <a:pt x="6228964" y="2635522"/>
                </a:lnTo>
                <a:lnTo>
                  <a:pt x="6219414" y="2642018"/>
                </a:lnTo>
                <a:lnTo>
                  <a:pt x="6214748" y="2641477"/>
                </a:lnTo>
                <a:lnTo>
                  <a:pt x="6213989" y="2642560"/>
                </a:lnTo>
                <a:lnTo>
                  <a:pt x="6211493" y="2642560"/>
                </a:lnTo>
                <a:lnTo>
                  <a:pt x="6211276" y="2641261"/>
                </a:lnTo>
                <a:lnTo>
                  <a:pt x="6210733" y="2643643"/>
                </a:lnTo>
                <a:lnTo>
                  <a:pt x="6208346" y="2644184"/>
                </a:lnTo>
                <a:lnTo>
                  <a:pt x="6205633" y="2640720"/>
                </a:lnTo>
                <a:lnTo>
                  <a:pt x="6199122" y="2644184"/>
                </a:lnTo>
                <a:lnTo>
                  <a:pt x="6198471" y="2647432"/>
                </a:lnTo>
                <a:lnTo>
                  <a:pt x="6195758" y="2647540"/>
                </a:lnTo>
                <a:lnTo>
                  <a:pt x="6195758" y="2641153"/>
                </a:lnTo>
                <a:lnTo>
                  <a:pt x="6202052" y="2635089"/>
                </a:lnTo>
                <a:lnTo>
                  <a:pt x="6202377" y="2627402"/>
                </a:lnTo>
                <a:lnTo>
                  <a:pt x="6199447" y="2634440"/>
                </a:lnTo>
                <a:lnTo>
                  <a:pt x="6194456" y="2638771"/>
                </a:lnTo>
                <a:lnTo>
                  <a:pt x="6190874" y="2644509"/>
                </a:lnTo>
                <a:lnTo>
                  <a:pt x="6190332" y="2642344"/>
                </a:lnTo>
                <a:lnTo>
                  <a:pt x="6190983" y="2640611"/>
                </a:lnTo>
                <a:lnTo>
                  <a:pt x="6189572" y="2635522"/>
                </a:lnTo>
                <a:lnTo>
                  <a:pt x="6193479" y="2611811"/>
                </a:lnTo>
                <a:lnTo>
                  <a:pt x="6198905" y="2608455"/>
                </a:lnTo>
                <a:lnTo>
                  <a:pt x="6196734" y="2606289"/>
                </a:lnTo>
                <a:lnTo>
                  <a:pt x="6192394" y="2595787"/>
                </a:lnTo>
                <a:lnTo>
                  <a:pt x="6191959" y="2586476"/>
                </a:lnTo>
                <a:lnTo>
                  <a:pt x="6189572" y="2585284"/>
                </a:lnTo>
                <a:lnTo>
                  <a:pt x="6188161" y="2582794"/>
                </a:lnTo>
                <a:lnTo>
                  <a:pt x="6189572" y="2581929"/>
                </a:lnTo>
                <a:lnTo>
                  <a:pt x="6186100" y="2579221"/>
                </a:lnTo>
                <a:lnTo>
                  <a:pt x="6184364" y="2572401"/>
                </a:lnTo>
                <a:lnTo>
                  <a:pt x="6181542" y="2568719"/>
                </a:lnTo>
                <a:lnTo>
                  <a:pt x="6179805" y="2564930"/>
                </a:lnTo>
                <a:lnTo>
                  <a:pt x="6179805" y="2560815"/>
                </a:lnTo>
                <a:lnTo>
                  <a:pt x="6174054" y="2557243"/>
                </a:lnTo>
                <a:lnTo>
                  <a:pt x="6176007" y="2561141"/>
                </a:lnTo>
                <a:lnTo>
                  <a:pt x="6177092" y="2569478"/>
                </a:lnTo>
                <a:lnTo>
                  <a:pt x="6168194" y="2566987"/>
                </a:lnTo>
                <a:lnTo>
                  <a:pt x="6164071" y="2561898"/>
                </a:lnTo>
                <a:lnTo>
                  <a:pt x="6163745" y="2559192"/>
                </a:lnTo>
                <a:lnTo>
                  <a:pt x="6159187" y="2555186"/>
                </a:lnTo>
                <a:lnTo>
                  <a:pt x="6158645" y="2552695"/>
                </a:lnTo>
                <a:lnTo>
                  <a:pt x="6162985" y="2553020"/>
                </a:lnTo>
                <a:lnTo>
                  <a:pt x="6164614" y="2556593"/>
                </a:lnTo>
                <a:lnTo>
                  <a:pt x="6168194" y="2558434"/>
                </a:lnTo>
                <a:lnTo>
                  <a:pt x="6169605" y="2556809"/>
                </a:lnTo>
                <a:lnTo>
                  <a:pt x="6168194" y="2556160"/>
                </a:lnTo>
                <a:lnTo>
                  <a:pt x="6164830" y="2552803"/>
                </a:lnTo>
                <a:lnTo>
                  <a:pt x="6168411" y="2550746"/>
                </a:lnTo>
                <a:lnTo>
                  <a:pt x="6171124" y="2553453"/>
                </a:lnTo>
                <a:lnTo>
                  <a:pt x="6174054" y="2552370"/>
                </a:lnTo>
                <a:lnTo>
                  <a:pt x="6173837" y="2548364"/>
                </a:lnTo>
                <a:lnTo>
                  <a:pt x="6169171" y="2541435"/>
                </a:lnTo>
                <a:lnTo>
                  <a:pt x="6161683" y="2540028"/>
                </a:lnTo>
                <a:lnTo>
                  <a:pt x="6159730" y="2536996"/>
                </a:lnTo>
                <a:lnTo>
                  <a:pt x="6155606" y="2536238"/>
                </a:lnTo>
                <a:lnTo>
                  <a:pt x="6154413" y="2533207"/>
                </a:lnTo>
                <a:lnTo>
                  <a:pt x="6153979" y="2536238"/>
                </a:lnTo>
                <a:lnTo>
                  <a:pt x="6149638" y="2536780"/>
                </a:lnTo>
                <a:lnTo>
                  <a:pt x="6149204" y="2534831"/>
                </a:lnTo>
                <a:lnTo>
                  <a:pt x="6152894" y="2530608"/>
                </a:lnTo>
                <a:lnTo>
                  <a:pt x="6148336" y="2531041"/>
                </a:lnTo>
                <a:lnTo>
                  <a:pt x="6144538" y="2527901"/>
                </a:lnTo>
                <a:lnTo>
                  <a:pt x="6144538" y="2530175"/>
                </a:lnTo>
                <a:lnTo>
                  <a:pt x="6146925" y="2534289"/>
                </a:lnTo>
                <a:lnTo>
                  <a:pt x="6136290" y="2524762"/>
                </a:lnTo>
                <a:lnTo>
                  <a:pt x="6134446" y="2518482"/>
                </a:lnTo>
                <a:lnTo>
                  <a:pt x="6132058" y="2513501"/>
                </a:lnTo>
                <a:lnTo>
                  <a:pt x="6131951" y="2513609"/>
                </a:lnTo>
                <a:lnTo>
                  <a:pt x="6131951" y="2513609"/>
                </a:lnTo>
                <a:lnTo>
                  <a:pt x="6131517" y="2514150"/>
                </a:lnTo>
                <a:lnTo>
                  <a:pt x="6132602" y="2519997"/>
                </a:lnTo>
                <a:lnTo>
                  <a:pt x="6131842" y="2520430"/>
                </a:lnTo>
                <a:lnTo>
                  <a:pt x="6128479" y="2511985"/>
                </a:lnTo>
                <a:lnTo>
                  <a:pt x="6124137" y="2505813"/>
                </a:lnTo>
                <a:lnTo>
                  <a:pt x="6122075" y="2503215"/>
                </a:lnTo>
                <a:lnTo>
                  <a:pt x="6123378" y="2500400"/>
                </a:lnTo>
                <a:lnTo>
                  <a:pt x="6123595" y="2496503"/>
                </a:lnTo>
                <a:lnTo>
                  <a:pt x="6122835" y="2498560"/>
                </a:lnTo>
                <a:lnTo>
                  <a:pt x="6119906" y="2501266"/>
                </a:lnTo>
                <a:lnTo>
                  <a:pt x="6119038" y="2499750"/>
                </a:lnTo>
                <a:lnTo>
                  <a:pt x="6120339" y="2492713"/>
                </a:lnTo>
                <a:lnTo>
                  <a:pt x="6118712" y="2491630"/>
                </a:lnTo>
                <a:lnTo>
                  <a:pt x="6119797" y="2486217"/>
                </a:lnTo>
                <a:lnTo>
                  <a:pt x="6119906" y="2482968"/>
                </a:lnTo>
                <a:lnTo>
                  <a:pt x="6116867" y="2480911"/>
                </a:lnTo>
                <a:lnTo>
                  <a:pt x="6109488" y="2464454"/>
                </a:lnTo>
                <a:lnTo>
                  <a:pt x="6107426" y="2464454"/>
                </a:lnTo>
                <a:lnTo>
                  <a:pt x="6107643" y="2465862"/>
                </a:lnTo>
                <a:lnTo>
                  <a:pt x="6106015" y="2465212"/>
                </a:lnTo>
                <a:lnTo>
                  <a:pt x="6101458" y="2467919"/>
                </a:lnTo>
                <a:lnTo>
                  <a:pt x="6092993" y="2463913"/>
                </a:lnTo>
                <a:lnTo>
                  <a:pt x="6092126" y="2462289"/>
                </a:lnTo>
                <a:lnTo>
                  <a:pt x="6089304" y="2462505"/>
                </a:lnTo>
                <a:lnTo>
                  <a:pt x="6085072" y="2458499"/>
                </a:lnTo>
                <a:lnTo>
                  <a:pt x="6083009" y="2451461"/>
                </a:lnTo>
                <a:lnTo>
                  <a:pt x="6083878" y="2459799"/>
                </a:lnTo>
                <a:lnTo>
                  <a:pt x="6087242" y="2464671"/>
                </a:lnTo>
                <a:lnTo>
                  <a:pt x="6086482" y="2467161"/>
                </a:lnTo>
                <a:lnTo>
                  <a:pt x="6081599" y="2469001"/>
                </a:lnTo>
                <a:lnTo>
                  <a:pt x="6084638" y="2470193"/>
                </a:lnTo>
                <a:lnTo>
                  <a:pt x="6087893" y="2475498"/>
                </a:lnTo>
                <a:lnTo>
                  <a:pt x="6087458" y="2481885"/>
                </a:lnTo>
                <a:lnTo>
                  <a:pt x="6082792" y="2483726"/>
                </a:lnTo>
                <a:lnTo>
                  <a:pt x="6078995" y="2490872"/>
                </a:lnTo>
                <a:lnTo>
                  <a:pt x="6075197" y="2488274"/>
                </a:lnTo>
                <a:lnTo>
                  <a:pt x="6077475" y="2484160"/>
                </a:lnTo>
                <a:lnTo>
                  <a:pt x="6079537" y="2483293"/>
                </a:lnTo>
                <a:lnTo>
                  <a:pt x="6080514" y="2481128"/>
                </a:lnTo>
                <a:lnTo>
                  <a:pt x="6077150" y="2482752"/>
                </a:lnTo>
                <a:lnTo>
                  <a:pt x="6074220" y="2487624"/>
                </a:lnTo>
                <a:lnTo>
                  <a:pt x="6071073" y="2483185"/>
                </a:lnTo>
                <a:lnTo>
                  <a:pt x="6073460" y="2475173"/>
                </a:lnTo>
                <a:lnTo>
                  <a:pt x="6073460" y="2473657"/>
                </a:lnTo>
                <a:lnTo>
                  <a:pt x="6071724" y="2471600"/>
                </a:lnTo>
                <a:lnTo>
                  <a:pt x="6072809" y="2473765"/>
                </a:lnTo>
                <a:lnTo>
                  <a:pt x="6070964" y="2476797"/>
                </a:lnTo>
                <a:lnTo>
                  <a:pt x="6070422" y="2481669"/>
                </a:lnTo>
                <a:lnTo>
                  <a:pt x="6069120" y="2481777"/>
                </a:lnTo>
                <a:lnTo>
                  <a:pt x="6071616" y="2487407"/>
                </a:lnTo>
                <a:lnTo>
                  <a:pt x="6071290" y="2491630"/>
                </a:lnTo>
                <a:lnTo>
                  <a:pt x="6068903" y="2492929"/>
                </a:lnTo>
                <a:lnTo>
                  <a:pt x="6068577" y="2492280"/>
                </a:lnTo>
                <a:lnTo>
                  <a:pt x="6065430" y="2490223"/>
                </a:lnTo>
                <a:lnTo>
                  <a:pt x="6063368" y="2491089"/>
                </a:lnTo>
                <a:lnTo>
                  <a:pt x="6062283" y="2494554"/>
                </a:lnTo>
                <a:lnTo>
                  <a:pt x="6059462" y="2494554"/>
                </a:lnTo>
                <a:lnTo>
                  <a:pt x="6058485" y="2492388"/>
                </a:lnTo>
                <a:lnTo>
                  <a:pt x="6056640" y="2487732"/>
                </a:lnTo>
                <a:lnTo>
                  <a:pt x="6054253" y="2488490"/>
                </a:lnTo>
                <a:lnTo>
                  <a:pt x="6053631" y="2481466"/>
                </a:lnTo>
                <a:lnTo>
                  <a:pt x="6054252" y="2488489"/>
                </a:lnTo>
                <a:lnTo>
                  <a:pt x="6053167" y="2488923"/>
                </a:lnTo>
                <a:lnTo>
                  <a:pt x="6055880" y="2494336"/>
                </a:lnTo>
                <a:lnTo>
                  <a:pt x="6053385" y="2498667"/>
                </a:lnTo>
                <a:lnTo>
                  <a:pt x="6049586" y="2494661"/>
                </a:lnTo>
                <a:lnTo>
                  <a:pt x="6049586" y="2497260"/>
                </a:lnTo>
                <a:lnTo>
                  <a:pt x="6046981" y="2495852"/>
                </a:lnTo>
                <a:lnTo>
                  <a:pt x="6045354" y="2490439"/>
                </a:lnTo>
                <a:lnTo>
                  <a:pt x="6044377" y="2487732"/>
                </a:lnTo>
                <a:lnTo>
                  <a:pt x="6043726" y="2489680"/>
                </a:lnTo>
                <a:lnTo>
                  <a:pt x="6043075" y="2492496"/>
                </a:lnTo>
                <a:lnTo>
                  <a:pt x="6042532" y="2491305"/>
                </a:lnTo>
                <a:lnTo>
                  <a:pt x="6041664" y="2492929"/>
                </a:lnTo>
                <a:lnTo>
                  <a:pt x="6037866" y="2492929"/>
                </a:lnTo>
                <a:lnTo>
                  <a:pt x="6037432" y="2493686"/>
                </a:lnTo>
                <a:lnTo>
                  <a:pt x="6033526" y="2492387"/>
                </a:lnTo>
                <a:lnTo>
                  <a:pt x="6032223" y="2486432"/>
                </a:lnTo>
                <a:lnTo>
                  <a:pt x="6033200" y="2482751"/>
                </a:lnTo>
                <a:lnTo>
                  <a:pt x="6029619" y="2479611"/>
                </a:lnTo>
                <a:lnTo>
                  <a:pt x="6025495" y="2479611"/>
                </a:lnTo>
                <a:lnTo>
                  <a:pt x="6025821" y="2480911"/>
                </a:lnTo>
                <a:lnTo>
                  <a:pt x="6028643" y="2481668"/>
                </a:lnTo>
                <a:lnTo>
                  <a:pt x="6030487" y="2483834"/>
                </a:lnTo>
                <a:lnTo>
                  <a:pt x="6029077" y="2485241"/>
                </a:lnTo>
                <a:lnTo>
                  <a:pt x="6027666" y="2488598"/>
                </a:lnTo>
                <a:lnTo>
                  <a:pt x="6027231" y="2491954"/>
                </a:lnTo>
                <a:lnTo>
                  <a:pt x="6023759" y="2495960"/>
                </a:lnTo>
                <a:lnTo>
                  <a:pt x="6008892" y="2501374"/>
                </a:lnTo>
                <a:lnTo>
                  <a:pt x="6006397" y="2503539"/>
                </a:lnTo>
                <a:lnTo>
                  <a:pt x="6005312" y="2507112"/>
                </a:lnTo>
                <a:lnTo>
                  <a:pt x="6003032" y="2511768"/>
                </a:lnTo>
                <a:lnTo>
                  <a:pt x="6003792" y="2514691"/>
                </a:lnTo>
                <a:lnTo>
                  <a:pt x="6006397" y="2519672"/>
                </a:lnTo>
                <a:lnTo>
                  <a:pt x="6006071" y="2521188"/>
                </a:lnTo>
                <a:lnTo>
                  <a:pt x="6007590" y="2521945"/>
                </a:lnTo>
                <a:lnTo>
                  <a:pt x="6002164" y="2526601"/>
                </a:lnTo>
                <a:lnTo>
                  <a:pt x="6000971" y="2530931"/>
                </a:lnTo>
                <a:lnTo>
                  <a:pt x="5998366" y="2531148"/>
                </a:lnTo>
                <a:lnTo>
                  <a:pt x="5999451" y="2534180"/>
                </a:lnTo>
                <a:lnTo>
                  <a:pt x="5990661" y="2540351"/>
                </a:lnTo>
                <a:lnTo>
                  <a:pt x="5990228" y="2543383"/>
                </a:lnTo>
                <a:lnTo>
                  <a:pt x="5977206" y="2550096"/>
                </a:lnTo>
                <a:lnTo>
                  <a:pt x="5975794" y="2548255"/>
                </a:lnTo>
                <a:lnTo>
                  <a:pt x="5975686" y="2545873"/>
                </a:lnTo>
                <a:lnTo>
                  <a:pt x="5974710" y="2544682"/>
                </a:lnTo>
                <a:lnTo>
                  <a:pt x="5972864" y="2544682"/>
                </a:lnTo>
                <a:lnTo>
                  <a:pt x="5968849" y="2547930"/>
                </a:lnTo>
                <a:lnTo>
                  <a:pt x="5966245" y="2548255"/>
                </a:lnTo>
                <a:lnTo>
                  <a:pt x="5965269" y="2554643"/>
                </a:lnTo>
                <a:lnTo>
                  <a:pt x="5969067" y="2553127"/>
                </a:lnTo>
                <a:lnTo>
                  <a:pt x="5970369" y="2551503"/>
                </a:lnTo>
                <a:lnTo>
                  <a:pt x="5972540" y="2552477"/>
                </a:lnTo>
                <a:lnTo>
                  <a:pt x="5956262" y="2566986"/>
                </a:lnTo>
                <a:lnTo>
                  <a:pt x="5952138" y="2578246"/>
                </a:lnTo>
                <a:lnTo>
                  <a:pt x="5930760" y="2595461"/>
                </a:lnTo>
                <a:lnTo>
                  <a:pt x="5927505" y="2601524"/>
                </a:lnTo>
                <a:lnTo>
                  <a:pt x="5922622" y="2606505"/>
                </a:lnTo>
                <a:lnTo>
                  <a:pt x="5913615" y="2609536"/>
                </a:lnTo>
                <a:lnTo>
                  <a:pt x="5906887" y="2615166"/>
                </a:lnTo>
                <a:lnTo>
                  <a:pt x="5906127" y="2620146"/>
                </a:lnTo>
                <a:lnTo>
                  <a:pt x="5907103" y="2625777"/>
                </a:lnTo>
                <a:lnTo>
                  <a:pt x="5903088" y="2631515"/>
                </a:lnTo>
                <a:lnTo>
                  <a:pt x="5897446" y="2635088"/>
                </a:lnTo>
                <a:lnTo>
                  <a:pt x="5886811" y="2633464"/>
                </a:lnTo>
                <a:lnTo>
                  <a:pt x="5882145" y="2637470"/>
                </a:lnTo>
                <a:lnTo>
                  <a:pt x="5882145" y="2642558"/>
                </a:lnTo>
                <a:lnTo>
                  <a:pt x="5875634" y="2650895"/>
                </a:lnTo>
                <a:lnTo>
                  <a:pt x="5871944" y="2650462"/>
                </a:lnTo>
                <a:lnTo>
                  <a:pt x="5869448" y="2646889"/>
                </a:lnTo>
                <a:lnTo>
                  <a:pt x="5867495" y="2646889"/>
                </a:lnTo>
                <a:lnTo>
                  <a:pt x="5859465" y="2654793"/>
                </a:lnTo>
                <a:lnTo>
                  <a:pt x="5857186" y="2659124"/>
                </a:lnTo>
                <a:lnTo>
                  <a:pt x="5857295" y="2667569"/>
                </a:lnTo>
                <a:lnTo>
                  <a:pt x="5861309" y="2679370"/>
                </a:lnTo>
                <a:lnTo>
                  <a:pt x="5857512" y="2683701"/>
                </a:lnTo>
                <a:lnTo>
                  <a:pt x="5858271" y="2690198"/>
                </a:lnTo>
                <a:lnTo>
                  <a:pt x="5858271" y="2708604"/>
                </a:lnTo>
                <a:lnTo>
                  <a:pt x="5864240" y="2710553"/>
                </a:lnTo>
                <a:lnTo>
                  <a:pt x="5865108" y="2722354"/>
                </a:lnTo>
                <a:lnTo>
                  <a:pt x="5859682" y="2738053"/>
                </a:lnTo>
                <a:lnTo>
                  <a:pt x="5853496" y="2748988"/>
                </a:lnTo>
                <a:lnTo>
                  <a:pt x="5853496" y="2758191"/>
                </a:lnTo>
                <a:lnTo>
                  <a:pt x="5855884" y="2761873"/>
                </a:lnTo>
                <a:lnTo>
                  <a:pt x="5857729" y="2781686"/>
                </a:lnTo>
                <a:lnTo>
                  <a:pt x="5857729" y="2787100"/>
                </a:lnTo>
                <a:lnTo>
                  <a:pt x="5853171" y="2788832"/>
                </a:lnTo>
                <a:lnTo>
                  <a:pt x="5850675" y="2787641"/>
                </a:lnTo>
                <a:lnTo>
                  <a:pt x="5844381" y="2788615"/>
                </a:lnTo>
                <a:lnTo>
                  <a:pt x="5841668" y="2793379"/>
                </a:lnTo>
                <a:lnTo>
                  <a:pt x="5842862" y="2795328"/>
                </a:lnTo>
                <a:lnTo>
                  <a:pt x="5836676" y="2803448"/>
                </a:lnTo>
                <a:lnTo>
                  <a:pt x="5834506" y="2806156"/>
                </a:lnTo>
                <a:lnTo>
                  <a:pt x="5835266" y="2809295"/>
                </a:lnTo>
                <a:lnTo>
                  <a:pt x="5843079" y="2813193"/>
                </a:lnTo>
                <a:lnTo>
                  <a:pt x="5843948" y="2814601"/>
                </a:lnTo>
                <a:lnTo>
                  <a:pt x="5844055" y="2816333"/>
                </a:lnTo>
                <a:lnTo>
                  <a:pt x="5843079" y="2814168"/>
                </a:lnTo>
                <a:lnTo>
                  <a:pt x="5839389" y="2812760"/>
                </a:lnTo>
                <a:lnTo>
                  <a:pt x="5829080" y="2816333"/>
                </a:lnTo>
                <a:lnTo>
                  <a:pt x="5827452" y="2816117"/>
                </a:lnTo>
                <a:lnTo>
                  <a:pt x="5819205" y="2819797"/>
                </a:lnTo>
                <a:lnTo>
                  <a:pt x="5816493" y="2824020"/>
                </a:lnTo>
                <a:lnTo>
                  <a:pt x="5816058" y="2826619"/>
                </a:lnTo>
                <a:lnTo>
                  <a:pt x="5814973" y="2827701"/>
                </a:lnTo>
                <a:lnTo>
                  <a:pt x="5816058" y="2829433"/>
                </a:lnTo>
                <a:lnTo>
                  <a:pt x="5813888" y="2835821"/>
                </a:lnTo>
                <a:lnTo>
                  <a:pt x="5804556" y="2841560"/>
                </a:lnTo>
                <a:lnTo>
                  <a:pt x="5796742" y="2840802"/>
                </a:lnTo>
                <a:lnTo>
                  <a:pt x="5789472" y="2835821"/>
                </a:lnTo>
                <a:lnTo>
                  <a:pt x="5782418" y="2827485"/>
                </a:lnTo>
                <a:lnTo>
                  <a:pt x="5773954" y="2809836"/>
                </a:lnTo>
                <a:lnTo>
                  <a:pt x="5773412" y="2799876"/>
                </a:lnTo>
                <a:lnTo>
                  <a:pt x="5770915" y="2790889"/>
                </a:lnTo>
                <a:lnTo>
                  <a:pt x="5765489" y="2780928"/>
                </a:lnTo>
                <a:lnTo>
                  <a:pt x="5765489" y="2776489"/>
                </a:lnTo>
                <a:lnTo>
                  <a:pt x="5763427" y="2776273"/>
                </a:lnTo>
                <a:lnTo>
                  <a:pt x="5761149" y="2769560"/>
                </a:lnTo>
                <a:lnTo>
                  <a:pt x="5758978" y="2761440"/>
                </a:lnTo>
                <a:lnTo>
                  <a:pt x="5751925" y="2753320"/>
                </a:lnTo>
                <a:lnTo>
                  <a:pt x="5747692" y="2746714"/>
                </a:lnTo>
                <a:lnTo>
                  <a:pt x="5745956" y="2746498"/>
                </a:lnTo>
                <a:lnTo>
                  <a:pt x="5739446" y="2739569"/>
                </a:lnTo>
                <a:lnTo>
                  <a:pt x="5736515" y="2733506"/>
                </a:lnTo>
                <a:lnTo>
                  <a:pt x="5734345" y="2731449"/>
                </a:lnTo>
                <a:lnTo>
                  <a:pt x="5733585" y="2721596"/>
                </a:lnTo>
                <a:lnTo>
                  <a:pt x="5730872" y="2717482"/>
                </a:lnTo>
                <a:lnTo>
                  <a:pt x="5726749" y="2706547"/>
                </a:lnTo>
                <a:lnTo>
                  <a:pt x="5725555" y="2699184"/>
                </a:lnTo>
                <a:lnTo>
                  <a:pt x="5722951" y="2693987"/>
                </a:lnTo>
                <a:lnTo>
                  <a:pt x="5720455" y="2690198"/>
                </a:lnTo>
                <a:lnTo>
                  <a:pt x="5719912" y="2681536"/>
                </a:lnTo>
                <a:lnTo>
                  <a:pt x="5718393" y="2681103"/>
                </a:lnTo>
                <a:lnTo>
                  <a:pt x="5712317" y="2674066"/>
                </a:lnTo>
                <a:lnTo>
                  <a:pt x="5712317" y="2671358"/>
                </a:lnTo>
                <a:lnTo>
                  <a:pt x="5710689" y="2671034"/>
                </a:lnTo>
                <a:lnTo>
                  <a:pt x="5705045" y="2660964"/>
                </a:lnTo>
                <a:lnTo>
                  <a:pt x="5704829" y="2657825"/>
                </a:lnTo>
                <a:lnTo>
                  <a:pt x="5701790" y="2656092"/>
                </a:lnTo>
                <a:lnTo>
                  <a:pt x="5699945" y="2649055"/>
                </a:lnTo>
                <a:lnTo>
                  <a:pt x="5696039" y="2646456"/>
                </a:lnTo>
                <a:lnTo>
                  <a:pt x="5692240" y="2636279"/>
                </a:lnTo>
                <a:lnTo>
                  <a:pt x="5692024" y="2622854"/>
                </a:lnTo>
                <a:lnTo>
                  <a:pt x="5681931" y="2603256"/>
                </a:lnTo>
                <a:lnTo>
                  <a:pt x="5681931" y="2596760"/>
                </a:lnTo>
                <a:lnTo>
                  <a:pt x="5677374" y="2589831"/>
                </a:lnTo>
                <a:lnTo>
                  <a:pt x="5682582" y="2589506"/>
                </a:lnTo>
                <a:lnTo>
                  <a:pt x="5675529" y="2580520"/>
                </a:lnTo>
                <a:lnTo>
                  <a:pt x="5675747" y="2575431"/>
                </a:lnTo>
                <a:lnTo>
                  <a:pt x="5679002" y="2574673"/>
                </a:lnTo>
                <a:lnTo>
                  <a:pt x="5676506" y="2571208"/>
                </a:lnTo>
                <a:lnTo>
                  <a:pt x="5676072" y="2566986"/>
                </a:lnTo>
                <a:lnTo>
                  <a:pt x="5668910" y="2553993"/>
                </a:lnTo>
                <a:lnTo>
                  <a:pt x="5667824" y="2545765"/>
                </a:lnTo>
                <a:lnTo>
                  <a:pt x="5672165" y="2543708"/>
                </a:lnTo>
                <a:lnTo>
                  <a:pt x="5668367" y="2541433"/>
                </a:lnTo>
                <a:lnTo>
                  <a:pt x="5668150" y="2537320"/>
                </a:lnTo>
                <a:lnTo>
                  <a:pt x="5670754" y="2531906"/>
                </a:lnTo>
                <a:lnTo>
                  <a:pt x="5670212" y="2525085"/>
                </a:lnTo>
                <a:lnTo>
                  <a:pt x="5667933" y="2518156"/>
                </a:lnTo>
                <a:lnTo>
                  <a:pt x="5665220" y="2516423"/>
                </a:lnTo>
                <a:lnTo>
                  <a:pt x="5663158" y="2505163"/>
                </a:lnTo>
                <a:lnTo>
                  <a:pt x="5668259" y="2501915"/>
                </a:lnTo>
                <a:lnTo>
                  <a:pt x="5670104" y="2499317"/>
                </a:lnTo>
                <a:lnTo>
                  <a:pt x="5674010" y="2499317"/>
                </a:lnTo>
                <a:lnTo>
                  <a:pt x="5669886" y="2498342"/>
                </a:lnTo>
                <a:lnTo>
                  <a:pt x="5664243" y="2499208"/>
                </a:lnTo>
                <a:lnTo>
                  <a:pt x="5661205" y="2498992"/>
                </a:lnTo>
                <a:lnTo>
                  <a:pt x="5661856" y="2494444"/>
                </a:lnTo>
                <a:lnTo>
                  <a:pt x="5659577" y="2490546"/>
                </a:lnTo>
                <a:lnTo>
                  <a:pt x="5660336" y="2485891"/>
                </a:lnTo>
                <a:lnTo>
                  <a:pt x="5661639" y="2484917"/>
                </a:lnTo>
                <a:lnTo>
                  <a:pt x="5664786" y="2485566"/>
                </a:lnTo>
                <a:lnTo>
                  <a:pt x="5668692" y="2481668"/>
                </a:lnTo>
                <a:lnTo>
                  <a:pt x="5670646" y="2478637"/>
                </a:lnTo>
                <a:lnTo>
                  <a:pt x="5666414" y="2481127"/>
                </a:lnTo>
                <a:lnTo>
                  <a:pt x="5663484" y="2479828"/>
                </a:lnTo>
                <a:lnTo>
                  <a:pt x="5657732" y="2480586"/>
                </a:lnTo>
                <a:lnTo>
                  <a:pt x="5655997" y="2476688"/>
                </a:lnTo>
                <a:lnTo>
                  <a:pt x="5655345" y="2479611"/>
                </a:lnTo>
                <a:lnTo>
                  <a:pt x="5655020" y="2484484"/>
                </a:lnTo>
                <a:lnTo>
                  <a:pt x="5651547" y="2493578"/>
                </a:lnTo>
                <a:lnTo>
                  <a:pt x="5655128" y="2498017"/>
                </a:lnTo>
                <a:lnTo>
                  <a:pt x="5654260" y="2506462"/>
                </a:lnTo>
                <a:lnTo>
                  <a:pt x="5650571" y="2510252"/>
                </a:lnTo>
                <a:lnTo>
                  <a:pt x="5650462" y="2512850"/>
                </a:lnTo>
                <a:lnTo>
                  <a:pt x="5642323" y="2516965"/>
                </a:lnTo>
                <a:lnTo>
                  <a:pt x="5629952" y="2524652"/>
                </a:lnTo>
                <a:lnTo>
                  <a:pt x="5624201" y="2526601"/>
                </a:lnTo>
                <a:lnTo>
                  <a:pt x="5615520" y="2524760"/>
                </a:lnTo>
                <a:lnTo>
                  <a:pt x="5597180" y="2509927"/>
                </a:lnTo>
                <a:lnTo>
                  <a:pt x="5589584" y="2500074"/>
                </a:lnTo>
                <a:lnTo>
                  <a:pt x="5589476" y="2498342"/>
                </a:lnTo>
                <a:lnTo>
                  <a:pt x="5587196" y="2498559"/>
                </a:lnTo>
                <a:lnTo>
                  <a:pt x="5584050" y="2496827"/>
                </a:lnTo>
                <a:lnTo>
                  <a:pt x="5573523" y="2486324"/>
                </a:lnTo>
                <a:lnTo>
                  <a:pt x="5572656" y="2483076"/>
                </a:lnTo>
                <a:lnTo>
                  <a:pt x="5573523" y="2480478"/>
                </a:lnTo>
                <a:lnTo>
                  <a:pt x="5576454" y="2480153"/>
                </a:lnTo>
                <a:lnTo>
                  <a:pt x="5577322" y="2481668"/>
                </a:lnTo>
                <a:lnTo>
                  <a:pt x="5580143" y="2480803"/>
                </a:lnTo>
                <a:lnTo>
                  <a:pt x="5580143" y="2486107"/>
                </a:lnTo>
                <a:lnTo>
                  <a:pt x="5584050" y="2486541"/>
                </a:lnTo>
                <a:lnTo>
                  <a:pt x="5586654" y="2484267"/>
                </a:lnTo>
                <a:lnTo>
                  <a:pt x="5588173" y="2484050"/>
                </a:lnTo>
                <a:lnTo>
                  <a:pt x="5590886" y="2485674"/>
                </a:lnTo>
                <a:lnTo>
                  <a:pt x="5591320" y="2483834"/>
                </a:lnTo>
                <a:lnTo>
                  <a:pt x="5601195" y="2476146"/>
                </a:lnTo>
                <a:lnTo>
                  <a:pt x="5604125" y="2476038"/>
                </a:lnTo>
                <a:lnTo>
                  <a:pt x="5608791" y="2469001"/>
                </a:lnTo>
                <a:lnTo>
                  <a:pt x="5610202" y="2469326"/>
                </a:lnTo>
                <a:lnTo>
                  <a:pt x="5612047" y="2464670"/>
                </a:lnTo>
                <a:lnTo>
                  <a:pt x="5607272" y="2464345"/>
                </a:lnTo>
                <a:lnTo>
                  <a:pt x="5605753" y="2463587"/>
                </a:lnTo>
                <a:lnTo>
                  <a:pt x="5606513" y="2465103"/>
                </a:lnTo>
                <a:lnTo>
                  <a:pt x="5606078" y="2467160"/>
                </a:lnTo>
                <a:lnTo>
                  <a:pt x="5596204" y="2471383"/>
                </a:lnTo>
                <a:lnTo>
                  <a:pt x="5590343" y="2471383"/>
                </a:lnTo>
                <a:lnTo>
                  <a:pt x="5585894" y="2472899"/>
                </a:lnTo>
                <a:lnTo>
                  <a:pt x="5570268" y="2467485"/>
                </a:lnTo>
                <a:lnTo>
                  <a:pt x="5562889" y="2459798"/>
                </a:lnTo>
                <a:lnTo>
                  <a:pt x="5559850" y="2458282"/>
                </a:lnTo>
                <a:lnTo>
                  <a:pt x="5560176" y="2453410"/>
                </a:lnTo>
                <a:lnTo>
                  <a:pt x="5564842" y="2447347"/>
                </a:lnTo>
                <a:lnTo>
                  <a:pt x="5570159" y="2444424"/>
                </a:lnTo>
                <a:lnTo>
                  <a:pt x="5563431" y="2445506"/>
                </a:lnTo>
                <a:lnTo>
                  <a:pt x="5556812" y="2449728"/>
                </a:lnTo>
                <a:lnTo>
                  <a:pt x="5556812" y="2449729"/>
                </a:lnTo>
                <a:lnTo>
                  <a:pt x="5552905" y="2452219"/>
                </a:lnTo>
                <a:lnTo>
                  <a:pt x="5553449" y="2449296"/>
                </a:lnTo>
                <a:lnTo>
                  <a:pt x="5544984" y="2445182"/>
                </a:lnTo>
                <a:lnTo>
                  <a:pt x="5538147" y="2445290"/>
                </a:lnTo>
                <a:lnTo>
                  <a:pt x="5533807" y="2445723"/>
                </a:lnTo>
                <a:lnTo>
                  <a:pt x="5532179" y="2440634"/>
                </a:lnTo>
                <a:lnTo>
                  <a:pt x="5530225" y="2440634"/>
                </a:lnTo>
                <a:lnTo>
                  <a:pt x="5528706" y="2440093"/>
                </a:lnTo>
                <a:lnTo>
                  <a:pt x="5530551" y="2438794"/>
                </a:lnTo>
                <a:lnTo>
                  <a:pt x="5530768" y="2435545"/>
                </a:lnTo>
                <a:lnTo>
                  <a:pt x="5529792" y="2434679"/>
                </a:lnTo>
                <a:lnTo>
                  <a:pt x="5528489" y="2426234"/>
                </a:lnTo>
                <a:lnTo>
                  <a:pt x="5523172" y="2420171"/>
                </a:lnTo>
                <a:lnTo>
                  <a:pt x="5523281" y="2415299"/>
                </a:lnTo>
                <a:lnTo>
                  <a:pt x="5516227" y="2418439"/>
                </a:lnTo>
                <a:lnTo>
                  <a:pt x="5512212" y="2418439"/>
                </a:lnTo>
                <a:lnTo>
                  <a:pt x="5512212" y="2416706"/>
                </a:lnTo>
                <a:lnTo>
                  <a:pt x="5513405" y="2416165"/>
                </a:lnTo>
                <a:lnTo>
                  <a:pt x="5512646" y="2415407"/>
                </a:lnTo>
                <a:lnTo>
                  <a:pt x="5513405" y="2411509"/>
                </a:lnTo>
                <a:lnTo>
                  <a:pt x="5511344" y="2406204"/>
                </a:lnTo>
                <a:lnTo>
                  <a:pt x="5506352" y="2402198"/>
                </a:lnTo>
                <a:lnTo>
                  <a:pt x="5499190" y="2402415"/>
                </a:lnTo>
                <a:lnTo>
                  <a:pt x="5493439" y="2404580"/>
                </a:lnTo>
                <a:lnTo>
                  <a:pt x="5486602" y="2403606"/>
                </a:lnTo>
                <a:lnTo>
                  <a:pt x="5484757" y="2402198"/>
                </a:lnTo>
                <a:lnTo>
                  <a:pt x="5483997" y="2403931"/>
                </a:lnTo>
                <a:lnTo>
                  <a:pt x="5480200" y="2403931"/>
                </a:lnTo>
                <a:lnTo>
                  <a:pt x="5476618" y="2406313"/>
                </a:lnTo>
                <a:lnTo>
                  <a:pt x="5472820" y="2405230"/>
                </a:lnTo>
                <a:lnTo>
                  <a:pt x="5466526" y="2405230"/>
                </a:lnTo>
                <a:lnTo>
                  <a:pt x="5461100" y="2410427"/>
                </a:lnTo>
                <a:lnTo>
                  <a:pt x="5457302" y="2410427"/>
                </a:lnTo>
                <a:lnTo>
                  <a:pt x="5454047" y="2408153"/>
                </a:lnTo>
                <a:lnTo>
                  <a:pt x="5450249" y="2408153"/>
                </a:lnTo>
                <a:lnTo>
                  <a:pt x="5448838" y="2405446"/>
                </a:lnTo>
                <a:lnTo>
                  <a:pt x="5446234" y="2404905"/>
                </a:lnTo>
                <a:lnTo>
                  <a:pt x="5445691" y="2406854"/>
                </a:lnTo>
                <a:lnTo>
                  <a:pt x="5442435" y="2406854"/>
                </a:lnTo>
                <a:lnTo>
                  <a:pt x="5437769" y="2403822"/>
                </a:lnTo>
                <a:lnTo>
                  <a:pt x="5435816" y="2406313"/>
                </a:lnTo>
                <a:lnTo>
                  <a:pt x="5435274" y="2408911"/>
                </a:lnTo>
                <a:lnTo>
                  <a:pt x="5432560" y="2408911"/>
                </a:lnTo>
                <a:lnTo>
                  <a:pt x="5429631" y="2408478"/>
                </a:lnTo>
                <a:lnTo>
                  <a:pt x="5425615" y="2409560"/>
                </a:lnTo>
                <a:lnTo>
                  <a:pt x="5423228" y="2408911"/>
                </a:lnTo>
                <a:lnTo>
                  <a:pt x="5418019" y="2408478"/>
                </a:lnTo>
                <a:lnTo>
                  <a:pt x="5414547" y="2411401"/>
                </a:lnTo>
                <a:lnTo>
                  <a:pt x="5412594" y="2412051"/>
                </a:lnTo>
                <a:lnTo>
                  <a:pt x="5412268" y="2409994"/>
                </a:lnTo>
                <a:lnTo>
                  <a:pt x="5406842" y="2410319"/>
                </a:lnTo>
                <a:lnTo>
                  <a:pt x="5399897" y="2414433"/>
                </a:lnTo>
                <a:lnTo>
                  <a:pt x="5397727" y="2413566"/>
                </a:lnTo>
                <a:lnTo>
                  <a:pt x="5397944" y="2410102"/>
                </a:lnTo>
                <a:lnTo>
                  <a:pt x="5395122" y="2410102"/>
                </a:lnTo>
                <a:lnTo>
                  <a:pt x="5395122" y="2406313"/>
                </a:lnTo>
                <a:lnTo>
                  <a:pt x="5396099" y="2397868"/>
                </a:lnTo>
                <a:lnTo>
                  <a:pt x="5393820" y="2392021"/>
                </a:lnTo>
                <a:lnTo>
                  <a:pt x="5397494" y="2387062"/>
                </a:lnTo>
                <a:lnTo>
                  <a:pt x="5393819" y="2392022"/>
                </a:lnTo>
                <a:lnTo>
                  <a:pt x="5396098" y="2397868"/>
                </a:lnTo>
                <a:lnTo>
                  <a:pt x="5395121" y="2406314"/>
                </a:lnTo>
                <a:lnTo>
                  <a:pt x="5395121" y="2410103"/>
                </a:lnTo>
                <a:lnTo>
                  <a:pt x="5393819" y="2410103"/>
                </a:lnTo>
                <a:lnTo>
                  <a:pt x="5392735" y="2412052"/>
                </a:lnTo>
                <a:lnTo>
                  <a:pt x="5389153" y="2414109"/>
                </a:lnTo>
                <a:lnTo>
                  <a:pt x="5381123" y="2411186"/>
                </a:lnTo>
                <a:lnTo>
                  <a:pt x="5375154" y="2409020"/>
                </a:lnTo>
                <a:lnTo>
                  <a:pt x="5372876" y="2404906"/>
                </a:lnTo>
                <a:lnTo>
                  <a:pt x="5369728" y="2405447"/>
                </a:lnTo>
                <a:lnTo>
                  <a:pt x="5368643" y="2409562"/>
                </a:lnTo>
                <a:lnTo>
                  <a:pt x="5367233" y="2409778"/>
                </a:lnTo>
                <a:lnTo>
                  <a:pt x="5363760" y="2406855"/>
                </a:lnTo>
                <a:lnTo>
                  <a:pt x="5361590" y="2407613"/>
                </a:lnTo>
                <a:lnTo>
                  <a:pt x="5357466" y="2406206"/>
                </a:lnTo>
                <a:lnTo>
                  <a:pt x="5346940" y="2405772"/>
                </a:lnTo>
                <a:lnTo>
                  <a:pt x="5339561" y="2402524"/>
                </a:lnTo>
                <a:lnTo>
                  <a:pt x="5326322" y="2403498"/>
                </a:lnTo>
                <a:lnTo>
                  <a:pt x="5320028" y="2397544"/>
                </a:lnTo>
                <a:lnTo>
                  <a:pt x="5318075" y="2397327"/>
                </a:lnTo>
                <a:lnTo>
                  <a:pt x="5312431" y="2401983"/>
                </a:lnTo>
                <a:lnTo>
                  <a:pt x="5307874" y="2398518"/>
                </a:lnTo>
                <a:lnTo>
                  <a:pt x="5302665" y="2398735"/>
                </a:lnTo>
                <a:lnTo>
                  <a:pt x="5289969" y="2398951"/>
                </a:lnTo>
                <a:lnTo>
                  <a:pt x="5289100" y="2396461"/>
                </a:lnTo>
                <a:lnTo>
                  <a:pt x="5286388" y="2394621"/>
                </a:lnTo>
                <a:lnTo>
                  <a:pt x="5286062" y="2388233"/>
                </a:lnTo>
                <a:lnTo>
                  <a:pt x="5281287" y="2379246"/>
                </a:lnTo>
                <a:lnTo>
                  <a:pt x="5278791" y="2370584"/>
                </a:lnTo>
                <a:lnTo>
                  <a:pt x="5274451" y="2364521"/>
                </a:lnTo>
                <a:lnTo>
                  <a:pt x="5273908" y="2361923"/>
                </a:lnTo>
                <a:lnTo>
                  <a:pt x="5271738" y="2362139"/>
                </a:lnTo>
                <a:lnTo>
                  <a:pt x="5271738" y="2360515"/>
                </a:lnTo>
                <a:lnTo>
                  <a:pt x="5263599" y="2359432"/>
                </a:lnTo>
                <a:lnTo>
                  <a:pt x="5258716" y="2360840"/>
                </a:lnTo>
                <a:lnTo>
                  <a:pt x="5252313" y="2365604"/>
                </a:lnTo>
                <a:lnTo>
                  <a:pt x="5247430" y="2365712"/>
                </a:lnTo>
                <a:lnTo>
                  <a:pt x="5246887" y="2363547"/>
                </a:lnTo>
                <a:lnTo>
                  <a:pt x="5246779" y="2366254"/>
                </a:lnTo>
                <a:lnTo>
                  <a:pt x="5236796" y="2372425"/>
                </a:lnTo>
                <a:lnTo>
                  <a:pt x="5228440" y="2379246"/>
                </a:lnTo>
                <a:lnTo>
                  <a:pt x="5219108" y="2372966"/>
                </a:lnTo>
                <a:lnTo>
                  <a:pt x="5211077" y="2371017"/>
                </a:lnTo>
                <a:lnTo>
                  <a:pt x="5205326" y="2371884"/>
                </a:lnTo>
                <a:lnTo>
                  <a:pt x="5202938" y="2373183"/>
                </a:lnTo>
                <a:lnTo>
                  <a:pt x="5194692" y="2365712"/>
                </a:lnTo>
                <a:lnTo>
                  <a:pt x="5190676" y="2365171"/>
                </a:lnTo>
                <a:lnTo>
                  <a:pt x="5186878" y="2362681"/>
                </a:lnTo>
                <a:lnTo>
                  <a:pt x="5181234" y="2361382"/>
                </a:lnTo>
                <a:lnTo>
                  <a:pt x="5174182" y="2354019"/>
                </a:lnTo>
                <a:lnTo>
                  <a:pt x="5177111" y="2351529"/>
                </a:lnTo>
                <a:lnTo>
                  <a:pt x="5176352" y="2349364"/>
                </a:lnTo>
                <a:lnTo>
                  <a:pt x="5171902" y="2348930"/>
                </a:lnTo>
                <a:lnTo>
                  <a:pt x="5170817" y="2347307"/>
                </a:lnTo>
                <a:lnTo>
                  <a:pt x="5163221" y="2346981"/>
                </a:lnTo>
                <a:lnTo>
                  <a:pt x="5160725" y="2344275"/>
                </a:lnTo>
                <a:lnTo>
                  <a:pt x="5154540" y="2342326"/>
                </a:lnTo>
                <a:lnTo>
                  <a:pt x="5145858" y="2343192"/>
                </a:lnTo>
                <a:lnTo>
                  <a:pt x="5140975" y="2340269"/>
                </a:lnTo>
                <a:lnTo>
                  <a:pt x="5133705" y="2324244"/>
                </a:lnTo>
                <a:lnTo>
                  <a:pt x="5132837" y="2320455"/>
                </a:lnTo>
                <a:lnTo>
                  <a:pt x="5130666" y="2321213"/>
                </a:lnTo>
                <a:lnTo>
                  <a:pt x="5126326" y="2317532"/>
                </a:lnTo>
                <a:lnTo>
                  <a:pt x="5127411" y="2316341"/>
                </a:lnTo>
                <a:lnTo>
                  <a:pt x="5129038" y="2317424"/>
                </a:lnTo>
                <a:lnTo>
                  <a:pt x="5130883" y="2317424"/>
                </a:lnTo>
                <a:lnTo>
                  <a:pt x="5128279" y="2313093"/>
                </a:lnTo>
                <a:lnTo>
                  <a:pt x="5124698" y="2313634"/>
                </a:lnTo>
                <a:lnTo>
                  <a:pt x="5122201" y="2312010"/>
                </a:lnTo>
                <a:lnTo>
                  <a:pt x="5121442" y="2304540"/>
                </a:lnTo>
                <a:lnTo>
                  <a:pt x="5112760" y="2294145"/>
                </a:lnTo>
                <a:lnTo>
                  <a:pt x="5112218" y="2289598"/>
                </a:lnTo>
                <a:lnTo>
                  <a:pt x="5107118" y="2282885"/>
                </a:lnTo>
                <a:lnTo>
                  <a:pt x="5104622" y="2281694"/>
                </a:lnTo>
                <a:lnTo>
                  <a:pt x="5097134" y="2287757"/>
                </a:lnTo>
                <a:lnTo>
                  <a:pt x="5094855" y="2287649"/>
                </a:lnTo>
                <a:lnTo>
                  <a:pt x="5092468" y="2283318"/>
                </a:lnTo>
                <a:lnTo>
                  <a:pt x="5090297" y="2284184"/>
                </a:lnTo>
                <a:lnTo>
                  <a:pt x="5084872" y="2281694"/>
                </a:lnTo>
                <a:lnTo>
                  <a:pt x="5085631" y="2278987"/>
                </a:lnTo>
                <a:lnTo>
                  <a:pt x="5086500" y="2276281"/>
                </a:lnTo>
                <a:lnTo>
                  <a:pt x="5085306" y="2277688"/>
                </a:lnTo>
                <a:lnTo>
                  <a:pt x="5082051" y="2277904"/>
                </a:lnTo>
                <a:lnTo>
                  <a:pt x="5079120" y="2277472"/>
                </a:lnTo>
                <a:lnTo>
                  <a:pt x="5082702" y="2280395"/>
                </a:lnTo>
                <a:lnTo>
                  <a:pt x="5082593" y="2284942"/>
                </a:lnTo>
                <a:lnTo>
                  <a:pt x="5079880" y="2287216"/>
                </a:lnTo>
                <a:lnTo>
                  <a:pt x="5076950" y="2287432"/>
                </a:lnTo>
                <a:lnTo>
                  <a:pt x="5073369" y="2282777"/>
                </a:lnTo>
                <a:lnTo>
                  <a:pt x="5073477" y="2281261"/>
                </a:lnTo>
                <a:lnTo>
                  <a:pt x="5071307" y="2282235"/>
                </a:lnTo>
                <a:lnTo>
                  <a:pt x="5069571" y="2280720"/>
                </a:lnTo>
                <a:lnTo>
                  <a:pt x="5066280" y="2279393"/>
                </a:lnTo>
                <a:lnTo>
                  <a:pt x="5069571" y="2280720"/>
                </a:lnTo>
                <a:lnTo>
                  <a:pt x="5071307" y="2282236"/>
                </a:lnTo>
                <a:lnTo>
                  <a:pt x="5068812" y="2283318"/>
                </a:lnTo>
                <a:lnTo>
                  <a:pt x="5066316" y="2288839"/>
                </a:lnTo>
                <a:lnTo>
                  <a:pt x="5066317" y="2288840"/>
                </a:lnTo>
                <a:lnTo>
                  <a:pt x="5065774" y="2290139"/>
                </a:lnTo>
                <a:lnTo>
                  <a:pt x="5068053" y="2300750"/>
                </a:lnTo>
                <a:lnTo>
                  <a:pt x="5054272" y="2303456"/>
                </a:lnTo>
                <a:lnTo>
                  <a:pt x="5063713" y="2309628"/>
                </a:lnTo>
                <a:lnTo>
                  <a:pt x="5064798" y="2307462"/>
                </a:lnTo>
                <a:lnTo>
                  <a:pt x="5066426" y="2311035"/>
                </a:lnTo>
                <a:lnTo>
                  <a:pt x="5066642" y="2315041"/>
                </a:lnTo>
                <a:lnTo>
                  <a:pt x="5069355" y="2318073"/>
                </a:lnTo>
                <a:lnTo>
                  <a:pt x="5068487" y="2318073"/>
                </a:lnTo>
                <a:lnTo>
                  <a:pt x="5067511" y="2318615"/>
                </a:lnTo>
                <a:lnTo>
                  <a:pt x="5070006" y="2321755"/>
                </a:lnTo>
                <a:lnTo>
                  <a:pt x="5070006" y="2321755"/>
                </a:lnTo>
                <a:lnTo>
                  <a:pt x="5071850" y="2324027"/>
                </a:lnTo>
                <a:lnTo>
                  <a:pt x="5073478" y="2323162"/>
                </a:lnTo>
                <a:lnTo>
                  <a:pt x="5073478" y="2327168"/>
                </a:lnTo>
                <a:lnTo>
                  <a:pt x="5076625" y="2328791"/>
                </a:lnTo>
                <a:lnTo>
                  <a:pt x="5079121" y="2334530"/>
                </a:lnTo>
                <a:lnTo>
                  <a:pt x="5083679" y="2346656"/>
                </a:lnTo>
                <a:lnTo>
                  <a:pt x="5091708" y="2348605"/>
                </a:lnTo>
                <a:lnTo>
                  <a:pt x="5095724" y="2349363"/>
                </a:lnTo>
                <a:lnTo>
                  <a:pt x="5097786" y="2352178"/>
                </a:lnTo>
                <a:lnTo>
                  <a:pt x="5095724" y="2350987"/>
                </a:lnTo>
                <a:lnTo>
                  <a:pt x="5094313" y="2351312"/>
                </a:lnTo>
                <a:lnTo>
                  <a:pt x="5093988" y="2352935"/>
                </a:lnTo>
                <a:lnTo>
                  <a:pt x="5097352" y="2356725"/>
                </a:lnTo>
                <a:lnTo>
                  <a:pt x="5100281" y="2356942"/>
                </a:lnTo>
                <a:lnTo>
                  <a:pt x="5107986" y="2368094"/>
                </a:lnTo>
                <a:lnTo>
                  <a:pt x="5110265" y="2368094"/>
                </a:lnTo>
                <a:lnTo>
                  <a:pt x="5113304" y="2372749"/>
                </a:lnTo>
                <a:lnTo>
                  <a:pt x="5113304" y="2375456"/>
                </a:lnTo>
                <a:lnTo>
                  <a:pt x="5117644" y="2387041"/>
                </a:lnTo>
                <a:lnTo>
                  <a:pt x="5117644" y="2389747"/>
                </a:lnTo>
                <a:lnTo>
                  <a:pt x="5114931" y="2388990"/>
                </a:lnTo>
                <a:lnTo>
                  <a:pt x="5117970" y="2394836"/>
                </a:lnTo>
                <a:lnTo>
                  <a:pt x="5130124" y="2409994"/>
                </a:lnTo>
                <a:lnTo>
                  <a:pt x="5131209" y="2416057"/>
                </a:lnTo>
                <a:lnTo>
                  <a:pt x="5135224" y="2421687"/>
                </a:lnTo>
                <a:lnTo>
                  <a:pt x="5136526" y="2420822"/>
                </a:lnTo>
                <a:lnTo>
                  <a:pt x="5136526" y="2420822"/>
                </a:lnTo>
                <a:lnTo>
                  <a:pt x="5137720" y="2420063"/>
                </a:lnTo>
                <a:lnTo>
                  <a:pt x="5137720" y="2415192"/>
                </a:lnTo>
                <a:lnTo>
                  <a:pt x="5136092" y="2413243"/>
                </a:lnTo>
                <a:lnTo>
                  <a:pt x="5135007" y="2409778"/>
                </a:lnTo>
                <a:lnTo>
                  <a:pt x="5135766" y="2402524"/>
                </a:lnTo>
                <a:lnTo>
                  <a:pt x="5137720" y="2402524"/>
                </a:lnTo>
                <a:lnTo>
                  <a:pt x="5138913" y="2403498"/>
                </a:lnTo>
                <a:lnTo>
                  <a:pt x="5137720" y="2396245"/>
                </a:lnTo>
                <a:lnTo>
                  <a:pt x="5138805" y="2396245"/>
                </a:lnTo>
                <a:lnTo>
                  <a:pt x="5137937" y="2392455"/>
                </a:lnTo>
                <a:lnTo>
                  <a:pt x="5139565" y="2391156"/>
                </a:lnTo>
                <a:lnTo>
                  <a:pt x="5139565" y="2389207"/>
                </a:lnTo>
                <a:lnTo>
                  <a:pt x="5141301" y="2388990"/>
                </a:lnTo>
                <a:lnTo>
                  <a:pt x="5142060" y="2386825"/>
                </a:lnTo>
                <a:lnTo>
                  <a:pt x="5143905" y="2386825"/>
                </a:lnTo>
                <a:lnTo>
                  <a:pt x="5148029" y="2390073"/>
                </a:lnTo>
                <a:lnTo>
                  <a:pt x="5148354" y="2392672"/>
                </a:lnTo>
                <a:lnTo>
                  <a:pt x="5150416" y="2392672"/>
                </a:lnTo>
                <a:lnTo>
                  <a:pt x="5151284" y="2394187"/>
                </a:lnTo>
                <a:lnTo>
                  <a:pt x="5149656" y="2401983"/>
                </a:lnTo>
                <a:lnTo>
                  <a:pt x="5148571" y="2401983"/>
                </a:lnTo>
                <a:lnTo>
                  <a:pt x="5149439" y="2410103"/>
                </a:lnTo>
                <a:lnTo>
                  <a:pt x="5151067" y="2410103"/>
                </a:lnTo>
                <a:lnTo>
                  <a:pt x="5153672" y="2414867"/>
                </a:lnTo>
                <a:lnTo>
                  <a:pt x="5151827" y="2426560"/>
                </a:lnTo>
                <a:lnTo>
                  <a:pt x="5149114" y="2427101"/>
                </a:lnTo>
                <a:lnTo>
                  <a:pt x="5149223" y="2427210"/>
                </a:lnTo>
                <a:lnTo>
                  <a:pt x="5149222" y="2427210"/>
                </a:lnTo>
                <a:lnTo>
                  <a:pt x="5149874" y="2428400"/>
                </a:lnTo>
                <a:lnTo>
                  <a:pt x="5153780" y="2427967"/>
                </a:lnTo>
                <a:lnTo>
                  <a:pt x="5151610" y="2430674"/>
                </a:lnTo>
                <a:lnTo>
                  <a:pt x="5151502" y="2433056"/>
                </a:lnTo>
                <a:lnTo>
                  <a:pt x="5153672" y="2436846"/>
                </a:lnTo>
                <a:lnTo>
                  <a:pt x="5154865" y="2436304"/>
                </a:lnTo>
                <a:lnTo>
                  <a:pt x="5155083" y="2436412"/>
                </a:lnTo>
                <a:lnTo>
                  <a:pt x="5155083" y="2436412"/>
                </a:lnTo>
                <a:lnTo>
                  <a:pt x="5156928" y="2437602"/>
                </a:lnTo>
                <a:lnTo>
                  <a:pt x="5158881" y="2435437"/>
                </a:lnTo>
                <a:lnTo>
                  <a:pt x="5160292" y="2446265"/>
                </a:lnTo>
                <a:lnTo>
                  <a:pt x="5164090" y="2444532"/>
                </a:lnTo>
                <a:lnTo>
                  <a:pt x="5167670" y="2444965"/>
                </a:lnTo>
                <a:lnTo>
                  <a:pt x="5171468" y="2446047"/>
                </a:lnTo>
                <a:lnTo>
                  <a:pt x="5181235" y="2438469"/>
                </a:lnTo>
                <a:lnTo>
                  <a:pt x="5189374" y="2440310"/>
                </a:lnTo>
                <a:lnTo>
                  <a:pt x="5192846" y="2439551"/>
                </a:lnTo>
                <a:lnTo>
                  <a:pt x="5194909" y="2440634"/>
                </a:lnTo>
                <a:lnTo>
                  <a:pt x="5199575" y="2440310"/>
                </a:lnTo>
                <a:lnTo>
                  <a:pt x="5201745" y="2443016"/>
                </a:lnTo>
                <a:lnTo>
                  <a:pt x="5206845" y="2442475"/>
                </a:lnTo>
                <a:lnTo>
                  <a:pt x="5213790" y="2441176"/>
                </a:lnTo>
                <a:lnTo>
                  <a:pt x="5214984" y="2439010"/>
                </a:lnTo>
                <a:lnTo>
                  <a:pt x="5216395" y="2438685"/>
                </a:lnTo>
                <a:lnTo>
                  <a:pt x="5216069" y="2434896"/>
                </a:lnTo>
                <a:lnTo>
                  <a:pt x="5219108" y="2434896"/>
                </a:lnTo>
                <a:lnTo>
                  <a:pt x="5221061" y="2433380"/>
                </a:lnTo>
                <a:lnTo>
                  <a:pt x="5223231" y="2436412"/>
                </a:lnTo>
                <a:lnTo>
                  <a:pt x="5229416" y="2430024"/>
                </a:lnTo>
                <a:lnTo>
                  <a:pt x="5228115" y="2427100"/>
                </a:lnTo>
                <a:lnTo>
                  <a:pt x="5226162" y="2426343"/>
                </a:lnTo>
                <a:lnTo>
                  <a:pt x="5228331" y="2422878"/>
                </a:lnTo>
                <a:lnTo>
                  <a:pt x="5242113" y="2411185"/>
                </a:lnTo>
                <a:lnTo>
                  <a:pt x="5242113" y="2404688"/>
                </a:lnTo>
                <a:lnTo>
                  <a:pt x="5256871" y="2395811"/>
                </a:lnTo>
                <a:lnTo>
                  <a:pt x="5258282" y="2393429"/>
                </a:lnTo>
                <a:lnTo>
                  <a:pt x="5258282" y="2389964"/>
                </a:lnTo>
                <a:lnTo>
                  <a:pt x="5258391" y="2387907"/>
                </a:lnTo>
                <a:lnTo>
                  <a:pt x="5259150" y="2385633"/>
                </a:lnTo>
                <a:lnTo>
                  <a:pt x="5260452" y="2387149"/>
                </a:lnTo>
                <a:lnTo>
                  <a:pt x="5261646" y="2385633"/>
                </a:lnTo>
                <a:lnTo>
                  <a:pt x="5262732" y="2379137"/>
                </a:lnTo>
                <a:lnTo>
                  <a:pt x="5264793" y="2379354"/>
                </a:lnTo>
                <a:lnTo>
                  <a:pt x="5266421" y="2378921"/>
                </a:lnTo>
                <a:lnTo>
                  <a:pt x="5267506" y="2380653"/>
                </a:lnTo>
                <a:lnTo>
                  <a:pt x="5266530" y="2380545"/>
                </a:lnTo>
                <a:lnTo>
                  <a:pt x="5265553" y="2381303"/>
                </a:lnTo>
                <a:lnTo>
                  <a:pt x="5266746" y="2382710"/>
                </a:lnTo>
                <a:lnTo>
                  <a:pt x="5265770" y="2385417"/>
                </a:lnTo>
                <a:lnTo>
                  <a:pt x="5266963" y="2386067"/>
                </a:lnTo>
                <a:lnTo>
                  <a:pt x="5266313" y="2392779"/>
                </a:lnTo>
                <a:lnTo>
                  <a:pt x="5264359" y="2396569"/>
                </a:lnTo>
                <a:lnTo>
                  <a:pt x="5264142" y="2399492"/>
                </a:lnTo>
                <a:lnTo>
                  <a:pt x="5264142" y="2400250"/>
                </a:lnTo>
                <a:lnTo>
                  <a:pt x="5265335" y="2401332"/>
                </a:lnTo>
                <a:lnTo>
                  <a:pt x="5267615" y="2400574"/>
                </a:lnTo>
                <a:lnTo>
                  <a:pt x="5268265" y="2403823"/>
                </a:lnTo>
                <a:lnTo>
                  <a:pt x="5268808" y="2409778"/>
                </a:lnTo>
                <a:lnTo>
                  <a:pt x="5264142" y="2410427"/>
                </a:lnTo>
                <a:lnTo>
                  <a:pt x="5263491" y="2412441"/>
                </a:lnTo>
                <a:lnTo>
                  <a:pt x="5264143" y="2410427"/>
                </a:lnTo>
                <a:lnTo>
                  <a:pt x="5268809" y="2409778"/>
                </a:lnTo>
                <a:lnTo>
                  <a:pt x="5270111" y="2424070"/>
                </a:lnTo>
                <a:lnTo>
                  <a:pt x="5278033" y="2433706"/>
                </a:lnTo>
                <a:lnTo>
                  <a:pt x="5278793" y="2437062"/>
                </a:lnTo>
                <a:lnTo>
                  <a:pt x="5292140" y="2448214"/>
                </a:lnTo>
                <a:lnTo>
                  <a:pt x="5298109" y="2449838"/>
                </a:lnTo>
                <a:lnTo>
                  <a:pt x="5301255" y="2448430"/>
                </a:lnTo>
                <a:lnTo>
                  <a:pt x="5305705" y="2448214"/>
                </a:lnTo>
                <a:lnTo>
                  <a:pt x="5316448" y="2450163"/>
                </a:lnTo>
                <a:lnTo>
                  <a:pt x="5322308" y="2448972"/>
                </a:lnTo>
                <a:lnTo>
                  <a:pt x="5325563" y="2449080"/>
                </a:lnTo>
                <a:lnTo>
                  <a:pt x="5332291" y="2457958"/>
                </a:lnTo>
                <a:lnTo>
                  <a:pt x="5334136" y="2464130"/>
                </a:lnTo>
                <a:lnTo>
                  <a:pt x="5338260" y="2467919"/>
                </a:lnTo>
                <a:lnTo>
                  <a:pt x="5340430" y="2472250"/>
                </a:lnTo>
                <a:lnTo>
                  <a:pt x="5349329" y="2479396"/>
                </a:lnTo>
                <a:lnTo>
                  <a:pt x="5353669" y="2480154"/>
                </a:lnTo>
                <a:lnTo>
                  <a:pt x="5355189" y="2481886"/>
                </a:lnTo>
                <a:lnTo>
                  <a:pt x="5354972" y="2486542"/>
                </a:lnTo>
                <a:lnTo>
                  <a:pt x="5352041" y="2491738"/>
                </a:lnTo>
                <a:lnTo>
                  <a:pt x="5352476" y="2494770"/>
                </a:lnTo>
                <a:lnTo>
                  <a:pt x="5351608" y="2498343"/>
                </a:lnTo>
                <a:lnTo>
                  <a:pt x="5342818" y="2512418"/>
                </a:lnTo>
                <a:lnTo>
                  <a:pt x="5336957" y="2517615"/>
                </a:lnTo>
                <a:lnTo>
                  <a:pt x="5334353" y="2523245"/>
                </a:lnTo>
                <a:lnTo>
                  <a:pt x="5331532" y="2525627"/>
                </a:lnTo>
                <a:lnTo>
                  <a:pt x="5328819" y="2534722"/>
                </a:lnTo>
                <a:lnTo>
                  <a:pt x="5326106" y="2534505"/>
                </a:lnTo>
                <a:lnTo>
                  <a:pt x="5323502" y="2533098"/>
                </a:lnTo>
                <a:lnTo>
                  <a:pt x="5324044" y="2530499"/>
                </a:lnTo>
                <a:lnTo>
                  <a:pt x="5325130" y="2528117"/>
                </a:lnTo>
                <a:lnTo>
                  <a:pt x="5322959" y="2527360"/>
                </a:lnTo>
                <a:lnTo>
                  <a:pt x="5320680" y="2529200"/>
                </a:lnTo>
                <a:lnTo>
                  <a:pt x="5317751" y="2534505"/>
                </a:lnTo>
                <a:lnTo>
                  <a:pt x="5316665" y="2534722"/>
                </a:lnTo>
                <a:lnTo>
                  <a:pt x="5318401" y="2537754"/>
                </a:lnTo>
                <a:lnTo>
                  <a:pt x="5315580" y="2538511"/>
                </a:lnTo>
                <a:lnTo>
                  <a:pt x="5311565" y="2546199"/>
                </a:lnTo>
                <a:lnTo>
                  <a:pt x="5311565" y="2550313"/>
                </a:lnTo>
                <a:lnTo>
                  <a:pt x="5310046" y="2554102"/>
                </a:lnTo>
                <a:lnTo>
                  <a:pt x="5311022" y="2554427"/>
                </a:lnTo>
                <a:lnTo>
                  <a:pt x="5313301" y="2558758"/>
                </a:lnTo>
                <a:lnTo>
                  <a:pt x="5311890" y="2558974"/>
                </a:lnTo>
                <a:lnTo>
                  <a:pt x="5314929" y="2567528"/>
                </a:lnTo>
                <a:lnTo>
                  <a:pt x="5316882" y="2569368"/>
                </a:lnTo>
                <a:lnTo>
                  <a:pt x="5316014" y="2571750"/>
                </a:lnTo>
                <a:lnTo>
                  <a:pt x="5304077" y="2572725"/>
                </a:lnTo>
                <a:lnTo>
                  <a:pt x="5301581" y="2574349"/>
                </a:lnTo>
                <a:lnTo>
                  <a:pt x="5298326" y="2572833"/>
                </a:lnTo>
                <a:lnTo>
                  <a:pt x="5292900" y="2574241"/>
                </a:lnTo>
                <a:lnTo>
                  <a:pt x="5284110" y="2584851"/>
                </a:lnTo>
                <a:lnTo>
                  <a:pt x="5284110" y="2592214"/>
                </a:lnTo>
                <a:lnTo>
                  <a:pt x="5281940" y="2594163"/>
                </a:lnTo>
                <a:lnTo>
                  <a:pt x="5277490" y="2598818"/>
                </a:lnTo>
                <a:lnTo>
                  <a:pt x="5274561" y="2597627"/>
                </a:lnTo>
                <a:lnTo>
                  <a:pt x="5268592" y="2598602"/>
                </a:lnTo>
                <a:lnTo>
                  <a:pt x="5260345" y="2598385"/>
                </a:lnTo>
                <a:lnTo>
                  <a:pt x="5258174" y="2600659"/>
                </a:lnTo>
                <a:lnTo>
                  <a:pt x="5254811" y="2604015"/>
                </a:lnTo>
                <a:lnTo>
                  <a:pt x="5255461" y="2606289"/>
                </a:lnTo>
                <a:lnTo>
                  <a:pt x="5255028" y="2609320"/>
                </a:lnTo>
                <a:lnTo>
                  <a:pt x="5257306" y="2610512"/>
                </a:lnTo>
                <a:lnTo>
                  <a:pt x="5256981" y="2613326"/>
                </a:lnTo>
                <a:lnTo>
                  <a:pt x="5255787" y="2613651"/>
                </a:lnTo>
                <a:lnTo>
                  <a:pt x="5256112" y="2614626"/>
                </a:lnTo>
                <a:lnTo>
                  <a:pt x="5250361" y="2623179"/>
                </a:lnTo>
                <a:lnTo>
                  <a:pt x="5247431" y="2623395"/>
                </a:lnTo>
                <a:lnTo>
                  <a:pt x="5243633" y="2621122"/>
                </a:lnTo>
                <a:lnTo>
                  <a:pt x="5239618" y="2621879"/>
                </a:lnTo>
                <a:lnTo>
                  <a:pt x="5234843" y="2621555"/>
                </a:lnTo>
                <a:lnTo>
                  <a:pt x="5226379" y="2626102"/>
                </a:lnTo>
                <a:lnTo>
                  <a:pt x="5221062" y="2625994"/>
                </a:lnTo>
                <a:lnTo>
                  <a:pt x="5218023" y="2630975"/>
                </a:lnTo>
                <a:lnTo>
                  <a:pt x="5213357" y="2630975"/>
                </a:lnTo>
                <a:lnTo>
                  <a:pt x="5212055" y="2630108"/>
                </a:lnTo>
                <a:lnTo>
                  <a:pt x="5208799" y="2630866"/>
                </a:lnTo>
                <a:lnTo>
                  <a:pt x="5203482" y="2632273"/>
                </a:lnTo>
                <a:lnTo>
                  <a:pt x="5194367" y="2634222"/>
                </a:lnTo>
                <a:lnTo>
                  <a:pt x="5186228" y="2644183"/>
                </a:lnTo>
                <a:lnTo>
                  <a:pt x="5185468" y="2650138"/>
                </a:lnTo>
                <a:lnTo>
                  <a:pt x="5187422" y="2652087"/>
                </a:lnTo>
                <a:lnTo>
                  <a:pt x="5186662" y="2653495"/>
                </a:lnTo>
                <a:lnTo>
                  <a:pt x="5187638" y="2656201"/>
                </a:lnTo>
                <a:lnTo>
                  <a:pt x="5177329" y="2658367"/>
                </a:lnTo>
                <a:lnTo>
                  <a:pt x="5172663" y="2662806"/>
                </a:lnTo>
                <a:lnTo>
                  <a:pt x="5163222" y="2667461"/>
                </a:lnTo>
                <a:lnTo>
                  <a:pt x="5148355" y="2670168"/>
                </a:lnTo>
                <a:lnTo>
                  <a:pt x="5146077" y="2672658"/>
                </a:lnTo>
                <a:lnTo>
                  <a:pt x="5119707" y="2680454"/>
                </a:lnTo>
                <a:lnTo>
                  <a:pt x="5117102" y="2680129"/>
                </a:lnTo>
                <a:lnTo>
                  <a:pt x="5112653" y="2682403"/>
                </a:lnTo>
                <a:lnTo>
                  <a:pt x="5107770" y="2690415"/>
                </a:lnTo>
                <a:lnTo>
                  <a:pt x="5100825" y="2696262"/>
                </a:lnTo>
                <a:lnTo>
                  <a:pt x="5097461" y="2696262"/>
                </a:lnTo>
                <a:lnTo>
                  <a:pt x="5096050" y="2694854"/>
                </a:lnTo>
                <a:lnTo>
                  <a:pt x="5093771" y="2697019"/>
                </a:lnTo>
                <a:lnTo>
                  <a:pt x="5090298" y="2697669"/>
                </a:lnTo>
                <a:lnTo>
                  <a:pt x="5087369" y="2695395"/>
                </a:lnTo>
                <a:lnTo>
                  <a:pt x="5083679" y="2695287"/>
                </a:lnTo>
                <a:lnTo>
                  <a:pt x="5075106" y="2701891"/>
                </a:lnTo>
                <a:lnTo>
                  <a:pt x="5074564" y="2704815"/>
                </a:lnTo>
                <a:lnTo>
                  <a:pt x="5071525" y="2707305"/>
                </a:lnTo>
                <a:lnTo>
                  <a:pt x="5062519" y="2708172"/>
                </a:lnTo>
                <a:lnTo>
                  <a:pt x="5051233" y="2712502"/>
                </a:lnTo>
                <a:lnTo>
                  <a:pt x="5046567" y="2711527"/>
                </a:lnTo>
                <a:lnTo>
                  <a:pt x="5045156" y="2709687"/>
                </a:lnTo>
                <a:lnTo>
                  <a:pt x="5038211" y="2710011"/>
                </a:lnTo>
                <a:lnTo>
                  <a:pt x="5037343" y="2708604"/>
                </a:lnTo>
                <a:lnTo>
                  <a:pt x="5033545" y="2708388"/>
                </a:lnTo>
                <a:lnTo>
                  <a:pt x="5030506" y="2709362"/>
                </a:lnTo>
                <a:lnTo>
                  <a:pt x="5024429" y="2713152"/>
                </a:lnTo>
                <a:lnTo>
                  <a:pt x="5021824" y="2719431"/>
                </a:lnTo>
                <a:lnTo>
                  <a:pt x="5019437" y="2719756"/>
                </a:lnTo>
                <a:lnTo>
                  <a:pt x="5014880" y="2726036"/>
                </a:lnTo>
                <a:lnTo>
                  <a:pt x="5010430" y="2727876"/>
                </a:lnTo>
                <a:lnTo>
                  <a:pt x="5007826" y="2725386"/>
                </a:lnTo>
                <a:lnTo>
                  <a:pt x="5003160" y="2725386"/>
                </a:lnTo>
                <a:lnTo>
                  <a:pt x="4998277" y="2729501"/>
                </a:lnTo>
                <a:lnTo>
                  <a:pt x="4994262" y="2730475"/>
                </a:lnTo>
                <a:lnTo>
                  <a:pt x="4987642" y="2728309"/>
                </a:lnTo>
                <a:lnTo>
                  <a:pt x="4986340" y="2729825"/>
                </a:lnTo>
                <a:lnTo>
                  <a:pt x="4981456" y="2730583"/>
                </a:lnTo>
                <a:lnTo>
                  <a:pt x="4979503" y="2726578"/>
                </a:lnTo>
                <a:lnTo>
                  <a:pt x="4978526" y="2720623"/>
                </a:lnTo>
                <a:lnTo>
                  <a:pt x="4973535" y="2715209"/>
                </a:lnTo>
                <a:lnTo>
                  <a:pt x="4970930" y="2708821"/>
                </a:lnTo>
                <a:lnTo>
                  <a:pt x="4973535" y="2707088"/>
                </a:lnTo>
                <a:lnTo>
                  <a:pt x="4973100" y="2700484"/>
                </a:lnTo>
                <a:lnTo>
                  <a:pt x="4966915" y="2694854"/>
                </a:lnTo>
                <a:lnTo>
                  <a:pt x="4963877" y="2672658"/>
                </a:lnTo>
                <a:lnTo>
                  <a:pt x="4958125" y="2665296"/>
                </a:lnTo>
                <a:lnTo>
                  <a:pt x="4957908" y="2661723"/>
                </a:lnTo>
                <a:lnTo>
                  <a:pt x="4955412" y="2661723"/>
                </a:lnTo>
                <a:lnTo>
                  <a:pt x="4953785" y="2658258"/>
                </a:lnTo>
                <a:lnTo>
                  <a:pt x="4957583" y="2659341"/>
                </a:lnTo>
                <a:lnTo>
                  <a:pt x="4957583" y="2656742"/>
                </a:lnTo>
                <a:lnTo>
                  <a:pt x="4960296" y="2656742"/>
                </a:lnTo>
                <a:lnTo>
                  <a:pt x="4960621" y="2649597"/>
                </a:lnTo>
                <a:lnTo>
                  <a:pt x="4958451" y="2637471"/>
                </a:lnTo>
                <a:lnTo>
                  <a:pt x="4956932" y="2633140"/>
                </a:lnTo>
                <a:lnTo>
                  <a:pt x="4960646" y="2633425"/>
                </a:lnTo>
                <a:lnTo>
                  <a:pt x="4956932" y="2633140"/>
                </a:lnTo>
                <a:lnTo>
                  <a:pt x="4952699" y="2620905"/>
                </a:lnTo>
                <a:lnTo>
                  <a:pt x="4945103" y="2618740"/>
                </a:lnTo>
                <a:lnTo>
                  <a:pt x="4943475" y="2608454"/>
                </a:lnTo>
                <a:lnTo>
                  <a:pt x="4940762" y="2608454"/>
                </a:lnTo>
                <a:lnTo>
                  <a:pt x="4922640" y="2590265"/>
                </a:lnTo>
                <a:lnTo>
                  <a:pt x="4922315" y="2584093"/>
                </a:lnTo>
                <a:lnTo>
                  <a:pt x="4917215" y="2581061"/>
                </a:lnTo>
                <a:lnTo>
                  <a:pt x="4911680" y="2560490"/>
                </a:lnTo>
                <a:lnTo>
                  <a:pt x="4908533" y="2559191"/>
                </a:lnTo>
                <a:lnTo>
                  <a:pt x="4909292" y="2555726"/>
                </a:lnTo>
                <a:lnTo>
                  <a:pt x="4903324" y="2554643"/>
                </a:lnTo>
                <a:lnTo>
                  <a:pt x="4903107" y="2551071"/>
                </a:lnTo>
                <a:lnTo>
                  <a:pt x="4896053" y="2545116"/>
                </a:lnTo>
                <a:lnTo>
                  <a:pt x="4893775" y="2545116"/>
                </a:lnTo>
                <a:lnTo>
                  <a:pt x="4890519" y="2540461"/>
                </a:lnTo>
                <a:lnTo>
                  <a:pt x="4885636" y="2540027"/>
                </a:lnTo>
                <a:lnTo>
                  <a:pt x="4881621" y="2538295"/>
                </a:lnTo>
                <a:lnTo>
                  <a:pt x="4869467" y="2525411"/>
                </a:lnTo>
                <a:lnTo>
                  <a:pt x="4868707" y="2522055"/>
                </a:lnTo>
                <a:lnTo>
                  <a:pt x="4864367" y="2518265"/>
                </a:lnTo>
                <a:lnTo>
                  <a:pt x="4863390" y="2509170"/>
                </a:lnTo>
                <a:lnTo>
                  <a:pt x="4861003" y="2500508"/>
                </a:lnTo>
                <a:lnTo>
                  <a:pt x="4859267" y="2496719"/>
                </a:lnTo>
                <a:lnTo>
                  <a:pt x="4861003" y="2495095"/>
                </a:lnTo>
                <a:lnTo>
                  <a:pt x="4862848" y="2487299"/>
                </a:lnTo>
                <a:lnTo>
                  <a:pt x="4861437" y="2484701"/>
                </a:lnTo>
                <a:lnTo>
                  <a:pt x="4859918" y="2476364"/>
                </a:lnTo>
                <a:lnTo>
                  <a:pt x="4855252" y="2472250"/>
                </a:lnTo>
                <a:lnTo>
                  <a:pt x="4853190" y="2464130"/>
                </a:lnTo>
                <a:lnTo>
                  <a:pt x="4850910" y="2462072"/>
                </a:lnTo>
                <a:lnTo>
                  <a:pt x="4850151" y="2456117"/>
                </a:lnTo>
                <a:lnTo>
                  <a:pt x="4848306" y="2455793"/>
                </a:lnTo>
                <a:lnTo>
                  <a:pt x="4846570" y="2450595"/>
                </a:lnTo>
                <a:lnTo>
                  <a:pt x="4840602" y="2444424"/>
                </a:lnTo>
                <a:lnTo>
                  <a:pt x="4833005" y="2440960"/>
                </a:lnTo>
                <a:lnTo>
                  <a:pt x="4827905" y="2436846"/>
                </a:lnTo>
                <a:lnTo>
                  <a:pt x="4824324" y="2440418"/>
                </a:lnTo>
                <a:lnTo>
                  <a:pt x="4821069" y="2438469"/>
                </a:lnTo>
                <a:lnTo>
                  <a:pt x="4820851" y="2434464"/>
                </a:lnTo>
                <a:lnTo>
                  <a:pt x="4815752" y="2430891"/>
                </a:lnTo>
                <a:lnTo>
                  <a:pt x="4815752" y="2427426"/>
                </a:lnTo>
                <a:lnTo>
                  <a:pt x="4817271" y="2424394"/>
                </a:lnTo>
                <a:lnTo>
                  <a:pt x="4815752" y="2417140"/>
                </a:lnTo>
                <a:lnTo>
                  <a:pt x="4812387" y="2414867"/>
                </a:lnTo>
                <a:lnTo>
                  <a:pt x="4808047" y="2403498"/>
                </a:lnTo>
                <a:lnTo>
                  <a:pt x="4802621" y="2401116"/>
                </a:lnTo>
                <a:lnTo>
                  <a:pt x="4800233" y="2397868"/>
                </a:lnTo>
                <a:lnTo>
                  <a:pt x="4799148" y="2391913"/>
                </a:lnTo>
                <a:lnTo>
                  <a:pt x="4795350" y="2391155"/>
                </a:lnTo>
                <a:lnTo>
                  <a:pt x="4793506" y="2387041"/>
                </a:lnTo>
                <a:lnTo>
                  <a:pt x="4793397" y="2383251"/>
                </a:lnTo>
                <a:lnTo>
                  <a:pt x="4786452" y="2371450"/>
                </a:lnTo>
                <a:lnTo>
                  <a:pt x="4783956" y="2371341"/>
                </a:lnTo>
                <a:lnTo>
                  <a:pt x="4778747" y="2366686"/>
                </a:lnTo>
                <a:lnTo>
                  <a:pt x="4777771" y="2361706"/>
                </a:lnTo>
                <a:lnTo>
                  <a:pt x="4775492" y="2360731"/>
                </a:lnTo>
                <a:lnTo>
                  <a:pt x="4774407" y="2355643"/>
                </a:lnTo>
                <a:lnTo>
                  <a:pt x="4763881" y="2343949"/>
                </a:lnTo>
                <a:lnTo>
                  <a:pt x="4765291" y="2342975"/>
                </a:lnTo>
                <a:lnTo>
                  <a:pt x="4759865" y="2339943"/>
                </a:lnTo>
                <a:lnTo>
                  <a:pt x="4756827" y="2342109"/>
                </a:lnTo>
                <a:lnTo>
                  <a:pt x="4755742" y="2340268"/>
                </a:lnTo>
                <a:lnTo>
                  <a:pt x="4752269" y="2341567"/>
                </a:lnTo>
                <a:lnTo>
                  <a:pt x="4751727" y="2338968"/>
                </a:lnTo>
                <a:lnTo>
                  <a:pt x="4754331" y="2332148"/>
                </a:lnTo>
                <a:lnTo>
                  <a:pt x="4753897" y="2322078"/>
                </a:lnTo>
                <a:lnTo>
                  <a:pt x="4754549" y="2313309"/>
                </a:lnTo>
                <a:lnTo>
                  <a:pt x="4762035" y="2312984"/>
                </a:lnTo>
                <a:lnTo>
                  <a:pt x="4754548" y="2313309"/>
                </a:lnTo>
                <a:lnTo>
                  <a:pt x="4754656" y="2312335"/>
                </a:lnTo>
                <a:lnTo>
                  <a:pt x="4756718" y="2306380"/>
                </a:lnTo>
                <a:lnTo>
                  <a:pt x="4756501" y="2304106"/>
                </a:lnTo>
                <a:lnTo>
                  <a:pt x="4756393" y="2304323"/>
                </a:lnTo>
                <a:lnTo>
                  <a:pt x="4756501" y="2303673"/>
                </a:lnTo>
                <a:lnTo>
                  <a:pt x="4756501" y="2303673"/>
                </a:lnTo>
                <a:lnTo>
                  <a:pt x="4756392" y="2304323"/>
                </a:lnTo>
                <a:lnTo>
                  <a:pt x="4753570" y="2308762"/>
                </a:lnTo>
                <a:lnTo>
                  <a:pt x="4753570" y="2308761"/>
                </a:lnTo>
                <a:lnTo>
                  <a:pt x="4752702" y="2310169"/>
                </a:lnTo>
                <a:lnTo>
                  <a:pt x="4749013" y="2323378"/>
                </a:lnTo>
                <a:lnTo>
                  <a:pt x="4748470" y="2328359"/>
                </a:lnTo>
                <a:lnTo>
                  <a:pt x="4745649" y="2335612"/>
                </a:lnTo>
                <a:lnTo>
                  <a:pt x="4747819" y="2337778"/>
                </a:lnTo>
                <a:lnTo>
                  <a:pt x="4745974" y="2346223"/>
                </a:lnTo>
                <a:lnTo>
                  <a:pt x="4742719" y="2349363"/>
                </a:lnTo>
                <a:lnTo>
                  <a:pt x="4741851" y="2352178"/>
                </a:lnTo>
                <a:lnTo>
                  <a:pt x="4741091" y="2350771"/>
                </a:lnTo>
                <a:lnTo>
                  <a:pt x="4734797" y="2347306"/>
                </a:lnTo>
                <a:lnTo>
                  <a:pt x="4723403" y="2335288"/>
                </a:lnTo>
                <a:lnTo>
                  <a:pt x="4721884" y="2330740"/>
                </a:lnTo>
                <a:lnTo>
                  <a:pt x="4715590" y="2327817"/>
                </a:lnTo>
                <a:lnTo>
                  <a:pt x="4713202" y="2323161"/>
                </a:lnTo>
                <a:lnTo>
                  <a:pt x="4713202" y="2318506"/>
                </a:lnTo>
                <a:lnTo>
                  <a:pt x="4703979" y="2310710"/>
                </a:lnTo>
                <a:lnTo>
                  <a:pt x="4703436" y="2307679"/>
                </a:lnTo>
                <a:lnTo>
                  <a:pt x="4701266" y="2305080"/>
                </a:lnTo>
                <a:lnTo>
                  <a:pt x="4699638" y="2299017"/>
                </a:lnTo>
                <a:lnTo>
                  <a:pt x="4697359" y="2299017"/>
                </a:lnTo>
                <a:lnTo>
                  <a:pt x="4696382" y="2297502"/>
                </a:lnTo>
                <a:lnTo>
                  <a:pt x="4695406" y="2299125"/>
                </a:lnTo>
                <a:lnTo>
                  <a:pt x="4695732" y="2302373"/>
                </a:lnTo>
                <a:lnTo>
                  <a:pt x="4695189" y="2305622"/>
                </a:lnTo>
                <a:lnTo>
                  <a:pt x="4700180" y="2312118"/>
                </a:lnTo>
                <a:lnTo>
                  <a:pt x="4700180" y="2317531"/>
                </a:lnTo>
                <a:lnTo>
                  <a:pt x="4709079" y="2328034"/>
                </a:lnTo>
                <a:lnTo>
                  <a:pt x="4710164" y="2331823"/>
                </a:lnTo>
                <a:lnTo>
                  <a:pt x="4724054" y="2343516"/>
                </a:lnTo>
                <a:lnTo>
                  <a:pt x="4726116" y="2347306"/>
                </a:lnTo>
                <a:lnTo>
                  <a:pt x="4725139" y="2351095"/>
                </a:lnTo>
                <a:lnTo>
                  <a:pt x="4725573" y="2354560"/>
                </a:lnTo>
                <a:lnTo>
                  <a:pt x="4733712" y="2363330"/>
                </a:lnTo>
                <a:lnTo>
                  <a:pt x="4733712" y="2366145"/>
                </a:lnTo>
                <a:lnTo>
                  <a:pt x="4736208" y="2369177"/>
                </a:lnTo>
                <a:lnTo>
                  <a:pt x="4737076" y="2378379"/>
                </a:lnTo>
                <a:lnTo>
                  <a:pt x="4739680" y="2382277"/>
                </a:lnTo>
                <a:lnTo>
                  <a:pt x="4739463" y="2387366"/>
                </a:lnTo>
                <a:lnTo>
                  <a:pt x="4754439" y="2409345"/>
                </a:lnTo>
                <a:lnTo>
                  <a:pt x="4755524" y="2416058"/>
                </a:lnTo>
                <a:lnTo>
                  <a:pt x="4759539" y="2418656"/>
                </a:lnTo>
                <a:lnTo>
                  <a:pt x="4769089" y="2432515"/>
                </a:lnTo>
                <a:lnTo>
                  <a:pt x="4771151" y="2438903"/>
                </a:lnTo>
                <a:lnTo>
                  <a:pt x="4773864" y="2442151"/>
                </a:lnTo>
                <a:lnTo>
                  <a:pt x="4774080" y="2440527"/>
                </a:lnTo>
                <a:lnTo>
                  <a:pt x="4775708" y="2441718"/>
                </a:lnTo>
                <a:lnTo>
                  <a:pt x="4779615" y="2447673"/>
                </a:lnTo>
                <a:lnTo>
                  <a:pt x="4781893" y="2448106"/>
                </a:lnTo>
                <a:lnTo>
                  <a:pt x="4784606" y="2451029"/>
                </a:lnTo>
                <a:lnTo>
                  <a:pt x="4777553" y="2450596"/>
                </a:lnTo>
                <a:lnTo>
                  <a:pt x="4775708" y="2449080"/>
                </a:lnTo>
                <a:lnTo>
                  <a:pt x="4775274" y="2451245"/>
                </a:lnTo>
                <a:lnTo>
                  <a:pt x="4776793" y="2454386"/>
                </a:lnTo>
                <a:lnTo>
                  <a:pt x="4777118" y="2460340"/>
                </a:lnTo>
                <a:lnTo>
                  <a:pt x="4776250" y="2463588"/>
                </a:lnTo>
                <a:lnTo>
                  <a:pt x="4779940" y="2476039"/>
                </a:lnTo>
                <a:lnTo>
                  <a:pt x="4787319" y="2480804"/>
                </a:lnTo>
                <a:lnTo>
                  <a:pt x="4791877" y="2481020"/>
                </a:lnTo>
                <a:lnTo>
                  <a:pt x="4794807" y="2479612"/>
                </a:lnTo>
                <a:lnTo>
                  <a:pt x="4797845" y="2486000"/>
                </a:lnTo>
                <a:lnTo>
                  <a:pt x="4802729" y="2487408"/>
                </a:lnTo>
                <a:lnTo>
                  <a:pt x="4804248" y="2490331"/>
                </a:lnTo>
                <a:lnTo>
                  <a:pt x="4809782" y="2496069"/>
                </a:lnTo>
                <a:lnTo>
                  <a:pt x="4814014" y="2497694"/>
                </a:lnTo>
                <a:lnTo>
                  <a:pt x="4813906" y="2498127"/>
                </a:lnTo>
                <a:lnTo>
                  <a:pt x="4813580" y="2500183"/>
                </a:lnTo>
                <a:lnTo>
                  <a:pt x="4813038" y="2502348"/>
                </a:lnTo>
                <a:lnTo>
                  <a:pt x="4814340" y="2504081"/>
                </a:lnTo>
                <a:lnTo>
                  <a:pt x="4813689" y="2505380"/>
                </a:lnTo>
                <a:lnTo>
                  <a:pt x="4814557" y="2506463"/>
                </a:lnTo>
                <a:lnTo>
                  <a:pt x="4814557" y="2507437"/>
                </a:lnTo>
                <a:lnTo>
                  <a:pt x="4815534" y="2508844"/>
                </a:lnTo>
                <a:lnTo>
                  <a:pt x="4817053" y="2515450"/>
                </a:lnTo>
                <a:lnTo>
                  <a:pt x="4821719" y="2520863"/>
                </a:lnTo>
                <a:lnTo>
                  <a:pt x="4821611" y="2523244"/>
                </a:lnTo>
                <a:lnTo>
                  <a:pt x="4820417" y="2523244"/>
                </a:lnTo>
                <a:lnTo>
                  <a:pt x="4819874" y="2521729"/>
                </a:lnTo>
                <a:lnTo>
                  <a:pt x="4817921" y="2519347"/>
                </a:lnTo>
                <a:lnTo>
                  <a:pt x="4817161" y="2520213"/>
                </a:lnTo>
                <a:lnTo>
                  <a:pt x="4817813" y="2524544"/>
                </a:lnTo>
                <a:lnTo>
                  <a:pt x="4823564" y="2541650"/>
                </a:lnTo>
                <a:lnTo>
                  <a:pt x="4824866" y="2551070"/>
                </a:lnTo>
                <a:lnTo>
                  <a:pt x="4823456" y="2559948"/>
                </a:lnTo>
                <a:lnTo>
                  <a:pt x="4826711" y="2570126"/>
                </a:lnTo>
                <a:lnTo>
                  <a:pt x="4830943" y="2578247"/>
                </a:lnTo>
                <a:lnTo>
                  <a:pt x="4834958" y="2579221"/>
                </a:lnTo>
                <a:lnTo>
                  <a:pt x="4845376" y="2586258"/>
                </a:lnTo>
                <a:lnTo>
                  <a:pt x="4845376" y="2590806"/>
                </a:lnTo>
                <a:lnTo>
                  <a:pt x="4850367" y="2590914"/>
                </a:lnTo>
                <a:lnTo>
                  <a:pt x="4855577" y="2593621"/>
                </a:lnTo>
                <a:lnTo>
                  <a:pt x="4855577" y="2596869"/>
                </a:lnTo>
                <a:lnTo>
                  <a:pt x="4857204" y="2596869"/>
                </a:lnTo>
                <a:lnTo>
                  <a:pt x="4854057" y="2601741"/>
                </a:lnTo>
                <a:lnTo>
                  <a:pt x="4850042" y="2603798"/>
                </a:lnTo>
                <a:lnTo>
                  <a:pt x="4850043" y="2603798"/>
                </a:lnTo>
                <a:lnTo>
                  <a:pt x="4854058" y="2601741"/>
                </a:lnTo>
                <a:lnTo>
                  <a:pt x="4857205" y="2596869"/>
                </a:lnTo>
                <a:lnTo>
                  <a:pt x="4857421" y="2596869"/>
                </a:lnTo>
                <a:lnTo>
                  <a:pt x="4862956" y="2602824"/>
                </a:lnTo>
                <a:lnTo>
                  <a:pt x="4872939" y="2629025"/>
                </a:lnTo>
                <a:lnTo>
                  <a:pt x="4876195" y="2646132"/>
                </a:lnTo>
                <a:lnTo>
                  <a:pt x="4878040" y="2646673"/>
                </a:lnTo>
                <a:lnTo>
                  <a:pt x="4879234" y="2652953"/>
                </a:lnTo>
                <a:lnTo>
                  <a:pt x="4879234" y="2655118"/>
                </a:lnTo>
                <a:lnTo>
                  <a:pt x="4882489" y="2656201"/>
                </a:lnTo>
                <a:lnTo>
                  <a:pt x="4884551" y="2661290"/>
                </a:lnTo>
                <a:lnTo>
                  <a:pt x="4885745" y="2668652"/>
                </a:lnTo>
                <a:lnTo>
                  <a:pt x="4889977" y="2669735"/>
                </a:lnTo>
                <a:lnTo>
                  <a:pt x="4889543" y="2663130"/>
                </a:lnTo>
                <a:lnTo>
                  <a:pt x="4888458" y="2663238"/>
                </a:lnTo>
                <a:lnTo>
                  <a:pt x="4888891" y="2658366"/>
                </a:lnTo>
                <a:lnTo>
                  <a:pt x="4890628" y="2657717"/>
                </a:lnTo>
                <a:lnTo>
                  <a:pt x="4894969" y="2663780"/>
                </a:lnTo>
                <a:lnTo>
                  <a:pt x="4893341" y="2665621"/>
                </a:lnTo>
                <a:lnTo>
                  <a:pt x="4897356" y="2671684"/>
                </a:lnTo>
                <a:lnTo>
                  <a:pt x="4900177" y="2674391"/>
                </a:lnTo>
                <a:lnTo>
                  <a:pt x="4902456" y="2672875"/>
                </a:lnTo>
                <a:lnTo>
                  <a:pt x="4906037" y="2672333"/>
                </a:lnTo>
                <a:lnTo>
                  <a:pt x="4907556" y="2673308"/>
                </a:lnTo>
                <a:lnTo>
                  <a:pt x="4910595" y="2672225"/>
                </a:lnTo>
                <a:lnTo>
                  <a:pt x="4915044" y="2677097"/>
                </a:lnTo>
                <a:lnTo>
                  <a:pt x="4917323" y="2679913"/>
                </a:lnTo>
                <a:lnTo>
                  <a:pt x="4923943" y="2681429"/>
                </a:lnTo>
                <a:lnTo>
                  <a:pt x="4925462" y="2684027"/>
                </a:lnTo>
                <a:lnTo>
                  <a:pt x="4933493" y="2693013"/>
                </a:lnTo>
                <a:lnTo>
                  <a:pt x="4936964" y="2698968"/>
                </a:lnTo>
                <a:lnTo>
                  <a:pt x="4941957" y="2701025"/>
                </a:lnTo>
                <a:lnTo>
                  <a:pt x="4945320" y="2705356"/>
                </a:lnTo>
                <a:lnTo>
                  <a:pt x="4947274" y="2705356"/>
                </a:lnTo>
                <a:lnTo>
                  <a:pt x="4947491" y="2703840"/>
                </a:lnTo>
                <a:lnTo>
                  <a:pt x="4949118" y="2706114"/>
                </a:lnTo>
                <a:lnTo>
                  <a:pt x="4953134" y="2715967"/>
                </a:lnTo>
                <a:lnTo>
                  <a:pt x="4956064" y="2716833"/>
                </a:lnTo>
                <a:lnTo>
                  <a:pt x="4959536" y="2721272"/>
                </a:lnTo>
                <a:lnTo>
                  <a:pt x="4958559" y="2722679"/>
                </a:lnTo>
                <a:lnTo>
                  <a:pt x="4960730" y="2727335"/>
                </a:lnTo>
                <a:lnTo>
                  <a:pt x="4963334" y="2727335"/>
                </a:lnTo>
                <a:lnTo>
                  <a:pt x="4965938" y="2728743"/>
                </a:lnTo>
                <a:lnTo>
                  <a:pt x="4967783" y="2727010"/>
                </a:lnTo>
                <a:lnTo>
                  <a:pt x="4968651" y="2728310"/>
                </a:lnTo>
                <a:lnTo>
                  <a:pt x="4969845" y="2728959"/>
                </a:lnTo>
                <a:lnTo>
                  <a:pt x="4969845" y="2728960"/>
                </a:lnTo>
                <a:lnTo>
                  <a:pt x="4969952" y="2728960"/>
                </a:lnTo>
                <a:lnTo>
                  <a:pt x="4969844" y="2730801"/>
                </a:lnTo>
                <a:lnTo>
                  <a:pt x="4975378" y="2736106"/>
                </a:lnTo>
                <a:lnTo>
                  <a:pt x="4976898" y="2736106"/>
                </a:lnTo>
                <a:lnTo>
                  <a:pt x="4976138" y="2738380"/>
                </a:lnTo>
                <a:lnTo>
                  <a:pt x="4977006" y="2745742"/>
                </a:lnTo>
                <a:lnTo>
                  <a:pt x="4974619" y="2746716"/>
                </a:lnTo>
                <a:lnTo>
                  <a:pt x="4970169" y="2751697"/>
                </a:lnTo>
                <a:lnTo>
                  <a:pt x="4966806" y="2751805"/>
                </a:lnTo>
                <a:lnTo>
                  <a:pt x="4964418" y="2755378"/>
                </a:lnTo>
                <a:lnTo>
                  <a:pt x="4959210" y="2755378"/>
                </a:lnTo>
                <a:lnTo>
                  <a:pt x="4961814" y="2758626"/>
                </a:lnTo>
                <a:lnTo>
                  <a:pt x="4963441" y="2758951"/>
                </a:lnTo>
                <a:lnTo>
                  <a:pt x="4967131" y="2757543"/>
                </a:lnTo>
                <a:lnTo>
                  <a:pt x="4973425" y="2757435"/>
                </a:lnTo>
                <a:lnTo>
                  <a:pt x="4974185" y="2759059"/>
                </a:lnTo>
                <a:lnTo>
                  <a:pt x="4968650" y="2769345"/>
                </a:lnTo>
                <a:lnTo>
                  <a:pt x="4968000" y="2770318"/>
                </a:lnTo>
                <a:lnTo>
                  <a:pt x="4968001" y="2770318"/>
                </a:lnTo>
                <a:lnTo>
                  <a:pt x="4968651" y="2769345"/>
                </a:lnTo>
                <a:lnTo>
                  <a:pt x="4974185" y="2759059"/>
                </a:lnTo>
                <a:lnTo>
                  <a:pt x="4975596" y="2762090"/>
                </a:lnTo>
                <a:lnTo>
                  <a:pt x="4977223" y="2762307"/>
                </a:lnTo>
                <a:lnTo>
                  <a:pt x="4991657" y="2778331"/>
                </a:lnTo>
                <a:lnTo>
                  <a:pt x="4993393" y="2781904"/>
                </a:lnTo>
                <a:lnTo>
                  <a:pt x="4995780" y="2782553"/>
                </a:lnTo>
                <a:lnTo>
                  <a:pt x="5001748" y="2787859"/>
                </a:lnTo>
                <a:lnTo>
                  <a:pt x="5007609" y="2789375"/>
                </a:lnTo>
                <a:lnTo>
                  <a:pt x="5014553" y="2788400"/>
                </a:lnTo>
                <a:lnTo>
                  <a:pt x="5016723" y="2785802"/>
                </a:lnTo>
                <a:lnTo>
                  <a:pt x="5022909" y="2782012"/>
                </a:lnTo>
                <a:lnTo>
                  <a:pt x="5026816" y="2781904"/>
                </a:lnTo>
                <a:lnTo>
                  <a:pt x="5034846" y="2775624"/>
                </a:lnTo>
                <a:lnTo>
                  <a:pt x="5037125" y="2775516"/>
                </a:lnTo>
                <a:lnTo>
                  <a:pt x="5038536" y="2776816"/>
                </a:lnTo>
                <a:lnTo>
                  <a:pt x="5045047" y="2776490"/>
                </a:lnTo>
                <a:lnTo>
                  <a:pt x="5047325" y="2775733"/>
                </a:lnTo>
                <a:lnTo>
                  <a:pt x="5052100" y="2778006"/>
                </a:lnTo>
                <a:lnTo>
                  <a:pt x="5059045" y="2777249"/>
                </a:lnTo>
                <a:lnTo>
                  <a:pt x="5073587" y="2768153"/>
                </a:lnTo>
                <a:lnTo>
                  <a:pt x="5078253" y="2767288"/>
                </a:lnTo>
                <a:lnTo>
                  <a:pt x="5082919" y="2769345"/>
                </a:lnTo>
                <a:lnTo>
                  <a:pt x="5086609" y="2768153"/>
                </a:lnTo>
                <a:lnTo>
                  <a:pt x="5093011" y="2768478"/>
                </a:lnTo>
                <a:lnTo>
                  <a:pt x="5099739" y="2765122"/>
                </a:lnTo>
                <a:lnTo>
                  <a:pt x="5107227" y="2764581"/>
                </a:lnTo>
                <a:lnTo>
                  <a:pt x="5109505" y="2765988"/>
                </a:lnTo>
                <a:lnTo>
                  <a:pt x="5112001" y="2765988"/>
                </a:lnTo>
                <a:lnTo>
                  <a:pt x="5123612" y="2763823"/>
                </a:lnTo>
                <a:lnTo>
                  <a:pt x="5128062" y="2760250"/>
                </a:lnTo>
                <a:lnTo>
                  <a:pt x="5135115" y="2759276"/>
                </a:lnTo>
                <a:lnTo>
                  <a:pt x="5137068" y="2761116"/>
                </a:lnTo>
                <a:lnTo>
                  <a:pt x="5137720" y="2759167"/>
                </a:lnTo>
                <a:lnTo>
                  <a:pt x="5145099" y="2758192"/>
                </a:lnTo>
                <a:lnTo>
                  <a:pt x="5149331" y="2753970"/>
                </a:lnTo>
                <a:lnTo>
                  <a:pt x="5150199" y="2754620"/>
                </a:lnTo>
                <a:lnTo>
                  <a:pt x="5152043" y="2751155"/>
                </a:lnTo>
                <a:lnTo>
                  <a:pt x="5151393" y="2750614"/>
                </a:lnTo>
                <a:lnTo>
                  <a:pt x="5154323" y="2747799"/>
                </a:lnTo>
                <a:lnTo>
                  <a:pt x="5156385" y="2748015"/>
                </a:lnTo>
                <a:lnTo>
                  <a:pt x="5156059" y="2746933"/>
                </a:lnTo>
                <a:lnTo>
                  <a:pt x="5158989" y="2748990"/>
                </a:lnTo>
                <a:lnTo>
                  <a:pt x="5165066" y="2751047"/>
                </a:lnTo>
                <a:lnTo>
                  <a:pt x="5167887" y="2750831"/>
                </a:lnTo>
                <a:lnTo>
                  <a:pt x="5168972" y="2751480"/>
                </a:lnTo>
                <a:lnTo>
                  <a:pt x="5166477" y="2755161"/>
                </a:lnTo>
                <a:lnTo>
                  <a:pt x="5164957" y="2758951"/>
                </a:lnTo>
                <a:lnTo>
                  <a:pt x="5164632" y="2762849"/>
                </a:lnTo>
                <a:lnTo>
                  <a:pt x="5163221" y="2765230"/>
                </a:lnTo>
                <a:lnTo>
                  <a:pt x="5164415" y="2767288"/>
                </a:lnTo>
                <a:lnTo>
                  <a:pt x="5167562" y="2767396"/>
                </a:lnTo>
                <a:lnTo>
                  <a:pt x="5167779" y="2768804"/>
                </a:lnTo>
                <a:lnTo>
                  <a:pt x="5165282" y="2770969"/>
                </a:lnTo>
                <a:lnTo>
                  <a:pt x="5163113" y="2775949"/>
                </a:lnTo>
                <a:lnTo>
                  <a:pt x="5165282" y="2778873"/>
                </a:lnTo>
                <a:lnTo>
                  <a:pt x="5166042" y="2782770"/>
                </a:lnTo>
                <a:lnTo>
                  <a:pt x="5164306" y="2786559"/>
                </a:lnTo>
                <a:lnTo>
                  <a:pt x="5167454" y="2786126"/>
                </a:lnTo>
                <a:lnTo>
                  <a:pt x="5167127" y="2785044"/>
                </a:lnTo>
                <a:lnTo>
                  <a:pt x="5168647" y="2785369"/>
                </a:lnTo>
                <a:lnTo>
                  <a:pt x="5170057" y="2788184"/>
                </a:lnTo>
                <a:lnTo>
                  <a:pt x="5168430" y="2789050"/>
                </a:lnTo>
                <a:lnTo>
                  <a:pt x="5167995" y="2788075"/>
                </a:lnTo>
                <a:lnTo>
                  <a:pt x="5164957" y="2788184"/>
                </a:lnTo>
                <a:lnTo>
                  <a:pt x="5162787" y="2788725"/>
                </a:lnTo>
                <a:lnTo>
                  <a:pt x="5159314" y="2794680"/>
                </a:lnTo>
                <a:lnTo>
                  <a:pt x="5161268" y="2797820"/>
                </a:lnTo>
                <a:lnTo>
                  <a:pt x="5160291" y="2803450"/>
                </a:lnTo>
                <a:lnTo>
                  <a:pt x="5158772" y="2806048"/>
                </a:lnTo>
                <a:lnTo>
                  <a:pt x="5159206" y="2812220"/>
                </a:lnTo>
                <a:lnTo>
                  <a:pt x="5150959" y="2823696"/>
                </a:lnTo>
                <a:lnTo>
                  <a:pt x="5145207" y="2835606"/>
                </a:lnTo>
                <a:lnTo>
                  <a:pt x="5141843" y="2839829"/>
                </a:lnTo>
                <a:lnTo>
                  <a:pt x="5139890" y="2839504"/>
                </a:lnTo>
                <a:lnTo>
                  <a:pt x="5134682" y="2845242"/>
                </a:lnTo>
                <a:lnTo>
                  <a:pt x="5134247" y="2847840"/>
                </a:lnTo>
                <a:lnTo>
                  <a:pt x="5136635" y="2851305"/>
                </a:lnTo>
                <a:lnTo>
                  <a:pt x="5133596" y="2854012"/>
                </a:lnTo>
                <a:lnTo>
                  <a:pt x="5120031" y="2879780"/>
                </a:lnTo>
                <a:lnTo>
                  <a:pt x="5119489" y="2887360"/>
                </a:lnTo>
                <a:lnTo>
                  <a:pt x="5110699" y="2899486"/>
                </a:lnTo>
                <a:lnTo>
                  <a:pt x="5110373" y="2903492"/>
                </a:lnTo>
                <a:lnTo>
                  <a:pt x="5094096" y="2925471"/>
                </a:lnTo>
                <a:lnTo>
                  <a:pt x="5092468" y="2930559"/>
                </a:lnTo>
                <a:lnTo>
                  <a:pt x="5085306" y="2937922"/>
                </a:lnTo>
                <a:lnTo>
                  <a:pt x="5072610" y="2953296"/>
                </a:lnTo>
                <a:lnTo>
                  <a:pt x="5046023" y="2976683"/>
                </a:lnTo>
                <a:lnTo>
                  <a:pt x="5034629" y="2986426"/>
                </a:lnTo>
                <a:lnTo>
                  <a:pt x="5026707" y="2987942"/>
                </a:lnTo>
                <a:lnTo>
                  <a:pt x="5019980" y="2992599"/>
                </a:lnTo>
                <a:lnTo>
                  <a:pt x="5011515" y="2999095"/>
                </a:lnTo>
                <a:lnTo>
                  <a:pt x="4995238" y="3016201"/>
                </a:lnTo>
                <a:lnTo>
                  <a:pt x="4991548" y="3017284"/>
                </a:lnTo>
                <a:lnTo>
                  <a:pt x="4978200" y="3032117"/>
                </a:lnTo>
                <a:lnTo>
                  <a:pt x="4975813" y="3032984"/>
                </a:lnTo>
                <a:lnTo>
                  <a:pt x="4973860" y="3036664"/>
                </a:lnTo>
                <a:lnTo>
                  <a:pt x="4968977" y="3038072"/>
                </a:lnTo>
                <a:lnTo>
                  <a:pt x="4963876" y="3042944"/>
                </a:lnTo>
                <a:lnTo>
                  <a:pt x="4961706" y="3048033"/>
                </a:lnTo>
                <a:lnTo>
                  <a:pt x="4941956" y="3069795"/>
                </a:lnTo>
                <a:lnTo>
                  <a:pt x="4941739" y="3070877"/>
                </a:lnTo>
                <a:lnTo>
                  <a:pt x="4941739" y="3070878"/>
                </a:lnTo>
                <a:lnTo>
                  <a:pt x="4941413" y="3072394"/>
                </a:lnTo>
                <a:lnTo>
                  <a:pt x="4933491" y="3081921"/>
                </a:lnTo>
                <a:lnTo>
                  <a:pt x="4931647" y="3082571"/>
                </a:lnTo>
                <a:lnTo>
                  <a:pt x="4928825" y="3085602"/>
                </a:lnTo>
                <a:lnTo>
                  <a:pt x="4930236" y="3087984"/>
                </a:lnTo>
                <a:lnTo>
                  <a:pt x="4922097" y="3090800"/>
                </a:lnTo>
                <a:lnTo>
                  <a:pt x="4917757" y="3096863"/>
                </a:lnTo>
                <a:lnTo>
                  <a:pt x="4910703" y="3096863"/>
                </a:lnTo>
                <a:lnTo>
                  <a:pt x="4907773" y="3097837"/>
                </a:lnTo>
                <a:lnTo>
                  <a:pt x="4907231" y="3099570"/>
                </a:lnTo>
                <a:lnTo>
                  <a:pt x="4903866" y="3103467"/>
                </a:lnTo>
                <a:lnTo>
                  <a:pt x="4903650" y="3106390"/>
                </a:lnTo>
                <a:lnTo>
                  <a:pt x="4905168" y="3107582"/>
                </a:lnTo>
                <a:lnTo>
                  <a:pt x="4901262" y="3113645"/>
                </a:lnTo>
                <a:lnTo>
                  <a:pt x="4897355" y="3118408"/>
                </a:lnTo>
                <a:lnTo>
                  <a:pt x="4897355" y="3123822"/>
                </a:lnTo>
                <a:lnTo>
                  <a:pt x="4893883" y="3131401"/>
                </a:lnTo>
                <a:lnTo>
                  <a:pt x="4885201" y="3143961"/>
                </a:lnTo>
                <a:lnTo>
                  <a:pt x="4880101" y="3146018"/>
                </a:lnTo>
                <a:lnTo>
                  <a:pt x="4878040" y="3146018"/>
                </a:lnTo>
                <a:lnTo>
                  <a:pt x="4848306" y="3125122"/>
                </a:lnTo>
                <a:lnTo>
                  <a:pt x="4848307" y="3125122"/>
                </a:lnTo>
                <a:lnTo>
                  <a:pt x="4878040" y="3146018"/>
                </a:lnTo>
                <a:lnTo>
                  <a:pt x="4877172" y="3146018"/>
                </a:lnTo>
                <a:lnTo>
                  <a:pt x="4878365" y="3147318"/>
                </a:lnTo>
                <a:lnTo>
                  <a:pt x="4878799" y="3150999"/>
                </a:lnTo>
                <a:lnTo>
                  <a:pt x="4877172" y="3153381"/>
                </a:lnTo>
                <a:lnTo>
                  <a:pt x="4872071" y="3169188"/>
                </a:lnTo>
                <a:lnTo>
                  <a:pt x="4868057" y="3179149"/>
                </a:lnTo>
                <a:lnTo>
                  <a:pt x="4868382" y="3184671"/>
                </a:lnTo>
                <a:lnTo>
                  <a:pt x="4875110" y="3190518"/>
                </a:lnTo>
                <a:lnTo>
                  <a:pt x="4880102" y="3196148"/>
                </a:lnTo>
                <a:lnTo>
                  <a:pt x="4883249" y="3195715"/>
                </a:lnTo>
                <a:lnTo>
                  <a:pt x="4886504" y="3204593"/>
                </a:lnTo>
                <a:lnTo>
                  <a:pt x="4885094" y="3207300"/>
                </a:lnTo>
                <a:lnTo>
                  <a:pt x="4883140" y="3206758"/>
                </a:lnTo>
                <a:lnTo>
                  <a:pt x="4880210" y="3208599"/>
                </a:lnTo>
                <a:lnTo>
                  <a:pt x="4878799" y="3214338"/>
                </a:lnTo>
                <a:lnTo>
                  <a:pt x="4879234" y="3223215"/>
                </a:lnTo>
                <a:lnTo>
                  <a:pt x="4882815" y="3226680"/>
                </a:lnTo>
                <a:lnTo>
                  <a:pt x="4882164" y="3232311"/>
                </a:lnTo>
                <a:lnTo>
                  <a:pt x="4879017" y="3234909"/>
                </a:lnTo>
                <a:lnTo>
                  <a:pt x="4879776" y="3240214"/>
                </a:lnTo>
                <a:lnTo>
                  <a:pt x="4882381" y="3246602"/>
                </a:lnTo>
                <a:lnTo>
                  <a:pt x="4881078" y="3246927"/>
                </a:lnTo>
                <a:lnTo>
                  <a:pt x="4882489" y="3249850"/>
                </a:lnTo>
                <a:lnTo>
                  <a:pt x="4883465" y="3254505"/>
                </a:lnTo>
                <a:lnTo>
                  <a:pt x="4886287" y="3256888"/>
                </a:lnTo>
                <a:lnTo>
                  <a:pt x="4883900" y="3260786"/>
                </a:lnTo>
                <a:lnTo>
                  <a:pt x="4886178" y="3263492"/>
                </a:lnTo>
                <a:lnTo>
                  <a:pt x="4888566" y="3270638"/>
                </a:lnTo>
                <a:lnTo>
                  <a:pt x="4887807" y="3274211"/>
                </a:lnTo>
                <a:lnTo>
                  <a:pt x="4896271" y="3282439"/>
                </a:lnTo>
                <a:lnTo>
                  <a:pt x="4902456" y="3283306"/>
                </a:lnTo>
                <a:lnTo>
                  <a:pt x="4907665" y="3287637"/>
                </a:lnTo>
                <a:lnTo>
                  <a:pt x="4907665" y="3290019"/>
                </a:lnTo>
                <a:lnTo>
                  <a:pt x="4908315" y="3290343"/>
                </a:lnTo>
                <a:lnTo>
                  <a:pt x="4908316" y="3290343"/>
                </a:lnTo>
                <a:lnTo>
                  <a:pt x="4910052" y="3291426"/>
                </a:lnTo>
                <a:lnTo>
                  <a:pt x="4909075" y="3297055"/>
                </a:lnTo>
                <a:lnTo>
                  <a:pt x="4907881" y="3299871"/>
                </a:lnTo>
                <a:lnTo>
                  <a:pt x="4909075" y="3300953"/>
                </a:lnTo>
                <a:lnTo>
                  <a:pt x="4904192" y="3307991"/>
                </a:lnTo>
                <a:lnTo>
                  <a:pt x="4903649" y="3310589"/>
                </a:lnTo>
                <a:lnTo>
                  <a:pt x="4904626" y="3312322"/>
                </a:lnTo>
                <a:lnTo>
                  <a:pt x="4904951" y="3313838"/>
                </a:lnTo>
                <a:lnTo>
                  <a:pt x="4903106" y="3315570"/>
                </a:lnTo>
                <a:lnTo>
                  <a:pt x="4904192" y="3324123"/>
                </a:lnTo>
                <a:lnTo>
                  <a:pt x="4906905" y="3329104"/>
                </a:lnTo>
                <a:lnTo>
                  <a:pt x="4905494" y="3330620"/>
                </a:lnTo>
                <a:lnTo>
                  <a:pt x="4905494" y="3336683"/>
                </a:lnTo>
                <a:lnTo>
                  <a:pt x="4906905" y="3338199"/>
                </a:lnTo>
                <a:lnTo>
                  <a:pt x="4907013" y="3344153"/>
                </a:lnTo>
                <a:lnTo>
                  <a:pt x="4904517" y="3346644"/>
                </a:lnTo>
                <a:lnTo>
                  <a:pt x="4905386" y="3352923"/>
                </a:lnTo>
                <a:lnTo>
                  <a:pt x="4903649" y="3364724"/>
                </a:lnTo>
                <a:lnTo>
                  <a:pt x="4902673" y="3364724"/>
                </a:lnTo>
                <a:lnTo>
                  <a:pt x="4904083" y="3366782"/>
                </a:lnTo>
                <a:lnTo>
                  <a:pt x="4904083" y="3377501"/>
                </a:lnTo>
                <a:lnTo>
                  <a:pt x="4900502" y="3378042"/>
                </a:lnTo>
                <a:lnTo>
                  <a:pt x="4900394" y="3379341"/>
                </a:lnTo>
                <a:lnTo>
                  <a:pt x="4901588" y="3381074"/>
                </a:lnTo>
                <a:lnTo>
                  <a:pt x="4906362" y="3381290"/>
                </a:lnTo>
                <a:lnTo>
                  <a:pt x="4907664" y="3382265"/>
                </a:lnTo>
                <a:lnTo>
                  <a:pt x="4908749" y="3391468"/>
                </a:lnTo>
                <a:lnTo>
                  <a:pt x="4906362" y="3395041"/>
                </a:lnTo>
                <a:lnTo>
                  <a:pt x="4903758" y="3396231"/>
                </a:lnTo>
                <a:lnTo>
                  <a:pt x="4905386" y="3398397"/>
                </a:lnTo>
                <a:lnTo>
                  <a:pt x="4904626" y="3400779"/>
                </a:lnTo>
                <a:lnTo>
                  <a:pt x="4901479" y="3400779"/>
                </a:lnTo>
                <a:lnTo>
                  <a:pt x="4898115" y="3404243"/>
                </a:lnTo>
                <a:lnTo>
                  <a:pt x="4898983" y="3405435"/>
                </a:lnTo>
                <a:lnTo>
                  <a:pt x="4900068" y="3404568"/>
                </a:lnTo>
                <a:lnTo>
                  <a:pt x="4903106" y="3404894"/>
                </a:lnTo>
                <a:lnTo>
                  <a:pt x="4900936" y="3408033"/>
                </a:lnTo>
                <a:lnTo>
                  <a:pt x="4900394" y="3412905"/>
                </a:lnTo>
                <a:lnTo>
                  <a:pt x="4897355" y="3413446"/>
                </a:lnTo>
                <a:lnTo>
                  <a:pt x="4892147" y="3420051"/>
                </a:lnTo>
                <a:lnTo>
                  <a:pt x="4892147" y="3422974"/>
                </a:lnTo>
                <a:lnTo>
                  <a:pt x="4887372" y="3429470"/>
                </a:lnTo>
                <a:lnTo>
                  <a:pt x="4883465" y="3430012"/>
                </a:lnTo>
                <a:lnTo>
                  <a:pt x="4883791" y="3434559"/>
                </a:lnTo>
                <a:lnTo>
                  <a:pt x="4867839" y="3443221"/>
                </a:lnTo>
                <a:lnTo>
                  <a:pt x="4865560" y="3443329"/>
                </a:lnTo>
                <a:lnTo>
                  <a:pt x="4864258" y="3446794"/>
                </a:lnTo>
                <a:lnTo>
                  <a:pt x="4849066" y="3454806"/>
                </a:lnTo>
                <a:lnTo>
                  <a:pt x="4843206" y="3454157"/>
                </a:lnTo>
                <a:lnTo>
                  <a:pt x="4842880" y="3455347"/>
                </a:lnTo>
                <a:lnTo>
                  <a:pt x="4835935" y="3458595"/>
                </a:lnTo>
                <a:lnTo>
                  <a:pt x="4826277" y="3464875"/>
                </a:lnTo>
                <a:lnTo>
                  <a:pt x="4823998" y="3463359"/>
                </a:lnTo>
                <a:lnTo>
                  <a:pt x="4823890" y="3466391"/>
                </a:lnTo>
                <a:lnTo>
                  <a:pt x="4818030" y="3473428"/>
                </a:lnTo>
                <a:lnTo>
                  <a:pt x="4815100" y="3474728"/>
                </a:lnTo>
                <a:lnTo>
                  <a:pt x="4813364" y="3470938"/>
                </a:lnTo>
                <a:lnTo>
                  <a:pt x="4812387" y="3477110"/>
                </a:lnTo>
                <a:lnTo>
                  <a:pt x="4809565" y="3477867"/>
                </a:lnTo>
                <a:lnTo>
                  <a:pt x="4808697" y="3481549"/>
                </a:lnTo>
                <a:lnTo>
                  <a:pt x="4799039" y="3487179"/>
                </a:lnTo>
                <a:lnTo>
                  <a:pt x="4798930" y="3489561"/>
                </a:lnTo>
                <a:lnTo>
                  <a:pt x="4796326" y="3491726"/>
                </a:lnTo>
                <a:lnTo>
                  <a:pt x="4794156" y="3492484"/>
                </a:lnTo>
                <a:lnTo>
                  <a:pt x="4794373" y="3495732"/>
                </a:lnTo>
                <a:lnTo>
                  <a:pt x="4788839" y="3495949"/>
                </a:lnTo>
                <a:lnTo>
                  <a:pt x="4776034" y="3504502"/>
                </a:lnTo>
                <a:lnTo>
                  <a:pt x="4776685" y="3509916"/>
                </a:lnTo>
                <a:lnTo>
                  <a:pt x="4772561" y="3512947"/>
                </a:lnTo>
                <a:lnTo>
                  <a:pt x="4766809" y="3512947"/>
                </a:lnTo>
                <a:lnTo>
                  <a:pt x="4764423" y="3516087"/>
                </a:lnTo>
                <a:lnTo>
                  <a:pt x="4759865" y="3513164"/>
                </a:lnTo>
                <a:lnTo>
                  <a:pt x="4757369" y="3513489"/>
                </a:lnTo>
                <a:lnTo>
                  <a:pt x="4757369" y="3515546"/>
                </a:lnTo>
                <a:lnTo>
                  <a:pt x="4759756" y="3518252"/>
                </a:lnTo>
                <a:lnTo>
                  <a:pt x="4759539" y="3522042"/>
                </a:lnTo>
                <a:lnTo>
                  <a:pt x="4757803" y="3524424"/>
                </a:lnTo>
                <a:lnTo>
                  <a:pt x="4758454" y="3527997"/>
                </a:lnTo>
                <a:lnTo>
                  <a:pt x="4755958" y="3531786"/>
                </a:lnTo>
                <a:lnTo>
                  <a:pt x="4762795" y="3540989"/>
                </a:lnTo>
                <a:lnTo>
                  <a:pt x="4763012" y="3544237"/>
                </a:lnTo>
                <a:lnTo>
                  <a:pt x="4759865" y="3546728"/>
                </a:lnTo>
                <a:lnTo>
                  <a:pt x="4762252" y="3547811"/>
                </a:lnTo>
                <a:lnTo>
                  <a:pt x="4764748" y="3552033"/>
                </a:lnTo>
                <a:lnTo>
                  <a:pt x="4764965" y="3557554"/>
                </a:lnTo>
                <a:lnTo>
                  <a:pt x="4767786" y="3562860"/>
                </a:lnTo>
                <a:lnTo>
                  <a:pt x="4766593" y="3577693"/>
                </a:lnTo>
                <a:lnTo>
                  <a:pt x="4768003" y="3582998"/>
                </a:lnTo>
                <a:lnTo>
                  <a:pt x="4769740" y="3582674"/>
                </a:lnTo>
                <a:lnTo>
                  <a:pt x="4769740" y="3578559"/>
                </a:lnTo>
                <a:lnTo>
                  <a:pt x="4772453" y="3572821"/>
                </a:lnTo>
                <a:lnTo>
                  <a:pt x="4772778" y="3577802"/>
                </a:lnTo>
                <a:lnTo>
                  <a:pt x="4773972" y="3577693"/>
                </a:lnTo>
                <a:lnTo>
                  <a:pt x="4773646" y="3584190"/>
                </a:lnTo>
                <a:lnTo>
                  <a:pt x="4771693" y="3586680"/>
                </a:lnTo>
                <a:lnTo>
                  <a:pt x="4771259" y="3593176"/>
                </a:lnTo>
                <a:lnTo>
                  <a:pt x="4772344" y="3594042"/>
                </a:lnTo>
                <a:lnTo>
                  <a:pt x="4769522" y="3601621"/>
                </a:lnTo>
                <a:lnTo>
                  <a:pt x="4769522" y="3605519"/>
                </a:lnTo>
                <a:lnTo>
                  <a:pt x="4767353" y="3608333"/>
                </a:lnTo>
                <a:lnTo>
                  <a:pt x="4767027" y="3613206"/>
                </a:lnTo>
                <a:lnTo>
                  <a:pt x="4765725" y="3613206"/>
                </a:lnTo>
                <a:lnTo>
                  <a:pt x="4766593" y="3617320"/>
                </a:lnTo>
                <a:lnTo>
                  <a:pt x="4770174" y="3615155"/>
                </a:lnTo>
                <a:lnTo>
                  <a:pt x="4771042" y="3617861"/>
                </a:lnTo>
                <a:lnTo>
                  <a:pt x="4768003" y="3622409"/>
                </a:lnTo>
                <a:lnTo>
                  <a:pt x="4766593" y="3628472"/>
                </a:lnTo>
                <a:lnTo>
                  <a:pt x="4757912" y="3637783"/>
                </a:lnTo>
                <a:lnTo>
                  <a:pt x="4742393" y="3644821"/>
                </a:lnTo>
                <a:lnTo>
                  <a:pt x="4721341" y="3648935"/>
                </a:lnTo>
                <a:lnTo>
                  <a:pt x="4713311" y="3656514"/>
                </a:lnTo>
                <a:lnTo>
                  <a:pt x="4707234" y="3658138"/>
                </a:lnTo>
                <a:lnTo>
                  <a:pt x="4705389" y="3660953"/>
                </a:lnTo>
                <a:lnTo>
                  <a:pt x="4702351" y="3663443"/>
                </a:lnTo>
                <a:lnTo>
                  <a:pt x="4700615" y="3669182"/>
                </a:lnTo>
                <a:lnTo>
                  <a:pt x="4698119" y="3669182"/>
                </a:lnTo>
                <a:lnTo>
                  <a:pt x="4695949" y="3670697"/>
                </a:lnTo>
                <a:lnTo>
                  <a:pt x="4696925" y="3671997"/>
                </a:lnTo>
                <a:lnTo>
                  <a:pt x="4699204" y="3676328"/>
                </a:lnTo>
                <a:lnTo>
                  <a:pt x="4698987" y="3680550"/>
                </a:lnTo>
                <a:lnTo>
                  <a:pt x="4701157" y="3677844"/>
                </a:lnTo>
                <a:lnTo>
                  <a:pt x="4704630" y="3678818"/>
                </a:lnTo>
                <a:lnTo>
                  <a:pt x="4705606" y="3674812"/>
                </a:lnTo>
                <a:lnTo>
                  <a:pt x="4707234" y="3674595"/>
                </a:lnTo>
                <a:lnTo>
                  <a:pt x="4707343" y="3676869"/>
                </a:lnTo>
                <a:lnTo>
                  <a:pt x="4706366" y="3683473"/>
                </a:lnTo>
                <a:lnTo>
                  <a:pt x="4703979" y="3687479"/>
                </a:lnTo>
                <a:lnTo>
                  <a:pt x="4703870" y="3691161"/>
                </a:lnTo>
                <a:lnTo>
                  <a:pt x="4699095" y="3691269"/>
                </a:lnTo>
                <a:lnTo>
                  <a:pt x="4690851" y="3689320"/>
                </a:lnTo>
                <a:lnTo>
                  <a:pt x="4696491" y="3692568"/>
                </a:lnTo>
                <a:lnTo>
                  <a:pt x="4701266" y="3692568"/>
                </a:lnTo>
                <a:lnTo>
                  <a:pt x="4701266" y="3693758"/>
                </a:lnTo>
                <a:lnTo>
                  <a:pt x="4698336" y="3697549"/>
                </a:lnTo>
                <a:lnTo>
                  <a:pt x="4699747" y="3697549"/>
                </a:lnTo>
                <a:lnTo>
                  <a:pt x="4696818" y="3706210"/>
                </a:lnTo>
                <a:lnTo>
                  <a:pt x="4696058" y="3713680"/>
                </a:lnTo>
                <a:lnTo>
                  <a:pt x="4692476" y="3720826"/>
                </a:lnTo>
                <a:lnTo>
                  <a:pt x="4690089" y="3730030"/>
                </a:lnTo>
                <a:lnTo>
                  <a:pt x="4686617" y="3734143"/>
                </a:lnTo>
                <a:lnTo>
                  <a:pt x="4685532" y="3738366"/>
                </a:lnTo>
                <a:lnTo>
                  <a:pt x="4678912" y="3746053"/>
                </a:lnTo>
                <a:lnTo>
                  <a:pt x="4676850" y="3746053"/>
                </a:lnTo>
                <a:lnTo>
                  <a:pt x="4675440" y="3748110"/>
                </a:lnTo>
                <a:lnTo>
                  <a:pt x="4670556" y="3750384"/>
                </a:lnTo>
                <a:lnTo>
                  <a:pt x="4668277" y="3753199"/>
                </a:lnTo>
                <a:lnTo>
                  <a:pt x="4662526" y="3756880"/>
                </a:lnTo>
                <a:lnTo>
                  <a:pt x="4659596" y="3762510"/>
                </a:lnTo>
                <a:lnTo>
                  <a:pt x="4654930" y="3767924"/>
                </a:lnTo>
                <a:lnTo>
                  <a:pt x="4654930" y="3770306"/>
                </a:lnTo>
                <a:lnTo>
                  <a:pt x="4652217" y="3775395"/>
                </a:lnTo>
                <a:lnTo>
                  <a:pt x="4647659" y="3775395"/>
                </a:lnTo>
                <a:lnTo>
                  <a:pt x="4644078" y="3782432"/>
                </a:lnTo>
                <a:lnTo>
                  <a:pt x="4634094" y="3798997"/>
                </a:lnTo>
                <a:lnTo>
                  <a:pt x="4626499" y="3806252"/>
                </a:lnTo>
                <a:lnTo>
                  <a:pt x="4625196" y="3812856"/>
                </a:lnTo>
                <a:lnTo>
                  <a:pt x="4620747" y="3814805"/>
                </a:lnTo>
                <a:lnTo>
                  <a:pt x="4616514" y="3819785"/>
                </a:lnTo>
                <a:lnTo>
                  <a:pt x="4614128" y="3819785"/>
                </a:lnTo>
                <a:lnTo>
                  <a:pt x="4613042" y="3821734"/>
                </a:lnTo>
                <a:lnTo>
                  <a:pt x="4588083" y="3846312"/>
                </a:lnTo>
                <a:lnTo>
                  <a:pt x="4585045" y="3846312"/>
                </a:lnTo>
                <a:lnTo>
                  <a:pt x="4585045" y="3847611"/>
                </a:lnTo>
                <a:lnTo>
                  <a:pt x="4581030" y="3852158"/>
                </a:lnTo>
                <a:lnTo>
                  <a:pt x="4564644" y="3862985"/>
                </a:lnTo>
                <a:lnTo>
                  <a:pt x="4561171" y="3866883"/>
                </a:lnTo>
                <a:lnTo>
                  <a:pt x="4555420" y="3868615"/>
                </a:lnTo>
                <a:lnTo>
                  <a:pt x="4555420" y="3870131"/>
                </a:lnTo>
                <a:lnTo>
                  <a:pt x="4546305" y="3872513"/>
                </a:lnTo>
                <a:lnTo>
                  <a:pt x="4541096" y="3875761"/>
                </a:lnTo>
                <a:lnTo>
                  <a:pt x="4535670" y="3875761"/>
                </a:lnTo>
                <a:lnTo>
                  <a:pt x="4533065" y="3873812"/>
                </a:lnTo>
                <a:lnTo>
                  <a:pt x="4525795" y="3873812"/>
                </a:lnTo>
                <a:lnTo>
                  <a:pt x="4519718" y="3875652"/>
                </a:lnTo>
                <a:lnTo>
                  <a:pt x="4517222" y="3879984"/>
                </a:lnTo>
                <a:lnTo>
                  <a:pt x="4520803" y="3883015"/>
                </a:lnTo>
                <a:lnTo>
                  <a:pt x="4520803" y="3884314"/>
                </a:lnTo>
                <a:lnTo>
                  <a:pt x="4512447" y="3884314"/>
                </a:lnTo>
                <a:lnTo>
                  <a:pt x="4507564" y="3881824"/>
                </a:lnTo>
                <a:lnTo>
                  <a:pt x="4503657" y="3881824"/>
                </a:lnTo>
                <a:lnTo>
                  <a:pt x="4500293" y="3885180"/>
                </a:lnTo>
                <a:lnTo>
                  <a:pt x="4501704" y="3888212"/>
                </a:lnTo>
                <a:lnTo>
                  <a:pt x="4500185" y="3889728"/>
                </a:lnTo>
                <a:lnTo>
                  <a:pt x="4488682" y="3887237"/>
                </a:lnTo>
                <a:lnTo>
                  <a:pt x="4485427" y="3884747"/>
                </a:lnTo>
                <a:lnTo>
                  <a:pt x="4474575" y="3881933"/>
                </a:lnTo>
                <a:lnTo>
                  <a:pt x="4467304" y="3883340"/>
                </a:lnTo>
                <a:lnTo>
                  <a:pt x="4467304" y="3883123"/>
                </a:lnTo>
                <a:lnTo>
                  <a:pt x="4463506" y="3884531"/>
                </a:lnTo>
                <a:lnTo>
                  <a:pt x="4457863" y="3881500"/>
                </a:lnTo>
                <a:lnTo>
                  <a:pt x="4445059" y="3881500"/>
                </a:lnTo>
                <a:lnTo>
                  <a:pt x="4441261" y="3883231"/>
                </a:lnTo>
                <a:lnTo>
                  <a:pt x="4440067" y="3887129"/>
                </a:lnTo>
                <a:lnTo>
                  <a:pt x="4437571" y="3885939"/>
                </a:lnTo>
                <a:lnTo>
                  <a:pt x="4434641" y="3886804"/>
                </a:lnTo>
                <a:lnTo>
                  <a:pt x="4432037" y="3888971"/>
                </a:lnTo>
                <a:lnTo>
                  <a:pt x="4430625" y="3890919"/>
                </a:lnTo>
                <a:lnTo>
                  <a:pt x="4424983" y="3890919"/>
                </a:lnTo>
                <a:lnTo>
                  <a:pt x="4421293" y="3892543"/>
                </a:lnTo>
                <a:lnTo>
                  <a:pt x="4414240" y="3890053"/>
                </a:lnTo>
                <a:lnTo>
                  <a:pt x="4408271" y="3890053"/>
                </a:lnTo>
                <a:lnTo>
                  <a:pt x="4407078" y="3891785"/>
                </a:lnTo>
                <a:lnTo>
                  <a:pt x="4401326" y="3890486"/>
                </a:lnTo>
                <a:lnTo>
                  <a:pt x="4396226" y="3896333"/>
                </a:lnTo>
                <a:lnTo>
                  <a:pt x="4391886" y="3897091"/>
                </a:lnTo>
                <a:lnTo>
                  <a:pt x="4390366" y="3900555"/>
                </a:lnTo>
                <a:lnTo>
                  <a:pt x="4387871" y="3899689"/>
                </a:lnTo>
                <a:lnTo>
                  <a:pt x="4385591" y="3900771"/>
                </a:lnTo>
                <a:lnTo>
                  <a:pt x="4373655" y="3895142"/>
                </a:lnTo>
                <a:lnTo>
                  <a:pt x="4371267" y="3896549"/>
                </a:lnTo>
                <a:lnTo>
                  <a:pt x="4371267" y="3890811"/>
                </a:lnTo>
                <a:lnTo>
                  <a:pt x="4366709" y="3888537"/>
                </a:lnTo>
                <a:lnTo>
                  <a:pt x="4363237" y="3890269"/>
                </a:lnTo>
                <a:lnTo>
                  <a:pt x="4360958" y="3889295"/>
                </a:lnTo>
                <a:lnTo>
                  <a:pt x="4362911" y="3887671"/>
                </a:lnTo>
                <a:lnTo>
                  <a:pt x="4361609" y="3882690"/>
                </a:lnTo>
                <a:lnTo>
                  <a:pt x="4356075" y="3881715"/>
                </a:lnTo>
                <a:lnTo>
                  <a:pt x="4352060" y="3885289"/>
                </a:lnTo>
                <a:lnTo>
                  <a:pt x="4352060" y="3889728"/>
                </a:lnTo>
                <a:lnTo>
                  <a:pt x="4349021" y="3887455"/>
                </a:lnTo>
                <a:lnTo>
                  <a:pt x="4349021" y="3882582"/>
                </a:lnTo>
                <a:lnTo>
                  <a:pt x="4350757" y="3878468"/>
                </a:lnTo>
                <a:lnTo>
                  <a:pt x="4349672" y="3872513"/>
                </a:lnTo>
                <a:lnTo>
                  <a:pt x="4352928" y="3867208"/>
                </a:lnTo>
                <a:lnTo>
                  <a:pt x="4348696" y="3859521"/>
                </a:lnTo>
                <a:lnTo>
                  <a:pt x="4344464" y="3855731"/>
                </a:lnTo>
                <a:lnTo>
                  <a:pt x="4340883" y="3849560"/>
                </a:lnTo>
                <a:lnTo>
                  <a:pt x="4340883" y="3843388"/>
                </a:lnTo>
                <a:lnTo>
                  <a:pt x="4343378" y="3841006"/>
                </a:lnTo>
                <a:lnTo>
                  <a:pt x="4345766" y="3843388"/>
                </a:lnTo>
                <a:lnTo>
                  <a:pt x="4347936" y="3843388"/>
                </a:lnTo>
                <a:lnTo>
                  <a:pt x="4350757" y="3840357"/>
                </a:lnTo>
                <a:lnTo>
                  <a:pt x="4352169" y="3832994"/>
                </a:lnTo>
                <a:lnTo>
                  <a:pt x="4349564" y="3824982"/>
                </a:lnTo>
                <a:lnTo>
                  <a:pt x="4349564" y="3821409"/>
                </a:lnTo>
                <a:lnTo>
                  <a:pt x="4342728" y="3810582"/>
                </a:lnTo>
                <a:lnTo>
                  <a:pt x="4342728" y="3805385"/>
                </a:lnTo>
                <a:lnTo>
                  <a:pt x="4335999" y="3796724"/>
                </a:lnTo>
                <a:lnTo>
                  <a:pt x="4332960" y="3782865"/>
                </a:lnTo>
                <a:lnTo>
                  <a:pt x="4327861" y="3769656"/>
                </a:lnTo>
                <a:lnTo>
                  <a:pt x="4327861" y="3762943"/>
                </a:lnTo>
                <a:lnTo>
                  <a:pt x="4322760" y="3748327"/>
                </a:lnTo>
                <a:lnTo>
                  <a:pt x="4314947" y="3742696"/>
                </a:lnTo>
                <a:lnTo>
                  <a:pt x="4313704" y="3735256"/>
                </a:lnTo>
                <a:lnTo>
                  <a:pt x="4307784" y="3731003"/>
                </a:lnTo>
                <a:lnTo>
                  <a:pt x="4306483" y="3727755"/>
                </a:lnTo>
                <a:lnTo>
                  <a:pt x="4300731" y="3722016"/>
                </a:lnTo>
                <a:lnTo>
                  <a:pt x="4294980" y="3710648"/>
                </a:lnTo>
                <a:lnTo>
                  <a:pt x="4290531" y="3704693"/>
                </a:lnTo>
                <a:lnTo>
                  <a:pt x="4290096" y="3695382"/>
                </a:lnTo>
                <a:lnTo>
                  <a:pt x="4286407" y="3691268"/>
                </a:lnTo>
                <a:lnTo>
                  <a:pt x="4286407" y="3686396"/>
                </a:lnTo>
                <a:lnTo>
                  <a:pt x="4288903" y="3684447"/>
                </a:lnTo>
                <a:lnTo>
                  <a:pt x="4286732" y="3680224"/>
                </a:lnTo>
                <a:lnTo>
                  <a:pt x="4283477" y="3678492"/>
                </a:lnTo>
                <a:lnTo>
                  <a:pt x="4281741" y="3666041"/>
                </a:lnTo>
                <a:lnTo>
                  <a:pt x="4278811" y="3662359"/>
                </a:lnTo>
                <a:lnTo>
                  <a:pt x="4282283" y="3660194"/>
                </a:lnTo>
                <a:lnTo>
                  <a:pt x="4280113" y="3653373"/>
                </a:lnTo>
                <a:lnTo>
                  <a:pt x="4280873" y="3643304"/>
                </a:lnTo>
                <a:lnTo>
                  <a:pt x="4273710" y="3624573"/>
                </a:lnTo>
                <a:lnTo>
                  <a:pt x="4273059" y="3606059"/>
                </a:lnTo>
                <a:lnTo>
                  <a:pt x="4269587" y="3593824"/>
                </a:lnTo>
                <a:lnTo>
                  <a:pt x="4272734" y="3592525"/>
                </a:lnTo>
                <a:lnTo>
                  <a:pt x="4272734" y="3582672"/>
                </a:lnTo>
                <a:lnTo>
                  <a:pt x="4260037" y="3564375"/>
                </a:lnTo>
                <a:lnTo>
                  <a:pt x="4260037" y="3557770"/>
                </a:lnTo>
                <a:lnTo>
                  <a:pt x="4248101" y="3540772"/>
                </a:lnTo>
                <a:lnTo>
                  <a:pt x="4246256" y="3530161"/>
                </a:lnTo>
                <a:lnTo>
                  <a:pt x="4234427" y="3503635"/>
                </a:lnTo>
                <a:lnTo>
                  <a:pt x="4226831" y="3490643"/>
                </a:lnTo>
                <a:lnTo>
                  <a:pt x="4212724" y="3476135"/>
                </a:lnTo>
                <a:lnTo>
                  <a:pt x="4211422" y="3455888"/>
                </a:lnTo>
                <a:lnTo>
                  <a:pt x="4211423" y="3455888"/>
                </a:lnTo>
                <a:lnTo>
                  <a:pt x="4211314" y="3453398"/>
                </a:lnTo>
                <a:lnTo>
                  <a:pt x="4212291" y="3445820"/>
                </a:lnTo>
                <a:lnTo>
                  <a:pt x="4211965" y="3434235"/>
                </a:lnTo>
                <a:lnTo>
                  <a:pt x="4213050" y="3426656"/>
                </a:lnTo>
                <a:lnTo>
                  <a:pt x="4213050" y="3417994"/>
                </a:lnTo>
                <a:lnTo>
                  <a:pt x="4219561" y="3410090"/>
                </a:lnTo>
                <a:lnTo>
                  <a:pt x="4221080" y="3400996"/>
                </a:lnTo>
                <a:lnTo>
                  <a:pt x="4226832" y="3393417"/>
                </a:lnTo>
                <a:lnTo>
                  <a:pt x="4226832" y="3374252"/>
                </a:lnTo>
                <a:lnTo>
                  <a:pt x="4229002" y="3372413"/>
                </a:lnTo>
                <a:lnTo>
                  <a:pt x="4229328" y="3364509"/>
                </a:lnTo>
                <a:lnTo>
                  <a:pt x="4242350" y="3352923"/>
                </a:lnTo>
                <a:lnTo>
                  <a:pt x="4242784" y="3347185"/>
                </a:lnTo>
                <a:lnTo>
                  <a:pt x="4253310" y="3339173"/>
                </a:lnTo>
                <a:lnTo>
                  <a:pt x="4256131" y="3339173"/>
                </a:lnTo>
                <a:lnTo>
                  <a:pt x="4265572" y="3321525"/>
                </a:lnTo>
                <a:lnTo>
                  <a:pt x="4265572" y="3300520"/>
                </a:lnTo>
                <a:lnTo>
                  <a:pt x="4262642" y="3296948"/>
                </a:lnTo>
                <a:lnTo>
                  <a:pt x="4263077" y="3292942"/>
                </a:lnTo>
                <a:lnTo>
                  <a:pt x="4253961" y="3278108"/>
                </a:lnTo>
                <a:lnTo>
                  <a:pt x="4253961" y="3271937"/>
                </a:lnTo>
                <a:lnTo>
                  <a:pt x="4250379" y="3266199"/>
                </a:lnTo>
                <a:lnTo>
                  <a:pt x="4250379" y="3257537"/>
                </a:lnTo>
                <a:lnTo>
                  <a:pt x="4246040" y="3255372"/>
                </a:lnTo>
                <a:lnTo>
                  <a:pt x="4253636" y="3245627"/>
                </a:lnTo>
                <a:lnTo>
                  <a:pt x="4254720" y="3236208"/>
                </a:lnTo>
                <a:lnTo>
                  <a:pt x="4247450" y="3226139"/>
                </a:lnTo>
                <a:lnTo>
                  <a:pt x="4247016" y="3207516"/>
                </a:lnTo>
                <a:lnTo>
                  <a:pt x="4233777" y="3192683"/>
                </a:lnTo>
                <a:lnTo>
                  <a:pt x="4233777" y="3189219"/>
                </a:lnTo>
                <a:lnTo>
                  <a:pt x="4231281" y="3186187"/>
                </a:lnTo>
                <a:lnTo>
                  <a:pt x="4238117" y="3182397"/>
                </a:lnTo>
                <a:lnTo>
                  <a:pt x="4238552" y="3182397"/>
                </a:lnTo>
                <a:lnTo>
                  <a:pt x="4238986" y="3182181"/>
                </a:lnTo>
                <a:lnTo>
                  <a:pt x="4239854" y="3181098"/>
                </a:lnTo>
                <a:lnTo>
                  <a:pt x="4241699" y="3181098"/>
                </a:lnTo>
                <a:lnTo>
                  <a:pt x="4243218" y="3180340"/>
                </a:lnTo>
                <a:lnTo>
                  <a:pt x="4247341" y="3179149"/>
                </a:lnTo>
                <a:lnTo>
                  <a:pt x="4251139" y="3178283"/>
                </a:lnTo>
                <a:lnTo>
                  <a:pt x="4254720" y="3178716"/>
                </a:lnTo>
                <a:lnTo>
                  <a:pt x="4258084" y="3179040"/>
                </a:lnTo>
                <a:lnTo>
                  <a:pt x="4262859" y="3179040"/>
                </a:lnTo>
                <a:lnTo>
                  <a:pt x="4268393" y="3178825"/>
                </a:lnTo>
                <a:lnTo>
                  <a:pt x="4275447" y="3178499"/>
                </a:lnTo>
                <a:lnTo>
                  <a:pt x="4279245" y="3178825"/>
                </a:lnTo>
                <a:lnTo>
                  <a:pt x="4286841" y="3179149"/>
                </a:lnTo>
                <a:lnTo>
                  <a:pt x="4295089" y="3178499"/>
                </a:lnTo>
                <a:lnTo>
                  <a:pt x="4312017" y="3178499"/>
                </a:lnTo>
                <a:lnTo>
                  <a:pt x="4336976" y="3178607"/>
                </a:lnTo>
                <a:lnTo>
                  <a:pt x="4336976" y="3178607"/>
                </a:lnTo>
                <a:lnTo>
                  <a:pt x="4312016" y="3178498"/>
                </a:lnTo>
                <a:lnTo>
                  <a:pt x="4295088" y="3178498"/>
                </a:lnTo>
                <a:lnTo>
                  <a:pt x="4286841" y="3179148"/>
                </a:lnTo>
                <a:lnTo>
                  <a:pt x="4279244" y="3178824"/>
                </a:lnTo>
                <a:lnTo>
                  <a:pt x="4275446" y="3178498"/>
                </a:lnTo>
                <a:lnTo>
                  <a:pt x="4268393" y="3178824"/>
                </a:lnTo>
                <a:lnTo>
                  <a:pt x="4262859" y="3179039"/>
                </a:lnTo>
                <a:lnTo>
                  <a:pt x="4258084" y="3179039"/>
                </a:lnTo>
                <a:lnTo>
                  <a:pt x="4254720" y="3178715"/>
                </a:lnTo>
                <a:lnTo>
                  <a:pt x="4251139" y="3178282"/>
                </a:lnTo>
                <a:lnTo>
                  <a:pt x="4247340" y="3179148"/>
                </a:lnTo>
                <a:lnTo>
                  <a:pt x="4243217" y="3180339"/>
                </a:lnTo>
                <a:lnTo>
                  <a:pt x="4241698" y="3181097"/>
                </a:lnTo>
                <a:lnTo>
                  <a:pt x="4239853" y="3181097"/>
                </a:lnTo>
                <a:lnTo>
                  <a:pt x="4238985" y="3182180"/>
                </a:lnTo>
                <a:lnTo>
                  <a:pt x="4238551" y="3182396"/>
                </a:lnTo>
                <a:lnTo>
                  <a:pt x="4238117" y="3182396"/>
                </a:lnTo>
                <a:lnTo>
                  <a:pt x="4235295" y="3180231"/>
                </a:lnTo>
                <a:lnTo>
                  <a:pt x="4228350" y="3180122"/>
                </a:lnTo>
                <a:lnTo>
                  <a:pt x="4227157" y="3177309"/>
                </a:lnTo>
                <a:lnTo>
                  <a:pt x="4227157" y="3177309"/>
                </a:lnTo>
                <a:lnTo>
                  <a:pt x="4225855" y="3174494"/>
                </a:lnTo>
                <a:lnTo>
                  <a:pt x="4228567" y="3169406"/>
                </a:lnTo>
                <a:lnTo>
                  <a:pt x="4226940" y="3162584"/>
                </a:lnTo>
                <a:lnTo>
                  <a:pt x="4224010" y="3159445"/>
                </a:lnTo>
                <a:lnTo>
                  <a:pt x="4226397" y="3158037"/>
                </a:lnTo>
                <a:lnTo>
                  <a:pt x="4228676" y="3152406"/>
                </a:lnTo>
                <a:lnTo>
                  <a:pt x="4230303" y="3152406"/>
                </a:lnTo>
                <a:lnTo>
                  <a:pt x="4234101" y="3150349"/>
                </a:lnTo>
                <a:lnTo>
                  <a:pt x="4235121" y="3147297"/>
                </a:lnTo>
                <a:lnTo>
                  <a:pt x="4234101" y="3150348"/>
                </a:lnTo>
                <a:lnTo>
                  <a:pt x="4230303" y="3152405"/>
                </a:lnTo>
                <a:lnTo>
                  <a:pt x="4228675" y="3152405"/>
                </a:lnTo>
                <a:lnTo>
                  <a:pt x="4226397" y="3158036"/>
                </a:lnTo>
                <a:lnTo>
                  <a:pt x="4224009" y="3159443"/>
                </a:lnTo>
                <a:lnTo>
                  <a:pt x="4221296" y="3156412"/>
                </a:lnTo>
                <a:lnTo>
                  <a:pt x="4221513" y="3151756"/>
                </a:lnTo>
                <a:lnTo>
                  <a:pt x="4217715" y="3147642"/>
                </a:lnTo>
                <a:lnTo>
                  <a:pt x="4217498" y="3143311"/>
                </a:lnTo>
                <a:lnTo>
                  <a:pt x="4210336" y="3138763"/>
                </a:lnTo>
                <a:lnTo>
                  <a:pt x="4208600" y="3135732"/>
                </a:lnTo>
                <a:lnTo>
                  <a:pt x="4203934" y="3131076"/>
                </a:lnTo>
                <a:lnTo>
                  <a:pt x="4207406" y="3126204"/>
                </a:lnTo>
                <a:lnTo>
                  <a:pt x="4207841" y="3122956"/>
                </a:lnTo>
                <a:lnTo>
                  <a:pt x="4210119" y="3121873"/>
                </a:lnTo>
                <a:lnTo>
                  <a:pt x="4214460" y="3121657"/>
                </a:lnTo>
                <a:lnTo>
                  <a:pt x="4210119" y="3121873"/>
                </a:lnTo>
                <a:lnTo>
                  <a:pt x="4207840" y="3122956"/>
                </a:lnTo>
                <a:lnTo>
                  <a:pt x="4207406" y="3126204"/>
                </a:lnTo>
                <a:lnTo>
                  <a:pt x="4203933" y="3131076"/>
                </a:lnTo>
                <a:lnTo>
                  <a:pt x="4202848" y="3130102"/>
                </a:lnTo>
                <a:lnTo>
                  <a:pt x="4198725" y="3128478"/>
                </a:lnTo>
                <a:lnTo>
                  <a:pt x="4197966" y="3124471"/>
                </a:lnTo>
                <a:lnTo>
                  <a:pt x="4189284" y="3120358"/>
                </a:lnTo>
                <a:lnTo>
                  <a:pt x="4187113" y="3115161"/>
                </a:lnTo>
                <a:lnTo>
                  <a:pt x="4176262" y="3106499"/>
                </a:lnTo>
                <a:lnTo>
                  <a:pt x="4169751" y="3099569"/>
                </a:lnTo>
                <a:lnTo>
                  <a:pt x="4171596" y="3098379"/>
                </a:lnTo>
                <a:lnTo>
                  <a:pt x="4165410" y="3093290"/>
                </a:lnTo>
                <a:lnTo>
                  <a:pt x="4162915" y="3087660"/>
                </a:lnTo>
                <a:lnTo>
                  <a:pt x="4159334" y="3084087"/>
                </a:lnTo>
                <a:lnTo>
                  <a:pt x="4159334" y="3076941"/>
                </a:lnTo>
                <a:lnTo>
                  <a:pt x="4154993" y="3071311"/>
                </a:lnTo>
                <a:lnTo>
                  <a:pt x="4154993" y="3067522"/>
                </a:lnTo>
                <a:lnTo>
                  <a:pt x="4152171" y="3065356"/>
                </a:lnTo>
                <a:lnTo>
                  <a:pt x="4147180" y="3054854"/>
                </a:lnTo>
                <a:lnTo>
                  <a:pt x="4147505" y="3052364"/>
                </a:lnTo>
                <a:lnTo>
                  <a:pt x="4153365" y="3054313"/>
                </a:lnTo>
                <a:lnTo>
                  <a:pt x="4157814" y="3050523"/>
                </a:lnTo>
                <a:lnTo>
                  <a:pt x="4158899" y="3037314"/>
                </a:lnTo>
                <a:lnTo>
                  <a:pt x="4159659" y="3030710"/>
                </a:lnTo>
                <a:lnTo>
                  <a:pt x="4162372" y="3033417"/>
                </a:lnTo>
                <a:lnTo>
                  <a:pt x="4172898" y="3030818"/>
                </a:lnTo>
                <a:lnTo>
                  <a:pt x="4165410" y="3029085"/>
                </a:lnTo>
                <a:lnTo>
                  <a:pt x="4160744" y="3021507"/>
                </a:lnTo>
                <a:lnTo>
                  <a:pt x="4165845" y="3020749"/>
                </a:lnTo>
                <a:lnTo>
                  <a:pt x="4166062" y="3015119"/>
                </a:lnTo>
                <a:lnTo>
                  <a:pt x="4168991" y="3015660"/>
                </a:lnTo>
                <a:lnTo>
                  <a:pt x="4170686" y="3014470"/>
                </a:lnTo>
                <a:lnTo>
                  <a:pt x="4168991" y="3015660"/>
                </a:lnTo>
                <a:lnTo>
                  <a:pt x="4166062" y="3015119"/>
                </a:lnTo>
                <a:lnTo>
                  <a:pt x="4166170" y="3013711"/>
                </a:lnTo>
                <a:lnTo>
                  <a:pt x="4160202" y="3010680"/>
                </a:lnTo>
                <a:lnTo>
                  <a:pt x="4166170" y="2999311"/>
                </a:lnTo>
                <a:lnTo>
                  <a:pt x="4173766" y="2990758"/>
                </a:lnTo>
                <a:lnTo>
                  <a:pt x="4171922" y="2986644"/>
                </a:lnTo>
                <a:lnTo>
                  <a:pt x="4172898" y="2985670"/>
                </a:lnTo>
                <a:lnTo>
                  <a:pt x="4174172" y="2985443"/>
                </a:lnTo>
                <a:lnTo>
                  <a:pt x="4172899" y="2985669"/>
                </a:lnTo>
                <a:lnTo>
                  <a:pt x="4176697" y="2981989"/>
                </a:lnTo>
                <a:lnTo>
                  <a:pt x="4173224" y="2978307"/>
                </a:lnTo>
                <a:lnTo>
                  <a:pt x="4176479" y="2970079"/>
                </a:lnTo>
                <a:lnTo>
                  <a:pt x="4175611" y="2960875"/>
                </a:lnTo>
                <a:lnTo>
                  <a:pt x="4171163" y="2954704"/>
                </a:lnTo>
                <a:lnTo>
                  <a:pt x="4171163" y="2947991"/>
                </a:lnTo>
                <a:lnTo>
                  <a:pt x="4172899" y="2944959"/>
                </a:lnTo>
                <a:lnTo>
                  <a:pt x="4169209" y="2939221"/>
                </a:lnTo>
                <a:lnTo>
                  <a:pt x="4162155" y="2942253"/>
                </a:lnTo>
                <a:lnTo>
                  <a:pt x="4159985" y="2939763"/>
                </a:lnTo>
                <a:lnTo>
                  <a:pt x="4155861" y="2939221"/>
                </a:lnTo>
                <a:lnTo>
                  <a:pt x="4152931" y="2924605"/>
                </a:lnTo>
                <a:lnTo>
                  <a:pt x="4149133" y="2926554"/>
                </a:lnTo>
                <a:lnTo>
                  <a:pt x="4145878" y="2925038"/>
                </a:lnTo>
                <a:lnTo>
                  <a:pt x="4145910" y="2924589"/>
                </a:lnTo>
                <a:lnTo>
                  <a:pt x="4145878" y="2925037"/>
                </a:lnTo>
                <a:lnTo>
                  <a:pt x="4145770" y="2924929"/>
                </a:lnTo>
                <a:lnTo>
                  <a:pt x="4143925" y="2926012"/>
                </a:lnTo>
                <a:lnTo>
                  <a:pt x="4139584" y="2921464"/>
                </a:lnTo>
                <a:lnTo>
                  <a:pt x="4137197" y="2928177"/>
                </a:lnTo>
                <a:lnTo>
                  <a:pt x="4131119" y="2929476"/>
                </a:lnTo>
                <a:lnTo>
                  <a:pt x="4127430" y="2927852"/>
                </a:lnTo>
                <a:lnTo>
                  <a:pt x="4116470" y="2931750"/>
                </a:lnTo>
                <a:lnTo>
                  <a:pt x="4112997" y="2930342"/>
                </a:lnTo>
                <a:lnTo>
                  <a:pt x="4108331" y="2933266"/>
                </a:lnTo>
                <a:lnTo>
                  <a:pt x="4085109" y="2934565"/>
                </a:lnTo>
                <a:lnTo>
                  <a:pt x="4076427" y="2932075"/>
                </a:lnTo>
                <a:lnTo>
                  <a:pt x="4070351" y="2926553"/>
                </a:lnTo>
                <a:lnTo>
                  <a:pt x="4067529" y="2918325"/>
                </a:lnTo>
                <a:lnTo>
                  <a:pt x="4064382" y="2916592"/>
                </a:lnTo>
                <a:lnTo>
                  <a:pt x="4064490" y="2909122"/>
                </a:lnTo>
                <a:lnTo>
                  <a:pt x="4058522" y="2897536"/>
                </a:lnTo>
                <a:lnTo>
                  <a:pt x="4048756" y="2888008"/>
                </a:lnTo>
                <a:lnTo>
                  <a:pt x="4031284" y="2878697"/>
                </a:lnTo>
                <a:lnTo>
                  <a:pt x="4023688" y="2881838"/>
                </a:lnTo>
                <a:lnTo>
                  <a:pt x="4014356" y="2879888"/>
                </a:lnTo>
                <a:lnTo>
                  <a:pt x="4013379" y="2875124"/>
                </a:lnTo>
                <a:lnTo>
                  <a:pt x="4014356" y="2863106"/>
                </a:lnTo>
                <a:lnTo>
                  <a:pt x="4013705" y="2859209"/>
                </a:lnTo>
                <a:lnTo>
                  <a:pt x="4013922" y="2855744"/>
                </a:lnTo>
                <a:lnTo>
                  <a:pt x="4012837" y="2845567"/>
                </a:lnTo>
                <a:lnTo>
                  <a:pt x="4013705" y="2841994"/>
                </a:lnTo>
                <a:lnTo>
                  <a:pt x="4013488" y="2839287"/>
                </a:lnTo>
                <a:lnTo>
                  <a:pt x="4012511" y="2837663"/>
                </a:lnTo>
                <a:lnTo>
                  <a:pt x="4013163" y="2835822"/>
                </a:lnTo>
                <a:lnTo>
                  <a:pt x="4012511" y="2831816"/>
                </a:lnTo>
                <a:lnTo>
                  <a:pt x="4012186" y="2830084"/>
                </a:lnTo>
                <a:lnTo>
                  <a:pt x="4012619" y="2824887"/>
                </a:lnTo>
                <a:lnTo>
                  <a:pt x="4013163" y="2821422"/>
                </a:lnTo>
                <a:lnTo>
                  <a:pt x="4012837" y="2817092"/>
                </a:lnTo>
                <a:lnTo>
                  <a:pt x="4014200" y="2815010"/>
                </a:lnTo>
                <a:lnTo>
                  <a:pt x="4012836" y="2817092"/>
                </a:lnTo>
                <a:lnTo>
                  <a:pt x="4013162" y="2821423"/>
                </a:lnTo>
                <a:lnTo>
                  <a:pt x="4012619" y="2824887"/>
                </a:lnTo>
                <a:lnTo>
                  <a:pt x="4012185" y="2830085"/>
                </a:lnTo>
                <a:lnTo>
                  <a:pt x="4012511" y="2831816"/>
                </a:lnTo>
                <a:lnTo>
                  <a:pt x="4013162" y="2835823"/>
                </a:lnTo>
                <a:lnTo>
                  <a:pt x="4012511" y="2837663"/>
                </a:lnTo>
                <a:lnTo>
                  <a:pt x="4013487" y="2839287"/>
                </a:lnTo>
                <a:lnTo>
                  <a:pt x="4013704" y="2841994"/>
                </a:lnTo>
                <a:lnTo>
                  <a:pt x="4012836" y="2845567"/>
                </a:lnTo>
                <a:lnTo>
                  <a:pt x="4013922" y="2855744"/>
                </a:lnTo>
                <a:lnTo>
                  <a:pt x="4013704" y="2859209"/>
                </a:lnTo>
                <a:lnTo>
                  <a:pt x="4014355" y="2863107"/>
                </a:lnTo>
                <a:lnTo>
                  <a:pt x="4013379" y="2875125"/>
                </a:lnTo>
                <a:lnTo>
                  <a:pt x="4014355" y="2879889"/>
                </a:lnTo>
                <a:lnTo>
                  <a:pt x="4013379" y="2879672"/>
                </a:lnTo>
                <a:lnTo>
                  <a:pt x="3996884" y="2885194"/>
                </a:lnTo>
                <a:lnTo>
                  <a:pt x="3988311" y="2884111"/>
                </a:lnTo>
                <a:lnTo>
                  <a:pt x="3989179" y="2879564"/>
                </a:lnTo>
                <a:lnTo>
                  <a:pt x="3985924" y="2874042"/>
                </a:lnTo>
                <a:lnTo>
                  <a:pt x="3985707" y="2867438"/>
                </a:lnTo>
                <a:lnTo>
                  <a:pt x="3984080" y="2861483"/>
                </a:lnTo>
                <a:lnTo>
                  <a:pt x="3984730" y="2832791"/>
                </a:lnTo>
                <a:lnTo>
                  <a:pt x="3985056" y="2828677"/>
                </a:lnTo>
                <a:lnTo>
                  <a:pt x="3987552" y="2825537"/>
                </a:lnTo>
                <a:lnTo>
                  <a:pt x="3987552" y="2819799"/>
                </a:lnTo>
                <a:lnTo>
                  <a:pt x="3987551" y="2819798"/>
                </a:lnTo>
                <a:lnTo>
                  <a:pt x="3987551" y="2825537"/>
                </a:lnTo>
                <a:lnTo>
                  <a:pt x="3985055" y="2828677"/>
                </a:lnTo>
                <a:lnTo>
                  <a:pt x="3984730" y="2832791"/>
                </a:lnTo>
                <a:lnTo>
                  <a:pt x="3984079" y="2861483"/>
                </a:lnTo>
                <a:lnTo>
                  <a:pt x="3985707" y="2867438"/>
                </a:lnTo>
                <a:lnTo>
                  <a:pt x="3985923" y="2874042"/>
                </a:lnTo>
                <a:lnTo>
                  <a:pt x="3989179" y="2879564"/>
                </a:lnTo>
                <a:lnTo>
                  <a:pt x="3988311" y="2884112"/>
                </a:lnTo>
                <a:lnTo>
                  <a:pt x="3985815" y="2883787"/>
                </a:lnTo>
                <a:lnTo>
                  <a:pt x="3973010" y="2891690"/>
                </a:lnTo>
                <a:lnTo>
                  <a:pt x="3970948" y="2892015"/>
                </a:lnTo>
                <a:lnTo>
                  <a:pt x="3970948" y="2892015"/>
                </a:lnTo>
                <a:lnTo>
                  <a:pt x="3958036" y="2893747"/>
                </a:lnTo>
                <a:lnTo>
                  <a:pt x="3946641" y="2899161"/>
                </a:lnTo>
                <a:lnTo>
                  <a:pt x="3934162" y="2909663"/>
                </a:lnTo>
                <a:lnTo>
                  <a:pt x="3919621" y="2910855"/>
                </a:lnTo>
                <a:lnTo>
                  <a:pt x="3899002" y="2920815"/>
                </a:lnTo>
                <a:lnTo>
                  <a:pt x="3889670" y="2916593"/>
                </a:lnTo>
                <a:lnTo>
                  <a:pt x="3876756" y="2914861"/>
                </a:lnTo>
                <a:lnTo>
                  <a:pt x="3875563" y="2912587"/>
                </a:lnTo>
                <a:lnTo>
                  <a:pt x="3875563" y="2912586"/>
                </a:lnTo>
                <a:lnTo>
                  <a:pt x="3872090" y="2906415"/>
                </a:lnTo>
                <a:lnTo>
                  <a:pt x="3867533" y="2907498"/>
                </a:lnTo>
                <a:lnTo>
                  <a:pt x="3866447" y="2913344"/>
                </a:lnTo>
                <a:lnTo>
                  <a:pt x="3855488" y="2908148"/>
                </a:lnTo>
                <a:lnTo>
                  <a:pt x="3843550" y="2911937"/>
                </a:lnTo>
                <a:lnTo>
                  <a:pt x="3811863" y="2912154"/>
                </a:lnTo>
                <a:lnTo>
                  <a:pt x="3802857" y="2913344"/>
                </a:lnTo>
                <a:lnTo>
                  <a:pt x="3802640" y="2915727"/>
                </a:lnTo>
                <a:lnTo>
                  <a:pt x="3786145" y="2921898"/>
                </a:lnTo>
                <a:lnTo>
                  <a:pt x="3784409" y="2924172"/>
                </a:lnTo>
                <a:lnTo>
                  <a:pt x="3779091" y="2924172"/>
                </a:lnTo>
                <a:lnTo>
                  <a:pt x="3770844" y="2931426"/>
                </a:lnTo>
                <a:lnTo>
                  <a:pt x="3768565" y="2930560"/>
                </a:lnTo>
                <a:lnTo>
                  <a:pt x="3768348" y="2924930"/>
                </a:lnTo>
                <a:lnTo>
                  <a:pt x="3766070" y="2921140"/>
                </a:lnTo>
                <a:lnTo>
                  <a:pt x="3768131" y="2915619"/>
                </a:lnTo>
                <a:lnTo>
                  <a:pt x="3766503" y="2911937"/>
                </a:lnTo>
                <a:lnTo>
                  <a:pt x="3767697" y="2907823"/>
                </a:lnTo>
                <a:lnTo>
                  <a:pt x="3769759" y="2904792"/>
                </a:lnTo>
                <a:lnTo>
                  <a:pt x="3768131" y="2901868"/>
                </a:lnTo>
                <a:lnTo>
                  <a:pt x="3771387" y="2899270"/>
                </a:lnTo>
                <a:lnTo>
                  <a:pt x="3769976" y="2894505"/>
                </a:lnTo>
                <a:lnTo>
                  <a:pt x="3766720" y="2894289"/>
                </a:lnTo>
                <a:lnTo>
                  <a:pt x="3763357" y="2892015"/>
                </a:lnTo>
                <a:lnTo>
                  <a:pt x="3761729" y="2887143"/>
                </a:lnTo>
                <a:lnTo>
                  <a:pt x="3758691" y="2885844"/>
                </a:lnTo>
                <a:lnTo>
                  <a:pt x="3757563" y="2886094"/>
                </a:lnTo>
                <a:lnTo>
                  <a:pt x="3758690" y="2885844"/>
                </a:lnTo>
                <a:lnTo>
                  <a:pt x="3761728" y="2887144"/>
                </a:lnTo>
                <a:lnTo>
                  <a:pt x="3763356" y="2892015"/>
                </a:lnTo>
                <a:lnTo>
                  <a:pt x="3766720" y="2894289"/>
                </a:lnTo>
                <a:lnTo>
                  <a:pt x="3769975" y="2894506"/>
                </a:lnTo>
                <a:lnTo>
                  <a:pt x="3771386" y="2899270"/>
                </a:lnTo>
                <a:lnTo>
                  <a:pt x="3768130" y="2901868"/>
                </a:lnTo>
                <a:lnTo>
                  <a:pt x="3769759" y="2904792"/>
                </a:lnTo>
                <a:lnTo>
                  <a:pt x="3767697" y="2907823"/>
                </a:lnTo>
                <a:lnTo>
                  <a:pt x="3766503" y="2911937"/>
                </a:lnTo>
                <a:lnTo>
                  <a:pt x="3768130" y="2915619"/>
                </a:lnTo>
                <a:lnTo>
                  <a:pt x="3766069" y="2921140"/>
                </a:lnTo>
                <a:lnTo>
                  <a:pt x="3768347" y="2924930"/>
                </a:lnTo>
                <a:lnTo>
                  <a:pt x="3768565" y="2930560"/>
                </a:lnTo>
                <a:lnTo>
                  <a:pt x="3744909" y="2922007"/>
                </a:lnTo>
                <a:lnTo>
                  <a:pt x="3726678" y="2908473"/>
                </a:lnTo>
                <a:lnTo>
                  <a:pt x="3721578" y="2907931"/>
                </a:lnTo>
                <a:lnTo>
                  <a:pt x="3706819" y="2893207"/>
                </a:lnTo>
                <a:lnTo>
                  <a:pt x="3705734" y="2892448"/>
                </a:lnTo>
                <a:lnTo>
                  <a:pt x="3696836" y="2886493"/>
                </a:lnTo>
                <a:lnTo>
                  <a:pt x="3693255" y="2886277"/>
                </a:lnTo>
                <a:lnTo>
                  <a:pt x="3687069" y="2877616"/>
                </a:lnTo>
                <a:lnTo>
                  <a:pt x="3683054" y="2875883"/>
                </a:lnTo>
                <a:lnTo>
                  <a:pt x="3684899" y="2872418"/>
                </a:lnTo>
                <a:lnTo>
                  <a:pt x="3684139" y="2871985"/>
                </a:lnTo>
                <a:lnTo>
                  <a:pt x="3681318" y="2870469"/>
                </a:lnTo>
                <a:lnTo>
                  <a:pt x="3675133" y="2870469"/>
                </a:lnTo>
                <a:lnTo>
                  <a:pt x="3675133" y="2870470"/>
                </a:lnTo>
                <a:lnTo>
                  <a:pt x="3672203" y="2870470"/>
                </a:lnTo>
                <a:lnTo>
                  <a:pt x="3659507" y="2863865"/>
                </a:lnTo>
                <a:lnTo>
                  <a:pt x="3654082" y="2862458"/>
                </a:lnTo>
                <a:lnTo>
                  <a:pt x="3655383" y="2859643"/>
                </a:lnTo>
                <a:lnTo>
                  <a:pt x="3652020" y="2855745"/>
                </a:lnTo>
                <a:lnTo>
                  <a:pt x="3648981" y="2852821"/>
                </a:lnTo>
                <a:lnTo>
                  <a:pt x="3650934" y="2848707"/>
                </a:lnTo>
                <a:lnTo>
                  <a:pt x="3650825" y="2847625"/>
                </a:lnTo>
                <a:lnTo>
                  <a:pt x="3646051" y="2849465"/>
                </a:lnTo>
                <a:lnTo>
                  <a:pt x="3640734" y="2843727"/>
                </a:lnTo>
                <a:lnTo>
                  <a:pt x="3640734" y="2838313"/>
                </a:lnTo>
                <a:lnTo>
                  <a:pt x="3638238" y="2830735"/>
                </a:lnTo>
                <a:lnTo>
                  <a:pt x="3633680" y="2829976"/>
                </a:lnTo>
                <a:lnTo>
                  <a:pt x="3631944" y="2826187"/>
                </a:lnTo>
                <a:lnTo>
                  <a:pt x="3635199" y="2820124"/>
                </a:lnTo>
                <a:lnTo>
                  <a:pt x="3631727" y="2818283"/>
                </a:lnTo>
                <a:lnTo>
                  <a:pt x="3632052" y="2814710"/>
                </a:lnTo>
                <a:lnTo>
                  <a:pt x="3634657" y="2810162"/>
                </a:lnTo>
                <a:lnTo>
                  <a:pt x="3634331" y="2809947"/>
                </a:lnTo>
                <a:lnTo>
                  <a:pt x="3638130" y="2809621"/>
                </a:lnTo>
                <a:lnTo>
                  <a:pt x="3645509" y="2805832"/>
                </a:lnTo>
                <a:lnTo>
                  <a:pt x="3645509" y="2802584"/>
                </a:lnTo>
                <a:lnTo>
                  <a:pt x="3652128" y="2796845"/>
                </a:lnTo>
                <a:lnTo>
                  <a:pt x="3655818" y="2792731"/>
                </a:lnTo>
                <a:lnTo>
                  <a:pt x="3662003" y="2790133"/>
                </a:lnTo>
                <a:lnTo>
                  <a:pt x="3682187" y="2790133"/>
                </a:lnTo>
                <a:lnTo>
                  <a:pt x="3682187" y="2790132"/>
                </a:lnTo>
                <a:lnTo>
                  <a:pt x="3662002" y="2790132"/>
                </a:lnTo>
                <a:lnTo>
                  <a:pt x="3655817" y="2792731"/>
                </a:lnTo>
                <a:lnTo>
                  <a:pt x="3652127" y="2796845"/>
                </a:lnTo>
                <a:lnTo>
                  <a:pt x="3645508" y="2802583"/>
                </a:lnTo>
                <a:lnTo>
                  <a:pt x="3645508" y="2805831"/>
                </a:lnTo>
                <a:lnTo>
                  <a:pt x="3638129" y="2809621"/>
                </a:lnTo>
                <a:lnTo>
                  <a:pt x="3634331" y="2809946"/>
                </a:lnTo>
                <a:lnTo>
                  <a:pt x="3630858" y="2807131"/>
                </a:lnTo>
                <a:lnTo>
                  <a:pt x="3624347" y="2803666"/>
                </a:lnTo>
                <a:lnTo>
                  <a:pt x="3622502" y="2796412"/>
                </a:lnTo>
                <a:lnTo>
                  <a:pt x="3617402" y="2796304"/>
                </a:lnTo>
                <a:lnTo>
                  <a:pt x="3615232" y="2794138"/>
                </a:lnTo>
                <a:lnTo>
                  <a:pt x="3615449" y="2790349"/>
                </a:lnTo>
                <a:lnTo>
                  <a:pt x="3617294" y="2788508"/>
                </a:lnTo>
                <a:lnTo>
                  <a:pt x="3613279" y="2786668"/>
                </a:lnTo>
                <a:lnTo>
                  <a:pt x="3611108" y="2789808"/>
                </a:lnTo>
                <a:lnTo>
                  <a:pt x="3607527" y="2788400"/>
                </a:lnTo>
                <a:lnTo>
                  <a:pt x="3602102" y="2787967"/>
                </a:lnTo>
                <a:lnTo>
                  <a:pt x="3596676" y="2780604"/>
                </a:lnTo>
                <a:lnTo>
                  <a:pt x="3598846" y="2771727"/>
                </a:lnTo>
                <a:lnTo>
                  <a:pt x="3595048" y="2767612"/>
                </a:lnTo>
                <a:lnTo>
                  <a:pt x="3594614" y="2767721"/>
                </a:lnTo>
                <a:lnTo>
                  <a:pt x="3594614" y="2767720"/>
                </a:lnTo>
                <a:lnTo>
                  <a:pt x="3588862" y="2769344"/>
                </a:lnTo>
                <a:lnTo>
                  <a:pt x="3587777" y="2767937"/>
                </a:lnTo>
                <a:lnTo>
                  <a:pt x="3588103" y="2763931"/>
                </a:lnTo>
                <a:lnTo>
                  <a:pt x="3578011" y="2765014"/>
                </a:lnTo>
                <a:lnTo>
                  <a:pt x="3583654" y="2758950"/>
                </a:lnTo>
                <a:lnTo>
                  <a:pt x="3580941" y="2758734"/>
                </a:lnTo>
                <a:lnTo>
                  <a:pt x="3582351" y="2756569"/>
                </a:lnTo>
                <a:lnTo>
                  <a:pt x="3580182" y="2754187"/>
                </a:lnTo>
                <a:lnTo>
                  <a:pt x="3576166" y="2753753"/>
                </a:lnTo>
                <a:lnTo>
                  <a:pt x="3574755" y="2751696"/>
                </a:lnTo>
                <a:lnTo>
                  <a:pt x="3586692" y="2751479"/>
                </a:lnTo>
                <a:lnTo>
                  <a:pt x="3588646" y="2750072"/>
                </a:lnTo>
                <a:lnTo>
                  <a:pt x="3582135" y="2746499"/>
                </a:lnTo>
                <a:lnTo>
                  <a:pt x="3576383" y="2747690"/>
                </a:lnTo>
                <a:lnTo>
                  <a:pt x="3570197" y="2749964"/>
                </a:lnTo>
                <a:lnTo>
                  <a:pt x="3567484" y="2749422"/>
                </a:lnTo>
                <a:lnTo>
                  <a:pt x="3566291" y="2746824"/>
                </a:lnTo>
                <a:lnTo>
                  <a:pt x="3561408" y="2746499"/>
                </a:lnTo>
                <a:lnTo>
                  <a:pt x="3557067" y="2742169"/>
                </a:lnTo>
                <a:lnTo>
                  <a:pt x="3561408" y="2738920"/>
                </a:lnTo>
                <a:lnTo>
                  <a:pt x="3558152" y="2738595"/>
                </a:lnTo>
                <a:lnTo>
                  <a:pt x="3550122" y="2738163"/>
                </a:lnTo>
                <a:lnTo>
                  <a:pt x="3548169" y="2734589"/>
                </a:lnTo>
                <a:lnTo>
                  <a:pt x="3548169" y="2734481"/>
                </a:lnTo>
                <a:lnTo>
                  <a:pt x="3554029" y="2736322"/>
                </a:lnTo>
                <a:lnTo>
                  <a:pt x="3554029" y="2736322"/>
                </a:lnTo>
                <a:lnTo>
                  <a:pt x="3548169" y="2734481"/>
                </a:lnTo>
                <a:lnTo>
                  <a:pt x="3548386" y="2729826"/>
                </a:lnTo>
                <a:lnTo>
                  <a:pt x="3546541" y="2728310"/>
                </a:lnTo>
                <a:lnTo>
                  <a:pt x="3550556" y="2729393"/>
                </a:lnTo>
                <a:lnTo>
                  <a:pt x="3553052" y="2730259"/>
                </a:lnTo>
                <a:lnTo>
                  <a:pt x="3558261" y="2727010"/>
                </a:lnTo>
                <a:lnTo>
                  <a:pt x="3550122" y="2724087"/>
                </a:lnTo>
                <a:lnTo>
                  <a:pt x="3544696" y="2727010"/>
                </a:lnTo>
                <a:lnTo>
                  <a:pt x="3543503" y="2725170"/>
                </a:lnTo>
                <a:lnTo>
                  <a:pt x="3545781" y="2722679"/>
                </a:lnTo>
                <a:lnTo>
                  <a:pt x="3545781" y="2717266"/>
                </a:lnTo>
                <a:lnTo>
                  <a:pt x="3548278" y="2714776"/>
                </a:lnTo>
                <a:lnTo>
                  <a:pt x="3562927" y="2714776"/>
                </a:lnTo>
                <a:lnTo>
                  <a:pt x="3567051" y="2710120"/>
                </a:lnTo>
                <a:lnTo>
                  <a:pt x="3571500" y="2708930"/>
                </a:lnTo>
                <a:lnTo>
                  <a:pt x="3576709" y="2705465"/>
                </a:lnTo>
                <a:lnTo>
                  <a:pt x="3577143" y="2705577"/>
                </a:lnTo>
                <a:lnTo>
                  <a:pt x="3576708" y="2705464"/>
                </a:lnTo>
                <a:lnTo>
                  <a:pt x="3571499" y="2708929"/>
                </a:lnTo>
                <a:lnTo>
                  <a:pt x="3567050" y="2710120"/>
                </a:lnTo>
                <a:lnTo>
                  <a:pt x="3562926" y="2714776"/>
                </a:lnTo>
                <a:lnTo>
                  <a:pt x="3548276" y="2714776"/>
                </a:lnTo>
                <a:lnTo>
                  <a:pt x="3545781" y="2717266"/>
                </a:lnTo>
                <a:lnTo>
                  <a:pt x="3545781" y="2715425"/>
                </a:lnTo>
                <a:lnTo>
                  <a:pt x="3543068" y="2712069"/>
                </a:lnTo>
                <a:lnTo>
                  <a:pt x="3547300" y="2707847"/>
                </a:lnTo>
                <a:lnTo>
                  <a:pt x="3552183" y="2714018"/>
                </a:lnTo>
                <a:lnTo>
                  <a:pt x="3558694" y="2713801"/>
                </a:lnTo>
                <a:lnTo>
                  <a:pt x="3562275" y="2710445"/>
                </a:lnTo>
                <a:lnTo>
                  <a:pt x="3556849" y="2711852"/>
                </a:lnTo>
                <a:lnTo>
                  <a:pt x="3550664" y="2708821"/>
                </a:lnTo>
                <a:lnTo>
                  <a:pt x="3549579" y="2705140"/>
                </a:lnTo>
                <a:lnTo>
                  <a:pt x="3549579" y="2705140"/>
                </a:lnTo>
                <a:lnTo>
                  <a:pt x="3548929" y="2703191"/>
                </a:lnTo>
                <a:lnTo>
                  <a:pt x="3552184" y="2700809"/>
                </a:lnTo>
                <a:lnTo>
                  <a:pt x="3546216" y="2697020"/>
                </a:lnTo>
                <a:lnTo>
                  <a:pt x="3548169" y="2696695"/>
                </a:lnTo>
                <a:lnTo>
                  <a:pt x="3548169" y="2691823"/>
                </a:lnTo>
                <a:lnTo>
                  <a:pt x="3543720" y="2691065"/>
                </a:lnTo>
                <a:lnTo>
                  <a:pt x="3538402" y="2681862"/>
                </a:lnTo>
                <a:lnTo>
                  <a:pt x="3530264" y="2675366"/>
                </a:lnTo>
                <a:lnTo>
                  <a:pt x="3545239" y="2661723"/>
                </a:lnTo>
                <a:lnTo>
                  <a:pt x="3551424" y="2650464"/>
                </a:lnTo>
                <a:lnTo>
                  <a:pt x="3552510" y="2642668"/>
                </a:lnTo>
                <a:lnTo>
                  <a:pt x="3556525" y="2639637"/>
                </a:lnTo>
                <a:lnTo>
                  <a:pt x="3559997" y="2639637"/>
                </a:lnTo>
                <a:lnTo>
                  <a:pt x="3564772" y="2634981"/>
                </a:lnTo>
                <a:lnTo>
                  <a:pt x="3577685" y="2632924"/>
                </a:lnTo>
                <a:lnTo>
                  <a:pt x="3590056" y="2628160"/>
                </a:lnTo>
                <a:lnTo>
                  <a:pt x="3590056" y="2628160"/>
                </a:lnTo>
                <a:lnTo>
                  <a:pt x="3577685" y="2632923"/>
                </a:lnTo>
                <a:lnTo>
                  <a:pt x="3564772" y="2634981"/>
                </a:lnTo>
                <a:lnTo>
                  <a:pt x="3559997" y="2639636"/>
                </a:lnTo>
                <a:lnTo>
                  <a:pt x="3556524" y="2639636"/>
                </a:lnTo>
                <a:lnTo>
                  <a:pt x="3552509" y="2642668"/>
                </a:lnTo>
                <a:lnTo>
                  <a:pt x="3553811" y="2633032"/>
                </a:lnTo>
                <a:lnTo>
                  <a:pt x="3557609" y="2618199"/>
                </a:lnTo>
                <a:lnTo>
                  <a:pt x="3563361" y="2610079"/>
                </a:lnTo>
                <a:lnTo>
                  <a:pt x="3564988" y="2592971"/>
                </a:lnTo>
                <a:lnTo>
                  <a:pt x="3560322" y="2568178"/>
                </a:lnTo>
                <a:lnTo>
                  <a:pt x="3553378" y="2557675"/>
                </a:lnTo>
                <a:lnTo>
                  <a:pt x="3556091" y="2555727"/>
                </a:lnTo>
                <a:lnTo>
                  <a:pt x="3559346" y="2555727"/>
                </a:lnTo>
                <a:lnTo>
                  <a:pt x="3560974" y="2547606"/>
                </a:lnTo>
                <a:lnTo>
                  <a:pt x="3559237" y="2542518"/>
                </a:lnTo>
                <a:lnTo>
                  <a:pt x="3562275" y="2539486"/>
                </a:lnTo>
                <a:lnTo>
                  <a:pt x="3555439" y="2529200"/>
                </a:lnTo>
                <a:lnTo>
                  <a:pt x="3552509" y="2531582"/>
                </a:lnTo>
                <a:lnTo>
                  <a:pt x="3550556" y="2530500"/>
                </a:lnTo>
                <a:lnTo>
                  <a:pt x="3548494" y="2524761"/>
                </a:lnTo>
                <a:lnTo>
                  <a:pt x="3543285" y="2530608"/>
                </a:lnTo>
                <a:lnTo>
                  <a:pt x="3542960" y="2521405"/>
                </a:lnTo>
                <a:lnTo>
                  <a:pt x="3545239" y="2516207"/>
                </a:lnTo>
                <a:lnTo>
                  <a:pt x="3545239" y="2515233"/>
                </a:lnTo>
                <a:lnTo>
                  <a:pt x="3640950" y="2514367"/>
                </a:lnTo>
                <a:lnTo>
                  <a:pt x="3640950" y="2514366"/>
                </a:lnTo>
                <a:lnTo>
                  <a:pt x="3545238" y="2515233"/>
                </a:lnTo>
                <a:lnTo>
                  <a:pt x="3544696" y="2507329"/>
                </a:lnTo>
                <a:lnTo>
                  <a:pt x="3547300" y="2502349"/>
                </a:lnTo>
                <a:lnTo>
                  <a:pt x="3546866" y="2496394"/>
                </a:lnTo>
                <a:lnTo>
                  <a:pt x="3550339" y="2492712"/>
                </a:lnTo>
                <a:lnTo>
                  <a:pt x="3553269" y="2492063"/>
                </a:lnTo>
                <a:lnTo>
                  <a:pt x="3560865" y="2478204"/>
                </a:lnTo>
                <a:lnTo>
                  <a:pt x="3564988" y="2476580"/>
                </a:lnTo>
                <a:lnTo>
                  <a:pt x="3562058" y="2474415"/>
                </a:lnTo>
                <a:lnTo>
                  <a:pt x="3562493" y="2472033"/>
                </a:lnTo>
                <a:lnTo>
                  <a:pt x="3572042" y="2459365"/>
                </a:lnTo>
                <a:lnTo>
                  <a:pt x="3571499" y="2455792"/>
                </a:lnTo>
                <a:lnTo>
                  <a:pt x="3577468" y="2442800"/>
                </a:lnTo>
                <a:lnTo>
                  <a:pt x="3580940" y="2440959"/>
                </a:lnTo>
                <a:lnTo>
                  <a:pt x="3592117" y="2430565"/>
                </a:lnTo>
                <a:lnTo>
                  <a:pt x="3592986" y="2423636"/>
                </a:lnTo>
                <a:lnTo>
                  <a:pt x="3607636" y="2402415"/>
                </a:lnTo>
                <a:lnTo>
                  <a:pt x="3605682" y="2396244"/>
                </a:lnTo>
                <a:lnTo>
                  <a:pt x="3612193" y="2392455"/>
                </a:lnTo>
                <a:lnTo>
                  <a:pt x="3613821" y="2387690"/>
                </a:lnTo>
                <a:lnTo>
                  <a:pt x="3630424" y="2379137"/>
                </a:lnTo>
                <a:lnTo>
                  <a:pt x="3634765" y="2378921"/>
                </a:lnTo>
                <a:lnTo>
                  <a:pt x="3634765" y="2369501"/>
                </a:lnTo>
                <a:lnTo>
                  <a:pt x="3644097" y="2356617"/>
                </a:lnTo>
                <a:lnTo>
                  <a:pt x="3644097" y="2356617"/>
                </a:lnTo>
                <a:lnTo>
                  <a:pt x="3649848" y="2348605"/>
                </a:lnTo>
                <a:lnTo>
                  <a:pt x="3673179" y="2344274"/>
                </a:lnTo>
                <a:lnTo>
                  <a:pt x="3689782" y="2329333"/>
                </a:lnTo>
                <a:lnTo>
                  <a:pt x="3697378" y="2328575"/>
                </a:lnTo>
                <a:lnTo>
                  <a:pt x="3704215" y="2321213"/>
                </a:lnTo>
                <a:lnTo>
                  <a:pt x="3705843" y="2314500"/>
                </a:lnTo>
                <a:lnTo>
                  <a:pt x="3720927" y="2297501"/>
                </a:lnTo>
                <a:lnTo>
                  <a:pt x="3722554" y="2290681"/>
                </a:lnTo>
                <a:lnTo>
                  <a:pt x="3719841" y="2287216"/>
                </a:lnTo>
                <a:lnTo>
                  <a:pt x="3717779" y="2285267"/>
                </a:lnTo>
                <a:lnTo>
                  <a:pt x="3720927" y="2276389"/>
                </a:lnTo>
                <a:lnTo>
                  <a:pt x="3716911" y="2268485"/>
                </a:lnTo>
                <a:lnTo>
                  <a:pt x="3717237" y="2263179"/>
                </a:lnTo>
                <a:lnTo>
                  <a:pt x="3723422" y="2250620"/>
                </a:lnTo>
                <a:lnTo>
                  <a:pt x="3732972" y="2241959"/>
                </a:lnTo>
                <a:lnTo>
                  <a:pt x="3733623" y="2236220"/>
                </a:lnTo>
                <a:lnTo>
                  <a:pt x="3729825" y="2227884"/>
                </a:lnTo>
                <a:lnTo>
                  <a:pt x="3740785" y="2220088"/>
                </a:lnTo>
                <a:lnTo>
                  <a:pt x="3744149" y="2214999"/>
                </a:lnTo>
                <a:lnTo>
                  <a:pt x="3750009" y="2213050"/>
                </a:lnTo>
                <a:lnTo>
                  <a:pt x="3759450" y="2206770"/>
                </a:lnTo>
                <a:lnTo>
                  <a:pt x="3761946" y="2206662"/>
                </a:lnTo>
                <a:lnTo>
                  <a:pt x="3768565" y="2199625"/>
                </a:lnTo>
                <a:lnTo>
                  <a:pt x="3777355" y="2196701"/>
                </a:lnTo>
                <a:lnTo>
                  <a:pt x="3782672" y="2193020"/>
                </a:lnTo>
                <a:lnTo>
                  <a:pt x="3785168" y="2192803"/>
                </a:lnTo>
                <a:lnTo>
                  <a:pt x="3796020" y="2182735"/>
                </a:lnTo>
                <a:lnTo>
                  <a:pt x="3799167" y="2176563"/>
                </a:lnTo>
                <a:lnTo>
                  <a:pt x="3800252" y="2166711"/>
                </a:lnTo>
                <a:lnTo>
                  <a:pt x="3805461" y="2159997"/>
                </a:lnTo>
                <a:lnTo>
                  <a:pt x="3806438" y="2147005"/>
                </a:lnTo>
                <a:lnTo>
                  <a:pt x="3810995" y="2142024"/>
                </a:lnTo>
                <a:lnTo>
                  <a:pt x="3814793" y="2142350"/>
                </a:lnTo>
                <a:lnTo>
                  <a:pt x="3816747" y="2140509"/>
                </a:lnTo>
                <a:lnTo>
                  <a:pt x="3821413" y="2138885"/>
                </a:lnTo>
                <a:lnTo>
                  <a:pt x="3822824" y="2140726"/>
                </a:lnTo>
                <a:lnTo>
                  <a:pt x="3821956" y="2142024"/>
                </a:lnTo>
                <a:lnTo>
                  <a:pt x="3821956" y="2144732"/>
                </a:lnTo>
                <a:lnTo>
                  <a:pt x="3823040" y="2148521"/>
                </a:lnTo>
                <a:lnTo>
                  <a:pt x="3825645" y="2150470"/>
                </a:lnTo>
                <a:lnTo>
                  <a:pt x="3832156" y="2157507"/>
                </a:lnTo>
                <a:lnTo>
                  <a:pt x="3837474" y="2158590"/>
                </a:lnTo>
                <a:lnTo>
                  <a:pt x="3844635" y="2157507"/>
                </a:lnTo>
                <a:lnTo>
                  <a:pt x="3849627" y="2154909"/>
                </a:lnTo>
                <a:lnTo>
                  <a:pt x="3853642" y="2155234"/>
                </a:lnTo>
                <a:lnTo>
                  <a:pt x="3861347" y="2157291"/>
                </a:lnTo>
                <a:lnTo>
                  <a:pt x="3868943" y="2155775"/>
                </a:lnTo>
                <a:lnTo>
                  <a:pt x="3873176" y="2151119"/>
                </a:lnTo>
                <a:lnTo>
                  <a:pt x="3873393" y="2151119"/>
                </a:lnTo>
                <a:lnTo>
                  <a:pt x="3875020" y="2151661"/>
                </a:lnTo>
                <a:lnTo>
                  <a:pt x="3876322" y="2156208"/>
                </a:lnTo>
                <a:lnTo>
                  <a:pt x="3879360" y="2159240"/>
                </a:lnTo>
                <a:lnTo>
                  <a:pt x="3892926" y="2160322"/>
                </a:lnTo>
                <a:lnTo>
                  <a:pt x="3896289" y="2160215"/>
                </a:lnTo>
                <a:lnTo>
                  <a:pt x="3897917" y="2162596"/>
                </a:lnTo>
                <a:lnTo>
                  <a:pt x="3899111" y="2165519"/>
                </a:lnTo>
                <a:lnTo>
                  <a:pt x="3901932" y="2168984"/>
                </a:lnTo>
                <a:lnTo>
                  <a:pt x="3902475" y="2173315"/>
                </a:lnTo>
                <a:lnTo>
                  <a:pt x="3901933" y="2168984"/>
                </a:lnTo>
                <a:lnTo>
                  <a:pt x="3899111" y="2165519"/>
                </a:lnTo>
                <a:lnTo>
                  <a:pt x="3897918" y="2162596"/>
                </a:lnTo>
                <a:lnTo>
                  <a:pt x="3896289" y="2160214"/>
                </a:lnTo>
                <a:lnTo>
                  <a:pt x="3902692" y="2159890"/>
                </a:lnTo>
                <a:lnTo>
                  <a:pt x="3909963" y="2157508"/>
                </a:lnTo>
                <a:lnTo>
                  <a:pt x="3914629" y="2152527"/>
                </a:lnTo>
                <a:lnTo>
                  <a:pt x="3915389" y="2149712"/>
                </a:lnTo>
                <a:lnTo>
                  <a:pt x="3918427" y="2147005"/>
                </a:lnTo>
                <a:lnTo>
                  <a:pt x="3924070" y="2144082"/>
                </a:lnTo>
                <a:lnTo>
                  <a:pt x="3930798" y="2143649"/>
                </a:lnTo>
                <a:lnTo>
                  <a:pt x="3932209" y="2141808"/>
                </a:lnTo>
                <a:lnTo>
                  <a:pt x="3934704" y="2139968"/>
                </a:lnTo>
                <a:lnTo>
                  <a:pt x="3938177" y="2139860"/>
                </a:lnTo>
                <a:lnTo>
                  <a:pt x="3939697" y="2141376"/>
                </a:lnTo>
                <a:lnTo>
                  <a:pt x="3942301" y="2141376"/>
                </a:lnTo>
                <a:lnTo>
                  <a:pt x="3945231" y="2137478"/>
                </a:lnTo>
                <a:lnTo>
                  <a:pt x="3945557" y="2133796"/>
                </a:lnTo>
                <a:lnTo>
                  <a:pt x="3951199" y="2130223"/>
                </a:lnTo>
                <a:lnTo>
                  <a:pt x="3954563" y="2130223"/>
                </a:lnTo>
                <a:lnTo>
                  <a:pt x="3961292" y="2129249"/>
                </a:lnTo>
                <a:lnTo>
                  <a:pt x="3972902" y="2120371"/>
                </a:lnTo>
                <a:lnTo>
                  <a:pt x="3978112" y="2121129"/>
                </a:lnTo>
                <a:lnTo>
                  <a:pt x="3987335" y="2120695"/>
                </a:lnTo>
                <a:lnTo>
                  <a:pt x="3992327" y="2118964"/>
                </a:lnTo>
                <a:lnTo>
                  <a:pt x="3997971" y="2121995"/>
                </a:lnTo>
                <a:lnTo>
                  <a:pt x="4001551" y="2122211"/>
                </a:lnTo>
                <a:lnTo>
                  <a:pt x="4007737" y="2116256"/>
                </a:lnTo>
                <a:lnTo>
                  <a:pt x="4012294" y="2118097"/>
                </a:lnTo>
                <a:lnTo>
                  <a:pt x="4017286" y="2118097"/>
                </a:lnTo>
                <a:lnTo>
                  <a:pt x="4019674" y="2113225"/>
                </a:lnTo>
                <a:lnTo>
                  <a:pt x="4022712" y="2112467"/>
                </a:lnTo>
                <a:lnTo>
                  <a:pt x="4027161" y="2113875"/>
                </a:lnTo>
                <a:lnTo>
                  <a:pt x="4029440" y="2113333"/>
                </a:lnTo>
                <a:lnTo>
                  <a:pt x="4034541" y="2114091"/>
                </a:lnTo>
                <a:lnTo>
                  <a:pt x="4040834" y="2113009"/>
                </a:lnTo>
                <a:lnTo>
                  <a:pt x="4043764" y="2113875"/>
                </a:lnTo>
                <a:lnTo>
                  <a:pt x="4050275" y="2114307"/>
                </a:lnTo>
                <a:lnTo>
                  <a:pt x="4053314" y="2119180"/>
                </a:lnTo>
                <a:lnTo>
                  <a:pt x="4058740" y="2119180"/>
                </a:lnTo>
                <a:lnTo>
                  <a:pt x="4063623" y="2115390"/>
                </a:lnTo>
                <a:lnTo>
                  <a:pt x="4067421" y="2115390"/>
                </a:lnTo>
                <a:lnTo>
                  <a:pt x="4070567" y="2116581"/>
                </a:lnTo>
                <a:lnTo>
                  <a:pt x="4072629" y="2113009"/>
                </a:lnTo>
                <a:lnTo>
                  <a:pt x="4077513" y="2112142"/>
                </a:lnTo>
                <a:lnTo>
                  <a:pt x="4077947" y="2108786"/>
                </a:lnTo>
                <a:lnTo>
                  <a:pt x="4083590" y="2107595"/>
                </a:lnTo>
                <a:lnTo>
                  <a:pt x="4086954" y="2110085"/>
                </a:lnTo>
                <a:lnTo>
                  <a:pt x="4087496" y="2113875"/>
                </a:lnTo>
                <a:lnTo>
                  <a:pt x="4095636" y="2114849"/>
                </a:lnTo>
                <a:lnTo>
                  <a:pt x="4099867" y="2110843"/>
                </a:lnTo>
                <a:lnTo>
                  <a:pt x="4099976" y="2108353"/>
                </a:lnTo>
                <a:lnTo>
                  <a:pt x="4106487" y="2110626"/>
                </a:lnTo>
                <a:lnTo>
                  <a:pt x="4111696" y="2115174"/>
                </a:lnTo>
                <a:lnTo>
                  <a:pt x="4121896" y="2112250"/>
                </a:lnTo>
                <a:lnTo>
                  <a:pt x="4125478" y="2113009"/>
                </a:lnTo>
                <a:lnTo>
                  <a:pt x="4132206" y="2111709"/>
                </a:lnTo>
                <a:lnTo>
                  <a:pt x="4133398" y="2113224"/>
                </a:lnTo>
                <a:lnTo>
                  <a:pt x="4139584" y="2107811"/>
                </a:lnTo>
                <a:lnTo>
                  <a:pt x="4148265" y="2103480"/>
                </a:lnTo>
                <a:lnTo>
                  <a:pt x="4154559" y="2102181"/>
                </a:lnTo>
                <a:lnTo>
                  <a:pt x="4157164" y="2105537"/>
                </a:lnTo>
                <a:lnTo>
                  <a:pt x="4157380" y="2102506"/>
                </a:lnTo>
                <a:lnTo>
                  <a:pt x="4162589" y="2101423"/>
                </a:lnTo>
                <a:lnTo>
                  <a:pt x="4165628" y="2104129"/>
                </a:lnTo>
                <a:lnTo>
                  <a:pt x="4165085" y="2108352"/>
                </a:lnTo>
                <a:lnTo>
                  <a:pt x="4167473" y="2109218"/>
                </a:lnTo>
                <a:lnTo>
                  <a:pt x="4171053" y="2117339"/>
                </a:lnTo>
                <a:lnTo>
                  <a:pt x="4173441" y="2118746"/>
                </a:lnTo>
                <a:lnTo>
                  <a:pt x="4176263" y="2115715"/>
                </a:lnTo>
                <a:lnTo>
                  <a:pt x="4184835" y="2107919"/>
                </a:lnTo>
                <a:lnTo>
                  <a:pt x="4187005" y="2109543"/>
                </a:lnTo>
                <a:lnTo>
                  <a:pt x="4187005" y="2114307"/>
                </a:lnTo>
                <a:lnTo>
                  <a:pt x="4182230" y="2121345"/>
                </a:lnTo>
                <a:lnTo>
                  <a:pt x="4181905" y="2125567"/>
                </a:lnTo>
                <a:lnTo>
                  <a:pt x="4176154" y="2129573"/>
                </a:lnTo>
                <a:lnTo>
                  <a:pt x="4175069" y="2135961"/>
                </a:lnTo>
                <a:lnTo>
                  <a:pt x="4180820" y="2143649"/>
                </a:lnTo>
                <a:lnTo>
                  <a:pt x="4187874" y="2146355"/>
                </a:lnTo>
                <a:lnTo>
                  <a:pt x="4187656" y="2154151"/>
                </a:lnTo>
                <a:lnTo>
                  <a:pt x="4189501" y="2155342"/>
                </a:lnTo>
                <a:lnTo>
                  <a:pt x="4190369" y="2158806"/>
                </a:lnTo>
                <a:lnTo>
                  <a:pt x="4187874" y="2161513"/>
                </a:lnTo>
                <a:lnTo>
                  <a:pt x="4189827" y="2164220"/>
                </a:lnTo>
                <a:lnTo>
                  <a:pt x="4188091" y="2166385"/>
                </a:lnTo>
                <a:lnTo>
                  <a:pt x="4181145" y="2173314"/>
                </a:lnTo>
                <a:lnTo>
                  <a:pt x="4169209" y="2181543"/>
                </a:lnTo>
                <a:lnTo>
                  <a:pt x="4166930" y="2188581"/>
                </a:lnTo>
                <a:lnTo>
                  <a:pt x="4170728" y="2195510"/>
                </a:lnTo>
                <a:lnTo>
                  <a:pt x="4178324" y="2200707"/>
                </a:lnTo>
                <a:lnTo>
                  <a:pt x="4181797" y="2199949"/>
                </a:lnTo>
                <a:lnTo>
                  <a:pt x="4182774" y="2203630"/>
                </a:lnTo>
                <a:lnTo>
                  <a:pt x="4186029" y="2205038"/>
                </a:lnTo>
                <a:lnTo>
                  <a:pt x="4187874" y="2203630"/>
                </a:lnTo>
                <a:lnTo>
                  <a:pt x="4187548" y="2201789"/>
                </a:lnTo>
                <a:lnTo>
                  <a:pt x="4188959" y="2200707"/>
                </a:lnTo>
                <a:lnTo>
                  <a:pt x="4192540" y="2202656"/>
                </a:lnTo>
                <a:lnTo>
                  <a:pt x="4192757" y="2206120"/>
                </a:lnTo>
                <a:lnTo>
                  <a:pt x="4193516" y="2208611"/>
                </a:lnTo>
                <a:lnTo>
                  <a:pt x="4200570" y="2212942"/>
                </a:lnTo>
                <a:lnTo>
                  <a:pt x="4203392" y="2213483"/>
                </a:lnTo>
                <a:lnTo>
                  <a:pt x="4202523" y="2215540"/>
                </a:lnTo>
                <a:lnTo>
                  <a:pt x="4203373" y="2220344"/>
                </a:lnTo>
                <a:lnTo>
                  <a:pt x="4202524" y="2215540"/>
                </a:lnTo>
                <a:lnTo>
                  <a:pt x="4203392" y="2213483"/>
                </a:lnTo>
                <a:lnTo>
                  <a:pt x="4208817" y="2214565"/>
                </a:lnTo>
                <a:lnTo>
                  <a:pt x="4213375" y="2218897"/>
                </a:lnTo>
                <a:lnTo>
                  <a:pt x="4225095" y="2221495"/>
                </a:lnTo>
                <a:lnTo>
                  <a:pt x="4241915" y="2218355"/>
                </a:lnTo>
                <a:lnTo>
                  <a:pt x="4249403" y="2221278"/>
                </a:lnTo>
                <a:lnTo>
                  <a:pt x="4262533" y="2221603"/>
                </a:lnTo>
                <a:lnTo>
                  <a:pt x="4270672" y="2226908"/>
                </a:lnTo>
                <a:lnTo>
                  <a:pt x="4286082" y="2229074"/>
                </a:lnTo>
                <a:lnTo>
                  <a:pt x="4292050" y="2236978"/>
                </a:lnTo>
                <a:lnTo>
                  <a:pt x="4291833" y="2244340"/>
                </a:lnTo>
                <a:lnTo>
                  <a:pt x="4299321" y="2258632"/>
                </a:lnTo>
                <a:lnTo>
                  <a:pt x="4307242" y="2262529"/>
                </a:lnTo>
                <a:lnTo>
                  <a:pt x="4316466" y="2262529"/>
                </a:lnTo>
                <a:lnTo>
                  <a:pt x="4318962" y="2261122"/>
                </a:lnTo>
                <a:lnTo>
                  <a:pt x="4326775" y="2262096"/>
                </a:lnTo>
                <a:lnTo>
                  <a:pt x="4344464" y="2269458"/>
                </a:lnTo>
                <a:lnTo>
                  <a:pt x="4355641" y="2275089"/>
                </a:lnTo>
                <a:lnTo>
                  <a:pt x="4362803" y="2280935"/>
                </a:lnTo>
                <a:lnTo>
                  <a:pt x="4371918" y="2288514"/>
                </a:lnTo>
                <a:lnTo>
                  <a:pt x="4382444" y="2292629"/>
                </a:lnTo>
                <a:lnTo>
                  <a:pt x="4387436" y="2290788"/>
                </a:lnTo>
                <a:lnTo>
                  <a:pt x="4395574" y="2283967"/>
                </a:lnTo>
                <a:lnTo>
                  <a:pt x="4396334" y="2281694"/>
                </a:lnTo>
                <a:lnTo>
                  <a:pt x="4402520" y="2275413"/>
                </a:lnTo>
                <a:lnTo>
                  <a:pt x="4404582" y="2270000"/>
                </a:lnTo>
                <a:lnTo>
                  <a:pt x="4401652" y="2260472"/>
                </a:lnTo>
                <a:lnTo>
                  <a:pt x="4397311" y="2253760"/>
                </a:lnTo>
                <a:lnTo>
                  <a:pt x="4398071" y="2241525"/>
                </a:lnTo>
                <a:lnTo>
                  <a:pt x="4401109" y="2239143"/>
                </a:lnTo>
                <a:lnTo>
                  <a:pt x="4402520" y="2232646"/>
                </a:lnTo>
                <a:lnTo>
                  <a:pt x="4408380" y="2227017"/>
                </a:lnTo>
                <a:lnTo>
                  <a:pt x="4418472" y="2222144"/>
                </a:lnTo>
                <a:lnTo>
                  <a:pt x="4430191" y="2221062"/>
                </a:lnTo>
                <a:lnTo>
                  <a:pt x="4437679" y="2217272"/>
                </a:lnTo>
                <a:lnTo>
                  <a:pt x="4439416" y="2217272"/>
                </a:lnTo>
                <a:lnTo>
                  <a:pt x="4444516" y="2219871"/>
                </a:lnTo>
                <a:lnTo>
                  <a:pt x="4447011" y="2217597"/>
                </a:lnTo>
                <a:lnTo>
                  <a:pt x="4449073" y="2218788"/>
                </a:lnTo>
                <a:lnTo>
                  <a:pt x="4457321" y="2220954"/>
                </a:lnTo>
                <a:lnTo>
                  <a:pt x="4462638" y="2220954"/>
                </a:lnTo>
                <a:lnTo>
                  <a:pt x="4472730" y="2226475"/>
                </a:lnTo>
                <a:lnTo>
                  <a:pt x="4472947" y="2229399"/>
                </a:lnTo>
                <a:lnTo>
                  <a:pt x="4471102" y="2230048"/>
                </a:lnTo>
                <a:lnTo>
                  <a:pt x="4472947" y="2232863"/>
                </a:lnTo>
                <a:lnTo>
                  <a:pt x="4481412" y="2235137"/>
                </a:lnTo>
                <a:lnTo>
                  <a:pt x="4487705" y="2235678"/>
                </a:lnTo>
                <a:lnTo>
                  <a:pt x="4490961" y="2238601"/>
                </a:lnTo>
                <a:lnTo>
                  <a:pt x="4507130" y="2240550"/>
                </a:lnTo>
                <a:lnTo>
                  <a:pt x="4511471" y="2239901"/>
                </a:lnTo>
                <a:lnTo>
                  <a:pt x="4515811" y="2240550"/>
                </a:lnTo>
                <a:lnTo>
                  <a:pt x="4519176" y="2244340"/>
                </a:lnTo>
                <a:lnTo>
                  <a:pt x="4521345" y="2251052"/>
                </a:lnTo>
                <a:lnTo>
                  <a:pt x="4519826" y="2254950"/>
                </a:lnTo>
                <a:lnTo>
                  <a:pt x="4517764" y="2265019"/>
                </a:lnTo>
                <a:lnTo>
                  <a:pt x="4517764" y="2265020"/>
                </a:lnTo>
                <a:lnTo>
                  <a:pt x="4519826" y="2254951"/>
                </a:lnTo>
                <a:lnTo>
                  <a:pt x="4521345" y="2251053"/>
                </a:lnTo>
                <a:lnTo>
                  <a:pt x="4523733" y="2250295"/>
                </a:lnTo>
                <a:lnTo>
                  <a:pt x="4535669" y="2249754"/>
                </a:lnTo>
                <a:lnTo>
                  <a:pt x="4544893" y="2252786"/>
                </a:lnTo>
                <a:lnTo>
                  <a:pt x="4563558" y="2254301"/>
                </a:lnTo>
                <a:lnTo>
                  <a:pt x="4571263" y="2255925"/>
                </a:lnTo>
                <a:lnTo>
                  <a:pt x="4577991" y="2260581"/>
                </a:lnTo>
                <a:lnTo>
                  <a:pt x="4580812" y="2258849"/>
                </a:lnTo>
                <a:lnTo>
                  <a:pt x="4583634" y="2258849"/>
                </a:lnTo>
                <a:lnTo>
                  <a:pt x="4590470" y="2263180"/>
                </a:lnTo>
                <a:lnTo>
                  <a:pt x="4598609" y="2262530"/>
                </a:lnTo>
                <a:lnTo>
                  <a:pt x="4604252" y="2263180"/>
                </a:lnTo>
                <a:lnTo>
                  <a:pt x="4612934" y="2268593"/>
                </a:lnTo>
                <a:lnTo>
                  <a:pt x="4620855" y="2268593"/>
                </a:lnTo>
                <a:lnTo>
                  <a:pt x="4621723" y="2266319"/>
                </a:lnTo>
                <a:lnTo>
                  <a:pt x="4626823" y="2261556"/>
                </a:lnTo>
                <a:lnTo>
                  <a:pt x="4633009" y="2259498"/>
                </a:lnTo>
                <a:lnTo>
                  <a:pt x="4636047" y="2257874"/>
                </a:lnTo>
                <a:lnTo>
                  <a:pt x="4642450" y="2254409"/>
                </a:lnTo>
                <a:lnTo>
                  <a:pt x="4645271" y="2252352"/>
                </a:lnTo>
                <a:lnTo>
                  <a:pt x="4651999" y="2252136"/>
                </a:lnTo>
                <a:lnTo>
                  <a:pt x="4656882" y="2251595"/>
                </a:lnTo>
                <a:lnTo>
                  <a:pt x="4653084" y="2253111"/>
                </a:lnTo>
                <a:lnTo>
                  <a:pt x="4648418" y="2253760"/>
                </a:lnTo>
                <a:lnTo>
                  <a:pt x="4648309" y="2254843"/>
                </a:lnTo>
                <a:lnTo>
                  <a:pt x="4649937" y="2256466"/>
                </a:lnTo>
                <a:lnTo>
                  <a:pt x="4655255" y="2254301"/>
                </a:lnTo>
                <a:lnTo>
                  <a:pt x="4659704" y="2254843"/>
                </a:lnTo>
                <a:lnTo>
                  <a:pt x="4664261" y="2254301"/>
                </a:lnTo>
                <a:lnTo>
                  <a:pt x="4663502" y="2252678"/>
                </a:lnTo>
                <a:lnTo>
                  <a:pt x="4660138" y="2251919"/>
                </a:lnTo>
                <a:lnTo>
                  <a:pt x="4661331" y="2250512"/>
                </a:lnTo>
                <a:lnTo>
                  <a:pt x="4669470" y="2252678"/>
                </a:lnTo>
                <a:lnTo>
                  <a:pt x="4674354" y="2254301"/>
                </a:lnTo>
                <a:lnTo>
                  <a:pt x="4678368" y="2253760"/>
                </a:lnTo>
                <a:lnTo>
                  <a:pt x="4680322" y="2255709"/>
                </a:lnTo>
                <a:lnTo>
                  <a:pt x="4677935" y="2256792"/>
                </a:lnTo>
                <a:lnTo>
                  <a:pt x="4679128" y="2260906"/>
                </a:lnTo>
                <a:lnTo>
                  <a:pt x="4684012" y="2263613"/>
                </a:lnTo>
                <a:lnTo>
                  <a:pt x="4687267" y="2268593"/>
                </a:lnTo>
                <a:lnTo>
                  <a:pt x="4687376" y="2265453"/>
                </a:lnTo>
                <a:lnTo>
                  <a:pt x="4684120" y="2260581"/>
                </a:lnTo>
                <a:lnTo>
                  <a:pt x="4685205" y="2256466"/>
                </a:lnTo>
                <a:lnTo>
                  <a:pt x="4693887" y="2262638"/>
                </a:lnTo>
                <a:lnTo>
                  <a:pt x="4705932" y="2259390"/>
                </a:lnTo>
                <a:lnTo>
                  <a:pt x="4721124" y="2261880"/>
                </a:lnTo>
                <a:lnTo>
                  <a:pt x="4727636" y="2259390"/>
                </a:lnTo>
                <a:lnTo>
                  <a:pt x="4730674" y="2255276"/>
                </a:lnTo>
                <a:lnTo>
                  <a:pt x="4732482" y="2256070"/>
                </a:lnTo>
                <a:lnTo>
                  <a:pt x="4730674" y="2255275"/>
                </a:lnTo>
                <a:lnTo>
                  <a:pt x="4738162" y="2245315"/>
                </a:lnTo>
                <a:lnTo>
                  <a:pt x="4744998" y="2231565"/>
                </a:lnTo>
                <a:lnTo>
                  <a:pt x="4746843" y="2214241"/>
                </a:lnTo>
                <a:lnTo>
                  <a:pt x="4751942" y="2208503"/>
                </a:lnTo>
                <a:lnTo>
                  <a:pt x="4754764" y="2209044"/>
                </a:lnTo>
                <a:lnTo>
                  <a:pt x="4762360" y="2208936"/>
                </a:lnTo>
                <a:lnTo>
                  <a:pt x="4762360" y="2208936"/>
                </a:lnTo>
                <a:lnTo>
                  <a:pt x="4754766" y="2209044"/>
                </a:lnTo>
                <a:lnTo>
                  <a:pt x="4751944" y="2208503"/>
                </a:lnTo>
                <a:lnTo>
                  <a:pt x="4752595" y="2207745"/>
                </a:lnTo>
                <a:lnTo>
                  <a:pt x="4752595" y="2201248"/>
                </a:lnTo>
                <a:lnTo>
                  <a:pt x="4756935" y="2195077"/>
                </a:lnTo>
                <a:lnTo>
                  <a:pt x="4760951" y="2188905"/>
                </a:lnTo>
                <a:lnTo>
                  <a:pt x="4762036" y="2171907"/>
                </a:lnTo>
                <a:lnTo>
                  <a:pt x="4765292" y="2171257"/>
                </a:lnTo>
                <a:lnTo>
                  <a:pt x="4765400" y="2169958"/>
                </a:lnTo>
                <a:lnTo>
                  <a:pt x="4765399" y="2169958"/>
                </a:lnTo>
                <a:lnTo>
                  <a:pt x="4766051" y="2160755"/>
                </a:lnTo>
                <a:lnTo>
                  <a:pt x="4767135" y="2155666"/>
                </a:lnTo>
                <a:lnTo>
                  <a:pt x="4765507" y="2149495"/>
                </a:lnTo>
                <a:lnTo>
                  <a:pt x="4761601" y="2141483"/>
                </a:lnTo>
                <a:lnTo>
                  <a:pt x="4760516" y="2134336"/>
                </a:lnTo>
                <a:lnTo>
                  <a:pt x="4763771" y="2133038"/>
                </a:lnTo>
                <a:lnTo>
                  <a:pt x="4763879" y="2132497"/>
                </a:lnTo>
                <a:lnTo>
                  <a:pt x="4763881" y="2132497"/>
                </a:lnTo>
                <a:lnTo>
                  <a:pt x="4764749" y="2129249"/>
                </a:lnTo>
                <a:lnTo>
                  <a:pt x="4760516" y="2124161"/>
                </a:lnTo>
                <a:lnTo>
                  <a:pt x="4760299" y="2121887"/>
                </a:lnTo>
                <a:lnTo>
                  <a:pt x="4764966" y="2118098"/>
                </a:lnTo>
                <a:lnTo>
                  <a:pt x="4768655" y="2112251"/>
                </a:lnTo>
                <a:lnTo>
                  <a:pt x="4768112" y="2108786"/>
                </a:lnTo>
                <a:lnTo>
                  <a:pt x="4764097" y="2107596"/>
                </a:lnTo>
                <a:lnTo>
                  <a:pt x="4758888" y="2111385"/>
                </a:lnTo>
                <a:lnTo>
                  <a:pt x="4758346" y="2113551"/>
                </a:lnTo>
                <a:lnTo>
                  <a:pt x="4750858" y="2114958"/>
                </a:lnTo>
                <a:lnTo>
                  <a:pt x="4744890" y="2112251"/>
                </a:lnTo>
                <a:lnTo>
                  <a:pt x="4735123" y="2108786"/>
                </a:lnTo>
                <a:lnTo>
                  <a:pt x="4732627" y="2109436"/>
                </a:lnTo>
                <a:lnTo>
                  <a:pt x="4722318" y="2121129"/>
                </a:lnTo>
                <a:lnTo>
                  <a:pt x="4721233" y="2125135"/>
                </a:lnTo>
                <a:lnTo>
                  <a:pt x="4718195" y="2127192"/>
                </a:lnTo>
                <a:lnTo>
                  <a:pt x="4717110" y="2126218"/>
                </a:lnTo>
                <a:lnTo>
                  <a:pt x="4714939" y="2126218"/>
                </a:lnTo>
                <a:lnTo>
                  <a:pt x="4708429" y="2128925"/>
                </a:lnTo>
                <a:lnTo>
                  <a:pt x="4686725" y="2131631"/>
                </a:lnTo>
                <a:lnTo>
                  <a:pt x="4680214" y="2127409"/>
                </a:lnTo>
                <a:lnTo>
                  <a:pt x="4672618" y="2117340"/>
                </a:lnTo>
                <a:lnTo>
                  <a:pt x="4668386" y="2117340"/>
                </a:lnTo>
                <a:lnTo>
                  <a:pt x="4656883" y="2111385"/>
                </a:lnTo>
                <a:lnTo>
                  <a:pt x="4648093" y="2110627"/>
                </a:lnTo>
                <a:lnTo>
                  <a:pt x="4638001" y="2111602"/>
                </a:lnTo>
                <a:lnTo>
                  <a:pt x="4638978" y="2116798"/>
                </a:lnTo>
                <a:lnTo>
                  <a:pt x="4638001" y="2119722"/>
                </a:lnTo>
                <a:lnTo>
                  <a:pt x="4638543" y="2125243"/>
                </a:lnTo>
                <a:lnTo>
                  <a:pt x="4635722" y="2126868"/>
                </a:lnTo>
                <a:lnTo>
                  <a:pt x="4631490" y="2124702"/>
                </a:lnTo>
                <a:lnTo>
                  <a:pt x="4628777" y="2127084"/>
                </a:lnTo>
                <a:lnTo>
                  <a:pt x="4624111" y="2127084"/>
                </a:lnTo>
                <a:lnTo>
                  <a:pt x="4621398" y="2129249"/>
                </a:lnTo>
                <a:lnTo>
                  <a:pt x="4615647" y="2130116"/>
                </a:lnTo>
                <a:lnTo>
                  <a:pt x="4610221" y="2127951"/>
                </a:lnTo>
                <a:lnTo>
                  <a:pt x="4608376" y="2128925"/>
                </a:lnTo>
                <a:lnTo>
                  <a:pt x="4603276" y="2124702"/>
                </a:lnTo>
                <a:lnTo>
                  <a:pt x="4602733" y="2121454"/>
                </a:lnTo>
                <a:lnTo>
                  <a:pt x="4600563" y="2118206"/>
                </a:lnTo>
                <a:lnTo>
                  <a:pt x="4602408" y="2117340"/>
                </a:lnTo>
                <a:lnTo>
                  <a:pt x="4602950" y="2114849"/>
                </a:lnTo>
                <a:lnTo>
                  <a:pt x="4599369" y="2114308"/>
                </a:lnTo>
                <a:lnTo>
                  <a:pt x="4597199" y="2117340"/>
                </a:lnTo>
                <a:lnTo>
                  <a:pt x="4592641" y="2114633"/>
                </a:lnTo>
                <a:lnTo>
                  <a:pt x="4589602" y="2114633"/>
                </a:lnTo>
                <a:lnTo>
                  <a:pt x="4587215" y="2111710"/>
                </a:lnTo>
                <a:lnTo>
                  <a:pt x="4583743" y="2111926"/>
                </a:lnTo>
                <a:lnTo>
                  <a:pt x="4580487" y="2115932"/>
                </a:lnTo>
                <a:lnTo>
                  <a:pt x="4577774" y="2119288"/>
                </a:lnTo>
                <a:lnTo>
                  <a:pt x="4576363" y="2118098"/>
                </a:lnTo>
                <a:lnTo>
                  <a:pt x="4576363" y="2114633"/>
                </a:lnTo>
                <a:lnTo>
                  <a:pt x="4573759" y="2115932"/>
                </a:lnTo>
                <a:lnTo>
                  <a:pt x="4568442" y="2115932"/>
                </a:lnTo>
                <a:lnTo>
                  <a:pt x="4564535" y="2117231"/>
                </a:lnTo>
                <a:lnTo>
                  <a:pt x="4561605" y="2116474"/>
                </a:lnTo>
                <a:lnTo>
                  <a:pt x="4563450" y="2113767"/>
                </a:lnTo>
                <a:lnTo>
                  <a:pt x="4571154" y="2114092"/>
                </a:lnTo>
                <a:lnTo>
                  <a:pt x="4576363" y="2111818"/>
                </a:lnTo>
                <a:lnTo>
                  <a:pt x="4578751" y="2109436"/>
                </a:lnTo>
                <a:lnTo>
                  <a:pt x="4579402" y="2107379"/>
                </a:lnTo>
                <a:lnTo>
                  <a:pt x="4569309" y="2107379"/>
                </a:lnTo>
                <a:lnTo>
                  <a:pt x="4562039" y="2109219"/>
                </a:lnTo>
                <a:lnTo>
                  <a:pt x="4559000" y="2107920"/>
                </a:lnTo>
                <a:lnTo>
                  <a:pt x="4559869" y="2105213"/>
                </a:lnTo>
                <a:lnTo>
                  <a:pt x="4563667" y="2106296"/>
                </a:lnTo>
                <a:lnTo>
                  <a:pt x="4565838" y="2102507"/>
                </a:lnTo>
                <a:lnTo>
                  <a:pt x="4559869" y="2096768"/>
                </a:lnTo>
                <a:lnTo>
                  <a:pt x="4556830" y="2096552"/>
                </a:lnTo>
                <a:lnTo>
                  <a:pt x="4556613" y="2093737"/>
                </a:lnTo>
                <a:lnTo>
                  <a:pt x="4553575" y="2090813"/>
                </a:lnTo>
                <a:lnTo>
                  <a:pt x="4557373" y="2087024"/>
                </a:lnTo>
                <a:lnTo>
                  <a:pt x="4555853" y="2081394"/>
                </a:lnTo>
                <a:lnTo>
                  <a:pt x="4550536" y="2078146"/>
                </a:lnTo>
                <a:lnTo>
                  <a:pt x="4546847" y="2078903"/>
                </a:lnTo>
                <a:lnTo>
                  <a:pt x="4542181" y="2074898"/>
                </a:lnTo>
                <a:lnTo>
                  <a:pt x="4541313" y="2076955"/>
                </a:lnTo>
                <a:lnTo>
                  <a:pt x="4537297" y="2074356"/>
                </a:lnTo>
                <a:lnTo>
                  <a:pt x="4536538" y="2071000"/>
                </a:lnTo>
                <a:lnTo>
                  <a:pt x="4538600" y="2068618"/>
                </a:lnTo>
                <a:lnTo>
                  <a:pt x="4536972" y="2064179"/>
                </a:lnTo>
                <a:lnTo>
                  <a:pt x="4537840" y="2060281"/>
                </a:lnTo>
                <a:lnTo>
                  <a:pt x="4539576" y="2061148"/>
                </a:lnTo>
                <a:lnTo>
                  <a:pt x="4542181" y="2067427"/>
                </a:lnTo>
                <a:lnTo>
                  <a:pt x="4544785" y="2067427"/>
                </a:lnTo>
                <a:lnTo>
                  <a:pt x="4546847" y="2063313"/>
                </a:lnTo>
                <a:lnTo>
                  <a:pt x="4550211" y="2061039"/>
                </a:lnTo>
                <a:lnTo>
                  <a:pt x="4546847" y="2060715"/>
                </a:lnTo>
                <a:lnTo>
                  <a:pt x="4544785" y="2059307"/>
                </a:lnTo>
                <a:lnTo>
                  <a:pt x="4550754" y="2055626"/>
                </a:lnTo>
                <a:lnTo>
                  <a:pt x="4553575" y="2052594"/>
                </a:lnTo>
                <a:lnTo>
                  <a:pt x="4553249" y="2050212"/>
                </a:lnTo>
                <a:lnTo>
                  <a:pt x="4548909" y="2053027"/>
                </a:lnTo>
                <a:lnTo>
                  <a:pt x="4547389" y="2051944"/>
                </a:lnTo>
                <a:lnTo>
                  <a:pt x="4547823" y="2049779"/>
                </a:lnTo>
                <a:lnTo>
                  <a:pt x="4547932" y="2046964"/>
                </a:lnTo>
                <a:lnTo>
                  <a:pt x="4545653" y="2043174"/>
                </a:lnTo>
                <a:lnTo>
                  <a:pt x="4544893" y="2039601"/>
                </a:lnTo>
                <a:lnTo>
                  <a:pt x="4550536" y="2034297"/>
                </a:lnTo>
                <a:lnTo>
                  <a:pt x="4544676" y="2034188"/>
                </a:lnTo>
                <a:lnTo>
                  <a:pt x="4540010" y="2035271"/>
                </a:lnTo>
                <a:lnTo>
                  <a:pt x="4538165" y="2034513"/>
                </a:lnTo>
                <a:lnTo>
                  <a:pt x="4531871" y="2036678"/>
                </a:lnTo>
                <a:lnTo>
                  <a:pt x="4530244" y="2033755"/>
                </a:lnTo>
                <a:lnTo>
                  <a:pt x="4531871" y="2031806"/>
                </a:lnTo>
                <a:lnTo>
                  <a:pt x="4532089" y="2026934"/>
                </a:lnTo>
                <a:lnTo>
                  <a:pt x="4530244" y="2023902"/>
                </a:lnTo>
                <a:lnTo>
                  <a:pt x="4532089" y="2019679"/>
                </a:lnTo>
                <a:lnTo>
                  <a:pt x="4533716" y="2015349"/>
                </a:lnTo>
                <a:lnTo>
                  <a:pt x="4544568" y="2007120"/>
                </a:lnTo>
                <a:lnTo>
                  <a:pt x="4550102" y="2007120"/>
                </a:lnTo>
                <a:lnTo>
                  <a:pt x="4555853" y="2011559"/>
                </a:lnTo>
                <a:lnTo>
                  <a:pt x="4559869" y="2011776"/>
                </a:lnTo>
                <a:lnTo>
                  <a:pt x="4564101" y="2007120"/>
                </a:lnTo>
                <a:lnTo>
                  <a:pt x="4567139" y="2006904"/>
                </a:lnTo>
                <a:lnTo>
                  <a:pt x="4569852" y="2010910"/>
                </a:lnTo>
                <a:lnTo>
                  <a:pt x="4575495" y="2008311"/>
                </a:lnTo>
                <a:lnTo>
                  <a:pt x="4580162" y="2010910"/>
                </a:lnTo>
                <a:lnTo>
                  <a:pt x="4591230" y="2010693"/>
                </a:lnTo>
                <a:lnTo>
                  <a:pt x="4594811" y="2009394"/>
                </a:lnTo>
                <a:lnTo>
                  <a:pt x="4592967" y="2006687"/>
                </a:lnTo>
                <a:lnTo>
                  <a:pt x="4588517" y="2008203"/>
                </a:lnTo>
                <a:lnTo>
                  <a:pt x="4586889" y="2005821"/>
                </a:lnTo>
                <a:lnTo>
                  <a:pt x="4589928" y="2001815"/>
                </a:lnTo>
                <a:lnTo>
                  <a:pt x="4598392" y="1999325"/>
                </a:lnTo>
                <a:lnTo>
                  <a:pt x="4608159" y="1999108"/>
                </a:lnTo>
                <a:lnTo>
                  <a:pt x="4609135" y="1996618"/>
                </a:lnTo>
                <a:lnTo>
                  <a:pt x="4603493" y="1995752"/>
                </a:lnTo>
                <a:lnTo>
                  <a:pt x="4596765" y="1995535"/>
                </a:lnTo>
                <a:lnTo>
                  <a:pt x="4592424" y="1988281"/>
                </a:lnTo>
                <a:lnTo>
                  <a:pt x="4593509" y="1985033"/>
                </a:lnTo>
                <a:lnTo>
                  <a:pt x="4599478" y="1983409"/>
                </a:lnTo>
                <a:lnTo>
                  <a:pt x="4603167" y="1984708"/>
                </a:lnTo>
                <a:lnTo>
                  <a:pt x="4610329" y="1982868"/>
                </a:lnTo>
                <a:lnTo>
                  <a:pt x="4615647" y="1983951"/>
                </a:lnTo>
                <a:lnTo>
                  <a:pt x="4618468" y="1981785"/>
                </a:lnTo>
                <a:lnTo>
                  <a:pt x="4622483" y="1981785"/>
                </a:lnTo>
                <a:lnTo>
                  <a:pt x="4635180" y="1986441"/>
                </a:lnTo>
                <a:lnTo>
                  <a:pt x="4643644" y="1986008"/>
                </a:lnTo>
                <a:lnTo>
                  <a:pt x="4643210" y="1983409"/>
                </a:lnTo>
                <a:lnTo>
                  <a:pt x="4645489" y="1982002"/>
                </a:lnTo>
                <a:lnTo>
                  <a:pt x="4647767" y="1976263"/>
                </a:lnTo>
                <a:lnTo>
                  <a:pt x="4649937" y="1974964"/>
                </a:lnTo>
                <a:lnTo>
                  <a:pt x="4653953" y="1970849"/>
                </a:lnTo>
                <a:lnTo>
                  <a:pt x="4658076" y="1969767"/>
                </a:lnTo>
                <a:lnTo>
                  <a:pt x="4660681" y="1966302"/>
                </a:lnTo>
                <a:lnTo>
                  <a:pt x="4669470" y="1964678"/>
                </a:lnTo>
                <a:lnTo>
                  <a:pt x="4674571" y="1964137"/>
                </a:lnTo>
                <a:lnTo>
                  <a:pt x="4685639" y="1959265"/>
                </a:lnTo>
                <a:lnTo>
                  <a:pt x="4691391" y="1957965"/>
                </a:lnTo>
                <a:lnTo>
                  <a:pt x="4703111" y="1958507"/>
                </a:lnTo>
                <a:lnTo>
                  <a:pt x="4707885" y="1957316"/>
                </a:lnTo>
                <a:lnTo>
                  <a:pt x="4711467" y="1958507"/>
                </a:lnTo>
                <a:lnTo>
                  <a:pt x="4719063" y="1958507"/>
                </a:lnTo>
                <a:lnTo>
                  <a:pt x="4724814" y="1955692"/>
                </a:lnTo>
                <a:lnTo>
                  <a:pt x="4726334" y="1956233"/>
                </a:lnTo>
                <a:lnTo>
                  <a:pt x="4726984" y="1960888"/>
                </a:lnTo>
                <a:lnTo>
                  <a:pt x="4735666" y="1968792"/>
                </a:lnTo>
                <a:lnTo>
                  <a:pt x="4737836" y="1967385"/>
                </a:lnTo>
                <a:lnTo>
                  <a:pt x="4739898" y="1968251"/>
                </a:lnTo>
                <a:lnTo>
                  <a:pt x="4745649" y="1962513"/>
                </a:lnTo>
                <a:lnTo>
                  <a:pt x="4748362" y="1961972"/>
                </a:lnTo>
                <a:lnTo>
                  <a:pt x="4752160" y="1965220"/>
                </a:lnTo>
                <a:lnTo>
                  <a:pt x="4753245" y="1970958"/>
                </a:lnTo>
                <a:lnTo>
                  <a:pt x="4757369" y="1976588"/>
                </a:lnTo>
                <a:lnTo>
                  <a:pt x="4761384" y="1977454"/>
                </a:lnTo>
                <a:lnTo>
                  <a:pt x="4763554" y="1974423"/>
                </a:lnTo>
                <a:lnTo>
                  <a:pt x="4766051" y="1974423"/>
                </a:lnTo>
                <a:lnTo>
                  <a:pt x="4774406" y="1980053"/>
                </a:lnTo>
                <a:lnTo>
                  <a:pt x="4779073" y="1980702"/>
                </a:lnTo>
                <a:lnTo>
                  <a:pt x="4788297" y="1985249"/>
                </a:lnTo>
                <a:lnTo>
                  <a:pt x="4791226" y="1983300"/>
                </a:lnTo>
                <a:lnTo>
                  <a:pt x="4796652" y="1987090"/>
                </a:lnTo>
                <a:lnTo>
                  <a:pt x="4804791" y="1988714"/>
                </a:lnTo>
                <a:lnTo>
                  <a:pt x="4814883" y="1984492"/>
                </a:lnTo>
                <a:lnTo>
                  <a:pt x="4823564" y="1983951"/>
                </a:lnTo>
                <a:lnTo>
                  <a:pt x="4828339" y="1982543"/>
                </a:lnTo>
                <a:lnTo>
                  <a:pt x="4829750" y="1983409"/>
                </a:lnTo>
                <a:lnTo>
                  <a:pt x="4833114" y="1983409"/>
                </a:lnTo>
                <a:lnTo>
                  <a:pt x="4836044" y="1985249"/>
                </a:lnTo>
                <a:lnTo>
                  <a:pt x="4845810" y="1987415"/>
                </a:lnTo>
                <a:lnTo>
                  <a:pt x="4848740" y="1985033"/>
                </a:lnTo>
                <a:lnTo>
                  <a:pt x="4856119" y="1984492"/>
                </a:lnTo>
                <a:lnTo>
                  <a:pt x="4857530" y="1980919"/>
                </a:lnTo>
                <a:lnTo>
                  <a:pt x="4865560" y="1976913"/>
                </a:lnTo>
                <a:lnTo>
                  <a:pt x="4871529" y="1973340"/>
                </a:lnTo>
                <a:lnTo>
                  <a:pt x="4874459" y="1967169"/>
                </a:lnTo>
                <a:lnTo>
                  <a:pt x="4875544" y="1965653"/>
                </a:lnTo>
                <a:lnTo>
                  <a:pt x="4878447" y="1965975"/>
                </a:lnTo>
                <a:lnTo>
                  <a:pt x="4878366" y="1965652"/>
                </a:lnTo>
                <a:lnTo>
                  <a:pt x="4875436" y="1965652"/>
                </a:lnTo>
                <a:lnTo>
                  <a:pt x="4876087" y="1964677"/>
                </a:lnTo>
                <a:lnTo>
                  <a:pt x="4876087" y="1963920"/>
                </a:lnTo>
                <a:cubicBezTo>
                  <a:pt x="4884877" y="1964028"/>
                  <a:pt x="4907123" y="1963595"/>
                  <a:pt x="4906580" y="1958506"/>
                </a:cubicBezTo>
                <a:lnTo>
                  <a:pt x="4905820" y="1952118"/>
                </a:lnTo>
                <a:lnTo>
                  <a:pt x="4931101" y="1951202"/>
                </a:lnTo>
                <a:lnTo>
                  <a:pt x="4929694" y="1950387"/>
                </a:lnTo>
                <a:lnTo>
                  <a:pt x="4902781" y="1951361"/>
                </a:lnTo>
                <a:lnTo>
                  <a:pt x="4903541" y="1957749"/>
                </a:lnTo>
                <a:cubicBezTo>
                  <a:pt x="4904084" y="1963163"/>
                  <a:pt x="4881946" y="1963163"/>
                  <a:pt x="4873048" y="1963163"/>
                </a:cubicBezTo>
                <a:lnTo>
                  <a:pt x="4872180" y="1959698"/>
                </a:lnTo>
                <a:lnTo>
                  <a:pt x="4873807" y="1956991"/>
                </a:lnTo>
                <a:lnTo>
                  <a:pt x="4869684" y="1949412"/>
                </a:lnTo>
                <a:lnTo>
                  <a:pt x="4868382" y="1939451"/>
                </a:lnTo>
                <a:lnTo>
                  <a:pt x="4865452" y="1935879"/>
                </a:lnTo>
                <a:lnTo>
                  <a:pt x="4860351" y="1927975"/>
                </a:lnTo>
                <a:lnTo>
                  <a:pt x="4854600" y="1927217"/>
                </a:lnTo>
                <a:lnTo>
                  <a:pt x="4854600" y="1924185"/>
                </a:lnTo>
                <a:lnTo>
                  <a:pt x="4848414" y="1918988"/>
                </a:lnTo>
                <a:lnTo>
                  <a:pt x="4845919" y="1920612"/>
                </a:lnTo>
                <a:lnTo>
                  <a:pt x="4843531" y="1919314"/>
                </a:lnTo>
                <a:lnTo>
                  <a:pt x="4838865" y="1918555"/>
                </a:lnTo>
                <a:lnTo>
                  <a:pt x="4835067" y="1912926"/>
                </a:lnTo>
                <a:lnTo>
                  <a:pt x="4832571" y="1912926"/>
                </a:lnTo>
                <a:lnTo>
                  <a:pt x="4828014" y="1911084"/>
                </a:lnTo>
                <a:lnTo>
                  <a:pt x="4826603" y="1907837"/>
                </a:lnTo>
                <a:lnTo>
                  <a:pt x="4822805" y="1907837"/>
                </a:lnTo>
                <a:lnTo>
                  <a:pt x="4819006" y="1904588"/>
                </a:lnTo>
                <a:lnTo>
                  <a:pt x="4817596" y="1901665"/>
                </a:lnTo>
                <a:lnTo>
                  <a:pt x="4813255" y="1900257"/>
                </a:lnTo>
                <a:lnTo>
                  <a:pt x="4810108" y="1894519"/>
                </a:lnTo>
                <a:lnTo>
                  <a:pt x="4794699" y="1883692"/>
                </a:lnTo>
                <a:lnTo>
                  <a:pt x="4788405" y="1882068"/>
                </a:lnTo>
                <a:lnTo>
                  <a:pt x="4779181" y="1876438"/>
                </a:lnTo>
                <a:lnTo>
                  <a:pt x="4770283" y="1877196"/>
                </a:lnTo>
                <a:lnTo>
                  <a:pt x="4765074" y="1871782"/>
                </a:lnTo>
                <a:lnTo>
                  <a:pt x="4765074" y="1868209"/>
                </a:lnTo>
                <a:lnTo>
                  <a:pt x="4758563" y="1862796"/>
                </a:lnTo>
                <a:lnTo>
                  <a:pt x="4755850" y="1862796"/>
                </a:lnTo>
                <a:lnTo>
                  <a:pt x="4750207" y="1862038"/>
                </a:lnTo>
                <a:lnTo>
                  <a:pt x="4753462" y="1859331"/>
                </a:lnTo>
                <a:lnTo>
                  <a:pt x="4757044" y="1857707"/>
                </a:lnTo>
                <a:lnTo>
                  <a:pt x="4755199" y="1854242"/>
                </a:lnTo>
                <a:lnTo>
                  <a:pt x="4755199" y="1852078"/>
                </a:lnTo>
                <a:lnTo>
                  <a:pt x="4760408" y="1853376"/>
                </a:lnTo>
                <a:lnTo>
                  <a:pt x="4764206" y="1856300"/>
                </a:lnTo>
                <a:lnTo>
                  <a:pt x="4765291" y="1855542"/>
                </a:lnTo>
                <a:lnTo>
                  <a:pt x="4769957" y="1856300"/>
                </a:lnTo>
                <a:lnTo>
                  <a:pt x="4771042" y="1849478"/>
                </a:lnTo>
                <a:lnTo>
                  <a:pt x="4768655" y="1847854"/>
                </a:lnTo>
                <a:lnTo>
                  <a:pt x="4768655" y="1843524"/>
                </a:lnTo>
                <a:lnTo>
                  <a:pt x="4773755" y="1838435"/>
                </a:lnTo>
                <a:lnTo>
                  <a:pt x="4773755" y="1836595"/>
                </a:lnTo>
                <a:lnTo>
                  <a:pt x="4775709" y="1834754"/>
                </a:lnTo>
                <a:lnTo>
                  <a:pt x="4778964" y="1834754"/>
                </a:lnTo>
                <a:lnTo>
                  <a:pt x="4780917" y="1831830"/>
                </a:lnTo>
                <a:lnTo>
                  <a:pt x="4783956" y="1831073"/>
                </a:lnTo>
                <a:lnTo>
                  <a:pt x="4783956" y="1829124"/>
                </a:lnTo>
                <a:lnTo>
                  <a:pt x="4779072" y="1827717"/>
                </a:lnTo>
                <a:lnTo>
                  <a:pt x="4777770" y="1825226"/>
                </a:lnTo>
                <a:lnTo>
                  <a:pt x="4775274" y="1827391"/>
                </a:lnTo>
                <a:lnTo>
                  <a:pt x="4771802" y="1823927"/>
                </a:lnTo>
                <a:lnTo>
                  <a:pt x="4768546" y="1816889"/>
                </a:lnTo>
                <a:lnTo>
                  <a:pt x="4776685" y="1815807"/>
                </a:lnTo>
                <a:lnTo>
                  <a:pt x="4782545" y="1816889"/>
                </a:lnTo>
                <a:lnTo>
                  <a:pt x="4785583" y="1813425"/>
                </a:lnTo>
                <a:lnTo>
                  <a:pt x="4782545" y="1813425"/>
                </a:lnTo>
                <a:lnTo>
                  <a:pt x="4780158" y="1811151"/>
                </a:lnTo>
                <a:lnTo>
                  <a:pt x="4785366" y="1807578"/>
                </a:lnTo>
                <a:lnTo>
                  <a:pt x="4797846" y="1800865"/>
                </a:lnTo>
                <a:lnTo>
                  <a:pt x="4799148" y="1797292"/>
                </a:lnTo>
                <a:lnTo>
                  <a:pt x="4797737" y="1794802"/>
                </a:lnTo>
                <a:lnTo>
                  <a:pt x="4791443" y="1795668"/>
                </a:lnTo>
                <a:lnTo>
                  <a:pt x="4786234" y="1799241"/>
                </a:lnTo>
                <a:lnTo>
                  <a:pt x="4782892" y="1798648"/>
                </a:lnTo>
                <a:lnTo>
                  <a:pt x="4782871" y="1798808"/>
                </a:lnTo>
                <a:lnTo>
                  <a:pt x="4782871" y="1799241"/>
                </a:lnTo>
                <a:lnTo>
                  <a:pt x="4778313" y="1800865"/>
                </a:lnTo>
                <a:lnTo>
                  <a:pt x="4777879" y="1798266"/>
                </a:lnTo>
                <a:lnTo>
                  <a:pt x="4775274" y="1797942"/>
                </a:lnTo>
                <a:lnTo>
                  <a:pt x="4769306" y="1800432"/>
                </a:lnTo>
                <a:lnTo>
                  <a:pt x="4763338" y="1799891"/>
                </a:lnTo>
                <a:lnTo>
                  <a:pt x="4760299" y="1802272"/>
                </a:lnTo>
                <a:lnTo>
                  <a:pt x="4758346" y="1806387"/>
                </a:lnTo>
                <a:lnTo>
                  <a:pt x="4753029" y="1806820"/>
                </a:lnTo>
                <a:lnTo>
                  <a:pt x="4750533" y="1810393"/>
                </a:lnTo>
                <a:lnTo>
                  <a:pt x="4745433" y="1815807"/>
                </a:lnTo>
                <a:lnTo>
                  <a:pt x="4743697" y="1815265"/>
                </a:lnTo>
                <a:lnTo>
                  <a:pt x="4738813" y="1815807"/>
                </a:lnTo>
                <a:lnTo>
                  <a:pt x="4734798" y="1818838"/>
                </a:lnTo>
                <a:lnTo>
                  <a:pt x="4728504" y="1817430"/>
                </a:lnTo>
                <a:lnTo>
                  <a:pt x="4723621" y="1820462"/>
                </a:lnTo>
                <a:lnTo>
                  <a:pt x="4720474" y="1819920"/>
                </a:lnTo>
                <a:lnTo>
                  <a:pt x="4717435" y="1814724"/>
                </a:lnTo>
                <a:lnTo>
                  <a:pt x="4715265" y="1814940"/>
                </a:lnTo>
                <a:lnTo>
                  <a:pt x="4716676" y="1817755"/>
                </a:lnTo>
                <a:lnTo>
                  <a:pt x="4719389" y="1821220"/>
                </a:lnTo>
                <a:lnTo>
                  <a:pt x="4718303" y="1824252"/>
                </a:lnTo>
                <a:lnTo>
                  <a:pt x="4713203" y="1831505"/>
                </a:lnTo>
                <a:lnTo>
                  <a:pt x="4710382" y="1833130"/>
                </a:lnTo>
                <a:lnTo>
                  <a:pt x="4709296" y="1830964"/>
                </a:lnTo>
                <a:lnTo>
                  <a:pt x="4711141" y="1829881"/>
                </a:lnTo>
                <a:lnTo>
                  <a:pt x="4715808" y="1824252"/>
                </a:lnTo>
                <a:lnTo>
                  <a:pt x="4715048" y="1822303"/>
                </a:lnTo>
                <a:lnTo>
                  <a:pt x="4712552" y="1820678"/>
                </a:lnTo>
                <a:lnTo>
                  <a:pt x="4711684" y="1823385"/>
                </a:lnTo>
                <a:lnTo>
                  <a:pt x="4704413" y="1830964"/>
                </a:lnTo>
                <a:lnTo>
                  <a:pt x="4700073" y="1831722"/>
                </a:lnTo>
                <a:lnTo>
                  <a:pt x="4699313" y="1834537"/>
                </a:lnTo>
                <a:lnTo>
                  <a:pt x="4694321" y="1834537"/>
                </a:lnTo>
                <a:lnTo>
                  <a:pt x="4690849" y="1832047"/>
                </a:lnTo>
                <a:lnTo>
                  <a:pt x="4687919" y="1834754"/>
                </a:lnTo>
                <a:lnTo>
                  <a:pt x="4682710" y="1833887"/>
                </a:lnTo>
                <a:lnTo>
                  <a:pt x="4681950" y="1835836"/>
                </a:lnTo>
                <a:lnTo>
                  <a:pt x="4685098" y="1837785"/>
                </a:lnTo>
                <a:lnTo>
                  <a:pt x="4692694" y="1837244"/>
                </a:lnTo>
                <a:lnTo>
                  <a:pt x="4695515" y="1840709"/>
                </a:lnTo>
                <a:lnTo>
                  <a:pt x="4698445" y="1842874"/>
                </a:lnTo>
                <a:lnTo>
                  <a:pt x="4701158" y="1841466"/>
                </a:lnTo>
                <a:lnTo>
                  <a:pt x="4702785" y="1843740"/>
                </a:lnTo>
                <a:lnTo>
                  <a:pt x="4700398" y="1846664"/>
                </a:lnTo>
                <a:lnTo>
                  <a:pt x="4700615" y="1848829"/>
                </a:lnTo>
                <a:lnTo>
                  <a:pt x="4702785" y="1847421"/>
                </a:lnTo>
                <a:lnTo>
                  <a:pt x="4704956" y="1847421"/>
                </a:lnTo>
                <a:lnTo>
                  <a:pt x="4704196" y="1851211"/>
                </a:lnTo>
                <a:lnTo>
                  <a:pt x="4707126" y="1848504"/>
                </a:lnTo>
                <a:lnTo>
                  <a:pt x="4709622" y="1850128"/>
                </a:lnTo>
                <a:lnTo>
                  <a:pt x="4710708" y="1855542"/>
                </a:lnTo>
                <a:lnTo>
                  <a:pt x="4713421" y="1858356"/>
                </a:lnTo>
                <a:lnTo>
                  <a:pt x="4718846" y="1859980"/>
                </a:lnTo>
                <a:lnTo>
                  <a:pt x="4721234" y="1858789"/>
                </a:lnTo>
                <a:lnTo>
                  <a:pt x="4713203" y="1851211"/>
                </a:lnTo>
                <a:lnTo>
                  <a:pt x="4704956" y="1841033"/>
                </a:lnTo>
                <a:lnTo>
                  <a:pt x="4702569" y="1834970"/>
                </a:lnTo>
                <a:lnTo>
                  <a:pt x="4704630" y="1833671"/>
                </a:lnTo>
                <a:lnTo>
                  <a:pt x="4708211" y="1838760"/>
                </a:lnTo>
                <a:lnTo>
                  <a:pt x="4710056" y="1845039"/>
                </a:lnTo>
                <a:lnTo>
                  <a:pt x="4721559" y="1857707"/>
                </a:lnTo>
                <a:lnTo>
                  <a:pt x="4724272" y="1858789"/>
                </a:lnTo>
                <a:lnTo>
                  <a:pt x="4728287" y="1854567"/>
                </a:lnTo>
                <a:lnTo>
                  <a:pt x="4731000" y="1854458"/>
                </a:lnTo>
                <a:lnTo>
                  <a:pt x="4735449" y="1857274"/>
                </a:lnTo>
                <a:lnTo>
                  <a:pt x="4737294" y="1852401"/>
                </a:lnTo>
                <a:lnTo>
                  <a:pt x="4744890" y="1851535"/>
                </a:lnTo>
                <a:lnTo>
                  <a:pt x="4751184" y="1851860"/>
                </a:lnTo>
                <a:lnTo>
                  <a:pt x="4749448" y="1855000"/>
                </a:lnTo>
                <a:lnTo>
                  <a:pt x="4747060" y="1856949"/>
                </a:lnTo>
                <a:lnTo>
                  <a:pt x="4749231" y="1861280"/>
                </a:lnTo>
                <a:lnTo>
                  <a:pt x="4746410" y="1864744"/>
                </a:lnTo>
                <a:lnTo>
                  <a:pt x="4738162" y="1865394"/>
                </a:lnTo>
                <a:lnTo>
                  <a:pt x="4728829" y="1863770"/>
                </a:lnTo>
                <a:lnTo>
                  <a:pt x="4723187" y="1866910"/>
                </a:lnTo>
                <a:lnTo>
                  <a:pt x="4719063" y="1872649"/>
                </a:lnTo>
                <a:lnTo>
                  <a:pt x="4711467" y="1872432"/>
                </a:lnTo>
                <a:lnTo>
                  <a:pt x="4700398" y="1880768"/>
                </a:lnTo>
                <a:lnTo>
                  <a:pt x="4692151" y="1884558"/>
                </a:lnTo>
                <a:lnTo>
                  <a:pt x="4683470" y="1884233"/>
                </a:lnTo>
                <a:lnTo>
                  <a:pt x="4679237" y="1880985"/>
                </a:lnTo>
                <a:lnTo>
                  <a:pt x="4680540" y="1879145"/>
                </a:lnTo>
                <a:lnTo>
                  <a:pt x="4683470" y="1870483"/>
                </a:lnTo>
                <a:lnTo>
                  <a:pt x="4683035" y="1867018"/>
                </a:lnTo>
                <a:lnTo>
                  <a:pt x="4675439" y="1861064"/>
                </a:lnTo>
                <a:lnTo>
                  <a:pt x="4672726" y="1861496"/>
                </a:lnTo>
                <a:lnTo>
                  <a:pt x="4667518" y="1858898"/>
                </a:lnTo>
                <a:lnTo>
                  <a:pt x="4664262" y="1861605"/>
                </a:lnTo>
                <a:lnTo>
                  <a:pt x="4660139" y="1859872"/>
                </a:lnTo>
                <a:lnTo>
                  <a:pt x="4664913" y="1852401"/>
                </a:lnTo>
                <a:lnTo>
                  <a:pt x="4673486" y="1847421"/>
                </a:lnTo>
                <a:lnTo>
                  <a:pt x="4680540" y="1846122"/>
                </a:lnTo>
                <a:lnTo>
                  <a:pt x="4682493" y="1844823"/>
                </a:lnTo>
                <a:lnTo>
                  <a:pt x="4679780" y="1841575"/>
                </a:lnTo>
                <a:lnTo>
                  <a:pt x="4678695" y="1835620"/>
                </a:lnTo>
                <a:lnTo>
                  <a:pt x="4676524" y="1834645"/>
                </a:lnTo>
                <a:lnTo>
                  <a:pt x="4674680" y="1838001"/>
                </a:lnTo>
                <a:lnTo>
                  <a:pt x="4670882" y="1835836"/>
                </a:lnTo>
                <a:lnTo>
                  <a:pt x="4665456" y="1833562"/>
                </a:lnTo>
                <a:lnTo>
                  <a:pt x="4659705" y="1834537"/>
                </a:lnTo>
                <a:lnTo>
                  <a:pt x="4654713" y="1837136"/>
                </a:lnTo>
                <a:lnTo>
                  <a:pt x="4650372" y="1834645"/>
                </a:lnTo>
                <a:lnTo>
                  <a:pt x="4647008" y="1834321"/>
                </a:lnTo>
                <a:lnTo>
                  <a:pt x="4643535" y="1831289"/>
                </a:lnTo>
                <a:lnTo>
                  <a:pt x="4646140" y="1829665"/>
                </a:lnTo>
                <a:lnTo>
                  <a:pt x="4647116" y="1827824"/>
                </a:lnTo>
                <a:lnTo>
                  <a:pt x="4640063" y="1825550"/>
                </a:lnTo>
                <a:lnTo>
                  <a:pt x="4631382" y="1825550"/>
                </a:lnTo>
                <a:lnTo>
                  <a:pt x="4629320" y="1822519"/>
                </a:lnTo>
                <a:lnTo>
                  <a:pt x="4634637" y="1822519"/>
                </a:lnTo>
                <a:lnTo>
                  <a:pt x="4642993" y="1821436"/>
                </a:lnTo>
                <a:lnTo>
                  <a:pt x="4647333" y="1822844"/>
                </a:lnTo>
                <a:lnTo>
                  <a:pt x="4650372" y="1821220"/>
                </a:lnTo>
                <a:lnTo>
                  <a:pt x="4655364" y="1818188"/>
                </a:lnTo>
                <a:lnTo>
                  <a:pt x="4648201" y="1819920"/>
                </a:lnTo>
                <a:lnTo>
                  <a:pt x="4644512" y="1818730"/>
                </a:lnTo>
                <a:lnTo>
                  <a:pt x="4641691" y="1816564"/>
                </a:lnTo>
                <a:lnTo>
                  <a:pt x="4640063" y="1813857"/>
                </a:lnTo>
                <a:lnTo>
                  <a:pt x="4638001" y="1817105"/>
                </a:lnTo>
                <a:lnTo>
                  <a:pt x="4636048" y="1819812"/>
                </a:lnTo>
                <a:lnTo>
                  <a:pt x="4631708" y="1819812"/>
                </a:lnTo>
                <a:lnTo>
                  <a:pt x="4631816" y="1818513"/>
                </a:lnTo>
                <a:lnTo>
                  <a:pt x="4629211" y="1816022"/>
                </a:lnTo>
                <a:lnTo>
                  <a:pt x="4624437" y="1821977"/>
                </a:lnTo>
                <a:lnTo>
                  <a:pt x="4618902" y="1822303"/>
                </a:lnTo>
                <a:lnTo>
                  <a:pt x="4615430" y="1825009"/>
                </a:lnTo>
                <a:lnTo>
                  <a:pt x="4615430" y="1830964"/>
                </a:lnTo>
                <a:lnTo>
                  <a:pt x="4610546" y="1837244"/>
                </a:lnTo>
                <a:lnTo>
                  <a:pt x="4608051" y="1837244"/>
                </a:lnTo>
                <a:lnTo>
                  <a:pt x="4609461" y="1840383"/>
                </a:lnTo>
                <a:lnTo>
                  <a:pt x="4600455" y="1851211"/>
                </a:lnTo>
                <a:lnTo>
                  <a:pt x="4597307" y="1851211"/>
                </a:lnTo>
                <a:lnTo>
                  <a:pt x="4595354" y="1848071"/>
                </a:lnTo>
                <a:lnTo>
                  <a:pt x="4595138" y="1851535"/>
                </a:lnTo>
                <a:lnTo>
                  <a:pt x="4594594" y="1854458"/>
                </a:lnTo>
                <a:lnTo>
                  <a:pt x="4596982" y="1857274"/>
                </a:lnTo>
                <a:lnTo>
                  <a:pt x="4596114" y="1861496"/>
                </a:lnTo>
                <a:lnTo>
                  <a:pt x="4596006" y="1861496"/>
                </a:lnTo>
                <a:lnTo>
                  <a:pt x="4596005" y="1861495"/>
                </a:lnTo>
                <a:lnTo>
                  <a:pt x="4593509" y="1863985"/>
                </a:lnTo>
                <a:lnTo>
                  <a:pt x="4596113" y="1865934"/>
                </a:lnTo>
                <a:lnTo>
                  <a:pt x="4596113" y="1869616"/>
                </a:lnTo>
                <a:lnTo>
                  <a:pt x="4592641" y="1875679"/>
                </a:lnTo>
                <a:lnTo>
                  <a:pt x="4587540" y="1876761"/>
                </a:lnTo>
                <a:lnTo>
                  <a:pt x="4579293" y="1877303"/>
                </a:lnTo>
                <a:lnTo>
                  <a:pt x="4577991" y="1882391"/>
                </a:lnTo>
                <a:lnTo>
                  <a:pt x="4574952" y="1885640"/>
                </a:lnTo>
                <a:lnTo>
                  <a:pt x="4576906" y="1889104"/>
                </a:lnTo>
                <a:lnTo>
                  <a:pt x="4576580" y="1896142"/>
                </a:lnTo>
                <a:lnTo>
                  <a:pt x="4573976" y="1900473"/>
                </a:lnTo>
                <a:lnTo>
                  <a:pt x="4575712" y="1906211"/>
                </a:lnTo>
                <a:lnTo>
                  <a:pt x="4575713" y="1906211"/>
                </a:lnTo>
                <a:lnTo>
                  <a:pt x="4576038" y="1907294"/>
                </a:lnTo>
                <a:lnTo>
                  <a:pt x="4575062" y="1916280"/>
                </a:lnTo>
                <a:lnTo>
                  <a:pt x="4572023" y="1919204"/>
                </a:lnTo>
                <a:lnTo>
                  <a:pt x="4567683" y="1918662"/>
                </a:lnTo>
                <a:lnTo>
                  <a:pt x="4561172" y="1924400"/>
                </a:lnTo>
                <a:lnTo>
                  <a:pt x="4562257" y="1934903"/>
                </a:lnTo>
                <a:lnTo>
                  <a:pt x="4560629" y="1939559"/>
                </a:lnTo>
                <a:lnTo>
                  <a:pt x="4553901" y="1944647"/>
                </a:lnTo>
                <a:lnTo>
                  <a:pt x="4554878" y="1947137"/>
                </a:lnTo>
                <a:lnTo>
                  <a:pt x="4558784" y="1947679"/>
                </a:lnTo>
                <a:lnTo>
                  <a:pt x="4563559" y="1954608"/>
                </a:lnTo>
                <a:lnTo>
                  <a:pt x="4567140" y="1960347"/>
                </a:lnTo>
                <a:lnTo>
                  <a:pt x="4567140" y="1960671"/>
                </a:lnTo>
                <a:lnTo>
                  <a:pt x="4567899" y="1969224"/>
                </a:lnTo>
                <a:lnTo>
                  <a:pt x="4575061" y="1975504"/>
                </a:lnTo>
                <a:lnTo>
                  <a:pt x="4580270" y="1976262"/>
                </a:lnTo>
                <a:lnTo>
                  <a:pt x="4585805" y="1981783"/>
                </a:lnTo>
                <a:lnTo>
                  <a:pt x="4590688" y="1984490"/>
                </a:lnTo>
                <a:lnTo>
                  <a:pt x="4590688" y="1987522"/>
                </a:lnTo>
                <a:lnTo>
                  <a:pt x="4586455" y="1991744"/>
                </a:lnTo>
                <a:lnTo>
                  <a:pt x="4580487" y="1991203"/>
                </a:lnTo>
                <a:lnTo>
                  <a:pt x="4577232" y="1989363"/>
                </a:lnTo>
                <a:lnTo>
                  <a:pt x="4571806" y="1989363"/>
                </a:lnTo>
                <a:lnTo>
                  <a:pt x="4569635" y="1991420"/>
                </a:lnTo>
                <a:lnTo>
                  <a:pt x="4561497" y="1991203"/>
                </a:lnTo>
                <a:lnTo>
                  <a:pt x="4556614" y="1993152"/>
                </a:lnTo>
                <a:lnTo>
                  <a:pt x="4554118" y="1999648"/>
                </a:lnTo>
                <a:lnTo>
                  <a:pt x="4541638" y="2006036"/>
                </a:lnTo>
                <a:lnTo>
                  <a:pt x="4531655" y="2014481"/>
                </a:lnTo>
                <a:lnTo>
                  <a:pt x="4531329" y="2011233"/>
                </a:lnTo>
                <a:lnTo>
                  <a:pt x="4533716" y="2004195"/>
                </a:lnTo>
                <a:lnTo>
                  <a:pt x="4536429" y="2003979"/>
                </a:lnTo>
                <a:lnTo>
                  <a:pt x="4541096" y="2000948"/>
                </a:lnTo>
                <a:lnTo>
                  <a:pt x="4536538" y="2001489"/>
                </a:lnTo>
                <a:lnTo>
                  <a:pt x="4533716" y="2000622"/>
                </a:lnTo>
                <a:lnTo>
                  <a:pt x="4531003" y="2001272"/>
                </a:lnTo>
                <a:lnTo>
                  <a:pt x="4527205" y="1998999"/>
                </a:lnTo>
                <a:lnTo>
                  <a:pt x="4525144" y="1994776"/>
                </a:lnTo>
                <a:lnTo>
                  <a:pt x="4524927" y="1994776"/>
                </a:lnTo>
                <a:lnTo>
                  <a:pt x="4530135" y="1993477"/>
                </a:lnTo>
                <a:lnTo>
                  <a:pt x="4532848" y="1987955"/>
                </a:lnTo>
                <a:lnTo>
                  <a:pt x="4531871" y="1982758"/>
                </a:lnTo>
                <a:lnTo>
                  <a:pt x="4538057" y="1978969"/>
                </a:lnTo>
                <a:lnTo>
                  <a:pt x="4538383" y="1973122"/>
                </a:lnTo>
                <a:lnTo>
                  <a:pt x="4538382" y="1973122"/>
                </a:lnTo>
                <a:lnTo>
                  <a:pt x="4538056" y="1978968"/>
                </a:lnTo>
                <a:lnTo>
                  <a:pt x="4531871" y="1982758"/>
                </a:lnTo>
                <a:lnTo>
                  <a:pt x="4532848" y="1987954"/>
                </a:lnTo>
                <a:lnTo>
                  <a:pt x="4530135" y="1993476"/>
                </a:lnTo>
                <a:lnTo>
                  <a:pt x="4524926" y="1994776"/>
                </a:lnTo>
                <a:lnTo>
                  <a:pt x="4517547" y="1992827"/>
                </a:lnTo>
                <a:lnTo>
                  <a:pt x="4507780" y="1992827"/>
                </a:lnTo>
                <a:lnTo>
                  <a:pt x="4504525" y="1989038"/>
                </a:lnTo>
                <a:lnTo>
                  <a:pt x="4502572" y="1989038"/>
                </a:lnTo>
                <a:lnTo>
                  <a:pt x="4502354" y="1991419"/>
                </a:lnTo>
                <a:lnTo>
                  <a:pt x="4498014" y="1995858"/>
                </a:lnTo>
                <a:lnTo>
                  <a:pt x="4494108" y="1995534"/>
                </a:lnTo>
                <a:lnTo>
                  <a:pt x="4488790" y="1991528"/>
                </a:lnTo>
                <a:lnTo>
                  <a:pt x="4485426" y="1992827"/>
                </a:lnTo>
                <a:lnTo>
                  <a:pt x="4483581" y="1999107"/>
                </a:lnTo>
                <a:lnTo>
                  <a:pt x="4479783" y="2001272"/>
                </a:lnTo>
                <a:lnTo>
                  <a:pt x="4475117" y="1999864"/>
                </a:lnTo>
                <a:lnTo>
                  <a:pt x="4472513" y="2002788"/>
                </a:lnTo>
                <a:lnTo>
                  <a:pt x="4476853" y="2007768"/>
                </a:lnTo>
                <a:lnTo>
                  <a:pt x="4482171" y="2008526"/>
                </a:lnTo>
                <a:lnTo>
                  <a:pt x="4487162" y="2013182"/>
                </a:lnTo>
                <a:lnTo>
                  <a:pt x="4485752" y="2014806"/>
                </a:lnTo>
                <a:lnTo>
                  <a:pt x="4482496" y="2011558"/>
                </a:lnTo>
                <a:lnTo>
                  <a:pt x="4473598" y="2011233"/>
                </a:lnTo>
                <a:lnTo>
                  <a:pt x="4473490" y="2013940"/>
                </a:lnTo>
                <a:lnTo>
                  <a:pt x="4476745" y="2015239"/>
                </a:lnTo>
                <a:lnTo>
                  <a:pt x="4480326" y="2017946"/>
                </a:lnTo>
                <a:lnTo>
                  <a:pt x="4478481" y="2020978"/>
                </a:lnTo>
                <a:lnTo>
                  <a:pt x="4475226" y="2019678"/>
                </a:lnTo>
                <a:lnTo>
                  <a:pt x="4471428" y="2014481"/>
                </a:lnTo>
                <a:lnTo>
                  <a:pt x="4466544" y="2012857"/>
                </a:lnTo>
                <a:lnTo>
                  <a:pt x="4465894" y="2016105"/>
                </a:lnTo>
                <a:lnTo>
                  <a:pt x="4467847" y="2019678"/>
                </a:lnTo>
                <a:lnTo>
                  <a:pt x="4471645" y="2022276"/>
                </a:lnTo>
                <a:lnTo>
                  <a:pt x="4466436" y="2022385"/>
                </a:lnTo>
                <a:lnTo>
                  <a:pt x="4461661" y="2018595"/>
                </a:lnTo>
                <a:lnTo>
                  <a:pt x="4461010" y="2012857"/>
                </a:lnTo>
                <a:lnTo>
                  <a:pt x="4453523" y="2009392"/>
                </a:lnTo>
                <a:lnTo>
                  <a:pt x="4452980" y="2006902"/>
                </a:lnTo>
                <a:lnTo>
                  <a:pt x="4455693" y="2006902"/>
                </a:lnTo>
                <a:lnTo>
                  <a:pt x="4455042" y="2002246"/>
                </a:lnTo>
                <a:lnTo>
                  <a:pt x="4449182" y="2003437"/>
                </a:lnTo>
                <a:lnTo>
                  <a:pt x="4446144" y="2008309"/>
                </a:lnTo>
                <a:lnTo>
                  <a:pt x="4447012" y="2017729"/>
                </a:lnTo>
                <a:lnTo>
                  <a:pt x="4445058" y="2020219"/>
                </a:lnTo>
                <a:lnTo>
                  <a:pt x="4450701" y="2024984"/>
                </a:lnTo>
                <a:lnTo>
                  <a:pt x="4451352" y="2028231"/>
                </a:lnTo>
                <a:lnTo>
                  <a:pt x="4454499" y="2030505"/>
                </a:lnTo>
                <a:lnTo>
                  <a:pt x="4461661" y="2039383"/>
                </a:lnTo>
                <a:lnTo>
                  <a:pt x="4464808" y="2043173"/>
                </a:lnTo>
                <a:lnTo>
                  <a:pt x="4463289" y="2048694"/>
                </a:lnTo>
                <a:lnTo>
                  <a:pt x="4460684" y="2049344"/>
                </a:lnTo>
                <a:lnTo>
                  <a:pt x="4460251" y="2046854"/>
                </a:lnTo>
                <a:lnTo>
                  <a:pt x="4461444" y="2044255"/>
                </a:lnTo>
                <a:lnTo>
                  <a:pt x="4458514" y="2041874"/>
                </a:lnTo>
                <a:lnTo>
                  <a:pt x="4454825" y="2040466"/>
                </a:lnTo>
                <a:lnTo>
                  <a:pt x="4455042" y="2043173"/>
                </a:lnTo>
                <a:lnTo>
                  <a:pt x="4452437" y="2046421"/>
                </a:lnTo>
                <a:lnTo>
                  <a:pt x="4457212" y="2047720"/>
                </a:lnTo>
                <a:lnTo>
                  <a:pt x="4457321" y="2050210"/>
                </a:lnTo>
                <a:lnTo>
                  <a:pt x="4454499" y="2053675"/>
                </a:lnTo>
                <a:lnTo>
                  <a:pt x="4449399" y="2054325"/>
                </a:lnTo>
                <a:lnTo>
                  <a:pt x="4454065" y="2058547"/>
                </a:lnTo>
                <a:lnTo>
                  <a:pt x="4458840" y="2059088"/>
                </a:lnTo>
                <a:lnTo>
                  <a:pt x="4460793" y="2061579"/>
                </a:lnTo>
                <a:lnTo>
                  <a:pt x="4463831" y="2061362"/>
                </a:lnTo>
                <a:lnTo>
                  <a:pt x="4465459" y="2064069"/>
                </a:lnTo>
                <a:lnTo>
                  <a:pt x="4468932" y="2064935"/>
                </a:lnTo>
                <a:lnTo>
                  <a:pt x="4480001" y="2071865"/>
                </a:lnTo>
                <a:lnTo>
                  <a:pt x="4481628" y="2074896"/>
                </a:lnTo>
                <a:lnTo>
                  <a:pt x="4480543" y="2080310"/>
                </a:lnTo>
                <a:lnTo>
                  <a:pt x="4484449" y="2086156"/>
                </a:lnTo>
                <a:lnTo>
                  <a:pt x="4483256" y="2088863"/>
                </a:lnTo>
                <a:lnTo>
                  <a:pt x="4478698" y="2088322"/>
                </a:lnTo>
                <a:lnTo>
                  <a:pt x="4477939" y="2086265"/>
                </a:lnTo>
                <a:lnTo>
                  <a:pt x="4471428" y="2081826"/>
                </a:lnTo>
                <a:lnTo>
                  <a:pt x="4468932" y="2083991"/>
                </a:lnTo>
                <a:lnTo>
                  <a:pt x="4464808" y="2083774"/>
                </a:lnTo>
                <a:lnTo>
                  <a:pt x="4460251" y="2085723"/>
                </a:lnTo>
                <a:lnTo>
                  <a:pt x="4464917" y="2089404"/>
                </a:lnTo>
                <a:lnTo>
                  <a:pt x="4464591" y="2091678"/>
                </a:lnTo>
                <a:lnTo>
                  <a:pt x="4468606" y="2094277"/>
                </a:lnTo>
                <a:lnTo>
                  <a:pt x="4470451" y="2094710"/>
                </a:lnTo>
                <a:lnTo>
                  <a:pt x="4470885" y="2096767"/>
                </a:lnTo>
                <a:lnTo>
                  <a:pt x="4473055" y="2098391"/>
                </a:lnTo>
                <a:lnTo>
                  <a:pt x="4472947" y="2100232"/>
                </a:lnTo>
                <a:lnTo>
                  <a:pt x="4467521" y="2098391"/>
                </a:lnTo>
                <a:lnTo>
                  <a:pt x="4464808" y="2101314"/>
                </a:lnTo>
                <a:lnTo>
                  <a:pt x="4463181" y="2099473"/>
                </a:lnTo>
                <a:lnTo>
                  <a:pt x="4464808" y="2097524"/>
                </a:lnTo>
                <a:lnTo>
                  <a:pt x="4459491" y="2094818"/>
                </a:lnTo>
                <a:lnTo>
                  <a:pt x="4456670" y="2095142"/>
                </a:lnTo>
                <a:lnTo>
                  <a:pt x="4456453" y="2096983"/>
                </a:lnTo>
                <a:lnTo>
                  <a:pt x="4459383" y="2101422"/>
                </a:lnTo>
                <a:lnTo>
                  <a:pt x="4462638" y="2109218"/>
                </a:lnTo>
                <a:lnTo>
                  <a:pt x="4465134" y="2113873"/>
                </a:lnTo>
                <a:lnTo>
                  <a:pt x="4464374" y="2117122"/>
                </a:lnTo>
                <a:lnTo>
                  <a:pt x="4467304" y="2121993"/>
                </a:lnTo>
                <a:lnTo>
                  <a:pt x="4460251" y="2117338"/>
                </a:lnTo>
                <a:lnTo>
                  <a:pt x="4458406" y="2113007"/>
                </a:lnTo>
                <a:lnTo>
                  <a:pt x="4454499" y="2113007"/>
                </a:lnTo>
                <a:lnTo>
                  <a:pt x="4452112" y="2118421"/>
                </a:lnTo>
                <a:lnTo>
                  <a:pt x="4452112" y="2125134"/>
                </a:lnTo>
                <a:lnTo>
                  <a:pt x="4449399" y="2121885"/>
                </a:lnTo>
                <a:lnTo>
                  <a:pt x="4450267" y="2117879"/>
                </a:lnTo>
                <a:lnTo>
                  <a:pt x="4448856" y="2114414"/>
                </a:lnTo>
                <a:lnTo>
                  <a:pt x="4442563" y="2111708"/>
                </a:lnTo>
                <a:lnTo>
                  <a:pt x="4440934" y="2106511"/>
                </a:lnTo>
                <a:lnTo>
                  <a:pt x="4439090" y="2110625"/>
                </a:lnTo>
                <a:lnTo>
                  <a:pt x="4440175" y="2113007"/>
                </a:lnTo>
                <a:lnTo>
                  <a:pt x="4438873" y="2116038"/>
                </a:lnTo>
                <a:lnTo>
                  <a:pt x="4436052" y="2112791"/>
                </a:lnTo>
                <a:lnTo>
                  <a:pt x="4431711" y="2107269"/>
                </a:lnTo>
                <a:lnTo>
                  <a:pt x="4431277" y="2102722"/>
                </a:lnTo>
                <a:lnTo>
                  <a:pt x="4433339" y="2100340"/>
                </a:lnTo>
                <a:lnTo>
                  <a:pt x="4432796" y="2096983"/>
                </a:lnTo>
                <a:lnTo>
                  <a:pt x="4427695" y="2092219"/>
                </a:lnTo>
                <a:lnTo>
                  <a:pt x="4422487" y="2089729"/>
                </a:lnTo>
                <a:lnTo>
                  <a:pt x="4417387" y="2083991"/>
                </a:lnTo>
                <a:lnTo>
                  <a:pt x="4419014" y="2079768"/>
                </a:lnTo>
                <a:lnTo>
                  <a:pt x="4421510" y="2079118"/>
                </a:lnTo>
                <a:lnTo>
                  <a:pt x="4424982" y="2074788"/>
                </a:lnTo>
                <a:lnTo>
                  <a:pt x="4429107" y="2076737"/>
                </a:lnTo>
                <a:lnTo>
                  <a:pt x="4433121" y="2074355"/>
                </a:lnTo>
                <a:lnTo>
                  <a:pt x="4437245" y="2072947"/>
                </a:lnTo>
                <a:lnTo>
                  <a:pt x="4446686" y="2079118"/>
                </a:lnTo>
                <a:lnTo>
                  <a:pt x="4451027" y="2080201"/>
                </a:lnTo>
                <a:lnTo>
                  <a:pt x="4454282" y="2082800"/>
                </a:lnTo>
                <a:lnTo>
                  <a:pt x="4457538" y="2079660"/>
                </a:lnTo>
                <a:lnTo>
                  <a:pt x="4461119" y="2077494"/>
                </a:lnTo>
                <a:lnTo>
                  <a:pt x="4456127" y="2076520"/>
                </a:lnTo>
                <a:lnTo>
                  <a:pt x="4453523" y="2074571"/>
                </a:lnTo>
                <a:lnTo>
                  <a:pt x="4450484" y="2074788"/>
                </a:lnTo>
                <a:lnTo>
                  <a:pt x="4449724" y="2071539"/>
                </a:lnTo>
                <a:lnTo>
                  <a:pt x="4445926" y="2073272"/>
                </a:lnTo>
                <a:lnTo>
                  <a:pt x="4439633" y="2069482"/>
                </a:lnTo>
                <a:lnTo>
                  <a:pt x="4435617" y="2069157"/>
                </a:lnTo>
                <a:lnTo>
                  <a:pt x="4433339" y="2072730"/>
                </a:lnTo>
                <a:lnTo>
                  <a:pt x="4427695" y="2072081"/>
                </a:lnTo>
                <a:lnTo>
                  <a:pt x="4424114" y="2067534"/>
                </a:lnTo>
                <a:lnTo>
                  <a:pt x="4420100" y="2072406"/>
                </a:lnTo>
                <a:lnTo>
                  <a:pt x="4417061" y="2071106"/>
                </a:lnTo>
                <a:lnTo>
                  <a:pt x="4415433" y="2064610"/>
                </a:lnTo>
                <a:lnTo>
                  <a:pt x="4408705" y="2055299"/>
                </a:lnTo>
                <a:lnTo>
                  <a:pt x="4409248" y="2053133"/>
                </a:lnTo>
                <a:lnTo>
                  <a:pt x="4406861" y="2052592"/>
                </a:lnTo>
                <a:lnTo>
                  <a:pt x="4401977" y="2045447"/>
                </a:lnTo>
                <a:lnTo>
                  <a:pt x="4393296" y="2038951"/>
                </a:lnTo>
                <a:lnTo>
                  <a:pt x="4392970" y="2032129"/>
                </a:lnTo>
                <a:lnTo>
                  <a:pt x="4392429" y="2031697"/>
                </a:lnTo>
                <a:lnTo>
                  <a:pt x="4392428" y="2031698"/>
                </a:lnTo>
                <a:lnTo>
                  <a:pt x="4388196" y="2028882"/>
                </a:lnTo>
                <a:lnTo>
                  <a:pt x="4383855" y="2017622"/>
                </a:lnTo>
                <a:lnTo>
                  <a:pt x="4375174" y="2017298"/>
                </a:lnTo>
                <a:lnTo>
                  <a:pt x="4372678" y="2014374"/>
                </a:lnTo>
                <a:lnTo>
                  <a:pt x="4374414" y="2008961"/>
                </a:lnTo>
                <a:lnTo>
                  <a:pt x="4371919" y="2004629"/>
                </a:lnTo>
                <a:lnTo>
                  <a:pt x="4371919" y="1998891"/>
                </a:lnTo>
                <a:lnTo>
                  <a:pt x="4374089" y="1993803"/>
                </a:lnTo>
                <a:lnTo>
                  <a:pt x="4371159" y="1986224"/>
                </a:lnTo>
                <a:lnTo>
                  <a:pt x="4373329" y="1975721"/>
                </a:lnTo>
                <a:lnTo>
                  <a:pt x="4375500" y="1974639"/>
                </a:lnTo>
                <a:lnTo>
                  <a:pt x="4376259" y="1970958"/>
                </a:lnTo>
                <a:lnTo>
                  <a:pt x="4369206" y="1967493"/>
                </a:lnTo>
                <a:lnTo>
                  <a:pt x="4363997" y="1964895"/>
                </a:lnTo>
                <a:lnTo>
                  <a:pt x="4363237" y="1961213"/>
                </a:lnTo>
                <a:lnTo>
                  <a:pt x="4354231" y="1950062"/>
                </a:lnTo>
                <a:lnTo>
                  <a:pt x="4349564" y="1948113"/>
                </a:lnTo>
                <a:lnTo>
                  <a:pt x="4347937" y="1945947"/>
                </a:lnTo>
                <a:lnTo>
                  <a:pt x="4350215" y="1944648"/>
                </a:lnTo>
                <a:lnTo>
                  <a:pt x="4353037" y="1939559"/>
                </a:lnTo>
                <a:lnTo>
                  <a:pt x="4353145" y="1933171"/>
                </a:lnTo>
                <a:lnTo>
                  <a:pt x="4355099" y="1928299"/>
                </a:lnTo>
                <a:lnTo>
                  <a:pt x="4358463" y="1927974"/>
                </a:lnTo>
                <a:lnTo>
                  <a:pt x="4362153" y="1926134"/>
                </a:lnTo>
                <a:lnTo>
                  <a:pt x="4360524" y="1922669"/>
                </a:lnTo>
                <a:lnTo>
                  <a:pt x="4362152" y="1926133"/>
                </a:lnTo>
                <a:lnTo>
                  <a:pt x="4358462" y="1927973"/>
                </a:lnTo>
                <a:lnTo>
                  <a:pt x="4355098" y="1928298"/>
                </a:lnTo>
                <a:lnTo>
                  <a:pt x="4353145" y="1933171"/>
                </a:lnTo>
                <a:lnTo>
                  <a:pt x="4353037" y="1939559"/>
                </a:lnTo>
                <a:lnTo>
                  <a:pt x="4350215" y="1944647"/>
                </a:lnTo>
                <a:lnTo>
                  <a:pt x="4347936" y="1945947"/>
                </a:lnTo>
                <a:lnTo>
                  <a:pt x="4342836" y="1939017"/>
                </a:lnTo>
                <a:lnTo>
                  <a:pt x="4340339" y="1940316"/>
                </a:lnTo>
                <a:lnTo>
                  <a:pt x="4331333" y="1938800"/>
                </a:lnTo>
                <a:lnTo>
                  <a:pt x="4328403" y="1938151"/>
                </a:lnTo>
                <a:lnTo>
                  <a:pt x="4328294" y="1938151"/>
                </a:lnTo>
                <a:lnTo>
                  <a:pt x="4328294" y="1938151"/>
                </a:lnTo>
                <a:lnTo>
                  <a:pt x="4328294" y="1938151"/>
                </a:lnTo>
                <a:lnTo>
                  <a:pt x="4328303" y="1938129"/>
                </a:lnTo>
                <a:lnTo>
                  <a:pt x="4328303" y="1938129"/>
                </a:lnTo>
                <a:lnTo>
                  <a:pt x="4329437" y="1935442"/>
                </a:lnTo>
                <a:lnTo>
                  <a:pt x="4328303" y="1938129"/>
                </a:lnTo>
                <a:lnTo>
                  <a:pt x="4323411" y="1937068"/>
                </a:lnTo>
                <a:lnTo>
                  <a:pt x="4320481" y="1933387"/>
                </a:lnTo>
                <a:lnTo>
                  <a:pt x="4325907" y="1936310"/>
                </a:lnTo>
                <a:lnTo>
                  <a:pt x="4329163" y="1935985"/>
                </a:lnTo>
                <a:lnTo>
                  <a:pt x="4317551" y="1924075"/>
                </a:lnTo>
                <a:lnTo>
                  <a:pt x="4311799" y="1921152"/>
                </a:lnTo>
                <a:lnTo>
                  <a:pt x="4301274" y="1920286"/>
                </a:lnTo>
                <a:lnTo>
                  <a:pt x="4295848" y="1921369"/>
                </a:lnTo>
                <a:lnTo>
                  <a:pt x="4293352" y="1918445"/>
                </a:lnTo>
                <a:lnTo>
                  <a:pt x="4291507" y="1914331"/>
                </a:lnTo>
                <a:lnTo>
                  <a:pt x="4286298" y="1912490"/>
                </a:lnTo>
                <a:lnTo>
                  <a:pt x="4280981" y="1907510"/>
                </a:lnTo>
                <a:lnTo>
                  <a:pt x="4275772" y="1907510"/>
                </a:lnTo>
                <a:lnTo>
                  <a:pt x="4273602" y="1903287"/>
                </a:lnTo>
                <a:lnTo>
                  <a:pt x="4275446" y="1899390"/>
                </a:lnTo>
                <a:lnTo>
                  <a:pt x="4279570" y="1898848"/>
                </a:lnTo>
                <a:lnTo>
                  <a:pt x="4283151" y="1900039"/>
                </a:lnTo>
                <a:lnTo>
                  <a:pt x="4279028" y="1895600"/>
                </a:lnTo>
                <a:lnTo>
                  <a:pt x="4277183" y="1895167"/>
                </a:lnTo>
                <a:lnTo>
                  <a:pt x="4270021" y="1888562"/>
                </a:lnTo>
                <a:lnTo>
                  <a:pt x="4266549" y="1881850"/>
                </a:lnTo>
                <a:lnTo>
                  <a:pt x="4265137" y="1874813"/>
                </a:lnTo>
                <a:lnTo>
                  <a:pt x="4260471" y="1871023"/>
                </a:lnTo>
                <a:lnTo>
                  <a:pt x="4259169" y="1866368"/>
                </a:lnTo>
                <a:lnTo>
                  <a:pt x="4253310" y="1866475"/>
                </a:lnTo>
                <a:lnTo>
                  <a:pt x="4249728" y="1870698"/>
                </a:lnTo>
                <a:lnTo>
                  <a:pt x="4248860" y="1875678"/>
                </a:lnTo>
                <a:lnTo>
                  <a:pt x="4243000" y="1885098"/>
                </a:lnTo>
                <a:lnTo>
                  <a:pt x="4240830" y="1883258"/>
                </a:lnTo>
                <a:lnTo>
                  <a:pt x="4241372" y="1881525"/>
                </a:lnTo>
                <a:lnTo>
                  <a:pt x="4236055" y="1876436"/>
                </a:lnTo>
                <a:lnTo>
                  <a:pt x="4234536" y="1867017"/>
                </a:lnTo>
                <a:lnTo>
                  <a:pt x="4234536" y="1866477"/>
                </a:lnTo>
                <a:lnTo>
                  <a:pt x="4234536" y="1866475"/>
                </a:lnTo>
                <a:lnTo>
                  <a:pt x="4234753" y="1862146"/>
                </a:lnTo>
                <a:lnTo>
                  <a:pt x="4238768" y="1861063"/>
                </a:lnTo>
                <a:lnTo>
                  <a:pt x="4238877" y="1857814"/>
                </a:lnTo>
                <a:lnTo>
                  <a:pt x="4234210" y="1855649"/>
                </a:lnTo>
                <a:lnTo>
                  <a:pt x="4233776" y="1855541"/>
                </a:lnTo>
                <a:lnTo>
                  <a:pt x="4232583" y="1847421"/>
                </a:lnTo>
                <a:lnTo>
                  <a:pt x="4232582" y="1847421"/>
                </a:lnTo>
                <a:lnTo>
                  <a:pt x="4233776" y="1855542"/>
                </a:lnTo>
                <a:lnTo>
                  <a:pt x="4228351" y="1854242"/>
                </a:lnTo>
                <a:lnTo>
                  <a:pt x="4225095" y="1855866"/>
                </a:lnTo>
                <a:lnTo>
                  <a:pt x="4221731" y="1859331"/>
                </a:lnTo>
                <a:lnTo>
                  <a:pt x="4216413" y="1859331"/>
                </a:lnTo>
                <a:lnTo>
                  <a:pt x="4211531" y="1863662"/>
                </a:lnTo>
                <a:lnTo>
                  <a:pt x="4206321" y="1864311"/>
                </a:lnTo>
                <a:lnTo>
                  <a:pt x="4204477" y="1867993"/>
                </a:lnTo>
                <a:lnTo>
                  <a:pt x="4207081" y="1872973"/>
                </a:lnTo>
                <a:lnTo>
                  <a:pt x="4210337" y="1877196"/>
                </a:lnTo>
                <a:lnTo>
                  <a:pt x="4206647" y="1882609"/>
                </a:lnTo>
                <a:lnTo>
                  <a:pt x="4204477" y="1884342"/>
                </a:lnTo>
                <a:lnTo>
                  <a:pt x="4207190" y="1890297"/>
                </a:lnTo>
                <a:lnTo>
                  <a:pt x="4207949" y="1897226"/>
                </a:lnTo>
                <a:lnTo>
                  <a:pt x="4210445" y="1900799"/>
                </a:lnTo>
                <a:lnTo>
                  <a:pt x="4220971" y="1906429"/>
                </a:lnTo>
                <a:lnTo>
                  <a:pt x="4226723" y="1909460"/>
                </a:lnTo>
                <a:lnTo>
                  <a:pt x="4229652" y="1913466"/>
                </a:lnTo>
                <a:lnTo>
                  <a:pt x="4245171" y="1929166"/>
                </a:lnTo>
                <a:lnTo>
                  <a:pt x="4245604" y="1933280"/>
                </a:lnTo>
                <a:lnTo>
                  <a:pt x="4247558" y="1934363"/>
                </a:lnTo>
                <a:lnTo>
                  <a:pt x="4247775" y="1939235"/>
                </a:lnTo>
                <a:lnTo>
                  <a:pt x="4251030" y="1943890"/>
                </a:lnTo>
                <a:lnTo>
                  <a:pt x="4255371" y="1948329"/>
                </a:lnTo>
                <a:lnTo>
                  <a:pt x="4258735" y="1953635"/>
                </a:lnTo>
                <a:lnTo>
                  <a:pt x="4265789" y="1959049"/>
                </a:lnTo>
                <a:lnTo>
                  <a:pt x="4269153" y="1962513"/>
                </a:lnTo>
                <a:lnTo>
                  <a:pt x="4273602" y="1963379"/>
                </a:lnTo>
                <a:lnTo>
                  <a:pt x="4276640" y="1965220"/>
                </a:lnTo>
                <a:lnTo>
                  <a:pt x="4285756" y="1965220"/>
                </a:lnTo>
                <a:lnTo>
                  <a:pt x="4289554" y="1966302"/>
                </a:lnTo>
                <a:lnTo>
                  <a:pt x="4295305" y="1965437"/>
                </a:lnTo>
                <a:lnTo>
                  <a:pt x="4299429" y="1967602"/>
                </a:lnTo>
                <a:lnTo>
                  <a:pt x="4298560" y="1970850"/>
                </a:lnTo>
                <a:lnTo>
                  <a:pt x="4292592" y="1974965"/>
                </a:lnTo>
                <a:lnTo>
                  <a:pt x="4292375" y="1977130"/>
                </a:lnTo>
                <a:lnTo>
                  <a:pt x="4294762" y="1980920"/>
                </a:lnTo>
                <a:lnTo>
                  <a:pt x="4299646" y="1980920"/>
                </a:lnTo>
                <a:lnTo>
                  <a:pt x="4308652" y="1983085"/>
                </a:lnTo>
                <a:lnTo>
                  <a:pt x="4327534" y="1993153"/>
                </a:lnTo>
                <a:lnTo>
                  <a:pt x="4334805" y="1998675"/>
                </a:lnTo>
                <a:lnTo>
                  <a:pt x="4339580" y="2003656"/>
                </a:lnTo>
                <a:lnTo>
                  <a:pt x="4347393" y="2005605"/>
                </a:lnTo>
                <a:lnTo>
                  <a:pt x="4351408" y="2008420"/>
                </a:lnTo>
                <a:lnTo>
                  <a:pt x="4353144" y="2011559"/>
                </a:lnTo>
                <a:lnTo>
                  <a:pt x="4352493" y="2017732"/>
                </a:lnTo>
                <a:lnTo>
                  <a:pt x="4350432" y="2020655"/>
                </a:lnTo>
                <a:lnTo>
                  <a:pt x="4350974" y="2024552"/>
                </a:lnTo>
                <a:lnTo>
                  <a:pt x="4349672" y="2025526"/>
                </a:lnTo>
                <a:lnTo>
                  <a:pt x="4349564" y="2026934"/>
                </a:lnTo>
                <a:lnTo>
                  <a:pt x="4345331" y="2025202"/>
                </a:lnTo>
                <a:lnTo>
                  <a:pt x="4341967" y="2020979"/>
                </a:lnTo>
                <a:lnTo>
                  <a:pt x="4340014" y="2016648"/>
                </a:lnTo>
                <a:lnTo>
                  <a:pt x="4340556" y="2013075"/>
                </a:lnTo>
                <a:lnTo>
                  <a:pt x="4337952" y="2011559"/>
                </a:lnTo>
                <a:lnTo>
                  <a:pt x="4330573" y="2011451"/>
                </a:lnTo>
                <a:lnTo>
                  <a:pt x="4329162" y="2009286"/>
                </a:lnTo>
                <a:lnTo>
                  <a:pt x="4324279" y="2006904"/>
                </a:lnTo>
                <a:lnTo>
                  <a:pt x="4321023" y="2007337"/>
                </a:lnTo>
                <a:lnTo>
                  <a:pt x="4318853" y="2008745"/>
                </a:lnTo>
                <a:lnTo>
                  <a:pt x="4317225" y="2014483"/>
                </a:lnTo>
                <a:lnTo>
                  <a:pt x="4314512" y="2017406"/>
                </a:lnTo>
                <a:lnTo>
                  <a:pt x="4314730" y="2020438"/>
                </a:lnTo>
                <a:lnTo>
                  <a:pt x="4313970" y="2024011"/>
                </a:lnTo>
                <a:lnTo>
                  <a:pt x="4310497" y="2026393"/>
                </a:lnTo>
                <a:lnTo>
                  <a:pt x="4310497" y="2029966"/>
                </a:lnTo>
                <a:lnTo>
                  <a:pt x="4312125" y="2032348"/>
                </a:lnTo>
                <a:lnTo>
                  <a:pt x="4315923" y="2032889"/>
                </a:lnTo>
                <a:lnTo>
                  <a:pt x="4322651" y="2039169"/>
                </a:lnTo>
                <a:lnTo>
                  <a:pt x="4323953" y="2041875"/>
                </a:lnTo>
                <a:lnTo>
                  <a:pt x="4323194" y="2048047"/>
                </a:lnTo>
                <a:lnTo>
                  <a:pt x="4324388" y="2050213"/>
                </a:lnTo>
                <a:lnTo>
                  <a:pt x="4322760" y="2053677"/>
                </a:lnTo>
                <a:lnTo>
                  <a:pt x="4318636" y="2054760"/>
                </a:lnTo>
                <a:lnTo>
                  <a:pt x="4314730" y="2058874"/>
                </a:lnTo>
                <a:lnTo>
                  <a:pt x="4314078" y="2069918"/>
                </a:lnTo>
                <a:lnTo>
                  <a:pt x="4307568" y="2075115"/>
                </a:lnTo>
                <a:lnTo>
                  <a:pt x="4306699" y="2080203"/>
                </a:lnTo>
                <a:lnTo>
                  <a:pt x="4303227" y="2084859"/>
                </a:lnTo>
                <a:lnTo>
                  <a:pt x="4296390" y="2085401"/>
                </a:lnTo>
                <a:lnTo>
                  <a:pt x="4291182" y="2080203"/>
                </a:lnTo>
                <a:lnTo>
                  <a:pt x="4290964" y="2076522"/>
                </a:lnTo>
                <a:lnTo>
                  <a:pt x="4292158" y="2074681"/>
                </a:lnTo>
                <a:lnTo>
                  <a:pt x="4294980" y="2073166"/>
                </a:lnTo>
                <a:lnTo>
                  <a:pt x="4297801" y="2069918"/>
                </a:lnTo>
                <a:lnTo>
                  <a:pt x="4298452" y="2065370"/>
                </a:lnTo>
                <a:lnTo>
                  <a:pt x="4297801" y="2060607"/>
                </a:lnTo>
                <a:lnTo>
                  <a:pt x="4299211" y="2059848"/>
                </a:lnTo>
                <a:lnTo>
                  <a:pt x="4301165" y="2059740"/>
                </a:lnTo>
                <a:lnTo>
                  <a:pt x="4303661" y="2056709"/>
                </a:lnTo>
                <a:lnTo>
                  <a:pt x="4303770" y="2052378"/>
                </a:lnTo>
                <a:lnTo>
                  <a:pt x="4301165" y="2048372"/>
                </a:lnTo>
                <a:lnTo>
                  <a:pt x="4299103" y="2039927"/>
                </a:lnTo>
                <a:lnTo>
                  <a:pt x="4296607" y="2036679"/>
                </a:lnTo>
                <a:lnTo>
                  <a:pt x="4295522" y="2029424"/>
                </a:lnTo>
                <a:lnTo>
                  <a:pt x="4293352" y="2021846"/>
                </a:lnTo>
                <a:lnTo>
                  <a:pt x="4289879" y="2019680"/>
                </a:lnTo>
                <a:lnTo>
                  <a:pt x="4287166" y="2021304"/>
                </a:lnTo>
                <a:lnTo>
                  <a:pt x="4280981" y="2019897"/>
                </a:lnTo>
                <a:lnTo>
                  <a:pt x="4279028" y="2015891"/>
                </a:lnTo>
                <a:lnTo>
                  <a:pt x="4274144" y="2015566"/>
                </a:lnTo>
                <a:lnTo>
                  <a:pt x="4271757" y="2013184"/>
                </a:lnTo>
                <a:lnTo>
                  <a:pt x="4272842" y="2011235"/>
                </a:lnTo>
                <a:lnTo>
                  <a:pt x="4273385" y="2006579"/>
                </a:lnTo>
                <a:lnTo>
                  <a:pt x="4270346" y="2002573"/>
                </a:lnTo>
                <a:lnTo>
                  <a:pt x="4266006" y="2002249"/>
                </a:lnTo>
                <a:lnTo>
                  <a:pt x="4261882" y="2002357"/>
                </a:lnTo>
                <a:lnTo>
                  <a:pt x="4262208" y="1999108"/>
                </a:lnTo>
                <a:lnTo>
                  <a:pt x="4258192" y="1997701"/>
                </a:lnTo>
                <a:lnTo>
                  <a:pt x="4255480" y="1998784"/>
                </a:lnTo>
                <a:lnTo>
                  <a:pt x="4252441" y="1996835"/>
                </a:lnTo>
                <a:lnTo>
                  <a:pt x="4247341" y="1987416"/>
                </a:lnTo>
                <a:lnTo>
                  <a:pt x="4242675" y="1987090"/>
                </a:lnTo>
                <a:lnTo>
                  <a:pt x="4237791" y="1985033"/>
                </a:lnTo>
                <a:lnTo>
                  <a:pt x="4234753" y="1987957"/>
                </a:lnTo>
                <a:lnTo>
                  <a:pt x="4230412" y="1987957"/>
                </a:lnTo>
                <a:lnTo>
                  <a:pt x="4229436" y="1983951"/>
                </a:lnTo>
                <a:lnTo>
                  <a:pt x="4225529" y="1981244"/>
                </a:lnTo>
                <a:lnTo>
                  <a:pt x="4220971" y="1980594"/>
                </a:lnTo>
                <a:lnTo>
                  <a:pt x="4211531" y="1973557"/>
                </a:lnTo>
                <a:lnTo>
                  <a:pt x="4201764" y="1961106"/>
                </a:lnTo>
                <a:lnTo>
                  <a:pt x="4198725" y="1960023"/>
                </a:lnTo>
                <a:lnTo>
                  <a:pt x="4197857" y="1956233"/>
                </a:lnTo>
                <a:lnTo>
                  <a:pt x="4193517" y="1950386"/>
                </a:lnTo>
                <a:lnTo>
                  <a:pt x="4186571" y="1950278"/>
                </a:lnTo>
                <a:lnTo>
                  <a:pt x="4185921" y="1945947"/>
                </a:lnTo>
                <a:lnTo>
                  <a:pt x="4179410" y="1939776"/>
                </a:lnTo>
                <a:lnTo>
                  <a:pt x="4175720" y="1935229"/>
                </a:lnTo>
                <a:lnTo>
                  <a:pt x="4170186" y="1932522"/>
                </a:lnTo>
                <a:lnTo>
                  <a:pt x="4170294" y="1925917"/>
                </a:lnTo>
                <a:lnTo>
                  <a:pt x="4166604" y="1923535"/>
                </a:lnTo>
                <a:lnTo>
                  <a:pt x="4166388" y="1919421"/>
                </a:lnTo>
                <a:lnTo>
                  <a:pt x="4162047" y="1912384"/>
                </a:lnTo>
                <a:lnTo>
                  <a:pt x="4160093" y="1908703"/>
                </a:lnTo>
                <a:lnTo>
                  <a:pt x="4158791" y="1906104"/>
                </a:lnTo>
                <a:lnTo>
                  <a:pt x="4156730" y="1902315"/>
                </a:lnTo>
                <a:lnTo>
                  <a:pt x="4149676" y="1900258"/>
                </a:lnTo>
                <a:lnTo>
                  <a:pt x="4145010" y="1897226"/>
                </a:lnTo>
                <a:lnTo>
                  <a:pt x="4129058" y="1893003"/>
                </a:lnTo>
                <a:lnTo>
                  <a:pt x="4116795" y="1899933"/>
                </a:lnTo>
                <a:lnTo>
                  <a:pt x="4116687" y="1903831"/>
                </a:lnTo>
                <a:lnTo>
                  <a:pt x="4112454" y="1909135"/>
                </a:lnTo>
                <a:lnTo>
                  <a:pt x="4101060" y="1911084"/>
                </a:lnTo>
                <a:lnTo>
                  <a:pt x="4101060" y="1911084"/>
                </a:lnTo>
                <a:lnTo>
                  <a:pt x="4100193" y="1911301"/>
                </a:lnTo>
                <a:lnTo>
                  <a:pt x="4085109" y="1922452"/>
                </a:lnTo>
                <a:lnTo>
                  <a:pt x="4080985" y="1927649"/>
                </a:lnTo>
                <a:lnTo>
                  <a:pt x="4081853" y="1930031"/>
                </a:lnTo>
                <a:lnTo>
                  <a:pt x="4077404" y="1933821"/>
                </a:lnTo>
                <a:lnTo>
                  <a:pt x="4066661" y="1933279"/>
                </a:lnTo>
                <a:lnTo>
                  <a:pt x="4062755" y="1929815"/>
                </a:lnTo>
                <a:lnTo>
                  <a:pt x="4048321" y="1920828"/>
                </a:lnTo>
                <a:lnTo>
                  <a:pt x="4044849" y="1921153"/>
                </a:lnTo>
                <a:lnTo>
                  <a:pt x="4041160" y="1924077"/>
                </a:lnTo>
                <a:lnTo>
                  <a:pt x="4037253" y="1924077"/>
                </a:lnTo>
                <a:lnTo>
                  <a:pt x="4031393" y="1920612"/>
                </a:lnTo>
                <a:lnTo>
                  <a:pt x="4025967" y="1919854"/>
                </a:lnTo>
                <a:lnTo>
                  <a:pt x="4023255" y="1917905"/>
                </a:lnTo>
                <a:lnTo>
                  <a:pt x="4020541" y="1918122"/>
                </a:lnTo>
                <a:lnTo>
                  <a:pt x="4012294" y="1927000"/>
                </a:lnTo>
                <a:lnTo>
                  <a:pt x="4006868" y="1931872"/>
                </a:lnTo>
                <a:lnTo>
                  <a:pt x="4006326" y="1935769"/>
                </a:lnTo>
                <a:lnTo>
                  <a:pt x="4004481" y="1943890"/>
                </a:lnTo>
                <a:lnTo>
                  <a:pt x="4006326" y="1950819"/>
                </a:lnTo>
                <a:lnTo>
                  <a:pt x="4006543" y="1953093"/>
                </a:lnTo>
                <a:lnTo>
                  <a:pt x="4006108" y="1952932"/>
                </a:lnTo>
                <a:lnTo>
                  <a:pt x="4006108" y="1955149"/>
                </a:lnTo>
                <a:lnTo>
                  <a:pt x="4002310" y="1957640"/>
                </a:lnTo>
                <a:lnTo>
                  <a:pt x="4003613" y="1965218"/>
                </a:lnTo>
                <a:lnTo>
                  <a:pt x="4002962" y="1971065"/>
                </a:lnTo>
                <a:lnTo>
                  <a:pt x="4000574" y="1975612"/>
                </a:lnTo>
                <a:lnTo>
                  <a:pt x="3991567" y="1981026"/>
                </a:lnTo>
                <a:cubicBezTo>
                  <a:pt x="3990325" y="1982795"/>
                  <a:pt x="3988984" y="1984494"/>
                  <a:pt x="3987553" y="1986114"/>
                </a:cubicBezTo>
                <a:lnTo>
                  <a:pt x="3979956" y="1989146"/>
                </a:lnTo>
                <a:lnTo>
                  <a:pt x="3970733" y="1989146"/>
                </a:lnTo>
                <a:lnTo>
                  <a:pt x="3964763" y="1993369"/>
                </a:lnTo>
                <a:lnTo>
                  <a:pt x="3959338" y="1996292"/>
                </a:lnTo>
                <a:lnTo>
                  <a:pt x="3961834" y="1998457"/>
                </a:lnTo>
                <a:lnTo>
                  <a:pt x="3960640" y="2004087"/>
                </a:lnTo>
                <a:lnTo>
                  <a:pt x="3957276" y="2006144"/>
                </a:lnTo>
                <a:lnTo>
                  <a:pt x="3957276" y="2005603"/>
                </a:lnTo>
                <a:lnTo>
                  <a:pt x="3958144" y="2004845"/>
                </a:lnTo>
                <a:lnTo>
                  <a:pt x="3955649" y="2003979"/>
                </a:lnTo>
                <a:lnTo>
                  <a:pt x="3948811" y="2015672"/>
                </a:lnTo>
                <a:lnTo>
                  <a:pt x="3943928" y="2018054"/>
                </a:lnTo>
                <a:lnTo>
                  <a:pt x="3934704" y="2033429"/>
                </a:lnTo>
                <a:lnTo>
                  <a:pt x="3931991" y="2036893"/>
                </a:lnTo>
                <a:lnTo>
                  <a:pt x="3936007" y="2043715"/>
                </a:lnTo>
                <a:lnTo>
                  <a:pt x="3937092" y="2048370"/>
                </a:lnTo>
                <a:lnTo>
                  <a:pt x="3940673" y="2050319"/>
                </a:lnTo>
                <a:lnTo>
                  <a:pt x="3946641" y="2058439"/>
                </a:lnTo>
                <a:lnTo>
                  <a:pt x="3941433" y="2063528"/>
                </a:lnTo>
                <a:lnTo>
                  <a:pt x="3933511" y="2065476"/>
                </a:lnTo>
                <a:lnTo>
                  <a:pt x="3933511" y="2071107"/>
                </a:lnTo>
                <a:lnTo>
                  <a:pt x="3925915" y="2081933"/>
                </a:lnTo>
                <a:lnTo>
                  <a:pt x="3925046" y="2088971"/>
                </a:lnTo>
                <a:lnTo>
                  <a:pt x="3927000" y="2090920"/>
                </a:lnTo>
                <a:lnTo>
                  <a:pt x="3925046" y="2093951"/>
                </a:lnTo>
                <a:lnTo>
                  <a:pt x="3916907" y="2093951"/>
                </a:lnTo>
                <a:lnTo>
                  <a:pt x="3902475" y="2100772"/>
                </a:lnTo>
                <a:lnTo>
                  <a:pt x="3902475" y="2105645"/>
                </a:lnTo>
                <a:lnTo>
                  <a:pt x="3896832" y="2114632"/>
                </a:lnTo>
                <a:lnTo>
                  <a:pt x="3891732" y="2112250"/>
                </a:lnTo>
                <a:lnTo>
                  <a:pt x="3887175" y="2108243"/>
                </a:lnTo>
                <a:lnTo>
                  <a:pt x="3884787" y="2112357"/>
                </a:lnTo>
                <a:lnTo>
                  <a:pt x="3880989" y="2115606"/>
                </a:lnTo>
                <a:lnTo>
                  <a:pt x="3876974" y="2112575"/>
                </a:lnTo>
                <a:lnTo>
                  <a:pt x="3872850" y="2112575"/>
                </a:lnTo>
                <a:lnTo>
                  <a:pt x="3871223" y="2114523"/>
                </a:lnTo>
                <a:lnTo>
                  <a:pt x="3864711" y="2113765"/>
                </a:lnTo>
                <a:lnTo>
                  <a:pt x="3854944" y="2111059"/>
                </a:lnTo>
                <a:lnTo>
                  <a:pt x="3851038" y="2113224"/>
                </a:lnTo>
                <a:lnTo>
                  <a:pt x="3842465" y="2114306"/>
                </a:lnTo>
                <a:lnTo>
                  <a:pt x="3834978" y="2121777"/>
                </a:lnTo>
                <a:lnTo>
                  <a:pt x="3826079" y="2122860"/>
                </a:lnTo>
                <a:lnTo>
                  <a:pt x="3822715" y="2125783"/>
                </a:lnTo>
                <a:lnTo>
                  <a:pt x="3822715" y="2129681"/>
                </a:lnTo>
                <a:lnTo>
                  <a:pt x="3815662" y="2133471"/>
                </a:lnTo>
                <a:lnTo>
                  <a:pt x="3807957" y="2132171"/>
                </a:lnTo>
                <a:lnTo>
                  <a:pt x="3800035" y="2124375"/>
                </a:lnTo>
                <a:lnTo>
                  <a:pt x="3795477" y="2113549"/>
                </a:lnTo>
                <a:lnTo>
                  <a:pt x="3796454" y="2112033"/>
                </a:lnTo>
                <a:lnTo>
                  <a:pt x="3786688" y="2102722"/>
                </a:lnTo>
                <a:lnTo>
                  <a:pt x="3779634" y="2101855"/>
                </a:lnTo>
                <a:lnTo>
                  <a:pt x="3775834" y="2100802"/>
                </a:lnTo>
                <a:lnTo>
                  <a:pt x="3775837" y="2100990"/>
                </a:lnTo>
                <a:lnTo>
                  <a:pt x="3775728" y="2100881"/>
                </a:lnTo>
                <a:lnTo>
                  <a:pt x="3774643" y="2102938"/>
                </a:lnTo>
                <a:lnTo>
                  <a:pt x="3768349" y="2103480"/>
                </a:lnTo>
                <a:lnTo>
                  <a:pt x="3761296" y="2107378"/>
                </a:lnTo>
                <a:lnTo>
                  <a:pt x="3756738" y="2104670"/>
                </a:lnTo>
                <a:lnTo>
                  <a:pt x="3746754" y="2100773"/>
                </a:lnTo>
                <a:lnTo>
                  <a:pt x="3739701" y="2105537"/>
                </a:lnTo>
                <a:lnTo>
                  <a:pt x="3737964" y="2104129"/>
                </a:lnTo>
                <a:lnTo>
                  <a:pt x="3739701" y="2101423"/>
                </a:lnTo>
                <a:lnTo>
                  <a:pt x="3742088" y="2092436"/>
                </a:lnTo>
                <a:lnTo>
                  <a:pt x="3741763" y="2079768"/>
                </a:lnTo>
                <a:lnTo>
                  <a:pt x="3744041" y="2074246"/>
                </a:lnTo>
                <a:lnTo>
                  <a:pt x="3742414" y="2067859"/>
                </a:lnTo>
                <a:lnTo>
                  <a:pt x="3745018" y="2064611"/>
                </a:lnTo>
                <a:lnTo>
                  <a:pt x="3738833" y="2064503"/>
                </a:lnTo>
                <a:lnTo>
                  <a:pt x="3735251" y="2067859"/>
                </a:lnTo>
                <a:lnTo>
                  <a:pt x="3733082" y="2065585"/>
                </a:lnTo>
                <a:lnTo>
                  <a:pt x="3733407" y="2060497"/>
                </a:lnTo>
                <a:lnTo>
                  <a:pt x="3740461" y="2057032"/>
                </a:lnTo>
                <a:lnTo>
                  <a:pt x="3739158" y="2054542"/>
                </a:lnTo>
                <a:lnTo>
                  <a:pt x="3739918" y="2051510"/>
                </a:lnTo>
                <a:lnTo>
                  <a:pt x="3735035" y="2054542"/>
                </a:lnTo>
                <a:lnTo>
                  <a:pt x="3732647" y="2057898"/>
                </a:lnTo>
                <a:lnTo>
                  <a:pt x="3727764" y="2057898"/>
                </a:lnTo>
                <a:lnTo>
                  <a:pt x="3727547" y="2054542"/>
                </a:lnTo>
                <a:lnTo>
                  <a:pt x="3730910" y="2040683"/>
                </a:lnTo>
                <a:lnTo>
                  <a:pt x="3737205" y="2031588"/>
                </a:lnTo>
                <a:lnTo>
                  <a:pt x="3737205" y="2027041"/>
                </a:lnTo>
                <a:lnTo>
                  <a:pt x="3742631" y="2019353"/>
                </a:lnTo>
                <a:lnTo>
                  <a:pt x="3742956" y="2011559"/>
                </a:lnTo>
                <a:lnTo>
                  <a:pt x="3745886" y="2005387"/>
                </a:lnTo>
                <a:lnTo>
                  <a:pt x="3748382" y="2002031"/>
                </a:lnTo>
                <a:lnTo>
                  <a:pt x="3745018" y="1998025"/>
                </a:lnTo>
                <a:lnTo>
                  <a:pt x="3746754" y="1991420"/>
                </a:lnTo>
                <a:lnTo>
                  <a:pt x="3745886" y="1989038"/>
                </a:lnTo>
                <a:lnTo>
                  <a:pt x="3747514" y="1973988"/>
                </a:lnTo>
                <a:lnTo>
                  <a:pt x="3743933" y="1965976"/>
                </a:lnTo>
                <a:lnTo>
                  <a:pt x="3743499" y="1960996"/>
                </a:lnTo>
                <a:lnTo>
                  <a:pt x="3754025" y="1959264"/>
                </a:lnTo>
                <a:lnTo>
                  <a:pt x="3757987" y="1960332"/>
                </a:lnTo>
                <a:lnTo>
                  <a:pt x="3758039" y="1959913"/>
                </a:lnTo>
                <a:lnTo>
                  <a:pt x="3754025" y="1958830"/>
                </a:lnTo>
                <a:lnTo>
                  <a:pt x="3743172" y="1960455"/>
                </a:lnTo>
                <a:lnTo>
                  <a:pt x="3743172" y="1959155"/>
                </a:lnTo>
                <a:lnTo>
                  <a:pt x="3748815" y="1954283"/>
                </a:lnTo>
                <a:lnTo>
                  <a:pt x="3744800" y="1953525"/>
                </a:lnTo>
                <a:lnTo>
                  <a:pt x="3747513" y="1950602"/>
                </a:lnTo>
                <a:lnTo>
                  <a:pt x="3745668" y="1948761"/>
                </a:lnTo>
                <a:lnTo>
                  <a:pt x="3746753" y="1943673"/>
                </a:lnTo>
                <a:lnTo>
                  <a:pt x="3742955" y="1947245"/>
                </a:lnTo>
                <a:lnTo>
                  <a:pt x="3741111" y="1946488"/>
                </a:lnTo>
                <a:lnTo>
                  <a:pt x="3742413" y="1939774"/>
                </a:lnTo>
                <a:lnTo>
                  <a:pt x="3740459" y="1938909"/>
                </a:lnTo>
                <a:lnTo>
                  <a:pt x="3740459" y="1936202"/>
                </a:lnTo>
                <a:lnTo>
                  <a:pt x="3737421" y="1937284"/>
                </a:lnTo>
                <a:lnTo>
                  <a:pt x="3735251" y="1932196"/>
                </a:lnTo>
                <a:lnTo>
                  <a:pt x="3737746" y="1926999"/>
                </a:lnTo>
                <a:lnTo>
                  <a:pt x="3746753" y="1923751"/>
                </a:lnTo>
                <a:lnTo>
                  <a:pt x="3749792" y="1925159"/>
                </a:lnTo>
                <a:lnTo>
                  <a:pt x="3757388" y="1924292"/>
                </a:lnTo>
                <a:lnTo>
                  <a:pt x="3760969" y="1921586"/>
                </a:lnTo>
                <a:lnTo>
                  <a:pt x="3758039" y="1919637"/>
                </a:lnTo>
                <a:lnTo>
                  <a:pt x="3757497" y="1916388"/>
                </a:lnTo>
                <a:lnTo>
                  <a:pt x="3766178" y="1911516"/>
                </a:lnTo>
                <a:lnTo>
                  <a:pt x="3767480" y="1913140"/>
                </a:lnTo>
                <a:lnTo>
                  <a:pt x="3771061" y="1910650"/>
                </a:lnTo>
                <a:lnTo>
                  <a:pt x="3777030" y="1911949"/>
                </a:lnTo>
                <a:lnTo>
                  <a:pt x="3782130" y="1918229"/>
                </a:lnTo>
                <a:lnTo>
                  <a:pt x="3786470" y="1914656"/>
                </a:lnTo>
                <a:lnTo>
                  <a:pt x="3792548" y="1914656"/>
                </a:lnTo>
                <a:lnTo>
                  <a:pt x="3798190" y="1917038"/>
                </a:lnTo>
                <a:lnTo>
                  <a:pt x="3804376" y="1914548"/>
                </a:lnTo>
                <a:lnTo>
                  <a:pt x="3811972" y="1912382"/>
                </a:lnTo>
                <a:lnTo>
                  <a:pt x="3813600" y="1914548"/>
                </a:lnTo>
                <a:lnTo>
                  <a:pt x="3819786" y="1918013"/>
                </a:lnTo>
                <a:lnTo>
                  <a:pt x="3836823" y="1920719"/>
                </a:lnTo>
                <a:lnTo>
                  <a:pt x="3844635" y="1922560"/>
                </a:lnTo>
                <a:lnTo>
                  <a:pt x="3856247" y="1917688"/>
                </a:lnTo>
                <a:lnTo>
                  <a:pt x="3864928" y="1918445"/>
                </a:lnTo>
                <a:lnTo>
                  <a:pt x="3866556" y="1922235"/>
                </a:lnTo>
                <a:lnTo>
                  <a:pt x="3875021" y="1923859"/>
                </a:lnTo>
                <a:lnTo>
                  <a:pt x="3879361" y="1919528"/>
                </a:lnTo>
                <a:lnTo>
                  <a:pt x="3883485" y="1919528"/>
                </a:lnTo>
                <a:lnTo>
                  <a:pt x="3896181" y="1926890"/>
                </a:lnTo>
                <a:lnTo>
                  <a:pt x="3898568" y="1923426"/>
                </a:lnTo>
                <a:lnTo>
                  <a:pt x="3902041" y="1923426"/>
                </a:lnTo>
                <a:lnTo>
                  <a:pt x="3903625" y="1922511"/>
                </a:lnTo>
                <a:lnTo>
                  <a:pt x="3903126" y="1922236"/>
                </a:lnTo>
                <a:lnTo>
                  <a:pt x="3908660" y="1918987"/>
                </a:lnTo>
                <a:lnTo>
                  <a:pt x="3913001" y="1904912"/>
                </a:lnTo>
                <a:lnTo>
                  <a:pt x="3914195" y="1888672"/>
                </a:lnTo>
                <a:lnTo>
                  <a:pt x="3917342" y="1886398"/>
                </a:lnTo>
                <a:lnTo>
                  <a:pt x="3913544" y="1883800"/>
                </a:lnTo>
                <a:lnTo>
                  <a:pt x="3913326" y="1875138"/>
                </a:lnTo>
                <a:lnTo>
                  <a:pt x="3915714" y="1863228"/>
                </a:lnTo>
                <a:lnTo>
                  <a:pt x="3918101" y="1861604"/>
                </a:lnTo>
                <a:lnTo>
                  <a:pt x="3922876" y="1864202"/>
                </a:lnTo>
                <a:lnTo>
                  <a:pt x="3924504" y="1869941"/>
                </a:lnTo>
                <a:lnTo>
                  <a:pt x="3930689" y="1875896"/>
                </a:lnTo>
                <a:lnTo>
                  <a:pt x="3925047" y="1862362"/>
                </a:lnTo>
                <a:lnTo>
                  <a:pt x="3917884" y="1856732"/>
                </a:lnTo>
                <a:lnTo>
                  <a:pt x="3913869" y="1855866"/>
                </a:lnTo>
                <a:lnTo>
                  <a:pt x="3914954" y="1851751"/>
                </a:lnTo>
                <a:lnTo>
                  <a:pt x="3916039" y="1851210"/>
                </a:lnTo>
                <a:lnTo>
                  <a:pt x="3917884" y="1846447"/>
                </a:lnTo>
                <a:lnTo>
                  <a:pt x="3915714" y="1843090"/>
                </a:lnTo>
                <a:lnTo>
                  <a:pt x="3915931" y="1838867"/>
                </a:lnTo>
                <a:lnTo>
                  <a:pt x="3910288" y="1835619"/>
                </a:lnTo>
                <a:lnTo>
                  <a:pt x="3904537" y="1834753"/>
                </a:lnTo>
                <a:lnTo>
                  <a:pt x="3898460" y="1827390"/>
                </a:lnTo>
                <a:lnTo>
                  <a:pt x="3894553" y="1826849"/>
                </a:lnTo>
                <a:lnTo>
                  <a:pt x="3893685" y="1823709"/>
                </a:lnTo>
                <a:lnTo>
                  <a:pt x="3895747" y="1819812"/>
                </a:lnTo>
                <a:lnTo>
                  <a:pt x="3894879" y="1815048"/>
                </a:lnTo>
                <a:lnTo>
                  <a:pt x="3892383" y="1813965"/>
                </a:lnTo>
                <a:lnTo>
                  <a:pt x="3895096" y="1810176"/>
                </a:lnTo>
                <a:lnTo>
                  <a:pt x="3899437" y="1810068"/>
                </a:lnTo>
                <a:lnTo>
                  <a:pt x="3903235" y="1812233"/>
                </a:lnTo>
                <a:lnTo>
                  <a:pt x="3900087" y="1808010"/>
                </a:lnTo>
                <a:lnTo>
                  <a:pt x="3895312" y="1807469"/>
                </a:lnTo>
                <a:lnTo>
                  <a:pt x="3890755" y="1810392"/>
                </a:lnTo>
                <a:lnTo>
                  <a:pt x="3887825" y="1810176"/>
                </a:lnTo>
                <a:lnTo>
                  <a:pt x="3885655" y="1806819"/>
                </a:lnTo>
                <a:lnTo>
                  <a:pt x="3887500" y="1802055"/>
                </a:lnTo>
                <a:lnTo>
                  <a:pt x="3885112" y="1799782"/>
                </a:lnTo>
                <a:lnTo>
                  <a:pt x="3881206" y="1802055"/>
                </a:lnTo>
                <a:lnTo>
                  <a:pt x="3879904" y="1800431"/>
                </a:lnTo>
                <a:lnTo>
                  <a:pt x="3880772" y="1797725"/>
                </a:lnTo>
                <a:lnTo>
                  <a:pt x="3878384" y="1797184"/>
                </a:lnTo>
                <a:lnTo>
                  <a:pt x="3874694" y="1800648"/>
                </a:lnTo>
                <a:lnTo>
                  <a:pt x="3869378" y="1797184"/>
                </a:lnTo>
                <a:lnTo>
                  <a:pt x="3866339" y="1797184"/>
                </a:lnTo>
                <a:lnTo>
                  <a:pt x="3864711" y="1794476"/>
                </a:lnTo>
                <a:lnTo>
                  <a:pt x="3857115" y="1791445"/>
                </a:lnTo>
                <a:lnTo>
                  <a:pt x="3854185" y="1791986"/>
                </a:lnTo>
                <a:lnTo>
                  <a:pt x="3850821" y="1791120"/>
                </a:lnTo>
                <a:lnTo>
                  <a:pt x="3845938" y="1794368"/>
                </a:lnTo>
                <a:lnTo>
                  <a:pt x="3846372" y="1791445"/>
                </a:lnTo>
                <a:lnTo>
                  <a:pt x="3844635" y="1786356"/>
                </a:lnTo>
                <a:lnTo>
                  <a:pt x="3840404" y="1786356"/>
                </a:lnTo>
                <a:lnTo>
                  <a:pt x="3840295" y="1785165"/>
                </a:lnTo>
                <a:lnTo>
                  <a:pt x="3844635" y="1783541"/>
                </a:lnTo>
                <a:lnTo>
                  <a:pt x="3847348" y="1782458"/>
                </a:lnTo>
                <a:lnTo>
                  <a:pt x="3846589" y="1779319"/>
                </a:lnTo>
                <a:lnTo>
                  <a:pt x="3843659" y="1778236"/>
                </a:lnTo>
                <a:lnTo>
                  <a:pt x="3842248" y="1781701"/>
                </a:lnTo>
                <a:lnTo>
                  <a:pt x="3840621" y="1777153"/>
                </a:lnTo>
                <a:lnTo>
                  <a:pt x="3843334" y="1776828"/>
                </a:lnTo>
                <a:lnTo>
                  <a:pt x="3847891" y="1777695"/>
                </a:lnTo>
                <a:lnTo>
                  <a:pt x="3846806" y="1776070"/>
                </a:lnTo>
                <a:lnTo>
                  <a:pt x="3842682" y="1774879"/>
                </a:lnTo>
                <a:lnTo>
                  <a:pt x="3838450" y="1776287"/>
                </a:lnTo>
                <a:lnTo>
                  <a:pt x="3836714" y="1773256"/>
                </a:lnTo>
                <a:lnTo>
                  <a:pt x="3839969" y="1769466"/>
                </a:lnTo>
                <a:lnTo>
                  <a:pt x="3847131" y="1768925"/>
                </a:lnTo>
                <a:lnTo>
                  <a:pt x="3850278" y="1765785"/>
                </a:lnTo>
                <a:lnTo>
                  <a:pt x="3855053" y="1765243"/>
                </a:lnTo>
                <a:lnTo>
                  <a:pt x="3857441" y="1766868"/>
                </a:lnTo>
                <a:lnTo>
                  <a:pt x="3860154" y="1764377"/>
                </a:lnTo>
                <a:lnTo>
                  <a:pt x="3862541" y="1765676"/>
                </a:lnTo>
                <a:lnTo>
                  <a:pt x="3866990" y="1761454"/>
                </a:lnTo>
                <a:lnTo>
                  <a:pt x="3872633" y="1760263"/>
                </a:lnTo>
                <a:lnTo>
                  <a:pt x="3876431" y="1761454"/>
                </a:lnTo>
                <a:lnTo>
                  <a:pt x="3883159" y="1770332"/>
                </a:lnTo>
                <a:lnTo>
                  <a:pt x="3888368" y="1766001"/>
                </a:lnTo>
                <a:lnTo>
                  <a:pt x="3889996" y="1767625"/>
                </a:lnTo>
                <a:lnTo>
                  <a:pt x="3894227" y="1766542"/>
                </a:lnTo>
                <a:lnTo>
                  <a:pt x="3897592" y="1767409"/>
                </a:lnTo>
                <a:lnTo>
                  <a:pt x="3901173" y="1766218"/>
                </a:lnTo>
                <a:lnTo>
                  <a:pt x="3909528" y="1767301"/>
                </a:lnTo>
                <a:lnTo>
                  <a:pt x="3908986" y="1763078"/>
                </a:lnTo>
                <a:lnTo>
                  <a:pt x="3906490" y="1759830"/>
                </a:lnTo>
                <a:lnTo>
                  <a:pt x="3907358" y="1756257"/>
                </a:lnTo>
                <a:lnTo>
                  <a:pt x="3906273" y="1752684"/>
                </a:lnTo>
                <a:lnTo>
                  <a:pt x="3907792" y="1750302"/>
                </a:lnTo>
                <a:lnTo>
                  <a:pt x="3899762" y="1742940"/>
                </a:lnTo>
                <a:lnTo>
                  <a:pt x="3900630" y="1740557"/>
                </a:lnTo>
                <a:lnTo>
                  <a:pt x="3899111" y="1735144"/>
                </a:lnTo>
                <a:lnTo>
                  <a:pt x="3901607" y="1736226"/>
                </a:lnTo>
                <a:lnTo>
                  <a:pt x="3907250" y="1736444"/>
                </a:lnTo>
                <a:lnTo>
                  <a:pt x="3911156" y="1734928"/>
                </a:lnTo>
                <a:lnTo>
                  <a:pt x="3914954" y="1736768"/>
                </a:lnTo>
                <a:lnTo>
                  <a:pt x="3913544" y="1740557"/>
                </a:lnTo>
                <a:lnTo>
                  <a:pt x="3916582" y="1742940"/>
                </a:lnTo>
                <a:lnTo>
                  <a:pt x="3918101" y="1746187"/>
                </a:lnTo>
                <a:lnTo>
                  <a:pt x="3921465" y="1744130"/>
                </a:lnTo>
                <a:lnTo>
                  <a:pt x="3925589" y="1746296"/>
                </a:lnTo>
                <a:lnTo>
                  <a:pt x="3935030" y="1747595"/>
                </a:lnTo>
                <a:lnTo>
                  <a:pt x="3941867" y="1746187"/>
                </a:lnTo>
                <a:lnTo>
                  <a:pt x="3947509" y="1742181"/>
                </a:lnTo>
                <a:lnTo>
                  <a:pt x="3943386" y="1740774"/>
                </a:lnTo>
                <a:lnTo>
                  <a:pt x="3941758" y="1737851"/>
                </a:lnTo>
                <a:lnTo>
                  <a:pt x="3943928" y="1733736"/>
                </a:lnTo>
                <a:lnTo>
                  <a:pt x="3952935" y="1728864"/>
                </a:lnTo>
                <a:lnTo>
                  <a:pt x="3957276" y="1730271"/>
                </a:lnTo>
                <a:lnTo>
                  <a:pt x="3961291" y="1730055"/>
                </a:lnTo>
                <a:lnTo>
                  <a:pt x="3968887" y="1727890"/>
                </a:lnTo>
                <a:lnTo>
                  <a:pt x="3968887" y="1725075"/>
                </a:lnTo>
                <a:lnTo>
                  <a:pt x="3975724" y="1718362"/>
                </a:lnTo>
                <a:lnTo>
                  <a:pt x="3977134" y="1709484"/>
                </a:lnTo>
                <a:lnTo>
                  <a:pt x="3976049" y="1703962"/>
                </a:lnTo>
                <a:lnTo>
                  <a:pt x="3977785" y="1699198"/>
                </a:lnTo>
                <a:lnTo>
                  <a:pt x="3984622" y="1695300"/>
                </a:lnTo>
                <a:lnTo>
                  <a:pt x="3986576" y="1696924"/>
                </a:lnTo>
                <a:lnTo>
                  <a:pt x="3995040" y="1694001"/>
                </a:lnTo>
                <a:lnTo>
                  <a:pt x="3995799" y="1692702"/>
                </a:lnTo>
                <a:lnTo>
                  <a:pt x="3995799" y="1692702"/>
                </a:lnTo>
                <a:lnTo>
                  <a:pt x="3999054" y="1686747"/>
                </a:lnTo>
                <a:lnTo>
                  <a:pt x="4003937" y="1682958"/>
                </a:lnTo>
                <a:lnTo>
                  <a:pt x="4005750" y="1683826"/>
                </a:lnTo>
                <a:lnTo>
                  <a:pt x="4003938" y="1682958"/>
                </a:lnTo>
                <a:lnTo>
                  <a:pt x="4004155" y="1682850"/>
                </a:lnTo>
                <a:lnTo>
                  <a:pt x="4008278" y="1682850"/>
                </a:lnTo>
                <a:lnTo>
                  <a:pt x="4014789" y="1685015"/>
                </a:lnTo>
                <a:lnTo>
                  <a:pt x="4017502" y="1684798"/>
                </a:lnTo>
                <a:lnTo>
                  <a:pt x="4021843" y="1686423"/>
                </a:lnTo>
                <a:lnTo>
                  <a:pt x="4017286" y="1683391"/>
                </a:lnTo>
                <a:lnTo>
                  <a:pt x="4016092" y="1683933"/>
                </a:lnTo>
                <a:lnTo>
                  <a:pt x="4012619" y="1680684"/>
                </a:lnTo>
                <a:lnTo>
                  <a:pt x="4008821" y="1680251"/>
                </a:lnTo>
                <a:lnTo>
                  <a:pt x="4007410" y="1678086"/>
                </a:lnTo>
                <a:lnTo>
                  <a:pt x="4011317" y="1676462"/>
                </a:lnTo>
                <a:lnTo>
                  <a:pt x="4015549" y="1678519"/>
                </a:lnTo>
                <a:lnTo>
                  <a:pt x="4019455" y="1682633"/>
                </a:lnTo>
                <a:lnTo>
                  <a:pt x="4023796" y="1682417"/>
                </a:lnTo>
                <a:lnTo>
                  <a:pt x="4023688" y="1680143"/>
                </a:lnTo>
                <a:lnTo>
                  <a:pt x="4020975" y="1679710"/>
                </a:lnTo>
                <a:lnTo>
                  <a:pt x="4018804" y="1677003"/>
                </a:lnTo>
                <a:lnTo>
                  <a:pt x="4020432" y="1675596"/>
                </a:lnTo>
                <a:lnTo>
                  <a:pt x="4022928" y="1673430"/>
                </a:lnTo>
                <a:lnTo>
                  <a:pt x="4028354" y="1673430"/>
                </a:lnTo>
                <a:lnTo>
                  <a:pt x="4023470" y="1672023"/>
                </a:lnTo>
                <a:lnTo>
                  <a:pt x="4018045" y="1667150"/>
                </a:lnTo>
                <a:lnTo>
                  <a:pt x="4017828" y="1663470"/>
                </a:lnTo>
                <a:lnTo>
                  <a:pt x="4021517" y="1660762"/>
                </a:lnTo>
                <a:lnTo>
                  <a:pt x="4023145" y="1657948"/>
                </a:lnTo>
                <a:lnTo>
                  <a:pt x="4025098" y="1653725"/>
                </a:lnTo>
                <a:lnTo>
                  <a:pt x="4026183" y="1648744"/>
                </a:lnTo>
                <a:lnTo>
                  <a:pt x="4024773" y="1643115"/>
                </a:lnTo>
                <a:lnTo>
                  <a:pt x="4029439" y="1639542"/>
                </a:lnTo>
                <a:lnTo>
                  <a:pt x="4029656" y="1633695"/>
                </a:lnTo>
                <a:lnTo>
                  <a:pt x="4034756" y="1631746"/>
                </a:lnTo>
                <a:lnTo>
                  <a:pt x="4036492" y="1633046"/>
                </a:lnTo>
                <a:lnTo>
                  <a:pt x="4045173" y="1628282"/>
                </a:lnTo>
                <a:lnTo>
                  <a:pt x="4050599" y="1622327"/>
                </a:lnTo>
                <a:lnTo>
                  <a:pt x="4056459" y="1622218"/>
                </a:lnTo>
                <a:lnTo>
                  <a:pt x="4058955" y="1620594"/>
                </a:lnTo>
                <a:lnTo>
                  <a:pt x="4062862" y="1622218"/>
                </a:lnTo>
                <a:lnTo>
                  <a:pt x="4067094" y="1618538"/>
                </a:lnTo>
                <a:lnTo>
                  <a:pt x="4074148" y="1617455"/>
                </a:lnTo>
                <a:lnTo>
                  <a:pt x="4080875" y="1620920"/>
                </a:lnTo>
                <a:lnTo>
                  <a:pt x="4084457" y="1624167"/>
                </a:lnTo>
                <a:lnTo>
                  <a:pt x="4089014" y="1625683"/>
                </a:lnTo>
                <a:lnTo>
                  <a:pt x="4088906" y="1626658"/>
                </a:lnTo>
                <a:lnTo>
                  <a:pt x="4088907" y="1626656"/>
                </a:lnTo>
                <a:lnTo>
                  <a:pt x="4089015" y="1625682"/>
                </a:lnTo>
                <a:lnTo>
                  <a:pt x="4089450" y="1625790"/>
                </a:lnTo>
                <a:lnTo>
                  <a:pt x="4088365" y="1621243"/>
                </a:lnTo>
                <a:lnTo>
                  <a:pt x="4083156" y="1620377"/>
                </a:lnTo>
                <a:lnTo>
                  <a:pt x="4080986" y="1616262"/>
                </a:lnTo>
                <a:lnTo>
                  <a:pt x="4081854" y="1611499"/>
                </a:lnTo>
                <a:lnTo>
                  <a:pt x="4092597" y="1608683"/>
                </a:lnTo>
                <a:lnTo>
                  <a:pt x="4095635" y="1607168"/>
                </a:lnTo>
                <a:lnTo>
                  <a:pt x="4100844" y="1610957"/>
                </a:lnTo>
                <a:lnTo>
                  <a:pt x="4100844" y="1616371"/>
                </a:lnTo>
                <a:lnTo>
                  <a:pt x="4104859" y="1621134"/>
                </a:lnTo>
                <a:lnTo>
                  <a:pt x="4107247" y="1618536"/>
                </a:lnTo>
                <a:lnTo>
                  <a:pt x="4105076" y="1614422"/>
                </a:lnTo>
                <a:lnTo>
                  <a:pt x="4105076" y="1610957"/>
                </a:lnTo>
                <a:lnTo>
                  <a:pt x="4107247" y="1610091"/>
                </a:lnTo>
                <a:lnTo>
                  <a:pt x="4110719" y="1613122"/>
                </a:lnTo>
                <a:lnTo>
                  <a:pt x="4110285" y="1618536"/>
                </a:lnTo>
                <a:lnTo>
                  <a:pt x="4115494" y="1624491"/>
                </a:lnTo>
                <a:lnTo>
                  <a:pt x="4113432" y="1620052"/>
                </a:lnTo>
                <a:lnTo>
                  <a:pt x="4113215" y="1613122"/>
                </a:lnTo>
                <a:lnTo>
                  <a:pt x="4112238" y="1609225"/>
                </a:lnTo>
                <a:lnTo>
                  <a:pt x="4115168" y="1604461"/>
                </a:lnTo>
                <a:lnTo>
                  <a:pt x="4118966" y="1603811"/>
                </a:lnTo>
                <a:lnTo>
                  <a:pt x="4122764" y="1605760"/>
                </a:lnTo>
                <a:lnTo>
                  <a:pt x="4127865" y="1603811"/>
                </a:lnTo>
                <a:lnTo>
                  <a:pt x="4135352" y="1612040"/>
                </a:lnTo>
                <a:lnTo>
                  <a:pt x="4145770" y="1614097"/>
                </a:lnTo>
                <a:lnTo>
                  <a:pt x="4135895" y="1609983"/>
                </a:lnTo>
                <a:lnTo>
                  <a:pt x="4128407" y="1602187"/>
                </a:lnTo>
                <a:lnTo>
                  <a:pt x="4122547" y="1601754"/>
                </a:lnTo>
                <a:lnTo>
                  <a:pt x="4119400" y="1599805"/>
                </a:lnTo>
                <a:lnTo>
                  <a:pt x="4119400" y="1596340"/>
                </a:lnTo>
                <a:lnTo>
                  <a:pt x="4123090" y="1593526"/>
                </a:lnTo>
                <a:lnTo>
                  <a:pt x="4118749" y="1590818"/>
                </a:lnTo>
                <a:lnTo>
                  <a:pt x="4118749" y="1585189"/>
                </a:lnTo>
                <a:lnTo>
                  <a:pt x="4114626" y="1587030"/>
                </a:lnTo>
                <a:lnTo>
                  <a:pt x="4114408" y="1582807"/>
                </a:lnTo>
                <a:lnTo>
                  <a:pt x="4118424" y="1582807"/>
                </a:lnTo>
                <a:lnTo>
                  <a:pt x="4122764" y="1581183"/>
                </a:lnTo>
                <a:lnTo>
                  <a:pt x="4117556" y="1576310"/>
                </a:lnTo>
                <a:lnTo>
                  <a:pt x="4117881" y="1572954"/>
                </a:lnTo>
                <a:lnTo>
                  <a:pt x="4115385" y="1572737"/>
                </a:lnTo>
                <a:lnTo>
                  <a:pt x="4112130" y="1570572"/>
                </a:lnTo>
                <a:lnTo>
                  <a:pt x="4112455" y="1566566"/>
                </a:lnTo>
                <a:lnTo>
                  <a:pt x="4112238" y="1565592"/>
                </a:lnTo>
                <a:lnTo>
                  <a:pt x="4112237" y="1565592"/>
                </a:lnTo>
                <a:lnTo>
                  <a:pt x="4111152" y="1561911"/>
                </a:lnTo>
                <a:lnTo>
                  <a:pt x="4113214" y="1560611"/>
                </a:lnTo>
                <a:lnTo>
                  <a:pt x="4112129" y="1553466"/>
                </a:lnTo>
                <a:lnTo>
                  <a:pt x="4106703" y="1548593"/>
                </a:lnTo>
                <a:lnTo>
                  <a:pt x="4102688" y="1550759"/>
                </a:lnTo>
                <a:lnTo>
                  <a:pt x="4099975" y="1548593"/>
                </a:lnTo>
                <a:lnTo>
                  <a:pt x="4102688" y="1541664"/>
                </a:lnTo>
                <a:lnTo>
                  <a:pt x="4109199" y="1538632"/>
                </a:lnTo>
                <a:lnTo>
                  <a:pt x="4106486" y="1535926"/>
                </a:lnTo>
                <a:lnTo>
                  <a:pt x="4106486" y="1530512"/>
                </a:lnTo>
                <a:lnTo>
                  <a:pt x="4103230" y="1528671"/>
                </a:lnTo>
                <a:lnTo>
                  <a:pt x="4102362" y="1522716"/>
                </a:lnTo>
                <a:lnTo>
                  <a:pt x="4104315" y="1522175"/>
                </a:lnTo>
                <a:lnTo>
                  <a:pt x="4107354" y="1524557"/>
                </a:lnTo>
                <a:lnTo>
                  <a:pt x="4107354" y="1520010"/>
                </a:lnTo>
                <a:lnTo>
                  <a:pt x="4102362" y="1516220"/>
                </a:lnTo>
                <a:lnTo>
                  <a:pt x="4105618" y="1512864"/>
                </a:lnTo>
                <a:lnTo>
                  <a:pt x="4108331" y="1514271"/>
                </a:lnTo>
                <a:lnTo>
                  <a:pt x="4112237" y="1514271"/>
                </a:lnTo>
                <a:lnTo>
                  <a:pt x="4114950" y="1517303"/>
                </a:lnTo>
                <a:lnTo>
                  <a:pt x="4119508" y="1514055"/>
                </a:lnTo>
                <a:lnTo>
                  <a:pt x="4117337" y="1511024"/>
                </a:lnTo>
                <a:lnTo>
                  <a:pt x="4121135" y="1505826"/>
                </a:lnTo>
                <a:lnTo>
                  <a:pt x="4122438" y="1505826"/>
                </a:lnTo>
                <a:lnTo>
                  <a:pt x="4124933" y="1510265"/>
                </a:lnTo>
                <a:lnTo>
                  <a:pt x="4122438" y="1512973"/>
                </a:lnTo>
                <a:lnTo>
                  <a:pt x="4123089" y="1515138"/>
                </a:lnTo>
                <a:lnTo>
                  <a:pt x="4127104" y="1514271"/>
                </a:lnTo>
                <a:lnTo>
                  <a:pt x="4130684" y="1515787"/>
                </a:lnTo>
                <a:lnTo>
                  <a:pt x="4131119" y="1514271"/>
                </a:lnTo>
                <a:lnTo>
                  <a:pt x="4127321" y="1509616"/>
                </a:lnTo>
                <a:lnTo>
                  <a:pt x="4128406" y="1507775"/>
                </a:lnTo>
                <a:lnTo>
                  <a:pt x="4124391" y="1502362"/>
                </a:lnTo>
                <a:lnTo>
                  <a:pt x="4126236" y="1500738"/>
                </a:lnTo>
                <a:lnTo>
                  <a:pt x="4130034" y="1501279"/>
                </a:lnTo>
                <a:lnTo>
                  <a:pt x="4133397" y="1499655"/>
                </a:lnTo>
                <a:lnTo>
                  <a:pt x="4140560" y="1499114"/>
                </a:lnTo>
                <a:lnTo>
                  <a:pt x="4145009" y="1502145"/>
                </a:lnTo>
                <a:lnTo>
                  <a:pt x="4145009" y="1507018"/>
                </a:lnTo>
                <a:lnTo>
                  <a:pt x="4143056" y="1509616"/>
                </a:lnTo>
                <a:lnTo>
                  <a:pt x="4145335" y="1510157"/>
                </a:lnTo>
                <a:lnTo>
                  <a:pt x="4147939" y="1513947"/>
                </a:lnTo>
                <a:lnTo>
                  <a:pt x="4150652" y="1516762"/>
                </a:lnTo>
                <a:lnTo>
                  <a:pt x="4156186" y="1516979"/>
                </a:lnTo>
                <a:lnTo>
                  <a:pt x="4158573" y="1515138"/>
                </a:lnTo>
                <a:lnTo>
                  <a:pt x="4162805" y="1519685"/>
                </a:lnTo>
                <a:lnTo>
                  <a:pt x="4161287" y="1523691"/>
                </a:lnTo>
                <a:lnTo>
                  <a:pt x="4159659" y="1525965"/>
                </a:lnTo>
                <a:lnTo>
                  <a:pt x="4157814" y="1525315"/>
                </a:lnTo>
                <a:lnTo>
                  <a:pt x="4156186" y="1526506"/>
                </a:lnTo>
                <a:lnTo>
                  <a:pt x="4153364" y="1523258"/>
                </a:lnTo>
                <a:lnTo>
                  <a:pt x="4149133" y="1523908"/>
                </a:lnTo>
                <a:lnTo>
                  <a:pt x="4146311" y="1526722"/>
                </a:lnTo>
                <a:lnTo>
                  <a:pt x="4148481" y="1531054"/>
                </a:lnTo>
                <a:lnTo>
                  <a:pt x="4148698" y="1537550"/>
                </a:lnTo>
                <a:lnTo>
                  <a:pt x="4143707" y="1539391"/>
                </a:lnTo>
                <a:lnTo>
                  <a:pt x="4141754" y="1538091"/>
                </a:lnTo>
                <a:lnTo>
                  <a:pt x="4138281" y="1541881"/>
                </a:lnTo>
                <a:lnTo>
                  <a:pt x="4140343" y="1543505"/>
                </a:lnTo>
                <a:lnTo>
                  <a:pt x="4131119" y="1548160"/>
                </a:lnTo>
                <a:lnTo>
                  <a:pt x="4130902" y="1551409"/>
                </a:lnTo>
                <a:lnTo>
                  <a:pt x="4133289" y="1552491"/>
                </a:lnTo>
                <a:lnTo>
                  <a:pt x="4132855" y="1556172"/>
                </a:lnTo>
                <a:lnTo>
                  <a:pt x="4130142" y="1558446"/>
                </a:lnTo>
                <a:lnTo>
                  <a:pt x="4130034" y="1561694"/>
                </a:lnTo>
                <a:lnTo>
                  <a:pt x="4131770" y="1561694"/>
                </a:lnTo>
                <a:lnTo>
                  <a:pt x="4135134" y="1564942"/>
                </a:lnTo>
                <a:lnTo>
                  <a:pt x="4133832" y="1567866"/>
                </a:lnTo>
                <a:lnTo>
                  <a:pt x="4134049" y="1568190"/>
                </a:lnTo>
                <a:lnTo>
                  <a:pt x="4134050" y="1568190"/>
                </a:lnTo>
                <a:lnTo>
                  <a:pt x="4138716" y="1573062"/>
                </a:lnTo>
                <a:lnTo>
                  <a:pt x="4143382" y="1573604"/>
                </a:lnTo>
                <a:lnTo>
                  <a:pt x="4140887" y="1579017"/>
                </a:lnTo>
                <a:lnTo>
                  <a:pt x="4138499" y="1581399"/>
                </a:lnTo>
                <a:lnTo>
                  <a:pt x="4139801" y="1584106"/>
                </a:lnTo>
                <a:lnTo>
                  <a:pt x="4143599" y="1585189"/>
                </a:lnTo>
                <a:lnTo>
                  <a:pt x="4145010" y="1589195"/>
                </a:lnTo>
                <a:lnTo>
                  <a:pt x="4148700" y="1586488"/>
                </a:lnTo>
                <a:lnTo>
                  <a:pt x="4150002" y="1583998"/>
                </a:lnTo>
                <a:lnTo>
                  <a:pt x="4152173" y="1582590"/>
                </a:lnTo>
                <a:lnTo>
                  <a:pt x="4154017" y="1585081"/>
                </a:lnTo>
                <a:lnTo>
                  <a:pt x="4160094" y="1589411"/>
                </a:lnTo>
                <a:lnTo>
                  <a:pt x="4161288" y="1587787"/>
                </a:lnTo>
                <a:lnTo>
                  <a:pt x="4165086" y="1584755"/>
                </a:lnTo>
                <a:lnTo>
                  <a:pt x="4167039" y="1585838"/>
                </a:lnTo>
                <a:lnTo>
                  <a:pt x="4167148" y="1589844"/>
                </a:lnTo>
                <a:lnTo>
                  <a:pt x="4163892" y="1593634"/>
                </a:lnTo>
                <a:lnTo>
                  <a:pt x="4161071" y="1593201"/>
                </a:lnTo>
                <a:lnTo>
                  <a:pt x="4156839" y="1596124"/>
                </a:lnTo>
                <a:lnTo>
                  <a:pt x="4162915" y="1597965"/>
                </a:lnTo>
                <a:lnTo>
                  <a:pt x="4164977" y="1596882"/>
                </a:lnTo>
                <a:lnTo>
                  <a:pt x="4169318" y="1597315"/>
                </a:lnTo>
                <a:lnTo>
                  <a:pt x="4170837" y="1600022"/>
                </a:lnTo>
                <a:lnTo>
                  <a:pt x="4175829" y="1599481"/>
                </a:lnTo>
                <a:lnTo>
                  <a:pt x="4176697" y="1596124"/>
                </a:lnTo>
                <a:lnTo>
                  <a:pt x="4179953" y="1591577"/>
                </a:lnTo>
                <a:lnTo>
                  <a:pt x="4188742" y="1590169"/>
                </a:lnTo>
                <a:lnTo>
                  <a:pt x="4188960" y="1588004"/>
                </a:lnTo>
                <a:lnTo>
                  <a:pt x="4193734" y="1585622"/>
                </a:lnTo>
                <a:lnTo>
                  <a:pt x="4194277" y="1583132"/>
                </a:lnTo>
                <a:lnTo>
                  <a:pt x="4196447" y="1582049"/>
                </a:lnTo>
                <a:lnTo>
                  <a:pt x="4202632" y="1582698"/>
                </a:lnTo>
                <a:lnTo>
                  <a:pt x="4197641" y="1584647"/>
                </a:lnTo>
                <a:lnTo>
                  <a:pt x="4195904" y="1586596"/>
                </a:lnTo>
                <a:lnTo>
                  <a:pt x="4195036" y="1585946"/>
                </a:lnTo>
                <a:lnTo>
                  <a:pt x="4192541" y="1588437"/>
                </a:lnTo>
                <a:lnTo>
                  <a:pt x="4194385" y="1590277"/>
                </a:lnTo>
                <a:lnTo>
                  <a:pt x="4199269" y="1586812"/>
                </a:lnTo>
                <a:lnTo>
                  <a:pt x="4204477" y="1586271"/>
                </a:lnTo>
                <a:lnTo>
                  <a:pt x="4206648" y="1585189"/>
                </a:lnTo>
                <a:lnTo>
                  <a:pt x="4208275" y="1587679"/>
                </a:lnTo>
                <a:lnTo>
                  <a:pt x="4212508" y="1588437"/>
                </a:lnTo>
                <a:lnTo>
                  <a:pt x="4218476" y="1594392"/>
                </a:lnTo>
                <a:lnTo>
                  <a:pt x="4223359" y="1593526"/>
                </a:lnTo>
                <a:lnTo>
                  <a:pt x="4226072" y="1597640"/>
                </a:lnTo>
                <a:lnTo>
                  <a:pt x="4225095" y="1602187"/>
                </a:lnTo>
                <a:lnTo>
                  <a:pt x="4229436" y="1605544"/>
                </a:lnTo>
                <a:lnTo>
                  <a:pt x="4233451" y="1605003"/>
                </a:lnTo>
                <a:lnTo>
                  <a:pt x="4236381" y="1607601"/>
                </a:lnTo>
                <a:lnTo>
                  <a:pt x="4240722" y="1607384"/>
                </a:lnTo>
                <a:lnTo>
                  <a:pt x="4240722" y="1607385"/>
                </a:lnTo>
                <a:lnTo>
                  <a:pt x="4243000" y="1607168"/>
                </a:lnTo>
                <a:lnTo>
                  <a:pt x="4242674" y="1604894"/>
                </a:lnTo>
                <a:lnTo>
                  <a:pt x="4244302" y="1603920"/>
                </a:lnTo>
                <a:lnTo>
                  <a:pt x="4246147" y="1598182"/>
                </a:lnTo>
                <a:lnTo>
                  <a:pt x="4248860" y="1592443"/>
                </a:lnTo>
                <a:lnTo>
                  <a:pt x="4256456" y="1591902"/>
                </a:lnTo>
                <a:lnTo>
                  <a:pt x="4267633" y="1585731"/>
                </a:lnTo>
                <a:lnTo>
                  <a:pt x="4275012" y="1585514"/>
                </a:lnTo>
                <a:lnTo>
                  <a:pt x="4275012" y="1581725"/>
                </a:lnTo>
                <a:lnTo>
                  <a:pt x="4279353" y="1576853"/>
                </a:lnTo>
                <a:lnTo>
                  <a:pt x="4286298" y="1576745"/>
                </a:lnTo>
                <a:lnTo>
                  <a:pt x="4290639" y="1570790"/>
                </a:lnTo>
                <a:lnTo>
                  <a:pt x="4297692" y="1568083"/>
                </a:lnTo>
                <a:lnTo>
                  <a:pt x="4304529" y="1568624"/>
                </a:lnTo>
                <a:lnTo>
                  <a:pt x="4313970" y="1563752"/>
                </a:lnTo>
                <a:lnTo>
                  <a:pt x="4326015" y="1566784"/>
                </a:lnTo>
                <a:lnTo>
                  <a:pt x="4332743" y="1570031"/>
                </a:lnTo>
                <a:lnTo>
                  <a:pt x="4332526" y="1571656"/>
                </a:lnTo>
                <a:lnTo>
                  <a:pt x="4330030" y="1570031"/>
                </a:lnTo>
                <a:lnTo>
                  <a:pt x="4324604" y="1569274"/>
                </a:lnTo>
                <a:lnTo>
                  <a:pt x="4322977" y="1573280"/>
                </a:lnTo>
                <a:lnTo>
                  <a:pt x="4325147" y="1578910"/>
                </a:lnTo>
                <a:lnTo>
                  <a:pt x="4335456" y="1581725"/>
                </a:lnTo>
                <a:lnTo>
                  <a:pt x="4344354" y="1577611"/>
                </a:lnTo>
                <a:lnTo>
                  <a:pt x="4349346" y="1572522"/>
                </a:lnTo>
                <a:lnTo>
                  <a:pt x="4351517" y="1572413"/>
                </a:lnTo>
                <a:lnTo>
                  <a:pt x="4345223" y="1578910"/>
                </a:lnTo>
                <a:lnTo>
                  <a:pt x="4338386" y="1582699"/>
                </a:lnTo>
                <a:lnTo>
                  <a:pt x="4340123" y="1584323"/>
                </a:lnTo>
                <a:lnTo>
                  <a:pt x="4347067" y="1582699"/>
                </a:lnTo>
                <a:lnTo>
                  <a:pt x="4355206" y="1575445"/>
                </a:lnTo>
                <a:lnTo>
                  <a:pt x="4357919" y="1574362"/>
                </a:lnTo>
                <a:lnTo>
                  <a:pt x="4388304" y="1576095"/>
                </a:lnTo>
                <a:lnTo>
                  <a:pt x="4415107" y="1573496"/>
                </a:lnTo>
                <a:lnTo>
                  <a:pt x="4414348" y="1565051"/>
                </a:lnTo>
                <a:lnTo>
                  <a:pt x="4417061" y="1561370"/>
                </a:lnTo>
                <a:lnTo>
                  <a:pt x="4414673" y="1558772"/>
                </a:lnTo>
                <a:lnTo>
                  <a:pt x="4411743" y="1558013"/>
                </a:lnTo>
                <a:lnTo>
                  <a:pt x="4410875" y="1553358"/>
                </a:lnTo>
                <a:lnTo>
                  <a:pt x="4407620" y="1551625"/>
                </a:lnTo>
                <a:lnTo>
                  <a:pt x="4398829" y="1553791"/>
                </a:lnTo>
                <a:lnTo>
                  <a:pt x="4392645" y="1550651"/>
                </a:lnTo>
                <a:lnTo>
                  <a:pt x="4386025" y="1541664"/>
                </a:lnTo>
                <a:lnTo>
                  <a:pt x="4377886" y="1543505"/>
                </a:lnTo>
                <a:lnTo>
                  <a:pt x="4376693" y="1542856"/>
                </a:lnTo>
                <a:lnTo>
                  <a:pt x="4378646" y="1539391"/>
                </a:lnTo>
                <a:lnTo>
                  <a:pt x="4377018" y="1533436"/>
                </a:lnTo>
                <a:lnTo>
                  <a:pt x="4376584" y="1526290"/>
                </a:lnTo>
                <a:lnTo>
                  <a:pt x="4376585" y="1526290"/>
                </a:lnTo>
                <a:lnTo>
                  <a:pt x="4376477" y="1525424"/>
                </a:lnTo>
                <a:lnTo>
                  <a:pt x="4373764" y="1522718"/>
                </a:lnTo>
                <a:lnTo>
                  <a:pt x="4371051" y="1511349"/>
                </a:lnTo>
                <a:lnTo>
                  <a:pt x="4374523" y="1508101"/>
                </a:lnTo>
                <a:lnTo>
                  <a:pt x="4374198" y="1503662"/>
                </a:lnTo>
                <a:lnTo>
                  <a:pt x="4374741" y="1498898"/>
                </a:lnTo>
                <a:lnTo>
                  <a:pt x="4381034" y="1491535"/>
                </a:lnTo>
                <a:lnTo>
                  <a:pt x="4380817" y="1483307"/>
                </a:lnTo>
                <a:lnTo>
                  <a:pt x="4382879" y="1483957"/>
                </a:lnTo>
                <a:lnTo>
                  <a:pt x="4382337" y="1479084"/>
                </a:lnTo>
                <a:lnTo>
                  <a:pt x="4385918" y="1473671"/>
                </a:lnTo>
                <a:lnTo>
                  <a:pt x="4390801" y="1473346"/>
                </a:lnTo>
                <a:lnTo>
                  <a:pt x="4393188" y="1471180"/>
                </a:lnTo>
                <a:lnTo>
                  <a:pt x="4399808" y="1469557"/>
                </a:lnTo>
                <a:lnTo>
                  <a:pt x="4404040" y="1465333"/>
                </a:lnTo>
                <a:lnTo>
                  <a:pt x="4405993" y="1465225"/>
                </a:lnTo>
                <a:lnTo>
                  <a:pt x="4406318" y="1472263"/>
                </a:lnTo>
                <a:lnTo>
                  <a:pt x="4417496" y="1484173"/>
                </a:lnTo>
                <a:lnTo>
                  <a:pt x="4418256" y="1488287"/>
                </a:lnTo>
                <a:lnTo>
                  <a:pt x="4423899" y="1493701"/>
                </a:lnTo>
                <a:lnTo>
                  <a:pt x="4429541" y="1493701"/>
                </a:lnTo>
                <a:lnTo>
                  <a:pt x="4437138" y="1485581"/>
                </a:lnTo>
                <a:lnTo>
                  <a:pt x="4439851" y="1477243"/>
                </a:lnTo>
                <a:lnTo>
                  <a:pt x="4437680" y="1466849"/>
                </a:lnTo>
                <a:lnTo>
                  <a:pt x="4437680" y="1460894"/>
                </a:lnTo>
                <a:lnTo>
                  <a:pt x="4440176" y="1459920"/>
                </a:lnTo>
                <a:lnTo>
                  <a:pt x="4447555" y="1455590"/>
                </a:lnTo>
                <a:lnTo>
                  <a:pt x="4453306" y="1454182"/>
                </a:lnTo>
                <a:lnTo>
                  <a:pt x="4453305" y="1454181"/>
                </a:lnTo>
                <a:lnTo>
                  <a:pt x="4447554" y="1455589"/>
                </a:lnTo>
                <a:lnTo>
                  <a:pt x="4440174" y="1459920"/>
                </a:lnTo>
                <a:lnTo>
                  <a:pt x="4437679" y="1460894"/>
                </a:lnTo>
                <a:lnTo>
                  <a:pt x="4437679" y="1458187"/>
                </a:lnTo>
                <a:lnTo>
                  <a:pt x="4440174" y="1445736"/>
                </a:lnTo>
                <a:lnTo>
                  <a:pt x="4438329" y="1442271"/>
                </a:lnTo>
                <a:lnTo>
                  <a:pt x="4433663" y="1446061"/>
                </a:lnTo>
                <a:lnTo>
                  <a:pt x="4433338" y="1450067"/>
                </a:lnTo>
                <a:lnTo>
                  <a:pt x="4430950" y="1450608"/>
                </a:lnTo>
                <a:lnTo>
                  <a:pt x="4424222" y="1444437"/>
                </a:lnTo>
                <a:lnTo>
                  <a:pt x="4420316" y="1438265"/>
                </a:lnTo>
                <a:lnTo>
                  <a:pt x="4419882" y="1432202"/>
                </a:lnTo>
                <a:lnTo>
                  <a:pt x="4423354" y="1431769"/>
                </a:lnTo>
                <a:lnTo>
                  <a:pt x="4425525" y="1428413"/>
                </a:lnTo>
                <a:lnTo>
                  <a:pt x="4421184" y="1427980"/>
                </a:lnTo>
                <a:lnTo>
                  <a:pt x="4419556" y="1429279"/>
                </a:lnTo>
                <a:lnTo>
                  <a:pt x="4416518" y="1428738"/>
                </a:lnTo>
                <a:lnTo>
                  <a:pt x="4416301" y="1413580"/>
                </a:lnTo>
                <a:lnTo>
                  <a:pt x="4419014" y="1409033"/>
                </a:lnTo>
                <a:lnTo>
                  <a:pt x="4426610" y="1405784"/>
                </a:lnTo>
                <a:lnTo>
                  <a:pt x="4429649" y="1406543"/>
                </a:lnTo>
                <a:lnTo>
                  <a:pt x="4430408" y="1402537"/>
                </a:lnTo>
                <a:lnTo>
                  <a:pt x="4435075" y="1401129"/>
                </a:lnTo>
                <a:lnTo>
                  <a:pt x="4439415" y="1401670"/>
                </a:lnTo>
                <a:lnTo>
                  <a:pt x="4440717" y="1397015"/>
                </a:lnTo>
                <a:lnTo>
                  <a:pt x="4442345" y="1399180"/>
                </a:lnTo>
                <a:lnTo>
                  <a:pt x="4450809" y="1399505"/>
                </a:lnTo>
                <a:lnTo>
                  <a:pt x="4452980" y="1400913"/>
                </a:lnTo>
                <a:lnTo>
                  <a:pt x="4457320" y="1398098"/>
                </a:lnTo>
                <a:lnTo>
                  <a:pt x="4454607" y="1395715"/>
                </a:lnTo>
                <a:lnTo>
                  <a:pt x="4454607" y="1393766"/>
                </a:lnTo>
                <a:lnTo>
                  <a:pt x="4457754" y="1394308"/>
                </a:lnTo>
                <a:lnTo>
                  <a:pt x="4458080" y="1391060"/>
                </a:lnTo>
                <a:lnTo>
                  <a:pt x="4462963" y="1395391"/>
                </a:lnTo>
                <a:lnTo>
                  <a:pt x="4466979" y="1394308"/>
                </a:lnTo>
                <a:lnTo>
                  <a:pt x="4471645" y="1396690"/>
                </a:lnTo>
                <a:lnTo>
                  <a:pt x="4480543" y="1396474"/>
                </a:lnTo>
                <a:lnTo>
                  <a:pt x="4489007" y="1401887"/>
                </a:lnTo>
                <a:lnTo>
                  <a:pt x="4508156" y="1402427"/>
                </a:lnTo>
                <a:lnTo>
                  <a:pt x="4506370" y="1399398"/>
                </a:lnTo>
                <a:lnTo>
                  <a:pt x="4507890" y="1394200"/>
                </a:lnTo>
                <a:lnTo>
                  <a:pt x="4505719" y="1390627"/>
                </a:lnTo>
                <a:lnTo>
                  <a:pt x="4505719" y="1387921"/>
                </a:lnTo>
                <a:lnTo>
                  <a:pt x="4507890" y="1387163"/>
                </a:lnTo>
                <a:lnTo>
                  <a:pt x="4509843" y="1391169"/>
                </a:lnTo>
                <a:lnTo>
                  <a:pt x="4514183" y="1389761"/>
                </a:lnTo>
                <a:lnTo>
                  <a:pt x="4514183" y="1385106"/>
                </a:lnTo>
                <a:lnTo>
                  <a:pt x="4516896" y="1382941"/>
                </a:lnTo>
                <a:lnTo>
                  <a:pt x="4521562" y="1385864"/>
                </a:lnTo>
                <a:lnTo>
                  <a:pt x="4527314" y="1381533"/>
                </a:lnTo>
                <a:lnTo>
                  <a:pt x="4528616" y="1377419"/>
                </a:lnTo>
                <a:lnTo>
                  <a:pt x="4531546" y="1376336"/>
                </a:lnTo>
                <a:lnTo>
                  <a:pt x="4538599" y="1378718"/>
                </a:lnTo>
                <a:lnTo>
                  <a:pt x="4541530" y="1375145"/>
                </a:lnTo>
                <a:lnTo>
                  <a:pt x="4537406" y="1369190"/>
                </a:lnTo>
                <a:lnTo>
                  <a:pt x="4533608" y="1369190"/>
                </a:lnTo>
                <a:lnTo>
                  <a:pt x="4531438" y="1370056"/>
                </a:lnTo>
                <a:lnTo>
                  <a:pt x="4526012" y="1370056"/>
                </a:lnTo>
                <a:lnTo>
                  <a:pt x="4522973" y="1365509"/>
                </a:lnTo>
                <a:lnTo>
                  <a:pt x="4517331" y="1365509"/>
                </a:lnTo>
                <a:lnTo>
                  <a:pt x="4511687" y="1359337"/>
                </a:lnTo>
                <a:lnTo>
                  <a:pt x="4512556" y="1356306"/>
                </a:lnTo>
                <a:lnTo>
                  <a:pt x="4517764" y="1360637"/>
                </a:lnTo>
                <a:lnTo>
                  <a:pt x="4517764" y="1353924"/>
                </a:lnTo>
                <a:lnTo>
                  <a:pt x="4516137" y="1350892"/>
                </a:lnTo>
                <a:lnTo>
                  <a:pt x="4519609" y="1347969"/>
                </a:lnTo>
                <a:lnTo>
                  <a:pt x="4514400" y="1348835"/>
                </a:lnTo>
                <a:cubicBezTo>
                  <a:pt x="4514400" y="1348835"/>
                  <a:pt x="4508758" y="1352408"/>
                  <a:pt x="4507672" y="1352408"/>
                </a:cubicBezTo>
                <a:cubicBezTo>
                  <a:pt x="4507201" y="1352738"/>
                  <a:pt x="4506827" y="1353187"/>
                  <a:pt x="4506587" y="1353707"/>
                </a:cubicBezTo>
                <a:lnTo>
                  <a:pt x="4506408" y="1352346"/>
                </a:lnTo>
                <a:lnTo>
                  <a:pt x="4507022" y="1357170"/>
                </a:lnTo>
                <a:cubicBezTo>
                  <a:pt x="4506326" y="1358467"/>
                  <a:pt x="4505710" y="1359805"/>
                  <a:pt x="4505177" y="1361177"/>
                </a:cubicBezTo>
                <a:lnTo>
                  <a:pt x="4500510" y="1359877"/>
                </a:lnTo>
                <a:lnTo>
                  <a:pt x="4499751" y="1356954"/>
                </a:lnTo>
                <a:lnTo>
                  <a:pt x="4496496" y="1355872"/>
                </a:lnTo>
                <a:lnTo>
                  <a:pt x="4494326" y="1357170"/>
                </a:lnTo>
                <a:lnTo>
                  <a:pt x="4496279" y="1359119"/>
                </a:lnTo>
                <a:lnTo>
                  <a:pt x="4496279" y="1361609"/>
                </a:lnTo>
                <a:lnTo>
                  <a:pt x="4488900" y="1362692"/>
                </a:lnTo>
                <a:lnTo>
                  <a:pt x="4485427" y="1359661"/>
                </a:lnTo>
                <a:lnTo>
                  <a:pt x="4479242" y="1360960"/>
                </a:lnTo>
                <a:lnTo>
                  <a:pt x="4476203" y="1363883"/>
                </a:lnTo>
                <a:lnTo>
                  <a:pt x="4475118" y="1361393"/>
                </a:lnTo>
                <a:lnTo>
                  <a:pt x="4472405" y="1360635"/>
                </a:lnTo>
                <a:lnTo>
                  <a:pt x="4472405" y="1363883"/>
                </a:lnTo>
                <a:lnTo>
                  <a:pt x="4469366" y="1364966"/>
                </a:lnTo>
                <a:lnTo>
                  <a:pt x="4466979" y="1359769"/>
                </a:lnTo>
                <a:lnTo>
                  <a:pt x="4465894" y="1363234"/>
                </a:lnTo>
                <a:lnTo>
                  <a:pt x="4463181" y="1363234"/>
                </a:lnTo>
                <a:lnTo>
                  <a:pt x="4460794" y="1358578"/>
                </a:lnTo>
                <a:lnTo>
                  <a:pt x="4458840" y="1360527"/>
                </a:lnTo>
                <a:lnTo>
                  <a:pt x="4460794" y="1365399"/>
                </a:lnTo>
                <a:lnTo>
                  <a:pt x="4458624" y="1364858"/>
                </a:lnTo>
                <a:lnTo>
                  <a:pt x="4456127" y="1370596"/>
                </a:lnTo>
                <a:lnTo>
                  <a:pt x="4453631" y="1369513"/>
                </a:lnTo>
                <a:lnTo>
                  <a:pt x="4455585" y="1365508"/>
                </a:lnTo>
                <a:lnTo>
                  <a:pt x="4454717" y="1363558"/>
                </a:lnTo>
                <a:lnTo>
                  <a:pt x="4450919" y="1369297"/>
                </a:lnTo>
                <a:lnTo>
                  <a:pt x="4446795" y="1370055"/>
                </a:lnTo>
                <a:lnTo>
                  <a:pt x="4440610" y="1368214"/>
                </a:lnTo>
                <a:lnTo>
                  <a:pt x="4440067" y="1370705"/>
                </a:lnTo>
                <a:lnTo>
                  <a:pt x="4430626" y="1376876"/>
                </a:lnTo>
                <a:lnTo>
                  <a:pt x="4426285" y="1376876"/>
                </a:lnTo>
                <a:lnTo>
                  <a:pt x="4418472" y="1382506"/>
                </a:lnTo>
                <a:lnTo>
                  <a:pt x="4415000" y="1382506"/>
                </a:lnTo>
                <a:lnTo>
                  <a:pt x="4410876" y="1384347"/>
                </a:lnTo>
                <a:lnTo>
                  <a:pt x="4410333" y="1381315"/>
                </a:lnTo>
                <a:lnTo>
                  <a:pt x="4407403" y="1382723"/>
                </a:lnTo>
                <a:lnTo>
                  <a:pt x="4404908" y="1389760"/>
                </a:lnTo>
                <a:lnTo>
                  <a:pt x="4403280" y="1388894"/>
                </a:lnTo>
                <a:lnTo>
                  <a:pt x="4404908" y="1384022"/>
                </a:lnTo>
                <a:lnTo>
                  <a:pt x="4403605" y="1381098"/>
                </a:lnTo>
                <a:lnTo>
                  <a:pt x="4397637" y="1372653"/>
                </a:lnTo>
                <a:lnTo>
                  <a:pt x="4400567" y="1368647"/>
                </a:lnTo>
                <a:lnTo>
                  <a:pt x="4400567" y="1365399"/>
                </a:lnTo>
                <a:lnTo>
                  <a:pt x="4394816" y="1369405"/>
                </a:lnTo>
                <a:lnTo>
                  <a:pt x="4392319" y="1369405"/>
                </a:lnTo>
                <a:lnTo>
                  <a:pt x="4394164" y="1365940"/>
                </a:lnTo>
                <a:lnTo>
                  <a:pt x="4392211" y="1365074"/>
                </a:lnTo>
                <a:lnTo>
                  <a:pt x="4385375" y="1365833"/>
                </a:lnTo>
                <a:lnTo>
                  <a:pt x="4382119" y="1362909"/>
                </a:lnTo>
                <a:lnTo>
                  <a:pt x="4378864" y="1363451"/>
                </a:lnTo>
                <a:lnTo>
                  <a:pt x="4373438" y="1357712"/>
                </a:lnTo>
                <a:lnTo>
                  <a:pt x="4372353" y="1360635"/>
                </a:lnTo>
                <a:lnTo>
                  <a:pt x="4369965" y="1358795"/>
                </a:lnTo>
                <a:lnTo>
                  <a:pt x="4363672" y="1361718"/>
                </a:lnTo>
                <a:lnTo>
                  <a:pt x="4361827" y="1359228"/>
                </a:lnTo>
                <a:lnTo>
                  <a:pt x="4361827" y="1355655"/>
                </a:lnTo>
                <a:lnTo>
                  <a:pt x="4364322" y="1350458"/>
                </a:lnTo>
                <a:lnTo>
                  <a:pt x="4361610" y="1346993"/>
                </a:lnTo>
                <a:lnTo>
                  <a:pt x="4361610" y="1337249"/>
                </a:lnTo>
                <a:lnTo>
                  <a:pt x="4363237" y="1334326"/>
                </a:lnTo>
                <a:lnTo>
                  <a:pt x="4362477" y="1326964"/>
                </a:lnTo>
                <a:lnTo>
                  <a:pt x="4365950" y="1325556"/>
                </a:lnTo>
                <a:lnTo>
                  <a:pt x="4362369" y="1319926"/>
                </a:lnTo>
                <a:lnTo>
                  <a:pt x="4363997" y="1317003"/>
                </a:lnTo>
                <a:lnTo>
                  <a:pt x="4361610" y="1315054"/>
                </a:lnTo>
                <a:lnTo>
                  <a:pt x="4356943" y="1307366"/>
                </a:lnTo>
                <a:lnTo>
                  <a:pt x="4357920" y="1305309"/>
                </a:lnTo>
                <a:lnTo>
                  <a:pt x="4356293" y="1300762"/>
                </a:lnTo>
                <a:lnTo>
                  <a:pt x="4357594" y="1298271"/>
                </a:lnTo>
                <a:lnTo>
                  <a:pt x="4358462" y="1293183"/>
                </a:lnTo>
                <a:lnTo>
                  <a:pt x="4355967" y="1290476"/>
                </a:lnTo>
                <a:lnTo>
                  <a:pt x="4352928" y="1291884"/>
                </a:lnTo>
                <a:lnTo>
                  <a:pt x="4352060" y="1288743"/>
                </a:lnTo>
                <a:lnTo>
                  <a:pt x="4353471" y="1284088"/>
                </a:lnTo>
                <a:lnTo>
                  <a:pt x="4352168" y="1283114"/>
                </a:lnTo>
                <a:lnTo>
                  <a:pt x="4350324" y="1278349"/>
                </a:lnTo>
                <a:lnTo>
                  <a:pt x="4352711" y="1274344"/>
                </a:lnTo>
                <a:lnTo>
                  <a:pt x="4354990" y="1273802"/>
                </a:lnTo>
                <a:lnTo>
                  <a:pt x="4356835" y="1269363"/>
                </a:lnTo>
                <a:lnTo>
                  <a:pt x="4354990" y="1264816"/>
                </a:lnTo>
                <a:lnTo>
                  <a:pt x="4357703" y="1262543"/>
                </a:lnTo>
                <a:lnTo>
                  <a:pt x="4356509" y="1258212"/>
                </a:lnTo>
                <a:lnTo>
                  <a:pt x="4359765" y="1257021"/>
                </a:lnTo>
                <a:lnTo>
                  <a:pt x="4362912" y="1257995"/>
                </a:lnTo>
                <a:lnTo>
                  <a:pt x="4363454" y="1259727"/>
                </a:lnTo>
                <a:lnTo>
                  <a:pt x="4365733" y="1261351"/>
                </a:lnTo>
                <a:lnTo>
                  <a:pt x="4369965" y="1258645"/>
                </a:lnTo>
                <a:lnTo>
                  <a:pt x="4371268" y="1255938"/>
                </a:lnTo>
                <a:lnTo>
                  <a:pt x="4374198" y="1252906"/>
                </a:lnTo>
                <a:lnTo>
                  <a:pt x="4374198" y="1250633"/>
                </a:lnTo>
                <a:lnTo>
                  <a:pt x="4370942" y="1247384"/>
                </a:lnTo>
                <a:lnTo>
                  <a:pt x="4372245" y="1245544"/>
                </a:lnTo>
                <a:lnTo>
                  <a:pt x="4375499" y="1246951"/>
                </a:lnTo>
                <a:lnTo>
                  <a:pt x="4374740" y="1244678"/>
                </a:lnTo>
                <a:lnTo>
                  <a:pt x="4376585" y="1239589"/>
                </a:lnTo>
                <a:lnTo>
                  <a:pt x="4379840" y="1238398"/>
                </a:lnTo>
                <a:lnTo>
                  <a:pt x="4381468" y="1240564"/>
                </a:lnTo>
                <a:lnTo>
                  <a:pt x="4387220" y="1242404"/>
                </a:lnTo>
                <a:lnTo>
                  <a:pt x="4383964" y="1240022"/>
                </a:lnTo>
                <a:lnTo>
                  <a:pt x="4382662" y="1234067"/>
                </a:lnTo>
                <a:lnTo>
                  <a:pt x="4385592" y="1230061"/>
                </a:lnTo>
                <a:lnTo>
                  <a:pt x="4390475" y="1230061"/>
                </a:lnTo>
                <a:lnTo>
                  <a:pt x="4391560" y="1226272"/>
                </a:lnTo>
                <a:lnTo>
                  <a:pt x="4389933" y="1221616"/>
                </a:lnTo>
                <a:lnTo>
                  <a:pt x="4392103" y="1221616"/>
                </a:lnTo>
                <a:lnTo>
                  <a:pt x="4393405" y="1223998"/>
                </a:lnTo>
                <a:lnTo>
                  <a:pt x="4395250" y="1223456"/>
                </a:lnTo>
                <a:lnTo>
                  <a:pt x="4396335" y="1215661"/>
                </a:lnTo>
                <a:lnTo>
                  <a:pt x="4403714" y="1207866"/>
                </a:lnTo>
                <a:lnTo>
                  <a:pt x="4405667" y="1206458"/>
                </a:lnTo>
                <a:lnTo>
                  <a:pt x="4405667" y="1203210"/>
                </a:lnTo>
                <a:lnTo>
                  <a:pt x="4410008" y="1198663"/>
                </a:lnTo>
                <a:lnTo>
                  <a:pt x="4410008" y="1194874"/>
                </a:lnTo>
                <a:lnTo>
                  <a:pt x="4416302" y="1190759"/>
                </a:lnTo>
                <a:lnTo>
                  <a:pt x="4422270" y="1190759"/>
                </a:lnTo>
                <a:lnTo>
                  <a:pt x="4429541" y="1194765"/>
                </a:lnTo>
                <a:lnTo>
                  <a:pt x="4429541" y="1191842"/>
                </a:lnTo>
                <a:lnTo>
                  <a:pt x="4423355" y="1186753"/>
                </a:lnTo>
                <a:lnTo>
                  <a:pt x="4425309" y="1185995"/>
                </a:lnTo>
                <a:lnTo>
                  <a:pt x="4430518" y="1187078"/>
                </a:lnTo>
                <a:lnTo>
                  <a:pt x="4423247" y="1180365"/>
                </a:lnTo>
                <a:lnTo>
                  <a:pt x="4424875" y="1178958"/>
                </a:lnTo>
                <a:lnTo>
                  <a:pt x="4424875" y="1171703"/>
                </a:lnTo>
                <a:lnTo>
                  <a:pt x="4422487" y="1168455"/>
                </a:lnTo>
                <a:lnTo>
                  <a:pt x="4425960" y="1166832"/>
                </a:lnTo>
                <a:lnTo>
                  <a:pt x="4419774" y="1160877"/>
                </a:lnTo>
                <a:lnTo>
                  <a:pt x="4410768" y="1160877"/>
                </a:lnTo>
                <a:lnTo>
                  <a:pt x="4406427" y="1156329"/>
                </a:lnTo>
                <a:lnTo>
                  <a:pt x="4401869" y="1156329"/>
                </a:lnTo>
                <a:lnTo>
                  <a:pt x="4400242" y="1154597"/>
                </a:lnTo>
                <a:lnTo>
                  <a:pt x="4400242" y="1152287"/>
                </a:lnTo>
                <a:lnTo>
                  <a:pt x="4400240" y="1152324"/>
                </a:lnTo>
                <a:lnTo>
                  <a:pt x="4400023" y="1152107"/>
                </a:lnTo>
                <a:lnTo>
                  <a:pt x="4396985" y="1154273"/>
                </a:lnTo>
                <a:lnTo>
                  <a:pt x="4392427" y="1153948"/>
                </a:lnTo>
                <a:lnTo>
                  <a:pt x="4389714" y="1150699"/>
                </a:lnTo>
                <a:lnTo>
                  <a:pt x="4384071" y="1154273"/>
                </a:lnTo>
                <a:lnTo>
                  <a:pt x="4380273" y="1152107"/>
                </a:lnTo>
                <a:lnTo>
                  <a:pt x="4378320" y="1156113"/>
                </a:lnTo>
                <a:lnTo>
                  <a:pt x="4374305" y="1154489"/>
                </a:lnTo>
                <a:lnTo>
                  <a:pt x="4372569" y="1150483"/>
                </a:lnTo>
                <a:lnTo>
                  <a:pt x="4368771" y="1155247"/>
                </a:lnTo>
                <a:lnTo>
                  <a:pt x="4365841" y="1149942"/>
                </a:lnTo>
                <a:lnTo>
                  <a:pt x="4363345" y="1151891"/>
                </a:lnTo>
                <a:lnTo>
                  <a:pt x="4362802" y="1156546"/>
                </a:lnTo>
                <a:lnTo>
                  <a:pt x="4361175" y="1160336"/>
                </a:lnTo>
                <a:lnTo>
                  <a:pt x="4357593" y="1161093"/>
                </a:lnTo>
                <a:lnTo>
                  <a:pt x="4355532" y="1158495"/>
                </a:lnTo>
                <a:lnTo>
                  <a:pt x="4352276" y="1157413"/>
                </a:lnTo>
                <a:lnTo>
                  <a:pt x="4355315" y="1163151"/>
                </a:lnTo>
                <a:lnTo>
                  <a:pt x="4358462" y="1165316"/>
                </a:lnTo>
                <a:lnTo>
                  <a:pt x="4354447" y="1168889"/>
                </a:lnTo>
                <a:lnTo>
                  <a:pt x="4350431" y="1168672"/>
                </a:lnTo>
                <a:lnTo>
                  <a:pt x="4346850" y="1170621"/>
                </a:lnTo>
                <a:lnTo>
                  <a:pt x="4351191" y="1172679"/>
                </a:lnTo>
                <a:lnTo>
                  <a:pt x="4350974" y="1175385"/>
                </a:lnTo>
                <a:lnTo>
                  <a:pt x="4349129" y="1175927"/>
                </a:lnTo>
                <a:lnTo>
                  <a:pt x="4348153" y="1174303"/>
                </a:lnTo>
                <a:lnTo>
                  <a:pt x="4345331" y="1172895"/>
                </a:lnTo>
                <a:lnTo>
                  <a:pt x="4343812" y="1174627"/>
                </a:lnTo>
                <a:lnTo>
                  <a:pt x="4345874" y="1177984"/>
                </a:lnTo>
                <a:lnTo>
                  <a:pt x="4348695" y="1178092"/>
                </a:lnTo>
                <a:lnTo>
                  <a:pt x="4350974" y="1181015"/>
                </a:lnTo>
                <a:lnTo>
                  <a:pt x="4349563" y="1183723"/>
                </a:lnTo>
                <a:lnTo>
                  <a:pt x="4346633" y="1192059"/>
                </a:lnTo>
                <a:lnTo>
                  <a:pt x="4347718" y="1195415"/>
                </a:lnTo>
                <a:lnTo>
                  <a:pt x="4341967" y="1196498"/>
                </a:lnTo>
                <a:lnTo>
                  <a:pt x="4346633" y="1200180"/>
                </a:lnTo>
                <a:lnTo>
                  <a:pt x="4350431" y="1200829"/>
                </a:lnTo>
                <a:lnTo>
                  <a:pt x="4351951" y="1203860"/>
                </a:lnTo>
                <a:lnTo>
                  <a:pt x="4349021" y="1204943"/>
                </a:lnTo>
                <a:lnTo>
                  <a:pt x="4351734" y="1208733"/>
                </a:lnTo>
                <a:lnTo>
                  <a:pt x="4355206" y="1208733"/>
                </a:lnTo>
                <a:lnTo>
                  <a:pt x="4350431" y="1214688"/>
                </a:lnTo>
                <a:lnTo>
                  <a:pt x="4347393" y="1214904"/>
                </a:lnTo>
                <a:lnTo>
                  <a:pt x="4343920" y="1219127"/>
                </a:lnTo>
                <a:lnTo>
                  <a:pt x="4344680" y="1226814"/>
                </a:lnTo>
                <a:lnTo>
                  <a:pt x="4340013" y="1234826"/>
                </a:lnTo>
                <a:lnTo>
                  <a:pt x="4336867" y="1234609"/>
                </a:lnTo>
                <a:lnTo>
                  <a:pt x="4331984" y="1239265"/>
                </a:lnTo>
                <a:lnTo>
                  <a:pt x="4329487" y="1236017"/>
                </a:lnTo>
                <a:lnTo>
                  <a:pt x="4328728" y="1240239"/>
                </a:lnTo>
                <a:lnTo>
                  <a:pt x="4330573" y="1244462"/>
                </a:lnTo>
                <a:lnTo>
                  <a:pt x="4324821" y="1247818"/>
                </a:lnTo>
                <a:lnTo>
                  <a:pt x="4322434" y="1252582"/>
                </a:lnTo>
                <a:lnTo>
                  <a:pt x="4319504" y="1252474"/>
                </a:lnTo>
                <a:lnTo>
                  <a:pt x="4318962" y="1249010"/>
                </a:lnTo>
                <a:lnTo>
                  <a:pt x="4315381" y="1249010"/>
                </a:lnTo>
                <a:lnTo>
                  <a:pt x="4313210" y="1253881"/>
                </a:lnTo>
                <a:lnTo>
                  <a:pt x="4313210" y="1259295"/>
                </a:lnTo>
                <a:lnTo>
                  <a:pt x="4309954" y="1262218"/>
                </a:lnTo>
                <a:lnTo>
                  <a:pt x="4308001" y="1259079"/>
                </a:lnTo>
                <a:lnTo>
                  <a:pt x="4305939" y="1259079"/>
                </a:lnTo>
                <a:lnTo>
                  <a:pt x="4304746" y="1264167"/>
                </a:lnTo>
                <a:lnTo>
                  <a:pt x="4302576" y="1264708"/>
                </a:lnTo>
                <a:lnTo>
                  <a:pt x="4300513" y="1262218"/>
                </a:lnTo>
                <a:lnTo>
                  <a:pt x="4297258" y="1265467"/>
                </a:lnTo>
                <a:lnTo>
                  <a:pt x="4295847" y="1269473"/>
                </a:lnTo>
                <a:lnTo>
                  <a:pt x="4299103" y="1270122"/>
                </a:lnTo>
                <a:lnTo>
                  <a:pt x="4298777" y="1272829"/>
                </a:lnTo>
                <a:lnTo>
                  <a:pt x="4292267" y="1278459"/>
                </a:lnTo>
                <a:lnTo>
                  <a:pt x="4288034" y="1277376"/>
                </a:lnTo>
                <a:lnTo>
                  <a:pt x="4286841" y="1279867"/>
                </a:lnTo>
                <a:lnTo>
                  <a:pt x="4288794" y="1283981"/>
                </a:lnTo>
                <a:lnTo>
                  <a:pt x="4284887" y="1289719"/>
                </a:lnTo>
                <a:lnTo>
                  <a:pt x="4277942" y="1290910"/>
                </a:lnTo>
                <a:lnTo>
                  <a:pt x="4274144" y="1289611"/>
                </a:lnTo>
                <a:lnTo>
                  <a:pt x="4279678" y="1296540"/>
                </a:lnTo>
                <a:lnTo>
                  <a:pt x="4280330" y="1302495"/>
                </a:lnTo>
                <a:lnTo>
                  <a:pt x="4279027" y="1304227"/>
                </a:lnTo>
                <a:lnTo>
                  <a:pt x="4279895" y="1309640"/>
                </a:lnTo>
                <a:lnTo>
                  <a:pt x="4278702" y="1316678"/>
                </a:lnTo>
                <a:lnTo>
                  <a:pt x="4282283" y="1320468"/>
                </a:lnTo>
                <a:lnTo>
                  <a:pt x="4281740" y="1325123"/>
                </a:lnTo>
                <a:lnTo>
                  <a:pt x="4278702" y="1322417"/>
                </a:lnTo>
                <a:lnTo>
                  <a:pt x="4277617" y="1323932"/>
                </a:lnTo>
                <a:lnTo>
                  <a:pt x="4279027" y="1330970"/>
                </a:lnTo>
                <a:lnTo>
                  <a:pt x="4275447" y="1335409"/>
                </a:lnTo>
                <a:lnTo>
                  <a:pt x="4279027" y="1336925"/>
                </a:lnTo>
                <a:lnTo>
                  <a:pt x="4279027" y="1339740"/>
                </a:lnTo>
                <a:lnTo>
                  <a:pt x="4276857" y="1341039"/>
                </a:lnTo>
                <a:lnTo>
                  <a:pt x="4279353" y="1346236"/>
                </a:lnTo>
                <a:lnTo>
                  <a:pt x="4276097" y="1350458"/>
                </a:lnTo>
                <a:lnTo>
                  <a:pt x="4278810" y="1353274"/>
                </a:lnTo>
                <a:lnTo>
                  <a:pt x="4281198" y="1356955"/>
                </a:lnTo>
                <a:lnTo>
                  <a:pt x="4284453" y="1357605"/>
                </a:lnTo>
                <a:lnTo>
                  <a:pt x="4284453" y="1362152"/>
                </a:lnTo>
                <a:lnTo>
                  <a:pt x="4286841" y="1360745"/>
                </a:lnTo>
                <a:lnTo>
                  <a:pt x="4289336" y="1365075"/>
                </a:lnTo>
                <a:lnTo>
                  <a:pt x="4293460" y="1359986"/>
                </a:lnTo>
                <a:lnTo>
                  <a:pt x="4296716" y="1362693"/>
                </a:lnTo>
                <a:lnTo>
                  <a:pt x="4297801" y="1366807"/>
                </a:lnTo>
                <a:lnTo>
                  <a:pt x="4306374" y="1373304"/>
                </a:lnTo>
                <a:lnTo>
                  <a:pt x="4305071" y="1376011"/>
                </a:lnTo>
                <a:lnTo>
                  <a:pt x="4312125" y="1380233"/>
                </a:lnTo>
                <a:lnTo>
                  <a:pt x="4312125" y="1383806"/>
                </a:lnTo>
                <a:lnTo>
                  <a:pt x="4316791" y="1388353"/>
                </a:lnTo>
                <a:lnTo>
                  <a:pt x="4313752" y="1395608"/>
                </a:lnTo>
                <a:lnTo>
                  <a:pt x="4307784" y="1401996"/>
                </a:lnTo>
                <a:lnTo>
                  <a:pt x="4306156" y="1406868"/>
                </a:lnTo>
                <a:lnTo>
                  <a:pt x="4299645" y="1408492"/>
                </a:lnTo>
                <a:lnTo>
                  <a:pt x="4295739" y="1406326"/>
                </a:lnTo>
                <a:lnTo>
                  <a:pt x="4296173" y="1403294"/>
                </a:lnTo>
                <a:lnTo>
                  <a:pt x="4290747" y="1401346"/>
                </a:lnTo>
                <a:lnTo>
                  <a:pt x="4288468" y="1398964"/>
                </a:lnTo>
                <a:lnTo>
                  <a:pt x="4288251" y="1401887"/>
                </a:lnTo>
                <a:lnTo>
                  <a:pt x="4285321" y="1401996"/>
                </a:lnTo>
                <a:lnTo>
                  <a:pt x="4283368" y="1399830"/>
                </a:lnTo>
                <a:lnTo>
                  <a:pt x="4279245" y="1398964"/>
                </a:lnTo>
                <a:lnTo>
                  <a:pt x="4277617" y="1401996"/>
                </a:lnTo>
                <a:lnTo>
                  <a:pt x="4273927" y="1403078"/>
                </a:lnTo>
                <a:lnTo>
                  <a:pt x="4271974" y="1401129"/>
                </a:lnTo>
                <a:lnTo>
                  <a:pt x="4268501" y="1405677"/>
                </a:lnTo>
                <a:lnTo>
                  <a:pt x="4264594" y="1403620"/>
                </a:lnTo>
                <a:lnTo>
                  <a:pt x="4261122" y="1405135"/>
                </a:lnTo>
                <a:lnTo>
                  <a:pt x="4261340" y="1406868"/>
                </a:lnTo>
                <a:lnTo>
                  <a:pt x="4268501" y="1407625"/>
                </a:lnTo>
                <a:lnTo>
                  <a:pt x="4270346" y="1409033"/>
                </a:lnTo>
                <a:lnTo>
                  <a:pt x="4270889" y="1406759"/>
                </a:lnTo>
                <a:lnTo>
                  <a:pt x="4277183" y="1406543"/>
                </a:lnTo>
                <a:lnTo>
                  <a:pt x="4280330" y="1408492"/>
                </a:lnTo>
                <a:lnTo>
                  <a:pt x="4285321" y="1409466"/>
                </a:lnTo>
                <a:lnTo>
                  <a:pt x="4288468" y="1413580"/>
                </a:lnTo>
                <a:lnTo>
                  <a:pt x="4292267" y="1411415"/>
                </a:lnTo>
                <a:lnTo>
                  <a:pt x="4294545" y="1412498"/>
                </a:lnTo>
                <a:lnTo>
                  <a:pt x="4298777" y="1410224"/>
                </a:lnTo>
                <a:lnTo>
                  <a:pt x="4304529" y="1411740"/>
                </a:lnTo>
                <a:lnTo>
                  <a:pt x="4307459" y="1414338"/>
                </a:lnTo>
                <a:lnTo>
                  <a:pt x="4308001" y="1418777"/>
                </a:lnTo>
                <a:lnTo>
                  <a:pt x="4304746" y="1421484"/>
                </a:lnTo>
                <a:lnTo>
                  <a:pt x="4301490" y="1421484"/>
                </a:lnTo>
                <a:lnTo>
                  <a:pt x="4297258" y="1427872"/>
                </a:lnTo>
                <a:lnTo>
                  <a:pt x="4294545" y="1427655"/>
                </a:lnTo>
                <a:lnTo>
                  <a:pt x="4295522" y="1423325"/>
                </a:lnTo>
                <a:lnTo>
                  <a:pt x="4293894" y="1421159"/>
                </a:lnTo>
                <a:lnTo>
                  <a:pt x="4292049" y="1423650"/>
                </a:lnTo>
                <a:lnTo>
                  <a:pt x="4292809" y="1426789"/>
                </a:lnTo>
                <a:lnTo>
                  <a:pt x="4289554" y="1427114"/>
                </a:lnTo>
                <a:lnTo>
                  <a:pt x="4286298" y="1430687"/>
                </a:lnTo>
                <a:lnTo>
                  <a:pt x="4285756" y="1435559"/>
                </a:lnTo>
                <a:lnTo>
                  <a:pt x="4281740" y="1432528"/>
                </a:lnTo>
                <a:lnTo>
                  <a:pt x="4281958" y="1435559"/>
                </a:lnTo>
                <a:lnTo>
                  <a:pt x="4279245" y="1438158"/>
                </a:lnTo>
                <a:lnTo>
                  <a:pt x="4278485" y="1437075"/>
                </a:lnTo>
                <a:lnTo>
                  <a:pt x="4275989" y="1437075"/>
                </a:lnTo>
                <a:lnTo>
                  <a:pt x="4273276" y="1440323"/>
                </a:lnTo>
                <a:lnTo>
                  <a:pt x="4277183" y="1440865"/>
                </a:lnTo>
                <a:lnTo>
                  <a:pt x="4281958" y="1445737"/>
                </a:lnTo>
                <a:lnTo>
                  <a:pt x="4273059" y="1446061"/>
                </a:lnTo>
                <a:lnTo>
                  <a:pt x="4280113" y="1448552"/>
                </a:lnTo>
                <a:lnTo>
                  <a:pt x="4280438" y="1451475"/>
                </a:lnTo>
                <a:lnTo>
                  <a:pt x="4277942" y="1456889"/>
                </a:lnTo>
                <a:lnTo>
                  <a:pt x="4283043" y="1461544"/>
                </a:lnTo>
                <a:lnTo>
                  <a:pt x="4277400" y="1462627"/>
                </a:lnTo>
                <a:lnTo>
                  <a:pt x="4272191" y="1460678"/>
                </a:lnTo>
                <a:lnTo>
                  <a:pt x="4275012" y="1465226"/>
                </a:lnTo>
                <a:lnTo>
                  <a:pt x="4272734" y="1469340"/>
                </a:lnTo>
                <a:lnTo>
                  <a:pt x="4277942" y="1472587"/>
                </a:lnTo>
                <a:lnTo>
                  <a:pt x="4273819" y="1476377"/>
                </a:lnTo>
                <a:lnTo>
                  <a:pt x="4277617" y="1481250"/>
                </a:lnTo>
                <a:lnTo>
                  <a:pt x="4273602" y="1485797"/>
                </a:lnTo>
                <a:lnTo>
                  <a:pt x="4273059" y="1490669"/>
                </a:lnTo>
                <a:lnTo>
                  <a:pt x="4277183" y="1494242"/>
                </a:lnTo>
                <a:lnTo>
                  <a:pt x="4275012" y="1498031"/>
                </a:lnTo>
                <a:lnTo>
                  <a:pt x="4274144" y="1509725"/>
                </a:lnTo>
                <a:lnTo>
                  <a:pt x="4270346" y="1513731"/>
                </a:lnTo>
                <a:lnTo>
                  <a:pt x="4268719" y="1523150"/>
                </a:lnTo>
                <a:lnTo>
                  <a:pt x="4263510" y="1529430"/>
                </a:lnTo>
                <a:lnTo>
                  <a:pt x="4260905" y="1526182"/>
                </a:lnTo>
                <a:lnTo>
                  <a:pt x="4256565" y="1524233"/>
                </a:lnTo>
                <a:lnTo>
                  <a:pt x="4251356" y="1527048"/>
                </a:lnTo>
                <a:lnTo>
                  <a:pt x="4242675" y="1525641"/>
                </a:lnTo>
                <a:lnTo>
                  <a:pt x="4241372" y="1522176"/>
                </a:lnTo>
                <a:lnTo>
                  <a:pt x="4239745" y="1529754"/>
                </a:lnTo>
                <a:lnTo>
                  <a:pt x="4232365" y="1530729"/>
                </a:lnTo>
                <a:lnTo>
                  <a:pt x="4229110" y="1538416"/>
                </a:lnTo>
                <a:lnTo>
                  <a:pt x="4231823" y="1540798"/>
                </a:lnTo>
                <a:lnTo>
                  <a:pt x="4232149" y="1544588"/>
                </a:lnTo>
                <a:lnTo>
                  <a:pt x="4227483" y="1548919"/>
                </a:lnTo>
                <a:lnTo>
                  <a:pt x="4221514" y="1546753"/>
                </a:lnTo>
                <a:lnTo>
                  <a:pt x="4209360" y="1550002"/>
                </a:lnTo>
                <a:lnTo>
                  <a:pt x="4204694" y="1550002"/>
                </a:lnTo>
                <a:lnTo>
                  <a:pt x="4202198" y="1547619"/>
                </a:lnTo>
                <a:lnTo>
                  <a:pt x="4204911" y="1543288"/>
                </a:lnTo>
                <a:lnTo>
                  <a:pt x="4202740" y="1532137"/>
                </a:lnTo>
                <a:lnTo>
                  <a:pt x="4197857" y="1530729"/>
                </a:lnTo>
                <a:lnTo>
                  <a:pt x="4197097" y="1526398"/>
                </a:lnTo>
                <a:lnTo>
                  <a:pt x="4193842" y="1524341"/>
                </a:lnTo>
                <a:lnTo>
                  <a:pt x="4194710" y="1521851"/>
                </a:lnTo>
                <a:lnTo>
                  <a:pt x="4200678" y="1521093"/>
                </a:lnTo>
                <a:lnTo>
                  <a:pt x="4204151" y="1514597"/>
                </a:lnTo>
                <a:lnTo>
                  <a:pt x="4202740" y="1508858"/>
                </a:lnTo>
                <a:lnTo>
                  <a:pt x="4197640" y="1511782"/>
                </a:lnTo>
                <a:lnTo>
                  <a:pt x="4193082" y="1507235"/>
                </a:lnTo>
                <a:lnTo>
                  <a:pt x="4191889" y="1502687"/>
                </a:lnTo>
                <a:lnTo>
                  <a:pt x="4187006" y="1500738"/>
                </a:lnTo>
                <a:lnTo>
                  <a:pt x="4186463" y="1494025"/>
                </a:lnTo>
                <a:lnTo>
                  <a:pt x="4182122" y="1485256"/>
                </a:lnTo>
                <a:lnTo>
                  <a:pt x="4179952" y="1483415"/>
                </a:lnTo>
                <a:lnTo>
                  <a:pt x="4177565" y="1477244"/>
                </a:lnTo>
                <a:lnTo>
                  <a:pt x="4173549" y="1476269"/>
                </a:lnTo>
                <a:lnTo>
                  <a:pt x="4170837" y="1472371"/>
                </a:lnTo>
                <a:lnTo>
                  <a:pt x="4173115" y="1470097"/>
                </a:lnTo>
                <a:lnTo>
                  <a:pt x="4173658" y="1464901"/>
                </a:lnTo>
                <a:lnTo>
                  <a:pt x="4172247" y="1461220"/>
                </a:lnTo>
                <a:lnTo>
                  <a:pt x="4173115" y="1457430"/>
                </a:lnTo>
                <a:lnTo>
                  <a:pt x="4177890" y="1453532"/>
                </a:lnTo>
                <a:lnTo>
                  <a:pt x="4176588" y="1450934"/>
                </a:lnTo>
                <a:lnTo>
                  <a:pt x="4172573" y="1448660"/>
                </a:lnTo>
                <a:lnTo>
                  <a:pt x="4173658" y="1446278"/>
                </a:lnTo>
                <a:lnTo>
                  <a:pt x="4171379" y="1446170"/>
                </a:lnTo>
                <a:lnTo>
                  <a:pt x="4170837" y="1449851"/>
                </a:lnTo>
                <a:lnTo>
                  <a:pt x="4174092" y="1453316"/>
                </a:lnTo>
                <a:lnTo>
                  <a:pt x="4168775" y="1455589"/>
                </a:lnTo>
                <a:lnTo>
                  <a:pt x="4169534" y="1450501"/>
                </a:lnTo>
                <a:lnTo>
                  <a:pt x="4168232" y="1448768"/>
                </a:lnTo>
                <a:lnTo>
                  <a:pt x="4164868" y="1446928"/>
                </a:lnTo>
                <a:lnTo>
                  <a:pt x="4164435" y="1439240"/>
                </a:lnTo>
                <a:lnTo>
                  <a:pt x="4162481" y="1436426"/>
                </a:lnTo>
                <a:lnTo>
                  <a:pt x="4161613" y="1426140"/>
                </a:lnTo>
                <a:lnTo>
                  <a:pt x="4165303" y="1423975"/>
                </a:lnTo>
                <a:lnTo>
                  <a:pt x="4165736" y="1423541"/>
                </a:lnTo>
                <a:lnTo>
                  <a:pt x="4168666" y="1425490"/>
                </a:lnTo>
                <a:lnTo>
                  <a:pt x="4171379" y="1430363"/>
                </a:lnTo>
                <a:lnTo>
                  <a:pt x="4173984" y="1425490"/>
                </a:lnTo>
                <a:lnTo>
                  <a:pt x="4173984" y="1425489"/>
                </a:lnTo>
                <a:lnTo>
                  <a:pt x="4171379" y="1430362"/>
                </a:lnTo>
                <a:lnTo>
                  <a:pt x="4168666" y="1425489"/>
                </a:lnTo>
                <a:lnTo>
                  <a:pt x="4165736" y="1423540"/>
                </a:lnTo>
                <a:lnTo>
                  <a:pt x="4167147" y="1421700"/>
                </a:lnTo>
                <a:lnTo>
                  <a:pt x="4164760" y="1419642"/>
                </a:lnTo>
                <a:lnTo>
                  <a:pt x="4159117" y="1420184"/>
                </a:lnTo>
                <a:lnTo>
                  <a:pt x="4154125" y="1415095"/>
                </a:lnTo>
                <a:lnTo>
                  <a:pt x="4153365" y="1411956"/>
                </a:lnTo>
                <a:lnTo>
                  <a:pt x="4150652" y="1407624"/>
                </a:lnTo>
                <a:lnTo>
                  <a:pt x="4151629" y="1403727"/>
                </a:lnTo>
                <a:lnTo>
                  <a:pt x="4150761" y="1398097"/>
                </a:lnTo>
                <a:lnTo>
                  <a:pt x="4153474" y="1393766"/>
                </a:lnTo>
                <a:lnTo>
                  <a:pt x="4150110" y="1390410"/>
                </a:lnTo>
                <a:lnTo>
                  <a:pt x="4146529" y="1393116"/>
                </a:lnTo>
                <a:lnTo>
                  <a:pt x="4146311" y="1397556"/>
                </a:lnTo>
                <a:lnTo>
                  <a:pt x="4148808" y="1400371"/>
                </a:lnTo>
                <a:lnTo>
                  <a:pt x="4146963" y="1402536"/>
                </a:lnTo>
                <a:lnTo>
                  <a:pt x="4144684" y="1402752"/>
                </a:lnTo>
                <a:lnTo>
                  <a:pt x="4144250" y="1404810"/>
                </a:lnTo>
                <a:lnTo>
                  <a:pt x="4142080" y="1406217"/>
                </a:lnTo>
                <a:lnTo>
                  <a:pt x="4143707" y="1408924"/>
                </a:lnTo>
                <a:lnTo>
                  <a:pt x="4146855" y="1410223"/>
                </a:lnTo>
                <a:lnTo>
                  <a:pt x="4148374" y="1414771"/>
                </a:lnTo>
                <a:lnTo>
                  <a:pt x="4146746" y="1419968"/>
                </a:lnTo>
                <a:lnTo>
                  <a:pt x="4140886" y="1425489"/>
                </a:lnTo>
                <a:lnTo>
                  <a:pt x="4140669" y="1423757"/>
                </a:lnTo>
                <a:lnTo>
                  <a:pt x="4136762" y="1420401"/>
                </a:lnTo>
                <a:lnTo>
                  <a:pt x="4135134" y="1423324"/>
                </a:lnTo>
                <a:lnTo>
                  <a:pt x="4137197" y="1424948"/>
                </a:lnTo>
                <a:lnTo>
                  <a:pt x="4138390" y="1427546"/>
                </a:lnTo>
                <a:lnTo>
                  <a:pt x="4133832" y="1429603"/>
                </a:lnTo>
                <a:lnTo>
                  <a:pt x="4131662" y="1426789"/>
                </a:lnTo>
                <a:lnTo>
                  <a:pt x="4132313" y="1424190"/>
                </a:lnTo>
                <a:lnTo>
                  <a:pt x="4129383" y="1423757"/>
                </a:lnTo>
                <a:lnTo>
                  <a:pt x="4127756" y="1421917"/>
                </a:lnTo>
                <a:lnTo>
                  <a:pt x="4126019" y="1415312"/>
                </a:lnTo>
                <a:lnTo>
                  <a:pt x="4121461" y="1410332"/>
                </a:lnTo>
                <a:lnTo>
                  <a:pt x="4119074" y="1408924"/>
                </a:lnTo>
                <a:lnTo>
                  <a:pt x="4118965" y="1412822"/>
                </a:lnTo>
                <a:lnTo>
                  <a:pt x="4122981" y="1415854"/>
                </a:lnTo>
                <a:lnTo>
                  <a:pt x="4126345" y="1420293"/>
                </a:lnTo>
                <a:lnTo>
                  <a:pt x="4125043" y="1423432"/>
                </a:lnTo>
                <a:lnTo>
                  <a:pt x="4128732" y="1428196"/>
                </a:lnTo>
                <a:lnTo>
                  <a:pt x="4127756" y="1431119"/>
                </a:lnTo>
                <a:lnTo>
                  <a:pt x="4123849" y="1431877"/>
                </a:lnTo>
                <a:lnTo>
                  <a:pt x="4120159" y="1434260"/>
                </a:lnTo>
                <a:lnTo>
                  <a:pt x="4120702" y="1437507"/>
                </a:lnTo>
                <a:lnTo>
                  <a:pt x="4117664" y="1439564"/>
                </a:lnTo>
                <a:lnTo>
                  <a:pt x="4119074" y="1441297"/>
                </a:lnTo>
                <a:lnTo>
                  <a:pt x="4113974" y="1446278"/>
                </a:lnTo>
                <a:lnTo>
                  <a:pt x="4107680" y="1442380"/>
                </a:lnTo>
                <a:lnTo>
                  <a:pt x="4111261" y="1446819"/>
                </a:lnTo>
                <a:lnTo>
                  <a:pt x="4111695" y="1449742"/>
                </a:lnTo>
                <a:lnTo>
                  <a:pt x="4103448" y="1457970"/>
                </a:lnTo>
                <a:lnTo>
                  <a:pt x="4100518" y="1457754"/>
                </a:lnTo>
                <a:lnTo>
                  <a:pt x="4099324" y="1454290"/>
                </a:lnTo>
                <a:lnTo>
                  <a:pt x="4098347" y="1454073"/>
                </a:lnTo>
                <a:lnTo>
                  <a:pt x="4096286" y="1456238"/>
                </a:lnTo>
                <a:lnTo>
                  <a:pt x="4094115" y="1456780"/>
                </a:lnTo>
                <a:lnTo>
                  <a:pt x="4089232" y="1461543"/>
                </a:lnTo>
                <a:lnTo>
                  <a:pt x="4085108" y="1463384"/>
                </a:lnTo>
                <a:lnTo>
                  <a:pt x="4083263" y="1462410"/>
                </a:lnTo>
                <a:lnTo>
                  <a:pt x="4081093" y="1465117"/>
                </a:lnTo>
                <a:lnTo>
                  <a:pt x="4076319" y="1459162"/>
                </a:lnTo>
                <a:lnTo>
                  <a:pt x="4076861" y="1457862"/>
                </a:lnTo>
                <a:lnTo>
                  <a:pt x="4073823" y="1455372"/>
                </a:lnTo>
                <a:lnTo>
                  <a:pt x="4071001" y="1455480"/>
                </a:lnTo>
                <a:lnTo>
                  <a:pt x="4072412" y="1460027"/>
                </a:lnTo>
                <a:lnTo>
                  <a:pt x="4069264" y="1461652"/>
                </a:lnTo>
                <a:lnTo>
                  <a:pt x="4065793" y="1458295"/>
                </a:lnTo>
                <a:lnTo>
                  <a:pt x="4067963" y="1457213"/>
                </a:lnTo>
                <a:lnTo>
                  <a:pt x="4066878" y="1454398"/>
                </a:lnTo>
                <a:lnTo>
                  <a:pt x="4057871" y="1450933"/>
                </a:lnTo>
                <a:lnTo>
                  <a:pt x="4051359" y="1445411"/>
                </a:lnTo>
                <a:lnTo>
                  <a:pt x="4046477" y="1444437"/>
                </a:lnTo>
                <a:lnTo>
                  <a:pt x="4040508" y="1434368"/>
                </a:lnTo>
                <a:lnTo>
                  <a:pt x="4043004" y="1431661"/>
                </a:lnTo>
                <a:lnTo>
                  <a:pt x="4043004" y="1427980"/>
                </a:lnTo>
                <a:lnTo>
                  <a:pt x="4046585" y="1427872"/>
                </a:lnTo>
                <a:lnTo>
                  <a:pt x="4049298" y="1430037"/>
                </a:lnTo>
                <a:lnTo>
                  <a:pt x="4052228" y="1428954"/>
                </a:lnTo>
                <a:lnTo>
                  <a:pt x="4060692" y="1435017"/>
                </a:lnTo>
                <a:lnTo>
                  <a:pt x="4061235" y="1433393"/>
                </a:lnTo>
                <a:lnTo>
                  <a:pt x="4058739" y="1429495"/>
                </a:lnTo>
                <a:lnTo>
                  <a:pt x="4061126" y="1427655"/>
                </a:lnTo>
                <a:lnTo>
                  <a:pt x="4066010" y="1427330"/>
                </a:lnTo>
                <a:lnTo>
                  <a:pt x="4063622" y="1424082"/>
                </a:lnTo>
                <a:lnTo>
                  <a:pt x="4057871" y="1425706"/>
                </a:lnTo>
                <a:lnTo>
                  <a:pt x="4055700" y="1428196"/>
                </a:lnTo>
                <a:lnTo>
                  <a:pt x="4052987" y="1421483"/>
                </a:lnTo>
                <a:lnTo>
                  <a:pt x="4056026" y="1419318"/>
                </a:lnTo>
                <a:lnTo>
                  <a:pt x="4057111" y="1415420"/>
                </a:lnTo>
                <a:lnTo>
                  <a:pt x="4054181" y="1412281"/>
                </a:lnTo>
                <a:lnTo>
                  <a:pt x="4056569" y="1410873"/>
                </a:lnTo>
                <a:lnTo>
                  <a:pt x="4051468" y="1407083"/>
                </a:lnTo>
                <a:lnTo>
                  <a:pt x="4049515" y="1411631"/>
                </a:lnTo>
                <a:lnTo>
                  <a:pt x="4050383" y="1413579"/>
                </a:lnTo>
                <a:lnTo>
                  <a:pt x="4047019" y="1415204"/>
                </a:lnTo>
                <a:lnTo>
                  <a:pt x="4045392" y="1413796"/>
                </a:lnTo>
                <a:lnTo>
                  <a:pt x="4044089" y="1417585"/>
                </a:lnTo>
                <a:lnTo>
                  <a:pt x="4037795" y="1410873"/>
                </a:lnTo>
                <a:lnTo>
                  <a:pt x="4036167" y="1406542"/>
                </a:lnTo>
                <a:lnTo>
                  <a:pt x="4040291" y="1400912"/>
                </a:lnTo>
                <a:lnTo>
                  <a:pt x="4043438" y="1398963"/>
                </a:lnTo>
                <a:lnTo>
                  <a:pt x="4044415" y="1403619"/>
                </a:lnTo>
                <a:lnTo>
                  <a:pt x="4045392" y="1399721"/>
                </a:lnTo>
                <a:lnTo>
                  <a:pt x="4047670" y="1398638"/>
                </a:lnTo>
                <a:lnTo>
                  <a:pt x="4052771" y="1401995"/>
                </a:lnTo>
                <a:lnTo>
                  <a:pt x="4053096" y="1398746"/>
                </a:lnTo>
                <a:lnTo>
                  <a:pt x="4054724" y="1396040"/>
                </a:lnTo>
                <a:lnTo>
                  <a:pt x="4059498" y="1395715"/>
                </a:lnTo>
                <a:lnTo>
                  <a:pt x="4057871" y="1393008"/>
                </a:lnTo>
                <a:lnTo>
                  <a:pt x="4051359" y="1393008"/>
                </a:lnTo>
                <a:lnTo>
                  <a:pt x="4048973" y="1391926"/>
                </a:lnTo>
                <a:lnTo>
                  <a:pt x="4050383" y="1388677"/>
                </a:lnTo>
                <a:lnTo>
                  <a:pt x="4053530" y="1388677"/>
                </a:lnTo>
                <a:lnTo>
                  <a:pt x="4057328" y="1383589"/>
                </a:lnTo>
                <a:lnTo>
                  <a:pt x="4052987" y="1381965"/>
                </a:lnTo>
                <a:lnTo>
                  <a:pt x="4055484" y="1381098"/>
                </a:lnTo>
                <a:lnTo>
                  <a:pt x="4058522" y="1375577"/>
                </a:lnTo>
                <a:lnTo>
                  <a:pt x="4061126" y="1375685"/>
                </a:lnTo>
                <a:lnTo>
                  <a:pt x="4061777" y="1380773"/>
                </a:lnTo>
                <a:lnTo>
                  <a:pt x="4065250" y="1383589"/>
                </a:lnTo>
                <a:lnTo>
                  <a:pt x="4063839" y="1380232"/>
                </a:lnTo>
                <a:lnTo>
                  <a:pt x="4063839" y="1374602"/>
                </a:lnTo>
                <a:lnTo>
                  <a:pt x="4068288" y="1371138"/>
                </a:lnTo>
                <a:lnTo>
                  <a:pt x="4070893" y="1369622"/>
                </a:lnTo>
                <a:lnTo>
                  <a:pt x="4067311" y="1370596"/>
                </a:lnTo>
                <a:lnTo>
                  <a:pt x="4062862" y="1370271"/>
                </a:lnTo>
                <a:lnTo>
                  <a:pt x="4054181" y="1373844"/>
                </a:lnTo>
                <a:lnTo>
                  <a:pt x="4053530" y="1378608"/>
                </a:lnTo>
                <a:lnTo>
                  <a:pt x="4050274" y="1380449"/>
                </a:lnTo>
                <a:lnTo>
                  <a:pt x="4046585" y="1385971"/>
                </a:lnTo>
                <a:lnTo>
                  <a:pt x="4045174" y="1385863"/>
                </a:lnTo>
                <a:lnTo>
                  <a:pt x="4046802" y="1381315"/>
                </a:lnTo>
                <a:lnTo>
                  <a:pt x="4044306" y="1377526"/>
                </a:lnTo>
                <a:lnTo>
                  <a:pt x="4046151" y="1374602"/>
                </a:lnTo>
                <a:lnTo>
                  <a:pt x="4042679" y="1374061"/>
                </a:lnTo>
                <a:lnTo>
                  <a:pt x="4041702" y="1372437"/>
                </a:lnTo>
                <a:lnTo>
                  <a:pt x="4047345" y="1369405"/>
                </a:lnTo>
                <a:lnTo>
                  <a:pt x="4046802" y="1365616"/>
                </a:lnTo>
                <a:lnTo>
                  <a:pt x="4048755" y="1363559"/>
                </a:lnTo>
                <a:lnTo>
                  <a:pt x="4044089" y="1361610"/>
                </a:lnTo>
                <a:lnTo>
                  <a:pt x="4037469" y="1368973"/>
                </a:lnTo>
                <a:lnTo>
                  <a:pt x="4034757" y="1366698"/>
                </a:lnTo>
                <a:lnTo>
                  <a:pt x="4033238" y="1361502"/>
                </a:lnTo>
                <a:lnTo>
                  <a:pt x="4036493" y="1363342"/>
                </a:lnTo>
                <a:lnTo>
                  <a:pt x="4038446" y="1361718"/>
                </a:lnTo>
                <a:lnTo>
                  <a:pt x="4038012" y="1357820"/>
                </a:lnTo>
                <a:lnTo>
                  <a:pt x="4041159" y="1354572"/>
                </a:lnTo>
                <a:lnTo>
                  <a:pt x="4038446" y="1354464"/>
                </a:lnTo>
                <a:lnTo>
                  <a:pt x="4036493" y="1356737"/>
                </a:lnTo>
                <a:lnTo>
                  <a:pt x="4033129" y="1357496"/>
                </a:lnTo>
                <a:lnTo>
                  <a:pt x="4030958" y="1355655"/>
                </a:lnTo>
                <a:lnTo>
                  <a:pt x="4032153" y="1353273"/>
                </a:lnTo>
                <a:lnTo>
                  <a:pt x="4030199" y="1348834"/>
                </a:lnTo>
                <a:lnTo>
                  <a:pt x="4031501" y="1348400"/>
                </a:lnTo>
                <a:lnTo>
                  <a:pt x="4034865" y="1350675"/>
                </a:lnTo>
                <a:lnTo>
                  <a:pt x="4037795" y="1350675"/>
                </a:lnTo>
                <a:lnTo>
                  <a:pt x="4043655" y="1347751"/>
                </a:lnTo>
                <a:lnTo>
                  <a:pt x="4046585" y="1348726"/>
                </a:lnTo>
                <a:lnTo>
                  <a:pt x="4051794" y="1347751"/>
                </a:lnTo>
                <a:lnTo>
                  <a:pt x="4055809" y="1348726"/>
                </a:lnTo>
                <a:lnTo>
                  <a:pt x="4059173" y="1353057"/>
                </a:lnTo>
                <a:lnTo>
                  <a:pt x="4059932" y="1350458"/>
                </a:lnTo>
                <a:lnTo>
                  <a:pt x="4064707" y="1345694"/>
                </a:lnTo>
                <a:lnTo>
                  <a:pt x="4069156" y="1346343"/>
                </a:lnTo>
                <a:lnTo>
                  <a:pt x="4069808" y="1350675"/>
                </a:lnTo>
                <a:lnTo>
                  <a:pt x="4067095" y="1352840"/>
                </a:lnTo>
                <a:lnTo>
                  <a:pt x="4067311" y="1355006"/>
                </a:lnTo>
                <a:lnTo>
                  <a:pt x="4072737" y="1354789"/>
                </a:lnTo>
                <a:lnTo>
                  <a:pt x="4074799" y="1351216"/>
                </a:lnTo>
                <a:lnTo>
                  <a:pt x="4073171" y="1349808"/>
                </a:lnTo>
                <a:lnTo>
                  <a:pt x="4076210" y="1347426"/>
                </a:lnTo>
                <a:lnTo>
                  <a:pt x="4082504" y="1345910"/>
                </a:lnTo>
                <a:lnTo>
                  <a:pt x="4085325" y="1342337"/>
                </a:lnTo>
                <a:lnTo>
                  <a:pt x="4081636" y="1338007"/>
                </a:lnTo>
                <a:lnTo>
                  <a:pt x="4082504" y="1334109"/>
                </a:lnTo>
                <a:lnTo>
                  <a:pt x="4079032" y="1339198"/>
                </a:lnTo>
                <a:lnTo>
                  <a:pt x="4080009" y="1341796"/>
                </a:lnTo>
                <a:lnTo>
                  <a:pt x="4077837" y="1343962"/>
                </a:lnTo>
                <a:lnTo>
                  <a:pt x="4073280" y="1342771"/>
                </a:lnTo>
                <a:lnTo>
                  <a:pt x="4075776" y="1340822"/>
                </a:lnTo>
                <a:lnTo>
                  <a:pt x="4076752" y="1338873"/>
                </a:lnTo>
                <a:lnTo>
                  <a:pt x="4074365" y="1338223"/>
                </a:lnTo>
                <a:lnTo>
                  <a:pt x="4069264" y="1342013"/>
                </a:lnTo>
                <a:lnTo>
                  <a:pt x="4065793" y="1342013"/>
                </a:lnTo>
                <a:lnTo>
                  <a:pt x="4064598" y="1339414"/>
                </a:lnTo>
                <a:lnTo>
                  <a:pt x="4061344" y="1340280"/>
                </a:lnTo>
                <a:lnTo>
                  <a:pt x="4061235" y="1343420"/>
                </a:lnTo>
                <a:lnTo>
                  <a:pt x="4057979" y="1345586"/>
                </a:lnTo>
                <a:lnTo>
                  <a:pt x="4056243" y="1344286"/>
                </a:lnTo>
                <a:lnTo>
                  <a:pt x="4051251" y="1342987"/>
                </a:lnTo>
                <a:lnTo>
                  <a:pt x="4044089" y="1343962"/>
                </a:lnTo>
                <a:lnTo>
                  <a:pt x="4041267" y="1346127"/>
                </a:lnTo>
                <a:lnTo>
                  <a:pt x="4035842" y="1346343"/>
                </a:lnTo>
                <a:lnTo>
                  <a:pt x="4034214" y="1343637"/>
                </a:lnTo>
                <a:lnTo>
                  <a:pt x="4032044" y="1342121"/>
                </a:lnTo>
                <a:lnTo>
                  <a:pt x="4031501" y="1339955"/>
                </a:lnTo>
                <a:lnTo>
                  <a:pt x="4033454" y="1339414"/>
                </a:lnTo>
                <a:lnTo>
                  <a:pt x="4037469" y="1337141"/>
                </a:lnTo>
                <a:lnTo>
                  <a:pt x="4034865" y="1337141"/>
                </a:lnTo>
                <a:lnTo>
                  <a:pt x="4031393" y="1335625"/>
                </a:lnTo>
                <a:lnTo>
                  <a:pt x="4031609" y="1334218"/>
                </a:lnTo>
                <a:lnTo>
                  <a:pt x="4033563" y="1334759"/>
                </a:lnTo>
                <a:lnTo>
                  <a:pt x="4035407" y="1333784"/>
                </a:lnTo>
                <a:lnTo>
                  <a:pt x="4042135" y="1333784"/>
                </a:lnTo>
                <a:lnTo>
                  <a:pt x="4046802" y="1330536"/>
                </a:lnTo>
                <a:lnTo>
                  <a:pt x="4040508" y="1330536"/>
                </a:lnTo>
                <a:lnTo>
                  <a:pt x="4037904" y="1332269"/>
                </a:lnTo>
                <a:lnTo>
                  <a:pt x="4034106" y="1331510"/>
                </a:lnTo>
                <a:lnTo>
                  <a:pt x="4037035" y="1328263"/>
                </a:lnTo>
                <a:lnTo>
                  <a:pt x="4029331" y="1324798"/>
                </a:lnTo>
                <a:lnTo>
                  <a:pt x="4029656" y="1322849"/>
                </a:lnTo>
                <a:lnTo>
                  <a:pt x="4034757" y="1322091"/>
                </a:lnTo>
                <a:lnTo>
                  <a:pt x="4038338" y="1319059"/>
                </a:lnTo>
                <a:lnTo>
                  <a:pt x="4040508" y="1319925"/>
                </a:lnTo>
                <a:lnTo>
                  <a:pt x="4045174" y="1318627"/>
                </a:lnTo>
                <a:lnTo>
                  <a:pt x="4052553" y="1322416"/>
                </a:lnTo>
                <a:lnTo>
                  <a:pt x="4054941" y="1321225"/>
                </a:lnTo>
                <a:lnTo>
                  <a:pt x="4061126" y="1322091"/>
                </a:lnTo>
                <a:lnTo>
                  <a:pt x="4065575" y="1317543"/>
                </a:lnTo>
                <a:lnTo>
                  <a:pt x="4062212" y="1317543"/>
                </a:lnTo>
                <a:lnTo>
                  <a:pt x="4060041" y="1319168"/>
                </a:lnTo>
                <a:lnTo>
                  <a:pt x="4053096" y="1319168"/>
                </a:lnTo>
                <a:lnTo>
                  <a:pt x="4048646" y="1316353"/>
                </a:lnTo>
                <a:lnTo>
                  <a:pt x="4041593" y="1314837"/>
                </a:lnTo>
                <a:lnTo>
                  <a:pt x="4036276" y="1316461"/>
                </a:lnTo>
                <a:lnTo>
                  <a:pt x="4034322" y="1314512"/>
                </a:lnTo>
                <a:lnTo>
                  <a:pt x="4036276" y="1311805"/>
                </a:lnTo>
                <a:lnTo>
                  <a:pt x="4031826" y="1307691"/>
                </a:lnTo>
                <a:lnTo>
                  <a:pt x="4031284" y="1305092"/>
                </a:lnTo>
                <a:lnTo>
                  <a:pt x="4033454" y="1304443"/>
                </a:lnTo>
                <a:lnTo>
                  <a:pt x="4037469" y="1308016"/>
                </a:lnTo>
                <a:lnTo>
                  <a:pt x="4038664" y="1312347"/>
                </a:lnTo>
                <a:lnTo>
                  <a:pt x="4041593" y="1310398"/>
                </a:lnTo>
                <a:lnTo>
                  <a:pt x="4039423" y="1305851"/>
                </a:lnTo>
                <a:lnTo>
                  <a:pt x="4046260" y="1306067"/>
                </a:lnTo>
                <a:lnTo>
                  <a:pt x="4047561" y="1310506"/>
                </a:lnTo>
                <a:lnTo>
                  <a:pt x="4050058" y="1309423"/>
                </a:lnTo>
                <a:lnTo>
                  <a:pt x="4053747" y="1309099"/>
                </a:lnTo>
                <a:lnTo>
                  <a:pt x="4049190" y="1306067"/>
                </a:lnTo>
                <a:lnTo>
                  <a:pt x="4053747" y="1301303"/>
                </a:lnTo>
                <a:lnTo>
                  <a:pt x="4058956" y="1304660"/>
                </a:lnTo>
                <a:lnTo>
                  <a:pt x="4059607" y="1302278"/>
                </a:lnTo>
                <a:lnTo>
                  <a:pt x="4057979" y="1299246"/>
                </a:lnTo>
                <a:lnTo>
                  <a:pt x="4062320" y="1298488"/>
                </a:lnTo>
                <a:lnTo>
                  <a:pt x="4066335" y="1299896"/>
                </a:lnTo>
                <a:lnTo>
                  <a:pt x="4066552" y="1306067"/>
                </a:lnTo>
                <a:lnTo>
                  <a:pt x="4067963" y="1307908"/>
                </a:lnTo>
                <a:lnTo>
                  <a:pt x="4071435" y="1306067"/>
                </a:lnTo>
                <a:lnTo>
                  <a:pt x="4069373" y="1302927"/>
                </a:lnTo>
                <a:lnTo>
                  <a:pt x="4071001" y="1299246"/>
                </a:lnTo>
                <a:lnTo>
                  <a:pt x="4065250" y="1296106"/>
                </a:lnTo>
                <a:lnTo>
                  <a:pt x="4060584" y="1293074"/>
                </a:lnTo>
                <a:lnTo>
                  <a:pt x="4053096" y="1291992"/>
                </a:lnTo>
                <a:lnTo>
                  <a:pt x="4052011" y="1290151"/>
                </a:lnTo>
                <a:lnTo>
                  <a:pt x="4055700" y="1287986"/>
                </a:lnTo>
                <a:lnTo>
                  <a:pt x="4057654" y="1289285"/>
                </a:lnTo>
                <a:lnTo>
                  <a:pt x="4060584" y="1287445"/>
                </a:lnTo>
                <a:lnTo>
                  <a:pt x="4063948" y="1290476"/>
                </a:lnTo>
                <a:lnTo>
                  <a:pt x="4066335" y="1288527"/>
                </a:lnTo>
                <a:lnTo>
                  <a:pt x="4068288" y="1288527"/>
                </a:lnTo>
                <a:lnTo>
                  <a:pt x="4072303" y="1293724"/>
                </a:lnTo>
                <a:lnTo>
                  <a:pt x="4076970" y="1295023"/>
                </a:lnTo>
                <a:lnTo>
                  <a:pt x="4079682" y="1291125"/>
                </a:lnTo>
                <a:lnTo>
                  <a:pt x="4086628" y="1288202"/>
                </a:lnTo>
                <a:lnTo>
                  <a:pt x="4088038" y="1285712"/>
                </a:lnTo>
                <a:lnTo>
                  <a:pt x="4085325" y="1285712"/>
                </a:lnTo>
                <a:lnTo>
                  <a:pt x="4079357" y="1288527"/>
                </a:lnTo>
                <a:lnTo>
                  <a:pt x="4077512" y="1287445"/>
                </a:lnTo>
                <a:lnTo>
                  <a:pt x="4080985" y="1285062"/>
                </a:lnTo>
                <a:lnTo>
                  <a:pt x="4079682" y="1283547"/>
                </a:lnTo>
                <a:lnTo>
                  <a:pt x="4071978" y="1285821"/>
                </a:lnTo>
                <a:lnTo>
                  <a:pt x="4068288" y="1282031"/>
                </a:lnTo>
                <a:lnTo>
                  <a:pt x="4070893" y="1279649"/>
                </a:lnTo>
                <a:lnTo>
                  <a:pt x="4070133" y="1276076"/>
                </a:lnTo>
                <a:lnTo>
                  <a:pt x="4071978" y="1273911"/>
                </a:lnTo>
                <a:lnTo>
                  <a:pt x="4074257" y="1275860"/>
                </a:lnTo>
                <a:lnTo>
                  <a:pt x="4079032" y="1275860"/>
                </a:lnTo>
                <a:lnTo>
                  <a:pt x="4082830" y="1278783"/>
                </a:lnTo>
                <a:lnTo>
                  <a:pt x="4085651" y="1276942"/>
                </a:lnTo>
                <a:lnTo>
                  <a:pt x="4091836" y="1283872"/>
                </a:lnTo>
                <a:lnTo>
                  <a:pt x="4098347" y="1286362"/>
                </a:lnTo>
                <a:lnTo>
                  <a:pt x="4102363" y="1286254"/>
                </a:lnTo>
                <a:lnTo>
                  <a:pt x="4100300" y="1283980"/>
                </a:lnTo>
                <a:lnTo>
                  <a:pt x="4096502" y="1283547"/>
                </a:lnTo>
                <a:lnTo>
                  <a:pt x="4092162" y="1280190"/>
                </a:lnTo>
                <a:lnTo>
                  <a:pt x="4088038" y="1274668"/>
                </a:lnTo>
                <a:lnTo>
                  <a:pt x="4088798" y="1271095"/>
                </a:lnTo>
                <a:lnTo>
                  <a:pt x="4090426" y="1270879"/>
                </a:lnTo>
                <a:lnTo>
                  <a:pt x="4091294" y="1273694"/>
                </a:lnTo>
                <a:lnTo>
                  <a:pt x="4095417" y="1277376"/>
                </a:lnTo>
                <a:lnTo>
                  <a:pt x="4099650" y="1277376"/>
                </a:lnTo>
                <a:lnTo>
                  <a:pt x="4100518" y="1280623"/>
                </a:lnTo>
                <a:lnTo>
                  <a:pt x="4105943" y="1282248"/>
                </a:lnTo>
                <a:lnTo>
                  <a:pt x="4106161" y="1279325"/>
                </a:lnTo>
                <a:lnTo>
                  <a:pt x="4103448" y="1278242"/>
                </a:lnTo>
                <a:lnTo>
                  <a:pt x="4104641" y="1274993"/>
                </a:lnTo>
                <a:lnTo>
                  <a:pt x="4098564" y="1274993"/>
                </a:lnTo>
                <a:lnTo>
                  <a:pt x="4093247" y="1271962"/>
                </a:lnTo>
                <a:lnTo>
                  <a:pt x="4093789" y="1269797"/>
                </a:lnTo>
                <a:lnTo>
                  <a:pt x="4097045" y="1269797"/>
                </a:lnTo>
                <a:lnTo>
                  <a:pt x="4099215" y="1271962"/>
                </a:lnTo>
                <a:lnTo>
                  <a:pt x="4101386" y="1269255"/>
                </a:lnTo>
                <a:lnTo>
                  <a:pt x="4106269" y="1266115"/>
                </a:lnTo>
                <a:lnTo>
                  <a:pt x="4105075" y="1264924"/>
                </a:lnTo>
                <a:lnTo>
                  <a:pt x="4102688" y="1266007"/>
                </a:lnTo>
                <a:lnTo>
                  <a:pt x="4100192" y="1265466"/>
                </a:lnTo>
                <a:lnTo>
                  <a:pt x="4104641" y="1261243"/>
                </a:lnTo>
                <a:lnTo>
                  <a:pt x="4108114" y="1260810"/>
                </a:lnTo>
                <a:lnTo>
                  <a:pt x="4112129" y="1262542"/>
                </a:lnTo>
                <a:lnTo>
                  <a:pt x="4118097" y="1257129"/>
                </a:lnTo>
                <a:lnTo>
                  <a:pt x="4112238" y="1257129"/>
                </a:lnTo>
                <a:lnTo>
                  <a:pt x="4112238" y="1254964"/>
                </a:lnTo>
                <a:lnTo>
                  <a:pt x="4116795" y="1254422"/>
                </a:lnTo>
                <a:lnTo>
                  <a:pt x="4118640" y="1251174"/>
                </a:lnTo>
                <a:lnTo>
                  <a:pt x="4121895" y="1251174"/>
                </a:lnTo>
                <a:lnTo>
                  <a:pt x="4125151" y="1255938"/>
                </a:lnTo>
                <a:lnTo>
                  <a:pt x="4125151" y="1260160"/>
                </a:lnTo>
                <a:lnTo>
                  <a:pt x="4127973" y="1263950"/>
                </a:lnTo>
                <a:lnTo>
                  <a:pt x="4126019" y="1265466"/>
                </a:lnTo>
                <a:lnTo>
                  <a:pt x="4123306" y="1268497"/>
                </a:lnTo>
                <a:lnTo>
                  <a:pt x="4126996" y="1266548"/>
                </a:lnTo>
                <a:lnTo>
                  <a:pt x="4130686" y="1264383"/>
                </a:lnTo>
                <a:lnTo>
                  <a:pt x="4130903" y="1260377"/>
                </a:lnTo>
                <a:lnTo>
                  <a:pt x="4133832" y="1257995"/>
                </a:lnTo>
                <a:lnTo>
                  <a:pt x="4138716" y="1257887"/>
                </a:lnTo>
                <a:lnTo>
                  <a:pt x="4142080" y="1261243"/>
                </a:lnTo>
                <a:lnTo>
                  <a:pt x="4146311" y="1261676"/>
                </a:lnTo>
                <a:lnTo>
                  <a:pt x="4146095" y="1257345"/>
                </a:lnTo>
                <a:lnTo>
                  <a:pt x="4148482" y="1254205"/>
                </a:lnTo>
                <a:lnTo>
                  <a:pt x="4144250" y="1252040"/>
                </a:lnTo>
                <a:lnTo>
                  <a:pt x="4150977" y="1245111"/>
                </a:lnTo>
                <a:lnTo>
                  <a:pt x="4154450" y="1244677"/>
                </a:lnTo>
                <a:lnTo>
                  <a:pt x="4156621" y="1241754"/>
                </a:lnTo>
                <a:lnTo>
                  <a:pt x="4150110" y="1239805"/>
                </a:lnTo>
                <a:lnTo>
                  <a:pt x="4150218" y="1236774"/>
                </a:lnTo>
                <a:lnTo>
                  <a:pt x="4156947" y="1232443"/>
                </a:lnTo>
                <a:lnTo>
                  <a:pt x="4154450" y="1232659"/>
                </a:lnTo>
                <a:lnTo>
                  <a:pt x="4150218" y="1231902"/>
                </a:lnTo>
                <a:lnTo>
                  <a:pt x="4148048" y="1233850"/>
                </a:lnTo>
                <a:lnTo>
                  <a:pt x="4146420" y="1234283"/>
                </a:lnTo>
                <a:lnTo>
                  <a:pt x="4145552" y="1239264"/>
                </a:lnTo>
                <a:lnTo>
                  <a:pt x="4142297" y="1243595"/>
                </a:lnTo>
                <a:lnTo>
                  <a:pt x="4146095" y="1242512"/>
                </a:lnTo>
                <a:lnTo>
                  <a:pt x="4146095" y="1245760"/>
                </a:lnTo>
                <a:lnTo>
                  <a:pt x="4138824" y="1252798"/>
                </a:lnTo>
                <a:lnTo>
                  <a:pt x="4133398" y="1253556"/>
                </a:lnTo>
                <a:lnTo>
                  <a:pt x="4128406" y="1256479"/>
                </a:lnTo>
                <a:lnTo>
                  <a:pt x="4125693" y="1252798"/>
                </a:lnTo>
                <a:lnTo>
                  <a:pt x="4126019" y="1248142"/>
                </a:lnTo>
                <a:lnTo>
                  <a:pt x="4129058" y="1246843"/>
                </a:lnTo>
                <a:lnTo>
                  <a:pt x="4129491" y="1244136"/>
                </a:lnTo>
                <a:lnTo>
                  <a:pt x="4126996" y="1243920"/>
                </a:lnTo>
                <a:lnTo>
                  <a:pt x="4122221" y="1247060"/>
                </a:lnTo>
                <a:lnTo>
                  <a:pt x="4120919" y="1245219"/>
                </a:lnTo>
                <a:lnTo>
                  <a:pt x="4125151" y="1241213"/>
                </a:lnTo>
                <a:lnTo>
                  <a:pt x="4128190" y="1238723"/>
                </a:lnTo>
                <a:lnTo>
                  <a:pt x="4128949" y="1233850"/>
                </a:lnTo>
                <a:lnTo>
                  <a:pt x="4128406" y="1232226"/>
                </a:lnTo>
                <a:lnTo>
                  <a:pt x="4132531" y="1229520"/>
                </a:lnTo>
                <a:lnTo>
                  <a:pt x="4132204" y="1224648"/>
                </a:lnTo>
                <a:lnTo>
                  <a:pt x="4134484" y="1223457"/>
                </a:lnTo>
                <a:lnTo>
                  <a:pt x="4139909" y="1223457"/>
                </a:lnTo>
                <a:lnTo>
                  <a:pt x="4138716" y="1221075"/>
                </a:lnTo>
                <a:lnTo>
                  <a:pt x="4139258" y="1218368"/>
                </a:lnTo>
                <a:lnTo>
                  <a:pt x="4141429" y="1216310"/>
                </a:lnTo>
                <a:lnTo>
                  <a:pt x="4140343" y="1213604"/>
                </a:lnTo>
                <a:lnTo>
                  <a:pt x="4143382" y="1213604"/>
                </a:lnTo>
                <a:lnTo>
                  <a:pt x="4144793" y="1211438"/>
                </a:lnTo>
                <a:lnTo>
                  <a:pt x="4147180" y="1212954"/>
                </a:lnTo>
                <a:lnTo>
                  <a:pt x="4147939" y="1216528"/>
                </a:lnTo>
                <a:lnTo>
                  <a:pt x="4151521" y="1216310"/>
                </a:lnTo>
                <a:lnTo>
                  <a:pt x="4153365" y="1212413"/>
                </a:lnTo>
                <a:lnTo>
                  <a:pt x="4156947" y="1210573"/>
                </a:lnTo>
                <a:lnTo>
                  <a:pt x="4152281" y="1209165"/>
                </a:lnTo>
                <a:lnTo>
                  <a:pt x="4151954" y="1207324"/>
                </a:lnTo>
                <a:lnTo>
                  <a:pt x="4154559" y="1203535"/>
                </a:lnTo>
                <a:lnTo>
                  <a:pt x="4160527" y="1202993"/>
                </a:lnTo>
                <a:lnTo>
                  <a:pt x="4161613" y="1201045"/>
                </a:lnTo>
                <a:lnTo>
                  <a:pt x="4158357" y="1199420"/>
                </a:lnTo>
                <a:lnTo>
                  <a:pt x="4161504" y="1196714"/>
                </a:lnTo>
                <a:lnTo>
                  <a:pt x="4165302" y="1195090"/>
                </a:lnTo>
                <a:lnTo>
                  <a:pt x="4165411" y="1192924"/>
                </a:lnTo>
                <a:lnTo>
                  <a:pt x="4168341" y="1191625"/>
                </a:lnTo>
                <a:lnTo>
                  <a:pt x="4171813" y="1191625"/>
                </a:lnTo>
                <a:lnTo>
                  <a:pt x="4175720" y="1187294"/>
                </a:lnTo>
                <a:lnTo>
                  <a:pt x="4178650" y="1186753"/>
                </a:lnTo>
                <a:lnTo>
                  <a:pt x="4180603" y="1181339"/>
                </a:lnTo>
                <a:lnTo>
                  <a:pt x="4178541" y="1181339"/>
                </a:lnTo>
                <a:lnTo>
                  <a:pt x="4176479" y="1184912"/>
                </a:lnTo>
                <a:lnTo>
                  <a:pt x="4173767" y="1185129"/>
                </a:lnTo>
                <a:lnTo>
                  <a:pt x="4172030" y="1181123"/>
                </a:lnTo>
                <a:lnTo>
                  <a:pt x="4172139" y="1177008"/>
                </a:lnTo>
                <a:lnTo>
                  <a:pt x="4170728" y="1176684"/>
                </a:lnTo>
                <a:lnTo>
                  <a:pt x="4170836" y="1172894"/>
                </a:lnTo>
                <a:lnTo>
                  <a:pt x="4173115" y="1171595"/>
                </a:lnTo>
                <a:lnTo>
                  <a:pt x="4178324" y="1175059"/>
                </a:lnTo>
                <a:lnTo>
                  <a:pt x="4178650" y="1172461"/>
                </a:lnTo>
                <a:lnTo>
                  <a:pt x="4177890" y="1170512"/>
                </a:lnTo>
                <a:lnTo>
                  <a:pt x="4173984" y="1169429"/>
                </a:lnTo>
                <a:lnTo>
                  <a:pt x="4173767" y="1165640"/>
                </a:lnTo>
                <a:lnTo>
                  <a:pt x="4175394" y="1164341"/>
                </a:lnTo>
                <a:lnTo>
                  <a:pt x="4177890" y="1166723"/>
                </a:lnTo>
                <a:lnTo>
                  <a:pt x="4179952" y="1166723"/>
                </a:lnTo>
                <a:lnTo>
                  <a:pt x="4179410" y="1163692"/>
                </a:lnTo>
                <a:lnTo>
                  <a:pt x="4177239" y="1161201"/>
                </a:lnTo>
                <a:lnTo>
                  <a:pt x="4178541" y="1160443"/>
                </a:lnTo>
                <a:lnTo>
                  <a:pt x="4178324" y="1157303"/>
                </a:lnTo>
                <a:lnTo>
                  <a:pt x="4180495" y="1154596"/>
                </a:lnTo>
                <a:lnTo>
                  <a:pt x="4182665" y="1154596"/>
                </a:lnTo>
                <a:lnTo>
                  <a:pt x="4185378" y="1157520"/>
                </a:lnTo>
                <a:lnTo>
                  <a:pt x="4185486" y="1153947"/>
                </a:lnTo>
                <a:lnTo>
                  <a:pt x="4183208" y="1151782"/>
                </a:lnTo>
                <a:lnTo>
                  <a:pt x="4182773" y="1148641"/>
                </a:lnTo>
                <a:lnTo>
                  <a:pt x="4178107" y="1148533"/>
                </a:lnTo>
                <a:lnTo>
                  <a:pt x="4176697" y="1147017"/>
                </a:lnTo>
                <a:lnTo>
                  <a:pt x="4181145" y="1142903"/>
                </a:lnTo>
                <a:lnTo>
                  <a:pt x="4187656" y="1142795"/>
                </a:lnTo>
                <a:lnTo>
                  <a:pt x="4189501" y="1144527"/>
                </a:lnTo>
                <a:lnTo>
                  <a:pt x="4193517" y="1144527"/>
                </a:lnTo>
                <a:lnTo>
                  <a:pt x="4193517" y="1142362"/>
                </a:lnTo>
                <a:lnTo>
                  <a:pt x="4196338" y="1139655"/>
                </a:lnTo>
                <a:lnTo>
                  <a:pt x="4192757" y="1141280"/>
                </a:lnTo>
                <a:lnTo>
                  <a:pt x="4190261" y="1140521"/>
                </a:lnTo>
                <a:lnTo>
                  <a:pt x="4189284" y="1137706"/>
                </a:lnTo>
                <a:lnTo>
                  <a:pt x="4182990" y="1135541"/>
                </a:lnTo>
                <a:lnTo>
                  <a:pt x="4180495" y="1134458"/>
                </a:lnTo>
                <a:lnTo>
                  <a:pt x="4181905" y="1131860"/>
                </a:lnTo>
                <a:lnTo>
                  <a:pt x="4181905" y="1129261"/>
                </a:lnTo>
                <a:lnTo>
                  <a:pt x="4183533" y="1130777"/>
                </a:lnTo>
                <a:lnTo>
                  <a:pt x="4186463" y="1130344"/>
                </a:lnTo>
                <a:lnTo>
                  <a:pt x="4188959" y="1128720"/>
                </a:lnTo>
                <a:lnTo>
                  <a:pt x="4186463" y="1128720"/>
                </a:lnTo>
                <a:lnTo>
                  <a:pt x="4185920" y="1126013"/>
                </a:lnTo>
                <a:lnTo>
                  <a:pt x="4187874" y="1124281"/>
                </a:lnTo>
                <a:lnTo>
                  <a:pt x="4184835" y="1121791"/>
                </a:lnTo>
                <a:lnTo>
                  <a:pt x="4186246" y="1120383"/>
                </a:lnTo>
                <a:lnTo>
                  <a:pt x="4186788" y="1121574"/>
                </a:lnTo>
                <a:lnTo>
                  <a:pt x="4191129" y="1122332"/>
                </a:lnTo>
                <a:lnTo>
                  <a:pt x="4192214" y="1120599"/>
                </a:lnTo>
                <a:lnTo>
                  <a:pt x="4189284" y="1117893"/>
                </a:lnTo>
                <a:lnTo>
                  <a:pt x="4190587" y="1116702"/>
                </a:lnTo>
                <a:lnTo>
                  <a:pt x="4192431" y="1117676"/>
                </a:lnTo>
                <a:lnTo>
                  <a:pt x="4195579" y="1116485"/>
                </a:lnTo>
                <a:lnTo>
                  <a:pt x="4192866" y="1113129"/>
                </a:lnTo>
                <a:lnTo>
                  <a:pt x="4189284" y="1111613"/>
                </a:lnTo>
                <a:lnTo>
                  <a:pt x="4189827" y="1109340"/>
                </a:lnTo>
                <a:lnTo>
                  <a:pt x="4193082" y="1109123"/>
                </a:lnTo>
                <a:lnTo>
                  <a:pt x="4198942" y="1106091"/>
                </a:lnTo>
                <a:lnTo>
                  <a:pt x="4200570" y="1107607"/>
                </a:lnTo>
                <a:lnTo>
                  <a:pt x="4204368" y="1105550"/>
                </a:lnTo>
                <a:lnTo>
                  <a:pt x="4204368" y="1101977"/>
                </a:lnTo>
                <a:lnTo>
                  <a:pt x="4210987" y="1100895"/>
                </a:lnTo>
                <a:lnTo>
                  <a:pt x="4213375" y="1099487"/>
                </a:lnTo>
                <a:lnTo>
                  <a:pt x="4218258" y="1099487"/>
                </a:lnTo>
                <a:lnTo>
                  <a:pt x="4224444" y="1103385"/>
                </a:lnTo>
                <a:lnTo>
                  <a:pt x="4224444" y="1100678"/>
                </a:lnTo>
                <a:lnTo>
                  <a:pt x="4221514" y="1099054"/>
                </a:lnTo>
                <a:lnTo>
                  <a:pt x="4220211" y="1095264"/>
                </a:lnTo>
                <a:lnTo>
                  <a:pt x="4216305" y="1096564"/>
                </a:lnTo>
                <a:lnTo>
                  <a:pt x="4213700" y="1094073"/>
                </a:lnTo>
                <a:lnTo>
                  <a:pt x="4209903" y="1096564"/>
                </a:lnTo>
                <a:lnTo>
                  <a:pt x="4205453" y="1094507"/>
                </a:lnTo>
                <a:lnTo>
                  <a:pt x="4205453" y="1091691"/>
                </a:lnTo>
                <a:lnTo>
                  <a:pt x="4209577" y="1088660"/>
                </a:lnTo>
                <a:lnTo>
                  <a:pt x="4213917" y="1088227"/>
                </a:lnTo>
                <a:lnTo>
                  <a:pt x="4210662" y="1085736"/>
                </a:lnTo>
                <a:lnTo>
                  <a:pt x="4213592" y="1082705"/>
                </a:lnTo>
                <a:lnTo>
                  <a:pt x="4215762" y="1082272"/>
                </a:lnTo>
                <a:lnTo>
                  <a:pt x="4219343" y="1086928"/>
                </a:lnTo>
                <a:lnTo>
                  <a:pt x="4222273" y="1086603"/>
                </a:lnTo>
                <a:lnTo>
                  <a:pt x="4225638" y="1089309"/>
                </a:lnTo>
                <a:lnTo>
                  <a:pt x="4225855" y="1085736"/>
                </a:lnTo>
                <a:lnTo>
                  <a:pt x="4220754" y="1082705"/>
                </a:lnTo>
                <a:lnTo>
                  <a:pt x="4218475" y="1079240"/>
                </a:lnTo>
                <a:lnTo>
                  <a:pt x="4219343" y="1074585"/>
                </a:lnTo>
                <a:lnTo>
                  <a:pt x="4225638" y="1073826"/>
                </a:lnTo>
                <a:lnTo>
                  <a:pt x="4223576" y="1070795"/>
                </a:lnTo>
                <a:lnTo>
                  <a:pt x="4219669" y="1070579"/>
                </a:lnTo>
                <a:lnTo>
                  <a:pt x="4215329" y="1075559"/>
                </a:lnTo>
                <a:lnTo>
                  <a:pt x="4211964" y="1076317"/>
                </a:lnTo>
                <a:lnTo>
                  <a:pt x="4214785" y="1072419"/>
                </a:lnTo>
                <a:lnTo>
                  <a:pt x="4211964" y="1069712"/>
                </a:lnTo>
                <a:lnTo>
                  <a:pt x="4213700" y="1065273"/>
                </a:lnTo>
                <a:lnTo>
                  <a:pt x="4217173" y="1065165"/>
                </a:lnTo>
                <a:lnTo>
                  <a:pt x="4219018" y="1066789"/>
                </a:lnTo>
                <a:lnTo>
                  <a:pt x="4227699" y="1065490"/>
                </a:lnTo>
                <a:lnTo>
                  <a:pt x="4229978" y="1061917"/>
                </a:lnTo>
                <a:lnTo>
                  <a:pt x="4225855" y="1059426"/>
                </a:lnTo>
                <a:lnTo>
                  <a:pt x="4220754" y="1059535"/>
                </a:lnTo>
                <a:lnTo>
                  <a:pt x="4217498" y="1056179"/>
                </a:lnTo>
                <a:lnTo>
                  <a:pt x="4221297" y="1051956"/>
                </a:lnTo>
                <a:lnTo>
                  <a:pt x="4224010" y="1052281"/>
                </a:lnTo>
                <a:lnTo>
                  <a:pt x="4222816" y="1054338"/>
                </a:lnTo>
                <a:lnTo>
                  <a:pt x="4224444" y="1057045"/>
                </a:lnTo>
                <a:lnTo>
                  <a:pt x="4227808" y="1056179"/>
                </a:lnTo>
                <a:lnTo>
                  <a:pt x="4231064" y="1052714"/>
                </a:lnTo>
                <a:lnTo>
                  <a:pt x="4234319" y="1056936"/>
                </a:lnTo>
                <a:lnTo>
                  <a:pt x="4234210" y="1061159"/>
                </a:lnTo>
                <a:lnTo>
                  <a:pt x="4236163" y="1064516"/>
                </a:lnTo>
                <a:lnTo>
                  <a:pt x="4237032" y="1062025"/>
                </a:lnTo>
                <a:lnTo>
                  <a:pt x="4236381" y="1058669"/>
                </a:lnTo>
                <a:lnTo>
                  <a:pt x="4237791" y="1055962"/>
                </a:lnTo>
                <a:lnTo>
                  <a:pt x="4239962" y="1055854"/>
                </a:lnTo>
                <a:lnTo>
                  <a:pt x="4238551" y="1052173"/>
                </a:lnTo>
                <a:lnTo>
                  <a:pt x="4234970" y="1049574"/>
                </a:lnTo>
                <a:lnTo>
                  <a:pt x="4237574" y="1049249"/>
                </a:lnTo>
                <a:lnTo>
                  <a:pt x="4241155" y="1051306"/>
                </a:lnTo>
                <a:lnTo>
                  <a:pt x="4242566" y="1048600"/>
                </a:lnTo>
                <a:lnTo>
                  <a:pt x="4241047" y="1046975"/>
                </a:lnTo>
                <a:lnTo>
                  <a:pt x="4245821" y="1046975"/>
                </a:lnTo>
                <a:lnTo>
                  <a:pt x="4247558" y="1049033"/>
                </a:lnTo>
                <a:lnTo>
                  <a:pt x="4251464" y="1048058"/>
                </a:lnTo>
                <a:lnTo>
                  <a:pt x="4252007" y="1051198"/>
                </a:lnTo>
                <a:lnTo>
                  <a:pt x="4253852" y="1053472"/>
                </a:lnTo>
                <a:lnTo>
                  <a:pt x="4254937" y="1052173"/>
                </a:lnTo>
                <a:lnTo>
                  <a:pt x="4255805" y="1045785"/>
                </a:lnTo>
                <a:lnTo>
                  <a:pt x="4258843" y="1042320"/>
                </a:lnTo>
                <a:lnTo>
                  <a:pt x="4258735" y="1039288"/>
                </a:lnTo>
                <a:lnTo>
                  <a:pt x="4256130" y="1039397"/>
                </a:lnTo>
                <a:lnTo>
                  <a:pt x="4251790" y="1041562"/>
                </a:lnTo>
                <a:lnTo>
                  <a:pt x="4249294" y="1040046"/>
                </a:lnTo>
                <a:lnTo>
                  <a:pt x="4238985" y="1042969"/>
                </a:lnTo>
                <a:lnTo>
                  <a:pt x="4235078" y="1041671"/>
                </a:lnTo>
                <a:lnTo>
                  <a:pt x="4237466" y="1037339"/>
                </a:lnTo>
                <a:lnTo>
                  <a:pt x="4242132" y="1036906"/>
                </a:lnTo>
                <a:lnTo>
                  <a:pt x="4243543" y="1035499"/>
                </a:lnTo>
                <a:lnTo>
                  <a:pt x="4242349" y="1033225"/>
                </a:lnTo>
                <a:lnTo>
                  <a:pt x="4245388" y="1029328"/>
                </a:lnTo>
                <a:lnTo>
                  <a:pt x="4248860" y="1028353"/>
                </a:lnTo>
                <a:lnTo>
                  <a:pt x="4250814" y="1030843"/>
                </a:lnTo>
                <a:lnTo>
                  <a:pt x="4253635" y="1030194"/>
                </a:lnTo>
                <a:lnTo>
                  <a:pt x="4252332" y="1029111"/>
                </a:lnTo>
                <a:lnTo>
                  <a:pt x="4252441" y="1026729"/>
                </a:lnTo>
                <a:lnTo>
                  <a:pt x="4255805" y="1026512"/>
                </a:lnTo>
                <a:lnTo>
                  <a:pt x="4257650" y="1024347"/>
                </a:lnTo>
                <a:lnTo>
                  <a:pt x="4255045" y="1022506"/>
                </a:lnTo>
                <a:lnTo>
                  <a:pt x="4257867" y="1020666"/>
                </a:lnTo>
                <a:lnTo>
                  <a:pt x="4261665" y="1020233"/>
                </a:lnTo>
                <a:lnTo>
                  <a:pt x="4258735" y="1016660"/>
                </a:lnTo>
                <a:lnTo>
                  <a:pt x="4255697" y="1017093"/>
                </a:lnTo>
                <a:lnTo>
                  <a:pt x="4254612" y="1016551"/>
                </a:lnTo>
                <a:lnTo>
                  <a:pt x="4259060" y="1011247"/>
                </a:lnTo>
                <a:lnTo>
                  <a:pt x="4262425" y="1010164"/>
                </a:lnTo>
                <a:lnTo>
                  <a:pt x="4266223" y="1012112"/>
                </a:lnTo>
                <a:lnTo>
                  <a:pt x="4266982" y="1006807"/>
                </a:lnTo>
                <a:lnTo>
                  <a:pt x="4264812" y="1004100"/>
                </a:lnTo>
                <a:lnTo>
                  <a:pt x="4265897" y="998145"/>
                </a:lnTo>
                <a:lnTo>
                  <a:pt x="4268610" y="996088"/>
                </a:lnTo>
                <a:lnTo>
                  <a:pt x="4269587" y="999770"/>
                </a:lnTo>
                <a:lnTo>
                  <a:pt x="4271432" y="1000853"/>
                </a:lnTo>
                <a:lnTo>
                  <a:pt x="4271974" y="1006374"/>
                </a:lnTo>
                <a:lnTo>
                  <a:pt x="4276532" y="1009622"/>
                </a:lnTo>
                <a:lnTo>
                  <a:pt x="4273819" y="1005075"/>
                </a:lnTo>
                <a:lnTo>
                  <a:pt x="4277943" y="1003776"/>
                </a:lnTo>
                <a:lnTo>
                  <a:pt x="4281958" y="1004317"/>
                </a:lnTo>
                <a:lnTo>
                  <a:pt x="4280438" y="1002584"/>
                </a:lnTo>
                <a:lnTo>
                  <a:pt x="4277617" y="1002151"/>
                </a:lnTo>
                <a:lnTo>
                  <a:pt x="4271432" y="997496"/>
                </a:lnTo>
                <a:lnTo>
                  <a:pt x="4272191" y="994464"/>
                </a:lnTo>
                <a:lnTo>
                  <a:pt x="4278377" y="992407"/>
                </a:lnTo>
                <a:lnTo>
                  <a:pt x="4279787" y="993274"/>
                </a:lnTo>
                <a:lnTo>
                  <a:pt x="4282934" y="1001719"/>
                </a:lnTo>
                <a:lnTo>
                  <a:pt x="4287817" y="1003776"/>
                </a:lnTo>
                <a:lnTo>
                  <a:pt x="4289879" y="1010272"/>
                </a:lnTo>
                <a:lnTo>
                  <a:pt x="4292484" y="1005183"/>
                </a:lnTo>
                <a:lnTo>
                  <a:pt x="4290639" y="1001935"/>
                </a:lnTo>
                <a:lnTo>
                  <a:pt x="4284128" y="997280"/>
                </a:lnTo>
                <a:lnTo>
                  <a:pt x="4284453" y="993165"/>
                </a:lnTo>
                <a:lnTo>
                  <a:pt x="4282391" y="988510"/>
                </a:lnTo>
                <a:lnTo>
                  <a:pt x="4285539" y="982555"/>
                </a:lnTo>
                <a:lnTo>
                  <a:pt x="4290096" y="979631"/>
                </a:lnTo>
                <a:lnTo>
                  <a:pt x="4292484" y="980172"/>
                </a:lnTo>
                <a:lnTo>
                  <a:pt x="4294220" y="986669"/>
                </a:lnTo>
                <a:lnTo>
                  <a:pt x="4291941" y="991541"/>
                </a:lnTo>
                <a:lnTo>
                  <a:pt x="4292484" y="996088"/>
                </a:lnTo>
                <a:lnTo>
                  <a:pt x="4296173" y="991433"/>
                </a:lnTo>
                <a:lnTo>
                  <a:pt x="4295305" y="989051"/>
                </a:lnTo>
                <a:lnTo>
                  <a:pt x="4295413" y="983313"/>
                </a:lnTo>
                <a:lnTo>
                  <a:pt x="4300839" y="974651"/>
                </a:lnTo>
                <a:lnTo>
                  <a:pt x="4304204" y="972486"/>
                </a:lnTo>
                <a:lnTo>
                  <a:pt x="4306916" y="985911"/>
                </a:lnTo>
                <a:lnTo>
                  <a:pt x="4303552" y="992624"/>
                </a:lnTo>
                <a:lnTo>
                  <a:pt x="4304746" y="995872"/>
                </a:lnTo>
                <a:lnTo>
                  <a:pt x="4301165" y="998470"/>
                </a:lnTo>
                <a:lnTo>
                  <a:pt x="4301273" y="1000961"/>
                </a:lnTo>
                <a:lnTo>
                  <a:pt x="4306483" y="996847"/>
                </a:lnTo>
                <a:lnTo>
                  <a:pt x="4307568" y="993165"/>
                </a:lnTo>
                <a:lnTo>
                  <a:pt x="4310823" y="988401"/>
                </a:lnTo>
                <a:lnTo>
                  <a:pt x="4312885" y="990459"/>
                </a:lnTo>
                <a:lnTo>
                  <a:pt x="4316683" y="991000"/>
                </a:lnTo>
                <a:lnTo>
                  <a:pt x="4314621" y="986669"/>
                </a:lnTo>
                <a:lnTo>
                  <a:pt x="4309629" y="984395"/>
                </a:lnTo>
                <a:lnTo>
                  <a:pt x="4309412" y="980606"/>
                </a:lnTo>
                <a:lnTo>
                  <a:pt x="4313536" y="977033"/>
                </a:lnTo>
                <a:lnTo>
                  <a:pt x="4313645" y="974543"/>
                </a:lnTo>
                <a:lnTo>
                  <a:pt x="4317117" y="971619"/>
                </a:lnTo>
                <a:lnTo>
                  <a:pt x="4317985" y="977249"/>
                </a:lnTo>
                <a:lnTo>
                  <a:pt x="4321458" y="974326"/>
                </a:lnTo>
                <a:lnTo>
                  <a:pt x="4322760" y="970320"/>
                </a:lnTo>
                <a:lnTo>
                  <a:pt x="4325148" y="973243"/>
                </a:lnTo>
                <a:lnTo>
                  <a:pt x="4329271" y="974976"/>
                </a:lnTo>
                <a:lnTo>
                  <a:pt x="4332527" y="980281"/>
                </a:lnTo>
                <a:lnTo>
                  <a:pt x="4335673" y="982555"/>
                </a:lnTo>
                <a:lnTo>
                  <a:pt x="4336107" y="979307"/>
                </a:lnTo>
                <a:lnTo>
                  <a:pt x="4332527" y="974435"/>
                </a:lnTo>
                <a:lnTo>
                  <a:pt x="4332309" y="970320"/>
                </a:lnTo>
                <a:lnTo>
                  <a:pt x="4334697" y="965881"/>
                </a:lnTo>
                <a:lnTo>
                  <a:pt x="4329271" y="965448"/>
                </a:lnTo>
                <a:lnTo>
                  <a:pt x="4327209" y="963066"/>
                </a:lnTo>
                <a:lnTo>
                  <a:pt x="4323520" y="963174"/>
                </a:lnTo>
                <a:lnTo>
                  <a:pt x="4318311" y="957003"/>
                </a:lnTo>
                <a:lnTo>
                  <a:pt x="4318528" y="955054"/>
                </a:lnTo>
                <a:lnTo>
                  <a:pt x="4322868" y="954080"/>
                </a:lnTo>
                <a:lnTo>
                  <a:pt x="4326558" y="950723"/>
                </a:lnTo>
                <a:lnTo>
                  <a:pt x="4328186" y="953863"/>
                </a:lnTo>
                <a:lnTo>
                  <a:pt x="4330573" y="950940"/>
                </a:lnTo>
                <a:lnTo>
                  <a:pt x="4332743" y="951048"/>
                </a:lnTo>
                <a:lnTo>
                  <a:pt x="4340014" y="956786"/>
                </a:lnTo>
                <a:lnTo>
                  <a:pt x="4345331" y="957111"/>
                </a:lnTo>
                <a:lnTo>
                  <a:pt x="4349347" y="956678"/>
                </a:lnTo>
                <a:lnTo>
                  <a:pt x="4353036" y="958627"/>
                </a:lnTo>
                <a:lnTo>
                  <a:pt x="4350432" y="961550"/>
                </a:lnTo>
                <a:lnTo>
                  <a:pt x="4353253" y="962308"/>
                </a:lnTo>
                <a:lnTo>
                  <a:pt x="4354772" y="968588"/>
                </a:lnTo>
                <a:lnTo>
                  <a:pt x="4360632" y="969129"/>
                </a:lnTo>
                <a:lnTo>
                  <a:pt x="4362586" y="967072"/>
                </a:lnTo>
                <a:lnTo>
                  <a:pt x="4360958" y="965340"/>
                </a:lnTo>
                <a:lnTo>
                  <a:pt x="4357377" y="963607"/>
                </a:lnTo>
                <a:lnTo>
                  <a:pt x="4360090" y="960901"/>
                </a:lnTo>
                <a:lnTo>
                  <a:pt x="4356508" y="957111"/>
                </a:lnTo>
                <a:lnTo>
                  <a:pt x="4357485" y="953646"/>
                </a:lnTo>
                <a:lnTo>
                  <a:pt x="4361934" y="950723"/>
                </a:lnTo>
                <a:lnTo>
                  <a:pt x="4359981" y="949424"/>
                </a:lnTo>
                <a:lnTo>
                  <a:pt x="4359981" y="947583"/>
                </a:lnTo>
                <a:lnTo>
                  <a:pt x="4363128" y="946284"/>
                </a:lnTo>
                <a:lnTo>
                  <a:pt x="4365624" y="941303"/>
                </a:lnTo>
                <a:lnTo>
                  <a:pt x="4367794" y="941087"/>
                </a:lnTo>
                <a:lnTo>
                  <a:pt x="4372027" y="943902"/>
                </a:lnTo>
                <a:lnTo>
                  <a:pt x="4373545" y="942386"/>
                </a:lnTo>
                <a:lnTo>
                  <a:pt x="4372135" y="940546"/>
                </a:lnTo>
                <a:lnTo>
                  <a:pt x="4372460" y="938056"/>
                </a:lnTo>
                <a:lnTo>
                  <a:pt x="4375282" y="935457"/>
                </a:lnTo>
                <a:lnTo>
                  <a:pt x="4377670" y="937839"/>
                </a:lnTo>
                <a:lnTo>
                  <a:pt x="4378971" y="936431"/>
                </a:lnTo>
                <a:lnTo>
                  <a:pt x="4377670" y="932425"/>
                </a:lnTo>
                <a:lnTo>
                  <a:pt x="4372244" y="928744"/>
                </a:lnTo>
                <a:lnTo>
                  <a:pt x="4371592" y="927012"/>
                </a:lnTo>
                <a:lnTo>
                  <a:pt x="4373654" y="925063"/>
                </a:lnTo>
                <a:lnTo>
                  <a:pt x="4376258" y="926579"/>
                </a:lnTo>
                <a:lnTo>
                  <a:pt x="4378211" y="928961"/>
                </a:lnTo>
                <a:lnTo>
                  <a:pt x="4379623" y="926146"/>
                </a:lnTo>
                <a:lnTo>
                  <a:pt x="4379080" y="920407"/>
                </a:lnTo>
                <a:lnTo>
                  <a:pt x="4381901" y="918891"/>
                </a:lnTo>
                <a:lnTo>
                  <a:pt x="4385808" y="919650"/>
                </a:lnTo>
                <a:lnTo>
                  <a:pt x="4388955" y="922789"/>
                </a:lnTo>
                <a:lnTo>
                  <a:pt x="4389063" y="926903"/>
                </a:lnTo>
                <a:lnTo>
                  <a:pt x="4391777" y="923872"/>
                </a:lnTo>
                <a:lnTo>
                  <a:pt x="4391125" y="919650"/>
                </a:lnTo>
                <a:lnTo>
                  <a:pt x="4393078" y="919000"/>
                </a:lnTo>
                <a:lnTo>
                  <a:pt x="4396876" y="922897"/>
                </a:lnTo>
                <a:lnTo>
                  <a:pt x="4400566" y="923222"/>
                </a:lnTo>
                <a:lnTo>
                  <a:pt x="4401001" y="925821"/>
                </a:lnTo>
                <a:lnTo>
                  <a:pt x="4399915" y="926579"/>
                </a:lnTo>
                <a:lnTo>
                  <a:pt x="4398721" y="931234"/>
                </a:lnTo>
                <a:lnTo>
                  <a:pt x="4391777" y="938922"/>
                </a:lnTo>
                <a:lnTo>
                  <a:pt x="4393730" y="943036"/>
                </a:lnTo>
                <a:lnTo>
                  <a:pt x="4392102" y="946176"/>
                </a:lnTo>
                <a:lnTo>
                  <a:pt x="4392862" y="950290"/>
                </a:lnTo>
                <a:lnTo>
                  <a:pt x="4388955" y="956570"/>
                </a:lnTo>
                <a:lnTo>
                  <a:pt x="4390365" y="959601"/>
                </a:lnTo>
                <a:lnTo>
                  <a:pt x="4390365" y="963715"/>
                </a:lnTo>
                <a:lnTo>
                  <a:pt x="4393513" y="962308"/>
                </a:lnTo>
                <a:lnTo>
                  <a:pt x="4399698" y="955487"/>
                </a:lnTo>
                <a:lnTo>
                  <a:pt x="4400349" y="950723"/>
                </a:lnTo>
                <a:lnTo>
                  <a:pt x="4399047" y="948233"/>
                </a:lnTo>
                <a:lnTo>
                  <a:pt x="4400458" y="942386"/>
                </a:lnTo>
                <a:lnTo>
                  <a:pt x="4406535" y="934158"/>
                </a:lnTo>
                <a:lnTo>
                  <a:pt x="4406643" y="928636"/>
                </a:lnTo>
                <a:lnTo>
                  <a:pt x="4412612" y="918783"/>
                </a:lnTo>
                <a:lnTo>
                  <a:pt x="4414890" y="918675"/>
                </a:lnTo>
                <a:lnTo>
                  <a:pt x="4416301" y="921057"/>
                </a:lnTo>
                <a:lnTo>
                  <a:pt x="4416301" y="928203"/>
                </a:lnTo>
                <a:lnTo>
                  <a:pt x="4413588" y="930909"/>
                </a:lnTo>
                <a:lnTo>
                  <a:pt x="4413154" y="933075"/>
                </a:lnTo>
                <a:lnTo>
                  <a:pt x="4416953" y="934483"/>
                </a:lnTo>
                <a:lnTo>
                  <a:pt x="4413046" y="942819"/>
                </a:lnTo>
                <a:lnTo>
                  <a:pt x="4413372" y="947367"/>
                </a:lnTo>
                <a:lnTo>
                  <a:pt x="4416410" y="945201"/>
                </a:lnTo>
                <a:lnTo>
                  <a:pt x="4417061" y="943360"/>
                </a:lnTo>
                <a:lnTo>
                  <a:pt x="4419882" y="941195"/>
                </a:lnTo>
                <a:lnTo>
                  <a:pt x="4422921" y="943360"/>
                </a:lnTo>
                <a:lnTo>
                  <a:pt x="4424223" y="941845"/>
                </a:lnTo>
                <a:lnTo>
                  <a:pt x="4422704" y="937189"/>
                </a:lnTo>
                <a:lnTo>
                  <a:pt x="4425417" y="935457"/>
                </a:lnTo>
                <a:lnTo>
                  <a:pt x="4424549" y="934050"/>
                </a:lnTo>
                <a:lnTo>
                  <a:pt x="4424549" y="930909"/>
                </a:lnTo>
                <a:lnTo>
                  <a:pt x="4427370" y="929393"/>
                </a:lnTo>
                <a:lnTo>
                  <a:pt x="4427370" y="926146"/>
                </a:lnTo>
                <a:lnTo>
                  <a:pt x="4430192" y="924846"/>
                </a:lnTo>
                <a:lnTo>
                  <a:pt x="4430625" y="922897"/>
                </a:lnTo>
                <a:lnTo>
                  <a:pt x="4428889" y="921273"/>
                </a:lnTo>
                <a:lnTo>
                  <a:pt x="4425308" y="921165"/>
                </a:lnTo>
                <a:lnTo>
                  <a:pt x="4424223" y="919433"/>
                </a:lnTo>
                <a:lnTo>
                  <a:pt x="4425417" y="915427"/>
                </a:lnTo>
                <a:lnTo>
                  <a:pt x="4427912" y="913153"/>
                </a:lnTo>
                <a:lnTo>
                  <a:pt x="4431277" y="917917"/>
                </a:lnTo>
                <a:lnTo>
                  <a:pt x="4433338" y="917917"/>
                </a:lnTo>
                <a:lnTo>
                  <a:pt x="4435183" y="915319"/>
                </a:lnTo>
                <a:lnTo>
                  <a:pt x="4432362" y="911746"/>
                </a:lnTo>
                <a:lnTo>
                  <a:pt x="4432253" y="909581"/>
                </a:lnTo>
                <a:lnTo>
                  <a:pt x="4435617" y="906332"/>
                </a:lnTo>
                <a:lnTo>
                  <a:pt x="4438330" y="908606"/>
                </a:lnTo>
                <a:lnTo>
                  <a:pt x="4440934" y="908930"/>
                </a:lnTo>
                <a:lnTo>
                  <a:pt x="4443973" y="906224"/>
                </a:lnTo>
                <a:lnTo>
                  <a:pt x="4445167" y="909364"/>
                </a:lnTo>
                <a:lnTo>
                  <a:pt x="4444299" y="912828"/>
                </a:lnTo>
                <a:lnTo>
                  <a:pt x="4446469" y="914236"/>
                </a:lnTo>
                <a:lnTo>
                  <a:pt x="4451135" y="913045"/>
                </a:lnTo>
                <a:lnTo>
                  <a:pt x="4451895" y="916077"/>
                </a:lnTo>
                <a:lnTo>
                  <a:pt x="4449073" y="923548"/>
                </a:lnTo>
                <a:lnTo>
                  <a:pt x="4443973" y="923548"/>
                </a:lnTo>
                <a:lnTo>
                  <a:pt x="4442563" y="922140"/>
                </a:lnTo>
                <a:lnTo>
                  <a:pt x="4439198" y="923222"/>
                </a:lnTo>
                <a:lnTo>
                  <a:pt x="4439958" y="925063"/>
                </a:lnTo>
                <a:lnTo>
                  <a:pt x="4444081" y="926038"/>
                </a:lnTo>
                <a:lnTo>
                  <a:pt x="4443864" y="927986"/>
                </a:lnTo>
                <a:lnTo>
                  <a:pt x="4440826" y="930477"/>
                </a:lnTo>
                <a:lnTo>
                  <a:pt x="4440175" y="932534"/>
                </a:lnTo>
                <a:lnTo>
                  <a:pt x="4442888" y="933400"/>
                </a:lnTo>
                <a:lnTo>
                  <a:pt x="4447554" y="929827"/>
                </a:lnTo>
                <a:lnTo>
                  <a:pt x="4449290" y="929611"/>
                </a:lnTo>
                <a:lnTo>
                  <a:pt x="4449833" y="931884"/>
                </a:lnTo>
                <a:lnTo>
                  <a:pt x="4447662" y="936323"/>
                </a:lnTo>
                <a:lnTo>
                  <a:pt x="4444081" y="937297"/>
                </a:lnTo>
                <a:lnTo>
                  <a:pt x="4439632" y="943577"/>
                </a:lnTo>
                <a:lnTo>
                  <a:pt x="4445384" y="940979"/>
                </a:lnTo>
                <a:lnTo>
                  <a:pt x="4449290" y="941628"/>
                </a:lnTo>
                <a:lnTo>
                  <a:pt x="4449942" y="940113"/>
                </a:lnTo>
                <a:lnTo>
                  <a:pt x="4452871" y="940437"/>
                </a:lnTo>
                <a:lnTo>
                  <a:pt x="4454825" y="944552"/>
                </a:lnTo>
                <a:lnTo>
                  <a:pt x="4457321" y="942278"/>
                </a:lnTo>
                <a:lnTo>
                  <a:pt x="4457646" y="939354"/>
                </a:lnTo>
                <a:lnTo>
                  <a:pt x="4454933" y="932534"/>
                </a:lnTo>
                <a:lnTo>
                  <a:pt x="4455258" y="930260"/>
                </a:lnTo>
                <a:lnTo>
                  <a:pt x="4458514" y="928961"/>
                </a:lnTo>
                <a:lnTo>
                  <a:pt x="4459165" y="922356"/>
                </a:lnTo>
                <a:lnTo>
                  <a:pt x="4461987" y="920732"/>
                </a:lnTo>
                <a:lnTo>
                  <a:pt x="4466436" y="920840"/>
                </a:lnTo>
                <a:lnTo>
                  <a:pt x="4470994" y="923548"/>
                </a:lnTo>
                <a:lnTo>
                  <a:pt x="4470994" y="926362"/>
                </a:lnTo>
                <a:lnTo>
                  <a:pt x="4467955" y="928528"/>
                </a:lnTo>
                <a:lnTo>
                  <a:pt x="4468715" y="930909"/>
                </a:lnTo>
                <a:lnTo>
                  <a:pt x="4470885" y="931126"/>
                </a:lnTo>
                <a:lnTo>
                  <a:pt x="4472730" y="928311"/>
                </a:lnTo>
                <a:lnTo>
                  <a:pt x="4474791" y="927986"/>
                </a:lnTo>
                <a:lnTo>
                  <a:pt x="4474358" y="931776"/>
                </a:lnTo>
                <a:lnTo>
                  <a:pt x="4476094" y="931776"/>
                </a:lnTo>
                <a:lnTo>
                  <a:pt x="4479241" y="926470"/>
                </a:lnTo>
                <a:lnTo>
                  <a:pt x="4482496" y="926254"/>
                </a:lnTo>
                <a:lnTo>
                  <a:pt x="4483473" y="927554"/>
                </a:lnTo>
                <a:lnTo>
                  <a:pt x="4488030" y="929285"/>
                </a:lnTo>
                <a:lnTo>
                  <a:pt x="4487380" y="932534"/>
                </a:lnTo>
                <a:lnTo>
                  <a:pt x="4483582" y="935024"/>
                </a:lnTo>
                <a:lnTo>
                  <a:pt x="4484341" y="936648"/>
                </a:lnTo>
                <a:lnTo>
                  <a:pt x="4486728" y="936648"/>
                </a:lnTo>
                <a:lnTo>
                  <a:pt x="4490527" y="932425"/>
                </a:lnTo>
                <a:lnTo>
                  <a:pt x="4493782" y="932425"/>
                </a:lnTo>
                <a:lnTo>
                  <a:pt x="4499534" y="937297"/>
                </a:lnTo>
                <a:lnTo>
                  <a:pt x="4503766" y="936540"/>
                </a:lnTo>
                <a:lnTo>
                  <a:pt x="4507021" y="937622"/>
                </a:lnTo>
                <a:lnTo>
                  <a:pt x="4507998" y="939463"/>
                </a:lnTo>
                <a:lnTo>
                  <a:pt x="4510819" y="940437"/>
                </a:lnTo>
                <a:lnTo>
                  <a:pt x="4510819" y="941845"/>
                </a:lnTo>
                <a:lnTo>
                  <a:pt x="4507021" y="945093"/>
                </a:lnTo>
                <a:lnTo>
                  <a:pt x="4498014" y="947367"/>
                </a:lnTo>
                <a:lnTo>
                  <a:pt x="4493782" y="955920"/>
                </a:lnTo>
                <a:lnTo>
                  <a:pt x="4487162" y="958086"/>
                </a:lnTo>
                <a:lnTo>
                  <a:pt x="4477830" y="956895"/>
                </a:lnTo>
                <a:lnTo>
                  <a:pt x="4472947" y="955920"/>
                </a:lnTo>
                <a:lnTo>
                  <a:pt x="4467087" y="956678"/>
                </a:lnTo>
                <a:lnTo>
                  <a:pt x="4460033" y="954837"/>
                </a:lnTo>
                <a:lnTo>
                  <a:pt x="4459057" y="955703"/>
                </a:lnTo>
                <a:lnTo>
                  <a:pt x="4461878" y="959385"/>
                </a:lnTo>
                <a:lnTo>
                  <a:pt x="4467521" y="960034"/>
                </a:lnTo>
                <a:lnTo>
                  <a:pt x="4470885" y="961442"/>
                </a:lnTo>
                <a:lnTo>
                  <a:pt x="4474900" y="960901"/>
                </a:lnTo>
                <a:lnTo>
                  <a:pt x="4476745" y="961983"/>
                </a:lnTo>
                <a:lnTo>
                  <a:pt x="4478698" y="967180"/>
                </a:lnTo>
                <a:lnTo>
                  <a:pt x="4480434" y="967505"/>
                </a:lnTo>
                <a:lnTo>
                  <a:pt x="4481628" y="972594"/>
                </a:lnTo>
                <a:lnTo>
                  <a:pt x="4482822" y="976384"/>
                </a:lnTo>
                <a:lnTo>
                  <a:pt x="4484015" y="973785"/>
                </a:lnTo>
                <a:lnTo>
                  <a:pt x="4487488" y="971511"/>
                </a:lnTo>
                <a:lnTo>
                  <a:pt x="4489550" y="974868"/>
                </a:lnTo>
                <a:lnTo>
                  <a:pt x="4491287" y="975950"/>
                </a:lnTo>
                <a:lnTo>
                  <a:pt x="4491937" y="970862"/>
                </a:lnTo>
                <a:lnTo>
                  <a:pt x="4491395" y="968263"/>
                </a:lnTo>
                <a:lnTo>
                  <a:pt x="4494000" y="968371"/>
                </a:lnTo>
                <a:lnTo>
                  <a:pt x="4495193" y="971078"/>
                </a:lnTo>
                <a:lnTo>
                  <a:pt x="4497038" y="972919"/>
                </a:lnTo>
                <a:lnTo>
                  <a:pt x="4497254" y="970212"/>
                </a:lnTo>
                <a:lnTo>
                  <a:pt x="4498882" y="969237"/>
                </a:lnTo>
                <a:lnTo>
                  <a:pt x="4500727" y="969237"/>
                </a:lnTo>
                <a:lnTo>
                  <a:pt x="4504200" y="971944"/>
                </a:lnTo>
                <a:lnTo>
                  <a:pt x="4504417" y="971962"/>
                </a:lnTo>
                <a:lnTo>
                  <a:pt x="4504417" y="971837"/>
                </a:lnTo>
                <a:lnTo>
                  <a:pt x="4509517" y="972487"/>
                </a:lnTo>
                <a:lnTo>
                  <a:pt x="4511471" y="974327"/>
                </a:lnTo>
                <a:lnTo>
                  <a:pt x="4511471" y="978983"/>
                </a:lnTo>
                <a:lnTo>
                  <a:pt x="4513532" y="982015"/>
                </a:lnTo>
                <a:lnTo>
                  <a:pt x="4514183" y="976060"/>
                </a:lnTo>
                <a:lnTo>
                  <a:pt x="4516137" y="972920"/>
                </a:lnTo>
                <a:lnTo>
                  <a:pt x="4519284" y="972920"/>
                </a:lnTo>
                <a:lnTo>
                  <a:pt x="4521345" y="971837"/>
                </a:lnTo>
                <a:lnTo>
                  <a:pt x="4517331" y="969022"/>
                </a:lnTo>
                <a:lnTo>
                  <a:pt x="4517331" y="967181"/>
                </a:lnTo>
                <a:lnTo>
                  <a:pt x="4520044" y="967181"/>
                </a:lnTo>
                <a:lnTo>
                  <a:pt x="4522973" y="966532"/>
                </a:lnTo>
                <a:lnTo>
                  <a:pt x="4522973" y="964691"/>
                </a:lnTo>
                <a:lnTo>
                  <a:pt x="4521562" y="964691"/>
                </a:lnTo>
                <a:lnTo>
                  <a:pt x="4519935" y="961985"/>
                </a:lnTo>
                <a:lnTo>
                  <a:pt x="4520912" y="960469"/>
                </a:lnTo>
                <a:lnTo>
                  <a:pt x="4525469" y="960469"/>
                </a:lnTo>
                <a:lnTo>
                  <a:pt x="4530244" y="962742"/>
                </a:lnTo>
                <a:lnTo>
                  <a:pt x="4532739" y="966207"/>
                </a:lnTo>
                <a:lnTo>
                  <a:pt x="4535236" y="968372"/>
                </a:lnTo>
                <a:lnTo>
                  <a:pt x="4537081" y="966532"/>
                </a:lnTo>
                <a:lnTo>
                  <a:pt x="4540662" y="968048"/>
                </a:lnTo>
                <a:lnTo>
                  <a:pt x="4541855" y="969672"/>
                </a:lnTo>
                <a:lnTo>
                  <a:pt x="4544785" y="971512"/>
                </a:lnTo>
                <a:lnTo>
                  <a:pt x="4544785" y="974003"/>
                </a:lnTo>
                <a:lnTo>
                  <a:pt x="4540662" y="977250"/>
                </a:lnTo>
                <a:lnTo>
                  <a:pt x="4537081" y="975627"/>
                </a:lnTo>
                <a:lnTo>
                  <a:pt x="4531438" y="976385"/>
                </a:lnTo>
                <a:lnTo>
                  <a:pt x="4527857" y="972703"/>
                </a:lnTo>
                <a:lnTo>
                  <a:pt x="4527857" y="969780"/>
                </a:lnTo>
                <a:lnTo>
                  <a:pt x="4525360" y="973136"/>
                </a:lnTo>
                <a:lnTo>
                  <a:pt x="4525360" y="978333"/>
                </a:lnTo>
                <a:lnTo>
                  <a:pt x="4526663" y="982556"/>
                </a:lnTo>
                <a:lnTo>
                  <a:pt x="4529918" y="979416"/>
                </a:lnTo>
                <a:lnTo>
                  <a:pt x="4531763" y="980823"/>
                </a:lnTo>
                <a:lnTo>
                  <a:pt x="4532957" y="985046"/>
                </a:lnTo>
                <a:lnTo>
                  <a:pt x="4536755" y="981798"/>
                </a:lnTo>
                <a:lnTo>
                  <a:pt x="4540662" y="983097"/>
                </a:lnTo>
                <a:lnTo>
                  <a:pt x="4540662" y="986562"/>
                </a:lnTo>
                <a:lnTo>
                  <a:pt x="4541963" y="986562"/>
                </a:lnTo>
                <a:lnTo>
                  <a:pt x="4544134" y="983638"/>
                </a:lnTo>
                <a:lnTo>
                  <a:pt x="4545436" y="985046"/>
                </a:lnTo>
                <a:lnTo>
                  <a:pt x="4545436" y="986887"/>
                </a:lnTo>
                <a:lnTo>
                  <a:pt x="4545436" y="989919"/>
                </a:lnTo>
                <a:lnTo>
                  <a:pt x="4549451" y="984830"/>
                </a:lnTo>
                <a:lnTo>
                  <a:pt x="4551621" y="982664"/>
                </a:lnTo>
                <a:lnTo>
                  <a:pt x="4553575" y="983747"/>
                </a:lnTo>
                <a:lnTo>
                  <a:pt x="4552273" y="985587"/>
                </a:lnTo>
                <a:lnTo>
                  <a:pt x="4551404" y="988294"/>
                </a:lnTo>
                <a:lnTo>
                  <a:pt x="4554986" y="988294"/>
                </a:lnTo>
                <a:lnTo>
                  <a:pt x="4556614" y="990243"/>
                </a:lnTo>
                <a:lnTo>
                  <a:pt x="4553683" y="992084"/>
                </a:lnTo>
                <a:lnTo>
                  <a:pt x="4550753" y="996631"/>
                </a:lnTo>
                <a:lnTo>
                  <a:pt x="4555854" y="996631"/>
                </a:lnTo>
                <a:lnTo>
                  <a:pt x="4558892" y="990893"/>
                </a:lnTo>
                <a:lnTo>
                  <a:pt x="4558024" y="987861"/>
                </a:lnTo>
                <a:lnTo>
                  <a:pt x="4559869" y="986021"/>
                </a:lnTo>
                <a:lnTo>
                  <a:pt x="4564752" y="985479"/>
                </a:lnTo>
                <a:lnTo>
                  <a:pt x="4568008" y="987861"/>
                </a:lnTo>
                <a:lnTo>
                  <a:pt x="4568767" y="985695"/>
                </a:lnTo>
                <a:lnTo>
                  <a:pt x="4566271" y="982231"/>
                </a:lnTo>
                <a:lnTo>
                  <a:pt x="4566271" y="980932"/>
                </a:lnTo>
                <a:lnTo>
                  <a:pt x="4570829" y="982881"/>
                </a:lnTo>
                <a:lnTo>
                  <a:pt x="4573867" y="986995"/>
                </a:lnTo>
                <a:lnTo>
                  <a:pt x="4580704" y="986995"/>
                </a:lnTo>
                <a:lnTo>
                  <a:pt x="4585370" y="988836"/>
                </a:lnTo>
                <a:lnTo>
                  <a:pt x="4588951" y="986887"/>
                </a:lnTo>
                <a:lnTo>
                  <a:pt x="4588951" y="984505"/>
                </a:lnTo>
                <a:lnTo>
                  <a:pt x="4594703" y="985804"/>
                </a:lnTo>
                <a:lnTo>
                  <a:pt x="4599803" y="988836"/>
                </a:lnTo>
                <a:lnTo>
                  <a:pt x="4600562" y="986887"/>
                </a:lnTo>
                <a:lnTo>
                  <a:pt x="4606205" y="989268"/>
                </a:lnTo>
                <a:lnTo>
                  <a:pt x="4630622" y="1002261"/>
                </a:lnTo>
                <a:lnTo>
                  <a:pt x="4647116" y="1013088"/>
                </a:lnTo>
                <a:lnTo>
                  <a:pt x="4650589" y="1017094"/>
                </a:lnTo>
                <a:lnTo>
                  <a:pt x="4655147" y="1018502"/>
                </a:lnTo>
                <a:lnTo>
                  <a:pt x="4660789" y="1026839"/>
                </a:lnTo>
                <a:lnTo>
                  <a:pt x="4664370" y="1027705"/>
                </a:lnTo>
                <a:lnTo>
                  <a:pt x="4663502" y="1024998"/>
                </a:lnTo>
                <a:lnTo>
                  <a:pt x="4663502" y="1023807"/>
                </a:lnTo>
                <a:lnTo>
                  <a:pt x="4665890" y="1023807"/>
                </a:lnTo>
                <a:lnTo>
                  <a:pt x="4672726" y="1030086"/>
                </a:lnTo>
                <a:lnTo>
                  <a:pt x="4676524" y="1030086"/>
                </a:lnTo>
                <a:lnTo>
                  <a:pt x="4682493" y="1035500"/>
                </a:lnTo>
                <a:lnTo>
                  <a:pt x="4685965" y="1034092"/>
                </a:lnTo>
                <a:lnTo>
                  <a:pt x="4682167" y="1028463"/>
                </a:lnTo>
                <a:lnTo>
                  <a:pt x="4681082" y="1026080"/>
                </a:lnTo>
                <a:lnTo>
                  <a:pt x="4683578" y="1026080"/>
                </a:lnTo>
                <a:lnTo>
                  <a:pt x="4688678" y="1031169"/>
                </a:lnTo>
                <a:lnTo>
                  <a:pt x="4688678" y="1035717"/>
                </a:lnTo>
                <a:lnTo>
                  <a:pt x="4698227" y="1042429"/>
                </a:lnTo>
                <a:lnTo>
                  <a:pt x="4698227" y="1045461"/>
                </a:lnTo>
                <a:lnTo>
                  <a:pt x="4703653" y="1047951"/>
                </a:lnTo>
                <a:lnTo>
                  <a:pt x="4704738" y="1045786"/>
                </a:lnTo>
                <a:lnTo>
                  <a:pt x="4708862" y="1046652"/>
                </a:lnTo>
                <a:lnTo>
                  <a:pt x="4714071" y="1050658"/>
                </a:lnTo>
                <a:lnTo>
                  <a:pt x="4715699" y="1056613"/>
                </a:lnTo>
                <a:lnTo>
                  <a:pt x="4718628" y="1058453"/>
                </a:lnTo>
                <a:lnTo>
                  <a:pt x="4722427" y="1064408"/>
                </a:lnTo>
                <a:lnTo>
                  <a:pt x="4724272" y="1064408"/>
                </a:lnTo>
                <a:lnTo>
                  <a:pt x="4726116" y="1066249"/>
                </a:lnTo>
                <a:lnTo>
                  <a:pt x="4726116" y="1072204"/>
                </a:lnTo>
                <a:lnTo>
                  <a:pt x="4726116" y="1077834"/>
                </a:lnTo>
                <a:lnTo>
                  <a:pt x="4725031" y="1084871"/>
                </a:lnTo>
                <a:lnTo>
                  <a:pt x="4723403" y="1088445"/>
                </a:lnTo>
                <a:lnTo>
                  <a:pt x="4723403" y="1091693"/>
                </a:lnTo>
                <a:lnTo>
                  <a:pt x="4718195" y="1098405"/>
                </a:lnTo>
                <a:lnTo>
                  <a:pt x="4717327" y="1101653"/>
                </a:lnTo>
                <a:lnTo>
                  <a:pt x="4708320" y="1113888"/>
                </a:lnTo>
                <a:lnTo>
                  <a:pt x="4701808" y="1117353"/>
                </a:lnTo>
                <a:lnTo>
                  <a:pt x="4693996" y="1118760"/>
                </a:lnTo>
                <a:lnTo>
                  <a:pt x="4690523" y="1121467"/>
                </a:lnTo>
                <a:lnTo>
                  <a:pt x="4683470" y="1121467"/>
                </a:lnTo>
                <a:lnTo>
                  <a:pt x="4682058" y="1123416"/>
                </a:lnTo>
                <a:lnTo>
                  <a:pt x="4671207" y="1124715"/>
                </a:lnTo>
                <a:lnTo>
                  <a:pt x="4657317" y="1123958"/>
                </a:lnTo>
                <a:lnTo>
                  <a:pt x="4649504" y="1121683"/>
                </a:lnTo>
                <a:lnTo>
                  <a:pt x="4643861" y="1117677"/>
                </a:lnTo>
                <a:lnTo>
                  <a:pt x="4640388" y="1120168"/>
                </a:lnTo>
                <a:lnTo>
                  <a:pt x="4636373" y="1118977"/>
                </a:lnTo>
                <a:lnTo>
                  <a:pt x="4629754" y="1118977"/>
                </a:lnTo>
                <a:lnTo>
                  <a:pt x="4628886" y="1116595"/>
                </a:lnTo>
                <a:lnTo>
                  <a:pt x="4624870" y="1115295"/>
                </a:lnTo>
                <a:lnTo>
                  <a:pt x="4621289" y="1117786"/>
                </a:lnTo>
                <a:lnTo>
                  <a:pt x="4615321" y="1112048"/>
                </a:lnTo>
                <a:lnTo>
                  <a:pt x="4615321" y="1109124"/>
                </a:lnTo>
                <a:lnTo>
                  <a:pt x="4610655" y="1109882"/>
                </a:lnTo>
                <a:lnTo>
                  <a:pt x="4606531" y="1109882"/>
                </a:lnTo>
                <a:lnTo>
                  <a:pt x="4608484" y="1108799"/>
                </a:lnTo>
                <a:lnTo>
                  <a:pt x="4600888" y="1108799"/>
                </a:lnTo>
                <a:lnTo>
                  <a:pt x="4598718" y="1111181"/>
                </a:lnTo>
                <a:lnTo>
                  <a:pt x="4594052" y="1111181"/>
                </a:lnTo>
                <a:lnTo>
                  <a:pt x="4594052" y="1108475"/>
                </a:lnTo>
                <a:lnTo>
                  <a:pt x="4592207" y="1107067"/>
                </a:lnTo>
                <a:lnTo>
                  <a:pt x="4595137" y="1105118"/>
                </a:lnTo>
                <a:lnTo>
                  <a:pt x="4592098" y="1101653"/>
                </a:lnTo>
                <a:lnTo>
                  <a:pt x="4591230" y="1103603"/>
                </a:lnTo>
                <a:lnTo>
                  <a:pt x="4583417" y="1103603"/>
                </a:lnTo>
                <a:lnTo>
                  <a:pt x="4578534" y="1100138"/>
                </a:lnTo>
                <a:lnTo>
                  <a:pt x="4577666" y="1101762"/>
                </a:lnTo>
                <a:lnTo>
                  <a:pt x="4574410" y="1101762"/>
                </a:lnTo>
                <a:lnTo>
                  <a:pt x="4564101" y="1093316"/>
                </a:lnTo>
                <a:lnTo>
                  <a:pt x="4563233" y="1088769"/>
                </a:lnTo>
                <a:lnTo>
                  <a:pt x="4557047" y="1088228"/>
                </a:lnTo>
                <a:lnTo>
                  <a:pt x="4555746" y="1086820"/>
                </a:lnTo>
                <a:lnTo>
                  <a:pt x="4551404" y="1086820"/>
                </a:lnTo>
                <a:lnTo>
                  <a:pt x="4550320" y="1088228"/>
                </a:lnTo>
                <a:lnTo>
                  <a:pt x="4555419" y="1091693"/>
                </a:lnTo>
                <a:lnTo>
                  <a:pt x="4556505" y="1098514"/>
                </a:lnTo>
                <a:lnTo>
                  <a:pt x="4562148" y="1102087"/>
                </a:lnTo>
                <a:lnTo>
                  <a:pt x="4563450" y="1105660"/>
                </a:lnTo>
                <a:lnTo>
                  <a:pt x="4570503" y="1107283"/>
                </a:lnTo>
                <a:lnTo>
                  <a:pt x="4571914" y="1108908"/>
                </a:lnTo>
                <a:lnTo>
                  <a:pt x="4567248" y="1111289"/>
                </a:lnTo>
                <a:lnTo>
                  <a:pt x="4565078" y="1114213"/>
                </a:lnTo>
                <a:lnTo>
                  <a:pt x="4566163" y="1115512"/>
                </a:lnTo>
                <a:lnTo>
                  <a:pt x="4573976" y="1113563"/>
                </a:lnTo>
                <a:lnTo>
                  <a:pt x="4577232" y="1111398"/>
                </a:lnTo>
                <a:lnTo>
                  <a:pt x="4580487" y="1113780"/>
                </a:lnTo>
                <a:lnTo>
                  <a:pt x="4577014" y="1115187"/>
                </a:lnTo>
                <a:lnTo>
                  <a:pt x="4577014" y="1116595"/>
                </a:lnTo>
                <a:lnTo>
                  <a:pt x="4582223" y="1117136"/>
                </a:lnTo>
                <a:lnTo>
                  <a:pt x="4580921" y="1120709"/>
                </a:lnTo>
                <a:lnTo>
                  <a:pt x="4576255" y="1121467"/>
                </a:lnTo>
                <a:lnTo>
                  <a:pt x="4574301" y="1124174"/>
                </a:lnTo>
                <a:lnTo>
                  <a:pt x="4579944" y="1125040"/>
                </a:lnTo>
                <a:lnTo>
                  <a:pt x="4581898" y="1123632"/>
                </a:lnTo>
                <a:lnTo>
                  <a:pt x="4585696" y="1123632"/>
                </a:lnTo>
                <a:lnTo>
                  <a:pt x="4588083" y="1126122"/>
                </a:lnTo>
                <a:lnTo>
                  <a:pt x="4591013" y="1123958"/>
                </a:lnTo>
                <a:lnTo>
                  <a:pt x="4601865" y="1128505"/>
                </a:lnTo>
                <a:lnTo>
                  <a:pt x="4607073" y="1135759"/>
                </a:lnTo>
                <a:lnTo>
                  <a:pt x="4609570" y="1136300"/>
                </a:lnTo>
                <a:lnTo>
                  <a:pt x="4607942" y="1139223"/>
                </a:lnTo>
                <a:lnTo>
                  <a:pt x="4607942" y="1142472"/>
                </a:lnTo>
                <a:lnTo>
                  <a:pt x="4609570" y="1143013"/>
                </a:lnTo>
                <a:lnTo>
                  <a:pt x="4609570" y="1147668"/>
                </a:lnTo>
                <a:lnTo>
                  <a:pt x="4608810" y="1155248"/>
                </a:lnTo>
                <a:lnTo>
                  <a:pt x="4605229" y="1156546"/>
                </a:lnTo>
                <a:lnTo>
                  <a:pt x="4604361" y="1160661"/>
                </a:lnTo>
                <a:lnTo>
                  <a:pt x="4608159" y="1161744"/>
                </a:lnTo>
                <a:lnTo>
                  <a:pt x="4608159" y="1167157"/>
                </a:lnTo>
                <a:lnTo>
                  <a:pt x="4614670" y="1173437"/>
                </a:lnTo>
                <a:lnTo>
                  <a:pt x="4614670" y="1177443"/>
                </a:lnTo>
                <a:lnTo>
                  <a:pt x="4619336" y="1180907"/>
                </a:lnTo>
                <a:lnTo>
                  <a:pt x="4619336" y="1185455"/>
                </a:lnTo>
                <a:lnTo>
                  <a:pt x="4620204" y="1190977"/>
                </a:lnTo>
                <a:lnTo>
                  <a:pt x="4618250" y="1194766"/>
                </a:lnTo>
                <a:lnTo>
                  <a:pt x="4620530" y="1197148"/>
                </a:lnTo>
                <a:lnTo>
                  <a:pt x="4622700" y="1201046"/>
                </a:lnTo>
                <a:lnTo>
                  <a:pt x="4632249" y="1204511"/>
                </a:lnTo>
                <a:lnTo>
                  <a:pt x="4636699" y="1200937"/>
                </a:lnTo>
                <a:lnTo>
                  <a:pt x="4638543" y="1200937"/>
                </a:lnTo>
                <a:lnTo>
                  <a:pt x="4641799" y="1205377"/>
                </a:lnTo>
                <a:lnTo>
                  <a:pt x="4645923" y="1207975"/>
                </a:lnTo>
                <a:lnTo>
                  <a:pt x="4645923" y="1213822"/>
                </a:lnTo>
                <a:lnTo>
                  <a:pt x="4648093" y="1215555"/>
                </a:lnTo>
                <a:lnTo>
                  <a:pt x="4655580" y="1215555"/>
                </a:lnTo>
                <a:lnTo>
                  <a:pt x="4658619" y="1218153"/>
                </a:lnTo>
                <a:lnTo>
                  <a:pt x="4665456" y="1218153"/>
                </a:lnTo>
                <a:lnTo>
                  <a:pt x="4669688" y="1222159"/>
                </a:lnTo>
                <a:lnTo>
                  <a:pt x="4672292" y="1222159"/>
                </a:lnTo>
                <a:lnTo>
                  <a:pt x="4677392" y="1216529"/>
                </a:lnTo>
                <a:lnTo>
                  <a:pt x="4681407" y="1216529"/>
                </a:lnTo>
                <a:lnTo>
                  <a:pt x="4684338" y="1215229"/>
                </a:lnTo>
                <a:lnTo>
                  <a:pt x="4684338" y="1207759"/>
                </a:lnTo>
                <a:lnTo>
                  <a:pt x="4680757" y="1204619"/>
                </a:lnTo>
                <a:lnTo>
                  <a:pt x="4682384" y="1202237"/>
                </a:lnTo>
                <a:lnTo>
                  <a:pt x="4682384" y="1200396"/>
                </a:lnTo>
                <a:lnTo>
                  <a:pt x="4677067" y="1198339"/>
                </a:lnTo>
                <a:lnTo>
                  <a:pt x="4676524" y="1194550"/>
                </a:lnTo>
                <a:lnTo>
                  <a:pt x="4672726" y="1197257"/>
                </a:lnTo>
                <a:lnTo>
                  <a:pt x="4670013" y="1197257"/>
                </a:lnTo>
                <a:lnTo>
                  <a:pt x="4665456" y="1199205"/>
                </a:lnTo>
                <a:lnTo>
                  <a:pt x="4659704" y="1196282"/>
                </a:lnTo>
                <a:lnTo>
                  <a:pt x="4655580" y="1190652"/>
                </a:lnTo>
                <a:lnTo>
                  <a:pt x="4649069" y="1187621"/>
                </a:lnTo>
                <a:lnTo>
                  <a:pt x="4647768" y="1182423"/>
                </a:lnTo>
                <a:lnTo>
                  <a:pt x="4644295" y="1175927"/>
                </a:lnTo>
                <a:lnTo>
                  <a:pt x="4648961" y="1175927"/>
                </a:lnTo>
                <a:lnTo>
                  <a:pt x="4651999" y="1172896"/>
                </a:lnTo>
                <a:lnTo>
                  <a:pt x="4650372" y="1170405"/>
                </a:lnTo>
                <a:lnTo>
                  <a:pt x="4651457" y="1167699"/>
                </a:lnTo>
                <a:lnTo>
                  <a:pt x="4650046" y="1164667"/>
                </a:lnTo>
                <a:lnTo>
                  <a:pt x="4651131" y="1161635"/>
                </a:lnTo>
                <a:lnTo>
                  <a:pt x="4656557" y="1161635"/>
                </a:lnTo>
                <a:lnTo>
                  <a:pt x="4661983" y="1165209"/>
                </a:lnTo>
                <a:lnTo>
                  <a:pt x="4668711" y="1166508"/>
                </a:lnTo>
                <a:lnTo>
                  <a:pt x="4671966" y="1171596"/>
                </a:lnTo>
                <a:lnTo>
                  <a:pt x="4676307" y="1175170"/>
                </a:lnTo>
                <a:lnTo>
                  <a:pt x="4684663" y="1175170"/>
                </a:lnTo>
                <a:lnTo>
                  <a:pt x="4686291" y="1178201"/>
                </a:lnTo>
                <a:lnTo>
                  <a:pt x="4691499" y="1178201"/>
                </a:lnTo>
                <a:lnTo>
                  <a:pt x="4706692" y="1185455"/>
                </a:lnTo>
                <a:lnTo>
                  <a:pt x="4712986" y="1191627"/>
                </a:lnTo>
                <a:lnTo>
                  <a:pt x="4715482" y="1187621"/>
                </a:lnTo>
                <a:lnTo>
                  <a:pt x="4719605" y="1184156"/>
                </a:lnTo>
                <a:lnTo>
                  <a:pt x="4719605" y="1179067"/>
                </a:lnTo>
                <a:lnTo>
                  <a:pt x="4723187" y="1179067"/>
                </a:lnTo>
                <a:lnTo>
                  <a:pt x="4726768" y="1174953"/>
                </a:lnTo>
                <a:lnTo>
                  <a:pt x="4720473" y="1165533"/>
                </a:lnTo>
                <a:lnTo>
                  <a:pt x="4709622" y="1154706"/>
                </a:lnTo>
                <a:lnTo>
                  <a:pt x="4707126" y="1147668"/>
                </a:lnTo>
                <a:lnTo>
                  <a:pt x="4707126" y="1143554"/>
                </a:lnTo>
                <a:lnTo>
                  <a:pt x="4713637" y="1138358"/>
                </a:lnTo>
                <a:lnTo>
                  <a:pt x="4718846" y="1131320"/>
                </a:lnTo>
                <a:lnTo>
                  <a:pt x="4720256" y="1125148"/>
                </a:lnTo>
                <a:lnTo>
                  <a:pt x="4724272" y="1121359"/>
                </a:lnTo>
                <a:lnTo>
                  <a:pt x="4729914" y="1120276"/>
                </a:lnTo>
                <a:lnTo>
                  <a:pt x="4737728" y="1113997"/>
                </a:lnTo>
                <a:lnTo>
                  <a:pt x="4743153" y="1102412"/>
                </a:lnTo>
                <a:lnTo>
                  <a:pt x="4746409" y="1099921"/>
                </a:lnTo>
                <a:lnTo>
                  <a:pt x="4752377" y="1100787"/>
                </a:lnTo>
                <a:lnTo>
                  <a:pt x="4757044" y="1104577"/>
                </a:lnTo>
                <a:lnTo>
                  <a:pt x="4763880" y="1103710"/>
                </a:lnTo>
                <a:lnTo>
                  <a:pt x="4771259" y="1104577"/>
                </a:lnTo>
                <a:lnTo>
                  <a:pt x="4773755" y="1107825"/>
                </a:lnTo>
                <a:lnTo>
                  <a:pt x="4772996" y="1112914"/>
                </a:lnTo>
                <a:lnTo>
                  <a:pt x="4778747" y="1107500"/>
                </a:lnTo>
                <a:lnTo>
                  <a:pt x="4784715" y="1112048"/>
                </a:lnTo>
                <a:lnTo>
                  <a:pt x="4786560" y="1118003"/>
                </a:lnTo>
                <a:lnTo>
                  <a:pt x="4789599" y="1120709"/>
                </a:lnTo>
                <a:lnTo>
                  <a:pt x="4788839" y="1112048"/>
                </a:lnTo>
                <a:lnTo>
                  <a:pt x="4785583" y="1105767"/>
                </a:lnTo>
                <a:lnTo>
                  <a:pt x="4787537" y="1103061"/>
                </a:lnTo>
                <a:lnTo>
                  <a:pt x="4787537" y="1092234"/>
                </a:lnTo>
                <a:lnTo>
                  <a:pt x="4789164" y="1088769"/>
                </a:lnTo>
                <a:lnTo>
                  <a:pt x="4786994" y="1087145"/>
                </a:lnTo>
                <a:lnTo>
                  <a:pt x="4786994" y="1084438"/>
                </a:lnTo>
                <a:lnTo>
                  <a:pt x="4787862" y="1082057"/>
                </a:lnTo>
                <a:lnTo>
                  <a:pt x="4786994" y="1078808"/>
                </a:lnTo>
                <a:lnTo>
                  <a:pt x="4787862" y="1076426"/>
                </a:lnTo>
                <a:lnTo>
                  <a:pt x="4784389" y="1072637"/>
                </a:lnTo>
                <a:lnTo>
                  <a:pt x="4779181" y="1069606"/>
                </a:lnTo>
                <a:lnTo>
                  <a:pt x="4772127" y="1069606"/>
                </a:lnTo>
                <a:lnTo>
                  <a:pt x="4770174" y="1063651"/>
                </a:lnTo>
                <a:lnTo>
                  <a:pt x="4772019" y="1057479"/>
                </a:lnTo>
                <a:lnTo>
                  <a:pt x="4772019" y="1046652"/>
                </a:lnTo>
                <a:lnTo>
                  <a:pt x="4773864" y="1045245"/>
                </a:lnTo>
                <a:lnTo>
                  <a:pt x="4772779" y="1041780"/>
                </a:lnTo>
                <a:lnTo>
                  <a:pt x="4772779" y="1037233"/>
                </a:lnTo>
                <a:lnTo>
                  <a:pt x="4774732" y="1035608"/>
                </a:lnTo>
                <a:lnTo>
                  <a:pt x="4772236" y="1032360"/>
                </a:lnTo>
                <a:lnTo>
                  <a:pt x="4772236" y="1026947"/>
                </a:lnTo>
                <a:lnTo>
                  <a:pt x="4768655" y="1016878"/>
                </a:lnTo>
                <a:lnTo>
                  <a:pt x="4761818" y="1012005"/>
                </a:lnTo>
                <a:lnTo>
                  <a:pt x="4750099" y="1002478"/>
                </a:lnTo>
                <a:lnTo>
                  <a:pt x="4750099" y="999988"/>
                </a:lnTo>
                <a:lnTo>
                  <a:pt x="4755524" y="999988"/>
                </a:lnTo>
                <a:lnTo>
                  <a:pt x="4765291" y="1006484"/>
                </a:lnTo>
                <a:lnTo>
                  <a:pt x="4771042" y="1006484"/>
                </a:lnTo>
                <a:lnTo>
                  <a:pt x="4774840" y="1004535"/>
                </a:lnTo>
                <a:lnTo>
                  <a:pt x="4783739" y="1003777"/>
                </a:lnTo>
                <a:lnTo>
                  <a:pt x="4796543" y="1005076"/>
                </a:lnTo>
                <a:lnTo>
                  <a:pt x="4802512" y="1008866"/>
                </a:lnTo>
                <a:lnTo>
                  <a:pt x="4802512" y="1013196"/>
                </a:lnTo>
                <a:lnTo>
                  <a:pt x="4807613" y="1019151"/>
                </a:lnTo>
                <a:lnTo>
                  <a:pt x="4813039" y="1019909"/>
                </a:lnTo>
                <a:lnTo>
                  <a:pt x="4813907" y="1023699"/>
                </a:lnTo>
                <a:lnTo>
                  <a:pt x="4820634" y="1032144"/>
                </a:lnTo>
                <a:lnTo>
                  <a:pt x="4819766" y="1035717"/>
                </a:lnTo>
                <a:lnTo>
                  <a:pt x="4811302" y="1035717"/>
                </a:lnTo>
                <a:lnTo>
                  <a:pt x="4809132" y="1038965"/>
                </a:lnTo>
                <a:lnTo>
                  <a:pt x="4801753" y="1038965"/>
                </a:lnTo>
                <a:lnTo>
                  <a:pt x="4799365" y="1041455"/>
                </a:lnTo>
                <a:lnTo>
                  <a:pt x="4800125" y="1044162"/>
                </a:lnTo>
                <a:lnTo>
                  <a:pt x="4798172" y="1047627"/>
                </a:lnTo>
                <a:lnTo>
                  <a:pt x="4795675" y="1046219"/>
                </a:lnTo>
                <a:lnTo>
                  <a:pt x="4794374" y="1048925"/>
                </a:lnTo>
                <a:lnTo>
                  <a:pt x="4794374" y="1055963"/>
                </a:lnTo>
                <a:lnTo>
                  <a:pt x="4797846" y="1057804"/>
                </a:lnTo>
                <a:lnTo>
                  <a:pt x="4807829" y="1066141"/>
                </a:lnTo>
                <a:lnTo>
                  <a:pt x="4817379" y="1078592"/>
                </a:lnTo>
                <a:lnTo>
                  <a:pt x="4822479" y="1078592"/>
                </a:lnTo>
                <a:lnTo>
                  <a:pt x="4828773" y="1074045"/>
                </a:lnTo>
                <a:lnTo>
                  <a:pt x="4831703" y="1079242"/>
                </a:lnTo>
                <a:lnTo>
                  <a:pt x="4833873" y="1076318"/>
                </a:lnTo>
                <a:lnTo>
                  <a:pt x="4838973" y="1076318"/>
                </a:lnTo>
                <a:lnTo>
                  <a:pt x="4840276" y="1073828"/>
                </a:lnTo>
                <a:lnTo>
                  <a:pt x="4848741" y="1070039"/>
                </a:lnTo>
                <a:lnTo>
                  <a:pt x="4850368" y="1064950"/>
                </a:lnTo>
                <a:lnTo>
                  <a:pt x="4848197" y="1057696"/>
                </a:lnTo>
                <a:lnTo>
                  <a:pt x="4851236" y="1052282"/>
                </a:lnTo>
                <a:lnTo>
                  <a:pt x="4851236" y="1047951"/>
                </a:lnTo>
                <a:lnTo>
                  <a:pt x="4847655" y="1043404"/>
                </a:lnTo>
                <a:lnTo>
                  <a:pt x="4850150" y="1041563"/>
                </a:lnTo>
                <a:lnTo>
                  <a:pt x="4862956" y="1039939"/>
                </a:lnTo>
                <a:lnTo>
                  <a:pt x="4864909" y="1037233"/>
                </a:lnTo>
                <a:lnTo>
                  <a:pt x="4872722" y="1040156"/>
                </a:lnTo>
                <a:lnTo>
                  <a:pt x="4871637" y="1036583"/>
                </a:lnTo>
                <a:lnTo>
                  <a:pt x="4865343" y="1031927"/>
                </a:lnTo>
                <a:lnTo>
                  <a:pt x="4863389" y="1027272"/>
                </a:lnTo>
                <a:lnTo>
                  <a:pt x="4865669" y="1027272"/>
                </a:lnTo>
                <a:lnTo>
                  <a:pt x="4869250" y="1030737"/>
                </a:lnTo>
                <a:lnTo>
                  <a:pt x="4873265" y="1028570"/>
                </a:lnTo>
                <a:lnTo>
                  <a:pt x="4882163" y="1017744"/>
                </a:lnTo>
                <a:lnTo>
                  <a:pt x="4884876" y="1016986"/>
                </a:lnTo>
                <a:lnTo>
                  <a:pt x="4894643" y="1005076"/>
                </a:lnTo>
                <a:lnTo>
                  <a:pt x="4894643" y="1002370"/>
                </a:lnTo>
                <a:lnTo>
                  <a:pt x="4897464" y="1000854"/>
                </a:lnTo>
                <a:lnTo>
                  <a:pt x="4902673" y="1001828"/>
                </a:lnTo>
                <a:lnTo>
                  <a:pt x="4909184" y="998797"/>
                </a:lnTo>
                <a:lnTo>
                  <a:pt x="4910377" y="995765"/>
                </a:lnTo>
                <a:lnTo>
                  <a:pt x="4919710" y="992842"/>
                </a:lnTo>
                <a:lnTo>
                  <a:pt x="4919710" y="996415"/>
                </a:lnTo>
                <a:lnTo>
                  <a:pt x="4921446" y="996415"/>
                </a:lnTo>
                <a:lnTo>
                  <a:pt x="4922315" y="1000096"/>
                </a:lnTo>
                <a:lnTo>
                  <a:pt x="4920578" y="1002911"/>
                </a:lnTo>
                <a:lnTo>
                  <a:pt x="4923183" y="1004751"/>
                </a:lnTo>
                <a:lnTo>
                  <a:pt x="4928717" y="999338"/>
                </a:lnTo>
                <a:lnTo>
                  <a:pt x="4928717" y="995873"/>
                </a:lnTo>
                <a:lnTo>
                  <a:pt x="4925896" y="994574"/>
                </a:lnTo>
                <a:lnTo>
                  <a:pt x="4922315" y="990893"/>
                </a:lnTo>
                <a:lnTo>
                  <a:pt x="4922315" y="988727"/>
                </a:lnTo>
                <a:lnTo>
                  <a:pt x="4931104" y="980066"/>
                </a:lnTo>
                <a:lnTo>
                  <a:pt x="4932623" y="980066"/>
                </a:lnTo>
                <a:lnTo>
                  <a:pt x="4933383" y="983097"/>
                </a:lnTo>
                <a:lnTo>
                  <a:pt x="4931755" y="984072"/>
                </a:lnTo>
                <a:lnTo>
                  <a:pt x="4930127" y="986345"/>
                </a:lnTo>
                <a:lnTo>
                  <a:pt x="4934577" y="991217"/>
                </a:lnTo>
                <a:lnTo>
                  <a:pt x="4937507" y="990352"/>
                </a:lnTo>
                <a:lnTo>
                  <a:pt x="4940111" y="986887"/>
                </a:lnTo>
                <a:lnTo>
                  <a:pt x="4938375" y="984072"/>
                </a:lnTo>
                <a:lnTo>
                  <a:pt x="4936964" y="979632"/>
                </a:lnTo>
                <a:lnTo>
                  <a:pt x="4935228" y="977467"/>
                </a:lnTo>
                <a:lnTo>
                  <a:pt x="4939026" y="974436"/>
                </a:lnTo>
                <a:lnTo>
                  <a:pt x="4951614" y="969022"/>
                </a:lnTo>
                <a:lnTo>
                  <a:pt x="4960186" y="967723"/>
                </a:lnTo>
                <a:lnTo>
                  <a:pt x="4961054" y="969672"/>
                </a:lnTo>
                <a:lnTo>
                  <a:pt x="4956280" y="972054"/>
                </a:lnTo>
                <a:lnTo>
                  <a:pt x="4952699" y="972054"/>
                </a:lnTo>
                <a:lnTo>
                  <a:pt x="4943801" y="976168"/>
                </a:lnTo>
                <a:lnTo>
                  <a:pt x="4945429" y="978442"/>
                </a:lnTo>
                <a:lnTo>
                  <a:pt x="4948684" y="979199"/>
                </a:lnTo>
                <a:lnTo>
                  <a:pt x="4951397" y="977792"/>
                </a:lnTo>
                <a:lnTo>
                  <a:pt x="4956931" y="982881"/>
                </a:lnTo>
                <a:lnTo>
                  <a:pt x="4953893" y="984613"/>
                </a:lnTo>
                <a:lnTo>
                  <a:pt x="4952808" y="986454"/>
                </a:lnTo>
                <a:lnTo>
                  <a:pt x="4956063" y="991542"/>
                </a:lnTo>
                <a:lnTo>
                  <a:pt x="4954110" y="995007"/>
                </a:lnTo>
                <a:lnTo>
                  <a:pt x="4949335" y="995007"/>
                </a:lnTo>
                <a:lnTo>
                  <a:pt x="4944452" y="999662"/>
                </a:lnTo>
                <a:lnTo>
                  <a:pt x="4945429" y="1003560"/>
                </a:lnTo>
                <a:lnTo>
                  <a:pt x="4949444" y="1004427"/>
                </a:lnTo>
                <a:lnTo>
                  <a:pt x="4952590" y="1003560"/>
                </a:lnTo>
                <a:lnTo>
                  <a:pt x="4955738" y="1003560"/>
                </a:lnTo>
                <a:lnTo>
                  <a:pt x="4959101" y="1001395"/>
                </a:lnTo>
                <a:lnTo>
                  <a:pt x="4964093" y="1003344"/>
                </a:lnTo>
                <a:lnTo>
                  <a:pt x="4964093" y="1008974"/>
                </a:lnTo>
                <a:lnTo>
                  <a:pt x="4966480" y="1003127"/>
                </a:lnTo>
                <a:lnTo>
                  <a:pt x="4971472" y="997389"/>
                </a:lnTo>
                <a:lnTo>
                  <a:pt x="4973860" y="997389"/>
                </a:lnTo>
                <a:lnTo>
                  <a:pt x="4975921" y="1000637"/>
                </a:lnTo>
                <a:lnTo>
                  <a:pt x="4979828" y="1003560"/>
                </a:lnTo>
                <a:lnTo>
                  <a:pt x="4981347" y="1001611"/>
                </a:lnTo>
                <a:lnTo>
                  <a:pt x="4980371" y="998797"/>
                </a:lnTo>
                <a:lnTo>
                  <a:pt x="4981564" y="995873"/>
                </a:lnTo>
                <a:lnTo>
                  <a:pt x="4978092" y="993383"/>
                </a:lnTo>
                <a:lnTo>
                  <a:pt x="4978092" y="991217"/>
                </a:lnTo>
                <a:lnTo>
                  <a:pt x="4982107" y="986778"/>
                </a:lnTo>
                <a:lnTo>
                  <a:pt x="4986991" y="986021"/>
                </a:lnTo>
                <a:lnTo>
                  <a:pt x="4988401" y="983531"/>
                </a:lnTo>
                <a:lnTo>
                  <a:pt x="4994695" y="979524"/>
                </a:lnTo>
                <a:lnTo>
                  <a:pt x="4997516" y="981690"/>
                </a:lnTo>
                <a:lnTo>
                  <a:pt x="5000663" y="981690"/>
                </a:lnTo>
                <a:lnTo>
                  <a:pt x="5002834" y="980499"/>
                </a:lnTo>
                <a:lnTo>
                  <a:pt x="5006306" y="981798"/>
                </a:lnTo>
                <a:lnTo>
                  <a:pt x="5017158" y="981798"/>
                </a:lnTo>
                <a:lnTo>
                  <a:pt x="5020848" y="979091"/>
                </a:lnTo>
                <a:lnTo>
                  <a:pt x="5020848" y="976060"/>
                </a:lnTo>
                <a:lnTo>
                  <a:pt x="5023344" y="973244"/>
                </a:lnTo>
                <a:lnTo>
                  <a:pt x="5029312" y="973244"/>
                </a:lnTo>
                <a:lnTo>
                  <a:pt x="5029312" y="970646"/>
                </a:lnTo>
                <a:lnTo>
                  <a:pt x="5033761" y="966748"/>
                </a:lnTo>
                <a:lnTo>
                  <a:pt x="5037451" y="965991"/>
                </a:lnTo>
                <a:lnTo>
                  <a:pt x="5043744" y="959819"/>
                </a:lnTo>
                <a:lnTo>
                  <a:pt x="5046240" y="959819"/>
                </a:lnTo>
                <a:lnTo>
                  <a:pt x="5049822" y="957979"/>
                </a:lnTo>
                <a:lnTo>
                  <a:pt x="5050690" y="959603"/>
                </a:lnTo>
                <a:lnTo>
                  <a:pt x="5047109" y="963717"/>
                </a:lnTo>
                <a:lnTo>
                  <a:pt x="5050798" y="965124"/>
                </a:lnTo>
                <a:lnTo>
                  <a:pt x="5055573" y="969780"/>
                </a:lnTo>
                <a:lnTo>
                  <a:pt x="5055573" y="972378"/>
                </a:lnTo>
                <a:lnTo>
                  <a:pt x="5051666" y="975952"/>
                </a:lnTo>
                <a:lnTo>
                  <a:pt x="5053945" y="980715"/>
                </a:lnTo>
                <a:lnTo>
                  <a:pt x="5052968" y="984397"/>
                </a:lnTo>
                <a:lnTo>
                  <a:pt x="5055790" y="987861"/>
                </a:lnTo>
                <a:lnTo>
                  <a:pt x="5067835" y="987861"/>
                </a:lnTo>
                <a:lnTo>
                  <a:pt x="5070331" y="985046"/>
                </a:lnTo>
                <a:lnTo>
                  <a:pt x="5070331" y="982123"/>
                </a:lnTo>
                <a:lnTo>
                  <a:pt x="5068487" y="980391"/>
                </a:lnTo>
                <a:lnTo>
                  <a:pt x="5063386" y="974327"/>
                </a:lnTo>
                <a:lnTo>
                  <a:pt x="5063386" y="971621"/>
                </a:lnTo>
                <a:lnTo>
                  <a:pt x="5066750" y="968914"/>
                </a:lnTo>
                <a:lnTo>
                  <a:pt x="5073261" y="971837"/>
                </a:lnTo>
                <a:lnTo>
                  <a:pt x="5077819" y="968805"/>
                </a:lnTo>
                <a:lnTo>
                  <a:pt x="5079772" y="960902"/>
                </a:lnTo>
                <a:lnTo>
                  <a:pt x="5083353" y="960902"/>
                </a:lnTo>
                <a:lnTo>
                  <a:pt x="5085523" y="962850"/>
                </a:lnTo>
                <a:lnTo>
                  <a:pt x="5091818" y="963933"/>
                </a:lnTo>
                <a:lnTo>
                  <a:pt x="5085307" y="956896"/>
                </a:lnTo>
                <a:lnTo>
                  <a:pt x="5079881" y="955488"/>
                </a:lnTo>
                <a:lnTo>
                  <a:pt x="5079881" y="951157"/>
                </a:lnTo>
                <a:lnTo>
                  <a:pt x="5075866" y="943362"/>
                </a:lnTo>
                <a:lnTo>
                  <a:pt x="5072935" y="943362"/>
                </a:lnTo>
                <a:lnTo>
                  <a:pt x="5072067" y="947476"/>
                </a:lnTo>
                <a:lnTo>
                  <a:pt x="5069680" y="943470"/>
                </a:lnTo>
                <a:lnTo>
                  <a:pt x="5067184" y="934809"/>
                </a:lnTo>
                <a:lnTo>
                  <a:pt x="5063929" y="932968"/>
                </a:lnTo>
                <a:lnTo>
                  <a:pt x="5060456" y="927554"/>
                </a:lnTo>
                <a:lnTo>
                  <a:pt x="5060456" y="926147"/>
                </a:lnTo>
                <a:lnTo>
                  <a:pt x="5065557" y="924307"/>
                </a:lnTo>
                <a:lnTo>
                  <a:pt x="5065557" y="920300"/>
                </a:lnTo>
                <a:lnTo>
                  <a:pt x="5063277" y="915212"/>
                </a:lnTo>
                <a:lnTo>
                  <a:pt x="5066099" y="912504"/>
                </a:lnTo>
                <a:lnTo>
                  <a:pt x="5070114" y="913371"/>
                </a:lnTo>
                <a:lnTo>
                  <a:pt x="5072067" y="912288"/>
                </a:lnTo>
                <a:lnTo>
                  <a:pt x="5076083" y="914995"/>
                </a:lnTo>
                <a:lnTo>
                  <a:pt x="5080749" y="914237"/>
                </a:lnTo>
                <a:lnTo>
                  <a:pt x="5085307" y="915645"/>
                </a:lnTo>
                <a:lnTo>
                  <a:pt x="5103429" y="913155"/>
                </a:lnTo>
                <a:lnTo>
                  <a:pt x="5126434" y="914454"/>
                </a:lnTo>
                <a:lnTo>
                  <a:pt x="5133271" y="919109"/>
                </a:lnTo>
                <a:lnTo>
                  <a:pt x="5148463" y="924739"/>
                </a:lnTo>
                <a:lnTo>
                  <a:pt x="5149765" y="927987"/>
                </a:lnTo>
                <a:lnTo>
                  <a:pt x="5148138" y="930477"/>
                </a:lnTo>
                <a:lnTo>
                  <a:pt x="5150525" y="935675"/>
                </a:lnTo>
                <a:lnTo>
                  <a:pt x="5155083" y="931669"/>
                </a:lnTo>
                <a:lnTo>
                  <a:pt x="5161919" y="929179"/>
                </a:lnTo>
                <a:lnTo>
                  <a:pt x="5165934" y="932752"/>
                </a:lnTo>
                <a:lnTo>
                  <a:pt x="5169515" y="932752"/>
                </a:lnTo>
                <a:lnTo>
                  <a:pt x="5170383" y="937299"/>
                </a:lnTo>
                <a:lnTo>
                  <a:pt x="5178306" y="938381"/>
                </a:lnTo>
                <a:lnTo>
                  <a:pt x="5191545" y="945960"/>
                </a:lnTo>
                <a:lnTo>
                  <a:pt x="5204241" y="947043"/>
                </a:lnTo>
                <a:lnTo>
                  <a:pt x="5209341" y="951157"/>
                </a:lnTo>
                <a:lnTo>
                  <a:pt x="5212379" y="957870"/>
                </a:lnTo>
                <a:lnTo>
                  <a:pt x="5219759" y="959277"/>
                </a:lnTo>
                <a:lnTo>
                  <a:pt x="5226270" y="964150"/>
                </a:lnTo>
                <a:lnTo>
                  <a:pt x="5231913" y="974977"/>
                </a:lnTo>
                <a:lnTo>
                  <a:pt x="5237013" y="976060"/>
                </a:lnTo>
                <a:lnTo>
                  <a:pt x="5237013" y="973028"/>
                </a:lnTo>
                <a:lnTo>
                  <a:pt x="5235711" y="966315"/>
                </a:lnTo>
                <a:lnTo>
                  <a:pt x="5238641" y="966315"/>
                </a:lnTo>
                <a:lnTo>
                  <a:pt x="5239726" y="963825"/>
                </a:lnTo>
                <a:lnTo>
                  <a:pt x="5236470" y="958736"/>
                </a:lnTo>
                <a:lnTo>
                  <a:pt x="5237881" y="955488"/>
                </a:lnTo>
                <a:lnTo>
                  <a:pt x="5237881" y="942712"/>
                </a:lnTo>
                <a:lnTo>
                  <a:pt x="5242222" y="939247"/>
                </a:lnTo>
                <a:lnTo>
                  <a:pt x="5237881" y="939247"/>
                </a:lnTo>
                <a:lnTo>
                  <a:pt x="5237122" y="937299"/>
                </a:lnTo>
                <a:lnTo>
                  <a:pt x="5232564" y="937299"/>
                </a:lnTo>
                <a:lnTo>
                  <a:pt x="5228983" y="939681"/>
                </a:lnTo>
                <a:lnTo>
                  <a:pt x="5224100" y="938273"/>
                </a:lnTo>
                <a:lnTo>
                  <a:pt x="5214333" y="926689"/>
                </a:lnTo>
                <a:lnTo>
                  <a:pt x="5211620" y="926147"/>
                </a:lnTo>
                <a:lnTo>
                  <a:pt x="5208039" y="921600"/>
                </a:lnTo>
                <a:lnTo>
                  <a:pt x="5208039" y="913155"/>
                </a:lnTo>
                <a:lnTo>
                  <a:pt x="5205543" y="910773"/>
                </a:lnTo>
                <a:lnTo>
                  <a:pt x="5200985" y="917052"/>
                </a:lnTo>
                <a:lnTo>
                  <a:pt x="5195885" y="913587"/>
                </a:lnTo>
                <a:lnTo>
                  <a:pt x="5190242" y="913587"/>
                </a:lnTo>
                <a:lnTo>
                  <a:pt x="5185901" y="910664"/>
                </a:lnTo>
                <a:lnTo>
                  <a:pt x="5183623" y="914454"/>
                </a:lnTo>
                <a:lnTo>
                  <a:pt x="5181995" y="906334"/>
                </a:lnTo>
                <a:lnTo>
                  <a:pt x="5178414" y="903085"/>
                </a:lnTo>
                <a:lnTo>
                  <a:pt x="5174399" y="892258"/>
                </a:lnTo>
                <a:lnTo>
                  <a:pt x="5174399" y="888685"/>
                </a:lnTo>
                <a:lnTo>
                  <a:pt x="5177654" y="891175"/>
                </a:lnTo>
                <a:lnTo>
                  <a:pt x="5181452" y="887711"/>
                </a:lnTo>
                <a:lnTo>
                  <a:pt x="5181452" y="882298"/>
                </a:lnTo>
                <a:lnTo>
                  <a:pt x="5174181" y="877100"/>
                </a:lnTo>
                <a:lnTo>
                  <a:pt x="5174181" y="871145"/>
                </a:lnTo>
                <a:lnTo>
                  <a:pt x="5177654" y="866598"/>
                </a:lnTo>
                <a:lnTo>
                  <a:pt x="5181127" y="867465"/>
                </a:lnTo>
                <a:lnTo>
                  <a:pt x="5176786" y="863458"/>
                </a:lnTo>
                <a:lnTo>
                  <a:pt x="5171360" y="863458"/>
                </a:lnTo>
                <a:lnTo>
                  <a:pt x="5167888" y="854796"/>
                </a:lnTo>
                <a:lnTo>
                  <a:pt x="5164632" y="851765"/>
                </a:lnTo>
                <a:lnTo>
                  <a:pt x="5160834" y="854688"/>
                </a:lnTo>
                <a:lnTo>
                  <a:pt x="5155083" y="849274"/>
                </a:lnTo>
                <a:lnTo>
                  <a:pt x="5155843" y="841371"/>
                </a:lnTo>
                <a:lnTo>
                  <a:pt x="5158555" y="837257"/>
                </a:lnTo>
                <a:lnTo>
                  <a:pt x="5155516" y="832601"/>
                </a:lnTo>
                <a:lnTo>
                  <a:pt x="5154648" y="828595"/>
                </a:lnTo>
                <a:lnTo>
                  <a:pt x="5157904" y="826430"/>
                </a:lnTo>
                <a:lnTo>
                  <a:pt x="5166260" y="813437"/>
                </a:lnTo>
                <a:lnTo>
                  <a:pt x="5171468" y="809864"/>
                </a:lnTo>
                <a:lnTo>
                  <a:pt x="5172880" y="806941"/>
                </a:lnTo>
                <a:lnTo>
                  <a:pt x="5170709" y="800986"/>
                </a:lnTo>
                <a:lnTo>
                  <a:pt x="5170709" y="796438"/>
                </a:lnTo>
                <a:lnTo>
                  <a:pt x="5173964" y="790483"/>
                </a:lnTo>
                <a:lnTo>
                  <a:pt x="5170383" y="784854"/>
                </a:lnTo>
                <a:lnTo>
                  <a:pt x="5170383" y="777599"/>
                </a:lnTo>
                <a:lnTo>
                  <a:pt x="5172228" y="773810"/>
                </a:lnTo>
                <a:lnTo>
                  <a:pt x="5170600" y="770238"/>
                </a:lnTo>
                <a:lnTo>
                  <a:pt x="5170600" y="764607"/>
                </a:lnTo>
                <a:lnTo>
                  <a:pt x="5167670" y="761684"/>
                </a:lnTo>
                <a:lnTo>
                  <a:pt x="5170058" y="752806"/>
                </a:lnTo>
                <a:lnTo>
                  <a:pt x="5171686" y="750965"/>
                </a:lnTo>
                <a:lnTo>
                  <a:pt x="5167562" y="745551"/>
                </a:lnTo>
                <a:lnTo>
                  <a:pt x="5168973" y="737432"/>
                </a:lnTo>
                <a:lnTo>
                  <a:pt x="5168213" y="727471"/>
                </a:lnTo>
                <a:lnTo>
                  <a:pt x="5172011" y="726388"/>
                </a:lnTo>
                <a:lnTo>
                  <a:pt x="5175918" y="728337"/>
                </a:lnTo>
                <a:lnTo>
                  <a:pt x="5174290" y="730502"/>
                </a:lnTo>
                <a:lnTo>
                  <a:pt x="5175918" y="732451"/>
                </a:lnTo>
                <a:lnTo>
                  <a:pt x="5181344" y="730069"/>
                </a:lnTo>
                <a:lnTo>
                  <a:pt x="5188072" y="730069"/>
                </a:lnTo>
                <a:lnTo>
                  <a:pt x="5194041" y="727037"/>
                </a:lnTo>
                <a:lnTo>
                  <a:pt x="5198164" y="727037"/>
                </a:lnTo>
                <a:lnTo>
                  <a:pt x="5202287" y="728986"/>
                </a:lnTo>
                <a:lnTo>
                  <a:pt x="5205000" y="726604"/>
                </a:lnTo>
                <a:lnTo>
                  <a:pt x="5210643" y="726604"/>
                </a:lnTo>
                <a:lnTo>
                  <a:pt x="5224968" y="732343"/>
                </a:lnTo>
                <a:lnTo>
                  <a:pt x="5231696" y="732343"/>
                </a:lnTo>
                <a:lnTo>
                  <a:pt x="5236579" y="733426"/>
                </a:lnTo>
                <a:lnTo>
                  <a:pt x="5238424" y="737756"/>
                </a:lnTo>
                <a:lnTo>
                  <a:pt x="5234626" y="739380"/>
                </a:lnTo>
                <a:lnTo>
                  <a:pt x="5237664" y="744794"/>
                </a:lnTo>
                <a:lnTo>
                  <a:pt x="5237664" y="750532"/>
                </a:lnTo>
                <a:lnTo>
                  <a:pt x="5240160" y="753239"/>
                </a:lnTo>
                <a:lnTo>
                  <a:pt x="5240160" y="761684"/>
                </a:lnTo>
                <a:lnTo>
                  <a:pt x="5243198" y="769046"/>
                </a:lnTo>
                <a:lnTo>
                  <a:pt x="5241028" y="782038"/>
                </a:lnTo>
                <a:lnTo>
                  <a:pt x="5243524" y="785828"/>
                </a:lnTo>
                <a:lnTo>
                  <a:pt x="5242439" y="789076"/>
                </a:lnTo>
                <a:lnTo>
                  <a:pt x="5244609" y="793082"/>
                </a:lnTo>
                <a:lnTo>
                  <a:pt x="5243307" y="797630"/>
                </a:lnTo>
                <a:lnTo>
                  <a:pt x="5240377" y="799254"/>
                </a:lnTo>
                <a:lnTo>
                  <a:pt x="5242222" y="804884"/>
                </a:lnTo>
                <a:lnTo>
                  <a:pt x="5247322" y="809540"/>
                </a:lnTo>
                <a:lnTo>
                  <a:pt x="5250578" y="815711"/>
                </a:lnTo>
                <a:lnTo>
                  <a:pt x="5256221" y="817335"/>
                </a:lnTo>
                <a:lnTo>
                  <a:pt x="5256221" y="818634"/>
                </a:lnTo>
                <a:lnTo>
                  <a:pt x="5259802" y="817227"/>
                </a:lnTo>
                <a:lnTo>
                  <a:pt x="5262297" y="819284"/>
                </a:lnTo>
                <a:lnTo>
                  <a:pt x="5264142" y="827513"/>
                </a:lnTo>
                <a:lnTo>
                  <a:pt x="5269893" y="831519"/>
                </a:lnTo>
                <a:lnTo>
                  <a:pt x="5272932" y="836390"/>
                </a:lnTo>
                <a:lnTo>
                  <a:pt x="5274777" y="851007"/>
                </a:lnTo>
                <a:lnTo>
                  <a:pt x="5278792" y="855121"/>
                </a:lnTo>
                <a:lnTo>
                  <a:pt x="5278792" y="858370"/>
                </a:lnTo>
                <a:lnTo>
                  <a:pt x="5277381" y="861834"/>
                </a:lnTo>
                <a:lnTo>
                  <a:pt x="5282481" y="867465"/>
                </a:lnTo>
                <a:lnTo>
                  <a:pt x="5282481" y="874718"/>
                </a:lnTo>
                <a:lnTo>
                  <a:pt x="5289861" y="885545"/>
                </a:lnTo>
                <a:lnTo>
                  <a:pt x="5288016" y="891826"/>
                </a:lnTo>
                <a:lnTo>
                  <a:pt x="5290946" y="897022"/>
                </a:lnTo>
                <a:lnTo>
                  <a:pt x="5296046" y="900053"/>
                </a:lnTo>
                <a:lnTo>
                  <a:pt x="5293550" y="904168"/>
                </a:lnTo>
                <a:lnTo>
                  <a:pt x="5296263" y="906658"/>
                </a:lnTo>
                <a:lnTo>
                  <a:pt x="5298216" y="916728"/>
                </a:lnTo>
                <a:lnTo>
                  <a:pt x="5307766" y="928962"/>
                </a:lnTo>
                <a:lnTo>
                  <a:pt x="5315362" y="931452"/>
                </a:lnTo>
                <a:lnTo>
                  <a:pt x="5318617" y="935458"/>
                </a:lnTo>
                <a:lnTo>
                  <a:pt x="5322090" y="936216"/>
                </a:lnTo>
                <a:lnTo>
                  <a:pt x="5329361" y="943254"/>
                </a:lnTo>
                <a:lnTo>
                  <a:pt x="5329361" y="947043"/>
                </a:lnTo>
                <a:lnTo>
                  <a:pt x="5326973" y="946177"/>
                </a:lnTo>
                <a:lnTo>
                  <a:pt x="5326973" y="951374"/>
                </a:lnTo>
                <a:lnTo>
                  <a:pt x="5325671" y="957870"/>
                </a:lnTo>
                <a:lnTo>
                  <a:pt x="5328709" y="966856"/>
                </a:lnTo>
                <a:lnTo>
                  <a:pt x="5334135" y="972270"/>
                </a:lnTo>
                <a:lnTo>
                  <a:pt x="5334895" y="979632"/>
                </a:lnTo>
                <a:lnTo>
                  <a:pt x="5330554" y="983422"/>
                </a:lnTo>
                <a:lnTo>
                  <a:pt x="5330554" y="985804"/>
                </a:lnTo>
                <a:lnTo>
                  <a:pt x="5327299" y="989810"/>
                </a:lnTo>
                <a:lnTo>
                  <a:pt x="5329252" y="992517"/>
                </a:lnTo>
                <a:lnTo>
                  <a:pt x="5329252" y="1002803"/>
                </a:lnTo>
                <a:lnTo>
                  <a:pt x="5324043" y="1005509"/>
                </a:lnTo>
                <a:lnTo>
                  <a:pt x="5325128" y="1007458"/>
                </a:lnTo>
                <a:lnTo>
                  <a:pt x="5328709" y="1006592"/>
                </a:lnTo>
                <a:lnTo>
                  <a:pt x="5329469" y="1009299"/>
                </a:lnTo>
                <a:lnTo>
                  <a:pt x="5323827" y="1012547"/>
                </a:lnTo>
                <a:lnTo>
                  <a:pt x="5323827" y="1022507"/>
                </a:lnTo>
                <a:lnTo>
                  <a:pt x="5321656" y="1025539"/>
                </a:lnTo>
                <a:lnTo>
                  <a:pt x="5315688" y="1022616"/>
                </a:lnTo>
                <a:lnTo>
                  <a:pt x="5315688" y="1025864"/>
                </a:lnTo>
                <a:lnTo>
                  <a:pt x="5320570" y="1031278"/>
                </a:lnTo>
                <a:lnTo>
                  <a:pt x="5320570" y="1034851"/>
                </a:lnTo>
                <a:lnTo>
                  <a:pt x="5315470" y="1037233"/>
                </a:lnTo>
                <a:lnTo>
                  <a:pt x="5311889" y="1041888"/>
                </a:lnTo>
                <a:lnTo>
                  <a:pt x="5302991" y="1042429"/>
                </a:lnTo>
                <a:lnTo>
                  <a:pt x="5298433" y="1038640"/>
                </a:lnTo>
                <a:lnTo>
                  <a:pt x="5305704" y="1034634"/>
                </a:lnTo>
                <a:lnTo>
                  <a:pt x="5305704" y="1031061"/>
                </a:lnTo>
                <a:lnTo>
                  <a:pt x="5301363" y="1031061"/>
                </a:lnTo>
                <a:lnTo>
                  <a:pt x="5300170" y="1034092"/>
                </a:lnTo>
                <a:lnTo>
                  <a:pt x="5296697" y="1034092"/>
                </a:lnTo>
                <a:lnTo>
                  <a:pt x="5285845" y="1027921"/>
                </a:lnTo>
                <a:lnTo>
                  <a:pt x="5283458" y="1030953"/>
                </a:lnTo>
                <a:lnTo>
                  <a:pt x="5269893" y="1032794"/>
                </a:lnTo>
                <a:lnTo>
                  <a:pt x="5262840" y="1033335"/>
                </a:lnTo>
                <a:lnTo>
                  <a:pt x="5259367" y="1039614"/>
                </a:lnTo>
                <a:lnTo>
                  <a:pt x="5262623" y="1040156"/>
                </a:lnTo>
                <a:lnTo>
                  <a:pt x="5264250" y="1041996"/>
                </a:lnTo>
                <a:lnTo>
                  <a:pt x="5266963" y="1037449"/>
                </a:lnTo>
                <a:lnTo>
                  <a:pt x="5274342" y="1036041"/>
                </a:lnTo>
                <a:lnTo>
                  <a:pt x="5276513" y="1040698"/>
                </a:lnTo>
                <a:lnTo>
                  <a:pt x="5282807" y="1046652"/>
                </a:lnTo>
                <a:lnTo>
                  <a:pt x="5300495" y="1049575"/>
                </a:lnTo>
                <a:lnTo>
                  <a:pt x="5308091" y="1051741"/>
                </a:lnTo>
                <a:lnTo>
                  <a:pt x="5316990" y="1050333"/>
                </a:lnTo>
                <a:lnTo>
                  <a:pt x="5325345" y="1050333"/>
                </a:lnTo>
                <a:lnTo>
                  <a:pt x="5326973" y="1052824"/>
                </a:lnTo>
                <a:lnTo>
                  <a:pt x="5336197" y="1054772"/>
                </a:lnTo>
                <a:lnTo>
                  <a:pt x="5343468" y="1050658"/>
                </a:lnTo>
                <a:lnTo>
                  <a:pt x="5343468" y="1046002"/>
                </a:lnTo>
                <a:lnTo>
                  <a:pt x="5340538" y="1042537"/>
                </a:lnTo>
                <a:lnTo>
                  <a:pt x="5340538" y="1036583"/>
                </a:lnTo>
                <a:lnTo>
                  <a:pt x="5343576" y="1032469"/>
                </a:lnTo>
                <a:lnTo>
                  <a:pt x="5348134" y="1030303"/>
                </a:lnTo>
                <a:lnTo>
                  <a:pt x="5348134" y="1026839"/>
                </a:lnTo>
                <a:lnTo>
                  <a:pt x="5354863" y="1020125"/>
                </a:lnTo>
                <a:lnTo>
                  <a:pt x="5354863" y="1015795"/>
                </a:lnTo>
                <a:lnTo>
                  <a:pt x="5358985" y="1004968"/>
                </a:lnTo>
                <a:lnTo>
                  <a:pt x="5354863" y="997931"/>
                </a:lnTo>
                <a:lnTo>
                  <a:pt x="5356164" y="990026"/>
                </a:lnTo>
                <a:lnTo>
                  <a:pt x="5363543" y="977034"/>
                </a:lnTo>
                <a:lnTo>
                  <a:pt x="5364303" y="972703"/>
                </a:lnTo>
                <a:lnTo>
                  <a:pt x="5357032" y="955163"/>
                </a:lnTo>
                <a:lnTo>
                  <a:pt x="5347049" y="949425"/>
                </a:lnTo>
                <a:lnTo>
                  <a:pt x="5344119" y="945311"/>
                </a:lnTo>
                <a:lnTo>
                  <a:pt x="5343360" y="931561"/>
                </a:lnTo>
                <a:lnTo>
                  <a:pt x="5350738" y="925822"/>
                </a:lnTo>
                <a:lnTo>
                  <a:pt x="5354536" y="920192"/>
                </a:lnTo>
                <a:lnTo>
                  <a:pt x="5360830" y="919326"/>
                </a:lnTo>
                <a:lnTo>
                  <a:pt x="5370597" y="909906"/>
                </a:lnTo>
                <a:lnTo>
                  <a:pt x="5377108" y="909906"/>
                </a:lnTo>
                <a:lnTo>
                  <a:pt x="5384704" y="917269"/>
                </a:lnTo>
                <a:lnTo>
                  <a:pt x="5384704" y="923765"/>
                </a:lnTo>
                <a:lnTo>
                  <a:pt x="5392517" y="927554"/>
                </a:lnTo>
                <a:lnTo>
                  <a:pt x="5394362" y="930911"/>
                </a:lnTo>
                <a:lnTo>
                  <a:pt x="5396532" y="930911"/>
                </a:lnTo>
                <a:lnTo>
                  <a:pt x="5402501" y="938273"/>
                </a:lnTo>
                <a:lnTo>
                  <a:pt x="5401633" y="944012"/>
                </a:lnTo>
                <a:lnTo>
                  <a:pt x="5405756" y="946718"/>
                </a:lnTo>
                <a:lnTo>
                  <a:pt x="5407058" y="952132"/>
                </a:lnTo>
                <a:lnTo>
                  <a:pt x="5411507" y="957762"/>
                </a:lnTo>
                <a:lnTo>
                  <a:pt x="5412376" y="963717"/>
                </a:lnTo>
                <a:lnTo>
                  <a:pt x="5409989" y="965882"/>
                </a:lnTo>
                <a:lnTo>
                  <a:pt x="5413569" y="971296"/>
                </a:lnTo>
                <a:lnTo>
                  <a:pt x="5419321" y="971296"/>
                </a:lnTo>
                <a:lnTo>
                  <a:pt x="5425614" y="975843"/>
                </a:lnTo>
                <a:lnTo>
                  <a:pt x="5432126" y="974436"/>
                </a:lnTo>
                <a:lnTo>
                  <a:pt x="5436141" y="973136"/>
                </a:lnTo>
                <a:lnTo>
                  <a:pt x="5443411" y="972378"/>
                </a:lnTo>
                <a:lnTo>
                  <a:pt x="5445040" y="969672"/>
                </a:lnTo>
                <a:lnTo>
                  <a:pt x="5447753" y="968048"/>
                </a:lnTo>
                <a:lnTo>
                  <a:pt x="5444496" y="966748"/>
                </a:lnTo>
                <a:lnTo>
                  <a:pt x="5439830" y="968048"/>
                </a:lnTo>
                <a:lnTo>
                  <a:pt x="5438203" y="964475"/>
                </a:lnTo>
                <a:lnTo>
                  <a:pt x="5434622" y="970646"/>
                </a:lnTo>
                <a:lnTo>
                  <a:pt x="5427785" y="970646"/>
                </a:lnTo>
                <a:lnTo>
                  <a:pt x="5424746" y="966315"/>
                </a:lnTo>
                <a:lnTo>
                  <a:pt x="5419321" y="966315"/>
                </a:lnTo>
                <a:lnTo>
                  <a:pt x="5416391" y="961985"/>
                </a:lnTo>
                <a:lnTo>
                  <a:pt x="5418018" y="957979"/>
                </a:lnTo>
                <a:lnTo>
                  <a:pt x="5415089" y="956138"/>
                </a:lnTo>
                <a:lnTo>
                  <a:pt x="5411616" y="949317"/>
                </a:lnTo>
                <a:lnTo>
                  <a:pt x="5411616" y="941413"/>
                </a:lnTo>
                <a:lnTo>
                  <a:pt x="5416282" y="940114"/>
                </a:lnTo>
                <a:lnTo>
                  <a:pt x="5420080" y="936865"/>
                </a:lnTo>
                <a:lnTo>
                  <a:pt x="5416608" y="934159"/>
                </a:lnTo>
                <a:lnTo>
                  <a:pt x="5415523" y="930369"/>
                </a:lnTo>
                <a:lnTo>
                  <a:pt x="5414112" y="929503"/>
                </a:lnTo>
                <a:lnTo>
                  <a:pt x="5412485" y="925714"/>
                </a:lnTo>
                <a:lnTo>
                  <a:pt x="5405214" y="921600"/>
                </a:lnTo>
                <a:lnTo>
                  <a:pt x="5405214" y="917810"/>
                </a:lnTo>
                <a:lnTo>
                  <a:pt x="5399788" y="910556"/>
                </a:lnTo>
                <a:lnTo>
                  <a:pt x="5391649" y="910556"/>
                </a:lnTo>
                <a:lnTo>
                  <a:pt x="5380798" y="905900"/>
                </a:lnTo>
                <a:lnTo>
                  <a:pt x="5377868" y="900487"/>
                </a:lnTo>
                <a:lnTo>
                  <a:pt x="5372767" y="902328"/>
                </a:lnTo>
                <a:lnTo>
                  <a:pt x="5364086" y="897239"/>
                </a:lnTo>
                <a:lnTo>
                  <a:pt x="5359962" y="898646"/>
                </a:lnTo>
                <a:lnTo>
                  <a:pt x="5353994" y="896806"/>
                </a:lnTo>
                <a:lnTo>
                  <a:pt x="5348243" y="902761"/>
                </a:lnTo>
                <a:lnTo>
                  <a:pt x="5346614" y="909257"/>
                </a:lnTo>
                <a:lnTo>
                  <a:pt x="5343360" y="911963"/>
                </a:lnTo>
                <a:lnTo>
                  <a:pt x="5334895" y="909257"/>
                </a:lnTo>
                <a:lnTo>
                  <a:pt x="5327841" y="913587"/>
                </a:lnTo>
                <a:lnTo>
                  <a:pt x="5321114" y="911639"/>
                </a:lnTo>
                <a:lnTo>
                  <a:pt x="5318617" y="908391"/>
                </a:lnTo>
                <a:lnTo>
                  <a:pt x="5319377" y="902219"/>
                </a:lnTo>
                <a:lnTo>
                  <a:pt x="5318617" y="897130"/>
                </a:lnTo>
                <a:lnTo>
                  <a:pt x="5309611" y="887711"/>
                </a:lnTo>
                <a:lnTo>
                  <a:pt x="5306681" y="882080"/>
                </a:lnTo>
                <a:lnTo>
                  <a:pt x="5307549" y="871254"/>
                </a:lnTo>
                <a:lnTo>
                  <a:pt x="5302123" y="862809"/>
                </a:lnTo>
                <a:lnTo>
                  <a:pt x="5303425" y="856854"/>
                </a:lnTo>
                <a:lnTo>
                  <a:pt x="5304836" y="841371"/>
                </a:lnTo>
                <a:lnTo>
                  <a:pt x="5300495" y="831627"/>
                </a:lnTo>
                <a:lnTo>
                  <a:pt x="5295286" y="825997"/>
                </a:lnTo>
                <a:lnTo>
                  <a:pt x="5289101" y="825997"/>
                </a:lnTo>
                <a:lnTo>
                  <a:pt x="5286713" y="819284"/>
                </a:lnTo>
                <a:lnTo>
                  <a:pt x="5275862" y="809864"/>
                </a:lnTo>
                <a:lnTo>
                  <a:pt x="5266855" y="804776"/>
                </a:lnTo>
                <a:lnTo>
                  <a:pt x="5266855" y="798821"/>
                </a:lnTo>
                <a:lnTo>
                  <a:pt x="5270111" y="789618"/>
                </a:lnTo>
                <a:lnTo>
                  <a:pt x="5268700" y="782256"/>
                </a:lnTo>
                <a:lnTo>
                  <a:pt x="5265119" y="778791"/>
                </a:lnTo>
                <a:lnTo>
                  <a:pt x="5265119" y="776084"/>
                </a:lnTo>
                <a:lnTo>
                  <a:pt x="5270219" y="770995"/>
                </a:lnTo>
                <a:lnTo>
                  <a:pt x="5278140" y="761792"/>
                </a:lnTo>
                <a:lnTo>
                  <a:pt x="5280637" y="750965"/>
                </a:lnTo>
                <a:lnTo>
                  <a:pt x="5277598" y="738189"/>
                </a:lnTo>
                <a:lnTo>
                  <a:pt x="5267506" y="718917"/>
                </a:lnTo>
                <a:lnTo>
                  <a:pt x="5270545" y="717076"/>
                </a:lnTo>
                <a:lnTo>
                  <a:pt x="5277381" y="721949"/>
                </a:lnTo>
                <a:lnTo>
                  <a:pt x="5278466" y="728228"/>
                </a:lnTo>
                <a:lnTo>
                  <a:pt x="5281722" y="729094"/>
                </a:lnTo>
                <a:lnTo>
                  <a:pt x="5283892" y="731584"/>
                </a:lnTo>
                <a:lnTo>
                  <a:pt x="5283892" y="739163"/>
                </a:lnTo>
                <a:lnTo>
                  <a:pt x="5289101" y="744252"/>
                </a:lnTo>
                <a:lnTo>
                  <a:pt x="5289101" y="755079"/>
                </a:lnTo>
                <a:lnTo>
                  <a:pt x="5292899" y="761575"/>
                </a:lnTo>
                <a:lnTo>
                  <a:pt x="5290729" y="767530"/>
                </a:lnTo>
                <a:lnTo>
                  <a:pt x="5293550" y="772728"/>
                </a:lnTo>
                <a:lnTo>
                  <a:pt x="5300820" y="779007"/>
                </a:lnTo>
                <a:lnTo>
                  <a:pt x="5300820" y="783013"/>
                </a:lnTo>
                <a:lnTo>
                  <a:pt x="5304945" y="786478"/>
                </a:lnTo>
                <a:lnTo>
                  <a:pt x="5304945" y="789942"/>
                </a:lnTo>
                <a:lnTo>
                  <a:pt x="5300820" y="792866"/>
                </a:lnTo>
                <a:lnTo>
                  <a:pt x="5303208" y="796656"/>
                </a:lnTo>
                <a:lnTo>
                  <a:pt x="5308959" y="795573"/>
                </a:lnTo>
                <a:lnTo>
                  <a:pt x="5315470" y="799687"/>
                </a:lnTo>
                <a:lnTo>
                  <a:pt x="5323935" y="799687"/>
                </a:lnTo>
                <a:lnTo>
                  <a:pt x="5328493" y="797738"/>
                </a:lnTo>
                <a:lnTo>
                  <a:pt x="5332833" y="800769"/>
                </a:lnTo>
                <a:lnTo>
                  <a:pt x="5334461" y="804559"/>
                </a:lnTo>
                <a:lnTo>
                  <a:pt x="5338802" y="799362"/>
                </a:lnTo>
                <a:lnTo>
                  <a:pt x="5344228" y="799362"/>
                </a:lnTo>
                <a:lnTo>
                  <a:pt x="5348785" y="796980"/>
                </a:lnTo>
                <a:lnTo>
                  <a:pt x="5352909" y="798063"/>
                </a:lnTo>
                <a:lnTo>
                  <a:pt x="5359420" y="805317"/>
                </a:lnTo>
                <a:lnTo>
                  <a:pt x="5363978" y="805858"/>
                </a:lnTo>
                <a:lnTo>
                  <a:pt x="5370271" y="809431"/>
                </a:lnTo>
                <a:lnTo>
                  <a:pt x="5380255" y="807807"/>
                </a:lnTo>
                <a:lnTo>
                  <a:pt x="5383728" y="803260"/>
                </a:lnTo>
                <a:lnTo>
                  <a:pt x="5379604" y="806183"/>
                </a:lnTo>
                <a:lnTo>
                  <a:pt x="5369837" y="805317"/>
                </a:lnTo>
                <a:lnTo>
                  <a:pt x="5368535" y="800662"/>
                </a:lnTo>
                <a:lnTo>
                  <a:pt x="5365497" y="799579"/>
                </a:lnTo>
                <a:lnTo>
                  <a:pt x="5362784" y="792541"/>
                </a:lnTo>
                <a:lnTo>
                  <a:pt x="5354645" y="792541"/>
                </a:lnTo>
                <a:lnTo>
                  <a:pt x="5353777" y="788752"/>
                </a:lnTo>
                <a:lnTo>
                  <a:pt x="5351606" y="788752"/>
                </a:lnTo>
                <a:lnTo>
                  <a:pt x="5348676" y="791999"/>
                </a:lnTo>
                <a:lnTo>
                  <a:pt x="5336957" y="791134"/>
                </a:lnTo>
                <a:lnTo>
                  <a:pt x="5332508" y="787560"/>
                </a:lnTo>
                <a:lnTo>
                  <a:pt x="5324586" y="787560"/>
                </a:lnTo>
                <a:lnTo>
                  <a:pt x="5316230" y="780306"/>
                </a:lnTo>
                <a:lnTo>
                  <a:pt x="5314385" y="774352"/>
                </a:lnTo>
                <a:lnTo>
                  <a:pt x="5311456" y="774352"/>
                </a:lnTo>
                <a:lnTo>
                  <a:pt x="5304185" y="763524"/>
                </a:lnTo>
                <a:lnTo>
                  <a:pt x="5307658" y="762225"/>
                </a:lnTo>
                <a:lnTo>
                  <a:pt x="5309828" y="759518"/>
                </a:lnTo>
                <a:lnTo>
                  <a:pt x="5316556" y="754646"/>
                </a:lnTo>
                <a:lnTo>
                  <a:pt x="5319485" y="754646"/>
                </a:lnTo>
                <a:lnTo>
                  <a:pt x="5325996" y="762225"/>
                </a:lnTo>
                <a:lnTo>
                  <a:pt x="5336848" y="766773"/>
                </a:lnTo>
                <a:lnTo>
                  <a:pt x="5343576" y="765365"/>
                </a:lnTo>
                <a:lnTo>
                  <a:pt x="5348785" y="755838"/>
                </a:lnTo>
                <a:lnTo>
                  <a:pt x="5344445" y="747175"/>
                </a:lnTo>
                <a:lnTo>
                  <a:pt x="5335546" y="745010"/>
                </a:lnTo>
                <a:lnTo>
                  <a:pt x="5327624" y="750099"/>
                </a:lnTo>
                <a:lnTo>
                  <a:pt x="5324586" y="746634"/>
                </a:lnTo>
                <a:lnTo>
                  <a:pt x="5325780" y="743711"/>
                </a:lnTo>
                <a:lnTo>
                  <a:pt x="5328167" y="745335"/>
                </a:lnTo>
                <a:lnTo>
                  <a:pt x="5330880" y="743494"/>
                </a:lnTo>
                <a:lnTo>
                  <a:pt x="5331422" y="738081"/>
                </a:lnTo>
                <a:lnTo>
                  <a:pt x="5337174" y="729094"/>
                </a:lnTo>
                <a:lnTo>
                  <a:pt x="5342600" y="725846"/>
                </a:lnTo>
                <a:lnTo>
                  <a:pt x="5347266" y="728012"/>
                </a:lnTo>
                <a:lnTo>
                  <a:pt x="5363869" y="728012"/>
                </a:lnTo>
                <a:lnTo>
                  <a:pt x="5369620" y="734183"/>
                </a:lnTo>
                <a:lnTo>
                  <a:pt x="5375589" y="738189"/>
                </a:lnTo>
                <a:lnTo>
                  <a:pt x="5389479" y="739813"/>
                </a:lnTo>
                <a:lnTo>
                  <a:pt x="5390564" y="744469"/>
                </a:lnTo>
                <a:lnTo>
                  <a:pt x="5395990" y="747392"/>
                </a:lnTo>
                <a:lnTo>
                  <a:pt x="5405973" y="757461"/>
                </a:lnTo>
                <a:lnTo>
                  <a:pt x="5412810" y="757461"/>
                </a:lnTo>
                <a:lnTo>
                  <a:pt x="5425506" y="755620"/>
                </a:lnTo>
                <a:lnTo>
                  <a:pt x="5435598" y="749449"/>
                </a:lnTo>
                <a:lnTo>
                  <a:pt x="5439180" y="753022"/>
                </a:lnTo>
                <a:lnTo>
                  <a:pt x="5441133" y="752481"/>
                </a:lnTo>
                <a:lnTo>
                  <a:pt x="5446776" y="753022"/>
                </a:lnTo>
                <a:lnTo>
                  <a:pt x="5445473" y="761467"/>
                </a:lnTo>
                <a:lnTo>
                  <a:pt x="5446342" y="766123"/>
                </a:lnTo>
                <a:lnTo>
                  <a:pt x="5446342" y="769696"/>
                </a:lnTo>
                <a:lnTo>
                  <a:pt x="5439288" y="773810"/>
                </a:lnTo>
                <a:lnTo>
                  <a:pt x="5439288" y="780090"/>
                </a:lnTo>
                <a:lnTo>
                  <a:pt x="5442327" y="785503"/>
                </a:lnTo>
                <a:lnTo>
                  <a:pt x="5442327" y="793407"/>
                </a:lnTo>
                <a:lnTo>
                  <a:pt x="5450031" y="799579"/>
                </a:lnTo>
                <a:lnTo>
                  <a:pt x="5450573" y="804992"/>
                </a:lnTo>
                <a:lnTo>
                  <a:pt x="5447318" y="809107"/>
                </a:lnTo>
                <a:lnTo>
                  <a:pt x="5449489" y="824048"/>
                </a:lnTo>
                <a:lnTo>
                  <a:pt x="5452528" y="824048"/>
                </a:lnTo>
                <a:lnTo>
                  <a:pt x="5453937" y="819176"/>
                </a:lnTo>
                <a:lnTo>
                  <a:pt x="5452528" y="815927"/>
                </a:lnTo>
                <a:lnTo>
                  <a:pt x="5455457" y="812354"/>
                </a:lnTo>
                <a:lnTo>
                  <a:pt x="5454697" y="806399"/>
                </a:lnTo>
                <a:lnTo>
                  <a:pt x="5458278" y="804992"/>
                </a:lnTo>
                <a:lnTo>
                  <a:pt x="5460991" y="797413"/>
                </a:lnTo>
                <a:lnTo>
                  <a:pt x="5464789" y="800120"/>
                </a:lnTo>
                <a:lnTo>
                  <a:pt x="5467719" y="808456"/>
                </a:lnTo>
                <a:lnTo>
                  <a:pt x="5468479" y="819284"/>
                </a:lnTo>
                <a:lnTo>
                  <a:pt x="5469889" y="822749"/>
                </a:lnTo>
                <a:lnTo>
                  <a:pt x="5466634" y="824914"/>
                </a:lnTo>
                <a:lnTo>
                  <a:pt x="5466634" y="830544"/>
                </a:lnTo>
                <a:lnTo>
                  <a:pt x="5464464" y="832384"/>
                </a:lnTo>
                <a:lnTo>
                  <a:pt x="5473145" y="838123"/>
                </a:lnTo>
                <a:lnTo>
                  <a:pt x="5480741" y="838123"/>
                </a:lnTo>
                <a:lnTo>
                  <a:pt x="5488229" y="839964"/>
                </a:lnTo>
                <a:lnTo>
                  <a:pt x="5492787" y="846135"/>
                </a:lnTo>
                <a:lnTo>
                  <a:pt x="5492787" y="851224"/>
                </a:lnTo>
                <a:lnTo>
                  <a:pt x="5497995" y="855229"/>
                </a:lnTo>
                <a:lnTo>
                  <a:pt x="5507762" y="855229"/>
                </a:lnTo>
                <a:lnTo>
                  <a:pt x="5517420" y="865190"/>
                </a:lnTo>
                <a:lnTo>
                  <a:pt x="5516443" y="861726"/>
                </a:lnTo>
                <a:lnTo>
                  <a:pt x="5516443" y="855013"/>
                </a:lnTo>
                <a:lnTo>
                  <a:pt x="5523714" y="847434"/>
                </a:lnTo>
                <a:lnTo>
                  <a:pt x="5528923" y="847434"/>
                </a:lnTo>
                <a:lnTo>
                  <a:pt x="5539232" y="855555"/>
                </a:lnTo>
                <a:lnTo>
                  <a:pt x="5546502" y="855555"/>
                </a:lnTo>
                <a:lnTo>
                  <a:pt x="5550300" y="860210"/>
                </a:lnTo>
                <a:lnTo>
                  <a:pt x="5552688" y="869088"/>
                </a:lnTo>
                <a:lnTo>
                  <a:pt x="5551602" y="859561"/>
                </a:lnTo>
                <a:lnTo>
                  <a:pt x="5548673" y="853389"/>
                </a:lnTo>
                <a:lnTo>
                  <a:pt x="5544332" y="853389"/>
                </a:lnTo>
                <a:lnTo>
                  <a:pt x="5537822" y="851007"/>
                </a:lnTo>
                <a:lnTo>
                  <a:pt x="5528705" y="845052"/>
                </a:lnTo>
                <a:lnTo>
                  <a:pt x="5521002" y="846460"/>
                </a:lnTo>
                <a:lnTo>
                  <a:pt x="5513188" y="852631"/>
                </a:lnTo>
                <a:lnTo>
                  <a:pt x="5509607" y="851332"/>
                </a:lnTo>
                <a:lnTo>
                  <a:pt x="5508739" y="852198"/>
                </a:lnTo>
                <a:lnTo>
                  <a:pt x="5500492" y="848733"/>
                </a:lnTo>
                <a:lnTo>
                  <a:pt x="5491593" y="839205"/>
                </a:lnTo>
                <a:lnTo>
                  <a:pt x="5486927" y="835741"/>
                </a:lnTo>
                <a:lnTo>
                  <a:pt x="5478788" y="834983"/>
                </a:lnTo>
                <a:lnTo>
                  <a:pt x="5474231" y="827945"/>
                </a:lnTo>
                <a:lnTo>
                  <a:pt x="5478028" y="829353"/>
                </a:lnTo>
                <a:lnTo>
                  <a:pt x="5480959" y="828811"/>
                </a:lnTo>
                <a:lnTo>
                  <a:pt x="5486385" y="817985"/>
                </a:lnTo>
                <a:lnTo>
                  <a:pt x="5484539" y="813113"/>
                </a:lnTo>
                <a:lnTo>
                  <a:pt x="5478028" y="807374"/>
                </a:lnTo>
                <a:lnTo>
                  <a:pt x="5475098" y="796547"/>
                </a:lnTo>
                <a:lnTo>
                  <a:pt x="5467502" y="785720"/>
                </a:lnTo>
                <a:lnTo>
                  <a:pt x="5462836" y="782472"/>
                </a:lnTo>
                <a:lnTo>
                  <a:pt x="5457627" y="775975"/>
                </a:lnTo>
                <a:lnTo>
                  <a:pt x="5459255" y="770238"/>
                </a:lnTo>
                <a:lnTo>
                  <a:pt x="5457627" y="765148"/>
                </a:lnTo>
                <a:lnTo>
                  <a:pt x="5458930" y="752697"/>
                </a:lnTo>
                <a:lnTo>
                  <a:pt x="5454046" y="746959"/>
                </a:lnTo>
                <a:lnTo>
                  <a:pt x="5450791" y="746959"/>
                </a:lnTo>
                <a:lnTo>
                  <a:pt x="5442434" y="741546"/>
                </a:lnTo>
                <a:lnTo>
                  <a:pt x="5429956" y="741546"/>
                </a:lnTo>
                <a:lnTo>
                  <a:pt x="5426157" y="734833"/>
                </a:lnTo>
                <a:lnTo>
                  <a:pt x="5418887" y="731043"/>
                </a:lnTo>
                <a:lnTo>
                  <a:pt x="5418887" y="724872"/>
                </a:lnTo>
                <a:lnTo>
                  <a:pt x="5416716" y="720866"/>
                </a:lnTo>
                <a:lnTo>
                  <a:pt x="5416716" y="717293"/>
                </a:lnTo>
                <a:lnTo>
                  <a:pt x="5410965" y="720866"/>
                </a:lnTo>
                <a:lnTo>
                  <a:pt x="5394470" y="720108"/>
                </a:lnTo>
                <a:lnTo>
                  <a:pt x="5388827" y="720649"/>
                </a:lnTo>
                <a:lnTo>
                  <a:pt x="5381992" y="716102"/>
                </a:lnTo>
                <a:lnTo>
                  <a:pt x="5381123" y="709606"/>
                </a:lnTo>
                <a:lnTo>
                  <a:pt x="5378953" y="709606"/>
                </a:lnTo>
                <a:lnTo>
                  <a:pt x="5376999" y="705600"/>
                </a:lnTo>
                <a:lnTo>
                  <a:pt x="5376999" y="697155"/>
                </a:lnTo>
                <a:lnTo>
                  <a:pt x="5370814" y="686327"/>
                </a:lnTo>
                <a:lnTo>
                  <a:pt x="5362349" y="681239"/>
                </a:lnTo>
                <a:lnTo>
                  <a:pt x="5364195" y="677666"/>
                </a:lnTo>
                <a:lnTo>
                  <a:pt x="5363109" y="674743"/>
                </a:lnTo>
                <a:lnTo>
                  <a:pt x="5359312" y="674743"/>
                </a:lnTo>
                <a:lnTo>
                  <a:pt x="5356381" y="671711"/>
                </a:lnTo>
                <a:lnTo>
                  <a:pt x="5357792" y="666839"/>
                </a:lnTo>
                <a:lnTo>
                  <a:pt x="5357792" y="661642"/>
                </a:lnTo>
                <a:lnTo>
                  <a:pt x="5352150" y="657311"/>
                </a:lnTo>
                <a:lnTo>
                  <a:pt x="5355730" y="654388"/>
                </a:lnTo>
                <a:lnTo>
                  <a:pt x="5362458" y="654388"/>
                </a:lnTo>
                <a:lnTo>
                  <a:pt x="5368427" y="648433"/>
                </a:lnTo>
                <a:lnTo>
                  <a:pt x="5374178" y="648433"/>
                </a:lnTo>
                <a:lnTo>
                  <a:pt x="5387200" y="645509"/>
                </a:lnTo>
                <a:lnTo>
                  <a:pt x="5405431" y="638797"/>
                </a:lnTo>
                <a:lnTo>
                  <a:pt x="5412267" y="632842"/>
                </a:lnTo>
                <a:lnTo>
                  <a:pt x="5418018" y="631543"/>
                </a:lnTo>
                <a:lnTo>
                  <a:pt x="5422685" y="633383"/>
                </a:lnTo>
                <a:lnTo>
                  <a:pt x="5428436" y="631001"/>
                </a:lnTo>
                <a:lnTo>
                  <a:pt x="5430932" y="625263"/>
                </a:lnTo>
                <a:lnTo>
                  <a:pt x="5439614" y="622015"/>
                </a:lnTo>
                <a:lnTo>
                  <a:pt x="5456217" y="614977"/>
                </a:lnTo>
                <a:lnTo>
                  <a:pt x="5457844" y="616926"/>
                </a:lnTo>
                <a:lnTo>
                  <a:pt x="5455132" y="622015"/>
                </a:lnTo>
                <a:lnTo>
                  <a:pt x="5455132" y="625587"/>
                </a:lnTo>
                <a:lnTo>
                  <a:pt x="5451551" y="628078"/>
                </a:lnTo>
                <a:lnTo>
                  <a:pt x="5446993" y="637823"/>
                </a:lnTo>
                <a:lnTo>
                  <a:pt x="5446993" y="643019"/>
                </a:lnTo>
                <a:lnTo>
                  <a:pt x="5456976" y="650923"/>
                </a:lnTo>
                <a:lnTo>
                  <a:pt x="5465875" y="650923"/>
                </a:lnTo>
                <a:lnTo>
                  <a:pt x="5460666" y="648541"/>
                </a:lnTo>
                <a:lnTo>
                  <a:pt x="5452310" y="640205"/>
                </a:lnTo>
                <a:lnTo>
                  <a:pt x="5452310" y="636956"/>
                </a:lnTo>
                <a:lnTo>
                  <a:pt x="5456108" y="631759"/>
                </a:lnTo>
                <a:lnTo>
                  <a:pt x="5465657" y="626021"/>
                </a:lnTo>
                <a:lnTo>
                  <a:pt x="5469130" y="617360"/>
                </a:lnTo>
                <a:lnTo>
                  <a:pt x="5465657" y="610538"/>
                </a:lnTo>
                <a:lnTo>
                  <a:pt x="5459907" y="610538"/>
                </a:lnTo>
                <a:lnTo>
                  <a:pt x="5453070" y="605883"/>
                </a:lnTo>
                <a:lnTo>
                  <a:pt x="5454481" y="601768"/>
                </a:lnTo>
                <a:lnTo>
                  <a:pt x="5447101" y="601768"/>
                </a:lnTo>
                <a:lnTo>
                  <a:pt x="5444714" y="604692"/>
                </a:lnTo>
                <a:lnTo>
                  <a:pt x="5441784" y="602310"/>
                </a:lnTo>
                <a:lnTo>
                  <a:pt x="5439397" y="595814"/>
                </a:lnTo>
                <a:lnTo>
                  <a:pt x="5431475" y="595814"/>
                </a:lnTo>
                <a:lnTo>
                  <a:pt x="5427676" y="597438"/>
                </a:lnTo>
                <a:lnTo>
                  <a:pt x="5422034" y="590725"/>
                </a:lnTo>
                <a:lnTo>
                  <a:pt x="5424421" y="589101"/>
                </a:lnTo>
                <a:lnTo>
                  <a:pt x="5425181" y="585311"/>
                </a:lnTo>
                <a:lnTo>
                  <a:pt x="5427894" y="583904"/>
                </a:lnTo>
                <a:lnTo>
                  <a:pt x="5432451" y="588018"/>
                </a:lnTo>
                <a:lnTo>
                  <a:pt x="5438203" y="588018"/>
                </a:lnTo>
                <a:lnTo>
                  <a:pt x="5443086" y="585528"/>
                </a:lnTo>
                <a:lnTo>
                  <a:pt x="5441241" y="582604"/>
                </a:lnTo>
                <a:lnTo>
                  <a:pt x="5438745" y="583904"/>
                </a:lnTo>
                <a:lnTo>
                  <a:pt x="5434188" y="585203"/>
                </a:lnTo>
                <a:lnTo>
                  <a:pt x="5429521" y="581630"/>
                </a:lnTo>
                <a:lnTo>
                  <a:pt x="5428653" y="577083"/>
                </a:lnTo>
                <a:lnTo>
                  <a:pt x="5423228" y="576324"/>
                </a:lnTo>
                <a:lnTo>
                  <a:pt x="5415632" y="573943"/>
                </a:lnTo>
                <a:lnTo>
                  <a:pt x="5410965" y="576108"/>
                </a:lnTo>
                <a:lnTo>
                  <a:pt x="5407926" y="571236"/>
                </a:lnTo>
                <a:lnTo>
                  <a:pt x="5410639" y="568204"/>
                </a:lnTo>
                <a:lnTo>
                  <a:pt x="5410639" y="563873"/>
                </a:lnTo>
                <a:lnTo>
                  <a:pt x="5407601" y="560951"/>
                </a:lnTo>
                <a:lnTo>
                  <a:pt x="5408686" y="559110"/>
                </a:lnTo>
                <a:lnTo>
                  <a:pt x="5412159" y="559867"/>
                </a:lnTo>
                <a:lnTo>
                  <a:pt x="5417259" y="566905"/>
                </a:lnTo>
                <a:lnTo>
                  <a:pt x="5421600" y="565606"/>
                </a:lnTo>
                <a:lnTo>
                  <a:pt x="5426808" y="572969"/>
                </a:lnTo>
                <a:lnTo>
                  <a:pt x="5427568" y="568421"/>
                </a:lnTo>
                <a:lnTo>
                  <a:pt x="5426700" y="564957"/>
                </a:lnTo>
                <a:lnTo>
                  <a:pt x="5431040" y="561925"/>
                </a:lnTo>
                <a:lnTo>
                  <a:pt x="5431909" y="552397"/>
                </a:lnTo>
                <a:lnTo>
                  <a:pt x="5428327" y="549474"/>
                </a:lnTo>
                <a:lnTo>
                  <a:pt x="5429413" y="547633"/>
                </a:lnTo>
                <a:lnTo>
                  <a:pt x="5434296" y="548500"/>
                </a:lnTo>
                <a:lnTo>
                  <a:pt x="5436792" y="544926"/>
                </a:lnTo>
                <a:lnTo>
                  <a:pt x="5425940" y="542220"/>
                </a:lnTo>
                <a:lnTo>
                  <a:pt x="5423553" y="545468"/>
                </a:lnTo>
                <a:lnTo>
                  <a:pt x="5419972" y="545468"/>
                </a:lnTo>
                <a:lnTo>
                  <a:pt x="5419972" y="540812"/>
                </a:lnTo>
                <a:lnTo>
                  <a:pt x="5424530" y="537023"/>
                </a:lnTo>
                <a:lnTo>
                  <a:pt x="5432669" y="537023"/>
                </a:lnTo>
                <a:lnTo>
                  <a:pt x="5438637" y="535074"/>
                </a:lnTo>
                <a:lnTo>
                  <a:pt x="5437877" y="530743"/>
                </a:lnTo>
                <a:lnTo>
                  <a:pt x="5442543" y="525546"/>
                </a:lnTo>
                <a:lnTo>
                  <a:pt x="5442543" y="520998"/>
                </a:lnTo>
                <a:lnTo>
                  <a:pt x="5444171" y="519158"/>
                </a:lnTo>
                <a:lnTo>
                  <a:pt x="5443411" y="516776"/>
                </a:lnTo>
                <a:lnTo>
                  <a:pt x="5447969" y="510280"/>
                </a:lnTo>
                <a:lnTo>
                  <a:pt x="5449815" y="510280"/>
                </a:lnTo>
                <a:lnTo>
                  <a:pt x="5451984" y="513528"/>
                </a:lnTo>
                <a:lnTo>
                  <a:pt x="5454481" y="512229"/>
                </a:lnTo>
                <a:lnTo>
                  <a:pt x="5455891" y="507898"/>
                </a:lnTo>
                <a:lnTo>
                  <a:pt x="5457844" y="507898"/>
                </a:lnTo>
                <a:lnTo>
                  <a:pt x="5454914" y="503784"/>
                </a:lnTo>
                <a:lnTo>
                  <a:pt x="5456759" y="501077"/>
                </a:lnTo>
                <a:lnTo>
                  <a:pt x="5462944" y="499127"/>
                </a:lnTo>
                <a:lnTo>
                  <a:pt x="5465657" y="497829"/>
                </a:lnTo>
                <a:lnTo>
                  <a:pt x="5466959" y="493498"/>
                </a:lnTo>
                <a:lnTo>
                  <a:pt x="5469456" y="492956"/>
                </a:lnTo>
                <a:lnTo>
                  <a:pt x="5473796" y="494797"/>
                </a:lnTo>
                <a:lnTo>
                  <a:pt x="5481935" y="492956"/>
                </a:lnTo>
                <a:lnTo>
                  <a:pt x="5480090" y="490033"/>
                </a:lnTo>
                <a:lnTo>
                  <a:pt x="5480850" y="486244"/>
                </a:lnTo>
                <a:lnTo>
                  <a:pt x="5491702" y="484620"/>
                </a:lnTo>
                <a:lnTo>
                  <a:pt x="5497561" y="481155"/>
                </a:lnTo>
                <a:lnTo>
                  <a:pt x="5499949" y="476066"/>
                </a:lnTo>
                <a:lnTo>
                  <a:pt x="5513296" y="470436"/>
                </a:lnTo>
                <a:lnTo>
                  <a:pt x="5514381" y="465781"/>
                </a:lnTo>
                <a:lnTo>
                  <a:pt x="5511452" y="465023"/>
                </a:lnTo>
                <a:lnTo>
                  <a:pt x="5503313" y="470111"/>
                </a:lnTo>
                <a:lnTo>
                  <a:pt x="5500600" y="467405"/>
                </a:lnTo>
                <a:lnTo>
                  <a:pt x="5495174" y="472818"/>
                </a:lnTo>
                <a:lnTo>
                  <a:pt x="5492244" y="469895"/>
                </a:lnTo>
                <a:lnTo>
                  <a:pt x="5492244" y="459068"/>
                </a:lnTo>
                <a:lnTo>
                  <a:pt x="5494957" y="457227"/>
                </a:lnTo>
                <a:lnTo>
                  <a:pt x="5496910" y="452896"/>
                </a:lnTo>
                <a:lnTo>
                  <a:pt x="5498755" y="453654"/>
                </a:lnTo>
                <a:lnTo>
                  <a:pt x="5499515" y="456036"/>
                </a:lnTo>
                <a:lnTo>
                  <a:pt x="5501143" y="456902"/>
                </a:lnTo>
                <a:lnTo>
                  <a:pt x="5504723" y="453330"/>
                </a:lnTo>
                <a:lnTo>
                  <a:pt x="5499298" y="448241"/>
                </a:lnTo>
                <a:lnTo>
                  <a:pt x="5505482" y="447375"/>
                </a:lnTo>
                <a:lnTo>
                  <a:pt x="5509607" y="450081"/>
                </a:lnTo>
                <a:lnTo>
                  <a:pt x="5513730" y="450948"/>
                </a:lnTo>
                <a:lnTo>
                  <a:pt x="5520566" y="445859"/>
                </a:lnTo>
                <a:lnTo>
                  <a:pt x="5525233" y="447483"/>
                </a:lnTo>
                <a:lnTo>
                  <a:pt x="5537930" y="442935"/>
                </a:lnTo>
                <a:lnTo>
                  <a:pt x="5543138" y="443801"/>
                </a:lnTo>
                <a:lnTo>
                  <a:pt x="5545092" y="447591"/>
                </a:lnTo>
                <a:lnTo>
                  <a:pt x="5540208" y="458418"/>
                </a:lnTo>
                <a:lnTo>
                  <a:pt x="5540208" y="461342"/>
                </a:lnTo>
                <a:lnTo>
                  <a:pt x="5545309" y="464915"/>
                </a:lnTo>
                <a:lnTo>
                  <a:pt x="5547154" y="458093"/>
                </a:lnTo>
                <a:lnTo>
                  <a:pt x="5551494" y="450839"/>
                </a:lnTo>
                <a:lnTo>
                  <a:pt x="5550409" y="446291"/>
                </a:lnTo>
                <a:lnTo>
                  <a:pt x="5551494" y="444343"/>
                </a:lnTo>
                <a:lnTo>
                  <a:pt x="5555292" y="448891"/>
                </a:lnTo>
                <a:lnTo>
                  <a:pt x="5556160" y="456252"/>
                </a:lnTo>
                <a:lnTo>
                  <a:pt x="5560176" y="456252"/>
                </a:lnTo>
                <a:lnTo>
                  <a:pt x="5562020" y="451056"/>
                </a:lnTo>
                <a:lnTo>
                  <a:pt x="5560176" y="445967"/>
                </a:lnTo>
                <a:lnTo>
                  <a:pt x="5563648" y="443260"/>
                </a:lnTo>
                <a:lnTo>
                  <a:pt x="5565601" y="443260"/>
                </a:lnTo>
                <a:lnTo>
                  <a:pt x="5566470" y="448349"/>
                </a:lnTo>
                <a:lnTo>
                  <a:pt x="5573523" y="443152"/>
                </a:lnTo>
                <a:lnTo>
                  <a:pt x="5574392" y="440228"/>
                </a:lnTo>
                <a:lnTo>
                  <a:pt x="5571136" y="436222"/>
                </a:lnTo>
                <a:lnTo>
                  <a:pt x="5576345" y="436222"/>
                </a:lnTo>
                <a:lnTo>
                  <a:pt x="5579058" y="433300"/>
                </a:lnTo>
                <a:lnTo>
                  <a:pt x="5573956" y="431459"/>
                </a:lnTo>
                <a:lnTo>
                  <a:pt x="5579382" y="426261"/>
                </a:lnTo>
                <a:lnTo>
                  <a:pt x="5585568" y="426261"/>
                </a:lnTo>
                <a:lnTo>
                  <a:pt x="5590017" y="423555"/>
                </a:lnTo>
                <a:lnTo>
                  <a:pt x="5592730" y="424638"/>
                </a:lnTo>
                <a:lnTo>
                  <a:pt x="5592730" y="427669"/>
                </a:lnTo>
                <a:lnTo>
                  <a:pt x="5594575" y="428968"/>
                </a:lnTo>
                <a:lnTo>
                  <a:pt x="5601954" y="429510"/>
                </a:lnTo>
                <a:lnTo>
                  <a:pt x="5601954" y="436222"/>
                </a:lnTo>
                <a:lnTo>
                  <a:pt x="5604667" y="439146"/>
                </a:lnTo>
                <a:lnTo>
                  <a:pt x="5600652" y="449973"/>
                </a:lnTo>
                <a:lnTo>
                  <a:pt x="5607380" y="446725"/>
                </a:lnTo>
                <a:lnTo>
                  <a:pt x="5612046" y="436764"/>
                </a:lnTo>
                <a:lnTo>
                  <a:pt x="5606620" y="427020"/>
                </a:lnTo>
                <a:lnTo>
                  <a:pt x="5600435" y="423230"/>
                </a:lnTo>
                <a:lnTo>
                  <a:pt x="5595878" y="416951"/>
                </a:lnTo>
                <a:lnTo>
                  <a:pt x="5590777" y="420198"/>
                </a:lnTo>
                <a:lnTo>
                  <a:pt x="5587847" y="418033"/>
                </a:lnTo>
                <a:lnTo>
                  <a:pt x="5582204" y="419116"/>
                </a:lnTo>
                <a:lnTo>
                  <a:pt x="5581119" y="415110"/>
                </a:lnTo>
                <a:lnTo>
                  <a:pt x="5576236" y="413486"/>
                </a:lnTo>
                <a:lnTo>
                  <a:pt x="5575368" y="411645"/>
                </a:lnTo>
                <a:lnTo>
                  <a:pt x="5578840" y="407856"/>
                </a:lnTo>
                <a:lnTo>
                  <a:pt x="5588607" y="407856"/>
                </a:lnTo>
                <a:lnTo>
                  <a:pt x="5591862" y="404283"/>
                </a:lnTo>
                <a:lnTo>
                  <a:pt x="5596203" y="404283"/>
                </a:lnTo>
                <a:lnTo>
                  <a:pt x="5600870" y="405366"/>
                </a:lnTo>
                <a:lnTo>
                  <a:pt x="5605536" y="403416"/>
                </a:lnTo>
                <a:lnTo>
                  <a:pt x="5608791" y="405582"/>
                </a:lnTo>
                <a:lnTo>
                  <a:pt x="5619643" y="401034"/>
                </a:lnTo>
                <a:lnTo>
                  <a:pt x="5625394" y="403958"/>
                </a:lnTo>
                <a:lnTo>
                  <a:pt x="5629083" y="403416"/>
                </a:lnTo>
                <a:lnTo>
                  <a:pt x="5633207" y="404283"/>
                </a:lnTo>
                <a:lnTo>
                  <a:pt x="5637222" y="401359"/>
                </a:lnTo>
                <a:lnTo>
                  <a:pt x="5635378" y="398436"/>
                </a:lnTo>
                <a:lnTo>
                  <a:pt x="5627782" y="398436"/>
                </a:lnTo>
                <a:lnTo>
                  <a:pt x="5620402" y="395404"/>
                </a:lnTo>
                <a:lnTo>
                  <a:pt x="5614434" y="397787"/>
                </a:lnTo>
                <a:lnTo>
                  <a:pt x="5605753" y="397028"/>
                </a:lnTo>
                <a:lnTo>
                  <a:pt x="5605753" y="391940"/>
                </a:lnTo>
                <a:lnTo>
                  <a:pt x="5603582" y="386202"/>
                </a:lnTo>
                <a:lnTo>
                  <a:pt x="5610419" y="381655"/>
                </a:lnTo>
                <a:lnTo>
                  <a:pt x="5603907" y="380247"/>
                </a:lnTo>
                <a:lnTo>
                  <a:pt x="5598482" y="373209"/>
                </a:lnTo>
                <a:lnTo>
                  <a:pt x="5593815" y="373209"/>
                </a:lnTo>
                <a:lnTo>
                  <a:pt x="5589258" y="367471"/>
                </a:lnTo>
                <a:lnTo>
                  <a:pt x="5588499" y="361733"/>
                </a:lnTo>
                <a:lnTo>
                  <a:pt x="5592839" y="361733"/>
                </a:lnTo>
                <a:lnTo>
                  <a:pt x="5592839" y="356103"/>
                </a:lnTo>
                <a:lnTo>
                  <a:pt x="5587087" y="350906"/>
                </a:lnTo>
                <a:lnTo>
                  <a:pt x="5587847" y="329251"/>
                </a:lnTo>
                <a:lnTo>
                  <a:pt x="5592947" y="323297"/>
                </a:lnTo>
                <a:lnTo>
                  <a:pt x="5591102" y="317558"/>
                </a:lnTo>
                <a:lnTo>
                  <a:pt x="5592188" y="309654"/>
                </a:lnTo>
                <a:lnTo>
                  <a:pt x="5596746" y="305107"/>
                </a:lnTo>
                <a:lnTo>
                  <a:pt x="5593707" y="300235"/>
                </a:lnTo>
                <a:lnTo>
                  <a:pt x="5598048" y="298935"/>
                </a:lnTo>
                <a:lnTo>
                  <a:pt x="5599133" y="294929"/>
                </a:lnTo>
                <a:close/>
                <a:moveTo>
                  <a:pt x="4790359" y="289083"/>
                </a:moveTo>
                <a:lnTo>
                  <a:pt x="4795785" y="293738"/>
                </a:lnTo>
                <a:lnTo>
                  <a:pt x="4804683" y="299045"/>
                </a:lnTo>
                <a:lnTo>
                  <a:pt x="4808481" y="297853"/>
                </a:lnTo>
                <a:lnTo>
                  <a:pt x="4812062" y="299152"/>
                </a:lnTo>
                <a:lnTo>
                  <a:pt x="4811086" y="301101"/>
                </a:lnTo>
                <a:lnTo>
                  <a:pt x="4808156" y="301425"/>
                </a:lnTo>
                <a:lnTo>
                  <a:pt x="4801970" y="304892"/>
                </a:lnTo>
                <a:lnTo>
                  <a:pt x="4801102" y="307922"/>
                </a:lnTo>
                <a:lnTo>
                  <a:pt x="4799148" y="312795"/>
                </a:lnTo>
                <a:lnTo>
                  <a:pt x="4795785" y="314852"/>
                </a:lnTo>
                <a:lnTo>
                  <a:pt x="4795785" y="317125"/>
                </a:lnTo>
                <a:lnTo>
                  <a:pt x="4799040" y="319941"/>
                </a:lnTo>
                <a:lnTo>
                  <a:pt x="4798823" y="322539"/>
                </a:lnTo>
                <a:lnTo>
                  <a:pt x="4795025" y="322864"/>
                </a:lnTo>
                <a:lnTo>
                  <a:pt x="4789708" y="319941"/>
                </a:lnTo>
                <a:lnTo>
                  <a:pt x="4786452" y="312253"/>
                </a:lnTo>
                <a:lnTo>
                  <a:pt x="4786669" y="305540"/>
                </a:lnTo>
                <a:lnTo>
                  <a:pt x="4781461" y="295796"/>
                </a:lnTo>
                <a:lnTo>
                  <a:pt x="4781786" y="291574"/>
                </a:lnTo>
                <a:lnTo>
                  <a:pt x="4783197" y="292007"/>
                </a:lnTo>
                <a:lnTo>
                  <a:pt x="4787429" y="290816"/>
                </a:lnTo>
                <a:close/>
                <a:moveTo>
                  <a:pt x="2047926" y="286700"/>
                </a:moveTo>
                <a:lnTo>
                  <a:pt x="2054654" y="289732"/>
                </a:lnTo>
                <a:lnTo>
                  <a:pt x="2058127" y="289082"/>
                </a:lnTo>
                <a:lnTo>
                  <a:pt x="2061274" y="290490"/>
                </a:lnTo>
                <a:lnTo>
                  <a:pt x="2061925" y="293630"/>
                </a:lnTo>
                <a:lnTo>
                  <a:pt x="2063770" y="296012"/>
                </a:lnTo>
                <a:lnTo>
                  <a:pt x="2061057" y="299585"/>
                </a:lnTo>
                <a:lnTo>
                  <a:pt x="2056716" y="301859"/>
                </a:lnTo>
                <a:lnTo>
                  <a:pt x="2052918" y="300018"/>
                </a:lnTo>
                <a:lnTo>
                  <a:pt x="2049554" y="300018"/>
                </a:lnTo>
                <a:lnTo>
                  <a:pt x="2047817" y="295470"/>
                </a:lnTo>
                <a:lnTo>
                  <a:pt x="2044671" y="291897"/>
                </a:lnTo>
                <a:lnTo>
                  <a:pt x="2041849" y="290923"/>
                </a:lnTo>
                <a:cubicBezTo>
                  <a:pt x="2041849" y="290923"/>
                  <a:pt x="2041849" y="289624"/>
                  <a:pt x="2041849" y="289624"/>
                </a:cubicBezTo>
                <a:lnTo>
                  <a:pt x="2045539" y="288758"/>
                </a:lnTo>
                <a:close/>
                <a:moveTo>
                  <a:pt x="4618793" y="285402"/>
                </a:moveTo>
                <a:lnTo>
                  <a:pt x="4629320" y="287135"/>
                </a:lnTo>
                <a:lnTo>
                  <a:pt x="4641583" y="294497"/>
                </a:lnTo>
                <a:lnTo>
                  <a:pt x="4647008" y="295797"/>
                </a:lnTo>
                <a:lnTo>
                  <a:pt x="4649938" y="299045"/>
                </a:lnTo>
                <a:lnTo>
                  <a:pt x="4647442" y="300451"/>
                </a:lnTo>
                <a:lnTo>
                  <a:pt x="4646574" y="302076"/>
                </a:lnTo>
                <a:lnTo>
                  <a:pt x="4641148" y="302833"/>
                </a:lnTo>
                <a:lnTo>
                  <a:pt x="4635831" y="300451"/>
                </a:lnTo>
                <a:lnTo>
                  <a:pt x="4633227" y="295363"/>
                </a:lnTo>
                <a:lnTo>
                  <a:pt x="4630188" y="294063"/>
                </a:lnTo>
                <a:lnTo>
                  <a:pt x="4627366" y="296772"/>
                </a:lnTo>
                <a:lnTo>
                  <a:pt x="4620530" y="297528"/>
                </a:lnTo>
                <a:lnTo>
                  <a:pt x="4616732" y="302293"/>
                </a:lnTo>
                <a:lnTo>
                  <a:pt x="4611740" y="306732"/>
                </a:lnTo>
                <a:lnTo>
                  <a:pt x="4613802" y="311387"/>
                </a:lnTo>
                <a:lnTo>
                  <a:pt x="4616515" y="312469"/>
                </a:lnTo>
                <a:lnTo>
                  <a:pt x="4619119" y="315502"/>
                </a:lnTo>
                <a:lnTo>
                  <a:pt x="4619879" y="322431"/>
                </a:lnTo>
                <a:lnTo>
                  <a:pt x="4622917" y="327520"/>
                </a:lnTo>
                <a:lnTo>
                  <a:pt x="4622049" y="330768"/>
                </a:lnTo>
                <a:lnTo>
                  <a:pt x="4618142" y="328278"/>
                </a:lnTo>
                <a:lnTo>
                  <a:pt x="4615647" y="321132"/>
                </a:lnTo>
                <a:lnTo>
                  <a:pt x="4612608" y="317883"/>
                </a:lnTo>
                <a:lnTo>
                  <a:pt x="4609787" y="320483"/>
                </a:lnTo>
                <a:lnTo>
                  <a:pt x="4609787" y="323081"/>
                </a:lnTo>
                <a:lnTo>
                  <a:pt x="4607724" y="326654"/>
                </a:lnTo>
                <a:lnTo>
                  <a:pt x="4605012" y="325138"/>
                </a:lnTo>
                <a:lnTo>
                  <a:pt x="4602733" y="321998"/>
                </a:lnTo>
                <a:lnTo>
                  <a:pt x="4598392" y="318750"/>
                </a:lnTo>
                <a:lnTo>
                  <a:pt x="4592641" y="322214"/>
                </a:lnTo>
                <a:lnTo>
                  <a:pt x="4588951" y="319618"/>
                </a:lnTo>
                <a:lnTo>
                  <a:pt x="4588626" y="307273"/>
                </a:lnTo>
                <a:lnTo>
                  <a:pt x="4594486" y="302076"/>
                </a:lnTo>
                <a:lnTo>
                  <a:pt x="4599803" y="300560"/>
                </a:lnTo>
                <a:lnTo>
                  <a:pt x="4603167" y="293846"/>
                </a:lnTo>
                <a:lnTo>
                  <a:pt x="4612066" y="285944"/>
                </a:lnTo>
                <a:close/>
                <a:moveTo>
                  <a:pt x="2294257" y="284643"/>
                </a:moveTo>
                <a:lnTo>
                  <a:pt x="2300660" y="286484"/>
                </a:lnTo>
                <a:lnTo>
                  <a:pt x="2307713" y="294929"/>
                </a:lnTo>
                <a:lnTo>
                  <a:pt x="2307171" y="299368"/>
                </a:lnTo>
                <a:lnTo>
                  <a:pt x="2307930" y="307163"/>
                </a:lnTo>
                <a:lnTo>
                  <a:pt x="2304675" y="307812"/>
                </a:lnTo>
                <a:lnTo>
                  <a:pt x="2299792" y="304890"/>
                </a:lnTo>
                <a:lnTo>
                  <a:pt x="2295451" y="306621"/>
                </a:lnTo>
                <a:lnTo>
                  <a:pt x="2292196" y="306621"/>
                </a:lnTo>
                <a:lnTo>
                  <a:pt x="2288723" y="300775"/>
                </a:lnTo>
                <a:lnTo>
                  <a:pt x="2283298" y="296445"/>
                </a:lnTo>
                <a:lnTo>
                  <a:pt x="2283949" y="290165"/>
                </a:lnTo>
                <a:lnTo>
                  <a:pt x="2286011" y="285509"/>
                </a:lnTo>
                <a:close/>
                <a:moveTo>
                  <a:pt x="2590075" y="279989"/>
                </a:moveTo>
                <a:lnTo>
                  <a:pt x="2594307" y="281829"/>
                </a:lnTo>
                <a:lnTo>
                  <a:pt x="2599190" y="286268"/>
                </a:lnTo>
                <a:lnTo>
                  <a:pt x="2597562" y="289409"/>
                </a:lnTo>
                <a:lnTo>
                  <a:pt x="2591160" y="289193"/>
                </a:lnTo>
                <a:lnTo>
                  <a:pt x="2587470" y="293090"/>
                </a:lnTo>
                <a:lnTo>
                  <a:pt x="2581068" y="293848"/>
                </a:lnTo>
                <a:lnTo>
                  <a:pt x="2577487" y="292765"/>
                </a:lnTo>
                <a:lnTo>
                  <a:pt x="2576619" y="290383"/>
                </a:lnTo>
                <a:lnTo>
                  <a:pt x="2582370" y="282803"/>
                </a:lnTo>
                <a:lnTo>
                  <a:pt x="2585408" y="282803"/>
                </a:lnTo>
                <a:close/>
                <a:moveTo>
                  <a:pt x="4784715" y="277498"/>
                </a:moveTo>
                <a:lnTo>
                  <a:pt x="4786994" y="279989"/>
                </a:lnTo>
                <a:lnTo>
                  <a:pt x="4786451" y="282912"/>
                </a:lnTo>
                <a:lnTo>
                  <a:pt x="4782762" y="285402"/>
                </a:lnTo>
                <a:lnTo>
                  <a:pt x="4779398" y="284753"/>
                </a:lnTo>
                <a:lnTo>
                  <a:pt x="4775926" y="281288"/>
                </a:lnTo>
                <a:lnTo>
                  <a:pt x="4779724" y="281288"/>
                </a:lnTo>
                <a:lnTo>
                  <a:pt x="4782003" y="278364"/>
                </a:lnTo>
                <a:close/>
                <a:moveTo>
                  <a:pt x="2233598" y="277065"/>
                </a:moveTo>
                <a:lnTo>
                  <a:pt x="2237071" y="279771"/>
                </a:lnTo>
                <a:lnTo>
                  <a:pt x="2237939" y="286160"/>
                </a:lnTo>
                <a:lnTo>
                  <a:pt x="2239350" y="289083"/>
                </a:lnTo>
                <a:lnTo>
                  <a:pt x="2235552" y="298178"/>
                </a:lnTo>
                <a:lnTo>
                  <a:pt x="2236203" y="302183"/>
                </a:lnTo>
                <a:lnTo>
                  <a:pt x="2233164" y="307273"/>
                </a:lnTo>
                <a:lnTo>
                  <a:pt x="2235552" y="310412"/>
                </a:lnTo>
                <a:lnTo>
                  <a:pt x="2231971" y="321889"/>
                </a:lnTo>
                <a:lnTo>
                  <a:pt x="2226219" y="325029"/>
                </a:lnTo>
                <a:lnTo>
                  <a:pt x="2220576" y="324162"/>
                </a:lnTo>
                <a:lnTo>
                  <a:pt x="2217429" y="317775"/>
                </a:lnTo>
                <a:lnTo>
                  <a:pt x="2219491" y="313444"/>
                </a:lnTo>
                <a:lnTo>
                  <a:pt x="2220902" y="307164"/>
                </a:lnTo>
                <a:lnTo>
                  <a:pt x="2221119" y="302292"/>
                </a:lnTo>
                <a:lnTo>
                  <a:pt x="2226219" y="298394"/>
                </a:lnTo>
                <a:lnTo>
                  <a:pt x="2226436" y="295254"/>
                </a:lnTo>
                <a:lnTo>
                  <a:pt x="2227738" y="293738"/>
                </a:lnTo>
                <a:lnTo>
                  <a:pt x="2227738" y="290600"/>
                </a:lnTo>
                <a:lnTo>
                  <a:pt x="2231211" y="283886"/>
                </a:lnTo>
                <a:lnTo>
                  <a:pt x="2231211" y="279231"/>
                </a:lnTo>
                <a:close/>
                <a:moveTo>
                  <a:pt x="4758130" y="273493"/>
                </a:moveTo>
                <a:lnTo>
                  <a:pt x="4761711" y="274467"/>
                </a:lnTo>
                <a:lnTo>
                  <a:pt x="4763881" y="277066"/>
                </a:lnTo>
                <a:lnTo>
                  <a:pt x="4768222" y="278797"/>
                </a:lnTo>
                <a:lnTo>
                  <a:pt x="4768222" y="282478"/>
                </a:lnTo>
                <a:lnTo>
                  <a:pt x="4765943" y="284645"/>
                </a:lnTo>
                <a:lnTo>
                  <a:pt x="4760843" y="284645"/>
                </a:lnTo>
                <a:lnTo>
                  <a:pt x="4757804" y="283345"/>
                </a:lnTo>
                <a:lnTo>
                  <a:pt x="4755200" y="286592"/>
                </a:lnTo>
                <a:lnTo>
                  <a:pt x="4751727" y="286810"/>
                </a:lnTo>
                <a:lnTo>
                  <a:pt x="4749123" y="284969"/>
                </a:lnTo>
                <a:lnTo>
                  <a:pt x="4748689" y="279880"/>
                </a:lnTo>
                <a:lnTo>
                  <a:pt x="4752704" y="275009"/>
                </a:lnTo>
                <a:close/>
                <a:moveTo>
                  <a:pt x="2078962" y="271109"/>
                </a:moveTo>
                <a:lnTo>
                  <a:pt x="2076683" y="274574"/>
                </a:lnTo>
                <a:lnTo>
                  <a:pt x="2073861" y="275873"/>
                </a:lnTo>
                <a:lnTo>
                  <a:pt x="2071908" y="274574"/>
                </a:lnTo>
                <a:lnTo>
                  <a:pt x="2073427" y="271651"/>
                </a:lnTo>
                <a:close/>
                <a:moveTo>
                  <a:pt x="4739138" y="268514"/>
                </a:moveTo>
                <a:lnTo>
                  <a:pt x="4741416" y="273060"/>
                </a:lnTo>
                <a:lnTo>
                  <a:pt x="4743912" y="273060"/>
                </a:lnTo>
                <a:lnTo>
                  <a:pt x="4745106" y="271760"/>
                </a:lnTo>
                <a:lnTo>
                  <a:pt x="4747710" y="272519"/>
                </a:lnTo>
                <a:lnTo>
                  <a:pt x="4748795" y="275009"/>
                </a:lnTo>
                <a:lnTo>
                  <a:pt x="4747601" y="277714"/>
                </a:lnTo>
                <a:lnTo>
                  <a:pt x="4737727" y="281938"/>
                </a:lnTo>
                <a:cubicBezTo>
                  <a:pt x="4736735" y="281535"/>
                  <a:pt x="4735789" y="281026"/>
                  <a:pt x="4734905" y="280422"/>
                </a:cubicBezTo>
                <a:lnTo>
                  <a:pt x="4732084" y="278473"/>
                </a:lnTo>
                <a:lnTo>
                  <a:pt x="4727092" y="278473"/>
                </a:lnTo>
                <a:lnTo>
                  <a:pt x="4723946" y="274792"/>
                </a:lnTo>
                <a:lnTo>
                  <a:pt x="4723946" y="272519"/>
                </a:lnTo>
                <a:lnTo>
                  <a:pt x="4726659" y="270895"/>
                </a:lnTo>
                <a:lnTo>
                  <a:pt x="4731650" y="269378"/>
                </a:lnTo>
                <a:lnTo>
                  <a:pt x="4737184" y="270029"/>
                </a:lnTo>
                <a:close/>
                <a:moveTo>
                  <a:pt x="2318784" y="267753"/>
                </a:moveTo>
                <a:lnTo>
                  <a:pt x="2320086" y="269161"/>
                </a:lnTo>
                <a:lnTo>
                  <a:pt x="2318784" y="272517"/>
                </a:lnTo>
                <a:lnTo>
                  <a:pt x="2316504" y="272625"/>
                </a:lnTo>
                <a:lnTo>
                  <a:pt x="2315311" y="271327"/>
                </a:lnTo>
                <a:lnTo>
                  <a:pt x="2316179" y="269378"/>
                </a:lnTo>
                <a:close/>
                <a:moveTo>
                  <a:pt x="4674138" y="267538"/>
                </a:moveTo>
                <a:lnTo>
                  <a:pt x="4674789" y="269270"/>
                </a:lnTo>
                <a:lnTo>
                  <a:pt x="4674246" y="275117"/>
                </a:lnTo>
                <a:lnTo>
                  <a:pt x="4672184" y="280747"/>
                </a:lnTo>
                <a:lnTo>
                  <a:pt x="4668820" y="283777"/>
                </a:lnTo>
                <a:lnTo>
                  <a:pt x="4667627" y="288217"/>
                </a:lnTo>
                <a:lnTo>
                  <a:pt x="4667952" y="290599"/>
                </a:lnTo>
                <a:lnTo>
                  <a:pt x="4670448" y="289192"/>
                </a:lnTo>
                <a:lnTo>
                  <a:pt x="4673595" y="284319"/>
                </a:lnTo>
                <a:lnTo>
                  <a:pt x="4678804" y="281722"/>
                </a:lnTo>
                <a:lnTo>
                  <a:pt x="4680865" y="282046"/>
                </a:lnTo>
                <a:lnTo>
                  <a:pt x="4681951" y="286269"/>
                </a:lnTo>
                <a:lnTo>
                  <a:pt x="4686617" y="289409"/>
                </a:lnTo>
                <a:lnTo>
                  <a:pt x="4686943" y="291683"/>
                </a:lnTo>
                <a:lnTo>
                  <a:pt x="4689547" y="296446"/>
                </a:lnTo>
                <a:lnTo>
                  <a:pt x="4689113" y="298286"/>
                </a:lnTo>
                <a:lnTo>
                  <a:pt x="4685858" y="300451"/>
                </a:lnTo>
                <a:lnTo>
                  <a:pt x="4681517" y="305107"/>
                </a:lnTo>
                <a:lnTo>
                  <a:pt x="4678479" y="306190"/>
                </a:lnTo>
                <a:lnTo>
                  <a:pt x="4675874" y="305433"/>
                </a:lnTo>
                <a:lnTo>
                  <a:pt x="4675114" y="303700"/>
                </a:lnTo>
                <a:lnTo>
                  <a:pt x="4672619" y="303267"/>
                </a:lnTo>
                <a:lnTo>
                  <a:pt x="4670665" y="304998"/>
                </a:lnTo>
                <a:lnTo>
                  <a:pt x="4670556" y="309980"/>
                </a:lnTo>
                <a:lnTo>
                  <a:pt x="4671533" y="311387"/>
                </a:lnTo>
                <a:lnTo>
                  <a:pt x="4674355" y="311605"/>
                </a:lnTo>
                <a:lnTo>
                  <a:pt x="4675874" y="314636"/>
                </a:lnTo>
                <a:lnTo>
                  <a:pt x="4677285" y="315935"/>
                </a:lnTo>
                <a:lnTo>
                  <a:pt x="4677285" y="317883"/>
                </a:lnTo>
                <a:lnTo>
                  <a:pt x="4675440" y="319074"/>
                </a:lnTo>
                <a:lnTo>
                  <a:pt x="4668278" y="320698"/>
                </a:lnTo>
                <a:lnTo>
                  <a:pt x="4664263" y="320373"/>
                </a:lnTo>
                <a:lnTo>
                  <a:pt x="4659379" y="322646"/>
                </a:lnTo>
                <a:lnTo>
                  <a:pt x="4660030" y="324596"/>
                </a:lnTo>
                <a:lnTo>
                  <a:pt x="4663828" y="328386"/>
                </a:lnTo>
                <a:lnTo>
                  <a:pt x="4664696" y="334773"/>
                </a:lnTo>
                <a:lnTo>
                  <a:pt x="4663612" y="341161"/>
                </a:lnTo>
                <a:lnTo>
                  <a:pt x="4660247" y="343111"/>
                </a:lnTo>
                <a:lnTo>
                  <a:pt x="4658186" y="341594"/>
                </a:lnTo>
                <a:lnTo>
                  <a:pt x="4657317" y="343760"/>
                </a:lnTo>
                <a:lnTo>
                  <a:pt x="4657643" y="347224"/>
                </a:lnTo>
                <a:lnTo>
                  <a:pt x="4655364" y="351121"/>
                </a:lnTo>
                <a:lnTo>
                  <a:pt x="4652651" y="352963"/>
                </a:lnTo>
                <a:lnTo>
                  <a:pt x="4650481" y="352855"/>
                </a:lnTo>
                <a:lnTo>
                  <a:pt x="4650156" y="343868"/>
                </a:lnTo>
                <a:lnTo>
                  <a:pt x="4646575" y="339755"/>
                </a:lnTo>
                <a:lnTo>
                  <a:pt x="4643970" y="339755"/>
                </a:lnTo>
                <a:lnTo>
                  <a:pt x="4643645" y="344734"/>
                </a:lnTo>
                <a:lnTo>
                  <a:pt x="4641583" y="348199"/>
                </a:lnTo>
                <a:lnTo>
                  <a:pt x="4637567" y="347984"/>
                </a:lnTo>
                <a:lnTo>
                  <a:pt x="4634312" y="349498"/>
                </a:lnTo>
                <a:lnTo>
                  <a:pt x="4633118" y="346791"/>
                </a:lnTo>
                <a:lnTo>
                  <a:pt x="4634095" y="344086"/>
                </a:lnTo>
                <a:lnTo>
                  <a:pt x="4631816" y="340296"/>
                </a:lnTo>
                <a:lnTo>
                  <a:pt x="4630188" y="328711"/>
                </a:lnTo>
                <a:lnTo>
                  <a:pt x="4634312" y="325353"/>
                </a:lnTo>
                <a:lnTo>
                  <a:pt x="4639847" y="325353"/>
                </a:lnTo>
                <a:lnTo>
                  <a:pt x="4642885" y="323731"/>
                </a:lnTo>
                <a:lnTo>
                  <a:pt x="4641040" y="321998"/>
                </a:lnTo>
                <a:lnTo>
                  <a:pt x="4637025" y="321347"/>
                </a:lnTo>
                <a:lnTo>
                  <a:pt x="4636049" y="315827"/>
                </a:lnTo>
                <a:lnTo>
                  <a:pt x="4632250" y="313227"/>
                </a:lnTo>
                <a:lnTo>
                  <a:pt x="4628995" y="316368"/>
                </a:lnTo>
                <a:lnTo>
                  <a:pt x="4624980" y="315502"/>
                </a:lnTo>
                <a:lnTo>
                  <a:pt x="4625197" y="311605"/>
                </a:lnTo>
                <a:lnTo>
                  <a:pt x="4626173" y="309113"/>
                </a:lnTo>
                <a:lnTo>
                  <a:pt x="4626390" y="305864"/>
                </a:lnTo>
                <a:lnTo>
                  <a:pt x="4628778" y="303809"/>
                </a:lnTo>
                <a:lnTo>
                  <a:pt x="4631165" y="306623"/>
                </a:lnTo>
                <a:lnTo>
                  <a:pt x="4636157" y="308789"/>
                </a:lnTo>
                <a:lnTo>
                  <a:pt x="4639955" y="308139"/>
                </a:lnTo>
                <a:lnTo>
                  <a:pt x="4644513" y="310305"/>
                </a:lnTo>
                <a:lnTo>
                  <a:pt x="4648419" y="307922"/>
                </a:lnTo>
                <a:lnTo>
                  <a:pt x="4651892" y="302941"/>
                </a:lnTo>
                <a:lnTo>
                  <a:pt x="4655364" y="302076"/>
                </a:lnTo>
                <a:lnTo>
                  <a:pt x="4656992" y="298827"/>
                </a:lnTo>
                <a:lnTo>
                  <a:pt x="4656341" y="293739"/>
                </a:lnTo>
                <a:lnTo>
                  <a:pt x="4659814" y="290383"/>
                </a:lnTo>
                <a:lnTo>
                  <a:pt x="4663395" y="289083"/>
                </a:lnTo>
                <a:lnTo>
                  <a:pt x="4663612" y="286161"/>
                </a:lnTo>
                <a:lnTo>
                  <a:pt x="4661333" y="285185"/>
                </a:lnTo>
                <a:lnTo>
                  <a:pt x="4657643" y="285944"/>
                </a:lnTo>
                <a:lnTo>
                  <a:pt x="4656015" y="284645"/>
                </a:lnTo>
                <a:lnTo>
                  <a:pt x="4656015" y="280313"/>
                </a:lnTo>
                <a:lnTo>
                  <a:pt x="4659814" y="278797"/>
                </a:lnTo>
                <a:lnTo>
                  <a:pt x="4662092" y="273060"/>
                </a:lnTo>
                <a:lnTo>
                  <a:pt x="4663720" y="271110"/>
                </a:lnTo>
                <a:lnTo>
                  <a:pt x="4664913" y="273601"/>
                </a:lnTo>
                <a:lnTo>
                  <a:pt x="4663937" y="278256"/>
                </a:lnTo>
                <a:lnTo>
                  <a:pt x="4664371" y="280421"/>
                </a:lnTo>
                <a:lnTo>
                  <a:pt x="4665999" y="279880"/>
                </a:lnTo>
                <a:lnTo>
                  <a:pt x="4668820" y="273384"/>
                </a:lnTo>
                <a:close/>
                <a:moveTo>
                  <a:pt x="3671009" y="261257"/>
                </a:moveTo>
                <a:lnTo>
                  <a:pt x="3672637" y="263207"/>
                </a:lnTo>
                <a:lnTo>
                  <a:pt x="3672637" y="271218"/>
                </a:lnTo>
                <a:lnTo>
                  <a:pt x="3671552" y="274575"/>
                </a:lnTo>
                <a:cubicBezTo>
                  <a:pt x="3670920" y="274306"/>
                  <a:pt x="3670266" y="274088"/>
                  <a:pt x="3669598" y="273925"/>
                </a:cubicBezTo>
                <a:lnTo>
                  <a:pt x="3667103" y="268078"/>
                </a:lnTo>
                <a:lnTo>
                  <a:pt x="3668188" y="263531"/>
                </a:lnTo>
                <a:close/>
                <a:moveTo>
                  <a:pt x="2300878" y="256275"/>
                </a:moveTo>
                <a:lnTo>
                  <a:pt x="2305001" y="256384"/>
                </a:lnTo>
                <a:lnTo>
                  <a:pt x="2302180" y="258332"/>
                </a:lnTo>
                <a:lnTo>
                  <a:pt x="2301312" y="261364"/>
                </a:lnTo>
                <a:lnTo>
                  <a:pt x="2296320" y="264505"/>
                </a:lnTo>
                <a:lnTo>
                  <a:pt x="2293933" y="263855"/>
                </a:lnTo>
                <a:lnTo>
                  <a:pt x="2294801" y="259308"/>
                </a:lnTo>
                <a:close/>
                <a:moveTo>
                  <a:pt x="4781894" y="250756"/>
                </a:moveTo>
                <a:lnTo>
                  <a:pt x="4783955" y="251188"/>
                </a:lnTo>
                <a:lnTo>
                  <a:pt x="4786451" y="255194"/>
                </a:lnTo>
                <a:lnTo>
                  <a:pt x="4786994" y="258443"/>
                </a:lnTo>
                <a:lnTo>
                  <a:pt x="4785150" y="259633"/>
                </a:lnTo>
                <a:lnTo>
                  <a:pt x="4784498" y="262882"/>
                </a:lnTo>
                <a:lnTo>
                  <a:pt x="4782110" y="264722"/>
                </a:lnTo>
                <a:lnTo>
                  <a:pt x="4777879" y="264722"/>
                </a:lnTo>
                <a:lnTo>
                  <a:pt x="4776034" y="263314"/>
                </a:lnTo>
                <a:lnTo>
                  <a:pt x="4776143" y="260067"/>
                </a:lnTo>
                <a:lnTo>
                  <a:pt x="4777879" y="258118"/>
                </a:lnTo>
                <a:lnTo>
                  <a:pt x="4779506" y="252813"/>
                </a:lnTo>
                <a:close/>
                <a:moveTo>
                  <a:pt x="4725139" y="249456"/>
                </a:moveTo>
                <a:lnTo>
                  <a:pt x="4736316" y="249674"/>
                </a:lnTo>
                <a:lnTo>
                  <a:pt x="4740223" y="251730"/>
                </a:lnTo>
                <a:lnTo>
                  <a:pt x="4746300" y="251514"/>
                </a:lnTo>
                <a:lnTo>
                  <a:pt x="4749230" y="253788"/>
                </a:lnTo>
                <a:lnTo>
                  <a:pt x="4751617" y="254004"/>
                </a:lnTo>
                <a:lnTo>
                  <a:pt x="4758996" y="259525"/>
                </a:lnTo>
                <a:lnTo>
                  <a:pt x="4766484" y="261908"/>
                </a:lnTo>
                <a:lnTo>
                  <a:pt x="4770607" y="261908"/>
                </a:lnTo>
                <a:lnTo>
                  <a:pt x="4773863" y="266563"/>
                </a:lnTo>
                <a:lnTo>
                  <a:pt x="4772778" y="273168"/>
                </a:lnTo>
                <a:lnTo>
                  <a:pt x="4770607" y="274467"/>
                </a:lnTo>
                <a:lnTo>
                  <a:pt x="4765941" y="272843"/>
                </a:lnTo>
                <a:lnTo>
                  <a:pt x="4759756" y="270136"/>
                </a:lnTo>
                <a:lnTo>
                  <a:pt x="4754221" y="271219"/>
                </a:lnTo>
                <a:lnTo>
                  <a:pt x="4748470" y="269810"/>
                </a:lnTo>
                <a:lnTo>
                  <a:pt x="4745974" y="264614"/>
                </a:lnTo>
                <a:lnTo>
                  <a:pt x="4743370" y="265697"/>
                </a:lnTo>
                <a:lnTo>
                  <a:pt x="4740766" y="265480"/>
                </a:lnTo>
                <a:lnTo>
                  <a:pt x="4738921" y="261366"/>
                </a:lnTo>
                <a:lnTo>
                  <a:pt x="4735123" y="257901"/>
                </a:lnTo>
                <a:lnTo>
                  <a:pt x="4732844" y="258226"/>
                </a:lnTo>
                <a:lnTo>
                  <a:pt x="4730240" y="261582"/>
                </a:lnTo>
                <a:lnTo>
                  <a:pt x="4723512" y="259092"/>
                </a:lnTo>
                <a:lnTo>
                  <a:pt x="4720473" y="257252"/>
                </a:lnTo>
                <a:lnTo>
                  <a:pt x="4721016" y="255194"/>
                </a:lnTo>
                <a:lnTo>
                  <a:pt x="4719931" y="251081"/>
                </a:lnTo>
                <a:close/>
                <a:moveTo>
                  <a:pt x="4665238" y="248266"/>
                </a:moveTo>
                <a:lnTo>
                  <a:pt x="4667191" y="248266"/>
                </a:lnTo>
                <a:lnTo>
                  <a:pt x="4667191" y="252705"/>
                </a:lnTo>
                <a:lnTo>
                  <a:pt x="4669362" y="255412"/>
                </a:lnTo>
                <a:lnTo>
                  <a:pt x="4668386" y="258876"/>
                </a:lnTo>
                <a:lnTo>
                  <a:pt x="4662200" y="258876"/>
                </a:lnTo>
                <a:cubicBezTo>
                  <a:pt x="4661809" y="258468"/>
                  <a:pt x="4661447" y="258034"/>
                  <a:pt x="4661115" y="257578"/>
                </a:cubicBezTo>
                <a:lnTo>
                  <a:pt x="4662092" y="252271"/>
                </a:lnTo>
                <a:close/>
                <a:moveTo>
                  <a:pt x="5635919" y="245018"/>
                </a:moveTo>
                <a:lnTo>
                  <a:pt x="5639174" y="245884"/>
                </a:lnTo>
                <a:lnTo>
                  <a:pt x="5641020" y="251405"/>
                </a:lnTo>
                <a:lnTo>
                  <a:pt x="5638415" y="256060"/>
                </a:lnTo>
                <a:lnTo>
                  <a:pt x="5635160" y="253138"/>
                </a:lnTo>
                <a:lnTo>
                  <a:pt x="5632664" y="256060"/>
                </a:lnTo>
                <a:lnTo>
                  <a:pt x="5626262" y="256927"/>
                </a:lnTo>
                <a:lnTo>
                  <a:pt x="5619208" y="256385"/>
                </a:lnTo>
                <a:lnTo>
                  <a:pt x="5618991" y="253678"/>
                </a:lnTo>
                <a:lnTo>
                  <a:pt x="5621270" y="250214"/>
                </a:lnTo>
                <a:lnTo>
                  <a:pt x="5627456" y="250864"/>
                </a:lnTo>
                <a:lnTo>
                  <a:pt x="5630168" y="246209"/>
                </a:lnTo>
                <a:lnTo>
                  <a:pt x="5634292" y="246425"/>
                </a:lnTo>
                <a:close/>
                <a:moveTo>
                  <a:pt x="3666778" y="245017"/>
                </a:moveTo>
                <a:lnTo>
                  <a:pt x="3668731" y="247074"/>
                </a:lnTo>
                <a:lnTo>
                  <a:pt x="3668405" y="251512"/>
                </a:lnTo>
                <a:lnTo>
                  <a:pt x="3667103" y="253137"/>
                </a:lnTo>
                <a:lnTo>
                  <a:pt x="3666560" y="258550"/>
                </a:lnTo>
                <a:lnTo>
                  <a:pt x="3662979" y="261798"/>
                </a:lnTo>
                <a:lnTo>
                  <a:pt x="3661460" y="260174"/>
                </a:lnTo>
                <a:lnTo>
                  <a:pt x="3661677" y="254652"/>
                </a:lnTo>
                <a:lnTo>
                  <a:pt x="3660592" y="251080"/>
                </a:lnTo>
                <a:lnTo>
                  <a:pt x="3663522" y="246099"/>
                </a:lnTo>
                <a:close/>
                <a:moveTo>
                  <a:pt x="2402124" y="242851"/>
                </a:moveTo>
                <a:lnTo>
                  <a:pt x="2406790" y="242959"/>
                </a:lnTo>
                <a:lnTo>
                  <a:pt x="2412650" y="250429"/>
                </a:lnTo>
                <a:lnTo>
                  <a:pt x="2414712" y="255734"/>
                </a:lnTo>
                <a:lnTo>
                  <a:pt x="2414170" y="259308"/>
                </a:lnTo>
                <a:lnTo>
                  <a:pt x="2415580" y="262448"/>
                </a:lnTo>
                <a:lnTo>
                  <a:pt x="2418293" y="263422"/>
                </a:lnTo>
                <a:lnTo>
                  <a:pt x="2418618" y="268619"/>
                </a:lnTo>
                <a:lnTo>
                  <a:pt x="2421440" y="270026"/>
                </a:lnTo>
                <a:lnTo>
                  <a:pt x="2421766" y="272625"/>
                </a:lnTo>
                <a:lnTo>
                  <a:pt x="2424044" y="277930"/>
                </a:lnTo>
                <a:lnTo>
                  <a:pt x="2428710" y="278363"/>
                </a:lnTo>
                <a:lnTo>
                  <a:pt x="2428710" y="280638"/>
                </a:lnTo>
                <a:lnTo>
                  <a:pt x="2430772" y="284752"/>
                </a:lnTo>
                <a:lnTo>
                  <a:pt x="2432834" y="293846"/>
                </a:lnTo>
                <a:lnTo>
                  <a:pt x="2427951" y="297528"/>
                </a:lnTo>
                <a:lnTo>
                  <a:pt x="2425238" y="300235"/>
                </a:lnTo>
                <a:lnTo>
                  <a:pt x="2420898" y="300018"/>
                </a:lnTo>
                <a:lnTo>
                  <a:pt x="2418185" y="301425"/>
                </a:lnTo>
                <a:lnTo>
                  <a:pt x="2420246" y="303483"/>
                </a:lnTo>
                <a:lnTo>
                  <a:pt x="2422851" y="303699"/>
                </a:lnTo>
                <a:lnTo>
                  <a:pt x="2424044" y="311061"/>
                </a:lnTo>
                <a:lnTo>
                  <a:pt x="2423176" y="315501"/>
                </a:lnTo>
                <a:lnTo>
                  <a:pt x="2414929" y="321022"/>
                </a:lnTo>
                <a:lnTo>
                  <a:pt x="2412433" y="323513"/>
                </a:lnTo>
                <a:lnTo>
                  <a:pt x="2409503" y="322971"/>
                </a:lnTo>
                <a:lnTo>
                  <a:pt x="2409177" y="319183"/>
                </a:lnTo>
                <a:lnTo>
                  <a:pt x="2407007" y="317450"/>
                </a:lnTo>
                <a:lnTo>
                  <a:pt x="2401473" y="321348"/>
                </a:lnTo>
                <a:lnTo>
                  <a:pt x="2397675" y="319615"/>
                </a:lnTo>
                <a:lnTo>
                  <a:pt x="2390947" y="321781"/>
                </a:lnTo>
                <a:lnTo>
                  <a:pt x="2387474" y="321348"/>
                </a:lnTo>
                <a:lnTo>
                  <a:pt x="2386824" y="316043"/>
                </a:lnTo>
                <a:lnTo>
                  <a:pt x="2383026" y="315718"/>
                </a:lnTo>
                <a:lnTo>
                  <a:pt x="2382158" y="318965"/>
                </a:lnTo>
                <a:lnTo>
                  <a:pt x="2377274" y="320698"/>
                </a:lnTo>
                <a:lnTo>
                  <a:pt x="2377165" y="315501"/>
                </a:lnTo>
                <a:lnTo>
                  <a:pt x="2379878" y="311928"/>
                </a:lnTo>
                <a:lnTo>
                  <a:pt x="2377491" y="309330"/>
                </a:lnTo>
                <a:lnTo>
                  <a:pt x="2377165" y="303916"/>
                </a:lnTo>
                <a:lnTo>
                  <a:pt x="2372825" y="301317"/>
                </a:lnTo>
                <a:lnTo>
                  <a:pt x="2374452" y="298178"/>
                </a:lnTo>
                <a:lnTo>
                  <a:pt x="2375972" y="294712"/>
                </a:lnTo>
                <a:lnTo>
                  <a:pt x="2381506" y="295471"/>
                </a:lnTo>
                <a:lnTo>
                  <a:pt x="2386281" y="299368"/>
                </a:lnTo>
                <a:lnTo>
                  <a:pt x="2388126" y="299585"/>
                </a:lnTo>
                <a:lnTo>
                  <a:pt x="2388668" y="295579"/>
                </a:lnTo>
                <a:lnTo>
                  <a:pt x="2383893" y="288432"/>
                </a:lnTo>
                <a:lnTo>
                  <a:pt x="2379227" y="285618"/>
                </a:lnTo>
                <a:lnTo>
                  <a:pt x="2378359" y="283020"/>
                </a:lnTo>
                <a:lnTo>
                  <a:pt x="2383026" y="282911"/>
                </a:lnTo>
                <a:lnTo>
                  <a:pt x="2380204" y="278255"/>
                </a:lnTo>
                <a:lnTo>
                  <a:pt x="2383242" y="273817"/>
                </a:lnTo>
                <a:lnTo>
                  <a:pt x="2383568" y="266237"/>
                </a:lnTo>
                <a:lnTo>
                  <a:pt x="2386064" y="259849"/>
                </a:lnTo>
                <a:lnTo>
                  <a:pt x="2389428" y="260174"/>
                </a:lnTo>
                <a:lnTo>
                  <a:pt x="2392683" y="257900"/>
                </a:lnTo>
                <a:lnTo>
                  <a:pt x="2393226" y="251079"/>
                </a:lnTo>
                <a:lnTo>
                  <a:pt x="2396265" y="247830"/>
                </a:lnTo>
                <a:close/>
                <a:moveTo>
                  <a:pt x="4747168" y="240688"/>
                </a:moveTo>
                <a:lnTo>
                  <a:pt x="4753571" y="241120"/>
                </a:lnTo>
                <a:lnTo>
                  <a:pt x="4761276" y="244694"/>
                </a:lnTo>
                <a:lnTo>
                  <a:pt x="4768329" y="251081"/>
                </a:lnTo>
                <a:lnTo>
                  <a:pt x="4771150" y="251081"/>
                </a:lnTo>
                <a:lnTo>
                  <a:pt x="4774080" y="248483"/>
                </a:lnTo>
                <a:lnTo>
                  <a:pt x="4775274" y="249999"/>
                </a:lnTo>
                <a:lnTo>
                  <a:pt x="4774189" y="253463"/>
                </a:lnTo>
                <a:lnTo>
                  <a:pt x="4772778" y="258984"/>
                </a:lnTo>
                <a:lnTo>
                  <a:pt x="4769414" y="260718"/>
                </a:lnTo>
                <a:lnTo>
                  <a:pt x="4765725" y="255736"/>
                </a:lnTo>
                <a:lnTo>
                  <a:pt x="4756501" y="249024"/>
                </a:lnTo>
                <a:lnTo>
                  <a:pt x="4748688" y="245885"/>
                </a:lnTo>
                <a:lnTo>
                  <a:pt x="4744022" y="245885"/>
                </a:lnTo>
                <a:lnTo>
                  <a:pt x="4741309" y="244044"/>
                </a:lnTo>
                <a:lnTo>
                  <a:pt x="4742502" y="242312"/>
                </a:lnTo>
                <a:close/>
                <a:moveTo>
                  <a:pt x="5618123" y="240036"/>
                </a:moveTo>
                <a:lnTo>
                  <a:pt x="5619317" y="242851"/>
                </a:lnTo>
                <a:lnTo>
                  <a:pt x="5616929" y="243611"/>
                </a:lnTo>
                <a:lnTo>
                  <a:pt x="5615194" y="246100"/>
                </a:lnTo>
                <a:lnTo>
                  <a:pt x="5617147" y="247399"/>
                </a:lnTo>
                <a:lnTo>
                  <a:pt x="5616929" y="249674"/>
                </a:lnTo>
                <a:lnTo>
                  <a:pt x="5613023" y="253246"/>
                </a:lnTo>
                <a:lnTo>
                  <a:pt x="5610419" y="254112"/>
                </a:lnTo>
                <a:lnTo>
                  <a:pt x="5608031" y="252271"/>
                </a:lnTo>
                <a:lnTo>
                  <a:pt x="5608899" y="248481"/>
                </a:lnTo>
                <a:lnTo>
                  <a:pt x="5611612" y="247616"/>
                </a:lnTo>
                <a:lnTo>
                  <a:pt x="5611070" y="245018"/>
                </a:lnTo>
                <a:lnTo>
                  <a:pt x="5614543" y="240577"/>
                </a:lnTo>
                <a:close/>
                <a:moveTo>
                  <a:pt x="4834308" y="238629"/>
                </a:moveTo>
                <a:lnTo>
                  <a:pt x="4836912" y="244692"/>
                </a:lnTo>
                <a:lnTo>
                  <a:pt x="4841361" y="247399"/>
                </a:lnTo>
                <a:lnTo>
                  <a:pt x="4845593" y="252596"/>
                </a:lnTo>
                <a:lnTo>
                  <a:pt x="4845593" y="255735"/>
                </a:lnTo>
                <a:lnTo>
                  <a:pt x="4841252" y="258226"/>
                </a:lnTo>
                <a:lnTo>
                  <a:pt x="4835718" y="258443"/>
                </a:lnTo>
                <a:lnTo>
                  <a:pt x="4831703" y="261150"/>
                </a:lnTo>
                <a:lnTo>
                  <a:pt x="4831268" y="264506"/>
                </a:lnTo>
                <a:lnTo>
                  <a:pt x="4834199" y="270354"/>
                </a:lnTo>
                <a:lnTo>
                  <a:pt x="4839299" y="272410"/>
                </a:lnTo>
                <a:lnTo>
                  <a:pt x="4842229" y="276957"/>
                </a:lnTo>
                <a:lnTo>
                  <a:pt x="4846027" y="280638"/>
                </a:lnTo>
                <a:lnTo>
                  <a:pt x="4846353" y="283886"/>
                </a:lnTo>
                <a:lnTo>
                  <a:pt x="4839299" y="285293"/>
                </a:lnTo>
                <a:lnTo>
                  <a:pt x="4834850" y="288325"/>
                </a:lnTo>
                <a:lnTo>
                  <a:pt x="4828990" y="288866"/>
                </a:lnTo>
                <a:lnTo>
                  <a:pt x="4821394" y="291790"/>
                </a:lnTo>
                <a:lnTo>
                  <a:pt x="4816945" y="292007"/>
                </a:lnTo>
                <a:lnTo>
                  <a:pt x="4811084" y="283886"/>
                </a:lnTo>
                <a:lnTo>
                  <a:pt x="4808154" y="276632"/>
                </a:lnTo>
                <a:lnTo>
                  <a:pt x="4808480" y="263424"/>
                </a:lnTo>
                <a:lnTo>
                  <a:pt x="4806744" y="258226"/>
                </a:lnTo>
                <a:lnTo>
                  <a:pt x="4806744" y="254112"/>
                </a:lnTo>
                <a:lnTo>
                  <a:pt x="4809890" y="252596"/>
                </a:lnTo>
                <a:lnTo>
                  <a:pt x="4812820" y="255194"/>
                </a:lnTo>
                <a:lnTo>
                  <a:pt x="4817270" y="254978"/>
                </a:lnTo>
                <a:lnTo>
                  <a:pt x="4823781" y="249456"/>
                </a:lnTo>
                <a:lnTo>
                  <a:pt x="4827145" y="249132"/>
                </a:lnTo>
                <a:lnTo>
                  <a:pt x="4828447" y="250539"/>
                </a:lnTo>
                <a:lnTo>
                  <a:pt x="4832788" y="247075"/>
                </a:lnTo>
                <a:lnTo>
                  <a:pt x="4832788" y="241770"/>
                </a:lnTo>
                <a:close/>
                <a:moveTo>
                  <a:pt x="2941017" y="237980"/>
                </a:moveTo>
                <a:lnTo>
                  <a:pt x="2944381" y="241335"/>
                </a:lnTo>
                <a:lnTo>
                  <a:pt x="2943839" y="246315"/>
                </a:lnTo>
                <a:lnTo>
                  <a:pt x="2940040" y="244583"/>
                </a:lnTo>
                <a:lnTo>
                  <a:pt x="2939389" y="241119"/>
                </a:lnTo>
                <a:lnTo>
                  <a:pt x="2936785" y="238736"/>
                </a:lnTo>
                <a:close/>
                <a:moveTo>
                  <a:pt x="3686311" y="236897"/>
                </a:moveTo>
                <a:lnTo>
                  <a:pt x="3687070" y="241444"/>
                </a:lnTo>
                <a:lnTo>
                  <a:pt x="3686311" y="244151"/>
                </a:lnTo>
                <a:lnTo>
                  <a:pt x="3687070" y="251730"/>
                </a:lnTo>
                <a:lnTo>
                  <a:pt x="3686202" y="256710"/>
                </a:lnTo>
                <a:lnTo>
                  <a:pt x="3683923" y="258552"/>
                </a:lnTo>
                <a:lnTo>
                  <a:pt x="3681536" y="251730"/>
                </a:lnTo>
                <a:lnTo>
                  <a:pt x="3683272" y="247399"/>
                </a:lnTo>
                <a:lnTo>
                  <a:pt x="3683163" y="243176"/>
                </a:lnTo>
                <a:lnTo>
                  <a:pt x="3682078" y="241553"/>
                </a:lnTo>
                <a:lnTo>
                  <a:pt x="3682513" y="238629"/>
                </a:lnTo>
                <a:close/>
                <a:moveTo>
                  <a:pt x="4768872" y="234516"/>
                </a:moveTo>
                <a:lnTo>
                  <a:pt x="4770717" y="234516"/>
                </a:lnTo>
                <a:lnTo>
                  <a:pt x="4772453" y="237981"/>
                </a:lnTo>
                <a:lnTo>
                  <a:pt x="4777879" y="237765"/>
                </a:lnTo>
                <a:lnTo>
                  <a:pt x="4781243" y="240688"/>
                </a:lnTo>
                <a:lnTo>
                  <a:pt x="4780809" y="245235"/>
                </a:lnTo>
                <a:lnTo>
                  <a:pt x="4776143" y="246534"/>
                </a:lnTo>
                <a:lnTo>
                  <a:pt x="4768872" y="242095"/>
                </a:lnTo>
                <a:lnTo>
                  <a:pt x="4767136" y="237656"/>
                </a:lnTo>
                <a:close/>
                <a:moveTo>
                  <a:pt x="6190549" y="233218"/>
                </a:moveTo>
                <a:lnTo>
                  <a:pt x="6193262" y="234191"/>
                </a:lnTo>
                <a:lnTo>
                  <a:pt x="6197385" y="237439"/>
                </a:lnTo>
                <a:lnTo>
                  <a:pt x="6201401" y="243611"/>
                </a:lnTo>
                <a:lnTo>
                  <a:pt x="6209865" y="244368"/>
                </a:lnTo>
                <a:lnTo>
                  <a:pt x="6213989" y="247399"/>
                </a:lnTo>
                <a:lnTo>
                  <a:pt x="6215182" y="253246"/>
                </a:lnTo>
                <a:lnTo>
                  <a:pt x="6220174" y="264831"/>
                </a:lnTo>
                <a:lnTo>
                  <a:pt x="6220500" y="270354"/>
                </a:lnTo>
                <a:lnTo>
                  <a:pt x="6217787" y="272193"/>
                </a:lnTo>
                <a:lnTo>
                  <a:pt x="6213229" y="269920"/>
                </a:lnTo>
                <a:lnTo>
                  <a:pt x="6209539" y="260175"/>
                </a:lnTo>
                <a:lnTo>
                  <a:pt x="6202811" y="250324"/>
                </a:lnTo>
                <a:lnTo>
                  <a:pt x="6196084" y="244043"/>
                </a:lnTo>
                <a:lnTo>
                  <a:pt x="6191526" y="237006"/>
                </a:lnTo>
                <a:close/>
                <a:moveTo>
                  <a:pt x="4817813" y="229969"/>
                </a:moveTo>
                <a:lnTo>
                  <a:pt x="4822154" y="230401"/>
                </a:lnTo>
                <a:lnTo>
                  <a:pt x="4824216" y="233975"/>
                </a:lnTo>
                <a:lnTo>
                  <a:pt x="4827688" y="236573"/>
                </a:lnTo>
                <a:lnTo>
                  <a:pt x="4827580" y="238847"/>
                </a:lnTo>
                <a:lnTo>
                  <a:pt x="4825084" y="241012"/>
                </a:lnTo>
                <a:lnTo>
                  <a:pt x="4822588" y="246751"/>
                </a:lnTo>
                <a:lnTo>
                  <a:pt x="4817379" y="248699"/>
                </a:lnTo>
                <a:lnTo>
                  <a:pt x="4812387" y="247508"/>
                </a:lnTo>
                <a:lnTo>
                  <a:pt x="4804357" y="241878"/>
                </a:lnTo>
                <a:lnTo>
                  <a:pt x="4803489" y="239171"/>
                </a:lnTo>
                <a:lnTo>
                  <a:pt x="4805225" y="235923"/>
                </a:lnTo>
                <a:lnTo>
                  <a:pt x="4811410" y="232134"/>
                </a:lnTo>
                <a:close/>
                <a:moveTo>
                  <a:pt x="4759864" y="226829"/>
                </a:moveTo>
                <a:lnTo>
                  <a:pt x="4763879" y="230943"/>
                </a:lnTo>
                <a:lnTo>
                  <a:pt x="4762685" y="233325"/>
                </a:lnTo>
                <a:lnTo>
                  <a:pt x="4761926" y="237439"/>
                </a:lnTo>
                <a:lnTo>
                  <a:pt x="4757368" y="237114"/>
                </a:lnTo>
                <a:lnTo>
                  <a:pt x="4754872" y="239064"/>
                </a:lnTo>
                <a:lnTo>
                  <a:pt x="4751617" y="237331"/>
                </a:lnTo>
                <a:lnTo>
                  <a:pt x="4754221" y="233218"/>
                </a:lnTo>
                <a:lnTo>
                  <a:pt x="4758670" y="230077"/>
                </a:lnTo>
                <a:close/>
                <a:moveTo>
                  <a:pt x="2049444" y="225960"/>
                </a:moveTo>
                <a:lnTo>
                  <a:pt x="2051831" y="227152"/>
                </a:lnTo>
                <a:lnTo>
                  <a:pt x="2052916" y="232997"/>
                </a:lnTo>
                <a:lnTo>
                  <a:pt x="2053893" y="235272"/>
                </a:lnTo>
                <a:lnTo>
                  <a:pt x="2052374" y="237653"/>
                </a:lnTo>
                <a:lnTo>
                  <a:pt x="2053242" y="247181"/>
                </a:lnTo>
                <a:lnTo>
                  <a:pt x="2054110" y="250863"/>
                </a:lnTo>
                <a:lnTo>
                  <a:pt x="2050095" y="256060"/>
                </a:lnTo>
                <a:lnTo>
                  <a:pt x="2047056" y="256601"/>
                </a:lnTo>
                <a:lnTo>
                  <a:pt x="2044127" y="255085"/>
                </a:lnTo>
                <a:lnTo>
                  <a:pt x="2039352" y="257576"/>
                </a:lnTo>
                <a:lnTo>
                  <a:pt x="2034686" y="257900"/>
                </a:lnTo>
                <a:lnTo>
                  <a:pt x="2029694" y="262448"/>
                </a:lnTo>
                <a:lnTo>
                  <a:pt x="2029477" y="265479"/>
                </a:lnTo>
                <a:lnTo>
                  <a:pt x="2033926" y="272625"/>
                </a:lnTo>
                <a:lnTo>
                  <a:pt x="2034252" y="275656"/>
                </a:lnTo>
                <a:lnTo>
                  <a:pt x="2032624" y="277713"/>
                </a:lnTo>
                <a:lnTo>
                  <a:pt x="2028934" y="276847"/>
                </a:lnTo>
                <a:lnTo>
                  <a:pt x="2024811" y="271325"/>
                </a:lnTo>
                <a:lnTo>
                  <a:pt x="2024160" y="273275"/>
                </a:lnTo>
                <a:lnTo>
                  <a:pt x="2023943" y="277931"/>
                </a:lnTo>
                <a:lnTo>
                  <a:pt x="2019710" y="284968"/>
                </a:lnTo>
                <a:lnTo>
                  <a:pt x="2017432" y="292980"/>
                </a:lnTo>
                <a:lnTo>
                  <a:pt x="2014610" y="297094"/>
                </a:lnTo>
                <a:lnTo>
                  <a:pt x="2007231" y="297202"/>
                </a:lnTo>
                <a:lnTo>
                  <a:pt x="2004410" y="300017"/>
                </a:lnTo>
                <a:lnTo>
                  <a:pt x="1999852" y="300017"/>
                </a:lnTo>
                <a:lnTo>
                  <a:pt x="1997573" y="297528"/>
                </a:lnTo>
                <a:lnTo>
                  <a:pt x="1995403" y="298935"/>
                </a:lnTo>
                <a:lnTo>
                  <a:pt x="1991713" y="298935"/>
                </a:lnTo>
                <a:lnTo>
                  <a:pt x="1989326" y="303049"/>
                </a:lnTo>
                <a:lnTo>
                  <a:pt x="1985745" y="305972"/>
                </a:lnTo>
                <a:lnTo>
                  <a:pt x="1986287" y="310628"/>
                </a:lnTo>
                <a:lnTo>
                  <a:pt x="1985093" y="314526"/>
                </a:lnTo>
                <a:lnTo>
                  <a:pt x="1980427" y="316800"/>
                </a:lnTo>
                <a:lnTo>
                  <a:pt x="1977932" y="319614"/>
                </a:lnTo>
                <a:lnTo>
                  <a:pt x="1973591" y="317774"/>
                </a:lnTo>
                <a:lnTo>
                  <a:pt x="1969793" y="316692"/>
                </a:lnTo>
                <a:lnTo>
                  <a:pt x="1970661" y="312577"/>
                </a:lnTo>
                <a:lnTo>
                  <a:pt x="1968600" y="308679"/>
                </a:lnTo>
                <a:lnTo>
                  <a:pt x="1968491" y="305755"/>
                </a:lnTo>
                <a:lnTo>
                  <a:pt x="1974784" y="296770"/>
                </a:lnTo>
                <a:lnTo>
                  <a:pt x="1978366" y="294604"/>
                </a:lnTo>
                <a:lnTo>
                  <a:pt x="1979017" y="292330"/>
                </a:lnTo>
                <a:lnTo>
                  <a:pt x="1982055" y="289298"/>
                </a:lnTo>
                <a:lnTo>
                  <a:pt x="1983140" y="283993"/>
                </a:lnTo>
                <a:lnTo>
                  <a:pt x="1989109" y="277605"/>
                </a:lnTo>
                <a:lnTo>
                  <a:pt x="1991279" y="269268"/>
                </a:lnTo>
                <a:lnTo>
                  <a:pt x="1989109" y="267645"/>
                </a:lnTo>
                <a:lnTo>
                  <a:pt x="1985093" y="271542"/>
                </a:lnTo>
                <a:lnTo>
                  <a:pt x="1982055" y="269052"/>
                </a:lnTo>
                <a:lnTo>
                  <a:pt x="1979559" y="270893"/>
                </a:lnTo>
                <a:lnTo>
                  <a:pt x="1975002" y="271542"/>
                </a:lnTo>
                <a:lnTo>
                  <a:pt x="1974568" y="275982"/>
                </a:lnTo>
                <a:lnTo>
                  <a:pt x="1971963" y="282261"/>
                </a:lnTo>
                <a:lnTo>
                  <a:pt x="1963825" y="287458"/>
                </a:lnTo>
                <a:lnTo>
                  <a:pt x="1961003" y="282695"/>
                </a:lnTo>
                <a:lnTo>
                  <a:pt x="1958941" y="286809"/>
                </a:lnTo>
                <a:lnTo>
                  <a:pt x="1959809" y="291464"/>
                </a:lnTo>
                <a:lnTo>
                  <a:pt x="1958724" y="296553"/>
                </a:lnTo>
                <a:lnTo>
                  <a:pt x="1953624" y="303157"/>
                </a:lnTo>
                <a:lnTo>
                  <a:pt x="1950151" y="304239"/>
                </a:lnTo>
                <a:lnTo>
                  <a:pt x="1948958" y="306514"/>
                </a:lnTo>
                <a:lnTo>
                  <a:pt x="1948741" y="311494"/>
                </a:lnTo>
                <a:lnTo>
                  <a:pt x="1944292" y="316474"/>
                </a:lnTo>
                <a:lnTo>
                  <a:pt x="1942230" y="316474"/>
                </a:lnTo>
                <a:lnTo>
                  <a:pt x="1940385" y="311927"/>
                </a:lnTo>
                <a:lnTo>
                  <a:pt x="1941687" y="306296"/>
                </a:lnTo>
                <a:lnTo>
                  <a:pt x="1940819" y="303266"/>
                </a:lnTo>
                <a:lnTo>
                  <a:pt x="1942121" y="299151"/>
                </a:lnTo>
                <a:lnTo>
                  <a:pt x="1940385" y="297743"/>
                </a:lnTo>
                <a:lnTo>
                  <a:pt x="1938323" y="299368"/>
                </a:lnTo>
                <a:lnTo>
                  <a:pt x="1937889" y="305107"/>
                </a:lnTo>
                <a:lnTo>
                  <a:pt x="1934851" y="309004"/>
                </a:lnTo>
                <a:lnTo>
                  <a:pt x="1932029" y="309112"/>
                </a:lnTo>
                <a:lnTo>
                  <a:pt x="1932355" y="314417"/>
                </a:lnTo>
                <a:lnTo>
                  <a:pt x="1929425" y="318749"/>
                </a:lnTo>
                <a:lnTo>
                  <a:pt x="1926495" y="318315"/>
                </a:lnTo>
                <a:lnTo>
                  <a:pt x="1923457" y="322321"/>
                </a:lnTo>
                <a:lnTo>
                  <a:pt x="1915643" y="326977"/>
                </a:lnTo>
                <a:lnTo>
                  <a:pt x="1914016" y="326761"/>
                </a:lnTo>
                <a:lnTo>
                  <a:pt x="1913690" y="323296"/>
                </a:lnTo>
                <a:lnTo>
                  <a:pt x="1910651" y="322863"/>
                </a:lnTo>
                <a:lnTo>
                  <a:pt x="1908264" y="325461"/>
                </a:lnTo>
                <a:lnTo>
                  <a:pt x="1906202" y="322538"/>
                </a:lnTo>
                <a:lnTo>
                  <a:pt x="1907830" y="318532"/>
                </a:lnTo>
                <a:lnTo>
                  <a:pt x="1910868" y="315825"/>
                </a:lnTo>
                <a:lnTo>
                  <a:pt x="1909023" y="312252"/>
                </a:lnTo>
                <a:lnTo>
                  <a:pt x="1911845" y="306514"/>
                </a:lnTo>
                <a:lnTo>
                  <a:pt x="1916186" y="303915"/>
                </a:lnTo>
                <a:lnTo>
                  <a:pt x="1916403" y="300233"/>
                </a:lnTo>
                <a:lnTo>
                  <a:pt x="1913907" y="299151"/>
                </a:lnTo>
                <a:lnTo>
                  <a:pt x="1908481" y="301641"/>
                </a:lnTo>
                <a:lnTo>
                  <a:pt x="1905877" y="302074"/>
                </a:lnTo>
                <a:lnTo>
                  <a:pt x="1903815" y="308354"/>
                </a:lnTo>
                <a:lnTo>
                  <a:pt x="1902621" y="309004"/>
                </a:lnTo>
                <a:lnTo>
                  <a:pt x="1902295" y="313660"/>
                </a:lnTo>
                <a:lnTo>
                  <a:pt x="1900234" y="315500"/>
                </a:lnTo>
                <a:lnTo>
                  <a:pt x="1896002" y="313443"/>
                </a:lnTo>
                <a:lnTo>
                  <a:pt x="1895567" y="308463"/>
                </a:lnTo>
                <a:lnTo>
                  <a:pt x="1892204" y="302616"/>
                </a:lnTo>
                <a:lnTo>
                  <a:pt x="1887863" y="300233"/>
                </a:lnTo>
                <a:lnTo>
                  <a:pt x="1884390" y="301425"/>
                </a:lnTo>
                <a:lnTo>
                  <a:pt x="1882545" y="305432"/>
                </a:lnTo>
                <a:lnTo>
                  <a:pt x="1877662" y="306296"/>
                </a:lnTo>
                <a:lnTo>
                  <a:pt x="1872671" y="304673"/>
                </a:lnTo>
                <a:lnTo>
                  <a:pt x="1872671" y="302508"/>
                </a:lnTo>
                <a:lnTo>
                  <a:pt x="1879399" y="300017"/>
                </a:lnTo>
                <a:lnTo>
                  <a:pt x="1880592" y="296986"/>
                </a:lnTo>
                <a:lnTo>
                  <a:pt x="1877662" y="294280"/>
                </a:lnTo>
                <a:lnTo>
                  <a:pt x="1878856" y="292005"/>
                </a:lnTo>
                <a:lnTo>
                  <a:pt x="1882654" y="291464"/>
                </a:lnTo>
                <a:lnTo>
                  <a:pt x="1880809" y="289407"/>
                </a:lnTo>
                <a:lnTo>
                  <a:pt x="1876361" y="289623"/>
                </a:lnTo>
                <a:lnTo>
                  <a:pt x="1878856" y="284643"/>
                </a:lnTo>
                <a:lnTo>
                  <a:pt x="1885258" y="283019"/>
                </a:lnTo>
                <a:lnTo>
                  <a:pt x="1889056" y="282910"/>
                </a:lnTo>
                <a:lnTo>
                  <a:pt x="1893723" y="275656"/>
                </a:lnTo>
                <a:lnTo>
                  <a:pt x="1904792" y="273817"/>
                </a:lnTo>
                <a:lnTo>
                  <a:pt x="1909241" y="271542"/>
                </a:lnTo>
                <a:lnTo>
                  <a:pt x="1914666" y="273382"/>
                </a:lnTo>
                <a:lnTo>
                  <a:pt x="1919875" y="270352"/>
                </a:lnTo>
                <a:lnTo>
                  <a:pt x="1927797" y="264180"/>
                </a:lnTo>
                <a:lnTo>
                  <a:pt x="1931053" y="264180"/>
                </a:lnTo>
                <a:lnTo>
                  <a:pt x="1933548" y="262123"/>
                </a:lnTo>
                <a:lnTo>
                  <a:pt x="1938106" y="262989"/>
                </a:lnTo>
                <a:lnTo>
                  <a:pt x="1940385" y="261257"/>
                </a:lnTo>
                <a:lnTo>
                  <a:pt x="1948306" y="261257"/>
                </a:lnTo>
                <a:lnTo>
                  <a:pt x="1948958" y="258117"/>
                </a:lnTo>
                <a:lnTo>
                  <a:pt x="1952864" y="255085"/>
                </a:lnTo>
                <a:lnTo>
                  <a:pt x="1956988" y="254219"/>
                </a:lnTo>
                <a:lnTo>
                  <a:pt x="1962957" y="249888"/>
                </a:lnTo>
                <a:lnTo>
                  <a:pt x="1966971" y="249564"/>
                </a:lnTo>
                <a:lnTo>
                  <a:pt x="1970336" y="246640"/>
                </a:lnTo>
                <a:lnTo>
                  <a:pt x="1981730" y="237870"/>
                </a:lnTo>
                <a:lnTo>
                  <a:pt x="1984551" y="237870"/>
                </a:lnTo>
                <a:lnTo>
                  <a:pt x="1986396" y="238736"/>
                </a:lnTo>
                <a:lnTo>
                  <a:pt x="1988783" y="235813"/>
                </a:lnTo>
                <a:lnTo>
                  <a:pt x="1990194" y="231158"/>
                </a:lnTo>
                <a:lnTo>
                  <a:pt x="1995511" y="228559"/>
                </a:lnTo>
                <a:lnTo>
                  <a:pt x="2005820" y="229642"/>
                </a:lnTo>
                <a:lnTo>
                  <a:pt x="2008968" y="228884"/>
                </a:lnTo>
                <a:lnTo>
                  <a:pt x="2013959" y="230940"/>
                </a:lnTo>
                <a:lnTo>
                  <a:pt x="2019277" y="231158"/>
                </a:lnTo>
                <a:lnTo>
                  <a:pt x="2021012" y="229101"/>
                </a:lnTo>
                <a:lnTo>
                  <a:pt x="2023400" y="229101"/>
                </a:lnTo>
                <a:lnTo>
                  <a:pt x="2027958" y="233864"/>
                </a:lnTo>
                <a:lnTo>
                  <a:pt x="2028826" y="240794"/>
                </a:lnTo>
                <a:lnTo>
                  <a:pt x="2031213" y="244041"/>
                </a:lnTo>
                <a:lnTo>
                  <a:pt x="2032733" y="242093"/>
                </a:lnTo>
                <a:lnTo>
                  <a:pt x="2033384" y="239169"/>
                </a:lnTo>
                <a:lnTo>
                  <a:pt x="2034794" y="239061"/>
                </a:lnTo>
                <a:lnTo>
                  <a:pt x="2036205" y="243500"/>
                </a:lnTo>
                <a:lnTo>
                  <a:pt x="2040329" y="242634"/>
                </a:lnTo>
                <a:lnTo>
                  <a:pt x="2039460" y="239711"/>
                </a:lnTo>
                <a:lnTo>
                  <a:pt x="2040003" y="236462"/>
                </a:lnTo>
                <a:lnTo>
                  <a:pt x="2040329" y="230291"/>
                </a:lnTo>
                <a:lnTo>
                  <a:pt x="2045863" y="227693"/>
                </a:lnTo>
                <a:close/>
                <a:moveTo>
                  <a:pt x="2133762" y="225853"/>
                </a:moveTo>
                <a:lnTo>
                  <a:pt x="2136259" y="227694"/>
                </a:lnTo>
                <a:lnTo>
                  <a:pt x="2140599" y="227694"/>
                </a:lnTo>
                <a:lnTo>
                  <a:pt x="2144072" y="229427"/>
                </a:lnTo>
                <a:lnTo>
                  <a:pt x="2149171" y="229427"/>
                </a:lnTo>
                <a:lnTo>
                  <a:pt x="2151993" y="228344"/>
                </a:lnTo>
                <a:lnTo>
                  <a:pt x="2159264" y="229968"/>
                </a:lnTo>
                <a:lnTo>
                  <a:pt x="2159698" y="231700"/>
                </a:lnTo>
                <a:lnTo>
                  <a:pt x="2166643" y="231267"/>
                </a:lnTo>
                <a:lnTo>
                  <a:pt x="2171960" y="232674"/>
                </a:lnTo>
                <a:lnTo>
                  <a:pt x="2173479" y="234623"/>
                </a:lnTo>
                <a:lnTo>
                  <a:pt x="2179339" y="235490"/>
                </a:lnTo>
                <a:lnTo>
                  <a:pt x="2180533" y="237655"/>
                </a:lnTo>
                <a:lnTo>
                  <a:pt x="2176084" y="245559"/>
                </a:lnTo>
                <a:lnTo>
                  <a:pt x="2172286" y="244584"/>
                </a:lnTo>
                <a:lnTo>
                  <a:pt x="2160783" y="248374"/>
                </a:lnTo>
                <a:lnTo>
                  <a:pt x="2156442" y="248698"/>
                </a:lnTo>
                <a:lnTo>
                  <a:pt x="2150799" y="254005"/>
                </a:lnTo>
                <a:lnTo>
                  <a:pt x="2150799" y="256710"/>
                </a:lnTo>
                <a:lnTo>
                  <a:pt x="2155900" y="257144"/>
                </a:lnTo>
                <a:lnTo>
                  <a:pt x="2157636" y="256278"/>
                </a:lnTo>
                <a:lnTo>
                  <a:pt x="2158504" y="259852"/>
                </a:lnTo>
                <a:lnTo>
                  <a:pt x="2152644" y="266888"/>
                </a:lnTo>
                <a:lnTo>
                  <a:pt x="2151125" y="270137"/>
                </a:lnTo>
                <a:lnTo>
                  <a:pt x="2147001" y="271219"/>
                </a:lnTo>
                <a:lnTo>
                  <a:pt x="2147110" y="273818"/>
                </a:lnTo>
                <a:lnTo>
                  <a:pt x="2144180" y="277716"/>
                </a:lnTo>
                <a:lnTo>
                  <a:pt x="2139405" y="277716"/>
                </a:lnTo>
                <a:lnTo>
                  <a:pt x="2134414" y="280098"/>
                </a:lnTo>
                <a:lnTo>
                  <a:pt x="2128879" y="280098"/>
                </a:lnTo>
                <a:lnTo>
                  <a:pt x="2124213" y="276525"/>
                </a:lnTo>
                <a:lnTo>
                  <a:pt x="2121500" y="277933"/>
                </a:lnTo>
                <a:lnTo>
                  <a:pt x="2116617" y="277066"/>
                </a:lnTo>
                <a:lnTo>
                  <a:pt x="2111516" y="277391"/>
                </a:lnTo>
                <a:lnTo>
                  <a:pt x="2110106" y="275550"/>
                </a:lnTo>
                <a:lnTo>
                  <a:pt x="2112819" y="272410"/>
                </a:lnTo>
                <a:lnTo>
                  <a:pt x="2109455" y="266564"/>
                </a:lnTo>
                <a:lnTo>
                  <a:pt x="2104788" y="263315"/>
                </a:lnTo>
                <a:lnTo>
                  <a:pt x="2101642" y="262774"/>
                </a:lnTo>
                <a:lnTo>
                  <a:pt x="2100773" y="256927"/>
                </a:lnTo>
                <a:lnTo>
                  <a:pt x="2099580" y="251731"/>
                </a:lnTo>
                <a:lnTo>
                  <a:pt x="2103595" y="247183"/>
                </a:lnTo>
                <a:lnTo>
                  <a:pt x="2103920" y="243719"/>
                </a:lnTo>
                <a:lnTo>
                  <a:pt x="2109021" y="238521"/>
                </a:lnTo>
                <a:lnTo>
                  <a:pt x="2109455" y="233432"/>
                </a:lnTo>
                <a:lnTo>
                  <a:pt x="2114772" y="231267"/>
                </a:lnTo>
                <a:lnTo>
                  <a:pt x="2118679" y="228235"/>
                </a:lnTo>
                <a:lnTo>
                  <a:pt x="2122368" y="228235"/>
                </a:lnTo>
                <a:close/>
                <a:moveTo>
                  <a:pt x="4756718" y="216217"/>
                </a:moveTo>
                <a:lnTo>
                  <a:pt x="4760299" y="218167"/>
                </a:lnTo>
                <a:lnTo>
                  <a:pt x="4760299" y="220007"/>
                </a:lnTo>
                <a:lnTo>
                  <a:pt x="4756175" y="223579"/>
                </a:lnTo>
                <a:lnTo>
                  <a:pt x="4753245" y="229751"/>
                </a:lnTo>
                <a:lnTo>
                  <a:pt x="4748471" y="237006"/>
                </a:lnTo>
                <a:cubicBezTo>
                  <a:pt x="4746373" y="237652"/>
                  <a:pt x="4744234" y="238158"/>
                  <a:pt x="4742068" y="238522"/>
                </a:cubicBezTo>
                <a:lnTo>
                  <a:pt x="4737185" y="242636"/>
                </a:lnTo>
                <a:lnTo>
                  <a:pt x="4732193" y="242852"/>
                </a:lnTo>
                <a:lnTo>
                  <a:pt x="4730457" y="240146"/>
                </a:lnTo>
                <a:lnTo>
                  <a:pt x="4731867" y="237547"/>
                </a:lnTo>
                <a:lnTo>
                  <a:pt x="4739790" y="234407"/>
                </a:lnTo>
                <a:lnTo>
                  <a:pt x="4745432" y="233541"/>
                </a:lnTo>
                <a:lnTo>
                  <a:pt x="4744238" y="231810"/>
                </a:lnTo>
                <a:lnTo>
                  <a:pt x="4742502" y="225963"/>
                </a:lnTo>
                <a:lnTo>
                  <a:pt x="4738921" y="225963"/>
                </a:lnTo>
                <a:lnTo>
                  <a:pt x="4737402" y="224987"/>
                </a:lnTo>
                <a:lnTo>
                  <a:pt x="4739681" y="221414"/>
                </a:lnTo>
                <a:lnTo>
                  <a:pt x="4740875" y="217408"/>
                </a:lnTo>
                <a:lnTo>
                  <a:pt x="4746518" y="217408"/>
                </a:lnTo>
                <a:lnTo>
                  <a:pt x="4751184" y="219683"/>
                </a:lnTo>
                <a:close/>
                <a:moveTo>
                  <a:pt x="3274272" y="214593"/>
                </a:moveTo>
                <a:lnTo>
                  <a:pt x="3277311" y="215567"/>
                </a:lnTo>
                <a:lnTo>
                  <a:pt x="3280566" y="219682"/>
                </a:lnTo>
                <a:lnTo>
                  <a:pt x="3281109" y="230401"/>
                </a:lnTo>
                <a:lnTo>
                  <a:pt x="3278396" y="232891"/>
                </a:lnTo>
                <a:lnTo>
                  <a:pt x="3271234" y="227802"/>
                </a:lnTo>
                <a:lnTo>
                  <a:pt x="3271885" y="223038"/>
                </a:lnTo>
                <a:lnTo>
                  <a:pt x="3271017" y="219899"/>
                </a:lnTo>
                <a:lnTo>
                  <a:pt x="3271451" y="215676"/>
                </a:lnTo>
                <a:close/>
                <a:moveTo>
                  <a:pt x="2098712" y="210153"/>
                </a:moveTo>
                <a:lnTo>
                  <a:pt x="2102510" y="212211"/>
                </a:lnTo>
                <a:lnTo>
                  <a:pt x="2105331" y="212102"/>
                </a:lnTo>
                <a:lnTo>
                  <a:pt x="2109237" y="210694"/>
                </a:lnTo>
                <a:lnTo>
                  <a:pt x="2107718" y="216866"/>
                </a:lnTo>
                <a:lnTo>
                  <a:pt x="2108043" y="220439"/>
                </a:lnTo>
                <a:lnTo>
                  <a:pt x="2107175" y="223795"/>
                </a:lnTo>
                <a:lnTo>
                  <a:pt x="2106958" y="229425"/>
                </a:lnTo>
                <a:lnTo>
                  <a:pt x="2103160" y="234623"/>
                </a:lnTo>
                <a:lnTo>
                  <a:pt x="2096975" y="236463"/>
                </a:lnTo>
                <a:lnTo>
                  <a:pt x="2093720" y="234730"/>
                </a:lnTo>
                <a:lnTo>
                  <a:pt x="2090139" y="227910"/>
                </a:lnTo>
                <a:lnTo>
                  <a:pt x="2091116" y="223037"/>
                </a:lnTo>
                <a:lnTo>
                  <a:pt x="2091007" y="217516"/>
                </a:lnTo>
                <a:lnTo>
                  <a:pt x="2092743" y="213293"/>
                </a:lnTo>
                <a:lnTo>
                  <a:pt x="2095673" y="212968"/>
                </a:lnTo>
                <a:close/>
                <a:moveTo>
                  <a:pt x="4771477" y="203116"/>
                </a:moveTo>
                <a:lnTo>
                  <a:pt x="4774406" y="205173"/>
                </a:lnTo>
                <a:lnTo>
                  <a:pt x="4775600" y="208205"/>
                </a:lnTo>
                <a:lnTo>
                  <a:pt x="4774624" y="211453"/>
                </a:lnTo>
                <a:lnTo>
                  <a:pt x="4771260" y="213078"/>
                </a:lnTo>
                <a:lnTo>
                  <a:pt x="4767679" y="212102"/>
                </a:lnTo>
                <a:lnTo>
                  <a:pt x="4766811" y="206582"/>
                </a:lnTo>
                <a:lnTo>
                  <a:pt x="4768873" y="203549"/>
                </a:lnTo>
                <a:close/>
                <a:moveTo>
                  <a:pt x="4747495" y="199326"/>
                </a:moveTo>
                <a:lnTo>
                  <a:pt x="4750967" y="199759"/>
                </a:lnTo>
                <a:lnTo>
                  <a:pt x="4753897" y="201925"/>
                </a:lnTo>
                <a:lnTo>
                  <a:pt x="4758454" y="201925"/>
                </a:lnTo>
                <a:lnTo>
                  <a:pt x="4760516" y="201384"/>
                </a:lnTo>
                <a:lnTo>
                  <a:pt x="4762687" y="203008"/>
                </a:lnTo>
                <a:lnTo>
                  <a:pt x="4761276" y="205714"/>
                </a:lnTo>
                <a:lnTo>
                  <a:pt x="4758780" y="207338"/>
                </a:lnTo>
                <a:lnTo>
                  <a:pt x="4756610" y="211127"/>
                </a:lnTo>
                <a:lnTo>
                  <a:pt x="4753789" y="213509"/>
                </a:lnTo>
                <a:lnTo>
                  <a:pt x="4750967" y="213184"/>
                </a:lnTo>
                <a:lnTo>
                  <a:pt x="4748688" y="210370"/>
                </a:lnTo>
                <a:lnTo>
                  <a:pt x="4744131" y="212968"/>
                </a:lnTo>
                <a:lnTo>
                  <a:pt x="4740007" y="211127"/>
                </a:lnTo>
                <a:lnTo>
                  <a:pt x="4738597" y="208420"/>
                </a:lnTo>
                <a:lnTo>
                  <a:pt x="4738922" y="205714"/>
                </a:lnTo>
                <a:lnTo>
                  <a:pt x="4743480" y="201817"/>
                </a:lnTo>
                <a:close/>
                <a:moveTo>
                  <a:pt x="3273513" y="195972"/>
                </a:moveTo>
                <a:lnTo>
                  <a:pt x="3275683" y="197595"/>
                </a:lnTo>
                <a:lnTo>
                  <a:pt x="3275792" y="201168"/>
                </a:lnTo>
                <a:lnTo>
                  <a:pt x="3279047" y="203117"/>
                </a:lnTo>
                <a:lnTo>
                  <a:pt x="3279590" y="207339"/>
                </a:lnTo>
                <a:lnTo>
                  <a:pt x="3278070" y="209722"/>
                </a:lnTo>
                <a:lnTo>
                  <a:pt x="3271668" y="210263"/>
                </a:lnTo>
                <a:lnTo>
                  <a:pt x="3269931" y="209505"/>
                </a:lnTo>
                <a:lnTo>
                  <a:pt x="3267110" y="204741"/>
                </a:lnTo>
                <a:lnTo>
                  <a:pt x="3266785" y="201493"/>
                </a:lnTo>
                <a:lnTo>
                  <a:pt x="3269172" y="196945"/>
                </a:lnTo>
                <a:close/>
                <a:moveTo>
                  <a:pt x="4852972" y="194672"/>
                </a:moveTo>
                <a:lnTo>
                  <a:pt x="4856229" y="196404"/>
                </a:lnTo>
                <a:lnTo>
                  <a:pt x="4860569" y="197594"/>
                </a:lnTo>
                <a:lnTo>
                  <a:pt x="4862196" y="202250"/>
                </a:lnTo>
                <a:lnTo>
                  <a:pt x="4861871" y="209938"/>
                </a:lnTo>
                <a:lnTo>
                  <a:pt x="4863282" y="212320"/>
                </a:lnTo>
                <a:lnTo>
                  <a:pt x="4867405" y="214052"/>
                </a:lnTo>
                <a:lnTo>
                  <a:pt x="4872939" y="219790"/>
                </a:lnTo>
                <a:lnTo>
                  <a:pt x="4875978" y="219790"/>
                </a:lnTo>
                <a:lnTo>
                  <a:pt x="4875978" y="222389"/>
                </a:lnTo>
                <a:lnTo>
                  <a:pt x="4868491" y="226828"/>
                </a:lnTo>
                <a:lnTo>
                  <a:pt x="4861003" y="229859"/>
                </a:lnTo>
                <a:lnTo>
                  <a:pt x="4859483" y="233216"/>
                </a:lnTo>
                <a:lnTo>
                  <a:pt x="4860895" y="237438"/>
                </a:lnTo>
                <a:lnTo>
                  <a:pt x="4860243" y="243177"/>
                </a:lnTo>
                <a:lnTo>
                  <a:pt x="4856770" y="248266"/>
                </a:lnTo>
                <a:lnTo>
                  <a:pt x="4852756" y="245559"/>
                </a:lnTo>
                <a:lnTo>
                  <a:pt x="4852213" y="241985"/>
                </a:lnTo>
                <a:lnTo>
                  <a:pt x="4849174" y="238630"/>
                </a:lnTo>
                <a:lnTo>
                  <a:pt x="4844291" y="239170"/>
                </a:lnTo>
                <a:lnTo>
                  <a:pt x="4840385" y="235381"/>
                </a:lnTo>
                <a:lnTo>
                  <a:pt x="4840168" y="232024"/>
                </a:lnTo>
                <a:lnTo>
                  <a:pt x="4842121" y="228344"/>
                </a:lnTo>
                <a:lnTo>
                  <a:pt x="4839517" y="221955"/>
                </a:lnTo>
                <a:lnTo>
                  <a:pt x="4838323" y="216326"/>
                </a:lnTo>
                <a:lnTo>
                  <a:pt x="4839842" y="209938"/>
                </a:lnTo>
                <a:lnTo>
                  <a:pt x="4843966" y="207231"/>
                </a:lnTo>
                <a:lnTo>
                  <a:pt x="4848306" y="201492"/>
                </a:lnTo>
                <a:lnTo>
                  <a:pt x="4848306" y="198569"/>
                </a:lnTo>
                <a:lnTo>
                  <a:pt x="4849717" y="195213"/>
                </a:lnTo>
                <a:close/>
                <a:moveTo>
                  <a:pt x="5325020" y="191316"/>
                </a:moveTo>
                <a:lnTo>
                  <a:pt x="5333484" y="192616"/>
                </a:lnTo>
                <a:lnTo>
                  <a:pt x="5343576" y="198029"/>
                </a:lnTo>
                <a:lnTo>
                  <a:pt x="5344553" y="201276"/>
                </a:lnTo>
                <a:lnTo>
                  <a:pt x="5341840" y="208316"/>
                </a:lnTo>
                <a:lnTo>
                  <a:pt x="5339778" y="214919"/>
                </a:lnTo>
                <a:lnTo>
                  <a:pt x="5336414" y="216760"/>
                </a:lnTo>
                <a:lnTo>
                  <a:pt x="5330989" y="221416"/>
                </a:lnTo>
                <a:lnTo>
                  <a:pt x="5326322" y="224988"/>
                </a:lnTo>
                <a:lnTo>
                  <a:pt x="5321330" y="224555"/>
                </a:lnTo>
                <a:lnTo>
                  <a:pt x="5316881" y="221957"/>
                </a:lnTo>
                <a:lnTo>
                  <a:pt x="5316555" y="219899"/>
                </a:lnTo>
                <a:lnTo>
                  <a:pt x="5322198" y="219791"/>
                </a:lnTo>
                <a:lnTo>
                  <a:pt x="5328926" y="217950"/>
                </a:lnTo>
                <a:lnTo>
                  <a:pt x="5330989" y="216434"/>
                </a:lnTo>
                <a:lnTo>
                  <a:pt x="5327733" y="215352"/>
                </a:lnTo>
                <a:lnTo>
                  <a:pt x="5318943" y="215570"/>
                </a:lnTo>
                <a:lnTo>
                  <a:pt x="5312866" y="213405"/>
                </a:lnTo>
                <a:lnTo>
                  <a:pt x="5309936" y="208748"/>
                </a:lnTo>
                <a:lnTo>
                  <a:pt x="5304836" y="206366"/>
                </a:lnTo>
                <a:lnTo>
                  <a:pt x="5302448" y="202359"/>
                </a:lnTo>
                <a:lnTo>
                  <a:pt x="5296480" y="201061"/>
                </a:lnTo>
                <a:lnTo>
                  <a:pt x="5294744" y="197920"/>
                </a:lnTo>
                <a:lnTo>
                  <a:pt x="5296046" y="196621"/>
                </a:lnTo>
                <a:lnTo>
                  <a:pt x="5301906" y="196514"/>
                </a:lnTo>
                <a:lnTo>
                  <a:pt x="5306138" y="193049"/>
                </a:lnTo>
                <a:lnTo>
                  <a:pt x="5309176" y="193049"/>
                </a:lnTo>
                <a:lnTo>
                  <a:pt x="5313517" y="194781"/>
                </a:lnTo>
                <a:lnTo>
                  <a:pt x="5317749" y="192724"/>
                </a:lnTo>
                <a:close/>
                <a:moveTo>
                  <a:pt x="4756827" y="190882"/>
                </a:moveTo>
                <a:lnTo>
                  <a:pt x="4757912" y="193806"/>
                </a:lnTo>
                <a:lnTo>
                  <a:pt x="4755307" y="195972"/>
                </a:lnTo>
                <a:lnTo>
                  <a:pt x="4754874" y="192614"/>
                </a:lnTo>
                <a:close/>
                <a:moveTo>
                  <a:pt x="5496586" y="188392"/>
                </a:moveTo>
                <a:lnTo>
                  <a:pt x="5499841" y="188392"/>
                </a:lnTo>
                <a:lnTo>
                  <a:pt x="5506027" y="191316"/>
                </a:lnTo>
                <a:lnTo>
                  <a:pt x="5510693" y="192398"/>
                </a:lnTo>
                <a:lnTo>
                  <a:pt x="5515468" y="194455"/>
                </a:lnTo>
                <a:lnTo>
                  <a:pt x="5516336" y="210047"/>
                </a:lnTo>
                <a:lnTo>
                  <a:pt x="5518181" y="213295"/>
                </a:lnTo>
                <a:lnTo>
                  <a:pt x="5520785" y="213295"/>
                </a:lnTo>
                <a:lnTo>
                  <a:pt x="5520785" y="208855"/>
                </a:lnTo>
                <a:lnTo>
                  <a:pt x="5524040" y="206257"/>
                </a:lnTo>
                <a:lnTo>
                  <a:pt x="5524040" y="203117"/>
                </a:lnTo>
                <a:lnTo>
                  <a:pt x="5520567" y="199004"/>
                </a:lnTo>
                <a:lnTo>
                  <a:pt x="5520567" y="196621"/>
                </a:lnTo>
                <a:lnTo>
                  <a:pt x="5523280" y="198570"/>
                </a:lnTo>
                <a:lnTo>
                  <a:pt x="5528055" y="204525"/>
                </a:lnTo>
                <a:lnTo>
                  <a:pt x="5530334" y="204525"/>
                </a:lnTo>
                <a:lnTo>
                  <a:pt x="5531202" y="200194"/>
                </a:lnTo>
                <a:lnTo>
                  <a:pt x="5534241" y="200194"/>
                </a:lnTo>
                <a:lnTo>
                  <a:pt x="5537822" y="204308"/>
                </a:lnTo>
                <a:lnTo>
                  <a:pt x="5539016" y="207774"/>
                </a:lnTo>
                <a:lnTo>
                  <a:pt x="5542488" y="208964"/>
                </a:lnTo>
                <a:lnTo>
                  <a:pt x="5543682" y="206907"/>
                </a:lnTo>
                <a:lnTo>
                  <a:pt x="5546286" y="207557"/>
                </a:lnTo>
                <a:lnTo>
                  <a:pt x="5552147" y="213186"/>
                </a:lnTo>
                <a:lnTo>
                  <a:pt x="5557789" y="215460"/>
                </a:lnTo>
                <a:lnTo>
                  <a:pt x="5561370" y="217735"/>
                </a:lnTo>
                <a:lnTo>
                  <a:pt x="5563432" y="216327"/>
                </a:lnTo>
                <a:lnTo>
                  <a:pt x="5568098" y="216327"/>
                </a:lnTo>
                <a:lnTo>
                  <a:pt x="5575694" y="221306"/>
                </a:lnTo>
                <a:lnTo>
                  <a:pt x="5575694" y="225638"/>
                </a:lnTo>
                <a:lnTo>
                  <a:pt x="5578408" y="231376"/>
                </a:lnTo>
                <a:lnTo>
                  <a:pt x="5584592" y="238739"/>
                </a:lnTo>
                <a:lnTo>
                  <a:pt x="5586004" y="243935"/>
                </a:lnTo>
                <a:lnTo>
                  <a:pt x="5581880" y="253247"/>
                </a:lnTo>
                <a:lnTo>
                  <a:pt x="5578625" y="255521"/>
                </a:lnTo>
                <a:lnTo>
                  <a:pt x="5577430" y="259527"/>
                </a:lnTo>
                <a:lnTo>
                  <a:pt x="5569726" y="265698"/>
                </a:lnTo>
                <a:lnTo>
                  <a:pt x="5564409" y="267538"/>
                </a:lnTo>
                <a:lnTo>
                  <a:pt x="5562347" y="271112"/>
                </a:lnTo>
                <a:lnTo>
                  <a:pt x="5560068" y="275551"/>
                </a:lnTo>
                <a:lnTo>
                  <a:pt x="5556595" y="275551"/>
                </a:lnTo>
                <a:lnTo>
                  <a:pt x="5553883" y="273169"/>
                </a:lnTo>
                <a:lnTo>
                  <a:pt x="5549867" y="273818"/>
                </a:lnTo>
                <a:lnTo>
                  <a:pt x="5539016" y="280856"/>
                </a:lnTo>
                <a:lnTo>
                  <a:pt x="5538364" y="284753"/>
                </a:lnTo>
                <a:lnTo>
                  <a:pt x="5539233" y="287677"/>
                </a:lnTo>
                <a:lnTo>
                  <a:pt x="5535651" y="289735"/>
                </a:lnTo>
                <a:lnTo>
                  <a:pt x="5530551" y="296987"/>
                </a:lnTo>
                <a:lnTo>
                  <a:pt x="5527404" y="303376"/>
                </a:lnTo>
                <a:cubicBezTo>
                  <a:pt x="5527404" y="303376"/>
                  <a:pt x="5521219" y="305435"/>
                  <a:pt x="5521219" y="305435"/>
                </a:cubicBezTo>
                <a:lnTo>
                  <a:pt x="5518289" y="302725"/>
                </a:lnTo>
                <a:lnTo>
                  <a:pt x="5518289" y="298070"/>
                </a:lnTo>
                <a:lnTo>
                  <a:pt x="5514165" y="294281"/>
                </a:lnTo>
                <a:lnTo>
                  <a:pt x="5511561" y="286919"/>
                </a:lnTo>
                <a:lnTo>
                  <a:pt x="5508414" y="279881"/>
                </a:lnTo>
                <a:lnTo>
                  <a:pt x="5510151" y="277282"/>
                </a:lnTo>
                <a:lnTo>
                  <a:pt x="5509499" y="272844"/>
                </a:lnTo>
                <a:lnTo>
                  <a:pt x="5506895" y="270786"/>
                </a:lnTo>
                <a:lnTo>
                  <a:pt x="5506895" y="264940"/>
                </a:lnTo>
                <a:lnTo>
                  <a:pt x="5505159" y="258769"/>
                </a:lnTo>
                <a:lnTo>
                  <a:pt x="5501034" y="250324"/>
                </a:lnTo>
                <a:lnTo>
                  <a:pt x="5503422" y="242203"/>
                </a:lnTo>
                <a:lnTo>
                  <a:pt x="5507872" y="241336"/>
                </a:lnTo>
                <a:lnTo>
                  <a:pt x="5510802" y="238630"/>
                </a:lnTo>
                <a:lnTo>
                  <a:pt x="5506461" y="238630"/>
                </a:lnTo>
                <a:lnTo>
                  <a:pt x="5502879" y="235058"/>
                </a:lnTo>
                <a:lnTo>
                  <a:pt x="5497671" y="223039"/>
                </a:lnTo>
                <a:lnTo>
                  <a:pt x="5498539" y="219141"/>
                </a:lnTo>
                <a:lnTo>
                  <a:pt x="5496586" y="216435"/>
                </a:lnTo>
                <a:lnTo>
                  <a:pt x="5493005" y="215570"/>
                </a:lnTo>
                <a:lnTo>
                  <a:pt x="5490617" y="212970"/>
                </a:lnTo>
                <a:lnTo>
                  <a:pt x="5490617" y="208098"/>
                </a:lnTo>
                <a:lnTo>
                  <a:pt x="5492028" y="206691"/>
                </a:lnTo>
                <a:lnTo>
                  <a:pt x="5491377" y="203876"/>
                </a:lnTo>
                <a:lnTo>
                  <a:pt x="5490509" y="200627"/>
                </a:lnTo>
                <a:lnTo>
                  <a:pt x="5492462" y="200627"/>
                </a:lnTo>
                <a:lnTo>
                  <a:pt x="5495718" y="203226"/>
                </a:lnTo>
                <a:lnTo>
                  <a:pt x="5497454" y="206149"/>
                </a:lnTo>
                <a:lnTo>
                  <a:pt x="5501252" y="206149"/>
                </a:lnTo>
                <a:lnTo>
                  <a:pt x="5503314" y="204092"/>
                </a:lnTo>
                <a:lnTo>
                  <a:pt x="5499841" y="199761"/>
                </a:lnTo>
                <a:lnTo>
                  <a:pt x="5494958" y="196621"/>
                </a:lnTo>
                <a:lnTo>
                  <a:pt x="5493873" y="192182"/>
                </a:lnTo>
                <a:close/>
                <a:moveTo>
                  <a:pt x="5087586" y="184818"/>
                </a:moveTo>
                <a:lnTo>
                  <a:pt x="5095508" y="184818"/>
                </a:lnTo>
                <a:lnTo>
                  <a:pt x="5102127" y="186552"/>
                </a:lnTo>
                <a:lnTo>
                  <a:pt x="5104189" y="191315"/>
                </a:lnTo>
                <a:lnTo>
                  <a:pt x="5101476" y="194996"/>
                </a:lnTo>
                <a:lnTo>
                  <a:pt x="5095508" y="196838"/>
                </a:lnTo>
                <a:lnTo>
                  <a:pt x="5086609" y="196838"/>
                </a:lnTo>
                <a:lnTo>
                  <a:pt x="5083245" y="195429"/>
                </a:lnTo>
                <a:lnTo>
                  <a:pt x="5081509" y="193372"/>
                </a:lnTo>
                <a:lnTo>
                  <a:pt x="5081509" y="189908"/>
                </a:lnTo>
                <a:close/>
                <a:moveTo>
                  <a:pt x="6482241" y="182330"/>
                </a:moveTo>
                <a:lnTo>
                  <a:pt x="6484629" y="185036"/>
                </a:lnTo>
                <a:lnTo>
                  <a:pt x="6484303" y="187743"/>
                </a:lnTo>
                <a:lnTo>
                  <a:pt x="6485713" y="191424"/>
                </a:lnTo>
                <a:lnTo>
                  <a:pt x="6488969" y="190882"/>
                </a:lnTo>
                <a:lnTo>
                  <a:pt x="6493092" y="192616"/>
                </a:lnTo>
                <a:lnTo>
                  <a:pt x="6494938" y="199327"/>
                </a:lnTo>
                <a:lnTo>
                  <a:pt x="6491356" y="204525"/>
                </a:lnTo>
                <a:lnTo>
                  <a:pt x="6489512" y="210696"/>
                </a:lnTo>
                <a:lnTo>
                  <a:pt x="6480179" y="216542"/>
                </a:lnTo>
                <a:lnTo>
                  <a:pt x="6475839" y="218274"/>
                </a:lnTo>
                <a:lnTo>
                  <a:pt x="6468785" y="216002"/>
                </a:lnTo>
                <a:lnTo>
                  <a:pt x="6462600" y="218058"/>
                </a:lnTo>
                <a:lnTo>
                  <a:pt x="6454461" y="217733"/>
                </a:lnTo>
                <a:lnTo>
                  <a:pt x="6445997" y="213727"/>
                </a:lnTo>
                <a:lnTo>
                  <a:pt x="6433843" y="212537"/>
                </a:lnTo>
                <a:lnTo>
                  <a:pt x="6417457" y="206907"/>
                </a:lnTo>
                <a:lnTo>
                  <a:pt x="6415069" y="202252"/>
                </a:lnTo>
                <a:lnTo>
                  <a:pt x="6406714" y="191534"/>
                </a:lnTo>
                <a:lnTo>
                  <a:pt x="6404652" y="182761"/>
                </a:lnTo>
                <a:lnTo>
                  <a:pt x="6408667" y="183521"/>
                </a:lnTo>
                <a:lnTo>
                  <a:pt x="6409210" y="186769"/>
                </a:lnTo>
                <a:lnTo>
                  <a:pt x="6412465" y="190016"/>
                </a:lnTo>
                <a:lnTo>
                  <a:pt x="6421255" y="192074"/>
                </a:lnTo>
                <a:lnTo>
                  <a:pt x="6424511" y="188608"/>
                </a:lnTo>
                <a:lnTo>
                  <a:pt x="6424511" y="184711"/>
                </a:lnTo>
                <a:lnTo>
                  <a:pt x="6428200" y="186119"/>
                </a:lnTo>
                <a:lnTo>
                  <a:pt x="6435905" y="186119"/>
                </a:lnTo>
                <a:lnTo>
                  <a:pt x="6441222" y="184819"/>
                </a:lnTo>
                <a:lnTo>
                  <a:pt x="6444477" y="184711"/>
                </a:lnTo>
                <a:lnTo>
                  <a:pt x="6445671" y="188608"/>
                </a:lnTo>
                <a:lnTo>
                  <a:pt x="6447407" y="191424"/>
                </a:lnTo>
                <a:lnTo>
                  <a:pt x="6452291" y="190234"/>
                </a:lnTo>
                <a:lnTo>
                  <a:pt x="6459452" y="185036"/>
                </a:lnTo>
                <a:lnTo>
                  <a:pt x="6471064" y="182761"/>
                </a:lnTo>
                <a:lnTo>
                  <a:pt x="6478334" y="184711"/>
                </a:lnTo>
                <a:close/>
                <a:moveTo>
                  <a:pt x="6330645" y="182113"/>
                </a:moveTo>
                <a:lnTo>
                  <a:pt x="6335637" y="182761"/>
                </a:lnTo>
                <a:lnTo>
                  <a:pt x="6347140" y="188607"/>
                </a:lnTo>
                <a:lnTo>
                  <a:pt x="6352674" y="189148"/>
                </a:lnTo>
                <a:lnTo>
                  <a:pt x="6356797" y="188174"/>
                </a:lnTo>
                <a:lnTo>
                  <a:pt x="6368192" y="189473"/>
                </a:lnTo>
                <a:lnTo>
                  <a:pt x="6380237" y="193154"/>
                </a:lnTo>
                <a:lnTo>
                  <a:pt x="6380454" y="195537"/>
                </a:lnTo>
                <a:lnTo>
                  <a:pt x="6375028" y="196945"/>
                </a:lnTo>
                <a:lnTo>
                  <a:pt x="6371990" y="200301"/>
                </a:lnTo>
                <a:lnTo>
                  <a:pt x="6371990" y="205172"/>
                </a:lnTo>
                <a:lnTo>
                  <a:pt x="6376765" y="210695"/>
                </a:lnTo>
                <a:lnTo>
                  <a:pt x="6382516" y="212211"/>
                </a:lnTo>
                <a:lnTo>
                  <a:pt x="6382625" y="218166"/>
                </a:lnTo>
                <a:lnTo>
                  <a:pt x="6383602" y="221846"/>
                </a:lnTo>
                <a:lnTo>
                  <a:pt x="6381213" y="225962"/>
                </a:lnTo>
                <a:lnTo>
                  <a:pt x="6380129" y="232349"/>
                </a:lnTo>
                <a:lnTo>
                  <a:pt x="6376005" y="236247"/>
                </a:lnTo>
                <a:lnTo>
                  <a:pt x="6374377" y="239495"/>
                </a:lnTo>
                <a:lnTo>
                  <a:pt x="6369819" y="235920"/>
                </a:lnTo>
                <a:lnTo>
                  <a:pt x="6367215" y="236247"/>
                </a:lnTo>
                <a:lnTo>
                  <a:pt x="6362007" y="239927"/>
                </a:lnTo>
                <a:lnTo>
                  <a:pt x="6357014" y="240144"/>
                </a:lnTo>
                <a:lnTo>
                  <a:pt x="6346380" y="234948"/>
                </a:lnTo>
                <a:lnTo>
                  <a:pt x="6340628" y="229858"/>
                </a:lnTo>
                <a:lnTo>
                  <a:pt x="6329993" y="220980"/>
                </a:lnTo>
                <a:lnTo>
                  <a:pt x="6328366" y="214484"/>
                </a:lnTo>
                <a:lnTo>
                  <a:pt x="6329776" y="210261"/>
                </a:lnTo>
                <a:lnTo>
                  <a:pt x="6330211" y="205823"/>
                </a:lnTo>
                <a:lnTo>
                  <a:pt x="6331405" y="203331"/>
                </a:lnTo>
                <a:lnTo>
                  <a:pt x="6328908" y="199110"/>
                </a:lnTo>
                <a:lnTo>
                  <a:pt x="6326195" y="197487"/>
                </a:lnTo>
                <a:lnTo>
                  <a:pt x="6325327" y="192722"/>
                </a:lnTo>
                <a:lnTo>
                  <a:pt x="6322397" y="191315"/>
                </a:lnTo>
                <a:lnTo>
                  <a:pt x="6319251" y="187309"/>
                </a:lnTo>
                <a:lnTo>
                  <a:pt x="6315995" y="182544"/>
                </a:lnTo>
                <a:lnTo>
                  <a:pt x="6323049" y="182436"/>
                </a:lnTo>
                <a:close/>
                <a:moveTo>
                  <a:pt x="2204841" y="182003"/>
                </a:moveTo>
                <a:lnTo>
                  <a:pt x="2208314" y="183303"/>
                </a:lnTo>
                <a:lnTo>
                  <a:pt x="2207988" y="186659"/>
                </a:lnTo>
                <a:lnTo>
                  <a:pt x="2210701" y="191964"/>
                </a:lnTo>
                <a:lnTo>
                  <a:pt x="2210701" y="195754"/>
                </a:lnTo>
                <a:lnTo>
                  <a:pt x="2206794" y="201926"/>
                </a:lnTo>
                <a:lnTo>
                  <a:pt x="2209725" y="208421"/>
                </a:lnTo>
                <a:lnTo>
                  <a:pt x="2206035" y="218058"/>
                </a:lnTo>
                <a:lnTo>
                  <a:pt x="2200718" y="220872"/>
                </a:lnTo>
                <a:lnTo>
                  <a:pt x="2196376" y="225312"/>
                </a:lnTo>
                <a:lnTo>
                  <a:pt x="2192470" y="224445"/>
                </a:lnTo>
                <a:lnTo>
                  <a:pt x="2188130" y="224662"/>
                </a:lnTo>
                <a:lnTo>
                  <a:pt x="2186067" y="221522"/>
                </a:lnTo>
                <a:lnTo>
                  <a:pt x="2181293" y="222930"/>
                </a:lnTo>
                <a:lnTo>
                  <a:pt x="2175216" y="216217"/>
                </a:lnTo>
                <a:lnTo>
                  <a:pt x="2175541" y="210479"/>
                </a:lnTo>
                <a:lnTo>
                  <a:pt x="2171960" y="205173"/>
                </a:lnTo>
                <a:lnTo>
                  <a:pt x="2169899" y="207447"/>
                </a:lnTo>
                <a:lnTo>
                  <a:pt x="2170115" y="211236"/>
                </a:lnTo>
                <a:lnTo>
                  <a:pt x="2166101" y="214593"/>
                </a:lnTo>
                <a:lnTo>
                  <a:pt x="2162628" y="210370"/>
                </a:lnTo>
                <a:lnTo>
                  <a:pt x="2161434" y="205173"/>
                </a:lnTo>
                <a:lnTo>
                  <a:pt x="2163822" y="202250"/>
                </a:lnTo>
                <a:lnTo>
                  <a:pt x="2160566" y="199543"/>
                </a:lnTo>
                <a:lnTo>
                  <a:pt x="2156335" y="200193"/>
                </a:lnTo>
                <a:lnTo>
                  <a:pt x="2153404" y="199001"/>
                </a:lnTo>
                <a:lnTo>
                  <a:pt x="2150257" y="200409"/>
                </a:lnTo>
                <a:lnTo>
                  <a:pt x="2145049" y="199868"/>
                </a:lnTo>
                <a:lnTo>
                  <a:pt x="2140599" y="201275"/>
                </a:lnTo>
                <a:lnTo>
                  <a:pt x="2140491" y="197161"/>
                </a:lnTo>
                <a:lnTo>
                  <a:pt x="2144614" y="192613"/>
                </a:lnTo>
                <a:lnTo>
                  <a:pt x="2145591" y="189366"/>
                </a:lnTo>
                <a:lnTo>
                  <a:pt x="2150800" y="189040"/>
                </a:lnTo>
                <a:lnTo>
                  <a:pt x="2155792" y="189040"/>
                </a:lnTo>
                <a:lnTo>
                  <a:pt x="2169573" y="185035"/>
                </a:lnTo>
                <a:lnTo>
                  <a:pt x="2173805" y="185901"/>
                </a:lnTo>
                <a:lnTo>
                  <a:pt x="2178146" y="188824"/>
                </a:lnTo>
                <a:lnTo>
                  <a:pt x="2180968" y="188391"/>
                </a:lnTo>
                <a:lnTo>
                  <a:pt x="2186394" y="188175"/>
                </a:lnTo>
                <a:lnTo>
                  <a:pt x="2192253" y="183844"/>
                </a:lnTo>
                <a:lnTo>
                  <a:pt x="2200066" y="183519"/>
                </a:lnTo>
                <a:lnTo>
                  <a:pt x="2202454" y="184277"/>
                </a:lnTo>
                <a:close/>
                <a:moveTo>
                  <a:pt x="6278772" y="176483"/>
                </a:moveTo>
                <a:lnTo>
                  <a:pt x="6283764" y="178322"/>
                </a:lnTo>
                <a:lnTo>
                  <a:pt x="6288865" y="178322"/>
                </a:lnTo>
                <a:lnTo>
                  <a:pt x="6293205" y="182330"/>
                </a:lnTo>
                <a:lnTo>
                  <a:pt x="6298957" y="183629"/>
                </a:lnTo>
                <a:lnTo>
                  <a:pt x="6307638" y="183521"/>
                </a:lnTo>
                <a:lnTo>
                  <a:pt x="6311653" y="186227"/>
                </a:lnTo>
                <a:lnTo>
                  <a:pt x="6313932" y="187743"/>
                </a:lnTo>
                <a:lnTo>
                  <a:pt x="6314149" y="191207"/>
                </a:lnTo>
                <a:lnTo>
                  <a:pt x="6312629" y="192291"/>
                </a:lnTo>
                <a:lnTo>
                  <a:pt x="6310025" y="194348"/>
                </a:lnTo>
                <a:lnTo>
                  <a:pt x="6312413" y="197595"/>
                </a:lnTo>
                <a:lnTo>
                  <a:pt x="6309699" y="198786"/>
                </a:lnTo>
                <a:lnTo>
                  <a:pt x="6309699" y="201059"/>
                </a:lnTo>
                <a:lnTo>
                  <a:pt x="6314800" y="203658"/>
                </a:lnTo>
                <a:lnTo>
                  <a:pt x="6315885" y="208640"/>
                </a:lnTo>
                <a:lnTo>
                  <a:pt x="6319466" y="212861"/>
                </a:lnTo>
                <a:lnTo>
                  <a:pt x="6320334" y="216542"/>
                </a:lnTo>
                <a:lnTo>
                  <a:pt x="6322396" y="224445"/>
                </a:lnTo>
                <a:lnTo>
                  <a:pt x="6326086" y="226612"/>
                </a:lnTo>
                <a:lnTo>
                  <a:pt x="6333573" y="233865"/>
                </a:lnTo>
                <a:lnTo>
                  <a:pt x="6334441" y="236247"/>
                </a:lnTo>
                <a:lnTo>
                  <a:pt x="6340302" y="236789"/>
                </a:lnTo>
                <a:lnTo>
                  <a:pt x="6342797" y="240037"/>
                </a:lnTo>
                <a:lnTo>
                  <a:pt x="6350936" y="242095"/>
                </a:lnTo>
                <a:lnTo>
                  <a:pt x="6357339" y="246208"/>
                </a:lnTo>
                <a:lnTo>
                  <a:pt x="6364718" y="242961"/>
                </a:lnTo>
                <a:lnTo>
                  <a:pt x="6370903" y="242419"/>
                </a:lnTo>
                <a:lnTo>
                  <a:pt x="6373182" y="244368"/>
                </a:lnTo>
                <a:lnTo>
                  <a:pt x="6369384" y="248481"/>
                </a:lnTo>
                <a:lnTo>
                  <a:pt x="6362113" y="252271"/>
                </a:lnTo>
                <a:lnTo>
                  <a:pt x="6362005" y="256385"/>
                </a:lnTo>
                <a:lnTo>
                  <a:pt x="6358206" y="258443"/>
                </a:lnTo>
                <a:lnTo>
                  <a:pt x="6354517" y="256385"/>
                </a:lnTo>
                <a:lnTo>
                  <a:pt x="6349743" y="255736"/>
                </a:lnTo>
                <a:lnTo>
                  <a:pt x="6351696" y="252271"/>
                </a:lnTo>
                <a:lnTo>
                  <a:pt x="6349634" y="251081"/>
                </a:lnTo>
                <a:lnTo>
                  <a:pt x="6345293" y="254330"/>
                </a:lnTo>
                <a:lnTo>
                  <a:pt x="6339542" y="255303"/>
                </a:lnTo>
                <a:lnTo>
                  <a:pt x="6331620" y="263424"/>
                </a:lnTo>
                <a:lnTo>
                  <a:pt x="6327171" y="272410"/>
                </a:lnTo>
                <a:lnTo>
                  <a:pt x="6323047" y="278797"/>
                </a:lnTo>
                <a:lnTo>
                  <a:pt x="6319249" y="279339"/>
                </a:lnTo>
                <a:lnTo>
                  <a:pt x="6319466" y="277174"/>
                </a:lnTo>
                <a:lnTo>
                  <a:pt x="6317621" y="273818"/>
                </a:lnTo>
                <a:lnTo>
                  <a:pt x="6312955" y="272193"/>
                </a:lnTo>
                <a:lnTo>
                  <a:pt x="6311002" y="269270"/>
                </a:lnTo>
                <a:lnTo>
                  <a:pt x="6308398" y="267538"/>
                </a:lnTo>
                <a:lnTo>
                  <a:pt x="6307312" y="270027"/>
                </a:lnTo>
                <a:lnTo>
                  <a:pt x="6307746" y="273493"/>
                </a:lnTo>
                <a:lnTo>
                  <a:pt x="6310568" y="275766"/>
                </a:lnTo>
                <a:lnTo>
                  <a:pt x="6313715" y="275334"/>
                </a:lnTo>
                <a:lnTo>
                  <a:pt x="6313389" y="279232"/>
                </a:lnTo>
                <a:lnTo>
                  <a:pt x="6316102" y="284753"/>
                </a:lnTo>
                <a:lnTo>
                  <a:pt x="6316102" y="289083"/>
                </a:lnTo>
                <a:lnTo>
                  <a:pt x="6314040" y="293305"/>
                </a:lnTo>
                <a:lnTo>
                  <a:pt x="6309808" y="294172"/>
                </a:lnTo>
                <a:lnTo>
                  <a:pt x="6305142" y="291249"/>
                </a:lnTo>
                <a:lnTo>
                  <a:pt x="6298957" y="290816"/>
                </a:lnTo>
                <a:lnTo>
                  <a:pt x="6291685" y="293305"/>
                </a:lnTo>
                <a:lnTo>
                  <a:pt x="6285175" y="293524"/>
                </a:lnTo>
                <a:lnTo>
                  <a:pt x="6280617" y="289409"/>
                </a:lnTo>
                <a:lnTo>
                  <a:pt x="6279098" y="284753"/>
                </a:lnTo>
                <a:lnTo>
                  <a:pt x="6274757" y="281829"/>
                </a:lnTo>
                <a:lnTo>
                  <a:pt x="6270634" y="278582"/>
                </a:lnTo>
                <a:lnTo>
                  <a:pt x="6263797" y="279232"/>
                </a:lnTo>
                <a:lnTo>
                  <a:pt x="6255984" y="276198"/>
                </a:lnTo>
                <a:lnTo>
                  <a:pt x="6241660" y="266563"/>
                </a:lnTo>
                <a:lnTo>
                  <a:pt x="6239924" y="262232"/>
                </a:lnTo>
                <a:lnTo>
                  <a:pt x="6241334" y="259633"/>
                </a:lnTo>
                <a:lnTo>
                  <a:pt x="6244806" y="259633"/>
                </a:lnTo>
                <a:lnTo>
                  <a:pt x="6246326" y="260717"/>
                </a:lnTo>
                <a:lnTo>
                  <a:pt x="6249581" y="258226"/>
                </a:lnTo>
                <a:lnTo>
                  <a:pt x="6247736" y="255736"/>
                </a:lnTo>
                <a:lnTo>
                  <a:pt x="6244481" y="255196"/>
                </a:lnTo>
                <a:lnTo>
                  <a:pt x="6242202" y="256385"/>
                </a:lnTo>
                <a:lnTo>
                  <a:pt x="6239924" y="254112"/>
                </a:lnTo>
                <a:lnTo>
                  <a:pt x="6241008" y="252271"/>
                </a:lnTo>
                <a:lnTo>
                  <a:pt x="6239272" y="249456"/>
                </a:lnTo>
                <a:lnTo>
                  <a:pt x="6233847" y="247832"/>
                </a:lnTo>
                <a:lnTo>
                  <a:pt x="6231025" y="245234"/>
                </a:lnTo>
                <a:lnTo>
                  <a:pt x="6231242" y="242095"/>
                </a:lnTo>
                <a:lnTo>
                  <a:pt x="6229072" y="237765"/>
                </a:lnTo>
                <a:lnTo>
                  <a:pt x="6225491" y="236789"/>
                </a:lnTo>
                <a:lnTo>
                  <a:pt x="6224623" y="232024"/>
                </a:lnTo>
                <a:lnTo>
                  <a:pt x="6227770" y="231483"/>
                </a:lnTo>
                <a:lnTo>
                  <a:pt x="6229614" y="229751"/>
                </a:lnTo>
                <a:lnTo>
                  <a:pt x="6226359" y="227152"/>
                </a:lnTo>
                <a:lnTo>
                  <a:pt x="6223320" y="226829"/>
                </a:lnTo>
                <a:lnTo>
                  <a:pt x="6217352" y="218600"/>
                </a:lnTo>
                <a:lnTo>
                  <a:pt x="6217895" y="215677"/>
                </a:lnTo>
                <a:lnTo>
                  <a:pt x="6223320" y="211345"/>
                </a:lnTo>
                <a:lnTo>
                  <a:pt x="6224948" y="205715"/>
                </a:lnTo>
                <a:lnTo>
                  <a:pt x="6224514" y="199111"/>
                </a:lnTo>
                <a:lnTo>
                  <a:pt x="6226033" y="197812"/>
                </a:lnTo>
                <a:lnTo>
                  <a:pt x="6225708" y="190666"/>
                </a:lnTo>
                <a:lnTo>
                  <a:pt x="6229506" y="187634"/>
                </a:lnTo>
                <a:lnTo>
                  <a:pt x="6234823" y="185578"/>
                </a:lnTo>
                <a:lnTo>
                  <a:pt x="6236885" y="189908"/>
                </a:lnTo>
                <a:lnTo>
                  <a:pt x="6239598" y="191531"/>
                </a:lnTo>
                <a:lnTo>
                  <a:pt x="6246543" y="192291"/>
                </a:lnTo>
                <a:lnTo>
                  <a:pt x="6251535" y="196729"/>
                </a:lnTo>
                <a:lnTo>
                  <a:pt x="6256309" y="197380"/>
                </a:lnTo>
                <a:lnTo>
                  <a:pt x="6257937" y="201168"/>
                </a:lnTo>
                <a:lnTo>
                  <a:pt x="6258263" y="206149"/>
                </a:lnTo>
                <a:lnTo>
                  <a:pt x="6262712" y="207232"/>
                </a:lnTo>
                <a:lnTo>
                  <a:pt x="6264556" y="208747"/>
                </a:lnTo>
                <a:lnTo>
                  <a:pt x="6267053" y="207232"/>
                </a:lnTo>
                <a:lnTo>
                  <a:pt x="6271828" y="206040"/>
                </a:lnTo>
                <a:lnTo>
                  <a:pt x="6275517" y="208098"/>
                </a:lnTo>
                <a:lnTo>
                  <a:pt x="6277904" y="214918"/>
                </a:lnTo>
                <a:lnTo>
                  <a:pt x="6283222" y="220657"/>
                </a:lnTo>
                <a:lnTo>
                  <a:pt x="6288756" y="219791"/>
                </a:lnTo>
                <a:lnTo>
                  <a:pt x="6290926" y="218058"/>
                </a:lnTo>
                <a:lnTo>
                  <a:pt x="6289407" y="214918"/>
                </a:lnTo>
                <a:lnTo>
                  <a:pt x="6281811" y="207339"/>
                </a:lnTo>
                <a:lnTo>
                  <a:pt x="6280291" y="200735"/>
                </a:lnTo>
                <a:lnTo>
                  <a:pt x="6277578" y="195647"/>
                </a:lnTo>
                <a:lnTo>
                  <a:pt x="6276385" y="190341"/>
                </a:lnTo>
                <a:lnTo>
                  <a:pt x="6278989" y="186769"/>
                </a:lnTo>
                <a:lnTo>
                  <a:pt x="6282896" y="186769"/>
                </a:lnTo>
                <a:lnTo>
                  <a:pt x="6284415" y="187743"/>
                </a:lnTo>
                <a:lnTo>
                  <a:pt x="6290275" y="187743"/>
                </a:lnTo>
                <a:lnTo>
                  <a:pt x="6288213" y="185252"/>
                </a:lnTo>
                <a:lnTo>
                  <a:pt x="6284415" y="184170"/>
                </a:lnTo>
                <a:lnTo>
                  <a:pt x="6277254" y="177783"/>
                </a:lnTo>
                <a:close/>
                <a:moveTo>
                  <a:pt x="4822698" y="174534"/>
                </a:moveTo>
                <a:lnTo>
                  <a:pt x="4826061" y="174750"/>
                </a:lnTo>
                <a:lnTo>
                  <a:pt x="4827689" y="176483"/>
                </a:lnTo>
                <a:lnTo>
                  <a:pt x="4831595" y="176807"/>
                </a:lnTo>
                <a:lnTo>
                  <a:pt x="4832030" y="179948"/>
                </a:lnTo>
                <a:lnTo>
                  <a:pt x="4827906" y="183845"/>
                </a:lnTo>
                <a:lnTo>
                  <a:pt x="4824867" y="184170"/>
                </a:lnTo>
                <a:lnTo>
                  <a:pt x="4821721" y="182329"/>
                </a:lnTo>
                <a:lnTo>
                  <a:pt x="4814775" y="181789"/>
                </a:lnTo>
                <a:lnTo>
                  <a:pt x="4813365" y="179839"/>
                </a:lnTo>
                <a:lnTo>
                  <a:pt x="4815752" y="178322"/>
                </a:lnTo>
                <a:lnTo>
                  <a:pt x="4818900" y="178214"/>
                </a:lnTo>
                <a:close/>
                <a:moveTo>
                  <a:pt x="4757586" y="170852"/>
                </a:moveTo>
                <a:lnTo>
                  <a:pt x="4760624" y="172693"/>
                </a:lnTo>
                <a:lnTo>
                  <a:pt x="4761709" y="177997"/>
                </a:lnTo>
                <a:lnTo>
                  <a:pt x="4763120" y="180488"/>
                </a:lnTo>
                <a:lnTo>
                  <a:pt x="4760949" y="182003"/>
                </a:lnTo>
                <a:lnTo>
                  <a:pt x="4759540" y="183952"/>
                </a:lnTo>
                <a:lnTo>
                  <a:pt x="4755198" y="183952"/>
                </a:lnTo>
                <a:lnTo>
                  <a:pt x="4750641" y="187633"/>
                </a:lnTo>
                <a:cubicBezTo>
                  <a:pt x="4749638" y="186674"/>
                  <a:pt x="4748729" y="185624"/>
                  <a:pt x="4747929" y="184494"/>
                </a:cubicBezTo>
                <a:lnTo>
                  <a:pt x="4746734" y="180704"/>
                </a:lnTo>
                <a:lnTo>
                  <a:pt x="4744239" y="178646"/>
                </a:lnTo>
                <a:lnTo>
                  <a:pt x="4744239" y="176914"/>
                </a:lnTo>
                <a:lnTo>
                  <a:pt x="4748362" y="174533"/>
                </a:lnTo>
                <a:lnTo>
                  <a:pt x="4754439" y="173016"/>
                </a:lnTo>
                <a:close/>
                <a:moveTo>
                  <a:pt x="2316830" y="164897"/>
                </a:moveTo>
                <a:lnTo>
                  <a:pt x="2317915" y="166846"/>
                </a:lnTo>
                <a:lnTo>
                  <a:pt x="2318567" y="173884"/>
                </a:lnTo>
                <a:lnTo>
                  <a:pt x="2321822" y="174967"/>
                </a:lnTo>
                <a:lnTo>
                  <a:pt x="2327899" y="169769"/>
                </a:lnTo>
                <a:lnTo>
                  <a:pt x="2333542" y="171501"/>
                </a:lnTo>
                <a:lnTo>
                  <a:pt x="2337665" y="169769"/>
                </a:lnTo>
                <a:lnTo>
                  <a:pt x="2343742" y="173234"/>
                </a:lnTo>
                <a:lnTo>
                  <a:pt x="2345153" y="177132"/>
                </a:lnTo>
                <a:lnTo>
                  <a:pt x="2348083" y="180055"/>
                </a:lnTo>
                <a:lnTo>
                  <a:pt x="2349603" y="184927"/>
                </a:lnTo>
                <a:lnTo>
                  <a:pt x="2347649" y="193156"/>
                </a:lnTo>
                <a:lnTo>
                  <a:pt x="2347649" y="199544"/>
                </a:lnTo>
                <a:lnTo>
                  <a:pt x="2344936" y="202901"/>
                </a:lnTo>
                <a:lnTo>
                  <a:pt x="2340161" y="205715"/>
                </a:lnTo>
                <a:lnTo>
                  <a:pt x="2341030" y="210046"/>
                </a:lnTo>
                <a:lnTo>
                  <a:pt x="2344393" y="210370"/>
                </a:lnTo>
                <a:lnTo>
                  <a:pt x="2348083" y="206581"/>
                </a:lnTo>
                <a:lnTo>
                  <a:pt x="2348951" y="202792"/>
                </a:lnTo>
                <a:lnTo>
                  <a:pt x="2355787" y="201601"/>
                </a:lnTo>
                <a:lnTo>
                  <a:pt x="2361539" y="197811"/>
                </a:lnTo>
                <a:lnTo>
                  <a:pt x="2364795" y="197595"/>
                </a:lnTo>
                <a:lnTo>
                  <a:pt x="2369026" y="202251"/>
                </a:lnTo>
                <a:lnTo>
                  <a:pt x="2367833" y="206256"/>
                </a:lnTo>
                <a:lnTo>
                  <a:pt x="2367833" y="212103"/>
                </a:lnTo>
                <a:lnTo>
                  <a:pt x="2370438" y="215351"/>
                </a:lnTo>
                <a:lnTo>
                  <a:pt x="2370221" y="217950"/>
                </a:lnTo>
                <a:lnTo>
                  <a:pt x="2363384" y="221847"/>
                </a:lnTo>
                <a:lnTo>
                  <a:pt x="2361322" y="225421"/>
                </a:lnTo>
                <a:lnTo>
                  <a:pt x="2362841" y="228019"/>
                </a:lnTo>
                <a:lnTo>
                  <a:pt x="2367833" y="228019"/>
                </a:lnTo>
                <a:lnTo>
                  <a:pt x="2372174" y="229968"/>
                </a:lnTo>
                <a:lnTo>
                  <a:pt x="2374887" y="229751"/>
                </a:lnTo>
                <a:lnTo>
                  <a:pt x="2376080" y="235490"/>
                </a:lnTo>
                <a:lnTo>
                  <a:pt x="2377708" y="239604"/>
                </a:lnTo>
                <a:lnTo>
                  <a:pt x="2377491" y="242635"/>
                </a:lnTo>
                <a:lnTo>
                  <a:pt x="2373367" y="245884"/>
                </a:lnTo>
                <a:lnTo>
                  <a:pt x="2373693" y="249565"/>
                </a:lnTo>
                <a:lnTo>
                  <a:pt x="2372716" y="256061"/>
                </a:lnTo>
                <a:lnTo>
                  <a:pt x="2367182" y="259851"/>
                </a:lnTo>
                <a:lnTo>
                  <a:pt x="2363601" y="263640"/>
                </a:lnTo>
                <a:lnTo>
                  <a:pt x="2360237" y="264181"/>
                </a:lnTo>
                <a:lnTo>
                  <a:pt x="2357199" y="270352"/>
                </a:lnTo>
                <a:lnTo>
                  <a:pt x="2354377" y="272951"/>
                </a:lnTo>
                <a:lnTo>
                  <a:pt x="2354377" y="275549"/>
                </a:lnTo>
                <a:lnTo>
                  <a:pt x="2356873" y="277390"/>
                </a:lnTo>
                <a:lnTo>
                  <a:pt x="2353400" y="283453"/>
                </a:lnTo>
                <a:lnTo>
                  <a:pt x="2351447" y="290816"/>
                </a:lnTo>
                <a:lnTo>
                  <a:pt x="2351121" y="296662"/>
                </a:lnTo>
                <a:lnTo>
                  <a:pt x="2347215" y="301751"/>
                </a:lnTo>
                <a:lnTo>
                  <a:pt x="2343525" y="304241"/>
                </a:lnTo>
                <a:lnTo>
                  <a:pt x="2343525" y="306732"/>
                </a:lnTo>
                <a:lnTo>
                  <a:pt x="2336364" y="311604"/>
                </a:lnTo>
                <a:lnTo>
                  <a:pt x="2333216" y="311604"/>
                </a:lnTo>
                <a:lnTo>
                  <a:pt x="2330829" y="309546"/>
                </a:lnTo>
                <a:lnTo>
                  <a:pt x="2326488" y="310087"/>
                </a:lnTo>
                <a:lnTo>
                  <a:pt x="2323883" y="310196"/>
                </a:lnTo>
                <a:lnTo>
                  <a:pt x="2321388" y="305865"/>
                </a:lnTo>
                <a:lnTo>
                  <a:pt x="2318892" y="298828"/>
                </a:lnTo>
                <a:lnTo>
                  <a:pt x="2327031" y="284103"/>
                </a:lnTo>
                <a:lnTo>
                  <a:pt x="2327031" y="278797"/>
                </a:lnTo>
                <a:lnTo>
                  <a:pt x="2328767" y="275657"/>
                </a:lnTo>
                <a:lnTo>
                  <a:pt x="2326705" y="273601"/>
                </a:lnTo>
                <a:lnTo>
                  <a:pt x="2323558" y="273601"/>
                </a:lnTo>
                <a:lnTo>
                  <a:pt x="2320520" y="266022"/>
                </a:lnTo>
                <a:lnTo>
                  <a:pt x="2315528" y="261908"/>
                </a:lnTo>
                <a:lnTo>
                  <a:pt x="2308583" y="262773"/>
                </a:lnTo>
                <a:lnTo>
                  <a:pt x="2307932" y="257902"/>
                </a:lnTo>
                <a:lnTo>
                  <a:pt x="2309451" y="255412"/>
                </a:lnTo>
                <a:lnTo>
                  <a:pt x="2313574" y="254329"/>
                </a:lnTo>
                <a:lnTo>
                  <a:pt x="2313900" y="250756"/>
                </a:lnTo>
                <a:lnTo>
                  <a:pt x="2306521" y="252596"/>
                </a:lnTo>
                <a:lnTo>
                  <a:pt x="2305110" y="250864"/>
                </a:lnTo>
                <a:lnTo>
                  <a:pt x="2297731" y="251080"/>
                </a:lnTo>
                <a:lnTo>
                  <a:pt x="2290352" y="248481"/>
                </a:lnTo>
                <a:lnTo>
                  <a:pt x="2286337" y="248698"/>
                </a:lnTo>
                <a:lnTo>
                  <a:pt x="2282865" y="252163"/>
                </a:lnTo>
                <a:lnTo>
                  <a:pt x="2279283" y="250431"/>
                </a:lnTo>
                <a:lnTo>
                  <a:pt x="2279283" y="245884"/>
                </a:lnTo>
                <a:lnTo>
                  <a:pt x="2275377" y="239928"/>
                </a:lnTo>
                <a:lnTo>
                  <a:pt x="2280152" y="231809"/>
                </a:lnTo>
                <a:lnTo>
                  <a:pt x="2280152" y="229102"/>
                </a:lnTo>
                <a:lnTo>
                  <a:pt x="2289484" y="224662"/>
                </a:lnTo>
                <a:lnTo>
                  <a:pt x="2293282" y="230076"/>
                </a:lnTo>
                <a:lnTo>
                  <a:pt x="2297406" y="232134"/>
                </a:lnTo>
                <a:lnTo>
                  <a:pt x="2299793" y="238521"/>
                </a:lnTo>
                <a:lnTo>
                  <a:pt x="2301855" y="238521"/>
                </a:lnTo>
                <a:lnTo>
                  <a:pt x="2309126" y="231809"/>
                </a:lnTo>
                <a:lnTo>
                  <a:pt x="2309126" y="228776"/>
                </a:lnTo>
                <a:lnTo>
                  <a:pt x="2304133" y="227153"/>
                </a:lnTo>
                <a:lnTo>
                  <a:pt x="2304460" y="224230"/>
                </a:lnTo>
                <a:lnTo>
                  <a:pt x="2308258" y="225421"/>
                </a:lnTo>
                <a:lnTo>
                  <a:pt x="2314986" y="223039"/>
                </a:lnTo>
                <a:lnTo>
                  <a:pt x="2319977" y="219466"/>
                </a:lnTo>
                <a:lnTo>
                  <a:pt x="2316179" y="217192"/>
                </a:lnTo>
                <a:lnTo>
                  <a:pt x="2309776" y="218599"/>
                </a:lnTo>
                <a:lnTo>
                  <a:pt x="2307932" y="215677"/>
                </a:lnTo>
                <a:lnTo>
                  <a:pt x="2309451" y="211562"/>
                </a:lnTo>
                <a:lnTo>
                  <a:pt x="2315094" y="206907"/>
                </a:lnTo>
                <a:lnTo>
                  <a:pt x="2317915" y="206690"/>
                </a:lnTo>
                <a:lnTo>
                  <a:pt x="2319652" y="201601"/>
                </a:lnTo>
                <a:lnTo>
                  <a:pt x="2316830" y="197811"/>
                </a:lnTo>
                <a:lnTo>
                  <a:pt x="2313466" y="199652"/>
                </a:lnTo>
                <a:lnTo>
                  <a:pt x="2311187" y="199652"/>
                </a:lnTo>
                <a:lnTo>
                  <a:pt x="2304676" y="205391"/>
                </a:lnTo>
                <a:lnTo>
                  <a:pt x="2298057" y="208422"/>
                </a:lnTo>
                <a:lnTo>
                  <a:pt x="2297189" y="206581"/>
                </a:lnTo>
                <a:lnTo>
                  <a:pt x="2301529" y="199544"/>
                </a:lnTo>
                <a:lnTo>
                  <a:pt x="2307932" y="196729"/>
                </a:lnTo>
                <a:lnTo>
                  <a:pt x="2313249" y="191640"/>
                </a:lnTo>
                <a:lnTo>
                  <a:pt x="2311838" y="189583"/>
                </a:lnTo>
                <a:lnTo>
                  <a:pt x="2306304" y="190774"/>
                </a:lnTo>
                <a:lnTo>
                  <a:pt x="2304133" y="192615"/>
                </a:lnTo>
                <a:lnTo>
                  <a:pt x="2300335" y="190016"/>
                </a:lnTo>
                <a:lnTo>
                  <a:pt x="2300119" y="186118"/>
                </a:lnTo>
                <a:lnTo>
                  <a:pt x="2305002" y="179947"/>
                </a:lnTo>
                <a:lnTo>
                  <a:pt x="2306630" y="174967"/>
                </a:lnTo>
                <a:lnTo>
                  <a:pt x="2311730" y="172151"/>
                </a:lnTo>
                <a:lnTo>
                  <a:pt x="2312924" y="168362"/>
                </a:lnTo>
                <a:close/>
                <a:moveTo>
                  <a:pt x="3203953" y="161108"/>
                </a:moveTo>
                <a:lnTo>
                  <a:pt x="3204930" y="163381"/>
                </a:lnTo>
                <a:lnTo>
                  <a:pt x="3204930" y="166846"/>
                </a:lnTo>
                <a:lnTo>
                  <a:pt x="3206232" y="168253"/>
                </a:lnTo>
                <a:lnTo>
                  <a:pt x="3205038" y="170311"/>
                </a:lnTo>
                <a:lnTo>
                  <a:pt x="3201675" y="166087"/>
                </a:lnTo>
                <a:lnTo>
                  <a:pt x="3201892" y="162516"/>
                </a:lnTo>
                <a:close/>
                <a:moveTo>
                  <a:pt x="5383076" y="155693"/>
                </a:moveTo>
                <a:lnTo>
                  <a:pt x="5392300" y="156559"/>
                </a:lnTo>
                <a:lnTo>
                  <a:pt x="5398594" y="161108"/>
                </a:lnTo>
                <a:lnTo>
                  <a:pt x="5406732" y="171934"/>
                </a:lnTo>
                <a:lnTo>
                  <a:pt x="5408795" y="176590"/>
                </a:lnTo>
                <a:lnTo>
                  <a:pt x="5406191" y="184168"/>
                </a:lnTo>
                <a:lnTo>
                  <a:pt x="5408686" y="186227"/>
                </a:lnTo>
                <a:lnTo>
                  <a:pt x="5407276" y="190558"/>
                </a:lnTo>
                <a:lnTo>
                  <a:pt x="5404779" y="194455"/>
                </a:lnTo>
                <a:lnTo>
                  <a:pt x="5405539" y="198136"/>
                </a:lnTo>
                <a:lnTo>
                  <a:pt x="5407927" y="196187"/>
                </a:lnTo>
                <a:lnTo>
                  <a:pt x="5410857" y="189907"/>
                </a:lnTo>
                <a:lnTo>
                  <a:pt x="5411833" y="184060"/>
                </a:lnTo>
                <a:lnTo>
                  <a:pt x="5412050" y="179838"/>
                </a:lnTo>
                <a:lnTo>
                  <a:pt x="5414004" y="176049"/>
                </a:lnTo>
                <a:lnTo>
                  <a:pt x="5413461" y="173018"/>
                </a:lnTo>
                <a:lnTo>
                  <a:pt x="5407276" y="165764"/>
                </a:lnTo>
                <a:lnTo>
                  <a:pt x="5406407" y="162515"/>
                </a:lnTo>
                <a:lnTo>
                  <a:pt x="5407276" y="159375"/>
                </a:lnTo>
                <a:lnTo>
                  <a:pt x="5415305" y="158184"/>
                </a:lnTo>
                <a:lnTo>
                  <a:pt x="5424529" y="159267"/>
                </a:lnTo>
                <a:lnTo>
                  <a:pt x="5439180" y="171609"/>
                </a:lnTo>
                <a:lnTo>
                  <a:pt x="5441567" y="172151"/>
                </a:lnTo>
                <a:lnTo>
                  <a:pt x="5444171" y="173992"/>
                </a:lnTo>
                <a:lnTo>
                  <a:pt x="5444496" y="179513"/>
                </a:lnTo>
                <a:lnTo>
                  <a:pt x="5448403" y="182113"/>
                </a:lnTo>
                <a:lnTo>
                  <a:pt x="5449597" y="188608"/>
                </a:lnTo>
                <a:lnTo>
                  <a:pt x="5449597" y="194995"/>
                </a:lnTo>
                <a:lnTo>
                  <a:pt x="5456759" y="202250"/>
                </a:lnTo>
                <a:lnTo>
                  <a:pt x="5461860" y="209286"/>
                </a:lnTo>
                <a:lnTo>
                  <a:pt x="5461534" y="211994"/>
                </a:lnTo>
                <a:lnTo>
                  <a:pt x="5457085" y="212211"/>
                </a:lnTo>
                <a:lnTo>
                  <a:pt x="5453938" y="210154"/>
                </a:lnTo>
                <a:lnTo>
                  <a:pt x="5451116" y="210263"/>
                </a:lnTo>
                <a:lnTo>
                  <a:pt x="5451875" y="216001"/>
                </a:lnTo>
                <a:lnTo>
                  <a:pt x="5457193" y="219573"/>
                </a:lnTo>
                <a:lnTo>
                  <a:pt x="5463596" y="220656"/>
                </a:lnTo>
                <a:lnTo>
                  <a:pt x="5469239" y="226828"/>
                </a:lnTo>
                <a:lnTo>
                  <a:pt x="5472711" y="227909"/>
                </a:lnTo>
                <a:lnTo>
                  <a:pt x="5478571" y="234407"/>
                </a:lnTo>
                <a:lnTo>
                  <a:pt x="5478571" y="238306"/>
                </a:lnTo>
                <a:lnTo>
                  <a:pt x="5472928" y="245883"/>
                </a:lnTo>
                <a:lnTo>
                  <a:pt x="5465983" y="247832"/>
                </a:lnTo>
                <a:lnTo>
                  <a:pt x="5460340" y="253246"/>
                </a:lnTo>
                <a:lnTo>
                  <a:pt x="5455891" y="256712"/>
                </a:lnTo>
                <a:lnTo>
                  <a:pt x="5451550" y="257252"/>
                </a:lnTo>
                <a:lnTo>
                  <a:pt x="5446667" y="253246"/>
                </a:lnTo>
                <a:lnTo>
                  <a:pt x="5443737" y="250539"/>
                </a:lnTo>
                <a:lnTo>
                  <a:pt x="5439288" y="251081"/>
                </a:lnTo>
                <a:lnTo>
                  <a:pt x="5435490" y="249674"/>
                </a:lnTo>
                <a:lnTo>
                  <a:pt x="5430715" y="251081"/>
                </a:lnTo>
                <a:lnTo>
                  <a:pt x="5419104" y="250213"/>
                </a:lnTo>
                <a:lnTo>
                  <a:pt x="5413135" y="246751"/>
                </a:lnTo>
                <a:lnTo>
                  <a:pt x="5410205" y="244476"/>
                </a:lnTo>
                <a:lnTo>
                  <a:pt x="5403586" y="246751"/>
                </a:lnTo>
                <a:lnTo>
                  <a:pt x="5397943" y="249674"/>
                </a:lnTo>
                <a:lnTo>
                  <a:pt x="5393602" y="248483"/>
                </a:lnTo>
                <a:lnTo>
                  <a:pt x="5388502" y="245234"/>
                </a:lnTo>
                <a:lnTo>
                  <a:pt x="5382642" y="244476"/>
                </a:lnTo>
                <a:lnTo>
                  <a:pt x="5379278" y="241119"/>
                </a:lnTo>
                <a:lnTo>
                  <a:pt x="5376240" y="232024"/>
                </a:lnTo>
                <a:lnTo>
                  <a:pt x="5372767" y="227369"/>
                </a:lnTo>
                <a:lnTo>
                  <a:pt x="5369621" y="226828"/>
                </a:lnTo>
                <a:lnTo>
                  <a:pt x="5365605" y="229101"/>
                </a:lnTo>
                <a:lnTo>
                  <a:pt x="5361373" y="225744"/>
                </a:lnTo>
                <a:lnTo>
                  <a:pt x="5357467" y="223905"/>
                </a:lnTo>
                <a:lnTo>
                  <a:pt x="5356273" y="226288"/>
                </a:lnTo>
                <a:lnTo>
                  <a:pt x="5357467" y="229751"/>
                </a:lnTo>
                <a:lnTo>
                  <a:pt x="5354862" y="230726"/>
                </a:lnTo>
                <a:lnTo>
                  <a:pt x="5353125" y="228885"/>
                </a:lnTo>
                <a:lnTo>
                  <a:pt x="5348134" y="225744"/>
                </a:lnTo>
                <a:lnTo>
                  <a:pt x="5349002" y="223362"/>
                </a:lnTo>
                <a:lnTo>
                  <a:pt x="5354320" y="219898"/>
                </a:lnTo>
                <a:lnTo>
                  <a:pt x="5355188" y="216866"/>
                </a:lnTo>
                <a:lnTo>
                  <a:pt x="5353343" y="209396"/>
                </a:lnTo>
                <a:lnTo>
                  <a:pt x="5354537" y="204956"/>
                </a:lnTo>
                <a:lnTo>
                  <a:pt x="5360180" y="199977"/>
                </a:lnTo>
                <a:lnTo>
                  <a:pt x="5358335" y="196945"/>
                </a:lnTo>
                <a:lnTo>
                  <a:pt x="5355188" y="196945"/>
                </a:lnTo>
                <a:lnTo>
                  <a:pt x="5350521" y="194132"/>
                </a:lnTo>
                <a:lnTo>
                  <a:pt x="5350087" y="190232"/>
                </a:lnTo>
                <a:lnTo>
                  <a:pt x="5352475" y="182761"/>
                </a:lnTo>
                <a:lnTo>
                  <a:pt x="5356598" y="179082"/>
                </a:lnTo>
                <a:lnTo>
                  <a:pt x="5363001" y="177455"/>
                </a:lnTo>
                <a:lnTo>
                  <a:pt x="5363435" y="173669"/>
                </a:lnTo>
                <a:lnTo>
                  <a:pt x="5365605" y="170311"/>
                </a:lnTo>
                <a:lnTo>
                  <a:pt x="5371574" y="167820"/>
                </a:lnTo>
                <a:lnTo>
                  <a:pt x="5379278" y="162732"/>
                </a:lnTo>
                <a:lnTo>
                  <a:pt x="5381232" y="156994"/>
                </a:lnTo>
                <a:close/>
                <a:moveTo>
                  <a:pt x="3263420" y="148007"/>
                </a:moveTo>
                <a:lnTo>
                  <a:pt x="3266784" y="151363"/>
                </a:lnTo>
                <a:lnTo>
                  <a:pt x="3268628" y="156885"/>
                </a:lnTo>
                <a:lnTo>
                  <a:pt x="3271124" y="161215"/>
                </a:lnTo>
                <a:lnTo>
                  <a:pt x="3270148" y="164464"/>
                </a:lnTo>
                <a:lnTo>
                  <a:pt x="3267218" y="165438"/>
                </a:lnTo>
                <a:lnTo>
                  <a:pt x="3265047" y="164680"/>
                </a:lnTo>
                <a:lnTo>
                  <a:pt x="3262877" y="161974"/>
                </a:lnTo>
                <a:lnTo>
                  <a:pt x="3262769" y="156127"/>
                </a:lnTo>
                <a:lnTo>
                  <a:pt x="3260490" y="152446"/>
                </a:lnTo>
                <a:lnTo>
                  <a:pt x="3260924" y="148439"/>
                </a:lnTo>
                <a:close/>
                <a:moveTo>
                  <a:pt x="3191908" y="147789"/>
                </a:moveTo>
                <a:lnTo>
                  <a:pt x="3193319" y="151038"/>
                </a:lnTo>
                <a:lnTo>
                  <a:pt x="3193319" y="158292"/>
                </a:lnTo>
                <a:lnTo>
                  <a:pt x="3195706" y="163273"/>
                </a:lnTo>
                <a:lnTo>
                  <a:pt x="3195055" y="170418"/>
                </a:lnTo>
                <a:lnTo>
                  <a:pt x="3192776" y="177131"/>
                </a:lnTo>
                <a:lnTo>
                  <a:pt x="3193102" y="184926"/>
                </a:lnTo>
                <a:lnTo>
                  <a:pt x="3198636" y="190773"/>
                </a:lnTo>
                <a:lnTo>
                  <a:pt x="3199179" y="196404"/>
                </a:lnTo>
                <a:lnTo>
                  <a:pt x="3197226" y="201600"/>
                </a:lnTo>
                <a:lnTo>
                  <a:pt x="3195055" y="199651"/>
                </a:lnTo>
                <a:lnTo>
                  <a:pt x="3190931" y="192181"/>
                </a:lnTo>
                <a:lnTo>
                  <a:pt x="3189847" y="184926"/>
                </a:lnTo>
                <a:lnTo>
                  <a:pt x="3184855" y="174749"/>
                </a:lnTo>
                <a:lnTo>
                  <a:pt x="3184855" y="168902"/>
                </a:lnTo>
                <a:lnTo>
                  <a:pt x="3187134" y="164463"/>
                </a:lnTo>
                <a:lnTo>
                  <a:pt x="3186917" y="152446"/>
                </a:lnTo>
                <a:close/>
                <a:moveTo>
                  <a:pt x="2448028" y="142267"/>
                </a:moveTo>
                <a:lnTo>
                  <a:pt x="2445965" y="147031"/>
                </a:lnTo>
                <a:lnTo>
                  <a:pt x="2449546" y="148330"/>
                </a:lnTo>
                <a:lnTo>
                  <a:pt x="2455189" y="148655"/>
                </a:lnTo>
                <a:lnTo>
                  <a:pt x="2456492" y="151903"/>
                </a:lnTo>
                <a:lnTo>
                  <a:pt x="2453562" y="158183"/>
                </a:lnTo>
                <a:lnTo>
                  <a:pt x="2447593" y="162731"/>
                </a:lnTo>
                <a:lnTo>
                  <a:pt x="2447160" y="166196"/>
                </a:lnTo>
                <a:lnTo>
                  <a:pt x="2444120" y="172800"/>
                </a:lnTo>
                <a:lnTo>
                  <a:pt x="2439021" y="177889"/>
                </a:lnTo>
                <a:lnTo>
                  <a:pt x="2437609" y="174099"/>
                </a:lnTo>
                <a:lnTo>
                  <a:pt x="2435439" y="171934"/>
                </a:lnTo>
                <a:lnTo>
                  <a:pt x="2435548" y="168253"/>
                </a:lnTo>
                <a:lnTo>
                  <a:pt x="2439780" y="164247"/>
                </a:lnTo>
                <a:lnTo>
                  <a:pt x="2439780" y="159916"/>
                </a:lnTo>
                <a:lnTo>
                  <a:pt x="2435548" y="161431"/>
                </a:lnTo>
                <a:lnTo>
                  <a:pt x="2429797" y="159700"/>
                </a:lnTo>
                <a:lnTo>
                  <a:pt x="2429688" y="156018"/>
                </a:lnTo>
                <a:lnTo>
                  <a:pt x="2432510" y="153311"/>
                </a:lnTo>
                <a:lnTo>
                  <a:pt x="2433378" y="149630"/>
                </a:lnTo>
                <a:lnTo>
                  <a:pt x="2440431" y="147465"/>
                </a:lnTo>
                <a:lnTo>
                  <a:pt x="2446183" y="142484"/>
                </a:lnTo>
                <a:close/>
                <a:moveTo>
                  <a:pt x="2525182" y="126352"/>
                </a:moveTo>
                <a:lnTo>
                  <a:pt x="2528112" y="126352"/>
                </a:lnTo>
                <a:lnTo>
                  <a:pt x="2530065" y="127652"/>
                </a:lnTo>
                <a:lnTo>
                  <a:pt x="2533863" y="127652"/>
                </a:lnTo>
                <a:lnTo>
                  <a:pt x="2534297" y="131767"/>
                </a:lnTo>
                <a:lnTo>
                  <a:pt x="2531801" y="131983"/>
                </a:lnTo>
                <a:lnTo>
                  <a:pt x="2529739" y="130467"/>
                </a:lnTo>
                <a:lnTo>
                  <a:pt x="2525073" y="129601"/>
                </a:lnTo>
                <a:lnTo>
                  <a:pt x="2523663" y="127544"/>
                </a:lnTo>
                <a:close/>
                <a:moveTo>
                  <a:pt x="3304006" y="119964"/>
                </a:moveTo>
                <a:lnTo>
                  <a:pt x="3307804" y="122886"/>
                </a:lnTo>
                <a:lnTo>
                  <a:pt x="3307479" y="128625"/>
                </a:lnTo>
                <a:lnTo>
                  <a:pt x="3305417" y="127975"/>
                </a:lnTo>
                <a:lnTo>
                  <a:pt x="3302487" y="121047"/>
                </a:lnTo>
                <a:close/>
                <a:moveTo>
                  <a:pt x="3282846" y="114984"/>
                </a:moveTo>
                <a:lnTo>
                  <a:pt x="3285776" y="116716"/>
                </a:lnTo>
                <a:lnTo>
                  <a:pt x="3286209" y="120614"/>
                </a:lnTo>
                <a:lnTo>
                  <a:pt x="3288706" y="121480"/>
                </a:lnTo>
                <a:lnTo>
                  <a:pt x="3291310" y="123970"/>
                </a:lnTo>
                <a:lnTo>
                  <a:pt x="3291310" y="126352"/>
                </a:lnTo>
                <a:lnTo>
                  <a:pt x="3287729" y="126135"/>
                </a:lnTo>
                <a:lnTo>
                  <a:pt x="3285776" y="124187"/>
                </a:lnTo>
                <a:lnTo>
                  <a:pt x="3280133" y="123538"/>
                </a:lnTo>
                <a:lnTo>
                  <a:pt x="3279265" y="120181"/>
                </a:lnTo>
                <a:lnTo>
                  <a:pt x="3279482" y="117907"/>
                </a:lnTo>
                <a:close/>
                <a:moveTo>
                  <a:pt x="5245912" y="110113"/>
                </a:moveTo>
                <a:lnTo>
                  <a:pt x="5251664" y="111628"/>
                </a:lnTo>
                <a:lnTo>
                  <a:pt x="5249602" y="114660"/>
                </a:lnTo>
                <a:lnTo>
                  <a:pt x="5249059" y="117908"/>
                </a:lnTo>
                <a:lnTo>
                  <a:pt x="5244935" y="121807"/>
                </a:lnTo>
                <a:lnTo>
                  <a:pt x="5239183" y="122996"/>
                </a:lnTo>
                <a:lnTo>
                  <a:pt x="5234408" y="121807"/>
                </a:lnTo>
                <a:lnTo>
                  <a:pt x="5231804" y="119532"/>
                </a:lnTo>
                <a:lnTo>
                  <a:pt x="5236254" y="114769"/>
                </a:lnTo>
                <a:lnTo>
                  <a:pt x="5238967" y="110653"/>
                </a:lnTo>
                <a:close/>
                <a:moveTo>
                  <a:pt x="3314640" y="108595"/>
                </a:moveTo>
                <a:lnTo>
                  <a:pt x="3317679" y="109137"/>
                </a:lnTo>
                <a:lnTo>
                  <a:pt x="3321694" y="114984"/>
                </a:lnTo>
                <a:lnTo>
                  <a:pt x="3324841" y="115525"/>
                </a:lnTo>
                <a:lnTo>
                  <a:pt x="3325058" y="118665"/>
                </a:lnTo>
                <a:lnTo>
                  <a:pt x="3323756" y="119964"/>
                </a:lnTo>
                <a:lnTo>
                  <a:pt x="3323647" y="125053"/>
                </a:lnTo>
                <a:lnTo>
                  <a:pt x="3322019" y="130360"/>
                </a:lnTo>
                <a:lnTo>
                  <a:pt x="3318221" y="129384"/>
                </a:lnTo>
                <a:lnTo>
                  <a:pt x="3312687" y="123537"/>
                </a:lnTo>
                <a:lnTo>
                  <a:pt x="3308563" y="121588"/>
                </a:lnTo>
                <a:lnTo>
                  <a:pt x="3307044" y="117257"/>
                </a:lnTo>
                <a:lnTo>
                  <a:pt x="3309757" y="116824"/>
                </a:lnTo>
                <a:lnTo>
                  <a:pt x="3312253" y="119747"/>
                </a:lnTo>
                <a:lnTo>
                  <a:pt x="3314206" y="117365"/>
                </a:lnTo>
                <a:lnTo>
                  <a:pt x="3313121" y="115092"/>
                </a:lnTo>
                <a:lnTo>
                  <a:pt x="3312470" y="110870"/>
                </a:lnTo>
                <a:close/>
                <a:moveTo>
                  <a:pt x="3379750" y="97228"/>
                </a:moveTo>
                <a:lnTo>
                  <a:pt x="3383114" y="99392"/>
                </a:lnTo>
                <a:lnTo>
                  <a:pt x="3383222" y="101558"/>
                </a:lnTo>
                <a:lnTo>
                  <a:pt x="3380943" y="102533"/>
                </a:lnTo>
                <a:lnTo>
                  <a:pt x="3378773" y="101450"/>
                </a:lnTo>
                <a:lnTo>
                  <a:pt x="3378665" y="98527"/>
                </a:lnTo>
                <a:close/>
                <a:moveTo>
                  <a:pt x="3414801" y="87591"/>
                </a:moveTo>
                <a:lnTo>
                  <a:pt x="3417731" y="87591"/>
                </a:lnTo>
                <a:lnTo>
                  <a:pt x="3417731" y="91381"/>
                </a:lnTo>
                <a:lnTo>
                  <a:pt x="3415343" y="94739"/>
                </a:lnTo>
                <a:lnTo>
                  <a:pt x="3412088" y="94846"/>
                </a:lnTo>
                <a:lnTo>
                  <a:pt x="3411003" y="93114"/>
                </a:lnTo>
                <a:lnTo>
                  <a:pt x="3411112" y="89974"/>
                </a:lnTo>
                <a:close/>
                <a:moveTo>
                  <a:pt x="6362004" y="85535"/>
                </a:moveTo>
                <a:lnTo>
                  <a:pt x="6363523" y="86836"/>
                </a:lnTo>
                <a:lnTo>
                  <a:pt x="6363849" y="90950"/>
                </a:lnTo>
                <a:lnTo>
                  <a:pt x="6365369" y="92898"/>
                </a:lnTo>
                <a:lnTo>
                  <a:pt x="6361679" y="95497"/>
                </a:lnTo>
                <a:lnTo>
                  <a:pt x="6358641" y="99070"/>
                </a:lnTo>
                <a:lnTo>
                  <a:pt x="6353215" y="101127"/>
                </a:lnTo>
                <a:lnTo>
                  <a:pt x="6355385" y="92032"/>
                </a:lnTo>
                <a:close/>
                <a:moveTo>
                  <a:pt x="3393750" y="84992"/>
                </a:moveTo>
                <a:lnTo>
                  <a:pt x="3396138" y="87591"/>
                </a:lnTo>
                <a:lnTo>
                  <a:pt x="3396897" y="91272"/>
                </a:lnTo>
                <a:lnTo>
                  <a:pt x="3403300" y="97119"/>
                </a:lnTo>
                <a:lnTo>
                  <a:pt x="3400912" y="98634"/>
                </a:lnTo>
                <a:lnTo>
                  <a:pt x="3398416" y="101991"/>
                </a:lnTo>
                <a:lnTo>
                  <a:pt x="3395270" y="102099"/>
                </a:lnTo>
                <a:lnTo>
                  <a:pt x="3394075" y="98851"/>
                </a:lnTo>
                <a:lnTo>
                  <a:pt x="3391145" y="93762"/>
                </a:lnTo>
                <a:lnTo>
                  <a:pt x="3389952" y="91164"/>
                </a:lnTo>
                <a:lnTo>
                  <a:pt x="3391362" y="90081"/>
                </a:lnTo>
                <a:lnTo>
                  <a:pt x="3392230" y="86725"/>
                </a:lnTo>
                <a:close/>
                <a:moveTo>
                  <a:pt x="5299953" y="84453"/>
                </a:moveTo>
                <a:lnTo>
                  <a:pt x="5303316" y="84777"/>
                </a:lnTo>
                <a:lnTo>
                  <a:pt x="5311239" y="88783"/>
                </a:lnTo>
                <a:lnTo>
                  <a:pt x="5318292" y="94305"/>
                </a:lnTo>
                <a:lnTo>
                  <a:pt x="5327950" y="105999"/>
                </a:lnTo>
                <a:lnTo>
                  <a:pt x="5334244" y="110438"/>
                </a:lnTo>
                <a:lnTo>
                  <a:pt x="5343143" y="113144"/>
                </a:lnTo>
                <a:lnTo>
                  <a:pt x="5355079" y="113036"/>
                </a:lnTo>
                <a:lnTo>
                  <a:pt x="5357250" y="114335"/>
                </a:lnTo>
                <a:lnTo>
                  <a:pt x="5357141" y="118341"/>
                </a:lnTo>
                <a:lnTo>
                  <a:pt x="5354537" y="123321"/>
                </a:lnTo>
                <a:lnTo>
                  <a:pt x="5354211" y="128519"/>
                </a:lnTo>
                <a:lnTo>
                  <a:pt x="5358443" y="136205"/>
                </a:lnTo>
                <a:lnTo>
                  <a:pt x="5365714" y="143135"/>
                </a:lnTo>
                <a:lnTo>
                  <a:pt x="5373852" y="147573"/>
                </a:lnTo>
                <a:lnTo>
                  <a:pt x="5374287" y="152553"/>
                </a:lnTo>
                <a:lnTo>
                  <a:pt x="5372116" y="156669"/>
                </a:lnTo>
                <a:lnTo>
                  <a:pt x="5365714" y="160241"/>
                </a:lnTo>
                <a:lnTo>
                  <a:pt x="5356382" y="166955"/>
                </a:lnTo>
                <a:lnTo>
                  <a:pt x="5350521" y="172693"/>
                </a:lnTo>
                <a:lnTo>
                  <a:pt x="5350087" y="177348"/>
                </a:lnTo>
                <a:lnTo>
                  <a:pt x="5346723" y="182113"/>
                </a:lnTo>
                <a:lnTo>
                  <a:pt x="5338693" y="186768"/>
                </a:lnTo>
                <a:lnTo>
                  <a:pt x="5333267" y="187526"/>
                </a:lnTo>
                <a:lnTo>
                  <a:pt x="5327299" y="186552"/>
                </a:lnTo>
                <a:lnTo>
                  <a:pt x="5321005" y="182870"/>
                </a:lnTo>
                <a:lnTo>
                  <a:pt x="5317099" y="182113"/>
                </a:lnTo>
                <a:lnTo>
                  <a:pt x="5314820" y="184494"/>
                </a:lnTo>
                <a:lnTo>
                  <a:pt x="5311022" y="184494"/>
                </a:lnTo>
                <a:lnTo>
                  <a:pt x="5303968" y="179406"/>
                </a:lnTo>
                <a:lnTo>
                  <a:pt x="5302666" y="174750"/>
                </a:lnTo>
                <a:lnTo>
                  <a:pt x="5300604" y="173127"/>
                </a:lnTo>
                <a:lnTo>
                  <a:pt x="5294310" y="175507"/>
                </a:lnTo>
                <a:lnTo>
                  <a:pt x="5291489" y="180272"/>
                </a:lnTo>
                <a:lnTo>
                  <a:pt x="5289101" y="181138"/>
                </a:lnTo>
                <a:lnTo>
                  <a:pt x="5287690" y="177781"/>
                </a:lnTo>
                <a:lnTo>
                  <a:pt x="5289209" y="173668"/>
                </a:lnTo>
                <a:lnTo>
                  <a:pt x="5291597" y="168578"/>
                </a:lnTo>
                <a:lnTo>
                  <a:pt x="5293225" y="155478"/>
                </a:lnTo>
                <a:lnTo>
                  <a:pt x="5292574" y="150822"/>
                </a:lnTo>
                <a:lnTo>
                  <a:pt x="5288341" y="148223"/>
                </a:lnTo>
                <a:lnTo>
                  <a:pt x="5285086" y="143460"/>
                </a:lnTo>
                <a:lnTo>
                  <a:pt x="5284218" y="124513"/>
                </a:lnTo>
                <a:lnTo>
                  <a:pt x="5285086" y="119640"/>
                </a:lnTo>
                <a:lnTo>
                  <a:pt x="5290077" y="113469"/>
                </a:lnTo>
                <a:lnTo>
                  <a:pt x="5294310" y="106323"/>
                </a:lnTo>
                <a:lnTo>
                  <a:pt x="5298325" y="100585"/>
                </a:lnTo>
                <a:lnTo>
                  <a:pt x="5298434" y="94197"/>
                </a:lnTo>
                <a:lnTo>
                  <a:pt x="5297457" y="90515"/>
                </a:lnTo>
                <a:lnTo>
                  <a:pt x="5298542" y="86618"/>
                </a:lnTo>
                <a:close/>
                <a:moveTo>
                  <a:pt x="3409917" y="76439"/>
                </a:moveTo>
                <a:lnTo>
                  <a:pt x="3412522" y="76439"/>
                </a:lnTo>
                <a:lnTo>
                  <a:pt x="3414366" y="79254"/>
                </a:lnTo>
                <a:lnTo>
                  <a:pt x="3413390" y="83477"/>
                </a:lnTo>
                <a:lnTo>
                  <a:pt x="3411979" y="85100"/>
                </a:lnTo>
                <a:lnTo>
                  <a:pt x="3410352" y="84560"/>
                </a:lnTo>
                <a:lnTo>
                  <a:pt x="3408507" y="80337"/>
                </a:lnTo>
                <a:close/>
                <a:moveTo>
                  <a:pt x="2566637" y="73841"/>
                </a:moveTo>
                <a:lnTo>
                  <a:pt x="2573040" y="79579"/>
                </a:lnTo>
                <a:lnTo>
                  <a:pt x="2574775" y="78712"/>
                </a:lnTo>
                <a:lnTo>
                  <a:pt x="2574775" y="75898"/>
                </a:lnTo>
                <a:lnTo>
                  <a:pt x="2576838" y="74165"/>
                </a:lnTo>
                <a:lnTo>
                  <a:pt x="2583566" y="77305"/>
                </a:lnTo>
                <a:lnTo>
                  <a:pt x="2584976" y="81420"/>
                </a:lnTo>
                <a:lnTo>
                  <a:pt x="2592030" y="86399"/>
                </a:lnTo>
                <a:lnTo>
                  <a:pt x="2593223" y="91381"/>
                </a:lnTo>
                <a:lnTo>
                  <a:pt x="2597347" y="96577"/>
                </a:lnTo>
                <a:lnTo>
                  <a:pt x="2597021" y="102857"/>
                </a:lnTo>
                <a:lnTo>
                  <a:pt x="2593223" y="110436"/>
                </a:lnTo>
                <a:lnTo>
                  <a:pt x="2593766" y="116174"/>
                </a:lnTo>
                <a:lnTo>
                  <a:pt x="2593006" y="123862"/>
                </a:lnTo>
                <a:lnTo>
                  <a:pt x="2590510" y="129491"/>
                </a:lnTo>
                <a:lnTo>
                  <a:pt x="2590836" y="136854"/>
                </a:lnTo>
                <a:lnTo>
                  <a:pt x="2589751" y="146923"/>
                </a:lnTo>
                <a:lnTo>
                  <a:pt x="2592355" y="153311"/>
                </a:lnTo>
                <a:lnTo>
                  <a:pt x="2591704" y="160349"/>
                </a:lnTo>
                <a:lnTo>
                  <a:pt x="2593223" y="161648"/>
                </a:lnTo>
                <a:lnTo>
                  <a:pt x="2594200" y="164354"/>
                </a:lnTo>
                <a:lnTo>
                  <a:pt x="2596479" y="160132"/>
                </a:lnTo>
                <a:lnTo>
                  <a:pt x="2601688" y="158508"/>
                </a:lnTo>
                <a:lnTo>
                  <a:pt x="2605920" y="158508"/>
                </a:lnTo>
                <a:lnTo>
                  <a:pt x="2608742" y="163488"/>
                </a:lnTo>
                <a:lnTo>
                  <a:pt x="2610369" y="169335"/>
                </a:lnTo>
                <a:lnTo>
                  <a:pt x="2607330" y="171176"/>
                </a:lnTo>
                <a:lnTo>
                  <a:pt x="2605269" y="169551"/>
                </a:lnTo>
                <a:lnTo>
                  <a:pt x="2604509" y="172150"/>
                </a:lnTo>
                <a:lnTo>
                  <a:pt x="2606029" y="176480"/>
                </a:lnTo>
                <a:lnTo>
                  <a:pt x="2601471" y="184709"/>
                </a:lnTo>
                <a:lnTo>
                  <a:pt x="2601579" y="188932"/>
                </a:lnTo>
                <a:lnTo>
                  <a:pt x="2603207" y="190990"/>
                </a:lnTo>
                <a:lnTo>
                  <a:pt x="2603099" y="193588"/>
                </a:lnTo>
                <a:lnTo>
                  <a:pt x="2604401" y="194561"/>
                </a:lnTo>
                <a:lnTo>
                  <a:pt x="2606788" y="192722"/>
                </a:lnTo>
                <a:lnTo>
                  <a:pt x="2610044" y="188607"/>
                </a:lnTo>
                <a:lnTo>
                  <a:pt x="2607439" y="185575"/>
                </a:lnTo>
                <a:lnTo>
                  <a:pt x="2608525" y="180379"/>
                </a:lnTo>
                <a:lnTo>
                  <a:pt x="2613733" y="170092"/>
                </a:lnTo>
                <a:lnTo>
                  <a:pt x="2617857" y="168144"/>
                </a:lnTo>
                <a:lnTo>
                  <a:pt x="2622089" y="169443"/>
                </a:lnTo>
                <a:lnTo>
                  <a:pt x="2621980" y="173232"/>
                </a:lnTo>
                <a:lnTo>
                  <a:pt x="2623283" y="174965"/>
                </a:lnTo>
                <a:lnTo>
                  <a:pt x="2623391" y="180486"/>
                </a:lnTo>
                <a:lnTo>
                  <a:pt x="2618834" y="185143"/>
                </a:lnTo>
                <a:lnTo>
                  <a:pt x="2619051" y="190123"/>
                </a:lnTo>
                <a:lnTo>
                  <a:pt x="2616989" y="193263"/>
                </a:lnTo>
                <a:lnTo>
                  <a:pt x="2613625" y="192938"/>
                </a:lnTo>
                <a:lnTo>
                  <a:pt x="2610803" y="194453"/>
                </a:lnTo>
                <a:lnTo>
                  <a:pt x="2609067" y="197161"/>
                </a:lnTo>
                <a:lnTo>
                  <a:pt x="2610803" y="199543"/>
                </a:lnTo>
                <a:lnTo>
                  <a:pt x="2613300" y="197810"/>
                </a:lnTo>
                <a:lnTo>
                  <a:pt x="2617097" y="196836"/>
                </a:lnTo>
                <a:lnTo>
                  <a:pt x="2618725" y="198134"/>
                </a:lnTo>
                <a:lnTo>
                  <a:pt x="2616446" y="205930"/>
                </a:lnTo>
                <a:lnTo>
                  <a:pt x="2611237" y="215241"/>
                </a:lnTo>
                <a:lnTo>
                  <a:pt x="2608742" y="217190"/>
                </a:lnTo>
                <a:lnTo>
                  <a:pt x="2600928" y="225744"/>
                </a:lnTo>
                <a:lnTo>
                  <a:pt x="2595936" y="226610"/>
                </a:lnTo>
                <a:lnTo>
                  <a:pt x="2584759" y="231699"/>
                </a:lnTo>
                <a:lnTo>
                  <a:pt x="2583349" y="233972"/>
                </a:lnTo>
                <a:lnTo>
                  <a:pt x="2586821" y="234622"/>
                </a:lnTo>
                <a:lnTo>
                  <a:pt x="2590836" y="231915"/>
                </a:lnTo>
                <a:lnTo>
                  <a:pt x="2595068" y="231699"/>
                </a:lnTo>
                <a:lnTo>
                  <a:pt x="2597998" y="233864"/>
                </a:lnTo>
                <a:lnTo>
                  <a:pt x="2598975" y="230832"/>
                </a:lnTo>
                <a:lnTo>
                  <a:pt x="2601471" y="229208"/>
                </a:lnTo>
                <a:lnTo>
                  <a:pt x="2603750" y="229534"/>
                </a:lnTo>
                <a:lnTo>
                  <a:pt x="2604726" y="232998"/>
                </a:lnTo>
                <a:lnTo>
                  <a:pt x="2610044" y="237870"/>
                </a:lnTo>
                <a:lnTo>
                  <a:pt x="2609501" y="241551"/>
                </a:lnTo>
                <a:lnTo>
                  <a:pt x="2604726" y="244475"/>
                </a:lnTo>
                <a:lnTo>
                  <a:pt x="2601037" y="249022"/>
                </a:lnTo>
                <a:lnTo>
                  <a:pt x="2601037" y="252162"/>
                </a:lnTo>
                <a:lnTo>
                  <a:pt x="2603641" y="252162"/>
                </a:lnTo>
                <a:lnTo>
                  <a:pt x="2609501" y="245774"/>
                </a:lnTo>
                <a:lnTo>
                  <a:pt x="2612431" y="238953"/>
                </a:lnTo>
                <a:lnTo>
                  <a:pt x="2614168" y="238736"/>
                </a:lnTo>
                <a:lnTo>
                  <a:pt x="2614493" y="249997"/>
                </a:lnTo>
                <a:lnTo>
                  <a:pt x="2612540" y="255952"/>
                </a:lnTo>
                <a:lnTo>
                  <a:pt x="2615578" y="259199"/>
                </a:lnTo>
                <a:lnTo>
                  <a:pt x="2614818" y="262664"/>
                </a:lnTo>
                <a:lnTo>
                  <a:pt x="2614818" y="265696"/>
                </a:lnTo>
                <a:lnTo>
                  <a:pt x="2612865" y="269918"/>
                </a:lnTo>
                <a:lnTo>
                  <a:pt x="2608307" y="271650"/>
                </a:lnTo>
                <a:lnTo>
                  <a:pt x="2604944" y="275006"/>
                </a:lnTo>
                <a:lnTo>
                  <a:pt x="2600819" y="275331"/>
                </a:lnTo>
                <a:lnTo>
                  <a:pt x="2593006" y="277930"/>
                </a:lnTo>
                <a:lnTo>
                  <a:pt x="2586279" y="277064"/>
                </a:lnTo>
                <a:lnTo>
                  <a:pt x="2581829" y="277172"/>
                </a:lnTo>
                <a:lnTo>
                  <a:pt x="2576838" y="283885"/>
                </a:lnTo>
                <a:lnTo>
                  <a:pt x="2573040" y="285509"/>
                </a:lnTo>
                <a:lnTo>
                  <a:pt x="2573040" y="279770"/>
                </a:lnTo>
                <a:lnTo>
                  <a:pt x="2574450" y="278256"/>
                </a:lnTo>
                <a:lnTo>
                  <a:pt x="2573907" y="275331"/>
                </a:lnTo>
                <a:lnTo>
                  <a:pt x="2570869" y="276523"/>
                </a:lnTo>
                <a:lnTo>
                  <a:pt x="2567831" y="281286"/>
                </a:lnTo>
                <a:lnTo>
                  <a:pt x="2567722" y="287349"/>
                </a:lnTo>
                <a:lnTo>
                  <a:pt x="2564792" y="292656"/>
                </a:lnTo>
                <a:lnTo>
                  <a:pt x="2555676" y="300233"/>
                </a:lnTo>
                <a:lnTo>
                  <a:pt x="2552095" y="308029"/>
                </a:lnTo>
                <a:lnTo>
                  <a:pt x="2549491" y="310736"/>
                </a:lnTo>
                <a:lnTo>
                  <a:pt x="2547864" y="305214"/>
                </a:lnTo>
                <a:lnTo>
                  <a:pt x="2545801" y="301100"/>
                </a:lnTo>
                <a:lnTo>
                  <a:pt x="2546669" y="294279"/>
                </a:lnTo>
                <a:lnTo>
                  <a:pt x="2550793" y="288866"/>
                </a:lnTo>
                <a:lnTo>
                  <a:pt x="2554157" y="281178"/>
                </a:lnTo>
                <a:lnTo>
                  <a:pt x="2557413" y="279988"/>
                </a:lnTo>
                <a:lnTo>
                  <a:pt x="2556545" y="277605"/>
                </a:lnTo>
                <a:lnTo>
                  <a:pt x="2556870" y="273275"/>
                </a:lnTo>
                <a:lnTo>
                  <a:pt x="2554592" y="277064"/>
                </a:lnTo>
                <a:lnTo>
                  <a:pt x="2549925" y="278580"/>
                </a:lnTo>
                <a:lnTo>
                  <a:pt x="2547864" y="286484"/>
                </a:lnTo>
                <a:lnTo>
                  <a:pt x="2541895" y="291356"/>
                </a:lnTo>
                <a:lnTo>
                  <a:pt x="2541895" y="295795"/>
                </a:lnTo>
                <a:lnTo>
                  <a:pt x="2543414" y="298393"/>
                </a:lnTo>
                <a:lnTo>
                  <a:pt x="2543414" y="304890"/>
                </a:lnTo>
                <a:lnTo>
                  <a:pt x="2538314" y="306946"/>
                </a:lnTo>
                <a:lnTo>
                  <a:pt x="2538314" y="308354"/>
                </a:lnTo>
                <a:lnTo>
                  <a:pt x="2542871" y="309329"/>
                </a:lnTo>
                <a:lnTo>
                  <a:pt x="2543414" y="314200"/>
                </a:lnTo>
                <a:lnTo>
                  <a:pt x="2539290" y="317125"/>
                </a:lnTo>
                <a:lnTo>
                  <a:pt x="2534298" y="321888"/>
                </a:lnTo>
                <a:lnTo>
                  <a:pt x="2530284" y="321022"/>
                </a:lnTo>
                <a:lnTo>
                  <a:pt x="2530284" y="318098"/>
                </a:lnTo>
                <a:lnTo>
                  <a:pt x="2532562" y="312468"/>
                </a:lnTo>
                <a:lnTo>
                  <a:pt x="2531694" y="308462"/>
                </a:lnTo>
                <a:lnTo>
                  <a:pt x="2528981" y="310195"/>
                </a:lnTo>
                <a:lnTo>
                  <a:pt x="2525509" y="322104"/>
                </a:lnTo>
                <a:lnTo>
                  <a:pt x="2517913" y="330008"/>
                </a:lnTo>
                <a:lnTo>
                  <a:pt x="2515200" y="335096"/>
                </a:lnTo>
                <a:lnTo>
                  <a:pt x="2512052" y="337912"/>
                </a:lnTo>
                <a:lnTo>
                  <a:pt x="2510859" y="336180"/>
                </a:lnTo>
                <a:lnTo>
                  <a:pt x="2511510" y="333257"/>
                </a:lnTo>
                <a:lnTo>
                  <a:pt x="2509339" y="328601"/>
                </a:lnTo>
                <a:lnTo>
                  <a:pt x="2511184" y="319831"/>
                </a:lnTo>
                <a:lnTo>
                  <a:pt x="2509774" y="315933"/>
                </a:lnTo>
                <a:lnTo>
                  <a:pt x="2511076" y="309329"/>
                </a:lnTo>
                <a:lnTo>
                  <a:pt x="2516502" y="300233"/>
                </a:lnTo>
                <a:lnTo>
                  <a:pt x="2516502" y="294062"/>
                </a:lnTo>
                <a:lnTo>
                  <a:pt x="2514332" y="299260"/>
                </a:lnTo>
                <a:lnTo>
                  <a:pt x="2509014" y="304565"/>
                </a:lnTo>
                <a:lnTo>
                  <a:pt x="2507061" y="311061"/>
                </a:lnTo>
                <a:lnTo>
                  <a:pt x="2507603" y="320913"/>
                </a:lnTo>
                <a:lnTo>
                  <a:pt x="2503480" y="332173"/>
                </a:lnTo>
                <a:lnTo>
                  <a:pt x="2501526" y="333473"/>
                </a:lnTo>
                <a:lnTo>
                  <a:pt x="2500550" y="328492"/>
                </a:lnTo>
                <a:lnTo>
                  <a:pt x="2501743" y="324270"/>
                </a:lnTo>
                <a:lnTo>
                  <a:pt x="2500550" y="320155"/>
                </a:lnTo>
                <a:lnTo>
                  <a:pt x="2493930" y="319614"/>
                </a:lnTo>
                <a:lnTo>
                  <a:pt x="2495015" y="323837"/>
                </a:lnTo>
                <a:lnTo>
                  <a:pt x="2493062" y="328275"/>
                </a:lnTo>
                <a:lnTo>
                  <a:pt x="2488830" y="330008"/>
                </a:lnTo>
                <a:lnTo>
                  <a:pt x="2479172" y="323296"/>
                </a:lnTo>
                <a:lnTo>
                  <a:pt x="2472769" y="321239"/>
                </a:lnTo>
                <a:lnTo>
                  <a:pt x="2472769" y="314200"/>
                </a:lnTo>
                <a:lnTo>
                  <a:pt x="2469188" y="313011"/>
                </a:lnTo>
                <a:lnTo>
                  <a:pt x="2466258" y="315500"/>
                </a:lnTo>
                <a:lnTo>
                  <a:pt x="2465933" y="304890"/>
                </a:lnTo>
                <a:lnTo>
                  <a:pt x="2467994" y="301641"/>
                </a:lnTo>
                <a:lnTo>
                  <a:pt x="2464848" y="303374"/>
                </a:lnTo>
                <a:lnTo>
                  <a:pt x="2463003" y="300450"/>
                </a:lnTo>
                <a:lnTo>
                  <a:pt x="2463654" y="292005"/>
                </a:lnTo>
                <a:lnTo>
                  <a:pt x="2469839" y="291140"/>
                </a:lnTo>
                <a:lnTo>
                  <a:pt x="2473854" y="295578"/>
                </a:lnTo>
                <a:lnTo>
                  <a:pt x="2476350" y="293737"/>
                </a:lnTo>
                <a:lnTo>
                  <a:pt x="2480148" y="292872"/>
                </a:lnTo>
                <a:lnTo>
                  <a:pt x="2476784" y="291789"/>
                </a:lnTo>
                <a:lnTo>
                  <a:pt x="2473529" y="286484"/>
                </a:lnTo>
                <a:lnTo>
                  <a:pt x="2470707" y="286158"/>
                </a:lnTo>
                <a:lnTo>
                  <a:pt x="2469188" y="287999"/>
                </a:lnTo>
                <a:lnTo>
                  <a:pt x="2465716" y="287025"/>
                </a:lnTo>
                <a:lnTo>
                  <a:pt x="2465065" y="280962"/>
                </a:lnTo>
                <a:lnTo>
                  <a:pt x="2467778" y="270460"/>
                </a:lnTo>
                <a:lnTo>
                  <a:pt x="2470707" y="270893"/>
                </a:lnTo>
                <a:lnTo>
                  <a:pt x="2473529" y="278364"/>
                </a:lnTo>
                <a:lnTo>
                  <a:pt x="2475157" y="276198"/>
                </a:lnTo>
                <a:lnTo>
                  <a:pt x="2475374" y="270893"/>
                </a:lnTo>
                <a:lnTo>
                  <a:pt x="2470056" y="266020"/>
                </a:lnTo>
                <a:lnTo>
                  <a:pt x="2471359" y="257575"/>
                </a:lnTo>
                <a:lnTo>
                  <a:pt x="2474614" y="254869"/>
                </a:lnTo>
                <a:lnTo>
                  <a:pt x="2481885" y="254544"/>
                </a:lnTo>
                <a:lnTo>
                  <a:pt x="2485140" y="251079"/>
                </a:lnTo>
                <a:lnTo>
                  <a:pt x="2487962" y="249022"/>
                </a:lnTo>
                <a:lnTo>
                  <a:pt x="2494473" y="254869"/>
                </a:lnTo>
                <a:lnTo>
                  <a:pt x="2499139" y="256384"/>
                </a:lnTo>
                <a:lnTo>
                  <a:pt x="2501852" y="259849"/>
                </a:lnTo>
                <a:lnTo>
                  <a:pt x="2508254" y="260174"/>
                </a:lnTo>
                <a:lnTo>
                  <a:pt x="2517587" y="261364"/>
                </a:lnTo>
                <a:lnTo>
                  <a:pt x="2520734" y="262989"/>
                </a:lnTo>
                <a:lnTo>
                  <a:pt x="2531043" y="261040"/>
                </a:lnTo>
                <a:lnTo>
                  <a:pt x="2527787" y="258874"/>
                </a:lnTo>
                <a:lnTo>
                  <a:pt x="2518238" y="258874"/>
                </a:lnTo>
                <a:lnTo>
                  <a:pt x="2508797" y="257575"/>
                </a:lnTo>
                <a:lnTo>
                  <a:pt x="2502611" y="254652"/>
                </a:lnTo>
                <a:lnTo>
                  <a:pt x="2502937" y="251945"/>
                </a:lnTo>
                <a:lnTo>
                  <a:pt x="2508797" y="249671"/>
                </a:lnTo>
                <a:lnTo>
                  <a:pt x="2515308" y="254002"/>
                </a:lnTo>
                <a:lnTo>
                  <a:pt x="2520191" y="253461"/>
                </a:lnTo>
                <a:lnTo>
                  <a:pt x="2529958" y="253895"/>
                </a:lnTo>
                <a:lnTo>
                  <a:pt x="2528547" y="251729"/>
                </a:lnTo>
                <a:lnTo>
                  <a:pt x="2517262" y="249022"/>
                </a:lnTo>
                <a:lnTo>
                  <a:pt x="2511727" y="245124"/>
                </a:lnTo>
                <a:lnTo>
                  <a:pt x="2506518" y="246316"/>
                </a:lnTo>
                <a:lnTo>
                  <a:pt x="2502937" y="245774"/>
                </a:lnTo>
                <a:lnTo>
                  <a:pt x="2502937" y="241768"/>
                </a:lnTo>
                <a:lnTo>
                  <a:pt x="2507278" y="241443"/>
                </a:lnTo>
                <a:lnTo>
                  <a:pt x="2505541" y="238736"/>
                </a:lnTo>
                <a:lnTo>
                  <a:pt x="2498813" y="238844"/>
                </a:lnTo>
                <a:lnTo>
                  <a:pt x="2495884" y="237545"/>
                </a:lnTo>
                <a:lnTo>
                  <a:pt x="2498271" y="234946"/>
                </a:lnTo>
                <a:lnTo>
                  <a:pt x="2498162" y="232132"/>
                </a:lnTo>
                <a:lnTo>
                  <a:pt x="2493605" y="235488"/>
                </a:lnTo>
                <a:lnTo>
                  <a:pt x="2490892" y="235271"/>
                </a:lnTo>
                <a:lnTo>
                  <a:pt x="2486876" y="239061"/>
                </a:lnTo>
                <a:lnTo>
                  <a:pt x="2483404" y="239061"/>
                </a:lnTo>
                <a:lnTo>
                  <a:pt x="2481559" y="236788"/>
                </a:lnTo>
                <a:lnTo>
                  <a:pt x="2484163" y="232024"/>
                </a:lnTo>
                <a:lnTo>
                  <a:pt x="2488396" y="231807"/>
                </a:lnTo>
                <a:lnTo>
                  <a:pt x="2489156" y="227909"/>
                </a:lnTo>
                <a:lnTo>
                  <a:pt x="2486876" y="225419"/>
                </a:lnTo>
                <a:lnTo>
                  <a:pt x="2482970" y="229642"/>
                </a:lnTo>
                <a:lnTo>
                  <a:pt x="2477110" y="229208"/>
                </a:lnTo>
                <a:lnTo>
                  <a:pt x="2473963" y="231157"/>
                </a:lnTo>
                <a:lnTo>
                  <a:pt x="2471359" y="228776"/>
                </a:lnTo>
                <a:lnTo>
                  <a:pt x="2471792" y="224986"/>
                </a:lnTo>
                <a:lnTo>
                  <a:pt x="2474505" y="223795"/>
                </a:lnTo>
                <a:lnTo>
                  <a:pt x="2475157" y="221196"/>
                </a:lnTo>
                <a:lnTo>
                  <a:pt x="2472552" y="217948"/>
                </a:lnTo>
                <a:lnTo>
                  <a:pt x="2473312" y="214267"/>
                </a:lnTo>
                <a:lnTo>
                  <a:pt x="2479497" y="206038"/>
                </a:lnTo>
                <a:lnTo>
                  <a:pt x="2483946" y="205714"/>
                </a:lnTo>
                <a:lnTo>
                  <a:pt x="2486443" y="206904"/>
                </a:lnTo>
                <a:lnTo>
                  <a:pt x="2493605" y="206688"/>
                </a:lnTo>
                <a:lnTo>
                  <a:pt x="2498597" y="208420"/>
                </a:lnTo>
                <a:lnTo>
                  <a:pt x="2501852" y="206580"/>
                </a:lnTo>
                <a:lnTo>
                  <a:pt x="2501852" y="204522"/>
                </a:lnTo>
                <a:lnTo>
                  <a:pt x="2497620" y="205930"/>
                </a:lnTo>
                <a:lnTo>
                  <a:pt x="2493496" y="203657"/>
                </a:lnTo>
                <a:lnTo>
                  <a:pt x="2486226" y="203115"/>
                </a:lnTo>
                <a:lnTo>
                  <a:pt x="2483078" y="200408"/>
                </a:lnTo>
                <a:lnTo>
                  <a:pt x="2482970" y="190231"/>
                </a:lnTo>
                <a:lnTo>
                  <a:pt x="2485683" y="188715"/>
                </a:lnTo>
                <a:lnTo>
                  <a:pt x="2485683" y="182327"/>
                </a:lnTo>
                <a:lnTo>
                  <a:pt x="2488613" y="183843"/>
                </a:lnTo>
                <a:lnTo>
                  <a:pt x="2492302" y="181677"/>
                </a:lnTo>
                <a:lnTo>
                  <a:pt x="2490024" y="174423"/>
                </a:lnTo>
                <a:lnTo>
                  <a:pt x="2492302" y="171825"/>
                </a:lnTo>
                <a:lnTo>
                  <a:pt x="2491543" y="169551"/>
                </a:lnTo>
                <a:lnTo>
                  <a:pt x="2493605" y="164463"/>
                </a:lnTo>
                <a:lnTo>
                  <a:pt x="2495341" y="164463"/>
                </a:lnTo>
                <a:lnTo>
                  <a:pt x="2496860" y="167061"/>
                </a:lnTo>
                <a:lnTo>
                  <a:pt x="2500333" y="168360"/>
                </a:lnTo>
                <a:lnTo>
                  <a:pt x="2504782" y="174965"/>
                </a:lnTo>
                <a:lnTo>
                  <a:pt x="2517913" y="177672"/>
                </a:lnTo>
                <a:lnTo>
                  <a:pt x="2524098" y="182869"/>
                </a:lnTo>
                <a:lnTo>
                  <a:pt x="2526919" y="182111"/>
                </a:lnTo>
                <a:lnTo>
                  <a:pt x="2528547" y="174965"/>
                </a:lnTo>
                <a:lnTo>
                  <a:pt x="2532562" y="172041"/>
                </a:lnTo>
                <a:lnTo>
                  <a:pt x="2532020" y="168794"/>
                </a:lnTo>
                <a:lnTo>
                  <a:pt x="2529632" y="168577"/>
                </a:lnTo>
                <a:lnTo>
                  <a:pt x="2527028" y="171608"/>
                </a:lnTo>
                <a:lnTo>
                  <a:pt x="2520734" y="171825"/>
                </a:lnTo>
                <a:lnTo>
                  <a:pt x="2516610" y="169010"/>
                </a:lnTo>
                <a:lnTo>
                  <a:pt x="2514657" y="165221"/>
                </a:lnTo>
                <a:lnTo>
                  <a:pt x="2508797" y="161756"/>
                </a:lnTo>
                <a:lnTo>
                  <a:pt x="2514332" y="161864"/>
                </a:lnTo>
                <a:lnTo>
                  <a:pt x="2515850" y="161215"/>
                </a:lnTo>
                <a:lnTo>
                  <a:pt x="2513789" y="158725"/>
                </a:lnTo>
                <a:lnTo>
                  <a:pt x="2508037" y="157858"/>
                </a:lnTo>
                <a:lnTo>
                  <a:pt x="2504348" y="155043"/>
                </a:lnTo>
                <a:lnTo>
                  <a:pt x="2502286" y="148980"/>
                </a:lnTo>
                <a:lnTo>
                  <a:pt x="2503263" y="143891"/>
                </a:lnTo>
                <a:lnTo>
                  <a:pt x="2500658" y="137828"/>
                </a:lnTo>
                <a:lnTo>
                  <a:pt x="2501960" y="135338"/>
                </a:lnTo>
                <a:lnTo>
                  <a:pt x="2504999" y="135988"/>
                </a:lnTo>
                <a:lnTo>
                  <a:pt x="2508254" y="139777"/>
                </a:lnTo>
                <a:lnTo>
                  <a:pt x="2509991" y="139235"/>
                </a:lnTo>
                <a:lnTo>
                  <a:pt x="2515308" y="141076"/>
                </a:lnTo>
                <a:lnTo>
                  <a:pt x="2518781" y="143458"/>
                </a:lnTo>
                <a:lnTo>
                  <a:pt x="2518781" y="146598"/>
                </a:lnTo>
                <a:lnTo>
                  <a:pt x="2520843" y="148114"/>
                </a:lnTo>
                <a:lnTo>
                  <a:pt x="2522904" y="144109"/>
                </a:lnTo>
                <a:lnTo>
                  <a:pt x="2520300" y="139886"/>
                </a:lnTo>
                <a:lnTo>
                  <a:pt x="2520843" y="135554"/>
                </a:lnTo>
                <a:lnTo>
                  <a:pt x="2525292" y="133172"/>
                </a:lnTo>
                <a:lnTo>
                  <a:pt x="2528547" y="133821"/>
                </a:lnTo>
                <a:lnTo>
                  <a:pt x="2533647" y="137503"/>
                </a:lnTo>
                <a:lnTo>
                  <a:pt x="2538314" y="138153"/>
                </a:lnTo>
                <a:lnTo>
                  <a:pt x="2541678" y="140860"/>
                </a:lnTo>
                <a:lnTo>
                  <a:pt x="2544825" y="141076"/>
                </a:lnTo>
                <a:lnTo>
                  <a:pt x="2544933" y="137828"/>
                </a:lnTo>
                <a:lnTo>
                  <a:pt x="2542329" y="135229"/>
                </a:lnTo>
                <a:lnTo>
                  <a:pt x="2543306" y="131440"/>
                </a:lnTo>
                <a:lnTo>
                  <a:pt x="2546887" y="131765"/>
                </a:lnTo>
                <a:lnTo>
                  <a:pt x="2546887" y="129383"/>
                </a:lnTo>
                <a:lnTo>
                  <a:pt x="2541569" y="126243"/>
                </a:lnTo>
                <a:lnTo>
                  <a:pt x="2540267" y="120830"/>
                </a:lnTo>
                <a:lnTo>
                  <a:pt x="2536360" y="119422"/>
                </a:lnTo>
                <a:lnTo>
                  <a:pt x="2535818" y="116499"/>
                </a:lnTo>
                <a:lnTo>
                  <a:pt x="2539073" y="113576"/>
                </a:lnTo>
                <a:lnTo>
                  <a:pt x="2541353" y="107187"/>
                </a:lnTo>
                <a:lnTo>
                  <a:pt x="2548406" y="103615"/>
                </a:lnTo>
                <a:lnTo>
                  <a:pt x="2554917" y="110436"/>
                </a:lnTo>
                <a:lnTo>
                  <a:pt x="2558715" y="109136"/>
                </a:lnTo>
                <a:lnTo>
                  <a:pt x="2562513" y="105456"/>
                </a:lnTo>
                <a:lnTo>
                  <a:pt x="2559258" y="105022"/>
                </a:lnTo>
                <a:lnTo>
                  <a:pt x="2556870" y="100799"/>
                </a:lnTo>
                <a:lnTo>
                  <a:pt x="2561645" y="101883"/>
                </a:lnTo>
                <a:lnTo>
                  <a:pt x="2565986" y="101341"/>
                </a:lnTo>
                <a:lnTo>
                  <a:pt x="2570652" y="105130"/>
                </a:lnTo>
                <a:lnTo>
                  <a:pt x="2574233" y="105130"/>
                </a:lnTo>
                <a:lnTo>
                  <a:pt x="2581504" y="98093"/>
                </a:lnTo>
                <a:lnTo>
                  <a:pt x="2581721" y="94952"/>
                </a:lnTo>
                <a:lnTo>
                  <a:pt x="2577706" y="94303"/>
                </a:lnTo>
                <a:lnTo>
                  <a:pt x="2575970" y="90514"/>
                </a:lnTo>
                <a:lnTo>
                  <a:pt x="2570327" y="87807"/>
                </a:lnTo>
                <a:lnTo>
                  <a:pt x="2566202" y="89106"/>
                </a:lnTo>
                <a:lnTo>
                  <a:pt x="2560994" y="89323"/>
                </a:lnTo>
                <a:lnTo>
                  <a:pt x="2558064" y="86183"/>
                </a:lnTo>
                <a:lnTo>
                  <a:pt x="2561319" y="79903"/>
                </a:lnTo>
                <a:lnTo>
                  <a:pt x="2561536" y="74924"/>
                </a:lnTo>
                <a:close/>
                <a:moveTo>
                  <a:pt x="3453868" y="68318"/>
                </a:moveTo>
                <a:lnTo>
                  <a:pt x="3459185" y="69619"/>
                </a:lnTo>
                <a:lnTo>
                  <a:pt x="3466781" y="68968"/>
                </a:lnTo>
                <a:lnTo>
                  <a:pt x="3470362" y="70808"/>
                </a:lnTo>
                <a:lnTo>
                  <a:pt x="3471339" y="72324"/>
                </a:lnTo>
                <a:lnTo>
                  <a:pt x="3473292" y="72324"/>
                </a:lnTo>
                <a:lnTo>
                  <a:pt x="3476222" y="70159"/>
                </a:lnTo>
                <a:lnTo>
                  <a:pt x="3480671" y="72000"/>
                </a:lnTo>
                <a:lnTo>
                  <a:pt x="3489136" y="72000"/>
                </a:lnTo>
                <a:lnTo>
                  <a:pt x="3491414" y="74057"/>
                </a:lnTo>
                <a:lnTo>
                  <a:pt x="3494345" y="74057"/>
                </a:lnTo>
                <a:lnTo>
                  <a:pt x="3497491" y="72758"/>
                </a:lnTo>
                <a:lnTo>
                  <a:pt x="3500096" y="74706"/>
                </a:lnTo>
                <a:lnTo>
                  <a:pt x="3501398" y="77522"/>
                </a:lnTo>
                <a:lnTo>
                  <a:pt x="3507801" y="81961"/>
                </a:lnTo>
                <a:lnTo>
                  <a:pt x="3510514" y="80770"/>
                </a:lnTo>
                <a:lnTo>
                  <a:pt x="3510514" y="79254"/>
                </a:lnTo>
                <a:lnTo>
                  <a:pt x="3512901" y="79254"/>
                </a:lnTo>
                <a:lnTo>
                  <a:pt x="3520388" y="84018"/>
                </a:lnTo>
                <a:lnTo>
                  <a:pt x="3523318" y="84018"/>
                </a:lnTo>
                <a:lnTo>
                  <a:pt x="3528419" y="88890"/>
                </a:lnTo>
                <a:lnTo>
                  <a:pt x="3537751" y="89540"/>
                </a:lnTo>
                <a:lnTo>
                  <a:pt x="3540356" y="91163"/>
                </a:lnTo>
                <a:lnTo>
                  <a:pt x="3545564" y="90081"/>
                </a:lnTo>
                <a:lnTo>
                  <a:pt x="3547192" y="91705"/>
                </a:lnTo>
                <a:lnTo>
                  <a:pt x="3549037" y="94195"/>
                </a:lnTo>
                <a:lnTo>
                  <a:pt x="3553595" y="92679"/>
                </a:lnTo>
                <a:lnTo>
                  <a:pt x="3557501" y="93545"/>
                </a:lnTo>
                <a:lnTo>
                  <a:pt x="3561083" y="97010"/>
                </a:lnTo>
                <a:lnTo>
                  <a:pt x="3568570" y="99176"/>
                </a:lnTo>
                <a:lnTo>
                  <a:pt x="3573453" y="102748"/>
                </a:lnTo>
                <a:lnTo>
                  <a:pt x="3575515" y="107187"/>
                </a:lnTo>
                <a:lnTo>
                  <a:pt x="3579096" y="109136"/>
                </a:lnTo>
                <a:lnTo>
                  <a:pt x="3585716" y="113359"/>
                </a:lnTo>
                <a:lnTo>
                  <a:pt x="3585716" y="115957"/>
                </a:lnTo>
                <a:lnTo>
                  <a:pt x="3583111" y="119639"/>
                </a:lnTo>
                <a:lnTo>
                  <a:pt x="3579096" y="119639"/>
                </a:lnTo>
                <a:lnTo>
                  <a:pt x="3575190" y="118882"/>
                </a:lnTo>
                <a:lnTo>
                  <a:pt x="3572042" y="120830"/>
                </a:lnTo>
                <a:lnTo>
                  <a:pt x="3569438" y="123645"/>
                </a:lnTo>
                <a:lnTo>
                  <a:pt x="3565206" y="123645"/>
                </a:lnTo>
                <a:lnTo>
                  <a:pt x="3563578" y="123645"/>
                </a:lnTo>
                <a:lnTo>
                  <a:pt x="3559129" y="124945"/>
                </a:lnTo>
                <a:lnTo>
                  <a:pt x="3554028" y="124945"/>
                </a:lnTo>
                <a:lnTo>
                  <a:pt x="3544913" y="120613"/>
                </a:lnTo>
                <a:lnTo>
                  <a:pt x="3540464" y="119206"/>
                </a:lnTo>
                <a:lnTo>
                  <a:pt x="3537643" y="119206"/>
                </a:lnTo>
                <a:lnTo>
                  <a:pt x="3533627" y="117474"/>
                </a:lnTo>
                <a:lnTo>
                  <a:pt x="3528419" y="117474"/>
                </a:lnTo>
                <a:lnTo>
                  <a:pt x="3526031" y="119422"/>
                </a:lnTo>
                <a:lnTo>
                  <a:pt x="3521908" y="119422"/>
                </a:lnTo>
                <a:lnTo>
                  <a:pt x="3520280" y="117689"/>
                </a:lnTo>
                <a:lnTo>
                  <a:pt x="3515397" y="117689"/>
                </a:lnTo>
                <a:lnTo>
                  <a:pt x="3508343" y="121154"/>
                </a:lnTo>
                <a:lnTo>
                  <a:pt x="3505088" y="122454"/>
                </a:lnTo>
                <a:lnTo>
                  <a:pt x="3501073" y="120938"/>
                </a:lnTo>
                <a:lnTo>
                  <a:pt x="3497383" y="120938"/>
                </a:lnTo>
                <a:lnTo>
                  <a:pt x="3491740" y="123536"/>
                </a:lnTo>
                <a:lnTo>
                  <a:pt x="3485229" y="123536"/>
                </a:lnTo>
                <a:lnTo>
                  <a:pt x="3482625" y="120180"/>
                </a:lnTo>
                <a:lnTo>
                  <a:pt x="3482625" y="115524"/>
                </a:lnTo>
                <a:lnTo>
                  <a:pt x="3487942" y="113901"/>
                </a:lnTo>
                <a:lnTo>
                  <a:pt x="3490221" y="113901"/>
                </a:lnTo>
                <a:lnTo>
                  <a:pt x="3491089" y="111302"/>
                </a:lnTo>
                <a:lnTo>
                  <a:pt x="3489679" y="109677"/>
                </a:lnTo>
                <a:lnTo>
                  <a:pt x="3486206" y="109677"/>
                </a:lnTo>
                <a:lnTo>
                  <a:pt x="3482625" y="110544"/>
                </a:lnTo>
                <a:lnTo>
                  <a:pt x="3478393" y="114225"/>
                </a:lnTo>
                <a:lnTo>
                  <a:pt x="3478393" y="118231"/>
                </a:lnTo>
                <a:lnTo>
                  <a:pt x="3481105" y="121804"/>
                </a:lnTo>
                <a:lnTo>
                  <a:pt x="3483818" y="121804"/>
                </a:lnTo>
                <a:lnTo>
                  <a:pt x="3482733" y="124619"/>
                </a:lnTo>
                <a:lnTo>
                  <a:pt x="3479478" y="127001"/>
                </a:lnTo>
                <a:lnTo>
                  <a:pt x="3476982" y="127001"/>
                </a:lnTo>
                <a:lnTo>
                  <a:pt x="3473400" y="127001"/>
                </a:lnTo>
                <a:lnTo>
                  <a:pt x="3468192" y="127001"/>
                </a:lnTo>
                <a:lnTo>
                  <a:pt x="3466781" y="128409"/>
                </a:lnTo>
                <a:lnTo>
                  <a:pt x="3462006" y="128409"/>
                </a:lnTo>
                <a:lnTo>
                  <a:pt x="3457015" y="127001"/>
                </a:lnTo>
                <a:lnTo>
                  <a:pt x="3450937" y="127001"/>
                </a:lnTo>
                <a:lnTo>
                  <a:pt x="3444969" y="130032"/>
                </a:lnTo>
                <a:lnTo>
                  <a:pt x="3436180" y="135554"/>
                </a:lnTo>
                <a:lnTo>
                  <a:pt x="3435420" y="139128"/>
                </a:lnTo>
                <a:lnTo>
                  <a:pt x="3435420" y="145299"/>
                </a:lnTo>
                <a:lnTo>
                  <a:pt x="3433467" y="148872"/>
                </a:lnTo>
                <a:lnTo>
                  <a:pt x="3433467" y="151579"/>
                </a:lnTo>
                <a:lnTo>
                  <a:pt x="3434769" y="153203"/>
                </a:lnTo>
                <a:lnTo>
                  <a:pt x="3438350" y="151903"/>
                </a:lnTo>
                <a:lnTo>
                  <a:pt x="3438350" y="147464"/>
                </a:lnTo>
                <a:lnTo>
                  <a:pt x="3439435" y="144758"/>
                </a:lnTo>
                <a:lnTo>
                  <a:pt x="3439435" y="142918"/>
                </a:lnTo>
                <a:lnTo>
                  <a:pt x="3441823" y="140860"/>
                </a:lnTo>
                <a:lnTo>
                  <a:pt x="3446706" y="140860"/>
                </a:lnTo>
                <a:lnTo>
                  <a:pt x="3449635" y="140318"/>
                </a:lnTo>
                <a:lnTo>
                  <a:pt x="3450504" y="141835"/>
                </a:lnTo>
                <a:lnTo>
                  <a:pt x="3449419" y="144866"/>
                </a:lnTo>
                <a:lnTo>
                  <a:pt x="3447682" y="148872"/>
                </a:lnTo>
                <a:lnTo>
                  <a:pt x="3447682" y="150496"/>
                </a:lnTo>
                <a:lnTo>
                  <a:pt x="3449093" y="150496"/>
                </a:lnTo>
                <a:lnTo>
                  <a:pt x="3451372" y="147573"/>
                </a:lnTo>
                <a:lnTo>
                  <a:pt x="3453000" y="140752"/>
                </a:lnTo>
                <a:lnTo>
                  <a:pt x="3456147" y="136312"/>
                </a:lnTo>
                <a:cubicBezTo>
                  <a:pt x="3457749" y="135333"/>
                  <a:pt x="3459416" y="134465"/>
                  <a:pt x="3461138" y="133713"/>
                </a:cubicBezTo>
                <a:lnTo>
                  <a:pt x="3464068" y="133713"/>
                </a:lnTo>
                <a:lnTo>
                  <a:pt x="3469928" y="133713"/>
                </a:lnTo>
                <a:lnTo>
                  <a:pt x="3474160" y="133713"/>
                </a:lnTo>
                <a:lnTo>
                  <a:pt x="3477525" y="132523"/>
                </a:lnTo>
                <a:lnTo>
                  <a:pt x="3479261" y="133172"/>
                </a:lnTo>
                <a:lnTo>
                  <a:pt x="3480671" y="136096"/>
                </a:lnTo>
                <a:lnTo>
                  <a:pt x="3483384" y="141942"/>
                </a:lnTo>
                <a:lnTo>
                  <a:pt x="3485446" y="143458"/>
                </a:lnTo>
                <a:lnTo>
                  <a:pt x="3487291" y="143458"/>
                </a:lnTo>
                <a:lnTo>
                  <a:pt x="3487291" y="140643"/>
                </a:lnTo>
                <a:lnTo>
                  <a:pt x="3485772" y="134905"/>
                </a:lnTo>
                <a:lnTo>
                  <a:pt x="3487291" y="133713"/>
                </a:lnTo>
                <a:lnTo>
                  <a:pt x="3492500" y="132848"/>
                </a:lnTo>
                <a:lnTo>
                  <a:pt x="3496406" y="133606"/>
                </a:lnTo>
                <a:lnTo>
                  <a:pt x="3502049" y="132523"/>
                </a:lnTo>
                <a:lnTo>
                  <a:pt x="3507909" y="131982"/>
                </a:lnTo>
                <a:lnTo>
                  <a:pt x="3514637" y="129491"/>
                </a:lnTo>
                <a:lnTo>
                  <a:pt x="3519195" y="127975"/>
                </a:lnTo>
                <a:lnTo>
                  <a:pt x="3527659" y="127218"/>
                </a:lnTo>
                <a:lnTo>
                  <a:pt x="3534062" y="128517"/>
                </a:lnTo>
                <a:lnTo>
                  <a:pt x="3538836" y="131223"/>
                </a:lnTo>
                <a:lnTo>
                  <a:pt x="3543068" y="132307"/>
                </a:lnTo>
                <a:lnTo>
                  <a:pt x="3546324" y="134038"/>
                </a:lnTo>
                <a:lnTo>
                  <a:pt x="3550773" y="135121"/>
                </a:lnTo>
                <a:lnTo>
                  <a:pt x="3554245" y="137720"/>
                </a:lnTo>
                <a:lnTo>
                  <a:pt x="3557067" y="138803"/>
                </a:lnTo>
                <a:lnTo>
                  <a:pt x="3559780" y="137503"/>
                </a:lnTo>
                <a:lnTo>
                  <a:pt x="3563361" y="136638"/>
                </a:lnTo>
                <a:lnTo>
                  <a:pt x="3565423" y="137828"/>
                </a:lnTo>
                <a:lnTo>
                  <a:pt x="3567051" y="140318"/>
                </a:lnTo>
                <a:lnTo>
                  <a:pt x="3569329" y="140318"/>
                </a:lnTo>
                <a:lnTo>
                  <a:pt x="3573345" y="136854"/>
                </a:lnTo>
                <a:lnTo>
                  <a:pt x="3576383" y="136854"/>
                </a:lnTo>
                <a:lnTo>
                  <a:pt x="3580615" y="136854"/>
                </a:lnTo>
                <a:lnTo>
                  <a:pt x="3586909" y="133389"/>
                </a:lnTo>
                <a:lnTo>
                  <a:pt x="3590382" y="129816"/>
                </a:lnTo>
                <a:lnTo>
                  <a:pt x="3592878" y="129167"/>
                </a:lnTo>
                <a:lnTo>
                  <a:pt x="3594831" y="130249"/>
                </a:lnTo>
                <a:lnTo>
                  <a:pt x="3597978" y="134147"/>
                </a:lnTo>
                <a:lnTo>
                  <a:pt x="3601993" y="136854"/>
                </a:lnTo>
                <a:lnTo>
                  <a:pt x="3601993" y="138261"/>
                </a:lnTo>
                <a:lnTo>
                  <a:pt x="3599823" y="140752"/>
                </a:lnTo>
                <a:lnTo>
                  <a:pt x="3599823" y="142918"/>
                </a:lnTo>
                <a:lnTo>
                  <a:pt x="3602101" y="144432"/>
                </a:lnTo>
                <a:lnTo>
                  <a:pt x="3603187" y="146273"/>
                </a:lnTo>
                <a:lnTo>
                  <a:pt x="3603187" y="149305"/>
                </a:lnTo>
                <a:lnTo>
                  <a:pt x="3596784" y="154827"/>
                </a:lnTo>
                <a:lnTo>
                  <a:pt x="3589839" y="156885"/>
                </a:lnTo>
                <a:lnTo>
                  <a:pt x="3586258" y="155801"/>
                </a:lnTo>
                <a:lnTo>
                  <a:pt x="3582351" y="153528"/>
                </a:lnTo>
                <a:lnTo>
                  <a:pt x="3579747" y="150713"/>
                </a:lnTo>
                <a:lnTo>
                  <a:pt x="3578228" y="152011"/>
                </a:lnTo>
                <a:lnTo>
                  <a:pt x="3578228" y="155043"/>
                </a:lnTo>
                <a:lnTo>
                  <a:pt x="3582243" y="158616"/>
                </a:lnTo>
                <a:lnTo>
                  <a:pt x="3582243" y="160457"/>
                </a:lnTo>
                <a:lnTo>
                  <a:pt x="3581592" y="161540"/>
                </a:lnTo>
                <a:lnTo>
                  <a:pt x="3577143" y="160024"/>
                </a:lnTo>
                <a:lnTo>
                  <a:pt x="3574647" y="157425"/>
                </a:lnTo>
                <a:lnTo>
                  <a:pt x="3572151" y="157425"/>
                </a:lnTo>
                <a:lnTo>
                  <a:pt x="3572151" y="160132"/>
                </a:lnTo>
                <a:lnTo>
                  <a:pt x="3573995" y="162947"/>
                </a:lnTo>
                <a:lnTo>
                  <a:pt x="3577468" y="164354"/>
                </a:lnTo>
                <a:lnTo>
                  <a:pt x="3582135" y="164354"/>
                </a:lnTo>
                <a:lnTo>
                  <a:pt x="3587017" y="166519"/>
                </a:lnTo>
                <a:lnTo>
                  <a:pt x="3590599" y="165871"/>
                </a:lnTo>
                <a:lnTo>
                  <a:pt x="3597544" y="162514"/>
                </a:lnTo>
                <a:lnTo>
                  <a:pt x="3600148" y="162514"/>
                </a:lnTo>
                <a:lnTo>
                  <a:pt x="3601993" y="164354"/>
                </a:lnTo>
                <a:lnTo>
                  <a:pt x="3601993" y="162514"/>
                </a:lnTo>
                <a:lnTo>
                  <a:pt x="3601993" y="159374"/>
                </a:lnTo>
                <a:lnTo>
                  <a:pt x="3605682" y="158725"/>
                </a:lnTo>
                <a:lnTo>
                  <a:pt x="3615558" y="158725"/>
                </a:lnTo>
                <a:lnTo>
                  <a:pt x="3617945" y="160348"/>
                </a:lnTo>
                <a:lnTo>
                  <a:pt x="3618596" y="163056"/>
                </a:lnTo>
                <a:lnTo>
                  <a:pt x="3620874" y="164462"/>
                </a:lnTo>
                <a:lnTo>
                  <a:pt x="3623587" y="163705"/>
                </a:lnTo>
                <a:lnTo>
                  <a:pt x="3624781" y="162297"/>
                </a:lnTo>
                <a:lnTo>
                  <a:pt x="3627060" y="163272"/>
                </a:lnTo>
                <a:lnTo>
                  <a:pt x="3628145" y="166412"/>
                </a:lnTo>
                <a:lnTo>
                  <a:pt x="3630967" y="169227"/>
                </a:lnTo>
                <a:lnTo>
                  <a:pt x="3637478" y="170309"/>
                </a:lnTo>
                <a:lnTo>
                  <a:pt x="3639974" y="172583"/>
                </a:lnTo>
                <a:lnTo>
                  <a:pt x="3640625" y="175290"/>
                </a:lnTo>
                <a:lnTo>
                  <a:pt x="3645183" y="179188"/>
                </a:lnTo>
                <a:lnTo>
                  <a:pt x="3650825" y="181462"/>
                </a:lnTo>
                <a:lnTo>
                  <a:pt x="3655383" y="185143"/>
                </a:lnTo>
                <a:lnTo>
                  <a:pt x="3656035" y="187308"/>
                </a:lnTo>
                <a:lnTo>
                  <a:pt x="3656035" y="191747"/>
                </a:lnTo>
                <a:lnTo>
                  <a:pt x="3654081" y="193046"/>
                </a:lnTo>
                <a:lnTo>
                  <a:pt x="3653430" y="195537"/>
                </a:lnTo>
                <a:lnTo>
                  <a:pt x="3653430" y="198676"/>
                </a:lnTo>
                <a:lnTo>
                  <a:pt x="3650717" y="200192"/>
                </a:lnTo>
                <a:lnTo>
                  <a:pt x="3646267" y="203549"/>
                </a:lnTo>
                <a:lnTo>
                  <a:pt x="3642796" y="204522"/>
                </a:lnTo>
                <a:lnTo>
                  <a:pt x="3640842" y="203657"/>
                </a:lnTo>
                <a:lnTo>
                  <a:pt x="3639214" y="204522"/>
                </a:lnTo>
                <a:lnTo>
                  <a:pt x="3639214" y="206905"/>
                </a:lnTo>
                <a:lnTo>
                  <a:pt x="3637803" y="208637"/>
                </a:lnTo>
                <a:lnTo>
                  <a:pt x="3633788" y="211235"/>
                </a:lnTo>
                <a:lnTo>
                  <a:pt x="3625541" y="214700"/>
                </a:lnTo>
                <a:lnTo>
                  <a:pt x="3619464" y="214700"/>
                </a:lnTo>
                <a:lnTo>
                  <a:pt x="3617620" y="215566"/>
                </a:lnTo>
                <a:lnTo>
                  <a:pt x="3614038" y="215566"/>
                </a:lnTo>
                <a:lnTo>
                  <a:pt x="3611651" y="212860"/>
                </a:lnTo>
                <a:lnTo>
                  <a:pt x="3609806" y="211127"/>
                </a:lnTo>
                <a:lnTo>
                  <a:pt x="3608287" y="211777"/>
                </a:lnTo>
                <a:lnTo>
                  <a:pt x="3608287" y="214267"/>
                </a:lnTo>
                <a:lnTo>
                  <a:pt x="3610674" y="215674"/>
                </a:lnTo>
                <a:lnTo>
                  <a:pt x="3610674" y="217407"/>
                </a:lnTo>
                <a:lnTo>
                  <a:pt x="3606334" y="217407"/>
                </a:lnTo>
                <a:lnTo>
                  <a:pt x="3602101" y="216216"/>
                </a:lnTo>
                <a:lnTo>
                  <a:pt x="3598412" y="218382"/>
                </a:lnTo>
                <a:lnTo>
                  <a:pt x="3596458" y="218382"/>
                </a:lnTo>
                <a:lnTo>
                  <a:pt x="3593528" y="216433"/>
                </a:lnTo>
                <a:lnTo>
                  <a:pt x="3588862" y="216433"/>
                </a:lnTo>
                <a:lnTo>
                  <a:pt x="3585716" y="218814"/>
                </a:lnTo>
                <a:lnTo>
                  <a:pt x="3579638" y="221413"/>
                </a:lnTo>
                <a:lnTo>
                  <a:pt x="3576058" y="221413"/>
                </a:lnTo>
                <a:lnTo>
                  <a:pt x="3573778" y="219897"/>
                </a:lnTo>
                <a:lnTo>
                  <a:pt x="3570197" y="219897"/>
                </a:lnTo>
                <a:lnTo>
                  <a:pt x="3566399" y="218489"/>
                </a:lnTo>
                <a:lnTo>
                  <a:pt x="3563252" y="218489"/>
                </a:lnTo>
                <a:lnTo>
                  <a:pt x="3561299" y="220114"/>
                </a:lnTo>
                <a:lnTo>
                  <a:pt x="3556416" y="221088"/>
                </a:lnTo>
                <a:lnTo>
                  <a:pt x="3553269" y="220005"/>
                </a:lnTo>
                <a:lnTo>
                  <a:pt x="3547626" y="215892"/>
                </a:lnTo>
                <a:lnTo>
                  <a:pt x="3545347" y="215892"/>
                </a:lnTo>
                <a:lnTo>
                  <a:pt x="3544045" y="215025"/>
                </a:lnTo>
                <a:lnTo>
                  <a:pt x="3537534" y="215025"/>
                </a:lnTo>
                <a:lnTo>
                  <a:pt x="3533953" y="213292"/>
                </a:lnTo>
                <a:lnTo>
                  <a:pt x="3531132" y="212643"/>
                </a:lnTo>
                <a:lnTo>
                  <a:pt x="3526574" y="213727"/>
                </a:lnTo>
                <a:lnTo>
                  <a:pt x="3522559" y="213727"/>
                </a:lnTo>
                <a:lnTo>
                  <a:pt x="3518327" y="212211"/>
                </a:lnTo>
                <a:lnTo>
                  <a:pt x="3515180" y="212968"/>
                </a:lnTo>
                <a:lnTo>
                  <a:pt x="3511816" y="217731"/>
                </a:lnTo>
                <a:lnTo>
                  <a:pt x="3508126" y="218814"/>
                </a:lnTo>
                <a:lnTo>
                  <a:pt x="3502917" y="218165"/>
                </a:lnTo>
                <a:lnTo>
                  <a:pt x="3498902" y="220439"/>
                </a:lnTo>
                <a:lnTo>
                  <a:pt x="3498251" y="221846"/>
                </a:lnTo>
                <a:lnTo>
                  <a:pt x="3496731" y="221846"/>
                </a:lnTo>
                <a:lnTo>
                  <a:pt x="3496707" y="221728"/>
                </a:lnTo>
                <a:lnTo>
                  <a:pt x="3496840" y="221413"/>
                </a:lnTo>
                <a:lnTo>
                  <a:pt x="3496479" y="220620"/>
                </a:lnTo>
                <a:lnTo>
                  <a:pt x="3495863" y="217623"/>
                </a:lnTo>
                <a:lnTo>
                  <a:pt x="3493477" y="216433"/>
                </a:lnTo>
                <a:lnTo>
                  <a:pt x="3492065" y="216433"/>
                </a:lnTo>
                <a:lnTo>
                  <a:pt x="3490546" y="215566"/>
                </a:lnTo>
                <a:lnTo>
                  <a:pt x="3487183" y="215566"/>
                </a:lnTo>
                <a:lnTo>
                  <a:pt x="3487183" y="217298"/>
                </a:lnTo>
                <a:lnTo>
                  <a:pt x="3488702" y="217298"/>
                </a:lnTo>
                <a:lnTo>
                  <a:pt x="3493585" y="217298"/>
                </a:lnTo>
                <a:lnTo>
                  <a:pt x="3495755" y="219031"/>
                </a:lnTo>
                <a:lnTo>
                  <a:pt x="3496479" y="220620"/>
                </a:lnTo>
                <a:lnTo>
                  <a:pt x="3496707" y="221728"/>
                </a:lnTo>
                <a:lnTo>
                  <a:pt x="3495647" y="224229"/>
                </a:lnTo>
                <a:lnTo>
                  <a:pt x="3492500" y="226069"/>
                </a:lnTo>
                <a:lnTo>
                  <a:pt x="3490221" y="226069"/>
                </a:lnTo>
                <a:lnTo>
                  <a:pt x="3486639" y="226069"/>
                </a:lnTo>
                <a:lnTo>
                  <a:pt x="3483059" y="228235"/>
                </a:lnTo>
                <a:lnTo>
                  <a:pt x="3478393" y="230183"/>
                </a:lnTo>
                <a:lnTo>
                  <a:pt x="3471773" y="230833"/>
                </a:lnTo>
                <a:lnTo>
                  <a:pt x="3468409" y="232349"/>
                </a:lnTo>
                <a:lnTo>
                  <a:pt x="3466673" y="234730"/>
                </a:lnTo>
                <a:lnTo>
                  <a:pt x="3463309" y="235488"/>
                </a:lnTo>
                <a:lnTo>
                  <a:pt x="3458968" y="235488"/>
                </a:lnTo>
                <a:lnTo>
                  <a:pt x="3454085" y="238087"/>
                </a:lnTo>
                <a:lnTo>
                  <a:pt x="3450721" y="238087"/>
                </a:lnTo>
                <a:lnTo>
                  <a:pt x="3448442" y="240902"/>
                </a:lnTo>
                <a:lnTo>
                  <a:pt x="3448442" y="244583"/>
                </a:lnTo>
                <a:lnTo>
                  <a:pt x="3450829" y="246965"/>
                </a:lnTo>
                <a:lnTo>
                  <a:pt x="3451481" y="249887"/>
                </a:lnTo>
                <a:lnTo>
                  <a:pt x="3451481" y="253569"/>
                </a:lnTo>
                <a:lnTo>
                  <a:pt x="3453325" y="256709"/>
                </a:lnTo>
                <a:lnTo>
                  <a:pt x="3455821" y="256709"/>
                </a:lnTo>
                <a:lnTo>
                  <a:pt x="3457775" y="254002"/>
                </a:lnTo>
                <a:lnTo>
                  <a:pt x="3457775" y="250538"/>
                </a:lnTo>
                <a:lnTo>
                  <a:pt x="3460813" y="247723"/>
                </a:lnTo>
                <a:lnTo>
                  <a:pt x="3464828" y="246965"/>
                </a:lnTo>
                <a:lnTo>
                  <a:pt x="3468084" y="245017"/>
                </a:lnTo>
                <a:lnTo>
                  <a:pt x="3472207" y="244366"/>
                </a:lnTo>
                <a:lnTo>
                  <a:pt x="3476222" y="244366"/>
                </a:lnTo>
                <a:lnTo>
                  <a:pt x="3478066" y="242092"/>
                </a:lnTo>
                <a:lnTo>
                  <a:pt x="3480888" y="239277"/>
                </a:lnTo>
                <a:lnTo>
                  <a:pt x="3486965" y="237653"/>
                </a:lnTo>
                <a:lnTo>
                  <a:pt x="3496623" y="234081"/>
                </a:lnTo>
                <a:lnTo>
                  <a:pt x="3499770" y="234081"/>
                </a:lnTo>
                <a:lnTo>
                  <a:pt x="3499770" y="235163"/>
                </a:lnTo>
                <a:lnTo>
                  <a:pt x="3499119" y="238412"/>
                </a:lnTo>
                <a:lnTo>
                  <a:pt x="3500313" y="238412"/>
                </a:lnTo>
                <a:lnTo>
                  <a:pt x="3503677" y="235705"/>
                </a:lnTo>
                <a:lnTo>
                  <a:pt x="3503677" y="231915"/>
                </a:lnTo>
                <a:lnTo>
                  <a:pt x="3506390" y="227368"/>
                </a:lnTo>
                <a:lnTo>
                  <a:pt x="3509102" y="227368"/>
                </a:lnTo>
                <a:lnTo>
                  <a:pt x="3513552" y="228126"/>
                </a:lnTo>
                <a:lnTo>
                  <a:pt x="3516265" y="228992"/>
                </a:lnTo>
                <a:lnTo>
                  <a:pt x="3521365" y="227909"/>
                </a:lnTo>
                <a:lnTo>
                  <a:pt x="3527442" y="227909"/>
                </a:lnTo>
                <a:lnTo>
                  <a:pt x="3531674" y="230183"/>
                </a:lnTo>
                <a:lnTo>
                  <a:pt x="3536992" y="230941"/>
                </a:lnTo>
                <a:lnTo>
                  <a:pt x="3547843" y="229749"/>
                </a:lnTo>
                <a:lnTo>
                  <a:pt x="3551424" y="230616"/>
                </a:lnTo>
                <a:lnTo>
                  <a:pt x="3556199" y="232890"/>
                </a:lnTo>
                <a:lnTo>
                  <a:pt x="3563578" y="234623"/>
                </a:lnTo>
                <a:lnTo>
                  <a:pt x="3572477" y="234623"/>
                </a:lnTo>
                <a:lnTo>
                  <a:pt x="3576383" y="234623"/>
                </a:lnTo>
                <a:lnTo>
                  <a:pt x="3576383" y="237004"/>
                </a:lnTo>
                <a:lnTo>
                  <a:pt x="3578011" y="238737"/>
                </a:lnTo>
                <a:lnTo>
                  <a:pt x="3577360" y="241226"/>
                </a:lnTo>
                <a:lnTo>
                  <a:pt x="3574213" y="243500"/>
                </a:lnTo>
                <a:lnTo>
                  <a:pt x="3573562" y="247073"/>
                </a:lnTo>
                <a:lnTo>
                  <a:pt x="3570957" y="251837"/>
                </a:lnTo>
                <a:lnTo>
                  <a:pt x="3568244" y="252920"/>
                </a:lnTo>
                <a:lnTo>
                  <a:pt x="3556850" y="254436"/>
                </a:lnTo>
                <a:lnTo>
                  <a:pt x="3551533" y="256601"/>
                </a:lnTo>
                <a:lnTo>
                  <a:pt x="3549362" y="256601"/>
                </a:lnTo>
                <a:lnTo>
                  <a:pt x="3547518" y="255627"/>
                </a:lnTo>
                <a:lnTo>
                  <a:pt x="3546432" y="255627"/>
                </a:lnTo>
                <a:lnTo>
                  <a:pt x="3545131" y="259091"/>
                </a:lnTo>
                <a:lnTo>
                  <a:pt x="3545131" y="262123"/>
                </a:lnTo>
                <a:lnTo>
                  <a:pt x="3544045" y="265696"/>
                </a:lnTo>
                <a:lnTo>
                  <a:pt x="3544045" y="268403"/>
                </a:lnTo>
                <a:lnTo>
                  <a:pt x="3545890" y="269053"/>
                </a:lnTo>
                <a:lnTo>
                  <a:pt x="3551099" y="267103"/>
                </a:lnTo>
                <a:lnTo>
                  <a:pt x="3557718" y="265587"/>
                </a:lnTo>
                <a:lnTo>
                  <a:pt x="3562167" y="263530"/>
                </a:lnTo>
                <a:lnTo>
                  <a:pt x="3570415" y="263530"/>
                </a:lnTo>
                <a:lnTo>
                  <a:pt x="3578445" y="266237"/>
                </a:lnTo>
                <a:lnTo>
                  <a:pt x="3581158" y="266237"/>
                </a:lnTo>
                <a:lnTo>
                  <a:pt x="3584739" y="268511"/>
                </a:lnTo>
                <a:lnTo>
                  <a:pt x="3586584" y="266995"/>
                </a:lnTo>
                <a:lnTo>
                  <a:pt x="3588429" y="264613"/>
                </a:lnTo>
                <a:lnTo>
                  <a:pt x="3589730" y="264613"/>
                </a:lnTo>
                <a:lnTo>
                  <a:pt x="3592443" y="265371"/>
                </a:lnTo>
                <a:lnTo>
                  <a:pt x="3594831" y="267428"/>
                </a:lnTo>
                <a:lnTo>
                  <a:pt x="3598955" y="262231"/>
                </a:lnTo>
                <a:lnTo>
                  <a:pt x="3600800" y="255627"/>
                </a:lnTo>
                <a:lnTo>
                  <a:pt x="3600800" y="249022"/>
                </a:lnTo>
                <a:lnTo>
                  <a:pt x="3602101" y="246424"/>
                </a:lnTo>
                <a:lnTo>
                  <a:pt x="3601233" y="244475"/>
                </a:lnTo>
                <a:lnTo>
                  <a:pt x="3601884" y="240902"/>
                </a:lnTo>
                <a:lnTo>
                  <a:pt x="3605357" y="238737"/>
                </a:lnTo>
                <a:lnTo>
                  <a:pt x="3610566" y="238737"/>
                </a:lnTo>
                <a:lnTo>
                  <a:pt x="3615992" y="240361"/>
                </a:lnTo>
                <a:lnTo>
                  <a:pt x="3622069" y="240361"/>
                </a:lnTo>
                <a:lnTo>
                  <a:pt x="3627169" y="239277"/>
                </a:lnTo>
                <a:lnTo>
                  <a:pt x="3630316" y="240143"/>
                </a:lnTo>
                <a:lnTo>
                  <a:pt x="3631292" y="244583"/>
                </a:lnTo>
                <a:lnTo>
                  <a:pt x="3631292" y="252486"/>
                </a:lnTo>
                <a:lnTo>
                  <a:pt x="3631292" y="258117"/>
                </a:lnTo>
                <a:lnTo>
                  <a:pt x="3627060" y="263422"/>
                </a:lnTo>
                <a:lnTo>
                  <a:pt x="3623479" y="270893"/>
                </a:lnTo>
                <a:lnTo>
                  <a:pt x="3622503" y="276523"/>
                </a:lnTo>
                <a:lnTo>
                  <a:pt x="3620441" y="280637"/>
                </a:lnTo>
                <a:lnTo>
                  <a:pt x="3606985" y="292655"/>
                </a:lnTo>
                <a:lnTo>
                  <a:pt x="3604272" y="292655"/>
                </a:lnTo>
                <a:lnTo>
                  <a:pt x="3603078" y="291789"/>
                </a:lnTo>
                <a:lnTo>
                  <a:pt x="3599280" y="293305"/>
                </a:lnTo>
                <a:lnTo>
                  <a:pt x="3596350" y="296552"/>
                </a:lnTo>
                <a:lnTo>
                  <a:pt x="3593420" y="295146"/>
                </a:lnTo>
                <a:lnTo>
                  <a:pt x="3591683" y="295795"/>
                </a:lnTo>
                <a:lnTo>
                  <a:pt x="3588429" y="300992"/>
                </a:lnTo>
                <a:lnTo>
                  <a:pt x="3588429" y="304240"/>
                </a:lnTo>
                <a:lnTo>
                  <a:pt x="3584522" y="306081"/>
                </a:lnTo>
                <a:lnTo>
                  <a:pt x="3581592" y="309546"/>
                </a:lnTo>
                <a:lnTo>
                  <a:pt x="3578988" y="308895"/>
                </a:lnTo>
                <a:lnTo>
                  <a:pt x="3578119" y="307380"/>
                </a:lnTo>
                <a:lnTo>
                  <a:pt x="3576709" y="309654"/>
                </a:lnTo>
                <a:lnTo>
                  <a:pt x="3577360" y="312577"/>
                </a:lnTo>
                <a:lnTo>
                  <a:pt x="3575623" y="316042"/>
                </a:lnTo>
                <a:lnTo>
                  <a:pt x="3571500" y="322104"/>
                </a:lnTo>
                <a:lnTo>
                  <a:pt x="3567376" y="324486"/>
                </a:lnTo>
                <a:lnTo>
                  <a:pt x="3565640" y="327626"/>
                </a:lnTo>
                <a:lnTo>
                  <a:pt x="3559238" y="333148"/>
                </a:lnTo>
                <a:lnTo>
                  <a:pt x="3554572" y="337479"/>
                </a:lnTo>
                <a:lnTo>
                  <a:pt x="3551099" y="338346"/>
                </a:lnTo>
                <a:lnTo>
                  <a:pt x="3545239" y="342784"/>
                </a:lnTo>
                <a:lnTo>
                  <a:pt x="3544262" y="345058"/>
                </a:lnTo>
                <a:lnTo>
                  <a:pt x="3540464" y="345058"/>
                </a:lnTo>
                <a:lnTo>
                  <a:pt x="3540464" y="349172"/>
                </a:lnTo>
                <a:lnTo>
                  <a:pt x="3540464" y="353070"/>
                </a:lnTo>
                <a:lnTo>
                  <a:pt x="3538402" y="358268"/>
                </a:lnTo>
                <a:lnTo>
                  <a:pt x="3539488" y="360541"/>
                </a:lnTo>
                <a:lnTo>
                  <a:pt x="3540898" y="358159"/>
                </a:lnTo>
                <a:lnTo>
                  <a:pt x="3541766" y="354694"/>
                </a:lnTo>
                <a:lnTo>
                  <a:pt x="3546215" y="349497"/>
                </a:lnTo>
                <a:lnTo>
                  <a:pt x="3549471" y="344517"/>
                </a:lnTo>
                <a:lnTo>
                  <a:pt x="3554137" y="341377"/>
                </a:lnTo>
                <a:lnTo>
                  <a:pt x="3555657" y="341377"/>
                </a:lnTo>
                <a:lnTo>
                  <a:pt x="3556850" y="343218"/>
                </a:lnTo>
                <a:lnTo>
                  <a:pt x="3560648" y="338778"/>
                </a:lnTo>
                <a:lnTo>
                  <a:pt x="3568896" y="332390"/>
                </a:lnTo>
                <a:lnTo>
                  <a:pt x="3571500" y="331741"/>
                </a:lnTo>
                <a:lnTo>
                  <a:pt x="3572151" y="327735"/>
                </a:lnTo>
                <a:lnTo>
                  <a:pt x="3580290" y="321239"/>
                </a:lnTo>
                <a:lnTo>
                  <a:pt x="3587017" y="315608"/>
                </a:lnTo>
                <a:lnTo>
                  <a:pt x="3590490" y="313876"/>
                </a:lnTo>
                <a:lnTo>
                  <a:pt x="3593203" y="314525"/>
                </a:lnTo>
                <a:lnTo>
                  <a:pt x="3597544" y="314525"/>
                </a:lnTo>
                <a:lnTo>
                  <a:pt x="3600474" y="311927"/>
                </a:lnTo>
                <a:lnTo>
                  <a:pt x="3600474" y="309654"/>
                </a:lnTo>
                <a:lnTo>
                  <a:pt x="3605249" y="309654"/>
                </a:lnTo>
                <a:lnTo>
                  <a:pt x="3611760" y="309654"/>
                </a:lnTo>
                <a:lnTo>
                  <a:pt x="3618162" y="306189"/>
                </a:lnTo>
                <a:lnTo>
                  <a:pt x="3622286" y="301858"/>
                </a:lnTo>
                <a:lnTo>
                  <a:pt x="3626300" y="301858"/>
                </a:lnTo>
                <a:lnTo>
                  <a:pt x="3630207" y="298935"/>
                </a:lnTo>
                <a:lnTo>
                  <a:pt x="3632812" y="296552"/>
                </a:lnTo>
                <a:lnTo>
                  <a:pt x="3636067" y="296552"/>
                </a:lnTo>
                <a:lnTo>
                  <a:pt x="3639323" y="293088"/>
                </a:lnTo>
                <a:lnTo>
                  <a:pt x="3645725" y="287024"/>
                </a:lnTo>
                <a:lnTo>
                  <a:pt x="3647244" y="282261"/>
                </a:lnTo>
                <a:lnTo>
                  <a:pt x="3647244" y="279121"/>
                </a:lnTo>
                <a:lnTo>
                  <a:pt x="3649957" y="275982"/>
                </a:lnTo>
                <a:lnTo>
                  <a:pt x="3651477" y="273599"/>
                </a:lnTo>
                <a:lnTo>
                  <a:pt x="3653864" y="272084"/>
                </a:lnTo>
                <a:lnTo>
                  <a:pt x="3653864" y="274899"/>
                </a:lnTo>
                <a:lnTo>
                  <a:pt x="3655709" y="278147"/>
                </a:lnTo>
                <a:lnTo>
                  <a:pt x="3655709" y="281396"/>
                </a:lnTo>
                <a:lnTo>
                  <a:pt x="3654732" y="284643"/>
                </a:lnTo>
                <a:lnTo>
                  <a:pt x="3656576" y="287675"/>
                </a:lnTo>
                <a:lnTo>
                  <a:pt x="3657444" y="292871"/>
                </a:lnTo>
                <a:lnTo>
                  <a:pt x="3656360" y="294929"/>
                </a:lnTo>
                <a:lnTo>
                  <a:pt x="3656360" y="297853"/>
                </a:lnTo>
                <a:lnTo>
                  <a:pt x="3657771" y="295470"/>
                </a:lnTo>
                <a:lnTo>
                  <a:pt x="3659181" y="291572"/>
                </a:lnTo>
                <a:lnTo>
                  <a:pt x="3661026" y="288324"/>
                </a:lnTo>
                <a:lnTo>
                  <a:pt x="3659941" y="286809"/>
                </a:lnTo>
                <a:lnTo>
                  <a:pt x="3659941" y="282911"/>
                </a:lnTo>
                <a:lnTo>
                  <a:pt x="3661786" y="280854"/>
                </a:lnTo>
                <a:lnTo>
                  <a:pt x="3663739" y="281936"/>
                </a:lnTo>
                <a:lnTo>
                  <a:pt x="3663739" y="285185"/>
                </a:lnTo>
                <a:lnTo>
                  <a:pt x="3666343" y="287891"/>
                </a:lnTo>
                <a:lnTo>
                  <a:pt x="3670467" y="287891"/>
                </a:lnTo>
                <a:lnTo>
                  <a:pt x="3675133" y="285834"/>
                </a:lnTo>
                <a:lnTo>
                  <a:pt x="3676218" y="283127"/>
                </a:lnTo>
                <a:lnTo>
                  <a:pt x="3674808" y="281179"/>
                </a:lnTo>
                <a:lnTo>
                  <a:pt x="3674808" y="278797"/>
                </a:lnTo>
                <a:lnTo>
                  <a:pt x="3677195" y="278797"/>
                </a:lnTo>
                <a:lnTo>
                  <a:pt x="3678931" y="275656"/>
                </a:lnTo>
                <a:lnTo>
                  <a:pt x="3678931" y="271001"/>
                </a:lnTo>
                <a:lnTo>
                  <a:pt x="3678280" y="267428"/>
                </a:lnTo>
                <a:lnTo>
                  <a:pt x="3679691" y="264613"/>
                </a:lnTo>
                <a:lnTo>
                  <a:pt x="3682404" y="263855"/>
                </a:lnTo>
                <a:lnTo>
                  <a:pt x="3683489" y="265804"/>
                </a:lnTo>
                <a:lnTo>
                  <a:pt x="3687830" y="267861"/>
                </a:lnTo>
                <a:lnTo>
                  <a:pt x="3692496" y="265912"/>
                </a:lnTo>
                <a:lnTo>
                  <a:pt x="3694774" y="263206"/>
                </a:lnTo>
                <a:lnTo>
                  <a:pt x="3701178" y="261040"/>
                </a:lnTo>
                <a:lnTo>
                  <a:pt x="3706820" y="261040"/>
                </a:lnTo>
                <a:lnTo>
                  <a:pt x="3709533" y="260066"/>
                </a:lnTo>
                <a:lnTo>
                  <a:pt x="3715176" y="261474"/>
                </a:lnTo>
                <a:lnTo>
                  <a:pt x="3721361" y="264505"/>
                </a:lnTo>
                <a:lnTo>
                  <a:pt x="3727981" y="266670"/>
                </a:lnTo>
                <a:lnTo>
                  <a:pt x="3732864" y="266670"/>
                </a:lnTo>
                <a:lnTo>
                  <a:pt x="3736879" y="268618"/>
                </a:lnTo>
                <a:lnTo>
                  <a:pt x="3739592" y="271651"/>
                </a:lnTo>
                <a:lnTo>
                  <a:pt x="3742197" y="271651"/>
                </a:lnTo>
                <a:lnTo>
                  <a:pt x="3746863" y="273708"/>
                </a:lnTo>
                <a:lnTo>
                  <a:pt x="3748599" y="277389"/>
                </a:lnTo>
                <a:lnTo>
                  <a:pt x="3748599" y="279879"/>
                </a:lnTo>
                <a:lnTo>
                  <a:pt x="3755544" y="285726"/>
                </a:lnTo>
                <a:lnTo>
                  <a:pt x="3756738" y="288541"/>
                </a:lnTo>
                <a:lnTo>
                  <a:pt x="3759993" y="291789"/>
                </a:lnTo>
                <a:lnTo>
                  <a:pt x="3762055" y="298502"/>
                </a:lnTo>
                <a:lnTo>
                  <a:pt x="3762055" y="303590"/>
                </a:lnTo>
                <a:lnTo>
                  <a:pt x="3760210" y="306621"/>
                </a:lnTo>
                <a:lnTo>
                  <a:pt x="3755653" y="308354"/>
                </a:lnTo>
                <a:lnTo>
                  <a:pt x="3751746" y="311385"/>
                </a:lnTo>
                <a:lnTo>
                  <a:pt x="3750443" y="313660"/>
                </a:lnTo>
                <a:lnTo>
                  <a:pt x="3747731" y="314742"/>
                </a:lnTo>
                <a:lnTo>
                  <a:pt x="3743716" y="317558"/>
                </a:lnTo>
                <a:lnTo>
                  <a:pt x="3738832" y="324379"/>
                </a:lnTo>
                <a:lnTo>
                  <a:pt x="3736554" y="327626"/>
                </a:lnTo>
                <a:lnTo>
                  <a:pt x="3734709" y="328385"/>
                </a:lnTo>
                <a:lnTo>
                  <a:pt x="3731345" y="327301"/>
                </a:lnTo>
                <a:lnTo>
                  <a:pt x="3724834" y="323295"/>
                </a:lnTo>
                <a:lnTo>
                  <a:pt x="3722229" y="323295"/>
                </a:lnTo>
                <a:lnTo>
                  <a:pt x="3718866" y="325894"/>
                </a:lnTo>
                <a:lnTo>
                  <a:pt x="3716478" y="330008"/>
                </a:lnTo>
                <a:lnTo>
                  <a:pt x="3716478" y="331849"/>
                </a:lnTo>
                <a:lnTo>
                  <a:pt x="3717998" y="333148"/>
                </a:lnTo>
                <a:lnTo>
                  <a:pt x="3717998" y="335639"/>
                </a:lnTo>
                <a:lnTo>
                  <a:pt x="3720602" y="339320"/>
                </a:lnTo>
                <a:lnTo>
                  <a:pt x="3722229" y="340619"/>
                </a:lnTo>
                <a:lnTo>
                  <a:pt x="3722229" y="343325"/>
                </a:lnTo>
                <a:lnTo>
                  <a:pt x="3720711" y="346141"/>
                </a:lnTo>
                <a:lnTo>
                  <a:pt x="3717238" y="346141"/>
                </a:lnTo>
                <a:lnTo>
                  <a:pt x="3714416" y="346141"/>
                </a:lnTo>
                <a:lnTo>
                  <a:pt x="3707254" y="349821"/>
                </a:lnTo>
                <a:lnTo>
                  <a:pt x="3702914" y="353070"/>
                </a:lnTo>
                <a:lnTo>
                  <a:pt x="3699007" y="353070"/>
                </a:lnTo>
                <a:lnTo>
                  <a:pt x="3695860" y="353070"/>
                </a:lnTo>
                <a:lnTo>
                  <a:pt x="3693147" y="351121"/>
                </a:lnTo>
                <a:lnTo>
                  <a:pt x="3689348" y="349605"/>
                </a:lnTo>
                <a:lnTo>
                  <a:pt x="3685334" y="349605"/>
                </a:lnTo>
                <a:lnTo>
                  <a:pt x="3683381" y="348306"/>
                </a:lnTo>
                <a:lnTo>
                  <a:pt x="3680668" y="347656"/>
                </a:lnTo>
                <a:lnTo>
                  <a:pt x="3680016" y="346682"/>
                </a:lnTo>
                <a:lnTo>
                  <a:pt x="3677846" y="346682"/>
                </a:lnTo>
                <a:lnTo>
                  <a:pt x="3676327" y="347332"/>
                </a:lnTo>
                <a:lnTo>
                  <a:pt x="3675459" y="349281"/>
                </a:lnTo>
                <a:lnTo>
                  <a:pt x="3673614" y="349281"/>
                </a:lnTo>
                <a:lnTo>
                  <a:pt x="3670793" y="348739"/>
                </a:lnTo>
                <a:lnTo>
                  <a:pt x="3669165" y="349713"/>
                </a:lnTo>
                <a:lnTo>
                  <a:pt x="3667103" y="352312"/>
                </a:lnTo>
                <a:lnTo>
                  <a:pt x="3665584" y="352312"/>
                </a:lnTo>
                <a:lnTo>
                  <a:pt x="3663196" y="352312"/>
                </a:lnTo>
                <a:lnTo>
                  <a:pt x="3660809" y="353936"/>
                </a:lnTo>
                <a:lnTo>
                  <a:pt x="3658460" y="354752"/>
                </a:lnTo>
                <a:lnTo>
                  <a:pt x="3656794" y="353828"/>
                </a:lnTo>
                <a:lnTo>
                  <a:pt x="3653484" y="353828"/>
                </a:lnTo>
                <a:lnTo>
                  <a:pt x="3650500" y="352637"/>
                </a:lnTo>
                <a:lnTo>
                  <a:pt x="3645400" y="353719"/>
                </a:lnTo>
                <a:lnTo>
                  <a:pt x="3641384" y="354586"/>
                </a:lnTo>
                <a:lnTo>
                  <a:pt x="3637370" y="353719"/>
                </a:lnTo>
                <a:lnTo>
                  <a:pt x="3633463" y="353719"/>
                </a:lnTo>
                <a:lnTo>
                  <a:pt x="3637478" y="355344"/>
                </a:lnTo>
                <a:lnTo>
                  <a:pt x="3640951" y="355344"/>
                </a:lnTo>
                <a:lnTo>
                  <a:pt x="3650283" y="355344"/>
                </a:lnTo>
                <a:lnTo>
                  <a:pt x="3653213" y="353828"/>
                </a:lnTo>
                <a:lnTo>
                  <a:pt x="3653484" y="353828"/>
                </a:lnTo>
                <a:lnTo>
                  <a:pt x="3654298" y="354152"/>
                </a:lnTo>
                <a:lnTo>
                  <a:pt x="3658313" y="354802"/>
                </a:lnTo>
                <a:lnTo>
                  <a:pt x="3658460" y="354752"/>
                </a:lnTo>
                <a:lnTo>
                  <a:pt x="3660701" y="355994"/>
                </a:lnTo>
                <a:lnTo>
                  <a:pt x="3666018" y="357184"/>
                </a:lnTo>
                <a:lnTo>
                  <a:pt x="3675676" y="357184"/>
                </a:lnTo>
                <a:lnTo>
                  <a:pt x="3678931" y="359891"/>
                </a:lnTo>
                <a:lnTo>
                  <a:pt x="3680776" y="359891"/>
                </a:lnTo>
                <a:lnTo>
                  <a:pt x="3683489" y="357076"/>
                </a:lnTo>
                <a:lnTo>
                  <a:pt x="3687179" y="357076"/>
                </a:lnTo>
                <a:lnTo>
                  <a:pt x="3689783" y="358159"/>
                </a:lnTo>
                <a:lnTo>
                  <a:pt x="3691411" y="360649"/>
                </a:lnTo>
                <a:lnTo>
                  <a:pt x="3695752" y="362057"/>
                </a:lnTo>
                <a:lnTo>
                  <a:pt x="3698030" y="365196"/>
                </a:lnTo>
                <a:lnTo>
                  <a:pt x="3698030" y="368337"/>
                </a:lnTo>
                <a:lnTo>
                  <a:pt x="3694449" y="371909"/>
                </a:lnTo>
                <a:lnTo>
                  <a:pt x="3690760" y="372559"/>
                </a:lnTo>
                <a:lnTo>
                  <a:pt x="3688915" y="372559"/>
                </a:lnTo>
                <a:lnTo>
                  <a:pt x="3689892" y="374832"/>
                </a:lnTo>
                <a:lnTo>
                  <a:pt x="3689892" y="378405"/>
                </a:lnTo>
                <a:lnTo>
                  <a:pt x="3685876" y="380896"/>
                </a:lnTo>
                <a:lnTo>
                  <a:pt x="3677195" y="383169"/>
                </a:lnTo>
                <a:lnTo>
                  <a:pt x="3673180" y="382194"/>
                </a:lnTo>
                <a:lnTo>
                  <a:pt x="3668730" y="383495"/>
                </a:lnTo>
                <a:lnTo>
                  <a:pt x="3660158" y="383495"/>
                </a:lnTo>
                <a:lnTo>
                  <a:pt x="3657336" y="380788"/>
                </a:lnTo>
                <a:lnTo>
                  <a:pt x="3648112" y="373749"/>
                </a:lnTo>
                <a:lnTo>
                  <a:pt x="3642144" y="373100"/>
                </a:lnTo>
                <a:lnTo>
                  <a:pt x="3638671" y="373100"/>
                </a:lnTo>
                <a:lnTo>
                  <a:pt x="3634657" y="376240"/>
                </a:lnTo>
                <a:lnTo>
                  <a:pt x="3631727" y="381979"/>
                </a:lnTo>
                <a:lnTo>
                  <a:pt x="3626952" y="384794"/>
                </a:lnTo>
                <a:lnTo>
                  <a:pt x="3624999" y="387284"/>
                </a:lnTo>
                <a:lnTo>
                  <a:pt x="3621743" y="387933"/>
                </a:lnTo>
                <a:lnTo>
                  <a:pt x="3624131" y="389232"/>
                </a:lnTo>
                <a:lnTo>
                  <a:pt x="3627386" y="389232"/>
                </a:lnTo>
                <a:lnTo>
                  <a:pt x="3628362" y="391722"/>
                </a:lnTo>
                <a:lnTo>
                  <a:pt x="3628362" y="395620"/>
                </a:lnTo>
                <a:lnTo>
                  <a:pt x="3626626" y="397028"/>
                </a:lnTo>
                <a:lnTo>
                  <a:pt x="3623587" y="397028"/>
                </a:lnTo>
                <a:lnTo>
                  <a:pt x="3623587" y="400384"/>
                </a:lnTo>
                <a:lnTo>
                  <a:pt x="3625432" y="402766"/>
                </a:lnTo>
                <a:lnTo>
                  <a:pt x="3629665" y="404498"/>
                </a:lnTo>
                <a:lnTo>
                  <a:pt x="3632052" y="403741"/>
                </a:lnTo>
                <a:lnTo>
                  <a:pt x="3633246" y="401467"/>
                </a:lnTo>
                <a:lnTo>
                  <a:pt x="3638129" y="398761"/>
                </a:lnTo>
                <a:lnTo>
                  <a:pt x="3641276" y="394754"/>
                </a:lnTo>
                <a:lnTo>
                  <a:pt x="3646593" y="392372"/>
                </a:lnTo>
                <a:lnTo>
                  <a:pt x="3653430" y="390531"/>
                </a:lnTo>
                <a:lnTo>
                  <a:pt x="3659616" y="388474"/>
                </a:lnTo>
                <a:lnTo>
                  <a:pt x="3663196" y="387825"/>
                </a:lnTo>
                <a:lnTo>
                  <a:pt x="3665258" y="389557"/>
                </a:lnTo>
                <a:lnTo>
                  <a:pt x="3667212" y="391181"/>
                </a:lnTo>
                <a:lnTo>
                  <a:pt x="3671660" y="392372"/>
                </a:lnTo>
                <a:lnTo>
                  <a:pt x="3674591" y="394863"/>
                </a:lnTo>
                <a:lnTo>
                  <a:pt x="3675133" y="396702"/>
                </a:lnTo>
                <a:lnTo>
                  <a:pt x="3673723" y="398219"/>
                </a:lnTo>
                <a:lnTo>
                  <a:pt x="3668405" y="402874"/>
                </a:lnTo>
                <a:lnTo>
                  <a:pt x="3665801" y="408396"/>
                </a:lnTo>
                <a:lnTo>
                  <a:pt x="3662437" y="412077"/>
                </a:lnTo>
                <a:lnTo>
                  <a:pt x="3660809" y="416084"/>
                </a:lnTo>
                <a:lnTo>
                  <a:pt x="3654081" y="421172"/>
                </a:lnTo>
                <a:lnTo>
                  <a:pt x="3650283" y="427344"/>
                </a:lnTo>
                <a:lnTo>
                  <a:pt x="3642687" y="438170"/>
                </a:lnTo>
                <a:lnTo>
                  <a:pt x="3639539" y="443151"/>
                </a:lnTo>
                <a:lnTo>
                  <a:pt x="3636285" y="446291"/>
                </a:lnTo>
                <a:lnTo>
                  <a:pt x="3636285" y="452462"/>
                </a:lnTo>
                <a:lnTo>
                  <a:pt x="3634765" y="457443"/>
                </a:lnTo>
                <a:lnTo>
                  <a:pt x="3634765" y="460475"/>
                </a:lnTo>
                <a:lnTo>
                  <a:pt x="3631618" y="463939"/>
                </a:lnTo>
                <a:lnTo>
                  <a:pt x="3631618" y="470111"/>
                </a:lnTo>
                <a:lnTo>
                  <a:pt x="3629556" y="476823"/>
                </a:lnTo>
                <a:lnTo>
                  <a:pt x="3627277" y="485052"/>
                </a:lnTo>
                <a:lnTo>
                  <a:pt x="3629339" y="488083"/>
                </a:lnTo>
                <a:lnTo>
                  <a:pt x="3629990" y="492847"/>
                </a:lnTo>
                <a:lnTo>
                  <a:pt x="3628797" y="499561"/>
                </a:lnTo>
                <a:lnTo>
                  <a:pt x="3625324" y="501942"/>
                </a:lnTo>
                <a:lnTo>
                  <a:pt x="3622611" y="504866"/>
                </a:lnTo>
                <a:lnTo>
                  <a:pt x="3623696" y="510279"/>
                </a:lnTo>
                <a:lnTo>
                  <a:pt x="3622937" y="512769"/>
                </a:lnTo>
                <a:lnTo>
                  <a:pt x="3620549" y="516125"/>
                </a:lnTo>
                <a:lnTo>
                  <a:pt x="3619898" y="521647"/>
                </a:lnTo>
                <a:lnTo>
                  <a:pt x="3618053" y="526952"/>
                </a:lnTo>
                <a:lnTo>
                  <a:pt x="3614038" y="530417"/>
                </a:lnTo>
                <a:lnTo>
                  <a:pt x="3610892" y="529768"/>
                </a:lnTo>
                <a:lnTo>
                  <a:pt x="3609915" y="526952"/>
                </a:lnTo>
                <a:lnTo>
                  <a:pt x="3609915" y="523812"/>
                </a:lnTo>
                <a:lnTo>
                  <a:pt x="3607094" y="521864"/>
                </a:lnTo>
                <a:lnTo>
                  <a:pt x="3605249" y="521864"/>
                </a:lnTo>
                <a:lnTo>
                  <a:pt x="3608721" y="519482"/>
                </a:lnTo>
                <a:lnTo>
                  <a:pt x="3606985" y="517425"/>
                </a:lnTo>
                <a:lnTo>
                  <a:pt x="3604055" y="516342"/>
                </a:lnTo>
                <a:lnTo>
                  <a:pt x="3601776" y="517750"/>
                </a:lnTo>
                <a:lnTo>
                  <a:pt x="3599171" y="517750"/>
                </a:lnTo>
                <a:lnTo>
                  <a:pt x="3597327" y="519699"/>
                </a:lnTo>
                <a:lnTo>
                  <a:pt x="3597327" y="521647"/>
                </a:lnTo>
                <a:lnTo>
                  <a:pt x="3598846" y="522730"/>
                </a:lnTo>
                <a:lnTo>
                  <a:pt x="3598846" y="525329"/>
                </a:lnTo>
                <a:lnTo>
                  <a:pt x="3596893" y="526952"/>
                </a:lnTo>
                <a:lnTo>
                  <a:pt x="3596893" y="528684"/>
                </a:lnTo>
                <a:lnTo>
                  <a:pt x="3599606" y="531392"/>
                </a:lnTo>
                <a:lnTo>
                  <a:pt x="3602753" y="532799"/>
                </a:lnTo>
                <a:lnTo>
                  <a:pt x="3605249" y="536047"/>
                </a:lnTo>
                <a:lnTo>
                  <a:pt x="3607635" y="538970"/>
                </a:lnTo>
                <a:lnTo>
                  <a:pt x="3609047" y="544384"/>
                </a:lnTo>
                <a:lnTo>
                  <a:pt x="3613387" y="545900"/>
                </a:lnTo>
                <a:lnTo>
                  <a:pt x="3617185" y="547740"/>
                </a:lnTo>
                <a:lnTo>
                  <a:pt x="3621960" y="552180"/>
                </a:lnTo>
                <a:lnTo>
                  <a:pt x="3624131" y="558027"/>
                </a:lnTo>
                <a:lnTo>
                  <a:pt x="3622503" y="560516"/>
                </a:lnTo>
                <a:lnTo>
                  <a:pt x="3619790" y="561166"/>
                </a:lnTo>
                <a:lnTo>
                  <a:pt x="3616208" y="558784"/>
                </a:lnTo>
                <a:lnTo>
                  <a:pt x="3611217" y="553587"/>
                </a:lnTo>
                <a:lnTo>
                  <a:pt x="3610566" y="551097"/>
                </a:lnTo>
                <a:lnTo>
                  <a:pt x="3607962" y="550230"/>
                </a:lnTo>
                <a:lnTo>
                  <a:pt x="3606442" y="548715"/>
                </a:lnTo>
                <a:lnTo>
                  <a:pt x="3604597" y="550230"/>
                </a:lnTo>
                <a:lnTo>
                  <a:pt x="3603838" y="552071"/>
                </a:lnTo>
                <a:lnTo>
                  <a:pt x="3604814" y="555211"/>
                </a:lnTo>
                <a:lnTo>
                  <a:pt x="3606876" y="558351"/>
                </a:lnTo>
                <a:lnTo>
                  <a:pt x="3606876" y="560516"/>
                </a:lnTo>
                <a:lnTo>
                  <a:pt x="3603621" y="559867"/>
                </a:lnTo>
                <a:lnTo>
                  <a:pt x="3602536" y="559217"/>
                </a:lnTo>
                <a:lnTo>
                  <a:pt x="3601451" y="560733"/>
                </a:lnTo>
                <a:lnTo>
                  <a:pt x="3602753" y="562573"/>
                </a:lnTo>
                <a:lnTo>
                  <a:pt x="3605899" y="564631"/>
                </a:lnTo>
                <a:lnTo>
                  <a:pt x="3605899" y="566147"/>
                </a:lnTo>
                <a:lnTo>
                  <a:pt x="3604163" y="567121"/>
                </a:lnTo>
                <a:lnTo>
                  <a:pt x="3605682" y="568745"/>
                </a:lnTo>
                <a:lnTo>
                  <a:pt x="3608504" y="568745"/>
                </a:lnTo>
                <a:lnTo>
                  <a:pt x="3612845" y="570261"/>
                </a:lnTo>
                <a:lnTo>
                  <a:pt x="3613713" y="572210"/>
                </a:lnTo>
                <a:lnTo>
                  <a:pt x="3613713" y="575674"/>
                </a:lnTo>
                <a:lnTo>
                  <a:pt x="3613062" y="577406"/>
                </a:lnTo>
                <a:lnTo>
                  <a:pt x="3614798" y="579030"/>
                </a:lnTo>
                <a:lnTo>
                  <a:pt x="3617511" y="577948"/>
                </a:lnTo>
                <a:lnTo>
                  <a:pt x="3621743" y="573400"/>
                </a:lnTo>
                <a:lnTo>
                  <a:pt x="3623696" y="570261"/>
                </a:lnTo>
                <a:lnTo>
                  <a:pt x="3626735" y="569719"/>
                </a:lnTo>
                <a:lnTo>
                  <a:pt x="3626735" y="571559"/>
                </a:lnTo>
                <a:lnTo>
                  <a:pt x="3628037" y="573509"/>
                </a:lnTo>
                <a:lnTo>
                  <a:pt x="3629882" y="573509"/>
                </a:lnTo>
                <a:lnTo>
                  <a:pt x="3632595" y="575782"/>
                </a:lnTo>
                <a:lnTo>
                  <a:pt x="3636285" y="577406"/>
                </a:lnTo>
                <a:lnTo>
                  <a:pt x="3637478" y="581196"/>
                </a:lnTo>
                <a:lnTo>
                  <a:pt x="3637478" y="584444"/>
                </a:lnTo>
                <a:lnTo>
                  <a:pt x="3635958" y="586285"/>
                </a:lnTo>
                <a:lnTo>
                  <a:pt x="3635416" y="592565"/>
                </a:lnTo>
                <a:lnTo>
                  <a:pt x="3634223" y="598087"/>
                </a:lnTo>
                <a:lnTo>
                  <a:pt x="3634223" y="600360"/>
                </a:lnTo>
                <a:lnTo>
                  <a:pt x="3632378" y="606532"/>
                </a:lnTo>
                <a:lnTo>
                  <a:pt x="3630099" y="609455"/>
                </a:lnTo>
                <a:lnTo>
                  <a:pt x="3629448" y="613569"/>
                </a:lnTo>
                <a:lnTo>
                  <a:pt x="3628471" y="615626"/>
                </a:lnTo>
                <a:lnTo>
                  <a:pt x="3626952" y="614543"/>
                </a:lnTo>
                <a:lnTo>
                  <a:pt x="3624673" y="610970"/>
                </a:lnTo>
                <a:lnTo>
                  <a:pt x="3619790" y="609238"/>
                </a:lnTo>
                <a:lnTo>
                  <a:pt x="3617511" y="606207"/>
                </a:lnTo>
                <a:lnTo>
                  <a:pt x="3615340" y="605449"/>
                </a:lnTo>
                <a:lnTo>
                  <a:pt x="3613821" y="606098"/>
                </a:lnTo>
                <a:lnTo>
                  <a:pt x="3610132" y="605232"/>
                </a:lnTo>
                <a:lnTo>
                  <a:pt x="3609264" y="603283"/>
                </a:lnTo>
                <a:lnTo>
                  <a:pt x="3610023" y="600143"/>
                </a:lnTo>
                <a:lnTo>
                  <a:pt x="3607527" y="597112"/>
                </a:lnTo>
                <a:lnTo>
                  <a:pt x="3605357" y="596463"/>
                </a:lnTo>
                <a:lnTo>
                  <a:pt x="3603621" y="597545"/>
                </a:lnTo>
                <a:lnTo>
                  <a:pt x="3601342" y="596679"/>
                </a:lnTo>
                <a:lnTo>
                  <a:pt x="3598303" y="593322"/>
                </a:lnTo>
                <a:lnTo>
                  <a:pt x="3593963" y="593322"/>
                </a:lnTo>
                <a:lnTo>
                  <a:pt x="3590599" y="594730"/>
                </a:lnTo>
                <a:lnTo>
                  <a:pt x="3591792" y="596245"/>
                </a:lnTo>
                <a:lnTo>
                  <a:pt x="3591792" y="598628"/>
                </a:lnTo>
                <a:lnTo>
                  <a:pt x="3589514" y="598628"/>
                </a:lnTo>
                <a:lnTo>
                  <a:pt x="3587669" y="597545"/>
                </a:lnTo>
                <a:lnTo>
                  <a:pt x="3583219" y="597545"/>
                </a:lnTo>
                <a:lnTo>
                  <a:pt x="3580181" y="598736"/>
                </a:lnTo>
                <a:lnTo>
                  <a:pt x="3581266" y="599818"/>
                </a:lnTo>
                <a:lnTo>
                  <a:pt x="3584413" y="599818"/>
                </a:lnTo>
                <a:lnTo>
                  <a:pt x="3588429" y="600901"/>
                </a:lnTo>
                <a:lnTo>
                  <a:pt x="3589622" y="602309"/>
                </a:lnTo>
                <a:lnTo>
                  <a:pt x="3589622" y="603716"/>
                </a:lnTo>
                <a:lnTo>
                  <a:pt x="3586476" y="604691"/>
                </a:lnTo>
                <a:lnTo>
                  <a:pt x="3580832" y="609779"/>
                </a:lnTo>
                <a:lnTo>
                  <a:pt x="3577251" y="612595"/>
                </a:lnTo>
                <a:lnTo>
                  <a:pt x="3574647" y="612053"/>
                </a:lnTo>
                <a:lnTo>
                  <a:pt x="3573019" y="609671"/>
                </a:lnTo>
                <a:lnTo>
                  <a:pt x="3573019" y="606640"/>
                </a:lnTo>
                <a:lnTo>
                  <a:pt x="3571934" y="605449"/>
                </a:lnTo>
                <a:lnTo>
                  <a:pt x="3569438" y="606532"/>
                </a:lnTo>
                <a:lnTo>
                  <a:pt x="3569438" y="609779"/>
                </a:lnTo>
                <a:lnTo>
                  <a:pt x="3570415" y="612595"/>
                </a:lnTo>
                <a:lnTo>
                  <a:pt x="3568787" y="614652"/>
                </a:lnTo>
                <a:lnTo>
                  <a:pt x="3569980" y="616708"/>
                </a:lnTo>
                <a:lnTo>
                  <a:pt x="3570524" y="619415"/>
                </a:lnTo>
                <a:lnTo>
                  <a:pt x="3568896" y="621581"/>
                </a:lnTo>
                <a:lnTo>
                  <a:pt x="3570306" y="623097"/>
                </a:lnTo>
                <a:lnTo>
                  <a:pt x="3570306" y="625696"/>
                </a:lnTo>
                <a:lnTo>
                  <a:pt x="3568570" y="626670"/>
                </a:lnTo>
                <a:lnTo>
                  <a:pt x="3564012" y="625154"/>
                </a:lnTo>
                <a:lnTo>
                  <a:pt x="3561516" y="625154"/>
                </a:lnTo>
                <a:lnTo>
                  <a:pt x="3560323" y="627428"/>
                </a:lnTo>
                <a:lnTo>
                  <a:pt x="3563144" y="629377"/>
                </a:lnTo>
                <a:lnTo>
                  <a:pt x="3565965" y="629377"/>
                </a:lnTo>
                <a:lnTo>
                  <a:pt x="3571934" y="629377"/>
                </a:lnTo>
                <a:lnTo>
                  <a:pt x="3572693" y="631001"/>
                </a:lnTo>
                <a:lnTo>
                  <a:pt x="3572693" y="634032"/>
                </a:lnTo>
                <a:lnTo>
                  <a:pt x="3572693" y="638254"/>
                </a:lnTo>
                <a:lnTo>
                  <a:pt x="3573995" y="638254"/>
                </a:lnTo>
                <a:lnTo>
                  <a:pt x="3575515" y="636089"/>
                </a:lnTo>
                <a:lnTo>
                  <a:pt x="3580290" y="635223"/>
                </a:lnTo>
                <a:lnTo>
                  <a:pt x="3584739" y="637064"/>
                </a:lnTo>
                <a:lnTo>
                  <a:pt x="3586801" y="638904"/>
                </a:lnTo>
                <a:lnTo>
                  <a:pt x="3591901" y="638904"/>
                </a:lnTo>
                <a:lnTo>
                  <a:pt x="3595482" y="639878"/>
                </a:lnTo>
                <a:lnTo>
                  <a:pt x="3598195" y="638904"/>
                </a:lnTo>
                <a:lnTo>
                  <a:pt x="3600148" y="637389"/>
                </a:lnTo>
                <a:lnTo>
                  <a:pt x="3601884" y="638254"/>
                </a:lnTo>
                <a:lnTo>
                  <a:pt x="3601884" y="640854"/>
                </a:lnTo>
                <a:lnTo>
                  <a:pt x="3601884" y="645292"/>
                </a:lnTo>
                <a:lnTo>
                  <a:pt x="3601884" y="647890"/>
                </a:lnTo>
                <a:lnTo>
                  <a:pt x="3600908" y="649406"/>
                </a:lnTo>
                <a:lnTo>
                  <a:pt x="3598303" y="650813"/>
                </a:lnTo>
                <a:lnTo>
                  <a:pt x="3596350" y="649406"/>
                </a:lnTo>
                <a:lnTo>
                  <a:pt x="3593203" y="648323"/>
                </a:lnTo>
                <a:lnTo>
                  <a:pt x="3590165" y="649839"/>
                </a:lnTo>
                <a:lnTo>
                  <a:pt x="3587561" y="650813"/>
                </a:lnTo>
                <a:lnTo>
                  <a:pt x="3585281" y="648864"/>
                </a:lnTo>
                <a:lnTo>
                  <a:pt x="3579096" y="649731"/>
                </a:lnTo>
                <a:lnTo>
                  <a:pt x="3573995" y="650813"/>
                </a:lnTo>
                <a:lnTo>
                  <a:pt x="3571500" y="650164"/>
                </a:lnTo>
                <a:lnTo>
                  <a:pt x="3570524" y="648431"/>
                </a:lnTo>
                <a:lnTo>
                  <a:pt x="3569764" y="650597"/>
                </a:lnTo>
                <a:lnTo>
                  <a:pt x="3570740" y="651680"/>
                </a:lnTo>
                <a:lnTo>
                  <a:pt x="3571717" y="653520"/>
                </a:lnTo>
                <a:lnTo>
                  <a:pt x="3574430" y="653520"/>
                </a:lnTo>
                <a:lnTo>
                  <a:pt x="3577902" y="652546"/>
                </a:lnTo>
                <a:lnTo>
                  <a:pt x="3585499" y="652546"/>
                </a:lnTo>
                <a:lnTo>
                  <a:pt x="3588645" y="654386"/>
                </a:lnTo>
                <a:lnTo>
                  <a:pt x="3591142" y="657093"/>
                </a:lnTo>
                <a:lnTo>
                  <a:pt x="3593746" y="657093"/>
                </a:lnTo>
                <a:lnTo>
                  <a:pt x="3597001" y="658176"/>
                </a:lnTo>
                <a:lnTo>
                  <a:pt x="3599497" y="660882"/>
                </a:lnTo>
                <a:lnTo>
                  <a:pt x="3601993" y="664888"/>
                </a:lnTo>
                <a:lnTo>
                  <a:pt x="3605574" y="668461"/>
                </a:lnTo>
                <a:lnTo>
                  <a:pt x="3606334" y="670519"/>
                </a:lnTo>
                <a:lnTo>
                  <a:pt x="3605249" y="670519"/>
                </a:lnTo>
                <a:lnTo>
                  <a:pt x="3602427" y="669761"/>
                </a:lnTo>
                <a:lnTo>
                  <a:pt x="3600800" y="668678"/>
                </a:lnTo>
                <a:lnTo>
                  <a:pt x="3600800" y="670194"/>
                </a:lnTo>
                <a:lnTo>
                  <a:pt x="3600800" y="672576"/>
                </a:lnTo>
                <a:lnTo>
                  <a:pt x="3602644" y="676149"/>
                </a:lnTo>
                <a:lnTo>
                  <a:pt x="3602644" y="681670"/>
                </a:lnTo>
                <a:lnTo>
                  <a:pt x="3602644" y="683727"/>
                </a:lnTo>
                <a:lnTo>
                  <a:pt x="3603621" y="687842"/>
                </a:lnTo>
                <a:lnTo>
                  <a:pt x="3602969" y="690441"/>
                </a:lnTo>
                <a:lnTo>
                  <a:pt x="3601559" y="693039"/>
                </a:lnTo>
                <a:lnTo>
                  <a:pt x="3599063" y="700726"/>
                </a:lnTo>
                <a:lnTo>
                  <a:pt x="3596350" y="703541"/>
                </a:lnTo>
                <a:lnTo>
                  <a:pt x="3593854" y="703541"/>
                </a:lnTo>
                <a:lnTo>
                  <a:pt x="3591575" y="701592"/>
                </a:lnTo>
                <a:lnTo>
                  <a:pt x="3589622" y="697802"/>
                </a:lnTo>
                <a:lnTo>
                  <a:pt x="3592443" y="695312"/>
                </a:lnTo>
                <a:lnTo>
                  <a:pt x="3591467" y="693147"/>
                </a:lnTo>
                <a:lnTo>
                  <a:pt x="3588971" y="692498"/>
                </a:lnTo>
                <a:lnTo>
                  <a:pt x="3587126" y="693580"/>
                </a:lnTo>
                <a:lnTo>
                  <a:pt x="3584413" y="692931"/>
                </a:lnTo>
                <a:lnTo>
                  <a:pt x="3579096" y="686651"/>
                </a:lnTo>
                <a:lnTo>
                  <a:pt x="3574647" y="683403"/>
                </a:lnTo>
                <a:lnTo>
                  <a:pt x="3570632" y="679722"/>
                </a:lnTo>
                <a:lnTo>
                  <a:pt x="3570632" y="677123"/>
                </a:lnTo>
                <a:lnTo>
                  <a:pt x="3569004" y="673333"/>
                </a:lnTo>
                <a:lnTo>
                  <a:pt x="3563578" y="667271"/>
                </a:lnTo>
                <a:lnTo>
                  <a:pt x="3561299" y="665863"/>
                </a:lnTo>
                <a:lnTo>
                  <a:pt x="3560431" y="665863"/>
                </a:lnTo>
                <a:lnTo>
                  <a:pt x="3560431" y="667379"/>
                </a:lnTo>
                <a:lnTo>
                  <a:pt x="3561516" y="669219"/>
                </a:lnTo>
                <a:lnTo>
                  <a:pt x="3565531" y="673659"/>
                </a:lnTo>
                <a:lnTo>
                  <a:pt x="3565531" y="676149"/>
                </a:lnTo>
                <a:lnTo>
                  <a:pt x="3564338" y="677990"/>
                </a:lnTo>
                <a:lnTo>
                  <a:pt x="3558803" y="677990"/>
                </a:lnTo>
                <a:lnTo>
                  <a:pt x="3555982" y="675607"/>
                </a:lnTo>
                <a:lnTo>
                  <a:pt x="3553703" y="671384"/>
                </a:lnTo>
                <a:lnTo>
                  <a:pt x="3551750" y="668894"/>
                </a:lnTo>
                <a:lnTo>
                  <a:pt x="3551750" y="671602"/>
                </a:lnTo>
                <a:lnTo>
                  <a:pt x="3551750" y="674416"/>
                </a:lnTo>
                <a:lnTo>
                  <a:pt x="3555440" y="678855"/>
                </a:lnTo>
                <a:lnTo>
                  <a:pt x="3562384" y="681670"/>
                </a:lnTo>
                <a:lnTo>
                  <a:pt x="3568461" y="681670"/>
                </a:lnTo>
                <a:lnTo>
                  <a:pt x="3574972" y="686651"/>
                </a:lnTo>
                <a:lnTo>
                  <a:pt x="3583545" y="695529"/>
                </a:lnTo>
                <a:lnTo>
                  <a:pt x="3584522" y="698128"/>
                </a:lnTo>
                <a:lnTo>
                  <a:pt x="3583219" y="700293"/>
                </a:lnTo>
                <a:lnTo>
                  <a:pt x="3581158" y="700293"/>
                </a:lnTo>
                <a:lnTo>
                  <a:pt x="3578445" y="698453"/>
                </a:lnTo>
                <a:lnTo>
                  <a:pt x="3574322" y="698453"/>
                </a:lnTo>
                <a:lnTo>
                  <a:pt x="3571392" y="699968"/>
                </a:lnTo>
                <a:lnTo>
                  <a:pt x="3567159" y="704083"/>
                </a:lnTo>
                <a:lnTo>
                  <a:pt x="3564229" y="704083"/>
                </a:lnTo>
                <a:lnTo>
                  <a:pt x="3560648" y="702459"/>
                </a:lnTo>
                <a:lnTo>
                  <a:pt x="3559454" y="699427"/>
                </a:lnTo>
                <a:lnTo>
                  <a:pt x="3560323" y="697694"/>
                </a:lnTo>
                <a:lnTo>
                  <a:pt x="3559454" y="695963"/>
                </a:lnTo>
                <a:lnTo>
                  <a:pt x="3556308" y="693688"/>
                </a:lnTo>
                <a:lnTo>
                  <a:pt x="3556308" y="696504"/>
                </a:lnTo>
                <a:lnTo>
                  <a:pt x="3557718" y="698886"/>
                </a:lnTo>
                <a:lnTo>
                  <a:pt x="3558586" y="703541"/>
                </a:lnTo>
                <a:lnTo>
                  <a:pt x="3559888" y="706248"/>
                </a:lnTo>
                <a:lnTo>
                  <a:pt x="3564121" y="707114"/>
                </a:lnTo>
                <a:lnTo>
                  <a:pt x="3568787" y="706140"/>
                </a:lnTo>
                <a:lnTo>
                  <a:pt x="3572693" y="701376"/>
                </a:lnTo>
                <a:lnTo>
                  <a:pt x="3575190" y="701376"/>
                </a:lnTo>
                <a:lnTo>
                  <a:pt x="3580724" y="704083"/>
                </a:lnTo>
                <a:lnTo>
                  <a:pt x="3580724" y="707222"/>
                </a:lnTo>
                <a:lnTo>
                  <a:pt x="3579747" y="708630"/>
                </a:lnTo>
                <a:lnTo>
                  <a:pt x="3578662" y="716534"/>
                </a:lnTo>
                <a:lnTo>
                  <a:pt x="3576926" y="719240"/>
                </a:lnTo>
                <a:lnTo>
                  <a:pt x="3574647" y="719240"/>
                </a:lnTo>
                <a:lnTo>
                  <a:pt x="3574647" y="721189"/>
                </a:lnTo>
                <a:lnTo>
                  <a:pt x="3576600" y="723030"/>
                </a:lnTo>
                <a:lnTo>
                  <a:pt x="3578988" y="721514"/>
                </a:lnTo>
                <a:lnTo>
                  <a:pt x="3583979" y="722597"/>
                </a:lnTo>
                <a:lnTo>
                  <a:pt x="3587561" y="726820"/>
                </a:lnTo>
                <a:lnTo>
                  <a:pt x="3592878" y="729526"/>
                </a:lnTo>
                <a:lnTo>
                  <a:pt x="3594397" y="727794"/>
                </a:lnTo>
                <a:lnTo>
                  <a:pt x="3597544" y="725953"/>
                </a:lnTo>
                <a:lnTo>
                  <a:pt x="3601884" y="726494"/>
                </a:lnTo>
                <a:lnTo>
                  <a:pt x="3601884" y="728335"/>
                </a:lnTo>
                <a:lnTo>
                  <a:pt x="3600256" y="731042"/>
                </a:lnTo>
                <a:lnTo>
                  <a:pt x="3600908" y="734832"/>
                </a:lnTo>
                <a:lnTo>
                  <a:pt x="3602861" y="737538"/>
                </a:lnTo>
                <a:lnTo>
                  <a:pt x="3601233" y="741436"/>
                </a:lnTo>
                <a:lnTo>
                  <a:pt x="3597001" y="748148"/>
                </a:lnTo>
                <a:lnTo>
                  <a:pt x="3591683" y="750964"/>
                </a:lnTo>
                <a:lnTo>
                  <a:pt x="3589405" y="750097"/>
                </a:lnTo>
                <a:lnTo>
                  <a:pt x="3588754" y="747174"/>
                </a:lnTo>
                <a:lnTo>
                  <a:pt x="3586149" y="745442"/>
                </a:lnTo>
                <a:lnTo>
                  <a:pt x="3584630" y="741977"/>
                </a:lnTo>
                <a:lnTo>
                  <a:pt x="3584630" y="738512"/>
                </a:lnTo>
                <a:lnTo>
                  <a:pt x="3579422" y="734723"/>
                </a:lnTo>
                <a:lnTo>
                  <a:pt x="3575515" y="733532"/>
                </a:lnTo>
                <a:lnTo>
                  <a:pt x="3571825" y="731042"/>
                </a:lnTo>
                <a:lnTo>
                  <a:pt x="3568570" y="730501"/>
                </a:lnTo>
                <a:lnTo>
                  <a:pt x="3565423" y="732558"/>
                </a:lnTo>
                <a:lnTo>
                  <a:pt x="3562276" y="732558"/>
                </a:lnTo>
                <a:lnTo>
                  <a:pt x="3560539" y="731150"/>
                </a:lnTo>
                <a:lnTo>
                  <a:pt x="3558912" y="727902"/>
                </a:lnTo>
                <a:lnTo>
                  <a:pt x="3556525" y="725195"/>
                </a:lnTo>
                <a:lnTo>
                  <a:pt x="3554897" y="725195"/>
                </a:lnTo>
                <a:lnTo>
                  <a:pt x="3554897" y="727036"/>
                </a:lnTo>
                <a:lnTo>
                  <a:pt x="3556308" y="729743"/>
                </a:lnTo>
                <a:lnTo>
                  <a:pt x="3556308" y="734723"/>
                </a:lnTo>
                <a:lnTo>
                  <a:pt x="3554788" y="737863"/>
                </a:lnTo>
                <a:lnTo>
                  <a:pt x="3552075" y="739487"/>
                </a:lnTo>
                <a:lnTo>
                  <a:pt x="3548602" y="739487"/>
                </a:lnTo>
                <a:lnTo>
                  <a:pt x="3546541" y="740678"/>
                </a:lnTo>
                <a:lnTo>
                  <a:pt x="3549037" y="741544"/>
                </a:lnTo>
                <a:lnTo>
                  <a:pt x="3550556" y="743493"/>
                </a:lnTo>
                <a:lnTo>
                  <a:pt x="3550556" y="746200"/>
                </a:lnTo>
                <a:lnTo>
                  <a:pt x="3546975" y="751180"/>
                </a:lnTo>
                <a:lnTo>
                  <a:pt x="3544587" y="752587"/>
                </a:lnTo>
                <a:lnTo>
                  <a:pt x="3544587" y="753887"/>
                </a:lnTo>
                <a:lnTo>
                  <a:pt x="3545673" y="755728"/>
                </a:lnTo>
                <a:lnTo>
                  <a:pt x="3547952" y="757244"/>
                </a:lnTo>
                <a:lnTo>
                  <a:pt x="3549471" y="762224"/>
                </a:lnTo>
                <a:lnTo>
                  <a:pt x="3552075" y="763523"/>
                </a:lnTo>
                <a:lnTo>
                  <a:pt x="3553052" y="768070"/>
                </a:lnTo>
                <a:lnTo>
                  <a:pt x="3551967" y="773484"/>
                </a:lnTo>
                <a:lnTo>
                  <a:pt x="3552618" y="775216"/>
                </a:lnTo>
                <a:lnTo>
                  <a:pt x="3554028" y="771427"/>
                </a:lnTo>
                <a:lnTo>
                  <a:pt x="3555657" y="768612"/>
                </a:lnTo>
                <a:lnTo>
                  <a:pt x="3555657" y="765364"/>
                </a:lnTo>
                <a:lnTo>
                  <a:pt x="3554028" y="763848"/>
                </a:lnTo>
                <a:lnTo>
                  <a:pt x="3554028" y="759625"/>
                </a:lnTo>
                <a:lnTo>
                  <a:pt x="3555548" y="756377"/>
                </a:lnTo>
                <a:lnTo>
                  <a:pt x="3557067" y="756377"/>
                </a:lnTo>
                <a:lnTo>
                  <a:pt x="3558478" y="759301"/>
                </a:lnTo>
                <a:lnTo>
                  <a:pt x="3560648" y="761141"/>
                </a:lnTo>
                <a:lnTo>
                  <a:pt x="3562493" y="764281"/>
                </a:lnTo>
                <a:lnTo>
                  <a:pt x="3565640" y="766663"/>
                </a:lnTo>
                <a:lnTo>
                  <a:pt x="3567159" y="765580"/>
                </a:lnTo>
                <a:lnTo>
                  <a:pt x="3569112" y="765580"/>
                </a:lnTo>
                <a:lnTo>
                  <a:pt x="3570632" y="766771"/>
                </a:lnTo>
                <a:lnTo>
                  <a:pt x="3571934" y="765364"/>
                </a:lnTo>
                <a:lnTo>
                  <a:pt x="3575840" y="763956"/>
                </a:lnTo>
                <a:lnTo>
                  <a:pt x="3579096" y="764606"/>
                </a:lnTo>
                <a:lnTo>
                  <a:pt x="3580181" y="766554"/>
                </a:lnTo>
                <a:lnTo>
                  <a:pt x="3580181" y="769695"/>
                </a:lnTo>
                <a:lnTo>
                  <a:pt x="3577034" y="775216"/>
                </a:lnTo>
                <a:lnTo>
                  <a:pt x="3575298" y="778464"/>
                </a:lnTo>
                <a:lnTo>
                  <a:pt x="3575298" y="782795"/>
                </a:lnTo>
                <a:lnTo>
                  <a:pt x="3574647" y="788317"/>
                </a:lnTo>
                <a:lnTo>
                  <a:pt x="3573453" y="789941"/>
                </a:lnTo>
                <a:lnTo>
                  <a:pt x="3569221" y="789941"/>
                </a:lnTo>
                <a:lnTo>
                  <a:pt x="3564772" y="791240"/>
                </a:lnTo>
                <a:lnTo>
                  <a:pt x="3561408" y="790374"/>
                </a:lnTo>
                <a:lnTo>
                  <a:pt x="3558586" y="789075"/>
                </a:lnTo>
                <a:lnTo>
                  <a:pt x="3556090" y="789075"/>
                </a:lnTo>
                <a:lnTo>
                  <a:pt x="3553269" y="791132"/>
                </a:lnTo>
                <a:lnTo>
                  <a:pt x="3553269" y="793947"/>
                </a:lnTo>
                <a:lnTo>
                  <a:pt x="3550990" y="795896"/>
                </a:lnTo>
                <a:lnTo>
                  <a:pt x="3547952" y="795896"/>
                </a:lnTo>
                <a:lnTo>
                  <a:pt x="3545999" y="795896"/>
                </a:lnTo>
                <a:lnTo>
                  <a:pt x="3544045" y="799036"/>
                </a:lnTo>
                <a:lnTo>
                  <a:pt x="3543394" y="800985"/>
                </a:lnTo>
                <a:lnTo>
                  <a:pt x="3540247" y="801743"/>
                </a:lnTo>
                <a:lnTo>
                  <a:pt x="3537751" y="801093"/>
                </a:lnTo>
                <a:lnTo>
                  <a:pt x="3533845" y="798278"/>
                </a:lnTo>
                <a:lnTo>
                  <a:pt x="3527334" y="794597"/>
                </a:lnTo>
                <a:lnTo>
                  <a:pt x="3523318" y="790374"/>
                </a:lnTo>
                <a:lnTo>
                  <a:pt x="3513769" y="781388"/>
                </a:lnTo>
                <a:lnTo>
                  <a:pt x="3512141" y="777707"/>
                </a:lnTo>
                <a:lnTo>
                  <a:pt x="3512141" y="775108"/>
                </a:lnTo>
                <a:lnTo>
                  <a:pt x="3513660" y="773701"/>
                </a:lnTo>
                <a:lnTo>
                  <a:pt x="3516156" y="773701"/>
                </a:lnTo>
                <a:lnTo>
                  <a:pt x="3517242" y="774675"/>
                </a:lnTo>
                <a:lnTo>
                  <a:pt x="3519629" y="776082"/>
                </a:lnTo>
                <a:lnTo>
                  <a:pt x="3527767" y="779980"/>
                </a:lnTo>
                <a:lnTo>
                  <a:pt x="3532217" y="783986"/>
                </a:lnTo>
                <a:lnTo>
                  <a:pt x="3533736" y="783336"/>
                </a:lnTo>
                <a:lnTo>
                  <a:pt x="3539921" y="782254"/>
                </a:lnTo>
                <a:lnTo>
                  <a:pt x="3539921" y="780197"/>
                </a:lnTo>
                <a:lnTo>
                  <a:pt x="3538076" y="778681"/>
                </a:lnTo>
                <a:lnTo>
                  <a:pt x="3536123" y="778681"/>
                </a:lnTo>
                <a:lnTo>
                  <a:pt x="3533845" y="780089"/>
                </a:lnTo>
                <a:lnTo>
                  <a:pt x="3530047" y="778573"/>
                </a:lnTo>
                <a:lnTo>
                  <a:pt x="3523101" y="773701"/>
                </a:lnTo>
                <a:lnTo>
                  <a:pt x="3515505" y="770560"/>
                </a:lnTo>
                <a:lnTo>
                  <a:pt x="3512792" y="770560"/>
                </a:lnTo>
                <a:lnTo>
                  <a:pt x="3511707" y="768720"/>
                </a:lnTo>
                <a:lnTo>
                  <a:pt x="3511707" y="766013"/>
                </a:lnTo>
                <a:lnTo>
                  <a:pt x="3509754" y="765147"/>
                </a:lnTo>
                <a:lnTo>
                  <a:pt x="3507801" y="765147"/>
                </a:lnTo>
                <a:lnTo>
                  <a:pt x="3505848" y="767421"/>
                </a:lnTo>
                <a:lnTo>
                  <a:pt x="3505848" y="771427"/>
                </a:lnTo>
                <a:lnTo>
                  <a:pt x="3504979" y="778573"/>
                </a:lnTo>
                <a:lnTo>
                  <a:pt x="3504979" y="781713"/>
                </a:lnTo>
                <a:lnTo>
                  <a:pt x="3504219" y="783553"/>
                </a:lnTo>
                <a:lnTo>
                  <a:pt x="3503135" y="782687"/>
                </a:lnTo>
                <a:lnTo>
                  <a:pt x="3495538" y="774025"/>
                </a:lnTo>
                <a:lnTo>
                  <a:pt x="3490764" y="765689"/>
                </a:lnTo>
                <a:lnTo>
                  <a:pt x="3488811" y="763090"/>
                </a:lnTo>
                <a:lnTo>
                  <a:pt x="3488811" y="760924"/>
                </a:lnTo>
                <a:lnTo>
                  <a:pt x="3487183" y="759084"/>
                </a:lnTo>
                <a:lnTo>
                  <a:pt x="3485446" y="759084"/>
                </a:lnTo>
                <a:lnTo>
                  <a:pt x="3484795" y="760275"/>
                </a:lnTo>
                <a:lnTo>
                  <a:pt x="3484795" y="762548"/>
                </a:lnTo>
                <a:lnTo>
                  <a:pt x="3488376" y="764822"/>
                </a:lnTo>
                <a:lnTo>
                  <a:pt x="3493477" y="773592"/>
                </a:lnTo>
                <a:lnTo>
                  <a:pt x="3493477" y="775974"/>
                </a:lnTo>
                <a:lnTo>
                  <a:pt x="3496515" y="780305"/>
                </a:lnTo>
                <a:lnTo>
                  <a:pt x="3497600" y="782579"/>
                </a:lnTo>
                <a:lnTo>
                  <a:pt x="3497600" y="785069"/>
                </a:lnTo>
                <a:lnTo>
                  <a:pt x="3495213" y="785069"/>
                </a:lnTo>
                <a:lnTo>
                  <a:pt x="3491632" y="786585"/>
                </a:lnTo>
                <a:lnTo>
                  <a:pt x="3488811" y="789075"/>
                </a:lnTo>
                <a:lnTo>
                  <a:pt x="3486965" y="791565"/>
                </a:lnTo>
                <a:lnTo>
                  <a:pt x="3483384" y="792540"/>
                </a:lnTo>
                <a:lnTo>
                  <a:pt x="3480563" y="794488"/>
                </a:lnTo>
                <a:lnTo>
                  <a:pt x="3476657" y="795680"/>
                </a:lnTo>
                <a:lnTo>
                  <a:pt x="3473184" y="795680"/>
                </a:lnTo>
                <a:lnTo>
                  <a:pt x="3470146" y="792540"/>
                </a:lnTo>
                <a:lnTo>
                  <a:pt x="3467975" y="792540"/>
                </a:lnTo>
                <a:lnTo>
                  <a:pt x="3465479" y="791240"/>
                </a:lnTo>
                <a:lnTo>
                  <a:pt x="3464611" y="789291"/>
                </a:lnTo>
                <a:lnTo>
                  <a:pt x="3459511" y="785285"/>
                </a:lnTo>
                <a:lnTo>
                  <a:pt x="3456689" y="783553"/>
                </a:lnTo>
                <a:lnTo>
                  <a:pt x="3456689" y="781063"/>
                </a:lnTo>
                <a:lnTo>
                  <a:pt x="3455821" y="778681"/>
                </a:lnTo>
                <a:lnTo>
                  <a:pt x="3454194" y="777923"/>
                </a:lnTo>
                <a:lnTo>
                  <a:pt x="3453325" y="779114"/>
                </a:lnTo>
                <a:lnTo>
                  <a:pt x="3453325" y="782903"/>
                </a:lnTo>
                <a:lnTo>
                  <a:pt x="3454953" y="785827"/>
                </a:lnTo>
                <a:lnTo>
                  <a:pt x="3458860" y="787884"/>
                </a:lnTo>
                <a:lnTo>
                  <a:pt x="3462983" y="791240"/>
                </a:lnTo>
                <a:lnTo>
                  <a:pt x="3465479" y="795246"/>
                </a:lnTo>
                <a:lnTo>
                  <a:pt x="3465479" y="797411"/>
                </a:lnTo>
                <a:lnTo>
                  <a:pt x="3462983" y="799144"/>
                </a:lnTo>
                <a:lnTo>
                  <a:pt x="3455930" y="799144"/>
                </a:lnTo>
                <a:lnTo>
                  <a:pt x="3450937" y="798278"/>
                </a:lnTo>
                <a:lnTo>
                  <a:pt x="3447140" y="799469"/>
                </a:lnTo>
                <a:lnTo>
                  <a:pt x="3444427" y="801851"/>
                </a:lnTo>
                <a:lnTo>
                  <a:pt x="3445403" y="803475"/>
                </a:lnTo>
                <a:lnTo>
                  <a:pt x="3446922" y="803475"/>
                </a:lnTo>
                <a:lnTo>
                  <a:pt x="3448550" y="805965"/>
                </a:lnTo>
                <a:lnTo>
                  <a:pt x="3450395" y="806831"/>
                </a:lnTo>
                <a:lnTo>
                  <a:pt x="3451589" y="804666"/>
                </a:lnTo>
                <a:lnTo>
                  <a:pt x="3452349" y="801959"/>
                </a:lnTo>
                <a:lnTo>
                  <a:pt x="3456580" y="801959"/>
                </a:lnTo>
                <a:lnTo>
                  <a:pt x="3459945" y="803042"/>
                </a:lnTo>
                <a:lnTo>
                  <a:pt x="3463309" y="804341"/>
                </a:lnTo>
                <a:lnTo>
                  <a:pt x="3466347" y="802609"/>
                </a:lnTo>
                <a:lnTo>
                  <a:pt x="3466889" y="799902"/>
                </a:lnTo>
                <a:lnTo>
                  <a:pt x="3469711" y="799036"/>
                </a:lnTo>
                <a:lnTo>
                  <a:pt x="3474052" y="799577"/>
                </a:lnTo>
                <a:lnTo>
                  <a:pt x="3478284" y="799577"/>
                </a:lnTo>
                <a:lnTo>
                  <a:pt x="3480020" y="801201"/>
                </a:lnTo>
                <a:lnTo>
                  <a:pt x="3483059" y="803150"/>
                </a:lnTo>
                <a:lnTo>
                  <a:pt x="3488267" y="804341"/>
                </a:lnTo>
                <a:lnTo>
                  <a:pt x="3491414" y="806290"/>
                </a:lnTo>
                <a:lnTo>
                  <a:pt x="3492500" y="809321"/>
                </a:lnTo>
                <a:lnTo>
                  <a:pt x="3491523" y="811920"/>
                </a:lnTo>
                <a:lnTo>
                  <a:pt x="3489461" y="812461"/>
                </a:lnTo>
                <a:lnTo>
                  <a:pt x="3487183" y="815601"/>
                </a:lnTo>
                <a:lnTo>
                  <a:pt x="3483167" y="815601"/>
                </a:lnTo>
                <a:lnTo>
                  <a:pt x="3479912" y="815601"/>
                </a:lnTo>
                <a:lnTo>
                  <a:pt x="3475897" y="818741"/>
                </a:lnTo>
                <a:lnTo>
                  <a:pt x="3472641" y="820257"/>
                </a:lnTo>
                <a:lnTo>
                  <a:pt x="3469060" y="819607"/>
                </a:lnTo>
                <a:lnTo>
                  <a:pt x="3464828" y="815168"/>
                </a:lnTo>
                <a:lnTo>
                  <a:pt x="3462332" y="813977"/>
                </a:lnTo>
                <a:lnTo>
                  <a:pt x="3460161" y="813977"/>
                </a:lnTo>
                <a:lnTo>
                  <a:pt x="3458208" y="816143"/>
                </a:lnTo>
                <a:lnTo>
                  <a:pt x="3455495" y="816143"/>
                </a:lnTo>
                <a:lnTo>
                  <a:pt x="3454194" y="815384"/>
                </a:lnTo>
                <a:lnTo>
                  <a:pt x="3451806" y="815384"/>
                </a:lnTo>
                <a:lnTo>
                  <a:pt x="3451806" y="816900"/>
                </a:lnTo>
                <a:lnTo>
                  <a:pt x="3454410" y="816900"/>
                </a:lnTo>
                <a:lnTo>
                  <a:pt x="3458751" y="816900"/>
                </a:lnTo>
                <a:lnTo>
                  <a:pt x="3460813" y="815709"/>
                </a:lnTo>
                <a:lnTo>
                  <a:pt x="3463309" y="816467"/>
                </a:lnTo>
                <a:lnTo>
                  <a:pt x="3464394" y="818308"/>
                </a:lnTo>
                <a:lnTo>
                  <a:pt x="3463200" y="820149"/>
                </a:lnTo>
                <a:lnTo>
                  <a:pt x="3459076" y="820906"/>
                </a:lnTo>
                <a:lnTo>
                  <a:pt x="3454844" y="822964"/>
                </a:lnTo>
                <a:lnTo>
                  <a:pt x="3454085" y="824371"/>
                </a:lnTo>
                <a:lnTo>
                  <a:pt x="3456038" y="824371"/>
                </a:lnTo>
                <a:lnTo>
                  <a:pt x="3458317" y="822964"/>
                </a:lnTo>
                <a:lnTo>
                  <a:pt x="3463526" y="821664"/>
                </a:lnTo>
                <a:lnTo>
                  <a:pt x="3465371" y="821664"/>
                </a:lnTo>
                <a:lnTo>
                  <a:pt x="3466673" y="823721"/>
                </a:lnTo>
                <a:lnTo>
                  <a:pt x="3466673" y="826645"/>
                </a:lnTo>
                <a:lnTo>
                  <a:pt x="3467758" y="826645"/>
                </a:lnTo>
                <a:lnTo>
                  <a:pt x="3470254" y="822964"/>
                </a:lnTo>
                <a:lnTo>
                  <a:pt x="3473400" y="822314"/>
                </a:lnTo>
                <a:lnTo>
                  <a:pt x="3475463" y="822314"/>
                </a:lnTo>
                <a:lnTo>
                  <a:pt x="3479478" y="818849"/>
                </a:lnTo>
                <a:lnTo>
                  <a:pt x="3481105" y="818849"/>
                </a:lnTo>
                <a:lnTo>
                  <a:pt x="3483167" y="819932"/>
                </a:lnTo>
                <a:lnTo>
                  <a:pt x="3488919" y="824047"/>
                </a:lnTo>
                <a:lnTo>
                  <a:pt x="3490980" y="824047"/>
                </a:lnTo>
                <a:lnTo>
                  <a:pt x="3492391" y="824804"/>
                </a:lnTo>
                <a:lnTo>
                  <a:pt x="3493042" y="827944"/>
                </a:lnTo>
                <a:lnTo>
                  <a:pt x="3492065" y="835198"/>
                </a:lnTo>
                <a:lnTo>
                  <a:pt x="3489570" y="838014"/>
                </a:lnTo>
                <a:lnTo>
                  <a:pt x="3484686" y="838771"/>
                </a:lnTo>
                <a:lnTo>
                  <a:pt x="3480780" y="838771"/>
                </a:lnTo>
                <a:lnTo>
                  <a:pt x="3477416" y="837255"/>
                </a:lnTo>
                <a:lnTo>
                  <a:pt x="3469602" y="837255"/>
                </a:lnTo>
                <a:lnTo>
                  <a:pt x="3467866" y="836606"/>
                </a:lnTo>
                <a:lnTo>
                  <a:pt x="3464611" y="839529"/>
                </a:lnTo>
                <a:lnTo>
                  <a:pt x="3466021" y="840287"/>
                </a:lnTo>
                <a:lnTo>
                  <a:pt x="3470579" y="839204"/>
                </a:lnTo>
                <a:lnTo>
                  <a:pt x="3475245" y="839204"/>
                </a:lnTo>
                <a:lnTo>
                  <a:pt x="3481865" y="841478"/>
                </a:lnTo>
                <a:lnTo>
                  <a:pt x="3482950" y="844293"/>
                </a:lnTo>
                <a:lnTo>
                  <a:pt x="3482950" y="846459"/>
                </a:lnTo>
                <a:lnTo>
                  <a:pt x="3486531" y="842453"/>
                </a:lnTo>
                <a:lnTo>
                  <a:pt x="3490546" y="841586"/>
                </a:lnTo>
                <a:lnTo>
                  <a:pt x="3494995" y="841586"/>
                </a:lnTo>
                <a:lnTo>
                  <a:pt x="3499119" y="843860"/>
                </a:lnTo>
                <a:lnTo>
                  <a:pt x="3500422" y="845809"/>
                </a:lnTo>
                <a:lnTo>
                  <a:pt x="3507584" y="851331"/>
                </a:lnTo>
                <a:lnTo>
                  <a:pt x="3508561" y="853063"/>
                </a:lnTo>
                <a:lnTo>
                  <a:pt x="3508561" y="855228"/>
                </a:lnTo>
                <a:lnTo>
                  <a:pt x="3511165" y="855228"/>
                </a:lnTo>
                <a:lnTo>
                  <a:pt x="3512684" y="856636"/>
                </a:lnTo>
                <a:lnTo>
                  <a:pt x="3514420" y="856636"/>
                </a:lnTo>
                <a:lnTo>
                  <a:pt x="3517784" y="859884"/>
                </a:lnTo>
                <a:lnTo>
                  <a:pt x="3520280" y="860967"/>
                </a:lnTo>
                <a:lnTo>
                  <a:pt x="3521365" y="863890"/>
                </a:lnTo>
                <a:lnTo>
                  <a:pt x="3523318" y="866055"/>
                </a:lnTo>
                <a:lnTo>
                  <a:pt x="3525054" y="866055"/>
                </a:lnTo>
                <a:lnTo>
                  <a:pt x="3526574" y="868545"/>
                </a:lnTo>
                <a:lnTo>
                  <a:pt x="3528527" y="870278"/>
                </a:lnTo>
                <a:lnTo>
                  <a:pt x="3528527" y="871577"/>
                </a:lnTo>
                <a:lnTo>
                  <a:pt x="3526466" y="876233"/>
                </a:lnTo>
                <a:lnTo>
                  <a:pt x="3523861" y="877857"/>
                </a:lnTo>
                <a:lnTo>
                  <a:pt x="3522016" y="880780"/>
                </a:lnTo>
                <a:lnTo>
                  <a:pt x="3521148" y="883920"/>
                </a:lnTo>
                <a:lnTo>
                  <a:pt x="3521148" y="885003"/>
                </a:lnTo>
                <a:lnTo>
                  <a:pt x="3524295" y="881538"/>
                </a:lnTo>
                <a:lnTo>
                  <a:pt x="3528093" y="878398"/>
                </a:lnTo>
                <a:lnTo>
                  <a:pt x="3530589" y="877316"/>
                </a:lnTo>
                <a:lnTo>
                  <a:pt x="3531891" y="877965"/>
                </a:lnTo>
                <a:lnTo>
                  <a:pt x="3530481" y="880563"/>
                </a:lnTo>
                <a:lnTo>
                  <a:pt x="3529070" y="884461"/>
                </a:lnTo>
                <a:lnTo>
                  <a:pt x="3530481" y="883271"/>
                </a:lnTo>
                <a:lnTo>
                  <a:pt x="3531674" y="880889"/>
                </a:lnTo>
                <a:lnTo>
                  <a:pt x="3533302" y="878940"/>
                </a:lnTo>
                <a:lnTo>
                  <a:pt x="3536123" y="878940"/>
                </a:lnTo>
                <a:lnTo>
                  <a:pt x="3538402" y="881213"/>
                </a:lnTo>
                <a:lnTo>
                  <a:pt x="3536883" y="884245"/>
                </a:lnTo>
                <a:lnTo>
                  <a:pt x="3532651" y="886410"/>
                </a:lnTo>
                <a:lnTo>
                  <a:pt x="3529179" y="889334"/>
                </a:lnTo>
                <a:lnTo>
                  <a:pt x="3528093" y="892365"/>
                </a:lnTo>
                <a:lnTo>
                  <a:pt x="3528093" y="895071"/>
                </a:lnTo>
                <a:lnTo>
                  <a:pt x="3529179" y="896696"/>
                </a:lnTo>
                <a:lnTo>
                  <a:pt x="3529179" y="899077"/>
                </a:lnTo>
                <a:lnTo>
                  <a:pt x="3527984" y="904167"/>
                </a:lnTo>
                <a:lnTo>
                  <a:pt x="3527984" y="905791"/>
                </a:lnTo>
                <a:lnTo>
                  <a:pt x="3530047" y="905141"/>
                </a:lnTo>
                <a:lnTo>
                  <a:pt x="3531023" y="899295"/>
                </a:lnTo>
                <a:lnTo>
                  <a:pt x="3534170" y="894422"/>
                </a:lnTo>
                <a:lnTo>
                  <a:pt x="3537751" y="892473"/>
                </a:lnTo>
                <a:lnTo>
                  <a:pt x="3539488" y="892473"/>
                </a:lnTo>
                <a:lnTo>
                  <a:pt x="3539488" y="894314"/>
                </a:lnTo>
                <a:lnTo>
                  <a:pt x="3537208" y="898536"/>
                </a:lnTo>
                <a:lnTo>
                  <a:pt x="3535581" y="902109"/>
                </a:lnTo>
                <a:lnTo>
                  <a:pt x="3536232" y="903950"/>
                </a:lnTo>
                <a:lnTo>
                  <a:pt x="3538620" y="902867"/>
                </a:lnTo>
                <a:lnTo>
                  <a:pt x="3540030" y="904599"/>
                </a:lnTo>
                <a:lnTo>
                  <a:pt x="3540030" y="908930"/>
                </a:lnTo>
                <a:lnTo>
                  <a:pt x="3537968" y="910987"/>
                </a:lnTo>
                <a:lnTo>
                  <a:pt x="3533845" y="911637"/>
                </a:lnTo>
                <a:lnTo>
                  <a:pt x="3532759" y="913586"/>
                </a:lnTo>
                <a:lnTo>
                  <a:pt x="3532759" y="915535"/>
                </a:lnTo>
                <a:lnTo>
                  <a:pt x="3537425" y="913803"/>
                </a:lnTo>
                <a:lnTo>
                  <a:pt x="3538511" y="915210"/>
                </a:lnTo>
                <a:lnTo>
                  <a:pt x="3537860" y="917592"/>
                </a:lnTo>
                <a:lnTo>
                  <a:pt x="3536558" y="920299"/>
                </a:lnTo>
                <a:lnTo>
                  <a:pt x="3538511" y="920299"/>
                </a:lnTo>
                <a:lnTo>
                  <a:pt x="3540030" y="922789"/>
                </a:lnTo>
                <a:lnTo>
                  <a:pt x="3539161" y="924521"/>
                </a:lnTo>
                <a:lnTo>
                  <a:pt x="3539161" y="929069"/>
                </a:lnTo>
                <a:lnTo>
                  <a:pt x="3538076" y="931776"/>
                </a:lnTo>
                <a:lnTo>
                  <a:pt x="3538076" y="939138"/>
                </a:lnTo>
                <a:lnTo>
                  <a:pt x="3538728" y="942277"/>
                </a:lnTo>
                <a:lnTo>
                  <a:pt x="3538728" y="945526"/>
                </a:lnTo>
                <a:lnTo>
                  <a:pt x="3536449" y="947150"/>
                </a:lnTo>
                <a:lnTo>
                  <a:pt x="3533845" y="947150"/>
                </a:lnTo>
                <a:lnTo>
                  <a:pt x="3532217" y="947150"/>
                </a:lnTo>
                <a:lnTo>
                  <a:pt x="3531240" y="945850"/>
                </a:lnTo>
                <a:lnTo>
                  <a:pt x="3532325" y="943577"/>
                </a:lnTo>
                <a:lnTo>
                  <a:pt x="3531132" y="941411"/>
                </a:lnTo>
                <a:lnTo>
                  <a:pt x="3529070" y="939896"/>
                </a:lnTo>
                <a:lnTo>
                  <a:pt x="3526357" y="940978"/>
                </a:lnTo>
                <a:lnTo>
                  <a:pt x="3524729" y="942494"/>
                </a:lnTo>
                <a:lnTo>
                  <a:pt x="3522450" y="941520"/>
                </a:lnTo>
                <a:lnTo>
                  <a:pt x="3522450" y="938488"/>
                </a:lnTo>
                <a:lnTo>
                  <a:pt x="3524512" y="934807"/>
                </a:lnTo>
                <a:lnTo>
                  <a:pt x="3522884" y="930476"/>
                </a:lnTo>
                <a:lnTo>
                  <a:pt x="3522884" y="927120"/>
                </a:lnTo>
                <a:lnTo>
                  <a:pt x="3523969" y="923547"/>
                </a:lnTo>
                <a:lnTo>
                  <a:pt x="3522559" y="921598"/>
                </a:lnTo>
                <a:lnTo>
                  <a:pt x="3521148" y="921598"/>
                </a:lnTo>
                <a:lnTo>
                  <a:pt x="3519955" y="924305"/>
                </a:lnTo>
                <a:lnTo>
                  <a:pt x="3518978" y="928852"/>
                </a:lnTo>
                <a:lnTo>
                  <a:pt x="3518978" y="934807"/>
                </a:lnTo>
                <a:lnTo>
                  <a:pt x="3518978" y="940221"/>
                </a:lnTo>
                <a:lnTo>
                  <a:pt x="3518978" y="943036"/>
                </a:lnTo>
                <a:lnTo>
                  <a:pt x="3517458" y="944119"/>
                </a:lnTo>
                <a:lnTo>
                  <a:pt x="3514637" y="944119"/>
                </a:lnTo>
                <a:lnTo>
                  <a:pt x="3511599" y="944768"/>
                </a:lnTo>
                <a:lnTo>
                  <a:pt x="3508561" y="945850"/>
                </a:lnTo>
                <a:lnTo>
                  <a:pt x="3506064" y="943469"/>
                </a:lnTo>
                <a:lnTo>
                  <a:pt x="3500422" y="939030"/>
                </a:lnTo>
                <a:lnTo>
                  <a:pt x="3496731" y="931992"/>
                </a:lnTo>
                <a:lnTo>
                  <a:pt x="3493585" y="928419"/>
                </a:lnTo>
                <a:lnTo>
                  <a:pt x="3491414" y="925821"/>
                </a:lnTo>
                <a:lnTo>
                  <a:pt x="3490221" y="918025"/>
                </a:lnTo>
                <a:lnTo>
                  <a:pt x="3488051" y="914236"/>
                </a:lnTo>
                <a:lnTo>
                  <a:pt x="3485446" y="911096"/>
                </a:lnTo>
                <a:lnTo>
                  <a:pt x="3484578" y="905683"/>
                </a:lnTo>
                <a:lnTo>
                  <a:pt x="3485338" y="901026"/>
                </a:lnTo>
                <a:lnTo>
                  <a:pt x="3486965" y="897887"/>
                </a:lnTo>
                <a:lnTo>
                  <a:pt x="3485772" y="895613"/>
                </a:lnTo>
                <a:lnTo>
                  <a:pt x="3484361" y="895613"/>
                </a:lnTo>
                <a:lnTo>
                  <a:pt x="3479695" y="896804"/>
                </a:lnTo>
                <a:lnTo>
                  <a:pt x="3478175" y="898645"/>
                </a:lnTo>
                <a:lnTo>
                  <a:pt x="3475028" y="896263"/>
                </a:lnTo>
                <a:lnTo>
                  <a:pt x="3467215" y="886085"/>
                </a:lnTo>
                <a:lnTo>
                  <a:pt x="3467215" y="882512"/>
                </a:lnTo>
                <a:lnTo>
                  <a:pt x="3465479" y="880672"/>
                </a:lnTo>
                <a:lnTo>
                  <a:pt x="3462549" y="882187"/>
                </a:lnTo>
                <a:lnTo>
                  <a:pt x="3458100" y="882837"/>
                </a:lnTo>
                <a:lnTo>
                  <a:pt x="3454302" y="881104"/>
                </a:lnTo>
                <a:lnTo>
                  <a:pt x="3452566" y="882187"/>
                </a:lnTo>
                <a:lnTo>
                  <a:pt x="3449853" y="883595"/>
                </a:lnTo>
                <a:lnTo>
                  <a:pt x="3447791" y="882404"/>
                </a:lnTo>
                <a:lnTo>
                  <a:pt x="3444644" y="878831"/>
                </a:lnTo>
                <a:lnTo>
                  <a:pt x="3444644" y="876557"/>
                </a:lnTo>
                <a:lnTo>
                  <a:pt x="3439110" y="871577"/>
                </a:lnTo>
                <a:lnTo>
                  <a:pt x="3439110" y="869195"/>
                </a:lnTo>
                <a:lnTo>
                  <a:pt x="3437048" y="866596"/>
                </a:lnTo>
                <a:lnTo>
                  <a:pt x="3435529" y="861400"/>
                </a:lnTo>
                <a:lnTo>
                  <a:pt x="3433250" y="858693"/>
                </a:lnTo>
                <a:lnTo>
                  <a:pt x="3431839" y="860967"/>
                </a:lnTo>
                <a:lnTo>
                  <a:pt x="3431839" y="864973"/>
                </a:lnTo>
                <a:lnTo>
                  <a:pt x="3431839" y="866813"/>
                </a:lnTo>
                <a:lnTo>
                  <a:pt x="3427389" y="869087"/>
                </a:lnTo>
                <a:lnTo>
                  <a:pt x="3425871" y="870602"/>
                </a:lnTo>
                <a:lnTo>
                  <a:pt x="3429994" y="870602"/>
                </a:lnTo>
                <a:lnTo>
                  <a:pt x="3432382" y="872118"/>
                </a:lnTo>
                <a:lnTo>
                  <a:pt x="3435312" y="876449"/>
                </a:lnTo>
                <a:lnTo>
                  <a:pt x="3437698" y="880022"/>
                </a:lnTo>
                <a:lnTo>
                  <a:pt x="3436614" y="882079"/>
                </a:lnTo>
                <a:lnTo>
                  <a:pt x="3431622" y="882079"/>
                </a:lnTo>
                <a:lnTo>
                  <a:pt x="3429343" y="884136"/>
                </a:lnTo>
                <a:lnTo>
                  <a:pt x="3426088" y="885977"/>
                </a:lnTo>
                <a:lnTo>
                  <a:pt x="3423375" y="883595"/>
                </a:lnTo>
                <a:lnTo>
                  <a:pt x="3423375" y="886302"/>
                </a:lnTo>
                <a:lnTo>
                  <a:pt x="3426304" y="888359"/>
                </a:lnTo>
                <a:lnTo>
                  <a:pt x="3429451" y="888359"/>
                </a:lnTo>
                <a:lnTo>
                  <a:pt x="3433901" y="884569"/>
                </a:lnTo>
                <a:lnTo>
                  <a:pt x="3436614" y="884569"/>
                </a:lnTo>
                <a:lnTo>
                  <a:pt x="3441496" y="882729"/>
                </a:lnTo>
                <a:lnTo>
                  <a:pt x="3442691" y="884245"/>
                </a:lnTo>
                <a:lnTo>
                  <a:pt x="3442691" y="886843"/>
                </a:lnTo>
                <a:lnTo>
                  <a:pt x="3444427" y="888900"/>
                </a:lnTo>
                <a:lnTo>
                  <a:pt x="3449202" y="886626"/>
                </a:lnTo>
                <a:lnTo>
                  <a:pt x="3451046" y="886626"/>
                </a:lnTo>
                <a:lnTo>
                  <a:pt x="3461898" y="889875"/>
                </a:lnTo>
                <a:lnTo>
                  <a:pt x="3466021" y="891932"/>
                </a:lnTo>
                <a:lnTo>
                  <a:pt x="3468300" y="891932"/>
                </a:lnTo>
                <a:lnTo>
                  <a:pt x="3469494" y="895180"/>
                </a:lnTo>
                <a:lnTo>
                  <a:pt x="3471773" y="900052"/>
                </a:lnTo>
                <a:lnTo>
                  <a:pt x="3469928" y="904058"/>
                </a:lnTo>
                <a:lnTo>
                  <a:pt x="3466781" y="905358"/>
                </a:lnTo>
                <a:lnTo>
                  <a:pt x="3464286" y="908173"/>
                </a:lnTo>
                <a:lnTo>
                  <a:pt x="3461464" y="909580"/>
                </a:lnTo>
                <a:lnTo>
                  <a:pt x="3458100" y="909580"/>
                </a:lnTo>
                <a:lnTo>
                  <a:pt x="3446489" y="915318"/>
                </a:lnTo>
                <a:lnTo>
                  <a:pt x="3440520" y="915318"/>
                </a:lnTo>
                <a:lnTo>
                  <a:pt x="3436397" y="916834"/>
                </a:lnTo>
                <a:lnTo>
                  <a:pt x="3433467" y="914777"/>
                </a:lnTo>
                <a:lnTo>
                  <a:pt x="3430970" y="910446"/>
                </a:lnTo>
                <a:lnTo>
                  <a:pt x="3430970" y="907522"/>
                </a:lnTo>
                <a:lnTo>
                  <a:pt x="3429451" y="905683"/>
                </a:lnTo>
                <a:lnTo>
                  <a:pt x="3426847" y="904708"/>
                </a:lnTo>
                <a:lnTo>
                  <a:pt x="3426847" y="909147"/>
                </a:lnTo>
                <a:lnTo>
                  <a:pt x="3428149" y="910663"/>
                </a:lnTo>
                <a:lnTo>
                  <a:pt x="3428801" y="913044"/>
                </a:lnTo>
                <a:lnTo>
                  <a:pt x="3427389" y="914344"/>
                </a:lnTo>
                <a:lnTo>
                  <a:pt x="3423809" y="913586"/>
                </a:lnTo>
                <a:lnTo>
                  <a:pt x="3423809" y="912503"/>
                </a:lnTo>
                <a:lnTo>
                  <a:pt x="3422181" y="912503"/>
                </a:lnTo>
                <a:lnTo>
                  <a:pt x="3418817" y="914669"/>
                </a:lnTo>
                <a:lnTo>
                  <a:pt x="3419793" y="916185"/>
                </a:lnTo>
                <a:lnTo>
                  <a:pt x="3423591" y="917159"/>
                </a:lnTo>
                <a:lnTo>
                  <a:pt x="3425544" y="919216"/>
                </a:lnTo>
                <a:lnTo>
                  <a:pt x="3426196" y="921815"/>
                </a:lnTo>
                <a:lnTo>
                  <a:pt x="3424134" y="924521"/>
                </a:lnTo>
                <a:lnTo>
                  <a:pt x="3422181" y="925712"/>
                </a:lnTo>
                <a:lnTo>
                  <a:pt x="3419360" y="925712"/>
                </a:lnTo>
                <a:lnTo>
                  <a:pt x="3418057" y="927553"/>
                </a:lnTo>
                <a:lnTo>
                  <a:pt x="3418057" y="932425"/>
                </a:lnTo>
                <a:lnTo>
                  <a:pt x="3415127" y="934482"/>
                </a:lnTo>
                <a:lnTo>
                  <a:pt x="3406880" y="938272"/>
                </a:lnTo>
                <a:lnTo>
                  <a:pt x="3402865" y="938272"/>
                </a:lnTo>
                <a:lnTo>
                  <a:pt x="3400152" y="938272"/>
                </a:lnTo>
                <a:lnTo>
                  <a:pt x="3396354" y="941953"/>
                </a:lnTo>
                <a:lnTo>
                  <a:pt x="3394835" y="944876"/>
                </a:lnTo>
                <a:lnTo>
                  <a:pt x="3395920" y="946067"/>
                </a:lnTo>
                <a:lnTo>
                  <a:pt x="3403733" y="942277"/>
                </a:lnTo>
                <a:lnTo>
                  <a:pt x="3409159" y="942277"/>
                </a:lnTo>
                <a:lnTo>
                  <a:pt x="3412957" y="940978"/>
                </a:lnTo>
                <a:lnTo>
                  <a:pt x="3415344" y="942062"/>
                </a:lnTo>
                <a:lnTo>
                  <a:pt x="3416864" y="944010"/>
                </a:lnTo>
                <a:lnTo>
                  <a:pt x="3421964" y="945093"/>
                </a:lnTo>
                <a:lnTo>
                  <a:pt x="3425871" y="945093"/>
                </a:lnTo>
                <a:lnTo>
                  <a:pt x="3430537" y="943577"/>
                </a:lnTo>
                <a:lnTo>
                  <a:pt x="3437590" y="943577"/>
                </a:lnTo>
                <a:lnTo>
                  <a:pt x="3440955" y="945093"/>
                </a:lnTo>
                <a:lnTo>
                  <a:pt x="3444969" y="944227"/>
                </a:lnTo>
                <a:lnTo>
                  <a:pt x="3446922" y="944227"/>
                </a:lnTo>
                <a:lnTo>
                  <a:pt x="3448225" y="945850"/>
                </a:lnTo>
                <a:lnTo>
                  <a:pt x="3450395" y="945850"/>
                </a:lnTo>
                <a:lnTo>
                  <a:pt x="3451589" y="948124"/>
                </a:lnTo>
                <a:lnTo>
                  <a:pt x="3450178" y="950290"/>
                </a:lnTo>
                <a:lnTo>
                  <a:pt x="3446271" y="951372"/>
                </a:lnTo>
                <a:lnTo>
                  <a:pt x="3441496" y="950073"/>
                </a:lnTo>
                <a:lnTo>
                  <a:pt x="3437698" y="950073"/>
                </a:lnTo>
                <a:lnTo>
                  <a:pt x="3434226" y="953321"/>
                </a:lnTo>
                <a:lnTo>
                  <a:pt x="3428692" y="953862"/>
                </a:lnTo>
                <a:lnTo>
                  <a:pt x="3425003" y="955811"/>
                </a:lnTo>
                <a:lnTo>
                  <a:pt x="3421855" y="954621"/>
                </a:lnTo>
                <a:lnTo>
                  <a:pt x="3419251" y="952239"/>
                </a:lnTo>
                <a:lnTo>
                  <a:pt x="3414910" y="952239"/>
                </a:lnTo>
                <a:lnTo>
                  <a:pt x="3412305" y="955054"/>
                </a:lnTo>
                <a:lnTo>
                  <a:pt x="3414151" y="956894"/>
                </a:lnTo>
                <a:lnTo>
                  <a:pt x="3416647" y="955811"/>
                </a:lnTo>
                <a:lnTo>
                  <a:pt x="3419577" y="957327"/>
                </a:lnTo>
                <a:lnTo>
                  <a:pt x="3427389" y="957327"/>
                </a:lnTo>
                <a:lnTo>
                  <a:pt x="3429451" y="958843"/>
                </a:lnTo>
                <a:lnTo>
                  <a:pt x="3431622" y="961550"/>
                </a:lnTo>
                <a:lnTo>
                  <a:pt x="3433250" y="958410"/>
                </a:lnTo>
                <a:lnTo>
                  <a:pt x="3439218" y="953105"/>
                </a:lnTo>
                <a:lnTo>
                  <a:pt x="3442582" y="953105"/>
                </a:lnTo>
                <a:cubicBezTo>
                  <a:pt x="3443597" y="952720"/>
                  <a:pt x="3444577" y="952249"/>
                  <a:pt x="3445512" y="951697"/>
                </a:cubicBezTo>
                <a:lnTo>
                  <a:pt x="3448225" y="952780"/>
                </a:lnTo>
                <a:lnTo>
                  <a:pt x="3450178" y="954296"/>
                </a:lnTo>
                <a:lnTo>
                  <a:pt x="3452891" y="953213"/>
                </a:lnTo>
                <a:lnTo>
                  <a:pt x="3459402" y="953213"/>
                </a:lnTo>
                <a:lnTo>
                  <a:pt x="3462549" y="951481"/>
                </a:lnTo>
                <a:lnTo>
                  <a:pt x="3469060" y="946717"/>
                </a:lnTo>
                <a:lnTo>
                  <a:pt x="3471339" y="944552"/>
                </a:lnTo>
                <a:lnTo>
                  <a:pt x="3471339" y="945959"/>
                </a:lnTo>
                <a:lnTo>
                  <a:pt x="3470688" y="948341"/>
                </a:lnTo>
                <a:lnTo>
                  <a:pt x="3471773" y="949207"/>
                </a:lnTo>
                <a:lnTo>
                  <a:pt x="3475137" y="947366"/>
                </a:lnTo>
                <a:lnTo>
                  <a:pt x="3476765" y="947366"/>
                </a:lnTo>
                <a:lnTo>
                  <a:pt x="3478393" y="949423"/>
                </a:lnTo>
                <a:lnTo>
                  <a:pt x="3484578" y="954404"/>
                </a:lnTo>
                <a:lnTo>
                  <a:pt x="3491306" y="955378"/>
                </a:lnTo>
                <a:lnTo>
                  <a:pt x="3496623" y="957868"/>
                </a:lnTo>
                <a:lnTo>
                  <a:pt x="3502591" y="959276"/>
                </a:lnTo>
                <a:lnTo>
                  <a:pt x="3505956" y="959276"/>
                </a:lnTo>
                <a:lnTo>
                  <a:pt x="3512467" y="959276"/>
                </a:lnTo>
                <a:lnTo>
                  <a:pt x="3514095" y="960250"/>
                </a:lnTo>
                <a:lnTo>
                  <a:pt x="3519629" y="960250"/>
                </a:lnTo>
                <a:lnTo>
                  <a:pt x="3525597" y="958193"/>
                </a:lnTo>
                <a:lnTo>
                  <a:pt x="3525597" y="959384"/>
                </a:lnTo>
                <a:lnTo>
                  <a:pt x="3523318" y="963499"/>
                </a:lnTo>
                <a:lnTo>
                  <a:pt x="3518869" y="966313"/>
                </a:lnTo>
                <a:lnTo>
                  <a:pt x="3513877" y="967180"/>
                </a:lnTo>
                <a:lnTo>
                  <a:pt x="3511816" y="966422"/>
                </a:lnTo>
                <a:lnTo>
                  <a:pt x="3508234" y="969021"/>
                </a:lnTo>
                <a:lnTo>
                  <a:pt x="3508234" y="970970"/>
                </a:lnTo>
                <a:lnTo>
                  <a:pt x="3510622" y="972702"/>
                </a:lnTo>
                <a:lnTo>
                  <a:pt x="3510622" y="974867"/>
                </a:lnTo>
                <a:lnTo>
                  <a:pt x="3509102" y="975950"/>
                </a:lnTo>
                <a:lnTo>
                  <a:pt x="3506824" y="975300"/>
                </a:lnTo>
                <a:lnTo>
                  <a:pt x="3505088" y="973460"/>
                </a:lnTo>
                <a:lnTo>
                  <a:pt x="3503135" y="972702"/>
                </a:lnTo>
                <a:lnTo>
                  <a:pt x="3502049" y="975300"/>
                </a:lnTo>
                <a:lnTo>
                  <a:pt x="3501398" y="977249"/>
                </a:lnTo>
                <a:lnTo>
                  <a:pt x="3499336" y="975841"/>
                </a:lnTo>
                <a:lnTo>
                  <a:pt x="3494995" y="975841"/>
                </a:lnTo>
                <a:lnTo>
                  <a:pt x="3494127" y="977033"/>
                </a:lnTo>
                <a:lnTo>
                  <a:pt x="3494127" y="979306"/>
                </a:lnTo>
                <a:lnTo>
                  <a:pt x="3495430" y="980280"/>
                </a:lnTo>
                <a:lnTo>
                  <a:pt x="3495430" y="983096"/>
                </a:lnTo>
                <a:lnTo>
                  <a:pt x="3492934" y="984936"/>
                </a:lnTo>
                <a:lnTo>
                  <a:pt x="3489787" y="985911"/>
                </a:lnTo>
                <a:lnTo>
                  <a:pt x="3488051" y="984286"/>
                </a:lnTo>
                <a:lnTo>
                  <a:pt x="3486423" y="982988"/>
                </a:lnTo>
                <a:lnTo>
                  <a:pt x="3485338" y="984178"/>
                </a:lnTo>
                <a:lnTo>
                  <a:pt x="3485989" y="986344"/>
                </a:lnTo>
                <a:lnTo>
                  <a:pt x="3485989" y="989700"/>
                </a:lnTo>
                <a:lnTo>
                  <a:pt x="3483384" y="989700"/>
                </a:lnTo>
                <a:lnTo>
                  <a:pt x="3481431" y="990674"/>
                </a:lnTo>
                <a:lnTo>
                  <a:pt x="3479152" y="992949"/>
                </a:lnTo>
                <a:lnTo>
                  <a:pt x="3476005" y="991433"/>
                </a:lnTo>
                <a:lnTo>
                  <a:pt x="3475354" y="989592"/>
                </a:lnTo>
                <a:lnTo>
                  <a:pt x="3473509" y="989592"/>
                </a:lnTo>
                <a:lnTo>
                  <a:pt x="3473509" y="992949"/>
                </a:lnTo>
                <a:lnTo>
                  <a:pt x="3474486" y="996088"/>
                </a:lnTo>
                <a:lnTo>
                  <a:pt x="3472207" y="999878"/>
                </a:lnTo>
                <a:lnTo>
                  <a:pt x="3469386" y="998362"/>
                </a:lnTo>
                <a:lnTo>
                  <a:pt x="3468518" y="995980"/>
                </a:lnTo>
                <a:lnTo>
                  <a:pt x="3465696" y="997279"/>
                </a:lnTo>
                <a:lnTo>
                  <a:pt x="3465696" y="999228"/>
                </a:lnTo>
                <a:lnTo>
                  <a:pt x="3467541" y="1000744"/>
                </a:lnTo>
                <a:lnTo>
                  <a:pt x="3467541" y="1003775"/>
                </a:lnTo>
                <a:lnTo>
                  <a:pt x="3462766" y="1006915"/>
                </a:lnTo>
                <a:lnTo>
                  <a:pt x="3460921" y="1006266"/>
                </a:lnTo>
                <a:lnTo>
                  <a:pt x="3459836" y="1004100"/>
                </a:lnTo>
                <a:lnTo>
                  <a:pt x="3457015" y="1002476"/>
                </a:lnTo>
                <a:lnTo>
                  <a:pt x="3451263" y="1003559"/>
                </a:lnTo>
                <a:lnTo>
                  <a:pt x="3451263" y="1005833"/>
                </a:lnTo>
                <a:lnTo>
                  <a:pt x="3452891" y="1009080"/>
                </a:lnTo>
                <a:lnTo>
                  <a:pt x="3452891" y="1011246"/>
                </a:lnTo>
                <a:lnTo>
                  <a:pt x="3450612" y="1012653"/>
                </a:lnTo>
                <a:lnTo>
                  <a:pt x="3446489" y="1013736"/>
                </a:lnTo>
                <a:lnTo>
                  <a:pt x="3445186" y="1015685"/>
                </a:lnTo>
                <a:lnTo>
                  <a:pt x="3440520" y="1015685"/>
                </a:lnTo>
                <a:lnTo>
                  <a:pt x="3437807" y="1018392"/>
                </a:lnTo>
                <a:lnTo>
                  <a:pt x="3436397" y="1021532"/>
                </a:lnTo>
                <a:lnTo>
                  <a:pt x="3434552" y="1021532"/>
                </a:lnTo>
                <a:lnTo>
                  <a:pt x="3433032" y="1018825"/>
                </a:lnTo>
                <a:lnTo>
                  <a:pt x="3430319" y="1018825"/>
                </a:lnTo>
                <a:lnTo>
                  <a:pt x="3426196" y="1021316"/>
                </a:lnTo>
                <a:lnTo>
                  <a:pt x="3422832" y="1021316"/>
                </a:lnTo>
                <a:lnTo>
                  <a:pt x="3421096" y="1022398"/>
                </a:lnTo>
                <a:lnTo>
                  <a:pt x="3419577" y="1025213"/>
                </a:lnTo>
                <a:lnTo>
                  <a:pt x="3416864" y="1025213"/>
                </a:lnTo>
                <a:lnTo>
                  <a:pt x="3414367" y="1024130"/>
                </a:lnTo>
                <a:lnTo>
                  <a:pt x="3413174" y="1022398"/>
                </a:lnTo>
                <a:lnTo>
                  <a:pt x="3411764" y="1022398"/>
                </a:lnTo>
                <a:lnTo>
                  <a:pt x="3409376" y="1026945"/>
                </a:lnTo>
                <a:lnTo>
                  <a:pt x="3407748" y="1025863"/>
                </a:lnTo>
                <a:lnTo>
                  <a:pt x="3405578" y="1022723"/>
                </a:lnTo>
                <a:lnTo>
                  <a:pt x="3404167" y="1022723"/>
                </a:lnTo>
                <a:lnTo>
                  <a:pt x="3403191" y="1026079"/>
                </a:lnTo>
                <a:lnTo>
                  <a:pt x="3401128" y="1028136"/>
                </a:lnTo>
                <a:lnTo>
                  <a:pt x="3398850" y="1026837"/>
                </a:lnTo>
                <a:lnTo>
                  <a:pt x="3398850" y="1024996"/>
                </a:lnTo>
                <a:lnTo>
                  <a:pt x="3397439" y="1024996"/>
                </a:lnTo>
                <a:lnTo>
                  <a:pt x="3397439" y="1028894"/>
                </a:lnTo>
                <a:lnTo>
                  <a:pt x="3395920" y="1029761"/>
                </a:lnTo>
                <a:lnTo>
                  <a:pt x="3392339" y="1029761"/>
                </a:lnTo>
                <a:lnTo>
                  <a:pt x="3389734" y="1030518"/>
                </a:lnTo>
                <a:lnTo>
                  <a:pt x="3389734" y="1032684"/>
                </a:lnTo>
                <a:lnTo>
                  <a:pt x="3389083" y="1034849"/>
                </a:lnTo>
                <a:lnTo>
                  <a:pt x="3386153" y="1034849"/>
                </a:lnTo>
                <a:lnTo>
                  <a:pt x="3384960" y="1033767"/>
                </a:lnTo>
                <a:lnTo>
                  <a:pt x="3383006" y="1033767"/>
                </a:lnTo>
                <a:lnTo>
                  <a:pt x="3383006" y="1036148"/>
                </a:lnTo>
                <a:lnTo>
                  <a:pt x="3381270" y="1036148"/>
                </a:lnTo>
                <a:lnTo>
                  <a:pt x="3380076" y="1034632"/>
                </a:lnTo>
                <a:lnTo>
                  <a:pt x="3378774" y="1034632"/>
                </a:lnTo>
                <a:lnTo>
                  <a:pt x="3378774" y="1038639"/>
                </a:lnTo>
                <a:lnTo>
                  <a:pt x="3376279" y="1039504"/>
                </a:lnTo>
                <a:lnTo>
                  <a:pt x="3374542" y="1041453"/>
                </a:lnTo>
                <a:lnTo>
                  <a:pt x="3372263" y="1041453"/>
                </a:lnTo>
                <a:lnTo>
                  <a:pt x="3371069" y="1039071"/>
                </a:lnTo>
                <a:lnTo>
                  <a:pt x="3366403" y="1033658"/>
                </a:lnTo>
                <a:lnTo>
                  <a:pt x="3364558" y="1032792"/>
                </a:lnTo>
                <a:lnTo>
                  <a:pt x="3362063" y="1033983"/>
                </a:lnTo>
                <a:lnTo>
                  <a:pt x="3362063" y="1035715"/>
                </a:lnTo>
                <a:lnTo>
                  <a:pt x="3360001" y="1035715"/>
                </a:lnTo>
                <a:lnTo>
                  <a:pt x="3359133" y="1038747"/>
                </a:lnTo>
                <a:lnTo>
                  <a:pt x="3356094" y="1040912"/>
                </a:lnTo>
                <a:lnTo>
                  <a:pt x="3353490" y="1040912"/>
                </a:lnTo>
                <a:lnTo>
                  <a:pt x="3352079" y="1039830"/>
                </a:lnTo>
                <a:lnTo>
                  <a:pt x="3350451" y="1042320"/>
                </a:lnTo>
                <a:lnTo>
                  <a:pt x="3346653" y="1042320"/>
                </a:lnTo>
                <a:lnTo>
                  <a:pt x="3343072" y="1042320"/>
                </a:lnTo>
                <a:lnTo>
                  <a:pt x="3340902" y="1039288"/>
                </a:lnTo>
                <a:lnTo>
                  <a:pt x="3338840" y="1039288"/>
                </a:lnTo>
                <a:lnTo>
                  <a:pt x="3337429" y="1041778"/>
                </a:lnTo>
                <a:lnTo>
                  <a:pt x="3337429" y="1043619"/>
                </a:lnTo>
                <a:lnTo>
                  <a:pt x="3334934" y="1043619"/>
                </a:lnTo>
                <a:lnTo>
                  <a:pt x="3331569" y="1041453"/>
                </a:lnTo>
                <a:lnTo>
                  <a:pt x="3330051" y="1037772"/>
                </a:lnTo>
                <a:lnTo>
                  <a:pt x="3331136" y="1034416"/>
                </a:lnTo>
                <a:lnTo>
                  <a:pt x="3329182" y="1032684"/>
                </a:lnTo>
                <a:lnTo>
                  <a:pt x="3326686" y="1031926"/>
                </a:lnTo>
                <a:lnTo>
                  <a:pt x="3324408" y="1027379"/>
                </a:lnTo>
                <a:lnTo>
                  <a:pt x="3324408" y="1024022"/>
                </a:lnTo>
                <a:lnTo>
                  <a:pt x="3322454" y="1020882"/>
                </a:lnTo>
                <a:lnTo>
                  <a:pt x="3321043" y="1016443"/>
                </a:lnTo>
                <a:lnTo>
                  <a:pt x="3319415" y="1014927"/>
                </a:lnTo>
                <a:lnTo>
                  <a:pt x="3317354" y="1014927"/>
                </a:lnTo>
                <a:lnTo>
                  <a:pt x="3317354" y="1018500"/>
                </a:lnTo>
                <a:lnTo>
                  <a:pt x="3318439" y="1020449"/>
                </a:lnTo>
                <a:lnTo>
                  <a:pt x="3319958" y="1024347"/>
                </a:lnTo>
                <a:lnTo>
                  <a:pt x="3322128" y="1026296"/>
                </a:lnTo>
                <a:lnTo>
                  <a:pt x="3323322" y="1029327"/>
                </a:lnTo>
                <a:lnTo>
                  <a:pt x="3323322" y="1033767"/>
                </a:lnTo>
                <a:lnTo>
                  <a:pt x="3322020" y="1036906"/>
                </a:lnTo>
                <a:lnTo>
                  <a:pt x="3323105" y="1037772"/>
                </a:lnTo>
                <a:lnTo>
                  <a:pt x="3325601" y="1037772"/>
                </a:lnTo>
                <a:lnTo>
                  <a:pt x="3326578" y="1042753"/>
                </a:lnTo>
                <a:lnTo>
                  <a:pt x="3325601" y="1048491"/>
                </a:lnTo>
                <a:lnTo>
                  <a:pt x="3323213" y="1051523"/>
                </a:lnTo>
                <a:lnTo>
                  <a:pt x="3320392" y="1052714"/>
                </a:lnTo>
                <a:lnTo>
                  <a:pt x="3319090" y="1051198"/>
                </a:lnTo>
                <a:lnTo>
                  <a:pt x="3317245" y="1051198"/>
                </a:lnTo>
                <a:lnTo>
                  <a:pt x="3313773" y="1052930"/>
                </a:lnTo>
                <a:lnTo>
                  <a:pt x="3310409" y="1057369"/>
                </a:lnTo>
                <a:lnTo>
                  <a:pt x="3308564" y="1058236"/>
                </a:lnTo>
                <a:lnTo>
                  <a:pt x="3305417" y="1058236"/>
                </a:lnTo>
                <a:lnTo>
                  <a:pt x="3304332" y="1059859"/>
                </a:lnTo>
                <a:lnTo>
                  <a:pt x="3304332" y="1060942"/>
                </a:lnTo>
                <a:lnTo>
                  <a:pt x="3304332" y="1063649"/>
                </a:lnTo>
                <a:lnTo>
                  <a:pt x="3301402" y="1065489"/>
                </a:lnTo>
                <a:lnTo>
                  <a:pt x="3298363" y="1065489"/>
                </a:lnTo>
                <a:lnTo>
                  <a:pt x="3297712" y="1068305"/>
                </a:lnTo>
                <a:lnTo>
                  <a:pt x="3297712" y="1069821"/>
                </a:lnTo>
                <a:lnTo>
                  <a:pt x="3297712" y="1072311"/>
                </a:lnTo>
                <a:lnTo>
                  <a:pt x="3295325" y="1069821"/>
                </a:lnTo>
                <a:lnTo>
                  <a:pt x="3293154" y="1069171"/>
                </a:lnTo>
                <a:lnTo>
                  <a:pt x="3294999" y="1071336"/>
                </a:lnTo>
                <a:lnTo>
                  <a:pt x="3295650" y="1073177"/>
                </a:lnTo>
                <a:lnTo>
                  <a:pt x="3294782" y="1076100"/>
                </a:lnTo>
                <a:lnTo>
                  <a:pt x="3293046" y="1076100"/>
                </a:lnTo>
                <a:lnTo>
                  <a:pt x="3291093" y="1075017"/>
                </a:lnTo>
                <a:lnTo>
                  <a:pt x="3288814" y="1074152"/>
                </a:lnTo>
                <a:lnTo>
                  <a:pt x="3288814" y="1075234"/>
                </a:lnTo>
                <a:lnTo>
                  <a:pt x="3289574" y="1077075"/>
                </a:lnTo>
                <a:lnTo>
                  <a:pt x="3290333" y="1079348"/>
                </a:lnTo>
                <a:lnTo>
                  <a:pt x="3288271" y="1082055"/>
                </a:lnTo>
                <a:lnTo>
                  <a:pt x="3284473" y="1083246"/>
                </a:lnTo>
                <a:lnTo>
                  <a:pt x="3279156" y="1088984"/>
                </a:lnTo>
                <a:lnTo>
                  <a:pt x="3279156" y="1092016"/>
                </a:lnTo>
                <a:lnTo>
                  <a:pt x="3279807" y="1095156"/>
                </a:lnTo>
                <a:lnTo>
                  <a:pt x="3278614" y="1098513"/>
                </a:lnTo>
                <a:lnTo>
                  <a:pt x="3275358" y="1102518"/>
                </a:lnTo>
                <a:lnTo>
                  <a:pt x="3272971" y="1104034"/>
                </a:lnTo>
                <a:lnTo>
                  <a:pt x="3271777" y="1103060"/>
                </a:lnTo>
                <a:lnTo>
                  <a:pt x="3270691" y="1101219"/>
                </a:lnTo>
                <a:lnTo>
                  <a:pt x="3271559" y="1099270"/>
                </a:lnTo>
                <a:lnTo>
                  <a:pt x="3269498" y="1100352"/>
                </a:lnTo>
                <a:lnTo>
                  <a:pt x="3267979" y="1102193"/>
                </a:lnTo>
                <a:lnTo>
                  <a:pt x="3267436" y="1105442"/>
                </a:lnTo>
                <a:lnTo>
                  <a:pt x="3267436" y="1106740"/>
                </a:lnTo>
                <a:lnTo>
                  <a:pt x="3266676" y="1108256"/>
                </a:lnTo>
                <a:lnTo>
                  <a:pt x="3260708" y="1113778"/>
                </a:lnTo>
                <a:lnTo>
                  <a:pt x="3258320" y="1114970"/>
                </a:lnTo>
                <a:lnTo>
                  <a:pt x="3257019" y="1114103"/>
                </a:lnTo>
                <a:lnTo>
                  <a:pt x="3257019" y="1111396"/>
                </a:lnTo>
                <a:lnTo>
                  <a:pt x="3255607" y="1109664"/>
                </a:lnTo>
                <a:lnTo>
                  <a:pt x="3253546" y="1109664"/>
                </a:lnTo>
                <a:lnTo>
                  <a:pt x="3253546" y="1112479"/>
                </a:lnTo>
                <a:lnTo>
                  <a:pt x="3251701" y="1112479"/>
                </a:lnTo>
                <a:lnTo>
                  <a:pt x="3247252" y="1110205"/>
                </a:lnTo>
                <a:lnTo>
                  <a:pt x="3245841" y="1108040"/>
                </a:lnTo>
                <a:lnTo>
                  <a:pt x="3243997" y="1108040"/>
                </a:lnTo>
                <a:lnTo>
                  <a:pt x="3243020" y="1108797"/>
                </a:lnTo>
                <a:lnTo>
                  <a:pt x="3244648" y="1111288"/>
                </a:lnTo>
                <a:lnTo>
                  <a:pt x="3246601" y="1112262"/>
                </a:lnTo>
                <a:lnTo>
                  <a:pt x="3248663" y="1115835"/>
                </a:lnTo>
                <a:lnTo>
                  <a:pt x="3248663" y="1118867"/>
                </a:lnTo>
                <a:lnTo>
                  <a:pt x="3246384" y="1120383"/>
                </a:lnTo>
                <a:lnTo>
                  <a:pt x="3244539" y="1120383"/>
                </a:lnTo>
                <a:lnTo>
                  <a:pt x="3238462" y="1124280"/>
                </a:lnTo>
                <a:lnTo>
                  <a:pt x="3234881" y="1128178"/>
                </a:lnTo>
                <a:lnTo>
                  <a:pt x="3231626" y="1128178"/>
                </a:lnTo>
                <a:lnTo>
                  <a:pt x="3229238" y="1126554"/>
                </a:lnTo>
                <a:lnTo>
                  <a:pt x="3229238" y="1124280"/>
                </a:lnTo>
                <a:lnTo>
                  <a:pt x="3230106" y="1122115"/>
                </a:lnTo>
                <a:lnTo>
                  <a:pt x="3228804" y="1121141"/>
                </a:lnTo>
                <a:lnTo>
                  <a:pt x="3227285" y="1121141"/>
                </a:lnTo>
                <a:lnTo>
                  <a:pt x="3225875" y="1123847"/>
                </a:lnTo>
                <a:lnTo>
                  <a:pt x="3225875" y="1126013"/>
                </a:lnTo>
                <a:lnTo>
                  <a:pt x="3225223" y="1128286"/>
                </a:lnTo>
                <a:lnTo>
                  <a:pt x="3222510" y="1128286"/>
                </a:lnTo>
                <a:lnTo>
                  <a:pt x="3218929" y="1130019"/>
                </a:lnTo>
                <a:lnTo>
                  <a:pt x="3215674" y="1128828"/>
                </a:lnTo>
                <a:lnTo>
                  <a:pt x="3213503" y="1124713"/>
                </a:lnTo>
                <a:lnTo>
                  <a:pt x="3213503" y="1122007"/>
                </a:lnTo>
                <a:lnTo>
                  <a:pt x="3214806" y="1118867"/>
                </a:lnTo>
                <a:lnTo>
                  <a:pt x="3213721" y="1116593"/>
                </a:lnTo>
                <a:lnTo>
                  <a:pt x="3212527" y="1116593"/>
                </a:lnTo>
                <a:lnTo>
                  <a:pt x="3211659" y="1121357"/>
                </a:lnTo>
                <a:lnTo>
                  <a:pt x="3210573" y="1125038"/>
                </a:lnTo>
                <a:lnTo>
                  <a:pt x="3210573" y="1127529"/>
                </a:lnTo>
                <a:lnTo>
                  <a:pt x="3209488" y="1130235"/>
                </a:lnTo>
                <a:lnTo>
                  <a:pt x="3207643" y="1129261"/>
                </a:lnTo>
                <a:lnTo>
                  <a:pt x="3202326" y="1122873"/>
                </a:lnTo>
                <a:lnTo>
                  <a:pt x="3202326" y="1119409"/>
                </a:lnTo>
                <a:lnTo>
                  <a:pt x="3204171" y="1114861"/>
                </a:lnTo>
                <a:lnTo>
                  <a:pt x="3207318" y="1112154"/>
                </a:lnTo>
                <a:lnTo>
                  <a:pt x="3210031" y="1110097"/>
                </a:lnTo>
                <a:lnTo>
                  <a:pt x="3208186" y="1108581"/>
                </a:lnTo>
                <a:lnTo>
                  <a:pt x="3204388" y="1107715"/>
                </a:lnTo>
                <a:lnTo>
                  <a:pt x="3201783" y="1104576"/>
                </a:lnTo>
                <a:lnTo>
                  <a:pt x="3201783" y="1103384"/>
                </a:lnTo>
                <a:lnTo>
                  <a:pt x="3200698" y="1102843"/>
                </a:lnTo>
                <a:lnTo>
                  <a:pt x="3198528" y="1103709"/>
                </a:lnTo>
                <a:lnTo>
                  <a:pt x="3196901" y="1106307"/>
                </a:lnTo>
                <a:lnTo>
                  <a:pt x="3196901" y="1108256"/>
                </a:lnTo>
                <a:lnTo>
                  <a:pt x="3199830" y="1111396"/>
                </a:lnTo>
                <a:lnTo>
                  <a:pt x="3199070" y="1113887"/>
                </a:lnTo>
                <a:lnTo>
                  <a:pt x="3197226" y="1116810"/>
                </a:lnTo>
                <a:lnTo>
                  <a:pt x="3196466" y="1120058"/>
                </a:lnTo>
                <a:lnTo>
                  <a:pt x="3193103" y="1123523"/>
                </a:lnTo>
                <a:lnTo>
                  <a:pt x="3190932" y="1123523"/>
                </a:lnTo>
                <a:lnTo>
                  <a:pt x="3190281" y="1119625"/>
                </a:lnTo>
                <a:lnTo>
                  <a:pt x="3188762" y="1118650"/>
                </a:lnTo>
                <a:lnTo>
                  <a:pt x="3186591" y="1121032"/>
                </a:lnTo>
                <a:lnTo>
                  <a:pt x="3187242" y="1123847"/>
                </a:lnTo>
                <a:lnTo>
                  <a:pt x="3189630" y="1128828"/>
                </a:lnTo>
                <a:lnTo>
                  <a:pt x="3191909" y="1131751"/>
                </a:lnTo>
                <a:lnTo>
                  <a:pt x="3191909" y="1133592"/>
                </a:lnTo>
                <a:lnTo>
                  <a:pt x="3190498" y="1134241"/>
                </a:lnTo>
                <a:lnTo>
                  <a:pt x="3189521" y="1137056"/>
                </a:lnTo>
                <a:lnTo>
                  <a:pt x="3186374" y="1139114"/>
                </a:lnTo>
                <a:lnTo>
                  <a:pt x="3183118" y="1139114"/>
                </a:lnTo>
                <a:lnTo>
                  <a:pt x="3181382" y="1137273"/>
                </a:lnTo>
                <a:lnTo>
                  <a:pt x="3179537" y="1138031"/>
                </a:lnTo>
                <a:lnTo>
                  <a:pt x="3177584" y="1140521"/>
                </a:lnTo>
                <a:lnTo>
                  <a:pt x="3173894" y="1142145"/>
                </a:lnTo>
                <a:lnTo>
                  <a:pt x="3172376" y="1140629"/>
                </a:lnTo>
                <a:lnTo>
                  <a:pt x="3170856" y="1136623"/>
                </a:lnTo>
                <a:lnTo>
                  <a:pt x="3169554" y="1134133"/>
                </a:lnTo>
                <a:lnTo>
                  <a:pt x="3168143" y="1134133"/>
                </a:lnTo>
                <a:lnTo>
                  <a:pt x="3168143" y="1136190"/>
                </a:lnTo>
                <a:lnTo>
                  <a:pt x="3168143" y="1138356"/>
                </a:lnTo>
                <a:lnTo>
                  <a:pt x="3165865" y="1140954"/>
                </a:lnTo>
                <a:lnTo>
                  <a:pt x="3162935" y="1140954"/>
                </a:lnTo>
                <a:lnTo>
                  <a:pt x="3161307" y="1137382"/>
                </a:lnTo>
                <a:lnTo>
                  <a:pt x="3159787" y="1134891"/>
                </a:lnTo>
                <a:lnTo>
                  <a:pt x="3158268" y="1135541"/>
                </a:lnTo>
                <a:lnTo>
                  <a:pt x="3157074" y="1137490"/>
                </a:lnTo>
                <a:lnTo>
                  <a:pt x="3154796" y="1137490"/>
                </a:lnTo>
                <a:lnTo>
                  <a:pt x="3152951" y="1139005"/>
                </a:lnTo>
                <a:lnTo>
                  <a:pt x="3152951" y="1140737"/>
                </a:lnTo>
                <a:lnTo>
                  <a:pt x="3154036" y="1144094"/>
                </a:lnTo>
                <a:lnTo>
                  <a:pt x="3154036" y="1152431"/>
                </a:lnTo>
                <a:lnTo>
                  <a:pt x="3151758" y="1157736"/>
                </a:lnTo>
                <a:lnTo>
                  <a:pt x="3147416" y="1162825"/>
                </a:lnTo>
                <a:lnTo>
                  <a:pt x="3144595" y="1162825"/>
                </a:lnTo>
                <a:lnTo>
                  <a:pt x="3142750" y="1161309"/>
                </a:lnTo>
                <a:lnTo>
                  <a:pt x="3141231" y="1156329"/>
                </a:lnTo>
                <a:lnTo>
                  <a:pt x="3138844" y="1155029"/>
                </a:lnTo>
                <a:lnTo>
                  <a:pt x="3136782" y="1156112"/>
                </a:lnTo>
                <a:lnTo>
                  <a:pt x="3136782" y="1158169"/>
                </a:lnTo>
                <a:lnTo>
                  <a:pt x="3132984" y="1156653"/>
                </a:lnTo>
                <a:lnTo>
                  <a:pt x="3131899" y="1153947"/>
                </a:lnTo>
                <a:lnTo>
                  <a:pt x="3130380" y="1153188"/>
                </a:lnTo>
                <a:lnTo>
                  <a:pt x="3129728" y="1155137"/>
                </a:lnTo>
                <a:lnTo>
                  <a:pt x="3129728" y="1156978"/>
                </a:lnTo>
                <a:lnTo>
                  <a:pt x="3130922" y="1160984"/>
                </a:lnTo>
                <a:lnTo>
                  <a:pt x="3129078" y="1163258"/>
                </a:lnTo>
                <a:lnTo>
                  <a:pt x="3129078" y="1165207"/>
                </a:lnTo>
                <a:lnTo>
                  <a:pt x="3130271" y="1168455"/>
                </a:lnTo>
                <a:lnTo>
                  <a:pt x="3132767" y="1170729"/>
                </a:lnTo>
                <a:lnTo>
                  <a:pt x="3134178" y="1175600"/>
                </a:lnTo>
                <a:lnTo>
                  <a:pt x="3135154" y="1182205"/>
                </a:lnTo>
                <a:lnTo>
                  <a:pt x="3134178" y="1186103"/>
                </a:lnTo>
                <a:lnTo>
                  <a:pt x="3131031" y="1184046"/>
                </a:lnTo>
                <a:lnTo>
                  <a:pt x="3129186" y="1184046"/>
                </a:lnTo>
                <a:lnTo>
                  <a:pt x="3127992" y="1186428"/>
                </a:lnTo>
                <a:lnTo>
                  <a:pt x="3124303" y="1186428"/>
                </a:lnTo>
                <a:lnTo>
                  <a:pt x="3119745" y="1185237"/>
                </a:lnTo>
                <a:lnTo>
                  <a:pt x="3115513" y="1185237"/>
                </a:lnTo>
                <a:lnTo>
                  <a:pt x="3113668" y="1187510"/>
                </a:lnTo>
                <a:lnTo>
                  <a:pt x="3114644" y="1189026"/>
                </a:lnTo>
                <a:lnTo>
                  <a:pt x="3119854" y="1192166"/>
                </a:lnTo>
                <a:lnTo>
                  <a:pt x="3123435" y="1192166"/>
                </a:lnTo>
                <a:lnTo>
                  <a:pt x="3125930" y="1194115"/>
                </a:lnTo>
                <a:lnTo>
                  <a:pt x="3127558" y="1195739"/>
                </a:lnTo>
                <a:lnTo>
                  <a:pt x="3129403" y="1194873"/>
                </a:lnTo>
                <a:lnTo>
                  <a:pt x="3132008" y="1194873"/>
                </a:lnTo>
                <a:lnTo>
                  <a:pt x="3132008" y="1196930"/>
                </a:lnTo>
                <a:lnTo>
                  <a:pt x="3130922" y="1200287"/>
                </a:lnTo>
                <a:lnTo>
                  <a:pt x="3128535" y="1200287"/>
                </a:lnTo>
                <a:lnTo>
                  <a:pt x="3126147" y="1200287"/>
                </a:lnTo>
                <a:lnTo>
                  <a:pt x="3126147" y="1201694"/>
                </a:lnTo>
                <a:lnTo>
                  <a:pt x="3128210" y="1202777"/>
                </a:lnTo>
                <a:lnTo>
                  <a:pt x="3129295" y="1205159"/>
                </a:lnTo>
                <a:lnTo>
                  <a:pt x="3129295" y="1207432"/>
                </a:lnTo>
                <a:lnTo>
                  <a:pt x="3128426" y="1209056"/>
                </a:lnTo>
                <a:lnTo>
                  <a:pt x="3126690" y="1209814"/>
                </a:lnTo>
                <a:lnTo>
                  <a:pt x="3123869" y="1208732"/>
                </a:lnTo>
                <a:lnTo>
                  <a:pt x="3120722" y="1204401"/>
                </a:lnTo>
                <a:lnTo>
                  <a:pt x="3118443" y="1204401"/>
                </a:lnTo>
                <a:lnTo>
                  <a:pt x="3116489" y="1203426"/>
                </a:lnTo>
                <a:lnTo>
                  <a:pt x="3113668" y="1200503"/>
                </a:lnTo>
                <a:lnTo>
                  <a:pt x="3109870" y="1200503"/>
                </a:lnTo>
                <a:lnTo>
                  <a:pt x="3108893" y="1202019"/>
                </a:lnTo>
                <a:lnTo>
                  <a:pt x="3108242" y="1204401"/>
                </a:lnTo>
                <a:lnTo>
                  <a:pt x="3112040" y="1204942"/>
                </a:lnTo>
                <a:lnTo>
                  <a:pt x="3114102" y="1204942"/>
                </a:lnTo>
                <a:lnTo>
                  <a:pt x="3118443" y="1207541"/>
                </a:lnTo>
                <a:lnTo>
                  <a:pt x="3121807" y="1209598"/>
                </a:lnTo>
                <a:lnTo>
                  <a:pt x="3124737" y="1210789"/>
                </a:lnTo>
                <a:lnTo>
                  <a:pt x="3125605" y="1212088"/>
                </a:lnTo>
                <a:lnTo>
                  <a:pt x="3124303" y="1215661"/>
                </a:lnTo>
                <a:lnTo>
                  <a:pt x="3120722" y="1217177"/>
                </a:lnTo>
                <a:lnTo>
                  <a:pt x="3117792" y="1217177"/>
                </a:lnTo>
                <a:lnTo>
                  <a:pt x="3115947" y="1218585"/>
                </a:lnTo>
                <a:lnTo>
                  <a:pt x="3113126" y="1218585"/>
                </a:lnTo>
                <a:lnTo>
                  <a:pt x="3108242" y="1214361"/>
                </a:lnTo>
                <a:lnTo>
                  <a:pt x="3106723" y="1212088"/>
                </a:lnTo>
                <a:lnTo>
                  <a:pt x="3104336" y="1212088"/>
                </a:lnTo>
                <a:lnTo>
                  <a:pt x="3102925" y="1213712"/>
                </a:lnTo>
                <a:lnTo>
                  <a:pt x="3101189" y="1215661"/>
                </a:lnTo>
                <a:lnTo>
                  <a:pt x="3101189" y="1219342"/>
                </a:lnTo>
                <a:lnTo>
                  <a:pt x="3104118" y="1221940"/>
                </a:lnTo>
                <a:lnTo>
                  <a:pt x="3107745" y="1223876"/>
                </a:lnTo>
                <a:lnTo>
                  <a:pt x="3104987" y="1220967"/>
                </a:lnTo>
                <a:lnTo>
                  <a:pt x="3105096" y="1219451"/>
                </a:lnTo>
                <a:lnTo>
                  <a:pt x="3106832" y="1219451"/>
                </a:lnTo>
                <a:lnTo>
                  <a:pt x="3108893" y="1222266"/>
                </a:lnTo>
                <a:lnTo>
                  <a:pt x="3113994" y="1224215"/>
                </a:lnTo>
                <a:lnTo>
                  <a:pt x="3115730" y="1227463"/>
                </a:lnTo>
                <a:lnTo>
                  <a:pt x="3114211" y="1228547"/>
                </a:lnTo>
                <a:lnTo>
                  <a:pt x="3113451" y="1227463"/>
                </a:lnTo>
                <a:lnTo>
                  <a:pt x="3109107" y="1225145"/>
                </a:lnTo>
                <a:lnTo>
                  <a:pt x="3109762" y="1226596"/>
                </a:lnTo>
                <a:lnTo>
                  <a:pt x="3109762" y="1228762"/>
                </a:lnTo>
                <a:lnTo>
                  <a:pt x="3108459" y="1230277"/>
                </a:lnTo>
                <a:lnTo>
                  <a:pt x="3105529" y="1227354"/>
                </a:lnTo>
                <a:lnTo>
                  <a:pt x="3102817" y="1226705"/>
                </a:lnTo>
                <a:lnTo>
                  <a:pt x="3098801" y="1224214"/>
                </a:lnTo>
                <a:lnTo>
                  <a:pt x="3096631" y="1221616"/>
                </a:lnTo>
                <a:lnTo>
                  <a:pt x="3095438" y="1221616"/>
                </a:lnTo>
                <a:lnTo>
                  <a:pt x="3096197" y="1225622"/>
                </a:lnTo>
                <a:lnTo>
                  <a:pt x="3099344" y="1228112"/>
                </a:lnTo>
                <a:lnTo>
                  <a:pt x="3104227" y="1230494"/>
                </a:lnTo>
                <a:lnTo>
                  <a:pt x="3105095" y="1232334"/>
                </a:lnTo>
                <a:lnTo>
                  <a:pt x="3105095" y="1234175"/>
                </a:lnTo>
                <a:lnTo>
                  <a:pt x="3103359" y="1235366"/>
                </a:lnTo>
                <a:lnTo>
                  <a:pt x="3098476" y="1235366"/>
                </a:lnTo>
                <a:lnTo>
                  <a:pt x="3096088" y="1232659"/>
                </a:lnTo>
                <a:lnTo>
                  <a:pt x="3096088" y="1229628"/>
                </a:lnTo>
                <a:lnTo>
                  <a:pt x="3093810" y="1227571"/>
                </a:lnTo>
                <a:lnTo>
                  <a:pt x="3092399" y="1227571"/>
                </a:lnTo>
                <a:lnTo>
                  <a:pt x="3090445" y="1229736"/>
                </a:lnTo>
                <a:lnTo>
                  <a:pt x="3090445" y="1231793"/>
                </a:lnTo>
                <a:lnTo>
                  <a:pt x="3092507" y="1234391"/>
                </a:lnTo>
                <a:lnTo>
                  <a:pt x="3092507" y="1237099"/>
                </a:lnTo>
                <a:lnTo>
                  <a:pt x="3092507" y="1238073"/>
                </a:lnTo>
                <a:lnTo>
                  <a:pt x="3093810" y="1239156"/>
                </a:lnTo>
                <a:lnTo>
                  <a:pt x="3100429" y="1239156"/>
                </a:lnTo>
                <a:lnTo>
                  <a:pt x="3103359" y="1240238"/>
                </a:lnTo>
                <a:lnTo>
                  <a:pt x="3104227" y="1242836"/>
                </a:lnTo>
                <a:lnTo>
                  <a:pt x="3103142" y="1243703"/>
                </a:lnTo>
                <a:lnTo>
                  <a:pt x="3101189" y="1245760"/>
                </a:lnTo>
                <a:lnTo>
                  <a:pt x="3099669" y="1247817"/>
                </a:lnTo>
                <a:lnTo>
                  <a:pt x="3097065" y="1247817"/>
                </a:lnTo>
                <a:lnTo>
                  <a:pt x="3094678" y="1246193"/>
                </a:lnTo>
                <a:lnTo>
                  <a:pt x="3092181" y="1246193"/>
                </a:lnTo>
                <a:lnTo>
                  <a:pt x="3087841" y="1244461"/>
                </a:lnTo>
                <a:lnTo>
                  <a:pt x="3087841" y="1242187"/>
                </a:lnTo>
                <a:lnTo>
                  <a:pt x="3087841" y="1240888"/>
                </a:lnTo>
                <a:lnTo>
                  <a:pt x="3085345" y="1239372"/>
                </a:lnTo>
                <a:lnTo>
                  <a:pt x="3084043" y="1239372"/>
                </a:lnTo>
                <a:lnTo>
                  <a:pt x="3084043" y="1242945"/>
                </a:lnTo>
                <a:lnTo>
                  <a:pt x="3083175" y="1245327"/>
                </a:lnTo>
                <a:lnTo>
                  <a:pt x="3081222" y="1248250"/>
                </a:lnTo>
                <a:lnTo>
                  <a:pt x="3077424" y="1248250"/>
                </a:lnTo>
                <a:lnTo>
                  <a:pt x="3075253" y="1246518"/>
                </a:lnTo>
                <a:lnTo>
                  <a:pt x="3072866" y="1245003"/>
                </a:lnTo>
                <a:lnTo>
                  <a:pt x="3070587" y="1245003"/>
                </a:lnTo>
                <a:lnTo>
                  <a:pt x="3070587" y="1247493"/>
                </a:lnTo>
                <a:lnTo>
                  <a:pt x="3072432" y="1249008"/>
                </a:lnTo>
                <a:lnTo>
                  <a:pt x="3079268" y="1252040"/>
                </a:lnTo>
                <a:lnTo>
                  <a:pt x="3084694" y="1253339"/>
                </a:lnTo>
                <a:lnTo>
                  <a:pt x="3086865" y="1257345"/>
                </a:lnTo>
                <a:lnTo>
                  <a:pt x="3088384" y="1262758"/>
                </a:lnTo>
                <a:lnTo>
                  <a:pt x="3086973" y="1263408"/>
                </a:lnTo>
                <a:lnTo>
                  <a:pt x="3083935" y="1263408"/>
                </a:lnTo>
                <a:lnTo>
                  <a:pt x="3080896" y="1260485"/>
                </a:lnTo>
                <a:lnTo>
                  <a:pt x="3075579" y="1256262"/>
                </a:lnTo>
                <a:lnTo>
                  <a:pt x="3073191" y="1254855"/>
                </a:lnTo>
                <a:lnTo>
                  <a:pt x="3070478" y="1254855"/>
                </a:lnTo>
                <a:lnTo>
                  <a:pt x="3070478" y="1256262"/>
                </a:lnTo>
                <a:lnTo>
                  <a:pt x="3072758" y="1258211"/>
                </a:lnTo>
                <a:lnTo>
                  <a:pt x="3076664" y="1259294"/>
                </a:lnTo>
                <a:lnTo>
                  <a:pt x="3081764" y="1263732"/>
                </a:lnTo>
                <a:lnTo>
                  <a:pt x="3084694" y="1267522"/>
                </a:lnTo>
                <a:lnTo>
                  <a:pt x="3084694" y="1269905"/>
                </a:lnTo>
                <a:lnTo>
                  <a:pt x="3083609" y="1274019"/>
                </a:lnTo>
                <a:lnTo>
                  <a:pt x="3084694" y="1275968"/>
                </a:lnTo>
                <a:lnTo>
                  <a:pt x="3084694" y="1277808"/>
                </a:lnTo>
                <a:lnTo>
                  <a:pt x="3082415" y="1279866"/>
                </a:lnTo>
                <a:lnTo>
                  <a:pt x="3082415" y="1281923"/>
                </a:lnTo>
                <a:lnTo>
                  <a:pt x="3081113" y="1285604"/>
                </a:lnTo>
                <a:lnTo>
                  <a:pt x="3077315" y="1285604"/>
                </a:lnTo>
                <a:lnTo>
                  <a:pt x="3074711" y="1283980"/>
                </a:lnTo>
                <a:lnTo>
                  <a:pt x="3071129" y="1283980"/>
                </a:lnTo>
                <a:lnTo>
                  <a:pt x="3068416" y="1282031"/>
                </a:lnTo>
                <a:lnTo>
                  <a:pt x="3066355" y="1282031"/>
                </a:lnTo>
                <a:lnTo>
                  <a:pt x="3067440" y="1283980"/>
                </a:lnTo>
                <a:lnTo>
                  <a:pt x="3071021" y="1286036"/>
                </a:lnTo>
                <a:lnTo>
                  <a:pt x="3075687" y="1286795"/>
                </a:lnTo>
                <a:lnTo>
                  <a:pt x="3075687" y="1287878"/>
                </a:lnTo>
                <a:lnTo>
                  <a:pt x="3072974" y="1291558"/>
                </a:lnTo>
                <a:lnTo>
                  <a:pt x="3070261" y="1290909"/>
                </a:lnTo>
                <a:lnTo>
                  <a:pt x="3068742" y="1289176"/>
                </a:lnTo>
                <a:lnTo>
                  <a:pt x="3067115" y="1289826"/>
                </a:lnTo>
                <a:lnTo>
                  <a:pt x="3067115" y="1291125"/>
                </a:lnTo>
                <a:lnTo>
                  <a:pt x="3070370" y="1292858"/>
                </a:lnTo>
                <a:lnTo>
                  <a:pt x="3071998" y="1293940"/>
                </a:lnTo>
                <a:lnTo>
                  <a:pt x="3071998" y="1296106"/>
                </a:lnTo>
                <a:lnTo>
                  <a:pt x="3069827" y="1298488"/>
                </a:lnTo>
                <a:lnTo>
                  <a:pt x="3066680" y="1299896"/>
                </a:lnTo>
                <a:lnTo>
                  <a:pt x="3065270" y="1297946"/>
                </a:lnTo>
                <a:lnTo>
                  <a:pt x="3063099" y="1296647"/>
                </a:lnTo>
                <a:lnTo>
                  <a:pt x="3060495" y="1296647"/>
                </a:lnTo>
                <a:lnTo>
                  <a:pt x="3061363" y="1298813"/>
                </a:lnTo>
                <a:lnTo>
                  <a:pt x="3064293" y="1300112"/>
                </a:lnTo>
                <a:lnTo>
                  <a:pt x="3067332" y="1302169"/>
                </a:lnTo>
                <a:lnTo>
                  <a:pt x="3067332" y="1305633"/>
                </a:lnTo>
                <a:lnTo>
                  <a:pt x="3064510" y="1307474"/>
                </a:lnTo>
                <a:lnTo>
                  <a:pt x="3058433" y="1307474"/>
                </a:lnTo>
                <a:lnTo>
                  <a:pt x="3055611" y="1305959"/>
                </a:lnTo>
                <a:lnTo>
                  <a:pt x="3053875" y="1305959"/>
                </a:lnTo>
                <a:lnTo>
                  <a:pt x="3053875" y="1307149"/>
                </a:lnTo>
                <a:lnTo>
                  <a:pt x="3057456" y="1308774"/>
                </a:lnTo>
                <a:lnTo>
                  <a:pt x="3065487" y="1309531"/>
                </a:lnTo>
                <a:lnTo>
                  <a:pt x="3069285" y="1311047"/>
                </a:lnTo>
                <a:lnTo>
                  <a:pt x="3070261" y="1313213"/>
                </a:lnTo>
                <a:lnTo>
                  <a:pt x="3069719" y="1314837"/>
                </a:lnTo>
                <a:lnTo>
                  <a:pt x="3066029" y="1316461"/>
                </a:lnTo>
                <a:lnTo>
                  <a:pt x="3059952" y="1317652"/>
                </a:lnTo>
                <a:lnTo>
                  <a:pt x="3055503" y="1316461"/>
                </a:lnTo>
                <a:lnTo>
                  <a:pt x="3051813" y="1314945"/>
                </a:lnTo>
                <a:lnTo>
                  <a:pt x="3050837" y="1315703"/>
                </a:lnTo>
                <a:lnTo>
                  <a:pt x="3052573" y="1318301"/>
                </a:lnTo>
                <a:lnTo>
                  <a:pt x="3057348" y="1319276"/>
                </a:lnTo>
                <a:lnTo>
                  <a:pt x="3058216" y="1320683"/>
                </a:lnTo>
                <a:lnTo>
                  <a:pt x="3057674" y="1321658"/>
                </a:lnTo>
                <a:lnTo>
                  <a:pt x="3055829" y="1321658"/>
                </a:lnTo>
                <a:lnTo>
                  <a:pt x="3055829" y="1322524"/>
                </a:lnTo>
                <a:lnTo>
                  <a:pt x="3059518" y="1323606"/>
                </a:lnTo>
                <a:lnTo>
                  <a:pt x="3063208" y="1325231"/>
                </a:lnTo>
                <a:lnTo>
                  <a:pt x="3063208" y="1326747"/>
                </a:lnTo>
                <a:lnTo>
                  <a:pt x="3060386" y="1328478"/>
                </a:lnTo>
                <a:lnTo>
                  <a:pt x="3057022" y="1328478"/>
                </a:lnTo>
                <a:lnTo>
                  <a:pt x="3054961" y="1328478"/>
                </a:lnTo>
                <a:lnTo>
                  <a:pt x="3054961" y="1330211"/>
                </a:lnTo>
                <a:lnTo>
                  <a:pt x="3057456" y="1331186"/>
                </a:lnTo>
                <a:lnTo>
                  <a:pt x="3061689" y="1331186"/>
                </a:lnTo>
                <a:lnTo>
                  <a:pt x="3064727" y="1331727"/>
                </a:lnTo>
                <a:lnTo>
                  <a:pt x="3063967" y="1333459"/>
                </a:lnTo>
                <a:lnTo>
                  <a:pt x="3060929" y="1335625"/>
                </a:lnTo>
                <a:lnTo>
                  <a:pt x="3056697" y="1337357"/>
                </a:lnTo>
                <a:lnTo>
                  <a:pt x="3053984" y="1337357"/>
                </a:lnTo>
                <a:lnTo>
                  <a:pt x="3050945" y="1335083"/>
                </a:lnTo>
                <a:lnTo>
                  <a:pt x="3047365" y="1331727"/>
                </a:lnTo>
                <a:lnTo>
                  <a:pt x="3046279" y="1329453"/>
                </a:lnTo>
                <a:lnTo>
                  <a:pt x="3044869" y="1329453"/>
                </a:lnTo>
                <a:lnTo>
                  <a:pt x="3043132" y="1330427"/>
                </a:lnTo>
                <a:lnTo>
                  <a:pt x="3039443" y="1329561"/>
                </a:lnTo>
                <a:lnTo>
                  <a:pt x="3038249" y="1330644"/>
                </a:lnTo>
                <a:lnTo>
                  <a:pt x="3039443" y="1332484"/>
                </a:lnTo>
                <a:lnTo>
                  <a:pt x="3046822" y="1335733"/>
                </a:lnTo>
                <a:lnTo>
                  <a:pt x="3050837" y="1338331"/>
                </a:lnTo>
                <a:lnTo>
                  <a:pt x="3050837" y="1340388"/>
                </a:lnTo>
                <a:lnTo>
                  <a:pt x="3049318" y="1341904"/>
                </a:lnTo>
                <a:lnTo>
                  <a:pt x="3049318" y="1343853"/>
                </a:lnTo>
                <a:lnTo>
                  <a:pt x="3050837" y="1343095"/>
                </a:lnTo>
                <a:lnTo>
                  <a:pt x="3053984" y="1343095"/>
                </a:lnTo>
                <a:lnTo>
                  <a:pt x="3055286" y="1344178"/>
                </a:lnTo>
                <a:lnTo>
                  <a:pt x="3057239" y="1345044"/>
                </a:lnTo>
                <a:lnTo>
                  <a:pt x="3057239" y="1346668"/>
                </a:lnTo>
                <a:lnTo>
                  <a:pt x="3054961" y="1347318"/>
                </a:lnTo>
                <a:lnTo>
                  <a:pt x="3052248" y="1349483"/>
                </a:lnTo>
                <a:lnTo>
                  <a:pt x="3052248" y="1351108"/>
                </a:lnTo>
                <a:lnTo>
                  <a:pt x="3050837" y="1351108"/>
                </a:lnTo>
                <a:lnTo>
                  <a:pt x="3039985" y="1345477"/>
                </a:lnTo>
                <a:lnTo>
                  <a:pt x="3033908" y="1345477"/>
                </a:lnTo>
                <a:lnTo>
                  <a:pt x="3033908" y="1343637"/>
                </a:lnTo>
                <a:lnTo>
                  <a:pt x="3034559" y="1339847"/>
                </a:lnTo>
                <a:lnTo>
                  <a:pt x="3035970" y="1339847"/>
                </a:lnTo>
                <a:lnTo>
                  <a:pt x="3035970" y="1337790"/>
                </a:lnTo>
                <a:lnTo>
                  <a:pt x="3033908" y="1337790"/>
                </a:lnTo>
                <a:lnTo>
                  <a:pt x="3031738" y="1340497"/>
                </a:lnTo>
                <a:lnTo>
                  <a:pt x="3030002" y="1340497"/>
                </a:lnTo>
                <a:lnTo>
                  <a:pt x="3030002" y="1346668"/>
                </a:lnTo>
                <a:lnTo>
                  <a:pt x="3026855" y="1345153"/>
                </a:lnTo>
                <a:lnTo>
                  <a:pt x="3024033" y="1345153"/>
                </a:lnTo>
                <a:lnTo>
                  <a:pt x="3023165" y="1347426"/>
                </a:lnTo>
                <a:lnTo>
                  <a:pt x="3023165" y="1350782"/>
                </a:lnTo>
                <a:lnTo>
                  <a:pt x="3021429" y="1352624"/>
                </a:lnTo>
                <a:lnTo>
                  <a:pt x="3018933" y="1351432"/>
                </a:lnTo>
                <a:lnTo>
                  <a:pt x="3020236" y="1347210"/>
                </a:lnTo>
                <a:lnTo>
                  <a:pt x="3021863" y="1344286"/>
                </a:lnTo>
                <a:lnTo>
                  <a:pt x="3021863" y="1340714"/>
                </a:lnTo>
                <a:lnTo>
                  <a:pt x="3026312" y="1334542"/>
                </a:lnTo>
                <a:lnTo>
                  <a:pt x="3025552" y="1333567"/>
                </a:lnTo>
                <a:lnTo>
                  <a:pt x="3022405" y="1335733"/>
                </a:lnTo>
                <a:lnTo>
                  <a:pt x="3019259" y="1343961"/>
                </a:lnTo>
                <a:lnTo>
                  <a:pt x="3015352" y="1347210"/>
                </a:lnTo>
                <a:lnTo>
                  <a:pt x="3013833" y="1346235"/>
                </a:lnTo>
                <a:lnTo>
                  <a:pt x="3013833" y="1343095"/>
                </a:lnTo>
                <a:lnTo>
                  <a:pt x="3018173" y="1339522"/>
                </a:lnTo>
                <a:lnTo>
                  <a:pt x="3018933" y="1334867"/>
                </a:lnTo>
                <a:lnTo>
                  <a:pt x="3021646" y="1330427"/>
                </a:lnTo>
                <a:lnTo>
                  <a:pt x="3018716" y="1331294"/>
                </a:lnTo>
                <a:lnTo>
                  <a:pt x="3016763" y="1331294"/>
                </a:lnTo>
                <a:lnTo>
                  <a:pt x="3014918" y="1334975"/>
                </a:lnTo>
                <a:lnTo>
                  <a:pt x="3011554" y="1335841"/>
                </a:lnTo>
                <a:lnTo>
                  <a:pt x="3010686" y="1334325"/>
                </a:lnTo>
                <a:lnTo>
                  <a:pt x="3011988" y="1330752"/>
                </a:lnTo>
                <a:lnTo>
                  <a:pt x="3015135" y="1327829"/>
                </a:lnTo>
                <a:lnTo>
                  <a:pt x="3014158" y="1326747"/>
                </a:lnTo>
                <a:lnTo>
                  <a:pt x="3011988" y="1326747"/>
                </a:lnTo>
                <a:lnTo>
                  <a:pt x="3010468" y="1329237"/>
                </a:lnTo>
                <a:lnTo>
                  <a:pt x="3007755" y="1330969"/>
                </a:lnTo>
                <a:lnTo>
                  <a:pt x="3006671" y="1334000"/>
                </a:lnTo>
                <a:lnTo>
                  <a:pt x="3005152" y="1329886"/>
                </a:lnTo>
                <a:lnTo>
                  <a:pt x="3005152" y="1328370"/>
                </a:lnTo>
                <a:lnTo>
                  <a:pt x="3004066" y="1328370"/>
                </a:lnTo>
                <a:lnTo>
                  <a:pt x="3001571" y="1330752"/>
                </a:lnTo>
                <a:lnTo>
                  <a:pt x="2999726" y="1330752"/>
                </a:lnTo>
                <a:lnTo>
                  <a:pt x="3000377" y="1328695"/>
                </a:lnTo>
                <a:lnTo>
                  <a:pt x="3006996" y="1323931"/>
                </a:lnTo>
                <a:lnTo>
                  <a:pt x="3006996" y="1319925"/>
                </a:lnTo>
                <a:lnTo>
                  <a:pt x="3009926" y="1318951"/>
                </a:lnTo>
                <a:lnTo>
                  <a:pt x="3014701" y="1315161"/>
                </a:lnTo>
                <a:lnTo>
                  <a:pt x="3014050" y="1314079"/>
                </a:lnTo>
                <a:lnTo>
                  <a:pt x="3009058" y="1317543"/>
                </a:lnTo>
                <a:lnTo>
                  <a:pt x="3005043" y="1318951"/>
                </a:lnTo>
                <a:lnTo>
                  <a:pt x="3004066" y="1317868"/>
                </a:lnTo>
                <a:lnTo>
                  <a:pt x="3005368" y="1316677"/>
                </a:lnTo>
                <a:lnTo>
                  <a:pt x="3009275" y="1315594"/>
                </a:lnTo>
                <a:lnTo>
                  <a:pt x="3012965" y="1312671"/>
                </a:lnTo>
                <a:lnTo>
                  <a:pt x="3016654" y="1310506"/>
                </a:lnTo>
                <a:lnTo>
                  <a:pt x="3019909" y="1309423"/>
                </a:lnTo>
                <a:lnTo>
                  <a:pt x="3019909" y="1305525"/>
                </a:lnTo>
                <a:lnTo>
                  <a:pt x="3018391" y="1302494"/>
                </a:lnTo>
                <a:lnTo>
                  <a:pt x="3016437" y="1302494"/>
                </a:lnTo>
                <a:lnTo>
                  <a:pt x="3011988" y="1308557"/>
                </a:lnTo>
                <a:lnTo>
                  <a:pt x="3004826" y="1313104"/>
                </a:lnTo>
                <a:lnTo>
                  <a:pt x="2999726" y="1314729"/>
                </a:lnTo>
                <a:lnTo>
                  <a:pt x="2999074" y="1313104"/>
                </a:lnTo>
                <a:lnTo>
                  <a:pt x="3001353" y="1311372"/>
                </a:lnTo>
                <a:lnTo>
                  <a:pt x="3004066" y="1310506"/>
                </a:lnTo>
                <a:lnTo>
                  <a:pt x="3007647" y="1307041"/>
                </a:lnTo>
                <a:lnTo>
                  <a:pt x="3007647" y="1302494"/>
                </a:lnTo>
                <a:lnTo>
                  <a:pt x="3005694" y="1298813"/>
                </a:lnTo>
                <a:lnTo>
                  <a:pt x="3003524" y="1297730"/>
                </a:lnTo>
                <a:lnTo>
                  <a:pt x="3001353" y="1299029"/>
                </a:lnTo>
                <a:lnTo>
                  <a:pt x="3001353" y="1301627"/>
                </a:lnTo>
                <a:lnTo>
                  <a:pt x="3003089" y="1303576"/>
                </a:lnTo>
                <a:lnTo>
                  <a:pt x="3003089" y="1305742"/>
                </a:lnTo>
                <a:lnTo>
                  <a:pt x="3000485" y="1308016"/>
                </a:lnTo>
                <a:lnTo>
                  <a:pt x="2997446" y="1306608"/>
                </a:lnTo>
                <a:lnTo>
                  <a:pt x="2994300" y="1307366"/>
                </a:lnTo>
                <a:lnTo>
                  <a:pt x="2991044" y="1307366"/>
                </a:lnTo>
                <a:lnTo>
                  <a:pt x="2988440" y="1308990"/>
                </a:lnTo>
                <a:lnTo>
                  <a:pt x="2986595" y="1312347"/>
                </a:lnTo>
                <a:lnTo>
                  <a:pt x="2984316" y="1313213"/>
                </a:lnTo>
                <a:lnTo>
                  <a:pt x="2981603" y="1312454"/>
                </a:lnTo>
                <a:lnTo>
                  <a:pt x="2979541" y="1310506"/>
                </a:lnTo>
                <a:lnTo>
                  <a:pt x="2975960" y="1311047"/>
                </a:lnTo>
                <a:lnTo>
                  <a:pt x="2973248" y="1313646"/>
                </a:lnTo>
                <a:lnTo>
                  <a:pt x="2970535" y="1312130"/>
                </a:lnTo>
                <a:lnTo>
                  <a:pt x="2968364" y="1313321"/>
                </a:lnTo>
                <a:lnTo>
                  <a:pt x="2968364" y="1315270"/>
                </a:lnTo>
                <a:lnTo>
                  <a:pt x="2969450" y="1317327"/>
                </a:lnTo>
                <a:lnTo>
                  <a:pt x="2967605" y="1318410"/>
                </a:lnTo>
                <a:lnTo>
                  <a:pt x="2960768" y="1316894"/>
                </a:lnTo>
                <a:lnTo>
                  <a:pt x="2960117" y="1314511"/>
                </a:lnTo>
                <a:lnTo>
                  <a:pt x="2962179" y="1311480"/>
                </a:lnTo>
                <a:lnTo>
                  <a:pt x="2965760" y="1311480"/>
                </a:lnTo>
                <a:lnTo>
                  <a:pt x="2968364" y="1309098"/>
                </a:lnTo>
                <a:lnTo>
                  <a:pt x="2968364" y="1307691"/>
                </a:lnTo>
                <a:lnTo>
                  <a:pt x="2964675" y="1305959"/>
                </a:lnTo>
                <a:lnTo>
                  <a:pt x="2964675" y="1301303"/>
                </a:lnTo>
                <a:lnTo>
                  <a:pt x="2961203" y="1298488"/>
                </a:lnTo>
                <a:lnTo>
                  <a:pt x="2960117" y="1297080"/>
                </a:lnTo>
                <a:lnTo>
                  <a:pt x="2957621" y="1298055"/>
                </a:lnTo>
                <a:lnTo>
                  <a:pt x="2951870" y="1302386"/>
                </a:lnTo>
                <a:lnTo>
                  <a:pt x="2948505" y="1300978"/>
                </a:lnTo>
                <a:lnTo>
                  <a:pt x="2947529" y="1297730"/>
                </a:lnTo>
                <a:lnTo>
                  <a:pt x="2951110" y="1294590"/>
                </a:lnTo>
                <a:lnTo>
                  <a:pt x="2949591" y="1292641"/>
                </a:lnTo>
                <a:lnTo>
                  <a:pt x="2946444" y="1292641"/>
                </a:lnTo>
                <a:lnTo>
                  <a:pt x="2946444" y="1291125"/>
                </a:lnTo>
                <a:lnTo>
                  <a:pt x="2951435" y="1288743"/>
                </a:lnTo>
                <a:lnTo>
                  <a:pt x="2954583" y="1288743"/>
                </a:lnTo>
                <a:lnTo>
                  <a:pt x="2956102" y="1286903"/>
                </a:lnTo>
                <a:lnTo>
                  <a:pt x="2955125" y="1284629"/>
                </a:lnTo>
                <a:lnTo>
                  <a:pt x="2952304" y="1284629"/>
                </a:lnTo>
                <a:lnTo>
                  <a:pt x="2947855" y="1286036"/>
                </a:lnTo>
                <a:lnTo>
                  <a:pt x="2944599" y="1288419"/>
                </a:lnTo>
                <a:lnTo>
                  <a:pt x="2939065" y="1289935"/>
                </a:lnTo>
                <a:lnTo>
                  <a:pt x="2935809" y="1287769"/>
                </a:lnTo>
                <a:lnTo>
                  <a:pt x="2936460" y="1285495"/>
                </a:lnTo>
                <a:lnTo>
                  <a:pt x="2940041" y="1284413"/>
                </a:lnTo>
                <a:lnTo>
                  <a:pt x="2942429" y="1282464"/>
                </a:lnTo>
                <a:lnTo>
                  <a:pt x="2942429" y="1278566"/>
                </a:lnTo>
                <a:lnTo>
                  <a:pt x="2947529" y="1276401"/>
                </a:lnTo>
                <a:lnTo>
                  <a:pt x="2949373" y="1274452"/>
                </a:lnTo>
                <a:lnTo>
                  <a:pt x="2948505" y="1273153"/>
                </a:lnTo>
                <a:lnTo>
                  <a:pt x="2944057" y="1272178"/>
                </a:lnTo>
                <a:lnTo>
                  <a:pt x="2941561" y="1274235"/>
                </a:lnTo>
                <a:lnTo>
                  <a:pt x="2938088" y="1275860"/>
                </a:lnTo>
                <a:lnTo>
                  <a:pt x="2935375" y="1273478"/>
                </a:lnTo>
                <a:lnTo>
                  <a:pt x="2937437" y="1271095"/>
                </a:lnTo>
                <a:lnTo>
                  <a:pt x="2940476" y="1270446"/>
                </a:lnTo>
                <a:lnTo>
                  <a:pt x="2943297" y="1270446"/>
                </a:lnTo>
                <a:lnTo>
                  <a:pt x="2945142" y="1268064"/>
                </a:lnTo>
                <a:lnTo>
                  <a:pt x="2948180" y="1265790"/>
                </a:lnTo>
                <a:lnTo>
                  <a:pt x="2947529" y="1263517"/>
                </a:lnTo>
                <a:lnTo>
                  <a:pt x="2949265" y="1261351"/>
                </a:lnTo>
                <a:lnTo>
                  <a:pt x="2947746" y="1259944"/>
                </a:lnTo>
                <a:lnTo>
                  <a:pt x="2941994" y="1262001"/>
                </a:lnTo>
                <a:lnTo>
                  <a:pt x="2940692" y="1263950"/>
                </a:lnTo>
                <a:lnTo>
                  <a:pt x="2938848" y="1266007"/>
                </a:lnTo>
                <a:lnTo>
                  <a:pt x="2934616" y="1266007"/>
                </a:lnTo>
                <a:lnTo>
                  <a:pt x="2936026" y="1264058"/>
                </a:lnTo>
                <a:lnTo>
                  <a:pt x="2939173" y="1262217"/>
                </a:lnTo>
                <a:lnTo>
                  <a:pt x="2939824" y="1259186"/>
                </a:lnTo>
                <a:lnTo>
                  <a:pt x="2937979" y="1257454"/>
                </a:lnTo>
                <a:lnTo>
                  <a:pt x="2940367" y="1255612"/>
                </a:lnTo>
                <a:lnTo>
                  <a:pt x="2940367" y="1253664"/>
                </a:lnTo>
                <a:lnTo>
                  <a:pt x="2938414" y="1252473"/>
                </a:lnTo>
                <a:lnTo>
                  <a:pt x="2934941" y="1252473"/>
                </a:lnTo>
                <a:lnTo>
                  <a:pt x="2934941" y="1251390"/>
                </a:lnTo>
                <a:lnTo>
                  <a:pt x="2936678" y="1249441"/>
                </a:lnTo>
                <a:lnTo>
                  <a:pt x="2936026" y="1246301"/>
                </a:lnTo>
                <a:lnTo>
                  <a:pt x="2933205" y="1245544"/>
                </a:lnTo>
                <a:lnTo>
                  <a:pt x="2931577" y="1247060"/>
                </a:lnTo>
                <a:lnTo>
                  <a:pt x="2927996" y="1247060"/>
                </a:lnTo>
                <a:lnTo>
                  <a:pt x="2927996" y="1245652"/>
                </a:lnTo>
                <a:lnTo>
                  <a:pt x="2930167" y="1242079"/>
                </a:lnTo>
                <a:lnTo>
                  <a:pt x="2932662" y="1239264"/>
                </a:lnTo>
                <a:lnTo>
                  <a:pt x="2934181" y="1239264"/>
                </a:lnTo>
                <a:lnTo>
                  <a:pt x="2938414" y="1233959"/>
                </a:lnTo>
                <a:lnTo>
                  <a:pt x="2936243" y="1231685"/>
                </a:lnTo>
                <a:lnTo>
                  <a:pt x="2936894" y="1229303"/>
                </a:lnTo>
                <a:lnTo>
                  <a:pt x="2938414" y="1227138"/>
                </a:lnTo>
                <a:lnTo>
                  <a:pt x="2936786" y="1225730"/>
                </a:lnTo>
                <a:lnTo>
                  <a:pt x="2935266" y="1226488"/>
                </a:lnTo>
                <a:lnTo>
                  <a:pt x="2934507" y="1228437"/>
                </a:lnTo>
                <a:lnTo>
                  <a:pt x="2932445" y="1225189"/>
                </a:lnTo>
                <a:lnTo>
                  <a:pt x="2929299" y="1225189"/>
                </a:lnTo>
                <a:lnTo>
                  <a:pt x="2928213" y="1226705"/>
                </a:lnTo>
                <a:lnTo>
                  <a:pt x="2926368" y="1226705"/>
                </a:lnTo>
                <a:lnTo>
                  <a:pt x="2924415" y="1222049"/>
                </a:lnTo>
                <a:lnTo>
                  <a:pt x="2925283" y="1219559"/>
                </a:lnTo>
                <a:lnTo>
                  <a:pt x="2931468" y="1217393"/>
                </a:lnTo>
                <a:lnTo>
                  <a:pt x="2931468" y="1215769"/>
                </a:lnTo>
                <a:lnTo>
                  <a:pt x="2927996" y="1213928"/>
                </a:lnTo>
                <a:lnTo>
                  <a:pt x="2924524" y="1213928"/>
                </a:lnTo>
                <a:lnTo>
                  <a:pt x="2920942" y="1215986"/>
                </a:lnTo>
                <a:lnTo>
                  <a:pt x="2918555" y="1215986"/>
                </a:lnTo>
                <a:lnTo>
                  <a:pt x="2917145" y="1213712"/>
                </a:lnTo>
                <a:lnTo>
                  <a:pt x="2918121" y="1211114"/>
                </a:lnTo>
                <a:lnTo>
                  <a:pt x="2921376" y="1210139"/>
                </a:lnTo>
                <a:lnTo>
                  <a:pt x="2925066" y="1211222"/>
                </a:lnTo>
                <a:lnTo>
                  <a:pt x="2931035" y="1210139"/>
                </a:lnTo>
                <a:lnTo>
                  <a:pt x="2932880" y="1208298"/>
                </a:lnTo>
                <a:lnTo>
                  <a:pt x="2930817" y="1208298"/>
                </a:lnTo>
                <a:lnTo>
                  <a:pt x="2928647" y="1207216"/>
                </a:lnTo>
                <a:lnTo>
                  <a:pt x="2923330" y="1207216"/>
                </a:lnTo>
                <a:lnTo>
                  <a:pt x="2921376" y="1208515"/>
                </a:lnTo>
                <a:lnTo>
                  <a:pt x="2918881" y="1208515"/>
                </a:lnTo>
                <a:lnTo>
                  <a:pt x="2916276" y="1206241"/>
                </a:lnTo>
                <a:lnTo>
                  <a:pt x="2920834" y="1203318"/>
                </a:lnTo>
                <a:lnTo>
                  <a:pt x="2926477" y="1203318"/>
                </a:lnTo>
                <a:lnTo>
                  <a:pt x="2928539" y="1202127"/>
                </a:lnTo>
                <a:lnTo>
                  <a:pt x="2926694" y="1201369"/>
                </a:lnTo>
                <a:lnTo>
                  <a:pt x="2923764" y="1201369"/>
                </a:lnTo>
                <a:lnTo>
                  <a:pt x="2921051" y="1199204"/>
                </a:lnTo>
                <a:lnTo>
                  <a:pt x="2922679" y="1199204"/>
                </a:lnTo>
                <a:lnTo>
                  <a:pt x="2925934" y="1199853"/>
                </a:lnTo>
                <a:lnTo>
                  <a:pt x="2928105" y="1200936"/>
                </a:lnTo>
                <a:lnTo>
                  <a:pt x="2933205" y="1198771"/>
                </a:lnTo>
                <a:lnTo>
                  <a:pt x="2935375" y="1196822"/>
                </a:lnTo>
                <a:lnTo>
                  <a:pt x="2934290" y="1195631"/>
                </a:lnTo>
                <a:lnTo>
                  <a:pt x="2932012" y="1196281"/>
                </a:lnTo>
                <a:lnTo>
                  <a:pt x="2929299" y="1197363"/>
                </a:lnTo>
                <a:lnTo>
                  <a:pt x="2926586" y="1197363"/>
                </a:lnTo>
                <a:lnTo>
                  <a:pt x="2924741" y="1196388"/>
                </a:lnTo>
                <a:lnTo>
                  <a:pt x="2921051" y="1196388"/>
                </a:lnTo>
                <a:lnTo>
                  <a:pt x="2919532" y="1199096"/>
                </a:lnTo>
                <a:lnTo>
                  <a:pt x="2916928" y="1200720"/>
                </a:lnTo>
                <a:lnTo>
                  <a:pt x="2913672" y="1198338"/>
                </a:lnTo>
                <a:lnTo>
                  <a:pt x="2913021" y="1195522"/>
                </a:lnTo>
                <a:lnTo>
                  <a:pt x="2915408" y="1192058"/>
                </a:lnTo>
                <a:lnTo>
                  <a:pt x="2920183" y="1192058"/>
                </a:lnTo>
                <a:lnTo>
                  <a:pt x="2923981" y="1189676"/>
                </a:lnTo>
                <a:lnTo>
                  <a:pt x="2922896" y="1188810"/>
                </a:lnTo>
                <a:lnTo>
                  <a:pt x="2918446" y="1189567"/>
                </a:lnTo>
                <a:lnTo>
                  <a:pt x="2914323" y="1188918"/>
                </a:lnTo>
                <a:lnTo>
                  <a:pt x="2913347" y="1185561"/>
                </a:lnTo>
                <a:lnTo>
                  <a:pt x="2914432" y="1182314"/>
                </a:lnTo>
                <a:lnTo>
                  <a:pt x="2918446" y="1181339"/>
                </a:lnTo>
                <a:lnTo>
                  <a:pt x="2927562" y="1181339"/>
                </a:lnTo>
                <a:lnTo>
                  <a:pt x="2932771" y="1179823"/>
                </a:lnTo>
                <a:lnTo>
                  <a:pt x="2938522" y="1179823"/>
                </a:lnTo>
                <a:lnTo>
                  <a:pt x="2942103" y="1176900"/>
                </a:lnTo>
                <a:lnTo>
                  <a:pt x="2942754" y="1175817"/>
                </a:lnTo>
                <a:lnTo>
                  <a:pt x="2938956" y="1175817"/>
                </a:lnTo>
                <a:lnTo>
                  <a:pt x="2935375" y="1174735"/>
                </a:lnTo>
                <a:lnTo>
                  <a:pt x="2931252" y="1177333"/>
                </a:lnTo>
                <a:lnTo>
                  <a:pt x="2924632" y="1178416"/>
                </a:lnTo>
                <a:lnTo>
                  <a:pt x="2921268" y="1179823"/>
                </a:lnTo>
                <a:lnTo>
                  <a:pt x="2917145" y="1179823"/>
                </a:lnTo>
                <a:lnTo>
                  <a:pt x="2915083" y="1178308"/>
                </a:lnTo>
                <a:lnTo>
                  <a:pt x="2915951" y="1177225"/>
                </a:lnTo>
                <a:lnTo>
                  <a:pt x="2923547" y="1177225"/>
                </a:lnTo>
                <a:lnTo>
                  <a:pt x="2926911" y="1175276"/>
                </a:lnTo>
                <a:lnTo>
                  <a:pt x="2931035" y="1169537"/>
                </a:lnTo>
                <a:lnTo>
                  <a:pt x="2934833" y="1169537"/>
                </a:lnTo>
                <a:lnTo>
                  <a:pt x="2936569" y="1170404"/>
                </a:lnTo>
                <a:lnTo>
                  <a:pt x="2940041" y="1173110"/>
                </a:lnTo>
                <a:lnTo>
                  <a:pt x="2943406" y="1173110"/>
                </a:lnTo>
                <a:lnTo>
                  <a:pt x="2944382" y="1171378"/>
                </a:lnTo>
                <a:lnTo>
                  <a:pt x="2942320" y="1170729"/>
                </a:lnTo>
                <a:lnTo>
                  <a:pt x="2938631" y="1166614"/>
                </a:lnTo>
                <a:lnTo>
                  <a:pt x="2936678" y="1166614"/>
                </a:lnTo>
                <a:lnTo>
                  <a:pt x="2934833" y="1164774"/>
                </a:lnTo>
                <a:lnTo>
                  <a:pt x="2935483" y="1162933"/>
                </a:lnTo>
                <a:lnTo>
                  <a:pt x="2938305" y="1162933"/>
                </a:lnTo>
                <a:lnTo>
                  <a:pt x="2939933" y="1161417"/>
                </a:lnTo>
                <a:lnTo>
                  <a:pt x="2941669" y="1161417"/>
                </a:lnTo>
                <a:lnTo>
                  <a:pt x="2943622" y="1164665"/>
                </a:lnTo>
                <a:lnTo>
                  <a:pt x="2947529" y="1169213"/>
                </a:lnTo>
                <a:lnTo>
                  <a:pt x="2950242" y="1170729"/>
                </a:lnTo>
                <a:lnTo>
                  <a:pt x="2951544" y="1170187"/>
                </a:lnTo>
                <a:lnTo>
                  <a:pt x="2949700" y="1166506"/>
                </a:lnTo>
                <a:lnTo>
                  <a:pt x="2947420" y="1164990"/>
                </a:lnTo>
                <a:lnTo>
                  <a:pt x="2947420" y="1157412"/>
                </a:lnTo>
                <a:lnTo>
                  <a:pt x="2950350" y="1154596"/>
                </a:lnTo>
                <a:lnTo>
                  <a:pt x="2950350" y="1153080"/>
                </a:lnTo>
                <a:lnTo>
                  <a:pt x="2947529" y="1153080"/>
                </a:lnTo>
                <a:lnTo>
                  <a:pt x="2945033" y="1155570"/>
                </a:lnTo>
                <a:lnTo>
                  <a:pt x="2942863" y="1155570"/>
                </a:lnTo>
                <a:lnTo>
                  <a:pt x="2940476" y="1152431"/>
                </a:lnTo>
                <a:lnTo>
                  <a:pt x="2939390" y="1154380"/>
                </a:lnTo>
                <a:lnTo>
                  <a:pt x="2933965" y="1159902"/>
                </a:lnTo>
                <a:lnTo>
                  <a:pt x="2930600" y="1161309"/>
                </a:lnTo>
                <a:lnTo>
                  <a:pt x="2929190" y="1160226"/>
                </a:lnTo>
                <a:lnTo>
                  <a:pt x="2929190" y="1157953"/>
                </a:lnTo>
                <a:lnTo>
                  <a:pt x="2931360" y="1156220"/>
                </a:lnTo>
                <a:lnTo>
                  <a:pt x="2931360" y="1155570"/>
                </a:lnTo>
                <a:lnTo>
                  <a:pt x="2928539" y="1156978"/>
                </a:lnTo>
                <a:lnTo>
                  <a:pt x="2926260" y="1160118"/>
                </a:lnTo>
                <a:lnTo>
                  <a:pt x="2924524" y="1160118"/>
                </a:lnTo>
                <a:lnTo>
                  <a:pt x="2919206" y="1165098"/>
                </a:lnTo>
                <a:lnTo>
                  <a:pt x="2916819" y="1165964"/>
                </a:lnTo>
                <a:lnTo>
                  <a:pt x="2913238" y="1172353"/>
                </a:lnTo>
                <a:lnTo>
                  <a:pt x="2911502" y="1172353"/>
                </a:lnTo>
                <a:lnTo>
                  <a:pt x="2910090" y="1166939"/>
                </a:lnTo>
                <a:lnTo>
                  <a:pt x="2910742" y="1162717"/>
                </a:lnTo>
                <a:lnTo>
                  <a:pt x="2912587" y="1160335"/>
                </a:lnTo>
                <a:lnTo>
                  <a:pt x="2909765" y="1157736"/>
                </a:lnTo>
                <a:lnTo>
                  <a:pt x="2910416" y="1154488"/>
                </a:lnTo>
                <a:lnTo>
                  <a:pt x="2910416" y="1151781"/>
                </a:lnTo>
                <a:lnTo>
                  <a:pt x="2913780" y="1150157"/>
                </a:lnTo>
                <a:lnTo>
                  <a:pt x="2920400" y="1147884"/>
                </a:lnTo>
                <a:lnTo>
                  <a:pt x="2923547" y="1147884"/>
                </a:lnTo>
                <a:lnTo>
                  <a:pt x="2927345" y="1144311"/>
                </a:lnTo>
                <a:lnTo>
                  <a:pt x="2928755" y="1143445"/>
                </a:lnTo>
                <a:lnTo>
                  <a:pt x="2927128" y="1141496"/>
                </a:lnTo>
                <a:lnTo>
                  <a:pt x="2924632" y="1141496"/>
                </a:lnTo>
                <a:lnTo>
                  <a:pt x="2922244" y="1143661"/>
                </a:lnTo>
                <a:lnTo>
                  <a:pt x="2919532" y="1142904"/>
                </a:lnTo>
                <a:lnTo>
                  <a:pt x="2918338" y="1145827"/>
                </a:lnTo>
                <a:lnTo>
                  <a:pt x="2915625" y="1147775"/>
                </a:lnTo>
                <a:lnTo>
                  <a:pt x="2912261" y="1147775"/>
                </a:lnTo>
                <a:lnTo>
                  <a:pt x="2910308" y="1144635"/>
                </a:lnTo>
                <a:lnTo>
                  <a:pt x="2910308" y="1138464"/>
                </a:lnTo>
                <a:lnTo>
                  <a:pt x="2913238" y="1136298"/>
                </a:lnTo>
                <a:lnTo>
                  <a:pt x="2913238" y="1133158"/>
                </a:lnTo>
                <a:lnTo>
                  <a:pt x="2911719" y="1129152"/>
                </a:lnTo>
                <a:lnTo>
                  <a:pt x="2910308" y="1129152"/>
                </a:lnTo>
                <a:lnTo>
                  <a:pt x="2908029" y="1131643"/>
                </a:lnTo>
                <a:lnTo>
                  <a:pt x="2905424" y="1131643"/>
                </a:lnTo>
                <a:lnTo>
                  <a:pt x="2904774" y="1128828"/>
                </a:lnTo>
                <a:lnTo>
                  <a:pt x="2907703" y="1125905"/>
                </a:lnTo>
                <a:lnTo>
                  <a:pt x="2912370" y="1125905"/>
                </a:lnTo>
                <a:lnTo>
                  <a:pt x="2915191" y="1123415"/>
                </a:lnTo>
                <a:lnTo>
                  <a:pt x="2920834" y="1122223"/>
                </a:lnTo>
                <a:lnTo>
                  <a:pt x="2923113" y="1119950"/>
                </a:lnTo>
                <a:lnTo>
                  <a:pt x="2925717" y="1118867"/>
                </a:lnTo>
                <a:lnTo>
                  <a:pt x="2926802" y="1114753"/>
                </a:lnTo>
                <a:lnTo>
                  <a:pt x="2928539" y="1114103"/>
                </a:lnTo>
                <a:lnTo>
                  <a:pt x="2930058" y="1115835"/>
                </a:lnTo>
                <a:lnTo>
                  <a:pt x="2931903" y="1113887"/>
                </a:lnTo>
                <a:lnTo>
                  <a:pt x="2939499" y="1113887"/>
                </a:lnTo>
                <a:lnTo>
                  <a:pt x="2941561" y="1115403"/>
                </a:lnTo>
                <a:lnTo>
                  <a:pt x="2944816" y="1115403"/>
                </a:lnTo>
                <a:lnTo>
                  <a:pt x="2943731" y="1112804"/>
                </a:lnTo>
                <a:lnTo>
                  <a:pt x="2939716" y="1111721"/>
                </a:lnTo>
                <a:lnTo>
                  <a:pt x="2938631" y="1108797"/>
                </a:lnTo>
                <a:lnTo>
                  <a:pt x="2936135" y="1108797"/>
                </a:lnTo>
                <a:lnTo>
                  <a:pt x="2927019" y="1113778"/>
                </a:lnTo>
                <a:lnTo>
                  <a:pt x="2924307" y="1113778"/>
                </a:lnTo>
                <a:lnTo>
                  <a:pt x="2922027" y="1115403"/>
                </a:lnTo>
                <a:lnTo>
                  <a:pt x="2921051" y="1118867"/>
                </a:lnTo>
                <a:lnTo>
                  <a:pt x="2918555" y="1120599"/>
                </a:lnTo>
                <a:lnTo>
                  <a:pt x="2914540" y="1121574"/>
                </a:lnTo>
                <a:lnTo>
                  <a:pt x="2911502" y="1125147"/>
                </a:lnTo>
                <a:lnTo>
                  <a:pt x="2909657" y="1125147"/>
                </a:lnTo>
                <a:lnTo>
                  <a:pt x="2908572" y="1123198"/>
                </a:lnTo>
                <a:lnTo>
                  <a:pt x="2909331" y="1120707"/>
                </a:lnTo>
                <a:lnTo>
                  <a:pt x="2906401" y="1120058"/>
                </a:lnTo>
                <a:lnTo>
                  <a:pt x="2906401" y="1118217"/>
                </a:lnTo>
                <a:lnTo>
                  <a:pt x="2909331" y="1114861"/>
                </a:lnTo>
                <a:lnTo>
                  <a:pt x="2905424" y="1112479"/>
                </a:lnTo>
                <a:lnTo>
                  <a:pt x="2903471" y="1112479"/>
                </a:lnTo>
                <a:lnTo>
                  <a:pt x="2900108" y="1109989"/>
                </a:lnTo>
                <a:lnTo>
                  <a:pt x="2900758" y="1108581"/>
                </a:lnTo>
                <a:lnTo>
                  <a:pt x="2906293" y="1106307"/>
                </a:lnTo>
                <a:lnTo>
                  <a:pt x="2908789" y="1103601"/>
                </a:lnTo>
                <a:lnTo>
                  <a:pt x="2911067" y="1102951"/>
                </a:lnTo>
                <a:lnTo>
                  <a:pt x="2912695" y="1104791"/>
                </a:lnTo>
                <a:lnTo>
                  <a:pt x="2916601" y="1104791"/>
                </a:lnTo>
                <a:lnTo>
                  <a:pt x="2920291" y="1103384"/>
                </a:lnTo>
                <a:lnTo>
                  <a:pt x="2923873" y="1100570"/>
                </a:lnTo>
                <a:lnTo>
                  <a:pt x="2927019" y="1100570"/>
                </a:lnTo>
                <a:lnTo>
                  <a:pt x="2928105" y="1097862"/>
                </a:lnTo>
                <a:lnTo>
                  <a:pt x="2927128" y="1096671"/>
                </a:lnTo>
                <a:lnTo>
                  <a:pt x="2923873" y="1096671"/>
                </a:lnTo>
                <a:lnTo>
                  <a:pt x="2919423" y="1099487"/>
                </a:lnTo>
                <a:lnTo>
                  <a:pt x="2916276" y="1101760"/>
                </a:lnTo>
                <a:lnTo>
                  <a:pt x="2914323" y="1101760"/>
                </a:lnTo>
                <a:lnTo>
                  <a:pt x="2911285" y="1098513"/>
                </a:lnTo>
                <a:lnTo>
                  <a:pt x="2909440" y="1098513"/>
                </a:lnTo>
                <a:lnTo>
                  <a:pt x="2907487" y="1100786"/>
                </a:lnTo>
                <a:lnTo>
                  <a:pt x="2904556" y="1102951"/>
                </a:lnTo>
                <a:lnTo>
                  <a:pt x="2904556" y="1101003"/>
                </a:lnTo>
                <a:lnTo>
                  <a:pt x="2902061" y="1100352"/>
                </a:lnTo>
                <a:lnTo>
                  <a:pt x="2899999" y="1101219"/>
                </a:lnTo>
                <a:lnTo>
                  <a:pt x="2896743" y="1101219"/>
                </a:lnTo>
                <a:lnTo>
                  <a:pt x="2897828" y="1099595"/>
                </a:lnTo>
                <a:lnTo>
                  <a:pt x="2900649" y="1098729"/>
                </a:lnTo>
                <a:lnTo>
                  <a:pt x="2907161" y="1096455"/>
                </a:lnTo>
                <a:lnTo>
                  <a:pt x="2913672" y="1092449"/>
                </a:lnTo>
                <a:lnTo>
                  <a:pt x="2917036" y="1091150"/>
                </a:lnTo>
                <a:lnTo>
                  <a:pt x="2923873" y="1089850"/>
                </a:lnTo>
                <a:lnTo>
                  <a:pt x="2927454" y="1085520"/>
                </a:lnTo>
                <a:lnTo>
                  <a:pt x="2935158" y="1077183"/>
                </a:lnTo>
                <a:lnTo>
                  <a:pt x="2942646" y="1073502"/>
                </a:lnTo>
                <a:lnTo>
                  <a:pt x="2948723" y="1071336"/>
                </a:lnTo>
                <a:lnTo>
                  <a:pt x="2952086" y="1071336"/>
                </a:lnTo>
                <a:lnTo>
                  <a:pt x="2954040" y="1069821"/>
                </a:lnTo>
                <a:lnTo>
                  <a:pt x="2954040" y="1068088"/>
                </a:lnTo>
                <a:lnTo>
                  <a:pt x="2950785" y="1067005"/>
                </a:lnTo>
                <a:lnTo>
                  <a:pt x="2945142" y="1068630"/>
                </a:lnTo>
                <a:lnTo>
                  <a:pt x="2933096" y="1074368"/>
                </a:lnTo>
                <a:lnTo>
                  <a:pt x="2927779" y="1079781"/>
                </a:lnTo>
                <a:lnTo>
                  <a:pt x="2924089" y="1085303"/>
                </a:lnTo>
                <a:lnTo>
                  <a:pt x="2919640" y="1087469"/>
                </a:lnTo>
                <a:lnTo>
                  <a:pt x="2911719" y="1089309"/>
                </a:lnTo>
                <a:lnTo>
                  <a:pt x="2909223" y="1090933"/>
                </a:lnTo>
                <a:lnTo>
                  <a:pt x="2899890" y="1094939"/>
                </a:lnTo>
                <a:lnTo>
                  <a:pt x="2896526" y="1094939"/>
                </a:lnTo>
                <a:lnTo>
                  <a:pt x="2895767" y="1092774"/>
                </a:lnTo>
                <a:lnTo>
                  <a:pt x="2897178" y="1090824"/>
                </a:lnTo>
                <a:lnTo>
                  <a:pt x="2897178" y="1082597"/>
                </a:lnTo>
                <a:lnTo>
                  <a:pt x="2899781" y="1079456"/>
                </a:lnTo>
                <a:lnTo>
                  <a:pt x="2902169" y="1079456"/>
                </a:lnTo>
                <a:lnTo>
                  <a:pt x="2905859" y="1081838"/>
                </a:lnTo>
                <a:lnTo>
                  <a:pt x="2908572" y="1080972"/>
                </a:lnTo>
                <a:lnTo>
                  <a:pt x="2913889" y="1080972"/>
                </a:lnTo>
                <a:lnTo>
                  <a:pt x="2918121" y="1080972"/>
                </a:lnTo>
                <a:lnTo>
                  <a:pt x="2916928" y="1079240"/>
                </a:lnTo>
                <a:lnTo>
                  <a:pt x="2913780" y="1077291"/>
                </a:lnTo>
                <a:lnTo>
                  <a:pt x="2909657" y="1077291"/>
                </a:lnTo>
                <a:lnTo>
                  <a:pt x="2906944" y="1078807"/>
                </a:lnTo>
                <a:lnTo>
                  <a:pt x="2904231" y="1078266"/>
                </a:lnTo>
                <a:lnTo>
                  <a:pt x="2902929" y="1075017"/>
                </a:lnTo>
                <a:lnTo>
                  <a:pt x="2902929" y="1072852"/>
                </a:lnTo>
                <a:lnTo>
                  <a:pt x="2907161" y="1072202"/>
                </a:lnTo>
                <a:lnTo>
                  <a:pt x="2911285" y="1074693"/>
                </a:lnTo>
                <a:lnTo>
                  <a:pt x="2914865" y="1074693"/>
                </a:lnTo>
                <a:lnTo>
                  <a:pt x="2919423" y="1072852"/>
                </a:lnTo>
                <a:lnTo>
                  <a:pt x="2918772" y="1071444"/>
                </a:lnTo>
                <a:lnTo>
                  <a:pt x="2915625" y="1070362"/>
                </a:lnTo>
                <a:lnTo>
                  <a:pt x="2913997" y="1070362"/>
                </a:lnTo>
                <a:lnTo>
                  <a:pt x="2912695" y="1069387"/>
                </a:lnTo>
                <a:lnTo>
                  <a:pt x="2912695" y="1067114"/>
                </a:lnTo>
                <a:lnTo>
                  <a:pt x="2916710" y="1065922"/>
                </a:lnTo>
                <a:lnTo>
                  <a:pt x="2918121" y="1066789"/>
                </a:lnTo>
                <a:lnTo>
                  <a:pt x="2919640" y="1065814"/>
                </a:lnTo>
                <a:lnTo>
                  <a:pt x="2923221" y="1067222"/>
                </a:lnTo>
                <a:lnTo>
                  <a:pt x="2925066" y="1066139"/>
                </a:lnTo>
                <a:lnTo>
                  <a:pt x="2924307" y="1062999"/>
                </a:lnTo>
                <a:lnTo>
                  <a:pt x="2924307" y="1060185"/>
                </a:lnTo>
                <a:lnTo>
                  <a:pt x="2923547" y="1059318"/>
                </a:lnTo>
                <a:lnTo>
                  <a:pt x="2920834" y="1059318"/>
                </a:lnTo>
                <a:lnTo>
                  <a:pt x="2919206" y="1060834"/>
                </a:lnTo>
                <a:lnTo>
                  <a:pt x="2915625" y="1060834"/>
                </a:lnTo>
                <a:lnTo>
                  <a:pt x="2904774" y="1057586"/>
                </a:lnTo>
                <a:lnTo>
                  <a:pt x="2900324" y="1057586"/>
                </a:lnTo>
                <a:lnTo>
                  <a:pt x="2898046" y="1055637"/>
                </a:lnTo>
                <a:lnTo>
                  <a:pt x="2898046" y="1054121"/>
                </a:lnTo>
                <a:lnTo>
                  <a:pt x="2902603" y="1054121"/>
                </a:lnTo>
                <a:lnTo>
                  <a:pt x="2905642" y="1055096"/>
                </a:lnTo>
                <a:lnTo>
                  <a:pt x="2907487" y="1054013"/>
                </a:lnTo>
                <a:lnTo>
                  <a:pt x="2906184" y="1052930"/>
                </a:lnTo>
                <a:lnTo>
                  <a:pt x="2902386" y="1052930"/>
                </a:lnTo>
                <a:lnTo>
                  <a:pt x="2900867" y="1051414"/>
                </a:lnTo>
                <a:lnTo>
                  <a:pt x="2900867" y="1049141"/>
                </a:lnTo>
                <a:lnTo>
                  <a:pt x="2907378" y="1049141"/>
                </a:lnTo>
                <a:lnTo>
                  <a:pt x="2908789" y="1047734"/>
                </a:lnTo>
                <a:lnTo>
                  <a:pt x="2913455" y="1047734"/>
                </a:lnTo>
                <a:lnTo>
                  <a:pt x="2928864" y="1048599"/>
                </a:lnTo>
                <a:lnTo>
                  <a:pt x="2932012" y="1047625"/>
                </a:lnTo>
                <a:lnTo>
                  <a:pt x="2937654" y="1048383"/>
                </a:lnTo>
                <a:lnTo>
                  <a:pt x="2939933" y="1047516"/>
                </a:lnTo>
                <a:lnTo>
                  <a:pt x="2939933" y="1045568"/>
                </a:lnTo>
                <a:lnTo>
                  <a:pt x="2934181" y="1043186"/>
                </a:lnTo>
                <a:lnTo>
                  <a:pt x="2927237" y="1043186"/>
                </a:lnTo>
                <a:lnTo>
                  <a:pt x="2919098" y="1045135"/>
                </a:lnTo>
                <a:lnTo>
                  <a:pt x="2914540" y="1045135"/>
                </a:lnTo>
                <a:lnTo>
                  <a:pt x="2913563" y="1044052"/>
                </a:lnTo>
                <a:lnTo>
                  <a:pt x="2911067" y="1043403"/>
                </a:lnTo>
                <a:lnTo>
                  <a:pt x="2906293" y="1044593"/>
                </a:lnTo>
                <a:lnTo>
                  <a:pt x="2903146" y="1046867"/>
                </a:lnTo>
                <a:lnTo>
                  <a:pt x="2902061" y="1046001"/>
                </a:lnTo>
                <a:lnTo>
                  <a:pt x="2902061" y="1042645"/>
                </a:lnTo>
                <a:lnTo>
                  <a:pt x="2904556" y="1038747"/>
                </a:lnTo>
                <a:lnTo>
                  <a:pt x="2908572" y="1036798"/>
                </a:lnTo>
                <a:lnTo>
                  <a:pt x="2911719" y="1034632"/>
                </a:lnTo>
                <a:lnTo>
                  <a:pt x="2916168" y="1032575"/>
                </a:lnTo>
                <a:lnTo>
                  <a:pt x="2917904" y="1028678"/>
                </a:lnTo>
                <a:lnTo>
                  <a:pt x="2921919" y="1025863"/>
                </a:lnTo>
                <a:lnTo>
                  <a:pt x="2924307" y="1025863"/>
                </a:lnTo>
                <a:lnTo>
                  <a:pt x="2925500" y="1027379"/>
                </a:lnTo>
                <a:lnTo>
                  <a:pt x="2929515" y="1027379"/>
                </a:lnTo>
                <a:lnTo>
                  <a:pt x="2932337" y="1026296"/>
                </a:lnTo>
                <a:lnTo>
                  <a:pt x="2935050" y="1026296"/>
                </a:lnTo>
                <a:lnTo>
                  <a:pt x="2936243" y="1027595"/>
                </a:lnTo>
                <a:lnTo>
                  <a:pt x="2941235" y="1029436"/>
                </a:lnTo>
                <a:lnTo>
                  <a:pt x="2945576" y="1033550"/>
                </a:lnTo>
                <a:lnTo>
                  <a:pt x="2949917" y="1033550"/>
                </a:lnTo>
                <a:lnTo>
                  <a:pt x="2954691" y="1035390"/>
                </a:lnTo>
                <a:lnTo>
                  <a:pt x="2959574" y="1040479"/>
                </a:lnTo>
                <a:lnTo>
                  <a:pt x="2964457" y="1043186"/>
                </a:lnTo>
                <a:lnTo>
                  <a:pt x="2970969" y="1045351"/>
                </a:lnTo>
                <a:lnTo>
                  <a:pt x="2973682" y="1043835"/>
                </a:lnTo>
                <a:lnTo>
                  <a:pt x="2975852" y="1043835"/>
                </a:lnTo>
                <a:lnTo>
                  <a:pt x="2976720" y="1042645"/>
                </a:lnTo>
                <a:lnTo>
                  <a:pt x="2975960" y="1040371"/>
                </a:lnTo>
                <a:lnTo>
                  <a:pt x="2971945" y="1041237"/>
                </a:lnTo>
                <a:lnTo>
                  <a:pt x="2970426" y="1042753"/>
                </a:lnTo>
                <a:lnTo>
                  <a:pt x="2967062" y="1042103"/>
                </a:lnTo>
                <a:lnTo>
                  <a:pt x="2961853" y="1038639"/>
                </a:lnTo>
                <a:lnTo>
                  <a:pt x="2957404" y="1032251"/>
                </a:lnTo>
                <a:lnTo>
                  <a:pt x="2957404" y="1030410"/>
                </a:lnTo>
                <a:lnTo>
                  <a:pt x="2959791" y="1030410"/>
                </a:lnTo>
                <a:lnTo>
                  <a:pt x="2966737" y="1030410"/>
                </a:lnTo>
                <a:lnTo>
                  <a:pt x="2972813" y="1028028"/>
                </a:lnTo>
                <a:lnTo>
                  <a:pt x="2974984" y="1025646"/>
                </a:lnTo>
                <a:lnTo>
                  <a:pt x="2973898" y="1023373"/>
                </a:lnTo>
                <a:lnTo>
                  <a:pt x="2968256" y="1022073"/>
                </a:lnTo>
                <a:lnTo>
                  <a:pt x="2965977" y="1022723"/>
                </a:lnTo>
                <a:lnTo>
                  <a:pt x="2965977" y="1024563"/>
                </a:lnTo>
                <a:lnTo>
                  <a:pt x="2967387" y="1026296"/>
                </a:lnTo>
                <a:lnTo>
                  <a:pt x="2966085" y="1026945"/>
                </a:lnTo>
                <a:lnTo>
                  <a:pt x="2960009" y="1026945"/>
                </a:lnTo>
                <a:lnTo>
                  <a:pt x="2957296" y="1025213"/>
                </a:lnTo>
                <a:lnTo>
                  <a:pt x="2956536" y="1022073"/>
                </a:lnTo>
                <a:lnTo>
                  <a:pt x="2959032" y="1021099"/>
                </a:lnTo>
                <a:lnTo>
                  <a:pt x="2961311" y="1021099"/>
                </a:lnTo>
                <a:lnTo>
                  <a:pt x="2962396" y="1019258"/>
                </a:lnTo>
                <a:lnTo>
                  <a:pt x="2960443" y="1016659"/>
                </a:lnTo>
                <a:lnTo>
                  <a:pt x="2957838" y="1016659"/>
                </a:lnTo>
                <a:lnTo>
                  <a:pt x="2956861" y="1017634"/>
                </a:lnTo>
                <a:lnTo>
                  <a:pt x="2954257" y="1017634"/>
                </a:lnTo>
                <a:lnTo>
                  <a:pt x="2952086" y="1017634"/>
                </a:lnTo>
                <a:lnTo>
                  <a:pt x="2952086" y="1019474"/>
                </a:lnTo>
                <a:lnTo>
                  <a:pt x="2953172" y="1021965"/>
                </a:lnTo>
                <a:lnTo>
                  <a:pt x="2953172" y="1025105"/>
                </a:lnTo>
                <a:lnTo>
                  <a:pt x="2950459" y="1027920"/>
                </a:lnTo>
                <a:lnTo>
                  <a:pt x="2946987" y="1029869"/>
                </a:lnTo>
                <a:lnTo>
                  <a:pt x="2944599" y="1028786"/>
                </a:lnTo>
                <a:lnTo>
                  <a:pt x="2940041" y="1023373"/>
                </a:lnTo>
                <a:lnTo>
                  <a:pt x="2936569" y="1023373"/>
                </a:lnTo>
                <a:lnTo>
                  <a:pt x="2934181" y="1021857"/>
                </a:lnTo>
                <a:lnTo>
                  <a:pt x="2934181" y="1019583"/>
                </a:lnTo>
                <a:lnTo>
                  <a:pt x="2932662" y="1019583"/>
                </a:lnTo>
                <a:lnTo>
                  <a:pt x="2930817" y="1021640"/>
                </a:lnTo>
                <a:lnTo>
                  <a:pt x="2925066" y="1022506"/>
                </a:lnTo>
                <a:lnTo>
                  <a:pt x="2921485" y="1022506"/>
                </a:lnTo>
                <a:lnTo>
                  <a:pt x="2918338" y="1024996"/>
                </a:lnTo>
                <a:lnTo>
                  <a:pt x="2913889" y="1029110"/>
                </a:lnTo>
                <a:lnTo>
                  <a:pt x="2910634" y="1030194"/>
                </a:lnTo>
                <a:lnTo>
                  <a:pt x="2909006" y="1029219"/>
                </a:lnTo>
                <a:lnTo>
                  <a:pt x="2909006" y="1027270"/>
                </a:lnTo>
                <a:lnTo>
                  <a:pt x="2914215" y="1020882"/>
                </a:lnTo>
                <a:lnTo>
                  <a:pt x="2916385" y="1020124"/>
                </a:lnTo>
                <a:lnTo>
                  <a:pt x="2918013" y="1018284"/>
                </a:lnTo>
                <a:lnTo>
                  <a:pt x="2918013" y="1016443"/>
                </a:lnTo>
                <a:lnTo>
                  <a:pt x="2919423" y="1016443"/>
                </a:lnTo>
                <a:lnTo>
                  <a:pt x="2922027" y="1014169"/>
                </a:lnTo>
                <a:lnTo>
                  <a:pt x="2922027" y="1013195"/>
                </a:lnTo>
                <a:lnTo>
                  <a:pt x="2923547" y="1010380"/>
                </a:lnTo>
                <a:lnTo>
                  <a:pt x="2925392" y="1010380"/>
                </a:lnTo>
                <a:lnTo>
                  <a:pt x="2928973" y="1013086"/>
                </a:lnTo>
                <a:lnTo>
                  <a:pt x="2933530" y="1015035"/>
                </a:lnTo>
                <a:lnTo>
                  <a:pt x="2940258" y="1015035"/>
                </a:lnTo>
                <a:lnTo>
                  <a:pt x="2939607" y="1013412"/>
                </a:lnTo>
                <a:lnTo>
                  <a:pt x="2936569" y="1012653"/>
                </a:lnTo>
                <a:lnTo>
                  <a:pt x="2934290" y="1012653"/>
                </a:lnTo>
                <a:lnTo>
                  <a:pt x="2931685" y="1010705"/>
                </a:lnTo>
                <a:lnTo>
                  <a:pt x="2925717" y="1005400"/>
                </a:lnTo>
                <a:lnTo>
                  <a:pt x="2924741" y="1001935"/>
                </a:lnTo>
                <a:lnTo>
                  <a:pt x="2922027" y="1000744"/>
                </a:lnTo>
                <a:lnTo>
                  <a:pt x="2921376" y="998795"/>
                </a:lnTo>
                <a:lnTo>
                  <a:pt x="2923330" y="997821"/>
                </a:lnTo>
                <a:lnTo>
                  <a:pt x="2928647" y="999445"/>
                </a:lnTo>
                <a:lnTo>
                  <a:pt x="2932988" y="1005291"/>
                </a:lnTo>
                <a:lnTo>
                  <a:pt x="2937437" y="1009189"/>
                </a:lnTo>
                <a:lnTo>
                  <a:pt x="2938088" y="1007998"/>
                </a:lnTo>
                <a:lnTo>
                  <a:pt x="2936569" y="1004966"/>
                </a:lnTo>
                <a:lnTo>
                  <a:pt x="2935483" y="1000960"/>
                </a:lnTo>
                <a:lnTo>
                  <a:pt x="2936894" y="1000960"/>
                </a:lnTo>
                <a:lnTo>
                  <a:pt x="2939390" y="1003884"/>
                </a:lnTo>
                <a:lnTo>
                  <a:pt x="2940584" y="1006807"/>
                </a:lnTo>
                <a:lnTo>
                  <a:pt x="2948832" y="1011679"/>
                </a:lnTo>
                <a:lnTo>
                  <a:pt x="2951978" y="1011029"/>
                </a:lnTo>
                <a:lnTo>
                  <a:pt x="2953823" y="1009947"/>
                </a:lnTo>
                <a:lnTo>
                  <a:pt x="2958272" y="1009947"/>
                </a:lnTo>
                <a:lnTo>
                  <a:pt x="2960443" y="1012112"/>
                </a:lnTo>
                <a:lnTo>
                  <a:pt x="2965325" y="1015143"/>
                </a:lnTo>
                <a:lnTo>
                  <a:pt x="2969341" y="1016985"/>
                </a:lnTo>
                <a:lnTo>
                  <a:pt x="2970100" y="1018067"/>
                </a:lnTo>
                <a:lnTo>
                  <a:pt x="2973464" y="1018067"/>
                </a:lnTo>
                <a:lnTo>
                  <a:pt x="2973464" y="1016551"/>
                </a:lnTo>
                <a:lnTo>
                  <a:pt x="2969558" y="1012870"/>
                </a:lnTo>
                <a:lnTo>
                  <a:pt x="2960009" y="1005183"/>
                </a:lnTo>
                <a:lnTo>
                  <a:pt x="2959032" y="1003018"/>
                </a:lnTo>
                <a:lnTo>
                  <a:pt x="2959032" y="1001285"/>
                </a:lnTo>
                <a:lnTo>
                  <a:pt x="2964566" y="999337"/>
                </a:lnTo>
                <a:lnTo>
                  <a:pt x="2964566" y="996629"/>
                </a:lnTo>
                <a:lnTo>
                  <a:pt x="2966085" y="993490"/>
                </a:lnTo>
                <a:lnTo>
                  <a:pt x="2967930" y="992515"/>
                </a:lnTo>
                <a:lnTo>
                  <a:pt x="2967930" y="990241"/>
                </a:lnTo>
                <a:lnTo>
                  <a:pt x="2964783" y="990241"/>
                </a:lnTo>
                <a:lnTo>
                  <a:pt x="2961744" y="991433"/>
                </a:lnTo>
                <a:lnTo>
                  <a:pt x="2956102" y="991433"/>
                </a:lnTo>
                <a:lnTo>
                  <a:pt x="2954474" y="993273"/>
                </a:lnTo>
                <a:lnTo>
                  <a:pt x="2955559" y="994681"/>
                </a:lnTo>
                <a:lnTo>
                  <a:pt x="2959032" y="997388"/>
                </a:lnTo>
                <a:lnTo>
                  <a:pt x="2957512" y="998903"/>
                </a:lnTo>
                <a:lnTo>
                  <a:pt x="2952086" y="998903"/>
                </a:lnTo>
                <a:lnTo>
                  <a:pt x="2950242" y="999661"/>
                </a:lnTo>
                <a:lnTo>
                  <a:pt x="2946660" y="998795"/>
                </a:lnTo>
                <a:lnTo>
                  <a:pt x="2942429" y="999986"/>
                </a:lnTo>
                <a:lnTo>
                  <a:pt x="2940258" y="996955"/>
                </a:lnTo>
                <a:lnTo>
                  <a:pt x="2936678" y="995439"/>
                </a:lnTo>
                <a:lnTo>
                  <a:pt x="2935809" y="993490"/>
                </a:lnTo>
                <a:lnTo>
                  <a:pt x="2938196" y="991974"/>
                </a:lnTo>
                <a:lnTo>
                  <a:pt x="2940041" y="990133"/>
                </a:lnTo>
                <a:lnTo>
                  <a:pt x="2937871" y="990133"/>
                </a:lnTo>
                <a:lnTo>
                  <a:pt x="2933313" y="991108"/>
                </a:lnTo>
                <a:lnTo>
                  <a:pt x="2932337" y="990133"/>
                </a:lnTo>
                <a:lnTo>
                  <a:pt x="2938088" y="988618"/>
                </a:lnTo>
                <a:lnTo>
                  <a:pt x="2944382" y="985802"/>
                </a:lnTo>
                <a:lnTo>
                  <a:pt x="2947095" y="984286"/>
                </a:lnTo>
                <a:lnTo>
                  <a:pt x="2952412" y="984286"/>
                </a:lnTo>
                <a:lnTo>
                  <a:pt x="2953931" y="985478"/>
                </a:lnTo>
                <a:lnTo>
                  <a:pt x="2957946" y="984828"/>
                </a:lnTo>
                <a:lnTo>
                  <a:pt x="2962071" y="984828"/>
                </a:lnTo>
                <a:lnTo>
                  <a:pt x="2967279" y="985478"/>
                </a:lnTo>
                <a:lnTo>
                  <a:pt x="2967279" y="982988"/>
                </a:lnTo>
                <a:lnTo>
                  <a:pt x="2969667" y="981796"/>
                </a:lnTo>
                <a:lnTo>
                  <a:pt x="2971403" y="979848"/>
                </a:lnTo>
                <a:lnTo>
                  <a:pt x="2974441" y="977899"/>
                </a:lnTo>
                <a:lnTo>
                  <a:pt x="2975743" y="975517"/>
                </a:lnTo>
                <a:lnTo>
                  <a:pt x="2974658" y="975517"/>
                </a:lnTo>
                <a:lnTo>
                  <a:pt x="2971077" y="978115"/>
                </a:lnTo>
                <a:lnTo>
                  <a:pt x="2969015" y="978115"/>
                </a:lnTo>
                <a:lnTo>
                  <a:pt x="2967930" y="976166"/>
                </a:lnTo>
                <a:lnTo>
                  <a:pt x="2970209" y="972485"/>
                </a:lnTo>
                <a:lnTo>
                  <a:pt x="2972922" y="963607"/>
                </a:lnTo>
                <a:lnTo>
                  <a:pt x="2972922" y="959384"/>
                </a:lnTo>
                <a:lnTo>
                  <a:pt x="2974767" y="958518"/>
                </a:lnTo>
                <a:lnTo>
                  <a:pt x="2976286" y="959601"/>
                </a:lnTo>
                <a:lnTo>
                  <a:pt x="2978564" y="963932"/>
                </a:lnTo>
                <a:lnTo>
                  <a:pt x="2977588" y="965339"/>
                </a:lnTo>
                <a:lnTo>
                  <a:pt x="2977588" y="967505"/>
                </a:lnTo>
                <a:lnTo>
                  <a:pt x="2981495" y="968263"/>
                </a:lnTo>
                <a:lnTo>
                  <a:pt x="2984534" y="968263"/>
                </a:lnTo>
                <a:lnTo>
                  <a:pt x="2986269" y="970103"/>
                </a:lnTo>
                <a:lnTo>
                  <a:pt x="2988982" y="970103"/>
                </a:lnTo>
                <a:lnTo>
                  <a:pt x="2989634" y="969021"/>
                </a:lnTo>
                <a:lnTo>
                  <a:pt x="2991587" y="969778"/>
                </a:lnTo>
                <a:lnTo>
                  <a:pt x="2993757" y="969778"/>
                </a:lnTo>
                <a:lnTo>
                  <a:pt x="2993757" y="967180"/>
                </a:lnTo>
                <a:lnTo>
                  <a:pt x="2991044" y="965556"/>
                </a:lnTo>
                <a:lnTo>
                  <a:pt x="2985184" y="965556"/>
                </a:lnTo>
                <a:lnTo>
                  <a:pt x="2985184" y="964148"/>
                </a:lnTo>
                <a:lnTo>
                  <a:pt x="2988874" y="963499"/>
                </a:lnTo>
                <a:lnTo>
                  <a:pt x="2993540" y="962633"/>
                </a:lnTo>
                <a:lnTo>
                  <a:pt x="2993540" y="960792"/>
                </a:lnTo>
                <a:lnTo>
                  <a:pt x="2991370" y="959601"/>
                </a:lnTo>
                <a:lnTo>
                  <a:pt x="2988982" y="959601"/>
                </a:lnTo>
                <a:lnTo>
                  <a:pt x="2987789" y="957436"/>
                </a:lnTo>
                <a:lnTo>
                  <a:pt x="2986269" y="956678"/>
                </a:lnTo>
                <a:lnTo>
                  <a:pt x="2984425" y="957868"/>
                </a:lnTo>
                <a:lnTo>
                  <a:pt x="2982254" y="957868"/>
                </a:lnTo>
                <a:lnTo>
                  <a:pt x="2978456" y="957219"/>
                </a:lnTo>
                <a:lnTo>
                  <a:pt x="2978456" y="955162"/>
                </a:lnTo>
                <a:lnTo>
                  <a:pt x="2980518" y="952672"/>
                </a:lnTo>
                <a:lnTo>
                  <a:pt x="2982689" y="952672"/>
                </a:lnTo>
                <a:lnTo>
                  <a:pt x="2986161" y="947475"/>
                </a:lnTo>
                <a:lnTo>
                  <a:pt x="2988657" y="945526"/>
                </a:lnTo>
                <a:lnTo>
                  <a:pt x="2989742" y="946176"/>
                </a:lnTo>
                <a:lnTo>
                  <a:pt x="2992455" y="945526"/>
                </a:lnTo>
                <a:lnTo>
                  <a:pt x="2995276" y="945526"/>
                </a:lnTo>
                <a:lnTo>
                  <a:pt x="2994625" y="943360"/>
                </a:lnTo>
                <a:lnTo>
                  <a:pt x="2991912" y="942386"/>
                </a:lnTo>
                <a:lnTo>
                  <a:pt x="2988006" y="942386"/>
                </a:lnTo>
                <a:lnTo>
                  <a:pt x="2986812" y="940978"/>
                </a:lnTo>
                <a:lnTo>
                  <a:pt x="2988332" y="939246"/>
                </a:lnTo>
                <a:lnTo>
                  <a:pt x="2992780" y="937297"/>
                </a:lnTo>
                <a:lnTo>
                  <a:pt x="2994842" y="934807"/>
                </a:lnTo>
                <a:lnTo>
                  <a:pt x="2998098" y="933616"/>
                </a:lnTo>
                <a:lnTo>
                  <a:pt x="2998098" y="932101"/>
                </a:lnTo>
                <a:lnTo>
                  <a:pt x="3001136" y="930260"/>
                </a:lnTo>
                <a:lnTo>
                  <a:pt x="2998858" y="927553"/>
                </a:lnTo>
                <a:lnTo>
                  <a:pt x="2996145" y="927553"/>
                </a:lnTo>
                <a:lnTo>
                  <a:pt x="2996145" y="924413"/>
                </a:lnTo>
                <a:lnTo>
                  <a:pt x="2999291" y="923330"/>
                </a:lnTo>
                <a:lnTo>
                  <a:pt x="3002439" y="923330"/>
                </a:lnTo>
                <a:lnTo>
                  <a:pt x="3002439" y="920082"/>
                </a:lnTo>
                <a:lnTo>
                  <a:pt x="3000051" y="918999"/>
                </a:lnTo>
                <a:lnTo>
                  <a:pt x="2995928" y="918999"/>
                </a:lnTo>
                <a:lnTo>
                  <a:pt x="2992129" y="921923"/>
                </a:lnTo>
                <a:lnTo>
                  <a:pt x="2988006" y="921923"/>
                </a:lnTo>
                <a:lnTo>
                  <a:pt x="2985402" y="919216"/>
                </a:lnTo>
                <a:lnTo>
                  <a:pt x="2982797" y="920732"/>
                </a:lnTo>
                <a:lnTo>
                  <a:pt x="2978999" y="920732"/>
                </a:lnTo>
                <a:lnTo>
                  <a:pt x="2976720" y="918134"/>
                </a:lnTo>
                <a:lnTo>
                  <a:pt x="2974441" y="919216"/>
                </a:lnTo>
                <a:lnTo>
                  <a:pt x="2970643" y="918566"/>
                </a:lnTo>
                <a:lnTo>
                  <a:pt x="2967713" y="915102"/>
                </a:lnTo>
                <a:lnTo>
                  <a:pt x="2963916" y="915102"/>
                </a:lnTo>
                <a:lnTo>
                  <a:pt x="2961203" y="913586"/>
                </a:lnTo>
                <a:lnTo>
                  <a:pt x="2961203" y="911312"/>
                </a:lnTo>
                <a:lnTo>
                  <a:pt x="2959466" y="906873"/>
                </a:lnTo>
                <a:lnTo>
                  <a:pt x="2954257" y="903625"/>
                </a:lnTo>
                <a:lnTo>
                  <a:pt x="2945793" y="899836"/>
                </a:lnTo>
                <a:lnTo>
                  <a:pt x="2939282" y="897562"/>
                </a:lnTo>
                <a:lnTo>
                  <a:pt x="2934833" y="893123"/>
                </a:lnTo>
                <a:lnTo>
                  <a:pt x="2934833" y="890416"/>
                </a:lnTo>
                <a:lnTo>
                  <a:pt x="2932880" y="884894"/>
                </a:lnTo>
                <a:lnTo>
                  <a:pt x="2930167" y="881322"/>
                </a:lnTo>
                <a:lnTo>
                  <a:pt x="2927887" y="879373"/>
                </a:lnTo>
                <a:lnTo>
                  <a:pt x="2927887" y="876990"/>
                </a:lnTo>
                <a:lnTo>
                  <a:pt x="2932988" y="872659"/>
                </a:lnTo>
                <a:lnTo>
                  <a:pt x="2937437" y="872659"/>
                </a:lnTo>
                <a:lnTo>
                  <a:pt x="2939607" y="871577"/>
                </a:lnTo>
                <a:lnTo>
                  <a:pt x="2942538" y="872768"/>
                </a:lnTo>
                <a:lnTo>
                  <a:pt x="2946878" y="872768"/>
                </a:lnTo>
                <a:lnTo>
                  <a:pt x="2951110" y="876557"/>
                </a:lnTo>
                <a:lnTo>
                  <a:pt x="2955885" y="877316"/>
                </a:lnTo>
                <a:lnTo>
                  <a:pt x="2959032" y="877316"/>
                </a:lnTo>
                <a:lnTo>
                  <a:pt x="2960876" y="878831"/>
                </a:lnTo>
                <a:lnTo>
                  <a:pt x="2965217" y="878831"/>
                </a:lnTo>
                <a:lnTo>
                  <a:pt x="2969015" y="880347"/>
                </a:lnTo>
                <a:lnTo>
                  <a:pt x="2971728" y="881971"/>
                </a:lnTo>
                <a:lnTo>
                  <a:pt x="2974767" y="882620"/>
                </a:lnTo>
                <a:lnTo>
                  <a:pt x="2977046" y="885544"/>
                </a:lnTo>
                <a:lnTo>
                  <a:pt x="2979867" y="894639"/>
                </a:lnTo>
                <a:lnTo>
                  <a:pt x="2983122" y="898536"/>
                </a:lnTo>
                <a:lnTo>
                  <a:pt x="2987355" y="901351"/>
                </a:lnTo>
                <a:lnTo>
                  <a:pt x="2990936" y="904491"/>
                </a:lnTo>
                <a:lnTo>
                  <a:pt x="2995385" y="906224"/>
                </a:lnTo>
                <a:lnTo>
                  <a:pt x="2997664" y="905249"/>
                </a:lnTo>
                <a:lnTo>
                  <a:pt x="3000051" y="901676"/>
                </a:lnTo>
                <a:lnTo>
                  <a:pt x="2998858" y="900702"/>
                </a:lnTo>
                <a:lnTo>
                  <a:pt x="2996361" y="902001"/>
                </a:lnTo>
                <a:lnTo>
                  <a:pt x="2994300" y="902001"/>
                </a:lnTo>
                <a:lnTo>
                  <a:pt x="2991587" y="899728"/>
                </a:lnTo>
                <a:lnTo>
                  <a:pt x="2986812" y="894097"/>
                </a:lnTo>
                <a:lnTo>
                  <a:pt x="2986812" y="892148"/>
                </a:lnTo>
                <a:lnTo>
                  <a:pt x="2987789" y="892148"/>
                </a:lnTo>
                <a:lnTo>
                  <a:pt x="2992129" y="896479"/>
                </a:lnTo>
                <a:lnTo>
                  <a:pt x="2994408" y="896479"/>
                </a:lnTo>
                <a:lnTo>
                  <a:pt x="2994408" y="894530"/>
                </a:lnTo>
                <a:lnTo>
                  <a:pt x="2997121" y="894530"/>
                </a:lnTo>
                <a:lnTo>
                  <a:pt x="2997121" y="892581"/>
                </a:lnTo>
                <a:lnTo>
                  <a:pt x="2991261" y="888684"/>
                </a:lnTo>
                <a:lnTo>
                  <a:pt x="2985944" y="884245"/>
                </a:lnTo>
                <a:lnTo>
                  <a:pt x="2984642" y="881322"/>
                </a:lnTo>
                <a:lnTo>
                  <a:pt x="2985402" y="879589"/>
                </a:lnTo>
                <a:lnTo>
                  <a:pt x="2986921" y="879589"/>
                </a:lnTo>
                <a:lnTo>
                  <a:pt x="2989959" y="883703"/>
                </a:lnTo>
                <a:lnTo>
                  <a:pt x="2992672" y="883703"/>
                </a:lnTo>
                <a:lnTo>
                  <a:pt x="2990719" y="879373"/>
                </a:lnTo>
                <a:lnTo>
                  <a:pt x="2985944" y="874500"/>
                </a:lnTo>
                <a:lnTo>
                  <a:pt x="2981929" y="871577"/>
                </a:lnTo>
                <a:lnTo>
                  <a:pt x="2980735" y="868762"/>
                </a:lnTo>
                <a:lnTo>
                  <a:pt x="2981712" y="867138"/>
                </a:lnTo>
                <a:lnTo>
                  <a:pt x="2986269" y="868870"/>
                </a:lnTo>
                <a:lnTo>
                  <a:pt x="2995168" y="871794"/>
                </a:lnTo>
                <a:lnTo>
                  <a:pt x="2997773" y="870711"/>
                </a:lnTo>
                <a:lnTo>
                  <a:pt x="2997773" y="868004"/>
                </a:lnTo>
                <a:lnTo>
                  <a:pt x="2994191" y="863457"/>
                </a:lnTo>
                <a:lnTo>
                  <a:pt x="2992129" y="863457"/>
                </a:lnTo>
                <a:lnTo>
                  <a:pt x="2989200" y="865081"/>
                </a:lnTo>
                <a:lnTo>
                  <a:pt x="2985944" y="865081"/>
                </a:lnTo>
                <a:lnTo>
                  <a:pt x="2981386" y="865081"/>
                </a:lnTo>
                <a:lnTo>
                  <a:pt x="2980409" y="862916"/>
                </a:lnTo>
                <a:lnTo>
                  <a:pt x="2981929" y="860642"/>
                </a:lnTo>
                <a:lnTo>
                  <a:pt x="2987246" y="857935"/>
                </a:lnTo>
                <a:lnTo>
                  <a:pt x="2989200" y="858585"/>
                </a:lnTo>
                <a:lnTo>
                  <a:pt x="2992672" y="860750"/>
                </a:lnTo>
                <a:lnTo>
                  <a:pt x="2993323" y="858801"/>
                </a:lnTo>
                <a:lnTo>
                  <a:pt x="2993323" y="856311"/>
                </a:lnTo>
                <a:lnTo>
                  <a:pt x="2990610" y="853063"/>
                </a:lnTo>
                <a:lnTo>
                  <a:pt x="2988765" y="853063"/>
                </a:lnTo>
                <a:lnTo>
                  <a:pt x="2987355" y="854471"/>
                </a:lnTo>
                <a:lnTo>
                  <a:pt x="2984316" y="854471"/>
                </a:lnTo>
                <a:lnTo>
                  <a:pt x="2982471" y="855986"/>
                </a:lnTo>
                <a:lnTo>
                  <a:pt x="2976069" y="861291"/>
                </a:lnTo>
                <a:lnTo>
                  <a:pt x="2974007" y="861291"/>
                </a:lnTo>
                <a:lnTo>
                  <a:pt x="2974007" y="859343"/>
                </a:lnTo>
                <a:lnTo>
                  <a:pt x="2976611" y="857177"/>
                </a:lnTo>
                <a:lnTo>
                  <a:pt x="2977914" y="853821"/>
                </a:lnTo>
                <a:lnTo>
                  <a:pt x="2980627" y="850031"/>
                </a:lnTo>
                <a:lnTo>
                  <a:pt x="2982689" y="850031"/>
                </a:lnTo>
                <a:lnTo>
                  <a:pt x="2985402" y="850031"/>
                </a:lnTo>
                <a:lnTo>
                  <a:pt x="2988548" y="847541"/>
                </a:lnTo>
                <a:lnTo>
                  <a:pt x="2991695" y="846892"/>
                </a:lnTo>
                <a:lnTo>
                  <a:pt x="2993215" y="845267"/>
                </a:lnTo>
                <a:lnTo>
                  <a:pt x="2992238" y="844401"/>
                </a:lnTo>
                <a:lnTo>
                  <a:pt x="2986703" y="844401"/>
                </a:lnTo>
                <a:lnTo>
                  <a:pt x="2983448" y="847000"/>
                </a:lnTo>
                <a:lnTo>
                  <a:pt x="2980844" y="847649"/>
                </a:lnTo>
                <a:lnTo>
                  <a:pt x="2978239" y="846783"/>
                </a:lnTo>
                <a:lnTo>
                  <a:pt x="2973030" y="847433"/>
                </a:lnTo>
                <a:lnTo>
                  <a:pt x="2971511" y="846350"/>
                </a:lnTo>
                <a:lnTo>
                  <a:pt x="2971511" y="843643"/>
                </a:lnTo>
                <a:lnTo>
                  <a:pt x="2974116" y="841911"/>
                </a:lnTo>
                <a:lnTo>
                  <a:pt x="2976937" y="839529"/>
                </a:lnTo>
                <a:lnTo>
                  <a:pt x="2982797" y="839529"/>
                </a:lnTo>
                <a:lnTo>
                  <a:pt x="2990502" y="837688"/>
                </a:lnTo>
                <a:lnTo>
                  <a:pt x="2995819" y="834765"/>
                </a:lnTo>
                <a:lnTo>
                  <a:pt x="2995819" y="832816"/>
                </a:lnTo>
                <a:lnTo>
                  <a:pt x="2994300" y="831842"/>
                </a:lnTo>
                <a:lnTo>
                  <a:pt x="2992455" y="831842"/>
                </a:lnTo>
                <a:lnTo>
                  <a:pt x="2988982" y="834007"/>
                </a:lnTo>
                <a:lnTo>
                  <a:pt x="2984967" y="835415"/>
                </a:lnTo>
                <a:lnTo>
                  <a:pt x="2982037" y="834441"/>
                </a:lnTo>
                <a:lnTo>
                  <a:pt x="2980084" y="831409"/>
                </a:lnTo>
                <a:lnTo>
                  <a:pt x="2978131" y="830326"/>
                </a:lnTo>
                <a:lnTo>
                  <a:pt x="2974550" y="830326"/>
                </a:lnTo>
                <a:lnTo>
                  <a:pt x="2972813" y="829243"/>
                </a:lnTo>
                <a:lnTo>
                  <a:pt x="2972813" y="827511"/>
                </a:lnTo>
                <a:lnTo>
                  <a:pt x="2975960" y="824588"/>
                </a:lnTo>
                <a:lnTo>
                  <a:pt x="2977914" y="819499"/>
                </a:lnTo>
                <a:lnTo>
                  <a:pt x="2980084" y="817550"/>
                </a:lnTo>
                <a:lnTo>
                  <a:pt x="2983448" y="815709"/>
                </a:lnTo>
                <a:lnTo>
                  <a:pt x="2983448" y="814410"/>
                </a:lnTo>
                <a:lnTo>
                  <a:pt x="2981712" y="814410"/>
                </a:lnTo>
                <a:lnTo>
                  <a:pt x="2977805" y="816035"/>
                </a:lnTo>
                <a:lnTo>
                  <a:pt x="2973573" y="821772"/>
                </a:lnTo>
                <a:lnTo>
                  <a:pt x="2973573" y="823829"/>
                </a:lnTo>
                <a:lnTo>
                  <a:pt x="2969992" y="826212"/>
                </a:lnTo>
                <a:lnTo>
                  <a:pt x="2968907" y="827511"/>
                </a:lnTo>
                <a:lnTo>
                  <a:pt x="2967062" y="827511"/>
                </a:lnTo>
                <a:lnTo>
                  <a:pt x="2967062" y="823721"/>
                </a:lnTo>
                <a:lnTo>
                  <a:pt x="2968256" y="818092"/>
                </a:lnTo>
                <a:lnTo>
                  <a:pt x="2968256" y="812461"/>
                </a:lnTo>
                <a:lnTo>
                  <a:pt x="2965977" y="807589"/>
                </a:lnTo>
                <a:lnTo>
                  <a:pt x="2965325" y="802825"/>
                </a:lnTo>
                <a:lnTo>
                  <a:pt x="2966845" y="799252"/>
                </a:lnTo>
                <a:lnTo>
                  <a:pt x="2966845" y="795788"/>
                </a:lnTo>
                <a:lnTo>
                  <a:pt x="2965651" y="795788"/>
                </a:lnTo>
                <a:lnTo>
                  <a:pt x="2964783" y="797629"/>
                </a:lnTo>
                <a:lnTo>
                  <a:pt x="2963264" y="805856"/>
                </a:lnTo>
                <a:lnTo>
                  <a:pt x="2964675" y="809430"/>
                </a:lnTo>
                <a:lnTo>
                  <a:pt x="2966302" y="813652"/>
                </a:lnTo>
                <a:lnTo>
                  <a:pt x="2966302" y="818092"/>
                </a:lnTo>
                <a:lnTo>
                  <a:pt x="2966302" y="824696"/>
                </a:lnTo>
                <a:lnTo>
                  <a:pt x="2964566" y="827727"/>
                </a:lnTo>
                <a:lnTo>
                  <a:pt x="2962396" y="827727"/>
                </a:lnTo>
                <a:lnTo>
                  <a:pt x="2959683" y="825021"/>
                </a:lnTo>
                <a:lnTo>
                  <a:pt x="2957730" y="822098"/>
                </a:lnTo>
                <a:lnTo>
                  <a:pt x="2957078" y="828486"/>
                </a:lnTo>
                <a:lnTo>
                  <a:pt x="2957078" y="830218"/>
                </a:lnTo>
                <a:lnTo>
                  <a:pt x="2955017" y="830218"/>
                </a:lnTo>
                <a:lnTo>
                  <a:pt x="2952738" y="830218"/>
                </a:lnTo>
                <a:lnTo>
                  <a:pt x="2954799" y="831842"/>
                </a:lnTo>
                <a:lnTo>
                  <a:pt x="2955668" y="834873"/>
                </a:lnTo>
                <a:lnTo>
                  <a:pt x="2954583" y="838879"/>
                </a:lnTo>
                <a:lnTo>
                  <a:pt x="2952630" y="841586"/>
                </a:lnTo>
                <a:lnTo>
                  <a:pt x="2948832" y="842235"/>
                </a:lnTo>
                <a:lnTo>
                  <a:pt x="2946769" y="842235"/>
                </a:lnTo>
                <a:lnTo>
                  <a:pt x="2945467" y="843643"/>
                </a:lnTo>
                <a:lnTo>
                  <a:pt x="2942212" y="846025"/>
                </a:lnTo>
                <a:lnTo>
                  <a:pt x="2936243" y="846025"/>
                </a:lnTo>
                <a:lnTo>
                  <a:pt x="2933965" y="843751"/>
                </a:lnTo>
                <a:lnTo>
                  <a:pt x="2933965" y="840504"/>
                </a:lnTo>
                <a:lnTo>
                  <a:pt x="2932880" y="838014"/>
                </a:lnTo>
                <a:lnTo>
                  <a:pt x="2931035" y="836281"/>
                </a:lnTo>
                <a:lnTo>
                  <a:pt x="2928973" y="836281"/>
                </a:lnTo>
                <a:lnTo>
                  <a:pt x="2928213" y="839204"/>
                </a:lnTo>
                <a:lnTo>
                  <a:pt x="2926802" y="839204"/>
                </a:lnTo>
                <a:lnTo>
                  <a:pt x="2925174" y="833574"/>
                </a:lnTo>
                <a:lnTo>
                  <a:pt x="2926260" y="830110"/>
                </a:lnTo>
                <a:lnTo>
                  <a:pt x="2925283" y="827619"/>
                </a:lnTo>
                <a:lnTo>
                  <a:pt x="2923764" y="826104"/>
                </a:lnTo>
                <a:lnTo>
                  <a:pt x="2923764" y="823505"/>
                </a:lnTo>
                <a:lnTo>
                  <a:pt x="2928213" y="820906"/>
                </a:lnTo>
                <a:lnTo>
                  <a:pt x="2932120" y="820906"/>
                </a:lnTo>
                <a:lnTo>
                  <a:pt x="2933530" y="821989"/>
                </a:lnTo>
                <a:lnTo>
                  <a:pt x="2935701" y="818416"/>
                </a:lnTo>
                <a:lnTo>
                  <a:pt x="2938088" y="817442"/>
                </a:lnTo>
                <a:lnTo>
                  <a:pt x="2944925" y="816684"/>
                </a:lnTo>
                <a:lnTo>
                  <a:pt x="2947204" y="817333"/>
                </a:lnTo>
                <a:lnTo>
                  <a:pt x="2952521" y="811595"/>
                </a:lnTo>
                <a:lnTo>
                  <a:pt x="2956319" y="804882"/>
                </a:lnTo>
                <a:lnTo>
                  <a:pt x="2956319" y="802933"/>
                </a:lnTo>
                <a:lnTo>
                  <a:pt x="2955125" y="802933"/>
                </a:lnTo>
                <a:lnTo>
                  <a:pt x="2952630" y="804666"/>
                </a:lnTo>
                <a:lnTo>
                  <a:pt x="2950350" y="808672"/>
                </a:lnTo>
                <a:lnTo>
                  <a:pt x="2946552" y="813111"/>
                </a:lnTo>
                <a:lnTo>
                  <a:pt x="2941669" y="814627"/>
                </a:lnTo>
                <a:lnTo>
                  <a:pt x="2936135" y="813436"/>
                </a:lnTo>
                <a:lnTo>
                  <a:pt x="2932880" y="810513"/>
                </a:lnTo>
                <a:lnTo>
                  <a:pt x="2932880" y="807914"/>
                </a:lnTo>
                <a:lnTo>
                  <a:pt x="2937003" y="805532"/>
                </a:lnTo>
                <a:lnTo>
                  <a:pt x="2941886" y="801093"/>
                </a:lnTo>
                <a:lnTo>
                  <a:pt x="2945033" y="801093"/>
                </a:lnTo>
                <a:lnTo>
                  <a:pt x="2945901" y="799577"/>
                </a:lnTo>
                <a:lnTo>
                  <a:pt x="2945901" y="796654"/>
                </a:lnTo>
                <a:lnTo>
                  <a:pt x="2946987" y="795138"/>
                </a:lnTo>
                <a:lnTo>
                  <a:pt x="2949373" y="795138"/>
                </a:lnTo>
                <a:lnTo>
                  <a:pt x="2951218" y="793514"/>
                </a:lnTo>
                <a:lnTo>
                  <a:pt x="2949917" y="792107"/>
                </a:lnTo>
                <a:lnTo>
                  <a:pt x="2949917" y="790158"/>
                </a:lnTo>
                <a:lnTo>
                  <a:pt x="2948940" y="789183"/>
                </a:lnTo>
                <a:lnTo>
                  <a:pt x="2947529" y="789833"/>
                </a:lnTo>
                <a:lnTo>
                  <a:pt x="2945359" y="791782"/>
                </a:lnTo>
                <a:lnTo>
                  <a:pt x="2939065" y="791024"/>
                </a:lnTo>
                <a:lnTo>
                  <a:pt x="2937328" y="791024"/>
                </a:lnTo>
                <a:lnTo>
                  <a:pt x="2936243" y="789508"/>
                </a:lnTo>
                <a:lnTo>
                  <a:pt x="2937328" y="786693"/>
                </a:lnTo>
                <a:lnTo>
                  <a:pt x="2942212" y="783662"/>
                </a:lnTo>
                <a:lnTo>
                  <a:pt x="2944599" y="783662"/>
                </a:lnTo>
                <a:lnTo>
                  <a:pt x="2947312" y="785935"/>
                </a:lnTo>
                <a:lnTo>
                  <a:pt x="2950350" y="785935"/>
                </a:lnTo>
                <a:lnTo>
                  <a:pt x="2954908" y="783986"/>
                </a:lnTo>
                <a:lnTo>
                  <a:pt x="2957730" y="777598"/>
                </a:lnTo>
                <a:lnTo>
                  <a:pt x="2955993" y="775541"/>
                </a:lnTo>
                <a:lnTo>
                  <a:pt x="2956536" y="772185"/>
                </a:lnTo>
                <a:lnTo>
                  <a:pt x="2961203" y="767746"/>
                </a:lnTo>
                <a:lnTo>
                  <a:pt x="2959791" y="762873"/>
                </a:lnTo>
                <a:lnTo>
                  <a:pt x="2959791" y="758001"/>
                </a:lnTo>
                <a:lnTo>
                  <a:pt x="2958923" y="755836"/>
                </a:lnTo>
                <a:lnTo>
                  <a:pt x="2956102" y="754753"/>
                </a:lnTo>
                <a:lnTo>
                  <a:pt x="2953715" y="754753"/>
                </a:lnTo>
                <a:lnTo>
                  <a:pt x="2951327" y="752155"/>
                </a:lnTo>
                <a:lnTo>
                  <a:pt x="2947964" y="752155"/>
                </a:lnTo>
                <a:lnTo>
                  <a:pt x="2945142" y="751072"/>
                </a:lnTo>
                <a:lnTo>
                  <a:pt x="2945142" y="749015"/>
                </a:lnTo>
                <a:lnTo>
                  <a:pt x="2947095" y="748257"/>
                </a:lnTo>
                <a:lnTo>
                  <a:pt x="2950676" y="748907"/>
                </a:lnTo>
                <a:lnTo>
                  <a:pt x="2952630" y="747607"/>
                </a:lnTo>
                <a:lnTo>
                  <a:pt x="2955668" y="744467"/>
                </a:lnTo>
                <a:lnTo>
                  <a:pt x="2955668" y="741111"/>
                </a:lnTo>
                <a:lnTo>
                  <a:pt x="2958164" y="738404"/>
                </a:lnTo>
                <a:lnTo>
                  <a:pt x="2958164" y="735697"/>
                </a:lnTo>
                <a:lnTo>
                  <a:pt x="2956428" y="733749"/>
                </a:lnTo>
                <a:lnTo>
                  <a:pt x="2953389" y="733749"/>
                </a:lnTo>
                <a:lnTo>
                  <a:pt x="2952086" y="731800"/>
                </a:lnTo>
                <a:lnTo>
                  <a:pt x="2951435" y="728877"/>
                </a:lnTo>
                <a:lnTo>
                  <a:pt x="2953823" y="726928"/>
                </a:lnTo>
                <a:lnTo>
                  <a:pt x="2954691" y="726928"/>
                </a:lnTo>
                <a:lnTo>
                  <a:pt x="2954691" y="724979"/>
                </a:lnTo>
                <a:lnTo>
                  <a:pt x="2952086" y="720973"/>
                </a:lnTo>
                <a:lnTo>
                  <a:pt x="2951110" y="715993"/>
                </a:lnTo>
                <a:lnTo>
                  <a:pt x="2952955" y="715126"/>
                </a:lnTo>
                <a:lnTo>
                  <a:pt x="2955125" y="717833"/>
                </a:lnTo>
                <a:lnTo>
                  <a:pt x="2955125" y="716426"/>
                </a:lnTo>
                <a:lnTo>
                  <a:pt x="2953823" y="713610"/>
                </a:lnTo>
                <a:lnTo>
                  <a:pt x="2953823" y="711337"/>
                </a:lnTo>
                <a:lnTo>
                  <a:pt x="2955885" y="707222"/>
                </a:lnTo>
                <a:lnTo>
                  <a:pt x="2955017" y="702892"/>
                </a:lnTo>
                <a:lnTo>
                  <a:pt x="2952846" y="699102"/>
                </a:lnTo>
                <a:lnTo>
                  <a:pt x="2952846" y="696395"/>
                </a:lnTo>
                <a:lnTo>
                  <a:pt x="2951761" y="693580"/>
                </a:lnTo>
                <a:lnTo>
                  <a:pt x="2953280" y="690982"/>
                </a:lnTo>
                <a:lnTo>
                  <a:pt x="2954799" y="685785"/>
                </a:lnTo>
                <a:lnTo>
                  <a:pt x="2953063" y="685785"/>
                </a:lnTo>
                <a:lnTo>
                  <a:pt x="2950785" y="685785"/>
                </a:lnTo>
                <a:lnTo>
                  <a:pt x="2946660" y="689790"/>
                </a:lnTo>
                <a:lnTo>
                  <a:pt x="2944165" y="689790"/>
                </a:lnTo>
                <a:lnTo>
                  <a:pt x="2942212" y="691632"/>
                </a:lnTo>
                <a:lnTo>
                  <a:pt x="2939933" y="692606"/>
                </a:lnTo>
                <a:lnTo>
                  <a:pt x="2937871" y="691523"/>
                </a:lnTo>
                <a:lnTo>
                  <a:pt x="2939282" y="689466"/>
                </a:lnTo>
                <a:lnTo>
                  <a:pt x="2943514" y="686326"/>
                </a:lnTo>
                <a:lnTo>
                  <a:pt x="2945901" y="686326"/>
                </a:lnTo>
                <a:lnTo>
                  <a:pt x="2948289" y="683294"/>
                </a:lnTo>
                <a:lnTo>
                  <a:pt x="2949373" y="679614"/>
                </a:lnTo>
                <a:lnTo>
                  <a:pt x="2952955" y="676690"/>
                </a:lnTo>
                <a:lnTo>
                  <a:pt x="2956753" y="675174"/>
                </a:lnTo>
                <a:lnTo>
                  <a:pt x="2958055" y="671926"/>
                </a:lnTo>
                <a:lnTo>
                  <a:pt x="2958055" y="668786"/>
                </a:lnTo>
                <a:lnTo>
                  <a:pt x="2955885" y="666080"/>
                </a:lnTo>
                <a:lnTo>
                  <a:pt x="2953063" y="662290"/>
                </a:lnTo>
                <a:lnTo>
                  <a:pt x="2951978" y="658501"/>
                </a:lnTo>
                <a:lnTo>
                  <a:pt x="2950893" y="657526"/>
                </a:lnTo>
                <a:lnTo>
                  <a:pt x="2945467" y="657526"/>
                </a:lnTo>
                <a:lnTo>
                  <a:pt x="2942971" y="654278"/>
                </a:lnTo>
                <a:lnTo>
                  <a:pt x="2942971" y="650921"/>
                </a:lnTo>
                <a:lnTo>
                  <a:pt x="2944382" y="649298"/>
                </a:lnTo>
                <a:lnTo>
                  <a:pt x="2943406" y="647241"/>
                </a:lnTo>
                <a:lnTo>
                  <a:pt x="2943406" y="642910"/>
                </a:lnTo>
                <a:lnTo>
                  <a:pt x="2941561" y="639229"/>
                </a:lnTo>
                <a:lnTo>
                  <a:pt x="2933422" y="632408"/>
                </a:lnTo>
                <a:lnTo>
                  <a:pt x="2933422" y="630783"/>
                </a:lnTo>
                <a:lnTo>
                  <a:pt x="2931577" y="627644"/>
                </a:lnTo>
                <a:lnTo>
                  <a:pt x="2929732" y="625803"/>
                </a:lnTo>
                <a:lnTo>
                  <a:pt x="2929732" y="623854"/>
                </a:lnTo>
                <a:lnTo>
                  <a:pt x="2931252" y="622989"/>
                </a:lnTo>
                <a:lnTo>
                  <a:pt x="2936026" y="618874"/>
                </a:lnTo>
                <a:lnTo>
                  <a:pt x="2938739" y="617358"/>
                </a:lnTo>
                <a:lnTo>
                  <a:pt x="2940150" y="614760"/>
                </a:lnTo>
                <a:lnTo>
                  <a:pt x="2939065" y="613569"/>
                </a:lnTo>
                <a:lnTo>
                  <a:pt x="2935266" y="613569"/>
                </a:lnTo>
                <a:lnTo>
                  <a:pt x="2935266" y="611945"/>
                </a:lnTo>
                <a:lnTo>
                  <a:pt x="2937979" y="609779"/>
                </a:lnTo>
                <a:lnTo>
                  <a:pt x="2940150" y="605341"/>
                </a:lnTo>
                <a:lnTo>
                  <a:pt x="2941658" y="603621"/>
                </a:lnTo>
                <a:lnTo>
                  <a:pt x="2942429" y="604582"/>
                </a:lnTo>
                <a:lnTo>
                  <a:pt x="2942429" y="602742"/>
                </a:lnTo>
                <a:lnTo>
                  <a:pt x="2941658" y="603621"/>
                </a:lnTo>
                <a:lnTo>
                  <a:pt x="2941561" y="603499"/>
                </a:lnTo>
                <a:lnTo>
                  <a:pt x="2943080" y="600468"/>
                </a:lnTo>
                <a:lnTo>
                  <a:pt x="2941126" y="598195"/>
                </a:lnTo>
                <a:lnTo>
                  <a:pt x="2938848" y="597437"/>
                </a:lnTo>
                <a:lnTo>
                  <a:pt x="2935158" y="592889"/>
                </a:lnTo>
                <a:lnTo>
                  <a:pt x="2929949" y="588884"/>
                </a:lnTo>
                <a:lnTo>
                  <a:pt x="2928539" y="585310"/>
                </a:lnTo>
                <a:lnTo>
                  <a:pt x="2926368" y="583902"/>
                </a:lnTo>
                <a:lnTo>
                  <a:pt x="2924632" y="583902"/>
                </a:lnTo>
                <a:lnTo>
                  <a:pt x="2924632" y="586068"/>
                </a:lnTo>
                <a:lnTo>
                  <a:pt x="2922679" y="586068"/>
                </a:lnTo>
                <a:lnTo>
                  <a:pt x="2921485" y="584985"/>
                </a:lnTo>
                <a:lnTo>
                  <a:pt x="2920617" y="581413"/>
                </a:lnTo>
                <a:lnTo>
                  <a:pt x="2918121" y="579138"/>
                </a:lnTo>
                <a:lnTo>
                  <a:pt x="2914865" y="576865"/>
                </a:lnTo>
                <a:lnTo>
                  <a:pt x="2912587" y="574050"/>
                </a:lnTo>
                <a:lnTo>
                  <a:pt x="2910634" y="573292"/>
                </a:lnTo>
                <a:lnTo>
                  <a:pt x="2909548" y="574375"/>
                </a:lnTo>
                <a:lnTo>
                  <a:pt x="2907595" y="574375"/>
                </a:lnTo>
                <a:lnTo>
                  <a:pt x="2907595" y="572859"/>
                </a:lnTo>
                <a:lnTo>
                  <a:pt x="2908463" y="568745"/>
                </a:lnTo>
                <a:lnTo>
                  <a:pt x="2902929" y="564414"/>
                </a:lnTo>
                <a:lnTo>
                  <a:pt x="2898588" y="559975"/>
                </a:lnTo>
                <a:lnTo>
                  <a:pt x="2896851" y="559975"/>
                </a:lnTo>
                <a:lnTo>
                  <a:pt x="2894464" y="562573"/>
                </a:lnTo>
                <a:lnTo>
                  <a:pt x="2890667" y="561058"/>
                </a:lnTo>
                <a:lnTo>
                  <a:pt x="2884156" y="555428"/>
                </a:lnTo>
                <a:lnTo>
                  <a:pt x="2878838" y="553695"/>
                </a:lnTo>
                <a:lnTo>
                  <a:pt x="2875583" y="550230"/>
                </a:lnTo>
                <a:lnTo>
                  <a:pt x="2871459" y="548715"/>
                </a:lnTo>
                <a:lnTo>
                  <a:pt x="2866467" y="549365"/>
                </a:lnTo>
                <a:lnTo>
                  <a:pt x="2863320" y="552288"/>
                </a:lnTo>
                <a:lnTo>
                  <a:pt x="2860716" y="557052"/>
                </a:lnTo>
                <a:lnTo>
                  <a:pt x="2856375" y="560192"/>
                </a:lnTo>
                <a:lnTo>
                  <a:pt x="2854530" y="562573"/>
                </a:lnTo>
                <a:lnTo>
                  <a:pt x="2854530" y="558243"/>
                </a:lnTo>
                <a:lnTo>
                  <a:pt x="2856809" y="554236"/>
                </a:lnTo>
                <a:lnTo>
                  <a:pt x="2856809" y="549906"/>
                </a:lnTo>
                <a:lnTo>
                  <a:pt x="2855398" y="548390"/>
                </a:lnTo>
                <a:lnTo>
                  <a:pt x="2850949" y="548390"/>
                </a:lnTo>
                <a:lnTo>
                  <a:pt x="2848562" y="551530"/>
                </a:lnTo>
                <a:lnTo>
                  <a:pt x="2848562" y="554453"/>
                </a:lnTo>
                <a:lnTo>
                  <a:pt x="2845306" y="556510"/>
                </a:lnTo>
                <a:lnTo>
                  <a:pt x="2842919" y="554995"/>
                </a:lnTo>
                <a:lnTo>
                  <a:pt x="2840206" y="549148"/>
                </a:lnTo>
                <a:lnTo>
                  <a:pt x="2837493" y="548065"/>
                </a:lnTo>
                <a:lnTo>
                  <a:pt x="2836842" y="550988"/>
                </a:lnTo>
                <a:lnTo>
                  <a:pt x="2834563" y="559109"/>
                </a:lnTo>
                <a:lnTo>
                  <a:pt x="2832827" y="560300"/>
                </a:lnTo>
                <a:lnTo>
                  <a:pt x="2829572" y="559109"/>
                </a:lnTo>
                <a:lnTo>
                  <a:pt x="2829572" y="554453"/>
                </a:lnTo>
                <a:lnTo>
                  <a:pt x="2831634" y="550123"/>
                </a:lnTo>
                <a:lnTo>
                  <a:pt x="2835215" y="547416"/>
                </a:lnTo>
                <a:lnTo>
                  <a:pt x="2834347" y="545467"/>
                </a:lnTo>
                <a:lnTo>
                  <a:pt x="2831199" y="545467"/>
                </a:lnTo>
                <a:lnTo>
                  <a:pt x="2829789" y="544059"/>
                </a:lnTo>
                <a:lnTo>
                  <a:pt x="2825339" y="546983"/>
                </a:lnTo>
                <a:lnTo>
                  <a:pt x="2822084" y="546983"/>
                </a:lnTo>
                <a:lnTo>
                  <a:pt x="2820890" y="549581"/>
                </a:lnTo>
                <a:lnTo>
                  <a:pt x="2819480" y="550664"/>
                </a:lnTo>
                <a:lnTo>
                  <a:pt x="2818611" y="548282"/>
                </a:lnTo>
                <a:lnTo>
                  <a:pt x="2818611" y="545575"/>
                </a:lnTo>
                <a:lnTo>
                  <a:pt x="2816875" y="541135"/>
                </a:lnTo>
                <a:lnTo>
                  <a:pt x="2815790" y="537238"/>
                </a:lnTo>
                <a:lnTo>
                  <a:pt x="2814270" y="537238"/>
                </a:lnTo>
                <a:lnTo>
                  <a:pt x="2811992" y="538104"/>
                </a:lnTo>
                <a:lnTo>
                  <a:pt x="2811992" y="541028"/>
                </a:lnTo>
                <a:lnTo>
                  <a:pt x="2810798" y="545792"/>
                </a:lnTo>
                <a:lnTo>
                  <a:pt x="2808736" y="547633"/>
                </a:lnTo>
                <a:lnTo>
                  <a:pt x="2808736" y="551097"/>
                </a:lnTo>
                <a:lnTo>
                  <a:pt x="2809604" y="557485"/>
                </a:lnTo>
                <a:lnTo>
                  <a:pt x="2809604" y="560408"/>
                </a:lnTo>
                <a:lnTo>
                  <a:pt x="2808519" y="561924"/>
                </a:lnTo>
                <a:lnTo>
                  <a:pt x="2805047" y="559867"/>
                </a:lnTo>
                <a:lnTo>
                  <a:pt x="2801031" y="555752"/>
                </a:lnTo>
                <a:lnTo>
                  <a:pt x="2796257" y="553695"/>
                </a:lnTo>
                <a:lnTo>
                  <a:pt x="2791807" y="550447"/>
                </a:lnTo>
                <a:lnTo>
                  <a:pt x="2788009" y="546333"/>
                </a:lnTo>
                <a:lnTo>
                  <a:pt x="2785079" y="544601"/>
                </a:lnTo>
                <a:lnTo>
                  <a:pt x="2785079" y="543410"/>
                </a:lnTo>
                <a:lnTo>
                  <a:pt x="2786924" y="542002"/>
                </a:lnTo>
                <a:lnTo>
                  <a:pt x="2781933" y="540269"/>
                </a:lnTo>
                <a:lnTo>
                  <a:pt x="2778677" y="533016"/>
                </a:lnTo>
                <a:lnTo>
                  <a:pt x="2776290" y="529768"/>
                </a:lnTo>
                <a:lnTo>
                  <a:pt x="2772492" y="525437"/>
                </a:lnTo>
                <a:lnTo>
                  <a:pt x="2772492" y="520240"/>
                </a:lnTo>
                <a:lnTo>
                  <a:pt x="2774553" y="517641"/>
                </a:lnTo>
                <a:lnTo>
                  <a:pt x="2780956" y="517641"/>
                </a:lnTo>
                <a:lnTo>
                  <a:pt x="2783561" y="514935"/>
                </a:lnTo>
                <a:lnTo>
                  <a:pt x="2787359" y="513852"/>
                </a:lnTo>
                <a:lnTo>
                  <a:pt x="2793544" y="513852"/>
                </a:lnTo>
                <a:lnTo>
                  <a:pt x="2795064" y="515367"/>
                </a:lnTo>
                <a:lnTo>
                  <a:pt x="2798210" y="513094"/>
                </a:lnTo>
                <a:lnTo>
                  <a:pt x="2800163" y="510171"/>
                </a:lnTo>
                <a:lnTo>
                  <a:pt x="2800163" y="507897"/>
                </a:lnTo>
                <a:lnTo>
                  <a:pt x="2795389" y="507897"/>
                </a:lnTo>
                <a:lnTo>
                  <a:pt x="2789204" y="504649"/>
                </a:lnTo>
                <a:lnTo>
                  <a:pt x="2786924" y="504649"/>
                </a:lnTo>
                <a:lnTo>
                  <a:pt x="2785188" y="506923"/>
                </a:lnTo>
                <a:lnTo>
                  <a:pt x="2778135" y="500101"/>
                </a:lnTo>
                <a:lnTo>
                  <a:pt x="2777483" y="493930"/>
                </a:lnTo>
                <a:lnTo>
                  <a:pt x="2780196" y="491548"/>
                </a:lnTo>
                <a:lnTo>
                  <a:pt x="2783669" y="489707"/>
                </a:lnTo>
                <a:lnTo>
                  <a:pt x="2785622" y="484186"/>
                </a:lnTo>
                <a:lnTo>
                  <a:pt x="2787467" y="481803"/>
                </a:lnTo>
                <a:lnTo>
                  <a:pt x="2784320" y="481803"/>
                </a:lnTo>
                <a:lnTo>
                  <a:pt x="2782041" y="483320"/>
                </a:lnTo>
                <a:lnTo>
                  <a:pt x="2779112" y="488841"/>
                </a:lnTo>
                <a:lnTo>
                  <a:pt x="2776507" y="488841"/>
                </a:lnTo>
                <a:lnTo>
                  <a:pt x="2774662" y="490249"/>
                </a:lnTo>
                <a:lnTo>
                  <a:pt x="2771949" y="493496"/>
                </a:lnTo>
                <a:lnTo>
                  <a:pt x="2766957" y="491440"/>
                </a:lnTo>
                <a:lnTo>
                  <a:pt x="2765546" y="487109"/>
                </a:lnTo>
                <a:lnTo>
                  <a:pt x="2766741" y="483536"/>
                </a:lnTo>
                <a:lnTo>
                  <a:pt x="2769670" y="481587"/>
                </a:lnTo>
                <a:lnTo>
                  <a:pt x="2768259" y="480071"/>
                </a:lnTo>
                <a:lnTo>
                  <a:pt x="2765655" y="480071"/>
                </a:lnTo>
                <a:lnTo>
                  <a:pt x="2763919" y="481046"/>
                </a:lnTo>
                <a:lnTo>
                  <a:pt x="2763919" y="474225"/>
                </a:lnTo>
                <a:lnTo>
                  <a:pt x="2765764" y="471301"/>
                </a:lnTo>
                <a:lnTo>
                  <a:pt x="2767609" y="471301"/>
                </a:lnTo>
                <a:lnTo>
                  <a:pt x="2769345" y="469244"/>
                </a:lnTo>
                <a:lnTo>
                  <a:pt x="2772492" y="469244"/>
                </a:lnTo>
                <a:lnTo>
                  <a:pt x="2774879" y="471301"/>
                </a:lnTo>
                <a:lnTo>
                  <a:pt x="2774879" y="465996"/>
                </a:lnTo>
                <a:lnTo>
                  <a:pt x="2782801" y="463073"/>
                </a:lnTo>
                <a:lnTo>
                  <a:pt x="2790722" y="464914"/>
                </a:lnTo>
                <a:lnTo>
                  <a:pt x="2796040" y="468703"/>
                </a:lnTo>
                <a:lnTo>
                  <a:pt x="2804504" y="468703"/>
                </a:lnTo>
                <a:lnTo>
                  <a:pt x="2812751" y="472817"/>
                </a:lnTo>
                <a:lnTo>
                  <a:pt x="2819480" y="472817"/>
                </a:lnTo>
                <a:lnTo>
                  <a:pt x="2822952" y="474550"/>
                </a:lnTo>
                <a:lnTo>
                  <a:pt x="2831525" y="479530"/>
                </a:lnTo>
                <a:lnTo>
                  <a:pt x="2835215" y="479530"/>
                </a:lnTo>
                <a:lnTo>
                  <a:pt x="2837818" y="479530"/>
                </a:lnTo>
                <a:lnTo>
                  <a:pt x="2843353" y="477473"/>
                </a:lnTo>
                <a:lnTo>
                  <a:pt x="2839555" y="476607"/>
                </a:lnTo>
                <a:lnTo>
                  <a:pt x="2835431" y="476607"/>
                </a:lnTo>
                <a:lnTo>
                  <a:pt x="2828052" y="473142"/>
                </a:lnTo>
                <a:lnTo>
                  <a:pt x="2821975" y="468378"/>
                </a:lnTo>
                <a:lnTo>
                  <a:pt x="2816983" y="467728"/>
                </a:lnTo>
                <a:lnTo>
                  <a:pt x="2810256" y="466754"/>
                </a:lnTo>
                <a:lnTo>
                  <a:pt x="2805806" y="463181"/>
                </a:lnTo>
                <a:lnTo>
                  <a:pt x="2805806" y="460907"/>
                </a:lnTo>
                <a:lnTo>
                  <a:pt x="2814270" y="459067"/>
                </a:lnTo>
                <a:lnTo>
                  <a:pt x="2820456" y="459716"/>
                </a:lnTo>
                <a:lnTo>
                  <a:pt x="2830222" y="459716"/>
                </a:lnTo>
                <a:lnTo>
                  <a:pt x="2837601" y="462640"/>
                </a:lnTo>
                <a:lnTo>
                  <a:pt x="2840857" y="466213"/>
                </a:lnTo>
                <a:lnTo>
                  <a:pt x="2843679" y="467187"/>
                </a:lnTo>
                <a:lnTo>
                  <a:pt x="2845198" y="468703"/>
                </a:lnTo>
                <a:lnTo>
                  <a:pt x="2848887" y="470761"/>
                </a:lnTo>
                <a:lnTo>
                  <a:pt x="2848887" y="468378"/>
                </a:lnTo>
                <a:lnTo>
                  <a:pt x="2847477" y="466321"/>
                </a:lnTo>
                <a:lnTo>
                  <a:pt x="2847477" y="463073"/>
                </a:lnTo>
                <a:lnTo>
                  <a:pt x="2852794" y="459608"/>
                </a:lnTo>
                <a:lnTo>
                  <a:pt x="2854421" y="459608"/>
                </a:lnTo>
                <a:lnTo>
                  <a:pt x="2853770" y="453004"/>
                </a:lnTo>
                <a:lnTo>
                  <a:pt x="2851058" y="451921"/>
                </a:lnTo>
                <a:lnTo>
                  <a:pt x="2848779" y="451921"/>
                </a:lnTo>
                <a:lnTo>
                  <a:pt x="2846826" y="450081"/>
                </a:lnTo>
                <a:lnTo>
                  <a:pt x="2846826" y="447049"/>
                </a:lnTo>
                <a:lnTo>
                  <a:pt x="2843679" y="445966"/>
                </a:lnTo>
                <a:lnTo>
                  <a:pt x="2841074" y="446616"/>
                </a:lnTo>
                <a:lnTo>
                  <a:pt x="2836842" y="449972"/>
                </a:lnTo>
                <a:lnTo>
                  <a:pt x="2831959" y="449972"/>
                </a:lnTo>
                <a:lnTo>
                  <a:pt x="2824906" y="448565"/>
                </a:lnTo>
                <a:lnTo>
                  <a:pt x="2820890" y="446291"/>
                </a:lnTo>
                <a:lnTo>
                  <a:pt x="2820890" y="444342"/>
                </a:lnTo>
                <a:lnTo>
                  <a:pt x="2819805" y="443043"/>
                </a:lnTo>
                <a:lnTo>
                  <a:pt x="2816332" y="438279"/>
                </a:lnTo>
                <a:lnTo>
                  <a:pt x="2814054" y="438279"/>
                </a:lnTo>
                <a:lnTo>
                  <a:pt x="2812751" y="439795"/>
                </a:lnTo>
                <a:lnTo>
                  <a:pt x="2813511" y="441744"/>
                </a:lnTo>
                <a:lnTo>
                  <a:pt x="2815682" y="443909"/>
                </a:lnTo>
                <a:lnTo>
                  <a:pt x="2814705" y="449106"/>
                </a:lnTo>
                <a:lnTo>
                  <a:pt x="2812969" y="451271"/>
                </a:lnTo>
                <a:lnTo>
                  <a:pt x="2806349" y="451271"/>
                </a:lnTo>
                <a:lnTo>
                  <a:pt x="2800706" y="449431"/>
                </a:lnTo>
                <a:lnTo>
                  <a:pt x="2793110" y="441852"/>
                </a:lnTo>
                <a:lnTo>
                  <a:pt x="2793978" y="440120"/>
                </a:lnTo>
                <a:lnTo>
                  <a:pt x="2798861" y="438170"/>
                </a:lnTo>
                <a:lnTo>
                  <a:pt x="2806457" y="434923"/>
                </a:lnTo>
                <a:lnTo>
                  <a:pt x="2806457" y="433406"/>
                </a:lnTo>
                <a:lnTo>
                  <a:pt x="2804612" y="432649"/>
                </a:lnTo>
                <a:lnTo>
                  <a:pt x="2798970" y="434489"/>
                </a:lnTo>
                <a:lnTo>
                  <a:pt x="2795389" y="436547"/>
                </a:lnTo>
                <a:lnTo>
                  <a:pt x="2791265" y="435247"/>
                </a:lnTo>
                <a:lnTo>
                  <a:pt x="2790397" y="432216"/>
                </a:lnTo>
                <a:lnTo>
                  <a:pt x="2791916" y="430375"/>
                </a:lnTo>
                <a:lnTo>
                  <a:pt x="2796474" y="428859"/>
                </a:lnTo>
                <a:lnTo>
                  <a:pt x="2800489" y="426369"/>
                </a:lnTo>
                <a:lnTo>
                  <a:pt x="2803528" y="421172"/>
                </a:lnTo>
                <a:lnTo>
                  <a:pt x="2802768" y="418574"/>
                </a:lnTo>
                <a:lnTo>
                  <a:pt x="2800272" y="417600"/>
                </a:lnTo>
                <a:lnTo>
                  <a:pt x="2798970" y="418682"/>
                </a:lnTo>
                <a:lnTo>
                  <a:pt x="2796908" y="422147"/>
                </a:lnTo>
                <a:lnTo>
                  <a:pt x="2792350" y="425287"/>
                </a:lnTo>
                <a:lnTo>
                  <a:pt x="2786816" y="426261"/>
                </a:lnTo>
                <a:lnTo>
                  <a:pt x="2782909" y="425612"/>
                </a:lnTo>
                <a:lnTo>
                  <a:pt x="2781065" y="422471"/>
                </a:lnTo>
                <a:lnTo>
                  <a:pt x="2782041" y="419873"/>
                </a:lnTo>
                <a:lnTo>
                  <a:pt x="2784537" y="417600"/>
                </a:lnTo>
                <a:lnTo>
                  <a:pt x="2786707" y="415759"/>
                </a:lnTo>
                <a:lnTo>
                  <a:pt x="2785514" y="413918"/>
                </a:lnTo>
                <a:lnTo>
                  <a:pt x="2783669" y="412835"/>
                </a:lnTo>
                <a:lnTo>
                  <a:pt x="2779762" y="412835"/>
                </a:lnTo>
                <a:lnTo>
                  <a:pt x="2777700" y="410887"/>
                </a:lnTo>
                <a:lnTo>
                  <a:pt x="2773143" y="401467"/>
                </a:lnTo>
                <a:lnTo>
                  <a:pt x="2770430" y="398868"/>
                </a:lnTo>
                <a:lnTo>
                  <a:pt x="2766198" y="396702"/>
                </a:lnTo>
                <a:lnTo>
                  <a:pt x="2764461" y="394105"/>
                </a:lnTo>
                <a:lnTo>
                  <a:pt x="2767282" y="393130"/>
                </a:lnTo>
                <a:lnTo>
                  <a:pt x="2771407" y="390856"/>
                </a:lnTo>
                <a:lnTo>
                  <a:pt x="2773794" y="387717"/>
                </a:lnTo>
                <a:lnTo>
                  <a:pt x="2775205" y="386201"/>
                </a:lnTo>
                <a:lnTo>
                  <a:pt x="2776507" y="387176"/>
                </a:lnTo>
                <a:lnTo>
                  <a:pt x="2779328" y="387176"/>
                </a:lnTo>
                <a:lnTo>
                  <a:pt x="2779328" y="385010"/>
                </a:lnTo>
                <a:lnTo>
                  <a:pt x="2776724" y="383711"/>
                </a:lnTo>
                <a:lnTo>
                  <a:pt x="2772926" y="383711"/>
                </a:lnTo>
                <a:lnTo>
                  <a:pt x="2771298" y="380896"/>
                </a:lnTo>
                <a:lnTo>
                  <a:pt x="2772817" y="379055"/>
                </a:lnTo>
                <a:lnTo>
                  <a:pt x="2776724" y="379055"/>
                </a:lnTo>
                <a:lnTo>
                  <a:pt x="2784103" y="376131"/>
                </a:lnTo>
                <a:lnTo>
                  <a:pt x="2784103" y="373749"/>
                </a:lnTo>
                <a:lnTo>
                  <a:pt x="2784103" y="371151"/>
                </a:lnTo>
                <a:lnTo>
                  <a:pt x="2787792" y="370068"/>
                </a:lnTo>
                <a:lnTo>
                  <a:pt x="2790505" y="368227"/>
                </a:lnTo>
                <a:lnTo>
                  <a:pt x="2793652" y="368227"/>
                </a:lnTo>
                <a:lnTo>
                  <a:pt x="2795714" y="369094"/>
                </a:lnTo>
                <a:lnTo>
                  <a:pt x="2799186" y="369094"/>
                </a:lnTo>
                <a:lnTo>
                  <a:pt x="2802334" y="367145"/>
                </a:lnTo>
                <a:lnTo>
                  <a:pt x="2805047" y="367145"/>
                </a:lnTo>
                <a:lnTo>
                  <a:pt x="2808302" y="368011"/>
                </a:lnTo>
                <a:lnTo>
                  <a:pt x="2808302" y="369528"/>
                </a:lnTo>
                <a:lnTo>
                  <a:pt x="2809822" y="370176"/>
                </a:lnTo>
                <a:lnTo>
                  <a:pt x="2812969" y="369528"/>
                </a:lnTo>
                <a:lnTo>
                  <a:pt x="2814379" y="366929"/>
                </a:lnTo>
                <a:lnTo>
                  <a:pt x="2817526" y="364872"/>
                </a:lnTo>
                <a:lnTo>
                  <a:pt x="2820039" y="365391"/>
                </a:lnTo>
                <a:lnTo>
                  <a:pt x="2819805" y="365521"/>
                </a:lnTo>
                <a:lnTo>
                  <a:pt x="2820673" y="365521"/>
                </a:lnTo>
                <a:lnTo>
                  <a:pt x="2820039" y="365391"/>
                </a:lnTo>
                <a:lnTo>
                  <a:pt x="2822518" y="364005"/>
                </a:lnTo>
                <a:lnTo>
                  <a:pt x="2827835" y="364005"/>
                </a:lnTo>
                <a:lnTo>
                  <a:pt x="2845524" y="359350"/>
                </a:lnTo>
                <a:lnTo>
                  <a:pt x="2849213" y="359350"/>
                </a:lnTo>
                <a:lnTo>
                  <a:pt x="2850624" y="361407"/>
                </a:lnTo>
                <a:lnTo>
                  <a:pt x="2851926" y="358917"/>
                </a:lnTo>
                <a:lnTo>
                  <a:pt x="2849972" y="356751"/>
                </a:lnTo>
                <a:lnTo>
                  <a:pt x="2851383" y="354044"/>
                </a:lnTo>
                <a:lnTo>
                  <a:pt x="2857460" y="351121"/>
                </a:lnTo>
                <a:lnTo>
                  <a:pt x="2864839" y="351121"/>
                </a:lnTo>
                <a:lnTo>
                  <a:pt x="2869722" y="350254"/>
                </a:lnTo>
                <a:lnTo>
                  <a:pt x="2872435" y="351771"/>
                </a:lnTo>
                <a:lnTo>
                  <a:pt x="2876777" y="352637"/>
                </a:lnTo>
                <a:lnTo>
                  <a:pt x="2881008" y="350039"/>
                </a:lnTo>
                <a:lnTo>
                  <a:pt x="2886217" y="349281"/>
                </a:lnTo>
                <a:lnTo>
                  <a:pt x="2891969" y="350363"/>
                </a:lnTo>
                <a:lnTo>
                  <a:pt x="2893596" y="352637"/>
                </a:lnTo>
                <a:lnTo>
                  <a:pt x="2897720" y="353287"/>
                </a:lnTo>
                <a:lnTo>
                  <a:pt x="2899999" y="355127"/>
                </a:lnTo>
                <a:lnTo>
                  <a:pt x="2904882" y="358483"/>
                </a:lnTo>
                <a:lnTo>
                  <a:pt x="2908463" y="358483"/>
                </a:lnTo>
                <a:lnTo>
                  <a:pt x="2911285" y="357292"/>
                </a:lnTo>
                <a:lnTo>
                  <a:pt x="2911285" y="355560"/>
                </a:lnTo>
                <a:lnTo>
                  <a:pt x="2915300" y="351446"/>
                </a:lnTo>
                <a:lnTo>
                  <a:pt x="2918338" y="346574"/>
                </a:lnTo>
                <a:lnTo>
                  <a:pt x="2922136" y="341052"/>
                </a:lnTo>
                <a:lnTo>
                  <a:pt x="2927670" y="339211"/>
                </a:lnTo>
                <a:lnTo>
                  <a:pt x="2929407" y="336072"/>
                </a:lnTo>
                <a:lnTo>
                  <a:pt x="2933530" y="329575"/>
                </a:lnTo>
                <a:lnTo>
                  <a:pt x="2937328" y="328492"/>
                </a:lnTo>
                <a:lnTo>
                  <a:pt x="2938848" y="323837"/>
                </a:lnTo>
                <a:lnTo>
                  <a:pt x="2935592" y="322104"/>
                </a:lnTo>
                <a:lnTo>
                  <a:pt x="2935592" y="318099"/>
                </a:lnTo>
                <a:lnTo>
                  <a:pt x="2939173" y="313660"/>
                </a:lnTo>
                <a:lnTo>
                  <a:pt x="2943514" y="313660"/>
                </a:lnTo>
                <a:lnTo>
                  <a:pt x="2949157" y="313660"/>
                </a:lnTo>
                <a:lnTo>
                  <a:pt x="2954148" y="310412"/>
                </a:lnTo>
                <a:lnTo>
                  <a:pt x="2955342" y="306946"/>
                </a:lnTo>
                <a:lnTo>
                  <a:pt x="2954148" y="305756"/>
                </a:lnTo>
                <a:lnTo>
                  <a:pt x="2948940" y="305756"/>
                </a:lnTo>
                <a:lnTo>
                  <a:pt x="2945033" y="303049"/>
                </a:lnTo>
                <a:lnTo>
                  <a:pt x="2945033" y="300451"/>
                </a:lnTo>
                <a:lnTo>
                  <a:pt x="2945901" y="297853"/>
                </a:lnTo>
                <a:lnTo>
                  <a:pt x="2949808" y="296769"/>
                </a:lnTo>
                <a:lnTo>
                  <a:pt x="2955885" y="297960"/>
                </a:lnTo>
                <a:lnTo>
                  <a:pt x="2960659" y="295037"/>
                </a:lnTo>
                <a:lnTo>
                  <a:pt x="2966519" y="292655"/>
                </a:lnTo>
                <a:lnTo>
                  <a:pt x="2967170" y="290057"/>
                </a:lnTo>
                <a:lnTo>
                  <a:pt x="2966302" y="289082"/>
                </a:lnTo>
                <a:lnTo>
                  <a:pt x="2966302" y="284751"/>
                </a:lnTo>
                <a:lnTo>
                  <a:pt x="2964783" y="284751"/>
                </a:lnTo>
                <a:lnTo>
                  <a:pt x="2961636" y="287458"/>
                </a:lnTo>
                <a:lnTo>
                  <a:pt x="2961636" y="291572"/>
                </a:lnTo>
                <a:lnTo>
                  <a:pt x="2959032" y="292980"/>
                </a:lnTo>
                <a:lnTo>
                  <a:pt x="2951761" y="292980"/>
                </a:lnTo>
                <a:lnTo>
                  <a:pt x="2947855" y="291465"/>
                </a:lnTo>
                <a:lnTo>
                  <a:pt x="2945576" y="291465"/>
                </a:lnTo>
                <a:lnTo>
                  <a:pt x="2941126" y="295037"/>
                </a:lnTo>
                <a:lnTo>
                  <a:pt x="2937546" y="295037"/>
                </a:lnTo>
                <a:lnTo>
                  <a:pt x="2936026" y="292330"/>
                </a:lnTo>
                <a:lnTo>
                  <a:pt x="2931685" y="289082"/>
                </a:lnTo>
                <a:lnTo>
                  <a:pt x="2929081" y="289082"/>
                </a:lnTo>
                <a:lnTo>
                  <a:pt x="2926694" y="291356"/>
                </a:lnTo>
                <a:lnTo>
                  <a:pt x="2924415" y="291356"/>
                </a:lnTo>
                <a:lnTo>
                  <a:pt x="2921702" y="289407"/>
                </a:lnTo>
                <a:lnTo>
                  <a:pt x="2918989" y="289407"/>
                </a:lnTo>
                <a:lnTo>
                  <a:pt x="2916928" y="288757"/>
                </a:lnTo>
                <a:lnTo>
                  <a:pt x="2916928" y="283127"/>
                </a:lnTo>
                <a:lnTo>
                  <a:pt x="2916928" y="280420"/>
                </a:lnTo>
                <a:lnTo>
                  <a:pt x="2915733" y="279555"/>
                </a:lnTo>
                <a:lnTo>
                  <a:pt x="2915733" y="276956"/>
                </a:lnTo>
                <a:lnTo>
                  <a:pt x="2916710" y="274032"/>
                </a:lnTo>
                <a:lnTo>
                  <a:pt x="2919966" y="272516"/>
                </a:lnTo>
                <a:lnTo>
                  <a:pt x="2922571" y="269268"/>
                </a:lnTo>
                <a:lnTo>
                  <a:pt x="2924307" y="266888"/>
                </a:lnTo>
                <a:lnTo>
                  <a:pt x="2926694" y="265804"/>
                </a:lnTo>
                <a:lnTo>
                  <a:pt x="2927345" y="263314"/>
                </a:lnTo>
                <a:lnTo>
                  <a:pt x="2925717" y="261474"/>
                </a:lnTo>
                <a:lnTo>
                  <a:pt x="2925717" y="258658"/>
                </a:lnTo>
                <a:lnTo>
                  <a:pt x="2927237" y="256709"/>
                </a:lnTo>
                <a:lnTo>
                  <a:pt x="2930709" y="256709"/>
                </a:lnTo>
                <a:lnTo>
                  <a:pt x="2935050" y="254544"/>
                </a:lnTo>
                <a:lnTo>
                  <a:pt x="2937546" y="252271"/>
                </a:lnTo>
                <a:lnTo>
                  <a:pt x="2937546" y="249563"/>
                </a:lnTo>
                <a:lnTo>
                  <a:pt x="2944816" y="247182"/>
                </a:lnTo>
                <a:lnTo>
                  <a:pt x="2947312" y="243825"/>
                </a:lnTo>
                <a:lnTo>
                  <a:pt x="2950459" y="242309"/>
                </a:lnTo>
                <a:lnTo>
                  <a:pt x="2957296" y="242309"/>
                </a:lnTo>
                <a:lnTo>
                  <a:pt x="2960226" y="241335"/>
                </a:lnTo>
                <a:lnTo>
                  <a:pt x="2959358" y="240252"/>
                </a:lnTo>
                <a:lnTo>
                  <a:pt x="2956644" y="239277"/>
                </a:lnTo>
                <a:lnTo>
                  <a:pt x="2956644" y="236896"/>
                </a:lnTo>
                <a:lnTo>
                  <a:pt x="2959141" y="235921"/>
                </a:lnTo>
                <a:lnTo>
                  <a:pt x="2963589" y="235921"/>
                </a:lnTo>
                <a:lnTo>
                  <a:pt x="2964241" y="237762"/>
                </a:lnTo>
                <a:lnTo>
                  <a:pt x="2966194" y="237004"/>
                </a:lnTo>
                <a:lnTo>
                  <a:pt x="2971620" y="230941"/>
                </a:lnTo>
                <a:lnTo>
                  <a:pt x="2971620" y="227909"/>
                </a:lnTo>
                <a:lnTo>
                  <a:pt x="2973139" y="224229"/>
                </a:lnTo>
                <a:lnTo>
                  <a:pt x="2977805" y="221305"/>
                </a:lnTo>
                <a:lnTo>
                  <a:pt x="2981386" y="220330"/>
                </a:lnTo>
                <a:lnTo>
                  <a:pt x="2984642" y="216433"/>
                </a:lnTo>
                <a:lnTo>
                  <a:pt x="2987897" y="216433"/>
                </a:lnTo>
                <a:lnTo>
                  <a:pt x="2990176" y="215350"/>
                </a:lnTo>
                <a:lnTo>
                  <a:pt x="2991587" y="216866"/>
                </a:lnTo>
                <a:lnTo>
                  <a:pt x="2992780" y="221630"/>
                </a:lnTo>
                <a:lnTo>
                  <a:pt x="2992780" y="229858"/>
                </a:lnTo>
                <a:lnTo>
                  <a:pt x="2994083" y="233323"/>
                </a:lnTo>
                <a:lnTo>
                  <a:pt x="2994083" y="239819"/>
                </a:lnTo>
                <a:lnTo>
                  <a:pt x="2992998" y="248914"/>
                </a:lnTo>
                <a:lnTo>
                  <a:pt x="2994842" y="248914"/>
                </a:lnTo>
                <a:lnTo>
                  <a:pt x="2996687" y="245990"/>
                </a:lnTo>
                <a:lnTo>
                  <a:pt x="2997664" y="238412"/>
                </a:lnTo>
                <a:lnTo>
                  <a:pt x="2995819" y="231698"/>
                </a:lnTo>
                <a:lnTo>
                  <a:pt x="2995819" y="227368"/>
                </a:lnTo>
                <a:lnTo>
                  <a:pt x="2996579" y="224012"/>
                </a:lnTo>
                <a:lnTo>
                  <a:pt x="2996579" y="217949"/>
                </a:lnTo>
                <a:lnTo>
                  <a:pt x="2999074" y="216433"/>
                </a:lnTo>
                <a:lnTo>
                  <a:pt x="3001787" y="216433"/>
                </a:lnTo>
                <a:lnTo>
                  <a:pt x="3002872" y="214267"/>
                </a:lnTo>
                <a:lnTo>
                  <a:pt x="3005152" y="212426"/>
                </a:lnTo>
                <a:lnTo>
                  <a:pt x="3006996" y="212426"/>
                </a:lnTo>
                <a:lnTo>
                  <a:pt x="3007647" y="215350"/>
                </a:lnTo>
                <a:lnTo>
                  <a:pt x="3009058" y="217407"/>
                </a:lnTo>
                <a:lnTo>
                  <a:pt x="3011120" y="217407"/>
                </a:lnTo>
                <a:lnTo>
                  <a:pt x="3012856" y="218706"/>
                </a:lnTo>
                <a:lnTo>
                  <a:pt x="3012856" y="221955"/>
                </a:lnTo>
                <a:lnTo>
                  <a:pt x="3013833" y="224445"/>
                </a:lnTo>
                <a:lnTo>
                  <a:pt x="3017631" y="226610"/>
                </a:lnTo>
                <a:lnTo>
                  <a:pt x="3024576" y="225852"/>
                </a:lnTo>
                <a:lnTo>
                  <a:pt x="3026095" y="224769"/>
                </a:lnTo>
                <a:lnTo>
                  <a:pt x="3029677" y="224769"/>
                </a:lnTo>
                <a:lnTo>
                  <a:pt x="3030327" y="222280"/>
                </a:lnTo>
                <a:lnTo>
                  <a:pt x="3029025" y="219465"/>
                </a:lnTo>
                <a:lnTo>
                  <a:pt x="3030327" y="216758"/>
                </a:lnTo>
                <a:lnTo>
                  <a:pt x="3032606" y="214916"/>
                </a:lnTo>
                <a:lnTo>
                  <a:pt x="3033583" y="210478"/>
                </a:lnTo>
                <a:lnTo>
                  <a:pt x="3034668" y="208854"/>
                </a:lnTo>
                <a:lnTo>
                  <a:pt x="3039009" y="208854"/>
                </a:lnTo>
                <a:lnTo>
                  <a:pt x="3045520" y="205064"/>
                </a:lnTo>
                <a:lnTo>
                  <a:pt x="3047690" y="201166"/>
                </a:lnTo>
                <a:lnTo>
                  <a:pt x="3047690" y="195429"/>
                </a:lnTo>
                <a:lnTo>
                  <a:pt x="3045302" y="194561"/>
                </a:lnTo>
                <a:lnTo>
                  <a:pt x="3043458" y="194561"/>
                </a:lnTo>
                <a:lnTo>
                  <a:pt x="3042807" y="192722"/>
                </a:lnTo>
                <a:lnTo>
                  <a:pt x="3043566" y="190340"/>
                </a:lnTo>
                <a:lnTo>
                  <a:pt x="3046930" y="186117"/>
                </a:lnTo>
                <a:lnTo>
                  <a:pt x="3047582" y="181136"/>
                </a:lnTo>
                <a:lnTo>
                  <a:pt x="3046822" y="177239"/>
                </a:lnTo>
                <a:lnTo>
                  <a:pt x="3048341" y="171500"/>
                </a:lnTo>
                <a:lnTo>
                  <a:pt x="3051380" y="168901"/>
                </a:lnTo>
                <a:lnTo>
                  <a:pt x="3057782" y="167603"/>
                </a:lnTo>
                <a:lnTo>
                  <a:pt x="3063425" y="164788"/>
                </a:lnTo>
                <a:lnTo>
                  <a:pt x="3069068" y="162838"/>
                </a:lnTo>
                <a:lnTo>
                  <a:pt x="3070804" y="163921"/>
                </a:lnTo>
                <a:lnTo>
                  <a:pt x="3071455" y="166519"/>
                </a:lnTo>
                <a:lnTo>
                  <a:pt x="3071455" y="170526"/>
                </a:lnTo>
                <a:lnTo>
                  <a:pt x="3076229" y="177022"/>
                </a:lnTo>
                <a:lnTo>
                  <a:pt x="3076229" y="181028"/>
                </a:lnTo>
                <a:lnTo>
                  <a:pt x="3075470" y="189473"/>
                </a:lnTo>
                <a:lnTo>
                  <a:pt x="3075470" y="198351"/>
                </a:lnTo>
                <a:lnTo>
                  <a:pt x="3077966" y="200192"/>
                </a:lnTo>
                <a:lnTo>
                  <a:pt x="3083609" y="205930"/>
                </a:lnTo>
                <a:lnTo>
                  <a:pt x="3085888" y="210045"/>
                </a:lnTo>
                <a:lnTo>
                  <a:pt x="3088058" y="211884"/>
                </a:lnTo>
                <a:lnTo>
                  <a:pt x="3088926" y="210370"/>
                </a:lnTo>
                <a:lnTo>
                  <a:pt x="3087841" y="202141"/>
                </a:lnTo>
                <a:lnTo>
                  <a:pt x="3087841" y="197811"/>
                </a:lnTo>
                <a:lnTo>
                  <a:pt x="3082415" y="190015"/>
                </a:lnTo>
                <a:lnTo>
                  <a:pt x="3081764" y="183519"/>
                </a:lnTo>
                <a:lnTo>
                  <a:pt x="3084477" y="177022"/>
                </a:lnTo>
                <a:lnTo>
                  <a:pt x="3085128" y="173233"/>
                </a:lnTo>
                <a:lnTo>
                  <a:pt x="3083826" y="171068"/>
                </a:lnTo>
                <a:lnTo>
                  <a:pt x="3081872" y="166845"/>
                </a:lnTo>
                <a:lnTo>
                  <a:pt x="3081872" y="163164"/>
                </a:lnTo>
                <a:lnTo>
                  <a:pt x="3079919" y="159916"/>
                </a:lnTo>
                <a:lnTo>
                  <a:pt x="3081004" y="157642"/>
                </a:lnTo>
                <a:lnTo>
                  <a:pt x="3085345" y="154285"/>
                </a:lnTo>
                <a:lnTo>
                  <a:pt x="3089903" y="154285"/>
                </a:lnTo>
                <a:lnTo>
                  <a:pt x="3093050" y="155368"/>
                </a:lnTo>
                <a:lnTo>
                  <a:pt x="3096523" y="153853"/>
                </a:lnTo>
                <a:lnTo>
                  <a:pt x="3100104" y="153853"/>
                </a:lnTo>
                <a:lnTo>
                  <a:pt x="3106289" y="155801"/>
                </a:lnTo>
                <a:lnTo>
                  <a:pt x="3116164" y="155801"/>
                </a:lnTo>
                <a:lnTo>
                  <a:pt x="3124845" y="152228"/>
                </a:lnTo>
                <a:lnTo>
                  <a:pt x="3133744" y="152228"/>
                </a:lnTo>
                <a:lnTo>
                  <a:pt x="3136456" y="154827"/>
                </a:lnTo>
                <a:lnTo>
                  <a:pt x="3137324" y="159158"/>
                </a:lnTo>
                <a:lnTo>
                  <a:pt x="3137324" y="163056"/>
                </a:lnTo>
                <a:lnTo>
                  <a:pt x="3137324" y="164788"/>
                </a:lnTo>
                <a:lnTo>
                  <a:pt x="3141231" y="164788"/>
                </a:lnTo>
                <a:lnTo>
                  <a:pt x="3143294" y="160998"/>
                </a:lnTo>
                <a:lnTo>
                  <a:pt x="3140906" y="158291"/>
                </a:lnTo>
                <a:lnTo>
                  <a:pt x="3140906" y="154177"/>
                </a:lnTo>
                <a:lnTo>
                  <a:pt x="3147416" y="148654"/>
                </a:lnTo>
                <a:lnTo>
                  <a:pt x="3150998" y="150171"/>
                </a:lnTo>
                <a:lnTo>
                  <a:pt x="3154145" y="153095"/>
                </a:lnTo>
                <a:lnTo>
                  <a:pt x="3155230" y="158725"/>
                </a:lnTo>
                <a:lnTo>
                  <a:pt x="3157509" y="160998"/>
                </a:lnTo>
                <a:lnTo>
                  <a:pt x="3158377" y="157425"/>
                </a:lnTo>
                <a:lnTo>
                  <a:pt x="3158377" y="151037"/>
                </a:lnTo>
                <a:lnTo>
                  <a:pt x="3154904" y="147897"/>
                </a:lnTo>
                <a:lnTo>
                  <a:pt x="3153819" y="144758"/>
                </a:lnTo>
                <a:lnTo>
                  <a:pt x="3155555" y="143242"/>
                </a:lnTo>
                <a:lnTo>
                  <a:pt x="3159354" y="143891"/>
                </a:lnTo>
                <a:lnTo>
                  <a:pt x="3163477" y="145623"/>
                </a:lnTo>
                <a:lnTo>
                  <a:pt x="3167384" y="142918"/>
                </a:lnTo>
                <a:lnTo>
                  <a:pt x="3171725" y="141942"/>
                </a:lnTo>
                <a:lnTo>
                  <a:pt x="3178561" y="142809"/>
                </a:lnTo>
                <a:lnTo>
                  <a:pt x="3179755" y="145732"/>
                </a:lnTo>
                <a:lnTo>
                  <a:pt x="3179104" y="156558"/>
                </a:lnTo>
                <a:lnTo>
                  <a:pt x="3177042" y="162947"/>
                </a:lnTo>
                <a:lnTo>
                  <a:pt x="3177042" y="167278"/>
                </a:lnTo>
                <a:lnTo>
                  <a:pt x="3173786" y="174857"/>
                </a:lnTo>
                <a:lnTo>
                  <a:pt x="3171725" y="179297"/>
                </a:lnTo>
                <a:lnTo>
                  <a:pt x="3171725" y="182544"/>
                </a:lnTo>
                <a:lnTo>
                  <a:pt x="3170314" y="185684"/>
                </a:lnTo>
                <a:lnTo>
                  <a:pt x="3167166" y="186766"/>
                </a:lnTo>
                <a:lnTo>
                  <a:pt x="3165756" y="189040"/>
                </a:lnTo>
                <a:lnTo>
                  <a:pt x="3168360" y="191314"/>
                </a:lnTo>
                <a:lnTo>
                  <a:pt x="3168360" y="193912"/>
                </a:lnTo>
                <a:lnTo>
                  <a:pt x="3166841" y="197702"/>
                </a:lnTo>
                <a:lnTo>
                  <a:pt x="3163260" y="201275"/>
                </a:lnTo>
                <a:lnTo>
                  <a:pt x="3160981" y="206797"/>
                </a:lnTo>
                <a:lnTo>
                  <a:pt x="3156641" y="209286"/>
                </a:lnTo>
                <a:lnTo>
                  <a:pt x="3155013" y="211777"/>
                </a:lnTo>
                <a:lnTo>
                  <a:pt x="3154253" y="216433"/>
                </a:lnTo>
                <a:lnTo>
                  <a:pt x="3151540" y="220980"/>
                </a:lnTo>
                <a:lnTo>
                  <a:pt x="3150455" y="225419"/>
                </a:lnTo>
                <a:lnTo>
                  <a:pt x="3151323" y="227044"/>
                </a:lnTo>
                <a:lnTo>
                  <a:pt x="3154036" y="227044"/>
                </a:lnTo>
                <a:lnTo>
                  <a:pt x="3157400" y="221846"/>
                </a:lnTo>
                <a:lnTo>
                  <a:pt x="3159896" y="219680"/>
                </a:lnTo>
                <a:lnTo>
                  <a:pt x="3159896" y="217082"/>
                </a:lnTo>
                <a:lnTo>
                  <a:pt x="3163477" y="213401"/>
                </a:lnTo>
                <a:lnTo>
                  <a:pt x="3167818" y="206905"/>
                </a:lnTo>
                <a:lnTo>
                  <a:pt x="3169771" y="202899"/>
                </a:lnTo>
                <a:lnTo>
                  <a:pt x="3172593" y="201708"/>
                </a:lnTo>
                <a:lnTo>
                  <a:pt x="3174654" y="199867"/>
                </a:lnTo>
                <a:lnTo>
                  <a:pt x="3176174" y="196619"/>
                </a:lnTo>
                <a:lnTo>
                  <a:pt x="3176174" y="193372"/>
                </a:lnTo>
                <a:lnTo>
                  <a:pt x="3178778" y="191314"/>
                </a:lnTo>
                <a:lnTo>
                  <a:pt x="3181057" y="187849"/>
                </a:lnTo>
                <a:lnTo>
                  <a:pt x="3183987" y="184817"/>
                </a:lnTo>
                <a:lnTo>
                  <a:pt x="3185615" y="188066"/>
                </a:lnTo>
                <a:lnTo>
                  <a:pt x="3185615" y="191747"/>
                </a:lnTo>
                <a:lnTo>
                  <a:pt x="3188328" y="194670"/>
                </a:lnTo>
                <a:lnTo>
                  <a:pt x="3189630" y="198459"/>
                </a:lnTo>
                <a:lnTo>
                  <a:pt x="3190606" y="204090"/>
                </a:lnTo>
                <a:lnTo>
                  <a:pt x="3194296" y="208962"/>
                </a:lnTo>
                <a:lnTo>
                  <a:pt x="3194296" y="215133"/>
                </a:lnTo>
                <a:lnTo>
                  <a:pt x="3196792" y="217082"/>
                </a:lnTo>
                <a:lnTo>
                  <a:pt x="3199939" y="217082"/>
                </a:lnTo>
                <a:lnTo>
                  <a:pt x="3201458" y="218489"/>
                </a:lnTo>
                <a:lnTo>
                  <a:pt x="3203411" y="218489"/>
                </a:lnTo>
                <a:lnTo>
                  <a:pt x="3204171" y="216866"/>
                </a:lnTo>
                <a:lnTo>
                  <a:pt x="3205256" y="214809"/>
                </a:lnTo>
                <a:lnTo>
                  <a:pt x="3205256" y="212535"/>
                </a:lnTo>
                <a:lnTo>
                  <a:pt x="3202109" y="209719"/>
                </a:lnTo>
                <a:lnTo>
                  <a:pt x="3201241" y="206580"/>
                </a:lnTo>
                <a:lnTo>
                  <a:pt x="3202001" y="205497"/>
                </a:lnTo>
                <a:lnTo>
                  <a:pt x="3204171" y="205497"/>
                </a:lnTo>
                <a:lnTo>
                  <a:pt x="3207427" y="208312"/>
                </a:lnTo>
                <a:lnTo>
                  <a:pt x="3212418" y="208962"/>
                </a:lnTo>
                <a:lnTo>
                  <a:pt x="3215239" y="210370"/>
                </a:lnTo>
                <a:lnTo>
                  <a:pt x="3215891" y="211777"/>
                </a:lnTo>
                <a:lnTo>
                  <a:pt x="3219363" y="212535"/>
                </a:lnTo>
                <a:lnTo>
                  <a:pt x="3221208" y="210586"/>
                </a:lnTo>
                <a:lnTo>
                  <a:pt x="3222836" y="211235"/>
                </a:lnTo>
                <a:lnTo>
                  <a:pt x="3224463" y="212968"/>
                </a:lnTo>
                <a:lnTo>
                  <a:pt x="3226417" y="211777"/>
                </a:lnTo>
                <a:lnTo>
                  <a:pt x="3226417" y="203549"/>
                </a:lnTo>
                <a:lnTo>
                  <a:pt x="3225548" y="199542"/>
                </a:lnTo>
                <a:lnTo>
                  <a:pt x="3227285" y="193046"/>
                </a:lnTo>
                <a:lnTo>
                  <a:pt x="3228153" y="186442"/>
                </a:lnTo>
                <a:lnTo>
                  <a:pt x="3225983" y="183735"/>
                </a:lnTo>
                <a:lnTo>
                  <a:pt x="3224572" y="177455"/>
                </a:lnTo>
                <a:lnTo>
                  <a:pt x="3224572" y="172150"/>
                </a:lnTo>
                <a:lnTo>
                  <a:pt x="3228153" y="163705"/>
                </a:lnTo>
                <a:lnTo>
                  <a:pt x="3228804" y="160673"/>
                </a:lnTo>
                <a:lnTo>
                  <a:pt x="3227828" y="157966"/>
                </a:lnTo>
                <a:lnTo>
                  <a:pt x="3229021" y="155692"/>
                </a:lnTo>
                <a:lnTo>
                  <a:pt x="3229021" y="149738"/>
                </a:lnTo>
                <a:lnTo>
                  <a:pt x="3231626" y="147356"/>
                </a:lnTo>
                <a:lnTo>
                  <a:pt x="3235532" y="146707"/>
                </a:lnTo>
                <a:lnTo>
                  <a:pt x="3238245" y="148872"/>
                </a:lnTo>
                <a:lnTo>
                  <a:pt x="3242152" y="149521"/>
                </a:lnTo>
                <a:lnTo>
                  <a:pt x="3245298" y="150496"/>
                </a:lnTo>
                <a:lnTo>
                  <a:pt x="3246601" y="153528"/>
                </a:lnTo>
                <a:lnTo>
                  <a:pt x="3250073" y="155476"/>
                </a:lnTo>
                <a:lnTo>
                  <a:pt x="3252244" y="159699"/>
                </a:lnTo>
                <a:lnTo>
                  <a:pt x="3256151" y="169119"/>
                </a:lnTo>
                <a:lnTo>
                  <a:pt x="3256151" y="173449"/>
                </a:lnTo>
                <a:lnTo>
                  <a:pt x="3260600" y="180379"/>
                </a:lnTo>
                <a:lnTo>
                  <a:pt x="3263313" y="185684"/>
                </a:lnTo>
                <a:lnTo>
                  <a:pt x="3264181" y="196511"/>
                </a:lnTo>
                <a:lnTo>
                  <a:pt x="3263530" y="198784"/>
                </a:lnTo>
                <a:lnTo>
                  <a:pt x="3261142" y="201383"/>
                </a:lnTo>
                <a:lnTo>
                  <a:pt x="3261142" y="205064"/>
                </a:lnTo>
                <a:lnTo>
                  <a:pt x="3262010" y="209937"/>
                </a:lnTo>
                <a:lnTo>
                  <a:pt x="3264289" y="212101"/>
                </a:lnTo>
                <a:lnTo>
                  <a:pt x="3267328" y="219897"/>
                </a:lnTo>
                <a:lnTo>
                  <a:pt x="3266459" y="225094"/>
                </a:lnTo>
                <a:lnTo>
                  <a:pt x="3266459" y="229317"/>
                </a:lnTo>
                <a:lnTo>
                  <a:pt x="3268413" y="232781"/>
                </a:lnTo>
                <a:lnTo>
                  <a:pt x="3272428" y="232781"/>
                </a:lnTo>
                <a:lnTo>
                  <a:pt x="3277529" y="236571"/>
                </a:lnTo>
                <a:lnTo>
                  <a:pt x="3281327" y="236571"/>
                </a:lnTo>
                <a:lnTo>
                  <a:pt x="3286427" y="234623"/>
                </a:lnTo>
                <a:lnTo>
                  <a:pt x="3289899" y="228451"/>
                </a:lnTo>
                <a:lnTo>
                  <a:pt x="3291961" y="226069"/>
                </a:lnTo>
                <a:lnTo>
                  <a:pt x="3292721" y="226935"/>
                </a:lnTo>
                <a:lnTo>
                  <a:pt x="3292721" y="230941"/>
                </a:lnTo>
                <a:lnTo>
                  <a:pt x="3293697" y="233323"/>
                </a:lnTo>
                <a:lnTo>
                  <a:pt x="3295650" y="233323"/>
                </a:lnTo>
                <a:lnTo>
                  <a:pt x="3298363" y="232132"/>
                </a:lnTo>
                <a:lnTo>
                  <a:pt x="3301510" y="233647"/>
                </a:lnTo>
                <a:lnTo>
                  <a:pt x="3302813" y="236030"/>
                </a:lnTo>
                <a:lnTo>
                  <a:pt x="3302813" y="239169"/>
                </a:lnTo>
                <a:lnTo>
                  <a:pt x="3304766" y="241768"/>
                </a:lnTo>
                <a:lnTo>
                  <a:pt x="3308130" y="241768"/>
                </a:lnTo>
                <a:lnTo>
                  <a:pt x="3310734" y="242851"/>
                </a:lnTo>
                <a:lnTo>
                  <a:pt x="3315509" y="242851"/>
                </a:lnTo>
                <a:lnTo>
                  <a:pt x="3316702" y="241443"/>
                </a:lnTo>
                <a:lnTo>
                  <a:pt x="3315184" y="240361"/>
                </a:lnTo>
                <a:lnTo>
                  <a:pt x="3310734" y="237762"/>
                </a:lnTo>
                <a:lnTo>
                  <a:pt x="3309215" y="234623"/>
                </a:lnTo>
                <a:lnTo>
                  <a:pt x="3309215" y="230616"/>
                </a:lnTo>
                <a:lnTo>
                  <a:pt x="3306068" y="230616"/>
                </a:lnTo>
                <a:lnTo>
                  <a:pt x="3304332" y="228667"/>
                </a:lnTo>
                <a:lnTo>
                  <a:pt x="3304332" y="224012"/>
                </a:lnTo>
                <a:lnTo>
                  <a:pt x="3302270" y="220439"/>
                </a:lnTo>
                <a:lnTo>
                  <a:pt x="3297387" y="216541"/>
                </a:lnTo>
                <a:lnTo>
                  <a:pt x="3297387" y="213727"/>
                </a:lnTo>
                <a:lnTo>
                  <a:pt x="3295867" y="207771"/>
                </a:lnTo>
                <a:lnTo>
                  <a:pt x="3293154" y="203765"/>
                </a:lnTo>
                <a:lnTo>
                  <a:pt x="3293154" y="200949"/>
                </a:lnTo>
                <a:lnTo>
                  <a:pt x="3294240" y="194778"/>
                </a:lnTo>
                <a:lnTo>
                  <a:pt x="3293154" y="190555"/>
                </a:lnTo>
                <a:lnTo>
                  <a:pt x="3289682" y="184493"/>
                </a:lnTo>
                <a:lnTo>
                  <a:pt x="3289682" y="180271"/>
                </a:lnTo>
                <a:lnTo>
                  <a:pt x="3290550" y="178213"/>
                </a:lnTo>
                <a:lnTo>
                  <a:pt x="3289248" y="172042"/>
                </a:lnTo>
                <a:lnTo>
                  <a:pt x="3287729" y="169768"/>
                </a:lnTo>
                <a:lnTo>
                  <a:pt x="3288380" y="164788"/>
                </a:lnTo>
                <a:lnTo>
                  <a:pt x="3285775" y="158725"/>
                </a:lnTo>
                <a:lnTo>
                  <a:pt x="3283496" y="154069"/>
                </a:lnTo>
                <a:lnTo>
                  <a:pt x="3285341" y="150496"/>
                </a:lnTo>
                <a:lnTo>
                  <a:pt x="3283063" y="145515"/>
                </a:lnTo>
                <a:lnTo>
                  <a:pt x="3283063" y="140860"/>
                </a:lnTo>
                <a:lnTo>
                  <a:pt x="3284799" y="138586"/>
                </a:lnTo>
                <a:lnTo>
                  <a:pt x="3292721" y="139993"/>
                </a:lnTo>
                <a:lnTo>
                  <a:pt x="3294457" y="143133"/>
                </a:lnTo>
                <a:lnTo>
                  <a:pt x="3296735" y="143133"/>
                </a:lnTo>
                <a:lnTo>
                  <a:pt x="3298472" y="140752"/>
                </a:lnTo>
                <a:lnTo>
                  <a:pt x="3300751" y="140752"/>
                </a:lnTo>
                <a:lnTo>
                  <a:pt x="3308130" y="149196"/>
                </a:lnTo>
                <a:lnTo>
                  <a:pt x="3314641" y="152661"/>
                </a:lnTo>
                <a:lnTo>
                  <a:pt x="3317245" y="150820"/>
                </a:lnTo>
                <a:lnTo>
                  <a:pt x="3317245" y="146057"/>
                </a:lnTo>
                <a:lnTo>
                  <a:pt x="3315184" y="144000"/>
                </a:lnTo>
                <a:lnTo>
                  <a:pt x="3317462" y="136963"/>
                </a:lnTo>
                <a:lnTo>
                  <a:pt x="3320067" y="136963"/>
                </a:lnTo>
                <a:lnTo>
                  <a:pt x="3323865" y="138369"/>
                </a:lnTo>
                <a:lnTo>
                  <a:pt x="3329074" y="137287"/>
                </a:lnTo>
                <a:lnTo>
                  <a:pt x="3333197" y="134689"/>
                </a:lnTo>
                <a:lnTo>
                  <a:pt x="3337647" y="135663"/>
                </a:lnTo>
                <a:lnTo>
                  <a:pt x="3340902" y="138044"/>
                </a:lnTo>
                <a:lnTo>
                  <a:pt x="3344483" y="139020"/>
                </a:lnTo>
                <a:lnTo>
                  <a:pt x="3346762" y="141076"/>
                </a:lnTo>
                <a:lnTo>
                  <a:pt x="3349149" y="147897"/>
                </a:lnTo>
                <a:lnTo>
                  <a:pt x="3349149" y="150820"/>
                </a:lnTo>
                <a:lnTo>
                  <a:pt x="3353490" y="155584"/>
                </a:lnTo>
                <a:lnTo>
                  <a:pt x="3353490" y="160024"/>
                </a:lnTo>
                <a:lnTo>
                  <a:pt x="3351754" y="163813"/>
                </a:lnTo>
                <a:lnTo>
                  <a:pt x="3354358" y="172583"/>
                </a:lnTo>
                <a:lnTo>
                  <a:pt x="3354358" y="177780"/>
                </a:lnTo>
                <a:lnTo>
                  <a:pt x="3355769" y="180920"/>
                </a:lnTo>
                <a:lnTo>
                  <a:pt x="3359350" y="183301"/>
                </a:lnTo>
                <a:lnTo>
                  <a:pt x="3365535" y="183301"/>
                </a:lnTo>
                <a:lnTo>
                  <a:pt x="3371504" y="186874"/>
                </a:lnTo>
                <a:lnTo>
                  <a:pt x="3377038" y="190989"/>
                </a:lnTo>
                <a:lnTo>
                  <a:pt x="3375844" y="187524"/>
                </a:lnTo>
                <a:lnTo>
                  <a:pt x="3375844" y="185792"/>
                </a:lnTo>
                <a:lnTo>
                  <a:pt x="3370636" y="182869"/>
                </a:lnTo>
                <a:lnTo>
                  <a:pt x="3367922" y="179404"/>
                </a:lnTo>
                <a:lnTo>
                  <a:pt x="3364341" y="179404"/>
                </a:lnTo>
                <a:lnTo>
                  <a:pt x="3359675" y="176481"/>
                </a:lnTo>
                <a:lnTo>
                  <a:pt x="3359024" y="173557"/>
                </a:lnTo>
                <a:lnTo>
                  <a:pt x="3359024" y="168252"/>
                </a:lnTo>
                <a:lnTo>
                  <a:pt x="3356094" y="163488"/>
                </a:lnTo>
                <a:lnTo>
                  <a:pt x="3356094" y="160240"/>
                </a:lnTo>
                <a:lnTo>
                  <a:pt x="3358373" y="153744"/>
                </a:lnTo>
                <a:lnTo>
                  <a:pt x="3357722" y="148764"/>
                </a:lnTo>
                <a:lnTo>
                  <a:pt x="3357722" y="145515"/>
                </a:lnTo>
                <a:lnTo>
                  <a:pt x="3358698" y="143458"/>
                </a:lnTo>
                <a:lnTo>
                  <a:pt x="3356420" y="140210"/>
                </a:lnTo>
                <a:lnTo>
                  <a:pt x="3352405" y="138369"/>
                </a:lnTo>
                <a:lnTo>
                  <a:pt x="3347196" y="131440"/>
                </a:lnTo>
                <a:lnTo>
                  <a:pt x="3344266" y="131440"/>
                </a:lnTo>
                <a:lnTo>
                  <a:pt x="3339817" y="131440"/>
                </a:lnTo>
                <a:lnTo>
                  <a:pt x="3336236" y="133389"/>
                </a:lnTo>
                <a:lnTo>
                  <a:pt x="3333306" y="134255"/>
                </a:lnTo>
                <a:lnTo>
                  <a:pt x="3328314" y="131007"/>
                </a:lnTo>
                <a:lnTo>
                  <a:pt x="3328314" y="125485"/>
                </a:lnTo>
                <a:lnTo>
                  <a:pt x="3330592" y="120505"/>
                </a:lnTo>
                <a:lnTo>
                  <a:pt x="3334391" y="120505"/>
                </a:lnTo>
                <a:lnTo>
                  <a:pt x="3334391" y="118231"/>
                </a:lnTo>
                <a:lnTo>
                  <a:pt x="3327988" y="113467"/>
                </a:lnTo>
                <a:lnTo>
                  <a:pt x="3327012" y="108487"/>
                </a:lnTo>
                <a:lnTo>
                  <a:pt x="3327988" y="104698"/>
                </a:lnTo>
                <a:lnTo>
                  <a:pt x="3329074" y="100908"/>
                </a:lnTo>
                <a:lnTo>
                  <a:pt x="3331136" y="100908"/>
                </a:lnTo>
                <a:lnTo>
                  <a:pt x="3334717" y="104373"/>
                </a:lnTo>
                <a:lnTo>
                  <a:pt x="3337321" y="109136"/>
                </a:lnTo>
                <a:lnTo>
                  <a:pt x="3338840" y="109136"/>
                </a:lnTo>
                <a:lnTo>
                  <a:pt x="3343290" y="102207"/>
                </a:lnTo>
                <a:lnTo>
                  <a:pt x="3346870" y="100800"/>
                </a:lnTo>
                <a:lnTo>
                  <a:pt x="3351319" y="98526"/>
                </a:lnTo>
                <a:lnTo>
                  <a:pt x="3352405" y="95494"/>
                </a:lnTo>
                <a:lnTo>
                  <a:pt x="3356420" y="91055"/>
                </a:lnTo>
                <a:lnTo>
                  <a:pt x="3361086" y="90406"/>
                </a:lnTo>
                <a:lnTo>
                  <a:pt x="3357614" y="93113"/>
                </a:lnTo>
                <a:lnTo>
                  <a:pt x="3356420" y="96360"/>
                </a:lnTo>
                <a:lnTo>
                  <a:pt x="3357288" y="97876"/>
                </a:lnTo>
                <a:lnTo>
                  <a:pt x="3360869" y="96036"/>
                </a:lnTo>
                <a:lnTo>
                  <a:pt x="3365209" y="96036"/>
                </a:lnTo>
                <a:lnTo>
                  <a:pt x="3366729" y="97876"/>
                </a:lnTo>
                <a:lnTo>
                  <a:pt x="3367380" y="101449"/>
                </a:lnTo>
                <a:lnTo>
                  <a:pt x="3370527" y="103831"/>
                </a:lnTo>
                <a:lnTo>
                  <a:pt x="3370527" y="106214"/>
                </a:lnTo>
                <a:lnTo>
                  <a:pt x="3368248" y="109677"/>
                </a:lnTo>
                <a:lnTo>
                  <a:pt x="3369984" y="112601"/>
                </a:lnTo>
                <a:lnTo>
                  <a:pt x="3371937" y="109461"/>
                </a:lnTo>
                <a:lnTo>
                  <a:pt x="3375194" y="104156"/>
                </a:lnTo>
                <a:lnTo>
                  <a:pt x="3379968" y="106214"/>
                </a:lnTo>
                <a:lnTo>
                  <a:pt x="3383549" y="110111"/>
                </a:lnTo>
                <a:lnTo>
                  <a:pt x="3383549" y="113575"/>
                </a:lnTo>
                <a:lnTo>
                  <a:pt x="3386696" y="119639"/>
                </a:lnTo>
                <a:lnTo>
                  <a:pt x="3388433" y="125485"/>
                </a:lnTo>
                <a:lnTo>
                  <a:pt x="3388433" y="132198"/>
                </a:lnTo>
                <a:lnTo>
                  <a:pt x="3391362" y="128734"/>
                </a:lnTo>
                <a:lnTo>
                  <a:pt x="3391362" y="122887"/>
                </a:lnTo>
                <a:lnTo>
                  <a:pt x="3389518" y="119422"/>
                </a:lnTo>
                <a:lnTo>
                  <a:pt x="3388107" y="116715"/>
                </a:lnTo>
                <a:lnTo>
                  <a:pt x="3388107" y="112277"/>
                </a:lnTo>
                <a:lnTo>
                  <a:pt x="3387021" y="110220"/>
                </a:lnTo>
                <a:lnTo>
                  <a:pt x="3388107" y="108487"/>
                </a:lnTo>
                <a:lnTo>
                  <a:pt x="3390819" y="110760"/>
                </a:lnTo>
                <a:lnTo>
                  <a:pt x="3397873" y="116283"/>
                </a:lnTo>
                <a:lnTo>
                  <a:pt x="3402539" y="123536"/>
                </a:lnTo>
                <a:lnTo>
                  <a:pt x="3408183" y="126461"/>
                </a:lnTo>
                <a:lnTo>
                  <a:pt x="3413608" y="127434"/>
                </a:lnTo>
                <a:lnTo>
                  <a:pt x="3413608" y="125702"/>
                </a:lnTo>
                <a:lnTo>
                  <a:pt x="3410896" y="123320"/>
                </a:lnTo>
                <a:lnTo>
                  <a:pt x="3405578" y="121154"/>
                </a:lnTo>
                <a:lnTo>
                  <a:pt x="3401888" y="114550"/>
                </a:lnTo>
                <a:lnTo>
                  <a:pt x="3401020" y="108271"/>
                </a:lnTo>
                <a:lnTo>
                  <a:pt x="3402323" y="101991"/>
                </a:lnTo>
                <a:lnTo>
                  <a:pt x="3406771" y="101991"/>
                </a:lnTo>
                <a:lnTo>
                  <a:pt x="3411221" y="101991"/>
                </a:lnTo>
                <a:lnTo>
                  <a:pt x="3417515" y="105672"/>
                </a:lnTo>
                <a:lnTo>
                  <a:pt x="3422290" y="105672"/>
                </a:lnTo>
                <a:lnTo>
                  <a:pt x="3424026" y="103723"/>
                </a:lnTo>
                <a:lnTo>
                  <a:pt x="3422506" y="101341"/>
                </a:lnTo>
                <a:lnTo>
                  <a:pt x="3419360" y="100258"/>
                </a:lnTo>
                <a:lnTo>
                  <a:pt x="3419360" y="97876"/>
                </a:lnTo>
                <a:lnTo>
                  <a:pt x="3423375" y="92679"/>
                </a:lnTo>
                <a:lnTo>
                  <a:pt x="3426956" y="89540"/>
                </a:lnTo>
                <a:lnTo>
                  <a:pt x="3425653" y="87482"/>
                </a:lnTo>
                <a:lnTo>
                  <a:pt x="3423917" y="84667"/>
                </a:lnTo>
                <a:lnTo>
                  <a:pt x="3425219" y="80337"/>
                </a:lnTo>
                <a:lnTo>
                  <a:pt x="3428041" y="79688"/>
                </a:lnTo>
                <a:lnTo>
                  <a:pt x="3431079" y="80662"/>
                </a:lnTo>
                <a:lnTo>
                  <a:pt x="3433141" y="78063"/>
                </a:lnTo>
                <a:lnTo>
                  <a:pt x="3434009" y="73407"/>
                </a:lnTo>
                <a:lnTo>
                  <a:pt x="3435529" y="71567"/>
                </a:lnTo>
                <a:lnTo>
                  <a:pt x="3438242" y="72433"/>
                </a:lnTo>
                <a:lnTo>
                  <a:pt x="3440195" y="74166"/>
                </a:lnTo>
                <a:lnTo>
                  <a:pt x="3441931" y="74166"/>
                </a:lnTo>
                <a:lnTo>
                  <a:pt x="3444101" y="77522"/>
                </a:lnTo>
                <a:lnTo>
                  <a:pt x="3445621" y="82935"/>
                </a:lnTo>
                <a:lnTo>
                  <a:pt x="3448008" y="84667"/>
                </a:lnTo>
                <a:lnTo>
                  <a:pt x="3450504" y="83043"/>
                </a:lnTo>
                <a:lnTo>
                  <a:pt x="3450504" y="78063"/>
                </a:lnTo>
                <a:lnTo>
                  <a:pt x="3448984" y="74166"/>
                </a:lnTo>
                <a:lnTo>
                  <a:pt x="3448984" y="71025"/>
                </a:lnTo>
                <a:lnTo>
                  <a:pt x="3450829" y="68968"/>
                </a:lnTo>
                <a:close/>
                <a:moveTo>
                  <a:pt x="2941342" y="4872"/>
                </a:moveTo>
                <a:lnTo>
                  <a:pt x="2943621" y="8986"/>
                </a:lnTo>
                <a:lnTo>
                  <a:pt x="2939389" y="10610"/>
                </a:lnTo>
                <a:lnTo>
                  <a:pt x="2936677" y="9311"/>
                </a:lnTo>
                <a:lnTo>
                  <a:pt x="2938522" y="5197"/>
                </a:lnTo>
                <a:close/>
                <a:moveTo>
                  <a:pt x="2891317" y="0"/>
                </a:moveTo>
                <a:lnTo>
                  <a:pt x="2894573" y="2274"/>
                </a:lnTo>
                <a:lnTo>
                  <a:pt x="2897936" y="2382"/>
                </a:lnTo>
                <a:lnTo>
                  <a:pt x="2902386" y="4006"/>
                </a:lnTo>
                <a:lnTo>
                  <a:pt x="2908245" y="1516"/>
                </a:lnTo>
                <a:lnTo>
                  <a:pt x="2913780" y="3031"/>
                </a:lnTo>
                <a:lnTo>
                  <a:pt x="2915733" y="6821"/>
                </a:lnTo>
                <a:lnTo>
                  <a:pt x="2921810" y="8878"/>
                </a:lnTo>
                <a:lnTo>
                  <a:pt x="2927562" y="6929"/>
                </a:lnTo>
                <a:lnTo>
                  <a:pt x="2933313" y="11044"/>
                </a:lnTo>
                <a:lnTo>
                  <a:pt x="2934507" y="14833"/>
                </a:lnTo>
                <a:lnTo>
                  <a:pt x="2936351" y="17215"/>
                </a:lnTo>
                <a:lnTo>
                  <a:pt x="2937003" y="23061"/>
                </a:lnTo>
                <a:lnTo>
                  <a:pt x="2934507" y="28583"/>
                </a:lnTo>
                <a:lnTo>
                  <a:pt x="2935591" y="31182"/>
                </a:lnTo>
                <a:lnTo>
                  <a:pt x="2939390" y="30316"/>
                </a:lnTo>
                <a:lnTo>
                  <a:pt x="2944599" y="24361"/>
                </a:lnTo>
                <a:lnTo>
                  <a:pt x="2951869" y="19164"/>
                </a:lnTo>
                <a:lnTo>
                  <a:pt x="2955016" y="15267"/>
                </a:lnTo>
                <a:lnTo>
                  <a:pt x="2959682" y="15049"/>
                </a:lnTo>
                <a:lnTo>
                  <a:pt x="2965217" y="18298"/>
                </a:lnTo>
                <a:lnTo>
                  <a:pt x="2971185" y="18514"/>
                </a:lnTo>
                <a:lnTo>
                  <a:pt x="2970534" y="21655"/>
                </a:lnTo>
                <a:lnTo>
                  <a:pt x="2965325" y="26743"/>
                </a:lnTo>
                <a:lnTo>
                  <a:pt x="2968147" y="31182"/>
                </a:lnTo>
                <a:lnTo>
                  <a:pt x="2970317" y="29883"/>
                </a:lnTo>
                <a:lnTo>
                  <a:pt x="2971511" y="25552"/>
                </a:lnTo>
                <a:lnTo>
                  <a:pt x="2976719" y="21655"/>
                </a:lnTo>
                <a:lnTo>
                  <a:pt x="2981386" y="19814"/>
                </a:lnTo>
                <a:lnTo>
                  <a:pt x="2988765" y="23170"/>
                </a:lnTo>
                <a:lnTo>
                  <a:pt x="2997772" y="24902"/>
                </a:lnTo>
                <a:lnTo>
                  <a:pt x="3000702" y="28150"/>
                </a:lnTo>
                <a:lnTo>
                  <a:pt x="2998314" y="30641"/>
                </a:lnTo>
                <a:lnTo>
                  <a:pt x="2995819" y="31073"/>
                </a:lnTo>
                <a:lnTo>
                  <a:pt x="2997229" y="34646"/>
                </a:lnTo>
                <a:lnTo>
                  <a:pt x="2993756" y="37570"/>
                </a:lnTo>
                <a:lnTo>
                  <a:pt x="2996144" y="40710"/>
                </a:lnTo>
                <a:lnTo>
                  <a:pt x="2999183" y="38220"/>
                </a:lnTo>
                <a:lnTo>
                  <a:pt x="3003632" y="36271"/>
                </a:lnTo>
                <a:lnTo>
                  <a:pt x="3004500" y="41359"/>
                </a:lnTo>
                <a:lnTo>
                  <a:pt x="3007430" y="42550"/>
                </a:lnTo>
                <a:lnTo>
                  <a:pt x="3010143" y="38652"/>
                </a:lnTo>
                <a:lnTo>
                  <a:pt x="3017413" y="37570"/>
                </a:lnTo>
                <a:lnTo>
                  <a:pt x="3017739" y="41251"/>
                </a:lnTo>
                <a:lnTo>
                  <a:pt x="3015135" y="44066"/>
                </a:lnTo>
                <a:lnTo>
                  <a:pt x="3016220" y="47747"/>
                </a:lnTo>
                <a:lnTo>
                  <a:pt x="3019475" y="48613"/>
                </a:lnTo>
                <a:lnTo>
                  <a:pt x="3021320" y="46340"/>
                </a:lnTo>
                <a:lnTo>
                  <a:pt x="3025443" y="43633"/>
                </a:lnTo>
                <a:lnTo>
                  <a:pt x="3027505" y="43633"/>
                </a:lnTo>
                <a:lnTo>
                  <a:pt x="3029241" y="47422"/>
                </a:lnTo>
                <a:lnTo>
                  <a:pt x="3037489" y="52295"/>
                </a:lnTo>
                <a:lnTo>
                  <a:pt x="3042155" y="52295"/>
                </a:lnTo>
                <a:lnTo>
                  <a:pt x="3043566" y="54461"/>
                </a:lnTo>
                <a:lnTo>
                  <a:pt x="3041179" y="57275"/>
                </a:lnTo>
                <a:lnTo>
                  <a:pt x="3032172" y="61064"/>
                </a:lnTo>
                <a:lnTo>
                  <a:pt x="3027614" y="66912"/>
                </a:lnTo>
                <a:lnTo>
                  <a:pt x="3022079" y="67669"/>
                </a:lnTo>
                <a:lnTo>
                  <a:pt x="3015460" y="71242"/>
                </a:lnTo>
                <a:lnTo>
                  <a:pt x="3011879" y="71458"/>
                </a:lnTo>
                <a:lnTo>
                  <a:pt x="3008081" y="69726"/>
                </a:lnTo>
                <a:lnTo>
                  <a:pt x="3006019" y="72433"/>
                </a:lnTo>
                <a:lnTo>
                  <a:pt x="2999074" y="74491"/>
                </a:lnTo>
                <a:lnTo>
                  <a:pt x="3009166" y="73949"/>
                </a:lnTo>
                <a:lnTo>
                  <a:pt x="3018499" y="75248"/>
                </a:lnTo>
                <a:lnTo>
                  <a:pt x="3022079" y="77305"/>
                </a:lnTo>
                <a:lnTo>
                  <a:pt x="3025552" y="77305"/>
                </a:lnTo>
                <a:lnTo>
                  <a:pt x="3028265" y="73083"/>
                </a:lnTo>
                <a:lnTo>
                  <a:pt x="3030544" y="71350"/>
                </a:lnTo>
                <a:lnTo>
                  <a:pt x="3035427" y="71458"/>
                </a:lnTo>
                <a:lnTo>
                  <a:pt x="3038031" y="66803"/>
                </a:lnTo>
                <a:lnTo>
                  <a:pt x="3044651" y="63446"/>
                </a:lnTo>
                <a:lnTo>
                  <a:pt x="3050077" y="63014"/>
                </a:lnTo>
                <a:lnTo>
                  <a:pt x="3051271" y="66586"/>
                </a:lnTo>
                <a:lnTo>
                  <a:pt x="3048775" y="71783"/>
                </a:lnTo>
                <a:lnTo>
                  <a:pt x="3050728" y="74274"/>
                </a:lnTo>
                <a:lnTo>
                  <a:pt x="3052898" y="73083"/>
                </a:lnTo>
                <a:lnTo>
                  <a:pt x="3055394" y="67886"/>
                </a:lnTo>
                <a:lnTo>
                  <a:pt x="3060169" y="64421"/>
                </a:lnTo>
                <a:lnTo>
                  <a:pt x="3062122" y="66370"/>
                </a:lnTo>
                <a:lnTo>
                  <a:pt x="3059735" y="70593"/>
                </a:lnTo>
                <a:lnTo>
                  <a:pt x="3059626" y="73083"/>
                </a:lnTo>
                <a:lnTo>
                  <a:pt x="3057239" y="76222"/>
                </a:lnTo>
                <a:lnTo>
                  <a:pt x="3059192" y="78605"/>
                </a:lnTo>
                <a:lnTo>
                  <a:pt x="3062665" y="77305"/>
                </a:lnTo>
                <a:lnTo>
                  <a:pt x="3065160" y="74923"/>
                </a:lnTo>
                <a:lnTo>
                  <a:pt x="3065920" y="70809"/>
                </a:lnTo>
                <a:lnTo>
                  <a:pt x="3071238" y="69618"/>
                </a:lnTo>
                <a:lnTo>
                  <a:pt x="3075144" y="70809"/>
                </a:lnTo>
                <a:lnTo>
                  <a:pt x="3072540" y="80770"/>
                </a:lnTo>
                <a:lnTo>
                  <a:pt x="3069393" y="82503"/>
                </a:lnTo>
                <a:lnTo>
                  <a:pt x="3071455" y="83801"/>
                </a:lnTo>
                <a:lnTo>
                  <a:pt x="3073083" y="88890"/>
                </a:lnTo>
                <a:lnTo>
                  <a:pt x="3072323" y="95170"/>
                </a:lnTo>
                <a:lnTo>
                  <a:pt x="3068308" y="97876"/>
                </a:lnTo>
                <a:lnTo>
                  <a:pt x="3067114" y="101449"/>
                </a:lnTo>
                <a:lnTo>
                  <a:pt x="3061580" y="109029"/>
                </a:lnTo>
                <a:lnTo>
                  <a:pt x="3063424" y="110761"/>
                </a:lnTo>
                <a:lnTo>
                  <a:pt x="3066680" y="109461"/>
                </a:lnTo>
                <a:lnTo>
                  <a:pt x="3069610" y="104806"/>
                </a:lnTo>
                <a:lnTo>
                  <a:pt x="3073951" y="104589"/>
                </a:lnTo>
                <a:lnTo>
                  <a:pt x="3074927" y="103399"/>
                </a:lnTo>
                <a:lnTo>
                  <a:pt x="3078291" y="103399"/>
                </a:lnTo>
                <a:lnTo>
                  <a:pt x="3084042" y="107080"/>
                </a:lnTo>
                <a:lnTo>
                  <a:pt x="3086430" y="112601"/>
                </a:lnTo>
                <a:lnTo>
                  <a:pt x="3087081" y="119856"/>
                </a:lnTo>
                <a:lnTo>
                  <a:pt x="3085345" y="131007"/>
                </a:lnTo>
                <a:lnTo>
                  <a:pt x="3079594" y="141618"/>
                </a:lnTo>
                <a:lnTo>
                  <a:pt x="3070586" y="146598"/>
                </a:lnTo>
                <a:lnTo>
                  <a:pt x="3068416" y="148764"/>
                </a:lnTo>
                <a:lnTo>
                  <a:pt x="3063750" y="147681"/>
                </a:lnTo>
                <a:lnTo>
                  <a:pt x="3059517" y="149196"/>
                </a:lnTo>
                <a:lnTo>
                  <a:pt x="3059626" y="151688"/>
                </a:lnTo>
                <a:lnTo>
                  <a:pt x="3056696" y="154286"/>
                </a:lnTo>
                <a:lnTo>
                  <a:pt x="3042264" y="161323"/>
                </a:lnTo>
                <a:lnTo>
                  <a:pt x="3036838" y="165221"/>
                </a:lnTo>
                <a:lnTo>
                  <a:pt x="3032172" y="166304"/>
                </a:lnTo>
                <a:lnTo>
                  <a:pt x="3025660" y="168902"/>
                </a:lnTo>
                <a:lnTo>
                  <a:pt x="3018716" y="169010"/>
                </a:lnTo>
                <a:lnTo>
                  <a:pt x="3015351" y="165653"/>
                </a:lnTo>
                <a:lnTo>
                  <a:pt x="3013181" y="170418"/>
                </a:lnTo>
                <a:lnTo>
                  <a:pt x="3010685" y="171825"/>
                </a:lnTo>
                <a:lnTo>
                  <a:pt x="3005260" y="167819"/>
                </a:lnTo>
                <a:lnTo>
                  <a:pt x="2999834" y="165329"/>
                </a:lnTo>
                <a:lnTo>
                  <a:pt x="2992455" y="163922"/>
                </a:lnTo>
                <a:lnTo>
                  <a:pt x="2992455" y="167278"/>
                </a:lnTo>
                <a:lnTo>
                  <a:pt x="2998097" y="168469"/>
                </a:lnTo>
                <a:lnTo>
                  <a:pt x="3001244" y="170093"/>
                </a:lnTo>
                <a:lnTo>
                  <a:pt x="2997555" y="172150"/>
                </a:lnTo>
                <a:lnTo>
                  <a:pt x="2991261" y="170634"/>
                </a:lnTo>
                <a:lnTo>
                  <a:pt x="2988005" y="171176"/>
                </a:lnTo>
                <a:lnTo>
                  <a:pt x="2984967" y="168794"/>
                </a:lnTo>
                <a:lnTo>
                  <a:pt x="2976177" y="168253"/>
                </a:lnTo>
                <a:lnTo>
                  <a:pt x="2973573" y="165545"/>
                </a:lnTo>
                <a:lnTo>
                  <a:pt x="2970752" y="167061"/>
                </a:lnTo>
                <a:lnTo>
                  <a:pt x="2968147" y="167278"/>
                </a:lnTo>
                <a:lnTo>
                  <a:pt x="2960984" y="158616"/>
                </a:lnTo>
                <a:lnTo>
                  <a:pt x="2956210" y="153636"/>
                </a:lnTo>
                <a:lnTo>
                  <a:pt x="2957186" y="158941"/>
                </a:lnTo>
                <a:lnTo>
                  <a:pt x="2962287" y="163922"/>
                </a:lnTo>
                <a:lnTo>
                  <a:pt x="2963155" y="166953"/>
                </a:lnTo>
                <a:lnTo>
                  <a:pt x="2958923" y="167278"/>
                </a:lnTo>
                <a:lnTo>
                  <a:pt x="2952195" y="164679"/>
                </a:lnTo>
                <a:lnTo>
                  <a:pt x="2954800" y="168577"/>
                </a:lnTo>
                <a:lnTo>
                  <a:pt x="2970317" y="170959"/>
                </a:lnTo>
                <a:lnTo>
                  <a:pt x="2979649" y="172908"/>
                </a:lnTo>
                <a:lnTo>
                  <a:pt x="2982362" y="175723"/>
                </a:lnTo>
                <a:lnTo>
                  <a:pt x="2979324" y="178538"/>
                </a:lnTo>
                <a:lnTo>
                  <a:pt x="2958163" y="186875"/>
                </a:lnTo>
                <a:lnTo>
                  <a:pt x="2944924" y="189040"/>
                </a:lnTo>
                <a:lnTo>
                  <a:pt x="2939498" y="188932"/>
                </a:lnTo>
                <a:lnTo>
                  <a:pt x="2932228" y="190665"/>
                </a:lnTo>
                <a:lnTo>
                  <a:pt x="2926042" y="189690"/>
                </a:lnTo>
                <a:lnTo>
                  <a:pt x="2925065" y="186767"/>
                </a:lnTo>
                <a:lnTo>
                  <a:pt x="2920508" y="188607"/>
                </a:lnTo>
                <a:lnTo>
                  <a:pt x="2917036" y="187633"/>
                </a:lnTo>
                <a:lnTo>
                  <a:pt x="2912261" y="188499"/>
                </a:lnTo>
                <a:lnTo>
                  <a:pt x="2909873" y="192830"/>
                </a:lnTo>
                <a:lnTo>
                  <a:pt x="2914539" y="192397"/>
                </a:lnTo>
                <a:lnTo>
                  <a:pt x="2915408" y="196944"/>
                </a:lnTo>
                <a:lnTo>
                  <a:pt x="2922136" y="193155"/>
                </a:lnTo>
                <a:lnTo>
                  <a:pt x="2935483" y="193155"/>
                </a:lnTo>
                <a:lnTo>
                  <a:pt x="2941561" y="194238"/>
                </a:lnTo>
                <a:lnTo>
                  <a:pt x="2959357" y="192830"/>
                </a:lnTo>
                <a:lnTo>
                  <a:pt x="2971402" y="190881"/>
                </a:lnTo>
                <a:lnTo>
                  <a:pt x="2978999" y="183302"/>
                </a:lnTo>
                <a:lnTo>
                  <a:pt x="2984207" y="183085"/>
                </a:lnTo>
                <a:lnTo>
                  <a:pt x="2988005" y="184493"/>
                </a:lnTo>
                <a:lnTo>
                  <a:pt x="2993539" y="183410"/>
                </a:lnTo>
                <a:lnTo>
                  <a:pt x="3001136" y="183518"/>
                </a:lnTo>
                <a:lnTo>
                  <a:pt x="2998206" y="190231"/>
                </a:lnTo>
                <a:lnTo>
                  <a:pt x="2994624" y="197052"/>
                </a:lnTo>
                <a:lnTo>
                  <a:pt x="2986486" y="201166"/>
                </a:lnTo>
                <a:lnTo>
                  <a:pt x="2983990" y="203116"/>
                </a:lnTo>
                <a:lnTo>
                  <a:pt x="2974766" y="204848"/>
                </a:lnTo>
                <a:lnTo>
                  <a:pt x="2971077" y="209936"/>
                </a:lnTo>
                <a:lnTo>
                  <a:pt x="2967604" y="210478"/>
                </a:lnTo>
                <a:lnTo>
                  <a:pt x="2962179" y="215675"/>
                </a:lnTo>
                <a:lnTo>
                  <a:pt x="2954800" y="219031"/>
                </a:lnTo>
                <a:lnTo>
                  <a:pt x="2949916" y="219465"/>
                </a:lnTo>
                <a:lnTo>
                  <a:pt x="2946552" y="220872"/>
                </a:lnTo>
                <a:lnTo>
                  <a:pt x="2941452" y="220005"/>
                </a:lnTo>
                <a:lnTo>
                  <a:pt x="2936786" y="224228"/>
                </a:lnTo>
                <a:lnTo>
                  <a:pt x="2927995" y="226069"/>
                </a:lnTo>
                <a:lnTo>
                  <a:pt x="2925065" y="230941"/>
                </a:lnTo>
                <a:lnTo>
                  <a:pt x="2915516" y="232673"/>
                </a:lnTo>
                <a:lnTo>
                  <a:pt x="2911393" y="234948"/>
                </a:lnTo>
                <a:lnTo>
                  <a:pt x="2907920" y="233972"/>
                </a:lnTo>
                <a:lnTo>
                  <a:pt x="2903905" y="237762"/>
                </a:lnTo>
                <a:lnTo>
                  <a:pt x="2899890" y="237329"/>
                </a:lnTo>
                <a:lnTo>
                  <a:pt x="2898154" y="239278"/>
                </a:lnTo>
                <a:lnTo>
                  <a:pt x="2898371" y="244475"/>
                </a:lnTo>
                <a:lnTo>
                  <a:pt x="2893596" y="248264"/>
                </a:lnTo>
                <a:lnTo>
                  <a:pt x="2890775" y="252270"/>
                </a:lnTo>
                <a:lnTo>
                  <a:pt x="2879489" y="252486"/>
                </a:lnTo>
                <a:lnTo>
                  <a:pt x="2876341" y="254868"/>
                </a:lnTo>
                <a:lnTo>
                  <a:pt x="2872761" y="253678"/>
                </a:lnTo>
                <a:lnTo>
                  <a:pt x="2871893" y="250863"/>
                </a:lnTo>
                <a:lnTo>
                  <a:pt x="2873955" y="247831"/>
                </a:lnTo>
                <a:lnTo>
                  <a:pt x="2873955" y="243717"/>
                </a:lnTo>
                <a:lnTo>
                  <a:pt x="2870807" y="241119"/>
                </a:lnTo>
                <a:lnTo>
                  <a:pt x="2871675" y="247615"/>
                </a:lnTo>
                <a:lnTo>
                  <a:pt x="2869397" y="250105"/>
                </a:lnTo>
                <a:lnTo>
                  <a:pt x="2867769" y="253678"/>
                </a:lnTo>
                <a:lnTo>
                  <a:pt x="2873195" y="257142"/>
                </a:lnTo>
                <a:lnTo>
                  <a:pt x="2874388" y="260715"/>
                </a:lnTo>
                <a:lnTo>
                  <a:pt x="2869614" y="265696"/>
                </a:lnTo>
                <a:lnTo>
                  <a:pt x="2867443" y="266129"/>
                </a:lnTo>
                <a:lnTo>
                  <a:pt x="2862560" y="262664"/>
                </a:lnTo>
                <a:lnTo>
                  <a:pt x="2859521" y="264505"/>
                </a:lnTo>
                <a:lnTo>
                  <a:pt x="2851275" y="261690"/>
                </a:lnTo>
                <a:lnTo>
                  <a:pt x="2848562" y="263639"/>
                </a:lnTo>
                <a:lnTo>
                  <a:pt x="2845414" y="263964"/>
                </a:lnTo>
                <a:lnTo>
                  <a:pt x="2844872" y="259850"/>
                </a:lnTo>
                <a:lnTo>
                  <a:pt x="2842919" y="258225"/>
                </a:lnTo>
                <a:lnTo>
                  <a:pt x="2841074" y="262448"/>
                </a:lnTo>
                <a:lnTo>
                  <a:pt x="2836950" y="262772"/>
                </a:lnTo>
                <a:lnTo>
                  <a:pt x="2836082" y="265370"/>
                </a:lnTo>
                <a:lnTo>
                  <a:pt x="2845197" y="267319"/>
                </a:lnTo>
                <a:lnTo>
                  <a:pt x="2857785" y="267537"/>
                </a:lnTo>
                <a:lnTo>
                  <a:pt x="2860607" y="271325"/>
                </a:lnTo>
                <a:lnTo>
                  <a:pt x="2859630" y="275440"/>
                </a:lnTo>
                <a:lnTo>
                  <a:pt x="2854855" y="278363"/>
                </a:lnTo>
                <a:lnTo>
                  <a:pt x="2848670" y="277281"/>
                </a:lnTo>
                <a:lnTo>
                  <a:pt x="2842376" y="278797"/>
                </a:lnTo>
                <a:lnTo>
                  <a:pt x="2840639" y="280529"/>
                </a:lnTo>
                <a:lnTo>
                  <a:pt x="2842810" y="282370"/>
                </a:lnTo>
                <a:lnTo>
                  <a:pt x="2845089" y="281070"/>
                </a:lnTo>
                <a:lnTo>
                  <a:pt x="2848344" y="283127"/>
                </a:lnTo>
                <a:lnTo>
                  <a:pt x="2847802" y="286917"/>
                </a:lnTo>
                <a:lnTo>
                  <a:pt x="2840097" y="294279"/>
                </a:lnTo>
                <a:lnTo>
                  <a:pt x="2833478" y="293846"/>
                </a:lnTo>
                <a:lnTo>
                  <a:pt x="2821649" y="293629"/>
                </a:lnTo>
                <a:lnTo>
                  <a:pt x="2820021" y="291139"/>
                </a:lnTo>
                <a:lnTo>
                  <a:pt x="2815138" y="290598"/>
                </a:lnTo>
                <a:lnTo>
                  <a:pt x="2813619" y="288216"/>
                </a:lnTo>
                <a:lnTo>
                  <a:pt x="2812968" y="280312"/>
                </a:lnTo>
                <a:lnTo>
                  <a:pt x="2806349" y="279121"/>
                </a:lnTo>
                <a:lnTo>
                  <a:pt x="2804287" y="276847"/>
                </a:lnTo>
                <a:lnTo>
                  <a:pt x="2804612" y="272517"/>
                </a:lnTo>
                <a:lnTo>
                  <a:pt x="2801574" y="269919"/>
                </a:lnTo>
                <a:lnTo>
                  <a:pt x="2798861" y="271217"/>
                </a:lnTo>
                <a:lnTo>
                  <a:pt x="2795605" y="270027"/>
                </a:lnTo>
                <a:lnTo>
                  <a:pt x="2787901" y="271001"/>
                </a:lnTo>
                <a:lnTo>
                  <a:pt x="2787467" y="273383"/>
                </a:lnTo>
                <a:lnTo>
                  <a:pt x="2790505" y="275007"/>
                </a:lnTo>
                <a:lnTo>
                  <a:pt x="2792133" y="273708"/>
                </a:lnTo>
                <a:lnTo>
                  <a:pt x="2795931" y="274141"/>
                </a:lnTo>
                <a:lnTo>
                  <a:pt x="2806349" y="284318"/>
                </a:lnTo>
                <a:lnTo>
                  <a:pt x="2806023" y="297635"/>
                </a:lnTo>
                <a:lnTo>
                  <a:pt x="2804395" y="299909"/>
                </a:lnTo>
                <a:lnTo>
                  <a:pt x="2799295" y="299259"/>
                </a:lnTo>
                <a:lnTo>
                  <a:pt x="2795063" y="295362"/>
                </a:lnTo>
                <a:lnTo>
                  <a:pt x="2792350" y="295795"/>
                </a:lnTo>
                <a:lnTo>
                  <a:pt x="2792133" y="299584"/>
                </a:lnTo>
                <a:lnTo>
                  <a:pt x="2790288" y="300992"/>
                </a:lnTo>
                <a:lnTo>
                  <a:pt x="2785839" y="296337"/>
                </a:lnTo>
                <a:lnTo>
                  <a:pt x="2781932" y="296661"/>
                </a:lnTo>
                <a:lnTo>
                  <a:pt x="2778676" y="300451"/>
                </a:lnTo>
                <a:lnTo>
                  <a:pt x="2776506" y="300017"/>
                </a:lnTo>
                <a:lnTo>
                  <a:pt x="2774336" y="297094"/>
                </a:lnTo>
                <a:lnTo>
                  <a:pt x="2769453" y="295795"/>
                </a:lnTo>
                <a:lnTo>
                  <a:pt x="2766414" y="290814"/>
                </a:lnTo>
                <a:lnTo>
                  <a:pt x="2763810" y="292439"/>
                </a:lnTo>
                <a:lnTo>
                  <a:pt x="2762616" y="287350"/>
                </a:lnTo>
                <a:lnTo>
                  <a:pt x="2760120" y="285726"/>
                </a:lnTo>
                <a:lnTo>
                  <a:pt x="2753067" y="285076"/>
                </a:lnTo>
                <a:lnTo>
                  <a:pt x="2750354" y="281178"/>
                </a:lnTo>
                <a:lnTo>
                  <a:pt x="2748617" y="282802"/>
                </a:lnTo>
                <a:lnTo>
                  <a:pt x="2749160" y="286159"/>
                </a:lnTo>
                <a:lnTo>
                  <a:pt x="2753610" y="289082"/>
                </a:lnTo>
                <a:lnTo>
                  <a:pt x="2759469" y="290490"/>
                </a:lnTo>
                <a:lnTo>
                  <a:pt x="2764787" y="299368"/>
                </a:lnTo>
                <a:lnTo>
                  <a:pt x="2762833" y="301858"/>
                </a:lnTo>
                <a:lnTo>
                  <a:pt x="2749920" y="299043"/>
                </a:lnTo>
                <a:lnTo>
                  <a:pt x="2746339" y="296012"/>
                </a:lnTo>
                <a:lnTo>
                  <a:pt x="2746013" y="291139"/>
                </a:lnTo>
                <a:lnTo>
                  <a:pt x="2742866" y="287892"/>
                </a:lnTo>
                <a:lnTo>
                  <a:pt x="2741238" y="290273"/>
                </a:lnTo>
                <a:lnTo>
                  <a:pt x="2742215" y="292439"/>
                </a:lnTo>
                <a:lnTo>
                  <a:pt x="2740696" y="295686"/>
                </a:lnTo>
                <a:lnTo>
                  <a:pt x="2736463" y="294496"/>
                </a:lnTo>
                <a:lnTo>
                  <a:pt x="2733968" y="291680"/>
                </a:lnTo>
                <a:lnTo>
                  <a:pt x="2729736" y="292872"/>
                </a:lnTo>
                <a:lnTo>
                  <a:pt x="2730170" y="295903"/>
                </a:lnTo>
                <a:lnTo>
                  <a:pt x="2736572" y="298393"/>
                </a:lnTo>
                <a:lnTo>
                  <a:pt x="2736355" y="302616"/>
                </a:lnTo>
                <a:lnTo>
                  <a:pt x="2739068" y="302616"/>
                </a:lnTo>
                <a:lnTo>
                  <a:pt x="2741021" y="300992"/>
                </a:lnTo>
                <a:lnTo>
                  <a:pt x="2744602" y="300992"/>
                </a:lnTo>
                <a:lnTo>
                  <a:pt x="2748292" y="304457"/>
                </a:lnTo>
                <a:lnTo>
                  <a:pt x="2753392" y="306297"/>
                </a:lnTo>
                <a:lnTo>
                  <a:pt x="2757625" y="310304"/>
                </a:lnTo>
                <a:lnTo>
                  <a:pt x="2760338" y="310304"/>
                </a:lnTo>
                <a:lnTo>
                  <a:pt x="2764244" y="309112"/>
                </a:lnTo>
                <a:lnTo>
                  <a:pt x="2777483" y="312035"/>
                </a:lnTo>
                <a:lnTo>
                  <a:pt x="2780088" y="314850"/>
                </a:lnTo>
                <a:lnTo>
                  <a:pt x="2775747" y="317990"/>
                </a:lnTo>
                <a:lnTo>
                  <a:pt x="2777158" y="320481"/>
                </a:lnTo>
                <a:lnTo>
                  <a:pt x="2776615" y="324811"/>
                </a:lnTo>
                <a:lnTo>
                  <a:pt x="2777700" y="329359"/>
                </a:lnTo>
                <a:lnTo>
                  <a:pt x="2774445" y="332390"/>
                </a:lnTo>
                <a:lnTo>
                  <a:pt x="2772492" y="331957"/>
                </a:lnTo>
                <a:lnTo>
                  <a:pt x="2769344" y="328926"/>
                </a:lnTo>
                <a:lnTo>
                  <a:pt x="2762942" y="327193"/>
                </a:lnTo>
                <a:lnTo>
                  <a:pt x="2756756" y="322321"/>
                </a:lnTo>
                <a:lnTo>
                  <a:pt x="2755128" y="319181"/>
                </a:lnTo>
                <a:lnTo>
                  <a:pt x="2755888" y="313226"/>
                </a:lnTo>
                <a:lnTo>
                  <a:pt x="2753392" y="309112"/>
                </a:lnTo>
                <a:lnTo>
                  <a:pt x="2746231" y="308896"/>
                </a:lnTo>
                <a:lnTo>
                  <a:pt x="2735595" y="307272"/>
                </a:lnTo>
                <a:lnTo>
                  <a:pt x="2731689" y="304349"/>
                </a:lnTo>
                <a:lnTo>
                  <a:pt x="2727131" y="304998"/>
                </a:lnTo>
                <a:lnTo>
                  <a:pt x="2726372" y="307163"/>
                </a:lnTo>
                <a:lnTo>
                  <a:pt x="2732557" y="309545"/>
                </a:lnTo>
                <a:lnTo>
                  <a:pt x="2741998" y="310304"/>
                </a:lnTo>
                <a:lnTo>
                  <a:pt x="2751873" y="313984"/>
                </a:lnTo>
                <a:lnTo>
                  <a:pt x="2751656" y="319073"/>
                </a:lnTo>
                <a:lnTo>
                  <a:pt x="2749920" y="319614"/>
                </a:lnTo>
                <a:lnTo>
                  <a:pt x="2744819" y="316041"/>
                </a:lnTo>
                <a:lnTo>
                  <a:pt x="2736030" y="315825"/>
                </a:lnTo>
                <a:lnTo>
                  <a:pt x="2728867" y="317774"/>
                </a:lnTo>
                <a:lnTo>
                  <a:pt x="2728976" y="315176"/>
                </a:lnTo>
                <a:lnTo>
                  <a:pt x="2726372" y="312360"/>
                </a:lnTo>
                <a:lnTo>
                  <a:pt x="2718341" y="311169"/>
                </a:lnTo>
                <a:lnTo>
                  <a:pt x="2714543" y="309004"/>
                </a:lnTo>
                <a:lnTo>
                  <a:pt x="2715412" y="311494"/>
                </a:lnTo>
                <a:lnTo>
                  <a:pt x="2724201" y="315500"/>
                </a:lnTo>
                <a:lnTo>
                  <a:pt x="2723008" y="317666"/>
                </a:lnTo>
                <a:lnTo>
                  <a:pt x="2723008" y="321022"/>
                </a:lnTo>
                <a:lnTo>
                  <a:pt x="2726914" y="321239"/>
                </a:lnTo>
                <a:lnTo>
                  <a:pt x="2727999" y="320481"/>
                </a:lnTo>
                <a:lnTo>
                  <a:pt x="2729736" y="321671"/>
                </a:lnTo>
                <a:lnTo>
                  <a:pt x="2733534" y="320264"/>
                </a:lnTo>
                <a:lnTo>
                  <a:pt x="2734727" y="319073"/>
                </a:lnTo>
                <a:lnTo>
                  <a:pt x="2737223" y="320264"/>
                </a:lnTo>
                <a:lnTo>
                  <a:pt x="2741456" y="319831"/>
                </a:lnTo>
                <a:lnTo>
                  <a:pt x="2744819" y="321130"/>
                </a:lnTo>
                <a:lnTo>
                  <a:pt x="2751765" y="327518"/>
                </a:lnTo>
                <a:lnTo>
                  <a:pt x="2751547" y="329792"/>
                </a:lnTo>
                <a:lnTo>
                  <a:pt x="2745688" y="330117"/>
                </a:lnTo>
                <a:lnTo>
                  <a:pt x="2740805" y="332282"/>
                </a:lnTo>
                <a:lnTo>
                  <a:pt x="2740045" y="334881"/>
                </a:lnTo>
                <a:lnTo>
                  <a:pt x="2744494" y="333581"/>
                </a:lnTo>
                <a:lnTo>
                  <a:pt x="2748835" y="333581"/>
                </a:lnTo>
                <a:lnTo>
                  <a:pt x="2752850" y="332824"/>
                </a:lnTo>
                <a:lnTo>
                  <a:pt x="2757190" y="337046"/>
                </a:lnTo>
                <a:lnTo>
                  <a:pt x="2761423" y="339536"/>
                </a:lnTo>
                <a:lnTo>
                  <a:pt x="2761531" y="343759"/>
                </a:lnTo>
                <a:lnTo>
                  <a:pt x="2755888" y="352637"/>
                </a:lnTo>
                <a:lnTo>
                  <a:pt x="2754043" y="359891"/>
                </a:lnTo>
                <a:lnTo>
                  <a:pt x="2751873" y="360432"/>
                </a:lnTo>
                <a:lnTo>
                  <a:pt x="2745254" y="365521"/>
                </a:lnTo>
                <a:lnTo>
                  <a:pt x="2742106" y="363789"/>
                </a:lnTo>
                <a:lnTo>
                  <a:pt x="2738092" y="363897"/>
                </a:lnTo>
                <a:lnTo>
                  <a:pt x="2734510" y="362057"/>
                </a:lnTo>
                <a:lnTo>
                  <a:pt x="2733860" y="359566"/>
                </a:lnTo>
                <a:lnTo>
                  <a:pt x="2730279" y="357509"/>
                </a:lnTo>
                <a:lnTo>
                  <a:pt x="2724744" y="357293"/>
                </a:lnTo>
                <a:lnTo>
                  <a:pt x="2725395" y="359566"/>
                </a:lnTo>
                <a:lnTo>
                  <a:pt x="2730604" y="361732"/>
                </a:lnTo>
                <a:lnTo>
                  <a:pt x="2731255" y="364114"/>
                </a:lnTo>
                <a:lnTo>
                  <a:pt x="2734619" y="364979"/>
                </a:lnTo>
                <a:lnTo>
                  <a:pt x="2740588" y="368769"/>
                </a:lnTo>
                <a:lnTo>
                  <a:pt x="2741456" y="374832"/>
                </a:lnTo>
                <a:lnTo>
                  <a:pt x="2739502" y="377539"/>
                </a:lnTo>
                <a:lnTo>
                  <a:pt x="2735595" y="378297"/>
                </a:lnTo>
                <a:lnTo>
                  <a:pt x="2730495" y="382844"/>
                </a:lnTo>
                <a:lnTo>
                  <a:pt x="2727457" y="383603"/>
                </a:lnTo>
                <a:lnTo>
                  <a:pt x="2720078" y="377214"/>
                </a:lnTo>
                <a:lnTo>
                  <a:pt x="2715845" y="378622"/>
                </a:lnTo>
                <a:lnTo>
                  <a:pt x="2713567" y="376023"/>
                </a:lnTo>
                <a:lnTo>
                  <a:pt x="2708901" y="375590"/>
                </a:lnTo>
                <a:lnTo>
                  <a:pt x="2705862" y="377322"/>
                </a:lnTo>
                <a:lnTo>
                  <a:pt x="2706839" y="380571"/>
                </a:lnTo>
                <a:lnTo>
                  <a:pt x="2721054" y="388150"/>
                </a:lnTo>
                <a:lnTo>
                  <a:pt x="2726481" y="388691"/>
                </a:lnTo>
                <a:lnTo>
                  <a:pt x="2726481" y="391614"/>
                </a:lnTo>
                <a:lnTo>
                  <a:pt x="2722574" y="393455"/>
                </a:lnTo>
                <a:lnTo>
                  <a:pt x="2718667" y="397894"/>
                </a:lnTo>
                <a:lnTo>
                  <a:pt x="2714543" y="398868"/>
                </a:lnTo>
                <a:lnTo>
                  <a:pt x="2710745" y="394646"/>
                </a:lnTo>
                <a:lnTo>
                  <a:pt x="2707164" y="394862"/>
                </a:lnTo>
                <a:lnTo>
                  <a:pt x="2702715" y="398219"/>
                </a:lnTo>
                <a:lnTo>
                  <a:pt x="2695445" y="397894"/>
                </a:lnTo>
                <a:lnTo>
                  <a:pt x="2692406" y="394429"/>
                </a:lnTo>
                <a:lnTo>
                  <a:pt x="2682748" y="392156"/>
                </a:lnTo>
                <a:lnTo>
                  <a:pt x="2676671" y="393780"/>
                </a:lnTo>
                <a:lnTo>
                  <a:pt x="2675477" y="402441"/>
                </a:lnTo>
                <a:lnTo>
                  <a:pt x="2670920" y="406772"/>
                </a:lnTo>
                <a:lnTo>
                  <a:pt x="2675260" y="406555"/>
                </a:lnTo>
                <a:lnTo>
                  <a:pt x="2676671" y="407854"/>
                </a:lnTo>
                <a:lnTo>
                  <a:pt x="2676888" y="412619"/>
                </a:lnTo>
                <a:lnTo>
                  <a:pt x="2670052" y="416300"/>
                </a:lnTo>
                <a:lnTo>
                  <a:pt x="2669834" y="421388"/>
                </a:lnTo>
                <a:lnTo>
                  <a:pt x="2664300" y="424420"/>
                </a:lnTo>
                <a:lnTo>
                  <a:pt x="2662238" y="422472"/>
                </a:lnTo>
                <a:lnTo>
                  <a:pt x="2660936" y="423987"/>
                </a:lnTo>
                <a:lnTo>
                  <a:pt x="2660176" y="427235"/>
                </a:lnTo>
                <a:lnTo>
                  <a:pt x="2655510" y="429184"/>
                </a:lnTo>
                <a:lnTo>
                  <a:pt x="2652146" y="428210"/>
                </a:lnTo>
                <a:lnTo>
                  <a:pt x="2654317" y="425611"/>
                </a:lnTo>
                <a:lnTo>
                  <a:pt x="2652038" y="425611"/>
                </a:lnTo>
                <a:lnTo>
                  <a:pt x="2649216" y="428210"/>
                </a:lnTo>
                <a:lnTo>
                  <a:pt x="2645961" y="434706"/>
                </a:lnTo>
                <a:lnTo>
                  <a:pt x="2643465" y="436329"/>
                </a:lnTo>
                <a:lnTo>
                  <a:pt x="2632396" y="430375"/>
                </a:lnTo>
                <a:lnTo>
                  <a:pt x="2625994" y="430267"/>
                </a:lnTo>
                <a:lnTo>
                  <a:pt x="2625126" y="432107"/>
                </a:lnTo>
                <a:lnTo>
                  <a:pt x="2619157" y="430916"/>
                </a:lnTo>
                <a:lnTo>
                  <a:pt x="2609065" y="418790"/>
                </a:lnTo>
                <a:lnTo>
                  <a:pt x="2606895" y="408396"/>
                </a:lnTo>
                <a:lnTo>
                  <a:pt x="2609499" y="406447"/>
                </a:lnTo>
                <a:lnTo>
                  <a:pt x="2610259" y="402550"/>
                </a:lnTo>
                <a:lnTo>
                  <a:pt x="2608848" y="399734"/>
                </a:lnTo>
                <a:lnTo>
                  <a:pt x="2609282" y="396595"/>
                </a:lnTo>
                <a:lnTo>
                  <a:pt x="2604833" y="401900"/>
                </a:lnTo>
                <a:lnTo>
                  <a:pt x="2604941" y="405148"/>
                </a:lnTo>
                <a:lnTo>
                  <a:pt x="2602988" y="411969"/>
                </a:lnTo>
                <a:lnTo>
                  <a:pt x="2600818" y="415650"/>
                </a:lnTo>
                <a:lnTo>
                  <a:pt x="2604724" y="420739"/>
                </a:lnTo>
                <a:lnTo>
                  <a:pt x="2603965" y="423229"/>
                </a:lnTo>
                <a:lnTo>
                  <a:pt x="2601469" y="422580"/>
                </a:lnTo>
                <a:lnTo>
                  <a:pt x="2594958" y="423554"/>
                </a:lnTo>
                <a:lnTo>
                  <a:pt x="2593873" y="422796"/>
                </a:lnTo>
                <a:lnTo>
                  <a:pt x="2589424" y="423554"/>
                </a:lnTo>
                <a:lnTo>
                  <a:pt x="2593547" y="427127"/>
                </a:lnTo>
                <a:lnTo>
                  <a:pt x="2591160" y="434489"/>
                </a:lnTo>
                <a:lnTo>
                  <a:pt x="2594524" y="434489"/>
                </a:lnTo>
                <a:lnTo>
                  <a:pt x="2599841" y="428101"/>
                </a:lnTo>
                <a:lnTo>
                  <a:pt x="2602446" y="428210"/>
                </a:lnTo>
                <a:lnTo>
                  <a:pt x="2604508" y="426261"/>
                </a:lnTo>
                <a:lnTo>
                  <a:pt x="2607763" y="425070"/>
                </a:lnTo>
                <a:lnTo>
                  <a:pt x="2613189" y="428968"/>
                </a:lnTo>
                <a:lnTo>
                  <a:pt x="2616662" y="434273"/>
                </a:lnTo>
                <a:lnTo>
                  <a:pt x="2614600" y="439145"/>
                </a:lnTo>
                <a:lnTo>
                  <a:pt x="2620025" y="435139"/>
                </a:lnTo>
                <a:lnTo>
                  <a:pt x="2628707" y="432865"/>
                </a:lnTo>
                <a:lnTo>
                  <a:pt x="2634567" y="435680"/>
                </a:lnTo>
                <a:lnTo>
                  <a:pt x="2635543" y="440335"/>
                </a:lnTo>
                <a:lnTo>
                  <a:pt x="2633156" y="443151"/>
                </a:lnTo>
                <a:lnTo>
                  <a:pt x="2630226" y="450838"/>
                </a:lnTo>
                <a:lnTo>
                  <a:pt x="2627621" y="451488"/>
                </a:lnTo>
                <a:lnTo>
                  <a:pt x="2626211" y="454736"/>
                </a:lnTo>
                <a:lnTo>
                  <a:pt x="2627621" y="456143"/>
                </a:lnTo>
                <a:lnTo>
                  <a:pt x="2631962" y="455710"/>
                </a:lnTo>
                <a:lnTo>
                  <a:pt x="2631311" y="459067"/>
                </a:lnTo>
                <a:lnTo>
                  <a:pt x="2627404" y="463398"/>
                </a:lnTo>
                <a:lnTo>
                  <a:pt x="2631854" y="463073"/>
                </a:lnTo>
                <a:lnTo>
                  <a:pt x="2634024" y="459933"/>
                </a:lnTo>
                <a:lnTo>
                  <a:pt x="2639884" y="456576"/>
                </a:lnTo>
                <a:lnTo>
                  <a:pt x="2643031" y="456360"/>
                </a:lnTo>
                <a:lnTo>
                  <a:pt x="2645201" y="455277"/>
                </a:lnTo>
                <a:lnTo>
                  <a:pt x="2647697" y="456576"/>
                </a:lnTo>
                <a:lnTo>
                  <a:pt x="2646612" y="461232"/>
                </a:lnTo>
                <a:lnTo>
                  <a:pt x="2647914" y="464372"/>
                </a:lnTo>
                <a:lnTo>
                  <a:pt x="2646178" y="472276"/>
                </a:lnTo>
                <a:lnTo>
                  <a:pt x="2641078" y="481696"/>
                </a:lnTo>
                <a:lnTo>
                  <a:pt x="2636520" y="481804"/>
                </a:lnTo>
                <a:lnTo>
                  <a:pt x="2631745" y="484835"/>
                </a:lnTo>
                <a:lnTo>
                  <a:pt x="2628816" y="489924"/>
                </a:lnTo>
                <a:lnTo>
                  <a:pt x="2624366" y="493281"/>
                </a:lnTo>
                <a:lnTo>
                  <a:pt x="2622738" y="491765"/>
                </a:lnTo>
                <a:lnTo>
                  <a:pt x="2624366" y="486351"/>
                </a:lnTo>
                <a:lnTo>
                  <a:pt x="2625126" y="480720"/>
                </a:lnTo>
                <a:lnTo>
                  <a:pt x="2623932" y="479638"/>
                </a:lnTo>
                <a:lnTo>
                  <a:pt x="2620568" y="481804"/>
                </a:lnTo>
                <a:lnTo>
                  <a:pt x="2617204" y="488191"/>
                </a:lnTo>
                <a:lnTo>
                  <a:pt x="2613189" y="489275"/>
                </a:lnTo>
                <a:lnTo>
                  <a:pt x="2606678" y="495338"/>
                </a:lnTo>
                <a:lnTo>
                  <a:pt x="2604724" y="493930"/>
                </a:lnTo>
                <a:lnTo>
                  <a:pt x="2600167" y="493822"/>
                </a:lnTo>
                <a:lnTo>
                  <a:pt x="2592679" y="499668"/>
                </a:lnTo>
                <a:lnTo>
                  <a:pt x="2590509" y="498477"/>
                </a:lnTo>
                <a:lnTo>
                  <a:pt x="2586277" y="500318"/>
                </a:lnTo>
                <a:lnTo>
                  <a:pt x="2581610" y="500101"/>
                </a:lnTo>
                <a:lnTo>
                  <a:pt x="2580091" y="496745"/>
                </a:lnTo>
                <a:lnTo>
                  <a:pt x="2578030" y="495229"/>
                </a:lnTo>
                <a:lnTo>
                  <a:pt x="2582153" y="492089"/>
                </a:lnTo>
                <a:lnTo>
                  <a:pt x="2585300" y="487650"/>
                </a:lnTo>
                <a:lnTo>
                  <a:pt x="2585409" y="483861"/>
                </a:lnTo>
                <a:lnTo>
                  <a:pt x="2580417" y="476714"/>
                </a:lnTo>
                <a:lnTo>
                  <a:pt x="2577270" y="479855"/>
                </a:lnTo>
                <a:lnTo>
                  <a:pt x="2570651" y="477364"/>
                </a:lnTo>
                <a:lnTo>
                  <a:pt x="2569782" y="474441"/>
                </a:lnTo>
                <a:lnTo>
                  <a:pt x="2572278" y="468811"/>
                </a:lnTo>
                <a:lnTo>
                  <a:pt x="2575750" y="467837"/>
                </a:lnTo>
                <a:lnTo>
                  <a:pt x="2572929" y="466429"/>
                </a:lnTo>
                <a:lnTo>
                  <a:pt x="2569565" y="465455"/>
                </a:lnTo>
                <a:lnTo>
                  <a:pt x="2566852" y="458959"/>
                </a:lnTo>
                <a:lnTo>
                  <a:pt x="2568263" y="455169"/>
                </a:lnTo>
                <a:lnTo>
                  <a:pt x="2568480" y="450838"/>
                </a:lnTo>
                <a:lnTo>
                  <a:pt x="2566418" y="447049"/>
                </a:lnTo>
                <a:lnTo>
                  <a:pt x="2566418" y="452137"/>
                </a:lnTo>
                <a:lnTo>
                  <a:pt x="2563055" y="459716"/>
                </a:lnTo>
                <a:lnTo>
                  <a:pt x="2566961" y="466753"/>
                </a:lnTo>
                <a:lnTo>
                  <a:pt x="2567503" y="470110"/>
                </a:lnTo>
                <a:lnTo>
                  <a:pt x="2565008" y="472709"/>
                </a:lnTo>
                <a:lnTo>
                  <a:pt x="2564791" y="477906"/>
                </a:lnTo>
                <a:lnTo>
                  <a:pt x="2561752" y="479855"/>
                </a:lnTo>
                <a:lnTo>
                  <a:pt x="2557954" y="478230"/>
                </a:lnTo>
                <a:lnTo>
                  <a:pt x="2553939" y="479422"/>
                </a:lnTo>
                <a:lnTo>
                  <a:pt x="2550575" y="476065"/>
                </a:lnTo>
                <a:lnTo>
                  <a:pt x="2550032" y="473034"/>
                </a:lnTo>
                <a:lnTo>
                  <a:pt x="2553287" y="464480"/>
                </a:lnTo>
                <a:lnTo>
                  <a:pt x="2551660" y="460149"/>
                </a:lnTo>
                <a:lnTo>
                  <a:pt x="2552528" y="455818"/>
                </a:lnTo>
                <a:lnTo>
                  <a:pt x="2557085" y="451055"/>
                </a:lnTo>
                <a:lnTo>
                  <a:pt x="2552094" y="452029"/>
                </a:lnTo>
                <a:lnTo>
                  <a:pt x="2548730" y="455818"/>
                </a:lnTo>
                <a:lnTo>
                  <a:pt x="2547753" y="461557"/>
                </a:lnTo>
                <a:lnTo>
                  <a:pt x="2549598" y="466104"/>
                </a:lnTo>
                <a:lnTo>
                  <a:pt x="2545583" y="473358"/>
                </a:lnTo>
                <a:lnTo>
                  <a:pt x="2541568" y="474657"/>
                </a:lnTo>
                <a:lnTo>
                  <a:pt x="2537227" y="472059"/>
                </a:lnTo>
                <a:lnTo>
                  <a:pt x="2537444" y="468053"/>
                </a:lnTo>
                <a:lnTo>
                  <a:pt x="2535817" y="466213"/>
                </a:lnTo>
                <a:lnTo>
                  <a:pt x="2536142" y="462965"/>
                </a:lnTo>
                <a:lnTo>
                  <a:pt x="2538204" y="459175"/>
                </a:lnTo>
                <a:lnTo>
                  <a:pt x="2539072" y="456576"/>
                </a:lnTo>
                <a:lnTo>
                  <a:pt x="2537770" y="451596"/>
                </a:lnTo>
                <a:lnTo>
                  <a:pt x="2536142" y="451163"/>
                </a:lnTo>
                <a:lnTo>
                  <a:pt x="2535165" y="453328"/>
                </a:lnTo>
                <a:lnTo>
                  <a:pt x="2534406" y="458417"/>
                </a:lnTo>
                <a:lnTo>
                  <a:pt x="2531584" y="461016"/>
                </a:lnTo>
                <a:lnTo>
                  <a:pt x="2531476" y="464480"/>
                </a:lnTo>
                <a:lnTo>
                  <a:pt x="2530065" y="466429"/>
                </a:lnTo>
                <a:lnTo>
                  <a:pt x="2526267" y="466645"/>
                </a:lnTo>
                <a:lnTo>
                  <a:pt x="2525399" y="468053"/>
                </a:lnTo>
                <a:lnTo>
                  <a:pt x="2522252" y="468486"/>
                </a:lnTo>
                <a:lnTo>
                  <a:pt x="2521275" y="466104"/>
                </a:lnTo>
                <a:lnTo>
                  <a:pt x="2521384" y="462206"/>
                </a:lnTo>
                <a:lnTo>
                  <a:pt x="2519647" y="456143"/>
                </a:lnTo>
                <a:lnTo>
                  <a:pt x="2518454" y="454844"/>
                </a:lnTo>
                <a:lnTo>
                  <a:pt x="2516935" y="456252"/>
                </a:lnTo>
                <a:lnTo>
                  <a:pt x="2515090" y="461882"/>
                </a:lnTo>
                <a:lnTo>
                  <a:pt x="2516392" y="469677"/>
                </a:lnTo>
                <a:lnTo>
                  <a:pt x="2519647" y="475091"/>
                </a:lnTo>
                <a:lnTo>
                  <a:pt x="2518345" y="478555"/>
                </a:lnTo>
                <a:lnTo>
                  <a:pt x="2516284" y="478772"/>
                </a:lnTo>
                <a:lnTo>
                  <a:pt x="2512811" y="477256"/>
                </a:lnTo>
                <a:lnTo>
                  <a:pt x="2503913" y="476931"/>
                </a:lnTo>
                <a:lnTo>
                  <a:pt x="2503478" y="473142"/>
                </a:lnTo>
                <a:lnTo>
                  <a:pt x="2501308" y="472709"/>
                </a:lnTo>
                <a:lnTo>
                  <a:pt x="2494363" y="468053"/>
                </a:lnTo>
                <a:lnTo>
                  <a:pt x="2491324" y="468269"/>
                </a:lnTo>
                <a:lnTo>
                  <a:pt x="2490456" y="466645"/>
                </a:lnTo>
                <a:lnTo>
                  <a:pt x="2488503" y="465130"/>
                </a:lnTo>
                <a:lnTo>
                  <a:pt x="2486008" y="465130"/>
                </a:lnTo>
                <a:lnTo>
                  <a:pt x="2485465" y="462639"/>
                </a:lnTo>
                <a:lnTo>
                  <a:pt x="2487961" y="458851"/>
                </a:lnTo>
                <a:lnTo>
                  <a:pt x="2490023" y="458525"/>
                </a:lnTo>
                <a:lnTo>
                  <a:pt x="2492301" y="454519"/>
                </a:lnTo>
                <a:lnTo>
                  <a:pt x="2492084" y="451272"/>
                </a:lnTo>
                <a:lnTo>
                  <a:pt x="2488720" y="445100"/>
                </a:lnTo>
                <a:lnTo>
                  <a:pt x="2486876" y="443584"/>
                </a:lnTo>
                <a:lnTo>
                  <a:pt x="2486984" y="447157"/>
                </a:lnTo>
                <a:lnTo>
                  <a:pt x="2489046" y="449106"/>
                </a:lnTo>
                <a:lnTo>
                  <a:pt x="2489371" y="452896"/>
                </a:lnTo>
                <a:lnTo>
                  <a:pt x="2487961" y="455386"/>
                </a:lnTo>
                <a:lnTo>
                  <a:pt x="2484163" y="455277"/>
                </a:lnTo>
                <a:lnTo>
                  <a:pt x="2482860" y="456685"/>
                </a:lnTo>
                <a:lnTo>
                  <a:pt x="2483512" y="457551"/>
                </a:lnTo>
                <a:lnTo>
                  <a:pt x="2484054" y="460690"/>
                </a:lnTo>
                <a:lnTo>
                  <a:pt x="2481233" y="463722"/>
                </a:lnTo>
                <a:lnTo>
                  <a:pt x="2478954" y="463289"/>
                </a:lnTo>
                <a:lnTo>
                  <a:pt x="2475915" y="458309"/>
                </a:lnTo>
                <a:lnTo>
                  <a:pt x="2476024" y="455494"/>
                </a:lnTo>
                <a:lnTo>
                  <a:pt x="2475047" y="452570"/>
                </a:lnTo>
                <a:lnTo>
                  <a:pt x="2477435" y="446832"/>
                </a:lnTo>
                <a:lnTo>
                  <a:pt x="2476675" y="444775"/>
                </a:lnTo>
                <a:lnTo>
                  <a:pt x="2477000" y="441743"/>
                </a:lnTo>
                <a:lnTo>
                  <a:pt x="2474830" y="443909"/>
                </a:lnTo>
                <a:lnTo>
                  <a:pt x="2473636" y="447915"/>
                </a:lnTo>
                <a:lnTo>
                  <a:pt x="2471358" y="451812"/>
                </a:lnTo>
                <a:lnTo>
                  <a:pt x="2471900" y="453653"/>
                </a:lnTo>
                <a:lnTo>
                  <a:pt x="2471249" y="457443"/>
                </a:lnTo>
                <a:lnTo>
                  <a:pt x="2466474" y="457118"/>
                </a:lnTo>
                <a:lnTo>
                  <a:pt x="2463653" y="454736"/>
                </a:lnTo>
                <a:lnTo>
                  <a:pt x="2460940" y="454519"/>
                </a:lnTo>
                <a:lnTo>
                  <a:pt x="2459747" y="452354"/>
                </a:lnTo>
                <a:lnTo>
                  <a:pt x="2461700" y="448456"/>
                </a:lnTo>
                <a:lnTo>
                  <a:pt x="2462242" y="442935"/>
                </a:lnTo>
                <a:lnTo>
                  <a:pt x="2463653" y="441202"/>
                </a:lnTo>
                <a:lnTo>
                  <a:pt x="2463761" y="436980"/>
                </a:lnTo>
                <a:lnTo>
                  <a:pt x="2468645" y="427668"/>
                </a:lnTo>
                <a:lnTo>
                  <a:pt x="2465606" y="429509"/>
                </a:lnTo>
                <a:lnTo>
                  <a:pt x="2462242" y="430916"/>
                </a:lnTo>
                <a:lnTo>
                  <a:pt x="2460180" y="440227"/>
                </a:lnTo>
                <a:lnTo>
                  <a:pt x="2459855" y="446724"/>
                </a:lnTo>
                <a:lnTo>
                  <a:pt x="2456708" y="450296"/>
                </a:lnTo>
                <a:lnTo>
                  <a:pt x="2455081" y="448998"/>
                </a:lnTo>
                <a:lnTo>
                  <a:pt x="2457467" y="444667"/>
                </a:lnTo>
                <a:lnTo>
                  <a:pt x="2457793" y="443476"/>
                </a:lnTo>
                <a:lnTo>
                  <a:pt x="2456382" y="443043"/>
                </a:lnTo>
                <a:lnTo>
                  <a:pt x="2453561" y="449431"/>
                </a:lnTo>
                <a:lnTo>
                  <a:pt x="2448243" y="449431"/>
                </a:lnTo>
                <a:lnTo>
                  <a:pt x="2446941" y="446399"/>
                </a:lnTo>
                <a:lnTo>
                  <a:pt x="2447050" y="440661"/>
                </a:lnTo>
                <a:lnTo>
                  <a:pt x="2445748" y="438062"/>
                </a:lnTo>
                <a:lnTo>
                  <a:pt x="2446616" y="434814"/>
                </a:lnTo>
                <a:lnTo>
                  <a:pt x="2451933" y="431458"/>
                </a:lnTo>
                <a:lnTo>
                  <a:pt x="2453127" y="428101"/>
                </a:lnTo>
                <a:lnTo>
                  <a:pt x="2452693" y="425719"/>
                </a:lnTo>
                <a:lnTo>
                  <a:pt x="2454212" y="421930"/>
                </a:lnTo>
                <a:lnTo>
                  <a:pt x="2457576" y="418574"/>
                </a:lnTo>
                <a:lnTo>
                  <a:pt x="2460940" y="417815"/>
                </a:lnTo>
                <a:lnTo>
                  <a:pt x="2463327" y="415975"/>
                </a:lnTo>
                <a:lnTo>
                  <a:pt x="2469947" y="415542"/>
                </a:lnTo>
                <a:lnTo>
                  <a:pt x="2472443" y="412294"/>
                </a:lnTo>
                <a:lnTo>
                  <a:pt x="2476675" y="410778"/>
                </a:lnTo>
                <a:lnTo>
                  <a:pt x="2479713" y="409803"/>
                </a:lnTo>
                <a:lnTo>
                  <a:pt x="2479822" y="406989"/>
                </a:lnTo>
                <a:lnTo>
                  <a:pt x="2481884" y="405040"/>
                </a:lnTo>
                <a:lnTo>
                  <a:pt x="2486008" y="404931"/>
                </a:lnTo>
                <a:lnTo>
                  <a:pt x="2492193" y="407530"/>
                </a:lnTo>
                <a:lnTo>
                  <a:pt x="2499789" y="407854"/>
                </a:lnTo>
                <a:lnTo>
                  <a:pt x="2502828" y="405906"/>
                </a:lnTo>
                <a:lnTo>
                  <a:pt x="2506517" y="406989"/>
                </a:lnTo>
                <a:lnTo>
                  <a:pt x="2508362" y="411536"/>
                </a:lnTo>
                <a:lnTo>
                  <a:pt x="2511834" y="411319"/>
                </a:lnTo>
                <a:lnTo>
                  <a:pt x="2512269" y="408613"/>
                </a:lnTo>
                <a:lnTo>
                  <a:pt x="2515090" y="408288"/>
                </a:lnTo>
                <a:lnTo>
                  <a:pt x="2519647" y="411969"/>
                </a:lnTo>
                <a:lnTo>
                  <a:pt x="2521710" y="410778"/>
                </a:lnTo>
                <a:lnTo>
                  <a:pt x="2525941" y="411211"/>
                </a:lnTo>
                <a:lnTo>
                  <a:pt x="2528003" y="409046"/>
                </a:lnTo>
                <a:lnTo>
                  <a:pt x="2526050" y="407422"/>
                </a:lnTo>
                <a:lnTo>
                  <a:pt x="2522578" y="408180"/>
                </a:lnTo>
                <a:lnTo>
                  <a:pt x="2519756" y="405256"/>
                </a:lnTo>
                <a:lnTo>
                  <a:pt x="2517369" y="405040"/>
                </a:lnTo>
                <a:lnTo>
                  <a:pt x="2517803" y="403308"/>
                </a:lnTo>
                <a:lnTo>
                  <a:pt x="2520842" y="401142"/>
                </a:lnTo>
                <a:lnTo>
                  <a:pt x="2521167" y="398760"/>
                </a:lnTo>
                <a:lnTo>
                  <a:pt x="2517477" y="397244"/>
                </a:lnTo>
                <a:lnTo>
                  <a:pt x="2518237" y="396054"/>
                </a:lnTo>
                <a:lnTo>
                  <a:pt x="2522903" y="396270"/>
                </a:lnTo>
                <a:lnTo>
                  <a:pt x="2523880" y="394862"/>
                </a:lnTo>
                <a:lnTo>
                  <a:pt x="2518779" y="393022"/>
                </a:lnTo>
                <a:lnTo>
                  <a:pt x="2517694" y="394429"/>
                </a:lnTo>
                <a:lnTo>
                  <a:pt x="2514439" y="394862"/>
                </a:lnTo>
                <a:lnTo>
                  <a:pt x="2511617" y="390856"/>
                </a:lnTo>
                <a:lnTo>
                  <a:pt x="2512486" y="388150"/>
                </a:lnTo>
                <a:lnTo>
                  <a:pt x="2516609" y="384901"/>
                </a:lnTo>
                <a:lnTo>
                  <a:pt x="2516717" y="382303"/>
                </a:lnTo>
                <a:lnTo>
                  <a:pt x="2514656" y="382195"/>
                </a:lnTo>
                <a:lnTo>
                  <a:pt x="2512919" y="378730"/>
                </a:lnTo>
                <a:lnTo>
                  <a:pt x="2513137" y="370718"/>
                </a:lnTo>
                <a:lnTo>
                  <a:pt x="2514439" y="369094"/>
                </a:lnTo>
                <a:lnTo>
                  <a:pt x="2513354" y="364979"/>
                </a:lnTo>
                <a:lnTo>
                  <a:pt x="2513896" y="360757"/>
                </a:lnTo>
                <a:lnTo>
                  <a:pt x="2517585" y="360432"/>
                </a:lnTo>
                <a:lnTo>
                  <a:pt x="2521710" y="359025"/>
                </a:lnTo>
                <a:lnTo>
                  <a:pt x="2526918" y="359242"/>
                </a:lnTo>
                <a:lnTo>
                  <a:pt x="2530174" y="358483"/>
                </a:lnTo>
                <a:lnTo>
                  <a:pt x="2534949" y="360216"/>
                </a:lnTo>
                <a:lnTo>
                  <a:pt x="2538963" y="360216"/>
                </a:lnTo>
                <a:lnTo>
                  <a:pt x="2543630" y="366279"/>
                </a:lnTo>
                <a:lnTo>
                  <a:pt x="2545800" y="375699"/>
                </a:lnTo>
                <a:lnTo>
                  <a:pt x="2546017" y="389124"/>
                </a:lnTo>
                <a:lnTo>
                  <a:pt x="2544064" y="395295"/>
                </a:lnTo>
                <a:lnTo>
                  <a:pt x="2546126" y="397352"/>
                </a:lnTo>
                <a:lnTo>
                  <a:pt x="2549164" y="395837"/>
                </a:lnTo>
                <a:lnTo>
                  <a:pt x="2557737" y="400492"/>
                </a:lnTo>
                <a:lnTo>
                  <a:pt x="2560884" y="406123"/>
                </a:lnTo>
                <a:lnTo>
                  <a:pt x="2563705" y="406989"/>
                </a:lnTo>
                <a:lnTo>
                  <a:pt x="2563705" y="403849"/>
                </a:lnTo>
                <a:lnTo>
                  <a:pt x="2573580" y="403741"/>
                </a:lnTo>
                <a:lnTo>
                  <a:pt x="2579766" y="409371"/>
                </a:lnTo>
                <a:lnTo>
                  <a:pt x="2582045" y="407530"/>
                </a:lnTo>
                <a:lnTo>
                  <a:pt x="2579223" y="404715"/>
                </a:lnTo>
                <a:lnTo>
                  <a:pt x="2582913" y="401683"/>
                </a:lnTo>
                <a:lnTo>
                  <a:pt x="2589966" y="398436"/>
                </a:lnTo>
                <a:lnTo>
                  <a:pt x="2594741" y="391506"/>
                </a:lnTo>
                <a:lnTo>
                  <a:pt x="2603748" y="385984"/>
                </a:lnTo>
                <a:lnTo>
                  <a:pt x="2611670" y="377647"/>
                </a:lnTo>
                <a:lnTo>
                  <a:pt x="2611995" y="373100"/>
                </a:lnTo>
                <a:lnTo>
                  <a:pt x="2615250" y="370393"/>
                </a:lnTo>
                <a:lnTo>
                  <a:pt x="2611778" y="370177"/>
                </a:lnTo>
                <a:lnTo>
                  <a:pt x="2608848" y="373100"/>
                </a:lnTo>
                <a:lnTo>
                  <a:pt x="2608523" y="376890"/>
                </a:lnTo>
                <a:lnTo>
                  <a:pt x="2600818" y="385009"/>
                </a:lnTo>
                <a:lnTo>
                  <a:pt x="2595609" y="388150"/>
                </a:lnTo>
                <a:lnTo>
                  <a:pt x="2595609" y="389666"/>
                </a:lnTo>
                <a:lnTo>
                  <a:pt x="2588447" y="395837"/>
                </a:lnTo>
                <a:lnTo>
                  <a:pt x="2580417" y="398868"/>
                </a:lnTo>
                <a:lnTo>
                  <a:pt x="2577704" y="396920"/>
                </a:lnTo>
                <a:lnTo>
                  <a:pt x="2574991" y="396703"/>
                </a:lnTo>
                <a:lnTo>
                  <a:pt x="2574449" y="398111"/>
                </a:lnTo>
                <a:lnTo>
                  <a:pt x="2569023" y="398111"/>
                </a:lnTo>
                <a:lnTo>
                  <a:pt x="2562620" y="394538"/>
                </a:lnTo>
                <a:lnTo>
                  <a:pt x="2563055" y="391614"/>
                </a:lnTo>
                <a:lnTo>
                  <a:pt x="2566852" y="388475"/>
                </a:lnTo>
                <a:lnTo>
                  <a:pt x="2571193" y="385551"/>
                </a:lnTo>
                <a:lnTo>
                  <a:pt x="2571736" y="381220"/>
                </a:lnTo>
                <a:lnTo>
                  <a:pt x="2566526" y="385118"/>
                </a:lnTo>
                <a:lnTo>
                  <a:pt x="2564682" y="388150"/>
                </a:lnTo>
                <a:lnTo>
                  <a:pt x="2560884" y="387933"/>
                </a:lnTo>
                <a:lnTo>
                  <a:pt x="2557954" y="382303"/>
                </a:lnTo>
                <a:lnTo>
                  <a:pt x="2557954" y="380138"/>
                </a:lnTo>
                <a:lnTo>
                  <a:pt x="2560992" y="379705"/>
                </a:lnTo>
                <a:lnTo>
                  <a:pt x="2565008" y="377647"/>
                </a:lnTo>
                <a:lnTo>
                  <a:pt x="2565550" y="376023"/>
                </a:lnTo>
                <a:lnTo>
                  <a:pt x="2561426" y="375915"/>
                </a:lnTo>
                <a:lnTo>
                  <a:pt x="2561426" y="373750"/>
                </a:lnTo>
                <a:lnTo>
                  <a:pt x="2563923" y="371909"/>
                </a:lnTo>
                <a:lnTo>
                  <a:pt x="2567286" y="373317"/>
                </a:lnTo>
                <a:lnTo>
                  <a:pt x="2570651" y="372992"/>
                </a:lnTo>
                <a:lnTo>
                  <a:pt x="2571084" y="370177"/>
                </a:lnTo>
                <a:lnTo>
                  <a:pt x="2567178" y="370177"/>
                </a:lnTo>
                <a:lnTo>
                  <a:pt x="2564465" y="368444"/>
                </a:lnTo>
                <a:lnTo>
                  <a:pt x="2562620" y="370934"/>
                </a:lnTo>
                <a:lnTo>
                  <a:pt x="2558930" y="370610"/>
                </a:lnTo>
                <a:lnTo>
                  <a:pt x="2557194" y="367145"/>
                </a:lnTo>
                <a:lnTo>
                  <a:pt x="2558713" y="364546"/>
                </a:lnTo>
                <a:lnTo>
                  <a:pt x="2562620" y="363572"/>
                </a:lnTo>
                <a:lnTo>
                  <a:pt x="2565658" y="361407"/>
                </a:lnTo>
                <a:lnTo>
                  <a:pt x="2570433" y="361840"/>
                </a:lnTo>
                <a:lnTo>
                  <a:pt x="2575317" y="363680"/>
                </a:lnTo>
                <a:lnTo>
                  <a:pt x="2578898" y="361407"/>
                </a:lnTo>
                <a:lnTo>
                  <a:pt x="2573580" y="361407"/>
                </a:lnTo>
                <a:lnTo>
                  <a:pt x="2572712" y="358916"/>
                </a:lnTo>
                <a:lnTo>
                  <a:pt x="2576836" y="354585"/>
                </a:lnTo>
                <a:lnTo>
                  <a:pt x="2580308" y="354369"/>
                </a:lnTo>
                <a:lnTo>
                  <a:pt x="2581828" y="352312"/>
                </a:lnTo>
                <a:lnTo>
                  <a:pt x="2578247" y="352312"/>
                </a:lnTo>
                <a:lnTo>
                  <a:pt x="2578030" y="349930"/>
                </a:lnTo>
                <a:lnTo>
                  <a:pt x="2580960" y="345491"/>
                </a:lnTo>
                <a:lnTo>
                  <a:pt x="2585083" y="344733"/>
                </a:lnTo>
                <a:lnTo>
                  <a:pt x="2583238" y="340944"/>
                </a:lnTo>
                <a:lnTo>
                  <a:pt x="2589098" y="332173"/>
                </a:lnTo>
                <a:lnTo>
                  <a:pt x="2593005" y="329792"/>
                </a:lnTo>
                <a:lnTo>
                  <a:pt x="2594090" y="326761"/>
                </a:lnTo>
                <a:lnTo>
                  <a:pt x="2589966" y="327410"/>
                </a:lnTo>
                <a:lnTo>
                  <a:pt x="2583346" y="335530"/>
                </a:lnTo>
                <a:lnTo>
                  <a:pt x="2578247" y="345275"/>
                </a:lnTo>
                <a:lnTo>
                  <a:pt x="2571193" y="350904"/>
                </a:lnTo>
                <a:lnTo>
                  <a:pt x="2565441" y="356751"/>
                </a:lnTo>
                <a:lnTo>
                  <a:pt x="2561643" y="355561"/>
                </a:lnTo>
                <a:lnTo>
                  <a:pt x="2554590" y="355777"/>
                </a:lnTo>
                <a:lnTo>
                  <a:pt x="2554481" y="352637"/>
                </a:lnTo>
                <a:lnTo>
                  <a:pt x="2558062" y="347548"/>
                </a:lnTo>
                <a:lnTo>
                  <a:pt x="2563055" y="345275"/>
                </a:lnTo>
                <a:lnTo>
                  <a:pt x="2563055" y="340618"/>
                </a:lnTo>
                <a:lnTo>
                  <a:pt x="2556000" y="345816"/>
                </a:lnTo>
                <a:lnTo>
                  <a:pt x="2549815" y="345166"/>
                </a:lnTo>
                <a:lnTo>
                  <a:pt x="2549924" y="348522"/>
                </a:lnTo>
                <a:lnTo>
                  <a:pt x="2546017" y="351338"/>
                </a:lnTo>
                <a:lnTo>
                  <a:pt x="2539615" y="350796"/>
                </a:lnTo>
                <a:lnTo>
                  <a:pt x="2533646" y="345275"/>
                </a:lnTo>
                <a:lnTo>
                  <a:pt x="2536685" y="342893"/>
                </a:lnTo>
                <a:lnTo>
                  <a:pt x="2541025" y="342351"/>
                </a:lnTo>
                <a:lnTo>
                  <a:pt x="2539506" y="339969"/>
                </a:lnTo>
                <a:lnTo>
                  <a:pt x="2536685" y="339753"/>
                </a:lnTo>
                <a:lnTo>
                  <a:pt x="2537553" y="334664"/>
                </a:lnTo>
                <a:lnTo>
                  <a:pt x="2543304" y="330008"/>
                </a:lnTo>
                <a:lnTo>
                  <a:pt x="2543955" y="326327"/>
                </a:lnTo>
                <a:lnTo>
                  <a:pt x="2549164" y="324270"/>
                </a:lnTo>
                <a:lnTo>
                  <a:pt x="2553396" y="321239"/>
                </a:lnTo>
                <a:lnTo>
                  <a:pt x="2558280" y="320589"/>
                </a:lnTo>
                <a:lnTo>
                  <a:pt x="2558605" y="314850"/>
                </a:lnTo>
                <a:lnTo>
                  <a:pt x="2561860" y="308679"/>
                </a:lnTo>
                <a:lnTo>
                  <a:pt x="2568371" y="300775"/>
                </a:lnTo>
                <a:lnTo>
                  <a:pt x="2572169" y="302183"/>
                </a:lnTo>
                <a:lnTo>
                  <a:pt x="2581502" y="300017"/>
                </a:lnTo>
                <a:lnTo>
                  <a:pt x="2588339" y="301749"/>
                </a:lnTo>
                <a:lnTo>
                  <a:pt x="2592028" y="299693"/>
                </a:lnTo>
                <a:lnTo>
                  <a:pt x="2595826" y="299909"/>
                </a:lnTo>
                <a:lnTo>
                  <a:pt x="2600601" y="296661"/>
                </a:lnTo>
                <a:lnTo>
                  <a:pt x="2604291" y="296120"/>
                </a:lnTo>
                <a:lnTo>
                  <a:pt x="2604941" y="297852"/>
                </a:lnTo>
                <a:lnTo>
                  <a:pt x="2610802" y="304023"/>
                </a:lnTo>
                <a:lnTo>
                  <a:pt x="2613840" y="304240"/>
                </a:lnTo>
                <a:lnTo>
                  <a:pt x="2624366" y="311278"/>
                </a:lnTo>
                <a:lnTo>
                  <a:pt x="2626103" y="315067"/>
                </a:lnTo>
                <a:lnTo>
                  <a:pt x="2628816" y="318965"/>
                </a:lnTo>
                <a:lnTo>
                  <a:pt x="2631637" y="318857"/>
                </a:lnTo>
                <a:lnTo>
                  <a:pt x="2638039" y="328601"/>
                </a:lnTo>
                <a:lnTo>
                  <a:pt x="2637822" y="321780"/>
                </a:lnTo>
                <a:lnTo>
                  <a:pt x="2642488" y="321347"/>
                </a:lnTo>
                <a:lnTo>
                  <a:pt x="2641620" y="318315"/>
                </a:lnTo>
                <a:lnTo>
                  <a:pt x="2635977" y="317774"/>
                </a:lnTo>
                <a:lnTo>
                  <a:pt x="2633699" y="316908"/>
                </a:lnTo>
                <a:lnTo>
                  <a:pt x="2633590" y="313010"/>
                </a:lnTo>
                <a:lnTo>
                  <a:pt x="2638039" y="311386"/>
                </a:lnTo>
                <a:lnTo>
                  <a:pt x="2648023" y="311386"/>
                </a:lnTo>
                <a:lnTo>
                  <a:pt x="2652689" y="313768"/>
                </a:lnTo>
                <a:lnTo>
                  <a:pt x="2654208" y="311819"/>
                </a:lnTo>
                <a:lnTo>
                  <a:pt x="2654534" y="306297"/>
                </a:lnTo>
                <a:lnTo>
                  <a:pt x="2656921" y="301641"/>
                </a:lnTo>
                <a:lnTo>
                  <a:pt x="2656595" y="298393"/>
                </a:lnTo>
                <a:lnTo>
                  <a:pt x="2653882" y="299584"/>
                </a:lnTo>
                <a:lnTo>
                  <a:pt x="2653123" y="303374"/>
                </a:lnTo>
                <a:lnTo>
                  <a:pt x="2648348" y="306622"/>
                </a:lnTo>
                <a:lnTo>
                  <a:pt x="2644876" y="309870"/>
                </a:lnTo>
                <a:lnTo>
                  <a:pt x="2635977" y="306622"/>
                </a:lnTo>
                <a:lnTo>
                  <a:pt x="2628816" y="306406"/>
                </a:lnTo>
                <a:lnTo>
                  <a:pt x="2625994" y="302833"/>
                </a:lnTo>
                <a:lnTo>
                  <a:pt x="2622304" y="300775"/>
                </a:lnTo>
                <a:lnTo>
                  <a:pt x="2615250" y="301641"/>
                </a:lnTo>
                <a:lnTo>
                  <a:pt x="2609607" y="290923"/>
                </a:lnTo>
                <a:lnTo>
                  <a:pt x="2609391" y="282911"/>
                </a:lnTo>
                <a:lnTo>
                  <a:pt x="2611995" y="280529"/>
                </a:lnTo>
                <a:lnTo>
                  <a:pt x="2616770" y="283019"/>
                </a:lnTo>
                <a:lnTo>
                  <a:pt x="2617855" y="287674"/>
                </a:lnTo>
                <a:lnTo>
                  <a:pt x="2619917" y="290923"/>
                </a:lnTo>
                <a:lnTo>
                  <a:pt x="2623173" y="285509"/>
                </a:lnTo>
                <a:lnTo>
                  <a:pt x="2624691" y="279121"/>
                </a:lnTo>
                <a:lnTo>
                  <a:pt x="2621328" y="279988"/>
                </a:lnTo>
                <a:lnTo>
                  <a:pt x="2619700" y="278580"/>
                </a:lnTo>
                <a:lnTo>
                  <a:pt x="2619375" y="273817"/>
                </a:lnTo>
                <a:lnTo>
                  <a:pt x="2623389" y="266237"/>
                </a:lnTo>
                <a:lnTo>
                  <a:pt x="2623173" y="259850"/>
                </a:lnTo>
                <a:lnTo>
                  <a:pt x="2626428" y="252595"/>
                </a:lnTo>
                <a:lnTo>
                  <a:pt x="2625126" y="239927"/>
                </a:lnTo>
                <a:lnTo>
                  <a:pt x="2622846" y="233215"/>
                </a:lnTo>
                <a:lnTo>
                  <a:pt x="2620243" y="230941"/>
                </a:lnTo>
                <a:lnTo>
                  <a:pt x="2618289" y="226069"/>
                </a:lnTo>
                <a:lnTo>
                  <a:pt x="2619157" y="222495"/>
                </a:lnTo>
                <a:lnTo>
                  <a:pt x="2621979" y="221413"/>
                </a:lnTo>
                <a:lnTo>
                  <a:pt x="2624475" y="220222"/>
                </a:lnTo>
                <a:lnTo>
                  <a:pt x="2627079" y="222821"/>
                </a:lnTo>
                <a:lnTo>
                  <a:pt x="2630769" y="223687"/>
                </a:lnTo>
                <a:lnTo>
                  <a:pt x="2633590" y="228992"/>
                </a:lnTo>
                <a:lnTo>
                  <a:pt x="2635218" y="228342"/>
                </a:lnTo>
                <a:lnTo>
                  <a:pt x="2635109" y="224661"/>
                </a:lnTo>
                <a:lnTo>
                  <a:pt x="2632722" y="219031"/>
                </a:lnTo>
                <a:lnTo>
                  <a:pt x="2627730" y="217515"/>
                </a:lnTo>
                <a:lnTo>
                  <a:pt x="2624800" y="215025"/>
                </a:lnTo>
                <a:lnTo>
                  <a:pt x="2624583" y="210695"/>
                </a:lnTo>
                <a:lnTo>
                  <a:pt x="2626319" y="205172"/>
                </a:lnTo>
                <a:lnTo>
                  <a:pt x="2641078" y="189040"/>
                </a:lnTo>
                <a:lnTo>
                  <a:pt x="2647806" y="187524"/>
                </a:lnTo>
                <a:lnTo>
                  <a:pt x="2652255" y="189365"/>
                </a:lnTo>
                <a:lnTo>
                  <a:pt x="2653991" y="193804"/>
                </a:lnTo>
                <a:lnTo>
                  <a:pt x="2659525" y="198135"/>
                </a:lnTo>
                <a:lnTo>
                  <a:pt x="2663649" y="198135"/>
                </a:lnTo>
                <a:lnTo>
                  <a:pt x="2673958" y="205064"/>
                </a:lnTo>
                <a:lnTo>
                  <a:pt x="2673958" y="210153"/>
                </a:lnTo>
                <a:lnTo>
                  <a:pt x="2679493" y="216541"/>
                </a:lnTo>
                <a:lnTo>
                  <a:pt x="2682097" y="228018"/>
                </a:lnTo>
                <a:lnTo>
                  <a:pt x="2681446" y="236462"/>
                </a:lnTo>
                <a:lnTo>
                  <a:pt x="2682423" y="244583"/>
                </a:lnTo>
                <a:lnTo>
                  <a:pt x="2685895" y="249239"/>
                </a:lnTo>
                <a:lnTo>
                  <a:pt x="2687414" y="246748"/>
                </a:lnTo>
                <a:lnTo>
                  <a:pt x="2689367" y="246423"/>
                </a:lnTo>
                <a:lnTo>
                  <a:pt x="2693817" y="250538"/>
                </a:lnTo>
                <a:lnTo>
                  <a:pt x="2694685" y="254868"/>
                </a:lnTo>
                <a:lnTo>
                  <a:pt x="2695878" y="251729"/>
                </a:lnTo>
                <a:lnTo>
                  <a:pt x="2699134" y="249888"/>
                </a:lnTo>
                <a:lnTo>
                  <a:pt x="2704343" y="250429"/>
                </a:lnTo>
                <a:lnTo>
                  <a:pt x="2700545" y="248048"/>
                </a:lnTo>
                <a:lnTo>
                  <a:pt x="2694685" y="247182"/>
                </a:lnTo>
                <a:lnTo>
                  <a:pt x="2691429" y="242850"/>
                </a:lnTo>
                <a:lnTo>
                  <a:pt x="2687957" y="240577"/>
                </a:lnTo>
                <a:lnTo>
                  <a:pt x="2687848" y="237870"/>
                </a:lnTo>
                <a:lnTo>
                  <a:pt x="2692406" y="232890"/>
                </a:lnTo>
                <a:lnTo>
                  <a:pt x="2691972" y="229750"/>
                </a:lnTo>
                <a:lnTo>
                  <a:pt x="2691429" y="212752"/>
                </a:lnTo>
                <a:lnTo>
                  <a:pt x="2689910" y="208096"/>
                </a:lnTo>
                <a:lnTo>
                  <a:pt x="2691429" y="202791"/>
                </a:lnTo>
                <a:lnTo>
                  <a:pt x="2700328" y="202249"/>
                </a:lnTo>
                <a:lnTo>
                  <a:pt x="2703475" y="204306"/>
                </a:lnTo>
                <a:lnTo>
                  <a:pt x="2710311" y="206147"/>
                </a:lnTo>
                <a:lnTo>
                  <a:pt x="2717040" y="206689"/>
                </a:lnTo>
                <a:lnTo>
                  <a:pt x="2724636" y="209395"/>
                </a:lnTo>
                <a:lnTo>
                  <a:pt x="2733642" y="209179"/>
                </a:lnTo>
                <a:lnTo>
                  <a:pt x="2741021" y="205714"/>
                </a:lnTo>
                <a:lnTo>
                  <a:pt x="2745362" y="206363"/>
                </a:lnTo>
                <a:lnTo>
                  <a:pt x="2749811" y="210153"/>
                </a:lnTo>
                <a:lnTo>
                  <a:pt x="2759253" y="211127"/>
                </a:lnTo>
                <a:lnTo>
                  <a:pt x="2763701" y="214051"/>
                </a:lnTo>
                <a:lnTo>
                  <a:pt x="2768694" y="212535"/>
                </a:lnTo>
                <a:lnTo>
                  <a:pt x="2768585" y="210153"/>
                </a:lnTo>
                <a:lnTo>
                  <a:pt x="2764353" y="207230"/>
                </a:lnTo>
                <a:lnTo>
                  <a:pt x="2757950" y="207230"/>
                </a:lnTo>
                <a:lnTo>
                  <a:pt x="2750679" y="205714"/>
                </a:lnTo>
                <a:lnTo>
                  <a:pt x="2748726" y="203007"/>
                </a:lnTo>
                <a:lnTo>
                  <a:pt x="2749485" y="201491"/>
                </a:lnTo>
                <a:lnTo>
                  <a:pt x="2753067" y="201383"/>
                </a:lnTo>
                <a:lnTo>
                  <a:pt x="2760012" y="198676"/>
                </a:lnTo>
                <a:lnTo>
                  <a:pt x="2776398" y="196944"/>
                </a:lnTo>
                <a:lnTo>
                  <a:pt x="2787358" y="196077"/>
                </a:lnTo>
                <a:lnTo>
                  <a:pt x="2796148" y="199218"/>
                </a:lnTo>
                <a:lnTo>
                  <a:pt x="2801574" y="203657"/>
                </a:lnTo>
                <a:lnTo>
                  <a:pt x="2805480" y="201600"/>
                </a:lnTo>
                <a:lnTo>
                  <a:pt x="2811340" y="200409"/>
                </a:lnTo>
                <a:lnTo>
                  <a:pt x="2808410" y="197485"/>
                </a:lnTo>
                <a:lnTo>
                  <a:pt x="2805806" y="197594"/>
                </a:lnTo>
                <a:lnTo>
                  <a:pt x="2801682" y="195536"/>
                </a:lnTo>
                <a:lnTo>
                  <a:pt x="2801791" y="192938"/>
                </a:lnTo>
                <a:lnTo>
                  <a:pt x="2797233" y="190231"/>
                </a:lnTo>
                <a:lnTo>
                  <a:pt x="2791374" y="190015"/>
                </a:lnTo>
                <a:lnTo>
                  <a:pt x="2788226" y="187957"/>
                </a:lnTo>
                <a:lnTo>
                  <a:pt x="2775855" y="189257"/>
                </a:lnTo>
                <a:lnTo>
                  <a:pt x="2775638" y="187308"/>
                </a:lnTo>
                <a:lnTo>
                  <a:pt x="2778026" y="185034"/>
                </a:lnTo>
                <a:lnTo>
                  <a:pt x="2780956" y="178755"/>
                </a:lnTo>
                <a:lnTo>
                  <a:pt x="2786381" y="177997"/>
                </a:lnTo>
                <a:lnTo>
                  <a:pt x="2791374" y="173774"/>
                </a:lnTo>
                <a:lnTo>
                  <a:pt x="2793760" y="167494"/>
                </a:lnTo>
                <a:lnTo>
                  <a:pt x="2806349" y="160024"/>
                </a:lnTo>
                <a:lnTo>
                  <a:pt x="2813402" y="159590"/>
                </a:lnTo>
                <a:lnTo>
                  <a:pt x="2824796" y="154177"/>
                </a:lnTo>
                <a:lnTo>
                  <a:pt x="2824905" y="151254"/>
                </a:lnTo>
                <a:lnTo>
                  <a:pt x="2811340" y="156667"/>
                </a:lnTo>
                <a:lnTo>
                  <a:pt x="2802333" y="157533"/>
                </a:lnTo>
                <a:lnTo>
                  <a:pt x="2789637" y="167061"/>
                </a:lnTo>
                <a:lnTo>
                  <a:pt x="2789420" y="172042"/>
                </a:lnTo>
                <a:lnTo>
                  <a:pt x="2787032" y="172042"/>
                </a:lnTo>
                <a:lnTo>
                  <a:pt x="2785296" y="167169"/>
                </a:lnTo>
                <a:lnTo>
                  <a:pt x="2783451" y="166845"/>
                </a:lnTo>
                <a:lnTo>
                  <a:pt x="2780304" y="171500"/>
                </a:lnTo>
                <a:lnTo>
                  <a:pt x="2775964" y="172042"/>
                </a:lnTo>
                <a:lnTo>
                  <a:pt x="2769779" y="179404"/>
                </a:lnTo>
                <a:lnTo>
                  <a:pt x="2772383" y="179620"/>
                </a:lnTo>
                <a:lnTo>
                  <a:pt x="2773251" y="181786"/>
                </a:lnTo>
                <a:lnTo>
                  <a:pt x="2764678" y="188391"/>
                </a:lnTo>
                <a:lnTo>
                  <a:pt x="2759686" y="189257"/>
                </a:lnTo>
                <a:lnTo>
                  <a:pt x="2742541" y="196077"/>
                </a:lnTo>
                <a:lnTo>
                  <a:pt x="2737440" y="197160"/>
                </a:lnTo>
                <a:lnTo>
                  <a:pt x="2732883" y="196294"/>
                </a:lnTo>
                <a:lnTo>
                  <a:pt x="2718993" y="196619"/>
                </a:lnTo>
                <a:lnTo>
                  <a:pt x="2712807" y="190448"/>
                </a:lnTo>
                <a:lnTo>
                  <a:pt x="2706079" y="191206"/>
                </a:lnTo>
                <a:lnTo>
                  <a:pt x="2702281" y="190557"/>
                </a:lnTo>
                <a:lnTo>
                  <a:pt x="2701738" y="186659"/>
                </a:lnTo>
                <a:lnTo>
                  <a:pt x="2708141" y="180812"/>
                </a:lnTo>
                <a:lnTo>
                  <a:pt x="2714327" y="180595"/>
                </a:lnTo>
                <a:lnTo>
                  <a:pt x="2718450" y="178863"/>
                </a:lnTo>
                <a:lnTo>
                  <a:pt x="2727131" y="177888"/>
                </a:lnTo>
                <a:lnTo>
                  <a:pt x="2731255" y="173774"/>
                </a:lnTo>
                <a:lnTo>
                  <a:pt x="2727782" y="173449"/>
                </a:lnTo>
                <a:lnTo>
                  <a:pt x="2721923" y="175614"/>
                </a:lnTo>
                <a:lnTo>
                  <a:pt x="2716605" y="174965"/>
                </a:lnTo>
                <a:lnTo>
                  <a:pt x="2710202" y="177455"/>
                </a:lnTo>
                <a:lnTo>
                  <a:pt x="2705754" y="176264"/>
                </a:lnTo>
                <a:lnTo>
                  <a:pt x="2705754" y="172367"/>
                </a:lnTo>
                <a:lnTo>
                  <a:pt x="2711397" y="169443"/>
                </a:lnTo>
                <a:lnTo>
                  <a:pt x="2707272" y="168902"/>
                </a:lnTo>
                <a:lnTo>
                  <a:pt x="2699676" y="170959"/>
                </a:lnTo>
                <a:lnTo>
                  <a:pt x="2699025" y="177888"/>
                </a:lnTo>
                <a:lnTo>
                  <a:pt x="2692080" y="184709"/>
                </a:lnTo>
                <a:lnTo>
                  <a:pt x="2684701" y="185034"/>
                </a:lnTo>
                <a:lnTo>
                  <a:pt x="2674392" y="181786"/>
                </a:lnTo>
                <a:lnTo>
                  <a:pt x="2665168" y="181461"/>
                </a:lnTo>
                <a:lnTo>
                  <a:pt x="2661045" y="176806"/>
                </a:lnTo>
                <a:lnTo>
                  <a:pt x="2661153" y="173991"/>
                </a:lnTo>
                <a:lnTo>
                  <a:pt x="2655510" y="173666"/>
                </a:lnTo>
                <a:lnTo>
                  <a:pt x="2650410" y="169551"/>
                </a:lnTo>
                <a:lnTo>
                  <a:pt x="2650844" y="166953"/>
                </a:lnTo>
                <a:lnTo>
                  <a:pt x="2654859" y="163705"/>
                </a:lnTo>
                <a:lnTo>
                  <a:pt x="2658115" y="157967"/>
                </a:lnTo>
                <a:lnTo>
                  <a:pt x="2665277" y="153853"/>
                </a:lnTo>
                <a:lnTo>
                  <a:pt x="2669617" y="148439"/>
                </a:lnTo>
                <a:lnTo>
                  <a:pt x="2676237" y="144758"/>
                </a:lnTo>
                <a:lnTo>
                  <a:pt x="2678950" y="141618"/>
                </a:lnTo>
                <a:lnTo>
                  <a:pt x="2683833" y="142917"/>
                </a:lnTo>
                <a:lnTo>
                  <a:pt x="2693491" y="143675"/>
                </a:lnTo>
                <a:lnTo>
                  <a:pt x="2696421" y="142051"/>
                </a:lnTo>
                <a:lnTo>
                  <a:pt x="2701088" y="142376"/>
                </a:lnTo>
                <a:lnTo>
                  <a:pt x="2709877" y="147464"/>
                </a:lnTo>
                <a:lnTo>
                  <a:pt x="2718016" y="147681"/>
                </a:lnTo>
                <a:lnTo>
                  <a:pt x="2722248" y="149088"/>
                </a:lnTo>
                <a:lnTo>
                  <a:pt x="2729953" y="148114"/>
                </a:lnTo>
                <a:lnTo>
                  <a:pt x="2731038" y="146706"/>
                </a:lnTo>
                <a:lnTo>
                  <a:pt x="2727566" y="144433"/>
                </a:lnTo>
                <a:lnTo>
                  <a:pt x="2718341" y="145082"/>
                </a:lnTo>
                <a:lnTo>
                  <a:pt x="2708358" y="143133"/>
                </a:lnTo>
                <a:lnTo>
                  <a:pt x="2702281" y="139561"/>
                </a:lnTo>
                <a:lnTo>
                  <a:pt x="2695987" y="139344"/>
                </a:lnTo>
                <a:lnTo>
                  <a:pt x="2686872" y="140319"/>
                </a:lnTo>
                <a:lnTo>
                  <a:pt x="2676671" y="138153"/>
                </a:lnTo>
                <a:lnTo>
                  <a:pt x="2673958" y="137937"/>
                </a:lnTo>
                <a:lnTo>
                  <a:pt x="2671571" y="141076"/>
                </a:lnTo>
                <a:lnTo>
                  <a:pt x="2666579" y="146382"/>
                </a:lnTo>
                <a:lnTo>
                  <a:pt x="2658440" y="151470"/>
                </a:lnTo>
                <a:lnTo>
                  <a:pt x="2649542" y="155584"/>
                </a:lnTo>
                <a:lnTo>
                  <a:pt x="2644008" y="162947"/>
                </a:lnTo>
                <a:lnTo>
                  <a:pt x="2642163" y="163813"/>
                </a:lnTo>
                <a:lnTo>
                  <a:pt x="2638148" y="162081"/>
                </a:lnTo>
                <a:lnTo>
                  <a:pt x="2631854" y="153636"/>
                </a:lnTo>
                <a:lnTo>
                  <a:pt x="2628816" y="152878"/>
                </a:lnTo>
                <a:lnTo>
                  <a:pt x="2626103" y="150280"/>
                </a:lnTo>
                <a:lnTo>
                  <a:pt x="2624258" y="144324"/>
                </a:lnTo>
                <a:lnTo>
                  <a:pt x="2624041" y="137504"/>
                </a:lnTo>
                <a:lnTo>
                  <a:pt x="2621653" y="134797"/>
                </a:lnTo>
                <a:lnTo>
                  <a:pt x="2621111" y="128517"/>
                </a:lnTo>
                <a:lnTo>
                  <a:pt x="2623064" y="126568"/>
                </a:lnTo>
                <a:lnTo>
                  <a:pt x="2627621" y="127651"/>
                </a:lnTo>
                <a:lnTo>
                  <a:pt x="2632505" y="126568"/>
                </a:lnTo>
                <a:lnTo>
                  <a:pt x="2635435" y="128625"/>
                </a:lnTo>
                <a:lnTo>
                  <a:pt x="2649542" y="128409"/>
                </a:lnTo>
                <a:lnTo>
                  <a:pt x="2656704" y="133281"/>
                </a:lnTo>
                <a:lnTo>
                  <a:pt x="2660936" y="133389"/>
                </a:lnTo>
                <a:lnTo>
                  <a:pt x="2663432" y="135013"/>
                </a:lnTo>
                <a:lnTo>
                  <a:pt x="2667772" y="135339"/>
                </a:lnTo>
                <a:lnTo>
                  <a:pt x="2673524" y="132415"/>
                </a:lnTo>
                <a:lnTo>
                  <a:pt x="2679384" y="134255"/>
                </a:lnTo>
                <a:lnTo>
                  <a:pt x="2680795" y="132848"/>
                </a:lnTo>
                <a:lnTo>
                  <a:pt x="2685461" y="131657"/>
                </a:lnTo>
                <a:lnTo>
                  <a:pt x="2688174" y="129708"/>
                </a:lnTo>
                <a:lnTo>
                  <a:pt x="2697832" y="127543"/>
                </a:lnTo>
                <a:lnTo>
                  <a:pt x="2706730" y="126027"/>
                </a:lnTo>
                <a:lnTo>
                  <a:pt x="2707924" y="123320"/>
                </a:lnTo>
                <a:lnTo>
                  <a:pt x="2707599" y="120397"/>
                </a:lnTo>
                <a:lnTo>
                  <a:pt x="2704777" y="121372"/>
                </a:lnTo>
                <a:lnTo>
                  <a:pt x="2702173" y="122129"/>
                </a:lnTo>
                <a:lnTo>
                  <a:pt x="2698917" y="124078"/>
                </a:lnTo>
                <a:lnTo>
                  <a:pt x="2692949" y="125486"/>
                </a:lnTo>
                <a:lnTo>
                  <a:pt x="2683291" y="124836"/>
                </a:lnTo>
                <a:lnTo>
                  <a:pt x="2676020" y="129275"/>
                </a:lnTo>
                <a:lnTo>
                  <a:pt x="2672656" y="129925"/>
                </a:lnTo>
                <a:lnTo>
                  <a:pt x="2666145" y="128842"/>
                </a:lnTo>
                <a:lnTo>
                  <a:pt x="2663758" y="130033"/>
                </a:lnTo>
                <a:lnTo>
                  <a:pt x="2659634" y="129925"/>
                </a:lnTo>
                <a:lnTo>
                  <a:pt x="2654208" y="125052"/>
                </a:lnTo>
                <a:lnTo>
                  <a:pt x="2650844" y="124944"/>
                </a:lnTo>
                <a:lnTo>
                  <a:pt x="2648674" y="123537"/>
                </a:lnTo>
                <a:lnTo>
                  <a:pt x="2643140" y="123754"/>
                </a:lnTo>
                <a:lnTo>
                  <a:pt x="2635543" y="119639"/>
                </a:lnTo>
                <a:lnTo>
                  <a:pt x="2630117" y="122021"/>
                </a:lnTo>
                <a:lnTo>
                  <a:pt x="2625234" y="119422"/>
                </a:lnTo>
                <a:lnTo>
                  <a:pt x="2623823" y="116066"/>
                </a:lnTo>
                <a:lnTo>
                  <a:pt x="2626103" y="113792"/>
                </a:lnTo>
                <a:lnTo>
                  <a:pt x="2625994" y="107837"/>
                </a:lnTo>
                <a:lnTo>
                  <a:pt x="2629466" y="105347"/>
                </a:lnTo>
                <a:lnTo>
                  <a:pt x="2632071" y="105455"/>
                </a:lnTo>
                <a:lnTo>
                  <a:pt x="2635327" y="109353"/>
                </a:lnTo>
                <a:lnTo>
                  <a:pt x="2642488" y="108921"/>
                </a:lnTo>
                <a:lnTo>
                  <a:pt x="2645418" y="107621"/>
                </a:lnTo>
                <a:lnTo>
                  <a:pt x="2641295" y="104481"/>
                </a:lnTo>
                <a:lnTo>
                  <a:pt x="2637280" y="104264"/>
                </a:lnTo>
                <a:lnTo>
                  <a:pt x="2633915" y="100150"/>
                </a:lnTo>
                <a:lnTo>
                  <a:pt x="2635327" y="97985"/>
                </a:lnTo>
                <a:lnTo>
                  <a:pt x="2641946" y="98093"/>
                </a:lnTo>
                <a:lnTo>
                  <a:pt x="2648131" y="92896"/>
                </a:lnTo>
                <a:lnTo>
                  <a:pt x="2656270" y="93004"/>
                </a:lnTo>
                <a:lnTo>
                  <a:pt x="2659634" y="90081"/>
                </a:lnTo>
                <a:lnTo>
                  <a:pt x="2664300" y="89864"/>
                </a:lnTo>
                <a:lnTo>
                  <a:pt x="2667230" y="91488"/>
                </a:lnTo>
                <a:lnTo>
                  <a:pt x="2671245" y="90623"/>
                </a:lnTo>
                <a:lnTo>
                  <a:pt x="2671354" y="87807"/>
                </a:lnTo>
                <a:lnTo>
                  <a:pt x="2668858" y="85750"/>
                </a:lnTo>
                <a:lnTo>
                  <a:pt x="2658766" y="87266"/>
                </a:lnTo>
                <a:lnTo>
                  <a:pt x="2650519" y="88024"/>
                </a:lnTo>
                <a:lnTo>
                  <a:pt x="2644116" y="90514"/>
                </a:lnTo>
                <a:lnTo>
                  <a:pt x="2639667" y="91164"/>
                </a:lnTo>
                <a:lnTo>
                  <a:pt x="2636737" y="94304"/>
                </a:lnTo>
                <a:lnTo>
                  <a:pt x="2632722" y="94195"/>
                </a:lnTo>
                <a:lnTo>
                  <a:pt x="2632830" y="90731"/>
                </a:lnTo>
                <a:lnTo>
                  <a:pt x="2631637" y="86075"/>
                </a:lnTo>
                <a:lnTo>
                  <a:pt x="2637280" y="83801"/>
                </a:lnTo>
                <a:lnTo>
                  <a:pt x="2644224" y="78388"/>
                </a:lnTo>
                <a:lnTo>
                  <a:pt x="2651604" y="77846"/>
                </a:lnTo>
                <a:lnTo>
                  <a:pt x="2655402" y="75897"/>
                </a:lnTo>
                <a:lnTo>
                  <a:pt x="2650302" y="75681"/>
                </a:lnTo>
                <a:lnTo>
                  <a:pt x="2648131" y="73407"/>
                </a:lnTo>
                <a:lnTo>
                  <a:pt x="2648891" y="66803"/>
                </a:lnTo>
                <a:lnTo>
                  <a:pt x="2646721" y="67777"/>
                </a:lnTo>
                <a:lnTo>
                  <a:pt x="2645744" y="72433"/>
                </a:lnTo>
                <a:lnTo>
                  <a:pt x="2643248" y="73949"/>
                </a:lnTo>
                <a:lnTo>
                  <a:pt x="2641837" y="69402"/>
                </a:lnTo>
                <a:lnTo>
                  <a:pt x="2639125" y="69834"/>
                </a:lnTo>
                <a:lnTo>
                  <a:pt x="2636954" y="72217"/>
                </a:lnTo>
                <a:lnTo>
                  <a:pt x="2632071" y="72758"/>
                </a:lnTo>
                <a:lnTo>
                  <a:pt x="2631962" y="76764"/>
                </a:lnTo>
                <a:lnTo>
                  <a:pt x="2630226" y="79687"/>
                </a:lnTo>
                <a:lnTo>
                  <a:pt x="2624041" y="81419"/>
                </a:lnTo>
                <a:lnTo>
                  <a:pt x="2623498" y="76981"/>
                </a:lnTo>
                <a:lnTo>
                  <a:pt x="2624041" y="72000"/>
                </a:lnTo>
                <a:lnTo>
                  <a:pt x="2622087" y="71458"/>
                </a:lnTo>
                <a:lnTo>
                  <a:pt x="2621002" y="67236"/>
                </a:lnTo>
                <a:lnTo>
                  <a:pt x="2622413" y="65828"/>
                </a:lnTo>
                <a:lnTo>
                  <a:pt x="2625886" y="67561"/>
                </a:lnTo>
                <a:lnTo>
                  <a:pt x="2626536" y="62039"/>
                </a:lnTo>
                <a:lnTo>
                  <a:pt x="2630443" y="60199"/>
                </a:lnTo>
                <a:lnTo>
                  <a:pt x="2635977" y="60415"/>
                </a:lnTo>
                <a:lnTo>
                  <a:pt x="2638148" y="55976"/>
                </a:lnTo>
                <a:lnTo>
                  <a:pt x="2644008" y="53161"/>
                </a:lnTo>
                <a:lnTo>
                  <a:pt x="2647806" y="53810"/>
                </a:lnTo>
                <a:lnTo>
                  <a:pt x="2654968" y="50021"/>
                </a:lnTo>
                <a:lnTo>
                  <a:pt x="2664843" y="49371"/>
                </a:lnTo>
                <a:lnTo>
                  <a:pt x="2667230" y="47422"/>
                </a:lnTo>
                <a:lnTo>
                  <a:pt x="2670920" y="48830"/>
                </a:lnTo>
                <a:lnTo>
                  <a:pt x="2671462" y="52187"/>
                </a:lnTo>
                <a:lnTo>
                  <a:pt x="2669726" y="54677"/>
                </a:lnTo>
                <a:lnTo>
                  <a:pt x="2669401" y="65828"/>
                </a:lnTo>
                <a:lnTo>
                  <a:pt x="2672765" y="64746"/>
                </a:lnTo>
                <a:lnTo>
                  <a:pt x="2675043" y="57708"/>
                </a:lnTo>
                <a:lnTo>
                  <a:pt x="2678190" y="54893"/>
                </a:lnTo>
                <a:lnTo>
                  <a:pt x="2679710" y="57167"/>
                </a:lnTo>
                <a:lnTo>
                  <a:pt x="2678190" y="59116"/>
                </a:lnTo>
                <a:lnTo>
                  <a:pt x="2678733" y="62580"/>
                </a:lnTo>
                <a:lnTo>
                  <a:pt x="2681554" y="60740"/>
                </a:lnTo>
                <a:lnTo>
                  <a:pt x="2681554" y="56950"/>
                </a:lnTo>
                <a:lnTo>
                  <a:pt x="2682965" y="54677"/>
                </a:lnTo>
                <a:lnTo>
                  <a:pt x="2682314" y="51320"/>
                </a:lnTo>
                <a:lnTo>
                  <a:pt x="2683291" y="45690"/>
                </a:lnTo>
                <a:lnTo>
                  <a:pt x="2686221" y="45149"/>
                </a:lnTo>
                <a:lnTo>
                  <a:pt x="2692297" y="39736"/>
                </a:lnTo>
                <a:lnTo>
                  <a:pt x="2694685" y="40277"/>
                </a:lnTo>
                <a:lnTo>
                  <a:pt x="2695227" y="44391"/>
                </a:lnTo>
                <a:lnTo>
                  <a:pt x="2695227" y="50129"/>
                </a:lnTo>
                <a:lnTo>
                  <a:pt x="2699460" y="52511"/>
                </a:lnTo>
                <a:lnTo>
                  <a:pt x="2700436" y="58575"/>
                </a:lnTo>
                <a:lnTo>
                  <a:pt x="2699243" y="62148"/>
                </a:lnTo>
                <a:lnTo>
                  <a:pt x="2700870" y="65720"/>
                </a:lnTo>
                <a:lnTo>
                  <a:pt x="2700219" y="69402"/>
                </a:lnTo>
                <a:lnTo>
                  <a:pt x="2703475" y="71892"/>
                </a:lnTo>
                <a:lnTo>
                  <a:pt x="2705428" y="70268"/>
                </a:lnTo>
                <a:lnTo>
                  <a:pt x="2703475" y="66912"/>
                </a:lnTo>
                <a:lnTo>
                  <a:pt x="2703149" y="61389"/>
                </a:lnTo>
                <a:lnTo>
                  <a:pt x="2706079" y="59982"/>
                </a:lnTo>
                <a:lnTo>
                  <a:pt x="2710962" y="52295"/>
                </a:lnTo>
                <a:lnTo>
                  <a:pt x="2713567" y="52295"/>
                </a:lnTo>
                <a:lnTo>
                  <a:pt x="2717690" y="58683"/>
                </a:lnTo>
                <a:lnTo>
                  <a:pt x="2717908" y="64638"/>
                </a:lnTo>
                <a:lnTo>
                  <a:pt x="2716605" y="69402"/>
                </a:lnTo>
                <a:lnTo>
                  <a:pt x="2719101" y="71892"/>
                </a:lnTo>
                <a:lnTo>
                  <a:pt x="2720186" y="75248"/>
                </a:lnTo>
                <a:lnTo>
                  <a:pt x="2722465" y="72325"/>
                </a:lnTo>
                <a:lnTo>
                  <a:pt x="2722140" y="65936"/>
                </a:lnTo>
                <a:lnTo>
                  <a:pt x="2725069" y="65504"/>
                </a:lnTo>
                <a:lnTo>
                  <a:pt x="2727782" y="63446"/>
                </a:lnTo>
                <a:lnTo>
                  <a:pt x="2728867" y="66370"/>
                </a:lnTo>
                <a:lnTo>
                  <a:pt x="2727349" y="68102"/>
                </a:lnTo>
                <a:lnTo>
                  <a:pt x="2727891" y="72433"/>
                </a:lnTo>
                <a:lnTo>
                  <a:pt x="2730061" y="74923"/>
                </a:lnTo>
                <a:lnTo>
                  <a:pt x="2733534" y="70376"/>
                </a:lnTo>
                <a:lnTo>
                  <a:pt x="2735704" y="70268"/>
                </a:lnTo>
                <a:lnTo>
                  <a:pt x="2735053" y="75573"/>
                </a:lnTo>
                <a:lnTo>
                  <a:pt x="2737549" y="72758"/>
                </a:lnTo>
                <a:lnTo>
                  <a:pt x="2737332" y="67236"/>
                </a:lnTo>
                <a:lnTo>
                  <a:pt x="2733317" y="60523"/>
                </a:lnTo>
                <a:lnTo>
                  <a:pt x="2731038" y="60632"/>
                </a:lnTo>
                <a:lnTo>
                  <a:pt x="2728759" y="57059"/>
                </a:lnTo>
                <a:lnTo>
                  <a:pt x="2728542" y="52079"/>
                </a:lnTo>
                <a:lnTo>
                  <a:pt x="2725612" y="48613"/>
                </a:lnTo>
                <a:lnTo>
                  <a:pt x="2723442" y="44391"/>
                </a:lnTo>
                <a:lnTo>
                  <a:pt x="2721054" y="42009"/>
                </a:lnTo>
                <a:lnTo>
                  <a:pt x="2722140" y="36704"/>
                </a:lnTo>
                <a:lnTo>
                  <a:pt x="2726806" y="37028"/>
                </a:lnTo>
                <a:lnTo>
                  <a:pt x="2730170" y="40060"/>
                </a:lnTo>
                <a:lnTo>
                  <a:pt x="2735270" y="38436"/>
                </a:lnTo>
                <a:lnTo>
                  <a:pt x="2739285" y="39844"/>
                </a:lnTo>
                <a:lnTo>
                  <a:pt x="2741130" y="37461"/>
                </a:lnTo>
                <a:lnTo>
                  <a:pt x="2741564" y="28908"/>
                </a:lnTo>
                <a:lnTo>
                  <a:pt x="2738092" y="25335"/>
                </a:lnTo>
                <a:lnTo>
                  <a:pt x="2739611" y="21113"/>
                </a:lnTo>
                <a:lnTo>
                  <a:pt x="2745471" y="19597"/>
                </a:lnTo>
                <a:lnTo>
                  <a:pt x="2747207" y="20896"/>
                </a:lnTo>
                <a:lnTo>
                  <a:pt x="2755780" y="22087"/>
                </a:lnTo>
                <a:lnTo>
                  <a:pt x="2759469" y="24685"/>
                </a:lnTo>
                <a:lnTo>
                  <a:pt x="2759035" y="28150"/>
                </a:lnTo>
                <a:lnTo>
                  <a:pt x="2755671" y="31398"/>
                </a:lnTo>
                <a:lnTo>
                  <a:pt x="2756756" y="33997"/>
                </a:lnTo>
                <a:lnTo>
                  <a:pt x="2765546" y="37137"/>
                </a:lnTo>
                <a:lnTo>
                  <a:pt x="2765763" y="40060"/>
                </a:lnTo>
                <a:lnTo>
                  <a:pt x="2764353" y="46556"/>
                </a:lnTo>
                <a:lnTo>
                  <a:pt x="2765221" y="56842"/>
                </a:lnTo>
                <a:lnTo>
                  <a:pt x="2769127" y="55435"/>
                </a:lnTo>
                <a:lnTo>
                  <a:pt x="2771840" y="49804"/>
                </a:lnTo>
                <a:lnTo>
                  <a:pt x="2773685" y="49913"/>
                </a:lnTo>
                <a:lnTo>
                  <a:pt x="2774010" y="54135"/>
                </a:lnTo>
                <a:lnTo>
                  <a:pt x="2775855" y="56842"/>
                </a:lnTo>
                <a:lnTo>
                  <a:pt x="2779653" y="54677"/>
                </a:lnTo>
                <a:lnTo>
                  <a:pt x="2781715" y="51103"/>
                </a:lnTo>
                <a:lnTo>
                  <a:pt x="2786707" y="48830"/>
                </a:lnTo>
                <a:lnTo>
                  <a:pt x="2788009" y="46232"/>
                </a:lnTo>
                <a:lnTo>
                  <a:pt x="2784971" y="37353"/>
                </a:lnTo>
                <a:lnTo>
                  <a:pt x="2787792" y="33889"/>
                </a:lnTo>
                <a:lnTo>
                  <a:pt x="2791265" y="33781"/>
                </a:lnTo>
                <a:lnTo>
                  <a:pt x="2793327" y="35404"/>
                </a:lnTo>
                <a:lnTo>
                  <a:pt x="2801357" y="36271"/>
                </a:lnTo>
                <a:lnTo>
                  <a:pt x="2801031" y="32806"/>
                </a:lnTo>
                <a:lnTo>
                  <a:pt x="2793435" y="27392"/>
                </a:lnTo>
                <a:lnTo>
                  <a:pt x="2792133" y="21329"/>
                </a:lnTo>
                <a:lnTo>
                  <a:pt x="2793652" y="18947"/>
                </a:lnTo>
                <a:lnTo>
                  <a:pt x="2794955" y="14184"/>
                </a:lnTo>
                <a:lnTo>
                  <a:pt x="2797993" y="13859"/>
                </a:lnTo>
                <a:lnTo>
                  <a:pt x="2806999" y="18839"/>
                </a:lnTo>
                <a:lnTo>
                  <a:pt x="2807976" y="25877"/>
                </a:lnTo>
                <a:lnTo>
                  <a:pt x="2809170" y="30749"/>
                </a:lnTo>
                <a:lnTo>
                  <a:pt x="2808627" y="36596"/>
                </a:lnTo>
                <a:lnTo>
                  <a:pt x="2810906" y="40060"/>
                </a:lnTo>
                <a:lnTo>
                  <a:pt x="2812208" y="46340"/>
                </a:lnTo>
                <a:lnTo>
                  <a:pt x="2814378" y="50346"/>
                </a:lnTo>
                <a:lnTo>
                  <a:pt x="2816441" y="48505"/>
                </a:lnTo>
                <a:lnTo>
                  <a:pt x="2816658" y="42983"/>
                </a:lnTo>
                <a:lnTo>
                  <a:pt x="2815790" y="39194"/>
                </a:lnTo>
                <a:lnTo>
                  <a:pt x="2815247" y="33130"/>
                </a:lnTo>
                <a:lnTo>
                  <a:pt x="2812751" y="26201"/>
                </a:lnTo>
                <a:lnTo>
                  <a:pt x="2813728" y="18081"/>
                </a:lnTo>
                <a:lnTo>
                  <a:pt x="2813077" y="9528"/>
                </a:lnTo>
                <a:lnTo>
                  <a:pt x="2814705" y="4439"/>
                </a:lnTo>
                <a:lnTo>
                  <a:pt x="2817851" y="4764"/>
                </a:lnTo>
                <a:lnTo>
                  <a:pt x="2822409" y="8986"/>
                </a:lnTo>
                <a:lnTo>
                  <a:pt x="2825447" y="8878"/>
                </a:lnTo>
                <a:lnTo>
                  <a:pt x="2827184" y="10394"/>
                </a:lnTo>
                <a:lnTo>
                  <a:pt x="2827400" y="17106"/>
                </a:lnTo>
                <a:lnTo>
                  <a:pt x="2830113" y="21979"/>
                </a:lnTo>
                <a:lnTo>
                  <a:pt x="2829354" y="27718"/>
                </a:lnTo>
                <a:lnTo>
                  <a:pt x="2830113" y="35296"/>
                </a:lnTo>
                <a:lnTo>
                  <a:pt x="2832392" y="36271"/>
                </a:lnTo>
                <a:lnTo>
                  <a:pt x="2832175" y="32265"/>
                </a:lnTo>
                <a:lnTo>
                  <a:pt x="2833912" y="29016"/>
                </a:lnTo>
                <a:lnTo>
                  <a:pt x="2835648" y="28692"/>
                </a:lnTo>
                <a:lnTo>
                  <a:pt x="2844004" y="38328"/>
                </a:lnTo>
                <a:lnTo>
                  <a:pt x="2844872" y="36704"/>
                </a:lnTo>
                <a:lnTo>
                  <a:pt x="2848670" y="35622"/>
                </a:lnTo>
                <a:lnTo>
                  <a:pt x="2848887" y="33455"/>
                </a:lnTo>
                <a:lnTo>
                  <a:pt x="2845523" y="32589"/>
                </a:lnTo>
                <a:lnTo>
                  <a:pt x="2841508" y="27392"/>
                </a:lnTo>
                <a:lnTo>
                  <a:pt x="2842810" y="25661"/>
                </a:lnTo>
                <a:lnTo>
                  <a:pt x="2843352" y="22845"/>
                </a:lnTo>
                <a:lnTo>
                  <a:pt x="2837927" y="18298"/>
                </a:lnTo>
                <a:lnTo>
                  <a:pt x="2836408" y="14833"/>
                </a:lnTo>
                <a:lnTo>
                  <a:pt x="2837710" y="12884"/>
                </a:lnTo>
                <a:lnTo>
                  <a:pt x="2843136" y="12451"/>
                </a:lnTo>
                <a:lnTo>
                  <a:pt x="2840748" y="10178"/>
                </a:lnTo>
                <a:lnTo>
                  <a:pt x="2837059" y="9528"/>
                </a:lnTo>
                <a:lnTo>
                  <a:pt x="2834237" y="5847"/>
                </a:lnTo>
                <a:lnTo>
                  <a:pt x="2836950" y="4439"/>
                </a:lnTo>
                <a:lnTo>
                  <a:pt x="2841074" y="4439"/>
                </a:lnTo>
                <a:lnTo>
                  <a:pt x="2846065" y="109"/>
                </a:lnTo>
                <a:lnTo>
                  <a:pt x="2856158" y="1732"/>
                </a:lnTo>
                <a:lnTo>
                  <a:pt x="2858003" y="4223"/>
                </a:lnTo>
                <a:lnTo>
                  <a:pt x="2857894" y="9312"/>
                </a:lnTo>
                <a:lnTo>
                  <a:pt x="2855181" y="13642"/>
                </a:lnTo>
                <a:lnTo>
                  <a:pt x="2856375" y="15916"/>
                </a:lnTo>
                <a:lnTo>
                  <a:pt x="2859521" y="15591"/>
                </a:lnTo>
                <a:lnTo>
                  <a:pt x="2862886" y="9636"/>
                </a:lnTo>
                <a:lnTo>
                  <a:pt x="2865164" y="7904"/>
                </a:lnTo>
                <a:lnTo>
                  <a:pt x="2866901" y="10502"/>
                </a:lnTo>
                <a:lnTo>
                  <a:pt x="2864730" y="17432"/>
                </a:lnTo>
                <a:lnTo>
                  <a:pt x="2867226" y="18947"/>
                </a:lnTo>
                <a:lnTo>
                  <a:pt x="2870156" y="18406"/>
                </a:lnTo>
                <a:lnTo>
                  <a:pt x="2871025" y="16132"/>
                </a:lnTo>
                <a:lnTo>
                  <a:pt x="2876993" y="10502"/>
                </a:lnTo>
                <a:lnTo>
                  <a:pt x="2878838" y="12776"/>
                </a:lnTo>
                <a:lnTo>
                  <a:pt x="2878186" y="18406"/>
                </a:lnTo>
                <a:lnTo>
                  <a:pt x="2876125" y="22304"/>
                </a:lnTo>
                <a:lnTo>
                  <a:pt x="2877753" y="30208"/>
                </a:lnTo>
                <a:lnTo>
                  <a:pt x="2875148" y="33672"/>
                </a:lnTo>
                <a:lnTo>
                  <a:pt x="2877318" y="35730"/>
                </a:lnTo>
                <a:lnTo>
                  <a:pt x="2882527" y="34646"/>
                </a:lnTo>
                <a:lnTo>
                  <a:pt x="2885674" y="35512"/>
                </a:lnTo>
                <a:lnTo>
                  <a:pt x="2887736" y="33672"/>
                </a:lnTo>
                <a:lnTo>
                  <a:pt x="2887953" y="26743"/>
                </a:lnTo>
                <a:lnTo>
                  <a:pt x="2890775" y="18514"/>
                </a:lnTo>
                <a:lnTo>
                  <a:pt x="2887085" y="8120"/>
                </a:lnTo>
                <a:lnTo>
                  <a:pt x="2888062" y="1732"/>
                </a:lnTo>
                <a:close/>
              </a:path>
            </a:pathLst>
          </a:custGeom>
          <a:solidFill>
            <a:schemeClr val="bg2">
              <a:lumMod val="40000"/>
              <a:lumOff val="60000"/>
            </a:schemeClr>
          </a:solidFill>
          <a:ln w="15328" cap="flat">
            <a:noFill/>
            <a:prstDash val="solid"/>
            <a:miter/>
          </a:ln>
        </p:spPr>
        <p:txBody>
          <a:bodyPr wrap="square" lIns="274320" tIns="0" rIns="274320" bIns="0" rtlCol="0" anchor="ctr">
            <a:noAutofit/>
          </a:bodyPr>
          <a:lstStyle/>
          <a:p>
            <a:endParaRPr lang="en-US" sz="2400"/>
          </a:p>
        </p:txBody>
      </p:sp>
    </p:spTree>
    <p:extLst>
      <p:ext uri="{BB962C8B-B14F-4D97-AF65-F5344CB8AC3E}">
        <p14:creationId xmlns:p14="http://schemas.microsoft.com/office/powerpoint/2010/main" val="290445774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112328237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54605587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29572749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5557420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ontent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bg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10968635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Slide + Image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34375" r="-34375"/>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7" name="Text Placeholder 4">
            <a:extLst>
              <a:ext uri="{FF2B5EF4-FFF2-40B4-BE49-F238E27FC236}">
                <a16:creationId xmlns:a16="http://schemas.microsoft.com/office/drawing/2014/main" id="{68C1C284-BE90-81FA-43D1-CCC7F8CA51DE}"/>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4278113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Slide + Image Right - 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64760D-720A-0CCD-7D49-03732626099C}"/>
              </a:ext>
            </a:extLst>
          </p:cNvPr>
          <p:cNvSpPr/>
          <p:nvPr userDrawn="1"/>
        </p:nvSpPr>
        <p:spPr>
          <a:xfrm>
            <a:off x="0"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Gill Sans MT" panose="020B0502020104020203" pitchFamily="34" charset="0"/>
            </a:endParaRPr>
          </a:p>
        </p:txBody>
      </p:sp>
      <p:sp>
        <p:nvSpPr>
          <p:cNvPr id="14" name="Picture Placeholder 10"/>
          <p:cNvSpPr>
            <a:spLocks noGrp="1"/>
          </p:cNvSpPr>
          <p:nvPr>
            <p:ph type="pic" sz="quarter" idx="13" hasCustomPrompt="1"/>
          </p:nvPr>
        </p:nvSpPr>
        <p:spPr>
          <a:xfrm>
            <a:off x="609600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0000" r="-48816"/>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8" name="Text Placeholder 4"/>
          <p:cNvSpPr>
            <a:spLocks noGrp="1"/>
          </p:cNvSpPr>
          <p:nvPr>
            <p:ph type="body" sz="quarter" idx="14" hasCustomPrompt="1"/>
          </p:nvPr>
        </p:nvSpPr>
        <p:spPr>
          <a:xfrm>
            <a:off x="456813"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9" name="Content Placeholder 5"/>
          <p:cNvSpPr>
            <a:spLocks noGrp="1"/>
          </p:cNvSpPr>
          <p:nvPr>
            <p:ph sz="quarter" idx="15" hasCustomPrompt="1"/>
          </p:nvPr>
        </p:nvSpPr>
        <p:spPr>
          <a:xfrm>
            <a:off x="456813"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9" name="Rectangle 8">
            <a:extLst>
              <a:ext uri="{FF2B5EF4-FFF2-40B4-BE49-F238E27FC236}">
                <a16:creationId xmlns:a16="http://schemas.microsoft.com/office/drawing/2014/main" id="{3E6BBD35-54A7-8EE9-9460-3CAB3E13B8E0}"/>
              </a:ext>
            </a:extLst>
          </p:cNvPr>
          <p:cNvSpPr/>
          <p:nvPr userDrawn="1"/>
        </p:nvSpPr>
        <p:spPr>
          <a:xfrm>
            <a:off x="6519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7" name="Text Placeholder 4">
            <a:extLst>
              <a:ext uri="{FF2B5EF4-FFF2-40B4-BE49-F238E27FC236}">
                <a16:creationId xmlns:a16="http://schemas.microsoft.com/office/drawing/2014/main" id="{B79405FB-5C56-9F61-7BE3-683510CA1096}"/>
              </a:ext>
            </a:extLst>
          </p:cNvPr>
          <p:cNvSpPr>
            <a:spLocks noGrp="1"/>
          </p:cNvSpPr>
          <p:nvPr>
            <p:ph type="body" sz="quarter" idx="12" hasCustomPrompt="1"/>
          </p:nvPr>
        </p:nvSpPr>
        <p:spPr>
          <a:xfrm rot="16200000">
            <a:off x="10318128"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16728042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Slide + Image Lef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15000" r="-54400"/>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tx2"/>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6D716C71-F9D5-2F3E-AB87-CA052EB34DF7}"/>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65626073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Content Slide + Image Left - Dar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408007" y="6428073"/>
            <a:ext cx="451899" cy="182880"/>
          </a:xfrm>
          <a:prstGeom prst="rect">
            <a:avLst/>
          </a:prstGeom>
        </p:spPr>
        <p:txBody>
          <a:bodyPr vert="horz" lIns="0" tIns="0" rIns="0" bIns="0" rtlCol="0" anchor="t" anchorCtr="0"/>
          <a:lstStyle>
            <a:lvl1pPr algn="r">
              <a:defRPr sz="1200" b="0" i="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4755468B-C2BA-8B42-ABD6-597061763577}" type="slidenum">
              <a:rPr lang="en-US" smtClean="0"/>
              <a:pPr/>
              <a:t>‹#›</a:t>
            </a:fld>
            <a:endParaRPr lang="en-US"/>
          </a:p>
        </p:txBody>
      </p:sp>
      <p:sp>
        <p:nvSpPr>
          <p:cNvPr id="10" name="Rectangle 9">
            <a:extLst>
              <a:ext uri="{FF2B5EF4-FFF2-40B4-BE49-F238E27FC236}">
                <a16:creationId xmlns:a16="http://schemas.microsoft.com/office/drawing/2014/main" id="{65C0978F-B529-6BB4-1141-10F240297B34}"/>
              </a:ext>
            </a:extLst>
          </p:cNvPr>
          <p:cNvSpPr/>
          <p:nvPr userDrawn="1"/>
        </p:nvSpPr>
        <p:spPr>
          <a:xfrm>
            <a:off x="6089606" y="0"/>
            <a:ext cx="610239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a:extLst>
              <a:ext uri="{FF2B5EF4-FFF2-40B4-BE49-F238E27FC236}">
                <a16:creationId xmlns:a16="http://schemas.microsoft.com/office/drawing/2014/main" id="{D28FDE8D-2078-BC21-F60A-CA72D88EE2CC}"/>
              </a:ext>
            </a:extLst>
          </p:cNvPr>
          <p:cNvSpPr>
            <a:spLocks noGrp="1"/>
          </p:cNvSpPr>
          <p:nvPr>
            <p:ph type="pic" sz="quarter" idx="13" hasCustomPrompt="1"/>
          </p:nvPr>
        </p:nvSpPr>
        <p:spPr>
          <a:xfrm>
            <a:off x="0" y="0"/>
            <a:ext cx="6096003" cy="6858000"/>
          </a:xfrm>
          <a:prstGeom prst="rect">
            <a:avLst/>
          </a:prstGeom>
          <a:blipFill dpi="0"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l="-25869" r="-43517"/>
            </a:stretch>
          </a:blipFill>
        </p:spPr>
        <p:txBody>
          <a:bodyPr anchor="ctr"/>
          <a:lstStyle>
            <a:lvl1pPr marL="0" indent="0" algn="ctr">
              <a:buNone/>
              <a:defRPr b="0" i="1">
                <a:solidFill>
                  <a:schemeClr val="bg2"/>
                </a:solidFill>
                <a:latin typeface="GT Walsheim" pitchFamily="2" charset="77"/>
              </a:defRPr>
            </a:lvl1pPr>
          </a:lstStyle>
          <a:p>
            <a:r>
              <a:rPr lang="en-US"/>
              <a:t>Click the icon to add an image</a:t>
            </a:r>
          </a:p>
        </p:txBody>
      </p:sp>
      <p:sp>
        <p:nvSpPr>
          <p:cNvPr id="14" name="Rectangle 13">
            <a:extLst>
              <a:ext uri="{FF2B5EF4-FFF2-40B4-BE49-F238E27FC236}">
                <a16:creationId xmlns:a16="http://schemas.microsoft.com/office/drawing/2014/main" id="{DFB22B70-C132-24D8-D35B-0F8953973198}"/>
              </a:ext>
            </a:extLst>
          </p:cNvPr>
          <p:cNvSpPr/>
          <p:nvPr userDrawn="1"/>
        </p:nvSpPr>
        <p:spPr>
          <a:xfrm>
            <a:off x="423620" y="352410"/>
            <a:ext cx="526154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 Placeholder 4">
            <a:extLst>
              <a:ext uri="{FF2B5EF4-FFF2-40B4-BE49-F238E27FC236}">
                <a16:creationId xmlns:a16="http://schemas.microsoft.com/office/drawing/2014/main" id="{A62BEF70-4F07-C7DD-5E74-4D7993092C9A}"/>
              </a:ext>
            </a:extLst>
          </p:cNvPr>
          <p:cNvSpPr>
            <a:spLocks noGrp="1"/>
          </p:cNvSpPr>
          <p:nvPr>
            <p:ph type="body" sz="quarter" idx="14" hasCustomPrompt="1"/>
          </p:nvPr>
        </p:nvSpPr>
        <p:spPr>
          <a:xfrm>
            <a:off x="6364187" y="352410"/>
            <a:ext cx="5410587" cy="912098"/>
          </a:xfrm>
          <a:prstGeom prst="rect">
            <a:avLst/>
          </a:prstGeom>
        </p:spPr>
        <p:txBody>
          <a:bodyPr anchor="t">
            <a:normAutofit/>
          </a:bodyPr>
          <a:lstStyle>
            <a:lvl1pPr marL="0" indent="0">
              <a:buNone/>
              <a:defRPr sz="2600" b="1" i="0">
                <a:solidFill>
                  <a:schemeClr val="bg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16" name="Content Placeholder 5">
            <a:extLst>
              <a:ext uri="{FF2B5EF4-FFF2-40B4-BE49-F238E27FC236}">
                <a16:creationId xmlns:a16="http://schemas.microsoft.com/office/drawing/2014/main" id="{57E2BB4F-BE2D-3A1E-3BEA-1096A4C24EC1}"/>
              </a:ext>
            </a:extLst>
          </p:cNvPr>
          <p:cNvSpPr>
            <a:spLocks noGrp="1"/>
          </p:cNvSpPr>
          <p:nvPr>
            <p:ph sz="quarter" idx="15" hasCustomPrompt="1"/>
          </p:nvPr>
        </p:nvSpPr>
        <p:spPr>
          <a:xfrm>
            <a:off x="6364187" y="1371600"/>
            <a:ext cx="5410587" cy="5133960"/>
          </a:xfrm>
          <a:prstGeom prst="rect">
            <a:avLst/>
          </a:prstGeom>
        </p:spPr>
        <p:txBody>
          <a:bodyPr>
            <a:normAutofit/>
          </a:bodyPr>
          <a:lstStyle>
            <a:lvl1pPr>
              <a:defRPr sz="2400" b="0" i="0">
                <a:solidFill>
                  <a:schemeClr val="bg1"/>
                </a:solidFill>
                <a:latin typeface="Gill Sans MT" panose="020B0502020104020203" pitchFamily="34" charset="0"/>
                <a:cs typeface="Arial" panose="020B0604020202020204" pitchFamily="34" charset="0"/>
              </a:defRPr>
            </a:lvl1pPr>
            <a:lvl2pPr>
              <a:defRPr sz="2400" b="0" i="0">
                <a:solidFill>
                  <a:schemeClr val="bg1"/>
                </a:solidFill>
                <a:latin typeface="Gill Sans MT" panose="020B0502020104020203" pitchFamily="34" charset="0"/>
                <a:cs typeface="Arial" panose="020B0604020202020204" pitchFamily="34" charset="0"/>
              </a:defRPr>
            </a:lvl2pPr>
            <a:lvl3pPr marL="621776" indent="-182875">
              <a:buFont typeface="Symbol" panose="05050102010706020507" pitchFamily="18" charset="2"/>
              <a:buChar char=""/>
              <a:defRPr sz="2400" b="0" i="0">
                <a:solidFill>
                  <a:schemeClr val="bg1"/>
                </a:solidFill>
                <a:latin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marL="1051534" indent="-182875">
              <a:spcBef>
                <a:spcPts val="400"/>
              </a:spcBef>
              <a:defRPr sz="1467" b="0" i="0">
                <a:solidFill>
                  <a:schemeClr val="tx2"/>
                </a:solidFill>
                <a:latin typeface="Gill Sans MT" panose="020B0502020104020203" pitchFamily="34" charset="0"/>
                <a:cs typeface="Arial" panose="020B0604020202020204" pitchFamily="34" charset="0"/>
              </a:defRPr>
            </a:lvl5pPr>
          </a:lstStyle>
          <a:p>
            <a:pPr lvl="0"/>
            <a:r>
              <a:rPr lang="en-US"/>
              <a:t>Click to edit text</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73421432-5ACF-5E59-45FF-A30B76110000}"/>
              </a:ext>
            </a:extLst>
          </p:cNvPr>
          <p:cNvSpPr>
            <a:spLocks noGrp="1"/>
          </p:cNvSpPr>
          <p:nvPr>
            <p:ph type="body" sz="quarter" idx="12" hasCustomPrompt="1"/>
          </p:nvPr>
        </p:nvSpPr>
        <p:spPr>
          <a:xfrm rot="16200000">
            <a:off x="-1514249" y="188407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3743124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95309016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Galler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2B283EB-B931-E9ED-DD88-4147DBE5704E}"/>
              </a:ext>
            </a:extLst>
          </p:cNvPr>
          <p:cNvSpPr/>
          <p:nvPr userDrawn="1"/>
        </p:nvSpPr>
        <p:spPr>
          <a:xfrm>
            <a:off x="0" y="0"/>
            <a:ext cx="12192000" cy="6867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BC1488D-8F6A-287A-0FBE-4610D4B63277}"/>
              </a:ext>
            </a:extLst>
          </p:cNvPr>
          <p:cNvSpPr>
            <a:spLocks noGrp="1"/>
          </p:cNvSpPr>
          <p:nvPr>
            <p:ph type="title" hasCustomPrompt="1"/>
          </p:nvPr>
        </p:nvSpPr>
        <p:spPr>
          <a:xfrm>
            <a:off x="457201" y="685800"/>
            <a:ext cx="2438400" cy="2743200"/>
          </a:xfrm>
          <a:prstGeom prst="rect">
            <a:avLst/>
          </a:prstGeom>
        </p:spPr>
        <p:txBody>
          <a:bodyPr/>
          <a:lstStyle>
            <a:lvl1pPr>
              <a:defRPr>
                <a:solidFill>
                  <a:schemeClr val="bg1"/>
                </a:solidFill>
              </a:defRPr>
            </a:lvl1pPr>
          </a:lstStyle>
          <a:p>
            <a:r>
              <a:rPr lang="en-US"/>
              <a:t>Highlights Gallery</a:t>
            </a:r>
          </a:p>
        </p:txBody>
      </p:sp>
      <p:sp>
        <p:nvSpPr>
          <p:cNvPr id="3" name="Slide Number Placeholder 2">
            <a:extLst>
              <a:ext uri="{FF2B5EF4-FFF2-40B4-BE49-F238E27FC236}">
                <a16:creationId xmlns:a16="http://schemas.microsoft.com/office/drawing/2014/main" id="{6BDD0F41-27C5-CB1D-0173-664D1C326F4A}"/>
              </a:ext>
            </a:extLst>
          </p:cNvPr>
          <p:cNvSpPr>
            <a:spLocks noGrp="1"/>
          </p:cNvSpPr>
          <p:nvPr>
            <p:ph type="sldNum" sz="quarter" idx="10"/>
          </p:nvPr>
        </p:nvSpPr>
        <p:spPr>
          <a:ln>
            <a:noFill/>
          </a:ln>
        </p:spPr>
        <p:txBody>
          <a:bodyPr/>
          <a:lstStyle/>
          <a:p>
            <a:fld id="{4755468B-C2BA-8B42-ABD6-597061763577}" type="slidenum">
              <a:rPr lang="en-US" smtClean="0"/>
              <a:pPr/>
              <a:t>‹#›</a:t>
            </a:fld>
            <a:endParaRPr lang="en-US"/>
          </a:p>
        </p:txBody>
      </p:sp>
      <p:sp>
        <p:nvSpPr>
          <p:cNvPr id="4" name="Picture Placeholder 3">
            <a:extLst>
              <a:ext uri="{FF2B5EF4-FFF2-40B4-BE49-F238E27FC236}">
                <a16:creationId xmlns:a16="http://schemas.microsoft.com/office/drawing/2014/main" id="{4A082173-483D-FD56-572C-BE0ADCB5177A}"/>
              </a:ext>
            </a:extLst>
          </p:cNvPr>
          <p:cNvSpPr>
            <a:spLocks noGrp="1"/>
          </p:cNvSpPr>
          <p:nvPr>
            <p:ph type="pic" sz="quarter" idx="13"/>
          </p:nvPr>
        </p:nvSpPr>
        <p:spPr>
          <a:xfrm>
            <a:off x="3428999" y="0"/>
            <a:ext cx="3241181" cy="4557013"/>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5" name="Picture Placeholder 3">
            <a:extLst>
              <a:ext uri="{FF2B5EF4-FFF2-40B4-BE49-F238E27FC236}">
                <a16:creationId xmlns:a16="http://schemas.microsoft.com/office/drawing/2014/main" id="{D6180A4A-374D-C1A2-A83C-5EA92DC771BB}"/>
              </a:ext>
            </a:extLst>
          </p:cNvPr>
          <p:cNvSpPr>
            <a:spLocks noGrp="1"/>
          </p:cNvSpPr>
          <p:nvPr>
            <p:ph type="pic" sz="quarter" idx="14"/>
          </p:nvPr>
        </p:nvSpPr>
        <p:spPr>
          <a:xfrm>
            <a:off x="3428999" y="4664989"/>
            <a:ext cx="3241181"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6" name="Picture Placeholder 3">
            <a:extLst>
              <a:ext uri="{FF2B5EF4-FFF2-40B4-BE49-F238E27FC236}">
                <a16:creationId xmlns:a16="http://schemas.microsoft.com/office/drawing/2014/main" id="{40E0920E-A1F2-1BBD-C37D-74B237F0785C}"/>
              </a:ext>
            </a:extLst>
          </p:cNvPr>
          <p:cNvSpPr>
            <a:spLocks noGrp="1"/>
          </p:cNvSpPr>
          <p:nvPr>
            <p:ph type="pic" sz="quarter" idx="15"/>
          </p:nvPr>
        </p:nvSpPr>
        <p:spPr>
          <a:xfrm>
            <a:off x="6758288" y="1"/>
            <a:ext cx="5433712" cy="2642436"/>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7" name="Picture Placeholder 3">
            <a:extLst>
              <a:ext uri="{FF2B5EF4-FFF2-40B4-BE49-F238E27FC236}">
                <a16:creationId xmlns:a16="http://schemas.microsoft.com/office/drawing/2014/main" id="{2DD44070-F306-B47B-70A6-8C4CA6C48E78}"/>
              </a:ext>
            </a:extLst>
          </p:cNvPr>
          <p:cNvSpPr>
            <a:spLocks noGrp="1"/>
          </p:cNvSpPr>
          <p:nvPr>
            <p:ph type="pic" sz="quarter" idx="16"/>
          </p:nvPr>
        </p:nvSpPr>
        <p:spPr>
          <a:xfrm>
            <a:off x="6758288" y="2734961"/>
            <a:ext cx="2672802" cy="4132500"/>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8" name="Picture Placeholder 3">
            <a:extLst>
              <a:ext uri="{FF2B5EF4-FFF2-40B4-BE49-F238E27FC236}">
                <a16:creationId xmlns:a16="http://schemas.microsoft.com/office/drawing/2014/main" id="{0FAD81EF-A883-B40A-8558-1B969EA797ED}"/>
              </a:ext>
            </a:extLst>
          </p:cNvPr>
          <p:cNvSpPr>
            <a:spLocks noGrp="1"/>
          </p:cNvSpPr>
          <p:nvPr>
            <p:ph type="pic" sz="quarter" idx="17"/>
          </p:nvPr>
        </p:nvSpPr>
        <p:spPr>
          <a:xfrm>
            <a:off x="9550194" y="2734961"/>
            <a:ext cx="2641805" cy="1822052"/>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
        <p:nvSpPr>
          <p:cNvPr id="9" name="Picture Placeholder 3">
            <a:extLst>
              <a:ext uri="{FF2B5EF4-FFF2-40B4-BE49-F238E27FC236}">
                <a16:creationId xmlns:a16="http://schemas.microsoft.com/office/drawing/2014/main" id="{672BA0ED-4C48-294F-23C3-01D30C37BAD6}"/>
              </a:ext>
            </a:extLst>
          </p:cNvPr>
          <p:cNvSpPr>
            <a:spLocks noGrp="1"/>
          </p:cNvSpPr>
          <p:nvPr>
            <p:ph type="pic" sz="quarter" idx="18"/>
          </p:nvPr>
        </p:nvSpPr>
        <p:spPr>
          <a:xfrm>
            <a:off x="9550194" y="4664989"/>
            <a:ext cx="2641805" cy="2202471"/>
          </a:xfrm>
          <a:custGeom>
            <a:avLst/>
            <a:gdLst>
              <a:gd name="connsiteX0" fmla="*/ 0 w 7655092"/>
              <a:gd name="connsiteY0" fmla="*/ 0 h 6858000"/>
              <a:gd name="connsiteX1" fmla="*/ 7655092 w 7655092"/>
              <a:gd name="connsiteY1" fmla="*/ 0 h 6858000"/>
              <a:gd name="connsiteX2" fmla="*/ 7655092 w 7655092"/>
              <a:gd name="connsiteY2" fmla="*/ 6858000 h 6858000"/>
              <a:gd name="connsiteX3" fmla="*/ 0 w 76550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655092" h="6858000">
                <a:moveTo>
                  <a:pt x="0" y="0"/>
                </a:moveTo>
                <a:lnTo>
                  <a:pt x="7655092" y="0"/>
                </a:lnTo>
                <a:lnTo>
                  <a:pt x="7655092" y="6858000"/>
                </a:lnTo>
                <a:lnTo>
                  <a:pt x="0" y="6858000"/>
                </a:lnTo>
                <a:close/>
              </a:path>
            </a:pathLst>
          </a:custGeom>
          <a:solidFill>
            <a:schemeClr val="tx2">
              <a:lumMod val="90000"/>
              <a:lumOff val="10000"/>
            </a:schemeClr>
          </a:solidFill>
          <a:ln>
            <a:noFill/>
          </a:ln>
        </p:spPr>
        <p:txBody>
          <a:bodyPr vert="horz" wrap="square" lIns="91440" tIns="91440" rIns="91440" bIns="91440" rtlCol="0">
            <a:noAutofit/>
          </a:bodyPr>
          <a:lstStyle>
            <a:lvl1pPr marL="0" indent="0">
              <a:buFontTx/>
              <a:buNone/>
              <a:defRPr lang="en-US" sz="1600">
                <a:solidFill>
                  <a:schemeClr val="tx1"/>
                </a:solidFill>
              </a:defRPr>
            </a:lvl1pPr>
          </a:lstStyle>
          <a:p>
            <a:pPr lvl="0"/>
            <a:endParaRPr lang="en-US"/>
          </a:p>
        </p:txBody>
      </p:sp>
    </p:spTree>
    <p:extLst>
      <p:ext uri="{BB962C8B-B14F-4D97-AF65-F5344CB8AC3E}">
        <p14:creationId xmlns:p14="http://schemas.microsoft.com/office/powerpoint/2010/main" val="373293290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04417752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50432431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406430611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96875059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419206887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75112585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 Open Space - 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74858488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ontent - Full Width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02664450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ntent - Comparison - Dark">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6620826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119120797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 - 2 Box - Dark">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88717397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ntent - 3 Box - Dark">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04478240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 4 Box - Dark">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00063840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ank you/Contact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59436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2C77FD93-18BA-50FB-31E5-015E85C60E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2D39A75D-33D8-244E-6531-751558B8F44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828A17F3-BC87-5E7F-7C14-EF34C2424C05}"/>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2657FC1F-861D-82AF-93DE-10AF8DEFECE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5B325CAE-CD14-EB9D-547D-519CB8CE1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74CCFAD2-2B70-7C1F-7176-86A4EE4DA970}"/>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3E3B440E-C7C6-4838-38C9-D23844051BFE}"/>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0662BDC-ABF4-960D-245D-8924562200CB}"/>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24DB2F7E-AF69-0562-9B69-413BC3707241}"/>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108370894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hank You/Contact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59436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ACB96D52-2A8E-07DE-A5AB-B004D6B5BE6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96A036C3-47CA-AC50-4141-920F5BE1912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EB1C7BDF-85CF-94B1-5FBE-A159EE0AE303}"/>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CFD44EA5-2DBD-B136-6A17-EB92BCB80E5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82CD1B80-DDD2-929F-DF76-465F1FBE99BC}"/>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0F9D7DBA-86A6-505F-D9D7-5885E90EF08B}"/>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BBC89452-5F95-254C-E36E-1143322FFE78}"/>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0D1C0FC-1925-F2C9-AA0B-0DE25F3BC59F}"/>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7ED05399-722B-C896-4B8F-25E4DA7E2F6C}"/>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103494868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2">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10" name="Group 9">
            <a:extLst>
              <a:ext uri="{FF2B5EF4-FFF2-40B4-BE49-F238E27FC236}">
                <a16:creationId xmlns:a16="http://schemas.microsoft.com/office/drawing/2014/main" id="{7C69A21A-ED2A-6D11-A797-78C51F999F40}"/>
              </a:ext>
            </a:extLst>
          </p:cNvPr>
          <p:cNvGrpSpPr/>
          <p:nvPr userDrawn="1"/>
        </p:nvGrpSpPr>
        <p:grpSpPr>
          <a:xfrm>
            <a:off x="3781865" y="1902551"/>
            <a:ext cx="4628271" cy="2911495"/>
            <a:chOff x="3482490" y="1902551"/>
            <a:chExt cx="4628271" cy="2911495"/>
          </a:xfrm>
        </p:grpSpPr>
        <p:grpSp>
          <p:nvGrpSpPr>
            <p:cNvPr id="11" name="Group 10">
              <a:extLst>
                <a:ext uri="{FF2B5EF4-FFF2-40B4-BE49-F238E27FC236}">
                  <a16:creationId xmlns:a16="http://schemas.microsoft.com/office/drawing/2014/main" id="{8171E9CF-6719-D321-0CC3-AA50D1715B17}"/>
                </a:ext>
              </a:extLst>
            </p:cNvPr>
            <p:cNvGrpSpPr/>
            <p:nvPr/>
          </p:nvGrpSpPr>
          <p:grpSpPr>
            <a:xfrm>
              <a:off x="3482490" y="1902551"/>
              <a:ext cx="4628271" cy="2911495"/>
              <a:chOff x="3781864" y="2320389"/>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12" name="Straight Connector 11">
              <a:extLst>
                <a:ext uri="{FF2B5EF4-FFF2-40B4-BE49-F238E27FC236}">
                  <a16:creationId xmlns:a16="http://schemas.microsoft.com/office/drawing/2014/main" id="{68FFA3C1-1964-2DB4-A5C8-13F9B2913893}"/>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BEA336A-9E80-FBFE-4F58-6A51C5A900CD}"/>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6" name="Title 4">
            <a:extLst>
              <a:ext uri="{FF2B5EF4-FFF2-40B4-BE49-F238E27FC236}">
                <a16:creationId xmlns:a16="http://schemas.microsoft.com/office/drawing/2014/main" id="{4F68EDAD-52F6-18EA-71A5-7DF0E6AEC9B5}"/>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671244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55268709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231462786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Closing Slide - Standard Image">
    <p:spTree>
      <p:nvGrpSpPr>
        <p:cNvPr id="1" name=""/>
        <p:cNvGrpSpPr/>
        <p:nvPr/>
      </p:nvGrpSpPr>
      <p:grpSpPr>
        <a:xfrm>
          <a:off x="0" y="0"/>
          <a:ext cx="0" cy="0"/>
          <a:chOff x="0" y="0"/>
          <a:chExt cx="0" cy="0"/>
        </a:xfrm>
      </p:grpSpPr>
      <p:pic>
        <p:nvPicPr>
          <p:cNvPr id="6" name="Picture 5" descr="A picture containing person, outdoor&#10;&#10;Description automatically generated">
            <a:extLst>
              <a:ext uri="{FF2B5EF4-FFF2-40B4-BE49-F238E27FC236}">
                <a16:creationId xmlns:a16="http://schemas.microsoft.com/office/drawing/2014/main" id="{402BE423-D2AC-7225-7E7B-7FB24196EF88}"/>
              </a:ext>
            </a:extLst>
          </p:cNvPr>
          <p:cNvPicPr>
            <a:picLocks noChangeAspect="1"/>
          </p:cNvPicPr>
          <p:nvPr userDrawn="1"/>
        </p:nvPicPr>
        <p:blipFill rotWithShape="1">
          <a:blip r:embed="rId2">
            <a:duotone>
              <a:prstClr val="black"/>
              <a:schemeClr val="tx2">
                <a:tint val="45000"/>
                <a:satMod val="400000"/>
              </a:schemeClr>
            </a:duotone>
            <a:extLst>
              <a:ext uri="{BEBA8EAE-BF5A-486C-A8C5-ECC9F3942E4B}">
                <a14:imgProps xmlns:a14="http://schemas.microsoft.com/office/drawing/2010/main">
                  <a14:imgLayer r:embed="rId3">
                    <a14:imgEffect>
                      <a14:saturation sat="0"/>
                    </a14:imgEffect>
                  </a14:imgLayer>
                </a14:imgProps>
              </a:ext>
            </a:extLst>
          </a:blip>
          <a:srcRect t="7813" b="7813"/>
          <a:stretch/>
        </p:blipFill>
        <p:spPr>
          <a:xfrm>
            <a:off x="0" y="0"/>
            <a:ext cx="12191999" cy="6858000"/>
          </a:xfrm>
          <a:prstGeom prst="rect">
            <a:avLst/>
          </a:prstGeom>
        </p:spPr>
      </p:pic>
      <p:pic>
        <p:nvPicPr>
          <p:cNvPr id="3" name="Picture 2" descr="Logo&#10;&#10;Description automatically generated">
            <a:extLst>
              <a:ext uri="{FF2B5EF4-FFF2-40B4-BE49-F238E27FC236}">
                <a16:creationId xmlns:a16="http://schemas.microsoft.com/office/drawing/2014/main" id="{6CA332D0-53BB-F709-92A7-D7F3EDEF22C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CF957EE1-DE0C-D5D5-37D1-12404CA59827}"/>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1797170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6238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22967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6638449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AA36162C-43D6-1C1B-4271-9022D87C5F1E}"/>
              </a:ext>
            </a:extLst>
          </p:cNvPr>
          <p:cNvSpPr>
            <a:spLocks noGrp="1"/>
          </p:cNvSpPr>
          <p:nvPr>
            <p:ph type="sldNum" sz="quarter" idx="4"/>
          </p:nvPr>
        </p:nvSpPr>
        <p:spPr>
          <a:xfrm>
            <a:off x="116238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40066448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258751378"/>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518878206"/>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272339997"/>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8400762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292467963"/>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161056927"/>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 name="Slide Number Placeholder 2">
            <a:extLst>
              <a:ext uri="{FF2B5EF4-FFF2-40B4-BE49-F238E27FC236}">
                <a16:creationId xmlns:a16="http://schemas.microsoft.com/office/drawing/2014/main" id="{52A93F80-E573-E61A-062D-9DB063129C60}"/>
              </a:ext>
            </a:extLst>
          </p:cNvPr>
          <p:cNvSpPr txBox="1">
            <a:spLocks/>
          </p:cNvSpPr>
          <p:nvPr userDrawn="1"/>
        </p:nvSpPr>
        <p:spPr>
          <a:xfrm>
            <a:off x="11609100" y="657639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mtClean="0">
                <a:solidFill>
                  <a:srgbClr val="112E38"/>
                </a:solidFill>
              </a:rPr>
              <a:pPr>
                <a:defRPr/>
              </a:pPr>
              <a:t>‹#›</a:t>
            </a:fld>
            <a:endParaRPr lang="en-US" dirty="0">
              <a:solidFill>
                <a:srgbClr val="112E38"/>
              </a:solidFill>
            </a:endParaRPr>
          </a:p>
        </p:txBody>
      </p:sp>
    </p:spTree>
    <p:extLst>
      <p:ext uri="{BB962C8B-B14F-4D97-AF65-F5344CB8AC3E}">
        <p14:creationId xmlns:p14="http://schemas.microsoft.com/office/powerpoint/2010/main" val="33122430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41930778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2271582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37290945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845609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275304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4739941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48EEE4A2-DE50-503A-EAF2-6E8332695A5C}"/>
              </a:ext>
            </a:extLst>
          </p:cNvPr>
          <p:cNvSpPr txBox="1">
            <a:spLocks/>
          </p:cNvSpPr>
          <p:nvPr userDrawn="1"/>
        </p:nvSpPr>
        <p:spPr>
          <a:xfrm>
            <a:off x="11506850" y="648495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mtClean="0">
                <a:solidFill>
                  <a:srgbClr val="112E38"/>
                </a:solidFill>
              </a:rPr>
              <a:pPr>
                <a:defRPr/>
              </a:pPr>
              <a:t>‹#›</a:t>
            </a:fld>
            <a:endParaRPr lang="en-US">
              <a:solidFill>
                <a:srgbClr val="112E38"/>
              </a:solidFill>
            </a:endParaRPr>
          </a:p>
        </p:txBody>
      </p:sp>
    </p:spTree>
    <p:extLst>
      <p:ext uri="{BB962C8B-B14F-4D97-AF65-F5344CB8AC3E}">
        <p14:creationId xmlns:p14="http://schemas.microsoft.com/office/powerpoint/2010/main" val="39179201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0082264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43925080"/>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5562409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7558382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0431505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9545686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 you/Contact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59436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2C77FD93-18BA-50FB-31E5-015E85C60E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2D39A75D-33D8-244E-6531-751558B8F44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828A17F3-BC87-5E7F-7C14-EF34C2424C05}"/>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2657FC1F-861D-82AF-93DE-10AF8DEFECE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5B325CAE-CD14-EB9D-547D-519CB8CE1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74CCFAD2-2B70-7C1F-7176-86A4EE4DA970}"/>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3E3B440E-C7C6-4838-38C9-D23844051BFE}"/>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0662BDC-ABF4-960D-245D-8924562200CB}"/>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24DB2F7E-AF69-0562-9B69-413BC3707241}"/>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9504047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Contact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59436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ACB96D52-2A8E-07DE-A5AB-B004D6B5BE6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96A036C3-47CA-AC50-4141-920F5BE1912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EB1C7BDF-85CF-94B1-5FBE-A159EE0AE303}"/>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CFD44EA5-2DBD-B136-6A17-EB92BCB80E5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82CD1B80-DDD2-929F-DF76-465F1FBE99BC}"/>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0F9D7DBA-86A6-505F-D9D7-5885E90EF08B}"/>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BBC89452-5F95-254C-E36E-1143322FFE78}"/>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0D1C0FC-1925-F2C9-AA0B-0DE25F3BC59F}"/>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7ED05399-722B-C896-4B8F-25E4DA7E2F6C}"/>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2022185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2">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10" name="Group 9">
            <a:extLst>
              <a:ext uri="{FF2B5EF4-FFF2-40B4-BE49-F238E27FC236}">
                <a16:creationId xmlns:a16="http://schemas.microsoft.com/office/drawing/2014/main" id="{7C69A21A-ED2A-6D11-A797-78C51F999F40}"/>
              </a:ext>
            </a:extLst>
          </p:cNvPr>
          <p:cNvGrpSpPr/>
          <p:nvPr userDrawn="1"/>
        </p:nvGrpSpPr>
        <p:grpSpPr>
          <a:xfrm>
            <a:off x="3781865" y="1902551"/>
            <a:ext cx="4628271" cy="2911495"/>
            <a:chOff x="3482490" y="1902551"/>
            <a:chExt cx="4628271" cy="2911495"/>
          </a:xfrm>
        </p:grpSpPr>
        <p:grpSp>
          <p:nvGrpSpPr>
            <p:cNvPr id="11" name="Group 10">
              <a:extLst>
                <a:ext uri="{FF2B5EF4-FFF2-40B4-BE49-F238E27FC236}">
                  <a16:creationId xmlns:a16="http://schemas.microsoft.com/office/drawing/2014/main" id="{8171E9CF-6719-D321-0CC3-AA50D1715B17}"/>
                </a:ext>
              </a:extLst>
            </p:cNvPr>
            <p:cNvGrpSpPr/>
            <p:nvPr/>
          </p:nvGrpSpPr>
          <p:grpSpPr>
            <a:xfrm>
              <a:off x="3482490" y="1902551"/>
              <a:ext cx="4628271" cy="2911495"/>
              <a:chOff x="3781864" y="2320389"/>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12" name="Straight Connector 11">
              <a:extLst>
                <a:ext uri="{FF2B5EF4-FFF2-40B4-BE49-F238E27FC236}">
                  <a16:creationId xmlns:a16="http://schemas.microsoft.com/office/drawing/2014/main" id="{68FFA3C1-1964-2DB4-A5C8-13F9B2913893}"/>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BEA336A-9E80-FBFE-4F58-6A51C5A900CD}"/>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6" name="Title 4">
            <a:extLst>
              <a:ext uri="{FF2B5EF4-FFF2-40B4-BE49-F238E27FC236}">
                <a16:creationId xmlns:a16="http://schemas.microsoft.com/office/drawing/2014/main" id="{4F68EDAD-52F6-18EA-71A5-7DF0E6AEC9B5}"/>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13424814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losing Slide - Dark">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94E13752-5A08-3540-B5BC-7E9F98484B4B}"/>
              </a:ext>
            </a:extLst>
          </p:cNvPr>
          <p:cNvSpPr/>
          <p:nvPr userDrawn="1"/>
        </p:nvSpPr>
        <p:spPr>
          <a:xfrm>
            <a:off x="0" y="0"/>
            <a:ext cx="12192000"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33C2CCE1-A944-F5DA-9B52-ABC13A493F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2FE4AE4B-7850-5EEA-D58E-037738A43082}"/>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21543555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dirty="0"/>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446143387"/>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dirty="0"/>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31199952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171612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dirty="0"/>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7843795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42307823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23418991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21707011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ill Sans MT" panose="020B0502020104020203" pitchFamily="34" charset="0"/>
            </a:endParaRPr>
          </a:p>
        </p:txBody>
      </p:sp>
    </p:spTree>
    <p:extLst>
      <p:ext uri="{BB962C8B-B14F-4D97-AF65-F5344CB8AC3E}">
        <p14:creationId xmlns:p14="http://schemas.microsoft.com/office/powerpoint/2010/main" val="5650300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hank You/Contact - Standard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112F71-E5C2-2161-F427-1E28FF3BCD4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4112F71-E5C2-2161-F427-1E28FF3BCD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5">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32604" b="34780"/>
          <a:stretch/>
        </p:blipFill>
        <p:spPr>
          <a:xfrm>
            <a:off x="2191783" y="6174673"/>
            <a:ext cx="2751858" cy="482255"/>
          </a:xfrm>
          <a:prstGeom prst="rect">
            <a:avLst/>
          </a:prstGeom>
        </p:spPr>
      </p:pic>
      <p:grpSp>
        <p:nvGrpSpPr>
          <p:cNvPr id="11" name="Group 10">
            <a:extLst>
              <a:ext uri="{FF2B5EF4-FFF2-40B4-BE49-F238E27FC236}">
                <a16:creationId xmlns:a16="http://schemas.microsoft.com/office/drawing/2014/main" id="{8171E9CF-6719-D321-0CC3-AA50D1715B17}"/>
              </a:ext>
            </a:extLst>
          </p:cNvPr>
          <p:cNvGrpSpPr/>
          <p:nvPr/>
        </p:nvGrpSpPr>
        <p:grpSpPr>
          <a:xfrm>
            <a:off x="3926561" y="2484883"/>
            <a:ext cx="4338878" cy="1118290"/>
            <a:chOff x="3781864" y="3652431"/>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3652431"/>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4229276"/>
              <a:ext cx="3798276" cy="1842998"/>
            </a:xfrm>
            <a:prstGeom prst="rect">
              <a:avLst/>
            </a:prstGeom>
            <a:noFill/>
          </p:spPr>
          <p:txBody>
            <a:bodyPr wrap="square" rtlCol="0" anchor="t">
              <a:spAutoFit/>
            </a:bodyPr>
            <a:lstStyle/>
            <a:p>
              <a:pPr algn="ctr"/>
              <a:r>
                <a:rPr lang="en-US" sz="4000" spc="300">
                  <a:solidFill>
                    <a:schemeClr val="bg1"/>
                  </a:solidFill>
                  <a:latin typeface="Arial" panose="020B0604020202020204" pitchFamily="34" charset="0"/>
                  <a:cs typeface="Arial" panose="020B0604020202020204" pitchFamily="34" charset="0"/>
                </a:rPr>
                <a:t>THANK YOU</a:t>
              </a:r>
            </a:p>
          </p:txBody>
        </p:sp>
      </p:grpSp>
    </p:spTree>
    <p:extLst>
      <p:ext uri="{BB962C8B-B14F-4D97-AF65-F5344CB8AC3E}">
        <p14:creationId xmlns:p14="http://schemas.microsoft.com/office/powerpoint/2010/main" val="11884482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7B012F-1451-ABBF-0E50-3329868DF237}"/>
              </a:ext>
            </a:extLst>
          </p:cNvPr>
          <p:cNvSpPr>
            <a:spLocks noGrp="1"/>
          </p:cNvSpPr>
          <p:nvPr>
            <p:ph type="dt" sz="half" idx="10"/>
          </p:nvPr>
        </p:nvSpPr>
        <p:spPr/>
        <p:txBody>
          <a:bodyPr/>
          <a:lstStyle/>
          <a:p>
            <a:fld id="{9B44E061-4B50-4794-B917-480E1A186465}" type="datetimeFigureOut">
              <a:rPr lang="fr-FR" smtClean="0"/>
              <a:t>06/07/2023</a:t>
            </a:fld>
            <a:endParaRPr lang="fr-FR"/>
          </a:p>
        </p:txBody>
      </p:sp>
      <p:sp>
        <p:nvSpPr>
          <p:cNvPr id="3" name="Footer Placeholder 2">
            <a:extLst>
              <a:ext uri="{FF2B5EF4-FFF2-40B4-BE49-F238E27FC236}">
                <a16:creationId xmlns:a16="http://schemas.microsoft.com/office/drawing/2014/main" id="{30102997-3F28-4684-1BFE-C2834B841F0F}"/>
              </a:ext>
            </a:extLst>
          </p:cNvPr>
          <p:cNvSpPr>
            <a:spLocks noGrp="1"/>
          </p:cNvSpPr>
          <p:nvPr>
            <p:ph type="ftr" sz="quarter" idx="11"/>
          </p:nvPr>
        </p:nvSpPr>
        <p:spPr/>
        <p:txBody>
          <a:bodyPr/>
          <a:lstStyle/>
          <a:p>
            <a:endParaRPr lang="fr-FR"/>
          </a:p>
        </p:txBody>
      </p:sp>
      <p:sp>
        <p:nvSpPr>
          <p:cNvPr id="4" name="Slide Number Placeholder 3">
            <a:extLst>
              <a:ext uri="{FF2B5EF4-FFF2-40B4-BE49-F238E27FC236}">
                <a16:creationId xmlns:a16="http://schemas.microsoft.com/office/drawing/2014/main" id="{C01BE2B1-DB0B-553A-8D60-459D0167CD3F}"/>
              </a:ext>
            </a:extLst>
          </p:cNvPr>
          <p:cNvSpPr>
            <a:spLocks noGrp="1"/>
          </p:cNvSpPr>
          <p:nvPr>
            <p:ph type="sldNum" sz="quarter" idx="12"/>
          </p:nvPr>
        </p:nvSpPr>
        <p:spPr/>
        <p:txBody>
          <a:bodyPr/>
          <a:lstStyle/>
          <a:p>
            <a:fld id="{4C086D7A-CAF7-4F02-A15A-30814B9E00AC}" type="slidenum">
              <a:rPr lang="fr-FR" smtClean="0"/>
              <a:t>‹#›</a:t>
            </a:fld>
            <a:endParaRPr lang="fr-FR"/>
          </a:p>
        </p:txBody>
      </p:sp>
    </p:spTree>
    <p:extLst>
      <p:ext uri="{BB962C8B-B14F-4D97-AF65-F5344CB8AC3E}">
        <p14:creationId xmlns:p14="http://schemas.microsoft.com/office/powerpoint/2010/main" val="4792093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14536500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836647094"/>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97557152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25935189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4785926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38831738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43174570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1407290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a:p>
        </p:txBody>
      </p:sp>
    </p:spTree>
    <p:extLst>
      <p:ext uri="{BB962C8B-B14F-4D97-AF65-F5344CB8AC3E}">
        <p14:creationId xmlns:p14="http://schemas.microsoft.com/office/powerpoint/2010/main" val="39078435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30917184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6168656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7123612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9578912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1" name="Slide Number Placeholder 6">
            <a:extLst>
              <a:ext uri="{FF2B5EF4-FFF2-40B4-BE49-F238E27FC236}">
                <a16:creationId xmlns:a16="http://schemas.microsoft.com/office/drawing/2014/main" id="{EB5E6D63-ED6C-FFA1-D1BB-6CCCB828D67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0262983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6258291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580143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2501" y="1261438"/>
            <a:ext cx="5420360"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4" name="Content Placeholder 3"/>
          <p:cNvSpPr>
            <a:spLocks noGrp="1"/>
          </p:cNvSpPr>
          <p:nvPr>
            <p:ph sz="half" idx="2" hasCustomPrompt="1"/>
          </p:nvPr>
        </p:nvSpPr>
        <p:spPr>
          <a:xfrm>
            <a:off x="462501" y="2076207"/>
            <a:ext cx="5420360"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ext Placeholder 4"/>
          <p:cNvSpPr>
            <a:spLocks noGrp="1"/>
          </p:cNvSpPr>
          <p:nvPr>
            <p:ph type="body" sz="quarter" idx="3" hasCustomPrompt="1"/>
          </p:nvPr>
        </p:nvSpPr>
        <p:spPr>
          <a:xfrm>
            <a:off x="6326189" y="1261438"/>
            <a:ext cx="5408612" cy="823912"/>
          </a:xfrm>
          <a:prstGeom prst="rect">
            <a:avLst/>
          </a:prstGeom>
        </p:spPr>
        <p:txBody>
          <a:bodyPr anchor="b">
            <a:normAutofit/>
          </a:bodyPr>
          <a:lstStyle>
            <a:lvl1pPr marL="0" indent="0">
              <a:buNone/>
              <a:defRPr sz="2400" b="1" i="0">
                <a:solidFill>
                  <a:schemeClr val="tx2"/>
                </a:solidFill>
                <a:latin typeface="Gill Sans MT" panose="020B0502020104020203" pitchFamily="34" charset="0"/>
                <a:cs typeface="Arial" panose="020B0604020202020204" pitchFamily="34" charset="0"/>
              </a:defRPr>
            </a:lvl1pPr>
            <a:lvl2pPr marL="457167" indent="0">
              <a:buNone/>
              <a:defRPr sz="2000" b="1"/>
            </a:lvl2pPr>
            <a:lvl3pPr marL="914332" indent="0">
              <a:buNone/>
              <a:defRPr sz="1867"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Insert Heading</a:t>
            </a:r>
          </a:p>
        </p:txBody>
      </p:sp>
      <p:sp>
        <p:nvSpPr>
          <p:cNvPr id="6" name="Content Placeholder 5"/>
          <p:cNvSpPr>
            <a:spLocks noGrp="1"/>
          </p:cNvSpPr>
          <p:nvPr>
            <p:ph sz="quarter" idx="4" hasCustomPrompt="1"/>
          </p:nvPr>
        </p:nvSpPr>
        <p:spPr>
          <a:xfrm>
            <a:off x="6326189" y="2076207"/>
            <a:ext cx="5408612" cy="3684588"/>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Rectangle 12">
            <a:extLst>
              <a:ext uri="{FF2B5EF4-FFF2-40B4-BE49-F238E27FC236}">
                <a16:creationId xmlns:a16="http://schemas.microsoft.com/office/drawing/2014/main" id="{60C5EB75-35E8-81D7-8F49-12F99BBF7E10}"/>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4" name="Title 4">
            <a:extLst>
              <a:ext uri="{FF2B5EF4-FFF2-40B4-BE49-F238E27FC236}">
                <a16:creationId xmlns:a16="http://schemas.microsoft.com/office/drawing/2014/main" id="{1DDBAE69-876F-903F-905C-1B921766DE73}"/>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6" name="Slide Number Placeholder 6">
            <a:extLst>
              <a:ext uri="{FF2B5EF4-FFF2-40B4-BE49-F238E27FC236}">
                <a16:creationId xmlns:a16="http://schemas.microsoft.com/office/drawing/2014/main" id="{618B4C2E-2288-7EB4-2D1C-DBF077D20F54}"/>
              </a:ext>
            </a:extLst>
          </p:cNvPr>
          <p:cNvSpPr>
            <a:spLocks noGrp="1"/>
          </p:cNvSpPr>
          <p:nvPr>
            <p:ph type="sldNum" sz="quarter" idx="10"/>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1741735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 2 box">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57200" y="1270000"/>
            <a:ext cx="5410200"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marL="457189" indent="-182875">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defRPr sz="2400" b="0" i="0">
                <a:solidFill>
                  <a:schemeClr val="tx2"/>
                </a:solidFill>
                <a:latin typeface="Gill Sans MT" panose="020B0502020104020203" pitchFamily="34" charset="0"/>
                <a:cs typeface="Arial" panose="020B0604020202020204" pitchFamily="34" charset="0"/>
              </a:defRPr>
            </a:lvl4pPr>
            <a:lvl5pPr marL="1051432" indent="-182875">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4" name="Content Placeholder 3"/>
          <p:cNvSpPr>
            <a:spLocks noGrp="1"/>
          </p:cNvSpPr>
          <p:nvPr>
            <p:ph sz="half" idx="2" hasCustomPrompt="1"/>
          </p:nvPr>
        </p:nvSpPr>
        <p:spPr>
          <a:xfrm>
            <a:off x="6324601" y="1270000"/>
            <a:ext cx="5408612" cy="4696791"/>
          </a:xfrm>
          <a:prstGeom prst="rect">
            <a:avLst/>
          </a:prstGeom>
        </p:spPr>
        <p:txBody>
          <a:bodyPr tIns="0" bIns="0">
            <a:normAutofit/>
          </a:bodyPr>
          <a:lstStyle>
            <a:lvl1pPr>
              <a:defRPr sz="2400" b="0" i="0">
                <a:solidFill>
                  <a:schemeClr val="tx2"/>
                </a:solidFill>
                <a:latin typeface="Gill Sans MT" panose="020B0502020104020203" pitchFamily="34" charset="0"/>
                <a:cs typeface="Arial" panose="020B0604020202020204" pitchFamily="34" charset="0"/>
              </a:defRPr>
            </a:lvl1pPr>
            <a:lvl2pPr>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BBD43C02-2BCB-0ED7-E529-3BD3E3A448B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4">
            <a:extLst>
              <a:ext uri="{FF2B5EF4-FFF2-40B4-BE49-F238E27FC236}">
                <a16:creationId xmlns:a16="http://schemas.microsoft.com/office/drawing/2014/main" id="{E8CEB1E8-DDDD-C3C5-6DD8-323BB703EDAE}"/>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4" name="Slide Number Placeholder 6">
            <a:extLst>
              <a:ext uri="{FF2B5EF4-FFF2-40B4-BE49-F238E27FC236}">
                <a16:creationId xmlns:a16="http://schemas.microsoft.com/office/drawing/2014/main" id="{D14B480B-97D9-3CAE-229D-D2B105A2A3A3}"/>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1597308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 3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4358640"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8254778" y="1225876"/>
            <a:ext cx="347472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0483455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 4 Box">
    <p:spTree>
      <p:nvGrpSpPr>
        <p:cNvPr id="1" name=""/>
        <p:cNvGrpSpPr/>
        <p:nvPr/>
      </p:nvGrpSpPr>
      <p:grpSpPr>
        <a:xfrm>
          <a:off x="0" y="0"/>
          <a:ext cx="0" cy="0"/>
          <a:chOff x="0" y="0"/>
          <a:chExt cx="0" cy="0"/>
        </a:xfrm>
      </p:grpSpPr>
      <p:sp>
        <p:nvSpPr>
          <p:cNvPr id="8" name="Content Placeholder 7"/>
          <p:cNvSpPr>
            <a:spLocks noGrp="1"/>
          </p:cNvSpPr>
          <p:nvPr>
            <p:ph sz="quarter" idx="12" hasCustomPrompt="1"/>
          </p:nvPr>
        </p:nvSpPr>
        <p:spPr>
          <a:xfrm>
            <a:off x="462502"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2" name="Content Placeholder 7"/>
          <p:cNvSpPr>
            <a:spLocks noGrp="1"/>
          </p:cNvSpPr>
          <p:nvPr>
            <p:ph sz="quarter" idx="13" hasCustomPrompt="1"/>
          </p:nvPr>
        </p:nvSpPr>
        <p:spPr>
          <a:xfrm>
            <a:off x="338836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3" name="Content Placeholder 7"/>
          <p:cNvSpPr>
            <a:spLocks noGrp="1"/>
          </p:cNvSpPr>
          <p:nvPr>
            <p:ph sz="quarter" idx="14" hasCustomPrompt="1"/>
          </p:nvPr>
        </p:nvSpPr>
        <p:spPr>
          <a:xfrm>
            <a:off x="632968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4" name="Content Placeholder 7"/>
          <p:cNvSpPr>
            <a:spLocks noGrp="1"/>
          </p:cNvSpPr>
          <p:nvPr>
            <p:ph sz="quarter" idx="15" hasCustomPrompt="1"/>
          </p:nvPr>
        </p:nvSpPr>
        <p:spPr>
          <a:xfrm>
            <a:off x="9260841" y="1225876"/>
            <a:ext cx="2476500" cy="4870126"/>
          </a:xfrm>
          <a:prstGeom prst="rect">
            <a:avLst/>
          </a:prstGeom>
        </p:spPr>
        <p:txBody>
          <a:bodyPr>
            <a:normAutofit/>
          </a:bodyPr>
          <a:lstStyle>
            <a:lvl1pPr>
              <a:defRPr sz="2400" b="0" i="0">
                <a:solidFill>
                  <a:schemeClr val="tx2"/>
                </a:solidFill>
                <a:latin typeface="Gill Sans MT" panose="020B0502020104020203" pitchFamily="34" charset="0"/>
                <a:cs typeface="Arial" panose="020B0604020202020204" pitchFamily="34" charset="0"/>
              </a:defRPr>
            </a:lvl1pPr>
            <a:lvl2pPr>
              <a:defRPr sz="2400" b="0" i="0">
                <a:solidFill>
                  <a:schemeClr val="tx2"/>
                </a:solidFill>
                <a:latin typeface="Gill Sans MT" panose="020B0502020104020203" pitchFamily="34" charset="0"/>
                <a:cs typeface="Arial" panose="020B0604020202020204" pitchFamily="34" charset="0"/>
              </a:defRPr>
            </a:lvl2pPr>
            <a:lvl3pPr marL="621776" indent="-182875">
              <a:defRPr lang="en-US" sz="2400" b="0" i="0" kern="1200" dirty="0" smtClean="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a:defRPr sz="2400" b="0" i="0">
                <a:solidFill>
                  <a:schemeClr val="tx2"/>
                </a:solidFill>
                <a:latin typeface="Gill Sans MT" panose="020B0502020104020203" pitchFamily="34" charset="0"/>
                <a:cs typeface="Arial" panose="020B0604020202020204" pitchFamily="34" charset="0"/>
              </a:defRPr>
            </a:lvl4pPr>
            <a:lvl5pPr>
              <a:defRPr sz="1467" b="0" i="0">
                <a:solidFill>
                  <a:schemeClr val="tx2"/>
                </a:solidFill>
                <a:latin typeface="Arial" panose="020B0604020202020204" pitchFamily="34" charset="0"/>
                <a:cs typeface="Arial" panose="020B0604020202020204" pitchFamily="34" charset="0"/>
              </a:defRPr>
            </a:lvl5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11" name="Rectangle 10">
            <a:extLst>
              <a:ext uri="{FF2B5EF4-FFF2-40B4-BE49-F238E27FC236}">
                <a16:creationId xmlns:a16="http://schemas.microsoft.com/office/drawing/2014/main" id="{E8244BF2-1888-0088-5FF0-A0C766D12ED3}"/>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4">
            <a:extLst>
              <a:ext uri="{FF2B5EF4-FFF2-40B4-BE49-F238E27FC236}">
                <a16:creationId xmlns:a16="http://schemas.microsoft.com/office/drawing/2014/main" id="{B2E290AC-BCEC-8033-6EB5-765D9E0D3E88}"/>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7" name="Slide Number Placeholder 6">
            <a:extLst>
              <a:ext uri="{FF2B5EF4-FFF2-40B4-BE49-F238E27FC236}">
                <a16:creationId xmlns:a16="http://schemas.microsoft.com/office/drawing/2014/main" id="{F48D5EB3-41A2-A676-79D5-EF32AB8214EC}"/>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1458734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ank you/Contact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59436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5" name="Picture 4">
            <a:extLst>
              <a:ext uri="{FF2B5EF4-FFF2-40B4-BE49-F238E27FC236}">
                <a16:creationId xmlns:a16="http://schemas.microsoft.com/office/drawing/2014/main" id="{2C77FD93-18BA-50FB-31E5-015E85C60E5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2D39A75D-33D8-244E-6531-751558B8F44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6" name="Group 5">
            <a:extLst>
              <a:ext uri="{FF2B5EF4-FFF2-40B4-BE49-F238E27FC236}">
                <a16:creationId xmlns:a16="http://schemas.microsoft.com/office/drawing/2014/main" id="{828A17F3-BC87-5E7F-7C14-EF34C2424C05}"/>
              </a:ext>
            </a:extLst>
          </p:cNvPr>
          <p:cNvGrpSpPr/>
          <p:nvPr userDrawn="1"/>
        </p:nvGrpSpPr>
        <p:grpSpPr>
          <a:xfrm>
            <a:off x="3781865" y="1902551"/>
            <a:ext cx="4628271" cy="2911495"/>
            <a:chOff x="3482490" y="1902551"/>
            <a:chExt cx="4628271" cy="2911495"/>
          </a:xfrm>
        </p:grpSpPr>
        <p:grpSp>
          <p:nvGrpSpPr>
            <p:cNvPr id="8" name="Group 7">
              <a:extLst>
                <a:ext uri="{FF2B5EF4-FFF2-40B4-BE49-F238E27FC236}">
                  <a16:creationId xmlns:a16="http://schemas.microsoft.com/office/drawing/2014/main" id="{2657FC1F-861D-82AF-93DE-10AF8DEFECEC}"/>
                </a:ext>
              </a:extLst>
            </p:cNvPr>
            <p:cNvGrpSpPr/>
            <p:nvPr/>
          </p:nvGrpSpPr>
          <p:grpSpPr>
            <a:xfrm>
              <a:off x="3482490" y="1902551"/>
              <a:ext cx="4628271" cy="2911495"/>
              <a:chOff x="3781864" y="2320389"/>
              <a:chExt cx="4628271" cy="2911495"/>
            </a:xfrm>
          </p:grpSpPr>
          <p:sp>
            <p:nvSpPr>
              <p:cNvPr id="11" name="Rectangle 10">
                <a:extLst>
                  <a:ext uri="{FF2B5EF4-FFF2-40B4-BE49-F238E27FC236}">
                    <a16:creationId xmlns:a16="http://schemas.microsoft.com/office/drawing/2014/main" id="{5B325CAE-CD14-EB9D-547D-519CB8CE1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2" name="TextBox 11">
                <a:extLst>
                  <a:ext uri="{FF2B5EF4-FFF2-40B4-BE49-F238E27FC236}">
                    <a16:creationId xmlns:a16="http://schemas.microsoft.com/office/drawing/2014/main" id="{74CCFAD2-2B70-7C1F-7176-86A4EE4DA970}"/>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9" name="Straight Connector 8">
              <a:extLst>
                <a:ext uri="{FF2B5EF4-FFF2-40B4-BE49-F238E27FC236}">
                  <a16:creationId xmlns:a16="http://schemas.microsoft.com/office/drawing/2014/main" id="{3E3B440E-C7C6-4838-38C9-D23844051BFE}"/>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0662BDC-ABF4-960D-245D-8924562200CB}"/>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3" name="Title 4">
            <a:extLst>
              <a:ext uri="{FF2B5EF4-FFF2-40B4-BE49-F238E27FC236}">
                <a16:creationId xmlns:a16="http://schemas.microsoft.com/office/drawing/2014/main" id="{24DB2F7E-AF69-0562-9B69-413BC3707241}"/>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5745076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2">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32604" b="34780"/>
          <a:stretch/>
        </p:blipFill>
        <p:spPr>
          <a:xfrm>
            <a:off x="9343687" y="6174673"/>
            <a:ext cx="2751858" cy="482255"/>
          </a:xfrm>
          <a:prstGeom prst="rect">
            <a:avLst/>
          </a:prstGeom>
        </p:spPr>
      </p:pic>
      <p:grpSp>
        <p:nvGrpSpPr>
          <p:cNvPr id="10" name="Group 9">
            <a:extLst>
              <a:ext uri="{FF2B5EF4-FFF2-40B4-BE49-F238E27FC236}">
                <a16:creationId xmlns:a16="http://schemas.microsoft.com/office/drawing/2014/main" id="{7C69A21A-ED2A-6D11-A797-78C51F999F40}"/>
              </a:ext>
            </a:extLst>
          </p:cNvPr>
          <p:cNvGrpSpPr/>
          <p:nvPr userDrawn="1"/>
        </p:nvGrpSpPr>
        <p:grpSpPr>
          <a:xfrm>
            <a:off x="3781865" y="1902551"/>
            <a:ext cx="4628271" cy="2911495"/>
            <a:chOff x="3482490" y="1902551"/>
            <a:chExt cx="4628271" cy="2911495"/>
          </a:xfrm>
        </p:grpSpPr>
        <p:grpSp>
          <p:nvGrpSpPr>
            <p:cNvPr id="11" name="Group 10">
              <a:extLst>
                <a:ext uri="{FF2B5EF4-FFF2-40B4-BE49-F238E27FC236}">
                  <a16:creationId xmlns:a16="http://schemas.microsoft.com/office/drawing/2014/main" id="{8171E9CF-6719-D321-0CC3-AA50D1715B17}"/>
                </a:ext>
              </a:extLst>
            </p:cNvPr>
            <p:cNvGrpSpPr/>
            <p:nvPr/>
          </p:nvGrpSpPr>
          <p:grpSpPr>
            <a:xfrm>
              <a:off x="3482490" y="1902551"/>
              <a:ext cx="4628271" cy="2911495"/>
              <a:chOff x="3781864" y="2320389"/>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2320389"/>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2698856"/>
                <a:ext cx="3798276" cy="707886"/>
              </a:xfrm>
              <a:prstGeom prst="rect">
                <a:avLst/>
              </a:prstGeom>
              <a:noFill/>
            </p:spPr>
            <p:txBody>
              <a:bodyPr wrap="square" rtlCol="0">
                <a:spAutoFit/>
              </a:bodyPr>
              <a:lstStyle/>
              <a:p>
                <a:pPr algn="ctr"/>
                <a:r>
                  <a:rPr lang="en-US" sz="4000" spc="300">
                    <a:solidFill>
                      <a:schemeClr val="bg1"/>
                    </a:solidFill>
                    <a:latin typeface="Gill Sans MT" panose="020B0502020104020203" pitchFamily="34" charset="0"/>
                    <a:cs typeface="Arial" panose="020B0604020202020204" pitchFamily="34" charset="0"/>
                  </a:rPr>
                  <a:t>THANK YOU</a:t>
                </a:r>
              </a:p>
            </p:txBody>
          </p:sp>
        </p:grpSp>
        <p:cxnSp>
          <p:nvCxnSpPr>
            <p:cNvPr id="12" name="Straight Connector 11">
              <a:extLst>
                <a:ext uri="{FF2B5EF4-FFF2-40B4-BE49-F238E27FC236}">
                  <a16:creationId xmlns:a16="http://schemas.microsoft.com/office/drawing/2014/main" id="{68FFA3C1-1964-2DB4-A5C8-13F9B2913893}"/>
                </a:ext>
              </a:extLst>
            </p:cNvPr>
            <p:cNvCxnSpPr>
              <a:cxnSpLocks/>
            </p:cNvCxnSpPr>
            <p:nvPr/>
          </p:nvCxnSpPr>
          <p:spPr>
            <a:xfrm>
              <a:off x="3503716" y="3267346"/>
              <a:ext cx="4572000" cy="0"/>
            </a:xfrm>
            <a:prstGeom prst="line">
              <a:avLst/>
            </a:prstGeom>
            <a:ln w="76200" cmpd="dbl">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BEA336A-9E80-FBFE-4F58-6A51C5A900CD}"/>
                </a:ext>
              </a:extLst>
            </p:cNvPr>
            <p:cNvSpPr txBox="1"/>
            <p:nvPr/>
          </p:nvSpPr>
          <p:spPr>
            <a:xfrm>
              <a:off x="3721295" y="3358298"/>
              <a:ext cx="4150660" cy="424230"/>
            </a:xfrm>
            <a:prstGeom prst="rect">
              <a:avLst/>
            </a:prstGeom>
            <a:noFill/>
            <a:ln w="76200" cmpd="dbl">
              <a:noFill/>
            </a:ln>
          </p:spPr>
          <p:txBody>
            <a:bodyPr wrap="square" rtlCol="0" anchor="ctr">
              <a:noAutofit/>
            </a:bodyPr>
            <a:lstStyle/>
            <a:p>
              <a:pPr algn="ctr">
                <a:spcAft>
                  <a:spcPts val="400"/>
                </a:spcAft>
              </a:pPr>
              <a:r>
                <a:rPr lang="en-US" sz="1400">
                  <a:solidFill>
                    <a:schemeClr val="bg1"/>
                  </a:solidFill>
                  <a:latin typeface="Gill Sans MT" panose="020B0502020104020203" pitchFamily="34" charset="0"/>
                  <a:cs typeface="Arial" panose="020B0604020202020204" pitchFamily="34" charset="0"/>
                </a:rPr>
                <a:t>FOR MORE INFORMATION, PLEASE CONTACT:</a:t>
              </a:r>
            </a:p>
          </p:txBody>
        </p:sp>
      </p:grpSp>
      <p:sp>
        <p:nvSpPr>
          <p:cNvPr id="16" name="Title 4">
            <a:extLst>
              <a:ext uri="{FF2B5EF4-FFF2-40B4-BE49-F238E27FC236}">
                <a16:creationId xmlns:a16="http://schemas.microsoft.com/office/drawing/2014/main" id="{4F68EDAD-52F6-18EA-71A5-7DF0E6AEC9B5}"/>
              </a:ext>
            </a:extLst>
          </p:cNvPr>
          <p:cNvSpPr>
            <a:spLocks noGrp="1"/>
          </p:cNvSpPr>
          <p:nvPr>
            <p:ph type="title" hasCustomPrompt="1"/>
          </p:nvPr>
        </p:nvSpPr>
        <p:spPr>
          <a:xfrm>
            <a:off x="3962400" y="3714154"/>
            <a:ext cx="4343400" cy="917985"/>
          </a:xfrm>
          <a:prstGeom prst="rect">
            <a:avLst/>
          </a:prstGeom>
        </p:spPr>
        <p:txBody>
          <a:bodyPr anchor="ctr">
            <a:normAutofit/>
          </a:bodyPr>
          <a:lstStyle>
            <a:lvl1pPr algn="ctr">
              <a:defRPr sz="2000" b="0" i="0">
                <a:solidFill>
                  <a:schemeClr val="bg1"/>
                </a:solidFill>
                <a:latin typeface="Gill Sans MT" panose="020B0502020104020203" pitchFamily="34" charset="0"/>
              </a:defRPr>
            </a:lvl1pPr>
          </a:lstStyle>
          <a:p>
            <a:r>
              <a:rPr lang="en-US"/>
              <a:t>Insert Name, Title</a:t>
            </a:r>
            <a:br>
              <a:rPr lang="en-US"/>
            </a:br>
            <a:r>
              <a:rPr lang="en-US"/>
              <a:t>Email Address</a:t>
            </a:r>
          </a:p>
        </p:txBody>
      </p:sp>
    </p:spTree>
    <p:extLst>
      <p:ext uri="{BB962C8B-B14F-4D97-AF65-F5344CB8AC3E}">
        <p14:creationId xmlns:p14="http://schemas.microsoft.com/office/powerpoint/2010/main" val="2092717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losing Slide - Teal">
    <p:spTree>
      <p:nvGrpSpPr>
        <p:cNvPr id="1" name=""/>
        <p:cNvGrpSpPr/>
        <p:nvPr/>
      </p:nvGrpSpPr>
      <p:grpSpPr>
        <a:xfrm>
          <a:off x="0" y="0"/>
          <a:ext cx="0" cy="0"/>
          <a:chOff x="0" y="0"/>
          <a:chExt cx="0" cy="0"/>
        </a:xfrm>
      </p:grpSpPr>
      <p:sp>
        <p:nvSpPr>
          <p:cNvPr id="4" name="Shape 271">
            <a:extLst>
              <a:ext uri="{FF2B5EF4-FFF2-40B4-BE49-F238E27FC236}">
                <a16:creationId xmlns:a16="http://schemas.microsoft.com/office/drawing/2014/main" id="{6D6A98C1-561E-314E-99DC-D9ED2330478D}"/>
              </a:ext>
            </a:extLst>
          </p:cNvPr>
          <p:cNvSpPr/>
          <p:nvPr userDrawn="1"/>
        </p:nvSpPr>
        <p:spPr>
          <a:xfrm>
            <a:off x="0" y="0"/>
            <a:ext cx="12192000"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Gill Sans MT" panose="020B0502020104020203" pitchFamily="34" charset="0"/>
            </a:endParaRPr>
          </a:p>
        </p:txBody>
      </p:sp>
      <p:pic>
        <p:nvPicPr>
          <p:cNvPr id="3" name="Picture 2" descr="Logo, company name&#10;&#10;Description automatically generated">
            <a:extLst>
              <a:ext uri="{FF2B5EF4-FFF2-40B4-BE49-F238E27FC236}">
                <a16:creationId xmlns:a16="http://schemas.microsoft.com/office/drawing/2014/main" id="{29FA837C-231A-7945-18C4-3AD2EE1ABD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02563" y="1364779"/>
            <a:ext cx="7786874" cy="4128441"/>
          </a:xfrm>
          <a:prstGeom prst="rect">
            <a:avLst/>
          </a:prstGeom>
        </p:spPr>
      </p:pic>
      <p:sp>
        <p:nvSpPr>
          <p:cNvPr id="9" name="Rectangle 8">
            <a:extLst>
              <a:ext uri="{FF2B5EF4-FFF2-40B4-BE49-F238E27FC236}">
                <a16:creationId xmlns:a16="http://schemas.microsoft.com/office/drawing/2014/main" id="{ADB96015-8C58-F976-476A-2FA544904350}"/>
              </a:ext>
            </a:extLst>
          </p:cNvPr>
          <p:cNvSpPr/>
          <p:nvPr userDrawn="1"/>
        </p:nvSpPr>
        <p:spPr>
          <a:xfrm>
            <a:off x="381000" y="352410"/>
            <a:ext cx="11400168" cy="615315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l Sans MT" panose="020B0502020104020203" pitchFamily="34" charset="0"/>
            </a:endParaRPr>
          </a:p>
        </p:txBody>
      </p:sp>
    </p:spTree>
    <p:extLst>
      <p:ext uri="{BB962C8B-B14F-4D97-AF65-F5344CB8AC3E}">
        <p14:creationId xmlns:p14="http://schemas.microsoft.com/office/powerpoint/2010/main" val="34625558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ent - Full Width">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33705410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a:xfrm>
            <a:off x="11280901" y="6393515"/>
            <a:ext cx="451899" cy="182880"/>
          </a:xfrm>
          <a:prstGeom prst="rect">
            <a:avLst/>
          </a:prstGeom>
        </p:spPr>
        <p:txBody>
          <a:bodyPr/>
          <a:lstStyle/>
          <a:p>
            <a:fld id="{4755468B-C2BA-8B42-ABD6-597061763577}" type="slidenum">
              <a:rPr lang="en-US" smtClean="0"/>
              <a:pPr/>
              <a:t>‹#›</a:t>
            </a:fld>
            <a:endParaRPr lang="en-US"/>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1082444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dirty="0"/>
          </a:p>
        </p:txBody>
      </p:sp>
      <p:grpSp>
        <p:nvGrpSpPr>
          <p:cNvPr id="4" name="Group 3">
            <a:extLst>
              <a:ext uri="{FF2B5EF4-FFF2-40B4-BE49-F238E27FC236}">
                <a16:creationId xmlns:a16="http://schemas.microsoft.com/office/drawing/2014/main" id="{3E618B93-427A-266E-E4B1-A91582343071}"/>
              </a:ext>
            </a:extLst>
          </p:cNvPr>
          <p:cNvGrpSpPr/>
          <p:nvPr userDrawn="1"/>
        </p:nvGrpSpPr>
        <p:grpSpPr>
          <a:xfrm>
            <a:off x="1836520" y="1053602"/>
            <a:ext cx="904875" cy="683147"/>
            <a:chOff x="1836520" y="1053602"/>
            <a:chExt cx="904875" cy="683147"/>
          </a:xfrm>
          <a:solidFill>
            <a:schemeClr val="bg1"/>
          </a:solidFill>
        </p:grpSpPr>
        <p:sp>
          <p:nvSpPr>
            <p:cNvPr id="5" name="Freeform 6">
              <a:extLst>
                <a:ext uri="{FF2B5EF4-FFF2-40B4-BE49-F238E27FC236}">
                  <a16:creationId xmlns:a16="http://schemas.microsoft.com/office/drawing/2014/main" id="{C82351CB-1D69-5A57-53E5-9EC6B1C371A4}"/>
                </a:ext>
              </a:extLst>
            </p:cNvPr>
            <p:cNvSpPr/>
            <p:nvPr/>
          </p:nvSpPr>
          <p:spPr>
            <a:xfrm>
              <a:off x="2341345"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53228 h 683147"/>
                <a:gd name="connsiteX7" fmla="*/ 256223 w 400050"/>
                <a:gd name="connsiteY7" fmla="*/ 117165 h 683147"/>
                <a:gd name="connsiteX8" fmla="*/ 318135 w 400050"/>
                <a:gd name="connsiteY8" fmla="*/ 117165 h 683147"/>
                <a:gd name="connsiteX9" fmla="*/ 340043 w 400050"/>
                <a:gd name="connsiteY9" fmla="*/ 95433 h 683147"/>
                <a:gd name="connsiteX10" fmla="*/ 340043 w 400050"/>
                <a:gd name="connsiteY10" fmla="*/ 21732 h 683147"/>
                <a:gd name="connsiteX11" fmla="*/ 318135 w 400050"/>
                <a:gd name="connsiteY11" fmla="*/ 0 h 683147"/>
                <a:gd name="connsiteX12" fmla="*/ 256223 w 400050"/>
                <a:gd name="connsiteY12" fmla="*/ 0 h 683147"/>
                <a:gd name="connsiteX13" fmla="*/ 0 w 400050"/>
                <a:gd name="connsiteY13" fmla="*/ 254172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53228"/>
                  </a:lnTo>
                  <a:cubicBezTo>
                    <a:pt x="119063" y="177637"/>
                    <a:pt x="180975" y="117165"/>
                    <a:pt x="256223" y="117165"/>
                  </a:cubicBezTo>
                  <a:lnTo>
                    <a:pt x="318135" y="117165"/>
                  </a:lnTo>
                  <a:cubicBezTo>
                    <a:pt x="330518" y="117165"/>
                    <a:pt x="340043" y="107716"/>
                    <a:pt x="340043" y="95433"/>
                  </a:cubicBezTo>
                  <a:lnTo>
                    <a:pt x="340043" y="21732"/>
                  </a:lnTo>
                  <a:cubicBezTo>
                    <a:pt x="340043" y="9449"/>
                    <a:pt x="330518" y="0"/>
                    <a:pt x="318135" y="0"/>
                  </a:cubicBezTo>
                  <a:lnTo>
                    <a:pt x="256223" y="0"/>
                  </a:lnTo>
                  <a:cubicBezTo>
                    <a:pt x="114300" y="0"/>
                    <a:pt x="0" y="113386"/>
                    <a:pt x="0" y="254172"/>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sp>
          <p:nvSpPr>
            <p:cNvPr id="6" name="Freeform 7">
              <a:extLst>
                <a:ext uri="{FF2B5EF4-FFF2-40B4-BE49-F238E27FC236}">
                  <a16:creationId xmlns:a16="http://schemas.microsoft.com/office/drawing/2014/main" id="{06807061-A77D-8B8A-DD01-B4192E15CF12}"/>
                </a:ext>
              </a:extLst>
            </p:cNvPr>
            <p:cNvSpPr/>
            <p:nvPr/>
          </p:nvSpPr>
          <p:spPr>
            <a:xfrm>
              <a:off x="1836520" y="1053602"/>
              <a:ext cx="400050" cy="683147"/>
            </a:xfrm>
            <a:custGeom>
              <a:avLst/>
              <a:gdLst>
                <a:gd name="connsiteX0" fmla="*/ 70485 w 400050"/>
                <a:gd name="connsiteY0" fmla="*/ 683148 h 683147"/>
                <a:gd name="connsiteX1" fmla="*/ 329565 w 400050"/>
                <a:gd name="connsiteY1" fmla="*/ 683148 h 683147"/>
                <a:gd name="connsiteX2" fmla="*/ 400050 w 400050"/>
                <a:gd name="connsiteY2" fmla="*/ 613227 h 683147"/>
                <a:gd name="connsiteX3" fmla="*/ 400050 w 400050"/>
                <a:gd name="connsiteY3" fmla="*/ 354330 h 683147"/>
                <a:gd name="connsiteX4" fmla="*/ 329565 w 400050"/>
                <a:gd name="connsiteY4" fmla="*/ 284409 h 683147"/>
                <a:gd name="connsiteX5" fmla="*/ 119063 w 400050"/>
                <a:gd name="connsiteY5" fmla="*/ 284409 h 683147"/>
                <a:gd name="connsiteX6" fmla="*/ 119063 w 400050"/>
                <a:gd name="connsiteY6" fmla="*/ 231496 h 683147"/>
                <a:gd name="connsiteX7" fmla="*/ 234315 w 400050"/>
                <a:gd name="connsiteY7" fmla="*/ 117165 h 683147"/>
                <a:gd name="connsiteX8" fmla="*/ 319088 w 400050"/>
                <a:gd name="connsiteY8" fmla="*/ 117165 h 683147"/>
                <a:gd name="connsiteX9" fmla="*/ 340995 w 400050"/>
                <a:gd name="connsiteY9" fmla="*/ 95433 h 683147"/>
                <a:gd name="connsiteX10" fmla="*/ 340995 w 400050"/>
                <a:gd name="connsiteY10" fmla="*/ 21732 h 683147"/>
                <a:gd name="connsiteX11" fmla="*/ 319088 w 400050"/>
                <a:gd name="connsiteY11" fmla="*/ 0 h 683147"/>
                <a:gd name="connsiteX12" fmla="*/ 234315 w 400050"/>
                <a:gd name="connsiteY12" fmla="*/ 0 h 683147"/>
                <a:gd name="connsiteX13" fmla="*/ 0 w 400050"/>
                <a:gd name="connsiteY13" fmla="*/ 232440 h 683147"/>
                <a:gd name="connsiteX14" fmla="*/ 0 w 400050"/>
                <a:gd name="connsiteY14" fmla="*/ 614172 h 683147"/>
                <a:gd name="connsiteX15" fmla="*/ 70485 w 400050"/>
                <a:gd name="connsiteY15" fmla="*/ 683148 h 6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0050" h="683147">
                  <a:moveTo>
                    <a:pt x="70485" y="683148"/>
                  </a:moveTo>
                  <a:lnTo>
                    <a:pt x="329565" y="683148"/>
                  </a:lnTo>
                  <a:cubicBezTo>
                    <a:pt x="368618" y="683148"/>
                    <a:pt x="400050" y="651967"/>
                    <a:pt x="400050" y="613227"/>
                  </a:cubicBezTo>
                  <a:lnTo>
                    <a:pt x="400050" y="354330"/>
                  </a:lnTo>
                  <a:cubicBezTo>
                    <a:pt x="400050" y="315590"/>
                    <a:pt x="368618" y="284409"/>
                    <a:pt x="329565" y="284409"/>
                  </a:cubicBezTo>
                  <a:lnTo>
                    <a:pt x="119063" y="284409"/>
                  </a:lnTo>
                  <a:lnTo>
                    <a:pt x="119063" y="231496"/>
                  </a:lnTo>
                  <a:cubicBezTo>
                    <a:pt x="119063" y="168189"/>
                    <a:pt x="170498" y="117165"/>
                    <a:pt x="234315" y="117165"/>
                  </a:cubicBezTo>
                  <a:lnTo>
                    <a:pt x="319088" y="117165"/>
                  </a:lnTo>
                  <a:cubicBezTo>
                    <a:pt x="331470" y="117165"/>
                    <a:pt x="340995" y="107716"/>
                    <a:pt x="340995" y="95433"/>
                  </a:cubicBezTo>
                  <a:lnTo>
                    <a:pt x="340995" y="21732"/>
                  </a:lnTo>
                  <a:cubicBezTo>
                    <a:pt x="340995" y="9449"/>
                    <a:pt x="331470" y="0"/>
                    <a:pt x="319088" y="0"/>
                  </a:cubicBezTo>
                  <a:lnTo>
                    <a:pt x="234315" y="0"/>
                  </a:lnTo>
                  <a:cubicBezTo>
                    <a:pt x="104775" y="0"/>
                    <a:pt x="0" y="103937"/>
                    <a:pt x="0" y="232440"/>
                  </a:cubicBezTo>
                  <a:lnTo>
                    <a:pt x="0" y="614172"/>
                  </a:lnTo>
                  <a:cubicBezTo>
                    <a:pt x="0" y="651967"/>
                    <a:pt x="31432" y="683148"/>
                    <a:pt x="70485" y="683148"/>
                  </a:cubicBezTo>
                  <a:close/>
                </a:path>
              </a:pathLst>
            </a:custGeom>
            <a:grpFill/>
            <a:ln w="9525" cap="flat">
              <a:noFill/>
              <a:prstDash val="solid"/>
              <a:miter/>
            </a:ln>
          </p:spPr>
          <p:txBody>
            <a:bodyPr rtlCol="0" anchor="ctr"/>
            <a:lstStyle/>
            <a:p>
              <a:endParaRPr lang="en-US" dirty="0"/>
            </a:p>
          </p:txBody>
        </p:sp>
      </p:gr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32008517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Open Spac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F1BCC45-8CF8-8AA1-7E72-FE1D0602959D}"/>
              </a:ext>
            </a:extLst>
          </p:cNvPr>
          <p:cNvSpPr/>
          <p:nvPr userDrawn="1"/>
        </p:nvSpPr>
        <p:spPr>
          <a:xfrm>
            <a:off x="0" y="-1"/>
            <a:ext cx="12192000" cy="1143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4">
            <a:extLst>
              <a:ext uri="{FF2B5EF4-FFF2-40B4-BE49-F238E27FC236}">
                <a16:creationId xmlns:a16="http://schemas.microsoft.com/office/drawing/2014/main" id="{3E18D48E-2CA6-AAEE-FD5B-BB086D851C59}"/>
              </a:ext>
            </a:extLst>
          </p:cNvPr>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Insert Title</a:t>
            </a:r>
          </a:p>
        </p:txBody>
      </p:sp>
      <p:sp>
        <p:nvSpPr>
          <p:cNvPr id="2" name="Slide Number Placeholder 2">
            <a:extLst>
              <a:ext uri="{FF2B5EF4-FFF2-40B4-BE49-F238E27FC236}">
                <a16:creationId xmlns:a16="http://schemas.microsoft.com/office/drawing/2014/main" id="{51229C79-609E-009D-DF27-1CDB5816D7F6}"/>
              </a:ext>
            </a:extLst>
          </p:cNvPr>
          <p:cNvSpPr txBox="1">
            <a:spLocks/>
          </p:cNvSpPr>
          <p:nvPr userDrawn="1"/>
        </p:nvSpPr>
        <p:spPr>
          <a:xfrm>
            <a:off x="11611101" y="6662085"/>
            <a:ext cx="451899" cy="182880"/>
          </a:xfrm>
          <a:prstGeom prst="rect">
            <a:avLst/>
          </a:prstGeom>
        </p:spPr>
        <p:txBody>
          <a:bodyPr lIns="0" tIns="0" rIns="0" bIns="0"/>
          <a:lstStyle>
            <a:defPPr>
              <a:defRPr lang="en-US"/>
            </a:defPPr>
            <a:lvl1pPr marL="0" algn="r" defTabSz="1219170" rtl="0" eaLnBrk="1" latinLnBrk="0" hangingPunct="1">
              <a:defRPr sz="1100" kern="1200">
                <a:solidFill>
                  <a:schemeClr val="tx2"/>
                </a:solidFill>
                <a:latin typeface="Gill Sans MT" panose="020B0502020104020203" pitchFamily="34" charset="0"/>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fld id="{4755468B-C2BA-8B42-ABD6-597061763577}" type="slidenum">
              <a:rPr lang="en-US" sz="1000" smtClean="0">
                <a:solidFill>
                  <a:srgbClr val="112E38"/>
                </a:solidFill>
                <a:latin typeface="+mn-lt"/>
                <a:cs typeface="Arial" panose="020B0604020202020204" pitchFamily="34" charset="0"/>
              </a:rPr>
              <a:pPr>
                <a:defRPr/>
              </a:pPr>
              <a:t>‹#›</a:t>
            </a:fld>
            <a:endParaRPr lang="en-US" sz="1000">
              <a:solidFill>
                <a:srgbClr val="112E38"/>
              </a:solidFill>
              <a:latin typeface="+mn-lt"/>
              <a:cs typeface="Arial" panose="020B0604020202020204" pitchFamily="34" charset="0"/>
            </a:endParaRPr>
          </a:p>
        </p:txBody>
      </p:sp>
    </p:spTree>
    <p:extLst>
      <p:ext uri="{BB962C8B-B14F-4D97-AF65-F5344CB8AC3E}">
        <p14:creationId xmlns:p14="http://schemas.microsoft.com/office/powerpoint/2010/main" val="12008966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35300870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
        <p:nvSpPr>
          <p:cNvPr id="2" name="Slide Number Placeholder 6">
            <a:extLst>
              <a:ext uri="{FF2B5EF4-FFF2-40B4-BE49-F238E27FC236}">
                <a16:creationId xmlns:a16="http://schemas.microsoft.com/office/drawing/2014/main" id="{788DF416-2BBB-0EC9-06AA-579A068F3BA3}"/>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4912973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207831240"/>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Contact - Standard Im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112F71-E5C2-2161-F427-1E28FF3BCD4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4112F71-E5C2-2161-F427-1E28FF3BCD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B702226-3919-3FD0-C597-E8523EB7F147}"/>
              </a:ext>
            </a:extLst>
          </p:cNvPr>
          <p:cNvPicPr>
            <a:picLocks noChangeAspect="1"/>
          </p:cNvPicPr>
          <p:nvPr userDrawn="1"/>
        </p:nvPicPr>
        <p:blipFill rotWithShape="1">
          <a:blip r:embed="rId5">
            <a:duotone>
              <a:prstClr val="black"/>
              <a:schemeClr val="tx2">
                <a:tint val="45000"/>
                <a:satMod val="400000"/>
              </a:schemeClr>
            </a:duotone>
          </a:blip>
          <a:srcRect l="2520" t="17130" r="2520" b="25963"/>
          <a:stretch/>
        </p:blipFill>
        <p:spPr>
          <a:xfrm>
            <a:off x="0" y="0"/>
            <a:ext cx="12192000" cy="5936566"/>
          </a:xfrm>
          <a:prstGeom prst="rect">
            <a:avLst/>
          </a:prstGeom>
        </p:spPr>
      </p:pic>
      <p:pic>
        <p:nvPicPr>
          <p:cNvPr id="6" name="Picture 5">
            <a:extLst>
              <a:ext uri="{FF2B5EF4-FFF2-40B4-BE49-F238E27FC236}">
                <a16:creationId xmlns:a16="http://schemas.microsoft.com/office/drawing/2014/main" id="{A9988ECA-2153-9FE6-8FA2-B30F370EEC5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35280" y="6174674"/>
            <a:ext cx="1607174" cy="482254"/>
          </a:xfrm>
          <a:prstGeom prst="rect">
            <a:avLst/>
          </a:prstGeom>
          <a:noFill/>
          <a:ln>
            <a:noFill/>
          </a:ln>
        </p:spPr>
      </p:pic>
      <p:pic>
        <p:nvPicPr>
          <p:cNvPr id="7" name="Picture 6" descr="Logo, company name&#10;&#10;Description automatically generated">
            <a:extLst>
              <a:ext uri="{FF2B5EF4-FFF2-40B4-BE49-F238E27FC236}">
                <a16:creationId xmlns:a16="http://schemas.microsoft.com/office/drawing/2014/main" id="{89B479D5-6162-38E8-023A-F830DAAF684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32604" b="34780"/>
          <a:stretch/>
        </p:blipFill>
        <p:spPr>
          <a:xfrm>
            <a:off x="2191783" y="6174673"/>
            <a:ext cx="2751858" cy="482255"/>
          </a:xfrm>
          <a:prstGeom prst="rect">
            <a:avLst/>
          </a:prstGeom>
        </p:spPr>
      </p:pic>
      <p:grpSp>
        <p:nvGrpSpPr>
          <p:cNvPr id="11" name="Group 10">
            <a:extLst>
              <a:ext uri="{FF2B5EF4-FFF2-40B4-BE49-F238E27FC236}">
                <a16:creationId xmlns:a16="http://schemas.microsoft.com/office/drawing/2014/main" id="{8171E9CF-6719-D321-0CC3-AA50D1715B17}"/>
              </a:ext>
            </a:extLst>
          </p:cNvPr>
          <p:cNvGrpSpPr/>
          <p:nvPr/>
        </p:nvGrpSpPr>
        <p:grpSpPr>
          <a:xfrm>
            <a:off x="3926561" y="2484883"/>
            <a:ext cx="4338878" cy="1118290"/>
            <a:chOff x="3781864" y="3652431"/>
            <a:chExt cx="4628271" cy="2911495"/>
          </a:xfrm>
        </p:grpSpPr>
        <p:sp>
          <p:nvSpPr>
            <p:cNvPr id="14" name="Rectangle 13">
              <a:extLst>
                <a:ext uri="{FF2B5EF4-FFF2-40B4-BE49-F238E27FC236}">
                  <a16:creationId xmlns:a16="http://schemas.microsoft.com/office/drawing/2014/main" id="{72635E3D-EC84-C973-54E7-1CFA5A729650}"/>
                </a:ext>
              </a:extLst>
            </p:cNvPr>
            <p:cNvSpPr/>
            <p:nvPr/>
          </p:nvSpPr>
          <p:spPr>
            <a:xfrm>
              <a:off x="3781864" y="3652431"/>
              <a:ext cx="4628271" cy="2911495"/>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latin typeface="Gill Sans MT" panose="020B0502020104020203" pitchFamily="34" charset="0"/>
              </a:endParaRPr>
            </a:p>
          </p:txBody>
        </p:sp>
        <p:sp>
          <p:nvSpPr>
            <p:cNvPr id="15" name="TextBox 14">
              <a:extLst>
                <a:ext uri="{FF2B5EF4-FFF2-40B4-BE49-F238E27FC236}">
                  <a16:creationId xmlns:a16="http://schemas.microsoft.com/office/drawing/2014/main" id="{4CC9DB3C-9BEA-3554-9BE3-F42CF1FF588C}"/>
                </a:ext>
              </a:extLst>
            </p:cNvPr>
            <p:cNvSpPr txBox="1"/>
            <p:nvPr/>
          </p:nvSpPr>
          <p:spPr>
            <a:xfrm>
              <a:off x="4196861" y="4229276"/>
              <a:ext cx="3798276" cy="1842998"/>
            </a:xfrm>
            <a:prstGeom prst="rect">
              <a:avLst/>
            </a:prstGeom>
            <a:noFill/>
          </p:spPr>
          <p:txBody>
            <a:bodyPr wrap="square" rtlCol="0" anchor="t">
              <a:spAutoFit/>
            </a:bodyPr>
            <a:lstStyle/>
            <a:p>
              <a:pPr algn="ctr"/>
              <a:r>
                <a:rPr lang="en-US" sz="4000" spc="300">
                  <a:solidFill>
                    <a:schemeClr val="bg1"/>
                  </a:solidFill>
                  <a:latin typeface="Arial" panose="020B0604020202020204" pitchFamily="34" charset="0"/>
                  <a:cs typeface="Arial" panose="020B0604020202020204" pitchFamily="34" charset="0"/>
                </a:rPr>
                <a:t>THANK YOU</a:t>
              </a:r>
            </a:p>
          </p:txBody>
        </p:sp>
      </p:grpSp>
    </p:spTree>
    <p:extLst>
      <p:ext uri="{BB962C8B-B14F-4D97-AF65-F5344CB8AC3E}">
        <p14:creationId xmlns:p14="http://schemas.microsoft.com/office/powerpoint/2010/main" val="8026064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ED7804-0E50-2BD9-93DB-1124F73D7059}"/>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4986476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le Slide - Teal">
    <p:bg>
      <p:bgRef idx="1001">
        <a:schemeClr val="bg1"/>
      </p:bgRef>
    </p:bg>
    <p:spTree>
      <p:nvGrpSpPr>
        <p:cNvPr id="1" name=""/>
        <p:cNvGrpSpPr/>
        <p:nvPr/>
      </p:nvGrpSpPr>
      <p:grpSpPr>
        <a:xfrm>
          <a:off x="0" y="0"/>
          <a:ext cx="0" cy="0"/>
          <a:chOff x="0" y="0"/>
          <a:chExt cx="0" cy="0"/>
        </a:xfrm>
      </p:grpSpPr>
      <p:sp>
        <p:nvSpPr>
          <p:cNvPr id="7" name="Shape 271">
            <a:extLst>
              <a:ext uri="{FF2B5EF4-FFF2-40B4-BE49-F238E27FC236}">
                <a16:creationId xmlns:a16="http://schemas.microsoft.com/office/drawing/2014/main" id="{6C3C6803-9C2E-444E-B804-93979671675F}"/>
              </a:ext>
            </a:extLst>
          </p:cNvPr>
          <p:cNvSpPr/>
          <p:nvPr userDrawn="1"/>
        </p:nvSpPr>
        <p:spPr>
          <a:xfrm>
            <a:off x="0" y="990600"/>
            <a:ext cx="12192000" cy="58674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2" name="Title 1"/>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3" name="Subtitle 2"/>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5" name="Footer Placeholder 4"/>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0" name="Rectangle 9">
            <a:extLst>
              <a:ext uri="{FF2B5EF4-FFF2-40B4-BE49-F238E27FC236}">
                <a16:creationId xmlns:a16="http://schemas.microsoft.com/office/drawing/2014/main" id="{0814A976-6263-2039-8172-64BAEC63FEE4}"/>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a:extLst>
              <a:ext uri="{FF2B5EF4-FFF2-40B4-BE49-F238E27FC236}">
                <a16:creationId xmlns:a16="http://schemas.microsoft.com/office/drawing/2014/main" id="{3FD405C8-CA27-C93F-DE5C-05DDE9D8D8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3" name="Picture 12" descr="Logo, company name&#10;&#10;Description automatically generated">
            <a:extLst>
              <a:ext uri="{FF2B5EF4-FFF2-40B4-BE49-F238E27FC236}">
                <a16:creationId xmlns:a16="http://schemas.microsoft.com/office/drawing/2014/main" id="{69AB3714-EF99-C8CC-9802-7B1D7D1737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1221990367"/>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bg>
      <p:bgRef idx="1001">
        <a:schemeClr val="bg1"/>
      </p:bgRef>
    </p:bg>
    <p:spTree>
      <p:nvGrpSpPr>
        <p:cNvPr id="1" name=""/>
        <p:cNvGrpSpPr/>
        <p:nvPr/>
      </p:nvGrpSpPr>
      <p:grpSpPr>
        <a:xfrm>
          <a:off x="0" y="0"/>
          <a:ext cx="0" cy="0"/>
          <a:chOff x="0" y="0"/>
          <a:chExt cx="0" cy="0"/>
        </a:xfrm>
      </p:grpSpPr>
      <p:sp>
        <p:nvSpPr>
          <p:cNvPr id="9" name="Shape 271">
            <a:extLst>
              <a:ext uri="{FF2B5EF4-FFF2-40B4-BE49-F238E27FC236}">
                <a16:creationId xmlns:a16="http://schemas.microsoft.com/office/drawing/2014/main" id="{2B9F99AD-447B-E161-DF0F-B93F20D0DBEF}"/>
              </a:ext>
            </a:extLst>
          </p:cNvPr>
          <p:cNvSpPr/>
          <p:nvPr userDrawn="1"/>
        </p:nvSpPr>
        <p:spPr>
          <a:xfrm>
            <a:off x="0" y="990600"/>
            <a:ext cx="12192000" cy="58674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0" name="Title 1">
            <a:extLst>
              <a:ext uri="{FF2B5EF4-FFF2-40B4-BE49-F238E27FC236}">
                <a16:creationId xmlns:a16="http://schemas.microsoft.com/office/drawing/2014/main" id="{3915225E-1F8D-F95F-6F58-F61A64386138}"/>
              </a:ext>
            </a:extLst>
          </p:cNvPr>
          <p:cNvSpPr>
            <a:spLocks noGrp="1"/>
          </p:cNvSpPr>
          <p:nvPr>
            <p:ph type="ctrTitle" hasCustomPrompt="1"/>
          </p:nvPr>
        </p:nvSpPr>
        <p:spPr>
          <a:xfrm>
            <a:off x="762000" y="2093551"/>
            <a:ext cx="9144000" cy="1985963"/>
          </a:xfrm>
          <a:prstGeom prst="rect">
            <a:avLst/>
          </a:prstGeom>
        </p:spPr>
        <p:txBody>
          <a:bodyPr anchor="b">
            <a:normAutofit/>
          </a:bodyPr>
          <a:lstStyle>
            <a:lvl1pPr algn="l">
              <a:defRPr sz="5400" b="1" i="0" baseline="0">
                <a:solidFill>
                  <a:schemeClr val="bg2"/>
                </a:solidFill>
                <a:latin typeface="Gill Sans MT" panose="020B0502020104020203" pitchFamily="34" charset="0"/>
                <a:cs typeface="Times New Roman" panose="02020603050405020304" pitchFamily="18" charset="0"/>
              </a:defRPr>
            </a:lvl1pPr>
          </a:lstStyle>
          <a:p>
            <a:r>
              <a:rPr lang="en-US"/>
              <a:t>Presentation Title</a:t>
            </a:r>
          </a:p>
        </p:txBody>
      </p:sp>
      <p:sp>
        <p:nvSpPr>
          <p:cNvPr id="12" name="Subtitle 2">
            <a:extLst>
              <a:ext uri="{FF2B5EF4-FFF2-40B4-BE49-F238E27FC236}">
                <a16:creationId xmlns:a16="http://schemas.microsoft.com/office/drawing/2014/main" id="{B68FA1F6-450C-81FD-7562-BD6B57BB0923}"/>
              </a:ext>
            </a:extLst>
          </p:cNvPr>
          <p:cNvSpPr>
            <a:spLocks noGrp="1"/>
          </p:cNvSpPr>
          <p:nvPr>
            <p:ph type="subTitle" idx="1" hasCustomPrompt="1"/>
          </p:nvPr>
        </p:nvSpPr>
        <p:spPr>
          <a:xfrm>
            <a:off x="762000" y="4171588"/>
            <a:ext cx="9144000" cy="1655763"/>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3" name="Footer Placeholder 4">
            <a:extLst>
              <a:ext uri="{FF2B5EF4-FFF2-40B4-BE49-F238E27FC236}">
                <a16:creationId xmlns:a16="http://schemas.microsoft.com/office/drawing/2014/main" id="{EEC2E945-1C5A-7E0F-5477-D7B0D6F947AC}"/>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bg2"/>
                </a:solidFill>
                <a:latin typeface="Gill Sans MT" panose="020B0502020104020203" pitchFamily="34" charset="0"/>
                <a:cs typeface="Arial" panose="020B0604020202020204" pitchFamily="34" charset="0"/>
              </a:defRPr>
            </a:lvl1pPr>
          </a:lstStyle>
          <a:p>
            <a:r>
              <a:rPr lang="en-US" dirty="0"/>
              <a:t>Month, Day, Year</a:t>
            </a:r>
          </a:p>
        </p:txBody>
      </p:sp>
      <p:sp>
        <p:nvSpPr>
          <p:cNvPr id="14" name="Rectangle 13">
            <a:extLst>
              <a:ext uri="{FF2B5EF4-FFF2-40B4-BE49-F238E27FC236}">
                <a16:creationId xmlns:a16="http://schemas.microsoft.com/office/drawing/2014/main" id="{81A48F38-2502-9C73-EA78-E2952B3F8C1C}"/>
              </a:ext>
            </a:extLst>
          </p:cNvPr>
          <p:cNvSpPr/>
          <p:nvPr userDrawn="1"/>
        </p:nvSpPr>
        <p:spPr>
          <a:xfrm>
            <a:off x="335280" y="1273581"/>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a:extLst>
              <a:ext uri="{FF2B5EF4-FFF2-40B4-BE49-F238E27FC236}">
                <a16:creationId xmlns:a16="http://schemas.microsoft.com/office/drawing/2014/main" id="{C1B27AC8-5AC0-257A-111D-7B1358F9FD6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85283"/>
            <a:ext cx="1607174" cy="482254"/>
          </a:xfrm>
          <a:prstGeom prst="rect">
            <a:avLst/>
          </a:prstGeom>
          <a:noFill/>
          <a:ln>
            <a:noFill/>
          </a:ln>
        </p:spPr>
      </p:pic>
      <p:pic>
        <p:nvPicPr>
          <p:cNvPr id="16" name="Picture 15" descr="Logo, company name&#10;&#10;Description automatically generated">
            <a:extLst>
              <a:ext uri="{FF2B5EF4-FFF2-40B4-BE49-F238E27FC236}">
                <a16:creationId xmlns:a16="http://schemas.microsoft.com/office/drawing/2014/main" id="{B2D7A882-EA8B-0E4E-F966-A0E9C01237E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85282"/>
            <a:ext cx="2751858" cy="482255"/>
          </a:xfrm>
          <a:prstGeom prst="rect">
            <a:avLst/>
          </a:prstGeom>
        </p:spPr>
      </p:pic>
    </p:spTree>
    <p:extLst>
      <p:ext uri="{BB962C8B-B14F-4D97-AF65-F5344CB8AC3E}">
        <p14:creationId xmlns:p14="http://schemas.microsoft.com/office/powerpoint/2010/main" val="2138414829"/>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 Insert Photo">
    <p:bg>
      <p:bgRef idx="1001">
        <a:schemeClr val="bg1"/>
      </p:bgRef>
    </p:bg>
    <p:spTree>
      <p:nvGrpSpPr>
        <p:cNvPr id="1" name=""/>
        <p:cNvGrpSpPr/>
        <p:nvPr/>
      </p:nvGrpSpPr>
      <p:grpSpPr>
        <a:xfrm>
          <a:off x="0" y="0"/>
          <a:ext cx="0" cy="0"/>
          <a:chOff x="0" y="0"/>
          <a:chExt cx="0" cy="0"/>
        </a:xfrm>
      </p:grpSpPr>
      <p:sp>
        <p:nvSpPr>
          <p:cNvPr id="18" name="Picture Placeholder 10">
            <a:extLst>
              <a:ext uri="{FF2B5EF4-FFF2-40B4-BE49-F238E27FC236}">
                <a16:creationId xmlns:a16="http://schemas.microsoft.com/office/drawing/2014/main" id="{991CE29B-4F2F-57DF-F86C-032A2CCFBD30}"/>
              </a:ext>
            </a:extLst>
          </p:cNvPr>
          <p:cNvSpPr>
            <a:spLocks noGrp="1"/>
          </p:cNvSpPr>
          <p:nvPr>
            <p:ph type="pic" sz="quarter" idx="13" hasCustomPrompt="1"/>
          </p:nvPr>
        </p:nvSpPr>
        <p:spPr>
          <a:xfrm>
            <a:off x="10118" y="914400"/>
            <a:ext cx="12198394" cy="3644901"/>
          </a:xfrm>
          <a:prstGeom prst="rect">
            <a:avLst/>
          </a:prstGeom>
          <a:solidFill>
            <a:schemeClr val="tx2"/>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3080046"/>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12255"/>
            <a:ext cx="10591800" cy="676547"/>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1" name="Text Placeholder 4">
            <a:extLst>
              <a:ext uri="{FF2B5EF4-FFF2-40B4-BE49-F238E27FC236}">
                <a16:creationId xmlns:a16="http://schemas.microsoft.com/office/drawing/2014/main" id="{59EB699B-44A8-D829-EE59-0051DA66E01B}"/>
              </a:ext>
            </a:extLst>
          </p:cNvPr>
          <p:cNvSpPr>
            <a:spLocks noGrp="1"/>
          </p:cNvSpPr>
          <p:nvPr>
            <p:ph type="body" sz="quarter" idx="12" hasCustomPrompt="1"/>
          </p:nvPr>
        </p:nvSpPr>
        <p:spPr>
          <a:xfrm rot="16200000">
            <a:off x="10340976" y="2545017"/>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742466773"/>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 Standard Photo">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F184746-0EA9-7129-D72B-3498D56A796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31206" b="28704"/>
          <a:stretch/>
        </p:blipFill>
        <p:spPr>
          <a:xfrm>
            <a:off x="0" y="896103"/>
            <a:ext cx="12198394" cy="3663198"/>
          </a:xfrm>
          <a:prstGeom prst="rect">
            <a:avLst/>
          </a:prstGeom>
        </p:spPr>
      </p:pic>
      <p:sp>
        <p:nvSpPr>
          <p:cNvPr id="10" name="Rectangle 9">
            <a:extLst>
              <a:ext uri="{FF2B5EF4-FFF2-40B4-BE49-F238E27FC236}">
                <a16:creationId xmlns:a16="http://schemas.microsoft.com/office/drawing/2014/main" id="{407DB42A-E847-51A9-192F-0CFBDDC1AB50}"/>
              </a:ext>
            </a:extLst>
          </p:cNvPr>
          <p:cNvSpPr/>
          <p:nvPr userDrawn="1"/>
        </p:nvSpPr>
        <p:spPr>
          <a:xfrm>
            <a:off x="0" y="4559301"/>
            <a:ext cx="12198394" cy="2298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56D070D2-8E65-9F90-D749-7DB0D2ACA8D5}"/>
              </a:ext>
            </a:extLst>
          </p:cNvPr>
          <p:cNvSpPr/>
          <p:nvPr userDrawn="1"/>
        </p:nvSpPr>
        <p:spPr>
          <a:xfrm>
            <a:off x="335280" y="1223305"/>
            <a:ext cx="11521440" cy="5301438"/>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C0FBE699-22CD-28A3-D822-03513D376AD4}"/>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5280" y="222895"/>
            <a:ext cx="1607174" cy="482254"/>
          </a:xfrm>
          <a:prstGeom prst="rect">
            <a:avLst/>
          </a:prstGeom>
          <a:noFill/>
          <a:ln>
            <a:noFill/>
          </a:ln>
        </p:spPr>
      </p:pic>
      <p:pic>
        <p:nvPicPr>
          <p:cNvPr id="14" name="Picture 13" descr="Logo, company name&#10;&#10;Description automatically generated">
            <a:extLst>
              <a:ext uri="{FF2B5EF4-FFF2-40B4-BE49-F238E27FC236}">
                <a16:creationId xmlns:a16="http://schemas.microsoft.com/office/drawing/2014/main" id="{A9FBB1D5-40D6-8E1C-9614-0252BCCA5A05}"/>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32604" b="34780"/>
          <a:stretch/>
        </p:blipFill>
        <p:spPr>
          <a:xfrm>
            <a:off x="9343687" y="222894"/>
            <a:ext cx="2751858" cy="482255"/>
          </a:xfrm>
          <a:prstGeom prst="rect">
            <a:avLst/>
          </a:prstGeom>
        </p:spPr>
      </p:pic>
      <p:sp>
        <p:nvSpPr>
          <p:cNvPr id="15" name="Title 1">
            <a:extLst>
              <a:ext uri="{FF2B5EF4-FFF2-40B4-BE49-F238E27FC236}">
                <a16:creationId xmlns:a16="http://schemas.microsoft.com/office/drawing/2014/main" id="{7AE24D95-61FD-E287-7879-68571EF513E3}"/>
              </a:ext>
            </a:extLst>
          </p:cNvPr>
          <p:cNvSpPr>
            <a:spLocks noGrp="1"/>
          </p:cNvSpPr>
          <p:nvPr>
            <p:ph type="ctrTitle" hasCustomPrompt="1"/>
          </p:nvPr>
        </p:nvSpPr>
        <p:spPr>
          <a:xfrm>
            <a:off x="762000" y="4636607"/>
            <a:ext cx="10591800" cy="652195"/>
          </a:xfrm>
          <a:prstGeom prst="rect">
            <a:avLst/>
          </a:prstGeom>
        </p:spPr>
        <p:txBody>
          <a:bodyPr anchor="b">
            <a:normAutofit/>
          </a:bodyPr>
          <a:lstStyle>
            <a:lvl1pPr algn="l">
              <a:defRPr sz="3600" b="1" i="0" baseline="0">
                <a:solidFill>
                  <a:schemeClr val="tx2"/>
                </a:solidFill>
                <a:latin typeface="Gill Sans MT" panose="020B0502020104020203" pitchFamily="34" charset="0"/>
                <a:cs typeface="Times New Roman" panose="02020603050405020304" pitchFamily="18" charset="0"/>
              </a:defRPr>
            </a:lvl1pPr>
          </a:lstStyle>
          <a:p>
            <a:r>
              <a:rPr lang="en-US"/>
              <a:t>Presentation Title</a:t>
            </a:r>
          </a:p>
        </p:txBody>
      </p:sp>
      <p:sp>
        <p:nvSpPr>
          <p:cNvPr id="16" name="Subtitle 2">
            <a:extLst>
              <a:ext uri="{FF2B5EF4-FFF2-40B4-BE49-F238E27FC236}">
                <a16:creationId xmlns:a16="http://schemas.microsoft.com/office/drawing/2014/main" id="{A5B92D3C-FCFA-AAD3-B518-8E721CC0068C}"/>
              </a:ext>
            </a:extLst>
          </p:cNvPr>
          <p:cNvSpPr>
            <a:spLocks noGrp="1"/>
          </p:cNvSpPr>
          <p:nvPr>
            <p:ph type="subTitle" idx="1" hasCustomPrompt="1"/>
          </p:nvPr>
        </p:nvSpPr>
        <p:spPr>
          <a:xfrm>
            <a:off x="762000" y="5334000"/>
            <a:ext cx="10591800" cy="493351"/>
          </a:xfrm>
          <a:prstGeom prst="rect">
            <a:avLst/>
          </a:prstGeom>
        </p:spPr>
        <p:txBody>
          <a:bodyPr>
            <a:normAutofit/>
          </a:bodyPr>
          <a:lstStyle>
            <a:lvl1pPr marL="0" indent="0" algn="l">
              <a:buNone/>
              <a:defRPr sz="3200" b="0" i="0">
                <a:solidFill>
                  <a:schemeClr val="bg1"/>
                </a:solidFill>
                <a:latin typeface="Gill Sans MT" panose="020B0502020104020203"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Presentation Subtitle</a:t>
            </a:r>
          </a:p>
        </p:txBody>
      </p:sp>
      <p:sp>
        <p:nvSpPr>
          <p:cNvPr id="17" name="Footer Placeholder 4">
            <a:extLst>
              <a:ext uri="{FF2B5EF4-FFF2-40B4-BE49-F238E27FC236}">
                <a16:creationId xmlns:a16="http://schemas.microsoft.com/office/drawing/2014/main" id="{70AF50C3-6D17-3B18-C7F1-5F92DE139242}"/>
              </a:ext>
            </a:extLst>
          </p:cNvPr>
          <p:cNvSpPr>
            <a:spLocks noGrp="1"/>
          </p:cNvSpPr>
          <p:nvPr>
            <p:ph type="ftr" sz="quarter" idx="11"/>
          </p:nvPr>
        </p:nvSpPr>
        <p:spPr>
          <a:xfrm>
            <a:off x="762000" y="6018305"/>
            <a:ext cx="2468880" cy="182880"/>
          </a:xfrm>
          <a:prstGeom prst="rect">
            <a:avLst/>
          </a:prstGeom>
        </p:spPr>
        <p:txBody>
          <a:bodyPr anchor="ctr"/>
          <a:lstStyle>
            <a:lvl1pPr>
              <a:defRPr sz="1600" b="0" i="0">
                <a:solidFill>
                  <a:schemeClr val="tx2"/>
                </a:solidFill>
                <a:latin typeface="Gill Sans MT" panose="020B0502020104020203" pitchFamily="34" charset="0"/>
                <a:cs typeface="Arial" panose="020B0604020202020204" pitchFamily="34" charset="0"/>
              </a:defRPr>
            </a:lvl1pPr>
          </a:lstStyle>
          <a:p>
            <a:r>
              <a:rPr lang="en-US" dirty="0"/>
              <a:t>Month, Day, Year</a:t>
            </a:r>
          </a:p>
        </p:txBody>
      </p:sp>
      <p:sp>
        <p:nvSpPr>
          <p:cNvPr id="18" name="Text Placeholder 4">
            <a:extLst>
              <a:ext uri="{FF2B5EF4-FFF2-40B4-BE49-F238E27FC236}">
                <a16:creationId xmlns:a16="http://schemas.microsoft.com/office/drawing/2014/main" id="{F87CBC94-247D-C781-B96B-F335B2A7068F}"/>
              </a:ext>
            </a:extLst>
          </p:cNvPr>
          <p:cNvSpPr>
            <a:spLocks noGrp="1"/>
          </p:cNvSpPr>
          <p:nvPr>
            <p:ph type="body" sz="quarter" idx="12" hasCustomPrompt="1"/>
          </p:nvPr>
        </p:nvSpPr>
        <p:spPr>
          <a:xfrm rot="16200000">
            <a:off x="10333762" y="2619980"/>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756535643"/>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1483439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ivider Slide - Numbered Section">
    <p:spTree>
      <p:nvGrpSpPr>
        <p:cNvPr id="1" name=""/>
        <p:cNvGrpSpPr/>
        <p:nvPr/>
      </p:nvGrpSpPr>
      <p:grpSpPr>
        <a:xfrm>
          <a:off x="0" y="0"/>
          <a:ext cx="0" cy="0"/>
          <a:chOff x="0" y="0"/>
          <a:chExt cx="0" cy="0"/>
        </a:xfrm>
      </p:grpSpPr>
      <p:sp>
        <p:nvSpPr>
          <p:cNvPr id="9" name="Shape 271"/>
          <p:cNvSpPr/>
          <p:nvPr userDrawn="1"/>
        </p:nvSpPr>
        <p:spPr>
          <a:xfrm>
            <a:off x="0" y="0"/>
            <a:ext cx="2006029" cy="6858000"/>
          </a:xfrm>
          <a:prstGeom prst="rect">
            <a:avLst/>
          </a:prstGeom>
          <a:solidFill>
            <a:schemeClr val="tx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6" name="Shape 271">
            <a:extLst>
              <a:ext uri="{FF2B5EF4-FFF2-40B4-BE49-F238E27FC236}">
                <a16:creationId xmlns:a16="http://schemas.microsoft.com/office/drawing/2014/main" id="{A86AFC7A-B3BB-CFE9-2BEF-7E042497848E}"/>
              </a:ext>
            </a:extLst>
          </p:cNvPr>
          <p:cNvSpPr/>
          <p:nvPr userDrawn="1"/>
        </p:nvSpPr>
        <p:spPr>
          <a:xfrm>
            <a:off x="2006029" y="0"/>
            <a:ext cx="10185972" cy="6858000"/>
          </a:xfrm>
          <a:prstGeom prst="rect">
            <a:avLst/>
          </a:prstGeom>
          <a:solidFill>
            <a:schemeClr val="bg2"/>
          </a:solidFill>
          <a:ln>
            <a:noFill/>
          </a:ln>
        </p:spPr>
        <p:txBody>
          <a:bodyPr lIns="91425" tIns="91425" rIns="91425" bIns="91425" anchor="ctr" anchorCtr="0">
            <a:noAutofit/>
          </a:bodyPr>
          <a:lstStyle/>
          <a:p>
            <a:endParaRPr sz="1333" dirty="0">
              <a:solidFill>
                <a:schemeClr val="bg1"/>
              </a:solidFill>
              <a:latin typeface="Century Gothic" panose="020B0502020202020204" pitchFamily="34" charset="0"/>
            </a:endParaRPr>
          </a:p>
        </p:txBody>
      </p:sp>
      <p:sp>
        <p:nvSpPr>
          <p:cNvPr id="17" name="Title 1">
            <a:extLst>
              <a:ext uri="{FF2B5EF4-FFF2-40B4-BE49-F238E27FC236}">
                <a16:creationId xmlns:a16="http://schemas.microsoft.com/office/drawing/2014/main" id="{C9FF2354-5239-A695-45E9-774301A53A08}"/>
              </a:ext>
            </a:extLst>
          </p:cNvPr>
          <p:cNvSpPr>
            <a:spLocks noGrp="1"/>
          </p:cNvSpPr>
          <p:nvPr>
            <p:ph type="ctrTitle" hasCustomPrompt="1"/>
          </p:nvPr>
        </p:nvSpPr>
        <p:spPr>
          <a:xfrm>
            <a:off x="2769171" y="1173321"/>
            <a:ext cx="7416800" cy="2366963"/>
          </a:xfrm>
          <a:prstGeom prst="rect">
            <a:avLst/>
          </a:prstGeom>
        </p:spPr>
        <p:txBody>
          <a:bodyPr anchor="b">
            <a:normAutofit/>
          </a:bodyPr>
          <a:lstStyle>
            <a:lvl1pPr algn="l">
              <a:defRPr sz="5333" b="0" i="0">
                <a:solidFill>
                  <a:schemeClr val="bg1"/>
                </a:solidFill>
                <a:latin typeface="Gill Sans MT" panose="020B0502020104020203" pitchFamily="34" charset="0"/>
                <a:cs typeface="Times New Roman" panose="02020603050405020304" pitchFamily="18" charset="0"/>
              </a:defRPr>
            </a:lvl1pPr>
          </a:lstStyle>
          <a:p>
            <a:r>
              <a:rPr lang="en-US"/>
              <a:t>Divider Slide Title</a:t>
            </a:r>
          </a:p>
        </p:txBody>
      </p:sp>
      <p:sp>
        <p:nvSpPr>
          <p:cNvPr id="18" name="Subtitle 2">
            <a:extLst>
              <a:ext uri="{FF2B5EF4-FFF2-40B4-BE49-F238E27FC236}">
                <a16:creationId xmlns:a16="http://schemas.microsoft.com/office/drawing/2014/main" id="{48750CCC-65F7-ABD4-4271-C40B3FB66570}"/>
              </a:ext>
            </a:extLst>
          </p:cNvPr>
          <p:cNvSpPr>
            <a:spLocks noGrp="1"/>
          </p:cNvSpPr>
          <p:nvPr>
            <p:ph type="subTitle" idx="1" hasCustomPrompt="1"/>
          </p:nvPr>
        </p:nvSpPr>
        <p:spPr>
          <a:xfrm>
            <a:off x="2769171" y="3632358"/>
            <a:ext cx="7416800" cy="1858963"/>
          </a:xfrm>
          <a:prstGeom prst="rect">
            <a:avLst/>
          </a:prstGeom>
        </p:spPr>
        <p:txBody>
          <a:bodyPr/>
          <a:lstStyle>
            <a:lvl1pPr marL="0" indent="0" algn="l">
              <a:buNone/>
              <a:defRPr sz="2400" b="0" i="0">
                <a:solidFill>
                  <a:schemeClr val="tx2"/>
                </a:solidFill>
                <a:latin typeface="Gill Sans MT" panose="020B0502020104020203" pitchFamily="34" charset="0"/>
                <a:cs typeface="Arial" panose="020B0604020202020204" pitchFamily="34" charset="0"/>
              </a:defRPr>
            </a:lvl1pPr>
            <a:lvl2pPr marL="457167" indent="0" algn="ctr">
              <a:buNone/>
              <a:defRPr sz="2000"/>
            </a:lvl2pPr>
            <a:lvl3pPr marL="914332" indent="0" algn="ctr">
              <a:buNone/>
              <a:defRPr sz="1867"/>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Subtitle Text</a:t>
            </a:r>
          </a:p>
        </p:txBody>
      </p:sp>
      <p:sp>
        <p:nvSpPr>
          <p:cNvPr id="19" name="Rectangle 18">
            <a:extLst>
              <a:ext uri="{FF2B5EF4-FFF2-40B4-BE49-F238E27FC236}">
                <a16:creationId xmlns:a16="http://schemas.microsoft.com/office/drawing/2014/main" id="{FE85B6AF-6665-79F9-F07B-1DD3FCB9E7F8}"/>
              </a:ext>
            </a:extLst>
          </p:cNvPr>
          <p:cNvSpPr/>
          <p:nvPr userDrawn="1"/>
        </p:nvSpPr>
        <p:spPr>
          <a:xfrm>
            <a:off x="2286000" y="274320"/>
            <a:ext cx="96418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6">
            <a:extLst>
              <a:ext uri="{FF2B5EF4-FFF2-40B4-BE49-F238E27FC236}">
                <a16:creationId xmlns:a16="http://schemas.microsoft.com/office/drawing/2014/main" id="{B5A7DE10-4CA2-FDE8-29E8-4D8510F9662C}"/>
              </a:ext>
            </a:extLst>
          </p:cNvPr>
          <p:cNvSpPr>
            <a:spLocks noGrp="1"/>
          </p:cNvSpPr>
          <p:nvPr>
            <p:ph type="body" sz="quarter" idx="10" hasCustomPrompt="1"/>
          </p:nvPr>
        </p:nvSpPr>
        <p:spPr>
          <a:xfrm>
            <a:off x="341502" y="2895600"/>
            <a:ext cx="1371600" cy="1066800"/>
          </a:xfrm>
          <a:prstGeom prst="rect">
            <a:avLst/>
          </a:prstGeom>
        </p:spPr>
        <p:txBody>
          <a:bodyPr anchor="ctr">
            <a:noAutofit/>
          </a:bodyPr>
          <a:lstStyle>
            <a:lvl1pPr marL="0" indent="0" algn="ctr">
              <a:buNone/>
              <a:defRPr sz="8000">
                <a:solidFill>
                  <a:schemeClr val="bg1"/>
                </a:solidFill>
              </a:defRPr>
            </a:lvl1pPr>
          </a:lstStyle>
          <a:p>
            <a:pPr lvl="0"/>
            <a:r>
              <a:rPr lang="en-US"/>
              <a:t>#</a:t>
            </a:r>
          </a:p>
        </p:txBody>
      </p:sp>
    </p:spTree>
    <p:extLst>
      <p:ext uri="{BB962C8B-B14F-4D97-AF65-F5344CB8AC3E}">
        <p14:creationId xmlns:p14="http://schemas.microsoft.com/office/powerpoint/2010/main" val="6562869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Slide - Insert Photo">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A379D20-96CD-96F7-46B5-1B29657E1665}"/>
              </a:ext>
            </a:extLst>
          </p:cNvPr>
          <p:cNvSpPr/>
          <p:nvPr userDrawn="1"/>
        </p:nvSpPr>
        <p:spPr>
          <a:xfrm>
            <a:off x="0" y="0"/>
            <a:ext cx="33528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icture Placeholder 10"/>
          <p:cNvSpPr>
            <a:spLocks noGrp="1"/>
          </p:cNvSpPr>
          <p:nvPr>
            <p:ph type="pic" sz="quarter" idx="13" hasCustomPrompt="1"/>
          </p:nvPr>
        </p:nvSpPr>
        <p:spPr>
          <a:xfrm>
            <a:off x="3352800" y="3"/>
            <a:ext cx="8839200" cy="6857997"/>
          </a:xfrm>
          <a:prstGeom prst="rect">
            <a:avLst/>
          </a:prstGeom>
          <a:solidFill>
            <a:schemeClr val="bg2">
              <a:lumMod val="20000"/>
              <a:lumOff val="80000"/>
            </a:schemeClr>
          </a:solidFill>
        </p:spPr>
        <p:txBody>
          <a:bodyPr anchor="ctr"/>
          <a:lstStyle>
            <a:lvl1pPr marL="0" indent="0" algn="ctr">
              <a:buNone/>
              <a:defRPr b="0" i="1">
                <a:solidFill>
                  <a:schemeClr val="bg2"/>
                </a:solidFill>
                <a:latin typeface="Arial" panose="020B0604020202020204" pitchFamily="34" charset="0"/>
                <a:cs typeface="Arial" panose="020B0604020202020204" pitchFamily="34" charset="0"/>
              </a:defRPr>
            </a:lvl1pPr>
          </a:lstStyle>
          <a:p>
            <a:r>
              <a:rPr lang="en-US" dirty="0"/>
              <a:t>Click the icon to add an image</a:t>
            </a:r>
          </a:p>
        </p:txBody>
      </p:sp>
      <p:sp>
        <p:nvSpPr>
          <p:cNvPr id="7" name="Title 1"/>
          <p:cNvSpPr>
            <a:spLocks noGrp="1"/>
          </p:cNvSpPr>
          <p:nvPr>
            <p:ph type="ctrTitle" hasCustomPrompt="1"/>
          </p:nvPr>
        </p:nvSpPr>
        <p:spPr>
          <a:xfrm>
            <a:off x="460379" y="1143000"/>
            <a:ext cx="2473321" cy="2379155"/>
          </a:xfrm>
          <a:prstGeom prst="rect">
            <a:avLst/>
          </a:prstGeom>
        </p:spPr>
        <p:txBody>
          <a:bodyPr>
            <a:normAutofit/>
          </a:bodyPr>
          <a:lstStyle>
            <a:lvl1pPr>
              <a:defRPr sz="2800" b="1" i="0">
                <a:solidFill>
                  <a:schemeClr val="bg1"/>
                </a:solidFill>
                <a:latin typeface="Gill Sans MT" panose="020B0502020104020203" pitchFamily="34" charset="0"/>
              </a:defRPr>
            </a:lvl1pPr>
          </a:lstStyle>
          <a:p>
            <a:r>
              <a:rPr lang="en-US"/>
              <a:t>Divider Slide Title</a:t>
            </a:r>
          </a:p>
        </p:txBody>
      </p:sp>
      <p:sp>
        <p:nvSpPr>
          <p:cNvPr id="8" name="Subtitle 2"/>
          <p:cNvSpPr>
            <a:spLocks noGrp="1"/>
          </p:cNvSpPr>
          <p:nvPr>
            <p:ph type="subTitle" idx="1" hasCustomPrompt="1"/>
          </p:nvPr>
        </p:nvSpPr>
        <p:spPr>
          <a:xfrm>
            <a:off x="460378" y="3602037"/>
            <a:ext cx="2473323" cy="2786251"/>
          </a:xfrm>
          <a:prstGeom prst="rect">
            <a:avLst/>
          </a:prstGeom>
        </p:spPr>
        <p:txBody>
          <a:bodyPr>
            <a:normAutofit/>
          </a:bodyPr>
          <a:lstStyle>
            <a:lvl1pPr marL="0" indent="0">
              <a:buNone/>
              <a:defRPr sz="2400" b="0" i="0">
                <a:solidFill>
                  <a:schemeClr val="tx2"/>
                </a:solidFill>
                <a:latin typeface="Gill Sans MT" panose="020B0502020104020203" pitchFamily="34" charset="0"/>
                <a:cs typeface="Arial" panose="020B0604020202020204" pitchFamily="34" charset="0"/>
              </a:defRPr>
            </a:lvl1pPr>
          </a:lstStyle>
          <a:p>
            <a:r>
              <a:rPr lang="en-US"/>
              <a:t>Subtitle Text</a:t>
            </a:r>
          </a:p>
        </p:txBody>
      </p:sp>
      <p:sp>
        <p:nvSpPr>
          <p:cNvPr id="10" name="Rectangle 9">
            <a:extLst>
              <a:ext uri="{FF2B5EF4-FFF2-40B4-BE49-F238E27FC236}">
                <a16:creationId xmlns:a16="http://schemas.microsoft.com/office/drawing/2014/main" id="{71E0CB32-9499-9BA2-A51B-813A88349AA2}"/>
              </a:ext>
            </a:extLst>
          </p:cNvPr>
          <p:cNvSpPr>
            <a:spLocks noGrp="1" noRot="1" noMove="1" noResize="1" noEditPoints="1" noAdjustHandles="1" noChangeArrowheads="1" noChangeShapeType="1"/>
          </p:cNvSpPr>
          <p:nvPr userDrawn="1"/>
        </p:nvSpPr>
        <p:spPr>
          <a:xfrm>
            <a:off x="3657600" y="274320"/>
            <a:ext cx="8270240" cy="6309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4">
            <a:extLst>
              <a:ext uri="{FF2B5EF4-FFF2-40B4-BE49-F238E27FC236}">
                <a16:creationId xmlns:a16="http://schemas.microsoft.com/office/drawing/2014/main" id="{2AC259B9-9106-EB4E-1BEE-4607FBE386D0}"/>
              </a:ext>
            </a:extLst>
          </p:cNvPr>
          <p:cNvSpPr>
            <a:spLocks noGrp="1"/>
          </p:cNvSpPr>
          <p:nvPr>
            <p:ph type="body" sz="quarter" idx="12" hasCustomPrompt="1"/>
          </p:nvPr>
        </p:nvSpPr>
        <p:spPr>
          <a:xfrm rot="16200000">
            <a:off x="10368280" y="1802675"/>
            <a:ext cx="3383280" cy="215444"/>
          </a:xfrm>
          <a:prstGeom prst="rect">
            <a:avLst/>
          </a:prstGeom>
        </p:spPr>
        <p:txBody>
          <a:bodyPr>
            <a:spAutoFit/>
          </a:bodyPr>
          <a:lstStyle>
            <a:lvl1pPr marL="0" indent="0" algn="r">
              <a:buNone/>
              <a:defRPr sz="8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894806561"/>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3429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462501" y="1219200"/>
            <a:ext cx="2509299" cy="845485"/>
          </a:xfrm>
          <a:prstGeom prst="rect">
            <a:avLst/>
          </a:prstGeom>
        </p:spPr>
        <p:txBody>
          <a:bodyPr anchor="ctr">
            <a:normAutofit/>
          </a:bodyPr>
          <a:lstStyle>
            <a:lvl1pPr algn="ctr">
              <a:defRPr sz="2800" b="1" i="0">
                <a:solidFill>
                  <a:schemeClr val="bg1"/>
                </a:solidFill>
                <a:latin typeface="Gill Sans MT" panose="020B0502020104020203" pitchFamily="34" charset="0"/>
              </a:defRPr>
            </a:lvl1pPr>
          </a:lstStyle>
          <a:p>
            <a:r>
              <a:rPr lang="en-US"/>
              <a:t>Agenda</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461963" y="2209800"/>
            <a:ext cx="2509837" cy="1074738"/>
          </a:xfrm>
          <a:prstGeom prst="rect">
            <a:avLst/>
          </a:prstGeom>
        </p:spPr>
        <p:txBody>
          <a:bodyPr/>
          <a:lstStyle>
            <a:lvl1pPr marL="0" indent="0">
              <a:buFontTx/>
              <a:buNone/>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3511183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 Tim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8768443" y="-2"/>
            <a:ext cx="3429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hasCustomPrompt="1"/>
          </p:nvPr>
        </p:nvSpPr>
        <p:spPr>
          <a:xfrm>
            <a:off x="9230944" y="1219200"/>
            <a:ext cx="2509299" cy="1116189"/>
          </a:xfrm>
          <a:prstGeom prst="rect">
            <a:avLst/>
          </a:prstGeom>
        </p:spPr>
        <p:txBody>
          <a:bodyPr anchor="ctr">
            <a:noAutofit/>
          </a:bodyPr>
          <a:lstStyle>
            <a:lvl1pPr algn="l">
              <a:lnSpc>
                <a:spcPct val="100000"/>
              </a:lnSpc>
              <a:defRPr sz="4800" b="1" i="0" baseline="30000">
                <a:solidFill>
                  <a:schemeClr val="bg1"/>
                </a:solidFill>
                <a:latin typeface="Gill Sans MT" panose="020B0502020104020203" pitchFamily="34" charset="0"/>
              </a:defRPr>
            </a:lvl1pPr>
          </a:lstStyle>
          <a:p>
            <a:r>
              <a:rPr lang="en-US"/>
              <a:t>June 1</a:t>
            </a:r>
            <a:br>
              <a:rPr lang="en-US"/>
            </a:br>
            <a:r>
              <a:rPr lang="en-US"/>
              <a:t>2022</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
        <p:nvSpPr>
          <p:cNvPr id="3" name="Text Placeholder 2">
            <a:extLst>
              <a:ext uri="{FF2B5EF4-FFF2-40B4-BE49-F238E27FC236}">
                <a16:creationId xmlns:a16="http://schemas.microsoft.com/office/drawing/2014/main" id="{369F74F0-1327-8D4E-F0A8-AD11DBA77860}"/>
              </a:ext>
            </a:extLst>
          </p:cNvPr>
          <p:cNvSpPr>
            <a:spLocks noGrp="1"/>
          </p:cNvSpPr>
          <p:nvPr>
            <p:ph type="body" sz="quarter" idx="10" hasCustomPrompt="1"/>
          </p:nvPr>
        </p:nvSpPr>
        <p:spPr>
          <a:xfrm>
            <a:off x="9230406" y="2616993"/>
            <a:ext cx="2509837" cy="1074738"/>
          </a:xfrm>
          <a:prstGeom prst="rect">
            <a:avLst/>
          </a:prstGeom>
        </p:spPr>
        <p:txBody>
          <a:bodyPr/>
          <a:lstStyle>
            <a:lvl1pPr marL="0" indent="0">
              <a:buFontTx/>
              <a:buNone/>
              <a:defRPr>
                <a:solidFill>
                  <a:schemeClr val="accent1"/>
                </a:solidFill>
              </a:defRPr>
            </a:lvl1pPr>
            <a:lvl2pPr marL="274314" indent="0">
              <a:buFontTx/>
              <a:buNone/>
              <a:defRPr/>
            </a:lvl2pPr>
            <a:lvl3pPr marL="438901" indent="0">
              <a:buFontTx/>
              <a:buNone/>
              <a:defRPr/>
            </a:lvl3pPr>
            <a:lvl4pPr marL="685703" indent="0">
              <a:buFontTx/>
              <a:buNone/>
              <a:defRPr/>
            </a:lvl4pPr>
            <a:lvl5pPr marL="868659" indent="0">
              <a:buFontTx/>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a:t>
            </a:r>
          </a:p>
        </p:txBody>
      </p:sp>
    </p:spTree>
    <p:extLst>
      <p:ext uri="{BB962C8B-B14F-4D97-AF65-F5344CB8AC3E}">
        <p14:creationId xmlns:p14="http://schemas.microsoft.com/office/powerpoint/2010/main" val="2652483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al To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7667C2-D827-421F-C950-AEE96E978369}"/>
              </a:ext>
            </a:extLst>
          </p:cNvPr>
          <p:cNvSpPr/>
          <p:nvPr userDrawn="1"/>
        </p:nvSpPr>
        <p:spPr>
          <a:xfrm>
            <a:off x="0" y="-8524"/>
            <a:ext cx="12192000" cy="3429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AE74C23-994B-0621-02BA-D42052647C4B}"/>
              </a:ext>
            </a:extLst>
          </p:cNvPr>
          <p:cNvSpPr>
            <a:spLocks noGrp="1"/>
          </p:cNvSpPr>
          <p:nvPr>
            <p:ph type="title"/>
          </p:nvPr>
        </p:nvSpPr>
        <p:spPr>
          <a:xfrm>
            <a:off x="457200" y="365125"/>
            <a:ext cx="11275600" cy="1325563"/>
          </a:xfrm>
          <a:prstGeom prst="rect">
            <a:avLst/>
          </a:prstGeom>
        </p:spPr>
        <p:txBody>
          <a:bodyPr/>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F93D5C21-0098-7041-11EC-10D6BFC89BA8}"/>
              </a:ext>
            </a:extLst>
          </p:cNvPr>
          <p:cNvSpPr>
            <a:spLocks noGrp="1"/>
          </p:cNvSpPr>
          <p:nvPr>
            <p:ph type="sldNum" sz="quarter" idx="10"/>
          </p:nvPr>
        </p:nvSpPr>
        <p:spPr/>
        <p:txBody>
          <a:body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9503398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1D89A6-2965-894F-2659-21EE6BB35887}"/>
              </a:ext>
            </a:extLst>
          </p:cNvPr>
          <p:cNvSpPr>
            <a:spLocks noGrp="1"/>
          </p:cNvSpPr>
          <p:nvPr>
            <p:ph type="sldNum" sz="quarter" idx="10"/>
          </p:nvPr>
        </p:nvSpPr>
        <p:spPr/>
        <p:txBody>
          <a:bodyPr/>
          <a:lstStyle/>
          <a:p>
            <a:fld id="{4755468B-C2BA-8B42-ABD6-597061763577}" type="slidenum">
              <a:rPr lang="en-US" smtClean="0"/>
              <a:pPr/>
              <a:t>‹#›</a:t>
            </a:fld>
            <a:endParaRPr lang="en-US" dirty="0"/>
          </a:p>
        </p:txBody>
      </p:sp>
      <p:sp>
        <p:nvSpPr>
          <p:cNvPr id="4" name="Freeform 4">
            <a:extLst>
              <a:ext uri="{FF2B5EF4-FFF2-40B4-BE49-F238E27FC236}">
                <a16:creationId xmlns:a16="http://schemas.microsoft.com/office/drawing/2014/main" id="{D1AAC57B-14CE-ACB9-BA19-9F78A0AE1698}"/>
              </a:ext>
            </a:extLst>
          </p:cNvPr>
          <p:cNvSpPr/>
          <p:nvPr userDrawn="1"/>
        </p:nvSpPr>
        <p:spPr>
          <a:xfrm>
            <a:off x="2081157" y="629492"/>
            <a:ext cx="9651643" cy="5599016"/>
          </a:xfrm>
          <a:custGeom>
            <a:avLst/>
            <a:gdLst>
              <a:gd name="connsiteX0" fmla="*/ 7607668 w 8079933"/>
              <a:gd name="connsiteY0" fmla="*/ 4671984 h 4687251"/>
              <a:gd name="connsiteX1" fmla="*/ 7610056 w 8079933"/>
              <a:gd name="connsiteY1" fmla="*/ 4672092 h 4687251"/>
              <a:gd name="connsiteX2" fmla="*/ 7609404 w 8079933"/>
              <a:gd name="connsiteY2" fmla="*/ 4676423 h 4687251"/>
              <a:gd name="connsiteX3" fmla="*/ 7606474 w 8079933"/>
              <a:gd name="connsiteY3" fmla="*/ 4680213 h 4687251"/>
              <a:gd name="connsiteX4" fmla="*/ 7608536 w 8079933"/>
              <a:gd name="connsiteY4" fmla="*/ 4684544 h 4687251"/>
              <a:gd name="connsiteX5" fmla="*/ 7607450 w 8079933"/>
              <a:gd name="connsiteY5" fmla="*/ 4687251 h 4687251"/>
              <a:gd name="connsiteX6" fmla="*/ 7602676 w 8079933"/>
              <a:gd name="connsiteY6" fmla="*/ 4685194 h 4687251"/>
              <a:gd name="connsiteX7" fmla="*/ 7598335 w 8079933"/>
              <a:gd name="connsiteY7" fmla="*/ 4686926 h 4687251"/>
              <a:gd name="connsiteX8" fmla="*/ 7595948 w 8079933"/>
              <a:gd name="connsiteY8" fmla="*/ 4683678 h 4687251"/>
              <a:gd name="connsiteX9" fmla="*/ 2515090 w 8079933"/>
              <a:gd name="connsiteY9" fmla="*/ 4599009 h 4687251"/>
              <a:gd name="connsiteX10" fmla="*/ 2517477 w 8079933"/>
              <a:gd name="connsiteY10" fmla="*/ 4599009 h 4687251"/>
              <a:gd name="connsiteX11" fmla="*/ 2514221 w 8079933"/>
              <a:gd name="connsiteY11" fmla="*/ 4602258 h 4687251"/>
              <a:gd name="connsiteX12" fmla="*/ 2512160 w 8079933"/>
              <a:gd name="connsiteY12" fmla="*/ 4600742 h 4687251"/>
              <a:gd name="connsiteX13" fmla="*/ 2515090 w 8079933"/>
              <a:gd name="connsiteY13" fmla="*/ 4599009 h 4687251"/>
              <a:gd name="connsiteX14" fmla="*/ 2519647 w 8079933"/>
              <a:gd name="connsiteY14" fmla="*/ 4589589 h 4687251"/>
              <a:gd name="connsiteX15" fmla="*/ 2522795 w 8079933"/>
              <a:gd name="connsiteY15" fmla="*/ 4590781 h 4687251"/>
              <a:gd name="connsiteX16" fmla="*/ 2523446 w 8079933"/>
              <a:gd name="connsiteY16" fmla="*/ 4594353 h 4687251"/>
              <a:gd name="connsiteX17" fmla="*/ 2523229 w 8079933"/>
              <a:gd name="connsiteY17" fmla="*/ 4598359 h 4687251"/>
              <a:gd name="connsiteX18" fmla="*/ 2520516 w 8079933"/>
              <a:gd name="connsiteY18" fmla="*/ 4598143 h 4687251"/>
              <a:gd name="connsiteX19" fmla="*/ 2518237 w 8079933"/>
              <a:gd name="connsiteY19" fmla="*/ 4595653 h 4687251"/>
              <a:gd name="connsiteX20" fmla="*/ 2520950 w 8079933"/>
              <a:gd name="connsiteY20" fmla="*/ 4592188 h 4687251"/>
              <a:gd name="connsiteX21" fmla="*/ 2429470 w 8079933"/>
              <a:gd name="connsiteY21" fmla="*/ 4575623 h 4687251"/>
              <a:gd name="connsiteX22" fmla="*/ 2431423 w 8079933"/>
              <a:gd name="connsiteY22" fmla="*/ 4577247 h 4687251"/>
              <a:gd name="connsiteX23" fmla="*/ 2428711 w 8079933"/>
              <a:gd name="connsiteY23" fmla="*/ 4580279 h 4687251"/>
              <a:gd name="connsiteX24" fmla="*/ 2425564 w 8079933"/>
              <a:gd name="connsiteY24" fmla="*/ 4577464 h 4687251"/>
              <a:gd name="connsiteX25" fmla="*/ 2426757 w 8079933"/>
              <a:gd name="connsiteY25" fmla="*/ 4568693 h 4687251"/>
              <a:gd name="connsiteX26" fmla="*/ 2430121 w 8079933"/>
              <a:gd name="connsiteY26" fmla="*/ 4570318 h 4687251"/>
              <a:gd name="connsiteX27" fmla="*/ 2429796 w 8079933"/>
              <a:gd name="connsiteY27" fmla="*/ 4572916 h 4687251"/>
              <a:gd name="connsiteX28" fmla="*/ 2427083 w 8079933"/>
              <a:gd name="connsiteY28" fmla="*/ 4573024 h 4687251"/>
              <a:gd name="connsiteX29" fmla="*/ 2425564 w 8079933"/>
              <a:gd name="connsiteY29" fmla="*/ 4571509 h 4687251"/>
              <a:gd name="connsiteX30" fmla="*/ 2494254 w 8079933"/>
              <a:gd name="connsiteY30" fmla="*/ 4567611 h 4687251"/>
              <a:gd name="connsiteX31" fmla="*/ 2501634 w 8079933"/>
              <a:gd name="connsiteY31" fmla="*/ 4568261 h 4687251"/>
              <a:gd name="connsiteX32" fmla="*/ 2507493 w 8079933"/>
              <a:gd name="connsiteY32" fmla="*/ 4567828 h 4687251"/>
              <a:gd name="connsiteX33" fmla="*/ 2514438 w 8079933"/>
              <a:gd name="connsiteY33" fmla="*/ 4567611 h 4687251"/>
              <a:gd name="connsiteX34" fmla="*/ 2518887 w 8079933"/>
              <a:gd name="connsiteY34" fmla="*/ 4568803 h 4687251"/>
              <a:gd name="connsiteX35" fmla="*/ 2519755 w 8079933"/>
              <a:gd name="connsiteY35" fmla="*/ 4572916 h 4687251"/>
              <a:gd name="connsiteX36" fmla="*/ 2522143 w 8079933"/>
              <a:gd name="connsiteY36" fmla="*/ 4575299 h 4687251"/>
              <a:gd name="connsiteX37" fmla="*/ 2519755 w 8079933"/>
              <a:gd name="connsiteY37" fmla="*/ 4577789 h 4687251"/>
              <a:gd name="connsiteX38" fmla="*/ 2516174 w 8079933"/>
              <a:gd name="connsiteY38" fmla="*/ 4580171 h 4687251"/>
              <a:gd name="connsiteX39" fmla="*/ 2513896 w 8079933"/>
              <a:gd name="connsiteY39" fmla="*/ 4577248 h 4687251"/>
              <a:gd name="connsiteX40" fmla="*/ 2511291 w 8079933"/>
              <a:gd name="connsiteY40" fmla="*/ 4576056 h 4687251"/>
              <a:gd name="connsiteX41" fmla="*/ 2506842 w 8079933"/>
              <a:gd name="connsiteY41" fmla="*/ 4579197 h 4687251"/>
              <a:gd name="connsiteX42" fmla="*/ 2501308 w 8079933"/>
              <a:gd name="connsiteY42" fmla="*/ 4579413 h 4687251"/>
              <a:gd name="connsiteX43" fmla="*/ 2499246 w 8079933"/>
              <a:gd name="connsiteY43" fmla="*/ 4576598 h 4687251"/>
              <a:gd name="connsiteX44" fmla="*/ 2497184 w 8079933"/>
              <a:gd name="connsiteY44" fmla="*/ 4572050 h 4687251"/>
              <a:gd name="connsiteX45" fmla="*/ 2493603 w 8079933"/>
              <a:gd name="connsiteY45" fmla="*/ 4571942 h 4687251"/>
              <a:gd name="connsiteX46" fmla="*/ 2489914 w 8079933"/>
              <a:gd name="connsiteY46" fmla="*/ 4575732 h 4687251"/>
              <a:gd name="connsiteX47" fmla="*/ 2487201 w 8079933"/>
              <a:gd name="connsiteY47" fmla="*/ 4575732 h 4687251"/>
              <a:gd name="connsiteX48" fmla="*/ 2481558 w 8079933"/>
              <a:gd name="connsiteY48" fmla="*/ 4576598 h 4687251"/>
              <a:gd name="connsiteX49" fmla="*/ 2486007 w 8079933"/>
              <a:gd name="connsiteY49" fmla="*/ 4579954 h 4687251"/>
              <a:gd name="connsiteX50" fmla="*/ 2487201 w 8079933"/>
              <a:gd name="connsiteY50" fmla="*/ 4579413 h 4687251"/>
              <a:gd name="connsiteX51" fmla="*/ 2492844 w 8079933"/>
              <a:gd name="connsiteY51" fmla="*/ 4580712 h 4687251"/>
              <a:gd name="connsiteX52" fmla="*/ 2494906 w 8079933"/>
              <a:gd name="connsiteY52" fmla="*/ 4582336 h 4687251"/>
              <a:gd name="connsiteX53" fmla="*/ 2493386 w 8079933"/>
              <a:gd name="connsiteY53" fmla="*/ 4584068 h 4687251"/>
              <a:gd name="connsiteX54" fmla="*/ 2497293 w 8079933"/>
              <a:gd name="connsiteY54" fmla="*/ 4585693 h 4687251"/>
              <a:gd name="connsiteX55" fmla="*/ 2502393 w 8079933"/>
              <a:gd name="connsiteY55" fmla="*/ 4590023 h 4687251"/>
              <a:gd name="connsiteX56" fmla="*/ 2502393 w 8079933"/>
              <a:gd name="connsiteY56" fmla="*/ 4594246 h 4687251"/>
              <a:gd name="connsiteX57" fmla="*/ 2500440 w 8079933"/>
              <a:gd name="connsiteY57" fmla="*/ 4593921 h 4687251"/>
              <a:gd name="connsiteX58" fmla="*/ 2495122 w 8079933"/>
              <a:gd name="connsiteY58" fmla="*/ 4589157 h 4687251"/>
              <a:gd name="connsiteX59" fmla="*/ 2491650 w 8079933"/>
              <a:gd name="connsiteY59" fmla="*/ 4588183 h 4687251"/>
              <a:gd name="connsiteX60" fmla="*/ 2488069 w 8079933"/>
              <a:gd name="connsiteY60" fmla="*/ 4590132 h 4687251"/>
              <a:gd name="connsiteX61" fmla="*/ 2484597 w 8079933"/>
              <a:gd name="connsiteY61" fmla="*/ 4587750 h 4687251"/>
              <a:gd name="connsiteX62" fmla="*/ 2483077 w 8079933"/>
              <a:gd name="connsiteY62" fmla="*/ 4583419 h 4687251"/>
              <a:gd name="connsiteX63" fmla="*/ 2478086 w 8079933"/>
              <a:gd name="connsiteY63" fmla="*/ 4583960 h 4687251"/>
              <a:gd name="connsiteX64" fmla="*/ 2477543 w 8079933"/>
              <a:gd name="connsiteY64" fmla="*/ 4586126 h 4687251"/>
              <a:gd name="connsiteX65" fmla="*/ 2481124 w 8079933"/>
              <a:gd name="connsiteY65" fmla="*/ 4588183 h 4687251"/>
              <a:gd name="connsiteX66" fmla="*/ 2480690 w 8079933"/>
              <a:gd name="connsiteY66" fmla="*/ 4591864 h 4687251"/>
              <a:gd name="connsiteX67" fmla="*/ 2478628 w 8079933"/>
              <a:gd name="connsiteY67" fmla="*/ 4591972 h 4687251"/>
              <a:gd name="connsiteX68" fmla="*/ 2473094 w 8079933"/>
              <a:gd name="connsiteY68" fmla="*/ 4589482 h 4687251"/>
              <a:gd name="connsiteX69" fmla="*/ 2469947 w 8079933"/>
              <a:gd name="connsiteY69" fmla="*/ 4590782 h 4687251"/>
              <a:gd name="connsiteX70" fmla="*/ 2468753 w 8079933"/>
              <a:gd name="connsiteY70" fmla="*/ 4588399 h 4687251"/>
              <a:gd name="connsiteX71" fmla="*/ 2465498 w 8079933"/>
              <a:gd name="connsiteY71" fmla="*/ 4587209 h 4687251"/>
              <a:gd name="connsiteX72" fmla="*/ 2467017 w 8079933"/>
              <a:gd name="connsiteY72" fmla="*/ 4583636 h 4687251"/>
              <a:gd name="connsiteX73" fmla="*/ 2463545 w 8079933"/>
              <a:gd name="connsiteY73" fmla="*/ 4586559 h 4687251"/>
              <a:gd name="connsiteX74" fmla="*/ 2459855 w 8079933"/>
              <a:gd name="connsiteY74" fmla="*/ 4583744 h 4687251"/>
              <a:gd name="connsiteX75" fmla="*/ 2459964 w 8079933"/>
              <a:gd name="connsiteY75" fmla="*/ 4581687 h 4687251"/>
              <a:gd name="connsiteX76" fmla="*/ 2463761 w 8079933"/>
              <a:gd name="connsiteY76" fmla="*/ 4579846 h 4687251"/>
              <a:gd name="connsiteX77" fmla="*/ 2470706 w 8079933"/>
              <a:gd name="connsiteY77" fmla="*/ 4577248 h 4687251"/>
              <a:gd name="connsiteX78" fmla="*/ 2466800 w 8079933"/>
              <a:gd name="connsiteY78" fmla="*/ 4575299 h 4687251"/>
              <a:gd name="connsiteX79" fmla="*/ 2463978 w 8079933"/>
              <a:gd name="connsiteY79" fmla="*/ 4576706 h 4687251"/>
              <a:gd name="connsiteX80" fmla="*/ 2461374 w 8079933"/>
              <a:gd name="connsiteY80" fmla="*/ 4574324 h 4687251"/>
              <a:gd name="connsiteX81" fmla="*/ 2464738 w 8079933"/>
              <a:gd name="connsiteY81" fmla="*/ 4572591 h 4687251"/>
              <a:gd name="connsiteX82" fmla="*/ 2468536 w 8079933"/>
              <a:gd name="connsiteY82" fmla="*/ 4572591 h 4687251"/>
              <a:gd name="connsiteX83" fmla="*/ 2471032 w 8079933"/>
              <a:gd name="connsiteY83" fmla="*/ 4572050 h 4687251"/>
              <a:gd name="connsiteX84" fmla="*/ 2476566 w 8079933"/>
              <a:gd name="connsiteY84" fmla="*/ 4572916 h 4687251"/>
              <a:gd name="connsiteX85" fmla="*/ 2488069 w 8079933"/>
              <a:gd name="connsiteY85" fmla="*/ 4570318 h 4687251"/>
              <a:gd name="connsiteX86" fmla="*/ 2584759 w 8079933"/>
              <a:gd name="connsiteY86" fmla="*/ 4552236 h 4687251"/>
              <a:gd name="connsiteX87" fmla="*/ 2590293 w 8079933"/>
              <a:gd name="connsiteY87" fmla="*/ 4552561 h 4687251"/>
              <a:gd name="connsiteX88" fmla="*/ 2585952 w 8079933"/>
              <a:gd name="connsiteY88" fmla="*/ 4556567 h 4687251"/>
              <a:gd name="connsiteX89" fmla="*/ 2581069 w 8079933"/>
              <a:gd name="connsiteY89" fmla="*/ 4557758 h 4687251"/>
              <a:gd name="connsiteX90" fmla="*/ 2575860 w 8079933"/>
              <a:gd name="connsiteY90" fmla="*/ 4561114 h 4687251"/>
              <a:gd name="connsiteX91" fmla="*/ 2572062 w 8079933"/>
              <a:gd name="connsiteY91" fmla="*/ 4557758 h 4687251"/>
              <a:gd name="connsiteX92" fmla="*/ 2574992 w 8079933"/>
              <a:gd name="connsiteY92" fmla="*/ 4555918 h 4687251"/>
              <a:gd name="connsiteX93" fmla="*/ 2581503 w 8079933"/>
              <a:gd name="connsiteY93" fmla="*/ 4555593 h 4687251"/>
              <a:gd name="connsiteX94" fmla="*/ 2404619 w 8079933"/>
              <a:gd name="connsiteY94" fmla="*/ 4547040 h 4687251"/>
              <a:gd name="connsiteX95" fmla="*/ 2406790 w 8079933"/>
              <a:gd name="connsiteY95" fmla="*/ 4548014 h 4687251"/>
              <a:gd name="connsiteX96" fmla="*/ 2405922 w 8079933"/>
              <a:gd name="connsiteY96" fmla="*/ 4549314 h 4687251"/>
              <a:gd name="connsiteX97" fmla="*/ 2403643 w 8079933"/>
              <a:gd name="connsiteY97" fmla="*/ 4552887 h 4687251"/>
              <a:gd name="connsiteX98" fmla="*/ 2400496 w 8079933"/>
              <a:gd name="connsiteY98" fmla="*/ 4553861 h 4687251"/>
              <a:gd name="connsiteX99" fmla="*/ 2400496 w 8079933"/>
              <a:gd name="connsiteY99" fmla="*/ 4550722 h 4687251"/>
              <a:gd name="connsiteX100" fmla="*/ 2403209 w 8079933"/>
              <a:gd name="connsiteY100" fmla="*/ 4547581 h 4687251"/>
              <a:gd name="connsiteX101" fmla="*/ 2435656 w 8079933"/>
              <a:gd name="connsiteY101" fmla="*/ 4544766 h 4687251"/>
              <a:gd name="connsiteX102" fmla="*/ 2440105 w 8079933"/>
              <a:gd name="connsiteY102" fmla="*/ 4547148 h 4687251"/>
              <a:gd name="connsiteX103" fmla="*/ 2448135 w 8079933"/>
              <a:gd name="connsiteY103" fmla="*/ 4550396 h 4687251"/>
              <a:gd name="connsiteX104" fmla="*/ 2450196 w 8079933"/>
              <a:gd name="connsiteY104" fmla="*/ 4551262 h 4687251"/>
              <a:gd name="connsiteX105" fmla="*/ 2452041 w 8079933"/>
              <a:gd name="connsiteY105" fmla="*/ 4549746 h 4687251"/>
              <a:gd name="connsiteX106" fmla="*/ 2450523 w 8079933"/>
              <a:gd name="connsiteY106" fmla="*/ 4547689 h 4687251"/>
              <a:gd name="connsiteX107" fmla="*/ 2450848 w 8079933"/>
              <a:gd name="connsiteY107" fmla="*/ 4545740 h 4687251"/>
              <a:gd name="connsiteX108" fmla="*/ 2456382 w 8079933"/>
              <a:gd name="connsiteY108" fmla="*/ 4547689 h 4687251"/>
              <a:gd name="connsiteX109" fmla="*/ 2468428 w 8079933"/>
              <a:gd name="connsiteY109" fmla="*/ 4551262 h 4687251"/>
              <a:gd name="connsiteX110" fmla="*/ 2476675 w 8079933"/>
              <a:gd name="connsiteY110" fmla="*/ 4554402 h 4687251"/>
              <a:gd name="connsiteX111" fmla="*/ 2481124 w 8079933"/>
              <a:gd name="connsiteY111" fmla="*/ 4557325 h 4687251"/>
              <a:gd name="connsiteX112" fmla="*/ 2483837 w 8079933"/>
              <a:gd name="connsiteY112" fmla="*/ 4557217 h 4687251"/>
              <a:gd name="connsiteX113" fmla="*/ 2486116 w 8079933"/>
              <a:gd name="connsiteY113" fmla="*/ 4566203 h 4687251"/>
              <a:gd name="connsiteX114" fmla="*/ 2480690 w 8079933"/>
              <a:gd name="connsiteY114" fmla="*/ 4566203 h 4687251"/>
              <a:gd name="connsiteX115" fmla="*/ 2481124 w 8079933"/>
              <a:gd name="connsiteY115" fmla="*/ 4568802 h 4687251"/>
              <a:gd name="connsiteX116" fmla="*/ 2478737 w 8079933"/>
              <a:gd name="connsiteY116" fmla="*/ 4570318 h 4687251"/>
              <a:gd name="connsiteX117" fmla="*/ 2459855 w 8079933"/>
              <a:gd name="connsiteY117" fmla="*/ 4565554 h 4687251"/>
              <a:gd name="connsiteX118" fmla="*/ 2455622 w 8079933"/>
              <a:gd name="connsiteY118" fmla="*/ 4567611 h 4687251"/>
              <a:gd name="connsiteX119" fmla="*/ 2445530 w 8079933"/>
              <a:gd name="connsiteY119" fmla="*/ 4571509 h 4687251"/>
              <a:gd name="connsiteX120" fmla="*/ 2448135 w 8079933"/>
              <a:gd name="connsiteY120" fmla="*/ 4573241 h 4687251"/>
              <a:gd name="connsiteX121" fmla="*/ 2451282 w 8079933"/>
              <a:gd name="connsiteY121" fmla="*/ 4573999 h 4687251"/>
              <a:gd name="connsiteX122" fmla="*/ 2450631 w 8079933"/>
              <a:gd name="connsiteY122" fmla="*/ 4576056 h 4687251"/>
              <a:gd name="connsiteX123" fmla="*/ 2447810 w 8079933"/>
              <a:gd name="connsiteY123" fmla="*/ 4578005 h 4687251"/>
              <a:gd name="connsiteX124" fmla="*/ 2444337 w 8079933"/>
              <a:gd name="connsiteY124" fmla="*/ 4576489 h 4687251"/>
              <a:gd name="connsiteX125" fmla="*/ 2443143 w 8079933"/>
              <a:gd name="connsiteY125" fmla="*/ 4576705 h 4687251"/>
              <a:gd name="connsiteX126" fmla="*/ 2443794 w 8079933"/>
              <a:gd name="connsiteY126" fmla="*/ 4579196 h 4687251"/>
              <a:gd name="connsiteX127" fmla="*/ 2448461 w 8079933"/>
              <a:gd name="connsiteY127" fmla="*/ 4582011 h 4687251"/>
              <a:gd name="connsiteX128" fmla="*/ 2451391 w 8079933"/>
              <a:gd name="connsiteY128" fmla="*/ 4584068 h 4687251"/>
              <a:gd name="connsiteX129" fmla="*/ 2450739 w 8079933"/>
              <a:gd name="connsiteY129" fmla="*/ 4585692 h 4687251"/>
              <a:gd name="connsiteX130" fmla="*/ 2447918 w 8079933"/>
              <a:gd name="connsiteY130" fmla="*/ 4585692 h 4687251"/>
              <a:gd name="connsiteX131" fmla="*/ 2444012 w 8079933"/>
              <a:gd name="connsiteY131" fmla="*/ 4581686 h 4687251"/>
              <a:gd name="connsiteX132" fmla="*/ 2441190 w 8079933"/>
              <a:gd name="connsiteY132" fmla="*/ 4580495 h 4687251"/>
              <a:gd name="connsiteX133" fmla="*/ 2438151 w 8079933"/>
              <a:gd name="connsiteY133" fmla="*/ 4580604 h 4687251"/>
              <a:gd name="connsiteX134" fmla="*/ 2435439 w 8079933"/>
              <a:gd name="connsiteY134" fmla="*/ 4577572 h 4687251"/>
              <a:gd name="connsiteX135" fmla="*/ 2437500 w 8079933"/>
              <a:gd name="connsiteY135" fmla="*/ 4573241 h 4687251"/>
              <a:gd name="connsiteX136" fmla="*/ 2440973 w 8079933"/>
              <a:gd name="connsiteY136" fmla="*/ 4571617 h 4687251"/>
              <a:gd name="connsiteX137" fmla="*/ 2438043 w 8079933"/>
              <a:gd name="connsiteY137" fmla="*/ 4569776 h 4687251"/>
              <a:gd name="connsiteX138" fmla="*/ 2438043 w 8079933"/>
              <a:gd name="connsiteY138" fmla="*/ 4567070 h 4687251"/>
              <a:gd name="connsiteX139" fmla="*/ 2436632 w 8079933"/>
              <a:gd name="connsiteY139" fmla="*/ 4565337 h 4687251"/>
              <a:gd name="connsiteX140" fmla="*/ 2434245 w 8079933"/>
              <a:gd name="connsiteY140" fmla="*/ 4566421 h 4687251"/>
              <a:gd name="connsiteX141" fmla="*/ 2429687 w 8079933"/>
              <a:gd name="connsiteY141" fmla="*/ 4563389 h 4687251"/>
              <a:gd name="connsiteX142" fmla="*/ 2426866 w 8079933"/>
              <a:gd name="connsiteY142" fmla="*/ 4562089 h 4687251"/>
              <a:gd name="connsiteX143" fmla="*/ 2425563 w 8079933"/>
              <a:gd name="connsiteY143" fmla="*/ 4563064 h 4687251"/>
              <a:gd name="connsiteX144" fmla="*/ 2424262 w 8079933"/>
              <a:gd name="connsiteY144" fmla="*/ 4565229 h 4687251"/>
              <a:gd name="connsiteX145" fmla="*/ 2420029 w 8079933"/>
              <a:gd name="connsiteY145" fmla="*/ 4565446 h 4687251"/>
              <a:gd name="connsiteX146" fmla="*/ 2414821 w 8079933"/>
              <a:gd name="connsiteY146" fmla="*/ 4564471 h 4687251"/>
              <a:gd name="connsiteX147" fmla="*/ 2414061 w 8079933"/>
              <a:gd name="connsiteY147" fmla="*/ 4561764 h 4687251"/>
              <a:gd name="connsiteX148" fmla="*/ 2418619 w 8079933"/>
              <a:gd name="connsiteY148" fmla="*/ 4560682 h 4687251"/>
              <a:gd name="connsiteX149" fmla="*/ 2422417 w 8079933"/>
              <a:gd name="connsiteY149" fmla="*/ 4561440 h 4687251"/>
              <a:gd name="connsiteX150" fmla="*/ 2423176 w 8079933"/>
              <a:gd name="connsiteY150" fmla="*/ 4560140 h 4687251"/>
              <a:gd name="connsiteX151" fmla="*/ 2421440 w 8079933"/>
              <a:gd name="connsiteY151" fmla="*/ 4558408 h 4687251"/>
              <a:gd name="connsiteX152" fmla="*/ 2423176 w 8079933"/>
              <a:gd name="connsiteY152" fmla="*/ 4557325 h 4687251"/>
              <a:gd name="connsiteX153" fmla="*/ 2431098 w 8079933"/>
              <a:gd name="connsiteY153" fmla="*/ 4556784 h 4687251"/>
              <a:gd name="connsiteX154" fmla="*/ 2433919 w 8079933"/>
              <a:gd name="connsiteY154" fmla="*/ 4556243 h 4687251"/>
              <a:gd name="connsiteX155" fmla="*/ 2433485 w 8079933"/>
              <a:gd name="connsiteY155" fmla="*/ 4553103 h 4687251"/>
              <a:gd name="connsiteX156" fmla="*/ 2435113 w 8079933"/>
              <a:gd name="connsiteY156" fmla="*/ 4551803 h 4687251"/>
              <a:gd name="connsiteX157" fmla="*/ 2439996 w 8079933"/>
              <a:gd name="connsiteY157" fmla="*/ 4554835 h 4687251"/>
              <a:gd name="connsiteX158" fmla="*/ 2441407 w 8079933"/>
              <a:gd name="connsiteY158" fmla="*/ 4557542 h 4687251"/>
              <a:gd name="connsiteX159" fmla="*/ 2443143 w 8079933"/>
              <a:gd name="connsiteY159" fmla="*/ 4557217 h 4687251"/>
              <a:gd name="connsiteX160" fmla="*/ 2443360 w 8079933"/>
              <a:gd name="connsiteY160" fmla="*/ 4555268 h 4687251"/>
              <a:gd name="connsiteX161" fmla="*/ 2444337 w 8079933"/>
              <a:gd name="connsiteY161" fmla="*/ 4554835 h 4687251"/>
              <a:gd name="connsiteX162" fmla="*/ 2447375 w 8079933"/>
              <a:gd name="connsiteY162" fmla="*/ 4554835 h 4687251"/>
              <a:gd name="connsiteX163" fmla="*/ 2446725 w 8079933"/>
              <a:gd name="connsiteY163" fmla="*/ 4552995 h 4687251"/>
              <a:gd name="connsiteX164" fmla="*/ 2436416 w 8079933"/>
              <a:gd name="connsiteY164" fmla="*/ 4548123 h 4687251"/>
              <a:gd name="connsiteX165" fmla="*/ 2434571 w 8079933"/>
              <a:gd name="connsiteY165" fmla="*/ 4545849 h 4687251"/>
              <a:gd name="connsiteX166" fmla="*/ 2386606 w 8079933"/>
              <a:gd name="connsiteY166" fmla="*/ 4544332 h 4687251"/>
              <a:gd name="connsiteX167" fmla="*/ 2389102 w 8079933"/>
              <a:gd name="connsiteY167" fmla="*/ 4546714 h 4687251"/>
              <a:gd name="connsiteX168" fmla="*/ 2387366 w 8079933"/>
              <a:gd name="connsiteY168" fmla="*/ 4548338 h 4687251"/>
              <a:gd name="connsiteX169" fmla="*/ 2385303 w 8079933"/>
              <a:gd name="connsiteY169" fmla="*/ 4546930 h 4687251"/>
              <a:gd name="connsiteX170" fmla="*/ 2384110 w 8079933"/>
              <a:gd name="connsiteY170" fmla="*/ 4546173 h 4687251"/>
              <a:gd name="connsiteX171" fmla="*/ 2413192 w 8079933"/>
              <a:gd name="connsiteY171" fmla="*/ 4539568 h 4687251"/>
              <a:gd name="connsiteX172" fmla="*/ 2421656 w 8079933"/>
              <a:gd name="connsiteY172" fmla="*/ 4541842 h 4687251"/>
              <a:gd name="connsiteX173" fmla="*/ 2423609 w 8079933"/>
              <a:gd name="connsiteY173" fmla="*/ 4544873 h 4687251"/>
              <a:gd name="connsiteX174" fmla="*/ 2425779 w 8079933"/>
              <a:gd name="connsiteY174" fmla="*/ 4542816 h 4687251"/>
              <a:gd name="connsiteX175" fmla="*/ 2428058 w 8079933"/>
              <a:gd name="connsiteY175" fmla="*/ 4542384 h 4687251"/>
              <a:gd name="connsiteX176" fmla="*/ 2430011 w 8079933"/>
              <a:gd name="connsiteY176" fmla="*/ 4543574 h 4687251"/>
              <a:gd name="connsiteX177" fmla="*/ 2428167 w 8079933"/>
              <a:gd name="connsiteY177" fmla="*/ 4547147 h 4687251"/>
              <a:gd name="connsiteX178" fmla="*/ 2429360 w 8079933"/>
              <a:gd name="connsiteY178" fmla="*/ 4549854 h 4687251"/>
              <a:gd name="connsiteX179" fmla="*/ 2426539 w 8079933"/>
              <a:gd name="connsiteY179" fmla="*/ 4552019 h 4687251"/>
              <a:gd name="connsiteX180" fmla="*/ 2422633 w 8079933"/>
              <a:gd name="connsiteY180" fmla="*/ 4550829 h 4687251"/>
              <a:gd name="connsiteX181" fmla="*/ 2421113 w 8079933"/>
              <a:gd name="connsiteY181" fmla="*/ 4548554 h 4687251"/>
              <a:gd name="connsiteX182" fmla="*/ 2419051 w 8079933"/>
              <a:gd name="connsiteY182" fmla="*/ 4550395 h 4687251"/>
              <a:gd name="connsiteX183" fmla="*/ 2416338 w 8079933"/>
              <a:gd name="connsiteY183" fmla="*/ 4547905 h 4687251"/>
              <a:gd name="connsiteX184" fmla="*/ 2412107 w 8079933"/>
              <a:gd name="connsiteY184" fmla="*/ 4547256 h 4687251"/>
              <a:gd name="connsiteX185" fmla="*/ 2410045 w 8079933"/>
              <a:gd name="connsiteY185" fmla="*/ 4549313 h 4687251"/>
              <a:gd name="connsiteX186" fmla="*/ 2407875 w 8079933"/>
              <a:gd name="connsiteY186" fmla="*/ 4545523 h 4687251"/>
              <a:gd name="connsiteX187" fmla="*/ 2405162 w 8079933"/>
              <a:gd name="connsiteY187" fmla="*/ 4544007 h 4687251"/>
              <a:gd name="connsiteX188" fmla="*/ 2405162 w 8079933"/>
              <a:gd name="connsiteY188" fmla="*/ 4541625 h 4687251"/>
              <a:gd name="connsiteX189" fmla="*/ 2411564 w 8079933"/>
              <a:gd name="connsiteY189" fmla="*/ 4541084 h 4687251"/>
              <a:gd name="connsiteX190" fmla="*/ 2352424 w 8079933"/>
              <a:gd name="connsiteY190" fmla="*/ 4525385 h 4687251"/>
              <a:gd name="connsiteX191" fmla="*/ 2352424 w 8079933"/>
              <a:gd name="connsiteY191" fmla="*/ 4525386 h 4687251"/>
              <a:gd name="connsiteX192" fmla="*/ 2355461 w 8079933"/>
              <a:gd name="connsiteY192" fmla="*/ 4528525 h 4687251"/>
              <a:gd name="connsiteX193" fmla="*/ 2350362 w 8079933"/>
              <a:gd name="connsiteY193" fmla="*/ 4527009 h 4687251"/>
              <a:gd name="connsiteX194" fmla="*/ 2368810 w 8079933"/>
              <a:gd name="connsiteY194" fmla="*/ 4525060 h 4687251"/>
              <a:gd name="connsiteX195" fmla="*/ 2371306 w 8079933"/>
              <a:gd name="connsiteY195" fmla="*/ 4527442 h 4687251"/>
              <a:gd name="connsiteX196" fmla="*/ 2373585 w 8079933"/>
              <a:gd name="connsiteY196" fmla="*/ 4528525 h 4687251"/>
              <a:gd name="connsiteX197" fmla="*/ 2377817 w 8079933"/>
              <a:gd name="connsiteY197" fmla="*/ 4526793 h 4687251"/>
              <a:gd name="connsiteX198" fmla="*/ 2382917 w 8079933"/>
              <a:gd name="connsiteY198" fmla="*/ 4526576 h 4687251"/>
              <a:gd name="connsiteX199" fmla="*/ 2389537 w 8079933"/>
              <a:gd name="connsiteY199" fmla="*/ 4531340 h 4687251"/>
              <a:gd name="connsiteX200" fmla="*/ 2392467 w 8079933"/>
              <a:gd name="connsiteY200" fmla="*/ 4532639 h 4687251"/>
              <a:gd name="connsiteX201" fmla="*/ 2393661 w 8079933"/>
              <a:gd name="connsiteY201" fmla="*/ 4535238 h 4687251"/>
              <a:gd name="connsiteX202" fmla="*/ 2398544 w 8079933"/>
              <a:gd name="connsiteY202" fmla="*/ 4533722 h 4687251"/>
              <a:gd name="connsiteX203" fmla="*/ 2401908 w 8079933"/>
              <a:gd name="connsiteY203" fmla="*/ 4535129 h 4687251"/>
              <a:gd name="connsiteX204" fmla="*/ 2403536 w 8079933"/>
              <a:gd name="connsiteY204" fmla="*/ 4538594 h 4687251"/>
              <a:gd name="connsiteX205" fmla="*/ 2400063 w 8079933"/>
              <a:gd name="connsiteY205" fmla="*/ 4538378 h 4687251"/>
              <a:gd name="connsiteX206" fmla="*/ 2397676 w 8079933"/>
              <a:gd name="connsiteY206" fmla="*/ 4539460 h 4687251"/>
              <a:gd name="connsiteX207" fmla="*/ 2399629 w 8079933"/>
              <a:gd name="connsiteY207" fmla="*/ 4540868 h 4687251"/>
              <a:gd name="connsiteX208" fmla="*/ 2399846 w 8079933"/>
              <a:gd name="connsiteY208" fmla="*/ 4543358 h 4687251"/>
              <a:gd name="connsiteX209" fmla="*/ 2396265 w 8079933"/>
              <a:gd name="connsiteY209" fmla="*/ 4546715 h 4687251"/>
              <a:gd name="connsiteX210" fmla="*/ 2397567 w 8079933"/>
              <a:gd name="connsiteY210" fmla="*/ 4548988 h 4687251"/>
              <a:gd name="connsiteX211" fmla="*/ 2394204 w 8079933"/>
              <a:gd name="connsiteY211" fmla="*/ 4550395 h 4687251"/>
              <a:gd name="connsiteX212" fmla="*/ 2391164 w 8079933"/>
              <a:gd name="connsiteY212" fmla="*/ 4547472 h 4687251"/>
              <a:gd name="connsiteX213" fmla="*/ 2390731 w 8079933"/>
              <a:gd name="connsiteY213" fmla="*/ 4544224 h 4687251"/>
              <a:gd name="connsiteX214" fmla="*/ 2388235 w 8079933"/>
              <a:gd name="connsiteY214" fmla="*/ 4542709 h 4687251"/>
              <a:gd name="connsiteX215" fmla="*/ 2382917 w 8079933"/>
              <a:gd name="connsiteY215" fmla="*/ 4543683 h 4687251"/>
              <a:gd name="connsiteX216" fmla="*/ 2379445 w 8079933"/>
              <a:gd name="connsiteY216" fmla="*/ 4543142 h 4687251"/>
              <a:gd name="connsiteX217" fmla="*/ 2374670 w 8079933"/>
              <a:gd name="connsiteY217" fmla="*/ 4537511 h 4687251"/>
              <a:gd name="connsiteX218" fmla="*/ 2370221 w 8079933"/>
              <a:gd name="connsiteY218" fmla="*/ 4536428 h 4687251"/>
              <a:gd name="connsiteX219" fmla="*/ 2368484 w 8079933"/>
              <a:gd name="connsiteY219" fmla="*/ 4532206 h 4687251"/>
              <a:gd name="connsiteX220" fmla="*/ 2364035 w 8079933"/>
              <a:gd name="connsiteY220" fmla="*/ 4529824 h 4687251"/>
              <a:gd name="connsiteX221" fmla="*/ 2363710 w 8079933"/>
              <a:gd name="connsiteY221" fmla="*/ 4527334 h 4687251"/>
              <a:gd name="connsiteX222" fmla="*/ 2365120 w 8079933"/>
              <a:gd name="connsiteY222" fmla="*/ 4525385 h 4687251"/>
              <a:gd name="connsiteX223" fmla="*/ 7729206 w 8079933"/>
              <a:gd name="connsiteY223" fmla="*/ 4521163 h 4687251"/>
              <a:gd name="connsiteX224" fmla="*/ 7728663 w 8079933"/>
              <a:gd name="connsiteY224" fmla="*/ 4523220 h 4687251"/>
              <a:gd name="connsiteX225" fmla="*/ 7726493 w 8079933"/>
              <a:gd name="connsiteY225" fmla="*/ 4522787 h 4687251"/>
              <a:gd name="connsiteX226" fmla="*/ 2433051 w 8079933"/>
              <a:gd name="connsiteY226" fmla="*/ 4519322 h 4687251"/>
              <a:gd name="connsiteX227" fmla="*/ 2435872 w 8079933"/>
              <a:gd name="connsiteY227" fmla="*/ 4521055 h 4687251"/>
              <a:gd name="connsiteX228" fmla="*/ 2436740 w 8079933"/>
              <a:gd name="connsiteY228" fmla="*/ 4526035 h 4687251"/>
              <a:gd name="connsiteX229" fmla="*/ 2439780 w 8079933"/>
              <a:gd name="connsiteY229" fmla="*/ 4530583 h 4687251"/>
              <a:gd name="connsiteX230" fmla="*/ 2439237 w 8079933"/>
              <a:gd name="connsiteY230" fmla="*/ 4532315 h 4687251"/>
              <a:gd name="connsiteX231" fmla="*/ 2441298 w 8079933"/>
              <a:gd name="connsiteY231" fmla="*/ 4535021 h 4687251"/>
              <a:gd name="connsiteX232" fmla="*/ 2438151 w 8079933"/>
              <a:gd name="connsiteY232" fmla="*/ 4538161 h 4687251"/>
              <a:gd name="connsiteX233" fmla="*/ 2443360 w 8079933"/>
              <a:gd name="connsiteY233" fmla="*/ 4541951 h 4687251"/>
              <a:gd name="connsiteX234" fmla="*/ 2441624 w 8079933"/>
              <a:gd name="connsiteY234" fmla="*/ 4544116 h 4687251"/>
              <a:gd name="connsiteX235" fmla="*/ 2439997 w 8079933"/>
              <a:gd name="connsiteY235" fmla="*/ 4542600 h 4687251"/>
              <a:gd name="connsiteX236" fmla="*/ 2435438 w 8079933"/>
              <a:gd name="connsiteY236" fmla="*/ 4541410 h 4687251"/>
              <a:gd name="connsiteX237" fmla="*/ 2431206 w 8079933"/>
              <a:gd name="connsiteY237" fmla="*/ 4539028 h 4687251"/>
              <a:gd name="connsiteX238" fmla="*/ 2431206 w 8079933"/>
              <a:gd name="connsiteY238" fmla="*/ 4535455 h 4687251"/>
              <a:gd name="connsiteX239" fmla="*/ 2432834 w 8079933"/>
              <a:gd name="connsiteY239" fmla="*/ 4532640 h 4687251"/>
              <a:gd name="connsiteX240" fmla="*/ 2430664 w 8079933"/>
              <a:gd name="connsiteY240" fmla="*/ 4528526 h 4687251"/>
              <a:gd name="connsiteX241" fmla="*/ 2432292 w 8079933"/>
              <a:gd name="connsiteY241" fmla="*/ 4524086 h 4687251"/>
              <a:gd name="connsiteX242" fmla="*/ 8009722 w 8079933"/>
              <a:gd name="connsiteY242" fmla="*/ 4515155 h 4687251"/>
              <a:gd name="connsiteX243" fmla="*/ 8009506 w 8079933"/>
              <a:gd name="connsiteY243" fmla="*/ 4517645 h 4687251"/>
              <a:gd name="connsiteX244" fmla="*/ 8007335 w 8079933"/>
              <a:gd name="connsiteY244" fmla="*/ 4517212 h 4687251"/>
              <a:gd name="connsiteX245" fmla="*/ 8006358 w 8079933"/>
              <a:gd name="connsiteY245" fmla="*/ 4515480 h 4687251"/>
              <a:gd name="connsiteX246" fmla="*/ 7713255 w 8079933"/>
              <a:gd name="connsiteY246" fmla="*/ 4510986 h 4687251"/>
              <a:gd name="connsiteX247" fmla="*/ 7717379 w 8079933"/>
              <a:gd name="connsiteY247" fmla="*/ 4515100 h 4687251"/>
              <a:gd name="connsiteX248" fmla="*/ 7719440 w 8079933"/>
              <a:gd name="connsiteY248" fmla="*/ 4520189 h 4687251"/>
              <a:gd name="connsiteX249" fmla="*/ 7720200 w 8079933"/>
              <a:gd name="connsiteY249" fmla="*/ 4521705 h 4687251"/>
              <a:gd name="connsiteX250" fmla="*/ 7719983 w 8079933"/>
              <a:gd name="connsiteY250" fmla="*/ 4522788 h 4687251"/>
              <a:gd name="connsiteX251" fmla="*/ 7717270 w 8079933"/>
              <a:gd name="connsiteY251" fmla="*/ 4523220 h 4687251"/>
              <a:gd name="connsiteX252" fmla="*/ 7716294 w 8079933"/>
              <a:gd name="connsiteY252" fmla="*/ 4522137 h 4687251"/>
              <a:gd name="connsiteX253" fmla="*/ 7714123 w 8079933"/>
              <a:gd name="connsiteY253" fmla="*/ 4523004 h 4687251"/>
              <a:gd name="connsiteX254" fmla="*/ 7715643 w 8079933"/>
              <a:gd name="connsiteY254" fmla="*/ 4523329 h 4687251"/>
              <a:gd name="connsiteX255" fmla="*/ 7717487 w 8079933"/>
              <a:gd name="connsiteY255" fmla="*/ 4525169 h 4687251"/>
              <a:gd name="connsiteX256" fmla="*/ 7719658 w 8079933"/>
              <a:gd name="connsiteY256" fmla="*/ 4526252 h 4687251"/>
              <a:gd name="connsiteX257" fmla="*/ 7720092 w 8079933"/>
              <a:gd name="connsiteY257" fmla="*/ 4528092 h 4687251"/>
              <a:gd name="connsiteX258" fmla="*/ 7718573 w 8079933"/>
              <a:gd name="connsiteY258" fmla="*/ 4529933 h 4687251"/>
              <a:gd name="connsiteX259" fmla="*/ 7716836 w 8079933"/>
              <a:gd name="connsiteY259" fmla="*/ 4529283 h 4687251"/>
              <a:gd name="connsiteX260" fmla="*/ 7711736 w 8079933"/>
              <a:gd name="connsiteY260" fmla="*/ 4531015 h 4687251"/>
              <a:gd name="connsiteX261" fmla="*/ 7709240 w 8079933"/>
              <a:gd name="connsiteY261" fmla="*/ 4532856 h 4687251"/>
              <a:gd name="connsiteX262" fmla="*/ 7706744 w 8079933"/>
              <a:gd name="connsiteY262" fmla="*/ 4532640 h 4687251"/>
              <a:gd name="connsiteX263" fmla="*/ 7705334 w 8079933"/>
              <a:gd name="connsiteY263" fmla="*/ 4531773 h 4687251"/>
              <a:gd name="connsiteX264" fmla="*/ 7703814 w 8079933"/>
              <a:gd name="connsiteY264" fmla="*/ 4532098 h 4687251"/>
              <a:gd name="connsiteX265" fmla="*/ 7700341 w 8079933"/>
              <a:gd name="connsiteY265" fmla="*/ 4536212 h 4687251"/>
              <a:gd name="connsiteX266" fmla="*/ 7698063 w 8079933"/>
              <a:gd name="connsiteY266" fmla="*/ 4535996 h 4687251"/>
              <a:gd name="connsiteX267" fmla="*/ 7697303 w 8079933"/>
              <a:gd name="connsiteY267" fmla="*/ 4533939 h 4687251"/>
              <a:gd name="connsiteX268" fmla="*/ 7701969 w 8079933"/>
              <a:gd name="connsiteY268" fmla="*/ 4529175 h 4687251"/>
              <a:gd name="connsiteX269" fmla="*/ 7703922 w 8079933"/>
              <a:gd name="connsiteY269" fmla="*/ 4527984 h 4687251"/>
              <a:gd name="connsiteX270" fmla="*/ 7703922 w 8079933"/>
              <a:gd name="connsiteY270" fmla="*/ 4525061 h 4687251"/>
              <a:gd name="connsiteX271" fmla="*/ 7707395 w 8079933"/>
              <a:gd name="connsiteY271" fmla="*/ 4524303 h 4687251"/>
              <a:gd name="connsiteX272" fmla="*/ 7708697 w 8079933"/>
              <a:gd name="connsiteY272" fmla="*/ 4520080 h 4687251"/>
              <a:gd name="connsiteX273" fmla="*/ 7708372 w 8079933"/>
              <a:gd name="connsiteY273" fmla="*/ 4515425 h 4687251"/>
              <a:gd name="connsiteX274" fmla="*/ 7709131 w 8079933"/>
              <a:gd name="connsiteY274" fmla="*/ 4512177 h 4687251"/>
              <a:gd name="connsiteX275" fmla="*/ 2472009 w 8079933"/>
              <a:gd name="connsiteY275" fmla="*/ 4510119 h 4687251"/>
              <a:gd name="connsiteX276" fmla="*/ 2477217 w 8079933"/>
              <a:gd name="connsiteY276" fmla="*/ 4512068 h 4687251"/>
              <a:gd name="connsiteX277" fmla="*/ 2483077 w 8079933"/>
              <a:gd name="connsiteY277" fmla="*/ 4510986 h 4687251"/>
              <a:gd name="connsiteX278" fmla="*/ 2485681 w 8079933"/>
              <a:gd name="connsiteY278" fmla="*/ 4515749 h 4687251"/>
              <a:gd name="connsiteX279" fmla="*/ 2488394 w 8079933"/>
              <a:gd name="connsiteY279" fmla="*/ 4523653 h 4687251"/>
              <a:gd name="connsiteX280" fmla="*/ 2494580 w 8079933"/>
              <a:gd name="connsiteY280" fmla="*/ 4524411 h 4687251"/>
              <a:gd name="connsiteX281" fmla="*/ 2500657 w 8079933"/>
              <a:gd name="connsiteY281" fmla="*/ 4529500 h 4687251"/>
              <a:gd name="connsiteX282" fmla="*/ 2500983 w 8079933"/>
              <a:gd name="connsiteY282" fmla="*/ 4534913 h 4687251"/>
              <a:gd name="connsiteX283" fmla="*/ 2506083 w 8079933"/>
              <a:gd name="connsiteY283" fmla="*/ 4536645 h 4687251"/>
              <a:gd name="connsiteX284" fmla="*/ 2524748 w 8079933"/>
              <a:gd name="connsiteY284" fmla="*/ 4542708 h 4687251"/>
              <a:gd name="connsiteX285" fmla="*/ 2527026 w 8079933"/>
              <a:gd name="connsiteY285" fmla="*/ 4545307 h 4687251"/>
              <a:gd name="connsiteX286" fmla="*/ 2533863 w 8079933"/>
              <a:gd name="connsiteY286" fmla="*/ 4547364 h 4687251"/>
              <a:gd name="connsiteX287" fmla="*/ 2539723 w 8079933"/>
              <a:gd name="connsiteY287" fmla="*/ 4552669 h 4687251"/>
              <a:gd name="connsiteX288" fmla="*/ 2544715 w 8079933"/>
              <a:gd name="connsiteY288" fmla="*/ 4553210 h 4687251"/>
              <a:gd name="connsiteX289" fmla="*/ 2553504 w 8079933"/>
              <a:gd name="connsiteY289" fmla="*/ 4551153 h 4687251"/>
              <a:gd name="connsiteX290" fmla="*/ 2557628 w 8079933"/>
              <a:gd name="connsiteY290" fmla="*/ 4552669 h 4687251"/>
              <a:gd name="connsiteX291" fmla="*/ 2558496 w 8079933"/>
              <a:gd name="connsiteY291" fmla="*/ 4556783 h 4687251"/>
              <a:gd name="connsiteX292" fmla="*/ 2552528 w 8079933"/>
              <a:gd name="connsiteY292" fmla="*/ 4560248 h 4687251"/>
              <a:gd name="connsiteX293" fmla="*/ 2550249 w 8079933"/>
              <a:gd name="connsiteY293" fmla="*/ 4558299 h 4687251"/>
              <a:gd name="connsiteX294" fmla="*/ 2545040 w 8079933"/>
              <a:gd name="connsiteY294" fmla="*/ 4559815 h 4687251"/>
              <a:gd name="connsiteX295" fmla="*/ 2544063 w 8079933"/>
              <a:gd name="connsiteY295" fmla="*/ 4564038 h 4687251"/>
              <a:gd name="connsiteX296" fmla="*/ 2539723 w 8079933"/>
              <a:gd name="connsiteY296" fmla="*/ 4568260 h 4687251"/>
              <a:gd name="connsiteX297" fmla="*/ 2534406 w 8079933"/>
              <a:gd name="connsiteY297" fmla="*/ 4569667 h 4687251"/>
              <a:gd name="connsiteX298" fmla="*/ 2528871 w 8079933"/>
              <a:gd name="connsiteY298" fmla="*/ 4567827 h 4687251"/>
              <a:gd name="connsiteX299" fmla="*/ 2523554 w 8079933"/>
              <a:gd name="connsiteY299" fmla="*/ 4564904 h 4687251"/>
              <a:gd name="connsiteX300" fmla="*/ 2513679 w 8079933"/>
              <a:gd name="connsiteY300" fmla="*/ 4563821 h 4687251"/>
              <a:gd name="connsiteX301" fmla="*/ 2506843 w 8079933"/>
              <a:gd name="connsiteY301" fmla="*/ 4564362 h 4687251"/>
              <a:gd name="connsiteX302" fmla="*/ 2496859 w 8079933"/>
              <a:gd name="connsiteY302" fmla="*/ 4563496 h 4687251"/>
              <a:gd name="connsiteX303" fmla="*/ 2488720 w 8079933"/>
              <a:gd name="connsiteY303" fmla="*/ 4566202 h 4687251"/>
              <a:gd name="connsiteX304" fmla="*/ 2486116 w 8079933"/>
              <a:gd name="connsiteY304" fmla="*/ 4566202 h 4687251"/>
              <a:gd name="connsiteX305" fmla="*/ 2483837 w 8079933"/>
              <a:gd name="connsiteY305" fmla="*/ 4557216 h 4687251"/>
              <a:gd name="connsiteX306" fmla="*/ 2495231 w 8079933"/>
              <a:gd name="connsiteY306" fmla="*/ 4556783 h 4687251"/>
              <a:gd name="connsiteX307" fmla="*/ 2501633 w 8079933"/>
              <a:gd name="connsiteY307" fmla="*/ 4554510 h 4687251"/>
              <a:gd name="connsiteX308" fmla="*/ 2505540 w 8079933"/>
              <a:gd name="connsiteY308" fmla="*/ 4553752 h 4687251"/>
              <a:gd name="connsiteX309" fmla="*/ 2506408 w 8079933"/>
              <a:gd name="connsiteY309" fmla="*/ 4552128 h 4687251"/>
              <a:gd name="connsiteX310" fmla="*/ 2500006 w 8079933"/>
              <a:gd name="connsiteY310" fmla="*/ 4553427 h 4687251"/>
              <a:gd name="connsiteX311" fmla="*/ 2493386 w 8079933"/>
              <a:gd name="connsiteY311" fmla="*/ 4553427 h 4687251"/>
              <a:gd name="connsiteX312" fmla="*/ 2484922 w 8079933"/>
              <a:gd name="connsiteY312" fmla="*/ 4555051 h 4687251"/>
              <a:gd name="connsiteX313" fmla="*/ 2483186 w 8079933"/>
              <a:gd name="connsiteY313" fmla="*/ 4554618 h 4687251"/>
              <a:gd name="connsiteX314" fmla="*/ 2339184 w 8079933"/>
              <a:gd name="connsiteY314" fmla="*/ 4502540 h 4687251"/>
              <a:gd name="connsiteX315" fmla="*/ 2341897 w 8079933"/>
              <a:gd name="connsiteY315" fmla="*/ 4504273 h 4687251"/>
              <a:gd name="connsiteX316" fmla="*/ 2346997 w 8079933"/>
              <a:gd name="connsiteY316" fmla="*/ 4510228 h 4687251"/>
              <a:gd name="connsiteX317" fmla="*/ 2350253 w 8079933"/>
              <a:gd name="connsiteY317" fmla="*/ 4512177 h 4687251"/>
              <a:gd name="connsiteX318" fmla="*/ 2354159 w 8079933"/>
              <a:gd name="connsiteY318" fmla="*/ 4512285 h 4687251"/>
              <a:gd name="connsiteX319" fmla="*/ 2358282 w 8079933"/>
              <a:gd name="connsiteY319" fmla="*/ 4513909 h 4687251"/>
              <a:gd name="connsiteX320" fmla="*/ 2362080 w 8079933"/>
              <a:gd name="connsiteY320" fmla="*/ 4515967 h 4687251"/>
              <a:gd name="connsiteX321" fmla="*/ 2367615 w 8079933"/>
              <a:gd name="connsiteY321" fmla="*/ 4515967 h 4687251"/>
              <a:gd name="connsiteX322" fmla="*/ 2369676 w 8079933"/>
              <a:gd name="connsiteY322" fmla="*/ 4518240 h 4687251"/>
              <a:gd name="connsiteX323" fmla="*/ 2374234 w 8079933"/>
              <a:gd name="connsiteY323" fmla="*/ 4521597 h 4687251"/>
              <a:gd name="connsiteX324" fmla="*/ 2376296 w 8079933"/>
              <a:gd name="connsiteY324" fmla="*/ 4521813 h 4687251"/>
              <a:gd name="connsiteX325" fmla="*/ 2377598 w 8079933"/>
              <a:gd name="connsiteY325" fmla="*/ 4523654 h 4687251"/>
              <a:gd name="connsiteX326" fmla="*/ 2376839 w 8079933"/>
              <a:gd name="connsiteY326" fmla="*/ 4525061 h 4687251"/>
              <a:gd name="connsiteX327" fmla="*/ 2372173 w 8079933"/>
              <a:gd name="connsiteY327" fmla="*/ 4525061 h 4687251"/>
              <a:gd name="connsiteX328" fmla="*/ 2367832 w 8079933"/>
              <a:gd name="connsiteY328" fmla="*/ 4523329 h 4687251"/>
              <a:gd name="connsiteX329" fmla="*/ 2361430 w 8079933"/>
              <a:gd name="connsiteY329" fmla="*/ 4520947 h 4687251"/>
              <a:gd name="connsiteX330" fmla="*/ 2359585 w 8079933"/>
              <a:gd name="connsiteY330" fmla="*/ 4522030 h 4687251"/>
              <a:gd name="connsiteX331" fmla="*/ 2355896 w 8079933"/>
              <a:gd name="connsiteY331" fmla="*/ 4522030 h 4687251"/>
              <a:gd name="connsiteX332" fmla="*/ 2353616 w 8079933"/>
              <a:gd name="connsiteY332" fmla="*/ 4518673 h 4687251"/>
              <a:gd name="connsiteX333" fmla="*/ 2346997 w 8079933"/>
              <a:gd name="connsiteY333" fmla="*/ 4515750 h 4687251"/>
              <a:gd name="connsiteX334" fmla="*/ 2342005 w 8079933"/>
              <a:gd name="connsiteY334" fmla="*/ 4515100 h 4687251"/>
              <a:gd name="connsiteX335" fmla="*/ 2338967 w 8079933"/>
              <a:gd name="connsiteY335" fmla="*/ 4509361 h 4687251"/>
              <a:gd name="connsiteX336" fmla="*/ 2337882 w 8079933"/>
              <a:gd name="connsiteY336" fmla="*/ 4504706 h 4687251"/>
              <a:gd name="connsiteX337" fmla="*/ 8013846 w 8079933"/>
              <a:gd name="connsiteY337" fmla="*/ 4492743 h 4687251"/>
              <a:gd name="connsiteX338" fmla="*/ 8013086 w 8079933"/>
              <a:gd name="connsiteY338" fmla="*/ 4495125 h 4687251"/>
              <a:gd name="connsiteX339" fmla="*/ 8012110 w 8079933"/>
              <a:gd name="connsiteY339" fmla="*/ 4493610 h 4687251"/>
              <a:gd name="connsiteX340" fmla="*/ 2354486 w 8079933"/>
              <a:gd name="connsiteY340" fmla="*/ 4490955 h 4687251"/>
              <a:gd name="connsiteX341" fmla="*/ 2355896 w 8079933"/>
              <a:gd name="connsiteY341" fmla="*/ 4495502 h 4687251"/>
              <a:gd name="connsiteX342" fmla="*/ 2353509 w 8079933"/>
              <a:gd name="connsiteY342" fmla="*/ 4499400 h 4687251"/>
              <a:gd name="connsiteX343" fmla="*/ 2351447 w 8079933"/>
              <a:gd name="connsiteY343" fmla="*/ 4498318 h 4687251"/>
              <a:gd name="connsiteX344" fmla="*/ 2349060 w 8079933"/>
              <a:gd name="connsiteY344" fmla="*/ 4496152 h 4687251"/>
              <a:gd name="connsiteX345" fmla="*/ 2348191 w 8079933"/>
              <a:gd name="connsiteY345" fmla="*/ 4493662 h 4687251"/>
              <a:gd name="connsiteX346" fmla="*/ 2343634 w 8079933"/>
              <a:gd name="connsiteY346" fmla="*/ 4493986 h 4687251"/>
              <a:gd name="connsiteX347" fmla="*/ 2341898 w 8079933"/>
              <a:gd name="connsiteY347" fmla="*/ 4492471 h 4687251"/>
              <a:gd name="connsiteX348" fmla="*/ 2345479 w 8079933"/>
              <a:gd name="connsiteY348" fmla="*/ 4491063 h 4687251"/>
              <a:gd name="connsiteX349" fmla="*/ 2348734 w 8079933"/>
              <a:gd name="connsiteY349" fmla="*/ 4491821 h 4687251"/>
              <a:gd name="connsiteX350" fmla="*/ 8020899 w 8079933"/>
              <a:gd name="connsiteY350" fmla="*/ 4487113 h 4687251"/>
              <a:gd name="connsiteX351" fmla="*/ 8021224 w 8079933"/>
              <a:gd name="connsiteY351" fmla="*/ 4490902 h 4687251"/>
              <a:gd name="connsiteX352" fmla="*/ 8022744 w 8079933"/>
              <a:gd name="connsiteY352" fmla="*/ 4493068 h 4687251"/>
              <a:gd name="connsiteX353" fmla="*/ 8021224 w 8079933"/>
              <a:gd name="connsiteY353" fmla="*/ 4494042 h 4687251"/>
              <a:gd name="connsiteX354" fmla="*/ 8021875 w 8079933"/>
              <a:gd name="connsiteY354" fmla="*/ 4496317 h 4687251"/>
              <a:gd name="connsiteX355" fmla="*/ 8020899 w 8079933"/>
              <a:gd name="connsiteY355" fmla="*/ 4496966 h 4687251"/>
              <a:gd name="connsiteX356" fmla="*/ 8018186 w 8079933"/>
              <a:gd name="connsiteY356" fmla="*/ 4493501 h 4687251"/>
              <a:gd name="connsiteX357" fmla="*/ 2464846 w 8079933"/>
              <a:gd name="connsiteY357" fmla="*/ 4481861 h 4687251"/>
              <a:gd name="connsiteX358" fmla="*/ 2471683 w 8079933"/>
              <a:gd name="connsiteY358" fmla="*/ 4508929 h 4687251"/>
              <a:gd name="connsiteX359" fmla="*/ 2471358 w 8079933"/>
              <a:gd name="connsiteY359" fmla="*/ 4509903 h 4687251"/>
              <a:gd name="connsiteX360" fmla="*/ 2472009 w 8079933"/>
              <a:gd name="connsiteY360" fmla="*/ 4510120 h 4687251"/>
              <a:gd name="connsiteX361" fmla="*/ 2483186 w 8079933"/>
              <a:gd name="connsiteY361" fmla="*/ 4554619 h 4687251"/>
              <a:gd name="connsiteX362" fmla="*/ 2477760 w 8079933"/>
              <a:gd name="connsiteY362" fmla="*/ 4553319 h 4687251"/>
              <a:gd name="connsiteX363" fmla="*/ 2466366 w 8079933"/>
              <a:gd name="connsiteY363" fmla="*/ 4545740 h 4687251"/>
              <a:gd name="connsiteX364" fmla="*/ 2458227 w 8079933"/>
              <a:gd name="connsiteY364" fmla="*/ 4542817 h 4687251"/>
              <a:gd name="connsiteX365" fmla="*/ 2454320 w 8079933"/>
              <a:gd name="connsiteY365" fmla="*/ 4543250 h 4687251"/>
              <a:gd name="connsiteX366" fmla="*/ 2449111 w 8079933"/>
              <a:gd name="connsiteY366" fmla="*/ 4540003 h 4687251"/>
              <a:gd name="connsiteX367" fmla="*/ 2444771 w 8079933"/>
              <a:gd name="connsiteY367" fmla="*/ 4535671 h 4687251"/>
              <a:gd name="connsiteX368" fmla="*/ 2444120 w 8079933"/>
              <a:gd name="connsiteY368" fmla="*/ 4533614 h 4687251"/>
              <a:gd name="connsiteX369" fmla="*/ 2444120 w 8079933"/>
              <a:gd name="connsiteY369" fmla="*/ 4531557 h 4687251"/>
              <a:gd name="connsiteX370" fmla="*/ 2451499 w 8079933"/>
              <a:gd name="connsiteY370" fmla="*/ 4527876 h 4687251"/>
              <a:gd name="connsiteX371" fmla="*/ 2452367 w 8079933"/>
              <a:gd name="connsiteY371" fmla="*/ 4525494 h 4687251"/>
              <a:gd name="connsiteX372" fmla="*/ 2457033 w 8079933"/>
              <a:gd name="connsiteY372" fmla="*/ 4524194 h 4687251"/>
              <a:gd name="connsiteX373" fmla="*/ 2460289 w 8079933"/>
              <a:gd name="connsiteY373" fmla="*/ 4518673 h 4687251"/>
              <a:gd name="connsiteX374" fmla="*/ 2458878 w 8079933"/>
              <a:gd name="connsiteY374" fmla="*/ 4514667 h 4687251"/>
              <a:gd name="connsiteX375" fmla="*/ 2453777 w 8079933"/>
              <a:gd name="connsiteY375" fmla="*/ 4514451 h 4687251"/>
              <a:gd name="connsiteX376" fmla="*/ 2446833 w 8079933"/>
              <a:gd name="connsiteY376" fmla="*/ 4518240 h 4687251"/>
              <a:gd name="connsiteX377" fmla="*/ 2443468 w 8079933"/>
              <a:gd name="connsiteY377" fmla="*/ 4522246 h 4687251"/>
              <a:gd name="connsiteX378" fmla="*/ 2439996 w 8079933"/>
              <a:gd name="connsiteY378" fmla="*/ 4522354 h 4687251"/>
              <a:gd name="connsiteX379" fmla="*/ 2435330 w 8079933"/>
              <a:gd name="connsiteY379" fmla="*/ 4516508 h 4687251"/>
              <a:gd name="connsiteX380" fmla="*/ 2435004 w 8079933"/>
              <a:gd name="connsiteY380" fmla="*/ 4510986 h 4687251"/>
              <a:gd name="connsiteX381" fmla="*/ 2433594 w 8079933"/>
              <a:gd name="connsiteY381" fmla="*/ 4508171 h 4687251"/>
              <a:gd name="connsiteX382" fmla="*/ 2437609 w 8079933"/>
              <a:gd name="connsiteY382" fmla="*/ 4504165 h 4687251"/>
              <a:gd name="connsiteX383" fmla="*/ 2438260 w 8079933"/>
              <a:gd name="connsiteY383" fmla="*/ 4500700 h 4687251"/>
              <a:gd name="connsiteX384" fmla="*/ 2434679 w 8079933"/>
              <a:gd name="connsiteY384" fmla="*/ 4501241 h 4687251"/>
              <a:gd name="connsiteX385" fmla="*/ 2431749 w 8079933"/>
              <a:gd name="connsiteY385" fmla="*/ 4499076 h 4687251"/>
              <a:gd name="connsiteX386" fmla="*/ 2434679 w 8079933"/>
              <a:gd name="connsiteY386" fmla="*/ 4494853 h 4687251"/>
              <a:gd name="connsiteX387" fmla="*/ 2437609 w 8079933"/>
              <a:gd name="connsiteY387" fmla="*/ 4495720 h 4687251"/>
              <a:gd name="connsiteX388" fmla="*/ 2442383 w 8079933"/>
              <a:gd name="connsiteY388" fmla="*/ 4498535 h 4687251"/>
              <a:gd name="connsiteX389" fmla="*/ 2443577 w 8079933"/>
              <a:gd name="connsiteY389" fmla="*/ 4496478 h 4687251"/>
              <a:gd name="connsiteX390" fmla="*/ 2447701 w 8079933"/>
              <a:gd name="connsiteY390" fmla="*/ 4492471 h 4687251"/>
              <a:gd name="connsiteX391" fmla="*/ 2448461 w 8079933"/>
              <a:gd name="connsiteY391" fmla="*/ 4489332 h 4687251"/>
              <a:gd name="connsiteX392" fmla="*/ 2447375 w 8079933"/>
              <a:gd name="connsiteY392" fmla="*/ 4485650 h 4687251"/>
              <a:gd name="connsiteX393" fmla="*/ 2449329 w 8079933"/>
              <a:gd name="connsiteY393" fmla="*/ 4481969 h 4687251"/>
              <a:gd name="connsiteX394" fmla="*/ 2452693 w 8079933"/>
              <a:gd name="connsiteY394" fmla="*/ 4482835 h 4687251"/>
              <a:gd name="connsiteX395" fmla="*/ 2456382 w 8079933"/>
              <a:gd name="connsiteY395" fmla="*/ 4486300 h 4687251"/>
              <a:gd name="connsiteX396" fmla="*/ 2458444 w 8079933"/>
              <a:gd name="connsiteY396" fmla="*/ 4484567 h 4687251"/>
              <a:gd name="connsiteX397" fmla="*/ 2465824 w 8079933"/>
              <a:gd name="connsiteY397" fmla="*/ 4481536 h 4687251"/>
              <a:gd name="connsiteX398" fmla="*/ 2469405 w 8079933"/>
              <a:gd name="connsiteY398" fmla="*/ 4486841 h 4687251"/>
              <a:gd name="connsiteX399" fmla="*/ 2477218 w 8079933"/>
              <a:gd name="connsiteY399" fmla="*/ 4494528 h 4687251"/>
              <a:gd name="connsiteX400" fmla="*/ 2479605 w 8079933"/>
              <a:gd name="connsiteY400" fmla="*/ 4506222 h 4687251"/>
              <a:gd name="connsiteX401" fmla="*/ 2477001 w 8079933"/>
              <a:gd name="connsiteY401" fmla="*/ 4503623 h 4687251"/>
              <a:gd name="connsiteX402" fmla="*/ 2473420 w 8079933"/>
              <a:gd name="connsiteY402" fmla="*/ 4505247 h 4687251"/>
              <a:gd name="connsiteX403" fmla="*/ 2471683 w 8079933"/>
              <a:gd name="connsiteY403" fmla="*/ 4508928 h 4687251"/>
              <a:gd name="connsiteX404" fmla="*/ 2464847 w 8079933"/>
              <a:gd name="connsiteY404" fmla="*/ 4481860 h 4687251"/>
              <a:gd name="connsiteX405" fmla="*/ 2342548 w 8079933"/>
              <a:gd name="connsiteY405" fmla="*/ 4478287 h 4687251"/>
              <a:gd name="connsiteX406" fmla="*/ 2350252 w 8079933"/>
              <a:gd name="connsiteY406" fmla="*/ 4484241 h 4687251"/>
              <a:gd name="connsiteX407" fmla="*/ 2350035 w 8079933"/>
              <a:gd name="connsiteY407" fmla="*/ 4487706 h 4687251"/>
              <a:gd name="connsiteX408" fmla="*/ 2348191 w 8079933"/>
              <a:gd name="connsiteY408" fmla="*/ 4488464 h 4687251"/>
              <a:gd name="connsiteX409" fmla="*/ 2342982 w 8079933"/>
              <a:gd name="connsiteY409" fmla="*/ 4482834 h 4687251"/>
              <a:gd name="connsiteX410" fmla="*/ 2341246 w 8079933"/>
              <a:gd name="connsiteY410" fmla="*/ 4479911 h 4687251"/>
              <a:gd name="connsiteX411" fmla="*/ 2333974 w 8079933"/>
              <a:gd name="connsiteY411" fmla="*/ 4476664 h 4687251"/>
              <a:gd name="connsiteX412" fmla="*/ 2335167 w 8079933"/>
              <a:gd name="connsiteY412" fmla="*/ 4479046 h 4687251"/>
              <a:gd name="connsiteX413" fmla="*/ 2332997 w 8079933"/>
              <a:gd name="connsiteY413" fmla="*/ 4484351 h 4687251"/>
              <a:gd name="connsiteX414" fmla="*/ 2330827 w 8079933"/>
              <a:gd name="connsiteY414" fmla="*/ 4485542 h 4687251"/>
              <a:gd name="connsiteX415" fmla="*/ 2330068 w 8079933"/>
              <a:gd name="connsiteY415" fmla="*/ 4483918 h 4687251"/>
              <a:gd name="connsiteX416" fmla="*/ 2331803 w 8079933"/>
              <a:gd name="connsiteY416" fmla="*/ 4482186 h 4687251"/>
              <a:gd name="connsiteX417" fmla="*/ 2331695 w 8079933"/>
              <a:gd name="connsiteY417" fmla="*/ 4477530 h 4687251"/>
              <a:gd name="connsiteX418" fmla="*/ 2343742 w 8079933"/>
              <a:gd name="connsiteY418" fmla="*/ 4474498 h 4687251"/>
              <a:gd name="connsiteX419" fmla="*/ 2346998 w 8079933"/>
              <a:gd name="connsiteY419" fmla="*/ 4475255 h 4687251"/>
              <a:gd name="connsiteX420" fmla="*/ 2347865 w 8079933"/>
              <a:gd name="connsiteY420" fmla="*/ 4479045 h 4687251"/>
              <a:gd name="connsiteX421" fmla="*/ 2345912 w 8079933"/>
              <a:gd name="connsiteY421" fmla="*/ 4479262 h 4687251"/>
              <a:gd name="connsiteX422" fmla="*/ 2342223 w 8079933"/>
              <a:gd name="connsiteY422" fmla="*/ 4475689 h 4687251"/>
              <a:gd name="connsiteX423" fmla="*/ 2334952 w 8079933"/>
              <a:gd name="connsiteY423" fmla="*/ 4468543 h 4687251"/>
              <a:gd name="connsiteX424" fmla="*/ 2339726 w 8079933"/>
              <a:gd name="connsiteY424" fmla="*/ 4471033 h 4687251"/>
              <a:gd name="connsiteX425" fmla="*/ 2340811 w 8079933"/>
              <a:gd name="connsiteY425" fmla="*/ 4473632 h 4687251"/>
              <a:gd name="connsiteX426" fmla="*/ 2339509 w 8079933"/>
              <a:gd name="connsiteY426" fmla="*/ 4473848 h 4687251"/>
              <a:gd name="connsiteX427" fmla="*/ 2335929 w 8079933"/>
              <a:gd name="connsiteY427" fmla="*/ 4471249 h 4687251"/>
              <a:gd name="connsiteX428" fmla="*/ 7698714 w 8079933"/>
              <a:gd name="connsiteY428" fmla="*/ 4467136 h 4687251"/>
              <a:gd name="connsiteX429" fmla="*/ 7702729 w 8079933"/>
              <a:gd name="connsiteY429" fmla="*/ 4467352 h 4687251"/>
              <a:gd name="connsiteX430" fmla="*/ 7702729 w 8079933"/>
              <a:gd name="connsiteY430" fmla="*/ 4470167 h 4687251"/>
              <a:gd name="connsiteX431" fmla="*/ 7700885 w 8079933"/>
              <a:gd name="connsiteY431" fmla="*/ 4470600 h 4687251"/>
              <a:gd name="connsiteX432" fmla="*/ 7698606 w 8079933"/>
              <a:gd name="connsiteY432" fmla="*/ 4469301 h 4687251"/>
              <a:gd name="connsiteX433" fmla="*/ 7697846 w 8079933"/>
              <a:gd name="connsiteY433" fmla="*/ 4468760 h 4687251"/>
              <a:gd name="connsiteX434" fmla="*/ 2387751 w 8079933"/>
              <a:gd name="connsiteY434" fmla="*/ 4465107 h 4687251"/>
              <a:gd name="connsiteX435" fmla="*/ 2398869 w 8079933"/>
              <a:gd name="connsiteY435" fmla="*/ 4465945 h 4687251"/>
              <a:gd name="connsiteX436" fmla="*/ 2402884 w 8079933"/>
              <a:gd name="connsiteY436" fmla="*/ 4468219 h 4687251"/>
              <a:gd name="connsiteX437" fmla="*/ 2420138 w 8079933"/>
              <a:gd name="connsiteY437" fmla="*/ 4465296 h 4687251"/>
              <a:gd name="connsiteX438" fmla="*/ 2451065 w 8079933"/>
              <a:gd name="connsiteY438" fmla="*/ 4465296 h 4687251"/>
              <a:gd name="connsiteX439" fmla="*/ 2452693 w 8079933"/>
              <a:gd name="connsiteY439" fmla="*/ 4467244 h 4687251"/>
              <a:gd name="connsiteX440" fmla="*/ 2457793 w 8079933"/>
              <a:gd name="connsiteY440" fmla="*/ 4468002 h 4687251"/>
              <a:gd name="connsiteX441" fmla="*/ 2457793 w 8079933"/>
              <a:gd name="connsiteY441" fmla="*/ 4468002 h 4687251"/>
              <a:gd name="connsiteX442" fmla="*/ 2452693 w 8079933"/>
              <a:gd name="connsiteY442" fmla="*/ 4467244 h 4687251"/>
              <a:gd name="connsiteX443" fmla="*/ 2451065 w 8079933"/>
              <a:gd name="connsiteY443" fmla="*/ 4465295 h 4687251"/>
              <a:gd name="connsiteX444" fmla="*/ 2420138 w 8079933"/>
              <a:gd name="connsiteY444" fmla="*/ 4465295 h 4687251"/>
              <a:gd name="connsiteX445" fmla="*/ 2402883 w 8079933"/>
              <a:gd name="connsiteY445" fmla="*/ 4468218 h 4687251"/>
              <a:gd name="connsiteX446" fmla="*/ 2398869 w 8079933"/>
              <a:gd name="connsiteY446" fmla="*/ 4465944 h 4687251"/>
              <a:gd name="connsiteX447" fmla="*/ 2329309 w 8079933"/>
              <a:gd name="connsiteY447" fmla="*/ 4462913 h 4687251"/>
              <a:gd name="connsiteX448" fmla="*/ 2331371 w 8079933"/>
              <a:gd name="connsiteY448" fmla="*/ 4465078 h 4687251"/>
              <a:gd name="connsiteX449" fmla="*/ 2333758 w 8079933"/>
              <a:gd name="connsiteY449" fmla="*/ 4467460 h 4687251"/>
              <a:gd name="connsiteX450" fmla="*/ 2333866 w 8079933"/>
              <a:gd name="connsiteY450" fmla="*/ 4471682 h 4687251"/>
              <a:gd name="connsiteX451" fmla="*/ 2331045 w 8079933"/>
              <a:gd name="connsiteY451" fmla="*/ 4473631 h 4687251"/>
              <a:gd name="connsiteX452" fmla="*/ 2329092 w 8079933"/>
              <a:gd name="connsiteY452" fmla="*/ 4473090 h 4687251"/>
              <a:gd name="connsiteX453" fmla="*/ 2328658 w 8079933"/>
              <a:gd name="connsiteY453" fmla="*/ 4471033 h 4687251"/>
              <a:gd name="connsiteX454" fmla="*/ 2327790 w 8079933"/>
              <a:gd name="connsiteY454" fmla="*/ 4469733 h 4687251"/>
              <a:gd name="connsiteX455" fmla="*/ 2326922 w 8079933"/>
              <a:gd name="connsiteY455" fmla="*/ 4466269 h 4687251"/>
              <a:gd name="connsiteX456" fmla="*/ 2327899 w 8079933"/>
              <a:gd name="connsiteY456" fmla="*/ 4463887 h 4687251"/>
              <a:gd name="connsiteX457" fmla="*/ 2324427 w 8079933"/>
              <a:gd name="connsiteY457" fmla="*/ 4460964 h 4687251"/>
              <a:gd name="connsiteX458" fmla="*/ 2326163 w 8079933"/>
              <a:gd name="connsiteY458" fmla="*/ 4464104 h 4687251"/>
              <a:gd name="connsiteX459" fmla="*/ 2325946 w 8079933"/>
              <a:gd name="connsiteY459" fmla="*/ 4468651 h 4687251"/>
              <a:gd name="connsiteX460" fmla="*/ 2323558 w 8079933"/>
              <a:gd name="connsiteY460" fmla="*/ 4470383 h 4687251"/>
              <a:gd name="connsiteX461" fmla="*/ 2325946 w 8079933"/>
              <a:gd name="connsiteY461" fmla="*/ 4474064 h 4687251"/>
              <a:gd name="connsiteX462" fmla="*/ 2323124 w 8079933"/>
              <a:gd name="connsiteY462" fmla="*/ 4473523 h 4687251"/>
              <a:gd name="connsiteX463" fmla="*/ 2320845 w 8079933"/>
              <a:gd name="connsiteY463" fmla="*/ 4472007 h 4687251"/>
              <a:gd name="connsiteX464" fmla="*/ 2319543 w 8079933"/>
              <a:gd name="connsiteY464" fmla="*/ 4468434 h 4687251"/>
              <a:gd name="connsiteX465" fmla="*/ 2320736 w 8079933"/>
              <a:gd name="connsiteY465" fmla="*/ 4466053 h 4687251"/>
              <a:gd name="connsiteX466" fmla="*/ 2322690 w 8079933"/>
              <a:gd name="connsiteY466" fmla="*/ 4464320 h 4687251"/>
              <a:gd name="connsiteX467" fmla="*/ 2321605 w 8079933"/>
              <a:gd name="connsiteY467" fmla="*/ 4463346 h 4687251"/>
              <a:gd name="connsiteX468" fmla="*/ 2320628 w 8079933"/>
              <a:gd name="connsiteY468" fmla="*/ 4461397 h 4687251"/>
              <a:gd name="connsiteX469" fmla="*/ 2340270 w 8079933"/>
              <a:gd name="connsiteY469" fmla="*/ 4459232 h 4687251"/>
              <a:gd name="connsiteX470" fmla="*/ 2342766 w 8079933"/>
              <a:gd name="connsiteY470" fmla="*/ 4464862 h 4687251"/>
              <a:gd name="connsiteX471" fmla="*/ 2346889 w 8079933"/>
              <a:gd name="connsiteY471" fmla="*/ 4469301 h 4687251"/>
              <a:gd name="connsiteX472" fmla="*/ 2348083 w 8079933"/>
              <a:gd name="connsiteY472" fmla="*/ 4472008 h 4687251"/>
              <a:gd name="connsiteX473" fmla="*/ 2346672 w 8079933"/>
              <a:gd name="connsiteY473" fmla="*/ 4472116 h 4687251"/>
              <a:gd name="connsiteX474" fmla="*/ 2341029 w 8079933"/>
              <a:gd name="connsiteY474" fmla="*/ 4469409 h 4687251"/>
              <a:gd name="connsiteX475" fmla="*/ 2338316 w 8079933"/>
              <a:gd name="connsiteY475" fmla="*/ 4466378 h 4687251"/>
              <a:gd name="connsiteX476" fmla="*/ 2338208 w 8079933"/>
              <a:gd name="connsiteY476" fmla="*/ 4459340 h 4687251"/>
              <a:gd name="connsiteX477" fmla="*/ 2627296 w 8079933"/>
              <a:gd name="connsiteY477" fmla="*/ 4445048 h 4687251"/>
              <a:gd name="connsiteX478" fmla="*/ 2630334 w 8079933"/>
              <a:gd name="connsiteY478" fmla="*/ 4446997 h 4687251"/>
              <a:gd name="connsiteX479" fmla="*/ 2633264 w 8079933"/>
              <a:gd name="connsiteY479" fmla="*/ 4447538 h 4687251"/>
              <a:gd name="connsiteX480" fmla="*/ 2627079 w 8079933"/>
              <a:gd name="connsiteY480" fmla="*/ 4450028 h 4687251"/>
              <a:gd name="connsiteX481" fmla="*/ 2624909 w 8079933"/>
              <a:gd name="connsiteY481" fmla="*/ 4446997 h 4687251"/>
              <a:gd name="connsiteX482" fmla="*/ 2316396 w 8079933"/>
              <a:gd name="connsiteY482" fmla="*/ 4442233 h 4687251"/>
              <a:gd name="connsiteX483" fmla="*/ 2319651 w 8079933"/>
              <a:gd name="connsiteY483" fmla="*/ 4445156 h 4687251"/>
              <a:gd name="connsiteX484" fmla="*/ 2322690 w 8079933"/>
              <a:gd name="connsiteY484" fmla="*/ 4444939 h 4687251"/>
              <a:gd name="connsiteX485" fmla="*/ 2329418 w 8079933"/>
              <a:gd name="connsiteY485" fmla="*/ 4449379 h 4687251"/>
              <a:gd name="connsiteX486" fmla="*/ 2329201 w 8079933"/>
              <a:gd name="connsiteY486" fmla="*/ 4451978 h 4687251"/>
              <a:gd name="connsiteX487" fmla="*/ 2325511 w 8079933"/>
              <a:gd name="connsiteY487" fmla="*/ 4452194 h 4687251"/>
              <a:gd name="connsiteX488" fmla="*/ 2324969 w 8079933"/>
              <a:gd name="connsiteY488" fmla="*/ 4453710 h 4687251"/>
              <a:gd name="connsiteX489" fmla="*/ 2320194 w 8079933"/>
              <a:gd name="connsiteY489" fmla="*/ 4454143 h 4687251"/>
              <a:gd name="connsiteX490" fmla="*/ 2313574 w 8079933"/>
              <a:gd name="connsiteY490" fmla="*/ 4455442 h 4687251"/>
              <a:gd name="connsiteX491" fmla="*/ 2311404 w 8079933"/>
              <a:gd name="connsiteY491" fmla="*/ 4453818 h 4687251"/>
              <a:gd name="connsiteX492" fmla="*/ 2313466 w 8079933"/>
              <a:gd name="connsiteY492" fmla="*/ 4451761 h 4687251"/>
              <a:gd name="connsiteX493" fmla="*/ 2315745 w 8079933"/>
              <a:gd name="connsiteY493" fmla="*/ 4446997 h 4687251"/>
              <a:gd name="connsiteX494" fmla="*/ 2313357 w 8079933"/>
              <a:gd name="connsiteY494" fmla="*/ 4442990 h 4687251"/>
              <a:gd name="connsiteX495" fmla="*/ 2317806 w 8079933"/>
              <a:gd name="connsiteY495" fmla="*/ 4429999 h 4687251"/>
              <a:gd name="connsiteX496" fmla="*/ 2322907 w 8079933"/>
              <a:gd name="connsiteY496" fmla="*/ 4432814 h 4687251"/>
              <a:gd name="connsiteX497" fmla="*/ 2327790 w 8079933"/>
              <a:gd name="connsiteY497" fmla="*/ 4439851 h 4687251"/>
              <a:gd name="connsiteX498" fmla="*/ 2325837 w 8079933"/>
              <a:gd name="connsiteY498" fmla="*/ 4442991 h 4687251"/>
              <a:gd name="connsiteX499" fmla="*/ 2321821 w 8079933"/>
              <a:gd name="connsiteY499" fmla="*/ 4442774 h 4687251"/>
              <a:gd name="connsiteX500" fmla="*/ 2316721 w 8079933"/>
              <a:gd name="connsiteY500" fmla="*/ 4436711 h 4687251"/>
              <a:gd name="connsiteX501" fmla="*/ 2315528 w 8079933"/>
              <a:gd name="connsiteY501" fmla="*/ 4430648 h 4687251"/>
              <a:gd name="connsiteX502" fmla="*/ 2663758 w 8079933"/>
              <a:gd name="connsiteY502" fmla="*/ 4429457 h 4687251"/>
              <a:gd name="connsiteX503" fmla="*/ 2666036 w 8079933"/>
              <a:gd name="connsiteY503" fmla="*/ 4432922 h 4687251"/>
              <a:gd name="connsiteX504" fmla="*/ 2663649 w 8079933"/>
              <a:gd name="connsiteY504" fmla="*/ 4438444 h 4687251"/>
              <a:gd name="connsiteX505" fmla="*/ 2657572 w 8079933"/>
              <a:gd name="connsiteY505" fmla="*/ 4442883 h 4687251"/>
              <a:gd name="connsiteX506" fmla="*/ 2657463 w 8079933"/>
              <a:gd name="connsiteY506" fmla="*/ 4448079 h 4687251"/>
              <a:gd name="connsiteX507" fmla="*/ 2652255 w 8079933"/>
              <a:gd name="connsiteY507" fmla="*/ 4450570 h 4687251"/>
              <a:gd name="connsiteX508" fmla="*/ 2645201 w 8079933"/>
              <a:gd name="connsiteY508" fmla="*/ 4449920 h 4687251"/>
              <a:gd name="connsiteX509" fmla="*/ 2641077 w 8079933"/>
              <a:gd name="connsiteY509" fmla="*/ 4452302 h 4687251"/>
              <a:gd name="connsiteX510" fmla="*/ 2646178 w 8079933"/>
              <a:gd name="connsiteY510" fmla="*/ 4454684 h 4687251"/>
              <a:gd name="connsiteX511" fmla="*/ 2643465 w 8079933"/>
              <a:gd name="connsiteY511" fmla="*/ 4459231 h 4687251"/>
              <a:gd name="connsiteX512" fmla="*/ 2638798 w 8079933"/>
              <a:gd name="connsiteY512" fmla="*/ 4455767 h 4687251"/>
              <a:gd name="connsiteX513" fmla="*/ 2636194 w 8079933"/>
              <a:gd name="connsiteY513" fmla="*/ 4458581 h 4687251"/>
              <a:gd name="connsiteX514" fmla="*/ 2631094 w 8079933"/>
              <a:gd name="connsiteY514" fmla="*/ 4455767 h 4687251"/>
              <a:gd name="connsiteX515" fmla="*/ 2631202 w 8079933"/>
              <a:gd name="connsiteY515" fmla="*/ 4453493 h 4687251"/>
              <a:gd name="connsiteX516" fmla="*/ 2634566 w 8079933"/>
              <a:gd name="connsiteY516" fmla="*/ 4453709 h 4687251"/>
              <a:gd name="connsiteX517" fmla="*/ 2639233 w 8079933"/>
              <a:gd name="connsiteY517" fmla="*/ 4448838 h 4687251"/>
              <a:gd name="connsiteX518" fmla="*/ 2638365 w 8079933"/>
              <a:gd name="connsiteY518" fmla="*/ 4445914 h 4687251"/>
              <a:gd name="connsiteX519" fmla="*/ 2641620 w 8079933"/>
              <a:gd name="connsiteY519" fmla="*/ 4443857 h 4687251"/>
              <a:gd name="connsiteX520" fmla="*/ 2646937 w 8079933"/>
              <a:gd name="connsiteY520" fmla="*/ 4443857 h 4687251"/>
              <a:gd name="connsiteX521" fmla="*/ 2646937 w 8079933"/>
              <a:gd name="connsiteY521" fmla="*/ 4441691 h 4687251"/>
              <a:gd name="connsiteX522" fmla="*/ 2641620 w 8079933"/>
              <a:gd name="connsiteY522" fmla="*/ 4441042 h 4687251"/>
              <a:gd name="connsiteX523" fmla="*/ 2635868 w 8079933"/>
              <a:gd name="connsiteY523" fmla="*/ 4433246 h 4687251"/>
              <a:gd name="connsiteX524" fmla="*/ 2637605 w 8079933"/>
              <a:gd name="connsiteY524" fmla="*/ 4431189 h 4687251"/>
              <a:gd name="connsiteX525" fmla="*/ 2642271 w 8079933"/>
              <a:gd name="connsiteY525" fmla="*/ 4435087 h 4687251"/>
              <a:gd name="connsiteX526" fmla="*/ 2646937 w 8079933"/>
              <a:gd name="connsiteY526" fmla="*/ 4435845 h 4687251"/>
              <a:gd name="connsiteX527" fmla="*/ 2648674 w 8079933"/>
              <a:gd name="connsiteY527" fmla="*/ 4430864 h 4687251"/>
              <a:gd name="connsiteX528" fmla="*/ 2652906 w 8079933"/>
              <a:gd name="connsiteY528" fmla="*/ 4430323 h 4687251"/>
              <a:gd name="connsiteX529" fmla="*/ 2656270 w 8079933"/>
              <a:gd name="connsiteY529" fmla="*/ 4433571 h 4687251"/>
              <a:gd name="connsiteX530" fmla="*/ 2658766 w 8079933"/>
              <a:gd name="connsiteY530" fmla="*/ 4433463 h 4687251"/>
              <a:gd name="connsiteX531" fmla="*/ 2660502 w 8079933"/>
              <a:gd name="connsiteY531" fmla="*/ 4430540 h 4687251"/>
              <a:gd name="connsiteX532" fmla="*/ 2641838 w 8079933"/>
              <a:gd name="connsiteY532" fmla="*/ 4426317 h 4687251"/>
              <a:gd name="connsiteX533" fmla="*/ 2647589 w 8079933"/>
              <a:gd name="connsiteY533" fmla="*/ 4428590 h 4687251"/>
              <a:gd name="connsiteX534" fmla="*/ 2643900 w 8079933"/>
              <a:gd name="connsiteY534" fmla="*/ 4429781 h 4687251"/>
              <a:gd name="connsiteX535" fmla="*/ 2673958 w 8079933"/>
              <a:gd name="connsiteY535" fmla="*/ 4425668 h 4687251"/>
              <a:gd name="connsiteX536" fmla="*/ 2681012 w 8079933"/>
              <a:gd name="connsiteY536" fmla="*/ 4426967 h 4687251"/>
              <a:gd name="connsiteX537" fmla="*/ 2681121 w 8079933"/>
              <a:gd name="connsiteY537" fmla="*/ 4430431 h 4687251"/>
              <a:gd name="connsiteX538" fmla="*/ 2684484 w 8079933"/>
              <a:gd name="connsiteY538" fmla="*/ 4435088 h 4687251"/>
              <a:gd name="connsiteX539" fmla="*/ 2687414 w 8079933"/>
              <a:gd name="connsiteY539" fmla="*/ 4433572 h 4687251"/>
              <a:gd name="connsiteX540" fmla="*/ 2686004 w 8079933"/>
              <a:gd name="connsiteY540" fmla="*/ 4430973 h 4687251"/>
              <a:gd name="connsiteX541" fmla="*/ 2689476 w 8079933"/>
              <a:gd name="connsiteY541" fmla="*/ 4429674 h 4687251"/>
              <a:gd name="connsiteX542" fmla="*/ 2695228 w 8079933"/>
              <a:gd name="connsiteY542" fmla="*/ 4431298 h 4687251"/>
              <a:gd name="connsiteX543" fmla="*/ 2696964 w 8079933"/>
              <a:gd name="connsiteY543" fmla="*/ 4433788 h 4687251"/>
              <a:gd name="connsiteX544" fmla="*/ 2693600 w 8079933"/>
              <a:gd name="connsiteY544" fmla="*/ 4433572 h 4687251"/>
              <a:gd name="connsiteX545" fmla="*/ 2691212 w 8079933"/>
              <a:gd name="connsiteY545" fmla="*/ 4435521 h 4687251"/>
              <a:gd name="connsiteX546" fmla="*/ 2692298 w 8079933"/>
              <a:gd name="connsiteY546" fmla="*/ 4436603 h 4687251"/>
              <a:gd name="connsiteX547" fmla="*/ 2694685 w 8079933"/>
              <a:gd name="connsiteY547" fmla="*/ 4437577 h 4687251"/>
              <a:gd name="connsiteX548" fmla="*/ 2695336 w 8079933"/>
              <a:gd name="connsiteY548" fmla="*/ 4440392 h 4687251"/>
              <a:gd name="connsiteX549" fmla="*/ 2690887 w 8079933"/>
              <a:gd name="connsiteY549" fmla="*/ 4441584 h 4687251"/>
              <a:gd name="connsiteX550" fmla="*/ 2686655 w 8079933"/>
              <a:gd name="connsiteY550" fmla="*/ 4445265 h 4687251"/>
              <a:gd name="connsiteX551" fmla="*/ 2681012 w 8079933"/>
              <a:gd name="connsiteY551" fmla="*/ 4446239 h 4687251"/>
              <a:gd name="connsiteX552" fmla="*/ 2677214 w 8079933"/>
              <a:gd name="connsiteY552" fmla="*/ 4444940 h 4687251"/>
              <a:gd name="connsiteX553" fmla="*/ 2675043 w 8079933"/>
              <a:gd name="connsiteY553" fmla="*/ 4446456 h 4687251"/>
              <a:gd name="connsiteX554" fmla="*/ 2677540 w 8079933"/>
              <a:gd name="connsiteY554" fmla="*/ 4448513 h 4687251"/>
              <a:gd name="connsiteX555" fmla="*/ 2680903 w 8079933"/>
              <a:gd name="connsiteY555" fmla="*/ 4448621 h 4687251"/>
              <a:gd name="connsiteX556" fmla="*/ 2680686 w 8079933"/>
              <a:gd name="connsiteY556" fmla="*/ 4449812 h 4687251"/>
              <a:gd name="connsiteX557" fmla="*/ 2676345 w 8079933"/>
              <a:gd name="connsiteY557" fmla="*/ 4450786 h 4687251"/>
              <a:gd name="connsiteX558" fmla="*/ 2671679 w 8079933"/>
              <a:gd name="connsiteY558" fmla="*/ 4449920 h 4687251"/>
              <a:gd name="connsiteX559" fmla="*/ 2672005 w 8079933"/>
              <a:gd name="connsiteY559" fmla="*/ 4452952 h 4687251"/>
              <a:gd name="connsiteX560" fmla="*/ 2673958 w 8079933"/>
              <a:gd name="connsiteY560" fmla="*/ 4455550 h 4687251"/>
              <a:gd name="connsiteX561" fmla="*/ 2671788 w 8079933"/>
              <a:gd name="connsiteY561" fmla="*/ 4456417 h 4687251"/>
              <a:gd name="connsiteX562" fmla="*/ 2667664 w 8079933"/>
              <a:gd name="connsiteY562" fmla="*/ 4453818 h 4687251"/>
              <a:gd name="connsiteX563" fmla="*/ 2666145 w 8079933"/>
              <a:gd name="connsiteY563" fmla="*/ 4455443 h 4687251"/>
              <a:gd name="connsiteX564" fmla="*/ 2669184 w 8079933"/>
              <a:gd name="connsiteY564" fmla="*/ 4459664 h 4687251"/>
              <a:gd name="connsiteX565" fmla="*/ 2668966 w 8079933"/>
              <a:gd name="connsiteY565" fmla="*/ 4461397 h 4687251"/>
              <a:gd name="connsiteX566" fmla="*/ 2665711 w 8079933"/>
              <a:gd name="connsiteY566" fmla="*/ 4460856 h 4687251"/>
              <a:gd name="connsiteX567" fmla="*/ 2662346 w 8079933"/>
              <a:gd name="connsiteY567" fmla="*/ 4455117 h 4687251"/>
              <a:gd name="connsiteX568" fmla="*/ 2658983 w 8079933"/>
              <a:gd name="connsiteY568" fmla="*/ 4454143 h 4687251"/>
              <a:gd name="connsiteX569" fmla="*/ 2666796 w 8079933"/>
              <a:gd name="connsiteY569" fmla="*/ 4443208 h 4687251"/>
              <a:gd name="connsiteX570" fmla="*/ 2670485 w 8079933"/>
              <a:gd name="connsiteY570" fmla="*/ 4442450 h 4687251"/>
              <a:gd name="connsiteX571" fmla="*/ 2673307 w 8079933"/>
              <a:gd name="connsiteY571" fmla="*/ 4443966 h 4687251"/>
              <a:gd name="connsiteX572" fmla="*/ 2674284 w 8079933"/>
              <a:gd name="connsiteY572" fmla="*/ 4442125 h 4687251"/>
              <a:gd name="connsiteX573" fmla="*/ 2669834 w 8079933"/>
              <a:gd name="connsiteY573" fmla="*/ 4436278 h 4687251"/>
              <a:gd name="connsiteX574" fmla="*/ 2671245 w 8079933"/>
              <a:gd name="connsiteY574" fmla="*/ 4434113 h 4687251"/>
              <a:gd name="connsiteX575" fmla="*/ 2669943 w 8079933"/>
              <a:gd name="connsiteY575" fmla="*/ 4430973 h 4687251"/>
              <a:gd name="connsiteX576" fmla="*/ 2673307 w 8079933"/>
              <a:gd name="connsiteY576" fmla="*/ 4429457 h 4687251"/>
              <a:gd name="connsiteX577" fmla="*/ 2312163 w 8079933"/>
              <a:gd name="connsiteY577" fmla="*/ 4424910 h 4687251"/>
              <a:gd name="connsiteX578" fmla="*/ 2313465 w 8079933"/>
              <a:gd name="connsiteY578" fmla="*/ 4427508 h 4687251"/>
              <a:gd name="connsiteX579" fmla="*/ 2313465 w 8079933"/>
              <a:gd name="connsiteY579" fmla="*/ 4431622 h 4687251"/>
              <a:gd name="connsiteX580" fmla="*/ 2312272 w 8079933"/>
              <a:gd name="connsiteY580" fmla="*/ 4433355 h 4687251"/>
              <a:gd name="connsiteX581" fmla="*/ 2310970 w 8079933"/>
              <a:gd name="connsiteY581" fmla="*/ 4428375 h 4687251"/>
              <a:gd name="connsiteX582" fmla="*/ 2656052 w 8079933"/>
              <a:gd name="connsiteY582" fmla="*/ 4423610 h 4687251"/>
              <a:gd name="connsiteX583" fmla="*/ 2658982 w 8079933"/>
              <a:gd name="connsiteY583" fmla="*/ 4426966 h 4687251"/>
              <a:gd name="connsiteX584" fmla="*/ 2649867 w 8079933"/>
              <a:gd name="connsiteY584" fmla="*/ 4424476 h 4687251"/>
              <a:gd name="connsiteX585" fmla="*/ 2302831 w 8079933"/>
              <a:gd name="connsiteY585" fmla="*/ 4423503 h 4687251"/>
              <a:gd name="connsiteX586" fmla="*/ 2308365 w 8079933"/>
              <a:gd name="connsiteY586" fmla="*/ 4423503 h 4687251"/>
              <a:gd name="connsiteX587" fmla="*/ 2305218 w 8079933"/>
              <a:gd name="connsiteY587" fmla="*/ 4425776 h 4687251"/>
              <a:gd name="connsiteX588" fmla="*/ 2302831 w 8079933"/>
              <a:gd name="connsiteY588" fmla="*/ 4427508 h 4687251"/>
              <a:gd name="connsiteX589" fmla="*/ 2374452 w 8079933"/>
              <a:gd name="connsiteY589" fmla="*/ 4421878 h 4687251"/>
              <a:gd name="connsiteX590" fmla="*/ 2369461 w 8079933"/>
              <a:gd name="connsiteY590" fmla="*/ 4422095 h 4687251"/>
              <a:gd name="connsiteX591" fmla="*/ 2361864 w 8079933"/>
              <a:gd name="connsiteY591" fmla="*/ 4425776 h 4687251"/>
              <a:gd name="connsiteX592" fmla="*/ 2357741 w 8079933"/>
              <a:gd name="connsiteY592" fmla="*/ 4430432 h 4687251"/>
              <a:gd name="connsiteX593" fmla="*/ 2352750 w 8079933"/>
              <a:gd name="connsiteY593" fmla="*/ 4430323 h 4687251"/>
              <a:gd name="connsiteX594" fmla="*/ 2352750 w 8079933"/>
              <a:gd name="connsiteY594" fmla="*/ 4430324 h 4687251"/>
              <a:gd name="connsiteX595" fmla="*/ 2357741 w 8079933"/>
              <a:gd name="connsiteY595" fmla="*/ 4430432 h 4687251"/>
              <a:gd name="connsiteX596" fmla="*/ 2361864 w 8079933"/>
              <a:gd name="connsiteY596" fmla="*/ 4425776 h 4687251"/>
              <a:gd name="connsiteX597" fmla="*/ 2369461 w 8079933"/>
              <a:gd name="connsiteY597" fmla="*/ 4422095 h 4687251"/>
              <a:gd name="connsiteX598" fmla="*/ 2374452 w 8079933"/>
              <a:gd name="connsiteY598" fmla="*/ 4421879 h 4687251"/>
              <a:gd name="connsiteX599" fmla="*/ 2317914 w 8079933"/>
              <a:gd name="connsiteY599" fmla="*/ 4420688 h 4687251"/>
              <a:gd name="connsiteX600" fmla="*/ 2321170 w 8079933"/>
              <a:gd name="connsiteY600" fmla="*/ 4423287 h 4687251"/>
              <a:gd name="connsiteX601" fmla="*/ 2324208 w 8079933"/>
              <a:gd name="connsiteY601" fmla="*/ 4423503 h 4687251"/>
              <a:gd name="connsiteX602" fmla="*/ 2328223 w 8079933"/>
              <a:gd name="connsiteY602" fmla="*/ 4429999 h 4687251"/>
              <a:gd name="connsiteX603" fmla="*/ 2329851 w 8079933"/>
              <a:gd name="connsiteY603" fmla="*/ 4435087 h 4687251"/>
              <a:gd name="connsiteX604" fmla="*/ 2323991 w 8079933"/>
              <a:gd name="connsiteY604" fmla="*/ 4429890 h 4687251"/>
              <a:gd name="connsiteX605" fmla="*/ 2319650 w 8079933"/>
              <a:gd name="connsiteY605" fmla="*/ 4428266 h 4687251"/>
              <a:gd name="connsiteX606" fmla="*/ 2315744 w 8079933"/>
              <a:gd name="connsiteY606" fmla="*/ 4422528 h 4687251"/>
              <a:gd name="connsiteX607" fmla="*/ 2315961 w 8079933"/>
              <a:gd name="connsiteY607" fmla="*/ 4420796 h 4687251"/>
              <a:gd name="connsiteX608" fmla="*/ 2304676 w 8079933"/>
              <a:gd name="connsiteY608" fmla="*/ 4408560 h 4687251"/>
              <a:gd name="connsiteX609" fmla="*/ 2306846 w 8079933"/>
              <a:gd name="connsiteY609" fmla="*/ 4409643 h 4687251"/>
              <a:gd name="connsiteX610" fmla="*/ 2312272 w 8079933"/>
              <a:gd name="connsiteY610" fmla="*/ 4410400 h 4687251"/>
              <a:gd name="connsiteX611" fmla="*/ 2310210 w 8079933"/>
              <a:gd name="connsiteY611" fmla="*/ 4414407 h 4687251"/>
              <a:gd name="connsiteX612" fmla="*/ 2310427 w 8079933"/>
              <a:gd name="connsiteY612" fmla="*/ 4418521 h 4687251"/>
              <a:gd name="connsiteX613" fmla="*/ 2307714 w 8079933"/>
              <a:gd name="connsiteY613" fmla="*/ 4420686 h 4687251"/>
              <a:gd name="connsiteX614" fmla="*/ 2305652 w 8079933"/>
              <a:gd name="connsiteY614" fmla="*/ 4420578 h 4687251"/>
              <a:gd name="connsiteX615" fmla="*/ 2304351 w 8079933"/>
              <a:gd name="connsiteY615" fmla="*/ 4416897 h 4687251"/>
              <a:gd name="connsiteX616" fmla="*/ 2301529 w 8079933"/>
              <a:gd name="connsiteY616" fmla="*/ 4414731 h 4687251"/>
              <a:gd name="connsiteX617" fmla="*/ 2303374 w 8079933"/>
              <a:gd name="connsiteY617" fmla="*/ 4412349 h 4687251"/>
              <a:gd name="connsiteX618" fmla="*/ 2303482 w 8079933"/>
              <a:gd name="connsiteY618" fmla="*/ 4409534 h 4687251"/>
              <a:gd name="connsiteX619" fmla="*/ 2295670 w 8079933"/>
              <a:gd name="connsiteY619" fmla="*/ 4389830 h 4687251"/>
              <a:gd name="connsiteX620" fmla="*/ 2298491 w 8079933"/>
              <a:gd name="connsiteY620" fmla="*/ 4394485 h 4687251"/>
              <a:gd name="connsiteX621" fmla="*/ 2297406 w 8079933"/>
              <a:gd name="connsiteY621" fmla="*/ 4398491 h 4687251"/>
              <a:gd name="connsiteX622" fmla="*/ 2294367 w 8079933"/>
              <a:gd name="connsiteY622" fmla="*/ 4400657 h 4687251"/>
              <a:gd name="connsiteX623" fmla="*/ 2291871 w 8079933"/>
              <a:gd name="connsiteY623" fmla="*/ 4398058 h 4687251"/>
              <a:gd name="connsiteX624" fmla="*/ 2292739 w 8079933"/>
              <a:gd name="connsiteY624" fmla="*/ 4395351 h 4687251"/>
              <a:gd name="connsiteX625" fmla="*/ 2290461 w 8079933"/>
              <a:gd name="connsiteY625" fmla="*/ 4392645 h 4687251"/>
              <a:gd name="connsiteX626" fmla="*/ 2289592 w 8079933"/>
              <a:gd name="connsiteY626" fmla="*/ 4365145 h 4687251"/>
              <a:gd name="connsiteX627" fmla="*/ 2290460 w 8079933"/>
              <a:gd name="connsiteY627" fmla="*/ 4366552 h 4687251"/>
              <a:gd name="connsiteX628" fmla="*/ 2295994 w 8079933"/>
              <a:gd name="connsiteY628" fmla="*/ 4369043 h 4687251"/>
              <a:gd name="connsiteX629" fmla="*/ 2297839 w 8079933"/>
              <a:gd name="connsiteY629" fmla="*/ 4372940 h 4687251"/>
              <a:gd name="connsiteX630" fmla="*/ 2295126 w 8079933"/>
              <a:gd name="connsiteY630" fmla="*/ 4373915 h 4687251"/>
              <a:gd name="connsiteX631" fmla="*/ 2291003 w 8079933"/>
              <a:gd name="connsiteY631" fmla="*/ 4380411 h 4687251"/>
              <a:gd name="connsiteX632" fmla="*/ 2289158 w 8079933"/>
              <a:gd name="connsiteY632" fmla="*/ 4379328 h 4687251"/>
              <a:gd name="connsiteX633" fmla="*/ 2289483 w 8079933"/>
              <a:gd name="connsiteY633" fmla="*/ 4375647 h 4687251"/>
              <a:gd name="connsiteX634" fmla="*/ 2286988 w 8079933"/>
              <a:gd name="connsiteY634" fmla="*/ 4367635 h 4687251"/>
              <a:gd name="connsiteX635" fmla="*/ 2300445 w 8079933"/>
              <a:gd name="connsiteY635" fmla="*/ 4362330 h 4687251"/>
              <a:gd name="connsiteX636" fmla="*/ 2307172 w 8079933"/>
              <a:gd name="connsiteY636" fmla="*/ 4362330 h 4687251"/>
              <a:gd name="connsiteX637" fmla="*/ 2310211 w 8079933"/>
              <a:gd name="connsiteY637" fmla="*/ 4364603 h 4687251"/>
              <a:gd name="connsiteX638" fmla="*/ 2312706 w 8079933"/>
              <a:gd name="connsiteY638" fmla="*/ 4375106 h 4687251"/>
              <a:gd name="connsiteX639" fmla="*/ 2315419 w 8079933"/>
              <a:gd name="connsiteY639" fmla="*/ 4380195 h 4687251"/>
              <a:gd name="connsiteX640" fmla="*/ 2316070 w 8079933"/>
              <a:gd name="connsiteY640" fmla="*/ 4388964 h 4687251"/>
              <a:gd name="connsiteX641" fmla="*/ 2315094 w 8079933"/>
              <a:gd name="connsiteY641" fmla="*/ 4390697 h 4687251"/>
              <a:gd name="connsiteX642" fmla="*/ 2317698 w 8079933"/>
              <a:gd name="connsiteY642" fmla="*/ 4397301 h 4687251"/>
              <a:gd name="connsiteX643" fmla="*/ 2317481 w 8079933"/>
              <a:gd name="connsiteY643" fmla="*/ 4404447 h 4687251"/>
              <a:gd name="connsiteX644" fmla="*/ 2314225 w 8079933"/>
              <a:gd name="connsiteY644" fmla="*/ 4407046 h 4687251"/>
              <a:gd name="connsiteX645" fmla="*/ 2311621 w 8079933"/>
              <a:gd name="connsiteY645" fmla="*/ 4405530 h 4687251"/>
              <a:gd name="connsiteX646" fmla="*/ 2310753 w 8079933"/>
              <a:gd name="connsiteY646" fmla="*/ 4400333 h 4687251"/>
              <a:gd name="connsiteX647" fmla="*/ 2309342 w 8079933"/>
              <a:gd name="connsiteY647" fmla="*/ 4396219 h 4687251"/>
              <a:gd name="connsiteX648" fmla="*/ 2308149 w 8079933"/>
              <a:gd name="connsiteY648" fmla="*/ 4400983 h 4687251"/>
              <a:gd name="connsiteX649" fmla="*/ 2305979 w 8079933"/>
              <a:gd name="connsiteY649" fmla="*/ 4402607 h 4687251"/>
              <a:gd name="connsiteX650" fmla="*/ 2301855 w 8079933"/>
              <a:gd name="connsiteY650" fmla="*/ 4398817 h 4687251"/>
              <a:gd name="connsiteX651" fmla="*/ 2300228 w 8079933"/>
              <a:gd name="connsiteY651" fmla="*/ 4393079 h 4687251"/>
              <a:gd name="connsiteX652" fmla="*/ 2295453 w 8079933"/>
              <a:gd name="connsiteY652" fmla="*/ 4383660 h 4687251"/>
              <a:gd name="connsiteX653" fmla="*/ 2300228 w 8079933"/>
              <a:gd name="connsiteY653" fmla="*/ 4382793 h 4687251"/>
              <a:gd name="connsiteX654" fmla="*/ 2303699 w 8079933"/>
              <a:gd name="connsiteY654" fmla="*/ 4379870 h 4687251"/>
              <a:gd name="connsiteX655" fmla="*/ 2304025 w 8079933"/>
              <a:gd name="connsiteY655" fmla="*/ 4376622 h 4687251"/>
              <a:gd name="connsiteX656" fmla="*/ 2302181 w 8079933"/>
              <a:gd name="connsiteY656" fmla="*/ 4379328 h 4687251"/>
              <a:gd name="connsiteX657" fmla="*/ 2300119 w 8079933"/>
              <a:gd name="connsiteY657" fmla="*/ 4379545 h 4687251"/>
              <a:gd name="connsiteX658" fmla="*/ 2299359 w 8079933"/>
              <a:gd name="connsiteY658" fmla="*/ 4376946 h 4687251"/>
              <a:gd name="connsiteX659" fmla="*/ 2300770 w 8079933"/>
              <a:gd name="connsiteY659" fmla="*/ 4372832 h 4687251"/>
              <a:gd name="connsiteX660" fmla="*/ 2297948 w 8079933"/>
              <a:gd name="connsiteY660" fmla="*/ 4369908 h 4687251"/>
              <a:gd name="connsiteX661" fmla="*/ 2297840 w 8079933"/>
              <a:gd name="connsiteY661" fmla="*/ 4364603 h 4687251"/>
              <a:gd name="connsiteX662" fmla="*/ 2282105 w 8079933"/>
              <a:gd name="connsiteY662" fmla="*/ 4352152 h 4687251"/>
              <a:gd name="connsiteX663" fmla="*/ 2283950 w 8079933"/>
              <a:gd name="connsiteY663" fmla="*/ 4352693 h 4687251"/>
              <a:gd name="connsiteX664" fmla="*/ 2287313 w 8079933"/>
              <a:gd name="connsiteY664" fmla="*/ 4354101 h 4687251"/>
              <a:gd name="connsiteX665" fmla="*/ 2288832 w 8079933"/>
              <a:gd name="connsiteY665" fmla="*/ 4358756 h 4687251"/>
              <a:gd name="connsiteX666" fmla="*/ 2287965 w 8079933"/>
              <a:gd name="connsiteY666" fmla="*/ 4362221 h 4687251"/>
              <a:gd name="connsiteX667" fmla="*/ 2285252 w 8079933"/>
              <a:gd name="connsiteY667" fmla="*/ 4362654 h 4687251"/>
              <a:gd name="connsiteX668" fmla="*/ 2284926 w 8079933"/>
              <a:gd name="connsiteY668" fmla="*/ 4360597 h 4687251"/>
              <a:gd name="connsiteX669" fmla="*/ 2282322 w 8079933"/>
              <a:gd name="connsiteY669" fmla="*/ 4358648 h 4687251"/>
              <a:gd name="connsiteX670" fmla="*/ 2282864 w 8079933"/>
              <a:gd name="connsiteY670" fmla="*/ 4339594 h 4687251"/>
              <a:gd name="connsiteX671" fmla="*/ 2286879 w 8079933"/>
              <a:gd name="connsiteY671" fmla="*/ 4340785 h 4687251"/>
              <a:gd name="connsiteX672" fmla="*/ 2293065 w 8079933"/>
              <a:gd name="connsiteY672" fmla="*/ 4350421 h 4687251"/>
              <a:gd name="connsiteX673" fmla="*/ 2297188 w 8079933"/>
              <a:gd name="connsiteY673" fmla="*/ 4356592 h 4687251"/>
              <a:gd name="connsiteX674" fmla="*/ 2296971 w 8079933"/>
              <a:gd name="connsiteY674" fmla="*/ 4361681 h 4687251"/>
              <a:gd name="connsiteX675" fmla="*/ 2295452 w 8079933"/>
              <a:gd name="connsiteY675" fmla="*/ 4364280 h 4687251"/>
              <a:gd name="connsiteX676" fmla="*/ 2291653 w 8079933"/>
              <a:gd name="connsiteY676" fmla="*/ 4362006 h 4687251"/>
              <a:gd name="connsiteX677" fmla="*/ 2289700 w 8079933"/>
              <a:gd name="connsiteY677" fmla="*/ 4354969 h 4687251"/>
              <a:gd name="connsiteX678" fmla="*/ 2290243 w 8079933"/>
              <a:gd name="connsiteY678" fmla="*/ 4353128 h 4687251"/>
              <a:gd name="connsiteX679" fmla="*/ 2287204 w 8079933"/>
              <a:gd name="connsiteY679" fmla="*/ 4350637 h 4687251"/>
              <a:gd name="connsiteX680" fmla="*/ 2282321 w 8079933"/>
              <a:gd name="connsiteY680" fmla="*/ 4349771 h 4687251"/>
              <a:gd name="connsiteX681" fmla="*/ 2281236 w 8079933"/>
              <a:gd name="connsiteY681" fmla="*/ 4344141 h 4687251"/>
              <a:gd name="connsiteX682" fmla="*/ 2281453 w 8079933"/>
              <a:gd name="connsiteY682" fmla="*/ 4341326 h 4687251"/>
              <a:gd name="connsiteX683" fmla="*/ 2356335 w 8079933"/>
              <a:gd name="connsiteY683" fmla="*/ 4337271 h 4687251"/>
              <a:gd name="connsiteX684" fmla="*/ 2357198 w 8079933"/>
              <a:gd name="connsiteY684" fmla="*/ 4339918 h 4687251"/>
              <a:gd name="connsiteX685" fmla="*/ 2357863 w 8079933"/>
              <a:gd name="connsiteY685" fmla="*/ 4343415 h 4687251"/>
              <a:gd name="connsiteX686" fmla="*/ 2357198 w 8079933"/>
              <a:gd name="connsiteY686" fmla="*/ 4339917 h 4687251"/>
              <a:gd name="connsiteX687" fmla="*/ 2298165 w 8079933"/>
              <a:gd name="connsiteY687" fmla="*/ 4332664 h 4687251"/>
              <a:gd name="connsiteX688" fmla="*/ 2298708 w 8079933"/>
              <a:gd name="connsiteY688" fmla="*/ 4340134 h 4687251"/>
              <a:gd name="connsiteX689" fmla="*/ 2303157 w 8079933"/>
              <a:gd name="connsiteY689" fmla="*/ 4342083 h 4687251"/>
              <a:gd name="connsiteX690" fmla="*/ 2303483 w 8079933"/>
              <a:gd name="connsiteY690" fmla="*/ 4347280 h 4687251"/>
              <a:gd name="connsiteX691" fmla="*/ 2307281 w 8079933"/>
              <a:gd name="connsiteY691" fmla="*/ 4350636 h 4687251"/>
              <a:gd name="connsiteX692" fmla="*/ 2309668 w 8079933"/>
              <a:gd name="connsiteY692" fmla="*/ 4358540 h 4687251"/>
              <a:gd name="connsiteX693" fmla="*/ 2304676 w 8079933"/>
              <a:gd name="connsiteY693" fmla="*/ 4358107 h 4687251"/>
              <a:gd name="connsiteX694" fmla="*/ 2300118 w 8079933"/>
              <a:gd name="connsiteY694" fmla="*/ 4358540 h 4687251"/>
              <a:gd name="connsiteX695" fmla="*/ 2298925 w 8079933"/>
              <a:gd name="connsiteY695" fmla="*/ 4353235 h 4687251"/>
              <a:gd name="connsiteX696" fmla="*/ 2301855 w 8079933"/>
              <a:gd name="connsiteY696" fmla="*/ 4350636 h 4687251"/>
              <a:gd name="connsiteX697" fmla="*/ 2299576 w 8079933"/>
              <a:gd name="connsiteY697" fmla="*/ 4348796 h 4687251"/>
              <a:gd name="connsiteX698" fmla="*/ 2298491 w 8079933"/>
              <a:gd name="connsiteY698" fmla="*/ 4350528 h 4687251"/>
              <a:gd name="connsiteX699" fmla="*/ 2292848 w 8079933"/>
              <a:gd name="connsiteY699" fmla="*/ 4341866 h 4687251"/>
              <a:gd name="connsiteX700" fmla="*/ 2288399 w 8079933"/>
              <a:gd name="connsiteY700" fmla="*/ 4338077 h 4687251"/>
              <a:gd name="connsiteX701" fmla="*/ 2290244 w 8079933"/>
              <a:gd name="connsiteY701" fmla="*/ 4335370 h 4687251"/>
              <a:gd name="connsiteX702" fmla="*/ 2294367 w 8079933"/>
              <a:gd name="connsiteY702" fmla="*/ 4334829 h 4687251"/>
              <a:gd name="connsiteX703" fmla="*/ 7289172 w 8079933"/>
              <a:gd name="connsiteY703" fmla="*/ 4317831 h 4687251"/>
              <a:gd name="connsiteX704" fmla="*/ 7290257 w 8079933"/>
              <a:gd name="connsiteY704" fmla="*/ 4320430 h 4687251"/>
              <a:gd name="connsiteX705" fmla="*/ 7288086 w 8079933"/>
              <a:gd name="connsiteY705" fmla="*/ 4323461 h 4687251"/>
              <a:gd name="connsiteX706" fmla="*/ 7286459 w 8079933"/>
              <a:gd name="connsiteY706" fmla="*/ 4330282 h 4687251"/>
              <a:gd name="connsiteX707" fmla="*/ 7283420 w 8079933"/>
              <a:gd name="connsiteY707" fmla="*/ 4328550 h 4687251"/>
              <a:gd name="connsiteX708" fmla="*/ 7286784 w 8079933"/>
              <a:gd name="connsiteY708" fmla="*/ 4323136 h 4687251"/>
              <a:gd name="connsiteX709" fmla="*/ 7286784 w 8079933"/>
              <a:gd name="connsiteY709" fmla="*/ 4318914 h 4687251"/>
              <a:gd name="connsiteX710" fmla="*/ 7930395 w 8079933"/>
              <a:gd name="connsiteY710" fmla="*/ 4299641 h 4687251"/>
              <a:gd name="connsiteX711" fmla="*/ 7928551 w 8079933"/>
              <a:gd name="connsiteY711" fmla="*/ 4302347 h 4687251"/>
              <a:gd name="connsiteX712" fmla="*/ 7926272 w 8079933"/>
              <a:gd name="connsiteY712" fmla="*/ 4302455 h 4687251"/>
              <a:gd name="connsiteX713" fmla="*/ 7928334 w 8079933"/>
              <a:gd name="connsiteY713" fmla="*/ 4300182 h 4687251"/>
              <a:gd name="connsiteX714" fmla="*/ 7927359 w 8079933"/>
              <a:gd name="connsiteY714" fmla="*/ 4298991 h 4687251"/>
              <a:gd name="connsiteX715" fmla="*/ 7927142 w 8079933"/>
              <a:gd name="connsiteY715" fmla="*/ 4300182 h 4687251"/>
              <a:gd name="connsiteX716" fmla="*/ 7925079 w 8079933"/>
              <a:gd name="connsiteY716" fmla="*/ 4301264 h 4687251"/>
              <a:gd name="connsiteX717" fmla="*/ 7922583 w 8079933"/>
              <a:gd name="connsiteY717" fmla="*/ 4301481 h 4687251"/>
              <a:gd name="connsiteX718" fmla="*/ 7314021 w 8079933"/>
              <a:gd name="connsiteY718" fmla="*/ 4298125 h 4687251"/>
              <a:gd name="connsiteX719" fmla="*/ 7316625 w 8079933"/>
              <a:gd name="connsiteY719" fmla="*/ 4300723 h 4687251"/>
              <a:gd name="connsiteX720" fmla="*/ 7314021 w 8079933"/>
              <a:gd name="connsiteY720" fmla="*/ 4302130 h 4687251"/>
              <a:gd name="connsiteX721" fmla="*/ 7930722 w 8079933"/>
              <a:gd name="connsiteY721" fmla="*/ 4289031 h 4687251"/>
              <a:gd name="connsiteX722" fmla="*/ 7934520 w 8079933"/>
              <a:gd name="connsiteY722" fmla="*/ 4290005 h 4687251"/>
              <a:gd name="connsiteX723" fmla="*/ 7933651 w 8079933"/>
              <a:gd name="connsiteY723" fmla="*/ 4292278 h 4687251"/>
              <a:gd name="connsiteX724" fmla="*/ 7930613 w 8079933"/>
              <a:gd name="connsiteY724" fmla="*/ 4294011 h 4687251"/>
              <a:gd name="connsiteX725" fmla="*/ 7928442 w 8079933"/>
              <a:gd name="connsiteY725" fmla="*/ 4297259 h 4687251"/>
              <a:gd name="connsiteX726" fmla="*/ 7927249 w 8079933"/>
              <a:gd name="connsiteY726" fmla="*/ 4297476 h 4687251"/>
              <a:gd name="connsiteX727" fmla="*/ 7927792 w 8079933"/>
              <a:gd name="connsiteY727" fmla="*/ 4296176 h 4687251"/>
              <a:gd name="connsiteX728" fmla="*/ 7928009 w 8079933"/>
              <a:gd name="connsiteY728" fmla="*/ 4292712 h 4687251"/>
              <a:gd name="connsiteX729" fmla="*/ 7905763 w 8079933"/>
              <a:gd name="connsiteY729" fmla="*/ 4281668 h 4687251"/>
              <a:gd name="connsiteX730" fmla="*/ 7909669 w 8079933"/>
              <a:gd name="connsiteY730" fmla="*/ 4282210 h 4687251"/>
              <a:gd name="connsiteX731" fmla="*/ 7906848 w 8079933"/>
              <a:gd name="connsiteY731" fmla="*/ 4286215 h 4687251"/>
              <a:gd name="connsiteX732" fmla="*/ 7906306 w 8079933"/>
              <a:gd name="connsiteY732" fmla="*/ 4289247 h 4687251"/>
              <a:gd name="connsiteX733" fmla="*/ 7908259 w 8079933"/>
              <a:gd name="connsiteY733" fmla="*/ 4291629 h 4687251"/>
              <a:gd name="connsiteX734" fmla="*/ 7909995 w 8079933"/>
              <a:gd name="connsiteY734" fmla="*/ 4292604 h 4687251"/>
              <a:gd name="connsiteX735" fmla="*/ 7912491 w 8079933"/>
              <a:gd name="connsiteY735" fmla="*/ 4290762 h 4687251"/>
              <a:gd name="connsiteX736" fmla="*/ 7913902 w 8079933"/>
              <a:gd name="connsiteY736" fmla="*/ 4292170 h 4687251"/>
              <a:gd name="connsiteX737" fmla="*/ 7913685 w 8079933"/>
              <a:gd name="connsiteY737" fmla="*/ 4294119 h 4687251"/>
              <a:gd name="connsiteX738" fmla="*/ 7914987 w 8079933"/>
              <a:gd name="connsiteY738" fmla="*/ 4294661 h 4687251"/>
              <a:gd name="connsiteX739" fmla="*/ 7914118 w 8079933"/>
              <a:gd name="connsiteY739" fmla="*/ 4297042 h 4687251"/>
              <a:gd name="connsiteX740" fmla="*/ 7911840 w 8079933"/>
              <a:gd name="connsiteY740" fmla="*/ 4299749 h 4687251"/>
              <a:gd name="connsiteX741" fmla="*/ 7909886 w 8079933"/>
              <a:gd name="connsiteY741" fmla="*/ 4301265 h 4687251"/>
              <a:gd name="connsiteX742" fmla="*/ 7912057 w 8079933"/>
              <a:gd name="connsiteY742" fmla="*/ 4308086 h 4687251"/>
              <a:gd name="connsiteX743" fmla="*/ 7915204 w 8079933"/>
              <a:gd name="connsiteY743" fmla="*/ 4309602 h 4687251"/>
              <a:gd name="connsiteX744" fmla="*/ 7918351 w 8079933"/>
              <a:gd name="connsiteY744" fmla="*/ 4305163 h 4687251"/>
              <a:gd name="connsiteX745" fmla="*/ 7921389 w 8079933"/>
              <a:gd name="connsiteY745" fmla="*/ 4303214 h 4687251"/>
              <a:gd name="connsiteX746" fmla="*/ 7924319 w 8079933"/>
              <a:gd name="connsiteY746" fmla="*/ 4304080 h 4687251"/>
              <a:gd name="connsiteX747" fmla="*/ 7926381 w 8079933"/>
              <a:gd name="connsiteY747" fmla="*/ 4303972 h 4687251"/>
              <a:gd name="connsiteX748" fmla="*/ 7925839 w 8079933"/>
              <a:gd name="connsiteY748" fmla="*/ 4306786 h 4687251"/>
              <a:gd name="connsiteX749" fmla="*/ 7928225 w 8079933"/>
              <a:gd name="connsiteY749" fmla="*/ 4309169 h 4687251"/>
              <a:gd name="connsiteX750" fmla="*/ 7932567 w 8079933"/>
              <a:gd name="connsiteY750" fmla="*/ 4306137 h 4687251"/>
              <a:gd name="connsiteX751" fmla="*/ 7930614 w 8079933"/>
              <a:gd name="connsiteY751" fmla="*/ 4305596 h 4687251"/>
              <a:gd name="connsiteX752" fmla="*/ 7929419 w 8079933"/>
              <a:gd name="connsiteY752" fmla="*/ 4304404 h 4687251"/>
              <a:gd name="connsiteX753" fmla="*/ 7932350 w 8079933"/>
              <a:gd name="connsiteY753" fmla="*/ 4298882 h 4687251"/>
              <a:gd name="connsiteX754" fmla="*/ 7935822 w 8079933"/>
              <a:gd name="connsiteY754" fmla="*/ 4299641 h 4687251"/>
              <a:gd name="connsiteX755" fmla="*/ 7936039 w 8079933"/>
              <a:gd name="connsiteY755" fmla="*/ 4302347 h 4687251"/>
              <a:gd name="connsiteX756" fmla="*/ 7937341 w 8079933"/>
              <a:gd name="connsiteY756" fmla="*/ 4302347 h 4687251"/>
              <a:gd name="connsiteX757" fmla="*/ 7934520 w 8079933"/>
              <a:gd name="connsiteY757" fmla="*/ 4307436 h 4687251"/>
              <a:gd name="connsiteX758" fmla="*/ 7929528 w 8079933"/>
              <a:gd name="connsiteY758" fmla="*/ 4310359 h 4687251"/>
              <a:gd name="connsiteX759" fmla="*/ 7932892 w 8079933"/>
              <a:gd name="connsiteY759" fmla="*/ 4309818 h 4687251"/>
              <a:gd name="connsiteX760" fmla="*/ 7936473 w 8079933"/>
              <a:gd name="connsiteY760" fmla="*/ 4308844 h 4687251"/>
              <a:gd name="connsiteX761" fmla="*/ 7932024 w 8079933"/>
              <a:gd name="connsiteY761" fmla="*/ 4315016 h 4687251"/>
              <a:gd name="connsiteX762" fmla="*/ 7930505 w 8079933"/>
              <a:gd name="connsiteY762" fmla="*/ 4314582 h 4687251"/>
              <a:gd name="connsiteX763" fmla="*/ 7929311 w 8079933"/>
              <a:gd name="connsiteY763" fmla="*/ 4318480 h 4687251"/>
              <a:gd name="connsiteX764" fmla="*/ 7928877 w 8079933"/>
              <a:gd name="connsiteY764" fmla="*/ 4322702 h 4687251"/>
              <a:gd name="connsiteX765" fmla="*/ 7930938 w 8079933"/>
              <a:gd name="connsiteY765" fmla="*/ 4327358 h 4687251"/>
              <a:gd name="connsiteX766" fmla="*/ 7931373 w 8079933"/>
              <a:gd name="connsiteY766" fmla="*/ 4332014 h 4687251"/>
              <a:gd name="connsiteX767" fmla="*/ 7933868 w 8079933"/>
              <a:gd name="connsiteY767" fmla="*/ 4332771 h 4687251"/>
              <a:gd name="connsiteX768" fmla="*/ 7929528 w 8079933"/>
              <a:gd name="connsiteY768" fmla="*/ 4335370 h 4687251"/>
              <a:gd name="connsiteX769" fmla="*/ 7917157 w 8079933"/>
              <a:gd name="connsiteY769" fmla="*/ 4345981 h 4687251"/>
              <a:gd name="connsiteX770" fmla="*/ 7916398 w 8079933"/>
              <a:gd name="connsiteY770" fmla="*/ 4348796 h 4687251"/>
              <a:gd name="connsiteX771" fmla="*/ 7907933 w 8079933"/>
              <a:gd name="connsiteY771" fmla="*/ 4357350 h 4687251"/>
              <a:gd name="connsiteX772" fmla="*/ 7908476 w 8079933"/>
              <a:gd name="connsiteY772" fmla="*/ 4359298 h 4687251"/>
              <a:gd name="connsiteX773" fmla="*/ 7904677 w 8079933"/>
              <a:gd name="connsiteY773" fmla="*/ 4358973 h 4687251"/>
              <a:gd name="connsiteX774" fmla="*/ 7899686 w 8079933"/>
              <a:gd name="connsiteY774" fmla="*/ 4364062 h 4687251"/>
              <a:gd name="connsiteX775" fmla="*/ 7899034 w 8079933"/>
              <a:gd name="connsiteY775" fmla="*/ 4368501 h 4687251"/>
              <a:gd name="connsiteX776" fmla="*/ 7893717 w 8079933"/>
              <a:gd name="connsiteY776" fmla="*/ 4374889 h 4687251"/>
              <a:gd name="connsiteX777" fmla="*/ 7892632 w 8079933"/>
              <a:gd name="connsiteY777" fmla="*/ 4377704 h 4687251"/>
              <a:gd name="connsiteX778" fmla="*/ 7885579 w 8079933"/>
              <a:gd name="connsiteY778" fmla="*/ 4382143 h 4687251"/>
              <a:gd name="connsiteX779" fmla="*/ 7879068 w 8079933"/>
              <a:gd name="connsiteY779" fmla="*/ 4384200 h 4687251"/>
              <a:gd name="connsiteX780" fmla="*/ 7875595 w 8079933"/>
              <a:gd name="connsiteY780" fmla="*/ 4385608 h 4687251"/>
              <a:gd name="connsiteX781" fmla="*/ 7873859 w 8079933"/>
              <a:gd name="connsiteY781" fmla="*/ 4393078 h 4687251"/>
              <a:gd name="connsiteX782" fmla="*/ 7874402 w 8079933"/>
              <a:gd name="connsiteY782" fmla="*/ 4398600 h 4687251"/>
              <a:gd name="connsiteX783" fmla="*/ 7872991 w 8079933"/>
              <a:gd name="connsiteY783" fmla="*/ 4400658 h 4687251"/>
              <a:gd name="connsiteX784" fmla="*/ 7876246 w 8079933"/>
              <a:gd name="connsiteY784" fmla="*/ 4401415 h 4687251"/>
              <a:gd name="connsiteX785" fmla="*/ 7878308 w 8079933"/>
              <a:gd name="connsiteY785" fmla="*/ 4404664 h 4687251"/>
              <a:gd name="connsiteX786" fmla="*/ 7877657 w 8079933"/>
              <a:gd name="connsiteY786" fmla="*/ 4411051 h 4687251"/>
              <a:gd name="connsiteX787" fmla="*/ 7875378 w 8079933"/>
              <a:gd name="connsiteY787" fmla="*/ 4412675 h 4687251"/>
              <a:gd name="connsiteX788" fmla="*/ 7873859 w 8079933"/>
              <a:gd name="connsiteY788" fmla="*/ 4411484 h 4687251"/>
              <a:gd name="connsiteX789" fmla="*/ 7874402 w 8079933"/>
              <a:gd name="connsiteY789" fmla="*/ 4406721 h 4687251"/>
              <a:gd name="connsiteX790" fmla="*/ 7872991 w 8079933"/>
              <a:gd name="connsiteY790" fmla="*/ 4405529 h 4687251"/>
              <a:gd name="connsiteX791" fmla="*/ 7871797 w 8079933"/>
              <a:gd name="connsiteY791" fmla="*/ 4407045 h 4687251"/>
              <a:gd name="connsiteX792" fmla="*/ 7872014 w 8079933"/>
              <a:gd name="connsiteY792" fmla="*/ 4410510 h 4687251"/>
              <a:gd name="connsiteX793" fmla="*/ 7870603 w 8079933"/>
              <a:gd name="connsiteY793" fmla="*/ 4412675 h 4687251"/>
              <a:gd name="connsiteX794" fmla="*/ 7867023 w 8079933"/>
              <a:gd name="connsiteY794" fmla="*/ 4411376 h 4687251"/>
              <a:gd name="connsiteX795" fmla="*/ 7861922 w 8079933"/>
              <a:gd name="connsiteY795" fmla="*/ 4411160 h 4687251"/>
              <a:gd name="connsiteX796" fmla="*/ 7866263 w 8079933"/>
              <a:gd name="connsiteY796" fmla="*/ 4409427 h 4687251"/>
              <a:gd name="connsiteX797" fmla="*/ 7866263 w 8079933"/>
              <a:gd name="connsiteY797" fmla="*/ 4407587 h 4687251"/>
              <a:gd name="connsiteX798" fmla="*/ 7863008 w 8079933"/>
              <a:gd name="connsiteY798" fmla="*/ 4406396 h 4687251"/>
              <a:gd name="connsiteX799" fmla="*/ 7859860 w 8079933"/>
              <a:gd name="connsiteY799" fmla="*/ 4408561 h 4687251"/>
              <a:gd name="connsiteX800" fmla="*/ 7859751 w 8079933"/>
              <a:gd name="connsiteY800" fmla="*/ 4410618 h 4687251"/>
              <a:gd name="connsiteX801" fmla="*/ 7856822 w 8079933"/>
              <a:gd name="connsiteY801" fmla="*/ 4411701 h 4687251"/>
              <a:gd name="connsiteX802" fmla="*/ 7855085 w 8079933"/>
              <a:gd name="connsiteY802" fmla="*/ 4411160 h 4687251"/>
              <a:gd name="connsiteX803" fmla="*/ 7853349 w 8079933"/>
              <a:gd name="connsiteY803" fmla="*/ 4406396 h 4687251"/>
              <a:gd name="connsiteX804" fmla="*/ 7849334 w 8079933"/>
              <a:gd name="connsiteY804" fmla="*/ 4404664 h 4687251"/>
              <a:gd name="connsiteX805" fmla="*/ 7852481 w 8079933"/>
              <a:gd name="connsiteY805" fmla="*/ 4407911 h 4687251"/>
              <a:gd name="connsiteX806" fmla="*/ 7852807 w 8079933"/>
              <a:gd name="connsiteY806" fmla="*/ 4411484 h 4687251"/>
              <a:gd name="connsiteX807" fmla="*/ 7849877 w 8079933"/>
              <a:gd name="connsiteY807" fmla="*/ 4415490 h 4687251"/>
              <a:gd name="connsiteX808" fmla="*/ 7847381 w 8079933"/>
              <a:gd name="connsiteY808" fmla="*/ 4416140 h 4687251"/>
              <a:gd name="connsiteX809" fmla="*/ 7843366 w 8079933"/>
              <a:gd name="connsiteY809" fmla="*/ 4416356 h 4687251"/>
              <a:gd name="connsiteX810" fmla="*/ 7841955 w 8079933"/>
              <a:gd name="connsiteY810" fmla="*/ 4419929 h 4687251"/>
              <a:gd name="connsiteX811" fmla="*/ 7839242 w 8079933"/>
              <a:gd name="connsiteY811" fmla="*/ 4419929 h 4687251"/>
              <a:gd name="connsiteX812" fmla="*/ 7835986 w 8079933"/>
              <a:gd name="connsiteY812" fmla="*/ 4417331 h 4687251"/>
              <a:gd name="connsiteX813" fmla="*/ 7834902 w 8079933"/>
              <a:gd name="connsiteY813" fmla="*/ 4421662 h 4687251"/>
              <a:gd name="connsiteX814" fmla="*/ 7831320 w 8079933"/>
              <a:gd name="connsiteY814" fmla="*/ 4423394 h 4687251"/>
              <a:gd name="connsiteX815" fmla="*/ 7827197 w 8079933"/>
              <a:gd name="connsiteY815" fmla="*/ 4428158 h 4687251"/>
              <a:gd name="connsiteX816" fmla="*/ 7826980 w 8079933"/>
              <a:gd name="connsiteY816" fmla="*/ 4432272 h 4687251"/>
              <a:gd name="connsiteX817" fmla="*/ 7824376 w 8079933"/>
              <a:gd name="connsiteY817" fmla="*/ 4436062 h 4687251"/>
              <a:gd name="connsiteX818" fmla="*/ 7819818 w 8079933"/>
              <a:gd name="connsiteY818" fmla="*/ 4443857 h 4687251"/>
              <a:gd name="connsiteX819" fmla="*/ 7818842 w 8079933"/>
              <a:gd name="connsiteY819" fmla="*/ 4448838 h 4687251"/>
              <a:gd name="connsiteX820" fmla="*/ 7816453 w 8079933"/>
              <a:gd name="connsiteY820" fmla="*/ 4452952 h 4687251"/>
              <a:gd name="connsiteX821" fmla="*/ 7806144 w 8079933"/>
              <a:gd name="connsiteY821" fmla="*/ 4460314 h 4687251"/>
              <a:gd name="connsiteX822" fmla="*/ 7802672 w 8079933"/>
              <a:gd name="connsiteY822" fmla="*/ 4464320 h 4687251"/>
              <a:gd name="connsiteX823" fmla="*/ 7801045 w 8079933"/>
              <a:gd name="connsiteY823" fmla="*/ 4471358 h 4687251"/>
              <a:gd name="connsiteX824" fmla="*/ 7797247 w 8079933"/>
              <a:gd name="connsiteY824" fmla="*/ 4478179 h 4687251"/>
              <a:gd name="connsiteX825" fmla="*/ 7792146 w 8079933"/>
              <a:gd name="connsiteY825" fmla="*/ 4484134 h 4687251"/>
              <a:gd name="connsiteX826" fmla="*/ 7793123 w 8079933"/>
              <a:gd name="connsiteY826" fmla="*/ 4484892 h 4687251"/>
              <a:gd name="connsiteX827" fmla="*/ 7792363 w 8079933"/>
              <a:gd name="connsiteY827" fmla="*/ 4486408 h 4687251"/>
              <a:gd name="connsiteX828" fmla="*/ 7789867 w 8079933"/>
              <a:gd name="connsiteY828" fmla="*/ 4487924 h 4687251"/>
              <a:gd name="connsiteX829" fmla="*/ 7793882 w 8079933"/>
              <a:gd name="connsiteY829" fmla="*/ 4487165 h 4687251"/>
              <a:gd name="connsiteX830" fmla="*/ 7794425 w 8079933"/>
              <a:gd name="connsiteY830" fmla="*/ 4488465 h 4687251"/>
              <a:gd name="connsiteX831" fmla="*/ 7792254 w 8079933"/>
              <a:gd name="connsiteY831" fmla="*/ 4490088 h 4687251"/>
              <a:gd name="connsiteX832" fmla="*/ 7786069 w 8079933"/>
              <a:gd name="connsiteY832" fmla="*/ 4489873 h 4687251"/>
              <a:gd name="connsiteX833" fmla="*/ 7779124 w 8079933"/>
              <a:gd name="connsiteY833" fmla="*/ 4492904 h 4687251"/>
              <a:gd name="connsiteX834" fmla="*/ 7776086 w 8079933"/>
              <a:gd name="connsiteY834" fmla="*/ 4497452 h 4687251"/>
              <a:gd name="connsiteX835" fmla="*/ 7774349 w 8079933"/>
              <a:gd name="connsiteY835" fmla="*/ 4502649 h 4687251"/>
              <a:gd name="connsiteX836" fmla="*/ 7768815 w 8079933"/>
              <a:gd name="connsiteY836" fmla="*/ 4505031 h 4687251"/>
              <a:gd name="connsiteX837" fmla="*/ 7769683 w 8079933"/>
              <a:gd name="connsiteY837" fmla="*/ 4501782 h 4687251"/>
              <a:gd name="connsiteX838" fmla="*/ 7766752 w 8079933"/>
              <a:gd name="connsiteY838" fmla="*/ 4499400 h 4687251"/>
              <a:gd name="connsiteX839" fmla="*/ 7767838 w 8079933"/>
              <a:gd name="connsiteY839" fmla="*/ 4503298 h 4687251"/>
              <a:gd name="connsiteX840" fmla="*/ 7767405 w 8079933"/>
              <a:gd name="connsiteY840" fmla="*/ 4505680 h 4687251"/>
              <a:gd name="connsiteX841" fmla="*/ 7762955 w 8079933"/>
              <a:gd name="connsiteY841" fmla="*/ 4507521 h 4687251"/>
              <a:gd name="connsiteX842" fmla="*/ 7756118 w 8079933"/>
              <a:gd name="connsiteY842" fmla="*/ 4513584 h 4687251"/>
              <a:gd name="connsiteX843" fmla="*/ 7747871 w 8079933"/>
              <a:gd name="connsiteY843" fmla="*/ 4516941 h 4687251"/>
              <a:gd name="connsiteX844" fmla="*/ 7742011 w 8079933"/>
              <a:gd name="connsiteY844" fmla="*/ 4517698 h 4687251"/>
              <a:gd name="connsiteX845" fmla="*/ 7738105 w 8079933"/>
              <a:gd name="connsiteY845" fmla="*/ 4516616 h 4687251"/>
              <a:gd name="connsiteX846" fmla="*/ 7738105 w 8079933"/>
              <a:gd name="connsiteY846" fmla="*/ 4514125 h 4687251"/>
              <a:gd name="connsiteX847" fmla="*/ 7731811 w 8079933"/>
              <a:gd name="connsiteY847" fmla="*/ 4517157 h 4687251"/>
              <a:gd name="connsiteX848" fmla="*/ 7729423 w 8079933"/>
              <a:gd name="connsiteY848" fmla="*/ 4516616 h 4687251"/>
              <a:gd name="connsiteX849" fmla="*/ 7734089 w 8079933"/>
              <a:gd name="connsiteY849" fmla="*/ 4513909 h 4687251"/>
              <a:gd name="connsiteX850" fmla="*/ 7730942 w 8079933"/>
              <a:gd name="connsiteY850" fmla="*/ 4511527 h 4687251"/>
              <a:gd name="connsiteX851" fmla="*/ 7726385 w 8079933"/>
              <a:gd name="connsiteY851" fmla="*/ 4507521 h 4687251"/>
              <a:gd name="connsiteX852" fmla="*/ 7725734 w 8079933"/>
              <a:gd name="connsiteY852" fmla="*/ 4503190 h 4687251"/>
              <a:gd name="connsiteX853" fmla="*/ 7723998 w 8079933"/>
              <a:gd name="connsiteY853" fmla="*/ 4501241 h 4687251"/>
              <a:gd name="connsiteX854" fmla="*/ 7720091 w 8079933"/>
              <a:gd name="connsiteY854" fmla="*/ 4501241 h 4687251"/>
              <a:gd name="connsiteX855" fmla="*/ 7717595 w 8079933"/>
              <a:gd name="connsiteY855" fmla="*/ 4499076 h 4687251"/>
              <a:gd name="connsiteX856" fmla="*/ 7718897 w 8079933"/>
              <a:gd name="connsiteY856" fmla="*/ 4497452 h 4687251"/>
              <a:gd name="connsiteX857" fmla="*/ 7717487 w 8079933"/>
              <a:gd name="connsiteY857" fmla="*/ 4493662 h 4687251"/>
              <a:gd name="connsiteX858" fmla="*/ 7713797 w 8079933"/>
              <a:gd name="connsiteY858" fmla="*/ 4491930 h 4687251"/>
              <a:gd name="connsiteX859" fmla="*/ 7711409 w 8079933"/>
              <a:gd name="connsiteY859" fmla="*/ 4492255 h 4687251"/>
              <a:gd name="connsiteX860" fmla="*/ 7710867 w 8079933"/>
              <a:gd name="connsiteY860" fmla="*/ 4494962 h 4687251"/>
              <a:gd name="connsiteX861" fmla="*/ 7708914 w 8079933"/>
              <a:gd name="connsiteY861" fmla="*/ 4494745 h 4687251"/>
              <a:gd name="connsiteX862" fmla="*/ 7708371 w 8079933"/>
              <a:gd name="connsiteY862" fmla="*/ 4493446 h 4687251"/>
              <a:gd name="connsiteX863" fmla="*/ 7702294 w 8079933"/>
              <a:gd name="connsiteY863" fmla="*/ 4492904 h 4687251"/>
              <a:gd name="connsiteX864" fmla="*/ 7700232 w 8079933"/>
              <a:gd name="connsiteY864" fmla="*/ 4491821 h 4687251"/>
              <a:gd name="connsiteX865" fmla="*/ 7696869 w 8079933"/>
              <a:gd name="connsiteY865" fmla="*/ 4488357 h 4687251"/>
              <a:gd name="connsiteX866" fmla="*/ 7697628 w 8079933"/>
              <a:gd name="connsiteY866" fmla="*/ 4483918 h 4687251"/>
              <a:gd name="connsiteX867" fmla="*/ 7700232 w 8079933"/>
              <a:gd name="connsiteY867" fmla="*/ 4482402 h 4687251"/>
              <a:gd name="connsiteX868" fmla="*/ 7697954 w 8079933"/>
              <a:gd name="connsiteY868" fmla="*/ 4481752 h 4687251"/>
              <a:gd name="connsiteX869" fmla="*/ 7695132 w 8079933"/>
              <a:gd name="connsiteY869" fmla="*/ 4481319 h 4687251"/>
              <a:gd name="connsiteX870" fmla="*/ 7700667 w 8079933"/>
              <a:gd name="connsiteY870" fmla="*/ 4475039 h 4687251"/>
              <a:gd name="connsiteX871" fmla="*/ 7705658 w 8079933"/>
              <a:gd name="connsiteY871" fmla="*/ 4474390 h 4687251"/>
              <a:gd name="connsiteX872" fmla="*/ 7709565 w 8079933"/>
              <a:gd name="connsiteY872" fmla="*/ 4474498 h 4687251"/>
              <a:gd name="connsiteX873" fmla="*/ 7711301 w 8079933"/>
              <a:gd name="connsiteY873" fmla="*/ 4472982 h 4687251"/>
              <a:gd name="connsiteX874" fmla="*/ 7709565 w 8079933"/>
              <a:gd name="connsiteY874" fmla="*/ 4470708 h 4687251"/>
              <a:gd name="connsiteX875" fmla="*/ 7705984 w 8079933"/>
              <a:gd name="connsiteY875" fmla="*/ 4467352 h 4687251"/>
              <a:gd name="connsiteX876" fmla="*/ 7705658 w 8079933"/>
              <a:gd name="connsiteY876" fmla="*/ 4464320 h 4687251"/>
              <a:gd name="connsiteX877" fmla="*/ 7709782 w 8079933"/>
              <a:gd name="connsiteY877" fmla="*/ 4457500 h 4687251"/>
              <a:gd name="connsiteX878" fmla="*/ 7711409 w 8079933"/>
              <a:gd name="connsiteY878" fmla="*/ 4456308 h 4687251"/>
              <a:gd name="connsiteX879" fmla="*/ 7713146 w 8079933"/>
              <a:gd name="connsiteY879" fmla="*/ 4453385 h 4687251"/>
              <a:gd name="connsiteX880" fmla="*/ 7714991 w 8079933"/>
              <a:gd name="connsiteY880" fmla="*/ 4454360 h 4687251"/>
              <a:gd name="connsiteX881" fmla="*/ 7716835 w 8079933"/>
              <a:gd name="connsiteY881" fmla="*/ 4458474 h 4687251"/>
              <a:gd name="connsiteX882" fmla="*/ 7718680 w 8079933"/>
              <a:gd name="connsiteY882" fmla="*/ 4456200 h 4687251"/>
              <a:gd name="connsiteX883" fmla="*/ 7719114 w 8079933"/>
              <a:gd name="connsiteY883" fmla="*/ 4447972 h 4687251"/>
              <a:gd name="connsiteX884" fmla="*/ 7721285 w 8079933"/>
              <a:gd name="connsiteY884" fmla="*/ 4445048 h 4687251"/>
              <a:gd name="connsiteX885" fmla="*/ 7723238 w 8079933"/>
              <a:gd name="connsiteY885" fmla="*/ 4445048 h 4687251"/>
              <a:gd name="connsiteX886" fmla="*/ 7730182 w 8079933"/>
              <a:gd name="connsiteY886" fmla="*/ 4437252 h 4687251"/>
              <a:gd name="connsiteX887" fmla="*/ 7732353 w 8079933"/>
              <a:gd name="connsiteY887" fmla="*/ 4438877 h 4687251"/>
              <a:gd name="connsiteX888" fmla="*/ 7734415 w 8079933"/>
              <a:gd name="connsiteY888" fmla="*/ 4436495 h 4687251"/>
              <a:gd name="connsiteX889" fmla="*/ 7734415 w 8079933"/>
              <a:gd name="connsiteY889" fmla="*/ 4430757 h 4687251"/>
              <a:gd name="connsiteX890" fmla="*/ 7737237 w 8079933"/>
              <a:gd name="connsiteY890" fmla="*/ 4428916 h 4687251"/>
              <a:gd name="connsiteX891" fmla="*/ 7740275 w 8079933"/>
              <a:gd name="connsiteY891" fmla="*/ 4426209 h 4687251"/>
              <a:gd name="connsiteX892" fmla="*/ 7742336 w 8079933"/>
              <a:gd name="connsiteY892" fmla="*/ 4427833 h 4687251"/>
              <a:gd name="connsiteX893" fmla="*/ 7742988 w 8079933"/>
              <a:gd name="connsiteY893" fmla="*/ 4430757 h 4687251"/>
              <a:gd name="connsiteX894" fmla="*/ 7744073 w 8079933"/>
              <a:gd name="connsiteY894" fmla="*/ 4425235 h 4687251"/>
              <a:gd name="connsiteX895" fmla="*/ 7748197 w 8079933"/>
              <a:gd name="connsiteY895" fmla="*/ 4419929 h 4687251"/>
              <a:gd name="connsiteX896" fmla="*/ 7751886 w 8079933"/>
              <a:gd name="connsiteY896" fmla="*/ 4418847 h 4687251"/>
              <a:gd name="connsiteX897" fmla="*/ 7757638 w 8079933"/>
              <a:gd name="connsiteY897" fmla="*/ 4414191 h 4687251"/>
              <a:gd name="connsiteX898" fmla="*/ 7760459 w 8079933"/>
              <a:gd name="connsiteY898" fmla="*/ 4410618 h 4687251"/>
              <a:gd name="connsiteX899" fmla="*/ 7767947 w 8079933"/>
              <a:gd name="connsiteY899" fmla="*/ 4404122 h 4687251"/>
              <a:gd name="connsiteX900" fmla="*/ 7771527 w 8079933"/>
              <a:gd name="connsiteY900" fmla="*/ 4403905 h 4687251"/>
              <a:gd name="connsiteX901" fmla="*/ 7773698 w 8079933"/>
              <a:gd name="connsiteY901" fmla="*/ 4405638 h 4687251"/>
              <a:gd name="connsiteX902" fmla="*/ 7777930 w 8079933"/>
              <a:gd name="connsiteY902" fmla="*/ 4404555 h 4687251"/>
              <a:gd name="connsiteX903" fmla="*/ 7781836 w 8079933"/>
              <a:gd name="connsiteY903" fmla="*/ 4403364 h 4687251"/>
              <a:gd name="connsiteX904" fmla="*/ 7783682 w 8079933"/>
              <a:gd name="connsiteY904" fmla="*/ 4404122 h 4687251"/>
              <a:gd name="connsiteX905" fmla="*/ 7787697 w 8079933"/>
              <a:gd name="connsiteY905" fmla="*/ 4408020 h 4687251"/>
              <a:gd name="connsiteX906" fmla="*/ 7787154 w 8079933"/>
              <a:gd name="connsiteY906" fmla="*/ 4403148 h 4687251"/>
              <a:gd name="connsiteX907" fmla="*/ 7785526 w 8079933"/>
              <a:gd name="connsiteY907" fmla="*/ 4399358 h 4687251"/>
              <a:gd name="connsiteX908" fmla="*/ 7786286 w 8079933"/>
              <a:gd name="connsiteY908" fmla="*/ 4396651 h 4687251"/>
              <a:gd name="connsiteX909" fmla="*/ 7794642 w 8079933"/>
              <a:gd name="connsiteY909" fmla="*/ 4391454 h 4687251"/>
              <a:gd name="connsiteX910" fmla="*/ 7799308 w 8079933"/>
              <a:gd name="connsiteY910" fmla="*/ 4390480 h 4687251"/>
              <a:gd name="connsiteX911" fmla="*/ 7807012 w 8079933"/>
              <a:gd name="connsiteY911" fmla="*/ 4383117 h 4687251"/>
              <a:gd name="connsiteX912" fmla="*/ 7815911 w 8079933"/>
              <a:gd name="connsiteY912" fmla="*/ 4378678 h 4687251"/>
              <a:gd name="connsiteX913" fmla="*/ 7819818 w 8079933"/>
              <a:gd name="connsiteY913" fmla="*/ 4378895 h 4687251"/>
              <a:gd name="connsiteX914" fmla="*/ 7820469 w 8079933"/>
              <a:gd name="connsiteY914" fmla="*/ 4375430 h 4687251"/>
              <a:gd name="connsiteX915" fmla="*/ 7826437 w 8079933"/>
              <a:gd name="connsiteY915" fmla="*/ 4372290 h 4687251"/>
              <a:gd name="connsiteX916" fmla="*/ 7831429 w 8079933"/>
              <a:gd name="connsiteY916" fmla="*/ 4371641 h 4687251"/>
              <a:gd name="connsiteX917" fmla="*/ 7841087 w 8079933"/>
              <a:gd name="connsiteY917" fmla="*/ 4364711 h 4687251"/>
              <a:gd name="connsiteX918" fmla="*/ 7849769 w 8079933"/>
              <a:gd name="connsiteY918" fmla="*/ 4354642 h 4687251"/>
              <a:gd name="connsiteX919" fmla="*/ 7850202 w 8079933"/>
              <a:gd name="connsiteY919" fmla="*/ 4350853 h 4687251"/>
              <a:gd name="connsiteX920" fmla="*/ 7852481 w 8079933"/>
              <a:gd name="connsiteY920" fmla="*/ 4347929 h 4687251"/>
              <a:gd name="connsiteX921" fmla="*/ 7852699 w 8079933"/>
              <a:gd name="connsiteY921" fmla="*/ 4342732 h 4687251"/>
              <a:gd name="connsiteX922" fmla="*/ 7856496 w 8079933"/>
              <a:gd name="connsiteY922" fmla="*/ 4338510 h 4687251"/>
              <a:gd name="connsiteX923" fmla="*/ 7859101 w 8079933"/>
              <a:gd name="connsiteY923" fmla="*/ 4337210 h 4687251"/>
              <a:gd name="connsiteX924" fmla="*/ 7859318 w 8079933"/>
              <a:gd name="connsiteY924" fmla="*/ 4332447 h 4687251"/>
              <a:gd name="connsiteX925" fmla="*/ 7860620 w 8079933"/>
              <a:gd name="connsiteY925" fmla="*/ 4328224 h 4687251"/>
              <a:gd name="connsiteX926" fmla="*/ 7864526 w 8079933"/>
              <a:gd name="connsiteY926" fmla="*/ 4325301 h 4687251"/>
              <a:gd name="connsiteX927" fmla="*/ 7869410 w 8079933"/>
              <a:gd name="connsiteY927" fmla="*/ 4325734 h 4687251"/>
              <a:gd name="connsiteX928" fmla="*/ 7873425 w 8079933"/>
              <a:gd name="connsiteY928" fmla="*/ 4324110 h 4687251"/>
              <a:gd name="connsiteX929" fmla="*/ 7875053 w 8079933"/>
              <a:gd name="connsiteY929" fmla="*/ 4320537 h 4687251"/>
              <a:gd name="connsiteX930" fmla="*/ 7880478 w 8079933"/>
              <a:gd name="connsiteY930" fmla="*/ 4313933 h 4687251"/>
              <a:gd name="connsiteX931" fmla="*/ 7882540 w 8079933"/>
              <a:gd name="connsiteY931" fmla="*/ 4313175 h 4687251"/>
              <a:gd name="connsiteX932" fmla="*/ 7886880 w 8079933"/>
              <a:gd name="connsiteY932" fmla="*/ 4307436 h 4687251"/>
              <a:gd name="connsiteX933" fmla="*/ 7891222 w 8079933"/>
              <a:gd name="connsiteY933" fmla="*/ 4296609 h 4687251"/>
              <a:gd name="connsiteX934" fmla="*/ 7891982 w 8079933"/>
              <a:gd name="connsiteY934" fmla="*/ 4290655 h 4687251"/>
              <a:gd name="connsiteX935" fmla="*/ 7896214 w 8079933"/>
              <a:gd name="connsiteY935" fmla="*/ 4287190 h 4687251"/>
              <a:gd name="connsiteX936" fmla="*/ 7899360 w 8079933"/>
              <a:gd name="connsiteY936" fmla="*/ 4285890 h 4687251"/>
              <a:gd name="connsiteX937" fmla="*/ 2284276 w 8079933"/>
              <a:gd name="connsiteY937" fmla="*/ 4260772 h 4687251"/>
              <a:gd name="connsiteX938" fmla="*/ 2284927 w 8079933"/>
              <a:gd name="connsiteY938" fmla="*/ 4264886 h 4687251"/>
              <a:gd name="connsiteX939" fmla="*/ 2282323 w 8079933"/>
              <a:gd name="connsiteY939" fmla="*/ 4264669 h 4687251"/>
              <a:gd name="connsiteX940" fmla="*/ 2282214 w 8079933"/>
              <a:gd name="connsiteY940" fmla="*/ 4260988 h 4687251"/>
              <a:gd name="connsiteX941" fmla="*/ 2300769 w 8079933"/>
              <a:gd name="connsiteY941" fmla="*/ 4259256 h 4687251"/>
              <a:gd name="connsiteX942" fmla="*/ 2298164 w 8079933"/>
              <a:gd name="connsiteY942" fmla="*/ 4262288 h 4687251"/>
              <a:gd name="connsiteX943" fmla="*/ 2295886 w 8079933"/>
              <a:gd name="connsiteY943" fmla="*/ 4259364 h 4687251"/>
              <a:gd name="connsiteX944" fmla="*/ 2288182 w 8079933"/>
              <a:gd name="connsiteY944" fmla="*/ 4257957 h 4687251"/>
              <a:gd name="connsiteX945" fmla="*/ 2289593 w 8079933"/>
              <a:gd name="connsiteY945" fmla="*/ 4260122 h 4687251"/>
              <a:gd name="connsiteX946" fmla="*/ 2293716 w 8079933"/>
              <a:gd name="connsiteY946" fmla="*/ 4260988 h 4687251"/>
              <a:gd name="connsiteX947" fmla="*/ 2295561 w 8079933"/>
              <a:gd name="connsiteY947" fmla="*/ 4264670 h 4687251"/>
              <a:gd name="connsiteX948" fmla="*/ 2290787 w 8079933"/>
              <a:gd name="connsiteY948" fmla="*/ 4265752 h 4687251"/>
              <a:gd name="connsiteX949" fmla="*/ 2286337 w 8079933"/>
              <a:gd name="connsiteY949" fmla="*/ 4260772 h 4687251"/>
              <a:gd name="connsiteX950" fmla="*/ 2293716 w 8079933"/>
              <a:gd name="connsiteY950" fmla="*/ 4253409 h 4687251"/>
              <a:gd name="connsiteX951" fmla="*/ 2293499 w 8079933"/>
              <a:gd name="connsiteY951" fmla="*/ 4257848 h 4687251"/>
              <a:gd name="connsiteX952" fmla="*/ 2289701 w 8079933"/>
              <a:gd name="connsiteY952" fmla="*/ 4253733 h 4687251"/>
              <a:gd name="connsiteX953" fmla="*/ 2297188 w 8079933"/>
              <a:gd name="connsiteY953" fmla="*/ 4245614 h 4687251"/>
              <a:gd name="connsiteX954" fmla="*/ 2302288 w 8079933"/>
              <a:gd name="connsiteY954" fmla="*/ 4245614 h 4687251"/>
              <a:gd name="connsiteX955" fmla="*/ 2302831 w 8079933"/>
              <a:gd name="connsiteY955" fmla="*/ 4253192 h 4687251"/>
              <a:gd name="connsiteX956" fmla="*/ 2300227 w 8079933"/>
              <a:gd name="connsiteY956" fmla="*/ 4256873 h 4687251"/>
              <a:gd name="connsiteX957" fmla="*/ 2297188 w 8079933"/>
              <a:gd name="connsiteY957" fmla="*/ 4255249 h 4687251"/>
              <a:gd name="connsiteX958" fmla="*/ 2295560 w 8079933"/>
              <a:gd name="connsiteY958" fmla="*/ 4250161 h 4687251"/>
              <a:gd name="connsiteX959" fmla="*/ 2293065 w 8079933"/>
              <a:gd name="connsiteY959" fmla="*/ 4248104 h 4687251"/>
              <a:gd name="connsiteX960" fmla="*/ 2357250 w 8079933"/>
              <a:gd name="connsiteY960" fmla="*/ 4243263 h 4687251"/>
              <a:gd name="connsiteX961" fmla="*/ 2359911 w 8079933"/>
              <a:gd name="connsiteY961" fmla="*/ 4247996 h 4687251"/>
              <a:gd name="connsiteX962" fmla="*/ 2359914 w 8079933"/>
              <a:gd name="connsiteY962" fmla="*/ 4248105 h 4687251"/>
              <a:gd name="connsiteX963" fmla="*/ 2359911 w 8079933"/>
              <a:gd name="connsiteY963" fmla="*/ 4247995 h 4687251"/>
              <a:gd name="connsiteX964" fmla="*/ 2297732 w 8079933"/>
              <a:gd name="connsiteY964" fmla="*/ 4240633 h 4687251"/>
              <a:gd name="connsiteX965" fmla="*/ 2297297 w 8079933"/>
              <a:gd name="connsiteY965" fmla="*/ 4244638 h 4687251"/>
              <a:gd name="connsiteX966" fmla="*/ 2291112 w 8079933"/>
              <a:gd name="connsiteY966" fmla="*/ 4244746 h 4687251"/>
              <a:gd name="connsiteX967" fmla="*/ 2288833 w 8079933"/>
              <a:gd name="connsiteY967" fmla="*/ 4242690 h 4687251"/>
              <a:gd name="connsiteX968" fmla="*/ 2294259 w 8079933"/>
              <a:gd name="connsiteY968" fmla="*/ 4240957 h 4687251"/>
              <a:gd name="connsiteX969" fmla="*/ 2337448 w 8079933"/>
              <a:gd name="connsiteY969" fmla="*/ 4232189 h 4687251"/>
              <a:gd name="connsiteX970" fmla="*/ 2340487 w 8079933"/>
              <a:gd name="connsiteY970" fmla="*/ 4235004 h 4687251"/>
              <a:gd name="connsiteX971" fmla="*/ 2342006 w 8079933"/>
              <a:gd name="connsiteY971" fmla="*/ 4233596 h 4687251"/>
              <a:gd name="connsiteX972" fmla="*/ 2340487 w 8079933"/>
              <a:gd name="connsiteY972" fmla="*/ 4235003 h 4687251"/>
              <a:gd name="connsiteX973" fmla="*/ 2267129 w 8079933"/>
              <a:gd name="connsiteY973" fmla="*/ 4232188 h 4687251"/>
              <a:gd name="connsiteX974" fmla="*/ 2271686 w 8079933"/>
              <a:gd name="connsiteY974" fmla="*/ 4232188 h 4687251"/>
              <a:gd name="connsiteX975" fmla="*/ 2274182 w 8079933"/>
              <a:gd name="connsiteY975" fmla="*/ 4235002 h 4687251"/>
              <a:gd name="connsiteX976" fmla="*/ 2272663 w 8079933"/>
              <a:gd name="connsiteY976" fmla="*/ 4237925 h 4687251"/>
              <a:gd name="connsiteX977" fmla="*/ 2266695 w 8079933"/>
              <a:gd name="connsiteY977" fmla="*/ 4235327 h 4687251"/>
              <a:gd name="connsiteX978" fmla="*/ 2286878 w 8079933"/>
              <a:gd name="connsiteY978" fmla="*/ 4232081 h 4687251"/>
              <a:gd name="connsiteX979" fmla="*/ 2296862 w 8079933"/>
              <a:gd name="connsiteY979" fmla="*/ 4232081 h 4687251"/>
              <a:gd name="connsiteX980" fmla="*/ 2294583 w 8079933"/>
              <a:gd name="connsiteY980" fmla="*/ 4234462 h 4687251"/>
              <a:gd name="connsiteX981" fmla="*/ 2288507 w 8079933"/>
              <a:gd name="connsiteY981" fmla="*/ 4235653 h 4687251"/>
              <a:gd name="connsiteX982" fmla="*/ 2287638 w 8079933"/>
              <a:gd name="connsiteY982" fmla="*/ 4237601 h 4687251"/>
              <a:gd name="connsiteX983" fmla="*/ 2285685 w 8079933"/>
              <a:gd name="connsiteY983" fmla="*/ 4235869 h 4687251"/>
              <a:gd name="connsiteX984" fmla="*/ 2277655 w 8079933"/>
              <a:gd name="connsiteY984" fmla="*/ 4226991 h 4687251"/>
              <a:gd name="connsiteX985" fmla="*/ 2280151 w 8079933"/>
              <a:gd name="connsiteY985" fmla="*/ 4229481 h 4687251"/>
              <a:gd name="connsiteX986" fmla="*/ 2277113 w 8079933"/>
              <a:gd name="connsiteY986" fmla="*/ 4231755 h 4687251"/>
              <a:gd name="connsiteX987" fmla="*/ 2275268 w 8079933"/>
              <a:gd name="connsiteY987" fmla="*/ 4229914 h 4687251"/>
              <a:gd name="connsiteX988" fmla="*/ 2300444 w 8079933"/>
              <a:gd name="connsiteY988" fmla="*/ 4225476 h 4687251"/>
              <a:gd name="connsiteX989" fmla="*/ 2301854 w 8079933"/>
              <a:gd name="connsiteY989" fmla="*/ 4230889 h 4687251"/>
              <a:gd name="connsiteX990" fmla="*/ 2298382 w 8079933"/>
              <a:gd name="connsiteY990" fmla="*/ 4230457 h 4687251"/>
              <a:gd name="connsiteX991" fmla="*/ 2281779 w 8079933"/>
              <a:gd name="connsiteY991" fmla="*/ 4223311 h 4687251"/>
              <a:gd name="connsiteX992" fmla="*/ 2286662 w 8079933"/>
              <a:gd name="connsiteY992" fmla="*/ 4223419 h 4687251"/>
              <a:gd name="connsiteX993" fmla="*/ 2289049 w 8079933"/>
              <a:gd name="connsiteY993" fmla="*/ 4228075 h 4687251"/>
              <a:gd name="connsiteX994" fmla="*/ 2285469 w 8079933"/>
              <a:gd name="connsiteY994" fmla="*/ 4228832 h 4687251"/>
              <a:gd name="connsiteX995" fmla="*/ 2282539 w 8079933"/>
              <a:gd name="connsiteY995" fmla="*/ 4230024 h 4687251"/>
              <a:gd name="connsiteX996" fmla="*/ 2282864 w 8079933"/>
              <a:gd name="connsiteY996" fmla="*/ 4226234 h 4687251"/>
              <a:gd name="connsiteX997" fmla="*/ 2296862 w 8079933"/>
              <a:gd name="connsiteY997" fmla="*/ 4222119 h 4687251"/>
              <a:gd name="connsiteX998" fmla="*/ 2296862 w 8079933"/>
              <a:gd name="connsiteY998" fmla="*/ 4228291 h 4687251"/>
              <a:gd name="connsiteX999" fmla="*/ 2292196 w 8079933"/>
              <a:gd name="connsiteY999" fmla="*/ 4223851 h 4687251"/>
              <a:gd name="connsiteX1000" fmla="*/ 2312272 w 8079933"/>
              <a:gd name="connsiteY1000" fmla="*/ 4221361 h 4687251"/>
              <a:gd name="connsiteX1001" fmla="*/ 2316830 w 8079933"/>
              <a:gd name="connsiteY1001" fmla="*/ 4222227 h 4687251"/>
              <a:gd name="connsiteX1002" fmla="*/ 2317807 w 8079933"/>
              <a:gd name="connsiteY1002" fmla="*/ 4225692 h 4687251"/>
              <a:gd name="connsiteX1003" fmla="*/ 2321605 w 8079933"/>
              <a:gd name="connsiteY1003" fmla="*/ 4229806 h 4687251"/>
              <a:gd name="connsiteX1004" fmla="*/ 2319001 w 8079933"/>
              <a:gd name="connsiteY1004" fmla="*/ 4233596 h 4687251"/>
              <a:gd name="connsiteX1005" fmla="*/ 2317698 w 8079933"/>
              <a:gd name="connsiteY1005" fmla="*/ 4236843 h 4687251"/>
              <a:gd name="connsiteX1006" fmla="*/ 2314552 w 8079933"/>
              <a:gd name="connsiteY1006" fmla="*/ 4237602 h 4687251"/>
              <a:gd name="connsiteX1007" fmla="*/ 2312272 w 8079933"/>
              <a:gd name="connsiteY1007" fmla="*/ 4236302 h 4687251"/>
              <a:gd name="connsiteX1008" fmla="*/ 2309885 w 8079933"/>
              <a:gd name="connsiteY1008" fmla="*/ 4235869 h 4687251"/>
              <a:gd name="connsiteX1009" fmla="*/ 2306412 w 8079933"/>
              <a:gd name="connsiteY1009" fmla="*/ 4239442 h 4687251"/>
              <a:gd name="connsiteX1010" fmla="*/ 2306087 w 8079933"/>
              <a:gd name="connsiteY1010" fmla="*/ 4234137 h 4687251"/>
              <a:gd name="connsiteX1011" fmla="*/ 2305219 w 8079933"/>
              <a:gd name="connsiteY1011" fmla="*/ 4230347 h 4687251"/>
              <a:gd name="connsiteX1012" fmla="*/ 2307498 w 8079933"/>
              <a:gd name="connsiteY1012" fmla="*/ 4223310 h 4687251"/>
              <a:gd name="connsiteX1013" fmla="*/ 7340934 w 8079933"/>
              <a:gd name="connsiteY1013" fmla="*/ 4221254 h 4687251"/>
              <a:gd name="connsiteX1014" fmla="*/ 7339849 w 8079933"/>
              <a:gd name="connsiteY1014" fmla="*/ 4225151 h 4687251"/>
              <a:gd name="connsiteX1015" fmla="*/ 7337461 w 8079933"/>
              <a:gd name="connsiteY1015" fmla="*/ 4222444 h 4687251"/>
              <a:gd name="connsiteX1016" fmla="*/ 7255423 w 8079933"/>
              <a:gd name="connsiteY1016" fmla="*/ 4217248 h 4687251"/>
              <a:gd name="connsiteX1017" fmla="*/ 7260089 w 8079933"/>
              <a:gd name="connsiteY1017" fmla="*/ 4220604 h 4687251"/>
              <a:gd name="connsiteX1018" fmla="*/ 7264430 w 8079933"/>
              <a:gd name="connsiteY1018" fmla="*/ 4222769 h 4687251"/>
              <a:gd name="connsiteX1019" fmla="*/ 7268011 w 8079933"/>
              <a:gd name="connsiteY1019" fmla="*/ 4225693 h 4687251"/>
              <a:gd name="connsiteX1020" fmla="*/ 7268771 w 8079933"/>
              <a:gd name="connsiteY1020" fmla="*/ 4223203 h 4687251"/>
              <a:gd name="connsiteX1021" fmla="*/ 7270724 w 8079933"/>
              <a:gd name="connsiteY1021" fmla="*/ 4220820 h 4687251"/>
              <a:gd name="connsiteX1022" fmla="*/ 7270724 w 8079933"/>
              <a:gd name="connsiteY1022" fmla="*/ 4227858 h 4687251"/>
              <a:gd name="connsiteX1023" fmla="*/ 7279079 w 8079933"/>
              <a:gd name="connsiteY1023" fmla="*/ 4232405 h 4687251"/>
              <a:gd name="connsiteX1024" fmla="*/ 7285591 w 8079933"/>
              <a:gd name="connsiteY1024" fmla="*/ 4238360 h 4687251"/>
              <a:gd name="connsiteX1025" fmla="*/ 7290040 w 8079933"/>
              <a:gd name="connsiteY1025" fmla="*/ 4241609 h 4687251"/>
              <a:gd name="connsiteX1026" fmla="*/ 7293078 w 8079933"/>
              <a:gd name="connsiteY1026" fmla="*/ 4239335 h 4687251"/>
              <a:gd name="connsiteX1027" fmla="*/ 7297744 w 8079933"/>
              <a:gd name="connsiteY1027" fmla="*/ 4239335 h 4687251"/>
              <a:gd name="connsiteX1028" fmla="*/ 7301326 w 8079933"/>
              <a:gd name="connsiteY1028" fmla="*/ 4242799 h 4687251"/>
              <a:gd name="connsiteX1029" fmla="*/ 7301326 w 8079933"/>
              <a:gd name="connsiteY1029" fmla="*/ 4238468 h 4687251"/>
              <a:gd name="connsiteX1030" fmla="*/ 7304364 w 8079933"/>
              <a:gd name="connsiteY1030" fmla="*/ 4236519 h 4687251"/>
              <a:gd name="connsiteX1031" fmla="*/ 7318689 w 8079933"/>
              <a:gd name="connsiteY1031" fmla="*/ 4237386 h 4687251"/>
              <a:gd name="connsiteX1032" fmla="*/ 7321184 w 8079933"/>
              <a:gd name="connsiteY1032" fmla="*/ 4235762 h 4687251"/>
              <a:gd name="connsiteX1033" fmla="*/ 7324440 w 8079933"/>
              <a:gd name="connsiteY1033" fmla="*/ 4233272 h 4687251"/>
              <a:gd name="connsiteX1034" fmla="*/ 7327153 w 8079933"/>
              <a:gd name="connsiteY1034" fmla="*/ 4233272 h 4687251"/>
              <a:gd name="connsiteX1035" fmla="*/ 7328455 w 8079933"/>
              <a:gd name="connsiteY1035" fmla="*/ 4234138 h 4687251"/>
              <a:gd name="connsiteX1036" fmla="*/ 7331168 w 8079933"/>
              <a:gd name="connsiteY1036" fmla="*/ 4229807 h 4687251"/>
              <a:gd name="connsiteX1037" fmla="*/ 7331711 w 8079933"/>
              <a:gd name="connsiteY1037" fmla="*/ 4229049 h 4687251"/>
              <a:gd name="connsiteX1038" fmla="*/ 7337353 w 8079933"/>
              <a:gd name="connsiteY1038" fmla="*/ 4233055 h 4687251"/>
              <a:gd name="connsiteX1039" fmla="*/ 7335726 w 8079933"/>
              <a:gd name="connsiteY1039" fmla="*/ 4237169 h 4687251"/>
              <a:gd name="connsiteX1040" fmla="*/ 7333556 w 8079933"/>
              <a:gd name="connsiteY1040" fmla="*/ 4249403 h 4687251"/>
              <a:gd name="connsiteX1041" fmla="*/ 7329431 w 8079933"/>
              <a:gd name="connsiteY1041" fmla="*/ 4254384 h 4687251"/>
              <a:gd name="connsiteX1042" fmla="*/ 7329431 w 8079933"/>
              <a:gd name="connsiteY1042" fmla="*/ 4263263 h 4687251"/>
              <a:gd name="connsiteX1043" fmla="*/ 7325959 w 8079933"/>
              <a:gd name="connsiteY1043" fmla="*/ 4268351 h 4687251"/>
              <a:gd name="connsiteX1044" fmla="*/ 7327261 w 8079933"/>
              <a:gd name="connsiteY1044" fmla="*/ 4274305 h 4687251"/>
              <a:gd name="connsiteX1045" fmla="*/ 7325959 w 8079933"/>
              <a:gd name="connsiteY1045" fmla="*/ 4276471 h 4687251"/>
              <a:gd name="connsiteX1046" fmla="*/ 7325959 w 8079933"/>
              <a:gd name="connsiteY1046" fmla="*/ 4280802 h 4687251"/>
              <a:gd name="connsiteX1047" fmla="*/ 7323572 w 8079933"/>
              <a:gd name="connsiteY1047" fmla="*/ 4285999 h 4687251"/>
              <a:gd name="connsiteX1048" fmla="*/ 7322703 w 8079933"/>
              <a:gd name="connsiteY1048" fmla="*/ 4282643 h 4687251"/>
              <a:gd name="connsiteX1049" fmla="*/ 7321293 w 8079933"/>
              <a:gd name="connsiteY1049" fmla="*/ 4275713 h 4687251"/>
              <a:gd name="connsiteX1050" fmla="*/ 7318797 w 8079933"/>
              <a:gd name="connsiteY1050" fmla="*/ 4280260 h 4687251"/>
              <a:gd name="connsiteX1051" fmla="*/ 7315759 w 8079933"/>
              <a:gd name="connsiteY1051" fmla="*/ 4282426 h 4687251"/>
              <a:gd name="connsiteX1052" fmla="*/ 7315759 w 8079933"/>
              <a:gd name="connsiteY1052" fmla="*/ 4293253 h 4687251"/>
              <a:gd name="connsiteX1053" fmla="*/ 7313805 w 8079933"/>
              <a:gd name="connsiteY1053" fmla="*/ 4295202 h 4687251"/>
              <a:gd name="connsiteX1054" fmla="*/ 7310007 w 8079933"/>
              <a:gd name="connsiteY1054" fmla="*/ 4295202 h 4687251"/>
              <a:gd name="connsiteX1055" fmla="*/ 7310007 w 8079933"/>
              <a:gd name="connsiteY1055" fmla="*/ 4300615 h 4687251"/>
              <a:gd name="connsiteX1056" fmla="*/ 7306643 w 8079933"/>
              <a:gd name="connsiteY1056" fmla="*/ 4304946 h 4687251"/>
              <a:gd name="connsiteX1057" fmla="*/ 7310441 w 8079933"/>
              <a:gd name="connsiteY1057" fmla="*/ 4307437 h 4687251"/>
              <a:gd name="connsiteX1058" fmla="*/ 7310441 w 8079933"/>
              <a:gd name="connsiteY1058" fmla="*/ 4310360 h 4687251"/>
              <a:gd name="connsiteX1059" fmla="*/ 7305015 w 8079933"/>
              <a:gd name="connsiteY1059" fmla="*/ 4318155 h 4687251"/>
              <a:gd name="connsiteX1060" fmla="*/ 7303062 w 8079933"/>
              <a:gd name="connsiteY1060" fmla="*/ 4317506 h 4687251"/>
              <a:gd name="connsiteX1061" fmla="*/ 7298830 w 8079933"/>
              <a:gd name="connsiteY1061" fmla="*/ 4319563 h 4687251"/>
              <a:gd name="connsiteX1062" fmla="*/ 7298830 w 8079933"/>
              <a:gd name="connsiteY1062" fmla="*/ 4312526 h 4687251"/>
              <a:gd name="connsiteX1063" fmla="*/ 7303713 w 8079933"/>
              <a:gd name="connsiteY1063" fmla="*/ 4314583 h 4687251"/>
              <a:gd name="connsiteX1064" fmla="*/ 7304364 w 8079933"/>
              <a:gd name="connsiteY1064" fmla="*/ 4310577 h 4687251"/>
              <a:gd name="connsiteX1065" fmla="*/ 7301651 w 8079933"/>
              <a:gd name="connsiteY1065" fmla="*/ 4308194 h 4687251"/>
              <a:gd name="connsiteX1066" fmla="*/ 7297636 w 8079933"/>
              <a:gd name="connsiteY1066" fmla="*/ 4308953 h 4687251"/>
              <a:gd name="connsiteX1067" fmla="*/ 7295249 w 8079933"/>
              <a:gd name="connsiteY1067" fmla="*/ 4313067 h 4687251"/>
              <a:gd name="connsiteX1068" fmla="*/ 7292210 w 8079933"/>
              <a:gd name="connsiteY1068" fmla="*/ 4311984 h 4687251"/>
              <a:gd name="connsiteX1069" fmla="*/ 7292210 w 8079933"/>
              <a:gd name="connsiteY1069" fmla="*/ 4307004 h 4687251"/>
              <a:gd name="connsiteX1070" fmla="*/ 7290365 w 8079933"/>
              <a:gd name="connsiteY1070" fmla="*/ 4311984 h 4687251"/>
              <a:gd name="connsiteX1071" fmla="*/ 7286025 w 8079933"/>
              <a:gd name="connsiteY1071" fmla="*/ 4315448 h 4687251"/>
              <a:gd name="connsiteX1072" fmla="*/ 7284614 w 8079933"/>
              <a:gd name="connsiteY1072" fmla="*/ 4317939 h 4687251"/>
              <a:gd name="connsiteX1073" fmla="*/ 7281359 w 8079933"/>
              <a:gd name="connsiteY1073" fmla="*/ 4314907 h 4687251"/>
              <a:gd name="connsiteX1074" fmla="*/ 7279188 w 8079933"/>
              <a:gd name="connsiteY1074" fmla="*/ 4322703 h 4687251"/>
              <a:gd name="connsiteX1075" fmla="*/ 7278646 w 8079933"/>
              <a:gd name="connsiteY1075" fmla="*/ 4327033 h 4687251"/>
              <a:gd name="connsiteX1076" fmla="*/ 7274197 w 8079933"/>
              <a:gd name="connsiteY1076" fmla="*/ 4333854 h 4687251"/>
              <a:gd name="connsiteX1077" fmla="*/ 7270398 w 8079933"/>
              <a:gd name="connsiteY1077" fmla="*/ 4333854 h 4687251"/>
              <a:gd name="connsiteX1078" fmla="*/ 7268011 w 8079933"/>
              <a:gd name="connsiteY1078" fmla="*/ 4329524 h 4687251"/>
              <a:gd name="connsiteX1079" fmla="*/ 7268011 w 8079933"/>
              <a:gd name="connsiteY1079" fmla="*/ 4325518 h 4687251"/>
              <a:gd name="connsiteX1080" fmla="*/ 7264212 w 8079933"/>
              <a:gd name="connsiteY1080" fmla="*/ 4330498 h 4687251"/>
              <a:gd name="connsiteX1081" fmla="*/ 7260957 w 8079933"/>
              <a:gd name="connsiteY1081" fmla="*/ 4327250 h 4687251"/>
              <a:gd name="connsiteX1082" fmla="*/ 7256617 w 8079933"/>
              <a:gd name="connsiteY1082" fmla="*/ 4328116 h 4687251"/>
              <a:gd name="connsiteX1083" fmla="*/ 7254663 w 8079933"/>
              <a:gd name="connsiteY1083" fmla="*/ 4327250 h 4687251"/>
              <a:gd name="connsiteX1084" fmla="*/ 7254663 w 8079933"/>
              <a:gd name="connsiteY1084" fmla="*/ 4323027 h 4687251"/>
              <a:gd name="connsiteX1085" fmla="*/ 7257376 w 8079933"/>
              <a:gd name="connsiteY1085" fmla="*/ 4319996 h 4687251"/>
              <a:gd name="connsiteX1086" fmla="*/ 7252818 w 8079933"/>
              <a:gd name="connsiteY1086" fmla="*/ 4318372 h 4687251"/>
              <a:gd name="connsiteX1087" fmla="*/ 7251733 w 8079933"/>
              <a:gd name="connsiteY1087" fmla="*/ 4312200 h 4687251"/>
              <a:gd name="connsiteX1088" fmla="*/ 7252818 w 8079933"/>
              <a:gd name="connsiteY1088" fmla="*/ 4310251 h 4687251"/>
              <a:gd name="connsiteX1089" fmla="*/ 7250322 w 8079933"/>
              <a:gd name="connsiteY1089" fmla="*/ 4308302 h 4687251"/>
              <a:gd name="connsiteX1090" fmla="*/ 7250322 w 8079933"/>
              <a:gd name="connsiteY1090" fmla="*/ 4294986 h 4687251"/>
              <a:gd name="connsiteX1091" fmla="*/ 7251408 w 8079933"/>
              <a:gd name="connsiteY1091" fmla="*/ 4292495 h 4687251"/>
              <a:gd name="connsiteX1092" fmla="*/ 7248152 w 8079933"/>
              <a:gd name="connsiteY1092" fmla="*/ 4289788 h 4687251"/>
              <a:gd name="connsiteX1093" fmla="*/ 7248152 w 8079933"/>
              <a:gd name="connsiteY1093" fmla="*/ 4281452 h 4687251"/>
              <a:gd name="connsiteX1094" fmla="*/ 7250105 w 8079933"/>
              <a:gd name="connsiteY1094" fmla="*/ 4276796 h 4687251"/>
              <a:gd name="connsiteX1095" fmla="*/ 7254120 w 8079933"/>
              <a:gd name="connsiteY1095" fmla="*/ 4281235 h 4687251"/>
              <a:gd name="connsiteX1096" fmla="*/ 7259221 w 8079933"/>
              <a:gd name="connsiteY1096" fmla="*/ 4281235 h 4687251"/>
              <a:gd name="connsiteX1097" fmla="*/ 7254880 w 8079933"/>
              <a:gd name="connsiteY1097" fmla="*/ 4276904 h 4687251"/>
              <a:gd name="connsiteX1098" fmla="*/ 7254880 w 8079933"/>
              <a:gd name="connsiteY1098" fmla="*/ 4273873 h 4687251"/>
              <a:gd name="connsiteX1099" fmla="*/ 7252710 w 8079933"/>
              <a:gd name="connsiteY1099" fmla="*/ 4272465 h 4687251"/>
              <a:gd name="connsiteX1100" fmla="*/ 7254011 w 8079933"/>
              <a:gd name="connsiteY1100" fmla="*/ 4265753 h 4687251"/>
              <a:gd name="connsiteX1101" fmla="*/ 7252927 w 8079933"/>
              <a:gd name="connsiteY1101" fmla="*/ 4257307 h 4687251"/>
              <a:gd name="connsiteX1102" fmla="*/ 7252384 w 8079933"/>
              <a:gd name="connsiteY1102" fmla="*/ 4246480 h 4687251"/>
              <a:gd name="connsiteX1103" fmla="*/ 7253578 w 8079933"/>
              <a:gd name="connsiteY1103" fmla="*/ 4240417 h 4687251"/>
              <a:gd name="connsiteX1104" fmla="*/ 7252493 w 8079933"/>
              <a:gd name="connsiteY1104" fmla="*/ 4231106 h 4687251"/>
              <a:gd name="connsiteX1105" fmla="*/ 7252493 w 8079933"/>
              <a:gd name="connsiteY1105" fmla="*/ 4226126 h 4687251"/>
              <a:gd name="connsiteX1106" fmla="*/ 7253904 w 8079933"/>
              <a:gd name="connsiteY1106" fmla="*/ 4225043 h 4687251"/>
              <a:gd name="connsiteX1107" fmla="*/ 7253904 w 8079933"/>
              <a:gd name="connsiteY1107" fmla="*/ 4219521 h 4687251"/>
              <a:gd name="connsiteX1108" fmla="*/ 7264863 w 8079933"/>
              <a:gd name="connsiteY1108" fmla="*/ 4216381 h 4687251"/>
              <a:gd name="connsiteX1109" fmla="*/ 7268011 w 8079933"/>
              <a:gd name="connsiteY1109" fmla="*/ 4219304 h 4687251"/>
              <a:gd name="connsiteX1110" fmla="*/ 7265731 w 8079933"/>
              <a:gd name="connsiteY1110" fmla="*/ 4221577 h 4687251"/>
              <a:gd name="connsiteX1111" fmla="*/ 7262693 w 8079933"/>
              <a:gd name="connsiteY1111" fmla="*/ 4220603 h 4687251"/>
              <a:gd name="connsiteX1112" fmla="*/ 7261825 w 8079933"/>
              <a:gd name="connsiteY1112" fmla="*/ 4217030 h 4687251"/>
              <a:gd name="connsiteX1113" fmla="*/ 2306412 w 8079933"/>
              <a:gd name="connsiteY1113" fmla="*/ 4216381 h 4687251"/>
              <a:gd name="connsiteX1114" fmla="*/ 2310644 w 8079933"/>
              <a:gd name="connsiteY1114" fmla="*/ 4219629 h 4687251"/>
              <a:gd name="connsiteX1115" fmla="*/ 2305760 w 8079933"/>
              <a:gd name="connsiteY1115" fmla="*/ 4220062 h 4687251"/>
              <a:gd name="connsiteX1116" fmla="*/ 2304567 w 8079933"/>
              <a:gd name="connsiteY1116" fmla="*/ 4217680 h 4687251"/>
              <a:gd name="connsiteX1117" fmla="*/ 2283080 w 8079933"/>
              <a:gd name="connsiteY1117" fmla="*/ 4215839 h 4687251"/>
              <a:gd name="connsiteX1118" fmla="*/ 2286661 w 8079933"/>
              <a:gd name="connsiteY1118" fmla="*/ 4215947 h 4687251"/>
              <a:gd name="connsiteX1119" fmla="*/ 2289049 w 8079933"/>
              <a:gd name="connsiteY1119" fmla="*/ 4218546 h 4687251"/>
              <a:gd name="connsiteX1120" fmla="*/ 2288506 w 8079933"/>
              <a:gd name="connsiteY1120" fmla="*/ 4220495 h 4687251"/>
              <a:gd name="connsiteX1121" fmla="*/ 2284816 w 8079933"/>
              <a:gd name="connsiteY1121" fmla="*/ 4222011 h 4687251"/>
              <a:gd name="connsiteX1122" fmla="*/ 2282212 w 8079933"/>
              <a:gd name="connsiteY1122" fmla="*/ 4221361 h 4687251"/>
              <a:gd name="connsiteX1123" fmla="*/ 2281453 w 8079933"/>
              <a:gd name="connsiteY1123" fmla="*/ 4219087 h 4687251"/>
              <a:gd name="connsiteX1124" fmla="*/ 2351773 w 8079933"/>
              <a:gd name="connsiteY1124" fmla="*/ 4214973 h 4687251"/>
              <a:gd name="connsiteX1125" fmla="*/ 2348083 w 8079933"/>
              <a:gd name="connsiteY1125" fmla="*/ 4217463 h 4687251"/>
              <a:gd name="connsiteX1126" fmla="*/ 2343634 w 8079933"/>
              <a:gd name="connsiteY1126" fmla="*/ 4216597 h 4687251"/>
              <a:gd name="connsiteX1127" fmla="*/ 2343634 w 8079933"/>
              <a:gd name="connsiteY1127" fmla="*/ 4216598 h 4687251"/>
              <a:gd name="connsiteX1128" fmla="*/ 2348084 w 8079933"/>
              <a:gd name="connsiteY1128" fmla="*/ 4217464 h 4687251"/>
              <a:gd name="connsiteX1129" fmla="*/ 2288617 w 8079933"/>
              <a:gd name="connsiteY1129" fmla="*/ 4211833 h 4687251"/>
              <a:gd name="connsiteX1130" fmla="*/ 2290678 w 8079933"/>
              <a:gd name="connsiteY1130" fmla="*/ 4213240 h 4687251"/>
              <a:gd name="connsiteX1131" fmla="*/ 2289810 w 8079933"/>
              <a:gd name="connsiteY1131" fmla="*/ 4215838 h 4687251"/>
              <a:gd name="connsiteX1132" fmla="*/ 2287640 w 8079933"/>
              <a:gd name="connsiteY1132" fmla="*/ 4213132 h 4687251"/>
              <a:gd name="connsiteX1133" fmla="*/ 7343430 w 8079933"/>
              <a:gd name="connsiteY1133" fmla="*/ 4211401 h 4687251"/>
              <a:gd name="connsiteX1134" fmla="*/ 7348312 w 8079933"/>
              <a:gd name="connsiteY1134" fmla="*/ 4215948 h 4687251"/>
              <a:gd name="connsiteX1135" fmla="*/ 7347553 w 8079933"/>
              <a:gd name="connsiteY1135" fmla="*/ 4218655 h 4687251"/>
              <a:gd name="connsiteX1136" fmla="*/ 7343972 w 8079933"/>
              <a:gd name="connsiteY1136" fmla="*/ 4217139 h 4687251"/>
              <a:gd name="connsiteX1137" fmla="*/ 7336702 w 8079933"/>
              <a:gd name="connsiteY1137" fmla="*/ 4216815 h 4687251"/>
              <a:gd name="connsiteX1138" fmla="*/ 7335291 w 8079933"/>
              <a:gd name="connsiteY1138" fmla="*/ 4213783 h 4687251"/>
              <a:gd name="connsiteX1139" fmla="*/ 7338004 w 8079933"/>
              <a:gd name="connsiteY1139" fmla="*/ 4211942 h 4687251"/>
              <a:gd name="connsiteX1140" fmla="*/ 7266274 w 8079933"/>
              <a:gd name="connsiteY1140" fmla="*/ 4207177 h 4687251"/>
              <a:gd name="connsiteX1141" fmla="*/ 7266708 w 8079933"/>
              <a:gd name="connsiteY1141" fmla="*/ 4211508 h 4687251"/>
              <a:gd name="connsiteX1142" fmla="*/ 7263995 w 8079933"/>
              <a:gd name="connsiteY1142" fmla="*/ 4211724 h 4687251"/>
              <a:gd name="connsiteX1143" fmla="*/ 7263778 w 8079933"/>
              <a:gd name="connsiteY1143" fmla="*/ 4208260 h 4687251"/>
              <a:gd name="connsiteX1144" fmla="*/ 7261610 w 8079933"/>
              <a:gd name="connsiteY1144" fmla="*/ 4206529 h 4687251"/>
              <a:gd name="connsiteX1145" fmla="*/ 7261827 w 8079933"/>
              <a:gd name="connsiteY1145" fmla="*/ 4210643 h 4687251"/>
              <a:gd name="connsiteX1146" fmla="*/ 7260307 w 8079933"/>
              <a:gd name="connsiteY1146" fmla="*/ 4213891 h 4687251"/>
              <a:gd name="connsiteX1147" fmla="*/ 7257051 w 8079933"/>
              <a:gd name="connsiteY1147" fmla="*/ 4212051 h 4687251"/>
              <a:gd name="connsiteX1148" fmla="*/ 7258354 w 8079933"/>
              <a:gd name="connsiteY1148" fmla="*/ 4208369 h 4687251"/>
              <a:gd name="connsiteX1149" fmla="*/ 2296754 w 8079933"/>
              <a:gd name="connsiteY1149" fmla="*/ 4205338 h 4687251"/>
              <a:gd name="connsiteX1150" fmla="*/ 2300335 w 8079933"/>
              <a:gd name="connsiteY1150" fmla="*/ 4206421 h 4687251"/>
              <a:gd name="connsiteX1151" fmla="*/ 2300878 w 8079933"/>
              <a:gd name="connsiteY1151" fmla="*/ 4211076 h 4687251"/>
              <a:gd name="connsiteX1152" fmla="*/ 2297839 w 8079933"/>
              <a:gd name="connsiteY1152" fmla="*/ 4212808 h 4687251"/>
              <a:gd name="connsiteX1153" fmla="*/ 2297514 w 8079933"/>
              <a:gd name="connsiteY1153" fmla="*/ 4209993 h 4687251"/>
              <a:gd name="connsiteX1154" fmla="*/ 2294367 w 8079933"/>
              <a:gd name="connsiteY1154" fmla="*/ 4207395 h 4687251"/>
              <a:gd name="connsiteX1155" fmla="*/ 2308257 w 8079933"/>
              <a:gd name="connsiteY1155" fmla="*/ 4203171 h 4687251"/>
              <a:gd name="connsiteX1156" fmla="*/ 2308257 w 8079933"/>
              <a:gd name="connsiteY1156" fmla="*/ 4206419 h 4687251"/>
              <a:gd name="connsiteX1157" fmla="*/ 2305653 w 8079933"/>
              <a:gd name="connsiteY1157" fmla="*/ 4208908 h 4687251"/>
              <a:gd name="connsiteX1158" fmla="*/ 2304025 w 8079933"/>
              <a:gd name="connsiteY1158" fmla="*/ 4205986 h 4687251"/>
              <a:gd name="connsiteX1159" fmla="*/ 2286988 w 8079933"/>
              <a:gd name="connsiteY1159" fmla="*/ 4202414 h 4687251"/>
              <a:gd name="connsiteX1160" fmla="*/ 2293282 w 8079933"/>
              <a:gd name="connsiteY1160" fmla="*/ 4203821 h 4687251"/>
              <a:gd name="connsiteX1161" fmla="*/ 2288508 w 8079933"/>
              <a:gd name="connsiteY1161" fmla="*/ 4206961 h 4687251"/>
              <a:gd name="connsiteX1162" fmla="*/ 2285795 w 8079933"/>
              <a:gd name="connsiteY1162" fmla="*/ 4204255 h 4687251"/>
              <a:gd name="connsiteX1163" fmla="*/ 2272772 w 8079933"/>
              <a:gd name="connsiteY1163" fmla="*/ 4198841 h 4687251"/>
              <a:gd name="connsiteX1164" fmla="*/ 2276461 w 8079933"/>
              <a:gd name="connsiteY1164" fmla="*/ 4198841 h 4687251"/>
              <a:gd name="connsiteX1165" fmla="*/ 2279500 w 8079933"/>
              <a:gd name="connsiteY1165" fmla="*/ 4201114 h 4687251"/>
              <a:gd name="connsiteX1166" fmla="*/ 2273423 w 8079933"/>
              <a:gd name="connsiteY1166" fmla="*/ 4203388 h 4687251"/>
              <a:gd name="connsiteX1167" fmla="*/ 2271036 w 8079933"/>
              <a:gd name="connsiteY1167" fmla="*/ 4200898 h 4687251"/>
              <a:gd name="connsiteX1168" fmla="*/ 2336875 w 8079933"/>
              <a:gd name="connsiteY1168" fmla="*/ 4195364 h 4687251"/>
              <a:gd name="connsiteX1169" fmla="*/ 2336906 w 8079933"/>
              <a:gd name="connsiteY1169" fmla="*/ 4196026 h 4687251"/>
              <a:gd name="connsiteX1170" fmla="*/ 2341077 w 8079933"/>
              <a:gd name="connsiteY1170" fmla="*/ 4205059 h 4687251"/>
              <a:gd name="connsiteX1171" fmla="*/ 2336906 w 8079933"/>
              <a:gd name="connsiteY1171" fmla="*/ 4196025 h 4687251"/>
              <a:gd name="connsiteX1172" fmla="*/ 7340608 w 8079933"/>
              <a:gd name="connsiteY1172" fmla="*/ 4192669 h 4687251"/>
              <a:gd name="connsiteX1173" fmla="*/ 7348312 w 8079933"/>
              <a:gd name="connsiteY1173" fmla="*/ 4200356 h 4687251"/>
              <a:gd name="connsiteX1174" fmla="*/ 7348312 w 8079933"/>
              <a:gd name="connsiteY1174" fmla="*/ 4204579 h 4687251"/>
              <a:gd name="connsiteX1175" fmla="*/ 7339848 w 8079933"/>
              <a:gd name="connsiteY1175" fmla="*/ 4208368 h 4687251"/>
              <a:gd name="connsiteX1176" fmla="*/ 7338329 w 8079933"/>
              <a:gd name="connsiteY1176" fmla="*/ 4205012 h 4687251"/>
              <a:gd name="connsiteX1177" fmla="*/ 7336702 w 8079933"/>
              <a:gd name="connsiteY1177" fmla="*/ 4202197 h 4687251"/>
              <a:gd name="connsiteX1178" fmla="*/ 7338547 w 8079933"/>
              <a:gd name="connsiteY1178" fmla="*/ 4197866 h 4687251"/>
              <a:gd name="connsiteX1179" fmla="*/ 7337136 w 8079933"/>
              <a:gd name="connsiteY1179" fmla="*/ 4193860 h 4687251"/>
              <a:gd name="connsiteX1180" fmla="*/ 2329419 w 8079933"/>
              <a:gd name="connsiteY1180" fmla="*/ 4178486 h 4687251"/>
              <a:gd name="connsiteX1181" fmla="*/ 2337014 w 8079933"/>
              <a:gd name="connsiteY1181" fmla="*/ 4181085 h 4687251"/>
              <a:gd name="connsiteX1182" fmla="*/ 2337014 w 8079933"/>
              <a:gd name="connsiteY1182" fmla="*/ 4181084 h 4687251"/>
              <a:gd name="connsiteX1183" fmla="*/ 7252601 w 8079933"/>
              <a:gd name="connsiteY1183" fmla="*/ 4174806 h 4687251"/>
              <a:gd name="connsiteX1184" fmla="*/ 7255422 w 8079933"/>
              <a:gd name="connsiteY1184" fmla="*/ 4177188 h 4687251"/>
              <a:gd name="connsiteX1185" fmla="*/ 7254337 w 8079933"/>
              <a:gd name="connsiteY1185" fmla="*/ 4184117 h 4687251"/>
              <a:gd name="connsiteX1186" fmla="*/ 7255965 w 8079933"/>
              <a:gd name="connsiteY1186" fmla="*/ 4187473 h 4687251"/>
              <a:gd name="connsiteX1187" fmla="*/ 7252818 w 8079933"/>
              <a:gd name="connsiteY1187" fmla="*/ 4192454 h 4687251"/>
              <a:gd name="connsiteX1188" fmla="*/ 7251950 w 8079933"/>
              <a:gd name="connsiteY1188" fmla="*/ 4195052 h 4687251"/>
              <a:gd name="connsiteX1189" fmla="*/ 7248043 w 8079933"/>
              <a:gd name="connsiteY1189" fmla="*/ 4198192 h 4687251"/>
              <a:gd name="connsiteX1190" fmla="*/ 7244680 w 8079933"/>
              <a:gd name="connsiteY1190" fmla="*/ 4196568 h 4687251"/>
              <a:gd name="connsiteX1191" fmla="*/ 7245222 w 8079933"/>
              <a:gd name="connsiteY1191" fmla="*/ 4193103 h 4687251"/>
              <a:gd name="connsiteX1192" fmla="*/ 7244137 w 8079933"/>
              <a:gd name="connsiteY1192" fmla="*/ 4189206 h 4687251"/>
              <a:gd name="connsiteX1193" fmla="*/ 7247283 w 8079933"/>
              <a:gd name="connsiteY1193" fmla="*/ 4185091 h 4687251"/>
              <a:gd name="connsiteX1194" fmla="*/ 7246633 w 8079933"/>
              <a:gd name="connsiteY1194" fmla="*/ 4180977 h 4687251"/>
              <a:gd name="connsiteX1195" fmla="*/ 7249889 w 8079933"/>
              <a:gd name="connsiteY1195" fmla="*/ 4176971 h 4687251"/>
              <a:gd name="connsiteX1196" fmla="*/ 2302287 w 8079933"/>
              <a:gd name="connsiteY1196" fmla="*/ 4154558 h 4687251"/>
              <a:gd name="connsiteX1197" fmla="*/ 2304675 w 8079933"/>
              <a:gd name="connsiteY1197" fmla="*/ 4156940 h 4687251"/>
              <a:gd name="connsiteX1198" fmla="*/ 2303047 w 8079933"/>
              <a:gd name="connsiteY1198" fmla="*/ 4159538 h 4687251"/>
              <a:gd name="connsiteX1199" fmla="*/ 2298924 w 8079933"/>
              <a:gd name="connsiteY1199" fmla="*/ 4156074 h 4687251"/>
              <a:gd name="connsiteX1200" fmla="*/ 7323030 w 8079933"/>
              <a:gd name="connsiteY1200" fmla="*/ 4153368 h 4687251"/>
              <a:gd name="connsiteX1201" fmla="*/ 7321293 w 8079933"/>
              <a:gd name="connsiteY1201" fmla="*/ 4155425 h 4687251"/>
              <a:gd name="connsiteX1202" fmla="*/ 7318797 w 8079933"/>
              <a:gd name="connsiteY1202" fmla="*/ 4153693 h 4687251"/>
              <a:gd name="connsiteX1203" fmla="*/ 2279283 w 8079933"/>
              <a:gd name="connsiteY1203" fmla="*/ 4141133 h 4687251"/>
              <a:gd name="connsiteX1204" fmla="*/ 2284492 w 8079933"/>
              <a:gd name="connsiteY1204" fmla="*/ 4141241 h 4687251"/>
              <a:gd name="connsiteX1205" fmla="*/ 2288941 w 8079933"/>
              <a:gd name="connsiteY1205" fmla="*/ 4143190 h 4687251"/>
              <a:gd name="connsiteX1206" fmla="*/ 2293064 w 8079933"/>
              <a:gd name="connsiteY1206" fmla="*/ 4149145 h 4687251"/>
              <a:gd name="connsiteX1207" fmla="*/ 2292847 w 8079933"/>
              <a:gd name="connsiteY1207" fmla="*/ 4155533 h 4687251"/>
              <a:gd name="connsiteX1208" fmla="*/ 2293824 w 8079933"/>
              <a:gd name="connsiteY1208" fmla="*/ 4157265 h 4687251"/>
              <a:gd name="connsiteX1209" fmla="*/ 2293824 w 8079933"/>
              <a:gd name="connsiteY1209" fmla="*/ 4161920 h 4687251"/>
              <a:gd name="connsiteX1210" fmla="*/ 2288507 w 8079933"/>
              <a:gd name="connsiteY1210" fmla="*/ 4160405 h 4687251"/>
              <a:gd name="connsiteX1211" fmla="*/ 2294150 w 8079933"/>
              <a:gd name="connsiteY1211" fmla="*/ 4164411 h 4687251"/>
              <a:gd name="connsiteX1212" fmla="*/ 2295885 w 8079933"/>
              <a:gd name="connsiteY1212" fmla="*/ 4166684 h 4687251"/>
              <a:gd name="connsiteX1213" fmla="*/ 2295777 w 8079933"/>
              <a:gd name="connsiteY1213" fmla="*/ 4167767 h 4687251"/>
              <a:gd name="connsiteX1214" fmla="*/ 2291111 w 8079933"/>
              <a:gd name="connsiteY1214" fmla="*/ 4165169 h 4687251"/>
              <a:gd name="connsiteX1215" fmla="*/ 2288398 w 8079933"/>
              <a:gd name="connsiteY1215" fmla="*/ 4165385 h 4687251"/>
              <a:gd name="connsiteX1216" fmla="*/ 2288724 w 8079933"/>
              <a:gd name="connsiteY1216" fmla="*/ 4168092 h 4687251"/>
              <a:gd name="connsiteX1217" fmla="*/ 2294041 w 8079933"/>
              <a:gd name="connsiteY1217" fmla="*/ 4173397 h 4687251"/>
              <a:gd name="connsiteX1218" fmla="*/ 2291979 w 8079933"/>
              <a:gd name="connsiteY1218" fmla="*/ 4175455 h 4687251"/>
              <a:gd name="connsiteX1219" fmla="*/ 2297188 w 8079933"/>
              <a:gd name="connsiteY1219" fmla="*/ 4180326 h 4687251"/>
              <a:gd name="connsiteX1220" fmla="*/ 2296212 w 8079933"/>
              <a:gd name="connsiteY1220" fmla="*/ 4181301 h 4687251"/>
              <a:gd name="connsiteX1221" fmla="*/ 2291437 w 8079933"/>
              <a:gd name="connsiteY1221" fmla="*/ 4179677 h 4687251"/>
              <a:gd name="connsiteX1222" fmla="*/ 2289484 w 8079933"/>
              <a:gd name="connsiteY1222" fmla="*/ 4183141 h 4687251"/>
              <a:gd name="connsiteX1223" fmla="*/ 2289917 w 8079933"/>
              <a:gd name="connsiteY1223" fmla="*/ 4188122 h 4687251"/>
              <a:gd name="connsiteX1224" fmla="*/ 2289917 w 8079933"/>
              <a:gd name="connsiteY1224" fmla="*/ 4190179 h 4687251"/>
              <a:gd name="connsiteX1225" fmla="*/ 2281996 w 8079933"/>
              <a:gd name="connsiteY1225" fmla="*/ 4190937 h 4687251"/>
              <a:gd name="connsiteX1226" fmla="*/ 2276462 w 8079933"/>
              <a:gd name="connsiteY1226" fmla="*/ 4188555 h 4687251"/>
              <a:gd name="connsiteX1227" fmla="*/ 2278849 w 8079933"/>
              <a:gd name="connsiteY1227" fmla="*/ 4183358 h 4687251"/>
              <a:gd name="connsiteX1228" fmla="*/ 2277872 w 8079933"/>
              <a:gd name="connsiteY1228" fmla="*/ 4168741 h 4687251"/>
              <a:gd name="connsiteX1229" fmla="*/ 2275919 w 8079933"/>
              <a:gd name="connsiteY1229" fmla="*/ 4162787 h 4687251"/>
              <a:gd name="connsiteX1230" fmla="*/ 2274508 w 8079933"/>
              <a:gd name="connsiteY1230" fmla="*/ 4161488 h 4687251"/>
              <a:gd name="connsiteX1231" fmla="*/ 2273315 w 8079933"/>
              <a:gd name="connsiteY1231" fmla="*/ 4158564 h 4687251"/>
              <a:gd name="connsiteX1232" fmla="*/ 2274400 w 8079933"/>
              <a:gd name="connsiteY1232" fmla="*/ 4154991 h 4687251"/>
              <a:gd name="connsiteX1233" fmla="*/ 2277004 w 8079933"/>
              <a:gd name="connsiteY1233" fmla="*/ 4152934 h 4687251"/>
              <a:gd name="connsiteX1234" fmla="*/ 2277330 w 8079933"/>
              <a:gd name="connsiteY1234" fmla="*/ 4149145 h 4687251"/>
              <a:gd name="connsiteX1235" fmla="*/ 2275702 w 8079933"/>
              <a:gd name="connsiteY1235" fmla="*/ 4146871 h 4687251"/>
              <a:gd name="connsiteX1236" fmla="*/ 2275919 w 8079933"/>
              <a:gd name="connsiteY1236" fmla="*/ 4144272 h 4687251"/>
              <a:gd name="connsiteX1237" fmla="*/ 2325837 w 8079933"/>
              <a:gd name="connsiteY1237" fmla="*/ 4136585 h 4687251"/>
              <a:gd name="connsiteX1238" fmla="*/ 2325837 w 8079933"/>
              <a:gd name="connsiteY1238" fmla="*/ 4136586 h 4687251"/>
              <a:gd name="connsiteX1239" fmla="*/ 2330395 w 8079933"/>
              <a:gd name="connsiteY1239" fmla="*/ 4138751 h 4687251"/>
              <a:gd name="connsiteX1240" fmla="*/ 2331878 w 8079933"/>
              <a:gd name="connsiteY1240" fmla="*/ 4141647 h 4687251"/>
              <a:gd name="connsiteX1241" fmla="*/ 2330395 w 8079933"/>
              <a:gd name="connsiteY1241" fmla="*/ 4138751 h 4687251"/>
              <a:gd name="connsiteX1242" fmla="*/ 7297093 w 8079933"/>
              <a:gd name="connsiteY1242" fmla="*/ 4136369 h 4687251"/>
              <a:gd name="connsiteX1243" fmla="*/ 7298721 w 8079933"/>
              <a:gd name="connsiteY1243" fmla="*/ 4138534 h 4687251"/>
              <a:gd name="connsiteX1244" fmla="*/ 7297527 w 8079933"/>
              <a:gd name="connsiteY1244" fmla="*/ 4140158 h 4687251"/>
              <a:gd name="connsiteX1245" fmla="*/ 7294598 w 8079933"/>
              <a:gd name="connsiteY1245" fmla="*/ 4137343 h 4687251"/>
              <a:gd name="connsiteX1246" fmla="*/ 2323136 w 8079933"/>
              <a:gd name="connsiteY1246" fmla="*/ 4089610 h 4687251"/>
              <a:gd name="connsiteX1247" fmla="*/ 2324535 w 8079933"/>
              <a:gd name="connsiteY1247" fmla="*/ 4091869 h 4687251"/>
              <a:gd name="connsiteX1248" fmla="*/ 2324535 w 8079933"/>
              <a:gd name="connsiteY1248" fmla="*/ 4091869 h 4687251"/>
              <a:gd name="connsiteX1249" fmla="*/ 7979013 w 8079933"/>
              <a:gd name="connsiteY1249" fmla="*/ 4042173 h 4687251"/>
              <a:gd name="connsiteX1250" fmla="*/ 7981291 w 8079933"/>
              <a:gd name="connsiteY1250" fmla="*/ 4044555 h 4687251"/>
              <a:gd name="connsiteX1251" fmla="*/ 7979989 w 8079933"/>
              <a:gd name="connsiteY1251" fmla="*/ 4045096 h 4687251"/>
              <a:gd name="connsiteX1252" fmla="*/ 7979989 w 8079933"/>
              <a:gd name="connsiteY1252" fmla="*/ 4046612 h 4687251"/>
              <a:gd name="connsiteX1253" fmla="*/ 7979664 w 8079933"/>
              <a:gd name="connsiteY1253" fmla="*/ 4050726 h 4687251"/>
              <a:gd name="connsiteX1254" fmla="*/ 7980857 w 8079933"/>
              <a:gd name="connsiteY1254" fmla="*/ 4056789 h 4687251"/>
              <a:gd name="connsiteX1255" fmla="*/ 7982811 w 8079933"/>
              <a:gd name="connsiteY1255" fmla="*/ 4060038 h 4687251"/>
              <a:gd name="connsiteX1256" fmla="*/ 7981508 w 8079933"/>
              <a:gd name="connsiteY1256" fmla="*/ 4063827 h 4687251"/>
              <a:gd name="connsiteX1257" fmla="*/ 7984547 w 8079933"/>
              <a:gd name="connsiteY1257" fmla="*/ 4065126 h 4687251"/>
              <a:gd name="connsiteX1258" fmla="*/ 7986609 w 8079933"/>
              <a:gd name="connsiteY1258" fmla="*/ 4061770 h 4687251"/>
              <a:gd name="connsiteX1259" fmla="*/ 7986500 w 8079933"/>
              <a:gd name="connsiteY1259" fmla="*/ 4059280 h 4687251"/>
              <a:gd name="connsiteX1260" fmla="*/ 7988996 w 8079933"/>
              <a:gd name="connsiteY1260" fmla="*/ 4057547 h 4687251"/>
              <a:gd name="connsiteX1261" fmla="*/ 7991383 w 8079933"/>
              <a:gd name="connsiteY1261" fmla="*/ 4057872 h 4687251"/>
              <a:gd name="connsiteX1262" fmla="*/ 7989756 w 8079933"/>
              <a:gd name="connsiteY1262" fmla="*/ 4060687 h 4687251"/>
              <a:gd name="connsiteX1263" fmla="*/ 7987910 w 8079933"/>
              <a:gd name="connsiteY1263" fmla="*/ 4060687 h 4687251"/>
              <a:gd name="connsiteX1264" fmla="*/ 7988562 w 8079933"/>
              <a:gd name="connsiteY1264" fmla="*/ 4064801 h 4687251"/>
              <a:gd name="connsiteX1265" fmla="*/ 7991492 w 8079933"/>
              <a:gd name="connsiteY1265" fmla="*/ 4063611 h 4687251"/>
              <a:gd name="connsiteX1266" fmla="*/ 7994531 w 8079933"/>
              <a:gd name="connsiteY1266" fmla="*/ 4066317 h 4687251"/>
              <a:gd name="connsiteX1267" fmla="*/ 7998980 w 8079933"/>
              <a:gd name="connsiteY1267" fmla="*/ 4067400 h 4687251"/>
              <a:gd name="connsiteX1268" fmla="*/ 7999631 w 8079933"/>
              <a:gd name="connsiteY1268" fmla="*/ 4069998 h 4687251"/>
              <a:gd name="connsiteX1269" fmla="*/ 7995833 w 8079933"/>
              <a:gd name="connsiteY1269" fmla="*/ 4071622 h 4687251"/>
              <a:gd name="connsiteX1270" fmla="*/ 7994096 w 8079933"/>
              <a:gd name="connsiteY1270" fmla="*/ 4074437 h 4687251"/>
              <a:gd name="connsiteX1271" fmla="*/ 7996050 w 8079933"/>
              <a:gd name="connsiteY1271" fmla="*/ 4074762 h 4687251"/>
              <a:gd name="connsiteX1272" fmla="*/ 7998545 w 8079933"/>
              <a:gd name="connsiteY1272" fmla="*/ 4077144 h 4687251"/>
              <a:gd name="connsiteX1273" fmla="*/ 7996050 w 8079933"/>
              <a:gd name="connsiteY1273" fmla="*/ 4079418 h 4687251"/>
              <a:gd name="connsiteX1274" fmla="*/ 8000281 w 8079933"/>
              <a:gd name="connsiteY1274" fmla="*/ 4083748 h 4687251"/>
              <a:gd name="connsiteX1275" fmla="*/ 8006033 w 8079933"/>
              <a:gd name="connsiteY1275" fmla="*/ 4081258 h 4687251"/>
              <a:gd name="connsiteX1276" fmla="*/ 8008095 w 8079933"/>
              <a:gd name="connsiteY1276" fmla="*/ 4080501 h 4687251"/>
              <a:gd name="connsiteX1277" fmla="*/ 8007336 w 8079933"/>
              <a:gd name="connsiteY1277" fmla="*/ 4084398 h 4687251"/>
              <a:gd name="connsiteX1278" fmla="*/ 8009072 w 8079933"/>
              <a:gd name="connsiteY1278" fmla="*/ 4090570 h 4687251"/>
              <a:gd name="connsiteX1279" fmla="*/ 8009072 w 8079933"/>
              <a:gd name="connsiteY1279" fmla="*/ 4097282 h 4687251"/>
              <a:gd name="connsiteX1280" fmla="*/ 8007336 w 8079933"/>
              <a:gd name="connsiteY1280" fmla="*/ 4099015 h 4687251"/>
              <a:gd name="connsiteX1281" fmla="*/ 8006467 w 8079933"/>
              <a:gd name="connsiteY1281" fmla="*/ 4104212 h 4687251"/>
              <a:gd name="connsiteX1282" fmla="*/ 8002561 w 8079933"/>
              <a:gd name="connsiteY1282" fmla="*/ 4104970 h 4687251"/>
              <a:gd name="connsiteX1283" fmla="*/ 7999631 w 8079933"/>
              <a:gd name="connsiteY1283" fmla="*/ 4103345 h 4687251"/>
              <a:gd name="connsiteX1284" fmla="*/ 7999088 w 8079933"/>
              <a:gd name="connsiteY1284" fmla="*/ 4105727 h 4687251"/>
              <a:gd name="connsiteX1285" fmla="*/ 8004080 w 8079933"/>
              <a:gd name="connsiteY1285" fmla="*/ 4109300 h 4687251"/>
              <a:gd name="connsiteX1286" fmla="*/ 8003754 w 8079933"/>
              <a:gd name="connsiteY1286" fmla="*/ 4114606 h 4687251"/>
              <a:gd name="connsiteX1287" fmla="*/ 8005382 w 8079933"/>
              <a:gd name="connsiteY1287" fmla="*/ 4118612 h 4687251"/>
              <a:gd name="connsiteX1288" fmla="*/ 8004297 w 8079933"/>
              <a:gd name="connsiteY1288" fmla="*/ 4121210 h 4687251"/>
              <a:gd name="connsiteX1289" fmla="*/ 8005816 w 8079933"/>
              <a:gd name="connsiteY1289" fmla="*/ 4124783 h 4687251"/>
              <a:gd name="connsiteX1290" fmla="*/ 8004839 w 8079933"/>
              <a:gd name="connsiteY1290" fmla="*/ 4129655 h 4687251"/>
              <a:gd name="connsiteX1291" fmla="*/ 8001150 w 8079933"/>
              <a:gd name="connsiteY1291" fmla="*/ 4130521 h 4687251"/>
              <a:gd name="connsiteX1292" fmla="*/ 7998437 w 8079933"/>
              <a:gd name="connsiteY1292" fmla="*/ 4135827 h 4687251"/>
              <a:gd name="connsiteX1293" fmla="*/ 8002235 w 8079933"/>
              <a:gd name="connsiteY1293" fmla="*/ 4138858 h 4687251"/>
              <a:gd name="connsiteX1294" fmla="*/ 8000824 w 8079933"/>
              <a:gd name="connsiteY1294" fmla="*/ 4142106 h 4687251"/>
              <a:gd name="connsiteX1295" fmla="*/ 7997244 w 8079933"/>
              <a:gd name="connsiteY1295" fmla="*/ 4144272 h 4687251"/>
              <a:gd name="connsiteX1296" fmla="*/ 7997568 w 8079933"/>
              <a:gd name="connsiteY1296" fmla="*/ 4146653 h 4687251"/>
              <a:gd name="connsiteX1297" fmla="*/ 8000499 w 8079933"/>
              <a:gd name="connsiteY1297" fmla="*/ 4146112 h 4687251"/>
              <a:gd name="connsiteX1298" fmla="*/ 8004297 w 8079933"/>
              <a:gd name="connsiteY1298" fmla="*/ 4147845 h 4687251"/>
              <a:gd name="connsiteX1299" fmla="*/ 8004297 w 8079933"/>
              <a:gd name="connsiteY1299" fmla="*/ 4150010 h 4687251"/>
              <a:gd name="connsiteX1300" fmla="*/ 8009072 w 8079933"/>
              <a:gd name="connsiteY1300" fmla="*/ 4150768 h 4687251"/>
              <a:gd name="connsiteX1301" fmla="*/ 8009614 w 8079933"/>
              <a:gd name="connsiteY1301" fmla="*/ 4154666 h 4687251"/>
              <a:gd name="connsiteX1302" fmla="*/ 8012327 w 8079933"/>
              <a:gd name="connsiteY1302" fmla="*/ 4157806 h 4687251"/>
              <a:gd name="connsiteX1303" fmla="*/ 8016125 w 8079933"/>
              <a:gd name="connsiteY1303" fmla="*/ 4156614 h 4687251"/>
              <a:gd name="connsiteX1304" fmla="*/ 8016125 w 8079933"/>
              <a:gd name="connsiteY1304" fmla="*/ 4153800 h 4687251"/>
              <a:gd name="connsiteX1305" fmla="*/ 8013087 w 8079933"/>
              <a:gd name="connsiteY1305" fmla="*/ 4149902 h 4687251"/>
              <a:gd name="connsiteX1306" fmla="*/ 8012870 w 8079933"/>
              <a:gd name="connsiteY1306" fmla="*/ 4146653 h 4687251"/>
              <a:gd name="connsiteX1307" fmla="*/ 8016559 w 8079933"/>
              <a:gd name="connsiteY1307" fmla="*/ 4143189 h 4687251"/>
              <a:gd name="connsiteX1308" fmla="*/ 8015800 w 8079933"/>
              <a:gd name="connsiteY1308" fmla="*/ 4141457 h 4687251"/>
              <a:gd name="connsiteX1309" fmla="*/ 8016017 w 8079933"/>
              <a:gd name="connsiteY1309" fmla="*/ 4136801 h 4687251"/>
              <a:gd name="connsiteX1310" fmla="*/ 8012544 w 8079933"/>
              <a:gd name="connsiteY1310" fmla="*/ 4133445 h 4687251"/>
              <a:gd name="connsiteX1311" fmla="*/ 8013738 w 8079933"/>
              <a:gd name="connsiteY1311" fmla="*/ 4131496 h 4687251"/>
              <a:gd name="connsiteX1312" fmla="*/ 8017536 w 8079933"/>
              <a:gd name="connsiteY1312" fmla="*/ 4133770 h 4687251"/>
              <a:gd name="connsiteX1313" fmla="*/ 8019272 w 8079933"/>
              <a:gd name="connsiteY1313" fmla="*/ 4132579 h 4687251"/>
              <a:gd name="connsiteX1314" fmla="*/ 8020466 w 8079933"/>
              <a:gd name="connsiteY1314" fmla="*/ 4135502 h 4687251"/>
              <a:gd name="connsiteX1315" fmla="*/ 8021117 w 8079933"/>
              <a:gd name="connsiteY1315" fmla="*/ 4140807 h 4687251"/>
              <a:gd name="connsiteX1316" fmla="*/ 8023613 w 8079933"/>
              <a:gd name="connsiteY1316" fmla="*/ 4141349 h 4687251"/>
              <a:gd name="connsiteX1317" fmla="*/ 8022311 w 8079933"/>
              <a:gd name="connsiteY1317" fmla="*/ 4144596 h 4687251"/>
              <a:gd name="connsiteX1318" fmla="*/ 8021876 w 8079933"/>
              <a:gd name="connsiteY1318" fmla="*/ 4149252 h 4687251"/>
              <a:gd name="connsiteX1319" fmla="*/ 8023396 w 8079933"/>
              <a:gd name="connsiteY1319" fmla="*/ 4151743 h 4687251"/>
              <a:gd name="connsiteX1320" fmla="*/ 8023396 w 8079933"/>
              <a:gd name="connsiteY1320" fmla="*/ 4155532 h 4687251"/>
              <a:gd name="connsiteX1321" fmla="*/ 8026977 w 8079933"/>
              <a:gd name="connsiteY1321" fmla="*/ 4163002 h 4687251"/>
              <a:gd name="connsiteX1322" fmla="*/ 8026217 w 8079933"/>
              <a:gd name="connsiteY1322" fmla="*/ 4168308 h 4687251"/>
              <a:gd name="connsiteX1323" fmla="*/ 8023722 w 8079933"/>
              <a:gd name="connsiteY1323" fmla="*/ 4170907 h 4687251"/>
              <a:gd name="connsiteX1324" fmla="*/ 8025133 w 8079933"/>
              <a:gd name="connsiteY1324" fmla="*/ 4174155 h 4687251"/>
              <a:gd name="connsiteX1325" fmla="*/ 8028713 w 8079933"/>
              <a:gd name="connsiteY1325" fmla="*/ 4179243 h 4687251"/>
              <a:gd name="connsiteX1326" fmla="*/ 8031643 w 8079933"/>
              <a:gd name="connsiteY1326" fmla="*/ 4178810 h 4687251"/>
              <a:gd name="connsiteX1327" fmla="*/ 8041301 w 8079933"/>
              <a:gd name="connsiteY1327" fmla="*/ 4188771 h 4687251"/>
              <a:gd name="connsiteX1328" fmla="*/ 8045642 w 8079933"/>
              <a:gd name="connsiteY1328" fmla="*/ 4190612 h 4687251"/>
              <a:gd name="connsiteX1329" fmla="*/ 8048681 w 8079933"/>
              <a:gd name="connsiteY1329" fmla="*/ 4189096 h 4687251"/>
              <a:gd name="connsiteX1330" fmla="*/ 8054431 w 8079933"/>
              <a:gd name="connsiteY1330" fmla="*/ 4188554 h 4687251"/>
              <a:gd name="connsiteX1331" fmla="*/ 8063113 w 8079933"/>
              <a:gd name="connsiteY1331" fmla="*/ 4179459 h 4687251"/>
              <a:gd name="connsiteX1332" fmla="*/ 8068104 w 8079933"/>
              <a:gd name="connsiteY1332" fmla="*/ 4176212 h 4687251"/>
              <a:gd name="connsiteX1333" fmla="*/ 8073639 w 8079933"/>
              <a:gd name="connsiteY1333" fmla="*/ 4177186 h 4687251"/>
              <a:gd name="connsiteX1334" fmla="*/ 8073205 w 8079933"/>
              <a:gd name="connsiteY1334" fmla="*/ 4178593 h 4687251"/>
              <a:gd name="connsiteX1335" fmla="*/ 8071468 w 8079933"/>
              <a:gd name="connsiteY1335" fmla="*/ 4179243 h 4687251"/>
              <a:gd name="connsiteX1336" fmla="*/ 8073530 w 8079933"/>
              <a:gd name="connsiteY1336" fmla="*/ 4181950 h 4687251"/>
              <a:gd name="connsiteX1337" fmla="*/ 8079173 w 8079933"/>
              <a:gd name="connsiteY1337" fmla="*/ 4183899 h 4687251"/>
              <a:gd name="connsiteX1338" fmla="*/ 8079933 w 8079933"/>
              <a:gd name="connsiteY1338" fmla="*/ 4184981 h 4687251"/>
              <a:gd name="connsiteX1339" fmla="*/ 8075810 w 8079933"/>
              <a:gd name="connsiteY1339" fmla="*/ 4187580 h 4687251"/>
              <a:gd name="connsiteX1340" fmla="*/ 8072011 w 8079933"/>
              <a:gd name="connsiteY1340" fmla="*/ 4191911 h 4687251"/>
              <a:gd name="connsiteX1341" fmla="*/ 8070275 w 8079933"/>
              <a:gd name="connsiteY1341" fmla="*/ 4197541 h 4687251"/>
              <a:gd name="connsiteX1342" fmla="*/ 8070384 w 8079933"/>
              <a:gd name="connsiteY1342" fmla="*/ 4200789 h 4687251"/>
              <a:gd name="connsiteX1343" fmla="*/ 8070492 w 8079933"/>
              <a:gd name="connsiteY1343" fmla="*/ 4204037 h 4687251"/>
              <a:gd name="connsiteX1344" fmla="*/ 8064306 w 8079933"/>
              <a:gd name="connsiteY1344" fmla="*/ 4213998 h 4687251"/>
              <a:gd name="connsiteX1345" fmla="*/ 8061702 w 8079933"/>
              <a:gd name="connsiteY1345" fmla="*/ 4217679 h 4687251"/>
              <a:gd name="connsiteX1346" fmla="*/ 8059640 w 8079933"/>
              <a:gd name="connsiteY1346" fmla="*/ 4219736 h 4687251"/>
              <a:gd name="connsiteX1347" fmla="*/ 8058555 w 8079933"/>
              <a:gd name="connsiteY1347" fmla="*/ 4218112 h 4687251"/>
              <a:gd name="connsiteX1348" fmla="*/ 8054648 w 8079933"/>
              <a:gd name="connsiteY1348" fmla="*/ 4217896 h 4687251"/>
              <a:gd name="connsiteX1349" fmla="*/ 8051935 w 8079933"/>
              <a:gd name="connsiteY1349" fmla="*/ 4220927 h 4687251"/>
              <a:gd name="connsiteX1350" fmla="*/ 8048897 w 8079933"/>
              <a:gd name="connsiteY1350" fmla="*/ 4228398 h 4687251"/>
              <a:gd name="connsiteX1351" fmla="*/ 8048354 w 8079933"/>
              <a:gd name="connsiteY1351" fmla="*/ 4233054 h 4687251"/>
              <a:gd name="connsiteX1352" fmla="*/ 8053889 w 8079933"/>
              <a:gd name="connsiteY1352" fmla="*/ 4235327 h 4687251"/>
              <a:gd name="connsiteX1353" fmla="*/ 8051067 w 8079933"/>
              <a:gd name="connsiteY1353" fmla="*/ 4236951 h 4687251"/>
              <a:gd name="connsiteX1354" fmla="*/ 8047052 w 8079933"/>
              <a:gd name="connsiteY1354" fmla="*/ 4240849 h 4687251"/>
              <a:gd name="connsiteX1355" fmla="*/ 8046510 w 8079933"/>
              <a:gd name="connsiteY1355" fmla="*/ 4237493 h 4687251"/>
              <a:gd name="connsiteX1356" fmla="*/ 8047378 w 8079933"/>
              <a:gd name="connsiteY1356" fmla="*/ 4234461 h 4687251"/>
              <a:gd name="connsiteX1357" fmla="*/ 8043363 w 8079933"/>
              <a:gd name="connsiteY1357" fmla="*/ 4234137 h 4687251"/>
              <a:gd name="connsiteX1358" fmla="*/ 8035658 w 8079933"/>
              <a:gd name="connsiteY1358" fmla="*/ 4232945 h 4687251"/>
              <a:gd name="connsiteX1359" fmla="*/ 8030992 w 8079933"/>
              <a:gd name="connsiteY1359" fmla="*/ 4234678 h 4687251"/>
              <a:gd name="connsiteX1360" fmla="*/ 8020249 w 8079933"/>
              <a:gd name="connsiteY1360" fmla="*/ 4245938 h 4687251"/>
              <a:gd name="connsiteX1361" fmla="*/ 8017319 w 8079933"/>
              <a:gd name="connsiteY1361" fmla="*/ 4246804 h 4687251"/>
              <a:gd name="connsiteX1362" fmla="*/ 8014064 w 8079933"/>
              <a:gd name="connsiteY1362" fmla="*/ 4249619 h 4687251"/>
              <a:gd name="connsiteX1363" fmla="*/ 8017210 w 8079933"/>
              <a:gd name="connsiteY1363" fmla="*/ 4249078 h 4687251"/>
              <a:gd name="connsiteX1364" fmla="*/ 8021117 w 8079933"/>
              <a:gd name="connsiteY1364" fmla="*/ 4249727 h 4687251"/>
              <a:gd name="connsiteX1365" fmla="*/ 8024806 w 8079933"/>
              <a:gd name="connsiteY1365" fmla="*/ 4253192 h 4687251"/>
              <a:gd name="connsiteX1366" fmla="*/ 8022311 w 8079933"/>
              <a:gd name="connsiteY1366" fmla="*/ 4255466 h 4687251"/>
              <a:gd name="connsiteX1367" fmla="*/ 8022311 w 8079933"/>
              <a:gd name="connsiteY1367" fmla="*/ 4257523 h 4687251"/>
              <a:gd name="connsiteX1368" fmla="*/ 8017536 w 8079933"/>
              <a:gd name="connsiteY1368" fmla="*/ 4264669 h 4687251"/>
              <a:gd name="connsiteX1369" fmla="*/ 8014497 w 8079933"/>
              <a:gd name="connsiteY1369" fmla="*/ 4273980 h 4687251"/>
              <a:gd name="connsiteX1370" fmla="*/ 8009831 w 8079933"/>
              <a:gd name="connsiteY1370" fmla="*/ 4275929 h 4687251"/>
              <a:gd name="connsiteX1371" fmla="*/ 8007986 w 8079933"/>
              <a:gd name="connsiteY1371" fmla="*/ 4278311 h 4687251"/>
              <a:gd name="connsiteX1372" fmla="*/ 8007661 w 8079933"/>
              <a:gd name="connsiteY1372" fmla="*/ 4282100 h 4687251"/>
              <a:gd name="connsiteX1373" fmla="*/ 8005707 w 8079933"/>
              <a:gd name="connsiteY1373" fmla="*/ 4284590 h 4687251"/>
              <a:gd name="connsiteX1374" fmla="*/ 8002777 w 8079933"/>
              <a:gd name="connsiteY1374" fmla="*/ 4284807 h 4687251"/>
              <a:gd name="connsiteX1375" fmla="*/ 7998328 w 8079933"/>
              <a:gd name="connsiteY1375" fmla="*/ 4287730 h 4687251"/>
              <a:gd name="connsiteX1376" fmla="*/ 7990190 w 8079933"/>
              <a:gd name="connsiteY1376" fmla="*/ 4297800 h 4687251"/>
              <a:gd name="connsiteX1377" fmla="*/ 7983570 w 8079933"/>
              <a:gd name="connsiteY1377" fmla="*/ 4305378 h 4687251"/>
              <a:gd name="connsiteX1378" fmla="*/ 7976517 w 8079933"/>
              <a:gd name="connsiteY1378" fmla="*/ 4312741 h 4687251"/>
              <a:gd name="connsiteX1379" fmla="*/ 7968813 w 8079933"/>
              <a:gd name="connsiteY1379" fmla="*/ 4318912 h 4687251"/>
              <a:gd name="connsiteX1380" fmla="*/ 7960131 w 8079933"/>
              <a:gd name="connsiteY1380" fmla="*/ 4325300 h 4687251"/>
              <a:gd name="connsiteX1381" fmla="*/ 7956441 w 8079933"/>
              <a:gd name="connsiteY1381" fmla="*/ 4325733 h 4687251"/>
              <a:gd name="connsiteX1382" fmla="*/ 7955464 w 8079933"/>
              <a:gd name="connsiteY1382" fmla="*/ 4324326 h 4687251"/>
              <a:gd name="connsiteX1383" fmla="*/ 7955682 w 8079933"/>
              <a:gd name="connsiteY1383" fmla="*/ 4320536 h 4687251"/>
              <a:gd name="connsiteX1384" fmla="*/ 7954270 w 8079933"/>
              <a:gd name="connsiteY1384" fmla="*/ 4318804 h 4687251"/>
              <a:gd name="connsiteX1385" fmla="*/ 7952426 w 8079933"/>
              <a:gd name="connsiteY1385" fmla="*/ 4319454 h 4687251"/>
              <a:gd name="connsiteX1386" fmla="*/ 7951124 w 8079933"/>
              <a:gd name="connsiteY1386" fmla="*/ 4318804 h 4687251"/>
              <a:gd name="connsiteX1387" fmla="*/ 7951557 w 8079933"/>
              <a:gd name="connsiteY1387" fmla="*/ 4316422 h 4687251"/>
              <a:gd name="connsiteX1388" fmla="*/ 7951340 w 8079933"/>
              <a:gd name="connsiteY1388" fmla="*/ 4313065 h 4687251"/>
              <a:gd name="connsiteX1389" fmla="*/ 7949279 w 8079933"/>
              <a:gd name="connsiteY1389" fmla="*/ 4312957 h 4687251"/>
              <a:gd name="connsiteX1390" fmla="*/ 7948303 w 8079933"/>
              <a:gd name="connsiteY1390" fmla="*/ 4315664 h 4687251"/>
              <a:gd name="connsiteX1391" fmla="*/ 7943419 w 8079933"/>
              <a:gd name="connsiteY1391" fmla="*/ 4314581 h 4687251"/>
              <a:gd name="connsiteX1392" fmla="*/ 7942768 w 8079933"/>
              <a:gd name="connsiteY1392" fmla="*/ 4312091 h 4687251"/>
              <a:gd name="connsiteX1393" fmla="*/ 7945264 w 8079933"/>
              <a:gd name="connsiteY1393" fmla="*/ 4309059 h 4687251"/>
              <a:gd name="connsiteX1394" fmla="*/ 7952317 w 8079933"/>
              <a:gd name="connsiteY1394" fmla="*/ 4302780 h 4687251"/>
              <a:gd name="connsiteX1395" fmla="*/ 7959045 w 8079933"/>
              <a:gd name="connsiteY1395" fmla="*/ 4295742 h 4687251"/>
              <a:gd name="connsiteX1396" fmla="*/ 7968486 w 8079933"/>
              <a:gd name="connsiteY1396" fmla="*/ 4283833 h 4687251"/>
              <a:gd name="connsiteX1397" fmla="*/ 7970548 w 8079933"/>
              <a:gd name="connsiteY1397" fmla="*/ 4279394 h 4687251"/>
              <a:gd name="connsiteX1398" fmla="*/ 7970548 w 8079933"/>
              <a:gd name="connsiteY1398" fmla="*/ 4273763 h 4687251"/>
              <a:gd name="connsiteX1399" fmla="*/ 7971742 w 8079933"/>
              <a:gd name="connsiteY1399" fmla="*/ 4272680 h 4687251"/>
              <a:gd name="connsiteX1400" fmla="*/ 7971199 w 8079933"/>
              <a:gd name="connsiteY1400" fmla="*/ 4271598 h 4687251"/>
              <a:gd name="connsiteX1401" fmla="*/ 7970114 w 8079933"/>
              <a:gd name="connsiteY1401" fmla="*/ 4261312 h 4687251"/>
              <a:gd name="connsiteX1402" fmla="*/ 7967618 w 8079933"/>
              <a:gd name="connsiteY1402" fmla="*/ 4258713 h 4687251"/>
              <a:gd name="connsiteX1403" fmla="*/ 7961216 w 8079933"/>
              <a:gd name="connsiteY1403" fmla="*/ 4256656 h 4687251"/>
              <a:gd name="connsiteX1404" fmla="*/ 7957961 w 8079933"/>
              <a:gd name="connsiteY1404" fmla="*/ 4250485 h 4687251"/>
              <a:gd name="connsiteX1405" fmla="*/ 7951124 w 8079933"/>
              <a:gd name="connsiteY1405" fmla="*/ 4246262 h 4687251"/>
              <a:gd name="connsiteX1406" fmla="*/ 7947109 w 8079933"/>
              <a:gd name="connsiteY1406" fmla="*/ 4242798 h 4687251"/>
              <a:gd name="connsiteX1407" fmla="*/ 7946023 w 8079933"/>
              <a:gd name="connsiteY1407" fmla="*/ 4235327 h 4687251"/>
              <a:gd name="connsiteX1408" fmla="*/ 7947326 w 8079933"/>
              <a:gd name="connsiteY1408" fmla="*/ 4229913 h 4687251"/>
              <a:gd name="connsiteX1409" fmla="*/ 7951449 w 8079933"/>
              <a:gd name="connsiteY1409" fmla="*/ 4225366 h 4687251"/>
              <a:gd name="connsiteX1410" fmla="*/ 7960565 w 8079933"/>
              <a:gd name="connsiteY1410" fmla="*/ 4221036 h 4687251"/>
              <a:gd name="connsiteX1411" fmla="*/ 7965014 w 8079933"/>
              <a:gd name="connsiteY1411" fmla="*/ 4220494 h 4687251"/>
              <a:gd name="connsiteX1412" fmla="*/ 7969029 w 8079933"/>
              <a:gd name="connsiteY1412" fmla="*/ 4222010 h 4687251"/>
              <a:gd name="connsiteX1413" fmla="*/ 7972502 w 8079933"/>
              <a:gd name="connsiteY1413" fmla="*/ 4221686 h 4687251"/>
              <a:gd name="connsiteX1414" fmla="*/ 7975865 w 8079933"/>
              <a:gd name="connsiteY1414" fmla="*/ 4219195 h 4687251"/>
              <a:gd name="connsiteX1415" fmla="*/ 7976408 w 8079933"/>
              <a:gd name="connsiteY1415" fmla="*/ 4215189 h 4687251"/>
              <a:gd name="connsiteX1416" fmla="*/ 7979555 w 8079933"/>
              <a:gd name="connsiteY1416" fmla="*/ 4198299 h 4687251"/>
              <a:gd name="connsiteX1417" fmla="*/ 7981617 w 8079933"/>
              <a:gd name="connsiteY1417" fmla="*/ 4193102 h 4687251"/>
              <a:gd name="connsiteX1418" fmla="*/ 7984547 w 8079933"/>
              <a:gd name="connsiteY1418" fmla="*/ 4192885 h 4687251"/>
              <a:gd name="connsiteX1419" fmla="*/ 7987368 w 8079933"/>
              <a:gd name="connsiteY1419" fmla="*/ 4191369 h 4687251"/>
              <a:gd name="connsiteX1420" fmla="*/ 7984656 w 8079933"/>
              <a:gd name="connsiteY1420" fmla="*/ 4188663 h 4687251"/>
              <a:gd name="connsiteX1421" fmla="*/ 7984764 w 8079933"/>
              <a:gd name="connsiteY1421" fmla="*/ 4186389 h 4687251"/>
              <a:gd name="connsiteX1422" fmla="*/ 7986826 w 8079933"/>
              <a:gd name="connsiteY1422" fmla="*/ 4182708 h 4687251"/>
              <a:gd name="connsiteX1423" fmla="*/ 7990081 w 8079933"/>
              <a:gd name="connsiteY1423" fmla="*/ 4182383 h 4687251"/>
              <a:gd name="connsiteX1424" fmla="*/ 7991058 w 8079933"/>
              <a:gd name="connsiteY1424" fmla="*/ 4180651 h 4687251"/>
              <a:gd name="connsiteX1425" fmla="*/ 7988670 w 8079933"/>
              <a:gd name="connsiteY1425" fmla="*/ 4178161 h 4687251"/>
              <a:gd name="connsiteX1426" fmla="*/ 7989972 w 8079933"/>
              <a:gd name="connsiteY1426" fmla="*/ 4176753 h 4687251"/>
              <a:gd name="connsiteX1427" fmla="*/ 7989864 w 8079933"/>
              <a:gd name="connsiteY1427" fmla="*/ 4172530 h 4687251"/>
              <a:gd name="connsiteX1428" fmla="*/ 7992578 w 8079933"/>
              <a:gd name="connsiteY1428" fmla="*/ 4164410 h 4687251"/>
              <a:gd name="connsiteX1429" fmla="*/ 7994096 w 8079933"/>
              <a:gd name="connsiteY1429" fmla="*/ 4161054 h 4687251"/>
              <a:gd name="connsiteX1430" fmla="*/ 7992469 w 8079933"/>
              <a:gd name="connsiteY1430" fmla="*/ 4159430 h 4687251"/>
              <a:gd name="connsiteX1431" fmla="*/ 7992578 w 8079933"/>
              <a:gd name="connsiteY1431" fmla="*/ 4157697 h 4687251"/>
              <a:gd name="connsiteX1432" fmla="*/ 7997351 w 8079933"/>
              <a:gd name="connsiteY1432" fmla="*/ 4154557 h 4687251"/>
              <a:gd name="connsiteX1433" fmla="*/ 7995073 w 8079933"/>
              <a:gd name="connsiteY1433" fmla="*/ 4152934 h 4687251"/>
              <a:gd name="connsiteX1434" fmla="*/ 7994747 w 8079933"/>
              <a:gd name="connsiteY1434" fmla="*/ 4150659 h 4687251"/>
              <a:gd name="connsiteX1435" fmla="*/ 7993011 w 8079933"/>
              <a:gd name="connsiteY1435" fmla="*/ 4147520 h 4687251"/>
              <a:gd name="connsiteX1436" fmla="*/ 7991383 w 8079933"/>
              <a:gd name="connsiteY1436" fmla="*/ 4148386 h 4687251"/>
              <a:gd name="connsiteX1437" fmla="*/ 7989322 w 8079933"/>
              <a:gd name="connsiteY1437" fmla="*/ 4147737 h 4687251"/>
              <a:gd name="connsiteX1438" fmla="*/ 7986066 w 8079933"/>
              <a:gd name="connsiteY1438" fmla="*/ 4138533 h 4687251"/>
              <a:gd name="connsiteX1439" fmla="*/ 7985090 w 8079933"/>
              <a:gd name="connsiteY1439" fmla="*/ 4131279 h 4687251"/>
              <a:gd name="connsiteX1440" fmla="*/ 7987043 w 8079933"/>
              <a:gd name="connsiteY1440" fmla="*/ 4131279 h 4687251"/>
              <a:gd name="connsiteX1441" fmla="*/ 7988779 w 8079933"/>
              <a:gd name="connsiteY1441" fmla="*/ 4134094 h 4687251"/>
              <a:gd name="connsiteX1442" fmla="*/ 7990516 w 8079933"/>
              <a:gd name="connsiteY1442" fmla="*/ 4133553 h 4687251"/>
              <a:gd name="connsiteX1443" fmla="*/ 7990841 w 8079933"/>
              <a:gd name="connsiteY1443" fmla="*/ 4131279 h 4687251"/>
              <a:gd name="connsiteX1444" fmla="*/ 7992034 w 8079933"/>
              <a:gd name="connsiteY1444" fmla="*/ 4127490 h 4687251"/>
              <a:gd name="connsiteX1445" fmla="*/ 7994638 w 8079933"/>
              <a:gd name="connsiteY1445" fmla="*/ 4122834 h 4687251"/>
              <a:gd name="connsiteX1446" fmla="*/ 7994205 w 8079933"/>
              <a:gd name="connsiteY1446" fmla="*/ 4119478 h 4687251"/>
              <a:gd name="connsiteX1447" fmla="*/ 7992794 w 8079933"/>
              <a:gd name="connsiteY1447" fmla="*/ 4119911 h 4687251"/>
              <a:gd name="connsiteX1448" fmla="*/ 7993445 w 8079933"/>
              <a:gd name="connsiteY1448" fmla="*/ 4121319 h 4687251"/>
              <a:gd name="connsiteX1449" fmla="*/ 7993011 w 8079933"/>
              <a:gd name="connsiteY1449" fmla="*/ 4123267 h 4687251"/>
              <a:gd name="connsiteX1450" fmla="*/ 7990407 w 8079933"/>
              <a:gd name="connsiteY1450" fmla="*/ 4123700 h 4687251"/>
              <a:gd name="connsiteX1451" fmla="*/ 7990407 w 8079933"/>
              <a:gd name="connsiteY1451" fmla="*/ 4119586 h 4687251"/>
              <a:gd name="connsiteX1452" fmla="*/ 7988670 w 8079933"/>
              <a:gd name="connsiteY1452" fmla="*/ 4116988 h 4687251"/>
              <a:gd name="connsiteX1453" fmla="*/ 7987151 w 8079933"/>
              <a:gd name="connsiteY1453" fmla="*/ 4118178 h 4687251"/>
              <a:gd name="connsiteX1454" fmla="*/ 7988345 w 8079933"/>
              <a:gd name="connsiteY1454" fmla="*/ 4121102 h 4687251"/>
              <a:gd name="connsiteX1455" fmla="*/ 7987368 w 8079933"/>
              <a:gd name="connsiteY1455" fmla="*/ 4125325 h 4687251"/>
              <a:gd name="connsiteX1456" fmla="*/ 7984873 w 8079933"/>
              <a:gd name="connsiteY1456" fmla="*/ 4126624 h 4687251"/>
              <a:gd name="connsiteX1457" fmla="*/ 7984656 w 8079933"/>
              <a:gd name="connsiteY1457" fmla="*/ 4121643 h 4687251"/>
              <a:gd name="connsiteX1458" fmla="*/ 7984764 w 8079933"/>
              <a:gd name="connsiteY1458" fmla="*/ 4114389 h 4687251"/>
              <a:gd name="connsiteX1459" fmla="*/ 7983679 w 8079933"/>
              <a:gd name="connsiteY1459" fmla="*/ 4102263 h 4687251"/>
              <a:gd name="connsiteX1460" fmla="*/ 7980857 w 8079933"/>
              <a:gd name="connsiteY1460" fmla="*/ 4095767 h 4687251"/>
              <a:gd name="connsiteX1461" fmla="*/ 7979555 w 8079933"/>
              <a:gd name="connsiteY1461" fmla="*/ 4089920 h 4687251"/>
              <a:gd name="connsiteX1462" fmla="*/ 7982920 w 8079933"/>
              <a:gd name="connsiteY1462" fmla="*/ 4085914 h 4687251"/>
              <a:gd name="connsiteX1463" fmla="*/ 7986283 w 8079933"/>
              <a:gd name="connsiteY1463" fmla="*/ 4084831 h 4687251"/>
              <a:gd name="connsiteX1464" fmla="*/ 7981400 w 8079933"/>
              <a:gd name="connsiteY1464" fmla="*/ 4084831 h 4687251"/>
              <a:gd name="connsiteX1465" fmla="*/ 7977818 w 8079933"/>
              <a:gd name="connsiteY1465" fmla="*/ 4087430 h 4687251"/>
              <a:gd name="connsiteX1466" fmla="*/ 7976408 w 8079933"/>
              <a:gd name="connsiteY1466" fmla="*/ 4086023 h 4687251"/>
              <a:gd name="connsiteX1467" fmla="*/ 7973587 w 8079933"/>
              <a:gd name="connsiteY1467" fmla="*/ 4076170 h 4687251"/>
              <a:gd name="connsiteX1468" fmla="*/ 7974455 w 8079933"/>
              <a:gd name="connsiteY1468" fmla="*/ 4074870 h 4687251"/>
              <a:gd name="connsiteX1469" fmla="*/ 7976300 w 8079933"/>
              <a:gd name="connsiteY1469" fmla="*/ 4074870 h 4687251"/>
              <a:gd name="connsiteX1470" fmla="*/ 7978253 w 8079933"/>
              <a:gd name="connsiteY1470" fmla="*/ 4072921 h 4687251"/>
              <a:gd name="connsiteX1471" fmla="*/ 7979013 w 8079933"/>
              <a:gd name="connsiteY1471" fmla="*/ 4064909 h 4687251"/>
              <a:gd name="connsiteX1472" fmla="*/ 7978253 w 8079933"/>
              <a:gd name="connsiteY1472" fmla="*/ 4060579 h 4687251"/>
              <a:gd name="connsiteX1473" fmla="*/ 7973152 w 8079933"/>
              <a:gd name="connsiteY1473" fmla="*/ 4048128 h 4687251"/>
              <a:gd name="connsiteX1474" fmla="*/ 7970114 w 8079933"/>
              <a:gd name="connsiteY1474" fmla="*/ 4044771 h 4687251"/>
              <a:gd name="connsiteX1475" fmla="*/ 7970222 w 8079933"/>
              <a:gd name="connsiteY1475" fmla="*/ 4043364 h 4687251"/>
              <a:gd name="connsiteX1476" fmla="*/ 7976625 w 8079933"/>
              <a:gd name="connsiteY1476" fmla="*/ 4043797 h 4687251"/>
              <a:gd name="connsiteX1477" fmla="*/ 7138659 w 8079933"/>
              <a:gd name="connsiteY1477" fmla="*/ 4024092 h 4687251"/>
              <a:gd name="connsiteX1478" fmla="*/ 7137900 w 8079933"/>
              <a:gd name="connsiteY1478" fmla="*/ 4027881 h 4687251"/>
              <a:gd name="connsiteX1479" fmla="*/ 7138985 w 8079933"/>
              <a:gd name="connsiteY1479" fmla="*/ 4030263 h 4687251"/>
              <a:gd name="connsiteX1480" fmla="*/ 7141915 w 8079933"/>
              <a:gd name="connsiteY1480" fmla="*/ 4030263 h 4687251"/>
              <a:gd name="connsiteX1481" fmla="*/ 7140287 w 8079933"/>
              <a:gd name="connsiteY1481" fmla="*/ 4032212 h 4687251"/>
              <a:gd name="connsiteX1482" fmla="*/ 7144520 w 8079933"/>
              <a:gd name="connsiteY1482" fmla="*/ 4032429 h 4687251"/>
              <a:gd name="connsiteX1483" fmla="*/ 7147124 w 8079933"/>
              <a:gd name="connsiteY1483" fmla="*/ 4031345 h 4687251"/>
              <a:gd name="connsiteX1484" fmla="*/ 7150379 w 8079933"/>
              <a:gd name="connsiteY1484" fmla="*/ 4032970 h 4687251"/>
              <a:gd name="connsiteX1485" fmla="*/ 7147341 w 8079933"/>
              <a:gd name="connsiteY1485" fmla="*/ 4035676 h 4687251"/>
              <a:gd name="connsiteX1486" fmla="*/ 7138659 w 8079933"/>
              <a:gd name="connsiteY1486" fmla="*/ 4034486 h 4687251"/>
              <a:gd name="connsiteX1487" fmla="*/ 7137032 w 8079933"/>
              <a:gd name="connsiteY1487" fmla="*/ 4036759 h 4687251"/>
              <a:gd name="connsiteX1488" fmla="*/ 7134536 w 8079933"/>
              <a:gd name="connsiteY1488" fmla="*/ 4036867 h 4687251"/>
              <a:gd name="connsiteX1489" fmla="*/ 7134102 w 8079933"/>
              <a:gd name="connsiteY1489" fmla="*/ 4038275 h 4687251"/>
              <a:gd name="connsiteX1490" fmla="*/ 7131715 w 8079933"/>
              <a:gd name="connsiteY1490" fmla="*/ 4038383 h 4687251"/>
              <a:gd name="connsiteX1491" fmla="*/ 7129870 w 8079933"/>
              <a:gd name="connsiteY1491" fmla="*/ 4036001 h 4687251"/>
              <a:gd name="connsiteX1492" fmla="*/ 7126940 w 8079933"/>
              <a:gd name="connsiteY1492" fmla="*/ 4037084 h 4687251"/>
              <a:gd name="connsiteX1493" fmla="*/ 7122707 w 8079933"/>
              <a:gd name="connsiteY1493" fmla="*/ 4036435 h 4687251"/>
              <a:gd name="connsiteX1494" fmla="*/ 7120971 w 8079933"/>
              <a:gd name="connsiteY1494" fmla="*/ 4036759 h 4687251"/>
              <a:gd name="connsiteX1495" fmla="*/ 7115546 w 8079933"/>
              <a:gd name="connsiteY1495" fmla="*/ 4036543 h 4687251"/>
              <a:gd name="connsiteX1496" fmla="*/ 7112073 w 8079933"/>
              <a:gd name="connsiteY1496" fmla="*/ 4034161 h 4687251"/>
              <a:gd name="connsiteX1497" fmla="*/ 7112289 w 8079933"/>
              <a:gd name="connsiteY1497" fmla="*/ 4031345 h 4687251"/>
              <a:gd name="connsiteX1498" fmla="*/ 7117932 w 8079933"/>
              <a:gd name="connsiteY1498" fmla="*/ 4028422 h 4687251"/>
              <a:gd name="connsiteX1499" fmla="*/ 7130738 w 8079933"/>
              <a:gd name="connsiteY1499" fmla="*/ 4024958 h 4687251"/>
              <a:gd name="connsiteX1500" fmla="*/ 7134970 w 8079933"/>
              <a:gd name="connsiteY1500" fmla="*/ 4025391 h 4687251"/>
              <a:gd name="connsiteX1501" fmla="*/ 2326377 w 8079933"/>
              <a:gd name="connsiteY1501" fmla="*/ 3999863 h 4687251"/>
              <a:gd name="connsiteX1502" fmla="*/ 2326380 w 8079933"/>
              <a:gd name="connsiteY1502" fmla="*/ 4000057 h 4687251"/>
              <a:gd name="connsiteX1503" fmla="*/ 2326380 w 8079933"/>
              <a:gd name="connsiteY1503" fmla="*/ 4000056 h 4687251"/>
              <a:gd name="connsiteX1504" fmla="*/ 2333301 w 8079933"/>
              <a:gd name="connsiteY1504" fmla="*/ 3955120 h 4687251"/>
              <a:gd name="connsiteX1505" fmla="*/ 2335712 w 8079933"/>
              <a:gd name="connsiteY1505" fmla="*/ 3959130 h 4687251"/>
              <a:gd name="connsiteX1506" fmla="*/ 2335712 w 8079933"/>
              <a:gd name="connsiteY1506" fmla="*/ 3959129 h 4687251"/>
              <a:gd name="connsiteX1507" fmla="*/ 2330325 w 8079933"/>
              <a:gd name="connsiteY1507" fmla="*/ 3950591 h 4687251"/>
              <a:gd name="connsiteX1508" fmla="*/ 2330828 w 8079933"/>
              <a:gd name="connsiteY1508" fmla="*/ 3951010 h 4687251"/>
              <a:gd name="connsiteX1509" fmla="*/ 2330828 w 8079933"/>
              <a:gd name="connsiteY1509" fmla="*/ 3951009 h 4687251"/>
              <a:gd name="connsiteX1510" fmla="*/ 2331980 w 8079933"/>
              <a:gd name="connsiteY1510" fmla="*/ 3870500 h 4687251"/>
              <a:gd name="connsiteX1511" fmla="*/ 2333108 w 8079933"/>
              <a:gd name="connsiteY1511" fmla="*/ 3872622 h 4687251"/>
              <a:gd name="connsiteX1512" fmla="*/ 2333678 w 8079933"/>
              <a:gd name="connsiteY1512" fmla="*/ 3875341 h 4687251"/>
              <a:gd name="connsiteX1513" fmla="*/ 2333108 w 8079933"/>
              <a:gd name="connsiteY1513" fmla="*/ 3872621 h 4687251"/>
              <a:gd name="connsiteX1514" fmla="*/ 2606298 w 8079933"/>
              <a:gd name="connsiteY1514" fmla="*/ 3855430 h 4687251"/>
              <a:gd name="connsiteX1515" fmla="*/ 2607437 w 8079933"/>
              <a:gd name="connsiteY1515" fmla="*/ 3864718 h 4687251"/>
              <a:gd name="connsiteX1516" fmla="*/ 2609063 w 8079933"/>
              <a:gd name="connsiteY1516" fmla="*/ 3870863 h 4687251"/>
              <a:gd name="connsiteX1517" fmla="*/ 2607438 w 8079933"/>
              <a:gd name="connsiteY1517" fmla="*/ 3864718 h 4687251"/>
              <a:gd name="connsiteX1518" fmla="*/ 2608414 w 8079933"/>
              <a:gd name="connsiteY1518" fmla="*/ 3838949 h 4687251"/>
              <a:gd name="connsiteX1519" fmla="*/ 2605484 w 8079933"/>
              <a:gd name="connsiteY1519" fmla="*/ 3844146 h 4687251"/>
              <a:gd name="connsiteX1520" fmla="*/ 2607872 w 8079933"/>
              <a:gd name="connsiteY1520" fmla="*/ 3851508 h 4687251"/>
              <a:gd name="connsiteX1521" fmla="*/ 2606136 w 8079933"/>
              <a:gd name="connsiteY1521" fmla="*/ 3854107 h 4687251"/>
              <a:gd name="connsiteX1522" fmla="*/ 2606136 w 8079933"/>
              <a:gd name="connsiteY1522" fmla="*/ 3854108 h 4687251"/>
              <a:gd name="connsiteX1523" fmla="*/ 2607872 w 8079933"/>
              <a:gd name="connsiteY1523" fmla="*/ 3851509 h 4687251"/>
              <a:gd name="connsiteX1524" fmla="*/ 2605485 w 8079933"/>
              <a:gd name="connsiteY1524" fmla="*/ 3844147 h 4687251"/>
              <a:gd name="connsiteX1525" fmla="*/ 2608414 w 8079933"/>
              <a:gd name="connsiteY1525" fmla="*/ 3838949 h 4687251"/>
              <a:gd name="connsiteX1526" fmla="*/ 2610476 w 8079933"/>
              <a:gd name="connsiteY1526" fmla="*/ 3820435 h 4687251"/>
              <a:gd name="connsiteX1527" fmla="*/ 2609608 w 8079933"/>
              <a:gd name="connsiteY1527" fmla="*/ 3831045 h 4687251"/>
              <a:gd name="connsiteX1528" fmla="*/ 2607872 w 8079933"/>
              <a:gd name="connsiteY1528" fmla="*/ 3834835 h 4687251"/>
              <a:gd name="connsiteX1529" fmla="*/ 2608333 w 8079933"/>
              <a:gd name="connsiteY1529" fmla="*/ 3838332 h 4687251"/>
              <a:gd name="connsiteX1530" fmla="*/ 2607872 w 8079933"/>
              <a:gd name="connsiteY1530" fmla="*/ 3834835 h 4687251"/>
              <a:gd name="connsiteX1531" fmla="*/ 2609608 w 8079933"/>
              <a:gd name="connsiteY1531" fmla="*/ 3831045 h 4687251"/>
              <a:gd name="connsiteX1532" fmla="*/ 2667589 w 8079933"/>
              <a:gd name="connsiteY1532" fmla="*/ 3814913 h 4687251"/>
              <a:gd name="connsiteX1533" fmla="*/ 2668424 w 8079933"/>
              <a:gd name="connsiteY1533" fmla="*/ 3815021 h 4687251"/>
              <a:gd name="connsiteX1534" fmla="*/ 2673959 w 8079933"/>
              <a:gd name="connsiteY1534" fmla="*/ 3824008 h 4687251"/>
              <a:gd name="connsiteX1535" fmla="*/ 2680470 w 8079933"/>
              <a:gd name="connsiteY1535" fmla="*/ 3826931 h 4687251"/>
              <a:gd name="connsiteX1536" fmla="*/ 2686113 w 8079933"/>
              <a:gd name="connsiteY1536" fmla="*/ 3828122 h 4687251"/>
              <a:gd name="connsiteX1537" fmla="*/ 2691647 w 8079933"/>
              <a:gd name="connsiteY1537" fmla="*/ 3833644 h 4687251"/>
              <a:gd name="connsiteX1538" fmla="*/ 2691972 w 8079933"/>
              <a:gd name="connsiteY1538" fmla="*/ 3840141 h 4687251"/>
              <a:gd name="connsiteX1539" fmla="*/ 2696638 w 8079933"/>
              <a:gd name="connsiteY1539" fmla="*/ 3839166 h 4687251"/>
              <a:gd name="connsiteX1540" fmla="*/ 2705971 w 8079933"/>
              <a:gd name="connsiteY1540" fmla="*/ 3843281 h 4687251"/>
              <a:gd name="connsiteX1541" fmla="*/ 2711505 w 8079933"/>
              <a:gd name="connsiteY1541" fmla="*/ 3850210 h 4687251"/>
              <a:gd name="connsiteX1542" fmla="*/ 2717317 w 8079933"/>
              <a:gd name="connsiteY1542" fmla="*/ 3858799 h 4687251"/>
              <a:gd name="connsiteX1543" fmla="*/ 2711505 w 8079933"/>
              <a:gd name="connsiteY1543" fmla="*/ 3850101 h 4687251"/>
              <a:gd name="connsiteX1544" fmla="*/ 2705970 w 8079933"/>
              <a:gd name="connsiteY1544" fmla="*/ 3843172 h 4687251"/>
              <a:gd name="connsiteX1545" fmla="*/ 2696638 w 8079933"/>
              <a:gd name="connsiteY1545" fmla="*/ 3839057 h 4687251"/>
              <a:gd name="connsiteX1546" fmla="*/ 2691972 w 8079933"/>
              <a:gd name="connsiteY1546" fmla="*/ 3840032 h 4687251"/>
              <a:gd name="connsiteX1547" fmla="*/ 2691972 w 8079933"/>
              <a:gd name="connsiteY1547" fmla="*/ 3833536 h 4687251"/>
              <a:gd name="connsiteX1548" fmla="*/ 2686437 w 8079933"/>
              <a:gd name="connsiteY1548" fmla="*/ 3828014 h 4687251"/>
              <a:gd name="connsiteX1549" fmla="*/ 2680794 w 8079933"/>
              <a:gd name="connsiteY1549" fmla="*/ 3826824 h 4687251"/>
              <a:gd name="connsiteX1550" fmla="*/ 2674284 w 8079933"/>
              <a:gd name="connsiteY1550" fmla="*/ 3823900 h 4687251"/>
              <a:gd name="connsiteX1551" fmla="*/ 2668749 w 8079933"/>
              <a:gd name="connsiteY1551" fmla="*/ 3814913 h 4687251"/>
              <a:gd name="connsiteX1552" fmla="*/ 2611019 w 8079933"/>
              <a:gd name="connsiteY1552" fmla="*/ 3812856 h 4687251"/>
              <a:gd name="connsiteX1553" fmla="*/ 2609174 w 8079933"/>
              <a:gd name="connsiteY1553" fmla="*/ 3816429 h 4687251"/>
              <a:gd name="connsiteX1554" fmla="*/ 2609174 w 8079933"/>
              <a:gd name="connsiteY1554" fmla="*/ 3816429 h 4687251"/>
              <a:gd name="connsiteX1555" fmla="*/ 2611019 w 8079933"/>
              <a:gd name="connsiteY1555" fmla="*/ 3812857 h 4687251"/>
              <a:gd name="connsiteX1556" fmla="*/ 2649993 w 8079933"/>
              <a:gd name="connsiteY1556" fmla="*/ 3803906 h 4687251"/>
              <a:gd name="connsiteX1557" fmla="*/ 2652907 w 8079933"/>
              <a:gd name="connsiteY1557" fmla="*/ 3810474 h 4687251"/>
              <a:gd name="connsiteX1558" fmla="*/ 2658550 w 8079933"/>
              <a:gd name="connsiteY1558" fmla="*/ 3819786 h 4687251"/>
              <a:gd name="connsiteX1559" fmla="*/ 2658917 w 8079933"/>
              <a:gd name="connsiteY1559" fmla="*/ 3819786 h 4687251"/>
              <a:gd name="connsiteX1560" fmla="*/ 2653340 w 8079933"/>
              <a:gd name="connsiteY1560" fmla="*/ 3810583 h 4687251"/>
              <a:gd name="connsiteX1561" fmla="*/ 2650410 w 8079933"/>
              <a:gd name="connsiteY1561" fmla="*/ 3804086 h 4687251"/>
              <a:gd name="connsiteX1562" fmla="*/ 2620218 w 8079933"/>
              <a:gd name="connsiteY1562" fmla="*/ 3793368 h 4687251"/>
              <a:gd name="connsiteX1563" fmla="*/ 2622522 w 8079933"/>
              <a:gd name="connsiteY1563" fmla="*/ 3794667 h 4687251"/>
              <a:gd name="connsiteX1564" fmla="*/ 2622741 w 8079933"/>
              <a:gd name="connsiteY1564" fmla="*/ 3794601 h 4687251"/>
              <a:gd name="connsiteX1565" fmla="*/ 2620459 w 8079933"/>
              <a:gd name="connsiteY1565" fmla="*/ 3793368 h 4687251"/>
              <a:gd name="connsiteX1566" fmla="*/ 2635109 w 8079933"/>
              <a:gd name="connsiteY1566" fmla="*/ 3791202 h 4687251"/>
              <a:gd name="connsiteX1567" fmla="*/ 2634972 w 8079933"/>
              <a:gd name="connsiteY1567" fmla="*/ 3791243 h 4687251"/>
              <a:gd name="connsiteX1568" fmla="*/ 2639667 w 8079933"/>
              <a:gd name="connsiteY1568" fmla="*/ 3794233 h 4687251"/>
              <a:gd name="connsiteX1569" fmla="*/ 2645093 w 8079933"/>
              <a:gd name="connsiteY1569" fmla="*/ 3801813 h 4687251"/>
              <a:gd name="connsiteX1570" fmla="*/ 2646888 w 8079933"/>
              <a:gd name="connsiteY1570" fmla="*/ 3802569 h 4687251"/>
              <a:gd name="connsiteX1571" fmla="*/ 2645635 w 8079933"/>
              <a:gd name="connsiteY1571" fmla="*/ 3802029 h 4687251"/>
              <a:gd name="connsiteX1572" fmla="*/ 2640101 w 8079933"/>
              <a:gd name="connsiteY1572" fmla="*/ 3794450 h 4687251"/>
              <a:gd name="connsiteX1573" fmla="*/ 7567951 w 8079933"/>
              <a:gd name="connsiteY1573" fmla="*/ 3781566 h 4687251"/>
              <a:gd name="connsiteX1574" fmla="*/ 7569036 w 8079933"/>
              <a:gd name="connsiteY1574" fmla="*/ 3786980 h 4687251"/>
              <a:gd name="connsiteX1575" fmla="*/ 7566323 w 8079933"/>
              <a:gd name="connsiteY1575" fmla="*/ 3790336 h 4687251"/>
              <a:gd name="connsiteX1576" fmla="*/ 4571046 w 8079933"/>
              <a:gd name="connsiteY1576" fmla="*/ 3779497 h 4687251"/>
              <a:gd name="connsiteX1577" fmla="*/ 4571046 w 8079933"/>
              <a:gd name="connsiteY1577" fmla="*/ 3783081 h 4687251"/>
              <a:gd name="connsiteX1578" fmla="*/ 4574519 w 8079933"/>
              <a:gd name="connsiteY1578" fmla="*/ 3786005 h 4687251"/>
              <a:gd name="connsiteX1579" fmla="*/ 4577015 w 8079933"/>
              <a:gd name="connsiteY1579" fmla="*/ 3789470 h 4687251"/>
              <a:gd name="connsiteX1580" fmla="*/ 4582549 w 8079933"/>
              <a:gd name="connsiteY1580" fmla="*/ 3791743 h 4687251"/>
              <a:gd name="connsiteX1581" fmla="*/ 4582875 w 8079933"/>
              <a:gd name="connsiteY1581" fmla="*/ 3791743 h 4687251"/>
              <a:gd name="connsiteX1582" fmla="*/ 4586890 w 8079933"/>
              <a:gd name="connsiteY1582" fmla="*/ 3791743 h 4687251"/>
              <a:gd name="connsiteX1583" fmla="*/ 4587002 w 8079933"/>
              <a:gd name="connsiteY1583" fmla="*/ 3791537 h 4687251"/>
              <a:gd name="connsiteX1584" fmla="*/ 4582875 w 8079933"/>
              <a:gd name="connsiteY1584" fmla="*/ 3791743 h 4687251"/>
              <a:gd name="connsiteX1585" fmla="*/ 4577340 w 8079933"/>
              <a:gd name="connsiteY1585" fmla="*/ 3789469 h 4687251"/>
              <a:gd name="connsiteX1586" fmla="*/ 4574845 w 8079933"/>
              <a:gd name="connsiteY1586" fmla="*/ 3786005 h 4687251"/>
              <a:gd name="connsiteX1587" fmla="*/ 4571372 w 8079933"/>
              <a:gd name="connsiteY1587" fmla="*/ 3783081 h 4687251"/>
              <a:gd name="connsiteX1588" fmla="*/ 4610475 w 8079933"/>
              <a:gd name="connsiteY1588" fmla="*/ 3775480 h 4687251"/>
              <a:gd name="connsiteX1589" fmla="*/ 4606423 w 8079933"/>
              <a:gd name="connsiteY1589" fmla="*/ 3778210 h 4687251"/>
              <a:gd name="connsiteX1590" fmla="*/ 4603602 w 8079933"/>
              <a:gd name="connsiteY1590" fmla="*/ 3777343 h 4687251"/>
              <a:gd name="connsiteX1591" fmla="*/ 4599478 w 8079933"/>
              <a:gd name="connsiteY1591" fmla="*/ 3778101 h 4687251"/>
              <a:gd name="connsiteX1592" fmla="*/ 4596331 w 8079933"/>
              <a:gd name="connsiteY1592" fmla="*/ 3780158 h 4687251"/>
              <a:gd name="connsiteX1593" fmla="*/ 4592207 w 8079933"/>
              <a:gd name="connsiteY1593" fmla="*/ 3781349 h 4687251"/>
              <a:gd name="connsiteX1594" fmla="*/ 4592117 w 8079933"/>
              <a:gd name="connsiteY1594" fmla="*/ 3781606 h 4687251"/>
              <a:gd name="connsiteX1595" fmla="*/ 4596005 w 8079933"/>
              <a:gd name="connsiteY1595" fmla="*/ 3780483 h 4687251"/>
              <a:gd name="connsiteX1596" fmla="*/ 4599153 w 8079933"/>
              <a:gd name="connsiteY1596" fmla="*/ 3778426 h 4687251"/>
              <a:gd name="connsiteX1597" fmla="*/ 4603276 w 8079933"/>
              <a:gd name="connsiteY1597" fmla="*/ 3777668 h 4687251"/>
              <a:gd name="connsiteX1598" fmla="*/ 4606097 w 8079933"/>
              <a:gd name="connsiteY1598" fmla="*/ 3778534 h 4687251"/>
              <a:gd name="connsiteX1599" fmla="*/ 4610438 w 8079933"/>
              <a:gd name="connsiteY1599" fmla="*/ 3775611 h 4687251"/>
              <a:gd name="connsiteX1600" fmla="*/ 4615831 w 8079933"/>
              <a:gd name="connsiteY1600" fmla="*/ 3762911 h 4687251"/>
              <a:gd name="connsiteX1601" fmla="*/ 4613802 w 8079933"/>
              <a:gd name="connsiteY1601" fmla="*/ 3764676 h 4687251"/>
              <a:gd name="connsiteX1602" fmla="*/ 4609570 w 8079933"/>
              <a:gd name="connsiteY1602" fmla="*/ 3766841 h 4687251"/>
              <a:gd name="connsiteX1603" fmla="*/ 4609616 w 8079933"/>
              <a:gd name="connsiteY1603" fmla="*/ 3767252 h 4687251"/>
              <a:gd name="connsiteX1604" fmla="*/ 4613910 w 8079933"/>
              <a:gd name="connsiteY1604" fmla="*/ 3765109 h 4687251"/>
              <a:gd name="connsiteX1605" fmla="*/ 2647914 w 8079933"/>
              <a:gd name="connsiteY1605" fmla="*/ 3744645 h 4687251"/>
              <a:gd name="connsiteX1606" fmla="*/ 2640318 w 8079933"/>
              <a:gd name="connsiteY1606" fmla="*/ 3753848 h 4687251"/>
              <a:gd name="connsiteX1607" fmla="*/ 2638908 w 8079933"/>
              <a:gd name="connsiteY1607" fmla="*/ 3757529 h 4687251"/>
              <a:gd name="connsiteX1608" fmla="*/ 2639125 w 8079933"/>
              <a:gd name="connsiteY1608" fmla="*/ 3762835 h 4687251"/>
              <a:gd name="connsiteX1609" fmla="*/ 2635652 w 8079933"/>
              <a:gd name="connsiteY1609" fmla="*/ 3763809 h 4687251"/>
              <a:gd name="connsiteX1610" fmla="*/ 2633807 w 8079933"/>
              <a:gd name="connsiteY1610" fmla="*/ 3766732 h 4687251"/>
              <a:gd name="connsiteX1611" fmla="*/ 2628924 w 8079933"/>
              <a:gd name="connsiteY1611" fmla="*/ 3775503 h 4687251"/>
              <a:gd name="connsiteX1612" fmla="*/ 2625451 w 8079933"/>
              <a:gd name="connsiteY1612" fmla="*/ 3779184 h 4687251"/>
              <a:gd name="connsiteX1613" fmla="*/ 2621545 w 8079933"/>
              <a:gd name="connsiteY1613" fmla="*/ 3785680 h 4687251"/>
              <a:gd name="connsiteX1614" fmla="*/ 2621545 w 8079933"/>
              <a:gd name="connsiteY1614" fmla="*/ 3787954 h 4687251"/>
              <a:gd name="connsiteX1615" fmla="*/ 2617095 w 8079933"/>
              <a:gd name="connsiteY1615" fmla="*/ 3790986 h 4687251"/>
              <a:gd name="connsiteX1616" fmla="*/ 2616445 w 8079933"/>
              <a:gd name="connsiteY1616" fmla="*/ 3793150 h 4687251"/>
              <a:gd name="connsiteX1617" fmla="*/ 2616010 w 8079933"/>
              <a:gd name="connsiteY1617" fmla="*/ 3794450 h 4687251"/>
              <a:gd name="connsiteX1618" fmla="*/ 2613732 w 8079933"/>
              <a:gd name="connsiteY1618" fmla="*/ 3799755 h 4687251"/>
              <a:gd name="connsiteX1619" fmla="*/ 2609499 w 8079933"/>
              <a:gd name="connsiteY1619" fmla="*/ 3805277 h 4687251"/>
              <a:gd name="connsiteX1620" fmla="*/ 2609499 w 8079933"/>
              <a:gd name="connsiteY1620" fmla="*/ 3805277 h 4687251"/>
              <a:gd name="connsiteX1621" fmla="*/ 2613732 w 8079933"/>
              <a:gd name="connsiteY1621" fmla="*/ 3799755 h 4687251"/>
              <a:gd name="connsiteX1622" fmla="*/ 2616011 w 8079933"/>
              <a:gd name="connsiteY1622" fmla="*/ 3794450 h 4687251"/>
              <a:gd name="connsiteX1623" fmla="*/ 2616445 w 8079933"/>
              <a:gd name="connsiteY1623" fmla="*/ 3793151 h 4687251"/>
              <a:gd name="connsiteX1624" fmla="*/ 2616939 w 8079933"/>
              <a:gd name="connsiteY1624" fmla="*/ 3793166 h 4687251"/>
              <a:gd name="connsiteX1625" fmla="*/ 2617530 w 8079933"/>
              <a:gd name="connsiteY1625" fmla="*/ 3791202 h 4687251"/>
              <a:gd name="connsiteX1626" fmla="*/ 2621979 w 8079933"/>
              <a:gd name="connsiteY1626" fmla="*/ 3788062 h 4687251"/>
              <a:gd name="connsiteX1627" fmla="*/ 2621979 w 8079933"/>
              <a:gd name="connsiteY1627" fmla="*/ 3785788 h 4687251"/>
              <a:gd name="connsiteX1628" fmla="*/ 2625885 w 8079933"/>
              <a:gd name="connsiteY1628" fmla="*/ 3779292 h 4687251"/>
              <a:gd name="connsiteX1629" fmla="*/ 2629358 w 8079933"/>
              <a:gd name="connsiteY1629" fmla="*/ 3775719 h 4687251"/>
              <a:gd name="connsiteX1630" fmla="*/ 2634241 w 8079933"/>
              <a:gd name="connsiteY1630" fmla="*/ 3766950 h 4687251"/>
              <a:gd name="connsiteX1631" fmla="*/ 2636086 w 8079933"/>
              <a:gd name="connsiteY1631" fmla="*/ 3764026 h 4687251"/>
              <a:gd name="connsiteX1632" fmla="*/ 2639558 w 8079933"/>
              <a:gd name="connsiteY1632" fmla="*/ 3762944 h 4687251"/>
              <a:gd name="connsiteX1633" fmla="*/ 2639558 w 8079933"/>
              <a:gd name="connsiteY1633" fmla="*/ 3757639 h 4687251"/>
              <a:gd name="connsiteX1634" fmla="*/ 2640969 w 8079933"/>
              <a:gd name="connsiteY1634" fmla="*/ 3754066 h 4687251"/>
              <a:gd name="connsiteX1635" fmla="*/ 2648566 w 8079933"/>
              <a:gd name="connsiteY1635" fmla="*/ 3744754 h 4687251"/>
              <a:gd name="connsiteX1636" fmla="*/ 2648651 w 8079933"/>
              <a:gd name="connsiteY1636" fmla="*/ 3744754 h 4687251"/>
              <a:gd name="connsiteX1637" fmla="*/ 4368083 w 8079933"/>
              <a:gd name="connsiteY1637" fmla="*/ 3743671 h 4687251"/>
              <a:gd name="connsiteX1638" fmla="*/ 4368662 w 8079933"/>
              <a:gd name="connsiteY1638" fmla="*/ 3744754 h 4687251"/>
              <a:gd name="connsiteX1639" fmla="*/ 4369765 w 8079933"/>
              <a:gd name="connsiteY1639" fmla="*/ 3744754 h 4687251"/>
              <a:gd name="connsiteX1640" fmla="*/ 4369205 w 8079933"/>
              <a:gd name="connsiteY1640" fmla="*/ 3743671 h 4687251"/>
              <a:gd name="connsiteX1641" fmla="*/ 4608594 w 8079933"/>
              <a:gd name="connsiteY1641" fmla="*/ 3741831 h 4687251"/>
              <a:gd name="connsiteX1642" fmla="*/ 4604951 w 8079933"/>
              <a:gd name="connsiteY1642" fmla="*/ 3742900 h 4687251"/>
              <a:gd name="connsiteX1643" fmla="*/ 4605121 w 8079933"/>
              <a:gd name="connsiteY1643" fmla="*/ 3743021 h 4687251"/>
              <a:gd name="connsiteX1644" fmla="*/ 4608810 w 8079933"/>
              <a:gd name="connsiteY1644" fmla="*/ 3742047 h 4687251"/>
              <a:gd name="connsiteX1645" fmla="*/ 4613832 w 8079933"/>
              <a:gd name="connsiteY1645" fmla="*/ 3745909 h 4687251"/>
              <a:gd name="connsiteX1646" fmla="*/ 4613802 w 8079933"/>
              <a:gd name="connsiteY1646" fmla="*/ 3745837 h 4687251"/>
              <a:gd name="connsiteX1647" fmla="*/ 4601431 w 8079933"/>
              <a:gd name="connsiteY1647" fmla="*/ 3740423 h 4687251"/>
              <a:gd name="connsiteX1648" fmla="*/ 4600098 w 8079933"/>
              <a:gd name="connsiteY1648" fmla="*/ 3741446 h 4687251"/>
              <a:gd name="connsiteX1649" fmla="*/ 4600346 w 8079933"/>
              <a:gd name="connsiteY1649" fmla="*/ 3741614 h 4687251"/>
              <a:gd name="connsiteX1650" fmla="*/ 4601618 w 8079933"/>
              <a:gd name="connsiteY1650" fmla="*/ 3740557 h 4687251"/>
              <a:gd name="connsiteX1651" fmla="*/ 4596272 w 8079933"/>
              <a:gd name="connsiteY1651" fmla="*/ 3739882 h 4687251"/>
              <a:gd name="connsiteX1652" fmla="*/ 4597887 w 8079933"/>
              <a:gd name="connsiteY1652" fmla="*/ 3739986 h 4687251"/>
              <a:gd name="connsiteX1653" fmla="*/ 4597741 w 8079933"/>
              <a:gd name="connsiteY1653" fmla="*/ 3739882 h 4687251"/>
              <a:gd name="connsiteX1654" fmla="*/ 4594378 w 8079933"/>
              <a:gd name="connsiteY1654" fmla="*/ 3739882 h 4687251"/>
              <a:gd name="connsiteX1655" fmla="*/ 4593510 w 8079933"/>
              <a:gd name="connsiteY1655" fmla="*/ 3741722 h 4687251"/>
              <a:gd name="connsiteX1656" fmla="*/ 4590471 w 8079933"/>
              <a:gd name="connsiteY1656" fmla="*/ 3743563 h 4687251"/>
              <a:gd name="connsiteX1657" fmla="*/ 4588409 w 8079933"/>
              <a:gd name="connsiteY1657" fmla="*/ 3745837 h 4687251"/>
              <a:gd name="connsiteX1658" fmla="*/ 4579619 w 8079933"/>
              <a:gd name="connsiteY1658" fmla="*/ 3747353 h 4687251"/>
              <a:gd name="connsiteX1659" fmla="*/ 4574302 w 8079933"/>
              <a:gd name="connsiteY1659" fmla="*/ 3752008 h 4687251"/>
              <a:gd name="connsiteX1660" fmla="*/ 4572023 w 8079933"/>
              <a:gd name="connsiteY1660" fmla="*/ 3758179 h 4687251"/>
              <a:gd name="connsiteX1661" fmla="*/ 4565729 w 8079933"/>
              <a:gd name="connsiteY1661" fmla="*/ 3763052 h 4687251"/>
              <a:gd name="connsiteX1662" fmla="*/ 4562474 w 8079933"/>
              <a:gd name="connsiteY1662" fmla="*/ 3765325 h 4687251"/>
              <a:gd name="connsiteX1663" fmla="*/ 4564427 w 8079933"/>
              <a:gd name="connsiteY1663" fmla="*/ 3769873 h 4687251"/>
              <a:gd name="connsiteX1664" fmla="*/ 4567249 w 8079933"/>
              <a:gd name="connsiteY1664" fmla="*/ 3772579 h 4687251"/>
              <a:gd name="connsiteX1665" fmla="*/ 4567791 w 8079933"/>
              <a:gd name="connsiteY1665" fmla="*/ 3775069 h 4687251"/>
              <a:gd name="connsiteX1666" fmla="*/ 4570236 w 8079933"/>
              <a:gd name="connsiteY1666" fmla="*/ 3777510 h 4687251"/>
              <a:gd name="connsiteX1667" fmla="*/ 4568117 w 8079933"/>
              <a:gd name="connsiteY1667" fmla="*/ 3775070 h 4687251"/>
              <a:gd name="connsiteX1668" fmla="*/ 4567466 w 8079933"/>
              <a:gd name="connsiteY1668" fmla="*/ 3772688 h 4687251"/>
              <a:gd name="connsiteX1669" fmla="*/ 4564753 w 8079933"/>
              <a:gd name="connsiteY1669" fmla="*/ 3769873 h 4687251"/>
              <a:gd name="connsiteX1670" fmla="*/ 4562691 w 8079933"/>
              <a:gd name="connsiteY1670" fmla="*/ 3765325 h 4687251"/>
              <a:gd name="connsiteX1671" fmla="*/ 4565946 w 8079933"/>
              <a:gd name="connsiteY1671" fmla="*/ 3763051 h 4687251"/>
              <a:gd name="connsiteX1672" fmla="*/ 4572240 w 8079933"/>
              <a:gd name="connsiteY1672" fmla="*/ 3758180 h 4687251"/>
              <a:gd name="connsiteX1673" fmla="*/ 4574519 w 8079933"/>
              <a:gd name="connsiteY1673" fmla="*/ 3752008 h 4687251"/>
              <a:gd name="connsiteX1674" fmla="*/ 4579837 w 8079933"/>
              <a:gd name="connsiteY1674" fmla="*/ 3747352 h 4687251"/>
              <a:gd name="connsiteX1675" fmla="*/ 4588626 w 8079933"/>
              <a:gd name="connsiteY1675" fmla="*/ 3745837 h 4687251"/>
              <a:gd name="connsiteX1676" fmla="*/ 4590688 w 8079933"/>
              <a:gd name="connsiteY1676" fmla="*/ 3743455 h 4687251"/>
              <a:gd name="connsiteX1677" fmla="*/ 4593727 w 8079933"/>
              <a:gd name="connsiteY1677" fmla="*/ 3741723 h 4687251"/>
              <a:gd name="connsiteX1678" fmla="*/ 4594547 w 8079933"/>
              <a:gd name="connsiteY1678" fmla="*/ 3739882 h 4687251"/>
              <a:gd name="connsiteX1679" fmla="*/ 2654751 w 8079933"/>
              <a:gd name="connsiteY1679" fmla="*/ 3738137 h 4687251"/>
              <a:gd name="connsiteX1680" fmla="*/ 2654425 w 8079933"/>
              <a:gd name="connsiteY1680" fmla="*/ 3738257 h 4687251"/>
              <a:gd name="connsiteX1681" fmla="*/ 2654107 w 8079933"/>
              <a:gd name="connsiteY1681" fmla="*/ 3743972 h 4687251"/>
              <a:gd name="connsiteX1682" fmla="*/ 2654751 w 8079933"/>
              <a:gd name="connsiteY1682" fmla="*/ 3743779 h 4687251"/>
              <a:gd name="connsiteX1683" fmla="*/ 4335372 w 8079933"/>
              <a:gd name="connsiteY1683" fmla="*/ 3727934 h 4687251"/>
              <a:gd name="connsiteX1684" fmla="*/ 4334155 w 8079933"/>
              <a:gd name="connsiteY1684" fmla="*/ 3731003 h 4687251"/>
              <a:gd name="connsiteX1685" fmla="*/ 4337627 w 8079933"/>
              <a:gd name="connsiteY1685" fmla="*/ 3738041 h 4687251"/>
              <a:gd name="connsiteX1686" fmla="*/ 4338920 w 8079933"/>
              <a:gd name="connsiteY1686" fmla="*/ 3738316 h 4687251"/>
              <a:gd name="connsiteX1687" fmla="*/ 4336433 w 8079933"/>
              <a:gd name="connsiteY1687" fmla="*/ 3733277 h 4687251"/>
              <a:gd name="connsiteX1688" fmla="*/ 4338495 w 8079933"/>
              <a:gd name="connsiteY1688" fmla="*/ 3728079 h 4687251"/>
              <a:gd name="connsiteX1689" fmla="*/ 2672124 w 8079933"/>
              <a:gd name="connsiteY1689" fmla="*/ 3725617 h 4687251"/>
              <a:gd name="connsiteX1690" fmla="*/ 2672005 w 8079933"/>
              <a:gd name="connsiteY1690" fmla="*/ 3725698 h 4687251"/>
              <a:gd name="connsiteX1691" fmla="*/ 2670331 w 8079933"/>
              <a:gd name="connsiteY1691" fmla="*/ 3728449 h 4687251"/>
              <a:gd name="connsiteX1692" fmla="*/ 2670485 w 8079933"/>
              <a:gd name="connsiteY1692" fmla="*/ 3728405 h 4687251"/>
              <a:gd name="connsiteX1693" fmla="*/ 2635869 w 8079933"/>
              <a:gd name="connsiteY1693" fmla="*/ 3724832 h 4687251"/>
              <a:gd name="connsiteX1694" fmla="*/ 2637064 w 8079933"/>
              <a:gd name="connsiteY1694" fmla="*/ 3726132 h 4687251"/>
              <a:gd name="connsiteX1695" fmla="*/ 2635870 w 8079933"/>
              <a:gd name="connsiteY1695" fmla="*/ 3724832 h 4687251"/>
              <a:gd name="connsiteX1696" fmla="*/ 4331115 w 8079933"/>
              <a:gd name="connsiteY1696" fmla="*/ 3722991 h 4687251"/>
              <a:gd name="connsiteX1697" fmla="*/ 4330201 w 8079933"/>
              <a:gd name="connsiteY1697" fmla="*/ 3723329 h 4687251"/>
              <a:gd name="connsiteX1698" fmla="*/ 4331551 w 8079933"/>
              <a:gd name="connsiteY1698" fmla="*/ 3725807 h 4687251"/>
              <a:gd name="connsiteX1699" fmla="*/ 4332683 w 8079933"/>
              <a:gd name="connsiteY1699" fmla="*/ 3725807 h 4687251"/>
              <a:gd name="connsiteX1700" fmla="*/ 2687772 w 8079933"/>
              <a:gd name="connsiteY1700" fmla="*/ 3715179 h 4687251"/>
              <a:gd name="connsiteX1701" fmla="*/ 2687740 w 8079933"/>
              <a:gd name="connsiteY1701" fmla="*/ 3715196 h 4687251"/>
              <a:gd name="connsiteX1702" fmla="*/ 2686983 w 8079933"/>
              <a:gd name="connsiteY1702" fmla="*/ 3716801 h 4687251"/>
              <a:gd name="connsiteX1703" fmla="*/ 2687089 w 8079933"/>
              <a:gd name="connsiteY1703" fmla="*/ 3716712 h 4687251"/>
              <a:gd name="connsiteX1704" fmla="*/ 2351540 w 8079933"/>
              <a:gd name="connsiteY1704" fmla="*/ 3713684 h 4687251"/>
              <a:gd name="connsiteX1705" fmla="*/ 2351555 w 8079933"/>
              <a:gd name="connsiteY1705" fmla="*/ 3714006 h 4687251"/>
              <a:gd name="connsiteX1706" fmla="*/ 2353726 w 8079933"/>
              <a:gd name="connsiteY1706" fmla="*/ 3716387 h 4687251"/>
              <a:gd name="connsiteX1707" fmla="*/ 2353726 w 8079933"/>
              <a:gd name="connsiteY1707" fmla="*/ 3716387 h 4687251"/>
              <a:gd name="connsiteX1708" fmla="*/ 2351555 w 8079933"/>
              <a:gd name="connsiteY1708" fmla="*/ 3714005 h 4687251"/>
              <a:gd name="connsiteX1709" fmla="*/ 2346564 w 8079933"/>
              <a:gd name="connsiteY1709" fmla="*/ 3701445 h 4687251"/>
              <a:gd name="connsiteX1710" fmla="*/ 2346564 w 8079933"/>
              <a:gd name="connsiteY1710" fmla="*/ 3701446 h 4687251"/>
              <a:gd name="connsiteX1711" fmla="*/ 2348816 w 8079933"/>
              <a:gd name="connsiteY1711" fmla="*/ 3703277 h 4687251"/>
              <a:gd name="connsiteX1712" fmla="*/ 6608012 w 8079933"/>
              <a:gd name="connsiteY1712" fmla="*/ 3699821 h 4687251"/>
              <a:gd name="connsiteX1713" fmla="*/ 6610616 w 8079933"/>
              <a:gd name="connsiteY1713" fmla="*/ 3707725 h 4687251"/>
              <a:gd name="connsiteX1714" fmla="*/ 6608663 w 8079933"/>
              <a:gd name="connsiteY1714" fmla="*/ 3714762 h 4687251"/>
              <a:gd name="connsiteX1715" fmla="*/ 6605733 w 8079933"/>
              <a:gd name="connsiteY1715" fmla="*/ 3705343 h 4687251"/>
              <a:gd name="connsiteX1716" fmla="*/ 7574353 w 8079933"/>
              <a:gd name="connsiteY1716" fmla="*/ 3697440 h 4687251"/>
              <a:gd name="connsiteX1717" fmla="*/ 7576632 w 8079933"/>
              <a:gd name="connsiteY1717" fmla="*/ 3697764 h 4687251"/>
              <a:gd name="connsiteX1718" fmla="*/ 7577501 w 8079933"/>
              <a:gd name="connsiteY1718" fmla="*/ 3703178 h 4687251"/>
              <a:gd name="connsiteX1719" fmla="*/ 7576415 w 8079933"/>
              <a:gd name="connsiteY1719" fmla="*/ 3709891 h 4687251"/>
              <a:gd name="connsiteX1720" fmla="*/ 7571098 w 8079933"/>
              <a:gd name="connsiteY1720" fmla="*/ 3717145 h 4687251"/>
              <a:gd name="connsiteX1721" fmla="*/ 7569904 w 8079933"/>
              <a:gd name="connsiteY1721" fmla="*/ 3726780 h 4687251"/>
              <a:gd name="connsiteX1722" fmla="*/ 7571315 w 8079933"/>
              <a:gd name="connsiteY1722" fmla="*/ 3731436 h 4687251"/>
              <a:gd name="connsiteX1723" fmla="*/ 7568493 w 8079933"/>
              <a:gd name="connsiteY1723" fmla="*/ 3730570 h 4687251"/>
              <a:gd name="connsiteX1724" fmla="*/ 7566323 w 8079933"/>
              <a:gd name="connsiteY1724" fmla="*/ 3723533 h 4687251"/>
              <a:gd name="connsiteX1725" fmla="*/ 7567191 w 8079933"/>
              <a:gd name="connsiteY1725" fmla="*/ 3718660 h 4687251"/>
              <a:gd name="connsiteX1726" fmla="*/ 7567625 w 8079933"/>
              <a:gd name="connsiteY1726" fmla="*/ 3714438 h 4687251"/>
              <a:gd name="connsiteX1727" fmla="*/ 7571749 w 8079933"/>
              <a:gd name="connsiteY1727" fmla="*/ 3709566 h 4687251"/>
              <a:gd name="connsiteX1728" fmla="*/ 7574353 w 8079933"/>
              <a:gd name="connsiteY1728" fmla="*/ 3704369 h 4687251"/>
              <a:gd name="connsiteX1729" fmla="*/ 7573051 w 8079933"/>
              <a:gd name="connsiteY1729" fmla="*/ 3701121 h 4687251"/>
              <a:gd name="connsiteX1730" fmla="*/ 2593356 w 8079933"/>
              <a:gd name="connsiteY1730" fmla="*/ 3694633 h 4687251"/>
              <a:gd name="connsiteX1731" fmla="*/ 2594090 w 8079933"/>
              <a:gd name="connsiteY1731" fmla="*/ 3697440 h 4687251"/>
              <a:gd name="connsiteX1732" fmla="*/ 2590726 w 8079933"/>
              <a:gd name="connsiteY1732" fmla="*/ 3706751 h 4687251"/>
              <a:gd name="connsiteX1733" fmla="*/ 2583238 w 8079933"/>
              <a:gd name="connsiteY1733" fmla="*/ 3714330 h 4687251"/>
              <a:gd name="connsiteX1734" fmla="*/ 2581936 w 8079933"/>
              <a:gd name="connsiteY1734" fmla="*/ 3719634 h 4687251"/>
              <a:gd name="connsiteX1735" fmla="*/ 2581937 w 8079933"/>
              <a:gd name="connsiteY1735" fmla="*/ 3719634 h 4687251"/>
              <a:gd name="connsiteX1736" fmla="*/ 2583239 w 8079933"/>
              <a:gd name="connsiteY1736" fmla="*/ 3714330 h 4687251"/>
              <a:gd name="connsiteX1737" fmla="*/ 2590726 w 8079933"/>
              <a:gd name="connsiteY1737" fmla="*/ 3706751 h 4687251"/>
              <a:gd name="connsiteX1738" fmla="*/ 2594090 w 8079933"/>
              <a:gd name="connsiteY1738" fmla="*/ 3697440 h 4687251"/>
              <a:gd name="connsiteX1739" fmla="*/ 4684121 w 8079933"/>
              <a:gd name="connsiteY1739" fmla="*/ 3692134 h 4687251"/>
              <a:gd name="connsiteX1740" fmla="*/ 4684121 w 8079933"/>
              <a:gd name="connsiteY1740" fmla="*/ 3692134 h 4687251"/>
              <a:gd name="connsiteX1741" fmla="*/ 4684121 w 8079933"/>
              <a:gd name="connsiteY1741" fmla="*/ 3692138 h 4687251"/>
              <a:gd name="connsiteX1742" fmla="*/ 4659748 w 8079933"/>
              <a:gd name="connsiteY1742" fmla="*/ 3691422 h 4687251"/>
              <a:gd name="connsiteX1743" fmla="*/ 4662201 w 8079933"/>
              <a:gd name="connsiteY1743" fmla="*/ 3695924 h 4687251"/>
              <a:gd name="connsiteX1744" fmla="*/ 4662387 w 8079933"/>
              <a:gd name="connsiteY1744" fmla="*/ 3696027 h 4687251"/>
              <a:gd name="connsiteX1745" fmla="*/ 4659814 w 8079933"/>
              <a:gd name="connsiteY1745" fmla="*/ 3691484 h 4687251"/>
              <a:gd name="connsiteX1746" fmla="*/ 6611484 w 8079933"/>
              <a:gd name="connsiteY1746" fmla="*/ 3686073 h 4687251"/>
              <a:gd name="connsiteX1747" fmla="*/ 6611484 w 8079933"/>
              <a:gd name="connsiteY1747" fmla="*/ 3692569 h 4687251"/>
              <a:gd name="connsiteX1748" fmla="*/ 6609639 w 8079933"/>
              <a:gd name="connsiteY1748" fmla="*/ 3696900 h 4687251"/>
              <a:gd name="connsiteX1749" fmla="*/ 2698049 w 8079933"/>
              <a:gd name="connsiteY1749" fmla="*/ 3685541 h 4687251"/>
              <a:gd name="connsiteX1750" fmla="*/ 2697832 w 8079933"/>
              <a:gd name="connsiteY1750" fmla="*/ 3690943 h 4687251"/>
              <a:gd name="connsiteX1751" fmla="*/ 2698917 w 8079933"/>
              <a:gd name="connsiteY1751" fmla="*/ 3700254 h 4687251"/>
              <a:gd name="connsiteX1752" fmla="*/ 2699776 w 8079933"/>
              <a:gd name="connsiteY1752" fmla="*/ 3708715 h 4687251"/>
              <a:gd name="connsiteX1753" fmla="*/ 2700003 w 8079933"/>
              <a:gd name="connsiteY1753" fmla="*/ 3708159 h 4687251"/>
              <a:gd name="connsiteX1754" fmla="*/ 2699134 w 8079933"/>
              <a:gd name="connsiteY1754" fmla="*/ 3699605 h 4687251"/>
              <a:gd name="connsiteX1755" fmla="*/ 2698049 w 8079933"/>
              <a:gd name="connsiteY1755" fmla="*/ 3690294 h 4687251"/>
              <a:gd name="connsiteX1756" fmla="*/ 2346566 w 8079933"/>
              <a:gd name="connsiteY1756" fmla="*/ 3680322 h 4687251"/>
              <a:gd name="connsiteX1757" fmla="*/ 2346672 w 8079933"/>
              <a:gd name="connsiteY1757" fmla="*/ 3680983 h 4687251"/>
              <a:gd name="connsiteX1758" fmla="*/ 2351881 w 8079933"/>
              <a:gd name="connsiteY1758" fmla="*/ 3687478 h 4687251"/>
              <a:gd name="connsiteX1759" fmla="*/ 2351881 w 8079933"/>
              <a:gd name="connsiteY1759" fmla="*/ 3687478 h 4687251"/>
              <a:gd name="connsiteX1760" fmla="*/ 2346672 w 8079933"/>
              <a:gd name="connsiteY1760" fmla="*/ 3680983 h 4687251"/>
              <a:gd name="connsiteX1761" fmla="*/ 2676346 w 8079933"/>
              <a:gd name="connsiteY1761" fmla="*/ 3676651 h 4687251"/>
              <a:gd name="connsiteX1762" fmla="*/ 2676346 w 8079933"/>
              <a:gd name="connsiteY1762" fmla="*/ 3676652 h 4687251"/>
              <a:gd name="connsiteX1763" fmla="*/ 2676552 w 8079933"/>
              <a:gd name="connsiteY1763" fmla="*/ 3677243 h 4687251"/>
              <a:gd name="connsiteX1764" fmla="*/ 2604399 w 8079933"/>
              <a:gd name="connsiteY1764" fmla="*/ 3674594 h 4687251"/>
              <a:gd name="connsiteX1765" fmla="*/ 2602880 w 8079933"/>
              <a:gd name="connsiteY1765" fmla="*/ 3679791 h 4687251"/>
              <a:gd name="connsiteX1766" fmla="*/ 2599299 w 8079933"/>
              <a:gd name="connsiteY1766" fmla="*/ 3685422 h 4687251"/>
              <a:gd name="connsiteX1767" fmla="*/ 2595175 w 8079933"/>
              <a:gd name="connsiteY1767" fmla="*/ 3688561 h 4687251"/>
              <a:gd name="connsiteX1768" fmla="*/ 2592788 w 8079933"/>
              <a:gd name="connsiteY1768" fmla="*/ 3692459 h 4687251"/>
              <a:gd name="connsiteX1769" fmla="*/ 2592788 w 8079933"/>
              <a:gd name="connsiteY1769" fmla="*/ 3692459 h 4687251"/>
              <a:gd name="connsiteX1770" fmla="*/ 2595175 w 8079933"/>
              <a:gd name="connsiteY1770" fmla="*/ 3688562 h 4687251"/>
              <a:gd name="connsiteX1771" fmla="*/ 2599299 w 8079933"/>
              <a:gd name="connsiteY1771" fmla="*/ 3685422 h 4687251"/>
              <a:gd name="connsiteX1772" fmla="*/ 2602880 w 8079933"/>
              <a:gd name="connsiteY1772" fmla="*/ 3679792 h 4687251"/>
              <a:gd name="connsiteX1773" fmla="*/ 2604399 w 8079933"/>
              <a:gd name="connsiteY1773" fmla="*/ 3674596 h 4687251"/>
              <a:gd name="connsiteX1774" fmla="*/ 2693668 w 8079933"/>
              <a:gd name="connsiteY1774" fmla="*/ 3672152 h 4687251"/>
              <a:gd name="connsiteX1775" fmla="*/ 2693708 w 8079933"/>
              <a:gd name="connsiteY1775" fmla="*/ 3672753 h 4687251"/>
              <a:gd name="connsiteX1776" fmla="*/ 2698049 w 8079933"/>
              <a:gd name="connsiteY1776" fmla="*/ 3682576 h 4687251"/>
              <a:gd name="connsiteX1777" fmla="*/ 2698049 w 8079933"/>
              <a:gd name="connsiteY1777" fmla="*/ 3682173 h 4687251"/>
              <a:gd name="connsiteX1778" fmla="*/ 2678625 w 8079933"/>
              <a:gd name="connsiteY1778" fmla="*/ 3665429 h 4687251"/>
              <a:gd name="connsiteX1779" fmla="*/ 2678408 w 8079933"/>
              <a:gd name="connsiteY1779" fmla="*/ 3666258 h 4687251"/>
              <a:gd name="connsiteX1780" fmla="*/ 2678191 w 8079933"/>
              <a:gd name="connsiteY1780" fmla="*/ 3669073 h 4687251"/>
              <a:gd name="connsiteX1781" fmla="*/ 2682314 w 8079933"/>
              <a:gd name="connsiteY1781" fmla="*/ 3666365 h 4687251"/>
              <a:gd name="connsiteX1782" fmla="*/ 2693383 w 8079933"/>
              <a:gd name="connsiteY1782" fmla="*/ 3667881 h 4687251"/>
              <a:gd name="connsiteX1783" fmla="*/ 2693600 w 8079933"/>
              <a:gd name="connsiteY1783" fmla="*/ 3671128 h 4687251"/>
              <a:gd name="connsiteX1784" fmla="*/ 2693600 w 8079933"/>
              <a:gd name="connsiteY1784" fmla="*/ 3667124 h 4687251"/>
              <a:gd name="connsiteX1785" fmla="*/ 2682748 w 8079933"/>
              <a:gd name="connsiteY1785" fmla="*/ 3665608 h 4687251"/>
              <a:gd name="connsiteX1786" fmla="*/ 2678625 w 8079933"/>
              <a:gd name="connsiteY1786" fmla="*/ 3668315 h 4687251"/>
              <a:gd name="connsiteX1787" fmla="*/ 4527206 w 8079933"/>
              <a:gd name="connsiteY1787" fmla="*/ 3663768 h 4687251"/>
              <a:gd name="connsiteX1788" fmla="*/ 4526784 w 8079933"/>
              <a:gd name="connsiteY1788" fmla="*/ 3663828 h 4687251"/>
              <a:gd name="connsiteX1789" fmla="*/ 4526989 w 8079933"/>
              <a:gd name="connsiteY1789" fmla="*/ 3664093 h 4687251"/>
              <a:gd name="connsiteX1790" fmla="*/ 4527643 w 8079933"/>
              <a:gd name="connsiteY1790" fmla="*/ 3664359 h 4687251"/>
              <a:gd name="connsiteX1791" fmla="*/ 2679276 w 8079933"/>
              <a:gd name="connsiteY1791" fmla="*/ 3660390 h 4687251"/>
              <a:gd name="connsiteX1792" fmla="*/ 2679059 w 8079933"/>
              <a:gd name="connsiteY1792" fmla="*/ 3660736 h 4687251"/>
              <a:gd name="connsiteX1793" fmla="*/ 2679059 w 8079933"/>
              <a:gd name="connsiteY1793" fmla="*/ 3663732 h 4687251"/>
              <a:gd name="connsiteX1794" fmla="*/ 2679276 w 8079933"/>
              <a:gd name="connsiteY1794" fmla="*/ 3662902 h 4687251"/>
              <a:gd name="connsiteX1795" fmla="*/ 2342007 w 8079933"/>
              <a:gd name="connsiteY1795" fmla="*/ 3659328 h 4687251"/>
              <a:gd name="connsiteX1796" fmla="*/ 2342006 w 8079933"/>
              <a:gd name="connsiteY1796" fmla="*/ 3659329 h 4687251"/>
              <a:gd name="connsiteX1797" fmla="*/ 2346998 w 8079933"/>
              <a:gd name="connsiteY1797" fmla="*/ 3663443 h 4687251"/>
              <a:gd name="connsiteX1798" fmla="*/ 2346998 w 8079933"/>
              <a:gd name="connsiteY1798" fmla="*/ 3663442 h 4687251"/>
              <a:gd name="connsiteX1799" fmla="*/ 7529536 w 8079933"/>
              <a:gd name="connsiteY1799" fmla="*/ 3658571 h 4687251"/>
              <a:gd name="connsiteX1800" fmla="*/ 7531814 w 8079933"/>
              <a:gd name="connsiteY1800" fmla="*/ 3660195 h 4687251"/>
              <a:gd name="connsiteX1801" fmla="*/ 7534745 w 8079933"/>
              <a:gd name="connsiteY1801" fmla="*/ 3660520 h 4687251"/>
              <a:gd name="connsiteX1802" fmla="*/ 7534310 w 8079933"/>
              <a:gd name="connsiteY1802" fmla="*/ 3663551 h 4687251"/>
              <a:gd name="connsiteX1803" fmla="*/ 7536155 w 8079933"/>
              <a:gd name="connsiteY1803" fmla="*/ 3665717 h 4687251"/>
              <a:gd name="connsiteX1804" fmla="*/ 7535179 w 8079933"/>
              <a:gd name="connsiteY1804" fmla="*/ 3669939 h 4687251"/>
              <a:gd name="connsiteX1805" fmla="*/ 7532791 w 8079933"/>
              <a:gd name="connsiteY1805" fmla="*/ 3665717 h 4687251"/>
              <a:gd name="connsiteX1806" fmla="*/ 7528451 w 8079933"/>
              <a:gd name="connsiteY1806" fmla="*/ 3659761 h 4687251"/>
              <a:gd name="connsiteX1807" fmla="*/ 4490785 w 8079933"/>
              <a:gd name="connsiteY1807" fmla="*/ 3656504 h 4687251"/>
              <a:gd name="connsiteX1808" fmla="*/ 4491287 w 8079933"/>
              <a:gd name="connsiteY1808" fmla="*/ 3657163 h 4687251"/>
              <a:gd name="connsiteX1809" fmla="*/ 4491346 w 8079933"/>
              <a:gd name="connsiteY1809" fmla="*/ 3657163 h 4687251"/>
              <a:gd name="connsiteX1810" fmla="*/ 4490852 w 8079933"/>
              <a:gd name="connsiteY1810" fmla="*/ 3656513 h 4687251"/>
              <a:gd name="connsiteX1811" fmla="*/ 4410212 w 8079933"/>
              <a:gd name="connsiteY1811" fmla="*/ 3649570 h 4687251"/>
              <a:gd name="connsiteX1812" fmla="*/ 4412287 w 8079933"/>
              <a:gd name="connsiteY1812" fmla="*/ 3655214 h 4687251"/>
              <a:gd name="connsiteX1813" fmla="*/ 4418472 w 8079933"/>
              <a:gd name="connsiteY1813" fmla="*/ 3668640 h 4687251"/>
              <a:gd name="connsiteX1814" fmla="*/ 4418472 w 8079933"/>
              <a:gd name="connsiteY1814" fmla="*/ 3675136 h 4687251"/>
              <a:gd name="connsiteX1815" fmla="*/ 4415000 w 8079933"/>
              <a:gd name="connsiteY1815" fmla="*/ 3682823 h 4687251"/>
              <a:gd name="connsiteX1816" fmla="*/ 4415000 w 8079933"/>
              <a:gd name="connsiteY1816" fmla="*/ 3687370 h 4687251"/>
              <a:gd name="connsiteX1817" fmla="*/ 4417189 w 8079933"/>
              <a:gd name="connsiteY1817" fmla="*/ 3687074 h 4687251"/>
              <a:gd name="connsiteX1818" fmla="*/ 4417278 w 8079933"/>
              <a:gd name="connsiteY1818" fmla="*/ 3685206 h 4687251"/>
              <a:gd name="connsiteX1819" fmla="*/ 4420750 w 8079933"/>
              <a:gd name="connsiteY1819" fmla="*/ 3677518 h 4687251"/>
              <a:gd name="connsiteX1820" fmla="*/ 4420859 w 8079933"/>
              <a:gd name="connsiteY1820" fmla="*/ 3671022 h 4687251"/>
              <a:gd name="connsiteX1821" fmla="*/ 4414674 w 8079933"/>
              <a:gd name="connsiteY1821" fmla="*/ 3657596 h 4687251"/>
              <a:gd name="connsiteX1822" fmla="*/ 4412286 w 8079933"/>
              <a:gd name="connsiteY1822" fmla="*/ 3651100 h 4687251"/>
              <a:gd name="connsiteX1823" fmla="*/ 2681545 w 8079933"/>
              <a:gd name="connsiteY1823" fmla="*/ 3634320 h 4687251"/>
              <a:gd name="connsiteX1824" fmla="*/ 2681229 w 8079933"/>
              <a:gd name="connsiteY1824" fmla="*/ 3634860 h 4687251"/>
              <a:gd name="connsiteX1825" fmla="*/ 2680578 w 8079933"/>
              <a:gd name="connsiteY1825" fmla="*/ 3657269 h 4687251"/>
              <a:gd name="connsiteX1826" fmla="*/ 2680903 w 8079933"/>
              <a:gd name="connsiteY1826" fmla="*/ 3656405 h 4687251"/>
              <a:gd name="connsiteX1827" fmla="*/ 7521722 w 8079933"/>
              <a:gd name="connsiteY1827" fmla="*/ 3623274 h 4687251"/>
              <a:gd name="connsiteX1828" fmla="*/ 7522265 w 8079933"/>
              <a:gd name="connsiteY1828" fmla="*/ 3625981 h 4687251"/>
              <a:gd name="connsiteX1829" fmla="*/ 7519769 w 8079933"/>
              <a:gd name="connsiteY1829" fmla="*/ 3625331 h 4687251"/>
              <a:gd name="connsiteX1830" fmla="*/ 2444228 w 8079933"/>
              <a:gd name="connsiteY1830" fmla="*/ 3591442 h 4687251"/>
              <a:gd name="connsiteX1831" fmla="*/ 2441515 w 8079933"/>
              <a:gd name="connsiteY1831" fmla="*/ 3595990 h 4687251"/>
              <a:gd name="connsiteX1832" fmla="*/ 2444228 w 8079933"/>
              <a:gd name="connsiteY1832" fmla="*/ 3591442 h 4687251"/>
              <a:gd name="connsiteX1833" fmla="*/ 2429677 w 8079933"/>
              <a:gd name="connsiteY1833" fmla="*/ 3583645 h 4687251"/>
              <a:gd name="connsiteX1834" fmla="*/ 2433594 w 8079933"/>
              <a:gd name="connsiteY1834" fmla="*/ 3584297 h 4687251"/>
              <a:gd name="connsiteX1835" fmla="*/ 2434571 w 8079933"/>
              <a:gd name="connsiteY1835" fmla="*/ 3590468 h 4687251"/>
              <a:gd name="connsiteX1836" fmla="*/ 2433594 w 8079933"/>
              <a:gd name="connsiteY1836" fmla="*/ 3584296 h 4687251"/>
              <a:gd name="connsiteX1837" fmla="*/ 2448026 w 8079933"/>
              <a:gd name="connsiteY1837" fmla="*/ 3581482 h 4687251"/>
              <a:gd name="connsiteX1838" fmla="*/ 2444228 w 8079933"/>
              <a:gd name="connsiteY1838" fmla="*/ 3587003 h 4687251"/>
              <a:gd name="connsiteX1839" fmla="*/ 2444228 w 8079933"/>
              <a:gd name="connsiteY1839" fmla="*/ 3587003 h 4687251"/>
              <a:gd name="connsiteX1840" fmla="*/ 2398325 w 8079933"/>
              <a:gd name="connsiteY1840" fmla="*/ 3580399 h 4687251"/>
              <a:gd name="connsiteX1841" fmla="*/ 2392140 w 8079933"/>
              <a:gd name="connsiteY1841" fmla="*/ 3582456 h 4687251"/>
              <a:gd name="connsiteX1842" fmla="*/ 2382808 w 8079933"/>
              <a:gd name="connsiteY1842" fmla="*/ 3592092 h 4687251"/>
              <a:gd name="connsiteX1843" fmla="*/ 2378684 w 8079933"/>
              <a:gd name="connsiteY1843" fmla="*/ 3600753 h 4687251"/>
              <a:gd name="connsiteX1844" fmla="*/ 2375646 w 8079933"/>
              <a:gd name="connsiteY1844" fmla="*/ 3604543 h 4687251"/>
              <a:gd name="connsiteX1845" fmla="*/ 2371739 w 8079933"/>
              <a:gd name="connsiteY1845" fmla="*/ 3605192 h 4687251"/>
              <a:gd name="connsiteX1846" fmla="*/ 2370111 w 8079933"/>
              <a:gd name="connsiteY1846" fmla="*/ 3608332 h 4687251"/>
              <a:gd name="connsiteX1847" fmla="*/ 2363492 w 8079933"/>
              <a:gd name="connsiteY1847" fmla="*/ 3608332 h 4687251"/>
              <a:gd name="connsiteX1848" fmla="*/ 2363493 w 8079933"/>
              <a:gd name="connsiteY1848" fmla="*/ 3608333 h 4687251"/>
              <a:gd name="connsiteX1849" fmla="*/ 2370112 w 8079933"/>
              <a:gd name="connsiteY1849" fmla="*/ 3608333 h 4687251"/>
              <a:gd name="connsiteX1850" fmla="*/ 2371740 w 8079933"/>
              <a:gd name="connsiteY1850" fmla="*/ 3605194 h 4687251"/>
              <a:gd name="connsiteX1851" fmla="*/ 2375646 w 8079933"/>
              <a:gd name="connsiteY1851" fmla="*/ 3604544 h 4687251"/>
              <a:gd name="connsiteX1852" fmla="*/ 2376884 w 8079933"/>
              <a:gd name="connsiteY1852" fmla="*/ 3607099 h 4687251"/>
              <a:gd name="connsiteX1853" fmla="*/ 2375646 w 8079933"/>
              <a:gd name="connsiteY1853" fmla="*/ 3604543 h 4687251"/>
              <a:gd name="connsiteX1854" fmla="*/ 2378684 w 8079933"/>
              <a:gd name="connsiteY1854" fmla="*/ 3600754 h 4687251"/>
              <a:gd name="connsiteX1855" fmla="*/ 2382808 w 8079933"/>
              <a:gd name="connsiteY1855" fmla="*/ 3592092 h 4687251"/>
              <a:gd name="connsiteX1856" fmla="*/ 2392141 w 8079933"/>
              <a:gd name="connsiteY1856" fmla="*/ 3582456 h 4687251"/>
              <a:gd name="connsiteX1857" fmla="*/ 2398325 w 8079933"/>
              <a:gd name="connsiteY1857" fmla="*/ 3580399 h 4687251"/>
              <a:gd name="connsiteX1858" fmla="*/ 2404186 w 8079933"/>
              <a:gd name="connsiteY1858" fmla="*/ 3585596 h 4687251"/>
              <a:gd name="connsiteX1859" fmla="*/ 2411131 w 8079933"/>
              <a:gd name="connsiteY1859" fmla="*/ 3584946 h 4687251"/>
              <a:gd name="connsiteX1860" fmla="*/ 2415254 w 8079933"/>
              <a:gd name="connsiteY1860" fmla="*/ 3583864 h 4687251"/>
              <a:gd name="connsiteX1861" fmla="*/ 2420463 w 8079933"/>
              <a:gd name="connsiteY1861" fmla="*/ 3585271 h 4687251"/>
              <a:gd name="connsiteX1862" fmla="*/ 2429036 w 8079933"/>
              <a:gd name="connsiteY1862" fmla="*/ 3583539 h 4687251"/>
              <a:gd name="connsiteX1863" fmla="*/ 2429036 w 8079933"/>
              <a:gd name="connsiteY1863" fmla="*/ 3583539 h 4687251"/>
              <a:gd name="connsiteX1864" fmla="*/ 2420463 w 8079933"/>
              <a:gd name="connsiteY1864" fmla="*/ 3585271 h 4687251"/>
              <a:gd name="connsiteX1865" fmla="*/ 2415254 w 8079933"/>
              <a:gd name="connsiteY1865" fmla="*/ 3583863 h 4687251"/>
              <a:gd name="connsiteX1866" fmla="*/ 2411131 w 8079933"/>
              <a:gd name="connsiteY1866" fmla="*/ 3584946 h 4687251"/>
              <a:gd name="connsiteX1867" fmla="*/ 2404185 w 8079933"/>
              <a:gd name="connsiteY1867" fmla="*/ 3585596 h 4687251"/>
              <a:gd name="connsiteX1868" fmla="*/ 4664045 w 8079933"/>
              <a:gd name="connsiteY1868" fmla="*/ 3579209 h 4687251"/>
              <a:gd name="connsiteX1869" fmla="*/ 4663668 w 8079933"/>
              <a:gd name="connsiteY1869" fmla="*/ 3579265 h 4687251"/>
              <a:gd name="connsiteX1870" fmla="*/ 4670882 w 8079933"/>
              <a:gd name="connsiteY1870" fmla="*/ 3580724 h 4687251"/>
              <a:gd name="connsiteX1871" fmla="*/ 4675440 w 8079933"/>
              <a:gd name="connsiteY1871" fmla="*/ 3584513 h 4687251"/>
              <a:gd name="connsiteX1872" fmla="*/ 4676850 w 8079933"/>
              <a:gd name="connsiteY1872" fmla="*/ 3591010 h 4687251"/>
              <a:gd name="connsiteX1873" fmla="*/ 4678261 w 8079933"/>
              <a:gd name="connsiteY1873" fmla="*/ 3597181 h 4687251"/>
              <a:gd name="connsiteX1874" fmla="*/ 4681082 w 8079933"/>
              <a:gd name="connsiteY1874" fmla="*/ 3603027 h 4687251"/>
              <a:gd name="connsiteX1875" fmla="*/ 4681082 w 8079933"/>
              <a:gd name="connsiteY1875" fmla="*/ 3613855 h 4687251"/>
              <a:gd name="connsiteX1876" fmla="*/ 4681082 w 8079933"/>
              <a:gd name="connsiteY1876" fmla="*/ 3615263 h 4687251"/>
              <a:gd name="connsiteX1877" fmla="*/ 4681082 w 8079933"/>
              <a:gd name="connsiteY1877" fmla="*/ 3619809 h 4687251"/>
              <a:gd name="connsiteX1878" fmla="*/ 4682602 w 8079933"/>
              <a:gd name="connsiteY1878" fmla="*/ 3624357 h 4687251"/>
              <a:gd name="connsiteX1879" fmla="*/ 4684012 w 8079933"/>
              <a:gd name="connsiteY1879" fmla="*/ 3629771 h 4687251"/>
              <a:gd name="connsiteX1880" fmla="*/ 4684012 w 8079933"/>
              <a:gd name="connsiteY1880" fmla="*/ 3648393 h 4687251"/>
              <a:gd name="connsiteX1881" fmla="*/ 4682275 w 8079933"/>
              <a:gd name="connsiteY1881" fmla="*/ 3655755 h 4687251"/>
              <a:gd name="connsiteX1882" fmla="*/ 4682275 w 8079933"/>
              <a:gd name="connsiteY1882" fmla="*/ 3662685 h 4687251"/>
              <a:gd name="connsiteX1883" fmla="*/ 4682275 w 8079933"/>
              <a:gd name="connsiteY1883" fmla="*/ 3670805 h 4687251"/>
              <a:gd name="connsiteX1884" fmla="*/ 4678369 w 8079933"/>
              <a:gd name="connsiteY1884" fmla="*/ 3669073 h 4687251"/>
              <a:gd name="connsiteX1885" fmla="*/ 4674571 w 8079933"/>
              <a:gd name="connsiteY1885" fmla="*/ 3665824 h 4687251"/>
              <a:gd name="connsiteX1886" fmla="*/ 4668495 w 8079933"/>
              <a:gd name="connsiteY1886" fmla="*/ 3662360 h 4687251"/>
              <a:gd name="connsiteX1887" fmla="*/ 4664370 w 8079933"/>
              <a:gd name="connsiteY1887" fmla="*/ 3664417 h 4687251"/>
              <a:gd name="connsiteX1888" fmla="*/ 4663394 w 8079933"/>
              <a:gd name="connsiteY1888" fmla="*/ 3669073 h 4687251"/>
              <a:gd name="connsiteX1889" fmla="*/ 4657534 w 8079933"/>
              <a:gd name="connsiteY1889" fmla="*/ 3679900 h 4687251"/>
              <a:gd name="connsiteX1890" fmla="*/ 4655472 w 8079933"/>
              <a:gd name="connsiteY1890" fmla="*/ 3685638 h 4687251"/>
              <a:gd name="connsiteX1891" fmla="*/ 4656883 w 8079933"/>
              <a:gd name="connsiteY1891" fmla="*/ 3688562 h 4687251"/>
              <a:gd name="connsiteX1892" fmla="*/ 4657193 w 8079933"/>
              <a:gd name="connsiteY1892" fmla="*/ 3688845 h 4687251"/>
              <a:gd name="connsiteX1893" fmla="*/ 4655907 w 8079933"/>
              <a:gd name="connsiteY1893" fmla="*/ 3686178 h 4687251"/>
              <a:gd name="connsiteX1894" fmla="*/ 4657969 w 8079933"/>
              <a:gd name="connsiteY1894" fmla="*/ 3680441 h 4687251"/>
              <a:gd name="connsiteX1895" fmla="*/ 4663828 w 8079933"/>
              <a:gd name="connsiteY1895" fmla="*/ 3669613 h 4687251"/>
              <a:gd name="connsiteX1896" fmla="*/ 4664805 w 8079933"/>
              <a:gd name="connsiteY1896" fmla="*/ 3664958 h 4687251"/>
              <a:gd name="connsiteX1897" fmla="*/ 4668929 w 8079933"/>
              <a:gd name="connsiteY1897" fmla="*/ 3662901 h 4687251"/>
              <a:gd name="connsiteX1898" fmla="*/ 4675006 w 8079933"/>
              <a:gd name="connsiteY1898" fmla="*/ 3666366 h 4687251"/>
              <a:gd name="connsiteX1899" fmla="*/ 4678804 w 8079933"/>
              <a:gd name="connsiteY1899" fmla="*/ 3669613 h 4687251"/>
              <a:gd name="connsiteX1900" fmla="*/ 4682710 w 8079933"/>
              <a:gd name="connsiteY1900" fmla="*/ 3671346 h 4687251"/>
              <a:gd name="connsiteX1901" fmla="*/ 4682927 w 8079933"/>
              <a:gd name="connsiteY1901" fmla="*/ 3663335 h 4687251"/>
              <a:gd name="connsiteX1902" fmla="*/ 4682926 w 8079933"/>
              <a:gd name="connsiteY1902" fmla="*/ 3663387 h 4687251"/>
              <a:gd name="connsiteX1903" fmla="*/ 4682927 w 8079933"/>
              <a:gd name="connsiteY1903" fmla="*/ 3663335 h 4687251"/>
              <a:gd name="connsiteX1904" fmla="*/ 4683252 w 8079933"/>
              <a:gd name="connsiteY1904" fmla="*/ 3656406 h 4687251"/>
              <a:gd name="connsiteX1905" fmla="*/ 4684988 w 8079933"/>
              <a:gd name="connsiteY1905" fmla="*/ 3649043 h 4687251"/>
              <a:gd name="connsiteX1906" fmla="*/ 4685205 w 8079933"/>
              <a:gd name="connsiteY1906" fmla="*/ 3630421 h 4687251"/>
              <a:gd name="connsiteX1907" fmla="*/ 4683795 w 8079933"/>
              <a:gd name="connsiteY1907" fmla="*/ 3625008 h 4687251"/>
              <a:gd name="connsiteX1908" fmla="*/ 4682167 w 8079933"/>
              <a:gd name="connsiteY1908" fmla="*/ 3620460 h 4687251"/>
              <a:gd name="connsiteX1909" fmla="*/ 4682058 w 8079933"/>
              <a:gd name="connsiteY1909" fmla="*/ 3615804 h 4687251"/>
              <a:gd name="connsiteX1910" fmla="*/ 4682492 w 8079933"/>
              <a:gd name="connsiteY1910" fmla="*/ 3614505 h 4687251"/>
              <a:gd name="connsiteX1911" fmla="*/ 4682275 w 8079933"/>
              <a:gd name="connsiteY1911" fmla="*/ 3603353 h 4687251"/>
              <a:gd name="connsiteX1912" fmla="*/ 4679454 w 8079933"/>
              <a:gd name="connsiteY1912" fmla="*/ 3597506 h 4687251"/>
              <a:gd name="connsiteX1913" fmla="*/ 4678043 w 8079933"/>
              <a:gd name="connsiteY1913" fmla="*/ 3591227 h 4687251"/>
              <a:gd name="connsiteX1914" fmla="*/ 4676632 w 8079933"/>
              <a:gd name="connsiteY1914" fmla="*/ 3584731 h 4687251"/>
              <a:gd name="connsiteX1915" fmla="*/ 4676624 w 8079933"/>
              <a:gd name="connsiteY1915" fmla="*/ 3584723 h 4687251"/>
              <a:gd name="connsiteX1916" fmla="*/ 4672109 w 8079933"/>
              <a:gd name="connsiteY1916" fmla="*/ 3580968 h 4687251"/>
              <a:gd name="connsiteX1917" fmla="*/ 4672075 w 8079933"/>
              <a:gd name="connsiteY1917" fmla="*/ 3580941 h 4687251"/>
              <a:gd name="connsiteX1918" fmla="*/ 4647334 w 8079933"/>
              <a:gd name="connsiteY1918" fmla="*/ 3577585 h 4687251"/>
              <a:gd name="connsiteX1919" fmla="*/ 4646330 w 8079933"/>
              <a:gd name="connsiteY1919" fmla="*/ 3577673 h 4687251"/>
              <a:gd name="connsiteX1920" fmla="*/ 4651240 w 8079933"/>
              <a:gd name="connsiteY1920" fmla="*/ 3579966 h 4687251"/>
              <a:gd name="connsiteX1921" fmla="*/ 4652868 w 8079933"/>
              <a:gd name="connsiteY1921" fmla="*/ 3581482 h 4687251"/>
              <a:gd name="connsiteX1922" fmla="*/ 4653618 w 8079933"/>
              <a:gd name="connsiteY1922" fmla="*/ 3581178 h 4687251"/>
              <a:gd name="connsiteX1923" fmla="*/ 4652434 w 8079933"/>
              <a:gd name="connsiteY1923" fmla="*/ 3580075 h 4687251"/>
              <a:gd name="connsiteX1924" fmla="*/ 4640887 w 8079933"/>
              <a:gd name="connsiteY1924" fmla="*/ 3574463 h 4687251"/>
              <a:gd name="connsiteX1925" fmla="*/ 4642451 w 8079933"/>
              <a:gd name="connsiteY1925" fmla="*/ 3577584 h 4687251"/>
              <a:gd name="connsiteX1926" fmla="*/ 4643481 w 8079933"/>
              <a:gd name="connsiteY1926" fmla="*/ 3577584 h 4687251"/>
              <a:gd name="connsiteX1927" fmla="*/ 4642016 w 8079933"/>
              <a:gd name="connsiteY1927" fmla="*/ 3574662 h 4687251"/>
              <a:gd name="connsiteX1928" fmla="*/ 4625994 w 8079933"/>
              <a:gd name="connsiteY1928" fmla="*/ 3571996 h 4687251"/>
              <a:gd name="connsiteX1929" fmla="*/ 4626389 w 8079933"/>
              <a:gd name="connsiteY1929" fmla="*/ 3572496 h 4687251"/>
              <a:gd name="connsiteX1930" fmla="*/ 4626709 w 8079933"/>
              <a:gd name="connsiteY1930" fmla="*/ 3572865 h 4687251"/>
              <a:gd name="connsiteX1931" fmla="*/ 4626390 w 8079933"/>
              <a:gd name="connsiteY1931" fmla="*/ 3572496 h 4687251"/>
              <a:gd name="connsiteX1932" fmla="*/ 4429757 w 8079933"/>
              <a:gd name="connsiteY1932" fmla="*/ 3569138 h 4687251"/>
              <a:gd name="connsiteX1933" fmla="*/ 4408488 w 8079933"/>
              <a:gd name="connsiteY1933" fmla="*/ 3569464 h 4687251"/>
              <a:gd name="connsiteX1934" fmla="*/ 4406441 w 8079933"/>
              <a:gd name="connsiteY1934" fmla="*/ 3605854 h 4687251"/>
              <a:gd name="connsiteX1935" fmla="*/ 4408488 w 8079933"/>
              <a:gd name="connsiteY1935" fmla="*/ 3569464 h 4687251"/>
              <a:gd name="connsiteX1936" fmla="*/ 4429757 w 8079933"/>
              <a:gd name="connsiteY1936" fmla="*/ 3569139 h 4687251"/>
              <a:gd name="connsiteX1937" fmla="*/ 4624762 w 8079933"/>
              <a:gd name="connsiteY1937" fmla="*/ 3567840 h 4687251"/>
              <a:gd name="connsiteX1938" fmla="*/ 4624762 w 8079933"/>
              <a:gd name="connsiteY1938" fmla="*/ 3570438 h 4687251"/>
              <a:gd name="connsiteX1939" fmla="*/ 4624762 w 8079933"/>
              <a:gd name="connsiteY1939" fmla="*/ 3570439 h 4687251"/>
              <a:gd name="connsiteX1940" fmla="*/ 4624762 w 8079933"/>
              <a:gd name="connsiteY1940" fmla="*/ 3567841 h 4687251"/>
              <a:gd name="connsiteX1941" fmla="*/ 6683432 w 8079933"/>
              <a:gd name="connsiteY1941" fmla="*/ 3563833 h 4687251"/>
              <a:gd name="connsiteX1942" fmla="*/ 6682997 w 8079933"/>
              <a:gd name="connsiteY1942" fmla="*/ 3569138 h 4687251"/>
              <a:gd name="connsiteX1943" fmla="*/ 6680393 w 8079933"/>
              <a:gd name="connsiteY1943" fmla="*/ 3572387 h 4687251"/>
              <a:gd name="connsiteX1944" fmla="*/ 6678982 w 8079933"/>
              <a:gd name="connsiteY1944" fmla="*/ 3570005 h 4687251"/>
              <a:gd name="connsiteX1945" fmla="*/ 2486649 w 8079933"/>
              <a:gd name="connsiteY1945" fmla="*/ 3553611 h 4687251"/>
              <a:gd name="connsiteX1946" fmla="*/ 2487309 w 8079933"/>
              <a:gd name="connsiteY1946" fmla="*/ 3558636 h 4687251"/>
              <a:gd name="connsiteX1947" fmla="*/ 2486767 w 8079933"/>
              <a:gd name="connsiteY1947" fmla="*/ 3564916 h 4687251"/>
              <a:gd name="connsiteX1948" fmla="*/ 2480365 w 8079933"/>
              <a:gd name="connsiteY1948" fmla="*/ 3578017 h 4687251"/>
              <a:gd name="connsiteX1949" fmla="*/ 2478520 w 8079933"/>
              <a:gd name="connsiteY1949" fmla="*/ 3586029 h 4687251"/>
              <a:gd name="connsiteX1950" fmla="*/ 2478520 w 8079933"/>
              <a:gd name="connsiteY1950" fmla="*/ 3586029 h 4687251"/>
              <a:gd name="connsiteX1951" fmla="*/ 2480365 w 8079933"/>
              <a:gd name="connsiteY1951" fmla="*/ 3578018 h 4687251"/>
              <a:gd name="connsiteX1952" fmla="*/ 2486767 w 8079933"/>
              <a:gd name="connsiteY1952" fmla="*/ 3564918 h 4687251"/>
              <a:gd name="connsiteX1953" fmla="*/ 2487310 w 8079933"/>
              <a:gd name="connsiteY1953" fmla="*/ 3558637 h 4687251"/>
              <a:gd name="connsiteX1954" fmla="*/ 2331084 w 8079933"/>
              <a:gd name="connsiteY1954" fmla="*/ 3545819 h 4687251"/>
              <a:gd name="connsiteX1955" fmla="*/ 2334193 w 8079933"/>
              <a:gd name="connsiteY1955" fmla="*/ 3550084 h 4687251"/>
              <a:gd name="connsiteX1956" fmla="*/ 2345912 w 8079933"/>
              <a:gd name="connsiteY1956" fmla="*/ 3561128 h 4687251"/>
              <a:gd name="connsiteX1957" fmla="*/ 2352743 w 8079933"/>
              <a:gd name="connsiteY1957" fmla="*/ 3579470 h 4687251"/>
              <a:gd name="connsiteX1958" fmla="*/ 2345912 w 8079933"/>
              <a:gd name="connsiteY1958" fmla="*/ 3561127 h 4687251"/>
              <a:gd name="connsiteX1959" fmla="*/ 2334193 w 8079933"/>
              <a:gd name="connsiteY1959" fmla="*/ 3550083 h 4687251"/>
              <a:gd name="connsiteX1960" fmla="*/ 5253400 w 8079933"/>
              <a:gd name="connsiteY1960" fmla="*/ 3544238 h 4687251"/>
              <a:gd name="connsiteX1961" fmla="*/ 5258284 w 8079933"/>
              <a:gd name="connsiteY1961" fmla="*/ 3546403 h 4687251"/>
              <a:gd name="connsiteX1962" fmla="*/ 5261322 w 8079933"/>
              <a:gd name="connsiteY1962" fmla="*/ 3553224 h 4687251"/>
              <a:gd name="connsiteX1963" fmla="*/ 5263926 w 8079933"/>
              <a:gd name="connsiteY1963" fmla="*/ 3554523 h 4687251"/>
              <a:gd name="connsiteX1964" fmla="*/ 5257524 w 8079933"/>
              <a:gd name="connsiteY1964" fmla="*/ 3560045 h 4687251"/>
              <a:gd name="connsiteX1965" fmla="*/ 5254703 w 8079933"/>
              <a:gd name="connsiteY1965" fmla="*/ 3558746 h 4687251"/>
              <a:gd name="connsiteX1966" fmla="*/ 5250036 w 8079933"/>
              <a:gd name="connsiteY1966" fmla="*/ 3552466 h 4687251"/>
              <a:gd name="connsiteX1967" fmla="*/ 5250579 w 8079933"/>
              <a:gd name="connsiteY1967" fmla="*/ 3545428 h 4687251"/>
              <a:gd name="connsiteX1968" fmla="*/ 4704373 w 8079933"/>
              <a:gd name="connsiteY1968" fmla="*/ 3539317 h 4687251"/>
              <a:gd name="connsiteX1969" fmla="*/ 4704087 w 8079933"/>
              <a:gd name="connsiteY1969" fmla="*/ 3539798 h 4687251"/>
              <a:gd name="connsiteX1970" fmla="*/ 4704086 w 8079933"/>
              <a:gd name="connsiteY1970" fmla="*/ 3539901 h 4687251"/>
              <a:gd name="connsiteX1971" fmla="*/ 4704087 w 8079933"/>
              <a:gd name="connsiteY1971" fmla="*/ 3539799 h 4687251"/>
              <a:gd name="connsiteX1972" fmla="*/ 4588734 w 8079933"/>
              <a:gd name="connsiteY1972" fmla="*/ 3536875 h 4687251"/>
              <a:gd name="connsiteX1973" fmla="*/ 4587541 w 8079933"/>
              <a:gd name="connsiteY1973" fmla="*/ 3540014 h 4687251"/>
              <a:gd name="connsiteX1974" fmla="*/ 4588517 w 8079933"/>
              <a:gd name="connsiteY1974" fmla="*/ 3545536 h 4687251"/>
              <a:gd name="connsiteX1975" fmla="*/ 4588842 w 8079933"/>
              <a:gd name="connsiteY1975" fmla="*/ 3549326 h 4687251"/>
              <a:gd name="connsiteX1976" fmla="*/ 4590362 w 8079933"/>
              <a:gd name="connsiteY1976" fmla="*/ 3553224 h 4687251"/>
              <a:gd name="connsiteX1977" fmla="*/ 4592283 w 8079933"/>
              <a:gd name="connsiteY1977" fmla="*/ 3554684 h 4687251"/>
              <a:gd name="connsiteX1978" fmla="*/ 4590362 w 8079933"/>
              <a:gd name="connsiteY1978" fmla="*/ 3553224 h 4687251"/>
              <a:gd name="connsiteX1979" fmla="*/ 4588843 w 8079933"/>
              <a:gd name="connsiteY1979" fmla="*/ 3549327 h 4687251"/>
              <a:gd name="connsiteX1980" fmla="*/ 4588518 w 8079933"/>
              <a:gd name="connsiteY1980" fmla="*/ 3545537 h 4687251"/>
              <a:gd name="connsiteX1981" fmla="*/ 4587541 w 8079933"/>
              <a:gd name="connsiteY1981" fmla="*/ 3540015 h 4687251"/>
              <a:gd name="connsiteX1982" fmla="*/ 4588735 w 8079933"/>
              <a:gd name="connsiteY1982" fmla="*/ 3536875 h 4687251"/>
              <a:gd name="connsiteX1983" fmla="*/ 4583461 w 8079933"/>
              <a:gd name="connsiteY1983" fmla="*/ 3533587 h 4687251"/>
              <a:gd name="connsiteX1984" fmla="*/ 4584936 w 8079933"/>
              <a:gd name="connsiteY1984" fmla="*/ 3534168 h 4687251"/>
              <a:gd name="connsiteX1985" fmla="*/ 4587870 w 8079933"/>
              <a:gd name="connsiteY1985" fmla="*/ 3536259 h 4687251"/>
              <a:gd name="connsiteX1986" fmla="*/ 4584937 w 8079933"/>
              <a:gd name="connsiteY1986" fmla="*/ 3534168 h 4687251"/>
              <a:gd name="connsiteX1987" fmla="*/ 2494689 w 8079933"/>
              <a:gd name="connsiteY1987" fmla="*/ 3528212 h 4687251"/>
              <a:gd name="connsiteX1988" fmla="*/ 2491542 w 8079933"/>
              <a:gd name="connsiteY1988" fmla="*/ 3537091 h 4687251"/>
              <a:gd name="connsiteX1989" fmla="*/ 2484054 w 8079933"/>
              <a:gd name="connsiteY1989" fmla="*/ 3548242 h 4687251"/>
              <a:gd name="connsiteX1990" fmla="*/ 2484054 w 8079933"/>
              <a:gd name="connsiteY1990" fmla="*/ 3548243 h 4687251"/>
              <a:gd name="connsiteX1991" fmla="*/ 2491542 w 8079933"/>
              <a:gd name="connsiteY1991" fmla="*/ 3537092 h 4687251"/>
              <a:gd name="connsiteX1992" fmla="*/ 2494689 w 8079933"/>
              <a:gd name="connsiteY1992" fmla="*/ 3528213 h 4687251"/>
              <a:gd name="connsiteX1993" fmla="*/ 4580053 w 8079933"/>
              <a:gd name="connsiteY1993" fmla="*/ 3527347 h 4687251"/>
              <a:gd name="connsiteX1994" fmla="*/ 4580053 w 8079933"/>
              <a:gd name="connsiteY1994" fmla="*/ 3528646 h 4687251"/>
              <a:gd name="connsiteX1995" fmla="*/ 4579836 w 8079933"/>
              <a:gd name="connsiteY1995" fmla="*/ 3530162 h 4687251"/>
              <a:gd name="connsiteX1996" fmla="*/ 4580813 w 8079933"/>
              <a:gd name="connsiteY1996" fmla="*/ 3532543 h 4687251"/>
              <a:gd name="connsiteX1997" fmla="*/ 4580813 w 8079933"/>
              <a:gd name="connsiteY1997" fmla="*/ 3532543 h 4687251"/>
              <a:gd name="connsiteX1998" fmla="*/ 4579836 w 8079933"/>
              <a:gd name="connsiteY1998" fmla="*/ 3530162 h 4687251"/>
              <a:gd name="connsiteX1999" fmla="*/ 4580053 w 8079933"/>
              <a:gd name="connsiteY1999" fmla="*/ 3528646 h 4687251"/>
              <a:gd name="connsiteX2000" fmla="*/ 4580053 w 8079933"/>
              <a:gd name="connsiteY2000" fmla="*/ 3527347 h 4687251"/>
              <a:gd name="connsiteX2001" fmla="*/ 5308200 w 8079933"/>
              <a:gd name="connsiteY2001" fmla="*/ 3525289 h 4687251"/>
              <a:gd name="connsiteX2002" fmla="*/ 5311347 w 8079933"/>
              <a:gd name="connsiteY2002" fmla="*/ 3526913 h 4687251"/>
              <a:gd name="connsiteX2003" fmla="*/ 5311890 w 8079933"/>
              <a:gd name="connsiteY2003" fmla="*/ 3530702 h 4687251"/>
              <a:gd name="connsiteX2004" fmla="*/ 5309285 w 8079933"/>
              <a:gd name="connsiteY2004" fmla="*/ 3533084 h 4687251"/>
              <a:gd name="connsiteX2005" fmla="*/ 5309828 w 8079933"/>
              <a:gd name="connsiteY2005" fmla="*/ 3537740 h 4687251"/>
              <a:gd name="connsiteX2006" fmla="*/ 5304619 w 8079933"/>
              <a:gd name="connsiteY2006" fmla="*/ 3541204 h 4687251"/>
              <a:gd name="connsiteX2007" fmla="*/ 5298108 w 8079933"/>
              <a:gd name="connsiteY2007" fmla="*/ 3534924 h 4687251"/>
              <a:gd name="connsiteX2008" fmla="*/ 5301146 w 8079933"/>
              <a:gd name="connsiteY2008" fmla="*/ 3532435 h 4687251"/>
              <a:gd name="connsiteX2009" fmla="*/ 5302123 w 8079933"/>
              <a:gd name="connsiteY2009" fmla="*/ 3526696 h 4687251"/>
              <a:gd name="connsiteX2010" fmla="*/ 5305270 w 8079933"/>
              <a:gd name="connsiteY2010" fmla="*/ 3527021 h 4687251"/>
              <a:gd name="connsiteX2011" fmla="*/ 4567583 w 8079933"/>
              <a:gd name="connsiteY2011" fmla="*/ 3518505 h 4687251"/>
              <a:gd name="connsiteX2012" fmla="*/ 4570395 w 8079933"/>
              <a:gd name="connsiteY2012" fmla="*/ 3520201 h 4687251"/>
              <a:gd name="connsiteX2013" fmla="*/ 4573435 w 8079933"/>
              <a:gd name="connsiteY2013" fmla="*/ 3522516 h 4687251"/>
              <a:gd name="connsiteX2014" fmla="*/ 4570395 w 8079933"/>
              <a:gd name="connsiteY2014" fmla="*/ 3520201 h 4687251"/>
              <a:gd name="connsiteX2015" fmla="*/ 4563791 w 8079933"/>
              <a:gd name="connsiteY2015" fmla="*/ 3514410 h 4687251"/>
              <a:gd name="connsiteX2016" fmla="*/ 4565729 w 8079933"/>
              <a:gd name="connsiteY2016" fmla="*/ 3517386 h 4687251"/>
              <a:gd name="connsiteX2017" fmla="*/ 4565729 w 8079933"/>
              <a:gd name="connsiteY2017" fmla="*/ 3517386 h 4687251"/>
              <a:gd name="connsiteX2018" fmla="*/ 7434801 w 8079933"/>
              <a:gd name="connsiteY2018" fmla="*/ 3510781 h 4687251"/>
              <a:gd name="connsiteX2019" fmla="*/ 7435452 w 8079933"/>
              <a:gd name="connsiteY2019" fmla="*/ 3518576 h 4687251"/>
              <a:gd name="connsiteX2020" fmla="*/ 7433499 w 8079933"/>
              <a:gd name="connsiteY2020" fmla="*/ 3523340 h 4687251"/>
              <a:gd name="connsiteX2021" fmla="*/ 7431220 w 8079933"/>
              <a:gd name="connsiteY2021" fmla="*/ 3520525 h 4687251"/>
              <a:gd name="connsiteX2022" fmla="*/ 7432848 w 8079933"/>
              <a:gd name="connsiteY2022" fmla="*/ 3516627 h 4687251"/>
              <a:gd name="connsiteX2023" fmla="*/ 7429375 w 8079933"/>
              <a:gd name="connsiteY2023" fmla="*/ 3512621 h 4687251"/>
              <a:gd name="connsiteX2024" fmla="*/ 7433282 w 8079933"/>
              <a:gd name="connsiteY2024" fmla="*/ 3511647 h 4687251"/>
              <a:gd name="connsiteX2025" fmla="*/ 4556939 w 8079933"/>
              <a:gd name="connsiteY2025" fmla="*/ 3503636 h 4687251"/>
              <a:gd name="connsiteX2026" fmla="*/ 4558271 w 8079933"/>
              <a:gd name="connsiteY2026" fmla="*/ 3505852 h 4687251"/>
              <a:gd name="connsiteX2027" fmla="*/ 4556939 w 8079933"/>
              <a:gd name="connsiteY2027" fmla="*/ 3503636 h 4687251"/>
              <a:gd name="connsiteX2028" fmla="*/ 4549837 w 8079933"/>
              <a:gd name="connsiteY2028" fmla="*/ 3495794 h 4687251"/>
              <a:gd name="connsiteX2029" fmla="*/ 4552056 w 8079933"/>
              <a:gd name="connsiteY2029" fmla="*/ 3498114 h 4687251"/>
              <a:gd name="connsiteX2030" fmla="*/ 4553140 w 8079933"/>
              <a:gd name="connsiteY2030" fmla="*/ 3501578 h 4687251"/>
              <a:gd name="connsiteX2031" fmla="*/ 4553141 w 8079933"/>
              <a:gd name="connsiteY2031" fmla="*/ 3501579 h 4687251"/>
              <a:gd name="connsiteX2032" fmla="*/ 4552057 w 8079933"/>
              <a:gd name="connsiteY2032" fmla="*/ 3498114 h 4687251"/>
              <a:gd name="connsiteX2033" fmla="*/ 4714287 w 8079933"/>
              <a:gd name="connsiteY2033" fmla="*/ 3495299 h 4687251"/>
              <a:gd name="connsiteX2034" fmla="*/ 4711358 w 8079933"/>
              <a:gd name="connsiteY2034" fmla="*/ 3496381 h 4687251"/>
              <a:gd name="connsiteX2035" fmla="*/ 4711358 w 8079933"/>
              <a:gd name="connsiteY2035" fmla="*/ 3496382 h 4687251"/>
              <a:gd name="connsiteX2036" fmla="*/ 4714831 w 8079933"/>
              <a:gd name="connsiteY2036" fmla="*/ 3490535 h 4687251"/>
              <a:gd name="connsiteX2037" fmla="*/ 4714797 w 8079933"/>
              <a:gd name="connsiteY2037" fmla="*/ 3490834 h 4687251"/>
              <a:gd name="connsiteX2038" fmla="*/ 4714831 w 8079933"/>
              <a:gd name="connsiteY2038" fmla="*/ 3490536 h 4687251"/>
              <a:gd name="connsiteX2039" fmla="*/ 4546413 w 8079933"/>
              <a:gd name="connsiteY2039" fmla="*/ 3487720 h 4687251"/>
              <a:gd name="connsiteX2040" fmla="*/ 4548800 w 8079933"/>
              <a:gd name="connsiteY2040" fmla="*/ 3491725 h 4687251"/>
              <a:gd name="connsiteX2041" fmla="*/ 4549777 w 8079933"/>
              <a:gd name="connsiteY2041" fmla="*/ 3495731 h 4687251"/>
              <a:gd name="connsiteX2042" fmla="*/ 4549777 w 8079933"/>
              <a:gd name="connsiteY2042" fmla="*/ 3495732 h 4687251"/>
              <a:gd name="connsiteX2043" fmla="*/ 4548800 w 8079933"/>
              <a:gd name="connsiteY2043" fmla="*/ 3491726 h 4687251"/>
              <a:gd name="connsiteX2044" fmla="*/ 4433990 w 8079933"/>
              <a:gd name="connsiteY2044" fmla="*/ 3483388 h 4687251"/>
              <a:gd name="connsiteX2045" fmla="*/ 4433990 w 8079933"/>
              <a:gd name="connsiteY2045" fmla="*/ 3483389 h 4687251"/>
              <a:gd name="connsiteX2046" fmla="*/ 4451895 w 8079933"/>
              <a:gd name="connsiteY2046" fmla="*/ 3484147 h 4687251"/>
              <a:gd name="connsiteX2047" fmla="*/ 4489890 w 8079933"/>
              <a:gd name="connsiteY2047" fmla="*/ 3483008 h 4687251"/>
              <a:gd name="connsiteX2048" fmla="*/ 4489441 w 8079933"/>
              <a:gd name="connsiteY2048" fmla="*/ 3483605 h 4687251"/>
              <a:gd name="connsiteX2049" fmla="*/ 4489212 w 8079933"/>
              <a:gd name="connsiteY2049" fmla="*/ 3485322 h 4687251"/>
              <a:gd name="connsiteX2050" fmla="*/ 4489442 w 8079933"/>
              <a:gd name="connsiteY2050" fmla="*/ 3483605 h 4687251"/>
              <a:gd name="connsiteX2051" fmla="*/ 2319052 w 8079933"/>
              <a:gd name="connsiteY2051" fmla="*/ 3482087 h 4687251"/>
              <a:gd name="connsiteX2052" fmla="*/ 2320302 w 8079933"/>
              <a:gd name="connsiteY2052" fmla="*/ 3483280 h 4687251"/>
              <a:gd name="connsiteX2053" fmla="*/ 2320302 w 8079933"/>
              <a:gd name="connsiteY2053" fmla="*/ 3483280 h 4687251"/>
              <a:gd name="connsiteX2054" fmla="*/ 4720147 w 8079933"/>
              <a:gd name="connsiteY2054" fmla="*/ 3480249 h 4687251"/>
              <a:gd name="connsiteX2055" fmla="*/ 4717379 w 8079933"/>
              <a:gd name="connsiteY2055" fmla="*/ 3480710 h 4687251"/>
              <a:gd name="connsiteX2056" fmla="*/ 4720147 w 8079933"/>
              <a:gd name="connsiteY2056" fmla="*/ 3480250 h 4687251"/>
              <a:gd name="connsiteX2057" fmla="*/ 7276040 w 8079933"/>
              <a:gd name="connsiteY2057" fmla="*/ 3476352 h 4687251"/>
              <a:gd name="connsiteX2058" fmla="*/ 7276366 w 8079933"/>
              <a:gd name="connsiteY2058" fmla="*/ 3478951 h 4687251"/>
              <a:gd name="connsiteX2059" fmla="*/ 7273870 w 8079933"/>
              <a:gd name="connsiteY2059" fmla="*/ 3480250 h 4687251"/>
              <a:gd name="connsiteX2060" fmla="*/ 7272459 w 8079933"/>
              <a:gd name="connsiteY2060" fmla="*/ 3478084 h 4687251"/>
              <a:gd name="connsiteX2061" fmla="*/ 4486295 w 8079933"/>
              <a:gd name="connsiteY2061" fmla="*/ 3475810 h 4687251"/>
              <a:gd name="connsiteX2062" fmla="*/ 4485209 w 8079933"/>
              <a:gd name="connsiteY2062" fmla="*/ 3476351 h 4687251"/>
              <a:gd name="connsiteX2063" fmla="*/ 4482062 w 8079933"/>
              <a:gd name="connsiteY2063" fmla="*/ 3476676 h 4687251"/>
              <a:gd name="connsiteX2064" fmla="*/ 4475009 w 8079933"/>
              <a:gd name="connsiteY2064" fmla="*/ 3478841 h 4687251"/>
              <a:gd name="connsiteX2065" fmla="*/ 4482063 w 8079933"/>
              <a:gd name="connsiteY2065" fmla="*/ 3476676 h 4687251"/>
              <a:gd name="connsiteX2066" fmla="*/ 4485210 w 8079933"/>
              <a:gd name="connsiteY2066" fmla="*/ 3476351 h 4687251"/>
              <a:gd name="connsiteX2067" fmla="*/ 4486295 w 8079933"/>
              <a:gd name="connsiteY2067" fmla="*/ 3475810 h 4687251"/>
              <a:gd name="connsiteX2068" fmla="*/ 4487705 w 8079933"/>
              <a:gd name="connsiteY2068" fmla="*/ 3476784 h 4687251"/>
              <a:gd name="connsiteX2069" fmla="*/ 4488471 w 8079933"/>
              <a:gd name="connsiteY2069" fmla="*/ 3478758 h 4687251"/>
              <a:gd name="connsiteX2070" fmla="*/ 4487705 w 8079933"/>
              <a:gd name="connsiteY2070" fmla="*/ 3476784 h 4687251"/>
              <a:gd name="connsiteX2071" fmla="*/ 4513423 w 8079933"/>
              <a:gd name="connsiteY2071" fmla="*/ 3470504 h 4687251"/>
              <a:gd name="connsiteX2072" fmla="*/ 4508215 w 8079933"/>
              <a:gd name="connsiteY2072" fmla="*/ 3471154 h 4687251"/>
              <a:gd name="connsiteX2073" fmla="*/ 4503440 w 8079933"/>
              <a:gd name="connsiteY2073" fmla="*/ 3476026 h 4687251"/>
              <a:gd name="connsiteX2074" fmla="*/ 4498882 w 8079933"/>
              <a:gd name="connsiteY2074" fmla="*/ 3481764 h 4687251"/>
              <a:gd name="connsiteX2075" fmla="*/ 4491069 w 8079933"/>
              <a:gd name="connsiteY2075" fmla="*/ 3487286 h 4687251"/>
              <a:gd name="connsiteX2076" fmla="*/ 4491069 w 8079933"/>
              <a:gd name="connsiteY2076" fmla="*/ 3487286 h 4687251"/>
              <a:gd name="connsiteX2077" fmla="*/ 4498882 w 8079933"/>
              <a:gd name="connsiteY2077" fmla="*/ 3481764 h 4687251"/>
              <a:gd name="connsiteX2078" fmla="*/ 4503440 w 8079933"/>
              <a:gd name="connsiteY2078" fmla="*/ 3476027 h 4687251"/>
              <a:gd name="connsiteX2079" fmla="*/ 4508215 w 8079933"/>
              <a:gd name="connsiteY2079" fmla="*/ 3471154 h 4687251"/>
              <a:gd name="connsiteX2080" fmla="*/ 4513424 w 8079933"/>
              <a:gd name="connsiteY2080" fmla="*/ 3470505 h 4687251"/>
              <a:gd name="connsiteX2081" fmla="*/ 4392345 w 8079933"/>
              <a:gd name="connsiteY2081" fmla="*/ 3468615 h 4687251"/>
              <a:gd name="connsiteX2082" fmla="*/ 4392645 w 8079933"/>
              <a:gd name="connsiteY2082" fmla="*/ 3469313 h 4687251"/>
              <a:gd name="connsiteX2083" fmla="*/ 4392645 w 8079933"/>
              <a:gd name="connsiteY2083" fmla="*/ 3469314 h 4687251"/>
              <a:gd name="connsiteX2084" fmla="*/ 4559977 w 8079933"/>
              <a:gd name="connsiteY2084" fmla="*/ 3468122 h 4687251"/>
              <a:gd name="connsiteX2085" fmla="*/ 4554659 w 8079933"/>
              <a:gd name="connsiteY2085" fmla="*/ 3468772 h 4687251"/>
              <a:gd name="connsiteX2086" fmla="*/ 4550427 w 8079933"/>
              <a:gd name="connsiteY2086" fmla="*/ 3471695 h 4687251"/>
              <a:gd name="connsiteX2087" fmla="*/ 4548148 w 8079933"/>
              <a:gd name="connsiteY2087" fmla="*/ 3471586 h 4687251"/>
              <a:gd name="connsiteX2088" fmla="*/ 4546909 w 8079933"/>
              <a:gd name="connsiteY2088" fmla="*/ 3470575 h 4687251"/>
              <a:gd name="connsiteX2089" fmla="*/ 4548150 w 8079933"/>
              <a:gd name="connsiteY2089" fmla="*/ 3471588 h 4687251"/>
              <a:gd name="connsiteX2090" fmla="*/ 4550428 w 8079933"/>
              <a:gd name="connsiteY2090" fmla="*/ 3471696 h 4687251"/>
              <a:gd name="connsiteX2091" fmla="*/ 4554660 w 8079933"/>
              <a:gd name="connsiteY2091" fmla="*/ 3468773 h 4687251"/>
              <a:gd name="connsiteX2092" fmla="*/ 4559978 w 8079933"/>
              <a:gd name="connsiteY2092" fmla="*/ 3468123 h 4687251"/>
              <a:gd name="connsiteX2093" fmla="*/ 4562365 w 8079933"/>
              <a:gd name="connsiteY2093" fmla="*/ 3469206 h 4687251"/>
              <a:gd name="connsiteX2094" fmla="*/ 4563559 w 8079933"/>
              <a:gd name="connsiteY2094" fmla="*/ 3469097 h 4687251"/>
              <a:gd name="connsiteX2095" fmla="*/ 4564969 w 8079933"/>
              <a:gd name="connsiteY2095" fmla="*/ 3469638 h 4687251"/>
              <a:gd name="connsiteX2096" fmla="*/ 4565511 w 8079933"/>
              <a:gd name="connsiteY2096" fmla="*/ 3469963 h 4687251"/>
              <a:gd name="connsiteX2097" fmla="*/ 4565511 w 8079933"/>
              <a:gd name="connsiteY2097" fmla="*/ 3469962 h 4687251"/>
              <a:gd name="connsiteX2098" fmla="*/ 4564969 w 8079933"/>
              <a:gd name="connsiteY2098" fmla="*/ 3469638 h 4687251"/>
              <a:gd name="connsiteX2099" fmla="*/ 4563558 w 8079933"/>
              <a:gd name="connsiteY2099" fmla="*/ 3469096 h 4687251"/>
              <a:gd name="connsiteX2100" fmla="*/ 4562364 w 8079933"/>
              <a:gd name="connsiteY2100" fmla="*/ 3469205 h 4687251"/>
              <a:gd name="connsiteX2101" fmla="*/ 4533400 w 8079933"/>
              <a:gd name="connsiteY2101" fmla="*/ 3466625 h 4687251"/>
              <a:gd name="connsiteX2102" fmla="*/ 4534476 w 8079933"/>
              <a:gd name="connsiteY2102" fmla="*/ 3468880 h 4687251"/>
              <a:gd name="connsiteX2103" fmla="*/ 4533825 w 8079933"/>
              <a:gd name="connsiteY2103" fmla="*/ 3470937 h 4687251"/>
              <a:gd name="connsiteX2104" fmla="*/ 4534259 w 8079933"/>
              <a:gd name="connsiteY2104" fmla="*/ 3472670 h 4687251"/>
              <a:gd name="connsiteX2105" fmla="*/ 4534476 w 8079933"/>
              <a:gd name="connsiteY2105" fmla="*/ 3475269 h 4687251"/>
              <a:gd name="connsiteX2106" fmla="*/ 4537840 w 8079933"/>
              <a:gd name="connsiteY2106" fmla="*/ 3477867 h 4687251"/>
              <a:gd name="connsiteX2107" fmla="*/ 4539576 w 8079933"/>
              <a:gd name="connsiteY2107" fmla="*/ 3479708 h 4687251"/>
              <a:gd name="connsiteX2108" fmla="*/ 4542614 w 8079933"/>
              <a:gd name="connsiteY2108" fmla="*/ 3481657 h 4687251"/>
              <a:gd name="connsiteX2109" fmla="*/ 4544568 w 8079933"/>
              <a:gd name="connsiteY2109" fmla="*/ 3484363 h 4687251"/>
              <a:gd name="connsiteX2110" fmla="*/ 4545111 w 8079933"/>
              <a:gd name="connsiteY2110" fmla="*/ 3486853 h 4687251"/>
              <a:gd name="connsiteX2111" fmla="*/ 4545111 w 8079933"/>
              <a:gd name="connsiteY2111" fmla="*/ 3486854 h 4687251"/>
              <a:gd name="connsiteX2112" fmla="*/ 4544569 w 8079933"/>
              <a:gd name="connsiteY2112" fmla="*/ 3484364 h 4687251"/>
              <a:gd name="connsiteX2113" fmla="*/ 4542615 w 8079933"/>
              <a:gd name="connsiteY2113" fmla="*/ 3481657 h 4687251"/>
              <a:gd name="connsiteX2114" fmla="*/ 4539577 w 8079933"/>
              <a:gd name="connsiteY2114" fmla="*/ 3479708 h 4687251"/>
              <a:gd name="connsiteX2115" fmla="*/ 4537841 w 8079933"/>
              <a:gd name="connsiteY2115" fmla="*/ 3477867 h 4687251"/>
              <a:gd name="connsiteX2116" fmla="*/ 4534476 w 8079933"/>
              <a:gd name="connsiteY2116" fmla="*/ 3475269 h 4687251"/>
              <a:gd name="connsiteX2117" fmla="*/ 4534260 w 8079933"/>
              <a:gd name="connsiteY2117" fmla="*/ 3472670 h 4687251"/>
              <a:gd name="connsiteX2118" fmla="*/ 4533825 w 8079933"/>
              <a:gd name="connsiteY2118" fmla="*/ 3470938 h 4687251"/>
              <a:gd name="connsiteX2119" fmla="*/ 4534476 w 8079933"/>
              <a:gd name="connsiteY2119" fmla="*/ 3468881 h 4687251"/>
              <a:gd name="connsiteX2120" fmla="*/ 4533396 w 8079933"/>
              <a:gd name="connsiteY2120" fmla="*/ 3466616 h 4687251"/>
              <a:gd name="connsiteX2121" fmla="*/ 4533396 w 8079933"/>
              <a:gd name="connsiteY2121" fmla="*/ 3466617 h 4687251"/>
              <a:gd name="connsiteX2122" fmla="*/ 4535778 w 8079933"/>
              <a:gd name="connsiteY2122" fmla="*/ 3466824 h 4687251"/>
              <a:gd name="connsiteX2123" fmla="*/ 4541421 w 8079933"/>
              <a:gd name="connsiteY2123" fmla="*/ 3467473 h 4687251"/>
              <a:gd name="connsiteX2124" fmla="*/ 4544338 w 8079933"/>
              <a:gd name="connsiteY2124" fmla="*/ 3468928 h 4687251"/>
              <a:gd name="connsiteX2125" fmla="*/ 4541420 w 8079933"/>
              <a:gd name="connsiteY2125" fmla="*/ 3467472 h 4687251"/>
              <a:gd name="connsiteX2126" fmla="*/ 4535778 w 8079933"/>
              <a:gd name="connsiteY2126" fmla="*/ 3466823 h 4687251"/>
              <a:gd name="connsiteX2127" fmla="*/ 4533282 w 8079933"/>
              <a:gd name="connsiteY2127" fmla="*/ 3466606 h 4687251"/>
              <a:gd name="connsiteX2128" fmla="*/ 4533282 w 8079933"/>
              <a:gd name="connsiteY2128" fmla="*/ 3466607 h 4687251"/>
              <a:gd name="connsiteX2129" fmla="*/ 4528290 w 8079933"/>
              <a:gd name="connsiteY2129" fmla="*/ 3468014 h 4687251"/>
              <a:gd name="connsiteX2130" fmla="*/ 4520586 w 8079933"/>
              <a:gd name="connsiteY2130" fmla="*/ 3470721 h 4687251"/>
              <a:gd name="connsiteX2131" fmla="*/ 4517547 w 8079933"/>
              <a:gd name="connsiteY2131" fmla="*/ 3472778 h 4687251"/>
              <a:gd name="connsiteX2132" fmla="*/ 4514618 w 8079933"/>
              <a:gd name="connsiteY2132" fmla="*/ 3472345 h 4687251"/>
              <a:gd name="connsiteX2133" fmla="*/ 4513602 w 8079933"/>
              <a:gd name="connsiteY2133" fmla="*/ 3470780 h 4687251"/>
              <a:gd name="connsiteX2134" fmla="*/ 4514617 w 8079933"/>
              <a:gd name="connsiteY2134" fmla="*/ 3472345 h 4687251"/>
              <a:gd name="connsiteX2135" fmla="*/ 4517547 w 8079933"/>
              <a:gd name="connsiteY2135" fmla="*/ 3472778 h 4687251"/>
              <a:gd name="connsiteX2136" fmla="*/ 4520586 w 8079933"/>
              <a:gd name="connsiteY2136" fmla="*/ 3470721 h 4687251"/>
              <a:gd name="connsiteX2137" fmla="*/ 4528291 w 8079933"/>
              <a:gd name="connsiteY2137" fmla="*/ 3468014 h 4687251"/>
              <a:gd name="connsiteX2138" fmla="*/ 4533282 w 8079933"/>
              <a:gd name="connsiteY2138" fmla="*/ 3466607 h 4687251"/>
              <a:gd name="connsiteX2139" fmla="*/ 4533287 w 8079933"/>
              <a:gd name="connsiteY2139" fmla="*/ 3466607 h 4687251"/>
              <a:gd name="connsiteX2140" fmla="*/ 2306698 w 8079933"/>
              <a:gd name="connsiteY2140" fmla="*/ 3465702 h 4687251"/>
              <a:gd name="connsiteX2141" fmla="*/ 2307715 w 8079933"/>
              <a:gd name="connsiteY2141" fmla="*/ 3466824 h 4687251"/>
              <a:gd name="connsiteX2142" fmla="*/ 2310753 w 8079933"/>
              <a:gd name="connsiteY2142" fmla="*/ 3467257 h 4687251"/>
              <a:gd name="connsiteX2143" fmla="*/ 2311295 w 8079933"/>
              <a:gd name="connsiteY2143" fmla="*/ 3470288 h 4687251"/>
              <a:gd name="connsiteX2144" fmla="*/ 2307932 w 8079933"/>
              <a:gd name="connsiteY2144" fmla="*/ 3469530 h 4687251"/>
              <a:gd name="connsiteX2145" fmla="*/ 2305544 w 8079933"/>
              <a:gd name="connsiteY2145" fmla="*/ 3473428 h 4687251"/>
              <a:gd name="connsiteX2146" fmla="*/ 2303917 w 8079933"/>
              <a:gd name="connsiteY2146" fmla="*/ 3477650 h 4687251"/>
              <a:gd name="connsiteX2147" fmla="*/ 2303917 w 8079933"/>
              <a:gd name="connsiteY2147" fmla="*/ 3477651 h 4687251"/>
              <a:gd name="connsiteX2148" fmla="*/ 2305545 w 8079933"/>
              <a:gd name="connsiteY2148" fmla="*/ 3473429 h 4687251"/>
              <a:gd name="connsiteX2149" fmla="*/ 2307932 w 8079933"/>
              <a:gd name="connsiteY2149" fmla="*/ 3469531 h 4687251"/>
              <a:gd name="connsiteX2150" fmla="*/ 2311296 w 8079933"/>
              <a:gd name="connsiteY2150" fmla="*/ 3470288 h 4687251"/>
              <a:gd name="connsiteX2151" fmla="*/ 2312380 w 8079933"/>
              <a:gd name="connsiteY2151" fmla="*/ 3470613 h 4687251"/>
              <a:gd name="connsiteX2152" fmla="*/ 2312380 w 8079933"/>
              <a:gd name="connsiteY2152" fmla="*/ 3470612 h 4687251"/>
              <a:gd name="connsiteX2153" fmla="*/ 2311295 w 8079933"/>
              <a:gd name="connsiteY2153" fmla="*/ 3470288 h 4687251"/>
              <a:gd name="connsiteX2154" fmla="*/ 2310753 w 8079933"/>
              <a:gd name="connsiteY2154" fmla="*/ 3467256 h 4687251"/>
              <a:gd name="connsiteX2155" fmla="*/ 2307714 w 8079933"/>
              <a:gd name="connsiteY2155" fmla="*/ 3466823 h 4687251"/>
              <a:gd name="connsiteX2156" fmla="*/ 4529143 w 8079933"/>
              <a:gd name="connsiteY2156" fmla="*/ 3462226 h 4687251"/>
              <a:gd name="connsiteX2157" fmla="*/ 4529810 w 8079933"/>
              <a:gd name="connsiteY2157" fmla="*/ 3462492 h 4687251"/>
              <a:gd name="connsiteX2158" fmla="*/ 4529809 w 8079933"/>
              <a:gd name="connsiteY2158" fmla="*/ 3462491 h 4687251"/>
              <a:gd name="connsiteX2159" fmla="*/ 7273761 w 8079933"/>
              <a:gd name="connsiteY2159" fmla="*/ 3461194 h 4687251"/>
              <a:gd name="connsiteX2160" fmla="*/ 7279947 w 8079933"/>
              <a:gd name="connsiteY2160" fmla="*/ 3462710 h 4687251"/>
              <a:gd name="connsiteX2161" fmla="*/ 7279730 w 8079933"/>
              <a:gd name="connsiteY2161" fmla="*/ 3464550 h 4687251"/>
              <a:gd name="connsiteX2162" fmla="*/ 7274521 w 8079933"/>
              <a:gd name="connsiteY2162" fmla="*/ 3465308 h 4687251"/>
              <a:gd name="connsiteX2163" fmla="*/ 7271699 w 8079933"/>
              <a:gd name="connsiteY2163" fmla="*/ 3468881 h 4687251"/>
              <a:gd name="connsiteX2164" fmla="*/ 7268878 w 8079933"/>
              <a:gd name="connsiteY2164" fmla="*/ 3469855 h 4687251"/>
              <a:gd name="connsiteX2165" fmla="*/ 7266817 w 8079933"/>
              <a:gd name="connsiteY2165" fmla="*/ 3467690 h 4687251"/>
              <a:gd name="connsiteX2166" fmla="*/ 7267902 w 8079933"/>
              <a:gd name="connsiteY2166" fmla="*/ 3464550 h 4687251"/>
              <a:gd name="connsiteX2167" fmla="*/ 4512664 w 8079933"/>
              <a:gd name="connsiteY2167" fmla="*/ 3460327 h 4687251"/>
              <a:gd name="connsiteX2168" fmla="*/ 4490201 w 8079933"/>
              <a:gd name="connsiteY2168" fmla="*/ 3465415 h 4687251"/>
              <a:gd name="connsiteX2169" fmla="*/ 4490201 w 8079933"/>
              <a:gd name="connsiteY2169" fmla="*/ 3465416 h 4687251"/>
              <a:gd name="connsiteX2170" fmla="*/ 4512664 w 8079933"/>
              <a:gd name="connsiteY2170" fmla="*/ 3460327 h 4687251"/>
              <a:gd name="connsiteX2171" fmla="*/ 4520585 w 8079933"/>
              <a:gd name="connsiteY2171" fmla="*/ 3459135 h 4687251"/>
              <a:gd name="connsiteX2172" fmla="*/ 4515159 w 8079933"/>
              <a:gd name="connsiteY2172" fmla="*/ 3460543 h 4687251"/>
              <a:gd name="connsiteX2173" fmla="*/ 4520586 w 8079933"/>
              <a:gd name="connsiteY2173" fmla="*/ 3459136 h 4687251"/>
              <a:gd name="connsiteX2174" fmla="*/ 4522214 w 8079933"/>
              <a:gd name="connsiteY2174" fmla="*/ 3460002 h 4687251"/>
              <a:gd name="connsiteX2175" fmla="*/ 4523190 w 8079933"/>
              <a:gd name="connsiteY2175" fmla="*/ 3460002 h 4687251"/>
              <a:gd name="connsiteX2176" fmla="*/ 4524818 w 8079933"/>
              <a:gd name="connsiteY2176" fmla="*/ 3461301 h 4687251"/>
              <a:gd name="connsiteX2177" fmla="*/ 4523190 w 8079933"/>
              <a:gd name="connsiteY2177" fmla="*/ 3460001 h 4687251"/>
              <a:gd name="connsiteX2178" fmla="*/ 4522213 w 8079933"/>
              <a:gd name="connsiteY2178" fmla="*/ 3460001 h 4687251"/>
              <a:gd name="connsiteX2179" fmla="*/ 4371593 w 8079933"/>
              <a:gd name="connsiteY2179" fmla="*/ 3457729 h 4687251"/>
              <a:gd name="connsiteX2180" fmla="*/ 4373980 w 8079933"/>
              <a:gd name="connsiteY2180" fmla="*/ 3462276 h 4687251"/>
              <a:gd name="connsiteX2181" fmla="*/ 4373980 w 8079933"/>
              <a:gd name="connsiteY2181" fmla="*/ 3462276 h 4687251"/>
              <a:gd name="connsiteX2182" fmla="*/ 4371593 w 8079933"/>
              <a:gd name="connsiteY2182" fmla="*/ 3457729 h 4687251"/>
              <a:gd name="connsiteX2183" fmla="*/ 4482930 w 8079933"/>
              <a:gd name="connsiteY2183" fmla="*/ 3456754 h 4687251"/>
              <a:gd name="connsiteX2184" fmla="*/ 4482931 w 8079933"/>
              <a:gd name="connsiteY2184" fmla="*/ 3456755 h 4687251"/>
              <a:gd name="connsiteX2185" fmla="*/ 4485861 w 8079933"/>
              <a:gd name="connsiteY2185" fmla="*/ 3460220 h 4687251"/>
              <a:gd name="connsiteX2186" fmla="*/ 4488791 w 8079933"/>
              <a:gd name="connsiteY2186" fmla="*/ 3461627 h 4687251"/>
              <a:gd name="connsiteX2187" fmla="*/ 4489029 w 8079933"/>
              <a:gd name="connsiteY2187" fmla="*/ 3462268 h 4687251"/>
              <a:gd name="connsiteX2188" fmla="*/ 4488790 w 8079933"/>
              <a:gd name="connsiteY2188" fmla="*/ 3461625 h 4687251"/>
              <a:gd name="connsiteX2189" fmla="*/ 4485860 w 8079933"/>
              <a:gd name="connsiteY2189" fmla="*/ 3460218 h 4687251"/>
              <a:gd name="connsiteX2190" fmla="*/ 4257107 w 8079933"/>
              <a:gd name="connsiteY2190" fmla="*/ 3450691 h 4687251"/>
              <a:gd name="connsiteX2191" fmla="*/ 4256565 w 8079933"/>
              <a:gd name="connsiteY2191" fmla="*/ 3452856 h 4687251"/>
              <a:gd name="connsiteX2192" fmla="*/ 4257108 w 8079933"/>
              <a:gd name="connsiteY2192" fmla="*/ 3450692 h 4687251"/>
              <a:gd name="connsiteX2193" fmla="*/ 4253961 w 8079933"/>
              <a:gd name="connsiteY2193" fmla="*/ 3448093 h 4687251"/>
              <a:gd name="connsiteX2194" fmla="*/ 4254204 w 8079933"/>
              <a:gd name="connsiteY2194" fmla="*/ 3449227 h 4687251"/>
              <a:gd name="connsiteX2195" fmla="*/ 4253961 w 8079933"/>
              <a:gd name="connsiteY2195" fmla="*/ 3448094 h 4687251"/>
              <a:gd name="connsiteX2196" fmla="*/ 4471781 w 8079933"/>
              <a:gd name="connsiteY2196" fmla="*/ 3446935 h 4687251"/>
              <a:gd name="connsiteX2197" fmla="*/ 4474467 w 8079933"/>
              <a:gd name="connsiteY2197" fmla="*/ 3450151 h 4687251"/>
              <a:gd name="connsiteX2198" fmla="*/ 4477613 w 8079933"/>
              <a:gd name="connsiteY2198" fmla="*/ 3452857 h 4687251"/>
              <a:gd name="connsiteX2199" fmla="*/ 4481195 w 8079933"/>
              <a:gd name="connsiteY2199" fmla="*/ 3454265 h 4687251"/>
              <a:gd name="connsiteX2200" fmla="*/ 4482798 w 8079933"/>
              <a:gd name="connsiteY2200" fmla="*/ 3456565 h 4687251"/>
              <a:gd name="connsiteX2201" fmla="*/ 4481194 w 8079933"/>
              <a:gd name="connsiteY2201" fmla="*/ 3454264 h 4687251"/>
              <a:gd name="connsiteX2202" fmla="*/ 4477612 w 8079933"/>
              <a:gd name="connsiteY2202" fmla="*/ 3452856 h 4687251"/>
              <a:gd name="connsiteX2203" fmla="*/ 4474466 w 8079933"/>
              <a:gd name="connsiteY2203" fmla="*/ 3450149 h 4687251"/>
              <a:gd name="connsiteX2204" fmla="*/ 4718638 w 8079933"/>
              <a:gd name="connsiteY2204" fmla="*/ 3443256 h 4687251"/>
              <a:gd name="connsiteX2205" fmla="*/ 4720907 w 8079933"/>
              <a:gd name="connsiteY2205" fmla="*/ 3443438 h 4687251"/>
              <a:gd name="connsiteX2206" fmla="*/ 4720907 w 8079933"/>
              <a:gd name="connsiteY2206" fmla="*/ 3443437 h 4687251"/>
              <a:gd name="connsiteX2207" fmla="*/ 5126001 w 8079933"/>
              <a:gd name="connsiteY2207" fmla="*/ 3441055 h 4687251"/>
              <a:gd name="connsiteX2208" fmla="*/ 5124699 w 8079933"/>
              <a:gd name="connsiteY2208" fmla="*/ 3445169 h 4687251"/>
              <a:gd name="connsiteX2209" fmla="*/ 5123179 w 8079933"/>
              <a:gd name="connsiteY2209" fmla="*/ 3447984 h 4687251"/>
              <a:gd name="connsiteX2210" fmla="*/ 5121118 w 8079933"/>
              <a:gd name="connsiteY2210" fmla="*/ 3452423 h 4687251"/>
              <a:gd name="connsiteX2211" fmla="*/ 5121009 w 8079933"/>
              <a:gd name="connsiteY2211" fmla="*/ 3449283 h 4687251"/>
              <a:gd name="connsiteX2212" fmla="*/ 5121334 w 8079933"/>
              <a:gd name="connsiteY2212" fmla="*/ 3446251 h 4687251"/>
              <a:gd name="connsiteX2213" fmla="*/ 5122745 w 8079933"/>
              <a:gd name="connsiteY2213" fmla="*/ 3443870 h 4687251"/>
              <a:gd name="connsiteX2214" fmla="*/ 5124156 w 8079933"/>
              <a:gd name="connsiteY2214" fmla="*/ 3443870 h 4687251"/>
              <a:gd name="connsiteX2215" fmla="*/ 7217875 w 8079933"/>
              <a:gd name="connsiteY2215" fmla="*/ 3437807 h 4687251"/>
              <a:gd name="connsiteX2216" fmla="*/ 7220479 w 8079933"/>
              <a:gd name="connsiteY2216" fmla="*/ 3441380 h 4687251"/>
              <a:gd name="connsiteX2217" fmla="*/ 7217984 w 8079933"/>
              <a:gd name="connsiteY2217" fmla="*/ 3444628 h 4687251"/>
              <a:gd name="connsiteX2218" fmla="*/ 7216356 w 8079933"/>
              <a:gd name="connsiteY2218" fmla="*/ 3441705 h 4687251"/>
              <a:gd name="connsiteX2219" fmla="*/ 6910882 w 8079933"/>
              <a:gd name="connsiteY2219" fmla="*/ 3434992 h 4687251"/>
              <a:gd name="connsiteX2220" fmla="*/ 6913269 w 8079933"/>
              <a:gd name="connsiteY2220" fmla="*/ 3438565 h 4687251"/>
              <a:gd name="connsiteX2221" fmla="*/ 6913704 w 8079933"/>
              <a:gd name="connsiteY2221" fmla="*/ 3443653 h 4687251"/>
              <a:gd name="connsiteX2222" fmla="*/ 6911316 w 8079933"/>
              <a:gd name="connsiteY2222" fmla="*/ 3442029 h 4687251"/>
              <a:gd name="connsiteX2223" fmla="*/ 4458406 w 8079933"/>
              <a:gd name="connsiteY2223" fmla="*/ 3433476 h 4687251"/>
              <a:gd name="connsiteX2224" fmla="*/ 4458407 w 8079933"/>
              <a:gd name="connsiteY2224" fmla="*/ 3433477 h 4687251"/>
              <a:gd name="connsiteX2225" fmla="*/ 4461661 w 8079933"/>
              <a:gd name="connsiteY2225" fmla="*/ 3437375 h 4687251"/>
              <a:gd name="connsiteX2226" fmla="*/ 4464483 w 8079933"/>
              <a:gd name="connsiteY2226" fmla="*/ 3439973 h 4687251"/>
              <a:gd name="connsiteX2227" fmla="*/ 4466545 w 8079933"/>
              <a:gd name="connsiteY2227" fmla="*/ 3442572 h 4687251"/>
              <a:gd name="connsiteX2228" fmla="*/ 4469583 w 8079933"/>
              <a:gd name="connsiteY2228" fmla="*/ 3444303 h 4687251"/>
              <a:gd name="connsiteX2229" fmla="*/ 4469583 w 8079933"/>
              <a:gd name="connsiteY2229" fmla="*/ 3444303 h 4687251"/>
              <a:gd name="connsiteX2230" fmla="*/ 4466544 w 8079933"/>
              <a:gd name="connsiteY2230" fmla="*/ 3442570 h 4687251"/>
              <a:gd name="connsiteX2231" fmla="*/ 4464482 w 8079933"/>
              <a:gd name="connsiteY2231" fmla="*/ 3439972 h 4687251"/>
              <a:gd name="connsiteX2232" fmla="*/ 4461660 w 8079933"/>
              <a:gd name="connsiteY2232" fmla="*/ 3437373 h 4687251"/>
              <a:gd name="connsiteX2233" fmla="*/ 2313140 w 8079933"/>
              <a:gd name="connsiteY2233" fmla="*/ 3425356 h 4687251"/>
              <a:gd name="connsiteX2234" fmla="*/ 2319977 w 8079933"/>
              <a:gd name="connsiteY2234" fmla="*/ 3441163 h 4687251"/>
              <a:gd name="connsiteX2235" fmla="*/ 2319977 w 8079933"/>
              <a:gd name="connsiteY2235" fmla="*/ 3441163 h 4687251"/>
              <a:gd name="connsiteX2236" fmla="*/ 6914897 w 8079933"/>
              <a:gd name="connsiteY2236" fmla="*/ 3424706 h 4687251"/>
              <a:gd name="connsiteX2237" fmla="*/ 6918261 w 8079933"/>
              <a:gd name="connsiteY2237" fmla="*/ 3428928 h 4687251"/>
              <a:gd name="connsiteX2238" fmla="*/ 6914355 w 8079933"/>
              <a:gd name="connsiteY2238" fmla="*/ 3429686 h 4687251"/>
              <a:gd name="connsiteX2239" fmla="*/ 6912618 w 8079933"/>
              <a:gd name="connsiteY2239" fmla="*/ 3427304 h 4687251"/>
              <a:gd name="connsiteX2240" fmla="*/ 6914897 w 8079933"/>
              <a:gd name="connsiteY2240" fmla="*/ 3424706 h 4687251"/>
              <a:gd name="connsiteX2241" fmla="*/ 4679454 w 8079933"/>
              <a:gd name="connsiteY2241" fmla="*/ 3424165 h 4687251"/>
              <a:gd name="connsiteX2242" fmla="*/ 4677934 w 8079933"/>
              <a:gd name="connsiteY2242" fmla="*/ 3426547 h 4687251"/>
              <a:gd name="connsiteX2243" fmla="*/ 4677935 w 8079933"/>
              <a:gd name="connsiteY2243" fmla="*/ 3426547 h 4687251"/>
              <a:gd name="connsiteX2244" fmla="*/ 4789273 w 8079933"/>
              <a:gd name="connsiteY2244" fmla="*/ 3423841 h 4687251"/>
              <a:gd name="connsiteX2245" fmla="*/ 4786018 w 8079933"/>
              <a:gd name="connsiteY2245" fmla="*/ 3426547 h 4687251"/>
              <a:gd name="connsiteX2246" fmla="*/ 4783161 w 8079933"/>
              <a:gd name="connsiteY2246" fmla="*/ 3427370 h 4687251"/>
              <a:gd name="connsiteX2247" fmla="*/ 4786017 w 8079933"/>
              <a:gd name="connsiteY2247" fmla="*/ 3426547 h 4687251"/>
              <a:gd name="connsiteX2248" fmla="*/ 4643535 w 8079933"/>
              <a:gd name="connsiteY2248" fmla="*/ 3413662 h 4687251"/>
              <a:gd name="connsiteX2249" fmla="*/ 4638652 w 8079933"/>
              <a:gd name="connsiteY2249" fmla="*/ 3415502 h 4687251"/>
              <a:gd name="connsiteX2250" fmla="*/ 4635396 w 8079933"/>
              <a:gd name="connsiteY2250" fmla="*/ 3417018 h 4687251"/>
              <a:gd name="connsiteX2251" fmla="*/ 4631598 w 8079933"/>
              <a:gd name="connsiteY2251" fmla="*/ 3418101 h 4687251"/>
              <a:gd name="connsiteX2252" fmla="*/ 4624978 w 8079933"/>
              <a:gd name="connsiteY2252" fmla="*/ 3421565 h 4687251"/>
              <a:gd name="connsiteX2253" fmla="*/ 4623025 w 8079933"/>
              <a:gd name="connsiteY2253" fmla="*/ 3425138 h 4687251"/>
              <a:gd name="connsiteX2254" fmla="*/ 4623676 w 8079933"/>
              <a:gd name="connsiteY2254" fmla="*/ 3427304 h 4687251"/>
              <a:gd name="connsiteX2255" fmla="*/ 4622482 w 8079933"/>
              <a:gd name="connsiteY2255" fmla="*/ 3429686 h 4687251"/>
              <a:gd name="connsiteX2256" fmla="*/ 4623025 w 8079933"/>
              <a:gd name="connsiteY2256" fmla="*/ 3431852 h 4687251"/>
              <a:gd name="connsiteX2257" fmla="*/ 4622591 w 8079933"/>
              <a:gd name="connsiteY2257" fmla="*/ 3433583 h 4687251"/>
              <a:gd name="connsiteX2258" fmla="*/ 4620529 w 8079933"/>
              <a:gd name="connsiteY2258" fmla="*/ 3435208 h 4687251"/>
              <a:gd name="connsiteX2259" fmla="*/ 4612499 w 8079933"/>
              <a:gd name="connsiteY2259" fmla="*/ 3438023 h 4687251"/>
              <a:gd name="connsiteX2260" fmla="*/ 4598392 w 8079933"/>
              <a:gd name="connsiteY2260" fmla="*/ 3447550 h 4687251"/>
              <a:gd name="connsiteX2261" fmla="*/ 4587106 w 8079933"/>
              <a:gd name="connsiteY2261" fmla="*/ 3461517 h 4687251"/>
              <a:gd name="connsiteX2262" fmla="*/ 4580052 w 8079933"/>
              <a:gd name="connsiteY2262" fmla="*/ 3471695 h 4687251"/>
              <a:gd name="connsiteX2263" fmla="*/ 4573541 w 8079933"/>
              <a:gd name="connsiteY2263" fmla="*/ 3473752 h 4687251"/>
              <a:gd name="connsiteX2264" fmla="*/ 4569092 w 8079933"/>
              <a:gd name="connsiteY2264" fmla="*/ 3472778 h 4687251"/>
              <a:gd name="connsiteX2265" fmla="*/ 4567302 w 8079933"/>
              <a:gd name="connsiteY2265" fmla="*/ 3471371 h 4687251"/>
              <a:gd name="connsiteX2266" fmla="*/ 4569093 w 8079933"/>
              <a:gd name="connsiteY2266" fmla="*/ 3472779 h 4687251"/>
              <a:gd name="connsiteX2267" fmla="*/ 4573542 w 8079933"/>
              <a:gd name="connsiteY2267" fmla="*/ 3473753 h 4687251"/>
              <a:gd name="connsiteX2268" fmla="*/ 4580053 w 8079933"/>
              <a:gd name="connsiteY2268" fmla="*/ 3471696 h 4687251"/>
              <a:gd name="connsiteX2269" fmla="*/ 4587107 w 8079933"/>
              <a:gd name="connsiteY2269" fmla="*/ 3461518 h 4687251"/>
              <a:gd name="connsiteX2270" fmla="*/ 4598393 w 8079933"/>
              <a:gd name="connsiteY2270" fmla="*/ 3447552 h 4687251"/>
              <a:gd name="connsiteX2271" fmla="*/ 4612500 w 8079933"/>
              <a:gd name="connsiteY2271" fmla="*/ 3438024 h 4687251"/>
              <a:gd name="connsiteX2272" fmla="*/ 4620530 w 8079933"/>
              <a:gd name="connsiteY2272" fmla="*/ 3435208 h 4687251"/>
              <a:gd name="connsiteX2273" fmla="*/ 4622592 w 8079933"/>
              <a:gd name="connsiteY2273" fmla="*/ 3433585 h 4687251"/>
              <a:gd name="connsiteX2274" fmla="*/ 4623026 w 8079933"/>
              <a:gd name="connsiteY2274" fmla="*/ 3431852 h 4687251"/>
              <a:gd name="connsiteX2275" fmla="*/ 4622483 w 8079933"/>
              <a:gd name="connsiteY2275" fmla="*/ 3429687 h 4687251"/>
              <a:gd name="connsiteX2276" fmla="*/ 4623677 w 8079933"/>
              <a:gd name="connsiteY2276" fmla="*/ 3427304 h 4687251"/>
              <a:gd name="connsiteX2277" fmla="*/ 4623026 w 8079933"/>
              <a:gd name="connsiteY2277" fmla="*/ 3425140 h 4687251"/>
              <a:gd name="connsiteX2278" fmla="*/ 4624979 w 8079933"/>
              <a:gd name="connsiteY2278" fmla="*/ 3421567 h 4687251"/>
              <a:gd name="connsiteX2279" fmla="*/ 4631598 w 8079933"/>
              <a:gd name="connsiteY2279" fmla="*/ 3418102 h 4687251"/>
              <a:gd name="connsiteX2280" fmla="*/ 4635396 w 8079933"/>
              <a:gd name="connsiteY2280" fmla="*/ 3417019 h 4687251"/>
              <a:gd name="connsiteX2281" fmla="*/ 4638652 w 8079933"/>
              <a:gd name="connsiteY2281" fmla="*/ 3415503 h 4687251"/>
              <a:gd name="connsiteX2282" fmla="*/ 4643536 w 8079933"/>
              <a:gd name="connsiteY2282" fmla="*/ 3413663 h 4687251"/>
              <a:gd name="connsiteX2283" fmla="*/ 4650047 w 8079933"/>
              <a:gd name="connsiteY2283" fmla="*/ 3413771 h 4687251"/>
              <a:gd name="connsiteX2284" fmla="*/ 4650046 w 8079933"/>
              <a:gd name="connsiteY2284" fmla="*/ 3413770 h 4687251"/>
              <a:gd name="connsiteX2285" fmla="*/ 4661451 w 8079933"/>
              <a:gd name="connsiteY2285" fmla="*/ 3412829 h 4687251"/>
              <a:gd name="connsiteX2286" fmla="*/ 4661548 w 8079933"/>
              <a:gd name="connsiteY2286" fmla="*/ 3415069 h 4687251"/>
              <a:gd name="connsiteX2287" fmla="*/ 4660680 w 8079933"/>
              <a:gd name="connsiteY2287" fmla="*/ 3415177 h 4687251"/>
              <a:gd name="connsiteX2288" fmla="*/ 4658618 w 8079933"/>
              <a:gd name="connsiteY2288" fmla="*/ 3415502 h 4687251"/>
              <a:gd name="connsiteX2289" fmla="*/ 4653736 w 8079933"/>
              <a:gd name="connsiteY2289" fmla="*/ 3414853 h 4687251"/>
              <a:gd name="connsiteX2290" fmla="*/ 4651239 w 8079933"/>
              <a:gd name="connsiteY2290" fmla="*/ 3415177 h 4687251"/>
              <a:gd name="connsiteX2291" fmla="*/ 4650483 w 8079933"/>
              <a:gd name="connsiteY2291" fmla="*/ 3414286 h 4687251"/>
              <a:gd name="connsiteX2292" fmla="*/ 4651240 w 8079933"/>
              <a:gd name="connsiteY2292" fmla="*/ 3415179 h 4687251"/>
              <a:gd name="connsiteX2293" fmla="*/ 4653736 w 8079933"/>
              <a:gd name="connsiteY2293" fmla="*/ 3414853 h 4687251"/>
              <a:gd name="connsiteX2294" fmla="*/ 4658619 w 8079933"/>
              <a:gd name="connsiteY2294" fmla="*/ 3415503 h 4687251"/>
              <a:gd name="connsiteX2295" fmla="*/ 4660681 w 8079933"/>
              <a:gd name="connsiteY2295" fmla="*/ 3415179 h 4687251"/>
              <a:gd name="connsiteX2296" fmla="*/ 4661549 w 8079933"/>
              <a:gd name="connsiteY2296" fmla="*/ 3415070 h 4687251"/>
              <a:gd name="connsiteX2297" fmla="*/ 2313182 w 8079933"/>
              <a:gd name="connsiteY2297" fmla="*/ 3411169 h 4687251"/>
              <a:gd name="connsiteX2298" fmla="*/ 2313466 w 8079933"/>
              <a:gd name="connsiteY2298" fmla="*/ 3412472 h 4687251"/>
              <a:gd name="connsiteX2299" fmla="*/ 2313939 w 8079933"/>
              <a:gd name="connsiteY2299" fmla="*/ 3413415 h 4687251"/>
              <a:gd name="connsiteX2300" fmla="*/ 2313466 w 8079933"/>
              <a:gd name="connsiteY2300" fmla="*/ 3412471 h 4687251"/>
              <a:gd name="connsiteX2301" fmla="*/ 6932369 w 8079933"/>
              <a:gd name="connsiteY2301" fmla="*/ 3405759 h 4687251"/>
              <a:gd name="connsiteX2302" fmla="*/ 6934322 w 8079933"/>
              <a:gd name="connsiteY2302" fmla="*/ 3406083 h 4687251"/>
              <a:gd name="connsiteX2303" fmla="*/ 6933780 w 8079933"/>
              <a:gd name="connsiteY2303" fmla="*/ 3408573 h 4687251"/>
              <a:gd name="connsiteX2304" fmla="*/ 6930958 w 8079933"/>
              <a:gd name="connsiteY2304" fmla="*/ 3408248 h 4687251"/>
              <a:gd name="connsiteX2305" fmla="*/ 4791334 w 8079933"/>
              <a:gd name="connsiteY2305" fmla="*/ 3402294 h 4687251"/>
              <a:gd name="connsiteX2306" fmla="*/ 4788731 w 8079933"/>
              <a:gd name="connsiteY2306" fmla="*/ 3402619 h 4687251"/>
              <a:gd name="connsiteX2307" fmla="*/ 4788731 w 8079933"/>
              <a:gd name="connsiteY2307" fmla="*/ 3402619 h 4687251"/>
              <a:gd name="connsiteX2308" fmla="*/ 4791334 w 8079933"/>
              <a:gd name="connsiteY2308" fmla="*/ 3402295 h 4687251"/>
              <a:gd name="connsiteX2309" fmla="*/ 4761710 w 8079933"/>
              <a:gd name="connsiteY2309" fmla="*/ 3397205 h 4687251"/>
              <a:gd name="connsiteX2310" fmla="*/ 4761167 w 8079933"/>
              <a:gd name="connsiteY2310" fmla="*/ 3402619 h 4687251"/>
              <a:gd name="connsiteX2311" fmla="*/ 4756175 w 8079933"/>
              <a:gd name="connsiteY2311" fmla="*/ 3408033 h 4687251"/>
              <a:gd name="connsiteX2312" fmla="*/ 4754981 w 8079933"/>
              <a:gd name="connsiteY2312" fmla="*/ 3413446 h 4687251"/>
              <a:gd name="connsiteX2313" fmla="*/ 4751834 w 8079933"/>
              <a:gd name="connsiteY2313" fmla="*/ 3417778 h 4687251"/>
              <a:gd name="connsiteX2314" fmla="*/ 4752377 w 8079933"/>
              <a:gd name="connsiteY2314" fmla="*/ 3421784 h 4687251"/>
              <a:gd name="connsiteX2315" fmla="*/ 4754439 w 8079933"/>
              <a:gd name="connsiteY2315" fmla="*/ 3427088 h 4687251"/>
              <a:gd name="connsiteX2316" fmla="*/ 4754981 w 8079933"/>
              <a:gd name="connsiteY2316" fmla="*/ 3430878 h 4687251"/>
              <a:gd name="connsiteX2317" fmla="*/ 4759105 w 8079933"/>
              <a:gd name="connsiteY2317" fmla="*/ 3435859 h 4687251"/>
              <a:gd name="connsiteX2318" fmla="*/ 4763120 w 8079933"/>
              <a:gd name="connsiteY2318" fmla="*/ 3439648 h 4687251"/>
              <a:gd name="connsiteX2319" fmla="*/ 4766158 w 8079933"/>
              <a:gd name="connsiteY2319" fmla="*/ 3441380 h 4687251"/>
              <a:gd name="connsiteX2320" fmla="*/ 4768871 w 8079933"/>
              <a:gd name="connsiteY2320" fmla="*/ 3443545 h 4687251"/>
              <a:gd name="connsiteX2321" fmla="*/ 4772019 w 8079933"/>
              <a:gd name="connsiteY2321" fmla="*/ 3447877 h 4687251"/>
              <a:gd name="connsiteX2322" fmla="*/ 4770499 w 8079933"/>
              <a:gd name="connsiteY2322" fmla="*/ 3450800 h 4687251"/>
              <a:gd name="connsiteX2323" fmla="*/ 4771693 w 8079933"/>
              <a:gd name="connsiteY2323" fmla="*/ 3454265 h 4687251"/>
              <a:gd name="connsiteX2324" fmla="*/ 4776359 w 8079933"/>
              <a:gd name="connsiteY2324" fmla="*/ 3453182 h 4687251"/>
              <a:gd name="connsiteX2325" fmla="*/ 4776359 w 8079933"/>
              <a:gd name="connsiteY2325" fmla="*/ 3453181 h 4687251"/>
              <a:gd name="connsiteX2326" fmla="*/ 4771694 w 8079933"/>
              <a:gd name="connsiteY2326" fmla="*/ 3454264 h 4687251"/>
              <a:gd name="connsiteX2327" fmla="*/ 4770500 w 8079933"/>
              <a:gd name="connsiteY2327" fmla="*/ 3450800 h 4687251"/>
              <a:gd name="connsiteX2328" fmla="*/ 4772020 w 8079933"/>
              <a:gd name="connsiteY2328" fmla="*/ 3447877 h 4687251"/>
              <a:gd name="connsiteX2329" fmla="*/ 4768872 w 8079933"/>
              <a:gd name="connsiteY2329" fmla="*/ 3443545 h 4687251"/>
              <a:gd name="connsiteX2330" fmla="*/ 4766159 w 8079933"/>
              <a:gd name="connsiteY2330" fmla="*/ 3441380 h 4687251"/>
              <a:gd name="connsiteX2331" fmla="*/ 4763121 w 8079933"/>
              <a:gd name="connsiteY2331" fmla="*/ 3439648 h 4687251"/>
              <a:gd name="connsiteX2332" fmla="*/ 4759106 w 8079933"/>
              <a:gd name="connsiteY2332" fmla="*/ 3435858 h 4687251"/>
              <a:gd name="connsiteX2333" fmla="*/ 4754983 w 8079933"/>
              <a:gd name="connsiteY2333" fmla="*/ 3430878 h 4687251"/>
              <a:gd name="connsiteX2334" fmla="*/ 4754440 w 8079933"/>
              <a:gd name="connsiteY2334" fmla="*/ 3427088 h 4687251"/>
              <a:gd name="connsiteX2335" fmla="*/ 4752378 w 8079933"/>
              <a:gd name="connsiteY2335" fmla="*/ 3421783 h 4687251"/>
              <a:gd name="connsiteX2336" fmla="*/ 4751835 w 8079933"/>
              <a:gd name="connsiteY2336" fmla="*/ 3417777 h 4687251"/>
              <a:gd name="connsiteX2337" fmla="*/ 4754983 w 8079933"/>
              <a:gd name="connsiteY2337" fmla="*/ 3413446 h 4687251"/>
              <a:gd name="connsiteX2338" fmla="*/ 4756176 w 8079933"/>
              <a:gd name="connsiteY2338" fmla="*/ 3408033 h 4687251"/>
              <a:gd name="connsiteX2339" fmla="*/ 4761168 w 8079933"/>
              <a:gd name="connsiteY2339" fmla="*/ 3402619 h 4687251"/>
              <a:gd name="connsiteX2340" fmla="*/ 7214077 w 8079933"/>
              <a:gd name="connsiteY2340" fmla="*/ 3388436 h 4687251"/>
              <a:gd name="connsiteX2341" fmla="*/ 7214186 w 8079933"/>
              <a:gd name="connsiteY2341" fmla="*/ 3392225 h 4687251"/>
              <a:gd name="connsiteX2342" fmla="*/ 7218093 w 8079933"/>
              <a:gd name="connsiteY2342" fmla="*/ 3391142 h 4687251"/>
              <a:gd name="connsiteX2343" fmla="*/ 7218636 w 8079933"/>
              <a:gd name="connsiteY2343" fmla="*/ 3392117 h 4687251"/>
              <a:gd name="connsiteX2344" fmla="*/ 7214621 w 8079933"/>
              <a:gd name="connsiteY2344" fmla="*/ 3395907 h 4687251"/>
              <a:gd name="connsiteX2345" fmla="*/ 7215706 w 8079933"/>
              <a:gd name="connsiteY2345" fmla="*/ 3397206 h 4687251"/>
              <a:gd name="connsiteX2346" fmla="*/ 7217659 w 8079933"/>
              <a:gd name="connsiteY2346" fmla="*/ 3396773 h 4687251"/>
              <a:gd name="connsiteX2347" fmla="*/ 7219396 w 8079933"/>
              <a:gd name="connsiteY2347" fmla="*/ 3397530 h 4687251"/>
              <a:gd name="connsiteX2348" fmla="*/ 7217985 w 8079933"/>
              <a:gd name="connsiteY2348" fmla="*/ 3401213 h 4687251"/>
              <a:gd name="connsiteX2349" fmla="*/ 7211691 w 8079933"/>
              <a:gd name="connsiteY2349" fmla="*/ 3400238 h 4687251"/>
              <a:gd name="connsiteX2350" fmla="*/ 7207892 w 8079933"/>
              <a:gd name="connsiteY2350" fmla="*/ 3401645 h 4687251"/>
              <a:gd name="connsiteX2351" fmla="*/ 7206265 w 8079933"/>
              <a:gd name="connsiteY2351" fmla="*/ 3401320 h 4687251"/>
              <a:gd name="connsiteX2352" fmla="*/ 7208652 w 8079933"/>
              <a:gd name="connsiteY2352" fmla="*/ 3399263 h 4687251"/>
              <a:gd name="connsiteX2353" fmla="*/ 7207025 w 8079933"/>
              <a:gd name="connsiteY2353" fmla="*/ 3393958 h 4687251"/>
              <a:gd name="connsiteX2354" fmla="*/ 7207892 w 8079933"/>
              <a:gd name="connsiteY2354" fmla="*/ 3392983 h 4687251"/>
              <a:gd name="connsiteX2355" fmla="*/ 7206916 w 8079933"/>
              <a:gd name="connsiteY2355" fmla="*/ 3391684 h 4687251"/>
              <a:gd name="connsiteX2356" fmla="*/ 7210605 w 8079933"/>
              <a:gd name="connsiteY2356" fmla="*/ 3391901 h 4687251"/>
              <a:gd name="connsiteX2357" fmla="*/ 7211365 w 8079933"/>
              <a:gd name="connsiteY2357" fmla="*/ 3389735 h 4687251"/>
              <a:gd name="connsiteX2358" fmla="*/ 4743045 w 8079933"/>
              <a:gd name="connsiteY2358" fmla="*/ 3387678 h 4687251"/>
              <a:gd name="connsiteX2359" fmla="*/ 4742483 w 8079933"/>
              <a:gd name="connsiteY2359" fmla="*/ 3388008 h 4687251"/>
              <a:gd name="connsiteX2360" fmla="*/ 4743045 w 8079933"/>
              <a:gd name="connsiteY2360" fmla="*/ 3387678 h 4687251"/>
              <a:gd name="connsiteX2361" fmla="*/ 4745975 w 8079933"/>
              <a:gd name="connsiteY2361" fmla="*/ 3387678 h 4687251"/>
              <a:gd name="connsiteX2362" fmla="*/ 4745975 w 8079933"/>
              <a:gd name="connsiteY2362" fmla="*/ 3387678 h 4687251"/>
              <a:gd name="connsiteX2363" fmla="*/ 7202792 w 8079933"/>
              <a:gd name="connsiteY2363" fmla="*/ 3387353 h 4687251"/>
              <a:gd name="connsiteX2364" fmla="*/ 7205178 w 8079933"/>
              <a:gd name="connsiteY2364" fmla="*/ 3390601 h 4687251"/>
              <a:gd name="connsiteX2365" fmla="*/ 7202465 w 8079933"/>
              <a:gd name="connsiteY2365" fmla="*/ 3393632 h 4687251"/>
              <a:gd name="connsiteX2366" fmla="*/ 7201815 w 8079933"/>
              <a:gd name="connsiteY2366" fmla="*/ 3391250 h 4687251"/>
              <a:gd name="connsiteX2367" fmla="*/ 7200513 w 8079933"/>
              <a:gd name="connsiteY2367" fmla="*/ 3392116 h 4687251"/>
              <a:gd name="connsiteX2368" fmla="*/ 7200079 w 8079933"/>
              <a:gd name="connsiteY2368" fmla="*/ 3389951 h 4687251"/>
              <a:gd name="connsiteX2369" fmla="*/ 4753029 w 8079933"/>
              <a:gd name="connsiteY2369" fmla="*/ 3385296 h 4687251"/>
              <a:gd name="connsiteX2370" fmla="*/ 4748037 w 8079933"/>
              <a:gd name="connsiteY2370" fmla="*/ 3385512 h 4687251"/>
              <a:gd name="connsiteX2371" fmla="*/ 4748037 w 8079933"/>
              <a:gd name="connsiteY2371" fmla="*/ 3385513 h 4687251"/>
              <a:gd name="connsiteX2372" fmla="*/ 4753028 w 8079933"/>
              <a:gd name="connsiteY2372" fmla="*/ 3385296 h 4687251"/>
              <a:gd name="connsiteX2373" fmla="*/ 4759430 w 8079933"/>
              <a:gd name="connsiteY2373" fmla="*/ 3386812 h 4687251"/>
              <a:gd name="connsiteX2374" fmla="*/ 4761710 w 8079933"/>
              <a:gd name="connsiteY2374" fmla="*/ 3390601 h 4687251"/>
              <a:gd name="connsiteX2375" fmla="*/ 4761710 w 8079933"/>
              <a:gd name="connsiteY2375" fmla="*/ 3390601 h 4687251"/>
              <a:gd name="connsiteX2376" fmla="*/ 4759431 w 8079933"/>
              <a:gd name="connsiteY2376" fmla="*/ 3386811 h 4687251"/>
              <a:gd name="connsiteX2377" fmla="*/ 4643100 w 8079933"/>
              <a:gd name="connsiteY2377" fmla="*/ 3357903 h 4687251"/>
              <a:gd name="connsiteX2378" fmla="*/ 4643535 w 8079933"/>
              <a:gd name="connsiteY2378" fmla="*/ 3359310 h 4687251"/>
              <a:gd name="connsiteX2379" fmla="*/ 4643101 w 8079933"/>
              <a:gd name="connsiteY2379" fmla="*/ 3357903 h 4687251"/>
              <a:gd name="connsiteX2380" fmla="*/ 5096701 w 8079933"/>
              <a:gd name="connsiteY2380" fmla="*/ 3356821 h 4687251"/>
              <a:gd name="connsiteX2381" fmla="*/ 5097786 w 8079933"/>
              <a:gd name="connsiteY2381" fmla="*/ 3358770 h 4687251"/>
              <a:gd name="connsiteX2382" fmla="*/ 5096701 w 8079933"/>
              <a:gd name="connsiteY2382" fmla="*/ 3360069 h 4687251"/>
              <a:gd name="connsiteX2383" fmla="*/ 5096159 w 8079933"/>
              <a:gd name="connsiteY2383" fmla="*/ 3358120 h 4687251"/>
              <a:gd name="connsiteX2384" fmla="*/ 5089322 w 8079933"/>
              <a:gd name="connsiteY2384" fmla="*/ 3355955 h 4687251"/>
              <a:gd name="connsiteX2385" fmla="*/ 5090190 w 8079933"/>
              <a:gd name="connsiteY2385" fmla="*/ 3356929 h 4687251"/>
              <a:gd name="connsiteX2386" fmla="*/ 5092794 w 8079933"/>
              <a:gd name="connsiteY2386" fmla="*/ 3358445 h 4687251"/>
              <a:gd name="connsiteX2387" fmla="*/ 5091818 w 8079933"/>
              <a:gd name="connsiteY2387" fmla="*/ 3362992 h 4687251"/>
              <a:gd name="connsiteX2388" fmla="*/ 5089322 w 8079933"/>
              <a:gd name="connsiteY2388" fmla="*/ 3360718 h 4687251"/>
              <a:gd name="connsiteX2389" fmla="*/ 5086067 w 8079933"/>
              <a:gd name="connsiteY2389" fmla="*/ 3360611 h 4687251"/>
              <a:gd name="connsiteX2390" fmla="*/ 5088454 w 8079933"/>
              <a:gd name="connsiteY2390" fmla="*/ 3356929 h 4687251"/>
              <a:gd name="connsiteX2391" fmla="*/ 5100608 w 8079933"/>
              <a:gd name="connsiteY2391" fmla="*/ 3344694 h 4687251"/>
              <a:gd name="connsiteX2392" fmla="*/ 5100500 w 8079933"/>
              <a:gd name="connsiteY2392" fmla="*/ 3346318 h 4687251"/>
              <a:gd name="connsiteX2393" fmla="*/ 5097678 w 8079933"/>
              <a:gd name="connsiteY2393" fmla="*/ 3350648 h 4687251"/>
              <a:gd name="connsiteX2394" fmla="*/ 5096593 w 8079933"/>
              <a:gd name="connsiteY2394" fmla="*/ 3348700 h 4687251"/>
              <a:gd name="connsiteX2395" fmla="*/ 7186624 w 8079933"/>
              <a:gd name="connsiteY2395" fmla="*/ 3343287 h 4687251"/>
              <a:gd name="connsiteX2396" fmla="*/ 7186949 w 8079933"/>
              <a:gd name="connsiteY2396" fmla="*/ 3344694 h 4687251"/>
              <a:gd name="connsiteX2397" fmla="*/ 7182717 w 8079933"/>
              <a:gd name="connsiteY2397" fmla="*/ 3346426 h 4687251"/>
              <a:gd name="connsiteX2398" fmla="*/ 7180872 w 8079933"/>
              <a:gd name="connsiteY2398" fmla="*/ 3345019 h 4687251"/>
              <a:gd name="connsiteX2399" fmla="*/ 5017049 w 8079933"/>
              <a:gd name="connsiteY2399" fmla="*/ 3342530 h 4687251"/>
              <a:gd name="connsiteX2400" fmla="*/ 5019979 w 8079933"/>
              <a:gd name="connsiteY2400" fmla="*/ 3346211 h 4687251"/>
              <a:gd name="connsiteX2401" fmla="*/ 5015530 w 8079933"/>
              <a:gd name="connsiteY2401" fmla="*/ 3353465 h 4687251"/>
              <a:gd name="connsiteX2402" fmla="*/ 5014011 w 8079933"/>
              <a:gd name="connsiteY2402" fmla="*/ 3351408 h 4687251"/>
              <a:gd name="connsiteX2403" fmla="*/ 5014879 w 8079933"/>
              <a:gd name="connsiteY2403" fmla="*/ 3347077 h 4687251"/>
              <a:gd name="connsiteX2404" fmla="*/ 5014336 w 8079933"/>
              <a:gd name="connsiteY2404" fmla="*/ 3343179 h 4687251"/>
              <a:gd name="connsiteX2405" fmla="*/ 7196498 w 8079933"/>
              <a:gd name="connsiteY2405" fmla="*/ 3337657 h 4687251"/>
              <a:gd name="connsiteX2406" fmla="*/ 7195087 w 8079933"/>
              <a:gd name="connsiteY2406" fmla="*/ 3340256 h 4687251"/>
              <a:gd name="connsiteX2407" fmla="*/ 7190963 w 8079933"/>
              <a:gd name="connsiteY2407" fmla="*/ 3340797 h 4687251"/>
              <a:gd name="connsiteX2408" fmla="*/ 7188468 w 8079933"/>
              <a:gd name="connsiteY2408" fmla="*/ 3343288 h 4687251"/>
              <a:gd name="connsiteX2409" fmla="*/ 7188034 w 8079933"/>
              <a:gd name="connsiteY2409" fmla="*/ 3340473 h 4687251"/>
              <a:gd name="connsiteX2410" fmla="*/ 7192592 w 8079933"/>
              <a:gd name="connsiteY2410" fmla="*/ 3337873 h 4687251"/>
              <a:gd name="connsiteX2411" fmla="*/ 4639737 w 8079933"/>
              <a:gd name="connsiteY2411" fmla="*/ 3335058 h 4687251"/>
              <a:gd name="connsiteX2412" fmla="*/ 4641038 w 8079933"/>
              <a:gd name="connsiteY2412" fmla="*/ 3337331 h 4687251"/>
              <a:gd name="connsiteX2413" fmla="*/ 4639845 w 8079933"/>
              <a:gd name="connsiteY2413" fmla="*/ 3337981 h 4687251"/>
              <a:gd name="connsiteX2414" fmla="*/ 4630079 w 8079933"/>
              <a:gd name="connsiteY2414" fmla="*/ 3337872 h 4687251"/>
              <a:gd name="connsiteX2415" fmla="*/ 4629250 w 8079933"/>
              <a:gd name="connsiteY2415" fmla="*/ 3336809 h 4687251"/>
              <a:gd name="connsiteX2416" fmla="*/ 4630079 w 8079933"/>
              <a:gd name="connsiteY2416" fmla="*/ 3337873 h 4687251"/>
              <a:gd name="connsiteX2417" fmla="*/ 4639845 w 8079933"/>
              <a:gd name="connsiteY2417" fmla="*/ 3337981 h 4687251"/>
              <a:gd name="connsiteX2418" fmla="*/ 4641039 w 8079933"/>
              <a:gd name="connsiteY2418" fmla="*/ 3337331 h 4687251"/>
              <a:gd name="connsiteX2419" fmla="*/ 7197366 w 8079933"/>
              <a:gd name="connsiteY2419" fmla="*/ 3334300 h 4687251"/>
              <a:gd name="connsiteX2420" fmla="*/ 7197366 w 8079933"/>
              <a:gd name="connsiteY2420" fmla="*/ 3336573 h 4687251"/>
              <a:gd name="connsiteX2421" fmla="*/ 7194544 w 8079933"/>
              <a:gd name="connsiteY2421" fmla="*/ 3336356 h 4687251"/>
              <a:gd name="connsiteX2422" fmla="*/ 4976465 w 8079933"/>
              <a:gd name="connsiteY2422" fmla="*/ 3333434 h 4687251"/>
              <a:gd name="connsiteX2423" fmla="*/ 4979177 w 8079933"/>
              <a:gd name="connsiteY2423" fmla="*/ 3333650 h 4687251"/>
              <a:gd name="connsiteX2424" fmla="*/ 4981347 w 8079933"/>
              <a:gd name="connsiteY2424" fmla="*/ 3336573 h 4687251"/>
              <a:gd name="connsiteX2425" fmla="*/ 4977115 w 8079933"/>
              <a:gd name="connsiteY2425" fmla="*/ 3336140 h 4687251"/>
              <a:gd name="connsiteX2426" fmla="*/ 4975488 w 8079933"/>
              <a:gd name="connsiteY2426" fmla="*/ 3334517 h 4687251"/>
              <a:gd name="connsiteX2427" fmla="*/ 4597632 w 8079933"/>
              <a:gd name="connsiteY2427" fmla="*/ 3333001 h 4687251"/>
              <a:gd name="connsiteX2428" fmla="*/ 4606422 w 8079933"/>
              <a:gd name="connsiteY2428" fmla="*/ 3335924 h 4687251"/>
              <a:gd name="connsiteX2429" fmla="*/ 4611739 w 8079933"/>
              <a:gd name="connsiteY2429" fmla="*/ 3339388 h 4687251"/>
              <a:gd name="connsiteX2430" fmla="*/ 4606422 w 8079933"/>
              <a:gd name="connsiteY2430" fmla="*/ 3335924 h 4687251"/>
              <a:gd name="connsiteX2431" fmla="*/ 7203226 w 8079933"/>
              <a:gd name="connsiteY2431" fmla="*/ 3331810 h 4687251"/>
              <a:gd name="connsiteX2432" fmla="*/ 7206048 w 8079933"/>
              <a:gd name="connsiteY2432" fmla="*/ 3331810 h 4687251"/>
              <a:gd name="connsiteX2433" fmla="*/ 7204528 w 8079933"/>
              <a:gd name="connsiteY2433" fmla="*/ 3333650 h 4687251"/>
              <a:gd name="connsiteX2434" fmla="*/ 4644403 w 8079933"/>
              <a:gd name="connsiteY2434" fmla="*/ 3331485 h 4687251"/>
              <a:gd name="connsiteX2435" fmla="*/ 4639194 w 8079933"/>
              <a:gd name="connsiteY2435" fmla="*/ 3332351 h 4687251"/>
              <a:gd name="connsiteX2436" fmla="*/ 4644403 w 8079933"/>
              <a:gd name="connsiteY2436" fmla="*/ 3331485 h 4687251"/>
              <a:gd name="connsiteX2437" fmla="*/ 4647441 w 8079933"/>
              <a:gd name="connsiteY2437" fmla="*/ 3332676 h 4687251"/>
              <a:gd name="connsiteX2438" fmla="*/ 5001207 w 8079933"/>
              <a:gd name="connsiteY2438" fmla="*/ 3329103 h 4687251"/>
              <a:gd name="connsiteX2439" fmla="*/ 5003595 w 8079933"/>
              <a:gd name="connsiteY2439" fmla="*/ 3333975 h 4687251"/>
              <a:gd name="connsiteX2440" fmla="*/ 5001642 w 8079933"/>
              <a:gd name="connsiteY2440" fmla="*/ 3336249 h 4687251"/>
              <a:gd name="connsiteX2441" fmla="*/ 4998603 w 8079933"/>
              <a:gd name="connsiteY2441" fmla="*/ 3333434 h 4687251"/>
              <a:gd name="connsiteX2442" fmla="*/ 4995456 w 8079933"/>
              <a:gd name="connsiteY2442" fmla="*/ 3331918 h 4687251"/>
              <a:gd name="connsiteX2443" fmla="*/ 4999146 w 8079933"/>
              <a:gd name="connsiteY2443" fmla="*/ 3331052 h 4687251"/>
              <a:gd name="connsiteX2444" fmla="*/ 7209195 w 8079933"/>
              <a:gd name="connsiteY2444" fmla="*/ 3328887 h 4687251"/>
              <a:gd name="connsiteX2445" fmla="*/ 7209629 w 8079933"/>
              <a:gd name="connsiteY2445" fmla="*/ 3331485 h 4687251"/>
              <a:gd name="connsiteX2446" fmla="*/ 7206916 w 8079933"/>
              <a:gd name="connsiteY2446" fmla="*/ 3330078 h 4687251"/>
              <a:gd name="connsiteX2447" fmla="*/ 4622284 w 8079933"/>
              <a:gd name="connsiteY2447" fmla="*/ 3326641 h 4687251"/>
              <a:gd name="connsiteX2448" fmla="*/ 4626389 w 8079933"/>
              <a:gd name="connsiteY2448" fmla="*/ 3331161 h 4687251"/>
              <a:gd name="connsiteX2449" fmla="*/ 4626710 w 8079933"/>
              <a:gd name="connsiteY2449" fmla="*/ 3332023 h 4687251"/>
              <a:gd name="connsiteX2450" fmla="*/ 4626389 w 8079933"/>
              <a:gd name="connsiteY2450" fmla="*/ 3331160 h 4687251"/>
              <a:gd name="connsiteX2451" fmla="*/ 5116668 w 8079933"/>
              <a:gd name="connsiteY2451" fmla="*/ 3326180 h 4687251"/>
              <a:gd name="connsiteX2452" fmla="*/ 5118295 w 8079933"/>
              <a:gd name="connsiteY2452" fmla="*/ 3330943 h 4687251"/>
              <a:gd name="connsiteX2453" fmla="*/ 5115908 w 8079933"/>
              <a:gd name="connsiteY2453" fmla="*/ 3335816 h 4687251"/>
              <a:gd name="connsiteX2454" fmla="*/ 5120139 w 8079933"/>
              <a:gd name="connsiteY2454" fmla="*/ 3337657 h 4687251"/>
              <a:gd name="connsiteX2455" fmla="*/ 5120682 w 8079933"/>
              <a:gd name="connsiteY2455" fmla="*/ 3342420 h 4687251"/>
              <a:gd name="connsiteX2456" fmla="*/ 5124806 w 8079933"/>
              <a:gd name="connsiteY2456" fmla="*/ 3347726 h 4687251"/>
              <a:gd name="connsiteX2457" fmla="*/ 5126650 w 8079933"/>
              <a:gd name="connsiteY2457" fmla="*/ 3346968 h 4687251"/>
              <a:gd name="connsiteX2458" fmla="*/ 5128495 w 8079933"/>
              <a:gd name="connsiteY2458" fmla="*/ 3350649 h 4687251"/>
              <a:gd name="connsiteX2459" fmla="*/ 5128930 w 8079933"/>
              <a:gd name="connsiteY2459" fmla="*/ 3361260 h 4687251"/>
              <a:gd name="connsiteX2460" fmla="*/ 5132510 w 8079933"/>
              <a:gd name="connsiteY2460" fmla="*/ 3365915 h 4687251"/>
              <a:gd name="connsiteX2461" fmla="*/ 5131968 w 8079933"/>
              <a:gd name="connsiteY2461" fmla="*/ 3378150 h 4687251"/>
              <a:gd name="connsiteX2462" fmla="*/ 5130883 w 8079933"/>
              <a:gd name="connsiteY2462" fmla="*/ 3380748 h 4687251"/>
              <a:gd name="connsiteX2463" fmla="*/ 5132402 w 8079933"/>
              <a:gd name="connsiteY2463" fmla="*/ 3387244 h 4687251"/>
              <a:gd name="connsiteX2464" fmla="*/ 5132402 w 8079933"/>
              <a:gd name="connsiteY2464" fmla="*/ 3392441 h 4687251"/>
              <a:gd name="connsiteX2465" fmla="*/ 5131100 w 8079933"/>
              <a:gd name="connsiteY2465" fmla="*/ 3394607 h 4687251"/>
              <a:gd name="connsiteX2466" fmla="*/ 5132293 w 8079933"/>
              <a:gd name="connsiteY2466" fmla="*/ 3398938 h 4687251"/>
              <a:gd name="connsiteX2467" fmla="*/ 5136960 w 8079933"/>
              <a:gd name="connsiteY2467" fmla="*/ 3405217 h 4687251"/>
              <a:gd name="connsiteX2468" fmla="*/ 5137285 w 8079933"/>
              <a:gd name="connsiteY2468" fmla="*/ 3410089 h 4687251"/>
              <a:gd name="connsiteX2469" fmla="*/ 5135549 w 8079933"/>
              <a:gd name="connsiteY2469" fmla="*/ 3411714 h 4687251"/>
              <a:gd name="connsiteX2470" fmla="*/ 5135006 w 8079933"/>
              <a:gd name="connsiteY2470" fmla="*/ 3415936 h 4687251"/>
              <a:gd name="connsiteX2471" fmla="*/ 5133704 w 8079933"/>
              <a:gd name="connsiteY2471" fmla="*/ 3417452 h 4687251"/>
              <a:gd name="connsiteX2472" fmla="*/ 5133487 w 8079933"/>
              <a:gd name="connsiteY2472" fmla="*/ 3421566 h 4687251"/>
              <a:gd name="connsiteX2473" fmla="*/ 5131751 w 8079933"/>
              <a:gd name="connsiteY2473" fmla="*/ 3424598 h 4687251"/>
              <a:gd name="connsiteX2474" fmla="*/ 5128821 w 8079933"/>
              <a:gd name="connsiteY2474" fmla="*/ 3423948 h 4687251"/>
              <a:gd name="connsiteX2475" fmla="*/ 5124697 w 8079933"/>
              <a:gd name="connsiteY2475" fmla="*/ 3418534 h 4687251"/>
              <a:gd name="connsiteX2476" fmla="*/ 5123721 w 8079933"/>
              <a:gd name="connsiteY2476" fmla="*/ 3413554 h 4687251"/>
              <a:gd name="connsiteX2477" fmla="*/ 5121334 w 8079933"/>
              <a:gd name="connsiteY2477" fmla="*/ 3411714 h 4687251"/>
              <a:gd name="connsiteX2478" fmla="*/ 5118186 w 8079933"/>
              <a:gd name="connsiteY2478" fmla="*/ 3413230 h 4687251"/>
              <a:gd name="connsiteX2479" fmla="*/ 5118295 w 8079933"/>
              <a:gd name="connsiteY2479" fmla="*/ 3418968 h 4687251"/>
              <a:gd name="connsiteX2480" fmla="*/ 5120139 w 8079933"/>
              <a:gd name="connsiteY2480" fmla="*/ 3420159 h 4687251"/>
              <a:gd name="connsiteX2481" fmla="*/ 5120465 w 8079933"/>
              <a:gd name="connsiteY2481" fmla="*/ 3426005 h 4687251"/>
              <a:gd name="connsiteX2482" fmla="*/ 5118295 w 8079933"/>
              <a:gd name="connsiteY2482" fmla="*/ 3430120 h 4687251"/>
              <a:gd name="connsiteX2483" fmla="*/ 5120248 w 8079933"/>
              <a:gd name="connsiteY2483" fmla="*/ 3431960 h 4687251"/>
              <a:gd name="connsiteX2484" fmla="*/ 5121116 w 8079933"/>
              <a:gd name="connsiteY2484" fmla="*/ 3437807 h 4687251"/>
              <a:gd name="connsiteX2485" fmla="*/ 5117644 w 8079933"/>
              <a:gd name="connsiteY2485" fmla="*/ 3441813 h 4687251"/>
              <a:gd name="connsiteX2486" fmla="*/ 5118295 w 8079933"/>
              <a:gd name="connsiteY2486" fmla="*/ 3445170 h 4687251"/>
              <a:gd name="connsiteX2487" fmla="*/ 5113303 w 8079933"/>
              <a:gd name="connsiteY2487" fmla="*/ 3451990 h 4687251"/>
              <a:gd name="connsiteX2488" fmla="*/ 5112110 w 8079933"/>
              <a:gd name="connsiteY2488" fmla="*/ 3457945 h 4687251"/>
              <a:gd name="connsiteX2489" fmla="*/ 5114171 w 8079933"/>
              <a:gd name="connsiteY2489" fmla="*/ 3461518 h 4687251"/>
              <a:gd name="connsiteX2490" fmla="*/ 5112869 w 8079933"/>
              <a:gd name="connsiteY2490" fmla="*/ 3468556 h 4687251"/>
              <a:gd name="connsiteX2491" fmla="*/ 5110698 w 8079933"/>
              <a:gd name="connsiteY2491" fmla="*/ 3471046 h 4687251"/>
              <a:gd name="connsiteX2492" fmla="*/ 5108420 w 8079933"/>
              <a:gd name="connsiteY2492" fmla="*/ 3480790 h 4687251"/>
              <a:gd name="connsiteX2493" fmla="*/ 5105707 w 8079933"/>
              <a:gd name="connsiteY2493" fmla="*/ 3494108 h 4687251"/>
              <a:gd name="connsiteX2494" fmla="*/ 5100281 w 8079933"/>
              <a:gd name="connsiteY2494" fmla="*/ 3502661 h 4687251"/>
              <a:gd name="connsiteX2495" fmla="*/ 5099521 w 8079933"/>
              <a:gd name="connsiteY2495" fmla="*/ 3506018 h 4687251"/>
              <a:gd name="connsiteX2496" fmla="*/ 5094747 w 8079933"/>
              <a:gd name="connsiteY2496" fmla="*/ 3514787 h 4687251"/>
              <a:gd name="connsiteX2497" fmla="*/ 5094747 w 8079933"/>
              <a:gd name="connsiteY2497" fmla="*/ 3523557 h 4687251"/>
              <a:gd name="connsiteX2498" fmla="*/ 5090298 w 8079933"/>
              <a:gd name="connsiteY2498" fmla="*/ 3530053 h 4687251"/>
              <a:gd name="connsiteX2499" fmla="*/ 5084112 w 8079933"/>
              <a:gd name="connsiteY2499" fmla="*/ 3549434 h 4687251"/>
              <a:gd name="connsiteX2500" fmla="*/ 5077601 w 8079933"/>
              <a:gd name="connsiteY2500" fmla="*/ 3560911 h 4687251"/>
              <a:gd name="connsiteX2501" fmla="*/ 5075539 w 8079933"/>
              <a:gd name="connsiteY2501" fmla="*/ 3570547 h 4687251"/>
              <a:gd name="connsiteX2502" fmla="*/ 5071850 w 8079933"/>
              <a:gd name="connsiteY2502" fmla="*/ 3574228 h 4687251"/>
              <a:gd name="connsiteX2503" fmla="*/ 5069354 w 8079933"/>
              <a:gd name="connsiteY2503" fmla="*/ 3582998 h 4687251"/>
              <a:gd name="connsiteX2504" fmla="*/ 5065990 w 8079933"/>
              <a:gd name="connsiteY2504" fmla="*/ 3599022 h 4687251"/>
              <a:gd name="connsiteX2505" fmla="*/ 5061541 w 8079933"/>
              <a:gd name="connsiteY2505" fmla="*/ 3606060 h 4687251"/>
              <a:gd name="connsiteX2506" fmla="*/ 5059804 w 8079933"/>
              <a:gd name="connsiteY2506" fmla="*/ 3606060 h 4687251"/>
              <a:gd name="connsiteX2507" fmla="*/ 5060347 w 8079933"/>
              <a:gd name="connsiteY2507" fmla="*/ 3607359 h 4687251"/>
              <a:gd name="connsiteX2508" fmla="*/ 5058286 w 8079933"/>
              <a:gd name="connsiteY2508" fmla="*/ 3615262 h 4687251"/>
              <a:gd name="connsiteX2509" fmla="*/ 5054921 w 8079933"/>
              <a:gd name="connsiteY2509" fmla="*/ 3617753 h 4687251"/>
              <a:gd name="connsiteX2510" fmla="*/ 5056115 w 8079933"/>
              <a:gd name="connsiteY2510" fmla="*/ 3618727 h 4687251"/>
              <a:gd name="connsiteX2511" fmla="*/ 5056549 w 8079933"/>
              <a:gd name="connsiteY2511" fmla="*/ 3625981 h 4687251"/>
              <a:gd name="connsiteX2512" fmla="*/ 5051775 w 8079933"/>
              <a:gd name="connsiteY2512" fmla="*/ 3628905 h 4687251"/>
              <a:gd name="connsiteX2513" fmla="*/ 5051557 w 8079933"/>
              <a:gd name="connsiteY2513" fmla="*/ 3633127 h 4687251"/>
              <a:gd name="connsiteX2514" fmla="*/ 5047759 w 8079933"/>
              <a:gd name="connsiteY2514" fmla="*/ 3639299 h 4687251"/>
              <a:gd name="connsiteX2515" fmla="*/ 5045263 w 8079933"/>
              <a:gd name="connsiteY2515" fmla="*/ 3646769 h 4687251"/>
              <a:gd name="connsiteX2516" fmla="*/ 5041465 w 8079933"/>
              <a:gd name="connsiteY2516" fmla="*/ 3647311 h 4687251"/>
              <a:gd name="connsiteX2517" fmla="*/ 5039295 w 8079933"/>
              <a:gd name="connsiteY2517" fmla="*/ 3651533 h 4687251"/>
              <a:gd name="connsiteX2518" fmla="*/ 5031482 w 8079933"/>
              <a:gd name="connsiteY2518" fmla="*/ 3654565 h 4687251"/>
              <a:gd name="connsiteX2519" fmla="*/ 5026816 w 8079933"/>
              <a:gd name="connsiteY2519" fmla="*/ 3653482 h 4687251"/>
              <a:gd name="connsiteX2520" fmla="*/ 5011949 w 8079933"/>
              <a:gd name="connsiteY2520" fmla="*/ 3654890 h 4687251"/>
              <a:gd name="connsiteX2521" fmla="*/ 5007283 w 8079933"/>
              <a:gd name="connsiteY2521" fmla="*/ 3660303 h 4687251"/>
              <a:gd name="connsiteX2522" fmla="*/ 5001640 w 8079933"/>
              <a:gd name="connsiteY2522" fmla="*/ 3663660 h 4687251"/>
              <a:gd name="connsiteX2523" fmla="*/ 4996540 w 8079933"/>
              <a:gd name="connsiteY2523" fmla="*/ 3663227 h 4687251"/>
              <a:gd name="connsiteX2524" fmla="*/ 4993501 w 8079933"/>
              <a:gd name="connsiteY2524" fmla="*/ 3665175 h 4687251"/>
              <a:gd name="connsiteX2525" fmla="*/ 4992199 w 8079933"/>
              <a:gd name="connsiteY2525" fmla="*/ 3664092 h 4687251"/>
              <a:gd name="connsiteX2526" fmla="*/ 4992199 w 8079933"/>
              <a:gd name="connsiteY2526" fmla="*/ 3661927 h 4687251"/>
              <a:gd name="connsiteX2527" fmla="*/ 4989160 w 8079933"/>
              <a:gd name="connsiteY2527" fmla="*/ 3661278 h 4687251"/>
              <a:gd name="connsiteX2528" fmla="*/ 4985146 w 8079933"/>
              <a:gd name="connsiteY2528" fmla="*/ 3655972 h 4687251"/>
              <a:gd name="connsiteX2529" fmla="*/ 4981347 w 8079933"/>
              <a:gd name="connsiteY2529" fmla="*/ 3655106 h 4687251"/>
              <a:gd name="connsiteX2530" fmla="*/ 4980154 w 8079933"/>
              <a:gd name="connsiteY2530" fmla="*/ 3653482 h 4687251"/>
              <a:gd name="connsiteX2531" fmla="*/ 4976789 w 8079933"/>
              <a:gd name="connsiteY2531" fmla="*/ 3654673 h 4687251"/>
              <a:gd name="connsiteX2532" fmla="*/ 4973643 w 8079933"/>
              <a:gd name="connsiteY2532" fmla="*/ 3650992 h 4687251"/>
              <a:gd name="connsiteX2533" fmla="*/ 4971581 w 8079933"/>
              <a:gd name="connsiteY2533" fmla="*/ 3647744 h 4687251"/>
              <a:gd name="connsiteX2534" fmla="*/ 4968977 w 8079933"/>
              <a:gd name="connsiteY2534" fmla="*/ 3646336 h 4687251"/>
              <a:gd name="connsiteX2535" fmla="*/ 4965829 w 8079933"/>
              <a:gd name="connsiteY2535" fmla="*/ 3641464 h 4687251"/>
              <a:gd name="connsiteX2536" fmla="*/ 4963117 w 8079933"/>
              <a:gd name="connsiteY2536" fmla="*/ 3639840 h 4687251"/>
              <a:gd name="connsiteX2537" fmla="*/ 4962791 w 8079933"/>
              <a:gd name="connsiteY2537" fmla="*/ 3636592 h 4687251"/>
              <a:gd name="connsiteX2538" fmla="*/ 4961163 w 8079933"/>
              <a:gd name="connsiteY2538" fmla="*/ 3634535 h 4687251"/>
              <a:gd name="connsiteX2539" fmla="*/ 4961814 w 8079933"/>
              <a:gd name="connsiteY2539" fmla="*/ 3624574 h 4687251"/>
              <a:gd name="connsiteX2540" fmla="*/ 4961163 w 8079933"/>
              <a:gd name="connsiteY2540" fmla="*/ 3616778 h 4687251"/>
              <a:gd name="connsiteX2541" fmla="*/ 4960837 w 8079933"/>
              <a:gd name="connsiteY2541" fmla="*/ 3611797 h 4687251"/>
              <a:gd name="connsiteX2542" fmla="*/ 4965612 w 8079933"/>
              <a:gd name="connsiteY2542" fmla="*/ 3610715 h 4687251"/>
              <a:gd name="connsiteX2543" fmla="*/ 4967132 w 8079933"/>
              <a:gd name="connsiteY2543" fmla="*/ 3609199 h 4687251"/>
              <a:gd name="connsiteX2544" fmla="*/ 4965504 w 8079933"/>
              <a:gd name="connsiteY2544" fmla="*/ 3609633 h 4687251"/>
              <a:gd name="connsiteX2545" fmla="*/ 4962465 w 8079933"/>
              <a:gd name="connsiteY2545" fmla="*/ 3607792 h 4687251"/>
              <a:gd name="connsiteX2546" fmla="*/ 4961381 w 8079933"/>
              <a:gd name="connsiteY2546" fmla="*/ 3604436 h 4687251"/>
              <a:gd name="connsiteX2547" fmla="*/ 4962357 w 8079933"/>
              <a:gd name="connsiteY2547" fmla="*/ 3598914 h 4687251"/>
              <a:gd name="connsiteX2548" fmla="*/ 4956171 w 8079933"/>
              <a:gd name="connsiteY2548" fmla="*/ 3591552 h 4687251"/>
              <a:gd name="connsiteX2549" fmla="*/ 4955955 w 8079933"/>
              <a:gd name="connsiteY2549" fmla="*/ 3583972 h 4687251"/>
              <a:gd name="connsiteX2550" fmla="*/ 4954761 w 8079933"/>
              <a:gd name="connsiteY2550" fmla="*/ 3581049 h 4687251"/>
              <a:gd name="connsiteX2551" fmla="*/ 4956388 w 8079933"/>
              <a:gd name="connsiteY2551" fmla="*/ 3577259 h 4687251"/>
              <a:gd name="connsiteX2552" fmla="*/ 4955846 w 8079933"/>
              <a:gd name="connsiteY2552" fmla="*/ 3570980 h 4687251"/>
              <a:gd name="connsiteX2553" fmla="*/ 4961055 w 8079933"/>
              <a:gd name="connsiteY2553" fmla="*/ 3565458 h 4687251"/>
              <a:gd name="connsiteX2554" fmla="*/ 4960512 w 8079933"/>
              <a:gd name="connsiteY2554" fmla="*/ 3557771 h 4687251"/>
              <a:gd name="connsiteX2555" fmla="*/ 4962249 w 8079933"/>
              <a:gd name="connsiteY2555" fmla="*/ 3555497 h 4687251"/>
              <a:gd name="connsiteX2556" fmla="*/ 4969194 w 8079933"/>
              <a:gd name="connsiteY2556" fmla="*/ 3553873 h 4687251"/>
              <a:gd name="connsiteX2557" fmla="*/ 4972015 w 8079933"/>
              <a:gd name="connsiteY2557" fmla="*/ 3550625 h 4687251"/>
              <a:gd name="connsiteX2558" fmla="*/ 4972449 w 8079933"/>
              <a:gd name="connsiteY2558" fmla="*/ 3541747 h 4687251"/>
              <a:gd name="connsiteX2559" fmla="*/ 4976789 w 8079933"/>
              <a:gd name="connsiteY2559" fmla="*/ 3538282 h 4687251"/>
              <a:gd name="connsiteX2560" fmla="*/ 4978201 w 8079933"/>
              <a:gd name="connsiteY2560" fmla="*/ 3534168 h 4687251"/>
              <a:gd name="connsiteX2561" fmla="*/ 4981022 w 8079933"/>
              <a:gd name="connsiteY2561" fmla="*/ 3533626 h 4687251"/>
              <a:gd name="connsiteX2562" fmla="*/ 4982324 w 8079933"/>
              <a:gd name="connsiteY2562" fmla="*/ 3527455 h 4687251"/>
              <a:gd name="connsiteX2563" fmla="*/ 4987099 w 8079933"/>
              <a:gd name="connsiteY2563" fmla="*/ 3524423 h 4687251"/>
              <a:gd name="connsiteX2564" fmla="*/ 4989377 w 8079933"/>
              <a:gd name="connsiteY2564" fmla="*/ 3513380 h 4687251"/>
              <a:gd name="connsiteX2565" fmla="*/ 4988292 w 8079933"/>
              <a:gd name="connsiteY2565" fmla="*/ 3510132 h 4687251"/>
              <a:gd name="connsiteX2566" fmla="*/ 4991548 w 8079933"/>
              <a:gd name="connsiteY2566" fmla="*/ 3506884 h 4687251"/>
              <a:gd name="connsiteX2567" fmla="*/ 4991440 w 8079933"/>
              <a:gd name="connsiteY2567" fmla="*/ 3504826 h 4687251"/>
              <a:gd name="connsiteX2568" fmla="*/ 4987315 w 8079933"/>
              <a:gd name="connsiteY2568" fmla="*/ 3500171 h 4687251"/>
              <a:gd name="connsiteX2569" fmla="*/ 4987750 w 8079933"/>
              <a:gd name="connsiteY2569" fmla="*/ 3496706 h 4687251"/>
              <a:gd name="connsiteX2570" fmla="*/ 4981130 w 8079933"/>
              <a:gd name="connsiteY2570" fmla="*/ 3484039 h 4687251"/>
              <a:gd name="connsiteX2571" fmla="*/ 4981456 w 8079933"/>
              <a:gd name="connsiteY2571" fmla="*/ 3478192 h 4687251"/>
              <a:gd name="connsiteX2572" fmla="*/ 4979177 w 8079933"/>
              <a:gd name="connsiteY2572" fmla="*/ 3471262 h 4687251"/>
              <a:gd name="connsiteX2573" fmla="*/ 4982324 w 8079933"/>
              <a:gd name="connsiteY2573" fmla="*/ 3466823 h 4687251"/>
              <a:gd name="connsiteX2574" fmla="*/ 4978634 w 8079933"/>
              <a:gd name="connsiteY2574" fmla="*/ 3463792 h 4687251"/>
              <a:gd name="connsiteX2575" fmla="*/ 4978634 w 8079933"/>
              <a:gd name="connsiteY2575" fmla="*/ 3460111 h 4687251"/>
              <a:gd name="connsiteX2576" fmla="*/ 4985362 w 8079933"/>
              <a:gd name="connsiteY2576" fmla="*/ 3453073 h 4687251"/>
              <a:gd name="connsiteX2577" fmla="*/ 4985146 w 8079933"/>
              <a:gd name="connsiteY2577" fmla="*/ 3451016 h 4687251"/>
              <a:gd name="connsiteX2578" fmla="*/ 4992199 w 8079933"/>
              <a:gd name="connsiteY2578" fmla="*/ 3439972 h 4687251"/>
              <a:gd name="connsiteX2579" fmla="*/ 4991331 w 8079933"/>
              <a:gd name="connsiteY2579" fmla="*/ 3432610 h 4687251"/>
              <a:gd name="connsiteX2580" fmla="*/ 4993501 w 8079933"/>
              <a:gd name="connsiteY2580" fmla="*/ 3429254 h 4687251"/>
              <a:gd name="connsiteX2581" fmla="*/ 4998384 w 8079933"/>
              <a:gd name="connsiteY2581" fmla="*/ 3429362 h 4687251"/>
              <a:gd name="connsiteX2582" fmla="*/ 5000229 w 8079933"/>
              <a:gd name="connsiteY2582" fmla="*/ 3431203 h 4687251"/>
              <a:gd name="connsiteX2583" fmla="*/ 5002725 w 8079933"/>
              <a:gd name="connsiteY2583" fmla="*/ 3430878 h 4687251"/>
              <a:gd name="connsiteX2584" fmla="*/ 5012275 w 8079933"/>
              <a:gd name="connsiteY2584" fmla="*/ 3422216 h 4687251"/>
              <a:gd name="connsiteX2585" fmla="*/ 5014661 w 8079933"/>
              <a:gd name="connsiteY2585" fmla="*/ 3426005 h 4687251"/>
              <a:gd name="connsiteX2586" fmla="*/ 5017266 w 8079933"/>
              <a:gd name="connsiteY2586" fmla="*/ 3422216 h 4687251"/>
              <a:gd name="connsiteX2587" fmla="*/ 5019654 w 8079933"/>
              <a:gd name="connsiteY2587" fmla="*/ 3423407 h 4687251"/>
              <a:gd name="connsiteX2588" fmla="*/ 5019762 w 8079933"/>
              <a:gd name="connsiteY2588" fmla="*/ 3426980 h 4687251"/>
              <a:gd name="connsiteX2589" fmla="*/ 5021390 w 8079933"/>
              <a:gd name="connsiteY2589" fmla="*/ 3426438 h 4687251"/>
              <a:gd name="connsiteX2590" fmla="*/ 5023234 w 8079933"/>
              <a:gd name="connsiteY2590" fmla="*/ 3426872 h 4687251"/>
              <a:gd name="connsiteX2591" fmla="*/ 5022475 w 8079933"/>
              <a:gd name="connsiteY2591" fmla="*/ 3420050 h 4687251"/>
              <a:gd name="connsiteX2592" fmla="*/ 5024645 w 8079933"/>
              <a:gd name="connsiteY2592" fmla="*/ 3419834 h 4687251"/>
              <a:gd name="connsiteX2593" fmla="*/ 5025839 w 8079933"/>
              <a:gd name="connsiteY2593" fmla="*/ 3417993 h 4687251"/>
              <a:gd name="connsiteX2594" fmla="*/ 5032024 w 8079933"/>
              <a:gd name="connsiteY2594" fmla="*/ 3422324 h 4687251"/>
              <a:gd name="connsiteX2595" fmla="*/ 5037559 w 8079933"/>
              <a:gd name="connsiteY2595" fmla="*/ 3416477 h 4687251"/>
              <a:gd name="connsiteX2596" fmla="*/ 5039837 w 8079933"/>
              <a:gd name="connsiteY2596" fmla="*/ 3416802 h 4687251"/>
              <a:gd name="connsiteX2597" fmla="*/ 5039729 w 8079933"/>
              <a:gd name="connsiteY2597" fmla="*/ 3422974 h 4687251"/>
              <a:gd name="connsiteX2598" fmla="*/ 5041791 w 8079933"/>
              <a:gd name="connsiteY2598" fmla="*/ 3424706 h 4687251"/>
              <a:gd name="connsiteX2599" fmla="*/ 5044721 w 8079933"/>
              <a:gd name="connsiteY2599" fmla="*/ 3425681 h 4687251"/>
              <a:gd name="connsiteX2600" fmla="*/ 5046023 w 8079933"/>
              <a:gd name="connsiteY2600" fmla="*/ 3422758 h 4687251"/>
              <a:gd name="connsiteX2601" fmla="*/ 5044938 w 8079933"/>
              <a:gd name="connsiteY2601" fmla="*/ 3420050 h 4687251"/>
              <a:gd name="connsiteX2602" fmla="*/ 5046349 w 8079933"/>
              <a:gd name="connsiteY2602" fmla="*/ 3413121 h 4687251"/>
              <a:gd name="connsiteX2603" fmla="*/ 5055138 w 8079933"/>
              <a:gd name="connsiteY2603" fmla="*/ 3405759 h 4687251"/>
              <a:gd name="connsiteX2604" fmla="*/ 5057200 w 8079933"/>
              <a:gd name="connsiteY2604" fmla="*/ 3407275 h 4687251"/>
              <a:gd name="connsiteX2605" fmla="*/ 5054921 w 8079933"/>
              <a:gd name="connsiteY2605" fmla="*/ 3411064 h 4687251"/>
              <a:gd name="connsiteX2606" fmla="*/ 5057200 w 8079933"/>
              <a:gd name="connsiteY2606" fmla="*/ 3411497 h 4687251"/>
              <a:gd name="connsiteX2607" fmla="*/ 5057742 w 8079933"/>
              <a:gd name="connsiteY2607" fmla="*/ 3414528 h 4687251"/>
              <a:gd name="connsiteX2608" fmla="*/ 5061541 w 8079933"/>
              <a:gd name="connsiteY2608" fmla="*/ 3411930 h 4687251"/>
              <a:gd name="connsiteX2609" fmla="*/ 5064579 w 8079933"/>
              <a:gd name="connsiteY2609" fmla="*/ 3411172 h 4687251"/>
              <a:gd name="connsiteX2610" fmla="*/ 5064797 w 8079933"/>
              <a:gd name="connsiteY2610" fmla="*/ 3408791 h 4687251"/>
              <a:gd name="connsiteX2611" fmla="*/ 5061649 w 8079933"/>
              <a:gd name="connsiteY2611" fmla="*/ 3407816 h 4687251"/>
              <a:gd name="connsiteX2612" fmla="*/ 5059479 w 8079933"/>
              <a:gd name="connsiteY2612" fmla="*/ 3403269 h 4687251"/>
              <a:gd name="connsiteX2613" fmla="*/ 5065122 w 8079933"/>
              <a:gd name="connsiteY2613" fmla="*/ 3400020 h 4687251"/>
              <a:gd name="connsiteX2614" fmla="*/ 5066099 w 8079933"/>
              <a:gd name="connsiteY2614" fmla="*/ 3397963 h 4687251"/>
              <a:gd name="connsiteX2615" fmla="*/ 5063277 w 8079933"/>
              <a:gd name="connsiteY2615" fmla="*/ 3396448 h 4687251"/>
              <a:gd name="connsiteX2616" fmla="*/ 5067727 w 8079933"/>
              <a:gd name="connsiteY2616" fmla="*/ 3392225 h 4687251"/>
              <a:gd name="connsiteX2617" fmla="*/ 5069463 w 8079933"/>
              <a:gd name="connsiteY2617" fmla="*/ 3395040 h 4687251"/>
              <a:gd name="connsiteX2618" fmla="*/ 5068377 w 8079933"/>
              <a:gd name="connsiteY2618" fmla="*/ 3396556 h 4687251"/>
              <a:gd name="connsiteX2619" fmla="*/ 5068377 w 8079933"/>
              <a:gd name="connsiteY2619" fmla="*/ 3401753 h 4687251"/>
              <a:gd name="connsiteX2620" fmla="*/ 5074997 w 8079933"/>
              <a:gd name="connsiteY2620" fmla="*/ 3396231 h 4687251"/>
              <a:gd name="connsiteX2621" fmla="*/ 5075865 w 8079933"/>
              <a:gd name="connsiteY2621" fmla="*/ 3393416 h 4687251"/>
              <a:gd name="connsiteX2622" fmla="*/ 5079446 w 8079933"/>
              <a:gd name="connsiteY2622" fmla="*/ 3392009 h 4687251"/>
              <a:gd name="connsiteX2623" fmla="*/ 5081725 w 8079933"/>
              <a:gd name="connsiteY2623" fmla="*/ 3394607 h 4687251"/>
              <a:gd name="connsiteX2624" fmla="*/ 5083787 w 8079933"/>
              <a:gd name="connsiteY2624" fmla="*/ 3392116 h 4687251"/>
              <a:gd name="connsiteX2625" fmla="*/ 5083136 w 8079933"/>
              <a:gd name="connsiteY2625" fmla="*/ 3389302 h 4687251"/>
              <a:gd name="connsiteX2626" fmla="*/ 5078469 w 8079933"/>
              <a:gd name="connsiteY2626" fmla="*/ 3387895 h 4687251"/>
              <a:gd name="connsiteX2627" fmla="*/ 5077276 w 8079933"/>
              <a:gd name="connsiteY2627" fmla="*/ 3383347 h 4687251"/>
              <a:gd name="connsiteX2628" fmla="*/ 5082593 w 8079933"/>
              <a:gd name="connsiteY2628" fmla="*/ 3382372 h 4687251"/>
              <a:gd name="connsiteX2629" fmla="*/ 5084980 w 8079933"/>
              <a:gd name="connsiteY2629" fmla="*/ 3383022 h 4687251"/>
              <a:gd name="connsiteX2630" fmla="*/ 5086825 w 8079933"/>
              <a:gd name="connsiteY2630" fmla="*/ 3381398 h 4687251"/>
              <a:gd name="connsiteX2631" fmla="*/ 5085632 w 8079933"/>
              <a:gd name="connsiteY2631" fmla="*/ 3379232 h 4687251"/>
              <a:gd name="connsiteX2632" fmla="*/ 5080857 w 8079933"/>
              <a:gd name="connsiteY2632" fmla="*/ 3374469 h 4687251"/>
              <a:gd name="connsiteX2633" fmla="*/ 5081291 w 8079933"/>
              <a:gd name="connsiteY2633" fmla="*/ 3368838 h 4687251"/>
              <a:gd name="connsiteX2634" fmla="*/ 5084438 w 8079933"/>
              <a:gd name="connsiteY2634" fmla="*/ 3365915 h 4687251"/>
              <a:gd name="connsiteX2635" fmla="*/ 5086608 w 8079933"/>
              <a:gd name="connsiteY2635" fmla="*/ 3366998 h 4687251"/>
              <a:gd name="connsiteX2636" fmla="*/ 5087042 w 8079933"/>
              <a:gd name="connsiteY2636" fmla="*/ 3372087 h 4687251"/>
              <a:gd name="connsiteX2637" fmla="*/ 5089646 w 8079933"/>
              <a:gd name="connsiteY2637" fmla="*/ 3373711 h 4687251"/>
              <a:gd name="connsiteX2638" fmla="*/ 5092685 w 8079933"/>
              <a:gd name="connsiteY2638" fmla="*/ 3371437 h 4687251"/>
              <a:gd name="connsiteX2639" fmla="*/ 5093228 w 8079933"/>
              <a:gd name="connsiteY2639" fmla="*/ 3367431 h 4687251"/>
              <a:gd name="connsiteX2640" fmla="*/ 5097243 w 8079933"/>
              <a:gd name="connsiteY2640" fmla="*/ 3362992 h 4687251"/>
              <a:gd name="connsiteX2641" fmla="*/ 5100389 w 8079933"/>
              <a:gd name="connsiteY2641" fmla="*/ 3364075 h 4687251"/>
              <a:gd name="connsiteX2642" fmla="*/ 5103320 w 8079933"/>
              <a:gd name="connsiteY2642" fmla="*/ 3359419 h 4687251"/>
              <a:gd name="connsiteX2643" fmla="*/ 5103320 w 8079933"/>
              <a:gd name="connsiteY2643" fmla="*/ 3352273 h 4687251"/>
              <a:gd name="connsiteX2644" fmla="*/ 5108094 w 8079933"/>
              <a:gd name="connsiteY2644" fmla="*/ 3347834 h 4687251"/>
              <a:gd name="connsiteX2645" fmla="*/ 5108094 w 8079933"/>
              <a:gd name="connsiteY2645" fmla="*/ 3346426 h 4687251"/>
              <a:gd name="connsiteX2646" fmla="*/ 5105164 w 8079933"/>
              <a:gd name="connsiteY2646" fmla="*/ 3343503 h 4687251"/>
              <a:gd name="connsiteX2647" fmla="*/ 5105164 w 8079933"/>
              <a:gd name="connsiteY2647" fmla="*/ 3340363 h 4687251"/>
              <a:gd name="connsiteX2648" fmla="*/ 5101257 w 8079933"/>
              <a:gd name="connsiteY2648" fmla="*/ 3335167 h 4687251"/>
              <a:gd name="connsiteX2649" fmla="*/ 5103862 w 8079933"/>
              <a:gd name="connsiteY2649" fmla="*/ 3335058 h 4687251"/>
              <a:gd name="connsiteX2650" fmla="*/ 5107877 w 8079933"/>
              <a:gd name="connsiteY2650" fmla="*/ 3337765 h 4687251"/>
              <a:gd name="connsiteX2651" fmla="*/ 5112110 w 8079933"/>
              <a:gd name="connsiteY2651" fmla="*/ 3334949 h 4687251"/>
              <a:gd name="connsiteX2652" fmla="*/ 5110590 w 8079933"/>
              <a:gd name="connsiteY2652" fmla="*/ 3331810 h 4687251"/>
              <a:gd name="connsiteX2653" fmla="*/ 7620038 w 8079933"/>
              <a:gd name="connsiteY2653" fmla="*/ 3326072 h 4687251"/>
              <a:gd name="connsiteX2654" fmla="*/ 7625030 w 8079933"/>
              <a:gd name="connsiteY2654" fmla="*/ 3329753 h 4687251"/>
              <a:gd name="connsiteX2655" fmla="*/ 7629046 w 8079933"/>
              <a:gd name="connsiteY2655" fmla="*/ 3329536 h 4687251"/>
              <a:gd name="connsiteX2656" fmla="*/ 7630130 w 8079933"/>
              <a:gd name="connsiteY2656" fmla="*/ 3332243 h 4687251"/>
              <a:gd name="connsiteX2657" fmla="*/ 7628610 w 8079933"/>
              <a:gd name="connsiteY2657" fmla="*/ 3333326 h 4687251"/>
              <a:gd name="connsiteX2658" fmla="*/ 7625789 w 8079933"/>
              <a:gd name="connsiteY2658" fmla="*/ 3332027 h 4687251"/>
              <a:gd name="connsiteX2659" fmla="*/ 7622751 w 8079933"/>
              <a:gd name="connsiteY2659" fmla="*/ 3332135 h 4687251"/>
              <a:gd name="connsiteX2660" fmla="*/ 7617108 w 8079933"/>
              <a:gd name="connsiteY2660" fmla="*/ 3326180 h 4687251"/>
              <a:gd name="connsiteX2661" fmla="*/ 4760073 w 8079933"/>
              <a:gd name="connsiteY2661" fmla="*/ 3325973 h 4687251"/>
              <a:gd name="connsiteX2662" fmla="*/ 4757398 w 8079933"/>
              <a:gd name="connsiteY2662" fmla="*/ 3335709 h 4687251"/>
              <a:gd name="connsiteX2663" fmla="*/ 4757396 w 8079933"/>
              <a:gd name="connsiteY2663" fmla="*/ 3335718 h 4687251"/>
              <a:gd name="connsiteX2664" fmla="*/ 7065410 w 8079933"/>
              <a:gd name="connsiteY2664" fmla="*/ 3324447 h 4687251"/>
              <a:gd name="connsiteX2665" fmla="*/ 7067363 w 8079933"/>
              <a:gd name="connsiteY2665" fmla="*/ 3333000 h 4687251"/>
              <a:gd name="connsiteX2666" fmla="*/ 7071378 w 8079933"/>
              <a:gd name="connsiteY2666" fmla="*/ 3334408 h 4687251"/>
              <a:gd name="connsiteX2667" fmla="*/ 7072029 w 8079933"/>
              <a:gd name="connsiteY2667" fmla="*/ 3335815 h 4687251"/>
              <a:gd name="connsiteX2668" fmla="*/ 7066495 w 8079933"/>
              <a:gd name="connsiteY2668" fmla="*/ 3334624 h 4687251"/>
              <a:gd name="connsiteX2669" fmla="*/ 7064542 w 8079933"/>
              <a:gd name="connsiteY2669" fmla="*/ 3334732 h 4687251"/>
              <a:gd name="connsiteX2670" fmla="*/ 7059550 w 8079933"/>
              <a:gd name="connsiteY2670" fmla="*/ 3333434 h 4687251"/>
              <a:gd name="connsiteX2671" fmla="*/ 7059767 w 8079933"/>
              <a:gd name="connsiteY2671" fmla="*/ 3330835 h 4687251"/>
              <a:gd name="connsiteX2672" fmla="*/ 7061287 w 8079933"/>
              <a:gd name="connsiteY2672" fmla="*/ 3330618 h 4687251"/>
              <a:gd name="connsiteX2673" fmla="*/ 7063565 w 8079933"/>
              <a:gd name="connsiteY2673" fmla="*/ 3331268 h 4687251"/>
              <a:gd name="connsiteX2674" fmla="*/ 7063565 w 8079933"/>
              <a:gd name="connsiteY2674" fmla="*/ 3329969 h 4687251"/>
              <a:gd name="connsiteX2675" fmla="*/ 7062480 w 8079933"/>
              <a:gd name="connsiteY2675" fmla="*/ 3329428 h 4687251"/>
              <a:gd name="connsiteX2676" fmla="*/ 7062697 w 8079933"/>
              <a:gd name="connsiteY2676" fmla="*/ 3326829 h 4687251"/>
              <a:gd name="connsiteX2677" fmla="*/ 7062046 w 8079933"/>
              <a:gd name="connsiteY2677" fmla="*/ 3326071 h 4687251"/>
              <a:gd name="connsiteX2678" fmla="*/ 7640005 w 8079933"/>
              <a:gd name="connsiteY2678" fmla="*/ 3323040 h 4687251"/>
              <a:gd name="connsiteX2679" fmla="*/ 7644130 w 8079933"/>
              <a:gd name="connsiteY2679" fmla="*/ 3324014 h 4687251"/>
              <a:gd name="connsiteX2680" fmla="*/ 7643370 w 8079933"/>
              <a:gd name="connsiteY2680" fmla="*/ 3326828 h 4687251"/>
              <a:gd name="connsiteX2681" fmla="*/ 7639572 w 8079933"/>
              <a:gd name="connsiteY2681" fmla="*/ 3327478 h 4687251"/>
              <a:gd name="connsiteX2682" fmla="*/ 7637185 w 8079933"/>
              <a:gd name="connsiteY2682" fmla="*/ 3326937 h 4687251"/>
              <a:gd name="connsiteX2683" fmla="*/ 7637076 w 8079933"/>
              <a:gd name="connsiteY2683" fmla="*/ 3325638 h 4687251"/>
              <a:gd name="connsiteX2684" fmla="*/ 7066278 w 8079933"/>
              <a:gd name="connsiteY2684" fmla="*/ 3321741 h 4687251"/>
              <a:gd name="connsiteX2685" fmla="*/ 7067689 w 8079933"/>
              <a:gd name="connsiteY2685" fmla="*/ 3321741 h 4687251"/>
              <a:gd name="connsiteX2686" fmla="*/ 7070619 w 8079933"/>
              <a:gd name="connsiteY2686" fmla="*/ 3324772 h 4687251"/>
              <a:gd name="connsiteX2687" fmla="*/ 7073440 w 8079933"/>
              <a:gd name="connsiteY2687" fmla="*/ 3325206 h 4687251"/>
              <a:gd name="connsiteX2688" fmla="*/ 7074091 w 8079933"/>
              <a:gd name="connsiteY2688" fmla="*/ 3326722 h 4687251"/>
              <a:gd name="connsiteX2689" fmla="*/ 7076913 w 8079933"/>
              <a:gd name="connsiteY2689" fmla="*/ 3328237 h 4687251"/>
              <a:gd name="connsiteX2690" fmla="*/ 7079626 w 8079933"/>
              <a:gd name="connsiteY2690" fmla="*/ 3324881 h 4687251"/>
              <a:gd name="connsiteX2691" fmla="*/ 7086028 w 8079933"/>
              <a:gd name="connsiteY2691" fmla="*/ 3324772 h 4687251"/>
              <a:gd name="connsiteX2692" fmla="*/ 7088958 w 8079933"/>
              <a:gd name="connsiteY2692" fmla="*/ 3323365 h 4687251"/>
              <a:gd name="connsiteX2693" fmla="*/ 7091020 w 8079933"/>
              <a:gd name="connsiteY2693" fmla="*/ 3323365 h 4687251"/>
              <a:gd name="connsiteX2694" fmla="*/ 7092431 w 8079933"/>
              <a:gd name="connsiteY2694" fmla="*/ 3326397 h 4687251"/>
              <a:gd name="connsiteX2695" fmla="*/ 7094384 w 8079933"/>
              <a:gd name="connsiteY2695" fmla="*/ 3328020 h 4687251"/>
              <a:gd name="connsiteX2696" fmla="*/ 7092105 w 8079933"/>
              <a:gd name="connsiteY2696" fmla="*/ 3329861 h 4687251"/>
              <a:gd name="connsiteX2697" fmla="*/ 7091780 w 8079933"/>
              <a:gd name="connsiteY2697" fmla="*/ 3332351 h 4687251"/>
              <a:gd name="connsiteX2698" fmla="*/ 7089718 w 8079933"/>
              <a:gd name="connsiteY2698" fmla="*/ 3332026 h 4687251"/>
              <a:gd name="connsiteX2699" fmla="*/ 7081579 w 8079933"/>
              <a:gd name="connsiteY2699" fmla="*/ 3340580 h 4687251"/>
              <a:gd name="connsiteX2700" fmla="*/ 7074959 w 8079933"/>
              <a:gd name="connsiteY2700" fmla="*/ 3337873 h 4687251"/>
              <a:gd name="connsiteX2701" fmla="*/ 7071596 w 8079933"/>
              <a:gd name="connsiteY2701" fmla="*/ 3333434 h 4687251"/>
              <a:gd name="connsiteX2702" fmla="*/ 7067689 w 8079933"/>
              <a:gd name="connsiteY2702" fmla="*/ 3328887 h 4687251"/>
              <a:gd name="connsiteX2703" fmla="*/ 7067038 w 8079933"/>
              <a:gd name="connsiteY2703" fmla="*/ 3323257 h 4687251"/>
              <a:gd name="connsiteX2704" fmla="*/ 4806310 w 8079933"/>
              <a:gd name="connsiteY2704" fmla="*/ 3318710 h 4687251"/>
              <a:gd name="connsiteX2705" fmla="*/ 4805659 w 8079933"/>
              <a:gd name="connsiteY2705" fmla="*/ 3320767 h 4687251"/>
              <a:gd name="connsiteX2706" fmla="*/ 4805659 w 8079933"/>
              <a:gd name="connsiteY2706" fmla="*/ 3320767 h 4687251"/>
              <a:gd name="connsiteX2707" fmla="*/ 7218311 w 8079933"/>
              <a:gd name="connsiteY2707" fmla="*/ 3317843 h 4687251"/>
              <a:gd name="connsiteX2708" fmla="*/ 7220155 w 8079933"/>
              <a:gd name="connsiteY2708" fmla="*/ 3320116 h 4687251"/>
              <a:gd name="connsiteX2709" fmla="*/ 7216031 w 8079933"/>
              <a:gd name="connsiteY2709" fmla="*/ 3323906 h 4687251"/>
              <a:gd name="connsiteX2710" fmla="*/ 7215163 w 8079933"/>
              <a:gd name="connsiteY2710" fmla="*/ 3327587 h 4687251"/>
              <a:gd name="connsiteX2711" fmla="*/ 7212016 w 8079933"/>
              <a:gd name="connsiteY2711" fmla="*/ 3326071 h 4687251"/>
              <a:gd name="connsiteX2712" fmla="*/ 7213427 w 8079933"/>
              <a:gd name="connsiteY2712" fmla="*/ 3323148 h 4687251"/>
              <a:gd name="connsiteX2713" fmla="*/ 7121839 w 8079933"/>
              <a:gd name="connsiteY2713" fmla="*/ 3316977 h 4687251"/>
              <a:gd name="connsiteX2714" fmla="*/ 7120428 w 8079933"/>
              <a:gd name="connsiteY2714" fmla="*/ 3321308 h 4687251"/>
              <a:gd name="connsiteX2715" fmla="*/ 7120103 w 8079933"/>
              <a:gd name="connsiteY2715" fmla="*/ 3325747 h 4687251"/>
              <a:gd name="connsiteX2716" fmla="*/ 7117390 w 8079933"/>
              <a:gd name="connsiteY2716" fmla="*/ 3320983 h 4687251"/>
              <a:gd name="connsiteX2717" fmla="*/ 7118258 w 8079933"/>
              <a:gd name="connsiteY2717" fmla="*/ 3317627 h 4687251"/>
              <a:gd name="connsiteX2718" fmla="*/ 4584538 w 8079933"/>
              <a:gd name="connsiteY2718" fmla="*/ 3316038 h 4687251"/>
              <a:gd name="connsiteX2719" fmla="*/ 4583525 w 8079933"/>
              <a:gd name="connsiteY2719" fmla="*/ 3316543 h 4687251"/>
              <a:gd name="connsiteX2720" fmla="*/ 4580487 w 8079933"/>
              <a:gd name="connsiteY2720" fmla="*/ 3317085 h 4687251"/>
              <a:gd name="connsiteX2721" fmla="*/ 4583525 w 8079933"/>
              <a:gd name="connsiteY2721" fmla="*/ 3316544 h 4687251"/>
              <a:gd name="connsiteX2722" fmla="*/ 4587195 w 8079933"/>
              <a:gd name="connsiteY2722" fmla="*/ 3315960 h 4687251"/>
              <a:gd name="connsiteX2723" fmla="*/ 4587648 w 8079933"/>
              <a:gd name="connsiteY2723" fmla="*/ 3316111 h 4687251"/>
              <a:gd name="connsiteX2724" fmla="*/ 4587648 w 8079933"/>
              <a:gd name="connsiteY2724" fmla="*/ 3322931 h 4687251"/>
              <a:gd name="connsiteX2725" fmla="*/ 4591229 w 8079933"/>
              <a:gd name="connsiteY2725" fmla="*/ 3327154 h 4687251"/>
              <a:gd name="connsiteX2726" fmla="*/ 4587649 w 8079933"/>
              <a:gd name="connsiteY2726" fmla="*/ 3322931 h 4687251"/>
              <a:gd name="connsiteX2727" fmla="*/ 4587649 w 8079933"/>
              <a:gd name="connsiteY2727" fmla="*/ 3316111 h 4687251"/>
              <a:gd name="connsiteX2728" fmla="*/ 4825083 w 8079933"/>
              <a:gd name="connsiteY2728" fmla="*/ 3314163 h 4687251"/>
              <a:gd name="connsiteX2729" fmla="*/ 4825409 w 8079933"/>
              <a:gd name="connsiteY2729" fmla="*/ 3315678 h 4687251"/>
              <a:gd name="connsiteX2730" fmla="*/ 4825409 w 8079933"/>
              <a:gd name="connsiteY2730" fmla="*/ 3315678 h 4687251"/>
              <a:gd name="connsiteX2731" fmla="*/ 4825084 w 8079933"/>
              <a:gd name="connsiteY2731" fmla="*/ 3314163 h 4687251"/>
              <a:gd name="connsiteX2732" fmla="*/ 7358839 w 8079933"/>
              <a:gd name="connsiteY2732" fmla="*/ 3313838 h 4687251"/>
              <a:gd name="connsiteX2733" fmla="*/ 7358622 w 8079933"/>
              <a:gd name="connsiteY2733" fmla="*/ 3316977 h 4687251"/>
              <a:gd name="connsiteX2734" fmla="*/ 7363722 w 8079933"/>
              <a:gd name="connsiteY2734" fmla="*/ 3318060 h 4687251"/>
              <a:gd name="connsiteX2735" fmla="*/ 7365132 w 8079933"/>
              <a:gd name="connsiteY2735" fmla="*/ 3324665 h 4687251"/>
              <a:gd name="connsiteX2736" fmla="*/ 7366544 w 8079933"/>
              <a:gd name="connsiteY2736" fmla="*/ 3327263 h 4687251"/>
              <a:gd name="connsiteX2737" fmla="*/ 7364807 w 8079933"/>
              <a:gd name="connsiteY2737" fmla="*/ 3338632 h 4687251"/>
              <a:gd name="connsiteX2738" fmla="*/ 7367845 w 8079933"/>
              <a:gd name="connsiteY2738" fmla="*/ 3341446 h 4687251"/>
              <a:gd name="connsiteX2739" fmla="*/ 7371861 w 8079933"/>
              <a:gd name="connsiteY2739" fmla="*/ 3340580 h 4687251"/>
              <a:gd name="connsiteX2740" fmla="*/ 7375116 w 8079933"/>
              <a:gd name="connsiteY2740" fmla="*/ 3342313 h 4687251"/>
              <a:gd name="connsiteX2741" fmla="*/ 7372186 w 8079933"/>
              <a:gd name="connsiteY2741" fmla="*/ 3345236 h 4687251"/>
              <a:gd name="connsiteX2742" fmla="*/ 7371970 w 8079933"/>
              <a:gd name="connsiteY2742" fmla="*/ 3351191 h 4687251"/>
              <a:gd name="connsiteX2743" fmla="*/ 7374574 w 8079933"/>
              <a:gd name="connsiteY2743" fmla="*/ 3352815 h 4687251"/>
              <a:gd name="connsiteX2744" fmla="*/ 7374682 w 8079933"/>
              <a:gd name="connsiteY2744" fmla="*/ 3357038 h 4687251"/>
              <a:gd name="connsiteX2745" fmla="*/ 7378372 w 8079933"/>
              <a:gd name="connsiteY2745" fmla="*/ 3361910 h 4687251"/>
              <a:gd name="connsiteX2746" fmla="*/ 7376201 w 8079933"/>
              <a:gd name="connsiteY2746" fmla="*/ 3366024 h 4687251"/>
              <a:gd name="connsiteX2747" fmla="*/ 7377938 w 8079933"/>
              <a:gd name="connsiteY2747" fmla="*/ 3370355 h 4687251"/>
              <a:gd name="connsiteX2748" fmla="*/ 7379999 w 8079933"/>
              <a:gd name="connsiteY2748" fmla="*/ 3369380 h 4687251"/>
              <a:gd name="connsiteX2749" fmla="*/ 7381084 w 8079933"/>
              <a:gd name="connsiteY2749" fmla="*/ 3380099 h 4687251"/>
              <a:gd name="connsiteX2750" fmla="*/ 7379240 w 8079933"/>
              <a:gd name="connsiteY2750" fmla="*/ 3388869 h 4687251"/>
              <a:gd name="connsiteX2751" fmla="*/ 7382278 w 8079933"/>
              <a:gd name="connsiteY2751" fmla="*/ 3395582 h 4687251"/>
              <a:gd name="connsiteX2752" fmla="*/ 7381735 w 8079933"/>
              <a:gd name="connsiteY2752" fmla="*/ 3399588 h 4687251"/>
              <a:gd name="connsiteX2753" fmla="*/ 7386618 w 8079933"/>
              <a:gd name="connsiteY2753" fmla="*/ 3406951 h 4687251"/>
              <a:gd name="connsiteX2754" fmla="*/ 7390634 w 8079933"/>
              <a:gd name="connsiteY2754" fmla="*/ 3406733 h 4687251"/>
              <a:gd name="connsiteX2755" fmla="*/ 7393347 w 8079933"/>
              <a:gd name="connsiteY2755" fmla="*/ 3401537 h 4687251"/>
              <a:gd name="connsiteX2756" fmla="*/ 7395735 w 8079933"/>
              <a:gd name="connsiteY2756" fmla="*/ 3403161 h 4687251"/>
              <a:gd name="connsiteX2757" fmla="*/ 7400617 w 8079933"/>
              <a:gd name="connsiteY2757" fmla="*/ 3399913 h 4687251"/>
              <a:gd name="connsiteX2758" fmla="*/ 7406043 w 8079933"/>
              <a:gd name="connsiteY2758" fmla="*/ 3405326 h 4687251"/>
              <a:gd name="connsiteX2759" fmla="*/ 7404524 w 8079933"/>
              <a:gd name="connsiteY2759" fmla="*/ 3407492 h 4687251"/>
              <a:gd name="connsiteX2760" fmla="*/ 7409624 w 8079933"/>
              <a:gd name="connsiteY2760" fmla="*/ 3410523 h 4687251"/>
              <a:gd name="connsiteX2761" fmla="*/ 7417981 w 8079933"/>
              <a:gd name="connsiteY2761" fmla="*/ 3418535 h 4687251"/>
              <a:gd name="connsiteX2762" fmla="*/ 7417438 w 8079933"/>
              <a:gd name="connsiteY2762" fmla="*/ 3422000 h 4687251"/>
              <a:gd name="connsiteX2763" fmla="*/ 7415810 w 8079933"/>
              <a:gd name="connsiteY2763" fmla="*/ 3423408 h 4687251"/>
              <a:gd name="connsiteX2764" fmla="*/ 7417004 w 8079933"/>
              <a:gd name="connsiteY2764" fmla="*/ 3428063 h 4687251"/>
              <a:gd name="connsiteX2765" fmla="*/ 7415810 w 8079933"/>
              <a:gd name="connsiteY2765" fmla="*/ 3432069 h 4687251"/>
              <a:gd name="connsiteX2766" fmla="*/ 7416895 w 8079933"/>
              <a:gd name="connsiteY2766" fmla="*/ 3446902 h 4687251"/>
              <a:gd name="connsiteX2767" fmla="*/ 7419065 w 8079933"/>
              <a:gd name="connsiteY2767" fmla="*/ 3449501 h 4687251"/>
              <a:gd name="connsiteX2768" fmla="*/ 7418848 w 8079933"/>
              <a:gd name="connsiteY2768" fmla="*/ 3452099 h 4687251"/>
              <a:gd name="connsiteX2769" fmla="*/ 7417004 w 8079933"/>
              <a:gd name="connsiteY2769" fmla="*/ 3453507 h 4687251"/>
              <a:gd name="connsiteX2770" fmla="*/ 7417221 w 8079933"/>
              <a:gd name="connsiteY2770" fmla="*/ 3465200 h 4687251"/>
              <a:gd name="connsiteX2771" fmla="*/ 7421778 w 8079933"/>
              <a:gd name="connsiteY2771" fmla="*/ 3474620 h 4687251"/>
              <a:gd name="connsiteX2772" fmla="*/ 7425360 w 8079933"/>
              <a:gd name="connsiteY2772" fmla="*/ 3474620 h 4687251"/>
              <a:gd name="connsiteX2773" fmla="*/ 7428397 w 8079933"/>
              <a:gd name="connsiteY2773" fmla="*/ 3477543 h 4687251"/>
              <a:gd name="connsiteX2774" fmla="*/ 7425902 w 8079933"/>
              <a:gd name="connsiteY2774" fmla="*/ 3478842 h 4687251"/>
              <a:gd name="connsiteX2775" fmla="*/ 7428832 w 8079933"/>
              <a:gd name="connsiteY2775" fmla="*/ 3484581 h 4687251"/>
              <a:gd name="connsiteX2776" fmla="*/ 7431545 w 8079933"/>
              <a:gd name="connsiteY2776" fmla="*/ 3497140 h 4687251"/>
              <a:gd name="connsiteX2777" fmla="*/ 7429483 w 8079933"/>
              <a:gd name="connsiteY2777" fmla="*/ 3506776 h 4687251"/>
              <a:gd name="connsiteX2778" fmla="*/ 7427204 w 8079933"/>
              <a:gd name="connsiteY2778" fmla="*/ 3507642 h 4687251"/>
              <a:gd name="connsiteX2779" fmla="*/ 7426986 w 8079933"/>
              <a:gd name="connsiteY2779" fmla="*/ 3512190 h 4687251"/>
              <a:gd name="connsiteX2780" fmla="*/ 7429917 w 8079933"/>
              <a:gd name="connsiteY2780" fmla="*/ 3517819 h 4687251"/>
              <a:gd name="connsiteX2781" fmla="*/ 7430785 w 8079933"/>
              <a:gd name="connsiteY2781" fmla="*/ 3526373 h 4687251"/>
              <a:gd name="connsiteX2782" fmla="*/ 7435125 w 8079933"/>
              <a:gd name="connsiteY2782" fmla="*/ 3535035 h 4687251"/>
              <a:gd name="connsiteX2783" fmla="*/ 7445110 w 8079933"/>
              <a:gd name="connsiteY2783" fmla="*/ 3540664 h 4687251"/>
              <a:gd name="connsiteX2784" fmla="*/ 7447388 w 8079933"/>
              <a:gd name="connsiteY2784" fmla="*/ 3540664 h 4687251"/>
              <a:gd name="connsiteX2785" fmla="*/ 7448690 w 8079933"/>
              <a:gd name="connsiteY2785" fmla="*/ 3543588 h 4687251"/>
              <a:gd name="connsiteX2786" fmla="*/ 7452814 w 8079933"/>
              <a:gd name="connsiteY2786" fmla="*/ 3543913 h 4687251"/>
              <a:gd name="connsiteX2787" fmla="*/ 7458240 w 8079933"/>
              <a:gd name="connsiteY2787" fmla="*/ 3543372 h 4687251"/>
              <a:gd name="connsiteX2788" fmla="*/ 7459759 w 8079933"/>
              <a:gd name="connsiteY2788" fmla="*/ 3546078 h 4687251"/>
              <a:gd name="connsiteX2789" fmla="*/ 7459325 w 8079933"/>
              <a:gd name="connsiteY2789" fmla="*/ 3549543 h 4687251"/>
              <a:gd name="connsiteX2790" fmla="*/ 7454659 w 8079933"/>
              <a:gd name="connsiteY2790" fmla="*/ 3550734 h 4687251"/>
              <a:gd name="connsiteX2791" fmla="*/ 7451946 w 8079933"/>
              <a:gd name="connsiteY2791" fmla="*/ 3555065 h 4687251"/>
              <a:gd name="connsiteX2792" fmla="*/ 7455201 w 8079933"/>
              <a:gd name="connsiteY2792" fmla="*/ 3552033 h 4687251"/>
              <a:gd name="connsiteX2793" fmla="*/ 7460410 w 8079933"/>
              <a:gd name="connsiteY2793" fmla="*/ 3553874 h 4687251"/>
              <a:gd name="connsiteX2794" fmla="*/ 7462472 w 8079933"/>
              <a:gd name="connsiteY2794" fmla="*/ 3556580 h 4687251"/>
              <a:gd name="connsiteX2795" fmla="*/ 7464968 w 8079933"/>
              <a:gd name="connsiteY2795" fmla="*/ 3553874 h 4687251"/>
              <a:gd name="connsiteX2796" fmla="*/ 7469308 w 8079933"/>
              <a:gd name="connsiteY2796" fmla="*/ 3557663 h 4687251"/>
              <a:gd name="connsiteX2797" fmla="*/ 7472889 w 8079933"/>
              <a:gd name="connsiteY2797" fmla="*/ 3557771 h 4687251"/>
              <a:gd name="connsiteX2798" fmla="*/ 7477664 w 8079933"/>
              <a:gd name="connsiteY2798" fmla="*/ 3564484 h 4687251"/>
              <a:gd name="connsiteX2799" fmla="*/ 7481788 w 8079933"/>
              <a:gd name="connsiteY2799" fmla="*/ 3565025 h 4687251"/>
              <a:gd name="connsiteX2800" fmla="*/ 7483742 w 8079933"/>
              <a:gd name="connsiteY2800" fmla="*/ 3563943 h 4687251"/>
              <a:gd name="connsiteX2801" fmla="*/ 7487539 w 8079933"/>
              <a:gd name="connsiteY2801" fmla="*/ 3570764 h 4687251"/>
              <a:gd name="connsiteX2802" fmla="*/ 7487539 w 8079933"/>
              <a:gd name="connsiteY2802" fmla="*/ 3575527 h 4687251"/>
              <a:gd name="connsiteX2803" fmla="*/ 7483199 w 8079933"/>
              <a:gd name="connsiteY2803" fmla="*/ 3574445 h 4687251"/>
              <a:gd name="connsiteX2804" fmla="*/ 7483633 w 8079933"/>
              <a:gd name="connsiteY2804" fmla="*/ 3579967 h 4687251"/>
              <a:gd name="connsiteX2805" fmla="*/ 7485803 w 8079933"/>
              <a:gd name="connsiteY2805" fmla="*/ 3584731 h 4687251"/>
              <a:gd name="connsiteX2806" fmla="*/ 7493507 w 8079933"/>
              <a:gd name="connsiteY2806" fmla="*/ 3591335 h 4687251"/>
              <a:gd name="connsiteX2807" fmla="*/ 7492422 w 8079933"/>
              <a:gd name="connsiteY2807" fmla="*/ 3595558 h 4687251"/>
              <a:gd name="connsiteX2808" fmla="*/ 7495895 w 8079933"/>
              <a:gd name="connsiteY2808" fmla="*/ 3598265 h 4687251"/>
              <a:gd name="connsiteX2809" fmla="*/ 7494051 w 8079933"/>
              <a:gd name="connsiteY2809" fmla="*/ 3602163 h 4687251"/>
              <a:gd name="connsiteX2810" fmla="*/ 7498608 w 8079933"/>
              <a:gd name="connsiteY2810" fmla="*/ 3605086 h 4687251"/>
              <a:gd name="connsiteX2811" fmla="*/ 7498608 w 8079933"/>
              <a:gd name="connsiteY2811" fmla="*/ 3608333 h 4687251"/>
              <a:gd name="connsiteX2812" fmla="*/ 7497197 w 8079933"/>
              <a:gd name="connsiteY2812" fmla="*/ 3609741 h 4687251"/>
              <a:gd name="connsiteX2813" fmla="*/ 7498066 w 8079933"/>
              <a:gd name="connsiteY2813" fmla="*/ 3623167 h 4687251"/>
              <a:gd name="connsiteX2814" fmla="*/ 7500019 w 8079933"/>
              <a:gd name="connsiteY2814" fmla="*/ 3626956 h 4687251"/>
              <a:gd name="connsiteX2815" fmla="*/ 7500019 w 8079933"/>
              <a:gd name="connsiteY2815" fmla="*/ 3631395 h 4687251"/>
              <a:gd name="connsiteX2816" fmla="*/ 7502623 w 8079933"/>
              <a:gd name="connsiteY2816" fmla="*/ 3628581 h 4687251"/>
              <a:gd name="connsiteX2817" fmla="*/ 7507832 w 8079933"/>
              <a:gd name="connsiteY2817" fmla="*/ 3634860 h 4687251"/>
              <a:gd name="connsiteX2818" fmla="*/ 7505336 w 8079933"/>
              <a:gd name="connsiteY2818" fmla="*/ 3627498 h 4687251"/>
              <a:gd name="connsiteX2819" fmla="*/ 7506529 w 8079933"/>
              <a:gd name="connsiteY2819" fmla="*/ 3623816 h 4687251"/>
              <a:gd name="connsiteX2820" fmla="*/ 7506529 w 8079933"/>
              <a:gd name="connsiteY2820" fmla="*/ 3620569 h 4687251"/>
              <a:gd name="connsiteX2821" fmla="*/ 7508591 w 8079933"/>
              <a:gd name="connsiteY2821" fmla="*/ 3619594 h 4687251"/>
              <a:gd name="connsiteX2822" fmla="*/ 7510871 w 8079933"/>
              <a:gd name="connsiteY2822" fmla="*/ 3625116 h 4687251"/>
              <a:gd name="connsiteX2823" fmla="*/ 7521613 w 8079933"/>
              <a:gd name="connsiteY2823" fmla="*/ 3634860 h 4687251"/>
              <a:gd name="connsiteX2824" fmla="*/ 7523349 w 8079933"/>
              <a:gd name="connsiteY2824" fmla="*/ 3632369 h 4687251"/>
              <a:gd name="connsiteX2825" fmla="*/ 7521939 w 8079933"/>
              <a:gd name="connsiteY2825" fmla="*/ 3630205 h 4687251"/>
              <a:gd name="connsiteX2826" fmla="*/ 7522807 w 8079933"/>
              <a:gd name="connsiteY2826" fmla="*/ 3627714 h 4687251"/>
              <a:gd name="connsiteX2827" fmla="*/ 7526062 w 8079933"/>
              <a:gd name="connsiteY2827" fmla="*/ 3629446 h 4687251"/>
              <a:gd name="connsiteX2828" fmla="*/ 7525411 w 8079933"/>
              <a:gd name="connsiteY2828" fmla="*/ 3634102 h 4687251"/>
              <a:gd name="connsiteX2829" fmla="*/ 7526822 w 8079933"/>
              <a:gd name="connsiteY2829" fmla="*/ 3637567 h 4687251"/>
              <a:gd name="connsiteX2830" fmla="*/ 7525737 w 8079933"/>
              <a:gd name="connsiteY2830" fmla="*/ 3644821 h 4687251"/>
              <a:gd name="connsiteX2831" fmla="*/ 7521180 w 8079933"/>
              <a:gd name="connsiteY2831" fmla="*/ 3650560 h 4687251"/>
              <a:gd name="connsiteX2832" fmla="*/ 7524435 w 8079933"/>
              <a:gd name="connsiteY2832" fmla="*/ 3656297 h 4687251"/>
              <a:gd name="connsiteX2833" fmla="*/ 7523242 w 8079933"/>
              <a:gd name="connsiteY2833" fmla="*/ 3659979 h 4687251"/>
              <a:gd name="connsiteX2834" fmla="*/ 7525954 w 8079933"/>
              <a:gd name="connsiteY2834" fmla="*/ 3662469 h 4687251"/>
              <a:gd name="connsiteX2835" fmla="*/ 7531706 w 8079933"/>
              <a:gd name="connsiteY2835" fmla="*/ 3667558 h 4687251"/>
              <a:gd name="connsiteX2836" fmla="*/ 7532248 w 8079933"/>
              <a:gd name="connsiteY2836" fmla="*/ 3671022 h 4687251"/>
              <a:gd name="connsiteX2837" fmla="*/ 7534636 w 8079933"/>
              <a:gd name="connsiteY2837" fmla="*/ 3671997 h 4687251"/>
              <a:gd name="connsiteX2838" fmla="*/ 7535287 w 8079933"/>
              <a:gd name="connsiteY2838" fmla="*/ 3678168 h 4687251"/>
              <a:gd name="connsiteX2839" fmla="*/ 7538542 w 8079933"/>
              <a:gd name="connsiteY2839" fmla="*/ 3681199 h 4687251"/>
              <a:gd name="connsiteX2840" fmla="*/ 7542232 w 8079933"/>
              <a:gd name="connsiteY2840" fmla="*/ 3679576 h 4687251"/>
              <a:gd name="connsiteX2841" fmla="*/ 7545270 w 8079933"/>
              <a:gd name="connsiteY2841" fmla="*/ 3679792 h 4687251"/>
              <a:gd name="connsiteX2842" fmla="*/ 7548308 w 8079933"/>
              <a:gd name="connsiteY2842" fmla="*/ 3685531 h 4687251"/>
              <a:gd name="connsiteX2843" fmla="*/ 7549827 w 8079933"/>
              <a:gd name="connsiteY2843" fmla="*/ 3692243 h 4687251"/>
              <a:gd name="connsiteX2844" fmla="*/ 7553192 w 8079933"/>
              <a:gd name="connsiteY2844" fmla="*/ 3699064 h 4687251"/>
              <a:gd name="connsiteX2845" fmla="*/ 7558618 w 8079933"/>
              <a:gd name="connsiteY2845" fmla="*/ 3703829 h 4687251"/>
              <a:gd name="connsiteX2846" fmla="*/ 7558509 w 8079933"/>
              <a:gd name="connsiteY2846" fmla="*/ 3709242 h 4687251"/>
              <a:gd name="connsiteX2847" fmla="*/ 7560788 w 8079933"/>
              <a:gd name="connsiteY2847" fmla="*/ 3713897 h 4687251"/>
              <a:gd name="connsiteX2848" fmla="*/ 7565454 w 8079933"/>
              <a:gd name="connsiteY2848" fmla="*/ 3715847 h 4687251"/>
              <a:gd name="connsiteX2849" fmla="*/ 7562958 w 8079933"/>
              <a:gd name="connsiteY2849" fmla="*/ 3721152 h 4687251"/>
              <a:gd name="connsiteX2850" fmla="*/ 7565020 w 8079933"/>
              <a:gd name="connsiteY2850" fmla="*/ 3721801 h 4687251"/>
              <a:gd name="connsiteX2851" fmla="*/ 7564803 w 8079933"/>
              <a:gd name="connsiteY2851" fmla="*/ 3731221 h 4687251"/>
              <a:gd name="connsiteX2852" fmla="*/ 7566105 w 8079933"/>
              <a:gd name="connsiteY2852" fmla="*/ 3736093 h 4687251"/>
              <a:gd name="connsiteX2853" fmla="*/ 7568059 w 8079933"/>
              <a:gd name="connsiteY2853" fmla="*/ 3738800 h 4687251"/>
              <a:gd name="connsiteX2854" fmla="*/ 7565346 w 8079933"/>
              <a:gd name="connsiteY2854" fmla="*/ 3743455 h 4687251"/>
              <a:gd name="connsiteX2855" fmla="*/ 7565671 w 8079933"/>
              <a:gd name="connsiteY2855" fmla="*/ 3757422 h 4687251"/>
              <a:gd name="connsiteX2856" fmla="*/ 7566105 w 8079933"/>
              <a:gd name="connsiteY2856" fmla="*/ 3759588 h 4687251"/>
              <a:gd name="connsiteX2857" fmla="*/ 7561874 w 8079933"/>
              <a:gd name="connsiteY2857" fmla="*/ 3766733 h 4687251"/>
              <a:gd name="connsiteX2858" fmla="*/ 7561765 w 8079933"/>
              <a:gd name="connsiteY2858" fmla="*/ 3772364 h 4687251"/>
              <a:gd name="connsiteX2859" fmla="*/ 7560137 w 8079933"/>
              <a:gd name="connsiteY2859" fmla="*/ 3774529 h 4687251"/>
              <a:gd name="connsiteX2860" fmla="*/ 7560245 w 8079933"/>
              <a:gd name="connsiteY2860" fmla="*/ 3779401 h 4687251"/>
              <a:gd name="connsiteX2861" fmla="*/ 7561765 w 8079933"/>
              <a:gd name="connsiteY2861" fmla="*/ 3782324 h 4687251"/>
              <a:gd name="connsiteX2862" fmla="*/ 7565128 w 8079933"/>
              <a:gd name="connsiteY2862" fmla="*/ 3791311 h 4687251"/>
              <a:gd name="connsiteX2863" fmla="*/ 7564587 w 8079933"/>
              <a:gd name="connsiteY2863" fmla="*/ 3797050 h 4687251"/>
              <a:gd name="connsiteX2864" fmla="*/ 7568276 w 8079933"/>
              <a:gd name="connsiteY2864" fmla="*/ 3807877 h 4687251"/>
              <a:gd name="connsiteX2865" fmla="*/ 7564260 w 8079933"/>
              <a:gd name="connsiteY2865" fmla="*/ 3812748 h 4687251"/>
              <a:gd name="connsiteX2866" fmla="*/ 7566105 w 8079933"/>
              <a:gd name="connsiteY2866" fmla="*/ 3819786 h 4687251"/>
              <a:gd name="connsiteX2867" fmla="*/ 7563718 w 8079933"/>
              <a:gd name="connsiteY2867" fmla="*/ 3826283 h 4687251"/>
              <a:gd name="connsiteX2868" fmla="*/ 7557206 w 8079933"/>
              <a:gd name="connsiteY2868" fmla="*/ 3831696 h 4687251"/>
              <a:gd name="connsiteX2869" fmla="*/ 7552649 w 8079933"/>
              <a:gd name="connsiteY2869" fmla="*/ 3842956 h 4687251"/>
              <a:gd name="connsiteX2870" fmla="*/ 7553084 w 8079933"/>
              <a:gd name="connsiteY2870" fmla="*/ 3848695 h 4687251"/>
              <a:gd name="connsiteX2871" fmla="*/ 7544402 w 8079933"/>
              <a:gd name="connsiteY2871" fmla="*/ 3864177 h 4687251"/>
              <a:gd name="connsiteX2872" fmla="*/ 7542774 w 8079933"/>
              <a:gd name="connsiteY2872" fmla="*/ 3872514 h 4687251"/>
              <a:gd name="connsiteX2873" fmla="*/ 7536046 w 8079933"/>
              <a:gd name="connsiteY2873" fmla="*/ 3887997 h 4687251"/>
              <a:gd name="connsiteX2874" fmla="*/ 7535287 w 8079933"/>
              <a:gd name="connsiteY2874" fmla="*/ 3891786 h 4687251"/>
              <a:gd name="connsiteX2875" fmla="*/ 7537349 w 8079933"/>
              <a:gd name="connsiteY2875" fmla="*/ 3894168 h 4687251"/>
              <a:gd name="connsiteX2876" fmla="*/ 7534636 w 8079933"/>
              <a:gd name="connsiteY2876" fmla="*/ 3901422 h 4687251"/>
              <a:gd name="connsiteX2877" fmla="*/ 7535287 w 8079933"/>
              <a:gd name="connsiteY2877" fmla="*/ 3905861 h 4687251"/>
              <a:gd name="connsiteX2878" fmla="*/ 7530077 w 8079933"/>
              <a:gd name="connsiteY2878" fmla="*/ 3914739 h 4687251"/>
              <a:gd name="connsiteX2879" fmla="*/ 7524652 w 8079933"/>
              <a:gd name="connsiteY2879" fmla="*/ 3916905 h 4687251"/>
              <a:gd name="connsiteX2880" fmla="*/ 7524435 w 8079933"/>
              <a:gd name="connsiteY2880" fmla="*/ 3921994 h 4687251"/>
              <a:gd name="connsiteX2881" fmla="*/ 7516730 w 8079933"/>
              <a:gd name="connsiteY2881" fmla="*/ 3927949 h 4687251"/>
              <a:gd name="connsiteX2882" fmla="*/ 7515646 w 8079933"/>
              <a:gd name="connsiteY2882" fmla="*/ 3932821 h 4687251"/>
              <a:gd name="connsiteX2883" fmla="*/ 7516730 w 8079933"/>
              <a:gd name="connsiteY2883" fmla="*/ 3935636 h 4687251"/>
              <a:gd name="connsiteX2884" fmla="*/ 7515103 w 8079933"/>
              <a:gd name="connsiteY2884" fmla="*/ 3941266 h 4687251"/>
              <a:gd name="connsiteX2885" fmla="*/ 7507506 w 8079933"/>
              <a:gd name="connsiteY2885" fmla="*/ 3946679 h 4687251"/>
              <a:gd name="connsiteX2886" fmla="*/ 7498933 w 8079933"/>
              <a:gd name="connsiteY2886" fmla="*/ 3947221 h 4687251"/>
              <a:gd name="connsiteX2887" fmla="*/ 7497197 w 8079933"/>
              <a:gd name="connsiteY2887" fmla="*/ 3949603 h 4687251"/>
              <a:gd name="connsiteX2888" fmla="*/ 7504359 w 8079933"/>
              <a:gd name="connsiteY2888" fmla="*/ 3949603 h 4687251"/>
              <a:gd name="connsiteX2889" fmla="*/ 7500019 w 8079933"/>
              <a:gd name="connsiteY2889" fmla="*/ 3951768 h 4687251"/>
              <a:gd name="connsiteX2890" fmla="*/ 7492965 w 8079933"/>
              <a:gd name="connsiteY2890" fmla="*/ 3953934 h 4687251"/>
              <a:gd name="connsiteX2891" fmla="*/ 7489384 w 8079933"/>
              <a:gd name="connsiteY2891" fmla="*/ 3961620 h 4687251"/>
              <a:gd name="connsiteX2892" fmla="*/ 7486346 w 8079933"/>
              <a:gd name="connsiteY2892" fmla="*/ 3964761 h 4687251"/>
              <a:gd name="connsiteX2893" fmla="*/ 7481245 w 8079933"/>
              <a:gd name="connsiteY2893" fmla="*/ 3972232 h 4687251"/>
              <a:gd name="connsiteX2894" fmla="*/ 7473866 w 8079933"/>
              <a:gd name="connsiteY2894" fmla="*/ 3975696 h 4687251"/>
              <a:gd name="connsiteX2895" fmla="*/ 7476904 w 8079933"/>
              <a:gd name="connsiteY2895" fmla="*/ 3978619 h 4687251"/>
              <a:gd name="connsiteX2896" fmla="*/ 7473106 w 8079933"/>
              <a:gd name="connsiteY2896" fmla="*/ 3987822 h 4687251"/>
              <a:gd name="connsiteX2897" fmla="*/ 7468983 w 8079933"/>
              <a:gd name="connsiteY2897" fmla="*/ 3989987 h 4687251"/>
              <a:gd name="connsiteX2898" fmla="*/ 7469526 w 8079933"/>
              <a:gd name="connsiteY2898" fmla="*/ 3995185 h 4687251"/>
              <a:gd name="connsiteX2899" fmla="*/ 7463774 w 8079933"/>
              <a:gd name="connsiteY2899" fmla="*/ 4000923 h 4687251"/>
              <a:gd name="connsiteX2900" fmla="*/ 7460193 w 8079933"/>
              <a:gd name="connsiteY2900" fmla="*/ 4011101 h 4687251"/>
              <a:gd name="connsiteX2901" fmla="*/ 7454333 w 8079933"/>
              <a:gd name="connsiteY2901" fmla="*/ 4018680 h 4687251"/>
              <a:gd name="connsiteX2902" fmla="*/ 7451838 w 8079933"/>
              <a:gd name="connsiteY2902" fmla="*/ 4028424 h 4687251"/>
              <a:gd name="connsiteX2903" fmla="*/ 7447822 w 8079933"/>
              <a:gd name="connsiteY2903" fmla="*/ 4029182 h 4687251"/>
              <a:gd name="connsiteX2904" fmla="*/ 7433389 w 8079933"/>
              <a:gd name="connsiteY2904" fmla="*/ 4047262 h 4687251"/>
              <a:gd name="connsiteX2905" fmla="*/ 7433715 w 8079933"/>
              <a:gd name="connsiteY2905" fmla="*/ 4051919 h 4687251"/>
              <a:gd name="connsiteX2906" fmla="*/ 7429049 w 8079933"/>
              <a:gd name="connsiteY2906" fmla="*/ 4054084 h 4687251"/>
              <a:gd name="connsiteX2907" fmla="*/ 7427421 w 8079933"/>
              <a:gd name="connsiteY2907" fmla="*/ 4063612 h 4687251"/>
              <a:gd name="connsiteX2908" fmla="*/ 7423515 w 8079933"/>
              <a:gd name="connsiteY2908" fmla="*/ 4069025 h 4687251"/>
              <a:gd name="connsiteX2909" fmla="*/ 7423515 w 8079933"/>
              <a:gd name="connsiteY2909" fmla="*/ 4083100 h 4687251"/>
              <a:gd name="connsiteX2910" fmla="*/ 7415376 w 8079933"/>
              <a:gd name="connsiteY2910" fmla="*/ 4091221 h 4687251"/>
              <a:gd name="connsiteX2911" fmla="*/ 7415592 w 8079933"/>
              <a:gd name="connsiteY2911" fmla="*/ 4096201 h 4687251"/>
              <a:gd name="connsiteX2912" fmla="*/ 7417438 w 8079933"/>
              <a:gd name="connsiteY2912" fmla="*/ 4105620 h 4687251"/>
              <a:gd name="connsiteX2913" fmla="*/ 7413206 w 8079933"/>
              <a:gd name="connsiteY2913" fmla="*/ 4114174 h 4687251"/>
              <a:gd name="connsiteX2914" fmla="*/ 7408756 w 8079933"/>
              <a:gd name="connsiteY2914" fmla="*/ 4117206 h 4687251"/>
              <a:gd name="connsiteX2915" fmla="*/ 7404415 w 8079933"/>
              <a:gd name="connsiteY2915" fmla="*/ 4117206 h 4687251"/>
              <a:gd name="connsiteX2916" fmla="*/ 7404415 w 8079933"/>
              <a:gd name="connsiteY2916" fmla="*/ 4121103 h 4687251"/>
              <a:gd name="connsiteX2917" fmla="*/ 7398230 w 8079933"/>
              <a:gd name="connsiteY2917" fmla="*/ 4124785 h 4687251"/>
              <a:gd name="connsiteX2918" fmla="*/ 7383364 w 8079933"/>
              <a:gd name="connsiteY2918" fmla="*/ 4121861 h 4687251"/>
              <a:gd name="connsiteX2919" fmla="*/ 7364915 w 8079933"/>
              <a:gd name="connsiteY2919" fmla="*/ 4125542 h 4687251"/>
              <a:gd name="connsiteX2920" fmla="*/ 7355909 w 8079933"/>
              <a:gd name="connsiteY2920" fmla="*/ 4128249 h 4687251"/>
              <a:gd name="connsiteX2921" fmla="*/ 7349723 w 8079933"/>
              <a:gd name="connsiteY2921" fmla="*/ 4128249 h 4687251"/>
              <a:gd name="connsiteX2922" fmla="*/ 7345274 w 8079933"/>
              <a:gd name="connsiteY2922" fmla="*/ 4128574 h 4687251"/>
              <a:gd name="connsiteX2923" fmla="*/ 7349398 w 8079933"/>
              <a:gd name="connsiteY2923" fmla="*/ 4129981 h 4687251"/>
              <a:gd name="connsiteX2924" fmla="*/ 7348312 w 8079933"/>
              <a:gd name="connsiteY2924" fmla="*/ 4131497 h 4687251"/>
              <a:gd name="connsiteX2925" fmla="*/ 7351025 w 8079933"/>
              <a:gd name="connsiteY2925" fmla="*/ 4129873 h 4687251"/>
              <a:gd name="connsiteX2926" fmla="*/ 7354715 w 8079933"/>
              <a:gd name="connsiteY2926" fmla="*/ 4129873 h 4687251"/>
              <a:gd name="connsiteX2927" fmla="*/ 7347770 w 8079933"/>
              <a:gd name="connsiteY2927" fmla="*/ 4135936 h 4687251"/>
              <a:gd name="connsiteX2928" fmla="*/ 7335507 w 8079933"/>
              <a:gd name="connsiteY2928" fmla="*/ 4143407 h 4687251"/>
              <a:gd name="connsiteX2929" fmla="*/ 7329539 w 8079933"/>
              <a:gd name="connsiteY2929" fmla="*/ 4151528 h 4687251"/>
              <a:gd name="connsiteX2930" fmla="*/ 7327912 w 8079933"/>
              <a:gd name="connsiteY2930" fmla="*/ 4154234 h 4687251"/>
              <a:gd name="connsiteX2931" fmla="*/ 7326392 w 8079933"/>
              <a:gd name="connsiteY2931" fmla="*/ 4151852 h 4687251"/>
              <a:gd name="connsiteX2932" fmla="*/ 7314672 w 8079933"/>
              <a:gd name="connsiteY2932" fmla="*/ 4151528 h 4687251"/>
              <a:gd name="connsiteX2933" fmla="*/ 7311742 w 8079933"/>
              <a:gd name="connsiteY2933" fmla="*/ 4154775 h 4687251"/>
              <a:gd name="connsiteX2934" fmla="*/ 7312719 w 8079933"/>
              <a:gd name="connsiteY2934" fmla="*/ 4157482 h 4687251"/>
              <a:gd name="connsiteX2935" fmla="*/ 7316517 w 8079933"/>
              <a:gd name="connsiteY2935" fmla="*/ 4154559 h 4687251"/>
              <a:gd name="connsiteX2936" fmla="*/ 7316843 w 8079933"/>
              <a:gd name="connsiteY2936" fmla="*/ 4161056 h 4687251"/>
              <a:gd name="connsiteX2937" fmla="*/ 7313370 w 8079933"/>
              <a:gd name="connsiteY2937" fmla="*/ 4167010 h 4687251"/>
              <a:gd name="connsiteX2938" fmla="*/ 7310006 w 8079933"/>
              <a:gd name="connsiteY2938" fmla="*/ 4161921 h 4687251"/>
              <a:gd name="connsiteX2939" fmla="*/ 7309572 w 8079933"/>
              <a:gd name="connsiteY2939" fmla="*/ 4157050 h 4687251"/>
              <a:gd name="connsiteX2940" fmla="*/ 7306316 w 8079933"/>
              <a:gd name="connsiteY2940" fmla="*/ 4156724 h 4687251"/>
              <a:gd name="connsiteX2941" fmla="*/ 7304038 w 8079933"/>
              <a:gd name="connsiteY2941" fmla="*/ 4158132 h 4687251"/>
              <a:gd name="connsiteX2942" fmla="*/ 7302736 w 8079933"/>
              <a:gd name="connsiteY2942" fmla="*/ 4150012 h 4687251"/>
              <a:gd name="connsiteX2943" fmla="*/ 7296441 w 8079933"/>
              <a:gd name="connsiteY2943" fmla="*/ 4142649 h 4687251"/>
              <a:gd name="connsiteX2944" fmla="*/ 7300239 w 8079933"/>
              <a:gd name="connsiteY2944" fmla="*/ 4138859 h 4687251"/>
              <a:gd name="connsiteX2945" fmla="*/ 7303170 w 8079933"/>
              <a:gd name="connsiteY2945" fmla="*/ 4138968 h 4687251"/>
              <a:gd name="connsiteX2946" fmla="*/ 7303603 w 8079933"/>
              <a:gd name="connsiteY2946" fmla="*/ 4134420 h 4687251"/>
              <a:gd name="connsiteX2947" fmla="*/ 7298721 w 8079933"/>
              <a:gd name="connsiteY2947" fmla="*/ 4131714 h 4687251"/>
              <a:gd name="connsiteX2948" fmla="*/ 7294814 w 8079933"/>
              <a:gd name="connsiteY2948" fmla="*/ 4134637 h 4687251"/>
              <a:gd name="connsiteX2949" fmla="*/ 7291341 w 8079933"/>
              <a:gd name="connsiteY2949" fmla="*/ 4138318 h 4687251"/>
              <a:gd name="connsiteX2950" fmla="*/ 7288303 w 8079933"/>
              <a:gd name="connsiteY2950" fmla="*/ 4137561 h 4687251"/>
              <a:gd name="connsiteX2951" fmla="*/ 7286132 w 8079933"/>
              <a:gd name="connsiteY2951" fmla="*/ 4133122 h 4687251"/>
              <a:gd name="connsiteX2952" fmla="*/ 7295682 w 8079933"/>
              <a:gd name="connsiteY2952" fmla="*/ 4127924 h 4687251"/>
              <a:gd name="connsiteX2953" fmla="*/ 7295899 w 8079933"/>
              <a:gd name="connsiteY2953" fmla="*/ 4122619 h 4687251"/>
              <a:gd name="connsiteX2954" fmla="*/ 7288086 w 8079933"/>
              <a:gd name="connsiteY2954" fmla="*/ 4117206 h 4687251"/>
              <a:gd name="connsiteX2955" fmla="*/ 7278753 w 8079933"/>
              <a:gd name="connsiteY2955" fmla="*/ 4123377 h 4687251"/>
              <a:gd name="connsiteX2956" fmla="*/ 7277017 w 8079933"/>
              <a:gd name="connsiteY2956" fmla="*/ 4126517 h 4687251"/>
              <a:gd name="connsiteX2957" fmla="*/ 7282226 w 8079933"/>
              <a:gd name="connsiteY2957" fmla="*/ 4128032 h 4687251"/>
              <a:gd name="connsiteX2958" fmla="*/ 7283420 w 8079933"/>
              <a:gd name="connsiteY2958" fmla="*/ 4130414 h 4687251"/>
              <a:gd name="connsiteX2959" fmla="*/ 7281466 w 8079933"/>
              <a:gd name="connsiteY2959" fmla="*/ 4132689 h 4687251"/>
              <a:gd name="connsiteX2960" fmla="*/ 7277017 w 8079933"/>
              <a:gd name="connsiteY2960" fmla="*/ 4131822 h 4687251"/>
              <a:gd name="connsiteX2961" fmla="*/ 7270832 w 8079933"/>
              <a:gd name="connsiteY2961" fmla="*/ 4137993 h 4687251"/>
              <a:gd name="connsiteX2962" fmla="*/ 7265080 w 8079933"/>
              <a:gd name="connsiteY2962" fmla="*/ 4138102 h 4687251"/>
              <a:gd name="connsiteX2963" fmla="*/ 7262258 w 8079933"/>
              <a:gd name="connsiteY2963" fmla="*/ 4142216 h 4687251"/>
              <a:gd name="connsiteX2964" fmla="*/ 7253035 w 8079933"/>
              <a:gd name="connsiteY2964" fmla="*/ 4146655 h 4687251"/>
              <a:gd name="connsiteX2965" fmla="*/ 7251407 w 8079933"/>
              <a:gd name="connsiteY2965" fmla="*/ 4149903 h 4687251"/>
              <a:gd name="connsiteX2966" fmla="*/ 7247718 w 8079933"/>
              <a:gd name="connsiteY2966" fmla="*/ 4149903 h 4687251"/>
              <a:gd name="connsiteX2967" fmla="*/ 7242942 w 8079933"/>
              <a:gd name="connsiteY2967" fmla="*/ 4144057 h 4687251"/>
              <a:gd name="connsiteX2968" fmla="*/ 7238168 w 8079933"/>
              <a:gd name="connsiteY2968" fmla="*/ 4142432 h 4687251"/>
              <a:gd name="connsiteX2969" fmla="*/ 7237517 w 8079933"/>
              <a:gd name="connsiteY2969" fmla="*/ 4137561 h 4687251"/>
              <a:gd name="connsiteX2970" fmla="*/ 7231440 w 8079933"/>
              <a:gd name="connsiteY2970" fmla="*/ 4132039 h 4687251"/>
              <a:gd name="connsiteX2971" fmla="*/ 7226014 w 8079933"/>
              <a:gd name="connsiteY2971" fmla="*/ 4131497 h 4687251"/>
              <a:gd name="connsiteX2972" fmla="*/ 7221022 w 8079933"/>
              <a:gd name="connsiteY2972" fmla="*/ 4125326 h 4687251"/>
              <a:gd name="connsiteX2973" fmla="*/ 7214837 w 8079933"/>
              <a:gd name="connsiteY2973" fmla="*/ 4123377 h 4687251"/>
              <a:gd name="connsiteX2974" fmla="*/ 7211798 w 8079933"/>
              <a:gd name="connsiteY2974" fmla="*/ 4124459 h 4687251"/>
              <a:gd name="connsiteX2975" fmla="*/ 7210713 w 8079933"/>
              <a:gd name="connsiteY2975" fmla="*/ 4126517 h 4687251"/>
              <a:gd name="connsiteX2976" fmla="*/ 7205831 w 8079933"/>
              <a:gd name="connsiteY2976" fmla="*/ 4126192 h 4687251"/>
              <a:gd name="connsiteX2977" fmla="*/ 7203660 w 8079933"/>
              <a:gd name="connsiteY2977" fmla="*/ 4120454 h 4687251"/>
              <a:gd name="connsiteX2978" fmla="*/ 7199102 w 8079933"/>
              <a:gd name="connsiteY2978" fmla="*/ 4117206 h 4687251"/>
              <a:gd name="connsiteX2979" fmla="*/ 7192591 w 8079933"/>
              <a:gd name="connsiteY2979" fmla="*/ 4115581 h 4687251"/>
              <a:gd name="connsiteX2980" fmla="*/ 7184127 w 8079933"/>
              <a:gd name="connsiteY2980" fmla="*/ 4104213 h 4687251"/>
              <a:gd name="connsiteX2981" fmla="*/ 7183042 w 8079933"/>
              <a:gd name="connsiteY2981" fmla="*/ 4096418 h 4687251"/>
              <a:gd name="connsiteX2982" fmla="*/ 7179352 w 8079933"/>
              <a:gd name="connsiteY2982" fmla="*/ 4090138 h 4687251"/>
              <a:gd name="connsiteX2983" fmla="*/ 7175228 w 8079933"/>
              <a:gd name="connsiteY2983" fmla="*/ 4086565 h 4687251"/>
              <a:gd name="connsiteX2984" fmla="*/ 7176096 w 8079933"/>
              <a:gd name="connsiteY2984" fmla="*/ 4078228 h 4687251"/>
              <a:gd name="connsiteX2985" fmla="*/ 7175120 w 8079933"/>
              <a:gd name="connsiteY2985" fmla="*/ 4075196 h 4687251"/>
              <a:gd name="connsiteX2986" fmla="*/ 7180980 w 8079933"/>
              <a:gd name="connsiteY2986" fmla="*/ 4068809 h 4687251"/>
              <a:gd name="connsiteX2987" fmla="*/ 7181956 w 8079933"/>
              <a:gd name="connsiteY2987" fmla="*/ 4057873 h 4687251"/>
              <a:gd name="connsiteX2988" fmla="*/ 7181522 w 8079933"/>
              <a:gd name="connsiteY2988" fmla="*/ 4048995 h 4687251"/>
              <a:gd name="connsiteX2989" fmla="*/ 7178484 w 8079933"/>
              <a:gd name="connsiteY2989" fmla="*/ 4041416 h 4687251"/>
              <a:gd name="connsiteX2990" fmla="*/ 7176747 w 8079933"/>
              <a:gd name="connsiteY2990" fmla="*/ 4036219 h 4687251"/>
              <a:gd name="connsiteX2991" fmla="*/ 7172515 w 8079933"/>
              <a:gd name="connsiteY2991" fmla="*/ 4030048 h 4687251"/>
              <a:gd name="connsiteX2992" fmla="*/ 7173601 w 8079933"/>
              <a:gd name="connsiteY2992" fmla="*/ 4027449 h 4687251"/>
              <a:gd name="connsiteX2993" fmla="*/ 7177941 w 8079933"/>
              <a:gd name="connsiteY2993" fmla="*/ 4027774 h 4687251"/>
              <a:gd name="connsiteX2994" fmla="*/ 7180329 w 8079933"/>
              <a:gd name="connsiteY2994" fmla="*/ 4023876 h 4687251"/>
              <a:gd name="connsiteX2995" fmla="*/ 7182716 w 8079933"/>
              <a:gd name="connsiteY2995" fmla="*/ 4019762 h 4687251"/>
              <a:gd name="connsiteX2996" fmla="*/ 7179677 w 8079933"/>
              <a:gd name="connsiteY2996" fmla="*/ 4020195 h 4687251"/>
              <a:gd name="connsiteX2997" fmla="*/ 7175663 w 8079933"/>
              <a:gd name="connsiteY2997" fmla="*/ 4019004 h 4687251"/>
              <a:gd name="connsiteX2998" fmla="*/ 7170562 w 8079933"/>
              <a:gd name="connsiteY2998" fmla="*/ 4023118 h 4687251"/>
              <a:gd name="connsiteX2999" fmla="*/ 7166439 w 8079933"/>
              <a:gd name="connsiteY2999" fmla="*/ 4024201 h 4687251"/>
              <a:gd name="connsiteX3000" fmla="*/ 7163726 w 8079933"/>
              <a:gd name="connsiteY3000" fmla="*/ 4026908 h 4687251"/>
              <a:gd name="connsiteX3001" fmla="*/ 7157540 w 8079933"/>
              <a:gd name="connsiteY3001" fmla="*/ 4026800 h 4687251"/>
              <a:gd name="connsiteX3002" fmla="*/ 7151680 w 8079933"/>
              <a:gd name="connsiteY3002" fmla="*/ 4027558 h 4687251"/>
              <a:gd name="connsiteX3003" fmla="*/ 7150269 w 8079933"/>
              <a:gd name="connsiteY3003" fmla="*/ 4024309 h 4687251"/>
              <a:gd name="connsiteX3004" fmla="*/ 7159385 w 8079933"/>
              <a:gd name="connsiteY3004" fmla="*/ 4020628 h 4687251"/>
              <a:gd name="connsiteX3005" fmla="*/ 7164593 w 8079933"/>
              <a:gd name="connsiteY3005" fmla="*/ 4010884 h 4687251"/>
              <a:gd name="connsiteX3006" fmla="*/ 7163834 w 8079933"/>
              <a:gd name="connsiteY3006" fmla="*/ 3999515 h 4687251"/>
              <a:gd name="connsiteX3007" fmla="*/ 7166004 w 8079933"/>
              <a:gd name="connsiteY3007" fmla="*/ 3998866 h 4687251"/>
              <a:gd name="connsiteX3008" fmla="*/ 7163509 w 8079933"/>
              <a:gd name="connsiteY3008" fmla="*/ 3992153 h 4687251"/>
              <a:gd name="connsiteX3009" fmla="*/ 7163292 w 8079933"/>
              <a:gd name="connsiteY3009" fmla="*/ 3980785 h 4687251"/>
              <a:gd name="connsiteX3010" fmla="*/ 7161556 w 8079933"/>
              <a:gd name="connsiteY3010" fmla="*/ 3978619 h 4687251"/>
              <a:gd name="connsiteX3011" fmla="*/ 7154828 w 8079933"/>
              <a:gd name="connsiteY3011" fmla="*/ 3985440 h 4687251"/>
              <a:gd name="connsiteX3012" fmla="*/ 7152657 w 8079933"/>
              <a:gd name="connsiteY3012" fmla="*/ 3997783 h 4687251"/>
              <a:gd name="connsiteX3013" fmla="*/ 7144736 w 8079933"/>
              <a:gd name="connsiteY3013" fmla="*/ 4011101 h 4687251"/>
              <a:gd name="connsiteX3014" fmla="*/ 7136488 w 8079933"/>
              <a:gd name="connsiteY3014" fmla="*/ 4008177 h 4687251"/>
              <a:gd name="connsiteX3015" fmla="*/ 7129652 w 8079933"/>
              <a:gd name="connsiteY3015" fmla="*/ 4011317 h 4687251"/>
              <a:gd name="connsiteX3016" fmla="*/ 7122597 w 8079933"/>
              <a:gd name="connsiteY3016" fmla="*/ 4013049 h 4687251"/>
              <a:gd name="connsiteX3017" fmla="*/ 7122597 w 8079933"/>
              <a:gd name="connsiteY3017" fmla="*/ 4011317 h 4687251"/>
              <a:gd name="connsiteX3018" fmla="*/ 7125528 w 8079933"/>
              <a:gd name="connsiteY3018" fmla="*/ 4006228 h 4687251"/>
              <a:gd name="connsiteX3019" fmla="*/ 7127807 w 8079933"/>
              <a:gd name="connsiteY3019" fmla="*/ 3999948 h 4687251"/>
              <a:gd name="connsiteX3020" fmla="*/ 7139201 w 8079933"/>
              <a:gd name="connsiteY3020" fmla="*/ 4001140 h 4687251"/>
              <a:gd name="connsiteX3021" fmla="*/ 7143433 w 8079933"/>
              <a:gd name="connsiteY3021" fmla="*/ 3989663 h 4687251"/>
              <a:gd name="connsiteX3022" fmla="*/ 7141588 w 8079933"/>
              <a:gd name="connsiteY3022" fmla="*/ 3987281 h 4687251"/>
              <a:gd name="connsiteX3023" fmla="*/ 7147340 w 8079933"/>
              <a:gd name="connsiteY3023" fmla="*/ 3979161 h 4687251"/>
              <a:gd name="connsiteX3024" fmla="*/ 7147014 w 8079933"/>
              <a:gd name="connsiteY3024" fmla="*/ 3973747 h 4687251"/>
              <a:gd name="connsiteX3025" fmla="*/ 7149944 w 8079933"/>
              <a:gd name="connsiteY3025" fmla="*/ 3969958 h 4687251"/>
              <a:gd name="connsiteX3026" fmla="*/ 7151355 w 8079933"/>
              <a:gd name="connsiteY3026" fmla="*/ 3964761 h 4687251"/>
              <a:gd name="connsiteX3027" fmla="*/ 7161338 w 8079933"/>
              <a:gd name="connsiteY3027" fmla="*/ 3958265 h 4687251"/>
              <a:gd name="connsiteX3028" fmla="*/ 7162749 w 8079933"/>
              <a:gd name="connsiteY3028" fmla="*/ 3946138 h 4687251"/>
              <a:gd name="connsiteX3029" fmla="*/ 7165679 w 8079933"/>
              <a:gd name="connsiteY3029" fmla="*/ 3942349 h 4687251"/>
              <a:gd name="connsiteX3030" fmla="*/ 7165679 w 8079933"/>
              <a:gd name="connsiteY3030" fmla="*/ 3936394 h 4687251"/>
              <a:gd name="connsiteX3031" fmla="*/ 7165462 w 8079933"/>
              <a:gd name="connsiteY3031" fmla="*/ 3930222 h 4687251"/>
              <a:gd name="connsiteX3032" fmla="*/ 7162532 w 8079933"/>
              <a:gd name="connsiteY3032" fmla="*/ 3923618 h 4687251"/>
              <a:gd name="connsiteX3033" fmla="*/ 7161556 w 8079933"/>
              <a:gd name="connsiteY3033" fmla="*/ 3929356 h 4687251"/>
              <a:gd name="connsiteX3034" fmla="*/ 7163292 w 8079933"/>
              <a:gd name="connsiteY3034" fmla="*/ 3934445 h 4687251"/>
              <a:gd name="connsiteX3035" fmla="*/ 7160579 w 8079933"/>
              <a:gd name="connsiteY3035" fmla="*/ 3938343 h 4687251"/>
              <a:gd name="connsiteX3036" fmla="*/ 7153742 w 8079933"/>
              <a:gd name="connsiteY3036" fmla="*/ 3939859 h 4687251"/>
              <a:gd name="connsiteX3037" fmla="*/ 7147340 w 8079933"/>
              <a:gd name="connsiteY3037" fmla="*/ 3949603 h 4687251"/>
              <a:gd name="connsiteX3038" fmla="*/ 7145386 w 8079933"/>
              <a:gd name="connsiteY3038" fmla="*/ 3956207 h 4687251"/>
              <a:gd name="connsiteX3039" fmla="*/ 7137464 w 8079933"/>
              <a:gd name="connsiteY3039" fmla="*/ 3959997 h 4687251"/>
              <a:gd name="connsiteX3040" fmla="*/ 7135403 w 8079933"/>
              <a:gd name="connsiteY3040" fmla="*/ 3959997 h 4687251"/>
              <a:gd name="connsiteX3041" fmla="*/ 7134426 w 8079933"/>
              <a:gd name="connsiteY3041" fmla="*/ 3963136 h 4687251"/>
              <a:gd name="connsiteX3042" fmla="*/ 7124226 w 8079933"/>
              <a:gd name="connsiteY3042" fmla="*/ 3968117 h 4687251"/>
              <a:gd name="connsiteX3043" fmla="*/ 7119885 w 8079933"/>
              <a:gd name="connsiteY3043" fmla="*/ 3973747 h 4687251"/>
              <a:gd name="connsiteX3044" fmla="*/ 7118691 w 8079933"/>
              <a:gd name="connsiteY3044" fmla="*/ 3977861 h 4687251"/>
              <a:gd name="connsiteX3045" fmla="*/ 7114459 w 8079933"/>
              <a:gd name="connsiteY3045" fmla="*/ 3979702 h 4687251"/>
              <a:gd name="connsiteX3046" fmla="*/ 7112288 w 8079933"/>
              <a:gd name="connsiteY3046" fmla="*/ 3983708 h 4687251"/>
              <a:gd name="connsiteX3047" fmla="*/ 7108490 w 8079933"/>
              <a:gd name="connsiteY3047" fmla="*/ 3984358 h 4687251"/>
              <a:gd name="connsiteX3048" fmla="*/ 7106212 w 8079933"/>
              <a:gd name="connsiteY3048" fmla="*/ 3989122 h 4687251"/>
              <a:gd name="connsiteX3049" fmla="*/ 7103391 w 8079933"/>
              <a:gd name="connsiteY3049" fmla="*/ 3991936 h 4687251"/>
              <a:gd name="connsiteX3050" fmla="*/ 7105777 w 8079933"/>
              <a:gd name="connsiteY3050" fmla="*/ 3995726 h 4687251"/>
              <a:gd name="connsiteX3051" fmla="*/ 7105560 w 8079933"/>
              <a:gd name="connsiteY3051" fmla="*/ 3999948 h 4687251"/>
              <a:gd name="connsiteX3052" fmla="*/ 7101437 w 8079933"/>
              <a:gd name="connsiteY3052" fmla="*/ 3996701 h 4687251"/>
              <a:gd name="connsiteX3053" fmla="*/ 7097422 w 8079933"/>
              <a:gd name="connsiteY3053" fmla="*/ 3998108 h 4687251"/>
              <a:gd name="connsiteX3054" fmla="*/ 7095686 w 8079933"/>
              <a:gd name="connsiteY3054" fmla="*/ 3993236 h 4687251"/>
              <a:gd name="connsiteX3055" fmla="*/ 7091996 w 8079933"/>
              <a:gd name="connsiteY3055" fmla="*/ 3991287 h 4687251"/>
              <a:gd name="connsiteX3056" fmla="*/ 7088307 w 8079933"/>
              <a:gd name="connsiteY3056" fmla="*/ 3986415 h 4687251"/>
              <a:gd name="connsiteX3057" fmla="*/ 7089717 w 8079933"/>
              <a:gd name="connsiteY3057" fmla="*/ 3984899 h 4687251"/>
              <a:gd name="connsiteX3058" fmla="*/ 7092539 w 8079933"/>
              <a:gd name="connsiteY3058" fmla="*/ 3986740 h 4687251"/>
              <a:gd name="connsiteX3059" fmla="*/ 7094600 w 8079933"/>
              <a:gd name="connsiteY3059" fmla="*/ 3983167 h 4687251"/>
              <a:gd name="connsiteX3060" fmla="*/ 7095468 w 8079933"/>
              <a:gd name="connsiteY3060" fmla="*/ 3976995 h 4687251"/>
              <a:gd name="connsiteX3061" fmla="*/ 7093298 w 8079933"/>
              <a:gd name="connsiteY3061" fmla="*/ 3974071 h 4687251"/>
              <a:gd name="connsiteX3062" fmla="*/ 7095143 w 8079933"/>
              <a:gd name="connsiteY3062" fmla="*/ 3968875 h 4687251"/>
              <a:gd name="connsiteX3063" fmla="*/ 7089934 w 8079933"/>
              <a:gd name="connsiteY3063" fmla="*/ 3957290 h 4687251"/>
              <a:gd name="connsiteX3064" fmla="*/ 7090802 w 8079933"/>
              <a:gd name="connsiteY3064" fmla="*/ 3952310 h 4687251"/>
              <a:gd name="connsiteX3065" fmla="*/ 7089175 w 8079933"/>
              <a:gd name="connsiteY3065" fmla="*/ 3945597 h 4687251"/>
              <a:gd name="connsiteX3066" fmla="*/ 7084291 w 8079933"/>
              <a:gd name="connsiteY3066" fmla="*/ 3940400 h 4687251"/>
              <a:gd name="connsiteX3067" fmla="*/ 7079951 w 8079933"/>
              <a:gd name="connsiteY3067" fmla="*/ 3939967 h 4687251"/>
              <a:gd name="connsiteX3068" fmla="*/ 7075718 w 8079933"/>
              <a:gd name="connsiteY3068" fmla="*/ 3930763 h 4687251"/>
              <a:gd name="connsiteX3069" fmla="*/ 7076695 w 8079933"/>
              <a:gd name="connsiteY3069" fmla="*/ 3927516 h 4687251"/>
              <a:gd name="connsiteX3070" fmla="*/ 7080711 w 8079933"/>
              <a:gd name="connsiteY3070" fmla="*/ 3927516 h 4687251"/>
              <a:gd name="connsiteX3071" fmla="*/ 7082121 w 8079933"/>
              <a:gd name="connsiteY3071" fmla="*/ 3924159 h 4687251"/>
              <a:gd name="connsiteX3072" fmla="*/ 7078431 w 8079933"/>
              <a:gd name="connsiteY3072" fmla="*/ 3920370 h 4687251"/>
              <a:gd name="connsiteX3073" fmla="*/ 7075285 w 8079933"/>
              <a:gd name="connsiteY3073" fmla="*/ 3920153 h 4687251"/>
              <a:gd name="connsiteX3074" fmla="*/ 7076153 w 8079933"/>
              <a:gd name="connsiteY3074" fmla="*/ 3915606 h 4687251"/>
              <a:gd name="connsiteX3075" fmla="*/ 7065627 w 8079933"/>
              <a:gd name="connsiteY3075" fmla="*/ 3908243 h 4687251"/>
              <a:gd name="connsiteX3076" fmla="*/ 7063131 w 8079933"/>
              <a:gd name="connsiteY3076" fmla="*/ 3909867 h 4687251"/>
              <a:gd name="connsiteX3077" fmla="*/ 7056945 w 8079933"/>
              <a:gd name="connsiteY3077" fmla="*/ 3908784 h 4687251"/>
              <a:gd name="connsiteX3078" fmla="*/ 7052496 w 8079933"/>
              <a:gd name="connsiteY3078" fmla="*/ 3902829 h 4687251"/>
              <a:gd name="connsiteX3079" fmla="*/ 7047395 w 8079933"/>
              <a:gd name="connsiteY3079" fmla="*/ 3901531 h 4687251"/>
              <a:gd name="connsiteX3080" fmla="*/ 7044682 w 8079933"/>
              <a:gd name="connsiteY3080" fmla="*/ 3902829 h 4687251"/>
              <a:gd name="connsiteX3081" fmla="*/ 7042512 w 8079933"/>
              <a:gd name="connsiteY3081" fmla="*/ 3900448 h 4687251"/>
              <a:gd name="connsiteX3082" fmla="*/ 7039583 w 8079933"/>
              <a:gd name="connsiteY3082" fmla="*/ 3901531 h 4687251"/>
              <a:gd name="connsiteX3083" fmla="*/ 7036544 w 8079933"/>
              <a:gd name="connsiteY3083" fmla="*/ 3904129 h 4687251"/>
              <a:gd name="connsiteX3084" fmla="*/ 7032204 w 8079933"/>
              <a:gd name="connsiteY3084" fmla="*/ 3902614 h 4687251"/>
              <a:gd name="connsiteX3085" fmla="*/ 7026561 w 8079933"/>
              <a:gd name="connsiteY3085" fmla="*/ 3893086 h 4687251"/>
              <a:gd name="connsiteX3086" fmla="*/ 7019398 w 8079933"/>
              <a:gd name="connsiteY3086" fmla="*/ 3886264 h 4687251"/>
              <a:gd name="connsiteX3087" fmla="*/ 7013538 w 8079933"/>
              <a:gd name="connsiteY3087" fmla="*/ 3885507 h 4687251"/>
              <a:gd name="connsiteX3088" fmla="*/ 7006268 w 8079933"/>
              <a:gd name="connsiteY3088" fmla="*/ 3887997 h 4687251"/>
              <a:gd name="connsiteX3089" fmla="*/ 7000516 w 8079933"/>
              <a:gd name="connsiteY3089" fmla="*/ 3887888 h 4687251"/>
              <a:gd name="connsiteX3090" fmla="*/ 6992052 w 8079933"/>
              <a:gd name="connsiteY3090" fmla="*/ 3885507 h 4687251"/>
              <a:gd name="connsiteX3091" fmla="*/ 6965791 w 8079933"/>
              <a:gd name="connsiteY3091" fmla="*/ 3887455 h 4687251"/>
              <a:gd name="connsiteX3092" fmla="*/ 6955916 w 8079933"/>
              <a:gd name="connsiteY3092" fmla="*/ 3888213 h 4687251"/>
              <a:gd name="connsiteX3093" fmla="*/ 6949189 w 8079933"/>
              <a:gd name="connsiteY3093" fmla="*/ 3893086 h 4687251"/>
              <a:gd name="connsiteX3094" fmla="*/ 6945499 w 8079933"/>
              <a:gd name="connsiteY3094" fmla="*/ 3893086 h 4687251"/>
              <a:gd name="connsiteX3095" fmla="*/ 6939748 w 8079933"/>
              <a:gd name="connsiteY3095" fmla="*/ 3897200 h 4687251"/>
              <a:gd name="connsiteX3096" fmla="*/ 6931934 w 8079933"/>
              <a:gd name="connsiteY3096" fmla="*/ 3899040 h 4687251"/>
              <a:gd name="connsiteX3097" fmla="*/ 6918804 w 8079933"/>
              <a:gd name="connsiteY3097" fmla="*/ 3903696 h 4687251"/>
              <a:gd name="connsiteX3098" fmla="*/ 6909254 w 8079933"/>
              <a:gd name="connsiteY3098" fmla="*/ 3903155 h 4687251"/>
              <a:gd name="connsiteX3099" fmla="*/ 6904697 w 8079933"/>
              <a:gd name="connsiteY3099" fmla="*/ 3904778 h 4687251"/>
              <a:gd name="connsiteX3100" fmla="*/ 6898185 w 8079933"/>
              <a:gd name="connsiteY3100" fmla="*/ 3904454 h 4687251"/>
              <a:gd name="connsiteX3101" fmla="*/ 6891132 w 8079933"/>
              <a:gd name="connsiteY3101" fmla="*/ 3901422 h 4687251"/>
              <a:gd name="connsiteX3102" fmla="*/ 6886900 w 8079933"/>
              <a:gd name="connsiteY3102" fmla="*/ 3901531 h 4687251"/>
              <a:gd name="connsiteX3103" fmla="*/ 6883536 w 8079933"/>
              <a:gd name="connsiteY3103" fmla="*/ 3901422 h 4687251"/>
              <a:gd name="connsiteX3104" fmla="*/ 6879955 w 8079933"/>
              <a:gd name="connsiteY3104" fmla="*/ 3902829 h 4687251"/>
              <a:gd name="connsiteX3105" fmla="*/ 6872142 w 8079933"/>
              <a:gd name="connsiteY3105" fmla="*/ 3910084 h 4687251"/>
              <a:gd name="connsiteX3106" fmla="*/ 6859445 w 8079933"/>
              <a:gd name="connsiteY3106" fmla="*/ 3917771 h 4687251"/>
              <a:gd name="connsiteX3107" fmla="*/ 6849570 w 8079933"/>
              <a:gd name="connsiteY3107" fmla="*/ 3921236 h 4687251"/>
              <a:gd name="connsiteX3108" fmla="*/ 6846966 w 8079933"/>
              <a:gd name="connsiteY3108" fmla="*/ 3919612 h 4687251"/>
              <a:gd name="connsiteX3109" fmla="*/ 6840129 w 8079933"/>
              <a:gd name="connsiteY3109" fmla="*/ 3921561 h 4687251"/>
              <a:gd name="connsiteX3110" fmla="*/ 6834269 w 8079933"/>
              <a:gd name="connsiteY3110" fmla="*/ 3926108 h 4687251"/>
              <a:gd name="connsiteX3111" fmla="*/ 6831448 w 8079933"/>
              <a:gd name="connsiteY3111" fmla="*/ 3934553 h 4687251"/>
              <a:gd name="connsiteX3112" fmla="*/ 6826348 w 8079933"/>
              <a:gd name="connsiteY3112" fmla="*/ 3939641 h 4687251"/>
              <a:gd name="connsiteX3113" fmla="*/ 6823960 w 8079933"/>
              <a:gd name="connsiteY3113" fmla="*/ 3940400 h 4687251"/>
              <a:gd name="connsiteX3114" fmla="*/ 6821681 w 8079933"/>
              <a:gd name="connsiteY3114" fmla="*/ 3946138 h 4687251"/>
              <a:gd name="connsiteX3115" fmla="*/ 6815387 w 8079933"/>
              <a:gd name="connsiteY3115" fmla="*/ 3950469 h 4687251"/>
              <a:gd name="connsiteX3116" fmla="*/ 6810070 w 8079933"/>
              <a:gd name="connsiteY3116" fmla="*/ 3949061 h 4687251"/>
              <a:gd name="connsiteX3117" fmla="*/ 6804861 w 8079933"/>
              <a:gd name="connsiteY3117" fmla="*/ 3954042 h 4687251"/>
              <a:gd name="connsiteX3118" fmla="*/ 6803233 w 8079933"/>
              <a:gd name="connsiteY3118" fmla="*/ 3953393 h 4687251"/>
              <a:gd name="connsiteX3119" fmla="*/ 6803776 w 8079933"/>
              <a:gd name="connsiteY3119" fmla="*/ 3949386 h 4687251"/>
              <a:gd name="connsiteX3120" fmla="*/ 6794335 w 8079933"/>
              <a:gd name="connsiteY3120" fmla="*/ 3949386 h 4687251"/>
              <a:gd name="connsiteX3121" fmla="*/ 6790537 w 8079933"/>
              <a:gd name="connsiteY3121" fmla="*/ 3951877 h 4687251"/>
              <a:gd name="connsiteX3122" fmla="*/ 6788366 w 8079933"/>
              <a:gd name="connsiteY3122" fmla="*/ 3949386 h 4687251"/>
              <a:gd name="connsiteX3123" fmla="*/ 6784568 w 8079933"/>
              <a:gd name="connsiteY3123" fmla="*/ 3951335 h 4687251"/>
              <a:gd name="connsiteX3124" fmla="*/ 6781747 w 8079933"/>
              <a:gd name="connsiteY3124" fmla="*/ 3951335 h 4687251"/>
              <a:gd name="connsiteX3125" fmla="*/ 6779902 w 8079933"/>
              <a:gd name="connsiteY3125" fmla="*/ 3946355 h 4687251"/>
              <a:gd name="connsiteX3126" fmla="*/ 6775019 w 8079933"/>
              <a:gd name="connsiteY3126" fmla="*/ 3948087 h 4687251"/>
              <a:gd name="connsiteX3127" fmla="*/ 6771220 w 8079933"/>
              <a:gd name="connsiteY3127" fmla="*/ 3947762 h 4687251"/>
              <a:gd name="connsiteX3128" fmla="*/ 6768834 w 8079933"/>
              <a:gd name="connsiteY3128" fmla="*/ 3946138 h 4687251"/>
              <a:gd name="connsiteX3129" fmla="*/ 6760695 w 8079933"/>
              <a:gd name="connsiteY3129" fmla="*/ 3947979 h 4687251"/>
              <a:gd name="connsiteX3130" fmla="*/ 6759067 w 8079933"/>
              <a:gd name="connsiteY3130" fmla="*/ 3945380 h 4687251"/>
              <a:gd name="connsiteX3131" fmla="*/ 6746480 w 8079933"/>
              <a:gd name="connsiteY3131" fmla="*/ 3948087 h 4687251"/>
              <a:gd name="connsiteX3132" fmla="*/ 6742138 w 8079933"/>
              <a:gd name="connsiteY3132" fmla="*/ 3951010 h 4687251"/>
              <a:gd name="connsiteX3133" fmla="*/ 6738883 w 8079933"/>
              <a:gd name="connsiteY3133" fmla="*/ 3949061 h 4687251"/>
              <a:gd name="connsiteX3134" fmla="*/ 6733783 w 8079933"/>
              <a:gd name="connsiteY3134" fmla="*/ 3948304 h 4687251"/>
              <a:gd name="connsiteX3135" fmla="*/ 6720543 w 8079933"/>
              <a:gd name="connsiteY3135" fmla="*/ 3956424 h 4687251"/>
              <a:gd name="connsiteX3136" fmla="*/ 6719350 w 8079933"/>
              <a:gd name="connsiteY3136" fmla="*/ 3962162 h 4687251"/>
              <a:gd name="connsiteX3137" fmla="*/ 6716962 w 8079933"/>
              <a:gd name="connsiteY3137" fmla="*/ 3963461 h 4687251"/>
              <a:gd name="connsiteX3138" fmla="*/ 6715009 w 8079933"/>
              <a:gd name="connsiteY3138" fmla="*/ 3962595 h 4687251"/>
              <a:gd name="connsiteX3139" fmla="*/ 6711211 w 8079933"/>
              <a:gd name="connsiteY3139" fmla="*/ 3967792 h 4687251"/>
              <a:gd name="connsiteX3140" fmla="*/ 6707521 w 8079933"/>
              <a:gd name="connsiteY3140" fmla="*/ 3964002 h 4687251"/>
              <a:gd name="connsiteX3141" fmla="*/ 6703941 w 8079933"/>
              <a:gd name="connsiteY3141" fmla="*/ 3964002 h 4687251"/>
              <a:gd name="connsiteX3142" fmla="*/ 6699383 w 8079933"/>
              <a:gd name="connsiteY3142" fmla="*/ 3966493 h 4687251"/>
              <a:gd name="connsiteX3143" fmla="*/ 6699383 w 8079933"/>
              <a:gd name="connsiteY3143" fmla="*/ 3970716 h 4687251"/>
              <a:gd name="connsiteX3144" fmla="*/ 6692330 w 8079933"/>
              <a:gd name="connsiteY3144" fmla="*/ 3969741 h 4687251"/>
              <a:gd name="connsiteX3145" fmla="*/ 6688422 w 8079933"/>
              <a:gd name="connsiteY3145" fmla="*/ 3975696 h 4687251"/>
              <a:gd name="connsiteX3146" fmla="*/ 6684733 w 8079933"/>
              <a:gd name="connsiteY3146" fmla="*/ 3976453 h 4687251"/>
              <a:gd name="connsiteX3147" fmla="*/ 6684082 w 8079933"/>
              <a:gd name="connsiteY3147" fmla="*/ 3979377 h 4687251"/>
              <a:gd name="connsiteX3148" fmla="*/ 6678114 w 8079933"/>
              <a:gd name="connsiteY3148" fmla="*/ 3979918 h 4687251"/>
              <a:gd name="connsiteX3149" fmla="*/ 6671169 w 8079933"/>
              <a:gd name="connsiteY3149" fmla="*/ 3981109 h 4687251"/>
              <a:gd name="connsiteX3150" fmla="*/ 6669758 w 8079933"/>
              <a:gd name="connsiteY3150" fmla="*/ 3980026 h 4687251"/>
              <a:gd name="connsiteX3151" fmla="*/ 6667045 w 8079933"/>
              <a:gd name="connsiteY3151" fmla="*/ 3982192 h 4687251"/>
              <a:gd name="connsiteX3152" fmla="*/ 6665417 w 8079933"/>
              <a:gd name="connsiteY3152" fmla="*/ 3978836 h 4687251"/>
              <a:gd name="connsiteX3153" fmla="*/ 6659231 w 8079933"/>
              <a:gd name="connsiteY3153" fmla="*/ 3980026 h 4687251"/>
              <a:gd name="connsiteX3154" fmla="*/ 6654023 w 8079933"/>
              <a:gd name="connsiteY3154" fmla="*/ 3979377 h 4687251"/>
              <a:gd name="connsiteX3155" fmla="*/ 6652612 w 8079933"/>
              <a:gd name="connsiteY3155" fmla="*/ 3977320 h 4687251"/>
              <a:gd name="connsiteX3156" fmla="*/ 6649899 w 8079933"/>
              <a:gd name="connsiteY3156" fmla="*/ 3977861 h 4687251"/>
              <a:gd name="connsiteX3157" fmla="*/ 6642954 w 8079933"/>
              <a:gd name="connsiteY3157" fmla="*/ 3976779 h 4687251"/>
              <a:gd name="connsiteX3158" fmla="*/ 6640675 w 8079933"/>
              <a:gd name="connsiteY3158" fmla="*/ 3973964 h 4687251"/>
              <a:gd name="connsiteX3159" fmla="*/ 6635358 w 8079933"/>
              <a:gd name="connsiteY3159" fmla="*/ 3972989 h 4687251"/>
              <a:gd name="connsiteX3160" fmla="*/ 6633622 w 8079933"/>
              <a:gd name="connsiteY3160" fmla="*/ 3970824 h 4687251"/>
              <a:gd name="connsiteX3161" fmla="*/ 6633731 w 8079933"/>
              <a:gd name="connsiteY3161" fmla="*/ 3967034 h 4687251"/>
              <a:gd name="connsiteX3162" fmla="*/ 6623638 w 8079933"/>
              <a:gd name="connsiteY3162" fmla="*/ 3956749 h 4687251"/>
              <a:gd name="connsiteX3163" fmla="*/ 6619948 w 8079933"/>
              <a:gd name="connsiteY3163" fmla="*/ 3956640 h 4687251"/>
              <a:gd name="connsiteX3164" fmla="*/ 6616802 w 8079933"/>
              <a:gd name="connsiteY3164" fmla="*/ 3953717 h 4687251"/>
              <a:gd name="connsiteX3165" fmla="*/ 6616368 w 8079933"/>
              <a:gd name="connsiteY3165" fmla="*/ 3938884 h 4687251"/>
              <a:gd name="connsiteX3166" fmla="*/ 6622337 w 8079933"/>
              <a:gd name="connsiteY3166" fmla="*/ 3929898 h 4687251"/>
              <a:gd name="connsiteX3167" fmla="*/ 6625809 w 8079933"/>
              <a:gd name="connsiteY3167" fmla="*/ 3932929 h 4687251"/>
              <a:gd name="connsiteX3168" fmla="*/ 6633622 w 8079933"/>
              <a:gd name="connsiteY3168" fmla="*/ 3926974 h 4687251"/>
              <a:gd name="connsiteX3169" fmla="*/ 6632646 w 8079933"/>
              <a:gd name="connsiteY3169" fmla="*/ 3920802 h 4687251"/>
              <a:gd name="connsiteX3170" fmla="*/ 6636877 w 8079933"/>
              <a:gd name="connsiteY3170" fmla="*/ 3917771 h 4687251"/>
              <a:gd name="connsiteX3171" fmla="*/ 6638071 w 8079933"/>
              <a:gd name="connsiteY3171" fmla="*/ 3911492 h 4687251"/>
              <a:gd name="connsiteX3172" fmla="*/ 6636877 w 8079933"/>
              <a:gd name="connsiteY3172" fmla="*/ 3908460 h 4687251"/>
              <a:gd name="connsiteX3173" fmla="*/ 6641001 w 8079933"/>
              <a:gd name="connsiteY3173" fmla="*/ 3904671 h 4687251"/>
              <a:gd name="connsiteX3174" fmla="*/ 6641869 w 8079933"/>
              <a:gd name="connsiteY3174" fmla="*/ 3894168 h 4687251"/>
              <a:gd name="connsiteX3175" fmla="*/ 6643497 w 8079933"/>
              <a:gd name="connsiteY3175" fmla="*/ 3887888 h 4687251"/>
              <a:gd name="connsiteX3176" fmla="*/ 6641218 w 8079933"/>
              <a:gd name="connsiteY3176" fmla="*/ 3885290 h 4687251"/>
              <a:gd name="connsiteX3177" fmla="*/ 6645667 w 8079933"/>
              <a:gd name="connsiteY3177" fmla="*/ 3882042 h 4687251"/>
              <a:gd name="connsiteX3178" fmla="*/ 6645559 w 8079933"/>
              <a:gd name="connsiteY3178" fmla="*/ 3876303 h 4687251"/>
              <a:gd name="connsiteX3179" fmla="*/ 6640458 w 8079933"/>
              <a:gd name="connsiteY3179" fmla="*/ 3864610 h 4687251"/>
              <a:gd name="connsiteX3180" fmla="*/ 6640675 w 8079933"/>
              <a:gd name="connsiteY3180" fmla="*/ 3856274 h 4687251"/>
              <a:gd name="connsiteX3181" fmla="*/ 6638071 w 8079933"/>
              <a:gd name="connsiteY3181" fmla="*/ 3848911 h 4687251"/>
              <a:gd name="connsiteX3182" fmla="*/ 6639156 w 8079933"/>
              <a:gd name="connsiteY3182" fmla="*/ 3845230 h 4687251"/>
              <a:gd name="connsiteX3183" fmla="*/ 6638505 w 8079933"/>
              <a:gd name="connsiteY3183" fmla="*/ 3818595 h 4687251"/>
              <a:gd name="connsiteX3184" fmla="*/ 6641001 w 8079933"/>
              <a:gd name="connsiteY3184" fmla="*/ 3812207 h 4687251"/>
              <a:gd name="connsiteX3185" fmla="*/ 6633731 w 8079933"/>
              <a:gd name="connsiteY3185" fmla="*/ 3794343 h 4687251"/>
              <a:gd name="connsiteX3186" fmla="*/ 6631235 w 8079933"/>
              <a:gd name="connsiteY3186" fmla="*/ 3780809 h 4687251"/>
              <a:gd name="connsiteX3187" fmla="*/ 6627762 w 8079933"/>
              <a:gd name="connsiteY3187" fmla="*/ 3776369 h 4687251"/>
              <a:gd name="connsiteX3188" fmla="*/ 6628739 w 8079933"/>
              <a:gd name="connsiteY3188" fmla="*/ 3752117 h 4687251"/>
              <a:gd name="connsiteX3189" fmla="*/ 6623855 w 8079933"/>
              <a:gd name="connsiteY3189" fmla="*/ 3738583 h 4687251"/>
              <a:gd name="connsiteX3190" fmla="*/ 6615499 w 8079933"/>
              <a:gd name="connsiteY3190" fmla="*/ 3728298 h 4687251"/>
              <a:gd name="connsiteX3191" fmla="*/ 6611376 w 8079933"/>
              <a:gd name="connsiteY3191" fmla="*/ 3720394 h 4687251"/>
              <a:gd name="connsiteX3192" fmla="*/ 6614089 w 8079933"/>
              <a:gd name="connsiteY3192" fmla="*/ 3718986 h 4687251"/>
              <a:gd name="connsiteX3193" fmla="*/ 6616259 w 8079933"/>
              <a:gd name="connsiteY3193" fmla="*/ 3715305 h 4687251"/>
              <a:gd name="connsiteX3194" fmla="*/ 6617453 w 8079933"/>
              <a:gd name="connsiteY3194" fmla="*/ 3723859 h 4687251"/>
              <a:gd name="connsiteX3195" fmla="*/ 6622878 w 8079933"/>
              <a:gd name="connsiteY3195" fmla="*/ 3731004 h 4687251"/>
              <a:gd name="connsiteX3196" fmla="*/ 6629607 w 8079933"/>
              <a:gd name="connsiteY3196" fmla="*/ 3729921 h 4687251"/>
              <a:gd name="connsiteX3197" fmla="*/ 6625049 w 8079933"/>
              <a:gd name="connsiteY3197" fmla="*/ 3720935 h 4687251"/>
              <a:gd name="connsiteX3198" fmla="*/ 6618538 w 8079933"/>
              <a:gd name="connsiteY3198" fmla="*/ 3714439 h 4687251"/>
              <a:gd name="connsiteX3199" fmla="*/ 6617453 w 8079933"/>
              <a:gd name="connsiteY3199" fmla="*/ 3703937 h 4687251"/>
              <a:gd name="connsiteX3200" fmla="*/ 6620600 w 8079933"/>
              <a:gd name="connsiteY3200" fmla="*/ 3698740 h 4687251"/>
              <a:gd name="connsiteX3201" fmla="*/ 6625483 w 8079933"/>
              <a:gd name="connsiteY3201" fmla="*/ 3709242 h 4687251"/>
              <a:gd name="connsiteX3202" fmla="*/ 6625049 w 8079933"/>
              <a:gd name="connsiteY3202" fmla="*/ 3716821 h 4687251"/>
              <a:gd name="connsiteX3203" fmla="*/ 6626569 w 8079933"/>
              <a:gd name="connsiteY3203" fmla="*/ 3718445 h 4687251"/>
              <a:gd name="connsiteX3204" fmla="*/ 6629607 w 8079933"/>
              <a:gd name="connsiteY3204" fmla="*/ 3713897 h 4687251"/>
              <a:gd name="connsiteX3205" fmla="*/ 6629933 w 8079933"/>
              <a:gd name="connsiteY3205" fmla="*/ 3722235 h 4687251"/>
              <a:gd name="connsiteX3206" fmla="*/ 6632102 w 8079933"/>
              <a:gd name="connsiteY3206" fmla="*/ 3726024 h 4687251"/>
              <a:gd name="connsiteX3207" fmla="*/ 6637203 w 8079933"/>
              <a:gd name="connsiteY3207" fmla="*/ 3723967 h 4687251"/>
              <a:gd name="connsiteX3208" fmla="*/ 6635358 w 8079933"/>
              <a:gd name="connsiteY3208" fmla="*/ 3717687 h 4687251"/>
              <a:gd name="connsiteX3209" fmla="*/ 6638505 w 8079933"/>
              <a:gd name="connsiteY3209" fmla="*/ 3710649 h 4687251"/>
              <a:gd name="connsiteX3210" fmla="*/ 6635032 w 8079933"/>
              <a:gd name="connsiteY3210" fmla="*/ 3706643 h 4687251"/>
              <a:gd name="connsiteX3211" fmla="*/ 6634708 w 8079933"/>
              <a:gd name="connsiteY3211" fmla="*/ 3701230 h 4687251"/>
              <a:gd name="connsiteX3212" fmla="*/ 6626351 w 8079933"/>
              <a:gd name="connsiteY3212" fmla="*/ 3687154 h 4687251"/>
              <a:gd name="connsiteX3213" fmla="*/ 6627653 w 8079933"/>
              <a:gd name="connsiteY3213" fmla="*/ 3675786 h 4687251"/>
              <a:gd name="connsiteX3214" fmla="*/ 6625049 w 8079933"/>
              <a:gd name="connsiteY3214" fmla="*/ 3667666 h 4687251"/>
              <a:gd name="connsiteX3215" fmla="*/ 6628739 w 8079933"/>
              <a:gd name="connsiteY3215" fmla="*/ 3651967 h 4687251"/>
              <a:gd name="connsiteX3216" fmla="*/ 6637962 w 8079933"/>
              <a:gd name="connsiteY3216" fmla="*/ 3640490 h 4687251"/>
              <a:gd name="connsiteX3217" fmla="*/ 6637528 w 8079933"/>
              <a:gd name="connsiteY3217" fmla="*/ 3629446 h 4687251"/>
              <a:gd name="connsiteX3218" fmla="*/ 6640133 w 8079933"/>
              <a:gd name="connsiteY3218" fmla="*/ 3623492 h 4687251"/>
              <a:gd name="connsiteX3219" fmla="*/ 6636444 w 8079933"/>
              <a:gd name="connsiteY3219" fmla="*/ 3616238 h 4687251"/>
              <a:gd name="connsiteX3220" fmla="*/ 6641869 w 8079933"/>
              <a:gd name="connsiteY3220" fmla="*/ 3605951 h 4687251"/>
              <a:gd name="connsiteX3221" fmla="*/ 6643714 w 8079933"/>
              <a:gd name="connsiteY3221" fmla="*/ 3598914 h 4687251"/>
              <a:gd name="connsiteX3222" fmla="*/ 6651310 w 8079933"/>
              <a:gd name="connsiteY3222" fmla="*/ 3593176 h 4687251"/>
              <a:gd name="connsiteX3223" fmla="*/ 6651528 w 8079933"/>
              <a:gd name="connsiteY3223" fmla="*/ 3597506 h 4687251"/>
              <a:gd name="connsiteX3224" fmla="*/ 6648923 w 8079933"/>
              <a:gd name="connsiteY3224" fmla="*/ 3603461 h 4687251"/>
              <a:gd name="connsiteX3225" fmla="*/ 6649683 w 8079933"/>
              <a:gd name="connsiteY3225" fmla="*/ 3607251 h 4687251"/>
              <a:gd name="connsiteX3226" fmla="*/ 6647838 w 8079933"/>
              <a:gd name="connsiteY3226" fmla="*/ 3609958 h 4687251"/>
              <a:gd name="connsiteX3227" fmla="*/ 6651636 w 8079933"/>
              <a:gd name="connsiteY3227" fmla="*/ 3612448 h 4687251"/>
              <a:gd name="connsiteX3228" fmla="*/ 6657062 w 8079933"/>
              <a:gd name="connsiteY3228" fmla="*/ 3607792 h 4687251"/>
              <a:gd name="connsiteX3229" fmla="*/ 6657278 w 8079933"/>
              <a:gd name="connsiteY3229" fmla="*/ 3600214 h 4687251"/>
              <a:gd name="connsiteX3230" fmla="*/ 6663247 w 8079933"/>
              <a:gd name="connsiteY3230" fmla="*/ 3591877 h 4687251"/>
              <a:gd name="connsiteX3231" fmla="*/ 6676812 w 8079933"/>
              <a:gd name="connsiteY3231" fmla="*/ 3587762 h 4687251"/>
              <a:gd name="connsiteX3232" fmla="*/ 6687121 w 8079933"/>
              <a:gd name="connsiteY3232" fmla="*/ 3582890 h 4687251"/>
              <a:gd name="connsiteX3233" fmla="*/ 6695043 w 8079933"/>
              <a:gd name="connsiteY3233" fmla="*/ 3575853 h 4687251"/>
              <a:gd name="connsiteX3234" fmla="*/ 6697756 w 8079933"/>
              <a:gd name="connsiteY3234" fmla="*/ 3575853 h 4687251"/>
              <a:gd name="connsiteX3235" fmla="*/ 6698623 w 8079933"/>
              <a:gd name="connsiteY3235" fmla="*/ 3573687 h 4687251"/>
              <a:gd name="connsiteX3236" fmla="*/ 6708824 w 8079933"/>
              <a:gd name="connsiteY3236" fmla="*/ 3571847 h 4687251"/>
              <a:gd name="connsiteX3237" fmla="*/ 6712622 w 8079933"/>
              <a:gd name="connsiteY3237" fmla="*/ 3566108 h 4687251"/>
              <a:gd name="connsiteX3238" fmla="*/ 6716637 w 8079933"/>
              <a:gd name="connsiteY3238" fmla="*/ 3564159 h 4687251"/>
              <a:gd name="connsiteX3239" fmla="*/ 6718048 w 8079933"/>
              <a:gd name="connsiteY3239" fmla="*/ 3566866 h 4687251"/>
              <a:gd name="connsiteX3240" fmla="*/ 6721846 w 8079933"/>
              <a:gd name="connsiteY3240" fmla="*/ 3566433 h 4687251"/>
              <a:gd name="connsiteX3241" fmla="*/ 6725861 w 8079933"/>
              <a:gd name="connsiteY3241" fmla="*/ 3568057 h 4687251"/>
              <a:gd name="connsiteX3242" fmla="*/ 6733240 w 8079933"/>
              <a:gd name="connsiteY3242" fmla="*/ 3568057 h 4687251"/>
              <a:gd name="connsiteX3243" fmla="*/ 6743007 w 8079933"/>
              <a:gd name="connsiteY3243" fmla="*/ 3564159 h 4687251"/>
              <a:gd name="connsiteX3244" fmla="*/ 6744309 w 8079933"/>
              <a:gd name="connsiteY3244" fmla="*/ 3559937 h 4687251"/>
              <a:gd name="connsiteX3245" fmla="*/ 6748216 w 8079933"/>
              <a:gd name="connsiteY3245" fmla="*/ 3557663 h 4687251"/>
              <a:gd name="connsiteX3246" fmla="*/ 6763733 w 8079933"/>
              <a:gd name="connsiteY3246" fmla="*/ 3558204 h 4687251"/>
              <a:gd name="connsiteX3247" fmla="*/ 6768725 w 8079933"/>
              <a:gd name="connsiteY3247" fmla="*/ 3555823 h 4687251"/>
              <a:gd name="connsiteX3248" fmla="*/ 6769593 w 8079933"/>
              <a:gd name="connsiteY3248" fmla="*/ 3551492 h 4687251"/>
              <a:gd name="connsiteX3249" fmla="*/ 6776972 w 8079933"/>
              <a:gd name="connsiteY3249" fmla="*/ 3548568 h 4687251"/>
              <a:gd name="connsiteX3250" fmla="*/ 6782832 w 8079933"/>
              <a:gd name="connsiteY3250" fmla="*/ 3550084 h 4687251"/>
              <a:gd name="connsiteX3251" fmla="*/ 6788584 w 8079933"/>
              <a:gd name="connsiteY3251" fmla="*/ 3548568 h 4687251"/>
              <a:gd name="connsiteX3252" fmla="*/ 6795854 w 8079933"/>
              <a:gd name="connsiteY3252" fmla="*/ 3548027 h 4687251"/>
              <a:gd name="connsiteX3253" fmla="*/ 6800738 w 8079933"/>
              <a:gd name="connsiteY3253" fmla="*/ 3546295 h 4687251"/>
              <a:gd name="connsiteX3254" fmla="*/ 6813217 w 8079933"/>
              <a:gd name="connsiteY3254" fmla="*/ 3545212 h 4687251"/>
              <a:gd name="connsiteX3255" fmla="*/ 6827432 w 8079933"/>
              <a:gd name="connsiteY3255" fmla="*/ 3536658 h 4687251"/>
              <a:gd name="connsiteX3256" fmla="*/ 6834920 w 8079933"/>
              <a:gd name="connsiteY3256" fmla="*/ 3526373 h 4687251"/>
              <a:gd name="connsiteX3257" fmla="*/ 6837959 w 8079933"/>
              <a:gd name="connsiteY3257" fmla="*/ 3523558 h 4687251"/>
              <a:gd name="connsiteX3258" fmla="*/ 6837741 w 8079933"/>
              <a:gd name="connsiteY3258" fmla="*/ 3517386 h 4687251"/>
              <a:gd name="connsiteX3259" fmla="*/ 6843385 w 8079933"/>
              <a:gd name="connsiteY3259" fmla="*/ 3513813 h 4687251"/>
              <a:gd name="connsiteX3260" fmla="*/ 6842842 w 8079933"/>
              <a:gd name="connsiteY3260" fmla="*/ 3511107 h 4687251"/>
              <a:gd name="connsiteX3261" fmla="*/ 6849353 w 8079933"/>
              <a:gd name="connsiteY3261" fmla="*/ 3509266 h 4687251"/>
              <a:gd name="connsiteX3262" fmla="*/ 6851848 w 8079933"/>
              <a:gd name="connsiteY3262" fmla="*/ 3504611 h 4687251"/>
              <a:gd name="connsiteX3263" fmla="*/ 6856190 w 8079933"/>
              <a:gd name="connsiteY3263" fmla="*/ 3502229 h 4687251"/>
              <a:gd name="connsiteX3264" fmla="*/ 6856190 w 8079933"/>
              <a:gd name="connsiteY3264" fmla="*/ 3497897 h 4687251"/>
              <a:gd name="connsiteX3265" fmla="*/ 6853910 w 8079933"/>
              <a:gd name="connsiteY3265" fmla="*/ 3496707 h 4687251"/>
              <a:gd name="connsiteX3266" fmla="*/ 6853910 w 8079933"/>
              <a:gd name="connsiteY3266" fmla="*/ 3484256 h 4687251"/>
              <a:gd name="connsiteX3267" fmla="*/ 6852934 w 8079933"/>
              <a:gd name="connsiteY3267" fmla="*/ 3478084 h 4687251"/>
              <a:gd name="connsiteX3268" fmla="*/ 6856949 w 8079933"/>
              <a:gd name="connsiteY3268" fmla="*/ 3474620 h 4687251"/>
              <a:gd name="connsiteX3269" fmla="*/ 6859662 w 8079933"/>
              <a:gd name="connsiteY3269" fmla="*/ 3471046 h 4687251"/>
              <a:gd name="connsiteX3270" fmla="*/ 6864328 w 8079933"/>
              <a:gd name="connsiteY3270" fmla="*/ 3471371 h 4687251"/>
              <a:gd name="connsiteX3271" fmla="*/ 6864871 w 8079933"/>
              <a:gd name="connsiteY3271" fmla="*/ 3468665 h 4687251"/>
              <a:gd name="connsiteX3272" fmla="*/ 6868669 w 8079933"/>
              <a:gd name="connsiteY3272" fmla="*/ 3467799 h 4687251"/>
              <a:gd name="connsiteX3273" fmla="*/ 6869971 w 8079933"/>
              <a:gd name="connsiteY3273" fmla="*/ 3461411 h 4687251"/>
              <a:gd name="connsiteX3274" fmla="*/ 6875071 w 8079933"/>
              <a:gd name="connsiteY3274" fmla="*/ 3457729 h 4687251"/>
              <a:gd name="connsiteX3275" fmla="*/ 6876808 w 8079933"/>
              <a:gd name="connsiteY3275" fmla="*/ 3455022 h 4687251"/>
              <a:gd name="connsiteX3276" fmla="*/ 6875614 w 8079933"/>
              <a:gd name="connsiteY3276" fmla="*/ 3460761 h 4687251"/>
              <a:gd name="connsiteX3277" fmla="*/ 6878326 w 8079933"/>
              <a:gd name="connsiteY3277" fmla="*/ 3464550 h 4687251"/>
              <a:gd name="connsiteX3278" fmla="*/ 6883319 w 8079933"/>
              <a:gd name="connsiteY3278" fmla="*/ 3474403 h 4687251"/>
              <a:gd name="connsiteX3279" fmla="*/ 6890915 w 8079933"/>
              <a:gd name="connsiteY3279" fmla="*/ 3490644 h 4687251"/>
              <a:gd name="connsiteX3280" fmla="*/ 6891674 w 8079933"/>
              <a:gd name="connsiteY3280" fmla="*/ 3484689 h 4687251"/>
              <a:gd name="connsiteX3281" fmla="*/ 6893628 w 8079933"/>
              <a:gd name="connsiteY3281" fmla="*/ 3479383 h 4687251"/>
              <a:gd name="connsiteX3282" fmla="*/ 6892760 w 8079933"/>
              <a:gd name="connsiteY3282" fmla="*/ 3474295 h 4687251"/>
              <a:gd name="connsiteX3283" fmla="*/ 6895255 w 8079933"/>
              <a:gd name="connsiteY3283" fmla="*/ 3474295 h 4687251"/>
              <a:gd name="connsiteX3284" fmla="*/ 6897209 w 8079933"/>
              <a:gd name="connsiteY3284" fmla="*/ 3476136 h 4687251"/>
              <a:gd name="connsiteX3285" fmla="*/ 6897426 w 8079933"/>
              <a:gd name="connsiteY3285" fmla="*/ 3471696 h 4687251"/>
              <a:gd name="connsiteX3286" fmla="*/ 6899596 w 8079933"/>
              <a:gd name="connsiteY3286" fmla="*/ 3467799 h 4687251"/>
              <a:gd name="connsiteX3287" fmla="*/ 6894713 w 8079933"/>
              <a:gd name="connsiteY3287" fmla="*/ 3468015 h 4687251"/>
              <a:gd name="connsiteX3288" fmla="*/ 6889830 w 8079933"/>
              <a:gd name="connsiteY3288" fmla="*/ 3463576 h 4687251"/>
              <a:gd name="connsiteX3289" fmla="*/ 6892434 w 8079933"/>
              <a:gd name="connsiteY3289" fmla="*/ 3458920 h 4687251"/>
              <a:gd name="connsiteX3290" fmla="*/ 6894604 w 8079933"/>
              <a:gd name="connsiteY3290" fmla="*/ 3457838 h 4687251"/>
              <a:gd name="connsiteX3291" fmla="*/ 6888636 w 8079933"/>
              <a:gd name="connsiteY3291" fmla="*/ 3453724 h 4687251"/>
              <a:gd name="connsiteX3292" fmla="*/ 6891891 w 8079933"/>
              <a:gd name="connsiteY3292" fmla="*/ 3451016 h 4687251"/>
              <a:gd name="connsiteX3293" fmla="*/ 6896340 w 8079933"/>
              <a:gd name="connsiteY3293" fmla="*/ 3453832 h 4687251"/>
              <a:gd name="connsiteX3294" fmla="*/ 6897968 w 8079933"/>
              <a:gd name="connsiteY3294" fmla="*/ 3457297 h 4687251"/>
              <a:gd name="connsiteX3295" fmla="*/ 6901658 w 8079933"/>
              <a:gd name="connsiteY3295" fmla="*/ 3454265 h 4687251"/>
              <a:gd name="connsiteX3296" fmla="*/ 6905456 w 8079933"/>
              <a:gd name="connsiteY3296" fmla="*/ 3456755 h 4687251"/>
              <a:gd name="connsiteX3297" fmla="*/ 6907952 w 8079933"/>
              <a:gd name="connsiteY3297" fmla="*/ 3460220 h 4687251"/>
              <a:gd name="connsiteX3298" fmla="*/ 6912510 w 8079933"/>
              <a:gd name="connsiteY3298" fmla="*/ 3461302 h 4687251"/>
              <a:gd name="connsiteX3299" fmla="*/ 6913595 w 8079933"/>
              <a:gd name="connsiteY3299" fmla="*/ 3459137 h 4687251"/>
              <a:gd name="connsiteX3300" fmla="*/ 6918804 w 8079933"/>
              <a:gd name="connsiteY3300" fmla="*/ 3456430 h 4687251"/>
              <a:gd name="connsiteX3301" fmla="*/ 6910448 w 8079933"/>
              <a:gd name="connsiteY3301" fmla="*/ 3455022 h 4687251"/>
              <a:gd name="connsiteX3302" fmla="*/ 6912943 w 8079933"/>
              <a:gd name="connsiteY3302" fmla="*/ 3451666 h 4687251"/>
              <a:gd name="connsiteX3303" fmla="*/ 6916958 w 8079933"/>
              <a:gd name="connsiteY3303" fmla="*/ 3449717 h 4687251"/>
              <a:gd name="connsiteX3304" fmla="*/ 6914680 w 8079933"/>
              <a:gd name="connsiteY3304" fmla="*/ 3446361 h 4687251"/>
              <a:gd name="connsiteX3305" fmla="*/ 6918044 w 8079933"/>
              <a:gd name="connsiteY3305" fmla="*/ 3441597 h 4687251"/>
              <a:gd name="connsiteX3306" fmla="*/ 6915222 w 8079933"/>
              <a:gd name="connsiteY3306" fmla="*/ 3442571 h 4687251"/>
              <a:gd name="connsiteX3307" fmla="*/ 6914789 w 8079933"/>
              <a:gd name="connsiteY3307" fmla="*/ 3439540 h 4687251"/>
              <a:gd name="connsiteX3308" fmla="*/ 6913920 w 8079933"/>
              <a:gd name="connsiteY3308" fmla="*/ 3436292 h 4687251"/>
              <a:gd name="connsiteX3309" fmla="*/ 6912943 w 8079933"/>
              <a:gd name="connsiteY3309" fmla="*/ 3432827 h 4687251"/>
              <a:gd name="connsiteX3310" fmla="*/ 6917718 w 8079933"/>
              <a:gd name="connsiteY3310" fmla="*/ 3432069 h 4687251"/>
              <a:gd name="connsiteX3311" fmla="*/ 6921733 w 8079933"/>
              <a:gd name="connsiteY3311" fmla="*/ 3427522 h 4687251"/>
              <a:gd name="connsiteX3312" fmla="*/ 6926400 w 8079933"/>
              <a:gd name="connsiteY3312" fmla="*/ 3433151 h 4687251"/>
              <a:gd name="connsiteX3313" fmla="*/ 6929656 w 8079933"/>
              <a:gd name="connsiteY3313" fmla="*/ 3432394 h 4687251"/>
              <a:gd name="connsiteX3314" fmla="*/ 6931934 w 8079933"/>
              <a:gd name="connsiteY3314" fmla="*/ 3428605 h 4687251"/>
              <a:gd name="connsiteX3315" fmla="*/ 6925314 w 8079933"/>
              <a:gd name="connsiteY3315" fmla="*/ 3427738 h 4687251"/>
              <a:gd name="connsiteX3316" fmla="*/ 6924230 w 8079933"/>
              <a:gd name="connsiteY3316" fmla="*/ 3424274 h 4687251"/>
              <a:gd name="connsiteX3317" fmla="*/ 6929872 w 8079933"/>
              <a:gd name="connsiteY3317" fmla="*/ 3420485 h 4687251"/>
              <a:gd name="connsiteX3318" fmla="*/ 6934539 w 8079933"/>
              <a:gd name="connsiteY3318" fmla="*/ 3422974 h 4687251"/>
              <a:gd name="connsiteX3319" fmla="*/ 6940616 w 8079933"/>
              <a:gd name="connsiteY3319" fmla="*/ 3417886 h 4687251"/>
              <a:gd name="connsiteX3320" fmla="*/ 6933345 w 8079933"/>
              <a:gd name="connsiteY3320" fmla="*/ 3415829 h 4687251"/>
              <a:gd name="connsiteX3321" fmla="*/ 6934213 w 8079933"/>
              <a:gd name="connsiteY3321" fmla="*/ 3410523 h 4687251"/>
              <a:gd name="connsiteX3322" fmla="*/ 6936383 w 8079933"/>
              <a:gd name="connsiteY3322" fmla="*/ 3407708 h 4687251"/>
              <a:gd name="connsiteX3323" fmla="*/ 6941375 w 8079933"/>
              <a:gd name="connsiteY3323" fmla="*/ 3406409 h 4687251"/>
              <a:gd name="connsiteX3324" fmla="*/ 6943220 w 8079933"/>
              <a:gd name="connsiteY3324" fmla="*/ 3401320 h 4687251"/>
              <a:gd name="connsiteX3325" fmla="*/ 6946800 w 8079933"/>
              <a:gd name="connsiteY3325" fmla="*/ 3401212 h 4687251"/>
              <a:gd name="connsiteX3326" fmla="*/ 6943437 w 8079933"/>
              <a:gd name="connsiteY3326" fmla="*/ 3405110 h 4687251"/>
              <a:gd name="connsiteX3327" fmla="*/ 6944305 w 8079933"/>
              <a:gd name="connsiteY3327" fmla="*/ 3407708 h 4687251"/>
              <a:gd name="connsiteX3328" fmla="*/ 6947018 w 8079933"/>
              <a:gd name="connsiteY3328" fmla="*/ 3407816 h 4687251"/>
              <a:gd name="connsiteX3329" fmla="*/ 6949189 w 8079933"/>
              <a:gd name="connsiteY3329" fmla="*/ 3411281 h 4687251"/>
              <a:gd name="connsiteX3330" fmla="*/ 6954072 w 8079933"/>
              <a:gd name="connsiteY3330" fmla="*/ 3408358 h 4687251"/>
              <a:gd name="connsiteX3331" fmla="*/ 6952443 w 8079933"/>
              <a:gd name="connsiteY3331" fmla="*/ 3405543 h 4687251"/>
              <a:gd name="connsiteX3332" fmla="*/ 6954072 w 8079933"/>
              <a:gd name="connsiteY3332" fmla="*/ 3400671 h 4687251"/>
              <a:gd name="connsiteX3333" fmla="*/ 6958738 w 8079933"/>
              <a:gd name="connsiteY3333" fmla="*/ 3397206 h 4687251"/>
              <a:gd name="connsiteX3334" fmla="*/ 6955374 w 8079933"/>
              <a:gd name="connsiteY3334" fmla="*/ 3395257 h 4687251"/>
              <a:gd name="connsiteX3335" fmla="*/ 6956025 w 8079933"/>
              <a:gd name="connsiteY3335" fmla="*/ 3391251 h 4687251"/>
              <a:gd name="connsiteX3336" fmla="*/ 6958738 w 8079933"/>
              <a:gd name="connsiteY3336" fmla="*/ 3392009 h 4687251"/>
              <a:gd name="connsiteX3337" fmla="*/ 6961993 w 8079933"/>
              <a:gd name="connsiteY3337" fmla="*/ 3398830 h 4687251"/>
              <a:gd name="connsiteX3338" fmla="*/ 6963078 w 8079933"/>
              <a:gd name="connsiteY3338" fmla="*/ 3395907 h 4687251"/>
              <a:gd name="connsiteX3339" fmla="*/ 6967419 w 8079933"/>
              <a:gd name="connsiteY3339" fmla="*/ 3394716 h 4687251"/>
              <a:gd name="connsiteX3340" fmla="*/ 6966334 w 8079933"/>
              <a:gd name="connsiteY3340" fmla="*/ 3397423 h 4687251"/>
              <a:gd name="connsiteX3341" fmla="*/ 6969589 w 8079933"/>
              <a:gd name="connsiteY3341" fmla="*/ 3397964 h 4687251"/>
              <a:gd name="connsiteX3342" fmla="*/ 6972845 w 8079933"/>
              <a:gd name="connsiteY3342" fmla="*/ 3393092 h 4687251"/>
              <a:gd name="connsiteX3343" fmla="*/ 6975558 w 8079933"/>
              <a:gd name="connsiteY3343" fmla="*/ 3392117 h 4687251"/>
              <a:gd name="connsiteX3344" fmla="*/ 6973278 w 8079933"/>
              <a:gd name="connsiteY3344" fmla="*/ 3389843 h 4687251"/>
              <a:gd name="connsiteX3345" fmla="*/ 6976100 w 8079933"/>
              <a:gd name="connsiteY3345" fmla="*/ 3388003 h 4687251"/>
              <a:gd name="connsiteX3346" fmla="*/ 6980658 w 8079933"/>
              <a:gd name="connsiteY3346" fmla="*/ 3390926 h 4687251"/>
              <a:gd name="connsiteX3347" fmla="*/ 6987386 w 8079933"/>
              <a:gd name="connsiteY3347" fmla="*/ 3392551 h 4687251"/>
              <a:gd name="connsiteX3348" fmla="*/ 6990967 w 8079933"/>
              <a:gd name="connsiteY3348" fmla="*/ 3397964 h 4687251"/>
              <a:gd name="connsiteX3349" fmla="*/ 6997804 w 8079933"/>
              <a:gd name="connsiteY3349" fmla="*/ 3410415 h 4687251"/>
              <a:gd name="connsiteX3350" fmla="*/ 7001819 w 8079933"/>
              <a:gd name="connsiteY3350" fmla="*/ 3410957 h 4687251"/>
              <a:gd name="connsiteX3351" fmla="*/ 7004206 w 8079933"/>
              <a:gd name="connsiteY3351" fmla="*/ 3413988 h 4687251"/>
              <a:gd name="connsiteX3352" fmla="*/ 7000408 w 8079933"/>
              <a:gd name="connsiteY3352" fmla="*/ 3418643 h 4687251"/>
              <a:gd name="connsiteX3353" fmla="*/ 7000734 w 8079933"/>
              <a:gd name="connsiteY3353" fmla="*/ 3426114 h 4687251"/>
              <a:gd name="connsiteX3354" fmla="*/ 6997044 w 8079933"/>
              <a:gd name="connsiteY3354" fmla="*/ 3430987 h 4687251"/>
              <a:gd name="connsiteX3355" fmla="*/ 6991618 w 8079933"/>
              <a:gd name="connsiteY3355" fmla="*/ 3433477 h 4687251"/>
              <a:gd name="connsiteX3356" fmla="*/ 6998563 w 8079933"/>
              <a:gd name="connsiteY3356" fmla="*/ 3432177 h 4687251"/>
              <a:gd name="connsiteX3357" fmla="*/ 7003229 w 8079933"/>
              <a:gd name="connsiteY3357" fmla="*/ 3429471 h 4687251"/>
              <a:gd name="connsiteX3358" fmla="*/ 7003229 w 8079933"/>
              <a:gd name="connsiteY3358" fmla="*/ 3427197 h 4687251"/>
              <a:gd name="connsiteX3359" fmla="*/ 7005617 w 8079933"/>
              <a:gd name="connsiteY3359" fmla="*/ 3426655 h 4687251"/>
              <a:gd name="connsiteX3360" fmla="*/ 7006268 w 8079933"/>
              <a:gd name="connsiteY3360" fmla="*/ 3428605 h 4687251"/>
              <a:gd name="connsiteX3361" fmla="*/ 7007244 w 8079933"/>
              <a:gd name="connsiteY3361" fmla="*/ 3425898 h 4687251"/>
              <a:gd name="connsiteX3362" fmla="*/ 7003772 w 8079933"/>
              <a:gd name="connsiteY3362" fmla="*/ 3421351 h 4687251"/>
              <a:gd name="connsiteX3363" fmla="*/ 7005942 w 8079933"/>
              <a:gd name="connsiteY3363" fmla="*/ 3418535 h 4687251"/>
              <a:gd name="connsiteX3364" fmla="*/ 7007895 w 8079933"/>
              <a:gd name="connsiteY3364" fmla="*/ 3418535 h 4687251"/>
              <a:gd name="connsiteX3365" fmla="*/ 7010501 w 8079933"/>
              <a:gd name="connsiteY3365" fmla="*/ 3420700 h 4687251"/>
              <a:gd name="connsiteX3366" fmla="*/ 7012996 w 8079933"/>
              <a:gd name="connsiteY3366" fmla="*/ 3418102 h 4687251"/>
              <a:gd name="connsiteX3367" fmla="*/ 7010608 w 8079933"/>
              <a:gd name="connsiteY3367" fmla="*/ 3415396 h 4687251"/>
              <a:gd name="connsiteX3368" fmla="*/ 7018096 w 8079933"/>
              <a:gd name="connsiteY3368" fmla="*/ 3413988 h 4687251"/>
              <a:gd name="connsiteX3369" fmla="*/ 7028188 w 8079933"/>
              <a:gd name="connsiteY3369" fmla="*/ 3420485 h 4687251"/>
              <a:gd name="connsiteX3370" fmla="*/ 7028731 w 8079933"/>
              <a:gd name="connsiteY3370" fmla="*/ 3424274 h 4687251"/>
              <a:gd name="connsiteX3371" fmla="*/ 7030575 w 8079933"/>
              <a:gd name="connsiteY3371" fmla="*/ 3421026 h 4687251"/>
              <a:gd name="connsiteX3372" fmla="*/ 7030684 w 8079933"/>
              <a:gd name="connsiteY3372" fmla="*/ 3418102 h 4687251"/>
              <a:gd name="connsiteX3373" fmla="*/ 7035242 w 8079933"/>
              <a:gd name="connsiteY3373" fmla="*/ 3418643 h 4687251"/>
              <a:gd name="connsiteX3374" fmla="*/ 7039040 w 8079933"/>
              <a:gd name="connsiteY3374" fmla="*/ 3425681 h 4687251"/>
              <a:gd name="connsiteX3375" fmla="*/ 7045225 w 8079933"/>
              <a:gd name="connsiteY3375" fmla="*/ 3430661 h 4687251"/>
              <a:gd name="connsiteX3376" fmla="*/ 7041102 w 8079933"/>
              <a:gd name="connsiteY3376" fmla="*/ 3425031 h 4687251"/>
              <a:gd name="connsiteX3377" fmla="*/ 7041210 w 8079933"/>
              <a:gd name="connsiteY3377" fmla="*/ 3419835 h 4687251"/>
              <a:gd name="connsiteX3378" fmla="*/ 7037195 w 8079933"/>
              <a:gd name="connsiteY3378" fmla="*/ 3416695 h 4687251"/>
              <a:gd name="connsiteX3379" fmla="*/ 7037086 w 8079933"/>
              <a:gd name="connsiteY3379" fmla="*/ 3413771 h 4687251"/>
              <a:gd name="connsiteX3380" fmla="*/ 7039040 w 8079933"/>
              <a:gd name="connsiteY3380" fmla="*/ 3416695 h 4687251"/>
              <a:gd name="connsiteX3381" fmla="*/ 7045225 w 8079933"/>
              <a:gd name="connsiteY3381" fmla="*/ 3417453 h 4687251"/>
              <a:gd name="connsiteX3382" fmla="*/ 7049024 w 8079933"/>
              <a:gd name="connsiteY3382" fmla="*/ 3415829 h 4687251"/>
              <a:gd name="connsiteX3383" fmla="*/ 7039257 w 8079933"/>
              <a:gd name="connsiteY3383" fmla="*/ 3412580 h 4687251"/>
              <a:gd name="connsiteX3384" fmla="*/ 7041102 w 8079933"/>
              <a:gd name="connsiteY3384" fmla="*/ 3409116 h 4687251"/>
              <a:gd name="connsiteX3385" fmla="*/ 7044141 w 8079933"/>
              <a:gd name="connsiteY3385" fmla="*/ 3408249 h 4687251"/>
              <a:gd name="connsiteX3386" fmla="*/ 7036002 w 8079933"/>
              <a:gd name="connsiteY3386" fmla="*/ 3406733 h 4687251"/>
              <a:gd name="connsiteX3387" fmla="*/ 7032746 w 8079933"/>
              <a:gd name="connsiteY3387" fmla="*/ 3403378 h 4687251"/>
              <a:gd name="connsiteX3388" fmla="*/ 7036544 w 8079933"/>
              <a:gd name="connsiteY3388" fmla="*/ 3400996 h 4687251"/>
              <a:gd name="connsiteX3389" fmla="*/ 7037955 w 8079933"/>
              <a:gd name="connsiteY3389" fmla="*/ 3394716 h 4687251"/>
              <a:gd name="connsiteX3390" fmla="*/ 7041102 w 8079933"/>
              <a:gd name="connsiteY3390" fmla="*/ 3393741 h 4687251"/>
              <a:gd name="connsiteX3391" fmla="*/ 7044791 w 8079933"/>
              <a:gd name="connsiteY3391" fmla="*/ 3386162 h 4687251"/>
              <a:gd name="connsiteX3392" fmla="*/ 7049024 w 8079933"/>
              <a:gd name="connsiteY3392" fmla="*/ 3379558 h 4687251"/>
              <a:gd name="connsiteX3393" fmla="*/ 7053147 w 8079933"/>
              <a:gd name="connsiteY3393" fmla="*/ 3379558 h 4687251"/>
              <a:gd name="connsiteX3394" fmla="*/ 7056620 w 8079933"/>
              <a:gd name="connsiteY3394" fmla="*/ 3376635 h 4687251"/>
              <a:gd name="connsiteX3395" fmla="*/ 7060852 w 8079933"/>
              <a:gd name="connsiteY3395" fmla="*/ 3379017 h 4687251"/>
              <a:gd name="connsiteX3396" fmla="*/ 7059875 w 8079933"/>
              <a:gd name="connsiteY3396" fmla="*/ 3376418 h 4687251"/>
              <a:gd name="connsiteX3397" fmla="*/ 7056294 w 8079933"/>
              <a:gd name="connsiteY3397" fmla="*/ 3372629 h 4687251"/>
              <a:gd name="connsiteX3398" fmla="*/ 7055860 w 8079933"/>
              <a:gd name="connsiteY3398" fmla="*/ 3369706 h 4687251"/>
              <a:gd name="connsiteX3399" fmla="*/ 7059875 w 8079933"/>
              <a:gd name="connsiteY3399" fmla="*/ 3367431 h 4687251"/>
              <a:gd name="connsiteX3400" fmla="*/ 7062371 w 8079933"/>
              <a:gd name="connsiteY3400" fmla="*/ 3366133 h 4687251"/>
              <a:gd name="connsiteX3401" fmla="*/ 7060092 w 8079933"/>
              <a:gd name="connsiteY3401" fmla="*/ 3363643 h 4687251"/>
              <a:gd name="connsiteX3402" fmla="*/ 7063131 w 8079933"/>
              <a:gd name="connsiteY3402" fmla="*/ 3360611 h 4687251"/>
              <a:gd name="connsiteX3403" fmla="*/ 7069099 w 8079933"/>
              <a:gd name="connsiteY3403" fmla="*/ 3362451 h 4687251"/>
              <a:gd name="connsiteX3404" fmla="*/ 7069425 w 8079933"/>
              <a:gd name="connsiteY3404" fmla="*/ 3360394 h 4687251"/>
              <a:gd name="connsiteX3405" fmla="*/ 7067254 w 8079933"/>
              <a:gd name="connsiteY3405" fmla="*/ 3357362 h 4687251"/>
              <a:gd name="connsiteX3406" fmla="*/ 7069425 w 8079933"/>
              <a:gd name="connsiteY3406" fmla="*/ 3354115 h 4687251"/>
              <a:gd name="connsiteX3407" fmla="*/ 7075068 w 8079933"/>
              <a:gd name="connsiteY3407" fmla="*/ 3355847 h 4687251"/>
              <a:gd name="connsiteX3408" fmla="*/ 7076695 w 8079933"/>
              <a:gd name="connsiteY3408" fmla="*/ 3358229 h 4687251"/>
              <a:gd name="connsiteX3409" fmla="*/ 7075285 w 8079933"/>
              <a:gd name="connsiteY3409" fmla="*/ 3351949 h 4687251"/>
              <a:gd name="connsiteX3410" fmla="*/ 7079734 w 8079933"/>
              <a:gd name="connsiteY3410" fmla="*/ 3352815 h 4687251"/>
              <a:gd name="connsiteX3411" fmla="*/ 7079191 w 8079933"/>
              <a:gd name="connsiteY3411" fmla="*/ 3348376 h 4687251"/>
              <a:gd name="connsiteX3412" fmla="*/ 7084617 w 8079933"/>
              <a:gd name="connsiteY3412" fmla="*/ 3346319 h 4687251"/>
              <a:gd name="connsiteX3413" fmla="*/ 7085377 w 8079933"/>
              <a:gd name="connsiteY3413" fmla="*/ 3344370 h 4687251"/>
              <a:gd name="connsiteX3414" fmla="*/ 7090585 w 8079933"/>
              <a:gd name="connsiteY3414" fmla="*/ 3348917 h 4687251"/>
              <a:gd name="connsiteX3415" fmla="*/ 7104367 w 8079933"/>
              <a:gd name="connsiteY3415" fmla="*/ 3348160 h 4687251"/>
              <a:gd name="connsiteX3416" fmla="*/ 7108166 w 8079933"/>
              <a:gd name="connsiteY3416" fmla="*/ 3345670 h 4687251"/>
              <a:gd name="connsiteX3417" fmla="*/ 7111746 w 8079933"/>
              <a:gd name="connsiteY3417" fmla="*/ 3346752 h 4687251"/>
              <a:gd name="connsiteX3418" fmla="*/ 7113374 w 8079933"/>
              <a:gd name="connsiteY3418" fmla="*/ 3349892 h 4687251"/>
              <a:gd name="connsiteX3419" fmla="*/ 7115218 w 8079933"/>
              <a:gd name="connsiteY3419" fmla="*/ 3344587 h 4687251"/>
              <a:gd name="connsiteX3420" fmla="*/ 7120102 w 8079933"/>
              <a:gd name="connsiteY3420" fmla="*/ 3344154 h 4687251"/>
              <a:gd name="connsiteX3421" fmla="*/ 7118691 w 8079933"/>
              <a:gd name="connsiteY3421" fmla="*/ 3336574 h 4687251"/>
              <a:gd name="connsiteX3422" fmla="*/ 7119125 w 8079933"/>
              <a:gd name="connsiteY3422" fmla="*/ 3333326 h 4687251"/>
              <a:gd name="connsiteX3423" fmla="*/ 7112288 w 8079933"/>
              <a:gd name="connsiteY3423" fmla="*/ 3327588 h 4687251"/>
              <a:gd name="connsiteX3424" fmla="*/ 7108273 w 8079933"/>
              <a:gd name="connsiteY3424" fmla="*/ 3329320 h 4687251"/>
              <a:gd name="connsiteX3425" fmla="*/ 7103824 w 8079933"/>
              <a:gd name="connsiteY3425" fmla="*/ 3328238 h 4687251"/>
              <a:gd name="connsiteX3426" fmla="*/ 7105235 w 8079933"/>
              <a:gd name="connsiteY3426" fmla="*/ 3327047 h 4687251"/>
              <a:gd name="connsiteX3427" fmla="*/ 7100569 w 8079933"/>
              <a:gd name="connsiteY3427" fmla="*/ 3323366 h 4687251"/>
              <a:gd name="connsiteX3428" fmla="*/ 7104584 w 8079933"/>
              <a:gd name="connsiteY3428" fmla="*/ 3320334 h 4687251"/>
              <a:gd name="connsiteX3429" fmla="*/ 7107840 w 8079933"/>
              <a:gd name="connsiteY3429" fmla="*/ 3322716 h 4687251"/>
              <a:gd name="connsiteX3430" fmla="*/ 7108708 w 8079933"/>
              <a:gd name="connsiteY3430" fmla="*/ 3320875 h 4687251"/>
              <a:gd name="connsiteX3431" fmla="*/ 7115001 w 8079933"/>
              <a:gd name="connsiteY3431" fmla="*/ 3324556 h 4687251"/>
              <a:gd name="connsiteX3432" fmla="*/ 7119017 w 8079933"/>
              <a:gd name="connsiteY3432" fmla="*/ 3325964 h 4687251"/>
              <a:gd name="connsiteX3433" fmla="*/ 7120861 w 8079933"/>
              <a:gd name="connsiteY3433" fmla="*/ 3330295 h 4687251"/>
              <a:gd name="connsiteX3434" fmla="*/ 7128023 w 8079933"/>
              <a:gd name="connsiteY3434" fmla="*/ 3328129 h 4687251"/>
              <a:gd name="connsiteX3435" fmla="*/ 7127481 w 8079933"/>
              <a:gd name="connsiteY3435" fmla="*/ 3326072 h 4687251"/>
              <a:gd name="connsiteX3436" fmla="*/ 7129652 w 8079933"/>
              <a:gd name="connsiteY3436" fmla="*/ 3325531 h 4687251"/>
              <a:gd name="connsiteX3437" fmla="*/ 7133233 w 8079933"/>
              <a:gd name="connsiteY3437" fmla="*/ 3330078 h 4687251"/>
              <a:gd name="connsiteX3438" fmla="*/ 7132907 w 8079933"/>
              <a:gd name="connsiteY3438" fmla="*/ 3333543 h 4687251"/>
              <a:gd name="connsiteX3439" fmla="*/ 7138116 w 8079933"/>
              <a:gd name="connsiteY3439" fmla="*/ 3335925 h 4687251"/>
              <a:gd name="connsiteX3440" fmla="*/ 7143976 w 8079933"/>
              <a:gd name="connsiteY3440" fmla="*/ 3336791 h 4687251"/>
              <a:gd name="connsiteX3441" fmla="*/ 7149402 w 8079933"/>
              <a:gd name="connsiteY3441" fmla="*/ 3334193 h 4687251"/>
              <a:gd name="connsiteX3442" fmla="*/ 7152115 w 8079933"/>
              <a:gd name="connsiteY3442" fmla="*/ 3339282 h 4687251"/>
              <a:gd name="connsiteX3443" fmla="*/ 7154285 w 8079933"/>
              <a:gd name="connsiteY3443" fmla="*/ 3339823 h 4687251"/>
              <a:gd name="connsiteX3444" fmla="*/ 7156130 w 8079933"/>
              <a:gd name="connsiteY3444" fmla="*/ 3343287 h 4687251"/>
              <a:gd name="connsiteX3445" fmla="*/ 7158408 w 8079933"/>
              <a:gd name="connsiteY3445" fmla="*/ 3341772 h 4687251"/>
              <a:gd name="connsiteX3446" fmla="*/ 7162424 w 8079933"/>
              <a:gd name="connsiteY3446" fmla="*/ 3343503 h 4687251"/>
              <a:gd name="connsiteX3447" fmla="*/ 7167958 w 8079933"/>
              <a:gd name="connsiteY3447" fmla="*/ 3340364 h 4687251"/>
              <a:gd name="connsiteX3448" fmla="*/ 7170019 w 8079933"/>
              <a:gd name="connsiteY3448" fmla="*/ 3340905 h 4687251"/>
              <a:gd name="connsiteX3449" fmla="*/ 7173601 w 8079933"/>
              <a:gd name="connsiteY3449" fmla="*/ 3345994 h 4687251"/>
              <a:gd name="connsiteX3450" fmla="*/ 7173818 w 8079933"/>
              <a:gd name="connsiteY3450" fmla="*/ 3348160 h 4687251"/>
              <a:gd name="connsiteX3451" fmla="*/ 7178376 w 8079933"/>
              <a:gd name="connsiteY3451" fmla="*/ 3348484 h 4687251"/>
              <a:gd name="connsiteX3452" fmla="*/ 7179786 w 8079933"/>
              <a:gd name="connsiteY3452" fmla="*/ 3350433 h 4687251"/>
              <a:gd name="connsiteX3453" fmla="*/ 7182608 w 8079933"/>
              <a:gd name="connsiteY3453" fmla="*/ 3349892 h 4687251"/>
              <a:gd name="connsiteX3454" fmla="*/ 7183367 w 8079933"/>
              <a:gd name="connsiteY3454" fmla="*/ 3347943 h 4687251"/>
              <a:gd name="connsiteX3455" fmla="*/ 7188794 w 8079933"/>
              <a:gd name="connsiteY3455" fmla="*/ 3346211 h 4687251"/>
              <a:gd name="connsiteX3456" fmla="*/ 7191288 w 8079933"/>
              <a:gd name="connsiteY3456" fmla="*/ 3343287 h 4687251"/>
              <a:gd name="connsiteX3457" fmla="*/ 7194761 w 8079933"/>
              <a:gd name="connsiteY3457" fmla="*/ 3341772 h 4687251"/>
              <a:gd name="connsiteX3458" fmla="*/ 7193676 w 8079933"/>
              <a:gd name="connsiteY3458" fmla="*/ 3344154 h 4687251"/>
              <a:gd name="connsiteX3459" fmla="*/ 7190963 w 8079933"/>
              <a:gd name="connsiteY3459" fmla="*/ 3347077 h 4687251"/>
              <a:gd name="connsiteX3460" fmla="*/ 7190747 w 8079933"/>
              <a:gd name="connsiteY3460" fmla="*/ 3350109 h 4687251"/>
              <a:gd name="connsiteX3461" fmla="*/ 7194001 w 8079933"/>
              <a:gd name="connsiteY3461" fmla="*/ 3349242 h 4687251"/>
              <a:gd name="connsiteX3462" fmla="*/ 7195737 w 8079933"/>
              <a:gd name="connsiteY3462" fmla="*/ 3346211 h 4687251"/>
              <a:gd name="connsiteX3463" fmla="*/ 7197692 w 8079933"/>
              <a:gd name="connsiteY3463" fmla="*/ 3348917 h 4687251"/>
              <a:gd name="connsiteX3464" fmla="*/ 7198559 w 8079933"/>
              <a:gd name="connsiteY3464" fmla="*/ 3351733 h 4687251"/>
              <a:gd name="connsiteX3465" fmla="*/ 7202358 w 8079933"/>
              <a:gd name="connsiteY3465" fmla="*/ 3354115 h 4687251"/>
              <a:gd name="connsiteX3466" fmla="*/ 7206372 w 8079933"/>
              <a:gd name="connsiteY3466" fmla="*/ 3352166 h 4687251"/>
              <a:gd name="connsiteX3467" fmla="*/ 7206372 w 8079933"/>
              <a:gd name="connsiteY3467" fmla="*/ 3348917 h 4687251"/>
              <a:gd name="connsiteX3468" fmla="*/ 7203442 w 8079933"/>
              <a:gd name="connsiteY3468" fmla="*/ 3347618 h 4687251"/>
              <a:gd name="connsiteX3469" fmla="*/ 7209085 w 8079933"/>
              <a:gd name="connsiteY3469" fmla="*/ 3340905 h 4687251"/>
              <a:gd name="connsiteX3470" fmla="*/ 7213101 w 8079933"/>
              <a:gd name="connsiteY3470" fmla="*/ 3339065 h 4687251"/>
              <a:gd name="connsiteX3471" fmla="*/ 7213752 w 8079933"/>
              <a:gd name="connsiteY3471" fmla="*/ 3347185 h 4687251"/>
              <a:gd name="connsiteX3472" fmla="*/ 7216790 w 8079933"/>
              <a:gd name="connsiteY3472" fmla="*/ 3348484 h 4687251"/>
              <a:gd name="connsiteX3473" fmla="*/ 7219938 w 8079933"/>
              <a:gd name="connsiteY3473" fmla="*/ 3344911 h 4687251"/>
              <a:gd name="connsiteX3474" fmla="*/ 7224821 w 8079933"/>
              <a:gd name="connsiteY3474" fmla="*/ 3347185 h 4687251"/>
              <a:gd name="connsiteX3475" fmla="*/ 7224604 w 8079933"/>
              <a:gd name="connsiteY3475" fmla="*/ 3349567 h 4687251"/>
              <a:gd name="connsiteX3476" fmla="*/ 7221348 w 8079933"/>
              <a:gd name="connsiteY3476" fmla="*/ 3353897 h 4687251"/>
              <a:gd name="connsiteX3477" fmla="*/ 7218309 w 8079933"/>
              <a:gd name="connsiteY3477" fmla="*/ 3355522 h 4687251"/>
              <a:gd name="connsiteX3478" fmla="*/ 7215922 w 8079933"/>
              <a:gd name="connsiteY3478" fmla="*/ 3363643 h 4687251"/>
              <a:gd name="connsiteX3479" fmla="*/ 7212450 w 8079933"/>
              <a:gd name="connsiteY3479" fmla="*/ 3362776 h 4687251"/>
              <a:gd name="connsiteX3480" fmla="*/ 7209194 w 8079933"/>
              <a:gd name="connsiteY3480" fmla="*/ 3365266 h 4687251"/>
              <a:gd name="connsiteX3481" fmla="*/ 7213426 w 8079933"/>
              <a:gd name="connsiteY3481" fmla="*/ 3368731 h 4687251"/>
              <a:gd name="connsiteX3482" fmla="*/ 7211364 w 8079933"/>
              <a:gd name="connsiteY3482" fmla="*/ 3374145 h 4687251"/>
              <a:gd name="connsiteX3483" fmla="*/ 7205504 w 8079933"/>
              <a:gd name="connsiteY3483" fmla="*/ 3376851 h 4687251"/>
              <a:gd name="connsiteX3484" fmla="*/ 7201056 w 8079933"/>
              <a:gd name="connsiteY3484" fmla="*/ 3375985 h 4687251"/>
              <a:gd name="connsiteX3485" fmla="*/ 7199862 w 8079933"/>
              <a:gd name="connsiteY3485" fmla="*/ 3374145 h 4687251"/>
              <a:gd name="connsiteX3486" fmla="*/ 7196932 w 8079933"/>
              <a:gd name="connsiteY3486" fmla="*/ 3375444 h 4687251"/>
              <a:gd name="connsiteX3487" fmla="*/ 7194436 w 8079933"/>
              <a:gd name="connsiteY3487" fmla="*/ 3375227 h 4687251"/>
              <a:gd name="connsiteX3488" fmla="*/ 7195304 w 8079933"/>
              <a:gd name="connsiteY3488" fmla="*/ 3380315 h 4687251"/>
              <a:gd name="connsiteX3489" fmla="*/ 7190421 w 8079933"/>
              <a:gd name="connsiteY3489" fmla="*/ 3383564 h 4687251"/>
              <a:gd name="connsiteX3490" fmla="*/ 7193893 w 8079933"/>
              <a:gd name="connsiteY3490" fmla="*/ 3389952 h 4687251"/>
              <a:gd name="connsiteX3491" fmla="*/ 7198017 w 8079933"/>
              <a:gd name="connsiteY3491" fmla="*/ 3386920 h 4687251"/>
              <a:gd name="connsiteX3492" fmla="*/ 7196064 w 8079933"/>
              <a:gd name="connsiteY3492" fmla="*/ 3391251 h 4687251"/>
              <a:gd name="connsiteX3493" fmla="*/ 7194544 w 8079933"/>
              <a:gd name="connsiteY3493" fmla="*/ 3397964 h 4687251"/>
              <a:gd name="connsiteX3494" fmla="*/ 7189878 w 8079933"/>
              <a:gd name="connsiteY3494" fmla="*/ 3401212 h 4687251"/>
              <a:gd name="connsiteX3495" fmla="*/ 7188794 w 8079933"/>
              <a:gd name="connsiteY3495" fmla="*/ 3406951 h 4687251"/>
              <a:gd name="connsiteX3496" fmla="*/ 7184235 w 8079933"/>
              <a:gd name="connsiteY3496" fmla="*/ 3414204 h 4687251"/>
              <a:gd name="connsiteX3497" fmla="*/ 7184452 w 8079933"/>
              <a:gd name="connsiteY3497" fmla="*/ 3420159 h 4687251"/>
              <a:gd name="connsiteX3498" fmla="*/ 7189661 w 8079933"/>
              <a:gd name="connsiteY3498" fmla="*/ 3426222 h 4687251"/>
              <a:gd name="connsiteX3499" fmla="*/ 7193676 w 8079933"/>
              <a:gd name="connsiteY3499" fmla="*/ 3426764 h 4687251"/>
              <a:gd name="connsiteX3500" fmla="*/ 7199862 w 8079933"/>
              <a:gd name="connsiteY3500" fmla="*/ 3433151 h 4687251"/>
              <a:gd name="connsiteX3501" fmla="*/ 7200947 w 8079933"/>
              <a:gd name="connsiteY3501" fmla="*/ 3437808 h 4687251"/>
              <a:gd name="connsiteX3502" fmla="*/ 7206915 w 8079933"/>
              <a:gd name="connsiteY3502" fmla="*/ 3442680 h 4687251"/>
              <a:gd name="connsiteX3503" fmla="*/ 7205613 w 8079933"/>
              <a:gd name="connsiteY3503" fmla="*/ 3444628 h 4687251"/>
              <a:gd name="connsiteX3504" fmla="*/ 7209953 w 8079933"/>
              <a:gd name="connsiteY3504" fmla="*/ 3445711 h 4687251"/>
              <a:gd name="connsiteX3505" fmla="*/ 7215163 w 8079933"/>
              <a:gd name="connsiteY3505" fmla="*/ 3445603 h 4687251"/>
              <a:gd name="connsiteX3506" fmla="*/ 7217876 w 8079933"/>
              <a:gd name="connsiteY3506" fmla="*/ 3447769 h 4687251"/>
              <a:gd name="connsiteX3507" fmla="*/ 7221022 w 8079933"/>
              <a:gd name="connsiteY3507" fmla="*/ 3448093 h 4687251"/>
              <a:gd name="connsiteX3508" fmla="*/ 7221348 w 8079933"/>
              <a:gd name="connsiteY3508" fmla="*/ 3451125 h 4687251"/>
              <a:gd name="connsiteX3509" fmla="*/ 7226990 w 8079933"/>
              <a:gd name="connsiteY3509" fmla="*/ 3454806 h 4687251"/>
              <a:gd name="connsiteX3510" fmla="*/ 7233285 w 8079933"/>
              <a:gd name="connsiteY3510" fmla="*/ 3455348 h 4687251"/>
              <a:gd name="connsiteX3511" fmla="*/ 7238494 w 8079933"/>
              <a:gd name="connsiteY3511" fmla="*/ 3461952 h 4687251"/>
              <a:gd name="connsiteX3512" fmla="*/ 7239795 w 8079933"/>
              <a:gd name="connsiteY3512" fmla="*/ 3465958 h 4687251"/>
              <a:gd name="connsiteX3513" fmla="*/ 7246632 w 8079933"/>
              <a:gd name="connsiteY3513" fmla="*/ 3470289 h 4687251"/>
              <a:gd name="connsiteX3514" fmla="*/ 7254120 w 8079933"/>
              <a:gd name="connsiteY3514" fmla="*/ 3470830 h 4687251"/>
              <a:gd name="connsiteX3515" fmla="*/ 7258786 w 8079933"/>
              <a:gd name="connsiteY3515" fmla="*/ 3472779 h 4687251"/>
              <a:gd name="connsiteX3516" fmla="*/ 7264429 w 8079933"/>
              <a:gd name="connsiteY3516" fmla="*/ 3473753 h 4687251"/>
              <a:gd name="connsiteX3517" fmla="*/ 7265840 w 8079933"/>
              <a:gd name="connsiteY3517" fmla="*/ 3478950 h 4687251"/>
              <a:gd name="connsiteX3518" fmla="*/ 7267468 w 8079933"/>
              <a:gd name="connsiteY3518" fmla="*/ 3481116 h 4687251"/>
              <a:gd name="connsiteX3519" fmla="*/ 7267684 w 8079933"/>
              <a:gd name="connsiteY3519" fmla="*/ 3484039 h 4687251"/>
              <a:gd name="connsiteX3520" fmla="*/ 7273653 w 8079933"/>
              <a:gd name="connsiteY3520" fmla="*/ 3488695 h 4687251"/>
              <a:gd name="connsiteX3521" fmla="*/ 7276691 w 8079933"/>
              <a:gd name="connsiteY3521" fmla="*/ 3492917 h 4687251"/>
              <a:gd name="connsiteX3522" fmla="*/ 7282986 w 8079933"/>
              <a:gd name="connsiteY3522" fmla="*/ 3493350 h 4687251"/>
              <a:gd name="connsiteX3523" fmla="*/ 7289171 w 8079933"/>
              <a:gd name="connsiteY3523" fmla="*/ 3497789 h 4687251"/>
              <a:gd name="connsiteX3524" fmla="*/ 7304363 w 8079933"/>
              <a:gd name="connsiteY3524" fmla="*/ 3491726 h 4687251"/>
              <a:gd name="connsiteX3525" fmla="*/ 7311742 w 8079933"/>
              <a:gd name="connsiteY3525" fmla="*/ 3486204 h 4687251"/>
              <a:gd name="connsiteX3526" fmla="*/ 7312285 w 8079933"/>
              <a:gd name="connsiteY3526" fmla="*/ 3477110 h 4687251"/>
              <a:gd name="connsiteX3527" fmla="*/ 7316625 w 8079933"/>
              <a:gd name="connsiteY3527" fmla="*/ 3472779 h 4687251"/>
              <a:gd name="connsiteX3528" fmla="*/ 7319447 w 8079933"/>
              <a:gd name="connsiteY3528" fmla="*/ 3465417 h 4687251"/>
              <a:gd name="connsiteX3529" fmla="*/ 7317927 w 8079933"/>
              <a:gd name="connsiteY3529" fmla="*/ 3460544 h 4687251"/>
              <a:gd name="connsiteX3530" fmla="*/ 7322160 w 8079933"/>
              <a:gd name="connsiteY3530" fmla="*/ 3455889 h 4687251"/>
              <a:gd name="connsiteX3531" fmla="*/ 7323028 w 8079933"/>
              <a:gd name="connsiteY3531" fmla="*/ 3442355 h 4687251"/>
              <a:gd name="connsiteX3532" fmla="*/ 7327912 w 8079933"/>
              <a:gd name="connsiteY3532" fmla="*/ 3433151 h 4687251"/>
              <a:gd name="connsiteX3533" fmla="*/ 7327912 w 8079933"/>
              <a:gd name="connsiteY3533" fmla="*/ 3429146 h 4687251"/>
              <a:gd name="connsiteX3534" fmla="*/ 7332469 w 8079933"/>
              <a:gd name="connsiteY3534" fmla="*/ 3425031 h 4687251"/>
              <a:gd name="connsiteX3535" fmla="*/ 7332903 w 8079933"/>
              <a:gd name="connsiteY3535" fmla="*/ 3417994 h 4687251"/>
              <a:gd name="connsiteX3536" fmla="*/ 7330625 w 8079933"/>
              <a:gd name="connsiteY3536" fmla="*/ 3411823 h 4687251"/>
              <a:gd name="connsiteX3537" fmla="*/ 7332252 w 8079933"/>
              <a:gd name="connsiteY3537" fmla="*/ 3403161 h 4687251"/>
              <a:gd name="connsiteX3538" fmla="*/ 7330081 w 8079933"/>
              <a:gd name="connsiteY3538" fmla="*/ 3395257 h 4687251"/>
              <a:gd name="connsiteX3539" fmla="*/ 7332252 w 8079933"/>
              <a:gd name="connsiteY3539" fmla="*/ 3383564 h 4687251"/>
              <a:gd name="connsiteX3540" fmla="*/ 7334964 w 8079933"/>
              <a:gd name="connsiteY3540" fmla="*/ 3381507 h 4687251"/>
              <a:gd name="connsiteX3541" fmla="*/ 7338546 w 8079933"/>
              <a:gd name="connsiteY3541" fmla="*/ 3383023 h 4687251"/>
              <a:gd name="connsiteX3542" fmla="*/ 7338004 w 8079933"/>
              <a:gd name="connsiteY3542" fmla="*/ 3379017 h 4687251"/>
              <a:gd name="connsiteX3543" fmla="*/ 7334531 w 8079933"/>
              <a:gd name="connsiteY3543" fmla="*/ 3373386 h 4687251"/>
              <a:gd name="connsiteX3544" fmla="*/ 7337136 w 8079933"/>
              <a:gd name="connsiteY3544" fmla="*/ 3368731 h 4687251"/>
              <a:gd name="connsiteX3545" fmla="*/ 7339089 w 8079933"/>
              <a:gd name="connsiteY3545" fmla="*/ 3363967 h 4687251"/>
              <a:gd name="connsiteX3546" fmla="*/ 7342127 w 8079933"/>
              <a:gd name="connsiteY3546" fmla="*/ 3364617 h 4687251"/>
              <a:gd name="connsiteX3547" fmla="*/ 7345057 w 8079933"/>
              <a:gd name="connsiteY3547" fmla="*/ 3362560 h 4687251"/>
              <a:gd name="connsiteX3548" fmla="*/ 7340608 w 8079933"/>
              <a:gd name="connsiteY3548" fmla="*/ 3358986 h 4687251"/>
              <a:gd name="connsiteX3549" fmla="*/ 7336918 w 8079933"/>
              <a:gd name="connsiteY3549" fmla="*/ 3355522 h 4687251"/>
              <a:gd name="connsiteX3550" fmla="*/ 7341042 w 8079933"/>
              <a:gd name="connsiteY3550" fmla="*/ 3349784 h 4687251"/>
              <a:gd name="connsiteX3551" fmla="*/ 7344189 w 8079933"/>
              <a:gd name="connsiteY3551" fmla="*/ 3341988 h 4687251"/>
              <a:gd name="connsiteX3552" fmla="*/ 7346902 w 8079933"/>
              <a:gd name="connsiteY3552" fmla="*/ 3342313 h 4687251"/>
              <a:gd name="connsiteX3553" fmla="*/ 7347987 w 8079933"/>
              <a:gd name="connsiteY3553" fmla="*/ 3337549 h 4687251"/>
              <a:gd name="connsiteX3554" fmla="*/ 7347987 w 8079933"/>
              <a:gd name="connsiteY3554" fmla="*/ 3335492 h 4687251"/>
              <a:gd name="connsiteX3555" fmla="*/ 7350483 w 8079933"/>
              <a:gd name="connsiteY3555" fmla="*/ 3328238 h 4687251"/>
              <a:gd name="connsiteX3556" fmla="*/ 7350483 w 8079933"/>
              <a:gd name="connsiteY3556" fmla="*/ 3319793 h 4687251"/>
              <a:gd name="connsiteX3557" fmla="*/ 7353196 w 8079933"/>
              <a:gd name="connsiteY3557" fmla="*/ 3316003 h 4687251"/>
              <a:gd name="connsiteX3558" fmla="*/ 4796274 w 8079933"/>
              <a:gd name="connsiteY3558" fmla="*/ 3313282 h 4687251"/>
              <a:gd name="connsiteX3559" fmla="*/ 4797845 w 8079933"/>
              <a:gd name="connsiteY3559" fmla="*/ 3313730 h 4687251"/>
              <a:gd name="connsiteX3560" fmla="*/ 4800775 w 8079933"/>
              <a:gd name="connsiteY3560" fmla="*/ 3315787 h 4687251"/>
              <a:gd name="connsiteX3561" fmla="*/ 4801475 w 8079933"/>
              <a:gd name="connsiteY3561" fmla="*/ 3315883 h 4687251"/>
              <a:gd name="connsiteX3562" fmla="*/ 4800776 w 8079933"/>
              <a:gd name="connsiteY3562" fmla="*/ 3315787 h 4687251"/>
              <a:gd name="connsiteX3563" fmla="*/ 4797846 w 8079933"/>
              <a:gd name="connsiteY3563" fmla="*/ 3313729 h 4687251"/>
              <a:gd name="connsiteX3564" fmla="*/ 4540335 w 8079933"/>
              <a:gd name="connsiteY3564" fmla="*/ 3311563 h 4687251"/>
              <a:gd name="connsiteX3565" fmla="*/ 4541637 w 8079933"/>
              <a:gd name="connsiteY3565" fmla="*/ 3313728 h 4687251"/>
              <a:gd name="connsiteX3566" fmla="*/ 4542072 w 8079933"/>
              <a:gd name="connsiteY3566" fmla="*/ 3317085 h 4687251"/>
              <a:gd name="connsiteX3567" fmla="*/ 4541746 w 8079933"/>
              <a:gd name="connsiteY3567" fmla="*/ 3318817 h 4687251"/>
              <a:gd name="connsiteX3568" fmla="*/ 4543591 w 8079933"/>
              <a:gd name="connsiteY3568" fmla="*/ 3318925 h 4687251"/>
              <a:gd name="connsiteX3569" fmla="*/ 4548257 w 8079933"/>
              <a:gd name="connsiteY3569" fmla="*/ 3321091 h 4687251"/>
              <a:gd name="connsiteX3570" fmla="*/ 4543591 w 8079933"/>
              <a:gd name="connsiteY3570" fmla="*/ 3318925 h 4687251"/>
              <a:gd name="connsiteX3571" fmla="*/ 4541746 w 8079933"/>
              <a:gd name="connsiteY3571" fmla="*/ 3318817 h 4687251"/>
              <a:gd name="connsiteX3572" fmla="*/ 4542072 w 8079933"/>
              <a:gd name="connsiteY3572" fmla="*/ 3317085 h 4687251"/>
              <a:gd name="connsiteX3573" fmla="*/ 4541638 w 8079933"/>
              <a:gd name="connsiteY3573" fmla="*/ 3313729 h 4687251"/>
              <a:gd name="connsiteX3574" fmla="*/ 4794590 w 8079933"/>
              <a:gd name="connsiteY3574" fmla="*/ 3310915 h 4687251"/>
              <a:gd name="connsiteX3575" fmla="*/ 4794807 w 8079933"/>
              <a:gd name="connsiteY3575" fmla="*/ 3312863 h 4687251"/>
              <a:gd name="connsiteX3576" fmla="*/ 4794808 w 8079933"/>
              <a:gd name="connsiteY3576" fmla="*/ 3312863 h 4687251"/>
              <a:gd name="connsiteX3577" fmla="*/ 4794591 w 8079933"/>
              <a:gd name="connsiteY3577" fmla="*/ 3310915 h 4687251"/>
              <a:gd name="connsiteX3578" fmla="*/ 4971473 w 8079933"/>
              <a:gd name="connsiteY3578" fmla="*/ 3309073 h 4687251"/>
              <a:gd name="connsiteX3579" fmla="*/ 4974077 w 8079933"/>
              <a:gd name="connsiteY3579" fmla="*/ 3309397 h 4687251"/>
              <a:gd name="connsiteX3580" fmla="*/ 4976248 w 8079933"/>
              <a:gd name="connsiteY3580" fmla="*/ 3314053 h 4687251"/>
              <a:gd name="connsiteX3581" fmla="*/ 4974512 w 8079933"/>
              <a:gd name="connsiteY3581" fmla="*/ 3316435 h 4687251"/>
              <a:gd name="connsiteX3582" fmla="*/ 4976031 w 8079933"/>
              <a:gd name="connsiteY3582" fmla="*/ 3321091 h 4687251"/>
              <a:gd name="connsiteX3583" fmla="*/ 4974186 w 8079933"/>
              <a:gd name="connsiteY3583" fmla="*/ 3323797 h 4687251"/>
              <a:gd name="connsiteX3584" fmla="*/ 4971907 w 8079933"/>
              <a:gd name="connsiteY3584" fmla="*/ 3324447 h 4687251"/>
              <a:gd name="connsiteX3585" fmla="*/ 4969628 w 8079933"/>
              <a:gd name="connsiteY3585" fmla="*/ 3323473 h 4687251"/>
              <a:gd name="connsiteX3586" fmla="*/ 4968977 w 8079933"/>
              <a:gd name="connsiteY3586" fmla="*/ 3318059 h 4687251"/>
              <a:gd name="connsiteX3587" fmla="*/ 4967892 w 8079933"/>
              <a:gd name="connsiteY3587" fmla="*/ 3314919 h 4687251"/>
              <a:gd name="connsiteX3588" fmla="*/ 4532414 w 8079933"/>
              <a:gd name="connsiteY3588" fmla="*/ 3308207 h 4687251"/>
              <a:gd name="connsiteX3589" fmla="*/ 4530894 w 8079933"/>
              <a:gd name="connsiteY3589" fmla="*/ 3309831 h 4687251"/>
              <a:gd name="connsiteX3590" fmla="*/ 4529104 w 8079933"/>
              <a:gd name="connsiteY3590" fmla="*/ 3309885 h 4687251"/>
              <a:gd name="connsiteX3591" fmla="*/ 4530894 w 8079933"/>
              <a:gd name="connsiteY3591" fmla="*/ 3309831 h 4687251"/>
              <a:gd name="connsiteX3592" fmla="*/ 4852973 w 8079933"/>
              <a:gd name="connsiteY3592" fmla="*/ 3308100 h 4687251"/>
              <a:gd name="connsiteX3593" fmla="*/ 4856227 w 8079933"/>
              <a:gd name="connsiteY3593" fmla="*/ 3310481 h 4687251"/>
              <a:gd name="connsiteX3594" fmla="*/ 4856228 w 8079933"/>
              <a:gd name="connsiteY3594" fmla="*/ 3310481 h 4687251"/>
              <a:gd name="connsiteX3595" fmla="*/ 7349398 w 8079933"/>
              <a:gd name="connsiteY3595" fmla="*/ 3306259 h 4687251"/>
              <a:gd name="connsiteX3596" fmla="*/ 7352437 w 8079933"/>
              <a:gd name="connsiteY3596" fmla="*/ 3306801 h 4687251"/>
              <a:gd name="connsiteX3597" fmla="*/ 7354174 w 8079933"/>
              <a:gd name="connsiteY3597" fmla="*/ 3310590 h 4687251"/>
              <a:gd name="connsiteX3598" fmla="*/ 7351785 w 8079933"/>
              <a:gd name="connsiteY3598" fmla="*/ 3310806 h 4687251"/>
              <a:gd name="connsiteX3599" fmla="*/ 7349507 w 8079933"/>
              <a:gd name="connsiteY3599" fmla="*/ 3312106 h 4687251"/>
              <a:gd name="connsiteX3600" fmla="*/ 4467087 w 8079933"/>
              <a:gd name="connsiteY3600" fmla="*/ 3306041 h 4687251"/>
              <a:gd name="connsiteX3601" fmla="*/ 4467087 w 8079933"/>
              <a:gd name="connsiteY3601" fmla="*/ 3306042 h 4687251"/>
              <a:gd name="connsiteX3602" fmla="*/ 4467350 w 8079933"/>
              <a:gd name="connsiteY3602" fmla="*/ 3306740 h 4687251"/>
              <a:gd name="connsiteX3603" fmla="*/ 4475334 w 8079933"/>
              <a:gd name="connsiteY3603" fmla="*/ 3304201 h 4687251"/>
              <a:gd name="connsiteX3604" fmla="*/ 4474032 w 8079933"/>
              <a:gd name="connsiteY3604" fmla="*/ 3305067 h 4687251"/>
              <a:gd name="connsiteX3605" fmla="*/ 4471970 w 8079933"/>
              <a:gd name="connsiteY3605" fmla="*/ 3305717 h 4687251"/>
              <a:gd name="connsiteX3606" fmla="*/ 4470451 w 8079933"/>
              <a:gd name="connsiteY3606" fmla="*/ 3307341 h 4687251"/>
              <a:gd name="connsiteX3607" fmla="*/ 4467738 w 8079933"/>
              <a:gd name="connsiteY3607" fmla="*/ 3307774 h 4687251"/>
              <a:gd name="connsiteX3608" fmla="*/ 4467739 w 8079933"/>
              <a:gd name="connsiteY3608" fmla="*/ 3307775 h 4687251"/>
              <a:gd name="connsiteX3609" fmla="*/ 4470452 w 8079933"/>
              <a:gd name="connsiteY3609" fmla="*/ 3307342 h 4687251"/>
              <a:gd name="connsiteX3610" fmla="*/ 4471971 w 8079933"/>
              <a:gd name="connsiteY3610" fmla="*/ 3305718 h 4687251"/>
              <a:gd name="connsiteX3611" fmla="*/ 4474032 w 8079933"/>
              <a:gd name="connsiteY3611" fmla="*/ 3305068 h 4687251"/>
              <a:gd name="connsiteX3612" fmla="*/ 4475335 w 8079933"/>
              <a:gd name="connsiteY3612" fmla="*/ 3304202 h 4687251"/>
              <a:gd name="connsiteX3613" fmla="*/ 4477613 w 8079933"/>
              <a:gd name="connsiteY3613" fmla="*/ 3304202 h 4687251"/>
              <a:gd name="connsiteX3614" fmla="*/ 4480343 w 8079933"/>
              <a:gd name="connsiteY3614" fmla="*/ 3306134 h 4687251"/>
              <a:gd name="connsiteX3615" fmla="*/ 4477613 w 8079933"/>
              <a:gd name="connsiteY3615" fmla="*/ 3304201 h 4687251"/>
              <a:gd name="connsiteX3616" fmla="*/ 6896884 w 8079933"/>
              <a:gd name="connsiteY3616" fmla="*/ 3303552 h 4687251"/>
              <a:gd name="connsiteX3617" fmla="*/ 6898077 w 8079933"/>
              <a:gd name="connsiteY3617" fmla="*/ 3306258 h 4687251"/>
              <a:gd name="connsiteX3618" fmla="*/ 6896558 w 8079933"/>
              <a:gd name="connsiteY3618" fmla="*/ 3310048 h 4687251"/>
              <a:gd name="connsiteX3619" fmla="*/ 6885707 w 8079933"/>
              <a:gd name="connsiteY3619" fmla="*/ 3314595 h 4687251"/>
              <a:gd name="connsiteX3620" fmla="*/ 6882343 w 8079933"/>
              <a:gd name="connsiteY3620" fmla="*/ 3313296 h 4687251"/>
              <a:gd name="connsiteX3621" fmla="*/ 6885924 w 8079933"/>
              <a:gd name="connsiteY3621" fmla="*/ 3310048 h 4687251"/>
              <a:gd name="connsiteX3622" fmla="*/ 6893303 w 8079933"/>
              <a:gd name="connsiteY3622" fmla="*/ 3306475 h 4687251"/>
              <a:gd name="connsiteX3623" fmla="*/ 6892435 w 8079933"/>
              <a:gd name="connsiteY3623" fmla="*/ 3305609 h 4687251"/>
              <a:gd name="connsiteX3624" fmla="*/ 4509083 w 8079933"/>
              <a:gd name="connsiteY3624" fmla="*/ 3302576 h 4687251"/>
              <a:gd name="connsiteX3625" fmla="*/ 4504633 w 8079933"/>
              <a:gd name="connsiteY3625" fmla="*/ 3303118 h 4687251"/>
              <a:gd name="connsiteX3626" fmla="*/ 4500836 w 8079933"/>
              <a:gd name="connsiteY3626" fmla="*/ 3304634 h 4687251"/>
              <a:gd name="connsiteX3627" fmla="*/ 4496712 w 8079933"/>
              <a:gd name="connsiteY3627" fmla="*/ 3306583 h 4687251"/>
              <a:gd name="connsiteX3628" fmla="*/ 4494541 w 8079933"/>
              <a:gd name="connsiteY3628" fmla="*/ 3307449 h 4687251"/>
              <a:gd name="connsiteX3629" fmla="*/ 4491937 w 8079933"/>
              <a:gd name="connsiteY3629" fmla="*/ 3308098 h 4687251"/>
              <a:gd name="connsiteX3630" fmla="*/ 4489766 w 8079933"/>
              <a:gd name="connsiteY3630" fmla="*/ 3307666 h 4687251"/>
              <a:gd name="connsiteX3631" fmla="*/ 4483582 w 8079933"/>
              <a:gd name="connsiteY3631" fmla="*/ 3307449 h 4687251"/>
              <a:gd name="connsiteX3632" fmla="*/ 4480977 w 8079933"/>
              <a:gd name="connsiteY3632" fmla="*/ 3306583 h 4687251"/>
              <a:gd name="connsiteX3633" fmla="*/ 4480978 w 8079933"/>
              <a:gd name="connsiteY3633" fmla="*/ 3306583 h 4687251"/>
              <a:gd name="connsiteX3634" fmla="*/ 4483582 w 8079933"/>
              <a:gd name="connsiteY3634" fmla="*/ 3307450 h 4687251"/>
              <a:gd name="connsiteX3635" fmla="*/ 4489767 w 8079933"/>
              <a:gd name="connsiteY3635" fmla="*/ 3307667 h 4687251"/>
              <a:gd name="connsiteX3636" fmla="*/ 4491938 w 8079933"/>
              <a:gd name="connsiteY3636" fmla="*/ 3308099 h 4687251"/>
              <a:gd name="connsiteX3637" fmla="*/ 4494542 w 8079933"/>
              <a:gd name="connsiteY3637" fmla="*/ 3307450 h 4687251"/>
              <a:gd name="connsiteX3638" fmla="*/ 4496712 w 8079933"/>
              <a:gd name="connsiteY3638" fmla="*/ 3306583 h 4687251"/>
              <a:gd name="connsiteX3639" fmla="*/ 4500836 w 8079933"/>
              <a:gd name="connsiteY3639" fmla="*/ 3304635 h 4687251"/>
              <a:gd name="connsiteX3640" fmla="*/ 4504634 w 8079933"/>
              <a:gd name="connsiteY3640" fmla="*/ 3303119 h 4687251"/>
              <a:gd name="connsiteX3641" fmla="*/ 4509083 w 8079933"/>
              <a:gd name="connsiteY3641" fmla="*/ 3302577 h 4687251"/>
              <a:gd name="connsiteX3642" fmla="*/ 6861400 w 8079933"/>
              <a:gd name="connsiteY3642" fmla="*/ 3302470 h 4687251"/>
              <a:gd name="connsiteX3643" fmla="*/ 6864004 w 8079933"/>
              <a:gd name="connsiteY3643" fmla="*/ 3304202 h 4687251"/>
              <a:gd name="connsiteX3644" fmla="*/ 6864547 w 8079933"/>
              <a:gd name="connsiteY3644" fmla="*/ 3306585 h 4687251"/>
              <a:gd name="connsiteX3645" fmla="*/ 6861508 w 8079933"/>
              <a:gd name="connsiteY3645" fmla="*/ 3308101 h 4687251"/>
              <a:gd name="connsiteX3646" fmla="*/ 6857168 w 8079933"/>
              <a:gd name="connsiteY3646" fmla="*/ 3307884 h 4687251"/>
              <a:gd name="connsiteX3647" fmla="*/ 6859447 w 8079933"/>
              <a:gd name="connsiteY3647" fmla="*/ 3303986 h 4687251"/>
              <a:gd name="connsiteX3648" fmla="*/ 4616297 w 8079933"/>
              <a:gd name="connsiteY3648" fmla="*/ 3302468 h 4687251"/>
              <a:gd name="connsiteX3649" fmla="*/ 4616622 w 8079933"/>
              <a:gd name="connsiteY3649" fmla="*/ 3315678 h 4687251"/>
              <a:gd name="connsiteX3650" fmla="*/ 4616948 w 8079933"/>
              <a:gd name="connsiteY3650" fmla="*/ 3321849 h 4687251"/>
              <a:gd name="connsiteX3651" fmla="*/ 4618710 w 8079933"/>
              <a:gd name="connsiteY3651" fmla="*/ 3323182 h 4687251"/>
              <a:gd name="connsiteX3652" fmla="*/ 4616948 w 8079933"/>
              <a:gd name="connsiteY3652" fmla="*/ 3321848 h 4687251"/>
              <a:gd name="connsiteX3653" fmla="*/ 4616622 w 8079933"/>
              <a:gd name="connsiteY3653" fmla="*/ 3315677 h 4687251"/>
              <a:gd name="connsiteX3654" fmla="*/ 2397563 w 8079933"/>
              <a:gd name="connsiteY3654" fmla="*/ 3298129 h 4687251"/>
              <a:gd name="connsiteX3655" fmla="*/ 2397024 w 8079933"/>
              <a:gd name="connsiteY3655" fmla="*/ 3299112 h 4687251"/>
              <a:gd name="connsiteX3656" fmla="*/ 2400062 w 8079933"/>
              <a:gd name="connsiteY3656" fmla="*/ 3310156 h 4687251"/>
              <a:gd name="connsiteX3657" fmla="*/ 2398000 w 8079933"/>
              <a:gd name="connsiteY3657" fmla="*/ 3314920 h 4687251"/>
              <a:gd name="connsiteX3658" fmla="*/ 2402124 w 8079933"/>
              <a:gd name="connsiteY3658" fmla="*/ 3323906 h 4687251"/>
              <a:gd name="connsiteX3659" fmla="*/ 2407658 w 8079933"/>
              <a:gd name="connsiteY3659" fmla="*/ 3326288 h 4687251"/>
              <a:gd name="connsiteX3660" fmla="*/ 2409394 w 8079933"/>
              <a:gd name="connsiteY3660" fmla="*/ 3333543 h 4687251"/>
              <a:gd name="connsiteX3661" fmla="*/ 2414929 w 8079933"/>
              <a:gd name="connsiteY3661" fmla="*/ 3336249 h 4687251"/>
              <a:gd name="connsiteX3662" fmla="*/ 2422525 w 8079933"/>
              <a:gd name="connsiteY3662" fmla="*/ 3341121 h 4687251"/>
              <a:gd name="connsiteX3663" fmla="*/ 2427734 w 8079933"/>
              <a:gd name="connsiteY3663" fmla="*/ 3345994 h 4687251"/>
              <a:gd name="connsiteX3664" fmla="*/ 2429796 w 8079933"/>
              <a:gd name="connsiteY3664" fmla="*/ 3343503 h 4687251"/>
              <a:gd name="connsiteX3665" fmla="*/ 2439779 w 8079933"/>
              <a:gd name="connsiteY3665" fmla="*/ 3341121 h 4687251"/>
              <a:gd name="connsiteX3666" fmla="*/ 2448026 w 8079933"/>
              <a:gd name="connsiteY3666" fmla="*/ 3349349 h 4687251"/>
              <a:gd name="connsiteX3667" fmla="*/ 2454320 w 8079933"/>
              <a:gd name="connsiteY3667" fmla="*/ 3347618 h 4687251"/>
              <a:gd name="connsiteX3668" fmla="*/ 2462893 w 8079933"/>
              <a:gd name="connsiteY3668" fmla="*/ 3356929 h 4687251"/>
              <a:gd name="connsiteX3669" fmla="*/ 2466691 w 8079933"/>
              <a:gd name="connsiteY3669" fmla="*/ 3356604 h 4687251"/>
              <a:gd name="connsiteX3670" fmla="*/ 2477000 w 8079933"/>
              <a:gd name="connsiteY3670" fmla="*/ 3360069 h 4687251"/>
              <a:gd name="connsiteX3671" fmla="*/ 2483620 w 8079933"/>
              <a:gd name="connsiteY3671" fmla="*/ 3362451 h 4687251"/>
              <a:gd name="connsiteX3672" fmla="*/ 2485031 w 8079933"/>
              <a:gd name="connsiteY3672" fmla="*/ 3369380 h 4687251"/>
              <a:gd name="connsiteX3673" fmla="*/ 2489806 w 8079933"/>
              <a:gd name="connsiteY3673" fmla="*/ 3370679 h 4687251"/>
              <a:gd name="connsiteX3674" fmla="*/ 2495990 w 8079933"/>
              <a:gd name="connsiteY3674" fmla="*/ 3374144 h 4687251"/>
              <a:gd name="connsiteX3675" fmla="*/ 2509881 w 8079933"/>
              <a:gd name="connsiteY3675" fmla="*/ 3372844 h 4687251"/>
              <a:gd name="connsiteX3676" fmla="*/ 2519539 w 8079933"/>
              <a:gd name="connsiteY3676" fmla="*/ 3378366 h 4687251"/>
              <a:gd name="connsiteX3677" fmla="*/ 2521601 w 8079933"/>
              <a:gd name="connsiteY3677" fmla="*/ 3382481 h 4687251"/>
              <a:gd name="connsiteX3678" fmla="*/ 2520190 w 8079933"/>
              <a:gd name="connsiteY3678" fmla="*/ 3393416 h 4687251"/>
              <a:gd name="connsiteX3679" fmla="*/ 2522251 w 8079933"/>
              <a:gd name="connsiteY3679" fmla="*/ 3402402 h 4687251"/>
              <a:gd name="connsiteX3680" fmla="*/ 2519539 w 8079933"/>
              <a:gd name="connsiteY3680" fmla="*/ 3407924 h 4687251"/>
              <a:gd name="connsiteX3681" fmla="*/ 2528437 w 8079933"/>
              <a:gd name="connsiteY3681" fmla="*/ 3423082 h 4687251"/>
              <a:gd name="connsiteX3682" fmla="*/ 2527786 w 8079933"/>
              <a:gd name="connsiteY3682" fmla="*/ 3434125 h 4687251"/>
              <a:gd name="connsiteX3683" fmla="*/ 2569891 w 8079933"/>
              <a:gd name="connsiteY3683" fmla="*/ 3434775 h 4687251"/>
              <a:gd name="connsiteX3684" fmla="*/ 2571952 w 8079933"/>
              <a:gd name="connsiteY3684" fmla="*/ 3449933 h 4687251"/>
              <a:gd name="connsiteX3685" fmla="*/ 2571302 w 8079933"/>
              <a:gd name="connsiteY3685" fmla="*/ 3459569 h 4687251"/>
              <a:gd name="connsiteX3686" fmla="*/ 2583672 w 8079933"/>
              <a:gd name="connsiteY3686" fmla="*/ 3462384 h 4687251"/>
              <a:gd name="connsiteX3687" fmla="*/ 2596152 w 8079933"/>
              <a:gd name="connsiteY3687" fmla="*/ 3484363 h 4687251"/>
              <a:gd name="connsiteX3688" fmla="*/ 2596803 w 8079933"/>
              <a:gd name="connsiteY3688" fmla="*/ 3496056 h 4687251"/>
              <a:gd name="connsiteX3689" fmla="*/ 2585083 w 8079933"/>
              <a:gd name="connsiteY3689" fmla="*/ 3519442 h 4687251"/>
              <a:gd name="connsiteX3690" fmla="*/ 2585734 w 8079933"/>
              <a:gd name="connsiteY3690" fmla="*/ 3522907 h 4687251"/>
              <a:gd name="connsiteX3691" fmla="*/ 2582588 w 8079933"/>
              <a:gd name="connsiteY3691" fmla="*/ 3527346 h 4687251"/>
              <a:gd name="connsiteX3692" fmla="*/ 2584758 w 8079933"/>
              <a:gd name="connsiteY3692" fmla="*/ 3529836 h 4687251"/>
              <a:gd name="connsiteX3693" fmla="*/ 2579875 w 8079933"/>
              <a:gd name="connsiteY3693" fmla="*/ 3524315 h 4687251"/>
              <a:gd name="connsiteX3694" fmla="*/ 2576076 w 8079933"/>
              <a:gd name="connsiteY3694" fmla="*/ 3523557 h 4687251"/>
              <a:gd name="connsiteX3695" fmla="*/ 2560233 w 8079933"/>
              <a:gd name="connsiteY3695" fmla="*/ 3511971 h 4687251"/>
              <a:gd name="connsiteX3696" fmla="*/ 2532995 w 8079933"/>
              <a:gd name="connsiteY3696" fmla="*/ 3511539 h 4687251"/>
              <a:gd name="connsiteX3697" fmla="*/ 2500223 w 8079933"/>
              <a:gd name="connsiteY3697" fmla="*/ 3520634 h 4687251"/>
              <a:gd name="connsiteX3698" fmla="*/ 2494689 w 8079933"/>
              <a:gd name="connsiteY3698" fmla="*/ 3524206 h 4687251"/>
              <a:gd name="connsiteX3699" fmla="*/ 2494689 w 8079933"/>
              <a:gd name="connsiteY3699" fmla="*/ 3524207 h 4687251"/>
              <a:gd name="connsiteX3700" fmla="*/ 2500223 w 8079933"/>
              <a:gd name="connsiteY3700" fmla="*/ 3520635 h 4687251"/>
              <a:gd name="connsiteX3701" fmla="*/ 2532995 w 8079933"/>
              <a:gd name="connsiteY3701" fmla="*/ 3511540 h 4687251"/>
              <a:gd name="connsiteX3702" fmla="*/ 2560233 w 8079933"/>
              <a:gd name="connsiteY3702" fmla="*/ 3511973 h 4687251"/>
              <a:gd name="connsiteX3703" fmla="*/ 2576077 w 8079933"/>
              <a:gd name="connsiteY3703" fmla="*/ 3523558 h 4687251"/>
              <a:gd name="connsiteX3704" fmla="*/ 2579875 w 8079933"/>
              <a:gd name="connsiteY3704" fmla="*/ 3524316 h 4687251"/>
              <a:gd name="connsiteX3705" fmla="*/ 2584758 w 8079933"/>
              <a:gd name="connsiteY3705" fmla="*/ 3529837 h 4687251"/>
              <a:gd name="connsiteX3706" fmla="*/ 2583347 w 8079933"/>
              <a:gd name="connsiteY3706" fmla="*/ 3535035 h 4687251"/>
              <a:gd name="connsiteX3707" fmla="*/ 2589207 w 8079933"/>
              <a:gd name="connsiteY3707" fmla="*/ 3539474 h 4687251"/>
              <a:gd name="connsiteX3708" fmla="*/ 2589532 w 8079933"/>
              <a:gd name="connsiteY3708" fmla="*/ 3546727 h 4687251"/>
              <a:gd name="connsiteX3709" fmla="*/ 2594416 w 8079933"/>
              <a:gd name="connsiteY3709" fmla="*/ 3553874 h 4687251"/>
              <a:gd name="connsiteX3710" fmla="*/ 2591920 w 8079933"/>
              <a:gd name="connsiteY3710" fmla="*/ 3568382 h 4687251"/>
              <a:gd name="connsiteX3711" fmla="*/ 2593330 w 8079933"/>
              <a:gd name="connsiteY3711" fmla="*/ 3574228 h 4687251"/>
              <a:gd name="connsiteX3712" fmla="*/ 2591594 w 8079933"/>
              <a:gd name="connsiteY3712" fmla="*/ 3579426 h 4687251"/>
              <a:gd name="connsiteX3713" fmla="*/ 2593330 w 8079933"/>
              <a:gd name="connsiteY3713" fmla="*/ 3584622 h 4687251"/>
              <a:gd name="connsiteX3714" fmla="*/ 2602338 w 8079933"/>
              <a:gd name="connsiteY3714" fmla="*/ 3583865 h 4687251"/>
              <a:gd name="connsiteX3715" fmla="*/ 2606136 w 8079933"/>
              <a:gd name="connsiteY3715" fmla="*/ 3585597 h 4687251"/>
              <a:gd name="connsiteX3716" fmla="*/ 2617205 w 8079933"/>
              <a:gd name="connsiteY3716" fmla="*/ 3584947 h 4687251"/>
              <a:gd name="connsiteX3717" fmla="*/ 2624041 w 8079933"/>
              <a:gd name="connsiteY3717" fmla="*/ 3587329 h 4687251"/>
              <a:gd name="connsiteX3718" fmla="*/ 2635110 w 8079933"/>
              <a:gd name="connsiteY3718" fmla="*/ 3582890 h 4687251"/>
              <a:gd name="connsiteX3719" fmla="*/ 2640969 w 8079933"/>
              <a:gd name="connsiteY3719" fmla="*/ 3587004 h 4687251"/>
              <a:gd name="connsiteX3720" fmla="*/ 2645419 w 8079933"/>
              <a:gd name="connsiteY3720" fmla="*/ 3588304 h 4687251"/>
              <a:gd name="connsiteX3721" fmla="*/ 2647155 w 8079933"/>
              <a:gd name="connsiteY3721" fmla="*/ 3593826 h 4687251"/>
              <a:gd name="connsiteX3722" fmla="*/ 2653232 w 8079933"/>
              <a:gd name="connsiteY3722" fmla="*/ 3619810 h 4687251"/>
              <a:gd name="connsiteX3723" fmla="*/ 2657356 w 8079933"/>
              <a:gd name="connsiteY3723" fmla="*/ 3628905 h 4687251"/>
              <a:gd name="connsiteX3724" fmla="*/ 2661696 w 8079933"/>
              <a:gd name="connsiteY3724" fmla="*/ 3630096 h 4687251"/>
              <a:gd name="connsiteX3725" fmla="*/ 2671137 w 8079933"/>
              <a:gd name="connsiteY3725" fmla="*/ 3624899 h 4687251"/>
              <a:gd name="connsiteX3726" fmla="*/ 2676455 w 8079933"/>
              <a:gd name="connsiteY3726" fmla="*/ 3626956 h 4687251"/>
              <a:gd name="connsiteX3727" fmla="*/ 2680144 w 8079933"/>
              <a:gd name="connsiteY3727" fmla="*/ 3630312 h 4687251"/>
              <a:gd name="connsiteX3728" fmla="*/ 2683345 w 8079933"/>
              <a:gd name="connsiteY3728" fmla="*/ 3630931 h 4687251"/>
              <a:gd name="connsiteX3729" fmla="*/ 2683833 w 8079933"/>
              <a:gd name="connsiteY3729" fmla="*/ 3630095 h 4687251"/>
              <a:gd name="connsiteX3730" fmla="*/ 2680361 w 8079933"/>
              <a:gd name="connsiteY3730" fmla="*/ 3629446 h 4687251"/>
              <a:gd name="connsiteX3731" fmla="*/ 2676779 w 8079933"/>
              <a:gd name="connsiteY3731" fmla="*/ 3626198 h 4687251"/>
              <a:gd name="connsiteX3732" fmla="*/ 2671462 w 8079933"/>
              <a:gd name="connsiteY3732" fmla="*/ 3624141 h 4687251"/>
              <a:gd name="connsiteX3733" fmla="*/ 2662021 w 8079933"/>
              <a:gd name="connsiteY3733" fmla="*/ 3629337 h 4687251"/>
              <a:gd name="connsiteX3734" fmla="*/ 2657681 w 8079933"/>
              <a:gd name="connsiteY3734" fmla="*/ 3628147 h 4687251"/>
              <a:gd name="connsiteX3735" fmla="*/ 2653557 w 8079933"/>
              <a:gd name="connsiteY3735" fmla="*/ 3619052 h 4687251"/>
              <a:gd name="connsiteX3736" fmla="*/ 2647480 w 8079933"/>
              <a:gd name="connsiteY3736" fmla="*/ 3593067 h 4687251"/>
              <a:gd name="connsiteX3737" fmla="*/ 2645744 w 8079933"/>
              <a:gd name="connsiteY3737" fmla="*/ 3587545 h 4687251"/>
              <a:gd name="connsiteX3738" fmla="*/ 2641295 w 8079933"/>
              <a:gd name="connsiteY3738" fmla="*/ 3586138 h 4687251"/>
              <a:gd name="connsiteX3739" fmla="*/ 2635435 w 8079933"/>
              <a:gd name="connsiteY3739" fmla="*/ 3582023 h 4687251"/>
              <a:gd name="connsiteX3740" fmla="*/ 2624583 w 8079933"/>
              <a:gd name="connsiteY3740" fmla="*/ 3586462 h 4687251"/>
              <a:gd name="connsiteX3741" fmla="*/ 2617638 w 8079933"/>
              <a:gd name="connsiteY3741" fmla="*/ 3584080 h 4687251"/>
              <a:gd name="connsiteX3742" fmla="*/ 2606786 w 8079933"/>
              <a:gd name="connsiteY3742" fmla="*/ 3584731 h 4687251"/>
              <a:gd name="connsiteX3743" fmla="*/ 2602988 w 8079933"/>
              <a:gd name="connsiteY3743" fmla="*/ 3582998 h 4687251"/>
              <a:gd name="connsiteX3744" fmla="*/ 2593981 w 8079933"/>
              <a:gd name="connsiteY3744" fmla="*/ 3583648 h 4687251"/>
              <a:gd name="connsiteX3745" fmla="*/ 2592245 w 8079933"/>
              <a:gd name="connsiteY3745" fmla="*/ 3578450 h 4687251"/>
              <a:gd name="connsiteX3746" fmla="*/ 2593981 w 8079933"/>
              <a:gd name="connsiteY3746" fmla="*/ 3573253 h 4687251"/>
              <a:gd name="connsiteX3747" fmla="*/ 2592571 w 8079933"/>
              <a:gd name="connsiteY3747" fmla="*/ 3567407 h 4687251"/>
              <a:gd name="connsiteX3748" fmla="*/ 2594958 w 8079933"/>
              <a:gd name="connsiteY3748" fmla="*/ 3552899 h 4687251"/>
              <a:gd name="connsiteX3749" fmla="*/ 2590075 w 8079933"/>
              <a:gd name="connsiteY3749" fmla="*/ 3545753 h 4687251"/>
              <a:gd name="connsiteX3750" fmla="*/ 2590075 w 8079933"/>
              <a:gd name="connsiteY3750" fmla="*/ 3538498 h 4687251"/>
              <a:gd name="connsiteX3751" fmla="*/ 2584215 w 8079933"/>
              <a:gd name="connsiteY3751" fmla="*/ 3534059 h 4687251"/>
              <a:gd name="connsiteX3752" fmla="*/ 2585626 w 8079933"/>
              <a:gd name="connsiteY3752" fmla="*/ 3528863 h 4687251"/>
              <a:gd name="connsiteX3753" fmla="*/ 2583456 w 8079933"/>
              <a:gd name="connsiteY3753" fmla="*/ 3526372 h 4687251"/>
              <a:gd name="connsiteX3754" fmla="*/ 2586711 w 8079933"/>
              <a:gd name="connsiteY3754" fmla="*/ 3521933 h 4687251"/>
              <a:gd name="connsiteX3755" fmla="*/ 2586059 w 8079933"/>
              <a:gd name="connsiteY3755" fmla="*/ 3518469 h 4687251"/>
              <a:gd name="connsiteX3756" fmla="*/ 2597780 w 8079933"/>
              <a:gd name="connsiteY3756" fmla="*/ 3494974 h 4687251"/>
              <a:gd name="connsiteX3757" fmla="*/ 2597128 w 8079933"/>
              <a:gd name="connsiteY3757" fmla="*/ 3483280 h 4687251"/>
              <a:gd name="connsiteX3758" fmla="*/ 2584649 w 8079933"/>
              <a:gd name="connsiteY3758" fmla="*/ 3461627 h 4687251"/>
              <a:gd name="connsiteX3759" fmla="*/ 2572278 w 8079933"/>
              <a:gd name="connsiteY3759" fmla="*/ 3458919 h 4687251"/>
              <a:gd name="connsiteX3760" fmla="*/ 2572929 w 8079933"/>
              <a:gd name="connsiteY3760" fmla="*/ 3449284 h 4687251"/>
              <a:gd name="connsiteX3761" fmla="*/ 2570867 w 8079933"/>
              <a:gd name="connsiteY3761" fmla="*/ 3434125 h 4687251"/>
              <a:gd name="connsiteX3762" fmla="*/ 2528763 w 8079933"/>
              <a:gd name="connsiteY3762" fmla="*/ 3433476 h 4687251"/>
              <a:gd name="connsiteX3763" fmla="*/ 2529414 w 8079933"/>
              <a:gd name="connsiteY3763" fmla="*/ 3422649 h 4687251"/>
              <a:gd name="connsiteX3764" fmla="*/ 2520407 w 8079933"/>
              <a:gd name="connsiteY3764" fmla="*/ 3407491 h 4687251"/>
              <a:gd name="connsiteX3765" fmla="*/ 2523120 w 8079933"/>
              <a:gd name="connsiteY3765" fmla="*/ 3401970 h 4687251"/>
              <a:gd name="connsiteX3766" fmla="*/ 2521058 w 8079933"/>
              <a:gd name="connsiteY3766" fmla="*/ 3392983 h 4687251"/>
              <a:gd name="connsiteX3767" fmla="*/ 2522469 w 8079933"/>
              <a:gd name="connsiteY3767" fmla="*/ 3382156 h 4687251"/>
              <a:gd name="connsiteX3768" fmla="*/ 2520407 w 8079933"/>
              <a:gd name="connsiteY3768" fmla="*/ 3378042 h 4687251"/>
              <a:gd name="connsiteX3769" fmla="*/ 2510749 w 8079933"/>
              <a:gd name="connsiteY3769" fmla="*/ 3372520 h 4687251"/>
              <a:gd name="connsiteX3770" fmla="*/ 2496968 w 8079933"/>
              <a:gd name="connsiteY3770" fmla="*/ 3373927 h 4687251"/>
              <a:gd name="connsiteX3771" fmla="*/ 2490782 w 8079933"/>
              <a:gd name="connsiteY3771" fmla="*/ 3370463 h 4687251"/>
              <a:gd name="connsiteX3772" fmla="*/ 2485899 w 8079933"/>
              <a:gd name="connsiteY3772" fmla="*/ 3369055 h 4687251"/>
              <a:gd name="connsiteX3773" fmla="*/ 2484488 w 8079933"/>
              <a:gd name="connsiteY3773" fmla="*/ 3362126 h 4687251"/>
              <a:gd name="connsiteX3774" fmla="*/ 2477977 w 8079933"/>
              <a:gd name="connsiteY3774" fmla="*/ 3359744 h 4687251"/>
              <a:gd name="connsiteX3775" fmla="*/ 2467126 w 8079933"/>
              <a:gd name="connsiteY3775" fmla="*/ 3356279 h 4687251"/>
              <a:gd name="connsiteX3776" fmla="*/ 2463328 w 8079933"/>
              <a:gd name="connsiteY3776" fmla="*/ 3356279 h 4687251"/>
              <a:gd name="connsiteX3777" fmla="*/ 2454755 w 8079933"/>
              <a:gd name="connsiteY3777" fmla="*/ 3346968 h 4687251"/>
              <a:gd name="connsiteX3778" fmla="*/ 2448569 w 8079933"/>
              <a:gd name="connsiteY3778" fmla="*/ 3348700 h 4687251"/>
              <a:gd name="connsiteX3779" fmla="*/ 2440322 w 8079933"/>
              <a:gd name="connsiteY3779" fmla="*/ 3340471 h 4687251"/>
              <a:gd name="connsiteX3780" fmla="*/ 2430339 w 8079933"/>
              <a:gd name="connsiteY3780" fmla="*/ 3342853 h 4687251"/>
              <a:gd name="connsiteX3781" fmla="*/ 2428276 w 8079933"/>
              <a:gd name="connsiteY3781" fmla="*/ 3345235 h 4687251"/>
              <a:gd name="connsiteX3782" fmla="*/ 2423068 w 8079933"/>
              <a:gd name="connsiteY3782" fmla="*/ 3340471 h 4687251"/>
              <a:gd name="connsiteX3783" fmla="*/ 2415472 w 8079933"/>
              <a:gd name="connsiteY3783" fmla="*/ 3335600 h 4687251"/>
              <a:gd name="connsiteX3784" fmla="*/ 2409937 w 8079933"/>
              <a:gd name="connsiteY3784" fmla="*/ 3332893 h 4687251"/>
              <a:gd name="connsiteX3785" fmla="*/ 2408201 w 8079933"/>
              <a:gd name="connsiteY3785" fmla="*/ 3325639 h 4687251"/>
              <a:gd name="connsiteX3786" fmla="*/ 2402666 w 8079933"/>
              <a:gd name="connsiteY3786" fmla="*/ 3323257 h 4687251"/>
              <a:gd name="connsiteX3787" fmla="*/ 2398543 w 8079933"/>
              <a:gd name="connsiteY3787" fmla="*/ 3314270 h 4687251"/>
              <a:gd name="connsiteX3788" fmla="*/ 2400605 w 8079933"/>
              <a:gd name="connsiteY3788" fmla="*/ 3309506 h 4687251"/>
              <a:gd name="connsiteX3789" fmla="*/ 2397458 w 8079933"/>
              <a:gd name="connsiteY3789" fmla="*/ 3298679 h 4687251"/>
              <a:gd name="connsiteX3790" fmla="*/ 6896342 w 8079933"/>
              <a:gd name="connsiteY3790" fmla="*/ 3295324 h 4687251"/>
              <a:gd name="connsiteX3791" fmla="*/ 6898186 w 8079933"/>
              <a:gd name="connsiteY3791" fmla="*/ 3295324 h 4687251"/>
              <a:gd name="connsiteX3792" fmla="*/ 6896342 w 8079933"/>
              <a:gd name="connsiteY3792" fmla="*/ 3300196 h 4687251"/>
              <a:gd name="connsiteX3793" fmla="*/ 6893846 w 8079933"/>
              <a:gd name="connsiteY3793" fmla="*/ 3299222 h 4687251"/>
              <a:gd name="connsiteX3794" fmla="*/ 7352763 w 8079933"/>
              <a:gd name="connsiteY3794" fmla="*/ 3294024 h 4687251"/>
              <a:gd name="connsiteX3795" fmla="*/ 7356018 w 8079933"/>
              <a:gd name="connsiteY3795" fmla="*/ 3294457 h 4687251"/>
              <a:gd name="connsiteX3796" fmla="*/ 7354065 w 8079933"/>
              <a:gd name="connsiteY3796" fmla="*/ 3297056 h 4687251"/>
              <a:gd name="connsiteX3797" fmla="*/ 4467196 w 8079933"/>
              <a:gd name="connsiteY3797" fmla="*/ 3292833 h 4687251"/>
              <a:gd name="connsiteX3798" fmla="*/ 4467196 w 8079933"/>
              <a:gd name="connsiteY3798" fmla="*/ 3292834 h 4687251"/>
              <a:gd name="connsiteX3799" fmla="*/ 4470017 w 8079933"/>
              <a:gd name="connsiteY3799" fmla="*/ 3294998 h 4687251"/>
              <a:gd name="connsiteX3800" fmla="*/ 4470017 w 8079933"/>
              <a:gd name="connsiteY3800" fmla="*/ 3294997 h 4687251"/>
              <a:gd name="connsiteX3801" fmla="*/ 4624356 w 8079933"/>
              <a:gd name="connsiteY3801" fmla="*/ 3287585 h 4687251"/>
              <a:gd name="connsiteX3802" fmla="*/ 4624001 w 8079933"/>
              <a:gd name="connsiteY3802" fmla="*/ 3289909 h 4687251"/>
              <a:gd name="connsiteX3803" fmla="*/ 4623141 w 8079933"/>
              <a:gd name="connsiteY3803" fmla="*/ 3290364 h 4687251"/>
              <a:gd name="connsiteX3804" fmla="*/ 4624001 w 8079933"/>
              <a:gd name="connsiteY3804" fmla="*/ 3289909 h 4687251"/>
              <a:gd name="connsiteX3805" fmla="*/ 4624721 w 8079933"/>
              <a:gd name="connsiteY3805" fmla="*/ 3284652 h 4687251"/>
              <a:gd name="connsiteX3806" fmla="*/ 4624761 w 8079933"/>
              <a:gd name="connsiteY3806" fmla="*/ 3284929 h 4687251"/>
              <a:gd name="connsiteX3807" fmla="*/ 4624761 w 8079933"/>
              <a:gd name="connsiteY3807" fmla="*/ 3284928 h 4687251"/>
              <a:gd name="connsiteX3808" fmla="*/ 7560029 w 8079933"/>
              <a:gd name="connsiteY3808" fmla="*/ 3284063 h 4687251"/>
              <a:gd name="connsiteX3809" fmla="*/ 7563176 w 8079933"/>
              <a:gd name="connsiteY3809" fmla="*/ 3284604 h 4687251"/>
              <a:gd name="connsiteX3810" fmla="*/ 7565238 w 8079933"/>
              <a:gd name="connsiteY3810" fmla="*/ 3286661 h 4687251"/>
              <a:gd name="connsiteX3811" fmla="*/ 7565564 w 8079933"/>
              <a:gd name="connsiteY3811" fmla="*/ 3287852 h 4687251"/>
              <a:gd name="connsiteX3812" fmla="*/ 7567300 w 8079933"/>
              <a:gd name="connsiteY3812" fmla="*/ 3288393 h 4687251"/>
              <a:gd name="connsiteX3813" fmla="*/ 7567951 w 8079933"/>
              <a:gd name="connsiteY3813" fmla="*/ 3289909 h 4687251"/>
              <a:gd name="connsiteX3814" fmla="*/ 7570989 w 8079933"/>
              <a:gd name="connsiteY3814" fmla="*/ 3287527 h 4687251"/>
              <a:gd name="connsiteX3815" fmla="*/ 7573159 w 8079933"/>
              <a:gd name="connsiteY3815" fmla="*/ 3287419 h 4687251"/>
              <a:gd name="connsiteX3816" fmla="*/ 7573485 w 8079933"/>
              <a:gd name="connsiteY3816" fmla="*/ 3289801 h 4687251"/>
              <a:gd name="connsiteX3817" fmla="*/ 7571314 w 8079933"/>
              <a:gd name="connsiteY3817" fmla="*/ 3291425 h 4687251"/>
              <a:gd name="connsiteX3818" fmla="*/ 7570772 w 8079933"/>
              <a:gd name="connsiteY3818" fmla="*/ 3293373 h 4687251"/>
              <a:gd name="connsiteX3819" fmla="*/ 7568167 w 8079933"/>
              <a:gd name="connsiteY3819" fmla="*/ 3294240 h 4687251"/>
              <a:gd name="connsiteX3820" fmla="*/ 7564912 w 8079933"/>
              <a:gd name="connsiteY3820" fmla="*/ 3293373 h 4687251"/>
              <a:gd name="connsiteX3821" fmla="*/ 7565129 w 8079933"/>
              <a:gd name="connsiteY3821" fmla="*/ 3290450 h 4687251"/>
              <a:gd name="connsiteX3822" fmla="*/ 7563936 w 8079933"/>
              <a:gd name="connsiteY3822" fmla="*/ 3289909 h 4687251"/>
              <a:gd name="connsiteX3823" fmla="*/ 7561982 w 8079933"/>
              <a:gd name="connsiteY3823" fmla="*/ 3285903 h 4687251"/>
              <a:gd name="connsiteX3824" fmla="*/ 7560246 w 8079933"/>
              <a:gd name="connsiteY3824" fmla="*/ 3285146 h 4687251"/>
              <a:gd name="connsiteX3825" fmla="*/ 4464483 w 8079933"/>
              <a:gd name="connsiteY3825" fmla="*/ 3280924 h 4687251"/>
              <a:gd name="connsiteX3826" fmla="*/ 4467521 w 8079933"/>
              <a:gd name="connsiteY3826" fmla="*/ 3283846 h 4687251"/>
              <a:gd name="connsiteX3827" fmla="*/ 4467521 w 8079933"/>
              <a:gd name="connsiteY3827" fmla="*/ 3283846 h 4687251"/>
              <a:gd name="connsiteX3828" fmla="*/ 7556665 w 8079933"/>
              <a:gd name="connsiteY3828" fmla="*/ 3275834 h 4687251"/>
              <a:gd name="connsiteX3829" fmla="*/ 7559378 w 8079933"/>
              <a:gd name="connsiteY3829" fmla="*/ 3276375 h 4687251"/>
              <a:gd name="connsiteX3830" fmla="*/ 7561224 w 8079933"/>
              <a:gd name="connsiteY3830" fmla="*/ 3276375 h 4687251"/>
              <a:gd name="connsiteX3831" fmla="*/ 7562091 w 8079933"/>
              <a:gd name="connsiteY3831" fmla="*/ 3278324 h 4687251"/>
              <a:gd name="connsiteX3832" fmla="*/ 7561440 w 8079933"/>
              <a:gd name="connsiteY3832" fmla="*/ 3279190 h 4687251"/>
              <a:gd name="connsiteX3833" fmla="*/ 7562959 w 8079933"/>
              <a:gd name="connsiteY3833" fmla="*/ 3279190 h 4687251"/>
              <a:gd name="connsiteX3834" fmla="*/ 7564261 w 8079933"/>
              <a:gd name="connsiteY3834" fmla="*/ 3281247 h 4687251"/>
              <a:gd name="connsiteX3835" fmla="*/ 7563068 w 8079933"/>
              <a:gd name="connsiteY3835" fmla="*/ 3282871 h 4687251"/>
              <a:gd name="connsiteX3836" fmla="*/ 7562091 w 8079933"/>
              <a:gd name="connsiteY3836" fmla="*/ 3281464 h 4687251"/>
              <a:gd name="connsiteX3837" fmla="*/ 7558835 w 8079933"/>
              <a:gd name="connsiteY3837" fmla="*/ 3281788 h 4687251"/>
              <a:gd name="connsiteX3838" fmla="*/ 7556557 w 8079933"/>
              <a:gd name="connsiteY3838" fmla="*/ 3280597 h 4687251"/>
              <a:gd name="connsiteX3839" fmla="*/ 7555689 w 8079933"/>
              <a:gd name="connsiteY3839" fmla="*/ 3276483 h 4687251"/>
              <a:gd name="connsiteX3840" fmla="*/ 4737402 w 8079933"/>
              <a:gd name="connsiteY3840" fmla="*/ 3273560 h 4687251"/>
              <a:gd name="connsiteX3841" fmla="*/ 4737185 w 8079933"/>
              <a:gd name="connsiteY3841" fmla="*/ 3275293 h 4687251"/>
              <a:gd name="connsiteX3842" fmla="*/ 4734472 w 8079933"/>
              <a:gd name="connsiteY3842" fmla="*/ 3281356 h 4687251"/>
              <a:gd name="connsiteX3843" fmla="*/ 4735014 w 8079933"/>
              <a:gd name="connsiteY3843" fmla="*/ 3283630 h 4687251"/>
              <a:gd name="connsiteX3844" fmla="*/ 4739138 w 8079933"/>
              <a:gd name="connsiteY3844" fmla="*/ 3286553 h 4687251"/>
              <a:gd name="connsiteX3845" fmla="*/ 4740440 w 8079933"/>
              <a:gd name="connsiteY3845" fmla="*/ 3290126 h 4687251"/>
              <a:gd name="connsiteX3846" fmla="*/ 4740765 w 8079933"/>
              <a:gd name="connsiteY3846" fmla="*/ 3295106 h 4687251"/>
              <a:gd name="connsiteX3847" fmla="*/ 4739572 w 8079933"/>
              <a:gd name="connsiteY3847" fmla="*/ 3296730 h 4687251"/>
              <a:gd name="connsiteX3848" fmla="*/ 4739572 w 8079933"/>
              <a:gd name="connsiteY3848" fmla="*/ 3298138 h 4687251"/>
              <a:gd name="connsiteX3849" fmla="*/ 4734146 w 8079933"/>
              <a:gd name="connsiteY3849" fmla="*/ 3303660 h 4687251"/>
              <a:gd name="connsiteX3850" fmla="*/ 4733387 w 8079933"/>
              <a:gd name="connsiteY3850" fmla="*/ 3307665 h 4687251"/>
              <a:gd name="connsiteX3851" fmla="*/ 4734905 w 8079933"/>
              <a:gd name="connsiteY3851" fmla="*/ 3311780 h 4687251"/>
              <a:gd name="connsiteX3852" fmla="*/ 4735340 w 8079933"/>
              <a:gd name="connsiteY3852" fmla="*/ 3315352 h 4687251"/>
              <a:gd name="connsiteX3853" fmla="*/ 4736208 w 8079933"/>
              <a:gd name="connsiteY3853" fmla="*/ 3318276 h 4687251"/>
              <a:gd name="connsiteX3854" fmla="*/ 4734363 w 8079933"/>
              <a:gd name="connsiteY3854" fmla="*/ 3321307 h 4687251"/>
              <a:gd name="connsiteX3855" fmla="*/ 4736534 w 8079933"/>
              <a:gd name="connsiteY3855" fmla="*/ 3325097 h 4687251"/>
              <a:gd name="connsiteX3856" fmla="*/ 4735557 w 8079933"/>
              <a:gd name="connsiteY3856" fmla="*/ 3327587 h 4687251"/>
              <a:gd name="connsiteX3857" fmla="*/ 4734363 w 8079933"/>
              <a:gd name="connsiteY3857" fmla="*/ 3328670 h 4687251"/>
              <a:gd name="connsiteX3858" fmla="*/ 4735340 w 8079933"/>
              <a:gd name="connsiteY3858" fmla="*/ 3331810 h 4687251"/>
              <a:gd name="connsiteX3859" fmla="*/ 4735774 w 8079933"/>
              <a:gd name="connsiteY3859" fmla="*/ 3334084 h 4687251"/>
              <a:gd name="connsiteX3860" fmla="*/ 4738270 w 8079933"/>
              <a:gd name="connsiteY3860" fmla="*/ 3335707 h 4687251"/>
              <a:gd name="connsiteX3861" fmla="*/ 4738703 w 8079933"/>
              <a:gd name="connsiteY3861" fmla="*/ 3337440 h 4687251"/>
              <a:gd name="connsiteX3862" fmla="*/ 4736425 w 8079933"/>
              <a:gd name="connsiteY3862" fmla="*/ 3338089 h 4687251"/>
              <a:gd name="connsiteX3863" fmla="*/ 4735123 w 8079933"/>
              <a:gd name="connsiteY3863" fmla="*/ 3340471 h 4687251"/>
              <a:gd name="connsiteX3864" fmla="*/ 4731759 w 8079933"/>
              <a:gd name="connsiteY3864" fmla="*/ 3342095 h 4687251"/>
              <a:gd name="connsiteX3865" fmla="*/ 4726441 w 8079933"/>
              <a:gd name="connsiteY3865" fmla="*/ 3345993 h 4687251"/>
              <a:gd name="connsiteX3866" fmla="*/ 4725464 w 8079933"/>
              <a:gd name="connsiteY3866" fmla="*/ 3347833 h 4687251"/>
              <a:gd name="connsiteX3867" fmla="*/ 4725682 w 8079933"/>
              <a:gd name="connsiteY3867" fmla="*/ 3351190 h 4687251"/>
              <a:gd name="connsiteX3868" fmla="*/ 4726333 w 8079933"/>
              <a:gd name="connsiteY3868" fmla="*/ 3353139 h 4687251"/>
              <a:gd name="connsiteX3869" fmla="*/ 4725573 w 8079933"/>
              <a:gd name="connsiteY3869" fmla="*/ 3355737 h 4687251"/>
              <a:gd name="connsiteX3870" fmla="*/ 4725573 w 8079933"/>
              <a:gd name="connsiteY3870" fmla="*/ 3359094 h 4687251"/>
              <a:gd name="connsiteX3871" fmla="*/ 4721883 w 8079933"/>
              <a:gd name="connsiteY3871" fmla="*/ 3363316 h 4687251"/>
              <a:gd name="connsiteX3872" fmla="*/ 4719388 w 8079933"/>
              <a:gd name="connsiteY3872" fmla="*/ 3364616 h 4687251"/>
              <a:gd name="connsiteX3873" fmla="*/ 4720147 w 8079933"/>
              <a:gd name="connsiteY3873" fmla="*/ 3366780 h 4687251"/>
              <a:gd name="connsiteX3874" fmla="*/ 4723511 w 8079933"/>
              <a:gd name="connsiteY3874" fmla="*/ 3370895 h 4687251"/>
              <a:gd name="connsiteX3875" fmla="*/ 4725573 w 8079933"/>
              <a:gd name="connsiteY3875" fmla="*/ 3375443 h 4687251"/>
              <a:gd name="connsiteX3876" fmla="*/ 4726008 w 8079933"/>
              <a:gd name="connsiteY3876" fmla="*/ 3377716 h 4687251"/>
              <a:gd name="connsiteX3877" fmla="*/ 4725790 w 8079933"/>
              <a:gd name="connsiteY3877" fmla="*/ 3377716 h 4687251"/>
              <a:gd name="connsiteX3878" fmla="*/ 4718737 w 8079933"/>
              <a:gd name="connsiteY3878" fmla="*/ 3380098 h 4687251"/>
              <a:gd name="connsiteX3879" fmla="*/ 4704521 w 8079933"/>
              <a:gd name="connsiteY3879" fmla="*/ 3385836 h 4687251"/>
              <a:gd name="connsiteX3880" fmla="*/ 4700180 w 8079933"/>
              <a:gd name="connsiteY3880" fmla="*/ 3386702 h 4687251"/>
              <a:gd name="connsiteX3881" fmla="*/ 4675872 w 8079933"/>
              <a:gd name="connsiteY3881" fmla="*/ 3396772 h 4687251"/>
              <a:gd name="connsiteX3882" fmla="*/ 4670881 w 8079933"/>
              <a:gd name="connsiteY3882" fmla="*/ 3396772 h 4687251"/>
              <a:gd name="connsiteX3883" fmla="*/ 4661548 w 8079933"/>
              <a:gd name="connsiteY3883" fmla="*/ 3401644 h 4687251"/>
              <a:gd name="connsiteX3884" fmla="*/ 4659487 w 8079933"/>
              <a:gd name="connsiteY3884" fmla="*/ 3405217 h 4687251"/>
              <a:gd name="connsiteX3885" fmla="*/ 4659487 w 8079933"/>
              <a:gd name="connsiteY3885" fmla="*/ 3405218 h 4687251"/>
              <a:gd name="connsiteX3886" fmla="*/ 4661549 w 8079933"/>
              <a:gd name="connsiteY3886" fmla="*/ 3401645 h 4687251"/>
              <a:gd name="connsiteX3887" fmla="*/ 4670881 w 8079933"/>
              <a:gd name="connsiteY3887" fmla="*/ 3396773 h 4687251"/>
              <a:gd name="connsiteX3888" fmla="*/ 4675873 w 8079933"/>
              <a:gd name="connsiteY3888" fmla="*/ 3396773 h 4687251"/>
              <a:gd name="connsiteX3889" fmla="*/ 4700180 w 8079933"/>
              <a:gd name="connsiteY3889" fmla="*/ 3386703 h 4687251"/>
              <a:gd name="connsiteX3890" fmla="*/ 4704521 w 8079933"/>
              <a:gd name="connsiteY3890" fmla="*/ 3385837 h 4687251"/>
              <a:gd name="connsiteX3891" fmla="*/ 4718737 w 8079933"/>
              <a:gd name="connsiteY3891" fmla="*/ 3380099 h 4687251"/>
              <a:gd name="connsiteX3892" fmla="*/ 4725790 w 8079933"/>
              <a:gd name="connsiteY3892" fmla="*/ 3377717 h 4687251"/>
              <a:gd name="connsiteX3893" fmla="*/ 4726008 w 8079933"/>
              <a:gd name="connsiteY3893" fmla="*/ 3377717 h 4687251"/>
              <a:gd name="connsiteX3894" fmla="*/ 4732410 w 8079933"/>
              <a:gd name="connsiteY3894" fmla="*/ 3376201 h 4687251"/>
              <a:gd name="connsiteX3895" fmla="*/ 4733929 w 8079933"/>
              <a:gd name="connsiteY3895" fmla="*/ 3378691 h 4687251"/>
              <a:gd name="connsiteX3896" fmla="*/ 4734797 w 8079933"/>
              <a:gd name="connsiteY3896" fmla="*/ 3380965 h 4687251"/>
              <a:gd name="connsiteX3897" fmla="*/ 4736859 w 8079933"/>
              <a:gd name="connsiteY3897" fmla="*/ 3383456 h 4687251"/>
              <a:gd name="connsiteX3898" fmla="*/ 4737185 w 8079933"/>
              <a:gd name="connsiteY3898" fmla="*/ 3386270 h 4687251"/>
              <a:gd name="connsiteX3899" fmla="*/ 4741200 w 8079933"/>
              <a:gd name="connsiteY3899" fmla="*/ 3388760 h 4687251"/>
              <a:gd name="connsiteX3900" fmla="*/ 4741200 w 8079933"/>
              <a:gd name="connsiteY3900" fmla="*/ 3388760 h 4687251"/>
              <a:gd name="connsiteX3901" fmla="*/ 4737186 w 8079933"/>
              <a:gd name="connsiteY3901" fmla="*/ 3386270 h 4687251"/>
              <a:gd name="connsiteX3902" fmla="*/ 4736860 w 8079933"/>
              <a:gd name="connsiteY3902" fmla="*/ 3383455 h 4687251"/>
              <a:gd name="connsiteX3903" fmla="*/ 4734798 w 8079933"/>
              <a:gd name="connsiteY3903" fmla="*/ 3380965 h 4687251"/>
              <a:gd name="connsiteX3904" fmla="*/ 4733930 w 8079933"/>
              <a:gd name="connsiteY3904" fmla="*/ 3378692 h 4687251"/>
              <a:gd name="connsiteX3905" fmla="*/ 4732411 w 8079933"/>
              <a:gd name="connsiteY3905" fmla="*/ 3376201 h 4687251"/>
              <a:gd name="connsiteX3906" fmla="*/ 4726009 w 8079933"/>
              <a:gd name="connsiteY3906" fmla="*/ 3377717 h 4687251"/>
              <a:gd name="connsiteX3907" fmla="*/ 4725574 w 8079933"/>
              <a:gd name="connsiteY3907" fmla="*/ 3375443 h 4687251"/>
              <a:gd name="connsiteX3908" fmla="*/ 4723512 w 8079933"/>
              <a:gd name="connsiteY3908" fmla="*/ 3370896 h 4687251"/>
              <a:gd name="connsiteX3909" fmla="*/ 4720149 w 8079933"/>
              <a:gd name="connsiteY3909" fmla="*/ 3366782 h 4687251"/>
              <a:gd name="connsiteX3910" fmla="*/ 4719389 w 8079933"/>
              <a:gd name="connsiteY3910" fmla="*/ 3364616 h 4687251"/>
              <a:gd name="connsiteX3911" fmla="*/ 4721884 w 8079933"/>
              <a:gd name="connsiteY3911" fmla="*/ 3363317 h 4687251"/>
              <a:gd name="connsiteX3912" fmla="*/ 4725574 w 8079933"/>
              <a:gd name="connsiteY3912" fmla="*/ 3359094 h 4687251"/>
              <a:gd name="connsiteX3913" fmla="*/ 4725574 w 8079933"/>
              <a:gd name="connsiteY3913" fmla="*/ 3355738 h 4687251"/>
              <a:gd name="connsiteX3914" fmla="*/ 4726334 w 8079933"/>
              <a:gd name="connsiteY3914" fmla="*/ 3353139 h 4687251"/>
              <a:gd name="connsiteX3915" fmla="*/ 4725683 w 8079933"/>
              <a:gd name="connsiteY3915" fmla="*/ 3351191 h 4687251"/>
              <a:gd name="connsiteX3916" fmla="*/ 4725465 w 8079933"/>
              <a:gd name="connsiteY3916" fmla="*/ 3347834 h 4687251"/>
              <a:gd name="connsiteX3917" fmla="*/ 4726442 w 8079933"/>
              <a:gd name="connsiteY3917" fmla="*/ 3345994 h 4687251"/>
              <a:gd name="connsiteX3918" fmla="*/ 4731760 w 8079933"/>
              <a:gd name="connsiteY3918" fmla="*/ 3342095 h 4687251"/>
              <a:gd name="connsiteX3919" fmla="*/ 4735124 w 8079933"/>
              <a:gd name="connsiteY3919" fmla="*/ 3340472 h 4687251"/>
              <a:gd name="connsiteX3920" fmla="*/ 4736426 w 8079933"/>
              <a:gd name="connsiteY3920" fmla="*/ 3338090 h 4687251"/>
              <a:gd name="connsiteX3921" fmla="*/ 4738704 w 8079933"/>
              <a:gd name="connsiteY3921" fmla="*/ 3337440 h 4687251"/>
              <a:gd name="connsiteX3922" fmla="*/ 4738271 w 8079933"/>
              <a:gd name="connsiteY3922" fmla="*/ 3335708 h 4687251"/>
              <a:gd name="connsiteX3923" fmla="*/ 4735775 w 8079933"/>
              <a:gd name="connsiteY3923" fmla="*/ 3334084 h 4687251"/>
              <a:gd name="connsiteX3924" fmla="*/ 4735341 w 8079933"/>
              <a:gd name="connsiteY3924" fmla="*/ 3331810 h 4687251"/>
              <a:gd name="connsiteX3925" fmla="*/ 4734364 w 8079933"/>
              <a:gd name="connsiteY3925" fmla="*/ 3328670 h 4687251"/>
              <a:gd name="connsiteX3926" fmla="*/ 4735558 w 8079933"/>
              <a:gd name="connsiteY3926" fmla="*/ 3327587 h 4687251"/>
              <a:gd name="connsiteX3927" fmla="*/ 4736535 w 8079933"/>
              <a:gd name="connsiteY3927" fmla="*/ 3325097 h 4687251"/>
              <a:gd name="connsiteX3928" fmla="*/ 4734364 w 8079933"/>
              <a:gd name="connsiteY3928" fmla="*/ 3321308 h 4687251"/>
              <a:gd name="connsiteX3929" fmla="*/ 4736209 w 8079933"/>
              <a:gd name="connsiteY3929" fmla="*/ 3318276 h 4687251"/>
              <a:gd name="connsiteX3930" fmla="*/ 4735341 w 8079933"/>
              <a:gd name="connsiteY3930" fmla="*/ 3315353 h 4687251"/>
              <a:gd name="connsiteX3931" fmla="*/ 4734906 w 8079933"/>
              <a:gd name="connsiteY3931" fmla="*/ 3311780 h 4687251"/>
              <a:gd name="connsiteX3932" fmla="*/ 4733388 w 8079933"/>
              <a:gd name="connsiteY3932" fmla="*/ 3307666 h 4687251"/>
              <a:gd name="connsiteX3933" fmla="*/ 4734147 w 8079933"/>
              <a:gd name="connsiteY3933" fmla="*/ 3303660 h 4687251"/>
              <a:gd name="connsiteX3934" fmla="*/ 4739573 w 8079933"/>
              <a:gd name="connsiteY3934" fmla="*/ 3298138 h 4687251"/>
              <a:gd name="connsiteX3935" fmla="*/ 4739573 w 8079933"/>
              <a:gd name="connsiteY3935" fmla="*/ 3296730 h 4687251"/>
              <a:gd name="connsiteX3936" fmla="*/ 4740767 w 8079933"/>
              <a:gd name="connsiteY3936" fmla="*/ 3295106 h 4687251"/>
              <a:gd name="connsiteX3937" fmla="*/ 4740441 w 8079933"/>
              <a:gd name="connsiteY3937" fmla="*/ 3290126 h 4687251"/>
              <a:gd name="connsiteX3938" fmla="*/ 4739139 w 8079933"/>
              <a:gd name="connsiteY3938" fmla="*/ 3286553 h 4687251"/>
              <a:gd name="connsiteX3939" fmla="*/ 4735015 w 8079933"/>
              <a:gd name="connsiteY3939" fmla="*/ 3283630 h 4687251"/>
              <a:gd name="connsiteX3940" fmla="*/ 4734473 w 8079933"/>
              <a:gd name="connsiteY3940" fmla="*/ 3281356 h 4687251"/>
              <a:gd name="connsiteX3941" fmla="*/ 4737186 w 8079933"/>
              <a:gd name="connsiteY3941" fmla="*/ 3275293 h 4687251"/>
              <a:gd name="connsiteX3942" fmla="*/ 4737403 w 8079933"/>
              <a:gd name="connsiteY3942" fmla="*/ 3273561 h 4687251"/>
              <a:gd name="connsiteX3943" fmla="*/ 2378793 w 8079933"/>
              <a:gd name="connsiteY3943" fmla="*/ 3273127 h 4687251"/>
              <a:gd name="connsiteX3944" fmla="*/ 2371197 w 8079933"/>
              <a:gd name="connsiteY3944" fmla="*/ 3276917 h 4687251"/>
              <a:gd name="connsiteX3945" fmla="*/ 2363275 w 8079933"/>
              <a:gd name="connsiteY3945" fmla="*/ 3278324 h 4687251"/>
              <a:gd name="connsiteX3946" fmla="*/ 2352424 w 8079933"/>
              <a:gd name="connsiteY3946" fmla="*/ 3285578 h 4687251"/>
              <a:gd name="connsiteX3947" fmla="*/ 2348300 w 8079933"/>
              <a:gd name="connsiteY3947" fmla="*/ 3296406 h 4687251"/>
              <a:gd name="connsiteX3948" fmla="*/ 2341355 w 8079933"/>
              <a:gd name="connsiteY3948" fmla="*/ 3298463 h 4687251"/>
              <a:gd name="connsiteX3949" fmla="*/ 2335495 w 8079933"/>
              <a:gd name="connsiteY3949" fmla="*/ 3298463 h 4687251"/>
              <a:gd name="connsiteX3950" fmla="*/ 2330286 w 8079933"/>
              <a:gd name="connsiteY3950" fmla="*/ 3302576 h 4687251"/>
              <a:gd name="connsiteX3951" fmla="*/ 2326488 w 8079933"/>
              <a:gd name="connsiteY3951" fmla="*/ 3302576 h 4687251"/>
              <a:gd name="connsiteX3952" fmla="*/ 2319543 w 8079933"/>
              <a:gd name="connsiteY3952" fmla="*/ 3306366 h 4687251"/>
              <a:gd name="connsiteX3953" fmla="*/ 2312597 w 8079933"/>
              <a:gd name="connsiteY3953" fmla="*/ 3306366 h 4687251"/>
              <a:gd name="connsiteX3954" fmla="*/ 2297405 w 8079933"/>
              <a:gd name="connsiteY3954" fmla="*/ 3306366 h 4687251"/>
              <a:gd name="connsiteX3955" fmla="*/ 2296754 w 8079933"/>
              <a:gd name="connsiteY3955" fmla="*/ 3306366 h 4687251"/>
              <a:gd name="connsiteX3956" fmla="*/ 2294367 w 8079933"/>
              <a:gd name="connsiteY3956" fmla="*/ 3305284 h 4687251"/>
              <a:gd name="connsiteX3957" fmla="*/ 2291763 w 8079933"/>
              <a:gd name="connsiteY3957" fmla="*/ 3305284 h 4687251"/>
              <a:gd name="connsiteX3958" fmla="*/ 2286554 w 8079933"/>
              <a:gd name="connsiteY3958" fmla="*/ 3305284 h 4687251"/>
              <a:gd name="connsiteX3959" fmla="*/ 2281996 w 8079933"/>
              <a:gd name="connsiteY3959" fmla="*/ 3306583 h 4687251"/>
              <a:gd name="connsiteX3960" fmla="*/ 2277222 w 8079933"/>
              <a:gd name="connsiteY3960" fmla="*/ 3307341 h 4687251"/>
              <a:gd name="connsiteX3961" fmla="*/ 2275431 w 8079933"/>
              <a:gd name="connsiteY3961" fmla="*/ 3305621 h 4687251"/>
              <a:gd name="connsiteX3962" fmla="*/ 2275485 w 8079933"/>
              <a:gd name="connsiteY3962" fmla="*/ 3307016 h 4687251"/>
              <a:gd name="connsiteX3963" fmla="*/ 2278415 w 8079933"/>
              <a:gd name="connsiteY3963" fmla="*/ 3309832 h 4687251"/>
              <a:gd name="connsiteX3964" fmla="*/ 2283190 w 8079933"/>
              <a:gd name="connsiteY3964" fmla="*/ 3308965 h 4687251"/>
              <a:gd name="connsiteX3965" fmla="*/ 2287747 w 8079933"/>
              <a:gd name="connsiteY3965" fmla="*/ 3307775 h 4687251"/>
              <a:gd name="connsiteX3966" fmla="*/ 2292957 w 8079933"/>
              <a:gd name="connsiteY3966" fmla="*/ 3307341 h 4687251"/>
              <a:gd name="connsiteX3967" fmla="*/ 2295561 w 8079933"/>
              <a:gd name="connsiteY3967" fmla="*/ 3307016 h 4687251"/>
              <a:gd name="connsiteX3968" fmla="*/ 2297948 w 8079933"/>
              <a:gd name="connsiteY3968" fmla="*/ 3308099 h 4687251"/>
              <a:gd name="connsiteX3969" fmla="*/ 2298599 w 8079933"/>
              <a:gd name="connsiteY3969" fmla="*/ 3308423 h 4687251"/>
              <a:gd name="connsiteX3970" fmla="*/ 2313791 w 8079933"/>
              <a:gd name="connsiteY3970" fmla="*/ 3308423 h 4687251"/>
              <a:gd name="connsiteX3971" fmla="*/ 2320736 w 8079933"/>
              <a:gd name="connsiteY3971" fmla="*/ 3308749 h 4687251"/>
              <a:gd name="connsiteX3972" fmla="*/ 2327681 w 8079933"/>
              <a:gd name="connsiteY3972" fmla="*/ 3304959 h 4687251"/>
              <a:gd name="connsiteX3973" fmla="*/ 2331371 w 8079933"/>
              <a:gd name="connsiteY3973" fmla="*/ 3304959 h 4687251"/>
              <a:gd name="connsiteX3974" fmla="*/ 2336579 w 8079933"/>
              <a:gd name="connsiteY3974" fmla="*/ 3300844 h 4687251"/>
              <a:gd name="connsiteX3975" fmla="*/ 2342440 w 8079933"/>
              <a:gd name="connsiteY3975" fmla="*/ 3300844 h 4687251"/>
              <a:gd name="connsiteX3976" fmla="*/ 2349385 w 8079933"/>
              <a:gd name="connsiteY3976" fmla="*/ 3298787 h 4687251"/>
              <a:gd name="connsiteX3977" fmla="*/ 2353508 w 8079933"/>
              <a:gd name="connsiteY3977" fmla="*/ 3288069 h 4687251"/>
              <a:gd name="connsiteX3978" fmla="*/ 2364902 w 8079933"/>
              <a:gd name="connsiteY3978" fmla="*/ 3280815 h 4687251"/>
              <a:gd name="connsiteX3979" fmla="*/ 2372824 w 8079933"/>
              <a:gd name="connsiteY3979" fmla="*/ 3279515 h 4687251"/>
              <a:gd name="connsiteX3980" fmla="*/ 2380420 w 8079933"/>
              <a:gd name="connsiteY3980" fmla="*/ 3275726 h 4687251"/>
              <a:gd name="connsiteX3981" fmla="*/ 2385629 w 8079933"/>
              <a:gd name="connsiteY3981" fmla="*/ 3275726 h 4687251"/>
              <a:gd name="connsiteX3982" fmla="*/ 2390404 w 8079933"/>
              <a:gd name="connsiteY3982" fmla="*/ 3279191 h 4687251"/>
              <a:gd name="connsiteX3983" fmla="*/ 2395938 w 8079933"/>
              <a:gd name="connsiteY3983" fmla="*/ 3275726 h 4687251"/>
              <a:gd name="connsiteX3984" fmla="*/ 2397001 w 8079933"/>
              <a:gd name="connsiteY3984" fmla="*/ 3276623 h 4687251"/>
              <a:gd name="connsiteX3985" fmla="*/ 2397132 w 8079933"/>
              <a:gd name="connsiteY3985" fmla="*/ 3275509 h 4687251"/>
              <a:gd name="connsiteX3986" fmla="*/ 2394419 w 8079933"/>
              <a:gd name="connsiteY3986" fmla="*/ 3273127 h 4687251"/>
              <a:gd name="connsiteX3987" fmla="*/ 2388885 w 8079933"/>
              <a:gd name="connsiteY3987" fmla="*/ 3276592 h 4687251"/>
              <a:gd name="connsiteX3988" fmla="*/ 2384001 w 8079933"/>
              <a:gd name="connsiteY3988" fmla="*/ 3273127 h 4687251"/>
              <a:gd name="connsiteX3989" fmla="*/ 4463072 w 8079933"/>
              <a:gd name="connsiteY3989" fmla="*/ 3272044 h 4687251"/>
              <a:gd name="connsiteX3990" fmla="*/ 4463073 w 8079933"/>
              <a:gd name="connsiteY3990" fmla="*/ 3272045 h 4687251"/>
              <a:gd name="connsiteX3991" fmla="*/ 4465025 w 8079933"/>
              <a:gd name="connsiteY3991" fmla="*/ 3272370 h 4687251"/>
              <a:gd name="connsiteX3992" fmla="*/ 4465025 w 8079933"/>
              <a:gd name="connsiteY3992" fmla="*/ 3272369 h 4687251"/>
              <a:gd name="connsiteX3993" fmla="*/ 6802475 w 8079933"/>
              <a:gd name="connsiteY3993" fmla="*/ 3271721 h 4687251"/>
              <a:gd name="connsiteX3994" fmla="*/ 6808877 w 8079933"/>
              <a:gd name="connsiteY3994" fmla="*/ 3276702 h 4687251"/>
              <a:gd name="connsiteX3995" fmla="*/ 6813218 w 8079933"/>
              <a:gd name="connsiteY3995" fmla="*/ 3276702 h 4687251"/>
              <a:gd name="connsiteX3996" fmla="*/ 6817559 w 8079933"/>
              <a:gd name="connsiteY3996" fmla="*/ 3274320 h 4687251"/>
              <a:gd name="connsiteX3997" fmla="*/ 6823202 w 8079933"/>
              <a:gd name="connsiteY3997" fmla="*/ 3277135 h 4687251"/>
              <a:gd name="connsiteX3998" fmla="*/ 6824720 w 8079933"/>
              <a:gd name="connsiteY3998" fmla="*/ 3281357 h 4687251"/>
              <a:gd name="connsiteX3999" fmla="*/ 6829387 w 8079933"/>
              <a:gd name="connsiteY3999" fmla="*/ 3281357 h 4687251"/>
              <a:gd name="connsiteX4000" fmla="*/ 6833403 w 8079933"/>
              <a:gd name="connsiteY4000" fmla="*/ 3287420 h 4687251"/>
              <a:gd name="connsiteX4001" fmla="*/ 6837309 w 8079933"/>
              <a:gd name="connsiteY4001" fmla="*/ 3291210 h 4687251"/>
              <a:gd name="connsiteX4002" fmla="*/ 6837526 w 8079933"/>
              <a:gd name="connsiteY4002" fmla="*/ 3294241 h 4687251"/>
              <a:gd name="connsiteX4003" fmla="*/ 6831449 w 8079933"/>
              <a:gd name="connsiteY4003" fmla="*/ 3297381 h 4687251"/>
              <a:gd name="connsiteX4004" fmla="*/ 6824720 w 8079933"/>
              <a:gd name="connsiteY4004" fmla="*/ 3298030 h 4687251"/>
              <a:gd name="connsiteX4005" fmla="*/ 6819186 w 8079933"/>
              <a:gd name="connsiteY4005" fmla="*/ 3295649 h 4687251"/>
              <a:gd name="connsiteX4006" fmla="*/ 6815279 w 8079933"/>
              <a:gd name="connsiteY4006" fmla="*/ 3289910 h 4687251"/>
              <a:gd name="connsiteX4007" fmla="*/ 6811264 w 8079933"/>
              <a:gd name="connsiteY4007" fmla="*/ 3289153 h 4687251"/>
              <a:gd name="connsiteX4008" fmla="*/ 6807467 w 8079933"/>
              <a:gd name="connsiteY4008" fmla="*/ 3284496 h 4687251"/>
              <a:gd name="connsiteX4009" fmla="*/ 6802149 w 8079933"/>
              <a:gd name="connsiteY4009" fmla="*/ 3285363 h 4687251"/>
              <a:gd name="connsiteX4010" fmla="*/ 6795638 w 8079933"/>
              <a:gd name="connsiteY4010" fmla="*/ 3283955 h 4687251"/>
              <a:gd name="connsiteX4011" fmla="*/ 6791840 w 8079933"/>
              <a:gd name="connsiteY4011" fmla="*/ 3280490 h 4687251"/>
              <a:gd name="connsiteX4012" fmla="*/ 6792165 w 8079933"/>
              <a:gd name="connsiteY4012" fmla="*/ 3277135 h 4687251"/>
              <a:gd name="connsiteX4013" fmla="*/ 7547766 w 8079933"/>
              <a:gd name="connsiteY4013" fmla="*/ 3270637 h 4687251"/>
              <a:gd name="connsiteX4014" fmla="*/ 7550479 w 8079933"/>
              <a:gd name="connsiteY4014" fmla="*/ 3272153 h 4687251"/>
              <a:gd name="connsiteX4015" fmla="*/ 7553192 w 8079933"/>
              <a:gd name="connsiteY4015" fmla="*/ 3276050 h 4687251"/>
              <a:gd name="connsiteX4016" fmla="*/ 7552975 w 8079933"/>
              <a:gd name="connsiteY4016" fmla="*/ 3279298 h 4687251"/>
              <a:gd name="connsiteX4017" fmla="*/ 7551130 w 8079933"/>
              <a:gd name="connsiteY4017" fmla="*/ 3278757 h 4687251"/>
              <a:gd name="connsiteX4018" fmla="*/ 7549177 w 8079933"/>
              <a:gd name="connsiteY4018" fmla="*/ 3276267 h 4687251"/>
              <a:gd name="connsiteX4019" fmla="*/ 7547115 w 8079933"/>
              <a:gd name="connsiteY4019" fmla="*/ 3276483 h 4687251"/>
              <a:gd name="connsiteX4020" fmla="*/ 7545488 w 8079933"/>
              <a:gd name="connsiteY4020" fmla="*/ 3272261 h 4687251"/>
              <a:gd name="connsiteX4021" fmla="*/ 4626063 w 8079933"/>
              <a:gd name="connsiteY4021" fmla="*/ 3270420 h 4687251"/>
              <a:gd name="connsiteX4022" fmla="*/ 4625738 w 8079933"/>
              <a:gd name="connsiteY4022" fmla="*/ 3273235 h 4687251"/>
              <a:gd name="connsiteX4023" fmla="*/ 4625243 w 8079933"/>
              <a:gd name="connsiteY4023" fmla="*/ 3273729 h 4687251"/>
              <a:gd name="connsiteX4024" fmla="*/ 4625738 w 8079933"/>
              <a:gd name="connsiteY4024" fmla="*/ 3273236 h 4687251"/>
              <a:gd name="connsiteX4025" fmla="*/ 5053294 w 8079933"/>
              <a:gd name="connsiteY4025" fmla="*/ 3270096 h 4687251"/>
              <a:gd name="connsiteX4026" fmla="*/ 5052317 w 8079933"/>
              <a:gd name="connsiteY4026" fmla="*/ 3272262 h 4687251"/>
              <a:gd name="connsiteX4027" fmla="*/ 5051666 w 8079933"/>
              <a:gd name="connsiteY4027" fmla="*/ 3270312 h 4687251"/>
              <a:gd name="connsiteX4028" fmla="*/ 4460034 w 8079933"/>
              <a:gd name="connsiteY4028" fmla="*/ 3268038 h 4687251"/>
              <a:gd name="connsiteX4029" fmla="*/ 4460034 w 8079933"/>
              <a:gd name="connsiteY4029" fmla="*/ 3268039 h 4687251"/>
              <a:gd name="connsiteX4030" fmla="*/ 4461553 w 8079933"/>
              <a:gd name="connsiteY4030" fmla="*/ 3269122 h 4687251"/>
              <a:gd name="connsiteX4031" fmla="*/ 4461552 w 8079933"/>
              <a:gd name="connsiteY4031" fmla="*/ 3269121 h 4687251"/>
              <a:gd name="connsiteX4032" fmla="*/ 2273423 w 8079933"/>
              <a:gd name="connsiteY4032" fmla="*/ 3266523 h 4687251"/>
              <a:gd name="connsiteX4033" fmla="*/ 2264850 w 8079933"/>
              <a:gd name="connsiteY4033" fmla="*/ 3271503 h 4687251"/>
              <a:gd name="connsiteX4034" fmla="*/ 2254759 w 8079933"/>
              <a:gd name="connsiteY4034" fmla="*/ 3280706 h 4687251"/>
              <a:gd name="connsiteX4035" fmla="*/ 2242605 w 8079933"/>
              <a:gd name="connsiteY4035" fmla="*/ 3279948 h 4687251"/>
              <a:gd name="connsiteX4036" fmla="*/ 2232999 w 8079933"/>
              <a:gd name="connsiteY4036" fmla="*/ 3279948 h 4687251"/>
              <a:gd name="connsiteX4037" fmla="*/ 2233489 w 8079933"/>
              <a:gd name="connsiteY4037" fmla="*/ 3282114 h 4687251"/>
              <a:gd name="connsiteX4038" fmla="*/ 2243798 w 8079933"/>
              <a:gd name="connsiteY4038" fmla="*/ 3282547 h 4687251"/>
              <a:gd name="connsiteX4039" fmla="*/ 2255952 w 8079933"/>
              <a:gd name="connsiteY4039" fmla="*/ 3283305 h 4687251"/>
              <a:gd name="connsiteX4040" fmla="*/ 2266044 w 8079933"/>
              <a:gd name="connsiteY4040" fmla="*/ 3274102 h 4687251"/>
              <a:gd name="connsiteX4041" fmla="*/ 2274508 w 8079933"/>
              <a:gd name="connsiteY4041" fmla="*/ 3269121 h 4687251"/>
              <a:gd name="connsiteX4042" fmla="*/ 2275582 w 8079933"/>
              <a:gd name="connsiteY4042" fmla="*/ 3270239 h 4687251"/>
              <a:gd name="connsiteX4043" fmla="*/ 2275811 w 8079933"/>
              <a:gd name="connsiteY4043" fmla="*/ 3269121 h 4687251"/>
              <a:gd name="connsiteX4044" fmla="*/ 2218514 w 8079933"/>
              <a:gd name="connsiteY4044" fmla="*/ 3264466 h 4687251"/>
              <a:gd name="connsiteX4045" fmla="*/ 2206887 w 8079933"/>
              <a:gd name="connsiteY4045" fmla="*/ 3265397 h 4687251"/>
              <a:gd name="connsiteX4046" fmla="*/ 2204949 w 8079933"/>
              <a:gd name="connsiteY4046" fmla="*/ 3267823 h 4687251"/>
              <a:gd name="connsiteX4047" fmla="*/ 2219708 w 8079933"/>
              <a:gd name="connsiteY4047" fmla="*/ 3266631 h 4687251"/>
              <a:gd name="connsiteX4048" fmla="*/ 2226761 w 8079933"/>
              <a:gd name="connsiteY4048" fmla="*/ 3267823 h 4687251"/>
              <a:gd name="connsiteX4049" fmla="*/ 2230921 w 8079933"/>
              <a:gd name="connsiteY4049" fmla="*/ 3273875 h 4687251"/>
              <a:gd name="connsiteX4050" fmla="*/ 2230776 w 8079933"/>
              <a:gd name="connsiteY4050" fmla="*/ 3273235 h 4687251"/>
              <a:gd name="connsiteX4051" fmla="*/ 2225568 w 8079933"/>
              <a:gd name="connsiteY4051" fmla="*/ 3265657 h 4687251"/>
              <a:gd name="connsiteX4052" fmla="*/ 7605714 w 8079933"/>
              <a:gd name="connsiteY4052" fmla="*/ 3263600 h 4687251"/>
              <a:gd name="connsiteX4053" fmla="*/ 7612442 w 8079933"/>
              <a:gd name="connsiteY4053" fmla="*/ 3269879 h 4687251"/>
              <a:gd name="connsiteX4054" fmla="*/ 7612876 w 8079933"/>
              <a:gd name="connsiteY4054" fmla="*/ 3272802 h 4687251"/>
              <a:gd name="connsiteX4055" fmla="*/ 7607558 w 8079933"/>
              <a:gd name="connsiteY4055" fmla="*/ 3269230 h 4687251"/>
              <a:gd name="connsiteX4056" fmla="*/ 7605714 w 8079933"/>
              <a:gd name="connsiteY4056" fmla="*/ 3269879 h 4687251"/>
              <a:gd name="connsiteX4057" fmla="*/ 7604412 w 8079933"/>
              <a:gd name="connsiteY4057" fmla="*/ 3267281 h 4687251"/>
              <a:gd name="connsiteX4058" fmla="*/ 4458525 w 8079933"/>
              <a:gd name="connsiteY4058" fmla="*/ 3263408 h 4687251"/>
              <a:gd name="connsiteX4059" fmla="*/ 4460034 w 8079933"/>
              <a:gd name="connsiteY4059" fmla="*/ 3265441 h 4687251"/>
              <a:gd name="connsiteX4060" fmla="*/ 4460034 w 8079933"/>
              <a:gd name="connsiteY4060" fmla="*/ 3265440 h 4687251"/>
              <a:gd name="connsiteX4061" fmla="*/ 4726876 w 8079933"/>
              <a:gd name="connsiteY4061" fmla="*/ 3262193 h 4687251"/>
              <a:gd name="connsiteX4062" fmla="*/ 4726984 w 8079933"/>
              <a:gd name="connsiteY4062" fmla="*/ 3262516 h 4687251"/>
              <a:gd name="connsiteX4063" fmla="*/ 4728286 w 8079933"/>
              <a:gd name="connsiteY4063" fmla="*/ 3265981 h 4687251"/>
              <a:gd name="connsiteX4064" fmla="*/ 4729914 w 8079933"/>
              <a:gd name="connsiteY4064" fmla="*/ 3267280 h 4687251"/>
              <a:gd name="connsiteX4065" fmla="*/ 4731108 w 8079933"/>
              <a:gd name="connsiteY4065" fmla="*/ 3270637 h 4687251"/>
              <a:gd name="connsiteX4066" fmla="*/ 4733381 w 8079933"/>
              <a:gd name="connsiteY4066" fmla="*/ 3271954 h 4687251"/>
              <a:gd name="connsiteX4067" fmla="*/ 4731109 w 8079933"/>
              <a:gd name="connsiteY4067" fmla="*/ 3270637 h 4687251"/>
              <a:gd name="connsiteX4068" fmla="*/ 4729915 w 8079933"/>
              <a:gd name="connsiteY4068" fmla="*/ 3267281 h 4687251"/>
              <a:gd name="connsiteX4069" fmla="*/ 4728287 w 8079933"/>
              <a:gd name="connsiteY4069" fmla="*/ 3265981 h 4687251"/>
              <a:gd name="connsiteX4070" fmla="*/ 4726985 w 8079933"/>
              <a:gd name="connsiteY4070" fmla="*/ 3262517 h 4687251"/>
              <a:gd name="connsiteX4071" fmla="*/ 4726877 w 8079933"/>
              <a:gd name="connsiteY4071" fmla="*/ 3262193 h 4687251"/>
              <a:gd name="connsiteX4072" fmla="*/ 5048194 w 8079933"/>
              <a:gd name="connsiteY4072" fmla="*/ 3260027 h 4687251"/>
              <a:gd name="connsiteX4073" fmla="*/ 5051775 w 8079933"/>
              <a:gd name="connsiteY4073" fmla="*/ 3261543 h 4687251"/>
              <a:gd name="connsiteX4074" fmla="*/ 5053837 w 8079933"/>
              <a:gd name="connsiteY4074" fmla="*/ 3262084 h 4687251"/>
              <a:gd name="connsiteX4075" fmla="*/ 5052752 w 8079933"/>
              <a:gd name="connsiteY4075" fmla="*/ 3263492 h 4687251"/>
              <a:gd name="connsiteX4076" fmla="*/ 5048085 w 8079933"/>
              <a:gd name="connsiteY4076" fmla="*/ 3264466 h 4687251"/>
              <a:gd name="connsiteX4077" fmla="*/ 5045590 w 8079933"/>
              <a:gd name="connsiteY4077" fmla="*/ 3263274 h 4687251"/>
              <a:gd name="connsiteX4078" fmla="*/ 6810180 w 8079933"/>
              <a:gd name="connsiteY4078" fmla="*/ 3256563 h 4687251"/>
              <a:gd name="connsiteX4079" fmla="*/ 6812242 w 8079933"/>
              <a:gd name="connsiteY4079" fmla="*/ 3257862 h 4687251"/>
              <a:gd name="connsiteX4080" fmla="*/ 6811808 w 8079933"/>
              <a:gd name="connsiteY4080" fmla="*/ 3260786 h 4687251"/>
              <a:gd name="connsiteX4081" fmla="*/ 6808552 w 8079933"/>
              <a:gd name="connsiteY4081" fmla="*/ 3261327 h 4687251"/>
              <a:gd name="connsiteX4082" fmla="*/ 6712514 w 8079933"/>
              <a:gd name="connsiteY4082" fmla="*/ 3256563 h 4687251"/>
              <a:gd name="connsiteX4083" fmla="*/ 6714034 w 8079933"/>
              <a:gd name="connsiteY4083" fmla="*/ 3259161 h 4687251"/>
              <a:gd name="connsiteX4084" fmla="*/ 6711537 w 8079933"/>
              <a:gd name="connsiteY4084" fmla="*/ 3260461 h 4687251"/>
              <a:gd name="connsiteX4085" fmla="*/ 6710235 w 8079933"/>
              <a:gd name="connsiteY4085" fmla="*/ 3258945 h 4687251"/>
              <a:gd name="connsiteX4086" fmla="*/ 7390092 w 8079933"/>
              <a:gd name="connsiteY4086" fmla="*/ 3254505 h 4687251"/>
              <a:gd name="connsiteX4087" fmla="*/ 7390743 w 8079933"/>
              <a:gd name="connsiteY4087" fmla="*/ 3256671 h 4687251"/>
              <a:gd name="connsiteX4088" fmla="*/ 7388790 w 8079933"/>
              <a:gd name="connsiteY4088" fmla="*/ 3255263 h 4687251"/>
              <a:gd name="connsiteX4089" fmla="*/ 7381628 w 8079933"/>
              <a:gd name="connsiteY4089" fmla="*/ 3254505 h 4687251"/>
              <a:gd name="connsiteX4090" fmla="*/ 7388356 w 8079933"/>
              <a:gd name="connsiteY4090" fmla="*/ 3257319 h 4687251"/>
              <a:gd name="connsiteX4091" fmla="*/ 7391503 w 8079933"/>
              <a:gd name="connsiteY4091" fmla="*/ 3261000 h 4687251"/>
              <a:gd name="connsiteX4092" fmla="*/ 6895799 w 8079933"/>
              <a:gd name="connsiteY4092" fmla="*/ 3254072 h 4687251"/>
              <a:gd name="connsiteX4093" fmla="*/ 6891892 w 8079933"/>
              <a:gd name="connsiteY4093" fmla="*/ 3255912 h 4687251"/>
              <a:gd name="connsiteX4094" fmla="*/ 6889179 w 8079933"/>
              <a:gd name="connsiteY4094" fmla="*/ 3258727 h 4687251"/>
              <a:gd name="connsiteX4095" fmla="*/ 6890807 w 8079933"/>
              <a:gd name="connsiteY4095" fmla="*/ 3254938 h 4687251"/>
              <a:gd name="connsiteX4096" fmla="*/ 4719171 w 8079933"/>
              <a:gd name="connsiteY4096" fmla="*/ 3253748 h 4687251"/>
              <a:gd name="connsiteX4097" fmla="*/ 4720690 w 8079933"/>
              <a:gd name="connsiteY4097" fmla="*/ 3257536 h 4687251"/>
              <a:gd name="connsiteX4098" fmla="*/ 4725031 w 8079933"/>
              <a:gd name="connsiteY4098" fmla="*/ 3262192 h 4687251"/>
              <a:gd name="connsiteX4099" fmla="*/ 4720691 w 8079933"/>
              <a:gd name="connsiteY4099" fmla="*/ 3257537 h 4687251"/>
              <a:gd name="connsiteX4100" fmla="*/ 4719172 w 8079933"/>
              <a:gd name="connsiteY4100" fmla="*/ 3253748 h 4687251"/>
              <a:gd name="connsiteX4101" fmla="*/ 6989883 w 8079933"/>
              <a:gd name="connsiteY4101" fmla="*/ 3253531 h 4687251"/>
              <a:gd name="connsiteX4102" fmla="*/ 6992162 w 8079933"/>
              <a:gd name="connsiteY4102" fmla="*/ 3255804 h 4687251"/>
              <a:gd name="connsiteX4103" fmla="*/ 6992053 w 8079933"/>
              <a:gd name="connsiteY4103" fmla="*/ 3257753 h 4687251"/>
              <a:gd name="connsiteX4104" fmla="*/ 6987387 w 8079933"/>
              <a:gd name="connsiteY4104" fmla="*/ 3260893 h 4687251"/>
              <a:gd name="connsiteX4105" fmla="*/ 6984674 w 8079933"/>
              <a:gd name="connsiteY4105" fmla="*/ 3261218 h 4687251"/>
              <a:gd name="connsiteX4106" fmla="*/ 6982829 w 8079933"/>
              <a:gd name="connsiteY4106" fmla="*/ 3264141 h 4687251"/>
              <a:gd name="connsiteX4107" fmla="*/ 6975885 w 8079933"/>
              <a:gd name="connsiteY4107" fmla="*/ 3266090 h 4687251"/>
              <a:gd name="connsiteX4108" fmla="*/ 6969156 w 8079933"/>
              <a:gd name="connsiteY4108" fmla="*/ 3270204 h 4687251"/>
              <a:gd name="connsiteX4109" fmla="*/ 6959390 w 8079933"/>
              <a:gd name="connsiteY4109" fmla="*/ 3272045 h 4687251"/>
              <a:gd name="connsiteX4110" fmla="*/ 6954941 w 8079933"/>
              <a:gd name="connsiteY4110" fmla="*/ 3271720 h 4687251"/>
              <a:gd name="connsiteX4111" fmla="*/ 6951034 w 8079933"/>
              <a:gd name="connsiteY4111" fmla="*/ 3272912 h 4687251"/>
              <a:gd name="connsiteX4112" fmla="*/ 6946585 w 8079933"/>
              <a:gd name="connsiteY4112" fmla="*/ 3277242 h 4687251"/>
              <a:gd name="connsiteX4113" fmla="*/ 6945934 w 8079933"/>
              <a:gd name="connsiteY4113" fmla="*/ 3277567 h 4687251"/>
              <a:gd name="connsiteX4114" fmla="*/ 6943438 w 8079933"/>
              <a:gd name="connsiteY4114" fmla="*/ 3278541 h 4687251"/>
              <a:gd name="connsiteX4115" fmla="*/ 6941268 w 8079933"/>
              <a:gd name="connsiteY4115" fmla="*/ 3281465 h 4687251"/>
              <a:gd name="connsiteX4116" fmla="*/ 6932261 w 8079933"/>
              <a:gd name="connsiteY4116" fmla="*/ 3288177 h 4687251"/>
              <a:gd name="connsiteX4117" fmla="*/ 6929331 w 8079933"/>
              <a:gd name="connsiteY4117" fmla="*/ 3292616 h 4687251"/>
              <a:gd name="connsiteX4118" fmla="*/ 6924882 w 8079933"/>
              <a:gd name="connsiteY4118" fmla="*/ 3295865 h 4687251"/>
              <a:gd name="connsiteX4119" fmla="*/ 6920975 w 8079933"/>
              <a:gd name="connsiteY4119" fmla="*/ 3295540 h 4687251"/>
              <a:gd name="connsiteX4120" fmla="*/ 6916743 w 8079933"/>
              <a:gd name="connsiteY4120" fmla="*/ 3296839 h 4687251"/>
              <a:gd name="connsiteX4121" fmla="*/ 6909907 w 8079933"/>
              <a:gd name="connsiteY4121" fmla="*/ 3301279 h 4687251"/>
              <a:gd name="connsiteX4122" fmla="*/ 6902093 w 8079933"/>
              <a:gd name="connsiteY4122" fmla="*/ 3301711 h 4687251"/>
              <a:gd name="connsiteX4123" fmla="*/ 6899706 w 8079933"/>
              <a:gd name="connsiteY4123" fmla="*/ 3299871 h 4687251"/>
              <a:gd name="connsiteX4124" fmla="*/ 6901117 w 8079933"/>
              <a:gd name="connsiteY4124" fmla="*/ 3294890 h 4687251"/>
              <a:gd name="connsiteX4125" fmla="*/ 6903070 w 8079933"/>
              <a:gd name="connsiteY4125" fmla="*/ 3296298 h 4687251"/>
              <a:gd name="connsiteX4126" fmla="*/ 6905674 w 8079933"/>
              <a:gd name="connsiteY4126" fmla="*/ 3296298 h 4687251"/>
              <a:gd name="connsiteX4127" fmla="*/ 6904915 w 8079933"/>
              <a:gd name="connsiteY4127" fmla="*/ 3294241 h 4687251"/>
              <a:gd name="connsiteX4128" fmla="*/ 6902961 w 8079933"/>
              <a:gd name="connsiteY4128" fmla="*/ 3292508 h 4687251"/>
              <a:gd name="connsiteX4129" fmla="*/ 6903612 w 8079933"/>
              <a:gd name="connsiteY4129" fmla="*/ 3290451 h 4687251"/>
              <a:gd name="connsiteX4130" fmla="*/ 6908170 w 8079933"/>
              <a:gd name="connsiteY4130" fmla="*/ 3283089 h 4687251"/>
              <a:gd name="connsiteX4131" fmla="*/ 6909798 w 8079933"/>
              <a:gd name="connsiteY4131" fmla="*/ 3278108 h 4687251"/>
              <a:gd name="connsiteX4132" fmla="*/ 6914464 w 8079933"/>
              <a:gd name="connsiteY4132" fmla="*/ 3275293 h 4687251"/>
              <a:gd name="connsiteX4133" fmla="*/ 6915875 w 8079933"/>
              <a:gd name="connsiteY4133" fmla="*/ 3273994 h 4687251"/>
              <a:gd name="connsiteX4134" fmla="*/ 6919672 w 8079933"/>
              <a:gd name="connsiteY4134" fmla="*/ 3270421 h 4687251"/>
              <a:gd name="connsiteX4135" fmla="*/ 6926075 w 8079933"/>
              <a:gd name="connsiteY4135" fmla="*/ 3269663 h 4687251"/>
              <a:gd name="connsiteX4136" fmla="*/ 6929005 w 8079933"/>
              <a:gd name="connsiteY4136" fmla="*/ 3268797 h 4687251"/>
              <a:gd name="connsiteX4137" fmla="*/ 6933129 w 8079933"/>
              <a:gd name="connsiteY4137" fmla="*/ 3267606 h 4687251"/>
              <a:gd name="connsiteX4138" fmla="*/ 6935191 w 8079933"/>
              <a:gd name="connsiteY4138" fmla="*/ 3266631 h 4687251"/>
              <a:gd name="connsiteX4139" fmla="*/ 6940834 w 8079933"/>
              <a:gd name="connsiteY4139" fmla="*/ 3263816 h 4687251"/>
              <a:gd name="connsiteX4140" fmla="*/ 6948430 w 8079933"/>
              <a:gd name="connsiteY4140" fmla="*/ 3257104 h 4687251"/>
              <a:gd name="connsiteX4141" fmla="*/ 6958413 w 8079933"/>
              <a:gd name="connsiteY4141" fmla="*/ 3257645 h 4687251"/>
              <a:gd name="connsiteX4142" fmla="*/ 6965033 w 8079933"/>
              <a:gd name="connsiteY4142" fmla="*/ 3256562 h 4687251"/>
              <a:gd name="connsiteX4143" fmla="*/ 6969807 w 8079933"/>
              <a:gd name="connsiteY4143" fmla="*/ 3256562 h 4687251"/>
              <a:gd name="connsiteX4144" fmla="*/ 6975125 w 8079933"/>
              <a:gd name="connsiteY4144" fmla="*/ 3255480 h 4687251"/>
              <a:gd name="connsiteX4145" fmla="*/ 6980876 w 8079933"/>
              <a:gd name="connsiteY4145" fmla="*/ 3255696 h 4687251"/>
              <a:gd name="connsiteX4146" fmla="*/ 6803885 w 8079933"/>
              <a:gd name="connsiteY4146" fmla="*/ 3252773 h 4687251"/>
              <a:gd name="connsiteX4147" fmla="*/ 6808008 w 8079933"/>
              <a:gd name="connsiteY4147" fmla="*/ 3254072 h 4687251"/>
              <a:gd name="connsiteX4148" fmla="*/ 6806164 w 8079933"/>
              <a:gd name="connsiteY4148" fmla="*/ 3255913 h 4687251"/>
              <a:gd name="connsiteX4149" fmla="*/ 6804645 w 8079933"/>
              <a:gd name="connsiteY4149" fmla="*/ 3261651 h 4687251"/>
              <a:gd name="connsiteX4150" fmla="*/ 6802149 w 8079933"/>
              <a:gd name="connsiteY4150" fmla="*/ 3258187 h 4687251"/>
              <a:gd name="connsiteX4151" fmla="*/ 7387487 w 8079933"/>
              <a:gd name="connsiteY4151" fmla="*/ 3252448 h 4687251"/>
              <a:gd name="connsiteX4152" fmla="*/ 7386293 w 8079933"/>
              <a:gd name="connsiteY4152" fmla="*/ 3253963 h 4687251"/>
              <a:gd name="connsiteX4153" fmla="*/ 7383364 w 8079933"/>
              <a:gd name="connsiteY4153" fmla="*/ 3252556 h 4687251"/>
              <a:gd name="connsiteX4154" fmla="*/ 4714076 w 8079933"/>
              <a:gd name="connsiteY4154" fmla="*/ 3251371 h 4687251"/>
              <a:gd name="connsiteX4155" fmla="*/ 4716024 w 8079933"/>
              <a:gd name="connsiteY4155" fmla="*/ 3253314 h 4687251"/>
              <a:gd name="connsiteX4156" fmla="*/ 4716024 w 8079933"/>
              <a:gd name="connsiteY4156" fmla="*/ 3253314 h 4687251"/>
              <a:gd name="connsiteX4157" fmla="*/ 7391937 w 8079933"/>
              <a:gd name="connsiteY4157" fmla="*/ 3249741 h 4687251"/>
              <a:gd name="connsiteX4158" fmla="*/ 7395626 w 8079933"/>
              <a:gd name="connsiteY4158" fmla="*/ 3249741 h 4687251"/>
              <a:gd name="connsiteX4159" fmla="*/ 7394432 w 8079933"/>
              <a:gd name="connsiteY4159" fmla="*/ 3252448 h 4687251"/>
              <a:gd name="connsiteX4160" fmla="*/ 7389224 w 8079933"/>
              <a:gd name="connsiteY4160" fmla="*/ 3252448 h 4687251"/>
              <a:gd name="connsiteX4161" fmla="*/ 6923471 w 8079933"/>
              <a:gd name="connsiteY4161" fmla="*/ 3249634 h 4687251"/>
              <a:gd name="connsiteX4162" fmla="*/ 6923905 w 8079933"/>
              <a:gd name="connsiteY4162" fmla="*/ 3251691 h 4687251"/>
              <a:gd name="connsiteX4163" fmla="*/ 6920216 w 8079933"/>
              <a:gd name="connsiteY4163" fmla="*/ 3256671 h 4687251"/>
              <a:gd name="connsiteX4164" fmla="*/ 6917828 w 8079933"/>
              <a:gd name="connsiteY4164" fmla="*/ 3254505 h 4687251"/>
              <a:gd name="connsiteX4165" fmla="*/ 6914573 w 8079933"/>
              <a:gd name="connsiteY4165" fmla="*/ 3254505 h 4687251"/>
              <a:gd name="connsiteX4166" fmla="*/ 6916743 w 8079933"/>
              <a:gd name="connsiteY4166" fmla="*/ 3252340 h 4687251"/>
              <a:gd name="connsiteX4167" fmla="*/ 6921084 w 8079933"/>
              <a:gd name="connsiteY4167" fmla="*/ 3251799 h 4687251"/>
              <a:gd name="connsiteX4168" fmla="*/ 7572509 w 8079933"/>
              <a:gd name="connsiteY4168" fmla="*/ 3248658 h 4687251"/>
              <a:gd name="connsiteX4169" fmla="*/ 7573269 w 8079933"/>
              <a:gd name="connsiteY4169" fmla="*/ 3254937 h 4687251"/>
              <a:gd name="connsiteX4170" fmla="*/ 7572618 w 8079933"/>
              <a:gd name="connsiteY4170" fmla="*/ 3258835 h 4687251"/>
              <a:gd name="connsiteX4171" fmla="*/ 7571749 w 8079933"/>
              <a:gd name="connsiteY4171" fmla="*/ 3258835 h 4687251"/>
              <a:gd name="connsiteX4172" fmla="*/ 7572183 w 8079933"/>
              <a:gd name="connsiteY4172" fmla="*/ 3257427 h 4687251"/>
              <a:gd name="connsiteX4173" fmla="*/ 7571749 w 8079933"/>
              <a:gd name="connsiteY4173" fmla="*/ 3254180 h 4687251"/>
              <a:gd name="connsiteX4174" fmla="*/ 7570664 w 8079933"/>
              <a:gd name="connsiteY4174" fmla="*/ 3254396 h 4687251"/>
              <a:gd name="connsiteX4175" fmla="*/ 7568819 w 8079933"/>
              <a:gd name="connsiteY4175" fmla="*/ 3251039 h 4687251"/>
              <a:gd name="connsiteX4176" fmla="*/ 7569905 w 8079933"/>
              <a:gd name="connsiteY4176" fmla="*/ 3249200 h 4687251"/>
              <a:gd name="connsiteX4177" fmla="*/ 6730636 w 8079933"/>
              <a:gd name="connsiteY4177" fmla="*/ 3247793 h 4687251"/>
              <a:gd name="connsiteX4178" fmla="*/ 6738232 w 8079933"/>
              <a:gd name="connsiteY4178" fmla="*/ 3250283 h 4687251"/>
              <a:gd name="connsiteX4179" fmla="*/ 6737148 w 8079933"/>
              <a:gd name="connsiteY4179" fmla="*/ 3255913 h 4687251"/>
              <a:gd name="connsiteX4180" fmla="*/ 6734977 w 8079933"/>
              <a:gd name="connsiteY4180" fmla="*/ 3258944 h 4687251"/>
              <a:gd name="connsiteX4181" fmla="*/ 6735411 w 8079933"/>
              <a:gd name="connsiteY4181" fmla="*/ 3262951 h 4687251"/>
              <a:gd name="connsiteX4182" fmla="*/ 6732155 w 8079933"/>
              <a:gd name="connsiteY4182" fmla="*/ 3261760 h 4687251"/>
              <a:gd name="connsiteX4183" fmla="*/ 6727598 w 8079933"/>
              <a:gd name="connsiteY4183" fmla="*/ 3263492 h 4687251"/>
              <a:gd name="connsiteX4184" fmla="*/ 6719893 w 8079933"/>
              <a:gd name="connsiteY4184" fmla="*/ 3261218 h 4687251"/>
              <a:gd name="connsiteX4185" fmla="*/ 6718265 w 8079933"/>
              <a:gd name="connsiteY4185" fmla="*/ 3259053 h 4687251"/>
              <a:gd name="connsiteX4186" fmla="*/ 6720327 w 8079933"/>
              <a:gd name="connsiteY4186" fmla="*/ 3257646 h 4687251"/>
              <a:gd name="connsiteX4187" fmla="*/ 6724559 w 8079933"/>
              <a:gd name="connsiteY4187" fmla="*/ 3257862 h 4687251"/>
              <a:gd name="connsiteX4188" fmla="*/ 6725645 w 8079933"/>
              <a:gd name="connsiteY4188" fmla="*/ 3251474 h 4687251"/>
              <a:gd name="connsiteX4189" fmla="*/ 6912184 w 8079933"/>
              <a:gd name="connsiteY4189" fmla="*/ 3247684 h 4687251"/>
              <a:gd name="connsiteX4190" fmla="*/ 6914030 w 8079933"/>
              <a:gd name="connsiteY4190" fmla="*/ 3248875 h 4687251"/>
              <a:gd name="connsiteX4191" fmla="*/ 6909146 w 8079933"/>
              <a:gd name="connsiteY4191" fmla="*/ 3253422 h 4687251"/>
              <a:gd name="connsiteX4192" fmla="*/ 6906867 w 8079933"/>
              <a:gd name="connsiteY4192" fmla="*/ 3256129 h 4687251"/>
              <a:gd name="connsiteX4193" fmla="*/ 6901984 w 8079933"/>
              <a:gd name="connsiteY4193" fmla="*/ 3257103 h 4687251"/>
              <a:gd name="connsiteX4194" fmla="*/ 6899814 w 8079933"/>
              <a:gd name="connsiteY4194" fmla="*/ 3255371 h 4687251"/>
              <a:gd name="connsiteX4195" fmla="*/ 6904480 w 8079933"/>
              <a:gd name="connsiteY4195" fmla="*/ 3252014 h 4687251"/>
              <a:gd name="connsiteX4196" fmla="*/ 6903503 w 8079933"/>
              <a:gd name="connsiteY4196" fmla="*/ 3249849 h 4687251"/>
              <a:gd name="connsiteX4197" fmla="*/ 6905565 w 8079933"/>
              <a:gd name="connsiteY4197" fmla="*/ 3248983 h 4687251"/>
              <a:gd name="connsiteX4198" fmla="*/ 6908929 w 8079933"/>
              <a:gd name="connsiteY4198" fmla="*/ 3249524 h 4687251"/>
              <a:gd name="connsiteX4199" fmla="*/ 6898294 w 8079933"/>
              <a:gd name="connsiteY4199" fmla="*/ 3246927 h 4687251"/>
              <a:gd name="connsiteX4200" fmla="*/ 6899054 w 8079933"/>
              <a:gd name="connsiteY4200" fmla="*/ 3248984 h 4687251"/>
              <a:gd name="connsiteX4201" fmla="*/ 6897644 w 8079933"/>
              <a:gd name="connsiteY4201" fmla="*/ 3251040 h 4687251"/>
              <a:gd name="connsiteX4202" fmla="*/ 6895148 w 8079933"/>
              <a:gd name="connsiteY4202" fmla="*/ 3249633 h 4687251"/>
              <a:gd name="connsiteX4203" fmla="*/ 7036545 w 8079933"/>
              <a:gd name="connsiteY4203" fmla="*/ 3246819 h 4687251"/>
              <a:gd name="connsiteX4204" fmla="*/ 7038498 w 8079933"/>
              <a:gd name="connsiteY4204" fmla="*/ 3248009 h 4687251"/>
              <a:gd name="connsiteX4205" fmla="*/ 7034592 w 8079933"/>
              <a:gd name="connsiteY4205" fmla="*/ 3248334 h 4687251"/>
              <a:gd name="connsiteX4206" fmla="*/ 7032096 w 8079933"/>
              <a:gd name="connsiteY4206" fmla="*/ 3247143 h 4687251"/>
              <a:gd name="connsiteX4207" fmla="*/ 6953530 w 8079933"/>
              <a:gd name="connsiteY4207" fmla="*/ 3245736 h 4687251"/>
              <a:gd name="connsiteX4208" fmla="*/ 6954832 w 8079933"/>
              <a:gd name="connsiteY4208" fmla="*/ 3247360 h 4687251"/>
              <a:gd name="connsiteX4209" fmla="*/ 6952987 w 8079933"/>
              <a:gd name="connsiteY4209" fmla="*/ 3248768 h 4687251"/>
              <a:gd name="connsiteX4210" fmla="*/ 6952119 w 8079933"/>
              <a:gd name="connsiteY4210" fmla="*/ 3247793 h 4687251"/>
              <a:gd name="connsiteX4211" fmla="*/ 7004641 w 8079933"/>
              <a:gd name="connsiteY4211" fmla="*/ 3245195 h 4687251"/>
              <a:gd name="connsiteX4212" fmla="*/ 7004424 w 8079933"/>
              <a:gd name="connsiteY4212" fmla="*/ 3247793 h 4687251"/>
              <a:gd name="connsiteX4213" fmla="*/ 7001386 w 8079933"/>
              <a:gd name="connsiteY4213" fmla="*/ 3246169 h 4687251"/>
              <a:gd name="connsiteX4214" fmla="*/ 6931935 w 8079933"/>
              <a:gd name="connsiteY4214" fmla="*/ 3245195 h 4687251"/>
              <a:gd name="connsiteX4215" fmla="*/ 6933996 w 8079933"/>
              <a:gd name="connsiteY4215" fmla="*/ 3246385 h 4687251"/>
              <a:gd name="connsiteX4216" fmla="*/ 6940617 w 8079933"/>
              <a:gd name="connsiteY4216" fmla="*/ 3245736 h 4687251"/>
              <a:gd name="connsiteX4217" fmla="*/ 6943004 w 8079933"/>
              <a:gd name="connsiteY4217" fmla="*/ 3247360 h 4687251"/>
              <a:gd name="connsiteX4218" fmla="*/ 6940291 w 8079933"/>
              <a:gd name="connsiteY4218" fmla="*/ 3250392 h 4687251"/>
              <a:gd name="connsiteX4219" fmla="*/ 6932152 w 8079933"/>
              <a:gd name="connsiteY4219" fmla="*/ 3253207 h 4687251"/>
              <a:gd name="connsiteX4220" fmla="*/ 6927920 w 8079933"/>
              <a:gd name="connsiteY4220" fmla="*/ 3252233 h 4687251"/>
              <a:gd name="connsiteX4221" fmla="*/ 6927486 w 8079933"/>
              <a:gd name="connsiteY4221" fmla="*/ 3250392 h 4687251"/>
              <a:gd name="connsiteX4222" fmla="*/ 6929114 w 8079933"/>
              <a:gd name="connsiteY4222" fmla="*/ 3248768 h 4687251"/>
              <a:gd name="connsiteX4223" fmla="*/ 6927160 w 8079933"/>
              <a:gd name="connsiteY4223" fmla="*/ 3247360 h 4687251"/>
              <a:gd name="connsiteX4224" fmla="*/ 7018966 w 8079933"/>
              <a:gd name="connsiteY4224" fmla="*/ 3244003 h 4687251"/>
              <a:gd name="connsiteX4225" fmla="*/ 7018966 w 8079933"/>
              <a:gd name="connsiteY4225" fmla="*/ 3246493 h 4687251"/>
              <a:gd name="connsiteX4226" fmla="*/ 7013323 w 8079933"/>
              <a:gd name="connsiteY4226" fmla="*/ 3248442 h 4687251"/>
              <a:gd name="connsiteX4227" fmla="*/ 7008656 w 8079933"/>
              <a:gd name="connsiteY4227" fmla="*/ 3246168 h 4687251"/>
              <a:gd name="connsiteX4228" fmla="*/ 7008005 w 8079933"/>
              <a:gd name="connsiteY4228" fmla="*/ 3244219 h 4687251"/>
              <a:gd name="connsiteX4229" fmla="*/ 7015059 w 8079933"/>
              <a:gd name="connsiteY4229" fmla="*/ 3244760 h 4687251"/>
              <a:gd name="connsiteX4230" fmla="*/ 6993465 w 8079933"/>
              <a:gd name="connsiteY4230" fmla="*/ 3243138 h 4687251"/>
              <a:gd name="connsiteX4231" fmla="*/ 6995852 w 8079933"/>
              <a:gd name="connsiteY4231" fmla="*/ 3245087 h 4687251"/>
              <a:gd name="connsiteX4232" fmla="*/ 6992922 w 8079933"/>
              <a:gd name="connsiteY4232" fmla="*/ 3246602 h 4687251"/>
              <a:gd name="connsiteX4233" fmla="*/ 6990426 w 8079933"/>
              <a:gd name="connsiteY4233" fmla="*/ 3244654 h 4687251"/>
              <a:gd name="connsiteX4234" fmla="*/ 7388356 w 8079933"/>
              <a:gd name="connsiteY4234" fmla="*/ 3242920 h 4687251"/>
              <a:gd name="connsiteX4235" fmla="*/ 7392589 w 8079933"/>
              <a:gd name="connsiteY4235" fmla="*/ 3243786 h 4687251"/>
              <a:gd name="connsiteX4236" fmla="*/ 7391503 w 8079933"/>
              <a:gd name="connsiteY4236" fmla="*/ 3244869 h 4687251"/>
              <a:gd name="connsiteX4237" fmla="*/ 7389116 w 8079933"/>
              <a:gd name="connsiteY4237" fmla="*/ 3244328 h 4687251"/>
              <a:gd name="connsiteX4238" fmla="*/ 6769920 w 8079933"/>
              <a:gd name="connsiteY4238" fmla="*/ 3242704 h 4687251"/>
              <a:gd name="connsiteX4239" fmla="*/ 6773826 w 8079933"/>
              <a:gd name="connsiteY4239" fmla="*/ 3244436 h 4687251"/>
              <a:gd name="connsiteX4240" fmla="*/ 6778275 w 8079933"/>
              <a:gd name="connsiteY4240" fmla="*/ 3247143 h 4687251"/>
              <a:gd name="connsiteX4241" fmla="*/ 6783159 w 8079933"/>
              <a:gd name="connsiteY4241" fmla="*/ 3245410 h 4687251"/>
              <a:gd name="connsiteX4242" fmla="*/ 6787933 w 8079933"/>
              <a:gd name="connsiteY4242" fmla="*/ 3248334 h 4687251"/>
              <a:gd name="connsiteX4243" fmla="*/ 6787933 w 8079933"/>
              <a:gd name="connsiteY4243" fmla="*/ 3252448 h 4687251"/>
              <a:gd name="connsiteX4244" fmla="*/ 6790321 w 8079933"/>
              <a:gd name="connsiteY4244" fmla="*/ 3251474 h 4687251"/>
              <a:gd name="connsiteX4245" fmla="*/ 6789669 w 8079933"/>
              <a:gd name="connsiteY4245" fmla="*/ 3247685 h 4687251"/>
              <a:gd name="connsiteX4246" fmla="*/ 6794661 w 8079933"/>
              <a:gd name="connsiteY4246" fmla="*/ 3249092 h 4687251"/>
              <a:gd name="connsiteX4247" fmla="*/ 6794661 w 8079933"/>
              <a:gd name="connsiteY4247" fmla="*/ 3252665 h 4687251"/>
              <a:gd name="connsiteX4248" fmla="*/ 6796072 w 8079933"/>
              <a:gd name="connsiteY4248" fmla="*/ 3256995 h 4687251"/>
              <a:gd name="connsiteX4249" fmla="*/ 6797808 w 8079933"/>
              <a:gd name="connsiteY4249" fmla="*/ 3254938 h 4687251"/>
              <a:gd name="connsiteX4250" fmla="*/ 6797808 w 8079933"/>
              <a:gd name="connsiteY4250" fmla="*/ 3260136 h 4687251"/>
              <a:gd name="connsiteX4251" fmla="*/ 6791623 w 8079933"/>
              <a:gd name="connsiteY4251" fmla="*/ 3260136 h 4687251"/>
              <a:gd name="connsiteX4252" fmla="*/ 6794770 w 8079933"/>
              <a:gd name="connsiteY4252" fmla="*/ 3262734 h 4687251"/>
              <a:gd name="connsiteX4253" fmla="*/ 6788042 w 8079933"/>
              <a:gd name="connsiteY4253" fmla="*/ 3261868 h 4687251"/>
              <a:gd name="connsiteX4254" fmla="*/ 6783593 w 8079933"/>
              <a:gd name="connsiteY4254" fmla="*/ 3262517 h 4687251"/>
              <a:gd name="connsiteX4255" fmla="*/ 6782073 w 8079933"/>
              <a:gd name="connsiteY4255" fmla="*/ 3259269 h 4687251"/>
              <a:gd name="connsiteX4256" fmla="*/ 6776865 w 8079933"/>
              <a:gd name="connsiteY4256" fmla="*/ 3263708 h 4687251"/>
              <a:gd name="connsiteX4257" fmla="*/ 6771982 w 8079933"/>
              <a:gd name="connsiteY4257" fmla="*/ 3262842 h 4687251"/>
              <a:gd name="connsiteX4258" fmla="*/ 6766773 w 8079933"/>
              <a:gd name="connsiteY4258" fmla="*/ 3265116 h 4687251"/>
              <a:gd name="connsiteX4259" fmla="*/ 6762432 w 8079933"/>
              <a:gd name="connsiteY4259" fmla="*/ 3263600 h 4687251"/>
              <a:gd name="connsiteX4260" fmla="*/ 6760370 w 8079933"/>
              <a:gd name="connsiteY4260" fmla="*/ 3266307 h 4687251"/>
              <a:gd name="connsiteX4261" fmla="*/ 6755271 w 8079933"/>
              <a:gd name="connsiteY4261" fmla="*/ 3268039 h 4687251"/>
              <a:gd name="connsiteX4262" fmla="*/ 6751798 w 8079933"/>
              <a:gd name="connsiteY4262" fmla="*/ 3266632 h 4687251"/>
              <a:gd name="connsiteX4263" fmla="*/ 6745613 w 8079933"/>
              <a:gd name="connsiteY4263" fmla="*/ 3268039 h 4687251"/>
              <a:gd name="connsiteX4264" fmla="*/ 6741271 w 8079933"/>
              <a:gd name="connsiteY4264" fmla="*/ 3266199 h 4687251"/>
              <a:gd name="connsiteX4265" fmla="*/ 6738667 w 8079933"/>
              <a:gd name="connsiteY4265" fmla="*/ 3263492 h 4687251"/>
              <a:gd name="connsiteX4266" fmla="*/ 6740078 w 8079933"/>
              <a:gd name="connsiteY4266" fmla="*/ 3261434 h 4687251"/>
              <a:gd name="connsiteX4267" fmla="*/ 6738342 w 8079933"/>
              <a:gd name="connsiteY4267" fmla="*/ 3259702 h 4687251"/>
              <a:gd name="connsiteX4268" fmla="*/ 6738993 w 8079933"/>
              <a:gd name="connsiteY4268" fmla="*/ 3256779 h 4687251"/>
              <a:gd name="connsiteX4269" fmla="*/ 6742140 w 8079933"/>
              <a:gd name="connsiteY4269" fmla="*/ 3252989 h 4687251"/>
              <a:gd name="connsiteX4270" fmla="*/ 6748976 w 8079933"/>
              <a:gd name="connsiteY4270" fmla="*/ 3250391 h 4687251"/>
              <a:gd name="connsiteX4271" fmla="*/ 6753317 w 8079933"/>
              <a:gd name="connsiteY4271" fmla="*/ 3251474 h 4687251"/>
              <a:gd name="connsiteX4272" fmla="*/ 6757224 w 8079933"/>
              <a:gd name="connsiteY4272" fmla="*/ 3250391 h 4687251"/>
              <a:gd name="connsiteX4273" fmla="*/ 6760479 w 8079933"/>
              <a:gd name="connsiteY4273" fmla="*/ 3251041 h 4687251"/>
              <a:gd name="connsiteX4274" fmla="*/ 6761673 w 8079933"/>
              <a:gd name="connsiteY4274" fmla="*/ 3255155 h 4687251"/>
              <a:gd name="connsiteX4275" fmla="*/ 6767316 w 8079933"/>
              <a:gd name="connsiteY4275" fmla="*/ 3258836 h 4687251"/>
              <a:gd name="connsiteX4276" fmla="*/ 6771113 w 8079933"/>
              <a:gd name="connsiteY4276" fmla="*/ 3257104 h 4687251"/>
              <a:gd name="connsiteX4277" fmla="*/ 6777516 w 8079933"/>
              <a:gd name="connsiteY4277" fmla="*/ 3256238 h 4687251"/>
              <a:gd name="connsiteX4278" fmla="*/ 6773718 w 8079933"/>
              <a:gd name="connsiteY4278" fmla="*/ 3252448 h 4687251"/>
              <a:gd name="connsiteX4279" fmla="*/ 6764060 w 8079933"/>
              <a:gd name="connsiteY4279" fmla="*/ 3248875 h 4687251"/>
              <a:gd name="connsiteX4280" fmla="*/ 6764060 w 8079933"/>
              <a:gd name="connsiteY4280" fmla="*/ 3246277 h 4687251"/>
              <a:gd name="connsiteX4281" fmla="*/ 4692801 w 8079933"/>
              <a:gd name="connsiteY4281" fmla="*/ 3242595 h 4687251"/>
              <a:gd name="connsiteX4282" fmla="*/ 4693127 w 8079933"/>
              <a:gd name="connsiteY4282" fmla="*/ 3244544 h 4687251"/>
              <a:gd name="connsiteX4283" fmla="*/ 4693128 w 8079933"/>
              <a:gd name="connsiteY4283" fmla="*/ 3244545 h 4687251"/>
              <a:gd name="connsiteX4284" fmla="*/ 4692802 w 8079933"/>
              <a:gd name="connsiteY4284" fmla="*/ 3242596 h 4687251"/>
              <a:gd name="connsiteX4285" fmla="*/ 7060529 w 8079933"/>
              <a:gd name="connsiteY4285" fmla="*/ 3242487 h 4687251"/>
              <a:gd name="connsiteX4286" fmla="*/ 7058466 w 8079933"/>
              <a:gd name="connsiteY4286" fmla="*/ 3245085 h 4687251"/>
              <a:gd name="connsiteX4287" fmla="*/ 7055536 w 8079933"/>
              <a:gd name="connsiteY4287" fmla="*/ 3245085 h 4687251"/>
              <a:gd name="connsiteX4288" fmla="*/ 7272786 w 8079933"/>
              <a:gd name="connsiteY4288" fmla="*/ 3242379 h 4687251"/>
              <a:gd name="connsiteX4289" fmla="*/ 7274413 w 8079933"/>
              <a:gd name="connsiteY4289" fmla="*/ 3242812 h 4687251"/>
              <a:gd name="connsiteX4290" fmla="*/ 7276150 w 8079933"/>
              <a:gd name="connsiteY4290" fmla="*/ 3248226 h 4687251"/>
              <a:gd name="connsiteX4291" fmla="*/ 7274739 w 8079933"/>
              <a:gd name="connsiteY4291" fmla="*/ 3249633 h 4687251"/>
              <a:gd name="connsiteX4292" fmla="*/ 7270289 w 8079933"/>
              <a:gd name="connsiteY4292" fmla="*/ 3248117 h 4687251"/>
              <a:gd name="connsiteX4293" fmla="*/ 7268228 w 8079933"/>
              <a:gd name="connsiteY4293" fmla="*/ 3247684 h 4687251"/>
              <a:gd name="connsiteX4294" fmla="*/ 7270289 w 8079933"/>
              <a:gd name="connsiteY4294" fmla="*/ 3244003 h 4687251"/>
              <a:gd name="connsiteX4295" fmla="*/ 7088632 w 8079933"/>
              <a:gd name="connsiteY4295" fmla="*/ 3242055 h 4687251"/>
              <a:gd name="connsiteX4296" fmla="*/ 7091237 w 8079933"/>
              <a:gd name="connsiteY4296" fmla="*/ 3242271 h 4687251"/>
              <a:gd name="connsiteX4297" fmla="*/ 7090152 w 8079933"/>
              <a:gd name="connsiteY4297" fmla="*/ 3243787 h 4687251"/>
              <a:gd name="connsiteX4298" fmla="*/ 7087005 w 8079933"/>
              <a:gd name="connsiteY4298" fmla="*/ 3246169 h 4687251"/>
              <a:gd name="connsiteX4299" fmla="*/ 7083533 w 8079933"/>
              <a:gd name="connsiteY4299" fmla="*/ 3246819 h 4687251"/>
              <a:gd name="connsiteX4300" fmla="*/ 7084293 w 8079933"/>
              <a:gd name="connsiteY4300" fmla="*/ 3244978 h 4687251"/>
              <a:gd name="connsiteX4301" fmla="*/ 6704702 w 8079933"/>
              <a:gd name="connsiteY4301" fmla="*/ 3241838 h 4687251"/>
              <a:gd name="connsiteX4302" fmla="*/ 6710996 w 8079933"/>
              <a:gd name="connsiteY4302" fmla="*/ 3243245 h 4687251"/>
              <a:gd name="connsiteX4303" fmla="*/ 6716205 w 8079933"/>
              <a:gd name="connsiteY4303" fmla="*/ 3249416 h 4687251"/>
              <a:gd name="connsiteX4304" fmla="*/ 6715011 w 8079933"/>
              <a:gd name="connsiteY4304" fmla="*/ 3252123 h 4687251"/>
              <a:gd name="connsiteX4305" fmla="*/ 6710671 w 8079933"/>
              <a:gd name="connsiteY4305" fmla="*/ 3252989 h 4687251"/>
              <a:gd name="connsiteX4306" fmla="*/ 6709151 w 8079933"/>
              <a:gd name="connsiteY4306" fmla="*/ 3254722 h 4687251"/>
              <a:gd name="connsiteX4307" fmla="*/ 6705353 w 8079933"/>
              <a:gd name="connsiteY4307" fmla="*/ 3256562 h 4687251"/>
              <a:gd name="connsiteX4308" fmla="*/ 6703291 w 8079933"/>
              <a:gd name="connsiteY4308" fmla="*/ 3259594 h 4687251"/>
              <a:gd name="connsiteX4309" fmla="*/ 6702098 w 8079933"/>
              <a:gd name="connsiteY4309" fmla="*/ 3256779 h 4687251"/>
              <a:gd name="connsiteX4310" fmla="*/ 6696238 w 8079933"/>
              <a:gd name="connsiteY4310" fmla="*/ 3252340 h 4687251"/>
              <a:gd name="connsiteX4311" fmla="*/ 6689618 w 8079933"/>
              <a:gd name="connsiteY4311" fmla="*/ 3250932 h 4687251"/>
              <a:gd name="connsiteX4312" fmla="*/ 6687448 w 8079933"/>
              <a:gd name="connsiteY4312" fmla="*/ 3247793 h 4687251"/>
              <a:gd name="connsiteX4313" fmla="*/ 6687448 w 8079933"/>
              <a:gd name="connsiteY4313" fmla="*/ 3244220 h 4687251"/>
              <a:gd name="connsiteX4314" fmla="*/ 6692766 w 8079933"/>
              <a:gd name="connsiteY4314" fmla="*/ 3242704 h 4687251"/>
              <a:gd name="connsiteX4315" fmla="*/ 6698082 w 8079933"/>
              <a:gd name="connsiteY4315" fmla="*/ 3244111 h 4687251"/>
              <a:gd name="connsiteX4316" fmla="*/ 6888421 w 8079933"/>
              <a:gd name="connsiteY4316" fmla="*/ 3241297 h 4687251"/>
              <a:gd name="connsiteX4317" fmla="*/ 6893413 w 8079933"/>
              <a:gd name="connsiteY4317" fmla="*/ 3243354 h 4687251"/>
              <a:gd name="connsiteX4318" fmla="*/ 6893413 w 8079933"/>
              <a:gd name="connsiteY4318" fmla="*/ 3247685 h 4687251"/>
              <a:gd name="connsiteX4319" fmla="*/ 6891133 w 8079933"/>
              <a:gd name="connsiteY4319" fmla="*/ 3251691 h 4687251"/>
              <a:gd name="connsiteX4320" fmla="*/ 6887987 w 8079933"/>
              <a:gd name="connsiteY4320" fmla="*/ 3253098 h 4687251"/>
              <a:gd name="connsiteX4321" fmla="*/ 6884514 w 8079933"/>
              <a:gd name="connsiteY4321" fmla="*/ 3257754 h 4687251"/>
              <a:gd name="connsiteX4322" fmla="*/ 6879306 w 8079933"/>
              <a:gd name="connsiteY4322" fmla="*/ 3258403 h 4687251"/>
              <a:gd name="connsiteX4323" fmla="*/ 6877244 w 8079933"/>
              <a:gd name="connsiteY4323" fmla="*/ 3260677 h 4687251"/>
              <a:gd name="connsiteX4324" fmla="*/ 6873771 w 8079933"/>
              <a:gd name="connsiteY4324" fmla="*/ 3259486 h 4687251"/>
              <a:gd name="connsiteX4325" fmla="*/ 6867260 w 8079933"/>
              <a:gd name="connsiteY4325" fmla="*/ 3258620 h 4687251"/>
              <a:gd name="connsiteX4326" fmla="*/ 6860532 w 8079933"/>
              <a:gd name="connsiteY4326" fmla="*/ 3261651 h 4687251"/>
              <a:gd name="connsiteX4327" fmla="*/ 6852827 w 8079933"/>
              <a:gd name="connsiteY4327" fmla="*/ 3260244 h 4687251"/>
              <a:gd name="connsiteX4328" fmla="*/ 6847619 w 8079933"/>
              <a:gd name="connsiteY4328" fmla="*/ 3262517 h 4687251"/>
              <a:gd name="connsiteX4329" fmla="*/ 6846533 w 8079933"/>
              <a:gd name="connsiteY4329" fmla="*/ 3263817 h 4687251"/>
              <a:gd name="connsiteX4330" fmla="*/ 6843060 w 8079933"/>
              <a:gd name="connsiteY4330" fmla="*/ 3263817 h 4687251"/>
              <a:gd name="connsiteX4331" fmla="*/ 6840347 w 8079933"/>
              <a:gd name="connsiteY4331" fmla="*/ 3262409 h 4687251"/>
              <a:gd name="connsiteX4332" fmla="*/ 6836007 w 8079933"/>
              <a:gd name="connsiteY4332" fmla="*/ 3264250 h 4687251"/>
              <a:gd name="connsiteX4333" fmla="*/ 6833294 w 8079933"/>
              <a:gd name="connsiteY4333" fmla="*/ 3261976 h 4687251"/>
              <a:gd name="connsiteX4334" fmla="*/ 6829605 w 8079933"/>
              <a:gd name="connsiteY4334" fmla="*/ 3261976 h 4687251"/>
              <a:gd name="connsiteX4335" fmla="*/ 6826240 w 8079933"/>
              <a:gd name="connsiteY4335" fmla="*/ 3262626 h 4687251"/>
              <a:gd name="connsiteX4336" fmla="*/ 6822659 w 8079933"/>
              <a:gd name="connsiteY4336" fmla="*/ 3261651 h 4687251"/>
              <a:gd name="connsiteX4337" fmla="*/ 6819404 w 8079933"/>
              <a:gd name="connsiteY4337" fmla="*/ 3261651 h 4687251"/>
              <a:gd name="connsiteX4338" fmla="*/ 6815389 w 8079933"/>
              <a:gd name="connsiteY4338" fmla="*/ 3260677 h 4687251"/>
              <a:gd name="connsiteX4339" fmla="*/ 6813978 w 8079933"/>
              <a:gd name="connsiteY4339" fmla="*/ 3256671 h 4687251"/>
              <a:gd name="connsiteX4340" fmla="*/ 6815171 w 8079933"/>
              <a:gd name="connsiteY4340" fmla="*/ 3252340 h 4687251"/>
              <a:gd name="connsiteX4341" fmla="*/ 6822443 w 8079933"/>
              <a:gd name="connsiteY4341" fmla="*/ 3248334 h 4687251"/>
              <a:gd name="connsiteX4342" fmla="*/ 6834162 w 8079933"/>
              <a:gd name="connsiteY4342" fmla="*/ 3245736 h 4687251"/>
              <a:gd name="connsiteX4343" fmla="*/ 6840023 w 8079933"/>
              <a:gd name="connsiteY4343" fmla="*/ 3248659 h 4687251"/>
              <a:gd name="connsiteX4344" fmla="*/ 6843277 w 8079933"/>
              <a:gd name="connsiteY4344" fmla="*/ 3247793 h 4687251"/>
              <a:gd name="connsiteX4345" fmla="*/ 6849463 w 8079933"/>
              <a:gd name="connsiteY4345" fmla="*/ 3249309 h 4687251"/>
              <a:gd name="connsiteX4346" fmla="*/ 6855974 w 8079933"/>
              <a:gd name="connsiteY4346" fmla="*/ 3253423 h 4687251"/>
              <a:gd name="connsiteX4347" fmla="*/ 6860966 w 8079933"/>
              <a:gd name="connsiteY4347" fmla="*/ 3251366 h 4687251"/>
              <a:gd name="connsiteX4348" fmla="*/ 6867911 w 8079933"/>
              <a:gd name="connsiteY4348" fmla="*/ 3251366 h 4687251"/>
              <a:gd name="connsiteX4349" fmla="*/ 6871058 w 8079933"/>
              <a:gd name="connsiteY4349" fmla="*/ 3253748 h 4687251"/>
              <a:gd name="connsiteX4350" fmla="*/ 6876376 w 8079933"/>
              <a:gd name="connsiteY4350" fmla="*/ 3253748 h 4687251"/>
              <a:gd name="connsiteX4351" fmla="*/ 6879088 w 8079933"/>
              <a:gd name="connsiteY4351" fmla="*/ 3250499 h 4687251"/>
              <a:gd name="connsiteX4352" fmla="*/ 6883429 w 8079933"/>
              <a:gd name="connsiteY4352" fmla="*/ 3249092 h 4687251"/>
              <a:gd name="connsiteX4353" fmla="*/ 6886142 w 8079933"/>
              <a:gd name="connsiteY4353" fmla="*/ 3244978 h 4687251"/>
              <a:gd name="connsiteX4354" fmla="*/ 6884297 w 8079933"/>
              <a:gd name="connsiteY4354" fmla="*/ 3244003 h 4687251"/>
              <a:gd name="connsiteX4355" fmla="*/ 7395192 w 8079933"/>
              <a:gd name="connsiteY4355" fmla="*/ 3235017 h 4687251"/>
              <a:gd name="connsiteX4356" fmla="*/ 7396711 w 8079933"/>
              <a:gd name="connsiteY4356" fmla="*/ 3239997 h 4687251"/>
              <a:gd name="connsiteX4357" fmla="*/ 7396060 w 8079933"/>
              <a:gd name="connsiteY4357" fmla="*/ 3241946 h 4687251"/>
              <a:gd name="connsiteX4358" fmla="*/ 7394325 w 8079933"/>
              <a:gd name="connsiteY4358" fmla="*/ 3242054 h 4687251"/>
              <a:gd name="connsiteX4359" fmla="*/ 7392371 w 8079933"/>
              <a:gd name="connsiteY4359" fmla="*/ 3239672 h 4687251"/>
              <a:gd name="connsiteX4360" fmla="*/ 7392588 w 8079933"/>
              <a:gd name="connsiteY4360" fmla="*/ 3237398 h 4687251"/>
              <a:gd name="connsiteX4361" fmla="*/ 7055319 w 8079933"/>
              <a:gd name="connsiteY4361" fmla="*/ 3234151 h 4687251"/>
              <a:gd name="connsiteX4362" fmla="*/ 7058467 w 8079933"/>
              <a:gd name="connsiteY4362" fmla="*/ 3235991 h 4687251"/>
              <a:gd name="connsiteX4363" fmla="*/ 7059335 w 8079933"/>
              <a:gd name="connsiteY4363" fmla="*/ 3239781 h 4687251"/>
              <a:gd name="connsiteX4364" fmla="*/ 7055754 w 8079933"/>
              <a:gd name="connsiteY4364" fmla="*/ 3240539 h 4687251"/>
              <a:gd name="connsiteX4365" fmla="*/ 7052714 w 8079933"/>
              <a:gd name="connsiteY4365" fmla="*/ 3238049 h 4687251"/>
              <a:gd name="connsiteX4366" fmla="*/ 7052498 w 8079933"/>
              <a:gd name="connsiteY4366" fmla="*/ 3235450 h 4687251"/>
              <a:gd name="connsiteX4367" fmla="*/ 2192952 w 8079933"/>
              <a:gd name="connsiteY4367" fmla="*/ 3234089 h 4687251"/>
              <a:gd name="connsiteX4368" fmla="*/ 2192687 w 8079933"/>
              <a:gd name="connsiteY4368" fmla="*/ 3234908 h 4687251"/>
              <a:gd name="connsiteX4369" fmla="*/ 2199198 w 8079933"/>
              <a:gd name="connsiteY4369" fmla="*/ 3241405 h 4687251"/>
              <a:gd name="connsiteX4370" fmla="*/ 2209604 w 8079933"/>
              <a:gd name="connsiteY4370" fmla="*/ 3258228 h 4687251"/>
              <a:gd name="connsiteX4371" fmla="*/ 2209724 w 8079933"/>
              <a:gd name="connsiteY4371" fmla="*/ 3258078 h 4687251"/>
              <a:gd name="connsiteX4372" fmla="*/ 2198004 w 8079933"/>
              <a:gd name="connsiteY4372" fmla="*/ 3239130 h 4687251"/>
              <a:gd name="connsiteX4373" fmla="*/ 7397145 w 8079933"/>
              <a:gd name="connsiteY4373" fmla="*/ 3233284 h 4687251"/>
              <a:gd name="connsiteX4374" fmla="*/ 7399315 w 8079933"/>
              <a:gd name="connsiteY4374" fmla="*/ 3235016 h 4687251"/>
              <a:gd name="connsiteX4375" fmla="*/ 7400835 w 8079933"/>
              <a:gd name="connsiteY4375" fmla="*/ 3237723 h 4687251"/>
              <a:gd name="connsiteX4376" fmla="*/ 7399207 w 8079933"/>
              <a:gd name="connsiteY4376" fmla="*/ 3237182 h 4687251"/>
              <a:gd name="connsiteX4377" fmla="*/ 7425686 w 8079933"/>
              <a:gd name="connsiteY4377" fmla="*/ 3232418 h 4687251"/>
              <a:gd name="connsiteX4378" fmla="*/ 7425686 w 8079933"/>
              <a:gd name="connsiteY4378" fmla="*/ 3235990 h 4687251"/>
              <a:gd name="connsiteX4379" fmla="*/ 7424166 w 8079933"/>
              <a:gd name="connsiteY4379" fmla="*/ 3233717 h 4687251"/>
              <a:gd name="connsiteX4380" fmla="*/ 7408865 w 8079933"/>
              <a:gd name="connsiteY4380" fmla="*/ 3231768 h 4687251"/>
              <a:gd name="connsiteX4381" fmla="*/ 7411035 w 8079933"/>
              <a:gd name="connsiteY4381" fmla="*/ 3233392 h 4687251"/>
              <a:gd name="connsiteX4382" fmla="*/ 7411361 w 8079933"/>
              <a:gd name="connsiteY4382" fmla="*/ 3234800 h 4687251"/>
              <a:gd name="connsiteX4383" fmla="*/ 7408540 w 8079933"/>
              <a:gd name="connsiteY4383" fmla="*/ 3234367 h 4687251"/>
              <a:gd name="connsiteX4384" fmla="*/ 7417329 w 8079933"/>
              <a:gd name="connsiteY4384" fmla="*/ 3231552 h 4687251"/>
              <a:gd name="connsiteX4385" fmla="*/ 7416027 w 8079933"/>
              <a:gd name="connsiteY4385" fmla="*/ 3233718 h 4687251"/>
              <a:gd name="connsiteX4386" fmla="*/ 7415376 w 8079933"/>
              <a:gd name="connsiteY4386" fmla="*/ 3231877 h 4687251"/>
              <a:gd name="connsiteX4387" fmla="*/ 6980226 w 8079933"/>
              <a:gd name="connsiteY4387" fmla="*/ 3228954 h 4687251"/>
              <a:gd name="connsiteX4388" fmla="*/ 6984024 w 8079933"/>
              <a:gd name="connsiteY4388" fmla="*/ 3230578 h 4687251"/>
              <a:gd name="connsiteX4389" fmla="*/ 6985001 w 8079933"/>
              <a:gd name="connsiteY4389" fmla="*/ 3233176 h 4687251"/>
              <a:gd name="connsiteX4390" fmla="*/ 6981419 w 8079933"/>
              <a:gd name="connsiteY4390" fmla="*/ 3235125 h 4687251"/>
              <a:gd name="connsiteX4391" fmla="*/ 6977947 w 8079933"/>
              <a:gd name="connsiteY4391" fmla="*/ 3237723 h 4687251"/>
              <a:gd name="connsiteX4392" fmla="*/ 6976753 w 8079933"/>
              <a:gd name="connsiteY4392" fmla="*/ 3239889 h 4687251"/>
              <a:gd name="connsiteX4393" fmla="*/ 6974149 w 8079933"/>
              <a:gd name="connsiteY4393" fmla="*/ 3237832 h 4687251"/>
              <a:gd name="connsiteX4394" fmla="*/ 6966661 w 8079933"/>
              <a:gd name="connsiteY4394" fmla="*/ 3236207 h 4687251"/>
              <a:gd name="connsiteX4395" fmla="*/ 6961452 w 8079933"/>
              <a:gd name="connsiteY4395" fmla="*/ 3239239 h 4687251"/>
              <a:gd name="connsiteX4396" fmla="*/ 6960475 w 8079933"/>
              <a:gd name="connsiteY4396" fmla="*/ 3237182 h 4687251"/>
              <a:gd name="connsiteX4397" fmla="*/ 6962212 w 8079933"/>
              <a:gd name="connsiteY4397" fmla="*/ 3232093 h 4687251"/>
              <a:gd name="connsiteX4398" fmla="*/ 6965901 w 8079933"/>
              <a:gd name="connsiteY4398" fmla="*/ 3230361 h 4687251"/>
              <a:gd name="connsiteX4399" fmla="*/ 6968397 w 8079933"/>
              <a:gd name="connsiteY4399" fmla="*/ 3232418 h 4687251"/>
              <a:gd name="connsiteX4400" fmla="*/ 6976427 w 8079933"/>
              <a:gd name="connsiteY4400" fmla="*/ 3231768 h 4687251"/>
              <a:gd name="connsiteX4401" fmla="*/ 7412664 w 8079933"/>
              <a:gd name="connsiteY4401" fmla="*/ 3228196 h 4687251"/>
              <a:gd name="connsiteX4402" fmla="*/ 7415051 w 8079933"/>
              <a:gd name="connsiteY4402" fmla="*/ 3228520 h 4687251"/>
              <a:gd name="connsiteX4403" fmla="*/ 7414074 w 8079933"/>
              <a:gd name="connsiteY4403" fmla="*/ 3231877 h 4687251"/>
              <a:gd name="connsiteX4404" fmla="*/ 7414400 w 8079933"/>
              <a:gd name="connsiteY4404" fmla="*/ 3233933 h 4687251"/>
              <a:gd name="connsiteX4405" fmla="*/ 7411361 w 8079933"/>
              <a:gd name="connsiteY4405" fmla="*/ 3230685 h 4687251"/>
              <a:gd name="connsiteX4406" fmla="*/ 7084836 w 8079933"/>
              <a:gd name="connsiteY4406" fmla="*/ 3227329 h 4687251"/>
              <a:gd name="connsiteX4407" fmla="*/ 7084076 w 8079933"/>
              <a:gd name="connsiteY4407" fmla="*/ 3228736 h 4687251"/>
              <a:gd name="connsiteX4408" fmla="*/ 7082123 w 8079933"/>
              <a:gd name="connsiteY4408" fmla="*/ 3228736 h 4687251"/>
              <a:gd name="connsiteX4409" fmla="*/ 6997045 w 8079933"/>
              <a:gd name="connsiteY4409" fmla="*/ 3226139 h 4687251"/>
              <a:gd name="connsiteX4410" fmla="*/ 6999868 w 8079933"/>
              <a:gd name="connsiteY4410" fmla="*/ 3227546 h 4687251"/>
              <a:gd name="connsiteX4411" fmla="*/ 6995418 w 8079933"/>
              <a:gd name="connsiteY4411" fmla="*/ 3230686 h 4687251"/>
              <a:gd name="connsiteX4412" fmla="*/ 6995092 w 8079933"/>
              <a:gd name="connsiteY4412" fmla="*/ 3227871 h 4687251"/>
              <a:gd name="connsiteX4413" fmla="*/ 7264539 w 8079933"/>
              <a:gd name="connsiteY4413" fmla="*/ 3225165 h 4687251"/>
              <a:gd name="connsiteX4414" fmla="*/ 7273112 w 8079933"/>
              <a:gd name="connsiteY4414" fmla="*/ 3225165 h 4687251"/>
              <a:gd name="connsiteX4415" fmla="*/ 7274631 w 8079933"/>
              <a:gd name="connsiteY4415" fmla="*/ 3226573 h 4687251"/>
              <a:gd name="connsiteX4416" fmla="*/ 7278212 w 8079933"/>
              <a:gd name="connsiteY4416" fmla="*/ 3229279 h 4687251"/>
              <a:gd name="connsiteX4417" fmla="*/ 7277344 w 8079933"/>
              <a:gd name="connsiteY4417" fmla="*/ 3231012 h 4687251"/>
              <a:gd name="connsiteX4418" fmla="*/ 7276367 w 8079933"/>
              <a:gd name="connsiteY4418" fmla="*/ 3235018 h 4687251"/>
              <a:gd name="connsiteX4419" fmla="*/ 7275282 w 8079933"/>
              <a:gd name="connsiteY4419" fmla="*/ 3236209 h 4687251"/>
              <a:gd name="connsiteX4420" fmla="*/ 7275065 w 8079933"/>
              <a:gd name="connsiteY4420" fmla="*/ 3239781 h 4687251"/>
              <a:gd name="connsiteX4421" fmla="*/ 7273221 w 8079933"/>
              <a:gd name="connsiteY4421" fmla="*/ 3242163 h 4687251"/>
              <a:gd name="connsiteX4422" fmla="*/ 7269531 w 8079933"/>
              <a:gd name="connsiteY4422" fmla="*/ 3243138 h 4687251"/>
              <a:gd name="connsiteX4423" fmla="*/ 7265842 w 8079933"/>
              <a:gd name="connsiteY4423" fmla="*/ 3247469 h 4687251"/>
              <a:gd name="connsiteX4424" fmla="*/ 7261935 w 8079933"/>
              <a:gd name="connsiteY4424" fmla="*/ 3249310 h 4687251"/>
              <a:gd name="connsiteX4425" fmla="*/ 7255858 w 8079933"/>
              <a:gd name="connsiteY4425" fmla="*/ 3248336 h 4687251"/>
              <a:gd name="connsiteX4426" fmla="*/ 7252602 w 8079933"/>
              <a:gd name="connsiteY4426" fmla="*/ 3248985 h 4687251"/>
              <a:gd name="connsiteX4427" fmla="*/ 7244463 w 8079933"/>
              <a:gd name="connsiteY4427" fmla="*/ 3248985 h 4687251"/>
              <a:gd name="connsiteX4428" fmla="*/ 7254229 w 8079933"/>
              <a:gd name="connsiteY4428" fmla="*/ 3239349 h 4687251"/>
              <a:gd name="connsiteX4429" fmla="*/ 7256725 w 8079933"/>
              <a:gd name="connsiteY4429" fmla="*/ 3234477 h 4687251"/>
              <a:gd name="connsiteX4430" fmla="*/ 7259222 w 8079933"/>
              <a:gd name="connsiteY4430" fmla="*/ 3227655 h 4687251"/>
              <a:gd name="connsiteX4431" fmla="*/ 7090804 w 8079933"/>
              <a:gd name="connsiteY4431" fmla="*/ 3225056 h 4687251"/>
              <a:gd name="connsiteX4432" fmla="*/ 7090153 w 8079933"/>
              <a:gd name="connsiteY4432" fmla="*/ 3226138 h 4687251"/>
              <a:gd name="connsiteX4433" fmla="*/ 7087657 w 8079933"/>
              <a:gd name="connsiteY4433" fmla="*/ 3226787 h 4687251"/>
              <a:gd name="connsiteX4434" fmla="*/ 7084618 w 8079933"/>
              <a:gd name="connsiteY4434" fmla="*/ 3225489 h 4687251"/>
              <a:gd name="connsiteX4435" fmla="*/ 6722824 w 8079933"/>
              <a:gd name="connsiteY4435" fmla="*/ 3222241 h 4687251"/>
              <a:gd name="connsiteX4436" fmla="*/ 6722498 w 8079933"/>
              <a:gd name="connsiteY4436" fmla="*/ 3223540 h 4687251"/>
              <a:gd name="connsiteX4437" fmla="*/ 6719026 w 8079933"/>
              <a:gd name="connsiteY4437" fmla="*/ 3223540 h 4687251"/>
              <a:gd name="connsiteX4438" fmla="*/ 6718158 w 8079933"/>
              <a:gd name="connsiteY4438" fmla="*/ 3222349 h 4687251"/>
              <a:gd name="connsiteX4439" fmla="*/ 6721739 w 8079933"/>
              <a:gd name="connsiteY4439" fmla="*/ 3222457 h 4687251"/>
              <a:gd name="connsiteX4440" fmla="*/ 4349825 w 8079933"/>
              <a:gd name="connsiteY4440" fmla="*/ 3219896 h 4687251"/>
              <a:gd name="connsiteX4441" fmla="*/ 4350540 w 8079933"/>
              <a:gd name="connsiteY4441" fmla="*/ 3220941 h 4687251"/>
              <a:gd name="connsiteX4442" fmla="*/ 4350540 w 8079933"/>
              <a:gd name="connsiteY4442" fmla="*/ 3220940 h 4687251"/>
              <a:gd name="connsiteX4443" fmla="*/ 7101222 w 8079933"/>
              <a:gd name="connsiteY4443" fmla="*/ 3219209 h 4687251"/>
              <a:gd name="connsiteX4444" fmla="*/ 7103935 w 8079933"/>
              <a:gd name="connsiteY4444" fmla="*/ 3219859 h 4687251"/>
              <a:gd name="connsiteX4445" fmla="*/ 7104369 w 8079933"/>
              <a:gd name="connsiteY4445" fmla="*/ 3221591 h 4687251"/>
              <a:gd name="connsiteX4446" fmla="*/ 7103066 w 8079933"/>
              <a:gd name="connsiteY4446" fmla="*/ 3224081 h 4687251"/>
              <a:gd name="connsiteX4447" fmla="*/ 7104043 w 8079933"/>
              <a:gd name="connsiteY4447" fmla="*/ 3227437 h 4687251"/>
              <a:gd name="connsiteX4448" fmla="*/ 7102198 w 8079933"/>
              <a:gd name="connsiteY4448" fmla="*/ 3233284 h 4687251"/>
              <a:gd name="connsiteX4449" fmla="*/ 7096772 w 8079933"/>
              <a:gd name="connsiteY4449" fmla="*/ 3240106 h 4687251"/>
              <a:gd name="connsiteX4450" fmla="*/ 7093842 w 8079933"/>
              <a:gd name="connsiteY4450" fmla="*/ 3240971 h 4687251"/>
              <a:gd name="connsiteX4451" fmla="*/ 7090261 w 8079933"/>
              <a:gd name="connsiteY4451" fmla="*/ 3238048 h 4687251"/>
              <a:gd name="connsiteX4452" fmla="*/ 7090370 w 8079933"/>
              <a:gd name="connsiteY4452" fmla="*/ 3234475 h 4687251"/>
              <a:gd name="connsiteX4453" fmla="*/ 7092974 w 8079933"/>
              <a:gd name="connsiteY4453" fmla="*/ 3232310 h 4687251"/>
              <a:gd name="connsiteX4454" fmla="*/ 7092106 w 8079933"/>
              <a:gd name="connsiteY4454" fmla="*/ 3230686 h 4687251"/>
              <a:gd name="connsiteX4455" fmla="*/ 7092431 w 8079933"/>
              <a:gd name="connsiteY4455" fmla="*/ 3228412 h 4687251"/>
              <a:gd name="connsiteX4456" fmla="*/ 7098834 w 8079933"/>
              <a:gd name="connsiteY4456" fmla="*/ 3222674 h 4687251"/>
              <a:gd name="connsiteX4457" fmla="*/ 7098943 w 8079933"/>
              <a:gd name="connsiteY4457" fmla="*/ 3220833 h 4687251"/>
              <a:gd name="connsiteX4458" fmla="*/ 7105345 w 8079933"/>
              <a:gd name="connsiteY4458" fmla="*/ 3217585 h 4687251"/>
              <a:gd name="connsiteX4459" fmla="*/ 7109685 w 8079933"/>
              <a:gd name="connsiteY4459" fmla="*/ 3218342 h 4687251"/>
              <a:gd name="connsiteX4460" fmla="*/ 7111314 w 8079933"/>
              <a:gd name="connsiteY4460" fmla="*/ 3220724 h 4687251"/>
              <a:gd name="connsiteX4461" fmla="*/ 7028840 w 8079933"/>
              <a:gd name="connsiteY4461" fmla="*/ 3217477 h 4687251"/>
              <a:gd name="connsiteX4462" fmla="*/ 7031228 w 8079933"/>
              <a:gd name="connsiteY4462" fmla="*/ 3219209 h 4687251"/>
              <a:gd name="connsiteX4463" fmla="*/ 7030034 w 8079933"/>
              <a:gd name="connsiteY4463" fmla="*/ 3221158 h 4687251"/>
              <a:gd name="connsiteX4464" fmla="*/ 7027430 w 8079933"/>
              <a:gd name="connsiteY4464" fmla="*/ 3221050 h 4687251"/>
              <a:gd name="connsiteX4465" fmla="*/ 7026670 w 8079933"/>
              <a:gd name="connsiteY4465" fmla="*/ 3219209 h 4687251"/>
              <a:gd name="connsiteX4466" fmla="*/ 6835790 w 8079933"/>
              <a:gd name="connsiteY4466" fmla="*/ 3217369 h 4687251"/>
              <a:gd name="connsiteX4467" fmla="*/ 6839044 w 8079933"/>
              <a:gd name="connsiteY4467" fmla="*/ 3219101 h 4687251"/>
              <a:gd name="connsiteX4468" fmla="*/ 6836549 w 8079933"/>
              <a:gd name="connsiteY4468" fmla="*/ 3221266 h 4687251"/>
              <a:gd name="connsiteX4469" fmla="*/ 6833945 w 8079933"/>
              <a:gd name="connsiteY4469" fmla="*/ 3219101 h 4687251"/>
              <a:gd name="connsiteX4470" fmla="*/ 7111964 w 8079933"/>
              <a:gd name="connsiteY4470" fmla="*/ 3212821 h 4687251"/>
              <a:gd name="connsiteX4471" fmla="*/ 7113267 w 8079933"/>
              <a:gd name="connsiteY4471" fmla="*/ 3213578 h 4687251"/>
              <a:gd name="connsiteX4472" fmla="*/ 7109469 w 8079933"/>
              <a:gd name="connsiteY4472" fmla="*/ 3215635 h 4687251"/>
              <a:gd name="connsiteX4473" fmla="*/ 6650986 w 8079933"/>
              <a:gd name="connsiteY4473" fmla="*/ 3212389 h 4687251"/>
              <a:gd name="connsiteX4474" fmla="*/ 6653481 w 8079933"/>
              <a:gd name="connsiteY4474" fmla="*/ 3214120 h 4687251"/>
              <a:gd name="connsiteX4475" fmla="*/ 6666286 w 8079933"/>
              <a:gd name="connsiteY4475" fmla="*/ 3214554 h 4687251"/>
              <a:gd name="connsiteX4476" fmla="*/ 6669976 w 8079933"/>
              <a:gd name="connsiteY4476" fmla="*/ 3215745 h 4687251"/>
              <a:gd name="connsiteX4477" fmla="*/ 6676378 w 8079933"/>
              <a:gd name="connsiteY4477" fmla="*/ 3214771 h 4687251"/>
              <a:gd name="connsiteX4478" fmla="*/ 6678767 w 8079933"/>
              <a:gd name="connsiteY4478" fmla="*/ 3215962 h 4687251"/>
              <a:gd name="connsiteX4479" fmla="*/ 6676705 w 8079933"/>
              <a:gd name="connsiteY4479" fmla="*/ 3218777 h 4687251"/>
              <a:gd name="connsiteX4480" fmla="*/ 6671387 w 8079933"/>
              <a:gd name="connsiteY4480" fmla="*/ 3219426 h 4687251"/>
              <a:gd name="connsiteX4481" fmla="*/ 6667046 w 8079933"/>
              <a:gd name="connsiteY4481" fmla="*/ 3221375 h 4687251"/>
              <a:gd name="connsiteX4482" fmla="*/ 6658907 w 8079933"/>
              <a:gd name="connsiteY4482" fmla="*/ 3220942 h 4687251"/>
              <a:gd name="connsiteX4483" fmla="*/ 6655868 w 8079933"/>
              <a:gd name="connsiteY4483" fmla="*/ 3222674 h 4687251"/>
              <a:gd name="connsiteX4484" fmla="*/ 6652288 w 8079933"/>
              <a:gd name="connsiteY4484" fmla="*/ 3222241 h 4687251"/>
              <a:gd name="connsiteX4485" fmla="*/ 6647513 w 8079933"/>
              <a:gd name="connsiteY4485" fmla="*/ 3217261 h 4687251"/>
              <a:gd name="connsiteX4486" fmla="*/ 6706220 w 8079933"/>
              <a:gd name="connsiteY4486" fmla="*/ 3212064 h 4687251"/>
              <a:gd name="connsiteX4487" fmla="*/ 6710561 w 8079933"/>
              <a:gd name="connsiteY4487" fmla="*/ 3212605 h 4687251"/>
              <a:gd name="connsiteX4488" fmla="*/ 6713599 w 8079933"/>
              <a:gd name="connsiteY4488" fmla="*/ 3213905 h 4687251"/>
              <a:gd name="connsiteX4489" fmla="*/ 6714468 w 8079933"/>
              <a:gd name="connsiteY4489" fmla="*/ 3215203 h 4687251"/>
              <a:gd name="connsiteX4490" fmla="*/ 6712948 w 8079933"/>
              <a:gd name="connsiteY4490" fmla="*/ 3215203 h 4687251"/>
              <a:gd name="connsiteX4491" fmla="*/ 6710670 w 8079933"/>
              <a:gd name="connsiteY4491" fmla="*/ 3214879 h 4687251"/>
              <a:gd name="connsiteX4492" fmla="*/ 6707631 w 8079933"/>
              <a:gd name="connsiteY4492" fmla="*/ 3218235 h 4687251"/>
              <a:gd name="connsiteX4493" fmla="*/ 6704376 w 8079933"/>
              <a:gd name="connsiteY4493" fmla="*/ 3215095 h 4687251"/>
              <a:gd name="connsiteX4494" fmla="*/ 6704267 w 8079933"/>
              <a:gd name="connsiteY4494" fmla="*/ 3213796 h 4687251"/>
              <a:gd name="connsiteX4495" fmla="*/ 4343378 w 8079933"/>
              <a:gd name="connsiteY4495" fmla="*/ 3211847 h 4687251"/>
              <a:gd name="connsiteX4496" fmla="*/ 4343378 w 8079933"/>
              <a:gd name="connsiteY4496" fmla="*/ 3211847 h 4687251"/>
              <a:gd name="connsiteX4497" fmla="*/ 4345440 w 8079933"/>
              <a:gd name="connsiteY4497" fmla="*/ 3213362 h 4687251"/>
              <a:gd name="connsiteX4498" fmla="*/ 4430734 w 8079933"/>
              <a:gd name="connsiteY4498" fmla="*/ 3211088 h 4687251"/>
              <a:gd name="connsiteX4499" fmla="*/ 4430734 w 8079933"/>
              <a:gd name="connsiteY4499" fmla="*/ 3211089 h 4687251"/>
              <a:gd name="connsiteX4500" fmla="*/ 4458514 w 8079933"/>
              <a:gd name="connsiteY4500" fmla="*/ 3213146 h 4687251"/>
              <a:gd name="connsiteX4501" fmla="*/ 4458514 w 8079933"/>
              <a:gd name="connsiteY4501" fmla="*/ 3213145 h 4687251"/>
              <a:gd name="connsiteX4502" fmla="*/ 7051737 w 8079933"/>
              <a:gd name="connsiteY4502" fmla="*/ 3206542 h 4687251"/>
              <a:gd name="connsiteX4503" fmla="*/ 7052605 w 8079933"/>
              <a:gd name="connsiteY4503" fmla="*/ 3208599 h 4687251"/>
              <a:gd name="connsiteX4504" fmla="*/ 7049350 w 8079933"/>
              <a:gd name="connsiteY4504" fmla="*/ 3208382 h 4687251"/>
              <a:gd name="connsiteX4505" fmla="*/ 7177834 w 8079933"/>
              <a:gd name="connsiteY4505" fmla="*/ 3206109 h 4687251"/>
              <a:gd name="connsiteX4506" fmla="*/ 7178376 w 8079933"/>
              <a:gd name="connsiteY4506" fmla="*/ 3208057 h 4687251"/>
              <a:gd name="connsiteX4507" fmla="*/ 7177291 w 8079933"/>
              <a:gd name="connsiteY4507" fmla="*/ 3209248 h 4687251"/>
              <a:gd name="connsiteX4508" fmla="*/ 7175989 w 8079933"/>
              <a:gd name="connsiteY4508" fmla="*/ 3208166 h 4687251"/>
              <a:gd name="connsiteX4509" fmla="*/ 6470739 w 8079933"/>
              <a:gd name="connsiteY4509" fmla="*/ 3204593 h 4687251"/>
              <a:gd name="connsiteX4510" fmla="*/ 6473235 w 8079933"/>
              <a:gd name="connsiteY4510" fmla="*/ 3204593 h 4687251"/>
              <a:gd name="connsiteX4511" fmla="*/ 6473018 w 8079933"/>
              <a:gd name="connsiteY4511" fmla="*/ 3206757 h 4687251"/>
              <a:gd name="connsiteX4512" fmla="*/ 6471282 w 8079933"/>
              <a:gd name="connsiteY4512" fmla="*/ 3206865 h 4687251"/>
              <a:gd name="connsiteX4513" fmla="*/ 4424440 w 8079933"/>
              <a:gd name="connsiteY4513" fmla="*/ 3202751 h 4687251"/>
              <a:gd name="connsiteX4514" fmla="*/ 4424332 w 8079933"/>
              <a:gd name="connsiteY4514" fmla="*/ 3204916 h 4687251"/>
              <a:gd name="connsiteX4515" fmla="*/ 4401000 w 8079933"/>
              <a:gd name="connsiteY4515" fmla="*/ 3205349 h 4687251"/>
              <a:gd name="connsiteX4516" fmla="*/ 4400349 w 8079933"/>
              <a:gd name="connsiteY4516" fmla="*/ 3212171 h 4687251"/>
              <a:gd name="connsiteX4517" fmla="*/ 4398613 w 8079933"/>
              <a:gd name="connsiteY4517" fmla="*/ 3215960 h 4687251"/>
              <a:gd name="connsiteX4518" fmla="*/ 4396551 w 8079933"/>
              <a:gd name="connsiteY4518" fmla="*/ 3217043 h 4687251"/>
              <a:gd name="connsiteX4519" fmla="*/ 4397311 w 8079933"/>
              <a:gd name="connsiteY4519" fmla="*/ 3221698 h 4687251"/>
              <a:gd name="connsiteX4520" fmla="*/ 4397419 w 8079933"/>
              <a:gd name="connsiteY4520" fmla="*/ 3228195 h 4687251"/>
              <a:gd name="connsiteX4521" fmla="*/ 4379297 w 8079933"/>
              <a:gd name="connsiteY4521" fmla="*/ 3229385 h 4687251"/>
              <a:gd name="connsiteX4522" fmla="*/ 4376258 w 8079933"/>
              <a:gd name="connsiteY4522" fmla="*/ 3231118 h 4687251"/>
              <a:gd name="connsiteX4523" fmla="*/ 4368011 w 8079933"/>
              <a:gd name="connsiteY4523" fmla="*/ 3230577 h 4687251"/>
              <a:gd name="connsiteX4524" fmla="*/ 4365407 w 8079933"/>
              <a:gd name="connsiteY4524" fmla="*/ 3229710 h 4687251"/>
              <a:gd name="connsiteX4525" fmla="*/ 4360957 w 8079933"/>
              <a:gd name="connsiteY4525" fmla="*/ 3230577 h 4687251"/>
              <a:gd name="connsiteX4526" fmla="*/ 4354555 w 8079933"/>
              <a:gd name="connsiteY4526" fmla="*/ 3230901 h 4687251"/>
              <a:gd name="connsiteX4527" fmla="*/ 4351951 w 8079933"/>
              <a:gd name="connsiteY4527" fmla="*/ 3229494 h 4687251"/>
              <a:gd name="connsiteX4528" fmla="*/ 4351951 w 8079933"/>
              <a:gd name="connsiteY4528" fmla="*/ 3229495 h 4687251"/>
              <a:gd name="connsiteX4529" fmla="*/ 4354556 w 8079933"/>
              <a:gd name="connsiteY4529" fmla="*/ 3230902 h 4687251"/>
              <a:gd name="connsiteX4530" fmla="*/ 4360958 w 8079933"/>
              <a:gd name="connsiteY4530" fmla="*/ 3230578 h 4687251"/>
              <a:gd name="connsiteX4531" fmla="*/ 4365408 w 8079933"/>
              <a:gd name="connsiteY4531" fmla="*/ 3229711 h 4687251"/>
              <a:gd name="connsiteX4532" fmla="*/ 4368012 w 8079933"/>
              <a:gd name="connsiteY4532" fmla="*/ 3230578 h 4687251"/>
              <a:gd name="connsiteX4533" fmla="*/ 4376259 w 8079933"/>
              <a:gd name="connsiteY4533" fmla="*/ 3231119 h 4687251"/>
              <a:gd name="connsiteX4534" fmla="*/ 4379298 w 8079933"/>
              <a:gd name="connsiteY4534" fmla="*/ 3229386 h 4687251"/>
              <a:gd name="connsiteX4535" fmla="*/ 4397420 w 8079933"/>
              <a:gd name="connsiteY4535" fmla="*/ 3228196 h 4687251"/>
              <a:gd name="connsiteX4536" fmla="*/ 4397312 w 8079933"/>
              <a:gd name="connsiteY4536" fmla="*/ 3221699 h 4687251"/>
              <a:gd name="connsiteX4537" fmla="*/ 4396552 w 8079933"/>
              <a:gd name="connsiteY4537" fmla="*/ 3217044 h 4687251"/>
              <a:gd name="connsiteX4538" fmla="*/ 4398613 w 8079933"/>
              <a:gd name="connsiteY4538" fmla="*/ 3215961 h 4687251"/>
              <a:gd name="connsiteX4539" fmla="*/ 4400350 w 8079933"/>
              <a:gd name="connsiteY4539" fmla="*/ 3212172 h 4687251"/>
              <a:gd name="connsiteX4540" fmla="*/ 4401001 w 8079933"/>
              <a:gd name="connsiteY4540" fmla="*/ 3205350 h 4687251"/>
              <a:gd name="connsiteX4541" fmla="*/ 4424332 w 8079933"/>
              <a:gd name="connsiteY4541" fmla="*/ 3204917 h 4687251"/>
              <a:gd name="connsiteX4542" fmla="*/ 4424441 w 8079933"/>
              <a:gd name="connsiteY4542" fmla="*/ 3202752 h 4687251"/>
              <a:gd name="connsiteX4543" fmla="*/ 4431710 w 8079933"/>
              <a:gd name="connsiteY4543" fmla="*/ 3203401 h 4687251"/>
              <a:gd name="connsiteX4544" fmla="*/ 4431710 w 8079933"/>
              <a:gd name="connsiteY4544" fmla="*/ 3203400 h 4687251"/>
              <a:gd name="connsiteX4545" fmla="*/ 4654899 w 8079933"/>
              <a:gd name="connsiteY4545" fmla="*/ 3200766 h 4687251"/>
              <a:gd name="connsiteX4546" fmla="*/ 4666106 w 8079933"/>
              <a:gd name="connsiteY4546" fmla="*/ 3216177 h 4687251"/>
              <a:gd name="connsiteX4547" fmla="*/ 4671857 w 8079933"/>
              <a:gd name="connsiteY4547" fmla="*/ 3235016 h 4687251"/>
              <a:gd name="connsiteX4548" fmla="*/ 4668494 w 8079933"/>
              <a:gd name="connsiteY4548" fmla="*/ 3233283 h 4687251"/>
              <a:gd name="connsiteX4549" fmla="*/ 4629427 w 8079933"/>
              <a:gd name="connsiteY4549" fmla="*/ 3242811 h 4687251"/>
              <a:gd name="connsiteX4550" fmla="*/ 4619661 w 8079933"/>
              <a:gd name="connsiteY4550" fmla="*/ 3261434 h 4687251"/>
              <a:gd name="connsiteX4551" fmla="*/ 4619661 w 8079933"/>
              <a:gd name="connsiteY4551" fmla="*/ 3261434 h 4687251"/>
              <a:gd name="connsiteX4552" fmla="*/ 4629427 w 8079933"/>
              <a:gd name="connsiteY4552" fmla="*/ 3242812 h 4687251"/>
              <a:gd name="connsiteX4553" fmla="*/ 4668493 w 8079933"/>
              <a:gd name="connsiteY4553" fmla="*/ 3233284 h 4687251"/>
              <a:gd name="connsiteX4554" fmla="*/ 4671857 w 8079933"/>
              <a:gd name="connsiteY4554" fmla="*/ 3235016 h 4687251"/>
              <a:gd name="connsiteX4555" fmla="*/ 4671858 w 8079933"/>
              <a:gd name="connsiteY4555" fmla="*/ 3235017 h 4687251"/>
              <a:gd name="connsiteX4556" fmla="*/ 4666107 w 8079933"/>
              <a:gd name="connsiteY4556" fmla="*/ 3216177 h 4687251"/>
              <a:gd name="connsiteX4557" fmla="*/ 7172408 w 8079933"/>
              <a:gd name="connsiteY4557" fmla="*/ 3199288 h 4687251"/>
              <a:gd name="connsiteX4558" fmla="*/ 7174795 w 8079933"/>
              <a:gd name="connsiteY4558" fmla="*/ 3201237 h 4687251"/>
              <a:gd name="connsiteX4559" fmla="*/ 7175663 w 8079933"/>
              <a:gd name="connsiteY4559" fmla="*/ 3203619 h 4687251"/>
              <a:gd name="connsiteX4560" fmla="*/ 7172950 w 8079933"/>
              <a:gd name="connsiteY4560" fmla="*/ 3204052 h 4687251"/>
              <a:gd name="connsiteX4561" fmla="*/ 7170997 w 8079933"/>
              <a:gd name="connsiteY4561" fmla="*/ 3202536 h 4687251"/>
              <a:gd name="connsiteX4562" fmla="*/ 7170997 w 8079933"/>
              <a:gd name="connsiteY4562" fmla="*/ 3200262 h 4687251"/>
              <a:gd name="connsiteX4563" fmla="*/ 7172408 w 8079933"/>
              <a:gd name="connsiteY4563" fmla="*/ 3199288 h 4687251"/>
              <a:gd name="connsiteX4564" fmla="*/ 7161990 w 8079933"/>
              <a:gd name="connsiteY4564" fmla="*/ 3196256 h 4687251"/>
              <a:gd name="connsiteX4565" fmla="*/ 7163835 w 8079933"/>
              <a:gd name="connsiteY4565" fmla="*/ 3197663 h 4687251"/>
              <a:gd name="connsiteX4566" fmla="*/ 7168175 w 8079933"/>
              <a:gd name="connsiteY4566" fmla="*/ 3201345 h 4687251"/>
              <a:gd name="connsiteX4567" fmla="*/ 7169695 w 8079933"/>
              <a:gd name="connsiteY4567" fmla="*/ 3204592 h 4687251"/>
              <a:gd name="connsiteX4568" fmla="*/ 7171865 w 8079933"/>
              <a:gd name="connsiteY4568" fmla="*/ 3205892 h 4687251"/>
              <a:gd name="connsiteX4569" fmla="*/ 7170997 w 8079933"/>
              <a:gd name="connsiteY4569" fmla="*/ 3208057 h 4687251"/>
              <a:gd name="connsiteX4570" fmla="*/ 7166656 w 8079933"/>
              <a:gd name="connsiteY4570" fmla="*/ 3212063 h 4687251"/>
              <a:gd name="connsiteX4571" fmla="*/ 7164269 w 8079933"/>
              <a:gd name="connsiteY4571" fmla="*/ 3212388 h 4687251"/>
              <a:gd name="connsiteX4572" fmla="*/ 7161990 w 8079933"/>
              <a:gd name="connsiteY4572" fmla="*/ 3210222 h 4687251"/>
              <a:gd name="connsiteX4573" fmla="*/ 7162424 w 8079933"/>
              <a:gd name="connsiteY4573" fmla="*/ 3205784 h 4687251"/>
              <a:gd name="connsiteX4574" fmla="*/ 7163943 w 8079933"/>
              <a:gd name="connsiteY4574" fmla="*/ 3205892 h 4687251"/>
              <a:gd name="connsiteX4575" fmla="*/ 7165680 w 8079933"/>
              <a:gd name="connsiteY4575" fmla="*/ 3207516 h 4687251"/>
              <a:gd name="connsiteX4576" fmla="*/ 7164594 w 8079933"/>
              <a:gd name="connsiteY4576" fmla="*/ 3204918 h 4687251"/>
              <a:gd name="connsiteX4577" fmla="*/ 7162641 w 8079933"/>
              <a:gd name="connsiteY4577" fmla="*/ 3203185 h 4687251"/>
              <a:gd name="connsiteX4578" fmla="*/ 7162533 w 8079933"/>
              <a:gd name="connsiteY4578" fmla="*/ 3198205 h 4687251"/>
              <a:gd name="connsiteX4579" fmla="*/ 7063566 w 8079933"/>
              <a:gd name="connsiteY4579" fmla="*/ 3196148 h 4687251"/>
              <a:gd name="connsiteX4580" fmla="*/ 7066062 w 8079933"/>
              <a:gd name="connsiteY4580" fmla="*/ 3197338 h 4687251"/>
              <a:gd name="connsiteX4581" fmla="*/ 7062698 w 8079933"/>
              <a:gd name="connsiteY4581" fmla="*/ 3199396 h 4687251"/>
              <a:gd name="connsiteX4582" fmla="*/ 7163184 w 8079933"/>
              <a:gd name="connsiteY4582" fmla="*/ 3191492 h 4687251"/>
              <a:gd name="connsiteX4583" fmla="*/ 7165896 w 8079933"/>
              <a:gd name="connsiteY4583" fmla="*/ 3192141 h 4687251"/>
              <a:gd name="connsiteX4584" fmla="*/ 7166656 w 8079933"/>
              <a:gd name="connsiteY4584" fmla="*/ 3194740 h 4687251"/>
              <a:gd name="connsiteX4585" fmla="*/ 7170563 w 8079933"/>
              <a:gd name="connsiteY4585" fmla="*/ 3198530 h 4687251"/>
              <a:gd name="connsiteX4586" fmla="*/ 7169261 w 8079933"/>
              <a:gd name="connsiteY4586" fmla="*/ 3199396 h 4687251"/>
              <a:gd name="connsiteX4587" fmla="*/ 7166331 w 8079933"/>
              <a:gd name="connsiteY4587" fmla="*/ 3197880 h 4687251"/>
              <a:gd name="connsiteX4588" fmla="*/ 7162750 w 8079933"/>
              <a:gd name="connsiteY4588" fmla="*/ 3193874 h 4687251"/>
              <a:gd name="connsiteX4589" fmla="*/ 7174795 w 8079933"/>
              <a:gd name="connsiteY4589" fmla="*/ 3188569 h 4687251"/>
              <a:gd name="connsiteX4590" fmla="*/ 7176098 w 8079933"/>
              <a:gd name="connsiteY4590" fmla="*/ 3188893 h 4687251"/>
              <a:gd name="connsiteX4591" fmla="*/ 7177508 w 8079933"/>
              <a:gd name="connsiteY4591" fmla="*/ 3191059 h 4687251"/>
              <a:gd name="connsiteX4592" fmla="*/ 7177075 w 8079933"/>
              <a:gd name="connsiteY4592" fmla="*/ 3192358 h 4687251"/>
              <a:gd name="connsiteX4593" fmla="*/ 7178160 w 8079933"/>
              <a:gd name="connsiteY4593" fmla="*/ 3192899 h 4687251"/>
              <a:gd name="connsiteX4594" fmla="*/ 7177617 w 8079933"/>
              <a:gd name="connsiteY4594" fmla="*/ 3195606 h 4687251"/>
              <a:gd name="connsiteX4595" fmla="*/ 7175230 w 8079933"/>
              <a:gd name="connsiteY4595" fmla="*/ 3198530 h 4687251"/>
              <a:gd name="connsiteX4596" fmla="*/ 7173168 w 8079933"/>
              <a:gd name="connsiteY4596" fmla="*/ 3197122 h 4687251"/>
              <a:gd name="connsiteX4597" fmla="*/ 7168176 w 8079933"/>
              <a:gd name="connsiteY4597" fmla="*/ 3194415 h 4687251"/>
              <a:gd name="connsiteX4598" fmla="*/ 7167416 w 8079933"/>
              <a:gd name="connsiteY4598" fmla="*/ 3193116 h 4687251"/>
              <a:gd name="connsiteX4599" fmla="*/ 7170780 w 8079933"/>
              <a:gd name="connsiteY4599" fmla="*/ 3190085 h 4687251"/>
              <a:gd name="connsiteX4600" fmla="*/ 6492008 w 8079933"/>
              <a:gd name="connsiteY4600" fmla="*/ 3187486 h 4687251"/>
              <a:gd name="connsiteX4601" fmla="*/ 6494179 w 8079933"/>
              <a:gd name="connsiteY4601" fmla="*/ 3189651 h 4687251"/>
              <a:gd name="connsiteX4602" fmla="*/ 6499821 w 8079933"/>
              <a:gd name="connsiteY4602" fmla="*/ 3189651 h 4687251"/>
              <a:gd name="connsiteX4603" fmla="*/ 6507526 w 8079933"/>
              <a:gd name="connsiteY4603" fmla="*/ 3190842 h 4687251"/>
              <a:gd name="connsiteX4604" fmla="*/ 6511108 w 8079933"/>
              <a:gd name="connsiteY4604" fmla="*/ 3193765 h 4687251"/>
              <a:gd name="connsiteX4605" fmla="*/ 6513061 w 8079933"/>
              <a:gd name="connsiteY4605" fmla="*/ 3192033 h 4687251"/>
              <a:gd name="connsiteX4606" fmla="*/ 6515231 w 8079933"/>
              <a:gd name="connsiteY4606" fmla="*/ 3189651 h 4687251"/>
              <a:gd name="connsiteX4607" fmla="*/ 6522610 w 8079933"/>
              <a:gd name="connsiteY4607" fmla="*/ 3190085 h 4687251"/>
              <a:gd name="connsiteX4608" fmla="*/ 6527276 w 8079933"/>
              <a:gd name="connsiteY4608" fmla="*/ 3193765 h 4687251"/>
              <a:gd name="connsiteX4609" fmla="*/ 6535741 w 8079933"/>
              <a:gd name="connsiteY4609" fmla="*/ 3195823 h 4687251"/>
              <a:gd name="connsiteX4610" fmla="*/ 6546266 w 8079933"/>
              <a:gd name="connsiteY4610" fmla="*/ 3196906 h 4687251"/>
              <a:gd name="connsiteX4611" fmla="*/ 6548979 w 8079933"/>
              <a:gd name="connsiteY4611" fmla="*/ 3201886 h 4687251"/>
              <a:gd name="connsiteX4612" fmla="*/ 6548111 w 8079933"/>
              <a:gd name="connsiteY4612" fmla="*/ 3206542 h 4687251"/>
              <a:gd name="connsiteX4613" fmla="*/ 6550064 w 8079933"/>
              <a:gd name="connsiteY4613" fmla="*/ 3208599 h 4687251"/>
              <a:gd name="connsiteX4614" fmla="*/ 6558203 w 8079933"/>
              <a:gd name="connsiteY4614" fmla="*/ 3212280 h 4687251"/>
              <a:gd name="connsiteX4615" fmla="*/ 6572636 w 8079933"/>
              <a:gd name="connsiteY4615" fmla="*/ 3212063 h 4687251"/>
              <a:gd name="connsiteX4616" fmla="*/ 6585441 w 8079933"/>
              <a:gd name="connsiteY4616" fmla="*/ 3214120 h 4687251"/>
              <a:gd name="connsiteX4617" fmla="*/ 6596293 w 8079933"/>
              <a:gd name="connsiteY4617" fmla="*/ 3212280 h 4687251"/>
              <a:gd name="connsiteX4618" fmla="*/ 6599223 w 8079933"/>
              <a:gd name="connsiteY4618" fmla="*/ 3208382 h 4687251"/>
              <a:gd name="connsiteX4619" fmla="*/ 6600633 w 8079933"/>
              <a:gd name="connsiteY4619" fmla="*/ 3198963 h 4687251"/>
              <a:gd name="connsiteX4620" fmla="*/ 6605083 w 8079933"/>
              <a:gd name="connsiteY4620" fmla="*/ 3198746 h 4687251"/>
              <a:gd name="connsiteX4621" fmla="*/ 6611050 w 8079933"/>
              <a:gd name="connsiteY4621" fmla="*/ 3204918 h 4687251"/>
              <a:gd name="connsiteX4622" fmla="*/ 6614740 w 8079933"/>
              <a:gd name="connsiteY4622" fmla="*/ 3204918 h 4687251"/>
              <a:gd name="connsiteX4623" fmla="*/ 6619082 w 8079933"/>
              <a:gd name="connsiteY4623" fmla="*/ 3204051 h 4687251"/>
              <a:gd name="connsiteX4624" fmla="*/ 6622337 w 8079933"/>
              <a:gd name="connsiteY4624" fmla="*/ 3206108 h 4687251"/>
              <a:gd name="connsiteX4625" fmla="*/ 6627437 w 8079933"/>
              <a:gd name="connsiteY4625" fmla="*/ 3210439 h 4687251"/>
              <a:gd name="connsiteX4626" fmla="*/ 6631560 w 8079933"/>
              <a:gd name="connsiteY4626" fmla="*/ 3210222 h 4687251"/>
              <a:gd name="connsiteX4627" fmla="*/ 6634925 w 8079933"/>
              <a:gd name="connsiteY4627" fmla="*/ 3213904 h 4687251"/>
              <a:gd name="connsiteX4628" fmla="*/ 6637963 w 8079933"/>
              <a:gd name="connsiteY4628" fmla="*/ 3212388 h 4687251"/>
              <a:gd name="connsiteX4629" fmla="*/ 6644366 w 8079933"/>
              <a:gd name="connsiteY4629" fmla="*/ 3212496 h 4687251"/>
              <a:gd name="connsiteX4630" fmla="*/ 6644691 w 8079933"/>
              <a:gd name="connsiteY4630" fmla="*/ 3218884 h 4687251"/>
              <a:gd name="connsiteX4631" fmla="*/ 6649249 w 8079933"/>
              <a:gd name="connsiteY4631" fmla="*/ 3224947 h 4687251"/>
              <a:gd name="connsiteX4632" fmla="*/ 6649575 w 8079933"/>
              <a:gd name="connsiteY4632" fmla="*/ 3228412 h 4687251"/>
              <a:gd name="connsiteX4633" fmla="*/ 6652830 w 8079933"/>
              <a:gd name="connsiteY4633" fmla="*/ 3232093 h 4687251"/>
              <a:gd name="connsiteX4634" fmla="*/ 6658147 w 8079933"/>
              <a:gd name="connsiteY4634" fmla="*/ 3234583 h 4687251"/>
              <a:gd name="connsiteX4635" fmla="*/ 6663356 w 8079933"/>
              <a:gd name="connsiteY4635" fmla="*/ 3232743 h 4687251"/>
              <a:gd name="connsiteX4636" fmla="*/ 6667046 w 8079933"/>
              <a:gd name="connsiteY4636" fmla="*/ 3235017 h 4687251"/>
              <a:gd name="connsiteX4637" fmla="*/ 6670952 w 8079933"/>
              <a:gd name="connsiteY4637" fmla="*/ 3234800 h 4687251"/>
              <a:gd name="connsiteX4638" fmla="*/ 6674099 w 8079933"/>
              <a:gd name="connsiteY4638" fmla="*/ 3232851 h 4687251"/>
              <a:gd name="connsiteX4639" fmla="*/ 6678006 w 8079933"/>
              <a:gd name="connsiteY4639" fmla="*/ 3232743 h 4687251"/>
              <a:gd name="connsiteX4640" fmla="*/ 6679091 w 8079933"/>
              <a:gd name="connsiteY4640" fmla="*/ 3234259 h 4687251"/>
              <a:gd name="connsiteX4641" fmla="*/ 6683214 w 8079933"/>
              <a:gd name="connsiteY4641" fmla="*/ 3235017 h 4687251"/>
              <a:gd name="connsiteX4642" fmla="*/ 6685928 w 8079933"/>
              <a:gd name="connsiteY4642" fmla="*/ 3237940 h 4687251"/>
              <a:gd name="connsiteX4643" fmla="*/ 6684408 w 8079933"/>
              <a:gd name="connsiteY4643" fmla="*/ 3248334 h 4687251"/>
              <a:gd name="connsiteX4644" fmla="*/ 6682021 w 8079933"/>
              <a:gd name="connsiteY4644" fmla="*/ 3251365 h 4687251"/>
              <a:gd name="connsiteX4645" fmla="*/ 6684734 w 8079933"/>
              <a:gd name="connsiteY4645" fmla="*/ 3253206 h 4687251"/>
              <a:gd name="connsiteX4646" fmla="*/ 6686036 w 8079933"/>
              <a:gd name="connsiteY4646" fmla="*/ 3260352 h 4687251"/>
              <a:gd name="connsiteX4647" fmla="*/ 6683214 w 8079933"/>
              <a:gd name="connsiteY4647" fmla="*/ 3261218 h 4687251"/>
              <a:gd name="connsiteX4648" fmla="*/ 6679742 w 8079933"/>
              <a:gd name="connsiteY4648" fmla="*/ 3257536 h 4687251"/>
              <a:gd name="connsiteX4649" fmla="*/ 6674316 w 8079933"/>
              <a:gd name="connsiteY4649" fmla="*/ 3258187 h 4687251"/>
              <a:gd name="connsiteX4650" fmla="*/ 6668239 w 8079933"/>
              <a:gd name="connsiteY4650" fmla="*/ 3253097 h 4687251"/>
              <a:gd name="connsiteX4651" fmla="*/ 6663248 w 8079933"/>
              <a:gd name="connsiteY4651" fmla="*/ 3251799 h 4687251"/>
              <a:gd name="connsiteX4652" fmla="*/ 6658690 w 8079933"/>
              <a:gd name="connsiteY4652" fmla="*/ 3246927 h 4687251"/>
              <a:gd name="connsiteX4653" fmla="*/ 6655109 w 8079933"/>
              <a:gd name="connsiteY4653" fmla="*/ 3246818 h 4687251"/>
              <a:gd name="connsiteX4654" fmla="*/ 6648273 w 8079933"/>
              <a:gd name="connsiteY4654" fmla="*/ 3250391 h 4687251"/>
              <a:gd name="connsiteX4655" fmla="*/ 6641110 w 8079933"/>
              <a:gd name="connsiteY4655" fmla="*/ 3250716 h 4687251"/>
              <a:gd name="connsiteX4656" fmla="*/ 6635033 w 8079933"/>
              <a:gd name="connsiteY4656" fmla="*/ 3247251 h 4687251"/>
              <a:gd name="connsiteX4657" fmla="*/ 6628414 w 8079933"/>
              <a:gd name="connsiteY4657" fmla="*/ 3245844 h 4687251"/>
              <a:gd name="connsiteX4658" fmla="*/ 6622880 w 8079933"/>
              <a:gd name="connsiteY4658" fmla="*/ 3250499 h 4687251"/>
              <a:gd name="connsiteX4659" fmla="*/ 6616802 w 8079933"/>
              <a:gd name="connsiteY4659" fmla="*/ 3246168 h 4687251"/>
              <a:gd name="connsiteX4660" fmla="*/ 6608555 w 8079933"/>
              <a:gd name="connsiteY4660" fmla="*/ 3245736 h 4687251"/>
              <a:gd name="connsiteX4661" fmla="*/ 6603564 w 8079933"/>
              <a:gd name="connsiteY4661" fmla="*/ 3248442 h 4687251"/>
              <a:gd name="connsiteX4662" fmla="*/ 6590976 w 8079933"/>
              <a:gd name="connsiteY4662" fmla="*/ 3243678 h 4687251"/>
              <a:gd name="connsiteX4663" fmla="*/ 6579473 w 8079933"/>
              <a:gd name="connsiteY4663" fmla="*/ 3236424 h 4687251"/>
              <a:gd name="connsiteX4664" fmla="*/ 6571876 w 8079933"/>
              <a:gd name="connsiteY4664" fmla="*/ 3236532 h 4687251"/>
              <a:gd name="connsiteX4665" fmla="*/ 6566125 w 8079933"/>
              <a:gd name="connsiteY4665" fmla="*/ 3232634 h 4687251"/>
              <a:gd name="connsiteX4666" fmla="*/ 6562762 w 8079933"/>
              <a:gd name="connsiteY4666" fmla="*/ 3232851 h 4687251"/>
              <a:gd name="connsiteX4667" fmla="*/ 6559832 w 8079933"/>
              <a:gd name="connsiteY4667" fmla="*/ 3236207 h 4687251"/>
              <a:gd name="connsiteX4668" fmla="*/ 6555274 w 8079933"/>
              <a:gd name="connsiteY4668" fmla="*/ 3235342 h 4687251"/>
              <a:gd name="connsiteX4669" fmla="*/ 6551692 w 8079933"/>
              <a:gd name="connsiteY4669" fmla="*/ 3231552 h 4687251"/>
              <a:gd name="connsiteX4670" fmla="*/ 6548437 w 8079933"/>
              <a:gd name="connsiteY4670" fmla="*/ 3231877 h 4687251"/>
              <a:gd name="connsiteX4671" fmla="*/ 6544096 w 8079933"/>
              <a:gd name="connsiteY4671" fmla="*/ 3236857 h 4687251"/>
              <a:gd name="connsiteX4672" fmla="*/ 6533462 w 8079933"/>
              <a:gd name="connsiteY4672" fmla="*/ 3233826 h 4687251"/>
              <a:gd name="connsiteX4673" fmla="*/ 6526083 w 8079933"/>
              <a:gd name="connsiteY4673" fmla="*/ 3228195 h 4687251"/>
              <a:gd name="connsiteX4674" fmla="*/ 6518811 w 8079933"/>
              <a:gd name="connsiteY4674" fmla="*/ 3227762 h 4687251"/>
              <a:gd name="connsiteX4675" fmla="*/ 6515556 w 8079933"/>
              <a:gd name="connsiteY4675" fmla="*/ 3226030 h 4687251"/>
              <a:gd name="connsiteX4676" fmla="*/ 6511108 w 8079933"/>
              <a:gd name="connsiteY4676" fmla="*/ 3228629 h 4687251"/>
              <a:gd name="connsiteX4677" fmla="*/ 6505573 w 8079933"/>
              <a:gd name="connsiteY4677" fmla="*/ 3226571 h 4687251"/>
              <a:gd name="connsiteX4678" fmla="*/ 6499170 w 8079933"/>
              <a:gd name="connsiteY4678" fmla="*/ 3225597 h 4687251"/>
              <a:gd name="connsiteX4679" fmla="*/ 6497001 w 8079933"/>
              <a:gd name="connsiteY4679" fmla="*/ 3223540 h 4687251"/>
              <a:gd name="connsiteX4680" fmla="*/ 6500364 w 8079933"/>
              <a:gd name="connsiteY4680" fmla="*/ 3217585 h 4687251"/>
              <a:gd name="connsiteX4681" fmla="*/ 6502426 w 8079933"/>
              <a:gd name="connsiteY4681" fmla="*/ 3215528 h 4687251"/>
              <a:gd name="connsiteX4682" fmla="*/ 6499062 w 8079933"/>
              <a:gd name="connsiteY4682" fmla="*/ 3215420 h 4687251"/>
              <a:gd name="connsiteX4683" fmla="*/ 6496132 w 8079933"/>
              <a:gd name="connsiteY4683" fmla="*/ 3216935 h 4687251"/>
              <a:gd name="connsiteX4684" fmla="*/ 6492985 w 8079933"/>
              <a:gd name="connsiteY4684" fmla="*/ 3214987 h 4687251"/>
              <a:gd name="connsiteX4685" fmla="*/ 6490815 w 8079933"/>
              <a:gd name="connsiteY4685" fmla="*/ 3210873 h 4687251"/>
              <a:gd name="connsiteX4686" fmla="*/ 6485606 w 8079933"/>
              <a:gd name="connsiteY4686" fmla="*/ 3212930 h 4687251"/>
              <a:gd name="connsiteX4687" fmla="*/ 6475948 w 8079933"/>
              <a:gd name="connsiteY4687" fmla="*/ 3212713 h 4687251"/>
              <a:gd name="connsiteX4688" fmla="*/ 6472909 w 8079933"/>
              <a:gd name="connsiteY4688" fmla="*/ 3210873 h 4687251"/>
              <a:gd name="connsiteX4689" fmla="*/ 6472692 w 8079933"/>
              <a:gd name="connsiteY4689" fmla="*/ 3208165 h 4687251"/>
              <a:gd name="connsiteX4690" fmla="*/ 6474320 w 8079933"/>
              <a:gd name="connsiteY4690" fmla="*/ 3207841 h 4687251"/>
              <a:gd name="connsiteX4691" fmla="*/ 6476273 w 8079933"/>
              <a:gd name="connsiteY4691" fmla="*/ 3209898 h 4687251"/>
              <a:gd name="connsiteX4692" fmla="*/ 6479854 w 8079933"/>
              <a:gd name="connsiteY4692" fmla="*/ 3208599 h 4687251"/>
              <a:gd name="connsiteX4693" fmla="*/ 6480288 w 8079933"/>
              <a:gd name="connsiteY4693" fmla="*/ 3203726 h 4687251"/>
              <a:gd name="connsiteX4694" fmla="*/ 6485280 w 8079933"/>
              <a:gd name="connsiteY4694" fmla="*/ 3203077 h 4687251"/>
              <a:gd name="connsiteX4695" fmla="*/ 6487560 w 8079933"/>
              <a:gd name="connsiteY4695" fmla="*/ 3198096 h 4687251"/>
              <a:gd name="connsiteX4696" fmla="*/ 6487233 w 8079933"/>
              <a:gd name="connsiteY4696" fmla="*/ 3193116 h 4687251"/>
              <a:gd name="connsiteX4697" fmla="*/ 6834053 w 8079933"/>
              <a:gd name="connsiteY4697" fmla="*/ 3185971 h 4687251"/>
              <a:gd name="connsiteX4698" fmla="*/ 6837851 w 8079933"/>
              <a:gd name="connsiteY4698" fmla="*/ 3193549 h 4687251"/>
              <a:gd name="connsiteX4699" fmla="*/ 6836007 w 8079933"/>
              <a:gd name="connsiteY4699" fmla="*/ 3197123 h 4687251"/>
              <a:gd name="connsiteX4700" fmla="*/ 6834162 w 8079933"/>
              <a:gd name="connsiteY4700" fmla="*/ 3202103 h 4687251"/>
              <a:gd name="connsiteX4701" fmla="*/ 6833076 w 8079933"/>
              <a:gd name="connsiteY4701" fmla="*/ 3198530 h 4687251"/>
              <a:gd name="connsiteX4702" fmla="*/ 6831014 w 8079933"/>
              <a:gd name="connsiteY4702" fmla="*/ 3195174 h 4687251"/>
              <a:gd name="connsiteX4703" fmla="*/ 6832642 w 8079933"/>
              <a:gd name="connsiteY4703" fmla="*/ 3192251 h 4687251"/>
              <a:gd name="connsiteX4704" fmla="*/ 6832967 w 8079933"/>
              <a:gd name="connsiteY4704" fmla="*/ 3188461 h 4687251"/>
              <a:gd name="connsiteX4705" fmla="*/ 7164270 w 8079933"/>
              <a:gd name="connsiteY4705" fmla="*/ 3183372 h 4687251"/>
              <a:gd name="connsiteX4706" fmla="*/ 7165572 w 8079933"/>
              <a:gd name="connsiteY4706" fmla="*/ 3183372 h 4687251"/>
              <a:gd name="connsiteX4707" fmla="*/ 7165572 w 8079933"/>
              <a:gd name="connsiteY4707" fmla="*/ 3184996 h 4687251"/>
              <a:gd name="connsiteX4708" fmla="*/ 7163619 w 8079933"/>
              <a:gd name="connsiteY4708" fmla="*/ 3184996 h 4687251"/>
              <a:gd name="connsiteX4709" fmla="*/ 7127482 w 8079933"/>
              <a:gd name="connsiteY4709" fmla="*/ 3178824 h 4687251"/>
              <a:gd name="connsiteX4710" fmla="*/ 7130846 w 8079933"/>
              <a:gd name="connsiteY4710" fmla="*/ 3183479 h 4687251"/>
              <a:gd name="connsiteX4711" fmla="*/ 7130738 w 8079933"/>
              <a:gd name="connsiteY4711" fmla="*/ 3189001 h 4687251"/>
              <a:gd name="connsiteX4712" fmla="*/ 7129002 w 8079933"/>
              <a:gd name="connsiteY4712" fmla="*/ 3187160 h 4687251"/>
              <a:gd name="connsiteX4713" fmla="*/ 7128784 w 8079933"/>
              <a:gd name="connsiteY4713" fmla="*/ 3183371 h 4687251"/>
              <a:gd name="connsiteX4714" fmla="*/ 7169912 w 8079933"/>
              <a:gd name="connsiteY4714" fmla="*/ 3177742 h 4687251"/>
              <a:gd name="connsiteX4715" fmla="*/ 7172191 w 8079933"/>
              <a:gd name="connsiteY4715" fmla="*/ 3178066 h 4687251"/>
              <a:gd name="connsiteX4716" fmla="*/ 7175012 w 8079933"/>
              <a:gd name="connsiteY4716" fmla="*/ 3180232 h 4687251"/>
              <a:gd name="connsiteX4717" fmla="*/ 7176965 w 8079933"/>
              <a:gd name="connsiteY4717" fmla="*/ 3180448 h 4687251"/>
              <a:gd name="connsiteX4718" fmla="*/ 7177074 w 8079933"/>
              <a:gd name="connsiteY4718" fmla="*/ 3184672 h 4687251"/>
              <a:gd name="connsiteX4719" fmla="*/ 7175989 w 8079933"/>
              <a:gd name="connsiteY4719" fmla="*/ 3186837 h 4687251"/>
              <a:gd name="connsiteX4720" fmla="*/ 7173168 w 8079933"/>
              <a:gd name="connsiteY4720" fmla="*/ 3186729 h 4687251"/>
              <a:gd name="connsiteX4721" fmla="*/ 7169912 w 8079933"/>
              <a:gd name="connsiteY4721" fmla="*/ 3189111 h 4687251"/>
              <a:gd name="connsiteX4722" fmla="*/ 7168176 w 8079933"/>
              <a:gd name="connsiteY4722" fmla="*/ 3189219 h 4687251"/>
              <a:gd name="connsiteX4723" fmla="*/ 7167525 w 8079933"/>
              <a:gd name="connsiteY4723" fmla="*/ 3186404 h 4687251"/>
              <a:gd name="connsiteX4724" fmla="*/ 7170779 w 8079933"/>
              <a:gd name="connsiteY4724" fmla="*/ 3184130 h 4687251"/>
              <a:gd name="connsiteX4725" fmla="*/ 7168502 w 8079933"/>
              <a:gd name="connsiteY4725" fmla="*/ 3184563 h 4687251"/>
              <a:gd name="connsiteX4726" fmla="*/ 7168176 w 8079933"/>
              <a:gd name="connsiteY4726" fmla="*/ 3182615 h 4687251"/>
              <a:gd name="connsiteX4727" fmla="*/ 7165680 w 8079933"/>
              <a:gd name="connsiteY4727" fmla="*/ 3181965 h 4687251"/>
              <a:gd name="connsiteX4728" fmla="*/ 7167850 w 8079933"/>
              <a:gd name="connsiteY4728" fmla="*/ 3181315 h 4687251"/>
              <a:gd name="connsiteX4729" fmla="*/ 7175121 w 8079933"/>
              <a:gd name="connsiteY4729" fmla="*/ 3176334 h 4687251"/>
              <a:gd name="connsiteX4730" fmla="*/ 7177075 w 8079933"/>
              <a:gd name="connsiteY4730" fmla="*/ 3179257 h 4687251"/>
              <a:gd name="connsiteX4731" fmla="*/ 7175338 w 8079933"/>
              <a:gd name="connsiteY4731" fmla="*/ 3179149 h 4687251"/>
              <a:gd name="connsiteX4732" fmla="*/ 7173059 w 8079933"/>
              <a:gd name="connsiteY4732" fmla="*/ 3176550 h 4687251"/>
              <a:gd name="connsiteX4733" fmla="*/ 7493942 w 8079933"/>
              <a:gd name="connsiteY4733" fmla="*/ 3175793 h 4687251"/>
              <a:gd name="connsiteX4734" fmla="*/ 7497740 w 8079933"/>
              <a:gd name="connsiteY4734" fmla="*/ 3178932 h 4687251"/>
              <a:gd name="connsiteX4735" fmla="*/ 7498934 w 8079933"/>
              <a:gd name="connsiteY4735" fmla="*/ 3183264 h 4687251"/>
              <a:gd name="connsiteX4736" fmla="*/ 7497740 w 8079933"/>
              <a:gd name="connsiteY4736" fmla="*/ 3185429 h 4687251"/>
              <a:gd name="connsiteX4737" fmla="*/ 7493508 w 8079933"/>
              <a:gd name="connsiteY4737" fmla="*/ 3182939 h 4687251"/>
              <a:gd name="connsiteX4738" fmla="*/ 7491012 w 8079933"/>
              <a:gd name="connsiteY4738" fmla="*/ 3179041 h 4687251"/>
              <a:gd name="connsiteX4739" fmla="*/ 7140395 w 8079933"/>
              <a:gd name="connsiteY4739" fmla="*/ 3174169 h 4687251"/>
              <a:gd name="connsiteX4740" fmla="*/ 7138225 w 8079933"/>
              <a:gd name="connsiteY4740" fmla="*/ 3178391 h 4687251"/>
              <a:gd name="connsiteX4741" fmla="*/ 7134969 w 8079933"/>
              <a:gd name="connsiteY4741" fmla="*/ 3188244 h 4687251"/>
              <a:gd name="connsiteX4742" fmla="*/ 7131823 w 8079933"/>
              <a:gd name="connsiteY4742" fmla="*/ 3189435 h 4687251"/>
              <a:gd name="connsiteX4743" fmla="*/ 7133559 w 8079933"/>
              <a:gd name="connsiteY4743" fmla="*/ 3186620 h 4687251"/>
              <a:gd name="connsiteX4744" fmla="*/ 7135621 w 8079933"/>
              <a:gd name="connsiteY4744" fmla="*/ 3176659 h 4687251"/>
              <a:gd name="connsiteX4745" fmla="*/ 6400203 w 8079933"/>
              <a:gd name="connsiteY4745" fmla="*/ 3172545 h 4687251"/>
              <a:gd name="connsiteX4746" fmla="*/ 6403242 w 8079933"/>
              <a:gd name="connsiteY4746" fmla="*/ 3174819 h 4687251"/>
              <a:gd name="connsiteX4747" fmla="*/ 6403350 w 8079933"/>
              <a:gd name="connsiteY4747" fmla="*/ 3178176 h 4687251"/>
              <a:gd name="connsiteX4748" fmla="*/ 6397273 w 8079933"/>
              <a:gd name="connsiteY4748" fmla="*/ 3173736 h 4687251"/>
              <a:gd name="connsiteX4749" fmla="*/ 7477339 w 8079933"/>
              <a:gd name="connsiteY4749" fmla="*/ 3169621 h 4687251"/>
              <a:gd name="connsiteX4750" fmla="*/ 7480270 w 8079933"/>
              <a:gd name="connsiteY4750" fmla="*/ 3171678 h 4687251"/>
              <a:gd name="connsiteX4751" fmla="*/ 7480270 w 8079933"/>
              <a:gd name="connsiteY4751" fmla="*/ 3175792 h 4687251"/>
              <a:gd name="connsiteX4752" fmla="*/ 7477339 w 8079933"/>
              <a:gd name="connsiteY4752" fmla="*/ 3176550 h 4687251"/>
              <a:gd name="connsiteX4753" fmla="*/ 7475277 w 8079933"/>
              <a:gd name="connsiteY4753" fmla="*/ 3173627 h 4687251"/>
              <a:gd name="connsiteX4754" fmla="*/ 6868236 w 8079933"/>
              <a:gd name="connsiteY4754" fmla="*/ 3167998 h 4687251"/>
              <a:gd name="connsiteX4755" fmla="*/ 6871058 w 8079933"/>
              <a:gd name="connsiteY4755" fmla="*/ 3172112 h 4687251"/>
              <a:gd name="connsiteX4756" fmla="*/ 6872251 w 8079933"/>
              <a:gd name="connsiteY4756" fmla="*/ 3176875 h 4687251"/>
              <a:gd name="connsiteX4757" fmla="*/ 6868671 w 8079933"/>
              <a:gd name="connsiteY4757" fmla="*/ 3179257 h 4687251"/>
              <a:gd name="connsiteX4758" fmla="*/ 6866609 w 8079933"/>
              <a:gd name="connsiteY4758" fmla="*/ 3178391 h 4687251"/>
              <a:gd name="connsiteX4759" fmla="*/ 6864872 w 8079933"/>
              <a:gd name="connsiteY4759" fmla="*/ 3173195 h 4687251"/>
              <a:gd name="connsiteX4760" fmla="*/ 6866283 w 8079933"/>
              <a:gd name="connsiteY4760" fmla="*/ 3171787 h 4687251"/>
              <a:gd name="connsiteX4761" fmla="*/ 6866283 w 8079933"/>
              <a:gd name="connsiteY4761" fmla="*/ 3168755 h 4687251"/>
              <a:gd name="connsiteX4762" fmla="*/ 4238334 w 8079933"/>
              <a:gd name="connsiteY4762" fmla="*/ 3162368 h 4687251"/>
              <a:gd name="connsiteX4763" fmla="*/ 4238767 w 8079933"/>
              <a:gd name="connsiteY4763" fmla="*/ 3171029 h 4687251"/>
              <a:gd name="connsiteX4764" fmla="*/ 4238768 w 8079933"/>
              <a:gd name="connsiteY4764" fmla="*/ 3171028 h 4687251"/>
              <a:gd name="connsiteX4765" fmla="*/ 7550914 w 8079933"/>
              <a:gd name="connsiteY4765" fmla="*/ 3159985 h 4687251"/>
              <a:gd name="connsiteX4766" fmla="*/ 7554061 w 8079933"/>
              <a:gd name="connsiteY4766" fmla="*/ 3164641 h 4687251"/>
              <a:gd name="connsiteX4767" fmla="*/ 7551457 w 8079933"/>
              <a:gd name="connsiteY4767" fmla="*/ 3167563 h 4687251"/>
              <a:gd name="connsiteX4768" fmla="*/ 7546682 w 8079933"/>
              <a:gd name="connsiteY4768" fmla="*/ 3162800 h 4687251"/>
              <a:gd name="connsiteX4769" fmla="*/ 7547550 w 8079933"/>
              <a:gd name="connsiteY4769" fmla="*/ 3160310 h 4687251"/>
              <a:gd name="connsiteX4770" fmla="*/ 6886141 w 8079933"/>
              <a:gd name="connsiteY4770" fmla="*/ 3159769 h 4687251"/>
              <a:gd name="connsiteX4771" fmla="*/ 6888312 w 8079933"/>
              <a:gd name="connsiteY4771" fmla="*/ 3163775 h 4687251"/>
              <a:gd name="connsiteX4772" fmla="*/ 6888312 w 8079933"/>
              <a:gd name="connsiteY4772" fmla="*/ 3166265 h 4687251"/>
              <a:gd name="connsiteX4773" fmla="*/ 6885273 w 8079933"/>
              <a:gd name="connsiteY4773" fmla="*/ 3169405 h 4687251"/>
              <a:gd name="connsiteX4774" fmla="*/ 6885273 w 8079933"/>
              <a:gd name="connsiteY4774" fmla="*/ 3173411 h 4687251"/>
              <a:gd name="connsiteX4775" fmla="*/ 6883428 w 8079933"/>
              <a:gd name="connsiteY4775" fmla="*/ 3173411 h 4687251"/>
              <a:gd name="connsiteX4776" fmla="*/ 6882886 w 8079933"/>
              <a:gd name="connsiteY4776" fmla="*/ 3175360 h 4687251"/>
              <a:gd name="connsiteX4777" fmla="*/ 6878762 w 8079933"/>
              <a:gd name="connsiteY4777" fmla="*/ 3175360 h 4687251"/>
              <a:gd name="connsiteX4778" fmla="*/ 6876917 w 8079933"/>
              <a:gd name="connsiteY4778" fmla="*/ 3173844 h 4687251"/>
              <a:gd name="connsiteX4779" fmla="*/ 6876157 w 8079933"/>
              <a:gd name="connsiteY4779" fmla="*/ 3172653 h 4687251"/>
              <a:gd name="connsiteX4780" fmla="*/ 6880389 w 8079933"/>
              <a:gd name="connsiteY4780" fmla="*/ 3167889 h 4687251"/>
              <a:gd name="connsiteX4781" fmla="*/ 6878979 w 8079933"/>
              <a:gd name="connsiteY4781" fmla="*/ 3165074 h 4687251"/>
              <a:gd name="connsiteX4782" fmla="*/ 6882126 w 8079933"/>
              <a:gd name="connsiteY4782" fmla="*/ 3161826 h 4687251"/>
              <a:gd name="connsiteX4783" fmla="*/ 7453792 w 8079933"/>
              <a:gd name="connsiteY4783" fmla="*/ 3154355 h 4687251"/>
              <a:gd name="connsiteX4784" fmla="*/ 7453249 w 8079933"/>
              <a:gd name="connsiteY4784" fmla="*/ 3157278 h 4687251"/>
              <a:gd name="connsiteX4785" fmla="*/ 7449994 w 8079933"/>
              <a:gd name="connsiteY4785" fmla="*/ 3159876 h 4687251"/>
              <a:gd name="connsiteX4786" fmla="*/ 7448474 w 8079933"/>
              <a:gd name="connsiteY4786" fmla="*/ 3156412 h 4687251"/>
              <a:gd name="connsiteX4787" fmla="*/ 6896341 w 8079933"/>
              <a:gd name="connsiteY4787" fmla="*/ 3153056 h 4687251"/>
              <a:gd name="connsiteX4788" fmla="*/ 6899814 w 8079933"/>
              <a:gd name="connsiteY4788" fmla="*/ 3153597 h 4687251"/>
              <a:gd name="connsiteX4789" fmla="*/ 6899814 w 8079933"/>
              <a:gd name="connsiteY4789" fmla="*/ 3156629 h 4687251"/>
              <a:gd name="connsiteX4790" fmla="*/ 6901333 w 8079933"/>
              <a:gd name="connsiteY4790" fmla="*/ 3159877 h 4687251"/>
              <a:gd name="connsiteX4791" fmla="*/ 6901116 w 8079933"/>
              <a:gd name="connsiteY4791" fmla="*/ 3162042 h 4687251"/>
              <a:gd name="connsiteX4792" fmla="*/ 6899922 w 8079933"/>
              <a:gd name="connsiteY4792" fmla="*/ 3160202 h 4687251"/>
              <a:gd name="connsiteX4793" fmla="*/ 6899162 w 8079933"/>
              <a:gd name="connsiteY4793" fmla="*/ 3162259 h 4687251"/>
              <a:gd name="connsiteX4794" fmla="*/ 6896341 w 8079933"/>
              <a:gd name="connsiteY4794" fmla="*/ 3164424 h 4687251"/>
              <a:gd name="connsiteX4795" fmla="*/ 6894930 w 8079933"/>
              <a:gd name="connsiteY4795" fmla="*/ 3166266 h 4687251"/>
              <a:gd name="connsiteX4796" fmla="*/ 6896015 w 8079933"/>
              <a:gd name="connsiteY4796" fmla="*/ 3169838 h 4687251"/>
              <a:gd name="connsiteX4797" fmla="*/ 6899814 w 8079933"/>
              <a:gd name="connsiteY4797" fmla="*/ 3170812 h 4687251"/>
              <a:gd name="connsiteX4798" fmla="*/ 6900574 w 8079933"/>
              <a:gd name="connsiteY4798" fmla="*/ 3172870 h 4687251"/>
              <a:gd name="connsiteX4799" fmla="*/ 6898945 w 8079933"/>
              <a:gd name="connsiteY4799" fmla="*/ 3174927 h 4687251"/>
              <a:gd name="connsiteX4800" fmla="*/ 6896015 w 8079933"/>
              <a:gd name="connsiteY4800" fmla="*/ 3175793 h 4687251"/>
              <a:gd name="connsiteX4801" fmla="*/ 6893411 w 8079933"/>
              <a:gd name="connsiteY4801" fmla="*/ 3180449 h 4687251"/>
              <a:gd name="connsiteX4802" fmla="*/ 6890373 w 8079933"/>
              <a:gd name="connsiteY4802" fmla="*/ 3181965 h 4687251"/>
              <a:gd name="connsiteX4803" fmla="*/ 6887117 w 8079933"/>
              <a:gd name="connsiteY4803" fmla="*/ 3180233 h 4687251"/>
              <a:gd name="connsiteX4804" fmla="*/ 6887768 w 8079933"/>
              <a:gd name="connsiteY4804" fmla="*/ 3176659 h 4687251"/>
              <a:gd name="connsiteX4805" fmla="*/ 6891784 w 8079933"/>
              <a:gd name="connsiteY4805" fmla="*/ 3169730 h 4687251"/>
              <a:gd name="connsiteX4806" fmla="*/ 6893953 w 8079933"/>
              <a:gd name="connsiteY4806" fmla="*/ 3162259 h 4687251"/>
              <a:gd name="connsiteX4807" fmla="*/ 6894388 w 8079933"/>
              <a:gd name="connsiteY4807" fmla="*/ 3154788 h 4687251"/>
              <a:gd name="connsiteX4808" fmla="*/ 5268374 w 8079933"/>
              <a:gd name="connsiteY4808" fmla="*/ 3149375 h 4687251"/>
              <a:gd name="connsiteX4809" fmla="*/ 5272281 w 8079933"/>
              <a:gd name="connsiteY4809" fmla="*/ 3151215 h 4687251"/>
              <a:gd name="connsiteX4810" fmla="*/ 5273801 w 8079933"/>
              <a:gd name="connsiteY4810" fmla="*/ 3153814 h 4687251"/>
              <a:gd name="connsiteX4811" fmla="*/ 5268592 w 8079933"/>
              <a:gd name="connsiteY4811" fmla="*/ 3155654 h 4687251"/>
              <a:gd name="connsiteX4812" fmla="*/ 5265770 w 8079933"/>
              <a:gd name="connsiteY4812" fmla="*/ 3152622 h 4687251"/>
              <a:gd name="connsiteX4813" fmla="*/ 4298886 w 8079933"/>
              <a:gd name="connsiteY4813" fmla="*/ 3147858 h 4687251"/>
              <a:gd name="connsiteX4814" fmla="*/ 4298886 w 8079933"/>
              <a:gd name="connsiteY4814" fmla="*/ 3147858 h 4687251"/>
              <a:gd name="connsiteX4815" fmla="*/ 4295413 w 8079933"/>
              <a:gd name="connsiteY4815" fmla="*/ 3153055 h 4687251"/>
              <a:gd name="connsiteX4816" fmla="*/ 4291923 w 8079933"/>
              <a:gd name="connsiteY4816" fmla="*/ 3154529 h 4687251"/>
              <a:gd name="connsiteX4817" fmla="*/ 4295413 w 8079933"/>
              <a:gd name="connsiteY4817" fmla="*/ 3153055 h 4687251"/>
              <a:gd name="connsiteX4818" fmla="*/ 7600940 w 8079933"/>
              <a:gd name="connsiteY4818" fmla="*/ 3143853 h 4687251"/>
              <a:gd name="connsiteX4819" fmla="*/ 7606258 w 8079933"/>
              <a:gd name="connsiteY4819" fmla="*/ 3148508 h 4687251"/>
              <a:gd name="connsiteX4820" fmla="*/ 7606475 w 8079933"/>
              <a:gd name="connsiteY4820" fmla="*/ 3159335 h 4687251"/>
              <a:gd name="connsiteX4821" fmla="*/ 7600723 w 8079933"/>
              <a:gd name="connsiteY4821" fmla="*/ 3164641 h 4687251"/>
              <a:gd name="connsiteX4822" fmla="*/ 7598119 w 8079933"/>
              <a:gd name="connsiteY4822" fmla="*/ 3163234 h 4687251"/>
              <a:gd name="connsiteX4823" fmla="*/ 7594863 w 8079933"/>
              <a:gd name="connsiteY4823" fmla="*/ 3165182 h 4687251"/>
              <a:gd name="connsiteX4824" fmla="*/ 7595189 w 8079933"/>
              <a:gd name="connsiteY4824" fmla="*/ 3168430 h 4687251"/>
              <a:gd name="connsiteX4825" fmla="*/ 7600397 w 8079933"/>
              <a:gd name="connsiteY4825" fmla="*/ 3173194 h 4687251"/>
              <a:gd name="connsiteX4826" fmla="*/ 7597576 w 8079933"/>
              <a:gd name="connsiteY4826" fmla="*/ 3177525 h 4687251"/>
              <a:gd name="connsiteX4827" fmla="*/ 7591824 w 8079933"/>
              <a:gd name="connsiteY4827" fmla="*/ 3179258 h 4687251"/>
              <a:gd name="connsiteX4828" fmla="*/ 7588678 w 8079933"/>
              <a:gd name="connsiteY4828" fmla="*/ 3176876 h 4687251"/>
              <a:gd name="connsiteX4829" fmla="*/ 7585205 w 8079933"/>
              <a:gd name="connsiteY4829" fmla="*/ 3177742 h 4687251"/>
              <a:gd name="connsiteX4830" fmla="*/ 7585205 w 8079933"/>
              <a:gd name="connsiteY4830" fmla="*/ 3181098 h 4687251"/>
              <a:gd name="connsiteX4831" fmla="*/ 7576741 w 8079933"/>
              <a:gd name="connsiteY4831" fmla="*/ 3191600 h 4687251"/>
              <a:gd name="connsiteX4832" fmla="*/ 7570555 w 8079933"/>
              <a:gd name="connsiteY4832" fmla="*/ 3191816 h 4687251"/>
              <a:gd name="connsiteX4833" fmla="*/ 7570772 w 8079933"/>
              <a:gd name="connsiteY4833" fmla="*/ 3195281 h 4687251"/>
              <a:gd name="connsiteX4834" fmla="*/ 7568819 w 8079933"/>
              <a:gd name="connsiteY4834" fmla="*/ 3197879 h 4687251"/>
              <a:gd name="connsiteX4835" fmla="*/ 7563068 w 8079933"/>
              <a:gd name="connsiteY4835" fmla="*/ 3195389 h 4687251"/>
              <a:gd name="connsiteX4836" fmla="*/ 7559053 w 8079933"/>
              <a:gd name="connsiteY4836" fmla="*/ 3197122 h 4687251"/>
              <a:gd name="connsiteX4837" fmla="*/ 7554387 w 8079933"/>
              <a:gd name="connsiteY4837" fmla="*/ 3195715 h 4687251"/>
              <a:gd name="connsiteX4838" fmla="*/ 7545597 w 8079933"/>
              <a:gd name="connsiteY4838" fmla="*/ 3197447 h 4687251"/>
              <a:gd name="connsiteX4839" fmla="*/ 7541798 w 8079933"/>
              <a:gd name="connsiteY4839" fmla="*/ 3198205 h 4687251"/>
              <a:gd name="connsiteX4840" fmla="*/ 7536155 w 8079933"/>
              <a:gd name="connsiteY4840" fmla="*/ 3197338 h 4687251"/>
              <a:gd name="connsiteX4841" fmla="*/ 7533768 w 8079933"/>
              <a:gd name="connsiteY4841" fmla="*/ 3192791 h 4687251"/>
              <a:gd name="connsiteX4842" fmla="*/ 7525738 w 8079933"/>
              <a:gd name="connsiteY4842" fmla="*/ 3192466 h 4687251"/>
              <a:gd name="connsiteX4843" fmla="*/ 7522374 w 8079933"/>
              <a:gd name="connsiteY4843" fmla="*/ 3195065 h 4687251"/>
              <a:gd name="connsiteX4844" fmla="*/ 7521506 w 8079933"/>
              <a:gd name="connsiteY4844" fmla="*/ 3192358 h 4687251"/>
              <a:gd name="connsiteX4845" fmla="*/ 7513693 w 8079933"/>
              <a:gd name="connsiteY4845" fmla="*/ 3186078 h 4687251"/>
              <a:gd name="connsiteX4846" fmla="*/ 7508592 w 8079933"/>
              <a:gd name="connsiteY4846" fmla="*/ 3185645 h 4687251"/>
              <a:gd name="connsiteX4847" fmla="*/ 7504577 w 8079933"/>
              <a:gd name="connsiteY4847" fmla="*/ 3180665 h 4687251"/>
              <a:gd name="connsiteX4848" fmla="*/ 7508050 w 8079933"/>
              <a:gd name="connsiteY4848" fmla="*/ 3174277 h 4687251"/>
              <a:gd name="connsiteX4849" fmla="*/ 7512716 w 8079933"/>
              <a:gd name="connsiteY4849" fmla="*/ 3177092 h 4687251"/>
              <a:gd name="connsiteX4850" fmla="*/ 7518575 w 8079933"/>
              <a:gd name="connsiteY4850" fmla="*/ 3175685 h 4687251"/>
              <a:gd name="connsiteX4851" fmla="*/ 7522808 w 8079933"/>
              <a:gd name="connsiteY4851" fmla="*/ 3175685 h 4687251"/>
              <a:gd name="connsiteX4852" fmla="*/ 7526172 w 8079933"/>
              <a:gd name="connsiteY4852" fmla="*/ 3177308 h 4687251"/>
              <a:gd name="connsiteX4853" fmla="*/ 7530295 w 8079933"/>
              <a:gd name="connsiteY4853" fmla="*/ 3177525 h 4687251"/>
              <a:gd name="connsiteX4854" fmla="*/ 7535830 w 8079933"/>
              <a:gd name="connsiteY4854" fmla="*/ 3175251 h 4687251"/>
              <a:gd name="connsiteX4855" fmla="*/ 7540605 w 8079933"/>
              <a:gd name="connsiteY4855" fmla="*/ 3175793 h 4687251"/>
              <a:gd name="connsiteX4856" fmla="*/ 7544186 w 8079933"/>
              <a:gd name="connsiteY4856" fmla="*/ 3173411 h 4687251"/>
              <a:gd name="connsiteX4857" fmla="*/ 7543535 w 8079933"/>
              <a:gd name="connsiteY4857" fmla="*/ 3170163 h 4687251"/>
              <a:gd name="connsiteX4858" fmla="*/ 7545922 w 8079933"/>
              <a:gd name="connsiteY4858" fmla="*/ 3167781 h 4687251"/>
              <a:gd name="connsiteX4859" fmla="*/ 7549612 w 8079933"/>
              <a:gd name="connsiteY4859" fmla="*/ 3169621 h 4687251"/>
              <a:gd name="connsiteX4860" fmla="*/ 7548526 w 8079933"/>
              <a:gd name="connsiteY4860" fmla="*/ 3173411 h 4687251"/>
              <a:gd name="connsiteX4861" fmla="*/ 7549937 w 8079933"/>
              <a:gd name="connsiteY4861" fmla="*/ 3179365 h 4687251"/>
              <a:gd name="connsiteX4862" fmla="*/ 7552976 w 8079933"/>
              <a:gd name="connsiteY4862" fmla="*/ 3180123 h 4687251"/>
              <a:gd name="connsiteX4863" fmla="*/ 7556448 w 8079933"/>
              <a:gd name="connsiteY4863" fmla="*/ 3175793 h 4687251"/>
              <a:gd name="connsiteX4864" fmla="*/ 7559378 w 8079933"/>
              <a:gd name="connsiteY4864" fmla="*/ 3175685 h 4687251"/>
              <a:gd name="connsiteX4865" fmla="*/ 7562526 w 8079933"/>
              <a:gd name="connsiteY4865" fmla="*/ 3179040 h 4687251"/>
              <a:gd name="connsiteX4866" fmla="*/ 7565889 w 8079933"/>
              <a:gd name="connsiteY4866" fmla="*/ 3176876 h 4687251"/>
              <a:gd name="connsiteX4867" fmla="*/ 7568385 w 8079933"/>
              <a:gd name="connsiteY4867" fmla="*/ 3177850 h 4687251"/>
              <a:gd name="connsiteX4868" fmla="*/ 7571315 w 8079933"/>
              <a:gd name="connsiteY4868" fmla="*/ 3175685 h 4687251"/>
              <a:gd name="connsiteX4869" fmla="*/ 7573051 w 8079933"/>
              <a:gd name="connsiteY4869" fmla="*/ 3171029 h 4687251"/>
              <a:gd name="connsiteX4870" fmla="*/ 7582167 w 8079933"/>
              <a:gd name="connsiteY4870" fmla="*/ 3163558 h 4687251"/>
              <a:gd name="connsiteX4871" fmla="*/ 7586725 w 8079933"/>
              <a:gd name="connsiteY4871" fmla="*/ 3163775 h 4687251"/>
              <a:gd name="connsiteX4872" fmla="*/ 7589220 w 8079933"/>
              <a:gd name="connsiteY4872" fmla="*/ 3161176 h 4687251"/>
              <a:gd name="connsiteX4873" fmla="*/ 7587484 w 8079933"/>
              <a:gd name="connsiteY4873" fmla="*/ 3159335 h 4687251"/>
              <a:gd name="connsiteX4874" fmla="*/ 7585096 w 8079933"/>
              <a:gd name="connsiteY4874" fmla="*/ 3149050 h 4687251"/>
              <a:gd name="connsiteX4875" fmla="*/ 7587484 w 8079933"/>
              <a:gd name="connsiteY4875" fmla="*/ 3145369 h 4687251"/>
              <a:gd name="connsiteX4876" fmla="*/ 7593127 w 8079933"/>
              <a:gd name="connsiteY4876" fmla="*/ 3145585 h 4687251"/>
              <a:gd name="connsiteX4877" fmla="*/ 7596274 w 8079933"/>
              <a:gd name="connsiteY4877" fmla="*/ 3147967 h 4687251"/>
              <a:gd name="connsiteX4878" fmla="*/ 7598010 w 8079933"/>
              <a:gd name="connsiteY4878" fmla="*/ 3145910 h 4687251"/>
              <a:gd name="connsiteX4879" fmla="*/ 2046081 w 8079933"/>
              <a:gd name="connsiteY4879" fmla="*/ 3143636 h 4687251"/>
              <a:gd name="connsiteX4880" fmla="*/ 2046081 w 8079933"/>
              <a:gd name="connsiteY4880" fmla="*/ 3143637 h 4687251"/>
              <a:gd name="connsiteX4881" fmla="*/ 2048251 w 8079933"/>
              <a:gd name="connsiteY4881" fmla="*/ 3147209 h 4687251"/>
              <a:gd name="connsiteX4882" fmla="*/ 2055522 w 8079933"/>
              <a:gd name="connsiteY4882" fmla="*/ 3148725 h 4687251"/>
              <a:gd name="connsiteX4883" fmla="*/ 2059754 w 8079933"/>
              <a:gd name="connsiteY4883" fmla="*/ 3150457 h 4687251"/>
              <a:gd name="connsiteX4884" fmla="*/ 2066699 w 8079933"/>
              <a:gd name="connsiteY4884" fmla="*/ 3160202 h 4687251"/>
              <a:gd name="connsiteX4885" fmla="*/ 2069846 w 8079933"/>
              <a:gd name="connsiteY4885" fmla="*/ 3160202 h 4687251"/>
              <a:gd name="connsiteX4886" fmla="*/ 2069846 w 8079933"/>
              <a:gd name="connsiteY4886" fmla="*/ 3160201 h 4687251"/>
              <a:gd name="connsiteX4887" fmla="*/ 2066699 w 8079933"/>
              <a:gd name="connsiteY4887" fmla="*/ 3160201 h 4687251"/>
              <a:gd name="connsiteX4888" fmla="*/ 2059754 w 8079933"/>
              <a:gd name="connsiteY4888" fmla="*/ 3150457 h 4687251"/>
              <a:gd name="connsiteX4889" fmla="*/ 2055522 w 8079933"/>
              <a:gd name="connsiteY4889" fmla="*/ 3148725 h 4687251"/>
              <a:gd name="connsiteX4890" fmla="*/ 2048252 w 8079933"/>
              <a:gd name="connsiteY4890" fmla="*/ 3147209 h 4687251"/>
              <a:gd name="connsiteX4891" fmla="*/ 2276462 w 8079933"/>
              <a:gd name="connsiteY4891" fmla="*/ 3143550 h 4687251"/>
              <a:gd name="connsiteX4892" fmla="*/ 2276462 w 8079933"/>
              <a:gd name="connsiteY4892" fmla="*/ 3144502 h 4687251"/>
              <a:gd name="connsiteX4893" fmla="*/ 2278001 w 8079933"/>
              <a:gd name="connsiteY4893" fmla="*/ 3144918 h 4687251"/>
              <a:gd name="connsiteX4894" fmla="*/ 2278089 w 8079933"/>
              <a:gd name="connsiteY4894" fmla="*/ 3144610 h 4687251"/>
              <a:gd name="connsiteX4895" fmla="*/ 4242999 w 8079933"/>
              <a:gd name="connsiteY4895" fmla="*/ 3142120 h 4687251"/>
              <a:gd name="connsiteX4896" fmla="*/ 4238985 w 8079933"/>
              <a:gd name="connsiteY4896" fmla="*/ 3145476 h 4687251"/>
              <a:gd name="connsiteX4897" fmla="*/ 4235512 w 8079933"/>
              <a:gd name="connsiteY4897" fmla="*/ 3146126 h 4687251"/>
              <a:gd name="connsiteX4898" fmla="*/ 4235512 w 8079933"/>
              <a:gd name="connsiteY4898" fmla="*/ 3146127 h 4687251"/>
              <a:gd name="connsiteX4899" fmla="*/ 4238984 w 8079933"/>
              <a:gd name="connsiteY4899" fmla="*/ 3145477 h 4687251"/>
              <a:gd name="connsiteX4900" fmla="*/ 4243000 w 8079933"/>
              <a:gd name="connsiteY4900" fmla="*/ 3142121 h 4687251"/>
              <a:gd name="connsiteX4901" fmla="*/ 4245062 w 8079933"/>
              <a:gd name="connsiteY4901" fmla="*/ 3142121 h 4687251"/>
              <a:gd name="connsiteX4902" fmla="*/ 4247557 w 8079933"/>
              <a:gd name="connsiteY4902" fmla="*/ 3144286 h 4687251"/>
              <a:gd name="connsiteX4903" fmla="*/ 4249837 w 8079933"/>
              <a:gd name="connsiteY4903" fmla="*/ 3147426 h 4687251"/>
              <a:gd name="connsiteX4904" fmla="*/ 4249945 w 8079933"/>
              <a:gd name="connsiteY4904" fmla="*/ 3151323 h 4687251"/>
              <a:gd name="connsiteX4905" fmla="*/ 4249837 w 8079933"/>
              <a:gd name="connsiteY4905" fmla="*/ 3147425 h 4687251"/>
              <a:gd name="connsiteX4906" fmla="*/ 4247558 w 8079933"/>
              <a:gd name="connsiteY4906" fmla="*/ 3144285 h 4687251"/>
              <a:gd name="connsiteX4907" fmla="*/ 4245062 w 8079933"/>
              <a:gd name="connsiteY4907" fmla="*/ 3142120 h 4687251"/>
              <a:gd name="connsiteX4908" fmla="*/ 4284314 w 8079933"/>
              <a:gd name="connsiteY4908" fmla="*/ 3141366 h 4687251"/>
              <a:gd name="connsiteX4909" fmla="*/ 4284236 w 8079933"/>
              <a:gd name="connsiteY4909" fmla="*/ 3141795 h 4687251"/>
              <a:gd name="connsiteX4910" fmla="*/ 4283145 w 8079933"/>
              <a:gd name="connsiteY4910" fmla="*/ 3143885 h 4687251"/>
              <a:gd name="connsiteX4911" fmla="*/ 4284236 w 8079933"/>
              <a:gd name="connsiteY4911" fmla="*/ 3141795 h 4687251"/>
              <a:gd name="connsiteX4912" fmla="*/ 4310280 w 8079933"/>
              <a:gd name="connsiteY4912" fmla="*/ 3134757 h 4687251"/>
              <a:gd name="connsiteX4913" fmla="*/ 4308652 w 8079933"/>
              <a:gd name="connsiteY4913" fmla="*/ 3138438 h 4687251"/>
              <a:gd name="connsiteX4914" fmla="*/ 4299491 w 8079933"/>
              <a:gd name="connsiteY4914" fmla="*/ 3147275 h 4687251"/>
              <a:gd name="connsiteX4915" fmla="*/ 4308653 w 8079933"/>
              <a:gd name="connsiteY4915" fmla="*/ 3138439 h 4687251"/>
              <a:gd name="connsiteX4916" fmla="*/ 2279500 w 8079933"/>
              <a:gd name="connsiteY4916" fmla="*/ 3132592 h 4687251"/>
              <a:gd name="connsiteX4917" fmla="*/ 2273423 w 8079933"/>
              <a:gd name="connsiteY4917" fmla="*/ 3133134 h 4687251"/>
              <a:gd name="connsiteX4918" fmla="*/ 2268106 w 8079933"/>
              <a:gd name="connsiteY4918" fmla="*/ 3133675 h 4687251"/>
              <a:gd name="connsiteX4919" fmla="*/ 2268106 w 8079933"/>
              <a:gd name="connsiteY4919" fmla="*/ 3133675 h 4687251"/>
              <a:gd name="connsiteX4920" fmla="*/ 2273423 w 8079933"/>
              <a:gd name="connsiteY4920" fmla="*/ 3133134 h 4687251"/>
              <a:gd name="connsiteX4921" fmla="*/ 2279500 w 8079933"/>
              <a:gd name="connsiteY4921" fmla="*/ 3132592 h 4687251"/>
              <a:gd name="connsiteX4922" fmla="*/ 2283081 w 8079933"/>
              <a:gd name="connsiteY4922" fmla="*/ 3136490 h 4687251"/>
              <a:gd name="connsiteX4923" fmla="*/ 2283223 w 8079933"/>
              <a:gd name="connsiteY4923" fmla="*/ 3137107 h 4687251"/>
              <a:gd name="connsiteX4924" fmla="*/ 2283595 w 8079933"/>
              <a:gd name="connsiteY4924" fmla="*/ 3138729 h 4687251"/>
              <a:gd name="connsiteX4925" fmla="*/ 2283596 w 8079933"/>
              <a:gd name="connsiteY4925" fmla="*/ 3138728 h 4687251"/>
              <a:gd name="connsiteX4926" fmla="*/ 2283082 w 8079933"/>
              <a:gd name="connsiteY4926" fmla="*/ 3136489 h 4687251"/>
              <a:gd name="connsiteX4927" fmla="*/ 7026127 w 8079933"/>
              <a:gd name="connsiteY4927" fmla="*/ 3131944 h 4687251"/>
              <a:gd name="connsiteX4928" fmla="*/ 7028514 w 8079933"/>
              <a:gd name="connsiteY4928" fmla="*/ 3131944 h 4687251"/>
              <a:gd name="connsiteX4929" fmla="*/ 7028949 w 8079933"/>
              <a:gd name="connsiteY4929" fmla="*/ 3134217 h 4687251"/>
              <a:gd name="connsiteX4930" fmla="*/ 7026561 w 8079933"/>
              <a:gd name="connsiteY4930" fmla="*/ 3134217 h 4687251"/>
              <a:gd name="connsiteX4931" fmla="*/ 7033290 w 8079933"/>
              <a:gd name="connsiteY4931" fmla="*/ 3131185 h 4687251"/>
              <a:gd name="connsiteX4932" fmla="*/ 7033399 w 8079933"/>
              <a:gd name="connsiteY4932" fmla="*/ 3133026 h 4687251"/>
              <a:gd name="connsiteX4933" fmla="*/ 7031662 w 8079933"/>
              <a:gd name="connsiteY4933" fmla="*/ 3133567 h 4687251"/>
              <a:gd name="connsiteX4934" fmla="*/ 7030577 w 8079933"/>
              <a:gd name="connsiteY4934" fmla="*/ 3131618 h 4687251"/>
              <a:gd name="connsiteX4935" fmla="*/ 7021787 w 8079933"/>
              <a:gd name="connsiteY4935" fmla="*/ 3130968 h 4687251"/>
              <a:gd name="connsiteX4936" fmla="*/ 7024283 w 8079933"/>
              <a:gd name="connsiteY4936" fmla="*/ 3132159 h 4687251"/>
              <a:gd name="connsiteX4937" fmla="*/ 7021353 w 8079933"/>
              <a:gd name="connsiteY4937" fmla="*/ 3137247 h 4687251"/>
              <a:gd name="connsiteX4938" fmla="*/ 7020593 w 8079933"/>
              <a:gd name="connsiteY4938" fmla="*/ 3134973 h 4687251"/>
              <a:gd name="connsiteX4939" fmla="*/ 7017012 w 8079933"/>
              <a:gd name="connsiteY4939" fmla="*/ 3137139 h 4687251"/>
              <a:gd name="connsiteX4940" fmla="*/ 7013865 w 8079933"/>
              <a:gd name="connsiteY4940" fmla="*/ 3134432 h 4687251"/>
              <a:gd name="connsiteX4941" fmla="*/ 7019399 w 8079933"/>
              <a:gd name="connsiteY4941" fmla="*/ 3132700 h 4687251"/>
              <a:gd name="connsiteX4942" fmla="*/ 6735194 w 8079933"/>
              <a:gd name="connsiteY4942" fmla="*/ 3128586 h 4687251"/>
              <a:gd name="connsiteX4943" fmla="*/ 6736388 w 8079933"/>
              <a:gd name="connsiteY4943" fmla="*/ 3129669 h 4687251"/>
              <a:gd name="connsiteX4944" fmla="*/ 6735845 w 8079933"/>
              <a:gd name="connsiteY4944" fmla="*/ 3136057 h 4687251"/>
              <a:gd name="connsiteX4945" fmla="*/ 6734542 w 8079933"/>
              <a:gd name="connsiteY4945" fmla="*/ 3136490 h 4687251"/>
              <a:gd name="connsiteX4946" fmla="*/ 6734326 w 8079933"/>
              <a:gd name="connsiteY4946" fmla="*/ 3130426 h 4687251"/>
              <a:gd name="connsiteX4947" fmla="*/ 4673342 w 8079933"/>
              <a:gd name="connsiteY4947" fmla="*/ 3127733 h 4687251"/>
              <a:gd name="connsiteX4948" fmla="*/ 4670773 w 8079933"/>
              <a:gd name="connsiteY4948" fmla="*/ 3129886 h 4687251"/>
              <a:gd name="connsiteX4949" fmla="*/ 4664588 w 8079933"/>
              <a:gd name="connsiteY4949" fmla="*/ 3136707 h 4687251"/>
              <a:gd name="connsiteX4950" fmla="*/ 4660355 w 8079933"/>
              <a:gd name="connsiteY4950" fmla="*/ 3142662 h 4687251"/>
              <a:gd name="connsiteX4951" fmla="*/ 4652434 w 8079933"/>
              <a:gd name="connsiteY4951" fmla="*/ 3144827 h 4687251"/>
              <a:gd name="connsiteX4952" fmla="*/ 4652434 w 8079933"/>
              <a:gd name="connsiteY4952" fmla="*/ 3144827 h 4687251"/>
              <a:gd name="connsiteX4953" fmla="*/ 4660356 w 8079933"/>
              <a:gd name="connsiteY4953" fmla="*/ 3142662 h 4687251"/>
              <a:gd name="connsiteX4954" fmla="*/ 4664588 w 8079933"/>
              <a:gd name="connsiteY4954" fmla="*/ 3136707 h 4687251"/>
              <a:gd name="connsiteX4955" fmla="*/ 4670774 w 8079933"/>
              <a:gd name="connsiteY4955" fmla="*/ 3129886 h 4687251"/>
              <a:gd name="connsiteX4956" fmla="*/ 6731939 w 8079933"/>
              <a:gd name="connsiteY4956" fmla="*/ 3126963 h 4687251"/>
              <a:gd name="connsiteX4957" fmla="*/ 6733133 w 8079933"/>
              <a:gd name="connsiteY4957" fmla="*/ 3128803 h 4687251"/>
              <a:gd name="connsiteX4958" fmla="*/ 6733458 w 8079933"/>
              <a:gd name="connsiteY4958" fmla="*/ 3137141 h 4687251"/>
              <a:gd name="connsiteX4959" fmla="*/ 6732156 w 8079933"/>
              <a:gd name="connsiteY4959" fmla="*/ 3141904 h 4687251"/>
              <a:gd name="connsiteX4960" fmla="*/ 6728466 w 8079933"/>
              <a:gd name="connsiteY4960" fmla="*/ 3144503 h 4687251"/>
              <a:gd name="connsiteX4961" fmla="*/ 6726621 w 8079933"/>
              <a:gd name="connsiteY4961" fmla="*/ 3142121 h 4687251"/>
              <a:gd name="connsiteX4962" fmla="*/ 6727272 w 8079933"/>
              <a:gd name="connsiteY4962" fmla="*/ 3135192 h 4687251"/>
              <a:gd name="connsiteX4963" fmla="*/ 6729768 w 8079933"/>
              <a:gd name="connsiteY4963" fmla="*/ 3128371 h 4687251"/>
              <a:gd name="connsiteX4964" fmla="*/ 7012021 w 8079933"/>
              <a:gd name="connsiteY4964" fmla="*/ 3119817 h 4687251"/>
              <a:gd name="connsiteX4965" fmla="*/ 7012021 w 8079933"/>
              <a:gd name="connsiteY4965" fmla="*/ 3122849 h 4687251"/>
              <a:gd name="connsiteX4966" fmla="*/ 7009308 w 8079933"/>
              <a:gd name="connsiteY4966" fmla="*/ 3122307 h 4687251"/>
              <a:gd name="connsiteX4967" fmla="*/ 6979464 w 8079933"/>
              <a:gd name="connsiteY4967" fmla="*/ 3119493 h 4687251"/>
              <a:gd name="connsiteX4968" fmla="*/ 6988580 w 8079933"/>
              <a:gd name="connsiteY4968" fmla="*/ 3119926 h 4687251"/>
              <a:gd name="connsiteX4969" fmla="*/ 6995308 w 8079933"/>
              <a:gd name="connsiteY4969" fmla="*/ 3122741 h 4687251"/>
              <a:gd name="connsiteX4970" fmla="*/ 6995633 w 8079933"/>
              <a:gd name="connsiteY4970" fmla="*/ 3125448 h 4687251"/>
              <a:gd name="connsiteX4971" fmla="*/ 6999757 w 8079933"/>
              <a:gd name="connsiteY4971" fmla="*/ 3130212 h 4687251"/>
              <a:gd name="connsiteX4972" fmla="*/ 6999431 w 8079933"/>
              <a:gd name="connsiteY4972" fmla="*/ 3133893 h 4687251"/>
              <a:gd name="connsiteX4973" fmla="*/ 6995525 w 8079933"/>
              <a:gd name="connsiteY4973" fmla="*/ 3133677 h 4687251"/>
              <a:gd name="connsiteX4974" fmla="*/ 6990642 w 8079933"/>
              <a:gd name="connsiteY4974" fmla="*/ 3138007 h 4687251"/>
              <a:gd name="connsiteX4975" fmla="*/ 6985107 w 8079933"/>
              <a:gd name="connsiteY4975" fmla="*/ 3137466 h 4687251"/>
              <a:gd name="connsiteX4976" fmla="*/ 6979464 w 8079933"/>
              <a:gd name="connsiteY4976" fmla="*/ 3138007 h 4687251"/>
              <a:gd name="connsiteX4977" fmla="*/ 6977402 w 8079933"/>
              <a:gd name="connsiteY4977" fmla="*/ 3136059 h 4687251"/>
              <a:gd name="connsiteX4978" fmla="*/ 6970350 w 8079933"/>
              <a:gd name="connsiteY4978" fmla="*/ 3134760 h 4687251"/>
              <a:gd name="connsiteX4979" fmla="*/ 6966551 w 8079933"/>
              <a:gd name="connsiteY4979" fmla="*/ 3129562 h 4687251"/>
              <a:gd name="connsiteX4980" fmla="*/ 6967202 w 8079933"/>
              <a:gd name="connsiteY4980" fmla="*/ 3123499 h 4687251"/>
              <a:gd name="connsiteX4981" fmla="*/ 6971217 w 8079933"/>
              <a:gd name="connsiteY4981" fmla="*/ 3120792 h 4687251"/>
              <a:gd name="connsiteX4982" fmla="*/ 6975666 w 8079933"/>
              <a:gd name="connsiteY4982" fmla="*/ 3122741 h 4687251"/>
              <a:gd name="connsiteX4983" fmla="*/ 4217715 w 8079933"/>
              <a:gd name="connsiteY4983" fmla="*/ 3119058 h 4687251"/>
              <a:gd name="connsiteX4984" fmla="*/ 4219804 w 8079933"/>
              <a:gd name="connsiteY4984" fmla="*/ 3120705 h 4687251"/>
              <a:gd name="connsiteX4985" fmla="*/ 4217716 w 8079933"/>
              <a:gd name="connsiteY4985" fmla="*/ 3119058 h 4687251"/>
              <a:gd name="connsiteX4986" fmla="*/ 6512085 w 8079933"/>
              <a:gd name="connsiteY4986" fmla="*/ 3116135 h 4687251"/>
              <a:gd name="connsiteX4987" fmla="*/ 6514256 w 8079933"/>
              <a:gd name="connsiteY4987" fmla="*/ 3117651 h 4687251"/>
              <a:gd name="connsiteX4988" fmla="*/ 6511434 w 8079933"/>
              <a:gd name="connsiteY4988" fmla="*/ 3120140 h 4687251"/>
              <a:gd name="connsiteX4989" fmla="*/ 2094881 w 8079933"/>
              <a:gd name="connsiteY4989" fmla="*/ 3115317 h 4687251"/>
              <a:gd name="connsiteX4990" fmla="*/ 2092960 w 8079933"/>
              <a:gd name="connsiteY4990" fmla="*/ 3117109 h 4687251"/>
              <a:gd name="connsiteX4991" fmla="*/ 2092388 w 8079933"/>
              <a:gd name="connsiteY4991" fmla="*/ 3118292 h 4687251"/>
              <a:gd name="connsiteX4992" fmla="*/ 2092960 w 8079933"/>
              <a:gd name="connsiteY4992" fmla="*/ 3117110 h 4687251"/>
              <a:gd name="connsiteX4993" fmla="*/ 7017121 w 8079933"/>
              <a:gd name="connsiteY4993" fmla="*/ 3114945 h 4687251"/>
              <a:gd name="connsiteX4994" fmla="*/ 7016361 w 8079933"/>
              <a:gd name="connsiteY4994" fmla="*/ 3117110 h 4687251"/>
              <a:gd name="connsiteX4995" fmla="*/ 7013974 w 8079933"/>
              <a:gd name="connsiteY4995" fmla="*/ 3117327 h 4687251"/>
              <a:gd name="connsiteX4996" fmla="*/ 7012998 w 8079933"/>
              <a:gd name="connsiteY4996" fmla="*/ 3115161 h 4687251"/>
              <a:gd name="connsiteX4997" fmla="*/ 6352999 w 8079933"/>
              <a:gd name="connsiteY4997" fmla="*/ 3113646 h 4687251"/>
              <a:gd name="connsiteX4998" fmla="*/ 6357990 w 8079933"/>
              <a:gd name="connsiteY4998" fmla="*/ 3117435 h 4687251"/>
              <a:gd name="connsiteX4999" fmla="*/ 6357665 w 8079933"/>
              <a:gd name="connsiteY4999" fmla="*/ 3121441 h 4687251"/>
              <a:gd name="connsiteX5000" fmla="*/ 6358749 w 8079933"/>
              <a:gd name="connsiteY5000" fmla="*/ 3126097 h 4687251"/>
              <a:gd name="connsiteX5001" fmla="*/ 6349960 w 8079933"/>
              <a:gd name="connsiteY5001" fmla="*/ 3117977 h 4687251"/>
              <a:gd name="connsiteX5002" fmla="*/ 7051954 w 8079933"/>
              <a:gd name="connsiteY5002" fmla="*/ 3112021 h 4687251"/>
              <a:gd name="connsiteX5003" fmla="*/ 7057164 w 8079933"/>
              <a:gd name="connsiteY5003" fmla="*/ 3112563 h 4687251"/>
              <a:gd name="connsiteX5004" fmla="*/ 7061939 w 8079933"/>
              <a:gd name="connsiteY5004" fmla="*/ 3116568 h 4687251"/>
              <a:gd name="connsiteX5005" fmla="*/ 7071814 w 8079933"/>
              <a:gd name="connsiteY5005" fmla="*/ 3118409 h 4687251"/>
              <a:gd name="connsiteX5006" fmla="*/ 7083642 w 8079933"/>
              <a:gd name="connsiteY5006" fmla="*/ 3125122 h 4687251"/>
              <a:gd name="connsiteX5007" fmla="*/ 7085921 w 8079933"/>
              <a:gd name="connsiteY5007" fmla="*/ 3134108 h 4687251"/>
              <a:gd name="connsiteX5008" fmla="*/ 7084076 w 8079933"/>
              <a:gd name="connsiteY5008" fmla="*/ 3138330 h 4687251"/>
              <a:gd name="connsiteX5009" fmla="*/ 7079084 w 8079933"/>
              <a:gd name="connsiteY5009" fmla="*/ 3138330 h 4687251"/>
              <a:gd name="connsiteX5010" fmla="*/ 7073875 w 8079933"/>
              <a:gd name="connsiteY5010" fmla="*/ 3132808 h 4687251"/>
              <a:gd name="connsiteX5011" fmla="*/ 7069534 w 8079933"/>
              <a:gd name="connsiteY5011" fmla="*/ 3131943 h 4687251"/>
              <a:gd name="connsiteX5012" fmla="*/ 7060093 w 8079933"/>
              <a:gd name="connsiteY5012" fmla="*/ 3126312 h 4687251"/>
              <a:gd name="connsiteX5013" fmla="*/ 7055211 w 8079933"/>
              <a:gd name="connsiteY5013" fmla="*/ 3126312 h 4687251"/>
              <a:gd name="connsiteX5014" fmla="*/ 7053040 w 8079933"/>
              <a:gd name="connsiteY5014" fmla="*/ 3129453 h 4687251"/>
              <a:gd name="connsiteX5015" fmla="*/ 7042731 w 8079933"/>
              <a:gd name="connsiteY5015" fmla="*/ 3128153 h 4687251"/>
              <a:gd name="connsiteX5016" fmla="*/ 7040127 w 8079933"/>
              <a:gd name="connsiteY5016" fmla="*/ 3123714 h 4687251"/>
              <a:gd name="connsiteX5017" fmla="*/ 7037196 w 8079933"/>
              <a:gd name="connsiteY5017" fmla="*/ 3123714 h 4687251"/>
              <a:gd name="connsiteX5018" fmla="*/ 7032748 w 8079933"/>
              <a:gd name="connsiteY5018" fmla="*/ 3128153 h 4687251"/>
              <a:gd name="connsiteX5019" fmla="*/ 7028406 w 8079933"/>
              <a:gd name="connsiteY5019" fmla="*/ 3128586 h 4687251"/>
              <a:gd name="connsiteX5020" fmla="*/ 7026345 w 8079933"/>
              <a:gd name="connsiteY5020" fmla="*/ 3125447 h 4687251"/>
              <a:gd name="connsiteX5021" fmla="*/ 7022656 w 8079933"/>
              <a:gd name="connsiteY5021" fmla="*/ 3121549 h 4687251"/>
              <a:gd name="connsiteX5022" fmla="*/ 7018423 w 8079933"/>
              <a:gd name="connsiteY5022" fmla="*/ 3128370 h 4687251"/>
              <a:gd name="connsiteX5023" fmla="*/ 7015601 w 8079933"/>
              <a:gd name="connsiteY5023" fmla="*/ 3128370 h 4687251"/>
              <a:gd name="connsiteX5024" fmla="*/ 7014408 w 8079933"/>
              <a:gd name="connsiteY5024" fmla="*/ 3125230 h 4687251"/>
              <a:gd name="connsiteX5025" fmla="*/ 7016035 w 8079933"/>
              <a:gd name="connsiteY5025" fmla="*/ 3121115 h 4687251"/>
              <a:gd name="connsiteX5026" fmla="*/ 7019943 w 8079933"/>
              <a:gd name="connsiteY5026" fmla="*/ 3119816 h 4687251"/>
              <a:gd name="connsiteX5027" fmla="*/ 7020267 w 8079933"/>
              <a:gd name="connsiteY5027" fmla="*/ 3117002 h 4687251"/>
              <a:gd name="connsiteX5028" fmla="*/ 7022330 w 8079933"/>
              <a:gd name="connsiteY5028" fmla="*/ 3114294 h 4687251"/>
              <a:gd name="connsiteX5029" fmla="*/ 7032205 w 8079933"/>
              <a:gd name="connsiteY5029" fmla="*/ 3114403 h 4687251"/>
              <a:gd name="connsiteX5030" fmla="*/ 7039259 w 8079933"/>
              <a:gd name="connsiteY5030" fmla="*/ 3113970 h 4687251"/>
              <a:gd name="connsiteX5031" fmla="*/ 7042731 w 8079933"/>
              <a:gd name="connsiteY5031" fmla="*/ 3115377 h 4687251"/>
              <a:gd name="connsiteX5032" fmla="*/ 7047723 w 8079933"/>
              <a:gd name="connsiteY5032" fmla="*/ 3115810 h 4687251"/>
              <a:gd name="connsiteX5033" fmla="*/ 6345945 w 8079933"/>
              <a:gd name="connsiteY5033" fmla="*/ 3108990 h 4687251"/>
              <a:gd name="connsiteX5034" fmla="*/ 6350285 w 8079933"/>
              <a:gd name="connsiteY5034" fmla="*/ 3110938 h 4687251"/>
              <a:gd name="connsiteX5035" fmla="*/ 6346705 w 8079933"/>
              <a:gd name="connsiteY5035" fmla="*/ 3114186 h 4687251"/>
              <a:gd name="connsiteX5036" fmla="*/ 2042500 w 8079933"/>
              <a:gd name="connsiteY5036" fmla="*/ 3107474 h 4687251"/>
              <a:gd name="connsiteX5037" fmla="*/ 2042825 w 8079933"/>
              <a:gd name="connsiteY5037" fmla="*/ 3108664 h 4687251"/>
              <a:gd name="connsiteX5038" fmla="*/ 2041523 w 8079933"/>
              <a:gd name="connsiteY5038" fmla="*/ 3111913 h 4687251"/>
              <a:gd name="connsiteX5039" fmla="*/ 2041849 w 8079933"/>
              <a:gd name="connsiteY5039" fmla="*/ 3114837 h 4687251"/>
              <a:gd name="connsiteX5040" fmla="*/ 2040113 w 8079933"/>
              <a:gd name="connsiteY5040" fmla="*/ 3118301 h 4687251"/>
              <a:gd name="connsiteX5041" fmla="*/ 2037291 w 8079933"/>
              <a:gd name="connsiteY5041" fmla="*/ 3119167 h 4687251"/>
              <a:gd name="connsiteX5042" fmla="*/ 2035880 w 8079933"/>
              <a:gd name="connsiteY5042" fmla="*/ 3117327 h 4687251"/>
              <a:gd name="connsiteX5043" fmla="*/ 2035555 w 8079933"/>
              <a:gd name="connsiteY5043" fmla="*/ 3115594 h 4687251"/>
              <a:gd name="connsiteX5044" fmla="*/ 2038159 w 8079933"/>
              <a:gd name="connsiteY5044" fmla="*/ 3111372 h 4687251"/>
              <a:gd name="connsiteX5045" fmla="*/ 6529990 w 8079933"/>
              <a:gd name="connsiteY5045" fmla="*/ 3106391 h 4687251"/>
              <a:gd name="connsiteX5046" fmla="*/ 6538019 w 8079933"/>
              <a:gd name="connsiteY5046" fmla="*/ 3107907 h 4687251"/>
              <a:gd name="connsiteX5047" fmla="*/ 6545941 w 8079933"/>
              <a:gd name="connsiteY5047" fmla="*/ 3112995 h 4687251"/>
              <a:gd name="connsiteX5048" fmla="*/ 6548111 w 8079933"/>
              <a:gd name="connsiteY5048" fmla="*/ 3117759 h 4687251"/>
              <a:gd name="connsiteX5049" fmla="*/ 6544531 w 8079933"/>
              <a:gd name="connsiteY5049" fmla="*/ 3119491 h 4687251"/>
              <a:gd name="connsiteX5050" fmla="*/ 6543011 w 8079933"/>
              <a:gd name="connsiteY5050" fmla="*/ 3122848 h 4687251"/>
              <a:gd name="connsiteX5051" fmla="*/ 6539431 w 8079933"/>
              <a:gd name="connsiteY5051" fmla="*/ 3122090 h 4687251"/>
              <a:gd name="connsiteX5052" fmla="*/ 6536935 w 8079933"/>
              <a:gd name="connsiteY5052" fmla="*/ 3118409 h 4687251"/>
              <a:gd name="connsiteX5053" fmla="*/ 6532811 w 8079933"/>
              <a:gd name="connsiteY5053" fmla="*/ 3124689 h 4687251"/>
              <a:gd name="connsiteX5054" fmla="*/ 6529230 w 8079933"/>
              <a:gd name="connsiteY5054" fmla="*/ 3120899 h 4687251"/>
              <a:gd name="connsiteX5055" fmla="*/ 6529338 w 8079933"/>
              <a:gd name="connsiteY5055" fmla="*/ 3114186 h 4687251"/>
              <a:gd name="connsiteX5056" fmla="*/ 6526192 w 8079933"/>
              <a:gd name="connsiteY5056" fmla="*/ 3115811 h 4687251"/>
              <a:gd name="connsiteX5057" fmla="*/ 6526300 w 8079933"/>
              <a:gd name="connsiteY5057" fmla="*/ 3117327 h 4687251"/>
              <a:gd name="connsiteX5058" fmla="*/ 6522502 w 8079933"/>
              <a:gd name="connsiteY5058" fmla="*/ 3117110 h 4687251"/>
              <a:gd name="connsiteX5059" fmla="*/ 6524130 w 8079933"/>
              <a:gd name="connsiteY5059" fmla="*/ 3114728 h 4687251"/>
              <a:gd name="connsiteX5060" fmla="*/ 6529013 w 8079933"/>
              <a:gd name="connsiteY5060" fmla="*/ 3113537 h 4687251"/>
              <a:gd name="connsiteX5061" fmla="*/ 6529230 w 8079933"/>
              <a:gd name="connsiteY5061" fmla="*/ 3111263 h 4687251"/>
              <a:gd name="connsiteX5062" fmla="*/ 6527494 w 8079933"/>
              <a:gd name="connsiteY5062" fmla="*/ 3107148 h 4687251"/>
              <a:gd name="connsiteX5063" fmla="*/ 4635613 w 8079933"/>
              <a:gd name="connsiteY5063" fmla="*/ 3105091 h 4687251"/>
              <a:gd name="connsiteX5064" fmla="*/ 4636047 w 8079933"/>
              <a:gd name="connsiteY5064" fmla="*/ 3110396 h 4687251"/>
              <a:gd name="connsiteX5065" fmla="*/ 4636047 w 8079933"/>
              <a:gd name="connsiteY5065" fmla="*/ 3116568 h 4687251"/>
              <a:gd name="connsiteX5066" fmla="*/ 4640388 w 8079933"/>
              <a:gd name="connsiteY5066" fmla="*/ 3144610 h 4687251"/>
              <a:gd name="connsiteX5067" fmla="*/ 4643535 w 8079933"/>
              <a:gd name="connsiteY5067" fmla="*/ 3164748 h 4687251"/>
              <a:gd name="connsiteX5068" fmla="*/ 4648393 w 8079933"/>
              <a:gd name="connsiteY5068" fmla="*/ 3188983 h 4687251"/>
              <a:gd name="connsiteX5069" fmla="*/ 4649178 w 8079933"/>
              <a:gd name="connsiteY5069" fmla="*/ 3192899 h 4687251"/>
              <a:gd name="connsiteX5070" fmla="*/ 4649178 w 8079933"/>
              <a:gd name="connsiteY5070" fmla="*/ 3192898 h 4687251"/>
              <a:gd name="connsiteX5071" fmla="*/ 4648393 w 8079933"/>
              <a:gd name="connsiteY5071" fmla="*/ 3188983 h 4687251"/>
              <a:gd name="connsiteX5072" fmla="*/ 4643536 w 8079933"/>
              <a:gd name="connsiteY5072" fmla="*/ 3164749 h 4687251"/>
              <a:gd name="connsiteX5073" fmla="*/ 4640389 w 8079933"/>
              <a:gd name="connsiteY5073" fmla="*/ 3144611 h 4687251"/>
              <a:gd name="connsiteX5074" fmla="*/ 4640388 w 8079933"/>
              <a:gd name="connsiteY5074" fmla="*/ 3144611 h 4687251"/>
              <a:gd name="connsiteX5075" fmla="*/ 4636048 w 8079933"/>
              <a:gd name="connsiteY5075" fmla="*/ 3116568 h 4687251"/>
              <a:gd name="connsiteX5076" fmla="*/ 4636048 w 8079933"/>
              <a:gd name="connsiteY5076" fmla="*/ 3110397 h 4687251"/>
              <a:gd name="connsiteX5077" fmla="*/ 4635613 w 8079933"/>
              <a:gd name="connsiteY5077" fmla="*/ 3105092 h 4687251"/>
              <a:gd name="connsiteX5078" fmla="*/ 4673555 w 8079933"/>
              <a:gd name="connsiteY5078" fmla="*/ 3105074 h 4687251"/>
              <a:gd name="connsiteX5079" fmla="*/ 4675765 w 8079933"/>
              <a:gd name="connsiteY5079" fmla="*/ 3106283 h 4687251"/>
              <a:gd name="connsiteX5080" fmla="*/ 4676741 w 8079933"/>
              <a:gd name="connsiteY5080" fmla="*/ 3109315 h 4687251"/>
              <a:gd name="connsiteX5081" fmla="*/ 4679780 w 8079933"/>
              <a:gd name="connsiteY5081" fmla="*/ 3109748 h 4687251"/>
              <a:gd name="connsiteX5082" fmla="*/ 4681082 w 8079933"/>
              <a:gd name="connsiteY5082" fmla="*/ 3116785 h 4687251"/>
              <a:gd name="connsiteX5083" fmla="*/ 4680648 w 8079933"/>
              <a:gd name="connsiteY5083" fmla="*/ 3120250 h 4687251"/>
              <a:gd name="connsiteX5084" fmla="*/ 4676741 w 8079933"/>
              <a:gd name="connsiteY5084" fmla="*/ 3124148 h 4687251"/>
              <a:gd name="connsiteX5085" fmla="*/ 4673584 w 8079933"/>
              <a:gd name="connsiteY5085" fmla="*/ 3127509 h 4687251"/>
              <a:gd name="connsiteX5086" fmla="*/ 4673486 w 8079933"/>
              <a:gd name="connsiteY5086" fmla="*/ 3127613 h 4687251"/>
              <a:gd name="connsiteX5087" fmla="*/ 4673487 w 8079933"/>
              <a:gd name="connsiteY5087" fmla="*/ 3127612 h 4687251"/>
              <a:gd name="connsiteX5088" fmla="*/ 4673584 w 8079933"/>
              <a:gd name="connsiteY5088" fmla="*/ 3127509 h 4687251"/>
              <a:gd name="connsiteX5089" fmla="*/ 4676742 w 8079933"/>
              <a:gd name="connsiteY5089" fmla="*/ 3124148 h 4687251"/>
              <a:gd name="connsiteX5090" fmla="*/ 4680649 w 8079933"/>
              <a:gd name="connsiteY5090" fmla="*/ 3120250 h 4687251"/>
              <a:gd name="connsiteX5091" fmla="*/ 4681082 w 8079933"/>
              <a:gd name="connsiteY5091" fmla="*/ 3116786 h 4687251"/>
              <a:gd name="connsiteX5092" fmla="*/ 4679781 w 8079933"/>
              <a:gd name="connsiteY5092" fmla="*/ 3109748 h 4687251"/>
              <a:gd name="connsiteX5093" fmla="*/ 4676742 w 8079933"/>
              <a:gd name="connsiteY5093" fmla="*/ 3109315 h 4687251"/>
              <a:gd name="connsiteX5094" fmla="*/ 4675765 w 8079933"/>
              <a:gd name="connsiteY5094" fmla="*/ 3106283 h 4687251"/>
              <a:gd name="connsiteX5095" fmla="*/ 7567843 w 8079933"/>
              <a:gd name="connsiteY5095" fmla="*/ 3104983 h 4687251"/>
              <a:gd name="connsiteX5096" fmla="*/ 7578477 w 8079933"/>
              <a:gd name="connsiteY5096" fmla="*/ 3111371 h 4687251"/>
              <a:gd name="connsiteX5097" fmla="*/ 7585965 w 8079933"/>
              <a:gd name="connsiteY5097" fmla="*/ 3113428 h 4687251"/>
              <a:gd name="connsiteX5098" fmla="*/ 7594755 w 8079933"/>
              <a:gd name="connsiteY5098" fmla="*/ 3120791 h 4687251"/>
              <a:gd name="connsiteX5099" fmla="*/ 7601374 w 8079933"/>
              <a:gd name="connsiteY5099" fmla="*/ 3122198 h 4687251"/>
              <a:gd name="connsiteX5100" fmla="*/ 7605063 w 8079933"/>
              <a:gd name="connsiteY5100" fmla="*/ 3126313 h 4687251"/>
              <a:gd name="connsiteX5101" fmla="*/ 7610598 w 8079933"/>
              <a:gd name="connsiteY5101" fmla="*/ 3128911 h 4687251"/>
              <a:gd name="connsiteX5102" fmla="*/ 7614722 w 8079933"/>
              <a:gd name="connsiteY5102" fmla="*/ 3135732 h 4687251"/>
              <a:gd name="connsiteX5103" fmla="*/ 7617977 w 8079933"/>
              <a:gd name="connsiteY5103" fmla="*/ 3135948 h 4687251"/>
              <a:gd name="connsiteX5104" fmla="*/ 7619822 w 8079933"/>
              <a:gd name="connsiteY5104" fmla="*/ 3146017 h 4687251"/>
              <a:gd name="connsiteX5105" fmla="*/ 7622426 w 8079933"/>
              <a:gd name="connsiteY5105" fmla="*/ 3146884 h 4687251"/>
              <a:gd name="connsiteX5106" fmla="*/ 7622643 w 8079933"/>
              <a:gd name="connsiteY5106" fmla="*/ 3151107 h 4687251"/>
              <a:gd name="connsiteX5107" fmla="*/ 7620364 w 8079933"/>
              <a:gd name="connsiteY5107" fmla="*/ 3155654 h 4687251"/>
              <a:gd name="connsiteX5108" fmla="*/ 7618629 w 8079933"/>
              <a:gd name="connsiteY5108" fmla="*/ 3161609 h 4687251"/>
              <a:gd name="connsiteX5109" fmla="*/ 7613854 w 8079933"/>
              <a:gd name="connsiteY5109" fmla="*/ 3156195 h 4687251"/>
              <a:gd name="connsiteX5110" fmla="*/ 7612443 w 8079933"/>
              <a:gd name="connsiteY5110" fmla="*/ 3151107 h 4687251"/>
              <a:gd name="connsiteX5111" fmla="*/ 7614179 w 8079933"/>
              <a:gd name="connsiteY5111" fmla="*/ 3147100 h 4687251"/>
              <a:gd name="connsiteX5112" fmla="*/ 7610707 w 8079933"/>
              <a:gd name="connsiteY5112" fmla="*/ 3134866 h 4687251"/>
              <a:gd name="connsiteX5113" fmla="*/ 7602242 w 8079933"/>
              <a:gd name="connsiteY5113" fmla="*/ 3126204 h 4687251"/>
              <a:gd name="connsiteX5114" fmla="*/ 7596599 w 8079933"/>
              <a:gd name="connsiteY5114" fmla="*/ 3125662 h 4687251"/>
              <a:gd name="connsiteX5115" fmla="*/ 7588026 w 8079933"/>
              <a:gd name="connsiteY5115" fmla="*/ 3120791 h 4687251"/>
              <a:gd name="connsiteX5116" fmla="*/ 7571424 w 8079933"/>
              <a:gd name="connsiteY5116" fmla="*/ 3111154 h 4687251"/>
              <a:gd name="connsiteX5117" fmla="*/ 7568494 w 8079933"/>
              <a:gd name="connsiteY5117" fmla="*/ 3108230 h 4687251"/>
              <a:gd name="connsiteX5118" fmla="*/ 4218728 w 8079933"/>
              <a:gd name="connsiteY5118" fmla="*/ 3104345 h 4687251"/>
              <a:gd name="connsiteX5119" fmla="*/ 4219994 w 8079933"/>
              <a:gd name="connsiteY5119" fmla="*/ 3105308 h 4687251"/>
              <a:gd name="connsiteX5120" fmla="*/ 4224118 w 8079933"/>
              <a:gd name="connsiteY5120" fmla="*/ 3108340 h 4687251"/>
              <a:gd name="connsiteX5121" fmla="*/ 4224660 w 8079933"/>
              <a:gd name="connsiteY5121" fmla="*/ 3120250 h 4687251"/>
              <a:gd name="connsiteX5122" fmla="*/ 4224443 w 8079933"/>
              <a:gd name="connsiteY5122" fmla="*/ 3124363 h 4687251"/>
              <a:gd name="connsiteX5123" fmla="*/ 4224444 w 8079933"/>
              <a:gd name="connsiteY5123" fmla="*/ 3124363 h 4687251"/>
              <a:gd name="connsiteX5124" fmla="*/ 4224661 w 8079933"/>
              <a:gd name="connsiteY5124" fmla="*/ 3120249 h 4687251"/>
              <a:gd name="connsiteX5125" fmla="*/ 4224118 w 8079933"/>
              <a:gd name="connsiteY5125" fmla="*/ 3108339 h 4687251"/>
              <a:gd name="connsiteX5126" fmla="*/ 4219995 w 8079933"/>
              <a:gd name="connsiteY5126" fmla="*/ 3105308 h 4687251"/>
              <a:gd name="connsiteX5127" fmla="*/ 4217715 w 8079933"/>
              <a:gd name="connsiteY5127" fmla="*/ 3103575 h 4687251"/>
              <a:gd name="connsiteX5128" fmla="*/ 4214026 w 8079933"/>
              <a:gd name="connsiteY5128" fmla="*/ 3104442 h 4687251"/>
              <a:gd name="connsiteX5129" fmla="*/ 4210336 w 8079933"/>
              <a:gd name="connsiteY5129" fmla="*/ 3105632 h 4687251"/>
              <a:gd name="connsiteX5130" fmla="*/ 4210336 w 8079933"/>
              <a:gd name="connsiteY5130" fmla="*/ 3105633 h 4687251"/>
              <a:gd name="connsiteX5131" fmla="*/ 4214026 w 8079933"/>
              <a:gd name="connsiteY5131" fmla="*/ 3104442 h 4687251"/>
              <a:gd name="connsiteX5132" fmla="*/ 7554603 w 8079933"/>
              <a:gd name="connsiteY5132" fmla="*/ 3102276 h 4687251"/>
              <a:gd name="connsiteX5133" fmla="*/ 7557858 w 8079933"/>
              <a:gd name="connsiteY5133" fmla="*/ 3104333 h 4687251"/>
              <a:gd name="connsiteX5134" fmla="*/ 7557858 w 8079933"/>
              <a:gd name="connsiteY5134" fmla="*/ 3108989 h 4687251"/>
              <a:gd name="connsiteX5135" fmla="*/ 7552976 w 8079933"/>
              <a:gd name="connsiteY5135" fmla="*/ 3110288 h 4687251"/>
              <a:gd name="connsiteX5136" fmla="*/ 7549395 w 8079933"/>
              <a:gd name="connsiteY5136" fmla="*/ 3108123 h 4687251"/>
              <a:gd name="connsiteX5137" fmla="*/ 7549069 w 8079933"/>
              <a:gd name="connsiteY5137" fmla="*/ 3104333 h 4687251"/>
              <a:gd name="connsiteX5138" fmla="*/ 2282430 w 8079933"/>
              <a:gd name="connsiteY5138" fmla="*/ 3101302 h 4687251"/>
              <a:gd name="connsiteX5139" fmla="*/ 2278785 w 8079933"/>
              <a:gd name="connsiteY5139" fmla="*/ 3102486 h 4687251"/>
              <a:gd name="connsiteX5140" fmla="*/ 2282430 w 8079933"/>
              <a:gd name="connsiteY5140" fmla="*/ 3101302 h 4687251"/>
              <a:gd name="connsiteX5141" fmla="*/ 2282756 w 8079933"/>
              <a:gd name="connsiteY5141" fmla="*/ 3104550 h 4687251"/>
              <a:gd name="connsiteX5142" fmla="*/ 4650590 w 8079933"/>
              <a:gd name="connsiteY5142" fmla="*/ 3101194 h 4687251"/>
              <a:gd name="connsiteX5143" fmla="*/ 4648962 w 8079933"/>
              <a:gd name="connsiteY5143" fmla="*/ 3101735 h 4687251"/>
              <a:gd name="connsiteX5144" fmla="*/ 4648961 w 8079933"/>
              <a:gd name="connsiteY5144" fmla="*/ 3101735 h 4687251"/>
              <a:gd name="connsiteX5145" fmla="*/ 4650589 w 8079933"/>
              <a:gd name="connsiteY5145" fmla="*/ 3101194 h 4687251"/>
              <a:gd name="connsiteX5146" fmla="*/ 4652868 w 8079933"/>
              <a:gd name="connsiteY5146" fmla="*/ 3103576 h 4687251"/>
              <a:gd name="connsiteX5147" fmla="*/ 4657643 w 8079933"/>
              <a:gd name="connsiteY5147" fmla="*/ 3101952 h 4687251"/>
              <a:gd name="connsiteX5148" fmla="*/ 4657643 w 8079933"/>
              <a:gd name="connsiteY5148" fmla="*/ 3101951 h 4687251"/>
              <a:gd name="connsiteX5149" fmla="*/ 4652868 w 8079933"/>
              <a:gd name="connsiteY5149" fmla="*/ 3103575 h 4687251"/>
              <a:gd name="connsiteX5150" fmla="*/ 4639086 w 8079933"/>
              <a:gd name="connsiteY5150" fmla="*/ 3096863 h 4687251"/>
              <a:gd name="connsiteX5151" fmla="*/ 4641582 w 8079933"/>
              <a:gd name="connsiteY5151" fmla="*/ 3097838 h 4687251"/>
              <a:gd name="connsiteX5152" fmla="*/ 4643427 w 8079933"/>
              <a:gd name="connsiteY5152" fmla="*/ 3101735 h 4687251"/>
              <a:gd name="connsiteX5153" fmla="*/ 4647551 w 8079933"/>
              <a:gd name="connsiteY5153" fmla="*/ 3103251 h 4687251"/>
              <a:gd name="connsiteX5154" fmla="*/ 4648815 w 8079933"/>
              <a:gd name="connsiteY5154" fmla="*/ 3101892 h 4687251"/>
              <a:gd name="connsiteX5155" fmla="*/ 4647551 w 8079933"/>
              <a:gd name="connsiteY5155" fmla="*/ 3103251 h 4687251"/>
              <a:gd name="connsiteX5156" fmla="*/ 4643427 w 8079933"/>
              <a:gd name="connsiteY5156" fmla="*/ 3101735 h 4687251"/>
              <a:gd name="connsiteX5157" fmla="*/ 4641582 w 8079933"/>
              <a:gd name="connsiteY5157" fmla="*/ 3097837 h 4687251"/>
              <a:gd name="connsiteX5158" fmla="*/ 4639087 w 8079933"/>
              <a:gd name="connsiteY5158" fmla="*/ 3096863 h 4687251"/>
              <a:gd name="connsiteX5159" fmla="*/ 4222227 w 8079933"/>
              <a:gd name="connsiteY5159" fmla="*/ 3096456 h 4687251"/>
              <a:gd name="connsiteX5160" fmla="*/ 4221188 w 8079933"/>
              <a:gd name="connsiteY5160" fmla="*/ 3097296 h 4687251"/>
              <a:gd name="connsiteX5161" fmla="*/ 4221188 w 8079933"/>
              <a:gd name="connsiteY5161" fmla="*/ 3097296 h 4687251"/>
              <a:gd name="connsiteX5162" fmla="*/ 4210390 w 8079933"/>
              <a:gd name="connsiteY5162" fmla="*/ 3096375 h 4687251"/>
              <a:gd name="connsiteX5163" fmla="*/ 4209251 w 8079933"/>
              <a:gd name="connsiteY5163" fmla="*/ 3097512 h 4687251"/>
              <a:gd name="connsiteX5164" fmla="*/ 4211096 w 8079933"/>
              <a:gd name="connsiteY5164" fmla="*/ 3100977 h 4687251"/>
              <a:gd name="connsiteX5165" fmla="*/ 4210432 w 8079933"/>
              <a:gd name="connsiteY5165" fmla="*/ 3105047 h 4687251"/>
              <a:gd name="connsiteX5166" fmla="*/ 4211096 w 8079933"/>
              <a:gd name="connsiteY5166" fmla="*/ 3100977 h 4687251"/>
              <a:gd name="connsiteX5167" fmla="*/ 4209251 w 8079933"/>
              <a:gd name="connsiteY5167" fmla="*/ 3097512 h 4687251"/>
              <a:gd name="connsiteX5168" fmla="*/ 2240543 w 8079933"/>
              <a:gd name="connsiteY5168" fmla="*/ 3094047 h 4687251"/>
              <a:gd name="connsiteX5169" fmla="*/ 2232946 w 8079933"/>
              <a:gd name="connsiteY5169" fmla="*/ 3097512 h 4687251"/>
              <a:gd name="connsiteX5170" fmla="*/ 2230560 w 8079933"/>
              <a:gd name="connsiteY5170" fmla="*/ 3099569 h 4687251"/>
              <a:gd name="connsiteX5171" fmla="*/ 2224699 w 8079933"/>
              <a:gd name="connsiteY5171" fmla="*/ 3099786 h 4687251"/>
              <a:gd name="connsiteX5172" fmla="*/ 2220576 w 8079933"/>
              <a:gd name="connsiteY5172" fmla="*/ 3098703 h 4687251"/>
              <a:gd name="connsiteX5173" fmla="*/ 2215584 w 8079933"/>
              <a:gd name="connsiteY5173" fmla="*/ 3099894 h 4687251"/>
              <a:gd name="connsiteX5174" fmla="*/ 2211135 w 8079933"/>
              <a:gd name="connsiteY5174" fmla="*/ 3098054 h 4687251"/>
              <a:gd name="connsiteX5175" fmla="*/ 2209724 w 8079933"/>
              <a:gd name="connsiteY5175" fmla="*/ 3094589 h 4687251"/>
              <a:gd name="connsiteX5176" fmla="*/ 2209879 w 8079933"/>
              <a:gd name="connsiteY5176" fmla="*/ 3094347 h 4687251"/>
              <a:gd name="connsiteX5177" fmla="*/ 2209724 w 8079933"/>
              <a:gd name="connsiteY5177" fmla="*/ 3094590 h 4687251"/>
              <a:gd name="connsiteX5178" fmla="*/ 2211135 w 8079933"/>
              <a:gd name="connsiteY5178" fmla="*/ 3098055 h 4687251"/>
              <a:gd name="connsiteX5179" fmla="*/ 2215584 w 8079933"/>
              <a:gd name="connsiteY5179" fmla="*/ 3099895 h 4687251"/>
              <a:gd name="connsiteX5180" fmla="*/ 2220576 w 8079933"/>
              <a:gd name="connsiteY5180" fmla="*/ 3098704 h 4687251"/>
              <a:gd name="connsiteX5181" fmla="*/ 2224699 w 8079933"/>
              <a:gd name="connsiteY5181" fmla="*/ 3099787 h 4687251"/>
              <a:gd name="connsiteX5182" fmla="*/ 2230559 w 8079933"/>
              <a:gd name="connsiteY5182" fmla="*/ 3099570 h 4687251"/>
              <a:gd name="connsiteX5183" fmla="*/ 2232947 w 8079933"/>
              <a:gd name="connsiteY5183" fmla="*/ 3097513 h 4687251"/>
              <a:gd name="connsiteX5184" fmla="*/ 2240543 w 8079933"/>
              <a:gd name="connsiteY5184" fmla="*/ 3094048 h 4687251"/>
              <a:gd name="connsiteX5185" fmla="*/ 2247054 w 8079933"/>
              <a:gd name="connsiteY5185" fmla="*/ 3095239 h 4687251"/>
              <a:gd name="connsiteX5186" fmla="*/ 2252805 w 8079933"/>
              <a:gd name="connsiteY5186" fmla="*/ 3098055 h 4687251"/>
              <a:gd name="connsiteX5187" fmla="*/ 2261053 w 8079933"/>
              <a:gd name="connsiteY5187" fmla="*/ 3094482 h 4687251"/>
              <a:gd name="connsiteX5188" fmla="*/ 2265393 w 8079933"/>
              <a:gd name="connsiteY5188" fmla="*/ 3094482 h 4687251"/>
              <a:gd name="connsiteX5189" fmla="*/ 2267238 w 8079933"/>
              <a:gd name="connsiteY5189" fmla="*/ 3097188 h 4687251"/>
              <a:gd name="connsiteX5190" fmla="*/ 2270059 w 8079933"/>
              <a:gd name="connsiteY5190" fmla="*/ 3096972 h 4687251"/>
              <a:gd name="connsiteX5191" fmla="*/ 2275376 w 8079933"/>
              <a:gd name="connsiteY5191" fmla="*/ 3099570 h 4687251"/>
              <a:gd name="connsiteX5192" fmla="*/ 2277764 w 8079933"/>
              <a:gd name="connsiteY5192" fmla="*/ 3102818 h 4687251"/>
              <a:gd name="connsiteX5193" fmla="*/ 2277764 w 8079933"/>
              <a:gd name="connsiteY5193" fmla="*/ 3102818 h 4687251"/>
              <a:gd name="connsiteX5194" fmla="*/ 2275377 w 8079933"/>
              <a:gd name="connsiteY5194" fmla="*/ 3099569 h 4687251"/>
              <a:gd name="connsiteX5195" fmla="*/ 2270060 w 8079933"/>
              <a:gd name="connsiteY5195" fmla="*/ 3096971 h 4687251"/>
              <a:gd name="connsiteX5196" fmla="*/ 2267238 w 8079933"/>
              <a:gd name="connsiteY5196" fmla="*/ 3097187 h 4687251"/>
              <a:gd name="connsiteX5197" fmla="*/ 2265393 w 8079933"/>
              <a:gd name="connsiteY5197" fmla="*/ 3094481 h 4687251"/>
              <a:gd name="connsiteX5198" fmla="*/ 2261052 w 8079933"/>
              <a:gd name="connsiteY5198" fmla="*/ 3094481 h 4687251"/>
              <a:gd name="connsiteX5199" fmla="*/ 2252805 w 8079933"/>
              <a:gd name="connsiteY5199" fmla="*/ 3098054 h 4687251"/>
              <a:gd name="connsiteX5200" fmla="*/ 2247054 w 8079933"/>
              <a:gd name="connsiteY5200" fmla="*/ 3095239 h 4687251"/>
              <a:gd name="connsiteX5201" fmla="*/ 6966769 w 8079933"/>
              <a:gd name="connsiteY5201" fmla="*/ 3093940 h 4687251"/>
              <a:gd name="connsiteX5202" fmla="*/ 6966769 w 8079933"/>
              <a:gd name="connsiteY5202" fmla="*/ 3097729 h 4687251"/>
              <a:gd name="connsiteX5203" fmla="*/ 6970025 w 8079933"/>
              <a:gd name="connsiteY5203" fmla="*/ 3103034 h 4687251"/>
              <a:gd name="connsiteX5204" fmla="*/ 6969916 w 8079933"/>
              <a:gd name="connsiteY5204" fmla="*/ 3105308 h 4687251"/>
              <a:gd name="connsiteX5205" fmla="*/ 6967963 w 8079933"/>
              <a:gd name="connsiteY5205" fmla="*/ 3104442 h 4687251"/>
              <a:gd name="connsiteX5206" fmla="*/ 6965901 w 8079933"/>
              <a:gd name="connsiteY5206" fmla="*/ 3098812 h 4687251"/>
              <a:gd name="connsiteX5207" fmla="*/ 6965033 w 8079933"/>
              <a:gd name="connsiteY5207" fmla="*/ 3094914 h 4687251"/>
              <a:gd name="connsiteX5208" fmla="*/ 6337155 w 8079933"/>
              <a:gd name="connsiteY5208" fmla="*/ 3093940 h 4687251"/>
              <a:gd name="connsiteX5209" fmla="*/ 6342907 w 8079933"/>
              <a:gd name="connsiteY5209" fmla="*/ 3101952 h 4687251"/>
              <a:gd name="connsiteX5210" fmla="*/ 6337481 w 8079933"/>
              <a:gd name="connsiteY5210" fmla="*/ 3100328 h 4687251"/>
              <a:gd name="connsiteX5211" fmla="*/ 6334768 w 8079933"/>
              <a:gd name="connsiteY5211" fmla="*/ 3096646 h 4687251"/>
              <a:gd name="connsiteX5212" fmla="*/ 4272408 w 8079933"/>
              <a:gd name="connsiteY5212" fmla="*/ 3092965 h 4687251"/>
              <a:gd name="connsiteX5213" fmla="*/ 4273818 w 8079933"/>
              <a:gd name="connsiteY5213" fmla="*/ 3096213 h 4687251"/>
              <a:gd name="connsiteX5214" fmla="*/ 4273819 w 8079933"/>
              <a:gd name="connsiteY5214" fmla="*/ 3096213 h 4687251"/>
              <a:gd name="connsiteX5215" fmla="*/ 4272408 w 8079933"/>
              <a:gd name="connsiteY5215" fmla="*/ 3092965 h 4687251"/>
              <a:gd name="connsiteX5216" fmla="*/ 4667307 w 8079933"/>
              <a:gd name="connsiteY5216" fmla="*/ 3090947 h 4687251"/>
              <a:gd name="connsiteX5217" fmla="*/ 4668277 w 8079933"/>
              <a:gd name="connsiteY5217" fmla="*/ 3093940 h 4687251"/>
              <a:gd name="connsiteX5218" fmla="*/ 4670990 w 8079933"/>
              <a:gd name="connsiteY5218" fmla="*/ 3095456 h 4687251"/>
              <a:gd name="connsiteX5219" fmla="*/ 4670990 w 8079933"/>
              <a:gd name="connsiteY5219" fmla="*/ 3096863 h 4687251"/>
              <a:gd name="connsiteX5220" fmla="*/ 4670990 w 8079933"/>
              <a:gd name="connsiteY5220" fmla="*/ 3099245 h 4687251"/>
              <a:gd name="connsiteX5221" fmla="*/ 4672400 w 8079933"/>
              <a:gd name="connsiteY5221" fmla="*/ 3101194 h 4687251"/>
              <a:gd name="connsiteX5222" fmla="*/ 4672400 w 8079933"/>
              <a:gd name="connsiteY5222" fmla="*/ 3104442 h 4687251"/>
              <a:gd name="connsiteX5223" fmla="*/ 4672402 w 8079933"/>
              <a:gd name="connsiteY5223" fmla="*/ 3104443 h 4687251"/>
              <a:gd name="connsiteX5224" fmla="*/ 4672402 w 8079933"/>
              <a:gd name="connsiteY5224" fmla="*/ 3101194 h 4687251"/>
              <a:gd name="connsiteX5225" fmla="*/ 4670990 w 8079933"/>
              <a:gd name="connsiteY5225" fmla="*/ 3099245 h 4687251"/>
              <a:gd name="connsiteX5226" fmla="*/ 4670990 w 8079933"/>
              <a:gd name="connsiteY5226" fmla="*/ 3096864 h 4687251"/>
              <a:gd name="connsiteX5227" fmla="*/ 4671967 w 8079933"/>
              <a:gd name="connsiteY5227" fmla="*/ 3097946 h 4687251"/>
              <a:gd name="connsiteX5228" fmla="*/ 4674571 w 8079933"/>
              <a:gd name="connsiteY5228" fmla="*/ 3098488 h 4687251"/>
              <a:gd name="connsiteX5229" fmla="*/ 4677068 w 8079933"/>
              <a:gd name="connsiteY5229" fmla="*/ 3096972 h 4687251"/>
              <a:gd name="connsiteX5230" fmla="*/ 4679021 w 8079933"/>
              <a:gd name="connsiteY5230" fmla="*/ 3095023 h 4687251"/>
              <a:gd name="connsiteX5231" fmla="*/ 4679021 w 8079933"/>
              <a:gd name="connsiteY5231" fmla="*/ 3095022 h 4687251"/>
              <a:gd name="connsiteX5232" fmla="*/ 4677067 w 8079933"/>
              <a:gd name="connsiteY5232" fmla="*/ 3096971 h 4687251"/>
              <a:gd name="connsiteX5233" fmla="*/ 4674572 w 8079933"/>
              <a:gd name="connsiteY5233" fmla="*/ 3098486 h 4687251"/>
              <a:gd name="connsiteX5234" fmla="*/ 4671968 w 8079933"/>
              <a:gd name="connsiteY5234" fmla="*/ 3097945 h 4687251"/>
              <a:gd name="connsiteX5235" fmla="*/ 4670991 w 8079933"/>
              <a:gd name="connsiteY5235" fmla="*/ 3096863 h 4687251"/>
              <a:gd name="connsiteX5236" fmla="*/ 4670991 w 8079933"/>
              <a:gd name="connsiteY5236" fmla="*/ 3095455 h 4687251"/>
              <a:gd name="connsiteX5237" fmla="*/ 4668278 w 8079933"/>
              <a:gd name="connsiteY5237" fmla="*/ 3093939 h 4687251"/>
              <a:gd name="connsiteX5238" fmla="*/ 4267633 w 8079933"/>
              <a:gd name="connsiteY5238" fmla="*/ 3090908 h 4687251"/>
              <a:gd name="connsiteX5239" fmla="*/ 4269502 w 8079933"/>
              <a:gd name="connsiteY5239" fmla="*/ 3091713 h 4687251"/>
              <a:gd name="connsiteX5240" fmla="*/ 4267633 w 8079933"/>
              <a:gd name="connsiteY5240" fmla="*/ 3090908 h 4687251"/>
              <a:gd name="connsiteX5241" fmla="*/ 6901116 w 8079933"/>
              <a:gd name="connsiteY5241" fmla="*/ 3090259 h 4687251"/>
              <a:gd name="connsiteX5242" fmla="*/ 6900139 w 8079933"/>
              <a:gd name="connsiteY5242" fmla="*/ 3092966 h 4687251"/>
              <a:gd name="connsiteX5243" fmla="*/ 6897535 w 8079933"/>
              <a:gd name="connsiteY5243" fmla="*/ 3091775 h 4687251"/>
              <a:gd name="connsiteX5244" fmla="*/ 4681191 w 8079933"/>
              <a:gd name="connsiteY5244" fmla="*/ 3088634 h 4687251"/>
              <a:gd name="connsiteX5245" fmla="*/ 4680078 w 8079933"/>
              <a:gd name="connsiteY5245" fmla="*/ 3091504 h 4687251"/>
              <a:gd name="connsiteX5246" fmla="*/ 4681191 w 8079933"/>
              <a:gd name="connsiteY5246" fmla="*/ 3088635 h 4687251"/>
              <a:gd name="connsiteX5247" fmla="*/ 7476037 w 8079933"/>
              <a:gd name="connsiteY5247" fmla="*/ 3088201 h 4687251"/>
              <a:gd name="connsiteX5248" fmla="*/ 7478967 w 8079933"/>
              <a:gd name="connsiteY5248" fmla="*/ 3090258 h 4687251"/>
              <a:gd name="connsiteX5249" fmla="*/ 7482548 w 8079933"/>
              <a:gd name="connsiteY5249" fmla="*/ 3089392 h 4687251"/>
              <a:gd name="connsiteX5250" fmla="*/ 7485370 w 8079933"/>
              <a:gd name="connsiteY5250" fmla="*/ 3091666 h 4687251"/>
              <a:gd name="connsiteX5251" fmla="*/ 7480161 w 8079933"/>
              <a:gd name="connsiteY5251" fmla="*/ 3095996 h 4687251"/>
              <a:gd name="connsiteX5252" fmla="*/ 7474084 w 8079933"/>
              <a:gd name="connsiteY5252" fmla="*/ 3095996 h 4687251"/>
              <a:gd name="connsiteX5253" fmla="*/ 7472023 w 8079933"/>
              <a:gd name="connsiteY5253" fmla="*/ 3094048 h 4687251"/>
              <a:gd name="connsiteX5254" fmla="*/ 7468224 w 8079933"/>
              <a:gd name="connsiteY5254" fmla="*/ 3094048 h 4687251"/>
              <a:gd name="connsiteX5255" fmla="*/ 7466705 w 8079933"/>
              <a:gd name="connsiteY5255" fmla="*/ 3090583 h 4687251"/>
              <a:gd name="connsiteX5256" fmla="*/ 7468224 w 8079933"/>
              <a:gd name="connsiteY5256" fmla="*/ 3089392 h 4687251"/>
              <a:gd name="connsiteX5257" fmla="*/ 7472023 w 8079933"/>
              <a:gd name="connsiteY5257" fmla="*/ 3089392 h 4687251"/>
              <a:gd name="connsiteX5258" fmla="*/ 4660247 w 8079933"/>
              <a:gd name="connsiteY5258" fmla="*/ 3087984 h 4687251"/>
              <a:gd name="connsiteX5259" fmla="*/ 4660247 w 8079933"/>
              <a:gd name="connsiteY5259" fmla="*/ 3087985 h 4687251"/>
              <a:gd name="connsiteX5260" fmla="*/ 4662200 w 8079933"/>
              <a:gd name="connsiteY5260" fmla="*/ 3087985 h 4687251"/>
              <a:gd name="connsiteX5261" fmla="*/ 4664370 w 8079933"/>
              <a:gd name="connsiteY5261" fmla="*/ 3089825 h 4687251"/>
              <a:gd name="connsiteX5262" fmla="*/ 4665831 w 8079933"/>
              <a:gd name="connsiteY5262" fmla="*/ 3090058 h 4687251"/>
              <a:gd name="connsiteX5263" fmla="*/ 4664371 w 8079933"/>
              <a:gd name="connsiteY5263" fmla="*/ 3089825 h 4687251"/>
              <a:gd name="connsiteX5264" fmla="*/ 4662201 w 8079933"/>
              <a:gd name="connsiteY5264" fmla="*/ 3087984 h 4687251"/>
              <a:gd name="connsiteX5265" fmla="*/ 4275121 w 8079933"/>
              <a:gd name="connsiteY5265" fmla="*/ 3087552 h 4687251"/>
              <a:gd name="connsiteX5266" fmla="*/ 4275121 w 8079933"/>
              <a:gd name="connsiteY5266" fmla="*/ 3087552 h 4687251"/>
              <a:gd name="connsiteX5267" fmla="*/ 4276314 w 8079933"/>
              <a:gd name="connsiteY5267" fmla="*/ 3091883 h 4687251"/>
              <a:gd name="connsiteX5268" fmla="*/ 4276097 w 8079933"/>
              <a:gd name="connsiteY5268" fmla="*/ 3096213 h 4687251"/>
              <a:gd name="connsiteX5269" fmla="*/ 4276098 w 8079933"/>
              <a:gd name="connsiteY5269" fmla="*/ 3096213 h 4687251"/>
              <a:gd name="connsiteX5270" fmla="*/ 4276315 w 8079933"/>
              <a:gd name="connsiteY5270" fmla="*/ 3091882 h 4687251"/>
              <a:gd name="connsiteX5271" fmla="*/ 6906217 w 8079933"/>
              <a:gd name="connsiteY5271" fmla="*/ 3087335 h 4687251"/>
              <a:gd name="connsiteX5272" fmla="*/ 6907628 w 8079933"/>
              <a:gd name="connsiteY5272" fmla="*/ 3089717 h 4687251"/>
              <a:gd name="connsiteX5273" fmla="*/ 6904155 w 8079933"/>
              <a:gd name="connsiteY5273" fmla="*/ 3089176 h 4687251"/>
              <a:gd name="connsiteX5274" fmla="*/ 6963187 w 8079933"/>
              <a:gd name="connsiteY5274" fmla="*/ 3086795 h 4687251"/>
              <a:gd name="connsiteX5275" fmla="*/ 6972086 w 8079933"/>
              <a:gd name="connsiteY5275" fmla="*/ 3087985 h 4687251"/>
              <a:gd name="connsiteX5276" fmla="*/ 6976861 w 8079933"/>
              <a:gd name="connsiteY5276" fmla="*/ 3088852 h 4687251"/>
              <a:gd name="connsiteX5277" fmla="*/ 6971218 w 8079933"/>
              <a:gd name="connsiteY5277" fmla="*/ 3090260 h 4687251"/>
              <a:gd name="connsiteX5278" fmla="*/ 6960801 w 8079933"/>
              <a:gd name="connsiteY5278" fmla="*/ 3092642 h 4687251"/>
              <a:gd name="connsiteX5279" fmla="*/ 6955591 w 8079933"/>
              <a:gd name="connsiteY5279" fmla="*/ 3091234 h 4687251"/>
              <a:gd name="connsiteX5280" fmla="*/ 6955483 w 8079933"/>
              <a:gd name="connsiteY5280" fmla="*/ 3089393 h 4687251"/>
              <a:gd name="connsiteX5281" fmla="*/ 6953530 w 8079933"/>
              <a:gd name="connsiteY5281" fmla="*/ 3088203 h 4687251"/>
              <a:gd name="connsiteX5282" fmla="*/ 6956134 w 8079933"/>
              <a:gd name="connsiteY5282" fmla="*/ 3087011 h 4687251"/>
              <a:gd name="connsiteX5283" fmla="*/ 6959824 w 8079933"/>
              <a:gd name="connsiteY5283" fmla="*/ 3088311 h 4687251"/>
              <a:gd name="connsiteX5284" fmla="*/ 7071704 w 8079933"/>
              <a:gd name="connsiteY5284" fmla="*/ 3085062 h 4687251"/>
              <a:gd name="connsiteX5285" fmla="*/ 7073766 w 8079933"/>
              <a:gd name="connsiteY5285" fmla="*/ 3087119 h 4687251"/>
              <a:gd name="connsiteX5286" fmla="*/ 7074201 w 8079933"/>
              <a:gd name="connsiteY5286" fmla="*/ 3090800 h 4687251"/>
              <a:gd name="connsiteX5287" fmla="*/ 7076045 w 8079933"/>
              <a:gd name="connsiteY5287" fmla="*/ 3091775 h 4687251"/>
              <a:gd name="connsiteX5288" fmla="*/ 7069426 w 8079933"/>
              <a:gd name="connsiteY5288" fmla="*/ 3093832 h 4687251"/>
              <a:gd name="connsiteX5289" fmla="*/ 7061830 w 8079933"/>
              <a:gd name="connsiteY5289" fmla="*/ 3091233 h 4687251"/>
              <a:gd name="connsiteX5290" fmla="*/ 7059768 w 8079933"/>
              <a:gd name="connsiteY5290" fmla="*/ 3089284 h 4687251"/>
              <a:gd name="connsiteX5291" fmla="*/ 7062914 w 8079933"/>
              <a:gd name="connsiteY5291" fmla="*/ 3087227 h 4687251"/>
              <a:gd name="connsiteX5292" fmla="*/ 6938230 w 8079933"/>
              <a:gd name="connsiteY5292" fmla="*/ 3084954 h 4687251"/>
              <a:gd name="connsiteX5293" fmla="*/ 6943005 w 8079933"/>
              <a:gd name="connsiteY5293" fmla="*/ 3086145 h 4687251"/>
              <a:gd name="connsiteX5294" fmla="*/ 6946043 w 8079933"/>
              <a:gd name="connsiteY5294" fmla="*/ 3087769 h 4687251"/>
              <a:gd name="connsiteX5295" fmla="*/ 6949081 w 8079933"/>
              <a:gd name="connsiteY5295" fmla="*/ 3085496 h 4687251"/>
              <a:gd name="connsiteX5296" fmla="*/ 6952120 w 8079933"/>
              <a:gd name="connsiteY5296" fmla="*/ 3086578 h 4687251"/>
              <a:gd name="connsiteX5297" fmla="*/ 6952228 w 8079933"/>
              <a:gd name="connsiteY5297" fmla="*/ 3090692 h 4687251"/>
              <a:gd name="connsiteX5298" fmla="*/ 6948539 w 8079933"/>
              <a:gd name="connsiteY5298" fmla="*/ 3090259 h 4687251"/>
              <a:gd name="connsiteX5299" fmla="*/ 6944306 w 8079933"/>
              <a:gd name="connsiteY5299" fmla="*/ 3092208 h 4687251"/>
              <a:gd name="connsiteX5300" fmla="*/ 6940942 w 8079933"/>
              <a:gd name="connsiteY5300" fmla="*/ 3091341 h 4687251"/>
              <a:gd name="connsiteX5301" fmla="*/ 6935734 w 8079933"/>
              <a:gd name="connsiteY5301" fmla="*/ 3094481 h 4687251"/>
              <a:gd name="connsiteX5302" fmla="*/ 6931284 w 8079933"/>
              <a:gd name="connsiteY5302" fmla="*/ 3093507 h 4687251"/>
              <a:gd name="connsiteX5303" fmla="*/ 6929548 w 8079933"/>
              <a:gd name="connsiteY5303" fmla="*/ 3090908 h 4687251"/>
              <a:gd name="connsiteX5304" fmla="*/ 6929873 w 8079933"/>
              <a:gd name="connsiteY5304" fmla="*/ 3088635 h 4687251"/>
              <a:gd name="connsiteX5305" fmla="*/ 6932912 w 8079933"/>
              <a:gd name="connsiteY5305" fmla="*/ 3085496 h 4687251"/>
              <a:gd name="connsiteX5306" fmla="*/ 6935299 w 8079933"/>
              <a:gd name="connsiteY5306" fmla="*/ 3086145 h 4687251"/>
              <a:gd name="connsiteX5307" fmla="*/ 6562327 w 8079933"/>
              <a:gd name="connsiteY5307" fmla="*/ 3084846 h 4687251"/>
              <a:gd name="connsiteX5308" fmla="*/ 6564281 w 8079933"/>
              <a:gd name="connsiteY5308" fmla="*/ 3086903 h 4687251"/>
              <a:gd name="connsiteX5309" fmla="*/ 6562653 w 8079933"/>
              <a:gd name="connsiteY5309" fmla="*/ 3088959 h 4687251"/>
              <a:gd name="connsiteX5310" fmla="*/ 6559071 w 8079933"/>
              <a:gd name="connsiteY5310" fmla="*/ 3087335 h 4687251"/>
              <a:gd name="connsiteX5311" fmla="*/ 6558746 w 8079933"/>
              <a:gd name="connsiteY5311" fmla="*/ 3084954 h 4687251"/>
              <a:gd name="connsiteX5312" fmla="*/ 6912402 w 8079933"/>
              <a:gd name="connsiteY5312" fmla="*/ 3082464 h 4687251"/>
              <a:gd name="connsiteX5313" fmla="*/ 6913270 w 8079933"/>
              <a:gd name="connsiteY5313" fmla="*/ 3085712 h 4687251"/>
              <a:gd name="connsiteX5314" fmla="*/ 6909689 w 8079933"/>
              <a:gd name="connsiteY5314" fmla="*/ 3084521 h 4687251"/>
              <a:gd name="connsiteX5315" fmla="*/ 6484846 w 8079933"/>
              <a:gd name="connsiteY5315" fmla="*/ 3082247 h 4687251"/>
              <a:gd name="connsiteX5316" fmla="*/ 6487775 w 8079933"/>
              <a:gd name="connsiteY5316" fmla="*/ 3082247 h 4687251"/>
              <a:gd name="connsiteX5317" fmla="*/ 6491248 w 8079933"/>
              <a:gd name="connsiteY5317" fmla="*/ 3083871 h 4687251"/>
              <a:gd name="connsiteX5318" fmla="*/ 6491899 w 8079933"/>
              <a:gd name="connsiteY5318" fmla="*/ 3087877 h 4687251"/>
              <a:gd name="connsiteX5319" fmla="*/ 6493744 w 8079933"/>
              <a:gd name="connsiteY5319" fmla="*/ 3089609 h 4687251"/>
              <a:gd name="connsiteX5320" fmla="*/ 6495697 w 8079933"/>
              <a:gd name="connsiteY5320" fmla="*/ 3100436 h 4687251"/>
              <a:gd name="connsiteX5321" fmla="*/ 6500689 w 8079933"/>
              <a:gd name="connsiteY5321" fmla="*/ 3106066 h 4687251"/>
              <a:gd name="connsiteX5322" fmla="*/ 6508610 w 8079933"/>
              <a:gd name="connsiteY5322" fmla="*/ 3107799 h 4687251"/>
              <a:gd name="connsiteX5323" fmla="*/ 6506114 w 8079933"/>
              <a:gd name="connsiteY5323" fmla="*/ 3113645 h 4687251"/>
              <a:gd name="connsiteX5324" fmla="*/ 6507742 w 8079933"/>
              <a:gd name="connsiteY5324" fmla="*/ 3118517 h 4687251"/>
              <a:gd name="connsiteX5325" fmla="*/ 6505355 w 8079933"/>
              <a:gd name="connsiteY5325" fmla="*/ 3122090 h 4687251"/>
              <a:gd name="connsiteX5326" fmla="*/ 6503076 w 8079933"/>
              <a:gd name="connsiteY5326" fmla="*/ 3120142 h 4687251"/>
              <a:gd name="connsiteX5327" fmla="*/ 6501557 w 8079933"/>
              <a:gd name="connsiteY5327" fmla="*/ 3115485 h 4687251"/>
              <a:gd name="connsiteX5328" fmla="*/ 6496782 w 8079933"/>
              <a:gd name="connsiteY5328" fmla="*/ 3116027 h 4687251"/>
              <a:gd name="connsiteX5329" fmla="*/ 6491465 w 8079933"/>
              <a:gd name="connsiteY5329" fmla="*/ 3112562 h 4687251"/>
              <a:gd name="connsiteX5330" fmla="*/ 6489946 w 8079933"/>
              <a:gd name="connsiteY5330" fmla="*/ 3106175 h 4687251"/>
              <a:gd name="connsiteX5331" fmla="*/ 6487342 w 8079933"/>
              <a:gd name="connsiteY5331" fmla="*/ 3104442 h 4687251"/>
              <a:gd name="connsiteX5332" fmla="*/ 6487124 w 8079933"/>
              <a:gd name="connsiteY5332" fmla="*/ 3099787 h 4687251"/>
              <a:gd name="connsiteX5333" fmla="*/ 6484846 w 8079933"/>
              <a:gd name="connsiteY5333" fmla="*/ 3097404 h 4687251"/>
              <a:gd name="connsiteX5334" fmla="*/ 6476056 w 8079933"/>
              <a:gd name="connsiteY5334" fmla="*/ 3096755 h 4687251"/>
              <a:gd name="connsiteX5335" fmla="*/ 6473126 w 8079933"/>
              <a:gd name="connsiteY5335" fmla="*/ 3092857 h 4687251"/>
              <a:gd name="connsiteX5336" fmla="*/ 6477575 w 8079933"/>
              <a:gd name="connsiteY5336" fmla="*/ 3089501 h 4687251"/>
              <a:gd name="connsiteX5337" fmla="*/ 6477684 w 8079933"/>
              <a:gd name="connsiteY5337" fmla="*/ 3085603 h 4687251"/>
              <a:gd name="connsiteX5338" fmla="*/ 6479311 w 8079933"/>
              <a:gd name="connsiteY5338" fmla="*/ 3084737 h 4687251"/>
              <a:gd name="connsiteX5339" fmla="*/ 6482350 w 8079933"/>
              <a:gd name="connsiteY5339" fmla="*/ 3087985 h 4687251"/>
              <a:gd name="connsiteX5340" fmla="*/ 6486907 w 8079933"/>
              <a:gd name="connsiteY5340" fmla="*/ 3089609 h 4687251"/>
              <a:gd name="connsiteX5341" fmla="*/ 6485280 w 8079933"/>
              <a:gd name="connsiteY5341" fmla="*/ 3086469 h 4687251"/>
              <a:gd name="connsiteX5342" fmla="*/ 7196607 w 8079933"/>
              <a:gd name="connsiteY5342" fmla="*/ 3082139 h 4687251"/>
              <a:gd name="connsiteX5343" fmla="*/ 7205396 w 8079933"/>
              <a:gd name="connsiteY5343" fmla="*/ 3085279 h 4687251"/>
              <a:gd name="connsiteX5344" fmla="*/ 7210280 w 8079933"/>
              <a:gd name="connsiteY5344" fmla="*/ 3082896 h 4687251"/>
              <a:gd name="connsiteX5345" fmla="*/ 7217550 w 8079933"/>
              <a:gd name="connsiteY5345" fmla="*/ 3084954 h 4687251"/>
              <a:gd name="connsiteX5346" fmla="*/ 7221457 w 8079933"/>
              <a:gd name="connsiteY5346" fmla="*/ 3083980 h 4687251"/>
              <a:gd name="connsiteX5347" fmla="*/ 7229596 w 8079933"/>
              <a:gd name="connsiteY5347" fmla="*/ 3085712 h 4687251"/>
              <a:gd name="connsiteX5348" fmla="*/ 7226883 w 8079933"/>
              <a:gd name="connsiteY5348" fmla="*/ 3087336 h 4687251"/>
              <a:gd name="connsiteX5349" fmla="*/ 7216899 w 8079933"/>
              <a:gd name="connsiteY5349" fmla="*/ 3088852 h 4687251"/>
              <a:gd name="connsiteX5350" fmla="*/ 7206048 w 8079933"/>
              <a:gd name="connsiteY5350" fmla="*/ 3087336 h 4687251"/>
              <a:gd name="connsiteX5351" fmla="*/ 7198452 w 8079933"/>
              <a:gd name="connsiteY5351" fmla="*/ 3084196 h 4687251"/>
              <a:gd name="connsiteX5352" fmla="*/ 7196607 w 8079933"/>
              <a:gd name="connsiteY5352" fmla="*/ 3082139 h 4687251"/>
              <a:gd name="connsiteX5353" fmla="*/ 4679941 w 8079933"/>
              <a:gd name="connsiteY5353" fmla="*/ 3081747 h 4687251"/>
              <a:gd name="connsiteX5354" fmla="*/ 4680540 w 8079933"/>
              <a:gd name="connsiteY5354" fmla="*/ 3083870 h 4687251"/>
              <a:gd name="connsiteX5355" fmla="*/ 4680978 w 8079933"/>
              <a:gd name="connsiteY5355" fmla="*/ 3087074 h 4687251"/>
              <a:gd name="connsiteX5356" fmla="*/ 4680540 w 8079933"/>
              <a:gd name="connsiteY5356" fmla="*/ 3083871 h 4687251"/>
              <a:gd name="connsiteX5357" fmla="*/ 4237885 w 8079933"/>
              <a:gd name="connsiteY5357" fmla="*/ 3081625 h 4687251"/>
              <a:gd name="connsiteX5358" fmla="*/ 4237031 w 8079933"/>
              <a:gd name="connsiteY5358" fmla="*/ 3082679 h 4687251"/>
              <a:gd name="connsiteX5359" fmla="*/ 4237899 w 8079933"/>
              <a:gd name="connsiteY5359" fmla="*/ 3088418 h 4687251"/>
              <a:gd name="connsiteX5360" fmla="*/ 4236815 w 8079933"/>
              <a:gd name="connsiteY5360" fmla="*/ 3092315 h 4687251"/>
              <a:gd name="connsiteX5361" fmla="*/ 4237900 w 8079933"/>
              <a:gd name="connsiteY5361" fmla="*/ 3088418 h 4687251"/>
              <a:gd name="connsiteX5362" fmla="*/ 4237032 w 8079933"/>
              <a:gd name="connsiteY5362" fmla="*/ 3082679 h 4687251"/>
              <a:gd name="connsiteX5363" fmla="*/ 7187058 w 8079933"/>
              <a:gd name="connsiteY5363" fmla="*/ 3080731 h 4687251"/>
              <a:gd name="connsiteX5364" fmla="*/ 7193244 w 8079933"/>
              <a:gd name="connsiteY5364" fmla="*/ 3080731 h 4687251"/>
              <a:gd name="connsiteX5365" fmla="*/ 7190531 w 8079933"/>
              <a:gd name="connsiteY5365" fmla="*/ 3081922 h 4687251"/>
              <a:gd name="connsiteX5366" fmla="*/ 4243619 w 8079933"/>
              <a:gd name="connsiteY5366" fmla="*/ 3080376 h 4687251"/>
              <a:gd name="connsiteX5367" fmla="*/ 4243867 w 8079933"/>
              <a:gd name="connsiteY5367" fmla="*/ 3080406 h 4687251"/>
              <a:gd name="connsiteX5368" fmla="*/ 4247774 w 8079933"/>
              <a:gd name="connsiteY5368" fmla="*/ 3090041 h 4687251"/>
              <a:gd name="connsiteX5369" fmla="*/ 4247775 w 8079933"/>
              <a:gd name="connsiteY5369" fmla="*/ 3090042 h 4687251"/>
              <a:gd name="connsiteX5370" fmla="*/ 4243868 w 8079933"/>
              <a:gd name="connsiteY5370" fmla="*/ 3080406 h 4687251"/>
              <a:gd name="connsiteX5371" fmla="*/ 2203643 w 8079933"/>
              <a:gd name="connsiteY5371" fmla="*/ 3078344 h 4687251"/>
              <a:gd name="connsiteX5372" fmla="*/ 2203538 w 8079933"/>
              <a:gd name="connsiteY5372" fmla="*/ 3083762 h 4687251"/>
              <a:gd name="connsiteX5373" fmla="*/ 2205274 w 8079933"/>
              <a:gd name="connsiteY5373" fmla="*/ 3084304 h 4687251"/>
              <a:gd name="connsiteX5374" fmla="*/ 2209181 w 8079933"/>
              <a:gd name="connsiteY5374" fmla="*/ 3086145 h 4687251"/>
              <a:gd name="connsiteX5375" fmla="*/ 2210909 w 8079933"/>
              <a:gd name="connsiteY5375" fmla="*/ 3091223 h 4687251"/>
              <a:gd name="connsiteX5376" fmla="*/ 2209182 w 8079933"/>
              <a:gd name="connsiteY5376" fmla="*/ 3086144 h 4687251"/>
              <a:gd name="connsiteX5377" fmla="*/ 2205275 w 8079933"/>
              <a:gd name="connsiteY5377" fmla="*/ 3084303 h 4687251"/>
              <a:gd name="connsiteX5378" fmla="*/ 2203539 w 8079933"/>
              <a:gd name="connsiteY5378" fmla="*/ 3083762 h 4687251"/>
              <a:gd name="connsiteX5379" fmla="*/ 7009415 w 8079933"/>
              <a:gd name="connsiteY5379" fmla="*/ 3077916 h 4687251"/>
              <a:gd name="connsiteX5380" fmla="*/ 7015166 w 8079933"/>
              <a:gd name="connsiteY5380" fmla="*/ 3078240 h 4687251"/>
              <a:gd name="connsiteX5381" fmla="*/ 7021026 w 8079933"/>
              <a:gd name="connsiteY5381" fmla="*/ 3084087 h 4687251"/>
              <a:gd name="connsiteX5382" fmla="*/ 7019723 w 8079933"/>
              <a:gd name="connsiteY5382" fmla="*/ 3086902 h 4687251"/>
              <a:gd name="connsiteX5383" fmla="*/ 7016793 w 8079933"/>
              <a:gd name="connsiteY5383" fmla="*/ 3086902 h 4687251"/>
              <a:gd name="connsiteX5384" fmla="*/ 7012778 w 8079933"/>
              <a:gd name="connsiteY5384" fmla="*/ 3086902 h 4687251"/>
              <a:gd name="connsiteX5385" fmla="*/ 7009523 w 8079933"/>
              <a:gd name="connsiteY5385" fmla="*/ 3087552 h 4687251"/>
              <a:gd name="connsiteX5386" fmla="*/ 7005400 w 8079933"/>
              <a:gd name="connsiteY5386" fmla="*/ 3085712 h 4687251"/>
              <a:gd name="connsiteX5387" fmla="*/ 7002687 w 8079933"/>
              <a:gd name="connsiteY5387" fmla="*/ 3082896 h 4687251"/>
              <a:gd name="connsiteX5388" fmla="*/ 6897753 w 8079933"/>
              <a:gd name="connsiteY5388" fmla="*/ 3073694 h 4687251"/>
              <a:gd name="connsiteX5389" fmla="*/ 6904372 w 8079933"/>
              <a:gd name="connsiteY5389" fmla="*/ 3074235 h 4687251"/>
              <a:gd name="connsiteX5390" fmla="*/ 6904805 w 8079933"/>
              <a:gd name="connsiteY5390" fmla="*/ 3076292 h 4687251"/>
              <a:gd name="connsiteX5391" fmla="*/ 6903287 w 8079933"/>
              <a:gd name="connsiteY5391" fmla="*/ 3078999 h 4687251"/>
              <a:gd name="connsiteX5392" fmla="*/ 6906976 w 8079933"/>
              <a:gd name="connsiteY5392" fmla="*/ 3078241 h 4687251"/>
              <a:gd name="connsiteX5393" fmla="*/ 6908604 w 8079933"/>
              <a:gd name="connsiteY5393" fmla="*/ 3075318 h 4687251"/>
              <a:gd name="connsiteX5394" fmla="*/ 6912077 w 8079933"/>
              <a:gd name="connsiteY5394" fmla="*/ 3077808 h 4687251"/>
              <a:gd name="connsiteX5395" fmla="*/ 6911208 w 8079933"/>
              <a:gd name="connsiteY5395" fmla="*/ 3081489 h 4687251"/>
              <a:gd name="connsiteX5396" fmla="*/ 6906976 w 8079933"/>
              <a:gd name="connsiteY5396" fmla="*/ 3082464 h 4687251"/>
              <a:gd name="connsiteX5397" fmla="*/ 6905565 w 8079933"/>
              <a:gd name="connsiteY5397" fmla="*/ 3080732 h 4687251"/>
              <a:gd name="connsiteX5398" fmla="*/ 6903287 w 8079933"/>
              <a:gd name="connsiteY5398" fmla="*/ 3084088 h 4687251"/>
              <a:gd name="connsiteX5399" fmla="*/ 6899380 w 8079933"/>
              <a:gd name="connsiteY5399" fmla="*/ 3081057 h 4687251"/>
              <a:gd name="connsiteX5400" fmla="*/ 6896233 w 8079933"/>
              <a:gd name="connsiteY5400" fmla="*/ 3083872 h 4687251"/>
              <a:gd name="connsiteX5401" fmla="*/ 6892651 w 8079933"/>
              <a:gd name="connsiteY5401" fmla="*/ 3081273 h 4687251"/>
              <a:gd name="connsiteX5402" fmla="*/ 6892435 w 8079933"/>
              <a:gd name="connsiteY5402" fmla="*/ 3076942 h 4687251"/>
              <a:gd name="connsiteX5403" fmla="*/ 6574806 w 8079933"/>
              <a:gd name="connsiteY5403" fmla="*/ 3071311 h 4687251"/>
              <a:gd name="connsiteX5404" fmla="*/ 6580665 w 8079933"/>
              <a:gd name="connsiteY5404" fmla="*/ 3071527 h 4687251"/>
              <a:gd name="connsiteX5405" fmla="*/ 6584138 w 8079933"/>
              <a:gd name="connsiteY5405" fmla="*/ 3074017 h 4687251"/>
              <a:gd name="connsiteX5406" fmla="*/ 6579581 w 8079933"/>
              <a:gd name="connsiteY5406" fmla="*/ 3078781 h 4687251"/>
              <a:gd name="connsiteX5407" fmla="*/ 6576542 w 8079933"/>
              <a:gd name="connsiteY5407" fmla="*/ 3079647 h 4687251"/>
              <a:gd name="connsiteX5408" fmla="*/ 6574589 w 8079933"/>
              <a:gd name="connsiteY5408" fmla="*/ 3077157 h 4687251"/>
              <a:gd name="connsiteX5409" fmla="*/ 6575240 w 8079933"/>
              <a:gd name="connsiteY5409" fmla="*/ 3074125 h 4687251"/>
              <a:gd name="connsiteX5410" fmla="*/ 7534962 w 8079933"/>
              <a:gd name="connsiteY5410" fmla="*/ 3069362 h 4687251"/>
              <a:gd name="connsiteX5411" fmla="*/ 7539195 w 8079933"/>
              <a:gd name="connsiteY5411" fmla="*/ 3069578 h 4687251"/>
              <a:gd name="connsiteX5412" fmla="*/ 7542016 w 8079933"/>
              <a:gd name="connsiteY5412" fmla="*/ 3073693 h 4687251"/>
              <a:gd name="connsiteX5413" fmla="*/ 7541799 w 8079933"/>
              <a:gd name="connsiteY5413" fmla="*/ 3076616 h 4687251"/>
              <a:gd name="connsiteX5414" fmla="*/ 7535830 w 8079933"/>
              <a:gd name="connsiteY5414" fmla="*/ 3072719 h 4687251"/>
              <a:gd name="connsiteX5415" fmla="*/ 4336758 w 8079933"/>
              <a:gd name="connsiteY5415" fmla="*/ 3068820 h 4687251"/>
              <a:gd name="connsiteX5416" fmla="*/ 4332200 w 8079933"/>
              <a:gd name="connsiteY5416" fmla="*/ 3074451 h 4687251"/>
              <a:gd name="connsiteX5417" fmla="*/ 4332092 w 8079933"/>
              <a:gd name="connsiteY5417" fmla="*/ 3079647 h 4687251"/>
              <a:gd name="connsiteX5418" fmla="*/ 4324821 w 8079933"/>
              <a:gd name="connsiteY5418" fmla="*/ 3087226 h 4687251"/>
              <a:gd name="connsiteX5419" fmla="*/ 4322217 w 8079933"/>
              <a:gd name="connsiteY5419" fmla="*/ 3092315 h 4687251"/>
              <a:gd name="connsiteX5420" fmla="*/ 4323194 w 8079933"/>
              <a:gd name="connsiteY5420" fmla="*/ 3099028 h 4687251"/>
              <a:gd name="connsiteX5421" fmla="*/ 4324604 w 8079933"/>
              <a:gd name="connsiteY5421" fmla="*/ 3100977 h 4687251"/>
              <a:gd name="connsiteX5422" fmla="*/ 4323736 w 8079933"/>
              <a:gd name="connsiteY5422" fmla="*/ 3113969 h 4687251"/>
              <a:gd name="connsiteX5423" fmla="*/ 4322109 w 8079933"/>
              <a:gd name="connsiteY5423" fmla="*/ 3120574 h 4687251"/>
              <a:gd name="connsiteX5424" fmla="*/ 4323737 w 8079933"/>
              <a:gd name="connsiteY5424" fmla="*/ 3113969 h 4687251"/>
              <a:gd name="connsiteX5425" fmla="*/ 4324605 w 8079933"/>
              <a:gd name="connsiteY5425" fmla="*/ 3100977 h 4687251"/>
              <a:gd name="connsiteX5426" fmla="*/ 4323194 w 8079933"/>
              <a:gd name="connsiteY5426" fmla="*/ 3099028 h 4687251"/>
              <a:gd name="connsiteX5427" fmla="*/ 4322217 w 8079933"/>
              <a:gd name="connsiteY5427" fmla="*/ 3092315 h 4687251"/>
              <a:gd name="connsiteX5428" fmla="*/ 4324822 w 8079933"/>
              <a:gd name="connsiteY5428" fmla="*/ 3087227 h 4687251"/>
              <a:gd name="connsiteX5429" fmla="*/ 4332092 w 8079933"/>
              <a:gd name="connsiteY5429" fmla="*/ 3079648 h 4687251"/>
              <a:gd name="connsiteX5430" fmla="*/ 4332201 w 8079933"/>
              <a:gd name="connsiteY5430" fmla="*/ 3074450 h 4687251"/>
              <a:gd name="connsiteX5431" fmla="*/ 6316211 w 8079933"/>
              <a:gd name="connsiteY5431" fmla="*/ 3068281 h 4687251"/>
              <a:gd name="connsiteX5432" fmla="*/ 6321528 w 8079933"/>
              <a:gd name="connsiteY5432" fmla="*/ 3070012 h 4687251"/>
              <a:gd name="connsiteX5433" fmla="*/ 6328583 w 8079933"/>
              <a:gd name="connsiteY5433" fmla="*/ 3080190 h 4687251"/>
              <a:gd name="connsiteX5434" fmla="*/ 6328583 w 8079933"/>
              <a:gd name="connsiteY5434" fmla="*/ 3089068 h 4687251"/>
              <a:gd name="connsiteX5435" fmla="*/ 6322505 w 8079933"/>
              <a:gd name="connsiteY5435" fmla="*/ 3087228 h 4687251"/>
              <a:gd name="connsiteX5436" fmla="*/ 6316320 w 8079933"/>
              <a:gd name="connsiteY5436" fmla="*/ 3077916 h 4687251"/>
              <a:gd name="connsiteX5437" fmla="*/ 6311220 w 8079933"/>
              <a:gd name="connsiteY5437" fmla="*/ 3076076 h 4687251"/>
              <a:gd name="connsiteX5438" fmla="*/ 6311220 w 8079933"/>
              <a:gd name="connsiteY5438" fmla="*/ 3072287 h 4687251"/>
              <a:gd name="connsiteX5439" fmla="*/ 4647764 w 8079933"/>
              <a:gd name="connsiteY5439" fmla="*/ 3068173 h 4687251"/>
              <a:gd name="connsiteX5440" fmla="*/ 4641365 w 8079933"/>
              <a:gd name="connsiteY5440" fmla="*/ 3073909 h 4687251"/>
              <a:gd name="connsiteX5441" fmla="*/ 4636915 w 8079933"/>
              <a:gd name="connsiteY5441" fmla="*/ 3079323 h 4687251"/>
              <a:gd name="connsiteX5442" fmla="*/ 4633334 w 8079933"/>
              <a:gd name="connsiteY5442" fmla="*/ 3093722 h 4687251"/>
              <a:gd name="connsiteX5443" fmla="*/ 4632792 w 8079933"/>
              <a:gd name="connsiteY5443" fmla="*/ 3097403 h 4687251"/>
              <a:gd name="connsiteX5444" fmla="*/ 4632466 w 8079933"/>
              <a:gd name="connsiteY5444" fmla="*/ 3100111 h 4687251"/>
              <a:gd name="connsiteX5445" fmla="*/ 4633458 w 8079933"/>
              <a:gd name="connsiteY5445" fmla="*/ 3101680 h 4687251"/>
              <a:gd name="connsiteX5446" fmla="*/ 4632467 w 8079933"/>
              <a:gd name="connsiteY5446" fmla="*/ 3100111 h 4687251"/>
              <a:gd name="connsiteX5447" fmla="*/ 4632792 w 8079933"/>
              <a:gd name="connsiteY5447" fmla="*/ 3097405 h 4687251"/>
              <a:gd name="connsiteX5448" fmla="*/ 4634069 w 8079933"/>
              <a:gd name="connsiteY5448" fmla="*/ 3097086 h 4687251"/>
              <a:gd name="connsiteX5449" fmla="*/ 4632793 w 8079933"/>
              <a:gd name="connsiteY5449" fmla="*/ 3097404 h 4687251"/>
              <a:gd name="connsiteX5450" fmla="*/ 4633335 w 8079933"/>
              <a:gd name="connsiteY5450" fmla="*/ 3093723 h 4687251"/>
              <a:gd name="connsiteX5451" fmla="*/ 4636916 w 8079933"/>
              <a:gd name="connsiteY5451" fmla="*/ 3079323 h 4687251"/>
              <a:gd name="connsiteX5452" fmla="*/ 4641365 w 8079933"/>
              <a:gd name="connsiteY5452" fmla="*/ 3073909 h 4687251"/>
              <a:gd name="connsiteX5453" fmla="*/ 4645343 w 8079933"/>
              <a:gd name="connsiteY5453" fmla="*/ 3070354 h 4687251"/>
              <a:gd name="connsiteX5454" fmla="*/ 4641365 w 8079933"/>
              <a:gd name="connsiteY5454" fmla="*/ 3073909 h 4687251"/>
              <a:gd name="connsiteX5455" fmla="*/ 4647638 w 8079933"/>
              <a:gd name="connsiteY5455" fmla="*/ 3068288 h 4687251"/>
              <a:gd name="connsiteX5456" fmla="*/ 4655689 w 8079933"/>
              <a:gd name="connsiteY5456" fmla="*/ 3065789 h 4687251"/>
              <a:gd name="connsiteX5457" fmla="*/ 4651782 w 8079933"/>
              <a:gd name="connsiteY5457" fmla="*/ 3068929 h 4687251"/>
              <a:gd name="connsiteX5458" fmla="*/ 4647876 w 8079933"/>
              <a:gd name="connsiteY5458" fmla="*/ 3069686 h 4687251"/>
              <a:gd name="connsiteX5459" fmla="*/ 4646574 w 8079933"/>
              <a:gd name="connsiteY5459" fmla="*/ 3069254 h 4687251"/>
              <a:gd name="connsiteX5460" fmla="*/ 4647877 w 8079933"/>
              <a:gd name="connsiteY5460" fmla="*/ 3069687 h 4687251"/>
              <a:gd name="connsiteX5461" fmla="*/ 4651783 w 8079933"/>
              <a:gd name="connsiteY5461" fmla="*/ 3068929 h 4687251"/>
              <a:gd name="connsiteX5462" fmla="*/ 7182718 w 8079933"/>
              <a:gd name="connsiteY5462" fmla="*/ 3065574 h 4687251"/>
              <a:gd name="connsiteX5463" fmla="*/ 7185647 w 8079933"/>
              <a:gd name="connsiteY5463" fmla="*/ 3068713 h 4687251"/>
              <a:gd name="connsiteX5464" fmla="*/ 7182610 w 8079933"/>
              <a:gd name="connsiteY5464" fmla="*/ 3069363 h 4687251"/>
              <a:gd name="connsiteX5465" fmla="*/ 7179788 w 8079933"/>
              <a:gd name="connsiteY5465" fmla="*/ 3066548 h 4687251"/>
              <a:gd name="connsiteX5466" fmla="*/ 7089284 w 8079933"/>
              <a:gd name="connsiteY5466" fmla="*/ 3065357 h 4687251"/>
              <a:gd name="connsiteX5467" fmla="*/ 7092974 w 8079933"/>
              <a:gd name="connsiteY5467" fmla="*/ 3066764 h 4687251"/>
              <a:gd name="connsiteX5468" fmla="*/ 7091781 w 8079933"/>
              <a:gd name="connsiteY5468" fmla="*/ 3074776 h 4687251"/>
              <a:gd name="connsiteX5469" fmla="*/ 7089501 w 8079933"/>
              <a:gd name="connsiteY5469" fmla="*/ 3076400 h 4687251"/>
              <a:gd name="connsiteX5470" fmla="*/ 7084402 w 8079933"/>
              <a:gd name="connsiteY5470" fmla="*/ 3075317 h 4687251"/>
              <a:gd name="connsiteX5471" fmla="*/ 7084402 w 8079933"/>
              <a:gd name="connsiteY5471" fmla="*/ 3068930 h 4687251"/>
              <a:gd name="connsiteX5472" fmla="*/ 6569814 w 8079933"/>
              <a:gd name="connsiteY5472" fmla="*/ 3063733 h 4687251"/>
              <a:gd name="connsiteX5473" fmla="*/ 6576000 w 8079933"/>
              <a:gd name="connsiteY5473" fmla="*/ 3064816 h 4687251"/>
              <a:gd name="connsiteX5474" fmla="*/ 6578604 w 8079933"/>
              <a:gd name="connsiteY5474" fmla="*/ 3067306 h 4687251"/>
              <a:gd name="connsiteX5475" fmla="*/ 6580558 w 8079933"/>
              <a:gd name="connsiteY5475" fmla="*/ 3067955 h 4687251"/>
              <a:gd name="connsiteX5476" fmla="*/ 6580666 w 8079933"/>
              <a:gd name="connsiteY5476" fmla="*/ 3069687 h 4687251"/>
              <a:gd name="connsiteX5477" fmla="*/ 6575023 w 8079933"/>
              <a:gd name="connsiteY5477" fmla="*/ 3069363 h 4687251"/>
              <a:gd name="connsiteX5478" fmla="*/ 6572744 w 8079933"/>
              <a:gd name="connsiteY5478" fmla="*/ 3069471 h 4687251"/>
              <a:gd name="connsiteX5479" fmla="*/ 6569380 w 8079933"/>
              <a:gd name="connsiteY5479" fmla="*/ 3065573 h 4687251"/>
              <a:gd name="connsiteX5480" fmla="*/ 7081689 w 8079933"/>
              <a:gd name="connsiteY5480" fmla="*/ 3063408 h 4687251"/>
              <a:gd name="connsiteX5481" fmla="*/ 7086572 w 8079933"/>
              <a:gd name="connsiteY5481" fmla="*/ 3065248 h 4687251"/>
              <a:gd name="connsiteX5482" fmla="*/ 7080929 w 8079933"/>
              <a:gd name="connsiteY5482" fmla="*/ 3066331 h 4687251"/>
              <a:gd name="connsiteX5483" fmla="*/ 7077130 w 8079933"/>
              <a:gd name="connsiteY5483" fmla="*/ 3064382 h 4687251"/>
              <a:gd name="connsiteX5484" fmla="*/ 4669470 w 8079933"/>
              <a:gd name="connsiteY5484" fmla="*/ 3063299 h 4687251"/>
              <a:gd name="connsiteX5485" fmla="*/ 4665564 w 8079933"/>
              <a:gd name="connsiteY5485" fmla="*/ 3064056 h 4687251"/>
              <a:gd name="connsiteX5486" fmla="*/ 4665456 w 8079933"/>
              <a:gd name="connsiteY5486" fmla="*/ 3067305 h 4687251"/>
              <a:gd name="connsiteX5487" fmla="*/ 4663719 w 8079933"/>
              <a:gd name="connsiteY5487" fmla="*/ 3068929 h 4687251"/>
              <a:gd name="connsiteX5488" fmla="*/ 4663720 w 8079933"/>
              <a:gd name="connsiteY5488" fmla="*/ 3068929 h 4687251"/>
              <a:gd name="connsiteX5489" fmla="*/ 4665456 w 8079933"/>
              <a:gd name="connsiteY5489" fmla="*/ 3067305 h 4687251"/>
              <a:gd name="connsiteX5490" fmla="*/ 4665565 w 8079933"/>
              <a:gd name="connsiteY5490" fmla="*/ 3064056 h 4687251"/>
              <a:gd name="connsiteX5491" fmla="*/ 2160113 w 8079933"/>
              <a:gd name="connsiteY5491" fmla="*/ 3063149 h 4687251"/>
              <a:gd name="connsiteX5492" fmla="*/ 2159589 w 8079933"/>
              <a:gd name="connsiteY5492" fmla="*/ 3065573 h 4687251"/>
              <a:gd name="connsiteX5493" fmla="*/ 2158504 w 8079933"/>
              <a:gd name="connsiteY5493" fmla="*/ 3067738 h 4687251"/>
              <a:gd name="connsiteX5494" fmla="*/ 2159589 w 8079933"/>
              <a:gd name="connsiteY5494" fmla="*/ 3065574 h 4687251"/>
              <a:gd name="connsiteX5495" fmla="*/ 7090043 w 8079933"/>
              <a:gd name="connsiteY5495" fmla="*/ 3061784 h 4687251"/>
              <a:gd name="connsiteX5496" fmla="*/ 7088199 w 8079933"/>
              <a:gd name="connsiteY5496" fmla="*/ 3064707 h 4687251"/>
              <a:gd name="connsiteX5497" fmla="*/ 7086137 w 8079933"/>
              <a:gd name="connsiteY5497" fmla="*/ 3062433 h 4687251"/>
              <a:gd name="connsiteX5498" fmla="*/ 6998240 w 8079933"/>
              <a:gd name="connsiteY5498" fmla="*/ 3060918 h 4687251"/>
              <a:gd name="connsiteX5499" fmla="*/ 6999759 w 8079933"/>
              <a:gd name="connsiteY5499" fmla="*/ 3062109 h 4687251"/>
              <a:gd name="connsiteX5500" fmla="*/ 7001496 w 8079933"/>
              <a:gd name="connsiteY5500" fmla="*/ 3065573 h 4687251"/>
              <a:gd name="connsiteX5501" fmla="*/ 6996503 w 8079933"/>
              <a:gd name="connsiteY5501" fmla="*/ 3064166 h 4687251"/>
              <a:gd name="connsiteX5502" fmla="*/ 7196065 w 8079933"/>
              <a:gd name="connsiteY5502" fmla="*/ 3057561 h 4687251"/>
              <a:gd name="connsiteX5503" fmla="*/ 7202793 w 8079933"/>
              <a:gd name="connsiteY5503" fmla="*/ 3058752 h 4687251"/>
              <a:gd name="connsiteX5504" fmla="*/ 7206590 w 8079933"/>
              <a:gd name="connsiteY5504" fmla="*/ 3058752 h 4687251"/>
              <a:gd name="connsiteX5505" fmla="*/ 7210498 w 8079933"/>
              <a:gd name="connsiteY5505" fmla="*/ 3061350 h 4687251"/>
              <a:gd name="connsiteX5506" fmla="*/ 7213644 w 8079933"/>
              <a:gd name="connsiteY5506" fmla="*/ 3066331 h 4687251"/>
              <a:gd name="connsiteX5507" fmla="*/ 7217008 w 8079933"/>
              <a:gd name="connsiteY5507" fmla="*/ 3068063 h 4687251"/>
              <a:gd name="connsiteX5508" fmla="*/ 7219070 w 8079933"/>
              <a:gd name="connsiteY5508" fmla="*/ 3070121 h 4687251"/>
              <a:gd name="connsiteX5509" fmla="*/ 7213644 w 8079933"/>
              <a:gd name="connsiteY5509" fmla="*/ 3071095 h 4687251"/>
              <a:gd name="connsiteX5510" fmla="*/ 7211474 w 8079933"/>
              <a:gd name="connsiteY5510" fmla="*/ 3070121 h 4687251"/>
              <a:gd name="connsiteX5511" fmla="*/ 7210172 w 8079933"/>
              <a:gd name="connsiteY5511" fmla="*/ 3070121 h 4687251"/>
              <a:gd name="connsiteX5512" fmla="*/ 7206590 w 8079933"/>
              <a:gd name="connsiteY5512" fmla="*/ 3069363 h 4687251"/>
              <a:gd name="connsiteX5513" fmla="*/ 7207242 w 8079933"/>
              <a:gd name="connsiteY5513" fmla="*/ 3066331 h 4687251"/>
              <a:gd name="connsiteX5514" fmla="*/ 7203118 w 8079933"/>
              <a:gd name="connsiteY5514" fmla="*/ 3060809 h 4687251"/>
              <a:gd name="connsiteX5515" fmla="*/ 7200623 w 8079933"/>
              <a:gd name="connsiteY5515" fmla="*/ 3060701 h 4687251"/>
              <a:gd name="connsiteX5516" fmla="*/ 7200840 w 8079933"/>
              <a:gd name="connsiteY5516" fmla="*/ 3063408 h 4687251"/>
              <a:gd name="connsiteX5517" fmla="*/ 7196933 w 8079933"/>
              <a:gd name="connsiteY5517" fmla="*/ 3059402 h 4687251"/>
              <a:gd name="connsiteX5518" fmla="*/ 2180096 w 8079933"/>
              <a:gd name="connsiteY5518" fmla="*/ 3057150 h 4687251"/>
              <a:gd name="connsiteX5519" fmla="*/ 2180424 w 8079933"/>
              <a:gd name="connsiteY5519" fmla="*/ 3059834 h 4687251"/>
              <a:gd name="connsiteX5520" fmla="*/ 2184439 w 8079933"/>
              <a:gd name="connsiteY5520" fmla="*/ 3067305 h 4687251"/>
              <a:gd name="connsiteX5521" fmla="*/ 2187478 w 8079933"/>
              <a:gd name="connsiteY5521" fmla="*/ 3067305 h 4687251"/>
              <a:gd name="connsiteX5522" fmla="*/ 2198872 w 8079933"/>
              <a:gd name="connsiteY5522" fmla="*/ 3070987 h 4687251"/>
              <a:gd name="connsiteX5523" fmla="*/ 2203647 w 8079933"/>
              <a:gd name="connsiteY5523" fmla="*/ 3078132 h 4687251"/>
              <a:gd name="connsiteX5524" fmla="*/ 2203647 w 8079933"/>
              <a:gd name="connsiteY5524" fmla="*/ 3078131 h 4687251"/>
              <a:gd name="connsiteX5525" fmla="*/ 2198872 w 8079933"/>
              <a:gd name="connsiteY5525" fmla="*/ 3070986 h 4687251"/>
              <a:gd name="connsiteX5526" fmla="*/ 2187478 w 8079933"/>
              <a:gd name="connsiteY5526" fmla="*/ 3067305 h 4687251"/>
              <a:gd name="connsiteX5527" fmla="*/ 2184440 w 8079933"/>
              <a:gd name="connsiteY5527" fmla="*/ 3067305 h 4687251"/>
              <a:gd name="connsiteX5528" fmla="*/ 2180424 w 8079933"/>
              <a:gd name="connsiteY5528" fmla="*/ 3059834 h 4687251"/>
              <a:gd name="connsiteX5529" fmla="*/ 6454679 w 8079933"/>
              <a:gd name="connsiteY5529" fmla="*/ 3056262 h 4687251"/>
              <a:gd name="connsiteX5530" fmla="*/ 6458694 w 8079933"/>
              <a:gd name="connsiteY5530" fmla="*/ 3056262 h 4687251"/>
              <a:gd name="connsiteX5531" fmla="*/ 6460323 w 8079933"/>
              <a:gd name="connsiteY5531" fmla="*/ 3060701 h 4687251"/>
              <a:gd name="connsiteX5532" fmla="*/ 6456090 w 8079933"/>
              <a:gd name="connsiteY5532" fmla="*/ 3063191 h 4687251"/>
              <a:gd name="connsiteX5533" fmla="*/ 6452292 w 8079933"/>
              <a:gd name="connsiteY5533" fmla="*/ 3059402 h 4687251"/>
              <a:gd name="connsiteX5534" fmla="*/ 7006812 w 8079933"/>
              <a:gd name="connsiteY5534" fmla="*/ 3054530 h 4687251"/>
              <a:gd name="connsiteX5535" fmla="*/ 7009416 w 8079933"/>
              <a:gd name="connsiteY5535" fmla="*/ 3056479 h 4687251"/>
              <a:gd name="connsiteX5536" fmla="*/ 7009198 w 8079933"/>
              <a:gd name="connsiteY5536" fmla="*/ 3060052 h 4687251"/>
              <a:gd name="connsiteX5537" fmla="*/ 7012562 w 8079933"/>
              <a:gd name="connsiteY5537" fmla="*/ 3061460 h 4687251"/>
              <a:gd name="connsiteX5538" fmla="*/ 7013865 w 8079933"/>
              <a:gd name="connsiteY5538" fmla="*/ 3063408 h 4687251"/>
              <a:gd name="connsiteX5539" fmla="*/ 7011586 w 8079933"/>
              <a:gd name="connsiteY5539" fmla="*/ 3065682 h 4687251"/>
              <a:gd name="connsiteX5540" fmla="*/ 7009090 w 8079933"/>
              <a:gd name="connsiteY5540" fmla="*/ 3063300 h 4687251"/>
              <a:gd name="connsiteX5541" fmla="*/ 7004967 w 8079933"/>
              <a:gd name="connsiteY5541" fmla="*/ 3063408 h 4687251"/>
              <a:gd name="connsiteX5542" fmla="*/ 7002363 w 8079933"/>
              <a:gd name="connsiteY5542" fmla="*/ 3059403 h 4687251"/>
              <a:gd name="connsiteX5543" fmla="*/ 7002037 w 8079933"/>
              <a:gd name="connsiteY5543" fmla="*/ 3056587 h 4687251"/>
              <a:gd name="connsiteX5544" fmla="*/ 7003556 w 8079933"/>
              <a:gd name="connsiteY5544" fmla="*/ 3055179 h 4687251"/>
              <a:gd name="connsiteX5545" fmla="*/ 6863896 w 8079933"/>
              <a:gd name="connsiteY5545" fmla="*/ 3054530 h 4687251"/>
              <a:gd name="connsiteX5546" fmla="*/ 6866066 w 8079933"/>
              <a:gd name="connsiteY5546" fmla="*/ 3054530 h 4687251"/>
              <a:gd name="connsiteX5547" fmla="*/ 6869322 w 8079933"/>
              <a:gd name="connsiteY5547" fmla="*/ 3056479 h 4687251"/>
              <a:gd name="connsiteX5548" fmla="*/ 6865958 w 8079933"/>
              <a:gd name="connsiteY5548" fmla="*/ 3057237 h 4687251"/>
              <a:gd name="connsiteX5549" fmla="*/ 6307964 w 8079933"/>
              <a:gd name="connsiteY5549" fmla="*/ 3054530 h 4687251"/>
              <a:gd name="connsiteX5550" fmla="*/ 6311763 w 8079933"/>
              <a:gd name="connsiteY5550" fmla="*/ 3056154 h 4687251"/>
              <a:gd name="connsiteX5551" fmla="*/ 6311763 w 8079933"/>
              <a:gd name="connsiteY5551" fmla="*/ 3059619 h 4687251"/>
              <a:gd name="connsiteX5552" fmla="*/ 6308507 w 8079933"/>
              <a:gd name="connsiteY5552" fmla="*/ 3062975 h 4687251"/>
              <a:gd name="connsiteX5553" fmla="*/ 6305577 w 8079933"/>
              <a:gd name="connsiteY5553" fmla="*/ 3059727 h 4687251"/>
              <a:gd name="connsiteX5554" fmla="*/ 6567536 w 8079933"/>
              <a:gd name="connsiteY5554" fmla="*/ 3053339 h 4687251"/>
              <a:gd name="connsiteX5555" fmla="*/ 6573396 w 8079933"/>
              <a:gd name="connsiteY5555" fmla="*/ 3055071 h 4687251"/>
              <a:gd name="connsiteX5556" fmla="*/ 6574264 w 8079933"/>
              <a:gd name="connsiteY5556" fmla="*/ 3056370 h 4687251"/>
              <a:gd name="connsiteX5557" fmla="*/ 6571877 w 8079933"/>
              <a:gd name="connsiteY5557" fmla="*/ 3057778 h 4687251"/>
              <a:gd name="connsiteX5558" fmla="*/ 6567536 w 8079933"/>
              <a:gd name="connsiteY5558" fmla="*/ 3056262 h 4687251"/>
              <a:gd name="connsiteX5559" fmla="*/ 6566668 w 8079933"/>
              <a:gd name="connsiteY5559" fmla="*/ 3053988 h 4687251"/>
              <a:gd name="connsiteX5560" fmla="*/ 4281198 w 8079933"/>
              <a:gd name="connsiteY5560" fmla="*/ 3053230 h 4687251"/>
              <a:gd name="connsiteX5561" fmla="*/ 4281198 w 8079933"/>
              <a:gd name="connsiteY5561" fmla="*/ 3053230 h 4687251"/>
              <a:gd name="connsiteX5562" fmla="*/ 4283693 w 8079933"/>
              <a:gd name="connsiteY5562" fmla="*/ 3055612 h 4687251"/>
              <a:gd name="connsiteX5563" fmla="*/ 4283588 w 8079933"/>
              <a:gd name="connsiteY5563" fmla="*/ 3057987 h 4687251"/>
              <a:gd name="connsiteX5564" fmla="*/ 4283694 w 8079933"/>
              <a:gd name="connsiteY5564" fmla="*/ 3055612 h 4687251"/>
              <a:gd name="connsiteX5565" fmla="*/ 6996828 w 8079933"/>
              <a:gd name="connsiteY5565" fmla="*/ 3052472 h 4687251"/>
              <a:gd name="connsiteX5566" fmla="*/ 6999541 w 8079933"/>
              <a:gd name="connsiteY5566" fmla="*/ 3052580 h 4687251"/>
              <a:gd name="connsiteX5567" fmla="*/ 6999650 w 8079933"/>
              <a:gd name="connsiteY5567" fmla="*/ 3054961 h 4687251"/>
              <a:gd name="connsiteX5568" fmla="*/ 6998347 w 8079933"/>
              <a:gd name="connsiteY5568" fmla="*/ 3058209 h 4687251"/>
              <a:gd name="connsiteX5569" fmla="*/ 6995417 w 8079933"/>
              <a:gd name="connsiteY5569" fmla="*/ 3057127 h 4687251"/>
              <a:gd name="connsiteX5570" fmla="*/ 6871165 w 8079933"/>
              <a:gd name="connsiteY5570" fmla="*/ 3052365 h 4687251"/>
              <a:gd name="connsiteX5571" fmla="*/ 6871057 w 8079933"/>
              <a:gd name="connsiteY5571" fmla="*/ 3054963 h 4687251"/>
              <a:gd name="connsiteX5572" fmla="*/ 6867259 w 8079933"/>
              <a:gd name="connsiteY5572" fmla="*/ 3053448 h 4687251"/>
              <a:gd name="connsiteX5573" fmla="*/ 7129328 w 8079933"/>
              <a:gd name="connsiteY5573" fmla="*/ 3050308 h 4687251"/>
              <a:gd name="connsiteX5574" fmla="*/ 7141590 w 8079933"/>
              <a:gd name="connsiteY5574" fmla="*/ 3054963 h 4687251"/>
              <a:gd name="connsiteX5575" fmla="*/ 7149186 w 8079933"/>
              <a:gd name="connsiteY5575" fmla="*/ 3060160 h 4687251"/>
              <a:gd name="connsiteX5576" fmla="*/ 7156891 w 8079933"/>
              <a:gd name="connsiteY5576" fmla="*/ 3059835 h 4687251"/>
              <a:gd name="connsiteX5577" fmla="*/ 7164813 w 8079933"/>
              <a:gd name="connsiteY5577" fmla="*/ 3060485 h 4687251"/>
              <a:gd name="connsiteX5578" fmla="*/ 7166766 w 8079933"/>
              <a:gd name="connsiteY5578" fmla="*/ 3062542 h 4687251"/>
              <a:gd name="connsiteX5579" fmla="*/ 7165139 w 8079933"/>
              <a:gd name="connsiteY5579" fmla="*/ 3065141 h 4687251"/>
              <a:gd name="connsiteX5580" fmla="*/ 7165139 w 8079933"/>
              <a:gd name="connsiteY5580" fmla="*/ 3070987 h 4687251"/>
              <a:gd name="connsiteX5581" fmla="*/ 7169261 w 8079933"/>
              <a:gd name="connsiteY5581" fmla="*/ 3074344 h 4687251"/>
              <a:gd name="connsiteX5582" fmla="*/ 7170889 w 8079933"/>
              <a:gd name="connsiteY5582" fmla="*/ 3078675 h 4687251"/>
              <a:gd name="connsiteX5583" fmla="*/ 7167959 w 8079933"/>
              <a:gd name="connsiteY5583" fmla="*/ 3083005 h 4687251"/>
              <a:gd name="connsiteX5584" fmla="*/ 7165355 w 8079933"/>
              <a:gd name="connsiteY5584" fmla="*/ 3087444 h 4687251"/>
              <a:gd name="connsiteX5585" fmla="*/ 7167092 w 8079933"/>
              <a:gd name="connsiteY5585" fmla="*/ 3093832 h 4687251"/>
              <a:gd name="connsiteX5586" fmla="*/ 7167416 w 8079933"/>
              <a:gd name="connsiteY5586" fmla="*/ 3104768 h 4687251"/>
              <a:gd name="connsiteX5587" fmla="*/ 7170564 w 8079933"/>
              <a:gd name="connsiteY5587" fmla="*/ 3110181 h 4687251"/>
              <a:gd name="connsiteX5588" fmla="*/ 7173277 w 8079933"/>
              <a:gd name="connsiteY5588" fmla="*/ 3113538 h 4687251"/>
              <a:gd name="connsiteX5589" fmla="*/ 7175230 w 8079933"/>
              <a:gd name="connsiteY5589" fmla="*/ 3113754 h 4687251"/>
              <a:gd name="connsiteX5590" fmla="*/ 7174687 w 8079933"/>
              <a:gd name="connsiteY5590" fmla="*/ 3107799 h 4687251"/>
              <a:gd name="connsiteX5591" fmla="*/ 7176857 w 8079933"/>
              <a:gd name="connsiteY5591" fmla="*/ 3105309 h 4687251"/>
              <a:gd name="connsiteX5592" fmla="*/ 7179679 w 8079933"/>
              <a:gd name="connsiteY5592" fmla="*/ 3107042 h 4687251"/>
              <a:gd name="connsiteX5593" fmla="*/ 7179462 w 8079933"/>
              <a:gd name="connsiteY5593" fmla="*/ 3111914 h 4687251"/>
              <a:gd name="connsiteX5594" fmla="*/ 7181090 w 8079933"/>
              <a:gd name="connsiteY5594" fmla="*/ 3116569 h 4687251"/>
              <a:gd name="connsiteX5595" fmla="*/ 7182609 w 8079933"/>
              <a:gd name="connsiteY5595" fmla="*/ 3115487 h 4687251"/>
              <a:gd name="connsiteX5596" fmla="*/ 7184129 w 8079933"/>
              <a:gd name="connsiteY5596" fmla="*/ 3119817 h 4687251"/>
              <a:gd name="connsiteX5597" fmla="*/ 7189446 w 8079933"/>
              <a:gd name="connsiteY5597" fmla="*/ 3124040 h 4687251"/>
              <a:gd name="connsiteX5598" fmla="*/ 7192268 w 8079933"/>
              <a:gd name="connsiteY5598" fmla="*/ 3126963 h 4687251"/>
              <a:gd name="connsiteX5599" fmla="*/ 7196174 w 8079933"/>
              <a:gd name="connsiteY5599" fmla="*/ 3126963 h 4687251"/>
              <a:gd name="connsiteX5600" fmla="*/ 7200840 w 8079933"/>
              <a:gd name="connsiteY5600" fmla="*/ 3124906 h 4687251"/>
              <a:gd name="connsiteX5601" fmla="*/ 7202033 w 8079933"/>
              <a:gd name="connsiteY5601" fmla="*/ 3120684 h 4687251"/>
              <a:gd name="connsiteX5602" fmla="*/ 7204638 w 8079933"/>
              <a:gd name="connsiteY5602" fmla="*/ 3118518 h 4687251"/>
              <a:gd name="connsiteX5603" fmla="*/ 7207351 w 8079933"/>
              <a:gd name="connsiteY5603" fmla="*/ 3117544 h 4687251"/>
              <a:gd name="connsiteX5604" fmla="*/ 7207351 w 8079933"/>
              <a:gd name="connsiteY5604" fmla="*/ 3111589 h 4687251"/>
              <a:gd name="connsiteX5605" fmla="*/ 7210390 w 8079933"/>
              <a:gd name="connsiteY5605" fmla="*/ 3106717 h 4687251"/>
              <a:gd name="connsiteX5606" fmla="*/ 7215056 w 8079933"/>
              <a:gd name="connsiteY5606" fmla="*/ 3106283 h 4687251"/>
              <a:gd name="connsiteX5607" fmla="*/ 7219613 w 8079933"/>
              <a:gd name="connsiteY5607" fmla="*/ 3103577 h 4687251"/>
              <a:gd name="connsiteX5608" fmla="*/ 7220156 w 8079933"/>
              <a:gd name="connsiteY5608" fmla="*/ 3099246 h 4687251"/>
              <a:gd name="connsiteX5609" fmla="*/ 7221784 w 8079933"/>
              <a:gd name="connsiteY5609" fmla="*/ 3096755 h 4687251"/>
              <a:gd name="connsiteX5610" fmla="*/ 7223954 w 8079933"/>
              <a:gd name="connsiteY5610" fmla="*/ 3097730 h 4687251"/>
              <a:gd name="connsiteX5611" fmla="*/ 7226884 w 8079933"/>
              <a:gd name="connsiteY5611" fmla="*/ 3097514 h 4687251"/>
              <a:gd name="connsiteX5612" fmla="*/ 7231333 w 8079933"/>
              <a:gd name="connsiteY5612" fmla="*/ 3095889 h 4687251"/>
              <a:gd name="connsiteX5613" fmla="*/ 7238279 w 8079933"/>
              <a:gd name="connsiteY5613" fmla="*/ 3095024 h 4687251"/>
              <a:gd name="connsiteX5614" fmla="*/ 7239146 w 8079933"/>
              <a:gd name="connsiteY5614" fmla="*/ 3091559 h 4687251"/>
              <a:gd name="connsiteX5615" fmla="*/ 7236976 w 8079933"/>
              <a:gd name="connsiteY5615" fmla="*/ 3087336 h 4687251"/>
              <a:gd name="connsiteX5616" fmla="*/ 7237844 w 8079933"/>
              <a:gd name="connsiteY5616" fmla="*/ 3085063 h 4687251"/>
              <a:gd name="connsiteX5617" fmla="*/ 7249673 w 8079933"/>
              <a:gd name="connsiteY5617" fmla="*/ 3078025 h 4687251"/>
              <a:gd name="connsiteX5618" fmla="*/ 7255316 w 8079933"/>
              <a:gd name="connsiteY5618" fmla="*/ 3078566 h 4687251"/>
              <a:gd name="connsiteX5619" fmla="*/ 7259222 w 8079933"/>
              <a:gd name="connsiteY5619" fmla="*/ 3082140 h 4687251"/>
              <a:gd name="connsiteX5620" fmla="*/ 7266493 w 8079933"/>
              <a:gd name="connsiteY5620" fmla="*/ 3085279 h 4687251"/>
              <a:gd name="connsiteX5621" fmla="*/ 7274957 w 8079933"/>
              <a:gd name="connsiteY5621" fmla="*/ 3087228 h 4687251"/>
              <a:gd name="connsiteX5622" fmla="*/ 7279515 w 8079933"/>
              <a:gd name="connsiteY5622" fmla="*/ 3091017 h 4687251"/>
              <a:gd name="connsiteX5623" fmla="*/ 7284290 w 8079933"/>
              <a:gd name="connsiteY5623" fmla="*/ 3091450 h 4687251"/>
              <a:gd name="connsiteX5624" fmla="*/ 7290366 w 8079933"/>
              <a:gd name="connsiteY5624" fmla="*/ 3093183 h 4687251"/>
              <a:gd name="connsiteX5625" fmla="*/ 7304148 w 8079933"/>
              <a:gd name="connsiteY5625" fmla="*/ 3099462 h 4687251"/>
              <a:gd name="connsiteX5626" fmla="*/ 7307729 w 8079933"/>
              <a:gd name="connsiteY5626" fmla="*/ 3098813 h 4687251"/>
              <a:gd name="connsiteX5627" fmla="*/ 7310984 w 8079933"/>
              <a:gd name="connsiteY5627" fmla="*/ 3099354 h 4687251"/>
              <a:gd name="connsiteX5628" fmla="*/ 7316953 w 8079933"/>
              <a:gd name="connsiteY5628" fmla="*/ 3100762 h 4687251"/>
              <a:gd name="connsiteX5629" fmla="*/ 7321293 w 8079933"/>
              <a:gd name="connsiteY5629" fmla="*/ 3100654 h 4687251"/>
              <a:gd name="connsiteX5630" fmla="*/ 7324766 w 8079933"/>
              <a:gd name="connsiteY5630" fmla="*/ 3103144 h 4687251"/>
              <a:gd name="connsiteX5631" fmla="*/ 7324115 w 8079933"/>
              <a:gd name="connsiteY5631" fmla="*/ 3105201 h 4687251"/>
              <a:gd name="connsiteX5632" fmla="*/ 7324332 w 8079933"/>
              <a:gd name="connsiteY5632" fmla="*/ 3107799 h 4687251"/>
              <a:gd name="connsiteX5633" fmla="*/ 7327370 w 8079933"/>
              <a:gd name="connsiteY5633" fmla="*/ 3108774 h 4687251"/>
              <a:gd name="connsiteX5634" fmla="*/ 7331277 w 8079933"/>
              <a:gd name="connsiteY5634" fmla="*/ 3107691 h 4687251"/>
              <a:gd name="connsiteX5635" fmla="*/ 7331384 w 8079933"/>
              <a:gd name="connsiteY5635" fmla="*/ 3107691 h 4687251"/>
              <a:gd name="connsiteX5636" fmla="*/ 7331384 w 8079933"/>
              <a:gd name="connsiteY5636" fmla="*/ 3107690 h 4687251"/>
              <a:gd name="connsiteX5637" fmla="*/ 7335616 w 8079933"/>
              <a:gd name="connsiteY5637" fmla="*/ 3107906 h 4687251"/>
              <a:gd name="connsiteX5638" fmla="*/ 7343429 w 8079933"/>
              <a:gd name="connsiteY5638" fmla="*/ 3111263 h 4687251"/>
              <a:gd name="connsiteX5639" fmla="*/ 7348096 w 8079933"/>
              <a:gd name="connsiteY5639" fmla="*/ 3112995 h 4687251"/>
              <a:gd name="connsiteX5640" fmla="*/ 7350267 w 8079933"/>
              <a:gd name="connsiteY5640" fmla="*/ 3115269 h 4687251"/>
              <a:gd name="connsiteX5641" fmla="*/ 7359599 w 8079933"/>
              <a:gd name="connsiteY5641" fmla="*/ 3119058 h 4687251"/>
              <a:gd name="connsiteX5642" fmla="*/ 7361226 w 8079933"/>
              <a:gd name="connsiteY5642" fmla="*/ 3118192 h 4687251"/>
              <a:gd name="connsiteX5643" fmla="*/ 7363614 w 8079933"/>
              <a:gd name="connsiteY5643" fmla="*/ 3118192 h 4687251"/>
              <a:gd name="connsiteX5644" fmla="*/ 7366110 w 8079933"/>
              <a:gd name="connsiteY5644" fmla="*/ 3121332 h 4687251"/>
              <a:gd name="connsiteX5645" fmla="*/ 7371101 w 8079933"/>
              <a:gd name="connsiteY5645" fmla="*/ 3123389 h 4687251"/>
              <a:gd name="connsiteX5646" fmla="*/ 7384015 w 8079933"/>
              <a:gd name="connsiteY5646" fmla="*/ 3124580 h 4687251"/>
              <a:gd name="connsiteX5647" fmla="*/ 7392805 w 8079933"/>
              <a:gd name="connsiteY5647" fmla="*/ 3129885 h 4687251"/>
              <a:gd name="connsiteX5648" fmla="*/ 7398231 w 8079933"/>
              <a:gd name="connsiteY5648" fmla="*/ 3131185 h 4687251"/>
              <a:gd name="connsiteX5649" fmla="*/ 7403221 w 8079933"/>
              <a:gd name="connsiteY5649" fmla="*/ 3135082 h 4687251"/>
              <a:gd name="connsiteX5650" fmla="*/ 7408540 w 8079933"/>
              <a:gd name="connsiteY5650" fmla="*/ 3135516 h 4687251"/>
              <a:gd name="connsiteX5651" fmla="*/ 7412988 w 8079933"/>
              <a:gd name="connsiteY5651" fmla="*/ 3137789 h 4687251"/>
              <a:gd name="connsiteX5652" fmla="*/ 7414942 w 8079933"/>
              <a:gd name="connsiteY5652" fmla="*/ 3137139 h 4687251"/>
              <a:gd name="connsiteX5653" fmla="*/ 7417546 w 8079933"/>
              <a:gd name="connsiteY5653" fmla="*/ 3140604 h 4687251"/>
              <a:gd name="connsiteX5654" fmla="*/ 7422538 w 8079933"/>
              <a:gd name="connsiteY5654" fmla="*/ 3141579 h 4687251"/>
              <a:gd name="connsiteX5655" fmla="*/ 7423949 w 8079933"/>
              <a:gd name="connsiteY5655" fmla="*/ 3145044 h 4687251"/>
              <a:gd name="connsiteX5656" fmla="*/ 7428290 w 8079933"/>
              <a:gd name="connsiteY5656" fmla="*/ 3148183 h 4687251"/>
              <a:gd name="connsiteX5657" fmla="*/ 7430135 w 8079933"/>
              <a:gd name="connsiteY5657" fmla="*/ 3151864 h 4687251"/>
              <a:gd name="connsiteX5658" fmla="*/ 7432956 w 8079933"/>
              <a:gd name="connsiteY5658" fmla="*/ 3150673 h 4687251"/>
              <a:gd name="connsiteX5659" fmla="*/ 7435018 w 8079933"/>
              <a:gd name="connsiteY5659" fmla="*/ 3150348 h 4687251"/>
              <a:gd name="connsiteX5660" fmla="*/ 7443699 w 8079933"/>
              <a:gd name="connsiteY5660" fmla="*/ 3159443 h 4687251"/>
              <a:gd name="connsiteX5661" fmla="*/ 7446737 w 8079933"/>
              <a:gd name="connsiteY5661" fmla="*/ 3163341 h 4687251"/>
              <a:gd name="connsiteX5662" fmla="*/ 7446195 w 8079933"/>
              <a:gd name="connsiteY5662" fmla="*/ 3167563 h 4687251"/>
              <a:gd name="connsiteX5663" fmla="*/ 7442939 w 8079933"/>
              <a:gd name="connsiteY5663" fmla="*/ 3172977 h 4687251"/>
              <a:gd name="connsiteX5664" fmla="*/ 7444133 w 8079933"/>
              <a:gd name="connsiteY5664" fmla="*/ 3176225 h 4687251"/>
              <a:gd name="connsiteX5665" fmla="*/ 7455744 w 8079933"/>
              <a:gd name="connsiteY5665" fmla="*/ 3180339 h 4687251"/>
              <a:gd name="connsiteX5666" fmla="*/ 7460519 w 8079933"/>
              <a:gd name="connsiteY5666" fmla="*/ 3179798 h 4687251"/>
              <a:gd name="connsiteX5667" fmla="*/ 7464751 w 8079933"/>
              <a:gd name="connsiteY5667" fmla="*/ 3184345 h 4687251"/>
              <a:gd name="connsiteX5668" fmla="*/ 7473324 w 8079933"/>
              <a:gd name="connsiteY5668" fmla="*/ 3187918 h 4687251"/>
              <a:gd name="connsiteX5669" fmla="*/ 7478749 w 8079933"/>
              <a:gd name="connsiteY5669" fmla="*/ 3190517 h 4687251"/>
              <a:gd name="connsiteX5670" fmla="*/ 7480920 w 8079933"/>
              <a:gd name="connsiteY5670" fmla="*/ 3189001 h 4687251"/>
              <a:gd name="connsiteX5671" fmla="*/ 7485912 w 8079933"/>
              <a:gd name="connsiteY5671" fmla="*/ 3189976 h 4687251"/>
              <a:gd name="connsiteX5672" fmla="*/ 7492748 w 8079933"/>
              <a:gd name="connsiteY5672" fmla="*/ 3197121 h 4687251"/>
              <a:gd name="connsiteX5673" fmla="*/ 7493183 w 8079933"/>
              <a:gd name="connsiteY5673" fmla="*/ 3202101 h 4687251"/>
              <a:gd name="connsiteX5674" fmla="*/ 7490687 w 8079933"/>
              <a:gd name="connsiteY5674" fmla="*/ 3206325 h 4687251"/>
              <a:gd name="connsiteX5675" fmla="*/ 7482113 w 8079933"/>
              <a:gd name="connsiteY5675" fmla="*/ 3210764 h 4687251"/>
              <a:gd name="connsiteX5676" fmla="*/ 7472347 w 8079933"/>
              <a:gd name="connsiteY5676" fmla="*/ 3209897 h 4687251"/>
              <a:gd name="connsiteX5677" fmla="*/ 7471804 w 8079933"/>
              <a:gd name="connsiteY5677" fmla="*/ 3211846 h 4687251"/>
              <a:gd name="connsiteX5678" fmla="*/ 7474517 w 8079933"/>
              <a:gd name="connsiteY5678" fmla="*/ 3216826 h 4687251"/>
              <a:gd name="connsiteX5679" fmla="*/ 7478207 w 8079933"/>
              <a:gd name="connsiteY5679" fmla="*/ 3219858 h 4687251"/>
              <a:gd name="connsiteX5680" fmla="*/ 7479292 w 8079933"/>
              <a:gd name="connsiteY5680" fmla="*/ 3225380 h 4687251"/>
              <a:gd name="connsiteX5681" fmla="*/ 7484501 w 8079933"/>
              <a:gd name="connsiteY5681" fmla="*/ 3230793 h 4687251"/>
              <a:gd name="connsiteX5682" fmla="*/ 7487105 w 8079933"/>
              <a:gd name="connsiteY5682" fmla="*/ 3235882 h 4687251"/>
              <a:gd name="connsiteX5683" fmla="*/ 7490470 w 8079933"/>
              <a:gd name="connsiteY5683" fmla="*/ 3237723 h 4687251"/>
              <a:gd name="connsiteX5684" fmla="*/ 7495678 w 8079933"/>
              <a:gd name="connsiteY5684" fmla="*/ 3237723 h 4687251"/>
              <a:gd name="connsiteX5685" fmla="*/ 7496980 w 8079933"/>
              <a:gd name="connsiteY5685" fmla="*/ 3241296 h 4687251"/>
              <a:gd name="connsiteX5686" fmla="*/ 7499259 w 8079933"/>
              <a:gd name="connsiteY5686" fmla="*/ 3242270 h 4687251"/>
              <a:gd name="connsiteX5687" fmla="*/ 7503599 w 8079933"/>
              <a:gd name="connsiteY5687" fmla="*/ 3252880 h 4687251"/>
              <a:gd name="connsiteX5688" fmla="*/ 7507181 w 8079933"/>
              <a:gd name="connsiteY5688" fmla="*/ 3254613 h 4687251"/>
              <a:gd name="connsiteX5689" fmla="*/ 7508049 w 8079933"/>
              <a:gd name="connsiteY5689" fmla="*/ 3261217 h 4687251"/>
              <a:gd name="connsiteX5690" fmla="*/ 7512281 w 8079933"/>
              <a:gd name="connsiteY5690" fmla="*/ 3265765 h 4687251"/>
              <a:gd name="connsiteX5691" fmla="*/ 7514886 w 8079933"/>
              <a:gd name="connsiteY5691" fmla="*/ 3265657 h 4687251"/>
              <a:gd name="connsiteX5692" fmla="*/ 7518575 w 8079933"/>
              <a:gd name="connsiteY5692" fmla="*/ 3266523 h 4687251"/>
              <a:gd name="connsiteX5693" fmla="*/ 7520420 w 8079933"/>
              <a:gd name="connsiteY5693" fmla="*/ 3264898 h 4687251"/>
              <a:gd name="connsiteX5694" fmla="*/ 7523458 w 8079933"/>
              <a:gd name="connsiteY5694" fmla="*/ 3265007 h 4687251"/>
              <a:gd name="connsiteX5695" fmla="*/ 7526063 w 8079933"/>
              <a:gd name="connsiteY5695" fmla="*/ 3267714 h 4687251"/>
              <a:gd name="connsiteX5696" fmla="*/ 7524760 w 8079933"/>
              <a:gd name="connsiteY5696" fmla="*/ 3270745 h 4687251"/>
              <a:gd name="connsiteX5697" fmla="*/ 7522048 w 8079933"/>
              <a:gd name="connsiteY5697" fmla="*/ 3273777 h 4687251"/>
              <a:gd name="connsiteX5698" fmla="*/ 7522156 w 8079933"/>
              <a:gd name="connsiteY5698" fmla="*/ 3277350 h 4687251"/>
              <a:gd name="connsiteX5699" fmla="*/ 7525195 w 8079933"/>
              <a:gd name="connsiteY5699" fmla="*/ 3279948 h 4687251"/>
              <a:gd name="connsiteX5700" fmla="*/ 7533008 w 8079933"/>
              <a:gd name="connsiteY5700" fmla="*/ 3281139 h 4687251"/>
              <a:gd name="connsiteX5701" fmla="*/ 7541038 w 8079933"/>
              <a:gd name="connsiteY5701" fmla="*/ 3281139 h 4687251"/>
              <a:gd name="connsiteX5702" fmla="*/ 7544293 w 8079933"/>
              <a:gd name="connsiteY5702" fmla="*/ 3283088 h 4687251"/>
              <a:gd name="connsiteX5703" fmla="*/ 7542124 w 8079933"/>
              <a:gd name="connsiteY5703" fmla="*/ 3284820 h 4687251"/>
              <a:gd name="connsiteX5704" fmla="*/ 7538759 w 8079933"/>
              <a:gd name="connsiteY5704" fmla="*/ 3284604 h 4687251"/>
              <a:gd name="connsiteX5705" fmla="*/ 7533116 w 8079933"/>
              <a:gd name="connsiteY5705" fmla="*/ 3286986 h 4687251"/>
              <a:gd name="connsiteX5706" fmla="*/ 7535396 w 8079933"/>
              <a:gd name="connsiteY5706" fmla="*/ 3289692 h 4687251"/>
              <a:gd name="connsiteX5707" fmla="*/ 7541689 w 8079933"/>
              <a:gd name="connsiteY5707" fmla="*/ 3293049 h 4687251"/>
              <a:gd name="connsiteX5708" fmla="*/ 7551998 w 8079933"/>
              <a:gd name="connsiteY5708" fmla="*/ 3294348 h 4687251"/>
              <a:gd name="connsiteX5709" fmla="*/ 7561005 w 8079933"/>
              <a:gd name="connsiteY5709" fmla="*/ 3296081 h 4687251"/>
              <a:gd name="connsiteX5710" fmla="*/ 7556882 w 8079933"/>
              <a:gd name="connsiteY5710" fmla="*/ 3298896 h 4687251"/>
              <a:gd name="connsiteX5711" fmla="*/ 7552975 w 8079933"/>
              <a:gd name="connsiteY5711" fmla="*/ 3297271 h 4687251"/>
              <a:gd name="connsiteX5712" fmla="*/ 7548743 w 8079933"/>
              <a:gd name="connsiteY5712" fmla="*/ 3298787 h 4687251"/>
              <a:gd name="connsiteX5713" fmla="*/ 7548743 w 8079933"/>
              <a:gd name="connsiteY5713" fmla="*/ 3300844 h 4687251"/>
              <a:gd name="connsiteX5714" fmla="*/ 7550587 w 8079933"/>
              <a:gd name="connsiteY5714" fmla="*/ 3300953 h 4687251"/>
              <a:gd name="connsiteX5715" fmla="*/ 7556448 w 8079933"/>
              <a:gd name="connsiteY5715" fmla="*/ 3304418 h 4687251"/>
              <a:gd name="connsiteX5716" fmla="*/ 7555037 w 8079933"/>
              <a:gd name="connsiteY5716" fmla="*/ 3307449 h 4687251"/>
              <a:gd name="connsiteX5717" fmla="*/ 7549611 w 8079933"/>
              <a:gd name="connsiteY5717" fmla="*/ 3308856 h 4687251"/>
              <a:gd name="connsiteX5718" fmla="*/ 7544185 w 8079933"/>
              <a:gd name="connsiteY5718" fmla="*/ 3305608 h 4687251"/>
              <a:gd name="connsiteX5719" fmla="*/ 7539411 w 8079933"/>
              <a:gd name="connsiteY5719" fmla="*/ 3304418 h 4687251"/>
              <a:gd name="connsiteX5720" fmla="*/ 7542124 w 8079933"/>
              <a:gd name="connsiteY5720" fmla="*/ 3302360 h 4687251"/>
              <a:gd name="connsiteX5721" fmla="*/ 7541364 w 8079933"/>
              <a:gd name="connsiteY5721" fmla="*/ 3300844 h 4687251"/>
              <a:gd name="connsiteX5722" fmla="*/ 7536480 w 8079933"/>
              <a:gd name="connsiteY5722" fmla="*/ 3301061 h 4687251"/>
              <a:gd name="connsiteX5723" fmla="*/ 7534093 w 8079933"/>
              <a:gd name="connsiteY5723" fmla="*/ 3298138 h 4687251"/>
              <a:gd name="connsiteX5724" fmla="*/ 7528776 w 8079933"/>
              <a:gd name="connsiteY5724" fmla="*/ 3299004 h 4687251"/>
              <a:gd name="connsiteX5725" fmla="*/ 7525303 w 8079933"/>
              <a:gd name="connsiteY5725" fmla="*/ 3296947 h 4687251"/>
              <a:gd name="connsiteX5726" fmla="*/ 7517924 w 8079933"/>
              <a:gd name="connsiteY5726" fmla="*/ 3295648 h 4687251"/>
              <a:gd name="connsiteX5727" fmla="*/ 7513692 w 8079933"/>
              <a:gd name="connsiteY5727" fmla="*/ 3295973 h 4687251"/>
              <a:gd name="connsiteX5728" fmla="*/ 7508700 w 8079933"/>
              <a:gd name="connsiteY5728" fmla="*/ 3294023 h 4687251"/>
              <a:gd name="connsiteX5729" fmla="*/ 7501430 w 8079933"/>
              <a:gd name="connsiteY5729" fmla="*/ 3295106 h 4687251"/>
              <a:gd name="connsiteX5730" fmla="*/ 7497632 w 8079933"/>
              <a:gd name="connsiteY5730" fmla="*/ 3293591 h 4687251"/>
              <a:gd name="connsiteX5731" fmla="*/ 7495244 w 8079933"/>
              <a:gd name="connsiteY5731" fmla="*/ 3293591 h 4687251"/>
              <a:gd name="connsiteX5732" fmla="*/ 7492640 w 8079933"/>
              <a:gd name="connsiteY5732" fmla="*/ 3294565 h 4687251"/>
              <a:gd name="connsiteX5733" fmla="*/ 7485912 w 8079933"/>
              <a:gd name="connsiteY5733" fmla="*/ 3292291 h 4687251"/>
              <a:gd name="connsiteX5734" fmla="*/ 7481571 w 8079933"/>
              <a:gd name="connsiteY5734" fmla="*/ 3289367 h 4687251"/>
              <a:gd name="connsiteX5735" fmla="*/ 7481245 w 8079933"/>
              <a:gd name="connsiteY5735" fmla="*/ 3285795 h 4687251"/>
              <a:gd name="connsiteX5736" fmla="*/ 7470177 w 8079933"/>
              <a:gd name="connsiteY5736" fmla="*/ 3274426 h 4687251"/>
              <a:gd name="connsiteX5737" fmla="*/ 7469308 w 8079933"/>
              <a:gd name="connsiteY5737" fmla="*/ 3271720 h 4687251"/>
              <a:gd name="connsiteX5738" fmla="*/ 7466813 w 8079933"/>
              <a:gd name="connsiteY5738" fmla="*/ 3267930 h 4687251"/>
              <a:gd name="connsiteX5739" fmla="*/ 7462255 w 8079933"/>
              <a:gd name="connsiteY5739" fmla="*/ 3266739 h 4687251"/>
              <a:gd name="connsiteX5740" fmla="*/ 7461279 w 8079933"/>
              <a:gd name="connsiteY5740" fmla="*/ 3263491 h 4687251"/>
              <a:gd name="connsiteX5741" fmla="*/ 7454876 w 8079933"/>
              <a:gd name="connsiteY5741" fmla="*/ 3255371 h 4687251"/>
              <a:gd name="connsiteX5742" fmla="*/ 7452922 w 8079933"/>
              <a:gd name="connsiteY5742" fmla="*/ 3248766 h 4687251"/>
              <a:gd name="connsiteX5743" fmla="*/ 7449341 w 8079933"/>
              <a:gd name="connsiteY5743" fmla="*/ 3244435 h 4687251"/>
              <a:gd name="connsiteX5744" fmla="*/ 7445435 w 8079933"/>
              <a:gd name="connsiteY5744" fmla="*/ 3242270 h 4687251"/>
              <a:gd name="connsiteX5745" fmla="*/ 7432412 w 8079933"/>
              <a:gd name="connsiteY5745" fmla="*/ 3239239 h 4687251"/>
              <a:gd name="connsiteX5746" fmla="*/ 7429375 w 8079933"/>
              <a:gd name="connsiteY5746" fmla="*/ 3236099 h 4687251"/>
              <a:gd name="connsiteX5747" fmla="*/ 7426879 w 8079933"/>
              <a:gd name="connsiteY5747" fmla="*/ 3235449 h 4687251"/>
              <a:gd name="connsiteX5748" fmla="*/ 7426770 w 8079933"/>
              <a:gd name="connsiteY5748" fmla="*/ 3232525 h 4687251"/>
              <a:gd name="connsiteX5749" fmla="*/ 7427096 w 8079933"/>
              <a:gd name="connsiteY5749" fmla="*/ 3229278 h 4687251"/>
              <a:gd name="connsiteX5750" fmla="*/ 7424817 w 8079933"/>
              <a:gd name="connsiteY5750" fmla="*/ 3232092 h 4687251"/>
              <a:gd name="connsiteX5751" fmla="*/ 7423297 w 8079933"/>
              <a:gd name="connsiteY5751" fmla="*/ 3230793 h 4687251"/>
              <a:gd name="connsiteX5752" fmla="*/ 7420367 w 8079933"/>
              <a:gd name="connsiteY5752" fmla="*/ 3231010 h 4687251"/>
              <a:gd name="connsiteX5753" fmla="*/ 7417221 w 8079933"/>
              <a:gd name="connsiteY5753" fmla="*/ 3230360 h 4687251"/>
              <a:gd name="connsiteX5754" fmla="*/ 7415919 w 8079933"/>
              <a:gd name="connsiteY5754" fmla="*/ 3226896 h 4687251"/>
              <a:gd name="connsiteX5755" fmla="*/ 7410058 w 8079933"/>
              <a:gd name="connsiteY5755" fmla="*/ 3224946 h 4687251"/>
              <a:gd name="connsiteX5756" fmla="*/ 7407996 w 8079933"/>
              <a:gd name="connsiteY5756" fmla="*/ 3222457 h 4687251"/>
              <a:gd name="connsiteX5757" fmla="*/ 7406586 w 8079933"/>
              <a:gd name="connsiteY5757" fmla="*/ 3227437 h 4687251"/>
              <a:gd name="connsiteX5758" fmla="*/ 7407996 w 8079933"/>
              <a:gd name="connsiteY5758" fmla="*/ 3230144 h 4687251"/>
              <a:gd name="connsiteX5759" fmla="*/ 7407780 w 8079933"/>
              <a:gd name="connsiteY5759" fmla="*/ 3233392 h 4687251"/>
              <a:gd name="connsiteX5760" fmla="*/ 7405827 w 8079933"/>
              <a:gd name="connsiteY5760" fmla="*/ 3233717 h 4687251"/>
              <a:gd name="connsiteX5761" fmla="*/ 7404633 w 8079933"/>
              <a:gd name="connsiteY5761" fmla="*/ 3229494 h 4687251"/>
              <a:gd name="connsiteX5762" fmla="*/ 7403439 w 8079933"/>
              <a:gd name="connsiteY5762" fmla="*/ 3228411 h 4687251"/>
              <a:gd name="connsiteX5763" fmla="*/ 7404307 w 8079933"/>
              <a:gd name="connsiteY5763" fmla="*/ 3231660 h 4687251"/>
              <a:gd name="connsiteX5764" fmla="*/ 7404090 w 8079933"/>
              <a:gd name="connsiteY5764" fmla="*/ 3233933 h 4687251"/>
              <a:gd name="connsiteX5765" fmla="*/ 7400508 w 8079933"/>
              <a:gd name="connsiteY5765" fmla="*/ 3233067 h 4687251"/>
              <a:gd name="connsiteX5766" fmla="*/ 7395842 w 8079933"/>
              <a:gd name="connsiteY5766" fmla="*/ 3228736 h 4687251"/>
              <a:gd name="connsiteX5767" fmla="*/ 7394215 w 8079933"/>
              <a:gd name="connsiteY5767" fmla="*/ 3225813 h 4687251"/>
              <a:gd name="connsiteX5768" fmla="*/ 7390092 w 8079933"/>
              <a:gd name="connsiteY5768" fmla="*/ 3223972 h 4687251"/>
              <a:gd name="connsiteX5769" fmla="*/ 7390092 w 8079933"/>
              <a:gd name="connsiteY5769" fmla="*/ 3225596 h 4687251"/>
              <a:gd name="connsiteX5770" fmla="*/ 7393673 w 8079933"/>
              <a:gd name="connsiteY5770" fmla="*/ 3228845 h 4687251"/>
              <a:gd name="connsiteX5771" fmla="*/ 7394106 w 8079933"/>
              <a:gd name="connsiteY5771" fmla="*/ 3232525 h 4687251"/>
              <a:gd name="connsiteX5772" fmla="*/ 7393781 w 8079933"/>
              <a:gd name="connsiteY5772" fmla="*/ 3235124 h 4687251"/>
              <a:gd name="connsiteX5773" fmla="*/ 7391503 w 8079933"/>
              <a:gd name="connsiteY5773" fmla="*/ 3236749 h 4687251"/>
              <a:gd name="connsiteX5774" fmla="*/ 7391394 w 8079933"/>
              <a:gd name="connsiteY5774" fmla="*/ 3240213 h 4687251"/>
              <a:gd name="connsiteX5775" fmla="*/ 7393565 w 8079933"/>
              <a:gd name="connsiteY5775" fmla="*/ 3242812 h 4687251"/>
              <a:gd name="connsiteX5776" fmla="*/ 7389115 w 8079933"/>
              <a:gd name="connsiteY5776" fmla="*/ 3242053 h 4687251"/>
              <a:gd name="connsiteX5777" fmla="*/ 7385534 w 8079933"/>
              <a:gd name="connsiteY5777" fmla="*/ 3237939 h 4687251"/>
              <a:gd name="connsiteX5778" fmla="*/ 7380867 w 8079933"/>
              <a:gd name="connsiteY5778" fmla="*/ 3239130 h 4687251"/>
              <a:gd name="connsiteX5779" fmla="*/ 7378155 w 8079933"/>
              <a:gd name="connsiteY5779" fmla="*/ 3236640 h 4687251"/>
              <a:gd name="connsiteX5780" fmla="*/ 7379891 w 8079933"/>
              <a:gd name="connsiteY5780" fmla="*/ 3239996 h 4687251"/>
              <a:gd name="connsiteX5781" fmla="*/ 7383147 w 8079933"/>
              <a:gd name="connsiteY5781" fmla="*/ 3239563 h 4687251"/>
              <a:gd name="connsiteX5782" fmla="*/ 7384883 w 8079933"/>
              <a:gd name="connsiteY5782" fmla="*/ 3242919 h 4687251"/>
              <a:gd name="connsiteX5783" fmla="*/ 7388355 w 8079933"/>
              <a:gd name="connsiteY5783" fmla="*/ 3245085 h 4687251"/>
              <a:gd name="connsiteX5784" fmla="*/ 7389549 w 8079933"/>
              <a:gd name="connsiteY5784" fmla="*/ 3247143 h 4687251"/>
              <a:gd name="connsiteX5785" fmla="*/ 7385534 w 8079933"/>
              <a:gd name="connsiteY5785" fmla="*/ 3248333 h 4687251"/>
              <a:gd name="connsiteX5786" fmla="*/ 7380867 w 8079933"/>
              <a:gd name="connsiteY5786" fmla="*/ 3248117 h 4687251"/>
              <a:gd name="connsiteX5787" fmla="*/ 7374139 w 8079933"/>
              <a:gd name="connsiteY5787" fmla="*/ 3249741 h 4687251"/>
              <a:gd name="connsiteX5788" fmla="*/ 7368497 w 8079933"/>
              <a:gd name="connsiteY5788" fmla="*/ 3249524 h 4687251"/>
              <a:gd name="connsiteX5789" fmla="*/ 7366001 w 8079933"/>
              <a:gd name="connsiteY5789" fmla="*/ 3249957 h 4687251"/>
              <a:gd name="connsiteX5790" fmla="*/ 7362745 w 8079933"/>
              <a:gd name="connsiteY5790" fmla="*/ 3247034 h 4687251"/>
              <a:gd name="connsiteX5791" fmla="*/ 7356669 w 8079933"/>
              <a:gd name="connsiteY5791" fmla="*/ 3245302 h 4687251"/>
              <a:gd name="connsiteX5792" fmla="*/ 7354824 w 8079933"/>
              <a:gd name="connsiteY5792" fmla="*/ 3245085 h 4687251"/>
              <a:gd name="connsiteX5793" fmla="*/ 7354281 w 8079933"/>
              <a:gd name="connsiteY5793" fmla="*/ 3240321 h 4687251"/>
              <a:gd name="connsiteX5794" fmla="*/ 7353413 w 8079933"/>
              <a:gd name="connsiteY5794" fmla="*/ 3236315 h 4687251"/>
              <a:gd name="connsiteX5795" fmla="*/ 7348096 w 8079933"/>
              <a:gd name="connsiteY5795" fmla="*/ 3232850 h 4687251"/>
              <a:gd name="connsiteX5796" fmla="*/ 7345274 w 8079933"/>
              <a:gd name="connsiteY5796" fmla="*/ 3232092 h 4687251"/>
              <a:gd name="connsiteX5797" fmla="*/ 7344081 w 8079933"/>
              <a:gd name="connsiteY5797" fmla="*/ 3228628 h 4687251"/>
              <a:gd name="connsiteX5798" fmla="*/ 7340717 w 8079933"/>
              <a:gd name="connsiteY5798" fmla="*/ 3226571 h 4687251"/>
              <a:gd name="connsiteX5799" fmla="*/ 7343429 w 8079933"/>
              <a:gd name="connsiteY5799" fmla="*/ 3229278 h 4687251"/>
              <a:gd name="connsiteX5800" fmla="*/ 7344406 w 8079933"/>
              <a:gd name="connsiteY5800" fmla="*/ 3232525 h 4687251"/>
              <a:gd name="connsiteX5801" fmla="*/ 7348855 w 8079933"/>
              <a:gd name="connsiteY5801" fmla="*/ 3234583 h 4687251"/>
              <a:gd name="connsiteX5802" fmla="*/ 7352979 w 8079933"/>
              <a:gd name="connsiteY5802" fmla="*/ 3239996 h 4687251"/>
              <a:gd name="connsiteX5803" fmla="*/ 7354064 w 8079933"/>
              <a:gd name="connsiteY5803" fmla="*/ 3245735 h 4687251"/>
              <a:gd name="connsiteX5804" fmla="*/ 7356560 w 8079933"/>
              <a:gd name="connsiteY5804" fmla="*/ 3247684 h 4687251"/>
              <a:gd name="connsiteX5805" fmla="*/ 7358079 w 8079933"/>
              <a:gd name="connsiteY5805" fmla="*/ 3247575 h 4687251"/>
              <a:gd name="connsiteX5806" fmla="*/ 7361661 w 8079933"/>
              <a:gd name="connsiteY5806" fmla="*/ 3248875 h 4687251"/>
              <a:gd name="connsiteX5807" fmla="*/ 7364156 w 8079933"/>
              <a:gd name="connsiteY5807" fmla="*/ 3251040 h 4687251"/>
              <a:gd name="connsiteX5808" fmla="*/ 7370016 w 8079933"/>
              <a:gd name="connsiteY5808" fmla="*/ 3252014 h 4687251"/>
              <a:gd name="connsiteX5809" fmla="*/ 7376961 w 8079933"/>
              <a:gd name="connsiteY5809" fmla="*/ 3254937 h 4687251"/>
              <a:gd name="connsiteX5810" fmla="*/ 7383147 w 8079933"/>
              <a:gd name="connsiteY5810" fmla="*/ 3259702 h 4687251"/>
              <a:gd name="connsiteX5811" fmla="*/ 7383472 w 8079933"/>
              <a:gd name="connsiteY5811" fmla="*/ 3266414 h 4687251"/>
              <a:gd name="connsiteX5812" fmla="*/ 7381302 w 8079933"/>
              <a:gd name="connsiteY5812" fmla="*/ 3269013 h 4687251"/>
              <a:gd name="connsiteX5813" fmla="*/ 7379131 w 8079933"/>
              <a:gd name="connsiteY5813" fmla="*/ 3267280 h 4687251"/>
              <a:gd name="connsiteX5814" fmla="*/ 7378481 w 8079933"/>
              <a:gd name="connsiteY5814" fmla="*/ 3269554 h 4687251"/>
              <a:gd name="connsiteX5815" fmla="*/ 7370016 w 8079933"/>
              <a:gd name="connsiteY5815" fmla="*/ 3271936 h 4687251"/>
              <a:gd name="connsiteX5816" fmla="*/ 7364915 w 8079933"/>
              <a:gd name="connsiteY5816" fmla="*/ 3274968 h 4687251"/>
              <a:gd name="connsiteX5817" fmla="*/ 7361118 w 8079933"/>
              <a:gd name="connsiteY5817" fmla="*/ 3273993 h 4687251"/>
              <a:gd name="connsiteX5818" fmla="*/ 7358188 w 8079933"/>
              <a:gd name="connsiteY5818" fmla="*/ 3270962 h 4687251"/>
              <a:gd name="connsiteX5819" fmla="*/ 7356994 w 8079933"/>
              <a:gd name="connsiteY5819" fmla="*/ 3267930 h 4687251"/>
              <a:gd name="connsiteX5820" fmla="*/ 7353847 w 8079933"/>
              <a:gd name="connsiteY5820" fmla="*/ 3268796 h 4687251"/>
              <a:gd name="connsiteX5821" fmla="*/ 7341151 w 8079933"/>
              <a:gd name="connsiteY5821" fmla="*/ 3268363 h 4687251"/>
              <a:gd name="connsiteX5822" fmla="*/ 7336810 w 8079933"/>
              <a:gd name="connsiteY5822" fmla="*/ 3269554 h 4687251"/>
              <a:gd name="connsiteX5823" fmla="*/ 7334206 w 8079933"/>
              <a:gd name="connsiteY5823" fmla="*/ 3267930 h 4687251"/>
              <a:gd name="connsiteX5824" fmla="*/ 7325959 w 8079933"/>
              <a:gd name="connsiteY5824" fmla="*/ 3267822 h 4687251"/>
              <a:gd name="connsiteX5825" fmla="*/ 7325959 w 8079933"/>
              <a:gd name="connsiteY5825" fmla="*/ 3267823 h 4687251"/>
              <a:gd name="connsiteX5826" fmla="*/ 7324549 w 8079933"/>
              <a:gd name="connsiteY5826" fmla="*/ 3267823 h 4687251"/>
              <a:gd name="connsiteX5827" fmla="*/ 7318689 w 8079933"/>
              <a:gd name="connsiteY5827" fmla="*/ 3265766 h 4687251"/>
              <a:gd name="connsiteX5828" fmla="*/ 7312069 w 8079933"/>
              <a:gd name="connsiteY5828" fmla="*/ 3258512 h 4687251"/>
              <a:gd name="connsiteX5829" fmla="*/ 7310442 w 8079933"/>
              <a:gd name="connsiteY5829" fmla="*/ 3255048 h 4687251"/>
              <a:gd name="connsiteX5830" fmla="*/ 7310659 w 8079933"/>
              <a:gd name="connsiteY5830" fmla="*/ 3253532 h 4687251"/>
              <a:gd name="connsiteX5831" fmla="*/ 7305776 w 8079933"/>
              <a:gd name="connsiteY5831" fmla="*/ 3249201 h 4687251"/>
              <a:gd name="connsiteX5832" fmla="*/ 7303605 w 8079933"/>
              <a:gd name="connsiteY5832" fmla="*/ 3247793 h 4687251"/>
              <a:gd name="connsiteX5833" fmla="*/ 7302737 w 8079933"/>
              <a:gd name="connsiteY5833" fmla="*/ 3244112 h 4687251"/>
              <a:gd name="connsiteX5834" fmla="*/ 7304907 w 8079933"/>
              <a:gd name="connsiteY5834" fmla="*/ 3240647 h 4687251"/>
              <a:gd name="connsiteX5835" fmla="*/ 7304690 w 8079933"/>
              <a:gd name="connsiteY5835" fmla="*/ 3235342 h 4687251"/>
              <a:gd name="connsiteX5836" fmla="*/ 7303605 w 8079933"/>
              <a:gd name="connsiteY5836" fmla="*/ 3240647 h 4687251"/>
              <a:gd name="connsiteX5837" fmla="*/ 7300458 w 8079933"/>
              <a:gd name="connsiteY5837" fmla="*/ 3242596 h 4687251"/>
              <a:gd name="connsiteX5838" fmla="*/ 7293296 w 8079933"/>
              <a:gd name="connsiteY5838" fmla="*/ 3242055 h 4687251"/>
              <a:gd name="connsiteX5839" fmla="*/ 7289281 w 8079933"/>
              <a:gd name="connsiteY5839" fmla="*/ 3244220 h 4687251"/>
              <a:gd name="connsiteX5840" fmla="*/ 7285917 w 8079933"/>
              <a:gd name="connsiteY5840" fmla="*/ 3244112 h 4687251"/>
              <a:gd name="connsiteX5841" fmla="*/ 7283747 w 8079933"/>
              <a:gd name="connsiteY5841" fmla="*/ 3242055 h 4687251"/>
              <a:gd name="connsiteX5842" fmla="*/ 7278212 w 8079933"/>
              <a:gd name="connsiteY5842" fmla="*/ 3245087 h 4687251"/>
              <a:gd name="connsiteX5843" fmla="*/ 7275282 w 8079933"/>
              <a:gd name="connsiteY5843" fmla="*/ 3241730 h 4687251"/>
              <a:gd name="connsiteX5844" fmla="*/ 7277452 w 8079933"/>
              <a:gd name="connsiteY5844" fmla="*/ 3240322 h 4687251"/>
              <a:gd name="connsiteX5845" fmla="*/ 7278864 w 8079933"/>
              <a:gd name="connsiteY5845" fmla="*/ 3236641 h 4687251"/>
              <a:gd name="connsiteX5846" fmla="*/ 7278864 w 8079933"/>
              <a:gd name="connsiteY5846" fmla="*/ 3233935 h 4687251"/>
              <a:gd name="connsiteX5847" fmla="*/ 7280057 w 8079933"/>
              <a:gd name="connsiteY5847" fmla="*/ 3232310 h 4687251"/>
              <a:gd name="connsiteX5848" fmla="*/ 7280925 w 8079933"/>
              <a:gd name="connsiteY5848" fmla="*/ 3226247 h 4687251"/>
              <a:gd name="connsiteX5849" fmla="*/ 7277887 w 8079933"/>
              <a:gd name="connsiteY5849" fmla="*/ 3224948 h 4687251"/>
              <a:gd name="connsiteX5850" fmla="*/ 7275174 w 8079933"/>
              <a:gd name="connsiteY5850" fmla="*/ 3221592 h 4687251"/>
              <a:gd name="connsiteX5851" fmla="*/ 7277778 w 8079933"/>
              <a:gd name="connsiteY5851" fmla="*/ 3220942 h 4687251"/>
              <a:gd name="connsiteX5852" fmla="*/ 7279948 w 8079933"/>
              <a:gd name="connsiteY5852" fmla="*/ 3221700 h 4687251"/>
              <a:gd name="connsiteX5853" fmla="*/ 7284614 w 8079933"/>
              <a:gd name="connsiteY5853" fmla="*/ 3219751 h 4687251"/>
              <a:gd name="connsiteX5854" fmla="*/ 7287653 w 8079933"/>
              <a:gd name="connsiteY5854" fmla="*/ 3219426 h 4687251"/>
              <a:gd name="connsiteX5855" fmla="*/ 7284181 w 8079933"/>
              <a:gd name="connsiteY5855" fmla="*/ 3218452 h 4687251"/>
              <a:gd name="connsiteX5856" fmla="*/ 7278972 w 8079933"/>
              <a:gd name="connsiteY5856" fmla="*/ 3219210 h 4687251"/>
              <a:gd name="connsiteX5857" fmla="*/ 7274740 w 8079933"/>
              <a:gd name="connsiteY5857" fmla="*/ 3217261 h 4687251"/>
              <a:gd name="connsiteX5858" fmla="*/ 7270725 w 8079933"/>
              <a:gd name="connsiteY5858" fmla="*/ 3214229 h 4687251"/>
              <a:gd name="connsiteX5859" fmla="*/ 7272027 w 8079933"/>
              <a:gd name="connsiteY5859" fmla="*/ 3211090 h 4687251"/>
              <a:gd name="connsiteX5860" fmla="*/ 7274198 w 8079933"/>
              <a:gd name="connsiteY5860" fmla="*/ 3210873 h 4687251"/>
              <a:gd name="connsiteX5861" fmla="*/ 7277887 w 8079933"/>
              <a:gd name="connsiteY5861" fmla="*/ 3211306 h 4687251"/>
              <a:gd name="connsiteX5862" fmla="*/ 7275934 w 8079933"/>
              <a:gd name="connsiteY5862" fmla="*/ 3208816 h 4687251"/>
              <a:gd name="connsiteX5863" fmla="*/ 7269748 w 8079933"/>
              <a:gd name="connsiteY5863" fmla="*/ 3204376 h 4687251"/>
              <a:gd name="connsiteX5864" fmla="*/ 7265624 w 8079933"/>
              <a:gd name="connsiteY5864" fmla="*/ 3201562 h 4687251"/>
              <a:gd name="connsiteX5865" fmla="*/ 7264213 w 8079933"/>
              <a:gd name="connsiteY5865" fmla="*/ 3198530 h 4687251"/>
              <a:gd name="connsiteX5866" fmla="*/ 7265408 w 8079933"/>
              <a:gd name="connsiteY5866" fmla="*/ 3193549 h 4687251"/>
              <a:gd name="connsiteX5867" fmla="*/ 7260091 w 8079933"/>
              <a:gd name="connsiteY5867" fmla="*/ 3188028 h 4687251"/>
              <a:gd name="connsiteX5868" fmla="*/ 7260091 w 8079933"/>
              <a:gd name="connsiteY5868" fmla="*/ 3185971 h 4687251"/>
              <a:gd name="connsiteX5869" fmla="*/ 7264973 w 8079933"/>
              <a:gd name="connsiteY5869" fmla="*/ 3181965 h 4687251"/>
              <a:gd name="connsiteX5870" fmla="*/ 7260415 w 8079933"/>
              <a:gd name="connsiteY5870" fmla="*/ 3182398 h 4687251"/>
              <a:gd name="connsiteX5871" fmla="*/ 7257702 w 8079933"/>
              <a:gd name="connsiteY5871" fmla="*/ 3180449 h 4687251"/>
              <a:gd name="connsiteX5872" fmla="*/ 7258679 w 8079933"/>
              <a:gd name="connsiteY5872" fmla="*/ 3178717 h 4687251"/>
              <a:gd name="connsiteX5873" fmla="*/ 7256834 w 8079933"/>
              <a:gd name="connsiteY5873" fmla="*/ 3176551 h 4687251"/>
              <a:gd name="connsiteX5874" fmla="*/ 7260307 w 8079933"/>
              <a:gd name="connsiteY5874" fmla="*/ 3173736 h 4687251"/>
              <a:gd name="connsiteX5875" fmla="*/ 7254772 w 8079933"/>
              <a:gd name="connsiteY5875" fmla="*/ 3174819 h 4687251"/>
              <a:gd name="connsiteX5876" fmla="*/ 7253254 w 8079933"/>
              <a:gd name="connsiteY5876" fmla="*/ 3172870 h 4687251"/>
              <a:gd name="connsiteX5877" fmla="*/ 7250649 w 8079933"/>
              <a:gd name="connsiteY5877" fmla="*/ 3173953 h 4687251"/>
              <a:gd name="connsiteX5878" fmla="*/ 7248804 w 8079933"/>
              <a:gd name="connsiteY5878" fmla="*/ 3172545 h 4687251"/>
              <a:gd name="connsiteX5879" fmla="*/ 7252711 w 8079933"/>
              <a:gd name="connsiteY5879" fmla="*/ 3167890 h 4687251"/>
              <a:gd name="connsiteX5880" fmla="*/ 7249238 w 8079933"/>
              <a:gd name="connsiteY5880" fmla="*/ 3169947 h 4687251"/>
              <a:gd name="connsiteX5881" fmla="*/ 7244898 w 8079933"/>
              <a:gd name="connsiteY5881" fmla="*/ 3170163 h 4687251"/>
              <a:gd name="connsiteX5882" fmla="*/ 7238604 w 8079933"/>
              <a:gd name="connsiteY5882" fmla="*/ 3167564 h 4687251"/>
              <a:gd name="connsiteX5883" fmla="*/ 7236868 w 8079933"/>
              <a:gd name="connsiteY5883" fmla="*/ 3163125 h 4687251"/>
              <a:gd name="connsiteX5884" fmla="*/ 7230248 w 8079933"/>
              <a:gd name="connsiteY5884" fmla="*/ 3160852 h 4687251"/>
              <a:gd name="connsiteX5885" fmla="*/ 7226125 w 8079933"/>
              <a:gd name="connsiteY5885" fmla="*/ 3161610 h 4687251"/>
              <a:gd name="connsiteX5886" fmla="*/ 7212017 w 8079933"/>
              <a:gd name="connsiteY5886" fmla="*/ 3157062 h 4687251"/>
              <a:gd name="connsiteX5887" fmla="*/ 7197367 w 8079933"/>
              <a:gd name="connsiteY5887" fmla="*/ 3152623 h 4687251"/>
              <a:gd name="connsiteX5888" fmla="*/ 7190206 w 8079933"/>
              <a:gd name="connsiteY5888" fmla="*/ 3152190 h 4687251"/>
              <a:gd name="connsiteX5889" fmla="*/ 7184563 w 8079933"/>
              <a:gd name="connsiteY5889" fmla="*/ 3149484 h 4687251"/>
              <a:gd name="connsiteX5890" fmla="*/ 7183369 w 8079933"/>
              <a:gd name="connsiteY5890" fmla="*/ 3147427 h 4687251"/>
              <a:gd name="connsiteX5891" fmla="*/ 7182826 w 8079933"/>
              <a:gd name="connsiteY5891" fmla="*/ 3145477 h 4687251"/>
              <a:gd name="connsiteX5892" fmla="*/ 7177726 w 8079933"/>
              <a:gd name="connsiteY5892" fmla="*/ 3144395 h 4687251"/>
              <a:gd name="connsiteX5893" fmla="*/ 7177943 w 8079933"/>
              <a:gd name="connsiteY5893" fmla="*/ 3140930 h 4687251"/>
              <a:gd name="connsiteX5894" fmla="*/ 7181416 w 8079933"/>
              <a:gd name="connsiteY5894" fmla="*/ 3140497 h 4687251"/>
              <a:gd name="connsiteX5895" fmla="*/ 7183369 w 8079933"/>
              <a:gd name="connsiteY5895" fmla="*/ 3140930 h 4687251"/>
              <a:gd name="connsiteX5896" fmla="*/ 7183043 w 8079933"/>
              <a:gd name="connsiteY5896" fmla="*/ 3139848 h 4687251"/>
              <a:gd name="connsiteX5897" fmla="*/ 7179570 w 8079933"/>
              <a:gd name="connsiteY5897" fmla="*/ 3139198 h 4687251"/>
              <a:gd name="connsiteX5898" fmla="*/ 7175447 w 8079933"/>
              <a:gd name="connsiteY5898" fmla="*/ 3140930 h 4687251"/>
              <a:gd name="connsiteX5899" fmla="*/ 7172300 w 8079933"/>
              <a:gd name="connsiteY5899" fmla="*/ 3139631 h 4687251"/>
              <a:gd name="connsiteX5900" fmla="*/ 7170672 w 8079933"/>
              <a:gd name="connsiteY5900" fmla="*/ 3137682 h 4687251"/>
              <a:gd name="connsiteX5901" fmla="*/ 7169370 w 8079933"/>
              <a:gd name="connsiteY5901" fmla="*/ 3137249 h 4687251"/>
              <a:gd name="connsiteX5902" fmla="*/ 7167308 w 8079933"/>
              <a:gd name="connsiteY5902" fmla="*/ 3139631 h 4687251"/>
              <a:gd name="connsiteX5903" fmla="*/ 7166332 w 8079933"/>
              <a:gd name="connsiteY5903" fmla="*/ 3134975 h 4687251"/>
              <a:gd name="connsiteX5904" fmla="*/ 7164486 w 8079933"/>
              <a:gd name="connsiteY5904" fmla="*/ 3133676 h 4687251"/>
              <a:gd name="connsiteX5905" fmla="*/ 7162642 w 8079933"/>
              <a:gd name="connsiteY5905" fmla="*/ 3134542 h 4687251"/>
              <a:gd name="connsiteX5906" fmla="*/ 7161449 w 8079933"/>
              <a:gd name="connsiteY5906" fmla="*/ 3136491 h 4687251"/>
              <a:gd name="connsiteX5907" fmla="*/ 7158736 w 8079933"/>
              <a:gd name="connsiteY5907" fmla="*/ 3133568 h 4687251"/>
              <a:gd name="connsiteX5908" fmla="*/ 7157325 w 8079933"/>
              <a:gd name="connsiteY5908" fmla="*/ 3127721 h 4687251"/>
              <a:gd name="connsiteX5909" fmla="*/ 7155154 w 8079933"/>
              <a:gd name="connsiteY5909" fmla="*/ 3122741 h 4687251"/>
              <a:gd name="connsiteX5910" fmla="*/ 7158084 w 8079933"/>
              <a:gd name="connsiteY5910" fmla="*/ 3118952 h 4687251"/>
              <a:gd name="connsiteX5911" fmla="*/ 7158084 w 8079933"/>
              <a:gd name="connsiteY5911" fmla="*/ 3113213 h 4687251"/>
              <a:gd name="connsiteX5912" fmla="*/ 7155697 w 8079933"/>
              <a:gd name="connsiteY5912" fmla="*/ 3117868 h 4687251"/>
              <a:gd name="connsiteX5913" fmla="*/ 7153852 w 8079933"/>
              <a:gd name="connsiteY5913" fmla="*/ 3123066 h 4687251"/>
              <a:gd name="connsiteX5914" fmla="*/ 7153092 w 8079933"/>
              <a:gd name="connsiteY5914" fmla="*/ 3126638 h 4687251"/>
              <a:gd name="connsiteX5915" fmla="*/ 7151031 w 8079933"/>
              <a:gd name="connsiteY5915" fmla="*/ 3127721 h 4687251"/>
              <a:gd name="connsiteX5916" fmla="*/ 7147450 w 8079933"/>
              <a:gd name="connsiteY5916" fmla="*/ 3134217 h 4687251"/>
              <a:gd name="connsiteX5917" fmla="*/ 7147993 w 8079933"/>
              <a:gd name="connsiteY5917" fmla="*/ 3138223 h 4687251"/>
              <a:gd name="connsiteX5918" fmla="*/ 7143109 w 8079933"/>
              <a:gd name="connsiteY5918" fmla="*/ 3144178 h 4687251"/>
              <a:gd name="connsiteX5919" fmla="*/ 7138334 w 8079933"/>
              <a:gd name="connsiteY5919" fmla="*/ 3145261 h 4687251"/>
              <a:gd name="connsiteX5920" fmla="*/ 7133994 w 8079933"/>
              <a:gd name="connsiteY5920" fmla="*/ 3143854 h 4687251"/>
              <a:gd name="connsiteX5921" fmla="*/ 7130413 w 8079933"/>
              <a:gd name="connsiteY5921" fmla="*/ 3135733 h 4687251"/>
              <a:gd name="connsiteX5922" fmla="*/ 7130522 w 8079933"/>
              <a:gd name="connsiteY5922" fmla="*/ 3132810 h 4687251"/>
              <a:gd name="connsiteX5923" fmla="*/ 7132583 w 8079933"/>
              <a:gd name="connsiteY5923" fmla="*/ 3131944 h 4687251"/>
              <a:gd name="connsiteX5924" fmla="*/ 7133126 w 8079933"/>
              <a:gd name="connsiteY5924" fmla="*/ 3128695 h 4687251"/>
              <a:gd name="connsiteX5925" fmla="*/ 7132475 w 8079933"/>
              <a:gd name="connsiteY5925" fmla="*/ 3125448 h 4687251"/>
              <a:gd name="connsiteX5926" fmla="*/ 7129545 w 8079933"/>
              <a:gd name="connsiteY5926" fmla="*/ 3126422 h 4687251"/>
              <a:gd name="connsiteX5927" fmla="*/ 7127809 w 8079933"/>
              <a:gd name="connsiteY5927" fmla="*/ 3124797 h 4687251"/>
              <a:gd name="connsiteX5928" fmla="*/ 7125421 w 8079933"/>
              <a:gd name="connsiteY5928" fmla="*/ 3118952 h 4687251"/>
              <a:gd name="connsiteX5929" fmla="*/ 7121080 w 8079933"/>
              <a:gd name="connsiteY5929" fmla="*/ 3116677 h 4687251"/>
              <a:gd name="connsiteX5930" fmla="*/ 7115546 w 8079933"/>
              <a:gd name="connsiteY5930" fmla="*/ 3115811 h 4687251"/>
              <a:gd name="connsiteX5931" fmla="*/ 7113809 w 8079933"/>
              <a:gd name="connsiteY5931" fmla="*/ 3113429 h 4687251"/>
              <a:gd name="connsiteX5932" fmla="*/ 7116739 w 8079933"/>
              <a:gd name="connsiteY5932" fmla="*/ 3109856 h 4687251"/>
              <a:gd name="connsiteX5933" fmla="*/ 7122491 w 8079933"/>
              <a:gd name="connsiteY5933" fmla="*/ 3109315 h 4687251"/>
              <a:gd name="connsiteX5934" fmla="*/ 7124336 w 8079933"/>
              <a:gd name="connsiteY5934" fmla="*/ 3111156 h 4687251"/>
              <a:gd name="connsiteX5935" fmla="*/ 7129328 w 8079933"/>
              <a:gd name="connsiteY5935" fmla="*/ 3111697 h 4687251"/>
              <a:gd name="connsiteX5936" fmla="*/ 7133018 w 8079933"/>
              <a:gd name="connsiteY5936" fmla="*/ 3113538 h 4687251"/>
              <a:gd name="connsiteX5937" fmla="*/ 7137575 w 8079933"/>
              <a:gd name="connsiteY5937" fmla="*/ 3110831 h 4687251"/>
              <a:gd name="connsiteX5938" fmla="*/ 7139203 w 8079933"/>
              <a:gd name="connsiteY5938" fmla="*/ 3105201 h 4687251"/>
              <a:gd name="connsiteX5939" fmla="*/ 7142783 w 8079933"/>
              <a:gd name="connsiteY5939" fmla="*/ 3104010 h 4687251"/>
              <a:gd name="connsiteX5940" fmla="*/ 7150163 w 8079933"/>
              <a:gd name="connsiteY5940" fmla="*/ 3107366 h 4687251"/>
              <a:gd name="connsiteX5941" fmla="*/ 7153092 w 8079933"/>
              <a:gd name="connsiteY5941" fmla="*/ 3111697 h 4687251"/>
              <a:gd name="connsiteX5942" fmla="*/ 7155154 w 8079933"/>
              <a:gd name="connsiteY5942" fmla="*/ 3107042 h 4687251"/>
              <a:gd name="connsiteX5943" fmla="*/ 7157759 w 8079933"/>
              <a:gd name="connsiteY5943" fmla="*/ 3103577 h 4687251"/>
              <a:gd name="connsiteX5944" fmla="*/ 7160146 w 8079933"/>
              <a:gd name="connsiteY5944" fmla="*/ 3104443 h 4687251"/>
              <a:gd name="connsiteX5945" fmla="*/ 7160906 w 8079933"/>
              <a:gd name="connsiteY5945" fmla="*/ 3099354 h 4687251"/>
              <a:gd name="connsiteX5946" fmla="*/ 7159495 w 8079933"/>
              <a:gd name="connsiteY5946" fmla="*/ 3096214 h 4687251"/>
              <a:gd name="connsiteX5947" fmla="*/ 7147450 w 8079933"/>
              <a:gd name="connsiteY5947" fmla="*/ 3094807 h 4687251"/>
              <a:gd name="connsiteX5948" fmla="*/ 7149186 w 8079933"/>
              <a:gd name="connsiteY5948" fmla="*/ 3097297 h 4687251"/>
              <a:gd name="connsiteX5949" fmla="*/ 7146256 w 8079933"/>
              <a:gd name="connsiteY5949" fmla="*/ 3097947 h 4687251"/>
              <a:gd name="connsiteX5950" fmla="*/ 7143869 w 8079933"/>
              <a:gd name="connsiteY5950" fmla="*/ 3097297 h 4687251"/>
              <a:gd name="connsiteX5951" fmla="*/ 7136381 w 8079933"/>
              <a:gd name="connsiteY5951" fmla="*/ 3098813 h 4687251"/>
              <a:gd name="connsiteX5952" fmla="*/ 7133451 w 8079933"/>
              <a:gd name="connsiteY5952" fmla="*/ 3097838 h 4687251"/>
              <a:gd name="connsiteX5953" fmla="*/ 7130738 w 8079933"/>
              <a:gd name="connsiteY5953" fmla="*/ 3099138 h 4687251"/>
              <a:gd name="connsiteX5954" fmla="*/ 7127809 w 8079933"/>
              <a:gd name="connsiteY5954" fmla="*/ 3097405 h 4687251"/>
              <a:gd name="connsiteX5955" fmla="*/ 7123468 w 8079933"/>
              <a:gd name="connsiteY5955" fmla="*/ 3098488 h 4687251"/>
              <a:gd name="connsiteX5956" fmla="*/ 7119019 w 8079933"/>
              <a:gd name="connsiteY5956" fmla="*/ 3097838 h 4687251"/>
              <a:gd name="connsiteX5957" fmla="*/ 7114027 w 8079933"/>
              <a:gd name="connsiteY5957" fmla="*/ 3093616 h 4687251"/>
              <a:gd name="connsiteX5958" fmla="*/ 7112616 w 8079933"/>
              <a:gd name="connsiteY5958" fmla="*/ 3088203 h 4687251"/>
              <a:gd name="connsiteX5959" fmla="*/ 7113701 w 8079933"/>
              <a:gd name="connsiteY5959" fmla="*/ 3086795 h 4687251"/>
              <a:gd name="connsiteX5960" fmla="*/ 7111096 w 8079933"/>
              <a:gd name="connsiteY5960" fmla="*/ 3082356 h 4687251"/>
              <a:gd name="connsiteX5961" fmla="*/ 7104368 w 8079933"/>
              <a:gd name="connsiteY5961" fmla="*/ 3078566 h 4687251"/>
              <a:gd name="connsiteX5962" fmla="*/ 7101764 w 8079933"/>
              <a:gd name="connsiteY5962" fmla="*/ 3075751 h 4687251"/>
              <a:gd name="connsiteX5963" fmla="*/ 7100462 w 8079933"/>
              <a:gd name="connsiteY5963" fmla="*/ 3077700 h 4687251"/>
              <a:gd name="connsiteX5964" fmla="*/ 7096556 w 8079933"/>
              <a:gd name="connsiteY5964" fmla="*/ 3079757 h 4687251"/>
              <a:gd name="connsiteX5965" fmla="*/ 7091130 w 8079933"/>
              <a:gd name="connsiteY5965" fmla="*/ 3078891 h 4687251"/>
              <a:gd name="connsiteX5966" fmla="*/ 7091998 w 8079933"/>
              <a:gd name="connsiteY5966" fmla="*/ 3075968 h 4687251"/>
              <a:gd name="connsiteX5967" fmla="*/ 7097641 w 8079933"/>
              <a:gd name="connsiteY5967" fmla="*/ 3072287 h 4687251"/>
              <a:gd name="connsiteX5968" fmla="*/ 7098184 w 8079933"/>
              <a:gd name="connsiteY5968" fmla="*/ 3068930 h 4687251"/>
              <a:gd name="connsiteX5969" fmla="*/ 7096448 w 8079933"/>
              <a:gd name="connsiteY5969" fmla="*/ 3065790 h 4687251"/>
              <a:gd name="connsiteX5970" fmla="*/ 7100028 w 8079933"/>
              <a:gd name="connsiteY5970" fmla="*/ 3062759 h 4687251"/>
              <a:gd name="connsiteX5971" fmla="*/ 7106648 w 8079933"/>
              <a:gd name="connsiteY5971" fmla="*/ 3062542 h 4687251"/>
              <a:gd name="connsiteX5972" fmla="*/ 7109903 w 8079933"/>
              <a:gd name="connsiteY5972" fmla="*/ 3059402 h 4687251"/>
              <a:gd name="connsiteX5973" fmla="*/ 7113701 w 8079933"/>
              <a:gd name="connsiteY5973" fmla="*/ 3058428 h 4687251"/>
              <a:gd name="connsiteX5974" fmla="*/ 7119887 w 8079933"/>
              <a:gd name="connsiteY5974" fmla="*/ 3053555 h 4687251"/>
              <a:gd name="connsiteX5975" fmla="*/ 7121732 w 8079933"/>
              <a:gd name="connsiteY5975" fmla="*/ 3051932 h 4687251"/>
              <a:gd name="connsiteX5976" fmla="*/ 2175088 w 8079933"/>
              <a:gd name="connsiteY5976" fmla="*/ 3049692 h 4687251"/>
              <a:gd name="connsiteX5977" fmla="*/ 2179882 w 8079933"/>
              <a:gd name="connsiteY5977" fmla="*/ 3055396 h 4687251"/>
              <a:gd name="connsiteX5978" fmla="*/ 2179882 w 8079933"/>
              <a:gd name="connsiteY5978" fmla="*/ 3055395 h 4687251"/>
              <a:gd name="connsiteX5979" fmla="*/ 2744493 w 8079933"/>
              <a:gd name="connsiteY5979" fmla="*/ 3049549 h 4687251"/>
              <a:gd name="connsiteX5980" fmla="*/ 2745578 w 8079933"/>
              <a:gd name="connsiteY5980" fmla="*/ 3050632 h 4687251"/>
              <a:gd name="connsiteX5981" fmla="*/ 2744384 w 8079933"/>
              <a:gd name="connsiteY5981" fmla="*/ 3053663 h 4687251"/>
              <a:gd name="connsiteX5982" fmla="*/ 2740803 w 8079933"/>
              <a:gd name="connsiteY5982" fmla="*/ 3054421 h 4687251"/>
              <a:gd name="connsiteX5983" fmla="*/ 2739393 w 8079933"/>
              <a:gd name="connsiteY5983" fmla="*/ 3053988 h 4687251"/>
              <a:gd name="connsiteX5984" fmla="*/ 2741238 w 8079933"/>
              <a:gd name="connsiteY5984" fmla="*/ 3051606 h 4687251"/>
              <a:gd name="connsiteX5985" fmla="*/ 6458476 w 8079933"/>
              <a:gd name="connsiteY5985" fmla="*/ 3045868 h 4687251"/>
              <a:gd name="connsiteX5986" fmla="*/ 6462383 w 8079933"/>
              <a:gd name="connsiteY5986" fmla="*/ 3046842 h 4687251"/>
              <a:gd name="connsiteX5987" fmla="*/ 6469545 w 8079933"/>
              <a:gd name="connsiteY5987" fmla="*/ 3053555 h 4687251"/>
              <a:gd name="connsiteX5988" fmla="*/ 6467700 w 8079933"/>
              <a:gd name="connsiteY5988" fmla="*/ 3055179 h 4687251"/>
              <a:gd name="connsiteX5989" fmla="*/ 6462166 w 8079933"/>
              <a:gd name="connsiteY5989" fmla="*/ 3052147 h 4687251"/>
              <a:gd name="connsiteX5990" fmla="*/ 6458259 w 8079933"/>
              <a:gd name="connsiteY5990" fmla="*/ 3053446 h 4687251"/>
              <a:gd name="connsiteX5991" fmla="*/ 6455872 w 8079933"/>
              <a:gd name="connsiteY5991" fmla="*/ 3050523 h 4687251"/>
              <a:gd name="connsiteX5992" fmla="*/ 2283282 w 8079933"/>
              <a:gd name="connsiteY5992" fmla="*/ 3044228 h 4687251"/>
              <a:gd name="connsiteX5993" fmla="*/ 2283299 w 8079933"/>
              <a:gd name="connsiteY5993" fmla="*/ 3044568 h 4687251"/>
              <a:gd name="connsiteX5994" fmla="*/ 2287422 w 8079933"/>
              <a:gd name="connsiteY5994" fmla="*/ 3049873 h 4687251"/>
              <a:gd name="connsiteX5995" fmla="*/ 2295748 w 8079933"/>
              <a:gd name="connsiteY5995" fmla="*/ 3056279 h 4687251"/>
              <a:gd name="connsiteX5996" fmla="*/ 2294801 w 8079933"/>
              <a:gd name="connsiteY5996" fmla="*/ 3054529 h 4687251"/>
              <a:gd name="connsiteX5997" fmla="*/ 2285903 w 8079933"/>
              <a:gd name="connsiteY5997" fmla="*/ 3047599 h 4687251"/>
              <a:gd name="connsiteX5998" fmla="*/ 7086680 w 8079933"/>
              <a:gd name="connsiteY5998" fmla="*/ 3044027 h 4687251"/>
              <a:gd name="connsiteX5999" fmla="*/ 7094711 w 8079933"/>
              <a:gd name="connsiteY5999" fmla="*/ 3044027 h 4687251"/>
              <a:gd name="connsiteX6000" fmla="*/ 7100462 w 8079933"/>
              <a:gd name="connsiteY6000" fmla="*/ 3047492 h 4687251"/>
              <a:gd name="connsiteX6001" fmla="*/ 7101331 w 8079933"/>
              <a:gd name="connsiteY6001" fmla="*/ 3050739 h 4687251"/>
              <a:gd name="connsiteX6002" fmla="*/ 7097424 w 8079933"/>
              <a:gd name="connsiteY6002" fmla="*/ 3052147 h 4687251"/>
              <a:gd name="connsiteX6003" fmla="*/ 7094385 w 8079933"/>
              <a:gd name="connsiteY6003" fmla="*/ 3051064 h 4687251"/>
              <a:gd name="connsiteX6004" fmla="*/ 7087440 w 8079933"/>
              <a:gd name="connsiteY6004" fmla="*/ 3047167 h 4687251"/>
              <a:gd name="connsiteX6005" fmla="*/ 7085812 w 8079933"/>
              <a:gd name="connsiteY6005" fmla="*/ 3048141 h 4687251"/>
              <a:gd name="connsiteX6006" fmla="*/ 7086464 w 8079933"/>
              <a:gd name="connsiteY6006" fmla="*/ 3049116 h 4687251"/>
              <a:gd name="connsiteX6007" fmla="*/ 7090262 w 8079933"/>
              <a:gd name="connsiteY6007" fmla="*/ 3050739 h 4687251"/>
              <a:gd name="connsiteX6008" fmla="*/ 7090370 w 8079933"/>
              <a:gd name="connsiteY6008" fmla="*/ 3052689 h 4687251"/>
              <a:gd name="connsiteX6009" fmla="*/ 7086464 w 8079933"/>
              <a:gd name="connsiteY6009" fmla="*/ 3053338 h 4687251"/>
              <a:gd name="connsiteX6010" fmla="*/ 7082014 w 8079933"/>
              <a:gd name="connsiteY6010" fmla="*/ 3051281 h 4687251"/>
              <a:gd name="connsiteX6011" fmla="*/ 7075069 w 8079933"/>
              <a:gd name="connsiteY6011" fmla="*/ 3050306 h 4687251"/>
              <a:gd name="connsiteX6012" fmla="*/ 7078325 w 8079933"/>
              <a:gd name="connsiteY6012" fmla="*/ 3049332 h 4687251"/>
              <a:gd name="connsiteX6013" fmla="*/ 7076806 w 8079933"/>
              <a:gd name="connsiteY6013" fmla="*/ 3047708 h 4687251"/>
              <a:gd name="connsiteX6014" fmla="*/ 7078325 w 8079933"/>
              <a:gd name="connsiteY6014" fmla="*/ 3046842 h 4687251"/>
              <a:gd name="connsiteX6015" fmla="*/ 7083099 w 8079933"/>
              <a:gd name="connsiteY6015" fmla="*/ 3046733 h 4687251"/>
              <a:gd name="connsiteX6016" fmla="*/ 7046637 w 8079933"/>
              <a:gd name="connsiteY6016" fmla="*/ 3041429 h 4687251"/>
              <a:gd name="connsiteX6017" fmla="*/ 7055752 w 8079933"/>
              <a:gd name="connsiteY6017" fmla="*/ 3045976 h 4687251"/>
              <a:gd name="connsiteX6018" fmla="*/ 7056403 w 8079933"/>
              <a:gd name="connsiteY6018" fmla="*/ 3048358 h 4687251"/>
              <a:gd name="connsiteX6019" fmla="*/ 7049892 w 8079933"/>
              <a:gd name="connsiteY6019" fmla="*/ 3044894 h 4687251"/>
              <a:gd name="connsiteX6020" fmla="*/ 2748509 w 8079933"/>
              <a:gd name="connsiteY6020" fmla="*/ 3040346 h 4687251"/>
              <a:gd name="connsiteX6021" fmla="*/ 2749485 w 8079933"/>
              <a:gd name="connsiteY6021" fmla="*/ 3042187 h 4687251"/>
              <a:gd name="connsiteX6022" fmla="*/ 2745470 w 8079933"/>
              <a:gd name="connsiteY6022" fmla="*/ 3046409 h 4687251"/>
              <a:gd name="connsiteX6023" fmla="*/ 2742974 w 8079933"/>
              <a:gd name="connsiteY6023" fmla="*/ 3046626 h 4687251"/>
              <a:gd name="connsiteX6024" fmla="*/ 2737657 w 8079933"/>
              <a:gd name="connsiteY6024" fmla="*/ 3051714 h 4687251"/>
              <a:gd name="connsiteX6025" fmla="*/ 2736898 w 8079933"/>
              <a:gd name="connsiteY6025" fmla="*/ 3053447 h 4687251"/>
              <a:gd name="connsiteX6026" fmla="*/ 2735053 w 8079933"/>
              <a:gd name="connsiteY6026" fmla="*/ 3053880 h 4687251"/>
              <a:gd name="connsiteX6027" fmla="*/ 2737874 w 8079933"/>
              <a:gd name="connsiteY6027" fmla="*/ 3046193 h 4687251"/>
              <a:gd name="connsiteX6028" fmla="*/ 2742323 w 8079933"/>
              <a:gd name="connsiteY6028" fmla="*/ 3041645 h 4687251"/>
              <a:gd name="connsiteX6029" fmla="*/ 2744602 w 8079933"/>
              <a:gd name="connsiteY6029" fmla="*/ 3040670 h 4687251"/>
              <a:gd name="connsiteX6030" fmla="*/ 2746772 w 8079933"/>
              <a:gd name="connsiteY6030" fmla="*/ 3040887 h 4687251"/>
              <a:gd name="connsiteX6031" fmla="*/ 4270369 w 8079933"/>
              <a:gd name="connsiteY6031" fmla="*/ 3040178 h 4687251"/>
              <a:gd name="connsiteX6032" fmla="*/ 4271865 w 8079933"/>
              <a:gd name="connsiteY6032" fmla="*/ 3041970 h 4687251"/>
              <a:gd name="connsiteX6033" fmla="*/ 4272733 w 8079933"/>
              <a:gd name="connsiteY6033" fmla="*/ 3043919 h 4687251"/>
              <a:gd name="connsiteX6034" fmla="*/ 4275555 w 8079933"/>
              <a:gd name="connsiteY6034" fmla="*/ 3045218 h 4687251"/>
              <a:gd name="connsiteX6035" fmla="*/ 4276423 w 8079933"/>
              <a:gd name="connsiteY6035" fmla="*/ 3047384 h 4687251"/>
              <a:gd name="connsiteX6036" fmla="*/ 4280112 w 8079933"/>
              <a:gd name="connsiteY6036" fmla="*/ 3050415 h 4687251"/>
              <a:gd name="connsiteX6037" fmla="*/ 4280988 w 8079933"/>
              <a:gd name="connsiteY6037" fmla="*/ 3052685 h 4687251"/>
              <a:gd name="connsiteX6038" fmla="*/ 4280113 w 8079933"/>
              <a:gd name="connsiteY6038" fmla="*/ 3050414 h 4687251"/>
              <a:gd name="connsiteX6039" fmla="*/ 4276423 w 8079933"/>
              <a:gd name="connsiteY6039" fmla="*/ 3047382 h 4687251"/>
              <a:gd name="connsiteX6040" fmla="*/ 4275555 w 8079933"/>
              <a:gd name="connsiteY6040" fmla="*/ 3045218 h 4687251"/>
              <a:gd name="connsiteX6041" fmla="*/ 4272733 w 8079933"/>
              <a:gd name="connsiteY6041" fmla="*/ 3043918 h 4687251"/>
              <a:gd name="connsiteX6042" fmla="*/ 4271865 w 8079933"/>
              <a:gd name="connsiteY6042" fmla="*/ 3041969 h 4687251"/>
              <a:gd name="connsiteX6043" fmla="*/ 2156117 w 8079933"/>
              <a:gd name="connsiteY6043" fmla="*/ 3040129 h 4687251"/>
              <a:gd name="connsiteX6044" fmla="*/ 2154381 w 8079933"/>
              <a:gd name="connsiteY6044" fmla="*/ 3040237 h 4687251"/>
              <a:gd name="connsiteX6045" fmla="*/ 2154381 w 8079933"/>
              <a:gd name="connsiteY6045" fmla="*/ 3040238 h 4687251"/>
              <a:gd name="connsiteX6046" fmla="*/ 2156117 w 8079933"/>
              <a:gd name="connsiteY6046" fmla="*/ 3040130 h 4687251"/>
              <a:gd name="connsiteX6047" fmla="*/ 2158938 w 8079933"/>
              <a:gd name="connsiteY6047" fmla="*/ 3042836 h 4687251"/>
              <a:gd name="connsiteX6048" fmla="*/ 2167511 w 8079933"/>
              <a:gd name="connsiteY6048" fmla="*/ 3044893 h 4687251"/>
              <a:gd name="connsiteX6049" fmla="*/ 2172828 w 8079933"/>
              <a:gd name="connsiteY6049" fmla="*/ 3046085 h 4687251"/>
              <a:gd name="connsiteX6050" fmla="*/ 2173991 w 8079933"/>
              <a:gd name="connsiteY6050" fmla="*/ 3048226 h 4687251"/>
              <a:gd name="connsiteX6051" fmla="*/ 2172828 w 8079933"/>
              <a:gd name="connsiteY6051" fmla="*/ 3046084 h 4687251"/>
              <a:gd name="connsiteX6052" fmla="*/ 2167511 w 8079933"/>
              <a:gd name="connsiteY6052" fmla="*/ 3044893 h 4687251"/>
              <a:gd name="connsiteX6053" fmla="*/ 2158938 w 8079933"/>
              <a:gd name="connsiteY6053" fmla="*/ 3042835 h 4687251"/>
              <a:gd name="connsiteX6054" fmla="*/ 6313824 w 8079933"/>
              <a:gd name="connsiteY6054" fmla="*/ 3038073 h 4687251"/>
              <a:gd name="connsiteX6055" fmla="*/ 6319467 w 8079933"/>
              <a:gd name="connsiteY6055" fmla="*/ 3040022 h 4687251"/>
              <a:gd name="connsiteX6056" fmla="*/ 6318924 w 8079933"/>
              <a:gd name="connsiteY6056" fmla="*/ 3043162 h 4687251"/>
              <a:gd name="connsiteX6057" fmla="*/ 6316862 w 8079933"/>
              <a:gd name="connsiteY6057" fmla="*/ 3041646 h 4687251"/>
              <a:gd name="connsiteX6058" fmla="*/ 6311220 w 8079933"/>
              <a:gd name="connsiteY6058" fmla="*/ 3041538 h 4687251"/>
              <a:gd name="connsiteX6059" fmla="*/ 2778785 w 8079933"/>
              <a:gd name="connsiteY6059" fmla="*/ 3037098 h 4687251"/>
              <a:gd name="connsiteX6060" fmla="*/ 2781389 w 8079933"/>
              <a:gd name="connsiteY6060" fmla="*/ 3039155 h 4687251"/>
              <a:gd name="connsiteX6061" fmla="*/ 2779762 w 8079933"/>
              <a:gd name="connsiteY6061" fmla="*/ 3041862 h 4687251"/>
              <a:gd name="connsiteX6062" fmla="*/ 2774336 w 8079933"/>
              <a:gd name="connsiteY6062" fmla="*/ 3042187 h 4687251"/>
              <a:gd name="connsiteX6063" fmla="*/ 2770864 w 8079933"/>
              <a:gd name="connsiteY6063" fmla="*/ 3040887 h 4687251"/>
              <a:gd name="connsiteX6064" fmla="*/ 2774444 w 8079933"/>
              <a:gd name="connsiteY6064" fmla="*/ 3039372 h 4687251"/>
              <a:gd name="connsiteX6065" fmla="*/ 2775530 w 8079933"/>
              <a:gd name="connsiteY6065" fmla="*/ 3037314 h 4687251"/>
              <a:gd name="connsiteX6066" fmla="*/ 2752090 w 8079933"/>
              <a:gd name="connsiteY6066" fmla="*/ 3033525 h 4687251"/>
              <a:gd name="connsiteX6067" fmla="*/ 2755020 w 8079933"/>
              <a:gd name="connsiteY6067" fmla="*/ 3034933 h 4687251"/>
              <a:gd name="connsiteX6068" fmla="*/ 2755671 w 8079933"/>
              <a:gd name="connsiteY6068" fmla="*/ 3036882 h 4687251"/>
              <a:gd name="connsiteX6069" fmla="*/ 2755454 w 8079933"/>
              <a:gd name="connsiteY6069" fmla="*/ 3039156 h 4687251"/>
              <a:gd name="connsiteX6070" fmla="*/ 2753066 w 8079933"/>
              <a:gd name="connsiteY6070" fmla="*/ 3038289 h 4687251"/>
              <a:gd name="connsiteX6071" fmla="*/ 2751656 w 8079933"/>
              <a:gd name="connsiteY6071" fmla="*/ 3036232 h 4687251"/>
              <a:gd name="connsiteX6072" fmla="*/ 2104572 w 8079933"/>
              <a:gd name="connsiteY6072" fmla="*/ 3032225 h 4687251"/>
              <a:gd name="connsiteX6073" fmla="*/ 2104572 w 8079933"/>
              <a:gd name="connsiteY6073" fmla="*/ 3032226 h 4687251"/>
              <a:gd name="connsiteX6074" fmla="*/ 2111951 w 8079933"/>
              <a:gd name="connsiteY6074" fmla="*/ 3032875 h 4687251"/>
              <a:gd name="connsiteX6075" fmla="*/ 2120307 w 8079933"/>
              <a:gd name="connsiteY6075" fmla="*/ 3036989 h 4687251"/>
              <a:gd name="connsiteX6076" fmla="*/ 2121133 w 8079933"/>
              <a:gd name="connsiteY6076" fmla="*/ 3037560 h 4687251"/>
              <a:gd name="connsiteX6077" fmla="*/ 2120306 w 8079933"/>
              <a:gd name="connsiteY6077" fmla="*/ 3036989 h 4687251"/>
              <a:gd name="connsiteX6078" fmla="*/ 2111950 w 8079933"/>
              <a:gd name="connsiteY6078" fmla="*/ 3032874 h 4687251"/>
              <a:gd name="connsiteX6079" fmla="*/ 4753951 w 8079933"/>
              <a:gd name="connsiteY6079" fmla="*/ 3031900 h 4687251"/>
              <a:gd name="connsiteX6080" fmla="*/ 4753463 w 8079933"/>
              <a:gd name="connsiteY6080" fmla="*/ 3035256 h 4687251"/>
              <a:gd name="connsiteX6081" fmla="*/ 4747169 w 8079933"/>
              <a:gd name="connsiteY6081" fmla="*/ 3058534 h 4687251"/>
              <a:gd name="connsiteX6082" fmla="*/ 4714180 w 8079933"/>
              <a:gd name="connsiteY6082" fmla="*/ 3060267 h 4687251"/>
              <a:gd name="connsiteX6083" fmla="*/ 4696492 w 8079933"/>
              <a:gd name="connsiteY6083" fmla="*/ 3060809 h 4687251"/>
              <a:gd name="connsiteX6084" fmla="*/ 4696508 w 8079933"/>
              <a:gd name="connsiteY6084" fmla="*/ 3060809 h 4687251"/>
              <a:gd name="connsiteX6085" fmla="*/ 4714180 w 8079933"/>
              <a:gd name="connsiteY6085" fmla="*/ 3060268 h 4687251"/>
              <a:gd name="connsiteX6086" fmla="*/ 4704956 w 8079933"/>
              <a:gd name="connsiteY6086" fmla="*/ 3060809 h 4687251"/>
              <a:gd name="connsiteX6087" fmla="*/ 4704815 w 8079933"/>
              <a:gd name="connsiteY6087" fmla="*/ 3060809 h 4687251"/>
              <a:gd name="connsiteX6088" fmla="*/ 4675874 w 8079933"/>
              <a:gd name="connsiteY6088" fmla="*/ 3060917 h 4687251"/>
              <a:gd name="connsiteX6089" fmla="*/ 4695949 w 8079933"/>
              <a:gd name="connsiteY6089" fmla="*/ 3060809 h 4687251"/>
              <a:gd name="connsiteX6090" fmla="*/ 4695948 w 8079933"/>
              <a:gd name="connsiteY6090" fmla="*/ 3060809 h 4687251"/>
              <a:gd name="connsiteX6091" fmla="*/ 4675873 w 8079933"/>
              <a:gd name="connsiteY6091" fmla="*/ 3060916 h 4687251"/>
              <a:gd name="connsiteX6092" fmla="*/ 4673812 w 8079933"/>
              <a:gd name="connsiteY6092" fmla="*/ 3062973 h 4687251"/>
              <a:gd name="connsiteX6093" fmla="*/ 4671641 w 8079933"/>
              <a:gd name="connsiteY6093" fmla="*/ 3062540 h 4687251"/>
              <a:gd name="connsiteX6094" fmla="*/ 4670230 w 8079933"/>
              <a:gd name="connsiteY6094" fmla="*/ 3064381 h 4687251"/>
              <a:gd name="connsiteX6095" fmla="*/ 4670091 w 8079933"/>
              <a:gd name="connsiteY6095" fmla="*/ 3064183 h 4687251"/>
              <a:gd name="connsiteX6096" fmla="*/ 4670231 w 8079933"/>
              <a:gd name="connsiteY6096" fmla="*/ 3064382 h 4687251"/>
              <a:gd name="connsiteX6097" fmla="*/ 4670231 w 8079933"/>
              <a:gd name="connsiteY6097" fmla="*/ 3064382 h 4687251"/>
              <a:gd name="connsiteX6098" fmla="*/ 4671642 w 8079933"/>
              <a:gd name="connsiteY6098" fmla="*/ 3062542 h 4687251"/>
              <a:gd name="connsiteX6099" fmla="*/ 4673812 w 8079933"/>
              <a:gd name="connsiteY6099" fmla="*/ 3062975 h 4687251"/>
              <a:gd name="connsiteX6100" fmla="*/ 4675874 w 8079933"/>
              <a:gd name="connsiteY6100" fmla="*/ 3060918 h 4687251"/>
              <a:gd name="connsiteX6101" fmla="*/ 4704956 w 8079933"/>
              <a:gd name="connsiteY6101" fmla="*/ 3060809 h 4687251"/>
              <a:gd name="connsiteX6102" fmla="*/ 4714180 w 8079933"/>
              <a:gd name="connsiteY6102" fmla="*/ 3060268 h 4687251"/>
              <a:gd name="connsiteX6103" fmla="*/ 4747169 w 8079933"/>
              <a:gd name="connsiteY6103" fmla="*/ 3058536 h 4687251"/>
              <a:gd name="connsiteX6104" fmla="*/ 4753897 w 8079933"/>
              <a:gd name="connsiteY6104" fmla="*/ 3058103 h 4687251"/>
              <a:gd name="connsiteX6105" fmla="*/ 4841687 w 8079933"/>
              <a:gd name="connsiteY6105" fmla="*/ 3109315 h 4687251"/>
              <a:gd name="connsiteX6106" fmla="*/ 4843010 w 8079933"/>
              <a:gd name="connsiteY6106" fmla="*/ 3111486 h 4687251"/>
              <a:gd name="connsiteX6107" fmla="*/ 4841687 w 8079933"/>
              <a:gd name="connsiteY6107" fmla="*/ 3109314 h 4687251"/>
              <a:gd name="connsiteX6108" fmla="*/ 4753897 w 8079933"/>
              <a:gd name="connsiteY6108" fmla="*/ 3058102 h 4687251"/>
              <a:gd name="connsiteX6109" fmla="*/ 4747169 w 8079933"/>
              <a:gd name="connsiteY6109" fmla="*/ 3058535 h 4687251"/>
              <a:gd name="connsiteX6110" fmla="*/ 4753463 w 8079933"/>
              <a:gd name="connsiteY6110" fmla="*/ 3035256 h 4687251"/>
              <a:gd name="connsiteX6111" fmla="*/ 4366483 w 8079933"/>
              <a:gd name="connsiteY6111" fmla="*/ 3031789 h 4687251"/>
              <a:gd name="connsiteX6112" fmla="*/ 4363996 w 8079933"/>
              <a:gd name="connsiteY6112" fmla="*/ 3032874 h 4687251"/>
              <a:gd name="connsiteX6113" fmla="*/ 4361934 w 8079933"/>
              <a:gd name="connsiteY6113" fmla="*/ 3040778 h 4687251"/>
              <a:gd name="connsiteX6114" fmla="*/ 4361826 w 8079933"/>
              <a:gd name="connsiteY6114" fmla="*/ 3048898 h 4687251"/>
              <a:gd name="connsiteX6115" fmla="*/ 4354230 w 8079933"/>
              <a:gd name="connsiteY6115" fmla="*/ 3061349 h 4687251"/>
              <a:gd name="connsiteX6116" fmla="*/ 4349563 w 8079933"/>
              <a:gd name="connsiteY6116" fmla="*/ 3062649 h 4687251"/>
              <a:gd name="connsiteX6117" fmla="*/ 4345439 w 8079933"/>
              <a:gd name="connsiteY6117" fmla="*/ 3065897 h 4687251"/>
              <a:gd name="connsiteX6118" fmla="*/ 4345440 w 8079933"/>
              <a:gd name="connsiteY6118" fmla="*/ 3065897 h 4687251"/>
              <a:gd name="connsiteX6119" fmla="*/ 4349563 w 8079933"/>
              <a:gd name="connsiteY6119" fmla="*/ 3062649 h 4687251"/>
              <a:gd name="connsiteX6120" fmla="*/ 4354230 w 8079933"/>
              <a:gd name="connsiteY6120" fmla="*/ 3061350 h 4687251"/>
              <a:gd name="connsiteX6121" fmla="*/ 4361826 w 8079933"/>
              <a:gd name="connsiteY6121" fmla="*/ 3048899 h 4687251"/>
              <a:gd name="connsiteX6122" fmla="*/ 4361934 w 8079933"/>
              <a:gd name="connsiteY6122" fmla="*/ 3040779 h 4687251"/>
              <a:gd name="connsiteX6123" fmla="*/ 4363996 w 8079933"/>
              <a:gd name="connsiteY6123" fmla="*/ 3032875 h 4687251"/>
              <a:gd name="connsiteX6124" fmla="*/ 2768694 w 8079933"/>
              <a:gd name="connsiteY6124" fmla="*/ 3031035 h 4687251"/>
              <a:gd name="connsiteX6125" fmla="*/ 2771298 w 8079933"/>
              <a:gd name="connsiteY6125" fmla="*/ 3033200 h 4687251"/>
              <a:gd name="connsiteX6126" fmla="*/ 2770430 w 8079933"/>
              <a:gd name="connsiteY6126" fmla="*/ 3036232 h 4687251"/>
              <a:gd name="connsiteX6127" fmla="*/ 2767282 w 8079933"/>
              <a:gd name="connsiteY6127" fmla="*/ 3037748 h 4687251"/>
              <a:gd name="connsiteX6128" fmla="*/ 2765438 w 8079933"/>
              <a:gd name="connsiteY6128" fmla="*/ 3036556 h 4687251"/>
              <a:gd name="connsiteX6129" fmla="*/ 2759578 w 8079933"/>
              <a:gd name="connsiteY6129" fmla="*/ 3036449 h 4687251"/>
              <a:gd name="connsiteX6130" fmla="*/ 2757408 w 8079933"/>
              <a:gd name="connsiteY6130" fmla="*/ 3035258 h 4687251"/>
              <a:gd name="connsiteX6131" fmla="*/ 2758385 w 8079933"/>
              <a:gd name="connsiteY6131" fmla="*/ 3033200 h 4687251"/>
              <a:gd name="connsiteX6132" fmla="*/ 2761966 w 8079933"/>
              <a:gd name="connsiteY6132" fmla="*/ 3032767 h 4687251"/>
              <a:gd name="connsiteX6133" fmla="*/ 4273276 w 8079933"/>
              <a:gd name="connsiteY6133" fmla="*/ 3030817 h 4687251"/>
              <a:gd name="connsiteX6134" fmla="*/ 4273276 w 8079933"/>
              <a:gd name="connsiteY6134" fmla="*/ 3030818 h 4687251"/>
              <a:gd name="connsiteX6135" fmla="*/ 4274469 w 8079933"/>
              <a:gd name="connsiteY6135" fmla="*/ 3032225 h 4687251"/>
              <a:gd name="connsiteX6136" fmla="*/ 4275333 w 8079933"/>
              <a:gd name="connsiteY6136" fmla="*/ 3034654 h 4687251"/>
              <a:gd name="connsiteX6137" fmla="*/ 4274470 w 8079933"/>
              <a:gd name="connsiteY6137" fmla="*/ 3032225 h 4687251"/>
              <a:gd name="connsiteX6138" fmla="*/ 2137018 w 8079933"/>
              <a:gd name="connsiteY6138" fmla="*/ 3030276 h 4687251"/>
              <a:gd name="connsiteX6139" fmla="*/ 2133545 w 8079933"/>
              <a:gd name="connsiteY6139" fmla="*/ 3033092 h 4687251"/>
              <a:gd name="connsiteX6140" fmla="*/ 2133762 w 8079933"/>
              <a:gd name="connsiteY6140" fmla="*/ 3037963 h 4687251"/>
              <a:gd name="connsiteX6141" fmla="*/ 2130832 w 8079933"/>
              <a:gd name="connsiteY6141" fmla="*/ 3040670 h 4687251"/>
              <a:gd name="connsiteX6142" fmla="*/ 2123128 w 8079933"/>
              <a:gd name="connsiteY6142" fmla="*/ 3038938 h 4687251"/>
              <a:gd name="connsiteX6143" fmla="*/ 2123128 w 8079933"/>
              <a:gd name="connsiteY6143" fmla="*/ 3038938 h 4687251"/>
              <a:gd name="connsiteX6144" fmla="*/ 2130833 w 8079933"/>
              <a:gd name="connsiteY6144" fmla="*/ 3040671 h 4687251"/>
              <a:gd name="connsiteX6145" fmla="*/ 2133763 w 8079933"/>
              <a:gd name="connsiteY6145" fmla="*/ 3037964 h 4687251"/>
              <a:gd name="connsiteX6146" fmla="*/ 2133546 w 8079933"/>
              <a:gd name="connsiteY6146" fmla="*/ 3033092 h 4687251"/>
              <a:gd name="connsiteX6147" fmla="*/ 2137018 w 8079933"/>
              <a:gd name="connsiteY6147" fmla="*/ 3030277 h 4687251"/>
              <a:gd name="connsiteX6148" fmla="*/ 2138646 w 8079933"/>
              <a:gd name="connsiteY6148" fmla="*/ 3030385 h 4687251"/>
              <a:gd name="connsiteX6149" fmla="*/ 2145917 w 8079933"/>
              <a:gd name="connsiteY6149" fmla="*/ 3032875 h 4687251"/>
              <a:gd name="connsiteX6150" fmla="*/ 2149606 w 8079933"/>
              <a:gd name="connsiteY6150" fmla="*/ 3034932 h 4687251"/>
              <a:gd name="connsiteX6151" fmla="*/ 2149801 w 8079933"/>
              <a:gd name="connsiteY6151" fmla="*/ 3035497 h 4687251"/>
              <a:gd name="connsiteX6152" fmla="*/ 2149606 w 8079933"/>
              <a:gd name="connsiteY6152" fmla="*/ 3034932 h 4687251"/>
              <a:gd name="connsiteX6153" fmla="*/ 2145916 w 8079933"/>
              <a:gd name="connsiteY6153" fmla="*/ 3032874 h 4687251"/>
              <a:gd name="connsiteX6154" fmla="*/ 2138646 w 8079933"/>
              <a:gd name="connsiteY6154" fmla="*/ 3030384 h 4687251"/>
              <a:gd name="connsiteX6155" fmla="*/ 4096503 w 8079933"/>
              <a:gd name="connsiteY6155" fmla="*/ 3027787 h 4687251"/>
              <a:gd name="connsiteX6156" fmla="*/ 4100735 w 8079933"/>
              <a:gd name="connsiteY6156" fmla="*/ 3030386 h 4687251"/>
              <a:gd name="connsiteX6157" fmla="*/ 4098999 w 8079933"/>
              <a:gd name="connsiteY6157" fmla="*/ 3033850 h 4687251"/>
              <a:gd name="connsiteX6158" fmla="*/ 4096286 w 8079933"/>
              <a:gd name="connsiteY6158" fmla="*/ 3035582 h 4687251"/>
              <a:gd name="connsiteX6159" fmla="*/ 4094441 w 8079933"/>
              <a:gd name="connsiteY6159" fmla="*/ 3035258 h 4687251"/>
              <a:gd name="connsiteX6160" fmla="*/ 4093681 w 8079933"/>
              <a:gd name="connsiteY6160" fmla="*/ 3030818 h 4687251"/>
              <a:gd name="connsiteX6161" fmla="*/ 4273602 w 8079933"/>
              <a:gd name="connsiteY6161" fmla="*/ 3027461 h 4687251"/>
              <a:gd name="connsiteX6162" fmla="*/ 4273601 w 8079933"/>
              <a:gd name="connsiteY6162" fmla="*/ 3027462 h 4687251"/>
              <a:gd name="connsiteX6163" fmla="*/ 4273307 w 8079933"/>
              <a:gd name="connsiteY6163" fmla="*/ 3030504 h 4687251"/>
              <a:gd name="connsiteX6164" fmla="*/ 4367143 w 8079933"/>
              <a:gd name="connsiteY6164" fmla="*/ 3023238 h 4687251"/>
              <a:gd name="connsiteX6165" fmla="*/ 4367143 w 8079933"/>
              <a:gd name="connsiteY6165" fmla="*/ 3023239 h 4687251"/>
              <a:gd name="connsiteX6166" fmla="*/ 4368120 w 8079933"/>
              <a:gd name="connsiteY6166" fmla="*/ 3024646 h 4687251"/>
              <a:gd name="connsiteX6167" fmla="*/ 4368120 w 8079933"/>
              <a:gd name="connsiteY6167" fmla="*/ 3024645 h 4687251"/>
              <a:gd name="connsiteX6168" fmla="*/ 2303115 w 8079933"/>
              <a:gd name="connsiteY6168" fmla="*/ 3022474 h 4687251"/>
              <a:gd name="connsiteX6169" fmla="*/ 2302723 w 8079933"/>
              <a:gd name="connsiteY6169" fmla="*/ 3022914 h 4687251"/>
              <a:gd name="connsiteX6170" fmla="*/ 2303841 w 8079933"/>
              <a:gd name="connsiteY6170" fmla="*/ 3024073 h 4687251"/>
              <a:gd name="connsiteX6171" fmla="*/ 2304025 w 8079933"/>
              <a:gd name="connsiteY6171" fmla="*/ 3023455 h 4687251"/>
              <a:gd name="connsiteX6172" fmla="*/ 2763158 w 8079933"/>
              <a:gd name="connsiteY6172" fmla="*/ 3021183 h 4687251"/>
              <a:gd name="connsiteX6173" fmla="*/ 2765328 w 8079933"/>
              <a:gd name="connsiteY6173" fmla="*/ 3021507 h 4687251"/>
              <a:gd name="connsiteX6174" fmla="*/ 2763266 w 8079933"/>
              <a:gd name="connsiteY6174" fmla="*/ 3024864 h 4687251"/>
              <a:gd name="connsiteX6175" fmla="*/ 2760663 w 8079933"/>
              <a:gd name="connsiteY6175" fmla="*/ 3025730 h 4687251"/>
              <a:gd name="connsiteX6176" fmla="*/ 2758275 w 8079933"/>
              <a:gd name="connsiteY6176" fmla="*/ 3029411 h 4687251"/>
              <a:gd name="connsiteX6177" fmla="*/ 2755671 w 8079933"/>
              <a:gd name="connsiteY6177" fmla="*/ 3032010 h 4687251"/>
              <a:gd name="connsiteX6178" fmla="*/ 2754803 w 8079933"/>
              <a:gd name="connsiteY6178" fmla="*/ 3027787 h 4687251"/>
              <a:gd name="connsiteX6179" fmla="*/ 2757516 w 8079933"/>
              <a:gd name="connsiteY6179" fmla="*/ 3024756 h 4687251"/>
              <a:gd name="connsiteX6180" fmla="*/ 2759903 w 8079933"/>
              <a:gd name="connsiteY6180" fmla="*/ 3023565 h 4687251"/>
              <a:gd name="connsiteX6181" fmla="*/ 2094815 w 8079933"/>
              <a:gd name="connsiteY6181" fmla="*/ 3019669 h 4687251"/>
              <a:gd name="connsiteX6182" fmla="*/ 2098929 w 8079933"/>
              <a:gd name="connsiteY6182" fmla="*/ 3019775 h 4687251"/>
              <a:gd name="connsiteX6183" fmla="*/ 2103897 w 8079933"/>
              <a:gd name="connsiteY6183" fmla="*/ 3024922 h 4687251"/>
              <a:gd name="connsiteX6184" fmla="*/ 2098928 w 8079933"/>
              <a:gd name="connsiteY6184" fmla="*/ 3019774 h 4687251"/>
              <a:gd name="connsiteX6185" fmla="*/ 4282174 w 8079933"/>
              <a:gd name="connsiteY6185" fmla="*/ 3016743 h 4687251"/>
              <a:gd name="connsiteX6186" fmla="*/ 4283693 w 8079933"/>
              <a:gd name="connsiteY6186" fmla="*/ 3019233 h 4687251"/>
              <a:gd name="connsiteX6187" fmla="*/ 4283042 w 8079933"/>
              <a:gd name="connsiteY6187" fmla="*/ 3023672 h 4687251"/>
              <a:gd name="connsiteX6188" fmla="*/ 4283043 w 8079933"/>
              <a:gd name="connsiteY6188" fmla="*/ 3023672 h 4687251"/>
              <a:gd name="connsiteX6189" fmla="*/ 4283694 w 8079933"/>
              <a:gd name="connsiteY6189" fmla="*/ 3019232 h 4687251"/>
              <a:gd name="connsiteX6190" fmla="*/ 4765616 w 8079933"/>
              <a:gd name="connsiteY6190" fmla="*/ 3015010 h 4687251"/>
              <a:gd name="connsiteX6191" fmla="*/ 4761710 w 8079933"/>
              <a:gd name="connsiteY6191" fmla="*/ 3018691 h 4687251"/>
              <a:gd name="connsiteX6192" fmla="*/ 4758997 w 8079933"/>
              <a:gd name="connsiteY6192" fmla="*/ 3024213 h 4687251"/>
              <a:gd name="connsiteX6193" fmla="*/ 4756718 w 8079933"/>
              <a:gd name="connsiteY6193" fmla="*/ 3026378 h 4687251"/>
              <a:gd name="connsiteX6194" fmla="*/ 4758997 w 8079933"/>
              <a:gd name="connsiteY6194" fmla="*/ 3024213 h 4687251"/>
              <a:gd name="connsiteX6195" fmla="*/ 4761710 w 8079933"/>
              <a:gd name="connsiteY6195" fmla="*/ 3018691 h 4687251"/>
              <a:gd name="connsiteX6196" fmla="*/ 6410729 w 8079933"/>
              <a:gd name="connsiteY6196" fmla="*/ 3014036 h 4687251"/>
              <a:gd name="connsiteX6197" fmla="*/ 6416915 w 8079933"/>
              <a:gd name="connsiteY6197" fmla="*/ 3015226 h 4687251"/>
              <a:gd name="connsiteX6198" fmla="*/ 6422123 w 8079933"/>
              <a:gd name="connsiteY6198" fmla="*/ 3019666 h 4687251"/>
              <a:gd name="connsiteX6199" fmla="*/ 6423643 w 8079933"/>
              <a:gd name="connsiteY6199" fmla="*/ 3026595 h 4687251"/>
              <a:gd name="connsiteX6200" fmla="*/ 6421906 w 8079933"/>
              <a:gd name="connsiteY6200" fmla="*/ 3028111 h 4687251"/>
              <a:gd name="connsiteX6201" fmla="*/ 6416264 w 8079933"/>
              <a:gd name="connsiteY6201" fmla="*/ 3025404 h 4687251"/>
              <a:gd name="connsiteX6202" fmla="*/ 6408016 w 8079933"/>
              <a:gd name="connsiteY6202" fmla="*/ 3024430 h 4687251"/>
              <a:gd name="connsiteX6203" fmla="*/ 6407148 w 8079933"/>
              <a:gd name="connsiteY6203" fmla="*/ 3019991 h 4687251"/>
              <a:gd name="connsiteX6204" fmla="*/ 4174635 w 8079933"/>
              <a:gd name="connsiteY6204" fmla="*/ 3013061 h 4687251"/>
              <a:gd name="connsiteX6205" fmla="*/ 4172413 w 8079933"/>
              <a:gd name="connsiteY6205" fmla="*/ 3013505 h 4687251"/>
              <a:gd name="connsiteX6206" fmla="*/ 4174634 w 8079933"/>
              <a:gd name="connsiteY6206" fmla="*/ 3013062 h 4687251"/>
              <a:gd name="connsiteX6207" fmla="*/ 4175936 w 8079933"/>
              <a:gd name="connsiteY6207" fmla="*/ 3014036 h 4687251"/>
              <a:gd name="connsiteX6208" fmla="*/ 4367794 w 8079933"/>
              <a:gd name="connsiteY6208" fmla="*/ 3013061 h 4687251"/>
              <a:gd name="connsiteX6209" fmla="*/ 4367794 w 8079933"/>
              <a:gd name="connsiteY6209" fmla="*/ 3013061 h 4687251"/>
              <a:gd name="connsiteX6210" fmla="*/ 4368445 w 8079933"/>
              <a:gd name="connsiteY6210" fmla="*/ 3015984 h 4687251"/>
              <a:gd name="connsiteX6211" fmla="*/ 4367400 w 8079933"/>
              <a:gd name="connsiteY6211" fmla="*/ 3021805 h 4687251"/>
              <a:gd name="connsiteX6212" fmla="*/ 4368445 w 8079933"/>
              <a:gd name="connsiteY6212" fmla="*/ 3015984 h 4687251"/>
              <a:gd name="connsiteX6213" fmla="*/ 6447625 w 8079933"/>
              <a:gd name="connsiteY6213" fmla="*/ 3011546 h 4687251"/>
              <a:gd name="connsiteX6214" fmla="*/ 6448602 w 8079933"/>
              <a:gd name="connsiteY6214" fmla="*/ 3014902 h 4687251"/>
              <a:gd name="connsiteX6215" fmla="*/ 6446214 w 8079933"/>
              <a:gd name="connsiteY6215" fmla="*/ 3019558 h 4687251"/>
              <a:gd name="connsiteX6216" fmla="*/ 6441114 w 8079933"/>
              <a:gd name="connsiteY6216" fmla="*/ 3017934 h 4687251"/>
              <a:gd name="connsiteX6217" fmla="*/ 6461407 w 8079933"/>
              <a:gd name="connsiteY6217" fmla="*/ 3011006 h 4687251"/>
              <a:gd name="connsiteX6218" fmla="*/ 6459453 w 8079933"/>
              <a:gd name="connsiteY6218" fmla="*/ 3014795 h 4687251"/>
              <a:gd name="connsiteX6219" fmla="*/ 6461841 w 8079933"/>
              <a:gd name="connsiteY6219" fmla="*/ 3017286 h 4687251"/>
              <a:gd name="connsiteX6220" fmla="*/ 6460322 w 8079933"/>
              <a:gd name="connsiteY6220" fmla="*/ 3024540 h 4687251"/>
              <a:gd name="connsiteX6221" fmla="*/ 6457283 w 8079933"/>
              <a:gd name="connsiteY6221" fmla="*/ 3025623 h 4687251"/>
              <a:gd name="connsiteX6222" fmla="*/ 6455764 w 8079933"/>
              <a:gd name="connsiteY6222" fmla="*/ 3019668 h 4687251"/>
              <a:gd name="connsiteX6223" fmla="*/ 6450664 w 8079933"/>
              <a:gd name="connsiteY6223" fmla="*/ 3018260 h 4687251"/>
              <a:gd name="connsiteX6224" fmla="*/ 6452834 w 8079933"/>
              <a:gd name="connsiteY6224" fmla="*/ 3013496 h 4687251"/>
              <a:gd name="connsiteX6225" fmla="*/ 6456523 w 8079933"/>
              <a:gd name="connsiteY6225" fmla="*/ 3013712 h 4687251"/>
              <a:gd name="connsiteX6226" fmla="*/ 6458802 w 8079933"/>
              <a:gd name="connsiteY6226" fmla="*/ 3011655 h 4687251"/>
              <a:gd name="connsiteX6227" fmla="*/ 4283643 w 8079933"/>
              <a:gd name="connsiteY6227" fmla="*/ 3009299 h 4687251"/>
              <a:gd name="connsiteX6228" fmla="*/ 4283910 w 8079933"/>
              <a:gd name="connsiteY6228" fmla="*/ 3013711 h 4687251"/>
              <a:gd name="connsiteX6229" fmla="*/ 4282992 w 8079933"/>
              <a:gd name="connsiteY6229" fmla="*/ 3015315 h 4687251"/>
              <a:gd name="connsiteX6230" fmla="*/ 4283911 w 8079933"/>
              <a:gd name="connsiteY6230" fmla="*/ 3013711 h 4687251"/>
              <a:gd name="connsiteX6231" fmla="*/ 2291876 w 8079933"/>
              <a:gd name="connsiteY6231" fmla="*/ 3008982 h 4687251"/>
              <a:gd name="connsiteX6232" fmla="*/ 2292739 w 8079933"/>
              <a:gd name="connsiteY6232" fmla="*/ 3011221 h 4687251"/>
              <a:gd name="connsiteX6233" fmla="*/ 2301702 w 8079933"/>
              <a:gd name="connsiteY6233" fmla="*/ 3013535 h 4687251"/>
              <a:gd name="connsiteX6234" fmla="*/ 2300444 w 8079933"/>
              <a:gd name="connsiteY6234" fmla="*/ 3011221 h 4687251"/>
              <a:gd name="connsiteX6235" fmla="*/ 6661836 w 8079933"/>
              <a:gd name="connsiteY6235" fmla="*/ 3006889 h 4687251"/>
              <a:gd name="connsiteX6236" fmla="*/ 6650225 w 8079933"/>
              <a:gd name="connsiteY6236" fmla="*/ 3007214 h 4687251"/>
              <a:gd name="connsiteX6237" fmla="*/ 6646643 w 8079933"/>
              <a:gd name="connsiteY6237" fmla="*/ 3010354 h 4687251"/>
              <a:gd name="connsiteX6238" fmla="*/ 6633405 w 8079933"/>
              <a:gd name="connsiteY6238" fmla="*/ 3015767 h 4687251"/>
              <a:gd name="connsiteX6239" fmla="*/ 6620274 w 8079933"/>
              <a:gd name="connsiteY6239" fmla="*/ 3015010 h 4687251"/>
              <a:gd name="connsiteX6240" fmla="*/ 6616909 w 8079933"/>
              <a:gd name="connsiteY6240" fmla="*/ 3016742 h 4687251"/>
              <a:gd name="connsiteX6241" fmla="*/ 6610942 w 8079933"/>
              <a:gd name="connsiteY6241" fmla="*/ 3016308 h 4687251"/>
              <a:gd name="connsiteX6242" fmla="*/ 6610182 w 8079933"/>
              <a:gd name="connsiteY6242" fmla="*/ 3019124 h 4687251"/>
              <a:gd name="connsiteX6243" fmla="*/ 6603237 w 8079933"/>
              <a:gd name="connsiteY6243" fmla="*/ 3020964 h 4687251"/>
              <a:gd name="connsiteX6244" fmla="*/ 6599767 w 8079933"/>
              <a:gd name="connsiteY6244" fmla="*/ 3020532 h 4687251"/>
              <a:gd name="connsiteX6245" fmla="*/ 6599767 w 8079933"/>
              <a:gd name="connsiteY6245" fmla="*/ 3020533 h 4687251"/>
              <a:gd name="connsiteX6246" fmla="*/ 6603239 w 8079933"/>
              <a:gd name="connsiteY6246" fmla="*/ 3020966 h 4687251"/>
              <a:gd name="connsiteX6247" fmla="*/ 6610184 w 8079933"/>
              <a:gd name="connsiteY6247" fmla="*/ 3019125 h 4687251"/>
              <a:gd name="connsiteX6248" fmla="*/ 6610944 w 8079933"/>
              <a:gd name="connsiteY6248" fmla="*/ 3016310 h 4687251"/>
              <a:gd name="connsiteX6249" fmla="*/ 6616912 w 8079933"/>
              <a:gd name="connsiteY6249" fmla="*/ 3016743 h 4687251"/>
              <a:gd name="connsiteX6250" fmla="*/ 6620276 w 8079933"/>
              <a:gd name="connsiteY6250" fmla="*/ 3015011 h 4687251"/>
              <a:gd name="connsiteX6251" fmla="*/ 6633407 w 8079933"/>
              <a:gd name="connsiteY6251" fmla="*/ 3015769 h 4687251"/>
              <a:gd name="connsiteX6252" fmla="*/ 6646646 w 8079933"/>
              <a:gd name="connsiteY6252" fmla="*/ 3010355 h 4687251"/>
              <a:gd name="connsiteX6253" fmla="*/ 6650227 w 8079933"/>
              <a:gd name="connsiteY6253" fmla="*/ 3007215 h 4687251"/>
              <a:gd name="connsiteX6254" fmla="*/ 6661838 w 8079933"/>
              <a:gd name="connsiteY6254" fmla="*/ 3006891 h 4687251"/>
              <a:gd name="connsiteX6255" fmla="*/ 6667913 w 8079933"/>
              <a:gd name="connsiteY6255" fmla="*/ 3009813 h 4687251"/>
              <a:gd name="connsiteX6256" fmla="*/ 6667913 w 8079933"/>
              <a:gd name="connsiteY6256" fmla="*/ 3009812 h 4687251"/>
              <a:gd name="connsiteX6257" fmla="*/ 6283982 w 8079933"/>
              <a:gd name="connsiteY6257" fmla="*/ 3006675 h 4687251"/>
              <a:gd name="connsiteX6258" fmla="*/ 6287129 w 8079933"/>
              <a:gd name="connsiteY6258" fmla="*/ 3007865 h 4687251"/>
              <a:gd name="connsiteX6259" fmla="*/ 6290710 w 8079933"/>
              <a:gd name="connsiteY6259" fmla="*/ 3014579 h 4687251"/>
              <a:gd name="connsiteX6260" fmla="*/ 6296244 w 8079933"/>
              <a:gd name="connsiteY6260" fmla="*/ 3018909 h 4687251"/>
              <a:gd name="connsiteX6261" fmla="*/ 6294725 w 8079933"/>
              <a:gd name="connsiteY6261" fmla="*/ 3022266 h 4687251"/>
              <a:gd name="connsiteX6262" fmla="*/ 6293748 w 8079933"/>
              <a:gd name="connsiteY6262" fmla="*/ 3028546 h 4687251"/>
              <a:gd name="connsiteX6263" fmla="*/ 6291578 w 8079933"/>
              <a:gd name="connsiteY6263" fmla="*/ 3029520 h 4687251"/>
              <a:gd name="connsiteX6264" fmla="*/ 6287129 w 8079933"/>
              <a:gd name="connsiteY6264" fmla="*/ 3021075 h 4687251"/>
              <a:gd name="connsiteX6265" fmla="*/ 6283656 w 8079933"/>
              <a:gd name="connsiteY6265" fmla="*/ 3020209 h 4687251"/>
              <a:gd name="connsiteX6266" fmla="*/ 6282572 w 8079933"/>
              <a:gd name="connsiteY6266" fmla="*/ 3014903 h 4687251"/>
              <a:gd name="connsiteX6267" fmla="*/ 6277037 w 8079933"/>
              <a:gd name="connsiteY6267" fmla="*/ 3009381 h 4687251"/>
              <a:gd name="connsiteX6268" fmla="*/ 6281703 w 8079933"/>
              <a:gd name="connsiteY6268" fmla="*/ 3009273 h 4687251"/>
              <a:gd name="connsiteX6269" fmla="*/ 6399662 w 8079933"/>
              <a:gd name="connsiteY6269" fmla="*/ 3006458 h 4687251"/>
              <a:gd name="connsiteX6270" fmla="*/ 6405956 w 8079933"/>
              <a:gd name="connsiteY6270" fmla="*/ 3008731 h 4687251"/>
              <a:gd name="connsiteX6271" fmla="*/ 6408452 w 8079933"/>
              <a:gd name="connsiteY6271" fmla="*/ 3012304 h 4687251"/>
              <a:gd name="connsiteX6272" fmla="*/ 6405414 w 8079933"/>
              <a:gd name="connsiteY6272" fmla="*/ 3017501 h 4687251"/>
              <a:gd name="connsiteX6273" fmla="*/ 6403135 w 8079933"/>
              <a:gd name="connsiteY6273" fmla="*/ 3015444 h 4687251"/>
              <a:gd name="connsiteX6274" fmla="*/ 6397166 w 8079933"/>
              <a:gd name="connsiteY6274" fmla="*/ 3006674 h 4687251"/>
              <a:gd name="connsiteX6275" fmla="*/ 2558279 w 8079933"/>
              <a:gd name="connsiteY6275" fmla="*/ 3006239 h 4687251"/>
              <a:gd name="connsiteX6276" fmla="*/ 2557278 w 8079933"/>
              <a:gd name="connsiteY6276" fmla="*/ 3006506 h 4687251"/>
              <a:gd name="connsiteX6277" fmla="*/ 2557303 w 8079933"/>
              <a:gd name="connsiteY6277" fmla="*/ 3006565 h 4687251"/>
              <a:gd name="connsiteX6278" fmla="*/ 2558419 w 8079933"/>
              <a:gd name="connsiteY6278" fmla="*/ 3006565 h 4687251"/>
              <a:gd name="connsiteX6279" fmla="*/ 4769740 w 8079933"/>
              <a:gd name="connsiteY6279" fmla="*/ 3006132 h 4687251"/>
              <a:gd name="connsiteX6280" fmla="*/ 4769957 w 8079933"/>
              <a:gd name="connsiteY6280" fmla="*/ 3008189 h 4687251"/>
              <a:gd name="connsiteX6281" fmla="*/ 4769741 w 8079933"/>
              <a:gd name="connsiteY6281" fmla="*/ 3006132 h 4687251"/>
              <a:gd name="connsiteX6282" fmla="*/ 4273276 w 8079933"/>
              <a:gd name="connsiteY6282" fmla="*/ 3004616 h 4687251"/>
              <a:gd name="connsiteX6283" fmla="*/ 4268067 w 8079933"/>
              <a:gd name="connsiteY6283" fmla="*/ 3006564 h 4687251"/>
              <a:gd name="connsiteX6284" fmla="*/ 4262750 w 8079933"/>
              <a:gd name="connsiteY6284" fmla="*/ 3007972 h 4687251"/>
              <a:gd name="connsiteX6285" fmla="*/ 4259386 w 8079933"/>
              <a:gd name="connsiteY6285" fmla="*/ 3007106 h 4687251"/>
              <a:gd name="connsiteX6286" fmla="*/ 4255697 w 8079933"/>
              <a:gd name="connsiteY6286" fmla="*/ 3009163 h 4687251"/>
              <a:gd name="connsiteX6287" fmla="*/ 4253309 w 8079933"/>
              <a:gd name="connsiteY6287" fmla="*/ 3007864 h 4687251"/>
              <a:gd name="connsiteX6288" fmla="*/ 4253633 w 8079933"/>
              <a:gd name="connsiteY6288" fmla="*/ 3006895 h 4687251"/>
              <a:gd name="connsiteX6289" fmla="*/ 4253309 w 8079933"/>
              <a:gd name="connsiteY6289" fmla="*/ 3007864 h 4687251"/>
              <a:gd name="connsiteX6290" fmla="*/ 4255696 w 8079933"/>
              <a:gd name="connsiteY6290" fmla="*/ 3009164 h 4687251"/>
              <a:gd name="connsiteX6291" fmla="*/ 4259386 w 8079933"/>
              <a:gd name="connsiteY6291" fmla="*/ 3007107 h 4687251"/>
              <a:gd name="connsiteX6292" fmla="*/ 4262750 w 8079933"/>
              <a:gd name="connsiteY6292" fmla="*/ 3007973 h 4687251"/>
              <a:gd name="connsiteX6293" fmla="*/ 4268067 w 8079933"/>
              <a:gd name="connsiteY6293" fmla="*/ 3006566 h 4687251"/>
              <a:gd name="connsiteX6294" fmla="*/ 4273276 w 8079933"/>
              <a:gd name="connsiteY6294" fmla="*/ 3004617 h 4687251"/>
              <a:gd name="connsiteX6295" fmla="*/ 4280872 w 8079933"/>
              <a:gd name="connsiteY6295" fmla="*/ 3004725 h 4687251"/>
              <a:gd name="connsiteX6296" fmla="*/ 4283476 w 8079933"/>
              <a:gd name="connsiteY6296" fmla="*/ 3006565 h 4687251"/>
              <a:gd name="connsiteX6297" fmla="*/ 4283476 w 8079933"/>
              <a:gd name="connsiteY6297" fmla="*/ 3006564 h 4687251"/>
              <a:gd name="connsiteX6298" fmla="*/ 4280872 w 8079933"/>
              <a:gd name="connsiteY6298" fmla="*/ 3004724 h 4687251"/>
              <a:gd name="connsiteX6299" fmla="*/ 6943112 w 8079933"/>
              <a:gd name="connsiteY6299" fmla="*/ 3003426 h 4687251"/>
              <a:gd name="connsiteX6300" fmla="*/ 6949840 w 8079933"/>
              <a:gd name="connsiteY6300" fmla="*/ 3004942 h 4687251"/>
              <a:gd name="connsiteX6301" fmla="*/ 6950382 w 8079933"/>
              <a:gd name="connsiteY6301" fmla="*/ 3007756 h 4687251"/>
              <a:gd name="connsiteX6302" fmla="*/ 6952553 w 8079933"/>
              <a:gd name="connsiteY6302" fmla="*/ 3010138 h 4687251"/>
              <a:gd name="connsiteX6303" fmla="*/ 6950382 w 8079933"/>
              <a:gd name="connsiteY6303" fmla="*/ 3011871 h 4687251"/>
              <a:gd name="connsiteX6304" fmla="*/ 6948211 w 8079933"/>
              <a:gd name="connsiteY6304" fmla="*/ 3015227 h 4687251"/>
              <a:gd name="connsiteX6305" fmla="*/ 6946693 w 8079933"/>
              <a:gd name="connsiteY6305" fmla="*/ 3019450 h 4687251"/>
              <a:gd name="connsiteX6306" fmla="*/ 6943437 w 8079933"/>
              <a:gd name="connsiteY6306" fmla="*/ 3021615 h 4687251"/>
              <a:gd name="connsiteX6307" fmla="*/ 6940832 w 8079933"/>
              <a:gd name="connsiteY6307" fmla="*/ 3024755 h 4687251"/>
              <a:gd name="connsiteX6308" fmla="*/ 6937795 w 8079933"/>
              <a:gd name="connsiteY6308" fmla="*/ 3025080 h 4687251"/>
              <a:gd name="connsiteX6309" fmla="*/ 6935733 w 8079933"/>
              <a:gd name="connsiteY6309" fmla="*/ 3028978 h 4687251"/>
              <a:gd name="connsiteX6310" fmla="*/ 6928137 w 8079933"/>
              <a:gd name="connsiteY6310" fmla="*/ 3034175 h 4687251"/>
              <a:gd name="connsiteX6311" fmla="*/ 6910014 w 8079933"/>
              <a:gd name="connsiteY6311" fmla="*/ 3038289 h 4687251"/>
              <a:gd name="connsiteX6312" fmla="*/ 6905239 w 8079933"/>
              <a:gd name="connsiteY6312" fmla="*/ 3036774 h 4687251"/>
              <a:gd name="connsiteX6313" fmla="*/ 6904045 w 8079933"/>
              <a:gd name="connsiteY6313" fmla="*/ 3034391 h 4687251"/>
              <a:gd name="connsiteX6314" fmla="*/ 6900247 w 8079933"/>
              <a:gd name="connsiteY6314" fmla="*/ 3032226 h 4687251"/>
              <a:gd name="connsiteX6315" fmla="*/ 6894497 w 8079933"/>
              <a:gd name="connsiteY6315" fmla="*/ 3032117 h 4687251"/>
              <a:gd name="connsiteX6316" fmla="*/ 6893520 w 8079933"/>
              <a:gd name="connsiteY6316" fmla="*/ 3033525 h 4687251"/>
              <a:gd name="connsiteX6317" fmla="*/ 6888094 w 8079933"/>
              <a:gd name="connsiteY6317" fmla="*/ 3033850 h 4687251"/>
              <a:gd name="connsiteX6318" fmla="*/ 6878002 w 8079933"/>
              <a:gd name="connsiteY6318" fmla="*/ 3032767 h 4687251"/>
              <a:gd name="connsiteX6319" fmla="*/ 6875071 w 8079933"/>
              <a:gd name="connsiteY6319" fmla="*/ 3034175 h 4687251"/>
              <a:gd name="connsiteX6320" fmla="*/ 6870080 w 8079933"/>
              <a:gd name="connsiteY6320" fmla="*/ 3034175 h 4687251"/>
              <a:gd name="connsiteX6321" fmla="*/ 6868019 w 8079933"/>
              <a:gd name="connsiteY6321" fmla="*/ 3031468 h 4687251"/>
              <a:gd name="connsiteX6322" fmla="*/ 6862267 w 8079933"/>
              <a:gd name="connsiteY6322" fmla="*/ 3030710 h 4687251"/>
              <a:gd name="connsiteX6323" fmla="*/ 6853694 w 8079933"/>
              <a:gd name="connsiteY6323" fmla="*/ 3035041 h 4687251"/>
              <a:gd name="connsiteX6324" fmla="*/ 6845989 w 8079933"/>
              <a:gd name="connsiteY6324" fmla="*/ 3034824 h 4687251"/>
              <a:gd name="connsiteX6325" fmla="*/ 6839370 w 8079933"/>
              <a:gd name="connsiteY6325" fmla="*/ 3031793 h 4687251"/>
              <a:gd name="connsiteX6326" fmla="*/ 6833836 w 8079933"/>
              <a:gd name="connsiteY6326" fmla="*/ 3033633 h 4687251"/>
              <a:gd name="connsiteX6327" fmla="*/ 6829603 w 8079933"/>
              <a:gd name="connsiteY6327" fmla="*/ 3037964 h 4687251"/>
              <a:gd name="connsiteX6328" fmla="*/ 6825806 w 8079933"/>
              <a:gd name="connsiteY6328" fmla="*/ 3046951 h 4687251"/>
              <a:gd name="connsiteX6329" fmla="*/ 6825046 w 8079933"/>
              <a:gd name="connsiteY6329" fmla="*/ 3056154 h 4687251"/>
              <a:gd name="connsiteX6330" fmla="*/ 6828410 w 8079933"/>
              <a:gd name="connsiteY6330" fmla="*/ 3064599 h 4687251"/>
              <a:gd name="connsiteX6331" fmla="*/ 6834595 w 8079933"/>
              <a:gd name="connsiteY6331" fmla="*/ 3069904 h 4687251"/>
              <a:gd name="connsiteX6332" fmla="*/ 6840781 w 8079933"/>
              <a:gd name="connsiteY6332" fmla="*/ 3076833 h 4687251"/>
              <a:gd name="connsiteX6333" fmla="*/ 6841974 w 8079933"/>
              <a:gd name="connsiteY6333" fmla="*/ 3078999 h 4687251"/>
              <a:gd name="connsiteX6334" fmla="*/ 6846966 w 8079933"/>
              <a:gd name="connsiteY6334" fmla="*/ 3079757 h 4687251"/>
              <a:gd name="connsiteX6335" fmla="*/ 6851632 w 8079933"/>
              <a:gd name="connsiteY6335" fmla="*/ 3077375 h 4687251"/>
              <a:gd name="connsiteX6336" fmla="*/ 6854888 w 8079933"/>
              <a:gd name="connsiteY6336" fmla="*/ 3069362 h 4687251"/>
              <a:gd name="connsiteX6337" fmla="*/ 6859554 w 8079933"/>
              <a:gd name="connsiteY6337" fmla="*/ 3063408 h 4687251"/>
              <a:gd name="connsiteX6338" fmla="*/ 6863895 w 8079933"/>
              <a:gd name="connsiteY6338" fmla="*/ 3064599 h 4687251"/>
              <a:gd name="connsiteX6339" fmla="*/ 6868343 w 8079933"/>
              <a:gd name="connsiteY6339" fmla="*/ 3067305 h 4687251"/>
              <a:gd name="connsiteX6340" fmla="*/ 6871816 w 8079933"/>
              <a:gd name="connsiteY6340" fmla="*/ 3066548 h 4687251"/>
              <a:gd name="connsiteX6341" fmla="*/ 6876265 w 8079933"/>
              <a:gd name="connsiteY6341" fmla="*/ 3066872 h 4687251"/>
              <a:gd name="connsiteX6342" fmla="*/ 6880389 w 8079933"/>
              <a:gd name="connsiteY6342" fmla="*/ 3062542 h 4687251"/>
              <a:gd name="connsiteX6343" fmla="*/ 6883862 w 8079933"/>
              <a:gd name="connsiteY6343" fmla="*/ 3061567 h 4687251"/>
              <a:gd name="connsiteX6344" fmla="*/ 6890915 w 8079933"/>
              <a:gd name="connsiteY6344" fmla="*/ 3061567 h 4687251"/>
              <a:gd name="connsiteX6345" fmla="*/ 6895581 w 8079933"/>
              <a:gd name="connsiteY6345" fmla="*/ 3058211 h 4687251"/>
              <a:gd name="connsiteX6346" fmla="*/ 6906216 w 8079933"/>
              <a:gd name="connsiteY6346" fmla="*/ 3057236 h 4687251"/>
              <a:gd name="connsiteX6347" fmla="*/ 6911208 w 8079933"/>
              <a:gd name="connsiteY6347" fmla="*/ 3059077 h 4687251"/>
              <a:gd name="connsiteX6348" fmla="*/ 6911208 w 8079933"/>
              <a:gd name="connsiteY6348" fmla="*/ 3062867 h 4687251"/>
              <a:gd name="connsiteX6349" fmla="*/ 6907084 w 8079933"/>
              <a:gd name="connsiteY6349" fmla="*/ 3068713 h 4687251"/>
              <a:gd name="connsiteX6350" fmla="*/ 6904154 w 8079933"/>
              <a:gd name="connsiteY6350" fmla="*/ 3068388 h 4687251"/>
              <a:gd name="connsiteX6351" fmla="*/ 6899488 w 8079933"/>
              <a:gd name="connsiteY6351" fmla="*/ 3066006 h 4687251"/>
              <a:gd name="connsiteX6352" fmla="*/ 6894388 w 8079933"/>
              <a:gd name="connsiteY6352" fmla="*/ 3067198 h 4687251"/>
              <a:gd name="connsiteX6353" fmla="*/ 6894171 w 8079933"/>
              <a:gd name="connsiteY6353" fmla="*/ 3070445 h 4687251"/>
              <a:gd name="connsiteX6354" fmla="*/ 6889830 w 8079933"/>
              <a:gd name="connsiteY6354" fmla="*/ 3072719 h 4687251"/>
              <a:gd name="connsiteX6355" fmla="*/ 6886575 w 8079933"/>
              <a:gd name="connsiteY6355" fmla="*/ 3078241 h 4687251"/>
              <a:gd name="connsiteX6356" fmla="*/ 6879738 w 8079933"/>
              <a:gd name="connsiteY6356" fmla="*/ 3083546 h 4687251"/>
              <a:gd name="connsiteX6357" fmla="*/ 6870080 w 8079933"/>
              <a:gd name="connsiteY6357" fmla="*/ 3087011 h 4687251"/>
              <a:gd name="connsiteX6358" fmla="*/ 6868995 w 8079933"/>
              <a:gd name="connsiteY6358" fmla="*/ 3089934 h 4687251"/>
              <a:gd name="connsiteX6359" fmla="*/ 6865197 w 8079933"/>
              <a:gd name="connsiteY6359" fmla="*/ 3092749 h 4687251"/>
              <a:gd name="connsiteX6360" fmla="*/ 6860964 w 8079933"/>
              <a:gd name="connsiteY6360" fmla="*/ 3092641 h 4687251"/>
              <a:gd name="connsiteX6361" fmla="*/ 6859880 w 8079933"/>
              <a:gd name="connsiteY6361" fmla="*/ 3090259 h 4687251"/>
              <a:gd name="connsiteX6362" fmla="*/ 6858034 w 8079933"/>
              <a:gd name="connsiteY6362" fmla="*/ 3090043 h 4687251"/>
              <a:gd name="connsiteX6363" fmla="*/ 6857492 w 8079933"/>
              <a:gd name="connsiteY6363" fmla="*/ 3091883 h 4687251"/>
              <a:gd name="connsiteX6364" fmla="*/ 6859880 w 8079933"/>
              <a:gd name="connsiteY6364" fmla="*/ 3096214 h 4687251"/>
              <a:gd name="connsiteX6365" fmla="*/ 6863895 w 8079933"/>
              <a:gd name="connsiteY6365" fmla="*/ 3099029 h 4687251"/>
              <a:gd name="connsiteX6366" fmla="*/ 6870405 w 8079933"/>
              <a:gd name="connsiteY6366" fmla="*/ 3106391 h 4687251"/>
              <a:gd name="connsiteX6367" fmla="*/ 6871599 w 8079933"/>
              <a:gd name="connsiteY6367" fmla="*/ 3110830 h 4687251"/>
              <a:gd name="connsiteX6368" fmla="*/ 6874312 w 8079933"/>
              <a:gd name="connsiteY6368" fmla="*/ 3111047 h 4687251"/>
              <a:gd name="connsiteX6369" fmla="*/ 6878436 w 8079933"/>
              <a:gd name="connsiteY6369" fmla="*/ 3113753 h 4687251"/>
              <a:gd name="connsiteX6370" fmla="*/ 6878978 w 8079933"/>
              <a:gd name="connsiteY6370" fmla="*/ 3116352 h 4687251"/>
              <a:gd name="connsiteX6371" fmla="*/ 6877676 w 8079933"/>
              <a:gd name="connsiteY6371" fmla="*/ 3118518 h 4687251"/>
              <a:gd name="connsiteX6372" fmla="*/ 6880932 w 8079933"/>
              <a:gd name="connsiteY6372" fmla="*/ 3119600 h 4687251"/>
              <a:gd name="connsiteX6373" fmla="*/ 6883102 w 8079933"/>
              <a:gd name="connsiteY6373" fmla="*/ 3121874 h 4687251"/>
              <a:gd name="connsiteX6374" fmla="*/ 6882126 w 8079933"/>
              <a:gd name="connsiteY6374" fmla="*/ 3124256 h 4687251"/>
              <a:gd name="connsiteX6375" fmla="*/ 6880064 w 8079933"/>
              <a:gd name="connsiteY6375" fmla="*/ 3124581 h 4687251"/>
              <a:gd name="connsiteX6376" fmla="*/ 6881366 w 8079933"/>
              <a:gd name="connsiteY6376" fmla="*/ 3127504 h 4687251"/>
              <a:gd name="connsiteX6377" fmla="*/ 6879738 w 8079933"/>
              <a:gd name="connsiteY6377" fmla="*/ 3126855 h 4687251"/>
              <a:gd name="connsiteX6378" fmla="*/ 6878653 w 8079933"/>
              <a:gd name="connsiteY6378" fmla="*/ 3129020 h 4687251"/>
              <a:gd name="connsiteX6379" fmla="*/ 6875940 w 8079933"/>
              <a:gd name="connsiteY6379" fmla="*/ 3131835 h 4687251"/>
              <a:gd name="connsiteX6380" fmla="*/ 6877242 w 8079933"/>
              <a:gd name="connsiteY6380" fmla="*/ 3134758 h 4687251"/>
              <a:gd name="connsiteX6381" fmla="*/ 6881366 w 8079933"/>
              <a:gd name="connsiteY6381" fmla="*/ 3135949 h 4687251"/>
              <a:gd name="connsiteX6382" fmla="*/ 6881583 w 8079933"/>
              <a:gd name="connsiteY6382" fmla="*/ 3138548 h 4687251"/>
              <a:gd name="connsiteX6383" fmla="*/ 6883645 w 8079933"/>
              <a:gd name="connsiteY6383" fmla="*/ 3137248 h 4687251"/>
              <a:gd name="connsiteX6384" fmla="*/ 6885707 w 8079933"/>
              <a:gd name="connsiteY6384" fmla="*/ 3137790 h 4687251"/>
              <a:gd name="connsiteX6385" fmla="*/ 6885598 w 8079933"/>
              <a:gd name="connsiteY6385" fmla="*/ 3140063 h 4687251"/>
              <a:gd name="connsiteX6386" fmla="*/ 6887768 w 8079933"/>
              <a:gd name="connsiteY6386" fmla="*/ 3140388 h 4687251"/>
              <a:gd name="connsiteX6387" fmla="*/ 6888094 w 8079933"/>
              <a:gd name="connsiteY6387" fmla="*/ 3143853 h 4687251"/>
              <a:gd name="connsiteX6388" fmla="*/ 6892651 w 8079933"/>
              <a:gd name="connsiteY6388" fmla="*/ 3143312 h 4687251"/>
              <a:gd name="connsiteX6389" fmla="*/ 6894713 w 8079933"/>
              <a:gd name="connsiteY6389" fmla="*/ 3143961 h 4687251"/>
              <a:gd name="connsiteX6390" fmla="*/ 6896558 w 8079933"/>
              <a:gd name="connsiteY6390" fmla="*/ 3143203 h 4687251"/>
              <a:gd name="connsiteX6391" fmla="*/ 6902743 w 8079933"/>
              <a:gd name="connsiteY6391" fmla="*/ 3143636 h 4687251"/>
              <a:gd name="connsiteX6392" fmla="*/ 6903503 w 8079933"/>
              <a:gd name="connsiteY6392" fmla="*/ 3145693 h 4687251"/>
              <a:gd name="connsiteX6393" fmla="*/ 6901441 w 8079933"/>
              <a:gd name="connsiteY6393" fmla="*/ 3149158 h 4687251"/>
              <a:gd name="connsiteX6394" fmla="*/ 6897969 w 8079933"/>
              <a:gd name="connsiteY6394" fmla="*/ 3149158 h 4687251"/>
              <a:gd name="connsiteX6395" fmla="*/ 6896124 w 8079933"/>
              <a:gd name="connsiteY6395" fmla="*/ 3148184 h 4687251"/>
              <a:gd name="connsiteX6396" fmla="*/ 6893520 w 8079933"/>
              <a:gd name="connsiteY6396" fmla="*/ 3150890 h 4687251"/>
              <a:gd name="connsiteX6397" fmla="*/ 6886466 w 8079933"/>
              <a:gd name="connsiteY6397" fmla="*/ 3150349 h 4687251"/>
              <a:gd name="connsiteX6398" fmla="*/ 6880714 w 8079933"/>
              <a:gd name="connsiteY6398" fmla="*/ 3153597 h 4687251"/>
              <a:gd name="connsiteX6399" fmla="*/ 6876591 w 8079933"/>
              <a:gd name="connsiteY6399" fmla="*/ 3154680 h 4687251"/>
              <a:gd name="connsiteX6400" fmla="*/ 6872468 w 8079933"/>
              <a:gd name="connsiteY6400" fmla="*/ 3158469 h 4687251"/>
              <a:gd name="connsiteX6401" fmla="*/ 6873878 w 8079933"/>
              <a:gd name="connsiteY6401" fmla="*/ 3161934 h 4687251"/>
              <a:gd name="connsiteX6402" fmla="*/ 6874204 w 8079933"/>
              <a:gd name="connsiteY6402" fmla="*/ 3163558 h 4687251"/>
              <a:gd name="connsiteX6403" fmla="*/ 6870188 w 8079933"/>
              <a:gd name="connsiteY6403" fmla="*/ 3164316 h 4687251"/>
              <a:gd name="connsiteX6404" fmla="*/ 6864871 w 8079933"/>
              <a:gd name="connsiteY6404" fmla="*/ 3162042 h 4687251"/>
              <a:gd name="connsiteX6405" fmla="*/ 6862267 w 8079933"/>
              <a:gd name="connsiteY6405" fmla="*/ 3162909 h 4687251"/>
              <a:gd name="connsiteX6406" fmla="*/ 6858794 w 8079933"/>
              <a:gd name="connsiteY6406" fmla="*/ 3161718 h 4687251"/>
              <a:gd name="connsiteX6407" fmla="*/ 6857167 w 8079933"/>
              <a:gd name="connsiteY6407" fmla="*/ 3156953 h 4687251"/>
              <a:gd name="connsiteX6408" fmla="*/ 6858360 w 8079933"/>
              <a:gd name="connsiteY6408" fmla="*/ 3148184 h 4687251"/>
              <a:gd name="connsiteX6409" fmla="*/ 6860205 w 8079933"/>
              <a:gd name="connsiteY6409" fmla="*/ 3148508 h 4687251"/>
              <a:gd name="connsiteX6410" fmla="*/ 6859337 w 8079933"/>
              <a:gd name="connsiteY6410" fmla="*/ 3143961 h 4687251"/>
              <a:gd name="connsiteX6411" fmla="*/ 6853911 w 8079933"/>
              <a:gd name="connsiteY6411" fmla="*/ 3140713 h 4687251"/>
              <a:gd name="connsiteX6412" fmla="*/ 6850982 w 8079933"/>
              <a:gd name="connsiteY6412" fmla="*/ 3137140 h 4687251"/>
              <a:gd name="connsiteX6413" fmla="*/ 6847617 w 8079933"/>
              <a:gd name="connsiteY6413" fmla="*/ 3136599 h 4687251"/>
              <a:gd name="connsiteX6414" fmla="*/ 6845121 w 8079933"/>
              <a:gd name="connsiteY6414" fmla="*/ 3131835 h 4687251"/>
              <a:gd name="connsiteX6415" fmla="*/ 6846098 w 8079933"/>
              <a:gd name="connsiteY6415" fmla="*/ 3127504 h 4687251"/>
              <a:gd name="connsiteX6416" fmla="*/ 6849896 w 8079933"/>
              <a:gd name="connsiteY6416" fmla="*/ 3123173 h 4687251"/>
              <a:gd name="connsiteX6417" fmla="*/ 6849896 w 8079933"/>
              <a:gd name="connsiteY6417" fmla="*/ 3118409 h 4687251"/>
              <a:gd name="connsiteX6418" fmla="*/ 6847617 w 8079933"/>
              <a:gd name="connsiteY6418" fmla="*/ 3114404 h 4687251"/>
              <a:gd name="connsiteX6419" fmla="*/ 6848160 w 8079933"/>
              <a:gd name="connsiteY6419" fmla="*/ 3112021 h 4687251"/>
              <a:gd name="connsiteX6420" fmla="*/ 6843385 w 8079933"/>
              <a:gd name="connsiteY6420" fmla="*/ 3110289 h 4687251"/>
              <a:gd name="connsiteX6421" fmla="*/ 6838502 w 8079933"/>
              <a:gd name="connsiteY6421" fmla="*/ 3111372 h 4687251"/>
              <a:gd name="connsiteX6422" fmla="*/ 6836440 w 8079933"/>
              <a:gd name="connsiteY6422" fmla="*/ 3114620 h 4687251"/>
              <a:gd name="connsiteX6423" fmla="*/ 6831232 w 8079933"/>
              <a:gd name="connsiteY6423" fmla="*/ 3117868 h 4687251"/>
              <a:gd name="connsiteX6424" fmla="*/ 6831232 w 8079933"/>
              <a:gd name="connsiteY6424" fmla="*/ 3120141 h 4687251"/>
              <a:gd name="connsiteX6425" fmla="*/ 6834378 w 8079933"/>
              <a:gd name="connsiteY6425" fmla="*/ 3122849 h 4687251"/>
              <a:gd name="connsiteX6426" fmla="*/ 6835789 w 8079933"/>
              <a:gd name="connsiteY6426" fmla="*/ 3130211 h 4687251"/>
              <a:gd name="connsiteX6427" fmla="*/ 6834162 w 8079933"/>
              <a:gd name="connsiteY6427" fmla="*/ 3136491 h 4687251"/>
              <a:gd name="connsiteX6428" fmla="*/ 6829603 w 8079933"/>
              <a:gd name="connsiteY6428" fmla="*/ 3143312 h 4687251"/>
              <a:gd name="connsiteX6429" fmla="*/ 6831449 w 8079933"/>
              <a:gd name="connsiteY6429" fmla="*/ 3145369 h 4687251"/>
              <a:gd name="connsiteX6430" fmla="*/ 6832316 w 8079933"/>
              <a:gd name="connsiteY6430" fmla="*/ 3152731 h 4687251"/>
              <a:gd name="connsiteX6431" fmla="*/ 6831232 w 8079933"/>
              <a:gd name="connsiteY6431" fmla="*/ 3160743 h 4687251"/>
              <a:gd name="connsiteX6432" fmla="*/ 6828736 w 8079933"/>
              <a:gd name="connsiteY6432" fmla="*/ 3164966 h 4687251"/>
              <a:gd name="connsiteX6433" fmla="*/ 6829387 w 8079933"/>
              <a:gd name="connsiteY6433" fmla="*/ 3171137 h 4687251"/>
              <a:gd name="connsiteX6434" fmla="*/ 6832642 w 8079933"/>
              <a:gd name="connsiteY6434" fmla="*/ 3173411 h 4687251"/>
              <a:gd name="connsiteX6435" fmla="*/ 6833185 w 8079933"/>
              <a:gd name="connsiteY6435" fmla="*/ 3178283 h 4687251"/>
              <a:gd name="connsiteX6436" fmla="*/ 6832316 w 8079933"/>
              <a:gd name="connsiteY6436" fmla="*/ 3181964 h 4687251"/>
              <a:gd name="connsiteX6437" fmla="*/ 6829387 w 8079933"/>
              <a:gd name="connsiteY6437" fmla="*/ 3179799 h 4687251"/>
              <a:gd name="connsiteX6438" fmla="*/ 6825480 w 8079933"/>
              <a:gd name="connsiteY6438" fmla="*/ 3180448 h 4687251"/>
              <a:gd name="connsiteX6439" fmla="*/ 6820922 w 8079933"/>
              <a:gd name="connsiteY6439" fmla="*/ 3179365 h 4687251"/>
              <a:gd name="connsiteX6440" fmla="*/ 6818752 w 8079933"/>
              <a:gd name="connsiteY6440" fmla="*/ 3181964 h 4687251"/>
              <a:gd name="connsiteX6441" fmla="*/ 6813760 w 8079933"/>
              <a:gd name="connsiteY6441" fmla="*/ 3182181 h 4687251"/>
              <a:gd name="connsiteX6442" fmla="*/ 6810396 w 8079933"/>
              <a:gd name="connsiteY6442" fmla="*/ 3180124 h 4687251"/>
              <a:gd name="connsiteX6443" fmla="*/ 6807900 w 8079933"/>
              <a:gd name="connsiteY6443" fmla="*/ 3180124 h 4687251"/>
              <a:gd name="connsiteX6444" fmla="*/ 6807140 w 8079933"/>
              <a:gd name="connsiteY6444" fmla="*/ 3172003 h 4687251"/>
              <a:gd name="connsiteX6445" fmla="*/ 6807684 w 8079933"/>
              <a:gd name="connsiteY6445" fmla="*/ 3161718 h 4687251"/>
              <a:gd name="connsiteX6446" fmla="*/ 6811155 w 8079933"/>
              <a:gd name="connsiteY6446" fmla="*/ 3156737 h 4687251"/>
              <a:gd name="connsiteX6447" fmla="*/ 6812458 w 8079933"/>
              <a:gd name="connsiteY6447" fmla="*/ 3150565 h 4687251"/>
              <a:gd name="connsiteX6448" fmla="*/ 6814194 w 8079933"/>
              <a:gd name="connsiteY6448" fmla="*/ 3147859 h 4687251"/>
              <a:gd name="connsiteX6449" fmla="*/ 6810070 w 8079933"/>
              <a:gd name="connsiteY6449" fmla="*/ 3136816 h 4687251"/>
              <a:gd name="connsiteX6450" fmla="*/ 6808551 w 8079933"/>
              <a:gd name="connsiteY6450" fmla="*/ 3130752 h 4687251"/>
              <a:gd name="connsiteX6451" fmla="*/ 6806164 w 8079933"/>
              <a:gd name="connsiteY6451" fmla="*/ 3129561 h 4687251"/>
              <a:gd name="connsiteX6452" fmla="*/ 6803559 w 8079933"/>
              <a:gd name="connsiteY6452" fmla="*/ 3131510 h 4687251"/>
              <a:gd name="connsiteX6453" fmla="*/ 6799978 w 8079933"/>
              <a:gd name="connsiteY6453" fmla="*/ 3131510 h 4687251"/>
              <a:gd name="connsiteX6454" fmla="*/ 6798242 w 8079933"/>
              <a:gd name="connsiteY6454" fmla="*/ 3132485 h 4687251"/>
              <a:gd name="connsiteX6455" fmla="*/ 6795638 w 8079933"/>
              <a:gd name="connsiteY6455" fmla="*/ 3128695 h 4687251"/>
              <a:gd name="connsiteX6456" fmla="*/ 6792816 w 8079933"/>
              <a:gd name="connsiteY6456" fmla="*/ 3120467 h 4687251"/>
              <a:gd name="connsiteX6457" fmla="*/ 6794986 w 8079933"/>
              <a:gd name="connsiteY6457" fmla="*/ 3117759 h 4687251"/>
              <a:gd name="connsiteX6458" fmla="*/ 6794119 w 8079933"/>
              <a:gd name="connsiteY6458" fmla="*/ 3115811 h 4687251"/>
              <a:gd name="connsiteX6459" fmla="*/ 6795746 w 8079933"/>
              <a:gd name="connsiteY6459" fmla="*/ 3109639 h 4687251"/>
              <a:gd name="connsiteX6460" fmla="*/ 6801281 w 8079933"/>
              <a:gd name="connsiteY6460" fmla="*/ 3105308 h 4687251"/>
              <a:gd name="connsiteX6461" fmla="*/ 6801172 w 8079933"/>
              <a:gd name="connsiteY6461" fmla="*/ 3099353 h 4687251"/>
              <a:gd name="connsiteX6462" fmla="*/ 6804211 w 8079933"/>
              <a:gd name="connsiteY6462" fmla="*/ 3097946 h 4687251"/>
              <a:gd name="connsiteX6463" fmla="*/ 6804971 w 8079933"/>
              <a:gd name="connsiteY6463" fmla="*/ 3093940 h 4687251"/>
              <a:gd name="connsiteX6464" fmla="*/ 6806164 w 8079933"/>
              <a:gd name="connsiteY6464" fmla="*/ 3091774 h 4687251"/>
              <a:gd name="connsiteX6465" fmla="*/ 6804971 w 8079933"/>
              <a:gd name="connsiteY6465" fmla="*/ 3081814 h 4687251"/>
              <a:gd name="connsiteX6466" fmla="*/ 6806598 w 8079933"/>
              <a:gd name="connsiteY6466" fmla="*/ 3078241 h 4687251"/>
              <a:gd name="connsiteX6467" fmla="*/ 6805947 w 8079933"/>
              <a:gd name="connsiteY6467" fmla="*/ 3072719 h 4687251"/>
              <a:gd name="connsiteX6468" fmla="*/ 6806815 w 8079933"/>
              <a:gd name="connsiteY6468" fmla="*/ 3068064 h 4687251"/>
              <a:gd name="connsiteX6469" fmla="*/ 6810613 w 8079933"/>
              <a:gd name="connsiteY6469" fmla="*/ 3066006 h 4687251"/>
              <a:gd name="connsiteX6470" fmla="*/ 6813760 w 8079933"/>
              <a:gd name="connsiteY6470" fmla="*/ 3062217 h 4687251"/>
              <a:gd name="connsiteX6471" fmla="*/ 6816798 w 8079933"/>
              <a:gd name="connsiteY6471" fmla="*/ 3061351 h 4687251"/>
              <a:gd name="connsiteX6472" fmla="*/ 6818209 w 8079933"/>
              <a:gd name="connsiteY6472" fmla="*/ 3064923 h 4687251"/>
              <a:gd name="connsiteX6473" fmla="*/ 6820054 w 8079933"/>
              <a:gd name="connsiteY6473" fmla="*/ 3067305 h 4687251"/>
              <a:gd name="connsiteX6474" fmla="*/ 6819402 w 8079933"/>
              <a:gd name="connsiteY6474" fmla="*/ 3062867 h 4687251"/>
              <a:gd name="connsiteX6475" fmla="*/ 6817016 w 8079933"/>
              <a:gd name="connsiteY6475" fmla="*/ 3057236 h 4687251"/>
              <a:gd name="connsiteX6476" fmla="*/ 6818209 w 8079933"/>
              <a:gd name="connsiteY6476" fmla="*/ 3054421 h 4687251"/>
              <a:gd name="connsiteX6477" fmla="*/ 6818535 w 8079933"/>
              <a:gd name="connsiteY6477" fmla="*/ 3046517 h 4687251"/>
              <a:gd name="connsiteX6478" fmla="*/ 6817341 w 8079933"/>
              <a:gd name="connsiteY6478" fmla="*/ 3042620 h 4687251"/>
              <a:gd name="connsiteX6479" fmla="*/ 6817341 w 8079933"/>
              <a:gd name="connsiteY6479" fmla="*/ 3035691 h 4687251"/>
              <a:gd name="connsiteX6480" fmla="*/ 6823310 w 8079933"/>
              <a:gd name="connsiteY6480" fmla="*/ 3030060 h 4687251"/>
              <a:gd name="connsiteX6481" fmla="*/ 6822875 w 8079933"/>
              <a:gd name="connsiteY6481" fmla="*/ 3028329 h 4687251"/>
              <a:gd name="connsiteX6482" fmla="*/ 6825046 w 8079933"/>
              <a:gd name="connsiteY6482" fmla="*/ 3025730 h 4687251"/>
              <a:gd name="connsiteX6483" fmla="*/ 6830797 w 8079933"/>
              <a:gd name="connsiteY6483" fmla="*/ 3024430 h 4687251"/>
              <a:gd name="connsiteX6484" fmla="*/ 6836982 w 8079933"/>
              <a:gd name="connsiteY6484" fmla="*/ 3026379 h 4687251"/>
              <a:gd name="connsiteX6485" fmla="*/ 6840021 w 8079933"/>
              <a:gd name="connsiteY6485" fmla="*/ 3023672 h 4687251"/>
              <a:gd name="connsiteX6486" fmla="*/ 6842083 w 8079933"/>
              <a:gd name="connsiteY6486" fmla="*/ 3019233 h 4687251"/>
              <a:gd name="connsiteX6487" fmla="*/ 6845772 w 8079933"/>
              <a:gd name="connsiteY6487" fmla="*/ 3016852 h 4687251"/>
              <a:gd name="connsiteX6488" fmla="*/ 6845772 w 8079933"/>
              <a:gd name="connsiteY6488" fmla="*/ 3011654 h 4687251"/>
              <a:gd name="connsiteX6489" fmla="*/ 6850113 w 8079933"/>
              <a:gd name="connsiteY6489" fmla="*/ 3011438 h 4687251"/>
              <a:gd name="connsiteX6490" fmla="*/ 6857167 w 8079933"/>
              <a:gd name="connsiteY6490" fmla="*/ 3012846 h 4687251"/>
              <a:gd name="connsiteX6491" fmla="*/ 6861833 w 8079933"/>
              <a:gd name="connsiteY6491" fmla="*/ 3017285 h 4687251"/>
              <a:gd name="connsiteX6492" fmla="*/ 6865413 w 8079933"/>
              <a:gd name="connsiteY6492" fmla="*/ 3019450 h 4687251"/>
              <a:gd name="connsiteX6493" fmla="*/ 6868669 w 8079933"/>
              <a:gd name="connsiteY6493" fmla="*/ 3017285 h 4687251"/>
              <a:gd name="connsiteX6494" fmla="*/ 6874855 w 8079933"/>
              <a:gd name="connsiteY6494" fmla="*/ 3018367 h 4687251"/>
              <a:gd name="connsiteX6495" fmla="*/ 6879413 w 8079933"/>
              <a:gd name="connsiteY6495" fmla="*/ 3019450 h 4687251"/>
              <a:gd name="connsiteX6496" fmla="*/ 6883536 w 8079933"/>
              <a:gd name="connsiteY6496" fmla="*/ 3019233 h 4687251"/>
              <a:gd name="connsiteX6497" fmla="*/ 6887117 w 8079933"/>
              <a:gd name="connsiteY6497" fmla="*/ 3019558 h 4687251"/>
              <a:gd name="connsiteX6498" fmla="*/ 6891784 w 8079933"/>
              <a:gd name="connsiteY6498" fmla="*/ 3023672 h 4687251"/>
              <a:gd name="connsiteX6499" fmla="*/ 6893954 w 8079933"/>
              <a:gd name="connsiteY6499" fmla="*/ 3023348 h 4687251"/>
              <a:gd name="connsiteX6500" fmla="*/ 6895690 w 8079933"/>
              <a:gd name="connsiteY6500" fmla="*/ 3020749 h 4687251"/>
              <a:gd name="connsiteX6501" fmla="*/ 6905348 w 8079933"/>
              <a:gd name="connsiteY6501" fmla="*/ 3021615 h 4687251"/>
              <a:gd name="connsiteX6502" fmla="*/ 6916743 w 8079933"/>
              <a:gd name="connsiteY6502" fmla="*/ 3023889 h 4687251"/>
              <a:gd name="connsiteX6503" fmla="*/ 6922385 w 8079933"/>
              <a:gd name="connsiteY6503" fmla="*/ 3022482 h 4687251"/>
              <a:gd name="connsiteX6504" fmla="*/ 6924881 w 8079933"/>
              <a:gd name="connsiteY6504" fmla="*/ 3018801 h 4687251"/>
              <a:gd name="connsiteX6505" fmla="*/ 6928679 w 8079933"/>
              <a:gd name="connsiteY6505" fmla="*/ 3018367 h 4687251"/>
              <a:gd name="connsiteX6506" fmla="*/ 6933671 w 8079933"/>
              <a:gd name="connsiteY6506" fmla="*/ 3014794 h 4687251"/>
              <a:gd name="connsiteX6507" fmla="*/ 6933996 w 8079933"/>
              <a:gd name="connsiteY6507" fmla="*/ 3012304 h 4687251"/>
              <a:gd name="connsiteX6508" fmla="*/ 6937577 w 8079933"/>
              <a:gd name="connsiteY6508" fmla="*/ 3009597 h 4687251"/>
              <a:gd name="connsiteX6509" fmla="*/ 6938446 w 8079933"/>
              <a:gd name="connsiteY6509" fmla="*/ 3004942 h 4687251"/>
              <a:gd name="connsiteX6510" fmla="*/ 2353253 w 8079933"/>
              <a:gd name="connsiteY6510" fmla="*/ 2997911 h 4687251"/>
              <a:gd name="connsiteX6511" fmla="*/ 2355787 w 8079933"/>
              <a:gd name="connsiteY6511" fmla="*/ 3004292 h 4687251"/>
              <a:gd name="connsiteX6512" fmla="*/ 2356163 w 8079933"/>
              <a:gd name="connsiteY6512" fmla="*/ 3008317 h 4687251"/>
              <a:gd name="connsiteX6513" fmla="*/ 2356164 w 8079933"/>
              <a:gd name="connsiteY6513" fmla="*/ 3008318 h 4687251"/>
              <a:gd name="connsiteX6514" fmla="*/ 2355788 w 8079933"/>
              <a:gd name="connsiteY6514" fmla="*/ 3004291 h 4687251"/>
              <a:gd name="connsiteX6515" fmla="*/ 4372485 w 8079933"/>
              <a:gd name="connsiteY6515" fmla="*/ 2995387 h 4687251"/>
              <a:gd name="connsiteX6516" fmla="*/ 4372243 w 8079933"/>
              <a:gd name="connsiteY6516" fmla="*/ 2996279 h 4687251"/>
              <a:gd name="connsiteX6517" fmla="*/ 4371918 w 8079933"/>
              <a:gd name="connsiteY6517" fmla="*/ 3001584 h 4687251"/>
              <a:gd name="connsiteX6518" fmla="*/ 4368445 w 8079933"/>
              <a:gd name="connsiteY6518" fmla="*/ 3006023 h 4687251"/>
              <a:gd name="connsiteX6519" fmla="*/ 4367843 w 8079933"/>
              <a:gd name="connsiteY6519" fmla="*/ 3012535 h 4687251"/>
              <a:gd name="connsiteX6520" fmla="*/ 4368445 w 8079933"/>
              <a:gd name="connsiteY6520" fmla="*/ 3006024 h 4687251"/>
              <a:gd name="connsiteX6521" fmla="*/ 4371918 w 8079933"/>
              <a:gd name="connsiteY6521" fmla="*/ 3001584 h 4687251"/>
              <a:gd name="connsiteX6522" fmla="*/ 4372243 w 8079933"/>
              <a:gd name="connsiteY6522" fmla="*/ 2996279 h 4687251"/>
              <a:gd name="connsiteX6523" fmla="*/ 4320264 w 8079933"/>
              <a:gd name="connsiteY6523" fmla="*/ 2992491 h 4687251"/>
              <a:gd name="connsiteX6524" fmla="*/ 4320914 w 8079933"/>
              <a:gd name="connsiteY6524" fmla="*/ 2993897 h 4687251"/>
              <a:gd name="connsiteX6525" fmla="*/ 4320915 w 8079933"/>
              <a:gd name="connsiteY6525" fmla="*/ 2993897 h 4687251"/>
              <a:gd name="connsiteX6526" fmla="*/ 4320265 w 8079933"/>
              <a:gd name="connsiteY6526" fmla="*/ 2992491 h 4687251"/>
              <a:gd name="connsiteX6527" fmla="*/ 6387615 w 8079933"/>
              <a:gd name="connsiteY6527" fmla="*/ 2991732 h 4687251"/>
              <a:gd name="connsiteX6528" fmla="*/ 6391956 w 8079933"/>
              <a:gd name="connsiteY6528" fmla="*/ 2996604 h 4687251"/>
              <a:gd name="connsiteX6529" fmla="*/ 6387615 w 8079933"/>
              <a:gd name="connsiteY6529" fmla="*/ 3001477 h 4687251"/>
              <a:gd name="connsiteX6530" fmla="*/ 6383274 w 8079933"/>
              <a:gd name="connsiteY6530" fmla="*/ 3002126 h 4687251"/>
              <a:gd name="connsiteX6531" fmla="*/ 6380670 w 8079933"/>
              <a:gd name="connsiteY6531" fmla="*/ 2994980 h 4687251"/>
              <a:gd name="connsiteX6532" fmla="*/ 6384793 w 8079933"/>
              <a:gd name="connsiteY6532" fmla="*/ 2994222 h 4687251"/>
              <a:gd name="connsiteX6533" fmla="*/ 2613426 w 8079933"/>
              <a:gd name="connsiteY6533" fmla="*/ 2991360 h 4687251"/>
              <a:gd name="connsiteX6534" fmla="*/ 2613949 w 8079933"/>
              <a:gd name="connsiteY6534" fmla="*/ 2991732 h 4687251"/>
              <a:gd name="connsiteX6535" fmla="*/ 2615200 w 8079933"/>
              <a:gd name="connsiteY6535" fmla="*/ 2992066 h 4687251"/>
              <a:gd name="connsiteX6536" fmla="*/ 2614274 w 8079933"/>
              <a:gd name="connsiteY6536" fmla="*/ 2991407 h 4687251"/>
              <a:gd name="connsiteX6537" fmla="*/ 6280293 w 8079933"/>
              <a:gd name="connsiteY6537" fmla="*/ 2990109 h 4687251"/>
              <a:gd name="connsiteX6538" fmla="*/ 6282355 w 8079933"/>
              <a:gd name="connsiteY6538" fmla="*/ 2993141 h 4687251"/>
              <a:gd name="connsiteX6539" fmla="*/ 6276820 w 8079933"/>
              <a:gd name="connsiteY6539" fmla="*/ 2991300 h 4687251"/>
              <a:gd name="connsiteX6540" fmla="*/ 2598105 w 8079933"/>
              <a:gd name="connsiteY6540" fmla="*/ 2989891 h 4687251"/>
              <a:gd name="connsiteX6541" fmla="*/ 2596892 w 8079933"/>
              <a:gd name="connsiteY6541" fmla="*/ 2989947 h 4687251"/>
              <a:gd name="connsiteX6542" fmla="*/ 2598105 w 8079933"/>
              <a:gd name="connsiteY6542" fmla="*/ 2991298 h 4687251"/>
              <a:gd name="connsiteX6543" fmla="*/ 2599218 w 8079933"/>
              <a:gd name="connsiteY6543" fmla="*/ 2991132 h 4687251"/>
              <a:gd name="connsiteX6544" fmla="*/ 2343633 w 8079933"/>
              <a:gd name="connsiteY6544" fmla="*/ 2989350 h 4687251"/>
              <a:gd name="connsiteX6545" fmla="*/ 2342769 w 8079933"/>
              <a:gd name="connsiteY6545" fmla="*/ 2989576 h 4687251"/>
              <a:gd name="connsiteX6546" fmla="*/ 2343417 w 8079933"/>
              <a:gd name="connsiteY6546" fmla="*/ 2991407 h 4687251"/>
              <a:gd name="connsiteX6547" fmla="*/ 2347431 w 8079933"/>
              <a:gd name="connsiteY6547" fmla="*/ 2996279 h 4687251"/>
              <a:gd name="connsiteX6548" fmla="*/ 2348408 w 8079933"/>
              <a:gd name="connsiteY6548" fmla="*/ 3001585 h 4687251"/>
              <a:gd name="connsiteX6549" fmla="*/ 2348408 w 8079933"/>
              <a:gd name="connsiteY6549" fmla="*/ 3008081 h 4687251"/>
              <a:gd name="connsiteX6550" fmla="*/ 2349740 w 8079933"/>
              <a:gd name="connsiteY6550" fmla="*/ 3007920 h 4687251"/>
              <a:gd name="connsiteX6551" fmla="*/ 2349819 w 8079933"/>
              <a:gd name="connsiteY6551" fmla="*/ 3003100 h 4687251"/>
              <a:gd name="connsiteX6552" fmla="*/ 2348843 w 8079933"/>
              <a:gd name="connsiteY6552" fmla="*/ 2997903 h 4687251"/>
              <a:gd name="connsiteX6553" fmla="*/ 2344936 w 8079933"/>
              <a:gd name="connsiteY6553" fmla="*/ 2993031 h 4687251"/>
              <a:gd name="connsiteX6554" fmla="*/ 7018967 w 8079933"/>
              <a:gd name="connsiteY6554" fmla="*/ 2988485 h 4687251"/>
              <a:gd name="connsiteX6555" fmla="*/ 7018424 w 8079933"/>
              <a:gd name="connsiteY6555" fmla="*/ 2992274 h 4687251"/>
              <a:gd name="connsiteX6556" fmla="*/ 7014734 w 8079933"/>
              <a:gd name="connsiteY6556" fmla="*/ 2996389 h 4687251"/>
              <a:gd name="connsiteX6557" fmla="*/ 7015602 w 8079933"/>
              <a:gd name="connsiteY6557" fmla="*/ 2998987 h 4687251"/>
              <a:gd name="connsiteX6558" fmla="*/ 7019726 w 8079933"/>
              <a:gd name="connsiteY6558" fmla="*/ 3000611 h 4687251"/>
              <a:gd name="connsiteX6559" fmla="*/ 7019726 w 8079933"/>
              <a:gd name="connsiteY6559" fmla="*/ 3007866 h 4687251"/>
              <a:gd name="connsiteX6560" fmla="*/ 7017881 w 8079933"/>
              <a:gd name="connsiteY6560" fmla="*/ 3013929 h 4687251"/>
              <a:gd name="connsiteX6561" fmla="*/ 7014083 w 8079933"/>
              <a:gd name="connsiteY6561" fmla="*/ 3014037 h 4687251"/>
              <a:gd name="connsiteX6562" fmla="*/ 7010610 w 8079933"/>
              <a:gd name="connsiteY6562" fmla="*/ 3017502 h 4687251"/>
              <a:gd name="connsiteX6563" fmla="*/ 7012672 w 8079933"/>
              <a:gd name="connsiteY6563" fmla="*/ 3021399 h 4687251"/>
              <a:gd name="connsiteX6564" fmla="*/ 7015494 w 8079933"/>
              <a:gd name="connsiteY6564" fmla="*/ 3020966 h 4687251"/>
              <a:gd name="connsiteX6565" fmla="*/ 7017013 w 8079933"/>
              <a:gd name="connsiteY6565" fmla="*/ 3017177 h 4687251"/>
              <a:gd name="connsiteX6566" fmla="*/ 7021137 w 8079933"/>
              <a:gd name="connsiteY6566" fmla="*/ 3015228 h 4687251"/>
              <a:gd name="connsiteX6567" fmla="*/ 7023198 w 8079933"/>
              <a:gd name="connsiteY6567" fmla="*/ 3012846 h 4687251"/>
              <a:gd name="connsiteX6568" fmla="*/ 7020811 w 8079933"/>
              <a:gd name="connsiteY6568" fmla="*/ 3012738 h 4687251"/>
              <a:gd name="connsiteX6569" fmla="*/ 7021354 w 8079933"/>
              <a:gd name="connsiteY6569" fmla="*/ 3009382 h 4687251"/>
              <a:gd name="connsiteX6570" fmla="*/ 7028516 w 8079933"/>
              <a:gd name="connsiteY6570" fmla="*/ 3005808 h 4687251"/>
              <a:gd name="connsiteX6571" fmla="*/ 7036112 w 8079933"/>
              <a:gd name="connsiteY6571" fmla="*/ 3003101 h 4687251"/>
              <a:gd name="connsiteX6572" fmla="*/ 7038933 w 8079933"/>
              <a:gd name="connsiteY6572" fmla="*/ 3006025 h 4687251"/>
              <a:gd name="connsiteX6573" fmla="*/ 7039258 w 8079933"/>
              <a:gd name="connsiteY6573" fmla="*/ 3009382 h 4687251"/>
              <a:gd name="connsiteX6574" fmla="*/ 7035569 w 8079933"/>
              <a:gd name="connsiteY6574" fmla="*/ 3017827 h 4687251"/>
              <a:gd name="connsiteX6575" fmla="*/ 7026996 w 8079933"/>
              <a:gd name="connsiteY6575" fmla="*/ 3020750 h 4687251"/>
              <a:gd name="connsiteX6576" fmla="*/ 7023850 w 8079933"/>
              <a:gd name="connsiteY6576" fmla="*/ 3024431 h 4687251"/>
              <a:gd name="connsiteX6577" fmla="*/ 7025803 w 8079933"/>
              <a:gd name="connsiteY6577" fmla="*/ 3027679 h 4687251"/>
              <a:gd name="connsiteX6578" fmla="*/ 7028949 w 8079933"/>
              <a:gd name="connsiteY6578" fmla="*/ 3028004 h 4687251"/>
              <a:gd name="connsiteX6579" fmla="*/ 7034918 w 8079933"/>
              <a:gd name="connsiteY6579" fmla="*/ 3032227 h 4687251"/>
              <a:gd name="connsiteX6580" fmla="*/ 7035786 w 8079933"/>
              <a:gd name="connsiteY6580" fmla="*/ 3035691 h 4687251"/>
              <a:gd name="connsiteX6581" fmla="*/ 7038065 w 8079933"/>
              <a:gd name="connsiteY6581" fmla="*/ 3037640 h 4687251"/>
              <a:gd name="connsiteX6582" fmla="*/ 7033399 w 8079933"/>
              <a:gd name="connsiteY6582" fmla="*/ 3037964 h 4687251"/>
              <a:gd name="connsiteX6583" fmla="*/ 7030143 w 8079933"/>
              <a:gd name="connsiteY6583" fmla="*/ 3035366 h 4687251"/>
              <a:gd name="connsiteX6584" fmla="*/ 7023850 w 8079933"/>
              <a:gd name="connsiteY6584" fmla="*/ 3035258 h 4687251"/>
              <a:gd name="connsiteX6585" fmla="*/ 7018424 w 8079933"/>
              <a:gd name="connsiteY6585" fmla="*/ 3033525 h 4687251"/>
              <a:gd name="connsiteX6586" fmla="*/ 7014951 w 8079933"/>
              <a:gd name="connsiteY6586" fmla="*/ 3034717 h 4687251"/>
              <a:gd name="connsiteX6587" fmla="*/ 7014951 w 8079933"/>
              <a:gd name="connsiteY6587" fmla="*/ 3043595 h 4687251"/>
              <a:gd name="connsiteX6588" fmla="*/ 7018967 w 8079933"/>
              <a:gd name="connsiteY6588" fmla="*/ 3051390 h 4687251"/>
              <a:gd name="connsiteX6589" fmla="*/ 7020811 w 8079933"/>
              <a:gd name="connsiteY6589" fmla="*/ 3058104 h 4687251"/>
              <a:gd name="connsiteX6590" fmla="*/ 7026996 w 8079933"/>
              <a:gd name="connsiteY6590" fmla="*/ 3063517 h 4687251"/>
              <a:gd name="connsiteX6591" fmla="*/ 7028407 w 8079933"/>
              <a:gd name="connsiteY6591" fmla="*/ 3065790 h 4687251"/>
              <a:gd name="connsiteX6592" fmla="*/ 7026454 w 8079933"/>
              <a:gd name="connsiteY6592" fmla="*/ 3066549 h 4687251"/>
              <a:gd name="connsiteX6593" fmla="*/ 7026128 w 8079933"/>
              <a:gd name="connsiteY6593" fmla="*/ 3069363 h 4687251"/>
              <a:gd name="connsiteX6594" fmla="*/ 7025152 w 8079933"/>
              <a:gd name="connsiteY6594" fmla="*/ 3065574 h 4687251"/>
              <a:gd name="connsiteX6595" fmla="*/ 7021028 w 8079933"/>
              <a:gd name="connsiteY6595" fmla="*/ 3063950 h 4687251"/>
              <a:gd name="connsiteX6596" fmla="*/ 7017231 w 8079933"/>
              <a:gd name="connsiteY6596" fmla="*/ 3056154 h 4687251"/>
              <a:gd name="connsiteX6597" fmla="*/ 7012130 w 8079933"/>
              <a:gd name="connsiteY6597" fmla="*/ 3053123 h 4687251"/>
              <a:gd name="connsiteX6598" fmla="*/ 7009091 w 8079933"/>
              <a:gd name="connsiteY6598" fmla="*/ 3047709 h 4687251"/>
              <a:gd name="connsiteX6599" fmla="*/ 7010936 w 8079933"/>
              <a:gd name="connsiteY6599" fmla="*/ 3042729 h 4687251"/>
              <a:gd name="connsiteX6600" fmla="*/ 7010177 w 8079933"/>
              <a:gd name="connsiteY6600" fmla="*/ 3040022 h 4687251"/>
              <a:gd name="connsiteX6601" fmla="*/ 7010827 w 8079933"/>
              <a:gd name="connsiteY6601" fmla="*/ 3037099 h 4687251"/>
              <a:gd name="connsiteX6602" fmla="*/ 7006161 w 8079933"/>
              <a:gd name="connsiteY6602" fmla="*/ 3033309 h 4687251"/>
              <a:gd name="connsiteX6603" fmla="*/ 7007030 w 8079933"/>
              <a:gd name="connsiteY6603" fmla="*/ 3028545 h 4687251"/>
              <a:gd name="connsiteX6604" fmla="*/ 7008874 w 8079933"/>
              <a:gd name="connsiteY6604" fmla="*/ 3025405 h 4687251"/>
              <a:gd name="connsiteX6605" fmla="*/ 7006161 w 8079933"/>
              <a:gd name="connsiteY6605" fmla="*/ 3020425 h 4687251"/>
              <a:gd name="connsiteX6606" fmla="*/ 7003774 w 8079933"/>
              <a:gd name="connsiteY6606" fmla="*/ 3017285 h 4687251"/>
              <a:gd name="connsiteX6607" fmla="*/ 7005293 w 8079933"/>
              <a:gd name="connsiteY6607" fmla="*/ 3011330 h 4687251"/>
              <a:gd name="connsiteX6608" fmla="*/ 7008223 w 8079933"/>
              <a:gd name="connsiteY6608" fmla="*/ 3009056 h 4687251"/>
              <a:gd name="connsiteX6609" fmla="*/ 7007681 w 8079933"/>
              <a:gd name="connsiteY6609" fmla="*/ 3003101 h 4687251"/>
              <a:gd name="connsiteX6610" fmla="*/ 7009309 w 8079933"/>
              <a:gd name="connsiteY6610" fmla="*/ 2996172 h 4687251"/>
              <a:gd name="connsiteX6611" fmla="*/ 7016471 w 8079933"/>
              <a:gd name="connsiteY6611" fmla="*/ 2989134 h 4687251"/>
              <a:gd name="connsiteX6612" fmla="*/ 2676275 w 8079933"/>
              <a:gd name="connsiteY6612" fmla="*/ 2986649 h 4687251"/>
              <a:gd name="connsiteX6613" fmla="*/ 2676779 w 8079933"/>
              <a:gd name="connsiteY6613" fmla="*/ 2988159 h 4687251"/>
              <a:gd name="connsiteX6614" fmla="*/ 2678516 w 8079933"/>
              <a:gd name="connsiteY6614" fmla="*/ 2988917 h 4687251"/>
              <a:gd name="connsiteX6615" fmla="*/ 2678516 w 8079933"/>
              <a:gd name="connsiteY6615" fmla="*/ 2995197 h 4687251"/>
              <a:gd name="connsiteX6616" fmla="*/ 2681338 w 8079933"/>
              <a:gd name="connsiteY6616" fmla="*/ 2996171 h 4687251"/>
              <a:gd name="connsiteX6617" fmla="*/ 2681395 w 8079933"/>
              <a:gd name="connsiteY6617" fmla="*/ 2996129 h 4687251"/>
              <a:gd name="connsiteX6618" fmla="*/ 2680577 w 8079933"/>
              <a:gd name="connsiteY6618" fmla="*/ 2995847 h 4687251"/>
              <a:gd name="connsiteX6619" fmla="*/ 2680360 w 8079933"/>
              <a:gd name="connsiteY6619" fmla="*/ 2989567 h 4687251"/>
              <a:gd name="connsiteX6620" fmla="*/ 2678624 w 8079933"/>
              <a:gd name="connsiteY6620" fmla="*/ 2988809 h 4687251"/>
              <a:gd name="connsiteX6621" fmla="*/ 2677973 w 8079933"/>
              <a:gd name="connsiteY6621" fmla="*/ 2986861 h 4687251"/>
              <a:gd name="connsiteX6622" fmla="*/ 4208708 w 8079933"/>
              <a:gd name="connsiteY6622" fmla="*/ 2985995 h 4687251"/>
              <a:gd name="connsiteX6623" fmla="*/ 4208708 w 8079933"/>
              <a:gd name="connsiteY6623" fmla="*/ 2986102 h 4687251"/>
              <a:gd name="connsiteX6624" fmla="*/ 4208708 w 8079933"/>
              <a:gd name="connsiteY6624" fmla="*/ 3014469 h 4687251"/>
              <a:gd name="connsiteX6625" fmla="*/ 4208708 w 8079933"/>
              <a:gd name="connsiteY6625" fmla="*/ 3014469 h 4687251"/>
              <a:gd name="connsiteX6626" fmla="*/ 4208708 w 8079933"/>
              <a:gd name="connsiteY6626" fmla="*/ 2986102 h 4687251"/>
              <a:gd name="connsiteX6627" fmla="*/ 4208709 w 8079933"/>
              <a:gd name="connsiteY6627" fmla="*/ 2986101 h 4687251"/>
              <a:gd name="connsiteX6628" fmla="*/ 4208709 w 8079933"/>
              <a:gd name="connsiteY6628" fmla="*/ 2985995 h 4687251"/>
              <a:gd name="connsiteX6629" fmla="*/ 4252983 w 8079933"/>
              <a:gd name="connsiteY6629" fmla="*/ 2985669 h 4687251"/>
              <a:gd name="connsiteX6630" fmla="*/ 4251789 w 8079933"/>
              <a:gd name="connsiteY6630" fmla="*/ 2990542 h 4687251"/>
              <a:gd name="connsiteX6631" fmla="*/ 4253417 w 8079933"/>
              <a:gd name="connsiteY6631" fmla="*/ 2995089 h 4687251"/>
              <a:gd name="connsiteX6632" fmla="*/ 4253417 w 8079933"/>
              <a:gd name="connsiteY6632" fmla="*/ 2995088 h 4687251"/>
              <a:gd name="connsiteX6633" fmla="*/ 4251790 w 8079933"/>
              <a:gd name="connsiteY6633" fmla="*/ 2990540 h 4687251"/>
              <a:gd name="connsiteX6634" fmla="*/ 4252984 w 8079933"/>
              <a:gd name="connsiteY6634" fmla="*/ 2985669 h 4687251"/>
              <a:gd name="connsiteX6635" fmla="*/ 7030035 w 8079933"/>
              <a:gd name="connsiteY6635" fmla="*/ 2983937 h 4687251"/>
              <a:gd name="connsiteX6636" fmla="*/ 7033181 w 8079933"/>
              <a:gd name="connsiteY6636" fmla="*/ 2985994 h 4687251"/>
              <a:gd name="connsiteX6637" fmla="*/ 7034593 w 8079933"/>
              <a:gd name="connsiteY6637" fmla="*/ 2989675 h 4687251"/>
              <a:gd name="connsiteX6638" fmla="*/ 7031120 w 8079933"/>
              <a:gd name="connsiteY6638" fmla="*/ 2993032 h 4687251"/>
              <a:gd name="connsiteX6639" fmla="*/ 7027538 w 8079933"/>
              <a:gd name="connsiteY6639" fmla="*/ 2992707 h 4687251"/>
              <a:gd name="connsiteX6640" fmla="*/ 7024826 w 8079933"/>
              <a:gd name="connsiteY6640" fmla="*/ 2995089 h 4687251"/>
              <a:gd name="connsiteX6641" fmla="*/ 7023415 w 8079933"/>
              <a:gd name="connsiteY6641" fmla="*/ 2987510 h 4687251"/>
              <a:gd name="connsiteX6642" fmla="*/ 7026996 w 8079933"/>
              <a:gd name="connsiteY6642" fmla="*/ 2986210 h 4687251"/>
              <a:gd name="connsiteX6643" fmla="*/ 4242023 w 8079933"/>
              <a:gd name="connsiteY6643" fmla="*/ 2983071 h 4687251"/>
              <a:gd name="connsiteX6644" fmla="*/ 4242457 w 8079933"/>
              <a:gd name="connsiteY6644" fmla="*/ 2984154 h 4687251"/>
              <a:gd name="connsiteX6645" fmla="*/ 4248535 w 8079933"/>
              <a:gd name="connsiteY6645" fmla="*/ 2984587 h 4687251"/>
              <a:gd name="connsiteX6646" fmla="*/ 4242458 w 8079933"/>
              <a:gd name="connsiteY6646" fmla="*/ 2984153 h 4687251"/>
              <a:gd name="connsiteX6647" fmla="*/ 4242024 w 8079933"/>
              <a:gd name="connsiteY6647" fmla="*/ 2983071 h 4687251"/>
              <a:gd name="connsiteX6648" fmla="*/ 4225095 w 8079933"/>
              <a:gd name="connsiteY6648" fmla="*/ 2982638 h 4687251"/>
              <a:gd name="connsiteX6649" fmla="*/ 4232583 w 8079933"/>
              <a:gd name="connsiteY6649" fmla="*/ 2983071 h 4687251"/>
              <a:gd name="connsiteX6650" fmla="*/ 4233591 w 8079933"/>
              <a:gd name="connsiteY6650" fmla="*/ 2983423 h 4687251"/>
              <a:gd name="connsiteX6651" fmla="*/ 4232583 w 8079933"/>
              <a:gd name="connsiteY6651" fmla="*/ 2983071 h 4687251"/>
              <a:gd name="connsiteX6652" fmla="*/ 6621795 w 8079933"/>
              <a:gd name="connsiteY6652" fmla="*/ 2981988 h 4687251"/>
              <a:gd name="connsiteX6653" fmla="*/ 6622988 w 8079933"/>
              <a:gd name="connsiteY6653" fmla="*/ 2984261 h 4687251"/>
              <a:gd name="connsiteX6654" fmla="*/ 6619082 w 8079933"/>
              <a:gd name="connsiteY6654" fmla="*/ 2985885 h 4687251"/>
              <a:gd name="connsiteX6655" fmla="*/ 6623856 w 8079933"/>
              <a:gd name="connsiteY6655" fmla="*/ 2980797 h 4687251"/>
              <a:gd name="connsiteX6656" fmla="*/ 6626460 w 8079933"/>
              <a:gd name="connsiteY6656" fmla="*/ 2982962 h 4687251"/>
              <a:gd name="connsiteX6657" fmla="*/ 6623856 w 8079933"/>
              <a:gd name="connsiteY6657" fmla="*/ 2984045 h 4687251"/>
              <a:gd name="connsiteX6658" fmla="*/ 6622879 w 8079933"/>
              <a:gd name="connsiteY6658" fmla="*/ 2981988 h 4687251"/>
              <a:gd name="connsiteX6659" fmla="*/ 2752307 w 8079933"/>
              <a:gd name="connsiteY6659" fmla="*/ 2979931 h 4687251"/>
              <a:gd name="connsiteX6660" fmla="*/ 2755020 w 8079933"/>
              <a:gd name="connsiteY6660" fmla="*/ 2981880 h 4687251"/>
              <a:gd name="connsiteX6661" fmla="*/ 2758492 w 8079933"/>
              <a:gd name="connsiteY6661" fmla="*/ 2988051 h 4687251"/>
              <a:gd name="connsiteX6662" fmla="*/ 2758492 w 8079933"/>
              <a:gd name="connsiteY6662" fmla="*/ 2991299 h 4687251"/>
              <a:gd name="connsiteX6663" fmla="*/ 2755888 w 8079933"/>
              <a:gd name="connsiteY6663" fmla="*/ 2991299 h 4687251"/>
              <a:gd name="connsiteX6664" fmla="*/ 2753501 w 8079933"/>
              <a:gd name="connsiteY6664" fmla="*/ 2987726 h 4687251"/>
              <a:gd name="connsiteX6665" fmla="*/ 2751656 w 8079933"/>
              <a:gd name="connsiteY6665" fmla="*/ 2981663 h 4687251"/>
              <a:gd name="connsiteX6666" fmla="*/ 2346181 w 8079933"/>
              <a:gd name="connsiteY6666" fmla="*/ 2978302 h 4687251"/>
              <a:gd name="connsiteX6667" fmla="*/ 2347106 w 8079933"/>
              <a:gd name="connsiteY6667" fmla="*/ 2978848 h 4687251"/>
              <a:gd name="connsiteX6668" fmla="*/ 2347757 w 8079933"/>
              <a:gd name="connsiteY6668" fmla="*/ 2980061 h 4687251"/>
              <a:gd name="connsiteX6669" fmla="*/ 2347106 w 8079933"/>
              <a:gd name="connsiteY6669" fmla="*/ 2978847 h 4687251"/>
              <a:gd name="connsiteX6670" fmla="*/ 2601188 w 8079933"/>
              <a:gd name="connsiteY6670" fmla="*/ 2977182 h 4687251"/>
              <a:gd name="connsiteX6671" fmla="*/ 2601686 w 8079933"/>
              <a:gd name="connsiteY6671" fmla="*/ 2977764 h 4687251"/>
              <a:gd name="connsiteX6672" fmla="*/ 2602233 w 8079933"/>
              <a:gd name="connsiteY6672" fmla="*/ 2981218 h 4687251"/>
              <a:gd name="connsiteX6673" fmla="*/ 2601687 w 8079933"/>
              <a:gd name="connsiteY6673" fmla="*/ 2977765 h 4687251"/>
              <a:gd name="connsiteX6674" fmla="*/ 6623421 w 8079933"/>
              <a:gd name="connsiteY6674" fmla="*/ 2976141 h 4687251"/>
              <a:gd name="connsiteX6675" fmla="*/ 6623421 w 8079933"/>
              <a:gd name="connsiteY6675" fmla="*/ 2976357 h 4687251"/>
              <a:gd name="connsiteX6676" fmla="*/ 6623205 w 8079933"/>
              <a:gd name="connsiteY6676" fmla="*/ 2980147 h 4687251"/>
              <a:gd name="connsiteX6677" fmla="*/ 6622337 w 8079933"/>
              <a:gd name="connsiteY6677" fmla="*/ 2980580 h 4687251"/>
              <a:gd name="connsiteX6678" fmla="*/ 6621794 w 8079933"/>
              <a:gd name="connsiteY6678" fmla="*/ 2979172 h 4687251"/>
              <a:gd name="connsiteX6679" fmla="*/ 6629173 w 8079933"/>
              <a:gd name="connsiteY6679" fmla="*/ 2975492 h 4687251"/>
              <a:gd name="connsiteX6680" fmla="*/ 6630692 w 8079933"/>
              <a:gd name="connsiteY6680" fmla="*/ 2981013 h 4687251"/>
              <a:gd name="connsiteX6681" fmla="*/ 6627653 w 8079933"/>
              <a:gd name="connsiteY6681" fmla="*/ 2982529 h 4687251"/>
              <a:gd name="connsiteX6682" fmla="*/ 6624290 w 8079933"/>
              <a:gd name="connsiteY6682" fmla="*/ 2979065 h 4687251"/>
              <a:gd name="connsiteX6683" fmla="*/ 6624290 w 8079933"/>
              <a:gd name="connsiteY6683" fmla="*/ 2976682 h 4687251"/>
              <a:gd name="connsiteX6684" fmla="*/ 6625700 w 8079933"/>
              <a:gd name="connsiteY6684" fmla="*/ 2976358 h 4687251"/>
              <a:gd name="connsiteX6685" fmla="*/ 6625918 w 8079933"/>
              <a:gd name="connsiteY6685" fmla="*/ 2976358 h 4687251"/>
              <a:gd name="connsiteX6686" fmla="*/ 4783304 w 8079933"/>
              <a:gd name="connsiteY6686" fmla="*/ 2974517 h 4687251"/>
              <a:gd name="connsiteX6687" fmla="*/ 4782012 w 8079933"/>
              <a:gd name="connsiteY6687" fmla="*/ 2976349 h 4687251"/>
              <a:gd name="connsiteX6688" fmla="*/ 4783305 w 8079933"/>
              <a:gd name="connsiteY6688" fmla="*/ 2974517 h 4687251"/>
              <a:gd name="connsiteX6689" fmla="*/ 2416491 w 8079933"/>
              <a:gd name="connsiteY6689" fmla="*/ 2974491 h 4687251"/>
              <a:gd name="connsiteX6690" fmla="*/ 2416340 w 8079933"/>
              <a:gd name="connsiteY6690" fmla="*/ 2975274 h 4687251"/>
              <a:gd name="connsiteX6691" fmla="*/ 2427300 w 8079933"/>
              <a:gd name="connsiteY6691" fmla="*/ 2978956 h 4687251"/>
              <a:gd name="connsiteX6692" fmla="*/ 2434896 w 8079933"/>
              <a:gd name="connsiteY6692" fmla="*/ 2978090 h 4687251"/>
              <a:gd name="connsiteX6693" fmla="*/ 2441298 w 8079933"/>
              <a:gd name="connsiteY6693" fmla="*/ 2979367 h 4687251"/>
              <a:gd name="connsiteX6694" fmla="*/ 2441298 w 8079933"/>
              <a:gd name="connsiteY6694" fmla="*/ 2978306 h 4687251"/>
              <a:gd name="connsiteX6695" fmla="*/ 2433702 w 8079933"/>
              <a:gd name="connsiteY6695" fmla="*/ 2976790 h 4687251"/>
              <a:gd name="connsiteX6696" fmla="*/ 2426106 w 8079933"/>
              <a:gd name="connsiteY6696" fmla="*/ 2977657 h 4687251"/>
              <a:gd name="connsiteX6697" fmla="*/ 2665385 w 8079933"/>
              <a:gd name="connsiteY6697" fmla="*/ 2973110 h 4687251"/>
              <a:gd name="connsiteX6698" fmla="*/ 2659634 w 8079933"/>
              <a:gd name="connsiteY6698" fmla="*/ 2977007 h 4687251"/>
              <a:gd name="connsiteX6699" fmla="*/ 2658440 w 8079933"/>
              <a:gd name="connsiteY6699" fmla="*/ 2976790 h 4687251"/>
              <a:gd name="connsiteX6700" fmla="*/ 2656404 w 8079933"/>
              <a:gd name="connsiteY6700" fmla="*/ 2976316 h 4687251"/>
              <a:gd name="connsiteX6701" fmla="*/ 2657246 w 8079933"/>
              <a:gd name="connsiteY6701" fmla="*/ 2978523 h 4687251"/>
              <a:gd name="connsiteX6702" fmla="*/ 2658766 w 8079933"/>
              <a:gd name="connsiteY6702" fmla="*/ 2982421 h 4687251"/>
              <a:gd name="connsiteX6703" fmla="*/ 2660068 w 8079933"/>
              <a:gd name="connsiteY6703" fmla="*/ 2983504 h 4687251"/>
              <a:gd name="connsiteX6704" fmla="*/ 2660068 w 8079933"/>
              <a:gd name="connsiteY6704" fmla="*/ 2985885 h 4687251"/>
              <a:gd name="connsiteX6705" fmla="*/ 2663324 w 8079933"/>
              <a:gd name="connsiteY6705" fmla="*/ 2989567 h 4687251"/>
              <a:gd name="connsiteX6706" fmla="*/ 2665198 w 8079933"/>
              <a:gd name="connsiteY6706" fmla="*/ 2989911 h 4687251"/>
              <a:gd name="connsiteX6707" fmla="*/ 2662021 w 8079933"/>
              <a:gd name="connsiteY6707" fmla="*/ 2986319 h 4687251"/>
              <a:gd name="connsiteX6708" fmla="*/ 2662021 w 8079933"/>
              <a:gd name="connsiteY6708" fmla="*/ 2984045 h 4687251"/>
              <a:gd name="connsiteX6709" fmla="*/ 2660719 w 8079933"/>
              <a:gd name="connsiteY6709" fmla="*/ 2982854 h 4687251"/>
              <a:gd name="connsiteX6710" fmla="*/ 2659308 w 8079933"/>
              <a:gd name="connsiteY6710" fmla="*/ 2978957 h 4687251"/>
              <a:gd name="connsiteX6711" fmla="*/ 2658440 w 8079933"/>
              <a:gd name="connsiteY6711" fmla="*/ 2976791 h 4687251"/>
              <a:gd name="connsiteX6712" fmla="*/ 2659634 w 8079933"/>
              <a:gd name="connsiteY6712" fmla="*/ 2977008 h 4687251"/>
              <a:gd name="connsiteX6713" fmla="*/ 2342658 w 8079933"/>
              <a:gd name="connsiteY6713" fmla="*/ 2972568 h 4687251"/>
              <a:gd name="connsiteX6714" fmla="*/ 2340378 w 8079933"/>
              <a:gd name="connsiteY6714" fmla="*/ 2974192 h 4687251"/>
              <a:gd name="connsiteX6715" fmla="*/ 2339145 w 8079933"/>
              <a:gd name="connsiteY6715" fmla="*/ 2973833 h 4687251"/>
              <a:gd name="connsiteX6716" fmla="*/ 2340378 w 8079933"/>
              <a:gd name="connsiteY6716" fmla="*/ 2974192 h 4687251"/>
              <a:gd name="connsiteX6717" fmla="*/ 2342657 w 8079933"/>
              <a:gd name="connsiteY6717" fmla="*/ 2972568 h 4687251"/>
              <a:gd name="connsiteX6718" fmla="*/ 2343379 w 8079933"/>
              <a:gd name="connsiteY6718" fmla="*/ 2973288 h 4687251"/>
              <a:gd name="connsiteX6719" fmla="*/ 2648938 w 8079933"/>
              <a:gd name="connsiteY6719" fmla="*/ 2971619 h 4687251"/>
              <a:gd name="connsiteX6720" fmla="*/ 2653123 w 8079933"/>
              <a:gd name="connsiteY6720" fmla="*/ 2975600 h 4687251"/>
              <a:gd name="connsiteX6721" fmla="*/ 2655156 w 8079933"/>
              <a:gd name="connsiteY6721" fmla="*/ 2976005 h 4687251"/>
              <a:gd name="connsiteX6722" fmla="*/ 2650519 w 8079933"/>
              <a:gd name="connsiteY6722" fmla="*/ 2971702 h 4687251"/>
              <a:gd name="connsiteX6723" fmla="*/ 6244266 w 8079933"/>
              <a:gd name="connsiteY6723" fmla="*/ 2970295 h 4687251"/>
              <a:gd name="connsiteX6724" fmla="*/ 6247846 w 8079933"/>
              <a:gd name="connsiteY6724" fmla="*/ 2972893 h 4687251"/>
              <a:gd name="connsiteX6725" fmla="*/ 6251102 w 8079933"/>
              <a:gd name="connsiteY6725" fmla="*/ 2977332 h 4687251"/>
              <a:gd name="connsiteX6726" fmla="*/ 6245568 w 8079933"/>
              <a:gd name="connsiteY6726" fmla="*/ 2978090 h 4687251"/>
              <a:gd name="connsiteX6727" fmla="*/ 6241010 w 8079933"/>
              <a:gd name="connsiteY6727" fmla="*/ 2975275 h 4687251"/>
              <a:gd name="connsiteX6728" fmla="*/ 6242312 w 8079933"/>
              <a:gd name="connsiteY6728" fmla="*/ 2972352 h 4687251"/>
              <a:gd name="connsiteX6729" fmla="*/ 6496565 w 8079933"/>
              <a:gd name="connsiteY6729" fmla="*/ 2968779 h 4687251"/>
              <a:gd name="connsiteX6730" fmla="*/ 6499061 w 8079933"/>
              <a:gd name="connsiteY6730" fmla="*/ 2971269 h 4687251"/>
              <a:gd name="connsiteX6731" fmla="*/ 6496565 w 8079933"/>
              <a:gd name="connsiteY6731" fmla="*/ 2972676 h 4687251"/>
              <a:gd name="connsiteX6732" fmla="*/ 2339158 w 8079933"/>
              <a:gd name="connsiteY6732" fmla="*/ 2966172 h 4687251"/>
              <a:gd name="connsiteX6733" fmla="*/ 2337123 w 8079933"/>
              <a:gd name="connsiteY6733" fmla="*/ 2969861 h 4687251"/>
              <a:gd name="connsiteX6734" fmla="*/ 2337123 w 8079933"/>
              <a:gd name="connsiteY6734" fmla="*/ 2969861 h 4687251"/>
              <a:gd name="connsiteX6735" fmla="*/ 6485063 w 8079933"/>
              <a:gd name="connsiteY6735" fmla="*/ 2964665 h 4687251"/>
              <a:gd name="connsiteX6736" fmla="*/ 6488862 w 8079933"/>
              <a:gd name="connsiteY6736" fmla="*/ 2966181 h 4687251"/>
              <a:gd name="connsiteX6737" fmla="*/ 6484195 w 8079933"/>
              <a:gd name="connsiteY6737" fmla="*/ 2971161 h 4687251"/>
              <a:gd name="connsiteX6738" fmla="*/ 6481590 w 8079933"/>
              <a:gd name="connsiteY6738" fmla="*/ 2969537 h 4687251"/>
              <a:gd name="connsiteX6739" fmla="*/ 6482133 w 8079933"/>
              <a:gd name="connsiteY6739" fmla="*/ 2965422 h 4687251"/>
              <a:gd name="connsiteX6740" fmla="*/ 4386401 w 8079933"/>
              <a:gd name="connsiteY6740" fmla="*/ 2963570 h 4687251"/>
              <a:gd name="connsiteX6741" fmla="*/ 4382986 w 8079933"/>
              <a:gd name="connsiteY6741" fmla="*/ 2965313 h 4687251"/>
              <a:gd name="connsiteX6742" fmla="*/ 4381901 w 8079933"/>
              <a:gd name="connsiteY6742" fmla="*/ 2969644 h 4687251"/>
              <a:gd name="connsiteX6743" fmla="*/ 4376747 w 8079933"/>
              <a:gd name="connsiteY6743" fmla="*/ 2976249 h 4687251"/>
              <a:gd name="connsiteX6744" fmla="*/ 4381901 w 8079933"/>
              <a:gd name="connsiteY6744" fmla="*/ 2969645 h 4687251"/>
              <a:gd name="connsiteX6745" fmla="*/ 4382987 w 8079933"/>
              <a:gd name="connsiteY6745" fmla="*/ 2965314 h 4687251"/>
              <a:gd name="connsiteX6746" fmla="*/ 4772676 w 8079933"/>
              <a:gd name="connsiteY6746" fmla="*/ 2962065 h 4687251"/>
              <a:gd name="connsiteX6747" fmla="*/ 4774406 w 8079933"/>
              <a:gd name="connsiteY6747" fmla="*/ 2963690 h 4687251"/>
              <a:gd name="connsiteX6748" fmla="*/ 4775608 w 8079933"/>
              <a:gd name="connsiteY6748" fmla="*/ 2966710 h 4687251"/>
              <a:gd name="connsiteX6749" fmla="*/ 4774407 w 8079933"/>
              <a:gd name="connsiteY6749" fmla="*/ 2963690 h 4687251"/>
              <a:gd name="connsiteX6750" fmla="*/ 6497108 w 8079933"/>
              <a:gd name="connsiteY6750" fmla="*/ 2960984 h 4687251"/>
              <a:gd name="connsiteX6751" fmla="*/ 6498845 w 8079933"/>
              <a:gd name="connsiteY6751" fmla="*/ 2964232 h 4687251"/>
              <a:gd name="connsiteX6752" fmla="*/ 6495698 w 8079933"/>
              <a:gd name="connsiteY6752" fmla="*/ 2963799 h 4687251"/>
              <a:gd name="connsiteX6753" fmla="*/ 4338234 w 8079933"/>
              <a:gd name="connsiteY6753" fmla="*/ 2959609 h 4687251"/>
              <a:gd name="connsiteX6754" fmla="*/ 4327643 w 8079933"/>
              <a:gd name="connsiteY6754" fmla="*/ 2977115 h 4687251"/>
              <a:gd name="connsiteX6755" fmla="*/ 4327643 w 8079933"/>
              <a:gd name="connsiteY6755" fmla="*/ 2977116 h 4687251"/>
              <a:gd name="connsiteX6756" fmla="*/ 4327119 w 8079933"/>
              <a:gd name="connsiteY6756" fmla="*/ 2978059 h 4687251"/>
              <a:gd name="connsiteX6757" fmla="*/ 4327131 w 8079933"/>
              <a:gd name="connsiteY6757" fmla="*/ 2978037 h 4687251"/>
              <a:gd name="connsiteX6758" fmla="*/ 4327644 w 8079933"/>
              <a:gd name="connsiteY6758" fmla="*/ 2977117 h 4687251"/>
              <a:gd name="connsiteX6759" fmla="*/ 4337578 w 8079933"/>
              <a:gd name="connsiteY6759" fmla="*/ 2960700 h 4687251"/>
              <a:gd name="connsiteX6760" fmla="*/ 6765145 w 8079933"/>
              <a:gd name="connsiteY6760" fmla="*/ 2956437 h 4687251"/>
              <a:gd name="connsiteX6761" fmla="*/ 6767424 w 8079933"/>
              <a:gd name="connsiteY6761" fmla="*/ 2957736 h 4687251"/>
              <a:gd name="connsiteX6762" fmla="*/ 6767424 w 8079933"/>
              <a:gd name="connsiteY6762" fmla="*/ 2961958 h 4687251"/>
              <a:gd name="connsiteX6763" fmla="*/ 6765796 w 8079933"/>
              <a:gd name="connsiteY6763" fmla="*/ 2961417 h 4687251"/>
              <a:gd name="connsiteX6764" fmla="*/ 2669183 w 8079933"/>
              <a:gd name="connsiteY6764" fmla="*/ 2955029 h 4687251"/>
              <a:gd name="connsiteX6765" fmla="*/ 2665386 w 8079933"/>
              <a:gd name="connsiteY6765" fmla="*/ 2958709 h 4687251"/>
              <a:gd name="connsiteX6766" fmla="*/ 2665386 w 8079933"/>
              <a:gd name="connsiteY6766" fmla="*/ 2958710 h 4687251"/>
              <a:gd name="connsiteX6767" fmla="*/ 6496131 w 8079933"/>
              <a:gd name="connsiteY6767" fmla="*/ 2954596 h 4687251"/>
              <a:gd name="connsiteX6768" fmla="*/ 6499061 w 8079933"/>
              <a:gd name="connsiteY6768" fmla="*/ 2956003 h 4687251"/>
              <a:gd name="connsiteX6769" fmla="*/ 6496565 w 8079933"/>
              <a:gd name="connsiteY6769" fmla="*/ 2958818 h 4687251"/>
              <a:gd name="connsiteX6770" fmla="*/ 2590834 w 8079933"/>
              <a:gd name="connsiteY6770" fmla="*/ 2954378 h 4687251"/>
              <a:gd name="connsiteX6771" fmla="*/ 2592679 w 8079933"/>
              <a:gd name="connsiteY6771" fmla="*/ 2955894 h 4687251"/>
              <a:gd name="connsiteX6772" fmla="*/ 2593547 w 8079933"/>
              <a:gd name="connsiteY6772" fmla="*/ 2959358 h 4687251"/>
              <a:gd name="connsiteX6773" fmla="*/ 2595501 w 8079933"/>
              <a:gd name="connsiteY6773" fmla="*/ 2966613 h 4687251"/>
              <a:gd name="connsiteX6774" fmla="*/ 2593547 w 8079933"/>
              <a:gd name="connsiteY6774" fmla="*/ 2959359 h 4687251"/>
              <a:gd name="connsiteX6775" fmla="*/ 2592679 w 8079933"/>
              <a:gd name="connsiteY6775" fmla="*/ 2955894 h 4687251"/>
              <a:gd name="connsiteX6776" fmla="*/ 4387435 w 8079933"/>
              <a:gd name="connsiteY6776" fmla="*/ 2953295 h 4687251"/>
              <a:gd name="connsiteX6777" fmla="*/ 4387652 w 8079933"/>
              <a:gd name="connsiteY6777" fmla="*/ 2962931 h 4687251"/>
              <a:gd name="connsiteX6778" fmla="*/ 4387653 w 8079933"/>
              <a:gd name="connsiteY6778" fmla="*/ 2962931 h 4687251"/>
              <a:gd name="connsiteX6779" fmla="*/ 6770245 w 8079933"/>
              <a:gd name="connsiteY6779" fmla="*/ 2951565 h 4687251"/>
              <a:gd name="connsiteX6780" fmla="*/ 6768943 w 8079933"/>
              <a:gd name="connsiteY6780" fmla="*/ 2953731 h 4687251"/>
              <a:gd name="connsiteX6781" fmla="*/ 6765362 w 8079933"/>
              <a:gd name="connsiteY6781" fmla="*/ 2952756 h 4687251"/>
              <a:gd name="connsiteX6782" fmla="*/ 4683164 w 8079933"/>
              <a:gd name="connsiteY6782" fmla="*/ 2950980 h 4687251"/>
              <a:gd name="connsiteX6783" fmla="*/ 4683143 w 8079933"/>
              <a:gd name="connsiteY6783" fmla="*/ 2951022 h 4687251"/>
              <a:gd name="connsiteX6784" fmla="*/ 4681950 w 8079933"/>
              <a:gd name="connsiteY6784" fmla="*/ 2955461 h 4687251"/>
              <a:gd name="connsiteX6785" fmla="*/ 4679562 w 8079933"/>
              <a:gd name="connsiteY6785" fmla="*/ 2958601 h 4687251"/>
              <a:gd name="connsiteX6786" fmla="*/ 4679562 w 8079933"/>
              <a:gd name="connsiteY6786" fmla="*/ 2965314 h 4687251"/>
              <a:gd name="connsiteX6787" fmla="*/ 4678152 w 8079933"/>
              <a:gd name="connsiteY6787" fmla="*/ 2973434 h 4687251"/>
              <a:gd name="connsiteX6788" fmla="*/ 4677609 w 8079933"/>
              <a:gd name="connsiteY6788" fmla="*/ 2979497 h 4687251"/>
              <a:gd name="connsiteX6789" fmla="*/ 4680322 w 8079933"/>
              <a:gd name="connsiteY6789" fmla="*/ 2981446 h 4687251"/>
              <a:gd name="connsiteX6790" fmla="*/ 4682601 w 8079933"/>
              <a:gd name="connsiteY6790" fmla="*/ 2984478 h 4687251"/>
              <a:gd name="connsiteX6791" fmla="*/ 4684445 w 8079933"/>
              <a:gd name="connsiteY6791" fmla="*/ 2988484 h 4687251"/>
              <a:gd name="connsiteX6792" fmla="*/ 4684012 w 8079933"/>
              <a:gd name="connsiteY6792" fmla="*/ 2991190 h 4687251"/>
              <a:gd name="connsiteX6793" fmla="*/ 4671749 w 8079933"/>
              <a:gd name="connsiteY6793" fmla="*/ 3007431 h 4687251"/>
              <a:gd name="connsiteX6794" fmla="*/ 4664153 w 8079933"/>
              <a:gd name="connsiteY6794" fmla="*/ 3015876 h 4687251"/>
              <a:gd name="connsiteX6795" fmla="*/ 4662091 w 8079933"/>
              <a:gd name="connsiteY6795" fmla="*/ 3019449 h 4687251"/>
              <a:gd name="connsiteX6796" fmla="*/ 4652759 w 8079933"/>
              <a:gd name="connsiteY6796" fmla="*/ 3036123 h 4687251"/>
              <a:gd name="connsiteX6797" fmla="*/ 4651023 w 8079933"/>
              <a:gd name="connsiteY6797" fmla="*/ 3039046 h 4687251"/>
              <a:gd name="connsiteX6798" fmla="*/ 4650914 w 8079933"/>
              <a:gd name="connsiteY6798" fmla="*/ 3045217 h 4687251"/>
              <a:gd name="connsiteX6799" fmla="*/ 4650154 w 8079933"/>
              <a:gd name="connsiteY6799" fmla="*/ 3053987 h 4687251"/>
              <a:gd name="connsiteX6800" fmla="*/ 4647116 w 8079933"/>
              <a:gd name="connsiteY6800" fmla="*/ 3062649 h 4687251"/>
              <a:gd name="connsiteX6801" fmla="*/ 4647767 w 8079933"/>
              <a:gd name="connsiteY6801" fmla="*/ 3068171 h 4687251"/>
              <a:gd name="connsiteX6802" fmla="*/ 4647767 w 8079933"/>
              <a:gd name="connsiteY6802" fmla="*/ 3068170 h 4687251"/>
              <a:gd name="connsiteX6803" fmla="*/ 4647116 w 8079933"/>
              <a:gd name="connsiteY6803" fmla="*/ 3062649 h 4687251"/>
              <a:gd name="connsiteX6804" fmla="*/ 4650155 w 8079933"/>
              <a:gd name="connsiteY6804" fmla="*/ 3053987 h 4687251"/>
              <a:gd name="connsiteX6805" fmla="*/ 4650914 w 8079933"/>
              <a:gd name="connsiteY6805" fmla="*/ 3045217 h 4687251"/>
              <a:gd name="connsiteX6806" fmla="*/ 4651023 w 8079933"/>
              <a:gd name="connsiteY6806" fmla="*/ 3039046 h 4687251"/>
              <a:gd name="connsiteX6807" fmla="*/ 4652759 w 8079933"/>
              <a:gd name="connsiteY6807" fmla="*/ 3036123 h 4687251"/>
              <a:gd name="connsiteX6808" fmla="*/ 4662091 w 8079933"/>
              <a:gd name="connsiteY6808" fmla="*/ 3019449 h 4687251"/>
              <a:gd name="connsiteX6809" fmla="*/ 4664153 w 8079933"/>
              <a:gd name="connsiteY6809" fmla="*/ 3015876 h 4687251"/>
              <a:gd name="connsiteX6810" fmla="*/ 4671750 w 8079933"/>
              <a:gd name="connsiteY6810" fmla="*/ 3007431 h 4687251"/>
              <a:gd name="connsiteX6811" fmla="*/ 4684012 w 8079933"/>
              <a:gd name="connsiteY6811" fmla="*/ 2991190 h 4687251"/>
              <a:gd name="connsiteX6812" fmla="*/ 4684446 w 8079933"/>
              <a:gd name="connsiteY6812" fmla="*/ 2988484 h 4687251"/>
              <a:gd name="connsiteX6813" fmla="*/ 4682601 w 8079933"/>
              <a:gd name="connsiteY6813" fmla="*/ 2984478 h 4687251"/>
              <a:gd name="connsiteX6814" fmla="*/ 4680323 w 8079933"/>
              <a:gd name="connsiteY6814" fmla="*/ 2981446 h 4687251"/>
              <a:gd name="connsiteX6815" fmla="*/ 4677609 w 8079933"/>
              <a:gd name="connsiteY6815" fmla="*/ 2979497 h 4687251"/>
              <a:gd name="connsiteX6816" fmla="*/ 4678152 w 8079933"/>
              <a:gd name="connsiteY6816" fmla="*/ 2973434 h 4687251"/>
              <a:gd name="connsiteX6817" fmla="*/ 4679563 w 8079933"/>
              <a:gd name="connsiteY6817" fmla="*/ 2965314 h 4687251"/>
              <a:gd name="connsiteX6818" fmla="*/ 4679563 w 8079933"/>
              <a:gd name="connsiteY6818" fmla="*/ 2958601 h 4687251"/>
              <a:gd name="connsiteX6819" fmla="*/ 4681950 w 8079933"/>
              <a:gd name="connsiteY6819" fmla="*/ 2955461 h 4687251"/>
              <a:gd name="connsiteX6820" fmla="*/ 4683144 w 8079933"/>
              <a:gd name="connsiteY6820" fmla="*/ 2951022 h 4687251"/>
              <a:gd name="connsiteX6821" fmla="*/ 4683165 w 8079933"/>
              <a:gd name="connsiteY6821" fmla="*/ 2950980 h 4687251"/>
              <a:gd name="connsiteX6822" fmla="*/ 4768058 w 8079933"/>
              <a:gd name="connsiteY6822" fmla="*/ 2950968 h 4687251"/>
              <a:gd name="connsiteX6823" fmla="*/ 4768872 w 8079933"/>
              <a:gd name="connsiteY6823" fmla="*/ 2953621 h 4687251"/>
              <a:gd name="connsiteX6824" fmla="*/ 4768872 w 8079933"/>
              <a:gd name="connsiteY6824" fmla="*/ 2953620 h 4687251"/>
              <a:gd name="connsiteX6825" fmla="*/ 6955809 w 8079933"/>
              <a:gd name="connsiteY6825" fmla="*/ 2948966 h 4687251"/>
              <a:gd name="connsiteX6826" fmla="*/ 6960693 w 8079933"/>
              <a:gd name="connsiteY6826" fmla="*/ 2954380 h 4687251"/>
              <a:gd name="connsiteX6827" fmla="*/ 6962213 w 8079933"/>
              <a:gd name="connsiteY6827" fmla="*/ 2959360 h 4687251"/>
              <a:gd name="connsiteX6828" fmla="*/ 6960151 w 8079933"/>
              <a:gd name="connsiteY6828" fmla="*/ 2961850 h 4687251"/>
              <a:gd name="connsiteX6829" fmla="*/ 6955809 w 8079933"/>
              <a:gd name="connsiteY6829" fmla="*/ 2958060 h 4687251"/>
              <a:gd name="connsiteX6830" fmla="*/ 6954941 w 8079933"/>
              <a:gd name="connsiteY6830" fmla="*/ 2951997 h 4687251"/>
              <a:gd name="connsiteX6831" fmla="*/ 4878474 w 8079933"/>
              <a:gd name="connsiteY6831" fmla="*/ 2948857 h 4687251"/>
              <a:gd name="connsiteX6832" fmla="*/ 4882706 w 8079933"/>
              <a:gd name="connsiteY6832" fmla="*/ 2950373 h 4687251"/>
              <a:gd name="connsiteX6833" fmla="*/ 4886070 w 8079933"/>
              <a:gd name="connsiteY6833" fmla="*/ 2950373 h 4687251"/>
              <a:gd name="connsiteX6834" fmla="*/ 4890844 w 8079933"/>
              <a:gd name="connsiteY6834" fmla="*/ 2950048 h 4687251"/>
              <a:gd name="connsiteX6835" fmla="*/ 4890845 w 8079933"/>
              <a:gd name="connsiteY6835" fmla="*/ 2950048 h 4687251"/>
              <a:gd name="connsiteX6836" fmla="*/ 4886071 w 8079933"/>
              <a:gd name="connsiteY6836" fmla="*/ 2950372 h 4687251"/>
              <a:gd name="connsiteX6837" fmla="*/ 4882707 w 8079933"/>
              <a:gd name="connsiteY6837" fmla="*/ 2950372 h 4687251"/>
              <a:gd name="connsiteX6838" fmla="*/ 4878474 w 8079933"/>
              <a:gd name="connsiteY6838" fmla="*/ 2948857 h 4687251"/>
              <a:gd name="connsiteX6839" fmla="*/ 2584365 w 8079933"/>
              <a:gd name="connsiteY6839" fmla="*/ 2948222 h 4687251"/>
              <a:gd name="connsiteX6840" fmla="*/ 2584757 w 8079933"/>
              <a:gd name="connsiteY6840" fmla="*/ 2948748 h 4687251"/>
              <a:gd name="connsiteX6841" fmla="*/ 2584975 w 8079933"/>
              <a:gd name="connsiteY6841" fmla="*/ 2951780 h 4687251"/>
              <a:gd name="connsiteX6842" fmla="*/ 2584758 w 8079933"/>
              <a:gd name="connsiteY6842" fmla="*/ 2948749 h 4687251"/>
              <a:gd name="connsiteX6843" fmla="*/ 4866754 w 8079933"/>
              <a:gd name="connsiteY6843" fmla="*/ 2947449 h 4687251"/>
              <a:gd name="connsiteX6844" fmla="*/ 4871962 w 8079933"/>
              <a:gd name="connsiteY6844" fmla="*/ 2949832 h 4687251"/>
              <a:gd name="connsiteX6845" fmla="*/ 4876640 w 8079933"/>
              <a:gd name="connsiteY6845" fmla="*/ 2949131 h 4687251"/>
              <a:gd name="connsiteX6846" fmla="*/ 4871963 w 8079933"/>
              <a:gd name="connsiteY6846" fmla="*/ 2949831 h 4687251"/>
              <a:gd name="connsiteX6847" fmla="*/ 4866755 w 8079933"/>
              <a:gd name="connsiteY6847" fmla="*/ 2947449 h 4687251"/>
              <a:gd name="connsiteX6848" fmla="*/ 4764531 w 8079933"/>
              <a:gd name="connsiteY6848" fmla="*/ 2943551 h 4687251"/>
              <a:gd name="connsiteX6849" fmla="*/ 4764097 w 8079933"/>
              <a:gd name="connsiteY6849" fmla="*/ 2947666 h 4687251"/>
              <a:gd name="connsiteX6850" fmla="*/ 4765919 w 8079933"/>
              <a:gd name="connsiteY6850" fmla="*/ 2948042 h 4687251"/>
              <a:gd name="connsiteX6851" fmla="*/ 4764098 w 8079933"/>
              <a:gd name="connsiteY6851" fmla="*/ 2947665 h 4687251"/>
              <a:gd name="connsiteX6852" fmla="*/ 6985433 w 8079933"/>
              <a:gd name="connsiteY6852" fmla="*/ 2943445 h 4687251"/>
              <a:gd name="connsiteX6853" fmla="*/ 6988037 w 8079933"/>
              <a:gd name="connsiteY6853" fmla="*/ 2944094 h 4687251"/>
              <a:gd name="connsiteX6854" fmla="*/ 6989556 w 8079933"/>
              <a:gd name="connsiteY6854" fmla="*/ 2948534 h 4687251"/>
              <a:gd name="connsiteX6855" fmla="*/ 6987712 w 8079933"/>
              <a:gd name="connsiteY6855" fmla="*/ 2948534 h 4687251"/>
              <a:gd name="connsiteX6856" fmla="*/ 4149350 w 8079933"/>
              <a:gd name="connsiteY6856" fmla="*/ 2943119 h 4687251"/>
              <a:gd name="connsiteX6857" fmla="*/ 4150977 w 8079933"/>
              <a:gd name="connsiteY6857" fmla="*/ 2944743 h 4687251"/>
              <a:gd name="connsiteX6858" fmla="*/ 4151412 w 8079933"/>
              <a:gd name="connsiteY6858" fmla="*/ 2951564 h 4687251"/>
              <a:gd name="connsiteX6859" fmla="*/ 4148048 w 8079933"/>
              <a:gd name="connsiteY6859" fmla="*/ 2960875 h 4687251"/>
              <a:gd name="connsiteX6860" fmla="*/ 4143382 w 8079933"/>
              <a:gd name="connsiteY6860" fmla="*/ 2960117 h 4687251"/>
              <a:gd name="connsiteX6861" fmla="*/ 4138933 w 8079933"/>
              <a:gd name="connsiteY6861" fmla="*/ 2957735 h 4687251"/>
              <a:gd name="connsiteX6862" fmla="*/ 4139258 w 8079933"/>
              <a:gd name="connsiteY6862" fmla="*/ 2954055 h 4687251"/>
              <a:gd name="connsiteX6863" fmla="*/ 4142405 w 8079933"/>
              <a:gd name="connsiteY6863" fmla="*/ 2953838 h 4687251"/>
              <a:gd name="connsiteX6864" fmla="*/ 4144250 w 8079933"/>
              <a:gd name="connsiteY6864" fmla="*/ 2948316 h 4687251"/>
              <a:gd name="connsiteX6865" fmla="*/ 6767423 w 8079933"/>
              <a:gd name="connsiteY6865" fmla="*/ 2940845 h 4687251"/>
              <a:gd name="connsiteX6866" fmla="*/ 6768725 w 8079933"/>
              <a:gd name="connsiteY6866" fmla="*/ 2943335 h 4687251"/>
              <a:gd name="connsiteX6867" fmla="*/ 6766338 w 8079933"/>
              <a:gd name="connsiteY6867" fmla="*/ 2942252 h 4687251"/>
              <a:gd name="connsiteX6868" fmla="*/ 4947597 w 8079933"/>
              <a:gd name="connsiteY6868" fmla="*/ 2940087 h 4687251"/>
              <a:gd name="connsiteX6869" fmla="*/ 4925353 w 8079933"/>
              <a:gd name="connsiteY6869" fmla="*/ 2961200 h 4687251"/>
              <a:gd name="connsiteX6870" fmla="*/ 4924918 w 8079933"/>
              <a:gd name="connsiteY6870" fmla="*/ 3055611 h 4687251"/>
              <a:gd name="connsiteX6871" fmla="*/ 4924919 w 8079933"/>
              <a:gd name="connsiteY6871" fmla="*/ 3055612 h 4687251"/>
              <a:gd name="connsiteX6872" fmla="*/ 4925353 w 8079933"/>
              <a:gd name="connsiteY6872" fmla="*/ 2961200 h 4687251"/>
              <a:gd name="connsiteX6873" fmla="*/ 4947599 w 8079933"/>
              <a:gd name="connsiteY6873" fmla="*/ 2940087 h 4687251"/>
              <a:gd name="connsiteX6874" fmla="*/ 4386784 w 8079933"/>
              <a:gd name="connsiteY6874" fmla="*/ 2940087 h 4687251"/>
              <a:gd name="connsiteX6875" fmla="*/ 4386430 w 8079933"/>
              <a:gd name="connsiteY6875" fmla="*/ 2941000 h 4687251"/>
              <a:gd name="connsiteX6876" fmla="*/ 4385482 w 8079933"/>
              <a:gd name="connsiteY6876" fmla="*/ 2943443 h 4687251"/>
              <a:gd name="connsiteX6877" fmla="*/ 4385479 w 8079933"/>
              <a:gd name="connsiteY6877" fmla="*/ 2943498 h 4687251"/>
              <a:gd name="connsiteX6878" fmla="*/ 4385482 w 8079933"/>
              <a:gd name="connsiteY6878" fmla="*/ 2943443 h 4687251"/>
              <a:gd name="connsiteX6879" fmla="*/ 4386430 w 8079933"/>
              <a:gd name="connsiteY6879" fmla="*/ 2941000 h 4687251"/>
              <a:gd name="connsiteX6880" fmla="*/ 4386784 w 8079933"/>
              <a:gd name="connsiteY6880" fmla="*/ 2940087 h 4687251"/>
              <a:gd name="connsiteX6881" fmla="*/ 4948141 w 8079933"/>
              <a:gd name="connsiteY6881" fmla="*/ 2939871 h 4687251"/>
              <a:gd name="connsiteX6882" fmla="*/ 4947276 w 8079933"/>
              <a:gd name="connsiteY6882" fmla="*/ 2940086 h 4687251"/>
              <a:gd name="connsiteX6883" fmla="*/ 4947277 w 8079933"/>
              <a:gd name="connsiteY6883" fmla="*/ 2940086 h 4687251"/>
              <a:gd name="connsiteX6884" fmla="*/ 4670242 w 8079933"/>
              <a:gd name="connsiteY6884" fmla="*/ 2939810 h 4687251"/>
              <a:gd name="connsiteX6885" fmla="*/ 4671206 w 8079933"/>
              <a:gd name="connsiteY6885" fmla="*/ 2942035 h 4687251"/>
              <a:gd name="connsiteX6886" fmla="*/ 4672726 w 8079933"/>
              <a:gd name="connsiteY6886" fmla="*/ 2943876 h 4687251"/>
              <a:gd name="connsiteX6887" fmla="*/ 4673377 w 8079933"/>
              <a:gd name="connsiteY6887" fmla="*/ 2945608 h 4687251"/>
              <a:gd name="connsiteX6888" fmla="*/ 4672726 w 8079933"/>
              <a:gd name="connsiteY6888" fmla="*/ 2943876 h 4687251"/>
              <a:gd name="connsiteX6889" fmla="*/ 4671207 w 8079933"/>
              <a:gd name="connsiteY6889" fmla="*/ 2942035 h 4687251"/>
              <a:gd name="connsiteX6890" fmla="*/ 2409287 w 8079933"/>
              <a:gd name="connsiteY6890" fmla="*/ 2939449 h 4687251"/>
              <a:gd name="connsiteX6891" fmla="*/ 2410155 w 8079933"/>
              <a:gd name="connsiteY6891" fmla="*/ 2941061 h 4687251"/>
              <a:gd name="connsiteX6892" fmla="*/ 2415146 w 8079933"/>
              <a:gd name="connsiteY6892" fmla="*/ 2942902 h 4687251"/>
              <a:gd name="connsiteX6893" fmla="*/ 2419595 w 8079933"/>
              <a:gd name="connsiteY6893" fmla="*/ 2947151 h 4687251"/>
              <a:gd name="connsiteX6894" fmla="*/ 2419161 w 8079933"/>
              <a:gd name="connsiteY6894" fmla="*/ 2946042 h 4687251"/>
              <a:gd name="connsiteX6895" fmla="*/ 2413952 w 8079933"/>
              <a:gd name="connsiteY6895" fmla="*/ 2941170 h 4687251"/>
              <a:gd name="connsiteX6896" fmla="*/ 2338208 w 8079933"/>
              <a:gd name="connsiteY6896" fmla="*/ 2938517 h 4687251"/>
              <a:gd name="connsiteX6897" fmla="*/ 2339510 w 8079933"/>
              <a:gd name="connsiteY6897" fmla="*/ 2940412 h 4687251"/>
              <a:gd name="connsiteX6898" fmla="*/ 2339615 w 8079933"/>
              <a:gd name="connsiteY6898" fmla="*/ 2943016 h 4687251"/>
              <a:gd name="connsiteX6899" fmla="*/ 2339510 w 8079933"/>
              <a:gd name="connsiteY6899" fmla="*/ 2940411 h 4687251"/>
              <a:gd name="connsiteX6900" fmla="*/ 2724047 w 8079933"/>
              <a:gd name="connsiteY6900" fmla="*/ 2938472 h 4687251"/>
              <a:gd name="connsiteX6901" fmla="*/ 2723959 w 8079933"/>
              <a:gd name="connsiteY6901" fmla="*/ 2938588 h 4687251"/>
              <a:gd name="connsiteX6902" fmla="*/ 2723984 w 8079933"/>
              <a:gd name="connsiteY6902" fmla="*/ 2938571 h 4687251"/>
              <a:gd name="connsiteX6903" fmla="*/ 6767533 w 8079933"/>
              <a:gd name="connsiteY6903" fmla="*/ 2938247 h 4687251"/>
              <a:gd name="connsiteX6904" fmla="*/ 6772633 w 8079933"/>
              <a:gd name="connsiteY6904" fmla="*/ 2940087 h 4687251"/>
              <a:gd name="connsiteX6905" fmla="*/ 6772742 w 8079933"/>
              <a:gd name="connsiteY6905" fmla="*/ 2941711 h 4687251"/>
              <a:gd name="connsiteX6906" fmla="*/ 6768726 w 8079933"/>
              <a:gd name="connsiteY6906" fmla="*/ 2941603 h 4687251"/>
              <a:gd name="connsiteX6907" fmla="*/ 6767424 w 8079933"/>
              <a:gd name="connsiteY6907" fmla="*/ 2939221 h 4687251"/>
              <a:gd name="connsiteX6908" fmla="*/ 2537444 w 8079933"/>
              <a:gd name="connsiteY6908" fmla="*/ 2938029 h 4687251"/>
              <a:gd name="connsiteX6909" fmla="*/ 2537010 w 8079933"/>
              <a:gd name="connsiteY6909" fmla="*/ 2938060 h 4687251"/>
              <a:gd name="connsiteX6910" fmla="*/ 2537010 w 8079933"/>
              <a:gd name="connsiteY6910" fmla="*/ 2939221 h 4687251"/>
              <a:gd name="connsiteX6911" fmla="*/ 2532670 w 8079933"/>
              <a:gd name="connsiteY6911" fmla="*/ 2944526 h 4687251"/>
              <a:gd name="connsiteX6912" fmla="*/ 2531150 w 8079933"/>
              <a:gd name="connsiteY6912" fmla="*/ 2951022 h 4687251"/>
              <a:gd name="connsiteX6913" fmla="*/ 2526484 w 8079933"/>
              <a:gd name="connsiteY6913" fmla="*/ 2959143 h 4687251"/>
              <a:gd name="connsiteX6914" fmla="*/ 2526484 w 8079933"/>
              <a:gd name="connsiteY6914" fmla="*/ 2964339 h 4687251"/>
              <a:gd name="connsiteX6915" fmla="*/ 2524748 w 8079933"/>
              <a:gd name="connsiteY6915" fmla="*/ 2967804 h 4687251"/>
              <a:gd name="connsiteX6916" fmla="*/ 2524096 w 8079933"/>
              <a:gd name="connsiteY6916" fmla="*/ 2972135 h 4687251"/>
              <a:gd name="connsiteX6917" fmla="*/ 2525291 w 8079933"/>
              <a:gd name="connsiteY6917" fmla="*/ 2974517 h 4687251"/>
              <a:gd name="connsiteX6918" fmla="*/ 2524205 w 8079933"/>
              <a:gd name="connsiteY6918" fmla="*/ 2977765 h 4687251"/>
              <a:gd name="connsiteX6919" fmla="*/ 2524205 w 8079933"/>
              <a:gd name="connsiteY6919" fmla="*/ 2982637 h 4687251"/>
              <a:gd name="connsiteX6920" fmla="*/ 2528546 w 8079933"/>
              <a:gd name="connsiteY6920" fmla="*/ 2987077 h 4687251"/>
              <a:gd name="connsiteX6921" fmla="*/ 2533755 w 8079933"/>
              <a:gd name="connsiteY6921" fmla="*/ 2992273 h 4687251"/>
              <a:gd name="connsiteX6922" fmla="*/ 2533755 w 8079933"/>
              <a:gd name="connsiteY6922" fmla="*/ 2995738 h 4687251"/>
              <a:gd name="connsiteX6923" fmla="*/ 2537227 w 8079933"/>
              <a:gd name="connsiteY6923" fmla="*/ 3000069 h 4687251"/>
              <a:gd name="connsiteX6924" fmla="*/ 2546668 w 8079933"/>
              <a:gd name="connsiteY6924" fmla="*/ 3008189 h 4687251"/>
              <a:gd name="connsiteX6925" fmla="*/ 2547334 w 8079933"/>
              <a:gd name="connsiteY6925" fmla="*/ 3008455 h 4687251"/>
              <a:gd name="connsiteX6926" fmla="*/ 2538855 w 8079933"/>
              <a:gd name="connsiteY6926" fmla="*/ 3001259 h 4687251"/>
              <a:gd name="connsiteX6927" fmla="*/ 2535382 w 8079933"/>
              <a:gd name="connsiteY6927" fmla="*/ 2996928 h 4687251"/>
              <a:gd name="connsiteX6928" fmla="*/ 2535165 w 8079933"/>
              <a:gd name="connsiteY6928" fmla="*/ 2993464 h 4687251"/>
              <a:gd name="connsiteX6929" fmla="*/ 2530065 w 8079933"/>
              <a:gd name="connsiteY6929" fmla="*/ 2988375 h 4687251"/>
              <a:gd name="connsiteX6930" fmla="*/ 2525724 w 8079933"/>
              <a:gd name="connsiteY6930" fmla="*/ 2983936 h 4687251"/>
              <a:gd name="connsiteX6931" fmla="*/ 2525182 w 8079933"/>
              <a:gd name="connsiteY6931" fmla="*/ 2979064 h 4687251"/>
              <a:gd name="connsiteX6932" fmla="*/ 2526267 w 8079933"/>
              <a:gd name="connsiteY6932" fmla="*/ 2975815 h 4687251"/>
              <a:gd name="connsiteX6933" fmla="*/ 2525073 w 8079933"/>
              <a:gd name="connsiteY6933" fmla="*/ 2973434 h 4687251"/>
              <a:gd name="connsiteX6934" fmla="*/ 2525724 w 8079933"/>
              <a:gd name="connsiteY6934" fmla="*/ 2969103 h 4687251"/>
              <a:gd name="connsiteX6935" fmla="*/ 2527460 w 8079933"/>
              <a:gd name="connsiteY6935" fmla="*/ 2965638 h 4687251"/>
              <a:gd name="connsiteX6936" fmla="*/ 2527135 w 8079933"/>
              <a:gd name="connsiteY6936" fmla="*/ 2960550 h 4687251"/>
              <a:gd name="connsiteX6937" fmla="*/ 2531801 w 8079933"/>
              <a:gd name="connsiteY6937" fmla="*/ 2952429 h 4687251"/>
              <a:gd name="connsiteX6938" fmla="*/ 2533320 w 8079933"/>
              <a:gd name="connsiteY6938" fmla="*/ 2945824 h 4687251"/>
              <a:gd name="connsiteX6939" fmla="*/ 2537552 w 8079933"/>
              <a:gd name="connsiteY6939" fmla="*/ 2940520 h 4687251"/>
              <a:gd name="connsiteX6940" fmla="*/ 6760043 w 8079933"/>
              <a:gd name="connsiteY6940" fmla="*/ 2934348 h 4687251"/>
              <a:gd name="connsiteX6941" fmla="*/ 6753316 w 8079933"/>
              <a:gd name="connsiteY6941" fmla="*/ 2934565 h 4687251"/>
              <a:gd name="connsiteX6942" fmla="*/ 6753317 w 8079933"/>
              <a:gd name="connsiteY6942" fmla="*/ 2934566 h 4687251"/>
              <a:gd name="connsiteX6943" fmla="*/ 6760045 w 8079933"/>
              <a:gd name="connsiteY6943" fmla="*/ 2934349 h 4687251"/>
              <a:gd name="connsiteX6944" fmla="*/ 6542903 w 8079933"/>
              <a:gd name="connsiteY6944" fmla="*/ 2933916 h 4687251"/>
              <a:gd name="connsiteX6945" fmla="*/ 6548329 w 8079933"/>
              <a:gd name="connsiteY6945" fmla="*/ 2941169 h 4687251"/>
              <a:gd name="connsiteX6946" fmla="*/ 6546376 w 8079933"/>
              <a:gd name="connsiteY6946" fmla="*/ 2947882 h 4687251"/>
              <a:gd name="connsiteX6947" fmla="*/ 6542794 w 8079933"/>
              <a:gd name="connsiteY6947" fmla="*/ 2947882 h 4687251"/>
              <a:gd name="connsiteX6948" fmla="*/ 6543771 w 8079933"/>
              <a:gd name="connsiteY6948" fmla="*/ 2944201 h 4687251"/>
              <a:gd name="connsiteX6949" fmla="*/ 6541167 w 8079933"/>
              <a:gd name="connsiteY6949" fmla="*/ 2944201 h 4687251"/>
              <a:gd name="connsiteX6950" fmla="*/ 6536392 w 8079933"/>
              <a:gd name="connsiteY6950" fmla="*/ 2939654 h 4687251"/>
              <a:gd name="connsiteX6951" fmla="*/ 6538779 w 8079933"/>
              <a:gd name="connsiteY6951" fmla="*/ 2936298 h 4687251"/>
              <a:gd name="connsiteX6952" fmla="*/ 6731012 w 8079933"/>
              <a:gd name="connsiteY6952" fmla="*/ 2932430 h 4687251"/>
              <a:gd name="connsiteX6953" fmla="*/ 6732699 w 8079933"/>
              <a:gd name="connsiteY6953" fmla="*/ 2933158 h 4687251"/>
              <a:gd name="connsiteX6954" fmla="*/ 6740187 w 8079933"/>
              <a:gd name="connsiteY6954" fmla="*/ 2932509 h 4687251"/>
              <a:gd name="connsiteX6955" fmla="*/ 6750712 w 8079933"/>
              <a:gd name="connsiteY6955" fmla="*/ 2932616 h 4687251"/>
              <a:gd name="connsiteX6956" fmla="*/ 6750711 w 8079933"/>
              <a:gd name="connsiteY6956" fmla="*/ 2932616 h 4687251"/>
              <a:gd name="connsiteX6957" fmla="*/ 6740184 w 8079933"/>
              <a:gd name="connsiteY6957" fmla="*/ 2932508 h 4687251"/>
              <a:gd name="connsiteX6958" fmla="*/ 6732697 w 8079933"/>
              <a:gd name="connsiteY6958" fmla="*/ 2933157 h 4687251"/>
              <a:gd name="connsiteX6959" fmla="*/ 4921881 w 8079933"/>
              <a:gd name="connsiteY6959" fmla="*/ 2932291 h 4687251"/>
              <a:gd name="connsiteX6960" fmla="*/ 4925353 w 8079933"/>
              <a:gd name="connsiteY6960" fmla="*/ 2934024 h 4687251"/>
              <a:gd name="connsiteX6961" fmla="*/ 4928174 w 8079933"/>
              <a:gd name="connsiteY6961" fmla="*/ 2939220 h 4687251"/>
              <a:gd name="connsiteX6962" fmla="*/ 4932297 w 8079933"/>
              <a:gd name="connsiteY6962" fmla="*/ 2941494 h 4687251"/>
              <a:gd name="connsiteX6963" fmla="*/ 4937649 w 8079933"/>
              <a:gd name="connsiteY6963" fmla="*/ 2940594 h 4687251"/>
              <a:gd name="connsiteX6964" fmla="*/ 4932299 w 8079933"/>
              <a:gd name="connsiteY6964" fmla="*/ 2941494 h 4687251"/>
              <a:gd name="connsiteX6965" fmla="*/ 4928175 w 8079933"/>
              <a:gd name="connsiteY6965" fmla="*/ 2939220 h 4687251"/>
              <a:gd name="connsiteX6966" fmla="*/ 4925354 w 8079933"/>
              <a:gd name="connsiteY6966" fmla="*/ 2934024 h 4687251"/>
              <a:gd name="connsiteX6967" fmla="*/ 4921882 w 8079933"/>
              <a:gd name="connsiteY6967" fmla="*/ 2932291 h 4687251"/>
              <a:gd name="connsiteX6968" fmla="*/ 4964962 w 8079933"/>
              <a:gd name="connsiteY6968" fmla="*/ 2931642 h 4687251"/>
              <a:gd name="connsiteX6969" fmla="*/ 4957909 w 8079933"/>
              <a:gd name="connsiteY6969" fmla="*/ 2932724 h 4687251"/>
              <a:gd name="connsiteX6970" fmla="*/ 4957908 w 8079933"/>
              <a:gd name="connsiteY6970" fmla="*/ 2932725 h 4687251"/>
              <a:gd name="connsiteX6971" fmla="*/ 4964961 w 8079933"/>
              <a:gd name="connsiteY6971" fmla="*/ 2931642 h 4687251"/>
              <a:gd name="connsiteX6972" fmla="*/ 6728681 w 8079933"/>
              <a:gd name="connsiteY6972" fmla="*/ 2931425 h 4687251"/>
              <a:gd name="connsiteX6973" fmla="*/ 6723690 w 8079933"/>
              <a:gd name="connsiteY6973" fmla="*/ 2937488 h 4687251"/>
              <a:gd name="connsiteX6974" fmla="*/ 6724015 w 8079933"/>
              <a:gd name="connsiteY6974" fmla="*/ 2940520 h 4687251"/>
              <a:gd name="connsiteX6975" fmla="*/ 6721628 w 8079933"/>
              <a:gd name="connsiteY6975" fmla="*/ 2944742 h 4687251"/>
              <a:gd name="connsiteX6976" fmla="*/ 6721628 w 8079933"/>
              <a:gd name="connsiteY6976" fmla="*/ 2948315 h 4687251"/>
              <a:gd name="connsiteX6977" fmla="*/ 6716419 w 8079933"/>
              <a:gd name="connsiteY6977" fmla="*/ 2966721 h 4687251"/>
              <a:gd name="connsiteX6978" fmla="*/ 6709257 w 8079933"/>
              <a:gd name="connsiteY6978" fmla="*/ 2977548 h 4687251"/>
              <a:gd name="connsiteX6979" fmla="*/ 6705459 w 8079933"/>
              <a:gd name="connsiteY6979" fmla="*/ 2987617 h 4687251"/>
              <a:gd name="connsiteX6980" fmla="*/ 6695909 w 8079933"/>
              <a:gd name="connsiteY6980" fmla="*/ 3001909 h 4687251"/>
              <a:gd name="connsiteX6981" fmla="*/ 6696669 w 8079933"/>
              <a:gd name="connsiteY6981" fmla="*/ 3005590 h 4687251"/>
              <a:gd name="connsiteX6982" fmla="*/ 6685275 w 8079933"/>
              <a:gd name="connsiteY6982" fmla="*/ 3007214 h 4687251"/>
              <a:gd name="connsiteX6983" fmla="*/ 6675400 w 8079933"/>
              <a:gd name="connsiteY6983" fmla="*/ 3012627 h 4687251"/>
              <a:gd name="connsiteX6984" fmla="*/ 6669758 w 8079933"/>
              <a:gd name="connsiteY6984" fmla="*/ 3012736 h 4687251"/>
              <a:gd name="connsiteX6985" fmla="*/ 6669759 w 8079933"/>
              <a:gd name="connsiteY6985" fmla="*/ 3012737 h 4687251"/>
              <a:gd name="connsiteX6986" fmla="*/ 6675403 w 8079933"/>
              <a:gd name="connsiteY6986" fmla="*/ 3012629 h 4687251"/>
              <a:gd name="connsiteX6987" fmla="*/ 6685278 w 8079933"/>
              <a:gd name="connsiteY6987" fmla="*/ 3007215 h 4687251"/>
              <a:gd name="connsiteX6988" fmla="*/ 6696672 w 8079933"/>
              <a:gd name="connsiteY6988" fmla="*/ 3005592 h 4687251"/>
              <a:gd name="connsiteX6989" fmla="*/ 6695912 w 8079933"/>
              <a:gd name="connsiteY6989" fmla="*/ 3001910 h 4687251"/>
              <a:gd name="connsiteX6990" fmla="*/ 6705461 w 8079933"/>
              <a:gd name="connsiteY6990" fmla="*/ 2987619 h 4687251"/>
              <a:gd name="connsiteX6991" fmla="*/ 6709260 w 8079933"/>
              <a:gd name="connsiteY6991" fmla="*/ 2977549 h 4687251"/>
              <a:gd name="connsiteX6992" fmla="*/ 6716422 w 8079933"/>
              <a:gd name="connsiteY6992" fmla="*/ 2966723 h 4687251"/>
              <a:gd name="connsiteX6993" fmla="*/ 6721631 w 8079933"/>
              <a:gd name="connsiteY6993" fmla="*/ 2948316 h 4687251"/>
              <a:gd name="connsiteX6994" fmla="*/ 6721631 w 8079933"/>
              <a:gd name="connsiteY6994" fmla="*/ 2944743 h 4687251"/>
              <a:gd name="connsiteX6995" fmla="*/ 6724018 w 8079933"/>
              <a:gd name="connsiteY6995" fmla="*/ 2940520 h 4687251"/>
              <a:gd name="connsiteX6996" fmla="*/ 6723692 w 8079933"/>
              <a:gd name="connsiteY6996" fmla="*/ 2937489 h 4687251"/>
              <a:gd name="connsiteX6997" fmla="*/ 6728684 w 8079933"/>
              <a:gd name="connsiteY6997" fmla="*/ 2931426 h 4687251"/>
              <a:gd name="connsiteX6998" fmla="*/ 4384506 w 8079933"/>
              <a:gd name="connsiteY6998" fmla="*/ 2930235 h 4687251"/>
              <a:gd name="connsiteX6999" fmla="*/ 4384506 w 8079933"/>
              <a:gd name="connsiteY6999" fmla="*/ 2932942 h 4687251"/>
              <a:gd name="connsiteX7000" fmla="*/ 4388304 w 8079933"/>
              <a:gd name="connsiteY7000" fmla="*/ 2938030 h 4687251"/>
              <a:gd name="connsiteX7001" fmla="*/ 4388304 w 8079933"/>
              <a:gd name="connsiteY7001" fmla="*/ 2938029 h 4687251"/>
              <a:gd name="connsiteX7002" fmla="*/ 4384506 w 8079933"/>
              <a:gd name="connsiteY7002" fmla="*/ 2932941 h 4687251"/>
              <a:gd name="connsiteX7003" fmla="*/ 4384506 w 8079933"/>
              <a:gd name="connsiteY7003" fmla="*/ 2930235 h 4687251"/>
              <a:gd name="connsiteX7004" fmla="*/ 6987280 w 8079933"/>
              <a:gd name="connsiteY7004" fmla="*/ 2930127 h 4687251"/>
              <a:gd name="connsiteX7005" fmla="*/ 6990426 w 8079933"/>
              <a:gd name="connsiteY7005" fmla="*/ 2932184 h 4687251"/>
              <a:gd name="connsiteX7006" fmla="*/ 6991620 w 8079933"/>
              <a:gd name="connsiteY7006" fmla="*/ 2936731 h 4687251"/>
              <a:gd name="connsiteX7007" fmla="*/ 6989667 w 8079933"/>
              <a:gd name="connsiteY7007" fmla="*/ 2940845 h 4687251"/>
              <a:gd name="connsiteX7008" fmla="*/ 6987280 w 8079933"/>
              <a:gd name="connsiteY7008" fmla="*/ 2941928 h 4687251"/>
              <a:gd name="connsiteX7009" fmla="*/ 6986737 w 8079933"/>
              <a:gd name="connsiteY7009" fmla="*/ 2937489 h 4687251"/>
              <a:gd name="connsiteX7010" fmla="*/ 6985000 w 8079933"/>
              <a:gd name="connsiteY7010" fmla="*/ 2931643 h 4687251"/>
              <a:gd name="connsiteX7011" fmla="*/ 4473706 w 8079933"/>
              <a:gd name="connsiteY7011" fmla="*/ 2928394 h 4687251"/>
              <a:gd name="connsiteX7012" fmla="*/ 4474140 w 8079933"/>
              <a:gd name="connsiteY7012" fmla="*/ 2930992 h 4687251"/>
              <a:gd name="connsiteX7013" fmla="*/ 4476636 w 8079933"/>
              <a:gd name="connsiteY7013" fmla="*/ 2933049 h 4687251"/>
              <a:gd name="connsiteX7014" fmla="*/ 4475768 w 8079933"/>
              <a:gd name="connsiteY7014" fmla="*/ 2934997 h 4687251"/>
              <a:gd name="connsiteX7015" fmla="*/ 4476636 w 8079933"/>
              <a:gd name="connsiteY7015" fmla="*/ 2933049 h 4687251"/>
              <a:gd name="connsiteX7016" fmla="*/ 4474141 w 8079933"/>
              <a:gd name="connsiteY7016" fmla="*/ 2930991 h 4687251"/>
              <a:gd name="connsiteX7017" fmla="*/ 6690376 w 8079933"/>
              <a:gd name="connsiteY7017" fmla="*/ 2928178 h 4687251"/>
              <a:gd name="connsiteX7018" fmla="*/ 6694499 w 8079933"/>
              <a:gd name="connsiteY7018" fmla="*/ 2935215 h 4687251"/>
              <a:gd name="connsiteX7019" fmla="*/ 6697361 w 8079933"/>
              <a:gd name="connsiteY7019" fmla="*/ 2937406 h 4687251"/>
              <a:gd name="connsiteX7020" fmla="*/ 6694500 w 8079933"/>
              <a:gd name="connsiteY7020" fmla="*/ 2935215 h 4687251"/>
              <a:gd name="connsiteX7021" fmla="*/ 2337045 w 8079933"/>
              <a:gd name="connsiteY7021" fmla="*/ 2927893 h 4687251"/>
              <a:gd name="connsiteX7022" fmla="*/ 2336689 w 8079933"/>
              <a:gd name="connsiteY7022" fmla="*/ 2929043 h 4687251"/>
              <a:gd name="connsiteX7023" fmla="*/ 2336689 w 8079933"/>
              <a:gd name="connsiteY7023" fmla="*/ 2929043 h 4687251"/>
              <a:gd name="connsiteX7024" fmla="*/ 4655655 w 8079933"/>
              <a:gd name="connsiteY7024" fmla="*/ 2926341 h 4687251"/>
              <a:gd name="connsiteX7025" fmla="*/ 4656665 w 8079933"/>
              <a:gd name="connsiteY7025" fmla="*/ 2928393 h 4687251"/>
              <a:gd name="connsiteX7026" fmla="*/ 4659378 w 8079933"/>
              <a:gd name="connsiteY7026" fmla="*/ 2931533 h 4687251"/>
              <a:gd name="connsiteX7027" fmla="*/ 4660680 w 8079933"/>
              <a:gd name="connsiteY7027" fmla="*/ 2933590 h 4687251"/>
              <a:gd name="connsiteX7028" fmla="*/ 4659378 w 8079933"/>
              <a:gd name="connsiteY7028" fmla="*/ 2931533 h 4687251"/>
              <a:gd name="connsiteX7029" fmla="*/ 4656665 w 8079933"/>
              <a:gd name="connsiteY7029" fmla="*/ 2928394 h 4687251"/>
              <a:gd name="connsiteX7030" fmla="*/ 4830956 w 8079933"/>
              <a:gd name="connsiteY7030" fmla="*/ 2925851 h 4687251"/>
              <a:gd name="connsiteX7031" fmla="*/ 4834633 w 8079933"/>
              <a:gd name="connsiteY7031" fmla="*/ 2928177 h 4687251"/>
              <a:gd name="connsiteX7032" fmla="*/ 4844725 w 8079933"/>
              <a:gd name="connsiteY7032" fmla="*/ 2937705 h 4687251"/>
              <a:gd name="connsiteX7033" fmla="*/ 4850585 w 8079933"/>
              <a:gd name="connsiteY7033" fmla="*/ 2941711 h 4687251"/>
              <a:gd name="connsiteX7034" fmla="*/ 4854492 w 8079933"/>
              <a:gd name="connsiteY7034" fmla="*/ 2946258 h 4687251"/>
              <a:gd name="connsiteX7035" fmla="*/ 4858290 w 8079933"/>
              <a:gd name="connsiteY7035" fmla="*/ 2947449 h 4687251"/>
              <a:gd name="connsiteX7036" fmla="*/ 4858291 w 8079933"/>
              <a:gd name="connsiteY7036" fmla="*/ 2947449 h 4687251"/>
              <a:gd name="connsiteX7037" fmla="*/ 4854493 w 8079933"/>
              <a:gd name="connsiteY7037" fmla="*/ 2946258 h 4687251"/>
              <a:gd name="connsiteX7038" fmla="*/ 4850586 w 8079933"/>
              <a:gd name="connsiteY7038" fmla="*/ 2941711 h 4687251"/>
              <a:gd name="connsiteX7039" fmla="*/ 4844726 w 8079933"/>
              <a:gd name="connsiteY7039" fmla="*/ 2937704 h 4687251"/>
              <a:gd name="connsiteX7040" fmla="*/ 4834634 w 8079933"/>
              <a:gd name="connsiteY7040" fmla="*/ 2928177 h 4687251"/>
              <a:gd name="connsiteX7041" fmla="*/ 4389715 w 8079933"/>
              <a:gd name="connsiteY7041" fmla="*/ 2925795 h 4687251"/>
              <a:gd name="connsiteX7042" fmla="*/ 4389714 w 8079933"/>
              <a:gd name="connsiteY7042" fmla="*/ 2925796 h 4687251"/>
              <a:gd name="connsiteX7043" fmla="*/ 4389714 w 8079933"/>
              <a:gd name="connsiteY7043" fmla="*/ 2928394 h 4687251"/>
              <a:gd name="connsiteX7044" fmla="*/ 4389715 w 8079933"/>
              <a:gd name="connsiteY7044" fmla="*/ 2928393 h 4687251"/>
              <a:gd name="connsiteX7045" fmla="*/ 4608126 w 8079933"/>
              <a:gd name="connsiteY7045" fmla="*/ 2925644 h 4687251"/>
              <a:gd name="connsiteX7046" fmla="*/ 4608375 w 8079933"/>
              <a:gd name="connsiteY7046" fmla="*/ 2925903 h 4687251"/>
              <a:gd name="connsiteX7047" fmla="*/ 4608376 w 8079933"/>
              <a:gd name="connsiteY7047" fmla="*/ 2925903 h 4687251"/>
              <a:gd name="connsiteX7048" fmla="*/ 4975922 w 8079933"/>
              <a:gd name="connsiteY7048" fmla="*/ 2925470 h 4687251"/>
              <a:gd name="connsiteX7049" fmla="*/ 4972536 w 8079933"/>
              <a:gd name="connsiteY7049" fmla="*/ 2927435 h 4687251"/>
              <a:gd name="connsiteX7050" fmla="*/ 4975922 w 8079933"/>
              <a:gd name="connsiteY7050" fmla="*/ 2925471 h 4687251"/>
              <a:gd name="connsiteX7051" fmla="*/ 2659591 w 8079933"/>
              <a:gd name="connsiteY7051" fmla="*/ 2923041 h 4687251"/>
              <a:gd name="connsiteX7052" fmla="*/ 2659851 w 8079933"/>
              <a:gd name="connsiteY7052" fmla="*/ 2923738 h 4687251"/>
              <a:gd name="connsiteX7053" fmla="*/ 2659540 w 8079933"/>
              <a:gd name="connsiteY7053" fmla="*/ 2926838 h 4687251"/>
              <a:gd name="connsiteX7054" fmla="*/ 2659851 w 8079933"/>
              <a:gd name="connsiteY7054" fmla="*/ 2923739 h 4687251"/>
              <a:gd name="connsiteX7055" fmla="*/ 4601911 w 8079933"/>
              <a:gd name="connsiteY7055" fmla="*/ 2921093 h 4687251"/>
              <a:gd name="connsiteX7056" fmla="*/ 4602841 w 8079933"/>
              <a:gd name="connsiteY7056" fmla="*/ 2922222 h 4687251"/>
              <a:gd name="connsiteX7057" fmla="*/ 4601912 w 8079933"/>
              <a:gd name="connsiteY7057" fmla="*/ 2921094 h 4687251"/>
              <a:gd name="connsiteX7058" fmla="*/ 6808226 w 8079933"/>
              <a:gd name="connsiteY7058" fmla="*/ 2919841 h 4687251"/>
              <a:gd name="connsiteX7059" fmla="*/ 6809420 w 8079933"/>
              <a:gd name="connsiteY7059" fmla="*/ 2923306 h 4687251"/>
              <a:gd name="connsiteX7060" fmla="*/ 6809420 w 8079933"/>
              <a:gd name="connsiteY7060" fmla="*/ 2927095 h 4687251"/>
              <a:gd name="connsiteX7061" fmla="*/ 6807358 w 8079933"/>
              <a:gd name="connsiteY7061" fmla="*/ 2922765 h 4687251"/>
              <a:gd name="connsiteX7062" fmla="*/ 4392428 w 8079933"/>
              <a:gd name="connsiteY7062" fmla="*/ 2919732 h 4687251"/>
              <a:gd name="connsiteX7063" fmla="*/ 4392427 w 8079933"/>
              <a:gd name="connsiteY7063" fmla="*/ 2919733 h 4687251"/>
              <a:gd name="connsiteX7064" fmla="*/ 4391884 w 8079933"/>
              <a:gd name="connsiteY7064" fmla="*/ 2923089 h 4687251"/>
              <a:gd name="connsiteX7065" fmla="*/ 4391136 w 8079933"/>
              <a:gd name="connsiteY7065" fmla="*/ 2924022 h 4687251"/>
              <a:gd name="connsiteX7066" fmla="*/ 4391885 w 8079933"/>
              <a:gd name="connsiteY7066" fmla="*/ 2923088 h 4687251"/>
              <a:gd name="connsiteX7067" fmla="*/ 4987967 w 8079933"/>
              <a:gd name="connsiteY7067" fmla="*/ 2917242 h 4687251"/>
              <a:gd name="connsiteX7068" fmla="*/ 4983844 w 8079933"/>
              <a:gd name="connsiteY7068" fmla="*/ 2917567 h 4687251"/>
              <a:gd name="connsiteX7069" fmla="*/ 4983843 w 8079933"/>
              <a:gd name="connsiteY7069" fmla="*/ 2917567 h 4687251"/>
              <a:gd name="connsiteX7070" fmla="*/ 4987967 w 8079933"/>
              <a:gd name="connsiteY7070" fmla="*/ 2917242 h 4687251"/>
              <a:gd name="connsiteX7071" fmla="*/ 2524639 w 8079933"/>
              <a:gd name="connsiteY7071" fmla="*/ 2915296 h 4687251"/>
              <a:gd name="connsiteX7072" fmla="*/ 2524639 w 8079933"/>
              <a:gd name="connsiteY7072" fmla="*/ 2920057 h 4687251"/>
              <a:gd name="connsiteX7073" fmla="*/ 2521709 w 8079933"/>
              <a:gd name="connsiteY7073" fmla="*/ 2924713 h 4687251"/>
              <a:gd name="connsiteX7074" fmla="*/ 2519648 w 8079933"/>
              <a:gd name="connsiteY7074" fmla="*/ 2927636 h 4687251"/>
              <a:gd name="connsiteX7075" fmla="*/ 2521042 w 8079933"/>
              <a:gd name="connsiteY7075" fmla="*/ 2928331 h 4687251"/>
              <a:gd name="connsiteX7076" fmla="*/ 2522143 w 8079933"/>
              <a:gd name="connsiteY7076" fmla="*/ 2926769 h 4687251"/>
              <a:gd name="connsiteX7077" fmla="*/ 2525073 w 8079933"/>
              <a:gd name="connsiteY7077" fmla="*/ 2922114 h 4687251"/>
              <a:gd name="connsiteX7078" fmla="*/ 2525073 w 8079933"/>
              <a:gd name="connsiteY7078" fmla="*/ 2915834 h 4687251"/>
              <a:gd name="connsiteX7079" fmla="*/ 4151931 w 8079933"/>
              <a:gd name="connsiteY7079" fmla="*/ 2915264 h 4687251"/>
              <a:gd name="connsiteX7080" fmla="*/ 4146095 w 8079933"/>
              <a:gd name="connsiteY7080" fmla="*/ 2922005 h 4687251"/>
              <a:gd name="connsiteX7081" fmla="*/ 4146095 w 8079933"/>
              <a:gd name="connsiteY7081" fmla="*/ 2922006 h 4687251"/>
              <a:gd name="connsiteX7082" fmla="*/ 4598750 w 8079933"/>
              <a:gd name="connsiteY7082" fmla="*/ 2914851 h 4687251"/>
              <a:gd name="connsiteX7083" fmla="*/ 4598717 w 8079933"/>
              <a:gd name="connsiteY7083" fmla="*/ 2915184 h 4687251"/>
              <a:gd name="connsiteX7084" fmla="*/ 4598717 w 8079933"/>
              <a:gd name="connsiteY7084" fmla="*/ 2915184 h 4687251"/>
              <a:gd name="connsiteX7085" fmla="*/ 4598751 w 8079933"/>
              <a:gd name="connsiteY7085" fmla="*/ 2914852 h 4687251"/>
              <a:gd name="connsiteX7086" fmla="*/ 5007393 w 8079933"/>
              <a:gd name="connsiteY7086" fmla="*/ 2913777 h 4687251"/>
              <a:gd name="connsiteX7087" fmla="*/ 4992526 w 8079933"/>
              <a:gd name="connsiteY7087" fmla="*/ 2914426 h 4687251"/>
              <a:gd name="connsiteX7088" fmla="*/ 4992525 w 8079933"/>
              <a:gd name="connsiteY7088" fmla="*/ 2914427 h 4687251"/>
              <a:gd name="connsiteX7089" fmla="*/ 5007391 w 8079933"/>
              <a:gd name="connsiteY7089" fmla="*/ 2913778 h 4687251"/>
              <a:gd name="connsiteX7090" fmla="*/ 5022041 w 8079933"/>
              <a:gd name="connsiteY7090" fmla="*/ 2914210 h 4687251"/>
              <a:gd name="connsiteX7091" fmla="*/ 5022042 w 8079933"/>
              <a:gd name="connsiteY7091" fmla="*/ 2914210 h 4687251"/>
              <a:gd name="connsiteX7092" fmla="*/ 4154776 w 8079933"/>
              <a:gd name="connsiteY7092" fmla="*/ 2908905 h 4687251"/>
              <a:gd name="connsiteX7093" fmla="*/ 4153707 w 8079933"/>
              <a:gd name="connsiteY7093" fmla="*/ 2911456 h 4687251"/>
              <a:gd name="connsiteX7094" fmla="*/ 4154776 w 8079933"/>
              <a:gd name="connsiteY7094" fmla="*/ 2908906 h 4687251"/>
              <a:gd name="connsiteX7095" fmla="*/ 4547227 w 8079933"/>
              <a:gd name="connsiteY7095" fmla="*/ 2908062 h 4687251"/>
              <a:gd name="connsiteX7096" fmla="*/ 4547063 w 8079933"/>
              <a:gd name="connsiteY7096" fmla="*/ 2909447 h 4687251"/>
              <a:gd name="connsiteX7097" fmla="*/ 4548040 w 8079933"/>
              <a:gd name="connsiteY7097" fmla="*/ 2911071 h 4687251"/>
              <a:gd name="connsiteX7098" fmla="*/ 4548040 w 8079933"/>
              <a:gd name="connsiteY7098" fmla="*/ 2911070 h 4687251"/>
              <a:gd name="connsiteX7099" fmla="*/ 4547063 w 8079933"/>
              <a:gd name="connsiteY7099" fmla="*/ 2909446 h 4687251"/>
              <a:gd name="connsiteX7100" fmla="*/ 6828193 w 8079933"/>
              <a:gd name="connsiteY7100" fmla="*/ 2907714 h 4687251"/>
              <a:gd name="connsiteX7101" fmla="*/ 6828627 w 8079933"/>
              <a:gd name="connsiteY7101" fmla="*/ 2911287 h 4687251"/>
              <a:gd name="connsiteX7102" fmla="*/ 6823093 w 8079933"/>
              <a:gd name="connsiteY7102" fmla="*/ 2915184 h 4687251"/>
              <a:gd name="connsiteX7103" fmla="*/ 6817884 w 8079933"/>
              <a:gd name="connsiteY7103" fmla="*/ 2916375 h 4687251"/>
              <a:gd name="connsiteX7104" fmla="*/ 6816581 w 8079933"/>
              <a:gd name="connsiteY7104" fmla="*/ 2914860 h 4687251"/>
              <a:gd name="connsiteX7105" fmla="*/ 6824503 w 8079933"/>
              <a:gd name="connsiteY7105" fmla="*/ 2908363 h 4687251"/>
              <a:gd name="connsiteX7106" fmla="*/ 4798388 w 8079933"/>
              <a:gd name="connsiteY7106" fmla="*/ 2906523 h 4687251"/>
              <a:gd name="connsiteX7107" fmla="*/ 4798388 w 8079933"/>
              <a:gd name="connsiteY7107" fmla="*/ 2920923 h 4687251"/>
              <a:gd name="connsiteX7108" fmla="*/ 4802512 w 8079933"/>
              <a:gd name="connsiteY7108" fmla="*/ 2925471 h 4687251"/>
              <a:gd name="connsiteX7109" fmla="*/ 4807178 w 8079933"/>
              <a:gd name="connsiteY7109" fmla="*/ 2926445 h 4687251"/>
              <a:gd name="connsiteX7110" fmla="*/ 4812604 w 8079933"/>
              <a:gd name="connsiteY7110" fmla="*/ 2924604 h 4687251"/>
              <a:gd name="connsiteX7111" fmla="*/ 4818573 w 8079933"/>
              <a:gd name="connsiteY7111" fmla="*/ 2926120 h 4687251"/>
              <a:gd name="connsiteX7112" fmla="*/ 4823988 w 8079933"/>
              <a:gd name="connsiteY7112" fmla="*/ 2925766 h 4687251"/>
              <a:gd name="connsiteX7113" fmla="*/ 4818573 w 8079933"/>
              <a:gd name="connsiteY7113" fmla="*/ 2926120 h 4687251"/>
              <a:gd name="connsiteX7114" fmla="*/ 4812605 w 8079933"/>
              <a:gd name="connsiteY7114" fmla="*/ 2924604 h 4687251"/>
              <a:gd name="connsiteX7115" fmla="*/ 4807178 w 8079933"/>
              <a:gd name="connsiteY7115" fmla="*/ 2926444 h 4687251"/>
              <a:gd name="connsiteX7116" fmla="*/ 4802512 w 8079933"/>
              <a:gd name="connsiteY7116" fmla="*/ 2925470 h 4687251"/>
              <a:gd name="connsiteX7117" fmla="*/ 4798389 w 8079933"/>
              <a:gd name="connsiteY7117" fmla="*/ 2920922 h 4687251"/>
              <a:gd name="connsiteX7118" fmla="*/ 4798389 w 8079933"/>
              <a:gd name="connsiteY7118" fmla="*/ 2906523 h 4687251"/>
              <a:gd name="connsiteX7119" fmla="*/ 2345045 w 8079933"/>
              <a:gd name="connsiteY7119" fmla="*/ 2906414 h 4687251"/>
              <a:gd name="connsiteX7120" fmla="*/ 2339294 w 8079933"/>
              <a:gd name="connsiteY7120" fmla="*/ 2908147 h 4687251"/>
              <a:gd name="connsiteX7121" fmla="*/ 2339294 w 8079933"/>
              <a:gd name="connsiteY7121" fmla="*/ 2908147 h 4687251"/>
              <a:gd name="connsiteX7122" fmla="*/ 2345044 w 8079933"/>
              <a:gd name="connsiteY7122" fmla="*/ 2906415 h 4687251"/>
              <a:gd name="connsiteX7123" fmla="*/ 4786214 w 8079933"/>
              <a:gd name="connsiteY7123" fmla="*/ 2903880 h 4687251"/>
              <a:gd name="connsiteX7124" fmla="*/ 4785693 w 8079933"/>
              <a:gd name="connsiteY7124" fmla="*/ 2904465 h 4687251"/>
              <a:gd name="connsiteX7125" fmla="*/ 4785693 w 8079933"/>
              <a:gd name="connsiteY7125" fmla="*/ 2904465 h 4687251"/>
              <a:gd name="connsiteX7126" fmla="*/ 2346564 w 8079933"/>
              <a:gd name="connsiteY7126" fmla="*/ 2903491 h 4687251"/>
              <a:gd name="connsiteX7127" fmla="*/ 2345762 w 8079933"/>
              <a:gd name="connsiteY7127" fmla="*/ 2905034 h 4687251"/>
              <a:gd name="connsiteX7128" fmla="*/ 2346564 w 8079933"/>
              <a:gd name="connsiteY7128" fmla="*/ 2903492 h 4687251"/>
              <a:gd name="connsiteX7129" fmla="*/ 6345944 w 8079933"/>
              <a:gd name="connsiteY7129" fmla="*/ 2902626 h 4687251"/>
              <a:gd name="connsiteX7130" fmla="*/ 6348006 w 8079933"/>
              <a:gd name="connsiteY7130" fmla="*/ 2903168 h 4687251"/>
              <a:gd name="connsiteX7131" fmla="*/ 6350503 w 8079933"/>
              <a:gd name="connsiteY7131" fmla="*/ 2906524 h 4687251"/>
              <a:gd name="connsiteX7132" fmla="*/ 6351370 w 8079933"/>
              <a:gd name="connsiteY7132" fmla="*/ 2909772 h 4687251"/>
              <a:gd name="connsiteX7133" fmla="*/ 6349417 w 8079933"/>
              <a:gd name="connsiteY7133" fmla="*/ 2911071 h 4687251"/>
              <a:gd name="connsiteX7134" fmla="*/ 6346921 w 8079933"/>
              <a:gd name="connsiteY7134" fmla="*/ 2907606 h 4687251"/>
              <a:gd name="connsiteX7135" fmla="*/ 4787429 w 8079933"/>
              <a:gd name="connsiteY7135" fmla="*/ 2902517 h 4687251"/>
              <a:gd name="connsiteX7136" fmla="*/ 4787429 w 8079933"/>
              <a:gd name="connsiteY7136" fmla="*/ 2902517 h 4687251"/>
              <a:gd name="connsiteX7137" fmla="*/ 4790033 w 8079933"/>
              <a:gd name="connsiteY7137" fmla="*/ 2906956 h 4687251"/>
              <a:gd name="connsiteX7138" fmla="*/ 4794699 w 8079933"/>
              <a:gd name="connsiteY7138" fmla="*/ 2905982 h 4687251"/>
              <a:gd name="connsiteX7139" fmla="*/ 4796696 w 8079933"/>
              <a:gd name="connsiteY7139" fmla="*/ 2906275 h 4687251"/>
              <a:gd name="connsiteX7140" fmla="*/ 4794699 w 8079933"/>
              <a:gd name="connsiteY7140" fmla="*/ 2905981 h 4687251"/>
              <a:gd name="connsiteX7141" fmla="*/ 4790033 w 8079933"/>
              <a:gd name="connsiteY7141" fmla="*/ 2906955 h 4687251"/>
              <a:gd name="connsiteX7142" fmla="*/ 6233956 w 8079933"/>
              <a:gd name="connsiteY7142" fmla="*/ 2901544 h 4687251"/>
              <a:gd name="connsiteX7143" fmla="*/ 6243831 w 8079933"/>
              <a:gd name="connsiteY7143" fmla="*/ 2902951 h 4687251"/>
              <a:gd name="connsiteX7144" fmla="*/ 6254792 w 8079933"/>
              <a:gd name="connsiteY7144" fmla="*/ 2910531 h 4687251"/>
              <a:gd name="connsiteX7145" fmla="*/ 6258264 w 8079933"/>
              <a:gd name="connsiteY7145" fmla="*/ 2912695 h 4687251"/>
              <a:gd name="connsiteX7146" fmla="*/ 6265317 w 8079933"/>
              <a:gd name="connsiteY7146" fmla="*/ 2910855 h 4687251"/>
              <a:gd name="connsiteX7147" fmla="*/ 6271395 w 8079933"/>
              <a:gd name="connsiteY7147" fmla="*/ 2911072 h 4687251"/>
              <a:gd name="connsiteX7148" fmla="*/ 6273999 w 8079933"/>
              <a:gd name="connsiteY7148" fmla="*/ 2912695 h 4687251"/>
              <a:gd name="connsiteX7149" fmla="*/ 6277255 w 8079933"/>
              <a:gd name="connsiteY7149" fmla="*/ 2911505 h 4687251"/>
              <a:gd name="connsiteX7150" fmla="*/ 6282246 w 8079933"/>
              <a:gd name="connsiteY7150" fmla="*/ 2911505 h 4687251"/>
              <a:gd name="connsiteX7151" fmla="*/ 6287780 w 8079933"/>
              <a:gd name="connsiteY7151" fmla="*/ 2913562 h 4687251"/>
              <a:gd name="connsiteX7152" fmla="*/ 6291253 w 8079933"/>
              <a:gd name="connsiteY7152" fmla="*/ 2919733 h 4687251"/>
              <a:gd name="connsiteX7153" fmla="*/ 6293206 w 8079933"/>
              <a:gd name="connsiteY7153" fmla="*/ 2920491 h 4687251"/>
              <a:gd name="connsiteX7154" fmla="*/ 6296028 w 8079933"/>
              <a:gd name="connsiteY7154" fmla="*/ 2926338 h 4687251"/>
              <a:gd name="connsiteX7155" fmla="*/ 6300803 w 8079933"/>
              <a:gd name="connsiteY7155" fmla="*/ 2928828 h 4687251"/>
              <a:gd name="connsiteX7156" fmla="*/ 6302104 w 8079933"/>
              <a:gd name="connsiteY7156" fmla="*/ 2936407 h 4687251"/>
              <a:gd name="connsiteX7157" fmla="*/ 6303624 w 8079933"/>
              <a:gd name="connsiteY7157" fmla="*/ 2940088 h 4687251"/>
              <a:gd name="connsiteX7158" fmla="*/ 6309266 w 8079933"/>
              <a:gd name="connsiteY7158" fmla="*/ 2940955 h 4687251"/>
              <a:gd name="connsiteX7159" fmla="*/ 6314910 w 8079933"/>
              <a:gd name="connsiteY7159" fmla="*/ 2947234 h 4687251"/>
              <a:gd name="connsiteX7160" fmla="*/ 6319576 w 8079933"/>
              <a:gd name="connsiteY7160" fmla="*/ 2947775 h 4687251"/>
              <a:gd name="connsiteX7161" fmla="*/ 6333358 w 8079933"/>
              <a:gd name="connsiteY7161" fmla="*/ 2956870 h 4687251"/>
              <a:gd name="connsiteX7162" fmla="*/ 6335311 w 8079933"/>
              <a:gd name="connsiteY7162" fmla="*/ 2960118 h 4687251"/>
              <a:gd name="connsiteX7163" fmla="*/ 6340411 w 8079933"/>
              <a:gd name="connsiteY7163" fmla="*/ 2961201 h 4687251"/>
              <a:gd name="connsiteX7164" fmla="*/ 6344752 w 8079933"/>
              <a:gd name="connsiteY7164" fmla="*/ 2966723 h 4687251"/>
              <a:gd name="connsiteX7165" fmla="*/ 6345078 w 8079933"/>
              <a:gd name="connsiteY7165" fmla="*/ 2973761 h 4687251"/>
              <a:gd name="connsiteX7166" fmla="*/ 6347573 w 8079933"/>
              <a:gd name="connsiteY7166" fmla="*/ 2977225 h 4687251"/>
              <a:gd name="connsiteX7167" fmla="*/ 6350828 w 8079933"/>
              <a:gd name="connsiteY7167" fmla="*/ 2973977 h 4687251"/>
              <a:gd name="connsiteX7168" fmla="*/ 6352240 w 8079933"/>
              <a:gd name="connsiteY7168" fmla="*/ 2980257 h 4687251"/>
              <a:gd name="connsiteX7169" fmla="*/ 6354953 w 8079933"/>
              <a:gd name="connsiteY7169" fmla="*/ 2982206 h 4687251"/>
              <a:gd name="connsiteX7170" fmla="*/ 6356146 w 8079933"/>
              <a:gd name="connsiteY7170" fmla="*/ 2979932 h 4687251"/>
              <a:gd name="connsiteX7171" fmla="*/ 6361789 w 8079933"/>
              <a:gd name="connsiteY7171" fmla="*/ 2980257 h 4687251"/>
              <a:gd name="connsiteX7172" fmla="*/ 6370796 w 8079933"/>
              <a:gd name="connsiteY7172" fmla="*/ 2985237 h 4687251"/>
              <a:gd name="connsiteX7173" fmla="*/ 6377633 w 8079933"/>
              <a:gd name="connsiteY7173" fmla="*/ 2992166 h 4687251"/>
              <a:gd name="connsiteX7174" fmla="*/ 6378826 w 8079933"/>
              <a:gd name="connsiteY7174" fmla="*/ 3000936 h 4687251"/>
              <a:gd name="connsiteX7175" fmla="*/ 6382624 w 8079933"/>
              <a:gd name="connsiteY7175" fmla="*/ 3003968 h 4687251"/>
              <a:gd name="connsiteX7176" fmla="*/ 6385771 w 8079933"/>
              <a:gd name="connsiteY7176" fmla="*/ 3002993 h 4687251"/>
              <a:gd name="connsiteX7177" fmla="*/ 6389027 w 8079933"/>
              <a:gd name="connsiteY7177" fmla="*/ 3003751 h 4687251"/>
              <a:gd name="connsiteX7178" fmla="*/ 6399119 w 8079933"/>
              <a:gd name="connsiteY7178" fmla="*/ 3013604 h 4687251"/>
              <a:gd name="connsiteX7179" fmla="*/ 6399878 w 8079933"/>
              <a:gd name="connsiteY7179" fmla="*/ 3019775 h 4687251"/>
              <a:gd name="connsiteX7180" fmla="*/ 6399878 w 8079933"/>
              <a:gd name="connsiteY7180" fmla="*/ 3022915 h 4687251"/>
              <a:gd name="connsiteX7181" fmla="*/ 6405847 w 8079933"/>
              <a:gd name="connsiteY7181" fmla="*/ 3027895 h 4687251"/>
              <a:gd name="connsiteX7182" fmla="*/ 6414203 w 8079933"/>
              <a:gd name="connsiteY7182" fmla="*/ 3027571 h 4687251"/>
              <a:gd name="connsiteX7183" fmla="*/ 6419629 w 8079933"/>
              <a:gd name="connsiteY7183" fmla="*/ 3030169 h 4687251"/>
              <a:gd name="connsiteX7184" fmla="*/ 6420714 w 8079933"/>
              <a:gd name="connsiteY7184" fmla="*/ 3033201 h 4687251"/>
              <a:gd name="connsiteX7185" fmla="*/ 6418434 w 8079933"/>
              <a:gd name="connsiteY7185" fmla="*/ 3036449 h 4687251"/>
              <a:gd name="connsiteX7186" fmla="*/ 6416156 w 8079933"/>
              <a:gd name="connsiteY7186" fmla="*/ 3037099 h 4687251"/>
              <a:gd name="connsiteX7187" fmla="*/ 6413877 w 8079933"/>
              <a:gd name="connsiteY7187" fmla="*/ 3039156 h 4687251"/>
              <a:gd name="connsiteX7188" fmla="*/ 6410513 w 8079933"/>
              <a:gd name="connsiteY7188" fmla="*/ 3039914 h 4687251"/>
              <a:gd name="connsiteX7189" fmla="*/ 6416481 w 8079933"/>
              <a:gd name="connsiteY7189" fmla="*/ 3039481 h 4687251"/>
              <a:gd name="connsiteX7190" fmla="*/ 6421473 w 8079933"/>
              <a:gd name="connsiteY7190" fmla="*/ 3036449 h 4687251"/>
              <a:gd name="connsiteX7191" fmla="*/ 6427008 w 8079933"/>
              <a:gd name="connsiteY7191" fmla="*/ 3032767 h 4687251"/>
              <a:gd name="connsiteX7192" fmla="*/ 6431131 w 8079933"/>
              <a:gd name="connsiteY7192" fmla="*/ 3033309 h 4687251"/>
              <a:gd name="connsiteX7193" fmla="*/ 6438511 w 8079933"/>
              <a:gd name="connsiteY7193" fmla="*/ 3041430 h 4687251"/>
              <a:gd name="connsiteX7194" fmla="*/ 6439921 w 8079933"/>
              <a:gd name="connsiteY7194" fmla="*/ 3046301 h 4687251"/>
              <a:gd name="connsiteX7195" fmla="*/ 6432759 w 8079933"/>
              <a:gd name="connsiteY7195" fmla="*/ 3047493 h 4687251"/>
              <a:gd name="connsiteX7196" fmla="*/ 6427116 w 8079933"/>
              <a:gd name="connsiteY7196" fmla="*/ 3051715 h 4687251"/>
              <a:gd name="connsiteX7197" fmla="*/ 6423427 w 8079933"/>
              <a:gd name="connsiteY7197" fmla="*/ 3055072 h 4687251"/>
              <a:gd name="connsiteX7198" fmla="*/ 6428635 w 8079933"/>
              <a:gd name="connsiteY7198" fmla="*/ 3053123 h 4687251"/>
              <a:gd name="connsiteX7199" fmla="*/ 6431456 w 8079933"/>
              <a:gd name="connsiteY7199" fmla="*/ 3054313 h 4687251"/>
              <a:gd name="connsiteX7200" fmla="*/ 6436666 w 8079933"/>
              <a:gd name="connsiteY7200" fmla="*/ 3053448 h 4687251"/>
              <a:gd name="connsiteX7201" fmla="*/ 6440247 w 8079933"/>
              <a:gd name="connsiteY7201" fmla="*/ 3055397 h 4687251"/>
              <a:gd name="connsiteX7202" fmla="*/ 6434712 w 8079933"/>
              <a:gd name="connsiteY7202" fmla="*/ 3058536 h 4687251"/>
              <a:gd name="connsiteX7203" fmla="*/ 6429829 w 8079933"/>
              <a:gd name="connsiteY7203" fmla="*/ 3060701 h 4687251"/>
              <a:gd name="connsiteX7204" fmla="*/ 6429720 w 8079933"/>
              <a:gd name="connsiteY7204" fmla="*/ 3064707 h 4687251"/>
              <a:gd name="connsiteX7205" fmla="*/ 6437751 w 8079933"/>
              <a:gd name="connsiteY7205" fmla="*/ 3070229 h 4687251"/>
              <a:gd name="connsiteX7206" fmla="*/ 6447083 w 8079933"/>
              <a:gd name="connsiteY7206" fmla="*/ 3070338 h 4687251"/>
              <a:gd name="connsiteX7207" fmla="*/ 6449579 w 8079933"/>
              <a:gd name="connsiteY7207" fmla="*/ 3072611 h 4687251"/>
              <a:gd name="connsiteX7208" fmla="*/ 6455222 w 8079933"/>
              <a:gd name="connsiteY7208" fmla="*/ 3070338 h 4687251"/>
              <a:gd name="connsiteX7209" fmla="*/ 6455872 w 8079933"/>
              <a:gd name="connsiteY7209" fmla="*/ 3082031 h 4687251"/>
              <a:gd name="connsiteX7210" fmla="*/ 6457826 w 8079933"/>
              <a:gd name="connsiteY7210" fmla="*/ 3087228 h 4687251"/>
              <a:gd name="connsiteX7211" fmla="*/ 6455548 w 8079933"/>
              <a:gd name="connsiteY7211" fmla="*/ 3091884 h 4687251"/>
              <a:gd name="connsiteX7212" fmla="*/ 6458694 w 8079933"/>
              <a:gd name="connsiteY7212" fmla="*/ 3089935 h 4687251"/>
              <a:gd name="connsiteX7213" fmla="*/ 6462167 w 8079933"/>
              <a:gd name="connsiteY7213" fmla="*/ 3094590 h 4687251"/>
              <a:gd name="connsiteX7214" fmla="*/ 6462818 w 8079933"/>
              <a:gd name="connsiteY7214" fmla="*/ 3101628 h 4687251"/>
              <a:gd name="connsiteX7215" fmla="*/ 6467484 w 8079933"/>
              <a:gd name="connsiteY7215" fmla="*/ 3102386 h 4687251"/>
              <a:gd name="connsiteX7216" fmla="*/ 6474646 w 8079933"/>
              <a:gd name="connsiteY7216" fmla="*/ 3101412 h 4687251"/>
              <a:gd name="connsiteX7217" fmla="*/ 6479204 w 8079933"/>
              <a:gd name="connsiteY7217" fmla="*/ 3103360 h 4687251"/>
              <a:gd name="connsiteX7218" fmla="*/ 6480506 w 8079933"/>
              <a:gd name="connsiteY7218" fmla="*/ 3107150 h 4687251"/>
              <a:gd name="connsiteX7219" fmla="*/ 6483437 w 8079933"/>
              <a:gd name="connsiteY7219" fmla="*/ 3108666 h 4687251"/>
              <a:gd name="connsiteX7220" fmla="*/ 6485390 w 8079933"/>
              <a:gd name="connsiteY7220" fmla="*/ 3114188 h 4687251"/>
              <a:gd name="connsiteX7221" fmla="*/ 6489622 w 8079933"/>
              <a:gd name="connsiteY7221" fmla="*/ 3117652 h 4687251"/>
              <a:gd name="connsiteX7222" fmla="*/ 6493311 w 8079933"/>
              <a:gd name="connsiteY7222" fmla="*/ 3119384 h 4687251"/>
              <a:gd name="connsiteX7223" fmla="*/ 6493962 w 8079933"/>
              <a:gd name="connsiteY7223" fmla="*/ 3123823 h 4687251"/>
              <a:gd name="connsiteX7224" fmla="*/ 6492118 w 8079933"/>
              <a:gd name="connsiteY7224" fmla="*/ 3127288 h 4687251"/>
              <a:gd name="connsiteX7225" fmla="*/ 6487776 w 8079933"/>
              <a:gd name="connsiteY7225" fmla="*/ 3129129 h 4687251"/>
              <a:gd name="connsiteX7226" fmla="*/ 6487452 w 8079933"/>
              <a:gd name="connsiteY7226" fmla="*/ 3136708 h 4687251"/>
              <a:gd name="connsiteX7227" fmla="*/ 6489513 w 8079933"/>
              <a:gd name="connsiteY7227" fmla="*/ 3140281 h 4687251"/>
              <a:gd name="connsiteX7228" fmla="*/ 6485499 w 8079933"/>
              <a:gd name="connsiteY7228" fmla="*/ 3149808 h 4687251"/>
              <a:gd name="connsiteX7229" fmla="*/ 6488103 w 8079933"/>
              <a:gd name="connsiteY7229" fmla="*/ 3158579 h 4687251"/>
              <a:gd name="connsiteX7230" fmla="*/ 6485715 w 8079933"/>
              <a:gd name="connsiteY7230" fmla="*/ 3171571 h 4687251"/>
              <a:gd name="connsiteX7231" fmla="*/ 6486258 w 8079933"/>
              <a:gd name="connsiteY7231" fmla="*/ 3182289 h 4687251"/>
              <a:gd name="connsiteX7232" fmla="*/ 6483002 w 8079933"/>
              <a:gd name="connsiteY7232" fmla="*/ 3185538 h 4687251"/>
              <a:gd name="connsiteX7233" fmla="*/ 6480180 w 8079933"/>
              <a:gd name="connsiteY7233" fmla="*/ 3184347 h 4687251"/>
              <a:gd name="connsiteX7234" fmla="*/ 6475840 w 8079933"/>
              <a:gd name="connsiteY7234" fmla="*/ 3177634 h 4687251"/>
              <a:gd name="connsiteX7235" fmla="*/ 6471933 w 8079933"/>
              <a:gd name="connsiteY7235" fmla="*/ 3176768 h 4687251"/>
              <a:gd name="connsiteX7236" fmla="*/ 6469980 w 8079933"/>
              <a:gd name="connsiteY7236" fmla="*/ 3180016 h 4687251"/>
              <a:gd name="connsiteX7237" fmla="*/ 6469872 w 8079933"/>
              <a:gd name="connsiteY7237" fmla="*/ 3186187 h 4687251"/>
              <a:gd name="connsiteX7238" fmla="*/ 6467919 w 8079933"/>
              <a:gd name="connsiteY7238" fmla="*/ 3187811 h 4687251"/>
              <a:gd name="connsiteX7239" fmla="*/ 6458694 w 8079933"/>
              <a:gd name="connsiteY7239" fmla="*/ 3179150 h 4687251"/>
              <a:gd name="connsiteX7240" fmla="*/ 6454354 w 8079933"/>
              <a:gd name="connsiteY7240" fmla="*/ 3178283 h 4687251"/>
              <a:gd name="connsiteX7241" fmla="*/ 6454354 w 8079933"/>
              <a:gd name="connsiteY7241" fmla="*/ 3180882 h 4687251"/>
              <a:gd name="connsiteX7242" fmla="*/ 6455764 w 8079933"/>
              <a:gd name="connsiteY7242" fmla="*/ 3183264 h 4687251"/>
              <a:gd name="connsiteX7243" fmla="*/ 6455764 w 8079933"/>
              <a:gd name="connsiteY7243" fmla="*/ 3187920 h 4687251"/>
              <a:gd name="connsiteX7244" fmla="*/ 6454028 w 8079933"/>
              <a:gd name="connsiteY7244" fmla="*/ 3189977 h 4687251"/>
              <a:gd name="connsiteX7245" fmla="*/ 6450773 w 8079933"/>
              <a:gd name="connsiteY7245" fmla="*/ 3184455 h 4687251"/>
              <a:gd name="connsiteX7246" fmla="*/ 6447626 w 8079933"/>
              <a:gd name="connsiteY7246" fmla="*/ 3183156 h 4687251"/>
              <a:gd name="connsiteX7247" fmla="*/ 6446432 w 8079933"/>
              <a:gd name="connsiteY7247" fmla="*/ 3178175 h 4687251"/>
              <a:gd name="connsiteX7248" fmla="*/ 6432325 w 8079933"/>
              <a:gd name="connsiteY7248" fmla="*/ 3165724 h 4687251"/>
              <a:gd name="connsiteX7249" fmla="*/ 6425380 w 8079933"/>
              <a:gd name="connsiteY7249" fmla="*/ 3163883 h 4687251"/>
              <a:gd name="connsiteX7250" fmla="*/ 6422992 w 8079933"/>
              <a:gd name="connsiteY7250" fmla="*/ 3158686 h 4687251"/>
              <a:gd name="connsiteX7251" fmla="*/ 6412357 w 8079933"/>
              <a:gd name="connsiteY7251" fmla="*/ 3151974 h 4687251"/>
              <a:gd name="connsiteX7252" fmla="*/ 6406064 w 8079933"/>
              <a:gd name="connsiteY7252" fmla="*/ 3145153 h 4687251"/>
              <a:gd name="connsiteX7253" fmla="*/ 6400964 w 8079933"/>
              <a:gd name="connsiteY7253" fmla="*/ 3141904 h 4687251"/>
              <a:gd name="connsiteX7254" fmla="*/ 6400096 w 8079933"/>
              <a:gd name="connsiteY7254" fmla="*/ 3134975 h 4687251"/>
              <a:gd name="connsiteX7255" fmla="*/ 6394236 w 8079933"/>
              <a:gd name="connsiteY7255" fmla="*/ 3131186 h 4687251"/>
              <a:gd name="connsiteX7256" fmla="*/ 6391848 w 8079933"/>
              <a:gd name="connsiteY7256" fmla="*/ 3128479 h 4687251"/>
              <a:gd name="connsiteX7257" fmla="*/ 6385121 w 8079933"/>
              <a:gd name="connsiteY7257" fmla="*/ 3127071 h 4687251"/>
              <a:gd name="connsiteX7258" fmla="*/ 6382624 w 8079933"/>
              <a:gd name="connsiteY7258" fmla="*/ 3121225 h 4687251"/>
              <a:gd name="connsiteX7259" fmla="*/ 6373943 w 8079933"/>
              <a:gd name="connsiteY7259" fmla="*/ 3110398 h 4687251"/>
              <a:gd name="connsiteX7260" fmla="*/ 6365262 w 8079933"/>
              <a:gd name="connsiteY7260" fmla="*/ 3103902 h 4687251"/>
              <a:gd name="connsiteX7261" fmla="*/ 6363091 w 8079933"/>
              <a:gd name="connsiteY7261" fmla="*/ 3097839 h 4687251"/>
              <a:gd name="connsiteX7262" fmla="*/ 6363525 w 8079933"/>
              <a:gd name="connsiteY7262" fmla="*/ 3091125 h 4687251"/>
              <a:gd name="connsiteX7263" fmla="*/ 6354627 w 8079933"/>
              <a:gd name="connsiteY7263" fmla="*/ 3074668 h 4687251"/>
              <a:gd name="connsiteX7264" fmla="*/ 6353541 w 8079933"/>
              <a:gd name="connsiteY7264" fmla="*/ 3062975 h 4687251"/>
              <a:gd name="connsiteX7265" fmla="*/ 6348116 w 8079933"/>
              <a:gd name="connsiteY7265" fmla="*/ 3058861 h 4687251"/>
              <a:gd name="connsiteX7266" fmla="*/ 6342147 w 8079933"/>
              <a:gd name="connsiteY7266" fmla="*/ 3048576 h 4687251"/>
              <a:gd name="connsiteX7267" fmla="*/ 6342147 w 8079933"/>
              <a:gd name="connsiteY7267" fmla="*/ 3044461 h 4687251"/>
              <a:gd name="connsiteX7268" fmla="*/ 6335094 w 8079933"/>
              <a:gd name="connsiteY7268" fmla="*/ 3039589 h 4687251"/>
              <a:gd name="connsiteX7269" fmla="*/ 6328908 w 8079933"/>
              <a:gd name="connsiteY7269" fmla="*/ 3037640 h 4687251"/>
              <a:gd name="connsiteX7270" fmla="*/ 6326630 w 8079933"/>
              <a:gd name="connsiteY7270" fmla="*/ 3030819 h 4687251"/>
              <a:gd name="connsiteX7271" fmla="*/ 6321855 w 8079933"/>
              <a:gd name="connsiteY7271" fmla="*/ 3018152 h 4687251"/>
              <a:gd name="connsiteX7272" fmla="*/ 6322072 w 8079933"/>
              <a:gd name="connsiteY7272" fmla="*/ 3016527 h 4687251"/>
              <a:gd name="connsiteX7273" fmla="*/ 6319793 w 8079933"/>
              <a:gd name="connsiteY7273" fmla="*/ 3010573 h 4687251"/>
              <a:gd name="connsiteX7274" fmla="*/ 6316754 w 8079933"/>
              <a:gd name="connsiteY7274" fmla="*/ 3007216 h 4687251"/>
              <a:gd name="connsiteX7275" fmla="*/ 6318600 w 8079933"/>
              <a:gd name="connsiteY7275" fmla="*/ 3003859 h 4687251"/>
              <a:gd name="connsiteX7276" fmla="*/ 6317731 w 8079933"/>
              <a:gd name="connsiteY7276" fmla="*/ 3001261 h 4687251"/>
              <a:gd name="connsiteX7277" fmla="*/ 6314910 w 8079933"/>
              <a:gd name="connsiteY7277" fmla="*/ 3001694 h 4687251"/>
              <a:gd name="connsiteX7278" fmla="*/ 6311654 w 8079933"/>
              <a:gd name="connsiteY7278" fmla="*/ 2999854 h 4687251"/>
              <a:gd name="connsiteX7279" fmla="*/ 6305252 w 8079933"/>
              <a:gd name="connsiteY7279" fmla="*/ 2991841 h 4687251"/>
              <a:gd name="connsiteX7280" fmla="*/ 6300260 w 8079933"/>
              <a:gd name="connsiteY7280" fmla="*/ 2991841 h 4687251"/>
              <a:gd name="connsiteX7281" fmla="*/ 6297221 w 8079933"/>
              <a:gd name="connsiteY7281" fmla="*/ 2989135 h 4687251"/>
              <a:gd name="connsiteX7282" fmla="*/ 6296353 w 8079933"/>
              <a:gd name="connsiteY7282" fmla="*/ 2982963 h 4687251"/>
              <a:gd name="connsiteX7283" fmla="*/ 6294075 w 8079933"/>
              <a:gd name="connsiteY7283" fmla="*/ 2981123 h 4687251"/>
              <a:gd name="connsiteX7284" fmla="*/ 6294075 w 8079933"/>
              <a:gd name="connsiteY7284" fmla="*/ 2974951 h 4687251"/>
              <a:gd name="connsiteX7285" fmla="*/ 6291687 w 8079933"/>
              <a:gd name="connsiteY7285" fmla="*/ 2974951 h 4687251"/>
              <a:gd name="connsiteX7286" fmla="*/ 6283223 w 8079933"/>
              <a:gd name="connsiteY7286" fmla="*/ 2966831 h 4687251"/>
              <a:gd name="connsiteX7287" fmla="*/ 6274867 w 8079933"/>
              <a:gd name="connsiteY7287" fmla="*/ 2953406 h 4687251"/>
              <a:gd name="connsiteX7288" fmla="*/ 6267054 w 8079933"/>
              <a:gd name="connsiteY7288" fmla="*/ 2946909 h 4687251"/>
              <a:gd name="connsiteX7289" fmla="*/ 6264015 w 8079933"/>
              <a:gd name="connsiteY7289" fmla="*/ 2948100 h 4687251"/>
              <a:gd name="connsiteX7290" fmla="*/ 6260326 w 8079933"/>
              <a:gd name="connsiteY7290" fmla="*/ 2946801 h 4687251"/>
              <a:gd name="connsiteX7291" fmla="*/ 6254032 w 8079933"/>
              <a:gd name="connsiteY7291" fmla="*/ 2938898 h 4687251"/>
              <a:gd name="connsiteX7292" fmla="*/ 6250885 w 8079933"/>
              <a:gd name="connsiteY7292" fmla="*/ 2938898 h 4687251"/>
              <a:gd name="connsiteX7293" fmla="*/ 6240576 w 8079933"/>
              <a:gd name="connsiteY7293" fmla="*/ 2927529 h 4687251"/>
              <a:gd name="connsiteX7294" fmla="*/ 6236778 w 8079933"/>
              <a:gd name="connsiteY7294" fmla="*/ 2925796 h 4687251"/>
              <a:gd name="connsiteX7295" fmla="*/ 6230700 w 8079933"/>
              <a:gd name="connsiteY7295" fmla="*/ 2912804 h 4687251"/>
              <a:gd name="connsiteX7296" fmla="*/ 6229507 w 8079933"/>
              <a:gd name="connsiteY7296" fmla="*/ 2905875 h 4687251"/>
              <a:gd name="connsiteX7297" fmla="*/ 6230592 w 8079933"/>
              <a:gd name="connsiteY7297" fmla="*/ 2903276 h 4687251"/>
              <a:gd name="connsiteX7298" fmla="*/ 2595609 w 8079933"/>
              <a:gd name="connsiteY7298" fmla="*/ 2898619 h 4687251"/>
              <a:gd name="connsiteX7299" fmla="*/ 2594416 w 8079933"/>
              <a:gd name="connsiteY7299" fmla="*/ 2903383 h 4687251"/>
              <a:gd name="connsiteX7300" fmla="*/ 2594524 w 8079933"/>
              <a:gd name="connsiteY7300" fmla="*/ 2906739 h 4687251"/>
              <a:gd name="connsiteX7301" fmla="*/ 2591160 w 8079933"/>
              <a:gd name="connsiteY7301" fmla="*/ 2910637 h 4687251"/>
              <a:gd name="connsiteX7302" fmla="*/ 2586820 w 8079933"/>
              <a:gd name="connsiteY7302" fmla="*/ 2912910 h 4687251"/>
              <a:gd name="connsiteX7303" fmla="*/ 2580959 w 8079933"/>
              <a:gd name="connsiteY7303" fmla="*/ 2913127 h 4687251"/>
              <a:gd name="connsiteX7304" fmla="*/ 2577921 w 8079933"/>
              <a:gd name="connsiteY7304" fmla="*/ 2918973 h 4687251"/>
              <a:gd name="connsiteX7305" fmla="*/ 2577704 w 8079933"/>
              <a:gd name="connsiteY7305" fmla="*/ 2924062 h 4687251"/>
              <a:gd name="connsiteX7306" fmla="*/ 2573689 w 8079933"/>
              <a:gd name="connsiteY7306" fmla="*/ 2934023 h 4687251"/>
              <a:gd name="connsiteX7307" fmla="*/ 2574123 w 8079933"/>
              <a:gd name="connsiteY7307" fmla="*/ 2937055 h 4687251"/>
              <a:gd name="connsiteX7308" fmla="*/ 2574123 w 8079933"/>
              <a:gd name="connsiteY7308" fmla="*/ 2937055 h 4687251"/>
              <a:gd name="connsiteX7309" fmla="*/ 2573689 w 8079933"/>
              <a:gd name="connsiteY7309" fmla="*/ 2934023 h 4687251"/>
              <a:gd name="connsiteX7310" fmla="*/ 2577704 w 8079933"/>
              <a:gd name="connsiteY7310" fmla="*/ 2924063 h 4687251"/>
              <a:gd name="connsiteX7311" fmla="*/ 2577921 w 8079933"/>
              <a:gd name="connsiteY7311" fmla="*/ 2918974 h 4687251"/>
              <a:gd name="connsiteX7312" fmla="*/ 2580959 w 8079933"/>
              <a:gd name="connsiteY7312" fmla="*/ 2913127 h 4687251"/>
              <a:gd name="connsiteX7313" fmla="*/ 2586820 w 8079933"/>
              <a:gd name="connsiteY7313" fmla="*/ 2912911 h 4687251"/>
              <a:gd name="connsiteX7314" fmla="*/ 2591160 w 8079933"/>
              <a:gd name="connsiteY7314" fmla="*/ 2910637 h 4687251"/>
              <a:gd name="connsiteX7315" fmla="*/ 2594524 w 8079933"/>
              <a:gd name="connsiteY7315" fmla="*/ 2906739 h 4687251"/>
              <a:gd name="connsiteX7316" fmla="*/ 2594416 w 8079933"/>
              <a:gd name="connsiteY7316" fmla="*/ 2903383 h 4687251"/>
              <a:gd name="connsiteX7317" fmla="*/ 2595609 w 8079933"/>
              <a:gd name="connsiteY7317" fmla="*/ 2898619 h 4687251"/>
              <a:gd name="connsiteX7318" fmla="*/ 3877299 w 8079933"/>
              <a:gd name="connsiteY7318" fmla="*/ 2897646 h 4687251"/>
              <a:gd name="connsiteX7319" fmla="*/ 3882833 w 8079933"/>
              <a:gd name="connsiteY7319" fmla="*/ 2899270 h 4687251"/>
              <a:gd name="connsiteX7320" fmla="*/ 3885112 w 8079933"/>
              <a:gd name="connsiteY7320" fmla="*/ 2903168 h 4687251"/>
              <a:gd name="connsiteX7321" fmla="*/ 3885112 w 8079933"/>
              <a:gd name="connsiteY7321" fmla="*/ 2903167 h 4687251"/>
              <a:gd name="connsiteX7322" fmla="*/ 3882833 w 8079933"/>
              <a:gd name="connsiteY7322" fmla="*/ 2899269 h 4687251"/>
              <a:gd name="connsiteX7323" fmla="*/ 4589533 w 8079933"/>
              <a:gd name="connsiteY7323" fmla="*/ 2897634 h 4687251"/>
              <a:gd name="connsiteX7324" fmla="*/ 4588950 w 8079933"/>
              <a:gd name="connsiteY7324" fmla="*/ 2899378 h 4687251"/>
              <a:gd name="connsiteX7325" fmla="*/ 4589818 w 8079933"/>
              <a:gd name="connsiteY7325" fmla="*/ 2906631 h 4687251"/>
              <a:gd name="connsiteX7326" fmla="*/ 4589839 w 8079933"/>
              <a:gd name="connsiteY7326" fmla="*/ 2906647 h 4687251"/>
              <a:gd name="connsiteX7327" fmla="*/ 4589839 w 8079933"/>
              <a:gd name="connsiteY7327" fmla="*/ 2906646 h 4687251"/>
              <a:gd name="connsiteX7328" fmla="*/ 4589819 w 8079933"/>
              <a:gd name="connsiteY7328" fmla="*/ 2906631 h 4687251"/>
              <a:gd name="connsiteX7329" fmla="*/ 4588951 w 8079933"/>
              <a:gd name="connsiteY7329" fmla="*/ 2899377 h 4687251"/>
              <a:gd name="connsiteX7330" fmla="*/ 4156404 w 8079933"/>
              <a:gd name="connsiteY7330" fmla="*/ 2896346 h 4687251"/>
              <a:gd name="connsiteX7331" fmla="*/ 4153583 w 8079933"/>
              <a:gd name="connsiteY7331" fmla="*/ 2898186 h 4687251"/>
              <a:gd name="connsiteX7332" fmla="*/ 4153583 w 8079933"/>
              <a:gd name="connsiteY7332" fmla="*/ 2898187 h 4687251"/>
              <a:gd name="connsiteX7333" fmla="*/ 4156404 w 8079933"/>
              <a:gd name="connsiteY7333" fmla="*/ 2896347 h 4687251"/>
              <a:gd name="connsiteX7334" fmla="*/ 6384251 w 8079933"/>
              <a:gd name="connsiteY7334" fmla="*/ 2894504 h 4687251"/>
              <a:gd name="connsiteX7335" fmla="*/ 6379910 w 8079933"/>
              <a:gd name="connsiteY7335" fmla="*/ 2895046 h 4687251"/>
              <a:gd name="connsiteX7336" fmla="*/ 6374593 w 8079933"/>
              <a:gd name="connsiteY7336" fmla="*/ 2899593 h 4687251"/>
              <a:gd name="connsiteX7337" fmla="*/ 6368191 w 8079933"/>
              <a:gd name="connsiteY7337" fmla="*/ 2898078 h 4687251"/>
              <a:gd name="connsiteX7338" fmla="*/ 6368191 w 8079933"/>
              <a:gd name="connsiteY7338" fmla="*/ 2898079 h 4687251"/>
              <a:gd name="connsiteX7339" fmla="*/ 6374593 w 8079933"/>
              <a:gd name="connsiteY7339" fmla="*/ 2899594 h 4687251"/>
              <a:gd name="connsiteX7340" fmla="*/ 6379910 w 8079933"/>
              <a:gd name="connsiteY7340" fmla="*/ 2895047 h 4687251"/>
              <a:gd name="connsiteX7341" fmla="*/ 6384252 w 8079933"/>
              <a:gd name="connsiteY7341" fmla="*/ 2894506 h 4687251"/>
              <a:gd name="connsiteX7342" fmla="*/ 6387506 w 8079933"/>
              <a:gd name="connsiteY7342" fmla="*/ 2897212 h 4687251"/>
              <a:gd name="connsiteX7343" fmla="*/ 6390762 w 8079933"/>
              <a:gd name="connsiteY7343" fmla="*/ 2894830 h 4687251"/>
              <a:gd name="connsiteX7344" fmla="*/ 6390762 w 8079933"/>
              <a:gd name="connsiteY7344" fmla="*/ 2894830 h 4687251"/>
              <a:gd name="connsiteX7345" fmla="*/ 6387506 w 8079933"/>
              <a:gd name="connsiteY7345" fmla="*/ 2897212 h 4687251"/>
              <a:gd name="connsiteX7346" fmla="*/ 4781869 w 8079933"/>
              <a:gd name="connsiteY7346" fmla="*/ 2893516 h 4687251"/>
              <a:gd name="connsiteX7347" fmla="*/ 4781869 w 8079933"/>
              <a:gd name="connsiteY7347" fmla="*/ 2893517 h 4687251"/>
              <a:gd name="connsiteX7348" fmla="*/ 4784172 w 8079933"/>
              <a:gd name="connsiteY7348" fmla="*/ 2896129 h 4687251"/>
              <a:gd name="connsiteX7349" fmla="*/ 4784388 w 8079933"/>
              <a:gd name="connsiteY7349" fmla="*/ 2897317 h 4687251"/>
              <a:gd name="connsiteX7350" fmla="*/ 4784390 w 8079933"/>
              <a:gd name="connsiteY7350" fmla="*/ 2897319 h 4687251"/>
              <a:gd name="connsiteX7351" fmla="*/ 4785006 w 8079933"/>
              <a:gd name="connsiteY7351" fmla="*/ 2900700 h 4687251"/>
              <a:gd name="connsiteX7352" fmla="*/ 4784174 w 8079933"/>
              <a:gd name="connsiteY7352" fmla="*/ 2896129 h 4687251"/>
              <a:gd name="connsiteX7353" fmla="*/ 6850547 w 8079933"/>
              <a:gd name="connsiteY7353" fmla="*/ 2890391 h 4687251"/>
              <a:gd name="connsiteX7354" fmla="*/ 6855973 w 8079933"/>
              <a:gd name="connsiteY7354" fmla="*/ 2891474 h 4687251"/>
              <a:gd name="connsiteX7355" fmla="*/ 6856081 w 8079933"/>
              <a:gd name="connsiteY7355" fmla="*/ 2893531 h 4687251"/>
              <a:gd name="connsiteX7356" fmla="*/ 6852717 w 8079933"/>
              <a:gd name="connsiteY7356" fmla="*/ 2895263 h 4687251"/>
              <a:gd name="connsiteX7357" fmla="*/ 6850547 w 8079933"/>
              <a:gd name="connsiteY7357" fmla="*/ 2893964 h 4687251"/>
              <a:gd name="connsiteX7358" fmla="*/ 6848594 w 8079933"/>
              <a:gd name="connsiteY7358" fmla="*/ 2895371 h 4687251"/>
              <a:gd name="connsiteX7359" fmla="*/ 6844470 w 8079933"/>
              <a:gd name="connsiteY7359" fmla="*/ 2895263 h 4687251"/>
              <a:gd name="connsiteX7360" fmla="*/ 6843059 w 8079933"/>
              <a:gd name="connsiteY7360" fmla="*/ 2893639 h 4687251"/>
              <a:gd name="connsiteX7361" fmla="*/ 6844904 w 8079933"/>
              <a:gd name="connsiteY7361" fmla="*/ 2891582 h 4687251"/>
              <a:gd name="connsiteX7362" fmla="*/ 4575930 w 8079933"/>
              <a:gd name="connsiteY7362" fmla="*/ 2889817 h 4687251"/>
              <a:gd name="connsiteX7363" fmla="*/ 4575928 w 8079933"/>
              <a:gd name="connsiteY7363" fmla="*/ 2889850 h 4687251"/>
              <a:gd name="connsiteX7364" fmla="*/ 4575930 w 8079933"/>
              <a:gd name="connsiteY7364" fmla="*/ 2889852 h 4687251"/>
              <a:gd name="connsiteX7365" fmla="*/ 4575930 w 8079933"/>
              <a:gd name="connsiteY7365" fmla="*/ 2889850 h 4687251"/>
              <a:gd name="connsiteX7366" fmla="*/ 4575929 w 8079933"/>
              <a:gd name="connsiteY7366" fmla="*/ 2889849 h 4687251"/>
              <a:gd name="connsiteX7367" fmla="*/ 4575930 w 8079933"/>
              <a:gd name="connsiteY7367" fmla="*/ 2889837 h 4687251"/>
              <a:gd name="connsiteX7368" fmla="*/ 2347179 w 8079933"/>
              <a:gd name="connsiteY7368" fmla="*/ 2887371 h 4687251"/>
              <a:gd name="connsiteX7369" fmla="*/ 2348517 w 8079933"/>
              <a:gd name="connsiteY7369" fmla="*/ 2895479 h 4687251"/>
              <a:gd name="connsiteX7370" fmla="*/ 2346564 w 8079933"/>
              <a:gd name="connsiteY7370" fmla="*/ 2899269 h 4687251"/>
              <a:gd name="connsiteX7371" fmla="*/ 2348517 w 8079933"/>
              <a:gd name="connsiteY7371" fmla="*/ 2895479 h 4687251"/>
              <a:gd name="connsiteX7372" fmla="*/ 2319379 w 8079933"/>
              <a:gd name="connsiteY7372" fmla="*/ 2886229 h 4687251"/>
              <a:gd name="connsiteX7373" fmla="*/ 2321930 w 8079933"/>
              <a:gd name="connsiteY7373" fmla="*/ 2887684 h 4687251"/>
              <a:gd name="connsiteX7374" fmla="*/ 2323371 w 8079933"/>
              <a:gd name="connsiteY7374" fmla="*/ 2886897 h 4687251"/>
              <a:gd name="connsiteX7375" fmla="*/ 2321931 w 8079933"/>
              <a:gd name="connsiteY7375" fmla="*/ 2887683 h 4687251"/>
              <a:gd name="connsiteX7376" fmla="*/ 2314009 w 8079933"/>
              <a:gd name="connsiteY7376" fmla="*/ 2884544 h 4687251"/>
              <a:gd name="connsiteX7377" fmla="*/ 2313407 w 8079933"/>
              <a:gd name="connsiteY7377" fmla="*/ 2884756 h 4687251"/>
              <a:gd name="connsiteX7378" fmla="*/ 2314009 w 8079933"/>
              <a:gd name="connsiteY7378" fmla="*/ 2884544 h 4687251"/>
              <a:gd name="connsiteX7379" fmla="*/ 2317259 w 8079933"/>
              <a:gd name="connsiteY7379" fmla="*/ 2885481 h 4687251"/>
              <a:gd name="connsiteX7380" fmla="*/ 3963353 w 8079933"/>
              <a:gd name="connsiteY7380" fmla="*/ 2884437 h 4687251"/>
              <a:gd name="connsiteX7381" fmla="*/ 3965848 w 8079933"/>
              <a:gd name="connsiteY7381" fmla="*/ 2885519 h 4687251"/>
              <a:gd name="connsiteX7382" fmla="*/ 3965849 w 8079933"/>
              <a:gd name="connsiteY7382" fmla="*/ 2885519 h 4687251"/>
              <a:gd name="connsiteX7383" fmla="*/ 2343091 w 8079933"/>
              <a:gd name="connsiteY7383" fmla="*/ 2884219 h 4687251"/>
              <a:gd name="connsiteX7384" fmla="*/ 2339181 w 8079933"/>
              <a:gd name="connsiteY7384" fmla="*/ 2884425 h 4687251"/>
              <a:gd name="connsiteX7385" fmla="*/ 2343091 w 8079933"/>
              <a:gd name="connsiteY7385" fmla="*/ 2884220 h 4687251"/>
              <a:gd name="connsiteX7386" fmla="*/ 2345320 w 8079933"/>
              <a:gd name="connsiteY7386" fmla="*/ 2885393 h 4687251"/>
              <a:gd name="connsiteX7387" fmla="*/ 3752938 w 8079933"/>
              <a:gd name="connsiteY7387" fmla="*/ 2883029 h 4687251"/>
              <a:gd name="connsiteX7388" fmla="*/ 3755760 w 8079933"/>
              <a:gd name="connsiteY7388" fmla="*/ 2886493 h 4687251"/>
              <a:gd name="connsiteX7389" fmla="*/ 3752939 w 8079933"/>
              <a:gd name="connsiteY7389" fmla="*/ 2883029 h 4687251"/>
              <a:gd name="connsiteX7390" fmla="*/ 6363742 w 8079933"/>
              <a:gd name="connsiteY7390" fmla="*/ 2881296 h 4687251"/>
              <a:gd name="connsiteX7391" fmla="*/ 6363742 w 8079933"/>
              <a:gd name="connsiteY7391" fmla="*/ 2881296 h 4687251"/>
              <a:gd name="connsiteX7392" fmla="*/ 6368733 w 8079933"/>
              <a:gd name="connsiteY7392" fmla="*/ 2881296 h 4687251"/>
              <a:gd name="connsiteX7393" fmla="*/ 6371880 w 8079933"/>
              <a:gd name="connsiteY7393" fmla="*/ 2884327 h 4687251"/>
              <a:gd name="connsiteX7394" fmla="*/ 6371880 w 8079933"/>
              <a:gd name="connsiteY7394" fmla="*/ 2884327 h 4687251"/>
              <a:gd name="connsiteX7395" fmla="*/ 6368733 w 8079933"/>
              <a:gd name="connsiteY7395" fmla="*/ 2881296 h 4687251"/>
              <a:gd name="connsiteX7396" fmla="*/ 6838502 w 8079933"/>
              <a:gd name="connsiteY7396" fmla="*/ 2879456 h 4687251"/>
              <a:gd name="connsiteX7397" fmla="*/ 6839587 w 8079933"/>
              <a:gd name="connsiteY7397" fmla="*/ 2881621 h 4687251"/>
              <a:gd name="connsiteX7398" fmla="*/ 6838285 w 8079933"/>
              <a:gd name="connsiteY7398" fmla="*/ 2884003 h 4687251"/>
              <a:gd name="connsiteX7399" fmla="*/ 6835464 w 8079933"/>
              <a:gd name="connsiteY7399" fmla="*/ 2883029 h 4687251"/>
              <a:gd name="connsiteX7400" fmla="*/ 3741762 w 8079933"/>
              <a:gd name="connsiteY7400" fmla="*/ 2878156 h 4687251"/>
              <a:gd name="connsiteX7401" fmla="*/ 3741761 w 8079933"/>
              <a:gd name="connsiteY7401" fmla="*/ 2878157 h 4687251"/>
              <a:gd name="connsiteX7402" fmla="*/ 3743064 w 8079933"/>
              <a:gd name="connsiteY7402" fmla="*/ 2882813 h 4687251"/>
              <a:gd name="connsiteX7403" fmla="*/ 3744343 w 8079933"/>
              <a:gd name="connsiteY7403" fmla="*/ 2883273 h 4687251"/>
              <a:gd name="connsiteX7404" fmla="*/ 3743064 w 8079933"/>
              <a:gd name="connsiteY7404" fmla="*/ 2882813 h 4687251"/>
              <a:gd name="connsiteX7405" fmla="*/ 6356037 w 8079933"/>
              <a:gd name="connsiteY7405" fmla="*/ 2876640 h 4687251"/>
              <a:gd name="connsiteX7406" fmla="*/ 6356037 w 8079933"/>
              <a:gd name="connsiteY7406" fmla="*/ 2876641 h 4687251"/>
              <a:gd name="connsiteX7407" fmla="*/ 6362548 w 8079933"/>
              <a:gd name="connsiteY7407" fmla="*/ 2878481 h 4687251"/>
              <a:gd name="connsiteX7408" fmla="*/ 6362982 w 8079933"/>
              <a:gd name="connsiteY7408" fmla="*/ 2879504 h 4687251"/>
              <a:gd name="connsiteX7409" fmla="*/ 6362548 w 8079933"/>
              <a:gd name="connsiteY7409" fmla="*/ 2878480 h 4687251"/>
              <a:gd name="connsiteX7410" fmla="*/ 3872741 w 8079933"/>
              <a:gd name="connsiteY7410" fmla="*/ 2876532 h 4687251"/>
              <a:gd name="connsiteX7411" fmla="*/ 3870680 w 8079933"/>
              <a:gd name="connsiteY7411" fmla="*/ 2877940 h 4687251"/>
              <a:gd name="connsiteX7412" fmla="*/ 3872741 w 8079933"/>
              <a:gd name="connsiteY7412" fmla="*/ 2876533 h 4687251"/>
              <a:gd name="connsiteX7413" fmla="*/ 4173240 w 8079933"/>
              <a:gd name="connsiteY7413" fmla="*/ 2874944 h 4687251"/>
              <a:gd name="connsiteX7414" fmla="*/ 4173658 w 8079933"/>
              <a:gd name="connsiteY7414" fmla="*/ 2878697 h 4687251"/>
              <a:gd name="connsiteX7415" fmla="*/ 4166496 w 8079933"/>
              <a:gd name="connsiteY7415" fmla="*/ 2883894 h 4687251"/>
              <a:gd name="connsiteX7416" fmla="*/ 4164434 w 8079933"/>
              <a:gd name="connsiteY7416" fmla="*/ 2886493 h 4687251"/>
              <a:gd name="connsiteX7417" fmla="*/ 4160310 w 8079933"/>
              <a:gd name="connsiteY7417" fmla="*/ 2889200 h 4687251"/>
              <a:gd name="connsiteX7418" fmla="*/ 4156404 w 8079933"/>
              <a:gd name="connsiteY7418" fmla="*/ 2892881 h 4687251"/>
              <a:gd name="connsiteX7419" fmla="*/ 4156404 w 8079933"/>
              <a:gd name="connsiteY7419" fmla="*/ 2892882 h 4687251"/>
              <a:gd name="connsiteX7420" fmla="*/ 4160311 w 8079933"/>
              <a:gd name="connsiteY7420" fmla="*/ 2889200 h 4687251"/>
              <a:gd name="connsiteX7421" fmla="*/ 4164434 w 8079933"/>
              <a:gd name="connsiteY7421" fmla="*/ 2886494 h 4687251"/>
              <a:gd name="connsiteX7422" fmla="*/ 4166496 w 8079933"/>
              <a:gd name="connsiteY7422" fmla="*/ 2883895 h 4687251"/>
              <a:gd name="connsiteX7423" fmla="*/ 4173658 w 8079933"/>
              <a:gd name="connsiteY7423" fmla="*/ 2878698 h 4687251"/>
              <a:gd name="connsiteX7424" fmla="*/ 6334115 w 8079933"/>
              <a:gd name="connsiteY7424" fmla="*/ 2874584 h 4687251"/>
              <a:gd name="connsiteX7425" fmla="*/ 6335851 w 8079933"/>
              <a:gd name="connsiteY7425" fmla="*/ 2875341 h 4687251"/>
              <a:gd name="connsiteX7426" fmla="*/ 6336503 w 8079933"/>
              <a:gd name="connsiteY7426" fmla="*/ 2878373 h 4687251"/>
              <a:gd name="connsiteX7427" fmla="*/ 6334767 w 8079933"/>
              <a:gd name="connsiteY7427" fmla="*/ 2879023 h 4687251"/>
              <a:gd name="connsiteX7428" fmla="*/ 6332922 w 8079933"/>
              <a:gd name="connsiteY7428" fmla="*/ 2875233 h 4687251"/>
              <a:gd name="connsiteX7429" fmla="*/ 6873010 w 8079933"/>
              <a:gd name="connsiteY7429" fmla="*/ 2873826 h 4687251"/>
              <a:gd name="connsiteX7430" fmla="*/ 6875940 w 8079933"/>
              <a:gd name="connsiteY7430" fmla="*/ 2875666 h 4687251"/>
              <a:gd name="connsiteX7431" fmla="*/ 6878653 w 8079933"/>
              <a:gd name="connsiteY7431" fmla="*/ 2876641 h 4687251"/>
              <a:gd name="connsiteX7432" fmla="*/ 6878219 w 8079933"/>
              <a:gd name="connsiteY7432" fmla="*/ 2878373 h 4687251"/>
              <a:gd name="connsiteX7433" fmla="*/ 6872143 w 8079933"/>
              <a:gd name="connsiteY7433" fmla="*/ 2883787 h 4687251"/>
              <a:gd name="connsiteX7434" fmla="*/ 6869430 w 8079933"/>
              <a:gd name="connsiteY7434" fmla="*/ 2882920 h 4687251"/>
              <a:gd name="connsiteX7435" fmla="*/ 6866608 w 8079933"/>
              <a:gd name="connsiteY7435" fmla="*/ 2878698 h 4687251"/>
              <a:gd name="connsiteX7436" fmla="*/ 6866391 w 8079933"/>
              <a:gd name="connsiteY7436" fmla="*/ 2876316 h 4687251"/>
              <a:gd name="connsiteX7437" fmla="*/ 6870623 w 8079933"/>
              <a:gd name="connsiteY7437" fmla="*/ 2875991 h 4687251"/>
              <a:gd name="connsiteX7438" fmla="*/ 4567268 w 8079933"/>
              <a:gd name="connsiteY7438" fmla="*/ 2872958 h 4687251"/>
              <a:gd name="connsiteX7439" fmla="*/ 4567465 w 8079933"/>
              <a:gd name="connsiteY7439" fmla="*/ 2877169 h 4687251"/>
              <a:gd name="connsiteX7440" fmla="*/ 4567465 w 8079933"/>
              <a:gd name="connsiteY7440" fmla="*/ 2877157 h 4687251"/>
              <a:gd name="connsiteX7441" fmla="*/ 4567268 w 8079933"/>
              <a:gd name="connsiteY7441" fmla="*/ 2872959 h 4687251"/>
              <a:gd name="connsiteX7442" fmla="*/ 4771910 w 8079933"/>
              <a:gd name="connsiteY7442" fmla="*/ 2872851 h 4687251"/>
              <a:gd name="connsiteX7443" fmla="*/ 4774732 w 8079933"/>
              <a:gd name="connsiteY7443" fmla="*/ 2876532 h 4687251"/>
              <a:gd name="connsiteX7444" fmla="*/ 4776685 w 8079933"/>
              <a:gd name="connsiteY7444" fmla="*/ 2880213 h 4687251"/>
              <a:gd name="connsiteX7445" fmla="*/ 4780699 w 8079933"/>
              <a:gd name="connsiteY7445" fmla="*/ 2884544 h 4687251"/>
              <a:gd name="connsiteX7446" fmla="*/ 4780834 w 8079933"/>
              <a:gd name="connsiteY7446" fmla="*/ 2885646 h 4687251"/>
              <a:gd name="connsiteX7447" fmla="*/ 4780836 w 8079933"/>
              <a:gd name="connsiteY7447" fmla="*/ 2885647 h 4687251"/>
              <a:gd name="connsiteX7448" fmla="*/ 4780701 w 8079933"/>
              <a:gd name="connsiteY7448" fmla="*/ 2884544 h 4687251"/>
              <a:gd name="connsiteX7449" fmla="*/ 4776686 w 8079933"/>
              <a:gd name="connsiteY7449" fmla="*/ 2880213 h 4687251"/>
              <a:gd name="connsiteX7450" fmla="*/ 4774733 w 8079933"/>
              <a:gd name="connsiteY7450" fmla="*/ 2876531 h 4687251"/>
              <a:gd name="connsiteX7451" fmla="*/ 4771911 w 8079933"/>
              <a:gd name="connsiteY7451" fmla="*/ 2872851 h 4687251"/>
              <a:gd name="connsiteX7452" fmla="*/ 2507603 w 8079933"/>
              <a:gd name="connsiteY7452" fmla="*/ 2871660 h 4687251"/>
              <a:gd name="connsiteX7453" fmla="*/ 2507602 w 8079933"/>
              <a:gd name="connsiteY7453" fmla="*/ 2871660 h 4687251"/>
              <a:gd name="connsiteX7454" fmla="*/ 2511725 w 8079933"/>
              <a:gd name="connsiteY7454" fmla="*/ 2873175 h 4687251"/>
              <a:gd name="connsiteX7455" fmla="*/ 2511726 w 8079933"/>
              <a:gd name="connsiteY7455" fmla="*/ 2873175 h 4687251"/>
              <a:gd name="connsiteX7456" fmla="*/ 4765725 w 8079933"/>
              <a:gd name="connsiteY7456" fmla="*/ 2871226 h 4687251"/>
              <a:gd name="connsiteX7457" fmla="*/ 4765725 w 8079933"/>
              <a:gd name="connsiteY7457" fmla="*/ 2871228 h 4687251"/>
              <a:gd name="connsiteX7458" fmla="*/ 4767352 w 8079933"/>
              <a:gd name="connsiteY7458" fmla="*/ 2872850 h 4687251"/>
              <a:gd name="connsiteX7459" fmla="*/ 4767353 w 8079933"/>
              <a:gd name="connsiteY7459" fmla="*/ 2872850 h 4687251"/>
              <a:gd name="connsiteX7460" fmla="*/ 4191997 w 8079933"/>
              <a:gd name="connsiteY7460" fmla="*/ 2871118 h 4687251"/>
              <a:gd name="connsiteX7461" fmla="*/ 4189502 w 8079933"/>
              <a:gd name="connsiteY7461" fmla="*/ 2871336 h 4687251"/>
              <a:gd name="connsiteX7462" fmla="*/ 4191997 w 8079933"/>
              <a:gd name="connsiteY7462" fmla="*/ 2871119 h 4687251"/>
              <a:gd name="connsiteX7463" fmla="*/ 4194651 w 8079933"/>
              <a:gd name="connsiteY7463" fmla="*/ 2872443 h 4687251"/>
              <a:gd name="connsiteX7464" fmla="*/ 4765616 w 8079933"/>
              <a:gd name="connsiteY7464" fmla="*/ 2869061 h 4687251"/>
              <a:gd name="connsiteX7465" fmla="*/ 4765554 w 8079933"/>
              <a:gd name="connsiteY7465" fmla="*/ 2870173 h 4687251"/>
              <a:gd name="connsiteX7466" fmla="*/ 4765555 w 8079933"/>
              <a:gd name="connsiteY7466" fmla="*/ 2870174 h 4687251"/>
              <a:gd name="connsiteX7467" fmla="*/ 4765617 w 8079933"/>
              <a:gd name="connsiteY7467" fmla="*/ 2869061 h 4687251"/>
              <a:gd name="connsiteX7468" fmla="*/ 4181905 w 8079933"/>
              <a:gd name="connsiteY7468" fmla="*/ 2868087 h 4687251"/>
              <a:gd name="connsiteX7469" fmla="*/ 4179627 w 8079933"/>
              <a:gd name="connsiteY7469" fmla="*/ 2871118 h 4687251"/>
              <a:gd name="connsiteX7470" fmla="*/ 4174309 w 8079933"/>
              <a:gd name="connsiteY7470" fmla="*/ 2871336 h 4687251"/>
              <a:gd name="connsiteX7471" fmla="*/ 4173116 w 8079933"/>
              <a:gd name="connsiteY7471" fmla="*/ 2873825 h 4687251"/>
              <a:gd name="connsiteX7472" fmla="*/ 4173116 w 8079933"/>
              <a:gd name="connsiteY7472" fmla="*/ 2873826 h 4687251"/>
              <a:gd name="connsiteX7473" fmla="*/ 4174309 w 8079933"/>
              <a:gd name="connsiteY7473" fmla="*/ 2871336 h 4687251"/>
              <a:gd name="connsiteX7474" fmla="*/ 4179627 w 8079933"/>
              <a:gd name="connsiteY7474" fmla="*/ 2871119 h 4687251"/>
              <a:gd name="connsiteX7475" fmla="*/ 4181905 w 8079933"/>
              <a:gd name="connsiteY7475" fmla="*/ 2868087 h 4687251"/>
              <a:gd name="connsiteX7476" fmla="*/ 4182990 w 8079933"/>
              <a:gd name="connsiteY7476" fmla="*/ 2869278 h 4687251"/>
              <a:gd name="connsiteX7477" fmla="*/ 4187127 w 8079933"/>
              <a:gd name="connsiteY7477" fmla="*/ 2870585 h 4687251"/>
              <a:gd name="connsiteX7478" fmla="*/ 4182990 w 8079933"/>
              <a:gd name="connsiteY7478" fmla="*/ 2869278 h 4687251"/>
              <a:gd name="connsiteX7479" fmla="*/ 6752013 w 8079933"/>
              <a:gd name="connsiteY7479" fmla="*/ 2867654 h 4687251"/>
              <a:gd name="connsiteX7480" fmla="*/ 6756895 w 8079933"/>
              <a:gd name="connsiteY7480" fmla="*/ 2870686 h 4687251"/>
              <a:gd name="connsiteX7481" fmla="*/ 6757004 w 8079933"/>
              <a:gd name="connsiteY7481" fmla="*/ 2877182 h 4687251"/>
              <a:gd name="connsiteX7482" fmla="*/ 6761454 w 8079933"/>
              <a:gd name="connsiteY7482" fmla="*/ 2881404 h 4687251"/>
              <a:gd name="connsiteX7483" fmla="*/ 6763624 w 8079933"/>
              <a:gd name="connsiteY7483" fmla="*/ 2879996 h 4687251"/>
              <a:gd name="connsiteX7484" fmla="*/ 6769267 w 8079933"/>
              <a:gd name="connsiteY7484" fmla="*/ 2883786 h 4687251"/>
              <a:gd name="connsiteX7485" fmla="*/ 6769484 w 8079933"/>
              <a:gd name="connsiteY7485" fmla="*/ 2886818 h 4687251"/>
              <a:gd name="connsiteX7486" fmla="*/ 6765251 w 8079933"/>
              <a:gd name="connsiteY7486" fmla="*/ 2888441 h 4687251"/>
              <a:gd name="connsiteX7487" fmla="*/ 6765143 w 8079933"/>
              <a:gd name="connsiteY7487" fmla="*/ 2895479 h 4687251"/>
              <a:gd name="connsiteX7488" fmla="*/ 6766988 w 8079933"/>
              <a:gd name="connsiteY7488" fmla="*/ 2896345 h 4687251"/>
              <a:gd name="connsiteX7489" fmla="*/ 6769050 w 8079933"/>
              <a:gd name="connsiteY7489" fmla="*/ 2898835 h 4687251"/>
              <a:gd name="connsiteX7490" fmla="*/ 6772306 w 8079933"/>
              <a:gd name="connsiteY7490" fmla="*/ 2894396 h 4687251"/>
              <a:gd name="connsiteX7491" fmla="*/ 6774476 w 8079933"/>
              <a:gd name="connsiteY7491" fmla="*/ 2893747 h 4687251"/>
              <a:gd name="connsiteX7492" fmla="*/ 6776972 w 8079933"/>
              <a:gd name="connsiteY7492" fmla="*/ 2896887 h 4687251"/>
              <a:gd name="connsiteX7493" fmla="*/ 6771871 w 8079933"/>
              <a:gd name="connsiteY7493" fmla="*/ 2901326 h 4687251"/>
              <a:gd name="connsiteX7494" fmla="*/ 6774150 w 8079933"/>
              <a:gd name="connsiteY7494" fmla="*/ 2903383 h 4687251"/>
              <a:gd name="connsiteX7495" fmla="*/ 6777840 w 8079933"/>
              <a:gd name="connsiteY7495" fmla="*/ 2899702 h 4687251"/>
              <a:gd name="connsiteX7496" fmla="*/ 6781204 w 8079933"/>
              <a:gd name="connsiteY7496" fmla="*/ 2899702 h 4687251"/>
              <a:gd name="connsiteX7497" fmla="*/ 6786955 w 8079933"/>
              <a:gd name="connsiteY7497" fmla="*/ 2905440 h 4687251"/>
              <a:gd name="connsiteX7498" fmla="*/ 6791187 w 8079933"/>
              <a:gd name="connsiteY7498" fmla="*/ 2905116 h 4687251"/>
              <a:gd name="connsiteX7499" fmla="*/ 6795311 w 8079933"/>
              <a:gd name="connsiteY7499" fmla="*/ 2908797 h 4687251"/>
              <a:gd name="connsiteX7500" fmla="*/ 6800845 w 8079933"/>
              <a:gd name="connsiteY7500" fmla="*/ 2909879 h 4687251"/>
              <a:gd name="connsiteX7501" fmla="*/ 6804535 w 8079933"/>
              <a:gd name="connsiteY7501" fmla="*/ 2909879 h 4687251"/>
              <a:gd name="connsiteX7502" fmla="*/ 6805620 w 8079933"/>
              <a:gd name="connsiteY7502" fmla="*/ 2913669 h 4687251"/>
              <a:gd name="connsiteX7503" fmla="*/ 6800628 w 8079933"/>
              <a:gd name="connsiteY7503" fmla="*/ 2917458 h 4687251"/>
              <a:gd name="connsiteX7504" fmla="*/ 6792706 w 8079933"/>
              <a:gd name="connsiteY7504" fmla="*/ 2919299 h 4687251"/>
              <a:gd name="connsiteX7505" fmla="*/ 6783048 w 8079933"/>
              <a:gd name="connsiteY7505" fmla="*/ 2918541 h 4687251"/>
              <a:gd name="connsiteX7506" fmla="*/ 6780118 w 8079933"/>
              <a:gd name="connsiteY7506" fmla="*/ 2920598 h 4687251"/>
              <a:gd name="connsiteX7507" fmla="*/ 6780118 w 8079933"/>
              <a:gd name="connsiteY7507" fmla="*/ 2926769 h 4687251"/>
              <a:gd name="connsiteX7508" fmla="*/ 6786521 w 8079933"/>
              <a:gd name="connsiteY7508" fmla="*/ 2932075 h 4687251"/>
              <a:gd name="connsiteX7509" fmla="*/ 6786521 w 8079933"/>
              <a:gd name="connsiteY7509" fmla="*/ 2934781 h 4687251"/>
              <a:gd name="connsiteX7510" fmla="*/ 6780335 w 8079933"/>
              <a:gd name="connsiteY7510" fmla="*/ 2936081 h 4687251"/>
              <a:gd name="connsiteX7511" fmla="*/ 6775344 w 8079933"/>
              <a:gd name="connsiteY7511" fmla="*/ 2938571 h 4687251"/>
              <a:gd name="connsiteX7512" fmla="*/ 6771329 w 8079933"/>
              <a:gd name="connsiteY7512" fmla="*/ 2937597 h 4687251"/>
              <a:gd name="connsiteX7513" fmla="*/ 6765686 w 8079933"/>
              <a:gd name="connsiteY7513" fmla="*/ 2933807 h 4687251"/>
              <a:gd name="connsiteX7514" fmla="*/ 6765251 w 8079933"/>
              <a:gd name="connsiteY7514" fmla="*/ 2935972 h 4687251"/>
              <a:gd name="connsiteX7515" fmla="*/ 6765254 w 8079933"/>
              <a:gd name="connsiteY7515" fmla="*/ 2935973 h 4687251"/>
              <a:gd name="connsiteX7516" fmla="*/ 6764929 w 8079933"/>
              <a:gd name="connsiteY7516" fmla="*/ 2937272 h 4687251"/>
              <a:gd name="connsiteX7517" fmla="*/ 6762541 w 8079933"/>
              <a:gd name="connsiteY7517" fmla="*/ 2937705 h 4687251"/>
              <a:gd name="connsiteX7518" fmla="*/ 6762867 w 8079933"/>
              <a:gd name="connsiteY7518" fmla="*/ 2939979 h 4687251"/>
              <a:gd name="connsiteX7519" fmla="*/ 6761348 w 8079933"/>
              <a:gd name="connsiteY7519" fmla="*/ 2942362 h 4687251"/>
              <a:gd name="connsiteX7520" fmla="*/ 6766340 w 8079933"/>
              <a:gd name="connsiteY7520" fmla="*/ 2944310 h 4687251"/>
              <a:gd name="connsiteX7521" fmla="*/ 6771006 w 8079933"/>
              <a:gd name="connsiteY7521" fmla="*/ 2949724 h 4687251"/>
              <a:gd name="connsiteX7522" fmla="*/ 6765688 w 8079933"/>
              <a:gd name="connsiteY7522" fmla="*/ 2951131 h 4687251"/>
              <a:gd name="connsiteX7523" fmla="*/ 6760262 w 8079933"/>
              <a:gd name="connsiteY7523" fmla="*/ 2950265 h 4687251"/>
              <a:gd name="connsiteX7524" fmla="*/ 6758092 w 8079933"/>
              <a:gd name="connsiteY7524" fmla="*/ 2951672 h 4687251"/>
              <a:gd name="connsiteX7525" fmla="*/ 6761890 w 8079933"/>
              <a:gd name="connsiteY7525" fmla="*/ 2956111 h 4687251"/>
              <a:gd name="connsiteX7526" fmla="*/ 6763844 w 8079933"/>
              <a:gd name="connsiteY7526" fmla="*/ 2957303 h 4687251"/>
              <a:gd name="connsiteX7527" fmla="*/ 6764386 w 8079933"/>
              <a:gd name="connsiteY7527" fmla="*/ 2959901 h 4687251"/>
              <a:gd name="connsiteX7528" fmla="*/ 6762324 w 8079933"/>
              <a:gd name="connsiteY7528" fmla="*/ 2960442 h 4687251"/>
              <a:gd name="connsiteX7529" fmla="*/ 6760697 w 8079933"/>
              <a:gd name="connsiteY7529" fmla="*/ 2964015 h 4687251"/>
              <a:gd name="connsiteX7530" fmla="*/ 6764603 w 8079933"/>
              <a:gd name="connsiteY7530" fmla="*/ 2967480 h 4687251"/>
              <a:gd name="connsiteX7531" fmla="*/ 6766123 w 8079933"/>
              <a:gd name="connsiteY7531" fmla="*/ 2972460 h 4687251"/>
              <a:gd name="connsiteX7532" fmla="*/ 6774153 w 8079933"/>
              <a:gd name="connsiteY7532" fmla="*/ 2980689 h 4687251"/>
              <a:gd name="connsiteX7533" fmla="*/ 6777734 w 8079933"/>
              <a:gd name="connsiteY7533" fmla="*/ 2983937 h 4687251"/>
              <a:gd name="connsiteX7534" fmla="*/ 6775346 w 8079933"/>
              <a:gd name="connsiteY7534" fmla="*/ 2988485 h 4687251"/>
              <a:gd name="connsiteX7535" fmla="*/ 6769053 w 8079933"/>
              <a:gd name="connsiteY7535" fmla="*/ 2989784 h 4687251"/>
              <a:gd name="connsiteX7536" fmla="*/ 6768184 w 8079933"/>
              <a:gd name="connsiteY7536" fmla="*/ 2992707 h 4687251"/>
              <a:gd name="connsiteX7537" fmla="*/ 6770246 w 8079933"/>
              <a:gd name="connsiteY7537" fmla="*/ 2994439 h 4687251"/>
              <a:gd name="connsiteX7538" fmla="*/ 6771331 w 8079933"/>
              <a:gd name="connsiteY7538" fmla="*/ 2998554 h 4687251"/>
              <a:gd name="connsiteX7539" fmla="*/ 6774912 w 8079933"/>
              <a:gd name="connsiteY7539" fmla="*/ 3000611 h 4687251"/>
              <a:gd name="connsiteX7540" fmla="*/ 6785113 w 8079933"/>
              <a:gd name="connsiteY7540" fmla="*/ 3010139 h 4687251"/>
              <a:gd name="connsiteX7541" fmla="*/ 6788586 w 8079933"/>
              <a:gd name="connsiteY7541" fmla="*/ 3010139 h 4687251"/>
              <a:gd name="connsiteX7542" fmla="*/ 6792492 w 8079933"/>
              <a:gd name="connsiteY7542" fmla="*/ 3014578 h 4687251"/>
              <a:gd name="connsiteX7543" fmla="*/ 6793903 w 8079933"/>
              <a:gd name="connsiteY7543" fmla="*/ 3017502 h 4687251"/>
              <a:gd name="connsiteX7544" fmla="*/ 6797701 w 8079933"/>
              <a:gd name="connsiteY7544" fmla="*/ 3018368 h 4687251"/>
              <a:gd name="connsiteX7545" fmla="*/ 6796507 w 8079933"/>
              <a:gd name="connsiteY7545" fmla="*/ 3022698 h 4687251"/>
              <a:gd name="connsiteX7546" fmla="*/ 6793577 w 8079933"/>
              <a:gd name="connsiteY7546" fmla="*/ 3023890 h 4687251"/>
              <a:gd name="connsiteX7547" fmla="*/ 6790430 w 8079933"/>
              <a:gd name="connsiteY7547" fmla="*/ 3022698 h 4687251"/>
              <a:gd name="connsiteX7548" fmla="*/ 6786849 w 8079933"/>
              <a:gd name="connsiteY7548" fmla="*/ 3025188 h 4687251"/>
              <a:gd name="connsiteX7549" fmla="*/ 6781314 w 8079933"/>
              <a:gd name="connsiteY7549" fmla="*/ 3024539 h 4687251"/>
              <a:gd name="connsiteX7550" fmla="*/ 6773610 w 8079933"/>
              <a:gd name="connsiteY7550" fmla="*/ 3016960 h 4687251"/>
              <a:gd name="connsiteX7551" fmla="*/ 6775130 w 8079933"/>
              <a:gd name="connsiteY7551" fmla="*/ 3023348 h 4687251"/>
              <a:gd name="connsiteX7552" fmla="*/ 6773719 w 8079933"/>
              <a:gd name="connsiteY7552" fmla="*/ 3025730 h 4687251"/>
              <a:gd name="connsiteX7553" fmla="*/ 6771440 w 8079933"/>
              <a:gd name="connsiteY7553" fmla="*/ 3022807 h 4687251"/>
              <a:gd name="connsiteX7554" fmla="*/ 6766448 w 8079933"/>
              <a:gd name="connsiteY7554" fmla="*/ 3027787 h 4687251"/>
              <a:gd name="connsiteX7555" fmla="*/ 6766448 w 8079933"/>
              <a:gd name="connsiteY7555" fmla="*/ 3031252 h 4687251"/>
              <a:gd name="connsiteX7556" fmla="*/ 6764278 w 8079933"/>
              <a:gd name="connsiteY7556" fmla="*/ 3033850 h 4687251"/>
              <a:gd name="connsiteX7557" fmla="*/ 6763410 w 8079933"/>
              <a:gd name="connsiteY7557" fmla="*/ 3042945 h 4687251"/>
              <a:gd name="connsiteX7558" fmla="*/ 6761348 w 8079933"/>
              <a:gd name="connsiteY7558" fmla="*/ 3046193 h 4687251"/>
              <a:gd name="connsiteX7559" fmla="*/ 6759611 w 8079933"/>
              <a:gd name="connsiteY7559" fmla="*/ 3054421 h 4687251"/>
              <a:gd name="connsiteX7560" fmla="*/ 6753209 w 8079933"/>
              <a:gd name="connsiteY7560" fmla="*/ 3059402 h 4687251"/>
              <a:gd name="connsiteX7561" fmla="*/ 6755596 w 8079933"/>
              <a:gd name="connsiteY7561" fmla="*/ 3065574 h 4687251"/>
              <a:gd name="connsiteX7562" fmla="*/ 6752667 w 8079933"/>
              <a:gd name="connsiteY7562" fmla="*/ 3069904 h 4687251"/>
              <a:gd name="connsiteX7563" fmla="*/ 6748543 w 8079933"/>
              <a:gd name="connsiteY7563" fmla="*/ 3074235 h 4687251"/>
              <a:gd name="connsiteX7564" fmla="*/ 6746590 w 8079933"/>
              <a:gd name="connsiteY7564" fmla="*/ 3069688 h 4687251"/>
              <a:gd name="connsiteX7565" fmla="*/ 6744202 w 8079933"/>
              <a:gd name="connsiteY7565" fmla="*/ 3068497 h 4687251"/>
              <a:gd name="connsiteX7566" fmla="*/ 6745504 w 8079933"/>
              <a:gd name="connsiteY7566" fmla="*/ 3071745 h 4687251"/>
              <a:gd name="connsiteX7567" fmla="*/ 6745070 w 8079933"/>
              <a:gd name="connsiteY7567" fmla="*/ 3076833 h 4687251"/>
              <a:gd name="connsiteX7568" fmla="*/ 6741055 w 8079933"/>
              <a:gd name="connsiteY7568" fmla="*/ 3081489 h 4687251"/>
              <a:gd name="connsiteX7569" fmla="*/ 6740296 w 8079933"/>
              <a:gd name="connsiteY7569" fmla="*/ 3085712 h 4687251"/>
              <a:gd name="connsiteX7570" fmla="*/ 6736280 w 8079933"/>
              <a:gd name="connsiteY7570" fmla="*/ 3087336 h 4687251"/>
              <a:gd name="connsiteX7571" fmla="*/ 6732699 w 8079933"/>
              <a:gd name="connsiteY7571" fmla="*/ 3086794 h 4687251"/>
              <a:gd name="connsiteX7572" fmla="*/ 6733567 w 8079933"/>
              <a:gd name="connsiteY7572" fmla="*/ 3088960 h 4687251"/>
              <a:gd name="connsiteX7573" fmla="*/ 6731723 w 8079933"/>
              <a:gd name="connsiteY7573" fmla="*/ 3091667 h 4687251"/>
              <a:gd name="connsiteX7574" fmla="*/ 6737474 w 8079933"/>
              <a:gd name="connsiteY7574" fmla="*/ 3091342 h 4687251"/>
              <a:gd name="connsiteX7575" fmla="*/ 6738451 w 8079933"/>
              <a:gd name="connsiteY7575" fmla="*/ 3092316 h 4687251"/>
              <a:gd name="connsiteX7576" fmla="*/ 6737800 w 8079933"/>
              <a:gd name="connsiteY7576" fmla="*/ 3096539 h 4687251"/>
              <a:gd name="connsiteX7577" fmla="*/ 6734979 w 8079933"/>
              <a:gd name="connsiteY7577" fmla="*/ 3098488 h 4687251"/>
              <a:gd name="connsiteX7578" fmla="*/ 6736497 w 8079933"/>
              <a:gd name="connsiteY7578" fmla="*/ 3099571 h 4687251"/>
              <a:gd name="connsiteX7579" fmla="*/ 6739319 w 8079933"/>
              <a:gd name="connsiteY7579" fmla="*/ 3099245 h 4687251"/>
              <a:gd name="connsiteX7580" fmla="*/ 6739970 w 8079933"/>
              <a:gd name="connsiteY7580" fmla="*/ 3102602 h 4687251"/>
              <a:gd name="connsiteX7581" fmla="*/ 6738451 w 8079933"/>
              <a:gd name="connsiteY7581" fmla="*/ 3106283 h 4687251"/>
              <a:gd name="connsiteX7582" fmla="*/ 6734653 w 8079933"/>
              <a:gd name="connsiteY7582" fmla="*/ 3105200 h 4687251"/>
              <a:gd name="connsiteX7583" fmla="*/ 6733893 w 8079933"/>
              <a:gd name="connsiteY7583" fmla="*/ 3104226 h 4687251"/>
              <a:gd name="connsiteX7584" fmla="*/ 6733676 w 8079933"/>
              <a:gd name="connsiteY7584" fmla="*/ 3106067 h 4687251"/>
              <a:gd name="connsiteX7585" fmla="*/ 6735846 w 8079933"/>
              <a:gd name="connsiteY7585" fmla="*/ 3108124 h 4687251"/>
              <a:gd name="connsiteX7586" fmla="*/ 6737365 w 8079933"/>
              <a:gd name="connsiteY7586" fmla="*/ 3109532 h 4687251"/>
              <a:gd name="connsiteX7587" fmla="*/ 6733676 w 8079933"/>
              <a:gd name="connsiteY7587" fmla="*/ 3117218 h 4687251"/>
              <a:gd name="connsiteX7588" fmla="*/ 6731180 w 8079933"/>
              <a:gd name="connsiteY7588" fmla="*/ 3117218 h 4687251"/>
              <a:gd name="connsiteX7589" fmla="*/ 6730204 w 8079933"/>
              <a:gd name="connsiteY7589" fmla="*/ 3115378 h 4687251"/>
              <a:gd name="connsiteX7590" fmla="*/ 6728793 w 8079933"/>
              <a:gd name="connsiteY7590" fmla="*/ 3121333 h 4687251"/>
              <a:gd name="connsiteX7591" fmla="*/ 6728793 w 8079933"/>
              <a:gd name="connsiteY7591" fmla="*/ 3124581 h 4687251"/>
              <a:gd name="connsiteX7592" fmla="*/ 6723801 w 8079933"/>
              <a:gd name="connsiteY7592" fmla="*/ 3133676 h 4687251"/>
              <a:gd name="connsiteX7593" fmla="*/ 6715662 w 8079933"/>
              <a:gd name="connsiteY7593" fmla="*/ 3139198 h 4687251"/>
              <a:gd name="connsiteX7594" fmla="*/ 6708825 w 8079933"/>
              <a:gd name="connsiteY7594" fmla="*/ 3140389 h 4687251"/>
              <a:gd name="connsiteX7595" fmla="*/ 6698951 w 8079933"/>
              <a:gd name="connsiteY7595" fmla="*/ 3145044 h 4687251"/>
              <a:gd name="connsiteX7596" fmla="*/ 6694284 w 8079933"/>
              <a:gd name="connsiteY7596" fmla="*/ 3145694 h 4687251"/>
              <a:gd name="connsiteX7597" fmla="*/ 6692983 w 8079933"/>
              <a:gd name="connsiteY7597" fmla="*/ 3139198 h 4687251"/>
              <a:gd name="connsiteX7598" fmla="*/ 6693742 w 8079933"/>
              <a:gd name="connsiteY7598" fmla="*/ 3135625 h 4687251"/>
              <a:gd name="connsiteX7599" fmla="*/ 6691354 w 8079933"/>
              <a:gd name="connsiteY7599" fmla="*/ 3131943 h 4687251"/>
              <a:gd name="connsiteX7600" fmla="*/ 6690486 w 8079933"/>
              <a:gd name="connsiteY7600" fmla="*/ 3130211 h 4687251"/>
              <a:gd name="connsiteX7601" fmla="*/ 6688316 w 8079933"/>
              <a:gd name="connsiteY7601" fmla="*/ 3131294 h 4687251"/>
              <a:gd name="connsiteX7602" fmla="*/ 6685711 w 8079933"/>
              <a:gd name="connsiteY7602" fmla="*/ 3127830 h 4687251"/>
              <a:gd name="connsiteX7603" fmla="*/ 6683433 w 8079933"/>
              <a:gd name="connsiteY7603" fmla="*/ 3129020 h 4687251"/>
              <a:gd name="connsiteX7604" fmla="*/ 6679635 w 8079933"/>
              <a:gd name="connsiteY7604" fmla="*/ 3128046 h 4687251"/>
              <a:gd name="connsiteX7605" fmla="*/ 6677573 w 8079933"/>
              <a:gd name="connsiteY7605" fmla="*/ 3124256 h 4687251"/>
              <a:gd name="connsiteX7606" fmla="*/ 6675945 w 8079933"/>
              <a:gd name="connsiteY7606" fmla="*/ 3128046 h 4687251"/>
              <a:gd name="connsiteX7607" fmla="*/ 6677573 w 8079933"/>
              <a:gd name="connsiteY7607" fmla="*/ 3131186 h 4687251"/>
              <a:gd name="connsiteX7608" fmla="*/ 6673124 w 8079933"/>
              <a:gd name="connsiteY7608" fmla="*/ 3129995 h 4687251"/>
              <a:gd name="connsiteX7609" fmla="*/ 6671171 w 8079933"/>
              <a:gd name="connsiteY7609" fmla="*/ 3127504 h 4687251"/>
              <a:gd name="connsiteX7610" fmla="*/ 6671171 w 8079933"/>
              <a:gd name="connsiteY7610" fmla="*/ 3123715 h 4687251"/>
              <a:gd name="connsiteX7611" fmla="*/ 6668675 w 8079933"/>
              <a:gd name="connsiteY7611" fmla="*/ 3121549 h 4687251"/>
              <a:gd name="connsiteX7612" fmla="*/ 6665853 w 8079933"/>
              <a:gd name="connsiteY7612" fmla="*/ 3123173 h 4687251"/>
              <a:gd name="connsiteX7613" fmla="*/ 6661621 w 8079933"/>
              <a:gd name="connsiteY7613" fmla="*/ 3120683 h 4687251"/>
              <a:gd name="connsiteX7614" fmla="*/ 6659017 w 8079933"/>
              <a:gd name="connsiteY7614" fmla="*/ 3121008 h 4687251"/>
              <a:gd name="connsiteX7615" fmla="*/ 6655327 w 8079933"/>
              <a:gd name="connsiteY7615" fmla="*/ 3124906 h 4687251"/>
              <a:gd name="connsiteX7616" fmla="*/ 6649468 w 8079933"/>
              <a:gd name="connsiteY7616" fmla="*/ 3125772 h 4687251"/>
              <a:gd name="connsiteX7617" fmla="*/ 6648491 w 8079933"/>
              <a:gd name="connsiteY7617" fmla="*/ 3128154 h 4687251"/>
              <a:gd name="connsiteX7618" fmla="*/ 6645018 w 8079933"/>
              <a:gd name="connsiteY7618" fmla="*/ 3128587 h 4687251"/>
              <a:gd name="connsiteX7619" fmla="*/ 6642522 w 8079933"/>
              <a:gd name="connsiteY7619" fmla="*/ 3126422 h 4687251"/>
              <a:gd name="connsiteX7620" fmla="*/ 6639700 w 8079933"/>
              <a:gd name="connsiteY7620" fmla="*/ 3127179 h 4687251"/>
              <a:gd name="connsiteX7621" fmla="*/ 6634166 w 8079933"/>
              <a:gd name="connsiteY7621" fmla="*/ 3134000 h 4687251"/>
              <a:gd name="connsiteX7622" fmla="*/ 6630694 w 8079933"/>
              <a:gd name="connsiteY7622" fmla="*/ 3134000 h 4687251"/>
              <a:gd name="connsiteX7623" fmla="*/ 6631236 w 8079933"/>
              <a:gd name="connsiteY7623" fmla="*/ 3130103 h 4687251"/>
              <a:gd name="connsiteX7624" fmla="*/ 6630585 w 8079933"/>
              <a:gd name="connsiteY7624" fmla="*/ 3122091 h 4687251"/>
              <a:gd name="connsiteX7625" fmla="*/ 6628523 w 8079933"/>
              <a:gd name="connsiteY7625" fmla="*/ 3116244 h 4687251"/>
              <a:gd name="connsiteX7626" fmla="*/ 6629500 w 8079933"/>
              <a:gd name="connsiteY7626" fmla="*/ 3112130 h 4687251"/>
              <a:gd name="connsiteX7627" fmla="*/ 6628089 w 8079933"/>
              <a:gd name="connsiteY7627" fmla="*/ 3108882 h 4687251"/>
              <a:gd name="connsiteX7628" fmla="*/ 6628523 w 8079933"/>
              <a:gd name="connsiteY7628" fmla="*/ 3111481 h 4687251"/>
              <a:gd name="connsiteX7629" fmla="*/ 6626353 w 8079933"/>
              <a:gd name="connsiteY7629" fmla="*/ 3116136 h 4687251"/>
              <a:gd name="connsiteX7630" fmla="*/ 6623314 w 8079933"/>
              <a:gd name="connsiteY7630" fmla="*/ 3118085 h 4687251"/>
              <a:gd name="connsiteX7631" fmla="*/ 6620385 w 8079933"/>
              <a:gd name="connsiteY7631" fmla="*/ 3116028 h 4687251"/>
              <a:gd name="connsiteX7632" fmla="*/ 6616261 w 8079933"/>
              <a:gd name="connsiteY7632" fmla="*/ 3118951 h 4687251"/>
              <a:gd name="connsiteX7633" fmla="*/ 6610293 w 8079933"/>
              <a:gd name="connsiteY7633" fmla="*/ 3119492 h 4687251"/>
              <a:gd name="connsiteX7634" fmla="*/ 6606603 w 8079933"/>
              <a:gd name="connsiteY7634" fmla="*/ 3118085 h 4687251"/>
              <a:gd name="connsiteX7635" fmla="*/ 6601611 w 8079933"/>
              <a:gd name="connsiteY7635" fmla="*/ 3117760 h 4687251"/>
              <a:gd name="connsiteX7636" fmla="*/ 6600092 w 8079933"/>
              <a:gd name="connsiteY7636" fmla="*/ 3114728 h 4687251"/>
              <a:gd name="connsiteX7637" fmla="*/ 6596402 w 8079933"/>
              <a:gd name="connsiteY7637" fmla="*/ 3117869 h 4687251"/>
              <a:gd name="connsiteX7638" fmla="*/ 6593689 w 8079933"/>
              <a:gd name="connsiteY7638" fmla="*/ 3117869 h 4687251"/>
              <a:gd name="connsiteX7639" fmla="*/ 6590976 w 8079933"/>
              <a:gd name="connsiteY7639" fmla="*/ 3111264 h 4687251"/>
              <a:gd name="connsiteX7640" fmla="*/ 6590868 w 8079933"/>
              <a:gd name="connsiteY7640" fmla="*/ 3105525 h 4687251"/>
              <a:gd name="connsiteX7641" fmla="*/ 6589566 w 8079933"/>
              <a:gd name="connsiteY7641" fmla="*/ 3094915 h 4687251"/>
              <a:gd name="connsiteX7642" fmla="*/ 6585442 w 8079933"/>
              <a:gd name="connsiteY7642" fmla="*/ 3092208 h 4687251"/>
              <a:gd name="connsiteX7643" fmla="*/ 6584248 w 8079933"/>
              <a:gd name="connsiteY7643" fmla="*/ 3089284 h 4687251"/>
              <a:gd name="connsiteX7644" fmla="*/ 6586961 w 8079933"/>
              <a:gd name="connsiteY7644" fmla="*/ 3086145 h 4687251"/>
              <a:gd name="connsiteX7645" fmla="*/ 6590217 w 8079933"/>
              <a:gd name="connsiteY7645" fmla="*/ 3081381 h 4687251"/>
              <a:gd name="connsiteX7646" fmla="*/ 6589566 w 8079933"/>
              <a:gd name="connsiteY7646" fmla="*/ 3077159 h 4687251"/>
              <a:gd name="connsiteX7647" fmla="*/ 6587287 w 8079933"/>
              <a:gd name="connsiteY7647" fmla="*/ 3072936 h 4687251"/>
              <a:gd name="connsiteX7648" fmla="*/ 6580451 w 8079933"/>
              <a:gd name="connsiteY7648" fmla="*/ 3066115 h 4687251"/>
              <a:gd name="connsiteX7649" fmla="*/ 6574590 w 8079933"/>
              <a:gd name="connsiteY7649" fmla="*/ 3062759 h 4687251"/>
              <a:gd name="connsiteX7650" fmla="*/ 6568948 w 8079933"/>
              <a:gd name="connsiteY7650" fmla="*/ 3061351 h 4687251"/>
              <a:gd name="connsiteX7651" fmla="*/ 6568731 w 8079933"/>
              <a:gd name="connsiteY7651" fmla="*/ 3059510 h 4687251"/>
              <a:gd name="connsiteX7652" fmla="*/ 6573071 w 8079933"/>
              <a:gd name="connsiteY7652" fmla="*/ 3058969 h 4687251"/>
              <a:gd name="connsiteX7653" fmla="*/ 6576761 w 8079933"/>
              <a:gd name="connsiteY7653" fmla="*/ 3055721 h 4687251"/>
              <a:gd name="connsiteX7654" fmla="*/ 6585117 w 8079933"/>
              <a:gd name="connsiteY7654" fmla="*/ 3053772 h 4687251"/>
              <a:gd name="connsiteX7655" fmla="*/ 6590759 w 8079933"/>
              <a:gd name="connsiteY7655" fmla="*/ 3049333 h 4687251"/>
              <a:gd name="connsiteX7656" fmla="*/ 6595426 w 8079933"/>
              <a:gd name="connsiteY7656" fmla="*/ 3049658 h 4687251"/>
              <a:gd name="connsiteX7657" fmla="*/ 6591085 w 8079933"/>
              <a:gd name="connsiteY7657" fmla="*/ 3048358 h 4687251"/>
              <a:gd name="connsiteX7658" fmla="*/ 6584683 w 8079933"/>
              <a:gd name="connsiteY7658" fmla="*/ 3052365 h 4687251"/>
              <a:gd name="connsiteX7659" fmla="*/ 6577195 w 8079933"/>
              <a:gd name="connsiteY7659" fmla="*/ 3053447 h 4687251"/>
              <a:gd name="connsiteX7660" fmla="*/ 6574156 w 8079933"/>
              <a:gd name="connsiteY7660" fmla="*/ 3054205 h 4687251"/>
              <a:gd name="connsiteX7661" fmla="*/ 6569273 w 8079933"/>
              <a:gd name="connsiteY7661" fmla="*/ 3052690 h 4687251"/>
              <a:gd name="connsiteX7662" fmla="*/ 6566235 w 8079933"/>
              <a:gd name="connsiteY7662" fmla="*/ 3047167 h 4687251"/>
              <a:gd name="connsiteX7663" fmla="*/ 6567754 w 8079933"/>
              <a:gd name="connsiteY7663" fmla="*/ 3045760 h 4687251"/>
              <a:gd name="connsiteX7664" fmla="*/ 6570467 w 8079933"/>
              <a:gd name="connsiteY7664" fmla="*/ 3047059 h 4687251"/>
              <a:gd name="connsiteX7665" fmla="*/ 6568297 w 8079933"/>
              <a:gd name="connsiteY7665" fmla="*/ 3043486 h 4687251"/>
              <a:gd name="connsiteX7666" fmla="*/ 6561243 w 8079933"/>
              <a:gd name="connsiteY7666" fmla="*/ 3034608 h 4687251"/>
              <a:gd name="connsiteX7667" fmla="*/ 6560592 w 8079933"/>
              <a:gd name="connsiteY7667" fmla="*/ 3025513 h 4687251"/>
              <a:gd name="connsiteX7668" fmla="*/ 6563847 w 8079933"/>
              <a:gd name="connsiteY7668" fmla="*/ 3023564 h 4687251"/>
              <a:gd name="connsiteX7669" fmla="*/ 6564390 w 8079933"/>
              <a:gd name="connsiteY7669" fmla="*/ 3020749 h 4687251"/>
              <a:gd name="connsiteX7670" fmla="*/ 6563088 w 8079933"/>
              <a:gd name="connsiteY7670" fmla="*/ 3017502 h 4687251"/>
              <a:gd name="connsiteX7671" fmla="*/ 6563414 w 8079933"/>
              <a:gd name="connsiteY7671" fmla="*/ 3014253 h 4687251"/>
              <a:gd name="connsiteX7672" fmla="*/ 6567103 w 8079933"/>
              <a:gd name="connsiteY7672" fmla="*/ 3007756 h 4687251"/>
              <a:gd name="connsiteX7673" fmla="*/ 6572854 w 8079933"/>
              <a:gd name="connsiteY7673" fmla="*/ 3000178 h 4687251"/>
              <a:gd name="connsiteX7674" fmla="*/ 6575242 w 8079933"/>
              <a:gd name="connsiteY7674" fmla="*/ 2996497 h 4687251"/>
              <a:gd name="connsiteX7675" fmla="*/ 6578930 w 8079933"/>
              <a:gd name="connsiteY7675" fmla="*/ 2995306 h 4687251"/>
              <a:gd name="connsiteX7676" fmla="*/ 6578929 w 8079933"/>
              <a:gd name="connsiteY7676" fmla="*/ 2995304 h 4687251"/>
              <a:gd name="connsiteX7677" fmla="*/ 6580774 w 8079933"/>
              <a:gd name="connsiteY7677" fmla="*/ 2994763 h 4687251"/>
              <a:gd name="connsiteX7678" fmla="*/ 6584897 w 8079933"/>
              <a:gd name="connsiteY7678" fmla="*/ 2999418 h 4687251"/>
              <a:gd name="connsiteX7679" fmla="*/ 6587501 w 8079933"/>
              <a:gd name="connsiteY7679" fmla="*/ 3003208 h 4687251"/>
              <a:gd name="connsiteX7680" fmla="*/ 6594338 w 8079933"/>
              <a:gd name="connsiteY7680" fmla="*/ 3003100 h 4687251"/>
              <a:gd name="connsiteX7681" fmla="*/ 6604214 w 8079933"/>
              <a:gd name="connsiteY7681" fmla="*/ 3006673 h 4687251"/>
              <a:gd name="connsiteX7682" fmla="*/ 6613655 w 8079933"/>
              <a:gd name="connsiteY7682" fmla="*/ 3007863 h 4687251"/>
              <a:gd name="connsiteX7683" fmla="*/ 6613546 w 8079933"/>
              <a:gd name="connsiteY7683" fmla="*/ 3006023 h 4687251"/>
              <a:gd name="connsiteX7684" fmla="*/ 6617669 w 8079933"/>
              <a:gd name="connsiteY7684" fmla="*/ 3000284 h 4687251"/>
              <a:gd name="connsiteX7685" fmla="*/ 6617778 w 8079933"/>
              <a:gd name="connsiteY7685" fmla="*/ 2993464 h 4687251"/>
              <a:gd name="connsiteX7686" fmla="*/ 6619297 w 8079933"/>
              <a:gd name="connsiteY7686" fmla="*/ 2988483 h 4687251"/>
              <a:gd name="connsiteX7687" fmla="*/ 6621901 w 8079933"/>
              <a:gd name="connsiteY7687" fmla="*/ 2985235 h 4687251"/>
              <a:gd name="connsiteX7688" fmla="*/ 6627544 w 8079933"/>
              <a:gd name="connsiteY7688" fmla="*/ 2984586 h 4687251"/>
              <a:gd name="connsiteX7689" fmla="*/ 6630908 w 8079933"/>
              <a:gd name="connsiteY7689" fmla="*/ 2982853 h 4687251"/>
              <a:gd name="connsiteX7690" fmla="*/ 6633947 w 8079933"/>
              <a:gd name="connsiteY7690" fmla="*/ 2983936 h 4687251"/>
              <a:gd name="connsiteX7691" fmla="*/ 6631668 w 8079933"/>
              <a:gd name="connsiteY7691" fmla="*/ 2981446 h 4687251"/>
              <a:gd name="connsiteX7692" fmla="*/ 6630366 w 8079933"/>
              <a:gd name="connsiteY7692" fmla="*/ 2975166 h 4687251"/>
              <a:gd name="connsiteX7693" fmla="*/ 6632428 w 8079933"/>
              <a:gd name="connsiteY7693" fmla="*/ 2974192 h 4687251"/>
              <a:gd name="connsiteX7694" fmla="*/ 6651961 w 8079933"/>
              <a:gd name="connsiteY7694" fmla="*/ 2969536 h 4687251"/>
              <a:gd name="connsiteX7695" fmla="*/ 6658363 w 8079933"/>
              <a:gd name="connsiteY7695" fmla="*/ 2964014 h 4687251"/>
              <a:gd name="connsiteX7696" fmla="*/ 6664223 w 8079933"/>
              <a:gd name="connsiteY7696" fmla="*/ 2956868 h 4687251"/>
              <a:gd name="connsiteX7697" fmla="*/ 6665742 w 8079933"/>
              <a:gd name="connsiteY7697" fmla="*/ 2952538 h 4687251"/>
              <a:gd name="connsiteX7698" fmla="*/ 6672470 w 8079933"/>
              <a:gd name="connsiteY7698" fmla="*/ 2946150 h 4687251"/>
              <a:gd name="connsiteX7699" fmla="*/ 6674641 w 8079933"/>
              <a:gd name="connsiteY7699" fmla="*/ 2941386 h 4687251"/>
              <a:gd name="connsiteX7700" fmla="*/ 6680826 w 8079933"/>
              <a:gd name="connsiteY7700" fmla="*/ 2936081 h 4687251"/>
              <a:gd name="connsiteX7701" fmla="*/ 6681043 w 8079933"/>
              <a:gd name="connsiteY7701" fmla="*/ 2930342 h 4687251"/>
              <a:gd name="connsiteX7702" fmla="*/ 6684298 w 8079933"/>
              <a:gd name="connsiteY7702" fmla="*/ 2926336 h 4687251"/>
              <a:gd name="connsiteX7703" fmla="*/ 6684299 w 8079933"/>
              <a:gd name="connsiteY7703" fmla="*/ 2926337 h 4687251"/>
              <a:gd name="connsiteX7704" fmla="*/ 6685385 w 8079933"/>
              <a:gd name="connsiteY7704" fmla="*/ 2924821 h 4687251"/>
              <a:gd name="connsiteX7705" fmla="*/ 6694174 w 8079933"/>
              <a:gd name="connsiteY7705" fmla="*/ 2922223 h 4687251"/>
              <a:gd name="connsiteX7706" fmla="*/ 6699818 w 8079933"/>
              <a:gd name="connsiteY7706" fmla="*/ 2918000 h 4687251"/>
              <a:gd name="connsiteX7707" fmla="*/ 6704484 w 8079933"/>
              <a:gd name="connsiteY7707" fmla="*/ 2916268 h 4687251"/>
              <a:gd name="connsiteX7708" fmla="*/ 6704809 w 8079933"/>
              <a:gd name="connsiteY7708" fmla="*/ 2921032 h 4687251"/>
              <a:gd name="connsiteX7709" fmla="*/ 6704700 w 8079933"/>
              <a:gd name="connsiteY7709" fmla="*/ 2922764 h 4687251"/>
              <a:gd name="connsiteX7710" fmla="*/ 6704699 w 8079933"/>
              <a:gd name="connsiteY7710" fmla="*/ 2922764 h 4687251"/>
              <a:gd name="connsiteX7711" fmla="*/ 6704699 w 8079933"/>
              <a:gd name="connsiteY7711" fmla="*/ 2923846 h 4687251"/>
              <a:gd name="connsiteX7712" fmla="*/ 6705459 w 8079933"/>
              <a:gd name="connsiteY7712" fmla="*/ 2923630 h 4687251"/>
              <a:gd name="connsiteX7713" fmla="*/ 6706436 w 8079933"/>
              <a:gd name="connsiteY7713" fmla="*/ 2927960 h 4687251"/>
              <a:gd name="connsiteX7714" fmla="*/ 6706870 w 8079933"/>
              <a:gd name="connsiteY7714" fmla="*/ 2933915 h 4687251"/>
              <a:gd name="connsiteX7715" fmla="*/ 6710125 w 8079933"/>
              <a:gd name="connsiteY7715" fmla="*/ 2935648 h 4687251"/>
              <a:gd name="connsiteX7716" fmla="*/ 6710126 w 8079933"/>
              <a:gd name="connsiteY7716" fmla="*/ 2935646 h 4687251"/>
              <a:gd name="connsiteX7717" fmla="*/ 6706870 w 8079933"/>
              <a:gd name="connsiteY7717" fmla="*/ 2933914 h 4687251"/>
              <a:gd name="connsiteX7718" fmla="*/ 6706437 w 8079933"/>
              <a:gd name="connsiteY7718" fmla="*/ 2927960 h 4687251"/>
              <a:gd name="connsiteX7719" fmla="*/ 6705460 w 8079933"/>
              <a:gd name="connsiteY7719" fmla="*/ 2923629 h 4687251"/>
              <a:gd name="connsiteX7720" fmla="*/ 6707630 w 8079933"/>
              <a:gd name="connsiteY7720" fmla="*/ 2923088 h 4687251"/>
              <a:gd name="connsiteX7721" fmla="*/ 6708823 w 8079933"/>
              <a:gd name="connsiteY7721" fmla="*/ 2921465 h 4687251"/>
              <a:gd name="connsiteX7722" fmla="*/ 6708823 w 8079933"/>
              <a:gd name="connsiteY7722" fmla="*/ 2921464 h 4687251"/>
              <a:gd name="connsiteX7723" fmla="*/ 6709474 w 8079933"/>
              <a:gd name="connsiteY7723" fmla="*/ 2920598 h 4687251"/>
              <a:gd name="connsiteX7724" fmla="*/ 6713273 w 8079933"/>
              <a:gd name="connsiteY7724" fmla="*/ 2918649 h 4687251"/>
              <a:gd name="connsiteX7725" fmla="*/ 6715551 w 8079933"/>
              <a:gd name="connsiteY7725" fmla="*/ 2915185 h 4687251"/>
              <a:gd name="connsiteX7726" fmla="*/ 6710017 w 8079933"/>
              <a:gd name="connsiteY7726" fmla="*/ 2916808 h 4687251"/>
              <a:gd name="connsiteX7727" fmla="*/ 6707738 w 8079933"/>
              <a:gd name="connsiteY7727" fmla="*/ 2915942 h 4687251"/>
              <a:gd name="connsiteX7728" fmla="*/ 6709474 w 8079933"/>
              <a:gd name="connsiteY7728" fmla="*/ 2913343 h 4687251"/>
              <a:gd name="connsiteX7729" fmla="*/ 6706870 w 8079933"/>
              <a:gd name="connsiteY7729" fmla="*/ 2913452 h 4687251"/>
              <a:gd name="connsiteX7730" fmla="*/ 6709257 w 8079933"/>
              <a:gd name="connsiteY7730" fmla="*/ 2910420 h 4687251"/>
              <a:gd name="connsiteX7731" fmla="*/ 6716202 w 8079933"/>
              <a:gd name="connsiteY7731" fmla="*/ 2907822 h 4687251"/>
              <a:gd name="connsiteX7732" fmla="*/ 6720326 w 8079933"/>
              <a:gd name="connsiteY7732" fmla="*/ 2907822 h 4687251"/>
              <a:gd name="connsiteX7733" fmla="*/ 6728899 w 8079933"/>
              <a:gd name="connsiteY7733" fmla="*/ 2898728 h 4687251"/>
              <a:gd name="connsiteX7734" fmla="*/ 6729767 w 8079933"/>
              <a:gd name="connsiteY7734" fmla="*/ 2892556 h 4687251"/>
              <a:gd name="connsiteX7735" fmla="*/ 6734759 w 8079933"/>
              <a:gd name="connsiteY7735" fmla="*/ 2881080 h 4687251"/>
              <a:gd name="connsiteX7736" fmla="*/ 6738231 w 8079933"/>
              <a:gd name="connsiteY7736" fmla="*/ 2880105 h 4687251"/>
              <a:gd name="connsiteX7737" fmla="*/ 6741487 w 8079933"/>
              <a:gd name="connsiteY7737" fmla="*/ 2869494 h 4687251"/>
              <a:gd name="connsiteX7738" fmla="*/ 6744634 w 8079933"/>
              <a:gd name="connsiteY7738" fmla="*/ 2869711 h 4687251"/>
              <a:gd name="connsiteX7739" fmla="*/ 6745501 w 8079933"/>
              <a:gd name="connsiteY7739" fmla="*/ 2873609 h 4687251"/>
              <a:gd name="connsiteX7740" fmla="*/ 6743982 w 8079933"/>
              <a:gd name="connsiteY7740" fmla="*/ 2877939 h 4687251"/>
              <a:gd name="connsiteX7741" fmla="*/ 6746044 w 8079933"/>
              <a:gd name="connsiteY7741" fmla="*/ 2878264 h 4687251"/>
              <a:gd name="connsiteX7742" fmla="*/ 6751144 w 8079933"/>
              <a:gd name="connsiteY7742" fmla="*/ 2873284 h 4687251"/>
              <a:gd name="connsiteX7743" fmla="*/ 6749843 w 8079933"/>
              <a:gd name="connsiteY7743" fmla="*/ 2868953 h 4687251"/>
              <a:gd name="connsiteX7744" fmla="*/ 2253348 w 8079933"/>
              <a:gd name="connsiteY7744" fmla="*/ 2864838 h 4687251"/>
              <a:gd name="connsiteX7745" fmla="*/ 2249441 w 8079933"/>
              <a:gd name="connsiteY7745" fmla="*/ 2866787 h 4687251"/>
              <a:gd name="connsiteX7746" fmla="*/ 2245576 w 8079933"/>
              <a:gd name="connsiteY7746" fmla="*/ 2864943 h 4687251"/>
              <a:gd name="connsiteX7747" fmla="*/ 2249441 w 8079933"/>
              <a:gd name="connsiteY7747" fmla="*/ 2866788 h 4687251"/>
              <a:gd name="connsiteX7748" fmla="*/ 2253348 w 8079933"/>
              <a:gd name="connsiteY7748" fmla="*/ 2864839 h 4687251"/>
              <a:gd name="connsiteX7749" fmla="*/ 2259425 w 8079933"/>
              <a:gd name="connsiteY7749" fmla="*/ 2865055 h 4687251"/>
              <a:gd name="connsiteX7750" fmla="*/ 2265285 w 8079933"/>
              <a:gd name="connsiteY7750" fmla="*/ 2866788 h 4687251"/>
              <a:gd name="connsiteX7751" fmla="*/ 2266153 w 8079933"/>
              <a:gd name="connsiteY7751" fmla="*/ 2866030 h 4687251"/>
              <a:gd name="connsiteX7752" fmla="*/ 2265284 w 8079933"/>
              <a:gd name="connsiteY7752" fmla="*/ 2866787 h 4687251"/>
              <a:gd name="connsiteX7753" fmla="*/ 2259425 w 8079933"/>
              <a:gd name="connsiteY7753" fmla="*/ 2865055 h 4687251"/>
              <a:gd name="connsiteX7754" fmla="*/ 3874694 w 8079933"/>
              <a:gd name="connsiteY7754" fmla="*/ 2862566 h 4687251"/>
              <a:gd name="connsiteX7755" fmla="*/ 3872416 w 8079933"/>
              <a:gd name="connsiteY7755" fmla="*/ 2865814 h 4687251"/>
              <a:gd name="connsiteX7756" fmla="*/ 3872416 w 8079933"/>
              <a:gd name="connsiteY7756" fmla="*/ 2865814 h 4687251"/>
              <a:gd name="connsiteX7757" fmla="*/ 3747407 w 8079933"/>
              <a:gd name="connsiteY7757" fmla="*/ 2861045 h 4687251"/>
              <a:gd name="connsiteX7758" fmla="*/ 3747405 w 8079933"/>
              <a:gd name="connsiteY7758" fmla="*/ 2861049 h 4687251"/>
              <a:gd name="connsiteX7759" fmla="*/ 3747404 w 8079933"/>
              <a:gd name="connsiteY7759" fmla="*/ 2861050 h 4687251"/>
              <a:gd name="connsiteX7760" fmla="*/ 3749032 w 8079933"/>
              <a:gd name="connsiteY7760" fmla="*/ 2865597 h 4687251"/>
              <a:gd name="connsiteX7761" fmla="*/ 3745125 w 8079933"/>
              <a:gd name="connsiteY7761" fmla="*/ 2874584 h 4687251"/>
              <a:gd name="connsiteX7762" fmla="*/ 3741880 w 8079933"/>
              <a:gd name="connsiteY7762" fmla="*/ 2878031 h 4687251"/>
              <a:gd name="connsiteX7763" fmla="*/ 3745125 w 8079933"/>
              <a:gd name="connsiteY7763" fmla="*/ 2874584 h 4687251"/>
              <a:gd name="connsiteX7764" fmla="*/ 3749032 w 8079933"/>
              <a:gd name="connsiteY7764" fmla="*/ 2865597 h 4687251"/>
              <a:gd name="connsiteX7765" fmla="*/ 3747405 w 8079933"/>
              <a:gd name="connsiteY7765" fmla="*/ 2861050 h 4687251"/>
              <a:gd name="connsiteX7766" fmla="*/ 4222331 w 8079933"/>
              <a:gd name="connsiteY7766" fmla="*/ 2860991 h 4687251"/>
              <a:gd name="connsiteX7767" fmla="*/ 4222599 w 8079933"/>
              <a:gd name="connsiteY7767" fmla="*/ 2863756 h 4687251"/>
              <a:gd name="connsiteX7768" fmla="*/ 4219777 w 8079933"/>
              <a:gd name="connsiteY7768" fmla="*/ 2868087 h 4687251"/>
              <a:gd name="connsiteX7769" fmla="*/ 4216088 w 8079933"/>
              <a:gd name="connsiteY7769" fmla="*/ 2869278 h 4687251"/>
              <a:gd name="connsiteX7770" fmla="*/ 4214243 w 8079933"/>
              <a:gd name="connsiteY7770" fmla="*/ 2871985 h 4687251"/>
              <a:gd name="connsiteX7771" fmla="*/ 4214243 w 8079933"/>
              <a:gd name="connsiteY7771" fmla="*/ 2874042 h 4687251"/>
              <a:gd name="connsiteX7772" fmla="*/ 4211096 w 8079933"/>
              <a:gd name="connsiteY7772" fmla="*/ 2879347 h 4687251"/>
              <a:gd name="connsiteX7773" fmla="*/ 4205996 w 8079933"/>
              <a:gd name="connsiteY7773" fmla="*/ 2882271 h 4687251"/>
              <a:gd name="connsiteX7774" fmla="*/ 4203283 w 8079933"/>
              <a:gd name="connsiteY7774" fmla="*/ 2881188 h 4687251"/>
              <a:gd name="connsiteX7775" fmla="*/ 4199160 w 8079933"/>
              <a:gd name="connsiteY7775" fmla="*/ 2878156 h 4687251"/>
              <a:gd name="connsiteX7776" fmla="*/ 4203283 w 8079933"/>
              <a:gd name="connsiteY7776" fmla="*/ 2881188 h 4687251"/>
              <a:gd name="connsiteX7777" fmla="*/ 4205996 w 8079933"/>
              <a:gd name="connsiteY7777" fmla="*/ 2882271 h 4687251"/>
              <a:gd name="connsiteX7778" fmla="*/ 4211096 w 8079933"/>
              <a:gd name="connsiteY7778" fmla="*/ 2879348 h 4687251"/>
              <a:gd name="connsiteX7779" fmla="*/ 4214244 w 8079933"/>
              <a:gd name="connsiteY7779" fmla="*/ 2874043 h 4687251"/>
              <a:gd name="connsiteX7780" fmla="*/ 4214244 w 8079933"/>
              <a:gd name="connsiteY7780" fmla="*/ 2871986 h 4687251"/>
              <a:gd name="connsiteX7781" fmla="*/ 4216088 w 8079933"/>
              <a:gd name="connsiteY7781" fmla="*/ 2869278 h 4687251"/>
              <a:gd name="connsiteX7782" fmla="*/ 4219778 w 8079933"/>
              <a:gd name="connsiteY7782" fmla="*/ 2868087 h 4687251"/>
              <a:gd name="connsiteX7783" fmla="*/ 4222599 w 8079933"/>
              <a:gd name="connsiteY7783" fmla="*/ 2863756 h 4687251"/>
              <a:gd name="connsiteX7784" fmla="*/ 6194563 w 8079933"/>
              <a:gd name="connsiteY7784" fmla="*/ 2860292 h 4687251"/>
              <a:gd name="connsiteX7785" fmla="*/ 6197276 w 8079933"/>
              <a:gd name="connsiteY7785" fmla="*/ 2862782 h 4687251"/>
              <a:gd name="connsiteX7786" fmla="*/ 6196951 w 8079933"/>
              <a:gd name="connsiteY7786" fmla="*/ 2867329 h 4687251"/>
              <a:gd name="connsiteX7787" fmla="*/ 6198362 w 8079933"/>
              <a:gd name="connsiteY7787" fmla="*/ 2871335 h 4687251"/>
              <a:gd name="connsiteX7788" fmla="*/ 6195540 w 8079933"/>
              <a:gd name="connsiteY7788" fmla="*/ 2874691 h 4687251"/>
              <a:gd name="connsiteX7789" fmla="*/ 6193695 w 8079933"/>
              <a:gd name="connsiteY7789" fmla="*/ 2869820 h 4687251"/>
              <a:gd name="connsiteX7790" fmla="*/ 6191200 w 8079933"/>
              <a:gd name="connsiteY7790" fmla="*/ 2868412 h 4687251"/>
              <a:gd name="connsiteX7791" fmla="*/ 6191200 w 8079933"/>
              <a:gd name="connsiteY7791" fmla="*/ 2863648 h 4687251"/>
              <a:gd name="connsiteX7792" fmla="*/ 6755486 w 8079933"/>
              <a:gd name="connsiteY7792" fmla="*/ 2858993 h 4687251"/>
              <a:gd name="connsiteX7793" fmla="*/ 6757657 w 8079933"/>
              <a:gd name="connsiteY7793" fmla="*/ 2859642 h 4687251"/>
              <a:gd name="connsiteX7794" fmla="*/ 6757548 w 8079933"/>
              <a:gd name="connsiteY7794" fmla="*/ 2863107 h 4687251"/>
              <a:gd name="connsiteX7795" fmla="*/ 6752339 w 8079933"/>
              <a:gd name="connsiteY7795" fmla="*/ 2864623 h 4687251"/>
              <a:gd name="connsiteX7796" fmla="*/ 6751146 w 8079933"/>
              <a:gd name="connsiteY7796" fmla="*/ 2863107 h 4687251"/>
              <a:gd name="connsiteX7797" fmla="*/ 6749301 w 8079933"/>
              <a:gd name="connsiteY7797" fmla="*/ 2858884 h 4687251"/>
              <a:gd name="connsiteX7798" fmla="*/ 6749192 w 8079933"/>
              <a:gd name="connsiteY7798" fmla="*/ 2860616 h 4687251"/>
              <a:gd name="connsiteX7799" fmla="*/ 6746153 w 8079933"/>
              <a:gd name="connsiteY7799" fmla="*/ 2862349 h 4687251"/>
              <a:gd name="connsiteX7800" fmla="*/ 6743115 w 8079933"/>
              <a:gd name="connsiteY7800" fmla="*/ 2862457 h 4687251"/>
              <a:gd name="connsiteX7801" fmla="*/ 4756718 w 8079933"/>
              <a:gd name="connsiteY7801" fmla="*/ 2858884 h 4687251"/>
              <a:gd name="connsiteX7802" fmla="*/ 4761384 w 8079933"/>
              <a:gd name="connsiteY7802" fmla="*/ 2867112 h 4687251"/>
              <a:gd name="connsiteX7803" fmla="*/ 4761385 w 8079933"/>
              <a:gd name="connsiteY7803" fmla="*/ 2867112 h 4687251"/>
              <a:gd name="connsiteX7804" fmla="*/ 4756718 w 8079933"/>
              <a:gd name="connsiteY7804" fmla="*/ 2858884 h 4687251"/>
              <a:gd name="connsiteX7805" fmla="*/ 6191525 w 8079933"/>
              <a:gd name="connsiteY7805" fmla="*/ 2854554 h 4687251"/>
              <a:gd name="connsiteX7806" fmla="*/ 6194347 w 8079933"/>
              <a:gd name="connsiteY7806" fmla="*/ 2854662 h 4687251"/>
              <a:gd name="connsiteX7807" fmla="*/ 6190548 w 8079933"/>
              <a:gd name="connsiteY7807" fmla="*/ 2859101 h 4687251"/>
              <a:gd name="connsiteX7808" fmla="*/ 6189029 w 8079933"/>
              <a:gd name="connsiteY7808" fmla="*/ 2857694 h 4687251"/>
              <a:gd name="connsiteX7809" fmla="*/ 3644749 w 8079933"/>
              <a:gd name="connsiteY7809" fmla="*/ 2853687 h 4687251"/>
              <a:gd name="connsiteX7810" fmla="*/ 3647244 w 8079933"/>
              <a:gd name="connsiteY7810" fmla="*/ 2854336 h 4687251"/>
              <a:gd name="connsiteX7811" fmla="*/ 3649197 w 8079933"/>
              <a:gd name="connsiteY7811" fmla="*/ 2856502 h 4687251"/>
              <a:gd name="connsiteX7812" fmla="*/ 3649631 w 8079933"/>
              <a:gd name="connsiteY7812" fmla="*/ 2859859 h 4687251"/>
              <a:gd name="connsiteX7813" fmla="*/ 3647570 w 8079933"/>
              <a:gd name="connsiteY7813" fmla="*/ 2859642 h 4687251"/>
              <a:gd name="connsiteX7814" fmla="*/ 3644314 w 8079933"/>
              <a:gd name="connsiteY7814" fmla="*/ 2857693 h 4687251"/>
              <a:gd name="connsiteX7815" fmla="*/ 3643772 w 8079933"/>
              <a:gd name="connsiteY7815" fmla="*/ 2855528 h 4687251"/>
              <a:gd name="connsiteX7816" fmla="*/ 3876756 w 8079933"/>
              <a:gd name="connsiteY7816" fmla="*/ 2853471 h 4687251"/>
              <a:gd name="connsiteX7817" fmla="*/ 3875739 w 8079933"/>
              <a:gd name="connsiteY7817" fmla="*/ 2855502 h 4687251"/>
              <a:gd name="connsiteX7818" fmla="*/ 3876756 w 8079933"/>
              <a:gd name="connsiteY7818" fmla="*/ 2853471 h 4687251"/>
              <a:gd name="connsiteX7819" fmla="*/ 6317948 w 8079933"/>
              <a:gd name="connsiteY7819" fmla="*/ 2851847 h 4687251"/>
              <a:gd name="connsiteX7820" fmla="*/ 6319141 w 8079933"/>
              <a:gd name="connsiteY7820" fmla="*/ 2852063 h 4687251"/>
              <a:gd name="connsiteX7821" fmla="*/ 6319467 w 8079933"/>
              <a:gd name="connsiteY7821" fmla="*/ 2854120 h 4687251"/>
              <a:gd name="connsiteX7822" fmla="*/ 6318816 w 8079933"/>
              <a:gd name="connsiteY7822" fmla="*/ 2856719 h 4687251"/>
              <a:gd name="connsiteX7823" fmla="*/ 2228918 w 8079933"/>
              <a:gd name="connsiteY7823" fmla="*/ 2851075 h 4687251"/>
              <a:gd name="connsiteX7824" fmla="*/ 2227738 w 8079933"/>
              <a:gd name="connsiteY7824" fmla="*/ 2853037 h 4687251"/>
              <a:gd name="connsiteX7825" fmla="*/ 2228063 w 8079933"/>
              <a:gd name="connsiteY7825" fmla="*/ 2856502 h 4687251"/>
              <a:gd name="connsiteX7826" fmla="*/ 2233489 w 8079933"/>
              <a:gd name="connsiteY7826" fmla="*/ 2860941 h 4687251"/>
              <a:gd name="connsiteX7827" fmla="*/ 2236741 w 8079933"/>
              <a:gd name="connsiteY7827" fmla="*/ 2862353 h 4687251"/>
              <a:gd name="connsiteX7828" fmla="*/ 2233489 w 8079933"/>
              <a:gd name="connsiteY7828" fmla="*/ 2860941 h 4687251"/>
              <a:gd name="connsiteX7829" fmla="*/ 2228064 w 8079933"/>
              <a:gd name="connsiteY7829" fmla="*/ 2856502 h 4687251"/>
              <a:gd name="connsiteX7830" fmla="*/ 2227738 w 8079933"/>
              <a:gd name="connsiteY7830" fmla="*/ 2853038 h 4687251"/>
              <a:gd name="connsiteX7831" fmla="*/ 4747602 w 8079933"/>
              <a:gd name="connsiteY7831" fmla="*/ 2847299 h 4687251"/>
              <a:gd name="connsiteX7832" fmla="*/ 4749881 w 8079933"/>
              <a:gd name="connsiteY7832" fmla="*/ 2850222 h 4687251"/>
              <a:gd name="connsiteX7833" fmla="*/ 4754222 w 8079933"/>
              <a:gd name="connsiteY7833" fmla="*/ 2854444 h 4687251"/>
              <a:gd name="connsiteX7834" fmla="*/ 4754981 w 8079933"/>
              <a:gd name="connsiteY7834" fmla="*/ 2857801 h 4687251"/>
              <a:gd name="connsiteX7835" fmla="*/ 4756451 w 8079933"/>
              <a:gd name="connsiteY7835" fmla="*/ 2858717 h 4687251"/>
              <a:gd name="connsiteX7836" fmla="*/ 4754982 w 8079933"/>
              <a:gd name="connsiteY7836" fmla="*/ 2857801 h 4687251"/>
              <a:gd name="connsiteX7837" fmla="*/ 4754223 w 8079933"/>
              <a:gd name="connsiteY7837" fmla="*/ 2854445 h 4687251"/>
              <a:gd name="connsiteX7838" fmla="*/ 4749882 w 8079933"/>
              <a:gd name="connsiteY7838" fmla="*/ 2850222 h 4687251"/>
              <a:gd name="connsiteX7839" fmla="*/ 4747603 w 8079933"/>
              <a:gd name="connsiteY7839" fmla="*/ 2847299 h 4687251"/>
              <a:gd name="connsiteX7840" fmla="*/ 4734684 w 8079933"/>
              <a:gd name="connsiteY7840" fmla="*/ 2846356 h 4687251"/>
              <a:gd name="connsiteX7841" fmla="*/ 4737618 w 8079933"/>
              <a:gd name="connsiteY7841" fmla="*/ 2847407 h 4687251"/>
              <a:gd name="connsiteX7842" fmla="*/ 4747377 w 8079933"/>
              <a:gd name="connsiteY7842" fmla="*/ 2847301 h 4687251"/>
              <a:gd name="connsiteX7843" fmla="*/ 4737619 w 8079933"/>
              <a:gd name="connsiteY7843" fmla="*/ 2847407 h 4687251"/>
              <a:gd name="connsiteX7844" fmla="*/ 2516392 w 8079933"/>
              <a:gd name="connsiteY7844" fmla="*/ 2844314 h 4687251"/>
              <a:gd name="connsiteX7845" fmla="*/ 2515741 w 8079933"/>
              <a:gd name="connsiteY7845" fmla="*/ 2844808 h 4687251"/>
              <a:gd name="connsiteX7846" fmla="*/ 2512160 w 8079933"/>
              <a:gd name="connsiteY7846" fmla="*/ 2844484 h 4687251"/>
              <a:gd name="connsiteX7847" fmla="*/ 2515741 w 8079933"/>
              <a:gd name="connsiteY7847" fmla="*/ 2844809 h 4687251"/>
              <a:gd name="connsiteX7848" fmla="*/ 4337627 w 8079933"/>
              <a:gd name="connsiteY7848" fmla="*/ 2843834 h 4687251"/>
              <a:gd name="connsiteX7849" fmla="*/ 4336433 w 8079933"/>
              <a:gd name="connsiteY7849" fmla="*/ 2845026 h 4687251"/>
              <a:gd name="connsiteX7850" fmla="*/ 4337627 w 8079933"/>
              <a:gd name="connsiteY7850" fmla="*/ 2843835 h 4687251"/>
              <a:gd name="connsiteX7851" fmla="*/ 4340122 w 8079933"/>
              <a:gd name="connsiteY7851" fmla="*/ 2846109 h 4687251"/>
              <a:gd name="connsiteX7852" fmla="*/ 4341750 w 8079933"/>
              <a:gd name="connsiteY7852" fmla="*/ 2851631 h 4687251"/>
              <a:gd name="connsiteX7853" fmla="*/ 4343811 w 8079933"/>
              <a:gd name="connsiteY7853" fmla="*/ 2853688 h 4687251"/>
              <a:gd name="connsiteX7854" fmla="*/ 4348261 w 8079933"/>
              <a:gd name="connsiteY7854" fmla="*/ 2853038 h 4687251"/>
              <a:gd name="connsiteX7855" fmla="*/ 4348261 w 8079933"/>
              <a:gd name="connsiteY7855" fmla="*/ 2853037 h 4687251"/>
              <a:gd name="connsiteX7856" fmla="*/ 4343813 w 8079933"/>
              <a:gd name="connsiteY7856" fmla="*/ 2853687 h 4687251"/>
              <a:gd name="connsiteX7857" fmla="*/ 4341751 w 8079933"/>
              <a:gd name="connsiteY7857" fmla="*/ 2851630 h 4687251"/>
              <a:gd name="connsiteX7858" fmla="*/ 4340123 w 8079933"/>
              <a:gd name="connsiteY7858" fmla="*/ 2846108 h 4687251"/>
              <a:gd name="connsiteX7859" fmla="*/ 4732085 w 8079933"/>
              <a:gd name="connsiteY7859" fmla="*/ 2843380 h 4687251"/>
              <a:gd name="connsiteX7860" fmla="*/ 4732085 w 8079933"/>
              <a:gd name="connsiteY7860" fmla="*/ 2843380 h 4687251"/>
              <a:gd name="connsiteX7861" fmla="*/ 4733387 w 8079933"/>
              <a:gd name="connsiteY7861" fmla="*/ 2845891 h 4687251"/>
              <a:gd name="connsiteX7862" fmla="*/ 6185340 w 8079933"/>
              <a:gd name="connsiteY7862" fmla="*/ 2842644 h 4687251"/>
              <a:gd name="connsiteX7863" fmla="*/ 6187728 w 8079933"/>
              <a:gd name="connsiteY7863" fmla="*/ 2847300 h 4687251"/>
              <a:gd name="connsiteX7864" fmla="*/ 6185449 w 8079933"/>
              <a:gd name="connsiteY7864" fmla="*/ 2848816 h 4687251"/>
              <a:gd name="connsiteX7865" fmla="*/ 6182302 w 8079933"/>
              <a:gd name="connsiteY7865" fmla="*/ 2846758 h 4687251"/>
              <a:gd name="connsiteX7866" fmla="*/ 6181108 w 8079933"/>
              <a:gd name="connsiteY7866" fmla="*/ 2843510 h 4687251"/>
              <a:gd name="connsiteX7867" fmla="*/ 6301236 w 8079933"/>
              <a:gd name="connsiteY7867" fmla="*/ 2839936 h 4687251"/>
              <a:gd name="connsiteX7868" fmla="*/ 6304057 w 8079933"/>
              <a:gd name="connsiteY7868" fmla="*/ 2839936 h 4687251"/>
              <a:gd name="connsiteX7869" fmla="*/ 6304057 w 8079933"/>
              <a:gd name="connsiteY7869" fmla="*/ 2845675 h 4687251"/>
              <a:gd name="connsiteX7870" fmla="*/ 6301236 w 8079933"/>
              <a:gd name="connsiteY7870" fmla="*/ 2849897 h 4687251"/>
              <a:gd name="connsiteX7871" fmla="*/ 6301236 w 8079933"/>
              <a:gd name="connsiteY7871" fmla="*/ 2845026 h 4687251"/>
              <a:gd name="connsiteX7872" fmla="*/ 6300151 w 8079933"/>
              <a:gd name="connsiteY7872" fmla="*/ 2843077 h 4687251"/>
              <a:gd name="connsiteX7873" fmla="*/ 6750060 w 8079933"/>
              <a:gd name="connsiteY7873" fmla="*/ 2838963 h 4687251"/>
              <a:gd name="connsiteX7874" fmla="*/ 6751579 w 8079933"/>
              <a:gd name="connsiteY7874" fmla="*/ 2840154 h 4687251"/>
              <a:gd name="connsiteX7875" fmla="*/ 6750819 w 8079933"/>
              <a:gd name="connsiteY7875" fmla="*/ 2842103 h 4687251"/>
              <a:gd name="connsiteX7876" fmla="*/ 6750712 w 8079933"/>
              <a:gd name="connsiteY7876" fmla="*/ 2848165 h 4687251"/>
              <a:gd name="connsiteX7877" fmla="*/ 6748433 w 8079933"/>
              <a:gd name="connsiteY7877" fmla="*/ 2848165 h 4687251"/>
              <a:gd name="connsiteX7878" fmla="*/ 6745720 w 8079933"/>
              <a:gd name="connsiteY7878" fmla="*/ 2843726 h 4687251"/>
              <a:gd name="connsiteX7879" fmla="*/ 6745829 w 8079933"/>
              <a:gd name="connsiteY7879" fmla="*/ 2840479 h 4687251"/>
              <a:gd name="connsiteX7880" fmla="*/ 2230568 w 8079933"/>
              <a:gd name="connsiteY7880" fmla="*/ 2838199 h 4687251"/>
              <a:gd name="connsiteX7881" fmla="*/ 2231536 w 8079933"/>
              <a:gd name="connsiteY7881" fmla="*/ 2841886 h 4687251"/>
              <a:gd name="connsiteX7882" fmla="*/ 2229040 w 8079933"/>
              <a:gd name="connsiteY7882" fmla="*/ 2846974 h 4687251"/>
              <a:gd name="connsiteX7883" fmla="*/ 2229366 w 8079933"/>
              <a:gd name="connsiteY7883" fmla="*/ 2850330 h 4687251"/>
              <a:gd name="connsiteX7884" fmla="*/ 2229041 w 8079933"/>
              <a:gd name="connsiteY7884" fmla="*/ 2846974 h 4687251"/>
              <a:gd name="connsiteX7885" fmla="*/ 2231536 w 8079933"/>
              <a:gd name="connsiteY7885" fmla="*/ 2841885 h 4687251"/>
              <a:gd name="connsiteX7886" fmla="*/ 4389873 w 8079933"/>
              <a:gd name="connsiteY7886" fmla="*/ 2835557 h 4687251"/>
              <a:gd name="connsiteX7887" fmla="*/ 4387436 w 8079933"/>
              <a:gd name="connsiteY7887" fmla="*/ 2838312 h 4687251"/>
              <a:gd name="connsiteX7888" fmla="*/ 4381359 w 8079933"/>
              <a:gd name="connsiteY7888" fmla="*/ 2838312 h 4687251"/>
              <a:gd name="connsiteX7889" fmla="*/ 4367035 w 8079933"/>
              <a:gd name="connsiteY7889" fmla="*/ 2841561 h 4687251"/>
              <a:gd name="connsiteX7890" fmla="*/ 4361066 w 8079933"/>
              <a:gd name="connsiteY7890" fmla="*/ 2845674 h 4687251"/>
              <a:gd name="connsiteX7891" fmla="*/ 4354906 w 8079933"/>
              <a:gd name="connsiteY7891" fmla="*/ 2848194 h 4687251"/>
              <a:gd name="connsiteX7892" fmla="*/ 4361066 w 8079933"/>
              <a:gd name="connsiteY7892" fmla="*/ 2845675 h 4687251"/>
              <a:gd name="connsiteX7893" fmla="*/ 4367034 w 8079933"/>
              <a:gd name="connsiteY7893" fmla="*/ 2841562 h 4687251"/>
              <a:gd name="connsiteX7894" fmla="*/ 4381358 w 8079933"/>
              <a:gd name="connsiteY7894" fmla="*/ 2838313 h 4687251"/>
              <a:gd name="connsiteX7895" fmla="*/ 4387436 w 8079933"/>
              <a:gd name="connsiteY7895" fmla="*/ 2838313 h 4687251"/>
              <a:gd name="connsiteX7896" fmla="*/ 5856860 w 8079933"/>
              <a:gd name="connsiteY7896" fmla="*/ 2834848 h 4687251"/>
              <a:gd name="connsiteX7897" fmla="*/ 5856534 w 8079933"/>
              <a:gd name="connsiteY7897" fmla="*/ 2835931 h 4687251"/>
              <a:gd name="connsiteX7898" fmla="*/ 5855232 w 8079933"/>
              <a:gd name="connsiteY7898" fmla="*/ 2836580 h 4687251"/>
              <a:gd name="connsiteX7899" fmla="*/ 5856101 w 8079933"/>
              <a:gd name="connsiteY7899" fmla="*/ 2840262 h 4687251"/>
              <a:gd name="connsiteX7900" fmla="*/ 5853605 w 8079933"/>
              <a:gd name="connsiteY7900" fmla="*/ 2845675 h 4687251"/>
              <a:gd name="connsiteX7901" fmla="*/ 5854365 w 8079933"/>
              <a:gd name="connsiteY7901" fmla="*/ 2840153 h 4687251"/>
              <a:gd name="connsiteX7902" fmla="*/ 5854039 w 8079933"/>
              <a:gd name="connsiteY7902" fmla="*/ 2836039 h 4687251"/>
              <a:gd name="connsiteX7903" fmla="*/ 3888801 w 8079933"/>
              <a:gd name="connsiteY7903" fmla="*/ 2834415 h 4687251"/>
              <a:gd name="connsiteX7904" fmla="*/ 3883919 w 8079933"/>
              <a:gd name="connsiteY7904" fmla="*/ 2837447 h 4687251"/>
              <a:gd name="connsiteX7905" fmla="*/ 3880664 w 8079933"/>
              <a:gd name="connsiteY7905" fmla="*/ 2842226 h 4687251"/>
              <a:gd name="connsiteX7906" fmla="*/ 3883919 w 8079933"/>
              <a:gd name="connsiteY7906" fmla="*/ 2837447 h 4687251"/>
              <a:gd name="connsiteX7907" fmla="*/ 3888801 w 8079933"/>
              <a:gd name="connsiteY7907" fmla="*/ 2834416 h 4687251"/>
              <a:gd name="connsiteX7908" fmla="*/ 6188053 w 8079933"/>
              <a:gd name="connsiteY7908" fmla="*/ 2834199 h 4687251"/>
              <a:gd name="connsiteX7909" fmla="*/ 6189790 w 8079933"/>
              <a:gd name="connsiteY7909" fmla="*/ 2835931 h 4687251"/>
              <a:gd name="connsiteX7910" fmla="*/ 6190006 w 8079933"/>
              <a:gd name="connsiteY7910" fmla="*/ 2839612 h 4687251"/>
              <a:gd name="connsiteX7911" fmla="*/ 6188162 w 8079933"/>
              <a:gd name="connsiteY7911" fmla="*/ 2841669 h 4687251"/>
              <a:gd name="connsiteX7912" fmla="*/ 6186100 w 8079933"/>
              <a:gd name="connsiteY7912" fmla="*/ 2838205 h 4687251"/>
              <a:gd name="connsiteX7913" fmla="*/ 6756789 w 8079933"/>
              <a:gd name="connsiteY7913" fmla="*/ 2833332 h 4687251"/>
              <a:gd name="connsiteX7914" fmla="*/ 6757873 w 8079933"/>
              <a:gd name="connsiteY7914" fmla="*/ 2836364 h 4687251"/>
              <a:gd name="connsiteX7915" fmla="*/ 6755269 w 8079933"/>
              <a:gd name="connsiteY7915" fmla="*/ 2835065 h 4687251"/>
              <a:gd name="connsiteX7916" fmla="*/ 6754401 w 8079933"/>
              <a:gd name="connsiteY7916" fmla="*/ 2832683 h 4687251"/>
              <a:gd name="connsiteX7917" fmla="*/ 6754076 w 8079933"/>
              <a:gd name="connsiteY7917" fmla="*/ 2834631 h 4687251"/>
              <a:gd name="connsiteX7918" fmla="*/ 6752014 w 8079933"/>
              <a:gd name="connsiteY7918" fmla="*/ 2834955 h 4687251"/>
              <a:gd name="connsiteX7919" fmla="*/ 4737983 w 8079933"/>
              <a:gd name="connsiteY7919" fmla="*/ 2831955 h 4687251"/>
              <a:gd name="connsiteX7920" fmla="*/ 4737837 w 8079933"/>
              <a:gd name="connsiteY7920" fmla="*/ 2834282 h 4687251"/>
              <a:gd name="connsiteX7921" fmla="*/ 4737837 w 8079933"/>
              <a:gd name="connsiteY7921" fmla="*/ 2834299 h 4687251"/>
              <a:gd name="connsiteX7922" fmla="*/ 4737984 w 8079933"/>
              <a:gd name="connsiteY7922" fmla="*/ 2831955 h 4687251"/>
              <a:gd name="connsiteX7923" fmla="*/ 6175465 w 8079933"/>
              <a:gd name="connsiteY7923" fmla="*/ 2831167 h 4687251"/>
              <a:gd name="connsiteX7924" fmla="*/ 6178829 w 8079933"/>
              <a:gd name="connsiteY7924" fmla="*/ 2832033 h 4687251"/>
              <a:gd name="connsiteX7925" fmla="*/ 6180674 w 8079933"/>
              <a:gd name="connsiteY7925" fmla="*/ 2838421 h 4687251"/>
              <a:gd name="connsiteX7926" fmla="*/ 6176767 w 8079933"/>
              <a:gd name="connsiteY7926" fmla="*/ 2834740 h 4687251"/>
              <a:gd name="connsiteX7927" fmla="*/ 6175465 w 8079933"/>
              <a:gd name="connsiteY7927" fmla="*/ 2831167 h 4687251"/>
              <a:gd name="connsiteX7928" fmla="*/ 4397636 w 8079933"/>
              <a:gd name="connsiteY7928" fmla="*/ 2830084 h 4687251"/>
              <a:gd name="connsiteX7929" fmla="*/ 4390691 w 8079933"/>
              <a:gd name="connsiteY7929" fmla="*/ 2834631 h 4687251"/>
              <a:gd name="connsiteX7930" fmla="*/ 4390691 w 8079933"/>
              <a:gd name="connsiteY7930" fmla="*/ 2834632 h 4687251"/>
              <a:gd name="connsiteX7931" fmla="*/ 4397636 w 8079933"/>
              <a:gd name="connsiteY7931" fmla="*/ 2830085 h 4687251"/>
              <a:gd name="connsiteX7932" fmla="*/ 3714199 w 8079933"/>
              <a:gd name="connsiteY7932" fmla="*/ 2826836 h 4687251"/>
              <a:gd name="connsiteX7933" fmla="*/ 3703998 w 8079933"/>
              <a:gd name="connsiteY7933" fmla="*/ 2830084 h 4687251"/>
              <a:gd name="connsiteX7934" fmla="*/ 3701937 w 8079933"/>
              <a:gd name="connsiteY7934" fmla="*/ 2829326 h 4687251"/>
              <a:gd name="connsiteX7935" fmla="*/ 3696404 w 8079933"/>
              <a:gd name="connsiteY7935" fmla="*/ 2831815 h 4687251"/>
              <a:gd name="connsiteX7936" fmla="*/ 3696404 w 8079933"/>
              <a:gd name="connsiteY7936" fmla="*/ 2831816 h 4687251"/>
              <a:gd name="connsiteX7937" fmla="*/ 3701936 w 8079933"/>
              <a:gd name="connsiteY7937" fmla="*/ 2829327 h 4687251"/>
              <a:gd name="connsiteX7938" fmla="*/ 3703997 w 8079933"/>
              <a:gd name="connsiteY7938" fmla="*/ 2830085 h 4687251"/>
              <a:gd name="connsiteX7939" fmla="*/ 3714198 w 8079933"/>
              <a:gd name="connsiteY7939" fmla="*/ 2826837 h 4687251"/>
              <a:gd name="connsiteX7940" fmla="*/ 3718756 w 8079933"/>
              <a:gd name="connsiteY7940" fmla="*/ 2828894 h 4687251"/>
              <a:gd name="connsiteX7941" fmla="*/ 3721686 w 8079933"/>
              <a:gd name="connsiteY7941" fmla="*/ 2834416 h 4687251"/>
              <a:gd name="connsiteX7942" fmla="*/ 3726352 w 8079933"/>
              <a:gd name="connsiteY7942" fmla="*/ 2836906 h 4687251"/>
              <a:gd name="connsiteX7943" fmla="*/ 3725809 w 8079933"/>
              <a:gd name="connsiteY7943" fmla="*/ 2846326 h 4687251"/>
              <a:gd name="connsiteX7944" fmla="*/ 3724941 w 8079933"/>
              <a:gd name="connsiteY7944" fmla="*/ 2851414 h 4687251"/>
              <a:gd name="connsiteX7945" fmla="*/ 3731127 w 8079933"/>
              <a:gd name="connsiteY7945" fmla="*/ 2858452 h 4687251"/>
              <a:gd name="connsiteX7946" fmla="*/ 3733840 w 8079933"/>
              <a:gd name="connsiteY7946" fmla="*/ 2857585 h 4687251"/>
              <a:gd name="connsiteX7947" fmla="*/ 3741002 w 8079933"/>
              <a:gd name="connsiteY7947" fmla="*/ 2852281 h 4687251"/>
              <a:gd name="connsiteX7948" fmla="*/ 3743606 w 8079933"/>
              <a:gd name="connsiteY7948" fmla="*/ 2853038 h 4687251"/>
              <a:gd name="connsiteX7949" fmla="*/ 3747187 w 8079933"/>
              <a:gd name="connsiteY7949" fmla="*/ 2856395 h 4687251"/>
              <a:gd name="connsiteX7950" fmla="*/ 3748327 w 8079933"/>
              <a:gd name="connsiteY7950" fmla="*/ 2858875 h 4687251"/>
              <a:gd name="connsiteX7951" fmla="*/ 3748327 w 8079933"/>
              <a:gd name="connsiteY7951" fmla="*/ 2858874 h 4687251"/>
              <a:gd name="connsiteX7952" fmla="*/ 3748327 w 8079933"/>
              <a:gd name="connsiteY7952" fmla="*/ 2858873 h 4687251"/>
              <a:gd name="connsiteX7953" fmla="*/ 3748598 w 8079933"/>
              <a:gd name="connsiteY7953" fmla="*/ 2858234 h 4687251"/>
              <a:gd name="connsiteX7954" fmla="*/ 3752722 w 8079933"/>
              <a:gd name="connsiteY7954" fmla="*/ 2856936 h 4687251"/>
              <a:gd name="connsiteX7955" fmla="*/ 3759233 w 8079933"/>
              <a:gd name="connsiteY7955" fmla="*/ 2842860 h 4687251"/>
              <a:gd name="connsiteX7956" fmla="*/ 3752722 w 8079933"/>
              <a:gd name="connsiteY7956" fmla="*/ 2856935 h 4687251"/>
              <a:gd name="connsiteX7957" fmla="*/ 3748598 w 8079933"/>
              <a:gd name="connsiteY7957" fmla="*/ 2858234 h 4687251"/>
              <a:gd name="connsiteX7958" fmla="*/ 3748327 w 8079933"/>
              <a:gd name="connsiteY7958" fmla="*/ 2858873 h 4687251"/>
              <a:gd name="connsiteX7959" fmla="*/ 3747188 w 8079933"/>
              <a:gd name="connsiteY7959" fmla="*/ 2856393 h 4687251"/>
              <a:gd name="connsiteX7960" fmla="*/ 3743607 w 8079933"/>
              <a:gd name="connsiteY7960" fmla="*/ 2853037 h 4687251"/>
              <a:gd name="connsiteX7961" fmla="*/ 3741002 w 8079933"/>
              <a:gd name="connsiteY7961" fmla="*/ 2852279 h 4687251"/>
              <a:gd name="connsiteX7962" fmla="*/ 3733840 w 8079933"/>
              <a:gd name="connsiteY7962" fmla="*/ 2857585 h 4687251"/>
              <a:gd name="connsiteX7963" fmla="*/ 3731127 w 8079933"/>
              <a:gd name="connsiteY7963" fmla="*/ 2858451 h 4687251"/>
              <a:gd name="connsiteX7964" fmla="*/ 3724942 w 8079933"/>
              <a:gd name="connsiteY7964" fmla="*/ 2851413 h 4687251"/>
              <a:gd name="connsiteX7965" fmla="*/ 3725810 w 8079933"/>
              <a:gd name="connsiteY7965" fmla="*/ 2846325 h 4687251"/>
              <a:gd name="connsiteX7966" fmla="*/ 3726353 w 8079933"/>
              <a:gd name="connsiteY7966" fmla="*/ 2836905 h 4687251"/>
              <a:gd name="connsiteX7967" fmla="*/ 3721686 w 8079933"/>
              <a:gd name="connsiteY7967" fmla="*/ 2834415 h 4687251"/>
              <a:gd name="connsiteX7968" fmla="*/ 3718756 w 8079933"/>
              <a:gd name="connsiteY7968" fmla="*/ 2828893 h 4687251"/>
              <a:gd name="connsiteX7969" fmla="*/ 4509042 w 8079933"/>
              <a:gd name="connsiteY7969" fmla="*/ 2824129 h 4687251"/>
              <a:gd name="connsiteX7970" fmla="*/ 4508215 w 8079933"/>
              <a:gd name="connsiteY7970" fmla="*/ 2825212 h 4687251"/>
              <a:gd name="connsiteX7971" fmla="*/ 4508042 w 8079933"/>
              <a:gd name="connsiteY7971" fmla="*/ 2825209 h 4687251"/>
              <a:gd name="connsiteX7972" fmla="*/ 4508041 w 8079933"/>
              <a:gd name="connsiteY7972" fmla="*/ 2825210 h 4687251"/>
              <a:gd name="connsiteX7973" fmla="*/ 4508214 w 8079933"/>
              <a:gd name="connsiteY7973" fmla="*/ 2825213 h 4687251"/>
              <a:gd name="connsiteX7974" fmla="*/ 4509042 w 8079933"/>
              <a:gd name="connsiteY7974" fmla="*/ 2824129 h 4687251"/>
              <a:gd name="connsiteX7975" fmla="*/ 3760969 w 8079933"/>
              <a:gd name="connsiteY7975" fmla="*/ 2823155 h 4687251"/>
              <a:gd name="connsiteX7976" fmla="*/ 3760535 w 8079933"/>
              <a:gd name="connsiteY7976" fmla="*/ 2826402 h 4687251"/>
              <a:gd name="connsiteX7977" fmla="*/ 3756629 w 8079933"/>
              <a:gd name="connsiteY7977" fmla="*/ 2825970 h 4687251"/>
              <a:gd name="connsiteX7978" fmla="*/ 3753590 w 8079933"/>
              <a:gd name="connsiteY7978" fmla="*/ 2827594 h 4687251"/>
              <a:gd name="connsiteX7979" fmla="*/ 3753590 w 8079933"/>
              <a:gd name="connsiteY7979" fmla="*/ 2830734 h 4687251"/>
              <a:gd name="connsiteX7980" fmla="*/ 3755203 w 8079933"/>
              <a:gd name="connsiteY7980" fmla="*/ 2832493 h 4687251"/>
              <a:gd name="connsiteX7981" fmla="*/ 3753590 w 8079933"/>
              <a:gd name="connsiteY7981" fmla="*/ 2830734 h 4687251"/>
              <a:gd name="connsiteX7982" fmla="*/ 3753590 w 8079933"/>
              <a:gd name="connsiteY7982" fmla="*/ 2827594 h 4687251"/>
              <a:gd name="connsiteX7983" fmla="*/ 3756629 w 8079933"/>
              <a:gd name="connsiteY7983" fmla="*/ 2825970 h 4687251"/>
              <a:gd name="connsiteX7984" fmla="*/ 3760536 w 8079933"/>
              <a:gd name="connsiteY7984" fmla="*/ 2826403 h 4687251"/>
              <a:gd name="connsiteX7985" fmla="*/ 1983358 w 8079933"/>
              <a:gd name="connsiteY7985" fmla="*/ 2822938 h 4687251"/>
              <a:gd name="connsiteX7986" fmla="*/ 1979560 w 8079933"/>
              <a:gd name="connsiteY7986" fmla="*/ 2825861 h 4687251"/>
              <a:gd name="connsiteX7987" fmla="*/ 1979560 w 8079933"/>
              <a:gd name="connsiteY7987" fmla="*/ 2825862 h 4687251"/>
              <a:gd name="connsiteX7988" fmla="*/ 1983358 w 8079933"/>
              <a:gd name="connsiteY7988" fmla="*/ 2822938 h 4687251"/>
              <a:gd name="connsiteX7989" fmla="*/ 4294397 w 8079933"/>
              <a:gd name="connsiteY7989" fmla="*/ 2822127 h 4687251"/>
              <a:gd name="connsiteX7990" fmla="*/ 4301925 w 8079933"/>
              <a:gd name="connsiteY7990" fmla="*/ 2830409 h 4687251"/>
              <a:gd name="connsiteX7991" fmla="*/ 4305614 w 8079933"/>
              <a:gd name="connsiteY7991" fmla="*/ 2833549 h 4687251"/>
              <a:gd name="connsiteX7992" fmla="*/ 4309196 w 8079933"/>
              <a:gd name="connsiteY7992" fmla="*/ 2839612 h 4687251"/>
              <a:gd name="connsiteX7993" fmla="*/ 4313319 w 8079933"/>
              <a:gd name="connsiteY7993" fmla="*/ 2846000 h 4687251"/>
              <a:gd name="connsiteX7994" fmla="*/ 4313427 w 8079933"/>
              <a:gd name="connsiteY7994" fmla="*/ 2850114 h 4687251"/>
              <a:gd name="connsiteX7995" fmla="*/ 4313427 w 8079933"/>
              <a:gd name="connsiteY7995" fmla="*/ 2850115 h 4687251"/>
              <a:gd name="connsiteX7996" fmla="*/ 4316032 w 8079933"/>
              <a:gd name="connsiteY7996" fmla="*/ 2853038 h 4687251"/>
              <a:gd name="connsiteX7997" fmla="*/ 4317008 w 8079933"/>
              <a:gd name="connsiteY7997" fmla="*/ 2857802 h 4687251"/>
              <a:gd name="connsiteX7998" fmla="*/ 4321566 w 8079933"/>
              <a:gd name="connsiteY7998" fmla="*/ 2857802 h 4687251"/>
              <a:gd name="connsiteX7999" fmla="*/ 4325473 w 8079933"/>
              <a:gd name="connsiteY7999" fmla="*/ 2856936 h 4687251"/>
              <a:gd name="connsiteX8000" fmla="*/ 4331875 w 8079933"/>
              <a:gd name="connsiteY8000" fmla="*/ 2856719 h 4687251"/>
              <a:gd name="connsiteX8001" fmla="*/ 4332058 w 8079933"/>
              <a:gd name="connsiteY8001" fmla="*/ 2856386 h 4687251"/>
              <a:gd name="connsiteX8002" fmla="*/ 4331875 w 8079933"/>
              <a:gd name="connsiteY8002" fmla="*/ 2856718 h 4687251"/>
              <a:gd name="connsiteX8003" fmla="*/ 4325473 w 8079933"/>
              <a:gd name="connsiteY8003" fmla="*/ 2856935 h 4687251"/>
              <a:gd name="connsiteX8004" fmla="*/ 4321566 w 8079933"/>
              <a:gd name="connsiteY8004" fmla="*/ 2857801 h 4687251"/>
              <a:gd name="connsiteX8005" fmla="*/ 4317008 w 8079933"/>
              <a:gd name="connsiteY8005" fmla="*/ 2857801 h 4687251"/>
              <a:gd name="connsiteX8006" fmla="*/ 4316032 w 8079933"/>
              <a:gd name="connsiteY8006" fmla="*/ 2853037 h 4687251"/>
              <a:gd name="connsiteX8007" fmla="*/ 4313427 w 8079933"/>
              <a:gd name="connsiteY8007" fmla="*/ 2850114 h 4687251"/>
              <a:gd name="connsiteX8008" fmla="*/ 4313319 w 8079933"/>
              <a:gd name="connsiteY8008" fmla="*/ 2845999 h 4687251"/>
              <a:gd name="connsiteX8009" fmla="*/ 4309196 w 8079933"/>
              <a:gd name="connsiteY8009" fmla="*/ 2839611 h 4687251"/>
              <a:gd name="connsiteX8010" fmla="*/ 4305614 w 8079933"/>
              <a:gd name="connsiteY8010" fmla="*/ 2833548 h 4687251"/>
              <a:gd name="connsiteX8011" fmla="*/ 4301925 w 8079933"/>
              <a:gd name="connsiteY8011" fmla="*/ 2830409 h 4687251"/>
              <a:gd name="connsiteX8012" fmla="*/ 3959230 w 8079933"/>
              <a:gd name="connsiteY8012" fmla="*/ 2819366 h 4687251"/>
              <a:gd name="connsiteX8013" fmla="*/ 3961508 w 8079933"/>
              <a:gd name="connsiteY8013" fmla="*/ 2821206 h 4687251"/>
              <a:gd name="connsiteX8014" fmla="*/ 3961508 w 8079933"/>
              <a:gd name="connsiteY8014" fmla="*/ 2821206 h 4687251"/>
              <a:gd name="connsiteX8015" fmla="*/ 3888801 w 8079933"/>
              <a:gd name="connsiteY8015" fmla="*/ 2818391 h 4687251"/>
              <a:gd name="connsiteX8016" fmla="*/ 3890863 w 8079933"/>
              <a:gd name="connsiteY8016" fmla="*/ 2824346 h 4687251"/>
              <a:gd name="connsiteX8017" fmla="*/ 3888801 w 8079933"/>
              <a:gd name="connsiteY8017" fmla="*/ 2829652 h 4687251"/>
              <a:gd name="connsiteX8018" fmla="*/ 3890864 w 8079933"/>
              <a:gd name="connsiteY8018" fmla="*/ 2824346 h 4687251"/>
              <a:gd name="connsiteX8019" fmla="*/ 3693256 w 8079933"/>
              <a:gd name="connsiteY8019" fmla="*/ 2814927 h 4687251"/>
              <a:gd name="connsiteX8020" fmla="*/ 3697813 w 8079933"/>
              <a:gd name="connsiteY8020" fmla="*/ 2819257 h 4687251"/>
              <a:gd name="connsiteX8021" fmla="*/ 3697813 w 8079933"/>
              <a:gd name="connsiteY8021" fmla="*/ 2819257 h 4687251"/>
              <a:gd name="connsiteX8022" fmla="*/ 4498837 w 8079933"/>
              <a:gd name="connsiteY8022" fmla="*/ 2814233 h 4687251"/>
              <a:gd name="connsiteX8023" fmla="*/ 4498556 w 8079933"/>
              <a:gd name="connsiteY8023" fmla="*/ 2815035 h 4687251"/>
              <a:gd name="connsiteX8024" fmla="*/ 4498773 w 8079933"/>
              <a:gd name="connsiteY8024" fmla="*/ 2822289 h 4687251"/>
              <a:gd name="connsiteX8025" fmla="*/ 4499317 w 8079933"/>
              <a:gd name="connsiteY8025" fmla="*/ 2822744 h 4687251"/>
              <a:gd name="connsiteX8026" fmla="*/ 4499317 w 8079933"/>
              <a:gd name="connsiteY8026" fmla="*/ 2822743 h 4687251"/>
              <a:gd name="connsiteX8027" fmla="*/ 4498774 w 8079933"/>
              <a:gd name="connsiteY8027" fmla="*/ 2822289 h 4687251"/>
              <a:gd name="connsiteX8028" fmla="*/ 4498557 w 8079933"/>
              <a:gd name="connsiteY8028" fmla="*/ 2815034 h 4687251"/>
              <a:gd name="connsiteX8029" fmla="*/ 4432121 w 8079933"/>
              <a:gd name="connsiteY8029" fmla="*/ 2813929 h 4687251"/>
              <a:gd name="connsiteX8030" fmla="*/ 4428672 w 8079933"/>
              <a:gd name="connsiteY8030" fmla="*/ 2816550 h 4687251"/>
              <a:gd name="connsiteX8031" fmla="*/ 4419666 w 8079933"/>
              <a:gd name="connsiteY8031" fmla="*/ 2817741 h 4687251"/>
              <a:gd name="connsiteX8032" fmla="*/ 4413046 w 8079933"/>
              <a:gd name="connsiteY8032" fmla="*/ 2818607 h 4687251"/>
              <a:gd name="connsiteX8033" fmla="*/ 4406752 w 8079933"/>
              <a:gd name="connsiteY8033" fmla="*/ 2817741 h 4687251"/>
              <a:gd name="connsiteX8034" fmla="*/ 4402846 w 8079933"/>
              <a:gd name="connsiteY8034" fmla="*/ 2816117 h 4687251"/>
              <a:gd name="connsiteX8035" fmla="*/ 4397420 w 8079933"/>
              <a:gd name="connsiteY8035" fmla="*/ 2816766 h 4687251"/>
              <a:gd name="connsiteX8036" fmla="*/ 4393730 w 8079933"/>
              <a:gd name="connsiteY8036" fmla="*/ 2815901 h 4687251"/>
              <a:gd name="connsiteX8037" fmla="*/ 4390474 w 8079933"/>
              <a:gd name="connsiteY8037" fmla="*/ 2817958 h 4687251"/>
              <a:gd name="connsiteX8038" fmla="*/ 4393729 w 8079933"/>
              <a:gd name="connsiteY8038" fmla="*/ 2815901 h 4687251"/>
              <a:gd name="connsiteX8039" fmla="*/ 4397419 w 8079933"/>
              <a:gd name="connsiteY8039" fmla="*/ 2816767 h 4687251"/>
              <a:gd name="connsiteX8040" fmla="*/ 4402845 w 8079933"/>
              <a:gd name="connsiteY8040" fmla="*/ 2816118 h 4687251"/>
              <a:gd name="connsiteX8041" fmla="*/ 4406751 w 8079933"/>
              <a:gd name="connsiteY8041" fmla="*/ 2817742 h 4687251"/>
              <a:gd name="connsiteX8042" fmla="*/ 4413045 w 8079933"/>
              <a:gd name="connsiteY8042" fmla="*/ 2818608 h 4687251"/>
              <a:gd name="connsiteX8043" fmla="*/ 4419665 w 8079933"/>
              <a:gd name="connsiteY8043" fmla="*/ 2817742 h 4687251"/>
              <a:gd name="connsiteX8044" fmla="*/ 4428672 w 8079933"/>
              <a:gd name="connsiteY8044" fmla="*/ 2816551 h 4687251"/>
              <a:gd name="connsiteX8045" fmla="*/ 2214499 w 8079933"/>
              <a:gd name="connsiteY8045" fmla="*/ 2813627 h 4687251"/>
              <a:gd name="connsiteX8046" fmla="*/ 2216561 w 8079933"/>
              <a:gd name="connsiteY8046" fmla="*/ 2813735 h 4687251"/>
              <a:gd name="connsiteX8047" fmla="*/ 2220967 w 8079933"/>
              <a:gd name="connsiteY8047" fmla="*/ 2821769 h 4687251"/>
              <a:gd name="connsiteX8048" fmla="*/ 2216561 w 8079933"/>
              <a:gd name="connsiteY8048" fmla="*/ 2813735 h 4687251"/>
              <a:gd name="connsiteX8049" fmla="*/ 4758564 w 8079933"/>
              <a:gd name="connsiteY8049" fmla="*/ 2813154 h 4687251"/>
              <a:gd name="connsiteX8050" fmla="*/ 4758564 w 8079933"/>
              <a:gd name="connsiteY8050" fmla="*/ 2813167 h 4687251"/>
              <a:gd name="connsiteX8051" fmla="*/ 4758780 w 8079933"/>
              <a:gd name="connsiteY8051" fmla="*/ 2816875 h 4687251"/>
              <a:gd name="connsiteX8052" fmla="*/ 4757912 w 8079933"/>
              <a:gd name="connsiteY8052" fmla="*/ 2828135 h 4687251"/>
              <a:gd name="connsiteX8053" fmla="*/ 4757727 w 8079933"/>
              <a:gd name="connsiteY8053" fmla="*/ 2828281 h 4687251"/>
              <a:gd name="connsiteX8054" fmla="*/ 4757727 w 8079933"/>
              <a:gd name="connsiteY8054" fmla="*/ 2828281 h 4687251"/>
              <a:gd name="connsiteX8055" fmla="*/ 4757913 w 8079933"/>
              <a:gd name="connsiteY8055" fmla="*/ 2828135 h 4687251"/>
              <a:gd name="connsiteX8056" fmla="*/ 4758781 w 8079933"/>
              <a:gd name="connsiteY8056" fmla="*/ 2816875 h 4687251"/>
              <a:gd name="connsiteX8057" fmla="*/ 4018846 w 8079933"/>
              <a:gd name="connsiteY8057" fmla="*/ 2812703 h 4687251"/>
              <a:gd name="connsiteX8058" fmla="*/ 4018479 w 8079933"/>
              <a:gd name="connsiteY8058" fmla="*/ 2812761 h 4687251"/>
              <a:gd name="connsiteX8059" fmla="*/ 4017249 w 8079933"/>
              <a:gd name="connsiteY8059" fmla="*/ 2813252 h 4687251"/>
              <a:gd name="connsiteX8060" fmla="*/ 4018480 w 8079933"/>
              <a:gd name="connsiteY8060" fmla="*/ 2812761 h 4687251"/>
              <a:gd name="connsiteX8061" fmla="*/ 4246167 w 8079933"/>
              <a:gd name="connsiteY8061" fmla="*/ 2812382 h 4687251"/>
              <a:gd name="connsiteX8062" fmla="*/ 4246906 w 8079933"/>
              <a:gd name="connsiteY8062" fmla="*/ 2817958 h 4687251"/>
              <a:gd name="connsiteX8063" fmla="*/ 4245062 w 8079933"/>
              <a:gd name="connsiteY8063" fmla="*/ 2821422 h 4687251"/>
              <a:gd name="connsiteX8064" fmla="*/ 4244628 w 8079933"/>
              <a:gd name="connsiteY8064" fmla="*/ 2826403 h 4687251"/>
              <a:gd name="connsiteX8065" fmla="*/ 4239745 w 8079933"/>
              <a:gd name="connsiteY8065" fmla="*/ 2829651 h 4687251"/>
              <a:gd name="connsiteX8066" fmla="*/ 4233559 w 8079933"/>
              <a:gd name="connsiteY8066" fmla="*/ 2836255 h 4687251"/>
              <a:gd name="connsiteX8067" fmla="*/ 4231280 w 8079933"/>
              <a:gd name="connsiteY8067" fmla="*/ 2839937 h 4687251"/>
              <a:gd name="connsiteX8068" fmla="*/ 4232474 w 8079933"/>
              <a:gd name="connsiteY8068" fmla="*/ 2843402 h 4687251"/>
              <a:gd name="connsiteX8069" fmla="*/ 4231497 w 8079933"/>
              <a:gd name="connsiteY8069" fmla="*/ 2847299 h 4687251"/>
              <a:gd name="connsiteX8070" fmla="*/ 4224118 w 8079933"/>
              <a:gd name="connsiteY8070" fmla="*/ 2854553 h 4687251"/>
              <a:gd name="connsiteX8071" fmla="*/ 4222273 w 8079933"/>
              <a:gd name="connsiteY8071" fmla="*/ 2860400 h 4687251"/>
              <a:gd name="connsiteX8072" fmla="*/ 4222273 w 8079933"/>
              <a:gd name="connsiteY8072" fmla="*/ 2860401 h 4687251"/>
              <a:gd name="connsiteX8073" fmla="*/ 4224119 w 8079933"/>
              <a:gd name="connsiteY8073" fmla="*/ 2854554 h 4687251"/>
              <a:gd name="connsiteX8074" fmla="*/ 4231498 w 8079933"/>
              <a:gd name="connsiteY8074" fmla="*/ 2847299 h 4687251"/>
              <a:gd name="connsiteX8075" fmla="*/ 4232474 w 8079933"/>
              <a:gd name="connsiteY8075" fmla="*/ 2843402 h 4687251"/>
              <a:gd name="connsiteX8076" fmla="*/ 4231281 w 8079933"/>
              <a:gd name="connsiteY8076" fmla="*/ 2839937 h 4687251"/>
              <a:gd name="connsiteX8077" fmla="*/ 4233559 w 8079933"/>
              <a:gd name="connsiteY8077" fmla="*/ 2836256 h 4687251"/>
              <a:gd name="connsiteX8078" fmla="*/ 4239745 w 8079933"/>
              <a:gd name="connsiteY8078" fmla="*/ 2829652 h 4687251"/>
              <a:gd name="connsiteX8079" fmla="*/ 4244628 w 8079933"/>
              <a:gd name="connsiteY8079" fmla="*/ 2826403 h 4687251"/>
              <a:gd name="connsiteX8080" fmla="*/ 4245062 w 8079933"/>
              <a:gd name="connsiteY8080" fmla="*/ 2821423 h 4687251"/>
              <a:gd name="connsiteX8081" fmla="*/ 4246907 w 8079933"/>
              <a:gd name="connsiteY8081" fmla="*/ 2817958 h 4687251"/>
              <a:gd name="connsiteX8082" fmla="*/ 6169714 w 8079933"/>
              <a:gd name="connsiteY8082" fmla="*/ 2812220 h 4687251"/>
              <a:gd name="connsiteX8083" fmla="*/ 6168194 w 8079933"/>
              <a:gd name="connsiteY8083" fmla="*/ 2815143 h 4687251"/>
              <a:gd name="connsiteX8084" fmla="*/ 6165265 w 8079933"/>
              <a:gd name="connsiteY8084" fmla="*/ 2813627 h 4687251"/>
              <a:gd name="connsiteX8085" fmla="*/ 4280439 w 8079933"/>
              <a:gd name="connsiteY8085" fmla="*/ 2812003 h 4687251"/>
              <a:gd name="connsiteX8086" fmla="*/ 4280439 w 8079933"/>
              <a:gd name="connsiteY8086" fmla="*/ 2812003 h 4687251"/>
              <a:gd name="connsiteX8087" fmla="*/ 4283060 w 8079933"/>
              <a:gd name="connsiteY8087" fmla="*/ 2812966 h 4687251"/>
              <a:gd name="connsiteX8088" fmla="*/ 1981297 w 8079933"/>
              <a:gd name="connsiteY8088" fmla="*/ 2810919 h 4687251"/>
              <a:gd name="connsiteX8089" fmla="*/ 1978367 w 8079933"/>
              <a:gd name="connsiteY8089" fmla="*/ 2814168 h 4687251"/>
              <a:gd name="connsiteX8090" fmla="*/ 1978367 w 8079933"/>
              <a:gd name="connsiteY8090" fmla="*/ 2814168 h 4687251"/>
              <a:gd name="connsiteX8091" fmla="*/ 1981297 w 8079933"/>
              <a:gd name="connsiteY8091" fmla="*/ 2810920 h 4687251"/>
              <a:gd name="connsiteX8092" fmla="*/ 6909256 w 8079933"/>
              <a:gd name="connsiteY8092" fmla="*/ 2808430 h 4687251"/>
              <a:gd name="connsiteX8093" fmla="*/ 6910776 w 8079933"/>
              <a:gd name="connsiteY8093" fmla="*/ 2809620 h 4687251"/>
              <a:gd name="connsiteX8094" fmla="*/ 6910341 w 8079933"/>
              <a:gd name="connsiteY8094" fmla="*/ 2812436 h 4687251"/>
              <a:gd name="connsiteX8095" fmla="*/ 6906543 w 8079933"/>
              <a:gd name="connsiteY8095" fmla="*/ 2813951 h 4687251"/>
              <a:gd name="connsiteX8096" fmla="*/ 6903504 w 8079933"/>
              <a:gd name="connsiteY8096" fmla="*/ 2811677 h 4687251"/>
              <a:gd name="connsiteX8097" fmla="*/ 6904915 w 8079933"/>
              <a:gd name="connsiteY8097" fmla="*/ 2808971 h 4687251"/>
              <a:gd name="connsiteX8098" fmla="*/ 4277401 w 8079933"/>
              <a:gd name="connsiteY8098" fmla="*/ 2807564 h 4687251"/>
              <a:gd name="connsiteX8099" fmla="*/ 4279787 w 8079933"/>
              <a:gd name="connsiteY8099" fmla="*/ 2809405 h 4687251"/>
              <a:gd name="connsiteX8100" fmla="*/ 4280184 w 8079933"/>
              <a:gd name="connsiteY8100" fmla="*/ 2810987 h 4687251"/>
              <a:gd name="connsiteX8101" fmla="*/ 4279788 w 8079933"/>
              <a:gd name="connsiteY8101" fmla="*/ 2809404 h 4687251"/>
              <a:gd name="connsiteX8102" fmla="*/ 5864348 w 8079933"/>
              <a:gd name="connsiteY8102" fmla="*/ 2806914 h 4687251"/>
              <a:gd name="connsiteX8103" fmla="*/ 5869666 w 8079933"/>
              <a:gd name="connsiteY8103" fmla="*/ 2808321 h 4687251"/>
              <a:gd name="connsiteX8104" fmla="*/ 5869231 w 8079933"/>
              <a:gd name="connsiteY8104" fmla="*/ 2810161 h 4687251"/>
              <a:gd name="connsiteX8105" fmla="*/ 5872379 w 8079933"/>
              <a:gd name="connsiteY8105" fmla="*/ 2811245 h 4687251"/>
              <a:gd name="connsiteX8106" fmla="*/ 5873573 w 8079933"/>
              <a:gd name="connsiteY8106" fmla="*/ 2809620 h 4687251"/>
              <a:gd name="connsiteX8107" fmla="*/ 5880517 w 8079933"/>
              <a:gd name="connsiteY8107" fmla="*/ 2812111 h 4687251"/>
              <a:gd name="connsiteX8108" fmla="*/ 5880517 w 8079933"/>
              <a:gd name="connsiteY8108" fmla="*/ 2814818 h 4687251"/>
              <a:gd name="connsiteX8109" fmla="*/ 5881929 w 8079933"/>
              <a:gd name="connsiteY8109" fmla="*/ 2816658 h 4687251"/>
              <a:gd name="connsiteX8110" fmla="*/ 5883339 w 8079933"/>
              <a:gd name="connsiteY8110" fmla="*/ 2821206 h 4687251"/>
              <a:gd name="connsiteX8111" fmla="*/ 5885726 w 8079933"/>
              <a:gd name="connsiteY8111" fmla="*/ 2820989 h 4687251"/>
              <a:gd name="connsiteX8112" fmla="*/ 5888764 w 8079933"/>
              <a:gd name="connsiteY8112" fmla="*/ 2826619 h 4687251"/>
              <a:gd name="connsiteX8113" fmla="*/ 5890826 w 8079933"/>
              <a:gd name="connsiteY8113" fmla="*/ 2827485 h 4687251"/>
              <a:gd name="connsiteX8114" fmla="*/ 5891477 w 8079933"/>
              <a:gd name="connsiteY8114" fmla="*/ 2829651 h 4687251"/>
              <a:gd name="connsiteX8115" fmla="*/ 5886811 w 8079933"/>
              <a:gd name="connsiteY8115" fmla="*/ 2832141 h 4687251"/>
              <a:gd name="connsiteX8116" fmla="*/ 5890393 w 8079933"/>
              <a:gd name="connsiteY8116" fmla="*/ 2832574 h 4687251"/>
              <a:gd name="connsiteX8117" fmla="*/ 5890610 w 8079933"/>
              <a:gd name="connsiteY8117" fmla="*/ 2833440 h 4687251"/>
              <a:gd name="connsiteX8118" fmla="*/ 5894733 w 8079933"/>
              <a:gd name="connsiteY8118" fmla="*/ 2832899 h 4687251"/>
              <a:gd name="connsiteX8119" fmla="*/ 5897880 w 8079933"/>
              <a:gd name="connsiteY8119" fmla="*/ 2840261 h 4687251"/>
              <a:gd name="connsiteX8120" fmla="*/ 5901786 w 8079933"/>
              <a:gd name="connsiteY8120" fmla="*/ 2850981 h 4687251"/>
              <a:gd name="connsiteX8121" fmla="*/ 5905368 w 8079933"/>
              <a:gd name="connsiteY8121" fmla="*/ 2854012 h 4687251"/>
              <a:gd name="connsiteX8122" fmla="*/ 5904174 w 8079933"/>
              <a:gd name="connsiteY8122" fmla="*/ 2857693 h 4687251"/>
              <a:gd name="connsiteX8123" fmla="*/ 5906128 w 8079933"/>
              <a:gd name="connsiteY8123" fmla="*/ 2860616 h 4687251"/>
              <a:gd name="connsiteX8124" fmla="*/ 5906345 w 8079933"/>
              <a:gd name="connsiteY8124" fmla="*/ 2867113 h 4687251"/>
              <a:gd name="connsiteX8125" fmla="*/ 5905259 w 8079933"/>
              <a:gd name="connsiteY8125" fmla="*/ 2868412 h 4687251"/>
              <a:gd name="connsiteX8126" fmla="*/ 5905693 w 8079933"/>
              <a:gd name="connsiteY8126" fmla="*/ 2872418 h 4687251"/>
              <a:gd name="connsiteX8127" fmla="*/ 5904065 w 8079933"/>
              <a:gd name="connsiteY8127" fmla="*/ 2876641 h 4687251"/>
              <a:gd name="connsiteX8128" fmla="*/ 5900702 w 8079933"/>
              <a:gd name="connsiteY8128" fmla="*/ 2883462 h 4687251"/>
              <a:gd name="connsiteX8129" fmla="*/ 5892997 w 8079933"/>
              <a:gd name="connsiteY8129" fmla="*/ 2891474 h 4687251"/>
              <a:gd name="connsiteX8130" fmla="*/ 5885401 w 8079933"/>
              <a:gd name="connsiteY8130" fmla="*/ 2893748 h 4687251"/>
              <a:gd name="connsiteX8131" fmla="*/ 5877262 w 8079933"/>
              <a:gd name="connsiteY8131" fmla="*/ 2894830 h 4687251"/>
              <a:gd name="connsiteX8132" fmla="*/ 5872487 w 8079933"/>
              <a:gd name="connsiteY8132" fmla="*/ 2896021 h 4687251"/>
              <a:gd name="connsiteX8133" fmla="*/ 5866845 w 8079933"/>
              <a:gd name="connsiteY8133" fmla="*/ 2892990 h 4687251"/>
              <a:gd name="connsiteX8134" fmla="*/ 5863480 w 8079933"/>
              <a:gd name="connsiteY8134" fmla="*/ 2887359 h 4687251"/>
              <a:gd name="connsiteX8135" fmla="*/ 5859682 w 8079933"/>
              <a:gd name="connsiteY8135" fmla="*/ 2874583 h 4687251"/>
              <a:gd name="connsiteX8136" fmla="*/ 5856535 w 8079933"/>
              <a:gd name="connsiteY8136" fmla="*/ 2863323 h 4687251"/>
              <a:gd name="connsiteX8137" fmla="*/ 5857404 w 8079933"/>
              <a:gd name="connsiteY8137" fmla="*/ 2859967 h 4687251"/>
              <a:gd name="connsiteX8138" fmla="*/ 5855233 w 8079933"/>
              <a:gd name="connsiteY8138" fmla="*/ 2850981 h 4687251"/>
              <a:gd name="connsiteX8139" fmla="*/ 5856427 w 8079933"/>
              <a:gd name="connsiteY8139" fmla="*/ 2849681 h 4687251"/>
              <a:gd name="connsiteX8140" fmla="*/ 5855884 w 8079933"/>
              <a:gd name="connsiteY8140" fmla="*/ 2846650 h 4687251"/>
              <a:gd name="connsiteX8141" fmla="*/ 5857404 w 8079933"/>
              <a:gd name="connsiteY8141" fmla="*/ 2835930 h 4687251"/>
              <a:gd name="connsiteX8142" fmla="*/ 5859031 w 8079933"/>
              <a:gd name="connsiteY8142" fmla="*/ 2833549 h 4687251"/>
              <a:gd name="connsiteX8143" fmla="*/ 5858922 w 8079933"/>
              <a:gd name="connsiteY8143" fmla="*/ 2827161 h 4687251"/>
              <a:gd name="connsiteX8144" fmla="*/ 5856969 w 8079933"/>
              <a:gd name="connsiteY8144" fmla="*/ 2822613 h 4687251"/>
              <a:gd name="connsiteX8145" fmla="*/ 5857946 w 8079933"/>
              <a:gd name="connsiteY8145" fmla="*/ 2821422 h 4687251"/>
              <a:gd name="connsiteX8146" fmla="*/ 5856427 w 8079933"/>
              <a:gd name="connsiteY8146" fmla="*/ 2819257 h 4687251"/>
              <a:gd name="connsiteX8147" fmla="*/ 5853931 w 8079933"/>
              <a:gd name="connsiteY8147" fmla="*/ 2818065 h 4687251"/>
              <a:gd name="connsiteX8148" fmla="*/ 5853931 w 8079933"/>
              <a:gd name="connsiteY8148" fmla="*/ 2816875 h 4687251"/>
              <a:gd name="connsiteX8149" fmla="*/ 5856969 w 8079933"/>
              <a:gd name="connsiteY8149" fmla="*/ 2817200 h 4687251"/>
              <a:gd name="connsiteX8150" fmla="*/ 5859466 w 8079933"/>
              <a:gd name="connsiteY8150" fmla="*/ 2819581 h 4687251"/>
              <a:gd name="connsiteX8151" fmla="*/ 5860876 w 8079933"/>
              <a:gd name="connsiteY8151" fmla="*/ 2820231 h 4687251"/>
              <a:gd name="connsiteX8152" fmla="*/ 5863372 w 8079933"/>
              <a:gd name="connsiteY8152" fmla="*/ 2815900 h 4687251"/>
              <a:gd name="connsiteX8153" fmla="*/ 5863589 w 8079933"/>
              <a:gd name="connsiteY8153" fmla="*/ 2812652 h 4687251"/>
              <a:gd name="connsiteX8154" fmla="*/ 5863046 w 8079933"/>
              <a:gd name="connsiteY8154" fmla="*/ 2811028 h 4687251"/>
              <a:gd name="connsiteX8155" fmla="*/ 5864456 w 8079933"/>
              <a:gd name="connsiteY8155" fmla="*/ 2810812 h 4687251"/>
              <a:gd name="connsiteX8156" fmla="*/ 5865108 w 8079933"/>
              <a:gd name="connsiteY8156" fmla="*/ 2809837 h 4687251"/>
              <a:gd name="connsiteX8157" fmla="*/ 5864240 w 8079933"/>
              <a:gd name="connsiteY8157" fmla="*/ 2808213 h 4687251"/>
              <a:gd name="connsiteX8158" fmla="*/ 6932368 w 8079933"/>
              <a:gd name="connsiteY8158" fmla="*/ 2806157 h 4687251"/>
              <a:gd name="connsiteX8159" fmla="*/ 6936599 w 8079933"/>
              <a:gd name="connsiteY8159" fmla="*/ 2809621 h 4687251"/>
              <a:gd name="connsiteX8160" fmla="*/ 6935948 w 8079933"/>
              <a:gd name="connsiteY8160" fmla="*/ 2813735 h 4687251"/>
              <a:gd name="connsiteX8161" fmla="*/ 6932477 w 8079933"/>
              <a:gd name="connsiteY8161" fmla="*/ 2811462 h 4687251"/>
              <a:gd name="connsiteX8162" fmla="*/ 6931500 w 8079933"/>
              <a:gd name="connsiteY8162" fmla="*/ 2808538 h 4687251"/>
              <a:gd name="connsiteX8163" fmla="*/ 4502418 w 8079933"/>
              <a:gd name="connsiteY8163" fmla="*/ 2805630 h 4687251"/>
              <a:gd name="connsiteX8164" fmla="*/ 4501812 w 8079933"/>
              <a:gd name="connsiteY8164" fmla="*/ 2808213 h 4687251"/>
              <a:gd name="connsiteX8165" fmla="*/ 4501812 w 8079933"/>
              <a:gd name="connsiteY8165" fmla="*/ 2808213 h 4687251"/>
              <a:gd name="connsiteX8166" fmla="*/ 4276423 w 8079933"/>
              <a:gd name="connsiteY8166" fmla="*/ 2804965 h 4687251"/>
              <a:gd name="connsiteX8167" fmla="*/ 4276423 w 8079933"/>
              <a:gd name="connsiteY8167" fmla="*/ 2804966 h 4687251"/>
              <a:gd name="connsiteX8168" fmla="*/ 4276980 w 8079933"/>
              <a:gd name="connsiteY8168" fmla="*/ 2806446 h 4687251"/>
              <a:gd name="connsiteX8169" fmla="*/ 3957992 w 8079933"/>
              <a:gd name="connsiteY8169" fmla="*/ 2802663 h 4687251"/>
              <a:gd name="connsiteX8170" fmla="*/ 3959013 w 8079933"/>
              <a:gd name="connsiteY8170" fmla="*/ 2803450 h 4687251"/>
              <a:gd name="connsiteX8171" fmla="*/ 3961073 w 8079933"/>
              <a:gd name="connsiteY8171" fmla="*/ 2804208 h 4687251"/>
              <a:gd name="connsiteX8172" fmla="*/ 3959012 w 8079933"/>
              <a:gd name="connsiteY8172" fmla="*/ 2803449 h 4687251"/>
              <a:gd name="connsiteX8173" fmla="*/ 4027684 w 8079933"/>
              <a:gd name="connsiteY8173" fmla="*/ 2802417 h 4687251"/>
              <a:gd name="connsiteX8174" fmla="*/ 4025532 w 8079933"/>
              <a:gd name="connsiteY8174" fmla="*/ 2806157 h 4687251"/>
              <a:gd name="connsiteX8175" fmla="*/ 4024398 w 8079933"/>
              <a:gd name="connsiteY8175" fmla="*/ 2808539 h 4687251"/>
              <a:gd name="connsiteX8176" fmla="*/ 4025533 w 8079933"/>
              <a:gd name="connsiteY8176" fmla="*/ 2806156 h 4687251"/>
              <a:gd name="connsiteX8177" fmla="*/ 3984441 w 8079933"/>
              <a:gd name="connsiteY8177" fmla="*/ 2802162 h 4687251"/>
              <a:gd name="connsiteX8178" fmla="*/ 3985923 w 8079933"/>
              <a:gd name="connsiteY8178" fmla="*/ 2809404 h 4687251"/>
              <a:gd name="connsiteX8179" fmla="*/ 3985707 w 8079933"/>
              <a:gd name="connsiteY8179" fmla="*/ 2816118 h 4687251"/>
              <a:gd name="connsiteX8180" fmla="*/ 3985924 w 8079933"/>
              <a:gd name="connsiteY8180" fmla="*/ 2809405 h 4687251"/>
              <a:gd name="connsiteX8181" fmla="*/ 6341930 w 8079933"/>
              <a:gd name="connsiteY8181" fmla="*/ 2801176 h 4687251"/>
              <a:gd name="connsiteX8182" fmla="*/ 6343342 w 8079933"/>
              <a:gd name="connsiteY8182" fmla="*/ 2804641 h 4687251"/>
              <a:gd name="connsiteX8183" fmla="*/ 6342365 w 8079933"/>
              <a:gd name="connsiteY8183" fmla="*/ 2809405 h 4687251"/>
              <a:gd name="connsiteX8184" fmla="*/ 6338892 w 8079933"/>
              <a:gd name="connsiteY8184" fmla="*/ 2806481 h 4687251"/>
              <a:gd name="connsiteX8185" fmla="*/ 6338566 w 8079933"/>
              <a:gd name="connsiteY8185" fmla="*/ 2803341 h 4687251"/>
              <a:gd name="connsiteX8186" fmla="*/ 5868255 w 8079933"/>
              <a:gd name="connsiteY8186" fmla="*/ 2799877 h 4687251"/>
              <a:gd name="connsiteX8187" fmla="*/ 5871727 w 8079933"/>
              <a:gd name="connsiteY8187" fmla="*/ 2800743 h 4687251"/>
              <a:gd name="connsiteX8188" fmla="*/ 5872595 w 8079933"/>
              <a:gd name="connsiteY8188" fmla="*/ 2804316 h 4687251"/>
              <a:gd name="connsiteX8189" fmla="*/ 5878130 w 8079933"/>
              <a:gd name="connsiteY8189" fmla="*/ 2807780 h 4687251"/>
              <a:gd name="connsiteX8190" fmla="*/ 5879107 w 8079933"/>
              <a:gd name="connsiteY8190" fmla="*/ 2810054 h 4687251"/>
              <a:gd name="connsiteX8191" fmla="*/ 5876719 w 8079933"/>
              <a:gd name="connsiteY8191" fmla="*/ 2808213 h 4687251"/>
              <a:gd name="connsiteX8192" fmla="*/ 5872812 w 8079933"/>
              <a:gd name="connsiteY8192" fmla="*/ 2808321 h 4687251"/>
              <a:gd name="connsiteX8193" fmla="*/ 5870641 w 8079933"/>
              <a:gd name="connsiteY8193" fmla="*/ 2806373 h 4687251"/>
              <a:gd name="connsiteX8194" fmla="*/ 5865758 w 8079933"/>
              <a:gd name="connsiteY8194" fmla="*/ 2804316 h 4687251"/>
              <a:gd name="connsiteX8195" fmla="*/ 5866084 w 8079933"/>
              <a:gd name="connsiteY8195" fmla="*/ 2802583 h 4687251"/>
              <a:gd name="connsiteX8196" fmla="*/ 5868797 w 8079933"/>
              <a:gd name="connsiteY8196" fmla="*/ 2802258 h 4687251"/>
              <a:gd name="connsiteX8197" fmla="*/ 5867386 w 8079933"/>
              <a:gd name="connsiteY8197" fmla="*/ 2801393 h 4687251"/>
              <a:gd name="connsiteX8198" fmla="*/ 3885112 w 8079933"/>
              <a:gd name="connsiteY8198" fmla="*/ 2798469 h 4687251"/>
              <a:gd name="connsiteX8199" fmla="*/ 3883267 w 8079933"/>
              <a:gd name="connsiteY8199" fmla="*/ 2806048 h 4687251"/>
              <a:gd name="connsiteX8200" fmla="*/ 3883268 w 8079933"/>
              <a:gd name="connsiteY8200" fmla="*/ 2806049 h 4687251"/>
              <a:gd name="connsiteX8201" fmla="*/ 3885112 w 8079933"/>
              <a:gd name="connsiteY8201" fmla="*/ 2798470 h 4687251"/>
              <a:gd name="connsiteX8202" fmla="*/ 5864347 w 8079933"/>
              <a:gd name="connsiteY8202" fmla="*/ 2797928 h 4687251"/>
              <a:gd name="connsiteX8203" fmla="*/ 5865542 w 8079933"/>
              <a:gd name="connsiteY8203" fmla="*/ 2798794 h 4687251"/>
              <a:gd name="connsiteX8204" fmla="*/ 5863805 w 8079933"/>
              <a:gd name="connsiteY8204" fmla="*/ 2802908 h 4687251"/>
              <a:gd name="connsiteX8205" fmla="*/ 5862394 w 8079933"/>
              <a:gd name="connsiteY8205" fmla="*/ 2803233 h 4687251"/>
              <a:gd name="connsiteX8206" fmla="*/ 5862829 w 8079933"/>
              <a:gd name="connsiteY8206" fmla="*/ 2805290 h 4687251"/>
              <a:gd name="connsiteX8207" fmla="*/ 5856644 w 8079933"/>
              <a:gd name="connsiteY8207" fmla="*/ 2801284 h 4687251"/>
              <a:gd name="connsiteX8208" fmla="*/ 5856535 w 8079933"/>
              <a:gd name="connsiteY8208" fmla="*/ 2798361 h 4687251"/>
              <a:gd name="connsiteX8209" fmla="*/ 4441911 w 8079933"/>
              <a:gd name="connsiteY8209" fmla="*/ 2797711 h 4687251"/>
              <a:gd name="connsiteX8210" fmla="*/ 4438439 w 8079933"/>
              <a:gd name="connsiteY8210" fmla="*/ 2800093 h 4687251"/>
              <a:gd name="connsiteX8211" fmla="*/ 4438439 w 8079933"/>
              <a:gd name="connsiteY8211" fmla="*/ 2800094 h 4687251"/>
              <a:gd name="connsiteX8212" fmla="*/ 4441911 w 8079933"/>
              <a:gd name="connsiteY8212" fmla="*/ 2797712 h 4687251"/>
              <a:gd name="connsiteX8213" fmla="*/ 6963621 w 8079933"/>
              <a:gd name="connsiteY8213" fmla="*/ 2797386 h 4687251"/>
              <a:gd name="connsiteX8214" fmla="*/ 6966008 w 8079933"/>
              <a:gd name="connsiteY8214" fmla="*/ 2799443 h 4687251"/>
              <a:gd name="connsiteX8215" fmla="*/ 6965140 w 8079933"/>
              <a:gd name="connsiteY8215" fmla="*/ 2802366 h 4687251"/>
              <a:gd name="connsiteX8216" fmla="*/ 6963078 w 8079933"/>
              <a:gd name="connsiteY8216" fmla="*/ 2800092 h 4687251"/>
              <a:gd name="connsiteX8217" fmla="*/ 2214120 w 8079933"/>
              <a:gd name="connsiteY8217" fmla="*/ 2796423 h 4687251"/>
              <a:gd name="connsiteX8218" fmla="*/ 2213522 w 8079933"/>
              <a:gd name="connsiteY8218" fmla="*/ 2803774 h 4687251"/>
              <a:gd name="connsiteX8219" fmla="*/ 2209941 w 8079933"/>
              <a:gd name="connsiteY8219" fmla="*/ 2811462 h 4687251"/>
              <a:gd name="connsiteX8220" fmla="*/ 2209398 w 8079933"/>
              <a:gd name="connsiteY8220" fmla="*/ 2813843 h 4687251"/>
              <a:gd name="connsiteX8221" fmla="*/ 2209399 w 8079933"/>
              <a:gd name="connsiteY8221" fmla="*/ 2813843 h 4687251"/>
              <a:gd name="connsiteX8222" fmla="*/ 2209941 w 8079933"/>
              <a:gd name="connsiteY8222" fmla="*/ 2811461 h 4687251"/>
              <a:gd name="connsiteX8223" fmla="*/ 2213522 w 8079933"/>
              <a:gd name="connsiteY8223" fmla="*/ 2803774 h 4687251"/>
              <a:gd name="connsiteX8224" fmla="*/ 6950708 w 8079933"/>
              <a:gd name="connsiteY8224" fmla="*/ 2796304 h 4687251"/>
              <a:gd name="connsiteX8225" fmla="*/ 6954507 w 8079933"/>
              <a:gd name="connsiteY8225" fmla="*/ 2797170 h 4687251"/>
              <a:gd name="connsiteX8226" fmla="*/ 6956026 w 8079933"/>
              <a:gd name="connsiteY8226" fmla="*/ 2796737 h 4687251"/>
              <a:gd name="connsiteX8227" fmla="*/ 6957002 w 8079933"/>
              <a:gd name="connsiteY8227" fmla="*/ 2800743 h 4687251"/>
              <a:gd name="connsiteX8228" fmla="*/ 6963622 w 8079933"/>
              <a:gd name="connsiteY8228" fmla="*/ 2806048 h 4687251"/>
              <a:gd name="connsiteX8229" fmla="*/ 6968288 w 8079933"/>
              <a:gd name="connsiteY8229" fmla="*/ 2810704 h 4687251"/>
              <a:gd name="connsiteX8230" fmla="*/ 6971327 w 8079933"/>
              <a:gd name="connsiteY8230" fmla="*/ 2807997 h 4687251"/>
              <a:gd name="connsiteX8231" fmla="*/ 6971218 w 8079933"/>
              <a:gd name="connsiteY8231" fmla="*/ 2811570 h 4687251"/>
              <a:gd name="connsiteX8232" fmla="*/ 6974582 w 8079933"/>
              <a:gd name="connsiteY8232" fmla="*/ 2816659 h 4687251"/>
              <a:gd name="connsiteX8233" fmla="*/ 6974582 w 8079933"/>
              <a:gd name="connsiteY8233" fmla="*/ 2822722 h 4687251"/>
              <a:gd name="connsiteX8234" fmla="*/ 6971327 w 8079933"/>
              <a:gd name="connsiteY8234" fmla="*/ 2822181 h 4687251"/>
              <a:gd name="connsiteX8235" fmla="*/ 6970675 w 8079933"/>
              <a:gd name="connsiteY8235" fmla="*/ 2824779 h 4687251"/>
              <a:gd name="connsiteX8236" fmla="*/ 6973388 w 8079933"/>
              <a:gd name="connsiteY8236" fmla="*/ 2828244 h 4687251"/>
              <a:gd name="connsiteX8237" fmla="*/ 6975341 w 8079933"/>
              <a:gd name="connsiteY8237" fmla="*/ 2828460 h 4687251"/>
              <a:gd name="connsiteX8238" fmla="*/ 6975016 w 8079933"/>
              <a:gd name="connsiteY8238" fmla="*/ 2831275 h 4687251"/>
              <a:gd name="connsiteX8239" fmla="*/ 6975125 w 8079933"/>
              <a:gd name="connsiteY8239" fmla="*/ 2837013 h 4687251"/>
              <a:gd name="connsiteX8240" fmla="*/ 6976861 w 8079933"/>
              <a:gd name="connsiteY8240" fmla="*/ 2834199 h 4687251"/>
              <a:gd name="connsiteX8241" fmla="*/ 6977620 w 8079933"/>
              <a:gd name="connsiteY8241" fmla="*/ 2839720 h 4687251"/>
              <a:gd name="connsiteX8242" fmla="*/ 6977620 w 8079933"/>
              <a:gd name="connsiteY8242" fmla="*/ 2845026 h 4687251"/>
              <a:gd name="connsiteX8243" fmla="*/ 6980116 w 8079933"/>
              <a:gd name="connsiteY8243" fmla="*/ 2849032 h 4687251"/>
              <a:gd name="connsiteX8244" fmla="*/ 6982938 w 8079933"/>
              <a:gd name="connsiteY8244" fmla="*/ 2853579 h 4687251"/>
              <a:gd name="connsiteX8245" fmla="*/ 6983806 w 8079933"/>
              <a:gd name="connsiteY8245" fmla="*/ 2861266 h 4687251"/>
              <a:gd name="connsiteX8246" fmla="*/ 6981310 w 8079933"/>
              <a:gd name="connsiteY8246" fmla="*/ 2867654 h 4687251"/>
              <a:gd name="connsiteX8247" fmla="*/ 6979356 w 8079933"/>
              <a:gd name="connsiteY8247" fmla="*/ 2867438 h 4687251"/>
              <a:gd name="connsiteX8248" fmla="*/ 6979465 w 8079933"/>
              <a:gd name="connsiteY8248" fmla="*/ 2870361 h 4687251"/>
              <a:gd name="connsiteX8249" fmla="*/ 6977838 w 8079933"/>
              <a:gd name="connsiteY8249" fmla="*/ 2867221 h 4687251"/>
              <a:gd name="connsiteX8250" fmla="*/ 6975125 w 8079933"/>
              <a:gd name="connsiteY8250" fmla="*/ 2867654 h 4687251"/>
              <a:gd name="connsiteX8251" fmla="*/ 6974257 w 8079933"/>
              <a:gd name="connsiteY8251" fmla="*/ 2870578 h 4687251"/>
              <a:gd name="connsiteX8252" fmla="*/ 6975993 w 8079933"/>
              <a:gd name="connsiteY8252" fmla="*/ 2877507 h 4687251"/>
              <a:gd name="connsiteX8253" fmla="*/ 6975450 w 8079933"/>
              <a:gd name="connsiteY8253" fmla="*/ 2882812 h 4687251"/>
              <a:gd name="connsiteX8254" fmla="*/ 6975341 w 8079933"/>
              <a:gd name="connsiteY8254" fmla="*/ 2886168 h 4687251"/>
              <a:gd name="connsiteX8255" fmla="*/ 6973714 w 8079933"/>
              <a:gd name="connsiteY8255" fmla="*/ 2882812 h 4687251"/>
              <a:gd name="connsiteX8256" fmla="*/ 6971544 w 8079933"/>
              <a:gd name="connsiteY8256" fmla="*/ 2875666 h 4687251"/>
              <a:gd name="connsiteX8257" fmla="*/ 6971761 w 8079933"/>
              <a:gd name="connsiteY8257" fmla="*/ 2871335 h 4687251"/>
              <a:gd name="connsiteX8258" fmla="*/ 6969482 w 8079933"/>
              <a:gd name="connsiteY8258" fmla="*/ 2867654 h 4687251"/>
              <a:gd name="connsiteX8259" fmla="*/ 6968288 w 8079933"/>
              <a:gd name="connsiteY8259" fmla="*/ 2862999 h 4687251"/>
              <a:gd name="connsiteX8260" fmla="*/ 6964925 w 8079933"/>
              <a:gd name="connsiteY8260" fmla="*/ 2858234 h 4687251"/>
              <a:gd name="connsiteX8261" fmla="*/ 6961777 w 8079933"/>
              <a:gd name="connsiteY8261" fmla="*/ 2860076 h 4687251"/>
              <a:gd name="connsiteX8262" fmla="*/ 6955917 w 8079933"/>
              <a:gd name="connsiteY8262" fmla="*/ 2870361 h 4687251"/>
              <a:gd name="connsiteX8263" fmla="*/ 6954940 w 8079933"/>
              <a:gd name="connsiteY8263" fmla="*/ 2874150 h 4687251"/>
              <a:gd name="connsiteX8264" fmla="*/ 6959064 w 8079933"/>
              <a:gd name="connsiteY8264" fmla="*/ 2877290 h 4687251"/>
              <a:gd name="connsiteX8265" fmla="*/ 6961669 w 8079933"/>
              <a:gd name="connsiteY8265" fmla="*/ 2883570 h 4687251"/>
              <a:gd name="connsiteX8266" fmla="*/ 6963839 w 8079933"/>
              <a:gd name="connsiteY8266" fmla="*/ 2886601 h 4687251"/>
              <a:gd name="connsiteX8267" fmla="*/ 6963622 w 8079933"/>
              <a:gd name="connsiteY8267" fmla="*/ 2891474 h 4687251"/>
              <a:gd name="connsiteX8268" fmla="*/ 6957002 w 8079933"/>
              <a:gd name="connsiteY8268" fmla="*/ 2899919 h 4687251"/>
              <a:gd name="connsiteX8269" fmla="*/ 6953638 w 8079933"/>
              <a:gd name="connsiteY8269" fmla="*/ 2902409 h 4687251"/>
              <a:gd name="connsiteX8270" fmla="*/ 6952119 w 8079933"/>
              <a:gd name="connsiteY8270" fmla="*/ 2900461 h 4687251"/>
              <a:gd name="connsiteX8271" fmla="*/ 6950600 w 8079933"/>
              <a:gd name="connsiteY8271" fmla="*/ 2896021 h 4687251"/>
              <a:gd name="connsiteX8272" fmla="*/ 6952336 w 8079933"/>
              <a:gd name="connsiteY8272" fmla="*/ 2893314 h 4687251"/>
              <a:gd name="connsiteX8273" fmla="*/ 6950817 w 8079933"/>
              <a:gd name="connsiteY8273" fmla="*/ 2891365 h 4687251"/>
              <a:gd name="connsiteX8274" fmla="*/ 6948321 w 8079933"/>
              <a:gd name="connsiteY8274" fmla="*/ 2893098 h 4687251"/>
              <a:gd name="connsiteX8275" fmla="*/ 6947778 w 8079933"/>
              <a:gd name="connsiteY8275" fmla="*/ 2895696 h 4687251"/>
              <a:gd name="connsiteX8276" fmla="*/ 6943872 w 8079933"/>
              <a:gd name="connsiteY8276" fmla="*/ 2897970 h 4687251"/>
              <a:gd name="connsiteX8277" fmla="*/ 6938880 w 8079933"/>
              <a:gd name="connsiteY8277" fmla="*/ 2895913 h 4687251"/>
              <a:gd name="connsiteX8278" fmla="*/ 6934756 w 8079933"/>
              <a:gd name="connsiteY8278" fmla="*/ 2892123 h 4687251"/>
              <a:gd name="connsiteX8279" fmla="*/ 6929439 w 8079933"/>
              <a:gd name="connsiteY8279" fmla="*/ 2892123 h 4687251"/>
              <a:gd name="connsiteX8280" fmla="*/ 6924881 w 8079933"/>
              <a:gd name="connsiteY8280" fmla="*/ 2886927 h 4687251"/>
              <a:gd name="connsiteX8281" fmla="*/ 6924122 w 8079933"/>
              <a:gd name="connsiteY8281" fmla="*/ 2882920 h 4687251"/>
              <a:gd name="connsiteX8282" fmla="*/ 6920757 w 8079933"/>
              <a:gd name="connsiteY8282" fmla="*/ 2878481 h 4687251"/>
              <a:gd name="connsiteX8283" fmla="*/ 6921843 w 8079933"/>
              <a:gd name="connsiteY8283" fmla="*/ 2875450 h 4687251"/>
              <a:gd name="connsiteX8284" fmla="*/ 6921300 w 8079933"/>
              <a:gd name="connsiteY8284" fmla="*/ 2871768 h 4687251"/>
              <a:gd name="connsiteX8285" fmla="*/ 6919021 w 8079933"/>
              <a:gd name="connsiteY8285" fmla="*/ 2869062 h 4687251"/>
              <a:gd name="connsiteX8286" fmla="*/ 6921191 w 8079933"/>
              <a:gd name="connsiteY8286" fmla="*/ 2866354 h 4687251"/>
              <a:gd name="connsiteX8287" fmla="*/ 6920975 w 8079933"/>
              <a:gd name="connsiteY8287" fmla="*/ 2863865 h 4687251"/>
              <a:gd name="connsiteX8288" fmla="*/ 6922820 w 8079933"/>
              <a:gd name="connsiteY8288" fmla="*/ 2862890 h 4687251"/>
              <a:gd name="connsiteX8289" fmla="*/ 6927052 w 8079933"/>
              <a:gd name="connsiteY8289" fmla="*/ 2864406 h 4687251"/>
              <a:gd name="connsiteX8290" fmla="*/ 6923253 w 8079933"/>
              <a:gd name="connsiteY8290" fmla="*/ 2860725 h 4687251"/>
              <a:gd name="connsiteX8291" fmla="*/ 6922277 w 8079933"/>
              <a:gd name="connsiteY8291" fmla="*/ 2856719 h 4687251"/>
              <a:gd name="connsiteX8292" fmla="*/ 6917718 w 8079933"/>
              <a:gd name="connsiteY8292" fmla="*/ 2852929 h 4687251"/>
              <a:gd name="connsiteX8293" fmla="*/ 6913704 w 8079933"/>
              <a:gd name="connsiteY8293" fmla="*/ 2852172 h 4687251"/>
              <a:gd name="connsiteX8294" fmla="*/ 6909146 w 8079933"/>
              <a:gd name="connsiteY8294" fmla="*/ 2848166 h 4687251"/>
              <a:gd name="connsiteX8295" fmla="*/ 6906976 w 8079933"/>
              <a:gd name="connsiteY8295" fmla="*/ 2848057 h 4687251"/>
              <a:gd name="connsiteX8296" fmla="*/ 6905023 w 8079933"/>
              <a:gd name="connsiteY8296" fmla="*/ 2850114 h 4687251"/>
              <a:gd name="connsiteX8297" fmla="*/ 6906107 w 8079933"/>
              <a:gd name="connsiteY8297" fmla="*/ 2852280 h 4687251"/>
              <a:gd name="connsiteX8298" fmla="*/ 6904480 w 8079933"/>
              <a:gd name="connsiteY8298" fmla="*/ 2854337 h 4687251"/>
              <a:gd name="connsiteX8299" fmla="*/ 6907084 w 8079933"/>
              <a:gd name="connsiteY8299" fmla="*/ 2858018 h 4687251"/>
              <a:gd name="connsiteX8300" fmla="*/ 6905131 w 8079933"/>
              <a:gd name="connsiteY8300" fmla="*/ 2857802 h 4687251"/>
              <a:gd name="connsiteX8301" fmla="*/ 6901333 w 8079933"/>
              <a:gd name="connsiteY8301" fmla="*/ 2854986 h 4687251"/>
              <a:gd name="connsiteX8302" fmla="*/ 6898837 w 8079933"/>
              <a:gd name="connsiteY8302" fmla="*/ 2855311 h 4687251"/>
              <a:gd name="connsiteX8303" fmla="*/ 6900030 w 8079933"/>
              <a:gd name="connsiteY8303" fmla="*/ 2852388 h 4687251"/>
              <a:gd name="connsiteX8304" fmla="*/ 6897644 w 8079933"/>
              <a:gd name="connsiteY8304" fmla="*/ 2851522 h 4687251"/>
              <a:gd name="connsiteX8305" fmla="*/ 6895799 w 8079933"/>
              <a:gd name="connsiteY8305" fmla="*/ 2852929 h 4687251"/>
              <a:gd name="connsiteX8306" fmla="*/ 6895473 w 8079933"/>
              <a:gd name="connsiteY8306" fmla="*/ 2857260 h 4687251"/>
              <a:gd name="connsiteX8307" fmla="*/ 6893086 w 8079933"/>
              <a:gd name="connsiteY8307" fmla="*/ 2855852 h 4687251"/>
              <a:gd name="connsiteX8308" fmla="*/ 6890915 w 8079933"/>
              <a:gd name="connsiteY8308" fmla="*/ 2857044 h 4687251"/>
              <a:gd name="connsiteX8309" fmla="*/ 6889505 w 8079933"/>
              <a:gd name="connsiteY8309" fmla="*/ 2855636 h 4687251"/>
              <a:gd name="connsiteX8310" fmla="*/ 6890481 w 8079933"/>
              <a:gd name="connsiteY8310" fmla="*/ 2850764 h 4687251"/>
              <a:gd name="connsiteX8311" fmla="*/ 6887334 w 8079933"/>
              <a:gd name="connsiteY8311" fmla="*/ 2847732 h 4687251"/>
              <a:gd name="connsiteX8312" fmla="*/ 6884730 w 8079933"/>
              <a:gd name="connsiteY8312" fmla="*/ 2848923 h 4687251"/>
              <a:gd name="connsiteX8313" fmla="*/ 6882125 w 8079933"/>
              <a:gd name="connsiteY8313" fmla="*/ 2854770 h 4687251"/>
              <a:gd name="connsiteX8314" fmla="*/ 6879412 w 8079933"/>
              <a:gd name="connsiteY8314" fmla="*/ 2857152 h 4687251"/>
              <a:gd name="connsiteX8315" fmla="*/ 6875831 w 8079933"/>
              <a:gd name="connsiteY8315" fmla="*/ 2867221 h 4687251"/>
              <a:gd name="connsiteX8316" fmla="*/ 6873878 w 8079933"/>
              <a:gd name="connsiteY8316" fmla="*/ 2870361 h 4687251"/>
              <a:gd name="connsiteX8317" fmla="*/ 6868886 w 8079933"/>
              <a:gd name="connsiteY8317" fmla="*/ 2865056 h 4687251"/>
              <a:gd name="connsiteX8318" fmla="*/ 6872142 w 8079933"/>
              <a:gd name="connsiteY8318" fmla="*/ 2858343 h 4687251"/>
              <a:gd name="connsiteX8319" fmla="*/ 6873552 w 8079933"/>
              <a:gd name="connsiteY8319" fmla="*/ 2851413 h 4687251"/>
              <a:gd name="connsiteX8320" fmla="*/ 6871925 w 8079933"/>
              <a:gd name="connsiteY8320" fmla="*/ 2848057 h 4687251"/>
              <a:gd name="connsiteX8321" fmla="*/ 6876265 w 8079933"/>
              <a:gd name="connsiteY8321" fmla="*/ 2842860 h 4687251"/>
              <a:gd name="connsiteX8322" fmla="*/ 6880932 w 8079933"/>
              <a:gd name="connsiteY8322" fmla="*/ 2841669 h 4687251"/>
              <a:gd name="connsiteX8323" fmla="*/ 6884404 w 8079933"/>
              <a:gd name="connsiteY8323" fmla="*/ 2838205 h 4687251"/>
              <a:gd name="connsiteX8324" fmla="*/ 6888853 w 8079933"/>
              <a:gd name="connsiteY8324" fmla="*/ 2839612 h 4687251"/>
              <a:gd name="connsiteX8325" fmla="*/ 6895581 w 8079933"/>
              <a:gd name="connsiteY8325" fmla="*/ 2838205 h 4687251"/>
              <a:gd name="connsiteX8326" fmla="*/ 6893519 w 8079933"/>
              <a:gd name="connsiteY8326" fmla="*/ 2834199 h 4687251"/>
              <a:gd name="connsiteX8327" fmla="*/ 6895690 w 8079933"/>
              <a:gd name="connsiteY8327" fmla="*/ 2829976 h 4687251"/>
              <a:gd name="connsiteX8328" fmla="*/ 6901224 w 8079933"/>
              <a:gd name="connsiteY8328" fmla="*/ 2827594 h 4687251"/>
              <a:gd name="connsiteX8329" fmla="*/ 6904046 w 8079933"/>
              <a:gd name="connsiteY8329" fmla="*/ 2823371 h 4687251"/>
              <a:gd name="connsiteX8330" fmla="*/ 6907844 w 8079933"/>
              <a:gd name="connsiteY8330" fmla="*/ 2823046 h 4687251"/>
              <a:gd name="connsiteX8331" fmla="*/ 6914138 w 8079933"/>
              <a:gd name="connsiteY8331" fmla="*/ 2828460 h 4687251"/>
              <a:gd name="connsiteX8332" fmla="*/ 6914464 w 8079933"/>
              <a:gd name="connsiteY8332" fmla="*/ 2836364 h 4687251"/>
              <a:gd name="connsiteX8333" fmla="*/ 6909580 w 8079933"/>
              <a:gd name="connsiteY8333" fmla="*/ 2843835 h 4687251"/>
              <a:gd name="connsiteX8334" fmla="*/ 6913812 w 8079933"/>
              <a:gd name="connsiteY8334" fmla="*/ 2839612 h 4687251"/>
              <a:gd name="connsiteX8335" fmla="*/ 6918370 w 8079933"/>
              <a:gd name="connsiteY8335" fmla="*/ 2838529 h 4687251"/>
              <a:gd name="connsiteX8336" fmla="*/ 6923796 w 8079933"/>
              <a:gd name="connsiteY8336" fmla="*/ 2835715 h 4687251"/>
              <a:gd name="connsiteX8337" fmla="*/ 6926400 w 8079933"/>
              <a:gd name="connsiteY8337" fmla="*/ 2827594 h 4687251"/>
              <a:gd name="connsiteX8338" fmla="*/ 6931392 w 8079933"/>
              <a:gd name="connsiteY8338" fmla="*/ 2825537 h 4687251"/>
              <a:gd name="connsiteX8339" fmla="*/ 6933779 w 8079933"/>
              <a:gd name="connsiteY8339" fmla="*/ 2830842 h 4687251"/>
              <a:gd name="connsiteX8340" fmla="*/ 6936710 w 8079933"/>
              <a:gd name="connsiteY8340" fmla="*/ 2829434 h 4687251"/>
              <a:gd name="connsiteX8341" fmla="*/ 6937252 w 8079933"/>
              <a:gd name="connsiteY8341" fmla="*/ 2825645 h 4687251"/>
              <a:gd name="connsiteX8342" fmla="*/ 6935407 w 8079933"/>
              <a:gd name="connsiteY8342" fmla="*/ 2824238 h 4687251"/>
              <a:gd name="connsiteX8343" fmla="*/ 6937795 w 8079933"/>
              <a:gd name="connsiteY8343" fmla="*/ 2815034 h 4687251"/>
              <a:gd name="connsiteX8344" fmla="*/ 6942895 w 8079933"/>
              <a:gd name="connsiteY8344" fmla="*/ 2817092 h 4687251"/>
              <a:gd name="connsiteX8345" fmla="*/ 6945825 w 8079933"/>
              <a:gd name="connsiteY8345" fmla="*/ 2819258 h 4687251"/>
              <a:gd name="connsiteX8346" fmla="*/ 6947019 w 8079933"/>
              <a:gd name="connsiteY8346" fmla="*/ 2817092 h 4687251"/>
              <a:gd name="connsiteX8347" fmla="*/ 6947019 w 8079933"/>
              <a:gd name="connsiteY8347" fmla="*/ 2810920 h 4687251"/>
              <a:gd name="connsiteX8348" fmla="*/ 6948755 w 8079933"/>
              <a:gd name="connsiteY8348" fmla="*/ 2810487 h 4687251"/>
              <a:gd name="connsiteX8349" fmla="*/ 6952444 w 8079933"/>
              <a:gd name="connsiteY8349" fmla="*/ 2814493 h 4687251"/>
              <a:gd name="connsiteX8350" fmla="*/ 6952553 w 8079933"/>
              <a:gd name="connsiteY8350" fmla="*/ 2810920 h 4687251"/>
              <a:gd name="connsiteX8351" fmla="*/ 6950491 w 8079933"/>
              <a:gd name="connsiteY8351" fmla="*/ 2801609 h 4687251"/>
              <a:gd name="connsiteX8352" fmla="*/ 6340844 w 8079933"/>
              <a:gd name="connsiteY8352" fmla="*/ 2796088 h 4687251"/>
              <a:gd name="connsiteX8353" fmla="*/ 6339651 w 8079933"/>
              <a:gd name="connsiteY8353" fmla="*/ 2798578 h 4687251"/>
              <a:gd name="connsiteX8354" fmla="*/ 6336504 w 8079933"/>
              <a:gd name="connsiteY8354" fmla="*/ 2797712 h 4687251"/>
              <a:gd name="connsiteX8355" fmla="*/ 4303414 w 8079933"/>
              <a:gd name="connsiteY8355" fmla="*/ 2794911 h 4687251"/>
              <a:gd name="connsiteX8356" fmla="*/ 4304312 w 8079933"/>
              <a:gd name="connsiteY8356" fmla="*/ 2795004 h 4687251"/>
              <a:gd name="connsiteX8357" fmla="*/ 4306917 w 8079933"/>
              <a:gd name="connsiteY8357" fmla="*/ 2796520 h 4687251"/>
              <a:gd name="connsiteX8358" fmla="*/ 4307434 w 8079933"/>
              <a:gd name="connsiteY8358" fmla="*/ 2796606 h 4687251"/>
              <a:gd name="connsiteX8359" fmla="*/ 4306917 w 8079933"/>
              <a:gd name="connsiteY8359" fmla="*/ 2796520 h 4687251"/>
              <a:gd name="connsiteX8360" fmla="*/ 4304313 w 8079933"/>
              <a:gd name="connsiteY8360" fmla="*/ 2795004 h 4687251"/>
              <a:gd name="connsiteX8361" fmla="*/ 4260905 w 8079933"/>
              <a:gd name="connsiteY8361" fmla="*/ 2794788 h 4687251"/>
              <a:gd name="connsiteX8362" fmla="*/ 4260037 w 8079933"/>
              <a:gd name="connsiteY8362" fmla="*/ 2800310 h 4687251"/>
              <a:gd name="connsiteX8363" fmla="*/ 4255914 w 8079933"/>
              <a:gd name="connsiteY8363" fmla="*/ 2805507 h 4687251"/>
              <a:gd name="connsiteX8364" fmla="*/ 4249403 w 8079933"/>
              <a:gd name="connsiteY8364" fmla="*/ 2807347 h 4687251"/>
              <a:gd name="connsiteX8365" fmla="*/ 4245930 w 8079933"/>
              <a:gd name="connsiteY8365" fmla="*/ 2810595 h 4687251"/>
              <a:gd name="connsiteX8366" fmla="*/ 4245930 w 8079933"/>
              <a:gd name="connsiteY8366" fmla="*/ 2810596 h 4687251"/>
              <a:gd name="connsiteX8367" fmla="*/ 4249403 w 8079933"/>
              <a:gd name="connsiteY8367" fmla="*/ 2807348 h 4687251"/>
              <a:gd name="connsiteX8368" fmla="*/ 4255914 w 8079933"/>
              <a:gd name="connsiteY8368" fmla="*/ 2805507 h 4687251"/>
              <a:gd name="connsiteX8369" fmla="*/ 4260037 w 8079933"/>
              <a:gd name="connsiteY8369" fmla="*/ 2800310 h 4687251"/>
              <a:gd name="connsiteX8370" fmla="*/ 4260905 w 8079933"/>
              <a:gd name="connsiteY8370" fmla="*/ 2794789 h 4687251"/>
              <a:gd name="connsiteX8371" fmla="*/ 4287599 w 8079933"/>
              <a:gd name="connsiteY8371" fmla="*/ 2794749 h 4687251"/>
              <a:gd name="connsiteX8372" fmla="*/ 4288252 w 8079933"/>
              <a:gd name="connsiteY8372" fmla="*/ 2795004 h 4687251"/>
              <a:gd name="connsiteX8373" fmla="*/ 4288252 w 8079933"/>
              <a:gd name="connsiteY8373" fmla="*/ 2795004 h 4687251"/>
              <a:gd name="connsiteX8374" fmla="*/ 3755072 w 8079933"/>
              <a:gd name="connsiteY8374" fmla="*/ 2794401 h 4687251"/>
              <a:gd name="connsiteX8375" fmla="*/ 3755977 w 8079933"/>
              <a:gd name="connsiteY8375" fmla="*/ 2804641 h 4687251"/>
              <a:gd name="connsiteX8376" fmla="*/ 3755272 w 8079933"/>
              <a:gd name="connsiteY8376" fmla="*/ 2806373 h 4687251"/>
              <a:gd name="connsiteX8377" fmla="*/ 3755978 w 8079933"/>
              <a:gd name="connsiteY8377" fmla="*/ 2804640 h 4687251"/>
              <a:gd name="connsiteX8378" fmla="*/ 4033211 w 8079933"/>
              <a:gd name="connsiteY8378" fmla="*/ 2794040 h 4687251"/>
              <a:gd name="connsiteX8379" fmla="*/ 4030199 w 8079933"/>
              <a:gd name="connsiteY8379" fmla="*/ 2796845 h 4687251"/>
              <a:gd name="connsiteX8380" fmla="*/ 4029077 w 8079933"/>
              <a:gd name="connsiteY8380" fmla="*/ 2799830 h 4687251"/>
              <a:gd name="connsiteX8381" fmla="*/ 4030200 w 8079933"/>
              <a:gd name="connsiteY8381" fmla="*/ 2796845 h 4687251"/>
              <a:gd name="connsiteX8382" fmla="*/ 4306433 w 8079933"/>
              <a:gd name="connsiteY8382" fmla="*/ 2790763 h 4687251"/>
              <a:gd name="connsiteX8383" fmla="*/ 4310823 w 8079933"/>
              <a:gd name="connsiteY8383" fmla="*/ 2794463 h 4687251"/>
              <a:gd name="connsiteX8384" fmla="*/ 4312884 w 8079933"/>
              <a:gd name="connsiteY8384" fmla="*/ 2795221 h 4687251"/>
              <a:gd name="connsiteX8385" fmla="*/ 4312885 w 8079933"/>
              <a:gd name="connsiteY8385" fmla="*/ 2795221 h 4687251"/>
              <a:gd name="connsiteX8386" fmla="*/ 4310824 w 8079933"/>
              <a:gd name="connsiteY8386" fmla="*/ 2794463 h 4687251"/>
              <a:gd name="connsiteX8387" fmla="*/ 4445167 w 8079933"/>
              <a:gd name="connsiteY8387" fmla="*/ 2790132 h 4687251"/>
              <a:gd name="connsiteX8388" fmla="*/ 4442538 w 8079933"/>
              <a:gd name="connsiteY8388" fmla="*/ 2793083 h 4687251"/>
              <a:gd name="connsiteX8389" fmla="*/ 4445166 w 8079933"/>
              <a:gd name="connsiteY8389" fmla="*/ 2790133 h 4687251"/>
              <a:gd name="connsiteX8390" fmla="*/ 4447011 w 8079933"/>
              <a:gd name="connsiteY8390" fmla="*/ 2791324 h 4687251"/>
              <a:gd name="connsiteX8391" fmla="*/ 4449507 w 8079933"/>
              <a:gd name="connsiteY8391" fmla="*/ 2791107 h 4687251"/>
              <a:gd name="connsiteX8392" fmla="*/ 4449507 w 8079933"/>
              <a:gd name="connsiteY8392" fmla="*/ 2791107 h 4687251"/>
              <a:gd name="connsiteX8393" fmla="*/ 4447012 w 8079933"/>
              <a:gd name="connsiteY8393" fmla="*/ 2791323 h 4687251"/>
              <a:gd name="connsiteX8394" fmla="*/ 2213360 w 8079933"/>
              <a:gd name="connsiteY8394" fmla="*/ 2789265 h 4687251"/>
              <a:gd name="connsiteX8395" fmla="*/ 2212654 w 8079933"/>
              <a:gd name="connsiteY8395" fmla="*/ 2791648 h 4687251"/>
              <a:gd name="connsiteX8396" fmla="*/ 2214173 w 8079933"/>
              <a:gd name="connsiteY8396" fmla="*/ 2795762 h 4687251"/>
              <a:gd name="connsiteX8397" fmla="*/ 2214173 w 8079933"/>
              <a:gd name="connsiteY8397" fmla="*/ 2795762 h 4687251"/>
              <a:gd name="connsiteX8398" fmla="*/ 2212654 w 8079933"/>
              <a:gd name="connsiteY8398" fmla="*/ 2791647 h 4687251"/>
              <a:gd name="connsiteX8399" fmla="*/ 6945824 w 8079933"/>
              <a:gd name="connsiteY8399" fmla="*/ 2787101 h 4687251"/>
              <a:gd name="connsiteX8400" fmla="*/ 6948211 w 8079933"/>
              <a:gd name="connsiteY8400" fmla="*/ 2791431 h 4687251"/>
              <a:gd name="connsiteX8401" fmla="*/ 6948211 w 8079933"/>
              <a:gd name="connsiteY8401" fmla="*/ 2795004 h 4687251"/>
              <a:gd name="connsiteX8402" fmla="*/ 6944956 w 8079933"/>
              <a:gd name="connsiteY8402" fmla="*/ 2791215 h 4687251"/>
              <a:gd name="connsiteX8403" fmla="*/ 6966986 w 8079933"/>
              <a:gd name="connsiteY8403" fmla="*/ 2786776 h 4687251"/>
              <a:gd name="connsiteX8404" fmla="*/ 6969264 w 8079933"/>
              <a:gd name="connsiteY8404" fmla="*/ 2791214 h 4687251"/>
              <a:gd name="connsiteX8405" fmla="*/ 6971001 w 8079933"/>
              <a:gd name="connsiteY8405" fmla="*/ 2795761 h 4687251"/>
              <a:gd name="connsiteX8406" fmla="*/ 6967637 w 8079933"/>
              <a:gd name="connsiteY8406" fmla="*/ 2796952 h 4687251"/>
              <a:gd name="connsiteX8407" fmla="*/ 6965358 w 8079933"/>
              <a:gd name="connsiteY8407" fmla="*/ 2793921 h 4687251"/>
              <a:gd name="connsiteX8408" fmla="*/ 6966118 w 8079933"/>
              <a:gd name="connsiteY8408" fmla="*/ 2791972 h 4687251"/>
              <a:gd name="connsiteX8409" fmla="*/ 6926725 w 8079933"/>
              <a:gd name="connsiteY8409" fmla="*/ 2786343 h 4687251"/>
              <a:gd name="connsiteX8410" fmla="*/ 6929329 w 8079933"/>
              <a:gd name="connsiteY8410" fmla="*/ 2788725 h 4687251"/>
              <a:gd name="connsiteX8411" fmla="*/ 6929764 w 8079933"/>
              <a:gd name="connsiteY8411" fmla="*/ 2793814 h 4687251"/>
              <a:gd name="connsiteX8412" fmla="*/ 6927918 w 8079933"/>
              <a:gd name="connsiteY8412" fmla="*/ 2796953 h 4687251"/>
              <a:gd name="connsiteX8413" fmla="*/ 6920756 w 8079933"/>
              <a:gd name="connsiteY8413" fmla="*/ 2800310 h 4687251"/>
              <a:gd name="connsiteX8414" fmla="*/ 6914788 w 8079933"/>
              <a:gd name="connsiteY8414" fmla="*/ 2800635 h 4687251"/>
              <a:gd name="connsiteX8415" fmla="*/ 6915222 w 8079933"/>
              <a:gd name="connsiteY8415" fmla="*/ 2798361 h 4687251"/>
              <a:gd name="connsiteX8416" fmla="*/ 6912943 w 8079933"/>
              <a:gd name="connsiteY8416" fmla="*/ 2795221 h 4687251"/>
              <a:gd name="connsiteX8417" fmla="*/ 6915765 w 8079933"/>
              <a:gd name="connsiteY8417" fmla="*/ 2791323 h 4687251"/>
              <a:gd name="connsiteX8418" fmla="*/ 6924012 w 8079933"/>
              <a:gd name="connsiteY8418" fmla="*/ 2786451 h 4687251"/>
              <a:gd name="connsiteX8419" fmla="*/ 4456669 w 8079933"/>
              <a:gd name="connsiteY8419" fmla="*/ 2783095 h 4687251"/>
              <a:gd name="connsiteX8420" fmla="*/ 4453848 w 8079933"/>
              <a:gd name="connsiteY8420" fmla="*/ 2784177 h 4687251"/>
              <a:gd name="connsiteX8421" fmla="*/ 4453848 w 8079933"/>
              <a:gd name="connsiteY8421" fmla="*/ 2784178 h 4687251"/>
              <a:gd name="connsiteX8422" fmla="*/ 4456669 w 8079933"/>
              <a:gd name="connsiteY8422" fmla="*/ 2783095 h 4687251"/>
              <a:gd name="connsiteX8423" fmla="*/ 4034270 w 8079933"/>
              <a:gd name="connsiteY8423" fmla="*/ 2782482 h 4687251"/>
              <a:gd name="connsiteX8424" fmla="*/ 4033237 w 8079933"/>
              <a:gd name="connsiteY8424" fmla="*/ 2784178 h 4687251"/>
              <a:gd name="connsiteX8425" fmla="*/ 4032912 w 8079933"/>
              <a:gd name="connsiteY8425" fmla="*/ 2786343 h 4687251"/>
              <a:gd name="connsiteX8426" fmla="*/ 4038012 w 8079933"/>
              <a:gd name="connsiteY8426" fmla="*/ 2791865 h 4687251"/>
              <a:gd name="connsiteX8427" fmla="*/ 4038012 w 8079933"/>
              <a:gd name="connsiteY8427" fmla="*/ 2791864 h 4687251"/>
              <a:gd name="connsiteX8428" fmla="*/ 4032913 w 8079933"/>
              <a:gd name="connsiteY8428" fmla="*/ 2786343 h 4687251"/>
              <a:gd name="connsiteX8429" fmla="*/ 4033238 w 8079933"/>
              <a:gd name="connsiteY8429" fmla="*/ 2784177 h 4687251"/>
              <a:gd name="connsiteX8430" fmla="*/ 6436665 w 8079933"/>
              <a:gd name="connsiteY8430" fmla="*/ 2780496 h 4687251"/>
              <a:gd name="connsiteX8431" fmla="*/ 6438075 w 8079933"/>
              <a:gd name="connsiteY8431" fmla="*/ 2783743 h 4687251"/>
              <a:gd name="connsiteX8432" fmla="*/ 6439594 w 8079933"/>
              <a:gd name="connsiteY8432" fmla="*/ 2784394 h 4687251"/>
              <a:gd name="connsiteX8433" fmla="*/ 6438510 w 8079933"/>
              <a:gd name="connsiteY8433" fmla="*/ 2791539 h 4687251"/>
              <a:gd name="connsiteX8434" fmla="*/ 6435905 w 8079933"/>
              <a:gd name="connsiteY8434" fmla="*/ 2792839 h 4687251"/>
              <a:gd name="connsiteX8435" fmla="*/ 6433843 w 8079933"/>
              <a:gd name="connsiteY8435" fmla="*/ 2788941 h 4687251"/>
              <a:gd name="connsiteX8436" fmla="*/ 6434928 w 8079933"/>
              <a:gd name="connsiteY8436" fmla="*/ 2786451 h 4687251"/>
              <a:gd name="connsiteX8437" fmla="*/ 6432215 w 8079933"/>
              <a:gd name="connsiteY8437" fmla="*/ 2783202 h 4687251"/>
              <a:gd name="connsiteX8438" fmla="*/ 3774099 w 8079933"/>
              <a:gd name="connsiteY8438" fmla="*/ 2779197 h 4687251"/>
              <a:gd name="connsiteX8439" fmla="*/ 3771060 w 8079933"/>
              <a:gd name="connsiteY8439" fmla="*/ 2779413 h 4687251"/>
              <a:gd name="connsiteX8440" fmla="*/ 3764116 w 8079933"/>
              <a:gd name="connsiteY8440" fmla="*/ 2783310 h 4687251"/>
              <a:gd name="connsiteX8441" fmla="*/ 3764116 w 8079933"/>
              <a:gd name="connsiteY8441" fmla="*/ 2783312 h 4687251"/>
              <a:gd name="connsiteX8442" fmla="*/ 3762177 w 8079933"/>
              <a:gd name="connsiteY8442" fmla="*/ 2784494 h 4687251"/>
              <a:gd name="connsiteX8443" fmla="*/ 3762218 w 8079933"/>
              <a:gd name="connsiteY8443" fmla="*/ 2784470 h 4687251"/>
              <a:gd name="connsiteX8444" fmla="*/ 3764117 w 8079933"/>
              <a:gd name="connsiteY8444" fmla="*/ 2783312 h 4687251"/>
              <a:gd name="connsiteX8445" fmla="*/ 3770978 w 8079933"/>
              <a:gd name="connsiteY8445" fmla="*/ 2779461 h 4687251"/>
              <a:gd name="connsiteX8446" fmla="*/ 3771061 w 8079933"/>
              <a:gd name="connsiteY8446" fmla="*/ 2779414 h 4687251"/>
              <a:gd name="connsiteX8447" fmla="*/ 3774100 w 8079933"/>
              <a:gd name="connsiteY8447" fmla="*/ 2779197 h 4687251"/>
              <a:gd name="connsiteX8448" fmla="*/ 3791787 w 8079933"/>
              <a:gd name="connsiteY8448" fmla="*/ 2778764 h 4687251"/>
              <a:gd name="connsiteX8449" fmla="*/ 3791570 w 8079933"/>
              <a:gd name="connsiteY8449" fmla="*/ 2780821 h 4687251"/>
              <a:gd name="connsiteX8450" fmla="*/ 3789508 w 8079933"/>
              <a:gd name="connsiteY8450" fmla="*/ 2782662 h 4687251"/>
              <a:gd name="connsiteX8451" fmla="*/ 3789509 w 8079933"/>
              <a:gd name="connsiteY8451" fmla="*/ 2782662 h 4687251"/>
              <a:gd name="connsiteX8452" fmla="*/ 3791571 w 8079933"/>
              <a:gd name="connsiteY8452" fmla="*/ 2780821 h 4687251"/>
              <a:gd name="connsiteX8453" fmla="*/ 3791788 w 8079933"/>
              <a:gd name="connsiteY8453" fmla="*/ 2778764 h 4687251"/>
              <a:gd name="connsiteX8454" fmla="*/ 6956785 w 8079933"/>
              <a:gd name="connsiteY8454" fmla="*/ 2778223 h 4687251"/>
              <a:gd name="connsiteX8455" fmla="*/ 6957978 w 8079933"/>
              <a:gd name="connsiteY8455" fmla="*/ 2780929 h 4687251"/>
              <a:gd name="connsiteX8456" fmla="*/ 6956242 w 8079933"/>
              <a:gd name="connsiteY8456" fmla="*/ 2782012 h 4687251"/>
              <a:gd name="connsiteX8457" fmla="*/ 6956242 w 8079933"/>
              <a:gd name="connsiteY8457" fmla="*/ 2786451 h 4687251"/>
              <a:gd name="connsiteX8458" fmla="*/ 6959498 w 8079933"/>
              <a:gd name="connsiteY8458" fmla="*/ 2790457 h 4687251"/>
              <a:gd name="connsiteX8459" fmla="*/ 6958412 w 8079933"/>
              <a:gd name="connsiteY8459" fmla="*/ 2795870 h 4687251"/>
              <a:gd name="connsiteX8460" fmla="*/ 6956567 w 8079933"/>
              <a:gd name="connsiteY8460" fmla="*/ 2795546 h 4687251"/>
              <a:gd name="connsiteX8461" fmla="*/ 6955590 w 8079933"/>
              <a:gd name="connsiteY8461" fmla="*/ 2793272 h 4687251"/>
              <a:gd name="connsiteX8462" fmla="*/ 6956242 w 8079933"/>
              <a:gd name="connsiteY8462" fmla="*/ 2790349 h 4687251"/>
              <a:gd name="connsiteX8463" fmla="*/ 6953529 w 8079933"/>
              <a:gd name="connsiteY8463" fmla="*/ 2784502 h 4687251"/>
              <a:gd name="connsiteX8464" fmla="*/ 6954397 w 8079933"/>
              <a:gd name="connsiteY8464" fmla="*/ 2779197 h 4687251"/>
              <a:gd name="connsiteX8465" fmla="*/ 3799601 w 8079933"/>
              <a:gd name="connsiteY8465" fmla="*/ 2777140 h 4687251"/>
              <a:gd name="connsiteX8466" fmla="*/ 3797915 w 8079933"/>
              <a:gd name="connsiteY8466" fmla="*/ 2777490 h 4687251"/>
              <a:gd name="connsiteX8467" fmla="*/ 3799601 w 8079933"/>
              <a:gd name="connsiteY8467" fmla="*/ 2777140 h 4687251"/>
              <a:gd name="connsiteX8468" fmla="*/ 3945448 w 8079933"/>
              <a:gd name="connsiteY8468" fmla="*/ 2775083 h 4687251"/>
              <a:gd name="connsiteX8469" fmla="*/ 3945448 w 8079933"/>
              <a:gd name="connsiteY8469" fmla="*/ 2775083 h 4687251"/>
              <a:gd name="connsiteX8470" fmla="*/ 3950657 w 8079933"/>
              <a:gd name="connsiteY8470" fmla="*/ 2779848 h 4687251"/>
              <a:gd name="connsiteX8471" fmla="*/ 3952719 w 8079933"/>
              <a:gd name="connsiteY8471" fmla="*/ 2782771 h 4687251"/>
              <a:gd name="connsiteX8472" fmla="*/ 3957710 w 8079933"/>
              <a:gd name="connsiteY8472" fmla="*/ 2786451 h 4687251"/>
              <a:gd name="connsiteX8473" fmla="*/ 3957710 w 8079933"/>
              <a:gd name="connsiteY8473" fmla="*/ 2786451 h 4687251"/>
              <a:gd name="connsiteX8474" fmla="*/ 3952718 w 8079933"/>
              <a:gd name="connsiteY8474" fmla="*/ 2782770 h 4687251"/>
              <a:gd name="connsiteX8475" fmla="*/ 3950656 w 8079933"/>
              <a:gd name="connsiteY8475" fmla="*/ 2779847 h 4687251"/>
              <a:gd name="connsiteX8476" fmla="*/ 4485359 w 8079933"/>
              <a:gd name="connsiteY8476" fmla="*/ 2774305 h 4687251"/>
              <a:gd name="connsiteX8477" fmla="*/ 4484774 w 8079933"/>
              <a:gd name="connsiteY8477" fmla="*/ 2775083 h 4687251"/>
              <a:gd name="connsiteX8478" fmla="*/ 4489875 w 8079933"/>
              <a:gd name="connsiteY8478" fmla="*/ 2779306 h 4687251"/>
              <a:gd name="connsiteX8479" fmla="*/ 4490743 w 8079933"/>
              <a:gd name="connsiteY8479" fmla="*/ 2781796 h 4687251"/>
              <a:gd name="connsiteX8480" fmla="*/ 4497146 w 8079933"/>
              <a:gd name="connsiteY8480" fmla="*/ 2790241 h 4687251"/>
              <a:gd name="connsiteX8481" fmla="*/ 4501269 w 8079933"/>
              <a:gd name="connsiteY8481" fmla="*/ 2799552 h 4687251"/>
              <a:gd name="connsiteX8482" fmla="*/ 4503005 w 8079933"/>
              <a:gd name="connsiteY8482" fmla="*/ 2803125 h 4687251"/>
              <a:gd name="connsiteX8483" fmla="*/ 4503006 w 8079933"/>
              <a:gd name="connsiteY8483" fmla="*/ 2803124 h 4687251"/>
              <a:gd name="connsiteX8484" fmla="*/ 4501270 w 8079933"/>
              <a:gd name="connsiteY8484" fmla="*/ 2799551 h 4687251"/>
              <a:gd name="connsiteX8485" fmla="*/ 4497146 w 8079933"/>
              <a:gd name="connsiteY8485" fmla="*/ 2790240 h 4687251"/>
              <a:gd name="connsiteX8486" fmla="*/ 4490743 w 8079933"/>
              <a:gd name="connsiteY8486" fmla="*/ 2781795 h 4687251"/>
              <a:gd name="connsiteX8487" fmla="*/ 4489875 w 8079933"/>
              <a:gd name="connsiteY8487" fmla="*/ 2779305 h 4687251"/>
              <a:gd name="connsiteX8488" fmla="*/ 4484775 w 8079933"/>
              <a:gd name="connsiteY8488" fmla="*/ 2775082 h 4687251"/>
              <a:gd name="connsiteX8489" fmla="*/ 6814520 w 8079933"/>
              <a:gd name="connsiteY8489" fmla="*/ 2773676 h 4687251"/>
              <a:gd name="connsiteX8490" fmla="*/ 6815931 w 8079933"/>
              <a:gd name="connsiteY8490" fmla="*/ 2775841 h 4687251"/>
              <a:gd name="connsiteX8491" fmla="*/ 6817776 w 8079933"/>
              <a:gd name="connsiteY8491" fmla="*/ 2777357 h 4687251"/>
              <a:gd name="connsiteX8492" fmla="*/ 6817668 w 8079933"/>
              <a:gd name="connsiteY8492" fmla="*/ 2780063 h 4687251"/>
              <a:gd name="connsiteX8493" fmla="*/ 6814086 w 8079933"/>
              <a:gd name="connsiteY8493" fmla="*/ 2780280 h 4687251"/>
              <a:gd name="connsiteX8494" fmla="*/ 6810722 w 8079933"/>
              <a:gd name="connsiteY8494" fmla="*/ 2779955 h 4687251"/>
              <a:gd name="connsiteX8495" fmla="*/ 6811915 w 8079933"/>
              <a:gd name="connsiteY8495" fmla="*/ 2776924 h 4687251"/>
              <a:gd name="connsiteX8496" fmla="*/ 6813761 w 8079933"/>
              <a:gd name="connsiteY8496" fmla="*/ 2775625 h 4687251"/>
              <a:gd name="connsiteX8497" fmla="*/ 4770297 w 8079933"/>
              <a:gd name="connsiteY8497" fmla="*/ 2772545 h 4687251"/>
              <a:gd name="connsiteX8498" fmla="*/ 4769848 w 8079933"/>
              <a:gd name="connsiteY8498" fmla="*/ 2772592 h 4687251"/>
              <a:gd name="connsiteX8499" fmla="*/ 4768980 w 8079933"/>
              <a:gd name="connsiteY8499" fmla="*/ 2775840 h 4687251"/>
              <a:gd name="connsiteX8500" fmla="*/ 4763879 w 8079933"/>
              <a:gd name="connsiteY8500" fmla="*/ 2782012 h 4687251"/>
              <a:gd name="connsiteX8501" fmla="*/ 4762034 w 8079933"/>
              <a:gd name="connsiteY8501" fmla="*/ 2786992 h 4687251"/>
              <a:gd name="connsiteX8502" fmla="*/ 4763771 w 8079933"/>
              <a:gd name="connsiteY8502" fmla="*/ 2789698 h 4687251"/>
              <a:gd name="connsiteX8503" fmla="*/ 4763879 w 8079933"/>
              <a:gd name="connsiteY8503" fmla="*/ 2794896 h 4687251"/>
              <a:gd name="connsiteX8504" fmla="*/ 4759973 w 8079933"/>
              <a:gd name="connsiteY8504" fmla="*/ 2800851 h 4687251"/>
              <a:gd name="connsiteX8505" fmla="*/ 4758237 w 8079933"/>
              <a:gd name="connsiteY8505" fmla="*/ 2807563 h 4687251"/>
              <a:gd name="connsiteX8506" fmla="*/ 4758316 w 8079933"/>
              <a:gd name="connsiteY8506" fmla="*/ 2808920 h 4687251"/>
              <a:gd name="connsiteX8507" fmla="*/ 4758317 w 8079933"/>
              <a:gd name="connsiteY8507" fmla="*/ 2808921 h 4687251"/>
              <a:gd name="connsiteX8508" fmla="*/ 4758238 w 8079933"/>
              <a:gd name="connsiteY8508" fmla="*/ 2807564 h 4687251"/>
              <a:gd name="connsiteX8509" fmla="*/ 4759974 w 8079933"/>
              <a:gd name="connsiteY8509" fmla="*/ 2800850 h 4687251"/>
              <a:gd name="connsiteX8510" fmla="*/ 4763881 w 8079933"/>
              <a:gd name="connsiteY8510" fmla="*/ 2794896 h 4687251"/>
              <a:gd name="connsiteX8511" fmla="*/ 4763772 w 8079933"/>
              <a:gd name="connsiteY8511" fmla="*/ 2789699 h 4687251"/>
              <a:gd name="connsiteX8512" fmla="*/ 4762036 w 8079933"/>
              <a:gd name="connsiteY8512" fmla="*/ 2786992 h 4687251"/>
              <a:gd name="connsiteX8513" fmla="*/ 4763881 w 8079933"/>
              <a:gd name="connsiteY8513" fmla="*/ 2782012 h 4687251"/>
              <a:gd name="connsiteX8514" fmla="*/ 4768981 w 8079933"/>
              <a:gd name="connsiteY8514" fmla="*/ 2775840 h 4687251"/>
              <a:gd name="connsiteX8515" fmla="*/ 4769849 w 8079933"/>
              <a:gd name="connsiteY8515" fmla="*/ 2772592 h 4687251"/>
              <a:gd name="connsiteX8516" fmla="*/ 6882775 w 8079933"/>
              <a:gd name="connsiteY8516" fmla="*/ 2772268 h 4687251"/>
              <a:gd name="connsiteX8517" fmla="*/ 6884511 w 8079933"/>
              <a:gd name="connsiteY8517" fmla="*/ 2773351 h 4687251"/>
              <a:gd name="connsiteX8518" fmla="*/ 6884295 w 8079933"/>
              <a:gd name="connsiteY8518" fmla="*/ 2776382 h 4687251"/>
              <a:gd name="connsiteX8519" fmla="*/ 6880172 w 8079933"/>
              <a:gd name="connsiteY8519" fmla="*/ 2780713 h 4687251"/>
              <a:gd name="connsiteX8520" fmla="*/ 6877350 w 8079933"/>
              <a:gd name="connsiteY8520" fmla="*/ 2778331 h 4687251"/>
              <a:gd name="connsiteX8521" fmla="*/ 6878869 w 8079933"/>
              <a:gd name="connsiteY8521" fmla="*/ 2773567 h 4687251"/>
              <a:gd name="connsiteX8522" fmla="*/ 6161793 w 8079933"/>
              <a:gd name="connsiteY8522" fmla="*/ 2771510 h 4687251"/>
              <a:gd name="connsiteX8523" fmla="*/ 6163312 w 8079933"/>
              <a:gd name="connsiteY8523" fmla="*/ 2777032 h 4687251"/>
              <a:gd name="connsiteX8524" fmla="*/ 6160924 w 8079933"/>
              <a:gd name="connsiteY8524" fmla="*/ 2783204 h 4687251"/>
              <a:gd name="connsiteX8525" fmla="*/ 6156258 w 8079933"/>
              <a:gd name="connsiteY8525" fmla="*/ 2783204 h 4687251"/>
              <a:gd name="connsiteX8526" fmla="*/ 6156258 w 8079933"/>
              <a:gd name="connsiteY8526" fmla="*/ 2779089 h 4687251"/>
              <a:gd name="connsiteX8527" fmla="*/ 6156258 w 8079933"/>
              <a:gd name="connsiteY8527" fmla="*/ 2773892 h 4687251"/>
              <a:gd name="connsiteX8528" fmla="*/ 4294872 w 8079933"/>
              <a:gd name="connsiteY8528" fmla="*/ 2771510 h 4687251"/>
              <a:gd name="connsiteX8529" fmla="*/ 4294871 w 8079933"/>
              <a:gd name="connsiteY8529" fmla="*/ 2771510 h 4687251"/>
              <a:gd name="connsiteX8530" fmla="*/ 4295088 w 8079933"/>
              <a:gd name="connsiteY8530" fmla="*/ 2776057 h 4687251"/>
              <a:gd name="connsiteX8531" fmla="*/ 4299320 w 8079933"/>
              <a:gd name="connsiteY8531" fmla="*/ 2782229 h 4687251"/>
              <a:gd name="connsiteX8532" fmla="*/ 4303118 w 8079933"/>
              <a:gd name="connsiteY8532" fmla="*/ 2783961 h 4687251"/>
              <a:gd name="connsiteX8533" fmla="*/ 4303625 w 8079933"/>
              <a:gd name="connsiteY8533" fmla="*/ 2785827 h 4687251"/>
              <a:gd name="connsiteX8534" fmla="*/ 4303118 w 8079933"/>
              <a:gd name="connsiteY8534" fmla="*/ 2783960 h 4687251"/>
              <a:gd name="connsiteX8535" fmla="*/ 4299320 w 8079933"/>
              <a:gd name="connsiteY8535" fmla="*/ 2782228 h 4687251"/>
              <a:gd name="connsiteX8536" fmla="*/ 4295088 w 8079933"/>
              <a:gd name="connsiteY8536" fmla="*/ 2776057 h 4687251"/>
              <a:gd name="connsiteX8537" fmla="*/ 2504563 w 8079933"/>
              <a:gd name="connsiteY8537" fmla="*/ 2771510 h 4687251"/>
              <a:gd name="connsiteX8538" fmla="*/ 2504889 w 8079933"/>
              <a:gd name="connsiteY8538" fmla="*/ 2773350 h 4687251"/>
              <a:gd name="connsiteX8539" fmla="*/ 2499463 w 8079933"/>
              <a:gd name="connsiteY8539" fmla="*/ 2778872 h 4687251"/>
              <a:gd name="connsiteX8540" fmla="*/ 2501959 w 8079933"/>
              <a:gd name="connsiteY8540" fmla="*/ 2783095 h 4687251"/>
              <a:gd name="connsiteX8541" fmla="*/ 2502068 w 8079933"/>
              <a:gd name="connsiteY8541" fmla="*/ 2788292 h 4687251"/>
              <a:gd name="connsiteX8542" fmla="*/ 2497184 w 8079933"/>
              <a:gd name="connsiteY8542" fmla="*/ 2792406 h 4687251"/>
              <a:gd name="connsiteX8543" fmla="*/ 2485464 w 8079933"/>
              <a:gd name="connsiteY8543" fmla="*/ 2794355 h 4687251"/>
              <a:gd name="connsiteX8544" fmla="*/ 2479930 w 8079933"/>
              <a:gd name="connsiteY8544" fmla="*/ 2792189 h 4687251"/>
              <a:gd name="connsiteX8545" fmla="*/ 2484922 w 8079933"/>
              <a:gd name="connsiteY8545" fmla="*/ 2790240 h 4687251"/>
              <a:gd name="connsiteX8546" fmla="*/ 2489588 w 8079933"/>
              <a:gd name="connsiteY8546" fmla="*/ 2786234 h 4687251"/>
              <a:gd name="connsiteX8547" fmla="*/ 2489263 w 8079933"/>
              <a:gd name="connsiteY8547" fmla="*/ 2781904 h 4687251"/>
              <a:gd name="connsiteX8548" fmla="*/ 2484596 w 8079933"/>
              <a:gd name="connsiteY8548" fmla="*/ 2777898 h 4687251"/>
              <a:gd name="connsiteX8549" fmla="*/ 2486115 w 8079933"/>
              <a:gd name="connsiteY8549" fmla="*/ 2775083 h 4687251"/>
              <a:gd name="connsiteX8550" fmla="*/ 2491432 w 8079933"/>
              <a:gd name="connsiteY8550" fmla="*/ 2773459 h 4687251"/>
              <a:gd name="connsiteX8551" fmla="*/ 2495774 w 8079933"/>
              <a:gd name="connsiteY8551" fmla="*/ 2775299 h 4687251"/>
              <a:gd name="connsiteX8552" fmla="*/ 6923253 w 8079933"/>
              <a:gd name="connsiteY8552" fmla="*/ 2771185 h 4687251"/>
              <a:gd name="connsiteX8553" fmla="*/ 6923144 w 8079933"/>
              <a:gd name="connsiteY8553" fmla="*/ 2775840 h 4687251"/>
              <a:gd name="connsiteX8554" fmla="*/ 6921517 w 8079933"/>
              <a:gd name="connsiteY8554" fmla="*/ 2773350 h 4687251"/>
              <a:gd name="connsiteX8555" fmla="*/ 1948850 w 8079933"/>
              <a:gd name="connsiteY8555" fmla="*/ 2771044 h 4687251"/>
              <a:gd name="connsiteX8556" fmla="*/ 1948850 w 8079933"/>
              <a:gd name="connsiteY8556" fmla="*/ 2772592 h 4687251"/>
              <a:gd name="connsiteX8557" fmla="*/ 1948958 w 8079933"/>
              <a:gd name="connsiteY8557" fmla="*/ 2772687 h 4687251"/>
              <a:gd name="connsiteX8558" fmla="*/ 1948958 w 8079933"/>
              <a:gd name="connsiteY8558" fmla="*/ 2771077 h 4687251"/>
              <a:gd name="connsiteX8559" fmla="*/ 6956243 w 8079933"/>
              <a:gd name="connsiteY8559" fmla="*/ 2770968 h 4687251"/>
              <a:gd name="connsiteX8560" fmla="*/ 6959281 w 8079933"/>
              <a:gd name="connsiteY8560" fmla="*/ 2772700 h 4687251"/>
              <a:gd name="connsiteX8561" fmla="*/ 6958088 w 8079933"/>
              <a:gd name="connsiteY8561" fmla="*/ 2774757 h 4687251"/>
              <a:gd name="connsiteX8562" fmla="*/ 6956459 w 8079933"/>
              <a:gd name="connsiteY8562" fmla="*/ 2773567 h 4687251"/>
              <a:gd name="connsiteX8563" fmla="*/ 4482604 w 8079933"/>
              <a:gd name="connsiteY8563" fmla="*/ 2769344 h 4687251"/>
              <a:gd name="connsiteX8564" fmla="*/ 4476420 w 8079933"/>
              <a:gd name="connsiteY8564" fmla="*/ 2772051 h 4687251"/>
              <a:gd name="connsiteX8565" fmla="*/ 4473382 w 8079933"/>
              <a:gd name="connsiteY8565" fmla="*/ 2770210 h 4687251"/>
              <a:gd name="connsiteX8566" fmla="*/ 4467630 w 8079933"/>
              <a:gd name="connsiteY8566" fmla="*/ 2770210 h 4687251"/>
              <a:gd name="connsiteX8567" fmla="*/ 4463289 w 8079933"/>
              <a:gd name="connsiteY8567" fmla="*/ 2773242 h 4687251"/>
              <a:gd name="connsiteX8568" fmla="*/ 4457321 w 8079933"/>
              <a:gd name="connsiteY8568" fmla="*/ 2776707 h 4687251"/>
              <a:gd name="connsiteX8569" fmla="*/ 4457321 w 8079933"/>
              <a:gd name="connsiteY8569" fmla="*/ 2776708 h 4687251"/>
              <a:gd name="connsiteX8570" fmla="*/ 4463288 w 8079933"/>
              <a:gd name="connsiteY8570" fmla="*/ 2773243 h 4687251"/>
              <a:gd name="connsiteX8571" fmla="*/ 4467629 w 8079933"/>
              <a:gd name="connsiteY8571" fmla="*/ 2770211 h 4687251"/>
              <a:gd name="connsiteX8572" fmla="*/ 4473380 w 8079933"/>
              <a:gd name="connsiteY8572" fmla="*/ 2770211 h 4687251"/>
              <a:gd name="connsiteX8573" fmla="*/ 4476419 w 8079933"/>
              <a:gd name="connsiteY8573" fmla="*/ 2772051 h 4687251"/>
              <a:gd name="connsiteX8574" fmla="*/ 4482604 w 8079933"/>
              <a:gd name="connsiteY8574" fmla="*/ 2769345 h 4687251"/>
              <a:gd name="connsiteX8575" fmla="*/ 3942843 w 8079933"/>
              <a:gd name="connsiteY8575" fmla="*/ 2769344 h 4687251"/>
              <a:gd name="connsiteX8576" fmla="*/ 3942843 w 8079933"/>
              <a:gd name="connsiteY8576" fmla="*/ 2769345 h 4687251"/>
              <a:gd name="connsiteX8577" fmla="*/ 3944905 w 8079933"/>
              <a:gd name="connsiteY8577" fmla="*/ 2771510 h 4687251"/>
              <a:gd name="connsiteX8578" fmla="*/ 3944905 w 8079933"/>
              <a:gd name="connsiteY8578" fmla="*/ 2771509 h 4687251"/>
              <a:gd name="connsiteX8579" fmla="*/ 4957365 w 8079933"/>
              <a:gd name="connsiteY8579" fmla="*/ 2769020 h 4687251"/>
              <a:gd name="connsiteX8580" fmla="*/ 4951722 w 8079933"/>
              <a:gd name="connsiteY8580" fmla="*/ 2772701 h 4687251"/>
              <a:gd name="connsiteX8581" fmla="*/ 4951724 w 8079933"/>
              <a:gd name="connsiteY8581" fmla="*/ 2772701 h 4687251"/>
              <a:gd name="connsiteX8582" fmla="*/ 4957365 w 8079933"/>
              <a:gd name="connsiteY8582" fmla="*/ 2769020 h 4687251"/>
              <a:gd name="connsiteX8583" fmla="*/ 4483473 w 8079933"/>
              <a:gd name="connsiteY8583" fmla="*/ 2767287 h 4687251"/>
              <a:gd name="connsiteX8584" fmla="*/ 4483473 w 8079933"/>
              <a:gd name="connsiteY8584" fmla="*/ 2767288 h 4687251"/>
              <a:gd name="connsiteX8585" fmla="*/ 4486077 w 8079933"/>
              <a:gd name="connsiteY8585" fmla="*/ 2770103 h 4687251"/>
              <a:gd name="connsiteX8586" fmla="*/ 4486077 w 8079933"/>
              <a:gd name="connsiteY8586" fmla="*/ 2773350 h 4687251"/>
              <a:gd name="connsiteX8587" fmla="*/ 4486077 w 8079933"/>
              <a:gd name="connsiteY8587" fmla="*/ 2773350 h 4687251"/>
              <a:gd name="connsiteX8588" fmla="*/ 4486077 w 8079933"/>
              <a:gd name="connsiteY8588" fmla="*/ 2770102 h 4687251"/>
              <a:gd name="connsiteX8589" fmla="*/ 3753589 w 8079933"/>
              <a:gd name="connsiteY8589" fmla="*/ 2767070 h 4687251"/>
              <a:gd name="connsiteX8590" fmla="*/ 3750659 w 8079933"/>
              <a:gd name="connsiteY8590" fmla="*/ 2767287 h 4687251"/>
              <a:gd name="connsiteX8591" fmla="*/ 3748163 w 8079933"/>
              <a:gd name="connsiteY8591" fmla="*/ 2770535 h 4687251"/>
              <a:gd name="connsiteX8592" fmla="*/ 3744040 w 8079933"/>
              <a:gd name="connsiteY8592" fmla="*/ 2770968 h 4687251"/>
              <a:gd name="connsiteX8593" fmla="*/ 3748164 w 8079933"/>
              <a:gd name="connsiteY8593" fmla="*/ 2770535 h 4687251"/>
              <a:gd name="connsiteX8594" fmla="*/ 3750660 w 8079933"/>
              <a:gd name="connsiteY8594" fmla="*/ 2767288 h 4687251"/>
              <a:gd name="connsiteX8595" fmla="*/ 3753589 w 8079933"/>
              <a:gd name="connsiteY8595" fmla="*/ 2767071 h 4687251"/>
              <a:gd name="connsiteX8596" fmla="*/ 6478334 w 8079933"/>
              <a:gd name="connsiteY8596" fmla="*/ 2766962 h 4687251"/>
              <a:gd name="connsiteX8597" fmla="*/ 6467157 w 8079933"/>
              <a:gd name="connsiteY8597" fmla="*/ 2769669 h 4687251"/>
              <a:gd name="connsiteX8598" fmla="*/ 6467158 w 8079933"/>
              <a:gd name="connsiteY8598" fmla="*/ 2769669 h 4687251"/>
              <a:gd name="connsiteX8599" fmla="*/ 6895038 w 8079933"/>
              <a:gd name="connsiteY8599" fmla="*/ 2766529 h 4687251"/>
              <a:gd name="connsiteX8600" fmla="*/ 6898076 w 8079933"/>
              <a:gd name="connsiteY8600" fmla="*/ 2768045 h 4687251"/>
              <a:gd name="connsiteX8601" fmla="*/ 6900355 w 8079933"/>
              <a:gd name="connsiteY8601" fmla="*/ 2766637 h 4687251"/>
              <a:gd name="connsiteX8602" fmla="*/ 6904044 w 8079933"/>
              <a:gd name="connsiteY8602" fmla="*/ 2769452 h 4687251"/>
              <a:gd name="connsiteX8603" fmla="*/ 6903828 w 8079933"/>
              <a:gd name="connsiteY8603" fmla="*/ 2773350 h 4687251"/>
              <a:gd name="connsiteX8604" fmla="*/ 6899487 w 8079933"/>
              <a:gd name="connsiteY8604" fmla="*/ 2777898 h 4687251"/>
              <a:gd name="connsiteX8605" fmla="*/ 6896557 w 8079933"/>
              <a:gd name="connsiteY8605" fmla="*/ 2791431 h 4687251"/>
              <a:gd name="connsiteX8606" fmla="*/ 6897209 w 8079933"/>
              <a:gd name="connsiteY8606" fmla="*/ 2800743 h 4687251"/>
              <a:gd name="connsiteX8607" fmla="*/ 6900355 w 8079933"/>
              <a:gd name="connsiteY8607" fmla="*/ 2806806 h 4687251"/>
              <a:gd name="connsiteX8608" fmla="*/ 6900247 w 8079933"/>
              <a:gd name="connsiteY8608" fmla="*/ 2811028 h 4687251"/>
              <a:gd name="connsiteX8609" fmla="*/ 6895906 w 8079933"/>
              <a:gd name="connsiteY8609" fmla="*/ 2813627 h 4687251"/>
              <a:gd name="connsiteX8610" fmla="*/ 6892217 w 8079933"/>
              <a:gd name="connsiteY8610" fmla="*/ 2811678 h 4687251"/>
              <a:gd name="connsiteX8611" fmla="*/ 6892108 w 8079933"/>
              <a:gd name="connsiteY8611" fmla="*/ 2806265 h 4687251"/>
              <a:gd name="connsiteX8612" fmla="*/ 6887225 w 8079933"/>
              <a:gd name="connsiteY8612" fmla="*/ 2805831 h 4687251"/>
              <a:gd name="connsiteX8613" fmla="*/ 6881799 w 8079933"/>
              <a:gd name="connsiteY8613" fmla="*/ 2802475 h 4687251"/>
              <a:gd name="connsiteX8614" fmla="*/ 6878435 w 8079933"/>
              <a:gd name="connsiteY8614" fmla="*/ 2801933 h 4687251"/>
              <a:gd name="connsiteX8615" fmla="*/ 6877133 w 8079933"/>
              <a:gd name="connsiteY8615" fmla="*/ 2794571 h 4687251"/>
              <a:gd name="connsiteX8616" fmla="*/ 6879195 w 8079933"/>
              <a:gd name="connsiteY8616" fmla="*/ 2791647 h 4687251"/>
              <a:gd name="connsiteX8617" fmla="*/ 6886791 w 8079933"/>
              <a:gd name="connsiteY8617" fmla="*/ 2789699 h 4687251"/>
              <a:gd name="connsiteX8618" fmla="*/ 6889287 w 8079933"/>
              <a:gd name="connsiteY8618" fmla="*/ 2784177 h 4687251"/>
              <a:gd name="connsiteX8619" fmla="*/ 6888527 w 8079933"/>
              <a:gd name="connsiteY8619" fmla="*/ 2777898 h 4687251"/>
              <a:gd name="connsiteX8620" fmla="*/ 6891240 w 8079933"/>
              <a:gd name="connsiteY8620" fmla="*/ 2773567 h 4687251"/>
              <a:gd name="connsiteX8621" fmla="*/ 6891240 w 8079933"/>
              <a:gd name="connsiteY8621" fmla="*/ 2769127 h 4687251"/>
              <a:gd name="connsiteX8622" fmla="*/ 6959390 w 8079933"/>
              <a:gd name="connsiteY8622" fmla="*/ 2766097 h 4687251"/>
              <a:gd name="connsiteX8623" fmla="*/ 6960692 w 8079933"/>
              <a:gd name="connsiteY8623" fmla="*/ 2767613 h 4687251"/>
              <a:gd name="connsiteX8624" fmla="*/ 6958521 w 8079933"/>
              <a:gd name="connsiteY8624" fmla="*/ 2768263 h 4687251"/>
              <a:gd name="connsiteX8625" fmla="*/ 6957545 w 8079933"/>
              <a:gd name="connsiteY8625" fmla="*/ 2766313 h 4687251"/>
              <a:gd name="connsiteX8626" fmla="*/ 2511834 w 8079933"/>
              <a:gd name="connsiteY8626" fmla="*/ 2765447 h 4687251"/>
              <a:gd name="connsiteX8627" fmla="*/ 2510966 w 8079933"/>
              <a:gd name="connsiteY8627" fmla="*/ 2769344 h 4687251"/>
              <a:gd name="connsiteX8628" fmla="*/ 2506951 w 8079933"/>
              <a:gd name="connsiteY8628" fmla="*/ 2767612 h 4687251"/>
              <a:gd name="connsiteX8629" fmla="*/ 2434678 w 8079933"/>
              <a:gd name="connsiteY8629" fmla="*/ 2764364 h 4687251"/>
              <a:gd name="connsiteX8630" fmla="*/ 2436740 w 8079933"/>
              <a:gd name="connsiteY8630" fmla="*/ 2767504 h 4687251"/>
              <a:gd name="connsiteX8631" fmla="*/ 2432942 w 8079933"/>
              <a:gd name="connsiteY8631" fmla="*/ 2772159 h 4687251"/>
              <a:gd name="connsiteX8632" fmla="*/ 2428059 w 8079933"/>
              <a:gd name="connsiteY8632" fmla="*/ 2770860 h 4687251"/>
              <a:gd name="connsiteX8633" fmla="*/ 2422958 w 8079933"/>
              <a:gd name="connsiteY8633" fmla="*/ 2771943 h 4687251"/>
              <a:gd name="connsiteX8634" fmla="*/ 2420463 w 8079933"/>
              <a:gd name="connsiteY8634" fmla="*/ 2770102 h 4687251"/>
              <a:gd name="connsiteX8635" fmla="*/ 2425346 w 8079933"/>
              <a:gd name="connsiteY8635" fmla="*/ 2766529 h 4687251"/>
              <a:gd name="connsiteX8636" fmla="*/ 2427625 w 8079933"/>
              <a:gd name="connsiteY8636" fmla="*/ 2769669 h 4687251"/>
              <a:gd name="connsiteX8637" fmla="*/ 2235480 w 8079933"/>
              <a:gd name="connsiteY8637" fmla="*/ 2763586 h 4687251"/>
              <a:gd name="connsiteX8638" fmla="*/ 2233381 w 8079933"/>
              <a:gd name="connsiteY8638" fmla="*/ 2766204 h 4687251"/>
              <a:gd name="connsiteX8639" fmla="*/ 2229148 w 8079933"/>
              <a:gd name="connsiteY8639" fmla="*/ 2767287 h 4687251"/>
              <a:gd name="connsiteX8640" fmla="*/ 2225350 w 8079933"/>
              <a:gd name="connsiteY8640" fmla="*/ 2772809 h 4687251"/>
              <a:gd name="connsiteX8641" fmla="*/ 2223506 w 8079933"/>
              <a:gd name="connsiteY8641" fmla="*/ 2774433 h 4687251"/>
              <a:gd name="connsiteX8642" fmla="*/ 2225351 w 8079933"/>
              <a:gd name="connsiteY8642" fmla="*/ 2772809 h 4687251"/>
              <a:gd name="connsiteX8643" fmla="*/ 2229149 w 8079933"/>
              <a:gd name="connsiteY8643" fmla="*/ 2767287 h 4687251"/>
              <a:gd name="connsiteX8644" fmla="*/ 2233381 w 8079933"/>
              <a:gd name="connsiteY8644" fmla="*/ 2766204 h 4687251"/>
              <a:gd name="connsiteX8645" fmla="*/ 3942626 w 8079933"/>
              <a:gd name="connsiteY8645" fmla="*/ 2762523 h 4687251"/>
              <a:gd name="connsiteX8646" fmla="*/ 3967476 w 8079933"/>
              <a:gd name="connsiteY8646" fmla="*/ 2768802 h 4687251"/>
              <a:gd name="connsiteX8647" fmla="*/ 3966174 w 8079933"/>
              <a:gd name="connsiteY8647" fmla="*/ 2771834 h 4687251"/>
              <a:gd name="connsiteX8648" fmla="*/ 3966174 w 8079933"/>
              <a:gd name="connsiteY8648" fmla="*/ 2771835 h 4687251"/>
              <a:gd name="connsiteX8649" fmla="*/ 3968453 w 8079933"/>
              <a:gd name="connsiteY8649" fmla="*/ 2766638 h 4687251"/>
              <a:gd name="connsiteX8650" fmla="*/ 3974638 w 8079933"/>
              <a:gd name="connsiteY8650" fmla="*/ 2765231 h 4687251"/>
              <a:gd name="connsiteX8651" fmla="*/ 3974638 w 8079933"/>
              <a:gd name="connsiteY8651" fmla="*/ 2765229 h 4687251"/>
              <a:gd name="connsiteX8652" fmla="*/ 3968453 w 8079933"/>
              <a:gd name="connsiteY8652" fmla="*/ 2766637 h 4687251"/>
              <a:gd name="connsiteX8653" fmla="*/ 3968435 w 8079933"/>
              <a:gd name="connsiteY8653" fmla="*/ 2766678 h 4687251"/>
              <a:gd name="connsiteX8654" fmla="*/ 3966174 w 8079933"/>
              <a:gd name="connsiteY8654" fmla="*/ 2771834 h 4687251"/>
              <a:gd name="connsiteX8655" fmla="*/ 3967476 w 8079933"/>
              <a:gd name="connsiteY8655" fmla="*/ 2768803 h 4687251"/>
              <a:gd name="connsiteX8656" fmla="*/ 3967476 w 8079933"/>
              <a:gd name="connsiteY8656" fmla="*/ 2768802 h 4687251"/>
              <a:gd name="connsiteX8657" fmla="*/ 3942627 w 8079933"/>
              <a:gd name="connsiteY8657" fmla="*/ 2762523 h 4687251"/>
              <a:gd name="connsiteX8658" fmla="*/ 3939045 w 8079933"/>
              <a:gd name="connsiteY8658" fmla="*/ 2762414 h 4687251"/>
              <a:gd name="connsiteX8659" fmla="*/ 3933511 w 8079933"/>
              <a:gd name="connsiteY8659" fmla="*/ 2765013 h 4687251"/>
              <a:gd name="connsiteX8660" fmla="*/ 3928085 w 8079933"/>
              <a:gd name="connsiteY8660" fmla="*/ 2765229 h 4687251"/>
              <a:gd name="connsiteX8661" fmla="*/ 3919078 w 8079933"/>
              <a:gd name="connsiteY8661" fmla="*/ 2766637 h 4687251"/>
              <a:gd name="connsiteX8662" fmla="*/ 3906707 w 8079933"/>
              <a:gd name="connsiteY8662" fmla="*/ 2766637 h 4687251"/>
              <a:gd name="connsiteX8663" fmla="*/ 3904537 w 8079933"/>
              <a:gd name="connsiteY8663" fmla="*/ 2767503 h 4687251"/>
              <a:gd name="connsiteX8664" fmla="*/ 3886957 w 8079933"/>
              <a:gd name="connsiteY8664" fmla="*/ 2767503 h 4687251"/>
              <a:gd name="connsiteX8665" fmla="*/ 3878601 w 8079933"/>
              <a:gd name="connsiteY8665" fmla="*/ 2767936 h 4687251"/>
              <a:gd name="connsiteX8666" fmla="*/ 3877950 w 8079933"/>
              <a:gd name="connsiteY8666" fmla="*/ 2773242 h 4687251"/>
              <a:gd name="connsiteX8667" fmla="*/ 3877950 w 8079933"/>
              <a:gd name="connsiteY8667" fmla="*/ 2773242 h 4687251"/>
              <a:gd name="connsiteX8668" fmla="*/ 3878601 w 8079933"/>
              <a:gd name="connsiteY8668" fmla="*/ 2767938 h 4687251"/>
              <a:gd name="connsiteX8669" fmla="*/ 3886957 w 8079933"/>
              <a:gd name="connsiteY8669" fmla="*/ 2767505 h 4687251"/>
              <a:gd name="connsiteX8670" fmla="*/ 3904537 w 8079933"/>
              <a:gd name="connsiteY8670" fmla="*/ 2767505 h 4687251"/>
              <a:gd name="connsiteX8671" fmla="*/ 3906707 w 8079933"/>
              <a:gd name="connsiteY8671" fmla="*/ 2766638 h 4687251"/>
              <a:gd name="connsiteX8672" fmla="*/ 3919078 w 8079933"/>
              <a:gd name="connsiteY8672" fmla="*/ 2766638 h 4687251"/>
              <a:gd name="connsiteX8673" fmla="*/ 3928085 w 8079933"/>
              <a:gd name="connsiteY8673" fmla="*/ 2765231 h 4687251"/>
              <a:gd name="connsiteX8674" fmla="*/ 3933511 w 8079933"/>
              <a:gd name="connsiteY8674" fmla="*/ 2765014 h 4687251"/>
              <a:gd name="connsiteX8675" fmla="*/ 3939045 w 8079933"/>
              <a:gd name="connsiteY8675" fmla="*/ 2762416 h 4687251"/>
              <a:gd name="connsiteX8676" fmla="*/ 3940890 w 8079933"/>
              <a:gd name="connsiteY8676" fmla="*/ 2762957 h 4687251"/>
              <a:gd name="connsiteX8677" fmla="*/ 3940890 w 8079933"/>
              <a:gd name="connsiteY8677" fmla="*/ 2762956 h 4687251"/>
              <a:gd name="connsiteX8678" fmla="*/ 3820978 w 8079933"/>
              <a:gd name="connsiteY8678" fmla="*/ 2761766 h 4687251"/>
              <a:gd name="connsiteX8679" fmla="*/ 3820761 w 8079933"/>
              <a:gd name="connsiteY8679" fmla="*/ 2766638 h 4687251"/>
              <a:gd name="connsiteX8680" fmla="*/ 3822822 w 8079933"/>
              <a:gd name="connsiteY8680" fmla="*/ 2770211 h 4687251"/>
              <a:gd name="connsiteX8681" fmla="*/ 3821412 w 8079933"/>
              <a:gd name="connsiteY8681" fmla="*/ 2775949 h 4687251"/>
              <a:gd name="connsiteX8682" fmla="*/ 3818482 w 8079933"/>
              <a:gd name="connsiteY8682" fmla="*/ 2778006 h 4687251"/>
              <a:gd name="connsiteX8683" fmla="*/ 3814141 w 8079933"/>
              <a:gd name="connsiteY8683" fmla="*/ 2784719 h 4687251"/>
              <a:gd name="connsiteX8684" fmla="*/ 3813506 w 8079933"/>
              <a:gd name="connsiteY8684" fmla="*/ 2784529 h 4687251"/>
              <a:gd name="connsiteX8685" fmla="*/ 3814143 w 8079933"/>
              <a:gd name="connsiteY8685" fmla="*/ 2784719 h 4687251"/>
              <a:gd name="connsiteX8686" fmla="*/ 3818483 w 8079933"/>
              <a:gd name="connsiteY8686" fmla="*/ 2778006 h 4687251"/>
              <a:gd name="connsiteX8687" fmla="*/ 3818518 w 8079933"/>
              <a:gd name="connsiteY8687" fmla="*/ 2777982 h 4687251"/>
              <a:gd name="connsiteX8688" fmla="*/ 3821414 w 8079933"/>
              <a:gd name="connsiteY8688" fmla="*/ 2775949 h 4687251"/>
              <a:gd name="connsiteX8689" fmla="*/ 3822166 w 8079933"/>
              <a:gd name="connsiteY8689" fmla="*/ 2775520 h 4687251"/>
              <a:gd name="connsiteX8690" fmla="*/ 3822172 w 8079933"/>
              <a:gd name="connsiteY8690" fmla="*/ 2775516 h 4687251"/>
              <a:gd name="connsiteX8691" fmla="*/ 3822173 w 8079933"/>
              <a:gd name="connsiteY8691" fmla="*/ 2775516 h 4687251"/>
              <a:gd name="connsiteX8692" fmla="*/ 3829009 w 8079933"/>
              <a:gd name="connsiteY8692" fmla="*/ 2781037 h 4687251"/>
              <a:gd name="connsiteX8693" fmla="*/ 3838016 w 8079933"/>
              <a:gd name="connsiteY8693" fmla="*/ 2785801 h 4687251"/>
              <a:gd name="connsiteX8694" fmla="*/ 3841380 w 8079933"/>
              <a:gd name="connsiteY8694" fmla="*/ 2785801 h 4687251"/>
              <a:gd name="connsiteX8695" fmla="*/ 3844202 w 8079933"/>
              <a:gd name="connsiteY8695" fmla="*/ 2787642 h 4687251"/>
              <a:gd name="connsiteX8696" fmla="*/ 3847891 w 8079933"/>
              <a:gd name="connsiteY8696" fmla="*/ 2787642 h 4687251"/>
              <a:gd name="connsiteX8697" fmla="*/ 3852883 w 8079933"/>
              <a:gd name="connsiteY8697" fmla="*/ 2790024 h 4687251"/>
              <a:gd name="connsiteX8698" fmla="*/ 3855488 w 8079933"/>
              <a:gd name="connsiteY8698" fmla="*/ 2793597 h 4687251"/>
              <a:gd name="connsiteX8699" fmla="*/ 3862975 w 8079933"/>
              <a:gd name="connsiteY8699" fmla="*/ 2797495 h 4687251"/>
              <a:gd name="connsiteX8700" fmla="*/ 3868726 w 8079933"/>
              <a:gd name="connsiteY8700" fmla="*/ 2796412 h 4687251"/>
              <a:gd name="connsiteX8701" fmla="*/ 3873284 w 8079933"/>
              <a:gd name="connsiteY8701" fmla="*/ 2793272 h 4687251"/>
              <a:gd name="connsiteX8702" fmla="*/ 3876431 w 8079933"/>
              <a:gd name="connsiteY8702" fmla="*/ 2793381 h 4687251"/>
              <a:gd name="connsiteX8703" fmla="*/ 3879904 w 8079933"/>
              <a:gd name="connsiteY8703" fmla="*/ 2795762 h 4687251"/>
              <a:gd name="connsiteX8704" fmla="*/ 3885004 w 8079933"/>
              <a:gd name="connsiteY8704" fmla="*/ 2796628 h 4687251"/>
              <a:gd name="connsiteX8705" fmla="*/ 3885004 w 8079933"/>
              <a:gd name="connsiteY8705" fmla="*/ 2796628 h 4687251"/>
              <a:gd name="connsiteX8706" fmla="*/ 3879904 w 8079933"/>
              <a:gd name="connsiteY8706" fmla="*/ 2795762 h 4687251"/>
              <a:gd name="connsiteX8707" fmla="*/ 3876431 w 8079933"/>
              <a:gd name="connsiteY8707" fmla="*/ 2793379 h 4687251"/>
              <a:gd name="connsiteX8708" fmla="*/ 3873284 w 8079933"/>
              <a:gd name="connsiteY8708" fmla="*/ 2793271 h 4687251"/>
              <a:gd name="connsiteX8709" fmla="*/ 3868726 w 8079933"/>
              <a:gd name="connsiteY8709" fmla="*/ 2796411 h 4687251"/>
              <a:gd name="connsiteX8710" fmla="*/ 3862975 w 8079933"/>
              <a:gd name="connsiteY8710" fmla="*/ 2797494 h 4687251"/>
              <a:gd name="connsiteX8711" fmla="*/ 3855488 w 8079933"/>
              <a:gd name="connsiteY8711" fmla="*/ 2793596 h 4687251"/>
              <a:gd name="connsiteX8712" fmla="*/ 3852883 w 8079933"/>
              <a:gd name="connsiteY8712" fmla="*/ 2790024 h 4687251"/>
              <a:gd name="connsiteX8713" fmla="*/ 3847891 w 8079933"/>
              <a:gd name="connsiteY8713" fmla="*/ 2787642 h 4687251"/>
              <a:gd name="connsiteX8714" fmla="*/ 3844202 w 8079933"/>
              <a:gd name="connsiteY8714" fmla="*/ 2787642 h 4687251"/>
              <a:gd name="connsiteX8715" fmla="*/ 3841380 w 8079933"/>
              <a:gd name="connsiteY8715" fmla="*/ 2785800 h 4687251"/>
              <a:gd name="connsiteX8716" fmla="*/ 3838016 w 8079933"/>
              <a:gd name="connsiteY8716" fmla="*/ 2785800 h 4687251"/>
              <a:gd name="connsiteX8717" fmla="*/ 3829009 w 8079933"/>
              <a:gd name="connsiteY8717" fmla="*/ 2781037 h 4687251"/>
              <a:gd name="connsiteX8718" fmla="*/ 3822173 w 8079933"/>
              <a:gd name="connsiteY8718" fmla="*/ 2775516 h 4687251"/>
              <a:gd name="connsiteX8719" fmla="*/ 3822172 w 8079933"/>
              <a:gd name="connsiteY8719" fmla="*/ 2775515 h 4687251"/>
              <a:gd name="connsiteX8720" fmla="*/ 3821413 w 8079933"/>
              <a:gd name="connsiteY8720" fmla="*/ 2775948 h 4687251"/>
              <a:gd name="connsiteX8721" fmla="*/ 3822824 w 8079933"/>
              <a:gd name="connsiteY8721" fmla="*/ 2770210 h 4687251"/>
              <a:gd name="connsiteX8722" fmla="*/ 3820762 w 8079933"/>
              <a:gd name="connsiteY8722" fmla="*/ 2766637 h 4687251"/>
              <a:gd name="connsiteX8723" fmla="*/ 3820979 w 8079933"/>
              <a:gd name="connsiteY8723" fmla="*/ 2761766 h 4687251"/>
              <a:gd name="connsiteX8724" fmla="*/ 3601617 w 8079933"/>
              <a:gd name="connsiteY8724" fmla="*/ 2761055 h 4687251"/>
              <a:gd name="connsiteX8725" fmla="*/ 3597435 w 8079933"/>
              <a:gd name="connsiteY8725" fmla="*/ 2761982 h 4687251"/>
              <a:gd name="connsiteX8726" fmla="*/ 3595261 w 8079933"/>
              <a:gd name="connsiteY8726" fmla="*/ 2766404 h 4687251"/>
              <a:gd name="connsiteX8727" fmla="*/ 3597436 w 8079933"/>
              <a:gd name="connsiteY8727" fmla="*/ 2761982 h 4687251"/>
              <a:gd name="connsiteX8728" fmla="*/ 6916200 w 8079933"/>
              <a:gd name="connsiteY8728" fmla="*/ 2760358 h 4687251"/>
              <a:gd name="connsiteX8729" fmla="*/ 6916417 w 8079933"/>
              <a:gd name="connsiteY8729" fmla="*/ 2769452 h 4687251"/>
              <a:gd name="connsiteX8730" fmla="*/ 6914681 w 8079933"/>
              <a:gd name="connsiteY8730" fmla="*/ 2772376 h 4687251"/>
              <a:gd name="connsiteX8731" fmla="*/ 6915332 w 8079933"/>
              <a:gd name="connsiteY8731" fmla="*/ 2776599 h 4687251"/>
              <a:gd name="connsiteX8732" fmla="*/ 6914138 w 8079933"/>
              <a:gd name="connsiteY8732" fmla="*/ 2781254 h 4687251"/>
              <a:gd name="connsiteX8733" fmla="*/ 6907626 w 8079933"/>
              <a:gd name="connsiteY8733" fmla="*/ 2788725 h 4687251"/>
              <a:gd name="connsiteX8734" fmla="*/ 6905890 w 8079933"/>
              <a:gd name="connsiteY8734" fmla="*/ 2798794 h 4687251"/>
              <a:gd name="connsiteX8735" fmla="*/ 6902309 w 8079933"/>
              <a:gd name="connsiteY8735" fmla="*/ 2802909 h 4687251"/>
              <a:gd name="connsiteX8736" fmla="*/ 6901224 w 8079933"/>
              <a:gd name="connsiteY8736" fmla="*/ 2799011 h 4687251"/>
              <a:gd name="connsiteX8737" fmla="*/ 6901440 w 8079933"/>
              <a:gd name="connsiteY8737" fmla="*/ 2794031 h 4687251"/>
              <a:gd name="connsiteX8738" fmla="*/ 6905022 w 8079933"/>
              <a:gd name="connsiteY8738" fmla="*/ 2789591 h 4687251"/>
              <a:gd name="connsiteX8739" fmla="*/ 6907084 w 8079933"/>
              <a:gd name="connsiteY8739" fmla="*/ 2782662 h 4687251"/>
              <a:gd name="connsiteX8740" fmla="*/ 6907626 w 8079933"/>
              <a:gd name="connsiteY8740" fmla="*/ 2777140 h 4687251"/>
              <a:gd name="connsiteX8741" fmla="*/ 6912076 w 8079933"/>
              <a:gd name="connsiteY8741" fmla="*/ 2769994 h 4687251"/>
              <a:gd name="connsiteX8742" fmla="*/ 6913704 w 8079933"/>
              <a:gd name="connsiteY8742" fmla="*/ 2761332 h 4687251"/>
              <a:gd name="connsiteX8743" fmla="*/ 4297809 w 8079933"/>
              <a:gd name="connsiteY8743" fmla="*/ 2760254 h 4687251"/>
              <a:gd name="connsiteX8744" fmla="*/ 4299646 w 8079933"/>
              <a:gd name="connsiteY8744" fmla="*/ 2762307 h 4687251"/>
              <a:gd name="connsiteX8745" fmla="*/ 4299646 w 8079933"/>
              <a:gd name="connsiteY8745" fmla="*/ 2762307 h 4687251"/>
              <a:gd name="connsiteX8746" fmla="*/ 4485341 w 8079933"/>
              <a:gd name="connsiteY8746" fmla="*/ 2758302 h 4687251"/>
              <a:gd name="connsiteX8747" fmla="*/ 4486077 w 8079933"/>
              <a:gd name="connsiteY8747" fmla="*/ 2759491 h 4687251"/>
              <a:gd name="connsiteX8748" fmla="*/ 4486077 w 8079933"/>
              <a:gd name="connsiteY8748" fmla="*/ 2759491 h 4687251"/>
              <a:gd name="connsiteX8749" fmla="*/ 6925858 w 8079933"/>
              <a:gd name="connsiteY8749" fmla="*/ 2756135 h 4687251"/>
              <a:gd name="connsiteX8750" fmla="*/ 6930199 w 8079933"/>
              <a:gd name="connsiteY8750" fmla="*/ 2758084 h 4687251"/>
              <a:gd name="connsiteX8751" fmla="*/ 6935082 w 8079933"/>
              <a:gd name="connsiteY8751" fmla="*/ 2756459 h 4687251"/>
              <a:gd name="connsiteX8752" fmla="*/ 6935949 w 8079933"/>
              <a:gd name="connsiteY8752" fmla="*/ 2758408 h 4687251"/>
              <a:gd name="connsiteX8753" fmla="*/ 6938555 w 8079933"/>
              <a:gd name="connsiteY8753" fmla="*/ 2764363 h 4687251"/>
              <a:gd name="connsiteX8754" fmla="*/ 6939314 w 8079933"/>
              <a:gd name="connsiteY8754" fmla="*/ 2771618 h 4687251"/>
              <a:gd name="connsiteX8755" fmla="*/ 6942570 w 8079933"/>
              <a:gd name="connsiteY8755" fmla="*/ 2773783 h 4687251"/>
              <a:gd name="connsiteX8756" fmla="*/ 6946802 w 8079933"/>
              <a:gd name="connsiteY8756" fmla="*/ 2781037 h 4687251"/>
              <a:gd name="connsiteX8757" fmla="*/ 6946367 w 8079933"/>
              <a:gd name="connsiteY8757" fmla="*/ 2784718 h 4687251"/>
              <a:gd name="connsiteX8758" fmla="*/ 6942244 w 8079933"/>
              <a:gd name="connsiteY8758" fmla="*/ 2785801 h 4687251"/>
              <a:gd name="connsiteX8759" fmla="*/ 6939640 w 8079933"/>
              <a:gd name="connsiteY8759" fmla="*/ 2782336 h 4687251"/>
              <a:gd name="connsiteX8760" fmla="*/ 6939206 w 8079933"/>
              <a:gd name="connsiteY8760" fmla="*/ 2788941 h 4687251"/>
              <a:gd name="connsiteX8761" fmla="*/ 6935299 w 8079933"/>
              <a:gd name="connsiteY8761" fmla="*/ 2786234 h 4687251"/>
              <a:gd name="connsiteX8762" fmla="*/ 6934540 w 8079933"/>
              <a:gd name="connsiteY8762" fmla="*/ 2779196 h 4687251"/>
              <a:gd name="connsiteX8763" fmla="*/ 6932260 w 8079933"/>
              <a:gd name="connsiteY8763" fmla="*/ 2774974 h 4687251"/>
              <a:gd name="connsiteX8764" fmla="*/ 6932586 w 8079933"/>
              <a:gd name="connsiteY8764" fmla="*/ 2768694 h 4687251"/>
              <a:gd name="connsiteX8765" fmla="*/ 6929873 w 8079933"/>
              <a:gd name="connsiteY8765" fmla="*/ 2766204 h 4687251"/>
              <a:gd name="connsiteX8766" fmla="*/ 6927486 w 8079933"/>
              <a:gd name="connsiteY8766" fmla="*/ 2768586 h 4687251"/>
              <a:gd name="connsiteX8767" fmla="*/ 6924556 w 8079933"/>
              <a:gd name="connsiteY8767" fmla="*/ 2765663 h 4687251"/>
              <a:gd name="connsiteX8768" fmla="*/ 6924556 w 8079933"/>
              <a:gd name="connsiteY8768" fmla="*/ 2760790 h 4687251"/>
              <a:gd name="connsiteX8769" fmla="*/ 6922711 w 8079933"/>
              <a:gd name="connsiteY8769" fmla="*/ 2756243 h 4687251"/>
              <a:gd name="connsiteX8770" fmla="*/ 6802691 w 8079933"/>
              <a:gd name="connsiteY8770" fmla="*/ 2755703 h 4687251"/>
              <a:gd name="connsiteX8771" fmla="*/ 6803233 w 8079933"/>
              <a:gd name="connsiteY8771" fmla="*/ 2762632 h 4687251"/>
              <a:gd name="connsiteX8772" fmla="*/ 6802908 w 8079933"/>
              <a:gd name="connsiteY8772" fmla="*/ 2767071 h 4687251"/>
              <a:gd name="connsiteX8773" fmla="*/ 6806272 w 8079933"/>
              <a:gd name="connsiteY8773" fmla="*/ 2771294 h 4687251"/>
              <a:gd name="connsiteX8774" fmla="*/ 6808876 w 8079933"/>
              <a:gd name="connsiteY8774" fmla="*/ 2777140 h 4687251"/>
              <a:gd name="connsiteX8775" fmla="*/ 6806815 w 8079933"/>
              <a:gd name="connsiteY8775" fmla="*/ 2781146 h 4687251"/>
              <a:gd name="connsiteX8776" fmla="*/ 6803016 w 8079933"/>
              <a:gd name="connsiteY8776" fmla="*/ 2781796 h 4687251"/>
              <a:gd name="connsiteX8777" fmla="*/ 6799544 w 8079933"/>
              <a:gd name="connsiteY8777" fmla="*/ 2785260 h 4687251"/>
              <a:gd name="connsiteX8778" fmla="*/ 6797807 w 8079933"/>
              <a:gd name="connsiteY8778" fmla="*/ 2790024 h 4687251"/>
              <a:gd name="connsiteX8779" fmla="*/ 6790646 w 8079933"/>
              <a:gd name="connsiteY8779" fmla="*/ 2790566 h 4687251"/>
              <a:gd name="connsiteX8780" fmla="*/ 6787825 w 8079933"/>
              <a:gd name="connsiteY8780" fmla="*/ 2793814 h 4687251"/>
              <a:gd name="connsiteX8781" fmla="*/ 6787825 w 8079933"/>
              <a:gd name="connsiteY8781" fmla="*/ 2801068 h 4687251"/>
              <a:gd name="connsiteX8782" fmla="*/ 6784569 w 8079933"/>
              <a:gd name="connsiteY8782" fmla="*/ 2804965 h 4687251"/>
              <a:gd name="connsiteX8783" fmla="*/ 6784243 w 8079933"/>
              <a:gd name="connsiteY8783" fmla="*/ 2807455 h 4687251"/>
              <a:gd name="connsiteX8784" fmla="*/ 6780445 w 8079933"/>
              <a:gd name="connsiteY8784" fmla="*/ 2810704 h 4687251"/>
              <a:gd name="connsiteX8785" fmla="*/ 6774911 w 8079933"/>
              <a:gd name="connsiteY8785" fmla="*/ 2812544 h 4687251"/>
              <a:gd name="connsiteX8786" fmla="*/ 6769593 w 8079933"/>
              <a:gd name="connsiteY8786" fmla="*/ 2820665 h 4687251"/>
              <a:gd name="connsiteX8787" fmla="*/ 6764493 w 8079933"/>
              <a:gd name="connsiteY8787" fmla="*/ 2822614 h 4687251"/>
              <a:gd name="connsiteX8788" fmla="*/ 6761347 w 8079933"/>
              <a:gd name="connsiteY8788" fmla="*/ 2825861 h 4687251"/>
              <a:gd name="connsiteX8789" fmla="*/ 6758199 w 8079933"/>
              <a:gd name="connsiteY8789" fmla="*/ 2826403 h 4687251"/>
              <a:gd name="connsiteX8790" fmla="*/ 6753642 w 8079933"/>
              <a:gd name="connsiteY8790" fmla="*/ 2830084 h 4687251"/>
              <a:gd name="connsiteX8791" fmla="*/ 6753099 w 8079933"/>
              <a:gd name="connsiteY8791" fmla="*/ 2828460 h 4687251"/>
              <a:gd name="connsiteX8792" fmla="*/ 6754292 w 8079933"/>
              <a:gd name="connsiteY8792" fmla="*/ 2825970 h 4687251"/>
              <a:gd name="connsiteX8793" fmla="*/ 6761129 w 8079933"/>
              <a:gd name="connsiteY8793" fmla="*/ 2817092 h 4687251"/>
              <a:gd name="connsiteX8794" fmla="*/ 6763951 w 8079933"/>
              <a:gd name="connsiteY8794" fmla="*/ 2816225 h 4687251"/>
              <a:gd name="connsiteX8795" fmla="*/ 6767423 w 8079933"/>
              <a:gd name="connsiteY8795" fmla="*/ 2809621 h 4687251"/>
              <a:gd name="connsiteX8796" fmla="*/ 6771112 w 8079933"/>
              <a:gd name="connsiteY8796" fmla="*/ 2809188 h 4687251"/>
              <a:gd name="connsiteX8797" fmla="*/ 6778057 w 8079933"/>
              <a:gd name="connsiteY8797" fmla="*/ 2802475 h 4687251"/>
              <a:gd name="connsiteX8798" fmla="*/ 6782832 w 8079933"/>
              <a:gd name="connsiteY8798" fmla="*/ 2792298 h 4687251"/>
              <a:gd name="connsiteX8799" fmla="*/ 6787716 w 8079933"/>
              <a:gd name="connsiteY8799" fmla="*/ 2789591 h 4687251"/>
              <a:gd name="connsiteX8800" fmla="*/ 6788042 w 8079933"/>
              <a:gd name="connsiteY8800" fmla="*/ 2785910 h 4687251"/>
              <a:gd name="connsiteX8801" fmla="*/ 6792382 w 8079933"/>
              <a:gd name="connsiteY8801" fmla="*/ 2780929 h 4687251"/>
              <a:gd name="connsiteX8802" fmla="*/ 6795421 w 8079933"/>
              <a:gd name="connsiteY8802" fmla="*/ 2781255 h 4687251"/>
              <a:gd name="connsiteX8803" fmla="*/ 6799436 w 8079933"/>
              <a:gd name="connsiteY8803" fmla="*/ 2776599 h 4687251"/>
              <a:gd name="connsiteX8804" fmla="*/ 6799544 w 8079933"/>
              <a:gd name="connsiteY8804" fmla="*/ 2773243 h 4687251"/>
              <a:gd name="connsiteX8805" fmla="*/ 6796614 w 8079933"/>
              <a:gd name="connsiteY8805" fmla="*/ 2768587 h 4687251"/>
              <a:gd name="connsiteX8806" fmla="*/ 6800303 w 8079933"/>
              <a:gd name="connsiteY8806" fmla="*/ 2770860 h 4687251"/>
              <a:gd name="connsiteX8807" fmla="*/ 6799544 w 8079933"/>
              <a:gd name="connsiteY8807" fmla="*/ 2763931 h 4687251"/>
              <a:gd name="connsiteX8808" fmla="*/ 6800629 w 8079933"/>
              <a:gd name="connsiteY8808" fmla="*/ 2756569 h 4687251"/>
              <a:gd name="connsiteX8809" fmla="*/ 3618483 w 8079933"/>
              <a:gd name="connsiteY8809" fmla="*/ 2754419 h 4687251"/>
              <a:gd name="connsiteX8810" fmla="*/ 3616968 w 8079933"/>
              <a:gd name="connsiteY8810" fmla="*/ 2755594 h 4687251"/>
              <a:gd name="connsiteX8811" fmla="*/ 3608721 w 8079933"/>
              <a:gd name="connsiteY8811" fmla="*/ 2757218 h 4687251"/>
              <a:gd name="connsiteX8812" fmla="*/ 3606141 w 8079933"/>
              <a:gd name="connsiteY8812" fmla="*/ 2758702 h 4687251"/>
              <a:gd name="connsiteX8813" fmla="*/ 3608721 w 8079933"/>
              <a:gd name="connsiteY8813" fmla="*/ 2757218 h 4687251"/>
              <a:gd name="connsiteX8814" fmla="*/ 3616968 w 8079933"/>
              <a:gd name="connsiteY8814" fmla="*/ 2755594 h 4687251"/>
              <a:gd name="connsiteX8815" fmla="*/ 6150615 w 8079933"/>
              <a:gd name="connsiteY8815" fmla="*/ 2754294 h 4687251"/>
              <a:gd name="connsiteX8816" fmla="*/ 6152568 w 8079933"/>
              <a:gd name="connsiteY8816" fmla="*/ 2757542 h 4687251"/>
              <a:gd name="connsiteX8817" fmla="*/ 6147142 w 8079933"/>
              <a:gd name="connsiteY8817" fmla="*/ 2756135 h 4687251"/>
              <a:gd name="connsiteX8818" fmla="*/ 4285567 w 8079933"/>
              <a:gd name="connsiteY8818" fmla="*/ 2751773 h 4687251"/>
              <a:gd name="connsiteX8819" fmla="*/ 4286623 w 8079933"/>
              <a:gd name="connsiteY8819" fmla="*/ 2755594 h 4687251"/>
              <a:gd name="connsiteX8820" fmla="*/ 4286190 w 8079933"/>
              <a:gd name="connsiteY8820" fmla="*/ 2758625 h 4687251"/>
              <a:gd name="connsiteX8821" fmla="*/ 4280655 w 8079933"/>
              <a:gd name="connsiteY8821" fmla="*/ 2761116 h 4687251"/>
              <a:gd name="connsiteX8822" fmla="*/ 4277400 w 8079933"/>
              <a:gd name="connsiteY8822" fmla="*/ 2764689 h 4687251"/>
              <a:gd name="connsiteX8823" fmla="*/ 4274687 w 8079933"/>
              <a:gd name="connsiteY8823" fmla="*/ 2764580 h 4687251"/>
              <a:gd name="connsiteX8824" fmla="*/ 4270129 w 8079933"/>
              <a:gd name="connsiteY8824" fmla="*/ 2768154 h 4687251"/>
              <a:gd name="connsiteX8825" fmla="*/ 4269369 w 8079933"/>
              <a:gd name="connsiteY8825" fmla="*/ 2770211 h 4687251"/>
              <a:gd name="connsiteX8826" fmla="*/ 4266873 w 8079933"/>
              <a:gd name="connsiteY8826" fmla="*/ 2772376 h 4687251"/>
              <a:gd name="connsiteX8827" fmla="*/ 4262967 w 8079933"/>
              <a:gd name="connsiteY8827" fmla="*/ 2780387 h 4687251"/>
              <a:gd name="connsiteX8828" fmla="*/ 4260254 w 8079933"/>
              <a:gd name="connsiteY8828" fmla="*/ 2784935 h 4687251"/>
              <a:gd name="connsiteX8829" fmla="*/ 4260905 w 8079933"/>
              <a:gd name="connsiteY8829" fmla="*/ 2788617 h 4687251"/>
              <a:gd name="connsiteX8830" fmla="*/ 4260255 w 8079933"/>
              <a:gd name="connsiteY8830" fmla="*/ 2784936 h 4687251"/>
              <a:gd name="connsiteX8831" fmla="*/ 4262968 w 8079933"/>
              <a:gd name="connsiteY8831" fmla="*/ 2780388 h 4687251"/>
              <a:gd name="connsiteX8832" fmla="*/ 4266875 w 8079933"/>
              <a:gd name="connsiteY8832" fmla="*/ 2772376 h 4687251"/>
              <a:gd name="connsiteX8833" fmla="*/ 4269370 w 8079933"/>
              <a:gd name="connsiteY8833" fmla="*/ 2770211 h 4687251"/>
              <a:gd name="connsiteX8834" fmla="*/ 4270129 w 8079933"/>
              <a:gd name="connsiteY8834" fmla="*/ 2768154 h 4687251"/>
              <a:gd name="connsiteX8835" fmla="*/ 4274687 w 8079933"/>
              <a:gd name="connsiteY8835" fmla="*/ 2764581 h 4687251"/>
              <a:gd name="connsiteX8836" fmla="*/ 4277401 w 8079933"/>
              <a:gd name="connsiteY8836" fmla="*/ 2764689 h 4687251"/>
              <a:gd name="connsiteX8837" fmla="*/ 4280655 w 8079933"/>
              <a:gd name="connsiteY8837" fmla="*/ 2761116 h 4687251"/>
              <a:gd name="connsiteX8838" fmla="*/ 4286190 w 8079933"/>
              <a:gd name="connsiteY8838" fmla="*/ 2758626 h 4687251"/>
              <a:gd name="connsiteX8839" fmla="*/ 4286624 w 8079933"/>
              <a:gd name="connsiteY8839" fmla="*/ 2755594 h 4687251"/>
              <a:gd name="connsiteX8840" fmla="*/ 3823257 w 8079933"/>
              <a:gd name="connsiteY8840" fmla="*/ 2749639 h 4687251"/>
              <a:gd name="connsiteX8841" fmla="*/ 3823257 w 8079933"/>
              <a:gd name="connsiteY8841" fmla="*/ 2749639 h 4687251"/>
              <a:gd name="connsiteX8842" fmla="*/ 3824885 w 8079933"/>
              <a:gd name="connsiteY8842" fmla="*/ 2753970 h 4687251"/>
              <a:gd name="connsiteX8843" fmla="*/ 3825535 w 8079933"/>
              <a:gd name="connsiteY8843" fmla="*/ 2760899 h 4687251"/>
              <a:gd name="connsiteX8844" fmla="*/ 3825537 w 8079933"/>
              <a:gd name="connsiteY8844" fmla="*/ 2760898 h 4687251"/>
              <a:gd name="connsiteX8845" fmla="*/ 3824885 w 8079933"/>
              <a:gd name="connsiteY8845" fmla="*/ 2753969 h 4687251"/>
              <a:gd name="connsiteX8846" fmla="*/ 4032349 w 8079933"/>
              <a:gd name="connsiteY8846" fmla="*/ 2749590 h 4687251"/>
              <a:gd name="connsiteX8847" fmla="*/ 4032152 w 8079933"/>
              <a:gd name="connsiteY8847" fmla="*/ 2749748 h 4687251"/>
              <a:gd name="connsiteX8848" fmla="*/ 4031067 w 8079933"/>
              <a:gd name="connsiteY8848" fmla="*/ 2754728 h 4687251"/>
              <a:gd name="connsiteX8849" fmla="*/ 4032152 w 8079933"/>
              <a:gd name="connsiteY8849" fmla="*/ 2758517 h 4687251"/>
              <a:gd name="connsiteX8850" fmla="*/ 4038663 w 8079933"/>
              <a:gd name="connsiteY8850" fmla="*/ 2763715 h 4687251"/>
              <a:gd name="connsiteX8851" fmla="*/ 4038771 w 8079933"/>
              <a:gd name="connsiteY8851" fmla="*/ 2769561 h 4687251"/>
              <a:gd name="connsiteX8852" fmla="*/ 4041159 w 8079933"/>
              <a:gd name="connsiteY8852" fmla="*/ 2778115 h 4687251"/>
              <a:gd name="connsiteX8853" fmla="*/ 4040291 w 8079933"/>
              <a:gd name="connsiteY8853" fmla="*/ 2780821 h 4687251"/>
              <a:gd name="connsiteX8854" fmla="*/ 4039694 w 8079933"/>
              <a:gd name="connsiteY8854" fmla="*/ 2780858 h 4687251"/>
              <a:gd name="connsiteX8855" fmla="*/ 4040292 w 8079933"/>
              <a:gd name="connsiteY8855" fmla="*/ 2780821 h 4687251"/>
              <a:gd name="connsiteX8856" fmla="*/ 4041160 w 8079933"/>
              <a:gd name="connsiteY8856" fmla="*/ 2778114 h 4687251"/>
              <a:gd name="connsiteX8857" fmla="*/ 4038772 w 8079933"/>
              <a:gd name="connsiteY8857" fmla="*/ 2769561 h 4687251"/>
              <a:gd name="connsiteX8858" fmla="*/ 4038664 w 8079933"/>
              <a:gd name="connsiteY8858" fmla="*/ 2763714 h 4687251"/>
              <a:gd name="connsiteX8859" fmla="*/ 4032153 w 8079933"/>
              <a:gd name="connsiteY8859" fmla="*/ 2758517 h 4687251"/>
              <a:gd name="connsiteX8860" fmla="*/ 4031068 w 8079933"/>
              <a:gd name="connsiteY8860" fmla="*/ 2754728 h 4687251"/>
              <a:gd name="connsiteX8861" fmla="*/ 4032153 w 8079933"/>
              <a:gd name="connsiteY8861" fmla="*/ 2749748 h 4687251"/>
              <a:gd name="connsiteX8862" fmla="*/ 6929113 w 8079933"/>
              <a:gd name="connsiteY8862" fmla="*/ 2748990 h 4687251"/>
              <a:gd name="connsiteX8863" fmla="*/ 6928136 w 8079933"/>
              <a:gd name="connsiteY8863" fmla="*/ 2753537 h 4687251"/>
              <a:gd name="connsiteX8864" fmla="*/ 6924446 w 8079933"/>
              <a:gd name="connsiteY8864" fmla="*/ 2753970 h 4687251"/>
              <a:gd name="connsiteX8865" fmla="*/ 6920974 w 8079933"/>
              <a:gd name="connsiteY8865" fmla="*/ 2751696 h 4687251"/>
              <a:gd name="connsiteX8866" fmla="*/ 6923470 w 8079933"/>
              <a:gd name="connsiteY8866" fmla="*/ 2749856 h 4687251"/>
              <a:gd name="connsiteX8867" fmla="*/ 3996234 w 8079933"/>
              <a:gd name="connsiteY8867" fmla="*/ 2747798 h 4687251"/>
              <a:gd name="connsiteX8868" fmla="*/ 3992110 w 8079933"/>
              <a:gd name="connsiteY8868" fmla="*/ 2748014 h 4687251"/>
              <a:gd name="connsiteX8869" fmla="*/ 3984514 w 8079933"/>
              <a:gd name="connsiteY8869" fmla="*/ 2751912 h 4687251"/>
              <a:gd name="connsiteX8870" fmla="*/ 3982018 w 8079933"/>
              <a:gd name="connsiteY8870" fmla="*/ 2750721 h 4687251"/>
              <a:gd name="connsiteX8871" fmla="*/ 3977135 w 8079933"/>
              <a:gd name="connsiteY8871" fmla="*/ 2753104 h 4687251"/>
              <a:gd name="connsiteX8872" fmla="*/ 3982018 w 8079933"/>
              <a:gd name="connsiteY8872" fmla="*/ 2750722 h 4687251"/>
              <a:gd name="connsiteX8873" fmla="*/ 3984513 w 8079933"/>
              <a:gd name="connsiteY8873" fmla="*/ 2751913 h 4687251"/>
              <a:gd name="connsiteX8874" fmla="*/ 3992109 w 8079933"/>
              <a:gd name="connsiteY8874" fmla="*/ 2748015 h 4687251"/>
              <a:gd name="connsiteX8875" fmla="*/ 3996233 w 8079933"/>
              <a:gd name="connsiteY8875" fmla="*/ 2747799 h 4687251"/>
              <a:gd name="connsiteX8876" fmla="*/ 2255234 w 8079933"/>
              <a:gd name="connsiteY8876" fmla="*/ 2747484 h 4687251"/>
              <a:gd name="connsiteX8877" fmla="*/ 2254976 w 8079933"/>
              <a:gd name="connsiteY8877" fmla="*/ 2747690 h 4687251"/>
              <a:gd name="connsiteX8878" fmla="*/ 2242713 w 8079933"/>
              <a:gd name="connsiteY8878" fmla="*/ 2752454 h 4687251"/>
              <a:gd name="connsiteX8879" fmla="*/ 2236735 w 8079933"/>
              <a:gd name="connsiteY8879" fmla="*/ 2761672 h 4687251"/>
              <a:gd name="connsiteX8880" fmla="*/ 2242713 w 8079933"/>
              <a:gd name="connsiteY8880" fmla="*/ 2752454 h 4687251"/>
              <a:gd name="connsiteX8881" fmla="*/ 2254975 w 8079933"/>
              <a:gd name="connsiteY8881" fmla="*/ 2747690 h 4687251"/>
              <a:gd name="connsiteX8882" fmla="*/ 6484519 w 8079933"/>
              <a:gd name="connsiteY8882" fmla="*/ 2746283 h 4687251"/>
              <a:gd name="connsiteX8883" fmla="*/ 6479745 w 8079933"/>
              <a:gd name="connsiteY8883" fmla="*/ 2749747 h 4687251"/>
              <a:gd name="connsiteX8884" fmla="*/ 6480722 w 8079933"/>
              <a:gd name="connsiteY8884" fmla="*/ 2758192 h 4687251"/>
              <a:gd name="connsiteX8885" fmla="*/ 6486039 w 8079933"/>
              <a:gd name="connsiteY8885" fmla="*/ 2759708 h 4687251"/>
              <a:gd name="connsiteX8886" fmla="*/ 6490379 w 8079933"/>
              <a:gd name="connsiteY8886" fmla="*/ 2764147 h 4687251"/>
              <a:gd name="connsiteX8887" fmla="*/ 6489511 w 8079933"/>
              <a:gd name="connsiteY8887" fmla="*/ 2767395 h 4687251"/>
              <a:gd name="connsiteX8888" fmla="*/ 6491790 w 8079933"/>
              <a:gd name="connsiteY8888" fmla="*/ 2772376 h 4687251"/>
              <a:gd name="connsiteX8889" fmla="*/ 6484195 w 8079933"/>
              <a:gd name="connsiteY8889" fmla="*/ 2772917 h 4687251"/>
              <a:gd name="connsiteX8890" fmla="*/ 6484195 w 8079933"/>
              <a:gd name="connsiteY8890" fmla="*/ 2772917 h 4687251"/>
              <a:gd name="connsiteX8891" fmla="*/ 6491791 w 8079933"/>
              <a:gd name="connsiteY8891" fmla="*/ 2772376 h 4687251"/>
              <a:gd name="connsiteX8892" fmla="*/ 6489512 w 8079933"/>
              <a:gd name="connsiteY8892" fmla="*/ 2767396 h 4687251"/>
              <a:gd name="connsiteX8893" fmla="*/ 6490380 w 8079933"/>
              <a:gd name="connsiteY8893" fmla="*/ 2764147 h 4687251"/>
              <a:gd name="connsiteX8894" fmla="*/ 6486040 w 8079933"/>
              <a:gd name="connsiteY8894" fmla="*/ 2759708 h 4687251"/>
              <a:gd name="connsiteX8895" fmla="*/ 6480723 w 8079933"/>
              <a:gd name="connsiteY8895" fmla="*/ 2758192 h 4687251"/>
              <a:gd name="connsiteX8896" fmla="*/ 6479745 w 8079933"/>
              <a:gd name="connsiteY8896" fmla="*/ 2749747 h 4687251"/>
              <a:gd name="connsiteX8897" fmla="*/ 6484520 w 8079933"/>
              <a:gd name="connsiteY8897" fmla="*/ 2746283 h 4687251"/>
              <a:gd name="connsiteX8898" fmla="*/ 4295400 w 8079933"/>
              <a:gd name="connsiteY8898" fmla="*/ 2744454 h 4687251"/>
              <a:gd name="connsiteX8899" fmla="*/ 4295522 w 8079933"/>
              <a:gd name="connsiteY8899" fmla="*/ 2744984 h 4687251"/>
              <a:gd name="connsiteX8900" fmla="*/ 4296177 w 8079933"/>
              <a:gd name="connsiteY8900" fmla="*/ 2746491 h 4687251"/>
              <a:gd name="connsiteX8901" fmla="*/ 4295522 w 8079933"/>
              <a:gd name="connsiteY8901" fmla="*/ 2744983 h 4687251"/>
              <a:gd name="connsiteX8902" fmla="*/ 4283680 w 8079933"/>
              <a:gd name="connsiteY8902" fmla="*/ 2744278 h 4687251"/>
              <a:gd name="connsiteX8903" fmla="*/ 4284670 w 8079933"/>
              <a:gd name="connsiteY8903" fmla="*/ 2746716 h 4687251"/>
              <a:gd name="connsiteX8904" fmla="*/ 4284852 w 8079933"/>
              <a:gd name="connsiteY8904" fmla="*/ 2748881 h 4687251"/>
              <a:gd name="connsiteX8905" fmla="*/ 4284671 w 8079933"/>
              <a:gd name="connsiteY8905" fmla="*/ 2746716 h 4687251"/>
              <a:gd name="connsiteX8906" fmla="*/ 4472929 w 8079933"/>
              <a:gd name="connsiteY8906" fmla="*/ 2741501 h 4687251"/>
              <a:gd name="connsiteX8907" fmla="*/ 4473598 w 8079933"/>
              <a:gd name="connsiteY8907" fmla="*/ 2742710 h 4687251"/>
              <a:gd name="connsiteX8908" fmla="*/ 4473923 w 8079933"/>
              <a:gd name="connsiteY8908" fmla="*/ 2748881 h 4687251"/>
              <a:gd name="connsiteX8909" fmla="*/ 4474328 w 8079933"/>
              <a:gd name="connsiteY8909" fmla="*/ 2751053 h 4687251"/>
              <a:gd name="connsiteX8910" fmla="*/ 4473923 w 8079933"/>
              <a:gd name="connsiteY8910" fmla="*/ 2748880 h 4687251"/>
              <a:gd name="connsiteX8911" fmla="*/ 4473598 w 8079933"/>
              <a:gd name="connsiteY8911" fmla="*/ 2742709 h 4687251"/>
              <a:gd name="connsiteX8912" fmla="*/ 6808878 w 8079933"/>
              <a:gd name="connsiteY8912" fmla="*/ 2740978 h 4687251"/>
              <a:gd name="connsiteX8913" fmla="*/ 6813761 w 8079933"/>
              <a:gd name="connsiteY8913" fmla="*/ 2742277 h 4687251"/>
              <a:gd name="connsiteX8914" fmla="*/ 6815280 w 8079933"/>
              <a:gd name="connsiteY8914" fmla="*/ 2745850 h 4687251"/>
              <a:gd name="connsiteX8915" fmla="*/ 6813544 w 8079933"/>
              <a:gd name="connsiteY8915" fmla="*/ 2747041 h 4687251"/>
              <a:gd name="connsiteX8916" fmla="*/ 6811916 w 8079933"/>
              <a:gd name="connsiteY8916" fmla="*/ 2749206 h 4687251"/>
              <a:gd name="connsiteX8917" fmla="*/ 6809746 w 8079933"/>
              <a:gd name="connsiteY8917" fmla="*/ 2749206 h 4687251"/>
              <a:gd name="connsiteX8918" fmla="*/ 6808335 w 8079933"/>
              <a:gd name="connsiteY8918" fmla="*/ 2743793 h 4687251"/>
              <a:gd name="connsiteX8919" fmla="*/ 5191219 w 8079933"/>
              <a:gd name="connsiteY8919" fmla="*/ 2740870 h 4687251"/>
              <a:gd name="connsiteX8920" fmla="*/ 5197513 w 8079933"/>
              <a:gd name="connsiteY8920" fmla="*/ 2742710 h 4687251"/>
              <a:gd name="connsiteX8921" fmla="*/ 5192413 w 8079933"/>
              <a:gd name="connsiteY8921" fmla="*/ 2743468 h 4687251"/>
              <a:gd name="connsiteX8922" fmla="*/ 5186227 w 8079933"/>
              <a:gd name="connsiteY8922" fmla="*/ 2742494 h 4687251"/>
              <a:gd name="connsiteX8923" fmla="*/ 6866607 w 8079933"/>
              <a:gd name="connsiteY8923" fmla="*/ 2740762 h 4687251"/>
              <a:gd name="connsiteX8924" fmla="*/ 6871165 w 8079933"/>
              <a:gd name="connsiteY8924" fmla="*/ 2745309 h 4687251"/>
              <a:gd name="connsiteX8925" fmla="*/ 6874637 w 8079933"/>
              <a:gd name="connsiteY8925" fmla="*/ 2746825 h 4687251"/>
              <a:gd name="connsiteX8926" fmla="*/ 6873769 w 8079933"/>
              <a:gd name="connsiteY8926" fmla="*/ 2748666 h 4687251"/>
              <a:gd name="connsiteX8927" fmla="*/ 6876373 w 8079933"/>
              <a:gd name="connsiteY8927" fmla="*/ 2748990 h 4687251"/>
              <a:gd name="connsiteX8928" fmla="*/ 6881366 w 8079933"/>
              <a:gd name="connsiteY8928" fmla="*/ 2748557 h 4687251"/>
              <a:gd name="connsiteX8929" fmla="*/ 6884729 w 8079933"/>
              <a:gd name="connsiteY8929" fmla="*/ 2749532 h 4687251"/>
              <a:gd name="connsiteX8930" fmla="*/ 6887551 w 8079933"/>
              <a:gd name="connsiteY8930" fmla="*/ 2753971 h 4687251"/>
              <a:gd name="connsiteX8931" fmla="*/ 6890698 w 8079933"/>
              <a:gd name="connsiteY8931" fmla="*/ 2750073 h 4687251"/>
              <a:gd name="connsiteX8932" fmla="*/ 6893519 w 8079933"/>
              <a:gd name="connsiteY8932" fmla="*/ 2748233 h 4687251"/>
              <a:gd name="connsiteX8933" fmla="*/ 6895690 w 8079933"/>
              <a:gd name="connsiteY8933" fmla="*/ 2751697 h 4687251"/>
              <a:gd name="connsiteX8934" fmla="*/ 6894930 w 8079933"/>
              <a:gd name="connsiteY8934" fmla="*/ 2755703 h 4687251"/>
              <a:gd name="connsiteX8935" fmla="*/ 6892325 w 8079933"/>
              <a:gd name="connsiteY8935" fmla="*/ 2757760 h 4687251"/>
              <a:gd name="connsiteX8936" fmla="*/ 6890046 w 8079933"/>
              <a:gd name="connsiteY8936" fmla="*/ 2762849 h 4687251"/>
              <a:gd name="connsiteX8937" fmla="*/ 6884296 w 8079933"/>
              <a:gd name="connsiteY8937" fmla="*/ 2767505 h 4687251"/>
              <a:gd name="connsiteX8938" fmla="*/ 6882450 w 8079933"/>
              <a:gd name="connsiteY8938" fmla="*/ 2770753 h 4687251"/>
              <a:gd name="connsiteX8939" fmla="*/ 6879846 w 8079933"/>
              <a:gd name="connsiteY8939" fmla="*/ 2770753 h 4687251"/>
              <a:gd name="connsiteX8940" fmla="*/ 6879304 w 8079933"/>
              <a:gd name="connsiteY8940" fmla="*/ 2772269 h 4687251"/>
              <a:gd name="connsiteX8941" fmla="*/ 6876157 w 8079933"/>
              <a:gd name="connsiteY8941" fmla="*/ 2772161 h 4687251"/>
              <a:gd name="connsiteX8942" fmla="*/ 6870839 w 8079933"/>
              <a:gd name="connsiteY8942" fmla="*/ 2775517 h 4687251"/>
              <a:gd name="connsiteX8943" fmla="*/ 6869320 w 8079933"/>
              <a:gd name="connsiteY8943" fmla="*/ 2777466 h 4687251"/>
              <a:gd name="connsiteX8944" fmla="*/ 6867150 w 8079933"/>
              <a:gd name="connsiteY8944" fmla="*/ 2778332 h 4687251"/>
              <a:gd name="connsiteX8945" fmla="*/ 6865305 w 8079933"/>
              <a:gd name="connsiteY8945" fmla="*/ 2770320 h 4687251"/>
              <a:gd name="connsiteX8946" fmla="*/ 6867041 w 8079933"/>
              <a:gd name="connsiteY8946" fmla="*/ 2764582 h 4687251"/>
              <a:gd name="connsiteX8947" fmla="*/ 6866824 w 8079933"/>
              <a:gd name="connsiteY8947" fmla="*/ 2756461 h 4687251"/>
              <a:gd name="connsiteX8948" fmla="*/ 6867800 w 8079933"/>
              <a:gd name="connsiteY8948" fmla="*/ 2752022 h 4687251"/>
              <a:gd name="connsiteX8949" fmla="*/ 6867909 w 8079933"/>
              <a:gd name="connsiteY8949" fmla="*/ 2747366 h 4687251"/>
              <a:gd name="connsiteX8950" fmla="*/ 6865630 w 8079933"/>
              <a:gd name="connsiteY8950" fmla="*/ 2746825 h 4687251"/>
              <a:gd name="connsiteX8951" fmla="*/ 6860747 w 8079933"/>
              <a:gd name="connsiteY8951" fmla="*/ 2744984 h 4687251"/>
              <a:gd name="connsiteX8952" fmla="*/ 6861615 w 8079933"/>
              <a:gd name="connsiteY8952" fmla="*/ 2742061 h 4687251"/>
              <a:gd name="connsiteX8953" fmla="*/ 6323999 w 8079933"/>
              <a:gd name="connsiteY8953" fmla="*/ 2740336 h 4687251"/>
              <a:gd name="connsiteX8954" fmla="*/ 6325001 w 8079933"/>
              <a:gd name="connsiteY8954" fmla="*/ 2742060 h 4687251"/>
              <a:gd name="connsiteX8955" fmla="*/ 6325001 w 8079933"/>
              <a:gd name="connsiteY8955" fmla="*/ 2742060 h 4687251"/>
              <a:gd name="connsiteX8956" fmla="*/ 3691409 w 8079933"/>
              <a:gd name="connsiteY8956" fmla="*/ 2740219 h 4687251"/>
              <a:gd name="connsiteX8957" fmla="*/ 3686092 w 8079933"/>
              <a:gd name="connsiteY8957" fmla="*/ 2742493 h 4687251"/>
              <a:gd name="connsiteX8958" fmla="*/ 3686093 w 8079933"/>
              <a:gd name="connsiteY8958" fmla="*/ 2742493 h 4687251"/>
              <a:gd name="connsiteX8959" fmla="*/ 3691410 w 8079933"/>
              <a:gd name="connsiteY8959" fmla="*/ 2740220 h 4687251"/>
              <a:gd name="connsiteX8960" fmla="*/ 2490782 w 8079933"/>
              <a:gd name="connsiteY8960" fmla="*/ 2738813 h 4687251"/>
              <a:gd name="connsiteX8961" fmla="*/ 2492736 w 8079933"/>
              <a:gd name="connsiteY8961" fmla="*/ 2741736 h 4687251"/>
              <a:gd name="connsiteX8962" fmla="*/ 2489805 w 8079933"/>
              <a:gd name="connsiteY8962" fmla="*/ 2745742 h 4687251"/>
              <a:gd name="connsiteX8963" fmla="*/ 2484054 w 8079933"/>
              <a:gd name="connsiteY8963" fmla="*/ 2745525 h 4687251"/>
              <a:gd name="connsiteX8964" fmla="*/ 2485790 w 8079933"/>
              <a:gd name="connsiteY8964" fmla="*/ 2739895 h 4687251"/>
              <a:gd name="connsiteX8965" fmla="*/ 6387941 w 8079933"/>
              <a:gd name="connsiteY8965" fmla="*/ 2737188 h 4687251"/>
              <a:gd name="connsiteX8966" fmla="*/ 6394236 w 8079933"/>
              <a:gd name="connsiteY8966" fmla="*/ 2743576 h 4687251"/>
              <a:gd name="connsiteX8967" fmla="*/ 6391740 w 8079933"/>
              <a:gd name="connsiteY8967" fmla="*/ 2744117 h 4687251"/>
              <a:gd name="connsiteX8968" fmla="*/ 6388375 w 8079933"/>
              <a:gd name="connsiteY8968" fmla="*/ 2741302 h 4687251"/>
              <a:gd name="connsiteX8969" fmla="*/ 4959535 w 8079933"/>
              <a:gd name="connsiteY8969" fmla="*/ 2737188 h 4687251"/>
              <a:gd name="connsiteX8970" fmla="*/ 4955467 w 8079933"/>
              <a:gd name="connsiteY8970" fmla="*/ 2738348 h 4687251"/>
              <a:gd name="connsiteX8971" fmla="*/ 4955221 w 8079933"/>
              <a:gd name="connsiteY8971" fmla="*/ 2738418 h 4687251"/>
              <a:gd name="connsiteX8972" fmla="*/ 4955130 w 8079933"/>
              <a:gd name="connsiteY8972" fmla="*/ 2738444 h 4687251"/>
              <a:gd name="connsiteX8973" fmla="*/ 4954219 w 8079933"/>
              <a:gd name="connsiteY8973" fmla="*/ 2738703 h 4687251"/>
              <a:gd name="connsiteX8974" fmla="*/ 4954219 w 8079933"/>
              <a:gd name="connsiteY8974" fmla="*/ 2738704 h 4687251"/>
              <a:gd name="connsiteX8975" fmla="*/ 4955130 w 8079933"/>
              <a:gd name="connsiteY8975" fmla="*/ 2738444 h 4687251"/>
              <a:gd name="connsiteX8976" fmla="*/ 4955467 w 8079933"/>
              <a:gd name="connsiteY8976" fmla="*/ 2738348 h 4687251"/>
              <a:gd name="connsiteX8977" fmla="*/ 4959535 w 8079933"/>
              <a:gd name="connsiteY8977" fmla="*/ 2737188 h 4687251"/>
              <a:gd name="connsiteX8978" fmla="*/ 2328875 w 8079933"/>
              <a:gd name="connsiteY8978" fmla="*/ 2736431 h 4687251"/>
              <a:gd name="connsiteX8979" fmla="*/ 2333324 w 8079933"/>
              <a:gd name="connsiteY8979" fmla="*/ 2740870 h 4687251"/>
              <a:gd name="connsiteX8980" fmla="*/ 2332348 w 8079933"/>
              <a:gd name="connsiteY8980" fmla="*/ 2744876 h 4687251"/>
              <a:gd name="connsiteX8981" fmla="*/ 2329526 w 8079933"/>
              <a:gd name="connsiteY8981" fmla="*/ 2741303 h 4687251"/>
              <a:gd name="connsiteX8982" fmla="*/ 2326271 w 8079933"/>
              <a:gd name="connsiteY8982" fmla="*/ 2740761 h 4687251"/>
              <a:gd name="connsiteX8983" fmla="*/ 2324209 w 8079933"/>
              <a:gd name="connsiteY8983" fmla="*/ 2736756 h 4687251"/>
              <a:gd name="connsiteX8984" fmla="*/ 6165591 w 8079933"/>
              <a:gd name="connsiteY8984" fmla="*/ 2736214 h 4687251"/>
              <a:gd name="connsiteX8985" fmla="*/ 6165591 w 8079933"/>
              <a:gd name="connsiteY8985" fmla="*/ 2738487 h 4687251"/>
              <a:gd name="connsiteX8986" fmla="*/ 6162878 w 8079933"/>
              <a:gd name="connsiteY8986" fmla="*/ 2740869 h 4687251"/>
              <a:gd name="connsiteX8987" fmla="*/ 6161250 w 8079933"/>
              <a:gd name="connsiteY8987" fmla="*/ 2746066 h 4687251"/>
              <a:gd name="connsiteX8988" fmla="*/ 6162986 w 8079933"/>
              <a:gd name="connsiteY8988" fmla="*/ 2749098 h 4687251"/>
              <a:gd name="connsiteX8989" fmla="*/ 6163529 w 8079933"/>
              <a:gd name="connsiteY8989" fmla="*/ 2753537 h 4687251"/>
              <a:gd name="connsiteX8990" fmla="*/ 6160056 w 8079933"/>
              <a:gd name="connsiteY8990" fmla="*/ 2761116 h 4687251"/>
              <a:gd name="connsiteX8991" fmla="*/ 6158753 w 8079933"/>
              <a:gd name="connsiteY8991" fmla="*/ 2757868 h 4687251"/>
              <a:gd name="connsiteX8992" fmla="*/ 6160056 w 8079933"/>
              <a:gd name="connsiteY8992" fmla="*/ 2753970 h 4687251"/>
              <a:gd name="connsiteX8993" fmla="*/ 6157560 w 8079933"/>
              <a:gd name="connsiteY8993" fmla="*/ 2748448 h 4687251"/>
              <a:gd name="connsiteX8994" fmla="*/ 6159080 w 8079933"/>
              <a:gd name="connsiteY8994" fmla="*/ 2745308 h 4687251"/>
              <a:gd name="connsiteX8995" fmla="*/ 6159080 w 8079933"/>
              <a:gd name="connsiteY8995" fmla="*/ 2738487 h 4687251"/>
              <a:gd name="connsiteX8996" fmla="*/ 4008387 w 8079933"/>
              <a:gd name="connsiteY8996" fmla="*/ 2736105 h 4687251"/>
              <a:gd name="connsiteX8997" fmla="*/ 4004046 w 8079933"/>
              <a:gd name="connsiteY8997" fmla="*/ 2737512 h 4687251"/>
              <a:gd name="connsiteX8998" fmla="*/ 4001551 w 8079933"/>
              <a:gd name="connsiteY8998" fmla="*/ 2737729 h 4687251"/>
              <a:gd name="connsiteX8999" fmla="*/ 4001551 w 8079933"/>
              <a:gd name="connsiteY8999" fmla="*/ 2737730 h 4687251"/>
              <a:gd name="connsiteX9000" fmla="*/ 4004046 w 8079933"/>
              <a:gd name="connsiteY9000" fmla="*/ 2737513 h 4687251"/>
              <a:gd name="connsiteX9001" fmla="*/ 4008387 w 8079933"/>
              <a:gd name="connsiteY9001" fmla="*/ 2736106 h 4687251"/>
              <a:gd name="connsiteX9002" fmla="*/ 2308365 w 8079933"/>
              <a:gd name="connsiteY9002" fmla="*/ 2734698 h 4687251"/>
              <a:gd name="connsiteX9003" fmla="*/ 2312815 w 8079933"/>
              <a:gd name="connsiteY9003" fmla="*/ 2739894 h 4687251"/>
              <a:gd name="connsiteX9004" fmla="*/ 2316938 w 8079933"/>
              <a:gd name="connsiteY9004" fmla="*/ 2740328 h 4687251"/>
              <a:gd name="connsiteX9005" fmla="*/ 2314551 w 8079933"/>
              <a:gd name="connsiteY9005" fmla="*/ 2742926 h 4687251"/>
              <a:gd name="connsiteX9006" fmla="*/ 2309234 w 8079933"/>
              <a:gd name="connsiteY9006" fmla="*/ 2741735 h 4687251"/>
              <a:gd name="connsiteX9007" fmla="*/ 2306955 w 8079933"/>
              <a:gd name="connsiteY9007" fmla="*/ 2737080 h 4687251"/>
              <a:gd name="connsiteX9008" fmla="*/ 3723096 w 8079933"/>
              <a:gd name="connsiteY9008" fmla="*/ 2734698 h 4687251"/>
              <a:gd name="connsiteX9009" fmla="*/ 3718538 w 8079933"/>
              <a:gd name="connsiteY9009" fmla="*/ 2734915 h 4687251"/>
              <a:gd name="connsiteX9010" fmla="*/ 3713872 w 8079933"/>
              <a:gd name="connsiteY9010" fmla="*/ 2741627 h 4687251"/>
              <a:gd name="connsiteX9011" fmla="*/ 3710725 w 8079933"/>
              <a:gd name="connsiteY9011" fmla="*/ 2741844 h 4687251"/>
              <a:gd name="connsiteX9012" fmla="*/ 3705842 w 8079933"/>
              <a:gd name="connsiteY9012" fmla="*/ 2745309 h 4687251"/>
              <a:gd name="connsiteX9013" fmla="*/ 3705843 w 8079933"/>
              <a:gd name="connsiteY9013" fmla="*/ 2745309 h 4687251"/>
              <a:gd name="connsiteX9014" fmla="*/ 3710726 w 8079933"/>
              <a:gd name="connsiteY9014" fmla="*/ 2741844 h 4687251"/>
              <a:gd name="connsiteX9015" fmla="*/ 3713873 w 8079933"/>
              <a:gd name="connsiteY9015" fmla="*/ 2741627 h 4687251"/>
              <a:gd name="connsiteX9016" fmla="*/ 3718539 w 8079933"/>
              <a:gd name="connsiteY9016" fmla="*/ 2734915 h 4687251"/>
              <a:gd name="connsiteX9017" fmla="*/ 3723097 w 8079933"/>
              <a:gd name="connsiteY9017" fmla="*/ 2734698 h 4687251"/>
              <a:gd name="connsiteX9018" fmla="*/ 3725779 w 8079933"/>
              <a:gd name="connsiteY9018" fmla="*/ 2735877 h 4687251"/>
              <a:gd name="connsiteX9019" fmla="*/ 3736010 w 8079933"/>
              <a:gd name="connsiteY9019" fmla="*/ 2734265 h 4687251"/>
              <a:gd name="connsiteX9020" fmla="*/ 3731669 w 8079933"/>
              <a:gd name="connsiteY9020" fmla="*/ 2735672 h 4687251"/>
              <a:gd name="connsiteX9021" fmla="*/ 3729499 w 8079933"/>
              <a:gd name="connsiteY9021" fmla="*/ 2737513 h 4687251"/>
              <a:gd name="connsiteX9022" fmla="*/ 3729499 w 8079933"/>
              <a:gd name="connsiteY9022" fmla="*/ 2737513 h 4687251"/>
              <a:gd name="connsiteX9023" fmla="*/ 3731670 w 8079933"/>
              <a:gd name="connsiteY9023" fmla="*/ 2735672 h 4687251"/>
              <a:gd name="connsiteX9024" fmla="*/ 3736010 w 8079933"/>
              <a:gd name="connsiteY9024" fmla="*/ 2734265 h 4687251"/>
              <a:gd name="connsiteX9025" fmla="*/ 3671010 w 8079933"/>
              <a:gd name="connsiteY9025" fmla="*/ 2734048 h 4687251"/>
              <a:gd name="connsiteX9026" fmla="*/ 3671009 w 8079933"/>
              <a:gd name="connsiteY9026" fmla="*/ 2734048 h 4687251"/>
              <a:gd name="connsiteX9027" fmla="*/ 3675567 w 8079933"/>
              <a:gd name="connsiteY9027" fmla="*/ 2734265 h 4687251"/>
              <a:gd name="connsiteX9028" fmla="*/ 3677846 w 8079933"/>
              <a:gd name="connsiteY9028" fmla="*/ 2736756 h 4687251"/>
              <a:gd name="connsiteX9029" fmla="*/ 3682946 w 8079933"/>
              <a:gd name="connsiteY9029" fmla="*/ 2737188 h 4687251"/>
              <a:gd name="connsiteX9030" fmla="*/ 3683380 w 8079933"/>
              <a:gd name="connsiteY9030" fmla="*/ 2740867 h 4687251"/>
              <a:gd name="connsiteX9031" fmla="*/ 3683380 w 8079933"/>
              <a:gd name="connsiteY9031" fmla="*/ 2740865 h 4687251"/>
              <a:gd name="connsiteX9032" fmla="*/ 3682947 w 8079933"/>
              <a:gd name="connsiteY9032" fmla="*/ 2737188 h 4687251"/>
              <a:gd name="connsiteX9033" fmla="*/ 3677847 w 8079933"/>
              <a:gd name="connsiteY9033" fmla="*/ 2736755 h 4687251"/>
              <a:gd name="connsiteX9034" fmla="*/ 3675568 w 8079933"/>
              <a:gd name="connsiteY9034" fmla="*/ 2734265 h 4687251"/>
              <a:gd name="connsiteX9035" fmla="*/ 4965504 w 8079933"/>
              <a:gd name="connsiteY9035" fmla="*/ 2733831 h 4687251"/>
              <a:gd name="connsiteX9036" fmla="*/ 4961490 w 8079933"/>
              <a:gd name="connsiteY9036" fmla="*/ 2734914 h 4687251"/>
              <a:gd name="connsiteX9037" fmla="*/ 4961489 w 8079933"/>
              <a:gd name="connsiteY9037" fmla="*/ 2734915 h 4687251"/>
              <a:gd name="connsiteX9038" fmla="*/ 4965503 w 8079933"/>
              <a:gd name="connsiteY9038" fmla="*/ 2733832 h 4687251"/>
              <a:gd name="connsiteX9039" fmla="*/ 3561842 w 8079933"/>
              <a:gd name="connsiteY9039" fmla="*/ 2732424 h 4687251"/>
              <a:gd name="connsiteX9040" fmla="*/ 3555059 w 8079933"/>
              <a:gd name="connsiteY9040" fmla="*/ 2735808 h 4687251"/>
              <a:gd name="connsiteX9041" fmla="*/ 3561842 w 8079933"/>
              <a:gd name="connsiteY9041" fmla="*/ 2732424 h 4687251"/>
              <a:gd name="connsiteX9042" fmla="*/ 3577902 w 8079933"/>
              <a:gd name="connsiteY9042" fmla="*/ 2733832 h 4687251"/>
              <a:gd name="connsiteX9043" fmla="*/ 3577903 w 8079933"/>
              <a:gd name="connsiteY9043" fmla="*/ 2733832 h 4687251"/>
              <a:gd name="connsiteX9044" fmla="*/ 4472730 w 8079933"/>
              <a:gd name="connsiteY9044" fmla="*/ 2731557 h 4687251"/>
              <a:gd name="connsiteX9045" fmla="*/ 4470017 w 8079933"/>
              <a:gd name="connsiteY9045" fmla="*/ 2733398 h 4687251"/>
              <a:gd name="connsiteX9046" fmla="*/ 4470017 w 8079933"/>
              <a:gd name="connsiteY9046" fmla="*/ 2733398 h 4687251"/>
              <a:gd name="connsiteX9047" fmla="*/ 4472730 w 8079933"/>
              <a:gd name="connsiteY9047" fmla="*/ 2731558 h 4687251"/>
              <a:gd name="connsiteX9048" fmla="*/ 2494580 w 8079933"/>
              <a:gd name="connsiteY9048" fmla="*/ 2731234 h 4687251"/>
              <a:gd name="connsiteX9049" fmla="*/ 2496968 w 8079933"/>
              <a:gd name="connsiteY9049" fmla="*/ 2735673 h 4687251"/>
              <a:gd name="connsiteX9050" fmla="*/ 2493387 w 8079933"/>
              <a:gd name="connsiteY9050" fmla="*/ 2735673 h 4687251"/>
              <a:gd name="connsiteX9051" fmla="*/ 2494580 w 8079933"/>
              <a:gd name="connsiteY9051" fmla="*/ 2731234 h 4687251"/>
              <a:gd name="connsiteX9052" fmla="*/ 3994714 w 8079933"/>
              <a:gd name="connsiteY9052" fmla="*/ 2731016 h 4687251"/>
              <a:gd name="connsiteX9053" fmla="*/ 3994714 w 8079933"/>
              <a:gd name="connsiteY9053" fmla="*/ 2731016 h 4687251"/>
              <a:gd name="connsiteX9054" fmla="*/ 3995676 w 8079933"/>
              <a:gd name="connsiteY9054" fmla="*/ 2732295 h 4687251"/>
              <a:gd name="connsiteX9055" fmla="*/ 6809636 w 8079933"/>
              <a:gd name="connsiteY9055" fmla="*/ 2730800 h 4687251"/>
              <a:gd name="connsiteX9056" fmla="*/ 6813434 w 8079933"/>
              <a:gd name="connsiteY9056" fmla="*/ 2731341 h 4687251"/>
              <a:gd name="connsiteX9057" fmla="*/ 6816256 w 8079933"/>
              <a:gd name="connsiteY9057" fmla="*/ 2734590 h 4687251"/>
              <a:gd name="connsiteX9058" fmla="*/ 6821139 w 8079933"/>
              <a:gd name="connsiteY9058" fmla="*/ 2735564 h 4687251"/>
              <a:gd name="connsiteX9059" fmla="*/ 6822116 w 8079933"/>
              <a:gd name="connsiteY9059" fmla="*/ 2738054 h 4687251"/>
              <a:gd name="connsiteX9060" fmla="*/ 6820054 w 8079933"/>
              <a:gd name="connsiteY9060" fmla="*/ 2740544 h 4687251"/>
              <a:gd name="connsiteX9061" fmla="*/ 6816907 w 8079933"/>
              <a:gd name="connsiteY9061" fmla="*/ 2739137 h 4687251"/>
              <a:gd name="connsiteX9062" fmla="*/ 6811806 w 8079933"/>
              <a:gd name="connsiteY9062" fmla="*/ 2738812 h 4687251"/>
              <a:gd name="connsiteX9063" fmla="*/ 6809636 w 8079933"/>
              <a:gd name="connsiteY9063" fmla="*/ 2736322 h 4687251"/>
              <a:gd name="connsiteX9064" fmla="*/ 6808008 w 8079933"/>
              <a:gd name="connsiteY9064" fmla="*/ 2732749 h 4687251"/>
              <a:gd name="connsiteX9065" fmla="*/ 4944301 w 8079933"/>
              <a:gd name="connsiteY9065" fmla="*/ 2730043 h 4687251"/>
              <a:gd name="connsiteX9066" fmla="*/ 4947708 w 8079933"/>
              <a:gd name="connsiteY9066" fmla="*/ 2730150 h 4687251"/>
              <a:gd name="connsiteX9067" fmla="*/ 4948773 w 8079933"/>
              <a:gd name="connsiteY9067" fmla="*/ 2731548 h 4687251"/>
              <a:gd name="connsiteX9068" fmla="*/ 4947708 w 8079933"/>
              <a:gd name="connsiteY9068" fmla="*/ 2730150 h 4687251"/>
              <a:gd name="connsiteX9069" fmla="*/ 2285686 w 8079933"/>
              <a:gd name="connsiteY9069" fmla="*/ 2729501 h 4687251"/>
              <a:gd name="connsiteX9070" fmla="*/ 2289266 w 8079933"/>
              <a:gd name="connsiteY9070" fmla="*/ 2729934 h 4687251"/>
              <a:gd name="connsiteX9071" fmla="*/ 2293390 w 8079933"/>
              <a:gd name="connsiteY9071" fmla="*/ 2733724 h 4687251"/>
              <a:gd name="connsiteX9072" fmla="*/ 2288724 w 8079933"/>
              <a:gd name="connsiteY9072" fmla="*/ 2733832 h 4687251"/>
              <a:gd name="connsiteX9073" fmla="*/ 4009798 w 8079933"/>
              <a:gd name="connsiteY9073" fmla="*/ 2728959 h 4687251"/>
              <a:gd name="connsiteX9074" fmla="*/ 4008944 w 8079933"/>
              <a:gd name="connsiteY9074" fmla="*/ 2730798 h 4687251"/>
              <a:gd name="connsiteX9075" fmla="*/ 4009798 w 8079933"/>
              <a:gd name="connsiteY9075" fmla="*/ 2728960 h 4687251"/>
              <a:gd name="connsiteX9076" fmla="*/ 4017611 w 8079933"/>
              <a:gd name="connsiteY9076" fmla="*/ 2735456 h 4687251"/>
              <a:gd name="connsiteX9077" fmla="*/ 4021951 w 8079933"/>
              <a:gd name="connsiteY9077" fmla="*/ 2741411 h 4687251"/>
              <a:gd name="connsiteX9078" fmla="*/ 4027486 w 8079933"/>
              <a:gd name="connsiteY9078" fmla="*/ 2742494 h 4687251"/>
              <a:gd name="connsiteX9079" fmla="*/ 4032694 w 8079933"/>
              <a:gd name="connsiteY9079" fmla="*/ 2749314 h 4687251"/>
              <a:gd name="connsiteX9080" fmla="*/ 4032695 w 8079933"/>
              <a:gd name="connsiteY9080" fmla="*/ 2749314 h 4687251"/>
              <a:gd name="connsiteX9081" fmla="*/ 4036385 w 8079933"/>
              <a:gd name="connsiteY9081" fmla="*/ 2746391 h 4687251"/>
              <a:gd name="connsiteX9082" fmla="*/ 4036168 w 8079933"/>
              <a:gd name="connsiteY9082" fmla="*/ 2743793 h 4687251"/>
              <a:gd name="connsiteX9083" fmla="*/ 4036167 w 8079933"/>
              <a:gd name="connsiteY9083" fmla="*/ 2743793 h 4687251"/>
              <a:gd name="connsiteX9084" fmla="*/ 4036385 w 8079933"/>
              <a:gd name="connsiteY9084" fmla="*/ 2746391 h 4687251"/>
              <a:gd name="connsiteX9085" fmla="*/ 4032695 w 8079933"/>
              <a:gd name="connsiteY9085" fmla="*/ 2749314 h 4687251"/>
              <a:gd name="connsiteX9086" fmla="*/ 4027486 w 8079933"/>
              <a:gd name="connsiteY9086" fmla="*/ 2742493 h 4687251"/>
              <a:gd name="connsiteX9087" fmla="*/ 4021951 w 8079933"/>
              <a:gd name="connsiteY9087" fmla="*/ 2741410 h 4687251"/>
              <a:gd name="connsiteX9088" fmla="*/ 4017611 w 8079933"/>
              <a:gd name="connsiteY9088" fmla="*/ 2735455 h 4687251"/>
              <a:gd name="connsiteX9089" fmla="*/ 4276722 w 8079933"/>
              <a:gd name="connsiteY9089" fmla="*/ 2728770 h 4687251"/>
              <a:gd name="connsiteX9090" fmla="*/ 4276721 w 8079933"/>
              <a:gd name="connsiteY9090" fmla="*/ 2728770 h 4687251"/>
              <a:gd name="connsiteX9091" fmla="*/ 4276966 w 8079933"/>
              <a:gd name="connsiteY9091" fmla="*/ 2730150 h 4687251"/>
              <a:gd name="connsiteX9092" fmla="*/ 4276748 w 8079933"/>
              <a:gd name="connsiteY9092" fmla="*/ 2737405 h 4687251"/>
              <a:gd name="connsiteX9093" fmla="*/ 4278810 w 8079933"/>
              <a:gd name="connsiteY9093" fmla="*/ 2741627 h 4687251"/>
              <a:gd name="connsiteX9094" fmla="*/ 4279865 w 8079933"/>
              <a:gd name="connsiteY9094" fmla="*/ 2741897 h 4687251"/>
              <a:gd name="connsiteX9095" fmla="*/ 4278811 w 8079933"/>
              <a:gd name="connsiteY9095" fmla="*/ 2741627 h 4687251"/>
              <a:gd name="connsiteX9096" fmla="*/ 4276749 w 8079933"/>
              <a:gd name="connsiteY9096" fmla="*/ 2737405 h 4687251"/>
              <a:gd name="connsiteX9097" fmla="*/ 4276966 w 8079933"/>
              <a:gd name="connsiteY9097" fmla="*/ 2730151 h 4687251"/>
              <a:gd name="connsiteX9098" fmla="*/ 6321369 w 8079933"/>
              <a:gd name="connsiteY9098" fmla="*/ 2728124 h 4687251"/>
              <a:gd name="connsiteX9099" fmla="*/ 6322179 w 8079933"/>
              <a:gd name="connsiteY9099" fmla="*/ 2729827 h 4687251"/>
              <a:gd name="connsiteX9100" fmla="*/ 6322179 w 8079933"/>
              <a:gd name="connsiteY9100" fmla="*/ 2729826 h 4687251"/>
              <a:gd name="connsiteX9101" fmla="*/ 4470017 w 8079933"/>
              <a:gd name="connsiteY9101" fmla="*/ 2727443 h 4687251"/>
              <a:gd name="connsiteX9102" fmla="*/ 4472730 w 8079933"/>
              <a:gd name="connsiteY9102" fmla="*/ 2728093 h 4687251"/>
              <a:gd name="connsiteX9103" fmla="*/ 4472730 w 8079933"/>
              <a:gd name="connsiteY9103" fmla="*/ 2728093 h 4687251"/>
              <a:gd name="connsiteX9104" fmla="*/ 3997427 w 8079933"/>
              <a:gd name="connsiteY9104" fmla="*/ 2727443 h 4687251"/>
              <a:gd name="connsiteX9105" fmla="*/ 3995619 w 8079933"/>
              <a:gd name="connsiteY9105" fmla="*/ 2729825 h 4687251"/>
              <a:gd name="connsiteX9106" fmla="*/ 3997427 w 8079933"/>
              <a:gd name="connsiteY9106" fmla="*/ 2727444 h 4687251"/>
              <a:gd name="connsiteX9107" fmla="*/ 5221929 w 8079933"/>
              <a:gd name="connsiteY9107" fmla="*/ 2727335 h 4687251"/>
              <a:gd name="connsiteX9108" fmla="*/ 5224968 w 8079933"/>
              <a:gd name="connsiteY9108" fmla="*/ 2727768 h 4687251"/>
              <a:gd name="connsiteX9109" fmla="*/ 5226269 w 8079933"/>
              <a:gd name="connsiteY9109" fmla="*/ 2730258 h 4687251"/>
              <a:gd name="connsiteX9110" fmla="*/ 5229308 w 8079933"/>
              <a:gd name="connsiteY9110" fmla="*/ 2730908 h 4687251"/>
              <a:gd name="connsiteX9111" fmla="*/ 5232672 w 8079933"/>
              <a:gd name="connsiteY9111" fmla="*/ 2729933 h 4687251"/>
              <a:gd name="connsiteX9112" fmla="*/ 5237339 w 8079933"/>
              <a:gd name="connsiteY9112" fmla="*/ 2728959 h 4687251"/>
              <a:gd name="connsiteX9113" fmla="*/ 5240594 w 8079933"/>
              <a:gd name="connsiteY9113" fmla="*/ 2730583 h 4687251"/>
              <a:gd name="connsiteX9114" fmla="*/ 5244392 w 8079933"/>
              <a:gd name="connsiteY9114" fmla="*/ 2731341 h 4687251"/>
              <a:gd name="connsiteX9115" fmla="*/ 5244718 w 8079933"/>
              <a:gd name="connsiteY9115" fmla="*/ 2733181 h 4687251"/>
              <a:gd name="connsiteX9116" fmla="*/ 5242873 w 8079933"/>
              <a:gd name="connsiteY9116" fmla="*/ 2735347 h 4687251"/>
              <a:gd name="connsiteX9117" fmla="*/ 5239292 w 8079933"/>
              <a:gd name="connsiteY9117" fmla="*/ 2735563 h 4687251"/>
              <a:gd name="connsiteX9118" fmla="*/ 5234083 w 8079933"/>
              <a:gd name="connsiteY9118" fmla="*/ 2738920 h 4687251"/>
              <a:gd name="connsiteX9119" fmla="*/ 5226921 w 8079933"/>
              <a:gd name="connsiteY9119" fmla="*/ 2740002 h 4687251"/>
              <a:gd name="connsiteX9120" fmla="*/ 5221820 w 8079933"/>
              <a:gd name="connsiteY9120" fmla="*/ 2739028 h 4687251"/>
              <a:gd name="connsiteX9121" fmla="*/ 5218890 w 8079933"/>
              <a:gd name="connsiteY9121" fmla="*/ 2736646 h 4687251"/>
              <a:gd name="connsiteX9122" fmla="*/ 5215852 w 8079933"/>
              <a:gd name="connsiteY9122" fmla="*/ 2734914 h 4687251"/>
              <a:gd name="connsiteX9123" fmla="*/ 5218782 w 8079933"/>
              <a:gd name="connsiteY9123" fmla="*/ 2733398 h 4687251"/>
              <a:gd name="connsiteX9124" fmla="*/ 5219216 w 8079933"/>
              <a:gd name="connsiteY9124" fmla="*/ 2729717 h 4687251"/>
              <a:gd name="connsiteX9125" fmla="*/ 6878219 w 8079933"/>
              <a:gd name="connsiteY9125" fmla="*/ 2726361 h 4687251"/>
              <a:gd name="connsiteX9126" fmla="*/ 6881475 w 8079933"/>
              <a:gd name="connsiteY9126" fmla="*/ 2727985 h 4687251"/>
              <a:gd name="connsiteX9127" fmla="*/ 6881149 w 8079933"/>
              <a:gd name="connsiteY9127" fmla="*/ 2730367 h 4687251"/>
              <a:gd name="connsiteX9128" fmla="*/ 6876700 w 8079933"/>
              <a:gd name="connsiteY9128" fmla="*/ 2730692 h 4687251"/>
              <a:gd name="connsiteX9129" fmla="*/ 6876049 w 8079933"/>
              <a:gd name="connsiteY9129" fmla="*/ 2727985 h 4687251"/>
              <a:gd name="connsiteX9130" fmla="*/ 4795459 w 8079933"/>
              <a:gd name="connsiteY9130" fmla="*/ 2725711 h 4687251"/>
              <a:gd name="connsiteX9131" fmla="*/ 4795458 w 8079933"/>
              <a:gd name="connsiteY9131" fmla="*/ 2725711 h 4687251"/>
              <a:gd name="connsiteX9132" fmla="*/ 4794807 w 8079933"/>
              <a:gd name="connsiteY9132" fmla="*/ 2729825 h 4687251"/>
              <a:gd name="connsiteX9133" fmla="*/ 4788947 w 8079933"/>
              <a:gd name="connsiteY9133" fmla="*/ 2739353 h 4687251"/>
              <a:gd name="connsiteX9134" fmla="*/ 4788839 w 8079933"/>
              <a:gd name="connsiteY9134" fmla="*/ 2743034 h 4687251"/>
              <a:gd name="connsiteX9135" fmla="*/ 4782111 w 8079933"/>
              <a:gd name="connsiteY9135" fmla="*/ 2747906 h 4687251"/>
              <a:gd name="connsiteX9136" fmla="*/ 4779181 w 8079933"/>
              <a:gd name="connsiteY9136" fmla="*/ 2755377 h 4687251"/>
              <a:gd name="connsiteX9137" fmla="*/ 4774515 w 8079933"/>
              <a:gd name="connsiteY9137" fmla="*/ 2773133 h 4687251"/>
              <a:gd name="connsiteX9138" fmla="*/ 4773725 w 8079933"/>
              <a:gd name="connsiteY9138" fmla="*/ 2772904 h 4687251"/>
              <a:gd name="connsiteX9139" fmla="*/ 4774515 w 8079933"/>
              <a:gd name="connsiteY9139" fmla="*/ 2773134 h 4687251"/>
              <a:gd name="connsiteX9140" fmla="*/ 4779181 w 8079933"/>
              <a:gd name="connsiteY9140" fmla="*/ 2755377 h 4687251"/>
              <a:gd name="connsiteX9141" fmla="*/ 4782112 w 8079933"/>
              <a:gd name="connsiteY9141" fmla="*/ 2747906 h 4687251"/>
              <a:gd name="connsiteX9142" fmla="*/ 4788840 w 8079933"/>
              <a:gd name="connsiteY9142" fmla="*/ 2743034 h 4687251"/>
              <a:gd name="connsiteX9143" fmla="*/ 4788948 w 8079933"/>
              <a:gd name="connsiteY9143" fmla="*/ 2739353 h 4687251"/>
              <a:gd name="connsiteX9144" fmla="*/ 4794808 w 8079933"/>
              <a:gd name="connsiteY9144" fmla="*/ 2729826 h 4687251"/>
              <a:gd name="connsiteX9145" fmla="*/ 3623154 w 8079933"/>
              <a:gd name="connsiteY9145" fmla="*/ 2725387 h 4687251"/>
              <a:gd name="connsiteX9146" fmla="*/ 3618596 w 8079933"/>
              <a:gd name="connsiteY9146" fmla="*/ 2726253 h 4687251"/>
              <a:gd name="connsiteX9147" fmla="*/ 3623154 w 8079933"/>
              <a:gd name="connsiteY9147" fmla="*/ 2725387 h 4687251"/>
              <a:gd name="connsiteX9148" fmla="*/ 3638346 w 8079933"/>
              <a:gd name="connsiteY9148" fmla="*/ 2725603 h 4687251"/>
              <a:gd name="connsiteX9149" fmla="*/ 3648004 w 8079933"/>
              <a:gd name="connsiteY9149" fmla="*/ 2730367 h 4687251"/>
              <a:gd name="connsiteX9150" fmla="*/ 3652127 w 8079933"/>
              <a:gd name="connsiteY9150" fmla="*/ 2733615 h 4687251"/>
              <a:gd name="connsiteX9151" fmla="*/ 3659507 w 8079933"/>
              <a:gd name="connsiteY9151" fmla="*/ 2733182 h 4687251"/>
              <a:gd name="connsiteX9152" fmla="*/ 3667103 w 8079933"/>
              <a:gd name="connsiteY9152" fmla="*/ 2736322 h 4687251"/>
              <a:gd name="connsiteX9153" fmla="*/ 3667104 w 8079933"/>
              <a:gd name="connsiteY9153" fmla="*/ 2736322 h 4687251"/>
              <a:gd name="connsiteX9154" fmla="*/ 3659507 w 8079933"/>
              <a:gd name="connsiteY9154" fmla="*/ 2733182 h 4687251"/>
              <a:gd name="connsiteX9155" fmla="*/ 3652128 w 8079933"/>
              <a:gd name="connsiteY9155" fmla="*/ 2733615 h 4687251"/>
              <a:gd name="connsiteX9156" fmla="*/ 3648004 w 8079933"/>
              <a:gd name="connsiteY9156" fmla="*/ 2730367 h 4687251"/>
              <a:gd name="connsiteX9157" fmla="*/ 3638346 w 8079933"/>
              <a:gd name="connsiteY9157" fmla="*/ 2725603 h 4687251"/>
              <a:gd name="connsiteX9158" fmla="*/ 3612628 w 8079933"/>
              <a:gd name="connsiteY9158" fmla="*/ 2724845 h 4687251"/>
              <a:gd name="connsiteX9159" fmla="*/ 3618596 w 8079933"/>
              <a:gd name="connsiteY9159" fmla="*/ 2726469 h 4687251"/>
              <a:gd name="connsiteX9160" fmla="*/ 3618596 w 8079933"/>
              <a:gd name="connsiteY9160" fmla="*/ 2726469 h 4687251"/>
              <a:gd name="connsiteX9161" fmla="*/ 6894279 w 8079933"/>
              <a:gd name="connsiteY9161" fmla="*/ 2724412 h 4687251"/>
              <a:gd name="connsiteX9162" fmla="*/ 6897643 w 8079933"/>
              <a:gd name="connsiteY9162" fmla="*/ 2725386 h 4687251"/>
              <a:gd name="connsiteX9163" fmla="*/ 6897209 w 8079933"/>
              <a:gd name="connsiteY9163" fmla="*/ 2727010 h 4687251"/>
              <a:gd name="connsiteX9164" fmla="*/ 6898945 w 8079933"/>
              <a:gd name="connsiteY9164" fmla="*/ 2726794 h 4687251"/>
              <a:gd name="connsiteX9165" fmla="*/ 6903069 w 8079933"/>
              <a:gd name="connsiteY9165" fmla="*/ 2730691 h 4687251"/>
              <a:gd name="connsiteX9166" fmla="*/ 6906215 w 8079933"/>
              <a:gd name="connsiteY9166" fmla="*/ 2731233 h 4687251"/>
              <a:gd name="connsiteX9167" fmla="*/ 6913594 w 8079933"/>
              <a:gd name="connsiteY9167" fmla="*/ 2735997 h 4687251"/>
              <a:gd name="connsiteX9168" fmla="*/ 6916416 w 8079933"/>
              <a:gd name="connsiteY9168" fmla="*/ 2739677 h 4687251"/>
              <a:gd name="connsiteX9169" fmla="*/ 6916416 w 8079933"/>
              <a:gd name="connsiteY9169" fmla="*/ 2742601 h 4687251"/>
              <a:gd name="connsiteX9170" fmla="*/ 6912618 w 8079933"/>
              <a:gd name="connsiteY9170" fmla="*/ 2743034 h 4687251"/>
              <a:gd name="connsiteX9171" fmla="*/ 6906758 w 8079933"/>
              <a:gd name="connsiteY9171" fmla="*/ 2740652 h 4687251"/>
              <a:gd name="connsiteX9172" fmla="*/ 6901658 w 8079933"/>
              <a:gd name="connsiteY9172" fmla="*/ 2734156 h 4687251"/>
              <a:gd name="connsiteX9173" fmla="*/ 6898076 w 8079933"/>
              <a:gd name="connsiteY9173" fmla="*/ 2734481 h 4687251"/>
              <a:gd name="connsiteX9174" fmla="*/ 6894279 w 8079933"/>
              <a:gd name="connsiteY9174" fmla="*/ 2740760 h 4687251"/>
              <a:gd name="connsiteX9175" fmla="*/ 6893193 w 8079933"/>
              <a:gd name="connsiteY9175" fmla="*/ 2738054 h 4687251"/>
              <a:gd name="connsiteX9176" fmla="*/ 6893302 w 8079933"/>
              <a:gd name="connsiteY9176" fmla="*/ 2735238 h 4687251"/>
              <a:gd name="connsiteX9177" fmla="*/ 6895363 w 8079933"/>
              <a:gd name="connsiteY9177" fmla="*/ 2733398 h 4687251"/>
              <a:gd name="connsiteX9178" fmla="*/ 6894387 w 8079933"/>
              <a:gd name="connsiteY9178" fmla="*/ 2729608 h 4687251"/>
              <a:gd name="connsiteX9179" fmla="*/ 4281313 w 8079933"/>
              <a:gd name="connsiteY9179" fmla="*/ 2724189 h 4687251"/>
              <a:gd name="connsiteX9180" fmla="*/ 4281312 w 8079933"/>
              <a:gd name="connsiteY9180" fmla="*/ 2724189 h 4687251"/>
              <a:gd name="connsiteX9181" fmla="*/ 4285973 w 8079933"/>
              <a:gd name="connsiteY9181" fmla="*/ 2726578 h 4687251"/>
              <a:gd name="connsiteX9182" fmla="*/ 4291399 w 8079933"/>
              <a:gd name="connsiteY9182" fmla="*/ 2731666 h 4687251"/>
              <a:gd name="connsiteX9183" fmla="*/ 4285973 w 8079933"/>
              <a:gd name="connsiteY9183" fmla="*/ 2726577 h 4687251"/>
              <a:gd name="connsiteX9184" fmla="*/ 6902092 w 8079933"/>
              <a:gd name="connsiteY9184" fmla="*/ 2723546 h 4687251"/>
              <a:gd name="connsiteX9185" fmla="*/ 6905348 w 8079933"/>
              <a:gd name="connsiteY9185" fmla="*/ 2724628 h 4687251"/>
              <a:gd name="connsiteX9186" fmla="*/ 6909364 w 8079933"/>
              <a:gd name="connsiteY9186" fmla="*/ 2729718 h 4687251"/>
              <a:gd name="connsiteX9187" fmla="*/ 6907302 w 8079933"/>
              <a:gd name="connsiteY9187" fmla="*/ 2729718 h 4687251"/>
              <a:gd name="connsiteX9188" fmla="*/ 6903503 w 8079933"/>
              <a:gd name="connsiteY9188" fmla="*/ 2725928 h 4687251"/>
              <a:gd name="connsiteX9189" fmla="*/ 6935081 w 8079933"/>
              <a:gd name="connsiteY9189" fmla="*/ 2723113 h 4687251"/>
              <a:gd name="connsiteX9190" fmla="*/ 6937252 w 8079933"/>
              <a:gd name="connsiteY9190" fmla="*/ 2724196 h 4687251"/>
              <a:gd name="connsiteX9191" fmla="*/ 6938879 w 8079933"/>
              <a:gd name="connsiteY9191" fmla="*/ 2723438 h 4687251"/>
              <a:gd name="connsiteX9192" fmla="*/ 6941700 w 8079933"/>
              <a:gd name="connsiteY9192" fmla="*/ 2723763 h 4687251"/>
              <a:gd name="connsiteX9193" fmla="*/ 6944196 w 8079933"/>
              <a:gd name="connsiteY9193" fmla="*/ 2728094 h 4687251"/>
              <a:gd name="connsiteX9194" fmla="*/ 6948211 w 8079933"/>
              <a:gd name="connsiteY9194" fmla="*/ 2733507 h 4687251"/>
              <a:gd name="connsiteX9195" fmla="*/ 6950164 w 8079933"/>
              <a:gd name="connsiteY9195" fmla="*/ 2735023 h 4687251"/>
              <a:gd name="connsiteX9196" fmla="*/ 6949622 w 8079933"/>
              <a:gd name="connsiteY9196" fmla="*/ 2737621 h 4687251"/>
              <a:gd name="connsiteX9197" fmla="*/ 6950490 w 8079933"/>
              <a:gd name="connsiteY9197" fmla="*/ 2746066 h 4687251"/>
              <a:gd name="connsiteX9198" fmla="*/ 6950164 w 8079933"/>
              <a:gd name="connsiteY9198" fmla="*/ 2752887 h 4687251"/>
              <a:gd name="connsiteX9199" fmla="*/ 6952769 w 8079933"/>
              <a:gd name="connsiteY9199" fmla="*/ 2755269 h 4687251"/>
              <a:gd name="connsiteX9200" fmla="*/ 6954180 w 8079933"/>
              <a:gd name="connsiteY9200" fmla="*/ 2759600 h 4687251"/>
              <a:gd name="connsiteX9201" fmla="*/ 6956458 w 8079933"/>
              <a:gd name="connsiteY9201" fmla="*/ 2762415 h 4687251"/>
              <a:gd name="connsiteX9202" fmla="*/ 6953963 w 8079933"/>
              <a:gd name="connsiteY9202" fmla="*/ 2761332 h 4687251"/>
              <a:gd name="connsiteX9203" fmla="*/ 6952877 w 8079933"/>
              <a:gd name="connsiteY9203" fmla="*/ 2762523 h 4687251"/>
              <a:gd name="connsiteX9204" fmla="*/ 6951467 w 8079933"/>
              <a:gd name="connsiteY9204" fmla="*/ 2761873 h 4687251"/>
              <a:gd name="connsiteX9205" fmla="*/ 6944413 w 8079933"/>
              <a:gd name="connsiteY9205" fmla="*/ 2761440 h 4687251"/>
              <a:gd name="connsiteX9206" fmla="*/ 6943003 w 8079933"/>
              <a:gd name="connsiteY9206" fmla="*/ 2758192 h 4687251"/>
              <a:gd name="connsiteX9207" fmla="*/ 6939097 w 8079933"/>
              <a:gd name="connsiteY9207" fmla="*/ 2755702 h 4687251"/>
              <a:gd name="connsiteX9208" fmla="*/ 6937360 w 8079933"/>
              <a:gd name="connsiteY9208" fmla="*/ 2754511 h 4687251"/>
              <a:gd name="connsiteX9209" fmla="*/ 6936492 w 8079933"/>
              <a:gd name="connsiteY9209" fmla="*/ 2753104 h 4687251"/>
              <a:gd name="connsiteX9210" fmla="*/ 6934213 w 8079933"/>
              <a:gd name="connsiteY9210" fmla="*/ 2753970 h 4687251"/>
              <a:gd name="connsiteX9211" fmla="*/ 6934973 w 8079933"/>
              <a:gd name="connsiteY9211" fmla="*/ 2752887 h 4687251"/>
              <a:gd name="connsiteX9212" fmla="*/ 6937252 w 8079933"/>
              <a:gd name="connsiteY9212" fmla="*/ 2749964 h 4687251"/>
              <a:gd name="connsiteX9213" fmla="*/ 6937903 w 8079933"/>
              <a:gd name="connsiteY9213" fmla="*/ 2747798 h 4687251"/>
              <a:gd name="connsiteX9214" fmla="*/ 6935515 w 8079933"/>
              <a:gd name="connsiteY9214" fmla="*/ 2746282 h 4687251"/>
              <a:gd name="connsiteX9215" fmla="*/ 6929981 w 8079933"/>
              <a:gd name="connsiteY9215" fmla="*/ 2739894 h 4687251"/>
              <a:gd name="connsiteX9216" fmla="*/ 6924013 w 8079933"/>
              <a:gd name="connsiteY9216" fmla="*/ 2735131 h 4687251"/>
              <a:gd name="connsiteX9217" fmla="*/ 6920215 w 8079933"/>
              <a:gd name="connsiteY9217" fmla="*/ 2727552 h 4687251"/>
              <a:gd name="connsiteX9218" fmla="*/ 6920323 w 8079933"/>
              <a:gd name="connsiteY9218" fmla="*/ 2724304 h 4687251"/>
              <a:gd name="connsiteX9219" fmla="*/ 6922385 w 8079933"/>
              <a:gd name="connsiteY9219" fmla="*/ 2725278 h 4687251"/>
              <a:gd name="connsiteX9220" fmla="*/ 6926074 w 8079933"/>
              <a:gd name="connsiteY9220" fmla="*/ 2725170 h 4687251"/>
              <a:gd name="connsiteX9221" fmla="*/ 6930958 w 8079933"/>
              <a:gd name="connsiteY9221" fmla="*/ 2725386 h 4687251"/>
              <a:gd name="connsiteX9222" fmla="*/ 6932585 w 8079933"/>
              <a:gd name="connsiteY9222" fmla="*/ 2723654 h 4687251"/>
              <a:gd name="connsiteX9223" fmla="*/ 4148157 w 8079933"/>
              <a:gd name="connsiteY9223" fmla="*/ 2723004 h 4687251"/>
              <a:gd name="connsiteX9224" fmla="*/ 4148157 w 8079933"/>
              <a:gd name="connsiteY9224" fmla="*/ 2723004 h 4687251"/>
              <a:gd name="connsiteX9225" fmla="*/ 4153040 w 8079933"/>
              <a:gd name="connsiteY9225" fmla="*/ 2723654 h 4687251"/>
              <a:gd name="connsiteX9226" fmla="*/ 4162806 w 8079933"/>
              <a:gd name="connsiteY9226" fmla="*/ 2727227 h 4687251"/>
              <a:gd name="connsiteX9227" fmla="*/ 4167147 w 8079933"/>
              <a:gd name="connsiteY9227" fmla="*/ 2728310 h 4687251"/>
              <a:gd name="connsiteX9228" fmla="*/ 4173007 w 8079933"/>
              <a:gd name="connsiteY9228" fmla="*/ 2724412 h 4687251"/>
              <a:gd name="connsiteX9229" fmla="*/ 4167147 w 8079933"/>
              <a:gd name="connsiteY9229" fmla="*/ 2728310 h 4687251"/>
              <a:gd name="connsiteX9230" fmla="*/ 4162807 w 8079933"/>
              <a:gd name="connsiteY9230" fmla="*/ 2727227 h 4687251"/>
              <a:gd name="connsiteX9231" fmla="*/ 4153040 w 8079933"/>
              <a:gd name="connsiteY9231" fmla="*/ 2723654 h 4687251"/>
              <a:gd name="connsiteX9232" fmla="*/ 3996567 w 8079933"/>
              <a:gd name="connsiteY9232" fmla="*/ 2722363 h 4687251"/>
              <a:gd name="connsiteX9233" fmla="*/ 3996993 w 8079933"/>
              <a:gd name="connsiteY9233" fmla="*/ 2722788 h 4687251"/>
              <a:gd name="connsiteX9234" fmla="*/ 3997138 w 8079933"/>
              <a:gd name="connsiteY9234" fmla="*/ 2724340 h 4687251"/>
              <a:gd name="connsiteX9235" fmla="*/ 3996993 w 8079933"/>
              <a:gd name="connsiteY9235" fmla="*/ 2722788 h 4687251"/>
              <a:gd name="connsiteX9236" fmla="*/ 6868886 w 8079933"/>
              <a:gd name="connsiteY9236" fmla="*/ 2720731 h 4687251"/>
              <a:gd name="connsiteX9237" fmla="*/ 6867801 w 8079933"/>
              <a:gd name="connsiteY9237" fmla="*/ 2726253 h 4687251"/>
              <a:gd name="connsiteX9238" fmla="*/ 6869430 w 8079933"/>
              <a:gd name="connsiteY9238" fmla="*/ 2730475 h 4687251"/>
              <a:gd name="connsiteX9239" fmla="*/ 6867584 w 8079933"/>
              <a:gd name="connsiteY9239" fmla="*/ 2736322 h 4687251"/>
              <a:gd name="connsiteX9240" fmla="*/ 6864655 w 8079933"/>
              <a:gd name="connsiteY9240" fmla="*/ 2737296 h 4687251"/>
              <a:gd name="connsiteX9241" fmla="*/ 6862158 w 8079933"/>
              <a:gd name="connsiteY9241" fmla="*/ 2731125 h 4687251"/>
              <a:gd name="connsiteX9242" fmla="*/ 6865088 w 8079933"/>
              <a:gd name="connsiteY9242" fmla="*/ 2727119 h 4687251"/>
              <a:gd name="connsiteX9243" fmla="*/ 6867150 w 8079933"/>
              <a:gd name="connsiteY9243" fmla="*/ 2722463 h 4687251"/>
              <a:gd name="connsiteX9244" fmla="*/ 4235408 w 8079933"/>
              <a:gd name="connsiteY9244" fmla="*/ 2720614 h 4687251"/>
              <a:gd name="connsiteX9245" fmla="*/ 4235404 w 8079933"/>
              <a:gd name="connsiteY9245" fmla="*/ 2720622 h 4687251"/>
              <a:gd name="connsiteX9246" fmla="*/ 4231823 w 8079933"/>
              <a:gd name="connsiteY9246" fmla="*/ 2721488 h 4687251"/>
              <a:gd name="connsiteX9247" fmla="*/ 4231789 w 8079933"/>
              <a:gd name="connsiteY9247" fmla="*/ 2721464 h 4687251"/>
              <a:gd name="connsiteX9248" fmla="*/ 4231823 w 8079933"/>
              <a:gd name="connsiteY9248" fmla="*/ 2721489 h 4687251"/>
              <a:gd name="connsiteX9249" fmla="*/ 4235404 w 8079933"/>
              <a:gd name="connsiteY9249" fmla="*/ 2720622 h 4687251"/>
              <a:gd name="connsiteX9250" fmla="*/ 4109480 w 8079933"/>
              <a:gd name="connsiteY9250" fmla="*/ 2719456 h 4687251"/>
              <a:gd name="connsiteX9251" fmla="*/ 4107680 w 8079933"/>
              <a:gd name="connsiteY9251" fmla="*/ 2720081 h 4687251"/>
              <a:gd name="connsiteX9252" fmla="*/ 4107680 w 8079933"/>
              <a:gd name="connsiteY9252" fmla="*/ 2720081 h 4687251"/>
              <a:gd name="connsiteX9253" fmla="*/ 4135569 w 8079933"/>
              <a:gd name="connsiteY9253" fmla="*/ 2716941 h 4687251"/>
              <a:gd name="connsiteX9254" fmla="*/ 4135569 w 8079933"/>
              <a:gd name="connsiteY9254" fmla="*/ 2716941 h 4687251"/>
              <a:gd name="connsiteX9255" fmla="*/ 4140452 w 8079933"/>
              <a:gd name="connsiteY9255" fmla="*/ 2718674 h 4687251"/>
              <a:gd name="connsiteX9256" fmla="*/ 4140452 w 8079933"/>
              <a:gd name="connsiteY9256" fmla="*/ 2718673 h 4687251"/>
              <a:gd name="connsiteX9257" fmla="*/ 3991892 w 8079933"/>
              <a:gd name="connsiteY9257" fmla="*/ 2716616 h 4687251"/>
              <a:gd name="connsiteX9258" fmla="*/ 3981584 w 8079933"/>
              <a:gd name="connsiteY9258" fmla="*/ 2722138 h 4687251"/>
              <a:gd name="connsiteX9259" fmla="*/ 3991893 w 8079933"/>
              <a:gd name="connsiteY9259" fmla="*/ 2716617 h 4687251"/>
              <a:gd name="connsiteX9260" fmla="*/ 6316428 w 8079933"/>
              <a:gd name="connsiteY9260" fmla="*/ 2715534 h 4687251"/>
              <a:gd name="connsiteX9261" fmla="*/ 6316428 w 8079933"/>
              <a:gd name="connsiteY9261" fmla="*/ 2715534 h 4687251"/>
              <a:gd name="connsiteX9262" fmla="*/ 6319141 w 8079933"/>
              <a:gd name="connsiteY9262" fmla="*/ 2718458 h 4687251"/>
              <a:gd name="connsiteX9263" fmla="*/ 6319245 w 8079933"/>
              <a:gd name="connsiteY9263" fmla="*/ 2719204 h 4687251"/>
              <a:gd name="connsiteX9264" fmla="*/ 6319141 w 8079933"/>
              <a:gd name="connsiteY9264" fmla="*/ 2718457 h 4687251"/>
              <a:gd name="connsiteX9265" fmla="*/ 6393547 w 8079933"/>
              <a:gd name="connsiteY9265" fmla="*/ 2715317 h 4687251"/>
              <a:gd name="connsiteX9266" fmla="*/ 6394234 w 8079933"/>
              <a:gd name="connsiteY9266" fmla="*/ 2718457 h 4687251"/>
              <a:gd name="connsiteX9267" fmla="*/ 6398358 w 8079933"/>
              <a:gd name="connsiteY9267" fmla="*/ 2720623 h 4687251"/>
              <a:gd name="connsiteX9268" fmla="*/ 6399118 w 8079933"/>
              <a:gd name="connsiteY9268" fmla="*/ 2722210 h 4687251"/>
              <a:gd name="connsiteX9269" fmla="*/ 6398358 w 8079933"/>
              <a:gd name="connsiteY9269" fmla="*/ 2720622 h 4687251"/>
              <a:gd name="connsiteX9270" fmla="*/ 6394234 w 8079933"/>
              <a:gd name="connsiteY9270" fmla="*/ 2718457 h 4687251"/>
              <a:gd name="connsiteX9271" fmla="*/ 4038989 w 8079933"/>
              <a:gd name="connsiteY9271" fmla="*/ 2713802 h 4687251"/>
              <a:gd name="connsiteX9272" fmla="*/ 4038663 w 8079933"/>
              <a:gd name="connsiteY9272" fmla="*/ 2715209 h 4687251"/>
              <a:gd name="connsiteX9273" fmla="*/ 4037686 w 8079933"/>
              <a:gd name="connsiteY9273" fmla="*/ 2717049 h 4687251"/>
              <a:gd name="connsiteX9274" fmla="*/ 4038771 w 8079933"/>
              <a:gd name="connsiteY9274" fmla="*/ 2721381 h 4687251"/>
              <a:gd name="connsiteX9275" fmla="*/ 4040399 w 8079933"/>
              <a:gd name="connsiteY9275" fmla="*/ 2723330 h 4687251"/>
              <a:gd name="connsiteX9276" fmla="*/ 4040616 w 8079933"/>
              <a:gd name="connsiteY9276" fmla="*/ 2726685 h 4687251"/>
              <a:gd name="connsiteX9277" fmla="*/ 4036276 w 8079933"/>
              <a:gd name="connsiteY9277" fmla="*/ 2726794 h 4687251"/>
              <a:gd name="connsiteX9278" fmla="*/ 4031284 w 8079933"/>
              <a:gd name="connsiteY9278" fmla="*/ 2731883 h 4687251"/>
              <a:gd name="connsiteX9279" fmla="*/ 4032260 w 8079933"/>
              <a:gd name="connsiteY9279" fmla="*/ 2734373 h 4687251"/>
              <a:gd name="connsiteX9280" fmla="*/ 4030633 w 8079933"/>
              <a:gd name="connsiteY9280" fmla="*/ 2736863 h 4687251"/>
              <a:gd name="connsiteX9281" fmla="*/ 4033455 w 8079933"/>
              <a:gd name="connsiteY9281" fmla="*/ 2743684 h 4687251"/>
              <a:gd name="connsiteX9282" fmla="*/ 4030633 w 8079933"/>
              <a:gd name="connsiteY9282" fmla="*/ 2736863 h 4687251"/>
              <a:gd name="connsiteX9283" fmla="*/ 4032261 w 8079933"/>
              <a:gd name="connsiteY9283" fmla="*/ 2734373 h 4687251"/>
              <a:gd name="connsiteX9284" fmla="*/ 4031284 w 8079933"/>
              <a:gd name="connsiteY9284" fmla="*/ 2731883 h 4687251"/>
              <a:gd name="connsiteX9285" fmla="*/ 4036276 w 8079933"/>
              <a:gd name="connsiteY9285" fmla="*/ 2726794 h 4687251"/>
              <a:gd name="connsiteX9286" fmla="*/ 4040617 w 8079933"/>
              <a:gd name="connsiteY9286" fmla="*/ 2726686 h 4687251"/>
              <a:gd name="connsiteX9287" fmla="*/ 4040400 w 8079933"/>
              <a:gd name="connsiteY9287" fmla="*/ 2723330 h 4687251"/>
              <a:gd name="connsiteX9288" fmla="*/ 4038772 w 8079933"/>
              <a:gd name="connsiteY9288" fmla="*/ 2721381 h 4687251"/>
              <a:gd name="connsiteX9289" fmla="*/ 4037687 w 8079933"/>
              <a:gd name="connsiteY9289" fmla="*/ 2717049 h 4687251"/>
              <a:gd name="connsiteX9290" fmla="*/ 4038664 w 8079933"/>
              <a:gd name="connsiteY9290" fmla="*/ 2715209 h 4687251"/>
              <a:gd name="connsiteX9291" fmla="*/ 4201872 w 8079933"/>
              <a:gd name="connsiteY9291" fmla="*/ 2712718 h 4687251"/>
              <a:gd name="connsiteX9292" fmla="*/ 4196664 w 8079933"/>
              <a:gd name="connsiteY9292" fmla="*/ 2715317 h 4687251"/>
              <a:gd name="connsiteX9293" fmla="*/ 4184184 w 8079933"/>
              <a:gd name="connsiteY9293" fmla="*/ 2714451 h 4687251"/>
              <a:gd name="connsiteX9294" fmla="*/ 4179084 w 8079933"/>
              <a:gd name="connsiteY9294" fmla="*/ 2715859 h 4687251"/>
              <a:gd name="connsiteX9295" fmla="*/ 4179084 w 8079933"/>
              <a:gd name="connsiteY9295" fmla="*/ 2715859 h 4687251"/>
              <a:gd name="connsiteX9296" fmla="*/ 4184184 w 8079933"/>
              <a:gd name="connsiteY9296" fmla="*/ 2714451 h 4687251"/>
              <a:gd name="connsiteX9297" fmla="*/ 4196664 w 8079933"/>
              <a:gd name="connsiteY9297" fmla="*/ 2715318 h 4687251"/>
              <a:gd name="connsiteX9298" fmla="*/ 4201872 w 8079933"/>
              <a:gd name="connsiteY9298" fmla="*/ 2712719 h 4687251"/>
              <a:gd name="connsiteX9299" fmla="*/ 4212507 w 8079933"/>
              <a:gd name="connsiteY9299" fmla="*/ 2714018 h 4687251"/>
              <a:gd name="connsiteX9300" fmla="*/ 4220212 w 8079933"/>
              <a:gd name="connsiteY9300" fmla="*/ 2717699 h 4687251"/>
              <a:gd name="connsiteX9301" fmla="*/ 4226939 w 8079933"/>
              <a:gd name="connsiteY9301" fmla="*/ 2717916 h 4687251"/>
              <a:gd name="connsiteX9302" fmla="*/ 4226956 w 8079933"/>
              <a:gd name="connsiteY9302" fmla="*/ 2717928 h 4687251"/>
              <a:gd name="connsiteX9303" fmla="*/ 4226940 w 8079933"/>
              <a:gd name="connsiteY9303" fmla="*/ 2717916 h 4687251"/>
              <a:gd name="connsiteX9304" fmla="*/ 4220212 w 8079933"/>
              <a:gd name="connsiteY9304" fmla="*/ 2717699 h 4687251"/>
              <a:gd name="connsiteX9305" fmla="*/ 4212507 w 8079933"/>
              <a:gd name="connsiteY9305" fmla="*/ 2714018 h 4687251"/>
              <a:gd name="connsiteX9306" fmla="*/ 4126453 w 8079933"/>
              <a:gd name="connsiteY9306" fmla="*/ 2712610 h 4687251"/>
              <a:gd name="connsiteX9307" fmla="*/ 4119726 w 8079933"/>
              <a:gd name="connsiteY9307" fmla="*/ 2713910 h 4687251"/>
              <a:gd name="connsiteX9308" fmla="*/ 4116144 w 8079933"/>
              <a:gd name="connsiteY9308" fmla="*/ 2715642 h 4687251"/>
              <a:gd name="connsiteX9309" fmla="*/ 4112780 w 8079933"/>
              <a:gd name="connsiteY9309" fmla="*/ 2715967 h 4687251"/>
              <a:gd name="connsiteX9310" fmla="*/ 4111478 w 8079933"/>
              <a:gd name="connsiteY9310" fmla="*/ 2717591 h 4687251"/>
              <a:gd name="connsiteX9311" fmla="*/ 4112781 w 8079933"/>
              <a:gd name="connsiteY9311" fmla="*/ 2715967 h 4687251"/>
              <a:gd name="connsiteX9312" fmla="*/ 4116144 w 8079933"/>
              <a:gd name="connsiteY9312" fmla="*/ 2715642 h 4687251"/>
              <a:gd name="connsiteX9313" fmla="*/ 4119726 w 8079933"/>
              <a:gd name="connsiteY9313" fmla="*/ 2713910 h 4687251"/>
              <a:gd name="connsiteX9314" fmla="*/ 4126453 w 8079933"/>
              <a:gd name="connsiteY9314" fmla="*/ 2712610 h 4687251"/>
              <a:gd name="connsiteX9315" fmla="*/ 3672744 w 8079933"/>
              <a:gd name="connsiteY9315" fmla="*/ 2712069 h 4687251"/>
              <a:gd name="connsiteX9316" fmla="*/ 3671681 w 8079933"/>
              <a:gd name="connsiteY9316" fmla="*/ 2712254 h 4687251"/>
              <a:gd name="connsiteX9317" fmla="*/ 3672745 w 8079933"/>
              <a:gd name="connsiteY9317" fmla="*/ 2712069 h 4687251"/>
              <a:gd name="connsiteX9318" fmla="*/ 4127430 w 8079933"/>
              <a:gd name="connsiteY9318" fmla="*/ 2711636 h 4687251"/>
              <a:gd name="connsiteX9319" fmla="*/ 4126757 w 8079933"/>
              <a:gd name="connsiteY9319" fmla="*/ 2712308 h 4687251"/>
              <a:gd name="connsiteX9320" fmla="*/ 4127430 w 8079933"/>
              <a:gd name="connsiteY9320" fmla="*/ 2711636 h 4687251"/>
              <a:gd name="connsiteX9321" fmla="*/ 4131336 w 8079933"/>
              <a:gd name="connsiteY9321" fmla="*/ 2711853 h 4687251"/>
              <a:gd name="connsiteX9322" fmla="*/ 4135569 w 8079933"/>
              <a:gd name="connsiteY9322" fmla="*/ 2715101 h 4687251"/>
              <a:gd name="connsiteX9323" fmla="*/ 4135569 w 8079933"/>
              <a:gd name="connsiteY9323" fmla="*/ 2715101 h 4687251"/>
              <a:gd name="connsiteX9324" fmla="*/ 4131337 w 8079933"/>
              <a:gd name="connsiteY9324" fmla="*/ 2711853 h 4687251"/>
              <a:gd name="connsiteX9325" fmla="*/ 2540157 w 8079933"/>
              <a:gd name="connsiteY9325" fmla="*/ 2711095 h 4687251"/>
              <a:gd name="connsiteX9326" fmla="*/ 2544498 w 8079933"/>
              <a:gd name="connsiteY9326" fmla="*/ 2715209 h 4687251"/>
              <a:gd name="connsiteX9327" fmla="*/ 2544606 w 8079933"/>
              <a:gd name="connsiteY9327" fmla="*/ 2719648 h 4687251"/>
              <a:gd name="connsiteX9328" fmla="*/ 2538638 w 8079933"/>
              <a:gd name="connsiteY9328" fmla="*/ 2719866 h 4687251"/>
              <a:gd name="connsiteX9329" fmla="*/ 2535600 w 8079933"/>
              <a:gd name="connsiteY9329" fmla="*/ 2715642 h 4687251"/>
              <a:gd name="connsiteX9330" fmla="*/ 4246183 w 8079933"/>
              <a:gd name="connsiteY9330" fmla="*/ 2710842 h 4687251"/>
              <a:gd name="connsiteX9331" fmla="*/ 4244085 w 8079933"/>
              <a:gd name="connsiteY9331" fmla="*/ 2711420 h 4687251"/>
              <a:gd name="connsiteX9332" fmla="*/ 4243919 w 8079933"/>
              <a:gd name="connsiteY9332" fmla="*/ 2711778 h 4687251"/>
              <a:gd name="connsiteX9333" fmla="*/ 4244085 w 8079933"/>
              <a:gd name="connsiteY9333" fmla="*/ 2711420 h 4687251"/>
              <a:gd name="connsiteX9334" fmla="*/ 4247232 w 8079933"/>
              <a:gd name="connsiteY9334" fmla="*/ 2710553 h 4687251"/>
              <a:gd name="connsiteX9335" fmla="*/ 4250813 w 8079933"/>
              <a:gd name="connsiteY9335" fmla="*/ 2712069 h 4687251"/>
              <a:gd name="connsiteX9336" fmla="*/ 4247233 w 8079933"/>
              <a:gd name="connsiteY9336" fmla="*/ 2710553 h 4687251"/>
              <a:gd name="connsiteX9337" fmla="*/ 6888311 w 8079933"/>
              <a:gd name="connsiteY9337" fmla="*/ 2709579 h 4687251"/>
              <a:gd name="connsiteX9338" fmla="*/ 6893086 w 8079933"/>
              <a:gd name="connsiteY9338" fmla="*/ 2714560 h 4687251"/>
              <a:gd name="connsiteX9339" fmla="*/ 6893737 w 8079933"/>
              <a:gd name="connsiteY9339" fmla="*/ 2717266 h 4687251"/>
              <a:gd name="connsiteX9340" fmla="*/ 6892543 w 8079933"/>
              <a:gd name="connsiteY9340" fmla="*/ 2719540 h 4687251"/>
              <a:gd name="connsiteX9341" fmla="*/ 6886358 w 8079933"/>
              <a:gd name="connsiteY9341" fmla="*/ 2712719 h 4687251"/>
              <a:gd name="connsiteX9342" fmla="*/ 6886466 w 8079933"/>
              <a:gd name="connsiteY9342" fmla="*/ 2710012 h 4687251"/>
              <a:gd name="connsiteX9343" fmla="*/ 2498704 w 8079933"/>
              <a:gd name="connsiteY9343" fmla="*/ 2709579 h 4687251"/>
              <a:gd name="connsiteX9344" fmla="*/ 2500874 w 8079933"/>
              <a:gd name="connsiteY9344" fmla="*/ 2714884 h 4687251"/>
              <a:gd name="connsiteX9345" fmla="*/ 2497185 w 8079933"/>
              <a:gd name="connsiteY9345" fmla="*/ 2722030 h 4687251"/>
              <a:gd name="connsiteX9346" fmla="*/ 3851255 w 8079933"/>
              <a:gd name="connsiteY9346" fmla="*/ 2709254 h 4687251"/>
              <a:gd name="connsiteX9347" fmla="*/ 3851254 w 8079933"/>
              <a:gd name="connsiteY9347" fmla="*/ 2709254 h 4687251"/>
              <a:gd name="connsiteX9348" fmla="*/ 3845828 w 8079933"/>
              <a:gd name="connsiteY9348" fmla="*/ 2718674 h 4687251"/>
              <a:gd name="connsiteX9349" fmla="*/ 3845612 w 8079933"/>
              <a:gd name="connsiteY9349" fmla="*/ 2722138 h 4687251"/>
              <a:gd name="connsiteX9350" fmla="*/ 3840511 w 8079933"/>
              <a:gd name="connsiteY9350" fmla="*/ 2728960 h 4687251"/>
              <a:gd name="connsiteX9351" fmla="*/ 3833566 w 8079933"/>
              <a:gd name="connsiteY9351" fmla="*/ 2741627 h 4687251"/>
              <a:gd name="connsiteX9352" fmla="*/ 3827597 w 8079933"/>
              <a:gd name="connsiteY9352" fmla="*/ 2746174 h 4687251"/>
              <a:gd name="connsiteX9353" fmla="*/ 3824902 w 8079933"/>
              <a:gd name="connsiteY9353" fmla="*/ 2748326 h 4687251"/>
              <a:gd name="connsiteX9354" fmla="*/ 3827598 w 8079933"/>
              <a:gd name="connsiteY9354" fmla="*/ 2746174 h 4687251"/>
              <a:gd name="connsiteX9355" fmla="*/ 3833567 w 8079933"/>
              <a:gd name="connsiteY9355" fmla="*/ 2741627 h 4687251"/>
              <a:gd name="connsiteX9356" fmla="*/ 3840512 w 8079933"/>
              <a:gd name="connsiteY9356" fmla="*/ 2728959 h 4687251"/>
              <a:gd name="connsiteX9357" fmla="*/ 3845612 w 8079933"/>
              <a:gd name="connsiteY9357" fmla="*/ 2722138 h 4687251"/>
              <a:gd name="connsiteX9358" fmla="*/ 3845829 w 8079933"/>
              <a:gd name="connsiteY9358" fmla="*/ 2718674 h 4687251"/>
              <a:gd name="connsiteX9359" fmla="*/ 3600108 w 8079933"/>
              <a:gd name="connsiteY9359" fmla="*/ 2707990 h 4687251"/>
              <a:gd name="connsiteX9360" fmla="*/ 3604164 w 8079933"/>
              <a:gd name="connsiteY9360" fmla="*/ 2709363 h 4687251"/>
              <a:gd name="connsiteX9361" fmla="*/ 3605867 w 8079933"/>
              <a:gd name="connsiteY9361" fmla="*/ 2710070 h 4687251"/>
              <a:gd name="connsiteX9362" fmla="*/ 3604163 w 8079933"/>
              <a:gd name="connsiteY9362" fmla="*/ 2709362 h 4687251"/>
              <a:gd name="connsiteX9363" fmla="*/ 3592987 w 8079933"/>
              <a:gd name="connsiteY9363" fmla="*/ 2707197 h 4687251"/>
              <a:gd name="connsiteX9364" fmla="*/ 3592987 w 8079933"/>
              <a:gd name="connsiteY9364" fmla="*/ 2707197 h 4687251"/>
              <a:gd name="connsiteX9365" fmla="*/ 3598087 w 8079933"/>
              <a:gd name="connsiteY9365" fmla="*/ 2707305 h 4687251"/>
              <a:gd name="connsiteX9366" fmla="*/ 3598086 w 8079933"/>
              <a:gd name="connsiteY9366" fmla="*/ 2707305 h 4687251"/>
              <a:gd name="connsiteX9367" fmla="*/ 3617077 w 8079933"/>
              <a:gd name="connsiteY9367" fmla="*/ 2706764 h 4687251"/>
              <a:gd name="connsiteX9368" fmla="*/ 3618921 w 8079933"/>
              <a:gd name="connsiteY9368" fmla="*/ 2709795 h 4687251"/>
              <a:gd name="connsiteX9369" fmla="*/ 3617293 w 8079933"/>
              <a:gd name="connsiteY9369" fmla="*/ 2712827 h 4687251"/>
              <a:gd name="connsiteX9370" fmla="*/ 3615422 w 8079933"/>
              <a:gd name="connsiteY9370" fmla="*/ 2712751 h 4687251"/>
              <a:gd name="connsiteX9371" fmla="*/ 3617294 w 8079933"/>
              <a:gd name="connsiteY9371" fmla="*/ 2712827 h 4687251"/>
              <a:gd name="connsiteX9372" fmla="*/ 3618921 w 8079933"/>
              <a:gd name="connsiteY9372" fmla="*/ 2709796 h 4687251"/>
              <a:gd name="connsiteX9373" fmla="*/ 6315886 w 8079933"/>
              <a:gd name="connsiteY9373" fmla="*/ 2705790 h 4687251"/>
              <a:gd name="connsiteX9374" fmla="*/ 6315886 w 8079933"/>
              <a:gd name="connsiteY9374" fmla="*/ 2705790 h 4687251"/>
              <a:gd name="connsiteX9375" fmla="*/ 6316862 w 8079933"/>
              <a:gd name="connsiteY9375" fmla="*/ 2710337 h 4687251"/>
              <a:gd name="connsiteX9376" fmla="*/ 6316862 w 8079933"/>
              <a:gd name="connsiteY9376" fmla="*/ 2710337 h 4687251"/>
              <a:gd name="connsiteX9377" fmla="*/ 3855486 w 8079933"/>
              <a:gd name="connsiteY9377" fmla="*/ 2704924 h 4687251"/>
              <a:gd name="connsiteX9378" fmla="*/ 3854510 w 8079933"/>
              <a:gd name="connsiteY9378" fmla="*/ 2708171 h 4687251"/>
              <a:gd name="connsiteX9379" fmla="*/ 3851304 w 8079933"/>
              <a:gd name="connsiteY9379" fmla="*/ 2709238 h 4687251"/>
              <a:gd name="connsiteX9380" fmla="*/ 3854511 w 8079933"/>
              <a:gd name="connsiteY9380" fmla="*/ 2708172 h 4687251"/>
              <a:gd name="connsiteX9381" fmla="*/ 3855488 w 8079933"/>
              <a:gd name="connsiteY9381" fmla="*/ 2704924 h 4687251"/>
              <a:gd name="connsiteX9382" fmla="*/ 3584956 w 8079933"/>
              <a:gd name="connsiteY9382" fmla="*/ 2704490 h 4687251"/>
              <a:gd name="connsiteX9383" fmla="*/ 3584955 w 8079933"/>
              <a:gd name="connsiteY9383" fmla="*/ 2704490 h 4687251"/>
              <a:gd name="connsiteX9384" fmla="*/ 3581375 w 8079933"/>
              <a:gd name="connsiteY9384" fmla="*/ 2707305 h 4687251"/>
              <a:gd name="connsiteX9385" fmla="*/ 3581375 w 8079933"/>
              <a:gd name="connsiteY9385" fmla="*/ 2707305 h 4687251"/>
              <a:gd name="connsiteX9386" fmla="*/ 3563036 w 8079933"/>
              <a:gd name="connsiteY9386" fmla="*/ 2703949 h 4687251"/>
              <a:gd name="connsiteX9387" fmla="*/ 3563035 w 8079933"/>
              <a:gd name="connsiteY9387" fmla="*/ 2703949 h 4687251"/>
              <a:gd name="connsiteX9388" fmla="*/ 3567267 w 8079933"/>
              <a:gd name="connsiteY9388" fmla="*/ 2703949 h 4687251"/>
              <a:gd name="connsiteX9389" fmla="*/ 3567268 w 8079933"/>
              <a:gd name="connsiteY9389" fmla="*/ 2703949 h 4687251"/>
              <a:gd name="connsiteX9390" fmla="*/ 4466327 w 8079933"/>
              <a:gd name="connsiteY9390" fmla="*/ 2703732 h 4687251"/>
              <a:gd name="connsiteX9391" fmla="*/ 4466327 w 8079933"/>
              <a:gd name="connsiteY9391" fmla="*/ 2703732 h 4687251"/>
              <a:gd name="connsiteX9392" fmla="*/ 4469139 w 8079933"/>
              <a:gd name="connsiteY9392" fmla="*/ 2705415 h 4687251"/>
              <a:gd name="connsiteX9393" fmla="*/ 4256674 w 8079933"/>
              <a:gd name="connsiteY9393" fmla="*/ 2703624 h 4687251"/>
              <a:gd name="connsiteX9394" fmla="*/ 4256674 w 8079933"/>
              <a:gd name="connsiteY9394" fmla="*/ 2703624 h 4687251"/>
              <a:gd name="connsiteX9395" fmla="*/ 4261122 w 8079933"/>
              <a:gd name="connsiteY9395" fmla="*/ 2705357 h 4687251"/>
              <a:gd name="connsiteX9396" fmla="*/ 4264269 w 8079933"/>
              <a:gd name="connsiteY9396" fmla="*/ 2706547 h 4687251"/>
              <a:gd name="connsiteX9397" fmla="*/ 4269935 w 8079933"/>
              <a:gd name="connsiteY9397" fmla="*/ 2713887 h 4687251"/>
              <a:gd name="connsiteX9398" fmla="*/ 4269935 w 8079933"/>
              <a:gd name="connsiteY9398" fmla="*/ 2713886 h 4687251"/>
              <a:gd name="connsiteX9399" fmla="*/ 4264269 w 8079933"/>
              <a:gd name="connsiteY9399" fmla="*/ 2706547 h 4687251"/>
              <a:gd name="connsiteX9400" fmla="*/ 4261123 w 8079933"/>
              <a:gd name="connsiteY9400" fmla="*/ 2705356 h 4687251"/>
              <a:gd name="connsiteX9401" fmla="*/ 4261123 w 8079933"/>
              <a:gd name="connsiteY9401" fmla="*/ 2705356 h 4687251"/>
              <a:gd name="connsiteX9402" fmla="*/ 4084458 w 8079933"/>
              <a:gd name="connsiteY9402" fmla="*/ 2703516 h 4687251"/>
              <a:gd name="connsiteX9403" fmla="*/ 4088364 w 8079933"/>
              <a:gd name="connsiteY9403" fmla="*/ 2704274 h 4687251"/>
              <a:gd name="connsiteX9404" fmla="*/ 4093490 w 8079933"/>
              <a:gd name="connsiteY9404" fmla="*/ 2706133 h 4687251"/>
              <a:gd name="connsiteX9405" fmla="*/ 4088364 w 8079933"/>
              <a:gd name="connsiteY9405" fmla="*/ 2704273 h 4687251"/>
              <a:gd name="connsiteX9406" fmla="*/ 3587342 w 8079933"/>
              <a:gd name="connsiteY9406" fmla="*/ 2703516 h 4687251"/>
              <a:gd name="connsiteX9407" fmla="*/ 3585012 w 8079933"/>
              <a:gd name="connsiteY9407" fmla="*/ 2704467 h 4687251"/>
              <a:gd name="connsiteX9408" fmla="*/ 3587343 w 8079933"/>
              <a:gd name="connsiteY9408" fmla="*/ 2703516 h 4687251"/>
              <a:gd name="connsiteX9409" fmla="*/ 3966608 w 8079933"/>
              <a:gd name="connsiteY9409" fmla="*/ 2701980 h 4687251"/>
              <a:gd name="connsiteX9410" fmla="*/ 3972794 w 8079933"/>
              <a:gd name="connsiteY9410" fmla="*/ 2706114 h 4687251"/>
              <a:gd name="connsiteX9411" fmla="*/ 3972924 w 8079933"/>
              <a:gd name="connsiteY9411" fmla="*/ 2708973 h 4687251"/>
              <a:gd name="connsiteX9412" fmla="*/ 3972794 w 8079933"/>
              <a:gd name="connsiteY9412" fmla="*/ 2706114 h 4687251"/>
              <a:gd name="connsiteX9413" fmla="*/ 6167544 w 8079933"/>
              <a:gd name="connsiteY9413" fmla="*/ 2701676 h 4687251"/>
              <a:gd name="connsiteX9414" fmla="*/ 6168521 w 8079933"/>
              <a:gd name="connsiteY9414" fmla="*/ 2704382 h 4687251"/>
              <a:gd name="connsiteX9415" fmla="*/ 6167001 w 8079933"/>
              <a:gd name="connsiteY9415" fmla="*/ 2708388 h 4687251"/>
              <a:gd name="connsiteX9416" fmla="*/ 6168521 w 8079933"/>
              <a:gd name="connsiteY9416" fmla="*/ 2710121 h 4687251"/>
              <a:gd name="connsiteX9417" fmla="*/ 6168303 w 8079933"/>
              <a:gd name="connsiteY9417" fmla="*/ 2715101 h 4687251"/>
              <a:gd name="connsiteX9418" fmla="*/ 6164723 w 8079933"/>
              <a:gd name="connsiteY9418" fmla="*/ 2720406 h 4687251"/>
              <a:gd name="connsiteX9419" fmla="*/ 6167978 w 8079933"/>
              <a:gd name="connsiteY9419" fmla="*/ 2722463 h 4687251"/>
              <a:gd name="connsiteX9420" fmla="*/ 6167978 w 8079933"/>
              <a:gd name="connsiteY9420" fmla="*/ 2729176 h 4687251"/>
              <a:gd name="connsiteX9421" fmla="*/ 6162660 w 8079933"/>
              <a:gd name="connsiteY9421" fmla="*/ 2733291 h 4687251"/>
              <a:gd name="connsiteX9422" fmla="*/ 6160490 w 8079933"/>
              <a:gd name="connsiteY9422" fmla="*/ 2731233 h 4687251"/>
              <a:gd name="connsiteX9423" fmla="*/ 6163203 w 8079933"/>
              <a:gd name="connsiteY9423" fmla="*/ 2720947 h 4687251"/>
              <a:gd name="connsiteX9424" fmla="*/ 6162335 w 8079933"/>
              <a:gd name="connsiteY9424" fmla="*/ 2717700 h 4687251"/>
              <a:gd name="connsiteX9425" fmla="*/ 6163746 w 8079933"/>
              <a:gd name="connsiteY9425" fmla="*/ 2714885 h 4687251"/>
              <a:gd name="connsiteX9426" fmla="*/ 6162877 w 8079933"/>
              <a:gd name="connsiteY9426" fmla="*/ 2706981 h 4687251"/>
              <a:gd name="connsiteX9427" fmla="*/ 4076786 w 8079933"/>
              <a:gd name="connsiteY9427" fmla="*/ 2701178 h 4687251"/>
              <a:gd name="connsiteX9428" fmla="*/ 4081636 w 8079933"/>
              <a:gd name="connsiteY9428" fmla="*/ 2701892 h 4687251"/>
              <a:gd name="connsiteX9429" fmla="*/ 4081636 w 8079933"/>
              <a:gd name="connsiteY9429" fmla="*/ 2701892 h 4687251"/>
              <a:gd name="connsiteX9430" fmla="*/ 3604598 w 8079933"/>
              <a:gd name="connsiteY9430" fmla="*/ 2700701 h 4687251"/>
              <a:gd name="connsiteX9431" fmla="*/ 3615014 w 8079933"/>
              <a:gd name="connsiteY9431" fmla="*/ 2707089 h 4687251"/>
              <a:gd name="connsiteX9432" fmla="*/ 3615015 w 8079933"/>
              <a:gd name="connsiteY9432" fmla="*/ 2707089 h 4687251"/>
              <a:gd name="connsiteX9433" fmla="*/ 4072055 w 8079933"/>
              <a:gd name="connsiteY9433" fmla="*/ 2699963 h 4687251"/>
              <a:gd name="connsiteX9434" fmla="*/ 4068506 w 8079933"/>
              <a:gd name="connsiteY9434" fmla="*/ 2700159 h 4687251"/>
              <a:gd name="connsiteX9435" fmla="*/ 4066444 w 8079933"/>
              <a:gd name="connsiteY9435" fmla="*/ 2702000 h 4687251"/>
              <a:gd name="connsiteX9436" fmla="*/ 4059173 w 8079933"/>
              <a:gd name="connsiteY9436" fmla="*/ 2701892 h 4687251"/>
              <a:gd name="connsiteX9437" fmla="*/ 4057220 w 8079933"/>
              <a:gd name="connsiteY9437" fmla="*/ 2702000 h 4687251"/>
              <a:gd name="connsiteX9438" fmla="*/ 4053422 w 8079933"/>
              <a:gd name="connsiteY9438" fmla="*/ 2701783 h 4687251"/>
              <a:gd name="connsiteX9439" fmla="*/ 4048538 w 8079933"/>
              <a:gd name="connsiteY9439" fmla="*/ 2702866 h 4687251"/>
              <a:gd name="connsiteX9440" fmla="*/ 4046694 w 8079933"/>
              <a:gd name="connsiteY9440" fmla="*/ 2703949 h 4687251"/>
              <a:gd name="connsiteX9441" fmla="*/ 4044089 w 8079933"/>
              <a:gd name="connsiteY9441" fmla="*/ 2705031 h 4687251"/>
              <a:gd name="connsiteX9442" fmla="*/ 4038771 w 8079933"/>
              <a:gd name="connsiteY9442" fmla="*/ 2709363 h 4687251"/>
              <a:gd name="connsiteX9443" fmla="*/ 4038012 w 8079933"/>
              <a:gd name="connsiteY9443" fmla="*/ 2711744 h 4687251"/>
              <a:gd name="connsiteX9444" fmla="*/ 4038772 w 8079933"/>
              <a:gd name="connsiteY9444" fmla="*/ 2709363 h 4687251"/>
              <a:gd name="connsiteX9445" fmla="*/ 4044090 w 8079933"/>
              <a:gd name="connsiteY9445" fmla="*/ 2705032 h 4687251"/>
              <a:gd name="connsiteX9446" fmla="*/ 4046694 w 8079933"/>
              <a:gd name="connsiteY9446" fmla="*/ 2703949 h 4687251"/>
              <a:gd name="connsiteX9447" fmla="*/ 4048538 w 8079933"/>
              <a:gd name="connsiteY9447" fmla="*/ 2702867 h 4687251"/>
              <a:gd name="connsiteX9448" fmla="*/ 4053422 w 8079933"/>
              <a:gd name="connsiteY9448" fmla="*/ 2701784 h 4687251"/>
              <a:gd name="connsiteX9449" fmla="*/ 4057220 w 8079933"/>
              <a:gd name="connsiteY9449" fmla="*/ 2702000 h 4687251"/>
              <a:gd name="connsiteX9450" fmla="*/ 4059173 w 8079933"/>
              <a:gd name="connsiteY9450" fmla="*/ 2701892 h 4687251"/>
              <a:gd name="connsiteX9451" fmla="*/ 4066444 w 8079933"/>
              <a:gd name="connsiteY9451" fmla="*/ 2702000 h 4687251"/>
              <a:gd name="connsiteX9452" fmla="*/ 4068506 w 8079933"/>
              <a:gd name="connsiteY9452" fmla="*/ 2700159 h 4687251"/>
              <a:gd name="connsiteX9453" fmla="*/ 4072412 w 8079933"/>
              <a:gd name="connsiteY9453" fmla="*/ 2699943 h 4687251"/>
              <a:gd name="connsiteX9454" fmla="*/ 4073714 w 8079933"/>
              <a:gd name="connsiteY9454" fmla="*/ 2700430 h 4687251"/>
              <a:gd name="connsiteX9455" fmla="*/ 4072412 w 8079933"/>
              <a:gd name="connsiteY9455" fmla="*/ 2699943 h 4687251"/>
              <a:gd name="connsiteX9456" fmla="*/ 4906905 w 8079933"/>
              <a:gd name="connsiteY9456" fmla="*/ 2699401 h 4687251"/>
              <a:gd name="connsiteX9457" fmla="*/ 4906906 w 8079933"/>
              <a:gd name="connsiteY9457" fmla="*/ 2699402 h 4687251"/>
              <a:gd name="connsiteX9458" fmla="*/ 4913136 w 8079933"/>
              <a:gd name="connsiteY9458" fmla="*/ 2700372 h 4687251"/>
              <a:gd name="connsiteX9459" fmla="*/ 6825046 w 8079933"/>
              <a:gd name="connsiteY9459" fmla="*/ 2699294 h 4687251"/>
              <a:gd name="connsiteX9460" fmla="*/ 6830580 w 8079933"/>
              <a:gd name="connsiteY9460" fmla="*/ 2701351 h 4687251"/>
              <a:gd name="connsiteX9461" fmla="*/ 6836332 w 8079933"/>
              <a:gd name="connsiteY9461" fmla="*/ 2700052 h 4687251"/>
              <a:gd name="connsiteX9462" fmla="*/ 6846315 w 8079933"/>
              <a:gd name="connsiteY9462" fmla="*/ 2708822 h 4687251"/>
              <a:gd name="connsiteX9463" fmla="*/ 6851090 w 8079933"/>
              <a:gd name="connsiteY9463" fmla="*/ 2710663 h 4687251"/>
              <a:gd name="connsiteX9464" fmla="*/ 6851090 w 8079933"/>
              <a:gd name="connsiteY9464" fmla="*/ 2714993 h 4687251"/>
              <a:gd name="connsiteX9465" fmla="*/ 6849354 w 8079933"/>
              <a:gd name="connsiteY9465" fmla="*/ 2718241 h 4687251"/>
              <a:gd name="connsiteX9466" fmla="*/ 6851741 w 8079933"/>
              <a:gd name="connsiteY9466" fmla="*/ 2721814 h 4687251"/>
              <a:gd name="connsiteX9467" fmla="*/ 6851741 w 8079933"/>
              <a:gd name="connsiteY9467" fmla="*/ 2725929 h 4687251"/>
              <a:gd name="connsiteX9468" fmla="*/ 6849571 w 8079933"/>
              <a:gd name="connsiteY9468" fmla="*/ 2727445 h 4687251"/>
              <a:gd name="connsiteX9469" fmla="*/ 6849571 w 8079933"/>
              <a:gd name="connsiteY9469" fmla="*/ 2731234 h 4687251"/>
              <a:gd name="connsiteX9470" fmla="*/ 6845230 w 8079933"/>
              <a:gd name="connsiteY9470" fmla="*/ 2734916 h 4687251"/>
              <a:gd name="connsiteX9471" fmla="*/ 6841324 w 8079933"/>
              <a:gd name="connsiteY9471" fmla="*/ 2734157 h 4687251"/>
              <a:gd name="connsiteX9472" fmla="*/ 6836657 w 8079933"/>
              <a:gd name="connsiteY9472" fmla="*/ 2728527 h 4687251"/>
              <a:gd name="connsiteX9473" fmla="*/ 6836440 w 8079933"/>
              <a:gd name="connsiteY9473" fmla="*/ 2724196 h 4687251"/>
              <a:gd name="connsiteX9474" fmla="*/ 6832642 w 8079933"/>
              <a:gd name="connsiteY9474" fmla="*/ 2722031 h 4687251"/>
              <a:gd name="connsiteX9475" fmla="*/ 6832642 w 8079933"/>
              <a:gd name="connsiteY9475" fmla="*/ 2714561 h 4687251"/>
              <a:gd name="connsiteX9476" fmla="*/ 6829603 w 8079933"/>
              <a:gd name="connsiteY9476" fmla="*/ 2710446 h 4687251"/>
              <a:gd name="connsiteX9477" fmla="*/ 6826240 w 8079933"/>
              <a:gd name="connsiteY9477" fmla="*/ 2709255 h 4687251"/>
              <a:gd name="connsiteX9478" fmla="*/ 6825046 w 8079933"/>
              <a:gd name="connsiteY9478" fmla="*/ 2703625 h 4687251"/>
              <a:gd name="connsiteX9479" fmla="*/ 6821791 w 8079933"/>
              <a:gd name="connsiteY9479" fmla="*/ 2703733 h 4687251"/>
              <a:gd name="connsiteX9480" fmla="*/ 6820705 w 8079933"/>
              <a:gd name="connsiteY9480" fmla="*/ 2701567 h 4687251"/>
              <a:gd name="connsiteX9481" fmla="*/ 6859446 w 8079933"/>
              <a:gd name="connsiteY9481" fmla="*/ 2697453 h 4687251"/>
              <a:gd name="connsiteX9482" fmla="*/ 6863895 w 8079933"/>
              <a:gd name="connsiteY9482" fmla="*/ 2699077 h 4687251"/>
              <a:gd name="connsiteX9483" fmla="*/ 6866282 w 8079933"/>
              <a:gd name="connsiteY9483" fmla="*/ 2703083 h 4687251"/>
              <a:gd name="connsiteX9484" fmla="*/ 6864329 w 8079933"/>
              <a:gd name="connsiteY9484" fmla="*/ 2705573 h 4687251"/>
              <a:gd name="connsiteX9485" fmla="*/ 6863244 w 8079933"/>
              <a:gd name="connsiteY9485" fmla="*/ 2708171 h 4687251"/>
              <a:gd name="connsiteX9486" fmla="*/ 6857710 w 8079933"/>
              <a:gd name="connsiteY9486" fmla="*/ 2704382 h 4687251"/>
              <a:gd name="connsiteX9487" fmla="*/ 6856950 w 8079933"/>
              <a:gd name="connsiteY9487" fmla="*/ 2700918 h 4687251"/>
              <a:gd name="connsiteX9488" fmla="*/ 7408757 w 8079933"/>
              <a:gd name="connsiteY9488" fmla="*/ 2697344 h 4687251"/>
              <a:gd name="connsiteX9489" fmla="*/ 7410494 w 8079933"/>
              <a:gd name="connsiteY9489" fmla="*/ 2698535 h 4687251"/>
              <a:gd name="connsiteX9490" fmla="*/ 7406370 w 8079933"/>
              <a:gd name="connsiteY9490" fmla="*/ 2706114 h 4687251"/>
              <a:gd name="connsiteX9491" fmla="*/ 7402897 w 8079933"/>
              <a:gd name="connsiteY9491" fmla="*/ 2707197 h 4687251"/>
              <a:gd name="connsiteX9492" fmla="*/ 7401052 w 8079933"/>
              <a:gd name="connsiteY9492" fmla="*/ 2705464 h 4687251"/>
              <a:gd name="connsiteX9493" fmla="*/ 7401920 w 8079933"/>
              <a:gd name="connsiteY9493" fmla="*/ 2702540 h 4687251"/>
              <a:gd name="connsiteX9494" fmla="*/ 7404091 w 8079933"/>
              <a:gd name="connsiteY9494" fmla="*/ 2698535 h 4687251"/>
              <a:gd name="connsiteX9495" fmla="*/ 3879795 w 8079933"/>
              <a:gd name="connsiteY9495" fmla="*/ 2696911 h 4687251"/>
              <a:gd name="connsiteX9496" fmla="*/ 3879794 w 8079933"/>
              <a:gd name="connsiteY9496" fmla="*/ 2696912 h 4687251"/>
              <a:gd name="connsiteX9497" fmla="*/ 3877732 w 8079933"/>
              <a:gd name="connsiteY9497" fmla="*/ 2701675 h 4687251"/>
              <a:gd name="connsiteX9498" fmla="*/ 3877733 w 8079933"/>
              <a:gd name="connsiteY9498" fmla="*/ 2701675 h 4687251"/>
              <a:gd name="connsiteX9499" fmla="*/ 3582569 w 8079933"/>
              <a:gd name="connsiteY9499" fmla="*/ 2694638 h 4687251"/>
              <a:gd name="connsiteX9500" fmla="*/ 3586583 w 8079933"/>
              <a:gd name="connsiteY9500" fmla="*/ 2695829 h 4687251"/>
              <a:gd name="connsiteX9501" fmla="*/ 3592660 w 8079933"/>
              <a:gd name="connsiteY9501" fmla="*/ 2696046 h 4687251"/>
              <a:gd name="connsiteX9502" fmla="*/ 3600148 w 8079933"/>
              <a:gd name="connsiteY9502" fmla="*/ 2700701 h 4687251"/>
              <a:gd name="connsiteX9503" fmla="*/ 3600148 w 8079933"/>
              <a:gd name="connsiteY9503" fmla="*/ 2700701 h 4687251"/>
              <a:gd name="connsiteX9504" fmla="*/ 3592661 w 8079933"/>
              <a:gd name="connsiteY9504" fmla="*/ 2696045 h 4687251"/>
              <a:gd name="connsiteX9505" fmla="*/ 3586584 w 8079933"/>
              <a:gd name="connsiteY9505" fmla="*/ 2695829 h 4687251"/>
              <a:gd name="connsiteX9506" fmla="*/ 6396794 w 8079933"/>
              <a:gd name="connsiteY9506" fmla="*/ 2693667 h 4687251"/>
              <a:gd name="connsiteX9507" fmla="*/ 6396622 w 8079933"/>
              <a:gd name="connsiteY9507" fmla="*/ 2694421 h 4687251"/>
              <a:gd name="connsiteX9508" fmla="*/ 6394017 w 8079933"/>
              <a:gd name="connsiteY9508" fmla="*/ 2697958 h 4687251"/>
              <a:gd name="connsiteX9509" fmla="*/ 6396622 w 8079933"/>
              <a:gd name="connsiteY9509" fmla="*/ 2694422 h 4687251"/>
              <a:gd name="connsiteX9510" fmla="*/ 1861168 w 8079933"/>
              <a:gd name="connsiteY9510" fmla="*/ 2693663 h 4687251"/>
              <a:gd name="connsiteX9511" fmla="*/ 1857153 w 8079933"/>
              <a:gd name="connsiteY9511" fmla="*/ 2694096 h 4687251"/>
              <a:gd name="connsiteX9512" fmla="*/ 1856067 w 8079933"/>
              <a:gd name="connsiteY9512" fmla="*/ 2696804 h 4687251"/>
              <a:gd name="connsiteX9513" fmla="*/ 1855200 w 8079933"/>
              <a:gd name="connsiteY9513" fmla="*/ 2698968 h 4687251"/>
              <a:gd name="connsiteX9514" fmla="*/ 1855200 w 8079933"/>
              <a:gd name="connsiteY9514" fmla="*/ 2698969 h 4687251"/>
              <a:gd name="connsiteX9515" fmla="*/ 1856068 w 8079933"/>
              <a:gd name="connsiteY9515" fmla="*/ 2696803 h 4687251"/>
              <a:gd name="connsiteX9516" fmla="*/ 1857153 w 8079933"/>
              <a:gd name="connsiteY9516" fmla="*/ 2694097 h 4687251"/>
              <a:gd name="connsiteX9517" fmla="*/ 1861168 w 8079933"/>
              <a:gd name="connsiteY9517" fmla="*/ 2693663 h 4687251"/>
              <a:gd name="connsiteX9518" fmla="*/ 2505432 w 8079933"/>
              <a:gd name="connsiteY9518" fmla="*/ 2692797 h 4687251"/>
              <a:gd name="connsiteX9519" fmla="*/ 2507059 w 8079933"/>
              <a:gd name="connsiteY9519" fmla="*/ 2700376 h 4687251"/>
              <a:gd name="connsiteX9520" fmla="*/ 2504564 w 8079933"/>
              <a:gd name="connsiteY9520" fmla="*/ 2706873 h 4687251"/>
              <a:gd name="connsiteX9521" fmla="*/ 2500657 w 8079933"/>
              <a:gd name="connsiteY9521" fmla="*/ 2704924 h 4687251"/>
              <a:gd name="connsiteX9522" fmla="*/ 2499789 w 8079933"/>
              <a:gd name="connsiteY9522" fmla="*/ 2700376 h 4687251"/>
              <a:gd name="connsiteX9523" fmla="*/ 1823404 w 8079933"/>
              <a:gd name="connsiteY9523" fmla="*/ 2691497 h 4687251"/>
              <a:gd name="connsiteX9524" fmla="*/ 1819281 w 8079933"/>
              <a:gd name="connsiteY9524" fmla="*/ 2692688 h 4687251"/>
              <a:gd name="connsiteX9525" fmla="*/ 1813421 w 8079933"/>
              <a:gd name="connsiteY9525" fmla="*/ 2693988 h 4687251"/>
              <a:gd name="connsiteX9526" fmla="*/ 1808972 w 8079933"/>
              <a:gd name="connsiteY9526" fmla="*/ 2698860 h 4687251"/>
              <a:gd name="connsiteX9527" fmla="*/ 1808940 w 8079933"/>
              <a:gd name="connsiteY9527" fmla="*/ 2699216 h 4687251"/>
              <a:gd name="connsiteX9528" fmla="*/ 1808972 w 8079933"/>
              <a:gd name="connsiteY9528" fmla="*/ 2698861 h 4687251"/>
              <a:gd name="connsiteX9529" fmla="*/ 1813421 w 8079933"/>
              <a:gd name="connsiteY9529" fmla="*/ 2693989 h 4687251"/>
              <a:gd name="connsiteX9530" fmla="*/ 1819281 w 8079933"/>
              <a:gd name="connsiteY9530" fmla="*/ 2692689 h 4687251"/>
              <a:gd name="connsiteX9531" fmla="*/ 1823404 w 8079933"/>
              <a:gd name="connsiteY9531" fmla="*/ 2691498 h 4687251"/>
              <a:gd name="connsiteX9532" fmla="*/ 6812566 w 8079933"/>
              <a:gd name="connsiteY9532" fmla="*/ 2691173 h 4687251"/>
              <a:gd name="connsiteX9533" fmla="*/ 6815713 w 8079933"/>
              <a:gd name="connsiteY9533" fmla="*/ 2691173 h 4687251"/>
              <a:gd name="connsiteX9534" fmla="*/ 6820162 w 8079933"/>
              <a:gd name="connsiteY9534" fmla="*/ 2695829 h 4687251"/>
              <a:gd name="connsiteX9535" fmla="*/ 6818969 w 8079933"/>
              <a:gd name="connsiteY9535" fmla="*/ 2697020 h 4687251"/>
              <a:gd name="connsiteX9536" fmla="*/ 6813109 w 8079933"/>
              <a:gd name="connsiteY9536" fmla="*/ 2694530 h 4687251"/>
              <a:gd name="connsiteX9537" fmla="*/ 1843697 w 8079933"/>
              <a:gd name="connsiteY9537" fmla="*/ 2689441 h 4687251"/>
              <a:gd name="connsiteX9538" fmla="*/ 1839031 w 8079933"/>
              <a:gd name="connsiteY9538" fmla="*/ 2690091 h 4687251"/>
              <a:gd name="connsiteX9539" fmla="*/ 1843697 w 8079933"/>
              <a:gd name="connsiteY9539" fmla="*/ 2689441 h 4687251"/>
              <a:gd name="connsiteX9540" fmla="*/ 4815100 w 8079933"/>
              <a:gd name="connsiteY9540" fmla="*/ 2689224 h 4687251"/>
              <a:gd name="connsiteX9541" fmla="*/ 4813906 w 8079933"/>
              <a:gd name="connsiteY9541" fmla="*/ 2690956 h 4687251"/>
              <a:gd name="connsiteX9542" fmla="*/ 4811302 w 8079933"/>
              <a:gd name="connsiteY9542" fmla="*/ 2698211 h 4687251"/>
              <a:gd name="connsiteX9543" fmla="*/ 4811302 w 8079933"/>
              <a:gd name="connsiteY9543" fmla="*/ 2706438 h 4687251"/>
              <a:gd name="connsiteX9544" fmla="*/ 4804791 w 8079933"/>
              <a:gd name="connsiteY9544" fmla="*/ 2717482 h 4687251"/>
              <a:gd name="connsiteX9545" fmla="*/ 4802077 w 8079933"/>
              <a:gd name="connsiteY9545" fmla="*/ 2725061 h 4687251"/>
              <a:gd name="connsiteX9546" fmla="*/ 4802079 w 8079933"/>
              <a:gd name="connsiteY9546" fmla="*/ 2725061 h 4687251"/>
              <a:gd name="connsiteX9547" fmla="*/ 4804792 w 8079933"/>
              <a:gd name="connsiteY9547" fmla="*/ 2717482 h 4687251"/>
              <a:gd name="connsiteX9548" fmla="*/ 4811303 w 8079933"/>
              <a:gd name="connsiteY9548" fmla="*/ 2706439 h 4687251"/>
              <a:gd name="connsiteX9549" fmla="*/ 4811303 w 8079933"/>
              <a:gd name="connsiteY9549" fmla="*/ 2698210 h 4687251"/>
              <a:gd name="connsiteX9550" fmla="*/ 4813907 w 8079933"/>
              <a:gd name="connsiteY9550" fmla="*/ 2690956 h 4687251"/>
              <a:gd name="connsiteX9551" fmla="*/ 4815101 w 8079933"/>
              <a:gd name="connsiteY9551" fmla="*/ 2689224 h 4687251"/>
              <a:gd name="connsiteX9552" fmla="*/ 4471536 w 8079933"/>
              <a:gd name="connsiteY9552" fmla="*/ 2686409 h 4687251"/>
              <a:gd name="connsiteX9553" fmla="*/ 4471753 w 8079933"/>
              <a:gd name="connsiteY9553" fmla="*/ 2689765 h 4687251"/>
              <a:gd name="connsiteX9554" fmla="*/ 4472926 w 8079933"/>
              <a:gd name="connsiteY9554" fmla="*/ 2690935 h 4687251"/>
              <a:gd name="connsiteX9555" fmla="*/ 4471753 w 8079933"/>
              <a:gd name="connsiteY9555" fmla="*/ 2689765 h 4687251"/>
              <a:gd name="connsiteX9556" fmla="*/ 6472288 w 8079933"/>
              <a:gd name="connsiteY9556" fmla="*/ 2686264 h 4687251"/>
              <a:gd name="connsiteX9557" fmla="*/ 6473450 w 8079933"/>
              <a:gd name="connsiteY9557" fmla="*/ 2686301 h 4687251"/>
              <a:gd name="connsiteX9558" fmla="*/ 6477792 w 8079933"/>
              <a:gd name="connsiteY9558" fmla="*/ 2693338 h 4687251"/>
              <a:gd name="connsiteX9559" fmla="*/ 6485279 w 8079933"/>
              <a:gd name="connsiteY9559" fmla="*/ 2696045 h 4687251"/>
              <a:gd name="connsiteX9560" fmla="*/ 6477794 w 8079933"/>
              <a:gd name="connsiteY9560" fmla="*/ 2693338 h 4687251"/>
              <a:gd name="connsiteX9561" fmla="*/ 6473453 w 8079933"/>
              <a:gd name="connsiteY9561" fmla="*/ 2686301 h 4687251"/>
              <a:gd name="connsiteX9562" fmla="*/ 4891213 w 8079933"/>
              <a:gd name="connsiteY9562" fmla="*/ 2685990 h 4687251"/>
              <a:gd name="connsiteX9563" fmla="*/ 4892799 w 8079933"/>
              <a:gd name="connsiteY9563" fmla="*/ 2687492 h 4687251"/>
              <a:gd name="connsiteX9564" fmla="*/ 4896705 w 8079933"/>
              <a:gd name="connsiteY9564" fmla="*/ 2688249 h 4687251"/>
              <a:gd name="connsiteX9565" fmla="*/ 4905061 w 8079933"/>
              <a:gd name="connsiteY9565" fmla="*/ 2695720 h 4687251"/>
              <a:gd name="connsiteX9566" fmla="*/ 4905061 w 8079933"/>
              <a:gd name="connsiteY9566" fmla="*/ 2695720 h 4687251"/>
              <a:gd name="connsiteX9567" fmla="*/ 4896705 w 8079933"/>
              <a:gd name="connsiteY9567" fmla="*/ 2688249 h 4687251"/>
              <a:gd name="connsiteX9568" fmla="*/ 4892798 w 8079933"/>
              <a:gd name="connsiteY9568" fmla="*/ 2687491 h 4687251"/>
              <a:gd name="connsiteX9569" fmla="*/ 6915657 w 8079933"/>
              <a:gd name="connsiteY9569" fmla="*/ 2684893 h 4687251"/>
              <a:gd name="connsiteX9570" fmla="*/ 6919129 w 8079933"/>
              <a:gd name="connsiteY9570" fmla="*/ 2688466 h 4687251"/>
              <a:gd name="connsiteX9571" fmla="*/ 6921409 w 8079933"/>
              <a:gd name="connsiteY9571" fmla="*/ 2693338 h 4687251"/>
              <a:gd name="connsiteX9572" fmla="*/ 6919672 w 8079933"/>
              <a:gd name="connsiteY9572" fmla="*/ 2698318 h 4687251"/>
              <a:gd name="connsiteX9573" fmla="*/ 6913378 w 8079933"/>
              <a:gd name="connsiteY9573" fmla="*/ 2699617 h 4687251"/>
              <a:gd name="connsiteX9574" fmla="*/ 6911208 w 8079933"/>
              <a:gd name="connsiteY9574" fmla="*/ 2697019 h 4687251"/>
              <a:gd name="connsiteX9575" fmla="*/ 6912836 w 8079933"/>
              <a:gd name="connsiteY9575" fmla="*/ 2695719 h 4687251"/>
              <a:gd name="connsiteX9576" fmla="*/ 6914246 w 8079933"/>
              <a:gd name="connsiteY9576" fmla="*/ 2692039 h 4687251"/>
              <a:gd name="connsiteX9577" fmla="*/ 6913378 w 8079933"/>
              <a:gd name="connsiteY9577" fmla="*/ 2686733 h 4687251"/>
              <a:gd name="connsiteX9578" fmla="*/ 1829373 w 8079933"/>
              <a:gd name="connsiteY9578" fmla="*/ 2684461 h 4687251"/>
              <a:gd name="connsiteX9579" fmla="*/ 1827539 w 8079933"/>
              <a:gd name="connsiteY9579" fmla="*/ 2685859 h 4687251"/>
              <a:gd name="connsiteX9580" fmla="*/ 1827528 w 8079933"/>
              <a:gd name="connsiteY9580" fmla="*/ 2685868 h 4687251"/>
              <a:gd name="connsiteX9581" fmla="*/ 1823790 w 8079933"/>
              <a:gd name="connsiteY9581" fmla="*/ 2688616 h 4687251"/>
              <a:gd name="connsiteX9582" fmla="*/ 1827529 w 8079933"/>
              <a:gd name="connsiteY9582" fmla="*/ 2685869 h 4687251"/>
              <a:gd name="connsiteX9583" fmla="*/ 1829374 w 8079933"/>
              <a:gd name="connsiteY9583" fmla="*/ 2684461 h 4687251"/>
              <a:gd name="connsiteX9584" fmla="*/ 1831012 w 8079933"/>
              <a:gd name="connsiteY9584" fmla="*/ 2684814 h 4687251"/>
              <a:gd name="connsiteX9585" fmla="*/ 1829430 w 8079933"/>
              <a:gd name="connsiteY9585" fmla="*/ 2684390 h 4687251"/>
              <a:gd name="connsiteX9586" fmla="*/ 1823405 w 8079933"/>
              <a:gd name="connsiteY9586" fmla="*/ 2688899 h 4687251"/>
              <a:gd name="connsiteX9587" fmla="*/ 1823405 w 8079933"/>
              <a:gd name="connsiteY9587" fmla="*/ 2688899 h 4687251"/>
              <a:gd name="connsiteX9588" fmla="*/ 1823416 w 8079933"/>
              <a:gd name="connsiteY9588" fmla="*/ 2688892 h 4687251"/>
              <a:gd name="connsiteX9589" fmla="*/ 4883683 w 8079933"/>
              <a:gd name="connsiteY9589" fmla="*/ 2682511 h 4687251"/>
              <a:gd name="connsiteX9590" fmla="*/ 4879776 w 8079933"/>
              <a:gd name="connsiteY9590" fmla="*/ 2683268 h 4687251"/>
              <a:gd name="connsiteX9591" fmla="*/ 4879125 w 8079933"/>
              <a:gd name="connsiteY9591" fmla="*/ 2684676 h 4687251"/>
              <a:gd name="connsiteX9592" fmla="*/ 4879125 w 8079933"/>
              <a:gd name="connsiteY9592" fmla="*/ 2684676 h 4687251"/>
              <a:gd name="connsiteX9593" fmla="*/ 4879777 w 8079933"/>
              <a:gd name="connsiteY9593" fmla="*/ 2683269 h 4687251"/>
              <a:gd name="connsiteX9594" fmla="*/ 4883683 w 8079933"/>
              <a:gd name="connsiteY9594" fmla="*/ 2682511 h 4687251"/>
              <a:gd name="connsiteX9595" fmla="*/ 3903358 w 8079933"/>
              <a:gd name="connsiteY9595" fmla="*/ 2682413 h 4687251"/>
              <a:gd name="connsiteX9596" fmla="*/ 3892924 w 8079933"/>
              <a:gd name="connsiteY9596" fmla="*/ 2688142 h 4687251"/>
              <a:gd name="connsiteX9597" fmla="*/ 3884050 w 8079933"/>
              <a:gd name="connsiteY9597" fmla="*/ 2694070 h 4687251"/>
              <a:gd name="connsiteX9598" fmla="*/ 3892926 w 8079933"/>
              <a:gd name="connsiteY9598" fmla="*/ 2688141 h 4687251"/>
              <a:gd name="connsiteX9599" fmla="*/ 7419283 w 8079933"/>
              <a:gd name="connsiteY9599" fmla="*/ 2681212 h 4687251"/>
              <a:gd name="connsiteX9600" fmla="*/ 7420802 w 8079933"/>
              <a:gd name="connsiteY9600" fmla="*/ 2684136 h 4687251"/>
              <a:gd name="connsiteX9601" fmla="*/ 7418089 w 8079933"/>
              <a:gd name="connsiteY9601" fmla="*/ 2684461 h 4687251"/>
              <a:gd name="connsiteX9602" fmla="*/ 7414942 w 8079933"/>
              <a:gd name="connsiteY9602" fmla="*/ 2683810 h 4687251"/>
              <a:gd name="connsiteX9603" fmla="*/ 6506114 w 8079933"/>
              <a:gd name="connsiteY9603" fmla="*/ 2680779 h 4687251"/>
              <a:gd name="connsiteX9604" fmla="*/ 6509044 w 8079933"/>
              <a:gd name="connsiteY9604" fmla="*/ 2688141 h 4687251"/>
              <a:gd name="connsiteX9605" fmla="*/ 6513277 w 8079933"/>
              <a:gd name="connsiteY9605" fmla="*/ 2690415 h 4687251"/>
              <a:gd name="connsiteX9606" fmla="*/ 6517400 w 8079933"/>
              <a:gd name="connsiteY9606" fmla="*/ 2700051 h 4687251"/>
              <a:gd name="connsiteX9607" fmla="*/ 6516423 w 8079933"/>
              <a:gd name="connsiteY9607" fmla="*/ 2707414 h 4687251"/>
              <a:gd name="connsiteX9608" fmla="*/ 6518159 w 8079933"/>
              <a:gd name="connsiteY9608" fmla="*/ 2712069 h 4687251"/>
              <a:gd name="connsiteX9609" fmla="*/ 6516532 w 8079933"/>
              <a:gd name="connsiteY9609" fmla="*/ 2718457 h 4687251"/>
              <a:gd name="connsiteX9610" fmla="*/ 6517400 w 8079933"/>
              <a:gd name="connsiteY9610" fmla="*/ 2723979 h 4687251"/>
              <a:gd name="connsiteX9611" fmla="*/ 6514036 w 8079933"/>
              <a:gd name="connsiteY9611" fmla="*/ 2731017 h 4687251"/>
              <a:gd name="connsiteX9612" fmla="*/ 6510238 w 8079933"/>
              <a:gd name="connsiteY9612" fmla="*/ 2732532 h 4687251"/>
              <a:gd name="connsiteX9613" fmla="*/ 6509153 w 8079933"/>
              <a:gd name="connsiteY9613" fmla="*/ 2735672 h 4687251"/>
              <a:gd name="connsiteX9614" fmla="*/ 6502641 w 8079933"/>
              <a:gd name="connsiteY9614" fmla="*/ 2737513 h 4687251"/>
              <a:gd name="connsiteX9615" fmla="*/ 6495697 w 8079933"/>
              <a:gd name="connsiteY9615" fmla="*/ 2742060 h 4687251"/>
              <a:gd name="connsiteX9616" fmla="*/ 6493309 w 8079933"/>
              <a:gd name="connsiteY9616" fmla="*/ 2746607 h 4687251"/>
              <a:gd name="connsiteX9617" fmla="*/ 6493310 w 8079933"/>
              <a:gd name="connsiteY9617" fmla="*/ 2746607 h 4687251"/>
              <a:gd name="connsiteX9618" fmla="*/ 6495698 w 8079933"/>
              <a:gd name="connsiteY9618" fmla="*/ 2742060 h 4687251"/>
              <a:gd name="connsiteX9619" fmla="*/ 6502642 w 8079933"/>
              <a:gd name="connsiteY9619" fmla="*/ 2737513 h 4687251"/>
              <a:gd name="connsiteX9620" fmla="*/ 6509154 w 8079933"/>
              <a:gd name="connsiteY9620" fmla="*/ 2735672 h 4687251"/>
              <a:gd name="connsiteX9621" fmla="*/ 6510239 w 8079933"/>
              <a:gd name="connsiteY9621" fmla="*/ 2732532 h 4687251"/>
              <a:gd name="connsiteX9622" fmla="*/ 6514037 w 8079933"/>
              <a:gd name="connsiteY9622" fmla="*/ 2731017 h 4687251"/>
              <a:gd name="connsiteX9623" fmla="*/ 6517401 w 8079933"/>
              <a:gd name="connsiteY9623" fmla="*/ 2723979 h 4687251"/>
              <a:gd name="connsiteX9624" fmla="*/ 6516533 w 8079933"/>
              <a:gd name="connsiteY9624" fmla="*/ 2718457 h 4687251"/>
              <a:gd name="connsiteX9625" fmla="*/ 6518160 w 8079933"/>
              <a:gd name="connsiteY9625" fmla="*/ 2712069 h 4687251"/>
              <a:gd name="connsiteX9626" fmla="*/ 6516424 w 8079933"/>
              <a:gd name="connsiteY9626" fmla="*/ 2707414 h 4687251"/>
              <a:gd name="connsiteX9627" fmla="*/ 6517401 w 8079933"/>
              <a:gd name="connsiteY9627" fmla="*/ 2700051 h 4687251"/>
              <a:gd name="connsiteX9628" fmla="*/ 6513278 w 8079933"/>
              <a:gd name="connsiteY9628" fmla="*/ 2690415 h 4687251"/>
              <a:gd name="connsiteX9629" fmla="*/ 6509045 w 8079933"/>
              <a:gd name="connsiteY9629" fmla="*/ 2688141 h 4687251"/>
              <a:gd name="connsiteX9630" fmla="*/ 6506115 w 8079933"/>
              <a:gd name="connsiteY9630" fmla="*/ 2680779 h 4687251"/>
              <a:gd name="connsiteX9631" fmla="*/ 1759982 w 8079933"/>
              <a:gd name="connsiteY9631" fmla="*/ 2680080 h 4687251"/>
              <a:gd name="connsiteX9632" fmla="*/ 1759271 w 8079933"/>
              <a:gd name="connsiteY9632" fmla="*/ 2681970 h 4687251"/>
              <a:gd name="connsiteX9633" fmla="*/ 1759220 w 8079933"/>
              <a:gd name="connsiteY9633" fmla="*/ 2682014 h 4687251"/>
              <a:gd name="connsiteX9634" fmla="*/ 1759272 w 8079933"/>
              <a:gd name="connsiteY9634" fmla="*/ 2681970 h 4687251"/>
              <a:gd name="connsiteX9635" fmla="*/ 6859012 w 8079933"/>
              <a:gd name="connsiteY9635" fmla="*/ 2679046 h 4687251"/>
              <a:gd name="connsiteX9636" fmla="*/ 6862376 w 8079933"/>
              <a:gd name="connsiteY9636" fmla="*/ 2681319 h 4687251"/>
              <a:gd name="connsiteX9637" fmla="*/ 6863245 w 8079933"/>
              <a:gd name="connsiteY9637" fmla="*/ 2685001 h 4687251"/>
              <a:gd name="connsiteX9638" fmla="*/ 6859880 w 8079933"/>
              <a:gd name="connsiteY9638" fmla="*/ 2683052 h 4687251"/>
              <a:gd name="connsiteX9639" fmla="*/ 3953130 w 8079933"/>
              <a:gd name="connsiteY9639" fmla="*/ 2678678 h 4687251"/>
              <a:gd name="connsiteX9640" fmla="*/ 3953044 w 8079933"/>
              <a:gd name="connsiteY9640" fmla="*/ 2679263 h 4687251"/>
              <a:gd name="connsiteX9641" fmla="*/ 3951579 w 8079933"/>
              <a:gd name="connsiteY9641" fmla="*/ 2681645 h 4687251"/>
              <a:gd name="connsiteX9642" fmla="*/ 3953044 w 8079933"/>
              <a:gd name="connsiteY9642" fmla="*/ 2679263 h 4687251"/>
              <a:gd name="connsiteX9643" fmla="*/ 1944526 w 8079933"/>
              <a:gd name="connsiteY9643" fmla="*/ 2678519 h 4687251"/>
              <a:gd name="connsiteX9644" fmla="*/ 1945160 w 8079933"/>
              <a:gd name="connsiteY9644" fmla="*/ 2680021 h 4687251"/>
              <a:gd name="connsiteX9645" fmla="*/ 1945488 w 8079933"/>
              <a:gd name="connsiteY9645" fmla="*/ 2679972 h 4687251"/>
              <a:gd name="connsiteX9646" fmla="*/ 1945051 w 8079933"/>
              <a:gd name="connsiteY9646" fmla="*/ 2678939 h 4687251"/>
              <a:gd name="connsiteX9647" fmla="*/ 4867405 w 8079933"/>
              <a:gd name="connsiteY9647" fmla="*/ 2678505 h 4687251"/>
              <a:gd name="connsiteX9648" fmla="*/ 4865669 w 8079933"/>
              <a:gd name="connsiteY9648" fmla="*/ 2680345 h 4687251"/>
              <a:gd name="connsiteX9649" fmla="*/ 4865670 w 8079933"/>
              <a:gd name="connsiteY9649" fmla="*/ 2680346 h 4687251"/>
              <a:gd name="connsiteX9650" fmla="*/ 4867406 w 8079933"/>
              <a:gd name="connsiteY9650" fmla="*/ 2678505 h 4687251"/>
              <a:gd name="connsiteX9651" fmla="*/ 4862305 w 8079933"/>
              <a:gd name="connsiteY9651" fmla="*/ 2677314 h 4687251"/>
              <a:gd name="connsiteX9652" fmla="*/ 4857639 w 8079933"/>
              <a:gd name="connsiteY9652" fmla="*/ 2677855 h 4687251"/>
              <a:gd name="connsiteX9653" fmla="*/ 4853298 w 8079933"/>
              <a:gd name="connsiteY9653" fmla="*/ 2681753 h 4687251"/>
              <a:gd name="connsiteX9654" fmla="*/ 4853299 w 8079933"/>
              <a:gd name="connsiteY9654" fmla="*/ 2681753 h 4687251"/>
              <a:gd name="connsiteX9655" fmla="*/ 4857639 w 8079933"/>
              <a:gd name="connsiteY9655" fmla="*/ 2677855 h 4687251"/>
              <a:gd name="connsiteX9656" fmla="*/ 4862305 w 8079933"/>
              <a:gd name="connsiteY9656" fmla="*/ 2677314 h 4687251"/>
              <a:gd name="connsiteX9657" fmla="*/ 4864445 w 8079933"/>
              <a:gd name="connsiteY9657" fmla="*/ 2679242 h 4687251"/>
              <a:gd name="connsiteX9658" fmla="*/ 6418083 w 8079933"/>
              <a:gd name="connsiteY9658" fmla="*/ 2676995 h 4687251"/>
              <a:gd name="connsiteX9659" fmla="*/ 6407907 w 8079933"/>
              <a:gd name="connsiteY9659" fmla="*/ 2680346 h 4687251"/>
              <a:gd name="connsiteX9660" fmla="*/ 6403241 w 8079933"/>
              <a:gd name="connsiteY9660" fmla="*/ 2680346 h 4687251"/>
              <a:gd name="connsiteX9661" fmla="*/ 6402000 w 8079933"/>
              <a:gd name="connsiteY9661" fmla="*/ 2682069 h 4687251"/>
              <a:gd name="connsiteX9662" fmla="*/ 6403241 w 8079933"/>
              <a:gd name="connsiteY9662" fmla="*/ 2680346 h 4687251"/>
              <a:gd name="connsiteX9663" fmla="*/ 6407907 w 8079933"/>
              <a:gd name="connsiteY9663" fmla="*/ 2680346 h 4687251"/>
              <a:gd name="connsiteX9664" fmla="*/ 6419085 w 8079933"/>
              <a:gd name="connsiteY9664" fmla="*/ 2676665 h 4687251"/>
              <a:gd name="connsiteX9665" fmla="*/ 6419084 w 8079933"/>
              <a:gd name="connsiteY9665" fmla="*/ 2676665 h 4687251"/>
              <a:gd name="connsiteX9666" fmla="*/ 6422689 w 8079933"/>
              <a:gd name="connsiteY9666" fmla="*/ 2676779 h 4687251"/>
              <a:gd name="connsiteX9667" fmla="*/ 6434710 w 8079933"/>
              <a:gd name="connsiteY9667" fmla="*/ 2676448 h 4687251"/>
              <a:gd name="connsiteX9668" fmla="*/ 6427982 w 8079933"/>
              <a:gd name="connsiteY9668" fmla="*/ 2678938 h 4687251"/>
              <a:gd name="connsiteX9669" fmla="*/ 6426608 w 8079933"/>
              <a:gd name="connsiteY9669" fmla="*/ 2677567 h 4687251"/>
              <a:gd name="connsiteX9670" fmla="*/ 6427982 w 8079933"/>
              <a:gd name="connsiteY9670" fmla="*/ 2678939 h 4687251"/>
              <a:gd name="connsiteX9671" fmla="*/ 6434710 w 8079933"/>
              <a:gd name="connsiteY9671" fmla="*/ 2676449 h 4687251"/>
              <a:gd name="connsiteX9672" fmla="*/ 6439920 w 8079933"/>
              <a:gd name="connsiteY9672" fmla="*/ 2676449 h 4687251"/>
              <a:gd name="connsiteX9673" fmla="*/ 6445019 w 8079933"/>
              <a:gd name="connsiteY9673" fmla="*/ 2677856 h 4687251"/>
              <a:gd name="connsiteX9674" fmla="*/ 6439920 w 8079933"/>
              <a:gd name="connsiteY9674" fmla="*/ 2676448 h 4687251"/>
              <a:gd name="connsiteX9675" fmla="*/ 1762589 w 8079933"/>
              <a:gd name="connsiteY9675" fmla="*/ 2676129 h 4687251"/>
              <a:gd name="connsiteX9676" fmla="*/ 1762418 w 8079933"/>
              <a:gd name="connsiteY9676" fmla="*/ 2677747 h 4687251"/>
              <a:gd name="connsiteX9677" fmla="*/ 1762418 w 8079933"/>
              <a:gd name="connsiteY9677" fmla="*/ 2677747 h 4687251"/>
              <a:gd name="connsiteX9678" fmla="*/ 6297463 w 8079933"/>
              <a:gd name="connsiteY9678" fmla="*/ 2675574 h 4687251"/>
              <a:gd name="connsiteX9679" fmla="*/ 6300693 w 8079933"/>
              <a:gd name="connsiteY9679" fmla="*/ 2679589 h 4687251"/>
              <a:gd name="connsiteX9680" fmla="*/ 6307964 w 8079933"/>
              <a:gd name="connsiteY9680" fmla="*/ 2685218 h 4687251"/>
              <a:gd name="connsiteX9681" fmla="*/ 6314475 w 8079933"/>
              <a:gd name="connsiteY9681" fmla="*/ 2691607 h 4687251"/>
              <a:gd name="connsiteX9682" fmla="*/ 6317513 w 8079933"/>
              <a:gd name="connsiteY9682" fmla="*/ 2701784 h 4687251"/>
              <a:gd name="connsiteX9683" fmla="*/ 6317513 w 8079933"/>
              <a:gd name="connsiteY9683" fmla="*/ 2701784 h 4687251"/>
              <a:gd name="connsiteX9684" fmla="*/ 6314475 w 8079933"/>
              <a:gd name="connsiteY9684" fmla="*/ 2691606 h 4687251"/>
              <a:gd name="connsiteX9685" fmla="*/ 6307964 w 8079933"/>
              <a:gd name="connsiteY9685" fmla="*/ 2685218 h 4687251"/>
              <a:gd name="connsiteX9686" fmla="*/ 6300693 w 8079933"/>
              <a:gd name="connsiteY9686" fmla="*/ 2679588 h 4687251"/>
              <a:gd name="connsiteX9687" fmla="*/ 4835393 w 8079933"/>
              <a:gd name="connsiteY9687" fmla="*/ 2674066 h 4687251"/>
              <a:gd name="connsiteX9688" fmla="*/ 4828882 w 8079933"/>
              <a:gd name="connsiteY9688" fmla="*/ 2687708 h 4687251"/>
              <a:gd name="connsiteX9689" fmla="*/ 4825084 w 8079933"/>
              <a:gd name="connsiteY9689" fmla="*/ 2687925 h 4687251"/>
              <a:gd name="connsiteX9690" fmla="*/ 4823348 w 8079933"/>
              <a:gd name="connsiteY9690" fmla="*/ 2690739 h 4687251"/>
              <a:gd name="connsiteX9691" fmla="*/ 4823348 w 8079933"/>
              <a:gd name="connsiteY9691" fmla="*/ 2690739 h 4687251"/>
              <a:gd name="connsiteX9692" fmla="*/ 4825084 w 8079933"/>
              <a:gd name="connsiteY9692" fmla="*/ 2687925 h 4687251"/>
              <a:gd name="connsiteX9693" fmla="*/ 4828882 w 8079933"/>
              <a:gd name="connsiteY9693" fmla="*/ 2687708 h 4687251"/>
              <a:gd name="connsiteX9694" fmla="*/ 4835393 w 8079933"/>
              <a:gd name="connsiteY9694" fmla="*/ 2674066 h 4687251"/>
              <a:gd name="connsiteX9695" fmla="*/ 1761008 w 8079933"/>
              <a:gd name="connsiteY9695" fmla="*/ 2673200 h 4687251"/>
              <a:gd name="connsiteX9696" fmla="*/ 1761007 w 8079933"/>
              <a:gd name="connsiteY9696" fmla="*/ 2673201 h 4687251"/>
              <a:gd name="connsiteX9697" fmla="*/ 1761984 w 8079933"/>
              <a:gd name="connsiteY9697" fmla="*/ 2675041 h 4687251"/>
              <a:gd name="connsiteX9698" fmla="*/ 1762635 w 8079933"/>
              <a:gd name="connsiteY9698" fmla="*/ 2675691 h 4687251"/>
              <a:gd name="connsiteX9699" fmla="*/ 1762635 w 8079933"/>
              <a:gd name="connsiteY9699" fmla="*/ 2675690 h 4687251"/>
              <a:gd name="connsiteX9700" fmla="*/ 1761984 w 8079933"/>
              <a:gd name="connsiteY9700" fmla="*/ 2675041 h 4687251"/>
              <a:gd name="connsiteX9701" fmla="*/ 6492118 w 8079933"/>
              <a:gd name="connsiteY9701" fmla="*/ 2673092 h 4687251"/>
              <a:gd name="connsiteX9702" fmla="*/ 6492116 w 8079933"/>
              <a:gd name="connsiteY9702" fmla="*/ 2673092 h 4687251"/>
              <a:gd name="connsiteX9703" fmla="*/ 6494395 w 8079933"/>
              <a:gd name="connsiteY9703" fmla="*/ 2676881 h 4687251"/>
              <a:gd name="connsiteX9704" fmla="*/ 6497759 w 8079933"/>
              <a:gd name="connsiteY9704" fmla="*/ 2677856 h 4687251"/>
              <a:gd name="connsiteX9705" fmla="*/ 6502641 w 8079933"/>
              <a:gd name="connsiteY9705" fmla="*/ 2680996 h 4687251"/>
              <a:gd name="connsiteX9706" fmla="*/ 6502643 w 8079933"/>
              <a:gd name="connsiteY9706" fmla="*/ 2680996 h 4687251"/>
              <a:gd name="connsiteX9707" fmla="*/ 6497761 w 8079933"/>
              <a:gd name="connsiteY9707" fmla="*/ 2677856 h 4687251"/>
              <a:gd name="connsiteX9708" fmla="*/ 6494396 w 8079933"/>
              <a:gd name="connsiteY9708" fmla="*/ 2676881 h 4687251"/>
              <a:gd name="connsiteX9709" fmla="*/ 2495449 w 8079933"/>
              <a:gd name="connsiteY9709" fmla="*/ 2672551 h 4687251"/>
              <a:gd name="connsiteX9710" fmla="*/ 2505323 w 8079933"/>
              <a:gd name="connsiteY9710" fmla="*/ 2675041 h 4687251"/>
              <a:gd name="connsiteX9711" fmla="*/ 2507711 w 8079933"/>
              <a:gd name="connsiteY9711" fmla="*/ 2683702 h 4687251"/>
              <a:gd name="connsiteX9712" fmla="*/ 2507385 w 8079933"/>
              <a:gd name="connsiteY9712" fmla="*/ 2687926 h 4687251"/>
              <a:gd name="connsiteX9713" fmla="*/ 2503587 w 8079933"/>
              <a:gd name="connsiteY9713" fmla="*/ 2686085 h 4687251"/>
              <a:gd name="connsiteX9714" fmla="*/ 2500440 w 8079933"/>
              <a:gd name="connsiteY9714" fmla="*/ 2685760 h 4687251"/>
              <a:gd name="connsiteX9715" fmla="*/ 2501525 w 8079933"/>
              <a:gd name="connsiteY9715" fmla="*/ 2682404 h 4687251"/>
              <a:gd name="connsiteX9716" fmla="*/ 2495449 w 8079933"/>
              <a:gd name="connsiteY9716" fmla="*/ 2676232 h 4687251"/>
              <a:gd name="connsiteX9717" fmla="*/ 4265268 w 8079933"/>
              <a:gd name="connsiteY9717" fmla="*/ 2671064 h 4687251"/>
              <a:gd name="connsiteX9718" fmla="*/ 4265138 w 8079933"/>
              <a:gd name="connsiteY9718" fmla="*/ 2671359 h 4687251"/>
              <a:gd name="connsiteX9719" fmla="*/ 4263920 w 8079933"/>
              <a:gd name="connsiteY9719" fmla="*/ 2671782 h 4687251"/>
              <a:gd name="connsiteX9720" fmla="*/ 4265138 w 8079933"/>
              <a:gd name="connsiteY9720" fmla="*/ 2671360 h 4687251"/>
              <a:gd name="connsiteX9721" fmla="*/ 3955539 w 8079933"/>
              <a:gd name="connsiteY9721" fmla="*/ 2669410 h 4687251"/>
              <a:gd name="connsiteX9722" fmla="*/ 3955461 w 8079933"/>
              <a:gd name="connsiteY9722" fmla="*/ 2669578 h 4687251"/>
              <a:gd name="connsiteX9723" fmla="*/ 3955540 w 8079933"/>
              <a:gd name="connsiteY9723" fmla="*/ 2669411 h 4687251"/>
              <a:gd name="connsiteX9724" fmla="*/ 3977676 w 8079933"/>
              <a:gd name="connsiteY9724" fmla="*/ 2669194 h 4687251"/>
              <a:gd name="connsiteX9725" fmla="*/ 3961074 w 8079933"/>
              <a:gd name="connsiteY9725" fmla="*/ 2670818 h 4687251"/>
              <a:gd name="connsiteX9726" fmla="*/ 3977677 w 8079933"/>
              <a:gd name="connsiteY9726" fmla="*/ 2669194 h 4687251"/>
              <a:gd name="connsiteX9727" fmla="*/ 1970986 w 8079933"/>
              <a:gd name="connsiteY9727" fmla="*/ 2669086 h 4687251"/>
              <a:gd name="connsiteX9728" fmla="*/ 1971746 w 8079933"/>
              <a:gd name="connsiteY9728" fmla="*/ 2670602 h 4687251"/>
              <a:gd name="connsiteX9729" fmla="*/ 1972181 w 8079933"/>
              <a:gd name="connsiteY9729" fmla="*/ 2670602 h 4687251"/>
              <a:gd name="connsiteX9730" fmla="*/ 1971421 w 8079933"/>
              <a:gd name="connsiteY9730" fmla="*/ 2669086 h 4687251"/>
              <a:gd name="connsiteX9731" fmla="*/ 3924612 w 8079933"/>
              <a:gd name="connsiteY9731" fmla="*/ 2668978 h 4687251"/>
              <a:gd name="connsiteX9732" fmla="*/ 3917233 w 8079933"/>
              <a:gd name="connsiteY9732" fmla="*/ 2673092 h 4687251"/>
              <a:gd name="connsiteX9733" fmla="*/ 3912367 w 8079933"/>
              <a:gd name="connsiteY9733" fmla="*/ 2677152 h 4687251"/>
              <a:gd name="connsiteX9734" fmla="*/ 3917234 w 8079933"/>
              <a:gd name="connsiteY9734" fmla="*/ 2673091 h 4687251"/>
              <a:gd name="connsiteX9735" fmla="*/ 3989396 w 8079933"/>
              <a:gd name="connsiteY9735" fmla="*/ 2666596 h 4687251"/>
              <a:gd name="connsiteX9736" fmla="*/ 3985265 w 8079933"/>
              <a:gd name="connsiteY9736" fmla="*/ 2668620 h 4687251"/>
              <a:gd name="connsiteX9737" fmla="*/ 3989397 w 8079933"/>
              <a:gd name="connsiteY9737" fmla="*/ 2666596 h 4687251"/>
              <a:gd name="connsiteX9738" fmla="*/ 4008868 w 8079933"/>
              <a:gd name="connsiteY9738" fmla="*/ 2663723 h 4687251"/>
              <a:gd name="connsiteX9739" fmla="*/ 4004480 w 8079933"/>
              <a:gd name="connsiteY9739" fmla="*/ 2666596 h 4687251"/>
              <a:gd name="connsiteX9740" fmla="*/ 4004481 w 8079933"/>
              <a:gd name="connsiteY9740" fmla="*/ 2666596 h 4687251"/>
              <a:gd name="connsiteX9741" fmla="*/ 4486295 w 8079933"/>
              <a:gd name="connsiteY9741" fmla="*/ 2663455 h 4687251"/>
              <a:gd name="connsiteX9742" fmla="*/ 4486295 w 8079933"/>
              <a:gd name="connsiteY9742" fmla="*/ 2663456 h 4687251"/>
              <a:gd name="connsiteX9743" fmla="*/ 4488790 w 8079933"/>
              <a:gd name="connsiteY9743" fmla="*/ 2666595 h 4687251"/>
              <a:gd name="connsiteX9744" fmla="*/ 1841636 w 8079933"/>
              <a:gd name="connsiteY9744" fmla="*/ 2663239 h 4687251"/>
              <a:gd name="connsiteX9745" fmla="*/ 1841636 w 8079933"/>
              <a:gd name="connsiteY9745" fmla="*/ 2663239 h 4687251"/>
              <a:gd name="connsiteX9746" fmla="*/ 1845325 w 8079933"/>
              <a:gd name="connsiteY9746" fmla="*/ 2663456 h 4687251"/>
              <a:gd name="connsiteX9747" fmla="*/ 1845325 w 8079933"/>
              <a:gd name="connsiteY9747" fmla="*/ 2663455 h 4687251"/>
              <a:gd name="connsiteX9748" fmla="*/ 3395920 w 8079933"/>
              <a:gd name="connsiteY9748" fmla="*/ 2662698 h 4687251"/>
              <a:gd name="connsiteX9749" fmla="*/ 3398199 w 8079933"/>
              <a:gd name="connsiteY9749" fmla="*/ 2665405 h 4687251"/>
              <a:gd name="connsiteX9750" fmla="*/ 3395378 w 8079933"/>
              <a:gd name="connsiteY9750" fmla="*/ 2666488 h 4687251"/>
              <a:gd name="connsiteX9751" fmla="*/ 3394401 w 8079933"/>
              <a:gd name="connsiteY9751" fmla="*/ 2664106 h 4687251"/>
              <a:gd name="connsiteX9752" fmla="*/ 3381270 w 8079933"/>
              <a:gd name="connsiteY9752" fmla="*/ 2662481 h 4687251"/>
              <a:gd name="connsiteX9753" fmla="*/ 3385177 w 8079933"/>
              <a:gd name="connsiteY9753" fmla="*/ 2663563 h 4687251"/>
              <a:gd name="connsiteX9754" fmla="*/ 3390059 w 8079933"/>
              <a:gd name="connsiteY9754" fmla="*/ 2668869 h 4687251"/>
              <a:gd name="connsiteX9755" fmla="*/ 3388865 w 8079933"/>
              <a:gd name="connsiteY9755" fmla="*/ 2672442 h 4687251"/>
              <a:gd name="connsiteX9756" fmla="*/ 3383548 w 8079933"/>
              <a:gd name="connsiteY9756" fmla="*/ 2671467 h 4687251"/>
              <a:gd name="connsiteX9757" fmla="*/ 3383332 w 8079933"/>
              <a:gd name="connsiteY9757" fmla="*/ 2665946 h 4687251"/>
              <a:gd name="connsiteX9758" fmla="*/ 3637586 w 8079933"/>
              <a:gd name="connsiteY9758" fmla="*/ 2660207 h 4687251"/>
              <a:gd name="connsiteX9759" fmla="*/ 3637586 w 8079933"/>
              <a:gd name="connsiteY9759" fmla="*/ 2660208 h 4687251"/>
              <a:gd name="connsiteX9760" fmla="*/ 3642904 w 8079933"/>
              <a:gd name="connsiteY9760" fmla="*/ 2661182 h 4687251"/>
              <a:gd name="connsiteX9761" fmla="*/ 3644314 w 8079933"/>
              <a:gd name="connsiteY9761" fmla="*/ 2666163 h 4687251"/>
              <a:gd name="connsiteX9762" fmla="*/ 3646583 w 8079933"/>
              <a:gd name="connsiteY9762" fmla="*/ 2667056 h 4687251"/>
              <a:gd name="connsiteX9763" fmla="*/ 3644314 w 8079933"/>
              <a:gd name="connsiteY9763" fmla="*/ 2666162 h 4687251"/>
              <a:gd name="connsiteX9764" fmla="*/ 3642904 w 8079933"/>
              <a:gd name="connsiteY9764" fmla="*/ 2661182 h 4687251"/>
              <a:gd name="connsiteX9765" fmla="*/ 6290818 w 8079933"/>
              <a:gd name="connsiteY9765" fmla="*/ 2659342 h 4687251"/>
              <a:gd name="connsiteX9766" fmla="*/ 6294291 w 8079933"/>
              <a:gd name="connsiteY9766" fmla="*/ 2667571 h 4687251"/>
              <a:gd name="connsiteX9767" fmla="*/ 6294296 w 8079933"/>
              <a:gd name="connsiteY9767" fmla="*/ 2667675 h 4687251"/>
              <a:gd name="connsiteX9768" fmla="*/ 6294291 w 8079933"/>
              <a:gd name="connsiteY9768" fmla="*/ 2667570 h 4687251"/>
              <a:gd name="connsiteX9769" fmla="*/ 6860531 w 8079933"/>
              <a:gd name="connsiteY9769" fmla="*/ 2657718 h 4687251"/>
              <a:gd name="connsiteX9770" fmla="*/ 6863677 w 8079933"/>
              <a:gd name="connsiteY9770" fmla="*/ 2659991 h 4687251"/>
              <a:gd name="connsiteX9771" fmla="*/ 6861290 w 8079933"/>
              <a:gd name="connsiteY9771" fmla="*/ 2662373 h 4687251"/>
              <a:gd name="connsiteX9772" fmla="*/ 6860747 w 8079933"/>
              <a:gd name="connsiteY9772" fmla="*/ 2669519 h 4687251"/>
              <a:gd name="connsiteX9773" fmla="*/ 6857492 w 8079933"/>
              <a:gd name="connsiteY9773" fmla="*/ 2672659 h 4687251"/>
              <a:gd name="connsiteX9774" fmla="*/ 6856624 w 8079933"/>
              <a:gd name="connsiteY9774" fmla="*/ 2669411 h 4687251"/>
              <a:gd name="connsiteX9775" fmla="*/ 6857275 w 8079933"/>
              <a:gd name="connsiteY9775" fmla="*/ 2667354 h 4687251"/>
              <a:gd name="connsiteX9776" fmla="*/ 6854888 w 8079933"/>
              <a:gd name="connsiteY9776" fmla="*/ 2660966 h 4687251"/>
              <a:gd name="connsiteX9777" fmla="*/ 6295843 w 8079933"/>
              <a:gd name="connsiteY9777" fmla="*/ 2656259 h 4687251"/>
              <a:gd name="connsiteX9778" fmla="*/ 6295810 w 8079933"/>
              <a:gd name="connsiteY9778" fmla="*/ 2656418 h 4687251"/>
              <a:gd name="connsiteX9779" fmla="*/ 6294449 w 8079933"/>
              <a:gd name="connsiteY9779" fmla="*/ 2657216 h 4687251"/>
              <a:gd name="connsiteX9780" fmla="*/ 6295810 w 8079933"/>
              <a:gd name="connsiteY9780" fmla="*/ 2656419 h 4687251"/>
              <a:gd name="connsiteX9781" fmla="*/ 1766844 w 8079933"/>
              <a:gd name="connsiteY9781" fmla="*/ 2655824 h 4687251"/>
              <a:gd name="connsiteX9782" fmla="*/ 1760573 w 8079933"/>
              <a:gd name="connsiteY9782" fmla="*/ 2665730 h 4687251"/>
              <a:gd name="connsiteX9783" fmla="*/ 1761007 w 8079933"/>
              <a:gd name="connsiteY9783" fmla="*/ 2669519 h 4687251"/>
              <a:gd name="connsiteX9784" fmla="*/ 1761333 w 8079933"/>
              <a:gd name="connsiteY9784" fmla="*/ 2670710 h 4687251"/>
              <a:gd name="connsiteX9785" fmla="*/ 1761333 w 8079933"/>
              <a:gd name="connsiteY9785" fmla="*/ 2670709 h 4687251"/>
              <a:gd name="connsiteX9786" fmla="*/ 1761007 w 8079933"/>
              <a:gd name="connsiteY9786" fmla="*/ 2669519 h 4687251"/>
              <a:gd name="connsiteX9787" fmla="*/ 1760574 w 8079933"/>
              <a:gd name="connsiteY9787" fmla="*/ 2665729 h 4687251"/>
              <a:gd name="connsiteX9788" fmla="*/ 3725375 w 8079933"/>
              <a:gd name="connsiteY9788" fmla="*/ 2655444 h 4687251"/>
              <a:gd name="connsiteX9789" fmla="*/ 3728197 w 8079933"/>
              <a:gd name="connsiteY9789" fmla="*/ 2659125 h 4687251"/>
              <a:gd name="connsiteX9790" fmla="*/ 3730692 w 8079933"/>
              <a:gd name="connsiteY9790" fmla="*/ 2660208 h 4687251"/>
              <a:gd name="connsiteX9791" fmla="*/ 3815769 w 8079933"/>
              <a:gd name="connsiteY9791" fmla="*/ 2659883 h 4687251"/>
              <a:gd name="connsiteX9792" fmla="*/ 3815769 w 8079933"/>
              <a:gd name="connsiteY9792" fmla="*/ 2659883 h 4687251"/>
              <a:gd name="connsiteX9793" fmla="*/ 3730693 w 8079933"/>
              <a:gd name="connsiteY9793" fmla="*/ 2660207 h 4687251"/>
              <a:gd name="connsiteX9794" fmla="*/ 3728198 w 8079933"/>
              <a:gd name="connsiteY9794" fmla="*/ 2659125 h 4687251"/>
              <a:gd name="connsiteX9795" fmla="*/ 3725376 w 8079933"/>
              <a:gd name="connsiteY9795" fmla="*/ 2655444 h 4687251"/>
              <a:gd name="connsiteX9796" fmla="*/ 2495991 w 8079933"/>
              <a:gd name="connsiteY9796" fmla="*/ 2654361 h 4687251"/>
              <a:gd name="connsiteX9797" fmla="*/ 2499572 w 8079933"/>
              <a:gd name="connsiteY9797" fmla="*/ 2658150 h 4687251"/>
              <a:gd name="connsiteX9798" fmla="*/ 2499572 w 8079933"/>
              <a:gd name="connsiteY9798" fmla="*/ 2664863 h 4687251"/>
              <a:gd name="connsiteX9799" fmla="*/ 2495123 w 8079933"/>
              <a:gd name="connsiteY9799" fmla="*/ 2665946 h 4687251"/>
              <a:gd name="connsiteX9800" fmla="*/ 2493387 w 8079933"/>
              <a:gd name="connsiteY9800" fmla="*/ 2658475 h 4687251"/>
              <a:gd name="connsiteX9801" fmla="*/ 3672896 w 8079933"/>
              <a:gd name="connsiteY9801" fmla="*/ 2651265 h 4687251"/>
              <a:gd name="connsiteX9802" fmla="*/ 3671443 w 8079933"/>
              <a:gd name="connsiteY9802" fmla="*/ 2651762 h 4687251"/>
              <a:gd name="connsiteX9803" fmla="*/ 3671443 w 8079933"/>
              <a:gd name="connsiteY9803" fmla="*/ 2651763 h 4687251"/>
              <a:gd name="connsiteX9804" fmla="*/ 3632595 w 8079933"/>
              <a:gd name="connsiteY9804" fmla="*/ 2650355 h 4687251"/>
              <a:gd name="connsiteX9805" fmla="*/ 3632595 w 8079933"/>
              <a:gd name="connsiteY9805" fmla="*/ 2650355 h 4687251"/>
              <a:gd name="connsiteX9806" fmla="*/ 3637586 w 8079933"/>
              <a:gd name="connsiteY9806" fmla="*/ 2654686 h 4687251"/>
              <a:gd name="connsiteX9807" fmla="*/ 7428290 w 8079933"/>
              <a:gd name="connsiteY9807" fmla="*/ 2650139 h 4687251"/>
              <a:gd name="connsiteX9808" fmla="*/ 7429592 w 8079933"/>
              <a:gd name="connsiteY9808" fmla="*/ 2652629 h 4687251"/>
              <a:gd name="connsiteX9809" fmla="*/ 7427205 w 8079933"/>
              <a:gd name="connsiteY9809" fmla="*/ 2655769 h 4687251"/>
              <a:gd name="connsiteX9810" fmla="*/ 7427422 w 8079933"/>
              <a:gd name="connsiteY9810" fmla="*/ 2660750 h 4687251"/>
              <a:gd name="connsiteX9811" fmla="*/ 7423732 w 8079933"/>
              <a:gd name="connsiteY9811" fmla="*/ 2653712 h 4687251"/>
              <a:gd name="connsiteX9812" fmla="*/ 3680494 w 8079933"/>
              <a:gd name="connsiteY9812" fmla="*/ 2649339 h 4687251"/>
              <a:gd name="connsiteX9813" fmla="*/ 3684464 w 8079933"/>
              <a:gd name="connsiteY9813" fmla="*/ 2649489 h 4687251"/>
              <a:gd name="connsiteX9814" fmla="*/ 3685224 w 8079933"/>
              <a:gd name="connsiteY9814" fmla="*/ 2655443 h 4687251"/>
              <a:gd name="connsiteX9815" fmla="*/ 3689347 w 8079933"/>
              <a:gd name="connsiteY9815" fmla="*/ 2663239 h 4687251"/>
              <a:gd name="connsiteX9816" fmla="*/ 3691843 w 8079933"/>
              <a:gd name="connsiteY9816" fmla="*/ 2664863 h 4687251"/>
              <a:gd name="connsiteX9817" fmla="*/ 3691843 w 8079933"/>
              <a:gd name="connsiteY9817" fmla="*/ 2664863 h 4687251"/>
              <a:gd name="connsiteX9818" fmla="*/ 3689348 w 8079933"/>
              <a:gd name="connsiteY9818" fmla="*/ 2663239 h 4687251"/>
              <a:gd name="connsiteX9819" fmla="*/ 3685225 w 8079933"/>
              <a:gd name="connsiteY9819" fmla="*/ 2655444 h 4687251"/>
              <a:gd name="connsiteX9820" fmla="*/ 3684465 w 8079933"/>
              <a:gd name="connsiteY9820" fmla="*/ 2649489 h 4687251"/>
              <a:gd name="connsiteX9821" fmla="*/ 3709749 w 8079933"/>
              <a:gd name="connsiteY9821" fmla="*/ 2648298 h 4687251"/>
              <a:gd name="connsiteX9822" fmla="*/ 3709749 w 8079933"/>
              <a:gd name="connsiteY9822" fmla="*/ 2648298 h 4687251"/>
              <a:gd name="connsiteX9823" fmla="*/ 3715283 w 8079933"/>
              <a:gd name="connsiteY9823" fmla="*/ 2650355 h 4687251"/>
              <a:gd name="connsiteX9824" fmla="*/ 3715500 w 8079933"/>
              <a:gd name="connsiteY9824" fmla="*/ 2657284 h 4687251"/>
              <a:gd name="connsiteX9825" fmla="*/ 3718213 w 8079933"/>
              <a:gd name="connsiteY9825" fmla="*/ 2660208 h 4687251"/>
              <a:gd name="connsiteX9826" fmla="*/ 3718214 w 8079933"/>
              <a:gd name="connsiteY9826" fmla="*/ 2660207 h 4687251"/>
              <a:gd name="connsiteX9827" fmla="*/ 3715501 w 8079933"/>
              <a:gd name="connsiteY9827" fmla="*/ 2657284 h 4687251"/>
              <a:gd name="connsiteX9828" fmla="*/ 3715284 w 8079933"/>
              <a:gd name="connsiteY9828" fmla="*/ 2650355 h 4687251"/>
              <a:gd name="connsiteX9829" fmla="*/ 2501633 w 8079933"/>
              <a:gd name="connsiteY9829" fmla="*/ 2644942 h 4687251"/>
              <a:gd name="connsiteX9830" fmla="*/ 2501199 w 8079933"/>
              <a:gd name="connsiteY9830" fmla="*/ 2649273 h 4687251"/>
              <a:gd name="connsiteX9831" fmla="*/ 2497727 w 8079933"/>
              <a:gd name="connsiteY9831" fmla="*/ 2647758 h 4687251"/>
              <a:gd name="connsiteX9832" fmla="*/ 4818830 w 8079933"/>
              <a:gd name="connsiteY9832" fmla="*/ 2644717 h 4687251"/>
              <a:gd name="connsiteX9833" fmla="*/ 4817053 w 8079933"/>
              <a:gd name="connsiteY9833" fmla="*/ 2655552 h 4687251"/>
              <a:gd name="connsiteX9834" fmla="*/ 4813255 w 8079933"/>
              <a:gd name="connsiteY9834" fmla="*/ 2661398 h 4687251"/>
              <a:gd name="connsiteX9835" fmla="*/ 4812929 w 8079933"/>
              <a:gd name="connsiteY9835" fmla="*/ 2665404 h 4687251"/>
              <a:gd name="connsiteX9836" fmla="*/ 4810434 w 8079933"/>
              <a:gd name="connsiteY9836" fmla="*/ 2668111 h 4687251"/>
              <a:gd name="connsiteX9837" fmla="*/ 4809999 w 8079933"/>
              <a:gd name="connsiteY9837" fmla="*/ 2673850 h 4687251"/>
              <a:gd name="connsiteX9838" fmla="*/ 4812929 w 8079933"/>
              <a:gd name="connsiteY9838" fmla="*/ 2683918 h 4687251"/>
              <a:gd name="connsiteX9839" fmla="*/ 4813906 w 8079933"/>
              <a:gd name="connsiteY9839" fmla="*/ 2688683 h 4687251"/>
              <a:gd name="connsiteX9840" fmla="*/ 4814811 w 8079933"/>
              <a:gd name="connsiteY9840" fmla="*/ 2689093 h 4687251"/>
              <a:gd name="connsiteX9841" fmla="*/ 4813907 w 8079933"/>
              <a:gd name="connsiteY9841" fmla="*/ 2688683 h 4687251"/>
              <a:gd name="connsiteX9842" fmla="*/ 4818303 w 8079933"/>
              <a:gd name="connsiteY9842" fmla="*/ 2690502 h 4687251"/>
              <a:gd name="connsiteX9843" fmla="*/ 4818344 w 8079933"/>
              <a:gd name="connsiteY9843" fmla="*/ 2690518 h 4687251"/>
              <a:gd name="connsiteX9844" fmla="*/ 4813906 w 8079933"/>
              <a:gd name="connsiteY9844" fmla="*/ 2688682 h 4687251"/>
              <a:gd name="connsiteX9845" fmla="*/ 4812930 w 8079933"/>
              <a:gd name="connsiteY9845" fmla="*/ 2683919 h 4687251"/>
              <a:gd name="connsiteX9846" fmla="*/ 4810000 w 8079933"/>
              <a:gd name="connsiteY9846" fmla="*/ 2673849 h 4687251"/>
              <a:gd name="connsiteX9847" fmla="*/ 4810434 w 8079933"/>
              <a:gd name="connsiteY9847" fmla="*/ 2668111 h 4687251"/>
              <a:gd name="connsiteX9848" fmla="*/ 4812930 w 8079933"/>
              <a:gd name="connsiteY9848" fmla="*/ 2665404 h 4687251"/>
              <a:gd name="connsiteX9849" fmla="*/ 4813255 w 8079933"/>
              <a:gd name="connsiteY9849" fmla="*/ 2661398 h 4687251"/>
              <a:gd name="connsiteX9850" fmla="*/ 4817053 w 8079933"/>
              <a:gd name="connsiteY9850" fmla="*/ 2655552 h 4687251"/>
              <a:gd name="connsiteX9851" fmla="*/ 3629556 w 8079933"/>
              <a:gd name="connsiteY9851" fmla="*/ 2642560 h 4687251"/>
              <a:gd name="connsiteX9852" fmla="*/ 3625758 w 8079933"/>
              <a:gd name="connsiteY9852" fmla="*/ 2643101 h 4687251"/>
              <a:gd name="connsiteX9853" fmla="*/ 3629556 w 8079933"/>
              <a:gd name="connsiteY9853" fmla="*/ 2642560 h 4687251"/>
              <a:gd name="connsiteX9854" fmla="*/ 3624130 w 8079933"/>
              <a:gd name="connsiteY9854" fmla="*/ 2641910 h 4687251"/>
              <a:gd name="connsiteX9855" fmla="*/ 3619898 w 8079933"/>
              <a:gd name="connsiteY9855" fmla="*/ 2643534 h 4687251"/>
              <a:gd name="connsiteX9856" fmla="*/ 3616752 w 8079933"/>
              <a:gd name="connsiteY9856" fmla="*/ 2642126 h 4687251"/>
              <a:gd name="connsiteX9857" fmla="*/ 3616752 w 8079933"/>
              <a:gd name="connsiteY9857" fmla="*/ 2642127 h 4687251"/>
              <a:gd name="connsiteX9858" fmla="*/ 3619898 w 8079933"/>
              <a:gd name="connsiteY9858" fmla="*/ 2643535 h 4687251"/>
              <a:gd name="connsiteX9859" fmla="*/ 3624131 w 8079933"/>
              <a:gd name="connsiteY9859" fmla="*/ 2641910 h 4687251"/>
              <a:gd name="connsiteX9860" fmla="*/ 3625037 w 8079933"/>
              <a:gd name="connsiteY9860" fmla="*/ 2642573 h 4687251"/>
              <a:gd name="connsiteX9861" fmla="*/ 6293748 w 8079933"/>
              <a:gd name="connsiteY9861" fmla="*/ 2640611 h 4687251"/>
              <a:gd name="connsiteX9862" fmla="*/ 6293748 w 8079933"/>
              <a:gd name="connsiteY9862" fmla="*/ 2640611 h 4687251"/>
              <a:gd name="connsiteX9863" fmla="*/ 6294017 w 8079933"/>
              <a:gd name="connsiteY9863" fmla="*/ 2641766 h 4687251"/>
              <a:gd name="connsiteX9864" fmla="*/ 3401997 w 8079933"/>
              <a:gd name="connsiteY9864" fmla="*/ 2638229 h 4687251"/>
              <a:gd name="connsiteX9865" fmla="*/ 3404819 w 8079933"/>
              <a:gd name="connsiteY9865" fmla="*/ 2639312 h 4687251"/>
              <a:gd name="connsiteX9866" fmla="*/ 3405687 w 8079933"/>
              <a:gd name="connsiteY9866" fmla="*/ 2643209 h 4687251"/>
              <a:gd name="connsiteX9867" fmla="*/ 3403625 w 8079933"/>
              <a:gd name="connsiteY9867" fmla="*/ 2644833 h 4687251"/>
              <a:gd name="connsiteX9868" fmla="*/ 3401129 w 8079933"/>
              <a:gd name="connsiteY9868" fmla="*/ 2644833 h 4687251"/>
              <a:gd name="connsiteX9869" fmla="*/ 3398850 w 8079933"/>
              <a:gd name="connsiteY9869" fmla="*/ 2641369 h 4687251"/>
              <a:gd name="connsiteX9870" fmla="*/ 6456631 w 8079933"/>
              <a:gd name="connsiteY9870" fmla="*/ 2637363 h 4687251"/>
              <a:gd name="connsiteX9871" fmla="*/ 6460755 w 8079933"/>
              <a:gd name="connsiteY9871" fmla="*/ 2638987 h 4687251"/>
              <a:gd name="connsiteX9872" fmla="*/ 6459235 w 8079933"/>
              <a:gd name="connsiteY9872" fmla="*/ 2641585 h 4687251"/>
              <a:gd name="connsiteX9873" fmla="*/ 6465205 w 8079933"/>
              <a:gd name="connsiteY9873" fmla="*/ 2645591 h 4687251"/>
              <a:gd name="connsiteX9874" fmla="*/ 6466289 w 8079933"/>
              <a:gd name="connsiteY9874" fmla="*/ 2648839 h 4687251"/>
              <a:gd name="connsiteX9875" fmla="*/ 6464661 w 8079933"/>
              <a:gd name="connsiteY9875" fmla="*/ 2654144 h 4687251"/>
              <a:gd name="connsiteX9876" fmla="*/ 6465096 w 8079933"/>
              <a:gd name="connsiteY9876" fmla="*/ 2657284 h 4687251"/>
              <a:gd name="connsiteX9877" fmla="*/ 6463359 w 8079933"/>
              <a:gd name="connsiteY9877" fmla="*/ 2661723 h 4687251"/>
              <a:gd name="connsiteX9878" fmla="*/ 6465096 w 8079933"/>
              <a:gd name="connsiteY9878" fmla="*/ 2665513 h 4687251"/>
              <a:gd name="connsiteX9879" fmla="*/ 6464661 w 8079933"/>
              <a:gd name="connsiteY9879" fmla="*/ 2674066 h 4687251"/>
              <a:gd name="connsiteX9880" fmla="*/ 6461623 w 8079933"/>
              <a:gd name="connsiteY9880" fmla="*/ 2677531 h 4687251"/>
              <a:gd name="connsiteX9881" fmla="*/ 6459226 w 8079933"/>
              <a:gd name="connsiteY9881" fmla="*/ 2678704 h 4687251"/>
              <a:gd name="connsiteX9882" fmla="*/ 6461624 w 8079933"/>
              <a:gd name="connsiteY9882" fmla="*/ 2677531 h 4687251"/>
              <a:gd name="connsiteX9883" fmla="*/ 6459019 w 8079933"/>
              <a:gd name="connsiteY9883" fmla="*/ 2678830 h 4687251"/>
              <a:gd name="connsiteX9884" fmla="*/ 6455929 w 8079933"/>
              <a:gd name="connsiteY9884" fmla="*/ 2680317 h 4687251"/>
              <a:gd name="connsiteX9885" fmla="*/ 6455871 w 8079933"/>
              <a:gd name="connsiteY9885" fmla="*/ 2680346 h 4687251"/>
              <a:gd name="connsiteX9886" fmla="*/ 6451748 w 8079933"/>
              <a:gd name="connsiteY9886" fmla="*/ 2676990 h 4687251"/>
              <a:gd name="connsiteX9887" fmla="*/ 6451747 w 8079933"/>
              <a:gd name="connsiteY9887" fmla="*/ 2676990 h 4687251"/>
              <a:gd name="connsiteX9888" fmla="*/ 6455871 w 8079933"/>
              <a:gd name="connsiteY9888" fmla="*/ 2680346 h 4687251"/>
              <a:gd name="connsiteX9889" fmla="*/ 6459019 w 8079933"/>
              <a:gd name="connsiteY9889" fmla="*/ 2678830 h 4687251"/>
              <a:gd name="connsiteX9890" fmla="*/ 6464552 w 8079933"/>
              <a:gd name="connsiteY9890" fmla="*/ 2682836 h 4687251"/>
              <a:gd name="connsiteX9891" fmla="*/ 6466614 w 8079933"/>
              <a:gd name="connsiteY9891" fmla="*/ 2686084 h 4687251"/>
              <a:gd name="connsiteX9892" fmla="*/ 6466616 w 8079933"/>
              <a:gd name="connsiteY9892" fmla="*/ 2686084 h 4687251"/>
              <a:gd name="connsiteX9893" fmla="*/ 6464554 w 8079933"/>
              <a:gd name="connsiteY9893" fmla="*/ 2682836 h 4687251"/>
              <a:gd name="connsiteX9894" fmla="*/ 6459020 w 8079933"/>
              <a:gd name="connsiteY9894" fmla="*/ 2678830 h 4687251"/>
              <a:gd name="connsiteX9895" fmla="*/ 6461624 w 8079933"/>
              <a:gd name="connsiteY9895" fmla="*/ 2677531 h 4687251"/>
              <a:gd name="connsiteX9896" fmla="*/ 6464663 w 8079933"/>
              <a:gd name="connsiteY9896" fmla="*/ 2674066 h 4687251"/>
              <a:gd name="connsiteX9897" fmla="*/ 6465097 w 8079933"/>
              <a:gd name="connsiteY9897" fmla="*/ 2665513 h 4687251"/>
              <a:gd name="connsiteX9898" fmla="*/ 6463360 w 8079933"/>
              <a:gd name="connsiteY9898" fmla="*/ 2661724 h 4687251"/>
              <a:gd name="connsiteX9899" fmla="*/ 6465097 w 8079933"/>
              <a:gd name="connsiteY9899" fmla="*/ 2657285 h 4687251"/>
              <a:gd name="connsiteX9900" fmla="*/ 6464663 w 8079933"/>
              <a:gd name="connsiteY9900" fmla="*/ 2654145 h 4687251"/>
              <a:gd name="connsiteX9901" fmla="*/ 6466290 w 8079933"/>
              <a:gd name="connsiteY9901" fmla="*/ 2648839 h 4687251"/>
              <a:gd name="connsiteX9902" fmla="*/ 6465206 w 8079933"/>
              <a:gd name="connsiteY9902" fmla="*/ 2645591 h 4687251"/>
              <a:gd name="connsiteX9903" fmla="*/ 6459237 w 8079933"/>
              <a:gd name="connsiteY9903" fmla="*/ 2641585 h 4687251"/>
              <a:gd name="connsiteX9904" fmla="*/ 6460756 w 8079933"/>
              <a:gd name="connsiteY9904" fmla="*/ 2638987 h 4687251"/>
              <a:gd name="connsiteX9905" fmla="*/ 6456633 w 8079933"/>
              <a:gd name="connsiteY9905" fmla="*/ 2637363 h 4687251"/>
              <a:gd name="connsiteX9906" fmla="*/ 4042851 w 8079933"/>
              <a:gd name="connsiteY9906" fmla="*/ 2635986 h 4687251"/>
              <a:gd name="connsiteX9907" fmla="*/ 4039965 w 8079933"/>
              <a:gd name="connsiteY9907" fmla="*/ 2637796 h 4687251"/>
              <a:gd name="connsiteX9908" fmla="*/ 4039205 w 8079933"/>
              <a:gd name="connsiteY9908" fmla="*/ 2646024 h 4687251"/>
              <a:gd name="connsiteX9909" fmla="*/ 4037577 w 8079933"/>
              <a:gd name="connsiteY9909" fmla="*/ 2651330 h 4687251"/>
              <a:gd name="connsiteX9910" fmla="*/ 4037453 w 8079933"/>
              <a:gd name="connsiteY9910" fmla="*/ 2651399 h 4687251"/>
              <a:gd name="connsiteX9911" fmla="*/ 4037578 w 8079933"/>
              <a:gd name="connsiteY9911" fmla="*/ 2651329 h 4687251"/>
              <a:gd name="connsiteX9912" fmla="*/ 4039206 w 8079933"/>
              <a:gd name="connsiteY9912" fmla="*/ 2646024 h 4687251"/>
              <a:gd name="connsiteX9913" fmla="*/ 4039966 w 8079933"/>
              <a:gd name="connsiteY9913" fmla="*/ 2637796 h 4687251"/>
              <a:gd name="connsiteX9914" fmla="*/ 3612812 w 8079933"/>
              <a:gd name="connsiteY9914" fmla="*/ 2634751 h 4687251"/>
              <a:gd name="connsiteX9915" fmla="*/ 3616751 w 8079933"/>
              <a:gd name="connsiteY9915" fmla="*/ 2639853 h 4687251"/>
              <a:gd name="connsiteX9916" fmla="*/ 3616751 w 8079933"/>
              <a:gd name="connsiteY9916" fmla="*/ 2639852 h 4687251"/>
              <a:gd name="connsiteX9917" fmla="*/ 6504108 w 8079933"/>
              <a:gd name="connsiteY9917" fmla="*/ 2634272 h 4687251"/>
              <a:gd name="connsiteX9918" fmla="*/ 6504705 w 8079933"/>
              <a:gd name="connsiteY9918" fmla="*/ 2635089 h 4687251"/>
              <a:gd name="connsiteX9919" fmla="*/ 6506303 w 8079933"/>
              <a:gd name="connsiteY9919" fmla="*/ 2635524 h 4687251"/>
              <a:gd name="connsiteX9920" fmla="*/ 6504705 w 8079933"/>
              <a:gd name="connsiteY9920" fmla="*/ 2635089 h 4687251"/>
              <a:gd name="connsiteX9921" fmla="*/ 2490348 w 8079933"/>
              <a:gd name="connsiteY9921" fmla="*/ 2634006 h 4687251"/>
              <a:gd name="connsiteX9922" fmla="*/ 2494797 w 8079933"/>
              <a:gd name="connsiteY9922" fmla="*/ 2639095 h 4687251"/>
              <a:gd name="connsiteX9923" fmla="*/ 2491650 w 8079933"/>
              <a:gd name="connsiteY9923" fmla="*/ 2648082 h 4687251"/>
              <a:gd name="connsiteX9924" fmla="*/ 2485682 w 8079933"/>
              <a:gd name="connsiteY9924" fmla="*/ 2638987 h 4687251"/>
              <a:gd name="connsiteX9925" fmla="*/ 2487201 w 8079933"/>
              <a:gd name="connsiteY9925" fmla="*/ 2634114 h 4687251"/>
              <a:gd name="connsiteX9926" fmla="*/ 6511758 w 8079933"/>
              <a:gd name="connsiteY9926" fmla="*/ 2633898 h 4687251"/>
              <a:gd name="connsiteX9927" fmla="*/ 6507092 w 8079933"/>
              <a:gd name="connsiteY9927" fmla="*/ 2635738 h 4687251"/>
              <a:gd name="connsiteX9928" fmla="*/ 6507093 w 8079933"/>
              <a:gd name="connsiteY9928" fmla="*/ 2635739 h 4687251"/>
              <a:gd name="connsiteX9929" fmla="*/ 6511758 w 8079933"/>
              <a:gd name="connsiteY9929" fmla="*/ 2633899 h 4687251"/>
              <a:gd name="connsiteX9930" fmla="*/ 6496458 w 8079933"/>
              <a:gd name="connsiteY9930" fmla="*/ 2630758 h 4687251"/>
              <a:gd name="connsiteX9931" fmla="*/ 6496458 w 8079933"/>
              <a:gd name="connsiteY9931" fmla="*/ 2630758 h 4687251"/>
              <a:gd name="connsiteX9932" fmla="*/ 6501774 w 8079933"/>
              <a:gd name="connsiteY9932" fmla="*/ 2631083 h 4687251"/>
              <a:gd name="connsiteX9933" fmla="*/ 6501774 w 8079933"/>
              <a:gd name="connsiteY9933" fmla="*/ 2631082 h 4687251"/>
              <a:gd name="connsiteX9934" fmla="*/ 2499464 w 8079933"/>
              <a:gd name="connsiteY9934" fmla="*/ 2629134 h 4687251"/>
              <a:gd name="connsiteX9935" fmla="*/ 2502936 w 8079933"/>
              <a:gd name="connsiteY9935" fmla="*/ 2639095 h 4687251"/>
              <a:gd name="connsiteX9936" fmla="*/ 2497402 w 8079933"/>
              <a:gd name="connsiteY9936" fmla="*/ 2638662 h 4687251"/>
              <a:gd name="connsiteX9937" fmla="*/ 2494581 w 8079933"/>
              <a:gd name="connsiteY9937" fmla="*/ 2633681 h 4687251"/>
              <a:gd name="connsiteX9938" fmla="*/ 3596612 w 8079933"/>
              <a:gd name="connsiteY9938" fmla="*/ 2628953 h 4687251"/>
              <a:gd name="connsiteX9939" fmla="*/ 3605466 w 8079933"/>
              <a:gd name="connsiteY9939" fmla="*/ 2631841 h 4687251"/>
              <a:gd name="connsiteX9940" fmla="*/ 3611651 w 8079933"/>
              <a:gd name="connsiteY9940" fmla="*/ 2633249 h 4687251"/>
              <a:gd name="connsiteX9941" fmla="*/ 3611651 w 8079933"/>
              <a:gd name="connsiteY9941" fmla="*/ 2633248 h 4687251"/>
              <a:gd name="connsiteX9942" fmla="*/ 3605465 w 8079933"/>
              <a:gd name="connsiteY9942" fmla="*/ 2631840 h 4687251"/>
              <a:gd name="connsiteX9943" fmla="*/ 3378990 w 8079933"/>
              <a:gd name="connsiteY9943" fmla="*/ 2627618 h 4687251"/>
              <a:gd name="connsiteX9944" fmla="*/ 3382354 w 8079933"/>
              <a:gd name="connsiteY9944" fmla="*/ 2630324 h 4687251"/>
              <a:gd name="connsiteX9945" fmla="*/ 3378882 w 8079933"/>
              <a:gd name="connsiteY9945" fmla="*/ 2631732 h 4687251"/>
              <a:gd name="connsiteX9946" fmla="*/ 3377255 w 8079933"/>
              <a:gd name="connsiteY9946" fmla="*/ 2629458 h 4687251"/>
              <a:gd name="connsiteX9947" fmla="*/ 3369550 w 8079933"/>
              <a:gd name="connsiteY9947" fmla="*/ 2627510 h 4687251"/>
              <a:gd name="connsiteX9948" fmla="*/ 3372263 w 8079933"/>
              <a:gd name="connsiteY9948" fmla="*/ 2627510 h 4687251"/>
              <a:gd name="connsiteX9949" fmla="*/ 3374650 w 8079933"/>
              <a:gd name="connsiteY9949" fmla="*/ 2628918 h 4687251"/>
              <a:gd name="connsiteX9950" fmla="*/ 3374867 w 8079933"/>
              <a:gd name="connsiteY9950" fmla="*/ 2630325 h 4687251"/>
              <a:gd name="connsiteX9951" fmla="*/ 3373782 w 8079933"/>
              <a:gd name="connsiteY9951" fmla="*/ 2630650 h 4687251"/>
              <a:gd name="connsiteX9952" fmla="*/ 3372263 w 8079933"/>
              <a:gd name="connsiteY9952" fmla="*/ 2630650 h 4687251"/>
              <a:gd name="connsiteX9953" fmla="*/ 3371069 w 8079933"/>
              <a:gd name="connsiteY9953" fmla="*/ 2631408 h 4687251"/>
              <a:gd name="connsiteX9954" fmla="*/ 3368573 w 8079933"/>
              <a:gd name="connsiteY9954" fmla="*/ 2629350 h 4687251"/>
              <a:gd name="connsiteX9955" fmla="*/ 2477000 w 8079933"/>
              <a:gd name="connsiteY9955" fmla="*/ 2623937 h 4687251"/>
              <a:gd name="connsiteX9956" fmla="*/ 2478736 w 8079933"/>
              <a:gd name="connsiteY9956" fmla="*/ 2627943 h 4687251"/>
              <a:gd name="connsiteX9957" fmla="*/ 2475264 w 8079933"/>
              <a:gd name="connsiteY9957" fmla="*/ 2628592 h 4687251"/>
              <a:gd name="connsiteX9958" fmla="*/ 5031743 w 8079933"/>
              <a:gd name="connsiteY9958" fmla="*/ 2623399 h 4687251"/>
              <a:gd name="connsiteX9959" fmla="*/ 5043094 w 8079933"/>
              <a:gd name="connsiteY9959" fmla="*/ 2628917 h 4687251"/>
              <a:gd name="connsiteX9960" fmla="*/ 5043116 w 8079933"/>
              <a:gd name="connsiteY9960" fmla="*/ 2629406 h 4687251"/>
              <a:gd name="connsiteX9961" fmla="*/ 5043094 w 8079933"/>
              <a:gd name="connsiteY9961" fmla="*/ 2628917 h 4687251"/>
              <a:gd name="connsiteX9962" fmla="*/ 6491791 w 8079933"/>
              <a:gd name="connsiteY9962" fmla="*/ 2622854 h 4687251"/>
              <a:gd name="connsiteX9963" fmla="*/ 6489730 w 8079933"/>
              <a:gd name="connsiteY9963" fmla="*/ 2623612 h 4687251"/>
              <a:gd name="connsiteX9964" fmla="*/ 6491792 w 8079933"/>
              <a:gd name="connsiteY9964" fmla="*/ 2622855 h 4687251"/>
              <a:gd name="connsiteX9965" fmla="*/ 6493307 w 8079933"/>
              <a:gd name="connsiteY9965" fmla="*/ 2623496 h 4687251"/>
              <a:gd name="connsiteX9966" fmla="*/ 3404058 w 8079933"/>
              <a:gd name="connsiteY9966" fmla="*/ 2622313 h 4687251"/>
              <a:gd name="connsiteX9967" fmla="*/ 3404058 w 8079933"/>
              <a:gd name="connsiteY9967" fmla="*/ 2626428 h 4687251"/>
              <a:gd name="connsiteX9968" fmla="*/ 3402648 w 8079933"/>
              <a:gd name="connsiteY9968" fmla="*/ 2628485 h 4687251"/>
              <a:gd name="connsiteX9969" fmla="*/ 3401563 w 8079933"/>
              <a:gd name="connsiteY9969" fmla="*/ 2624695 h 4687251"/>
              <a:gd name="connsiteX9970" fmla="*/ 3355768 w 8079933"/>
              <a:gd name="connsiteY9970" fmla="*/ 2620364 h 4687251"/>
              <a:gd name="connsiteX9971" fmla="*/ 3358047 w 8079933"/>
              <a:gd name="connsiteY9971" fmla="*/ 2621013 h 4687251"/>
              <a:gd name="connsiteX9972" fmla="*/ 3358047 w 8079933"/>
              <a:gd name="connsiteY9972" fmla="*/ 2623721 h 4687251"/>
              <a:gd name="connsiteX9973" fmla="*/ 3355877 w 8079933"/>
              <a:gd name="connsiteY9973" fmla="*/ 2625236 h 4687251"/>
              <a:gd name="connsiteX9974" fmla="*/ 3354358 w 8079933"/>
              <a:gd name="connsiteY9974" fmla="*/ 2622313 h 4687251"/>
              <a:gd name="connsiteX9975" fmla="*/ 4969411 w 8079933"/>
              <a:gd name="connsiteY9975" fmla="*/ 2618090 h 4687251"/>
              <a:gd name="connsiteX9976" fmla="*/ 4969411 w 8079933"/>
              <a:gd name="connsiteY9976" fmla="*/ 2618090 h 4687251"/>
              <a:gd name="connsiteX9977" fmla="*/ 4973751 w 8079933"/>
              <a:gd name="connsiteY9977" fmla="*/ 2626102 h 4687251"/>
              <a:gd name="connsiteX9978" fmla="*/ 4967457 w 8079933"/>
              <a:gd name="connsiteY9978" fmla="*/ 2630217 h 4687251"/>
              <a:gd name="connsiteX9979" fmla="*/ 4964853 w 8079933"/>
              <a:gd name="connsiteY9979" fmla="*/ 2635088 h 4687251"/>
              <a:gd name="connsiteX9980" fmla="*/ 4964854 w 8079933"/>
              <a:gd name="connsiteY9980" fmla="*/ 2635089 h 4687251"/>
              <a:gd name="connsiteX9981" fmla="*/ 4967458 w 8079933"/>
              <a:gd name="connsiteY9981" fmla="*/ 2630216 h 4687251"/>
              <a:gd name="connsiteX9982" fmla="*/ 4973752 w 8079933"/>
              <a:gd name="connsiteY9982" fmla="*/ 2626102 h 4687251"/>
              <a:gd name="connsiteX9983" fmla="*/ 3349800 w 8079933"/>
              <a:gd name="connsiteY9983" fmla="*/ 2615817 h 4687251"/>
              <a:gd name="connsiteX9984" fmla="*/ 3353272 w 8079933"/>
              <a:gd name="connsiteY9984" fmla="*/ 2615817 h 4687251"/>
              <a:gd name="connsiteX9985" fmla="*/ 3354466 w 8079933"/>
              <a:gd name="connsiteY9985" fmla="*/ 2618307 h 4687251"/>
              <a:gd name="connsiteX9986" fmla="*/ 3349257 w 8079933"/>
              <a:gd name="connsiteY9986" fmla="*/ 2621555 h 4687251"/>
              <a:gd name="connsiteX9987" fmla="*/ 3346002 w 8079933"/>
              <a:gd name="connsiteY9987" fmla="*/ 2621555 h 4687251"/>
              <a:gd name="connsiteX9988" fmla="*/ 3344700 w 8079933"/>
              <a:gd name="connsiteY9988" fmla="*/ 2617874 h 4687251"/>
              <a:gd name="connsiteX9989" fmla="*/ 3346653 w 8079933"/>
              <a:gd name="connsiteY9989" fmla="*/ 2617224 h 4687251"/>
              <a:gd name="connsiteX9990" fmla="*/ 6287238 w 8079933"/>
              <a:gd name="connsiteY9990" fmla="*/ 2614843 h 4687251"/>
              <a:gd name="connsiteX9991" fmla="*/ 6287238 w 8079933"/>
              <a:gd name="connsiteY9991" fmla="*/ 2614843 h 4687251"/>
              <a:gd name="connsiteX9992" fmla="*/ 6291035 w 8079933"/>
              <a:gd name="connsiteY9992" fmla="*/ 2616142 h 4687251"/>
              <a:gd name="connsiteX9993" fmla="*/ 6293748 w 8079933"/>
              <a:gd name="connsiteY9993" fmla="*/ 2622314 h 4687251"/>
              <a:gd name="connsiteX9994" fmla="*/ 6294616 w 8079933"/>
              <a:gd name="connsiteY9994" fmla="*/ 2627510 h 4687251"/>
              <a:gd name="connsiteX9995" fmla="*/ 6299608 w 8079933"/>
              <a:gd name="connsiteY9995" fmla="*/ 2629892 h 4687251"/>
              <a:gd name="connsiteX9996" fmla="*/ 6294616 w 8079933"/>
              <a:gd name="connsiteY9996" fmla="*/ 2627510 h 4687251"/>
              <a:gd name="connsiteX9997" fmla="*/ 6293748 w 8079933"/>
              <a:gd name="connsiteY9997" fmla="*/ 2622313 h 4687251"/>
              <a:gd name="connsiteX9998" fmla="*/ 6291035 w 8079933"/>
              <a:gd name="connsiteY9998" fmla="*/ 2616142 h 4687251"/>
              <a:gd name="connsiteX9999" fmla="*/ 1782060 w 8079933"/>
              <a:gd name="connsiteY9999" fmla="*/ 2614302 h 4687251"/>
              <a:gd name="connsiteX10000" fmla="*/ 1785532 w 8079933"/>
              <a:gd name="connsiteY10000" fmla="*/ 2617225 h 4687251"/>
              <a:gd name="connsiteX10001" fmla="*/ 1786834 w 8079933"/>
              <a:gd name="connsiteY10001" fmla="*/ 2619606 h 4687251"/>
              <a:gd name="connsiteX10002" fmla="*/ 1790632 w 8079933"/>
              <a:gd name="connsiteY10002" fmla="*/ 2624371 h 4687251"/>
              <a:gd name="connsiteX10003" fmla="*/ 1794430 w 8079933"/>
              <a:gd name="connsiteY10003" fmla="*/ 2626861 h 4687251"/>
              <a:gd name="connsiteX10004" fmla="*/ 1797143 w 8079933"/>
              <a:gd name="connsiteY10004" fmla="*/ 2626861 h 4687251"/>
              <a:gd name="connsiteX10005" fmla="*/ 1798988 w 8079933"/>
              <a:gd name="connsiteY10005" fmla="*/ 2630109 h 4687251"/>
              <a:gd name="connsiteX10006" fmla="*/ 1799422 w 8079933"/>
              <a:gd name="connsiteY10006" fmla="*/ 2633465 h 4687251"/>
              <a:gd name="connsiteX10007" fmla="*/ 1801050 w 8079933"/>
              <a:gd name="connsiteY10007" fmla="*/ 2635306 h 4687251"/>
              <a:gd name="connsiteX10008" fmla="*/ 1805173 w 8079933"/>
              <a:gd name="connsiteY10008" fmla="*/ 2635630 h 4687251"/>
              <a:gd name="connsiteX10009" fmla="*/ 1807778 w 8079933"/>
              <a:gd name="connsiteY10009" fmla="*/ 2637038 h 4687251"/>
              <a:gd name="connsiteX10010" fmla="*/ 1807886 w 8079933"/>
              <a:gd name="connsiteY10010" fmla="*/ 2640178 h 4687251"/>
              <a:gd name="connsiteX10011" fmla="*/ 1807887 w 8079933"/>
              <a:gd name="connsiteY10011" fmla="*/ 2640177 h 4687251"/>
              <a:gd name="connsiteX10012" fmla="*/ 1807778 w 8079933"/>
              <a:gd name="connsiteY10012" fmla="*/ 2637037 h 4687251"/>
              <a:gd name="connsiteX10013" fmla="*/ 1805174 w 8079933"/>
              <a:gd name="connsiteY10013" fmla="*/ 2635630 h 4687251"/>
              <a:gd name="connsiteX10014" fmla="*/ 1801050 w 8079933"/>
              <a:gd name="connsiteY10014" fmla="*/ 2635305 h 4687251"/>
              <a:gd name="connsiteX10015" fmla="*/ 1799423 w 8079933"/>
              <a:gd name="connsiteY10015" fmla="*/ 2633464 h 4687251"/>
              <a:gd name="connsiteX10016" fmla="*/ 1798989 w 8079933"/>
              <a:gd name="connsiteY10016" fmla="*/ 2630108 h 4687251"/>
              <a:gd name="connsiteX10017" fmla="*/ 1797144 w 8079933"/>
              <a:gd name="connsiteY10017" fmla="*/ 2626860 h 4687251"/>
              <a:gd name="connsiteX10018" fmla="*/ 1794431 w 8079933"/>
              <a:gd name="connsiteY10018" fmla="*/ 2626860 h 4687251"/>
              <a:gd name="connsiteX10019" fmla="*/ 1790633 w 8079933"/>
              <a:gd name="connsiteY10019" fmla="*/ 2624370 h 4687251"/>
              <a:gd name="connsiteX10020" fmla="*/ 1786835 w 8079933"/>
              <a:gd name="connsiteY10020" fmla="*/ 2619606 h 4687251"/>
              <a:gd name="connsiteX10021" fmla="*/ 1785533 w 8079933"/>
              <a:gd name="connsiteY10021" fmla="*/ 2617224 h 4687251"/>
              <a:gd name="connsiteX10022" fmla="*/ 1782061 w 8079933"/>
              <a:gd name="connsiteY10022" fmla="*/ 2614302 h 4687251"/>
              <a:gd name="connsiteX10023" fmla="*/ 2483619 w 8079933"/>
              <a:gd name="connsiteY10023" fmla="*/ 2612460 h 4687251"/>
              <a:gd name="connsiteX10024" fmla="*/ 2490781 w 8079933"/>
              <a:gd name="connsiteY10024" fmla="*/ 2617115 h 4687251"/>
              <a:gd name="connsiteX10025" fmla="*/ 2485464 w 8079933"/>
              <a:gd name="connsiteY10025" fmla="*/ 2619064 h 4687251"/>
              <a:gd name="connsiteX10026" fmla="*/ 2483294 w 8079933"/>
              <a:gd name="connsiteY10026" fmla="*/ 2616466 h 4687251"/>
              <a:gd name="connsiteX10027" fmla="*/ 4835079 w 8079933"/>
              <a:gd name="connsiteY10027" fmla="*/ 2610058 h 4687251"/>
              <a:gd name="connsiteX10028" fmla="*/ 4831268 w 8079933"/>
              <a:gd name="connsiteY10028" fmla="*/ 2610835 h 4687251"/>
              <a:gd name="connsiteX10029" fmla="*/ 4830943 w 8079933"/>
              <a:gd name="connsiteY10029" fmla="*/ 2613218 h 4687251"/>
              <a:gd name="connsiteX10030" fmla="*/ 4832028 w 8079933"/>
              <a:gd name="connsiteY10030" fmla="*/ 2615492 h 4687251"/>
              <a:gd name="connsiteX10031" fmla="*/ 4831486 w 8079933"/>
              <a:gd name="connsiteY10031" fmla="*/ 2618198 h 4687251"/>
              <a:gd name="connsiteX10032" fmla="*/ 4825083 w 8079933"/>
              <a:gd name="connsiteY10032" fmla="*/ 2618198 h 4687251"/>
              <a:gd name="connsiteX10033" fmla="*/ 4822370 w 8079933"/>
              <a:gd name="connsiteY10033" fmla="*/ 2619930 h 4687251"/>
              <a:gd name="connsiteX10034" fmla="*/ 4822370 w 8079933"/>
              <a:gd name="connsiteY10034" fmla="*/ 2624802 h 4687251"/>
              <a:gd name="connsiteX10035" fmla="*/ 4820091 w 8079933"/>
              <a:gd name="connsiteY10035" fmla="*/ 2630324 h 4687251"/>
              <a:gd name="connsiteX10036" fmla="*/ 4822262 w 8079933"/>
              <a:gd name="connsiteY10036" fmla="*/ 2631732 h 4687251"/>
              <a:gd name="connsiteX10037" fmla="*/ 4823564 w 8079933"/>
              <a:gd name="connsiteY10037" fmla="*/ 2633897 h 4687251"/>
              <a:gd name="connsiteX10038" fmla="*/ 4821719 w 8079933"/>
              <a:gd name="connsiteY10038" fmla="*/ 2636279 h 4687251"/>
              <a:gd name="connsiteX10039" fmla="*/ 4819446 w 8079933"/>
              <a:gd name="connsiteY10039" fmla="*/ 2642448 h 4687251"/>
              <a:gd name="connsiteX10040" fmla="*/ 4821719 w 8079933"/>
              <a:gd name="connsiteY10040" fmla="*/ 2636279 h 4687251"/>
              <a:gd name="connsiteX10041" fmla="*/ 4823564 w 8079933"/>
              <a:gd name="connsiteY10041" fmla="*/ 2633897 h 4687251"/>
              <a:gd name="connsiteX10042" fmla="*/ 4822262 w 8079933"/>
              <a:gd name="connsiteY10042" fmla="*/ 2631732 h 4687251"/>
              <a:gd name="connsiteX10043" fmla="*/ 4820092 w 8079933"/>
              <a:gd name="connsiteY10043" fmla="*/ 2630324 h 4687251"/>
              <a:gd name="connsiteX10044" fmla="*/ 4822371 w 8079933"/>
              <a:gd name="connsiteY10044" fmla="*/ 2624803 h 4687251"/>
              <a:gd name="connsiteX10045" fmla="*/ 4822371 w 8079933"/>
              <a:gd name="connsiteY10045" fmla="*/ 2619930 h 4687251"/>
              <a:gd name="connsiteX10046" fmla="*/ 4825084 w 8079933"/>
              <a:gd name="connsiteY10046" fmla="*/ 2618199 h 4687251"/>
              <a:gd name="connsiteX10047" fmla="*/ 4831487 w 8079933"/>
              <a:gd name="connsiteY10047" fmla="*/ 2618199 h 4687251"/>
              <a:gd name="connsiteX10048" fmla="*/ 4832028 w 8079933"/>
              <a:gd name="connsiteY10048" fmla="*/ 2615491 h 4687251"/>
              <a:gd name="connsiteX10049" fmla="*/ 4830943 w 8079933"/>
              <a:gd name="connsiteY10049" fmla="*/ 2613218 h 4687251"/>
              <a:gd name="connsiteX10050" fmla="*/ 4831269 w 8079933"/>
              <a:gd name="connsiteY10050" fmla="*/ 2610836 h 4687251"/>
              <a:gd name="connsiteX10051" fmla="*/ 4838973 w 8079933"/>
              <a:gd name="connsiteY10051" fmla="*/ 2607371 h 4687251"/>
              <a:gd name="connsiteX10052" fmla="*/ 4836043 w 8079933"/>
              <a:gd name="connsiteY10052" fmla="*/ 2609861 h 4687251"/>
              <a:gd name="connsiteX10053" fmla="*/ 4836044 w 8079933"/>
              <a:gd name="connsiteY10053" fmla="*/ 2609861 h 4687251"/>
              <a:gd name="connsiteX10054" fmla="*/ 4838974 w 8079933"/>
              <a:gd name="connsiteY10054" fmla="*/ 2607371 h 4687251"/>
              <a:gd name="connsiteX10055" fmla="*/ 2463761 w 8079933"/>
              <a:gd name="connsiteY10055" fmla="*/ 2606506 h 4687251"/>
              <a:gd name="connsiteX10056" fmla="*/ 2467885 w 8079933"/>
              <a:gd name="connsiteY10056" fmla="*/ 2613110 h 4687251"/>
              <a:gd name="connsiteX10057" fmla="*/ 2462893 w 8079933"/>
              <a:gd name="connsiteY10057" fmla="*/ 2612461 h 4687251"/>
              <a:gd name="connsiteX10058" fmla="*/ 2460289 w 8079933"/>
              <a:gd name="connsiteY10058" fmla="*/ 2608888 h 4687251"/>
              <a:gd name="connsiteX10059" fmla="*/ 4975436 w 8079933"/>
              <a:gd name="connsiteY10059" fmla="*/ 2605456 h 4687251"/>
              <a:gd name="connsiteX10060" fmla="*/ 4972558 w 8079933"/>
              <a:gd name="connsiteY10060" fmla="*/ 2606722 h 4687251"/>
              <a:gd name="connsiteX10061" fmla="*/ 4969905 w 8079933"/>
              <a:gd name="connsiteY10061" fmla="*/ 2616305 h 4687251"/>
              <a:gd name="connsiteX10062" fmla="*/ 4972559 w 8079933"/>
              <a:gd name="connsiteY10062" fmla="*/ 2606722 h 4687251"/>
              <a:gd name="connsiteX10063" fmla="*/ 4849686 w 8079933"/>
              <a:gd name="connsiteY10063" fmla="*/ 2603865 h 4687251"/>
              <a:gd name="connsiteX10064" fmla="*/ 4846027 w 8079933"/>
              <a:gd name="connsiteY10064" fmla="*/ 2604556 h 4687251"/>
              <a:gd name="connsiteX10065" fmla="*/ 4844291 w 8079933"/>
              <a:gd name="connsiteY10065" fmla="*/ 2607912 h 4687251"/>
              <a:gd name="connsiteX10066" fmla="*/ 4844291 w 8079933"/>
              <a:gd name="connsiteY10066" fmla="*/ 2607912 h 4687251"/>
              <a:gd name="connsiteX10067" fmla="*/ 4846027 w 8079933"/>
              <a:gd name="connsiteY10067" fmla="*/ 2604556 h 4687251"/>
              <a:gd name="connsiteX10068" fmla="*/ 1792956 w 8079933"/>
              <a:gd name="connsiteY10068" fmla="*/ 2601701 h 4687251"/>
              <a:gd name="connsiteX10069" fmla="*/ 1792043 w 8079933"/>
              <a:gd name="connsiteY10069" fmla="*/ 2613434 h 4687251"/>
              <a:gd name="connsiteX10070" fmla="*/ 1792044 w 8079933"/>
              <a:gd name="connsiteY10070" fmla="*/ 2613434 h 4687251"/>
              <a:gd name="connsiteX10071" fmla="*/ 2487092 w 8079933"/>
              <a:gd name="connsiteY10071" fmla="*/ 2598602 h 4687251"/>
              <a:gd name="connsiteX10072" fmla="*/ 2488937 w 8079933"/>
              <a:gd name="connsiteY10072" fmla="*/ 2602500 h 4687251"/>
              <a:gd name="connsiteX10073" fmla="*/ 2487743 w 8079933"/>
              <a:gd name="connsiteY10073" fmla="*/ 2606831 h 4687251"/>
              <a:gd name="connsiteX10074" fmla="*/ 2483620 w 8079933"/>
              <a:gd name="connsiteY10074" fmla="*/ 2603041 h 4687251"/>
              <a:gd name="connsiteX10075" fmla="*/ 2420897 w 8079933"/>
              <a:gd name="connsiteY10075" fmla="*/ 2598170 h 4687251"/>
              <a:gd name="connsiteX10076" fmla="*/ 2423502 w 8079933"/>
              <a:gd name="connsiteY10076" fmla="*/ 2600768 h 4687251"/>
              <a:gd name="connsiteX10077" fmla="*/ 2415906 w 8079933"/>
              <a:gd name="connsiteY10077" fmla="*/ 2601852 h 4687251"/>
              <a:gd name="connsiteX10078" fmla="*/ 1843046 w 8079933"/>
              <a:gd name="connsiteY10078" fmla="*/ 2597844 h 4687251"/>
              <a:gd name="connsiteX10079" fmla="*/ 1843046 w 8079933"/>
              <a:gd name="connsiteY10079" fmla="*/ 2597844 h 4687251"/>
              <a:gd name="connsiteX10080" fmla="*/ 1842562 w 8079933"/>
              <a:gd name="connsiteY10080" fmla="*/ 2598508 h 4687251"/>
              <a:gd name="connsiteX10081" fmla="*/ 1836774 w 8079933"/>
              <a:gd name="connsiteY10081" fmla="*/ 2596765 h 4687251"/>
              <a:gd name="connsiteX10082" fmla="*/ 1834907 w 8079933"/>
              <a:gd name="connsiteY10082" fmla="*/ 2598061 h 4687251"/>
              <a:gd name="connsiteX10083" fmla="*/ 1834473 w 8079933"/>
              <a:gd name="connsiteY10083" fmla="*/ 2601524 h 4687251"/>
              <a:gd name="connsiteX10084" fmla="*/ 1834474 w 8079933"/>
              <a:gd name="connsiteY10084" fmla="*/ 2601524 h 4687251"/>
              <a:gd name="connsiteX10085" fmla="*/ 1834908 w 8079933"/>
              <a:gd name="connsiteY10085" fmla="*/ 2598061 h 4687251"/>
              <a:gd name="connsiteX10086" fmla="*/ 2403752 w 8079933"/>
              <a:gd name="connsiteY10086" fmla="*/ 2592323 h 4687251"/>
              <a:gd name="connsiteX10087" fmla="*/ 2410371 w 8079933"/>
              <a:gd name="connsiteY10087" fmla="*/ 2594163 h 4687251"/>
              <a:gd name="connsiteX10088" fmla="*/ 2408526 w 8079933"/>
              <a:gd name="connsiteY10088" fmla="*/ 2595679 h 4687251"/>
              <a:gd name="connsiteX10089" fmla="*/ 2399737 w 8079933"/>
              <a:gd name="connsiteY10089" fmla="*/ 2596221 h 4687251"/>
              <a:gd name="connsiteX10090" fmla="*/ 6363307 w 8079933"/>
              <a:gd name="connsiteY10090" fmla="*/ 2591564 h 4687251"/>
              <a:gd name="connsiteX10091" fmla="*/ 6359311 w 8079933"/>
              <a:gd name="connsiteY10091" fmla="*/ 2592450 h 4687251"/>
              <a:gd name="connsiteX10092" fmla="*/ 6363307 w 8079933"/>
              <a:gd name="connsiteY10092" fmla="*/ 2591565 h 4687251"/>
              <a:gd name="connsiteX10093" fmla="*/ 2327574 w 8079933"/>
              <a:gd name="connsiteY10093" fmla="*/ 2588858 h 4687251"/>
              <a:gd name="connsiteX10094" fmla="*/ 2330287 w 8079933"/>
              <a:gd name="connsiteY10094" fmla="*/ 2591672 h 4687251"/>
              <a:gd name="connsiteX10095" fmla="*/ 2334085 w 8079933"/>
              <a:gd name="connsiteY10095" fmla="*/ 2592214 h 4687251"/>
              <a:gd name="connsiteX10096" fmla="*/ 2331155 w 8079933"/>
              <a:gd name="connsiteY10096" fmla="*/ 2594380 h 4687251"/>
              <a:gd name="connsiteX10097" fmla="*/ 2327791 w 8079933"/>
              <a:gd name="connsiteY10097" fmla="*/ 2592972 h 4687251"/>
              <a:gd name="connsiteX10098" fmla="*/ 2326055 w 8079933"/>
              <a:gd name="connsiteY10098" fmla="*/ 2589615 h 4687251"/>
              <a:gd name="connsiteX10099" fmla="*/ 2462567 w 8079933"/>
              <a:gd name="connsiteY10099" fmla="*/ 2587883 h 4687251"/>
              <a:gd name="connsiteX10100" fmla="*/ 2458986 w 8079933"/>
              <a:gd name="connsiteY10100" fmla="*/ 2591997 h 4687251"/>
              <a:gd name="connsiteX10101" fmla="*/ 2458769 w 8079933"/>
              <a:gd name="connsiteY10101" fmla="*/ 2597195 h 4687251"/>
              <a:gd name="connsiteX10102" fmla="*/ 2453126 w 8079933"/>
              <a:gd name="connsiteY10102" fmla="*/ 2593297 h 4687251"/>
              <a:gd name="connsiteX10103" fmla="*/ 2452367 w 8079933"/>
              <a:gd name="connsiteY10103" fmla="*/ 2591022 h 4687251"/>
              <a:gd name="connsiteX10104" fmla="*/ 2456382 w 8079933"/>
              <a:gd name="connsiteY10104" fmla="*/ 2588099 h 4687251"/>
              <a:gd name="connsiteX10105" fmla="*/ 6384360 w 8079933"/>
              <a:gd name="connsiteY10105" fmla="*/ 2587017 h 4687251"/>
              <a:gd name="connsiteX10106" fmla="*/ 6388483 w 8079933"/>
              <a:gd name="connsiteY10106" fmla="*/ 2592214 h 4687251"/>
              <a:gd name="connsiteX10107" fmla="*/ 6388484 w 8079933"/>
              <a:gd name="connsiteY10107" fmla="*/ 2592214 h 4687251"/>
              <a:gd name="connsiteX10108" fmla="*/ 6384361 w 8079933"/>
              <a:gd name="connsiteY10108" fmla="*/ 2587017 h 4687251"/>
              <a:gd name="connsiteX10109" fmla="*/ 1850100 w 8079933"/>
              <a:gd name="connsiteY10109" fmla="*/ 2586800 h 4687251"/>
              <a:gd name="connsiteX10110" fmla="*/ 1850099 w 8079933"/>
              <a:gd name="connsiteY10110" fmla="*/ 2586800 h 4687251"/>
              <a:gd name="connsiteX10111" fmla="*/ 1849122 w 8079933"/>
              <a:gd name="connsiteY10111" fmla="*/ 2588641 h 4687251"/>
              <a:gd name="connsiteX10112" fmla="*/ 1848146 w 8079933"/>
              <a:gd name="connsiteY10112" fmla="*/ 2592214 h 4687251"/>
              <a:gd name="connsiteX10113" fmla="*/ 1847386 w 8079933"/>
              <a:gd name="connsiteY10113" fmla="*/ 2593244 h 4687251"/>
              <a:gd name="connsiteX10114" fmla="*/ 1848147 w 8079933"/>
              <a:gd name="connsiteY10114" fmla="*/ 2592214 h 4687251"/>
              <a:gd name="connsiteX10115" fmla="*/ 1849123 w 8079933"/>
              <a:gd name="connsiteY10115" fmla="*/ 2588641 h 4687251"/>
              <a:gd name="connsiteX10116" fmla="*/ 6371556 w 8079933"/>
              <a:gd name="connsiteY10116" fmla="*/ 2583227 h 4687251"/>
              <a:gd name="connsiteX10117" fmla="*/ 6371555 w 8079933"/>
              <a:gd name="connsiteY10117" fmla="*/ 2583228 h 4687251"/>
              <a:gd name="connsiteX10118" fmla="*/ 6379476 w 8079933"/>
              <a:gd name="connsiteY10118" fmla="*/ 2587450 h 4687251"/>
              <a:gd name="connsiteX10119" fmla="*/ 6379478 w 8079933"/>
              <a:gd name="connsiteY10119" fmla="*/ 2587449 h 4687251"/>
              <a:gd name="connsiteX10120" fmla="*/ 2364902 w 8079933"/>
              <a:gd name="connsiteY10120" fmla="*/ 2582470 h 4687251"/>
              <a:gd name="connsiteX10121" fmla="*/ 2382264 w 8079933"/>
              <a:gd name="connsiteY10121" fmla="*/ 2583986 h 4687251"/>
              <a:gd name="connsiteX10122" fmla="*/ 2392140 w 8079933"/>
              <a:gd name="connsiteY10122" fmla="*/ 2582578 h 4687251"/>
              <a:gd name="connsiteX10123" fmla="*/ 2395069 w 8079933"/>
              <a:gd name="connsiteY10123" fmla="*/ 2583986 h 4687251"/>
              <a:gd name="connsiteX10124" fmla="*/ 2396263 w 8079933"/>
              <a:gd name="connsiteY10124" fmla="*/ 2586909 h 4687251"/>
              <a:gd name="connsiteX10125" fmla="*/ 2400712 w 8079933"/>
              <a:gd name="connsiteY10125" fmla="*/ 2588209 h 4687251"/>
              <a:gd name="connsiteX10126" fmla="*/ 2394526 w 8079933"/>
              <a:gd name="connsiteY10126" fmla="*/ 2594921 h 4687251"/>
              <a:gd name="connsiteX10127" fmla="*/ 2386605 w 8079933"/>
              <a:gd name="connsiteY10127" fmla="*/ 2598603 h 4687251"/>
              <a:gd name="connsiteX10128" fmla="*/ 2383458 w 8079933"/>
              <a:gd name="connsiteY10128" fmla="*/ 2596978 h 4687251"/>
              <a:gd name="connsiteX10129" fmla="*/ 2375211 w 8079933"/>
              <a:gd name="connsiteY10129" fmla="*/ 2599144 h 4687251"/>
              <a:gd name="connsiteX10130" fmla="*/ 2372064 w 8079933"/>
              <a:gd name="connsiteY10130" fmla="*/ 2598062 h 4687251"/>
              <a:gd name="connsiteX10131" fmla="*/ 2360779 w 8079933"/>
              <a:gd name="connsiteY10131" fmla="*/ 2597520 h 4687251"/>
              <a:gd name="connsiteX10132" fmla="*/ 2358717 w 8079933"/>
              <a:gd name="connsiteY10132" fmla="*/ 2593513 h 4687251"/>
              <a:gd name="connsiteX10133" fmla="*/ 2359368 w 8079933"/>
              <a:gd name="connsiteY10133" fmla="*/ 2591132 h 4687251"/>
              <a:gd name="connsiteX10134" fmla="*/ 2358825 w 8079933"/>
              <a:gd name="connsiteY10134" fmla="*/ 2587884 h 4687251"/>
              <a:gd name="connsiteX10135" fmla="*/ 2362949 w 8079933"/>
              <a:gd name="connsiteY10135" fmla="*/ 2585827 h 4687251"/>
              <a:gd name="connsiteX10136" fmla="*/ 2115205 w 8079933"/>
              <a:gd name="connsiteY10136" fmla="*/ 2581928 h 4687251"/>
              <a:gd name="connsiteX10137" fmla="*/ 2133436 w 8079933"/>
              <a:gd name="connsiteY10137" fmla="*/ 2582902 h 4687251"/>
              <a:gd name="connsiteX10138" fmla="*/ 2137994 w 8079933"/>
              <a:gd name="connsiteY10138" fmla="*/ 2590373 h 4687251"/>
              <a:gd name="connsiteX10139" fmla="*/ 2143962 w 8079933"/>
              <a:gd name="connsiteY10139" fmla="*/ 2591456 h 4687251"/>
              <a:gd name="connsiteX10140" fmla="*/ 2147977 w 8079933"/>
              <a:gd name="connsiteY10140" fmla="*/ 2595679 h 4687251"/>
              <a:gd name="connsiteX10141" fmla="*/ 2147434 w 8079933"/>
              <a:gd name="connsiteY10141" fmla="*/ 2597844 h 4687251"/>
              <a:gd name="connsiteX10142" fmla="*/ 2139513 w 8079933"/>
              <a:gd name="connsiteY10142" fmla="*/ 2597844 h 4687251"/>
              <a:gd name="connsiteX10143" fmla="*/ 2136257 w 8079933"/>
              <a:gd name="connsiteY10143" fmla="*/ 2596112 h 4687251"/>
              <a:gd name="connsiteX10144" fmla="*/ 2134412 w 8079933"/>
              <a:gd name="connsiteY10144" fmla="*/ 2600118 h 4687251"/>
              <a:gd name="connsiteX10145" fmla="*/ 2131917 w 8079933"/>
              <a:gd name="connsiteY10145" fmla="*/ 2600767 h 4687251"/>
              <a:gd name="connsiteX10146" fmla="*/ 2130072 w 8079933"/>
              <a:gd name="connsiteY10146" fmla="*/ 2598602 h 4687251"/>
              <a:gd name="connsiteX10147" fmla="*/ 2125948 w 8079933"/>
              <a:gd name="connsiteY10147" fmla="*/ 2598602 h 4687251"/>
              <a:gd name="connsiteX10148" fmla="*/ 2125731 w 8079933"/>
              <a:gd name="connsiteY10148" fmla="*/ 2603583 h 4687251"/>
              <a:gd name="connsiteX10149" fmla="*/ 2120088 w 8079933"/>
              <a:gd name="connsiteY10149" fmla="*/ 2603365 h 4687251"/>
              <a:gd name="connsiteX10150" fmla="*/ 2116290 w 8079933"/>
              <a:gd name="connsiteY10150" fmla="*/ 2600442 h 4687251"/>
              <a:gd name="connsiteX10151" fmla="*/ 2110756 w 8079933"/>
              <a:gd name="connsiteY10151" fmla="*/ 2600659 h 4687251"/>
              <a:gd name="connsiteX10152" fmla="*/ 2107501 w 8079933"/>
              <a:gd name="connsiteY10152" fmla="*/ 2598060 h 4687251"/>
              <a:gd name="connsiteX10153" fmla="*/ 2104788 w 8079933"/>
              <a:gd name="connsiteY10153" fmla="*/ 2591889 h 4687251"/>
              <a:gd name="connsiteX10154" fmla="*/ 2101749 w 8079933"/>
              <a:gd name="connsiteY10154" fmla="*/ 2590481 h 4687251"/>
              <a:gd name="connsiteX10155" fmla="*/ 2098711 w 8079933"/>
              <a:gd name="connsiteY10155" fmla="*/ 2591456 h 4687251"/>
              <a:gd name="connsiteX10156" fmla="*/ 2094262 w 8079933"/>
              <a:gd name="connsiteY10156" fmla="*/ 2588099 h 4687251"/>
              <a:gd name="connsiteX10157" fmla="*/ 2096975 w 8079933"/>
              <a:gd name="connsiteY10157" fmla="*/ 2584093 h 4687251"/>
              <a:gd name="connsiteX10158" fmla="*/ 2100881 w 8079933"/>
              <a:gd name="connsiteY10158" fmla="*/ 2583227 h 4687251"/>
              <a:gd name="connsiteX10159" fmla="*/ 2106307 w 8079933"/>
              <a:gd name="connsiteY10159" fmla="*/ 2583769 h 4687251"/>
              <a:gd name="connsiteX10160" fmla="*/ 6262387 w 8079933"/>
              <a:gd name="connsiteY10160" fmla="*/ 2579547 h 4687251"/>
              <a:gd name="connsiteX10161" fmla="*/ 6262930 w 8079933"/>
              <a:gd name="connsiteY10161" fmla="*/ 2583336 h 4687251"/>
              <a:gd name="connsiteX10162" fmla="*/ 6266619 w 8079933"/>
              <a:gd name="connsiteY10162" fmla="*/ 2584419 h 4687251"/>
              <a:gd name="connsiteX10163" fmla="*/ 6270526 w 8079933"/>
              <a:gd name="connsiteY10163" fmla="*/ 2591239 h 4687251"/>
              <a:gd name="connsiteX10164" fmla="*/ 6273998 w 8079933"/>
              <a:gd name="connsiteY10164" fmla="*/ 2594488 h 4687251"/>
              <a:gd name="connsiteX10165" fmla="*/ 6275301 w 8079933"/>
              <a:gd name="connsiteY10165" fmla="*/ 2598169 h 4687251"/>
              <a:gd name="connsiteX10166" fmla="*/ 6281594 w 8079933"/>
              <a:gd name="connsiteY10166" fmla="*/ 2602392 h 4687251"/>
              <a:gd name="connsiteX10167" fmla="*/ 6282398 w 8079933"/>
              <a:gd name="connsiteY10167" fmla="*/ 2604166 h 4687251"/>
              <a:gd name="connsiteX10168" fmla="*/ 6281594 w 8079933"/>
              <a:gd name="connsiteY10168" fmla="*/ 2602391 h 4687251"/>
              <a:gd name="connsiteX10169" fmla="*/ 6275301 w 8079933"/>
              <a:gd name="connsiteY10169" fmla="*/ 2598169 h 4687251"/>
              <a:gd name="connsiteX10170" fmla="*/ 6273998 w 8079933"/>
              <a:gd name="connsiteY10170" fmla="*/ 2594488 h 4687251"/>
              <a:gd name="connsiteX10171" fmla="*/ 6270526 w 8079933"/>
              <a:gd name="connsiteY10171" fmla="*/ 2591239 h 4687251"/>
              <a:gd name="connsiteX10172" fmla="*/ 6266619 w 8079933"/>
              <a:gd name="connsiteY10172" fmla="*/ 2584418 h 4687251"/>
              <a:gd name="connsiteX10173" fmla="*/ 6262930 w 8079933"/>
              <a:gd name="connsiteY10173" fmla="*/ 2583336 h 4687251"/>
              <a:gd name="connsiteX10174" fmla="*/ 6411599 w 8079933"/>
              <a:gd name="connsiteY10174" fmla="*/ 2578788 h 4687251"/>
              <a:gd name="connsiteX10175" fmla="*/ 6411598 w 8079933"/>
              <a:gd name="connsiteY10175" fmla="*/ 2578788 h 4687251"/>
              <a:gd name="connsiteX10176" fmla="*/ 6422340 w 8079933"/>
              <a:gd name="connsiteY10176" fmla="*/ 2581604 h 4687251"/>
              <a:gd name="connsiteX10177" fmla="*/ 6425813 w 8079933"/>
              <a:gd name="connsiteY10177" fmla="*/ 2588424 h 4687251"/>
              <a:gd name="connsiteX10178" fmla="*/ 6436121 w 8079933"/>
              <a:gd name="connsiteY10178" fmla="*/ 2595895 h 4687251"/>
              <a:gd name="connsiteX10179" fmla="*/ 6441982 w 8079933"/>
              <a:gd name="connsiteY10179" fmla="*/ 2600226 h 4687251"/>
              <a:gd name="connsiteX10180" fmla="*/ 6444369 w 8079933"/>
              <a:gd name="connsiteY10180" fmla="*/ 2605314 h 4687251"/>
              <a:gd name="connsiteX10181" fmla="*/ 6443501 w 8079933"/>
              <a:gd name="connsiteY10181" fmla="*/ 2609429 h 4687251"/>
              <a:gd name="connsiteX10182" fmla="*/ 6441765 w 8079933"/>
              <a:gd name="connsiteY10182" fmla="*/ 2612352 h 4687251"/>
              <a:gd name="connsiteX10183" fmla="*/ 6444369 w 8079933"/>
              <a:gd name="connsiteY10183" fmla="*/ 2618091 h 4687251"/>
              <a:gd name="connsiteX10184" fmla="*/ 6444043 w 8079933"/>
              <a:gd name="connsiteY10184" fmla="*/ 2624803 h 4687251"/>
              <a:gd name="connsiteX10185" fmla="*/ 6442849 w 8079933"/>
              <a:gd name="connsiteY10185" fmla="*/ 2628376 h 4687251"/>
              <a:gd name="connsiteX10186" fmla="*/ 6447191 w 8079933"/>
              <a:gd name="connsiteY10186" fmla="*/ 2631516 h 4687251"/>
              <a:gd name="connsiteX10187" fmla="*/ 6452182 w 8079933"/>
              <a:gd name="connsiteY10187" fmla="*/ 2636930 h 4687251"/>
              <a:gd name="connsiteX10188" fmla="*/ 6452184 w 8079933"/>
              <a:gd name="connsiteY10188" fmla="*/ 2636930 h 4687251"/>
              <a:gd name="connsiteX10189" fmla="*/ 6447192 w 8079933"/>
              <a:gd name="connsiteY10189" fmla="*/ 2631516 h 4687251"/>
              <a:gd name="connsiteX10190" fmla="*/ 6442851 w 8079933"/>
              <a:gd name="connsiteY10190" fmla="*/ 2628376 h 4687251"/>
              <a:gd name="connsiteX10191" fmla="*/ 6444045 w 8079933"/>
              <a:gd name="connsiteY10191" fmla="*/ 2624803 h 4687251"/>
              <a:gd name="connsiteX10192" fmla="*/ 6444370 w 8079933"/>
              <a:gd name="connsiteY10192" fmla="*/ 2618090 h 4687251"/>
              <a:gd name="connsiteX10193" fmla="*/ 6441766 w 8079933"/>
              <a:gd name="connsiteY10193" fmla="*/ 2612352 h 4687251"/>
              <a:gd name="connsiteX10194" fmla="*/ 6443503 w 8079933"/>
              <a:gd name="connsiteY10194" fmla="*/ 2609429 h 4687251"/>
              <a:gd name="connsiteX10195" fmla="*/ 6444370 w 8079933"/>
              <a:gd name="connsiteY10195" fmla="*/ 2605314 h 4687251"/>
              <a:gd name="connsiteX10196" fmla="*/ 6441983 w 8079933"/>
              <a:gd name="connsiteY10196" fmla="*/ 2600226 h 4687251"/>
              <a:gd name="connsiteX10197" fmla="*/ 6436123 w 8079933"/>
              <a:gd name="connsiteY10197" fmla="*/ 2595895 h 4687251"/>
              <a:gd name="connsiteX10198" fmla="*/ 6425814 w 8079933"/>
              <a:gd name="connsiteY10198" fmla="*/ 2588424 h 4687251"/>
              <a:gd name="connsiteX10199" fmla="*/ 6422341 w 8079933"/>
              <a:gd name="connsiteY10199" fmla="*/ 2581603 h 4687251"/>
              <a:gd name="connsiteX10200" fmla="*/ 6436936 w 8079933"/>
              <a:gd name="connsiteY10200" fmla="*/ 2570963 h 4687251"/>
              <a:gd name="connsiteX10201" fmla="*/ 6442634 w 8079933"/>
              <a:gd name="connsiteY10201" fmla="*/ 2574025 h 4687251"/>
              <a:gd name="connsiteX10202" fmla="*/ 6446058 w 8079933"/>
              <a:gd name="connsiteY10202" fmla="*/ 2574404 h 4687251"/>
              <a:gd name="connsiteX10203" fmla="*/ 6442633 w 8079933"/>
              <a:gd name="connsiteY10203" fmla="*/ 2574024 h 4687251"/>
              <a:gd name="connsiteX10204" fmla="*/ 4308473 w 8079933"/>
              <a:gd name="connsiteY10204" fmla="*/ 2570188 h 4687251"/>
              <a:gd name="connsiteX10205" fmla="*/ 4305180 w 8079933"/>
              <a:gd name="connsiteY10205" fmla="*/ 2593297 h 4687251"/>
              <a:gd name="connsiteX10206" fmla="*/ 4306048 w 8079933"/>
              <a:gd name="connsiteY10206" fmla="*/ 2628160 h 4687251"/>
              <a:gd name="connsiteX10207" fmla="*/ 4289152 w 8079933"/>
              <a:gd name="connsiteY10207" fmla="*/ 2645387 h 4687251"/>
              <a:gd name="connsiteX10208" fmla="*/ 4306049 w 8079933"/>
              <a:gd name="connsiteY10208" fmla="*/ 2628160 h 4687251"/>
              <a:gd name="connsiteX10209" fmla="*/ 4305181 w 8079933"/>
              <a:gd name="connsiteY10209" fmla="*/ 2593297 h 4687251"/>
              <a:gd name="connsiteX10210" fmla="*/ 6166459 w 8079933"/>
              <a:gd name="connsiteY10210" fmla="*/ 2569911 h 4687251"/>
              <a:gd name="connsiteX10211" fmla="*/ 6170257 w 8079933"/>
              <a:gd name="connsiteY10211" fmla="*/ 2573700 h 4687251"/>
              <a:gd name="connsiteX10212" fmla="*/ 6169063 w 8079933"/>
              <a:gd name="connsiteY10212" fmla="*/ 2577815 h 4687251"/>
              <a:gd name="connsiteX10213" fmla="*/ 6164180 w 8079933"/>
              <a:gd name="connsiteY10213" fmla="*/ 2575000 h 4687251"/>
              <a:gd name="connsiteX10214" fmla="*/ 6162769 w 8079933"/>
              <a:gd name="connsiteY10214" fmla="*/ 2571643 h 4687251"/>
              <a:gd name="connsiteX10215" fmla="*/ 6271394 w 8079933"/>
              <a:gd name="connsiteY10215" fmla="*/ 2569802 h 4687251"/>
              <a:gd name="connsiteX10216" fmla="*/ 6271394 w 8079933"/>
              <a:gd name="connsiteY10216" fmla="*/ 2569802 h 4687251"/>
              <a:gd name="connsiteX10217" fmla="*/ 6273130 w 8079933"/>
              <a:gd name="connsiteY10217" fmla="*/ 2573700 h 4687251"/>
              <a:gd name="connsiteX10218" fmla="*/ 6428202 w 8079933"/>
              <a:gd name="connsiteY10218" fmla="*/ 2569801 h 4687251"/>
              <a:gd name="connsiteX10219" fmla="*/ 6428202 w 8079933"/>
              <a:gd name="connsiteY10219" fmla="*/ 2569802 h 4687251"/>
              <a:gd name="connsiteX10220" fmla="*/ 6435580 w 8079933"/>
              <a:gd name="connsiteY10220" fmla="*/ 2570235 h 4687251"/>
              <a:gd name="connsiteX10221" fmla="*/ 6435579 w 8079933"/>
              <a:gd name="connsiteY10221" fmla="*/ 2570234 h 4687251"/>
              <a:gd name="connsiteX10222" fmla="*/ 4041165 w 8079933"/>
              <a:gd name="connsiteY10222" fmla="*/ 2569489 h 4687251"/>
              <a:gd name="connsiteX10223" fmla="*/ 4037579 w 8079933"/>
              <a:gd name="connsiteY10223" fmla="*/ 2570667 h 4687251"/>
              <a:gd name="connsiteX10224" fmla="*/ 4028489 w 8079933"/>
              <a:gd name="connsiteY10224" fmla="*/ 2571745 h 4687251"/>
              <a:gd name="connsiteX10225" fmla="*/ 4037577 w 8079933"/>
              <a:gd name="connsiteY10225" fmla="*/ 2570668 h 4687251"/>
              <a:gd name="connsiteX10226" fmla="*/ 2222202 w 8079933"/>
              <a:gd name="connsiteY10226" fmla="*/ 2568935 h 4687251"/>
              <a:gd name="connsiteX10227" fmla="*/ 2226869 w 8079933"/>
              <a:gd name="connsiteY10227" fmla="*/ 2572400 h 4687251"/>
              <a:gd name="connsiteX10228" fmla="*/ 2227954 w 8079933"/>
              <a:gd name="connsiteY10228" fmla="*/ 2576081 h 4687251"/>
              <a:gd name="connsiteX10229" fmla="*/ 2221226 w 8079933"/>
              <a:gd name="connsiteY10229" fmla="*/ 2573699 h 4687251"/>
              <a:gd name="connsiteX10230" fmla="*/ 2218079 w 8079933"/>
              <a:gd name="connsiteY10230" fmla="*/ 2571100 h 4687251"/>
              <a:gd name="connsiteX10231" fmla="*/ 6825045 w 8079933"/>
              <a:gd name="connsiteY10231" fmla="*/ 2567962 h 4687251"/>
              <a:gd name="connsiteX10232" fmla="*/ 6834161 w 8079933"/>
              <a:gd name="connsiteY10232" fmla="*/ 2569694 h 4687251"/>
              <a:gd name="connsiteX10233" fmla="*/ 6838176 w 8079933"/>
              <a:gd name="connsiteY10233" fmla="*/ 2574133 h 4687251"/>
              <a:gd name="connsiteX10234" fmla="*/ 6841648 w 8079933"/>
              <a:gd name="connsiteY10234" fmla="*/ 2576407 h 4687251"/>
              <a:gd name="connsiteX10235" fmla="*/ 6842842 w 8079933"/>
              <a:gd name="connsiteY10235" fmla="*/ 2574025 h 4687251"/>
              <a:gd name="connsiteX10236" fmla="*/ 6849570 w 8079933"/>
              <a:gd name="connsiteY10236" fmla="*/ 2574025 h 4687251"/>
              <a:gd name="connsiteX10237" fmla="*/ 6852826 w 8079933"/>
              <a:gd name="connsiteY10237" fmla="*/ 2571210 h 4687251"/>
              <a:gd name="connsiteX10238" fmla="*/ 6853151 w 8079933"/>
              <a:gd name="connsiteY10238" fmla="*/ 2569045 h 4687251"/>
              <a:gd name="connsiteX10239" fmla="*/ 6855429 w 8079933"/>
              <a:gd name="connsiteY10239" fmla="*/ 2568178 h 4687251"/>
              <a:gd name="connsiteX10240" fmla="*/ 6858468 w 8079933"/>
              <a:gd name="connsiteY10240" fmla="*/ 2572293 h 4687251"/>
              <a:gd name="connsiteX10241" fmla="*/ 6858142 w 8079933"/>
              <a:gd name="connsiteY10241" fmla="*/ 2575757 h 4687251"/>
              <a:gd name="connsiteX10242" fmla="*/ 6855429 w 8079933"/>
              <a:gd name="connsiteY10242" fmla="*/ 2579005 h 4687251"/>
              <a:gd name="connsiteX10243" fmla="*/ 6854344 w 8079933"/>
              <a:gd name="connsiteY10243" fmla="*/ 2588317 h 4687251"/>
              <a:gd name="connsiteX10244" fmla="*/ 6858685 w 8079933"/>
              <a:gd name="connsiteY10244" fmla="*/ 2595679 h 4687251"/>
              <a:gd name="connsiteX10245" fmla="*/ 6861398 w 8079933"/>
              <a:gd name="connsiteY10245" fmla="*/ 2596653 h 4687251"/>
              <a:gd name="connsiteX10246" fmla="*/ 6863026 w 8079933"/>
              <a:gd name="connsiteY10246" fmla="*/ 2602717 h 4687251"/>
              <a:gd name="connsiteX10247" fmla="*/ 6865413 w 8079933"/>
              <a:gd name="connsiteY10247" fmla="*/ 2605640 h 4687251"/>
              <a:gd name="connsiteX10248" fmla="*/ 6863135 w 8079933"/>
              <a:gd name="connsiteY10248" fmla="*/ 2616792 h 4687251"/>
              <a:gd name="connsiteX10249" fmla="*/ 6860204 w 8079933"/>
              <a:gd name="connsiteY10249" fmla="*/ 2623613 h 4687251"/>
              <a:gd name="connsiteX10250" fmla="*/ 6861615 w 8079933"/>
              <a:gd name="connsiteY10250" fmla="*/ 2629351 h 4687251"/>
              <a:gd name="connsiteX10251" fmla="*/ 6857600 w 8079933"/>
              <a:gd name="connsiteY10251" fmla="*/ 2635739 h 4687251"/>
              <a:gd name="connsiteX10252" fmla="*/ 6857274 w 8079933"/>
              <a:gd name="connsiteY10252" fmla="*/ 2633357 h 4687251"/>
              <a:gd name="connsiteX10253" fmla="*/ 6858793 w 8079933"/>
              <a:gd name="connsiteY10253" fmla="*/ 2629892 h 4687251"/>
              <a:gd name="connsiteX10254" fmla="*/ 6855972 w 8079933"/>
              <a:gd name="connsiteY10254" fmla="*/ 2631625 h 4687251"/>
              <a:gd name="connsiteX10255" fmla="*/ 6848484 w 8079933"/>
              <a:gd name="connsiteY10255" fmla="*/ 2638663 h 4687251"/>
              <a:gd name="connsiteX10256" fmla="*/ 6846748 w 8079933"/>
              <a:gd name="connsiteY10256" fmla="*/ 2642885 h 4687251"/>
              <a:gd name="connsiteX10257" fmla="*/ 6847291 w 8079933"/>
              <a:gd name="connsiteY10257" fmla="*/ 2648299 h 4687251"/>
              <a:gd name="connsiteX10258" fmla="*/ 6844904 w 8079933"/>
              <a:gd name="connsiteY10258" fmla="*/ 2651871 h 4687251"/>
              <a:gd name="connsiteX10259" fmla="*/ 6844035 w 8079933"/>
              <a:gd name="connsiteY10259" fmla="*/ 2657718 h 4687251"/>
              <a:gd name="connsiteX10260" fmla="*/ 6846640 w 8079933"/>
              <a:gd name="connsiteY10260" fmla="*/ 2659775 h 4687251"/>
              <a:gd name="connsiteX10261" fmla="*/ 6849028 w 8079933"/>
              <a:gd name="connsiteY10261" fmla="*/ 2665946 h 4687251"/>
              <a:gd name="connsiteX10262" fmla="*/ 6852174 w 8079933"/>
              <a:gd name="connsiteY10262" fmla="*/ 2669411 h 4687251"/>
              <a:gd name="connsiteX10263" fmla="*/ 6850221 w 8079933"/>
              <a:gd name="connsiteY10263" fmla="*/ 2672118 h 4687251"/>
              <a:gd name="connsiteX10264" fmla="*/ 6850221 w 8079933"/>
              <a:gd name="connsiteY10264" fmla="*/ 2677315 h 4687251"/>
              <a:gd name="connsiteX10265" fmla="*/ 6853910 w 8079933"/>
              <a:gd name="connsiteY10265" fmla="*/ 2680238 h 4687251"/>
              <a:gd name="connsiteX10266" fmla="*/ 6856189 w 8079933"/>
              <a:gd name="connsiteY10266" fmla="*/ 2684894 h 4687251"/>
              <a:gd name="connsiteX10267" fmla="*/ 6861615 w 8079933"/>
              <a:gd name="connsiteY10267" fmla="*/ 2686734 h 4687251"/>
              <a:gd name="connsiteX10268" fmla="*/ 6865413 w 8079933"/>
              <a:gd name="connsiteY10268" fmla="*/ 2685435 h 4687251"/>
              <a:gd name="connsiteX10269" fmla="*/ 6866498 w 8079933"/>
              <a:gd name="connsiteY10269" fmla="*/ 2681754 h 4687251"/>
              <a:gd name="connsiteX10270" fmla="*/ 6872900 w 8079933"/>
              <a:gd name="connsiteY10270" fmla="*/ 2676666 h 4687251"/>
              <a:gd name="connsiteX10271" fmla="*/ 6877567 w 8079933"/>
              <a:gd name="connsiteY10271" fmla="*/ 2676558 h 4687251"/>
              <a:gd name="connsiteX10272" fmla="*/ 6884620 w 8079933"/>
              <a:gd name="connsiteY10272" fmla="*/ 2680996 h 4687251"/>
              <a:gd name="connsiteX10273" fmla="*/ 6887550 w 8079933"/>
              <a:gd name="connsiteY10273" fmla="*/ 2686626 h 4687251"/>
              <a:gd name="connsiteX10274" fmla="*/ 6886900 w 8079933"/>
              <a:gd name="connsiteY10274" fmla="*/ 2691607 h 4687251"/>
              <a:gd name="connsiteX10275" fmla="*/ 6889178 w 8079933"/>
              <a:gd name="connsiteY10275" fmla="*/ 2693989 h 4687251"/>
              <a:gd name="connsiteX10276" fmla="*/ 6892325 w 8079933"/>
              <a:gd name="connsiteY10276" fmla="*/ 2691932 h 4687251"/>
              <a:gd name="connsiteX10277" fmla="*/ 6891999 w 8079933"/>
              <a:gd name="connsiteY10277" fmla="*/ 2687276 h 4687251"/>
              <a:gd name="connsiteX10278" fmla="*/ 6894061 w 8079933"/>
              <a:gd name="connsiteY10278" fmla="*/ 2685544 h 4687251"/>
              <a:gd name="connsiteX10279" fmla="*/ 6896774 w 8079933"/>
              <a:gd name="connsiteY10279" fmla="*/ 2690199 h 4687251"/>
              <a:gd name="connsiteX10280" fmla="*/ 6902417 w 8079933"/>
              <a:gd name="connsiteY10280" fmla="*/ 2690416 h 4687251"/>
              <a:gd name="connsiteX10281" fmla="*/ 6907083 w 8079933"/>
              <a:gd name="connsiteY10281" fmla="*/ 2693447 h 4687251"/>
              <a:gd name="connsiteX10282" fmla="*/ 6908168 w 8079933"/>
              <a:gd name="connsiteY10282" fmla="*/ 2695072 h 4687251"/>
              <a:gd name="connsiteX10283" fmla="*/ 6904697 w 8079933"/>
              <a:gd name="connsiteY10283" fmla="*/ 2695613 h 4687251"/>
              <a:gd name="connsiteX10284" fmla="*/ 6902308 w 8079933"/>
              <a:gd name="connsiteY10284" fmla="*/ 2694205 h 4687251"/>
              <a:gd name="connsiteX10285" fmla="*/ 6899922 w 8079933"/>
              <a:gd name="connsiteY10285" fmla="*/ 2695829 h 4687251"/>
              <a:gd name="connsiteX10286" fmla="*/ 6900898 w 8079933"/>
              <a:gd name="connsiteY10286" fmla="*/ 2699944 h 4687251"/>
              <a:gd name="connsiteX10287" fmla="*/ 6904153 w 8079933"/>
              <a:gd name="connsiteY10287" fmla="*/ 2708280 h 4687251"/>
              <a:gd name="connsiteX10288" fmla="*/ 6904044 w 8079933"/>
              <a:gd name="connsiteY10288" fmla="*/ 2711529 h 4687251"/>
              <a:gd name="connsiteX10289" fmla="*/ 6908819 w 8079933"/>
              <a:gd name="connsiteY10289" fmla="*/ 2711529 h 4687251"/>
              <a:gd name="connsiteX10290" fmla="*/ 6912292 w 8079933"/>
              <a:gd name="connsiteY10290" fmla="*/ 2713261 h 4687251"/>
              <a:gd name="connsiteX10291" fmla="*/ 6916199 w 8079933"/>
              <a:gd name="connsiteY10291" fmla="*/ 2713044 h 4687251"/>
              <a:gd name="connsiteX10292" fmla="*/ 6918152 w 8079933"/>
              <a:gd name="connsiteY10292" fmla="*/ 2715643 h 4687251"/>
              <a:gd name="connsiteX10293" fmla="*/ 6916091 w 8079933"/>
              <a:gd name="connsiteY10293" fmla="*/ 2717700 h 4687251"/>
              <a:gd name="connsiteX10294" fmla="*/ 6916632 w 8079933"/>
              <a:gd name="connsiteY10294" fmla="*/ 2720623 h 4687251"/>
              <a:gd name="connsiteX10295" fmla="*/ 6914896 w 8079933"/>
              <a:gd name="connsiteY10295" fmla="*/ 2727445 h 4687251"/>
              <a:gd name="connsiteX10296" fmla="*/ 6910665 w 8079933"/>
              <a:gd name="connsiteY10296" fmla="*/ 2726145 h 4687251"/>
              <a:gd name="connsiteX10297" fmla="*/ 6906757 w 8079933"/>
              <a:gd name="connsiteY10297" fmla="*/ 2721381 h 4687251"/>
              <a:gd name="connsiteX10298" fmla="*/ 6910556 w 8079933"/>
              <a:gd name="connsiteY10298" fmla="*/ 2719107 h 4687251"/>
              <a:gd name="connsiteX10299" fmla="*/ 6910881 w 8079933"/>
              <a:gd name="connsiteY10299" fmla="*/ 2716617 h 4687251"/>
              <a:gd name="connsiteX10300" fmla="*/ 6906975 w 8079933"/>
              <a:gd name="connsiteY10300" fmla="*/ 2715859 h 4687251"/>
              <a:gd name="connsiteX10301" fmla="*/ 6907083 w 8079933"/>
              <a:gd name="connsiteY10301" fmla="*/ 2717592 h 4687251"/>
              <a:gd name="connsiteX10302" fmla="*/ 6902960 w 8079933"/>
              <a:gd name="connsiteY10302" fmla="*/ 2718782 h 4687251"/>
              <a:gd name="connsiteX10303" fmla="*/ 6897642 w 8079933"/>
              <a:gd name="connsiteY10303" fmla="*/ 2712503 h 4687251"/>
              <a:gd name="connsiteX10304" fmla="*/ 6893952 w 8079933"/>
              <a:gd name="connsiteY10304" fmla="*/ 2711312 h 4687251"/>
              <a:gd name="connsiteX10305" fmla="*/ 6893952 w 8079933"/>
              <a:gd name="connsiteY10305" fmla="*/ 2706223 h 4687251"/>
              <a:gd name="connsiteX10306" fmla="*/ 6892108 w 8079933"/>
              <a:gd name="connsiteY10306" fmla="*/ 2701676 h 4687251"/>
              <a:gd name="connsiteX10307" fmla="*/ 6885271 w 8079933"/>
              <a:gd name="connsiteY10307" fmla="*/ 2699186 h 4687251"/>
              <a:gd name="connsiteX10308" fmla="*/ 6882125 w 8079933"/>
              <a:gd name="connsiteY10308" fmla="*/ 2693664 h 4687251"/>
              <a:gd name="connsiteX10309" fmla="*/ 6878977 w 8079933"/>
              <a:gd name="connsiteY10309" fmla="*/ 2692040 h 4687251"/>
              <a:gd name="connsiteX10310" fmla="*/ 6876265 w 8079933"/>
              <a:gd name="connsiteY10310" fmla="*/ 2689333 h 4687251"/>
              <a:gd name="connsiteX10311" fmla="*/ 6873660 w 8079933"/>
              <a:gd name="connsiteY10311" fmla="*/ 2688791 h 4687251"/>
              <a:gd name="connsiteX10312" fmla="*/ 6873009 w 8079933"/>
              <a:gd name="connsiteY10312" fmla="*/ 2691282 h 4687251"/>
              <a:gd name="connsiteX10313" fmla="*/ 6878001 w 8079933"/>
              <a:gd name="connsiteY10313" fmla="*/ 2700052 h 4687251"/>
              <a:gd name="connsiteX10314" fmla="*/ 6879521 w 8079933"/>
              <a:gd name="connsiteY10314" fmla="*/ 2707956 h 4687251"/>
              <a:gd name="connsiteX10315" fmla="*/ 6877675 w 8079933"/>
              <a:gd name="connsiteY10315" fmla="*/ 2708280 h 4687251"/>
              <a:gd name="connsiteX10316" fmla="*/ 6873009 w 8079933"/>
              <a:gd name="connsiteY10316" fmla="*/ 2700376 h 4687251"/>
              <a:gd name="connsiteX10317" fmla="*/ 6867692 w 8079933"/>
              <a:gd name="connsiteY10317" fmla="*/ 2696587 h 4687251"/>
              <a:gd name="connsiteX10318" fmla="*/ 6865738 w 8079933"/>
              <a:gd name="connsiteY10318" fmla="*/ 2692906 h 4687251"/>
              <a:gd name="connsiteX10319" fmla="*/ 6855972 w 8079933"/>
              <a:gd name="connsiteY10319" fmla="*/ 2689009 h 4687251"/>
              <a:gd name="connsiteX10320" fmla="*/ 6850438 w 8079933"/>
              <a:gd name="connsiteY10320" fmla="*/ 2689550 h 4687251"/>
              <a:gd name="connsiteX10321" fmla="*/ 6848376 w 8079933"/>
              <a:gd name="connsiteY10321" fmla="*/ 2692581 h 4687251"/>
              <a:gd name="connsiteX10322" fmla="*/ 6849353 w 8079933"/>
              <a:gd name="connsiteY10322" fmla="*/ 2695938 h 4687251"/>
              <a:gd name="connsiteX10323" fmla="*/ 6844904 w 8079933"/>
              <a:gd name="connsiteY10323" fmla="*/ 2698644 h 4687251"/>
              <a:gd name="connsiteX10324" fmla="*/ 6839369 w 8079933"/>
              <a:gd name="connsiteY10324" fmla="*/ 2693123 h 4687251"/>
              <a:gd name="connsiteX10325" fmla="*/ 6836114 w 8079933"/>
              <a:gd name="connsiteY10325" fmla="*/ 2696046 h 4687251"/>
              <a:gd name="connsiteX10326" fmla="*/ 6832315 w 8079933"/>
              <a:gd name="connsiteY10326" fmla="*/ 2696912 h 4687251"/>
              <a:gd name="connsiteX10327" fmla="*/ 6834594 w 8079933"/>
              <a:gd name="connsiteY10327" fmla="*/ 2692906 h 4687251"/>
              <a:gd name="connsiteX10328" fmla="*/ 6832641 w 8079933"/>
              <a:gd name="connsiteY10328" fmla="*/ 2688791 h 4687251"/>
              <a:gd name="connsiteX10329" fmla="*/ 6829928 w 8079933"/>
              <a:gd name="connsiteY10329" fmla="*/ 2689874 h 4687251"/>
              <a:gd name="connsiteX10330" fmla="*/ 6828518 w 8079933"/>
              <a:gd name="connsiteY10330" fmla="*/ 2694638 h 4687251"/>
              <a:gd name="connsiteX10331" fmla="*/ 6825479 w 8079933"/>
              <a:gd name="connsiteY10331" fmla="*/ 2689333 h 4687251"/>
              <a:gd name="connsiteX10332" fmla="*/ 6825913 w 8079933"/>
              <a:gd name="connsiteY10332" fmla="*/ 2683703 h 4687251"/>
              <a:gd name="connsiteX10333" fmla="*/ 6825479 w 8079933"/>
              <a:gd name="connsiteY10333" fmla="*/ 2680888 h 4687251"/>
              <a:gd name="connsiteX10334" fmla="*/ 6827975 w 8079933"/>
              <a:gd name="connsiteY10334" fmla="*/ 2677856 h 4687251"/>
              <a:gd name="connsiteX10335" fmla="*/ 6833184 w 8079933"/>
              <a:gd name="connsiteY10335" fmla="*/ 2671144 h 4687251"/>
              <a:gd name="connsiteX10336" fmla="*/ 6829060 w 8079933"/>
              <a:gd name="connsiteY10336" fmla="*/ 2668004 h 4687251"/>
              <a:gd name="connsiteX10337" fmla="*/ 6823852 w 8079933"/>
              <a:gd name="connsiteY10337" fmla="*/ 2667571 h 4687251"/>
              <a:gd name="connsiteX10338" fmla="*/ 6823743 w 8079933"/>
              <a:gd name="connsiteY10338" fmla="*/ 2670385 h 4687251"/>
              <a:gd name="connsiteX10339" fmla="*/ 6826239 w 8079933"/>
              <a:gd name="connsiteY10339" fmla="*/ 2673201 h 4687251"/>
              <a:gd name="connsiteX10340" fmla="*/ 6823526 w 8079933"/>
              <a:gd name="connsiteY10340" fmla="*/ 2676774 h 4687251"/>
              <a:gd name="connsiteX10341" fmla="*/ 6820379 w 8079933"/>
              <a:gd name="connsiteY10341" fmla="*/ 2676666 h 4687251"/>
              <a:gd name="connsiteX10342" fmla="*/ 6815821 w 8079933"/>
              <a:gd name="connsiteY10342" fmla="*/ 2670603 h 4687251"/>
              <a:gd name="connsiteX10343" fmla="*/ 6815604 w 8079933"/>
              <a:gd name="connsiteY10343" fmla="*/ 2665838 h 4687251"/>
              <a:gd name="connsiteX10344" fmla="*/ 6813759 w 8079933"/>
              <a:gd name="connsiteY10344" fmla="*/ 2665081 h 4687251"/>
              <a:gd name="connsiteX10345" fmla="*/ 6812023 w 8079933"/>
              <a:gd name="connsiteY10345" fmla="*/ 2666488 h 4687251"/>
              <a:gd name="connsiteX10346" fmla="*/ 6809852 w 8079933"/>
              <a:gd name="connsiteY10346" fmla="*/ 2664972 h 4687251"/>
              <a:gd name="connsiteX10347" fmla="*/ 6809745 w 8079933"/>
              <a:gd name="connsiteY10347" fmla="*/ 2656310 h 4687251"/>
              <a:gd name="connsiteX10348" fmla="*/ 6806163 w 8079933"/>
              <a:gd name="connsiteY10348" fmla="*/ 2649814 h 4687251"/>
              <a:gd name="connsiteX10349" fmla="*/ 6804427 w 8079933"/>
              <a:gd name="connsiteY10349" fmla="*/ 2642885 h 4687251"/>
              <a:gd name="connsiteX10350" fmla="*/ 6806163 w 8079933"/>
              <a:gd name="connsiteY10350" fmla="*/ 2639637 h 4687251"/>
              <a:gd name="connsiteX10351" fmla="*/ 6805295 w 8079933"/>
              <a:gd name="connsiteY10351" fmla="*/ 2637904 h 4687251"/>
              <a:gd name="connsiteX10352" fmla="*/ 6802473 w 8079933"/>
              <a:gd name="connsiteY10352" fmla="*/ 2637797 h 4687251"/>
              <a:gd name="connsiteX10353" fmla="*/ 6801280 w 8079933"/>
              <a:gd name="connsiteY10353" fmla="*/ 2632599 h 4687251"/>
              <a:gd name="connsiteX10354" fmla="*/ 6802040 w 8079933"/>
              <a:gd name="connsiteY10354" fmla="*/ 2626753 h 4687251"/>
              <a:gd name="connsiteX10355" fmla="*/ 6805295 w 8079933"/>
              <a:gd name="connsiteY10355" fmla="*/ 2630759 h 4687251"/>
              <a:gd name="connsiteX10356" fmla="*/ 6809419 w 8079933"/>
              <a:gd name="connsiteY10356" fmla="*/ 2631408 h 4687251"/>
              <a:gd name="connsiteX10357" fmla="*/ 6812891 w 8079933"/>
              <a:gd name="connsiteY10357" fmla="*/ 2629568 h 4687251"/>
              <a:gd name="connsiteX10358" fmla="*/ 6812891 w 8079933"/>
              <a:gd name="connsiteY10358" fmla="*/ 2626428 h 4687251"/>
              <a:gd name="connsiteX10359" fmla="*/ 6809093 w 8079933"/>
              <a:gd name="connsiteY10359" fmla="*/ 2618524 h 4687251"/>
              <a:gd name="connsiteX10360" fmla="*/ 6811264 w 8079933"/>
              <a:gd name="connsiteY10360" fmla="*/ 2612894 h 4687251"/>
              <a:gd name="connsiteX10361" fmla="*/ 6814085 w 8079933"/>
              <a:gd name="connsiteY10361" fmla="*/ 2600984 h 4687251"/>
              <a:gd name="connsiteX10362" fmla="*/ 6813868 w 8079933"/>
              <a:gd name="connsiteY10362" fmla="*/ 2591240 h 4687251"/>
              <a:gd name="connsiteX10363" fmla="*/ 6812458 w 8079933"/>
              <a:gd name="connsiteY10363" fmla="*/ 2585285 h 4687251"/>
              <a:gd name="connsiteX10364" fmla="*/ 6817340 w 8079933"/>
              <a:gd name="connsiteY10364" fmla="*/ 2575757 h 4687251"/>
              <a:gd name="connsiteX10365" fmla="*/ 6818209 w 8079933"/>
              <a:gd name="connsiteY10365" fmla="*/ 2570344 h 4687251"/>
              <a:gd name="connsiteX10366" fmla="*/ 4046477 w 8079933"/>
              <a:gd name="connsiteY10366" fmla="*/ 2567744 h 4687251"/>
              <a:gd name="connsiteX10367" fmla="*/ 4046476 w 8079933"/>
              <a:gd name="connsiteY10367" fmla="*/ 2567745 h 4687251"/>
              <a:gd name="connsiteX10368" fmla="*/ 4046584 w 8079933"/>
              <a:gd name="connsiteY10368" fmla="*/ 2567853 h 4687251"/>
              <a:gd name="connsiteX10369" fmla="*/ 4045390 w 8079933"/>
              <a:gd name="connsiteY10369" fmla="*/ 2613976 h 4687251"/>
              <a:gd name="connsiteX10370" fmla="*/ 4043763 w 8079933"/>
              <a:gd name="connsiteY10370" fmla="*/ 2635414 h 4687251"/>
              <a:gd name="connsiteX10371" fmla="*/ 4043764 w 8079933"/>
              <a:gd name="connsiteY10371" fmla="*/ 2635413 h 4687251"/>
              <a:gd name="connsiteX10372" fmla="*/ 4045391 w 8079933"/>
              <a:gd name="connsiteY10372" fmla="*/ 2613976 h 4687251"/>
              <a:gd name="connsiteX10373" fmla="*/ 4046585 w 8079933"/>
              <a:gd name="connsiteY10373" fmla="*/ 2567853 h 4687251"/>
              <a:gd name="connsiteX10374" fmla="*/ 4046586 w 8079933"/>
              <a:gd name="connsiteY10374" fmla="*/ 2567853 h 4687251"/>
              <a:gd name="connsiteX10375" fmla="*/ 6420931 w 8079933"/>
              <a:gd name="connsiteY10375" fmla="*/ 2563522 h 4687251"/>
              <a:gd name="connsiteX10376" fmla="*/ 6420931 w 8079933"/>
              <a:gd name="connsiteY10376" fmla="*/ 2563522 h 4687251"/>
              <a:gd name="connsiteX10377" fmla="*/ 6424728 w 8079933"/>
              <a:gd name="connsiteY10377" fmla="*/ 2563522 h 4687251"/>
              <a:gd name="connsiteX10378" fmla="*/ 6424728 w 8079933"/>
              <a:gd name="connsiteY10378" fmla="*/ 2563522 h 4687251"/>
              <a:gd name="connsiteX10379" fmla="*/ 6830797 w 8079933"/>
              <a:gd name="connsiteY10379" fmla="*/ 2560924 h 4687251"/>
              <a:gd name="connsiteX10380" fmla="*/ 6836766 w 8079933"/>
              <a:gd name="connsiteY10380" fmla="*/ 2560924 h 4687251"/>
              <a:gd name="connsiteX10381" fmla="*/ 6832967 w 8079933"/>
              <a:gd name="connsiteY10381" fmla="*/ 2562981 h 4687251"/>
              <a:gd name="connsiteX10382" fmla="*/ 2028935 w 8079933"/>
              <a:gd name="connsiteY10382" fmla="*/ 2560599 h 4687251"/>
              <a:gd name="connsiteX10383" fmla="*/ 2027308 w 8079933"/>
              <a:gd name="connsiteY10383" fmla="*/ 2563955 h 4687251"/>
              <a:gd name="connsiteX10384" fmla="*/ 2022533 w 8079933"/>
              <a:gd name="connsiteY10384" fmla="*/ 2564713 h 4687251"/>
              <a:gd name="connsiteX10385" fmla="*/ 2024052 w 8079933"/>
              <a:gd name="connsiteY10385" fmla="*/ 2560707 h 4687251"/>
              <a:gd name="connsiteX10386" fmla="*/ 4083047 w 8079933"/>
              <a:gd name="connsiteY10386" fmla="*/ 2559083 h 4687251"/>
              <a:gd name="connsiteX10387" fmla="*/ 4053361 w 8079933"/>
              <a:gd name="connsiteY10387" fmla="*/ 2566223 h 4687251"/>
              <a:gd name="connsiteX10388" fmla="*/ 4083047 w 8079933"/>
              <a:gd name="connsiteY10388" fmla="*/ 2559083 h 4687251"/>
              <a:gd name="connsiteX10389" fmla="*/ 6848158 w 8079933"/>
              <a:gd name="connsiteY10389" fmla="*/ 2555943 h 4687251"/>
              <a:gd name="connsiteX10390" fmla="*/ 6849787 w 8079933"/>
              <a:gd name="connsiteY10390" fmla="*/ 2558325 h 4687251"/>
              <a:gd name="connsiteX10391" fmla="*/ 6847942 w 8079933"/>
              <a:gd name="connsiteY10391" fmla="*/ 2561790 h 4687251"/>
              <a:gd name="connsiteX10392" fmla="*/ 6845229 w 8079933"/>
              <a:gd name="connsiteY10392" fmla="*/ 2559516 h 4687251"/>
              <a:gd name="connsiteX10393" fmla="*/ 6848158 w 8079933"/>
              <a:gd name="connsiteY10393" fmla="*/ 2555943 h 4687251"/>
              <a:gd name="connsiteX10394" fmla="*/ 6848159 w 8079933"/>
              <a:gd name="connsiteY10394" fmla="*/ 2555943 h 4687251"/>
              <a:gd name="connsiteX10395" fmla="*/ 6848158 w 8079933"/>
              <a:gd name="connsiteY10395" fmla="*/ 2555943 h 4687251"/>
              <a:gd name="connsiteX10396" fmla="*/ 5225318 w 8079933"/>
              <a:gd name="connsiteY10396" fmla="*/ 2550811 h 4687251"/>
              <a:gd name="connsiteX10397" fmla="*/ 5177871 w 8079933"/>
              <a:gd name="connsiteY10397" fmla="*/ 2564929 h 4687251"/>
              <a:gd name="connsiteX10398" fmla="*/ 5150212 w 8079933"/>
              <a:gd name="connsiteY10398" fmla="*/ 2573178 h 4687251"/>
              <a:gd name="connsiteX10399" fmla="*/ 5177872 w 8079933"/>
              <a:gd name="connsiteY10399" fmla="*/ 2564929 h 4687251"/>
              <a:gd name="connsiteX10400" fmla="*/ 6827649 w 8079933"/>
              <a:gd name="connsiteY10400" fmla="*/ 2550638 h 4687251"/>
              <a:gd name="connsiteX10401" fmla="*/ 6830905 w 8079933"/>
              <a:gd name="connsiteY10401" fmla="*/ 2553777 h 4687251"/>
              <a:gd name="connsiteX10402" fmla="*/ 6826456 w 8079933"/>
              <a:gd name="connsiteY10402" fmla="*/ 2554536 h 4687251"/>
              <a:gd name="connsiteX10403" fmla="*/ 6342365 w 8079933"/>
              <a:gd name="connsiteY10403" fmla="*/ 2547931 h 4687251"/>
              <a:gd name="connsiteX10404" fmla="*/ 6351153 w 8079933"/>
              <a:gd name="connsiteY10404" fmla="*/ 2548148 h 4687251"/>
              <a:gd name="connsiteX10405" fmla="*/ 6351370 w 8079933"/>
              <a:gd name="connsiteY10405" fmla="*/ 2552262 h 4687251"/>
              <a:gd name="connsiteX10406" fmla="*/ 6348549 w 8079933"/>
              <a:gd name="connsiteY10406" fmla="*/ 2557676 h 4687251"/>
              <a:gd name="connsiteX10407" fmla="*/ 6351370 w 8079933"/>
              <a:gd name="connsiteY10407" fmla="*/ 2562331 h 4687251"/>
              <a:gd name="connsiteX10408" fmla="*/ 6351153 w 8079933"/>
              <a:gd name="connsiteY10408" fmla="*/ 2566121 h 4687251"/>
              <a:gd name="connsiteX10409" fmla="*/ 6348441 w 8079933"/>
              <a:gd name="connsiteY10409" fmla="*/ 2569802 h 4687251"/>
              <a:gd name="connsiteX10410" fmla="*/ 6350503 w 8079933"/>
              <a:gd name="connsiteY10410" fmla="*/ 2575649 h 4687251"/>
              <a:gd name="connsiteX10411" fmla="*/ 6350503 w 8079933"/>
              <a:gd name="connsiteY10411" fmla="*/ 2583877 h 4687251"/>
              <a:gd name="connsiteX10412" fmla="*/ 6350936 w 8079933"/>
              <a:gd name="connsiteY10412" fmla="*/ 2596328 h 4687251"/>
              <a:gd name="connsiteX10413" fmla="*/ 6350937 w 8079933"/>
              <a:gd name="connsiteY10413" fmla="*/ 2596328 h 4687251"/>
              <a:gd name="connsiteX10414" fmla="*/ 6350504 w 8079933"/>
              <a:gd name="connsiteY10414" fmla="*/ 2583877 h 4687251"/>
              <a:gd name="connsiteX10415" fmla="*/ 6350504 w 8079933"/>
              <a:gd name="connsiteY10415" fmla="*/ 2575648 h 4687251"/>
              <a:gd name="connsiteX10416" fmla="*/ 6348442 w 8079933"/>
              <a:gd name="connsiteY10416" fmla="*/ 2569802 h 4687251"/>
              <a:gd name="connsiteX10417" fmla="*/ 6351154 w 8079933"/>
              <a:gd name="connsiteY10417" fmla="*/ 2566121 h 4687251"/>
              <a:gd name="connsiteX10418" fmla="*/ 6351371 w 8079933"/>
              <a:gd name="connsiteY10418" fmla="*/ 2562331 h 4687251"/>
              <a:gd name="connsiteX10419" fmla="*/ 6348550 w 8079933"/>
              <a:gd name="connsiteY10419" fmla="*/ 2557676 h 4687251"/>
              <a:gd name="connsiteX10420" fmla="*/ 6351371 w 8079933"/>
              <a:gd name="connsiteY10420" fmla="*/ 2552262 h 4687251"/>
              <a:gd name="connsiteX10421" fmla="*/ 6351154 w 8079933"/>
              <a:gd name="connsiteY10421" fmla="*/ 2548148 h 4687251"/>
              <a:gd name="connsiteX10422" fmla="*/ 2272230 w 8079933"/>
              <a:gd name="connsiteY10422" fmla="*/ 2545982 h 4687251"/>
              <a:gd name="connsiteX10423" fmla="*/ 2292197 w 8079933"/>
              <a:gd name="connsiteY10423" fmla="*/ 2550313 h 4687251"/>
              <a:gd name="connsiteX10424" fmla="*/ 2295235 w 8079933"/>
              <a:gd name="connsiteY10424" fmla="*/ 2552478 h 4687251"/>
              <a:gd name="connsiteX10425" fmla="*/ 2297406 w 8079933"/>
              <a:gd name="connsiteY10425" fmla="*/ 2551612 h 4687251"/>
              <a:gd name="connsiteX10426" fmla="*/ 2301638 w 8079933"/>
              <a:gd name="connsiteY10426" fmla="*/ 2551612 h 4687251"/>
              <a:gd name="connsiteX10427" fmla="*/ 2305436 w 8079933"/>
              <a:gd name="connsiteY10427" fmla="*/ 2558975 h 4687251"/>
              <a:gd name="connsiteX10428" fmla="*/ 2313140 w 8079933"/>
              <a:gd name="connsiteY10428" fmla="*/ 2560598 h 4687251"/>
              <a:gd name="connsiteX10429" fmla="*/ 2315962 w 8079933"/>
              <a:gd name="connsiteY10429" fmla="*/ 2560057 h 4687251"/>
              <a:gd name="connsiteX10430" fmla="*/ 2319109 w 8079933"/>
              <a:gd name="connsiteY10430" fmla="*/ 2562439 h 4687251"/>
              <a:gd name="connsiteX10431" fmla="*/ 2314877 w 8079933"/>
              <a:gd name="connsiteY10431" fmla="*/ 2563955 h 4687251"/>
              <a:gd name="connsiteX10432" fmla="*/ 2304567 w 8079933"/>
              <a:gd name="connsiteY10432" fmla="*/ 2562980 h 4687251"/>
              <a:gd name="connsiteX10433" fmla="*/ 2297840 w 8079933"/>
              <a:gd name="connsiteY10433" fmla="*/ 2561031 h 4687251"/>
              <a:gd name="connsiteX10434" fmla="*/ 2294584 w 8079933"/>
              <a:gd name="connsiteY10434" fmla="*/ 2562331 h 4687251"/>
              <a:gd name="connsiteX10435" fmla="*/ 2299251 w 8079933"/>
              <a:gd name="connsiteY10435" fmla="*/ 2562331 h 4687251"/>
              <a:gd name="connsiteX10436" fmla="*/ 2305979 w 8079933"/>
              <a:gd name="connsiteY10436" fmla="*/ 2566229 h 4687251"/>
              <a:gd name="connsiteX10437" fmla="*/ 2312381 w 8079933"/>
              <a:gd name="connsiteY10437" fmla="*/ 2569369 h 4687251"/>
              <a:gd name="connsiteX10438" fmla="*/ 2316288 w 8079933"/>
              <a:gd name="connsiteY10438" fmla="*/ 2569152 h 4687251"/>
              <a:gd name="connsiteX10439" fmla="*/ 2322148 w 8079933"/>
              <a:gd name="connsiteY10439" fmla="*/ 2571101 h 4687251"/>
              <a:gd name="connsiteX10440" fmla="*/ 2325729 w 8079933"/>
              <a:gd name="connsiteY10440" fmla="*/ 2571101 h 4687251"/>
              <a:gd name="connsiteX10441" fmla="*/ 2335386 w 8079933"/>
              <a:gd name="connsiteY10441" fmla="*/ 2576623 h 4687251"/>
              <a:gd name="connsiteX10442" fmla="*/ 2337448 w 8079933"/>
              <a:gd name="connsiteY10442" fmla="*/ 2579979 h 4687251"/>
              <a:gd name="connsiteX10443" fmla="*/ 2335278 w 8079933"/>
              <a:gd name="connsiteY10443" fmla="*/ 2583769 h 4687251"/>
              <a:gd name="connsiteX10444" fmla="*/ 2332348 w 8079933"/>
              <a:gd name="connsiteY10444" fmla="*/ 2583769 h 4687251"/>
              <a:gd name="connsiteX10445" fmla="*/ 2330937 w 8079933"/>
              <a:gd name="connsiteY10445" fmla="*/ 2587559 h 4687251"/>
              <a:gd name="connsiteX10446" fmla="*/ 2324209 w 8079933"/>
              <a:gd name="connsiteY10446" fmla="*/ 2585826 h 4687251"/>
              <a:gd name="connsiteX10447" fmla="*/ 2318675 w 8079933"/>
              <a:gd name="connsiteY10447" fmla="*/ 2585501 h 4687251"/>
              <a:gd name="connsiteX10448" fmla="*/ 2315203 w 8079933"/>
              <a:gd name="connsiteY10448" fmla="*/ 2582686 h 4687251"/>
              <a:gd name="connsiteX10449" fmla="*/ 2310645 w 8079933"/>
              <a:gd name="connsiteY10449" fmla="*/ 2584527 h 4687251"/>
              <a:gd name="connsiteX10450" fmla="*/ 2303157 w 8079933"/>
              <a:gd name="connsiteY10450" fmla="*/ 2583444 h 4687251"/>
              <a:gd name="connsiteX10451" fmla="*/ 2296320 w 8079933"/>
              <a:gd name="connsiteY10451" fmla="*/ 2584635 h 4687251"/>
              <a:gd name="connsiteX10452" fmla="*/ 2289918 w 8079933"/>
              <a:gd name="connsiteY10452" fmla="*/ 2590482 h 4687251"/>
              <a:gd name="connsiteX10453" fmla="*/ 2283624 w 8079933"/>
              <a:gd name="connsiteY10453" fmla="*/ 2592214 h 4687251"/>
              <a:gd name="connsiteX10454" fmla="*/ 2280803 w 8079933"/>
              <a:gd name="connsiteY10454" fmla="*/ 2590482 h 4687251"/>
              <a:gd name="connsiteX10455" fmla="*/ 2280477 w 8079933"/>
              <a:gd name="connsiteY10455" fmla="*/ 2585826 h 4687251"/>
              <a:gd name="connsiteX10456" fmla="*/ 2277005 w 8079933"/>
              <a:gd name="connsiteY10456" fmla="*/ 2583769 h 4687251"/>
              <a:gd name="connsiteX10457" fmla="*/ 2274075 w 8079933"/>
              <a:gd name="connsiteY10457" fmla="*/ 2589615 h 4687251"/>
              <a:gd name="connsiteX10458" fmla="*/ 2270819 w 8079933"/>
              <a:gd name="connsiteY10458" fmla="*/ 2589290 h 4687251"/>
              <a:gd name="connsiteX10459" fmla="*/ 2267997 w 8079933"/>
              <a:gd name="connsiteY10459" fmla="*/ 2586692 h 4687251"/>
              <a:gd name="connsiteX10460" fmla="*/ 2265936 w 8079933"/>
              <a:gd name="connsiteY10460" fmla="*/ 2590157 h 4687251"/>
              <a:gd name="connsiteX10461" fmla="*/ 2266696 w 8079933"/>
              <a:gd name="connsiteY10461" fmla="*/ 2592539 h 4687251"/>
              <a:gd name="connsiteX10462" fmla="*/ 2260835 w 8079933"/>
              <a:gd name="connsiteY10462" fmla="*/ 2600226 h 4687251"/>
              <a:gd name="connsiteX10463" fmla="*/ 2257905 w 8079933"/>
              <a:gd name="connsiteY10463" fmla="*/ 2607372 h 4687251"/>
              <a:gd name="connsiteX10464" fmla="*/ 2254758 w 8079933"/>
              <a:gd name="connsiteY10464" fmla="*/ 2605748 h 4687251"/>
              <a:gd name="connsiteX10465" fmla="*/ 2253565 w 8079933"/>
              <a:gd name="connsiteY10465" fmla="*/ 2603366 h 4687251"/>
              <a:gd name="connsiteX10466" fmla="*/ 2249224 w 8079933"/>
              <a:gd name="connsiteY10466" fmla="*/ 2601633 h 4687251"/>
              <a:gd name="connsiteX10467" fmla="*/ 2250852 w 8079933"/>
              <a:gd name="connsiteY10467" fmla="*/ 2597735 h 4687251"/>
              <a:gd name="connsiteX10468" fmla="*/ 2248247 w 8079933"/>
              <a:gd name="connsiteY10468" fmla="*/ 2592431 h 4687251"/>
              <a:gd name="connsiteX10469" fmla="*/ 2245643 w 8079933"/>
              <a:gd name="connsiteY10469" fmla="*/ 2592214 h 4687251"/>
              <a:gd name="connsiteX10470" fmla="*/ 2245209 w 8079933"/>
              <a:gd name="connsiteY10470" fmla="*/ 2589507 h 4687251"/>
              <a:gd name="connsiteX10471" fmla="*/ 2250849 w 8079933"/>
              <a:gd name="connsiteY10471" fmla="*/ 2583555 h 4687251"/>
              <a:gd name="connsiteX10472" fmla="*/ 2245101 w 8079933"/>
              <a:gd name="connsiteY10472" fmla="*/ 2588857 h 4687251"/>
              <a:gd name="connsiteX10473" fmla="*/ 2245101 w 8079933"/>
              <a:gd name="connsiteY10473" fmla="*/ 2591564 h 4687251"/>
              <a:gd name="connsiteX10474" fmla="*/ 2241520 w 8079933"/>
              <a:gd name="connsiteY10474" fmla="*/ 2591564 h 4687251"/>
              <a:gd name="connsiteX10475" fmla="*/ 2237613 w 8079933"/>
              <a:gd name="connsiteY10475" fmla="*/ 2589615 h 4687251"/>
              <a:gd name="connsiteX10476" fmla="*/ 2235226 w 8079933"/>
              <a:gd name="connsiteY10476" fmla="*/ 2591131 h 4687251"/>
              <a:gd name="connsiteX10477" fmla="*/ 2222096 w 8079933"/>
              <a:gd name="connsiteY10477" fmla="*/ 2591131 h 4687251"/>
              <a:gd name="connsiteX10478" fmla="*/ 2217646 w 8079933"/>
              <a:gd name="connsiteY10478" fmla="*/ 2588748 h 4687251"/>
              <a:gd name="connsiteX10479" fmla="*/ 2206794 w 8079933"/>
              <a:gd name="connsiteY10479" fmla="*/ 2588748 h 4687251"/>
              <a:gd name="connsiteX10480" fmla="*/ 2204190 w 8079933"/>
              <a:gd name="connsiteY10480" fmla="*/ 2590806 h 4687251"/>
              <a:gd name="connsiteX10481" fmla="*/ 2204190 w 8079933"/>
              <a:gd name="connsiteY10481" fmla="*/ 2594921 h 4687251"/>
              <a:gd name="connsiteX10482" fmla="*/ 2201586 w 8079933"/>
              <a:gd name="connsiteY10482" fmla="*/ 2594054 h 4687251"/>
              <a:gd name="connsiteX10483" fmla="*/ 2195726 w 8079933"/>
              <a:gd name="connsiteY10483" fmla="*/ 2587341 h 4687251"/>
              <a:gd name="connsiteX10484" fmla="*/ 2190083 w 8079933"/>
              <a:gd name="connsiteY10484" fmla="*/ 2586584 h 4687251"/>
              <a:gd name="connsiteX10485" fmla="*/ 2188347 w 8079933"/>
              <a:gd name="connsiteY10485" fmla="*/ 2582577 h 4687251"/>
              <a:gd name="connsiteX10486" fmla="*/ 2190300 w 8079933"/>
              <a:gd name="connsiteY10486" fmla="*/ 2579654 h 4687251"/>
              <a:gd name="connsiteX10487" fmla="*/ 2195292 w 8079933"/>
              <a:gd name="connsiteY10487" fmla="*/ 2577056 h 4687251"/>
              <a:gd name="connsiteX10488" fmla="*/ 2199307 w 8079933"/>
              <a:gd name="connsiteY10488" fmla="*/ 2580845 h 4687251"/>
              <a:gd name="connsiteX10489" fmla="*/ 2206686 w 8079933"/>
              <a:gd name="connsiteY10489" fmla="*/ 2579005 h 4687251"/>
              <a:gd name="connsiteX10490" fmla="*/ 2208748 w 8079933"/>
              <a:gd name="connsiteY10490" fmla="*/ 2579871 h 4687251"/>
              <a:gd name="connsiteX10491" fmla="*/ 2208748 w 8079933"/>
              <a:gd name="connsiteY10491" fmla="*/ 2582252 h 4687251"/>
              <a:gd name="connsiteX10492" fmla="*/ 2214608 w 8079933"/>
              <a:gd name="connsiteY10492" fmla="*/ 2579871 h 4687251"/>
              <a:gd name="connsiteX10493" fmla="*/ 2219600 w 8079933"/>
              <a:gd name="connsiteY10493" fmla="*/ 2581928 h 4687251"/>
              <a:gd name="connsiteX10494" fmla="*/ 2225243 w 8079933"/>
              <a:gd name="connsiteY10494" fmla="*/ 2581928 h 4687251"/>
              <a:gd name="connsiteX10495" fmla="*/ 2229366 w 8079933"/>
              <a:gd name="connsiteY10495" fmla="*/ 2583119 h 4687251"/>
              <a:gd name="connsiteX10496" fmla="*/ 2231211 w 8079933"/>
              <a:gd name="connsiteY10496" fmla="*/ 2581711 h 4687251"/>
              <a:gd name="connsiteX10497" fmla="*/ 2240978 w 8079933"/>
              <a:gd name="connsiteY10497" fmla="*/ 2581711 h 4687251"/>
              <a:gd name="connsiteX10498" fmla="*/ 2242171 w 8079933"/>
              <a:gd name="connsiteY10498" fmla="*/ 2578788 h 4687251"/>
              <a:gd name="connsiteX10499" fmla="*/ 2236962 w 8079933"/>
              <a:gd name="connsiteY10499" fmla="*/ 2574132 h 4687251"/>
              <a:gd name="connsiteX10500" fmla="*/ 2232513 w 8079933"/>
              <a:gd name="connsiteY10500" fmla="*/ 2572942 h 4687251"/>
              <a:gd name="connsiteX10501" fmla="*/ 2230234 w 8079933"/>
              <a:gd name="connsiteY10501" fmla="*/ 2568827 h 4687251"/>
              <a:gd name="connsiteX10502" fmla="*/ 2231970 w 8079933"/>
              <a:gd name="connsiteY10502" fmla="*/ 2562872 h 4687251"/>
              <a:gd name="connsiteX10503" fmla="*/ 2230234 w 8079933"/>
              <a:gd name="connsiteY10503" fmla="*/ 2559083 h 4687251"/>
              <a:gd name="connsiteX10504" fmla="*/ 2231645 w 8079933"/>
              <a:gd name="connsiteY10504" fmla="*/ 2556701 h 4687251"/>
              <a:gd name="connsiteX10505" fmla="*/ 2218948 w 8079933"/>
              <a:gd name="connsiteY10505" fmla="*/ 2552370 h 4687251"/>
              <a:gd name="connsiteX10506" fmla="*/ 2214065 w 8079933"/>
              <a:gd name="connsiteY10506" fmla="*/ 2549555 h 4687251"/>
              <a:gd name="connsiteX10507" fmla="*/ 2215476 w 8079933"/>
              <a:gd name="connsiteY10507" fmla="*/ 2546957 h 4687251"/>
              <a:gd name="connsiteX10508" fmla="*/ 2224483 w 8079933"/>
              <a:gd name="connsiteY10508" fmla="*/ 2546957 h 4687251"/>
              <a:gd name="connsiteX10509" fmla="*/ 2228607 w 8079933"/>
              <a:gd name="connsiteY10509" fmla="*/ 2548364 h 4687251"/>
              <a:gd name="connsiteX10510" fmla="*/ 2231537 w 8079933"/>
              <a:gd name="connsiteY10510" fmla="*/ 2546632 h 4687251"/>
              <a:gd name="connsiteX10511" fmla="*/ 2241737 w 8079933"/>
              <a:gd name="connsiteY10511" fmla="*/ 2547822 h 4687251"/>
              <a:gd name="connsiteX10512" fmla="*/ 2245861 w 8079933"/>
              <a:gd name="connsiteY10512" fmla="*/ 2551937 h 4687251"/>
              <a:gd name="connsiteX10513" fmla="*/ 2249984 w 8079933"/>
              <a:gd name="connsiteY10513" fmla="*/ 2551071 h 4687251"/>
              <a:gd name="connsiteX10514" fmla="*/ 2254325 w 8079933"/>
              <a:gd name="connsiteY10514" fmla="*/ 2552153 h 4687251"/>
              <a:gd name="connsiteX10515" fmla="*/ 2254976 w 8079933"/>
              <a:gd name="connsiteY10515" fmla="*/ 2554536 h 4687251"/>
              <a:gd name="connsiteX10516" fmla="*/ 2252588 w 8079933"/>
              <a:gd name="connsiteY10516" fmla="*/ 2558975 h 4687251"/>
              <a:gd name="connsiteX10517" fmla="*/ 2254542 w 8079933"/>
              <a:gd name="connsiteY10517" fmla="*/ 2562764 h 4687251"/>
              <a:gd name="connsiteX10518" fmla="*/ 2253023 w 8079933"/>
              <a:gd name="connsiteY10518" fmla="*/ 2567961 h 4687251"/>
              <a:gd name="connsiteX10519" fmla="*/ 2249225 w 8079933"/>
              <a:gd name="connsiteY10519" fmla="*/ 2569801 h 4687251"/>
              <a:gd name="connsiteX10520" fmla="*/ 2248574 w 8079933"/>
              <a:gd name="connsiteY10520" fmla="*/ 2571642 h 4687251"/>
              <a:gd name="connsiteX10521" fmla="*/ 2250852 w 8079933"/>
              <a:gd name="connsiteY10521" fmla="*/ 2576623 h 4687251"/>
              <a:gd name="connsiteX10522" fmla="*/ 2250852 w 8079933"/>
              <a:gd name="connsiteY10522" fmla="*/ 2580628 h 4687251"/>
              <a:gd name="connsiteX10523" fmla="*/ 2250852 w 8079933"/>
              <a:gd name="connsiteY10523" fmla="*/ 2583549 h 4687251"/>
              <a:gd name="connsiteX10524" fmla="*/ 2251286 w 8079933"/>
              <a:gd name="connsiteY10524" fmla="*/ 2580521 h 4687251"/>
              <a:gd name="connsiteX10525" fmla="*/ 2251394 w 8079933"/>
              <a:gd name="connsiteY10525" fmla="*/ 2576623 h 4687251"/>
              <a:gd name="connsiteX10526" fmla="*/ 2249224 w 8079933"/>
              <a:gd name="connsiteY10526" fmla="*/ 2571643 h 4687251"/>
              <a:gd name="connsiteX10527" fmla="*/ 2249875 w 8079933"/>
              <a:gd name="connsiteY10527" fmla="*/ 2569802 h 4687251"/>
              <a:gd name="connsiteX10528" fmla="*/ 2253673 w 8079933"/>
              <a:gd name="connsiteY10528" fmla="*/ 2567853 h 4687251"/>
              <a:gd name="connsiteX10529" fmla="*/ 2255192 w 8079933"/>
              <a:gd name="connsiteY10529" fmla="*/ 2562656 h 4687251"/>
              <a:gd name="connsiteX10530" fmla="*/ 2253347 w 8079933"/>
              <a:gd name="connsiteY10530" fmla="*/ 2558975 h 4687251"/>
              <a:gd name="connsiteX10531" fmla="*/ 2255735 w 8079933"/>
              <a:gd name="connsiteY10531" fmla="*/ 2554427 h 4687251"/>
              <a:gd name="connsiteX10532" fmla="*/ 2255084 w 8079933"/>
              <a:gd name="connsiteY10532" fmla="*/ 2552045 h 4687251"/>
              <a:gd name="connsiteX10533" fmla="*/ 2257580 w 8079933"/>
              <a:gd name="connsiteY10533" fmla="*/ 2547498 h 4687251"/>
              <a:gd name="connsiteX10534" fmla="*/ 2265501 w 8079933"/>
              <a:gd name="connsiteY10534" fmla="*/ 2546090 h 4687251"/>
              <a:gd name="connsiteX10535" fmla="*/ 2269950 w 8079933"/>
              <a:gd name="connsiteY10535" fmla="*/ 2547281 h 4687251"/>
              <a:gd name="connsiteX10536" fmla="*/ 6837851 w 8079933"/>
              <a:gd name="connsiteY10536" fmla="*/ 2544034 h 4687251"/>
              <a:gd name="connsiteX10537" fmla="*/ 6837091 w 8079933"/>
              <a:gd name="connsiteY10537" fmla="*/ 2549230 h 4687251"/>
              <a:gd name="connsiteX10538" fmla="*/ 6834162 w 8079933"/>
              <a:gd name="connsiteY10538" fmla="*/ 2546632 h 4687251"/>
              <a:gd name="connsiteX10539" fmla="*/ 4000249 w 8079933"/>
              <a:gd name="connsiteY10539" fmla="*/ 2541976 h 4687251"/>
              <a:gd name="connsiteX10540" fmla="*/ 3992076 w 8079933"/>
              <a:gd name="connsiteY10540" fmla="*/ 2542379 h 4687251"/>
              <a:gd name="connsiteX10541" fmla="*/ 4000247 w 8079933"/>
              <a:gd name="connsiteY10541" fmla="*/ 2541977 h 4687251"/>
              <a:gd name="connsiteX10542" fmla="*/ 4007084 w 8079933"/>
              <a:gd name="connsiteY10542" fmla="*/ 2544250 h 4687251"/>
              <a:gd name="connsiteX10543" fmla="*/ 4011425 w 8079933"/>
              <a:gd name="connsiteY10543" fmla="*/ 2549555 h 4687251"/>
              <a:gd name="connsiteX10544" fmla="*/ 4017176 w 8079933"/>
              <a:gd name="connsiteY10544" fmla="*/ 2551179 h 4687251"/>
              <a:gd name="connsiteX10545" fmla="*/ 4021733 w 8079933"/>
              <a:gd name="connsiteY10545" fmla="*/ 2555185 h 4687251"/>
              <a:gd name="connsiteX10546" fmla="*/ 4021517 w 8079933"/>
              <a:gd name="connsiteY10546" fmla="*/ 2558975 h 4687251"/>
              <a:gd name="connsiteX10547" fmla="*/ 4019238 w 8079933"/>
              <a:gd name="connsiteY10547" fmla="*/ 2566229 h 4687251"/>
              <a:gd name="connsiteX10548" fmla="*/ 4020865 w 8079933"/>
              <a:gd name="connsiteY10548" fmla="*/ 2569910 h 4687251"/>
              <a:gd name="connsiteX10549" fmla="*/ 4026617 w 8079933"/>
              <a:gd name="connsiteY10549" fmla="*/ 2571967 h 4687251"/>
              <a:gd name="connsiteX10550" fmla="*/ 4026618 w 8079933"/>
              <a:gd name="connsiteY10550" fmla="*/ 2571967 h 4687251"/>
              <a:gd name="connsiteX10551" fmla="*/ 4020867 w 8079933"/>
              <a:gd name="connsiteY10551" fmla="*/ 2569910 h 4687251"/>
              <a:gd name="connsiteX10552" fmla="*/ 4019239 w 8079933"/>
              <a:gd name="connsiteY10552" fmla="*/ 2566228 h 4687251"/>
              <a:gd name="connsiteX10553" fmla="*/ 4021518 w 8079933"/>
              <a:gd name="connsiteY10553" fmla="*/ 2558975 h 4687251"/>
              <a:gd name="connsiteX10554" fmla="*/ 4021735 w 8079933"/>
              <a:gd name="connsiteY10554" fmla="*/ 2555185 h 4687251"/>
              <a:gd name="connsiteX10555" fmla="*/ 4017177 w 8079933"/>
              <a:gd name="connsiteY10555" fmla="*/ 2551179 h 4687251"/>
              <a:gd name="connsiteX10556" fmla="*/ 4011426 w 8079933"/>
              <a:gd name="connsiteY10556" fmla="*/ 2549555 h 4687251"/>
              <a:gd name="connsiteX10557" fmla="*/ 4007085 w 8079933"/>
              <a:gd name="connsiteY10557" fmla="*/ 2544250 h 4687251"/>
              <a:gd name="connsiteX10558" fmla="*/ 2231319 w 8079933"/>
              <a:gd name="connsiteY10558" fmla="*/ 2539052 h 4687251"/>
              <a:gd name="connsiteX10559" fmla="*/ 2239675 w 8079933"/>
              <a:gd name="connsiteY10559" fmla="*/ 2543924 h 4687251"/>
              <a:gd name="connsiteX10560" fmla="*/ 2230668 w 8079933"/>
              <a:gd name="connsiteY10560" fmla="*/ 2544033 h 4687251"/>
              <a:gd name="connsiteX10561" fmla="*/ 2227087 w 8079933"/>
              <a:gd name="connsiteY10561" fmla="*/ 2541434 h 4687251"/>
              <a:gd name="connsiteX10562" fmla="*/ 6571985 w 8079933"/>
              <a:gd name="connsiteY10562" fmla="*/ 2529850 h 4687251"/>
              <a:gd name="connsiteX10563" fmla="*/ 6577193 w 8079933"/>
              <a:gd name="connsiteY10563" fmla="*/ 2531691 h 4687251"/>
              <a:gd name="connsiteX10564" fmla="*/ 6582185 w 8079933"/>
              <a:gd name="connsiteY10564" fmla="*/ 2534939 h 4687251"/>
              <a:gd name="connsiteX10565" fmla="*/ 6584247 w 8079933"/>
              <a:gd name="connsiteY10565" fmla="*/ 2541110 h 4687251"/>
              <a:gd name="connsiteX10566" fmla="*/ 6580666 w 8079933"/>
              <a:gd name="connsiteY10566" fmla="*/ 2546957 h 4687251"/>
              <a:gd name="connsiteX10567" fmla="*/ 6579689 w 8079933"/>
              <a:gd name="connsiteY10567" fmla="*/ 2550421 h 4687251"/>
              <a:gd name="connsiteX10568" fmla="*/ 6577302 w 8079933"/>
              <a:gd name="connsiteY10568" fmla="*/ 2552370 h 4687251"/>
              <a:gd name="connsiteX10569" fmla="*/ 6574915 w 8079933"/>
              <a:gd name="connsiteY10569" fmla="*/ 2559733 h 4687251"/>
              <a:gd name="connsiteX10570" fmla="*/ 6575782 w 8079933"/>
              <a:gd name="connsiteY10570" fmla="*/ 2563847 h 4687251"/>
              <a:gd name="connsiteX10571" fmla="*/ 6572309 w 8079933"/>
              <a:gd name="connsiteY10571" fmla="*/ 2567420 h 4687251"/>
              <a:gd name="connsiteX10572" fmla="*/ 6567861 w 8079933"/>
              <a:gd name="connsiteY10572" fmla="*/ 2568286 h 4687251"/>
              <a:gd name="connsiteX10573" fmla="*/ 6567861 w 8079933"/>
              <a:gd name="connsiteY10573" fmla="*/ 2570994 h 4687251"/>
              <a:gd name="connsiteX10574" fmla="*/ 6564930 w 8079933"/>
              <a:gd name="connsiteY10574" fmla="*/ 2574783 h 4687251"/>
              <a:gd name="connsiteX10575" fmla="*/ 6560915 w 8079933"/>
              <a:gd name="connsiteY10575" fmla="*/ 2573808 h 4687251"/>
              <a:gd name="connsiteX10576" fmla="*/ 6557118 w 8079933"/>
              <a:gd name="connsiteY10576" fmla="*/ 2574458 h 4687251"/>
              <a:gd name="connsiteX10577" fmla="*/ 6555924 w 8079933"/>
              <a:gd name="connsiteY10577" fmla="*/ 2578789 h 4687251"/>
              <a:gd name="connsiteX10578" fmla="*/ 6552994 w 8079933"/>
              <a:gd name="connsiteY10578" fmla="*/ 2580305 h 4687251"/>
              <a:gd name="connsiteX10579" fmla="*/ 6548653 w 8079933"/>
              <a:gd name="connsiteY10579" fmla="*/ 2577382 h 4687251"/>
              <a:gd name="connsiteX10580" fmla="*/ 6545180 w 8079933"/>
              <a:gd name="connsiteY10580" fmla="*/ 2577382 h 4687251"/>
              <a:gd name="connsiteX10581" fmla="*/ 6541925 w 8079933"/>
              <a:gd name="connsiteY10581" fmla="*/ 2574783 h 4687251"/>
              <a:gd name="connsiteX10582" fmla="*/ 6536933 w 8079933"/>
              <a:gd name="connsiteY10582" fmla="*/ 2574783 h 4687251"/>
              <a:gd name="connsiteX10583" fmla="*/ 6532375 w 8079933"/>
              <a:gd name="connsiteY10583" fmla="*/ 2570994 h 4687251"/>
              <a:gd name="connsiteX10584" fmla="*/ 6532375 w 8079933"/>
              <a:gd name="connsiteY10584" fmla="*/ 2568286 h 4687251"/>
              <a:gd name="connsiteX10585" fmla="*/ 6529663 w 8079933"/>
              <a:gd name="connsiteY10585" fmla="*/ 2563631 h 4687251"/>
              <a:gd name="connsiteX10586" fmla="*/ 6529663 w 8079933"/>
              <a:gd name="connsiteY10586" fmla="*/ 2554753 h 4687251"/>
              <a:gd name="connsiteX10587" fmla="*/ 6527384 w 8079933"/>
              <a:gd name="connsiteY10587" fmla="*/ 2550963 h 4687251"/>
              <a:gd name="connsiteX10588" fmla="*/ 6533570 w 8079933"/>
              <a:gd name="connsiteY10588" fmla="*/ 2544466 h 4687251"/>
              <a:gd name="connsiteX10589" fmla="*/ 6540731 w 8079933"/>
              <a:gd name="connsiteY10589" fmla="*/ 2540136 h 4687251"/>
              <a:gd name="connsiteX10590" fmla="*/ 6541708 w 8079933"/>
              <a:gd name="connsiteY10590" fmla="*/ 2535697 h 4687251"/>
              <a:gd name="connsiteX10591" fmla="*/ 6546049 w 8079933"/>
              <a:gd name="connsiteY10591" fmla="*/ 2535047 h 4687251"/>
              <a:gd name="connsiteX10592" fmla="*/ 6550715 w 8079933"/>
              <a:gd name="connsiteY10592" fmla="*/ 2532665 h 4687251"/>
              <a:gd name="connsiteX10593" fmla="*/ 6555165 w 8079933"/>
              <a:gd name="connsiteY10593" fmla="*/ 2532665 h 4687251"/>
              <a:gd name="connsiteX10594" fmla="*/ 6558528 w 8079933"/>
              <a:gd name="connsiteY10594" fmla="*/ 2530392 h 4687251"/>
              <a:gd name="connsiteX10595" fmla="*/ 6561024 w 8079933"/>
              <a:gd name="connsiteY10595" fmla="*/ 2531149 h 4687251"/>
              <a:gd name="connsiteX10596" fmla="*/ 6565907 w 8079933"/>
              <a:gd name="connsiteY10596" fmla="*/ 2530175 h 4687251"/>
              <a:gd name="connsiteX10597" fmla="*/ 6568512 w 8079933"/>
              <a:gd name="connsiteY10597" fmla="*/ 2532232 h 4687251"/>
              <a:gd name="connsiteX10598" fmla="*/ 6328908 w 8079933"/>
              <a:gd name="connsiteY10598" fmla="*/ 2527468 h 4687251"/>
              <a:gd name="connsiteX10599" fmla="*/ 6328907 w 8079933"/>
              <a:gd name="connsiteY10599" fmla="*/ 2527468 h 4687251"/>
              <a:gd name="connsiteX10600" fmla="*/ 6333574 w 8079933"/>
              <a:gd name="connsiteY10600" fmla="*/ 2532990 h 4687251"/>
              <a:gd name="connsiteX10601" fmla="*/ 6334767 w 8079933"/>
              <a:gd name="connsiteY10601" fmla="*/ 2541219 h 4687251"/>
              <a:gd name="connsiteX10602" fmla="*/ 6330969 w 8079933"/>
              <a:gd name="connsiteY10602" fmla="*/ 2543925 h 4687251"/>
              <a:gd name="connsiteX10603" fmla="*/ 6334442 w 8079933"/>
              <a:gd name="connsiteY10603" fmla="*/ 2549988 h 4687251"/>
              <a:gd name="connsiteX10604" fmla="*/ 6338240 w 8079933"/>
              <a:gd name="connsiteY10604" fmla="*/ 2551396 h 4687251"/>
              <a:gd name="connsiteX10605" fmla="*/ 6338241 w 8079933"/>
              <a:gd name="connsiteY10605" fmla="*/ 2551395 h 4687251"/>
              <a:gd name="connsiteX10606" fmla="*/ 6334443 w 8079933"/>
              <a:gd name="connsiteY10606" fmla="*/ 2549988 h 4687251"/>
              <a:gd name="connsiteX10607" fmla="*/ 6330970 w 8079933"/>
              <a:gd name="connsiteY10607" fmla="*/ 2543925 h 4687251"/>
              <a:gd name="connsiteX10608" fmla="*/ 6334768 w 8079933"/>
              <a:gd name="connsiteY10608" fmla="*/ 2541219 h 4687251"/>
              <a:gd name="connsiteX10609" fmla="*/ 6333575 w 8079933"/>
              <a:gd name="connsiteY10609" fmla="*/ 2532989 h 4687251"/>
              <a:gd name="connsiteX10610" fmla="*/ 6439684 w 8079933"/>
              <a:gd name="connsiteY10610" fmla="*/ 2526880 h 4687251"/>
              <a:gd name="connsiteX10611" fmla="*/ 6441547 w 8079933"/>
              <a:gd name="connsiteY10611" fmla="*/ 2527359 h 4687251"/>
              <a:gd name="connsiteX10612" fmla="*/ 6441547 w 8079933"/>
              <a:gd name="connsiteY10612" fmla="*/ 2527359 h 4687251"/>
              <a:gd name="connsiteX10613" fmla="*/ 6322505 w 8079933"/>
              <a:gd name="connsiteY10613" fmla="*/ 2517291 h 4687251"/>
              <a:gd name="connsiteX10614" fmla="*/ 6319792 w 8079933"/>
              <a:gd name="connsiteY10614" fmla="*/ 2523354 h 4687251"/>
              <a:gd name="connsiteX10615" fmla="*/ 6322505 w 8079933"/>
              <a:gd name="connsiteY10615" fmla="*/ 2528984 h 4687251"/>
              <a:gd name="connsiteX10616" fmla="*/ 6322506 w 8079933"/>
              <a:gd name="connsiteY10616" fmla="*/ 2528984 h 4687251"/>
              <a:gd name="connsiteX10617" fmla="*/ 6319793 w 8079933"/>
              <a:gd name="connsiteY10617" fmla="*/ 2523354 h 4687251"/>
              <a:gd name="connsiteX10618" fmla="*/ 6322506 w 8079933"/>
              <a:gd name="connsiteY10618" fmla="*/ 2517291 h 4687251"/>
              <a:gd name="connsiteX10619" fmla="*/ 6431824 w 8079933"/>
              <a:gd name="connsiteY10619" fmla="*/ 2516210 h 4687251"/>
              <a:gd name="connsiteX10620" fmla="*/ 6434060 w 8079933"/>
              <a:gd name="connsiteY10620" fmla="*/ 2516641 h 4687251"/>
              <a:gd name="connsiteX10621" fmla="*/ 6434060 w 8079933"/>
              <a:gd name="connsiteY10621" fmla="*/ 2516641 h 4687251"/>
              <a:gd name="connsiteX10622" fmla="*/ 6396955 w 8079933"/>
              <a:gd name="connsiteY10622" fmla="*/ 2512531 h 4687251"/>
              <a:gd name="connsiteX10623" fmla="*/ 6406498 w 8079933"/>
              <a:gd name="connsiteY10623" fmla="*/ 2512635 h 4687251"/>
              <a:gd name="connsiteX10624" fmla="*/ 6407533 w 8079933"/>
              <a:gd name="connsiteY10624" fmla="*/ 2512941 h 4687251"/>
              <a:gd name="connsiteX10625" fmla="*/ 6406497 w 8079933"/>
              <a:gd name="connsiteY10625" fmla="*/ 2512635 h 4687251"/>
              <a:gd name="connsiteX10626" fmla="*/ 4301241 w 8079933"/>
              <a:gd name="connsiteY10626" fmla="*/ 2511219 h 4687251"/>
              <a:gd name="connsiteX10627" fmla="*/ 4301057 w 8079933"/>
              <a:gd name="connsiteY10627" fmla="*/ 2513934 h 4687251"/>
              <a:gd name="connsiteX10628" fmla="*/ 4300351 w 8079933"/>
              <a:gd name="connsiteY10628" fmla="*/ 2515288 h 4687251"/>
              <a:gd name="connsiteX10629" fmla="*/ 4301057 w 8079933"/>
              <a:gd name="connsiteY10629" fmla="*/ 2513934 h 4687251"/>
              <a:gd name="connsiteX10630" fmla="*/ 6417675 w 8079933"/>
              <a:gd name="connsiteY10630" fmla="*/ 2511119 h 4687251"/>
              <a:gd name="connsiteX10631" fmla="*/ 6412357 w 8079933"/>
              <a:gd name="connsiteY10631" fmla="*/ 2514367 h 4687251"/>
              <a:gd name="connsiteX10632" fmla="*/ 6412358 w 8079933"/>
              <a:gd name="connsiteY10632" fmla="*/ 2514367 h 4687251"/>
              <a:gd name="connsiteX10633" fmla="*/ 6417675 w 8079933"/>
              <a:gd name="connsiteY10633" fmla="*/ 2511119 h 4687251"/>
              <a:gd name="connsiteX10634" fmla="*/ 6424402 w 8079933"/>
              <a:gd name="connsiteY10634" fmla="*/ 2511119 h 4687251"/>
              <a:gd name="connsiteX10635" fmla="*/ 6424402 w 8079933"/>
              <a:gd name="connsiteY10635" fmla="*/ 2511119 h 4687251"/>
              <a:gd name="connsiteX10636" fmla="*/ 2226652 w 8079933"/>
              <a:gd name="connsiteY10636" fmla="*/ 2509712 h 4687251"/>
              <a:gd name="connsiteX10637" fmla="*/ 2226652 w 8079933"/>
              <a:gd name="connsiteY10637" fmla="*/ 2515342 h 4687251"/>
              <a:gd name="connsiteX10638" fmla="*/ 2222746 w 8079933"/>
              <a:gd name="connsiteY10638" fmla="*/ 2520647 h 4687251"/>
              <a:gd name="connsiteX10639" fmla="*/ 2210375 w 8079933"/>
              <a:gd name="connsiteY10639" fmla="*/ 2522055 h 4687251"/>
              <a:gd name="connsiteX10640" fmla="*/ 2211568 w 8079933"/>
              <a:gd name="connsiteY10640" fmla="*/ 2515017 h 4687251"/>
              <a:gd name="connsiteX10641" fmla="*/ 2217211 w 8079933"/>
              <a:gd name="connsiteY10641" fmla="*/ 2511444 h 4687251"/>
              <a:gd name="connsiteX10642" fmla="*/ 2222094 w 8079933"/>
              <a:gd name="connsiteY10642" fmla="*/ 2514151 h 4687251"/>
              <a:gd name="connsiteX10643" fmla="*/ 2225024 w 8079933"/>
              <a:gd name="connsiteY10643" fmla="*/ 2510686 h 4687251"/>
              <a:gd name="connsiteX10644" fmla="*/ 6571334 w 8079933"/>
              <a:gd name="connsiteY10644" fmla="*/ 2505056 h 4687251"/>
              <a:gd name="connsiteX10645" fmla="*/ 6575675 w 8079933"/>
              <a:gd name="connsiteY10645" fmla="*/ 2506788 h 4687251"/>
              <a:gd name="connsiteX10646" fmla="*/ 6575675 w 8079933"/>
              <a:gd name="connsiteY10646" fmla="*/ 2508846 h 4687251"/>
              <a:gd name="connsiteX10647" fmla="*/ 6571009 w 8079933"/>
              <a:gd name="connsiteY10647" fmla="*/ 2507980 h 4687251"/>
              <a:gd name="connsiteX10648" fmla="*/ 6567753 w 8079933"/>
              <a:gd name="connsiteY10648" fmla="*/ 2508196 h 4687251"/>
              <a:gd name="connsiteX10649" fmla="*/ 6565583 w 8079933"/>
              <a:gd name="connsiteY10649" fmla="*/ 2505814 h 4687251"/>
              <a:gd name="connsiteX10650" fmla="*/ 2229256 w 8079933"/>
              <a:gd name="connsiteY10650" fmla="*/ 2502783 h 4687251"/>
              <a:gd name="connsiteX10651" fmla="*/ 2229256 w 8079933"/>
              <a:gd name="connsiteY10651" fmla="*/ 2507114 h 4687251"/>
              <a:gd name="connsiteX10652" fmla="*/ 2226652 w 8079933"/>
              <a:gd name="connsiteY10652" fmla="*/ 2505598 h 4687251"/>
              <a:gd name="connsiteX10653" fmla="*/ 6330645 w 8079933"/>
              <a:gd name="connsiteY10653" fmla="*/ 2502024 h 4687251"/>
              <a:gd name="connsiteX10654" fmla="*/ 6330644 w 8079933"/>
              <a:gd name="connsiteY10654" fmla="*/ 2502024 h 4687251"/>
              <a:gd name="connsiteX10655" fmla="*/ 6330535 w 8079933"/>
              <a:gd name="connsiteY10655" fmla="*/ 2506464 h 4687251"/>
              <a:gd name="connsiteX10656" fmla="*/ 6327714 w 8079933"/>
              <a:gd name="connsiteY10656" fmla="*/ 2510254 h 4687251"/>
              <a:gd name="connsiteX10657" fmla="*/ 6329993 w 8079933"/>
              <a:gd name="connsiteY10657" fmla="*/ 2513393 h 4687251"/>
              <a:gd name="connsiteX10658" fmla="*/ 6325218 w 8079933"/>
              <a:gd name="connsiteY10658" fmla="*/ 2517291 h 4687251"/>
              <a:gd name="connsiteX10659" fmla="*/ 6325219 w 8079933"/>
              <a:gd name="connsiteY10659" fmla="*/ 2517291 h 4687251"/>
              <a:gd name="connsiteX10660" fmla="*/ 6329994 w 8079933"/>
              <a:gd name="connsiteY10660" fmla="*/ 2513393 h 4687251"/>
              <a:gd name="connsiteX10661" fmla="*/ 6327715 w 8079933"/>
              <a:gd name="connsiteY10661" fmla="*/ 2510253 h 4687251"/>
              <a:gd name="connsiteX10662" fmla="*/ 6330536 w 8079933"/>
              <a:gd name="connsiteY10662" fmla="*/ 2506463 h 4687251"/>
              <a:gd name="connsiteX10663" fmla="*/ 6136943 w 8079933"/>
              <a:gd name="connsiteY10663" fmla="*/ 2501807 h 4687251"/>
              <a:gd name="connsiteX10664" fmla="*/ 6136942 w 8079933"/>
              <a:gd name="connsiteY10664" fmla="*/ 2501808 h 4687251"/>
              <a:gd name="connsiteX10665" fmla="*/ 6138895 w 8079933"/>
              <a:gd name="connsiteY10665" fmla="*/ 2503107 h 4687251"/>
              <a:gd name="connsiteX10666" fmla="*/ 6138895 w 8079933"/>
              <a:gd name="connsiteY10666" fmla="*/ 2503106 h 4687251"/>
              <a:gd name="connsiteX10667" fmla="*/ 6354164 w 8079933"/>
              <a:gd name="connsiteY10667" fmla="*/ 2501006 h 4687251"/>
              <a:gd name="connsiteX10668" fmla="*/ 6357556 w 8079933"/>
              <a:gd name="connsiteY10668" fmla="*/ 2501808 h 4687251"/>
              <a:gd name="connsiteX10669" fmla="*/ 6357556 w 8079933"/>
              <a:gd name="connsiteY10669" fmla="*/ 2501807 h 4687251"/>
              <a:gd name="connsiteX10670" fmla="*/ 6353432 w 8079933"/>
              <a:gd name="connsiteY10670" fmla="*/ 2500833 h 4687251"/>
              <a:gd name="connsiteX10671" fmla="*/ 6347247 w 8079933"/>
              <a:gd name="connsiteY10671" fmla="*/ 2502674 h 4687251"/>
              <a:gd name="connsiteX10672" fmla="*/ 6347247 w 8079933"/>
              <a:gd name="connsiteY10672" fmla="*/ 2502674 h 4687251"/>
              <a:gd name="connsiteX10673" fmla="*/ 6353433 w 8079933"/>
              <a:gd name="connsiteY10673" fmla="*/ 2500834 h 4687251"/>
              <a:gd name="connsiteX10674" fmla="*/ 6337438 w 8079933"/>
              <a:gd name="connsiteY10674" fmla="*/ 2500560 h 4687251"/>
              <a:gd name="connsiteX10675" fmla="*/ 6337372 w 8079933"/>
              <a:gd name="connsiteY10675" fmla="*/ 2500617 h 4687251"/>
              <a:gd name="connsiteX10676" fmla="*/ 6332259 w 8079933"/>
              <a:gd name="connsiteY10676" fmla="*/ 2501687 h 4687251"/>
              <a:gd name="connsiteX10677" fmla="*/ 6337373 w 8079933"/>
              <a:gd name="connsiteY10677" fmla="*/ 2500617 h 4687251"/>
              <a:gd name="connsiteX10678" fmla="*/ 6344473 w 8079933"/>
              <a:gd name="connsiteY10678" fmla="*/ 2498262 h 4687251"/>
              <a:gd name="connsiteX10679" fmla="*/ 6345185 w 8079933"/>
              <a:gd name="connsiteY10679" fmla="*/ 2498776 h 4687251"/>
              <a:gd name="connsiteX10680" fmla="*/ 6345485 w 8079933"/>
              <a:gd name="connsiteY10680" fmla="*/ 2499344 h 4687251"/>
              <a:gd name="connsiteX10681" fmla="*/ 6345185 w 8079933"/>
              <a:gd name="connsiteY10681" fmla="*/ 2498776 h 4687251"/>
              <a:gd name="connsiteX10682" fmla="*/ 6043834 w 8079933"/>
              <a:gd name="connsiteY10682" fmla="*/ 2496179 h 4687251"/>
              <a:gd name="connsiteX10683" fmla="*/ 6045354 w 8079933"/>
              <a:gd name="connsiteY10683" fmla="*/ 2498669 h 4687251"/>
              <a:gd name="connsiteX10684" fmla="*/ 6043834 w 8079933"/>
              <a:gd name="connsiteY10684" fmla="*/ 2500293 h 4687251"/>
              <a:gd name="connsiteX10685" fmla="*/ 6034827 w 8079933"/>
              <a:gd name="connsiteY10685" fmla="*/ 2495420 h 4687251"/>
              <a:gd name="connsiteX10686" fmla="*/ 6037214 w 8079933"/>
              <a:gd name="connsiteY10686" fmla="*/ 2497693 h 4687251"/>
              <a:gd name="connsiteX10687" fmla="*/ 6037866 w 8079933"/>
              <a:gd name="connsiteY10687" fmla="*/ 2501916 h 4687251"/>
              <a:gd name="connsiteX10688" fmla="*/ 6035261 w 8079933"/>
              <a:gd name="connsiteY10688" fmla="*/ 2500075 h 4687251"/>
              <a:gd name="connsiteX10689" fmla="*/ 6041447 w 8079933"/>
              <a:gd name="connsiteY10689" fmla="*/ 2494446 h 4687251"/>
              <a:gd name="connsiteX10690" fmla="*/ 6041772 w 8079933"/>
              <a:gd name="connsiteY10690" fmla="*/ 2496936 h 4687251"/>
              <a:gd name="connsiteX10691" fmla="*/ 6041229 w 8079933"/>
              <a:gd name="connsiteY10691" fmla="*/ 2499860 h 4687251"/>
              <a:gd name="connsiteX10692" fmla="*/ 6039602 w 8079933"/>
              <a:gd name="connsiteY10692" fmla="*/ 2498668 h 4687251"/>
              <a:gd name="connsiteX10693" fmla="*/ 6038625 w 8079933"/>
              <a:gd name="connsiteY10693" fmla="*/ 2495962 h 4687251"/>
              <a:gd name="connsiteX10694" fmla="*/ 6314844 w 8079933"/>
              <a:gd name="connsiteY10694" fmla="*/ 2493312 h 4687251"/>
              <a:gd name="connsiteX10695" fmla="*/ 6315017 w 8079933"/>
              <a:gd name="connsiteY10695" fmla="*/ 2493796 h 4687251"/>
              <a:gd name="connsiteX10696" fmla="*/ 6320451 w 8079933"/>
              <a:gd name="connsiteY10696" fmla="*/ 2496454 h 4687251"/>
              <a:gd name="connsiteX10697" fmla="*/ 6315017 w 8079933"/>
              <a:gd name="connsiteY10697" fmla="*/ 2493795 h 4687251"/>
              <a:gd name="connsiteX10698" fmla="*/ 1992690 w 8079933"/>
              <a:gd name="connsiteY10698" fmla="*/ 2493146 h 4687251"/>
              <a:gd name="connsiteX10699" fmla="*/ 1997030 w 8079933"/>
              <a:gd name="connsiteY10699" fmla="*/ 2494012 h 4687251"/>
              <a:gd name="connsiteX10700" fmla="*/ 2001262 w 8079933"/>
              <a:gd name="connsiteY10700" fmla="*/ 2498993 h 4687251"/>
              <a:gd name="connsiteX10701" fmla="*/ 2000503 w 8079933"/>
              <a:gd name="connsiteY10701" fmla="*/ 2503324 h 4687251"/>
              <a:gd name="connsiteX10702" fmla="*/ 1993775 w 8079933"/>
              <a:gd name="connsiteY10702" fmla="*/ 2505273 h 4687251"/>
              <a:gd name="connsiteX10703" fmla="*/ 1988458 w 8079933"/>
              <a:gd name="connsiteY10703" fmla="*/ 2503215 h 4687251"/>
              <a:gd name="connsiteX10704" fmla="*/ 1987807 w 8079933"/>
              <a:gd name="connsiteY10704" fmla="*/ 2500725 h 4687251"/>
              <a:gd name="connsiteX10705" fmla="*/ 1989869 w 8079933"/>
              <a:gd name="connsiteY10705" fmla="*/ 2502132 h 4687251"/>
              <a:gd name="connsiteX10706" fmla="*/ 1992256 w 8079933"/>
              <a:gd name="connsiteY10706" fmla="*/ 2502566 h 4687251"/>
              <a:gd name="connsiteX10707" fmla="*/ 1994535 w 8079933"/>
              <a:gd name="connsiteY10707" fmla="*/ 2500725 h 4687251"/>
              <a:gd name="connsiteX10708" fmla="*/ 1992256 w 8079933"/>
              <a:gd name="connsiteY10708" fmla="*/ 2499317 h 4687251"/>
              <a:gd name="connsiteX10709" fmla="*/ 1990954 w 8079933"/>
              <a:gd name="connsiteY10709" fmla="*/ 2496503 h 4687251"/>
              <a:gd name="connsiteX10710" fmla="*/ 6508828 w 8079933"/>
              <a:gd name="connsiteY10710" fmla="*/ 2492171 h 4687251"/>
              <a:gd name="connsiteX10711" fmla="*/ 6508828 w 8079933"/>
              <a:gd name="connsiteY10711" fmla="*/ 2492172 h 4687251"/>
              <a:gd name="connsiteX10712" fmla="*/ 6508937 w 8079933"/>
              <a:gd name="connsiteY10712" fmla="*/ 2492172 h 4687251"/>
              <a:gd name="connsiteX10713" fmla="*/ 6508936 w 8079933"/>
              <a:gd name="connsiteY10713" fmla="*/ 2492171 h 4687251"/>
              <a:gd name="connsiteX10714" fmla="*/ 6030703 w 8079933"/>
              <a:gd name="connsiteY10714" fmla="*/ 2490440 h 4687251"/>
              <a:gd name="connsiteX10715" fmla="*/ 6032222 w 8079933"/>
              <a:gd name="connsiteY10715" fmla="*/ 2492822 h 4687251"/>
              <a:gd name="connsiteX10716" fmla="*/ 6029944 w 8079933"/>
              <a:gd name="connsiteY10716" fmla="*/ 2498560 h 4687251"/>
              <a:gd name="connsiteX10717" fmla="*/ 6028208 w 8079933"/>
              <a:gd name="connsiteY10717" fmla="*/ 2499426 h 4687251"/>
              <a:gd name="connsiteX10718" fmla="*/ 6028099 w 8079933"/>
              <a:gd name="connsiteY10718" fmla="*/ 2496936 h 4687251"/>
              <a:gd name="connsiteX10719" fmla="*/ 6355822 w 8079933"/>
              <a:gd name="connsiteY10719" fmla="*/ 2490157 h 4687251"/>
              <a:gd name="connsiteX10720" fmla="*/ 6356144 w 8079933"/>
              <a:gd name="connsiteY10720" fmla="*/ 2495852 h 4687251"/>
              <a:gd name="connsiteX10721" fmla="*/ 6357513 w 8079933"/>
              <a:gd name="connsiteY10721" fmla="*/ 2501625 h 4687251"/>
              <a:gd name="connsiteX10722" fmla="*/ 6356146 w 8079933"/>
              <a:gd name="connsiteY10722" fmla="*/ 2495853 h 4687251"/>
              <a:gd name="connsiteX10723" fmla="*/ 6139979 w 8079933"/>
              <a:gd name="connsiteY10723" fmla="*/ 2489589 h 4687251"/>
              <a:gd name="connsiteX10724" fmla="*/ 6140632 w 8079933"/>
              <a:gd name="connsiteY10724" fmla="*/ 2490656 h 4687251"/>
              <a:gd name="connsiteX10725" fmla="*/ 6141225 w 8079933"/>
              <a:gd name="connsiteY10725" fmla="*/ 2491247 h 4687251"/>
              <a:gd name="connsiteX10726" fmla="*/ 6140632 w 8079933"/>
              <a:gd name="connsiteY10726" fmla="*/ 2490655 h 4687251"/>
              <a:gd name="connsiteX10727" fmla="*/ 6499929 w 8079933"/>
              <a:gd name="connsiteY10727" fmla="*/ 2489140 h 4687251"/>
              <a:gd name="connsiteX10728" fmla="*/ 6496306 w 8079933"/>
              <a:gd name="connsiteY10728" fmla="*/ 2490265 h 4687251"/>
              <a:gd name="connsiteX10729" fmla="*/ 6499930 w 8079933"/>
              <a:gd name="connsiteY10729" fmla="*/ 2489140 h 4687251"/>
              <a:gd name="connsiteX10730" fmla="*/ 6339976 w 8079933"/>
              <a:gd name="connsiteY10730" fmla="*/ 2488815 h 4687251"/>
              <a:gd name="connsiteX10731" fmla="*/ 6329124 w 8079933"/>
              <a:gd name="connsiteY10731" fmla="*/ 2493362 h 4687251"/>
              <a:gd name="connsiteX10732" fmla="*/ 6323807 w 8079933"/>
              <a:gd name="connsiteY10732" fmla="*/ 2493362 h 4687251"/>
              <a:gd name="connsiteX10733" fmla="*/ 6320551 w 8079933"/>
              <a:gd name="connsiteY10733" fmla="*/ 2496502 h 4687251"/>
              <a:gd name="connsiteX10734" fmla="*/ 6320552 w 8079933"/>
              <a:gd name="connsiteY10734" fmla="*/ 2496503 h 4687251"/>
              <a:gd name="connsiteX10735" fmla="*/ 6323808 w 8079933"/>
              <a:gd name="connsiteY10735" fmla="*/ 2493363 h 4687251"/>
              <a:gd name="connsiteX10736" fmla="*/ 6329124 w 8079933"/>
              <a:gd name="connsiteY10736" fmla="*/ 2493363 h 4687251"/>
              <a:gd name="connsiteX10737" fmla="*/ 6339976 w 8079933"/>
              <a:gd name="connsiteY10737" fmla="*/ 2488816 h 4687251"/>
              <a:gd name="connsiteX10738" fmla="*/ 6344642 w 8079933"/>
              <a:gd name="connsiteY10738" fmla="*/ 2490332 h 4687251"/>
              <a:gd name="connsiteX10739" fmla="*/ 6344642 w 8079933"/>
              <a:gd name="connsiteY10739" fmla="*/ 2490331 h 4687251"/>
              <a:gd name="connsiteX10740" fmla="*/ 2228280 w 8079933"/>
              <a:gd name="connsiteY10740" fmla="*/ 2480695 h 4687251"/>
              <a:gd name="connsiteX10741" fmla="*/ 2235443 w 8079933"/>
              <a:gd name="connsiteY10741" fmla="*/ 2484809 h 4687251"/>
              <a:gd name="connsiteX10742" fmla="*/ 2235117 w 8079933"/>
              <a:gd name="connsiteY10742" fmla="*/ 2486650 h 4687251"/>
              <a:gd name="connsiteX10743" fmla="*/ 2230668 w 8079933"/>
              <a:gd name="connsiteY10743" fmla="*/ 2484593 h 4687251"/>
              <a:gd name="connsiteX10744" fmla="*/ 2226218 w 8079933"/>
              <a:gd name="connsiteY10744" fmla="*/ 2484917 h 4687251"/>
              <a:gd name="connsiteX10745" fmla="*/ 2224157 w 8079933"/>
              <a:gd name="connsiteY10745" fmla="*/ 2482535 h 4687251"/>
              <a:gd name="connsiteX10746" fmla="*/ 6311545 w 8079933"/>
              <a:gd name="connsiteY10746" fmla="*/ 2478638 h 4687251"/>
              <a:gd name="connsiteX10747" fmla="*/ 6307963 w 8079933"/>
              <a:gd name="connsiteY10747" fmla="*/ 2481885 h 4687251"/>
              <a:gd name="connsiteX10748" fmla="*/ 6306662 w 8079933"/>
              <a:gd name="connsiteY10748" fmla="*/ 2480478 h 4687251"/>
              <a:gd name="connsiteX10749" fmla="*/ 6299174 w 8079933"/>
              <a:gd name="connsiteY10749" fmla="*/ 2479612 h 4687251"/>
              <a:gd name="connsiteX10750" fmla="*/ 6295749 w 8079933"/>
              <a:gd name="connsiteY10750" fmla="*/ 2481321 h 4687251"/>
              <a:gd name="connsiteX10751" fmla="*/ 6299174 w 8079933"/>
              <a:gd name="connsiteY10751" fmla="*/ 2479613 h 4687251"/>
              <a:gd name="connsiteX10752" fmla="*/ 6306661 w 8079933"/>
              <a:gd name="connsiteY10752" fmla="*/ 2480479 h 4687251"/>
              <a:gd name="connsiteX10753" fmla="*/ 6307964 w 8079933"/>
              <a:gd name="connsiteY10753" fmla="*/ 2481887 h 4687251"/>
              <a:gd name="connsiteX10754" fmla="*/ 6311545 w 8079933"/>
              <a:gd name="connsiteY10754" fmla="*/ 2478638 h 4687251"/>
              <a:gd name="connsiteX10755" fmla="*/ 6314800 w 8079933"/>
              <a:gd name="connsiteY10755" fmla="*/ 2482969 h 4687251"/>
              <a:gd name="connsiteX10756" fmla="*/ 6314800 w 8079933"/>
              <a:gd name="connsiteY10756" fmla="*/ 2482968 h 4687251"/>
              <a:gd name="connsiteX10757" fmla="*/ 6294616 w 8079933"/>
              <a:gd name="connsiteY10757" fmla="*/ 2478097 h 4687251"/>
              <a:gd name="connsiteX10758" fmla="*/ 6295484 w 8079933"/>
              <a:gd name="connsiteY10758" fmla="*/ 2481453 h 4687251"/>
              <a:gd name="connsiteX10759" fmla="*/ 6295485 w 8079933"/>
              <a:gd name="connsiteY10759" fmla="*/ 2481452 h 4687251"/>
              <a:gd name="connsiteX10760" fmla="*/ 6150072 w 8079933"/>
              <a:gd name="connsiteY10760" fmla="*/ 2476256 h 4687251"/>
              <a:gd name="connsiteX10761" fmla="*/ 6147359 w 8079933"/>
              <a:gd name="connsiteY10761" fmla="*/ 2484158 h 4687251"/>
              <a:gd name="connsiteX10762" fmla="*/ 6144755 w 8079933"/>
              <a:gd name="connsiteY10762" fmla="*/ 2485458 h 4687251"/>
              <a:gd name="connsiteX10763" fmla="*/ 6142476 w 8079933"/>
              <a:gd name="connsiteY10763" fmla="*/ 2484484 h 4687251"/>
              <a:gd name="connsiteX10764" fmla="*/ 6142279 w 8079933"/>
              <a:gd name="connsiteY10764" fmla="*/ 2485380 h 4687251"/>
              <a:gd name="connsiteX10765" fmla="*/ 6142476 w 8079933"/>
              <a:gd name="connsiteY10765" fmla="*/ 2484485 h 4687251"/>
              <a:gd name="connsiteX10766" fmla="*/ 6144755 w 8079933"/>
              <a:gd name="connsiteY10766" fmla="*/ 2485459 h 4687251"/>
              <a:gd name="connsiteX10767" fmla="*/ 6147359 w 8079933"/>
              <a:gd name="connsiteY10767" fmla="*/ 2484160 h 4687251"/>
              <a:gd name="connsiteX10768" fmla="*/ 6150072 w 8079933"/>
              <a:gd name="connsiteY10768" fmla="*/ 2476256 h 4687251"/>
              <a:gd name="connsiteX10769" fmla="*/ 6473596 w 8079933"/>
              <a:gd name="connsiteY10769" fmla="*/ 2475967 h 4687251"/>
              <a:gd name="connsiteX10770" fmla="*/ 6474537 w 8079933"/>
              <a:gd name="connsiteY10770" fmla="*/ 2479288 h 4687251"/>
              <a:gd name="connsiteX10771" fmla="*/ 6480976 w 8079933"/>
              <a:gd name="connsiteY10771" fmla="*/ 2481597 h 4687251"/>
              <a:gd name="connsiteX10772" fmla="*/ 6474537 w 8079933"/>
              <a:gd name="connsiteY10772" fmla="*/ 2479287 h 4687251"/>
              <a:gd name="connsiteX10773" fmla="*/ 5243744 w 8079933"/>
              <a:gd name="connsiteY10773" fmla="*/ 2473435 h 4687251"/>
              <a:gd name="connsiteX10774" fmla="*/ 5243741 w 8079933"/>
              <a:gd name="connsiteY10774" fmla="*/ 2473441 h 4687251"/>
              <a:gd name="connsiteX10775" fmla="*/ 5243742 w 8079933"/>
              <a:gd name="connsiteY10775" fmla="*/ 2473437 h 4687251"/>
              <a:gd name="connsiteX10776" fmla="*/ 5243740 w 8079933"/>
              <a:gd name="connsiteY10776" fmla="*/ 2473441 h 4687251"/>
              <a:gd name="connsiteX10777" fmla="*/ 5249275 w 8079933"/>
              <a:gd name="connsiteY10777" fmla="*/ 2492713 h 4687251"/>
              <a:gd name="connsiteX10778" fmla="*/ 5245911 w 8079933"/>
              <a:gd name="connsiteY10778" fmla="*/ 2544683 h 4687251"/>
              <a:gd name="connsiteX10779" fmla="*/ 5245912 w 8079933"/>
              <a:gd name="connsiteY10779" fmla="*/ 2544683 h 4687251"/>
              <a:gd name="connsiteX10780" fmla="*/ 5249276 w 8079933"/>
              <a:gd name="connsiteY10780" fmla="*/ 2492713 h 4687251"/>
              <a:gd name="connsiteX10781" fmla="*/ 5243742 w 8079933"/>
              <a:gd name="connsiteY10781" fmla="*/ 2473441 h 4687251"/>
              <a:gd name="connsiteX10782" fmla="*/ 6470413 w 8079933"/>
              <a:gd name="connsiteY10782" fmla="*/ 2473332 h 4687251"/>
              <a:gd name="connsiteX10783" fmla="*/ 6470413 w 8079933"/>
              <a:gd name="connsiteY10783" fmla="*/ 2473333 h 4687251"/>
              <a:gd name="connsiteX10784" fmla="*/ 6472222 w 8079933"/>
              <a:gd name="connsiteY10784" fmla="*/ 2473982 h 4687251"/>
              <a:gd name="connsiteX10785" fmla="*/ 6366020 w 8079933"/>
              <a:gd name="connsiteY10785" fmla="*/ 2471059 h 4687251"/>
              <a:gd name="connsiteX10786" fmla="*/ 6357013 w 8079933"/>
              <a:gd name="connsiteY10786" fmla="*/ 2471383 h 4687251"/>
              <a:gd name="connsiteX10787" fmla="*/ 6357013 w 8079933"/>
              <a:gd name="connsiteY10787" fmla="*/ 2474848 h 4687251"/>
              <a:gd name="connsiteX10788" fmla="*/ 6353758 w 8079933"/>
              <a:gd name="connsiteY10788" fmla="*/ 2477122 h 4687251"/>
              <a:gd name="connsiteX10789" fmla="*/ 6354083 w 8079933"/>
              <a:gd name="connsiteY10789" fmla="*/ 2485134 h 4687251"/>
              <a:gd name="connsiteX10790" fmla="*/ 6355653 w 8079933"/>
              <a:gd name="connsiteY10790" fmla="*/ 2489637 h 4687251"/>
              <a:gd name="connsiteX10791" fmla="*/ 6354084 w 8079933"/>
              <a:gd name="connsiteY10791" fmla="*/ 2485134 h 4687251"/>
              <a:gd name="connsiteX10792" fmla="*/ 6353759 w 8079933"/>
              <a:gd name="connsiteY10792" fmla="*/ 2477122 h 4687251"/>
              <a:gd name="connsiteX10793" fmla="*/ 6357014 w 8079933"/>
              <a:gd name="connsiteY10793" fmla="*/ 2474848 h 4687251"/>
              <a:gd name="connsiteX10794" fmla="*/ 6357014 w 8079933"/>
              <a:gd name="connsiteY10794" fmla="*/ 2471384 h 4687251"/>
              <a:gd name="connsiteX10795" fmla="*/ 6366020 w 8079933"/>
              <a:gd name="connsiteY10795" fmla="*/ 2471059 h 4687251"/>
              <a:gd name="connsiteX10796" fmla="*/ 6107534 w 8079933"/>
              <a:gd name="connsiteY10796" fmla="*/ 2470843 h 4687251"/>
              <a:gd name="connsiteX10797" fmla="*/ 6109054 w 8079933"/>
              <a:gd name="connsiteY10797" fmla="*/ 2472467 h 4687251"/>
              <a:gd name="connsiteX10798" fmla="*/ 6108510 w 8079933"/>
              <a:gd name="connsiteY10798" fmla="*/ 2475823 h 4687251"/>
              <a:gd name="connsiteX10799" fmla="*/ 6106232 w 8079933"/>
              <a:gd name="connsiteY10799" fmla="*/ 2476906 h 4687251"/>
              <a:gd name="connsiteX10800" fmla="*/ 6105581 w 8079933"/>
              <a:gd name="connsiteY10800" fmla="*/ 2471925 h 4687251"/>
              <a:gd name="connsiteX10801" fmla="*/ 2211026 w 8079933"/>
              <a:gd name="connsiteY10801" fmla="*/ 2470843 h 4687251"/>
              <a:gd name="connsiteX10802" fmla="*/ 2211894 w 8079933"/>
              <a:gd name="connsiteY10802" fmla="*/ 2473117 h 4687251"/>
              <a:gd name="connsiteX10803" fmla="*/ 2211568 w 8079933"/>
              <a:gd name="connsiteY10803" fmla="*/ 2478639 h 4687251"/>
              <a:gd name="connsiteX10804" fmla="*/ 2201151 w 8079933"/>
              <a:gd name="connsiteY10804" fmla="*/ 2484594 h 4687251"/>
              <a:gd name="connsiteX10805" fmla="*/ 2198764 w 8079933"/>
              <a:gd name="connsiteY10805" fmla="*/ 2484485 h 4687251"/>
              <a:gd name="connsiteX10806" fmla="*/ 2199306 w 8079933"/>
              <a:gd name="connsiteY10806" fmla="*/ 2481886 h 4687251"/>
              <a:gd name="connsiteX10807" fmla="*/ 2201911 w 8079933"/>
              <a:gd name="connsiteY10807" fmla="*/ 2481453 h 4687251"/>
              <a:gd name="connsiteX10808" fmla="*/ 2206685 w 8079933"/>
              <a:gd name="connsiteY10808" fmla="*/ 2476148 h 4687251"/>
              <a:gd name="connsiteX10809" fmla="*/ 2206360 w 8079933"/>
              <a:gd name="connsiteY10809" fmla="*/ 2472251 h 4687251"/>
              <a:gd name="connsiteX10810" fmla="*/ 6051866 w 8079933"/>
              <a:gd name="connsiteY10810" fmla="*/ 2470678 h 4687251"/>
              <a:gd name="connsiteX10811" fmla="*/ 6051973 w 8079933"/>
              <a:gd name="connsiteY10811" fmla="*/ 2477121 h 4687251"/>
              <a:gd name="connsiteX10812" fmla="*/ 6053311 w 8079933"/>
              <a:gd name="connsiteY10812" fmla="*/ 2480413 h 4687251"/>
              <a:gd name="connsiteX10813" fmla="*/ 6051974 w 8079933"/>
              <a:gd name="connsiteY10813" fmla="*/ 2477122 h 4687251"/>
              <a:gd name="connsiteX10814" fmla="*/ 6096573 w 8079933"/>
              <a:gd name="connsiteY10814" fmla="*/ 2469002 h 4687251"/>
              <a:gd name="connsiteX10815" fmla="*/ 6103084 w 8079933"/>
              <a:gd name="connsiteY10815" fmla="*/ 2473333 h 4687251"/>
              <a:gd name="connsiteX10816" fmla="*/ 6104278 w 8079933"/>
              <a:gd name="connsiteY10816" fmla="*/ 2477122 h 4687251"/>
              <a:gd name="connsiteX10817" fmla="*/ 6101022 w 8079933"/>
              <a:gd name="connsiteY10817" fmla="*/ 2483294 h 4687251"/>
              <a:gd name="connsiteX10818" fmla="*/ 6098960 w 8079933"/>
              <a:gd name="connsiteY10818" fmla="*/ 2480154 h 4687251"/>
              <a:gd name="connsiteX10819" fmla="*/ 6098960 w 8079933"/>
              <a:gd name="connsiteY10819" fmla="*/ 2476256 h 4687251"/>
              <a:gd name="connsiteX10820" fmla="*/ 6096573 w 8079933"/>
              <a:gd name="connsiteY10820" fmla="*/ 2471276 h 4687251"/>
              <a:gd name="connsiteX10821" fmla="*/ 6096573 w 8079933"/>
              <a:gd name="connsiteY10821" fmla="*/ 2469002 h 4687251"/>
              <a:gd name="connsiteX10822" fmla="*/ 6091797 w 8079933"/>
              <a:gd name="connsiteY10822" fmla="*/ 2467810 h 4687251"/>
              <a:gd name="connsiteX10823" fmla="*/ 6094728 w 8079933"/>
              <a:gd name="connsiteY10823" fmla="*/ 2471924 h 4687251"/>
              <a:gd name="connsiteX10824" fmla="*/ 6095270 w 8079933"/>
              <a:gd name="connsiteY10824" fmla="*/ 2478963 h 4687251"/>
              <a:gd name="connsiteX10825" fmla="*/ 6090930 w 8079933"/>
              <a:gd name="connsiteY10825" fmla="*/ 2478746 h 4687251"/>
              <a:gd name="connsiteX10826" fmla="*/ 6087674 w 8079933"/>
              <a:gd name="connsiteY10826" fmla="*/ 2471708 h 4687251"/>
              <a:gd name="connsiteX10827" fmla="*/ 6087457 w 8079933"/>
              <a:gd name="connsiteY10827" fmla="*/ 2469651 h 4687251"/>
              <a:gd name="connsiteX10828" fmla="*/ 6381538 w 8079933"/>
              <a:gd name="connsiteY10828" fmla="*/ 2467053 h 4687251"/>
              <a:gd name="connsiteX10829" fmla="*/ 6381538 w 8079933"/>
              <a:gd name="connsiteY10829" fmla="*/ 2467053 h 4687251"/>
              <a:gd name="connsiteX10830" fmla="*/ 6383600 w 8079933"/>
              <a:gd name="connsiteY10830" fmla="*/ 2468785 h 4687251"/>
              <a:gd name="connsiteX10831" fmla="*/ 6385282 w 8079933"/>
              <a:gd name="connsiteY10831" fmla="*/ 2468731 h 4687251"/>
              <a:gd name="connsiteX10832" fmla="*/ 6383600 w 8079933"/>
              <a:gd name="connsiteY10832" fmla="*/ 2468785 h 4687251"/>
              <a:gd name="connsiteX10833" fmla="*/ 2197244 w 8079933"/>
              <a:gd name="connsiteY10833" fmla="*/ 2466944 h 4687251"/>
              <a:gd name="connsiteX10834" fmla="*/ 2202887 w 8079933"/>
              <a:gd name="connsiteY10834" fmla="*/ 2469975 h 4687251"/>
              <a:gd name="connsiteX10835" fmla="*/ 2203430 w 8079933"/>
              <a:gd name="connsiteY10835" fmla="*/ 2473981 h 4687251"/>
              <a:gd name="connsiteX10836" fmla="*/ 2199849 w 8079933"/>
              <a:gd name="connsiteY10836" fmla="*/ 2473223 h 4687251"/>
              <a:gd name="connsiteX10837" fmla="*/ 2196919 w 8079933"/>
              <a:gd name="connsiteY10837" fmla="*/ 2469867 h 4687251"/>
              <a:gd name="connsiteX10838" fmla="*/ 6149747 w 8079933"/>
              <a:gd name="connsiteY10838" fmla="*/ 2465537 h 4687251"/>
              <a:gd name="connsiteX10839" fmla="*/ 6149563 w 8079933"/>
              <a:gd name="connsiteY10839" fmla="*/ 2466772 h 4687251"/>
              <a:gd name="connsiteX10840" fmla="*/ 6149747 w 8079933"/>
              <a:gd name="connsiteY10840" fmla="*/ 2465538 h 4687251"/>
              <a:gd name="connsiteX10841" fmla="*/ 6378716 w 8079933"/>
              <a:gd name="connsiteY10841" fmla="*/ 2463046 h 4687251"/>
              <a:gd name="connsiteX10842" fmla="*/ 6373617 w 8079933"/>
              <a:gd name="connsiteY10842" fmla="*/ 2464995 h 4687251"/>
              <a:gd name="connsiteX10843" fmla="*/ 6371011 w 8079933"/>
              <a:gd name="connsiteY10843" fmla="*/ 2467269 h 4687251"/>
              <a:gd name="connsiteX10844" fmla="*/ 6370030 w 8079933"/>
              <a:gd name="connsiteY10844" fmla="*/ 2469228 h 4687251"/>
              <a:gd name="connsiteX10845" fmla="*/ 6371012 w 8079933"/>
              <a:gd name="connsiteY10845" fmla="*/ 2467269 h 4687251"/>
              <a:gd name="connsiteX10846" fmla="*/ 6373617 w 8079933"/>
              <a:gd name="connsiteY10846" fmla="*/ 2464996 h 4687251"/>
              <a:gd name="connsiteX10847" fmla="*/ 6378717 w 8079933"/>
              <a:gd name="connsiteY10847" fmla="*/ 2463047 h 4687251"/>
              <a:gd name="connsiteX10848" fmla="*/ 6381863 w 8079933"/>
              <a:gd name="connsiteY10848" fmla="*/ 2463372 h 4687251"/>
              <a:gd name="connsiteX10849" fmla="*/ 6381863 w 8079933"/>
              <a:gd name="connsiteY10849" fmla="*/ 2463371 h 4687251"/>
              <a:gd name="connsiteX10850" fmla="*/ 6398684 w 8079933"/>
              <a:gd name="connsiteY10850" fmla="*/ 2462830 h 4687251"/>
              <a:gd name="connsiteX10851" fmla="*/ 6397436 w 8079933"/>
              <a:gd name="connsiteY10851" fmla="*/ 2464508 h 4687251"/>
              <a:gd name="connsiteX10852" fmla="*/ 6398684 w 8079933"/>
              <a:gd name="connsiteY10852" fmla="*/ 2462830 h 4687251"/>
              <a:gd name="connsiteX10853" fmla="*/ 6401396 w 8079933"/>
              <a:gd name="connsiteY10853" fmla="*/ 2463047 h 4687251"/>
              <a:gd name="connsiteX10854" fmla="*/ 6401396 w 8079933"/>
              <a:gd name="connsiteY10854" fmla="*/ 2463046 h 4687251"/>
              <a:gd name="connsiteX10855" fmla="*/ 6476589 w 8079933"/>
              <a:gd name="connsiteY10855" fmla="*/ 2462328 h 4687251"/>
              <a:gd name="connsiteX10856" fmla="*/ 6476273 w 8079933"/>
              <a:gd name="connsiteY10856" fmla="*/ 2464021 h 4687251"/>
              <a:gd name="connsiteX10857" fmla="*/ 6475226 w 8079933"/>
              <a:gd name="connsiteY10857" fmla="*/ 2464184 h 4687251"/>
              <a:gd name="connsiteX10858" fmla="*/ 6476273 w 8079933"/>
              <a:gd name="connsiteY10858" fmla="*/ 2464021 h 4687251"/>
              <a:gd name="connsiteX10859" fmla="*/ 4314404 w 8079933"/>
              <a:gd name="connsiteY10859" fmla="*/ 2460231 h 4687251"/>
              <a:gd name="connsiteX10860" fmla="*/ 4287275 w 8079933"/>
              <a:gd name="connsiteY10860" fmla="*/ 2471492 h 4687251"/>
              <a:gd name="connsiteX10861" fmla="*/ 4266006 w 8079933"/>
              <a:gd name="connsiteY10861" fmla="*/ 2480261 h 4687251"/>
              <a:gd name="connsiteX10862" fmla="*/ 4262099 w 8079933"/>
              <a:gd name="connsiteY10862" fmla="*/ 2476147 h 4687251"/>
              <a:gd name="connsiteX10863" fmla="*/ 4220104 w 8079933"/>
              <a:gd name="connsiteY10863" fmla="*/ 2465754 h 4687251"/>
              <a:gd name="connsiteX10864" fmla="*/ 4220104 w 8079933"/>
              <a:gd name="connsiteY10864" fmla="*/ 2465754 h 4687251"/>
              <a:gd name="connsiteX10865" fmla="*/ 4262099 w 8079933"/>
              <a:gd name="connsiteY10865" fmla="*/ 2476148 h 4687251"/>
              <a:gd name="connsiteX10866" fmla="*/ 4266006 w 8079933"/>
              <a:gd name="connsiteY10866" fmla="*/ 2480262 h 4687251"/>
              <a:gd name="connsiteX10867" fmla="*/ 4287275 w 8079933"/>
              <a:gd name="connsiteY10867" fmla="*/ 2471493 h 4687251"/>
              <a:gd name="connsiteX10868" fmla="*/ 4287275 w 8079933"/>
              <a:gd name="connsiteY10868" fmla="*/ 2471492 h 4687251"/>
              <a:gd name="connsiteX10869" fmla="*/ 4314404 w 8079933"/>
              <a:gd name="connsiteY10869" fmla="*/ 2460232 h 4687251"/>
              <a:gd name="connsiteX10870" fmla="*/ 4507130 w 8079933"/>
              <a:gd name="connsiteY10870" fmla="*/ 2558000 h 4687251"/>
              <a:gd name="connsiteX10871" fmla="*/ 4507130 w 8079933"/>
              <a:gd name="connsiteY10871" fmla="*/ 2558000 h 4687251"/>
              <a:gd name="connsiteX10872" fmla="*/ 3654190 w 8079933"/>
              <a:gd name="connsiteY10872" fmla="*/ 2459798 h 4687251"/>
              <a:gd name="connsiteX10873" fmla="*/ 3648329 w 8079933"/>
              <a:gd name="connsiteY10873" fmla="*/ 2460664 h 4687251"/>
              <a:gd name="connsiteX10874" fmla="*/ 3643121 w 8079933"/>
              <a:gd name="connsiteY10874" fmla="*/ 2464346 h 4687251"/>
              <a:gd name="connsiteX10875" fmla="*/ 3643121 w 8079933"/>
              <a:gd name="connsiteY10875" fmla="*/ 2464346 h 4687251"/>
              <a:gd name="connsiteX10876" fmla="*/ 3648330 w 8079933"/>
              <a:gd name="connsiteY10876" fmla="*/ 2460665 h 4687251"/>
              <a:gd name="connsiteX10877" fmla="*/ 3654189 w 8079933"/>
              <a:gd name="connsiteY10877" fmla="*/ 2459799 h 4687251"/>
              <a:gd name="connsiteX10878" fmla="*/ 3662545 w 8079933"/>
              <a:gd name="connsiteY10878" fmla="*/ 2459799 h 4687251"/>
              <a:gd name="connsiteX10879" fmla="*/ 3662545 w 8079933"/>
              <a:gd name="connsiteY10879" fmla="*/ 2459798 h 4687251"/>
              <a:gd name="connsiteX10880" fmla="*/ 6148879 w 8079933"/>
              <a:gd name="connsiteY10880" fmla="*/ 2459256 h 4687251"/>
              <a:gd name="connsiteX10881" fmla="*/ 6148879 w 8079933"/>
              <a:gd name="connsiteY10881" fmla="*/ 2459257 h 4687251"/>
              <a:gd name="connsiteX10882" fmla="*/ 6153870 w 8079933"/>
              <a:gd name="connsiteY10882" fmla="*/ 2459907 h 4687251"/>
              <a:gd name="connsiteX10883" fmla="*/ 6153870 w 8079933"/>
              <a:gd name="connsiteY10883" fmla="*/ 2459906 h 4687251"/>
              <a:gd name="connsiteX10884" fmla="*/ 2017215 w 8079933"/>
              <a:gd name="connsiteY10884" fmla="*/ 2459149 h 4687251"/>
              <a:gd name="connsiteX10885" fmla="*/ 2028175 w 8079933"/>
              <a:gd name="connsiteY10885" fmla="*/ 2461098 h 4687251"/>
              <a:gd name="connsiteX10886" fmla="*/ 2032515 w 8079933"/>
              <a:gd name="connsiteY10886" fmla="*/ 2466186 h 4687251"/>
              <a:gd name="connsiteX10887" fmla="*/ 2039895 w 8079933"/>
              <a:gd name="connsiteY10887" fmla="*/ 2467702 h 4687251"/>
              <a:gd name="connsiteX10888" fmla="*/ 2045754 w 8079933"/>
              <a:gd name="connsiteY10888" fmla="*/ 2465537 h 4687251"/>
              <a:gd name="connsiteX10889" fmla="*/ 2063551 w 8079933"/>
              <a:gd name="connsiteY10889" fmla="*/ 2468135 h 4687251"/>
              <a:gd name="connsiteX10890" fmla="*/ 2065830 w 8079933"/>
              <a:gd name="connsiteY10890" fmla="*/ 2470842 h 4687251"/>
              <a:gd name="connsiteX10891" fmla="*/ 2070062 w 8079933"/>
              <a:gd name="connsiteY10891" fmla="*/ 2469867 h 4687251"/>
              <a:gd name="connsiteX10892" fmla="*/ 2075597 w 8079933"/>
              <a:gd name="connsiteY10892" fmla="*/ 2475822 h 4687251"/>
              <a:gd name="connsiteX10893" fmla="*/ 2077333 w 8079933"/>
              <a:gd name="connsiteY10893" fmla="*/ 2481020 h 4687251"/>
              <a:gd name="connsiteX10894" fmla="*/ 2082216 w 8079933"/>
              <a:gd name="connsiteY10894" fmla="*/ 2483185 h 4687251"/>
              <a:gd name="connsiteX10895" fmla="*/ 2095455 w 8079933"/>
              <a:gd name="connsiteY10895" fmla="*/ 2483943 h 4687251"/>
              <a:gd name="connsiteX10896" fmla="*/ 2101423 w 8079933"/>
              <a:gd name="connsiteY10896" fmla="*/ 2488598 h 4687251"/>
              <a:gd name="connsiteX10897" fmla="*/ 2106958 w 8079933"/>
              <a:gd name="connsiteY10897" fmla="*/ 2491630 h 4687251"/>
              <a:gd name="connsiteX10898" fmla="*/ 2113035 w 8079933"/>
              <a:gd name="connsiteY10898" fmla="*/ 2497368 h 4687251"/>
              <a:gd name="connsiteX10899" fmla="*/ 2122150 w 8079933"/>
              <a:gd name="connsiteY10899" fmla="*/ 2499426 h 4687251"/>
              <a:gd name="connsiteX10900" fmla="*/ 2125080 w 8079933"/>
              <a:gd name="connsiteY10900" fmla="*/ 2502457 h 4687251"/>
              <a:gd name="connsiteX10901" fmla="*/ 2126599 w 8079933"/>
              <a:gd name="connsiteY10901" fmla="*/ 2499534 h 4687251"/>
              <a:gd name="connsiteX10902" fmla="*/ 2129204 w 8079933"/>
              <a:gd name="connsiteY10902" fmla="*/ 2500724 h 4687251"/>
              <a:gd name="connsiteX10903" fmla="*/ 2128119 w 8079933"/>
              <a:gd name="connsiteY10903" fmla="*/ 2503648 h 4687251"/>
              <a:gd name="connsiteX10904" fmla="*/ 2130072 w 8079933"/>
              <a:gd name="connsiteY10904" fmla="*/ 2505922 h 4687251"/>
              <a:gd name="connsiteX10905" fmla="*/ 2133870 w 8079933"/>
              <a:gd name="connsiteY10905" fmla="*/ 2501916 h 4687251"/>
              <a:gd name="connsiteX10906" fmla="*/ 2140164 w 8079933"/>
              <a:gd name="connsiteY10906" fmla="*/ 2506788 h 4687251"/>
              <a:gd name="connsiteX10907" fmla="*/ 2143962 w 8079933"/>
              <a:gd name="connsiteY10907" fmla="*/ 2510252 h 4687251"/>
              <a:gd name="connsiteX10908" fmla="*/ 2146458 w 8079933"/>
              <a:gd name="connsiteY10908" fmla="*/ 2507979 h 4687251"/>
              <a:gd name="connsiteX10909" fmla="*/ 2155030 w 8079933"/>
              <a:gd name="connsiteY10909" fmla="*/ 2514367 h 4687251"/>
              <a:gd name="connsiteX10910" fmla="*/ 2159480 w 8079933"/>
              <a:gd name="connsiteY10910" fmla="*/ 2514691 h 4687251"/>
              <a:gd name="connsiteX10911" fmla="*/ 2163495 w 8079933"/>
              <a:gd name="connsiteY10911" fmla="*/ 2513175 h 4687251"/>
              <a:gd name="connsiteX10912" fmla="*/ 2166425 w 8079933"/>
              <a:gd name="connsiteY10912" fmla="*/ 2514150 h 4687251"/>
              <a:gd name="connsiteX10913" fmla="*/ 2164689 w 8079933"/>
              <a:gd name="connsiteY10913" fmla="*/ 2519997 h 4687251"/>
              <a:gd name="connsiteX10914" fmla="*/ 2162084 w 8079933"/>
              <a:gd name="connsiteY10914" fmla="*/ 2522379 h 4687251"/>
              <a:gd name="connsiteX10915" fmla="*/ 2165339 w 8079933"/>
              <a:gd name="connsiteY10915" fmla="*/ 2523678 h 4687251"/>
              <a:gd name="connsiteX10916" fmla="*/ 2177819 w 8079933"/>
              <a:gd name="connsiteY10916" fmla="*/ 2523678 h 4687251"/>
              <a:gd name="connsiteX10917" fmla="*/ 2188345 w 8079933"/>
              <a:gd name="connsiteY10917" fmla="*/ 2527901 h 4687251"/>
              <a:gd name="connsiteX10918" fmla="*/ 2191167 w 8079933"/>
              <a:gd name="connsiteY10918" fmla="*/ 2534505 h 4687251"/>
              <a:gd name="connsiteX10919" fmla="*/ 2195507 w 8079933"/>
              <a:gd name="connsiteY10919" fmla="*/ 2534938 h 4687251"/>
              <a:gd name="connsiteX10920" fmla="*/ 2197569 w 8079933"/>
              <a:gd name="connsiteY10920" fmla="*/ 2537211 h 4687251"/>
              <a:gd name="connsiteX10921" fmla="*/ 2194965 w 8079933"/>
              <a:gd name="connsiteY10921" fmla="*/ 2541976 h 4687251"/>
              <a:gd name="connsiteX10922" fmla="*/ 2188996 w 8079933"/>
              <a:gd name="connsiteY10922" fmla="*/ 2543599 h 4687251"/>
              <a:gd name="connsiteX10923" fmla="*/ 2180858 w 8079933"/>
              <a:gd name="connsiteY10923" fmla="*/ 2542517 h 4687251"/>
              <a:gd name="connsiteX10924" fmla="*/ 2177385 w 8079933"/>
              <a:gd name="connsiteY10924" fmla="*/ 2545332 h 4687251"/>
              <a:gd name="connsiteX10925" fmla="*/ 2174455 w 8079933"/>
              <a:gd name="connsiteY10925" fmla="*/ 2544791 h 4687251"/>
              <a:gd name="connsiteX10926" fmla="*/ 2172827 w 8079933"/>
              <a:gd name="connsiteY10926" fmla="*/ 2547389 h 4687251"/>
              <a:gd name="connsiteX10927" fmla="*/ 2160565 w 8079933"/>
              <a:gd name="connsiteY10927" fmla="*/ 2550313 h 4687251"/>
              <a:gd name="connsiteX10928" fmla="*/ 2152318 w 8079933"/>
              <a:gd name="connsiteY10928" fmla="*/ 2546631 h 4687251"/>
              <a:gd name="connsiteX10929" fmla="*/ 2145807 w 8079933"/>
              <a:gd name="connsiteY10929" fmla="*/ 2545765 h 4687251"/>
              <a:gd name="connsiteX10930" fmla="*/ 2134195 w 8079933"/>
              <a:gd name="connsiteY10930" fmla="*/ 2548472 h 4687251"/>
              <a:gd name="connsiteX10931" fmla="*/ 2129964 w 8079933"/>
              <a:gd name="connsiteY10931" fmla="*/ 2546739 h 4687251"/>
              <a:gd name="connsiteX10932" fmla="*/ 2124429 w 8079933"/>
              <a:gd name="connsiteY10932" fmla="*/ 2549663 h 4687251"/>
              <a:gd name="connsiteX10933" fmla="*/ 2116073 w 8079933"/>
              <a:gd name="connsiteY10933" fmla="*/ 2548255 h 4687251"/>
              <a:gd name="connsiteX10934" fmla="*/ 2116290 w 8079933"/>
              <a:gd name="connsiteY10934" fmla="*/ 2543925 h 4687251"/>
              <a:gd name="connsiteX10935" fmla="*/ 2124212 w 8079933"/>
              <a:gd name="connsiteY10935" fmla="*/ 2536779 h 4687251"/>
              <a:gd name="connsiteX10936" fmla="*/ 2130289 w 8079933"/>
              <a:gd name="connsiteY10936" fmla="*/ 2535263 h 4687251"/>
              <a:gd name="connsiteX10937" fmla="*/ 2130940 w 8079933"/>
              <a:gd name="connsiteY10937" fmla="*/ 2530607 h 4687251"/>
              <a:gd name="connsiteX10938" fmla="*/ 2127034 w 8079933"/>
              <a:gd name="connsiteY10938" fmla="*/ 2529308 h 4687251"/>
              <a:gd name="connsiteX10939" fmla="*/ 2125839 w 8079933"/>
              <a:gd name="connsiteY10939" fmla="*/ 2526818 h 4687251"/>
              <a:gd name="connsiteX10940" fmla="*/ 2117267 w 8079933"/>
              <a:gd name="connsiteY10940" fmla="*/ 2526818 h 4687251"/>
              <a:gd name="connsiteX10941" fmla="*/ 2111950 w 8079933"/>
              <a:gd name="connsiteY10941" fmla="*/ 2523570 h 4687251"/>
              <a:gd name="connsiteX10942" fmla="*/ 2110214 w 8079933"/>
              <a:gd name="connsiteY10942" fmla="*/ 2525085 h 4687251"/>
              <a:gd name="connsiteX10943" fmla="*/ 2106307 w 8079933"/>
              <a:gd name="connsiteY10943" fmla="*/ 2525085 h 4687251"/>
              <a:gd name="connsiteX10944" fmla="*/ 2098385 w 8079933"/>
              <a:gd name="connsiteY10944" fmla="*/ 2515666 h 4687251"/>
              <a:gd name="connsiteX10945" fmla="*/ 2094478 w 8079933"/>
              <a:gd name="connsiteY10945" fmla="*/ 2501483 h 4687251"/>
              <a:gd name="connsiteX10946" fmla="*/ 2091657 w 8079933"/>
              <a:gd name="connsiteY10946" fmla="*/ 2500400 h 4687251"/>
              <a:gd name="connsiteX10947" fmla="*/ 2084929 w 8079933"/>
              <a:gd name="connsiteY10947" fmla="*/ 2502673 h 4687251"/>
              <a:gd name="connsiteX10948" fmla="*/ 2081456 w 8079933"/>
              <a:gd name="connsiteY10948" fmla="*/ 2501050 h 4687251"/>
              <a:gd name="connsiteX10949" fmla="*/ 2076898 w 8079933"/>
              <a:gd name="connsiteY10949" fmla="*/ 2501699 h 4687251"/>
              <a:gd name="connsiteX10950" fmla="*/ 2072884 w 8079933"/>
              <a:gd name="connsiteY10950" fmla="*/ 2498234 h 4687251"/>
              <a:gd name="connsiteX10951" fmla="*/ 2070279 w 8079933"/>
              <a:gd name="connsiteY10951" fmla="*/ 2499750 h 4687251"/>
              <a:gd name="connsiteX10952" fmla="*/ 2064094 w 8079933"/>
              <a:gd name="connsiteY10952" fmla="*/ 2498667 h 4687251"/>
              <a:gd name="connsiteX10953" fmla="*/ 2056389 w 8079933"/>
              <a:gd name="connsiteY10953" fmla="*/ 2493146 h 4687251"/>
              <a:gd name="connsiteX10954" fmla="*/ 2056063 w 8079933"/>
              <a:gd name="connsiteY10954" fmla="*/ 2490547 h 4687251"/>
              <a:gd name="connsiteX10955" fmla="*/ 2052917 w 8079933"/>
              <a:gd name="connsiteY10955" fmla="*/ 2488165 h 4687251"/>
              <a:gd name="connsiteX10956" fmla="*/ 2051180 w 8079933"/>
              <a:gd name="connsiteY10956" fmla="*/ 2490764 h 4687251"/>
              <a:gd name="connsiteX10957" fmla="*/ 2047925 w 8079933"/>
              <a:gd name="connsiteY10957" fmla="*/ 2490981 h 4687251"/>
              <a:gd name="connsiteX10958" fmla="*/ 2041197 w 8079933"/>
              <a:gd name="connsiteY10958" fmla="*/ 2490114 h 4687251"/>
              <a:gd name="connsiteX10959" fmla="*/ 2037398 w 8079933"/>
              <a:gd name="connsiteY10959" fmla="*/ 2486866 h 4687251"/>
              <a:gd name="connsiteX10960" fmla="*/ 2033058 w 8079933"/>
              <a:gd name="connsiteY10960" fmla="*/ 2486866 h 4687251"/>
              <a:gd name="connsiteX10961" fmla="*/ 2030128 w 8079933"/>
              <a:gd name="connsiteY10961" fmla="*/ 2487840 h 4687251"/>
              <a:gd name="connsiteX10962" fmla="*/ 2016021 w 8079933"/>
              <a:gd name="connsiteY10962" fmla="*/ 2485675 h 4687251"/>
              <a:gd name="connsiteX10963" fmla="*/ 2012332 w 8079933"/>
              <a:gd name="connsiteY10963" fmla="*/ 2482751 h 4687251"/>
              <a:gd name="connsiteX10964" fmla="*/ 2016021 w 8079933"/>
              <a:gd name="connsiteY10964" fmla="*/ 2480153 h 4687251"/>
              <a:gd name="connsiteX10965" fmla="*/ 2021338 w 8079933"/>
              <a:gd name="connsiteY10965" fmla="*/ 2480694 h 4687251"/>
              <a:gd name="connsiteX10966" fmla="*/ 2024051 w 8079933"/>
              <a:gd name="connsiteY10966" fmla="*/ 2478421 h 4687251"/>
              <a:gd name="connsiteX10967" fmla="*/ 2021338 w 8079933"/>
              <a:gd name="connsiteY10967" fmla="*/ 2475822 h 4687251"/>
              <a:gd name="connsiteX10968" fmla="*/ 2010812 w 8079933"/>
              <a:gd name="connsiteY10968" fmla="*/ 2474631 h 4687251"/>
              <a:gd name="connsiteX10969" fmla="*/ 2006146 w 8079933"/>
              <a:gd name="connsiteY10969" fmla="*/ 2474848 h 4687251"/>
              <a:gd name="connsiteX10970" fmla="*/ 1999635 w 8079933"/>
              <a:gd name="connsiteY10970" fmla="*/ 2473765 h 4687251"/>
              <a:gd name="connsiteX10971" fmla="*/ 1996705 w 8079933"/>
              <a:gd name="connsiteY10971" fmla="*/ 2477014 h 4687251"/>
              <a:gd name="connsiteX10972" fmla="*/ 1992582 w 8079933"/>
              <a:gd name="connsiteY10972" fmla="*/ 2477879 h 4687251"/>
              <a:gd name="connsiteX10973" fmla="*/ 1985528 w 8079933"/>
              <a:gd name="connsiteY10973" fmla="*/ 2486433 h 4687251"/>
              <a:gd name="connsiteX10974" fmla="*/ 1980645 w 8079933"/>
              <a:gd name="connsiteY10974" fmla="*/ 2487407 h 4687251"/>
              <a:gd name="connsiteX10975" fmla="*/ 1977606 w 8079933"/>
              <a:gd name="connsiteY10975" fmla="*/ 2484917 h 4687251"/>
              <a:gd name="connsiteX10976" fmla="*/ 1975110 w 8079933"/>
              <a:gd name="connsiteY10976" fmla="*/ 2486975 h 4687251"/>
              <a:gd name="connsiteX10977" fmla="*/ 1968925 w 8079933"/>
              <a:gd name="connsiteY10977" fmla="*/ 2485783 h 4687251"/>
              <a:gd name="connsiteX10978" fmla="*/ 1964150 w 8079933"/>
              <a:gd name="connsiteY10978" fmla="*/ 2493146 h 4687251"/>
              <a:gd name="connsiteX10979" fmla="*/ 1960026 w 8079933"/>
              <a:gd name="connsiteY10979" fmla="*/ 2493579 h 4687251"/>
              <a:gd name="connsiteX10980" fmla="*/ 1954167 w 8079933"/>
              <a:gd name="connsiteY10980" fmla="*/ 2496935 h 4687251"/>
              <a:gd name="connsiteX10981" fmla="*/ 1953949 w 8079933"/>
              <a:gd name="connsiteY10981" fmla="*/ 2493146 h 4687251"/>
              <a:gd name="connsiteX10982" fmla="*/ 1952214 w 8079933"/>
              <a:gd name="connsiteY10982" fmla="*/ 2492171 h 4687251"/>
              <a:gd name="connsiteX10983" fmla="*/ 1947439 w 8079933"/>
              <a:gd name="connsiteY10983" fmla="*/ 2497693 h 4687251"/>
              <a:gd name="connsiteX10984" fmla="*/ 1942881 w 8079933"/>
              <a:gd name="connsiteY10984" fmla="*/ 2495420 h 4687251"/>
              <a:gd name="connsiteX10985" fmla="*/ 1943098 w 8079933"/>
              <a:gd name="connsiteY10985" fmla="*/ 2492279 h 4687251"/>
              <a:gd name="connsiteX10986" fmla="*/ 1946571 w 8079933"/>
              <a:gd name="connsiteY10986" fmla="*/ 2493362 h 4687251"/>
              <a:gd name="connsiteX10987" fmla="*/ 1955035 w 8079933"/>
              <a:gd name="connsiteY10987" fmla="*/ 2488382 h 4687251"/>
              <a:gd name="connsiteX10988" fmla="*/ 1958942 w 8079933"/>
              <a:gd name="connsiteY10988" fmla="*/ 2490655 h 4687251"/>
              <a:gd name="connsiteX10989" fmla="*/ 1960135 w 8079933"/>
              <a:gd name="connsiteY10989" fmla="*/ 2488382 h 4687251"/>
              <a:gd name="connsiteX10990" fmla="*/ 1957422 w 8079933"/>
              <a:gd name="connsiteY10990" fmla="*/ 2484809 h 4687251"/>
              <a:gd name="connsiteX10991" fmla="*/ 1958073 w 8079933"/>
              <a:gd name="connsiteY10991" fmla="*/ 2479287 h 4687251"/>
              <a:gd name="connsiteX10992" fmla="*/ 1962414 w 8079933"/>
              <a:gd name="connsiteY10992" fmla="*/ 2476905 h 4687251"/>
              <a:gd name="connsiteX10993" fmla="*/ 1965886 w 8079933"/>
              <a:gd name="connsiteY10993" fmla="*/ 2472683 h 4687251"/>
              <a:gd name="connsiteX10994" fmla="*/ 1975978 w 8079933"/>
              <a:gd name="connsiteY10994" fmla="*/ 2469867 h 4687251"/>
              <a:gd name="connsiteX10995" fmla="*/ 1979668 w 8079933"/>
              <a:gd name="connsiteY10995" fmla="*/ 2466512 h 4687251"/>
              <a:gd name="connsiteX10996" fmla="*/ 1989651 w 8079933"/>
              <a:gd name="connsiteY10996" fmla="*/ 2464129 h 4687251"/>
              <a:gd name="connsiteX10997" fmla="*/ 2002673 w 8079933"/>
              <a:gd name="connsiteY10997" fmla="*/ 2463480 h 4687251"/>
              <a:gd name="connsiteX10998" fmla="*/ 2007557 w 8079933"/>
              <a:gd name="connsiteY10998" fmla="*/ 2459474 h 4687251"/>
              <a:gd name="connsiteX10999" fmla="*/ 6469816 w 8079933"/>
              <a:gd name="connsiteY10999" fmla="*/ 2457417 h 4687251"/>
              <a:gd name="connsiteX11000" fmla="*/ 6466615 w 8079933"/>
              <a:gd name="connsiteY11000" fmla="*/ 2458716 h 4687251"/>
              <a:gd name="connsiteX11001" fmla="*/ 6466311 w 8079933"/>
              <a:gd name="connsiteY11001" fmla="*/ 2458346 h 4687251"/>
              <a:gd name="connsiteX11002" fmla="*/ 6466615 w 8079933"/>
              <a:gd name="connsiteY11002" fmla="*/ 2458716 h 4687251"/>
              <a:gd name="connsiteX11003" fmla="*/ 6474517 w 8079933"/>
              <a:gd name="connsiteY11003" fmla="*/ 2457298 h 4687251"/>
              <a:gd name="connsiteX11004" fmla="*/ 6477141 w 8079933"/>
              <a:gd name="connsiteY11004" fmla="*/ 2459366 h 4687251"/>
              <a:gd name="connsiteX11005" fmla="*/ 6477141 w 8079933"/>
              <a:gd name="connsiteY11005" fmla="*/ 2459365 h 4687251"/>
              <a:gd name="connsiteX11006" fmla="*/ 6044060 w 8079933"/>
              <a:gd name="connsiteY11006" fmla="*/ 2454908 h 4687251"/>
              <a:gd name="connsiteX11007" fmla="*/ 6045028 w 8079933"/>
              <a:gd name="connsiteY11007" fmla="*/ 2460881 h 4687251"/>
              <a:gd name="connsiteX11008" fmla="*/ 6049225 w 8079933"/>
              <a:gd name="connsiteY11008" fmla="*/ 2466863 h 4687251"/>
              <a:gd name="connsiteX11009" fmla="*/ 6045029 w 8079933"/>
              <a:gd name="connsiteY11009" fmla="*/ 2460881 h 4687251"/>
              <a:gd name="connsiteX11010" fmla="*/ 6452310 w 8079933"/>
              <a:gd name="connsiteY11010" fmla="*/ 2454238 h 4687251"/>
              <a:gd name="connsiteX11011" fmla="*/ 6453810 w 8079933"/>
              <a:gd name="connsiteY11011" fmla="*/ 2456443 h 4687251"/>
              <a:gd name="connsiteX11012" fmla="*/ 6461133 w 8079933"/>
              <a:gd name="connsiteY11012" fmla="*/ 2456369 h 4687251"/>
              <a:gd name="connsiteX11013" fmla="*/ 6453810 w 8079933"/>
              <a:gd name="connsiteY11013" fmla="*/ 2456442 h 4687251"/>
              <a:gd name="connsiteX11014" fmla="*/ 6446431 w 8079933"/>
              <a:gd name="connsiteY11014" fmla="*/ 2452328 h 4687251"/>
              <a:gd name="connsiteX11015" fmla="*/ 6446431 w 8079933"/>
              <a:gd name="connsiteY11015" fmla="*/ 2452328 h 4687251"/>
              <a:gd name="connsiteX11016" fmla="*/ 6450298 w 8079933"/>
              <a:gd name="connsiteY11016" fmla="*/ 2453115 h 4687251"/>
              <a:gd name="connsiteX11017" fmla="*/ 6292229 w 8079933"/>
              <a:gd name="connsiteY11017" fmla="*/ 2451354 h 4687251"/>
              <a:gd name="connsiteX11018" fmla="*/ 6294182 w 8079933"/>
              <a:gd name="connsiteY11018" fmla="*/ 2454385 h 4687251"/>
              <a:gd name="connsiteX11019" fmla="*/ 6294942 w 8079933"/>
              <a:gd name="connsiteY11019" fmla="*/ 2452545 h 4687251"/>
              <a:gd name="connsiteX11020" fmla="*/ 6301670 w 8079933"/>
              <a:gd name="connsiteY11020" fmla="*/ 2451679 h 4687251"/>
              <a:gd name="connsiteX11021" fmla="*/ 6306552 w 8079933"/>
              <a:gd name="connsiteY11021" fmla="*/ 2454710 h 4687251"/>
              <a:gd name="connsiteX11022" fmla="*/ 6306552 w 8079933"/>
              <a:gd name="connsiteY11022" fmla="*/ 2458391 h 4687251"/>
              <a:gd name="connsiteX11023" fmla="*/ 6305767 w 8079933"/>
              <a:gd name="connsiteY11023" fmla="*/ 2459959 h 4687251"/>
              <a:gd name="connsiteX11024" fmla="*/ 6306553 w 8079933"/>
              <a:gd name="connsiteY11024" fmla="*/ 2458391 h 4687251"/>
              <a:gd name="connsiteX11025" fmla="*/ 6306553 w 8079933"/>
              <a:gd name="connsiteY11025" fmla="*/ 2454710 h 4687251"/>
              <a:gd name="connsiteX11026" fmla="*/ 6301670 w 8079933"/>
              <a:gd name="connsiteY11026" fmla="*/ 2451678 h 4687251"/>
              <a:gd name="connsiteX11027" fmla="*/ 6294942 w 8079933"/>
              <a:gd name="connsiteY11027" fmla="*/ 2452544 h 4687251"/>
              <a:gd name="connsiteX11028" fmla="*/ 6294182 w 8079933"/>
              <a:gd name="connsiteY11028" fmla="*/ 2454385 h 4687251"/>
              <a:gd name="connsiteX11029" fmla="*/ 6427007 w 8079933"/>
              <a:gd name="connsiteY11029" fmla="*/ 2451354 h 4687251"/>
              <a:gd name="connsiteX11030" fmla="*/ 6427331 w 8079933"/>
              <a:gd name="connsiteY11030" fmla="*/ 2458716 h 4687251"/>
              <a:gd name="connsiteX11031" fmla="*/ 6419302 w 8079933"/>
              <a:gd name="connsiteY11031" fmla="*/ 2461314 h 4687251"/>
              <a:gd name="connsiteX11032" fmla="*/ 6414636 w 8079933"/>
              <a:gd name="connsiteY11032" fmla="*/ 2458608 h 4687251"/>
              <a:gd name="connsiteX11033" fmla="*/ 6408775 w 8079933"/>
              <a:gd name="connsiteY11033" fmla="*/ 2460340 h 4687251"/>
              <a:gd name="connsiteX11034" fmla="*/ 6407907 w 8079933"/>
              <a:gd name="connsiteY11034" fmla="*/ 2463913 h 4687251"/>
              <a:gd name="connsiteX11035" fmla="*/ 6405252 w 8079933"/>
              <a:gd name="connsiteY11035" fmla="*/ 2465211 h 4687251"/>
              <a:gd name="connsiteX11036" fmla="*/ 6407908 w 8079933"/>
              <a:gd name="connsiteY11036" fmla="*/ 2463913 h 4687251"/>
              <a:gd name="connsiteX11037" fmla="*/ 6408776 w 8079933"/>
              <a:gd name="connsiteY11037" fmla="*/ 2460340 h 4687251"/>
              <a:gd name="connsiteX11038" fmla="*/ 6414636 w 8079933"/>
              <a:gd name="connsiteY11038" fmla="*/ 2458608 h 4687251"/>
              <a:gd name="connsiteX11039" fmla="*/ 6419302 w 8079933"/>
              <a:gd name="connsiteY11039" fmla="*/ 2461314 h 4687251"/>
              <a:gd name="connsiteX11040" fmla="*/ 6427332 w 8079933"/>
              <a:gd name="connsiteY11040" fmla="*/ 2458716 h 4687251"/>
              <a:gd name="connsiteX11041" fmla="*/ 6154416 w 8079933"/>
              <a:gd name="connsiteY11041" fmla="*/ 2451181 h 4687251"/>
              <a:gd name="connsiteX11042" fmla="*/ 6154413 w 8079933"/>
              <a:gd name="connsiteY11042" fmla="*/ 2451353 h 4687251"/>
              <a:gd name="connsiteX11043" fmla="*/ 6154365 w 8079933"/>
              <a:gd name="connsiteY11043" fmla="*/ 2452116 h 4687251"/>
              <a:gd name="connsiteX11044" fmla="*/ 6154413 w 8079933"/>
              <a:gd name="connsiteY11044" fmla="*/ 2451354 h 4687251"/>
              <a:gd name="connsiteX11045" fmla="*/ 2178580 w 8079933"/>
              <a:gd name="connsiteY11045" fmla="*/ 2448106 h 4687251"/>
              <a:gd name="connsiteX11046" fmla="*/ 2182812 w 8079933"/>
              <a:gd name="connsiteY11046" fmla="*/ 2455685 h 4687251"/>
              <a:gd name="connsiteX11047" fmla="*/ 2184114 w 8079933"/>
              <a:gd name="connsiteY11047" fmla="*/ 2461532 h 4687251"/>
              <a:gd name="connsiteX11048" fmla="*/ 2188346 w 8079933"/>
              <a:gd name="connsiteY11048" fmla="*/ 2469110 h 4687251"/>
              <a:gd name="connsiteX11049" fmla="*/ 2185308 w 8079933"/>
              <a:gd name="connsiteY11049" fmla="*/ 2468785 h 4687251"/>
              <a:gd name="connsiteX11050" fmla="*/ 2182486 w 8079933"/>
              <a:gd name="connsiteY11050" fmla="*/ 2465212 h 4687251"/>
              <a:gd name="connsiteX11051" fmla="*/ 2178471 w 8079933"/>
              <a:gd name="connsiteY11051" fmla="*/ 2458824 h 4687251"/>
              <a:gd name="connsiteX11052" fmla="*/ 2181076 w 8079933"/>
              <a:gd name="connsiteY11052" fmla="*/ 2457092 h 4687251"/>
              <a:gd name="connsiteX11053" fmla="*/ 2177929 w 8079933"/>
              <a:gd name="connsiteY11053" fmla="*/ 2451030 h 4687251"/>
              <a:gd name="connsiteX11054" fmla="*/ 6104279 w 8079933"/>
              <a:gd name="connsiteY11054" fmla="*/ 2448031 h 4687251"/>
              <a:gd name="connsiteX11055" fmla="*/ 6105039 w 8079933"/>
              <a:gd name="connsiteY11055" fmla="*/ 2448755 h 4687251"/>
              <a:gd name="connsiteX11056" fmla="*/ 6106015 w 8079933"/>
              <a:gd name="connsiteY11056" fmla="*/ 2451137 h 4687251"/>
              <a:gd name="connsiteX11057" fmla="*/ 6108047 w 8079933"/>
              <a:gd name="connsiteY11057" fmla="*/ 2453105 h 4687251"/>
              <a:gd name="connsiteX11058" fmla="*/ 6106015 w 8079933"/>
              <a:gd name="connsiteY11058" fmla="*/ 2451136 h 4687251"/>
              <a:gd name="connsiteX11059" fmla="*/ 6105039 w 8079933"/>
              <a:gd name="connsiteY11059" fmla="*/ 2448754 h 4687251"/>
              <a:gd name="connsiteX11060" fmla="*/ 6287238 w 8079933"/>
              <a:gd name="connsiteY11060" fmla="*/ 2447673 h 4687251"/>
              <a:gd name="connsiteX11061" fmla="*/ 6287238 w 8079933"/>
              <a:gd name="connsiteY11061" fmla="*/ 2447673 h 4687251"/>
              <a:gd name="connsiteX11062" fmla="*/ 6293422 w 8079933"/>
              <a:gd name="connsiteY11062" fmla="*/ 2449080 h 4687251"/>
              <a:gd name="connsiteX11063" fmla="*/ 6293422 w 8079933"/>
              <a:gd name="connsiteY11063" fmla="*/ 2449079 h 4687251"/>
              <a:gd name="connsiteX11064" fmla="*/ 2161542 w 8079933"/>
              <a:gd name="connsiteY11064" fmla="*/ 2445940 h 4687251"/>
              <a:gd name="connsiteX11065" fmla="*/ 2164472 w 8079933"/>
              <a:gd name="connsiteY11065" fmla="*/ 2449838 h 4687251"/>
              <a:gd name="connsiteX11066" fmla="*/ 2160674 w 8079933"/>
              <a:gd name="connsiteY11066" fmla="*/ 2449838 h 4687251"/>
              <a:gd name="connsiteX11067" fmla="*/ 6441331 w 8079933"/>
              <a:gd name="connsiteY11067" fmla="*/ 2445073 h 4687251"/>
              <a:gd name="connsiteX11068" fmla="*/ 6437966 w 8079933"/>
              <a:gd name="connsiteY11068" fmla="*/ 2448430 h 4687251"/>
              <a:gd name="connsiteX11069" fmla="*/ 6432215 w 8079933"/>
              <a:gd name="connsiteY11069" fmla="*/ 2448430 h 4687251"/>
              <a:gd name="connsiteX11070" fmla="*/ 6428901 w 8079933"/>
              <a:gd name="connsiteY11070" fmla="*/ 2450291 h 4687251"/>
              <a:gd name="connsiteX11071" fmla="*/ 6432215 w 8079933"/>
              <a:gd name="connsiteY11071" fmla="*/ 2448431 h 4687251"/>
              <a:gd name="connsiteX11072" fmla="*/ 6437967 w 8079933"/>
              <a:gd name="connsiteY11072" fmla="*/ 2448431 h 4687251"/>
              <a:gd name="connsiteX11073" fmla="*/ 6441331 w 8079933"/>
              <a:gd name="connsiteY11073" fmla="*/ 2445074 h 4687251"/>
              <a:gd name="connsiteX11074" fmla="*/ 6444731 w 8079933"/>
              <a:gd name="connsiteY11074" fmla="*/ 2447889 h 4687251"/>
              <a:gd name="connsiteX11075" fmla="*/ 6120427 w 8079933"/>
              <a:gd name="connsiteY11075" fmla="*/ 2442906 h 4687251"/>
              <a:gd name="connsiteX11076" fmla="*/ 6122510 w 8079933"/>
              <a:gd name="connsiteY11076" fmla="*/ 2444316 h 4687251"/>
              <a:gd name="connsiteX11077" fmla="*/ 6126633 w 8079933"/>
              <a:gd name="connsiteY11077" fmla="*/ 2443991 h 4687251"/>
              <a:gd name="connsiteX11078" fmla="*/ 6126633 w 8079933"/>
              <a:gd name="connsiteY11078" fmla="*/ 2443991 h 4687251"/>
              <a:gd name="connsiteX11079" fmla="*/ 6122510 w 8079933"/>
              <a:gd name="connsiteY11079" fmla="*/ 2444315 h 4687251"/>
              <a:gd name="connsiteX11080" fmla="*/ 6119470 w 8079933"/>
              <a:gd name="connsiteY11080" fmla="*/ 2442258 h 4687251"/>
              <a:gd name="connsiteX11081" fmla="*/ 6117300 w 8079933"/>
              <a:gd name="connsiteY11081" fmla="*/ 2443991 h 4687251"/>
              <a:gd name="connsiteX11082" fmla="*/ 6118711 w 8079933"/>
              <a:gd name="connsiteY11082" fmla="*/ 2446264 h 4687251"/>
              <a:gd name="connsiteX11083" fmla="*/ 6117409 w 8079933"/>
              <a:gd name="connsiteY11083" fmla="*/ 2448430 h 4687251"/>
              <a:gd name="connsiteX11084" fmla="*/ 6117300 w 8079933"/>
              <a:gd name="connsiteY11084" fmla="*/ 2451028 h 4687251"/>
              <a:gd name="connsiteX11085" fmla="*/ 6114804 w 8079933"/>
              <a:gd name="connsiteY11085" fmla="*/ 2454601 h 4687251"/>
              <a:gd name="connsiteX11086" fmla="*/ 6116324 w 8079933"/>
              <a:gd name="connsiteY11086" fmla="*/ 2455792 h 4687251"/>
              <a:gd name="connsiteX11087" fmla="*/ 6115890 w 8079933"/>
              <a:gd name="connsiteY11087" fmla="*/ 2459581 h 4687251"/>
              <a:gd name="connsiteX11088" fmla="*/ 6113503 w 8079933"/>
              <a:gd name="connsiteY11088" fmla="*/ 2459689 h 4687251"/>
              <a:gd name="connsiteX11089" fmla="*/ 6113503 w 8079933"/>
              <a:gd name="connsiteY11089" fmla="*/ 2459690 h 4687251"/>
              <a:gd name="connsiteX11090" fmla="*/ 6115890 w 8079933"/>
              <a:gd name="connsiteY11090" fmla="*/ 2459582 h 4687251"/>
              <a:gd name="connsiteX11091" fmla="*/ 6116325 w 8079933"/>
              <a:gd name="connsiteY11091" fmla="*/ 2455793 h 4687251"/>
              <a:gd name="connsiteX11092" fmla="*/ 6114805 w 8079933"/>
              <a:gd name="connsiteY11092" fmla="*/ 2454601 h 4687251"/>
              <a:gd name="connsiteX11093" fmla="*/ 6117301 w 8079933"/>
              <a:gd name="connsiteY11093" fmla="*/ 2451028 h 4687251"/>
              <a:gd name="connsiteX11094" fmla="*/ 6117409 w 8079933"/>
              <a:gd name="connsiteY11094" fmla="*/ 2448430 h 4687251"/>
              <a:gd name="connsiteX11095" fmla="*/ 6118712 w 8079933"/>
              <a:gd name="connsiteY11095" fmla="*/ 2446265 h 4687251"/>
              <a:gd name="connsiteX11096" fmla="*/ 6117301 w 8079933"/>
              <a:gd name="connsiteY11096" fmla="*/ 2443991 h 4687251"/>
              <a:gd name="connsiteX11097" fmla="*/ 6119471 w 8079933"/>
              <a:gd name="connsiteY11097" fmla="*/ 2442259 h 4687251"/>
              <a:gd name="connsiteX11098" fmla="*/ 4181146 w 8079933"/>
              <a:gd name="connsiteY11098" fmla="*/ 2438686 h 4687251"/>
              <a:gd name="connsiteX11099" fmla="*/ 4181146 w 8079933"/>
              <a:gd name="connsiteY11099" fmla="*/ 2438686 h 4687251"/>
              <a:gd name="connsiteX11100" fmla="*/ 4190804 w 8079933"/>
              <a:gd name="connsiteY11100" fmla="*/ 2438686 h 4687251"/>
              <a:gd name="connsiteX11101" fmla="*/ 4199703 w 8079933"/>
              <a:gd name="connsiteY11101" fmla="*/ 2439336 h 4687251"/>
              <a:gd name="connsiteX11102" fmla="*/ 4199702 w 8079933"/>
              <a:gd name="connsiteY11102" fmla="*/ 2439335 h 4687251"/>
              <a:gd name="connsiteX11103" fmla="*/ 4190804 w 8079933"/>
              <a:gd name="connsiteY11103" fmla="*/ 2438686 h 4687251"/>
              <a:gd name="connsiteX11104" fmla="*/ 5155080 w 8079933"/>
              <a:gd name="connsiteY11104" fmla="*/ 2436532 h 4687251"/>
              <a:gd name="connsiteX11105" fmla="*/ 5154865 w 8079933"/>
              <a:gd name="connsiteY11105" fmla="*/ 2444532 h 4687251"/>
              <a:gd name="connsiteX11106" fmla="*/ 5160617 w 8079933"/>
              <a:gd name="connsiteY11106" fmla="*/ 2451354 h 4687251"/>
              <a:gd name="connsiteX11107" fmla="*/ 5165826 w 8079933"/>
              <a:gd name="connsiteY11107" fmla="*/ 2469976 h 4687251"/>
              <a:gd name="connsiteX11108" fmla="*/ 5235819 w 8079933"/>
              <a:gd name="connsiteY11108" fmla="*/ 2480695 h 4687251"/>
              <a:gd name="connsiteX11109" fmla="*/ 5243795 w 8079933"/>
              <a:gd name="connsiteY11109" fmla="*/ 2473274 h 4687251"/>
              <a:gd name="connsiteX11110" fmla="*/ 5243795 w 8079933"/>
              <a:gd name="connsiteY11110" fmla="*/ 2473274 h 4687251"/>
              <a:gd name="connsiteX11111" fmla="*/ 5235819 w 8079933"/>
              <a:gd name="connsiteY11111" fmla="*/ 2480694 h 4687251"/>
              <a:gd name="connsiteX11112" fmla="*/ 5165826 w 8079933"/>
              <a:gd name="connsiteY11112" fmla="*/ 2469975 h 4687251"/>
              <a:gd name="connsiteX11113" fmla="*/ 5160617 w 8079933"/>
              <a:gd name="connsiteY11113" fmla="*/ 2451353 h 4687251"/>
              <a:gd name="connsiteX11114" fmla="*/ 5154866 w 8079933"/>
              <a:gd name="connsiteY11114" fmla="*/ 2444532 h 4687251"/>
              <a:gd name="connsiteX11115" fmla="*/ 2198764 w 8079933"/>
              <a:gd name="connsiteY11115" fmla="*/ 2436087 h 4687251"/>
              <a:gd name="connsiteX11116" fmla="*/ 2200391 w 8079933"/>
              <a:gd name="connsiteY11116" fmla="*/ 2439226 h 4687251"/>
              <a:gd name="connsiteX11117" fmla="*/ 2198221 w 8079933"/>
              <a:gd name="connsiteY11117" fmla="*/ 2443124 h 4687251"/>
              <a:gd name="connsiteX11118" fmla="*/ 2195834 w 8079933"/>
              <a:gd name="connsiteY11118" fmla="*/ 2440959 h 4687251"/>
              <a:gd name="connsiteX11119" fmla="*/ 6284849 w 8079933"/>
              <a:gd name="connsiteY11119" fmla="*/ 2435654 h 4687251"/>
              <a:gd name="connsiteX11120" fmla="*/ 6278697 w 8079933"/>
              <a:gd name="connsiteY11120" fmla="*/ 2437163 h 4687251"/>
              <a:gd name="connsiteX11121" fmla="*/ 6284849 w 8079933"/>
              <a:gd name="connsiteY11121" fmla="*/ 2435655 h 4687251"/>
              <a:gd name="connsiteX11122" fmla="*/ 6286043 w 8079933"/>
              <a:gd name="connsiteY11122" fmla="*/ 2439769 h 4687251"/>
              <a:gd name="connsiteX11123" fmla="*/ 6285377 w 8079933"/>
              <a:gd name="connsiteY11123" fmla="*/ 2441575 h 4687251"/>
              <a:gd name="connsiteX11124" fmla="*/ 6286044 w 8079933"/>
              <a:gd name="connsiteY11124" fmla="*/ 2439769 h 4687251"/>
              <a:gd name="connsiteX11125" fmla="*/ 6719133 w 8079933"/>
              <a:gd name="connsiteY11125" fmla="*/ 2435546 h 4687251"/>
              <a:gd name="connsiteX11126" fmla="*/ 6722064 w 8079933"/>
              <a:gd name="connsiteY11126" fmla="*/ 2438361 h 4687251"/>
              <a:gd name="connsiteX11127" fmla="*/ 6720435 w 8079933"/>
              <a:gd name="connsiteY11127" fmla="*/ 2439768 h 4687251"/>
              <a:gd name="connsiteX11128" fmla="*/ 6716203 w 8079933"/>
              <a:gd name="connsiteY11128" fmla="*/ 2439551 h 4687251"/>
              <a:gd name="connsiteX11129" fmla="*/ 6715552 w 8079933"/>
              <a:gd name="connsiteY11129" fmla="*/ 2437278 h 4687251"/>
              <a:gd name="connsiteX11130" fmla="*/ 4178477 w 8079933"/>
              <a:gd name="connsiteY11130" fmla="*/ 2435502 h 4687251"/>
              <a:gd name="connsiteX11131" fmla="*/ 4178650 w 8079933"/>
              <a:gd name="connsiteY11131" fmla="*/ 2436195 h 4687251"/>
              <a:gd name="connsiteX11132" fmla="*/ 4181018 w 8079933"/>
              <a:gd name="connsiteY11132" fmla="*/ 2438558 h 4687251"/>
              <a:gd name="connsiteX11133" fmla="*/ 4178650 w 8079933"/>
              <a:gd name="connsiteY11133" fmla="*/ 2436195 h 4687251"/>
              <a:gd name="connsiteX11134" fmla="*/ 2125732 w 8079933"/>
              <a:gd name="connsiteY11134" fmla="*/ 2435222 h 4687251"/>
              <a:gd name="connsiteX11135" fmla="*/ 2127577 w 8079933"/>
              <a:gd name="connsiteY11135" fmla="*/ 2437171 h 4687251"/>
              <a:gd name="connsiteX11136" fmla="*/ 2127033 w 8079933"/>
              <a:gd name="connsiteY11136" fmla="*/ 2440527 h 4687251"/>
              <a:gd name="connsiteX11137" fmla="*/ 2128336 w 8079933"/>
              <a:gd name="connsiteY11137" fmla="*/ 2443559 h 4687251"/>
              <a:gd name="connsiteX11138" fmla="*/ 2126166 w 8079933"/>
              <a:gd name="connsiteY11138" fmla="*/ 2447781 h 4687251"/>
              <a:gd name="connsiteX11139" fmla="*/ 2122151 w 8079933"/>
              <a:gd name="connsiteY11139" fmla="*/ 2448539 h 4687251"/>
              <a:gd name="connsiteX11140" fmla="*/ 2119764 w 8079933"/>
              <a:gd name="connsiteY11140" fmla="*/ 2442693 h 4687251"/>
              <a:gd name="connsiteX11141" fmla="*/ 2119547 w 8079933"/>
              <a:gd name="connsiteY11141" fmla="*/ 2438579 h 4687251"/>
              <a:gd name="connsiteX11142" fmla="*/ 6275734 w 8079933"/>
              <a:gd name="connsiteY11142" fmla="*/ 2434788 h 4687251"/>
              <a:gd name="connsiteX11143" fmla="*/ 6275734 w 8079933"/>
              <a:gd name="connsiteY11143" fmla="*/ 2434789 h 4687251"/>
              <a:gd name="connsiteX11144" fmla="*/ 6278664 w 8079933"/>
              <a:gd name="connsiteY11144" fmla="*/ 2437171 h 4687251"/>
              <a:gd name="connsiteX11145" fmla="*/ 6278665 w 8079933"/>
              <a:gd name="connsiteY11145" fmla="*/ 2437170 h 4687251"/>
              <a:gd name="connsiteX11146" fmla="*/ 2119981 w 8079933"/>
              <a:gd name="connsiteY11146" fmla="*/ 2433706 h 4687251"/>
              <a:gd name="connsiteX11147" fmla="*/ 2120415 w 8079933"/>
              <a:gd name="connsiteY11147" fmla="*/ 2436738 h 4687251"/>
              <a:gd name="connsiteX11148" fmla="*/ 2117811 w 8079933"/>
              <a:gd name="connsiteY11148" fmla="*/ 2435547 h 4687251"/>
              <a:gd name="connsiteX11149" fmla="*/ 6151592 w 8079933"/>
              <a:gd name="connsiteY11149" fmla="*/ 2433380 h 4687251"/>
              <a:gd name="connsiteX11150" fmla="*/ 6151592 w 8079933"/>
              <a:gd name="connsiteY11150" fmla="*/ 2433381 h 4687251"/>
              <a:gd name="connsiteX11151" fmla="*/ 6156692 w 8079933"/>
              <a:gd name="connsiteY11151" fmla="*/ 2433706 h 4687251"/>
              <a:gd name="connsiteX11152" fmla="*/ 6160815 w 8079933"/>
              <a:gd name="connsiteY11152" fmla="*/ 2435114 h 4687251"/>
              <a:gd name="connsiteX11153" fmla="*/ 6167109 w 8079933"/>
              <a:gd name="connsiteY11153" fmla="*/ 2435005 h 4687251"/>
              <a:gd name="connsiteX11154" fmla="*/ 6167109 w 8079933"/>
              <a:gd name="connsiteY11154" fmla="*/ 2435004 h 4687251"/>
              <a:gd name="connsiteX11155" fmla="*/ 6160815 w 8079933"/>
              <a:gd name="connsiteY11155" fmla="*/ 2435112 h 4687251"/>
              <a:gd name="connsiteX11156" fmla="*/ 6156692 w 8079933"/>
              <a:gd name="connsiteY11156" fmla="*/ 2433705 h 4687251"/>
              <a:gd name="connsiteX11157" fmla="*/ 6038941 w 8079933"/>
              <a:gd name="connsiteY11157" fmla="*/ 2430952 h 4687251"/>
              <a:gd name="connsiteX11158" fmla="*/ 6042424 w 8079933"/>
              <a:gd name="connsiteY11158" fmla="*/ 2435328 h 4687251"/>
              <a:gd name="connsiteX11159" fmla="*/ 6042424 w 8079933"/>
              <a:gd name="connsiteY11159" fmla="*/ 2443232 h 4687251"/>
              <a:gd name="connsiteX11160" fmla="*/ 6044594 w 8079933"/>
              <a:gd name="connsiteY11160" fmla="*/ 2449295 h 4687251"/>
              <a:gd name="connsiteX11161" fmla="*/ 6043835 w 8079933"/>
              <a:gd name="connsiteY11161" fmla="*/ 2453518 h 4687251"/>
              <a:gd name="connsiteX11162" fmla="*/ 6043835 w 8079933"/>
              <a:gd name="connsiteY11162" fmla="*/ 2453519 h 4687251"/>
              <a:gd name="connsiteX11163" fmla="*/ 6044595 w 8079933"/>
              <a:gd name="connsiteY11163" fmla="*/ 2449296 h 4687251"/>
              <a:gd name="connsiteX11164" fmla="*/ 6042425 w 8079933"/>
              <a:gd name="connsiteY11164" fmla="*/ 2443233 h 4687251"/>
              <a:gd name="connsiteX11165" fmla="*/ 6042425 w 8079933"/>
              <a:gd name="connsiteY11165" fmla="*/ 2435329 h 4687251"/>
              <a:gd name="connsiteX11166" fmla="*/ 2125298 w 8079933"/>
              <a:gd name="connsiteY11166" fmla="*/ 2430782 h 4687251"/>
              <a:gd name="connsiteX11167" fmla="*/ 2122585 w 8079933"/>
              <a:gd name="connsiteY11167" fmla="*/ 2434355 h 4687251"/>
              <a:gd name="connsiteX11168" fmla="*/ 2121066 w 8079933"/>
              <a:gd name="connsiteY11168" fmla="*/ 2432081 h 4687251"/>
              <a:gd name="connsiteX11169" fmla="*/ 6276276 w 8079933"/>
              <a:gd name="connsiteY11169" fmla="*/ 2428075 h 4687251"/>
              <a:gd name="connsiteX11170" fmla="*/ 6265425 w 8079933"/>
              <a:gd name="connsiteY11170" fmla="*/ 2430349 h 4687251"/>
              <a:gd name="connsiteX11171" fmla="*/ 6259674 w 8079933"/>
              <a:gd name="connsiteY11171" fmla="*/ 2434463 h 4687251"/>
              <a:gd name="connsiteX11172" fmla="*/ 6257395 w 8079933"/>
              <a:gd name="connsiteY11172" fmla="*/ 2428941 h 4687251"/>
              <a:gd name="connsiteX11173" fmla="*/ 6257395 w 8079933"/>
              <a:gd name="connsiteY11173" fmla="*/ 2428941 h 4687251"/>
              <a:gd name="connsiteX11174" fmla="*/ 6259674 w 8079933"/>
              <a:gd name="connsiteY11174" fmla="*/ 2434463 h 4687251"/>
              <a:gd name="connsiteX11175" fmla="*/ 6265425 w 8079933"/>
              <a:gd name="connsiteY11175" fmla="*/ 2430349 h 4687251"/>
              <a:gd name="connsiteX11176" fmla="*/ 6276276 w 8079933"/>
              <a:gd name="connsiteY11176" fmla="*/ 2428076 h 4687251"/>
              <a:gd name="connsiteX11177" fmla="*/ 5617697 w 8079933"/>
              <a:gd name="connsiteY11177" fmla="*/ 2426453 h 4687251"/>
              <a:gd name="connsiteX11178" fmla="*/ 5618341 w 8079933"/>
              <a:gd name="connsiteY11178" fmla="*/ 2427208 h 4687251"/>
              <a:gd name="connsiteX11179" fmla="*/ 5618341 w 8079933"/>
              <a:gd name="connsiteY11179" fmla="*/ 2427208 h 4687251"/>
              <a:gd name="connsiteX11180" fmla="*/ 5608140 w 8079933"/>
              <a:gd name="connsiteY11180" fmla="*/ 2425909 h 4687251"/>
              <a:gd name="connsiteX11181" fmla="*/ 5602714 w 8079933"/>
              <a:gd name="connsiteY11181" fmla="*/ 2427533 h 4687251"/>
              <a:gd name="connsiteX11182" fmla="*/ 5602063 w 8079933"/>
              <a:gd name="connsiteY11182" fmla="*/ 2428219 h 4687251"/>
              <a:gd name="connsiteX11183" fmla="*/ 5602714 w 8079933"/>
              <a:gd name="connsiteY11183" fmla="*/ 2427534 h 4687251"/>
              <a:gd name="connsiteX11184" fmla="*/ 5608140 w 8079933"/>
              <a:gd name="connsiteY11184" fmla="*/ 2425909 h 4687251"/>
              <a:gd name="connsiteX11185" fmla="*/ 6171356 w 8079933"/>
              <a:gd name="connsiteY11185" fmla="*/ 2424012 h 4687251"/>
              <a:gd name="connsiteX11186" fmla="*/ 6170907 w 8079933"/>
              <a:gd name="connsiteY11186" fmla="*/ 2426018 h 4687251"/>
              <a:gd name="connsiteX11187" fmla="*/ 6169759 w 8079933"/>
              <a:gd name="connsiteY11187" fmla="*/ 2428735 h 4687251"/>
              <a:gd name="connsiteX11188" fmla="*/ 6170907 w 8079933"/>
              <a:gd name="connsiteY11188" fmla="*/ 2426018 h 4687251"/>
              <a:gd name="connsiteX11189" fmla="*/ 2172611 w 8079933"/>
              <a:gd name="connsiteY11189" fmla="*/ 2422878 h 4687251"/>
              <a:gd name="connsiteX11190" fmla="*/ 2177277 w 8079933"/>
              <a:gd name="connsiteY11190" fmla="*/ 2426343 h 4687251"/>
              <a:gd name="connsiteX11191" fmla="*/ 2178579 w 8079933"/>
              <a:gd name="connsiteY11191" fmla="*/ 2431431 h 4687251"/>
              <a:gd name="connsiteX11192" fmla="*/ 2182268 w 8079933"/>
              <a:gd name="connsiteY11192" fmla="*/ 2438144 h 4687251"/>
              <a:gd name="connsiteX11193" fmla="*/ 2182051 w 8079933"/>
              <a:gd name="connsiteY11193" fmla="*/ 2440959 h 4687251"/>
              <a:gd name="connsiteX11194" fmla="*/ 2176409 w 8079933"/>
              <a:gd name="connsiteY11194" fmla="*/ 2441392 h 4687251"/>
              <a:gd name="connsiteX11195" fmla="*/ 2174347 w 8079933"/>
              <a:gd name="connsiteY11195" fmla="*/ 2438794 h 4687251"/>
              <a:gd name="connsiteX11196" fmla="*/ 2176409 w 8079933"/>
              <a:gd name="connsiteY11196" fmla="*/ 2436520 h 4687251"/>
              <a:gd name="connsiteX11197" fmla="*/ 2175432 w 8079933"/>
              <a:gd name="connsiteY11197" fmla="*/ 2430024 h 4687251"/>
              <a:gd name="connsiteX11198" fmla="*/ 2171743 w 8079933"/>
              <a:gd name="connsiteY11198" fmla="*/ 2425802 h 4687251"/>
              <a:gd name="connsiteX11199" fmla="*/ 6256881 w 8079933"/>
              <a:gd name="connsiteY11199" fmla="*/ 2422123 h 4687251"/>
              <a:gd name="connsiteX11200" fmla="*/ 6258155 w 8079933"/>
              <a:gd name="connsiteY11200" fmla="*/ 2423312 h 4687251"/>
              <a:gd name="connsiteX11201" fmla="*/ 6258155 w 8079933"/>
              <a:gd name="connsiteY11201" fmla="*/ 2423312 h 4687251"/>
              <a:gd name="connsiteX11202" fmla="*/ 1651839 w 8079933"/>
              <a:gd name="connsiteY11202" fmla="*/ 2419197 h 4687251"/>
              <a:gd name="connsiteX11203" fmla="*/ 1652056 w 8079933"/>
              <a:gd name="connsiteY11203" fmla="*/ 2422770 h 4687251"/>
              <a:gd name="connsiteX11204" fmla="*/ 1649778 w 8079933"/>
              <a:gd name="connsiteY11204" fmla="*/ 2426885 h 4687251"/>
              <a:gd name="connsiteX11205" fmla="*/ 1347667 w 8079933"/>
              <a:gd name="connsiteY11205" fmla="*/ 2417682 h 4687251"/>
              <a:gd name="connsiteX11206" fmla="*/ 1350055 w 8079933"/>
              <a:gd name="connsiteY11206" fmla="*/ 2418331 h 4687251"/>
              <a:gd name="connsiteX11207" fmla="*/ 1349404 w 8079933"/>
              <a:gd name="connsiteY11207" fmla="*/ 2420931 h 4687251"/>
              <a:gd name="connsiteX11208" fmla="*/ 1347342 w 8079933"/>
              <a:gd name="connsiteY11208" fmla="*/ 2420713 h 4687251"/>
              <a:gd name="connsiteX11209" fmla="*/ 6249039 w 8079933"/>
              <a:gd name="connsiteY11209" fmla="*/ 2415408 h 4687251"/>
              <a:gd name="connsiteX11210" fmla="*/ 6249039 w 8079933"/>
              <a:gd name="connsiteY11210" fmla="*/ 2415408 h 4687251"/>
              <a:gd name="connsiteX11211" fmla="*/ 6253054 w 8079933"/>
              <a:gd name="connsiteY11211" fmla="*/ 2417032 h 4687251"/>
              <a:gd name="connsiteX11212" fmla="*/ 6253563 w 8079933"/>
              <a:gd name="connsiteY11212" fmla="*/ 2417953 h 4687251"/>
              <a:gd name="connsiteX11213" fmla="*/ 6253054 w 8079933"/>
              <a:gd name="connsiteY11213" fmla="*/ 2417032 h 4687251"/>
              <a:gd name="connsiteX11214" fmla="*/ 1653142 w 8079933"/>
              <a:gd name="connsiteY11214" fmla="*/ 2413134 h 4687251"/>
              <a:gd name="connsiteX11215" fmla="*/ 1654445 w 8079933"/>
              <a:gd name="connsiteY11215" fmla="*/ 2413134 h 4687251"/>
              <a:gd name="connsiteX11216" fmla="*/ 1653251 w 8079933"/>
              <a:gd name="connsiteY11216" fmla="*/ 2417140 h 4687251"/>
              <a:gd name="connsiteX11217" fmla="*/ 1652600 w 8079933"/>
              <a:gd name="connsiteY11217" fmla="*/ 2416490 h 4687251"/>
              <a:gd name="connsiteX11218" fmla="*/ 6878545 w 8079933"/>
              <a:gd name="connsiteY11218" fmla="*/ 2410536 h 4687251"/>
              <a:gd name="connsiteX11219" fmla="*/ 6879738 w 8079933"/>
              <a:gd name="connsiteY11219" fmla="*/ 2413459 h 4687251"/>
              <a:gd name="connsiteX11220" fmla="*/ 6878111 w 8079933"/>
              <a:gd name="connsiteY11220" fmla="*/ 2415083 h 4687251"/>
              <a:gd name="connsiteX11221" fmla="*/ 6874856 w 8079933"/>
              <a:gd name="connsiteY11221" fmla="*/ 2415083 h 4687251"/>
              <a:gd name="connsiteX11222" fmla="*/ 6875832 w 8079933"/>
              <a:gd name="connsiteY11222" fmla="*/ 2410644 h 4687251"/>
              <a:gd name="connsiteX11223" fmla="*/ 2116182 w 8079933"/>
              <a:gd name="connsiteY11223" fmla="*/ 2410536 h 4687251"/>
              <a:gd name="connsiteX11224" fmla="*/ 2119437 w 8079933"/>
              <a:gd name="connsiteY11224" fmla="*/ 2411835 h 4687251"/>
              <a:gd name="connsiteX11225" fmla="*/ 2120523 w 8079933"/>
              <a:gd name="connsiteY11225" fmla="*/ 2417465 h 4687251"/>
              <a:gd name="connsiteX11226" fmla="*/ 2124646 w 8079933"/>
              <a:gd name="connsiteY11226" fmla="*/ 2424935 h 4687251"/>
              <a:gd name="connsiteX11227" fmla="*/ 2119004 w 8079933"/>
              <a:gd name="connsiteY11227" fmla="*/ 2428725 h 4687251"/>
              <a:gd name="connsiteX11228" fmla="*/ 2117918 w 8079933"/>
              <a:gd name="connsiteY11228" fmla="*/ 2424502 h 4687251"/>
              <a:gd name="connsiteX11229" fmla="*/ 2113903 w 8079933"/>
              <a:gd name="connsiteY11229" fmla="*/ 2426668 h 4687251"/>
              <a:gd name="connsiteX11230" fmla="*/ 2110648 w 8079933"/>
              <a:gd name="connsiteY11230" fmla="*/ 2423528 h 4687251"/>
              <a:gd name="connsiteX11231" fmla="*/ 2114338 w 8079933"/>
              <a:gd name="connsiteY11231" fmla="*/ 2416924 h 4687251"/>
              <a:gd name="connsiteX11232" fmla="*/ 2135173 w 8079933"/>
              <a:gd name="connsiteY11232" fmla="*/ 2408262 h 4687251"/>
              <a:gd name="connsiteX11233" fmla="*/ 2140708 w 8079933"/>
              <a:gd name="connsiteY11233" fmla="*/ 2409561 h 4687251"/>
              <a:gd name="connsiteX11234" fmla="*/ 2138755 w 8079933"/>
              <a:gd name="connsiteY11234" fmla="*/ 2413135 h 4687251"/>
              <a:gd name="connsiteX11235" fmla="*/ 2132243 w 8079933"/>
              <a:gd name="connsiteY11235" fmla="*/ 2413026 h 4687251"/>
              <a:gd name="connsiteX11236" fmla="*/ 2129205 w 8079933"/>
              <a:gd name="connsiteY11236" fmla="*/ 2411510 h 4687251"/>
              <a:gd name="connsiteX11237" fmla="*/ 1655854 w 8079933"/>
              <a:gd name="connsiteY11237" fmla="*/ 2407288 h 4687251"/>
              <a:gd name="connsiteX11238" fmla="*/ 1654986 w 8079933"/>
              <a:gd name="connsiteY11238" fmla="*/ 2409994 h 4687251"/>
              <a:gd name="connsiteX11239" fmla="*/ 1653576 w 8079933"/>
              <a:gd name="connsiteY11239" fmla="*/ 2410645 h 4687251"/>
              <a:gd name="connsiteX11240" fmla="*/ 1654226 w 8079933"/>
              <a:gd name="connsiteY11240" fmla="*/ 2407396 h 4687251"/>
              <a:gd name="connsiteX11241" fmla="*/ 6885489 w 8079933"/>
              <a:gd name="connsiteY11241" fmla="*/ 2406746 h 4687251"/>
              <a:gd name="connsiteX11242" fmla="*/ 6887767 w 8079933"/>
              <a:gd name="connsiteY11242" fmla="*/ 2408803 h 4687251"/>
              <a:gd name="connsiteX11243" fmla="*/ 6886466 w 8079933"/>
              <a:gd name="connsiteY11243" fmla="*/ 2413134 h 4687251"/>
              <a:gd name="connsiteX11244" fmla="*/ 6883970 w 8079933"/>
              <a:gd name="connsiteY11244" fmla="*/ 2412484 h 4687251"/>
              <a:gd name="connsiteX11245" fmla="*/ 6882885 w 8079933"/>
              <a:gd name="connsiteY11245" fmla="*/ 2409452 h 4687251"/>
              <a:gd name="connsiteX11246" fmla="*/ 6249960 w 8079933"/>
              <a:gd name="connsiteY11246" fmla="*/ 2405926 h 4687251"/>
              <a:gd name="connsiteX11247" fmla="*/ 6251209 w 8079933"/>
              <a:gd name="connsiteY11247" fmla="*/ 2407829 h 4687251"/>
              <a:gd name="connsiteX11248" fmla="*/ 6249583 w 8079933"/>
              <a:gd name="connsiteY11248" fmla="*/ 2410506 h 4687251"/>
              <a:gd name="connsiteX11249" fmla="*/ 6251210 w 8079933"/>
              <a:gd name="connsiteY11249" fmla="*/ 2407829 h 4687251"/>
              <a:gd name="connsiteX11250" fmla="*/ 6120773 w 8079933"/>
              <a:gd name="connsiteY11250" fmla="*/ 2404688 h 4687251"/>
              <a:gd name="connsiteX11251" fmla="*/ 6120774 w 8079933"/>
              <a:gd name="connsiteY11251" fmla="*/ 2404689 h 4687251"/>
              <a:gd name="connsiteX11252" fmla="*/ 6122419 w 8079933"/>
              <a:gd name="connsiteY11252" fmla="*/ 2405435 h 4687251"/>
              <a:gd name="connsiteX11253" fmla="*/ 2153404 w 8079933"/>
              <a:gd name="connsiteY11253" fmla="*/ 2402523 h 4687251"/>
              <a:gd name="connsiteX11254" fmla="*/ 2160024 w 8079933"/>
              <a:gd name="connsiteY11254" fmla="*/ 2406313 h 4687251"/>
              <a:gd name="connsiteX11255" fmla="*/ 2164256 w 8079933"/>
              <a:gd name="connsiteY11255" fmla="*/ 2412376 h 4687251"/>
              <a:gd name="connsiteX11256" fmla="*/ 2162303 w 8079933"/>
              <a:gd name="connsiteY11256" fmla="*/ 2419847 h 4687251"/>
              <a:gd name="connsiteX11257" fmla="*/ 2159698 w 8079933"/>
              <a:gd name="connsiteY11257" fmla="*/ 2420605 h 4687251"/>
              <a:gd name="connsiteX11258" fmla="*/ 2157637 w 8079933"/>
              <a:gd name="connsiteY11258" fmla="*/ 2418223 h 4687251"/>
              <a:gd name="connsiteX11259" fmla="*/ 2160458 w 8079933"/>
              <a:gd name="connsiteY11259" fmla="*/ 2416707 h 4687251"/>
              <a:gd name="connsiteX11260" fmla="*/ 2162085 w 8079933"/>
              <a:gd name="connsiteY11260" fmla="*/ 2413134 h 4687251"/>
              <a:gd name="connsiteX11261" fmla="*/ 2158505 w 8079933"/>
              <a:gd name="connsiteY11261" fmla="*/ 2408153 h 4687251"/>
              <a:gd name="connsiteX11262" fmla="*/ 2152862 w 8079933"/>
              <a:gd name="connsiteY11262" fmla="*/ 2405988 h 4687251"/>
              <a:gd name="connsiteX11263" fmla="*/ 6116649 w 8079933"/>
              <a:gd name="connsiteY11263" fmla="*/ 2400465 h 4687251"/>
              <a:gd name="connsiteX11264" fmla="*/ 6113937 w 8079933"/>
              <a:gd name="connsiteY11264" fmla="*/ 2401116 h 4687251"/>
              <a:gd name="connsiteX11265" fmla="*/ 6113937 w 8079933"/>
              <a:gd name="connsiteY11265" fmla="*/ 2401116 h 4687251"/>
              <a:gd name="connsiteX11266" fmla="*/ 6116649 w 8079933"/>
              <a:gd name="connsiteY11266" fmla="*/ 2400466 h 4687251"/>
              <a:gd name="connsiteX11267" fmla="*/ 6120345 w 8079933"/>
              <a:gd name="connsiteY11267" fmla="*/ 2404249 h 4687251"/>
              <a:gd name="connsiteX11268" fmla="*/ 5607164 w 8079933"/>
              <a:gd name="connsiteY11268" fmla="*/ 2400249 h 4687251"/>
              <a:gd name="connsiteX11269" fmla="*/ 5607164 w 8079933"/>
              <a:gd name="connsiteY11269" fmla="*/ 2400249 h 4687251"/>
              <a:gd name="connsiteX11270" fmla="*/ 5611830 w 8079933"/>
              <a:gd name="connsiteY11270" fmla="*/ 2406421 h 4687251"/>
              <a:gd name="connsiteX11271" fmla="*/ 5612556 w 8079933"/>
              <a:gd name="connsiteY11271" fmla="*/ 2408490 h 4687251"/>
              <a:gd name="connsiteX11272" fmla="*/ 5611830 w 8079933"/>
              <a:gd name="connsiteY11272" fmla="*/ 2406420 h 4687251"/>
              <a:gd name="connsiteX11273" fmla="*/ 6035153 w 8079933"/>
              <a:gd name="connsiteY11273" fmla="*/ 2400249 h 4687251"/>
              <a:gd name="connsiteX11274" fmla="*/ 6031681 w 8079933"/>
              <a:gd name="connsiteY11274" fmla="*/ 2402306 h 4687251"/>
              <a:gd name="connsiteX11275" fmla="*/ 6029619 w 8079933"/>
              <a:gd name="connsiteY11275" fmla="*/ 2408694 h 4687251"/>
              <a:gd name="connsiteX11276" fmla="*/ 6025170 w 8079933"/>
              <a:gd name="connsiteY11276" fmla="*/ 2409669 h 4687251"/>
              <a:gd name="connsiteX11277" fmla="*/ 6024953 w 8079933"/>
              <a:gd name="connsiteY11277" fmla="*/ 2419196 h 4687251"/>
              <a:gd name="connsiteX11278" fmla="*/ 6025170 w 8079933"/>
              <a:gd name="connsiteY11278" fmla="*/ 2409669 h 4687251"/>
              <a:gd name="connsiteX11279" fmla="*/ 6029619 w 8079933"/>
              <a:gd name="connsiteY11279" fmla="*/ 2408694 h 4687251"/>
              <a:gd name="connsiteX11280" fmla="*/ 6031681 w 8079933"/>
              <a:gd name="connsiteY11280" fmla="*/ 2402306 h 4687251"/>
              <a:gd name="connsiteX11281" fmla="*/ 6035154 w 8079933"/>
              <a:gd name="connsiteY11281" fmla="*/ 2400249 h 4687251"/>
              <a:gd name="connsiteX11282" fmla="*/ 6041231 w 8079933"/>
              <a:gd name="connsiteY11282" fmla="*/ 2398841 h 4687251"/>
              <a:gd name="connsiteX11283" fmla="*/ 6038083 w 8079933"/>
              <a:gd name="connsiteY11283" fmla="*/ 2401332 h 4687251"/>
              <a:gd name="connsiteX11284" fmla="*/ 6035634 w 8079933"/>
              <a:gd name="connsiteY11284" fmla="*/ 2400427 h 4687251"/>
              <a:gd name="connsiteX11285" fmla="*/ 6038083 w 8079933"/>
              <a:gd name="connsiteY11285" fmla="*/ 2401332 h 4687251"/>
              <a:gd name="connsiteX11286" fmla="*/ 6041231 w 8079933"/>
              <a:gd name="connsiteY11286" fmla="*/ 2398842 h 4687251"/>
              <a:gd name="connsiteX11287" fmla="*/ 6073336 w 8079933"/>
              <a:gd name="connsiteY11287" fmla="*/ 2398778 h 4687251"/>
              <a:gd name="connsiteX11288" fmla="*/ 6077042 w 8079933"/>
              <a:gd name="connsiteY11288" fmla="*/ 2400466 h 4687251"/>
              <a:gd name="connsiteX11289" fmla="*/ 6083227 w 8079933"/>
              <a:gd name="connsiteY11289" fmla="*/ 2400466 h 4687251"/>
              <a:gd name="connsiteX11290" fmla="*/ 6092885 w 8079933"/>
              <a:gd name="connsiteY11290" fmla="*/ 2399708 h 4687251"/>
              <a:gd name="connsiteX11291" fmla="*/ 6100156 w 8079933"/>
              <a:gd name="connsiteY11291" fmla="*/ 2400575 h 4687251"/>
              <a:gd name="connsiteX11292" fmla="*/ 6108186 w 8079933"/>
              <a:gd name="connsiteY11292" fmla="*/ 2400249 h 4687251"/>
              <a:gd name="connsiteX11293" fmla="*/ 6112200 w 8079933"/>
              <a:gd name="connsiteY11293" fmla="*/ 2399925 h 4687251"/>
              <a:gd name="connsiteX11294" fmla="*/ 6112200 w 8079933"/>
              <a:gd name="connsiteY11294" fmla="*/ 2399924 h 4687251"/>
              <a:gd name="connsiteX11295" fmla="*/ 6108185 w 8079933"/>
              <a:gd name="connsiteY11295" fmla="*/ 2400249 h 4687251"/>
              <a:gd name="connsiteX11296" fmla="*/ 6100155 w 8079933"/>
              <a:gd name="connsiteY11296" fmla="*/ 2400574 h 4687251"/>
              <a:gd name="connsiteX11297" fmla="*/ 6092884 w 8079933"/>
              <a:gd name="connsiteY11297" fmla="*/ 2399708 h 4687251"/>
              <a:gd name="connsiteX11298" fmla="*/ 6083227 w 8079933"/>
              <a:gd name="connsiteY11298" fmla="*/ 2400465 h 4687251"/>
              <a:gd name="connsiteX11299" fmla="*/ 6077041 w 8079933"/>
              <a:gd name="connsiteY11299" fmla="*/ 2400465 h 4687251"/>
              <a:gd name="connsiteX11300" fmla="*/ 1342350 w 8079933"/>
              <a:gd name="connsiteY11300" fmla="*/ 2398193 h 4687251"/>
              <a:gd name="connsiteX11301" fmla="*/ 1345063 w 8079933"/>
              <a:gd name="connsiteY11301" fmla="*/ 2401982 h 4687251"/>
              <a:gd name="connsiteX11302" fmla="*/ 1345823 w 8079933"/>
              <a:gd name="connsiteY11302" fmla="*/ 2405447 h 4687251"/>
              <a:gd name="connsiteX11303" fmla="*/ 1343219 w 8079933"/>
              <a:gd name="connsiteY11303" fmla="*/ 2407179 h 4687251"/>
              <a:gd name="connsiteX11304" fmla="*/ 1342350 w 8079933"/>
              <a:gd name="connsiteY11304" fmla="*/ 2402307 h 4687251"/>
              <a:gd name="connsiteX11305" fmla="*/ 1341157 w 8079933"/>
              <a:gd name="connsiteY11305" fmla="*/ 2400250 h 4687251"/>
              <a:gd name="connsiteX11306" fmla="*/ 6072049 w 8079933"/>
              <a:gd name="connsiteY11306" fmla="*/ 2398192 h 4687251"/>
              <a:gd name="connsiteX11307" fmla="*/ 6067600 w 8079933"/>
              <a:gd name="connsiteY11307" fmla="*/ 2398517 h 4687251"/>
              <a:gd name="connsiteX11308" fmla="*/ 6067601 w 8079933"/>
              <a:gd name="connsiteY11308" fmla="*/ 2398517 h 4687251"/>
              <a:gd name="connsiteX11309" fmla="*/ 6072050 w 8079933"/>
              <a:gd name="connsiteY11309" fmla="*/ 2398192 h 4687251"/>
              <a:gd name="connsiteX11310" fmla="*/ 3663630 w 8079933"/>
              <a:gd name="connsiteY11310" fmla="*/ 2396893 h 4687251"/>
              <a:gd name="connsiteX11311" fmla="*/ 3663017 w 8079933"/>
              <a:gd name="connsiteY11311" fmla="*/ 2432455 h 4687251"/>
              <a:gd name="connsiteX11312" fmla="*/ 3663630 w 8079933"/>
              <a:gd name="connsiteY11312" fmla="*/ 2396894 h 4687251"/>
              <a:gd name="connsiteX11313" fmla="*/ 3739375 w 8079933"/>
              <a:gd name="connsiteY11313" fmla="*/ 2398193 h 4687251"/>
              <a:gd name="connsiteX11314" fmla="*/ 3739375 w 8079933"/>
              <a:gd name="connsiteY11314" fmla="*/ 2398192 h 4687251"/>
              <a:gd name="connsiteX11315" fmla="*/ 6063042 w 8079933"/>
              <a:gd name="connsiteY11315" fmla="*/ 2396784 h 4687251"/>
              <a:gd name="connsiteX11316" fmla="*/ 6063042 w 8079933"/>
              <a:gd name="connsiteY11316" fmla="*/ 2396785 h 4687251"/>
              <a:gd name="connsiteX11317" fmla="*/ 6066838 w 8079933"/>
              <a:gd name="connsiteY11317" fmla="*/ 2398227 h 4687251"/>
              <a:gd name="connsiteX11318" fmla="*/ 5607346 w 8079933"/>
              <a:gd name="connsiteY11318" fmla="*/ 2396127 h 4687251"/>
              <a:gd name="connsiteX11319" fmla="*/ 5608357 w 8079933"/>
              <a:gd name="connsiteY11319" fmla="*/ 2397001 h 4687251"/>
              <a:gd name="connsiteX11320" fmla="*/ 5607336 w 8079933"/>
              <a:gd name="connsiteY11320" fmla="*/ 2399781 h 4687251"/>
              <a:gd name="connsiteX11321" fmla="*/ 5608358 w 8079933"/>
              <a:gd name="connsiteY11321" fmla="*/ 2397001 h 4687251"/>
              <a:gd name="connsiteX11322" fmla="*/ 6905348 w 8079933"/>
              <a:gd name="connsiteY11322" fmla="*/ 2393104 h 4687251"/>
              <a:gd name="connsiteX11323" fmla="*/ 6910774 w 8079933"/>
              <a:gd name="connsiteY11323" fmla="*/ 2395702 h 4687251"/>
              <a:gd name="connsiteX11324" fmla="*/ 6909905 w 8079933"/>
              <a:gd name="connsiteY11324" fmla="*/ 2400141 h 4687251"/>
              <a:gd name="connsiteX11325" fmla="*/ 6906650 w 8079933"/>
              <a:gd name="connsiteY11325" fmla="*/ 2399816 h 4687251"/>
              <a:gd name="connsiteX11326" fmla="*/ 6904805 w 8079933"/>
              <a:gd name="connsiteY11326" fmla="*/ 2398085 h 4687251"/>
              <a:gd name="connsiteX11327" fmla="*/ 5594507 w 8079933"/>
              <a:gd name="connsiteY11327" fmla="*/ 2390786 h 4687251"/>
              <a:gd name="connsiteX11328" fmla="*/ 5600436 w 8079933"/>
              <a:gd name="connsiteY11328" fmla="*/ 2394619 h 4687251"/>
              <a:gd name="connsiteX11329" fmla="*/ 5605102 w 8079933"/>
              <a:gd name="connsiteY11329" fmla="*/ 2394186 h 4687251"/>
              <a:gd name="connsiteX11330" fmla="*/ 5605102 w 8079933"/>
              <a:gd name="connsiteY11330" fmla="*/ 2394186 h 4687251"/>
              <a:gd name="connsiteX11331" fmla="*/ 5600436 w 8079933"/>
              <a:gd name="connsiteY11331" fmla="*/ 2394619 h 4687251"/>
              <a:gd name="connsiteX11332" fmla="*/ 6040796 w 8079933"/>
              <a:gd name="connsiteY11332" fmla="*/ 2389747 h 4687251"/>
              <a:gd name="connsiteX11333" fmla="*/ 6039820 w 8079933"/>
              <a:gd name="connsiteY11333" fmla="*/ 2392670 h 4687251"/>
              <a:gd name="connsiteX11334" fmla="*/ 6039820 w 8079933"/>
              <a:gd name="connsiteY11334" fmla="*/ 2392670 h 4687251"/>
              <a:gd name="connsiteX11335" fmla="*/ 5591646 w 8079933"/>
              <a:gd name="connsiteY11335" fmla="*/ 2380868 h 4687251"/>
              <a:gd name="connsiteX11336" fmla="*/ 5591646 w 8079933"/>
              <a:gd name="connsiteY11336" fmla="*/ 2380869 h 4687251"/>
              <a:gd name="connsiteX11337" fmla="*/ 5591711 w 8079933"/>
              <a:gd name="connsiteY11337" fmla="*/ 2381391 h 4687251"/>
              <a:gd name="connsiteX11338" fmla="*/ 6814519 w 8079933"/>
              <a:gd name="connsiteY11338" fmla="*/ 2378488 h 4687251"/>
              <a:gd name="connsiteX11339" fmla="*/ 6819837 w 8079933"/>
              <a:gd name="connsiteY11339" fmla="*/ 2380329 h 4687251"/>
              <a:gd name="connsiteX11340" fmla="*/ 6822441 w 8079933"/>
              <a:gd name="connsiteY11340" fmla="*/ 2385742 h 4687251"/>
              <a:gd name="connsiteX11341" fmla="*/ 6823960 w 8079933"/>
              <a:gd name="connsiteY11341" fmla="*/ 2385742 h 4687251"/>
              <a:gd name="connsiteX11342" fmla="*/ 6828083 w 8079933"/>
              <a:gd name="connsiteY11342" fmla="*/ 2388774 h 4687251"/>
              <a:gd name="connsiteX11343" fmla="*/ 6828952 w 8079933"/>
              <a:gd name="connsiteY11343" fmla="*/ 2392888 h 4687251"/>
              <a:gd name="connsiteX11344" fmla="*/ 6827216 w 8079933"/>
              <a:gd name="connsiteY11344" fmla="*/ 2393213 h 4687251"/>
              <a:gd name="connsiteX11345" fmla="*/ 6825696 w 8079933"/>
              <a:gd name="connsiteY11345" fmla="*/ 2399601 h 4687251"/>
              <a:gd name="connsiteX11346" fmla="*/ 6824503 w 8079933"/>
              <a:gd name="connsiteY11346" fmla="*/ 2412052 h 4687251"/>
              <a:gd name="connsiteX11347" fmla="*/ 6821898 w 8079933"/>
              <a:gd name="connsiteY11347" fmla="*/ 2417032 h 4687251"/>
              <a:gd name="connsiteX11348" fmla="*/ 6822983 w 8079933"/>
              <a:gd name="connsiteY11348" fmla="*/ 2423853 h 4687251"/>
              <a:gd name="connsiteX11349" fmla="*/ 6822441 w 8079933"/>
              <a:gd name="connsiteY11349" fmla="*/ 2430242 h 4687251"/>
              <a:gd name="connsiteX11350" fmla="*/ 6821030 w 8079933"/>
              <a:gd name="connsiteY11350" fmla="*/ 2439336 h 4687251"/>
              <a:gd name="connsiteX11351" fmla="*/ 6823310 w 8079933"/>
              <a:gd name="connsiteY11351" fmla="*/ 2440203 h 4687251"/>
              <a:gd name="connsiteX11352" fmla="*/ 6821573 w 8079933"/>
              <a:gd name="connsiteY11352" fmla="*/ 2441935 h 4687251"/>
              <a:gd name="connsiteX11353" fmla="*/ 6821356 w 8079933"/>
              <a:gd name="connsiteY11353" fmla="*/ 2447781 h 4687251"/>
              <a:gd name="connsiteX11354" fmla="*/ 6815387 w 8079933"/>
              <a:gd name="connsiteY11354" fmla="*/ 2456877 h 4687251"/>
              <a:gd name="connsiteX11355" fmla="*/ 6811372 w 8079933"/>
              <a:gd name="connsiteY11355" fmla="*/ 2462181 h 4687251"/>
              <a:gd name="connsiteX11356" fmla="*/ 6813760 w 8079933"/>
              <a:gd name="connsiteY11356" fmla="*/ 2469219 h 4687251"/>
              <a:gd name="connsiteX11357" fmla="*/ 6812566 w 8079933"/>
              <a:gd name="connsiteY11357" fmla="*/ 2474957 h 4687251"/>
              <a:gd name="connsiteX11358" fmla="*/ 6813651 w 8079933"/>
              <a:gd name="connsiteY11358" fmla="*/ 2479722 h 4687251"/>
              <a:gd name="connsiteX11359" fmla="*/ 6810179 w 8079933"/>
              <a:gd name="connsiteY11359" fmla="*/ 2478530 h 4687251"/>
              <a:gd name="connsiteX11360" fmla="*/ 6806706 w 8079933"/>
              <a:gd name="connsiteY11360" fmla="*/ 2479722 h 4687251"/>
              <a:gd name="connsiteX11361" fmla="*/ 6806380 w 8079933"/>
              <a:gd name="connsiteY11361" fmla="*/ 2475824 h 4687251"/>
              <a:gd name="connsiteX11362" fmla="*/ 6806706 w 8079933"/>
              <a:gd name="connsiteY11362" fmla="*/ 2470302 h 4687251"/>
              <a:gd name="connsiteX11363" fmla="*/ 6803343 w 8079933"/>
              <a:gd name="connsiteY11363" fmla="*/ 2465105 h 4687251"/>
              <a:gd name="connsiteX11364" fmla="*/ 6796615 w 8079933"/>
              <a:gd name="connsiteY11364" fmla="*/ 2462940 h 4687251"/>
              <a:gd name="connsiteX11365" fmla="*/ 6795855 w 8079933"/>
              <a:gd name="connsiteY11365" fmla="*/ 2459800 h 4687251"/>
              <a:gd name="connsiteX11366" fmla="*/ 6793359 w 8079933"/>
              <a:gd name="connsiteY11366" fmla="*/ 2459150 h 4687251"/>
              <a:gd name="connsiteX11367" fmla="*/ 6790755 w 8079933"/>
              <a:gd name="connsiteY11367" fmla="*/ 2455144 h 4687251"/>
              <a:gd name="connsiteX11368" fmla="*/ 6790863 w 8079933"/>
              <a:gd name="connsiteY11368" fmla="*/ 2452220 h 4687251"/>
              <a:gd name="connsiteX11369" fmla="*/ 6791949 w 8079933"/>
              <a:gd name="connsiteY11369" fmla="*/ 2451896 h 4687251"/>
              <a:gd name="connsiteX11370" fmla="*/ 6791297 w 8079933"/>
              <a:gd name="connsiteY11370" fmla="*/ 2449189 h 4687251"/>
              <a:gd name="connsiteX11371" fmla="*/ 6788801 w 8079933"/>
              <a:gd name="connsiteY11371" fmla="*/ 2447565 h 4687251"/>
              <a:gd name="connsiteX11372" fmla="*/ 6788150 w 8079933"/>
              <a:gd name="connsiteY11372" fmla="*/ 2437929 h 4687251"/>
              <a:gd name="connsiteX11373" fmla="*/ 6787933 w 8079933"/>
              <a:gd name="connsiteY11373" fmla="*/ 2428618 h 4687251"/>
              <a:gd name="connsiteX11374" fmla="*/ 6786414 w 8079933"/>
              <a:gd name="connsiteY11374" fmla="*/ 2426452 h 4687251"/>
              <a:gd name="connsiteX11375" fmla="*/ 6788150 w 8079933"/>
              <a:gd name="connsiteY11375" fmla="*/ 2425045 h 4687251"/>
              <a:gd name="connsiteX11376" fmla="*/ 6790755 w 8079933"/>
              <a:gd name="connsiteY11376" fmla="*/ 2415625 h 4687251"/>
              <a:gd name="connsiteX11377" fmla="*/ 6795855 w 8079933"/>
              <a:gd name="connsiteY11377" fmla="*/ 2406530 h 4687251"/>
              <a:gd name="connsiteX11378" fmla="*/ 6797916 w 8079933"/>
              <a:gd name="connsiteY11378" fmla="*/ 2404581 h 4687251"/>
              <a:gd name="connsiteX11379" fmla="*/ 6798785 w 8079933"/>
              <a:gd name="connsiteY11379" fmla="*/ 2401333 h 4687251"/>
              <a:gd name="connsiteX11380" fmla="*/ 6797591 w 8079933"/>
              <a:gd name="connsiteY11380" fmla="*/ 2399168 h 4687251"/>
              <a:gd name="connsiteX11381" fmla="*/ 6802474 w 8079933"/>
              <a:gd name="connsiteY11381" fmla="*/ 2390831 h 4687251"/>
              <a:gd name="connsiteX11382" fmla="*/ 6807574 w 8079933"/>
              <a:gd name="connsiteY11382" fmla="*/ 2384984 h 4687251"/>
              <a:gd name="connsiteX11383" fmla="*/ 6811915 w 8079933"/>
              <a:gd name="connsiteY11383" fmla="*/ 2383469 h 4687251"/>
              <a:gd name="connsiteX11384" fmla="*/ 6811372 w 8079933"/>
              <a:gd name="connsiteY11384" fmla="*/ 2380220 h 4687251"/>
              <a:gd name="connsiteX11385" fmla="*/ 5398702 w 8079933"/>
              <a:gd name="connsiteY11385" fmla="*/ 2378272 h 4687251"/>
              <a:gd name="connsiteX11386" fmla="*/ 5396206 w 8079933"/>
              <a:gd name="connsiteY11386" fmla="*/ 2382927 h 4687251"/>
              <a:gd name="connsiteX11387" fmla="*/ 5397509 w 8079933"/>
              <a:gd name="connsiteY11387" fmla="*/ 2387041 h 4687251"/>
              <a:gd name="connsiteX11388" fmla="*/ 5397510 w 8079933"/>
              <a:gd name="connsiteY11388" fmla="*/ 2387040 h 4687251"/>
              <a:gd name="connsiteX11389" fmla="*/ 5396207 w 8079933"/>
              <a:gd name="connsiteY11389" fmla="*/ 2382926 h 4687251"/>
              <a:gd name="connsiteX11390" fmla="*/ 6182302 w 8079933"/>
              <a:gd name="connsiteY11390" fmla="*/ 2376647 h 4687251"/>
              <a:gd name="connsiteX11391" fmla="*/ 6179046 w 8079933"/>
              <a:gd name="connsiteY11391" fmla="*/ 2386174 h 4687251"/>
              <a:gd name="connsiteX11392" fmla="*/ 6176484 w 8079933"/>
              <a:gd name="connsiteY11392" fmla="*/ 2390297 h 4687251"/>
              <a:gd name="connsiteX11393" fmla="*/ 6179046 w 8079933"/>
              <a:gd name="connsiteY11393" fmla="*/ 2386175 h 4687251"/>
              <a:gd name="connsiteX11394" fmla="*/ 6182302 w 8079933"/>
              <a:gd name="connsiteY11394" fmla="*/ 2376647 h 4687251"/>
              <a:gd name="connsiteX11395" fmla="*/ 6768400 w 8079933"/>
              <a:gd name="connsiteY11395" fmla="*/ 2374699 h 4687251"/>
              <a:gd name="connsiteX11396" fmla="*/ 6770136 w 8079933"/>
              <a:gd name="connsiteY11396" fmla="*/ 2376540 h 4687251"/>
              <a:gd name="connsiteX11397" fmla="*/ 6770028 w 8079933"/>
              <a:gd name="connsiteY11397" fmla="*/ 2380005 h 4687251"/>
              <a:gd name="connsiteX11398" fmla="*/ 6767532 w 8079933"/>
              <a:gd name="connsiteY11398" fmla="*/ 2380871 h 4687251"/>
              <a:gd name="connsiteX11399" fmla="*/ 6766555 w 8079933"/>
              <a:gd name="connsiteY11399" fmla="*/ 2375565 h 4687251"/>
              <a:gd name="connsiteX11400" fmla="*/ 6036022 w 8079933"/>
              <a:gd name="connsiteY11400" fmla="*/ 2374264 h 4687251"/>
              <a:gd name="connsiteX11401" fmla="*/ 6036022 w 8079933"/>
              <a:gd name="connsiteY11401" fmla="*/ 2374264 h 4687251"/>
              <a:gd name="connsiteX11402" fmla="*/ 6041013 w 8079933"/>
              <a:gd name="connsiteY11402" fmla="*/ 2374914 h 4687251"/>
              <a:gd name="connsiteX11403" fmla="*/ 6041014 w 8079933"/>
              <a:gd name="connsiteY11403" fmla="*/ 2374914 h 4687251"/>
              <a:gd name="connsiteX11404" fmla="*/ 5407327 w 8079933"/>
              <a:gd name="connsiteY11404" fmla="*/ 2373875 h 4687251"/>
              <a:gd name="connsiteX11405" fmla="*/ 5405973 w 8079933"/>
              <a:gd name="connsiteY11405" fmla="*/ 2375348 h 4687251"/>
              <a:gd name="connsiteX11406" fmla="*/ 5405974 w 8079933"/>
              <a:gd name="connsiteY11406" fmla="*/ 2375347 h 4687251"/>
              <a:gd name="connsiteX11407" fmla="*/ 6040037 w 8079933"/>
              <a:gd name="connsiteY11407" fmla="*/ 2371666 h 4687251"/>
              <a:gd name="connsiteX11408" fmla="*/ 6043400 w 8079933"/>
              <a:gd name="connsiteY11408" fmla="*/ 2373723 h 4687251"/>
              <a:gd name="connsiteX11409" fmla="*/ 6041549 w 8079933"/>
              <a:gd name="connsiteY11409" fmla="*/ 2374647 h 4687251"/>
              <a:gd name="connsiteX11410" fmla="*/ 6043401 w 8079933"/>
              <a:gd name="connsiteY11410" fmla="*/ 2373723 h 4687251"/>
              <a:gd name="connsiteX11411" fmla="*/ 6045788 w 8079933"/>
              <a:gd name="connsiteY11411" fmla="*/ 2371435 h 4687251"/>
              <a:gd name="connsiteX11412" fmla="*/ 6046548 w 8079933"/>
              <a:gd name="connsiteY11412" fmla="*/ 2372099 h 4687251"/>
              <a:gd name="connsiteX11413" fmla="*/ 6048935 w 8079933"/>
              <a:gd name="connsiteY11413" fmla="*/ 2374481 h 4687251"/>
              <a:gd name="connsiteX11414" fmla="*/ 6053601 w 8079933"/>
              <a:gd name="connsiteY11414" fmla="*/ 2375996 h 4687251"/>
              <a:gd name="connsiteX11415" fmla="*/ 6053927 w 8079933"/>
              <a:gd name="connsiteY11415" fmla="*/ 2374264 h 4687251"/>
              <a:gd name="connsiteX11416" fmla="*/ 6056314 w 8079933"/>
              <a:gd name="connsiteY11416" fmla="*/ 2373723 h 4687251"/>
              <a:gd name="connsiteX11417" fmla="*/ 6059678 w 8079933"/>
              <a:gd name="connsiteY11417" fmla="*/ 2379570 h 4687251"/>
              <a:gd name="connsiteX11418" fmla="*/ 6060655 w 8079933"/>
              <a:gd name="connsiteY11418" fmla="*/ 2385308 h 4687251"/>
              <a:gd name="connsiteX11419" fmla="*/ 6061306 w 8079933"/>
              <a:gd name="connsiteY11419" fmla="*/ 2388231 h 4687251"/>
              <a:gd name="connsiteX11420" fmla="*/ 6063259 w 8079933"/>
              <a:gd name="connsiteY11420" fmla="*/ 2393320 h 4687251"/>
              <a:gd name="connsiteX11421" fmla="*/ 6063259 w 8079933"/>
              <a:gd name="connsiteY11421" fmla="*/ 2393320 h 4687251"/>
              <a:gd name="connsiteX11422" fmla="*/ 6061306 w 8079933"/>
              <a:gd name="connsiteY11422" fmla="*/ 2388231 h 4687251"/>
              <a:gd name="connsiteX11423" fmla="*/ 6060655 w 8079933"/>
              <a:gd name="connsiteY11423" fmla="*/ 2385308 h 4687251"/>
              <a:gd name="connsiteX11424" fmla="*/ 6059678 w 8079933"/>
              <a:gd name="connsiteY11424" fmla="*/ 2379569 h 4687251"/>
              <a:gd name="connsiteX11425" fmla="*/ 6056314 w 8079933"/>
              <a:gd name="connsiteY11425" fmla="*/ 2373723 h 4687251"/>
              <a:gd name="connsiteX11426" fmla="*/ 6053927 w 8079933"/>
              <a:gd name="connsiteY11426" fmla="*/ 2374264 h 4687251"/>
              <a:gd name="connsiteX11427" fmla="*/ 6053601 w 8079933"/>
              <a:gd name="connsiteY11427" fmla="*/ 2375996 h 4687251"/>
              <a:gd name="connsiteX11428" fmla="*/ 6048935 w 8079933"/>
              <a:gd name="connsiteY11428" fmla="*/ 2374480 h 4687251"/>
              <a:gd name="connsiteX11429" fmla="*/ 6046548 w 8079933"/>
              <a:gd name="connsiteY11429" fmla="*/ 2372098 h 4687251"/>
              <a:gd name="connsiteX11430" fmla="*/ 6032549 w 8079933"/>
              <a:gd name="connsiteY11430" fmla="*/ 2369933 h 4687251"/>
              <a:gd name="connsiteX11431" fmla="*/ 6032549 w 8079933"/>
              <a:gd name="connsiteY11431" fmla="*/ 2369933 h 4687251"/>
              <a:gd name="connsiteX11432" fmla="*/ 6033086 w 8079933"/>
              <a:gd name="connsiteY11432" fmla="*/ 2370603 h 4687251"/>
              <a:gd name="connsiteX11433" fmla="*/ 6026689 w 8079933"/>
              <a:gd name="connsiteY11433" fmla="*/ 2369825 h 4687251"/>
              <a:gd name="connsiteX11434" fmla="*/ 6024518 w 8079933"/>
              <a:gd name="connsiteY11434" fmla="*/ 2375996 h 4687251"/>
              <a:gd name="connsiteX11435" fmla="*/ 6019852 w 8079933"/>
              <a:gd name="connsiteY11435" fmla="*/ 2381302 h 4687251"/>
              <a:gd name="connsiteX11436" fmla="*/ 6019093 w 8079933"/>
              <a:gd name="connsiteY11436" fmla="*/ 2387040 h 4687251"/>
              <a:gd name="connsiteX11437" fmla="*/ 6019853 w 8079933"/>
              <a:gd name="connsiteY11437" fmla="*/ 2381302 h 4687251"/>
              <a:gd name="connsiteX11438" fmla="*/ 6024519 w 8079933"/>
              <a:gd name="connsiteY11438" fmla="*/ 2375996 h 4687251"/>
              <a:gd name="connsiteX11439" fmla="*/ 3747258 w 8079933"/>
              <a:gd name="connsiteY11439" fmla="*/ 2369152 h 4687251"/>
              <a:gd name="connsiteX11440" fmla="*/ 3827056 w 8079933"/>
              <a:gd name="connsiteY11440" fmla="*/ 2422662 h 4687251"/>
              <a:gd name="connsiteX11441" fmla="*/ 3827056 w 8079933"/>
              <a:gd name="connsiteY11441" fmla="*/ 2422771 h 4687251"/>
              <a:gd name="connsiteX11442" fmla="*/ 3826839 w 8079933"/>
              <a:gd name="connsiteY11442" fmla="*/ 2422554 h 4687251"/>
              <a:gd name="connsiteX11443" fmla="*/ 3826838 w 8079933"/>
              <a:gd name="connsiteY11443" fmla="*/ 2422554 h 4687251"/>
              <a:gd name="connsiteX11444" fmla="*/ 3827055 w 8079933"/>
              <a:gd name="connsiteY11444" fmla="*/ 2422770 h 4687251"/>
              <a:gd name="connsiteX11445" fmla="*/ 3983645 w 8079933"/>
              <a:gd name="connsiteY11445" fmla="*/ 2526385 h 4687251"/>
              <a:gd name="connsiteX11446" fmla="*/ 3986466 w 8079933"/>
              <a:gd name="connsiteY11446" fmla="*/ 2537754 h 4687251"/>
              <a:gd name="connsiteX11447" fmla="*/ 3991458 w 8079933"/>
              <a:gd name="connsiteY11447" fmla="*/ 2542409 h 4687251"/>
              <a:gd name="connsiteX11448" fmla="*/ 3991459 w 8079933"/>
              <a:gd name="connsiteY11448" fmla="*/ 2542409 h 4687251"/>
              <a:gd name="connsiteX11449" fmla="*/ 3986467 w 8079933"/>
              <a:gd name="connsiteY11449" fmla="*/ 2537753 h 4687251"/>
              <a:gd name="connsiteX11450" fmla="*/ 3983646 w 8079933"/>
              <a:gd name="connsiteY11450" fmla="*/ 2526385 h 4687251"/>
              <a:gd name="connsiteX11451" fmla="*/ 3827056 w 8079933"/>
              <a:gd name="connsiteY11451" fmla="*/ 2422770 h 4687251"/>
              <a:gd name="connsiteX11452" fmla="*/ 3827056 w 8079933"/>
              <a:gd name="connsiteY11452" fmla="*/ 2422662 h 4687251"/>
              <a:gd name="connsiteX11453" fmla="*/ 5584050 w 8079933"/>
              <a:gd name="connsiteY11453" fmla="*/ 2367443 h 4687251"/>
              <a:gd name="connsiteX11454" fmla="*/ 5581446 w 8079933"/>
              <a:gd name="connsiteY11454" fmla="*/ 2368742 h 4687251"/>
              <a:gd name="connsiteX11455" fmla="*/ 5584050 w 8079933"/>
              <a:gd name="connsiteY11455" fmla="*/ 2367443 h 4687251"/>
              <a:gd name="connsiteX11456" fmla="*/ 5588607 w 8079933"/>
              <a:gd name="connsiteY11456" fmla="*/ 2367552 h 4687251"/>
              <a:gd name="connsiteX11457" fmla="*/ 5589453 w 8079933"/>
              <a:gd name="connsiteY11457" fmla="*/ 2369403 h 4687251"/>
              <a:gd name="connsiteX11458" fmla="*/ 5588607 w 8079933"/>
              <a:gd name="connsiteY11458" fmla="*/ 2367551 h 4687251"/>
              <a:gd name="connsiteX11459" fmla="*/ 5574688 w 8079933"/>
              <a:gd name="connsiteY11459" fmla="*/ 2366964 h 4687251"/>
              <a:gd name="connsiteX11460" fmla="*/ 5571896 w 8079933"/>
              <a:gd name="connsiteY11460" fmla="*/ 2367118 h 4687251"/>
              <a:gd name="connsiteX11461" fmla="*/ 5571896 w 8079933"/>
              <a:gd name="connsiteY11461" fmla="*/ 2367119 h 4687251"/>
              <a:gd name="connsiteX11462" fmla="*/ 3740351 w 8079933"/>
              <a:gd name="connsiteY11462" fmla="*/ 2364521 h 4687251"/>
              <a:gd name="connsiteX11463" fmla="*/ 3740351 w 8079933"/>
              <a:gd name="connsiteY11463" fmla="*/ 2364735 h 4687251"/>
              <a:gd name="connsiteX11464" fmla="*/ 3740351 w 8079933"/>
              <a:gd name="connsiteY11464" fmla="*/ 2364736 h 4687251"/>
              <a:gd name="connsiteX11465" fmla="*/ 3740351 w 8079933"/>
              <a:gd name="connsiteY11465" fmla="*/ 2364521 h 4687251"/>
              <a:gd name="connsiteX11466" fmla="*/ 2115422 w 8079933"/>
              <a:gd name="connsiteY11466" fmla="*/ 2363979 h 4687251"/>
              <a:gd name="connsiteX11467" fmla="*/ 2122801 w 8079933"/>
              <a:gd name="connsiteY11467" fmla="*/ 2363979 h 4687251"/>
              <a:gd name="connsiteX11468" fmla="*/ 2128010 w 8079933"/>
              <a:gd name="connsiteY11468" fmla="*/ 2368742 h 4687251"/>
              <a:gd name="connsiteX11469" fmla="*/ 2124212 w 8079933"/>
              <a:gd name="connsiteY11469" fmla="*/ 2368201 h 4687251"/>
              <a:gd name="connsiteX11470" fmla="*/ 2119546 w 8079933"/>
              <a:gd name="connsiteY11470" fmla="*/ 2367227 h 4687251"/>
              <a:gd name="connsiteX11471" fmla="*/ 2110539 w 8079933"/>
              <a:gd name="connsiteY11471" fmla="*/ 2373507 h 4687251"/>
              <a:gd name="connsiteX11472" fmla="*/ 2105764 w 8079933"/>
              <a:gd name="connsiteY11472" fmla="*/ 2372640 h 4687251"/>
              <a:gd name="connsiteX11473" fmla="*/ 2099688 w 8079933"/>
              <a:gd name="connsiteY11473" fmla="*/ 2366036 h 4687251"/>
              <a:gd name="connsiteX11474" fmla="*/ 2105764 w 8079933"/>
              <a:gd name="connsiteY11474" fmla="*/ 2366036 h 4687251"/>
              <a:gd name="connsiteX11475" fmla="*/ 2108694 w 8079933"/>
              <a:gd name="connsiteY11475" fmla="*/ 2368093 h 4687251"/>
              <a:gd name="connsiteX11476" fmla="*/ 2135173 w 8079933"/>
              <a:gd name="connsiteY11476" fmla="*/ 2360948 h 4687251"/>
              <a:gd name="connsiteX11477" fmla="*/ 2142444 w 8079933"/>
              <a:gd name="connsiteY11477" fmla="*/ 2366037 h 4687251"/>
              <a:gd name="connsiteX11478" fmla="*/ 2143313 w 8079933"/>
              <a:gd name="connsiteY11478" fmla="*/ 2370584 h 4687251"/>
              <a:gd name="connsiteX11479" fmla="*/ 2146785 w 8079933"/>
              <a:gd name="connsiteY11479" fmla="*/ 2372858 h 4687251"/>
              <a:gd name="connsiteX11480" fmla="*/ 2146785 w 8079933"/>
              <a:gd name="connsiteY11480" fmla="*/ 2379354 h 4687251"/>
              <a:gd name="connsiteX11481" fmla="*/ 2142119 w 8079933"/>
              <a:gd name="connsiteY11481" fmla="*/ 2382277 h 4687251"/>
              <a:gd name="connsiteX11482" fmla="*/ 2142444 w 8079933"/>
              <a:gd name="connsiteY11482" fmla="*/ 2386500 h 4687251"/>
              <a:gd name="connsiteX11483" fmla="*/ 2138429 w 8079933"/>
              <a:gd name="connsiteY11483" fmla="*/ 2390505 h 4687251"/>
              <a:gd name="connsiteX11484" fmla="*/ 2140165 w 8079933"/>
              <a:gd name="connsiteY11484" fmla="*/ 2382602 h 4687251"/>
              <a:gd name="connsiteX11485" fmla="*/ 2138863 w 8079933"/>
              <a:gd name="connsiteY11485" fmla="*/ 2378162 h 4687251"/>
              <a:gd name="connsiteX11486" fmla="*/ 2141902 w 8079933"/>
              <a:gd name="connsiteY11486" fmla="*/ 2375239 h 4687251"/>
              <a:gd name="connsiteX11487" fmla="*/ 2136584 w 8079933"/>
              <a:gd name="connsiteY11487" fmla="*/ 2368419 h 4687251"/>
              <a:gd name="connsiteX11488" fmla="*/ 2135716 w 8079933"/>
              <a:gd name="connsiteY11488" fmla="*/ 2363546 h 4687251"/>
              <a:gd name="connsiteX11489" fmla="*/ 2128554 w 8079933"/>
              <a:gd name="connsiteY11489" fmla="*/ 2361164 h 4687251"/>
              <a:gd name="connsiteX11490" fmla="*/ 6027557 w 8079933"/>
              <a:gd name="connsiteY11490" fmla="*/ 2360839 h 4687251"/>
              <a:gd name="connsiteX11491" fmla="*/ 6026147 w 8079933"/>
              <a:gd name="connsiteY11491" fmla="*/ 2364303 h 4687251"/>
              <a:gd name="connsiteX11492" fmla="*/ 6024085 w 8079933"/>
              <a:gd name="connsiteY11492" fmla="*/ 2364520 h 4687251"/>
              <a:gd name="connsiteX11493" fmla="*/ 6026147 w 8079933"/>
              <a:gd name="connsiteY11493" fmla="*/ 2364304 h 4687251"/>
              <a:gd name="connsiteX11494" fmla="*/ 6027558 w 8079933"/>
              <a:gd name="connsiteY11494" fmla="*/ 2360840 h 4687251"/>
              <a:gd name="connsiteX11495" fmla="*/ 3740351 w 8079933"/>
              <a:gd name="connsiteY11495" fmla="*/ 2357838 h 4687251"/>
              <a:gd name="connsiteX11496" fmla="*/ 3740350 w 8079933"/>
              <a:gd name="connsiteY11496" fmla="*/ 2357937 h 4687251"/>
              <a:gd name="connsiteX11497" fmla="*/ 3740351 w 8079933"/>
              <a:gd name="connsiteY11497" fmla="*/ 2357838 h 4687251"/>
              <a:gd name="connsiteX11498" fmla="*/ 6098675 w 8079933"/>
              <a:gd name="connsiteY11498" fmla="*/ 2355150 h 4687251"/>
              <a:gd name="connsiteX11499" fmla="*/ 6095163 w 8079933"/>
              <a:gd name="connsiteY11499" fmla="*/ 2356291 h 4687251"/>
              <a:gd name="connsiteX11500" fmla="*/ 6092766 w 8079933"/>
              <a:gd name="connsiteY11500" fmla="*/ 2356135 h 4687251"/>
              <a:gd name="connsiteX11501" fmla="*/ 6095163 w 8079933"/>
              <a:gd name="connsiteY11501" fmla="*/ 2356292 h 4687251"/>
              <a:gd name="connsiteX11502" fmla="*/ 6033673 w 8079933"/>
              <a:gd name="connsiteY11502" fmla="*/ 2353575 h 4687251"/>
              <a:gd name="connsiteX11503" fmla="*/ 6035370 w 8079933"/>
              <a:gd name="connsiteY11503" fmla="*/ 2356292 h 4687251"/>
              <a:gd name="connsiteX11504" fmla="*/ 6041717 w 8079933"/>
              <a:gd name="connsiteY11504" fmla="*/ 2357575 h 4687251"/>
              <a:gd name="connsiteX11505" fmla="*/ 6035370 w 8079933"/>
              <a:gd name="connsiteY11505" fmla="*/ 2356291 h 4687251"/>
              <a:gd name="connsiteX11506" fmla="*/ 3526140 w 8079933"/>
              <a:gd name="connsiteY11506" fmla="*/ 2352719 h 4687251"/>
              <a:gd name="connsiteX11507" fmla="*/ 3527659 w 8079933"/>
              <a:gd name="connsiteY11507" fmla="*/ 2353152 h 4687251"/>
              <a:gd name="connsiteX11508" fmla="*/ 3527659 w 8079933"/>
              <a:gd name="connsiteY11508" fmla="*/ 2356184 h 4687251"/>
              <a:gd name="connsiteX11509" fmla="*/ 3525923 w 8079933"/>
              <a:gd name="connsiteY11509" fmla="*/ 2357483 h 4687251"/>
              <a:gd name="connsiteX11510" fmla="*/ 3524621 w 8079933"/>
              <a:gd name="connsiteY11510" fmla="*/ 2356833 h 4687251"/>
              <a:gd name="connsiteX11511" fmla="*/ 3523644 w 8079933"/>
              <a:gd name="connsiteY11511" fmla="*/ 2354451 h 4687251"/>
              <a:gd name="connsiteX11512" fmla="*/ 6104604 w 8079933"/>
              <a:gd name="connsiteY11512" fmla="*/ 2349362 h 4687251"/>
              <a:gd name="connsiteX11513" fmla="*/ 6104604 w 8079933"/>
              <a:gd name="connsiteY11513" fmla="*/ 2349362 h 4687251"/>
              <a:gd name="connsiteX11514" fmla="*/ 6104821 w 8079933"/>
              <a:gd name="connsiteY11514" fmla="*/ 2353151 h 4687251"/>
              <a:gd name="connsiteX11515" fmla="*/ 4169147 w 8079933"/>
              <a:gd name="connsiteY11515" fmla="*/ 2348776 h 4687251"/>
              <a:gd name="connsiteX11516" fmla="*/ 4169752 w 8079933"/>
              <a:gd name="connsiteY11516" fmla="*/ 2350229 h 4687251"/>
              <a:gd name="connsiteX11517" fmla="*/ 4169752 w 8079933"/>
              <a:gd name="connsiteY11517" fmla="*/ 2350228 h 4687251"/>
              <a:gd name="connsiteX11518" fmla="*/ 6263689 w 8079933"/>
              <a:gd name="connsiteY11518" fmla="*/ 2347305 h 4687251"/>
              <a:gd name="connsiteX11519" fmla="*/ 6263689 w 8079933"/>
              <a:gd name="connsiteY11519" fmla="*/ 2347305 h 4687251"/>
              <a:gd name="connsiteX11520" fmla="*/ 6267596 w 8079933"/>
              <a:gd name="connsiteY11520" fmla="*/ 2355317 h 4687251"/>
              <a:gd name="connsiteX11521" fmla="*/ 1668768 w 8079933"/>
              <a:gd name="connsiteY11521" fmla="*/ 2346656 h 4687251"/>
              <a:gd name="connsiteX11522" fmla="*/ 1666272 w 8079933"/>
              <a:gd name="connsiteY11522" fmla="*/ 2358024 h 4687251"/>
              <a:gd name="connsiteX11523" fmla="*/ 1665621 w 8079933"/>
              <a:gd name="connsiteY11523" fmla="*/ 2368851 h 4687251"/>
              <a:gd name="connsiteX11524" fmla="*/ 1667791 w 8079933"/>
              <a:gd name="connsiteY11524" fmla="*/ 2376538 h 4687251"/>
              <a:gd name="connsiteX11525" fmla="*/ 1664428 w 8079933"/>
              <a:gd name="connsiteY11525" fmla="*/ 2368310 h 4687251"/>
              <a:gd name="connsiteX11526" fmla="*/ 1664428 w 8079933"/>
              <a:gd name="connsiteY11526" fmla="*/ 2357483 h 4687251"/>
              <a:gd name="connsiteX11527" fmla="*/ 6014101 w 8079933"/>
              <a:gd name="connsiteY11527" fmla="*/ 2346006 h 4687251"/>
              <a:gd name="connsiteX11528" fmla="*/ 6014101 w 8079933"/>
              <a:gd name="connsiteY11528" fmla="*/ 2346007 h 4687251"/>
              <a:gd name="connsiteX11529" fmla="*/ 6018550 w 8079933"/>
              <a:gd name="connsiteY11529" fmla="*/ 2355318 h 4687251"/>
              <a:gd name="connsiteX11530" fmla="*/ 6018550 w 8079933"/>
              <a:gd name="connsiteY11530" fmla="*/ 2355317 h 4687251"/>
              <a:gd name="connsiteX11531" fmla="*/ 5582476 w 8079933"/>
              <a:gd name="connsiteY11531" fmla="*/ 2345681 h 4687251"/>
              <a:gd name="connsiteX11532" fmla="*/ 5579275 w 8079933"/>
              <a:gd name="connsiteY11532" fmla="*/ 2350228 h 4687251"/>
              <a:gd name="connsiteX11533" fmla="*/ 5578081 w 8079933"/>
              <a:gd name="connsiteY11533" fmla="*/ 2350625 h 4687251"/>
              <a:gd name="connsiteX11534" fmla="*/ 5579275 w 8079933"/>
              <a:gd name="connsiteY11534" fmla="*/ 2350228 h 4687251"/>
              <a:gd name="connsiteX11535" fmla="*/ 6200918 w 8079933"/>
              <a:gd name="connsiteY11535" fmla="*/ 2344685 h 4687251"/>
              <a:gd name="connsiteX11536" fmla="*/ 6200098 w 8079933"/>
              <a:gd name="connsiteY11536" fmla="*/ 2346655 h 4687251"/>
              <a:gd name="connsiteX11537" fmla="*/ 6194347 w 8079933"/>
              <a:gd name="connsiteY11537" fmla="*/ 2353693 h 4687251"/>
              <a:gd name="connsiteX11538" fmla="*/ 6189030 w 8079933"/>
              <a:gd name="connsiteY11538" fmla="*/ 2355533 h 4687251"/>
              <a:gd name="connsiteX11539" fmla="*/ 6181108 w 8079933"/>
              <a:gd name="connsiteY11539" fmla="*/ 2367984 h 4687251"/>
              <a:gd name="connsiteX11540" fmla="*/ 6180749 w 8079933"/>
              <a:gd name="connsiteY11540" fmla="*/ 2369676 h 4687251"/>
              <a:gd name="connsiteX11541" fmla="*/ 6181108 w 8079933"/>
              <a:gd name="connsiteY11541" fmla="*/ 2367986 h 4687251"/>
              <a:gd name="connsiteX11542" fmla="*/ 6189030 w 8079933"/>
              <a:gd name="connsiteY11542" fmla="*/ 2355534 h 4687251"/>
              <a:gd name="connsiteX11543" fmla="*/ 6194347 w 8079933"/>
              <a:gd name="connsiteY11543" fmla="*/ 2353694 h 4687251"/>
              <a:gd name="connsiteX11544" fmla="*/ 6200098 w 8079933"/>
              <a:gd name="connsiteY11544" fmla="*/ 2346656 h 4687251"/>
              <a:gd name="connsiteX11545" fmla="*/ 6032476 w 8079933"/>
              <a:gd name="connsiteY11545" fmla="*/ 2344622 h 4687251"/>
              <a:gd name="connsiteX11546" fmla="*/ 6032441 w 8079933"/>
              <a:gd name="connsiteY11546" fmla="*/ 2344923 h 4687251"/>
              <a:gd name="connsiteX11547" fmla="*/ 6030704 w 8079933"/>
              <a:gd name="connsiteY11547" fmla="*/ 2348821 h 4687251"/>
              <a:gd name="connsiteX11548" fmla="*/ 6030704 w 8079933"/>
              <a:gd name="connsiteY11548" fmla="*/ 2348821 h 4687251"/>
              <a:gd name="connsiteX11549" fmla="*/ 6032441 w 8079933"/>
              <a:gd name="connsiteY11549" fmla="*/ 2344923 h 4687251"/>
              <a:gd name="connsiteX11550" fmla="*/ 3576491 w 8079933"/>
              <a:gd name="connsiteY11550" fmla="*/ 2343949 h 4687251"/>
              <a:gd name="connsiteX11551" fmla="*/ 3580940 w 8079933"/>
              <a:gd name="connsiteY11551" fmla="*/ 2343949 h 4687251"/>
              <a:gd name="connsiteX11552" fmla="*/ 3584955 w 8079933"/>
              <a:gd name="connsiteY11552" fmla="*/ 2345140 h 4687251"/>
              <a:gd name="connsiteX11553" fmla="*/ 3585823 w 8079933"/>
              <a:gd name="connsiteY11553" fmla="*/ 2350661 h 4687251"/>
              <a:gd name="connsiteX11554" fmla="*/ 3583002 w 8079933"/>
              <a:gd name="connsiteY11554" fmla="*/ 2351744 h 4687251"/>
              <a:gd name="connsiteX11555" fmla="*/ 3578878 w 8079933"/>
              <a:gd name="connsiteY11555" fmla="*/ 2354451 h 4687251"/>
              <a:gd name="connsiteX11556" fmla="*/ 3574430 w 8079933"/>
              <a:gd name="connsiteY11556" fmla="*/ 2350878 h 4687251"/>
              <a:gd name="connsiteX11557" fmla="*/ 3540898 w 8079933"/>
              <a:gd name="connsiteY11557" fmla="*/ 2343842 h 4687251"/>
              <a:gd name="connsiteX11558" fmla="*/ 3542851 w 8079933"/>
              <a:gd name="connsiteY11558" fmla="*/ 2343842 h 4687251"/>
              <a:gd name="connsiteX11559" fmla="*/ 3543502 w 8079933"/>
              <a:gd name="connsiteY11559" fmla="*/ 2345899 h 4687251"/>
              <a:gd name="connsiteX11560" fmla="*/ 3542526 w 8079933"/>
              <a:gd name="connsiteY11560" fmla="*/ 2347307 h 4687251"/>
              <a:gd name="connsiteX11561" fmla="*/ 3540898 w 8079933"/>
              <a:gd name="connsiteY11561" fmla="*/ 2345791 h 4687251"/>
              <a:gd name="connsiteX11562" fmla="*/ 5607183 w 8079933"/>
              <a:gd name="connsiteY11562" fmla="*/ 2338358 h 4687251"/>
              <a:gd name="connsiteX11563" fmla="*/ 5603908 w 8079933"/>
              <a:gd name="connsiteY11563" fmla="*/ 2340051 h 4687251"/>
              <a:gd name="connsiteX11564" fmla="*/ 5602751 w 8079933"/>
              <a:gd name="connsiteY11564" fmla="*/ 2339834 h 4687251"/>
              <a:gd name="connsiteX11565" fmla="*/ 5603908 w 8079933"/>
              <a:gd name="connsiteY11565" fmla="*/ 2340051 h 4687251"/>
              <a:gd name="connsiteX11566" fmla="*/ 3563252 w 8079933"/>
              <a:gd name="connsiteY11566" fmla="*/ 2335721 h 4687251"/>
              <a:gd name="connsiteX11567" fmla="*/ 3568026 w 8079933"/>
              <a:gd name="connsiteY11567" fmla="*/ 2336696 h 4687251"/>
              <a:gd name="connsiteX11568" fmla="*/ 3566832 w 8079933"/>
              <a:gd name="connsiteY11568" fmla="*/ 2343084 h 4687251"/>
              <a:gd name="connsiteX11569" fmla="*/ 3561841 w 8079933"/>
              <a:gd name="connsiteY11569" fmla="*/ 2342975 h 4687251"/>
              <a:gd name="connsiteX11570" fmla="*/ 3554245 w 8079933"/>
              <a:gd name="connsiteY11570" fmla="*/ 2348497 h 4687251"/>
              <a:gd name="connsiteX11571" fmla="*/ 3550447 w 8079933"/>
              <a:gd name="connsiteY11571" fmla="*/ 2346007 h 4687251"/>
              <a:gd name="connsiteX11572" fmla="*/ 3547843 w 8079933"/>
              <a:gd name="connsiteY11572" fmla="*/ 2342109 h 4687251"/>
              <a:gd name="connsiteX11573" fmla="*/ 3551641 w 8079933"/>
              <a:gd name="connsiteY11573" fmla="*/ 2339186 h 4687251"/>
              <a:gd name="connsiteX11574" fmla="*/ 3555981 w 8079933"/>
              <a:gd name="connsiteY11574" fmla="*/ 2339511 h 4687251"/>
              <a:gd name="connsiteX11575" fmla="*/ 3561299 w 8079933"/>
              <a:gd name="connsiteY11575" fmla="*/ 2337453 h 4687251"/>
              <a:gd name="connsiteX11576" fmla="*/ 1673217 w 8079933"/>
              <a:gd name="connsiteY11576" fmla="*/ 2334963 h 4687251"/>
              <a:gd name="connsiteX11577" fmla="*/ 1673434 w 8079933"/>
              <a:gd name="connsiteY11577" fmla="*/ 2337345 h 4687251"/>
              <a:gd name="connsiteX11578" fmla="*/ 1671155 w 8079933"/>
              <a:gd name="connsiteY11578" fmla="*/ 2343192 h 4687251"/>
              <a:gd name="connsiteX11579" fmla="*/ 1669528 w 8079933"/>
              <a:gd name="connsiteY11579" fmla="*/ 2344275 h 4687251"/>
              <a:gd name="connsiteX11580" fmla="*/ 6096465 w 8079933"/>
              <a:gd name="connsiteY11580" fmla="*/ 2334637 h 4687251"/>
              <a:gd name="connsiteX11581" fmla="*/ 6096465 w 8079933"/>
              <a:gd name="connsiteY11581" fmla="*/ 2334638 h 4687251"/>
              <a:gd name="connsiteX11582" fmla="*/ 6097225 w 8079933"/>
              <a:gd name="connsiteY11582" fmla="*/ 2339401 h 4687251"/>
              <a:gd name="connsiteX11583" fmla="*/ 6104604 w 8079933"/>
              <a:gd name="connsiteY11583" fmla="*/ 2342650 h 4687251"/>
              <a:gd name="connsiteX11584" fmla="*/ 6104604 w 8079933"/>
              <a:gd name="connsiteY11584" fmla="*/ 2342649 h 4687251"/>
              <a:gd name="connsiteX11585" fmla="*/ 6097225 w 8079933"/>
              <a:gd name="connsiteY11585" fmla="*/ 2339401 h 4687251"/>
              <a:gd name="connsiteX11586" fmla="*/ 6255045 w 8079933"/>
              <a:gd name="connsiteY11586" fmla="*/ 2334459 h 4687251"/>
              <a:gd name="connsiteX11587" fmla="*/ 6255225 w 8079933"/>
              <a:gd name="connsiteY11587" fmla="*/ 2335396 h 4687251"/>
              <a:gd name="connsiteX11588" fmla="*/ 6259348 w 8079933"/>
              <a:gd name="connsiteY11588" fmla="*/ 2335288 h 4687251"/>
              <a:gd name="connsiteX11589" fmla="*/ 6263689 w 8079933"/>
              <a:gd name="connsiteY11589" fmla="*/ 2340052 h 4687251"/>
              <a:gd name="connsiteX11590" fmla="*/ 6263689 w 8079933"/>
              <a:gd name="connsiteY11590" fmla="*/ 2340051 h 4687251"/>
              <a:gd name="connsiteX11591" fmla="*/ 6259348 w 8079933"/>
              <a:gd name="connsiteY11591" fmla="*/ 2335287 h 4687251"/>
              <a:gd name="connsiteX11592" fmla="*/ 6255225 w 8079933"/>
              <a:gd name="connsiteY11592" fmla="*/ 2335395 h 4687251"/>
              <a:gd name="connsiteX11593" fmla="*/ 6216919 w 8079933"/>
              <a:gd name="connsiteY11593" fmla="*/ 2333662 h 4687251"/>
              <a:gd name="connsiteX11594" fmla="*/ 6210191 w 8079933"/>
              <a:gd name="connsiteY11594" fmla="*/ 2338535 h 4687251"/>
              <a:gd name="connsiteX11595" fmla="*/ 6202486 w 8079933"/>
              <a:gd name="connsiteY11595" fmla="*/ 2340917 h 4687251"/>
              <a:gd name="connsiteX11596" fmla="*/ 6202486 w 8079933"/>
              <a:gd name="connsiteY11596" fmla="*/ 2340917 h 4687251"/>
              <a:gd name="connsiteX11597" fmla="*/ 6210191 w 8079933"/>
              <a:gd name="connsiteY11597" fmla="*/ 2338536 h 4687251"/>
              <a:gd name="connsiteX11598" fmla="*/ 6216919 w 8079933"/>
              <a:gd name="connsiteY11598" fmla="*/ 2333664 h 4687251"/>
              <a:gd name="connsiteX11599" fmla="*/ 6220934 w 8079933"/>
              <a:gd name="connsiteY11599" fmla="*/ 2337020 h 4687251"/>
              <a:gd name="connsiteX11600" fmla="*/ 6225600 w 8079933"/>
              <a:gd name="connsiteY11600" fmla="*/ 2339077 h 4687251"/>
              <a:gd name="connsiteX11601" fmla="*/ 6225600 w 8079933"/>
              <a:gd name="connsiteY11601" fmla="*/ 2339076 h 4687251"/>
              <a:gd name="connsiteX11602" fmla="*/ 6220934 w 8079933"/>
              <a:gd name="connsiteY11602" fmla="*/ 2337019 h 4687251"/>
              <a:gd name="connsiteX11603" fmla="*/ 5594250 w 8079933"/>
              <a:gd name="connsiteY11603" fmla="*/ 2332472 h 4687251"/>
              <a:gd name="connsiteX11604" fmla="*/ 5592160 w 8079933"/>
              <a:gd name="connsiteY11604" fmla="*/ 2333982 h 4687251"/>
              <a:gd name="connsiteX11605" fmla="*/ 5594251 w 8079933"/>
              <a:gd name="connsiteY11605" fmla="*/ 2332472 h 4687251"/>
              <a:gd name="connsiteX11606" fmla="*/ 3619896 w 8079933"/>
              <a:gd name="connsiteY11606" fmla="*/ 2332257 h 4687251"/>
              <a:gd name="connsiteX11607" fmla="*/ 3620222 w 8079933"/>
              <a:gd name="connsiteY11607" fmla="*/ 2337995 h 4687251"/>
              <a:gd name="connsiteX11608" fmla="*/ 3615122 w 8079933"/>
              <a:gd name="connsiteY11608" fmla="*/ 2345141 h 4687251"/>
              <a:gd name="connsiteX11609" fmla="*/ 3610022 w 8079933"/>
              <a:gd name="connsiteY11609" fmla="*/ 2346549 h 4687251"/>
              <a:gd name="connsiteX11610" fmla="*/ 3606984 w 8079933"/>
              <a:gd name="connsiteY11610" fmla="*/ 2345682 h 4687251"/>
              <a:gd name="connsiteX11611" fmla="*/ 3612192 w 8079933"/>
              <a:gd name="connsiteY11611" fmla="*/ 2339294 h 4687251"/>
              <a:gd name="connsiteX11612" fmla="*/ 3612518 w 8079933"/>
              <a:gd name="connsiteY11612" fmla="*/ 2336046 h 4687251"/>
              <a:gd name="connsiteX11613" fmla="*/ 6966118 w 8079933"/>
              <a:gd name="connsiteY11613" fmla="*/ 2330524 h 4687251"/>
              <a:gd name="connsiteX11614" fmla="*/ 6968180 w 8079933"/>
              <a:gd name="connsiteY11614" fmla="*/ 2335396 h 4687251"/>
              <a:gd name="connsiteX11615" fmla="*/ 6965900 w 8079933"/>
              <a:gd name="connsiteY11615" fmla="*/ 2338320 h 4687251"/>
              <a:gd name="connsiteX11616" fmla="*/ 6965791 w 8079933"/>
              <a:gd name="connsiteY11616" fmla="*/ 2342434 h 4687251"/>
              <a:gd name="connsiteX11617" fmla="*/ 6959932 w 8079933"/>
              <a:gd name="connsiteY11617" fmla="*/ 2346006 h 4687251"/>
              <a:gd name="connsiteX11618" fmla="*/ 6959715 w 8079933"/>
              <a:gd name="connsiteY11618" fmla="*/ 2350338 h 4687251"/>
              <a:gd name="connsiteX11619" fmla="*/ 6957328 w 8079933"/>
              <a:gd name="connsiteY11619" fmla="*/ 2351204 h 4687251"/>
              <a:gd name="connsiteX11620" fmla="*/ 6955483 w 8079933"/>
              <a:gd name="connsiteY11620" fmla="*/ 2344816 h 4687251"/>
              <a:gd name="connsiteX11621" fmla="*/ 6959932 w 8079933"/>
              <a:gd name="connsiteY11621" fmla="*/ 2341676 h 4687251"/>
              <a:gd name="connsiteX11622" fmla="*/ 6960583 w 8079933"/>
              <a:gd name="connsiteY11622" fmla="*/ 2339510 h 4687251"/>
              <a:gd name="connsiteX11623" fmla="*/ 6959607 w 8079933"/>
              <a:gd name="connsiteY11623" fmla="*/ 2337778 h 4687251"/>
              <a:gd name="connsiteX11624" fmla="*/ 6963730 w 8079933"/>
              <a:gd name="connsiteY11624" fmla="*/ 2335396 h 4687251"/>
              <a:gd name="connsiteX11625" fmla="*/ 6098092 w 8079933"/>
              <a:gd name="connsiteY11625" fmla="*/ 2328791 h 4687251"/>
              <a:gd name="connsiteX11626" fmla="*/ 6097008 w 8079933"/>
              <a:gd name="connsiteY11626" fmla="*/ 2328899 h 4687251"/>
              <a:gd name="connsiteX11627" fmla="*/ 6097008 w 8079933"/>
              <a:gd name="connsiteY11627" fmla="*/ 2328899 h 4687251"/>
              <a:gd name="connsiteX11628" fmla="*/ 6098093 w 8079933"/>
              <a:gd name="connsiteY11628" fmla="*/ 2328791 h 4687251"/>
              <a:gd name="connsiteX11629" fmla="*/ 6098093 w 8079933"/>
              <a:gd name="connsiteY11629" fmla="*/ 2328791 h 4687251"/>
              <a:gd name="connsiteX11630" fmla="*/ 6043075 w 8079933"/>
              <a:gd name="connsiteY11630" fmla="*/ 2326626 h 4687251"/>
              <a:gd name="connsiteX11631" fmla="*/ 6037757 w 8079933"/>
              <a:gd name="connsiteY11631" fmla="*/ 2337128 h 4687251"/>
              <a:gd name="connsiteX11632" fmla="*/ 6035562 w 8079933"/>
              <a:gd name="connsiteY11632" fmla="*/ 2338198 h 4687251"/>
              <a:gd name="connsiteX11633" fmla="*/ 6037758 w 8079933"/>
              <a:gd name="connsiteY11633" fmla="*/ 2337128 h 4687251"/>
              <a:gd name="connsiteX11634" fmla="*/ 3529612 w 8079933"/>
              <a:gd name="connsiteY11634" fmla="*/ 2325328 h 4687251"/>
              <a:gd name="connsiteX11635" fmla="*/ 3532868 w 8079933"/>
              <a:gd name="connsiteY11635" fmla="*/ 2327277 h 4687251"/>
              <a:gd name="connsiteX11636" fmla="*/ 3532325 w 8079933"/>
              <a:gd name="connsiteY11636" fmla="*/ 2334205 h 4687251"/>
              <a:gd name="connsiteX11637" fmla="*/ 3529612 w 8079933"/>
              <a:gd name="connsiteY11637" fmla="*/ 2336046 h 4687251"/>
              <a:gd name="connsiteX11638" fmla="*/ 3529612 w 8079933"/>
              <a:gd name="connsiteY11638" fmla="*/ 2330741 h 4687251"/>
              <a:gd name="connsiteX11639" fmla="*/ 3528093 w 8079933"/>
              <a:gd name="connsiteY11639" fmla="*/ 2328034 h 4687251"/>
              <a:gd name="connsiteX11640" fmla="*/ 3529612 w 8079933"/>
              <a:gd name="connsiteY11640" fmla="*/ 2325328 h 4687251"/>
              <a:gd name="connsiteX11641" fmla="*/ 3755355 w 8079933"/>
              <a:gd name="connsiteY11641" fmla="*/ 2325027 h 4687251"/>
              <a:gd name="connsiteX11642" fmla="*/ 3751854 w 8079933"/>
              <a:gd name="connsiteY11642" fmla="*/ 2329658 h 4687251"/>
              <a:gd name="connsiteX11643" fmla="*/ 3740785 w 8079933"/>
              <a:gd name="connsiteY11643" fmla="*/ 2337453 h 4687251"/>
              <a:gd name="connsiteX11644" fmla="*/ 3740459 w 8079933"/>
              <a:gd name="connsiteY11644" fmla="*/ 2357808 h 4687251"/>
              <a:gd name="connsiteX11645" fmla="*/ 3740427 w 8079933"/>
              <a:gd name="connsiteY11645" fmla="*/ 2357841 h 4687251"/>
              <a:gd name="connsiteX11646" fmla="*/ 3740460 w 8079933"/>
              <a:gd name="connsiteY11646" fmla="*/ 2357808 h 4687251"/>
              <a:gd name="connsiteX11647" fmla="*/ 3740785 w 8079933"/>
              <a:gd name="connsiteY11647" fmla="*/ 2337453 h 4687251"/>
              <a:gd name="connsiteX11648" fmla="*/ 3751854 w 8079933"/>
              <a:gd name="connsiteY11648" fmla="*/ 2329658 h 4687251"/>
              <a:gd name="connsiteX11649" fmla="*/ 6084212 w 8079933"/>
              <a:gd name="connsiteY11649" fmla="*/ 2324677 h 4687251"/>
              <a:gd name="connsiteX11650" fmla="*/ 6080838 w 8079933"/>
              <a:gd name="connsiteY11650" fmla="*/ 2325976 h 4687251"/>
              <a:gd name="connsiteX11651" fmla="*/ 6080839 w 8079933"/>
              <a:gd name="connsiteY11651" fmla="*/ 2325976 h 4687251"/>
              <a:gd name="connsiteX11652" fmla="*/ 6228964 w 8079933"/>
              <a:gd name="connsiteY11652" fmla="*/ 2324460 h 4687251"/>
              <a:gd name="connsiteX11653" fmla="*/ 6224407 w 8079933"/>
              <a:gd name="connsiteY11653" fmla="*/ 2328790 h 4687251"/>
              <a:gd name="connsiteX11654" fmla="*/ 6224407 w 8079933"/>
              <a:gd name="connsiteY11654" fmla="*/ 2328791 h 4687251"/>
              <a:gd name="connsiteX11655" fmla="*/ 6228964 w 8079933"/>
              <a:gd name="connsiteY11655" fmla="*/ 2324460 h 4687251"/>
              <a:gd name="connsiteX11656" fmla="*/ 1685371 w 8079933"/>
              <a:gd name="connsiteY11656" fmla="*/ 2319806 h 4687251"/>
              <a:gd name="connsiteX11657" fmla="*/ 1682007 w 8079933"/>
              <a:gd name="connsiteY11657" fmla="*/ 2324353 h 4687251"/>
              <a:gd name="connsiteX11658" fmla="*/ 1676907 w 8079933"/>
              <a:gd name="connsiteY11658" fmla="*/ 2330524 h 4687251"/>
              <a:gd name="connsiteX11659" fmla="*/ 1674954 w 8079933"/>
              <a:gd name="connsiteY11659" fmla="*/ 2331932 h 4687251"/>
              <a:gd name="connsiteX11660" fmla="*/ 1680488 w 8079933"/>
              <a:gd name="connsiteY11660" fmla="*/ 2323379 h 4687251"/>
              <a:gd name="connsiteX11661" fmla="*/ 4165411 w 8079933"/>
              <a:gd name="connsiteY11661" fmla="*/ 2319804 h 4687251"/>
              <a:gd name="connsiteX11662" fmla="*/ 4165411 w 8079933"/>
              <a:gd name="connsiteY11662" fmla="*/ 2319805 h 4687251"/>
              <a:gd name="connsiteX11663" fmla="*/ 4165438 w 8079933"/>
              <a:gd name="connsiteY11663" fmla="*/ 2320163 h 4687251"/>
              <a:gd name="connsiteX11664" fmla="*/ 3627494 w 8079933"/>
              <a:gd name="connsiteY11664" fmla="*/ 2319697 h 4687251"/>
              <a:gd name="connsiteX11665" fmla="*/ 3631401 w 8079933"/>
              <a:gd name="connsiteY11665" fmla="*/ 2322512 h 4687251"/>
              <a:gd name="connsiteX11666" fmla="*/ 3626626 w 8079933"/>
              <a:gd name="connsiteY11666" fmla="*/ 2323162 h 4687251"/>
              <a:gd name="connsiteX11667" fmla="*/ 3621417 w 8079933"/>
              <a:gd name="connsiteY11667" fmla="*/ 2326085 h 4687251"/>
              <a:gd name="connsiteX11668" fmla="*/ 3623695 w 8079933"/>
              <a:gd name="connsiteY11668" fmla="*/ 2319913 h 4687251"/>
              <a:gd name="connsiteX11669" fmla="*/ 6062390 w 8079933"/>
              <a:gd name="connsiteY11669" fmla="*/ 2318722 h 4687251"/>
              <a:gd name="connsiteX11670" fmla="*/ 6060818 w 8079933"/>
              <a:gd name="connsiteY11670" fmla="*/ 2318946 h 4687251"/>
              <a:gd name="connsiteX11671" fmla="*/ 6062390 w 8079933"/>
              <a:gd name="connsiteY11671" fmla="*/ 2318722 h 4687251"/>
              <a:gd name="connsiteX11672" fmla="*/ 6229721 w 8079933"/>
              <a:gd name="connsiteY11672" fmla="*/ 2318592 h 4687251"/>
              <a:gd name="connsiteX11673" fmla="*/ 6227445 w 8079933"/>
              <a:gd name="connsiteY11673" fmla="*/ 2319696 h 4687251"/>
              <a:gd name="connsiteX11674" fmla="*/ 6227445 w 8079933"/>
              <a:gd name="connsiteY11674" fmla="*/ 2319696 h 4687251"/>
              <a:gd name="connsiteX11675" fmla="*/ 6231460 w 8079933"/>
              <a:gd name="connsiteY11675" fmla="*/ 2317748 h 4687251"/>
              <a:gd name="connsiteX11676" fmla="*/ 6231459 w 8079933"/>
              <a:gd name="connsiteY11676" fmla="*/ 2317748 h 4687251"/>
              <a:gd name="connsiteX11677" fmla="*/ 6236994 w 8079933"/>
              <a:gd name="connsiteY11677" fmla="*/ 2320130 h 4687251"/>
              <a:gd name="connsiteX11678" fmla="*/ 6240575 w 8079933"/>
              <a:gd name="connsiteY11678" fmla="*/ 2318073 h 4687251"/>
              <a:gd name="connsiteX11679" fmla="*/ 6246109 w 8079933"/>
              <a:gd name="connsiteY11679" fmla="*/ 2318289 h 4687251"/>
              <a:gd name="connsiteX11680" fmla="*/ 6246109 w 8079933"/>
              <a:gd name="connsiteY11680" fmla="*/ 2318289 h 4687251"/>
              <a:gd name="connsiteX11681" fmla="*/ 6240575 w 8079933"/>
              <a:gd name="connsiteY11681" fmla="*/ 2318072 h 4687251"/>
              <a:gd name="connsiteX11682" fmla="*/ 6236994 w 8079933"/>
              <a:gd name="connsiteY11682" fmla="*/ 2320129 h 4687251"/>
              <a:gd name="connsiteX11683" fmla="*/ 6120012 w 8079933"/>
              <a:gd name="connsiteY11683" fmla="*/ 2317748 h 4687251"/>
              <a:gd name="connsiteX11684" fmla="*/ 6116432 w 8079933"/>
              <a:gd name="connsiteY11684" fmla="*/ 2320346 h 4687251"/>
              <a:gd name="connsiteX11685" fmla="*/ 6114044 w 8079933"/>
              <a:gd name="connsiteY11685" fmla="*/ 2326192 h 4687251"/>
              <a:gd name="connsiteX11686" fmla="*/ 6114045 w 8079933"/>
              <a:gd name="connsiteY11686" fmla="*/ 2326192 h 4687251"/>
              <a:gd name="connsiteX11687" fmla="*/ 6116433 w 8079933"/>
              <a:gd name="connsiteY11687" fmla="*/ 2320345 h 4687251"/>
              <a:gd name="connsiteX11688" fmla="*/ 5045707 w 8079933"/>
              <a:gd name="connsiteY11688" fmla="*/ 2317236 h 4687251"/>
              <a:gd name="connsiteX11689" fmla="*/ 5054053 w 8079933"/>
              <a:gd name="connsiteY11689" fmla="*/ 2319805 h 4687251"/>
              <a:gd name="connsiteX11690" fmla="*/ 5055464 w 8079933"/>
              <a:gd name="connsiteY11690" fmla="*/ 2328575 h 4687251"/>
              <a:gd name="connsiteX11691" fmla="*/ 5055465 w 8079933"/>
              <a:gd name="connsiteY11691" fmla="*/ 2328574 h 4687251"/>
              <a:gd name="connsiteX11692" fmla="*/ 5054054 w 8079933"/>
              <a:gd name="connsiteY11692" fmla="*/ 2319805 h 4687251"/>
              <a:gd name="connsiteX11693" fmla="*/ 3771496 w 8079933"/>
              <a:gd name="connsiteY11693" fmla="*/ 2317079 h 4687251"/>
              <a:gd name="connsiteX11694" fmla="*/ 3763465 w 8079933"/>
              <a:gd name="connsiteY11694" fmla="*/ 2318722 h 4687251"/>
              <a:gd name="connsiteX11695" fmla="*/ 3757824 w 8079933"/>
              <a:gd name="connsiteY11695" fmla="*/ 2322592 h 4687251"/>
              <a:gd name="connsiteX11696" fmla="*/ 3763465 w 8079933"/>
              <a:gd name="connsiteY11696" fmla="*/ 2318723 h 4687251"/>
              <a:gd name="connsiteX11697" fmla="*/ 6123812 w 8079933"/>
              <a:gd name="connsiteY11697" fmla="*/ 2315799 h 4687251"/>
              <a:gd name="connsiteX11698" fmla="*/ 6123811 w 8079933"/>
              <a:gd name="connsiteY11698" fmla="*/ 2315799 h 4687251"/>
              <a:gd name="connsiteX11699" fmla="*/ 6123705 w 8079933"/>
              <a:gd name="connsiteY11699" fmla="*/ 2318886 h 4687251"/>
              <a:gd name="connsiteX11700" fmla="*/ 5962304 w 8079933"/>
              <a:gd name="connsiteY11700" fmla="*/ 2313645 h 4687251"/>
              <a:gd name="connsiteX11701" fmla="*/ 5958648 w 8079933"/>
              <a:gd name="connsiteY11701" fmla="*/ 2317748 h 4687251"/>
              <a:gd name="connsiteX11702" fmla="*/ 5953548 w 8079933"/>
              <a:gd name="connsiteY11702" fmla="*/ 2319264 h 4687251"/>
              <a:gd name="connsiteX11703" fmla="*/ 5950618 w 8079933"/>
              <a:gd name="connsiteY11703" fmla="*/ 2321862 h 4687251"/>
              <a:gd name="connsiteX11704" fmla="*/ 5943890 w 8079933"/>
              <a:gd name="connsiteY11704" fmla="*/ 2318613 h 4687251"/>
              <a:gd name="connsiteX11705" fmla="*/ 5939875 w 8079933"/>
              <a:gd name="connsiteY11705" fmla="*/ 2319480 h 4687251"/>
              <a:gd name="connsiteX11706" fmla="*/ 5937162 w 8079933"/>
              <a:gd name="connsiteY11706" fmla="*/ 2313958 h 4687251"/>
              <a:gd name="connsiteX11707" fmla="*/ 5937162 w 8079933"/>
              <a:gd name="connsiteY11707" fmla="*/ 2313959 h 4687251"/>
              <a:gd name="connsiteX11708" fmla="*/ 5939875 w 8079933"/>
              <a:gd name="connsiteY11708" fmla="*/ 2319481 h 4687251"/>
              <a:gd name="connsiteX11709" fmla="*/ 5943890 w 8079933"/>
              <a:gd name="connsiteY11709" fmla="*/ 2318614 h 4687251"/>
              <a:gd name="connsiteX11710" fmla="*/ 5950618 w 8079933"/>
              <a:gd name="connsiteY11710" fmla="*/ 2321862 h 4687251"/>
              <a:gd name="connsiteX11711" fmla="*/ 5953548 w 8079933"/>
              <a:gd name="connsiteY11711" fmla="*/ 2319264 h 4687251"/>
              <a:gd name="connsiteX11712" fmla="*/ 5958648 w 8079933"/>
              <a:gd name="connsiteY11712" fmla="*/ 2317748 h 4687251"/>
              <a:gd name="connsiteX11713" fmla="*/ 5962990 w 8079933"/>
              <a:gd name="connsiteY11713" fmla="*/ 2312875 h 4687251"/>
              <a:gd name="connsiteX11714" fmla="*/ 5962989 w 8079933"/>
              <a:gd name="connsiteY11714" fmla="*/ 2312876 h 4687251"/>
              <a:gd name="connsiteX11715" fmla="*/ 5971996 w 8079933"/>
              <a:gd name="connsiteY11715" fmla="*/ 2313959 h 4687251"/>
              <a:gd name="connsiteX11716" fmla="*/ 5977747 w 8079933"/>
              <a:gd name="connsiteY11716" fmla="*/ 2316882 h 4687251"/>
              <a:gd name="connsiteX11717" fmla="*/ 5979158 w 8079933"/>
              <a:gd name="connsiteY11717" fmla="*/ 2322512 h 4687251"/>
              <a:gd name="connsiteX11718" fmla="*/ 5986212 w 8079933"/>
              <a:gd name="connsiteY11718" fmla="*/ 2325327 h 4687251"/>
              <a:gd name="connsiteX11719" fmla="*/ 5991095 w 8079933"/>
              <a:gd name="connsiteY11719" fmla="*/ 2331823 h 4687251"/>
              <a:gd name="connsiteX11720" fmla="*/ 5995218 w 8079933"/>
              <a:gd name="connsiteY11720" fmla="*/ 2332906 h 4687251"/>
              <a:gd name="connsiteX11721" fmla="*/ 6001187 w 8079933"/>
              <a:gd name="connsiteY11721" fmla="*/ 2330307 h 4687251"/>
              <a:gd name="connsiteX11722" fmla="*/ 6003683 w 8079933"/>
              <a:gd name="connsiteY11722" fmla="*/ 2331282 h 4687251"/>
              <a:gd name="connsiteX11723" fmla="*/ 6010194 w 8079933"/>
              <a:gd name="connsiteY11723" fmla="*/ 2329225 h 4687251"/>
              <a:gd name="connsiteX11724" fmla="*/ 6014534 w 8079933"/>
              <a:gd name="connsiteY11724" fmla="*/ 2329550 h 4687251"/>
              <a:gd name="connsiteX11725" fmla="*/ 6016163 w 8079933"/>
              <a:gd name="connsiteY11725" fmla="*/ 2334638 h 4687251"/>
              <a:gd name="connsiteX11726" fmla="*/ 6016163 w 8079933"/>
              <a:gd name="connsiteY11726" fmla="*/ 2334637 h 4687251"/>
              <a:gd name="connsiteX11727" fmla="*/ 6014535 w 8079933"/>
              <a:gd name="connsiteY11727" fmla="*/ 2329549 h 4687251"/>
              <a:gd name="connsiteX11728" fmla="*/ 6010194 w 8079933"/>
              <a:gd name="connsiteY11728" fmla="*/ 2329225 h 4687251"/>
              <a:gd name="connsiteX11729" fmla="*/ 6003683 w 8079933"/>
              <a:gd name="connsiteY11729" fmla="*/ 2331282 h 4687251"/>
              <a:gd name="connsiteX11730" fmla="*/ 6001187 w 8079933"/>
              <a:gd name="connsiteY11730" fmla="*/ 2330307 h 4687251"/>
              <a:gd name="connsiteX11731" fmla="*/ 5995218 w 8079933"/>
              <a:gd name="connsiteY11731" fmla="*/ 2332905 h 4687251"/>
              <a:gd name="connsiteX11732" fmla="*/ 5991095 w 8079933"/>
              <a:gd name="connsiteY11732" fmla="*/ 2331823 h 4687251"/>
              <a:gd name="connsiteX11733" fmla="*/ 5986212 w 8079933"/>
              <a:gd name="connsiteY11733" fmla="*/ 2325327 h 4687251"/>
              <a:gd name="connsiteX11734" fmla="*/ 5979158 w 8079933"/>
              <a:gd name="connsiteY11734" fmla="*/ 2322511 h 4687251"/>
              <a:gd name="connsiteX11735" fmla="*/ 5977747 w 8079933"/>
              <a:gd name="connsiteY11735" fmla="*/ 2316881 h 4687251"/>
              <a:gd name="connsiteX11736" fmla="*/ 5971996 w 8079933"/>
              <a:gd name="connsiteY11736" fmla="*/ 2313958 h 4687251"/>
              <a:gd name="connsiteX11737" fmla="*/ 6130431 w 8079933"/>
              <a:gd name="connsiteY11737" fmla="*/ 2309518 h 4687251"/>
              <a:gd name="connsiteX11738" fmla="*/ 6130430 w 8079933"/>
              <a:gd name="connsiteY11738" fmla="*/ 2309519 h 4687251"/>
              <a:gd name="connsiteX11739" fmla="*/ 6128980 w 8079933"/>
              <a:gd name="connsiteY11739" fmla="*/ 2313860 h 4687251"/>
              <a:gd name="connsiteX11740" fmla="*/ 6213663 w 8079933"/>
              <a:gd name="connsiteY11740" fmla="*/ 2306162 h 4687251"/>
              <a:gd name="connsiteX11741" fmla="*/ 6211783 w 8079933"/>
              <a:gd name="connsiteY11741" fmla="*/ 2308252 h 4687251"/>
              <a:gd name="connsiteX11742" fmla="*/ 6213663 w 8079933"/>
              <a:gd name="connsiteY11742" fmla="*/ 2306162 h 4687251"/>
              <a:gd name="connsiteX11743" fmla="*/ 3819062 w 8079933"/>
              <a:gd name="connsiteY11743" fmla="*/ 2305116 h 4687251"/>
              <a:gd name="connsiteX11744" fmla="*/ 3806112 w 8079933"/>
              <a:gd name="connsiteY11744" fmla="*/ 2312767 h 4687251"/>
              <a:gd name="connsiteX11745" fmla="*/ 3796671 w 8079933"/>
              <a:gd name="connsiteY11745" fmla="*/ 2314824 h 4687251"/>
              <a:gd name="connsiteX11746" fmla="*/ 3792013 w 8079933"/>
              <a:gd name="connsiteY11746" fmla="*/ 2314935 h 4687251"/>
              <a:gd name="connsiteX11747" fmla="*/ 3796671 w 8079933"/>
              <a:gd name="connsiteY11747" fmla="*/ 2314825 h 4687251"/>
              <a:gd name="connsiteX11748" fmla="*/ 3806112 w 8079933"/>
              <a:gd name="connsiteY11748" fmla="*/ 2312768 h 4687251"/>
              <a:gd name="connsiteX11749" fmla="*/ 6979139 w 8079933"/>
              <a:gd name="connsiteY11749" fmla="*/ 2303023 h 4687251"/>
              <a:gd name="connsiteX11750" fmla="*/ 6982177 w 8079933"/>
              <a:gd name="connsiteY11750" fmla="*/ 2305513 h 4687251"/>
              <a:gd name="connsiteX11751" fmla="*/ 6983045 w 8079933"/>
              <a:gd name="connsiteY11751" fmla="*/ 2309411 h 4687251"/>
              <a:gd name="connsiteX11752" fmla="*/ 6981635 w 8079933"/>
              <a:gd name="connsiteY11752" fmla="*/ 2310386 h 4687251"/>
              <a:gd name="connsiteX11753" fmla="*/ 6978162 w 8079933"/>
              <a:gd name="connsiteY11753" fmla="*/ 2307570 h 4687251"/>
              <a:gd name="connsiteX11754" fmla="*/ 6977946 w 8079933"/>
              <a:gd name="connsiteY11754" fmla="*/ 2304647 h 4687251"/>
              <a:gd name="connsiteX11755" fmla="*/ 4806788 w 8079933"/>
              <a:gd name="connsiteY11755" fmla="*/ 2302500 h 4687251"/>
              <a:gd name="connsiteX11756" fmla="*/ 4803380 w 8079933"/>
              <a:gd name="connsiteY11756" fmla="*/ 2303023 h 4687251"/>
              <a:gd name="connsiteX11757" fmla="*/ 4786126 w 8079933"/>
              <a:gd name="connsiteY11757" fmla="*/ 2319805 h 4687251"/>
              <a:gd name="connsiteX11758" fmla="*/ 4786126 w 8079933"/>
              <a:gd name="connsiteY11758" fmla="*/ 2319805 h 4687251"/>
              <a:gd name="connsiteX11759" fmla="*/ 4803381 w 8079933"/>
              <a:gd name="connsiteY11759" fmla="*/ 2303023 h 4687251"/>
              <a:gd name="connsiteX11760" fmla="*/ 4163995 w 8079933"/>
              <a:gd name="connsiteY11760" fmla="*/ 2301539 h 4687251"/>
              <a:gd name="connsiteX11761" fmla="*/ 4165411 w 8079933"/>
              <a:gd name="connsiteY11761" fmla="*/ 2304214 h 4687251"/>
              <a:gd name="connsiteX11762" fmla="*/ 4165411 w 8079933"/>
              <a:gd name="connsiteY11762" fmla="*/ 2304214 h 4687251"/>
              <a:gd name="connsiteX11763" fmla="*/ 4160094 w 8079933"/>
              <a:gd name="connsiteY11763" fmla="*/ 2296851 h 4687251"/>
              <a:gd name="connsiteX11764" fmla="*/ 4160094 w 8079933"/>
              <a:gd name="connsiteY11764" fmla="*/ 2296852 h 4687251"/>
              <a:gd name="connsiteX11765" fmla="*/ 4162373 w 8079933"/>
              <a:gd name="connsiteY11765" fmla="*/ 2298476 h 4687251"/>
              <a:gd name="connsiteX11766" fmla="*/ 4162373 w 8079933"/>
              <a:gd name="connsiteY11766" fmla="*/ 2298475 h 4687251"/>
              <a:gd name="connsiteX11767" fmla="*/ 5825282 w 8079933"/>
              <a:gd name="connsiteY11767" fmla="*/ 2295118 h 4687251"/>
              <a:gd name="connsiteX11768" fmla="*/ 5820870 w 8079933"/>
              <a:gd name="connsiteY11768" fmla="*/ 2301679 h 4687251"/>
              <a:gd name="connsiteX11769" fmla="*/ 5825282 w 8079933"/>
              <a:gd name="connsiteY11769" fmla="*/ 2295120 h 4687251"/>
              <a:gd name="connsiteX11770" fmla="*/ 5039513 w 8079933"/>
              <a:gd name="connsiteY11770" fmla="*/ 2291331 h 4687251"/>
              <a:gd name="connsiteX11771" fmla="*/ 5039512 w 8079933"/>
              <a:gd name="connsiteY11771" fmla="*/ 2291331 h 4687251"/>
              <a:gd name="connsiteX11772" fmla="*/ 5034303 w 8079933"/>
              <a:gd name="connsiteY11772" fmla="*/ 2303024 h 4687251"/>
              <a:gd name="connsiteX11773" fmla="*/ 5028986 w 8079933"/>
              <a:gd name="connsiteY11773" fmla="*/ 2312984 h 4687251"/>
              <a:gd name="connsiteX11774" fmla="*/ 5028987 w 8079933"/>
              <a:gd name="connsiteY11774" fmla="*/ 2312984 h 4687251"/>
              <a:gd name="connsiteX11775" fmla="*/ 5034304 w 8079933"/>
              <a:gd name="connsiteY11775" fmla="*/ 2303023 h 4687251"/>
              <a:gd name="connsiteX11776" fmla="*/ 5364195 w 8079933"/>
              <a:gd name="connsiteY11776" fmla="*/ 2291113 h 4687251"/>
              <a:gd name="connsiteX11777" fmla="*/ 5364194 w 8079933"/>
              <a:gd name="connsiteY11777" fmla="*/ 2291114 h 4687251"/>
              <a:gd name="connsiteX11778" fmla="*/ 5376565 w 8079933"/>
              <a:gd name="connsiteY11778" fmla="*/ 2307571 h 4687251"/>
              <a:gd name="connsiteX11779" fmla="*/ 5379386 w 8079933"/>
              <a:gd name="connsiteY11779" fmla="*/ 2313093 h 4687251"/>
              <a:gd name="connsiteX11780" fmla="*/ 5385572 w 8079933"/>
              <a:gd name="connsiteY11780" fmla="*/ 2319589 h 4687251"/>
              <a:gd name="connsiteX11781" fmla="*/ 5391649 w 8079933"/>
              <a:gd name="connsiteY11781" fmla="*/ 2322837 h 4687251"/>
              <a:gd name="connsiteX11782" fmla="*/ 5393711 w 8079933"/>
              <a:gd name="connsiteY11782" fmla="*/ 2325327 h 4687251"/>
              <a:gd name="connsiteX11783" fmla="*/ 5401632 w 8079933"/>
              <a:gd name="connsiteY11783" fmla="*/ 2325977 h 4687251"/>
              <a:gd name="connsiteX11784" fmla="*/ 5406082 w 8079933"/>
              <a:gd name="connsiteY11784" fmla="*/ 2327709 h 4687251"/>
              <a:gd name="connsiteX11785" fmla="*/ 5406841 w 8079933"/>
              <a:gd name="connsiteY11785" fmla="*/ 2330308 h 4687251"/>
              <a:gd name="connsiteX11786" fmla="*/ 5413353 w 8079933"/>
              <a:gd name="connsiteY11786" fmla="*/ 2330957 h 4687251"/>
              <a:gd name="connsiteX11787" fmla="*/ 5413569 w 8079933"/>
              <a:gd name="connsiteY11787" fmla="*/ 2339077 h 4687251"/>
              <a:gd name="connsiteX11788" fmla="*/ 5415197 w 8079933"/>
              <a:gd name="connsiteY11788" fmla="*/ 2344491 h 4687251"/>
              <a:gd name="connsiteX11789" fmla="*/ 5415522 w 8079933"/>
              <a:gd name="connsiteY11789" fmla="*/ 2351095 h 4687251"/>
              <a:gd name="connsiteX11790" fmla="*/ 5416825 w 8079933"/>
              <a:gd name="connsiteY11790" fmla="*/ 2355318 h 4687251"/>
              <a:gd name="connsiteX11791" fmla="*/ 5422685 w 8079933"/>
              <a:gd name="connsiteY11791" fmla="*/ 2354993 h 4687251"/>
              <a:gd name="connsiteX11792" fmla="*/ 5428870 w 8079933"/>
              <a:gd name="connsiteY11792" fmla="*/ 2359107 h 4687251"/>
              <a:gd name="connsiteX11793" fmla="*/ 5429521 w 8079933"/>
              <a:gd name="connsiteY11793" fmla="*/ 2368419 h 4687251"/>
              <a:gd name="connsiteX11794" fmla="*/ 5429522 w 8079933"/>
              <a:gd name="connsiteY11794" fmla="*/ 2368418 h 4687251"/>
              <a:gd name="connsiteX11795" fmla="*/ 5428871 w 8079933"/>
              <a:gd name="connsiteY11795" fmla="*/ 2359107 h 4687251"/>
              <a:gd name="connsiteX11796" fmla="*/ 5422685 w 8079933"/>
              <a:gd name="connsiteY11796" fmla="*/ 2354992 h 4687251"/>
              <a:gd name="connsiteX11797" fmla="*/ 5416826 w 8079933"/>
              <a:gd name="connsiteY11797" fmla="*/ 2355317 h 4687251"/>
              <a:gd name="connsiteX11798" fmla="*/ 5415523 w 8079933"/>
              <a:gd name="connsiteY11798" fmla="*/ 2351095 h 4687251"/>
              <a:gd name="connsiteX11799" fmla="*/ 5415198 w 8079933"/>
              <a:gd name="connsiteY11799" fmla="*/ 2344490 h 4687251"/>
              <a:gd name="connsiteX11800" fmla="*/ 5413570 w 8079933"/>
              <a:gd name="connsiteY11800" fmla="*/ 2339077 h 4687251"/>
              <a:gd name="connsiteX11801" fmla="*/ 5413353 w 8079933"/>
              <a:gd name="connsiteY11801" fmla="*/ 2330956 h 4687251"/>
              <a:gd name="connsiteX11802" fmla="*/ 5406842 w 8079933"/>
              <a:gd name="connsiteY11802" fmla="*/ 2330306 h 4687251"/>
              <a:gd name="connsiteX11803" fmla="*/ 5406083 w 8079933"/>
              <a:gd name="connsiteY11803" fmla="*/ 2327708 h 4687251"/>
              <a:gd name="connsiteX11804" fmla="*/ 5401633 w 8079933"/>
              <a:gd name="connsiteY11804" fmla="*/ 2325975 h 4687251"/>
              <a:gd name="connsiteX11805" fmla="*/ 5393711 w 8079933"/>
              <a:gd name="connsiteY11805" fmla="*/ 2325326 h 4687251"/>
              <a:gd name="connsiteX11806" fmla="*/ 5391649 w 8079933"/>
              <a:gd name="connsiteY11806" fmla="*/ 2322836 h 4687251"/>
              <a:gd name="connsiteX11807" fmla="*/ 5385573 w 8079933"/>
              <a:gd name="connsiteY11807" fmla="*/ 2319588 h 4687251"/>
              <a:gd name="connsiteX11808" fmla="*/ 5379387 w 8079933"/>
              <a:gd name="connsiteY11808" fmla="*/ 2313091 h 4687251"/>
              <a:gd name="connsiteX11809" fmla="*/ 5376565 w 8079933"/>
              <a:gd name="connsiteY11809" fmla="*/ 2307569 h 4687251"/>
              <a:gd name="connsiteX11810" fmla="*/ 5364195 w 8079933"/>
              <a:gd name="connsiteY11810" fmla="*/ 2291113 h 4687251"/>
              <a:gd name="connsiteX11811" fmla="*/ 6202218 w 8079933"/>
              <a:gd name="connsiteY11811" fmla="*/ 2290840 h 4687251"/>
              <a:gd name="connsiteX11812" fmla="*/ 6201292 w 8079933"/>
              <a:gd name="connsiteY11812" fmla="*/ 2292628 h 4687251"/>
              <a:gd name="connsiteX11813" fmla="*/ 6201292 w 8079933"/>
              <a:gd name="connsiteY11813" fmla="*/ 2292628 h 4687251"/>
              <a:gd name="connsiteX11814" fmla="*/ 1545276 w 8079933"/>
              <a:gd name="connsiteY11814" fmla="*/ 2290247 h 4687251"/>
              <a:gd name="connsiteX11815" fmla="*/ 1543851 w 8079933"/>
              <a:gd name="connsiteY11815" fmla="*/ 2290654 h 4687251"/>
              <a:gd name="connsiteX11816" fmla="*/ 1545276 w 8079933"/>
              <a:gd name="connsiteY11816" fmla="*/ 2290248 h 4687251"/>
              <a:gd name="connsiteX11817" fmla="*/ 6153328 w 8079933"/>
              <a:gd name="connsiteY11817" fmla="*/ 2289922 h 4687251"/>
              <a:gd name="connsiteX11818" fmla="*/ 6153327 w 8079933"/>
              <a:gd name="connsiteY11818" fmla="*/ 2289922 h 4687251"/>
              <a:gd name="connsiteX11819" fmla="*/ 6153762 w 8079933"/>
              <a:gd name="connsiteY11819" fmla="*/ 2295011 h 4687251"/>
              <a:gd name="connsiteX11820" fmla="*/ 6151445 w 8079933"/>
              <a:gd name="connsiteY11820" fmla="*/ 2297877 h 4687251"/>
              <a:gd name="connsiteX11821" fmla="*/ 6153763 w 8079933"/>
              <a:gd name="connsiteY11821" fmla="*/ 2295010 h 4687251"/>
              <a:gd name="connsiteX11822" fmla="*/ 5654458 w 8079933"/>
              <a:gd name="connsiteY11822" fmla="*/ 2288829 h 4687251"/>
              <a:gd name="connsiteX11823" fmla="*/ 5652524 w 8079933"/>
              <a:gd name="connsiteY11823" fmla="*/ 2291545 h 4687251"/>
              <a:gd name="connsiteX11824" fmla="*/ 5652129 w 8079933"/>
              <a:gd name="connsiteY11824" fmla="*/ 2294380 h 4687251"/>
              <a:gd name="connsiteX11825" fmla="*/ 5652524 w 8079933"/>
              <a:gd name="connsiteY11825" fmla="*/ 2291546 h 4687251"/>
              <a:gd name="connsiteX11826" fmla="*/ 4760407 w 8079933"/>
              <a:gd name="connsiteY11826" fmla="*/ 2286783 h 4687251"/>
              <a:gd name="connsiteX11827" fmla="*/ 4758562 w 8079933"/>
              <a:gd name="connsiteY11827" fmla="*/ 2292737 h 4687251"/>
              <a:gd name="connsiteX11828" fmla="*/ 4758562 w 8079933"/>
              <a:gd name="connsiteY11828" fmla="*/ 2298151 h 4687251"/>
              <a:gd name="connsiteX11829" fmla="*/ 4756283 w 8079933"/>
              <a:gd name="connsiteY11829" fmla="*/ 2300533 h 4687251"/>
              <a:gd name="connsiteX11830" fmla="*/ 4756478 w 8079933"/>
              <a:gd name="connsiteY11830" fmla="*/ 2303351 h 4687251"/>
              <a:gd name="connsiteX11831" fmla="*/ 4756284 w 8079933"/>
              <a:gd name="connsiteY11831" fmla="*/ 2300533 h 4687251"/>
              <a:gd name="connsiteX11832" fmla="*/ 4758563 w 8079933"/>
              <a:gd name="connsiteY11832" fmla="*/ 2298151 h 4687251"/>
              <a:gd name="connsiteX11833" fmla="*/ 4758563 w 8079933"/>
              <a:gd name="connsiteY11833" fmla="*/ 2292738 h 4687251"/>
              <a:gd name="connsiteX11834" fmla="*/ 1519015 w 8079933"/>
              <a:gd name="connsiteY11834" fmla="*/ 2286133 h 4687251"/>
              <a:gd name="connsiteX11835" fmla="*/ 1523898 w 8079933"/>
              <a:gd name="connsiteY11835" fmla="*/ 2288624 h 4687251"/>
              <a:gd name="connsiteX11836" fmla="*/ 1524550 w 8079933"/>
              <a:gd name="connsiteY11836" fmla="*/ 2290248 h 4687251"/>
              <a:gd name="connsiteX11837" fmla="*/ 1528565 w 8079933"/>
              <a:gd name="connsiteY11837" fmla="*/ 2291547 h 4687251"/>
              <a:gd name="connsiteX11838" fmla="*/ 1533339 w 8079933"/>
              <a:gd name="connsiteY11838" fmla="*/ 2294037 h 4687251"/>
              <a:gd name="connsiteX11839" fmla="*/ 1534750 w 8079933"/>
              <a:gd name="connsiteY11839" fmla="*/ 2295661 h 4687251"/>
              <a:gd name="connsiteX11840" fmla="*/ 1536812 w 8079933"/>
              <a:gd name="connsiteY11840" fmla="*/ 2295986 h 4687251"/>
              <a:gd name="connsiteX11841" fmla="*/ 1536812 w 8079933"/>
              <a:gd name="connsiteY11841" fmla="*/ 2295986 h 4687251"/>
              <a:gd name="connsiteX11842" fmla="*/ 1534751 w 8079933"/>
              <a:gd name="connsiteY11842" fmla="*/ 2295661 h 4687251"/>
              <a:gd name="connsiteX11843" fmla="*/ 1533340 w 8079933"/>
              <a:gd name="connsiteY11843" fmla="*/ 2294037 h 4687251"/>
              <a:gd name="connsiteX11844" fmla="*/ 1528565 w 8079933"/>
              <a:gd name="connsiteY11844" fmla="*/ 2291547 h 4687251"/>
              <a:gd name="connsiteX11845" fmla="*/ 1524550 w 8079933"/>
              <a:gd name="connsiteY11845" fmla="*/ 2290247 h 4687251"/>
              <a:gd name="connsiteX11846" fmla="*/ 1523899 w 8079933"/>
              <a:gd name="connsiteY11846" fmla="*/ 2288624 h 4687251"/>
              <a:gd name="connsiteX11847" fmla="*/ 1519016 w 8079933"/>
              <a:gd name="connsiteY11847" fmla="*/ 2286133 h 4687251"/>
              <a:gd name="connsiteX11848" fmla="*/ 6162117 w 8079933"/>
              <a:gd name="connsiteY11848" fmla="*/ 2285375 h 4687251"/>
              <a:gd name="connsiteX11849" fmla="*/ 6161319 w 8079933"/>
              <a:gd name="connsiteY11849" fmla="*/ 2285944 h 4687251"/>
              <a:gd name="connsiteX11850" fmla="*/ 6162117 w 8079933"/>
              <a:gd name="connsiteY11850" fmla="*/ 2285375 h 4687251"/>
              <a:gd name="connsiteX11851" fmla="*/ 5490470 w 8079933"/>
              <a:gd name="connsiteY11851" fmla="*/ 2284256 h 4687251"/>
              <a:gd name="connsiteX11852" fmla="*/ 5489640 w 8079933"/>
              <a:gd name="connsiteY11852" fmla="*/ 2287648 h 4687251"/>
              <a:gd name="connsiteX11853" fmla="*/ 5489641 w 8079933"/>
              <a:gd name="connsiteY11853" fmla="*/ 2287648 h 4687251"/>
              <a:gd name="connsiteX11854" fmla="*/ 4170077 w 8079933"/>
              <a:gd name="connsiteY11854" fmla="*/ 2283209 h 4687251"/>
              <a:gd name="connsiteX11855" fmla="*/ 4166387 w 8079933"/>
              <a:gd name="connsiteY11855" fmla="*/ 2285482 h 4687251"/>
              <a:gd name="connsiteX11856" fmla="*/ 4164977 w 8079933"/>
              <a:gd name="connsiteY11856" fmla="*/ 2286782 h 4687251"/>
              <a:gd name="connsiteX11857" fmla="*/ 4162048 w 8079933"/>
              <a:gd name="connsiteY11857" fmla="*/ 2286782 h 4687251"/>
              <a:gd name="connsiteX11858" fmla="*/ 4162048 w 8079933"/>
              <a:gd name="connsiteY11858" fmla="*/ 2286782 h 4687251"/>
              <a:gd name="connsiteX11859" fmla="*/ 4164977 w 8079933"/>
              <a:gd name="connsiteY11859" fmla="*/ 2286782 h 4687251"/>
              <a:gd name="connsiteX11860" fmla="*/ 4166387 w 8079933"/>
              <a:gd name="connsiteY11860" fmla="*/ 2285483 h 4687251"/>
              <a:gd name="connsiteX11861" fmla="*/ 5826621 w 8079933"/>
              <a:gd name="connsiteY11861" fmla="*/ 2282641 h 4687251"/>
              <a:gd name="connsiteX11862" fmla="*/ 5825282 w 8079933"/>
              <a:gd name="connsiteY11862" fmla="*/ 2287107 h 4687251"/>
              <a:gd name="connsiteX11863" fmla="*/ 5825282 w 8079933"/>
              <a:gd name="connsiteY11863" fmla="*/ 2287108 h 4687251"/>
              <a:gd name="connsiteX11864" fmla="*/ 6997371 w 8079933"/>
              <a:gd name="connsiteY11864" fmla="*/ 2282344 h 4687251"/>
              <a:gd name="connsiteX11865" fmla="*/ 6994658 w 8079933"/>
              <a:gd name="connsiteY11865" fmla="*/ 2286999 h 4687251"/>
              <a:gd name="connsiteX11866" fmla="*/ 6990316 w 8079933"/>
              <a:gd name="connsiteY11866" fmla="*/ 2289923 h 4687251"/>
              <a:gd name="connsiteX11867" fmla="*/ 6990100 w 8079933"/>
              <a:gd name="connsiteY11867" fmla="*/ 2292846 h 4687251"/>
              <a:gd name="connsiteX11868" fmla="*/ 6988906 w 8079933"/>
              <a:gd name="connsiteY11868" fmla="*/ 2294254 h 4687251"/>
              <a:gd name="connsiteX11869" fmla="*/ 6986953 w 8079933"/>
              <a:gd name="connsiteY11869" fmla="*/ 2292629 h 4687251"/>
              <a:gd name="connsiteX11870" fmla="*/ 6983046 w 8079933"/>
              <a:gd name="connsiteY11870" fmla="*/ 2292521 h 4687251"/>
              <a:gd name="connsiteX11871" fmla="*/ 6981744 w 8079933"/>
              <a:gd name="connsiteY11871" fmla="*/ 2291438 h 4687251"/>
              <a:gd name="connsiteX11872" fmla="*/ 6983480 w 8079933"/>
              <a:gd name="connsiteY11872" fmla="*/ 2288082 h 4687251"/>
              <a:gd name="connsiteX11873" fmla="*/ 6987603 w 8079933"/>
              <a:gd name="connsiteY11873" fmla="*/ 2286242 h 4687251"/>
              <a:gd name="connsiteX11874" fmla="*/ 6988906 w 8079933"/>
              <a:gd name="connsiteY11874" fmla="*/ 2285809 h 4687251"/>
              <a:gd name="connsiteX11875" fmla="*/ 6989775 w 8079933"/>
              <a:gd name="connsiteY11875" fmla="*/ 2284401 h 4687251"/>
              <a:gd name="connsiteX11876" fmla="*/ 6992379 w 8079933"/>
              <a:gd name="connsiteY11876" fmla="*/ 2284185 h 4687251"/>
              <a:gd name="connsiteX11877" fmla="*/ 6993898 w 8079933"/>
              <a:gd name="connsiteY11877" fmla="*/ 2283210 h 4687251"/>
              <a:gd name="connsiteX11878" fmla="*/ 1548872 w 8079933"/>
              <a:gd name="connsiteY11878" fmla="*/ 2281671 h 4687251"/>
              <a:gd name="connsiteX11879" fmla="*/ 1547447 w 8079933"/>
              <a:gd name="connsiteY11879" fmla="*/ 2284292 h 4687251"/>
              <a:gd name="connsiteX11880" fmla="*/ 1545385 w 8079933"/>
              <a:gd name="connsiteY11880" fmla="*/ 2286999 h 4687251"/>
              <a:gd name="connsiteX11881" fmla="*/ 1547447 w 8079933"/>
              <a:gd name="connsiteY11881" fmla="*/ 2284293 h 4687251"/>
              <a:gd name="connsiteX11882" fmla="*/ 6194021 w 8079933"/>
              <a:gd name="connsiteY11882" fmla="*/ 2280069 h 4687251"/>
              <a:gd name="connsiteX11883" fmla="*/ 6183712 w 8079933"/>
              <a:gd name="connsiteY11883" fmla="*/ 2286132 h 4687251"/>
              <a:gd name="connsiteX11884" fmla="*/ 6184363 w 8079933"/>
              <a:gd name="connsiteY11884" fmla="*/ 2290355 h 4687251"/>
              <a:gd name="connsiteX11885" fmla="*/ 6183550 w 8079933"/>
              <a:gd name="connsiteY11885" fmla="*/ 2291133 h 4687251"/>
              <a:gd name="connsiteX11886" fmla="*/ 6184364 w 8079933"/>
              <a:gd name="connsiteY11886" fmla="*/ 2290354 h 4687251"/>
              <a:gd name="connsiteX11887" fmla="*/ 6183713 w 8079933"/>
              <a:gd name="connsiteY11887" fmla="*/ 2286132 h 4687251"/>
              <a:gd name="connsiteX11888" fmla="*/ 5488772 w 8079933"/>
              <a:gd name="connsiteY11888" fmla="*/ 2278553 h 4687251"/>
              <a:gd name="connsiteX11889" fmla="*/ 5488772 w 8079933"/>
              <a:gd name="connsiteY11889" fmla="*/ 2278554 h 4687251"/>
              <a:gd name="connsiteX11890" fmla="*/ 5490726 w 8079933"/>
              <a:gd name="connsiteY11890" fmla="*/ 2283209 h 4687251"/>
              <a:gd name="connsiteX11891" fmla="*/ 5490726 w 8079933"/>
              <a:gd name="connsiteY11891" fmla="*/ 2283209 h 4687251"/>
              <a:gd name="connsiteX11892" fmla="*/ 1506425 w 8079933"/>
              <a:gd name="connsiteY11892" fmla="*/ 2277175 h 4687251"/>
              <a:gd name="connsiteX11893" fmla="*/ 1506318 w 8079933"/>
              <a:gd name="connsiteY11893" fmla="*/ 2278446 h 4687251"/>
              <a:gd name="connsiteX11894" fmla="*/ 1507730 w 8079933"/>
              <a:gd name="connsiteY11894" fmla="*/ 2278446 h 4687251"/>
              <a:gd name="connsiteX11895" fmla="*/ 1509683 w 8079933"/>
              <a:gd name="connsiteY11895" fmla="*/ 2280395 h 4687251"/>
              <a:gd name="connsiteX11896" fmla="*/ 1511202 w 8079933"/>
              <a:gd name="connsiteY11896" fmla="*/ 2280287 h 4687251"/>
              <a:gd name="connsiteX11897" fmla="*/ 1513481 w 8079933"/>
              <a:gd name="connsiteY11897" fmla="*/ 2281261 h 4687251"/>
              <a:gd name="connsiteX11898" fmla="*/ 1514349 w 8079933"/>
              <a:gd name="connsiteY11898" fmla="*/ 2282993 h 4687251"/>
              <a:gd name="connsiteX11899" fmla="*/ 1514674 w 8079933"/>
              <a:gd name="connsiteY11899" fmla="*/ 2284509 h 4687251"/>
              <a:gd name="connsiteX11900" fmla="*/ 1516302 w 8079933"/>
              <a:gd name="connsiteY11900" fmla="*/ 2286133 h 4687251"/>
              <a:gd name="connsiteX11901" fmla="*/ 1516303 w 8079933"/>
              <a:gd name="connsiteY11901" fmla="*/ 2286133 h 4687251"/>
              <a:gd name="connsiteX11902" fmla="*/ 1514675 w 8079933"/>
              <a:gd name="connsiteY11902" fmla="*/ 2284509 h 4687251"/>
              <a:gd name="connsiteX11903" fmla="*/ 1514350 w 8079933"/>
              <a:gd name="connsiteY11903" fmla="*/ 2282993 h 4687251"/>
              <a:gd name="connsiteX11904" fmla="*/ 1513481 w 8079933"/>
              <a:gd name="connsiteY11904" fmla="*/ 2281261 h 4687251"/>
              <a:gd name="connsiteX11905" fmla="*/ 1511202 w 8079933"/>
              <a:gd name="connsiteY11905" fmla="*/ 2280286 h 4687251"/>
              <a:gd name="connsiteX11906" fmla="*/ 1509683 w 8079933"/>
              <a:gd name="connsiteY11906" fmla="*/ 2280394 h 4687251"/>
              <a:gd name="connsiteX11907" fmla="*/ 1507730 w 8079933"/>
              <a:gd name="connsiteY11907" fmla="*/ 2278446 h 4687251"/>
              <a:gd name="connsiteX11908" fmla="*/ 1506319 w 8079933"/>
              <a:gd name="connsiteY11908" fmla="*/ 2278446 h 4687251"/>
              <a:gd name="connsiteX11909" fmla="*/ 4174201 w 8079933"/>
              <a:gd name="connsiteY11909" fmla="*/ 2276821 h 4687251"/>
              <a:gd name="connsiteX11910" fmla="*/ 4173799 w 8079933"/>
              <a:gd name="connsiteY11910" fmla="*/ 2277376 h 4687251"/>
              <a:gd name="connsiteX11911" fmla="*/ 4174201 w 8079933"/>
              <a:gd name="connsiteY11911" fmla="*/ 2276821 h 4687251"/>
              <a:gd name="connsiteX11912" fmla="*/ 4520477 w 8079933"/>
              <a:gd name="connsiteY11912" fmla="*/ 2276713 h 4687251"/>
              <a:gd name="connsiteX11913" fmla="*/ 4517114 w 8079933"/>
              <a:gd name="connsiteY11913" fmla="*/ 2284941 h 4687251"/>
              <a:gd name="connsiteX11914" fmla="*/ 4514292 w 8079933"/>
              <a:gd name="connsiteY11914" fmla="*/ 2292521 h 4687251"/>
              <a:gd name="connsiteX11915" fmla="*/ 4517114 w 8079933"/>
              <a:gd name="connsiteY11915" fmla="*/ 2284942 h 4687251"/>
              <a:gd name="connsiteX11916" fmla="*/ 4520477 w 8079933"/>
              <a:gd name="connsiteY11916" fmla="*/ 2276713 h 4687251"/>
              <a:gd name="connsiteX11917" fmla="*/ 5060239 w 8079933"/>
              <a:gd name="connsiteY11917" fmla="*/ 2275739 h 4687251"/>
              <a:gd name="connsiteX11918" fmla="*/ 5060239 w 8079933"/>
              <a:gd name="connsiteY11918" fmla="*/ 2275740 h 4687251"/>
              <a:gd name="connsiteX11919" fmla="*/ 5062304 w 8079933"/>
              <a:gd name="connsiteY11919" fmla="*/ 2277166 h 4687251"/>
              <a:gd name="connsiteX11920" fmla="*/ 1556128 w 8079933"/>
              <a:gd name="connsiteY11920" fmla="*/ 2274440 h 4687251"/>
              <a:gd name="connsiteX11921" fmla="*/ 1556128 w 8079933"/>
              <a:gd name="connsiteY11921" fmla="*/ 2274440 h 4687251"/>
              <a:gd name="connsiteX11922" fmla="*/ 1557972 w 8079933"/>
              <a:gd name="connsiteY11922" fmla="*/ 2274873 h 4687251"/>
              <a:gd name="connsiteX11923" fmla="*/ 1558407 w 8079933"/>
              <a:gd name="connsiteY11923" fmla="*/ 2275523 h 4687251"/>
              <a:gd name="connsiteX11924" fmla="*/ 1560252 w 8079933"/>
              <a:gd name="connsiteY11924" fmla="*/ 2275198 h 4687251"/>
              <a:gd name="connsiteX11925" fmla="*/ 1558408 w 8079933"/>
              <a:gd name="connsiteY11925" fmla="*/ 2275522 h 4687251"/>
              <a:gd name="connsiteX11926" fmla="*/ 1557973 w 8079933"/>
              <a:gd name="connsiteY11926" fmla="*/ 2274873 h 4687251"/>
              <a:gd name="connsiteX11927" fmla="*/ 1580544 w 8079933"/>
              <a:gd name="connsiteY11927" fmla="*/ 2274332 h 4687251"/>
              <a:gd name="connsiteX11928" fmla="*/ 1578879 w 8079933"/>
              <a:gd name="connsiteY11928" fmla="*/ 2274619 h 4687251"/>
              <a:gd name="connsiteX11929" fmla="*/ 1580544 w 8079933"/>
              <a:gd name="connsiteY11929" fmla="*/ 2274332 h 4687251"/>
              <a:gd name="connsiteX11930" fmla="*/ 1583691 w 8079933"/>
              <a:gd name="connsiteY11930" fmla="*/ 2275956 h 4687251"/>
              <a:gd name="connsiteX11931" fmla="*/ 1585753 w 8079933"/>
              <a:gd name="connsiteY11931" fmla="*/ 2279529 h 4687251"/>
              <a:gd name="connsiteX11932" fmla="*/ 1590419 w 8079933"/>
              <a:gd name="connsiteY11932" fmla="*/ 2283318 h 4687251"/>
              <a:gd name="connsiteX11933" fmla="*/ 1594109 w 8079933"/>
              <a:gd name="connsiteY11933" fmla="*/ 2289057 h 4687251"/>
              <a:gd name="connsiteX11934" fmla="*/ 1595954 w 8079933"/>
              <a:gd name="connsiteY11934" fmla="*/ 2294037 h 4687251"/>
              <a:gd name="connsiteX11935" fmla="*/ 1597256 w 8079933"/>
              <a:gd name="connsiteY11935" fmla="*/ 2296095 h 4687251"/>
              <a:gd name="connsiteX11936" fmla="*/ 1597798 w 8079933"/>
              <a:gd name="connsiteY11936" fmla="*/ 2299775 h 4687251"/>
              <a:gd name="connsiteX11937" fmla="*/ 1598124 w 8079933"/>
              <a:gd name="connsiteY11937" fmla="*/ 2305405 h 4687251"/>
              <a:gd name="connsiteX11938" fmla="*/ 1600728 w 8079933"/>
              <a:gd name="connsiteY11938" fmla="*/ 2306705 h 4687251"/>
              <a:gd name="connsiteX11939" fmla="*/ 1601922 w 8079933"/>
              <a:gd name="connsiteY11939" fmla="*/ 2309953 h 4687251"/>
              <a:gd name="connsiteX11940" fmla="*/ 1605068 w 8079933"/>
              <a:gd name="connsiteY11940" fmla="*/ 2318614 h 4687251"/>
              <a:gd name="connsiteX11941" fmla="*/ 1607022 w 8079933"/>
              <a:gd name="connsiteY11941" fmla="*/ 2319914 h 4687251"/>
              <a:gd name="connsiteX11942" fmla="*/ 1608107 w 8079933"/>
              <a:gd name="connsiteY11942" fmla="*/ 2322946 h 4687251"/>
              <a:gd name="connsiteX11943" fmla="*/ 1611797 w 8079933"/>
              <a:gd name="connsiteY11943" fmla="*/ 2325003 h 4687251"/>
              <a:gd name="connsiteX11944" fmla="*/ 1612882 w 8079933"/>
              <a:gd name="connsiteY11944" fmla="*/ 2329550 h 4687251"/>
              <a:gd name="connsiteX11945" fmla="*/ 1615161 w 8079933"/>
              <a:gd name="connsiteY11945" fmla="*/ 2333556 h 4687251"/>
              <a:gd name="connsiteX11946" fmla="*/ 1619176 w 8079933"/>
              <a:gd name="connsiteY11946" fmla="*/ 2337670 h 4687251"/>
              <a:gd name="connsiteX11947" fmla="*/ 1618742 w 8079933"/>
              <a:gd name="connsiteY11947" fmla="*/ 2342001 h 4687251"/>
              <a:gd name="connsiteX11948" fmla="*/ 1618308 w 8079933"/>
              <a:gd name="connsiteY11948" fmla="*/ 2346332 h 4687251"/>
              <a:gd name="connsiteX11949" fmla="*/ 1618199 w 8079933"/>
              <a:gd name="connsiteY11949" fmla="*/ 2347631 h 4687251"/>
              <a:gd name="connsiteX11950" fmla="*/ 1618634 w 8079933"/>
              <a:gd name="connsiteY11950" fmla="*/ 2349039 h 4687251"/>
              <a:gd name="connsiteX11951" fmla="*/ 1623408 w 8079933"/>
              <a:gd name="connsiteY11951" fmla="*/ 2363005 h 4687251"/>
              <a:gd name="connsiteX11952" fmla="*/ 1623191 w 8079933"/>
              <a:gd name="connsiteY11952" fmla="*/ 2369177 h 4687251"/>
              <a:gd name="connsiteX11953" fmla="*/ 1625253 w 8079933"/>
              <a:gd name="connsiteY11953" fmla="*/ 2371558 h 4687251"/>
              <a:gd name="connsiteX11954" fmla="*/ 1625795 w 8079933"/>
              <a:gd name="connsiteY11954" fmla="*/ 2372209 h 4687251"/>
              <a:gd name="connsiteX11955" fmla="*/ 1628617 w 8079933"/>
              <a:gd name="connsiteY11955" fmla="*/ 2373291 h 4687251"/>
              <a:gd name="connsiteX11956" fmla="*/ 1628618 w 8079933"/>
              <a:gd name="connsiteY11956" fmla="*/ 2373291 h 4687251"/>
              <a:gd name="connsiteX11957" fmla="*/ 1625796 w 8079933"/>
              <a:gd name="connsiteY11957" fmla="*/ 2372208 h 4687251"/>
              <a:gd name="connsiteX11958" fmla="*/ 1625254 w 8079933"/>
              <a:gd name="connsiteY11958" fmla="*/ 2371558 h 4687251"/>
              <a:gd name="connsiteX11959" fmla="*/ 1623192 w 8079933"/>
              <a:gd name="connsiteY11959" fmla="*/ 2369177 h 4687251"/>
              <a:gd name="connsiteX11960" fmla="*/ 1623409 w 8079933"/>
              <a:gd name="connsiteY11960" fmla="*/ 2363005 h 4687251"/>
              <a:gd name="connsiteX11961" fmla="*/ 1618634 w 8079933"/>
              <a:gd name="connsiteY11961" fmla="*/ 2349038 h 4687251"/>
              <a:gd name="connsiteX11962" fmla="*/ 1618200 w 8079933"/>
              <a:gd name="connsiteY11962" fmla="*/ 2347631 h 4687251"/>
              <a:gd name="connsiteX11963" fmla="*/ 1618308 w 8079933"/>
              <a:gd name="connsiteY11963" fmla="*/ 2346332 h 4687251"/>
              <a:gd name="connsiteX11964" fmla="*/ 1618742 w 8079933"/>
              <a:gd name="connsiteY11964" fmla="*/ 2342001 h 4687251"/>
              <a:gd name="connsiteX11965" fmla="*/ 1619176 w 8079933"/>
              <a:gd name="connsiteY11965" fmla="*/ 2337670 h 4687251"/>
              <a:gd name="connsiteX11966" fmla="*/ 1615161 w 8079933"/>
              <a:gd name="connsiteY11966" fmla="*/ 2333556 h 4687251"/>
              <a:gd name="connsiteX11967" fmla="*/ 1612883 w 8079933"/>
              <a:gd name="connsiteY11967" fmla="*/ 2329550 h 4687251"/>
              <a:gd name="connsiteX11968" fmla="*/ 1611798 w 8079933"/>
              <a:gd name="connsiteY11968" fmla="*/ 2325003 h 4687251"/>
              <a:gd name="connsiteX11969" fmla="*/ 1608108 w 8079933"/>
              <a:gd name="connsiteY11969" fmla="*/ 2322945 h 4687251"/>
              <a:gd name="connsiteX11970" fmla="*/ 1607023 w 8079933"/>
              <a:gd name="connsiteY11970" fmla="*/ 2319914 h 4687251"/>
              <a:gd name="connsiteX11971" fmla="*/ 1605069 w 8079933"/>
              <a:gd name="connsiteY11971" fmla="*/ 2318614 h 4687251"/>
              <a:gd name="connsiteX11972" fmla="*/ 1601922 w 8079933"/>
              <a:gd name="connsiteY11972" fmla="*/ 2309953 h 4687251"/>
              <a:gd name="connsiteX11973" fmla="*/ 1600729 w 8079933"/>
              <a:gd name="connsiteY11973" fmla="*/ 2306705 h 4687251"/>
              <a:gd name="connsiteX11974" fmla="*/ 1598124 w 8079933"/>
              <a:gd name="connsiteY11974" fmla="*/ 2305405 h 4687251"/>
              <a:gd name="connsiteX11975" fmla="*/ 1597799 w 8079933"/>
              <a:gd name="connsiteY11975" fmla="*/ 2299775 h 4687251"/>
              <a:gd name="connsiteX11976" fmla="*/ 1597256 w 8079933"/>
              <a:gd name="connsiteY11976" fmla="*/ 2296094 h 4687251"/>
              <a:gd name="connsiteX11977" fmla="*/ 1595954 w 8079933"/>
              <a:gd name="connsiteY11977" fmla="*/ 2294037 h 4687251"/>
              <a:gd name="connsiteX11978" fmla="*/ 1594109 w 8079933"/>
              <a:gd name="connsiteY11978" fmla="*/ 2289057 h 4687251"/>
              <a:gd name="connsiteX11979" fmla="*/ 1590420 w 8079933"/>
              <a:gd name="connsiteY11979" fmla="*/ 2283318 h 4687251"/>
              <a:gd name="connsiteX11980" fmla="*/ 1585754 w 8079933"/>
              <a:gd name="connsiteY11980" fmla="*/ 2279528 h 4687251"/>
              <a:gd name="connsiteX11981" fmla="*/ 1583692 w 8079933"/>
              <a:gd name="connsiteY11981" fmla="*/ 2275955 h 4687251"/>
              <a:gd name="connsiteX11982" fmla="*/ 1505342 w 8079933"/>
              <a:gd name="connsiteY11982" fmla="*/ 2273790 h 4687251"/>
              <a:gd name="connsiteX11983" fmla="*/ 1506427 w 8079933"/>
              <a:gd name="connsiteY11983" fmla="*/ 2277147 h 4687251"/>
              <a:gd name="connsiteX11984" fmla="*/ 1506427 w 8079933"/>
              <a:gd name="connsiteY11984" fmla="*/ 2277147 h 4687251"/>
              <a:gd name="connsiteX11985" fmla="*/ 4174902 w 8079933"/>
              <a:gd name="connsiteY11985" fmla="*/ 2273778 h 4687251"/>
              <a:gd name="connsiteX11986" fmla="*/ 4173984 w 8079933"/>
              <a:gd name="connsiteY11986" fmla="*/ 2274764 h 4687251"/>
              <a:gd name="connsiteX11987" fmla="*/ 4174189 w 8079933"/>
              <a:gd name="connsiteY11987" fmla="*/ 2276708 h 4687251"/>
              <a:gd name="connsiteX11988" fmla="*/ 4173984 w 8079933"/>
              <a:gd name="connsiteY11988" fmla="*/ 2274764 h 4687251"/>
              <a:gd name="connsiteX11989" fmla="*/ 5871650 w 8079933"/>
              <a:gd name="connsiteY11989" fmla="*/ 2273497 h 4687251"/>
              <a:gd name="connsiteX11990" fmla="*/ 5874874 w 8079933"/>
              <a:gd name="connsiteY11990" fmla="*/ 2275740 h 4687251"/>
              <a:gd name="connsiteX11991" fmla="*/ 5881927 w 8079933"/>
              <a:gd name="connsiteY11991" fmla="*/ 2283210 h 4687251"/>
              <a:gd name="connsiteX11992" fmla="*/ 5887461 w 8079933"/>
              <a:gd name="connsiteY11992" fmla="*/ 2283318 h 4687251"/>
              <a:gd name="connsiteX11993" fmla="*/ 5892671 w 8079933"/>
              <a:gd name="connsiteY11993" fmla="*/ 2285917 h 4687251"/>
              <a:gd name="connsiteX11994" fmla="*/ 5894624 w 8079933"/>
              <a:gd name="connsiteY11994" fmla="*/ 2289057 h 4687251"/>
              <a:gd name="connsiteX11995" fmla="*/ 5898856 w 8079933"/>
              <a:gd name="connsiteY11995" fmla="*/ 2294037 h 4687251"/>
              <a:gd name="connsiteX11996" fmla="*/ 5900918 w 8079933"/>
              <a:gd name="connsiteY11996" fmla="*/ 2299126 h 4687251"/>
              <a:gd name="connsiteX11997" fmla="*/ 5903305 w 8079933"/>
              <a:gd name="connsiteY11997" fmla="*/ 2298151 h 4687251"/>
              <a:gd name="connsiteX11998" fmla="*/ 5903848 w 8079933"/>
              <a:gd name="connsiteY11998" fmla="*/ 2291114 h 4687251"/>
              <a:gd name="connsiteX11999" fmla="*/ 5906669 w 8079933"/>
              <a:gd name="connsiteY11999" fmla="*/ 2288515 h 4687251"/>
              <a:gd name="connsiteX12000" fmla="*/ 5908297 w 8079933"/>
              <a:gd name="connsiteY12000" fmla="*/ 2290572 h 4687251"/>
              <a:gd name="connsiteX12001" fmla="*/ 5913289 w 8079933"/>
              <a:gd name="connsiteY12001" fmla="*/ 2290572 h 4687251"/>
              <a:gd name="connsiteX12002" fmla="*/ 5918389 w 8079933"/>
              <a:gd name="connsiteY12002" fmla="*/ 2293604 h 4687251"/>
              <a:gd name="connsiteX12003" fmla="*/ 5919040 w 8079933"/>
              <a:gd name="connsiteY12003" fmla="*/ 2300208 h 4687251"/>
              <a:gd name="connsiteX12004" fmla="*/ 5924900 w 8079933"/>
              <a:gd name="connsiteY12004" fmla="*/ 2305405 h 4687251"/>
              <a:gd name="connsiteX12005" fmla="*/ 5932496 w 8079933"/>
              <a:gd name="connsiteY12005" fmla="*/ 2303348 h 4687251"/>
              <a:gd name="connsiteX12006" fmla="*/ 5938573 w 8079933"/>
              <a:gd name="connsiteY12006" fmla="*/ 2304106 h 4687251"/>
              <a:gd name="connsiteX12007" fmla="*/ 5938573 w 8079933"/>
              <a:gd name="connsiteY12007" fmla="*/ 2304105 h 4687251"/>
              <a:gd name="connsiteX12008" fmla="*/ 5932496 w 8079933"/>
              <a:gd name="connsiteY12008" fmla="*/ 2303348 h 4687251"/>
              <a:gd name="connsiteX12009" fmla="*/ 5924900 w 8079933"/>
              <a:gd name="connsiteY12009" fmla="*/ 2305405 h 4687251"/>
              <a:gd name="connsiteX12010" fmla="*/ 5919040 w 8079933"/>
              <a:gd name="connsiteY12010" fmla="*/ 2300208 h 4687251"/>
              <a:gd name="connsiteX12011" fmla="*/ 5918389 w 8079933"/>
              <a:gd name="connsiteY12011" fmla="*/ 2293603 h 4687251"/>
              <a:gd name="connsiteX12012" fmla="*/ 5913289 w 8079933"/>
              <a:gd name="connsiteY12012" fmla="*/ 2290571 h 4687251"/>
              <a:gd name="connsiteX12013" fmla="*/ 5908297 w 8079933"/>
              <a:gd name="connsiteY12013" fmla="*/ 2290571 h 4687251"/>
              <a:gd name="connsiteX12014" fmla="*/ 5906669 w 8079933"/>
              <a:gd name="connsiteY12014" fmla="*/ 2288514 h 4687251"/>
              <a:gd name="connsiteX12015" fmla="*/ 5903848 w 8079933"/>
              <a:gd name="connsiteY12015" fmla="*/ 2291113 h 4687251"/>
              <a:gd name="connsiteX12016" fmla="*/ 5903305 w 8079933"/>
              <a:gd name="connsiteY12016" fmla="*/ 2298150 h 4687251"/>
              <a:gd name="connsiteX12017" fmla="*/ 5900918 w 8079933"/>
              <a:gd name="connsiteY12017" fmla="*/ 2299125 h 4687251"/>
              <a:gd name="connsiteX12018" fmla="*/ 5898856 w 8079933"/>
              <a:gd name="connsiteY12018" fmla="*/ 2294036 h 4687251"/>
              <a:gd name="connsiteX12019" fmla="*/ 5894624 w 8079933"/>
              <a:gd name="connsiteY12019" fmla="*/ 2289056 h 4687251"/>
              <a:gd name="connsiteX12020" fmla="*/ 5892671 w 8079933"/>
              <a:gd name="connsiteY12020" fmla="*/ 2285916 h 4687251"/>
              <a:gd name="connsiteX12021" fmla="*/ 5887461 w 8079933"/>
              <a:gd name="connsiteY12021" fmla="*/ 2283318 h 4687251"/>
              <a:gd name="connsiteX12022" fmla="*/ 5881927 w 8079933"/>
              <a:gd name="connsiteY12022" fmla="*/ 2283209 h 4687251"/>
              <a:gd name="connsiteX12023" fmla="*/ 5874874 w 8079933"/>
              <a:gd name="connsiteY12023" fmla="*/ 2275738 h 4687251"/>
              <a:gd name="connsiteX12024" fmla="*/ 1574576 w 8079933"/>
              <a:gd name="connsiteY12024" fmla="*/ 2272599 h 4687251"/>
              <a:gd name="connsiteX12025" fmla="*/ 1570835 w 8079933"/>
              <a:gd name="connsiteY12025" fmla="*/ 2272955 h 4687251"/>
              <a:gd name="connsiteX12026" fmla="*/ 1574576 w 8079933"/>
              <a:gd name="connsiteY12026" fmla="*/ 2272600 h 4687251"/>
              <a:gd name="connsiteX12027" fmla="*/ 1576421 w 8079933"/>
              <a:gd name="connsiteY12027" fmla="*/ 2273574 h 4687251"/>
              <a:gd name="connsiteX12028" fmla="*/ 1577397 w 8079933"/>
              <a:gd name="connsiteY12028" fmla="*/ 2274873 h 4687251"/>
              <a:gd name="connsiteX12029" fmla="*/ 1577398 w 8079933"/>
              <a:gd name="connsiteY12029" fmla="*/ 2274873 h 4687251"/>
              <a:gd name="connsiteX12030" fmla="*/ 1576421 w 8079933"/>
              <a:gd name="connsiteY12030" fmla="*/ 2273574 h 4687251"/>
              <a:gd name="connsiteX12031" fmla="*/ 1561663 w 8079933"/>
              <a:gd name="connsiteY12031" fmla="*/ 2272383 h 4687251"/>
              <a:gd name="connsiteX12032" fmla="*/ 1561663 w 8079933"/>
              <a:gd name="connsiteY12032" fmla="*/ 2272383 h 4687251"/>
              <a:gd name="connsiteX12033" fmla="*/ 1566003 w 8079933"/>
              <a:gd name="connsiteY12033" fmla="*/ 2272383 h 4687251"/>
              <a:gd name="connsiteX12034" fmla="*/ 1570018 w 8079933"/>
              <a:gd name="connsiteY12034" fmla="*/ 2273032 h 4687251"/>
              <a:gd name="connsiteX12035" fmla="*/ 1570018 w 8079933"/>
              <a:gd name="connsiteY12035" fmla="*/ 2273032 h 4687251"/>
              <a:gd name="connsiteX12036" fmla="*/ 1566004 w 8079933"/>
              <a:gd name="connsiteY12036" fmla="*/ 2272383 h 4687251"/>
              <a:gd name="connsiteX12037" fmla="*/ 3869452 w 8079933"/>
              <a:gd name="connsiteY12037" fmla="*/ 2271109 h 4687251"/>
              <a:gd name="connsiteX12038" fmla="*/ 3867641 w 8079933"/>
              <a:gd name="connsiteY12038" fmla="*/ 2275198 h 4687251"/>
              <a:gd name="connsiteX12039" fmla="*/ 3857711 w 8079933"/>
              <a:gd name="connsiteY12039" fmla="*/ 2281997 h 4687251"/>
              <a:gd name="connsiteX12040" fmla="*/ 3867642 w 8079933"/>
              <a:gd name="connsiteY12040" fmla="*/ 2275197 h 4687251"/>
              <a:gd name="connsiteX12041" fmla="*/ 5665944 w 8079933"/>
              <a:gd name="connsiteY12041" fmla="*/ 2268303 h 4687251"/>
              <a:gd name="connsiteX12042" fmla="*/ 5668042 w 8079933"/>
              <a:gd name="connsiteY12042" fmla="*/ 2269892 h 4687251"/>
              <a:gd name="connsiteX12043" fmla="*/ 5668043 w 8079933"/>
              <a:gd name="connsiteY12043" fmla="*/ 2269945 h 4687251"/>
              <a:gd name="connsiteX12044" fmla="*/ 5668042 w 8079933"/>
              <a:gd name="connsiteY12044" fmla="*/ 2269891 h 4687251"/>
              <a:gd name="connsiteX12045" fmla="*/ 5829405 w 8079933"/>
              <a:gd name="connsiteY12045" fmla="*/ 2264803 h 4687251"/>
              <a:gd name="connsiteX12046" fmla="*/ 5828428 w 8079933"/>
              <a:gd name="connsiteY12046" fmla="*/ 2266210 h 4687251"/>
              <a:gd name="connsiteX12047" fmla="*/ 5828104 w 8079933"/>
              <a:gd name="connsiteY12047" fmla="*/ 2266643 h 4687251"/>
              <a:gd name="connsiteX12048" fmla="*/ 5828104 w 8079933"/>
              <a:gd name="connsiteY12048" fmla="*/ 2266644 h 4687251"/>
              <a:gd name="connsiteX12049" fmla="*/ 5828429 w 8079933"/>
              <a:gd name="connsiteY12049" fmla="*/ 2266210 h 4687251"/>
              <a:gd name="connsiteX12050" fmla="*/ 5828429 w 8079933"/>
              <a:gd name="connsiteY12050" fmla="*/ 2266210 h 4687251"/>
              <a:gd name="connsiteX12051" fmla="*/ 5829405 w 8079933"/>
              <a:gd name="connsiteY12051" fmla="*/ 2264804 h 4687251"/>
              <a:gd name="connsiteX12052" fmla="*/ 5836459 w 8079933"/>
              <a:gd name="connsiteY12052" fmla="*/ 2268377 h 4687251"/>
              <a:gd name="connsiteX12053" fmla="*/ 5838195 w 8079933"/>
              <a:gd name="connsiteY12053" fmla="*/ 2270975 h 4687251"/>
              <a:gd name="connsiteX12054" fmla="*/ 5843079 w 8079933"/>
              <a:gd name="connsiteY12054" fmla="*/ 2270759 h 4687251"/>
              <a:gd name="connsiteX12055" fmla="*/ 5845574 w 8079933"/>
              <a:gd name="connsiteY12055" fmla="*/ 2271950 h 4687251"/>
              <a:gd name="connsiteX12056" fmla="*/ 5848613 w 8079933"/>
              <a:gd name="connsiteY12056" fmla="*/ 2267728 h 4687251"/>
              <a:gd name="connsiteX12057" fmla="*/ 5854473 w 8079933"/>
              <a:gd name="connsiteY12057" fmla="*/ 2267186 h 4687251"/>
              <a:gd name="connsiteX12058" fmla="*/ 5863153 w 8079933"/>
              <a:gd name="connsiteY12058" fmla="*/ 2270434 h 4687251"/>
              <a:gd name="connsiteX12059" fmla="*/ 5865650 w 8079933"/>
              <a:gd name="connsiteY12059" fmla="*/ 2272924 h 4687251"/>
              <a:gd name="connsiteX12060" fmla="*/ 5871293 w 8079933"/>
              <a:gd name="connsiteY12060" fmla="*/ 2273249 h 4687251"/>
              <a:gd name="connsiteX12061" fmla="*/ 5871292 w 8079933"/>
              <a:gd name="connsiteY12061" fmla="*/ 2273248 h 4687251"/>
              <a:gd name="connsiteX12062" fmla="*/ 5865650 w 8079933"/>
              <a:gd name="connsiteY12062" fmla="*/ 2272924 h 4687251"/>
              <a:gd name="connsiteX12063" fmla="*/ 5863154 w 8079933"/>
              <a:gd name="connsiteY12063" fmla="*/ 2270434 h 4687251"/>
              <a:gd name="connsiteX12064" fmla="*/ 5854472 w 8079933"/>
              <a:gd name="connsiteY12064" fmla="*/ 2267185 h 4687251"/>
              <a:gd name="connsiteX12065" fmla="*/ 5848613 w 8079933"/>
              <a:gd name="connsiteY12065" fmla="*/ 2267726 h 4687251"/>
              <a:gd name="connsiteX12066" fmla="*/ 5845574 w 8079933"/>
              <a:gd name="connsiteY12066" fmla="*/ 2271949 h 4687251"/>
              <a:gd name="connsiteX12067" fmla="*/ 5843079 w 8079933"/>
              <a:gd name="connsiteY12067" fmla="*/ 2270758 h 4687251"/>
              <a:gd name="connsiteX12068" fmla="*/ 5838195 w 8079933"/>
              <a:gd name="connsiteY12068" fmla="*/ 2270975 h 4687251"/>
              <a:gd name="connsiteX12069" fmla="*/ 5836459 w 8079933"/>
              <a:gd name="connsiteY12069" fmla="*/ 2268376 h 4687251"/>
              <a:gd name="connsiteX12070" fmla="*/ 4762689 w 8079933"/>
              <a:gd name="connsiteY12070" fmla="*/ 2264640 h 4687251"/>
              <a:gd name="connsiteX12071" fmla="*/ 4762903 w 8079933"/>
              <a:gd name="connsiteY12071" fmla="*/ 2268268 h 4687251"/>
              <a:gd name="connsiteX12072" fmla="*/ 4761818 w 8079933"/>
              <a:gd name="connsiteY12072" fmla="*/ 2273574 h 4687251"/>
              <a:gd name="connsiteX12073" fmla="*/ 4761818 w 8079933"/>
              <a:gd name="connsiteY12073" fmla="*/ 2278770 h 4687251"/>
              <a:gd name="connsiteX12074" fmla="*/ 4760299 w 8079933"/>
              <a:gd name="connsiteY12074" fmla="*/ 2279745 h 4687251"/>
              <a:gd name="connsiteX12075" fmla="*/ 4760299 w 8079933"/>
              <a:gd name="connsiteY12075" fmla="*/ 2279745 h 4687251"/>
              <a:gd name="connsiteX12076" fmla="*/ 4761818 w 8079933"/>
              <a:gd name="connsiteY12076" fmla="*/ 2278771 h 4687251"/>
              <a:gd name="connsiteX12077" fmla="*/ 4761818 w 8079933"/>
              <a:gd name="connsiteY12077" fmla="*/ 2273574 h 4687251"/>
              <a:gd name="connsiteX12078" fmla="*/ 4762904 w 8079933"/>
              <a:gd name="connsiteY12078" fmla="*/ 2268269 h 4687251"/>
              <a:gd name="connsiteX12079" fmla="*/ 4762687 w 8079933"/>
              <a:gd name="connsiteY12079" fmla="*/ 2264582 h 4687251"/>
              <a:gd name="connsiteX12080" fmla="*/ 4762686 w 8079933"/>
              <a:gd name="connsiteY12080" fmla="*/ 2264587 h 4687251"/>
              <a:gd name="connsiteX12081" fmla="*/ 4762686 w 8079933"/>
              <a:gd name="connsiteY12081" fmla="*/ 2264587 h 4687251"/>
              <a:gd name="connsiteX12082" fmla="*/ 5384053 w 8079933"/>
              <a:gd name="connsiteY12082" fmla="*/ 2263721 h 4687251"/>
              <a:gd name="connsiteX12083" fmla="*/ 5382099 w 8079933"/>
              <a:gd name="connsiteY12083" fmla="*/ 2266645 h 4687251"/>
              <a:gd name="connsiteX12084" fmla="*/ 5364199 w 8079933"/>
              <a:gd name="connsiteY12084" fmla="*/ 2291107 h 4687251"/>
              <a:gd name="connsiteX12085" fmla="*/ 5364196 w 8079933"/>
              <a:gd name="connsiteY12085" fmla="*/ 2291112 h 4687251"/>
              <a:gd name="connsiteX12086" fmla="*/ 5364198 w 8079933"/>
              <a:gd name="connsiteY12086" fmla="*/ 2291109 h 4687251"/>
              <a:gd name="connsiteX12087" fmla="*/ 5364199 w 8079933"/>
              <a:gd name="connsiteY12087" fmla="*/ 2291107 h 4687251"/>
              <a:gd name="connsiteX12088" fmla="*/ 5381868 w 8079933"/>
              <a:gd name="connsiteY12088" fmla="*/ 2266963 h 4687251"/>
              <a:gd name="connsiteX12089" fmla="*/ 5382100 w 8079933"/>
              <a:gd name="connsiteY12089" fmla="*/ 2266644 h 4687251"/>
              <a:gd name="connsiteX12090" fmla="*/ 5384053 w 8079933"/>
              <a:gd name="connsiteY12090" fmla="*/ 2263721 h 4687251"/>
              <a:gd name="connsiteX12091" fmla="*/ 5668313 w 8079933"/>
              <a:gd name="connsiteY12091" fmla="*/ 2263720 h 4687251"/>
              <a:gd name="connsiteX12092" fmla="*/ 5664895 w 8079933"/>
              <a:gd name="connsiteY12092" fmla="*/ 2267509 h 4687251"/>
              <a:gd name="connsiteX12093" fmla="*/ 5664895 w 8079933"/>
              <a:gd name="connsiteY12093" fmla="*/ 2267509 h 4687251"/>
              <a:gd name="connsiteX12094" fmla="*/ 1501224 w 8079933"/>
              <a:gd name="connsiteY12094" fmla="*/ 2262152 h 4687251"/>
              <a:gd name="connsiteX12095" fmla="*/ 1500675 w 8079933"/>
              <a:gd name="connsiteY12095" fmla="*/ 2262530 h 4687251"/>
              <a:gd name="connsiteX12096" fmla="*/ 1497962 w 8079933"/>
              <a:gd name="connsiteY12096" fmla="*/ 2263288 h 4687251"/>
              <a:gd name="connsiteX12097" fmla="*/ 1497962 w 8079933"/>
              <a:gd name="connsiteY12097" fmla="*/ 2265020 h 4687251"/>
              <a:gd name="connsiteX12098" fmla="*/ 1502087 w 8079933"/>
              <a:gd name="connsiteY12098" fmla="*/ 2269892 h 4687251"/>
              <a:gd name="connsiteX12099" fmla="*/ 1497963 w 8079933"/>
              <a:gd name="connsiteY12099" fmla="*/ 2265020 h 4687251"/>
              <a:gd name="connsiteX12100" fmla="*/ 1497963 w 8079933"/>
              <a:gd name="connsiteY12100" fmla="*/ 2263288 h 4687251"/>
              <a:gd name="connsiteX12101" fmla="*/ 1500676 w 8079933"/>
              <a:gd name="connsiteY12101" fmla="*/ 2262530 h 4687251"/>
              <a:gd name="connsiteX12102" fmla="*/ 5487036 w 8079933"/>
              <a:gd name="connsiteY12102" fmla="*/ 2259282 h 4687251"/>
              <a:gd name="connsiteX12103" fmla="*/ 5487469 w 8079933"/>
              <a:gd name="connsiteY12103" fmla="*/ 2265778 h 4687251"/>
              <a:gd name="connsiteX12104" fmla="*/ 5489097 w 8079933"/>
              <a:gd name="connsiteY12104" fmla="*/ 2273574 h 4687251"/>
              <a:gd name="connsiteX12105" fmla="*/ 5489097 w 8079933"/>
              <a:gd name="connsiteY12105" fmla="*/ 2273573 h 4687251"/>
              <a:gd name="connsiteX12106" fmla="*/ 5487470 w 8079933"/>
              <a:gd name="connsiteY12106" fmla="*/ 2265777 h 4687251"/>
              <a:gd name="connsiteX12107" fmla="*/ 4734942 w 8079933"/>
              <a:gd name="connsiteY12107" fmla="*/ 2258776 h 4687251"/>
              <a:gd name="connsiteX12108" fmla="*/ 4738053 w 8079933"/>
              <a:gd name="connsiteY12108" fmla="*/ 2263396 h 4687251"/>
              <a:gd name="connsiteX12109" fmla="*/ 4740548 w 8079933"/>
              <a:gd name="connsiteY12109" fmla="*/ 2272166 h 4687251"/>
              <a:gd name="connsiteX12110" fmla="*/ 4744530 w 8079933"/>
              <a:gd name="connsiteY12110" fmla="*/ 2278189 h 4687251"/>
              <a:gd name="connsiteX12111" fmla="*/ 4740549 w 8079933"/>
              <a:gd name="connsiteY12111" fmla="*/ 2272166 h 4687251"/>
              <a:gd name="connsiteX12112" fmla="*/ 4738053 w 8079933"/>
              <a:gd name="connsiteY12112" fmla="*/ 2263396 h 4687251"/>
              <a:gd name="connsiteX12113" fmla="*/ 4173501 w 8079933"/>
              <a:gd name="connsiteY12113" fmla="*/ 2255499 h 4687251"/>
              <a:gd name="connsiteX12114" fmla="*/ 4173332 w 8079933"/>
              <a:gd name="connsiteY12114" fmla="*/ 2256791 h 4687251"/>
              <a:gd name="connsiteX12115" fmla="*/ 4172464 w 8079933"/>
              <a:gd name="connsiteY12115" fmla="*/ 2260039 h 4687251"/>
              <a:gd name="connsiteX12116" fmla="*/ 4174852 w 8079933"/>
              <a:gd name="connsiteY12116" fmla="*/ 2267510 h 4687251"/>
              <a:gd name="connsiteX12117" fmla="*/ 4175394 w 8079933"/>
              <a:gd name="connsiteY12117" fmla="*/ 2273248 h 4687251"/>
              <a:gd name="connsiteX12118" fmla="*/ 4175395 w 8079933"/>
              <a:gd name="connsiteY12118" fmla="*/ 2273248 h 4687251"/>
              <a:gd name="connsiteX12119" fmla="*/ 4174852 w 8079933"/>
              <a:gd name="connsiteY12119" fmla="*/ 2267510 h 4687251"/>
              <a:gd name="connsiteX12120" fmla="*/ 4172465 w 8079933"/>
              <a:gd name="connsiteY12120" fmla="*/ 2260039 h 4687251"/>
              <a:gd name="connsiteX12121" fmla="*/ 4173333 w 8079933"/>
              <a:gd name="connsiteY12121" fmla="*/ 2256791 h 4687251"/>
              <a:gd name="connsiteX12122" fmla="*/ 4805442 w 8079933"/>
              <a:gd name="connsiteY12122" fmla="*/ 2252028 h 4687251"/>
              <a:gd name="connsiteX12123" fmla="*/ 4832463 w 8079933"/>
              <a:gd name="connsiteY12123" fmla="*/ 2281261 h 4687251"/>
              <a:gd name="connsiteX12124" fmla="*/ 4805442 w 8079933"/>
              <a:gd name="connsiteY12124" fmla="*/ 2252028 h 4687251"/>
              <a:gd name="connsiteX12125" fmla="*/ 4177022 w 8079933"/>
              <a:gd name="connsiteY12125" fmla="*/ 2251811 h 4687251"/>
              <a:gd name="connsiteX12126" fmla="*/ 4174089 w 8079933"/>
              <a:gd name="connsiteY12126" fmla="*/ 2253982 h 4687251"/>
              <a:gd name="connsiteX12127" fmla="*/ 4177022 w 8079933"/>
              <a:gd name="connsiteY12127" fmla="*/ 2251811 h 4687251"/>
              <a:gd name="connsiteX12128" fmla="*/ 4182556 w 8079933"/>
              <a:gd name="connsiteY12128" fmla="*/ 2252027 h 4687251"/>
              <a:gd name="connsiteX12129" fmla="*/ 5049581 w 8079933"/>
              <a:gd name="connsiteY12129" fmla="*/ 2248088 h 4687251"/>
              <a:gd name="connsiteX12130" fmla="*/ 5049278 w 8079933"/>
              <a:gd name="connsiteY12130" fmla="*/ 2254627 h 4687251"/>
              <a:gd name="connsiteX12131" fmla="*/ 5051123 w 8079933"/>
              <a:gd name="connsiteY12131" fmla="*/ 2261015 h 4687251"/>
              <a:gd name="connsiteX12132" fmla="*/ 5058719 w 8079933"/>
              <a:gd name="connsiteY12132" fmla="*/ 2261015 h 4687251"/>
              <a:gd name="connsiteX12133" fmla="*/ 5059602 w 8079933"/>
              <a:gd name="connsiteY12133" fmla="*/ 2269570 h 4687251"/>
              <a:gd name="connsiteX12134" fmla="*/ 5058720 w 8079933"/>
              <a:gd name="connsiteY12134" fmla="*/ 2261014 h 4687251"/>
              <a:gd name="connsiteX12135" fmla="*/ 5051123 w 8079933"/>
              <a:gd name="connsiteY12135" fmla="*/ 2261014 h 4687251"/>
              <a:gd name="connsiteX12136" fmla="*/ 5049279 w 8079933"/>
              <a:gd name="connsiteY12136" fmla="*/ 2254627 h 4687251"/>
              <a:gd name="connsiteX12137" fmla="*/ 4753788 w 8079933"/>
              <a:gd name="connsiteY12137" fmla="*/ 2247263 h 4687251"/>
              <a:gd name="connsiteX12138" fmla="*/ 4752702 w 8079933"/>
              <a:gd name="connsiteY12138" fmla="*/ 2254626 h 4687251"/>
              <a:gd name="connsiteX12139" fmla="*/ 4753630 w 8079933"/>
              <a:gd name="connsiteY12139" fmla="*/ 2255552 h 4687251"/>
              <a:gd name="connsiteX12140" fmla="*/ 4752703 w 8079933"/>
              <a:gd name="connsiteY12140" fmla="*/ 2254627 h 4687251"/>
              <a:gd name="connsiteX12141" fmla="*/ 4753788 w 8079933"/>
              <a:gd name="connsiteY12141" fmla="*/ 2247264 h 4687251"/>
              <a:gd name="connsiteX12142" fmla="*/ 5497453 w 8079933"/>
              <a:gd name="connsiteY12142" fmla="*/ 2246398 h 4687251"/>
              <a:gd name="connsiteX12143" fmla="*/ 5496491 w 8079933"/>
              <a:gd name="connsiteY12143" fmla="*/ 2248378 h 4687251"/>
              <a:gd name="connsiteX12144" fmla="*/ 5497454 w 8079933"/>
              <a:gd name="connsiteY12144" fmla="*/ 2246398 h 4687251"/>
              <a:gd name="connsiteX12145" fmla="*/ 3882508 w 8079933"/>
              <a:gd name="connsiteY12145" fmla="*/ 2244016 h 4687251"/>
              <a:gd name="connsiteX12146" fmla="*/ 3876756 w 8079933"/>
              <a:gd name="connsiteY12146" fmla="*/ 2253110 h 4687251"/>
              <a:gd name="connsiteX12147" fmla="*/ 3871765 w 8079933"/>
              <a:gd name="connsiteY12147" fmla="*/ 2257549 h 4687251"/>
              <a:gd name="connsiteX12148" fmla="*/ 3869797 w 8079933"/>
              <a:gd name="connsiteY12148" fmla="*/ 2262223 h 4687251"/>
              <a:gd name="connsiteX12149" fmla="*/ 3871765 w 8079933"/>
              <a:gd name="connsiteY12149" fmla="*/ 2257550 h 4687251"/>
              <a:gd name="connsiteX12150" fmla="*/ 3876757 w 8079933"/>
              <a:gd name="connsiteY12150" fmla="*/ 2253111 h 4687251"/>
              <a:gd name="connsiteX12151" fmla="*/ 3882508 w 8079933"/>
              <a:gd name="connsiteY12151" fmla="*/ 2244016 h 4687251"/>
              <a:gd name="connsiteX12152" fmla="*/ 5378742 w 8079933"/>
              <a:gd name="connsiteY12152" fmla="*/ 2240210 h 4687251"/>
              <a:gd name="connsiteX12153" fmla="*/ 5382099 w 8079933"/>
              <a:gd name="connsiteY12153" fmla="*/ 2247698 h 4687251"/>
              <a:gd name="connsiteX12154" fmla="*/ 5381665 w 8079933"/>
              <a:gd name="connsiteY12154" fmla="*/ 2254302 h 4687251"/>
              <a:gd name="connsiteX12155" fmla="*/ 5383816 w 8079933"/>
              <a:gd name="connsiteY12155" fmla="*/ 2262785 h 4687251"/>
              <a:gd name="connsiteX12156" fmla="*/ 5381666 w 8079933"/>
              <a:gd name="connsiteY12156" fmla="*/ 2254301 h 4687251"/>
              <a:gd name="connsiteX12157" fmla="*/ 5382100 w 8079933"/>
              <a:gd name="connsiteY12157" fmla="*/ 2247697 h 4687251"/>
              <a:gd name="connsiteX12158" fmla="*/ 4191909 w 8079933"/>
              <a:gd name="connsiteY12158" fmla="*/ 2240108 h 4687251"/>
              <a:gd name="connsiteX12159" fmla="*/ 4186897 w 8079933"/>
              <a:gd name="connsiteY12159" fmla="*/ 2243257 h 4687251"/>
              <a:gd name="connsiteX12160" fmla="*/ 4186897 w 8079933"/>
              <a:gd name="connsiteY12160" fmla="*/ 2243258 h 4687251"/>
              <a:gd name="connsiteX12161" fmla="*/ 5513623 w 8079933"/>
              <a:gd name="connsiteY12161" fmla="*/ 2238493 h 4687251"/>
              <a:gd name="connsiteX12162" fmla="*/ 5513622 w 8079933"/>
              <a:gd name="connsiteY12162" fmla="*/ 2238494 h 4687251"/>
              <a:gd name="connsiteX12163" fmla="*/ 5517528 w 8079933"/>
              <a:gd name="connsiteY12163" fmla="*/ 2239685 h 4687251"/>
              <a:gd name="connsiteX12164" fmla="*/ 5517529 w 8079933"/>
              <a:gd name="connsiteY12164" fmla="*/ 2239684 h 4687251"/>
              <a:gd name="connsiteX12165" fmla="*/ 6803560 w 8079933"/>
              <a:gd name="connsiteY12165" fmla="*/ 2238169 h 4687251"/>
              <a:gd name="connsiteX12166" fmla="*/ 6805513 w 8079933"/>
              <a:gd name="connsiteY12166" fmla="*/ 2238926 h 4687251"/>
              <a:gd name="connsiteX12167" fmla="*/ 6808335 w 8079933"/>
              <a:gd name="connsiteY12167" fmla="*/ 2238602 h 4687251"/>
              <a:gd name="connsiteX12168" fmla="*/ 6812892 w 8079933"/>
              <a:gd name="connsiteY12168" fmla="*/ 2241308 h 4687251"/>
              <a:gd name="connsiteX12169" fmla="*/ 6812784 w 8079933"/>
              <a:gd name="connsiteY12169" fmla="*/ 2245206 h 4687251"/>
              <a:gd name="connsiteX12170" fmla="*/ 6809419 w 8079933"/>
              <a:gd name="connsiteY12170" fmla="*/ 2242932 h 4687251"/>
              <a:gd name="connsiteX12171" fmla="*/ 6804753 w 8079933"/>
              <a:gd name="connsiteY12171" fmla="*/ 2241417 h 4687251"/>
              <a:gd name="connsiteX12172" fmla="*/ 3919187 w 8079933"/>
              <a:gd name="connsiteY12172" fmla="*/ 2236761 h 4687251"/>
              <a:gd name="connsiteX12173" fmla="*/ 3919729 w 8079933"/>
              <a:gd name="connsiteY12173" fmla="*/ 2238169 h 4687251"/>
              <a:gd name="connsiteX12174" fmla="*/ 3919729 w 8079933"/>
              <a:gd name="connsiteY12174" fmla="*/ 2238169 h 4687251"/>
              <a:gd name="connsiteX12175" fmla="*/ 1487941 w 8079933"/>
              <a:gd name="connsiteY12175" fmla="*/ 2235831 h 4687251"/>
              <a:gd name="connsiteX12176" fmla="*/ 1487653 w 8079933"/>
              <a:gd name="connsiteY12176" fmla="*/ 2237737 h 4687251"/>
              <a:gd name="connsiteX12177" fmla="*/ 1486460 w 8079933"/>
              <a:gd name="connsiteY12177" fmla="*/ 2239577 h 4687251"/>
              <a:gd name="connsiteX12178" fmla="*/ 1489390 w 8079933"/>
              <a:gd name="connsiteY12178" fmla="*/ 2240443 h 4687251"/>
              <a:gd name="connsiteX12179" fmla="*/ 1492646 w 8079933"/>
              <a:gd name="connsiteY12179" fmla="*/ 2242608 h 4687251"/>
              <a:gd name="connsiteX12180" fmla="*/ 1494816 w 8079933"/>
              <a:gd name="connsiteY12180" fmla="*/ 2246073 h 4687251"/>
              <a:gd name="connsiteX12181" fmla="*/ 1495359 w 8079933"/>
              <a:gd name="connsiteY12181" fmla="*/ 2251270 h 4687251"/>
              <a:gd name="connsiteX12182" fmla="*/ 1496986 w 8079933"/>
              <a:gd name="connsiteY12182" fmla="*/ 2253219 h 4687251"/>
              <a:gd name="connsiteX12183" fmla="*/ 1498397 w 8079933"/>
              <a:gd name="connsiteY12183" fmla="*/ 2253544 h 4687251"/>
              <a:gd name="connsiteX12184" fmla="*/ 1499157 w 8079933"/>
              <a:gd name="connsiteY12184" fmla="*/ 2255384 h 4687251"/>
              <a:gd name="connsiteX12185" fmla="*/ 1501978 w 8079933"/>
              <a:gd name="connsiteY12185" fmla="*/ 2257875 h 4687251"/>
              <a:gd name="connsiteX12186" fmla="*/ 1502087 w 8079933"/>
              <a:gd name="connsiteY12186" fmla="*/ 2261555 h 4687251"/>
              <a:gd name="connsiteX12187" fmla="*/ 1501979 w 8079933"/>
              <a:gd name="connsiteY12187" fmla="*/ 2257874 h 4687251"/>
              <a:gd name="connsiteX12188" fmla="*/ 1499157 w 8079933"/>
              <a:gd name="connsiteY12188" fmla="*/ 2255384 h 4687251"/>
              <a:gd name="connsiteX12189" fmla="*/ 1498398 w 8079933"/>
              <a:gd name="connsiteY12189" fmla="*/ 2253543 h 4687251"/>
              <a:gd name="connsiteX12190" fmla="*/ 1496986 w 8079933"/>
              <a:gd name="connsiteY12190" fmla="*/ 2253219 h 4687251"/>
              <a:gd name="connsiteX12191" fmla="*/ 1495359 w 8079933"/>
              <a:gd name="connsiteY12191" fmla="*/ 2251270 h 4687251"/>
              <a:gd name="connsiteX12192" fmla="*/ 1494816 w 8079933"/>
              <a:gd name="connsiteY12192" fmla="*/ 2246073 h 4687251"/>
              <a:gd name="connsiteX12193" fmla="*/ 1492646 w 8079933"/>
              <a:gd name="connsiteY12193" fmla="*/ 2242608 h 4687251"/>
              <a:gd name="connsiteX12194" fmla="*/ 1489390 w 8079933"/>
              <a:gd name="connsiteY12194" fmla="*/ 2240443 h 4687251"/>
              <a:gd name="connsiteX12195" fmla="*/ 1486461 w 8079933"/>
              <a:gd name="connsiteY12195" fmla="*/ 2239577 h 4687251"/>
              <a:gd name="connsiteX12196" fmla="*/ 1487654 w 8079933"/>
              <a:gd name="connsiteY12196" fmla="*/ 2237736 h 4687251"/>
              <a:gd name="connsiteX12197" fmla="*/ 5675963 w 8079933"/>
              <a:gd name="connsiteY12197" fmla="*/ 2233886 h 4687251"/>
              <a:gd name="connsiteX12198" fmla="*/ 5677483 w 8079933"/>
              <a:gd name="connsiteY12198" fmla="*/ 2239468 h 4687251"/>
              <a:gd name="connsiteX12199" fmla="*/ 5677483 w 8079933"/>
              <a:gd name="connsiteY12199" fmla="*/ 2239467 h 4687251"/>
              <a:gd name="connsiteX12200" fmla="*/ 4141276 w 8079933"/>
              <a:gd name="connsiteY12200" fmla="*/ 2232609 h 4687251"/>
              <a:gd name="connsiteX12201" fmla="*/ 4147180 w 8079933"/>
              <a:gd name="connsiteY12201" fmla="*/ 2239144 h 4687251"/>
              <a:gd name="connsiteX12202" fmla="*/ 4147180 w 8079933"/>
              <a:gd name="connsiteY12202" fmla="*/ 2239143 h 4687251"/>
              <a:gd name="connsiteX12203" fmla="*/ 4849614 w 8079933"/>
              <a:gd name="connsiteY12203" fmla="*/ 2232107 h 4687251"/>
              <a:gd name="connsiteX12204" fmla="*/ 4851875 w 8079933"/>
              <a:gd name="connsiteY12204" fmla="*/ 2232379 h 4687251"/>
              <a:gd name="connsiteX12205" fmla="*/ 4849615 w 8079933"/>
              <a:gd name="connsiteY12205" fmla="*/ 2232107 h 4687251"/>
              <a:gd name="connsiteX12206" fmla="*/ 4137414 w 8079933"/>
              <a:gd name="connsiteY12206" fmla="*/ 2231672 h 4687251"/>
              <a:gd name="connsiteX12207" fmla="*/ 4137414 w 8079933"/>
              <a:gd name="connsiteY12207" fmla="*/ 2231673 h 4687251"/>
              <a:gd name="connsiteX12208" fmla="*/ 4141212 w 8079933"/>
              <a:gd name="connsiteY12208" fmla="*/ 2232539 h 4687251"/>
              <a:gd name="connsiteX12209" fmla="*/ 4141212 w 8079933"/>
              <a:gd name="connsiteY12209" fmla="*/ 2232538 h 4687251"/>
              <a:gd name="connsiteX12210" fmla="*/ 4765182 w 8079933"/>
              <a:gd name="connsiteY12210" fmla="*/ 2230266 h 4687251"/>
              <a:gd name="connsiteX12211" fmla="*/ 4765616 w 8079933"/>
              <a:gd name="connsiteY12211" fmla="*/ 2233081 h 4687251"/>
              <a:gd name="connsiteX12212" fmla="*/ 4764748 w 8079933"/>
              <a:gd name="connsiteY12212" fmla="*/ 2235354 h 4687251"/>
              <a:gd name="connsiteX12213" fmla="*/ 4764314 w 8079933"/>
              <a:gd name="connsiteY12213" fmla="*/ 2241742 h 4687251"/>
              <a:gd name="connsiteX12214" fmla="*/ 4764748 w 8079933"/>
              <a:gd name="connsiteY12214" fmla="*/ 2235355 h 4687251"/>
              <a:gd name="connsiteX12215" fmla="*/ 4765617 w 8079933"/>
              <a:gd name="connsiteY12215" fmla="*/ 2233081 h 4687251"/>
              <a:gd name="connsiteX12216" fmla="*/ 4765073 w 8079933"/>
              <a:gd name="connsiteY12216" fmla="*/ 2228641 h 4687251"/>
              <a:gd name="connsiteX12217" fmla="*/ 4762252 w 8079933"/>
              <a:gd name="connsiteY12217" fmla="*/ 2231240 h 4687251"/>
              <a:gd name="connsiteX12218" fmla="*/ 4759756 w 8079933"/>
              <a:gd name="connsiteY12218" fmla="*/ 2230915 h 4687251"/>
              <a:gd name="connsiteX12219" fmla="*/ 4759756 w 8079933"/>
              <a:gd name="connsiteY12219" fmla="*/ 2230915 h 4687251"/>
              <a:gd name="connsiteX12220" fmla="*/ 4762253 w 8079933"/>
              <a:gd name="connsiteY12220" fmla="*/ 2231240 h 4687251"/>
              <a:gd name="connsiteX12221" fmla="*/ 4765073 w 8079933"/>
              <a:gd name="connsiteY12221" fmla="*/ 2228642 h 4687251"/>
              <a:gd name="connsiteX12222" fmla="*/ 4765073 w 8079933"/>
              <a:gd name="connsiteY12222" fmla="*/ 2228642 h 4687251"/>
              <a:gd name="connsiteX12223" fmla="*/ 5524148 w 8079933"/>
              <a:gd name="connsiteY12223" fmla="*/ 2228534 h 4687251"/>
              <a:gd name="connsiteX12224" fmla="*/ 5522629 w 8079933"/>
              <a:gd name="connsiteY12224" fmla="*/ 2231565 h 4687251"/>
              <a:gd name="connsiteX12225" fmla="*/ 5522630 w 8079933"/>
              <a:gd name="connsiteY12225" fmla="*/ 2231564 h 4687251"/>
              <a:gd name="connsiteX12226" fmla="*/ 4132355 w 8079933"/>
              <a:gd name="connsiteY12226" fmla="*/ 2228040 h 4687251"/>
              <a:gd name="connsiteX12227" fmla="*/ 4135135 w 8079933"/>
              <a:gd name="connsiteY12227" fmla="*/ 2229183 h 4687251"/>
              <a:gd name="connsiteX12228" fmla="*/ 4135134 w 8079933"/>
              <a:gd name="connsiteY12228" fmla="*/ 2229182 h 4687251"/>
              <a:gd name="connsiteX12229" fmla="*/ 5538764 w 8079933"/>
              <a:gd name="connsiteY12229" fmla="*/ 2227353 h 4687251"/>
              <a:gd name="connsiteX12230" fmla="*/ 5538472 w 8079933"/>
              <a:gd name="connsiteY12230" fmla="*/ 2230264 h 4687251"/>
              <a:gd name="connsiteX12231" fmla="*/ 5538473 w 8079933"/>
              <a:gd name="connsiteY12231" fmla="*/ 2230264 h 4687251"/>
              <a:gd name="connsiteX12232" fmla="*/ 4753570 w 8079933"/>
              <a:gd name="connsiteY12232" fmla="*/ 2227126 h 4687251"/>
              <a:gd name="connsiteX12233" fmla="*/ 4752377 w 8079933"/>
              <a:gd name="connsiteY12233" fmla="*/ 2233622 h 4687251"/>
              <a:gd name="connsiteX12234" fmla="*/ 4753617 w 8079933"/>
              <a:gd name="connsiteY12234" fmla="*/ 2235809 h 4687251"/>
              <a:gd name="connsiteX12235" fmla="*/ 4752378 w 8079933"/>
              <a:gd name="connsiteY12235" fmla="*/ 2233622 h 4687251"/>
              <a:gd name="connsiteX12236" fmla="*/ 4753571 w 8079933"/>
              <a:gd name="connsiteY12236" fmla="*/ 2227126 h 4687251"/>
              <a:gd name="connsiteX12237" fmla="*/ 4759322 w 8079933"/>
              <a:gd name="connsiteY12237" fmla="*/ 2227126 h 4687251"/>
              <a:gd name="connsiteX12238" fmla="*/ 4759343 w 8079933"/>
              <a:gd name="connsiteY12238" fmla="*/ 2227308 h 4687251"/>
              <a:gd name="connsiteX12239" fmla="*/ 4759322 w 8079933"/>
              <a:gd name="connsiteY12239" fmla="*/ 2227126 h 4687251"/>
              <a:gd name="connsiteX12240" fmla="*/ 3912466 w 8079933"/>
              <a:gd name="connsiteY12240" fmla="*/ 2225593 h 4687251"/>
              <a:gd name="connsiteX12241" fmla="*/ 3914737 w 8079933"/>
              <a:gd name="connsiteY12241" fmla="*/ 2226259 h 4687251"/>
              <a:gd name="connsiteX12242" fmla="*/ 3917124 w 8079933"/>
              <a:gd name="connsiteY12242" fmla="*/ 2228425 h 4687251"/>
              <a:gd name="connsiteX12243" fmla="*/ 3919729 w 8079933"/>
              <a:gd name="connsiteY12243" fmla="*/ 2228533 h 4687251"/>
              <a:gd name="connsiteX12244" fmla="*/ 3921899 w 8079933"/>
              <a:gd name="connsiteY12244" fmla="*/ 2230157 h 4687251"/>
              <a:gd name="connsiteX12245" fmla="*/ 3919800 w 8079933"/>
              <a:gd name="connsiteY12245" fmla="*/ 2235268 h 4687251"/>
              <a:gd name="connsiteX12246" fmla="*/ 3921900 w 8079933"/>
              <a:gd name="connsiteY12246" fmla="*/ 2230157 h 4687251"/>
              <a:gd name="connsiteX12247" fmla="*/ 3919729 w 8079933"/>
              <a:gd name="connsiteY12247" fmla="*/ 2228533 h 4687251"/>
              <a:gd name="connsiteX12248" fmla="*/ 3917125 w 8079933"/>
              <a:gd name="connsiteY12248" fmla="*/ 2228424 h 4687251"/>
              <a:gd name="connsiteX12249" fmla="*/ 3914738 w 8079933"/>
              <a:gd name="connsiteY12249" fmla="*/ 2226259 h 4687251"/>
              <a:gd name="connsiteX12250" fmla="*/ 4204472 w 8079933"/>
              <a:gd name="connsiteY12250" fmla="*/ 2225063 h 4687251"/>
              <a:gd name="connsiteX12251" fmla="*/ 4205996 w 8079933"/>
              <a:gd name="connsiteY12251" fmla="*/ 2226583 h 4687251"/>
              <a:gd name="connsiteX12252" fmla="*/ 4202186 w 8079933"/>
              <a:gd name="connsiteY12252" fmla="*/ 2232324 h 4687251"/>
              <a:gd name="connsiteX12253" fmla="*/ 4205996 w 8079933"/>
              <a:gd name="connsiteY12253" fmla="*/ 2226583 h 4687251"/>
              <a:gd name="connsiteX12254" fmla="*/ 7007897 w 8079933"/>
              <a:gd name="connsiteY12254" fmla="*/ 2221170 h 4687251"/>
              <a:gd name="connsiteX12255" fmla="*/ 7010827 w 8079933"/>
              <a:gd name="connsiteY12255" fmla="*/ 2224743 h 4687251"/>
              <a:gd name="connsiteX12256" fmla="*/ 7011696 w 8079933"/>
              <a:gd name="connsiteY12256" fmla="*/ 2227991 h 4687251"/>
              <a:gd name="connsiteX12257" fmla="*/ 7010502 w 8079933"/>
              <a:gd name="connsiteY12257" fmla="*/ 2230048 h 4687251"/>
              <a:gd name="connsiteX12258" fmla="*/ 7006378 w 8079933"/>
              <a:gd name="connsiteY12258" fmla="*/ 2229398 h 4687251"/>
              <a:gd name="connsiteX12259" fmla="*/ 7003665 w 8079933"/>
              <a:gd name="connsiteY12259" fmla="*/ 2224635 h 4687251"/>
              <a:gd name="connsiteX12260" fmla="*/ 7004858 w 8079933"/>
              <a:gd name="connsiteY12260" fmla="*/ 2221711 h 4687251"/>
              <a:gd name="connsiteX12261" fmla="*/ 4771368 w 8079933"/>
              <a:gd name="connsiteY12261" fmla="*/ 2221063 h 4687251"/>
              <a:gd name="connsiteX12262" fmla="*/ 4768438 w 8079933"/>
              <a:gd name="connsiteY12262" fmla="*/ 2223661 h 4687251"/>
              <a:gd name="connsiteX12263" fmla="*/ 4771368 w 8079933"/>
              <a:gd name="connsiteY12263" fmla="*/ 2221063 h 4687251"/>
              <a:gd name="connsiteX12264" fmla="*/ 4771368 w 8079933"/>
              <a:gd name="connsiteY12264" fmla="*/ 2221063 h 4687251"/>
              <a:gd name="connsiteX12265" fmla="*/ 5039132 w 8079933"/>
              <a:gd name="connsiteY12265" fmla="*/ 2220576 h 4687251"/>
              <a:gd name="connsiteX12266" fmla="*/ 5040597 w 8079933"/>
              <a:gd name="connsiteY12266" fmla="*/ 2221604 h 4687251"/>
              <a:gd name="connsiteX12267" fmla="*/ 5045155 w 8079933"/>
              <a:gd name="connsiteY12267" fmla="*/ 2230049 h 4687251"/>
              <a:gd name="connsiteX12268" fmla="*/ 5049604 w 8079933"/>
              <a:gd name="connsiteY12268" fmla="*/ 2232432 h 4687251"/>
              <a:gd name="connsiteX12269" fmla="*/ 5054596 w 8079933"/>
              <a:gd name="connsiteY12269" fmla="*/ 2243150 h 4687251"/>
              <a:gd name="connsiteX12270" fmla="*/ 5054596 w 8079933"/>
              <a:gd name="connsiteY12270" fmla="*/ 2243150 h 4687251"/>
              <a:gd name="connsiteX12271" fmla="*/ 5049604 w 8079933"/>
              <a:gd name="connsiteY12271" fmla="*/ 2232431 h 4687251"/>
              <a:gd name="connsiteX12272" fmla="*/ 5045155 w 8079933"/>
              <a:gd name="connsiteY12272" fmla="*/ 2230049 h 4687251"/>
              <a:gd name="connsiteX12273" fmla="*/ 5040597 w 8079933"/>
              <a:gd name="connsiteY12273" fmla="*/ 2221604 h 4687251"/>
              <a:gd name="connsiteX12274" fmla="*/ 3553594 w 8079933"/>
              <a:gd name="connsiteY12274" fmla="*/ 2219546 h 4687251"/>
              <a:gd name="connsiteX12275" fmla="*/ 3556089 w 8079933"/>
              <a:gd name="connsiteY12275" fmla="*/ 2223444 h 4687251"/>
              <a:gd name="connsiteX12276" fmla="*/ 3553050 w 8079933"/>
              <a:gd name="connsiteY12276" fmla="*/ 2224852 h 4687251"/>
              <a:gd name="connsiteX12277" fmla="*/ 3548601 w 8079933"/>
              <a:gd name="connsiteY12277" fmla="*/ 2223011 h 4687251"/>
              <a:gd name="connsiteX12278" fmla="*/ 3547191 w 8079933"/>
              <a:gd name="connsiteY12278" fmla="*/ 2220412 h 4687251"/>
              <a:gd name="connsiteX12279" fmla="*/ 4119928 w 8079933"/>
              <a:gd name="connsiteY12279" fmla="*/ 2214817 h 4687251"/>
              <a:gd name="connsiteX12280" fmla="*/ 4121028 w 8079933"/>
              <a:gd name="connsiteY12280" fmla="*/ 2215216 h 4687251"/>
              <a:gd name="connsiteX12281" fmla="*/ 4121027 w 8079933"/>
              <a:gd name="connsiteY12281" fmla="*/ 2215215 h 4687251"/>
              <a:gd name="connsiteX12282" fmla="*/ 5549433 w 8079933"/>
              <a:gd name="connsiteY12282" fmla="*/ 2214566 h 4687251"/>
              <a:gd name="connsiteX12283" fmla="*/ 5549433 w 8079933"/>
              <a:gd name="connsiteY12283" fmla="*/ 2214567 h 4687251"/>
              <a:gd name="connsiteX12284" fmla="*/ 5551277 w 8079933"/>
              <a:gd name="connsiteY12284" fmla="*/ 2225177 h 4687251"/>
              <a:gd name="connsiteX12285" fmla="*/ 5549763 w 8079933"/>
              <a:gd name="connsiteY12285" fmla="*/ 2227381 h 4687251"/>
              <a:gd name="connsiteX12286" fmla="*/ 5551278 w 8079933"/>
              <a:gd name="connsiteY12286" fmla="*/ 2225176 h 4687251"/>
              <a:gd name="connsiteX12287" fmla="*/ 1427211 w 8079933"/>
              <a:gd name="connsiteY12287" fmla="*/ 2211535 h 4687251"/>
              <a:gd name="connsiteX12288" fmla="*/ 1465950 w 8079933"/>
              <a:gd name="connsiteY12288" fmla="*/ 2212726 h 4687251"/>
              <a:gd name="connsiteX12289" fmla="*/ 1470400 w 8079933"/>
              <a:gd name="connsiteY12289" fmla="*/ 2215541 h 4687251"/>
              <a:gd name="connsiteX12290" fmla="*/ 1474198 w 8079933"/>
              <a:gd name="connsiteY12290" fmla="*/ 2220955 h 4687251"/>
              <a:gd name="connsiteX12291" fmla="*/ 1476259 w 8079933"/>
              <a:gd name="connsiteY12291" fmla="*/ 2223445 h 4687251"/>
              <a:gd name="connsiteX12292" fmla="*/ 1476694 w 8079933"/>
              <a:gd name="connsiteY12292" fmla="*/ 2225610 h 4687251"/>
              <a:gd name="connsiteX12293" fmla="*/ 1479189 w 8079933"/>
              <a:gd name="connsiteY12293" fmla="*/ 2225718 h 4687251"/>
              <a:gd name="connsiteX12294" fmla="*/ 1481360 w 8079933"/>
              <a:gd name="connsiteY12294" fmla="*/ 2228858 h 4687251"/>
              <a:gd name="connsiteX12295" fmla="*/ 1480600 w 8079933"/>
              <a:gd name="connsiteY12295" fmla="*/ 2231240 h 4687251"/>
              <a:gd name="connsiteX12296" fmla="*/ 1484290 w 8079933"/>
              <a:gd name="connsiteY12296" fmla="*/ 2232539 h 4687251"/>
              <a:gd name="connsiteX12297" fmla="*/ 1487980 w 8079933"/>
              <a:gd name="connsiteY12297" fmla="*/ 2235571 h 4687251"/>
              <a:gd name="connsiteX12298" fmla="*/ 1487980 w 8079933"/>
              <a:gd name="connsiteY12298" fmla="*/ 2235570 h 4687251"/>
              <a:gd name="connsiteX12299" fmla="*/ 1484291 w 8079933"/>
              <a:gd name="connsiteY12299" fmla="*/ 2232539 h 4687251"/>
              <a:gd name="connsiteX12300" fmla="*/ 1480601 w 8079933"/>
              <a:gd name="connsiteY12300" fmla="*/ 2231240 h 4687251"/>
              <a:gd name="connsiteX12301" fmla="*/ 1481361 w 8079933"/>
              <a:gd name="connsiteY12301" fmla="*/ 2228858 h 4687251"/>
              <a:gd name="connsiteX12302" fmla="*/ 1479190 w 8079933"/>
              <a:gd name="connsiteY12302" fmla="*/ 2225718 h 4687251"/>
              <a:gd name="connsiteX12303" fmla="*/ 1476695 w 8079933"/>
              <a:gd name="connsiteY12303" fmla="*/ 2225610 h 4687251"/>
              <a:gd name="connsiteX12304" fmla="*/ 1476260 w 8079933"/>
              <a:gd name="connsiteY12304" fmla="*/ 2223445 h 4687251"/>
              <a:gd name="connsiteX12305" fmla="*/ 1474198 w 8079933"/>
              <a:gd name="connsiteY12305" fmla="*/ 2220954 h 4687251"/>
              <a:gd name="connsiteX12306" fmla="*/ 1470400 w 8079933"/>
              <a:gd name="connsiteY12306" fmla="*/ 2215541 h 4687251"/>
              <a:gd name="connsiteX12307" fmla="*/ 1465951 w 8079933"/>
              <a:gd name="connsiteY12307" fmla="*/ 2212725 h 4687251"/>
              <a:gd name="connsiteX12308" fmla="*/ 5009186 w 8079933"/>
              <a:gd name="connsiteY12308" fmla="*/ 2209720 h 4687251"/>
              <a:gd name="connsiteX12309" fmla="*/ 5010863 w 8079933"/>
              <a:gd name="connsiteY12309" fmla="*/ 2210994 h 4687251"/>
              <a:gd name="connsiteX12310" fmla="*/ 5010863 w 8079933"/>
              <a:gd name="connsiteY12310" fmla="*/ 2210994 h 4687251"/>
              <a:gd name="connsiteX12311" fmla="*/ 5017374 w 8079933"/>
              <a:gd name="connsiteY12311" fmla="*/ 2208937 h 4687251"/>
              <a:gd name="connsiteX12312" fmla="*/ 5035171 w 8079933"/>
              <a:gd name="connsiteY12312" fmla="*/ 2220630 h 4687251"/>
              <a:gd name="connsiteX12313" fmla="*/ 5037667 w 8079933"/>
              <a:gd name="connsiteY12313" fmla="*/ 2219547 h 4687251"/>
              <a:gd name="connsiteX12314" fmla="*/ 5037667 w 8079933"/>
              <a:gd name="connsiteY12314" fmla="*/ 2219547 h 4687251"/>
              <a:gd name="connsiteX12315" fmla="*/ 5035171 w 8079933"/>
              <a:gd name="connsiteY12315" fmla="*/ 2220629 h 4687251"/>
              <a:gd name="connsiteX12316" fmla="*/ 5017375 w 8079933"/>
              <a:gd name="connsiteY12316" fmla="*/ 2208937 h 4687251"/>
              <a:gd name="connsiteX12317" fmla="*/ 7013865 w 8079933"/>
              <a:gd name="connsiteY12317" fmla="*/ 2208611 h 4687251"/>
              <a:gd name="connsiteX12318" fmla="*/ 7016577 w 8079933"/>
              <a:gd name="connsiteY12318" fmla="*/ 2210885 h 4687251"/>
              <a:gd name="connsiteX12319" fmla="*/ 7017011 w 8079933"/>
              <a:gd name="connsiteY12319" fmla="*/ 2214891 h 4687251"/>
              <a:gd name="connsiteX12320" fmla="*/ 7015926 w 8079933"/>
              <a:gd name="connsiteY12320" fmla="*/ 2218139 h 4687251"/>
              <a:gd name="connsiteX12321" fmla="*/ 7014732 w 8079933"/>
              <a:gd name="connsiteY12321" fmla="*/ 2219438 h 4687251"/>
              <a:gd name="connsiteX12322" fmla="*/ 7013756 w 8079933"/>
              <a:gd name="connsiteY12322" fmla="*/ 2211750 h 4687251"/>
              <a:gd name="connsiteX12323" fmla="*/ 5691265 w 8079933"/>
              <a:gd name="connsiteY12323" fmla="*/ 2205579 h 4687251"/>
              <a:gd name="connsiteX12324" fmla="*/ 5685513 w 8079933"/>
              <a:gd name="connsiteY12324" fmla="*/ 2207744 h 4687251"/>
              <a:gd name="connsiteX12325" fmla="*/ 5678243 w 8079933"/>
              <a:gd name="connsiteY12325" fmla="*/ 2206229 h 4687251"/>
              <a:gd name="connsiteX12326" fmla="*/ 5677964 w 8079933"/>
              <a:gd name="connsiteY12326" fmla="*/ 2205652 h 4687251"/>
              <a:gd name="connsiteX12327" fmla="*/ 5678243 w 8079933"/>
              <a:gd name="connsiteY12327" fmla="*/ 2206229 h 4687251"/>
              <a:gd name="connsiteX12328" fmla="*/ 5685513 w 8079933"/>
              <a:gd name="connsiteY12328" fmla="*/ 2207744 h 4687251"/>
              <a:gd name="connsiteX12329" fmla="*/ 4767352 w 8079933"/>
              <a:gd name="connsiteY12329" fmla="*/ 2203739 h 4687251"/>
              <a:gd name="connsiteX12330" fmla="*/ 4766050 w 8079933"/>
              <a:gd name="connsiteY12330" fmla="*/ 2206554 h 4687251"/>
              <a:gd name="connsiteX12331" fmla="*/ 4764856 w 8079933"/>
              <a:gd name="connsiteY12331" fmla="*/ 2212617 h 4687251"/>
              <a:gd name="connsiteX12332" fmla="*/ 4763554 w 8079933"/>
              <a:gd name="connsiteY12332" fmla="*/ 2219655 h 4687251"/>
              <a:gd name="connsiteX12333" fmla="*/ 4764531 w 8079933"/>
              <a:gd name="connsiteY12333" fmla="*/ 2223877 h 4687251"/>
              <a:gd name="connsiteX12334" fmla="*/ 4765616 w 8079933"/>
              <a:gd name="connsiteY12334" fmla="*/ 2225934 h 4687251"/>
              <a:gd name="connsiteX12335" fmla="*/ 4764965 w 8079933"/>
              <a:gd name="connsiteY12335" fmla="*/ 2225934 h 4687251"/>
              <a:gd name="connsiteX12336" fmla="*/ 4764965 w 8079933"/>
              <a:gd name="connsiteY12336" fmla="*/ 2225935 h 4687251"/>
              <a:gd name="connsiteX12337" fmla="*/ 4765092 w 8079933"/>
              <a:gd name="connsiteY12337" fmla="*/ 2225942 h 4687251"/>
              <a:gd name="connsiteX12338" fmla="*/ 4764966 w 8079933"/>
              <a:gd name="connsiteY12338" fmla="*/ 2225935 h 4687251"/>
              <a:gd name="connsiteX12339" fmla="*/ 4765616 w 8079933"/>
              <a:gd name="connsiteY12339" fmla="*/ 2225935 h 4687251"/>
              <a:gd name="connsiteX12340" fmla="*/ 4766787 w 8079933"/>
              <a:gd name="connsiteY12340" fmla="*/ 2226042 h 4687251"/>
              <a:gd name="connsiteX12341" fmla="*/ 4766810 w 8079933"/>
              <a:gd name="connsiteY12341" fmla="*/ 2226043 h 4687251"/>
              <a:gd name="connsiteX12342" fmla="*/ 4766810 w 8079933"/>
              <a:gd name="connsiteY12342" fmla="*/ 2226043 h 4687251"/>
              <a:gd name="connsiteX12343" fmla="*/ 4765617 w 8079933"/>
              <a:gd name="connsiteY12343" fmla="*/ 2225935 h 4687251"/>
              <a:gd name="connsiteX12344" fmla="*/ 4764532 w 8079933"/>
              <a:gd name="connsiteY12344" fmla="*/ 2223877 h 4687251"/>
              <a:gd name="connsiteX12345" fmla="*/ 4763555 w 8079933"/>
              <a:gd name="connsiteY12345" fmla="*/ 2219655 h 4687251"/>
              <a:gd name="connsiteX12346" fmla="*/ 4764857 w 8079933"/>
              <a:gd name="connsiteY12346" fmla="*/ 2212617 h 4687251"/>
              <a:gd name="connsiteX12347" fmla="*/ 4766050 w 8079933"/>
              <a:gd name="connsiteY12347" fmla="*/ 2206554 h 4687251"/>
              <a:gd name="connsiteX12348" fmla="*/ 4767353 w 8079933"/>
              <a:gd name="connsiteY12348" fmla="*/ 2203739 h 4687251"/>
              <a:gd name="connsiteX12349" fmla="*/ 4767570 w 8079933"/>
              <a:gd name="connsiteY12349" fmla="*/ 2203739 h 4687251"/>
              <a:gd name="connsiteX12350" fmla="*/ 4768872 w 8079933"/>
              <a:gd name="connsiteY12350" fmla="*/ 2205471 h 4687251"/>
              <a:gd name="connsiteX12351" fmla="*/ 4772235 w 8079933"/>
              <a:gd name="connsiteY12351" fmla="*/ 2208827 h 4687251"/>
              <a:gd name="connsiteX12352" fmla="*/ 4772235 w 8079933"/>
              <a:gd name="connsiteY12352" fmla="*/ 2208827 h 4687251"/>
              <a:gd name="connsiteX12353" fmla="*/ 4768872 w 8079933"/>
              <a:gd name="connsiteY12353" fmla="*/ 2205470 h 4687251"/>
              <a:gd name="connsiteX12354" fmla="*/ 5005329 w 8079933"/>
              <a:gd name="connsiteY12354" fmla="*/ 2202549 h 4687251"/>
              <a:gd name="connsiteX12355" fmla="*/ 5006740 w 8079933"/>
              <a:gd name="connsiteY12355" fmla="*/ 2204281 h 4687251"/>
              <a:gd name="connsiteX12356" fmla="*/ 5006332 w 8079933"/>
              <a:gd name="connsiteY12356" fmla="*/ 2205655 h 4687251"/>
              <a:gd name="connsiteX12357" fmla="*/ 5006740 w 8079933"/>
              <a:gd name="connsiteY12357" fmla="*/ 2204281 h 4687251"/>
              <a:gd name="connsiteX12358" fmla="*/ 5779272 w 8079933"/>
              <a:gd name="connsiteY12358" fmla="*/ 2198974 h 4687251"/>
              <a:gd name="connsiteX12359" fmla="*/ 5779271 w 8079933"/>
              <a:gd name="connsiteY12359" fmla="*/ 2198975 h 4687251"/>
              <a:gd name="connsiteX12360" fmla="*/ 5783285 w 8079933"/>
              <a:gd name="connsiteY12360" fmla="*/ 2200274 h 4687251"/>
              <a:gd name="connsiteX12361" fmla="*/ 5784154 w 8079933"/>
              <a:gd name="connsiteY12361" fmla="*/ 2203630 h 4687251"/>
              <a:gd name="connsiteX12362" fmla="*/ 5784155 w 8079933"/>
              <a:gd name="connsiteY12362" fmla="*/ 2203629 h 4687251"/>
              <a:gd name="connsiteX12363" fmla="*/ 5783287 w 8079933"/>
              <a:gd name="connsiteY12363" fmla="*/ 2200274 h 4687251"/>
              <a:gd name="connsiteX12364" fmla="*/ 4183859 w 8079933"/>
              <a:gd name="connsiteY12364" fmla="*/ 2194969 h 4687251"/>
              <a:gd name="connsiteX12365" fmla="*/ 4188200 w 8079933"/>
              <a:gd name="connsiteY12365" fmla="*/ 2194969 h 4687251"/>
              <a:gd name="connsiteX12366" fmla="*/ 4190045 w 8079933"/>
              <a:gd name="connsiteY12366" fmla="*/ 2197134 h 4687251"/>
              <a:gd name="connsiteX12367" fmla="*/ 4187006 w 8079933"/>
              <a:gd name="connsiteY12367" fmla="*/ 2199624 h 4687251"/>
              <a:gd name="connsiteX12368" fmla="*/ 4183208 w 8079933"/>
              <a:gd name="connsiteY12368" fmla="*/ 2196701 h 4687251"/>
              <a:gd name="connsiteX12369" fmla="*/ 5750696 w 8079933"/>
              <a:gd name="connsiteY12369" fmla="*/ 2192746 h 4687251"/>
              <a:gd name="connsiteX12370" fmla="*/ 5754095 w 8079933"/>
              <a:gd name="connsiteY12370" fmla="*/ 2194102 h 4687251"/>
              <a:gd name="connsiteX12371" fmla="*/ 5756591 w 8079933"/>
              <a:gd name="connsiteY12371" fmla="*/ 2200706 h 4687251"/>
              <a:gd name="connsiteX12372" fmla="*/ 5756592 w 8079933"/>
              <a:gd name="connsiteY12372" fmla="*/ 2200706 h 4687251"/>
              <a:gd name="connsiteX12373" fmla="*/ 5754096 w 8079933"/>
              <a:gd name="connsiteY12373" fmla="*/ 2194102 h 4687251"/>
              <a:gd name="connsiteX12374" fmla="*/ 6777516 w 8079933"/>
              <a:gd name="connsiteY12374" fmla="*/ 2191396 h 4687251"/>
              <a:gd name="connsiteX12375" fmla="*/ 6783268 w 8079933"/>
              <a:gd name="connsiteY12375" fmla="*/ 2192371 h 4687251"/>
              <a:gd name="connsiteX12376" fmla="*/ 6785437 w 8079933"/>
              <a:gd name="connsiteY12376" fmla="*/ 2193778 h 4687251"/>
              <a:gd name="connsiteX12377" fmla="*/ 6789452 w 8079933"/>
              <a:gd name="connsiteY12377" fmla="*/ 2193453 h 4687251"/>
              <a:gd name="connsiteX12378" fmla="*/ 6789995 w 8079933"/>
              <a:gd name="connsiteY12378" fmla="*/ 2198543 h 4687251"/>
              <a:gd name="connsiteX12379" fmla="*/ 6784895 w 8079933"/>
              <a:gd name="connsiteY12379" fmla="*/ 2196269 h 4687251"/>
              <a:gd name="connsiteX12380" fmla="*/ 6779795 w 8079933"/>
              <a:gd name="connsiteY12380" fmla="*/ 2196160 h 4687251"/>
              <a:gd name="connsiteX12381" fmla="*/ 6776973 w 8079933"/>
              <a:gd name="connsiteY12381" fmla="*/ 2193237 h 4687251"/>
              <a:gd name="connsiteX12382" fmla="*/ 5001600 w 8079933"/>
              <a:gd name="connsiteY12382" fmla="*/ 2191065 h 4687251"/>
              <a:gd name="connsiteX12383" fmla="*/ 5002182 w 8079933"/>
              <a:gd name="connsiteY12383" fmla="*/ 2193129 h 4687251"/>
              <a:gd name="connsiteX12384" fmla="*/ 5007608 w 8079933"/>
              <a:gd name="connsiteY12384" fmla="*/ 2197568 h 4687251"/>
              <a:gd name="connsiteX12385" fmla="*/ 5006732 w 8079933"/>
              <a:gd name="connsiteY12385" fmla="*/ 2199482 h 4687251"/>
              <a:gd name="connsiteX12386" fmla="*/ 5007608 w 8079933"/>
              <a:gd name="connsiteY12386" fmla="*/ 2197568 h 4687251"/>
              <a:gd name="connsiteX12387" fmla="*/ 5002182 w 8079933"/>
              <a:gd name="connsiteY12387" fmla="*/ 2193129 h 4687251"/>
              <a:gd name="connsiteX12388" fmla="*/ 4995997 w 8079933"/>
              <a:gd name="connsiteY12388" fmla="*/ 2188581 h 4687251"/>
              <a:gd name="connsiteX12389" fmla="*/ 4995997 w 8079933"/>
              <a:gd name="connsiteY12389" fmla="*/ 2188582 h 4687251"/>
              <a:gd name="connsiteX12390" fmla="*/ 5001205 w 8079933"/>
              <a:gd name="connsiteY12390" fmla="*/ 2189665 h 4687251"/>
              <a:gd name="connsiteX12391" fmla="*/ 5001205 w 8079933"/>
              <a:gd name="connsiteY12391" fmla="*/ 2189664 h 4687251"/>
              <a:gd name="connsiteX12392" fmla="*/ 5354861 w 8079933"/>
              <a:gd name="connsiteY12392" fmla="*/ 2183926 h 4687251"/>
              <a:gd name="connsiteX12393" fmla="*/ 5347483 w 8079933"/>
              <a:gd name="connsiteY12393" fmla="*/ 2193129 h 4687251"/>
              <a:gd name="connsiteX12394" fmla="*/ 5346289 w 8079933"/>
              <a:gd name="connsiteY12394" fmla="*/ 2199300 h 4687251"/>
              <a:gd name="connsiteX12395" fmla="*/ 5352692 w 8079933"/>
              <a:gd name="connsiteY12395" fmla="*/ 2211643 h 4687251"/>
              <a:gd name="connsiteX12396" fmla="*/ 5356164 w 8079933"/>
              <a:gd name="connsiteY12396" fmla="*/ 2222795 h 4687251"/>
              <a:gd name="connsiteX12397" fmla="*/ 5354428 w 8079933"/>
              <a:gd name="connsiteY12397" fmla="*/ 2226043 h 4687251"/>
              <a:gd name="connsiteX12398" fmla="*/ 5356815 w 8079933"/>
              <a:gd name="connsiteY12398" fmla="*/ 2230374 h 4687251"/>
              <a:gd name="connsiteX12399" fmla="*/ 5357466 w 8079933"/>
              <a:gd name="connsiteY12399" fmla="*/ 2239144 h 4687251"/>
              <a:gd name="connsiteX12400" fmla="*/ 5357467 w 8079933"/>
              <a:gd name="connsiteY12400" fmla="*/ 2239144 h 4687251"/>
              <a:gd name="connsiteX12401" fmla="*/ 5356816 w 8079933"/>
              <a:gd name="connsiteY12401" fmla="*/ 2230373 h 4687251"/>
              <a:gd name="connsiteX12402" fmla="*/ 5354429 w 8079933"/>
              <a:gd name="connsiteY12402" fmla="*/ 2226043 h 4687251"/>
              <a:gd name="connsiteX12403" fmla="*/ 5356165 w 8079933"/>
              <a:gd name="connsiteY12403" fmla="*/ 2222795 h 4687251"/>
              <a:gd name="connsiteX12404" fmla="*/ 5352692 w 8079933"/>
              <a:gd name="connsiteY12404" fmla="*/ 2211643 h 4687251"/>
              <a:gd name="connsiteX12405" fmla="*/ 5346290 w 8079933"/>
              <a:gd name="connsiteY12405" fmla="*/ 2199300 h 4687251"/>
              <a:gd name="connsiteX12406" fmla="*/ 5347484 w 8079933"/>
              <a:gd name="connsiteY12406" fmla="*/ 2193129 h 4687251"/>
              <a:gd name="connsiteX12407" fmla="*/ 5354862 w 8079933"/>
              <a:gd name="connsiteY12407" fmla="*/ 2183926 h 4687251"/>
              <a:gd name="connsiteX12408" fmla="*/ 1276698 w 8079933"/>
              <a:gd name="connsiteY12408" fmla="*/ 2177105 h 4687251"/>
              <a:gd name="connsiteX12409" fmla="*/ 1277891 w 8079933"/>
              <a:gd name="connsiteY12409" fmla="*/ 2179162 h 4687251"/>
              <a:gd name="connsiteX12410" fmla="*/ 1277023 w 8079933"/>
              <a:gd name="connsiteY12410" fmla="*/ 2181003 h 4687251"/>
              <a:gd name="connsiteX12411" fmla="*/ 1358411 w 8079933"/>
              <a:gd name="connsiteY12411" fmla="*/ 2218139 h 4687251"/>
              <a:gd name="connsiteX12412" fmla="*/ 1426776 w 8079933"/>
              <a:gd name="connsiteY12412" fmla="*/ 2220196 h 4687251"/>
              <a:gd name="connsiteX12413" fmla="*/ 1358411 w 8079933"/>
              <a:gd name="connsiteY12413" fmla="*/ 2218139 h 4687251"/>
              <a:gd name="connsiteX12414" fmla="*/ 1277023 w 8079933"/>
              <a:gd name="connsiteY12414" fmla="*/ 2181003 h 4687251"/>
              <a:gd name="connsiteX12415" fmla="*/ 1277892 w 8079933"/>
              <a:gd name="connsiteY12415" fmla="*/ 2179162 h 4687251"/>
              <a:gd name="connsiteX12416" fmla="*/ 3903235 w 8079933"/>
              <a:gd name="connsiteY12416" fmla="*/ 2175047 h 4687251"/>
              <a:gd name="connsiteX12417" fmla="*/ 3903669 w 8079933"/>
              <a:gd name="connsiteY12417" fmla="*/ 2182735 h 4687251"/>
              <a:gd name="connsiteX12418" fmla="*/ 3903560 w 8079933"/>
              <a:gd name="connsiteY12418" fmla="*/ 2192046 h 4687251"/>
              <a:gd name="connsiteX12419" fmla="*/ 3904537 w 8079933"/>
              <a:gd name="connsiteY12419" fmla="*/ 2195835 h 4687251"/>
              <a:gd name="connsiteX12420" fmla="*/ 3906490 w 8079933"/>
              <a:gd name="connsiteY12420" fmla="*/ 2213484 h 4687251"/>
              <a:gd name="connsiteX12421" fmla="*/ 3909854 w 8079933"/>
              <a:gd name="connsiteY12421" fmla="*/ 2220521 h 4687251"/>
              <a:gd name="connsiteX12422" fmla="*/ 3911048 w 8079933"/>
              <a:gd name="connsiteY12422" fmla="*/ 2225176 h 4687251"/>
              <a:gd name="connsiteX12423" fmla="*/ 3911048 w 8079933"/>
              <a:gd name="connsiteY12423" fmla="*/ 2225177 h 4687251"/>
              <a:gd name="connsiteX12424" fmla="*/ 3909855 w 8079933"/>
              <a:gd name="connsiteY12424" fmla="*/ 2220521 h 4687251"/>
              <a:gd name="connsiteX12425" fmla="*/ 3906490 w 8079933"/>
              <a:gd name="connsiteY12425" fmla="*/ 2213483 h 4687251"/>
              <a:gd name="connsiteX12426" fmla="*/ 3904537 w 8079933"/>
              <a:gd name="connsiteY12426" fmla="*/ 2195835 h 4687251"/>
              <a:gd name="connsiteX12427" fmla="*/ 3903560 w 8079933"/>
              <a:gd name="connsiteY12427" fmla="*/ 2192046 h 4687251"/>
              <a:gd name="connsiteX12428" fmla="*/ 3903669 w 8079933"/>
              <a:gd name="connsiteY12428" fmla="*/ 2182735 h 4687251"/>
              <a:gd name="connsiteX12429" fmla="*/ 5557138 w 8079933"/>
              <a:gd name="connsiteY12429" fmla="*/ 2168659 h 4687251"/>
              <a:gd name="connsiteX12430" fmla="*/ 5557137 w 8079933"/>
              <a:gd name="connsiteY12430" fmla="*/ 2168659 h 4687251"/>
              <a:gd name="connsiteX12431" fmla="*/ 5559742 w 8079933"/>
              <a:gd name="connsiteY12431" fmla="*/ 2174831 h 4687251"/>
              <a:gd name="connsiteX12432" fmla="*/ 5564733 w 8079933"/>
              <a:gd name="connsiteY12432" fmla="*/ 2177646 h 4687251"/>
              <a:gd name="connsiteX12433" fmla="*/ 5567772 w 8079933"/>
              <a:gd name="connsiteY12433" fmla="*/ 2184142 h 4687251"/>
              <a:gd name="connsiteX12434" fmla="*/ 5566919 w 8079933"/>
              <a:gd name="connsiteY12434" fmla="*/ 2187376 h 4687251"/>
              <a:gd name="connsiteX12435" fmla="*/ 5567773 w 8079933"/>
              <a:gd name="connsiteY12435" fmla="*/ 2184142 h 4687251"/>
              <a:gd name="connsiteX12436" fmla="*/ 5564734 w 8079933"/>
              <a:gd name="connsiteY12436" fmla="*/ 2177645 h 4687251"/>
              <a:gd name="connsiteX12437" fmla="*/ 5559742 w 8079933"/>
              <a:gd name="connsiteY12437" fmla="*/ 2174830 h 4687251"/>
              <a:gd name="connsiteX12438" fmla="*/ 6981418 w 8079933"/>
              <a:gd name="connsiteY12438" fmla="*/ 2165845 h 4687251"/>
              <a:gd name="connsiteX12439" fmla="*/ 6982829 w 8079933"/>
              <a:gd name="connsiteY12439" fmla="*/ 2166495 h 4687251"/>
              <a:gd name="connsiteX12440" fmla="*/ 6981093 w 8079933"/>
              <a:gd name="connsiteY12440" fmla="*/ 2169418 h 4687251"/>
              <a:gd name="connsiteX12441" fmla="*/ 6979574 w 8079933"/>
              <a:gd name="connsiteY12441" fmla="*/ 2167902 h 4687251"/>
              <a:gd name="connsiteX12442" fmla="*/ 5583652 w 8079933"/>
              <a:gd name="connsiteY12442" fmla="*/ 2163786 h 4687251"/>
              <a:gd name="connsiteX12443" fmla="*/ 5580577 w 8079933"/>
              <a:gd name="connsiteY12443" fmla="*/ 2168334 h 4687251"/>
              <a:gd name="connsiteX12444" fmla="*/ 5580578 w 8079933"/>
              <a:gd name="connsiteY12444" fmla="*/ 2168334 h 4687251"/>
              <a:gd name="connsiteX12445" fmla="*/ 4130230 w 8079933"/>
              <a:gd name="connsiteY12445" fmla="*/ 2162599 h 4687251"/>
              <a:gd name="connsiteX12446" fmla="*/ 4132639 w 8079933"/>
              <a:gd name="connsiteY12446" fmla="*/ 2165086 h 4687251"/>
              <a:gd name="connsiteX12447" fmla="*/ 4132639 w 8079933"/>
              <a:gd name="connsiteY12447" fmla="*/ 2165086 h 4687251"/>
              <a:gd name="connsiteX12448" fmla="*/ 4887263 w 8079933"/>
              <a:gd name="connsiteY12448" fmla="*/ 2161405 h 4687251"/>
              <a:gd name="connsiteX12449" fmla="*/ 4883465 w 8079933"/>
              <a:gd name="connsiteY12449" fmla="*/ 2166926 h 4687251"/>
              <a:gd name="connsiteX12450" fmla="*/ 4881295 w 8079933"/>
              <a:gd name="connsiteY12450" fmla="*/ 2170607 h 4687251"/>
              <a:gd name="connsiteX12451" fmla="*/ 4838756 w 8079933"/>
              <a:gd name="connsiteY12451" fmla="*/ 2200815 h 4687251"/>
              <a:gd name="connsiteX12452" fmla="*/ 4838648 w 8079933"/>
              <a:gd name="connsiteY12452" fmla="*/ 2201031 h 4687251"/>
              <a:gd name="connsiteX12453" fmla="*/ 4791551 w 8079933"/>
              <a:gd name="connsiteY12453" fmla="*/ 2230590 h 4687251"/>
              <a:gd name="connsiteX12454" fmla="*/ 4788187 w 8079933"/>
              <a:gd name="connsiteY12454" fmla="*/ 2228532 h 4687251"/>
              <a:gd name="connsiteX12455" fmla="*/ 4786451 w 8079933"/>
              <a:gd name="connsiteY12455" fmla="*/ 2228532 h 4687251"/>
              <a:gd name="connsiteX12456" fmla="*/ 4781676 w 8079933"/>
              <a:gd name="connsiteY12456" fmla="*/ 2224743 h 4687251"/>
              <a:gd name="connsiteX12457" fmla="*/ 4773755 w 8079933"/>
              <a:gd name="connsiteY12457" fmla="*/ 2221278 h 4687251"/>
              <a:gd name="connsiteX12458" fmla="*/ 4773736 w 8079933"/>
              <a:gd name="connsiteY12458" fmla="*/ 2221277 h 4687251"/>
              <a:gd name="connsiteX12459" fmla="*/ 4773755 w 8079933"/>
              <a:gd name="connsiteY12459" fmla="*/ 2221279 h 4687251"/>
              <a:gd name="connsiteX12460" fmla="*/ 4773744 w 8079933"/>
              <a:gd name="connsiteY12460" fmla="*/ 2221278 h 4687251"/>
              <a:gd name="connsiteX12461" fmla="*/ 4773755 w 8079933"/>
              <a:gd name="connsiteY12461" fmla="*/ 2221279 h 4687251"/>
              <a:gd name="connsiteX12462" fmla="*/ 4781677 w 8079933"/>
              <a:gd name="connsiteY12462" fmla="*/ 2224744 h 4687251"/>
              <a:gd name="connsiteX12463" fmla="*/ 4786451 w 8079933"/>
              <a:gd name="connsiteY12463" fmla="*/ 2228534 h 4687251"/>
              <a:gd name="connsiteX12464" fmla="*/ 4788188 w 8079933"/>
              <a:gd name="connsiteY12464" fmla="*/ 2228534 h 4687251"/>
              <a:gd name="connsiteX12465" fmla="*/ 4791551 w 8079933"/>
              <a:gd name="connsiteY12465" fmla="*/ 2230591 h 4687251"/>
              <a:gd name="connsiteX12466" fmla="*/ 4838648 w 8079933"/>
              <a:gd name="connsiteY12466" fmla="*/ 2201033 h 4687251"/>
              <a:gd name="connsiteX12467" fmla="*/ 4838648 w 8079933"/>
              <a:gd name="connsiteY12467" fmla="*/ 2201033 h 4687251"/>
              <a:gd name="connsiteX12468" fmla="*/ 4838756 w 8079933"/>
              <a:gd name="connsiteY12468" fmla="*/ 2200816 h 4687251"/>
              <a:gd name="connsiteX12469" fmla="*/ 4881295 w 8079933"/>
              <a:gd name="connsiteY12469" fmla="*/ 2170609 h 4687251"/>
              <a:gd name="connsiteX12470" fmla="*/ 4883465 w 8079933"/>
              <a:gd name="connsiteY12470" fmla="*/ 2166927 h 4687251"/>
              <a:gd name="connsiteX12471" fmla="*/ 4887263 w 8079933"/>
              <a:gd name="connsiteY12471" fmla="*/ 2161406 h 4687251"/>
              <a:gd name="connsiteX12472" fmla="*/ 6984675 w 8079933"/>
              <a:gd name="connsiteY12472" fmla="*/ 2156316 h 4687251"/>
              <a:gd name="connsiteX12473" fmla="*/ 6986411 w 8079933"/>
              <a:gd name="connsiteY12473" fmla="*/ 2157290 h 4687251"/>
              <a:gd name="connsiteX12474" fmla="*/ 6985977 w 8079933"/>
              <a:gd name="connsiteY12474" fmla="*/ 2160213 h 4687251"/>
              <a:gd name="connsiteX12475" fmla="*/ 6983589 w 8079933"/>
              <a:gd name="connsiteY12475" fmla="*/ 2160430 h 4687251"/>
              <a:gd name="connsiteX12476" fmla="*/ 6983264 w 8079933"/>
              <a:gd name="connsiteY12476" fmla="*/ 2157832 h 4687251"/>
              <a:gd name="connsiteX12477" fmla="*/ 6977729 w 8079933"/>
              <a:gd name="connsiteY12477" fmla="*/ 2155559 h 4687251"/>
              <a:gd name="connsiteX12478" fmla="*/ 6978813 w 8079933"/>
              <a:gd name="connsiteY12478" fmla="*/ 2155775 h 4687251"/>
              <a:gd name="connsiteX12479" fmla="*/ 6978922 w 8079933"/>
              <a:gd name="connsiteY12479" fmla="*/ 2157291 h 4687251"/>
              <a:gd name="connsiteX12480" fmla="*/ 6981526 w 8079933"/>
              <a:gd name="connsiteY12480" fmla="*/ 2161838 h 4687251"/>
              <a:gd name="connsiteX12481" fmla="*/ 6980550 w 8079933"/>
              <a:gd name="connsiteY12481" fmla="*/ 2165736 h 4687251"/>
              <a:gd name="connsiteX12482" fmla="*/ 6978380 w 8079933"/>
              <a:gd name="connsiteY12482" fmla="*/ 2165736 h 4687251"/>
              <a:gd name="connsiteX12483" fmla="*/ 6976643 w 8079933"/>
              <a:gd name="connsiteY12483" fmla="*/ 2162379 h 4687251"/>
              <a:gd name="connsiteX12484" fmla="*/ 6975884 w 8079933"/>
              <a:gd name="connsiteY12484" fmla="*/ 2157832 h 4687251"/>
              <a:gd name="connsiteX12485" fmla="*/ 4995454 w 8079933"/>
              <a:gd name="connsiteY12485" fmla="*/ 2155126 h 4687251"/>
              <a:gd name="connsiteX12486" fmla="*/ 4994586 w 8079933"/>
              <a:gd name="connsiteY12486" fmla="*/ 2162488 h 4687251"/>
              <a:gd name="connsiteX12487" fmla="*/ 4992090 w 8079933"/>
              <a:gd name="connsiteY12487" fmla="*/ 2164762 h 4687251"/>
              <a:gd name="connsiteX12488" fmla="*/ 4991873 w 8079933"/>
              <a:gd name="connsiteY12488" fmla="*/ 2173532 h 4687251"/>
              <a:gd name="connsiteX12489" fmla="*/ 4990462 w 8079933"/>
              <a:gd name="connsiteY12489" fmla="*/ 2176780 h 4687251"/>
              <a:gd name="connsiteX12490" fmla="*/ 4992090 w 8079933"/>
              <a:gd name="connsiteY12490" fmla="*/ 2179162 h 4687251"/>
              <a:gd name="connsiteX12491" fmla="*/ 4990710 w 8079933"/>
              <a:gd name="connsiteY12491" fmla="*/ 2180999 h 4687251"/>
              <a:gd name="connsiteX12492" fmla="*/ 4992091 w 8079933"/>
              <a:gd name="connsiteY12492" fmla="*/ 2179162 h 4687251"/>
              <a:gd name="connsiteX12493" fmla="*/ 4990463 w 8079933"/>
              <a:gd name="connsiteY12493" fmla="*/ 2176780 h 4687251"/>
              <a:gd name="connsiteX12494" fmla="*/ 4991873 w 8079933"/>
              <a:gd name="connsiteY12494" fmla="*/ 2173532 h 4687251"/>
              <a:gd name="connsiteX12495" fmla="*/ 4992091 w 8079933"/>
              <a:gd name="connsiteY12495" fmla="*/ 2164762 h 4687251"/>
              <a:gd name="connsiteX12496" fmla="*/ 4994586 w 8079933"/>
              <a:gd name="connsiteY12496" fmla="*/ 2162489 h 4687251"/>
              <a:gd name="connsiteX12497" fmla="*/ 4995454 w 8079933"/>
              <a:gd name="connsiteY12497" fmla="*/ 2155126 h 4687251"/>
              <a:gd name="connsiteX12498" fmla="*/ 5340430 w 8079933"/>
              <a:gd name="connsiteY12498" fmla="*/ 2155126 h 4687251"/>
              <a:gd name="connsiteX12499" fmla="*/ 5340429 w 8079933"/>
              <a:gd name="connsiteY12499" fmla="*/ 2155126 h 4687251"/>
              <a:gd name="connsiteX12500" fmla="*/ 5342491 w 8079933"/>
              <a:gd name="connsiteY12500" fmla="*/ 2158374 h 4687251"/>
              <a:gd name="connsiteX12501" fmla="*/ 5346506 w 8079933"/>
              <a:gd name="connsiteY12501" fmla="*/ 2161405 h 4687251"/>
              <a:gd name="connsiteX12502" fmla="*/ 5342057 w 8079933"/>
              <a:gd name="connsiteY12502" fmla="*/ 2167793 h 4687251"/>
              <a:gd name="connsiteX12503" fmla="*/ 5343142 w 8079933"/>
              <a:gd name="connsiteY12503" fmla="*/ 2168876 h 4687251"/>
              <a:gd name="connsiteX12504" fmla="*/ 5344770 w 8079933"/>
              <a:gd name="connsiteY12504" fmla="*/ 2177430 h 4687251"/>
              <a:gd name="connsiteX12505" fmla="*/ 5344770 w 8079933"/>
              <a:gd name="connsiteY12505" fmla="*/ 2182085 h 4687251"/>
              <a:gd name="connsiteX12506" fmla="*/ 5344771 w 8079933"/>
              <a:gd name="connsiteY12506" fmla="*/ 2182085 h 4687251"/>
              <a:gd name="connsiteX12507" fmla="*/ 5344771 w 8079933"/>
              <a:gd name="connsiteY12507" fmla="*/ 2177429 h 4687251"/>
              <a:gd name="connsiteX12508" fmla="*/ 5343143 w 8079933"/>
              <a:gd name="connsiteY12508" fmla="*/ 2168876 h 4687251"/>
              <a:gd name="connsiteX12509" fmla="*/ 5342058 w 8079933"/>
              <a:gd name="connsiteY12509" fmla="*/ 2167794 h 4687251"/>
              <a:gd name="connsiteX12510" fmla="*/ 5346507 w 8079933"/>
              <a:gd name="connsiteY12510" fmla="*/ 2161406 h 4687251"/>
              <a:gd name="connsiteX12511" fmla="*/ 5342492 w 8079933"/>
              <a:gd name="connsiteY12511" fmla="*/ 2158374 h 4687251"/>
              <a:gd name="connsiteX12512" fmla="*/ 4129675 w 8079933"/>
              <a:gd name="connsiteY12512" fmla="*/ 2149932 h 4687251"/>
              <a:gd name="connsiteX12513" fmla="*/ 4130035 w 8079933"/>
              <a:gd name="connsiteY12513" fmla="*/ 2151445 h 4687251"/>
              <a:gd name="connsiteX12514" fmla="*/ 4132170 w 8079933"/>
              <a:gd name="connsiteY12514" fmla="*/ 2153869 h 4687251"/>
              <a:gd name="connsiteX12515" fmla="*/ 4130035 w 8079933"/>
              <a:gd name="connsiteY12515" fmla="*/ 2151444 h 4687251"/>
              <a:gd name="connsiteX12516" fmla="*/ 5639937 w 8079933"/>
              <a:gd name="connsiteY12516" fmla="*/ 2149147 h 4687251"/>
              <a:gd name="connsiteX12517" fmla="*/ 5640044 w 8079933"/>
              <a:gd name="connsiteY12517" fmla="*/ 2156424 h 4687251"/>
              <a:gd name="connsiteX12518" fmla="*/ 5644386 w 8079933"/>
              <a:gd name="connsiteY12518" fmla="*/ 2163462 h 4687251"/>
              <a:gd name="connsiteX12519" fmla="*/ 5648183 w 8079933"/>
              <a:gd name="connsiteY12519" fmla="*/ 2179703 h 4687251"/>
              <a:gd name="connsiteX12520" fmla="*/ 5649377 w 8079933"/>
              <a:gd name="connsiteY12520" fmla="*/ 2186740 h 4687251"/>
              <a:gd name="connsiteX12521" fmla="*/ 5657950 w 8079933"/>
              <a:gd name="connsiteY12521" fmla="*/ 2194535 h 4687251"/>
              <a:gd name="connsiteX12522" fmla="*/ 5666956 w 8079933"/>
              <a:gd name="connsiteY12522" fmla="*/ 2196701 h 4687251"/>
              <a:gd name="connsiteX12523" fmla="*/ 5668881 w 8079933"/>
              <a:gd name="connsiteY12523" fmla="*/ 2197499 h 4687251"/>
              <a:gd name="connsiteX12524" fmla="*/ 5666956 w 8079933"/>
              <a:gd name="connsiteY12524" fmla="*/ 2196701 h 4687251"/>
              <a:gd name="connsiteX12525" fmla="*/ 5657951 w 8079933"/>
              <a:gd name="connsiteY12525" fmla="*/ 2194535 h 4687251"/>
              <a:gd name="connsiteX12526" fmla="*/ 5649377 w 8079933"/>
              <a:gd name="connsiteY12526" fmla="*/ 2186740 h 4687251"/>
              <a:gd name="connsiteX12527" fmla="*/ 5648183 w 8079933"/>
              <a:gd name="connsiteY12527" fmla="*/ 2179702 h 4687251"/>
              <a:gd name="connsiteX12528" fmla="*/ 5644386 w 8079933"/>
              <a:gd name="connsiteY12528" fmla="*/ 2163462 h 4687251"/>
              <a:gd name="connsiteX12529" fmla="*/ 5640045 w 8079933"/>
              <a:gd name="connsiteY12529" fmla="*/ 2156424 h 4687251"/>
              <a:gd name="connsiteX12530" fmla="*/ 6948321 w 8079933"/>
              <a:gd name="connsiteY12530" fmla="*/ 2148088 h 4687251"/>
              <a:gd name="connsiteX12531" fmla="*/ 6948647 w 8079933"/>
              <a:gd name="connsiteY12531" fmla="*/ 2150903 h 4687251"/>
              <a:gd name="connsiteX12532" fmla="*/ 6951468 w 8079933"/>
              <a:gd name="connsiteY12532" fmla="*/ 2152419 h 4687251"/>
              <a:gd name="connsiteX12533" fmla="*/ 6953096 w 8079933"/>
              <a:gd name="connsiteY12533" fmla="*/ 2155667 h 4687251"/>
              <a:gd name="connsiteX12534" fmla="*/ 6950383 w 8079933"/>
              <a:gd name="connsiteY12534" fmla="*/ 2157941 h 4687251"/>
              <a:gd name="connsiteX12535" fmla="*/ 6947236 w 8079933"/>
              <a:gd name="connsiteY12535" fmla="*/ 2157508 h 4687251"/>
              <a:gd name="connsiteX12536" fmla="*/ 6945608 w 8079933"/>
              <a:gd name="connsiteY12536" fmla="*/ 2152419 h 4687251"/>
              <a:gd name="connsiteX12537" fmla="*/ 6945825 w 8079933"/>
              <a:gd name="connsiteY12537" fmla="*/ 2149279 h 4687251"/>
              <a:gd name="connsiteX12538" fmla="*/ 5643843 w 8079933"/>
              <a:gd name="connsiteY12538" fmla="*/ 2147330 h 4687251"/>
              <a:gd name="connsiteX12539" fmla="*/ 5639936 w 8079933"/>
              <a:gd name="connsiteY12539" fmla="*/ 2149061 h 4687251"/>
              <a:gd name="connsiteX12540" fmla="*/ 5639936 w 8079933"/>
              <a:gd name="connsiteY12540" fmla="*/ 2149062 h 4687251"/>
              <a:gd name="connsiteX12541" fmla="*/ 6950708 w 8079933"/>
              <a:gd name="connsiteY12541" fmla="*/ 2145706 h 4687251"/>
              <a:gd name="connsiteX12542" fmla="*/ 6954072 w 8079933"/>
              <a:gd name="connsiteY12542" fmla="*/ 2146247 h 4687251"/>
              <a:gd name="connsiteX12543" fmla="*/ 6951251 w 8079933"/>
              <a:gd name="connsiteY12543" fmla="*/ 2147872 h 4687251"/>
              <a:gd name="connsiteX12544" fmla="*/ 5352692 w 8079933"/>
              <a:gd name="connsiteY12544" fmla="*/ 2145273 h 4687251"/>
              <a:gd name="connsiteX12545" fmla="*/ 5351498 w 8079933"/>
              <a:gd name="connsiteY12545" fmla="*/ 2146464 h 4687251"/>
              <a:gd name="connsiteX12546" fmla="*/ 5351823 w 8079933"/>
              <a:gd name="connsiteY12546" fmla="*/ 2149604 h 4687251"/>
              <a:gd name="connsiteX12547" fmla="*/ 5345638 w 8079933"/>
              <a:gd name="connsiteY12547" fmla="*/ 2153718 h 4687251"/>
              <a:gd name="connsiteX12548" fmla="*/ 5342051 w 8079933"/>
              <a:gd name="connsiteY12548" fmla="*/ 2154688 h 4687251"/>
              <a:gd name="connsiteX12549" fmla="*/ 5345639 w 8079933"/>
              <a:gd name="connsiteY12549" fmla="*/ 2153718 h 4687251"/>
              <a:gd name="connsiteX12550" fmla="*/ 5351824 w 8079933"/>
              <a:gd name="connsiteY12550" fmla="*/ 2149604 h 4687251"/>
              <a:gd name="connsiteX12551" fmla="*/ 5351499 w 8079933"/>
              <a:gd name="connsiteY12551" fmla="*/ 2146464 h 4687251"/>
              <a:gd name="connsiteX12552" fmla="*/ 4482713 w 8079933"/>
              <a:gd name="connsiteY12552" fmla="*/ 2144840 h 4687251"/>
              <a:gd name="connsiteX12553" fmla="*/ 4483798 w 8079933"/>
              <a:gd name="connsiteY12553" fmla="*/ 2145165 h 4687251"/>
              <a:gd name="connsiteX12554" fmla="*/ 4484666 w 8079933"/>
              <a:gd name="connsiteY12554" fmla="*/ 2148738 h 4687251"/>
              <a:gd name="connsiteX12555" fmla="*/ 4488247 w 8079933"/>
              <a:gd name="connsiteY12555" fmla="*/ 2148521 h 4687251"/>
              <a:gd name="connsiteX12556" fmla="*/ 4489658 w 8079933"/>
              <a:gd name="connsiteY12556" fmla="*/ 2147330 h 4687251"/>
              <a:gd name="connsiteX12557" fmla="*/ 4488464 w 8079933"/>
              <a:gd name="connsiteY12557" fmla="*/ 2147005 h 4687251"/>
              <a:gd name="connsiteX12558" fmla="*/ 4487704 w 8079933"/>
              <a:gd name="connsiteY12558" fmla="*/ 2145165 h 4687251"/>
              <a:gd name="connsiteX12559" fmla="*/ 4491394 w 8079933"/>
              <a:gd name="connsiteY12559" fmla="*/ 2144840 h 4687251"/>
              <a:gd name="connsiteX12560" fmla="*/ 4493130 w 8079933"/>
              <a:gd name="connsiteY12560" fmla="*/ 2147763 h 4687251"/>
              <a:gd name="connsiteX12561" fmla="*/ 4491177 w 8079933"/>
              <a:gd name="connsiteY12561" fmla="*/ 2149495 h 4687251"/>
              <a:gd name="connsiteX12562" fmla="*/ 4493999 w 8079933"/>
              <a:gd name="connsiteY12562" fmla="*/ 2149171 h 4687251"/>
              <a:gd name="connsiteX12563" fmla="*/ 4495735 w 8079933"/>
              <a:gd name="connsiteY12563" fmla="*/ 2151011 h 4687251"/>
              <a:gd name="connsiteX12564" fmla="*/ 4499425 w 8079933"/>
              <a:gd name="connsiteY12564" fmla="*/ 2152960 h 4687251"/>
              <a:gd name="connsiteX12565" fmla="*/ 4503656 w 8079933"/>
              <a:gd name="connsiteY12565" fmla="*/ 2151769 h 4687251"/>
              <a:gd name="connsiteX12566" fmla="*/ 4509299 w 8079933"/>
              <a:gd name="connsiteY12566" fmla="*/ 2148305 h 4687251"/>
              <a:gd name="connsiteX12567" fmla="*/ 4516027 w 8079933"/>
              <a:gd name="connsiteY12567" fmla="*/ 2147979 h 4687251"/>
              <a:gd name="connsiteX12568" fmla="*/ 4521128 w 8079933"/>
              <a:gd name="connsiteY12568" fmla="*/ 2150254 h 4687251"/>
              <a:gd name="connsiteX12569" fmla="*/ 4527638 w 8079933"/>
              <a:gd name="connsiteY12569" fmla="*/ 2151120 h 4687251"/>
              <a:gd name="connsiteX12570" fmla="*/ 4529917 w 8079933"/>
              <a:gd name="connsiteY12570" fmla="*/ 2151011 h 4687251"/>
              <a:gd name="connsiteX12571" fmla="*/ 4531219 w 8079933"/>
              <a:gd name="connsiteY12571" fmla="*/ 2154151 h 4687251"/>
              <a:gd name="connsiteX12572" fmla="*/ 4530677 w 8079933"/>
              <a:gd name="connsiteY12572" fmla="*/ 2156317 h 4687251"/>
              <a:gd name="connsiteX12573" fmla="*/ 4533172 w 8079933"/>
              <a:gd name="connsiteY12573" fmla="*/ 2156750 h 4687251"/>
              <a:gd name="connsiteX12574" fmla="*/ 4535669 w 8079933"/>
              <a:gd name="connsiteY12574" fmla="*/ 2155775 h 4687251"/>
              <a:gd name="connsiteX12575" fmla="*/ 4537730 w 8079933"/>
              <a:gd name="connsiteY12575" fmla="*/ 2157616 h 4687251"/>
              <a:gd name="connsiteX12576" fmla="*/ 4540660 w 8079933"/>
              <a:gd name="connsiteY12576" fmla="*/ 2155126 h 4687251"/>
              <a:gd name="connsiteX12577" fmla="*/ 4540768 w 8079933"/>
              <a:gd name="connsiteY12577" fmla="*/ 2152744 h 4687251"/>
              <a:gd name="connsiteX12578" fmla="*/ 4542071 w 8079933"/>
              <a:gd name="connsiteY12578" fmla="*/ 2150903 h 4687251"/>
              <a:gd name="connsiteX12579" fmla="*/ 4542071 w 8079933"/>
              <a:gd name="connsiteY12579" fmla="*/ 2152960 h 4687251"/>
              <a:gd name="connsiteX12580" fmla="*/ 4542939 w 8079933"/>
              <a:gd name="connsiteY12580" fmla="*/ 2156208 h 4687251"/>
              <a:gd name="connsiteX12581" fmla="*/ 4541420 w 8079933"/>
              <a:gd name="connsiteY12581" fmla="*/ 2159565 h 4687251"/>
              <a:gd name="connsiteX12582" fmla="*/ 4537947 w 8079933"/>
              <a:gd name="connsiteY12582" fmla="*/ 2161730 h 4687251"/>
              <a:gd name="connsiteX12583" fmla="*/ 4531979 w 8079933"/>
              <a:gd name="connsiteY12583" fmla="*/ 2161513 h 4687251"/>
              <a:gd name="connsiteX12584" fmla="*/ 4523081 w 8079933"/>
              <a:gd name="connsiteY12584" fmla="*/ 2161838 h 4687251"/>
              <a:gd name="connsiteX12585" fmla="*/ 4517655 w 8079933"/>
              <a:gd name="connsiteY12585" fmla="*/ 2161297 h 4687251"/>
              <a:gd name="connsiteX12586" fmla="*/ 4512663 w 8079933"/>
              <a:gd name="connsiteY12586" fmla="*/ 2164437 h 4687251"/>
              <a:gd name="connsiteX12587" fmla="*/ 4506694 w 8079933"/>
              <a:gd name="connsiteY12587" fmla="*/ 2164654 h 4687251"/>
              <a:gd name="connsiteX12588" fmla="*/ 4506152 w 8079933"/>
              <a:gd name="connsiteY12588" fmla="*/ 2161513 h 4687251"/>
              <a:gd name="connsiteX12589" fmla="*/ 4500943 w 8079933"/>
              <a:gd name="connsiteY12589" fmla="*/ 2158482 h 4687251"/>
              <a:gd name="connsiteX12590" fmla="*/ 4496168 w 8079933"/>
              <a:gd name="connsiteY12590" fmla="*/ 2157183 h 4687251"/>
              <a:gd name="connsiteX12591" fmla="*/ 4493022 w 8079933"/>
              <a:gd name="connsiteY12591" fmla="*/ 2158265 h 4687251"/>
              <a:gd name="connsiteX12592" fmla="*/ 4489766 w 8079933"/>
              <a:gd name="connsiteY12592" fmla="*/ 2157399 h 4687251"/>
              <a:gd name="connsiteX12593" fmla="*/ 4481736 w 8079933"/>
              <a:gd name="connsiteY12593" fmla="*/ 2158374 h 4687251"/>
              <a:gd name="connsiteX12594" fmla="*/ 4478263 w 8079933"/>
              <a:gd name="connsiteY12594" fmla="*/ 2156858 h 4687251"/>
              <a:gd name="connsiteX12595" fmla="*/ 4477830 w 8079933"/>
              <a:gd name="connsiteY12595" fmla="*/ 2153285 h 4687251"/>
              <a:gd name="connsiteX12596" fmla="*/ 4479349 w 8079933"/>
              <a:gd name="connsiteY12596" fmla="*/ 2150254 h 4687251"/>
              <a:gd name="connsiteX12597" fmla="*/ 4479566 w 8079933"/>
              <a:gd name="connsiteY12597" fmla="*/ 2146897 h 4687251"/>
              <a:gd name="connsiteX12598" fmla="*/ 4481085 w 8079933"/>
              <a:gd name="connsiteY12598" fmla="*/ 2149820 h 4687251"/>
              <a:gd name="connsiteX12599" fmla="*/ 4482929 w 8079933"/>
              <a:gd name="connsiteY12599" fmla="*/ 2149171 h 4687251"/>
              <a:gd name="connsiteX12600" fmla="*/ 4482279 w 8079933"/>
              <a:gd name="connsiteY12600" fmla="*/ 2146789 h 4687251"/>
              <a:gd name="connsiteX12601" fmla="*/ 5583897 w 8079933"/>
              <a:gd name="connsiteY12601" fmla="*/ 2143106 h 4687251"/>
              <a:gd name="connsiteX12602" fmla="*/ 5580902 w 8079933"/>
              <a:gd name="connsiteY12602" fmla="*/ 2147005 h 4687251"/>
              <a:gd name="connsiteX12603" fmla="*/ 5586871 w 8079933"/>
              <a:gd name="connsiteY12603" fmla="*/ 2152527 h 4687251"/>
              <a:gd name="connsiteX12604" fmla="*/ 5586871 w 8079933"/>
              <a:gd name="connsiteY12604" fmla="*/ 2152526 h 4687251"/>
              <a:gd name="connsiteX12605" fmla="*/ 5580903 w 8079933"/>
              <a:gd name="connsiteY12605" fmla="*/ 2147004 h 4687251"/>
              <a:gd name="connsiteX12606" fmla="*/ 6956460 w 8079933"/>
              <a:gd name="connsiteY12606" fmla="*/ 2142783 h 4687251"/>
              <a:gd name="connsiteX12607" fmla="*/ 6955591 w 8079933"/>
              <a:gd name="connsiteY12607" fmla="*/ 2144083 h 4687251"/>
              <a:gd name="connsiteX12608" fmla="*/ 6953638 w 8079933"/>
              <a:gd name="connsiteY12608" fmla="*/ 2143216 h 4687251"/>
              <a:gd name="connsiteX12609" fmla="*/ 4733604 w 8079933"/>
              <a:gd name="connsiteY12609" fmla="*/ 2142025 h 4687251"/>
              <a:gd name="connsiteX12610" fmla="*/ 4734906 w 8079933"/>
              <a:gd name="connsiteY12610" fmla="*/ 2143324 h 4687251"/>
              <a:gd name="connsiteX12611" fmla="*/ 4732411 w 8079933"/>
              <a:gd name="connsiteY12611" fmla="*/ 2145273 h 4687251"/>
              <a:gd name="connsiteX12612" fmla="*/ 4726876 w 8079933"/>
              <a:gd name="connsiteY12612" fmla="*/ 2148737 h 4687251"/>
              <a:gd name="connsiteX12613" fmla="*/ 4721559 w 8079933"/>
              <a:gd name="connsiteY12613" fmla="*/ 2154909 h 4687251"/>
              <a:gd name="connsiteX12614" fmla="*/ 4723403 w 8079933"/>
              <a:gd name="connsiteY12614" fmla="*/ 2159131 h 4687251"/>
              <a:gd name="connsiteX12615" fmla="*/ 4723078 w 8079933"/>
              <a:gd name="connsiteY12615" fmla="*/ 2163679 h 4687251"/>
              <a:gd name="connsiteX12616" fmla="*/ 4716676 w 8079933"/>
              <a:gd name="connsiteY12616" fmla="*/ 2162921 h 4687251"/>
              <a:gd name="connsiteX12617" fmla="*/ 4713095 w 8079933"/>
              <a:gd name="connsiteY12617" fmla="*/ 2164654 h 4687251"/>
              <a:gd name="connsiteX12618" fmla="*/ 4708103 w 8079933"/>
              <a:gd name="connsiteY12618" fmla="*/ 2169309 h 4687251"/>
              <a:gd name="connsiteX12619" fmla="*/ 4702569 w 8079933"/>
              <a:gd name="connsiteY12619" fmla="*/ 2170500 h 4687251"/>
              <a:gd name="connsiteX12620" fmla="*/ 4699856 w 8079933"/>
              <a:gd name="connsiteY12620" fmla="*/ 2172774 h 4687251"/>
              <a:gd name="connsiteX12621" fmla="*/ 4697034 w 8079933"/>
              <a:gd name="connsiteY12621" fmla="*/ 2171041 h 4687251"/>
              <a:gd name="connsiteX12622" fmla="*/ 4690523 w 8079933"/>
              <a:gd name="connsiteY12622" fmla="*/ 2171367 h 4687251"/>
              <a:gd name="connsiteX12623" fmla="*/ 4684989 w 8079933"/>
              <a:gd name="connsiteY12623" fmla="*/ 2168118 h 4687251"/>
              <a:gd name="connsiteX12624" fmla="*/ 4681842 w 8079933"/>
              <a:gd name="connsiteY12624" fmla="*/ 2163679 h 4687251"/>
              <a:gd name="connsiteX12625" fmla="*/ 4681842 w 8079933"/>
              <a:gd name="connsiteY12625" fmla="*/ 2158266 h 4687251"/>
              <a:gd name="connsiteX12626" fmla="*/ 4684664 w 8079933"/>
              <a:gd name="connsiteY12626" fmla="*/ 2157616 h 4687251"/>
              <a:gd name="connsiteX12627" fmla="*/ 4687593 w 8079933"/>
              <a:gd name="connsiteY12627" fmla="*/ 2154151 h 4687251"/>
              <a:gd name="connsiteX12628" fmla="*/ 4692259 w 8079933"/>
              <a:gd name="connsiteY12628" fmla="*/ 2156100 h 4687251"/>
              <a:gd name="connsiteX12629" fmla="*/ 4695515 w 8079933"/>
              <a:gd name="connsiteY12629" fmla="*/ 2155017 h 4687251"/>
              <a:gd name="connsiteX12630" fmla="*/ 4696926 w 8079933"/>
              <a:gd name="connsiteY12630" fmla="*/ 2151986 h 4687251"/>
              <a:gd name="connsiteX12631" fmla="*/ 4697034 w 8079933"/>
              <a:gd name="connsiteY12631" fmla="*/ 2148846 h 4687251"/>
              <a:gd name="connsiteX12632" fmla="*/ 4701700 w 8079933"/>
              <a:gd name="connsiteY12632" fmla="*/ 2148846 h 4687251"/>
              <a:gd name="connsiteX12633" fmla="*/ 4706475 w 8079933"/>
              <a:gd name="connsiteY12633" fmla="*/ 2151228 h 4687251"/>
              <a:gd name="connsiteX12634" fmla="*/ 4712769 w 8079933"/>
              <a:gd name="connsiteY12634" fmla="*/ 2150903 h 4687251"/>
              <a:gd name="connsiteX12635" fmla="*/ 4723403 w 8079933"/>
              <a:gd name="connsiteY12635" fmla="*/ 2146789 h 4687251"/>
              <a:gd name="connsiteX12636" fmla="*/ 4730783 w 8079933"/>
              <a:gd name="connsiteY12636" fmla="*/ 2142133 h 4687251"/>
              <a:gd name="connsiteX12637" fmla="*/ 4999457 w 8079933"/>
              <a:gd name="connsiteY12637" fmla="*/ 2141689 h 4687251"/>
              <a:gd name="connsiteX12638" fmla="*/ 4999686 w 8079933"/>
              <a:gd name="connsiteY12638" fmla="*/ 2144299 h 4687251"/>
              <a:gd name="connsiteX12639" fmla="*/ 5001531 w 8079933"/>
              <a:gd name="connsiteY12639" fmla="*/ 2145490 h 4687251"/>
              <a:gd name="connsiteX12640" fmla="*/ 5001531 w 8079933"/>
              <a:gd name="connsiteY12640" fmla="*/ 2145490 h 4687251"/>
              <a:gd name="connsiteX12641" fmla="*/ 4999687 w 8079933"/>
              <a:gd name="connsiteY12641" fmla="*/ 2144299 h 4687251"/>
              <a:gd name="connsiteX12642" fmla="*/ 4561063 w 8079933"/>
              <a:gd name="connsiteY12642" fmla="*/ 2141592 h 4687251"/>
              <a:gd name="connsiteX12643" fmla="*/ 4561714 w 8079933"/>
              <a:gd name="connsiteY12643" fmla="*/ 2144407 h 4687251"/>
              <a:gd name="connsiteX12644" fmla="*/ 4563993 w 8079933"/>
              <a:gd name="connsiteY12644" fmla="*/ 2147439 h 4687251"/>
              <a:gd name="connsiteX12645" fmla="*/ 4562257 w 8079933"/>
              <a:gd name="connsiteY12645" fmla="*/ 2151877 h 4687251"/>
              <a:gd name="connsiteX12646" fmla="*/ 4560737 w 8079933"/>
              <a:gd name="connsiteY12646" fmla="*/ 2152527 h 4687251"/>
              <a:gd name="connsiteX12647" fmla="*/ 4559977 w 8079933"/>
              <a:gd name="connsiteY12647" fmla="*/ 2147763 h 4687251"/>
              <a:gd name="connsiteX12648" fmla="*/ 4558567 w 8079933"/>
              <a:gd name="connsiteY12648" fmla="*/ 2144840 h 4687251"/>
              <a:gd name="connsiteX12649" fmla="*/ 6956459 w 8079933"/>
              <a:gd name="connsiteY12649" fmla="*/ 2140401 h 4687251"/>
              <a:gd name="connsiteX12650" fmla="*/ 6958087 w 8079933"/>
              <a:gd name="connsiteY12650" fmla="*/ 2140617 h 4687251"/>
              <a:gd name="connsiteX12651" fmla="*/ 6957327 w 8079933"/>
              <a:gd name="connsiteY12651" fmla="*/ 2141701 h 4687251"/>
              <a:gd name="connsiteX12652" fmla="*/ 4264271 w 8079933"/>
              <a:gd name="connsiteY12652" fmla="*/ 2138669 h 4687251"/>
              <a:gd name="connsiteX12653" fmla="*/ 4271433 w 8079933"/>
              <a:gd name="connsiteY12653" fmla="*/ 2139752 h 4687251"/>
              <a:gd name="connsiteX12654" fmla="*/ 4271541 w 8079933"/>
              <a:gd name="connsiteY12654" fmla="*/ 2143432 h 4687251"/>
              <a:gd name="connsiteX12655" fmla="*/ 4268937 w 8079933"/>
              <a:gd name="connsiteY12655" fmla="*/ 2146140 h 4687251"/>
              <a:gd name="connsiteX12656" fmla="*/ 4264054 w 8079933"/>
              <a:gd name="connsiteY12656" fmla="*/ 2142134 h 4687251"/>
              <a:gd name="connsiteX12657" fmla="*/ 5000415 w 8079933"/>
              <a:gd name="connsiteY12657" fmla="*/ 2137835 h 4687251"/>
              <a:gd name="connsiteX12658" fmla="*/ 4999144 w 8079933"/>
              <a:gd name="connsiteY12658" fmla="*/ 2138127 h 4687251"/>
              <a:gd name="connsiteX12659" fmla="*/ 4999144 w 8079933"/>
              <a:gd name="connsiteY12659" fmla="*/ 2138128 h 4687251"/>
              <a:gd name="connsiteX12660" fmla="*/ 4562365 w 8079933"/>
              <a:gd name="connsiteY12660" fmla="*/ 2137261 h 4687251"/>
              <a:gd name="connsiteX12661" fmla="*/ 4562365 w 8079933"/>
              <a:gd name="connsiteY12661" fmla="*/ 2139534 h 4687251"/>
              <a:gd name="connsiteX12662" fmla="*/ 4561823 w 8079933"/>
              <a:gd name="connsiteY12662" fmla="*/ 2140401 h 4687251"/>
              <a:gd name="connsiteX12663" fmla="*/ 4561063 w 8079933"/>
              <a:gd name="connsiteY12663" fmla="*/ 2139318 h 4687251"/>
              <a:gd name="connsiteX12664" fmla="*/ 6958956 w 8079933"/>
              <a:gd name="connsiteY12664" fmla="*/ 2136287 h 4687251"/>
              <a:gd name="connsiteX12665" fmla="*/ 6961885 w 8079933"/>
              <a:gd name="connsiteY12665" fmla="*/ 2138236 h 4687251"/>
              <a:gd name="connsiteX12666" fmla="*/ 6960258 w 8079933"/>
              <a:gd name="connsiteY12666" fmla="*/ 2139211 h 4687251"/>
              <a:gd name="connsiteX12667" fmla="*/ 6957761 w 8079933"/>
              <a:gd name="connsiteY12667" fmla="*/ 2137261 h 4687251"/>
              <a:gd name="connsiteX12668" fmla="*/ 6957545 w 8079933"/>
              <a:gd name="connsiteY12668" fmla="*/ 2136395 h 4687251"/>
              <a:gd name="connsiteX12669" fmla="*/ 5007002 w 8079933"/>
              <a:gd name="connsiteY12669" fmla="*/ 2135677 h 4687251"/>
              <a:gd name="connsiteX12670" fmla="*/ 5006632 w 8079933"/>
              <a:gd name="connsiteY12670" fmla="*/ 2135962 h 4687251"/>
              <a:gd name="connsiteX12671" fmla="*/ 5003183 w 8079933"/>
              <a:gd name="connsiteY12671" fmla="*/ 2137082 h 4687251"/>
              <a:gd name="connsiteX12672" fmla="*/ 5006631 w 8079933"/>
              <a:gd name="connsiteY12672" fmla="*/ 2135962 h 4687251"/>
              <a:gd name="connsiteX12673" fmla="*/ 5003810 w 8079933"/>
              <a:gd name="connsiteY12673" fmla="*/ 2132497 h 4687251"/>
              <a:gd name="connsiteX12674" fmla="*/ 5005980 w 8079933"/>
              <a:gd name="connsiteY12674" fmla="*/ 2133580 h 4687251"/>
              <a:gd name="connsiteX12675" fmla="*/ 5006966 w 8079933"/>
              <a:gd name="connsiteY12675" fmla="*/ 2134201 h 4687251"/>
              <a:gd name="connsiteX12676" fmla="*/ 5005980 w 8079933"/>
              <a:gd name="connsiteY12676" fmla="*/ 2133580 h 4687251"/>
              <a:gd name="connsiteX12677" fmla="*/ 5373527 w 8079933"/>
              <a:gd name="connsiteY12677" fmla="*/ 2127625 h 4687251"/>
              <a:gd name="connsiteX12678" fmla="*/ 5378845 w 8079933"/>
              <a:gd name="connsiteY12678" fmla="*/ 2131523 h 4687251"/>
              <a:gd name="connsiteX12679" fmla="*/ 5380255 w 8079933"/>
              <a:gd name="connsiteY12679" fmla="*/ 2134988 h 4687251"/>
              <a:gd name="connsiteX12680" fmla="*/ 5382317 w 8079933"/>
              <a:gd name="connsiteY12680" fmla="*/ 2136936 h 4687251"/>
              <a:gd name="connsiteX12681" fmla="*/ 5380256 w 8079933"/>
              <a:gd name="connsiteY12681" fmla="*/ 2134988 h 4687251"/>
              <a:gd name="connsiteX12682" fmla="*/ 5378845 w 8079933"/>
              <a:gd name="connsiteY12682" fmla="*/ 2131523 h 4687251"/>
              <a:gd name="connsiteX12683" fmla="*/ 5373528 w 8079933"/>
              <a:gd name="connsiteY12683" fmla="*/ 2127625 h 4687251"/>
              <a:gd name="connsiteX12684" fmla="*/ 6895148 w 8079933"/>
              <a:gd name="connsiteY12684" fmla="*/ 2127084 h 4687251"/>
              <a:gd name="connsiteX12685" fmla="*/ 6899814 w 8079933"/>
              <a:gd name="connsiteY12685" fmla="*/ 2127842 h 4687251"/>
              <a:gd name="connsiteX12686" fmla="*/ 6900140 w 8079933"/>
              <a:gd name="connsiteY12686" fmla="*/ 2130982 h 4687251"/>
              <a:gd name="connsiteX12687" fmla="*/ 6896993 w 8079933"/>
              <a:gd name="connsiteY12687" fmla="*/ 2136504 h 4687251"/>
              <a:gd name="connsiteX12688" fmla="*/ 6888637 w 8079933"/>
              <a:gd name="connsiteY12688" fmla="*/ 2138019 h 4687251"/>
              <a:gd name="connsiteX12689" fmla="*/ 6883971 w 8079933"/>
              <a:gd name="connsiteY12689" fmla="*/ 2137153 h 4687251"/>
              <a:gd name="connsiteX12690" fmla="*/ 6882235 w 8079933"/>
              <a:gd name="connsiteY12690" fmla="*/ 2133580 h 4687251"/>
              <a:gd name="connsiteX12691" fmla="*/ 6884948 w 8079933"/>
              <a:gd name="connsiteY12691" fmla="*/ 2130115 h 4687251"/>
              <a:gd name="connsiteX12692" fmla="*/ 4983348 w 8079933"/>
              <a:gd name="connsiteY12692" fmla="*/ 2126548 h 4687251"/>
              <a:gd name="connsiteX12693" fmla="*/ 4985905 w 8079933"/>
              <a:gd name="connsiteY12693" fmla="*/ 2126868 h 4687251"/>
              <a:gd name="connsiteX12694" fmla="*/ 4994043 w 8079933"/>
              <a:gd name="connsiteY12694" fmla="*/ 2131523 h 4687251"/>
              <a:gd name="connsiteX12695" fmla="*/ 4996906 w 8079933"/>
              <a:gd name="connsiteY12695" fmla="*/ 2132237 h 4687251"/>
              <a:gd name="connsiteX12696" fmla="*/ 4994044 w 8079933"/>
              <a:gd name="connsiteY12696" fmla="*/ 2131523 h 4687251"/>
              <a:gd name="connsiteX12697" fmla="*/ 4985905 w 8079933"/>
              <a:gd name="connsiteY12697" fmla="*/ 2126867 h 4687251"/>
              <a:gd name="connsiteX12698" fmla="*/ 4463289 w 8079933"/>
              <a:gd name="connsiteY12698" fmla="*/ 2124485 h 4687251"/>
              <a:gd name="connsiteX12699" fmla="*/ 4464157 w 8079933"/>
              <a:gd name="connsiteY12699" fmla="*/ 2127624 h 4687251"/>
              <a:gd name="connsiteX12700" fmla="*/ 4466544 w 8079933"/>
              <a:gd name="connsiteY12700" fmla="*/ 2130873 h 4687251"/>
              <a:gd name="connsiteX12701" fmla="*/ 4464808 w 8079933"/>
              <a:gd name="connsiteY12701" fmla="*/ 2134338 h 4687251"/>
              <a:gd name="connsiteX12702" fmla="*/ 4462529 w 8079933"/>
              <a:gd name="connsiteY12702" fmla="*/ 2133146 h 4687251"/>
              <a:gd name="connsiteX12703" fmla="*/ 4462637 w 8079933"/>
              <a:gd name="connsiteY12703" fmla="*/ 2130656 h 4687251"/>
              <a:gd name="connsiteX12704" fmla="*/ 4461227 w 8079933"/>
              <a:gd name="connsiteY12704" fmla="*/ 2128383 h 4687251"/>
              <a:gd name="connsiteX12705" fmla="*/ 4462529 w 8079933"/>
              <a:gd name="connsiteY12705" fmla="*/ 2125459 h 4687251"/>
              <a:gd name="connsiteX12706" fmla="*/ 4586238 w 8079933"/>
              <a:gd name="connsiteY12706" fmla="*/ 2122861 h 4687251"/>
              <a:gd name="connsiteX12707" fmla="*/ 4586021 w 8079933"/>
              <a:gd name="connsiteY12707" fmla="*/ 2125351 h 4687251"/>
              <a:gd name="connsiteX12708" fmla="*/ 4584285 w 8079933"/>
              <a:gd name="connsiteY12708" fmla="*/ 2126650 h 4687251"/>
              <a:gd name="connsiteX12709" fmla="*/ 4583417 w 8079933"/>
              <a:gd name="connsiteY12709" fmla="*/ 2129140 h 4687251"/>
              <a:gd name="connsiteX12710" fmla="*/ 4582114 w 8079933"/>
              <a:gd name="connsiteY12710" fmla="*/ 2131306 h 4687251"/>
              <a:gd name="connsiteX12711" fmla="*/ 4582223 w 8079933"/>
              <a:gd name="connsiteY12711" fmla="*/ 2132822 h 4687251"/>
              <a:gd name="connsiteX12712" fmla="*/ 4580053 w 8079933"/>
              <a:gd name="connsiteY12712" fmla="*/ 2132930 h 4687251"/>
              <a:gd name="connsiteX12713" fmla="*/ 4577449 w 8079933"/>
              <a:gd name="connsiteY12713" fmla="*/ 2135420 h 4687251"/>
              <a:gd name="connsiteX12714" fmla="*/ 4575278 w 8079933"/>
              <a:gd name="connsiteY12714" fmla="*/ 2138018 h 4687251"/>
              <a:gd name="connsiteX12715" fmla="*/ 4573325 w 8079933"/>
              <a:gd name="connsiteY12715" fmla="*/ 2138343 h 4687251"/>
              <a:gd name="connsiteX12716" fmla="*/ 4571806 w 8079933"/>
              <a:gd name="connsiteY12716" fmla="*/ 2136828 h 4687251"/>
              <a:gd name="connsiteX12717" fmla="*/ 4573000 w 8079933"/>
              <a:gd name="connsiteY12717" fmla="*/ 2134229 h 4687251"/>
              <a:gd name="connsiteX12718" fmla="*/ 4572240 w 8079933"/>
              <a:gd name="connsiteY12718" fmla="*/ 2133255 h 4687251"/>
              <a:gd name="connsiteX12719" fmla="*/ 4572565 w 8079933"/>
              <a:gd name="connsiteY12719" fmla="*/ 2130765 h 4687251"/>
              <a:gd name="connsiteX12720" fmla="*/ 4577774 w 8079933"/>
              <a:gd name="connsiteY12720" fmla="*/ 2126434 h 4687251"/>
              <a:gd name="connsiteX12721" fmla="*/ 4583200 w 8079933"/>
              <a:gd name="connsiteY12721" fmla="*/ 2124160 h 4687251"/>
              <a:gd name="connsiteX12722" fmla="*/ 4977216 w 8079933"/>
              <a:gd name="connsiteY12722" fmla="*/ 2121864 h 4687251"/>
              <a:gd name="connsiteX12723" fmla="*/ 4978091 w 8079933"/>
              <a:gd name="connsiteY12723" fmla="*/ 2123944 h 4687251"/>
              <a:gd name="connsiteX12724" fmla="*/ 4982432 w 8079933"/>
              <a:gd name="connsiteY12724" fmla="*/ 2126434 h 4687251"/>
              <a:gd name="connsiteX12725" fmla="*/ 4978092 w 8079933"/>
              <a:gd name="connsiteY12725" fmla="*/ 2123944 h 4687251"/>
              <a:gd name="connsiteX12726" fmla="*/ 4462204 w 8079933"/>
              <a:gd name="connsiteY12726" fmla="*/ 2121021 h 4687251"/>
              <a:gd name="connsiteX12727" fmla="*/ 4463506 w 8079933"/>
              <a:gd name="connsiteY12727" fmla="*/ 2123078 h 4687251"/>
              <a:gd name="connsiteX12728" fmla="*/ 4461770 w 8079933"/>
              <a:gd name="connsiteY12728" fmla="*/ 2122970 h 4687251"/>
              <a:gd name="connsiteX12729" fmla="*/ 5397618 w 8079933"/>
              <a:gd name="connsiteY12729" fmla="*/ 2120155 h 4687251"/>
              <a:gd name="connsiteX12730" fmla="*/ 5398812 w 8079933"/>
              <a:gd name="connsiteY12730" fmla="*/ 2123511 h 4687251"/>
              <a:gd name="connsiteX12731" fmla="*/ 5398812 w 8079933"/>
              <a:gd name="connsiteY12731" fmla="*/ 2123511 h 4687251"/>
              <a:gd name="connsiteX12732" fmla="*/ 4572349 w 8079933"/>
              <a:gd name="connsiteY12732" fmla="*/ 2118422 h 4687251"/>
              <a:gd name="connsiteX12733" fmla="*/ 4574302 w 8079933"/>
              <a:gd name="connsiteY12733" fmla="*/ 2118530 h 4687251"/>
              <a:gd name="connsiteX12734" fmla="*/ 4574844 w 8079933"/>
              <a:gd name="connsiteY12734" fmla="*/ 2120263 h 4687251"/>
              <a:gd name="connsiteX12735" fmla="*/ 4572783 w 8079933"/>
              <a:gd name="connsiteY12735" fmla="*/ 2120804 h 4687251"/>
              <a:gd name="connsiteX12736" fmla="*/ 4570721 w 8079933"/>
              <a:gd name="connsiteY12736" fmla="*/ 2120154 h 4687251"/>
              <a:gd name="connsiteX12737" fmla="*/ 4495301 w 8079933"/>
              <a:gd name="connsiteY12737" fmla="*/ 2117880 h 4687251"/>
              <a:gd name="connsiteX12738" fmla="*/ 4498340 w 8079933"/>
              <a:gd name="connsiteY12738" fmla="*/ 2117988 h 4687251"/>
              <a:gd name="connsiteX12739" fmla="*/ 4497689 w 8079933"/>
              <a:gd name="connsiteY12739" fmla="*/ 2120478 h 4687251"/>
              <a:gd name="connsiteX12740" fmla="*/ 4495085 w 8079933"/>
              <a:gd name="connsiteY12740" fmla="*/ 2121453 h 4687251"/>
              <a:gd name="connsiteX12741" fmla="*/ 4493023 w 8079933"/>
              <a:gd name="connsiteY12741" fmla="*/ 2121128 h 4687251"/>
              <a:gd name="connsiteX12742" fmla="*/ 4544134 w 8079933"/>
              <a:gd name="connsiteY12742" fmla="*/ 2117664 h 4687251"/>
              <a:gd name="connsiteX12743" fmla="*/ 4546087 w 8079933"/>
              <a:gd name="connsiteY12743" fmla="*/ 2118530 h 4687251"/>
              <a:gd name="connsiteX12744" fmla="*/ 4544243 w 8079933"/>
              <a:gd name="connsiteY12744" fmla="*/ 2121346 h 4687251"/>
              <a:gd name="connsiteX12745" fmla="*/ 4541205 w 8079933"/>
              <a:gd name="connsiteY12745" fmla="*/ 2122754 h 4687251"/>
              <a:gd name="connsiteX12746" fmla="*/ 4539360 w 8079933"/>
              <a:gd name="connsiteY12746" fmla="*/ 2120804 h 4687251"/>
              <a:gd name="connsiteX12747" fmla="*/ 4540445 w 8079933"/>
              <a:gd name="connsiteY12747" fmla="*/ 2119071 h 4687251"/>
              <a:gd name="connsiteX12748" fmla="*/ 4971312 w 8079933"/>
              <a:gd name="connsiteY12748" fmla="*/ 2114013 h 4687251"/>
              <a:gd name="connsiteX12749" fmla="*/ 4973425 w 8079933"/>
              <a:gd name="connsiteY12749" fmla="*/ 2114525 h 4687251"/>
              <a:gd name="connsiteX12750" fmla="*/ 4974619 w 8079933"/>
              <a:gd name="connsiteY12750" fmla="*/ 2116527 h 4687251"/>
              <a:gd name="connsiteX12751" fmla="*/ 4973426 w 8079933"/>
              <a:gd name="connsiteY12751" fmla="*/ 2114524 h 4687251"/>
              <a:gd name="connsiteX12752" fmla="*/ 5728159 w 8079933"/>
              <a:gd name="connsiteY12752" fmla="*/ 2113116 h 4687251"/>
              <a:gd name="connsiteX12753" fmla="*/ 5718718 w 8079933"/>
              <a:gd name="connsiteY12753" fmla="*/ 2113332 h 4687251"/>
              <a:gd name="connsiteX12754" fmla="*/ 5718488 w 8079933"/>
              <a:gd name="connsiteY12754" fmla="*/ 2113304 h 4687251"/>
              <a:gd name="connsiteX12755" fmla="*/ 5718720 w 8079933"/>
              <a:gd name="connsiteY12755" fmla="*/ 2113333 h 4687251"/>
              <a:gd name="connsiteX12756" fmla="*/ 5728160 w 8079933"/>
              <a:gd name="connsiteY12756" fmla="*/ 2113116 h 4687251"/>
              <a:gd name="connsiteX12757" fmla="*/ 5625070 w 8079933"/>
              <a:gd name="connsiteY12757" fmla="*/ 2110192 h 4687251"/>
              <a:gd name="connsiteX12758" fmla="*/ 5625069 w 8079933"/>
              <a:gd name="connsiteY12758" fmla="*/ 2110193 h 4687251"/>
              <a:gd name="connsiteX12759" fmla="*/ 5629952 w 8079933"/>
              <a:gd name="connsiteY12759" fmla="*/ 2116255 h 4687251"/>
              <a:gd name="connsiteX12760" fmla="*/ 5636463 w 8079933"/>
              <a:gd name="connsiteY12760" fmla="*/ 2121777 h 4687251"/>
              <a:gd name="connsiteX12761" fmla="*/ 5641145 w 8079933"/>
              <a:gd name="connsiteY12761" fmla="*/ 2124549 h 4687251"/>
              <a:gd name="connsiteX12762" fmla="*/ 5636464 w 8079933"/>
              <a:gd name="connsiteY12762" fmla="*/ 2121777 h 4687251"/>
              <a:gd name="connsiteX12763" fmla="*/ 5629953 w 8079933"/>
              <a:gd name="connsiteY12763" fmla="*/ 2116256 h 4687251"/>
              <a:gd name="connsiteX12764" fmla="*/ 5613350 w 8079933"/>
              <a:gd name="connsiteY12764" fmla="*/ 2110084 h 4687251"/>
              <a:gd name="connsiteX12765" fmla="*/ 5616821 w 8079933"/>
              <a:gd name="connsiteY12765" fmla="*/ 2113332 h 4687251"/>
              <a:gd name="connsiteX12766" fmla="*/ 5616822 w 8079933"/>
              <a:gd name="connsiteY12766" fmla="*/ 2113332 h 4687251"/>
              <a:gd name="connsiteX12767" fmla="*/ 4967565 w 8079933"/>
              <a:gd name="connsiteY12767" fmla="*/ 2109002 h 4687251"/>
              <a:gd name="connsiteX12768" fmla="*/ 4967565 w 8079933"/>
              <a:gd name="connsiteY12768" fmla="*/ 2109003 h 4687251"/>
              <a:gd name="connsiteX12769" fmla="*/ 4968705 w 8079933"/>
              <a:gd name="connsiteY12769" fmla="*/ 2111330 h 4687251"/>
              <a:gd name="connsiteX12770" fmla="*/ 5581337 w 8079933"/>
              <a:gd name="connsiteY12770" fmla="*/ 2106729 h 4687251"/>
              <a:gd name="connsiteX12771" fmla="*/ 5581337 w 8079933"/>
              <a:gd name="connsiteY12771" fmla="*/ 2106729 h 4687251"/>
              <a:gd name="connsiteX12772" fmla="*/ 5591646 w 8079933"/>
              <a:gd name="connsiteY12772" fmla="*/ 2121886 h 4687251"/>
              <a:gd name="connsiteX12773" fmla="*/ 5592297 w 8079933"/>
              <a:gd name="connsiteY12773" fmla="*/ 2132172 h 4687251"/>
              <a:gd name="connsiteX12774" fmla="*/ 5592297 w 8079933"/>
              <a:gd name="connsiteY12774" fmla="*/ 2132171 h 4687251"/>
              <a:gd name="connsiteX12775" fmla="*/ 5591646 w 8079933"/>
              <a:gd name="connsiteY12775" fmla="*/ 2121886 h 4687251"/>
              <a:gd name="connsiteX12776" fmla="*/ 6949515 w 8079933"/>
              <a:gd name="connsiteY12776" fmla="*/ 2105863 h 4687251"/>
              <a:gd name="connsiteX12777" fmla="*/ 6953205 w 8079933"/>
              <a:gd name="connsiteY12777" fmla="*/ 2106079 h 4687251"/>
              <a:gd name="connsiteX12778" fmla="*/ 6951902 w 8079933"/>
              <a:gd name="connsiteY12778" fmla="*/ 2109220 h 4687251"/>
              <a:gd name="connsiteX12779" fmla="*/ 6949949 w 8079933"/>
              <a:gd name="connsiteY12779" fmla="*/ 2111169 h 4687251"/>
              <a:gd name="connsiteX12780" fmla="*/ 6947996 w 8079933"/>
              <a:gd name="connsiteY12780" fmla="*/ 2111494 h 4687251"/>
              <a:gd name="connsiteX12781" fmla="*/ 6947453 w 8079933"/>
              <a:gd name="connsiteY12781" fmla="*/ 2108787 h 4687251"/>
              <a:gd name="connsiteX12782" fmla="*/ 4512122 w 8079933"/>
              <a:gd name="connsiteY12782" fmla="*/ 2104996 h 4687251"/>
              <a:gd name="connsiteX12783" fmla="*/ 4514509 w 8079933"/>
              <a:gd name="connsiteY12783" fmla="*/ 2104996 h 4687251"/>
              <a:gd name="connsiteX12784" fmla="*/ 4515594 w 8079933"/>
              <a:gd name="connsiteY12784" fmla="*/ 2107486 h 4687251"/>
              <a:gd name="connsiteX12785" fmla="*/ 4513315 w 8079933"/>
              <a:gd name="connsiteY12785" fmla="*/ 2110627 h 4687251"/>
              <a:gd name="connsiteX12786" fmla="*/ 4511145 w 8079933"/>
              <a:gd name="connsiteY12786" fmla="*/ 2108786 h 4687251"/>
              <a:gd name="connsiteX12787" fmla="*/ 4497038 w 8079933"/>
              <a:gd name="connsiteY12787" fmla="*/ 2104888 h 4687251"/>
              <a:gd name="connsiteX12788" fmla="*/ 4497038 w 8079933"/>
              <a:gd name="connsiteY12788" fmla="*/ 2107920 h 4687251"/>
              <a:gd name="connsiteX12789" fmla="*/ 4494867 w 8079933"/>
              <a:gd name="connsiteY12789" fmla="*/ 2106404 h 4687251"/>
              <a:gd name="connsiteX12790" fmla="*/ 4520803 w 8079933"/>
              <a:gd name="connsiteY12790" fmla="*/ 2104130 h 4687251"/>
              <a:gd name="connsiteX12791" fmla="*/ 4522973 w 8079933"/>
              <a:gd name="connsiteY12791" fmla="*/ 2104563 h 4687251"/>
              <a:gd name="connsiteX12792" fmla="*/ 4523516 w 8079933"/>
              <a:gd name="connsiteY12792" fmla="*/ 2107054 h 4687251"/>
              <a:gd name="connsiteX12793" fmla="*/ 4521345 w 8079933"/>
              <a:gd name="connsiteY12793" fmla="*/ 2109761 h 4687251"/>
              <a:gd name="connsiteX12794" fmla="*/ 4519067 w 8079933"/>
              <a:gd name="connsiteY12794" fmla="*/ 2109652 h 4687251"/>
              <a:gd name="connsiteX12795" fmla="*/ 4517439 w 8079933"/>
              <a:gd name="connsiteY12795" fmla="*/ 2107054 h 4687251"/>
              <a:gd name="connsiteX12796" fmla="*/ 4908485 w 8079933"/>
              <a:gd name="connsiteY12796" fmla="*/ 2102064 h 4687251"/>
              <a:gd name="connsiteX12797" fmla="*/ 4907122 w 8079933"/>
              <a:gd name="connsiteY12797" fmla="*/ 2104346 h 4687251"/>
              <a:gd name="connsiteX12798" fmla="*/ 4904843 w 8079933"/>
              <a:gd name="connsiteY12798" fmla="*/ 2104346 h 4687251"/>
              <a:gd name="connsiteX12799" fmla="*/ 4899852 w 8079933"/>
              <a:gd name="connsiteY12799" fmla="*/ 2108677 h 4687251"/>
              <a:gd name="connsiteX12800" fmla="*/ 4890520 w 8079933"/>
              <a:gd name="connsiteY12800" fmla="*/ 2110626 h 4687251"/>
              <a:gd name="connsiteX12801" fmla="*/ 4890519 w 8079933"/>
              <a:gd name="connsiteY12801" fmla="*/ 2110627 h 4687251"/>
              <a:gd name="connsiteX12802" fmla="*/ 4899851 w 8079933"/>
              <a:gd name="connsiteY12802" fmla="*/ 2108678 h 4687251"/>
              <a:gd name="connsiteX12803" fmla="*/ 4904842 w 8079933"/>
              <a:gd name="connsiteY12803" fmla="*/ 2104347 h 4687251"/>
              <a:gd name="connsiteX12804" fmla="*/ 4907122 w 8079933"/>
              <a:gd name="connsiteY12804" fmla="*/ 2104347 h 4687251"/>
              <a:gd name="connsiteX12805" fmla="*/ 5335764 w 8079933"/>
              <a:gd name="connsiteY12805" fmla="*/ 2100732 h 4687251"/>
              <a:gd name="connsiteX12806" fmla="*/ 5338910 w 8079933"/>
              <a:gd name="connsiteY12806" fmla="*/ 2100990 h 4687251"/>
              <a:gd name="connsiteX12807" fmla="*/ 5344879 w 8079933"/>
              <a:gd name="connsiteY12807" fmla="*/ 2103481 h 4687251"/>
              <a:gd name="connsiteX12808" fmla="*/ 5348677 w 8079933"/>
              <a:gd name="connsiteY12808" fmla="*/ 2110194 h 4687251"/>
              <a:gd name="connsiteX12809" fmla="*/ 5347048 w 8079933"/>
              <a:gd name="connsiteY12809" fmla="*/ 2113875 h 4687251"/>
              <a:gd name="connsiteX12810" fmla="*/ 5349110 w 8079933"/>
              <a:gd name="connsiteY12810" fmla="*/ 2119722 h 4687251"/>
              <a:gd name="connsiteX12811" fmla="*/ 5348893 w 8079933"/>
              <a:gd name="connsiteY12811" fmla="*/ 2123294 h 4687251"/>
              <a:gd name="connsiteX12812" fmla="*/ 5350846 w 8079933"/>
              <a:gd name="connsiteY12812" fmla="*/ 2127084 h 4687251"/>
              <a:gd name="connsiteX12813" fmla="*/ 5351172 w 8079933"/>
              <a:gd name="connsiteY12813" fmla="*/ 2127625 h 4687251"/>
              <a:gd name="connsiteX12814" fmla="*/ 5350738 w 8079933"/>
              <a:gd name="connsiteY12814" fmla="*/ 2134338 h 4687251"/>
              <a:gd name="connsiteX12815" fmla="*/ 5351281 w 8079933"/>
              <a:gd name="connsiteY12815" fmla="*/ 2137586 h 4687251"/>
              <a:gd name="connsiteX12816" fmla="*/ 5349545 w 8079933"/>
              <a:gd name="connsiteY12816" fmla="*/ 2141159 h 4687251"/>
              <a:gd name="connsiteX12817" fmla="*/ 5352273 w 8079933"/>
              <a:gd name="connsiteY12817" fmla="*/ 2144725 h 4687251"/>
              <a:gd name="connsiteX12818" fmla="*/ 5349546 w 8079933"/>
              <a:gd name="connsiteY12818" fmla="*/ 2141158 h 4687251"/>
              <a:gd name="connsiteX12819" fmla="*/ 5351282 w 8079933"/>
              <a:gd name="connsiteY12819" fmla="*/ 2137586 h 4687251"/>
              <a:gd name="connsiteX12820" fmla="*/ 5350739 w 8079933"/>
              <a:gd name="connsiteY12820" fmla="*/ 2134338 h 4687251"/>
              <a:gd name="connsiteX12821" fmla="*/ 5351173 w 8079933"/>
              <a:gd name="connsiteY12821" fmla="*/ 2127625 h 4687251"/>
              <a:gd name="connsiteX12822" fmla="*/ 5350847 w 8079933"/>
              <a:gd name="connsiteY12822" fmla="*/ 2127084 h 4687251"/>
              <a:gd name="connsiteX12823" fmla="*/ 5348894 w 8079933"/>
              <a:gd name="connsiteY12823" fmla="*/ 2123294 h 4687251"/>
              <a:gd name="connsiteX12824" fmla="*/ 5349111 w 8079933"/>
              <a:gd name="connsiteY12824" fmla="*/ 2119722 h 4687251"/>
              <a:gd name="connsiteX12825" fmla="*/ 5347049 w 8079933"/>
              <a:gd name="connsiteY12825" fmla="*/ 2113875 h 4687251"/>
              <a:gd name="connsiteX12826" fmla="*/ 5348678 w 8079933"/>
              <a:gd name="connsiteY12826" fmla="*/ 2110194 h 4687251"/>
              <a:gd name="connsiteX12827" fmla="*/ 5344879 w 8079933"/>
              <a:gd name="connsiteY12827" fmla="*/ 2103481 h 4687251"/>
              <a:gd name="connsiteX12828" fmla="*/ 5338911 w 8079933"/>
              <a:gd name="connsiteY12828" fmla="*/ 2100990 h 4687251"/>
              <a:gd name="connsiteX12829" fmla="*/ 5164307 w 8079933"/>
              <a:gd name="connsiteY12829" fmla="*/ 2100233 h 4687251"/>
              <a:gd name="connsiteX12830" fmla="*/ 5152370 w 8079933"/>
              <a:gd name="connsiteY12830" fmla="*/ 2101749 h 4687251"/>
              <a:gd name="connsiteX12831" fmla="*/ 5151689 w 8079933"/>
              <a:gd name="connsiteY12831" fmla="*/ 2101939 h 4687251"/>
              <a:gd name="connsiteX12832" fmla="*/ 5162569 w 8079933"/>
              <a:gd name="connsiteY12832" fmla="*/ 2100557 h 4687251"/>
              <a:gd name="connsiteX12833" fmla="*/ 5176352 w 8079933"/>
              <a:gd name="connsiteY12833" fmla="*/ 2101749 h 4687251"/>
              <a:gd name="connsiteX12834" fmla="*/ 5181669 w 8079933"/>
              <a:gd name="connsiteY12834" fmla="*/ 2102831 h 4687251"/>
              <a:gd name="connsiteX12835" fmla="*/ 5181846 w 8079933"/>
              <a:gd name="connsiteY12835" fmla="*/ 2102189 h 4687251"/>
              <a:gd name="connsiteX12836" fmla="*/ 5178088 w 8079933"/>
              <a:gd name="connsiteY12836" fmla="*/ 2101424 h 4687251"/>
              <a:gd name="connsiteX12837" fmla="*/ 4961055 w 8079933"/>
              <a:gd name="connsiteY12837" fmla="*/ 2098392 h 4687251"/>
              <a:gd name="connsiteX12838" fmla="*/ 4960512 w 8079933"/>
              <a:gd name="connsiteY12838" fmla="*/ 2098500 h 4687251"/>
              <a:gd name="connsiteX12839" fmla="*/ 4960512 w 8079933"/>
              <a:gd name="connsiteY12839" fmla="*/ 2098500 h 4687251"/>
              <a:gd name="connsiteX12840" fmla="*/ 4960513 w 8079933"/>
              <a:gd name="connsiteY12840" fmla="*/ 2098500 h 4687251"/>
              <a:gd name="connsiteX12841" fmla="*/ 4961055 w 8079933"/>
              <a:gd name="connsiteY12841" fmla="*/ 2098392 h 4687251"/>
              <a:gd name="connsiteX12842" fmla="*/ 4955321 w 8079933"/>
              <a:gd name="connsiteY12842" fmla="*/ 2100087 h 4687251"/>
              <a:gd name="connsiteX12843" fmla="*/ 4955312 w 8079933"/>
              <a:gd name="connsiteY12843" fmla="*/ 2100090 h 4687251"/>
              <a:gd name="connsiteX12844" fmla="*/ 4961054 w 8079933"/>
              <a:gd name="connsiteY12844" fmla="*/ 2098392 h 4687251"/>
              <a:gd name="connsiteX12845" fmla="*/ 4965503 w 8079933"/>
              <a:gd name="connsiteY12845" fmla="*/ 2098717 h 4687251"/>
              <a:gd name="connsiteX12846" fmla="*/ 4967782 w 8079933"/>
              <a:gd name="connsiteY12846" fmla="*/ 2104672 h 4687251"/>
              <a:gd name="connsiteX12847" fmla="*/ 4967571 w 8079933"/>
              <a:gd name="connsiteY12847" fmla="*/ 2108883 h 4687251"/>
              <a:gd name="connsiteX12848" fmla="*/ 4967783 w 8079933"/>
              <a:gd name="connsiteY12848" fmla="*/ 2104672 h 4687251"/>
              <a:gd name="connsiteX12849" fmla="*/ 4965503 w 8079933"/>
              <a:gd name="connsiteY12849" fmla="*/ 2098717 h 4687251"/>
              <a:gd name="connsiteX12850" fmla="*/ 4961055 w 8079933"/>
              <a:gd name="connsiteY12850" fmla="*/ 2098392 h 4687251"/>
              <a:gd name="connsiteX12851" fmla="*/ 4493891 w 8079933"/>
              <a:gd name="connsiteY12851" fmla="*/ 2098175 h 4687251"/>
              <a:gd name="connsiteX12852" fmla="*/ 4496062 w 8079933"/>
              <a:gd name="connsiteY12852" fmla="*/ 2098717 h 4687251"/>
              <a:gd name="connsiteX12853" fmla="*/ 4496062 w 8079933"/>
              <a:gd name="connsiteY12853" fmla="*/ 2100882 h 4687251"/>
              <a:gd name="connsiteX12854" fmla="*/ 4494000 w 8079933"/>
              <a:gd name="connsiteY12854" fmla="*/ 2102073 h 4687251"/>
              <a:gd name="connsiteX12855" fmla="*/ 6879737 w 8079933"/>
              <a:gd name="connsiteY12855" fmla="*/ 2097959 h 4687251"/>
              <a:gd name="connsiteX12856" fmla="*/ 6880932 w 8079933"/>
              <a:gd name="connsiteY12856" fmla="*/ 2100449 h 4687251"/>
              <a:gd name="connsiteX12857" fmla="*/ 6881257 w 8079933"/>
              <a:gd name="connsiteY12857" fmla="*/ 2104563 h 4687251"/>
              <a:gd name="connsiteX12858" fmla="*/ 6879521 w 8079933"/>
              <a:gd name="connsiteY12858" fmla="*/ 2104563 h 4687251"/>
              <a:gd name="connsiteX12859" fmla="*/ 6877676 w 8079933"/>
              <a:gd name="connsiteY12859" fmla="*/ 2105755 h 4687251"/>
              <a:gd name="connsiteX12860" fmla="*/ 6875614 w 8079933"/>
              <a:gd name="connsiteY12860" fmla="*/ 2102398 h 4687251"/>
              <a:gd name="connsiteX12861" fmla="*/ 6876591 w 8079933"/>
              <a:gd name="connsiteY12861" fmla="*/ 2100774 h 4687251"/>
              <a:gd name="connsiteX12862" fmla="*/ 6878110 w 8079933"/>
              <a:gd name="connsiteY12862" fmla="*/ 2100774 h 4687251"/>
              <a:gd name="connsiteX12863" fmla="*/ 4517873 w 8079933"/>
              <a:gd name="connsiteY12863" fmla="*/ 2097309 h 4687251"/>
              <a:gd name="connsiteX12864" fmla="*/ 4519935 w 8079933"/>
              <a:gd name="connsiteY12864" fmla="*/ 2097850 h 4687251"/>
              <a:gd name="connsiteX12865" fmla="*/ 4517765 w 8079933"/>
              <a:gd name="connsiteY12865" fmla="*/ 2099150 h 4687251"/>
              <a:gd name="connsiteX12866" fmla="*/ 7061070 w 8079933"/>
              <a:gd name="connsiteY12866" fmla="*/ 2096985 h 4687251"/>
              <a:gd name="connsiteX12867" fmla="*/ 7067256 w 8079933"/>
              <a:gd name="connsiteY12867" fmla="*/ 2097310 h 4687251"/>
              <a:gd name="connsiteX12868" fmla="*/ 7070729 w 8079933"/>
              <a:gd name="connsiteY12868" fmla="*/ 2099909 h 4687251"/>
              <a:gd name="connsiteX12869" fmla="*/ 7074309 w 8079933"/>
              <a:gd name="connsiteY12869" fmla="*/ 2100017 h 4687251"/>
              <a:gd name="connsiteX12870" fmla="*/ 7079518 w 8079933"/>
              <a:gd name="connsiteY12870" fmla="*/ 2104131 h 4687251"/>
              <a:gd name="connsiteX12871" fmla="*/ 7080494 w 8079933"/>
              <a:gd name="connsiteY12871" fmla="*/ 2107487 h 4687251"/>
              <a:gd name="connsiteX12872" fmla="*/ 7082231 w 8079933"/>
              <a:gd name="connsiteY12872" fmla="*/ 2109111 h 4687251"/>
              <a:gd name="connsiteX12873" fmla="*/ 7081688 w 8079933"/>
              <a:gd name="connsiteY12873" fmla="*/ 2112251 h 4687251"/>
              <a:gd name="connsiteX12874" fmla="*/ 7076371 w 8079933"/>
              <a:gd name="connsiteY12874" fmla="*/ 2117232 h 4687251"/>
              <a:gd name="connsiteX12875" fmla="*/ 7074201 w 8079933"/>
              <a:gd name="connsiteY12875" fmla="*/ 2125677 h 4687251"/>
              <a:gd name="connsiteX12876" fmla="*/ 7071270 w 8079933"/>
              <a:gd name="connsiteY12876" fmla="*/ 2127084 h 4687251"/>
              <a:gd name="connsiteX12877" fmla="*/ 7069317 w 8079933"/>
              <a:gd name="connsiteY12877" fmla="*/ 2123728 h 4687251"/>
              <a:gd name="connsiteX12878" fmla="*/ 7062589 w 8079933"/>
              <a:gd name="connsiteY12878" fmla="*/ 2119505 h 4687251"/>
              <a:gd name="connsiteX12879" fmla="*/ 7057272 w 8079933"/>
              <a:gd name="connsiteY12879" fmla="*/ 2118747 h 4687251"/>
              <a:gd name="connsiteX12880" fmla="*/ 7055753 w 8079933"/>
              <a:gd name="connsiteY12880" fmla="*/ 2121346 h 4687251"/>
              <a:gd name="connsiteX12881" fmla="*/ 7050001 w 8079933"/>
              <a:gd name="connsiteY12881" fmla="*/ 2124811 h 4687251"/>
              <a:gd name="connsiteX12882" fmla="*/ 7047939 w 8079933"/>
              <a:gd name="connsiteY12882" fmla="*/ 2131631 h 4687251"/>
              <a:gd name="connsiteX12883" fmla="*/ 7045877 w 8079933"/>
              <a:gd name="connsiteY12883" fmla="*/ 2135854 h 4687251"/>
              <a:gd name="connsiteX12884" fmla="*/ 7050219 w 8079933"/>
              <a:gd name="connsiteY12884" fmla="*/ 2140401 h 4687251"/>
              <a:gd name="connsiteX12885" fmla="*/ 7050543 w 8079933"/>
              <a:gd name="connsiteY12885" fmla="*/ 2143325 h 4687251"/>
              <a:gd name="connsiteX12886" fmla="*/ 7048265 w 8079933"/>
              <a:gd name="connsiteY12886" fmla="*/ 2144082 h 4687251"/>
              <a:gd name="connsiteX12887" fmla="*/ 7045335 w 8079933"/>
              <a:gd name="connsiteY12887" fmla="*/ 2143000 h 4687251"/>
              <a:gd name="connsiteX12888" fmla="*/ 7043815 w 8079933"/>
              <a:gd name="connsiteY12888" fmla="*/ 2144733 h 4687251"/>
              <a:gd name="connsiteX12889" fmla="*/ 7041862 w 8079933"/>
              <a:gd name="connsiteY12889" fmla="*/ 2143866 h 4687251"/>
              <a:gd name="connsiteX12890" fmla="*/ 7042297 w 8079933"/>
              <a:gd name="connsiteY12890" fmla="*/ 2140943 h 4687251"/>
              <a:gd name="connsiteX12891" fmla="*/ 7036436 w 8079933"/>
              <a:gd name="connsiteY12891" fmla="*/ 2140293 h 4687251"/>
              <a:gd name="connsiteX12892" fmla="*/ 7032639 w 8079933"/>
              <a:gd name="connsiteY12892" fmla="*/ 2134554 h 4687251"/>
              <a:gd name="connsiteX12893" fmla="*/ 7032639 w 8079933"/>
              <a:gd name="connsiteY12893" fmla="*/ 2132173 h 4687251"/>
              <a:gd name="connsiteX12894" fmla="*/ 7034049 w 8079933"/>
              <a:gd name="connsiteY12894" fmla="*/ 2130874 h 4687251"/>
              <a:gd name="connsiteX12895" fmla="*/ 7032747 w 8079933"/>
              <a:gd name="connsiteY12895" fmla="*/ 2126218 h 4687251"/>
              <a:gd name="connsiteX12896" fmla="*/ 7026127 w 8079933"/>
              <a:gd name="connsiteY12896" fmla="*/ 2124486 h 4687251"/>
              <a:gd name="connsiteX12897" fmla="*/ 7027104 w 8079933"/>
              <a:gd name="connsiteY12897" fmla="*/ 2119613 h 4687251"/>
              <a:gd name="connsiteX12898" fmla="*/ 7031227 w 8079933"/>
              <a:gd name="connsiteY12898" fmla="*/ 2116690 h 4687251"/>
              <a:gd name="connsiteX12899" fmla="*/ 7031445 w 8079933"/>
              <a:gd name="connsiteY12899" fmla="*/ 2112468 h 4687251"/>
              <a:gd name="connsiteX12900" fmla="*/ 7037738 w 8079933"/>
              <a:gd name="connsiteY12900" fmla="*/ 2105213 h 4687251"/>
              <a:gd name="connsiteX12901" fmla="*/ 7040018 w 8079933"/>
              <a:gd name="connsiteY12901" fmla="*/ 2104997 h 4687251"/>
              <a:gd name="connsiteX12902" fmla="*/ 7042839 w 8079933"/>
              <a:gd name="connsiteY12902" fmla="*/ 2111385 h 4687251"/>
              <a:gd name="connsiteX12903" fmla="*/ 7045010 w 8079933"/>
              <a:gd name="connsiteY12903" fmla="*/ 2112035 h 4687251"/>
              <a:gd name="connsiteX12904" fmla="*/ 7048590 w 8079933"/>
              <a:gd name="connsiteY12904" fmla="*/ 2109544 h 4687251"/>
              <a:gd name="connsiteX12905" fmla="*/ 7052931 w 8079933"/>
              <a:gd name="connsiteY12905" fmla="*/ 2108137 h 4687251"/>
              <a:gd name="connsiteX12906" fmla="*/ 7055210 w 8079933"/>
              <a:gd name="connsiteY12906" fmla="*/ 2104672 h 4687251"/>
              <a:gd name="connsiteX12907" fmla="*/ 7055210 w 8079933"/>
              <a:gd name="connsiteY12907" fmla="*/ 2101749 h 4687251"/>
              <a:gd name="connsiteX12908" fmla="*/ 5618981 w 8079933"/>
              <a:gd name="connsiteY12908" fmla="*/ 2096140 h 4687251"/>
              <a:gd name="connsiteX12909" fmla="*/ 5612373 w 8079933"/>
              <a:gd name="connsiteY12909" fmla="*/ 2100556 h 4687251"/>
              <a:gd name="connsiteX12910" fmla="*/ 5612373 w 8079933"/>
              <a:gd name="connsiteY12910" fmla="*/ 2100557 h 4687251"/>
              <a:gd name="connsiteX12911" fmla="*/ 4951396 w 8079933"/>
              <a:gd name="connsiteY12911" fmla="*/ 2093520 h 4687251"/>
              <a:gd name="connsiteX12912" fmla="*/ 4951180 w 8079933"/>
              <a:gd name="connsiteY12912" fmla="*/ 2098175 h 4687251"/>
              <a:gd name="connsiteX12913" fmla="*/ 4951180 w 8079933"/>
              <a:gd name="connsiteY12913" fmla="*/ 2098175 h 4687251"/>
              <a:gd name="connsiteX12914" fmla="*/ 4951397 w 8079933"/>
              <a:gd name="connsiteY12914" fmla="*/ 2093520 h 4687251"/>
              <a:gd name="connsiteX12915" fmla="*/ 4492372 w 8079933"/>
              <a:gd name="connsiteY12915" fmla="*/ 2093086 h 4687251"/>
              <a:gd name="connsiteX12916" fmla="*/ 4494108 w 8079933"/>
              <a:gd name="connsiteY12916" fmla="*/ 2095468 h 4687251"/>
              <a:gd name="connsiteX12917" fmla="*/ 4491721 w 8079933"/>
              <a:gd name="connsiteY12917" fmla="*/ 2096551 h 4687251"/>
              <a:gd name="connsiteX12918" fmla="*/ 4490961 w 8079933"/>
              <a:gd name="connsiteY12918" fmla="*/ 2094926 h 4687251"/>
              <a:gd name="connsiteX12919" fmla="*/ 4513098 w 8079933"/>
              <a:gd name="connsiteY12919" fmla="*/ 2092437 h 4687251"/>
              <a:gd name="connsiteX12920" fmla="*/ 4515159 w 8079933"/>
              <a:gd name="connsiteY12920" fmla="*/ 2094386 h 4687251"/>
              <a:gd name="connsiteX12921" fmla="*/ 4515594 w 8079933"/>
              <a:gd name="connsiteY12921" fmla="*/ 2096659 h 4687251"/>
              <a:gd name="connsiteX12922" fmla="*/ 4512881 w 8079933"/>
              <a:gd name="connsiteY12922" fmla="*/ 2095468 h 4687251"/>
              <a:gd name="connsiteX12923" fmla="*/ 4510928 w 8079933"/>
              <a:gd name="connsiteY12923" fmla="*/ 2093194 h 4687251"/>
              <a:gd name="connsiteX12924" fmla="*/ 6952661 w 8079933"/>
              <a:gd name="connsiteY12924" fmla="*/ 2091680 h 4687251"/>
              <a:gd name="connsiteX12925" fmla="*/ 6953530 w 8079933"/>
              <a:gd name="connsiteY12925" fmla="*/ 2093629 h 4687251"/>
              <a:gd name="connsiteX12926" fmla="*/ 6954398 w 8079933"/>
              <a:gd name="connsiteY12926" fmla="*/ 2096985 h 4687251"/>
              <a:gd name="connsiteX12927" fmla="*/ 6952010 w 8079933"/>
              <a:gd name="connsiteY12927" fmla="*/ 2101857 h 4687251"/>
              <a:gd name="connsiteX12928" fmla="*/ 6950165 w 8079933"/>
              <a:gd name="connsiteY12928" fmla="*/ 2103482 h 4687251"/>
              <a:gd name="connsiteX12929" fmla="*/ 6949080 w 8079933"/>
              <a:gd name="connsiteY12929" fmla="*/ 2100125 h 4687251"/>
              <a:gd name="connsiteX12930" fmla="*/ 6949189 w 8079933"/>
              <a:gd name="connsiteY12930" fmla="*/ 2096119 h 4687251"/>
              <a:gd name="connsiteX12931" fmla="*/ 6950491 w 8079933"/>
              <a:gd name="connsiteY12931" fmla="*/ 2093088 h 4687251"/>
              <a:gd name="connsiteX12932" fmla="*/ 4536538 w 8079933"/>
              <a:gd name="connsiteY12932" fmla="*/ 2091680 h 4687251"/>
              <a:gd name="connsiteX12933" fmla="*/ 4535779 w 8079933"/>
              <a:gd name="connsiteY12933" fmla="*/ 2094062 h 4687251"/>
              <a:gd name="connsiteX12934" fmla="*/ 4532414 w 8079933"/>
              <a:gd name="connsiteY12934" fmla="*/ 2097202 h 4687251"/>
              <a:gd name="connsiteX12935" fmla="*/ 4530787 w 8079933"/>
              <a:gd name="connsiteY12935" fmla="*/ 2095253 h 4687251"/>
              <a:gd name="connsiteX12936" fmla="*/ 4531546 w 8079933"/>
              <a:gd name="connsiteY12936" fmla="*/ 2092654 h 4687251"/>
              <a:gd name="connsiteX12937" fmla="*/ 5602064 w 8079933"/>
              <a:gd name="connsiteY12937" fmla="*/ 2091246 h 4687251"/>
              <a:gd name="connsiteX12938" fmla="*/ 5602063 w 8079933"/>
              <a:gd name="connsiteY12938" fmla="*/ 2091246 h 4687251"/>
              <a:gd name="connsiteX12939" fmla="*/ 5600804 w 8079933"/>
              <a:gd name="connsiteY12939" fmla="*/ 2092319 h 4687251"/>
              <a:gd name="connsiteX12940" fmla="*/ 7067364 w 8079933"/>
              <a:gd name="connsiteY12940" fmla="*/ 2090055 h 4687251"/>
              <a:gd name="connsiteX12941" fmla="*/ 7070402 w 8079933"/>
              <a:gd name="connsiteY12941" fmla="*/ 2090705 h 4687251"/>
              <a:gd name="connsiteX12942" fmla="*/ 7070293 w 8079933"/>
              <a:gd name="connsiteY12942" fmla="*/ 2093087 h 4687251"/>
              <a:gd name="connsiteX12943" fmla="*/ 7067255 w 8079933"/>
              <a:gd name="connsiteY12943" fmla="*/ 2094602 h 4687251"/>
              <a:gd name="connsiteX12944" fmla="*/ 7063674 w 8079933"/>
              <a:gd name="connsiteY12944" fmla="*/ 2093628 h 4687251"/>
              <a:gd name="connsiteX12945" fmla="*/ 3772319 w 8079933"/>
              <a:gd name="connsiteY12945" fmla="*/ 2089721 h 4687251"/>
              <a:gd name="connsiteX12946" fmla="*/ 3772256 w 8079933"/>
              <a:gd name="connsiteY12946" fmla="*/ 2089838 h 4687251"/>
              <a:gd name="connsiteX12947" fmla="*/ 3775728 w 8079933"/>
              <a:gd name="connsiteY12947" fmla="*/ 2095359 h 4687251"/>
              <a:gd name="connsiteX12948" fmla="*/ 3775728 w 8079933"/>
              <a:gd name="connsiteY12948" fmla="*/ 2095143 h 4687251"/>
              <a:gd name="connsiteX12949" fmla="*/ 5622357 w 8079933"/>
              <a:gd name="connsiteY12949" fmla="*/ 2088756 h 4687251"/>
              <a:gd name="connsiteX12950" fmla="*/ 5622356 w 8079933"/>
              <a:gd name="connsiteY12950" fmla="*/ 2088756 h 4687251"/>
              <a:gd name="connsiteX12951" fmla="*/ 5623193 w 8079933"/>
              <a:gd name="connsiteY12951" fmla="*/ 2091021 h 4687251"/>
              <a:gd name="connsiteX12952" fmla="*/ 5623128 w 8079933"/>
              <a:gd name="connsiteY12952" fmla="*/ 2090844 h 4687251"/>
              <a:gd name="connsiteX12953" fmla="*/ 5584266 w 8079933"/>
              <a:gd name="connsiteY12953" fmla="*/ 2087889 h 4687251"/>
              <a:gd name="connsiteX12954" fmla="*/ 5584266 w 8079933"/>
              <a:gd name="connsiteY12954" fmla="*/ 2087889 h 4687251"/>
              <a:gd name="connsiteX12955" fmla="*/ 5588607 w 8079933"/>
              <a:gd name="connsiteY12955" fmla="*/ 2089622 h 4687251"/>
              <a:gd name="connsiteX12956" fmla="*/ 5090795 w 8079933"/>
              <a:gd name="connsiteY12956" fmla="*/ 2087673 h 4687251"/>
              <a:gd name="connsiteX12957" fmla="*/ 5092251 w 8079933"/>
              <a:gd name="connsiteY12957" fmla="*/ 2092654 h 4687251"/>
              <a:gd name="connsiteX12958" fmla="*/ 5095940 w 8079933"/>
              <a:gd name="connsiteY12958" fmla="*/ 2097093 h 4687251"/>
              <a:gd name="connsiteX12959" fmla="*/ 5107986 w 8079933"/>
              <a:gd name="connsiteY12959" fmla="*/ 2101965 h 4687251"/>
              <a:gd name="connsiteX12960" fmla="*/ 5113304 w 8079933"/>
              <a:gd name="connsiteY12960" fmla="*/ 2102398 h 4687251"/>
              <a:gd name="connsiteX12961" fmla="*/ 5127736 w 8079933"/>
              <a:gd name="connsiteY12961" fmla="*/ 2106621 h 4687251"/>
              <a:gd name="connsiteX12962" fmla="*/ 5134790 w 8079933"/>
              <a:gd name="connsiteY12962" fmla="*/ 2106621 h 4687251"/>
              <a:gd name="connsiteX12963" fmla="*/ 5136298 w 8079933"/>
              <a:gd name="connsiteY12963" fmla="*/ 2106188 h 4687251"/>
              <a:gd name="connsiteX12964" fmla="*/ 5129472 w 8079933"/>
              <a:gd name="connsiteY12964" fmla="*/ 2106188 h 4687251"/>
              <a:gd name="connsiteX12965" fmla="*/ 5115040 w 8079933"/>
              <a:gd name="connsiteY12965" fmla="*/ 2102073 h 4687251"/>
              <a:gd name="connsiteX12966" fmla="*/ 5109722 w 8079933"/>
              <a:gd name="connsiteY12966" fmla="*/ 2102073 h 4687251"/>
              <a:gd name="connsiteX12967" fmla="*/ 5097677 w 8079933"/>
              <a:gd name="connsiteY12967" fmla="*/ 2097310 h 4687251"/>
              <a:gd name="connsiteX12968" fmla="*/ 5094096 w 8079933"/>
              <a:gd name="connsiteY12968" fmla="*/ 2092871 h 4687251"/>
              <a:gd name="connsiteX12969" fmla="*/ 5092576 w 8079933"/>
              <a:gd name="connsiteY12969" fmla="*/ 2087673 h 4687251"/>
              <a:gd name="connsiteX12970" fmla="*/ 6913921 w 8079933"/>
              <a:gd name="connsiteY12970" fmla="*/ 2086807 h 4687251"/>
              <a:gd name="connsiteX12971" fmla="*/ 6916308 w 8079933"/>
              <a:gd name="connsiteY12971" fmla="*/ 2089189 h 4687251"/>
              <a:gd name="connsiteX12972" fmla="*/ 6912728 w 8079933"/>
              <a:gd name="connsiteY12972" fmla="*/ 2090597 h 4687251"/>
              <a:gd name="connsiteX12973" fmla="*/ 6911642 w 8079933"/>
              <a:gd name="connsiteY12973" fmla="*/ 2088431 h 4687251"/>
              <a:gd name="connsiteX12974" fmla="*/ 7082664 w 8079933"/>
              <a:gd name="connsiteY12974" fmla="*/ 2086374 h 4687251"/>
              <a:gd name="connsiteX12975" fmla="*/ 7083641 w 8079933"/>
              <a:gd name="connsiteY12975" fmla="*/ 2089298 h 4687251"/>
              <a:gd name="connsiteX12976" fmla="*/ 7083097 w 8079933"/>
              <a:gd name="connsiteY12976" fmla="*/ 2092762 h 4687251"/>
              <a:gd name="connsiteX12977" fmla="*/ 7083857 w 8079933"/>
              <a:gd name="connsiteY12977" fmla="*/ 2094819 h 4687251"/>
              <a:gd name="connsiteX12978" fmla="*/ 7083097 w 8079933"/>
              <a:gd name="connsiteY12978" fmla="*/ 2097743 h 4687251"/>
              <a:gd name="connsiteX12979" fmla="*/ 7080601 w 8079933"/>
              <a:gd name="connsiteY12979" fmla="*/ 2097852 h 4687251"/>
              <a:gd name="connsiteX12980" fmla="*/ 7078431 w 8079933"/>
              <a:gd name="connsiteY12980" fmla="*/ 2093087 h 4687251"/>
              <a:gd name="connsiteX12981" fmla="*/ 7078540 w 8079933"/>
              <a:gd name="connsiteY12981" fmla="*/ 2089298 h 4687251"/>
              <a:gd name="connsiteX12982" fmla="*/ 7080168 w 8079933"/>
              <a:gd name="connsiteY12982" fmla="*/ 2086807 h 4687251"/>
              <a:gd name="connsiteX12983" fmla="*/ 4544676 w 8079933"/>
              <a:gd name="connsiteY12983" fmla="*/ 2085617 h 4687251"/>
              <a:gd name="connsiteX12984" fmla="*/ 4547498 w 8079933"/>
              <a:gd name="connsiteY12984" fmla="*/ 2085942 h 4687251"/>
              <a:gd name="connsiteX12985" fmla="*/ 4550319 w 8079933"/>
              <a:gd name="connsiteY12985" fmla="*/ 2088215 h 4687251"/>
              <a:gd name="connsiteX12986" fmla="*/ 4551079 w 8079933"/>
              <a:gd name="connsiteY12986" fmla="*/ 2087241 h 4687251"/>
              <a:gd name="connsiteX12987" fmla="*/ 4552381 w 8079933"/>
              <a:gd name="connsiteY12987" fmla="*/ 2087566 h 4687251"/>
              <a:gd name="connsiteX12988" fmla="*/ 4552923 w 8079933"/>
              <a:gd name="connsiteY12988" fmla="*/ 2089298 h 4687251"/>
              <a:gd name="connsiteX12989" fmla="*/ 4550211 w 8079933"/>
              <a:gd name="connsiteY12989" fmla="*/ 2090597 h 4687251"/>
              <a:gd name="connsiteX12990" fmla="*/ 4549126 w 8079933"/>
              <a:gd name="connsiteY12990" fmla="*/ 2092005 h 4687251"/>
              <a:gd name="connsiteX12991" fmla="*/ 4546847 w 8079933"/>
              <a:gd name="connsiteY12991" fmla="*/ 2091897 h 4687251"/>
              <a:gd name="connsiteX12992" fmla="*/ 4544785 w 8079933"/>
              <a:gd name="connsiteY12992" fmla="*/ 2089623 h 4687251"/>
              <a:gd name="connsiteX12993" fmla="*/ 4542180 w 8079933"/>
              <a:gd name="connsiteY12993" fmla="*/ 2089839 h 4687251"/>
              <a:gd name="connsiteX12994" fmla="*/ 4539685 w 8079933"/>
              <a:gd name="connsiteY12994" fmla="*/ 2090597 h 4687251"/>
              <a:gd name="connsiteX12995" fmla="*/ 4540770 w 8079933"/>
              <a:gd name="connsiteY12995" fmla="*/ 2088865 h 4687251"/>
              <a:gd name="connsiteX12996" fmla="*/ 5311251 w 8079933"/>
              <a:gd name="connsiteY12996" fmla="*/ 2084971 h 4687251"/>
              <a:gd name="connsiteX12997" fmla="*/ 5318726 w 8079933"/>
              <a:gd name="connsiteY12997" fmla="*/ 2086699 h 4687251"/>
              <a:gd name="connsiteX12998" fmla="*/ 5328383 w 8079933"/>
              <a:gd name="connsiteY12998" fmla="*/ 2100124 h 4687251"/>
              <a:gd name="connsiteX12999" fmla="*/ 5328384 w 8079933"/>
              <a:gd name="connsiteY12999" fmla="*/ 2100124 h 4687251"/>
              <a:gd name="connsiteX13000" fmla="*/ 5318727 w 8079933"/>
              <a:gd name="connsiteY13000" fmla="*/ 2086699 h 4687251"/>
              <a:gd name="connsiteX13001" fmla="*/ 5073154 w 8079933"/>
              <a:gd name="connsiteY13001" fmla="*/ 2084750 h 4687251"/>
              <a:gd name="connsiteX13002" fmla="*/ 5076082 w 8079933"/>
              <a:gd name="connsiteY13002" fmla="*/ 2085725 h 4687251"/>
              <a:gd name="connsiteX13003" fmla="*/ 5076402 w 8079933"/>
              <a:gd name="connsiteY13003" fmla="*/ 2085608 h 4687251"/>
              <a:gd name="connsiteX13004" fmla="*/ 5074020 w 8079933"/>
              <a:gd name="connsiteY13004" fmla="*/ 2084750 h 4687251"/>
              <a:gd name="connsiteX13005" fmla="*/ 5083570 w 8079933"/>
              <a:gd name="connsiteY13005" fmla="*/ 2084100 h 4687251"/>
              <a:gd name="connsiteX13006" fmla="*/ 5082799 w 8079933"/>
              <a:gd name="connsiteY13006" fmla="*/ 2084382 h 4687251"/>
              <a:gd name="connsiteX13007" fmla="*/ 5087259 w 8079933"/>
              <a:gd name="connsiteY13007" fmla="*/ 2087349 h 4687251"/>
              <a:gd name="connsiteX13008" fmla="*/ 5088669 w 8079933"/>
              <a:gd name="connsiteY13008" fmla="*/ 2087393 h 4687251"/>
              <a:gd name="connsiteX13009" fmla="*/ 4408054 w 8079933"/>
              <a:gd name="connsiteY13009" fmla="*/ 2083884 h 4687251"/>
              <a:gd name="connsiteX13010" fmla="*/ 4410984 w 8079933"/>
              <a:gd name="connsiteY13010" fmla="*/ 2085183 h 4687251"/>
              <a:gd name="connsiteX13011" fmla="*/ 4413154 w 8079933"/>
              <a:gd name="connsiteY13011" fmla="*/ 2088106 h 4687251"/>
              <a:gd name="connsiteX13012" fmla="*/ 4414999 w 8079933"/>
              <a:gd name="connsiteY13012" fmla="*/ 2090272 h 4687251"/>
              <a:gd name="connsiteX13013" fmla="*/ 4412069 w 8079933"/>
              <a:gd name="connsiteY13013" fmla="*/ 2089730 h 4687251"/>
              <a:gd name="connsiteX13014" fmla="*/ 4411418 w 8079933"/>
              <a:gd name="connsiteY13014" fmla="*/ 2091355 h 4687251"/>
              <a:gd name="connsiteX13015" fmla="*/ 4408705 w 8079933"/>
              <a:gd name="connsiteY13015" fmla="*/ 2090596 h 4687251"/>
              <a:gd name="connsiteX13016" fmla="*/ 4405450 w 8079933"/>
              <a:gd name="connsiteY13016" fmla="*/ 2087349 h 4687251"/>
              <a:gd name="connsiteX13017" fmla="*/ 4406209 w 8079933"/>
              <a:gd name="connsiteY13017" fmla="*/ 2084750 h 4687251"/>
              <a:gd name="connsiteX13018" fmla="*/ 4502463 w 8079933"/>
              <a:gd name="connsiteY13018" fmla="*/ 2083667 h 4687251"/>
              <a:gd name="connsiteX13019" fmla="*/ 4504417 w 8079933"/>
              <a:gd name="connsiteY13019" fmla="*/ 2086591 h 4687251"/>
              <a:gd name="connsiteX13020" fmla="*/ 4508432 w 8079933"/>
              <a:gd name="connsiteY13020" fmla="*/ 2090272 h 4687251"/>
              <a:gd name="connsiteX13021" fmla="*/ 4508324 w 8079933"/>
              <a:gd name="connsiteY13021" fmla="*/ 2092762 h 4687251"/>
              <a:gd name="connsiteX13022" fmla="*/ 4506370 w 8079933"/>
              <a:gd name="connsiteY13022" fmla="*/ 2092654 h 4687251"/>
              <a:gd name="connsiteX13023" fmla="*/ 4501270 w 8079933"/>
              <a:gd name="connsiteY13023" fmla="*/ 2087673 h 4687251"/>
              <a:gd name="connsiteX13024" fmla="*/ 4499100 w 8079933"/>
              <a:gd name="connsiteY13024" fmla="*/ 2085941 h 4687251"/>
              <a:gd name="connsiteX13025" fmla="*/ 4500293 w 8079933"/>
              <a:gd name="connsiteY13025" fmla="*/ 2083883 h 4687251"/>
              <a:gd name="connsiteX13026" fmla="*/ 5427678 w 8079933"/>
              <a:gd name="connsiteY13026" fmla="*/ 2083234 h 4687251"/>
              <a:gd name="connsiteX13027" fmla="*/ 5427678 w 8079933"/>
              <a:gd name="connsiteY13027" fmla="*/ 2083235 h 4687251"/>
              <a:gd name="connsiteX13028" fmla="*/ 5429207 w 8079933"/>
              <a:gd name="connsiteY13028" fmla="*/ 2084455 h 4687251"/>
              <a:gd name="connsiteX13029" fmla="*/ 5582589 w 8079933"/>
              <a:gd name="connsiteY13029" fmla="*/ 2082426 h 4687251"/>
              <a:gd name="connsiteX13030" fmla="*/ 5584266 w 8079933"/>
              <a:gd name="connsiteY13030" fmla="*/ 2084642 h 4687251"/>
              <a:gd name="connsiteX13031" fmla="*/ 5584266 w 8079933"/>
              <a:gd name="connsiteY13031" fmla="*/ 2084641 h 4687251"/>
              <a:gd name="connsiteX13032" fmla="*/ 6932043 w 8079933"/>
              <a:gd name="connsiteY13032" fmla="*/ 2080635 h 4687251"/>
              <a:gd name="connsiteX13033" fmla="*/ 6933888 w 8079933"/>
              <a:gd name="connsiteY13033" fmla="*/ 2081826 h 4687251"/>
              <a:gd name="connsiteX13034" fmla="*/ 6934214 w 8079933"/>
              <a:gd name="connsiteY13034" fmla="*/ 2085940 h 4687251"/>
              <a:gd name="connsiteX13035" fmla="*/ 6932585 w 8079933"/>
              <a:gd name="connsiteY13035" fmla="*/ 2088430 h 4687251"/>
              <a:gd name="connsiteX13036" fmla="*/ 6930307 w 8079933"/>
              <a:gd name="connsiteY13036" fmla="*/ 2089296 h 4687251"/>
              <a:gd name="connsiteX13037" fmla="*/ 6928896 w 8079933"/>
              <a:gd name="connsiteY13037" fmla="*/ 2086048 h 4687251"/>
              <a:gd name="connsiteX13038" fmla="*/ 6928679 w 8079933"/>
              <a:gd name="connsiteY13038" fmla="*/ 2083341 h 4687251"/>
              <a:gd name="connsiteX13039" fmla="*/ 5062062 w 8079933"/>
              <a:gd name="connsiteY13039" fmla="*/ 2079770 h 4687251"/>
              <a:gd name="connsiteX13040" fmla="*/ 5066424 w 8079933"/>
              <a:gd name="connsiteY13040" fmla="*/ 2084425 h 4687251"/>
              <a:gd name="connsiteX13041" fmla="*/ 5068072 w 8079933"/>
              <a:gd name="connsiteY13041" fmla="*/ 2084425 h 4687251"/>
              <a:gd name="connsiteX13042" fmla="*/ 5063711 w 8079933"/>
              <a:gd name="connsiteY13042" fmla="*/ 2079770 h 4687251"/>
              <a:gd name="connsiteX13043" fmla="*/ 3356745 w 8079933"/>
              <a:gd name="connsiteY13043" fmla="*/ 2079553 h 4687251"/>
              <a:gd name="connsiteX13044" fmla="*/ 3359458 w 8079933"/>
              <a:gd name="connsiteY13044" fmla="*/ 2080202 h 4687251"/>
              <a:gd name="connsiteX13045" fmla="*/ 3361194 w 8079933"/>
              <a:gd name="connsiteY13045" fmla="*/ 2082584 h 4687251"/>
              <a:gd name="connsiteX13046" fmla="*/ 3359349 w 8079933"/>
              <a:gd name="connsiteY13046" fmla="*/ 2083884 h 4687251"/>
              <a:gd name="connsiteX13047" fmla="*/ 3353164 w 8079933"/>
              <a:gd name="connsiteY13047" fmla="*/ 2082910 h 4687251"/>
              <a:gd name="connsiteX13048" fmla="*/ 3352513 w 8079933"/>
              <a:gd name="connsiteY13048" fmla="*/ 2080852 h 4687251"/>
              <a:gd name="connsiteX13049" fmla="*/ 5297728 w 8079933"/>
              <a:gd name="connsiteY13049" fmla="*/ 2076470 h 4687251"/>
              <a:gd name="connsiteX13050" fmla="*/ 5301146 w 8079933"/>
              <a:gd name="connsiteY13050" fmla="*/ 2077063 h 4687251"/>
              <a:gd name="connsiteX13051" fmla="*/ 5302557 w 8079933"/>
              <a:gd name="connsiteY13051" fmla="*/ 2084100 h 4687251"/>
              <a:gd name="connsiteX13052" fmla="*/ 5304727 w 8079933"/>
              <a:gd name="connsiteY13052" fmla="*/ 2085833 h 4687251"/>
              <a:gd name="connsiteX13053" fmla="*/ 5304728 w 8079933"/>
              <a:gd name="connsiteY13053" fmla="*/ 2085833 h 4687251"/>
              <a:gd name="connsiteX13054" fmla="*/ 5302558 w 8079933"/>
              <a:gd name="connsiteY13054" fmla="*/ 2084100 h 4687251"/>
              <a:gd name="connsiteX13055" fmla="*/ 5301147 w 8079933"/>
              <a:gd name="connsiteY13055" fmla="*/ 2077063 h 4687251"/>
              <a:gd name="connsiteX13056" fmla="*/ 5666956 w 8079933"/>
              <a:gd name="connsiteY13056" fmla="*/ 2072623 h 4687251"/>
              <a:gd name="connsiteX13057" fmla="*/ 5664569 w 8079933"/>
              <a:gd name="connsiteY13057" fmla="*/ 2074355 h 4687251"/>
              <a:gd name="connsiteX13058" fmla="*/ 5664570 w 8079933"/>
              <a:gd name="connsiteY13058" fmla="*/ 2074355 h 4687251"/>
              <a:gd name="connsiteX13059" fmla="*/ 5666956 w 8079933"/>
              <a:gd name="connsiteY13059" fmla="*/ 2072623 h 4687251"/>
              <a:gd name="connsiteX13060" fmla="*/ 5668022 w 8079933"/>
              <a:gd name="connsiteY13060" fmla="*/ 2072709 h 4687251"/>
              <a:gd name="connsiteX13061" fmla="*/ 4285322 w 8079933"/>
              <a:gd name="connsiteY13061" fmla="*/ 2072407 h 4687251"/>
              <a:gd name="connsiteX13062" fmla="*/ 4289012 w 8079933"/>
              <a:gd name="connsiteY13062" fmla="*/ 2076738 h 4687251"/>
              <a:gd name="connsiteX13063" fmla="*/ 4288035 w 8079933"/>
              <a:gd name="connsiteY13063" fmla="*/ 2083017 h 4687251"/>
              <a:gd name="connsiteX13064" fmla="*/ 4283695 w 8079933"/>
              <a:gd name="connsiteY13064" fmla="*/ 2087023 h 4687251"/>
              <a:gd name="connsiteX13065" fmla="*/ 4279354 w 8079933"/>
              <a:gd name="connsiteY13065" fmla="*/ 2098608 h 4687251"/>
              <a:gd name="connsiteX13066" fmla="*/ 4283695 w 8079933"/>
              <a:gd name="connsiteY13066" fmla="*/ 2104563 h 4687251"/>
              <a:gd name="connsiteX13067" fmla="*/ 4284237 w 8079933"/>
              <a:gd name="connsiteY13067" fmla="*/ 2109760 h 4687251"/>
              <a:gd name="connsiteX13068" fmla="*/ 4281958 w 8079933"/>
              <a:gd name="connsiteY13068" fmla="*/ 2112684 h 4687251"/>
              <a:gd name="connsiteX13069" fmla="*/ 4282284 w 8079933"/>
              <a:gd name="connsiteY13069" fmla="*/ 2118638 h 4687251"/>
              <a:gd name="connsiteX13070" fmla="*/ 4277727 w 8079933"/>
              <a:gd name="connsiteY13070" fmla="*/ 2119288 h 4687251"/>
              <a:gd name="connsiteX13071" fmla="*/ 4266766 w 8079933"/>
              <a:gd name="connsiteY13071" fmla="*/ 2114957 h 4687251"/>
              <a:gd name="connsiteX13072" fmla="*/ 4265789 w 8079933"/>
              <a:gd name="connsiteY13072" fmla="*/ 2111168 h 4687251"/>
              <a:gd name="connsiteX13073" fmla="*/ 4261123 w 8079933"/>
              <a:gd name="connsiteY13073" fmla="*/ 2107811 h 4687251"/>
              <a:gd name="connsiteX13074" fmla="*/ 4258953 w 8079933"/>
              <a:gd name="connsiteY13074" fmla="*/ 2109219 h 4687251"/>
              <a:gd name="connsiteX13075" fmla="*/ 4248318 w 8079933"/>
              <a:gd name="connsiteY13075" fmla="*/ 2105213 h 4687251"/>
              <a:gd name="connsiteX13076" fmla="*/ 4243760 w 8079933"/>
              <a:gd name="connsiteY13076" fmla="*/ 2100341 h 4687251"/>
              <a:gd name="connsiteX13077" fmla="*/ 4238877 w 8079933"/>
              <a:gd name="connsiteY13077" fmla="*/ 2099150 h 4687251"/>
              <a:gd name="connsiteX13078" fmla="*/ 4229871 w 8079933"/>
              <a:gd name="connsiteY13078" fmla="*/ 2092978 h 4687251"/>
              <a:gd name="connsiteX13079" fmla="*/ 4224770 w 8079933"/>
              <a:gd name="connsiteY13079" fmla="*/ 2093844 h 4687251"/>
              <a:gd name="connsiteX13080" fmla="*/ 4219670 w 8079933"/>
              <a:gd name="connsiteY13080" fmla="*/ 2089189 h 4687251"/>
              <a:gd name="connsiteX13081" fmla="*/ 4220430 w 8079933"/>
              <a:gd name="connsiteY13081" fmla="*/ 2081393 h 4687251"/>
              <a:gd name="connsiteX13082" fmla="*/ 4226181 w 8079933"/>
              <a:gd name="connsiteY13082" fmla="*/ 2078686 h 4687251"/>
              <a:gd name="connsiteX13083" fmla="*/ 4227917 w 8079933"/>
              <a:gd name="connsiteY13083" fmla="*/ 2080852 h 4687251"/>
              <a:gd name="connsiteX13084" fmla="*/ 4230739 w 8079933"/>
              <a:gd name="connsiteY13084" fmla="*/ 2078578 h 4687251"/>
              <a:gd name="connsiteX13085" fmla="*/ 4236055 w 8079933"/>
              <a:gd name="connsiteY13085" fmla="*/ 2078037 h 4687251"/>
              <a:gd name="connsiteX13086" fmla="*/ 4240505 w 8079933"/>
              <a:gd name="connsiteY13086" fmla="*/ 2081068 h 4687251"/>
              <a:gd name="connsiteX13087" fmla="*/ 4246799 w 8079933"/>
              <a:gd name="connsiteY13087" fmla="*/ 2082260 h 4687251"/>
              <a:gd name="connsiteX13088" fmla="*/ 4255697 w 8079933"/>
              <a:gd name="connsiteY13088" fmla="*/ 2079661 h 4687251"/>
              <a:gd name="connsiteX13089" fmla="*/ 4266549 w 8079933"/>
              <a:gd name="connsiteY13089" fmla="*/ 2080311 h 4687251"/>
              <a:gd name="connsiteX13090" fmla="*/ 4271649 w 8079933"/>
              <a:gd name="connsiteY13090" fmla="*/ 2074897 h 4687251"/>
              <a:gd name="connsiteX13091" fmla="*/ 4276858 w 8079933"/>
              <a:gd name="connsiteY13091" fmla="*/ 2077821 h 4687251"/>
              <a:gd name="connsiteX13092" fmla="*/ 4279354 w 8079933"/>
              <a:gd name="connsiteY13092" fmla="*/ 2078145 h 4687251"/>
              <a:gd name="connsiteX13093" fmla="*/ 5286497 w 8079933"/>
              <a:gd name="connsiteY13093" fmla="*/ 2072190 h 4687251"/>
              <a:gd name="connsiteX13094" fmla="*/ 5286497 w 8079933"/>
              <a:gd name="connsiteY13094" fmla="*/ 2072191 h 4687251"/>
              <a:gd name="connsiteX13095" fmla="*/ 5296154 w 8079933"/>
              <a:gd name="connsiteY13095" fmla="*/ 2076196 h 4687251"/>
              <a:gd name="connsiteX13096" fmla="*/ 5296155 w 8079933"/>
              <a:gd name="connsiteY13096" fmla="*/ 2076197 h 4687251"/>
              <a:gd name="connsiteX13097" fmla="*/ 5656755 w 8079933"/>
              <a:gd name="connsiteY13097" fmla="*/ 2071216 h 4687251"/>
              <a:gd name="connsiteX13098" fmla="*/ 5654585 w 8079933"/>
              <a:gd name="connsiteY13098" fmla="*/ 2072623 h 4687251"/>
              <a:gd name="connsiteX13099" fmla="*/ 5651004 w 8079933"/>
              <a:gd name="connsiteY13099" fmla="*/ 2071649 h 4687251"/>
              <a:gd name="connsiteX13100" fmla="*/ 5654585 w 8079933"/>
              <a:gd name="connsiteY13100" fmla="*/ 2072623 h 4687251"/>
              <a:gd name="connsiteX13101" fmla="*/ 5654801 w 8079933"/>
              <a:gd name="connsiteY13101" fmla="*/ 2072623 h 4687251"/>
              <a:gd name="connsiteX13102" fmla="*/ 5650027 w 8079933"/>
              <a:gd name="connsiteY13102" fmla="*/ 2080852 h 4687251"/>
              <a:gd name="connsiteX13103" fmla="*/ 5650028 w 8079933"/>
              <a:gd name="connsiteY13103" fmla="*/ 2080851 h 4687251"/>
              <a:gd name="connsiteX13104" fmla="*/ 5654803 w 8079933"/>
              <a:gd name="connsiteY13104" fmla="*/ 2072623 h 4687251"/>
              <a:gd name="connsiteX13105" fmla="*/ 5654586 w 8079933"/>
              <a:gd name="connsiteY13105" fmla="*/ 2072623 h 4687251"/>
              <a:gd name="connsiteX13106" fmla="*/ 5464030 w 8079933"/>
              <a:gd name="connsiteY13106" fmla="*/ 2070566 h 4687251"/>
              <a:gd name="connsiteX13107" fmla="*/ 5465658 w 8079933"/>
              <a:gd name="connsiteY13107" fmla="*/ 2072191 h 4687251"/>
              <a:gd name="connsiteX13108" fmla="*/ 5465659 w 8079933"/>
              <a:gd name="connsiteY13108" fmla="*/ 2072190 h 4687251"/>
              <a:gd name="connsiteX13109" fmla="*/ 5465658 w 8079933"/>
              <a:gd name="connsiteY13109" fmla="*/ 2072190 h 4687251"/>
              <a:gd name="connsiteX13110" fmla="*/ 5522846 w 8079933"/>
              <a:gd name="connsiteY13110" fmla="*/ 2070565 h 4687251"/>
              <a:gd name="connsiteX13111" fmla="*/ 5520133 w 8079933"/>
              <a:gd name="connsiteY13111" fmla="*/ 2073056 h 4687251"/>
              <a:gd name="connsiteX13112" fmla="*/ 5517420 w 8079933"/>
              <a:gd name="connsiteY13112" fmla="*/ 2073597 h 4687251"/>
              <a:gd name="connsiteX13113" fmla="*/ 5514815 w 8079933"/>
              <a:gd name="connsiteY13113" fmla="*/ 2077387 h 4687251"/>
              <a:gd name="connsiteX13114" fmla="*/ 5509607 w 8079933"/>
              <a:gd name="connsiteY13114" fmla="*/ 2080310 h 4687251"/>
              <a:gd name="connsiteX13115" fmla="*/ 5501685 w 8079933"/>
              <a:gd name="connsiteY13115" fmla="*/ 2082042 h 4687251"/>
              <a:gd name="connsiteX13116" fmla="*/ 5498104 w 8079933"/>
              <a:gd name="connsiteY13116" fmla="*/ 2080526 h 4687251"/>
              <a:gd name="connsiteX13117" fmla="*/ 5492895 w 8079933"/>
              <a:gd name="connsiteY13117" fmla="*/ 2073814 h 4687251"/>
              <a:gd name="connsiteX13118" fmla="*/ 5494957 w 8079933"/>
              <a:gd name="connsiteY13118" fmla="*/ 2076412 h 4687251"/>
              <a:gd name="connsiteX13119" fmla="*/ 5494957 w 8079933"/>
              <a:gd name="connsiteY13119" fmla="*/ 2076411 h 4687251"/>
              <a:gd name="connsiteX13120" fmla="*/ 5492896 w 8079933"/>
              <a:gd name="connsiteY13120" fmla="*/ 2073814 h 4687251"/>
              <a:gd name="connsiteX13121" fmla="*/ 5492895 w 8079933"/>
              <a:gd name="connsiteY13121" fmla="*/ 2073814 h 4687251"/>
              <a:gd name="connsiteX13122" fmla="*/ 5498104 w 8079933"/>
              <a:gd name="connsiteY13122" fmla="*/ 2080527 h 4687251"/>
              <a:gd name="connsiteX13123" fmla="*/ 5501685 w 8079933"/>
              <a:gd name="connsiteY13123" fmla="*/ 2082043 h 4687251"/>
              <a:gd name="connsiteX13124" fmla="*/ 5509607 w 8079933"/>
              <a:gd name="connsiteY13124" fmla="*/ 2080311 h 4687251"/>
              <a:gd name="connsiteX13125" fmla="*/ 5514816 w 8079933"/>
              <a:gd name="connsiteY13125" fmla="*/ 2077387 h 4687251"/>
              <a:gd name="connsiteX13126" fmla="*/ 5517420 w 8079933"/>
              <a:gd name="connsiteY13126" fmla="*/ 2073598 h 4687251"/>
              <a:gd name="connsiteX13127" fmla="*/ 5520133 w 8079933"/>
              <a:gd name="connsiteY13127" fmla="*/ 2073056 h 4687251"/>
              <a:gd name="connsiteX13128" fmla="*/ 5522846 w 8079933"/>
              <a:gd name="connsiteY13128" fmla="*/ 2070566 h 4687251"/>
              <a:gd name="connsiteX13129" fmla="*/ 5525342 w 8079933"/>
              <a:gd name="connsiteY13129" fmla="*/ 2072191 h 4687251"/>
              <a:gd name="connsiteX13130" fmla="*/ 5527946 w 8079933"/>
              <a:gd name="connsiteY13130" fmla="*/ 2075655 h 4687251"/>
              <a:gd name="connsiteX13131" fmla="*/ 5536194 w 8079933"/>
              <a:gd name="connsiteY13131" fmla="*/ 2076413 h 4687251"/>
              <a:gd name="connsiteX13132" fmla="*/ 5535977 w 8079933"/>
              <a:gd name="connsiteY13132" fmla="*/ 2072623 h 4687251"/>
              <a:gd name="connsiteX13133" fmla="*/ 5535423 w 8079933"/>
              <a:gd name="connsiteY13133" fmla="*/ 2072044 h 4687251"/>
              <a:gd name="connsiteX13134" fmla="*/ 5535976 w 8079933"/>
              <a:gd name="connsiteY13134" fmla="*/ 2072623 h 4687251"/>
              <a:gd name="connsiteX13135" fmla="*/ 5536193 w 8079933"/>
              <a:gd name="connsiteY13135" fmla="*/ 2076412 h 4687251"/>
              <a:gd name="connsiteX13136" fmla="*/ 5527946 w 8079933"/>
              <a:gd name="connsiteY13136" fmla="*/ 2075655 h 4687251"/>
              <a:gd name="connsiteX13137" fmla="*/ 5525342 w 8079933"/>
              <a:gd name="connsiteY13137" fmla="*/ 2072190 h 4687251"/>
              <a:gd name="connsiteX13138" fmla="*/ 5660120 w 8079933"/>
              <a:gd name="connsiteY13138" fmla="*/ 2070349 h 4687251"/>
              <a:gd name="connsiteX13139" fmla="*/ 5658073 w 8079933"/>
              <a:gd name="connsiteY13139" fmla="*/ 2070876 h 4687251"/>
              <a:gd name="connsiteX13140" fmla="*/ 5660121 w 8079933"/>
              <a:gd name="connsiteY13140" fmla="*/ 2070350 h 4687251"/>
              <a:gd name="connsiteX13141" fmla="*/ 5473472 w 8079933"/>
              <a:gd name="connsiteY13141" fmla="*/ 2070133 h 4687251"/>
              <a:gd name="connsiteX13142" fmla="*/ 5473431 w 8079933"/>
              <a:gd name="connsiteY13142" fmla="*/ 2070144 h 4687251"/>
              <a:gd name="connsiteX13143" fmla="*/ 5473471 w 8079933"/>
              <a:gd name="connsiteY13143" fmla="*/ 2070133 h 4687251"/>
              <a:gd name="connsiteX13144" fmla="*/ 5478680 w 8079933"/>
              <a:gd name="connsiteY13144" fmla="*/ 2072623 h 4687251"/>
              <a:gd name="connsiteX13145" fmla="*/ 5480561 w 8079933"/>
              <a:gd name="connsiteY13145" fmla="*/ 2075438 h 4687251"/>
              <a:gd name="connsiteX13146" fmla="*/ 5478680 w 8079933"/>
              <a:gd name="connsiteY13146" fmla="*/ 2072623 h 4687251"/>
              <a:gd name="connsiteX13147" fmla="*/ 5675854 w 8079933"/>
              <a:gd name="connsiteY13147" fmla="*/ 2068617 h 4687251"/>
              <a:gd name="connsiteX13148" fmla="*/ 5673684 w 8079933"/>
              <a:gd name="connsiteY13148" fmla="*/ 2070998 h 4687251"/>
              <a:gd name="connsiteX13149" fmla="*/ 5670971 w 8079933"/>
              <a:gd name="connsiteY13149" fmla="*/ 2072948 h 4687251"/>
              <a:gd name="connsiteX13150" fmla="*/ 5670972 w 8079933"/>
              <a:gd name="connsiteY13150" fmla="*/ 2072948 h 4687251"/>
              <a:gd name="connsiteX13151" fmla="*/ 5673685 w 8079933"/>
              <a:gd name="connsiteY13151" fmla="*/ 2070999 h 4687251"/>
              <a:gd name="connsiteX13152" fmla="*/ 5675855 w 8079933"/>
              <a:gd name="connsiteY13152" fmla="*/ 2068617 h 4687251"/>
              <a:gd name="connsiteX13153" fmla="*/ 5678893 w 8079933"/>
              <a:gd name="connsiteY13153" fmla="*/ 2068833 h 4687251"/>
              <a:gd name="connsiteX13154" fmla="*/ 5678893 w 8079933"/>
              <a:gd name="connsiteY13154" fmla="*/ 2068833 h 4687251"/>
              <a:gd name="connsiteX13155" fmla="*/ 5534132 w 8079933"/>
              <a:gd name="connsiteY13155" fmla="*/ 2067101 h 4687251"/>
              <a:gd name="connsiteX13156" fmla="*/ 5533806 w 8079933"/>
              <a:gd name="connsiteY13156" fmla="*/ 2070349 h 4687251"/>
              <a:gd name="connsiteX13157" fmla="*/ 5533806 w 8079933"/>
              <a:gd name="connsiteY13157" fmla="*/ 2070349 h 4687251"/>
              <a:gd name="connsiteX13158" fmla="*/ 5265010 w 8079933"/>
              <a:gd name="connsiteY13158" fmla="*/ 2066235 h 4687251"/>
              <a:gd name="connsiteX13159" fmla="*/ 5278900 w 8079933"/>
              <a:gd name="connsiteY13159" fmla="*/ 2075006 h 4687251"/>
              <a:gd name="connsiteX13160" fmla="*/ 5278901 w 8079933"/>
              <a:gd name="connsiteY13160" fmla="*/ 2075006 h 4687251"/>
              <a:gd name="connsiteX13161" fmla="*/ 5265011 w 8079933"/>
              <a:gd name="connsiteY13161" fmla="*/ 2066236 h 4687251"/>
              <a:gd name="connsiteX13162" fmla="*/ 5579600 w 8079933"/>
              <a:gd name="connsiteY13162" fmla="*/ 2065694 h 4687251"/>
              <a:gd name="connsiteX13163" fmla="*/ 5580251 w 8079933"/>
              <a:gd name="connsiteY13163" fmla="*/ 2070566 h 4687251"/>
              <a:gd name="connsiteX13164" fmla="*/ 5580262 w 8079933"/>
              <a:gd name="connsiteY13164" fmla="*/ 2070890 h 4687251"/>
              <a:gd name="connsiteX13165" fmla="*/ 5580251 w 8079933"/>
              <a:gd name="connsiteY13165" fmla="*/ 2070565 h 4687251"/>
              <a:gd name="connsiteX13166" fmla="*/ 4404472 w 8079933"/>
              <a:gd name="connsiteY13166" fmla="*/ 2065369 h 4687251"/>
              <a:gd name="connsiteX13167" fmla="*/ 4407077 w 8079933"/>
              <a:gd name="connsiteY13167" fmla="*/ 2067643 h 4687251"/>
              <a:gd name="connsiteX13168" fmla="*/ 4408596 w 8079933"/>
              <a:gd name="connsiteY13168" fmla="*/ 2070999 h 4687251"/>
              <a:gd name="connsiteX13169" fmla="*/ 4407945 w 8079933"/>
              <a:gd name="connsiteY13169" fmla="*/ 2072948 h 4687251"/>
              <a:gd name="connsiteX13170" fmla="*/ 4410007 w 8079933"/>
              <a:gd name="connsiteY13170" fmla="*/ 2075114 h 4687251"/>
              <a:gd name="connsiteX13171" fmla="*/ 4410658 w 8079933"/>
              <a:gd name="connsiteY13171" fmla="*/ 2077387 h 4687251"/>
              <a:gd name="connsiteX13172" fmla="*/ 4411634 w 8079933"/>
              <a:gd name="connsiteY13172" fmla="*/ 2078687 h 4687251"/>
              <a:gd name="connsiteX13173" fmla="*/ 4410115 w 8079933"/>
              <a:gd name="connsiteY13173" fmla="*/ 2080961 h 4687251"/>
              <a:gd name="connsiteX13174" fmla="*/ 4407294 w 8079933"/>
              <a:gd name="connsiteY13174" fmla="*/ 2079445 h 4687251"/>
              <a:gd name="connsiteX13175" fmla="*/ 4404038 w 8079933"/>
              <a:gd name="connsiteY13175" fmla="*/ 2079012 h 4687251"/>
              <a:gd name="connsiteX13176" fmla="*/ 4404038 w 8079933"/>
              <a:gd name="connsiteY13176" fmla="*/ 2076305 h 4687251"/>
              <a:gd name="connsiteX13177" fmla="*/ 4402844 w 8079933"/>
              <a:gd name="connsiteY13177" fmla="*/ 2075114 h 4687251"/>
              <a:gd name="connsiteX13178" fmla="*/ 4402844 w 8079933"/>
              <a:gd name="connsiteY13178" fmla="*/ 2077496 h 4687251"/>
              <a:gd name="connsiteX13179" fmla="*/ 4401651 w 8079933"/>
              <a:gd name="connsiteY13179" fmla="*/ 2078795 h 4687251"/>
              <a:gd name="connsiteX13180" fmla="*/ 4399481 w 8079933"/>
              <a:gd name="connsiteY13180" fmla="*/ 2076630 h 4687251"/>
              <a:gd name="connsiteX13181" fmla="*/ 4399481 w 8079933"/>
              <a:gd name="connsiteY13181" fmla="*/ 2071540 h 4687251"/>
              <a:gd name="connsiteX13182" fmla="*/ 4402302 w 8079933"/>
              <a:gd name="connsiteY13182" fmla="*/ 2070783 h 4687251"/>
              <a:gd name="connsiteX13183" fmla="*/ 4404364 w 8079933"/>
              <a:gd name="connsiteY13183" fmla="*/ 2071108 h 4687251"/>
              <a:gd name="connsiteX13184" fmla="*/ 5658199 w 8079933"/>
              <a:gd name="connsiteY13184" fmla="*/ 2065091 h 4687251"/>
              <a:gd name="connsiteX13185" fmla="*/ 5658274 w 8079933"/>
              <a:gd name="connsiteY13185" fmla="*/ 2065369 h 4687251"/>
              <a:gd name="connsiteX13186" fmla="*/ 5658274 w 8079933"/>
              <a:gd name="connsiteY13186" fmla="*/ 2065369 h 4687251"/>
              <a:gd name="connsiteX13187" fmla="*/ 3775765 w 8079933"/>
              <a:gd name="connsiteY13187" fmla="*/ 2062950 h 4687251"/>
              <a:gd name="connsiteX13188" fmla="*/ 3775728 w 8079933"/>
              <a:gd name="connsiteY13188" fmla="*/ 2062987 h 4687251"/>
              <a:gd name="connsiteX13189" fmla="*/ 3779093 w 8079933"/>
              <a:gd name="connsiteY13189" fmla="*/ 2069916 h 4687251"/>
              <a:gd name="connsiteX13190" fmla="*/ 3784190 w 8079933"/>
              <a:gd name="connsiteY13190" fmla="*/ 2070234 h 4687251"/>
              <a:gd name="connsiteX13191" fmla="*/ 3784300 w 8079933"/>
              <a:gd name="connsiteY13191" fmla="*/ 2069482 h 4687251"/>
              <a:gd name="connsiteX13192" fmla="*/ 3779091 w 8079933"/>
              <a:gd name="connsiteY13192" fmla="*/ 2069482 h 4687251"/>
              <a:gd name="connsiteX13193" fmla="*/ 5626805 w 8079933"/>
              <a:gd name="connsiteY13193" fmla="*/ 2062771 h 4687251"/>
              <a:gd name="connsiteX13194" fmla="*/ 5615953 w 8079933"/>
              <a:gd name="connsiteY13194" fmla="*/ 2069700 h 4687251"/>
              <a:gd name="connsiteX13195" fmla="*/ 5612697 w 8079933"/>
              <a:gd name="connsiteY13195" fmla="*/ 2072514 h 4687251"/>
              <a:gd name="connsiteX13196" fmla="*/ 5611721 w 8079933"/>
              <a:gd name="connsiteY13196" fmla="*/ 2076845 h 4687251"/>
              <a:gd name="connsiteX13197" fmla="*/ 5607814 w 8079933"/>
              <a:gd name="connsiteY13197" fmla="*/ 2080310 h 4687251"/>
              <a:gd name="connsiteX13198" fmla="*/ 5599567 w 8079933"/>
              <a:gd name="connsiteY13198" fmla="*/ 2084100 h 4687251"/>
              <a:gd name="connsiteX13199" fmla="*/ 5598699 w 8079933"/>
              <a:gd name="connsiteY13199" fmla="*/ 2086481 h 4687251"/>
              <a:gd name="connsiteX13200" fmla="*/ 5594575 w 8079933"/>
              <a:gd name="connsiteY13200" fmla="*/ 2089622 h 4687251"/>
              <a:gd name="connsiteX13201" fmla="*/ 5598699 w 8079933"/>
              <a:gd name="connsiteY13201" fmla="*/ 2086482 h 4687251"/>
              <a:gd name="connsiteX13202" fmla="*/ 5599567 w 8079933"/>
              <a:gd name="connsiteY13202" fmla="*/ 2084100 h 4687251"/>
              <a:gd name="connsiteX13203" fmla="*/ 5607814 w 8079933"/>
              <a:gd name="connsiteY13203" fmla="*/ 2080311 h 4687251"/>
              <a:gd name="connsiteX13204" fmla="*/ 5611721 w 8079933"/>
              <a:gd name="connsiteY13204" fmla="*/ 2076846 h 4687251"/>
              <a:gd name="connsiteX13205" fmla="*/ 5612697 w 8079933"/>
              <a:gd name="connsiteY13205" fmla="*/ 2072515 h 4687251"/>
              <a:gd name="connsiteX13206" fmla="*/ 5615954 w 8079933"/>
              <a:gd name="connsiteY13206" fmla="*/ 2069700 h 4687251"/>
              <a:gd name="connsiteX13207" fmla="*/ 5646989 w 8079933"/>
              <a:gd name="connsiteY13207" fmla="*/ 2061363 h 4687251"/>
              <a:gd name="connsiteX13208" fmla="*/ 5643842 w 8079933"/>
              <a:gd name="connsiteY13208" fmla="*/ 2065152 h 4687251"/>
              <a:gd name="connsiteX13209" fmla="*/ 5634944 w 8079933"/>
              <a:gd name="connsiteY13209" fmla="*/ 2066235 h 4687251"/>
              <a:gd name="connsiteX13210" fmla="*/ 5634944 w 8079933"/>
              <a:gd name="connsiteY13210" fmla="*/ 2066236 h 4687251"/>
              <a:gd name="connsiteX13211" fmla="*/ 5643842 w 8079933"/>
              <a:gd name="connsiteY13211" fmla="*/ 2065153 h 4687251"/>
              <a:gd name="connsiteX13212" fmla="*/ 4528616 w 8079933"/>
              <a:gd name="connsiteY13212" fmla="*/ 2061363 h 4687251"/>
              <a:gd name="connsiteX13213" fmla="*/ 4531546 w 8079933"/>
              <a:gd name="connsiteY13213" fmla="*/ 2062554 h 4687251"/>
              <a:gd name="connsiteX13214" fmla="*/ 4532739 w 8079933"/>
              <a:gd name="connsiteY13214" fmla="*/ 2063637 h 4687251"/>
              <a:gd name="connsiteX13215" fmla="*/ 4533716 w 8079933"/>
              <a:gd name="connsiteY13215" fmla="*/ 2069484 h 4687251"/>
              <a:gd name="connsiteX13216" fmla="*/ 4532848 w 8079933"/>
              <a:gd name="connsiteY13216" fmla="*/ 2073382 h 4687251"/>
              <a:gd name="connsiteX13217" fmla="*/ 4529593 w 8079933"/>
              <a:gd name="connsiteY13217" fmla="*/ 2074898 h 4687251"/>
              <a:gd name="connsiteX13218" fmla="*/ 4526988 w 8079933"/>
              <a:gd name="connsiteY13218" fmla="*/ 2072949 h 4687251"/>
              <a:gd name="connsiteX13219" fmla="*/ 4526988 w 8079933"/>
              <a:gd name="connsiteY13219" fmla="*/ 2071000 h 4687251"/>
              <a:gd name="connsiteX13220" fmla="*/ 4529158 w 8079933"/>
              <a:gd name="connsiteY13220" fmla="*/ 2070241 h 4687251"/>
              <a:gd name="connsiteX13221" fmla="*/ 4528941 w 8079933"/>
              <a:gd name="connsiteY13221" fmla="*/ 2066669 h 4687251"/>
              <a:gd name="connsiteX13222" fmla="*/ 4525903 w 8079933"/>
              <a:gd name="connsiteY13222" fmla="*/ 2064287 h 4687251"/>
              <a:gd name="connsiteX13223" fmla="*/ 4525903 w 8079933"/>
              <a:gd name="connsiteY13223" fmla="*/ 2062771 h 4687251"/>
              <a:gd name="connsiteX13224" fmla="*/ 5465333 w 8079933"/>
              <a:gd name="connsiteY13224" fmla="*/ 2061255 h 4687251"/>
              <a:gd name="connsiteX13225" fmla="*/ 5465333 w 8079933"/>
              <a:gd name="connsiteY13225" fmla="*/ 2061255 h 4687251"/>
              <a:gd name="connsiteX13226" fmla="*/ 5465666 w 8079933"/>
              <a:gd name="connsiteY13226" fmla="*/ 2064000 h 4687251"/>
              <a:gd name="connsiteX13227" fmla="*/ 5223449 w 8079933"/>
              <a:gd name="connsiteY13227" fmla="*/ 2060497 h 4687251"/>
              <a:gd name="connsiteX13228" fmla="*/ 5223448 w 8079933"/>
              <a:gd name="connsiteY13228" fmla="*/ 2060497 h 4687251"/>
              <a:gd name="connsiteX13229" fmla="*/ 5232455 w 8079933"/>
              <a:gd name="connsiteY13229" fmla="*/ 2062447 h 4687251"/>
              <a:gd name="connsiteX13230" fmla="*/ 5232455 w 8079933"/>
              <a:gd name="connsiteY13230" fmla="*/ 2062446 h 4687251"/>
              <a:gd name="connsiteX13231" fmla="*/ 5552688 w 8079933"/>
              <a:gd name="connsiteY13231" fmla="*/ 2060064 h 4687251"/>
              <a:gd name="connsiteX13232" fmla="*/ 5549432 w 8079933"/>
              <a:gd name="connsiteY13232" fmla="*/ 2065152 h 4687251"/>
              <a:gd name="connsiteX13233" fmla="*/ 5544333 w 8079933"/>
              <a:gd name="connsiteY13233" fmla="*/ 2065694 h 4687251"/>
              <a:gd name="connsiteX13234" fmla="*/ 5549433 w 8079933"/>
              <a:gd name="connsiteY13234" fmla="*/ 2065153 h 4687251"/>
              <a:gd name="connsiteX13235" fmla="*/ 5552688 w 8079933"/>
              <a:gd name="connsiteY13235" fmla="*/ 2060064 h 4687251"/>
              <a:gd name="connsiteX13236" fmla="*/ 3291201 w 8079933"/>
              <a:gd name="connsiteY13236" fmla="*/ 2057899 h 4687251"/>
              <a:gd name="connsiteX13237" fmla="*/ 3294999 w 8079933"/>
              <a:gd name="connsiteY13237" fmla="*/ 2058440 h 4687251"/>
              <a:gd name="connsiteX13238" fmla="*/ 3299340 w 8079933"/>
              <a:gd name="connsiteY13238" fmla="*/ 2062229 h 4687251"/>
              <a:gd name="connsiteX13239" fmla="*/ 3296519 w 8079933"/>
              <a:gd name="connsiteY13239" fmla="*/ 2062879 h 4687251"/>
              <a:gd name="connsiteX13240" fmla="*/ 3291634 w 8079933"/>
              <a:gd name="connsiteY13240" fmla="*/ 2062554 h 4687251"/>
              <a:gd name="connsiteX13241" fmla="*/ 4407512 w 8079933"/>
              <a:gd name="connsiteY13241" fmla="*/ 2057682 h 4687251"/>
              <a:gd name="connsiteX13242" fmla="*/ 4408163 w 8079933"/>
              <a:gd name="connsiteY13242" fmla="*/ 2061688 h 4687251"/>
              <a:gd name="connsiteX13243" fmla="*/ 4406752 w 8079933"/>
              <a:gd name="connsiteY13243" fmla="*/ 2063529 h 4687251"/>
              <a:gd name="connsiteX13244" fmla="*/ 4405233 w 8079933"/>
              <a:gd name="connsiteY13244" fmla="*/ 2063854 h 4687251"/>
              <a:gd name="connsiteX13245" fmla="*/ 4404039 w 8079933"/>
              <a:gd name="connsiteY13245" fmla="*/ 2063421 h 4687251"/>
              <a:gd name="connsiteX13246" fmla="*/ 4403714 w 8079933"/>
              <a:gd name="connsiteY13246" fmla="*/ 2061796 h 4687251"/>
              <a:gd name="connsiteX13247" fmla="*/ 4405884 w 8079933"/>
              <a:gd name="connsiteY13247" fmla="*/ 2057898 h 4687251"/>
              <a:gd name="connsiteX13248" fmla="*/ 5248950 w 8079933"/>
              <a:gd name="connsiteY13248" fmla="*/ 2057249 h 4687251"/>
              <a:gd name="connsiteX13249" fmla="*/ 5257522 w 8079933"/>
              <a:gd name="connsiteY13249" fmla="*/ 2064178 h 4687251"/>
              <a:gd name="connsiteX13250" fmla="*/ 5264960 w 8079933"/>
              <a:gd name="connsiteY13250" fmla="*/ 2066222 h 4687251"/>
              <a:gd name="connsiteX13251" fmla="*/ 5257523 w 8079933"/>
              <a:gd name="connsiteY13251" fmla="*/ 2064178 h 4687251"/>
              <a:gd name="connsiteX13252" fmla="*/ 4944127 w 8079933"/>
              <a:gd name="connsiteY13252" fmla="*/ 2056817 h 4687251"/>
              <a:gd name="connsiteX13253" fmla="*/ 4944127 w 8079933"/>
              <a:gd name="connsiteY13253" fmla="*/ 2056817 h 4687251"/>
              <a:gd name="connsiteX13254" fmla="*/ 4949660 w 8079933"/>
              <a:gd name="connsiteY13254" fmla="*/ 2057466 h 4687251"/>
              <a:gd name="connsiteX13255" fmla="*/ 4949660 w 8079933"/>
              <a:gd name="connsiteY13255" fmla="*/ 2057466 h 4687251"/>
              <a:gd name="connsiteX13256" fmla="*/ 5238967 w 8079933"/>
              <a:gd name="connsiteY13256" fmla="*/ 2055517 h 4687251"/>
              <a:gd name="connsiteX13257" fmla="*/ 5238966 w 8079933"/>
              <a:gd name="connsiteY13257" fmla="*/ 2055517 h 4687251"/>
              <a:gd name="connsiteX13258" fmla="*/ 5243632 w 8079933"/>
              <a:gd name="connsiteY13258" fmla="*/ 2057466 h 4687251"/>
              <a:gd name="connsiteX13259" fmla="*/ 5243633 w 8079933"/>
              <a:gd name="connsiteY13259" fmla="*/ 2057466 h 4687251"/>
              <a:gd name="connsiteX13260" fmla="*/ 5574173 w 8079933"/>
              <a:gd name="connsiteY13260" fmla="*/ 2055063 h 4687251"/>
              <a:gd name="connsiteX13261" fmla="*/ 5574283 w 8079933"/>
              <a:gd name="connsiteY13261" fmla="*/ 2055408 h 4687251"/>
              <a:gd name="connsiteX13262" fmla="*/ 5578189 w 8079933"/>
              <a:gd name="connsiteY13262" fmla="*/ 2055192 h 4687251"/>
              <a:gd name="connsiteX13263" fmla="*/ 5579926 w 8079933"/>
              <a:gd name="connsiteY13263" fmla="*/ 2059739 h 4687251"/>
              <a:gd name="connsiteX13264" fmla="*/ 5579926 w 8079933"/>
              <a:gd name="connsiteY13264" fmla="*/ 2059739 h 4687251"/>
              <a:gd name="connsiteX13265" fmla="*/ 5578189 w 8079933"/>
              <a:gd name="connsiteY13265" fmla="*/ 2055191 h 4687251"/>
              <a:gd name="connsiteX13266" fmla="*/ 5574283 w 8079933"/>
              <a:gd name="connsiteY13266" fmla="*/ 2055408 h 4687251"/>
              <a:gd name="connsiteX13267" fmla="*/ 3299774 w 8079933"/>
              <a:gd name="connsiteY13267" fmla="*/ 2053677 h 4687251"/>
              <a:gd name="connsiteX13268" fmla="*/ 3302703 w 8079933"/>
              <a:gd name="connsiteY13268" fmla="*/ 2054110 h 4687251"/>
              <a:gd name="connsiteX13269" fmla="*/ 3304114 w 8079933"/>
              <a:gd name="connsiteY13269" fmla="*/ 2056710 h 4687251"/>
              <a:gd name="connsiteX13270" fmla="*/ 3321476 w 8079933"/>
              <a:gd name="connsiteY13270" fmla="*/ 2052810 h 4687251"/>
              <a:gd name="connsiteX13271" fmla="*/ 3323755 w 8079933"/>
              <a:gd name="connsiteY13271" fmla="*/ 2054218 h 4687251"/>
              <a:gd name="connsiteX13272" fmla="*/ 3323538 w 8079933"/>
              <a:gd name="connsiteY13272" fmla="*/ 2056058 h 4687251"/>
              <a:gd name="connsiteX13273" fmla="*/ 3320283 w 8079933"/>
              <a:gd name="connsiteY13273" fmla="*/ 2053676 h 4687251"/>
              <a:gd name="connsiteX13274" fmla="*/ 4495192 w 8079933"/>
              <a:gd name="connsiteY13274" fmla="*/ 2051186 h 4687251"/>
              <a:gd name="connsiteX13275" fmla="*/ 4497146 w 8079933"/>
              <a:gd name="connsiteY13275" fmla="*/ 2053351 h 4687251"/>
              <a:gd name="connsiteX13276" fmla="*/ 4499533 w 8079933"/>
              <a:gd name="connsiteY13276" fmla="*/ 2054109 h 4687251"/>
              <a:gd name="connsiteX13277" fmla="*/ 4499967 w 8079933"/>
              <a:gd name="connsiteY13277" fmla="*/ 2058115 h 4687251"/>
              <a:gd name="connsiteX13278" fmla="*/ 4498448 w 8079933"/>
              <a:gd name="connsiteY13278" fmla="*/ 2058765 h 4687251"/>
              <a:gd name="connsiteX13279" fmla="*/ 4497146 w 8079933"/>
              <a:gd name="connsiteY13279" fmla="*/ 2056057 h 4687251"/>
              <a:gd name="connsiteX13280" fmla="*/ 4495951 w 8079933"/>
              <a:gd name="connsiteY13280" fmla="*/ 2055733 h 4687251"/>
              <a:gd name="connsiteX13281" fmla="*/ 4493456 w 8079933"/>
              <a:gd name="connsiteY13281" fmla="*/ 2051727 h 4687251"/>
              <a:gd name="connsiteX13282" fmla="*/ 4465135 w 8079933"/>
              <a:gd name="connsiteY13282" fmla="*/ 2050970 h 4687251"/>
              <a:gd name="connsiteX13283" fmla="*/ 4468716 w 8079933"/>
              <a:gd name="connsiteY13283" fmla="*/ 2054976 h 4687251"/>
              <a:gd name="connsiteX13284" fmla="*/ 4472948 w 8079933"/>
              <a:gd name="connsiteY13284" fmla="*/ 2056492 h 4687251"/>
              <a:gd name="connsiteX13285" fmla="*/ 4476962 w 8079933"/>
              <a:gd name="connsiteY13285" fmla="*/ 2058657 h 4687251"/>
              <a:gd name="connsiteX13286" fmla="*/ 4477505 w 8079933"/>
              <a:gd name="connsiteY13286" fmla="*/ 2059631 h 4687251"/>
              <a:gd name="connsiteX13287" fmla="*/ 4480544 w 8079933"/>
              <a:gd name="connsiteY13287" fmla="*/ 2059740 h 4687251"/>
              <a:gd name="connsiteX13288" fmla="*/ 4481087 w 8079933"/>
              <a:gd name="connsiteY13288" fmla="*/ 2058982 h 4687251"/>
              <a:gd name="connsiteX13289" fmla="*/ 4486729 w 8079933"/>
              <a:gd name="connsiteY13289" fmla="*/ 2064721 h 4687251"/>
              <a:gd name="connsiteX13290" fmla="*/ 4488791 w 8079933"/>
              <a:gd name="connsiteY13290" fmla="*/ 2068294 h 4687251"/>
              <a:gd name="connsiteX13291" fmla="*/ 4488900 w 8079933"/>
              <a:gd name="connsiteY13291" fmla="*/ 2070243 h 4687251"/>
              <a:gd name="connsiteX13292" fmla="*/ 4489551 w 8079933"/>
              <a:gd name="connsiteY13292" fmla="*/ 2072733 h 4687251"/>
              <a:gd name="connsiteX13293" fmla="*/ 4489116 w 8079933"/>
              <a:gd name="connsiteY13293" fmla="*/ 2076197 h 4687251"/>
              <a:gd name="connsiteX13294" fmla="*/ 4492372 w 8079933"/>
              <a:gd name="connsiteY13294" fmla="*/ 2079337 h 4687251"/>
              <a:gd name="connsiteX13295" fmla="*/ 4493674 w 8079933"/>
              <a:gd name="connsiteY13295" fmla="*/ 2078363 h 4687251"/>
              <a:gd name="connsiteX13296" fmla="*/ 4497906 w 8079933"/>
              <a:gd name="connsiteY13296" fmla="*/ 2078796 h 4687251"/>
              <a:gd name="connsiteX13297" fmla="*/ 4496170 w 8079933"/>
              <a:gd name="connsiteY13297" fmla="*/ 2083560 h 4687251"/>
              <a:gd name="connsiteX13298" fmla="*/ 4494000 w 8079933"/>
              <a:gd name="connsiteY13298" fmla="*/ 2082369 h 4687251"/>
              <a:gd name="connsiteX13299" fmla="*/ 4491938 w 8079933"/>
              <a:gd name="connsiteY13299" fmla="*/ 2083452 h 4687251"/>
              <a:gd name="connsiteX13300" fmla="*/ 4488465 w 8079933"/>
              <a:gd name="connsiteY13300" fmla="*/ 2081178 h 4687251"/>
              <a:gd name="connsiteX13301" fmla="*/ 4487163 w 8079933"/>
              <a:gd name="connsiteY13301" fmla="*/ 2078796 h 4687251"/>
              <a:gd name="connsiteX13302" fmla="*/ 4487598 w 8079933"/>
              <a:gd name="connsiteY13302" fmla="*/ 2076197 h 4687251"/>
              <a:gd name="connsiteX13303" fmla="*/ 4485644 w 8079933"/>
              <a:gd name="connsiteY13303" fmla="*/ 2074357 h 4687251"/>
              <a:gd name="connsiteX13304" fmla="*/ 4482605 w 8079933"/>
              <a:gd name="connsiteY13304" fmla="*/ 2069809 h 4687251"/>
              <a:gd name="connsiteX13305" fmla="*/ 4481412 w 8079933"/>
              <a:gd name="connsiteY13305" fmla="*/ 2067752 h 4687251"/>
              <a:gd name="connsiteX13306" fmla="*/ 4478374 w 8079933"/>
              <a:gd name="connsiteY13306" fmla="*/ 2068077 h 4687251"/>
              <a:gd name="connsiteX13307" fmla="*/ 4474033 w 8079933"/>
              <a:gd name="connsiteY13307" fmla="*/ 2065695 h 4687251"/>
              <a:gd name="connsiteX13308" fmla="*/ 4472079 w 8079933"/>
              <a:gd name="connsiteY13308" fmla="*/ 2062772 h 4687251"/>
              <a:gd name="connsiteX13309" fmla="*/ 4469150 w 8079933"/>
              <a:gd name="connsiteY13309" fmla="*/ 2062122 h 4687251"/>
              <a:gd name="connsiteX13310" fmla="*/ 4467305 w 8079933"/>
              <a:gd name="connsiteY13310" fmla="*/ 2059523 h 4687251"/>
              <a:gd name="connsiteX13311" fmla="*/ 4465135 w 8079933"/>
              <a:gd name="connsiteY13311" fmla="*/ 2058549 h 4687251"/>
              <a:gd name="connsiteX13312" fmla="*/ 4464158 w 8079933"/>
              <a:gd name="connsiteY13312" fmla="*/ 2057033 h 4687251"/>
              <a:gd name="connsiteX13313" fmla="*/ 4461879 w 8079933"/>
              <a:gd name="connsiteY13313" fmla="*/ 2055084 h 4687251"/>
              <a:gd name="connsiteX13314" fmla="*/ 4457756 w 8079933"/>
              <a:gd name="connsiteY13314" fmla="*/ 2055301 h 4687251"/>
              <a:gd name="connsiteX13315" fmla="*/ 4455694 w 8079933"/>
              <a:gd name="connsiteY13315" fmla="*/ 2054868 h 4687251"/>
              <a:gd name="connsiteX13316" fmla="*/ 4459057 w 8079933"/>
              <a:gd name="connsiteY13316" fmla="*/ 2051945 h 4687251"/>
              <a:gd name="connsiteX13317" fmla="*/ 3979087 w 8079933"/>
              <a:gd name="connsiteY13317" fmla="*/ 2049129 h 4687251"/>
              <a:gd name="connsiteX13318" fmla="*/ 3980932 w 8079933"/>
              <a:gd name="connsiteY13318" fmla="*/ 2052160 h 4687251"/>
              <a:gd name="connsiteX13319" fmla="*/ 3978328 w 8079933"/>
              <a:gd name="connsiteY13319" fmla="*/ 2054759 h 4687251"/>
              <a:gd name="connsiteX13320" fmla="*/ 3975614 w 8079933"/>
              <a:gd name="connsiteY13320" fmla="*/ 2058549 h 4687251"/>
              <a:gd name="connsiteX13321" fmla="*/ 3972143 w 8079933"/>
              <a:gd name="connsiteY13321" fmla="*/ 2055300 h 4687251"/>
              <a:gd name="connsiteX13322" fmla="*/ 3972902 w 8079933"/>
              <a:gd name="connsiteY13322" fmla="*/ 2050970 h 4687251"/>
              <a:gd name="connsiteX13323" fmla="*/ 5451551 w 8079933"/>
              <a:gd name="connsiteY13323" fmla="*/ 2047992 h 4687251"/>
              <a:gd name="connsiteX13324" fmla="*/ 5452962 w 8079933"/>
              <a:gd name="connsiteY13324" fmla="*/ 2049562 h 4687251"/>
              <a:gd name="connsiteX13325" fmla="*/ 5456760 w 8079933"/>
              <a:gd name="connsiteY13325" fmla="*/ 2048913 h 4687251"/>
              <a:gd name="connsiteX13326" fmla="*/ 5460820 w 8079933"/>
              <a:gd name="connsiteY13326" fmla="*/ 2051728 h 4687251"/>
              <a:gd name="connsiteX13327" fmla="*/ 5456760 w 8079933"/>
              <a:gd name="connsiteY13327" fmla="*/ 2048912 h 4687251"/>
              <a:gd name="connsiteX13328" fmla="*/ 5452962 w 8079933"/>
              <a:gd name="connsiteY13328" fmla="*/ 2049562 h 4687251"/>
              <a:gd name="connsiteX13329" fmla="*/ 4472187 w 8079933"/>
              <a:gd name="connsiteY13329" fmla="*/ 2045880 h 4687251"/>
              <a:gd name="connsiteX13330" fmla="*/ 4474684 w 8079933"/>
              <a:gd name="connsiteY13330" fmla="*/ 2046746 h 4687251"/>
              <a:gd name="connsiteX13331" fmla="*/ 4475443 w 8079933"/>
              <a:gd name="connsiteY13331" fmla="*/ 2049777 h 4687251"/>
              <a:gd name="connsiteX13332" fmla="*/ 4474684 w 8079933"/>
              <a:gd name="connsiteY13332" fmla="*/ 2051402 h 4687251"/>
              <a:gd name="connsiteX13333" fmla="*/ 4470777 w 8079933"/>
              <a:gd name="connsiteY13333" fmla="*/ 2046313 h 4687251"/>
              <a:gd name="connsiteX13334" fmla="*/ 4468173 w 8079933"/>
              <a:gd name="connsiteY13334" fmla="*/ 2045123 h 4687251"/>
              <a:gd name="connsiteX13335" fmla="*/ 4469149 w 8079933"/>
              <a:gd name="connsiteY13335" fmla="*/ 2046097 h 4687251"/>
              <a:gd name="connsiteX13336" fmla="*/ 4467955 w 8079933"/>
              <a:gd name="connsiteY13336" fmla="*/ 2048480 h 4687251"/>
              <a:gd name="connsiteX13337" fmla="*/ 4466328 w 8079933"/>
              <a:gd name="connsiteY13337" fmla="*/ 2046422 h 4687251"/>
              <a:gd name="connsiteX13338" fmla="*/ 5437335 w 8079933"/>
              <a:gd name="connsiteY13338" fmla="*/ 2044365 h 4687251"/>
              <a:gd name="connsiteX13339" fmla="*/ 5437336 w 8079933"/>
              <a:gd name="connsiteY13339" fmla="*/ 2044365 h 4687251"/>
              <a:gd name="connsiteX13340" fmla="*/ 5444023 w 8079933"/>
              <a:gd name="connsiteY13340" fmla="*/ 2045439 h 4687251"/>
              <a:gd name="connsiteX13341" fmla="*/ 5004678 w 8079933"/>
              <a:gd name="connsiteY13341" fmla="*/ 2044040 h 4687251"/>
              <a:gd name="connsiteX13342" fmla="*/ 5000447 w 8079933"/>
              <a:gd name="connsiteY13342" fmla="*/ 2045988 h 4687251"/>
              <a:gd name="connsiteX13343" fmla="*/ 4997084 w 8079933"/>
              <a:gd name="connsiteY13343" fmla="*/ 2044797 h 4687251"/>
              <a:gd name="connsiteX13344" fmla="*/ 4997082 w 8079933"/>
              <a:gd name="connsiteY13344" fmla="*/ 2044798 h 4687251"/>
              <a:gd name="connsiteX13345" fmla="*/ 4994113 w 8079933"/>
              <a:gd name="connsiteY13345" fmla="*/ 2045354 h 4687251"/>
              <a:gd name="connsiteX13346" fmla="*/ 4997082 w 8079933"/>
              <a:gd name="connsiteY13346" fmla="*/ 2044798 h 4687251"/>
              <a:gd name="connsiteX13347" fmla="*/ 5000446 w 8079933"/>
              <a:gd name="connsiteY13347" fmla="*/ 2045989 h 4687251"/>
              <a:gd name="connsiteX13348" fmla="*/ 5004678 w 8079933"/>
              <a:gd name="connsiteY13348" fmla="*/ 2044040 h 4687251"/>
              <a:gd name="connsiteX13349" fmla="*/ 4537841 w 8079933"/>
              <a:gd name="connsiteY13349" fmla="*/ 2038951 h 4687251"/>
              <a:gd name="connsiteX13350" fmla="*/ 4538600 w 8079933"/>
              <a:gd name="connsiteY13350" fmla="*/ 2040141 h 4687251"/>
              <a:gd name="connsiteX13351" fmla="*/ 4537623 w 8079933"/>
              <a:gd name="connsiteY13351" fmla="*/ 2042849 h 4687251"/>
              <a:gd name="connsiteX13352" fmla="*/ 4538708 w 8079933"/>
              <a:gd name="connsiteY13352" fmla="*/ 2043065 h 4687251"/>
              <a:gd name="connsiteX13353" fmla="*/ 4539576 w 8079933"/>
              <a:gd name="connsiteY13353" fmla="*/ 2046421 h 4687251"/>
              <a:gd name="connsiteX13354" fmla="*/ 4539468 w 8079933"/>
              <a:gd name="connsiteY13354" fmla="*/ 2051510 h 4687251"/>
              <a:gd name="connsiteX13355" fmla="*/ 4534693 w 8079933"/>
              <a:gd name="connsiteY13355" fmla="*/ 2051835 h 4687251"/>
              <a:gd name="connsiteX13356" fmla="*/ 4531437 w 8079933"/>
              <a:gd name="connsiteY13356" fmla="*/ 2050319 h 4687251"/>
              <a:gd name="connsiteX13357" fmla="*/ 4532740 w 8079933"/>
              <a:gd name="connsiteY13357" fmla="*/ 2048371 h 4687251"/>
              <a:gd name="connsiteX13358" fmla="*/ 4534693 w 8079933"/>
              <a:gd name="connsiteY13358" fmla="*/ 2046746 h 4687251"/>
              <a:gd name="connsiteX13359" fmla="*/ 4535019 w 8079933"/>
              <a:gd name="connsiteY13359" fmla="*/ 2043823 h 4687251"/>
              <a:gd name="connsiteX13360" fmla="*/ 4531546 w 8079933"/>
              <a:gd name="connsiteY13360" fmla="*/ 2043931 h 4687251"/>
              <a:gd name="connsiteX13361" fmla="*/ 4530461 w 8079933"/>
              <a:gd name="connsiteY13361" fmla="*/ 2046638 h 4687251"/>
              <a:gd name="connsiteX13362" fmla="*/ 4529918 w 8079933"/>
              <a:gd name="connsiteY13362" fmla="*/ 2049453 h 4687251"/>
              <a:gd name="connsiteX13363" fmla="*/ 4527748 w 8079933"/>
              <a:gd name="connsiteY13363" fmla="*/ 2049994 h 4687251"/>
              <a:gd name="connsiteX13364" fmla="*/ 4526229 w 8079933"/>
              <a:gd name="connsiteY13364" fmla="*/ 2049886 h 4687251"/>
              <a:gd name="connsiteX13365" fmla="*/ 4522648 w 8079933"/>
              <a:gd name="connsiteY13365" fmla="*/ 2046963 h 4687251"/>
              <a:gd name="connsiteX13366" fmla="*/ 4524818 w 8079933"/>
              <a:gd name="connsiteY13366" fmla="*/ 2043282 h 4687251"/>
              <a:gd name="connsiteX13367" fmla="*/ 4530244 w 8079933"/>
              <a:gd name="connsiteY13367" fmla="*/ 2041333 h 4687251"/>
              <a:gd name="connsiteX13368" fmla="*/ 4532740 w 8079933"/>
              <a:gd name="connsiteY13368" fmla="*/ 2039709 h 4687251"/>
              <a:gd name="connsiteX13369" fmla="*/ 5007175 w 8079933"/>
              <a:gd name="connsiteY13369" fmla="*/ 2038951 h 4687251"/>
              <a:gd name="connsiteX13370" fmla="*/ 5007174 w 8079933"/>
              <a:gd name="connsiteY13370" fmla="*/ 2038952 h 4687251"/>
              <a:gd name="connsiteX13371" fmla="*/ 5009561 w 8079933"/>
              <a:gd name="connsiteY13371" fmla="*/ 2038952 h 4687251"/>
              <a:gd name="connsiteX13372" fmla="*/ 5009562 w 8079933"/>
              <a:gd name="connsiteY13372" fmla="*/ 2038951 h 4687251"/>
              <a:gd name="connsiteX13373" fmla="*/ 4998338 w 8079933"/>
              <a:gd name="connsiteY13373" fmla="*/ 2038499 h 4687251"/>
              <a:gd name="connsiteX13374" fmla="*/ 4997407 w 8079933"/>
              <a:gd name="connsiteY13374" fmla="*/ 2039601 h 4687251"/>
              <a:gd name="connsiteX13375" fmla="*/ 4997407 w 8079933"/>
              <a:gd name="connsiteY13375" fmla="*/ 2044689 h 4687251"/>
              <a:gd name="connsiteX13376" fmla="*/ 4997409 w 8079933"/>
              <a:gd name="connsiteY13376" fmla="*/ 2044688 h 4687251"/>
              <a:gd name="connsiteX13377" fmla="*/ 4997409 w 8079933"/>
              <a:gd name="connsiteY13377" fmla="*/ 2039600 h 4687251"/>
              <a:gd name="connsiteX13378" fmla="*/ 7025693 w 8079933"/>
              <a:gd name="connsiteY13378" fmla="*/ 2038085 h 4687251"/>
              <a:gd name="connsiteX13379" fmla="*/ 7027864 w 8079933"/>
              <a:gd name="connsiteY13379" fmla="*/ 2040359 h 4687251"/>
              <a:gd name="connsiteX13380" fmla="*/ 7026127 w 8079933"/>
              <a:gd name="connsiteY13380" fmla="*/ 2041333 h 4687251"/>
              <a:gd name="connsiteX13381" fmla="*/ 7024825 w 8079933"/>
              <a:gd name="connsiteY13381" fmla="*/ 2040683 h 4687251"/>
              <a:gd name="connsiteX13382" fmla="*/ 5498183 w 8079933"/>
              <a:gd name="connsiteY13382" fmla="*/ 2037773 h 4687251"/>
              <a:gd name="connsiteX13383" fmla="*/ 5498430 w 8079933"/>
              <a:gd name="connsiteY13383" fmla="*/ 2038410 h 4687251"/>
              <a:gd name="connsiteX13384" fmla="*/ 5501620 w 8079933"/>
              <a:gd name="connsiteY13384" fmla="*/ 2039754 h 4687251"/>
              <a:gd name="connsiteX13385" fmla="*/ 5498430 w 8079933"/>
              <a:gd name="connsiteY13385" fmla="*/ 2038410 h 4687251"/>
              <a:gd name="connsiteX13386" fmla="*/ 5168686 w 8079933"/>
              <a:gd name="connsiteY13386" fmla="*/ 2036907 h 4687251"/>
              <a:gd name="connsiteX13387" fmla="*/ 5170167 w 8079933"/>
              <a:gd name="connsiteY13387" fmla="*/ 2041551 h 4687251"/>
              <a:gd name="connsiteX13388" fmla="*/ 5170167 w 8079933"/>
              <a:gd name="connsiteY13388" fmla="*/ 2048371 h 4687251"/>
              <a:gd name="connsiteX13389" fmla="*/ 5170817 w 8079933"/>
              <a:gd name="connsiteY13389" fmla="*/ 2052160 h 4687251"/>
              <a:gd name="connsiteX13390" fmla="*/ 5170817 w 8079933"/>
              <a:gd name="connsiteY13390" fmla="*/ 2064395 h 4687251"/>
              <a:gd name="connsiteX13391" fmla="*/ 5170832 w 8079933"/>
              <a:gd name="connsiteY13391" fmla="*/ 2064427 h 4687251"/>
              <a:gd name="connsiteX13392" fmla="*/ 5171252 w 8079933"/>
              <a:gd name="connsiteY13392" fmla="*/ 2052594 h 4687251"/>
              <a:gd name="connsiteX13393" fmla="*/ 5170492 w 8079933"/>
              <a:gd name="connsiteY13393" fmla="*/ 2048804 h 4687251"/>
              <a:gd name="connsiteX13394" fmla="*/ 5170709 w 8079933"/>
              <a:gd name="connsiteY13394" fmla="*/ 2041983 h 4687251"/>
              <a:gd name="connsiteX13395" fmla="*/ 5169081 w 8079933"/>
              <a:gd name="connsiteY13395" fmla="*/ 2037111 h 4687251"/>
              <a:gd name="connsiteX13396" fmla="*/ 5565699 w 8079933"/>
              <a:gd name="connsiteY13396" fmla="*/ 2036607 h 4687251"/>
              <a:gd name="connsiteX13397" fmla="*/ 5569617 w 8079933"/>
              <a:gd name="connsiteY13397" fmla="*/ 2039385 h 4687251"/>
              <a:gd name="connsiteX13398" fmla="*/ 5573957 w 8079933"/>
              <a:gd name="connsiteY13398" fmla="*/ 2041658 h 4687251"/>
              <a:gd name="connsiteX13399" fmla="*/ 5573957 w 8079933"/>
              <a:gd name="connsiteY13399" fmla="*/ 2041657 h 4687251"/>
              <a:gd name="connsiteX13400" fmla="*/ 5569617 w 8079933"/>
              <a:gd name="connsiteY13400" fmla="*/ 2039384 h 4687251"/>
              <a:gd name="connsiteX13401" fmla="*/ 5559742 w 8079933"/>
              <a:gd name="connsiteY13401" fmla="*/ 2036460 h 4687251"/>
              <a:gd name="connsiteX13402" fmla="*/ 5557354 w 8079933"/>
              <a:gd name="connsiteY13402" fmla="*/ 2040791 h 4687251"/>
              <a:gd name="connsiteX13403" fmla="*/ 5556486 w 8079933"/>
              <a:gd name="connsiteY13403" fmla="*/ 2047612 h 4687251"/>
              <a:gd name="connsiteX13404" fmla="*/ 5553556 w 8079933"/>
              <a:gd name="connsiteY13404" fmla="*/ 2050211 h 4687251"/>
              <a:gd name="connsiteX13405" fmla="*/ 5551494 w 8079933"/>
              <a:gd name="connsiteY13405" fmla="*/ 2053459 h 4687251"/>
              <a:gd name="connsiteX13406" fmla="*/ 5551494 w 8079933"/>
              <a:gd name="connsiteY13406" fmla="*/ 2053459 h 4687251"/>
              <a:gd name="connsiteX13407" fmla="*/ 5553556 w 8079933"/>
              <a:gd name="connsiteY13407" fmla="*/ 2050211 h 4687251"/>
              <a:gd name="connsiteX13408" fmla="*/ 5556486 w 8079933"/>
              <a:gd name="connsiteY13408" fmla="*/ 2047612 h 4687251"/>
              <a:gd name="connsiteX13409" fmla="*/ 5557354 w 8079933"/>
              <a:gd name="connsiteY13409" fmla="*/ 2040792 h 4687251"/>
              <a:gd name="connsiteX13410" fmla="*/ 5559742 w 8079933"/>
              <a:gd name="connsiteY13410" fmla="*/ 2036461 h 4687251"/>
              <a:gd name="connsiteX13411" fmla="*/ 5565493 w 8079933"/>
              <a:gd name="connsiteY13411" fmla="*/ 2036461 h 4687251"/>
              <a:gd name="connsiteX13412" fmla="*/ 5565492 w 8079933"/>
              <a:gd name="connsiteY13412" fmla="*/ 2036460 h 4687251"/>
              <a:gd name="connsiteX13413" fmla="*/ 5035380 w 8079933"/>
              <a:gd name="connsiteY13413" fmla="*/ 2034708 h 4687251"/>
              <a:gd name="connsiteX13414" fmla="*/ 5034954 w 8079933"/>
              <a:gd name="connsiteY13414" fmla="*/ 2035054 h 4687251"/>
              <a:gd name="connsiteX13415" fmla="*/ 5036257 w 8079933"/>
              <a:gd name="connsiteY13415" fmla="*/ 2037436 h 4687251"/>
              <a:gd name="connsiteX13416" fmla="*/ 5041790 w 8079933"/>
              <a:gd name="connsiteY13416" fmla="*/ 2040900 h 4687251"/>
              <a:gd name="connsiteX13417" fmla="*/ 5041792 w 8079933"/>
              <a:gd name="connsiteY13417" fmla="*/ 2040899 h 4687251"/>
              <a:gd name="connsiteX13418" fmla="*/ 5036258 w 8079933"/>
              <a:gd name="connsiteY13418" fmla="*/ 2037435 h 4687251"/>
              <a:gd name="connsiteX13419" fmla="*/ 5034956 w 8079933"/>
              <a:gd name="connsiteY13419" fmla="*/ 2035053 h 4687251"/>
              <a:gd name="connsiteX13420" fmla="*/ 7033181 w 8079933"/>
              <a:gd name="connsiteY13420" fmla="*/ 2032888 h 4687251"/>
              <a:gd name="connsiteX13421" fmla="*/ 7033941 w 8079933"/>
              <a:gd name="connsiteY13421" fmla="*/ 2036678 h 4687251"/>
              <a:gd name="connsiteX13422" fmla="*/ 7031987 w 8079933"/>
              <a:gd name="connsiteY13422" fmla="*/ 2038519 h 4687251"/>
              <a:gd name="connsiteX13423" fmla="*/ 7029925 w 8079933"/>
              <a:gd name="connsiteY13423" fmla="*/ 2038302 h 4687251"/>
              <a:gd name="connsiteX13424" fmla="*/ 7028406 w 8079933"/>
              <a:gd name="connsiteY13424" fmla="*/ 2036461 h 4687251"/>
              <a:gd name="connsiteX13425" fmla="*/ 7030251 w 8079933"/>
              <a:gd name="connsiteY13425" fmla="*/ 2033321 h 4687251"/>
              <a:gd name="connsiteX13426" fmla="*/ 5054597 w 8079933"/>
              <a:gd name="connsiteY13426" fmla="*/ 2032454 h 4687251"/>
              <a:gd name="connsiteX13427" fmla="*/ 5052644 w 8079933"/>
              <a:gd name="connsiteY13427" fmla="*/ 2034186 h 4687251"/>
              <a:gd name="connsiteX13428" fmla="*/ 5051233 w 8079933"/>
              <a:gd name="connsiteY13428" fmla="*/ 2037976 h 4687251"/>
              <a:gd name="connsiteX13429" fmla="*/ 5052969 w 8079933"/>
              <a:gd name="connsiteY13429" fmla="*/ 2044147 h 4687251"/>
              <a:gd name="connsiteX13430" fmla="*/ 5052535 w 8079933"/>
              <a:gd name="connsiteY13430" fmla="*/ 2047937 h 4687251"/>
              <a:gd name="connsiteX13431" fmla="*/ 5053729 w 8079933"/>
              <a:gd name="connsiteY13431" fmla="*/ 2049994 h 4687251"/>
              <a:gd name="connsiteX13432" fmla="*/ 5053512 w 8079933"/>
              <a:gd name="connsiteY13432" fmla="*/ 2059088 h 4687251"/>
              <a:gd name="connsiteX13433" fmla="*/ 5051450 w 8079933"/>
              <a:gd name="connsiteY13433" fmla="*/ 2060388 h 4687251"/>
              <a:gd name="connsiteX13434" fmla="*/ 5047543 w 8079933"/>
              <a:gd name="connsiteY13434" fmla="*/ 2059522 h 4687251"/>
              <a:gd name="connsiteX13435" fmla="*/ 5046024 w 8079933"/>
              <a:gd name="connsiteY13435" fmla="*/ 2056815 h 4687251"/>
              <a:gd name="connsiteX13436" fmla="*/ 5042009 w 8079933"/>
              <a:gd name="connsiteY13436" fmla="*/ 2054866 h 4687251"/>
              <a:gd name="connsiteX13437" fmla="*/ 5034087 w 8079933"/>
              <a:gd name="connsiteY13437" fmla="*/ 2046097 h 4687251"/>
              <a:gd name="connsiteX13438" fmla="*/ 5034086 w 8079933"/>
              <a:gd name="connsiteY13438" fmla="*/ 2046097 h 4687251"/>
              <a:gd name="connsiteX13439" fmla="*/ 5042008 w 8079933"/>
              <a:gd name="connsiteY13439" fmla="*/ 2054868 h 4687251"/>
              <a:gd name="connsiteX13440" fmla="*/ 5046023 w 8079933"/>
              <a:gd name="connsiteY13440" fmla="*/ 2056816 h 4687251"/>
              <a:gd name="connsiteX13441" fmla="*/ 5047543 w 8079933"/>
              <a:gd name="connsiteY13441" fmla="*/ 2059523 h 4687251"/>
              <a:gd name="connsiteX13442" fmla="*/ 5051449 w 8079933"/>
              <a:gd name="connsiteY13442" fmla="*/ 2060390 h 4687251"/>
              <a:gd name="connsiteX13443" fmla="*/ 5053511 w 8079933"/>
              <a:gd name="connsiteY13443" fmla="*/ 2059090 h 4687251"/>
              <a:gd name="connsiteX13444" fmla="*/ 5053511 w 8079933"/>
              <a:gd name="connsiteY13444" fmla="*/ 2060497 h 4687251"/>
              <a:gd name="connsiteX13445" fmla="*/ 5056984 w 8079933"/>
              <a:gd name="connsiteY13445" fmla="*/ 2065478 h 4687251"/>
              <a:gd name="connsiteX13446" fmla="*/ 5057634 w 8079933"/>
              <a:gd name="connsiteY13446" fmla="*/ 2071108 h 4687251"/>
              <a:gd name="connsiteX13447" fmla="*/ 5056657 w 8079933"/>
              <a:gd name="connsiteY13447" fmla="*/ 2076629 h 4687251"/>
              <a:gd name="connsiteX13448" fmla="*/ 5058177 w 8079933"/>
              <a:gd name="connsiteY13448" fmla="*/ 2078903 h 4687251"/>
              <a:gd name="connsiteX13449" fmla="*/ 5059706 w 8079933"/>
              <a:gd name="connsiteY13449" fmla="*/ 2079134 h 4687251"/>
              <a:gd name="connsiteX13450" fmla="*/ 5058611 w 8079933"/>
              <a:gd name="connsiteY13450" fmla="*/ 2077496 h 4687251"/>
              <a:gd name="connsiteX13451" fmla="*/ 5059588 w 8079933"/>
              <a:gd name="connsiteY13451" fmla="*/ 2071974 h 4687251"/>
              <a:gd name="connsiteX13452" fmla="*/ 5058937 w 8079933"/>
              <a:gd name="connsiteY13452" fmla="*/ 2066344 h 4687251"/>
              <a:gd name="connsiteX13453" fmla="*/ 5055464 w 8079933"/>
              <a:gd name="connsiteY13453" fmla="*/ 2061364 h 4687251"/>
              <a:gd name="connsiteX13454" fmla="*/ 5055464 w 8079933"/>
              <a:gd name="connsiteY13454" fmla="*/ 2050537 h 4687251"/>
              <a:gd name="connsiteX13455" fmla="*/ 5054270 w 8079933"/>
              <a:gd name="connsiteY13455" fmla="*/ 2048480 h 4687251"/>
              <a:gd name="connsiteX13456" fmla="*/ 5054270 w 8079933"/>
              <a:gd name="connsiteY13456" fmla="*/ 2044690 h 4687251"/>
              <a:gd name="connsiteX13457" fmla="*/ 5052534 w 8079933"/>
              <a:gd name="connsiteY13457" fmla="*/ 2038519 h 4687251"/>
              <a:gd name="connsiteX13458" fmla="*/ 5053945 w 8079933"/>
              <a:gd name="connsiteY13458" fmla="*/ 2034729 h 4687251"/>
              <a:gd name="connsiteX13459" fmla="*/ 5055466 w 8079933"/>
              <a:gd name="connsiteY13459" fmla="*/ 2033379 h 4687251"/>
              <a:gd name="connsiteX13460" fmla="*/ 4960078 w 8079933"/>
              <a:gd name="connsiteY13460" fmla="*/ 2032130 h 4687251"/>
              <a:gd name="connsiteX13461" fmla="*/ 4960078 w 8079933"/>
              <a:gd name="connsiteY13461" fmla="*/ 2032131 h 4687251"/>
              <a:gd name="connsiteX13462" fmla="*/ 4970495 w 8079933"/>
              <a:gd name="connsiteY13462" fmla="*/ 2037760 h 4687251"/>
              <a:gd name="connsiteX13463" fmla="*/ 4970495 w 8079933"/>
              <a:gd name="connsiteY13463" fmla="*/ 2037759 h 4687251"/>
              <a:gd name="connsiteX13464" fmla="*/ 4995672 w 8079933"/>
              <a:gd name="connsiteY13464" fmla="*/ 2031264 h 4687251"/>
              <a:gd name="connsiteX13465" fmla="*/ 4995671 w 8079933"/>
              <a:gd name="connsiteY13465" fmla="*/ 2031264 h 4687251"/>
              <a:gd name="connsiteX13466" fmla="*/ 4999144 w 8079933"/>
              <a:gd name="connsiteY13466" fmla="*/ 2037544 h 4687251"/>
              <a:gd name="connsiteX13467" fmla="*/ 4999144 w 8079933"/>
              <a:gd name="connsiteY13467" fmla="*/ 2037543 h 4687251"/>
              <a:gd name="connsiteX13468" fmla="*/ 3771611 w 8079933"/>
              <a:gd name="connsiteY13468" fmla="*/ 2030508 h 4687251"/>
              <a:gd name="connsiteX13469" fmla="*/ 3771171 w 8079933"/>
              <a:gd name="connsiteY13469" fmla="*/ 2030614 h 4687251"/>
              <a:gd name="connsiteX13470" fmla="*/ 3777465 w 8079933"/>
              <a:gd name="connsiteY13470" fmla="*/ 2042307 h 4687251"/>
              <a:gd name="connsiteX13471" fmla="*/ 3782999 w 8079933"/>
              <a:gd name="connsiteY13471" fmla="*/ 2045771 h 4687251"/>
              <a:gd name="connsiteX13472" fmla="*/ 3783215 w 8079933"/>
              <a:gd name="connsiteY13472" fmla="*/ 2052152 h 4687251"/>
              <a:gd name="connsiteX13473" fmla="*/ 3783215 w 8079933"/>
              <a:gd name="connsiteY13473" fmla="*/ 2045446 h 4687251"/>
              <a:gd name="connsiteX13474" fmla="*/ 3777681 w 8079933"/>
              <a:gd name="connsiteY13474" fmla="*/ 2041982 h 4687251"/>
              <a:gd name="connsiteX13475" fmla="*/ 4001768 w 8079933"/>
              <a:gd name="connsiteY13475" fmla="*/ 2030505 h 4687251"/>
              <a:gd name="connsiteX13476" fmla="*/ 4007302 w 8079933"/>
              <a:gd name="connsiteY13476" fmla="*/ 2031371 h 4687251"/>
              <a:gd name="connsiteX13477" fmla="*/ 4012185 w 8079933"/>
              <a:gd name="connsiteY13477" fmla="*/ 2031696 h 4687251"/>
              <a:gd name="connsiteX13478" fmla="*/ 4006759 w 8079933"/>
              <a:gd name="connsiteY13478" fmla="*/ 2036568 h 4687251"/>
              <a:gd name="connsiteX13479" fmla="*/ 4004698 w 8079933"/>
              <a:gd name="connsiteY13479" fmla="*/ 2042740 h 4687251"/>
              <a:gd name="connsiteX13480" fmla="*/ 4000900 w 8079933"/>
              <a:gd name="connsiteY13480" fmla="*/ 2039276 h 4687251"/>
              <a:gd name="connsiteX13481" fmla="*/ 3996125 w 8079933"/>
              <a:gd name="connsiteY13481" fmla="*/ 2037760 h 4687251"/>
              <a:gd name="connsiteX13482" fmla="*/ 3997102 w 8079933"/>
              <a:gd name="connsiteY13482" fmla="*/ 2033645 h 4687251"/>
              <a:gd name="connsiteX13483" fmla="*/ 5018064 w 8079933"/>
              <a:gd name="connsiteY13483" fmla="*/ 2029913 h 4687251"/>
              <a:gd name="connsiteX13484" fmla="*/ 5016507 w 8079933"/>
              <a:gd name="connsiteY13484" fmla="*/ 2032021 h 4687251"/>
              <a:gd name="connsiteX13485" fmla="*/ 5013686 w 8079933"/>
              <a:gd name="connsiteY13485" fmla="*/ 2033212 h 4687251"/>
              <a:gd name="connsiteX13486" fmla="*/ 5013685 w 8079933"/>
              <a:gd name="connsiteY13486" fmla="*/ 2033213 h 4687251"/>
              <a:gd name="connsiteX13487" fmla="*/ 5016507 w 8079933"/>
              <a:gd name="connsiteY13487" fmla="*/ 2032022 h 4687251"/>
              <a:gd name="connsiteX13488" fmla="*/ 4981130 w 8079933"/>
              <a:gd name="connsiteY13488" fmla="*/ 2029640 h 4687251"/>
              <a:gd name="connsiteX13489" fmla="*/ 4991764 w 8079933"/>
              <a:gd name="connsiteY13489" fmla="*/ 2045771 h 4687251"/>
              <a:gd name="connsiteX13490" fmla="*/ 4990462 w 8079933"/>
              <a:gd name="connsiteY13490" fmla="*/ 2049561 h 4687251"/>
              <a:gd name="connsiteX13491" fmla="*/ 4983734 w 8079933"/>
              <a:gd name="connsiteY13491" fmla="*/ 2045771 h 4687251"/>
              <a:gd name="connsiteX13492" fmla="*/ 4977549 w 8079933"/>
              <a:gd name="connsiteY13492" fmla="*/ 2045555 h 4687251"/>
              <a:gd name="connsiteX13493" fmla="*/ 4971364 w 8079933"/>
              <a:gd name="connsiteY13493" fmla="*/ 2042416 h 4687251"/>
              <a:gd name="connsiteX13494" fmla="*/ 4971364 w 8079933"/>
              <a:gd name="connsiteY13494" fmla="*/ 2042416 h 4687251"/>
              <a:gd name="connsiteX13495" fmla="*/ 4977549 w 8079933"/>
              <a:gd name="connsiteY13495" fmla="*/ 2045556 h 4687251"/>
              <a:gd name="connsiteX13496" fmla="*/ 4983735 w 8079933"/>
              <a:gd name="connsiteY13496" fmla="*/ 2045772 h 4687251"/>
              <a:gd name="connsiteX13497" fmla="*/ 4990463 w 8079933"/>
              <a:gd name="connsiteY13497" fmla="*/ 2049562 h 4687251"/>
              <a:gd name="connsiteX13498" fmla="*/ 4991764 w 8079933"/>
              <a:gd name="connsiteY13498" fmla="*/ 2045772 h 4687251"/>
              <a:gd name="connsiteX13499" fmla="*/ 4991766 w 8079933"/>
              <a:gd name="connsiteY13499" fmla="*/ 2045772 h 4687251"/>
              <a:gd name="connsiteX13500" fmla="*/ 4981253 w 8079933"/>
              <a:gd name="connsiteY13500" fmla="*/ 2029825 h 4687251"/>
              <a:gd name="connsiteX13501" fmla="*/ 5159797 w 8079933"/>
              <a:gd name="connsiteY13501" fmla="*/ 2029365 h 4687251"/>
              <a:gd name="connsiteX13502" fmla="*/ 5162244 w 8079933"/>
              <a:gd name="connsiteY13502" fmla="*/ 2033538 h 4687251"/>
              <a:gd name="connsiteX13503" fmla="*/ 5162746 w 8079933"/>
              <a:gd name="connsiteY13503" fmla="*/ 2033793 h 4687251"/>
              <a:gd name="connsiteX13504" fmla="*/ 5160183 w 8079933"/>
              <a:gd name="connsiteY13504" fmla="*/ 2029424 h 4687251"/>
              <a:gd name="connsiteX13505" fmla="*/ 3782033 w 8079933"/>
              <a:gd name="connsiteY13505" fmla="*/ 2028755 h 4687251"/>
              <a:gd name="connsiteX13506" fmla="*/ 3781470 w 8079933"/>
              <a:gd name="connsiteY13506" fmla="*/ 2029530 h 4687251"/>
              <a:gd name="connsiteX13507" fmla="*/ 3781479 w 8079933"/>
              <a:gd name="connsiteY13507" fmla="*/ 2029531 h 4687251"/>
              <a:gd name="connsiteX13508" fmla="*/ 4383312 w 8079933"/>
              <a:gd name="connsiteY13508" fmla="*/ 2028124 h 4687251"/>
              <a:gd name="connsiteX13509" fmla="*/ 4385483 w 8079933"/>
              <a:gd name="connsiteY13509" fmla="*/ 2029423 h 4687251"/>
              <a:gd name="connsiteX13510" fmla="*/ 4385265 w 8079933"/>
              <a:gd name="connsiteY13510" fmla="*/ 2034187 h 4687251"/>
              <a:gd name="connsiteX13511" fmla="*/ 4387978 w 8079933"/>
              <a:gd name="connsiteY13511" fmla="*/ 2037110 h 4687251"/>
              <a:gd name="connsiteX13512" fmla="*/ 4391017 w 8079933"/>
              <a:gd name="connsiteY13512" fmla="*/ 2038301 h 4687251"/>
              <a:gd name="connsiteX13513" fmla="*/ 4391559 w 8079933"/>
              <a:gd name="connsiteY13513" fmla="*/ 2039925 h 4687251"/>
              <a:gd name="connsiteX13514" fmla="*/ 4390474 w 8079933"/>
              <a:gd name="connsiteY13514" fmla="*/ 2040791 h 4687251"/>
              <a:gd name="connsiteX13515" fmla="*/ 4386568 w 8079933"/>
              <a:gd name="connsiteY13515" fmla="*/ 2038950 h 4687251"/>
              <a:gd name="connsiteX13516" fmla="*/ 4382336 w 8079933"/>
              <a:gd name="connsiteY13516" fmla="*/ 2034511 h 4687251"/>
              <a:gd name="connsiteX13517" fmla="*/ 4382010 w 8079933"/>
              <a:gd name="connsiteY13517" fmla="*/ 2033104 h 4687251"/>
              <a:gd name="connsiteX13518" fmla="*/ 4379514 w 8079933"/>
              <a:gd name="connsiteY13518" fmla="*/ 2032130 h 4687251"/>
              <a:gd name="connsiteX13519" fmla="*/ 4379189 w 8079933"/>
              <a:gd name="connsiteY13519" fmla="*/ 2029640 h 4687251"/>
              <a:gd name="connsiteX13520" fmla="*/ 5154540 w 8079933"/>
              <a:gd name="connsiteY13520" fmla="*/ 2027366 h 4687251"/>
              <a:gd name="connsiteX13521" fmla="*/ 5151719 w 8079933"/>
              <a:gd name="connsiteY13521" fmla="*/ 2028016 h 4687251"/>
              <a:gd name="connsiteX13522" fmla="*/ 5151730 w 8079933"/>
              <a:gd name="connsiteY13522" fmla="*/ 2028127 h 4687251"/>
              <a:gd name="connsiteX13523" fmla="*/ 5153998 w 8079933"/>
              <a:gd name="connsiteY13523" fmla="*/ 2027584 h 4687251"/>
              <a:gd name="connsiteX13524" fmla="*/ 5156059 w 8079933"/>
              <a:gd name="connsiteY13524" fmla="*/ 2029099 h 4687251"/>
              <a:gd name="connsiteX13525" fmla="*/ 5158034 w 8079933"/>
              <a:gd name="connsiteY13525" fmla="*/ 2029099 h 4687251"/>
              <a:gd name="connsiteX13526" fmla="*/ 5156602 w 8079933"/>
              <a:gd name="connsiteY13526" fmla="*/ 2028882 h 4687251"/>
              <a:gd name="connsiteX13527" fmla="*/ 5023019 w 8079933"/>
              <a:gd name="connsiteY13527" fmla="*/ 2027257 h 4687251"/>
              <a:gd name="connsiteX13528" fmla="*/ 5019546 w 8079933"/>
              <a:gd name="connsiteY13528" fmla="*/ 2027907 h 4687251"/>
              <a:gd name="connsiteX13529" fmla="*/ 5019545 w 8079933"/>
              <a:gd name="connsiteY13529" fmla="*/ 2027908 h 4687251"/>
              <a:gd name="connsiteX13530" fmla="*/ 5023018 w 8079933"/>
              <a:gd name="connsiteY13530" fmla="*/ 2027258 h 4687251"/>
              <a:gd name="connsiteX13531" fmla="*/ 5027468 w 8079933"/>
              <a:gd name="connsiteY13531" fmla="*/ 2023901 h 4687251"/>
              <a:gd name="connsiteX13532" fmla="*/ 5027466 w 8079933"/>
              <a:gd name="connsiteY13532" fmla="*/ 2023902 h 4687251"/>
              <a:gd name="connsiteX13533" fmla="*/ 5029962 w 8079933"/>
              <a:gd name="connsiteY13533" fmla="*/ 2024011 h 4687251"/>
              <a:gd name="connsiteX13534" fmla="*/ 5030396 w 8079933"/>
              <a:gd name="connsiteY13534" fmla="*/ 2025309 h 4687251"/>
              <a:gd name="connsiteX13535" fmla="*/ 5032675 w 8079933"/>
              <a:gd name="connsiteY13535" fmla="*/ 2025850 h 4687251"/>
              <a:gd name="connsiteX13536" fmla="*/ 5034737 w 8079933"/>
              <a:gd name="connsiteY13536" fmla="*/ 2029424 h 4687251"/>
              <a:gd name="connsiteX13537" fmla="*/ 5037884 w 8079933"/>
              <a:gd name="connsiteY13537" fmla="*/ 2032671 h 4687251"/>
              <a:gd name="connsiteX13538" fmla="*/ 5037885 w 8079933"/>
              <a:gd name="connsiteY13538" fmla="*/ 2032670 h 4687251"/>
              <a:gd name="connsiteX13539" fmla="*/ 5034738 w 8079933"/>
              <a:gd name="connsiteY13539" fmla="*/ 2029423 h 4687251"/>
              <a:gd name="connsiteX13540" fmla="*/ 5032676 w 8079933"/>
              <a:gd name="connsiteY13540" fmla="*/ 2025850 h 4687251"/>
              <a:gd name="connsiteX13541" fmla="*/ 5030398 w 8079933"/>
              <a:gd name="connsiteY13541" fmla="*/ 2025308 h 4687251"/>
              <a:gd name="connsiteX13542" fmla="*/ 5029963 w 8079933"/>
              <a:gd name="connsiteY13542" fmla="*/ 2024009 h 4687251"/>
              <a:gd name="connsiteX13543" fmla="*/ 5157482 w 8079933"/>
              <a:gd name="connsiteY13543" fmla="*/ 2023137 h 4687251"/>
              <a:gd name="connsiteX13544" fmla="*/ 5155802 w 8079933"/>
              <a:gd name="connsiteY13544" fmla="*/ 2023539 h 4687251"/>
              <a:gd name="connsiteX13545" fmla="*/ 5155843 w 8079933"/>
              <a:gd name="connsiteY13545" fmla="*/ 2023577 h 4687251"/>
              <a:gd name="connsiteX13546" fmla="*/ 4026401 w 8079933"/>
              <a:gd name="connsiteY13546" fmla="*/ 2022060 h 4687251"/>
              <a:gd name="connsiteX13547" fmla="*/ 4031285 w 8079933"/>
              <a:gd name="connsiteY13547" fmla="*/ 2027041 h 4687251"/>
              <a:gd name="connsiteX13548" fmla="*/ 4030091 w 8079933"/>
              <a:gd name="connsiteY13548" fmla="*/ 2029531 h 4687251"/>
              <a:gd name="connsiteX13549" fmla="*/ 4026293 w 8079933"/>
              <a:gd name="connsiteY13549" fmla="*/ 2027474 h 4687251"/>
              <a:gd name="connsiteX13550" fmla="*/ 4018480 w 8079933"/>
              <a:gd name="connsiteY13550" fmla="*/ 2026715 h 4687251"/>
              <a:gd name="connsiteX13551" fmla="*/ 4019565 w 8079933"/>
              <a:gd name="connsiteY13551" fmla="*/ 2023468 h 4687251"/>
              <a:gd name="connsiteX13552" fmla="*/ 5153130 w 8079933"/>
              <a:gd name="connsiteY13552" fmla="*/ 2021845 h 4687251"/>
              <a:gd name="connsiteX13553" fmla="*/ 5148680 w 8079933"/>
              <a:gd name="connsiteY13553" fmla="*/ 2025417 h 4687251"/>
              <a:gd name="connsiteX13554" fmla="*/ 5148680 w 8079933"/>
              <a:gd name="connsiteY13554" fmla="*/ 2029748 h 4687251"/>
              <a:gd name="connsiteX13555" fmla="*/ 5151285 w 8079933"/>
              <a:gd name="connsiteY13555" fmla="*/ 2033755 h 4687251"/>
              <a:gd name="connsiteX13556" fmla="*/ 5151285 w 8079933"/>
              <a:gd name="connsiteY13556" fmla="*/ 2032036 h 4687251"/>
              <a:gd name="connsiteX13557" fmla="*/ 5149657 w 8079933"/>
              <a:gd name="connsiteY13557" fmla="*/ 2029532 h 4687251"/>
              <a:gd name="connsiteX13558" fmla="*/ 5149331 w 8079933"/>
              <a:gd name="connsiteY13558" fmla="*/ 2025309 h 4687251"/>
              <a:gd name="connsiteX13559" fmla="*/ 5153317 w 8079933"/>
              <a:gd name="connsiteY13559" fmla="*/ 2022012 h 4687251"/>
              <a:gd name="connsiteX13560" fmla="*/ 5496910 w 8079933"/>
              <a:gd name="connsiteY13560" fmla="*/ 2021519 h 4687251"/>
              <a:gd name="connsiteX13561" fmla="*/ 5490182 w 8079933"/>
              <a:gd name="connsiteY13561" fmla="*/ 2021735 h 4687251"/>
              <a:gd name="connsiteX13562" fmla="*/ 5486059 w 8079933"/>
              <a:gd name="connsiteY13562" fmla="*/ 2023901 h 4687251"/>
              <a:gd name="connsiteX13563" fmla="*/ 5485005 w 8079933"/>
              <a:gd name="connsiteY13563" fmla="*/ 2022388 h 4687251"/>
              <a:gd name="connsiteX13564" fmla="*/ 5486059 w 8079933"/>
              <a:gd name="connsiteY13564" fmla="*/ 2023901 h 4687251"/>
              <a:gd name="connsiteX13565" fmla="*/ 5490183 w 8079933"/>
              <a:gd name="connsiteY13565" fmla="*/ 2021736 h 4687251"/>
              <a:gd name="connsiteX13566" fmla="*/ 5496910 w 8079933"/>
              <a:gd name="connsiteY13566" fmla="*/ 2021520 h 4687251"/>
              <a:gd name="connsiteX13567" fmla="*/ 4952645 w 8079933"/>
              <a:gd name="connsiteY13567" fmla="*/ 2020977 h 4687251"/>
              <a:gd name="connsiteX13568" fmla="*/ 4955737 w 8079933"/>
              <a:gd name="connsiteY13568" fmla="*/ 2024660 h 4687251"/>
              <a:gd name="connsiteX13569" fmla="*/ 4958775 w 8079933"/>
              <a:gd name="connsiteY13569" fmla="*/ 2024335 h 4687251"/>
              <a:gd name="connsiteX13570" fmla="*/ 4960403 w 8079933"/>
              <a:gd name="connsiteY13570" fmla="*/ 2028666 h 4687251"/>
              <a:gd name="connsiteX13571" fmla="*/ 4960403 w 8079933"/>
              <a:gd name="connsiteY13571" fmla="*/ 2028665 h 4687251"/>
              <a:gd name="connsiteX13572" fmla="*/ 4958776 w 8079933"/>
              <a:gd name="connsiteY13572" fmla="*/ 2024335 h 4687251"/>
              <a:gd name="connsiteX13573" fmla="*/ 4955737 w 8079933"/>
              <a:gd name="connsiteY13573" fmla="*/ 2024659 h 4687251"/>
              <a:gd name="connsiteX13574" fmla="*/ 4971472 w 8079933"/>
              <a:gd name="connsiteY13574" fmla="*/ 2020329 h 4687251"/>
              <a:gd name="connsiteX13575" fmla="*/ 4973278 w 8079933"/>
              <a:gd name="connsiteY13575" fmla="*/ 2023932 h 4687251"/>
              <a:gd name="connsiteX13576" fmla="*/ 4971472 w 8079933"/>
              <a:gd name="connsiteY13576" fmla="*/ 2020329 h 4687251"/>
              <a:gd name="connsiteX13577" fmla="*/ 4967349 w 8079933"/>
              <a:gd name="connsiteY13577" fmla="*/ 2020329 h 4687251"/>
              <a:gd name="connsiteX13578" fmla="*/ 4964636 w 8079933"/>
              <a:gd name="connsiteY13578" fmla="*/ 2022710 h 4687251"/>
              <a:gd name="connsiteX13579" fmla="*/ 4964636 w 8079933"/>
              <a:gd name="connsiteY13579" fmla="*/ 2022710 h 4687251"/>
              <a:gd name="connsiteX13580" fmla="*/ 4951059 w 8079933"/>
              <a:gd name="connsiteY13580" fmla="*/ 2020167 h 4687251"/>
              <a:gd name="connsiteX13581" fmla="*/ 4951397 w 8079933"/>
              <a:gd name="connsiteY13581" fmla="*/ 2020654 h 4687251"/>
              <a:gd name="connsiteX13582" fmla="*/ 4952373 w 8079933"/>
              <a:gd name="connsiteY13582" fmla="*/ 2020654 h 4687251"/>
              <a:gd name="connsiteX13583" fmla="*/ 4952373 w 8079933"/>
              <a:gd name="connsiteY13583" fmla="*/ 2020653 h 4687251"/>
              <a:gd name="connsiteX13584" fmla="*/ 4951397 w 8079933"/>
              <a:gd name="connsiteY13584" fmla="*/ 2020653 h 4687251"/>
              <a:gd name="connsiteX13585" fmla="*/ 5160834 w 8079933"/>
              <a:gd name="connsiteY13585" fmla="*/ 2018056 h 4687251"/>
              <a:gd name="connsiteX13586" fmla="*/ 5160275 w 8079933"/>
              <a:gd name="connsiteY13586" fmla="*/ 2018283 h 4687251"/>
              <a:gd name="connsiteX13587" fmla="*/ 5163330 w 8079933"/>
              <a:gd name="connsiteY13587" fmla="*/ 2022278 h 4687251"/>
              <a:gd name="connsiteX13588" fmla="*/ 5162165 w 8079933"/>
              <a:gd name="connsiteY13588" fmla="*/ 2023887 h 4687251"/>
              <a:gd name="connsiteX13589" fmla="*/ 5162570 w 8079933"/>
              <a:gd name="connsiteY13589" fmla="*/ 2024010 h 4687251"/>
              <a:gd name="connsiteX13590" fmla="*/ 5163981 w 8079933"/>
              <a:gd name="connsiteY13590" fmla="*/ 2022170 h 4687251"/>
              <a:gd name="connsiteX13591" fmla="*/ 4511689 w 8079933"/>
              <a:gd name="connsiteY13591" fmla="*/ 2017730 h 4687251"/>
              <a:gd name="connsiteX13592" fmla="*/ 4514184 w 8079933"/>
              <a:gd name="connsiteY13592" fmla="*/ 2019029 h 4687251"/>
              <a:gd name="connsiteX13593" fmla="*/ 4511145 w 8079933"/>
              <a:gd name="connsiteY13593" fmla="*/ 2022277 h 4687251"/>
              <a:gd name="connsiteX13594" fmla="*/ 4510603 w 8079933"/>
              <a:gd name="connsiteY13594" fmla="*/ 2026825 h 4687251"/>
              <a:gd name="connsiteX13595" fmla="*/ 4507890 w 8079933"/>
              <a:gd name="connsiteY13595" fmla="*/ 2025634 h 4687251"/>
              <a:gd name="connsiteX13596" fmla="*/ 4505936 w 8079933"/>
              <a:gd name="connsiteY13596" fmla="*/ 2025959 h 4687251"/>
              <a:gd name="connsiteX13597" fmla="*/ 4503766 w 8079933"/>
              <a:gd name="connsiteY13597" fmla="*/ 2024118 h 4687251"/>
              <a:gd name="connsiteX13598" fmla="*/ 4502681 w 8079933"/>
              <a:gd name="connsiteY13598" fmla="*/ 2020545 h 4687251"/>
              <a:gd name="connsiteX13599" fmla="*/ 4503875 w 8079933"/>
              <a:gd name="connsiteY13599" fmla="*/ 2018704 h 4687251"/>
              <a:gd name="connsiteX13600" fmla="*/ 4507673 w 8079933"/>
              <a:gd name="connsiteY13600" fmla="*/ 2018596 h 4687251"/>
              <a:gd name="connsiteX13601" fmla="*/ 4509301 w 8079933"/>
              <a:gd name="connsiteY13601" fmla="*/ 2020004 h 4687251"/>
              <a:gd name="connsiteX13602" fmla="*/ 3783647 w 8079933"/>
              <a:gd name="connsiteY13602" fmla="*/ 2016860 h 4687251"/>
              <a:gd name="connsiteX13603" fmla="*/ 3783325 w 8079933"/>
              <a:gd name="connsiteY13603" fmla="*/ 2017188 h 4687251"/>
              <a:gd name="connsiteX13604" fmla="*/ 3787394 w 8079933"/>
              <a:gd name="connsiteY13604" fmla="*/ 2021248 h 4687251"/>
              <a:gd name="connsiteX13605" fmla="*/ 3787665 w 8079933"/>
              <a:gd name="connsiteY13605" fmla="*/ 2020870 h 4687251"/>
              <a:gd name="connsiteX13606" fmla="*/ 4947445 w 8079933"/>
              <a:gd name="connsiteY13606" fmla="*/ 2015087 h 4687251"/>
              <a:gd name="connsiteX13607" fmla="*/ 4948575 w 8079933"/>
              <a:gd name="connsiteY13607" fmla="*/ 2016215 h 4687251"/>
              <a:gd name="connsiteX13608" fmla="*/ 4948575 w 8079933"/>
              <a:gd name="connsiteY13608" fmla="*/ 2016214 h 4687251"/>
              <a:gd name="connsiteX13609" fmla="*/ 4975271 w 8079933"/>
              <a:gd name="connsiteY13609" fmla="*/ 2011342 h 4687251"/>
              <a:gd name="connsiteX13610" fmla="*/ 4975270 w 8079933"/>
              <a:gd name="connsiteY13610" fmla="*/ 2011343 h 4687251"/>
              <a:gd name="connsiteX13611" fmla="*/ 4978417 w 8079933"/>
              <a:gd name="connsiteY13611" fmla="*/ 2018596 h 4687251"/>
              <a:gd name="connsiteX13612" fmla="*/ 4989052 w 8079933"/>
              <a:gd name="connsiteY13612" fmla="*/ 2024443 h 4687251"/>
              <a:gd name="connsiteX13613" fmla="*/ 4995997 w 8079933"/>
              <a:gd name="connsiteY13613" fmla="*/ 2024768 h 4687251"/>
              <a:gd name="connsiteX13614" fmla="*/ 5001531 w 8079933"/>
              <a:gd name="connsiteY13614" fmla="*/ 2029964 h 4687251"/>
              <a:gd name="connsiteX13615" fmla="*/ 5001532 w 8079933"/>
              <a:gd name="connsiteY13615" fmla="*/ 2029964 h 4687251"/>
              <a:gd name="connsiteX13616" fmla="*/ 4995998 w 8079933"/>
              <a:gd name="connsiteY13616" fmla="*/ 2024766 h 4687251"/>
              <a:gd name="connsiteX13617" fmla="*/ 4989053 w 8079933"/>
              <a:gd name="connsiteY13617" fmla="*/ 2024442 h 4687251"/>
              <a:gd name="connsiteX13618" fmla="*/ 4978418 w 8079933"/>
              <a:gd name="connsiteY13618" fmla="*/ 2018595 h 4687251"/>
              <a:gd name="connsiteX13619" fmla="*/ 4524818 w 8079933"/>
              <a:gd name="connsiteY13619" fmla="*/ 2009718 h 4687251"/>
              <a:gd name="connsiteX13620" fmla="*/ 4527097 w 8079933"/>
              <a:gd name="connsiteY13620" fmla="*/ 2011234 h 4687251"/>
              <a:gd name="connsiteX13621" fmla="*/ 4526446 w 8079933"/>
              <a:gd name="connsiteY13621" fmla="*/ 2013832 h 4687251"/>
              <a:gd name="connsiteX13622" fmla="*/ 4521672 w 8079933"/>
              <a:gd name="connsiteY13622" fmla="*/ 2015132 h 4687251"/>
              <a:gd name="connsiteX13623" fmla="*/ 4517982 w 8079933"/>
              <a:gd name="connsiteY13623" fmla="*/ 2013616 h 4687251"/>
              <a:gd name="connsiteX13624" fmla="*/ 4518850 w 8079933"/>
              <a:gd name="connsiteY13624" fmla="*/ 2011775 h 4687251"/>
              <a:gd name="connsiteX13625" fmla="*/ 4522322 w 8079933"/>
              <a:gd name="connsiteY13625" fmla="*/ 2011667 h 4687251"/>
              <a:gd name="connsiteX13626" fmla="*/ 5145534 w 8079933"/>
              <a:gd name="connsiteY13626" fmla="*/ 2008744 h 4687251"/>
              <a:gd name="connsiteX13627" fmla="*/ 5145286 w 8079933"/>
              <a:gd name="connsiteY13627" fmla="*/ 2009029 h 4687251"/>
              <a:gd name="connsiteX13628" fmla="*/ 5151935 w 8079933"/>
              <a:gd name="connsiteY13628" fmla="*/ 2010152 h 4687251"/>
              <a:gd name="connsiteX13629" fmla="*/ 5152312 w 8079933"/>
              <a:gd name="connsiteY13629" fmla="*/ 2009889 h 4687251"/>
              <a:gd name="connsiteX13630" fmla="*/ 4925570 w 8079933"/>
              <a:gd name="connsiteY13630" fmla="*/ 2007987 h 4687251"/>
              <a:gd name="connsiteX13631" fmla="*/ 4925570 w 8079933"/>
              <a:gd name="connsiteY13631" fmla="*/ 2007987 h 4687251"/>
              <a:gd name="connsiteX13632" fmla="*/ 4932406 w 8079933"/>
              <a:gd name="connsiteY13632" fmla="*/ 2012101 h 4687251"/>
              <a:gd name="connsiteX13633" fmla="*/ 4939894 w 8079933"/>
              <a:gd name="connsiteY13633" fmla="*/ 2012426 h 4687251"/>
              <a:gd name="connsiteX13634" fmla="*/ 4944452 w 8079933"/>
              <a:gd name="connsiteY13634" fmla="*/ 2012101 h 4687251"/>
              <a:gd name="connsiteX13635" fmla="*/ 4944451 w 8079933"/>
              <a:gd name="connsiteY13635" fmla="*/ 2012100 h 4687251"/>
              <a:gd name="connsiteX13636" fmla="*/ 4939894 w 8079933"/>
              <a:gd name="connsiteY13636" fmla="*/ 2012425 h 4687251"/>
              <a:gd name="connsiteX13637" fmla="*/ 4932406 w 8079933"/>
              <a:gd name="connsiteY13637" fmla="*/ 2012100 h 4687251"/>
              <a:gd name="connsiteX13638" fmla="*/ 5155843 w 8079933"/>
              <a:gd name="connsiteY13638" fmla="*/ 2007770 h 4687251"/>
              <a:gd name="connsiteX13639" fmla="*/ 5155394 w 8079933"/>
              <a:gd name="connsiteY13639" fmla="*/ 2008069 h 4687251"/>
              <a:gd name="connsiteX13640" fmla="*/ 5157036 w 8079933"/>
              <a:gd name="connsiteY13640" fmla="*/ 2009610 h 4687251"/>
              <a:gd name="connsiteX13641" fmla="*/ 5155842 w 8079933"/>
              <a:gd name="connsiteY13641" fmla="*/ 2014374 h 4687251"/>
              <a:gd name="connsiteX13642" fmla="*/ 5157253 w 8079933"/>
              <a:gd name="connsiteY13642" fmla="*/ 2019354 h 4687251"/>
              <a:gd name="connsiteX13643" fmla="*/ 5157867 w 8079933"/>
              <a:gd name="connsiteY13643" fmla="*/ 2019105 h 4687251"/>
              <a:gd name="connsiteX13644" fmla="*/ 5156602 w 8079933"/>
              <a:gd name="connsiteY13644" fmla="*/ 2014266 h 4687251"/>
              <a:gd name="connsiteX13645" fmla="*/ 5157796 w 8079933"/>
              <a:gd name="connsiteY13645" fmla="*/ 2009393 h 4687251"/>
              <a:gd name="connsiteX13646" fmla="*/ 4518307 w 8079933"/>
              <a:gd name="connsiteY13646" fmla="*/ 2004197 h 4687251"/>
              <a:gd name="connsiteX13647" fmla="*/ 4521237 w 8079933"/>
              <a:gd name="connsiteY13647" fmla="*/ 2004954 h 4687251"/>
              <a:gd name="connsiteX13648" fmla="*/ 4521345 w 8079933"/>
              <a:gd name="connsiteY13648" fmla="*/ 2007121 h 4687251"/>
              <a:gd name="connsiteX13649" fmla="*/ 4518741 w 8079933"/>
              <a:gd name="connsiteY13649" fmla="*/ 2008095 h 4687251"/>
              <a:gd name="connsiteX13650" fmla="*/ 4514292 w 8079933"/>
              <a:gd name="connsiteY13650" fmla="*/ 2006254 h 4687251"/>
              <a:gd name="connsiteX13651" fmla="*/ 4515052 w 8079933"/>
              <a:gd name="connsiteY13651" fmla="*/ 2004630 h 4687251"/>
              <a:gd name="connsiteX13652" fmla="*/ 5364504 w 8079933"/>
              <a:gd name="connsiteY13652" fmla="*/ 2000565 h 4687251"/>
              <a:gd name="connsiteX13653" fmla="*/ 5371465 w 8079933"/>
              <a:gd name="connsiteY13653" fmla="*/ 2003764 h 4687251"/>
              <a:gd name="connsiteX13654" fmla="*/ 5387309 w 8079933"/>
              <a:gd name="connsiteY13654" fmla="*/ 2013725 h 4687251"/>
              <a:gd name="connsiteX13655" fmla="*/ 5403261 w 8079933"/>
              <a:gd name="connsiteY13655" fmla="*/ 2025417 h 4687251"/>
              <a:gd name="connsiteX13656" fmla="*/ 5421166 w 8079933"/>
              <a:gd name="connsiteY13656" fmla="*/ 2033430 h 4687251"/>
              <a:gd name="connsiteX13657" fmla="*/ 5431893 w 8079933"/>
              <a:gd name="connsiteY13657" fmla="*/ 2040684 h 4687251"/>
              <a:gd name="connsiteX13658" fmla="*/ 5421166 w 8079933"/>
              <a:gd name="connsiteY13658" fmla="*/ 2033429 h 4687251"/>
              <a:gd name="connsiteX13659" fmla="*/ 5403261 w 8079933"/>
              <a:gd name="connsiteY13659" fmla="*/ 2025417 h 4687251"/>
              <a:gd name="connsiteX13660" fmla="*/ 5387309 w 8079933"/>
              <a:gd name="connsiteY13660" fmla="*/ 2013724 h 4687251"/>
              <a:gd name="connsiteX13661" fmla="*/ 5371466 w 8079933"/>
              <a:gd name="connsiteY13661" fmla="*/ 2003763 h 4687251"/>
              <a:gd name="connsiteX13662" fmla="*/ 4494216 w 8079933"/>
              <a:gd name="connsiteY13662" fmla="*/ 1997483 h 4687251"/>
              <a:gd name="connsiteX13663" fmla="*/ 4497471 w 8079933"/>
              <a:gd name="connsiteY13663" fmla="*/ 1999107 h 4687251"/>
              <a:gd name="connsiteX13664" fmla="*/ 4497905 w 8079933"/>
              <a:gd name="connsiteY13664" fmla="*/ 2001705 h 4687251"/>
              <a:gd name="connsiteX13665" fmla="*/ 4494867 w 8079933"/>
              <a:gd name="connsiteY13665" fmla="*/ 2003221 h 4687251"/>
              <a:gd name="connsiteX13666" fmla="*/ 4493564 w 8079933"/>
              <a:gd name="connsiteY13666" fmla="*/ 2002354 h 4687251"/>
              <a:gd name="connsiteX13667" fmla="*/ 4490961 w 8079933"/>
              <a:gd name="connsiteY13667" fmla="*/ 2002462 h 4687251"/>
              <a:gd name="connsiteX13668" fmla="*/ 4492371 w 8079933"/>
              <a:gd name="connsiteY13668" fmla="*/ 1998132 h 4687251"/>
              <a:gd name="connsiteX13669" fmla="*/ 4429974 w 8079933"/>
              <a:gd name="connsiteY13669" fmla="*/ 1990555 h 4687251"/>
              <a:gd name="connsiteX13670" fmla="*/ 4429649 w 8079933"/>
              <a:gd name="connsiteY13670" fmla="*/ 1992611 h 4687251"/>
              <a:gd name="connsiteX13671" fmla="*/ 4429649 w 8079933"/>
              <a:gd name="connsiteY13671" fmla="*/ 1992611 h 4687251"/>
              <a:gd name="connsiteX13672" fmla="*/ 4429975 w 8079933"/>
              <a:gd name="connsiteY13672" fmla="*/ 1990555 h 4687251"/>
              <a:gd name="connsiteX13673" fmla="*/ 5072693 w 8079933"/>
              <a:gd name="connsiteY13673" fmla="*/ 1990446 h 4687251"/>
              <a:gd name="connsiteX13674" fmla="*/ 5078362 w 8079933"/>
              <a:gd name="connsiteY13674" fmla="*/ 1992827 h 4687251"/>
              <a:gd name="connsiteX13675" fmla="*/ 5081726 w 8079933"/>
              <a:gd name="connsiteY13675" fmla="*/ 1997807 h 4687251"/>
              <a:gd name="connsiteX13676" fmla="*/ 5078145 w 8079933"/>
              <a:gd name="connsiteY13676" fmla="*/ 1997266 h 4687251"/>
              <a:gd name="connsiteX13677" fmla="*/ 5074889 w 8079933"/>
              <a:gd name="connsiteY13677" fmla="*/ 1999648 h 4687251"/>
              <a:gd name="connsiteX13678" fmla="*/ 5068487 w 8079933"/>
              <a:gd name="connsiteY13678" fmla="*/ 1999973 h 4687251"/>
              <a:gd name="connsiteX13679" fmla="*/ 5061217 w 8079933"/>
              <a:gd name="connsiteY13679" fmla="*/ 2006036 h 4687251"/>
              <a:gd name="connsiteX13680" fmla="*/ 5061759 w 8079933"/>
              <a:gd name="connsiteY13680" fmla="*/ 2012207 h 4687251"/>
              <a:gd name="connsiteX13681" fmla="*/ 5062627 w 8079933"/>
              <a:gd name="connsiteY13681" fmla="*/ 2017188 h 4687251"/>
              <a:gd name="connsiteX13682" fmla="*/ 5060457 w 8079933"/>
              <a:gd name="connsiteY13682" fmla="*/ 2020111 h 4687251"/>
              <a:gd name="connsiteX13683" fmla="*/ 5059914 w 8079933"/>
              <a:gd name="connsiteY13683" fmla="*/ 2024442 h 4687251"/>
              <a:gd name="connsiteX13684" fmla="*/ 5061434 w 8079933"/>
              <a:gd name="connsiteY13684" fmla="*/ 2026933 h 4687251"/>
              <a:gd name="connsiteX13685" fmla="*/ 5061434 w 8079933"/>
              <a:gd name="connsiteY13685" fmla="*/ 2030397 h 4687251"/>
              <a:gd name="connsiteX13686" fmla="*/ 5059155 w 8079933"/>
              <a:gd name="connsiteY13686" fmla="*/ 2032454 h 4687251"/>
              <a:gd name="connsiteX13687" fmla="*/ 5059155 w 8079933"/>
              <a:gd name="connsiteY13687" fmla="*/ 2040682 h 4687251"/>
              <a:gd name="connsiteX13688" fmla="*/ 5058276 w 8079933"/>
              <a:gd name="connsiteY13688" fmla="*/ 2042801 h 4687251"/>
              <a:gd name="connsiteX13689" fmla="*/ 5059153 w 8079933"/>
              <a:gd name="connsiteY13689" fmla="*/ 2044365 h 4687251"/>
              <a:gd name="connsiteX13690" fmla="*/ 5060564 w 8079933"/>
              <a:gd name="connsiteY13690" fmla="*/ 2041225 h 4687251"/>
              <a:gd name="connsiteX13691" fmla="*/ 5060564 w 8079933"/>
              <a:gd name="connsiteY13691" fmla="*/ 2032997 h 4687251"/>
              <a:gd name="connsiteX13692" fmla="*/ 5062843 w 8079933"/>
              <a:gd name="connsiteY13692" fmla="*/ 2030939 h 4687251"/>
              <a:gd name="connsiteX13693" fmla="*/ 5062843 w 8079933"/>
              <a:gd name="connsiteY13693" fmla="*/ 2027475 h 4687251"/>
              <a:gd name="connsiteX13694" fmla="*/ 5061324 w 8079933"/>
              <a:gd name="connsiteY13694" fmla="*/ 2024876 h 4687251"/>
              <a:gd name="connsiteX13695" fmla="*/ 5061324 w 8079933"/>
              <a:gd name="connsiteY13695" fmla="*/ 2020546 h 4687251"/>
              <a:gd name="connsiteX13696" fmla="*/ 5063603 w 8079933"/>
              <a:gd name="connsiteY13696" fmla="*/ 2017622 h 4687251"/>
              <a:gd name="connsiteX13697" fmla="*/ 5062734 w 8079933"/>
              <a:gd name="connsiteY13697" fmla="*/ 2012642 h 4687251"/>
              <a:gd name="connsiteX13698" fmla="*/ 5062734 w 8079933"/>
              <a:gd name="connsiteY13698" fmla="*/ 2006470 h 4687251"/>
              <a:gd name="connsiteX13699" fmla="*/ 5070005 w 8079933"/>
              <a:gd name="connsiteY13699" fmla="*/ 2000407 h 4687251"/>
              <a:gd name="connsiteX13700" fmla="*/ 5076408 w 8079933"/>
              <a:gd name="connsiteY13700" fmla="*/ 2000407 h 4687251"/>
              <a:gd name="connsiteX13701" fmla="*/ 5079663 w 8079933"/>
              <a:gd name="connsiteY13701" fmla="*/ 1998025 h 4687251"/>
              <a:gd name="connsiteX13702" fmla="*/ 5083244 w 8079933"/>
              <a:gd name="connsiteY13702" fmla="*/ 1998025 h 4687251"/>
              <a:gd name="connsiteX13703" fmla="*/ 5079772 w 8079933"/>
              <a:gd name="connsiteY13703" fmla="*/ 1993045 h 4687251"/>
              <a:gd name="connsiteX13704" fmla="*/ 5073586 w 8079933"/>
              <a:gd name="connsiteY13704" fmla="*/ 1990446 h 4687251"/>
              <a:gd name="connsiteX13705" fmla="*/ 3788350 w 8079933"/>
              <a:gd name="connsiteY13705" fmla="*/ 1990424 h 4687251"/>
              <a:gd name="connsiteX13706" fmla="*/ 3788100 w 8079933"/>
              <a:gd name="connsiteY13706" fmla="*/ 1990662 h 4687251"/>
              <a:gd name="connsiteX13707" fmla="*/ 3789185 w 8079933"/>
              <a:gd name="connsiteY13707" fmla="*/ 1996942 h 4687251"/>
              <a:gd name="connsiteX13708" fmla="*/ 3788431 w 8079933"/>
              <a:gd name="connsiteY13708" fmla="*/ 2011876 h 4687251"/>
              <a:gd name="connsiteX13709" fmla="*/ 3788750 w 8079933"/>
              <a:gd name="connsiteY13709" fmla="*/ 2011558 h 4687251"/>
              <a:gd name="connsiteX13710" fmla="*/ 3789401 w 8079933"/>
              <a:gd name="connsiteY13710" fmla="*/ 1996400 h 4687251"/>
              <a:gd name="connsiteX13711" fmla="*/ 4139911 w 8079933"/>
              <a:gd name="connsiteY13711" fmla="*/ 1986656 h 4687251"/>
              <a:gd name="connsiteX13712" fmla="*/ 4144142 w 8079933"/>
              <a:gd name="connsiteY13712" fmla="*/ 1989904 h 4687251"/>
              <a:gd name="connsiteX13713" fmla="*/ 4145878 w 8079933"/>
              <a:gd name="connsiteY13713" fmla="*/ 1988172 h 4687251"/>
              <a:gd name="connsiteX13714" fmla="*/ 4149351 w 8079933"/>
              <a:gd name="connsiteY13714" fmla="*/ 1994451 h 4687251"/>
              <a:gd name="connsiteX13715" fmla="*/ 4152390 w 8079933"/>
              <a:gd name="connsiteY13715" fmla="*/ 1997916 h 4687251"/>
              <a:gd name="connsiteX13716" fmla="*/ 4153692 w 8079933"/>
              <a:gd name="connsiteY13716" fmla="*/ 2003438 h 4687251"/>
              <a:gd name="connsiteX13717" fmla="*/ 4152933 w 8079933"/>
              <a:gd name="connsiteY13717" fmla="*/ 2007119 h 4687251"/>
              <a:gd name="connsiteX13718" fmla="*/ 4147723 w 8079933"/>
              <a:gd name="connsiteY13718" fmla="*/ 2010476 h 4687251"/>
              <a:gd name="connsiteX13719" fmla="*/ 4153909 w 8079933"/>
              <a:gd name="connsiteY13719" fmla="*/ 2015889 h 4687251"/>
              <a:gd name="connsiteX13720" fmla="*/ 4152064 w 8079933"/>
              <a:gd name="connsiteY13720" fmla="*/ 2024551 h 4687251"/>
              <a:gd name="connsiteX13721" fmla="*/ 4153150 w 8079933"/>
              <a:gd name="connsiteY13721" fmla="*/ 2034186 h 4687251"/>
              <a:gd name="connsiteX13722" fmla="*/ 4152282 w 8079933"/>
              <a:gd name="connsiteY13722" fmla="*/ 2036677 h 4687251"/>
              <a:gd name="connsiteX13723" fmla="*/ 4152282 w 8079933"/>
              <a:gd name="connsiteY13723" fmla="*/ 2045555 h 4687251"/>
              <a:gd name="connsiteX13724" fmla="*/ 4150437 w 8079933"/>
              <a:gd name="connsiteY13724" fmla="*/ 2048912 h 4687251"/>
              <a:gd name="connsiteX13725" fmla="*/ 4147723 w 8079933"/>
              <a:gd name="connsiteY13725" fmla="*/ 2048912 h 4687251"/>
              <a:gd name="connsiteX13726" fmla="*/ 4144794 w 8079933"/>
              <a:gd name="connsiteY13726" fmla="*/ 2046096 h 4687251"/>
              <a:gd name="connsiteX13727" fmla="*/ 4140344 w 8079933"/>
              <a:gd name="connsiteY13727" fmla="*/ 2045663 h 4687251"/>
              <a:gd name="connsiteX13728" fmla="*/ 4138825 w 8079933"/>
              <a:gd name="connsiteY13728" fmla="*/ 2048912 h 4687251"/>
              <a:gd name="connsiteX13729" fmla="*/ 4138499 w 8079933"/>
              <a:gd name="connsiteY13729" fmla="*/ 2054325 h 4687251"/>
              <a:gd name="connsiteX13730" fmla="*/ 4135136 w 8079933"/>
              <a:gd name="connsiteY13730" fmla="*/ 2055841 h 4687251"/>
              <a:gd name="connsiteX13731" fmla="*/ 4132748 w 8079933"/>
              <a:gd name="connsiteY13731" fmla="*/ 2054758 h 4687251"/>
              <a:gd name="connsiteX13732" fmla="*/ 4130904 w 8079933"/>
              <a:gd name="connsiteY13732" fmla="*/ 2055841 h 4687251"/>
              <a:gd name="connsiteX13733" fmla="*/ 4127322 w 8079933"/>
              <a:gd name="connsiteY13733" fmla="*/ 2052051 h 4687251"/>
              <a:gd name="connsiteX13734" fmla="*/ 4124935 w 8079933"/>
              <a:gd name="connsiteY13734" fmla="*/ 2042307 h 4687251"/>
              <a:gd name="connsiteX13735" fmla="*/ 4122982 w 8079933"/>
              <a:gd name="connsiteY13735" fmla="*/ 2039167 h 4687251"/>
              <a:gd name="connsiteX13736" fmla="*/ 4125152 w 8079933"/>
              <a:gd name="connsiteY13736" fmla="*/ 2030830 h 4687251"/>
              <a:gd name="connsiteX13737" fmla="*/ 4127973 w 8079933"/>
              <a:gd name="connsiteY13737" fmla="*/ 2027474 h 4687251"/>
              <a:gd name="connsiteX13738" fmla="*/ 4127973 w 8079933"/>
              <a:gd name="connsiteY13738" fmla="*/ 2025525 h 4687251"/>
              <a:gd name="connsiteX13739" fmla="*/ 4123307 w 8079933"/>
              <a:gd name="connsiteY13739" fmla="*/ 2025092 h 4687251"/>
              <a:gd name="connsiteX13740" fmla="*/ 4121896 w 8079933"/>
              <a:gd name="connsiteY13740" fmla="*/ 2022276 h 4687251"/>
              <a:gd name="connsiteX13741" fmla="*/ 4125260 w 8079933"/>
              <a:gd name="connsiteY13741" fmla="*/ 2018596 h 4687251"/>
              <a:gd name="connsiteX13742" fmla="*/ 4125260 w 8079933"/>
              <a:gd name="connsiteY13742" fmla="*/ 2013074 h 4687251"/>
              <a:gd name="connsiteX13743" fmla="*/ 4122222 w 8079933"/>
              <a:gd name="connsiteY13743" fmla="*/ 2010367 h 4687251"/>
              <a:gd name="connsiteX13744" fmla="*/ 4121354 w 8079933"/>
              <a:gd name="connsiteY13744" fmla="*/ 2006686 h 4687251"/>
              <a:gd name="connsiteX13745" fmla="*/ 4117556 w 8079933"/>
              <a:gd name="connsiteY13745" fmla="*/ 2002896 h 4687251"/>
              <a:gd name="connsiteX13746" fmla="*/ 4118424 w 8079933"/>
              <a:gd name="connsiteY13746" fmla="*/ 1999540 h 4687251"/>
              <a:gd name="connsiteX13747" fmla="*/ 4118424 w 8079933"/>
              <a:gd name="connsiteY13747" fmla="*/ 1994235 h 4687251"/>
              <a:gd name="connsiteX13748" fmla="*/ 4123850 w 8079933"/>
              <a:gd name="connsiteY13748" fmla="*/ 1997483 h 4687251"/>
              <a:gd name="connsiteX13749" fmla="*/ 4127648 w 8079933"/>
              <a:gd name="connsiteY13749" fmla="*/ 1997374 h 4687251"/>
              <a:gd name="connsiteX13750" fmla="*/ 4136330 w 8079933"/>
              <a:gd name="connsiteY13750" fmla="*/ 1987089 h 4687251"/>
              <a:gd name="connsiteX13751" fmla="*/ 4120593 w 8079933"/>
              <a:gd name="connsiteY13751" fmla="*/ 1985357 h 4687251"/>
              <a:gd name="connsiteX13752" fmla="*/ 4122438 w 8079933"/>
              <a:gd name="connsiteY13752" fmla="*/ 1986981 h 4687251"/>
              <a:gd name="connsiteX13753" fmla="*/ 4120485 w 8079933"/>
              <a:gd name="connsiteY13753" fmla="*/ 1989147 h 4687251"/>
              <a:gd name="connsiteX13754" fmla="*/ 4120051 w 8079933"/>
              <a:gd name="connsiteY13754" fmla="*/ 1991312 h 4687251"/>
              <a:gd name="connsiteX13755" fmla="*/ 4118532 w 8079933"/>
              <a:gd name="connsiteY13755" fmla="*/ 1991529 h 4687251"/>
              <a:gd name="connsiteX13756" fmla="*/ 4118315 w 8079933"/>
              <a:gd name="connsiteY13756" fmla="*/ 1988497 h 4687251"/>
              <a:gd name="connsiteX13757" fmla="*/ 4119833 w 8079933"/>
              <a:gd name="connsiteY13757" fmla="*/ 1987631 h 4687251"/>
              <a:gd name="connsiteX13758" fmla="*/ 4919819 w 8079933"/>
              <a:gd name="connsiteY13758" fmla="*/ 1985033 h 4687251"/>
              <a:gd name="connsiteX13759" fmla="*/ 4924159 w 8079933"/>
              <a:gd name="connsiteY13759" fmla="*/ 1986116 h 4687251"/>
              <a:gd name="connsiteX13760" fmla="*/ 4924159 w 8079933"/>
              <a:gd name="connsiteY13760" fmla="*/ 1986115 h 4687251"/>
              <a:gd name="connsiteX13761" fmla="*/ 5353218 w 8079933"/>
              <a:gd name="connsiteY13761" fmla="*/ 1981905 h 4687251"/>
              <a:gd name="connsiteX13762" fmla="*/ 5355948 w 8079933"/>
              <a:gd name="connsiteY13762" fmla="*/ 1983842 h 4687251"/>
              <a:gd name="connsiteX13763" fmla="*/ 5357684 w 8079933"/>
              <a:gd name="connsiteY13763" fmla="*/ 1990013 h 4687251"/>
              <a:gd name="connsiteX13764" fmla="*/ 5358530 w 8079933"/>
              <a:gd name="connsiteY13764" fmla="*/ 1991536 h 4687251"/>
              <a:gd name="connsiteX13765" fmla="*/ 5357684 w 8079933"/>
              <a:gd name="connsiteY13765" fmla="*/ 1990013 h 4687251"/>
              <a:gd name="connsiteX13766" fmla="*/ 5355948 w 8079933"/>
              <a:gd name="connsiteY13766" fmla="*/ 1983841 h 4687251"/>
              <a:gd name="connsiteX13767" fmla="*/ 4956146 w 8079933"/>
              <a:gd name="connsiteY13767" fmla="*/ 1978843 h 4687251"/>
              <a:gd name="connsiteX13768" fmla="*/ 4956170 w 8079933"/>
              <a:gd name="connsiteY13768" fmla="*/ 1978866 h 4687251"/>
              <a:gd name="connsiteX13769" fmla="*/ 4956280 w 8079933"/>
              <a:gd name="connsiteY13769" fmla="*/ 1978970 h 4687251"/>
              <a:gd name="connsiteX13770" fmla="*/ 4964961 w 8079933"/>
              <a:gd name="connsiteY13770" fmla="*/ 1980052 h 4687251"/>
              <a:gd name="connsiteX13771" fmla="*/ 4969736 w 8079933"/>
              <a:gd name="connsiteY13771" fmla="*/ 1984816 h 4687251"/>
              <a:gd name="connsiteX13772" fmla="*/ 4968000 w 8079933"/>
              <a:gd name="connsiteY13772" fmla="*/ 1990338 h 4687251"/>
              <a:gd name="connsiteX13773" fmla="*/ 4968434 w 8079933"/>
              <a:gd name="connsiteY13773" fmla="*/ 1995210 h 4687251"/>
              <a:gd name="connsiteX13774" fmla="*/ 4978091 w 8079933"/>
              <a:gd name="connsiteY13774" fmla="*/ 2003114 h 4687251"/>
              <a:gd name="connsiteX13775" fmla="*/ 4978417 w 8079933"/>
              <a:gd name="connsiteY13775" fmla="*/ 2007878 h 4687251"/>
              <a:gd name="connsiteX13776" fmla="*/ 4977193 w 8079933"/>
              <a:gd name="connsiteY13776" fmla="*/ 2009226 h 4687251"/>
              <a:gd name="connsiteX13777" fmla="*/ 4978418 w 8079933"/>
              <a:gd name="connsiteY13777" fmla="*/ 2007876 h 4687251"/>
              <a:gd name="connsiteX13778" fmla="*/ 4978092 w 8079933"/>
              <a:gd name="connsiteY13778" fmla="*/ 2003113 h 4687251"/>
              <a:gd name="connsiteX13779" fmla="*/ 4968435 w 8079933"/>
              <a:gd name="connsiteY13779" fmla="*/ 1995209 h 4687251"/>
              <a:gd name="connsiteX13780" fmla="*/ 4968000 w 8079933"/>
              <a:gd name="connsiteY13780" fmla="*/ 1990337 h 4687251"/>
              <a:gd name="connsiteX13781" fmla="*/ 4969737 w 8079933"/>
              <a:gd name="connsiteY13781" fmla="*/ 1984815 h 4687251"/>
              <a:gd name="connsiteX13782" fmla="*/ 4964962 w 8079933"/>
              <a:gd name="connsiteY13782" fmla="*/ 1980051 h 4687251"/>
              <a:gd name="connsiteX13783" fmla="*/ 4956281 w 8079933"/>
              <a:gd name="connsiteY13783" fmla="*/ 1978968 h 4687251"/>
              <a:gd name="connsiteX13784" fmla="*/ 4492372 w 8079933"/>
              <a:gd name="connsiteY13784" fmla="*/ 1978752 h 4687251"/>
              <a:gd name="connsiteX13785" fmla="*/ 4493022 w 8079933"/>
              <a:gd name="connsiteY13785" fmla="*/ 1982650 h 4687251"/>
              <a:gd name="connsiteX13786" fmla="*/ 4493023 w 8079933"/>
              <a:gd name="connsiteY13786" fmla="*/ 1982650 h 4687251"/>
              <a:gd name="connsiteX13787" fmla="*/ 4492372 w 8079933"/>
              <a:gd name="connsiteY13787" fmla="*/ 1978752 h 4687251"/>
              <a:gd name="connsiteX13788" fmla="*/ 4915521 w 8079933"/>
              <a:gd name="connsiteY13788" fmla="*/ 1977833 h 4687251"/>
              <a:gd name="connsiteX13789" fmla="*/ 4915520 w 8079933"/>
              <a:gd name="connsiteY13789" fmla="*/ 1977834 h 4687251"/>
              <a:gd name="connsiteX13790" fmla="*/ 4919493 w 8079933"/>
              <a:gd name="connsiteY13790" fmla="*/ 1982109 h 4687251"/>
              <a:gd name="connsiteX13791" fmla="*/ 4919493 w 8079933"/>
              <a:gd name="connsiteY13791" fmla="*/ 1982109 h 4687251"/>
              <a:gd name="connsiteX13792" fmla="*/ 4919464 w 8079933"/>
              <a:gd name="connsiteY13792" fmla="*/ 1982077 h 4687251"/>
              <a:gd name="connsiteX13793" fmla="*/ 5517095 w 8079933"/>
              <a:gd name="connsiteY13793" fmla="*/ 1975504 h 4687251"/>
              <a:gd name="connsiteX13794" fmla="*/ 5517095 w 8079933"/>
              <a:gd name="connsiteY13794" fmla="*/ 1975505 h 4687251"/>
              <a:gd name="connsiteX13795" fmla="*/ 5524474 w 8079933"/>
              <a:gd name="connsiteY13795" fmla="*/ 1979077 h 4687251"/>
              <a:gd name="connsiteX13796" fmla="*/ 5524474 w 8079933"/>
              <a:gd name="connsiteY13796" fmla="*/ 1979077 h 4687251"/>
              <a:gd name="connsiteX13797" fmla="*/ 4977637 w 8079933"/>
              <a:gd name="connsiteY13797" fmla="*/ 1974963 h 4687251"/>
              <a:gd name="connsiteX13798" fmla="*/ 4983376 w 8079933"/>
              <a:gd name="connsiteY13798" fmla="*/ 1975170 h 4687251"/>
              <a:gd name="connsiteX13799" fmla="*/ 4982977 w 8079933"/>
              <a:gd name="connsiteY13799" fmla="*/ 1974963 h 4687251"/>
              <a:gd name="connsiteX13800" fmla="*/ 4933601 w 8079933"/>
              <a:gd name="connsiteY13800" fmla="*/ 1972906 h 4687251"/>
              <a:gd name="connsiteX13801" fmla="*/ 4922749 w 8079933"/>
              <a:gd name="connsiteY13801" fmla="*/ 1975288 h 4687251"/>
              <a:gd name="connsiteX13802" fmla="*/ 4915531 w 8079933"/>
              <a:gd name="connsiteY13802" fmla="*/ 1977830 h 4687251"/>
              <a:gd name="connsiteX13803" fmla="*/ 4915804 w 8079933"/>
              <a:gd name="connsiteY13803" fmla="*/ 1978103 h 4687251"/>
              <a:gd name="connsiteX13804" fmla="*/ 4923182 w 8079933"/>
              <a:gd name="connsiteY13804" fmla="*/ 1975505 h 4687251"/>
              <a:gd name="connsiteX13805" fmla="*/ 4933925 w 8079933"/>
              <a:gd name="connsiteY13805" fmla="*/ 1973123 h 4687251"/>
              <a:gd name="connsiteX13806" fmla="*/ 4936963 w 8079933"/>
              <a:gd name="connsiteY13806" fmla="*/ 1973772 h 4687251"/>
              <a:gd name="connsiteX13807" fmla="*/ 4945965 w 8079933"/>
              <a:gd name="connsiteY13807" fmla="*/ 1973555 h 4687251"/>
              <a:gd name="connsiteX13808" fmla="*/ 4936748 w 8079933"/>
              <a:gd name="connsiteY13808" fmla="*/ 1973555 h 4687251"/>
              <a:gd name="connsiteX13809" fmla="*/ 4533515 w 8079933"/>
              <a:gd name="connsiteY13809" fmla="*/ 1970973 h 4687251"/>
              <a:gd name="connsiteX13810" fmla="*/ 4533499 w 8079933"/>
              <a:gd name="connsiteY13810" fmla="*/ 1971065 h 4687251"/>
              <a:gd name="connsiteX13811" fmla="*/ 4533499 w 8079933"/>
              <a:gd name="connsiteY13811" fmla="*/ 1971065 h 4687251"/>
              <a:gd name="connsiteX13812" fmla="*/ 4884442 w 8079933"/>
              <a:gd name="connsiteY13812" fmla="*/ 1967926 h 4687251"/>
              <a:gd name="connsiteX13813" fmla="*/ 4882164 w 8079933"/>
              <a:gd name="connsiteY13813" fmla="*/ 1970849 h 4687251"/>
              <a:gd name="connsiteX13814" fmla="*/ 4879480 w 8079933"/>
              <a:gd name="connsiteY13814" fmla="*/ 1969992 h 4687251"/>
              <a:gd name="connsiteX13815" fmla="*/ 4879559 w 8079933"/>
              <a:gd name="connsiteY13815" fmla="*/ 1970308 h 4687251"/>
              <a:gd name="connsiteX13816" fmla="*/ 4882272 w 8079933"/>
              <a:gd name="connsiteY13816" fmla="*/ 1971174 h 4687251"/>
              <a:gd name="connsiteX13817" fmla="*/ 4884550 w 8079933"/>
              <a:gd name="connsiteY13817" fmla="*/ 1968251 h 4687251"/>
              <a:gd name="connsiteX13818" fmla="*/ 4890736 w 8079933"/>
              <a:gd name="connsiteY13818" fmla="*/ 1970633 h 4687251"/>
              <a:gd name="connsiteX13819" fmla="*/ 4892499 w 8079933"/>
              <a:gd name="connsiteY13819" fmla="*/ 1970307 h 4687251"/>
              <a:gd name="connsiteX13820" fmla="*/ 4890628 w 8079933"/>
              <a:gd name="connsiteY13820" fmla="*/ 1970307 h 4687251"/>
              <a:gd name="connsiteX13821" fmla="*/ 4960513 w 8079933"/>
              <a:gd name="connsiteY13821" fmla="*/ 1967384 h 4687251"/>
              <a:gd name="connsiteX13822" fmla="*/ 4951506 w 8079933"/>
              <a:gd name="connsiteY13822" fmla="*/ 1970849 h 4687251"/>
              <a:gd name="connsiteX13823" fmla="*/ 4951506 w 8079933"/>
              <a:gd name="connsiteY13823" fmla="*/ 1974472 h 4687251"/>
              <a:gd name="connsiteX13824" fmla="*/ 4951730 w 8079933"/>
              <a:gd name="connsiteY13824" fmla="*/ 1974682 h 4687251"/>
              <a:gd name="connsiteX13825" fmla="*/ 4952157 w 8079933"/>
              <a:gd name="connsiteY13825" fmla="*/ 1970740 h 4687251"/>
              <a:gd name="connsiteX13826" fmla="*/ 4960662 w 8079933"/>
              <a:gd name="connsiteY13826" fmla="*/ 1967468 h 4687251"/>
              <a:gd name="connsiteX13827" fmla="*/ 4400241 w 8079933"/>
              <a:gd name="connsiteY13827" fmla="*/ 1966301 h 4687251"/>
              <a:gd name="connsiteX13828" fmla="*/ 4400241 w 8079933"/>
              <a:gd name="connsiteY13828" fmla="*/ 1966302 h 4687251"/>
              <a:gd name="connsiteX13829" fmla="*/ 4401327 w 8079933"/>
              <a:gd name="connsiteY13829" fmla="*/ 1968468 h 4687251"/>
              <a:gd name="connsiteX13830" fmla="*/ 4401327 w 8079933"/>
              <a:gd name="connsiteY13830" fmla="*/ 1968469 h 4687251"/>
              <a:gd name="connsiteX13831" fmla="*/ 4401760 w 8079933"/>
              <a:gd name="connsiteY13831" fmla="*/ 1969226 h 4687251"/>
              <a:gd name="connsiteX13832" fmla="*/ 4403713 w 8079933"/>
              <a:gd name="connsiteY13832" fmla="*/ 1967277 h 4687251"/>
              <a:gd name="connsiteX13833" fmla="*/ 4403713 w 8079933"/>
              <a:gd name="connsiteY13833" fmla="*/ 1967277 h 4687251"/>
              <a:gd name="connsiteX13834" fmla="*/ 4401761 w 8079933"/>
              <a:gd name="connsiteY13834" fmla="*/ 1969225 h 4687251"/>
              <a:gd name="connsiteX13835" fmla="*/ 4400382 w 8079933"/>
              <a:gd name="connsiteY13835" fmla="*/ 1966572 h 4687251"/>
              <a:gd name="connsiteX13836" fmla="*/ 4401760 w 8079933"/>
              <a:gd name="connsiteY13836" fmla="*/ 1969225 h 4687251"/>
              <a:gd name="connsiteX13837" fmla="*/ 4401326 w 8079933"/>
              <a:gd name="connsiteY13837" fmla="*/ 1968466 h 4687251"/>
              <a:gd name="connsiteX13838" fmla="*/ 3784951 w 8079933"/>
              <a:gd name="connsiteY13838" fmla="*/ 1962728 h 4687251"/>
              <a:gd name="connsiteX13839" fmla="*/ 3780502 w 8079933"/>
              <a:gd name="connsiteY13839" fmla="*/ 1967167 h 4687251"/>
              <a:gd name="connsiteX13840" fmla="*/ 3767372 w 8079933"/>
              <a:gd name="connsiteY13840" fmla="*/ 1964460 h 4687251"/>
              <a:gd name="connsiteX13841" fmla="*/ 3759450 w 8079933"/>
              <a:gd name="connsiteY13841" fmla="*/ 1968575 h 4687251"/>
              <a:gd name="connsiteX13842" fmla="*/ 3757434 w 8079933"/>
              <a:gd name="connsiteY13842" fmla="*/ 1965186 h 4687251"/>
              <a:gd name="connsiteX13843" fmla="*/ 3757389 w 8079933"/>
              <a:gd name="connsiteY13843" fmla="*/ 1965543 h 4687251"/>
              <a:gd name="connsiteX13844" fmla="*/ 3759451 w 8079933"/>
              <a:gd name="connsiteY13844" fmla="*/ 1969008 h 4687251"/>
              <a:gd name="connsiteX13845" fmla="*/ 3767373 w 8079933"/>
              <a:gd name="connsiteY13845" fmla="*/ 1964894 h 4687251"/>
              <a:gd name="connsiteX13846" fmla="*/ 3780504 w 8079933"/>
              <a:gd name="connsiteY13846" fmla="*/ 1967601 h 4687251"/>
              <a:gd name="connsiteX13847" fmla="*/ 3785061 w 8079933"/>
              <a:gd name="connsiteY13847" fmla="*/ 1963162 h 4687251"/>
              <a:gd name="connsiteX13848" fmla="*/ 3795843 w 8079933"/>
              <a:gd name="connsiteY13848" fmla="*/ 1964493 h 4687251"/>
              <a:gd name="connsiteX13849" fmla="*/ 3795803 w 8079933"/>
              <a:gd name="connsiteY13849" fmla="*/ 1964135 h 4687251"/>
              <a:gd name="connsiteX13850" fmla="*/ 4408001 w 8079933"/>
              <a:gd name="connsiteY13850" fmla="*/ 1960901 h 4687251"/>
              <a:gd name="connsiteX13851" fmla="*/ 4403389 w 8079933"/>
              <a:gd name="connsiteY13851" fmla="*/ 1963378 h 4687251"/>
              <a:gd name="connsiteX13852" fmla="*/ 4403389 w 8079933"/>
              <a:gd name="connsiteY13852" fmla="*/ 1963378 h 4687251"/>
              <a:gd name="connsiteX13853" fmla="*/ 5546234 w 8079933"/>
              <a:gd name="connsiteY13853" fmla="*/ 1959597 h 4687251"/>
              <a:gd name="connsiteX13854" fmla="*/ 5547371 w 8079933"/>
              <a:gd name="connsiteY13854" fmla="*/ 1960779 h 4687251"/>
              <a:gd name="connsiteX13855" fmla="*/ 5549324 w 8079933"/>
              <a:gd name="connsiteY13855" fmla="*/ 1964244 h 4687251"/>
              <a:gd name="connsiteX13856" fmla="*/ 5549325 w 8079933"/>
              <a:gd name="connsiteY13856" fmla="*/ 1964244 h 4687251"/>
              <a:gd name="connsiteX13857" fmla="*/ 5547372 w 8079933"/>
              <a:gd name="connsiteY13857" fmla="*/ 1960780 h 4687251"/>
              <a:gd name="connsiteX13858" fmla="*/ 5547371 w 8079933"/>
              <a:gd name="connsiteY13858" fmla="*/ 1960779 h 4687251"/>
              <a:gd name="connsiteX13859" fmla="*/ 5547371 w 8079933"/>
              <a:gd name="connsiteY13859" fmla="*/ 1960779 h 4687251"/>
              <a:gd name="connsiteX13860" fmla="*/ 4415016 w 8079933"/>
              <a:gd name="connsiteY13860" fmla="*/ 1958196 h 4687251"/>
              <a:gd name="connsiteX13861" fmla="*/ 4414023 w 8079933"/>
              <a:gd name="connsiteY13861" fmla="*/ 1958939 h 4687251"/>
              <a:gd name="connsiteX13862" fmla="*/ 4409032 w 8079933"/>
              <a:gd name="connsiteY13862" fmla="*/ 1960347 h 4687251"/>
              <a:gd name="connsiteX13863" fmla="*/ 4409030 w 8079933"/>
              <a:gd name="connsiteY13863" fmla="*/ 1960348 h 4687251"/>
              <a:gd name="connsiteX13864" fmla="*/ 4414022 w 8079933"/>
              <a:gd name="connsiteY13864" fmla="*/ 1958940 h 4687251"/>
              <a:gd name="connsiteX13865" fmla="*/ 2309451 w 8079933"/>
              <a:gd name="connsiteY13865" fmla="*/ 1956990 h 4687251"/>
              <a:gd name="connsiteX13866" fmla="*/ 2309559 w 8079933"/>
              <a:gd name="connsiteY13866" fmla="*/ 1958289 h 4687251"/>
              <a:gd name="connsiteX13867" fmla="*/ 2307823 w 8079933"/>
              <a:gd name="connsiteY13867" fmla="*/ 1960346 h 4687251"/>
              <a:gd name="connsiteX13868" fmla="*/ 2306087 w 8079933"/>
              <a:gd name="connsiteY13868" fmla="*/ 1962836 h 4687251"/>
              <a:gd name="connsiteX13869" fmla="*/ 2310753 w 8079933"/>
              <a:gd name="connsiteY13869" fmla="*/ 1960779 h 4687251"/>
              <a:gd name="connsiteX13870" fmla="*/ 2313248 w 8079933"/>
              <a:gd name="connsiteY13870" fmla="*/ 1961971 h 4687251"/>
              <a:gd name="connsiteX13871" fmla="*/ 2317155 w 8079933"/>
              <a:gd name="connsiteY13871" fmla="*/ 1960563 h 4687251"/>
              <a:gd name="connsiteX13872" fmla="*/ 2314551 w 8079933"/>
              <a:gd name="connsiteY13872" fmla="*/ 1963053 h 4687251"/>
              <a:gd name="connsiteX13873" fmla="*/ 2308149 w 8079933"/>
              <a:gd name="connsiteY13873" fmla="*/ 1965002 h 4687251"/>
              <a:gd name="connsiteX13874" fmla="*/ 2306087 w 8079933"/>
              <a:gd name="connsiteY13874" fmla="*/ 1964569 h 4687251"/>
              <a:gd name="connsiteX13875" fmla="*/ 2304351 w 8079933"/>
              <a:gd name="connsiteY13875" fmla="*/ 1966193 h 4687251"/>
              <a:gd name="connsiteX13876" fmla="*/ 2297623 w 8079933"/>
              <a:gd name="connsiteY13876" fmla="*/ 1965868 h 4687251"/>
              <a:gd name="connsiteX13877" fmla="*/ 2294041 w 8079933"/>
              <a:gd name="connsiteY13877" fmla="*/ 1968033 h 4687251"/>
              <a:gd name="connsiteX13878" fmla="*/ 2286120 w 8079933"/>
              <a:gd name="connsiteY13878" fmla="*/ 1968141 h 4687251"/>
              <a:gd name="connsiteX13879" fmla="*/ 2281236 w 8079933"/>
              <a:gd name="connsiteY13879" fmla="*/ 1969657 h 4687251"/>
              <a:gd name="connsiteX13880" fmla="*/ 2276028 w 8079933"/>
              <a:gd name="connsiteY13880" fmla="*/ 1969874 h 4687251"/>
              <a:gd name="connsiteX13881" fmla="*/ 2274508 w 8079933"/>
              <a:gd name="connsiteY13881" fmla="*/ 1971390 h 4687251"/>
              <a:gd name="connsiteX13882" fmla="*/ 2271036 w 8079933"/>
              <a:gd name="connsiteY13882" fmla="*/ 1972472 h 4687251"/>
              <a:gd name="connsiteX13883" fmla="*/ 2272990 w 8079933"/>
              <a:gd name="connsiteY13883" fmla="*/ 1970740 h 4687251"/>
              <a:gd name="connsiteX13884" fmla="*/ 2269951 w 8079933"/>
              <a:gd name="connsiteY13884" fmla="*/ 1970524 h 4687251"/>
              <a:gd name="connsiteX13885" fmla="*/ 2269300 w 8079933"/>
              <a:gd name="connsiteY13885" fmla="*/ 1968467 h 4687251"/>
              <a:gd name="connsiteX13886" fmla="*/ 2272013 w 8079933"/>
              <a:gd name="connsiteY13886" fmla="*/ 1965110 h 4687251"/>
              <a:gd name="connsiteX13887" fmla="*/ 2277221 w 8079933"/>
              <a:gd name="connsiteY13887" fmla="*/ 1964244 h 4687251"/>
              <a:gd name="connsiteX13888" fmla="*/ 2284058 w 8079933"/>
              <a:gd name="connsiteY13888" fmla="*/ 1961429 h 4687251"/>
              <a:gd name="connsiteX13889" fmla="*/ 2289050 w 8079933"/>
              <a:gd name="connsiteY13889" fmla="*/ 1962620 h 4687251"/>
              <a:gd name="connsiteX13890" fmla="*/ 2295127 w 8079933"/>
              <a:gd name="connsiteY13890" fmla="*/ 1960779 h 4687251"/>
              <a:gd name="connsiteX13891" fmla="*/ 2302723 w 8079933"/>
              <a:gd name="connsiteY13891" fmla="*/ 1960779 h 4687251"/>
              <a:gd name="connsiteX13892" fmla="*/ 7134969 w 8079933"/>
              <a:gd name="connsiteY13892" fmla="*/ 1956774 h 4687251"/>
              <a:gd name="connsiteX13893" fmla="*/ 7135729 w 8079933"/>
              <a:gd name="connsiteY13893" fmla="*/ 1960131 h 4687251"/>
              <a:gd name="connsiteX13894" fmla="*/ 7135402 w 8079933"/>
              <a:gd name="connsiteY13894" fmla="*/ 1963595 h 4687251"/>
              <a:gd name="connsiteX13895" fmla="*/ 7138659 w 8079933"/>
              <a:gd name="connsiteY13895" fmla="*/ 1964678 h 4687251"/>
              <a:gd name="connsiteX13896" fmla="*/ 7139527 w 8079933"/>
              <a:gd name="connsiteY13896" fmla="*/ 1967168 h 4687251"/>
              <a:gd name="connsiteX13897" fmla="*/ 7138333 w 8079933"/>
              <a:gd name="connsiteY13897" fmla="*/ 1972473 h 4687251"/>
              <a:gd name="connsiteX13898" fmla="*/ 7135729 w 8079933"/>
              <a:gd name="connsiteY13898" fmla="*/ 1975072 h 4687251"/>
              <a:gd name="connsiteX13899" fmla="*/ 7133992 w 8079933"/>
              <a:gd name="connsiteY13899" fmla="*/ 1975613 h 4687251"/>
              <a:gd name="connsiteX13900" fmla="*/ 7134209 w 8079933"/>
              <a:gd name="connsiteY13900" fmla="*/ 1971066 h 4687251"/>
              <a:gd name="connsiteX13901" fmla="*/ 7135729 w 8079933"/>
              <a:gd name="connsiteY13901" fmla="*/ 1968359 h 4687251"/>
              <a:gd name="connsiteX13902" fmla="*/ 7134643 w 8079933"/>
              <a:gd name="connsiteY13902" fmla="*/ 1967601 h 4687251"/>
              <a:gd name="connsiteX13903" fmla="*/ 7131713 w 8079933"/>
              <a:gd name="connsiteY13903" fmla="*/ 1969333 h 4687251"/>
              <a:gd name="connsiteX13904" fmla="*/ 7131279 w 8079933"/>
              <a:gd name="connsiteY13904" fmla="*/ 1966302 h 4687251"/>
              <a:gd name="connsiteX13905" fmla="*/ 7133341 w 8079933"/>
              <a:gd name="connsiteY13905" fmla="*/ 1958398 h 4687251"/>
              <a:gd name="connsiteX13906" fmla="*/ 4399338 w 8079933"/>
              <a:gd name="connsiteY13906" fmla="*/ 1956376 h 4687251"/>
              <a:gd name="connsiteX13907" fmla="*/ 4400350 w 8079933"/>
              <a:gd name="connsiteY13907" fmla="*/ 1958940 h 4687251"/>
              <a:gd name="connsiteX13908" fmla="*/ 4400241 w 8079933"/>
              <a:gd name="connsiteY13908" fmla="*/ 1966301 h 4687251"/>
              <a:gd name="connsiteX13909" fmla="*/ 4400241 w 8079933"/>
              <a:gd name="connsiteY13909" fmla="*/ 1966302 h 4687251"/>
              <a:gd name="connsiteX13910" fmla="*/ 4400350 w 8079933"/>
              <a:gd name="connsiteY13910" fmla="*/ 1958939 h 4687251"/>
              <a:gd name="connsiteX13911" fmla="*/ 5478740 w 8079933"/>
              <a:gd name="connsiteY13911" fmla="*/ 1955772 h 4687251"/>
              <a:gd name="connsiteX13912" fmla="*/ 5486167 w 8079933"/>
              <a:gd name="connsiteY13912" fmla="*/ 1956774 h 4687251"/>
              <a:gd name="connsiteX13913" fmla="*/ 5486167 w 8079933"/>
              <a:gd name="connsiteY13913" fmla="*/ 1956774 h 4687251"/>
              <a:gd name="connsiteX13914" fmla="*/ 5478136 w 8079933"/>
              <a:gd name="connsiteY13914" fmla="*/ 1955691 h 4687251"/>
              <a:gd name="connsiteX13915" fmla="*/ 5471083 w 8079933"/>
              <a:gd name="connsiteY13915" fmla="*/ 1957099 h 4687251"/>
              <a:gd name="connsiteX13916" fmla="*/ 5460340 w 8079933"/>
              <a:gd name="connsiteY13916" fmla="*/ 1962837 h 4687251"/>
              <a:gd name="connsiteX13917" fmla="*/ 5460341 w 8079933"/>
              <a:gd name="connsiteY13917" fmla="*/ 1962837 h 4687251"/>
              <a:gd name="connsiteX13918" fmla="*/ 5471084 w 8079933"/>
              <a:gd name="connsiteY13918" fmla="*/ 1957099 h 4687251"/>
              <a:gd name="connsiteX13919" fmla="*/ 5478138 w 8079933"/>
              <a:gd name="connsiteY13919" fmla="*/ 1955691 h 4687251"/>
              <a:gd name="connsiteX13920" fmla="*/ 4982976 w 8079933"/>
              <a:gd name="connsiteY13920" fmla="*/ 1953094 h 4687251"/>
              <a:gd name="connsiteX13921" fmla="*/ 4982976 w 8079933"/>
              <a:gd name="connsiteY13921" fmla="*/ 1954393 h 4687251"/>
              <a:gd name="connsiteX13922" fmla="*/ 4980350 w 8079933"/>
              <a:gd name="connsiteY13922" fmla="*/ 1954682 h 4687251"/>
              <a:gd name="connsiteX13923" fmla="*/ 4981878 w 8079933"/>
              <a:gd name="connsiteY13923" fmla="*/ 1955597 h 4687251"/>
              <a:gd name="connsiteX13924" fmla="*/ 4985364 w 8079933"/>
              <a:gd name="connsiteY13924" fmla="*/ 1954825 h 4687251"/>
              <a:gd name="connsiteX13925" fmla="*/ 4983302 w 8079933"/>
              <a:gd name="connsiteY13925" fmla="*/ 1962187 h 4687251"/>
              <a:gd name="connsiteX13926" fmla="*/ 4989487 w 8079933"/>
              <a:gd name="connsiteY13926" fmla="*/ 1965977 h 4687251"/>
              <a:gd name="connsiteX13927" fmla="*/ 4992960 w 8079933"/>
              <a:gd name="connsiteY13927" fmla="*/ 1970740 h 4687251"/>
              <a:gd name="connsiteX13928" fmla="*/ 4991567 w 8079933"/>
              <a:gd name="connsiteY13928" fmla="*/ 1979291 h 4687251"/>
              <a:gd name="connsiteX13929" fmla="*/ 4992200 w 8079933"/>
              <a:gd name="connsiteY13929" fmla="*/ 1979618 h 4687251"/>
              <a:gd name="connsiteX13930" fmla="*/ 4993610 w 8079933"/>
              <a:gd name="connsiteY13930" fmla="*/ 1971065 h 4687251"/>
              <a:gd name="connsiteX13931" fmla="*/ 4990138 w 8079933"/>
              <a:gd name="connsiteY13931" fmla="*/ 1966193 h 4687251"/>
              <a:gd name="connsiteX13932" fmla="*/ 4983952 w 8079933"/>
              <a:gd name="connsiteY13932" fmla="*/ 1962403 h 4687251"/>
              <a:gd name="connsiteX13933" fmla="*/ 4986340 w 8079933"/>
              <a:gd name="connsiteY13933" fmla="*/ 1953850 h 4687251"/>
              <a:gd name="connsiteX13934" fmla="*/ 4990530 w 8079933"/>
              <a:gd name="connsiteY13934" fmla="*/ 1954248 h 4687251"/>
              <a:gd name="connsiteX13935" fmla="*/ 4989920 w 8079933"/>
              <a:gd name="connsiteY13935" fmla="*/ 1953743 h 4687251"/>
              <a:gd name="connsiteX13936" fmla="*/ 4438440 w 8079933"/>
              <a:gd name="connsiteY13936" fmla="*/ 1952984 h 4687251"/>
              <a:gd name="connsiteX13937" fmla="*/ 4431712 w 8079933"/>
              <a:gd name="connsiteY13937" fmla="*/ 1954500 h 4687251"/>
              <a:gd name="connsiteX13938" fmla="*/ 4427262 w 8079933"/>
              <a:gd name="connsiteY13938" fmla="*/ 1953742 h 4687251"/>
              <a:gd name="connsiteX13939" fmla="*/ 4421530 w 8079933"/>
              <a:gd name="connsiteY13939" fmla="*/ 1955139 h 4687251"/>
              <a:gd name="connsiteX13940" fmla="*/ 4427261 w 8079933"/>
              <a:gd name="connsiteY13940" fmla="*/ 1953743 h 4687251"/>
              <a:gd name="connsiteX13941" fmla="*/ 4431711 w 8079933"/>
              <a:gd name="connsiteY13941" fmla="*/ 1954501 h 4687251"/>
              <a:gd name="connsiteX13942" fmla="*/ 4438438 w 8079933"/>
              <a:gd name="connsiteY13942" fmla="*/ 1952985 h 4687251"/>
              <a:gd name="connsiteX13943" fmla="*/ 4441911 w 8079933"/>
              <a:gd name="connsiteY13943" fmla="*/ 1952985 h 4687251"/>
              <a:gd name="connsiteX13944" fmla="*/ 4451569 w 8079933"/>
              <a:gd name="connsiteY13944" fmla="*/ 1960456 h 4687251"/>
              <a:gd name="connsiteX13945" fmla="*/ 4457863 w 8079933"/>
              <a:gd name="connsiteY13945" fmla="*/ 1971716 h 4687251"/>
              <a:gd name="connsiteX13946" fmla="*/ 4458731 w 8079933"/>
              <a:gd name="connsiteY13946" fmla="*/ 1977346 h 4687251"/>
              <a:gd name="connsiteX13947" fmla="*/ 4459599 w 8079933"/>
              <a:gd name="connsiteY13947" fmla="*/ 1982109 h 4687251"/>
              <a:gd name="connsiteX13948" fmla="*/ 4459599 w 8079933"/>
              <a:gd name="connsiteY13948" fmla="*/ 1982109 h 4687251"/>
              <a:gd name="connsiteX13949" fmla="*/ 4458731 w 8079933"/>
              <a:gd name="connsiteY13949" fmla="*/ 1977345 h 4687251"/>
              <a:gd name="connsiteX13950" fmla="*/ 4457863 w 8079933"/>
              <a:gd name="connsiteY13950" fmla="*/ 1971714 h 4687251"/>
              <a:gd name="connsiteX13951" fmla="*/ 4451570 w 8079933"/>
              <a:gd name="connsiteY13951" fmla="*/ 1960455 h 4687251"/>
              <a:gd name="connsiteX13952" fmla="*/ 4441912 w 8079933"/>
              <a:gd name="connsiteY13952" fmla="*/ 1952984 h 4687251"/>
              <a:gd name="connsiteX13953" fmla="*/ 5037341 w 8079933"/>
              <a:gd name="connsiteY13953" fmla="*/ 1952444 h 4687251"/>
              <a:gd name="connsiteX13954" fmla="*/ 5036789 w 8079933"/>
              <a:gd name="connsiteY13954" fmla="*/ 1953109 h 4687251"/>
              <a:gd name="connsiteX13955" fmla="*/ 5040815 w 8079933"/>
              <a:gd name="connsiteY13955" fmla="*/ 1956015 h 4687251"/>
              <a:gd name="connsiteX13956" fmla="*/ 5048195 w 8079933"/>
              <a:gd name="connsiteY13956" fmla="*/ 1965651 h 4687251"/>
              <a:gd name="connsiteX13957" fmla="*/ 5048520 w 8079933"/>
              <a:gd name="connsiteY13957" fmla="*/ 1970307 h 4687251"/>
              <a:gd name="connsiteX13958" fmla="*/ 5051667 w 8079933"/>
              <a:gd name="connsiteY13958" fmla="*/ 1976911 h 4687251"/>
              <a:gd name="connsiteX13959" fmla="*/ 5059697 w 8079933"/>
              <a:gd name="connsiteY13959" fmla="*/ 1982650 h 4687251"/>
              <a:gd name="connsiteX13960" fmla="*/ 5060565 w 8079933"/>
              <a:gd name="connsiteY13960" fmla="*/ 1986439 h 4687251"/>
              <a:gd name="connsiteX13961" fmla="*/ 5065774 w 8079933"/>
              <a:gd name="connsiteY13961" fmla="*/ 1990337 h 4687251"/>
              <a:gd name="connsiteX13962" fmla="*/ 5067010 w 8079933"/>
              <a:gd name="connsiteY13962" fmla="*/ 1990316 h 4687251"/>
              <a:gd name="connsiteX13963" fmla="*/ 5061975 w 8079933"/>
              <a:gd name="connsiteY13963" fmla="*/ 1986548 h 4687251"/>
              <a:gd name="connsiteX13964" fmla="*/ 5061107 w 8079933"/>
              <a:gd name="connsiteY13964" fmla="*/ 1982759 h 4687251"/>
              <a:gd name="connsiteX13965" fmla="*/ 5052968 w 8079933"/>
              <a:gd name="connsiteY13965" fmla="*/ 1977020 h 4687251"/>
              <a:gd name="connsiteX13966" fmla="*/ 5049821 w 8079933"/>
              <a:gd name="connsiteY13966" fmla="*/ 1970308 h 4687251"/>
              <a:gd name="connsiteX13967" fmla="*/ 5049821 w 8079933"/>
              <a:gd name="connsiteY13967" fmla="*/ 1965652 h 4687251"/>
              <a:gd name="connsiteX13968" fmla="*/ 5042442 w 8079933"/>
              <a:gd name="connsiteY13968" fmla="*/ 1956016 h 4687251"/>
              <a:gd name="connsiteX13969" fmla="*/ 4181255 w 8079933"/>
              <a:gd name="connsiteY13969" fmla="*/ 1951793 h 4687251"/>
              <a:gd name="connsiteX13970" fmla="*/ 4182123 w 8079933"/>
              <a:gd name="connsiteY13970" fmla="*/ 1953959 h 4687251"/>
              <a:gd name="connsiteX13971" fmla="*/ 4179410 w 8079933"/>
              <a:gd name="connsiteY13971" fmla="*/ 1952659 h 4687251"/>
              <a:gd name="connsiteX13972" fmla="*/ 2348408 w 8079933"/>
              <a:gd name="connsiteY13972" fmla="*/ 1948437 h 4687251"/>
              <a:gd name="connsiteX13973" fmla="*/ 2352314 w 8079933"/>
              <a:gd name="connsiteY13973" fmla="*/ 1948437 h 4687251"/>
              <a:gd name="connsiteX13974" fmla="*/ 2354484 w 8079933"/>
              <a:gd name="connsiteY13974" fmla="*/ 1950710 h 4687251"/>
              <a:gd name="connsiteX13975" fmla="*/ 2351120 w 8079933"/>
              <a:gd name="connsiteY13975" fmla="*/ 1950710 h 4687251"/>
              <a:gd name="connsiteX13976" fmla="*/ 2349058 w 8079933"/>
              <a:gd name="connsiteY13976" fmla="*/ 1952659 h 4687251"/>
              <a:gd name="connsiteX13977" fmla="*/ 2346455 w 8079933"/>
              <a:gd name="connsiteY13977" fmla="*/ 1952984 h 4687251"/>
              <a:gd name="connsiteX13978" fmla="*/ 2345478 w 8079933"/>
              <a:gd name="connsiteY13978" fmla="*/ 1951143 h 4687251"/>
              <a:gd name="connsiteX13979" fmla="*/ 2347431 w 8079933"/>
              <a:gd name="connsiteY13979" fmla="*/ 1949736 h 4687251"/>
              <a:gd name="connsiteX13980" fmla="*/ 3995311 w 8079933"/>
              <a:gd name="connsiteY13980" fmla="*/ 1947272 h 4687251"/>
              <a:gd name="connsiteX13981" fmla="*/ 3984683 w 8079933"/>
              <a:gd name="connsiteY13981" fmla="*/ 1948302 h 4687251"/>
              <a:gd name="connsiteX13982" fmla="*/ 3984731 w 8079933"/>
              <a:gd name="connsiteY13982" fmla="*/ 1948328 h 4687251"/>
              <a:gd name="connsiteX13983" fmla="*/ 3952473 w 8079933"/>
              <a:gd name="connsiteY13983" fmla="*/ 1946933 h 4687251"/>
              <a:gd name="connsiteX13984" fmla="*/ 3952171 w 8079933"/>
              <a:gd name="connsiteY13984" fmla="*/ 1947243 h 4687251"/>
              <a:gd name="connsiteX13985" fmla="*/ 3952176 w 8079933"/>
              <a:gd name="connsiteY13985" fmla="*/ 1947245 h 4687251"/>
              <a:gd name="connsiteX13986" fmla="*/ 4966264 w 8079933"/>
              <a:gd name="connsiteY13986" fmla="*/ 1946922 h 4687251"/>
              <a:gd name="connsiteX13987" fmla="*/ 4940865 w 8079933"/>
              <a:gd name="connsiteY13987" fmla="*/ 1955854 h 4687251"/>
              <a:gd name="connsiteX13988" fmla="*/ 4942825 w 8079933"/>
              <a:gd name="connsiteY13988" fmla="*/ 1956990 h 4687251"/>
              <a:gd name="connsiteX13989" fmla="*/ 4968091 w 8079933"/>
              <a:gd name="connsiteY13989" fmla="*/ 1948105 h 4687251"/>
              <a:gd name="connsiteX13990" fmla="*/ 4386855 w 8079933"/>
              <a:gd name="connsiteY13990" fmla="*/ 1945129 h 4687251"/>
              <a:gd name="connsiteX13991" fmla="*/ 4386854 w 8079933"/>
              <a:gd name="connsiteY13991" fmla="*/ 1945130 h 4687251"/>
              <a:gd name="connsiteX13992" fmla="*/ 4388630 w 8079933"/>
              <a:gd name="connsiteY13992" fmla="*/ 1946380 h 4687251"/>
              <a:gd name="connsiteX13993" fmla="*/ 4391777 w 8079933"/>
              <a:gd name="connsiteY13993" fmla="*/ 1951685 h 4687251"/>
              <a:gd name="connsiteX13994" fmla="*/ 4394056 w 8079933"/>
              <a:gd name="connsiteY13994" fmla="*/ 1952227 h 4687251"/>
              <a:gd name="connsiteX13995" fmla="*/ 4398939 w 8079933"/>
              <a:gd name="connsiteY13995" fmla="*/ 1955366 h 4687251"/>
              <a:gd name="connsiteX13996" fmla="*/ 4398939 w 8079933"/>
              <a:gd name="connsiteY13996" fmla="*/ 1955366 h 4687251"/>
              <a:gd name="connsiteX13997" fmla="*/ 4394056 w 8079933"/>
              <a:gd name="connsiteY13997" fmla="*/ 1952227 h 4687251"/>
              <a:gd name="connsiteX13998" fmla="*/ 4391777 w 8079933"/>
              <a:gd name="connsiteY13998" fmla="*/ 1951685 h 4687251"/>
              <a:gd name="connsiteX13999" fmla="*/ 4388631 w 8079933"/>
              <a:gd name="connsiteY13999" fmla="*/ 1946380 h 4687251"/>
              <a:gd name="connsiteX14000" fmla="*/ 3977569 w 8079933"/>
              <a:gd name="connsiteY14000" fmla="*/ 1944540 h 4687251"/>
              <a:gd name="connsiteX14001" fmla="*/ 3971227 w 8079933"/>
              <a:gd name="connsiteY14001" fmla="*/ 1945162 h 4687251"/>
              <a:gd name="connsiteX14002" fmla="*/ 3971274 w 8079933"/>
              <a:gd name="connsiteY14002" fmla="*/ 1945188 h 4687251"/>
              <a:gd name="connsiteX14003" fmla="*/ 3977601 w 8079933"/>
              <a:gd name="connsiteY14003" fmla="*/ 1944557 h 4687251"/>
              <a:gd name="connsiteX14004" fmla="*/ 4440653 w 8079933"/>
              <a:gd name="connsiteY14004" fmla="*/ 1943311 h 4687251"/>
              <a:gd name="connsiteX14005" fmla="*/ 4440718 w 8079933"/>
              <a:gd name="connsiteY14005" fmla="*/ 1943782 h 4687251"/>
              <a:gd name="connsiteX14006" fmla="*/ 4442804 w 8079933"/>
              <a:gd name="connsiteY14006" fmla="*/ 1947126 h 4687251"/>
              <a:gd name="connsiteX14007" fmla="*/ 4440718 w 8079933"/>
              <a:gd name="connsiteY14007" fmla="*/ 1943781 h 4687251"/>
              <a:gd name="connsiteX14008" fmla="*/ 5535868 w 8079933"/>
              <a:gd name="connsiteY14008" fmla="*/ 1943131 h 4687251"/>
              <a:gd name="connsiteX14009" fmla="*/ 5535869 w 8079933"/>
              <a:gd name="connsiteY14009" fmla="*/ 1943132 h 4687251"/>
              <a:gd name="connsiteX14010" fmla="*/ 5540337 w 8079933"/>
              <a:gd name="connsiteY14010" fmla="*/ 1944451 h 4687251"/>
              <a:gd name="connsiteX14011" fmla="*/ 5295685 w 8079933"/>
              <a:gd name="connsiteY14011" fmla="*/ 1942049 h 4687251"/>
              <a:gd name="connsiteX14012" fmla="*/ 5296264 w 8079933"/>
              <a:gd name="connsiteY14012" fmla="*/ 1943890 h 4687251"/>
              <a:gd name="connsiteX14013" fmla="*/ 5314169 w 8079933"/>
              <a:gd name="connsiteY14013" fmla="*/ 1953526 h 4687251"/>
              <a:gd name="connsiteX14014" fmla="*/ 5328276 w 8079933"/>
              <a:gd name="connsiteY14014" fmla="*/ 1960671 h 4687251"/>
              <a:gd name="connsiteX14015" fmla="*/ 5332182 w 8079933"/>
              <a:gd name="connsiteY14015" fmla="*/ 1958290 h 4687251"/>
              <a:gd name="connsiteX14016" fmla="*/ 5336957 w 8079933"/>
              <a:gd name="connsiteY14016" fmla="*/ 1959048 h 4687251"/>
              <a:gd name="connsiteX14017" fmla="*/ 5346941 w 8079933"/>
              <a:gd name="connsiteY14017" fmla="*/ 1966193 h 4687251"/>
              <a:gd name="connsiteX14018" fmla="*/ 5347271 w 8079933"/>
              <a:gd name="connsiteY14018" fmla="*/ 1967328 h 4687251"/>
              <a:gd name="connsiteX14019" fmla="*/ 5346941 w 8079933"/>
              <a:gd name="connsiteY14019" fmla="*/ 1966193 h 4687251"/>
              <a:gd name="connsiteX14020" fmla="*/ 5336957 w 8079933"/>
              <a:gd name="connsiteY14020" fmla="*/ 1959048 h 4687251"/>
              <a:gd name="connsiteX14021" fmla="*/ 5332182 w 8079933"/>
              <a:gd name="connsiteY14021" fmla="*/ 1958289 h 4687251"/>
              <a:gd name="connsiteX14022" fmla="*/ 5328276 w 8079933"/>
              <a:gd name="connsiteY14022" fmla="*/ 1960671 h 4687251"/>
              <a:gd name="connsiteX14023" fmla="*/ 5314169 w 8079933"/>
              <a:gd name="connsiteY14023" fmla="*/ 1953526 h 4687251"/>
              <a:gd name="connsiteX14024" fmla="*/ 5296264 w 8079933"/>
              <a:gd name="connsiteY14024" fmla="*/ 1943889 h 4687251"/>
              <a:gd name="connsiteX14025" fmla="*/ 5559958 w 8079933"/>
              <a:gd name="connsiteY14025" fmla="*/ 1940749 h 4687251"/>
              <a:gd name="connsiteX14026" fmla="*/ 5559307 w 8079933"/>
              <a:gd name="connsiteY14026" fmla="*/ 1947462 h 4687251"/>
              <a:gd name="connsiteX14027" fmla="*/ 5555183 w 8079933"/>
              <a:gd name="connsiteY14027" fmla="*/ 1951901 h 4687251"/>
              <a:gd name="connsiteX14028" fmla="*/ 5555185 w 8079933"/>
              <a:gd name="connsiteY14028" fmla="*/ 1951901 h 4687251"/>
              <a:gd name="connsiteX14029" fmla="*/ 5559308 w 8079933"/>
              <a:gd name="connsiteY14029" fmla="*/ 1947462 h 4687251"/>
              <a:gd name="connsiteX14030" fmla="*/ 5559959 w 8079933"/>
              <a:gd name="connsiteY14030" fmla="*/ 1940750 h 4687251"/>
              <a:gd name="connsiteX14031" fmla="*/ 5562998 w 8079933"/>
              <a:gd name="connsiteY14031" fmla="*/ 1941399 h 4687251"/>
              <a:gd name="connsiteX14032" fmla="*/ 5562997 w 8079933"/>
              <a:gd name="connsiteY14032" fmla="*/ 1941399 h 4687251"/>
              <a:gd name="connsiteX14033" fmla="*/ 5531311 w 8079933"/>
              <a:gd name="connsiteY14033" fmla="*/ 1940425 h 4687251"/>
              <a:gd name="connsiteX14034" fmla="*/ 5531311 w 8079933"/>
              <a:gd name="connsiteY14034" fmla="*/ 1940425 h 4687251"/>
              <a:gd name="connsiteX14035" fmla="*/ 5535508 w 8079933"/>
              <a:gd name="connsiteY14035" fmla="*/ 1942918 h 4687251"/>
              <a:gd name="connsiteX14036" fmla="*/ 4166821 w 8079933"/>
              <a:gd name="connsiteY14036" fmla="*/ 1935444 h 4687251"/>
              <a:gd name="connsiteX14037" fmla="*/ 4169101 w 8079933"/>
              <a:gd name="connsiteY14037" fmla="*/ 1938150 h 4687251"/>
              <a:gd name="connsiteX14038" fmla="*/ 4169643 w 8079933"/>
              <a:gd name="connsiteY14038" fmla="*/ 1940750 h 4687251"/>
              <a:gd name="connsiteX14039" fmla="*/ 4165845 w 8079933"/>
              <a:gd name="connsiteY14039" fmla="*/ 1940533 h 4687251"/>
              <a:gd name="connsiteX14040" fmla="*/ 4160961 w 8079933"/>
              <a:gd name="connsiteY14040" fmla="*/ 1942265 h 4687251"/>
              <a:gd name="connsiteX14041" fmla="*/ 4158357 w 8079933"/>
              <a:gd name="connsiteY14041" fmla="*/ 1941183 h 4687251"/>
              <a:gd name="connsiteX14042" fmla="*/ 4160419 w 8079933"/>
              <a:gd name="connsiteY14042" fmla="*/ 1939017 h 4687251"/>
              <a:gd name="connsiteX14043" fmla="*/ 4165736 w 8079933"/>
              <a:gd name="connsiteY14043" fmla="*/ 1936960 h 4687251"/>
              <a:gd name="connsiteX14044" fmla="*/ 5234992 w 8079933"/>
              <a:gd name="connsiteY14044" fmla="*/ 1934992 h 4687251"/>
              <a:gd name="connsiteX14045" fmla="*/ 5232348 w 8079933"/>
              <a:gd name="connsiteY14045" fmla="*/ 1935228 h 4687251"/>
              <a:gd name="connsiteX14046" fmla="*/ 5227247 w 8079933"/>
              <a:gd name="connsiteY14046" fmla="*/ 1945622 h 4687251"/>
              <a:gd name="connsiteX14047" fmla="*/ 5227247 w 8079933"/>
              <a:gd name="connsiteY14047" fmla="*/ 1945622 h 4687251"/>
              <a:gd name="connsiteX14048" fmla="*/ 5232348 w 8079933"/>
              <a:gd name="connsiteY14048" fmla="*/ 1935228 h 4687251"/>
              <a:gd name="connsiteX14049" fmla="*/ 4308653 w 8079933"/>
              <a:gd name="connsiteY14049" fmla="*/ 1934254 h 4687251"/>
              <a:gd name="connsiteX14050" fmla="*/ 4316900 w 8079933"/>
              <a:gd name="connsiteY14050" fmla="*/ 1934254 h 4687251"/>
              <a:gd name="connsiteX14051" fmla="*/ 4320047 w 8079933"/>
              <a:gd name="connsiteY14051" fmla="*/ 1937177 h 4687251"/>
              <a:gd name="connsiteX14052" fmla="*/ 4312776 w 8079933"/>
              <a:gd name="connsiteY14052" fmla="*/ 1936527 h 4687251"/>
              <a:gd name="connsiteX14053" fmla="*/ 4142514 w 8079933"/>
              <a:gd name="connsiteY14053" fmla="*/ 1931979 h 4687251"/>
              <a:gd name="connsiteX14054" fmla="*/ 4144793 w 8079933"/>
              <a:gd name="connsiteY14054" fmla="*/ 1931979 h 4687251"/>
              <a:gd name="connsiteX14055" fmla="*/ 4146095 w 8079933"/>
              <a:gd name="connsiteY14055" fmla="*/ 1938908 h 4687251"/>
              <a:gd name="connsiteX14056" fmla="*/ 4145552 w 8079933"/>
              <a:gd name="connsiteY14056" fmla="*/ 1944971 h 4687251"/>
              <a:gd name="connsiteX14057" fmla="*/ 4148048 w 8079933"/>
              <a:gd name="connsiteY14057" fmla="*/ 1954608 h 4687251"/>
              <a:gd name="connsiteX14058" fmla="*/ 4145227 w 8079933"/>
              <a:gd name="connsiteY14058" fmla="*/ 1965543 h 4687251"/>
              <a:gd name="connsiteX14059" fmla="*/ 4145335 w 8079933"/>
              <a:gd name="connsiteY14059" fmla="*/ 1971715 h 4687251"/>
              <a:gd name="connsiteX14060" fmla="*/ 4142839 w 8079933"/>
              <a:gd name="connsiteY14060" fmla="*/ 1979293 h 4687251"/>
              <a:gd name="connsiteX14061" fmla="*/ 4138281 w 8079933"/>
              <a:gd name="connsiteY14061" fmla="*/ 1981459 h 4687251"/>
              <a:gd name="connsiteX14062" fmla="*/ 4131119 w 8079933"/>
              <a:gd name="connsiteY14062" fmla="*/ 1978428 h 4687251"/>
              <a:gd name="connsiteX14063" fmla="*/ 4129817 w 8079933"/>
              <a:gd name="connsiteY14063" fmla="*/ 1976262 h 4687251"/>
              <a:gd name="connsiteX14064" fmla="*/ 4131445 w 8079933"/>
              <a:gd name="connsiteY14064" fmla="*/ 1973663 h 4687251"/>
              <a:gd name="connsiteX14065" fmla="*/ 4133290 w 8079933"/>
              <a:gd name="connsiteY14065" fmla="*/ 1973989 h 4687251"/>
              <a:gd name="connsiteX14066" fmla="*/ 4131987 w 8079933"/>
              <a:gd name="connsiteY14066" fmla="*/ 1971931 h 4687251"/>
              <a:gd name="connsiteX14067" fmla="*/ 4130359 w 8079933"/>
              <a:gd name="connsiteY14067" fmla="*/ 1971931 h 4687251"/>
              <a:gd name="connsiteX14068" fmla="*/ 4130577 w 8079933"/>
              <a:gd name="connsiteY14068" fmla="*/ 1968683 h 4687251"/>
              <a:gd name="connsiteX14069" fmla="*/ 4127321 w 8079933"/>
              <a:gd name="connsiteY14069" fmla="*/ 1966842 h 4687251"/>
              <a:gd name="connsiteX14070" fmla="*/ 4125802 w 8079933"/>
              <a:gd name="connsiteY14070" fmla="*/ 1964460 h 4687251"/>
              <a:gd name="connsiteX14071" fmla="*/ 4127646 w 8079933"/>
              <a:gd name="connsiteY14071" fmla="*/ 1963377 h 4687251"/>
              <a:gd name="connsiteX14072" fmla="*/ 4127646 w 8079933"/>
              <a:gd name="connsiteY14072" fmla="*/ 1961645 h 4687251"/>
              <a:gd name="connsiteX14073" fmla="*/ 4124174 w 8079933"/>
              <a:gd name="connsiteY14073" fmla="*/ 1959805 h 4687251"/>
              <a:gd name="connsiteX14074" fmla="*/ 4123306 w 8079933"/>
              <a:gd name="connsiteY14074" fmla="*/ 1956340 h 4687251"/>
              <a:gd name="connsiteX14075" fmla="*/ 4126019 w 8079933"/>
              <a:gd name="connsiteY14075" fmla="*/ 1956340 h 4687251"/>
              <a:gd name="connsiteX14076" fmla="*/ 4126996 w 8079933"/>
              <a:gd name="connsiteY14076" fmla="*/ 1954175 h 4687251"/>
              <a:gd name="connsiteX14077" fmla="*/ 4124174 w 8079933"/>
              <a:gd name="connsiteY14077" fmla="*/ 1951685 h 4687251"/>
              <a:gd name="connsiteX14078" fmla="*/ 4127538 w 8079933"/>
              <a:gd name="connsiteY14078" fmla="*/ 1945946 h 4687251"/>
              <a:gd name="connsiteX14079" fmla="*/ 4134700 w 8079933"/>
              <a:gd name="connsiteY14079" fmla="*/ 1943348 h 4687251"/>
              <a:gd name="connsiteX14080" fmla="*/ 4137630 w 8079933"/>
              <a:gd name="connsiteY14080" fmla="*/ 1940532 h 4687251"/>
              <a:gd name="connsiteX14081" fmla="*/ 4140560 w 8079933"/>
              <a:gd name="connsiteY14081" fmla="*/ 1943564 h 4687251"/>
              <a:gd name="connsiteX14082" fmla="*/ 4142296 w 8079933"/>
              <a:gd name="connsiteY14082" fmla="*/ 1943564 h 4687251"/>
              <a:gd name="connsiteX14083" fmla="*/ 4143056 w 8079933"/>
              <a:gd name="connsiteY14083" fmla="*/ 1939233 h 4687251"/>
              <a:gd name="connsiteX14084" fmla="*/ 4141537 w 8079933"/>
              <a:gd name="connsiteY14084" fmla="*/ 1936201 h 4687251"/>
              <a:gd name="connsiteX14085" fmla="*/ 4383096 w 8079933"/>
              <a:gd name="connsiteY14085" fmla="*/ 1931748 h 4687251"/>
              <a:gd name="connsiteX14086" fmla="*/ 4384724 w 8079933"/>
              <a:gd name="connsiteY14086" fmla="*/ 1933279 h 4687251"/>
              <a:gd name="connsiteX14087" fmla="*/ 4390692 w 8079933"/>
              <a:gd name="connsiteY14087" fmla="*/ 1934362 h 4687251"/>
              <a:gd name="connsiteX14088" fmla="*/ 4390711 w 8079933"/>
              <a:gd name="connsiteY14088" fmla="*/ 1934676 h 4687251"/>
              <a:gd name="connsiteX14089" fmla="*/ 4390692 w 8079933"/>
              <a:gd name="connsiteY14089" fmla="*/ 1934362 h 4687251"/>
              <a:gd name="connsiteX14090" fmla="*/ 4384724 w 8079933"/>
              <a:gd name="connsiteY14090" fmla="*/ 1933279 h 4687251"/>
              <a:gd name="connsiteX14091" fmla="*/ 4303119 w 8079933"/>
              <a:gd name="connsiteY14091" fmla="*/ 1929274 h 4687251"/>
              <a:gd name="connsiteX14092" fmla="*/ 4315381 w 8079933"/>
              <a:gd name="connsiteY14092" fmla="*/ 1929490 h 4687251"/>
              <a:gd name="connsiteX14093" fmla="*/ 4310389 w 8079933"/>
              <a:gd name="connsiteY14093" fmla="*/ 1931872 h 4687251"/>
              <a:gd name="connsiteX14094" fmla="*/ 5246100 w 8079933"/>
              <a:gd name="connsiteY14094" fmla="*/ 1927209 h 4687251"/>
              <a:gd name="connsiteX14095" fmla="*/ 5243416 w 8079933"/>
              <a:gd name="connsiteY14095" fmla="*/ 1928732 h 4687251"/>
              <a:gd name="connsiteX14096" fmla="*/ 5242035 w 8079933"/>
              <a:gd name="connsiteY14096" fmla="*/ 1930858 h 4687251"/>
              <a:gd name="connsiteX14097" fmla="*/ 5243416 w 8079933"/>
              <a:gd name="connsiteY14097" fmla="*/ 1928732 h 4687251"/>
              <a:gd name="connsiteX14098" fmla="*/ 5123627 w 8079933"/>
              <a:gd name="connsiteY14098" fmla="*/ 1925654 h 4687251"/>
              <a:gd name="connsiteX14099" fmla="*/ 5123504 w 8079933"/>
              <a:gd name="connsiteY14099" fmla="*/ 1925917 h 4687251"/>
              <a:gd name="connsiteX14100" fmla="*/ 5123504 w 8079933"/>
              <a:gd name="connsiteY14100" fmla="*/ 1928299 h 4687251"/>
              <a:gd name="connsiteX14101" fmla="*/ 5122636 w 8079933"/>
              <a:gd name="connsiteY14101" fmla="*/ 1935012 h 4687251"/>
              <a:gd name="connsiteX14102" fmla="*/ 5119923 w 8079933"/>
              <a:gd name="connsiteY14102" fmla="*/ 1941616 h 4687251"/>
              <a:gd name="connsiteX14103" fmla="*/ 5121226 w 8079933"/>
              <a:gd name="connsiteY14103" fmla="*/ 1947246 h 4687251"/>
              <a:gd name="connsiteX14104" fmla="*/ 5121226 w 8079933"/>
              <a:gd name="connsiteY14104" fmla="*/ 1953418 h 4687251"/>
              <a:gd name="connsiteX14105" fmla="*/ 5121226 w 8079933"/>
              <a:gd name="connsiteY14105" fmla="*/ 1955258 h 4687251"/>
              <a:gd name="connsiteX14106" fmla="*/ 5124806 w 8079933"/>
              <a:gd name="connsiteY14106" fmla="*/ 1958940 h 4687251"/>
              <a:gd name="connsiteX14107" fmla="*/ 5126434 w 8079933"/>
              <a:gd name="connsiteY14107" fmla="*/ 1962404 h 4687251"/>
              <a:gd name="connsiteX14108" fmla="*/ 5130340 w 8079933"/>
              <a:gd name="connsiteY14108" fmla="*/ 1965436 h 4687251"/>
              <a:gd name="connsiteX14109" fmla="*/ 5131752 w 8079933"/>
              <a:gd name="connsiteY14109" fmla="*/ 1969658 h 4687251"/>
              <a:gd name="connsiteX14110" fmla="*/ 5136960 w 8079933"/>
              <a:gd name="connsiteY14110" fmla="*/ 1977670 h 4687251"/>
              <a:gd name="connsiteX14111" fmla="*/ 5135875 w 8079933"/>
              <a:gd name="connsiteY14111" fmla="*/ 1984708 h 4687251"/>
              <a:gd name="connsiteX14112" fmla="*/ 5132945 w 8079933"/>
              <a:gd name="connsiteY14112" fmla="*/ 1989689 h 4687251"/>
              <a:gd name="connsiteX14113" fmla="*/ 5133922 w 8079933"/>
              <a:gd name="connsiteY14113" fmla="*/ 2001707 h 4687251"/>
              <a:gd name="connsiteX14114" fmla="*/ 5136635 w 8079933"/>
              <a:gd name="connsiteY14114" fmla="*/ 2005280 h 4687251"/>
              <a:gd name="connsiteX14115" fmla="*/ 5137828 w 8079933"/>
              <a:gd name="connsiteY14115" fmla="*/ 2008852 h 4687251"/>
              <a:gd name="connsiteX14116" fmla="*/ 5146076 w 8079933"/>
              <a:gd name="connsiteY14116" fmla="*/ 2016539 h 4687251"/>
              <a:gd name="connsiteX14117" fmla="*/ 5146076 w 8079933"/>
              <a:gd name="connsiteY14117" fmla="*/ 2015225 h 4687251"/>
              <a:gd name="connsiteX14118" fmla="*/ 5138914 w 8079933"/>
              <a:gd name="connsiteY14118" fmla="*/ 2008636 h 4687251"/>
              <a:gd name="connsiteX14119" fmla="*/ 5137720 w 8079933"/>
              <a:gd name="connsiteY14119" fmla="*/ 2004954 h 4687251"/>
              <a:gd name="connsiteX14120" fmla="*/ 5135007 w 8079933"/>
              <a:gd name="connsiteY14120" fmla="*/ 2001381 h 4687251"/>
              <a:gd name="connsiteX14121" fmla="*/ 5134031 w 8079933"/>
              <a:gd name="connsiteY14121" fmla="*/ 1989364 h 4687251"/>
              <a:gd name="connsiteX14122" fmla="*/ 5136961 w 8079933"/>
              <a:gd name="connsiteY14122" fmla="*/ 1984383 h 4687251"/>
              <a:gd name="connsiteX14123" fmla="*/ 5137937 w 8079933"/>
              <a:gd name="connsiteY14123" fmla="*/ 1977346 h 4687251"/>
              <a:gd name="connsiteX14124" fmla="*/ 5132728 w 8079933"/>
              <a:gd name="connsiteY14124" fmla="*/ 1969334 h 4687251"/>
              <a:gd name="connsiteX14125" fmla="*/ 5131426 w 8079933"/>
              <a:gd name="connsiteY14125" fmla="*/ 1965111 h 4687251"/>
              <a:gd name="connsiteX14126" fmla="*/ 5127520 w 8079933"/>
              <a:gd name="connsiteY14126" fmla="*/ 1962079 h 4687251"/>
              <a:gd name="connsiteX14127" fmla="*/ 5125892 w 8079933"/>
              <a:gd name="connsiteY14127" fmla="*/ 1958614 h 4687251"/>
              <a:gd name="connsiteX14128" fmla="*/ 5122202 w 8079933"/>
              <a:gd name="connsiteY14128" fmla="*/ 1954825 h 4687251"/>
              <a:gd name="connsiteX14129" fmla="*/ 5122094 w 8079933"/>
              <a:gd name="connsiteY14129" fmla="*/ 1952985 h 4687251"/>
              <a:gd name="connsiteX14130" fmla="*/ 5136852 w 8079933"/>
              <a:gd name="connsiteY14130" fmla="*/ 1939775 h 4687251"/>
              <a:gd name="connsiteX14131" fmla="*/ 5148572 w 8079933"/>
              <a:gd name="connsiteY14131" fmla="*/ 1935553 h 4687251"/>
              <a:gd name="connsiteX14132" fmla="*/ 5154749 w 8079933"/>
              <a:gd name="connsiteY14132" fmla="*/ 1936544 h 4687251"/>
              <a:gd name="connsiteX14133" fmla="*/ 5148571 w 8079933"/>
              <a:gd name="connsiteY14133" fmla="*/ 1935552 h 4687251"/>
              <a:gd name="connsiteX14134" fmla="*/ 5136851 w 8079933"/>
              <a:gd name="connsiteY14134" fmla="*/ 1939775 h 4687251"/>
              <a:gd name="connsiteX14135" fmla="*/ 5122093 w 8079933"/>
              <a:gd name="connsiteY14135" fmla="*/ 1952984 h 4687251"/>
              <a:gd name="connsiteX14136" fmla="*/ 5121550 w 8079933"/>
              <a:gd name="connsiteY14136" fmla="*/ 1946813 h 4687251"/>
              <a:gd name="connsiteX14137" fmla="*/ 5120248 w 8079933"/>
              <a:gd name="connsiteY14137" fmla="*/ 1941183 h 4687251"/>
              <a:gd name="connsiteX14138" fmla="*/ 5122961 w 8079933"/>
              <a:gd name="connsiteY14138" fmla="*/ 1934578 h 4687251"/>
              <a:gd name="connsiteX14139" fmla="*/ 5123830 w 8079933"/>
              <a:gd name="connsiteY14139" fmla="*/ 1927866 h 4687251"/>
              <a:gd name="connsiteX14140" fmla="*/ 5248951 w 8079933"/>
              <a:gd name="connsiteY14140" fmla="*/ 1925592 h 4687251"/>
              <a:gd name="connsiteX14141" fmla="*/ 5248950 w 8079933"/>
              <a:gd name="connsiteY14141" fmla="*/ 1925592 h 4687251"/>
              <a:gd name="connsiteX14142" fmla="*/ 5254810 w 8079933"/>
              <a:gd name="connsiteY14142" fmla="*/ 1928732 h 4687251"/>
              <a:gd name="connsiteX14143" fmla="*/ 5257632 w 8079933"/>
              <a:gd name="connsiteY14143" fmla="*/ 1927000 h 4687251"/>
              <a:gd name="connsiteX14144" fmla="*/ 5254810 w 8079933"/>
              <a:gd name="connsiteY14144" fmla="*/ 1928732 h 4687251"/>
              <a:gd name="connsiteX14145" fmla="*/ 4303336 w 8079933"/>
              <a:gd name="connsiteY14145" fmla="*/ 1923752 h 4687251"/>
              <a:gd name="connsiteX14146" fmla="*/ 4312777 w 8079933"/>
              <a:gd name="connsiteY14146" fmla="*/ 1923752 h 4687251"/>
              <a:gd name="connsiteX14147" fmla="*/ 4314839 w 8079933"/>
              <a:gd name="connsiteY14147" fmla="*/ 1925160 h 4687251"/>
              <a:gd name="connsiteX14148" fmla="*/ 4310172 w 8079933"/>
              <a:gd name="connsiteY14148" fmla="*/ 1927434 h 4687251"/>
              <a:gd name="connsiteX14149" fmla="*/ 4305506 w 8079933"/>
              <a:gd name="connsiteY14149" fmla="*/ 1926676 h 4687251"/>
              <a:gd name="connsiteX14150" fmla="*/ 5253399 w 8079933"/>
              <a:gd name="connsiteY14150" fmla="*/ 1921153 h 4687251"/>
              <a:gd name="connsiteX14151" fmla="*/ 5253399 w 8079933"/>
              <a:gd name="connsiteY14151" fmla="*/ 1921153 h 4687251"/>
              <a:gd name="connsiteX14152" fmla="*/ 5257424 w 8079933"/>
              <a:gd name="connsiteY14152" fmla="*/ 1921507 h 4687251"/>
              <a:gd name="connsiteX14153" fmla="*/ 5539778 w 8079933"/>
              <a:gd name="connsiteY14153" fmla="*/ 1917352 h 4687251"/>
              <a:gd name="connsiteX14154" fmla="*/ 5539778 w 8079933"/>
              <a:gd name="connsiteY14154" fmla="*/ 1917352 h 4687251"/>
              <a:gd name="connsiteX14155" fmla="*/ 5542271 w 8079933"/>
              <a:gd name="connsiteY14155" fmla="*/ 1917688 h 4687251"/>
              <a:gd name="connsiteX14156" fmla="*/ 5542282 w 8079933"/>
              <a:gd name="connsiteY14156" fmla="*/ 1917864 h 4687251"/>
              <a:gd name="connsiteX14157" fmla="*/ 5542271 w 8079933"/>
              <a:gd name="connsiteY14157" fmla="*/ 1917687 h 4687251"/>
              <a:gd name="connsiteX14158" fmla="*/ 5538254 w 8079933"/>
              <a:gd name="connsiteY14158" fmla="*/ 1917147 h 4687251"/>
              <a:gd name="connsiteX14159" fmla="*/ 5533480 w 8079933"/>
              <a:gd name="connsiteY14159" fmla="*/ 1923318 h 4687251"/>
              <a:gd name="connsiteX14160" fmla="*/ 5529356 w 8079933"/>
              <a:gd name="connsiteY14160" fmla="*/ 1925050 h 4687251"/>
              <a:gd name="connsiteX14161" fmla="*/ 5520024 w 8079933"/>
              <a:gd name="connsiteY14161" fmla="*/ 1936311 h 4687251"/>
              <a:gd name="connsiteX14162" fmla="*/ 5516768 w 8079933"/>
              <a:gd name="connsiteY14162" fmla="*/ 1942807 h 4687251"/>
              <a:gd name="connsiteX14163" fmla="*/ 5513946 w 8079933"/>
              <a:gd name="connsiteY14163" fmla="*/ 1946055 h 4687251"/>
              <a:gd name="connsiteX14164" fmla="*/ 5509172 w 8079933"/>
              <a:gd name="connsiteY14164" fmla="*/ 1955041 h 4687251"/>
              <a:gd name="connsiteX14165" fmla="*/ 5499515 w 8079933"/>
              <a:gd name="connsiteY14165" fmla="*/ 1963919 h 4687251"/>
              <a:gd name="connsiteX14166" fmla="*/ 5499516 w 8079933"/>
              <a:gd name="connsiteY14166" fmla="*/ 1963920 h 4687251"/>
              <a:gd name="connsiteX14167" fmla="*/ 5509174 w 8079933"/>
              <a:gd name="connsiteY14167" fmla="*/ 1955042 h 4687251"/>
              <a:gd name="connsiteX14168" fmla="*/ 5513948 w 8079933"/>
              <a:gd name="connsiteY14168" fmla="*/ 1946055 h 4687251"/>
              <a:gd name="connsiteX14169" fmla="*/ 5516770 w 8079933"/>
              <a:gd name="connsiteY14169" fmla="*/ 1942807 h 4687251"/>
              <a:gd name="connsiteX14170" fmla="*/ 5520025 w 8079933"/>
              <a:gd name="connsiteY14170" fmla="*/ 1936310 h 4687251"/>
              <a:gd name="connsiteX14171" fmla="*/ 5529357 w 8079933"/>
              <a:gd name="connsiteY14171" fmla="*/ 1925050 h 4687251"/>
              <a:gd name="connsiteX14172" fmla="*/ 5533482 w 8079933"/>
              <a:gd name="connsiteY14172" fmla="*/ 1923318 h 4687251"/>
              <a:gd name="connsiteX14173" fmla="*/ 5538256 w 8079933"/>
              <a:gd name="connsiteY14173" fmla="*/ 1917147 h 4687251"/>
              <a:gd name="connsiteX14174" fmla="*/ 4369856 w 8079933"/>
              <a:gd name="connsiteY14174" fmla="*/ 1916822 h 4687251"/>
              <a:gd name="connsiteX14175" fmla="*/ 4368229 w 8079933"/>
              <a:gd name="connsiteY14175" fmla="*/ 1918446 h 4687251"/>
              <a:gd name="connsiteX14176" fmla="*/ 4367795 w 8079933"/>
              <a:gd name="connsiteY14176" fmla="*/ 1918879 h 4687251"/>
              <a:gd name="connsiteX14177" fmla="*/ 4359953 w 8079933"/>
              <a:gd name="connsiteY14177" fmla="*/ 1914881 h 4687251"/>
              <a:gd name="connsiteX14178" fmla="*/ 4363997 w 8079933"/>
              <a:gd name="connsiteY14178" fmla="*/ 1917689 h 4687251"/>
              <a:gd name="connsiteX14179" fmla="*/ 4367795 w 8079933"/>
              <a:gd name="connsiteY14179" fmla="*/ 1918879 h 4687251"/>
              <a:gd name="connsiteX14180" fmla="*/ 4368229 w 8079933"/>
              <a:gd name="connsiteY14180" fmla="*/ 1918446 h 4687251"/>
              <a:gd name="connsiteX14181" fmla="*/ 4372931 w 8079933"/>
              <a:gd name="connsiteY14181" fmla="*/ 1922938 h 4687251"/>
              <a:gd name="connsiteX14182" fmla="*/ 4368229 w 8079933"/>
              <a:gd name="connsiteY14182" fmla="*/ 1918446 h 4687251"/>
              <a:gd name="connsiteX14183" fmla="*/ 4369857 w 8079933"/>
              <a:gd name="connsiteY14183" fmla="*/ 1916822 h 4687251"/>
              <a:gd name="connsiteX14184" fmla="*/ 4369856 w 8079933"/>
              <a:gd name="connsiteY14184" fmla="*/ 1916821 h 4687251"/>
              <a:gd name="connsiteX14185" fmla="*/ 4367795 w 8079933"/>
              <a:gd name="connsiteY14185" fmla="*/ 1918878 h 4687251"/>
              <a:gd name="connsiteX14186" fmla="*/ 4363996 w 8079933"/>
              <a:gd name="connsiteY14186" fmla="*/ 1917688 h 4687251"/>
              <a:gd name="connsiteX14187" fmla="*/ 4359004 w 8079933"/>
              <a:gd name="connsiteY14187" fmla="*/ 1914223 h 4687251"/>
              <a:gd name="connsiteX14188" fmla="*/ 4356075 w 8079933"/>
              <a:gd name="connsiteY14188" fmla="*/ 1916280 h 4687251"/>
              <a:gd name="connsiteX14189" fmla="*/ 4356291 w 8079933"/>
              <a:gd name="connsiteY14189" fmla="*/ 1919961 h 4687251"/>
              <a:gd name="connsiteX14190" fmla="*/ 4356293 w 8079933"/>
              <a:gd name="connsiteY14190" fmla="*/ 1919962 h 4687251"/>
              <a:gd name="connsiteX14191" fmla="*/ 4356075 w 8079933"/>
              <a:gd name="connsiteY14191" fmla="*/ 1916281 h 4687251"/>
              <a:gd name="connsiteX14192" fmla="*/ 4359006 w 8079933"/>
              <a:gd name="connsiteY14192" fmla="*/ 1914224 h 4687251"/>
              <a:gd name="connsiteX14193" fmla="*/ 5544006 w 8079933"/>
              <a:gd name="connsiteY14193" fmla="*/ 1909026 h 4687251"/>
              <a:gd name="connsiteX14194" fmla="*/ 5544006 w 8079933"/>
              <a:gd name="connsiteY14194" fmla="*/ 1909026 h 4687251"/>
              <a:gd name="connsiteX14195" fmla="*/ 5545742 w 8079933"/>
              <a:gd name="connsiteY14195" fmla="*/ 1911841 h 4687251"/>
              <a:gd name="connsiteX14196" fmla="*/ 5545742 w 8079933"/>
              <a:gd name="connsiteY14196" fmla="*/ 1911841 h 4687251"/>
              <a:gd name="connsiteX14197" fmla="*/ 4492809 w 8079933"/>
              <a:gd name="connsiteY14197" fmla="*/ 1908427 h 4687251"/>
              <a:gd name="connsiteX14198" fmla="*/ 4495953 w 8079933"/>
              <a:gd name="connsiteY14198" fmla="*/ 1909568 h 4687251"/>
              <a:gd name="connsiteX14199" fmla="*/ 4500185 w 8079933"/>
              <a:gd name="connsiteY14199" fmla="*/ 1909568 h 4687251"/>
              <a:gd name="connsiteX14200" fmla="*/ 4506004 w 8079933"/>
              <a:gd name="connsiteY14200" fmla="*/ 1910275 h 4687251"/>
              <a:gd name="connsiteX14201" fmla="*/ 4500184 w 8079933"/>
              <a:gd name="connsiteY14201" fmla="*/ 1909567 h 4687251"/>
              <a:gd name="connsiteX14202" fmla="*/ 4495952 w 8079933"/>
              <a:gd name="connsiteY14202" fmla="*/ 1909567 h 4687251"/>
              <a:gd name="connsiteX14203" fmla="*/ 4463368 w 8079933"/>
              <a:gd name="connsiteY14203" fmla="*/ 1907343 h 4687251"/>
              <a:gd name="connsiteX14204" fmla="*/ 4465025 w 8079933"/>
              <a:gd name="connsiteY14204" fmla="*/ 1909135 h 4687251"/>
              <a:gd name="connsiteX14205" fmla="*/ 4467413 w 8079933"/>
              <a:gd name="connsiteY14205" fmla="*/ 1908376 h 4687251"/>
              <a:gd name="connsiteX14206" fmla="*/ 4475660 w 8079933"/>
              <a:gd name="connsiteY14206" fmla="*/ 1911517 h 4687251"/>
              <a:gd name="connsiteX14207" fmla="*/ 4482497 w 8079933"/>
              <a:gd name="connsiteY14207" fmla="*/ 1908268 h 4687251"/>
              <a:gd name="connsiteX14208" fmla="*/ 4487163 w 8079933"/>
              <a:gd name="connsiteY14208" fmla="*/ 1909568 h 4687251"/>
              <a:gd name="connsiteX14209" fmla="*/ 4490107 w 8079933"/>
              <a:gd name="connsiteY14209" fmla="*/ 1908297 h 4687251"/>
              <a:gd name="connsiteX14210" fmla="*/ 4487163 w 8079933"/>
              <a:gd name="connsiteY14210" fmla="*/ 1909567 h 4687251"/>
              <a:gd name="connsiteX14211" fmla="*/ 4482497 w 8079933"/>
              <a:gd name="connsiteY14211" fmla="*/ 1908268 h 4687251"/>
              <a:gd name="connsiteX14212" fmla="*/ 4475660 w 8079933"/>
              <a:gd name="connsiteY14212" fmla="*/ 1911516 h 4687251"/>
              <a:gd name="connsiteX14213" fmla="*/ 4467413 w 8079933"/>
              <a:gd name="connsiteY14213" fmla="*/ 1908376 h 4687251"/>
              <a:gd name="connsiteX14214" fmla="*/ 4465025 w 8079933"/>
              <a:gd name="connsiteY14214" fmla="*/ 1909134 h 4687251"/>
              <a:gd name="connsiteX14215" fmla="*/ 4456018 w 8079933"/>
              <a:gd name="connsiteY14215" fmla="*/ 1905995 h 4687251"/>
              <a:gd name="connsiteX14216" fmla="*/ 4450159 w 8079933"/>
              <a:gd name="connsiteY14216" fmla="*/ 1909783 h 4687251"/>
              <a:gd name="connsiteX14217" fmla="*/ 4450159 w 8079933"/>
              <a:gd name="connsiteY14217" fmla="*/ 1909784 h 4687251"/>
              <a:gd name="connsiteX14218" fmla="*/ 4447555 w 8079933"/>
              <a:gd name="connsiteY14218" fmla="*/ 1905453 h 4687251"/>
              <a:gd name="connsiteX14219" fmla="*/ 4447554 w 8079933"/>
              <a:gd name="connsiteY14219" fmla="*/ 1905453 h 4687251"/>
              <a:gd name="connsiteX14220" fmla="*/ 4448663 w 8079933"/>
              <a:gd name="connsiteY14220" fmla="*/ 1907297 h 4687251"/>
              <a:gd name="connsiteX14221" fmla="*/ 5548563 w 8079933"/>
              <a:gd name="connsiteY14221" fmla="*/ 1904263 h 4687251"/>
              <a:gd name="connsiteX14222" fmla="*/ 5545594 w 8079933"/>
              <a:gd name="connsiteY14222" fmla="*/ 1907367 h 4687251"/>
              <a:gd name="connsiteX14223" fmla="*/ 5548564 w 8079933"/>
              <a:gd name="connsiteY14223" fmla="*/ 1904263 h 4687251"/>
              <a:gd name="connsiteX14224" fmla="*/ 4371355 w 8079933"/>
              <a:gd name="connsiteY14224" fmla="*/ 1902026 h 4687251"/>
              <a:gd name="connsiteX14225" fmla="*/ 4372678 w 8079933"/>
              <a:gd name="connsiteY14225" fmla="*/ 1903396 h 4687251"/>
              <a:gd name="connsiteX14226" fmla="*/ 4370942 w 8079933"/>
              <a:gd name="connsiteY14226" fmla="*/ 1906211 h 4687251"/>
              <a:gd name="connsiteX14227" fmla="*/ 4366818 w 8079933"/>
              <a:gd name="connsiteY14227" fmla="*/ 1903937 h 4687251"/>
              <a:gd name="connsiteX14228" fmla="*/ 4364539 w 8079933"/>
              <a:gd name="connsiteY14228" fmla="*/ 1905453 h 4687251"/>
              <a:gd name="connsiteX14229" fmla="*/ 4364539 w 8079933"/>
              <a:gd name="connsiteY14229" fmla="*/ 1905454 h 4687251"/>
              <a:gd name="connsiteX14230" fmla="*/ 4366818 w 8079933"/>
              <a:gd name="connsiteY14230" fmla="*/ 1903938 h 4687251"/>
              <a:gd name="connsiteX14231" fmla="*/ 4370942 w 8079933"/>
              <a:gd name="connsiteY14231" fmla="*/ 1906211 h 4687251"/>
              <a:gd name="connsiteX14232" fmla="*/ 4372679 w 8079933"/>
              <a:gd name="connsiteY14232" fmla="*/ 1903397 h 4687251"/>
              <a:gd name="connsiteX14233" fmla="*/ 4565725 w 8079933"/>
              <a:gd name="connsiteY14233" fmla="*/ 1901990 h 4687251"/>
              <a:gd name="connsiteX14234" fmla="*/ 4568984 w 8079933"/>
              <a:gd name="connsiteY14234" fmla="*/ 1903504 h 4687251"/>
              <a:gd name="connsiteX14235" fmla="*/ 4568984 w 8079933"/>
              <a:gd name="connsiteY14235" fmla="*/ 1903504 h 4687251"/>
              <a:gd name="connsiteX14236" fmla="*/ 4266440 w 8079933"/>
              <a:gd name="connsiteY14236" fmla="*/ 1901447 h 4687251"/>
              <a:gd name="connsiteX14237" fmla="*/ 4271215 w 8079933"/>
              <a:gd name="connsiteY14237" fmla="*/ 1905344 h 4687251"/>
              <a:gd name="connsiteX14238" fmla="*/ 4272408 w 8079933"/>
              <a:gd name="connsiteY14238" fmla="*/ 1909567 h 4687251"/>
              <a:gd name="connsiteX14239" fmla="*/ 4101534 w 8079933"/>
              <a:gd name="connsiteY14239" fmla="*/ 1900979 h 4687251"/>
              <a:gd name="connsiteX14240" fmla="*/ 4099433 w 8079933"/>
              <a:gd name="connsiteY14240" fmla="*/ 1905995 h 4687251"/>
              <a:gd name="connsiteX14241" fmla="*/ 4099433 w 8079933"/>
              <a:gd name="connsiteY14241" fmla="*/ 1905996 h 4687251"/>
              <a:gd name="connsiteX14242" fmla="*/ 4562690 w 8079933"/>
              <a:gd name="connsiteY14242" fmla="*/ 1900581 h 4687251"/>
              <a:gd name="connsiteX14243" fmla="*/ 4558133 w 8079933"/>
              <a:gd name="connsiteY14243" fmla="*/ 1902313 h 4687251"/>
              <a:gd name="connsiteX14244" fmla="*/ 4562690 w 8079933"/>
              <a:gd name="connsiteY14244" fmla="*/ 1900581 h 4687251"/>
              <a:gd name="connsiteX14245" fmla="*/ 4449327 w 8079933"/>
              <a:gd name="connsiteY14245" fmla="*/ 1899035 h 4687251"/>
              <a:gd name="connsiteX14246" fmla="*/ 4449616 w 8079933"/>
              <a:gd name="connsiteY14246" fmla="*/ 1899282 h 4687251"/>
              <a:gd name="connsiteX14247" fmla="*/ 4449616 w 8079933"/>
              <a:gd name="connsiteY14247" fmla="*/ 1899281 h 4687251"/>
              <a:gd name="connsiteX14248" fmla="*/ 5427676 w 8079933"/>
              <a:gd name="connsiteY14248" fmla="*/ 1898957 h 4687251"/>
              <a:gd name="connsiteX14249" fmla="*/ 5419321 w 8079933"/>
              <a:gd name="connsiteY14249" fmla="*/ 1901556 h 4687251"/>
              <a:gd name="connsiteX14250" fmla="*/ 5419321 w 8079933"/>
              <a:gd name="connsiteY14250" fmla="*/ 1901556 h 4687251"/>
              <a:gd name="connsiteX14251" fmla="*/ 5427676 w 8079933"/>
              <a:gd name="connsiteY14251" fmla="*/ 1898958 h 4687251"/>
              <a:gd name="connsiteX14252" fmla="*/ 2159646 w 8079933"/>
              <a:gd name="connsiteY14252" fmla="*/ 1898427 h 4687251"/>
              <a:gd name="connsiteX14253" fmla="*/ 2153295 w 8079933"/>
              <a:gd name="connsiteY14253" fmla="*/ 1900473 h 4687251"/>
              <a:gd name="connsiteX14254" fmla="*/ 2110837 w 8079933"/>
              <a:gd name="connsiteY14254" fmla="*/ 1911848 h 4687251"/>
              <a:gd name="connsiteX14255" fmla="*/ 2153295 w 8079933"/>
              <a:gd name="connsiteY14255" fmla="*/ 1900473 h 4687251"/>
              <a:gd name="connsiteX14256" fmla="*/ 4552107 w 8079933"/>
              <a:gd name="connsiteY14256" fmla="*/ 1898139 h 4687251"/>
              <a:gd name="connsiteX14257" fmla="*/ 4555637 w 8079933"/>
              <a:gd name="connsiteY14257" fmla="*/ 1899607 h 4687251"/>
              <a:gd name="connsiteX14258" fmla="*/ 4555636 w 8079933"/>
              <a:gd name="connsiteY14258" fmla="*/ 1899606 h 4687251"/>
              <a:gd name="connsiteX14259" fmla="*/ 5756700 w 8079933"/>
              <a:gd name="connsiteY14259" fmla="*/ 1897438 h 4687251"/>
              <a:gd name="connsiteX14260" fmla="*/ 5754311 w 8079933"/>
              <a:gd name="connsiteY14260" fmla="*/ 1899065 h 4687251"/>
              <a:gd name="connsiteX14261" fmla="*/ 5754528 w 8079933"/>
              <a:gd name="connsiteY14261" fmla="*/ 1905345 h 4687251"/>
              <a:gd name="connsiteX14262" fmla="*/ 5752733 w 8079933"/>
              <a:gd name="connsiteY14262" fmla="*/ 1906326 h 4687251"/>
              <a:gd name="connsiteX14263" fmla="*/ 5754529 w 8079933"/>
              <a:gd name="connsiteY14263" fmla="*/ 1905345 h 4687251"/>
              <a:gd name="connsiteX14264" fmla="*/ 5754312 w 8079933"/>
              <a:gd name="connsiteY14264" fmla="*/ 1899065 h 4687251"/>
              <a:gd name="connsiteX14265" fmla="*/ 4534259 w 8079933"/>
              <a:gd name="connsiteY14265" fmla="*/ 1896683 h 4687251"/>
              <a:gd name="connsiteX14266" fmla="*/ 4520152 w 8079933"/>
              <a:gd name="connsiteY14266" fmla="*/ 1903287 h 4687251"/>
              <a:gd name="connsiteX14267" fmla="*/ 4518090 w 8079933"/>
              <a:gd name="connsiteY14267" fmla="*/ 1906644 h 4687251"/>
              <a:gd name="connsiteX14268" fmla="*/ 4512013 w 8079933"/>
              <a:gd name="connsiteY14268" fmla="*/ 1908593 h 4687251"/>
              <a:gd name="connsiteX14269" fmla="*/ 4509083 w 8079933"/>
              <a:gd name="connsiteY14269" fmla="*/ 1910650 h 4687251"/>
              <a:gd name="connsiteX14270" fmla="*/ 4512013 w 8079933"/>
              <a:gd name="connsiteY14270" fmla="*/ 1908593 h 4687251"/>
              <a:gd name="connsiteX14271" fmla="*/ 4518091 w 8079933"/>
              <a:gd name="connsiteY14271" fmla="*/ 1906645 h 4687251"/>
              <a:gd name="connsiteX14272" fmla="*/ 4520152 w 8079933"/>
              <a:gd name="connsiteY14272" fmla="*/ 1903288 h 4687251"/>
              <a:gd name="connsiteX14273" fmla="*/ 4540444 w 8079933"/>
              <a:gd name="connsiteY14273" fmla="*/ 1895709 h 4687251"/>
              <a:gd name="connsiteX14274" fmla="*/ 4537495 w 8079933"/>
              <a:gd name="connsiteY14274" fmla="*/ 1896173 h 4687251"/>
              <a:gd name="connsiteX14275" fmla="*/ 4540445 w 8079933"/>
              <a:gd name="connsiteY14275" fmla="*/ 1895709 h 4687251"/>
              <a:gd name="connsiteX14276" fmla="*/ 5005437 w 8079933"/>
              <a:gd name="connsiteY14276" fmla="*/ 1894518 h 4687251"/>
              <a:gd name="connsiteX14277" fmla="*/ 5003050 w 8079933"/>
              <a:gd name="connsiteY14277" fmla="*/ 1896792 h 4687251"/>
              <a:gd name="connsiteX14278" fmla="*/ 5001860 w 8079933"/>
              <a:gd name="connsiteY14278" fmla="*/ 1896047 h 4687251"/>
              <a:gd name="connsiteX14279" fmla="*/ 5001097 w 8079933"/>
              <a:gd name="connsiteY14279" fmla="*/ 1897659 h 4687251"/>
              <a:gd name="connsiteX14280" fmla="*/ 4999904 w 8079933"/>
              <a:gd name="connsiteY14280" fmla="*/ 1902098 h 4687251"/>
              <a:gd name="connsiteX14281" fmla="*/ 4997516 w 8079933"/>
              <a:gd name="connsiteY14281" fmla="*/ 1901016 h 4687251"/>
              <a:gd name="connsiteX14282" fmla="*/ 4997516 w 8079933"/>
              <a:gd name="connsiteY14282" fmla="*/ 1905130 h 4687251"/>
              <a:gd name="connsiteX14283" fmla="*/ 5000772 w 8079933"/>
              <a:gd name="connsiteY14283" fmla="*/ 1905130 h 4687251"/>
              <a:gd name="connsiteX14284" fmla="*/ 5001423 w 8079933"/>
              <a:gd name="connsiteY14284" fmla="*/ 1907728 h 4687251"/>
              <a:gd name="connsiteX14285" fmla="*/ 5002834 w 8079933"/>
              <a:gd name="connsiteY14285" fmla="*/ 1910976 h 4687251"/>
              <a:gd name="connsiteX14286" fmla="*/ 5002834 w 8079933"/>
              <a:gd name="connsiteY14286" fmla="*/ 1917906 h 4687251"/>
              <a:gd name="connsiteX14287" fmla="*/ 5006415 w 8079933"/>
              <a:gd name="connsiteY14287" fmla="*/ 1922020 h 4687251"/>
              <a:gd name="connsiteX14288" fmla="*/ 5007934 w 8079933"/>
              <a:gd name="connsiteY14288" fmla="*/ 1928841 h 4687251"/>
              <a:gd name="connsiteX14289" fmla="*/ 5016941 w 8079933"/>
              <a:gd name="connsiteY14289" fmla="*/ 1939668 h 4687251"/>
              <a:gd name="connsiteX14290" fmla="*/ 5029637 w 8079933"/>
              <a:gd name="connsiteY14290" fmla="*/ 1950495 h 4687251"/>
              <a:gd name="connsiteX14291" fmla="*/ 5031808 w 8079933"/>
              <a:gd name="connsiteY14291" fmla="*/ 1952011 h 4687251"/>
              <a:gd name="connsiteX14292" fmla="*/ 5023777 w 8079933"/>
              <a:gd name="connsiteY14292" fmla="*/ 1961755 h 4687251"/>
              <a:gd name="connsiteX14293" fmla="*/ 5016833 w 8079933"/>
              <a:gd name="connsiteY14293" fmla="*/ 1965545 h 4687251"/>
              <a:gd name="connsiteX14294" fmla="*/ 5014771 w 8079933"/>
              <a:gd name="connsiteY14294" fmla="*/ 1969659 h 4687251"/>
              <a:gd name="connsiteX14295" fmla="*/ 5007159 w 8079933"/>
              <a:gd name="connsiteY14295" fmla="*/ 1968900 h 4687251"/>
              <a:gd name="connsiteX14296" fmla="*/ 5007392 w 8079933"/>
              <a:gd name="connsiteY14296" fmla="*/ 1969332 h 4687251"/>
              <a:gd name="connsiteX14297" fmla="*/ 5018461 w 8079933"/>
              <a:gd name="connsiteY14297" fmla="*/ 1970415 h 4687251"/>
              <a:gd name="connsiteX14298" fmla="*/ 5020522 w 8079933"/>
              <a:gd name="connsiteY14298" fmla="*/ 1966193 h 4687251"/>
              <a:gd name="connsiteX14299" fmla="*/ 5027359 w 8079933"/>
              <a:gd name="connsiteY14299" fmla="*/ 1962403 h 4687251"/>
              <a:gd name="connsiteX14300" fmla="*/ 5035715 w 8079933"/>
              <a:gd name="connsiteY14300" fmla="*/ 1952334 h 4687251"/>
              <a:gd name="connsiteX14301" fmla="*/ 5036755 w 8079933"/>
              <a:gd name="connsiteY14301" fmla="*/ 1953085 h 4687251"/>
              <a:gd name="connsiteX14302" fmla="*/ 5037016 w 8079933"/>
              <a:gd name="connsiteY14302" fmla="*/ 1952768 h 4687251"/>
              <a:gd name="connsiteX14303" fmla="*/ 5034846 w 8079933"/>
              <a:gd name="connsiteY14303" fmla="*/ 1951252 h 4687251"/>
              <a:gd name="connsiteX14304" fmla="*/ 5022149 w 8079933"/>
              <a:gd name="connsiteY14304" fmla="*/ 1940425 h 4687251"/>
              <a:gd name="connsiteX14305" fmla="*/ 5013142 w 8079933"/>
              <a:gd name="connsiteY14305" fmla="*/ 1929598 h 4687251"/>
              <a:gd name="connsiteX14306" fmla="*/ 5011623 w 8079933"/>
              <a:gd name="connsiteY14306" fmla="*/ 1922777 h 4687251"/>
              <a:gd name="connsiteX14307" fmla="*/ 5008042 w 8079933"/>
              <a:gd name="connsiteY14307" fmla="*/ 1918663 h 4687251"/>
              <a:gd name="connsiteX14308" fmla="*/ 5008042 w 8079933"/>
              <a:gd name="connsiteY14308" fmla="*/ 1911733 h 4687251"/>
              <a:gd name="connsiteX14309" fmla="*/ 5006631 w 8079933"/>
              <a:gd name="connsiteY14309" fmla="*/ 1908485 h 4687251"/>
              <a:gd name="connsiteX14310" fmla="*/ 5005981 w 8079933"/>
              <a:gd name="connsiteY14310" fmla="*/ 1905886 h 4687251"/>
              <a:gd name="connsiteX14311" fmla="*/ 5002724 w 8079933"/>
              <a:gd name="connsiteY14311" fmla="*/ 1905886 h 4687251"/>
              <a:gd name="connsiteX14312" fmla="*/ 5002724 w 8079933"/>
              <a:gd name="connsiteY14312" fmla="*/ 1901773 h 4687251"/>
              <a:gd name="connsiteX14313" fmla="*/ 5005112 w 8079933"/>
              <a:gd name="connsiteY14313" fmla="*/ 1902855 h 4687251"/>
              <a:gd name="connsiteX14314" fmla="*/ 5006306 w 8079933"/>
              <a:gd name="connsiteY14314" fmla="*/ 1898416 h 4687251"/>
              <a:gd name="connsiteX14315" fmla="*/ 5008150 w 8079933"/>
              <a:gd name="connsiteY14315" fmla="*/ 1894518 h 4687251"/>
              <a:gd name="connsiteX14316" fmla="*/ 2087767 w 8079933"/>
              <a:gd name="connsiteY14316" fmla="*/ 1893762 h 4687251"/>
              <a:gd name="connsiteX14317" fmla="*/ 2087317 w 8079933"/>
              <a:gd name="connsiteY14317" fmla="*/ 1894843 h 4687251"/>
              <a:gd name="connsiteX14318" fmla="*/ 2086291 w 8079933"/>
              <a:gd name="connsiteY14318" fmla="*/ 1896892 h 4687251"/>
              <a:gd name="connsiteX14319" fmla="*/ 2087317 w 8079933"/>
              <a:gd name="connsiteY14319" fmla="*/ 1894843 h 4687251"/>
              <a:gd name="connsiteX14320" fmla="*/ 4260364 w 8079933"/>
              <a:gd name="connsiteY14320" fmla="*/ 1893544 h 4687251"/>
              <a:gd name="connsiteX14321" fmla="*/ 4264054 w 8079933"/>
              <a:gd name="connsiteY14321" fmla="*/ 1895060 h 4687251"/>
              <a:gd name="connsiteX14322" fmla="*/ 4264596 w 8079933"/>
              <a:gd name="connsiteY14322" fmla="*/ 1898525 h 4687251"/>
              <a:gd name="connsiteX14323" fmla="*/ 4269261 w 8079933"/>
              <a:gd name="connsiteY14323" fmla="*/ 1893327 h 4687251"/>
              <a:gd name="connsiteX14324" fmla="*/ 4271974 w 8079933"/>
              <a:gd name="connsiteY14324" fmla="*/ 1894084 h 4687251"/>
              <a:gd name="connsiteX14325" fmla="*/ 4275012 w 8079933"/>
              <a:gd name="connsiteY14325" fmla="*/ 1898199 h 4687251"/>
              <a:gd name="connsiteX14326" fmla="*/ 4273276 w 8079933"/>
              <a:gd name="connsiteY14326" fmla="*/ 1899390 h 4687251"/>
              <a:gd name="connsiteX14327" fmla="*/ 5759521 w 8079933"/>
              <a:gd name="connsiteY14327" fmla="*/ 1893219 h 4687251"/>
              <a:gd name="connsiteX14328" fmla="*/ 5759520 w 8079933"/>
              <a:gd name="connsiteY14328" fmla="*/ 1893219 h 4687251"/>
              <a:gd name="connsiteX14329" fmla="*/ 5758760 w 8079933"/>
              <a:gd name="connsiteY14329" fmla="*/ 1896034 h 4687251"/>
              <a:gd name="connsiteX14330" fmla="*/ 5758761 w 8079933"/>
              <a:gd name="connsiteY14330" fmla="*/ 1896033 h 4687251"/>
              <a:gd name="connsiteX14331" fmla="*/ 6315887 w 8079933"/>
              <a:gd name="connsiteY14331" fmla="*/ 1891379 h 4687251"/>
              <a:gd name="connsiteX14332" fmla="*/ 6315885 w 8079933"/>
              <a:gd name="connsiteY14332" fmla="*/ 1891380 h 4687251"/>
              <a:gd name="connsiteX14333" fmla="*/ 6316753 w 8079933"/>
              <a:gd name="connsiteY14333" fmla="*/ 1894951 h 4687251"/>
              <a:gd name="connsiteX14334" fmla="*/ 6316753 w 8079933"/>
              <a:gd name="connsiteY14334" fmla="*/ 1897549 h 4687251"/>
              <a:gd name="connsiteX14335" fmla="*/ 6316754 w 8079933"/>
              <a:gd name="connsiteY14335" fmla="*/ 1897550 h 4687251"/>
              <a:gd name="connsiteX14336" fmla="*/ 6316754 w 8079933"/>
              <a:gd name="connsiteY14336" fmla="*/ 1894951 h 4687251"/>
              <a:gd name="connsiteX14337" fmla="*/ 5598373 w 8079933"/>
              <a:gd name="connsiteY14337" fmla="*/ 1891054 h 4687251"/>
              <a:gd name="connsiteX14338" fmla="*/ 5598916 w 8079933"/>
              <a:gd name="connsiteY14338" fmla="*/ 1896142 h 4687251"/>
              <a:gd name="connsiteX14339" fmla="*/ 5600326 w 8079933"/>
              <a:gd name="connsiteY14339" fmla="*/ 1901556 h 4687251"/>
              <a:gd name="connsiteX14340" fmla="*/ 5600434 w 8079933"/>
              <a:gd name="connsiteY14340" fmla="*/ 1907835 h 4687251"/>
              <a:gd name="connsiteX14341" fmla="*/ 5600435 w 8079933"/>
              <a:gd name="connsiteY14341" fmla="*/ 1907835 h 4687251"/>
              <a:gd name="connsiteX14342" fmla="*/ 5600326 w 8079933"/>
              <a:gd name="connsiteY14342" fmla="*/ 1901555 h 4687251"/>
              <a:gd name="connsiteX14343" fmla="*/ 5598916 w 8079933"/>
              <a:gd name="connsiteY14343" fmla="*/ 1896142 h 4687251"/>
              <a:gd name="connsiteX14344" fmla="*/ 6288757 w 8079933"/>
              <a:gd name="connsiteY14344" fmla="*/ 1891054 h 4687251"/>
              <a:gd name="connsiteX14345" fmla="*/ 6290255 w 8079933"/>
              <a:gd name="connsiteY14345" fmla="*/ 1891819 h 4687251"/>
              <a:gd name="connsiteX14346" fmla="*/ 6288758 w 8079933"/>
              <a:gd name="connsiteY14346" fmla="*/ 1891054 h 4687251"/>
              <a:gd name="connsiteX14347" fmla="*/ 5657948 w 8079933"/>
              <a:gd name="connsiteY14347" fmla="*/ 1890837 h 4687251"/>
              <a:gd name="connsiteX14348" fmla="*/ 5655594 w 8079933"/>
              <a:gd name="connsiteY14348" fmla="*/ 1892945 h 4687251"/>
              <a:gd name="connsiteX14349" fmla="*/ 5657948 w 8079933"/>
              <a:gd name="connsiteY14349" fmla="*/ 1890837 h 4687251"/>
              <a:gd name="connsiteX14350" fmla="*/ 2165191 w 8079933"/>
              <a:gd name="connsiteY14350" fmla="*/ 1888655 h 4687251"/>
              <a:gd name="connsiteX14351" fmla="*/ 2163713 w 8079933"/>
              <a:gd name="connsiteY14351" fmla="*/ 1897117 h 4687251"/>
              <a:gd name="connsiteX14352" fmla="*/ 2163713 w 8079933"/>
              <a:gd name="connsiteY14352" fmla="*/ 1897117 h 4687251"/>
              <a:gd name="connsiteX14353" fmla="*/ 5757567 w 8079933"/>
              <a:gd name="connsiteY14353" fmla="*/ 1887480 h 4687251"/>
              <a:gd name="connsiteX14354" fmla="*/ 5757567 w 8079933"/>
              <a:gd name="connsiteY14354" fmla="*/ 1887481 h 4687251"/>
              <a:gd name="connsiteX14355" fmla="*/ 5761690 w 8079933"/>
              <a:gd name="connsiteY14355" fmla="*/ 1892136 h 4687251"/>
              <a:gd name="connsiteX14356" fmla="*/ 5761691 w 8079933"/>
              <a:gd name="connsiteY14356" fmla="*/ 1892135 h 4687251"/>
              <a:gd name="connsiteX14357" fmla="*/ 4265356 w 8079933"/>
              <a:gd name="connsiteY14357" fmla="*/ 1887048 h 4687251"/>
              <a:gd name="connsiteX14358" fmla="*/ 4269696 w 8079933"/>
              <a:gd name="connsiteY14358" fmla="*/ 1891487 h 4687251"/>
              <a:gd name="connsiteX14359" fmla="*/ 4265247 w 8079933"/>
              <a:gd name="connsiteY14359" fmla="*/ 1890296 h 4687251"/>
              <a:gd name="connsiteX14360" fmla="*/ 4425851 w 8079933"/>
              <a:gd name="connsiteY14360" fmla="*/ 1883149 h 4687251"/>
              <a:gd name="connsiteX14361" fmla="*/ 4420860 w 8079933"/>
              <a:gd name="connsiteY14361" fmla="*/ 1885206 h 4687251"/>
              <a:gd name="connsiteX14362" fmla="*/ 4420860 w 8079933"/>
              <a:gd name="connsiteY14362" fmla="*/ 1885207 h 4687251"/>
              <a:gd name="connsiteX14363" fmla="*/ 4425852 w 8079933"/>
              <a:gd name="connsiteY14363" fmla="*/ 1883150 h 4687251"/>
              <a:gd name="connsiteX14364" fmla="*/ 4428457 w 8079933"/>
              <a:gd name="connsiteY14364" fmla="*/ 1885526 h 4687251"/>
              <a:gd name="connsiteX14365" fmla="*/ 4433664 w 8079933"/>
              <a:gd name="connsiteY14365" fmla="*/ 1881200 h 4687251"/>
              <a:gd name="connsiteX14366" fmla="*/ 4429649 w 8079933"/>
              <a:gd name="connsiteY14366" fmla="*/ 1886614 h 4687251"/>
              <a:gd name="connsiteX14367" fmla="*/ 4429650 w 8079933"/>
              <a:gd name="connsiteY14367" fmla="*/ 1886614 h 4687251"/>
              <a:gd name="connsiteX14368" fmla="*/ 4433665 w 8079933"/>
              <a:gd name="connsiteY14368" fmla="*/ 1881201 h 4687251"/>
              <a:gd name="connsiteX14369" fmla="*/ 4441911 w 8079933"/>
              <a:gd name="connsiteY14369" fmla="*/ 1882933 h 4687251"/>
              <a:gd name="connsiteX14370" fmla="*/ 4441911 w 8079933"/>
              <a:gd name="connsiteY14370" fmla="*/ 1882933 h 4687251"/>
              <a:gd name="connsiteX14371" fmla="*/ 4252008 w 8079933"/>
              <a:gd name="connsiteY14371" fmla="*/ 1880660 h 4687251"/>
              <a:gd name="connsiteX14372" fmla="*/ 4257976 w 8079933"/>
              <a:gd name="connsiteY14372" fmla="*/ 1884882 h 4687251"/>
              <a:gd name="connsiteX14373" fmla="*/ 4260038 w 8079933"/>
              <a:gd name="connsiteY14373" fmla="*/ 1891162 h 4687251"/>
              <a:gd name="connsiteX14374" fmla="*/ 4258193 w 8079933"/>
              <a:gd name="connsiteY14374" fmla="*/ 1891487 h 4687251"/>
              <a:gd name="connsiteX14375" fmla="*/ 4253962 w 8079933"/>
              <a:gd name="connsiteY14375" fmla="*/ 1887048 h 4687251"/>
              <a:gd name="connsiteX14376" fmla="*/ 4255046 w 8079933"/>
              <a:gd name="connsiteY14376" fmla="*/ 1885641 h 4687251"/>
              <a:gd name="connsiteX14377" fmla="*/ 4989920 w 8079933"/>
              <a:gd name="connsiteY14377" fmla="*/ 1880227 h 4687251"/>
              <a:gd name="connsiteX14378" fmla="*/ 4986990 w 8079933"/>
              <a:gd name="connsiteY14378" fmla="*/ 1881093 h 4687251"/>
              <a:gd name="connsiteX14379" fmla="*/ 4986060 w 8079933"/>
              <a:gd name="connsiteY14379" fmla="*/ 1881093 h 4687251"/>
              <a:gd name="connsiteX14380" fmla="*/ 4987859 w 8079933"/>
              <a:gd name="connsiteY14380" fmla="*/ 1883259 h 4687251"/>
              <a:gd name="connsiteX14381" fmla="*/ 4992308 w 8079933"/>
              <a:gd name="connsiteY14381" fmla="*/ 1884666 h 4687251"/>
              <a:gd name="connsiteX14382" fmla="*/ 4992308 w 8079933"/>
              <a:gd name="connsiteY14382" fmla="*/ 1892570 h 4687251"/>
              <a:gd name="connsiteX14383" fmla="*/ 4997842 w 8079933"/>
              <a:gd name="connsiteY14383" fmla="*/ 1896035 h 4687251"/>
              <a:gd name="connsiteX14384" fmla="*/ 4999428 w 8079933"/>
              <a:gd name="connsiteY14384" fmla="*/ 1894525 h 4687251"/>
              <a:gd name="connsiteX14385" fmla="*/ 4997516 w 8079933"/>
              <a:gd name="connsiteY14385" fmla="*/ 1893328 h 4687251"/>
              <a:gd name="connsiteX14386" fmla="*/ 4997516 w 8079933"/>
              <a:gd name="connsiteY14386" fmla="*/ 1885424 h 4687251"/>
              <a:gd name="connsiteX14387" fmla="*/ 4993067 w 8079933"/>
              <a:gd name="connsiteY14387" fmla="*/ 1884016 h 4687251"/>
              <a:gd name="connsiteX14388" fmla="*/ 4413518 w 8079933"/>
              <a:gd name="connsiteY14388" fmla="*/ 1879517 h 4687251"/>
              <a:gd name="connsiteX14389" fmla="*/ 4418580 w 8079933"/>
              <a:gd name="connsiteY14389" fmla="*/ 1881201 h 4687251"/>
              <a:gd name="connsiteX14390" fmla="*/ 4418580 w 8079933"/>
              <a:gd name="connsiteY14390" fmla="*/ 1881200 h 4687251"/>
              <a:gd name="connsiteX14391" fmla="*/ 4364647 w 8079933"/>
              <a:gd name="connsiteY14391" fmla="*/ 1878169 h 4687251"/>
              <a:gd name="connsiteX14392" fmla="*/ 4363996 w 8079933"/>
              <a:gd name="connsiteY14392" fmla="*/ 1884340 h 4687251"/>
              <a:gd name="connsiteX14393" fmla="*/ 4359221 w 8079933"/>
              <a:gd name="connsiteY14393" fmla="*/ 1891594 h 4687251"/>
              <a:gd name="connsiteX14394" fmla="*/ 4359330 w 8079933"/>
              <a:gd name="connsiteY14394" fmla="*/ 1894843 h 4687251"/>
              <a:gd name="connsiteX14395" fmla="*/ 4363150 w 8079933"/>
              <a:gd name="connsiteY14395" fmla="*/ 1897880 h 4687251"/>
              <a:gd name="connsiteX14396" fmla="*/ 4359331 w 8079933"/>
              <a:gd name="connsiteY14396" fmla="*/ 1894843 h 4687251"/>
              <a:gd name="connsiteX14397" fmla="*/ 4359222 w 8079933"/>
              <a:gd name="connsiteY14397" fmla="*/ 1891595 h 4687251"/>
              <a:gd name="connsiteX14398" fmla="*/ 4363997 w 8079933"/>
              <a:gd name="connsiteY14398" fmla="*/ 1884340 h 4687251"/>
              <a:gd name="connsiteX14399" fmla="*/ 4364648 w 8079933"/>
              <a:gd name="connsiteY14399" fmla="*/ 1878169 h 4687251"/>
              <a:gd name="connsiteX14400" fmla="*/ 5401089 w 8079933"/>
              <a:gd name="connsiteY14400" fmla="*/ 1877953 h 4687251"/>
              <a:gd name="connsiteX14401" fmla="*/ 5361806 w 8079933"/>
              <a:gd name="connsiteY14401" fmla="*/ 1878061 h 4687251"/>
              <a:gd name="connsiteX14402" fmla="*/ 5326215 w 8079933"/>
              <a:gd name="connsiteY14402" fmla="*/ 1881850 h 4687251"/>
              <a:gd name="connsiteX14403" fmla="*/ 5326215 w 8079933"/>
              <a:gd name="connsiteY14403" fmla="*/ 1881851 h 4687251"/>
              <a:gd name="connsiteX14404" fmla="*/ 5361808 w 8079933"/>
              <a:gd name="connsiteY14404" fmla="*/ 1878061 h 4687251"/>
              <a:gd name="connsiteX14405" fmla="*/ 6248168 w 8079933"/>
              <a:gd name="connsiteY14405" fmla="*/ 1874317 h 4687251"/>
              <a:gd name="connsiteX14406" fmla="*/ 6251752 w 8079933"/>
              <a:gd name="connsiteY14406" fmla="*/ 1877844 h 4687251"/>
              <a:gd name="connsiteX14407" fmla="*/ 6251753 w 8079933"/>
              <a:gd name="connsiteY14407" fmla="*/ 1877845 h 4687251"/>
              <a:gd name="connsiteX14408" fmla="*/ 4292375 w 8079933"/>
              <a:gd name="connsiteY14408" fmla="*/ 1871239 h 4687251"/>
              <a:gd name="connsiteX14409" fmla="*/ 4294220 w 8079933"/>
              <a:gd name="connsiteY14409" fmla="*/ 1874488 h 4687251"/>
              <a:gd name="connsiteX14410" fmla="*/ 4294220 w 8079933"/>
              <a:gd name="connsiteY14410" fmla="*/ 1874488 h 4687251"/>
              <a:gd name="connsiteX14411" fmla="*/ 4255914 w 8079933"/>
              <a:gd name="connsiteY14411" fmla="*/ 1871023 h 4687251"/>
              <a:gd name="connsiteX14412" fmla="*/ 4262425 w 8079933"/>
              <a:gd name="connsiteY14412" fmla="*/ 1881309 h 4687251"/>
              <a:gd name="connsiteX14413" fmla="*/ 4258953 w 8079933"/>
              <a:gd name="connsiteY14413" fmla="*/ 1882717 h 4687251"/>
              <a:gd name="connsiteX14414" fmla="*/ 4256999 w 8079933"/>
              <a:gd name="connsiteY14414" fmla="*/ 1880334 h 4687251"/>
              <a:gd name="connsiteX14415" fmla="*/ 4253527 w 8079933"/>
              <a:gd name="connsiteY14415" fmla="*/ 1879468 h 4687251"/>
              <a:gd name="connsiteX14416" fmla="*/ 4253527 w 8079933"/>
              <a:gd name="connsiteY14416" fmla="*/ 1872755 h 4687251"/>
              <a:gd name="connsiteX14417" fmla="*/ 4255914 w 8079933"/>
              <a:gd name="connsiteY14417" fmla="*/ 1871023 h 4687251"/>
              <a:gd name="connsiteX14418" fmla="*/ 4331116 w 8079933"/>
              <a:gd name="connsiteY14418" fmla="*/ 1870698 h 4687251"/>
              <a:gd name="connsiteX14419" fmla="*/ 4331115 w 8079933"/>
              <a:gd name="connsiteY14419" fmla="*/ 1870699 h 4687251"/>
              <a:gd name="connsiteX14420" fmla="*/ 4331994 w 8079933"/>
              <a:gd name="connsiteY14420" fmla="*/ 1871893 h 4687251"/>
              <a:gd name="connsiteX14421" fmla="*/ 4297473 w 8079933"/>
              <a:gd name="connsiteY14421" fmla="*/ 1870649 h 4687251"/>
              <a:gd name="connsiteX14422" fmla="*/ 4297367 w 8079933"/>
              <a:gd name="connsiteY14422" fmla="*/ 1873838 h 4687251"/>
              <a:gd name="connsiteX14423" fmla="*/ 4295793 w 8079933"/>
              <a:gd name="connsiteY14423" fmla="*/ 1874163 h 4687251"/>
              <a:gd name="connsiteX14424" fmla="*/ 4297367 w 8079933"/>
              <a:gd name="connsiteY14424" fmla="*/ 1873838 h 4687251"/>
              <a:gd name="connsiteX14425" fmla="*/ 4364647 w 8079933"/>
              <a:gd name="connsiteY14425" fmla="*/ 1870373 h 4687251"/>
              <a:gd name="connsiteX14426" fmla="*/ 4364647 w 8079933"/>
              <a:gd name="connsiteY14426" fmla="*/ 1872322 h 4687251"/>
              <a:gd name="connsiteX14427" fmla="*/ 4362477 w 8079933"/>
              <a:gd name="connsiteY14427" fmla="*/ 1872322 h 4687251"/>
              <a:gd name="connsiteX14428" fmla="*/ 4357810 w 8079933"/>
              <a:gd name="connsiteY14428" fmla="*/ 1874054 h 4687251"/>
              <a:gd name="connsiteX14429" fmla="*/ 4358349 w 8079933"/>
              <a:gd name="connsiteY14429" fmla="*/ 1877811 h 4687251"/>
              <a:gd name="connsiteX14430" fmla="*/ 4358350 w 8079933"/>
              <a:gd name="connsiteY14430" fmla="*/ 1877812 h 4687251"/>
              <a:gd name="connsiteX14431" fmla="*/ 4357811 w 8079933"/>
              <a:gd name="connsiteY14431" fmla="*/ 1874055 h 4687251"/>
              <a:gd name="connsiteX14432" fmla="*/ 4362478 w 8079933"/>
              <a:gd name="connsiteY14432" fmla="*/ 1872322 h 4687251"/>
              <a:gd name="connsiteX14433" fmla="*/ 4364648 w 8079933"/>
              <a:gd name="connsiteY14433" fmla="*/ 1872322 h 4687251"/>
              <a:gd name="connsiteX14434" fmla="*/ 4364648 w 8079933"/>
              <a:gd name="connsiteY14434" fmla="*/ 1870373 h 4687251"/>
              <a:gd name="connsiteX14435" fmla="*/ 4322000 w 8079933"/>
              <a:gd name="connsiteY14435" fmla="*/ 1870373 h 4687251"/>
              <a:gd name="connsiteX14436" fmla="*/ 4318853 w 8079933"/>
              <a:gd name="connsiteY14436" fmla="*/ 1872647 h 4687251"/>
              <a:gd name="connsiteX14437" fmla="*/ 4318853 w 8079933"/>
              <a:gd name="connsiteY14437" fmla="*/ 1872647 h 4687251"/>
              <a:gd name="connsiteX14438" fmla="*/ 4322001 w 8079933"/>
              <a:gd name="connsiteY14438" fmla="*/ 1870374 h 4687251"/>
              <a:gd name="connsiteX14439" fmla="*/ 4327119 w 8079933"/>
              <a:gd name="connsiteY14439" fmla="*/ 1872249 h 4687251"/>
              <a:gd name="connsiteX14440" fmla="*/ 5062518 w 8079933"/>
              <a:gd name="connsiteY14440" fmla="*/ 1870158 h 4687251"/>
              <a:gd name="connsiteX14441" fmla="*/ 5060456 w 8079933"/>
              <a:gd name="connsiteY14441" fmla="*/ 1872648 h 4687251"/>
              <a:gd name="connsiteX14442" fmla="*/ 5060456 w 8079933"/>
              <a:gd name="connsiteY14442" fmla="*/ 1874813 h 4687251"/>
              <a:gd name="connsiteX14443" fmla="*/ 5063386 w 8079933"/>
              <a:gd name="connsiteY14443" fmla="*/ 1878386 h 4687251"/>
              <a:gd name="connsiteX14444" fmla="*/ 5067184 w 8079933"/>
              <a:gd name="connsiteY14444" fmla="*/ 1878386 h 4687251"/>
              <a:gd name="connsiteX14445" fmla="*/ 5071307 w 8079933"/>
              <a:gd name="connsiteY14445" fmla="*/ 1880010 h 4687251"/>
              <a:gd name="connsiteX14446" fmla="*/ 5073043 w 8079933"/>
              <a:gd name="connsiteY14446" fmla="*/ 1883692 h 4687251"/>
              <a:gd name="connsiteX14447" fmla="*/ 5075757 w 8079933"/>
              <a:gd name="connsiteY14447" fmla="*/ 1885315 h 4687251"/>
              <a:gd name="connsiteX14448" fmla="*/ 5077493 w 8079933"/>
              <a:gd name="connsiteY14448" fmla="*/ 1890404 h 4687251"/>
              <a:gd name="connsiteX14449" fmla="*/ 5079446 w 8079933"/>
              <a:gd name="connsiteY14449" fmla="*/ 1891054 h 4687251"/>
              <a:gd name="connsiteX14450" fmla="*/ 5080748 w 8079933"/>
              <a:gd name="connsiteY14450" fmla="*/ 1893977 h 4687251"/>
              <a:gd name="connsiteX14451" fmla="*/ 5087368 w 8079933"/>
              <a:gd name="connsiteY14451" fmla="*/ 1901773 h 4687251"/>
              <a:gd name="connsiteX14452" fmla="*/ 5087368 w 8079933"/>
              <a:gd name="connsiteY14452" fmla="*/ 1906428 h 4687251"/>
              <a:gd name="connsiteX14453" fmla="*/ 5087368 w 8079933"/>
              <a:gd name="connsiteY14453" fmla="*/ 1912275 h 4687251"/>
              <a:gd name="connsiteX14454" fmla="*/ 5089430 w 8079933"/>
              <a:gd name="connsiteY14454" fmla="*/ 1912275 h 4687251"/>
              <a:gd name="connsiteX14455" fmla="*/ 5093879 w 8079933"/>
              <a:gd name="connsiteY14455" fmla="*/ 1911192 h 4687251"/>
              <a:gd name="connsiteX14456" fmla="*/ 5095507 w 8079933"/>
              <a:gd name="connsiteY14456" fmla="*/ 1910326 h 4687251"/>
              <a:gd name="connsiteX14457" fmla="*/ 5097677 w 8079933"/>
              <a:gd name="connsiteY14457" fmla="*/ 1911517 h 4687251"/>
              <a:gd name="connsiteX14458" fmla="*/ 5099739 w 8079933"/>
              <a:gd name="connsiteY14458" fmla="*/ 1915414 h 4687251"/>
              <a:gd name="connsiteX14459" fmla="*/ 5101693 w 8079933"/>
              <a:gd name="connsiteY14459" fmla="*/ 1917255 h 4687251"/>
              <a:gd name="connsiteX14460" fmla="*/ 5103537 w 8079933"/>
              <a:gd name="connsiteY14460" fmla="*/ 1921261 h 4687251"/>
              <a:gd name="connsiteX14461" fmla="*/ 5105599 w 8079933"/>
              <a:gd name="connsiteY14461" fmla="*/ 1922020 h 4687251"/>
              <a:gd name="connsiteX14462" fmla="*/ 5109180 w 8079933"/>
              <a:gd name="connsiteY14462" fmla="*/ 1920504 h 4687251"/>
              <a:gd name="connsiteX14463" fmla="*/ 5113520 w 8079933"/>
              <a:gd name="connsiteY14463" fmla="*/ 1921586 h 4687251"/>
              <a:gd name="connsiteX14464" fmla="*/ 5117318 w 8079933"/>
              <a:gd name="connsiteY14464" fmla="*/ 1923210 h 4687251"/>
              <a:gd name="connsiteX14465" fmla="*/ 5122527 w 8079933"/>
              <a:gd name="connsiteY14465" fmla="*/ 1923210 h 4687251"/>
              <a:gd name="connsiteX14466" fmla="*/ 5124190 w 8079933"/>
              <a:gd name="connsiteY14466" fmla="*/ 1924247 h 4687251"/>
              <a:gd name="connsiteX14467" fmla="*/ 5124371 w 8079933"/>
              <a:gd name="connsiteY14467" fmla="*/ 1923860 h 4687251"/>
              <a:gd name="connsiteX14468" fmla="*/ 5122635 w 8079933"/>
              <a:gd name="connsiteY14468" fmla="*/ 1922669 h 4687251"/>
              <a:gd name="connsiteX14469" fmla="*/ 5117426 w 8079933"/>
              <a:gd name="connsiteY14469" fmla="*/ 1922993 h 4687251"/>
              <a:gd name="connsiteX14470" fmla="*/ 5113737 w 8079933"/>
              <a:gd name="connsiteY14470" fmla="*/ 1921369 h 4687251"/>
              <a:gd name="connsiteX14471" fmla="*/ 5109396 w 8079933"/>
              <a:gd name="connsiteY14471" fmla="*/ 1920287 h 4687251"/>
              <a:gd name="connsiteX14472" fmla="*/ 5105816 w 8079933"/>
              <a:gd name="connsiteY14472" fmla="*/ 1921803 h 4687251"/>
              <a:gd name="connsiteX14473" fmla="*/ 5103753 w 8079933"/>
              <a:gd name="connsiteY14473" fmla="*/ 1921044 h 4687251"/>
              <a:gd name="connsiteX14474" fmla="*/ 5101909 w 8079933"/>
              <a:gd name="connsiteY14474" fmla="*/ 1917038 h 4687251"/>
              <a:gd name="connsiteX14475" fmla="*/ 5099847 w 8079933"/>
              <a:gd name="connsiteY14475" fmla="*/ 1915198 h 4687251"/>
              <a:gd name="connsiteX14476" fmla="*/ 5097785 w 8079933"/>
              <a:gd name="connsiteY14476" fmla="*/ 1911300 h 4687251"/>
              <a:gd name="connsiteX14477" fmla="*/ 5095615 w 8079933"/>
              <a:gd name="connsiteY14477" fmla="*/ 1910109 h 4687251"/>
              <a:gd name="connsiteX14478" fmla="*/ 5093987 w 8079933"/>
              <a:gd name="connsiteY14478" fmla="*/ 1910975 h 4687251"/>
              <a:gd name="connsiteX14479" fmla="*/ 5089646 w 8079933"/>
              <a:gd name="connsiteY14479" fmla="*/ 1912058 h 4687251"/>
              <a:gd name="connsiteX14480" fmla="*/ 5087584 w 8079933"/>
              <a:gd name="connsiteY14480" fmla="*/ 1911950 h 4687251"/>
              <a:gd name="connsiteX14481" fmla="*/ 5088019 w 8079933"/>
              <a:gd name="connsiteY14481" fmla="*/ 1906103 h 4687251"/>
              <a:gd name="connsiteX14482" fmla="*/ 5087584 w 8079933"/>
              <a:gd name="connsiteY14482" fmla="*/ 1901448 h 4687251"/>
              <a:gd name="connsiteX14483" fmla="*/ 5080856 w 8079933"/>
              <a:gd name="connsiteY14483" fmla="*/ 1893652 h 4687251"/>
              <a:gd name="connsiteX14484" fmla="*/ 5079555 w 8079933"/>
              <a:gd name="connsiteY14484" fmla="*/ 1890729 h 4687251"/>
              <a:gd name="connsiteX14485" fmla="*/ 5077710 w 8079933"/>
              <a:gd name="connsiteY14485" fmla="*/ 1889971 h 4687251"/>
              <a:gd name="connsiteX14486" fmla="*/ 5075974 w 8079933"/>
              <a:gd name="connsiteY14486" fmla="*/ 1884882 h 4687251"/>
              <a:gd name="connsiteX14487" fmla="*/ 5073261 w 8079933"/>
              <a:gd name="connsiteY14487" fmla="*/ 1883258 h 4687251"/>
              <a:gd name="connsiteX14488" fmla="*/ 5071524 w 8079933"/>
              <a:gd name="connsiteY14488" fmla="*/ 1879577 h 4687251"/>
              <a:gd name="connsiteX14489" fmla="*/ 5067401 w 8079933"/>
              <a:gd name="connsiteY14489" fmla="*/ 1878061 h 4687251"/>
              <a:gd name="connsiteX14490" fmla="*/ 5063603 w 8079933"/>
              <a:gd name="connsiteY14490" fmla="*/ 1877845 h 4687251"/>
              <a:gd name="connsiteX14491" fmla="*/ 5060673 w 8079933"/>
              <a:gd name="connsiteY14491" fmla="*/ 1874271 h 4687251"/>
              <a:gd name="connsiteX14492" fmla="*/ 5060998 w 8079933"/>
              <a:gd name="connsiteY14492" fmla="*/ 1872106 h 4687251"/>
              <a:gd name="connsiteX14493" fmla="*/ 5062590 w 8079933"/>
              <a:gd name="connsiteY14493" fmla="*/ 1870183 h 4687251"/>
              <a:gd name="connsiteX14494" fmla="*/ 4312312 w 8079933"/>
              <a:gd name="connsiteY14494" fmla="*/ 1868491 h 4687251"/>
              <a:gd name="connsiteX14495" fmla="*/ 4310931 w 8079933"/>
              <a:gd name="connsiteY14495" fmla="*/ 1869723 h 4687251"/>
              <a:gd name="connsiteX14496" fmla="*/ 4310932 w 8079933"/>
              <a:gd name="connsiteY14496" fmla="*/ 1869723 h 4687251"/>
              <a:gd name="connsiteX14497" fmla="*/ 4307133 w 8079933"/>
              <a:gd name="connsiteY14497" fmla="*/ 1867450 h 4687251"/>
              <a:gd name="connsiteX14498" fmla="*/ 4304746 w 8079933"/>
              <a:gd name="connsiteY14498" fmla="*/ 1870048 h 4687251"/>
              <a:gd name="connsiteX14499" fmla="*/ 4301816 w 8079933"/>
              <a:gd name="connsiteY14499" fmla="*/ 1869940 h 4687251"/>
              <a:gd name="connsiteX14500" fmla="*/ 4298633 w 8079933"/>
              <a:gd name="connsiteY14500" fmla="*/ 1870417 h 4687251"/>
              <a:gd name="connsiteX14501" fmla="*/ 4301816 w 8079933"/>
              <a:gd name="connsiteY14501" fmla="*/ 1869941 h 4687251"/>
              <a:gd name="connsiteX14502" fmla="*/ 4304746 w 8079933"/>
              <a:gd name="connsiteY14502" fmla="*/ 1870048 h 4687251"/>
              <a:gd name="connsiteX14503" fmla="*/ 4307134 w 8079933"/>
              <a:gd name="connsiteY14503" fmla="*/ 1867450 h 4687251"/>
              <a:gd name="connsiteX14504" fmla="*/ 4286623 w 8079933"/>
              <a:gd name="connsiteY14504" fmla="*/ 1867017 h 4687251"/>
              <a:gd name="connsiteX14505" fmla="*/ 4285775 w 8079933"/>
              <a:gd name="connsiteY14505" fmla="*/ 1868012 h 4687251"/>
              <a:gd name="connsiteX14506" fmla="*/ 4286624 w 8079933"/>
              <a:gd name="connsiteY14506" fmla="*/ 1867017 h 4687251"/>
              <a:gd name="connsiteX14507" fmla="*/ 6110636 w 8079933"/>
              <a:gd name="connsiteY14507" fmla="*/ 1866214 h 4687251"/>
              <a:gd name="connsiteX14508" fmla="*/ 6114912 w 8079933"/>
              <a:gd name="connsiteY14508" fmla="*/ 1874488 h 4687251"/>
              <a:gd name="connsiteX14509" fmla="*/ 6114914 w 8079933"/>
              <a:gd name="connsiteY14509" fmla="*/ 1874488 h 4687251"/>
              <a:gd name="connsiteX14510" fmla="*/ 4090561 w 8079933"/>
              <a:gd name="connsiteY14510" fmla="*/ 1865713 h 4687251"/>
              <a:gd name="connsiteX14511" fmla="*/ 4089775 w 8079933"/>
              <a:gd name="connsiteY14511" fmla="*/ 1870482 h 4687251"/>
              <a:gd name="connsiteX14512" fmla="*/ 4084241 w 8079933"/>
              <a:gd name="connsiteY14512" fmla="*/ 1871240 h 4687251"/>
              <a:gd name="connsiteX14513" fmla="*/ 4080768 w 8079933"/>
              <a:gd name="connsiteY14513" fmla="*/ 1875030 h 4687251"/>
              <a:gd name="connsiteX14514" fmla="*/ 4084240 w 8079933"/>
              <a:gd name="connsiteY14514" fmla="*/ 1871241 h 4687251"/>
              <a:gd name="connsiteX14515" fmla="*/ 4089775 w 8079933"/>
              <a:gd name="connsiteY14515" fmla="*/ 1870483 h 4687251"/>
              <a:gd name="connsiteX14516" fmla="*/ 4356944 w 8079933"/>
              <a:gd name="connsiteY14516" fmla="*/ 1863547 h 4687251"/>
              <a:gd name="connsiteX14517" fmla="*/ 4357810 w 8079933"/>
              <a:gd name="connsiteY14517" fmla="*/ 1867342 h 4687251"/>
              <a:gd name="connsiteX14518" fmla="*/ 4360198 w 8079933"/>
              <a:gd name="connsiteY14518" fmla="*/ 1869399 h 4687251"/>
              <a:gd name="connsiteX14519" fmla="*/ 4360198 w 8079933"/>
              <a:gd name="connsiteY14519" fmla="*/ 1869399 h 4687251"/>
              <a:gd name="connsiteX14520" fmla="*/ 4357811 w 8079933"/>
              <a:gd name="connsiteY14520" fmla="*/ 1867342 h 4687251"/>
              <a:gd name="connsiteX14521" fmla="*/ 4400024 w 8079933"/>
              <a:gd name="connsiteY14521" fmla="*/ 1862145 h 4687251"/>
              <a:gd name="connsiteX14522" fmla="*/ 4400024 w 8079933"/>
              <a:gd name="connsiteY14522" fmla="*/ 1862146 h 4687251"/>
              <a:gd name="connsiteX14523" fmla="*/ 4406209 w 8079933"/>
              <a:gd name="connsiteY14523" fmla="*/ 1865393 h 4687251"/>
              <a:gd name="connsiteX14524" fmla="*/ 6836986 w 8079933"/>
              <a:gd name="connsiteY14524" fmla="*/ 1860731 h 4687251"/>
              <a:gd name="connsiteX14525" fmla="*/ 6839262 w 8079933"/>
              <a:gd name="connsiteY14525" fmla="*/ 1861929 h 4687251"/>
              <a:gd name="connsiteX14526" fmla="*/ 6842626 w 8079933"/>
              <a:gd name="connsiteY14526" fmla="*/ 1864961 h 4687251"/>
              <a:gd name="connsiteX14527" fmla="*/ 6846750 w 8079933"/>
              <a:gd name="connsiteY14527" fmla="*/ 1863337 h 4687251"/>
              <a:gd name="connsiteX14528" fmla="*/ 6851854 w 8079933"/>
              <a:gd name="connsiteY14528" fmla="*/ 1865352 h 4687251"/>
              <a:gd name="connsiteX14529" fmla="*/ 6846749 w 8079933"/>
              <a:gd name="connsiteY14529" fmla="*/ 1863336 h 4687251"/>
              <a:gd name="connsiteX14530" fmla="*/ 6842625 w 8079933"/>
              <a:gd name="connsiteY14530" fmla="*/ 1864960 h 4687251"/>
              <a:gd name="connsiteX14531" fmla="*/ 6839261 w 8079933"/>
              <a:gd name="connsiteY14531" fmla="*/ 1861928 h 4687251"/>
              <a:gd name="connsiteX14532" fmla="*/ 4563821 w 8079933"/>
              <a:gd name="connsiteY14532" fmla="*/ 1857591 h 4687251"/>
              <a:gd name="connsiteX14533" fmla="*/ 4565213 w 8079933"/>
              <a:gd name="connsiteY14533" fmla="*/ 1860053 h 4687251"/>
              <a:gd name="connsiteX14534" fmla="*/ 4565295 w 8079933"/>
              <a:gd name="connsiteY14534" fmla="*/ 1860196 h 4687251"/>
              <a:gd name="connsiteX14535" fmla="*/ 2091658 w 8079933"/>
              <a:gd name="connsiteY14535" fmla="*/ 1857165 h 4687251"/>
              <a:gd name="connsiteX14536" fmla="*/ 2091542 w 8079933"/>
              <a:gd name="connsiteY14536" fmla="*/ 1859056 h 4687251"/>
              <a:gd name="connsiteX14537" fmla="*/ 2091658 w 8079933"/>
              <a:gd name="connsiteY14537" fmla="*/ 1857165 h 4687251"/>
              <a:gd name="connsiteX14538" fmla="*/ 4353470 w 8079933"/>
              <a:gd name="connsiteY14538" fmla="*/ 1854133 h 4687251"/>
              <a:gd name="connsiteX14539" fmla="*/ 4354264 w 8079933"/>
              <a:gd name="connsiteY14539" fmla="*/ 1856039 h 4687251"/>
              <a:gd name="connsiteX14540" fmla="*/ 4353470 w 8079933"/>
              <a:gd name="connsiteY14540" fmla="*/ 1854133 h 4687251"/>
              <a:gd name="connsiteX14541" fmla="*/ 6869309 w 8079933"/>
              <a:gd name="connsiteY14541" fmla="*/ 1854040 h 4687251"/>
              <a:gd name="connsiteX14542" fmla="*/ 6870622 w 8079933"/>
              <a:gd name="connsiteY14542" fmla="*/ 1855323 h 4687251"/>
              <a:gd name="connsiteX14543" fmla="*/ 6870948 w 8079933"/>
              <a:gd name="connsiteY14543" fmla="*/ 1858788 h 4687251"/>
              <a:gd name="connsiteX14544" fmla="*/ 6867801 w 8079933"/>
              <a:gd name="connsiteY14544" fmla="*/ 1865393 h 4687251"/>
              <a:gd name="connsiteX14545" fmla="*/ 6861616 w 8079933"/>
              <a:gd name="connsiteY14545" fmla="*/ 1864310 h 4687251"/>
              <a:gd name="connsiteX14546" fmla="*/ 6851957 w 8079933"/>
              <a:gd name="connsiteY14546" fmla="*/ 1865393 h 4687251"/>
              <a:gd name="connsiteX14547" fmla="*/ 6851959 w 8079933"/>
              <a:gd name="connsiteY14547" fmla="*/ 1865393 h 4687251"/>
              <a:gd name="connsiteX14548" fmla="*/ 6861617 w 8079933"/>
              <a:gd name="connsiteY14548" fmla="*/ 1864311 h 4687251"/>
              <a:gd name="connsiteX14549" fmla="*/ 6867802 w 8079933"/>
              <a:gd name="connsiteY14549" fmla="*/ 1865393 h 4687251"/>
              <a:gd name="connsiteX14550" fmla="*/ 6870949 w 8079933"/>
              <a:gd name="connsiteY14550" fmla="*/ 1858789 h 4687251"/>
              <a:gd name="connsiteX14551" fmla="*/ 6870624 w 8079933"/>
              <a:gd name="connsiteY14551" fmla="*/ 1855325 h 4687251"/>
              <a:gd name="connsiteX14552" fmla="*/ 2236505 w 8079933"/>
              <a:gd name="connsiteY14552" fmla="*/ 1853878 h 4687251"/>
              <a:gd name="connsiteX14553" fmla="*/ 2235225 w 8079933"/>
              <a:gd name="connsiteY14553" fmla="*/ 1854133 h 4687251"/>
              <a:gd name="connsiteX14554" fmla="*/ 2230776 w 8079933"/>
              <a:gd name="connsiteY14554" fmla="*/ 1857382 h 4687251"/>
              <a:gd name="connsiteX14555" fmla="*/ 2210701 w 8079933"/>
              <a:gd name="connsiteY14555" fmla="*/ 1872323 h 4687251"/>
              <a:gd name="connsiteX14556" fmla="*/ 2230777 w 8079933"/>
              <a:gd name="connsiteY14556" fmla="*/ 1857382 h 4687251"/>
              <a:gd name="connsiteX14557" fmla="*/ 2235226 w 8079933"/>
              <a:gd name="connsiteY14557" fmla="*/ 1854133 h 4687251"/>
              <a:gd name="connsiteX14558" fmla="*/ 4561177 w 8079933"/>
              <a:gd name="connsiteY14558" fmla="*/ 1852951 h 4687251"/>
              <a:gd name="connsiteX14559" fmla="*/ 4563509 w 8079933"/>
              <a:gd name="connsiteY14559" fmla="*/ 1857054 h 4687251"/>
              <a:gd name="connsiteX14560" fmla="*/ 4561187 w 8079933"/>
              <a:gd name="connsiteY14560" fmla="*/ 1852969 h 4687251"/>
              <a:gd name="connsiteX14561" fmla="*/ 4564969 w 8079933"/>
              <a:gd name="connsiteY14561" fmla="*/ 1850994 h 4687251"/>
              <a:gd name="connsiteX14562" fmla="*/ 4561497 w 8079933"/>
              <a:gd name="connsiteY14562" fmla="*/ 1853483 h 4687251"/>
              <a:gd name="connsiteX14563" fmla="*/ 4561498 w 8079933"/>
              <a:gd name="connsiteY14563" fmla="*/ 1853484 h 4687251"/>
              <a:gd name="connsiteX14564" fmla="*/ 4564970 w 8079933"/>
              <a:gd name="connsiteY14564" fmla="*/ 1850994 h 4687251"/>
              <a:gd name="connsiteX14565" fmla="*/ 4567097 w 8079933"/>
              <a:gd name="connsiteY14565" fmla="*/ 1851643 h 4687251"/>
              <a:gd name="connsiteX14566" fmla="*/ 4088039 w 8079933"/>
              <a:gd name="connsiteY14566" fmla="*/ 1850236 h 4687251"/>
              <a:gd name="connsiteX14567" fmla="*/ 4088364 w 8079933"/>
              <a:gd name="connsiteY14567" fmla="*/ 1850344 h 4687251"/>
              <a:gd name="connsiteX14568" fmla="*/ 4093573 w 8079933"/>
              <a:gd name="connsiteY14568" fmla="*/ 1852293 h 4687251"/>
              <a:gd name="connsiteX14569" fmla="*/ 6100382 w 8079933"/>
              <a:gd name="connsiteY14569" fmla="*/ 1849034 h 4687251"/>
              <a:gd name="connsiteX14570" fmla="*/ 6102541 w 8079933"/>
              <a:gd name="connsiteY14570" fmla="*/ 1851643 h 4687251"/>
              <a:gd name="connsiteX14571" fmla="*/ 6105528 w 8079933"/>
              <a:gd name="connsiteY14571" fmla="*/ 1856111 h 4687251"/>
              <a:gd name="connsiteX14572" fmla="*/ 6102543 w 8079933"/>
              <a:gd name="connsiteY14572" fmla="*/ 1851643 h 4687251"/>
              <a:gd name="connsiteX14573" fmla="*/ 4390800 w 8079933"/>
              <a:gd name="connsiteY14573" fmla="*/ 1848827 h 4687251"/>
              <a:gd name="connsiteX14574" fmla="*/ 4392390 w 8079933"/>
              <a:gd name="connsiteY14574" fmla="*/ 1850704 h 4687251"/>
              <a:gd name="connsiteX14575" fmla="*/ 4390800 w 8079933"/>
              <a:gd name="connsiteY14575" fmla="*/ 1848828 h 4687251"/>
              <a:gd name="connsiteX14576" fmla="*/ 4361826 w 8079933"/>
              <a:gd name="connsiteY14576" fmla="*/ 1847312 h 4687251"/>
              <a:gd name="connsiteX14577" fmla="*/ 4356292 w 8079933"/>
              <a:gd name="connsiteY14577" fmla="*/ 1850127 h 4687251"/>
              <a:gd name="connsiteX14578" fmla="*/ 4353036 w 8079933"/>
              <a:gd name="connsiteY14578" fmla="*/ 1853808 h 4687251"/>
              <a:gd name="connsiteX14579" fmla="*/ 4351722 w 8079933"/>
              <a:gd name="connsiteY14579" fmla="*/ 1853098 h 4687251"/>
              <a:gd name="connsiteX14580" fmla="*/ 4353036 w 8079933"/>
              <a:gd name="connsiteY14580" fmla="*/ 1853808 h 4687251"/>
              <a:gd name="connsiteX14581" fmla="*/ 4353468 w 8079933"/>
              <a:gd name="connsiteY14581" fmla="*/ 1854132 h 4687251"/>
              <a:gd name="connsiteX14582" fmla="*/ 4353469 w 8079933"/>
              <a:gd name="connsiteY14582" fmla="*/ 1854132 h 4687251"/>
              <a:gd name="connsiteX14583" fmla="*/ 4353037 w 8079933"/>
              <a:gd name="connsiteY14583" fmla="*/ 1853808 h 4687251"/>
              <a:gd name="connsiteX14584" fmla="*/ 4356292 w 8079933"/>
              <a:gd name="connsiteY14584" fmla="*/ 1850127 h 4687251"/>
              <a:gd name="connsiteX14585" fmla="*/ 4384941 w 8079933"/>
              <a:gd name="connsiteY14585" fmla="*/ 1844389 h 4687251"/>
              <a:gd name="connsiteX14586" fmla="*/ 4384940 w 8079933"/>
              <a:gd name="connsiteY14586" fmla="*/ 1844389 h 4687251"/>
              <a:gd name="connsiteX14587" fmla="*/ 4389390 w 8079933"/>
              <a:gd name="connsiteY14587" fmla="*/ 1845905 h 4687251"/>
              <a:gd name="connsiteX14588" fmla="*/ 4389389 w 8079933"/>
              <a:gd name="connsiteY14588" fmla="*/ 1845904 h 4687251"/>
              <a:gd name="connsiteX14589" fmla="*/ 4122547 w 8079933"/>
              <a:gd name="connsiteY14589" fmla="*/ 1842332 h 4687251"/>
              <a:gd name="connsiteX14590" fmla="*/ 4122547 w 8079933"/>
              <a:gd name="connsiteY14590" fmla="*/ 1842332 h 4687251"/>
              <a:gd name="connsiteX14591" fmla="*/ 4130143 w 8079933"/>
              <a:gd name="connsiteY14591" fmla="*/ 1846014 h 4687251"/>
              <a:gd name="connsiteX14592" fmla="*/ 4132531 w 8079933"/>
              <a:gd name="connsiteY14592" fmla="*/ 1850886 h 4687251"/>
              <a:gd name="connsiteX14593" fmla="*/ 4134422 w 8079933"/>
              <a:gd name="connsiteY14593" fmla="*/ 1847497 h 4687251"/>
              <a:gd name="connsiteX14594" fmla="*/ 4132531 w 8079933"/>
              <a:gd name="connsiteY14594" fmla="*/ 1850885 h 4687251"/>
              <a:gd name="connsiteX14595" fmla="*/ 4130143 w 8079933"/>
              <a:gd name="connsiteY14595" fmla="*/ 1846013 h 4687251"/>
              <a:gd name="connsiteX14596" fmla="*/ 5106901 w 8079933"/>
              <a:gd name="connsiteY14596" fmla="*/ 1841899 h 4687251"/>
              <a:gd name="connsiteX14597" fmla="*/ 5104969 w 8079933"/>
              <a:gd name="connsiteY14597" fmla="*/ 1843116 h 4687251"/>
              <a:gd name="connsiteX14598" fmla="*/ 5105056 w 8079933"/>
              <a:gd name="connsiteY14598" fmla="*/ 1843198 h 4687251"/>
              <a:gd name="connsiteX14599" fmla="*/ 5107117 w 8079933"/>
              <a:gd name="connsiteY14599" fmla="*/ 1841899 h 4687251"/>
              <a:gd name="connsiteX14600" fmla="*/ 5090515 w 8079933"/>
              <a:gd name="connsiteY14600" fmla="*/ 1841358 h 4687251"/>
              <a:gd name="connsiteX14601" fmla="*/ 5086282 w 8079933"/>
              <a:gd name="connsiteY14601" fmla="*/ 1842874 h 4687251"/>
              <a:gd name="connsiteX14602" fmla="*/ 5081074 w 8079933"/>
              <a:gd name="connsiteY14602" fmla="*/ 1844389 h 4687251"/>
              <a:gd name="connsiteX14603" fmla="*/ 5078253 w 8079933"/>
              <a:gd name="connsiteY14603" fmla="*/ 1847421 h 4687251"/>
              <a:gd name="connsiteX14604" fmla="*/ 5078904 w 8079933"/>
              <a:gd name="connsiteY14604" fmla="*/ 1849586 h 4687251"/>
              <a:gd name="connsiteX14605" fmla="*/ 5078904 w 8079933"/>
              <a:gd name="connsiteY14605" fmla="*/ 1853376 h 4687251"/>
              <a:gd name="connsiteX14606" fmla="*/ 5076625 w 8079933"/>
              <a:gd name="connsiteY14606" fmla="*/ 1854891 h 4687251"/>
              <a:gd name="connsiteX14607" fmla="*/ 5076625 w 8079933"/>
              <a:gd name="connsiteY14607" fmla="*/ 1857274 h 4687251"/>
              <a:gd name="connsiteX14608" fmla="*/ 5081291 w 8079933"/>
              <a:gd name="connsiteY14608" fmla="*/ 1862687 h 4687251"/>
              <a:gd name="connsiteX14609" fmla="*/ 5081291 w 8079933"/>
              <a:gd name="connsiteY14609" fmla="*/ 1866151 h 4687251"/>
              <a:gd name="connsiteX14610" fmla="*/ 5082702 w 8079933"/>
              <a:gd name="connsiteY14610" fmla="*/ 1867126 h 4687251"/>
              <a:gd name="connsiteX14611" fmla="*/ 5087477 w 8079933"/>
              <a:gd name="connsiteY14611" fmla="*/ 1867126 h 4687251"/>
              <a:gd name="connsiteX14612" fmla="*/ 5088670 w 8079933"/>
              <a:gd name="connsiteY14612" fmla="*/ 1869508 h 4687251"/>
              <a:gd name="connsiteX14613" fmla="*/ 5088293 w 8079933"/>
              <a:gd name="connsiteY14613" fmla="*/ 1869947 h 4687251"/>
              <a:gd name="connsiteX14614" fmla="*/ 5089213 w 8079933"/>
              <a:gd name="connsiteY14614" fmla="*/ 1869183 h 4687251"/>
              <a:gd name="connsiteX14615" fmla="*/ 5088019 w 8079933"/>
              <a:gd name="connsiteY14615" fmla="*/ 1866801 h 4687251"/>
              <a:gd name="connsiteX14616" fmla="*/ 5083353 w 8079933"/>
              <a:gd name="connsiteY14616" fmla="*/ 1867018 h 4687251"/>
              <a:gd name="connsiteX14617" fmla="*/ 5081942 w 8079933"/>
              <a:gd name="connsiteY14617" fmla="*/ 1866151 h 4687251"/>
              <a:gd name="connsiteX14618" fmla="*/ 5081942 w 8079933"/>
              <a:gd name="connsiteY14618" fmla="*/ 1862686 h 4687251"/>
              <a:gd name="connsiteX14619" fmla="*/ 5077275 w 8079933"/>
              <a:gd name="connsiteY14619" fmla="*/ 1857273 h 4687251"/>
              <a:gd name="connsiteX14620" fmla="*/ 5076842 w 8079933"/>
              <a:gd name="connsiteY14620" fmla="*/ 1854783 h 4687251"/>
              <a:gd name="connsiteX14621" fmla="*/ 5079120 w 8079933"/>
              <a:gd name="connsiteY14621" fmla="*/ 1853375 h 4687251"/>
              <a:gd name="connsiteX14622" fmla="*/ 5079120 w 8079933"/>
              <a:gd name="connsiteY14622" fmla="*/ 1849586 h 4687251"/>
              <a:gd name="connsiteX14623" fmla="*/ 5078469 w 8079933"/>
              <a:gd name="connsiteY14623" fmla="*/ 1847421 h 4687251"/>
              <a:gd name="connsiteX14624" fmla="*/ 5081291 w 8079933"/>
              <a:gd name="connsiteY14624" fmla="*/ 1844389 h 4687251"/>
              <a:gd name="connsiteX14625" fmla="*/ 5086500 w 8079933"/>
              <a:gd name="connsiteY14625" fmla="*/ 1842873 h 4687251"/>
              <a:gd name="connsiteX14626" fmla="*/ 5090604 w 8079933"/>
              <a:gd name="connsiteY14626" fmla="*/ 1841403 h 4687251"/>
              <a:gd name="connsiteX14627" fmla="*/ 5102777 w 8079933"/>
              <a:gd name="connsiteY14627" fmla="*/ 1841249 h 4687251"/>
              <a:gd name="connsiteX14628" fmla="*/ 5098762 w 8079933"/>
              <a:gd name="connsiteY14628" fmla="*/ 1841899 h 4687251"/>
              <a:gd name="connsiteX14629" fmla="*/ 5094236 w 8079933"/>
              <a:gd name="connsiteY14629" fmla="*/ 1843159 h 4687251"/>
              <a:gd name="connsiteX14630" fmla="*/ 5094312 w 8079933"/>
              <a:gd name="connsiteY14630" fmla="*/ 1843198 h 4687251"/>
              <a:gd name="connsiteX14631" fmla="*/ 5098979 w 8079933"/>
              <a:gd name="connsiteY14631" fmla="*/ 1841899 h 4687251"/>
              <a:gd name="connsiteX14632" fmla="*/ 5102809 w 8079933"/>
              <a:gd name="connsiteY14632" fmla="*/ 1841279 h 4687251"/>
              <a:gd name="connsiteX14633" fmla="*/ 4372894 w 8079933"/>
              <a:gd name="connsiteY14633" fmla="*/ 1840816 h 4687251"/>
              <a:gd name="connsiteX14634" fmla="*/ 4367252 w 8079933"/>
              <a:gd name="connsiteY14634" fmla="*/ 1845688 h 4687251"/>
              <a:gd name="connsiteX14635" fmla="*/ 4365733 w 8079933"/>
              <a:gd name="connsiteY14635" fmla="*/ 1847853 h 4687251"/>
              <a:gd name="connsiteX14636" fmla="*/ 4365733 w 8079933"/>
              <a:gd name="connsiteY14636" fmla="*/ 1847853 h 4687251"/>
              <a:gd name="connsiteX14637" fmla="*/ 4367253 w 8079933"/>
              <a:gd name="connsiteY14637" fmla="*/ 1845688 h 4687251"/>
              <a:gd name="connsiteX14638" fmla="*/ 4372895 w 8079933"/>
              <a:gd name="connsiteY14638" fmla="*/ 1840816 h 4687251"/>
              <a:gd name="connsiteX14639" fmla="*/ 4061127 w 8079933"/>
              <a:gd name="connsiteY14639" fmla="*/ 1840275 h 4687251"/>
              <a:gd name="connsiteX14640" fmla="*/ 4061126 w 8079933"/>
              <a:gd name="connsiteY14640" fmla="*/ 1840275 h 4687251"/>
              <a:gd name="connsiteX14641" fmla="*/ 4061669 w 8079933"/>
              <a:gd name="connsiteY14641" fmla="*/ 1844065 h 4687251"/>
              <a:gd name="connsiteX14642" fmla="*/ 4066769 w 8079933"/>
              <a:gd name="connsiteY14642" fmla="*/ 1844606 h 4687251"/>
              <a:gd name="connsiteX14643" fmla="*/ 4072629 w 8079933"/>
              <a:gd name="connsiteY14643" fmla="*/ 1842223 h 4687251"/>
              <a:gd name="connsiteX14644" fmla="*/ 4066770 w 8079933"/>
              <a:gd name="connsiteY14644" fmla="*/ 1844605 h 4687251"/>
              <a:gd name="connsiteX14645" fmla="*/ 4061669 w 8079933"/>
              <a:gd name="connsiteY14645" fmla="*/ 1844064 h 4687251"/>
              <a:gd name="connsiteX14646" fmla="*/ 4573542 w 8079933"/>
              <a:gd name="connsiteY14646" fmla="*/ 1839625 h 4687251"/>
              <a:gd name="connsiteX14647" fmla="*/ 4569093 w 8079933"/>
              <a:gd name="connsiteY14647" fmla="*/ 1847854 h 4687251"/>
              <a:gd name="connsiteX14648" fmla="*/ 4568882 w 8079933"/>
              <a:gd name="connsiteY14648" fmla="*/ 1852075 h 4687251"/>
              <a:gd name="connsiteX14649" fmla="*/ 4569093 w 8079933"/>
              <a:gd name="connsiteY14649" fmla="*/ 1847854 h 4687251"/>
              <a:gd name="connsiteX14650" fmla="*/ 4573542 w 8079933"/>
              <a:gd name="connsiteY14650" fmla="*/ 1839626 h 4687251"/>
              <a:gd name="connsiteX14651" fmla="*/ 4575667 w 8079933"/>
              <a:gd name="connsiteY14651" fmla="*/ 1839915 h 4687251"/>
              <a:gd name="connsiteX14652" fmla="*/ 4390284 w 8079933"/>
              <a:gd name="connsiteY14652" fmla="*/ 1839337 h 4687251"/>
              <a:gd name="connsiteX14653" fmla="*/ 4389714 w 8079933"/>
              <a:gd name="connsiteY14653" fmla="*/ 1839516 h 4687251"/>
              <a:gd name="connsiteX14654" fmla="*/ 4388344 w 8079933"/>
              <a:gd name="connsiteY14654" fmla="*/ 1840915 h 4687251"/>
              <a:gd name="connsiteX14655" fmla="*/ 4389715 w 8079933"/>
              <a:gd name="connsiteY14655" fmla="*/ 1839516 h 4687251"/>
              <a:gd name="connsiteX14656" fmla="*/ 4083465 w 8079933"/>
              <a:gd name="connsiteY14656" fmla="*/ 1839261 h 4687251"/>
              <a:gd name="connsiteX14657" fmla="*/ 4084891 w 8079933"/>
              <a:gd name="connsiteY14657" fmla="*/ 1844065 h 4687251"/>
              <a:gd name="connsiteX14658" fmla="*/ 4087604 w 8079933"/>
              <a:gd name="connsiteY14658" fmla="*/ 1846338 h 4687251"/>
              <a:gd name="connsiteX14659" fmla="*/ 4088364 w 8079933"/>
              <a:gd name="connsiteY14659" fmla="*/ 1850344 h 4687251"/>
              <a:gd name="connsiteX14660" fmla="*/ 4088039 w 8079933"/>
              <a:gd name="connsiteY14660" fmla="*/ 1850235 h 4687251"/>
              <a:gd name="connsiteX14661" fmla="*/ 4087629 w 8079933"/>
              <a:gd name="connsiteY14661" fmla="*/ 1850709 h 4687251"/>
              <a:gd name="connsiteX14662" fmla="*/ 4088038 w 8079933"/>
              <a:gd name="connsiteY14662" fmla="*/ 1850236 h 4687251"/>
              <a:gd name="connsiteX14663" fmla="*/ 4093573 w 8079933"/>
              <a:gd name="connsiteY14663" fmla="*/ 1852293 h 4687251"/>
              <a:gd name="connsiteX14664" fmla="*/ 4102796 w 8079933"/>
              <a:gd name="connsiteY14664" fmla="*/ 1845364 h 4687251"/>
              <a:gd name="connsiteX14665" fmla="*/ 4109091 w 8079933"/>
              <a:gd name="connsiteY14665" fmla="*/ 1848179 h 4687251"/>
              <a:gd name="connsiteX14666" fmla="*/ 4109091 w 8079933"/>
              <a:gd name="connsiteY14666" fmla="*/ 1848178 h 4687251"/>
              <a:gd name="connsiteX14667" fmla="*/ 4102797 w 8079933"/>
              <a:gd name="connsiteY14667" fmla="*/ 1845363 h 4687251"/>
              <a:gd name="connsiteX14668" fmla="*/ 4093573 w 8079933"/>
              <a:gd name="connsiteY14668" fmla="*/ 1852293 h 4687251"/>
              <a:gd name="connsiteX14669" fmla="*/ 4088365 w 8079933"/>
              <a:gd name="connsiteY14669" fmla="*/ 1850344 h 4687251"/>
              <a:gd name="connsiteX14670" fmla="*/ 4087605 w 8079933"/>
              <a:gd name="connsiteY14670" fmla="*/ 1846338 h 4687251"/>
              <a:gd name="connsiteX14671" fmla="*/ 4084892 w 8079933"/>
              <a:gd name="connsiteY14671" fmla="*/ 1844064 h 4687251"/>
              <a:gd name="connsiteX14672" fmla="*/ 7159819 w 8079933"/>
              <a:gd name="connsiteY14672" fmla="*/ 1838434 h 4687251"/>
              <a:gd name="connsiteX14673" fmla="*/ 7162098 w 8079933"/>
              <a:gd name="connsiteY14673" fmla="*/ 1838650 h 4687251"/>
              <a:gd name="connsiteX14674" fmla="*/ 7166330 w 8079933"/>
              <a:gd name="connsiteY14674" fmla="*/ 1840599 h 4687251"/>
              <a:gd name="connsiteX14675" fmla="*/ 7167415 w 8079933"/>
              <a:gd name="connsiteY14675" fmla="*/ 1842007 h 4687251"/>
              <a:gd name="connsiteX14676" fmla="*/ 7169585 w 8079933"/>
              <a:gd name="connsiteY14676" fmla="*/ 1841682 h 4687251"/>
              <a:gd name="connsiteX14677" fmla="*/ 7172407 w 8079933"/>
              <a:gd name="connsiteY14677" fmla="*/ 1839950 h 4687251"/>
              <a:gd name="connsiteX14678" fmla="*/ 7171973 w 8079933"/>
              <a:gd name="connsiteY14678" fmla="*/ 1842440 h 4687251"/>
              <a:gd name="connsiteX14679" fmla="*/ 7172515 w 8079933"/>
              <a:gd name="connsiteY14679" fmla="*/ 1849694 h 4687251"/>
              <a:gd name="connsiteX14680" fmla="*/ 7174469 w 8079933"/>
              <a:gd name="connsiteY14680" fmla="*/ 1857056 h 4687251"/>
              <a:gd name="connsiteX14681" fmla="*/ 7177073 w 8079933"/>
              <a:gd name="connsiteY14681" fmla="*/ 1861929 h 4687251"/>
              <a:gd name="connsiteX14682" fmla="*/ 7186840 w 8079933"/>
              <a:gd name="connsiteY14682" fmla="*/ 1872756 h 4687251"/>
              <a:gd name="connsiteX14683" fmla="*/ 7191289 w 8079933"/>
              <a:gd name="connsiteY14683" fmla="*/ 1876870 h 4687251"/>
              <a:gd name="connsiteX14684" fmla="*/ 7191831 w 8079933"/>
              <a:gd name="connsiteY14684" fmla="*/ 1887047 h 4687251"/>
              <a:gd name="connsiteX14685" fmla="*/ 7194436 w 8079933"/>
              <a:gd name="connsiteY14685" fmla="*/ 1888455 h 4687251"/>
              <a:gd name="connsiteX14686" fmla="*/ 7196823 w 8079933"/>
              <a:gd name="connsiteY14686" fmla="*/ 1888455 h 4687251"/>
              <a:gd name="connsiteX14687" fmla="*/ 7201164 w 8079933"/>
              <a:gd name="connsiteY14687" fmla="*/ 1896034 h 4687251"/>
              <a:gd name="connsiteX14688" fmla="*/ 7202465 w 8079933"/>
              <a:gd name="connsiteY14688" fmla="*/ 1905237 h 4687251"/>
              <a:gd name="connsiteX14689" fmla="*/ 7204419 w 8079933"/>
              <a:gd name="connsiteY14689" fmla="*/ 1908701 h 4687251"/>
              <a:gd name="connsiteX14690" fmla="*/ 7203334 w 8079933"/>
              <a:gd name="connsiteY14690" fmla="*/ 1911625 h 4687251"/>
              <a:gd name="connsiteX14691" fmla="*/ 7203660 w 8079933"/>
              <a:gd name="connsiteY14691" fmla="*/ 1917471 h 4687251"/>
              <a:gd name="connsiteX14692" fmla="*/ 7205071 w 8079933"/>
              <a:gd name="connsiteY14692" fmla="*/ 1919637 h 4687251"/>
              <a:gd name="connsiteX14693" fmla="*/ 7204527 w 8079933"/>
              <a:gd name="connsiteY14693" fmla="*/ 1923318 h 4687251"/>
              <a:gd name="connsiteX14694" fmla="*/ 7204636 w 8079933"/>
              <a:gd name="connsiteY14694" fmla="*/ 1924725 h 4687251"/>
              <a:gd name="connsiteX14695" fmla="*/ 7202900 w 8079933"/>
              <a:gd name="connsiteY14695" fmla="*/ 1927649 h 4687251"/>
              <a:gd name="connsiteX14696" fmla="*/ 7203009 w 8079933"/>
              <a:gd name="connsiteY14696" fmla="*/ 1931330 h 4687251"/>
              <a:gd name="connsiteX14697" fmla="*/ 7202683 w 8079933"/>
              <a:gd name="connsiteY14697" fmla="*/ 1933712 h 4687251"/>
              <a:gd name="connsiteX14698" fmla="*/ 7203877 w 8079933"/>
              <a:gd name="connsiteY14698" fmla="*/ 1938476 h 4687251"/>
              <a:gd name="connsiteX14699" fmla="*/ 7205395 w 8079933"/>
              <a:gd name="connsiteY14699" fmla="*/ 1940316 h 4687251"/>
              <a:gd name="connsiteX14700" fmla="*/ 7206264 w 8079933"/>
              <a:gd name="connsiteY14700" fmla="*/ 1943998 h 4687251"/>
              <a:gd name="connsiteX14701" fmla="*/ 7207458 w 8079933"/>
              <a:gd name="connsiteY14701" fmla="*/ 1949411 h 4687251"/>
              <a:gd name="connsiteX14702" fmla="*/ 7206155 w 8079933"/>
              <a:gd name="connsiteY14702" fmla="*/ 1951143 h 4687251"/>
              <a:gd name="connsiteX14703" fmla="*/ 7204202 w 8079933"/>
              <a:gd name="connsiteY14703" fmla="*/ 1947896 h 4687251"/>
              <a:gd name="connsiteX14704" fmla="*/ 7200621 w 8079933"/>
              <a:gd name="connsiteY14704" fmla="*/ 1947896 h 4687251"/>
              <a:gd name="connsiteX14705" fmla="*/ 7193242 w 8079933"/>
              <a:gd name="connsiteY14705" fmla="*/ 1951360 h 4687251"/>
              <a:gd name="connsiteX14706" fmla="*/ 7191831 w 8079933"/>
              <a:gd name="connsiteY14706" fmla="*/ 1959047 h 4687251"/>
              <a:gd name="connsiteX14707" fmla="*/ 7192374 w 8079933"/>
              <a:gd name="connsiteY14707" fmla="*/ 1965218 h 4687251"/>
              <a:gd name="connsiteX14708" fmla="*/ 7198234 w 8079933"/>
              <a:gd name="connsiteY14708" fmla="*/ 1973231 h 4687251"/>
              <a:gd name="connsiteX14709" fmla="*/ 7202358 w 8079933"/>
              <a:gd name="connsiteY14709" fmla="*/ 1989796 h 4687251"/>
              <a:gd name="connsiteX14710" fmla="*/ 7202032 w 8079933"/>
              <a:gd name="connsiteY14710" fmla="*/ 1998999 h 4687251"/>
              <a:gd name="connsiteX14711" fmla="*/ 7200296 w 8079933"/>
              <a:gd name="connsiteY14711" fmla="*/ 2012424 h 4687251"/>
              <a:gd name="connsiteX14712" fmla="*/ 7201815 w 8079933"/>
              <a:gd name="connsiteY14712" fmla="*/ 2023901 h 4687251"/>
              <a:gd name="connsiteX14713" fmla="*/ 7203660 w 8079933"/>
              <a:gd name="connsiteY14713" fmla="*/ 2029531 h 4687251"/>
              <a:gd name="connsiteX14714" fmla="*/ 7209194 w 8079933"/>
              <a:gd name="connsiteY14714" fmla="*/ 2037111 h 4687251"/>
              <a:gd name="connsiteX14715" fmla="*/ 7211799 w 8079933"/>
              <a:gd name="connsiteY14715" fmla="*/ 2039492 h 4687251"/>
              <a:gd name="connsiteX14716" fmla="*/ 7212450 w 8079933"/>
              <a:gd name="connsiteY14716" fmla="*/ 2042632 h 4687251"/>
              <a:gd name="connsiteX14717" fmla="*/ 7207349 w 8079933"/>
              <a:gd name="connsiteY14717" fmla="*/ 2047396 h 4687251"/>
              <a:gd name="connsiteX14718" fmla="*/ 7208326 w 8079933"/>
              <a:gd name="connsiteY14718" fmla="*/ 2051402 h 4687251"/>
              <a:gd name="connsiteX14719" fmla="*/ 7206698 w 8079933"/>
              <a:gd name="connsiteY14719" fmla="*/ 2057574 h 4687251"/>
              <a:gd name="connsiteX14720" fmla="*/ 7202141 w 8079933"/>
              <a:gd name="connsiteY14720" fmla="*/ 2062446 h 4687251"/>
              <a:gd name="connsiteX14721" fmla="*/ 7198234 w 8079933"/>
              <a:gd name="connsiteY14721" fmla="*/ 2062770 h 4687251"/>
              <a:gd name="connsiteX14722" fmla="*/ 7196172 w 8079933"/>
              <a:gd name="connsiteY14722" fmla="*/ 2067209 h 4687251"/>
              <a:gd name="connsiteX14723" fmla="*/ 7193025 w 8079933"/>
              <a:gd name="connsiteY14723" fmla="*/ 2069266 h 4687251"/>
              <a:gd name="connsiteX14724" fmla="*/ 7190747 w 8079933"/>
              <a:gd name="connsiteY14724" fmla="*/ 2068184 h 4687251"/>
              <a:gd name="connsiteX14725" fmla="*/ 7189444 w 8079933"/>
              <a:gd name="connsiteY14725" fmla="*/ 2054650 h 4687251"/>
              <a:gd name="connsiteX14726" fmla="*/ 7190638 w 8079933"/>
              <a:gd name="connsiteY14726" fmla="*/ 2048154 h 4687251"/>
              <a:gd name="connsiteX14727" fmla="*/ 7192808 w 8079933"/>
              <a:gd name="connsiteY14727" fmla="*/ 2044905 h 4687251"/>
              <a:gd name="connsiteX14728" fmla="*/ 7191831 w 8079933"/>
              <a:gd name="connsiteY14728" fmla="*/ 2042307 h 4687251"/>
              <a:gd name="connsiteX14729" fmla="*/ 7187382 w 8079933"/>
              <a:gd name="connsiteY14729" fmla="*/ 2041441 h 4687251"/>
              <a:gd name="connsiteX14730" fmla="*/ 7184452 w 8079933"/>
              <a:gd name="connsiteY14730" fmla="*/ 2043282 h 4687251"/>
              <a:gd name="connsiteX14731" fmla="*/ 7183259 w 8079933"/>
              <a:gd name="connsiteY14731" fmla="*/ 2049020 h 4687251"/>
              <a:gd name="connsiteX14732" fmla="*/ 7185429 w 8079933"/>
              <a:gd name="connsiteY14732" fmla="*/ 2051727 h 4687251"/>
              <a:gd name="connsiteX14733" fmla="*/ 7184452 w 8079933"/>
              <a:gd name="connsiteY14733" fmla="*/ 2054001 h 4687251"/>
              <a:gd name="connsiteX14734" fmla="*/ 7181088 w 8079933"/>
              <a:gd name="connsiteY14734" fmla="*/ 2054109 h 4687251"/>
              <a:gd name="connsiteX14735" fmla="*/ 7175336 w 8079933"/>
              <a:gd name="connsiteY14735" fmla="*/ 2058548 h 4687251"/>
              <a:gd name="connsiteX14736" fmla="*/ 7173927 w 8079933"/>
              <a:gd name="connsiteY14736" fmla="*/ 2063745 h 4687251"/>
              <a:gd name="connsiteX14737" fmla="*/ 7176639 w 8079933"/>
              <a:gd name="connsiteY14737" fmla="*/ 2071974 h 4687251"/>
              <a:gd name="connsiteX14738" fmla="*/ 7173058 w 8079933"/>
              <a:gd name="connsiteY14738" fmla="*/ 2076954 h 4687251"/>
              <a:gd name="connsiteX14739" fmla="*/ 7169368 w 8079933"/>
              <a:gd name="connsiteY14739" fmla="*/ 2077387 h 4687251"/>
              <a:gd name="connsiteX14740" fmla="*/ 7167524 w 8079933"/>
              <a:gd name="connsiteY14740" fmla="*/ 2073922 h 4687251"/>
              <a:gd name="connsiteX14741" fmla="*/ 7168934 w 8079933"/>
              <a:gd name="connsiteY14741" fmla="*/ 2069484 h 4687251"/>
              <a:gd name="connsiteX14742" fmla="*/ 7168066 w 8079933"/>
              <a:gd name="connsiteY14742" fmla="*/ 2064611 h 4687251"/>
              <a:gd name="connsiteX14743" fmla="*/ 7164051 w 8079933"/>
              <a:gd name="connsiteY14743" fmla="*/ 2063962 h 4687251"/>
              <a:gd name="connsiteX14744" fmla="*/ 7158951 w 8079933"/>
              <a:gd name="connsiteY14744" fmla="*/ 2066560 h 4687251"/>
              <a:gd name="connsiteX14745" fmla="*/ 7157757 w 8079933"/>
              <a:gd name="connsiteY14745" fmla="*/ 2071974 h 4687251"/>
              <a:gd name="connsiteX14746" fmla="*/ 7158951 w 8079933"/>
              <a:gd name="connsiteY14746" fmla="*/ 2076845 h 4687251"/>
              <a:gd name="connsiteX14747" fmla="*/ 7160579 w 8079933"/>
              <a:gd name="connsiteY14747" fmla="*/ 2078361 h 4687251"/>
              <a:gd name="connsiteX14748" fmla="*/ 7154393 w 8079933"/>
              <a:gd name="connsiteY14748" fmla="*/ 2079119 h 4687251"/>
              <a:gd name="connsiteX14749" fmla="*/ 7142347 w 8079933"/>
              <a:gd name="connsiteY14749" fmla="*/ 2078037 h 4687251"/>
              <a:gd name="connsiteX14750" fmla="*/ 7136488 w 8079933"/>
              <a:gd name="connsiteY14750" fmla="*/ 2081176 h 4687251"/>
              <a:gd name="connsiteX14751" fmla="*/ 7132798 w 8079933"/>
              <a:gd name="connsiteY14751" fmla="*/ 2082151 h 4687251"/>
              <a:gd name="connsiteX14752" fmla="*/ 7131279 w 8079933"/>
              <a:gd name="connsiteY14752" fmla="*/ 2081393 h 4687251"/>
              <a:gd name="connsiteX14753" fmla="*/ 7131822 w 8079933"/>
              <a:gd name="connsiteY14753" fmla="*/ 2080202 h 4687251"/>
              <a:gd name="connsiteX14754" fmla="*/ 7136162 w 8079933"/>
              <a:gd name="connsiteY14754" fmla="*/ 2079119 h 4687251"/>
              <a:gd name="connsiteX14755" fmla="*/ 7137030 w 8079933"/>
              <a:gd name="connsiteY14755" fmla="*/ 2077062 h 4687251"/>
              <a:gd name="connsiteX14756" fmla="*/ 7135403 w 8079933"/>
              <a:gd name="connsiteY14756" fmla="*/ 2076629 h 4687251"/>
              <a:gd name="connsiteX14757" fmla="*/ 7132907 w 8079933"/>
              <a:gd name="connsiteY14757" fmla="*/ 2077496 h 4687251"/>
              <a:gd name="connsiteX14758" fmla="*/ 7130520 w 8079933"/>
              <a:gd name="connsiteY14758" fmla="*/ 2075763 h 4687251"/>
              <a:gd name="connsiteX14759" fmla="*/ 7127264 w 8079933"/>
              <a:gd name="connsiteY14759" fmla="*/ 2075005 h 4687251"/>
              <a:gd name="connsiteX14760" fmla="*/ 7126179 w 8079933"/>
              <a:gd name="connsiteY14760" fmla="*/ 2076413 h 4687251"/>
              <a:gd name="connsiteX14761" fmla="*/ 7124009 w 8079933"/>
              <a:gd name="connsiteY14761" fmla="*/ 2077928 h 4687251"/>
              <a:gd name="connsiteX14762" fmla="*/ 7122381 w 8079933"/>
              <a:gd name="connsiteY14762" fmla="*/ 2076521 h 4687251"/>
              <a:gd name="connsiteX14763" fmla="*/ 7121838 w 8079933"/>
              <a:gd name="connsiteY14763" fmla="*/ 2071323 h 4687251"/>
              <a:gd name="connsiteX14764" fmla="*/ 7122814 w 8079933"/>
              <a:gd name="connsiteY14764" fmla="*/ 2069375 h 4687251"/>
              <a:gd name="connsiteX14765" fmla="*/ 7120970 w 8079933"/>
              <a:gd name="connsiteY14765" fmla="*/ 2069916 h 4687251"/>
              <a:gd name="connsiteX14766" fmla="*/ 7118257 w 8079933"/>
              <a:gd name="connsiteY14766" fmla="*/ 2072298 h 4687251"/>
              <a:gd name="connsiteX14767" fmla="*/ 7116412 w 8079933"/>
              <a:gd name="connsiteY14767" fmla="*/ 2078794 h 4687251"/>
              <a:gd name="connsiteX14768" fmla="*/ 7117498 w 8079933"/>
              <a:gd name="connsiteY14768" fmla="*/ 2081176 h 4687251"/>
              <a:gd name="connsiteX14769" fmla="*/ 7126070 w 8079933"/>
              <a:gd name="connsiteY14769" fmla="*/ 2084858 h 4687251"/>
              <a:gd name="connsiteX14770" fmla="*/ 7127047 w 8079933"/>
              <a:gd name="connsiteY14770" fmla="*/ 2089729 h 4687251"/>
              <a:gd name="connsiteX14771" fmla="*/ 7128241 w 8079933"/>
              <a:gd name="connsiteY14771" fmla="*/ 2091462 h 4687251"/>
              <a:gd name="connsiteX14772" fmla="*/ 7126830 w 8079933"/>
              <a:gd name="connsiteY14772" fmla="*/ 2093952 h 4687251"/>
              <a:gd name="connsiteX14773" fmla="*/ 7123140 w 8079933"/>
              <a:gd name="connsiteY14773" fmla="*/ 2093952 h 4687251"/>
              <a:gd name="connsiteX14774" fmla="*/ 7119017 w 8079933"/>
              <a:gd name="connsiteY14774" fmla="*/ 2094494 h 4687251"/>
              <a:gd name="connsiteX14775" fmla="*/ 7115978 w 8079933"/>
              <a:gd name="connsiteY14775" fmla="*/ 2100340 h 4687251"/>
              <a:gd name="connsiteX14776" fmla="*/ 7116847 w 8079933"/>
              <a:gd name="connsiteY14776" fmla="*/ 2103480 h 4687251"/>
              <a:gd name="connsiteX14777" fmla="*/ 7116195 w 8079933"/>
              <a:gd name="connsiteY14777" fmla="*/ 2105862 h 4687251"/>
              <a:gd name="connsiteX14778" fmla="*/ 7113591 w 8079933"/>
              <a:gd name="connsiteY14778" fmla="*/ 2107486 h 4687251"/>
              <a:gd name="connsiteX14779" fmla="*/ 7113157 w 8079933"/>
              <a:gd name="connsiteY14779" fmla="*/ 2112034 h 4687251"/>
              <a:gd name="connsiteX14780" fmla="*/ 7108490 w 8079933"/>
              <a:gd name="connsiteY14780" fmla="*/ 2119071 h 4687251"/>
              <a:gd name="connsiteX14781" fmla="*/ 7105560 w 8079933"/>
              <a:gd name="connsiteY14781" fmla="*/ 2120587 h 4687251"/>
              <a:gd name="connsiteX14782" fmla="*/ 7101111 w 8079933"/>
              <a:gd name="connsiteY14782" fmla="*/ 2119288 h 4687251"/>
              <a:gd name="connsiteX14783" fmla="*/ 7094383 w 8079933"/>
              <a:gd name="connsiteY14783" fmla="*/ 2113116 h 4687251"/>
              <a:gd name="connsiteX14784" fmla="*/ 7089609 w 8079933"/>
              <a:gd name="connsiteY14784" fmla="*/ 2110951 h 4687251"/>
              <a:gd name="connsiteX14785" fmla="*/ 7088416 w 8079933"/>
              <a:gd name="connsiteY14785" fmla="*/ 2106404 h 4687251"/>
              <a:gd name="connsiteX14786" fmla="*/ 7089066 w 8079933"/>
              <a:gd name="connsiteY14786" fmla="*/ 2104563 h 4687251"/>
              <a:gd name="connsiteX14787" fmla="*/ 7088740 w 8079933"/>
              <a:gd name="connsiteY14787" fmla="*/ 2100124 h 4687251"/>
              <a:gd name="connsiteX14788" fmla="*/ 7088198 w 8079933"/>
              <a:gd name="connsiteY14788" fmla="*/ 2095793 h 4687251"/>
              <a:gd name="connsiteX14789" fmla="*/ 7086027 w 8079933"/>
              <a:gd name="connsiteY14789" fmla="*/ 2094386 h 4687251"/>
              <a:gd name="connsiteX14790" fmla="*/ 7087113 w 8079933"/>
              <a:gd name="connsiteY14790" fmla="*/ 2090271 h 4687251"/>
              <a:gd name="connsiteX14791" fmla="*/ 7090693 w 8079933"/>
              <a:gd name="connsiteY14791" fmla="*/ 2085182 h 4687251"/>
              <a:gd name="connsiteX14792" fmla="*/ 7090693 w 8079933"/>
              <a:gd name="connsiteY14792" fmla="*/ 2081284 h 4687251"/>
              <a:gd name="connsiteX14793" fmla="*/ 7088740 w 8079933"/>
              <a:gd name="connsiteY14793" fmla="*/ 2079553 h 4687251"/>
              <a:gd name="connsiteX14794" fmla="*/ 7084617 w 8079933"/>
              <a:gd name="connsiteY14794" fmla="*/ 2080635 h 4687251"/>
              <a:gd name="connsiteX14795" fmla="*/ 7077455 w 8079933"/>
              <a:gd name="connsiteY14795" fmla="*/ 2079336 h 4687251"/>
              <a:gd name="connsiteX14796" fmla="*/ 7071703 w 8079933"/>
              <a:gd name="connsiteY14796" fmla="*/ 2081284 h 4687251"/>
              <a:gd name="connsiteX14797" fmla="*/ 7066169 w 8079933"/>
              <a:gd name="connsiteY14797" fmla="*/ 2085832 h 4687251"/>
              <a:gd name="connsiteX14798" fmla="*/ 7064975 w 8079933"/>
              <a:gd name="connsiteY14798" fmla="*/ 2088431 h 4687251"/>
              <a:gd name="connsiteX14799" fmla="*/ 7060092 w 8079933"/>
              <a:gd name="connsiteY14799" fmla="*/ 2091137 h 4687251"/>
              <a:gd name="connsiteX14800" fmla="*/ 7059875 w 8079933"/>
              <a:gd name="connsiteY14800" fmla="*/ 2092653 h 4687251"/>
              <a:gd name="connsiteX14801" fmla="*/ 7057271 w 8079933"/>
              <a:gd name="connsiteY14801" fmla="*/ 2093952 h 4687251"/>
              <a:gd name="connsiteX14802" fmla="*/ 7055426 w 8079933"/>
              <a:gd name="connsiteY14802" fmla="*/ 2093086 h 4687251"/>
              <a:gd name="connsiteX14803" fmla="*/ 7050542 w 8079933"/>
              <a:gd name="connsiteY14803" fmla="*/ 2093303 h 4687251"/>
              <a:gd name="connsiteX14804" fmla="*/ 7043055 w 8079933"/>
              <a:gd name="connsiteY14804" fmla="*/ 2095684 h 4687251"/>
              <a:gd name="connsiteX14805" fmla="*/ 7035242 w 8079933"/>
              <a:gd name="connsiteY14805" fmla="*/ 2097200 h 4687251"/>
              <a:gd name="connsiteX14806" fmla="*/ 7031227 w 8079933"/>
              <a:gd name="connsiteY14806" fmla="*/ 2099366 h 4687251"/>
              <a:gd name="connsiteX14807" fmla="*/ 7028188 w 8079933"/>
              <a:gd name="connsiteY14807" fmla="*/ 2099149 h 4687251"/>
              <a:gd name="connsiteX14808" fmla="*/ 7026235 w 8079933"/>
              <a:gd name="connsiteY14808" fmla="*/ 2096334 h 4687251"/>
              <a:gd name="connsiteX14809" fmla="*/ 7022979 w 8079933"/>
              <a:gd name="connsiteY14809" fmla="*/ 2096551 h 4687251"/>
              <a:gd name="connsiteX14810" fmla="*/ 7021569 w 8079933"/>
              <a:gd name="connsiteY14810" fmla="*/ 2099149 h 4687251"/>
              <a:gd name="connsiteX14811" fmla="*/ 7022328 w 8079933"/>
              <a:gd name="connsiteY14811" fmla="*/ 2102506 h 4687251"/>
              <a:gd name="connsiteX14812" fmla="*/ 7021895 w 8079933"/>
              <a:gd name="connsiteY14812" fmla="*/ 2107270 h 4687251"/>
              <a:gd name="connsiteX14813" fmla="*/ 7022111 w 8079933"/>
              <a:gd name="connsiteY14813" fmla="*/ 2110518 h 4687251"/>
              <a:gd name="connsiteX14814" fmla="*/ 7021352 w 8079933"/>
              <a:gd name="connsiteY14814" fmla="*/ 2112575 h 4687251"/>
              <a:gd name="connsiteX14815" fmla="*/ 7017771 w 8079933"/>
              <a:gd name="connsiteY14815" fmla="*/ 2110951 h 4687251"/>
              <a:gd name="connsiteX14816" fmla="*/ 7010717 w 8079933"/>
              <a:gd name="connsiteY14816" fmla="*/ 2108461 h 4687251"/>
              <a:gd name="connsiteX14817" fmla="*/ 7004206 w 8079933"/>
              <a:gd name="connsiteY14817" fmla="*/ 2109651 h 4687251"/>
              <a:gd name="connsiteX14818" fmla="*/ 6996827 w 8079933"/>
              <a:gd name="connsiteY14818" fmla="*/ 2113333 h 4687251"/>
              <a:gd name="connsiteX14819" fmla="*/ 6996067 w 8079933"/>
              <a:gd name="connsiteY14819" fmla="*/ 2116689 h 4687251"/>
              <a:gd name="connsiteX14820" fmla="*/ 7001276 w 8079933"/>
              <a:gd name="connsiteY14820" fmla="*/ 2122428 h 4687251"/>
              <a:gd name="connsiteX14821" fmla="*/ 7004640 w 8079933"/>
              <a:gd name="connsiteY14821" fmla="*/ 2122861 h 4687251"/>
              <a:gd name="connsiteX14822" fmla="*/ 7007895 w 8079933"/>
              <a:gd name="connsiteY14822" fmla="*/ 2120587 h 4687251"/>
              <a:gd name="connsiteX14823" fmla="*/ 7007895 w 8079933"/>
              <a:gd name="connsiteY14823" fmla="*/ 2119071 h 4687251"/>
              <a:gd name="connsiteX14824" fmla="*/ 7011694 w 8079933"/>
              <a:gd name="connsiteY14824" fmla="*/ 2118313 h 4687251"/>
              <a:gd name="connsiteX14825" fmla="*/ 7014732 w 8079933"/>
              <a:gd name="connsiteY14825" fmla="*/ 2120262 h 4687251"/>
              <a:gd name="connsiteX14826" fmla="*/ 7015926 w 8079933"/>
              <a:gd name="connsiteY14826" fmla="*/ 2126433 h 4687251"/>
              <a:gd name="connsiteX14827" fmla="*/ 7014732 w 8079933"/>
              <a:gd name="connsiteY14827" fmla="*/ 2129465 h 4687251"/>
              <a:gd name="connsiteX14828" fmla="*/ 7010934 w 8079933"/>
              <a:gd name="connsiteY14828" fmla="*/ 2131739 h 4687251"/>
              <a:gd name="connsiteX14829" fmla="*/ 7012019 w 8079933"/>
              <a:gd name="connsiteY14829" fmla="*/ 2133471 h 4687251"/>
              <a:gd name="connsiteX14830" fmla="*/ 7019833 w 8079933"/>
              <a:gd name="connsiteY14830" fmla="*/ 2133363 h 4687251"/>
              <a:gd name="connsiteX14831" fmla="*/ 7019073 w 8079933"/>
              <a:gd name="connsiteY14831" fmla="*/ 2136503 h 4687251"/>
              <a:gd name="connsiteX14832" fmla="*/ 7021569 w 8079933"/>
              <a:gd name="connsiteY14832" fmla="*/ 2137044 h 4687251"/>
              <a:gd name="connsiteX14833" fmla="*/ 7021786 w 8079933"/>
              <a:gd name="connsiteY14833" fmla="*/ 2141483 h 4687251"/>
              <a:gd name="connsiteX14834" fmla="*/ 7024173 w 8079933"/>
              <a:gd name="connsiteY14834" fmla="*/ 2142133 h 4687251"/>
              <a:gd name="connsiteX14835" fmla="*/ 7025150 w 8079933"/>
              <a:gd name="connsiteY14835" fmla="*/ 2145814 h 4687251"/>
              <a:gd name="connsiteX14836" fmla="*/ 7020701 w 8079933"/>
              <a:gd name="connsiteY14836" fmla="*/ 2150253 h 4687251"/>
              <a:gd name="connsiteX14837" fmla="*/ 7018205 w 8079933"/>
              <a:gd name="connsiteY14837" fmla="*/ 2154584 h 4687251"/>
              <a:gd name="connsiteX14838" fmla="*/ 7018639 w 8079933"/>
              <a:gd name="connsiteY14838" fmla="*/ 2161730 h 4687251"/>
              <a:gd name="connsiteX14839" fmla="*/ 7018313 w 8079933"/>
              <a:gd name="connsiteY14839" fmla="*/ 2175372 h 4687251"/>
              <a:gd name="connsiteX14840" fmla="*/ 7019724 w 8079933"/>
              <a:gd name="connsiteY14840" fmla="*/ 2179162 h 4687251"/>
              <a:gd name="connsiteX14841" fmla="*/ 7019833 w 8079933"/>
              <a:gd name="connsiteY14841" fmla="*/ 2186632 h 4687251"/>
              <a:gd name="connsiteX14842" fmla="*/ 7018639 w 8079933"/>
              <a:gd name="connsiteY14842" fmla="*/ 2191504 h 4687251"/>
              <a:gd name="connsiteX14843" fmla="*/ 7016577 w 8079933"/>
              <a:gd name="connsiteY14843" fmla="*/ 2189988 h 4687251"/>
              <a:gd name="connsiteX14844" fmla="*/ 7013104 w 8079933"/>
              <a:gd name="connsiteY14844" fmla="*/ 2188905 h 4687251"/>
              <a:gd name="connsiteX14845" fmla="*/ 7010934 w 8079933"/>
              <a:gd name="connsiteY14845" fmla="*/ 2189988 h 4687251"/>
              <a:gd name="connsiteX14846" fmla="*/ 7011043 w 8079933"/>
              <a:gd name="connsiteY14846" fmla="*/ 2192479 h 4687251"/>
              <a:gd name="connsiteX14847" fmla="*/ 7015383 w 8079933"/>
              <a:gd name="connsiteY14847" fmla="*/ 2196809 h 4687251"/>
              <a:gd name="connsiteX14848" fmla="*/ 7010717 w 8079933"/>
              <a:gd name="connsiteY14848" fmla="*/ 2203305 h 4687251"/>
              <a:gd name="connsiteX14849" fmla="*/ 7006268 w 8079933"/>
              <a:gd name="connsiteY14849" fmla="*/ 2206013 h 4687251"/>
              <a:gd name="connsiteX14850" fmla="*/ 7005726 w 8079933"/>
              <a:gd name="connsiteY14850" fmla="*/ 2202656 h 4687251"/>
              <a:gd name="connsiteX14851" fmla="*/ 7006919 w 8079933"/>
              <a:gd name="connsiteY14851" fmla="*/ 2198866 h 4687251"/>
              <a:gd name="connsiteX14852" fmla="*/ 7005508 w 8079933"/>
              <a:gd name="connsiteY14852" fmla="*/ 2192479 h 4687251"/>
              <a:gd name="connsiteX14853" fmla="*/ 7001819 w 8079933"/>
              <a:gd name="connsiteY14853" fmla="*/ 2188689 h 4687251"/>
              <a:gd name="connsiteX14854" fmla="*/ 7001927 w 8079933"/>
              <a:gd name="connsiteY14854" fmla="*/ 2186415 h 4687251"/>
              <a:gd name="connsiteX14855" fmla="*/ 7003338 w 8079933"/>
              <a:gd name="connsiteY14855" fmla="*/ 2184358 h 4687251"/>
              <a:gd name="connsiteX14856" fmla="*/ 7000842 w 8079933"/>
              <a:gd name="connsiteY14856" fmla="*/ 2182409 h 4687251"/>
              <a:gd name="connsiteX14857" fmla="*/ 6998780 w 8079933"/>
              <a:gd name="connsiteY14857" fmla="*/ 2184791 h 4687251"/>
              <a:gd name="connsiteX14858" fmla="*/ 6998780 w 8079933"/>
              <a:gd name="connsiteY14858" fmla="*/ 2192479 h 4687251"/>
              <a:gd name="connsiteX14859" fmla="*/ 7002253 w 8079933"/>
              <a:gd name="connsiteY14859" fmla="*/ 2197892 h 4687251"/>
              <a:gd name="connsiteX14860" fmla="*/ 7002253 w 8079933"/>
              <a:gd name="connsiteY14860" fmla="*/ 2200491 h 4687251"/>
              <a:gd name="connsiteX14861" fmla="*/ 7000733 w 8079933"/>
              <a:gd name="connsiteY14861" fmla="*/ 2202223 h 4687251"/>
              <a:gd name="connsiteX14862" fmla="*/ 6997478 w 8079933"/>
              <a:gd name="connsiteY14862" fmla="*/ 2200382 h 4687251"/>
              <a:gd name="connsiteX14863" fmla="*/ 6993680 w 8079933"/>
              <a:gd name="connsiteY14863" fmla="*/ 2200923 h 4687251"/>
              <a:gd name="connsiteX14864" fmla="*/ 6990642 w 8079933"/>
              <a:gd name="connsiteY14864" fmla="*/ 2197134 h 4687251"/>
              <a:gd name="connsiteX14865" fmla="*/ 6992704 w 8079933"/>
              <a:gd name="connsiteY14865" fmla="*/ 2194644 h 4687251"/>
              <a:gd name="connsiteX14866" fmla="*/ 6992704 w 8079933"/>
              <a:gd name="connsiteY14866" fmla="*/ 2190638 h 4687251"/>
              <a:gd name="connsiteX14867" fmla="*/ 6988797 w 8079933"/>
              <a:gd name="connsiteY14867" fmla="*/ 2185982 h 4687251"/>
              <a:gd name="connsiteX14868" fmla="*/ 6987278 w 8079933"/>
              <a:gd name="connsiteY14868" fmla="*/ 2177646 h 4687251"/>
              <a:gd name="connsiteX14869" fmla="*/ 6983588 w 8079933"/>
              <a:gd name="connsiteY14869" fmla="*/ 2171366 h 4687251"/>
              <a:gd name="connsiteX14870" fmla="*/ 6982612 w 8079933"/>
              <a:gd name="connsiteY14870" fmla="*/ 2168659 h 4687251"/>
              <a:gd name="connsiteX14871" fmla="*/ 6986735 w 8079933"/>
              <a:gd name="connsiteY14871" fmla="*/ 2168226 h 4687251"/>
              <a:gd name="connsiteX14872" fmla="*/ 6990207 w 8079933"/>
              <a:gd name="connsiteY14872" fmla="*/ 2160647 h 4687251"/>
              <a:gd name="connsiteX14873" fmla="*/ 6989882 w 8079933"/>
              <a:gd name="connsiteY14873" fmla="*/ 2152526 h 4687251"/>
              <a:gd name="connsiteX14874" fmla="*/ 6987820 w 8079933"/>
              <a:gd name="connsiteY14874" fmla="*/ 2150145 h 4687251"/>
              <a:gd name="connsiteX14875" fmla="*/ 6987278 w 8079933"/>
              <a:gd name="connsiteY14875" fmla="*/ 2144840 h 4687251"/>
              <a:gd name="connsiteX14876" fmla="*/ 6983045 w 8079933"/>
              <a:gd name="connsiteY14876" fmla="*/ 2137802 h 4687251"/>
              <a:gd name="connsiteX14877" fmla="*/ 6979139 w 8079933"/>
              <a:gd name="connsiteY14877" fmla="*/ 2136286 h 4687251"/>
              <a:gd name="connsiteX14878" fmla="*/ 6977185 w 8079933"/>
              <a:gd name="connsiteY14878" fmla="*/ 2138885 h 4687251"/>
              <a:gd name="connsiteX14879" fmla="*/ 6978162 w 8079933"/>
              <a:gd name="connsiteY14879" fmla="*/ 2142457 h 4687251"/>
              <a:gd name="connsiteX14880" fmla="*/ 6976968 w 8079933"/>
              <a:gd name="connsiteY14880" fmla="*/ 2144515 h 4687251"/>
              <a:gd name="connsiteX14881" fmla="*/ 6976751 w 8079933"/>
              <a:gd name="connsiteY14881" fmla="*/ 2146463 h 4687251"/>
              <a:gd name="connsiteX14882" fmla="*/ 6980983 w 8079933"/>
              <a:gd name="connsiteY14882" fmla="*/ 2145273 h 4687251"/>
              <a:gd name="connsiteX14883" fmla="*/ 6983588 w 8079933"/>
              <a:gd name="connsiteY14883" fmla="*/ 2147655 h 4687251"/>
              <a:gd name="connsiteX14884" fmla="*/ 6984022 w 8079933"/>
              <a:gd name="connsiteY14884" fmla="*/ 2152093 h 4687251"/>
              <a:gd name="connsiteX14885" fmla="*/ 6980333 w 8079933"/>
              <a:gd name="connsiteY14885" fmla="*/ 2153177 h 4687251"/>
              <a:gd name="connsiteX14886" fmla="*/ 6978597 w 8079933"/>
              <a:gd name="connsiteY14886" fmla="*/ 2151877 h 4687251"/>
              <a:gd name="connsiteX14887" fmla="*/ 6980441 w 8079933"/>
              <a:gd name="connsiteY14887" fmla="*/ 2150145 h 4687251"/>
              <a:gd name="connsiteX14888" fmla="*/ 6978053 w 8079933"/>
              <a:gd name="connsiteY14888" fmla="*/ 2149279 h 4687251"/>
              <a:gd name="connsiteX14889" fmla="*/ 6974472 w 8079933"/>
              <a:gd name="connsiteY14889" fmla="*/ 2150469 h 4687251"/>
              <a:gd name="connsiteX14890" fmla="*/ 6972845 w 8079933"/>
              <a:gd name="connsiteY14890" fmla="*/ 2153718 h 4687251"/>
              <a:gd name="connsiteX14891" fmla="*/ 6970458 w 8079933"/>
              <a:gd name="connsiteY14891" fmla="*/ 2155016 h 4687251"/>
              <a:gd name="connsiteX14892" fmla="*/ 6972085 w 8079933"/>
              <a:gd name="connsiteY14892" fmla="*/ 2151985 h 4687251"/>
              <a:gd name="connsiteX14893" fmla="*/ 6971542 w 8079933"/>
              <a:gd name="connsiteY14893" fmla="*/ 2149170 h 4687251"/>
              <a:gd name="connsiteX14894" fmla="*/ 6968504 w 8079933"/>
              <a:gd name="connsiteY14894" fmla="*/ 2147871 h 4687251"/>
              <a:gd name="connsiteX14895" fmla="*/ 6967310 w 8079933"/>
              <a:gd name="connsiteY14895" fmla="*/ 2143648 h 4687251"/>
              <a:gd name="connsiteX14896" fmla="*/ 6968396 w 8079933"/>
              <a:gd name="connsiteY14896" fmla="*/ 2139751 h 4687251"/>
              <a:gd name="connsiteX14897" fmla="*/ 6970349 w 8079933"/>
              <a:gd name="connsiteY14897" fmla="*/ 2142674 h 4687251"/>
              <a:gd name="connsiteX14898" fmla="*/ 6971217 w 8079933"/>
              <a:gd name="connsiteY14898" fmla="*/ 2146355 h 4687251"/>
              <a:gd name="connsiteX14899" fmla="*/ 6972845 w 8079933"/>
              <a:gd name="connsiteY14899" fmla="*/ 2144840 h 4687251"/>
              <a:gd name="connsiteX14900" fmla="*/ 6970783 w 8079933"/>
              <a:gd name="connsiteY14900" fmla="*/ 2139210 h 4687251"/>
              <a:gd name="connsiteX14901" fmla="*/ 6969155 w 8079933"/>
              <a:gd name="connsiteY14901" fmla="*/ 2134987 h 4687251"/>
              <a:gd name="connsiteX14902" fmla="*/ 6966876 w 8079933"/>
              <a:gd name="connsiteY14902" fmla="*/ 2134662 h 4687251"/>
              <a:gd name="connsiteX14903" fmla="*/ 6964706 w 8079933"/>
              <a:gd name="connsiteY14903" fmla="*/ 2134662 h 4687251"/>
              <a:gd name="connsiteX14904" fmla="*/ 6969047 w 8079933"/>
              <a:gd name="connsiteY14904" fmla="*/ 2132280 h 4687251"/>
              <a:gd name="connsiteX14905" fmla="*/ 6972954 w 8079933"/>
              <a:gd name="connsiteY14905" fmla="*/ 2132280 h 4687251"/>
              <a:gd name="connsiteX14906" fmla="*/ 6974581 w 8079933"/>
              <a:gd name="connsiteY14906" fmla="*/ 2128490 h 4687251"/>
              <a:gd name="connsiteX14907" fmla="*/ 6979139 w 8079933"/>
              <a:gd name="connsiteY14907" fmla="*/ 2123618 h 4687251"/>
              <a:gd name="connsiteX14908" fmla="*/ 6982177 w 8079933"/>
              <a:gd name="connsiteY14908" fmla="*/ 2121237 h 4687251"/>
              <a:gd name="connsiteX14909" fmla="*/ 6983479 w 8079933"/>
              <a:gd name="connsiteY14909" fmla="*/ 2118530 h 4687251"/>
              <a:gd name="connsiteX14910" fmla="*/ 6988471 w 8079933"/>
              <a:gd name="connsiteY14910" fmla="*/ 2114632 h 4687251"/>
              <a:gd name="connsiteX14911" fmla="*/ 6992486 w 8079933"/>
              <a:gd name="connsiteY14911" fmla="*/ 2114307 h 4687251"/>
              <a:gd name="connsiteX14912" fmla="*/ 6993897 w 8079933"/>
              <a:gd name="connsiteY14912" fmla="*/ 2111817 h 4687251"/>
              <a:gd name="connsiteX14913" fmla="*/ 6993137 w 8079933"/>
              <a:gd name="connsiteY14913" fmla="*/ 2109110 h 4687251"/>
              <a:gd name="connsiteX14914" fmla="*/ 6990751 w 8079933"/>
              <a:gd name="connsiteY14914" fmla="*/ 2107811 h 4687251"/>
              <a:gd name="connsiteX14915" fmla="*/ 6989231 w 8079933"/>
              <a:gd name="connsiteY14915" fmla="*/ 2100340 h 4687251"/>
              <a:gd name="connsiteX14916" fmla="*/ 6991510 w 8079933"/>
              <a:gd name="connsiteY14916" fmla="*/ 2096984 h 4687251"/>
              <a:gd name="connsiteX14917" fmla="*/ 6997803 w 8079933"/>
              <a:gd name="connsiteY14917" fmla="*/ 2095684 h 4687251"/>
              <a:gd name="connsiteX14918" fmla="*/ 7001385 w 8079933"/>
              <a:gd name="connsiteY14918" fmla="*/ 2092112 h 4687251"/>
              <a:gd name="connsiteX14919" fmla="*/ 7002469 w 8079933"/>
              <a:gd name="connsiteY14919" fmla="*/ 2088972 h 4687251"/>
              <a:gd name="connsiteX14920" fmla="*/ 7005942 w 8079933"/>
              <a:gd name="connsiteY14920" fmla="*/ 2084208 h 4687251"/>
              <a:gd name="connsiteX14921" fmla="*/ 7009957 w 8079933"/>
              <a:gd name="connsiteY14921" fmla="*/ 2082692 h 4687251"/>
              <a:gd name="connsiteX14922" fmla="*/ 7016469 w 8079933"/>
              <a:gd name="connsiteY14922" fmla="*/ 2075329 h 4687251"/>
              <a:gd name="connsiteX14923" fmla="*/ 7017229 w 8079933"/>
              <a:gd name="connsiteY14923" fmla="*/ 2071865 h 4687251"/>
              <a:gd name="connsiteX14924" fmla="*/ 7020592 w 8079933"/>
              <a:gd name="connsiteY14924" fmla="*/ 2069592 h 4687251"/>
              <a:gd name="connsiteX14925" fmla="*/ 7022219 w 8079933"/>
              <a:gd name="connsiteY14925" fmla="*/ 2063962 h 4687251"/>
              <a:gd name="connsiteX14926" fmla="*/ 7031118 w 8079933"/>
              <a:gd name="connsiteY14926" fmla="*/ 2057790 h 4687251"/>
              <a:gd name="connsiteX14927" fmla="*/ 7036219 w 8079933"/>
              <a:gd name="connsiteY14927" fmla="*/ 2057140 h 4687251"/>
              <a:gd name="connsiteX14928" fmla="*/ 7038280 w 8079933"/>
              <a:gd name="connsiteY14928" fmla="*/ 2058440 h 4687251"/>
              <a:gd name="connsiteX14929" fmla="*/ 7044140 w 8079933"/>
              <a:gd name="connsiteY14929" fmla="*/ 2056707 h 4687251"/>
              <a:gd name="connsiteX14930" fmla="*/ 7050217 w 8079933"/>
              <a:gd name="connsiteY14930" fmla="*/ 2056274 h 4687251"/>
              <a:gd name="connsiteX14931" fmla="*/ 7055643 w 8079933"/>
              <a:gd name="connsiteY14931" fmla="*/ 2054325 h 4687251"/>
              <a:gd name="connsiteX14932" fmla="*/ 7061178 w 8079933"/>
              <a:gd name="connsiteY14932" fmla="*/ 2052268 h 4687251"/>
              <a:gd name="connsiteX14933" fmla="*/ 7071487 w 8079933"/>
              <a:gd name="connsiteY14933" fmla="*/ 2048587 h 4687251"/>
              <a:gd name="connsiteX14934" fmla="*/ 7072897 w 8079933"/>
              <a:gd name="connsiteY14934" fmla="*/ 2049670 h 4687251"/>
              <a:gd name="connsiteX14935" fmla="*/ 7075827 w 8079933"/>
              <a:gd name="connsiteY14935" fmla="*/ 2049562 h 4687251"/>
              <a:gd name="connsiteX14936" fmla="*/ 7078974 w 8079933"/>
              <a:gd name="connsiteY14936" fmla="*/ 2047288 h 4687251"/>
              <a:gd name="connsiteX14937" fmla="*/ 7080384 w 8079933"/>
              <a:gd name="connsiteY14937" fmla="*/ 2047937 h 4687251"/>
              <a:gd name="connsiteX14938" fmla="*/ 7081253 w 8079933"/>
              <a:gd name="connsiteY14938" fmla="*/ 2053026 h 4687251"/>
              <a:gd name="connsiteX14939" fmla="*/ 7083314 w 8079933"/>
              <a:gd name="connsiteY14939" fmla="*/ 2053784 h 4687251"/>
              <a:gd name="connsiteX14940" fmla="*/ 7086787 w 8079933"/>
              <a:gd name="connsiteY14940" fmla="*/ 2051185 h 4687251"/>
              <a:gd name="connsiteX14941" fmla="*/ 7089283 w 8079933"/>
              <a:gd name="connsiteY14941" fmla="*/ 2053135 h 4687251"/>
              <a:gd name="connsiteX14942" fmla="*/ 7092864 w 8079933"/>
              <a:gd name="connsiteY14942" fmla="*/ 2051619 h 4687251"/>
              <a:gd name="connsiteX14943" fmla="*/ 7091345 w 8079933"/>
              <a:gd name="connsiteY14943" fmla="*/ 2049453 h 4687251"/>
              <a:gd name="connsiteX14944" fmla="*/ 7093624 w 8079933"/>
              <a:gd name="connsiteY14944" fmla="*/ 2049237 h 4687251"/>
              <a:gd name="connsiteX14945" fmla="*/ 7094818 w 8079933"/>
              <a:gd name="connsiteY14945" fmla="*/ 2046313 h 4687251"/>
              <a:gd name="connsiteX14946" fmla="*/ 7093841 w 8079933"/>
              <a:gd name="connsiteY14946" fmla="*/ 2044905 h 4687251"/>
              <a:gd name="connsiteX14947" fmla="*/ 7095360 w 8079933"/>
              <a:gd name="connsiteY14947" fmla="*/ 2043607 h 4687251"/>
              <a:gd name="connsiteX14948" fmla="*/ 7095035 w 8079933"/>
              <a:gd name="connsiteY14948" fmla="*/ 2040142 h 4687251"/>
              <a:gd name="connsiteX14949" fmla="*/ 7092973 w 8079933"/>
              <a:gd name="connsiteY14949" fmla="*/ 2037868 h 4687251"/>
              <a:gd name="connsiteX14950" fmla="*/ 7093732 w 8079933"/>
              <a:gd name="connsiteY14950" fmla="*/ 2029423 h 4687251"/>
              <a:gd name="connsiteX14951" fmla="*/ 7095686 w 8079933"/>
              <a:gd name="connsiteY14951" fmla="*/ 2027258 h 4687251"/>
              <a:gd name="connsiteX14952" fmla="*/ 7095794 w 8079933"/>
              <a:gd name="connsiteY14952" fmla="*/ 2024118 h 4687251"/>
              <a:gd name="connsiteX14953" fmla="*/ 7101328 w 8079933"/>
              <a:gd name="connsiteY14953" fmla="*/ 2018487 h 4687251"/>
              <a:gd name="connsiteX14954" fmla="*/ 7102088 w 8079933"/>
              <a:gd name="connsiteY14954" fmla="*/ 2013074 h 4687251"/>
              <a:gd name="connsiteX14955" fmla="*/ 7101328 w 8079933"/>
              <a:gd name="connsiteY14955" fmla="*/ 2001814 h 4687251"/>
              <a:gd name="connsiteX14956" fmla="*/ 7097965 w 8079933"/>
              <a:gd name="connsiteY14956" fmla="*/ 1996075 h 4687251"/>
              <a:gd name="connsiteX14957" fmla="*/ 7098941 w 8079933"/>
              <a:gd name="connsiteY14957" fmla="*/ 1991528 h 4687251"/>
              <a:gd name="connsiteX14958" fmla="*/ 7104041 w 8079933"/>
              <a:gd name="connsiteY14958" fmla="*/ 1989579 h 4687251"/>
              <a:gd name="connsiteX14959" fmla="*/ 7107948 w 8079933"/>
              <a:gd name="connsiteY14959" fmla="*/ 1985465 h 4687251"/>
              <a:gd name="connsiteX14960" fmla="*/ 7113482 w 8079933"/>
              <a:gd name="connsiteY14960" fmla="*/ 1984166 h 4687251"/>
              <a:gd name="connsiteX14961" fmla="*/ 7113808 w 8079933"/>
              <a:gd name="connsiteY14961" fmla="*/ 1985465 h 4687251"/>
              <a:gd name="connsiteX14962" fmla="*/ 7110878 w 8079933"/>
              <a:gd name="connsiteY14962" fmla="*/ 1988389 h 4687251"/>
              <a:gd name="connsiteX14963" fmla="*/ 7111312 w 8079933"/>
              <a:gd name="connsiteY14963" fmla="*/ 1990879 h 4687251"/>
              <a:gd name="connsiteX14964" fmla="*/ 7108816 w 8079933"/>
              <a:gd name="connsiteY14964" fmla="*/ 1995318 h 4687251"/>
              <a:gd name="connsiteX14965" fmla="*/ 7106212 w 8079933"/>
              <a:gd name="connsiteY14965" fmla="*/ 1996509 h 4687251"/>
              <a:gd name="connsiteX14966" fmla="*/ 7106103 w 8079933"/>
              <a:gd name="connsiteY14966" fmla="*/ 1999432 h 4687251"/>
              <a:gd name="connsiteX14967" fmla="*/ 7111746 w 8079933"/>
              <a:gd name="connsiteY14967" fmla="*/ 2006361 h 4687251"/>
              <a:gd name="connsiteX14968" fmla="*/ 7117498 w 8079933"/>
              <a:gd name="connsiteY14968" fmla="*/ 2009609 h 4687251"/>
              <a:gd name="connsiteX14969" fmla="*/ 7119776 w 8079933"/>
              <a:gd name="connsiteY14969" fmla="*/ 2005062 h 4687251"/>
              <a:gd name="connsiteX14970" fmla="*/ 7124226 w 8079933"/>
              <a:gd name="connsiteY14970" fmla="*/ 2003763 h 4687251"/>
              <a:gd name="connsiteX14971" fmla="*/ 7135620 w 8079933"/>
              <a:gd name="connsiteY14971" fmla="*/ 1996942 h 4687251"/>
              <a:gd name="connsiteX14972" fmla="*/ 7141371 w 8079933"/>
              <a:gd name="connsiteY14972" fmla="*/ 1991528 h 4687251"/>
              <a:gd name="connsiteX14973" fmla="*/ 7142239 w 8079933"/>
              <a:gd name="connsiteY14973" fmla="*/ 1986765 h 4687251"/>
              <a:gd name="connsiteX14974" fmla="*/ 7145169 w 8079933"/>
              <a:gd name="connsiteY14974" fmla="*/ 1982109 h 4687251"/>
              <a:gd name="connsiteX14975" fmla="*/ 7144736 w 8079933"/>
              <a:gd name="connsiteY14975" fmla="*/ 1974205 h 4687251"/>
              <a:gd name="connsiteX14976" fmla="*/ 7147339 w 8079933"/>
              <a:gd name="connsiteY14976" fmla="*/ 1967167 h 4687251"/>
              <a:gd name="connsiteX14977" fmla="*/ 7153200 w 8079933"/>
              <a:gd name="connsiteY14977" fmla="*/ 1964136 h 4687251"/>
              <a:gd name="connsiteX14978" fmla="*/ 7155153 w 8079933"/>
              <a:gd name="connsiteY14978" fmla="*/ 1956882 h 4687251"/>
              <a:gd name="connsiteX14979" fmla="*/ 7153959 w 8079933"/>
              <a:gd name="connsiteY14979" fmla="*/ 1950494 h 4687251"/>
              <a:gd name="connsiteX14980" fmla="*/ 7158083 w 8079933"/>
              <a:gd name="connsiteY14980" fmla="*/ 1933820 h 4687251"/>
              <a:gd name="connsiteX14981" fmla="*/ 7157540 w 8079933"/>
              <a:gd name="connsiteY14981" fmla="*/ 1922452 h 4687251"/>
              <a:gd name="connsiteX14982" fmla="*/ 7158516 w 8079933"/>
              <a:gd name="connsiteY14982" fmla="*/ 1916064 h 4687251"/>
              <a:gd name="connsiteX14983" fmla="*/ 7156780 w 8079933"/>
              <a:gd name="connsiteY14983" fmla="*/ 1904588 h 4687251"/>
              <a:gd name="connsiteX14984" fmla="*/ 7152223 w 8079933"/>
              <a:gd name="connsiteY14984" fmla="*/ 1894085 h 4687251"/>
              <a:gd name="connsiteX14985" fmla="*/ 7149075 w 8079933"/>
              <a:gd name="connsiteY14985" fmla="*/ 1897550 h 4687251"/>
              <a:gd name="connsiteX14986" fmla="*/ 7145495 w 8079933"/>
              <a:gd name="connsiteY14986" fmla="*/ 1898415 h 4687251"/>
              <a:gd name="connsiteX14987" fmla="*/ 7142023 w 8079933"/>
              <a:gd name="connsiteY14987" fmla="*/ 1894085 h 4687251"/>
              <a:gd name="connsiteX14988" fmla="*/ 7142782 w 8079933"/>
              <a:gd name="connsiteY14988" fmla="*/ 1891486 h 4687251"/>
              <a:gd name="connsiteX14989" fmla="*/ 7146472 w 8079933"/>
              <a:gd name="connsiteY14989" fmla="*/ 1892244 h 4687251"/>
              <a:gd name="connsiteX14990" fmla="*/ 7149727 w 8079933"/>
              <a:gd name="connsiteY14990" fmla="*/ 1890187 h 4687251"/>
              <a:gd name="connsiteX14991" fmla="*/ 7151788 w 8079933"/>
              <a:gd name="connsiteY14991" fmla="*/ 1883691 h 4687251"/>
              <a:gd name="connsiteX14992" fmla="*/ 7149727 w 8079933"/>
              <a:gd name="connsiteY14992" fmla="*/ 1880118 h 4687251"/>
              <a:gd name="connsiteX14993" fmla="*/ 7143867 w 8079933"/>
              <a:gd name="connsiteY14993" fmla="*/ 1874055 h 4687251"/>
              <a:gd name="connsiteX14994" fmla="*/ 7143759 w 8079933"/>
              <a:gd name="connsiteY14994" fmla="*/ 1871348 h 4687251"/>
              <a:gd name="connsiteX14995" fmla="*/ 7146580 w 8079933"/>
              <a:gd name="connsiteY14995" fmla="*/ 1867125 h 4687251"/>
              <a:gd name="connsiteX14996" fmla="*/ 7149402 w 8079933"/>
              <a:gd name="connsiteY14996" fmla="*/ 1866043 h 4687251"/>
              <a:gd name="connsiteX14997" fmla="*/ 7149293 w 8079933"/>
              <a:gd name="connsiteY14997" fmla="*/ 1861171 h 4687251"/>
              <a:gd name="connsiteX14998" fmla="*/ 7147556 w 8079933"/>
              <a:gd name="connsiteY14998" fmla="*/ 1854242 h 4687251"/>
              <a:gd name="connsiteX14999" fmla="*/ 7148425 w 8079933"/>
              <a:gd name="connsiteY14999" fmla="*/ 1850452 h 4687251"/>
              <a:gd name="connsiteX15000" fmla="*/ 7151029 w 8079933"/>
              <a:gd name="connsiteY15000" fmla="*/ 1851859 h 4687251"/>
              <a:gd name="connsiteX15001" fmla="*/ 7153959 w 8079933"/>
              <a:gd name="connsiteY15001" fmla="*/ 1850885 h 4687251"/>
              <a:gd name="connsiteX15002" fmla="*/ 7155478 w 8079933"/>
              <a:gd name="connsiteY15002" fmla="*/ 1853375 h 4687251"/>
              <a:gd name="connsiteX15003" fmla="*/ 7156238 w 8079933"/>
              <a:gd name="connsiteY15003" fmla="*/ 1858139 h 4687251"/>
              <a:gd name="connsiteX15004" fmla="*/ 7156998 w 8079933"/>
              <a:gd name="connsiteY15004" fmla="*/ 1862362 h 4687251"/>
              <a:gd name="connsiteX15005" fmla="*/ 7160362 w 8079933"/>
              <a:gd name="connsiteY15005" fmla="*/ 1863661 h 4687251"/>
              <a:gd name="connsiteX15006" fmla="*/ 7162532 w 8079933"/>
              <a:gd name="connsiteY15006" fmla="*/ 1861387 h 4687251"/>
              <a:gd name="connsiteX15007" fmla="*/ 7161121 w 8079933"/>
              <a:gd name="connsiteY15007" fmla="*/ 1855757 h 4687251"/>
              <a:gd name="connsiteX15008" fmla="*/ 7162206 w 8079933"/>
              <a:gd name="connsiteY15008" fmla="*/ 1855757 h 4687251"/>
              <a:gd name="connsiteX15009" fmla="*/ 7165245 w 8079933"/>
              <a:gd name="connsiteY15009" fmla="*/ 1858139 h 4687251"/>
              <a:gd name="connsiteX15010" fmla="*/ 7168175 w 8079933"/>
              <a:gd name="connsiteY15010" fmla="*/ 1856299 h 4687251"/>
              <a:gd name="connsiteX15011" fmla="*/ 7169911 w 8079933"/>
              <a:gd name="connsiteY15011" fmla="*/ 1851968 h 4687251"/>
              <a:gd name="connsiteX15012" fmla="*/ 7167524 w 8079933"/>
              <a:gd name="connsiteY15012" fmla="*/ 1846013 h 4687251"/>
              <a:gd name="connsiteX15013" fmla="*/ 7162206 w 8079933"/>
              <a:gd name="connsiteY15013" fmla="*/ 1850777 h 4687251"/>
              <a:gd name="connsiteX15014" fmla="*/ 7159927 w 8079933"/>
              <a:gd name="connsiteY15014" fmla="*/ 1851751 h 4687251"/>
              <a:gd name="connsiteX15015" fmla="*/ 7157866 w 8079933"/>
              <a:gd name="connsiteY15015" fmla="*/ 1849803 h 4687251"/>
              <a:gd name="connsiteX15016" fmla="*/ 7157757 w 8079933"/>
              <a:gd name="connsiteY15016" fmla="*/ 1845797 h 4687251"/>
              <a:gd name="connsiteX15017" fmla="*/ 7160145 w 8079933"/>
              <a:gd name="connsiteY15017" fmla="*/ 1839950 h 4687251"/>
              <a:gd name="connsiteX15018" fmla="*/ 5253398 w 8079933"/>
              <a:gd name="connsiteY15018" fmla="*/ 1837568 h 4687251"/>
              <a:gd name="connsiteX15019" fmla="*/ 5190242 w 8079933"/>
              <a:gd name="connsiteY15019" fmla="*/ 1849478 h 4687251"/>
              <a:gd name="connsiteX15020" fmla="*/ 5209666 w 8079933"/>
              <a:gd name="connsiteY15020" fmla="*/ 1963162 h 4687251"/>
              <a:gd name="connsiteX15021" fmla="*/ 5206194 w 8079933"/>
              <a:gd name="connsiteY15021" fmla="*/ 1963486 h 4687251"/>
              <a:gd name="connsiteX15022" fmla="*/ 5196536 w 8079933"/>
              <a:gd name="connsiteY15022" fmla="*/ 1965543 h 4687251"/>
              <a:gd name="connsiteX15023" fmla="*/ 5196537 w 8079933"/>
              <a:gd name="connsiteY15023" fmla="*/ 1965544 h 4687251"/>
              <a:gd name="connsiteX15024" fmla="*/ 5206195 w 8079933"/>
              <a:gd name="connsiteY15024" fmla="*/ 1963487 h 4687251"/>
              <a:gd name="connsiteX15025" fmla="*/ 5209667 w 8079933"/>
              <a:gd name="connsiteY15025" fmla="*/ 1963162 h 4687251"/>
              <a:gd name="connsiteX15026" fmla="*/ 5220627 w 8079933"/>
              <a:gd name="connsiteY15026" fmla="*/ 1962079 h 4687251"/>
              <a:gd name="connsiteX15027" fmla="*/ 5230611 w 8079933"/>
              <a:gd name="connsiteY15027" fmla="*/ 1963812 h 4687251"/>
              <a:gd name="connsiteX15028" fmla="*/ 5233107 w 8079933"/>
              <a:gd name="connsiteY15028" fmla="*/ 1958290 h 4687251"/>
              <a:gd name="connsiteX15029" fmla="*/ 5230611 w 8079933"/>
              <a:gd name="connsiteY15029" fmla="*/ 1963811 h 4687251"/>
              <a:gd name="connsiteX15030" fmla="*/ 5220627 w 8079933"/>
              <a:gd name="connsiteY15030" fmla="*/ 1962079 h 4687251"/>
              <a:gd name="connsiteX15031" fmla="*/ 5209667 w 8079933"/>
              <a:gd name="connsiteY15031" fmla="*/ 1963162 h 4687251"/>
              <a:gd name="connsiteX15032" fmla="*/ 5190243 w 8079933"/>
              <a:gd name="connsiteY15032" fmla="*/ 1849478 h 4687251"/>
              <a:gd name="connsiteX15033" fmla="*/ 5253398 w 8079933"/>
              <a:gd name="connsiteY15033" fmla="*/ 1837568 h 4687251"/>
              <a:gd name="connsiteX15034" fmla="*/ 4302613 w 8079933"/>
              <a:gd name="connsiteY15034" fmla="*/ 1837397 h 4687251"/>
              <a:gd name="connsiteX15035" fmla="*/ 4302682 w 8079933"/>
              <a:gd name="connsiteY15035" fmla="*/ 1838092 h 4687251"/>
              <a:gd name="connsiteX15036" fmla="*/ 4302684 w 8079933"/>
              <a:gd name="connsiteY15036" fmla="*/ 1838109 h 4687251"/>
              <a:gd name="connsiteX15037" fmla="*/ 5744111 w 8079933"/>
              <a:gd name="connsiteY15037" fmla="*/ 1837026 h 4687251"/>
              <a:gd name="connsiteX15038" fmla="*/ 5744110 w 8079933"/>
              <a:gd name="connsiteY15038" fmla="*/ 1837027 h 4687251"/>
              <a:gd name="connsiteX15039" fmla="*/ 5746389 w 8079933"/>
              <a:gd name="connsiteY15039" fmla="*/ 1844064 h 4687251"/>
              <a:gd name="connsiteX15040" fmla="*/ 5746715 w 8079933"/>
              <a:gd name="connsiteY15040" fmla="*/ 1847745 h 4687251"/>
              <a:gd name="connsiteX15041" fmla="*/ 5748776 w 8079933"/>
              <a:gd name="connsiteY15041" fmla="*/ 1850777 h 4687251"/>
              <a:gd name="connsiteX15042" fmla="*/ 5749645 w 8079933"/>
              <a:gd name="connsiteY15042" fmla="*/ 1855757 h 4687251"/>
              <a:gd name="connsiteX15043" fmla="*/ 5754094 w 8079933"/>
              <a:gd name="connsiteY15043" fmla="*/ 1863012 h 4687251"/>
              <a:gd name="connsiteX15044" fmla="*/ 5754962 w 8079933"/>
              <a:gd name="connsiteY15044" fmla="*/ 1867018 h 4687251"/>
              <a:gd name="connsiteX15045" fmla="*/ 5760171 w 8079933"/>
              <a:gd name="connsiteY15045" fmla="*/ 1870698 h 4687251"/>
              <a:gd name="connsiteX15046" fmla="*/ 5762015 w 8079933"/>
              <a:gd name="connsiteY15046" fmla="*/ 1880551 h 4687251"/>
              <a:gd name="connsiteX15047" fmla="*/ 5759930 w 8079933"/>
              <a:gd name="connsiteY15047" fmla="*/ 1882401 h 4687251"/>
              <a:gd name="connsiteX15048" fmla="*/ 5762016 w 8079933"/>
              <a:gd name="connsiteY15048" fmla="*/ 1880551 h 4687251"/>
              <a:gd name="connsiteX15049" fmla="*/ 5760172 w 8079933"/>
              <a:gd name="connsiteY15049" fmla="*/ 1870698 h 4687251"/>
              <a:gd name="connsiteX15050" fmla="*/ 5754963 w 8079933"/>
              <a:gd name="connsiteY15050" fmla="*/ 1867017 h 4687251"/>
              <a:gd name="connsiteX15051" fmla="*/ 5754094 w 8079933"/>
              <a:gd name="connsiteY15051" fmla="*/ 1863011 h 4687251"/>
              <a:gd name="connsiteX15052" fmla="*/ 5749645 w 8079933"/>
              <a:gd name="connsiteY15052" fmla="*/ 1855757 h 4687251"/>
              <a:gd name="connsiteX15053" fmla="*/ 5748778 w 8079933"/>
              <a:gd name="connsiteY15053" fmla="*/ 1850776 h 4687251"/>
              <a:gd name="connsiteX15054" fmla="*/ 5746715 w 8079933"/>
              <a:gd name="connsiteY15054" fmla="*/ 1847745 h 4687251"/>
              <a:gd name="connsiteX15055" fmla="*/ 5746390 w 8079933"/>
              <a:gd name="connsiteY15055" fmla="*/ 1844064 h 4687251"/>
              <a:gd name="connsiteX15056" fmla="*/ 6095271 w 8079933"/>
              <a:gd name="connsiteY15056" fmla="*/ 1836810 h 4687251"/>
              <a:gd name="connsiteX15057" fmla="*/ 6095596 w 8079933"/>
              <a:gd name="connsiteY15057" fmla="*/ 1839841 h 4687251"/>
              <a:gd name="connsiteX15058" fmla="*/ 6097134 w 8079933"/>
              <a:gd name="connsiteY15058" fmla="*/ 1843558 h 4687251"/>
              <a:gd name="connsiteX15059" fmla="*/ 6095597 w 8079933"/>
              <a:gd name="connsiteY15059" fmla="*/ 1839842 h 4687251"/>
              <a:gd name="connsiteX15060" fmla="*/ 6095272 w 8079933"/>
              <a:gd name="connsiteY15060" fmla="*/ 1836811 h 4687251"/>
              <a:gd name="connsiteX15061" fmla="*/ 4137306 w 8079933"/>
              <a:gd name="connsiteY15061" fmla="*/ 1835727 h 4687251"/>
              <a:gd name="connsiteX15062" fmla="*/ 4137306 w 8079933"/>
              <a:gd name="connsiteY15062" fmla="*/ 1835728 h 4687251"/>
              <a:gd name="connsiteX15063" fmla="*/ 4147723 w 8079933"/>
              <a:gd name="connsiteY15063" fmla="*/ 1838543 h 4687251"/>
              <a:gd name="connsiteX15064" fmla="*/ 4151846 w 8079933"/>
              <a:gd name="connsiteY15064" fmla="*/ 1838110 h 4687251"/>
              <a:gd name="connsiteX15065" fmla="*/ 4155970 w 8079933"/>
              <a:gd name="connsiteY15065" fmla="*/ 1841575 h 4687251"/>
              <a:gd name="connsiteX15066" fmla="*/ 4155970 w 8079933"/>
              <a:gd name="connsiteY15066" fmla="*/ 1841573 h 4687251"/>
              <a:gd name="connsiteX15067" fmla="*/ 4151847 w 8079933"/>
              <a:gd name="connsiteY15067" fmla="*/ 1838109 h 4687251"/>
              <a:gd name="connsiteX15068" fmla="*/ 4147723 w 8079933"/>
              <a:gd name="connsiteY15068" fmla="*/ 1838542 h 4687251"/>
              <a:gd name="connsiteX15069" fmla="*/ 4988835 w 8079933"/>
              <a:gd name="connsiteY15069" fmla="*/ 1834537 h 4687251"/>
              <a:gd name="connsiteX15070" fmla="*/ 4988835 w 8079933"/>
              <a:gd name="connsiteY15070" fmla="*/ 1837569 h 4687251"/>
              <a:gd name="connsiteX15071" fmla="*/ 4986665 w 8079933"/>
              <a:gd name="connsiteY15071" fmla="*/ 1841358 h 4687251"/>
              <a:gd name="connsiteX15072" fmla="*/ 4985688 w 8079933"/>
              <a:gd name="connsiteY15072" fmla="*/ 1846664 h 4687251"/>
              <a:gd name="connsiteX15073" fmla="*/ 4983084 w 8079933"/>
              <a:gd name="connsiteY15073" fmla="*/ 1848395 h 4687251"/>
              <a:gd name="connsiteX15074" fmla="*/ 4981564 w 8079933"/>
              <a:gd name="connsiteY15074" fmla="*/ 1853376 h 4687251"/>
              <a:gd name="connsiteX15075" fmla="*/ 4979611 w 8079933"/>
              <a:gd name="connsiteY15075" fmla="*/ 1857166 h 4687251"/>
              <a:gd name="connsiteX15076" fmla="*/ 4979611 w 8079933"/>
              <a:gd name="connsiteY15076" fmla="*/ 1865936 h 4687251"/>
              <a:gd name="connsiteX15077" fmla="*/ 4977006 w 8079933"/>
              <a:gd name="connsiteY15077" fmla="*/ 1867776 h 4687251"/>
              <a:gd name="connsiteX15078" fmla="*/ 4975488 w 8079933"/>
              <a:gd name="connsiteY15078" fmla="*/ 1872107 h 4687251"/>
              <a:gd name="connsiteX15079" fmla="*/ 4977766 w 8079933"/>
              <a:gd name="connsiteY15079" fmla="*/ 1880335 h 4687251"/>
              <a:gd name="connsiteX15080" fmla="*/ 4981781 w 8079933"/>
              <a:gd name="connsiteY15080" fmla="*/ 1880335 h 4687251"/>
              <a:gd name="connsiteX15081" fmla="*/ 4982691 w 8079933"/>
              <a:gd name="connsiteY15081" fmla="*/ 1880067 h 4687251"/>
              <a:gd name="connsiteX15082" fmla="*/ 4980696 w 8079933"/>
              <a:gd name="connsiteY15082" fmla="*/ 1872864 h 4687251"/>
              <a:gd name="connsiteX15083" fmla="*/ 4982215 w 8079933"/>
              <a:gd name="connsiteY15083" fmla="*/ 1868533 h 4687251"/>
              <a:gd name="connsiteX15084" fmla="*/ 4984819 w 8079933"/>
              <a:gd name="connsiteY15084" fmla="*/ 1866693 h 4687251"/>
              <a:gd name="connsiteX15085" fmla="*/ 4984819 w 8079933"/>
              <a:gd name="connsiteY15085" fmla="*/ 1857923 h 4687251"/>
              <a:gd name="connsiteX15086" fmla="*/ 4986772 w 8079933"/>
              <a:gd name="connsiteY15086" fmla="*/ 1854133 h 4687251"/>
              <a:gd name="connsiteX15087" fmla="*/ 4988292 w 8079933"/>
              <a:gd name="connsiteY15087" fmla="*/ 1849153 h 4687251"/>
              <a:gd name="connsiteX15088" fmla="*/ 4990897 w 8079933"/>
              <a:gd name="connsiteY15088" fmla="*/ 1847421 h 4687251"/>
              <a:gd name="connsiteX15089" fmla="*/ 4991873 w 8079933"/>
              <a:gd name="connsiteY15089" fmla="*/ 1842115 h 4687251"/>
              <a:gd name="connsiteX15090" fmla="*/ 4994044 w 8079933"/>
              <a:gd name="connsiteY15090" fmla="*/ 1838326 h 4687251"/>
              <a:gd name="connsiteX15091" fmla="*/ 4994044 w 8079933"/>
              <a:gd name="connsiteY15091" fmla="*/ 1837052 h 4687251"/>
              <a:gd name="connsiteX15092" fmla="*/ 4993502 w 8079933"/>
              <a:gd name="connsiteY15092" fmla="*/ 1837352 h 4687251"/>
              <a:gd name="connsiteX15093" fmla="*/ 4991222 w 8079933"/>
              <a:gd name="connsiteY15093" fmla="*/ 1835403 h 4687251"/>
              <a:gd name="connsiteX15094" fmla="*/ 4073715 w 8079933"/>
              <a:gd name="connsiteY15094" fmla="*/ 1833454 h 4687251"/>
              <a:gd name="connsiteX15095" fmla="*/ 4080768 w 8079933"/>
              <a:gd name="connsiteY15095" fmla="*/ 1833778 h 4687251"/>
              <a:gd name="connsiteX15096" fmla="*/ 4082952 w 8079933"/>
              <a:gd name="connsiteY15096" fmla="*/ 1837840 h 4687251"/>
              <a:gd name="connsiteX15097" fmla="*/ 4080769 w 8079933"/>
              <a:gd name="connsiteY15097" fmla="*/ 1833778 h 4687251"/>
              <a:gd name="connsiteX15098" fmla="*/ 4117664 w 8079933"/>
              <a:gd name="connsiteY15098" fmla="*/ 1833346 h 4687251"/>
              <a:gd name="connsiteX15099" fmla="*/ 4117664 w 8079933"/>
              <a:gd name="connsiteY15099" fmla="*/ 1833346 h 4687251"/>
              <a:gd name="connsiteX15100" fmla="*/ 4123198 w 8079933"/>
              <a:gd name="connsiteY15100" fmla="*/ 1836811 h 4687251"/>
              <a:gd name="connsiteX15101" fmla="*/ 4122651 w 8079933"/>
              <a:gd name="connsiteY15101" fmla="*/ 1841453 h 4687251"/>
              <a:gd name="connsiteX15102" fmla="*/ 4123198 w 8079933"/>
              <a:gd name="connsiteY15102" fmla="*/ 1836810 h 4687251"/>
              <a:gd name="connsiteX15103" fmla="*/ 4166387 w 8079933"/>
              <a:gd name="connsiteY15103" fmla="*/ 1830530 h 4687251"/>
              <a:gd name="connsiteX15104" fmla="*/ 4157056 w 8079933"/>
              <a:gd name="connsiteY15104" fmla="*/ 1832587 h 4687251"/>
              <a:gd name="connsiteX15105" fmla="*/ 4157056 w 8079933"/>
              <a:gd name="connsiteY15105" fmla="*/ 1832587 h 4687251"/>
              <a:gd name="connsiteX15106" fmla="*/ 4166388 w 8079933"/>
              <a:gd name="connsiteY15106" fmla="*/ 1830531 h 4687251"/>
              <a:gd name="connsiteX15107" fmla="*/ 5011190 w 8079933"/>
              <a:gd name="connsiteY15107" fmla="*/ 1827933 h 4687251"/>
              <a:gd name="connsiteX15108" fmla="*/ 5008323 w 8079933"/>
              <a:gd name="connsiteY15108" fmla="*/ 1828690 h 4687251"/>
              <a:gd name="connsiteX15109" fmla="*/ 5010538 w 8079933"/>
              <a:gd name="connsiteY15109" fmla="*/ 1828690 h 4687251"/>
              <a:gd name="connsiteX15110" fmla="*/ 5012709 w 8079933"/>
              <a:gd name="connsiteY15110" fmla="*/ 1829664 h 4687251"/>
              <a:gd name="connsiteX15111" fmla="*/ 5012879 w 8079933"/>
              <a:gd name="connsiteY15111" fmla="*/ 1829619 h 4687251"/>
              <a:gd name="connsiteX15112" fmla="*/ 5003051 w 8079933"/>
              <a:gd name="connsiteY15112" fmla="*/ 1827933 h 4687251"/>
              <a:gd name="connsiteX15113" fmla="*/ 5006524 w 8079933"/>
              <a:gd name="connsiteY15113" fmla="*/ 1829232 h 4687251"/>
              <a:gd name="connsiteX15114" fmla="*/ 5007174 w 8079933"/>
              <a:gd name="connsiteY15114" fmla="*/ 1831181 h 4687251"/>
              <a:gd name="connsiteX15115" fmla="*/ 5003919 w 8079933"/>
              <a:gd name="connsiteY15115" fmla="*/ 1833563 h 4687251"/>
              <a:gd name="connsiteX15116" fmla="*/ 5000772 w 8079933"/>
              <a:gd name="connsiteY15116" fmla="*/ 1833563 h 4687251"/>
              <a:gd name="connsiteX15117" fmla="*/ 4998493 w 8079933"/>
              <a:gd name="connsiteY15117" fmla="*/ 1835403 h 4687251"/>
              <a:gd name="connsiteX15118" fmla="*/ 4996540 w 8079933"/>
              <a:gd name="connsiteY15118" fmla="*/ 1833455 h 4687251"/>
              <a:gd name="connsiteX15119" fmla="*/ 4995611 w 8079933"/>
              <a:gd name="connsiteY15119" fmla="*/ 1835864 h 4687251"/>
              <a:gd name="connsiteX15120" fmla="*/ 4996431 w 8079933"/>
              <a:gd name="connsiteY15120" fmla="*/ 1836161 h 4687251"/>
              <a:gd name="connsiteX15121" fmla="*/ 4998710 w 8079933"/>
              <a:gd name="connsiteY15121" fmla="*/ 1838109 h 4687251"/>
              <a:gd name="connsiteX15122" fmla="*/ 5000663 w 8079933"/>
              <a:gd name="connsiteY15122" fmla="*/ 1837027 h 4687251"/>
              <a:gd name="connsiteX15123" fmla="*/ 5001748 w 8079933"/>
              <a:gd name="connsiteY15123" fmla="*/ 1834211 h 4687251"/>
              <a:gd name="connsiteX15124" fmla="*/ 5003701 w 8079933"/>
              <a:gd name="connsiteY15124" fmla="*/ 1836161 h 4687251"/>
              <a:gd name="connsiteX15125" fmla="*/ 5005981 w 8079933"/>
              <a:gd name="connsiteY15125" fmla="*/ 1834320 h 4687251"/>
              <a:gd name="connsiteX15126" fmla="*/ 5009127 w 8079933"/>
              <a:gd name="connsiteY15126" fmla="*/ 1834320 h 4687251"/>
              <a:gd name="connsiteX15127" fmla="*/ 5012383 w 8079933"/>
              <a:gd name="connsiteY15127" fmla="*/ 1831938 h 4687251"/>
              <a:gd name="connsiteX15128" fmla="*/ 5011732 w 8079933"/>
              <a:gd name="connsiteY15128" fmla="*/ 1829989 h 4687251"/>
              <a:gd name="connsiteX15129" fmla="*/ 5008286 w 8079933"/>
              <a:gd name="connsiteY15129" fmla="*/ 1828700 h 4687251"/>
              <a:gd name="connsiteX15130" fmla="*/ 5007501 w 8079933"/>
              <a:gd name="connsiteY15130" fmla="*/ 1828907 h 4687251"/>
              <a:gd name="connsiteX15131" fmla="*/ 5005330 w 8079933"/>
              <a:gd name="connsiteY15131" fmla="*/ 1827933 h 4687251"/>
              <a:gd name="connsiteX15132" fmla="*/ 2363173 w 8079933"/>
              <a:gd name="connsiteY15132" fmla="*/ 1825488 h 4687251"/>
              <a:gd name="connsiteX15133" fmla="*/ 2362081 w 8079933"/>
              <a:gd name="connsiteY15133" fmla="*/ 1826199 h 4687251"/>
              <a:gd name="connsiteX15134" fmla="*/ 2362082 w 8079933"/>
              <a:gd name="connsiteY15134" fmla="*/ 1826199 h 4687251"/>
              <a:gd name="connsiteX15135" fmla="*/ 2354810 w 8079933"/>
              <a:gd name="connsiteY15135" fmla="*/ 1825334 h 4687251"/>
              <a:gd name="connsiteX15136" fmla="*/ 2352640 w 8079933"/>
              <a:gd name="connsiteY15136" fmla="*/ 1826958 h 4687251"/>
              <a:gd name="connsiteX15137" fmla="*/ 2352641 w 8079933"/>
              <a:gd name="connsiteY15137" fmla="*/ 1826958 h 4687251"/>
              <a:gd name="connsiteX15138" fmla="*/ 2354811 w 8079933"/>
              <a:gd name="connsiteY15138" fmla="*/ 1825334 h 4687251"/>
              <a:gd name="connsiteX15139" fmla="*/ 5731307 w 8079933"/>
              <a:gd name="connsiteY15139" fmla="*/ 1824683 h 4687251"/>
              <a:gd name="connsiteX15140" fmla="*/ 5731306 w 8079933"/>
              <a:gd name="connsiteY15140" fmla="*/ 1824684 h 4687251"/>
              <a:gd name="connsiteX15141" fmla="*/ 5731197 w 8079933"/>
              <a:gd name="connsiteY15141" fmla="*/ 1828040 h 4687251"/>
              <a:gd name="connsiteX15142" fmla="*/ 5735212 w 8079933"/>
              <a:gd name="connsiteY15142" fmla="*/ 1831180 h 4687251"/>
              <a:gd name="connsiteX15143" fmla="*/ 5741831 w 8079933"/>
              <a:gd name="connsiteY15143" fmla="*/ 1830747 h 4687251"/>
              <a:gd name="connsiteX15144" fmla="*/ 5747366 w 8079933"/>
              <a:gd name="connsiteY15144" fmla="*/ 1831505 h 4687251"/>
              <a:gd name="connsiteX15145" fmla="*/ 5747475 w 8079933"/>
              <a:gd name="connsiteY15145" fmla="*/ 1833670 h 4687251"/>
              <a:gd name="connsiteX15146" fmla="*/ 5747367 w 8079933"/>
              <a:gd name="connsiteY15146" fmla="*/ 1831504 h 4687251"/>
              <a:gd name="connsiteX15147" fmla="*/ 5741832 w 8079933"/>
              <a:gd name="connsiteY15147" fmla="*/ 1830746 h 4687251"/>
              <a:gd name="connsiteX15148" fmla="*/ 5735213 w 8079933"/>
              <a:gd name="connsiteY15148" fmla="*/ 1831180 h 4687251"/>
              <a:gd name="connsiteX15149" fmla="*/ 5731198 w 8079933"/>
              <a:gd name="connsiteY15149" fmla="*/ 1828039 h 4687251"/>
              <a:gd name="connsiteX15150" fmla="*/ 6084202 w 8079933"/>
              <a:gd name="connsiteY15150" fmla="*/ 1824576 h 4687251"/>
              <a:gd name="connsiteX15151" fmla="*/ 6084853 w 8079933"/>
              <a:gd name="connsiteY15151" fmla="*/ 1828798 h 4687251"/>
              <a:gd name="connsiteX15152" fmla="*/ 6085830 w 8079933"/>
              <a:gd name="connsiteY15152" fmla="*/ 1831504 h 4687251"/>
              <a:gd name="connsiteX15153" fmla="*/ 6085831 w 8079933"/>
              <a:gd name="connsiteY15153" fmla="*/ 1831505 h 4687251"/>
              <a:gd name="connsiteX15154" fmla="*/ 6084854 w 8079933"/>
              <a:gd name="connsiteY15154" fmla="*/ 1828798 h 4687251"/>
              <a:gd name="connsiteX15155" fmla="*/ 6084203 w 8079933"/>
              <a:gd name="connsiteY15155" fmla="*/ 1824576 h 4687251"/>
              <a:gd name="connsiteX15156" fmla="*/ 4559109 w 8079933"/>
              <a:gd name="connsiteY15156" fmla="*/ 1824034 h 4687251"/>
              <a:gd name="connsiteX15157" fmla="*/ 4558024 w 8079933"/>
              <a:gd name="connsiteY15157" fmla="*/ 1846445 h 4687251"/>
              <a:gd name="connsiteX15158" fmla="*/ 4558024 w 8079933"/>
              <a:gd name="connsiteY15158" fmla="*/ 1846446 h 4687251"/>
              <a:gd name="connsiteX15159" fmla="*/ 4559110 w 8079933"/>
              <a:gd name="connsiteY15159" fmla="*/ 1824034 h 4687251"/>
              <a:gd name="connsiteX15160" fmla="*/ 4296716 w 8079933"/>
              <a:gd name="connsiteY15160" fmla="*/ 1821977 h 4687251"/>
              <a:gd name="connsiteX15161" fmla="*/ 4295631 w 8079933"/>
              <a:gd name="connsiteY15161" fmla="*/ 1822301 h 4687251"/>
              <a:gd name="connsiteX15162" fmla="*/ 4289771 w 8079933"/>
              <a:gd name="connsiteY15162" fmla="*/ 1824250 h 4687251"/>
              <a:gd name="connsiteX15163" fmla="*/ 4279353 w 8079933"/>
              <a:gd name="connsiteY15163" fmla="*/ 1830097 h 4687251"/>
              <a:gd name="connsiteX15164" fmla="*/ 4276857 w 8079933"/>
              <a:gd name="connsiteY15164" fmla="*/ 1829772 h 4687251"/>
              <a:gd name="connsiteX15165" fmla="*/ 4273385 w 8079933"/>
              <a:gd name="connsiteY15165" fmla="*/ 1830205 h 4687251"/>
              <a:gd name="connsiteX15166" fmla="*/ 4267959 w 8079933"/>
              <a:gd name="connsiteY15166" fmla="*/ 1832695 h 4687251"/>
              <a:gd name="connsiteX15167" fmla="*/ 4262750 w 8079933"/>
              <a:gd name="connsiteY15167" fmla="*/ 1832695 h 4687251"/>
              <a:gd name="connsiteX15168" fmla="*/ 4257107 w 8079933"/>
              <a:gd name="connsiteY15168" fmla="*/ 1834969 h 4687251"/>
              <a:gd name="connsiteX15169" fmla="*/ 4253961 w 8079933"/>
              <a:gd name="connsiteY15169" fmla="*/ 1831288 h 4687251"/>
              <a:gd name="connsiteX15170" fmla="*/ 4257107 w 8079933"/>
              <a:gd name="connsiteY15170" fmla="*/ 1834969 h 4687251"/>
              <a:gd name="connsiteX15171" fmla="*/ 4262750 w 8079933"/>
              <a:gd name="connsiteY15171" fmla="*/ 1832696 h 4687251"/>
              <a:gd name="connsiteX15172" fmla="*/ 4267959 w 8079933"/>
              <a:gd name="connsiteY15172" fmla="*/ 1832696 h 4687251"/>
              <a:gd name="connsiteX15173" fmla="*/ 4273384 w 8079933"/>
              <a:gd name="connsiteY15173" fmla="*/ 1830206 h 4687251"/>
              <a:gd name="connsiteX15174" fmla="*/ 4276857 w 8079933"/>
              <a:gd name="connsiteY15174" fmla="*/ 1829773 h 4687251"/>
              <a:gd name="connsiteX15175" fmla="*/ 4279354 w 8079933"/>
              <a:gd name="connsiteY15175" fmla="*/ 1830097 h 4687251"/>
              <a:gd name="connsiteX15176" fmla="*/ 4289771 w 8079933"/>
              <a:gd name="connsiteY15176" fmla="*/ 1824251 h 4687251"/>
              <a:gd name="connsiteX15177" fmla="*/ 4295631 w 8079933"/>
              <a:gd name="connsiteY15177" fmla="*/ 1822302 h 4687251"/>
              <a:gd name="connsiteX15178" fmla="*/ 4301599 w 8079933"/>
              <a:gd name="connsiteY15178" fmla="*/ 1829231 h 4687251"/>
              <a:gd name="connsiteX15179" fmla="*/ 4301623 w 8079933"/>
              <a:gd name="connsiteY15179" fmla="*/ 1829424 h 4687251"/>
              <a:gd name="connsiteX15180" fmla="*/ 4302247 w 8079933"/>
              <a:gd name="connsiteY15180" fmla="*/ 1834406 h 4687251"/>
              <a:gd name="connsiteX15181" fmla="*/ 4301599 w 8079933"/>
              <a:gd name="connsiteY15181" fmla="*/ 1829231 h 4687251"/>
              <a:gd name="connsiteX15182" fmla="*/ 4295631 w 8079933"/>
              <a:gd name="connsiteY15182" fmla="*/ 1822302 h 4687251"/>
              <a:gd name="connsiteX15183" fmla="*/ 5010430 w 8079933"/>
              <a:gd name="connsiteY15183" fmla="*/ 1821328 h 4687251"/>
              <a:gd name="connsiteX15184" fmla="*/ 5007283 w 8079933"/>
              <a:gd name="connsiteY15184" fmla="*/ 1821977 h 4687251"/>
              <a:gd name="connsiteX15185" fmla="*/ 5014228 w 8079933"/>
              <a:gd name="connsiteY15185" fmla="*/ 1825984 h 4687251"/>
              <a:gd name="connsiteX15186" fmla="*/ 5015205 w 8079933"/>
              <a:gd name="connsiteY15186" fmla="*/ 1828691 h 4687251"/>
              <a:gd name="connsiteX15187" fmla="*/ 5014689 w 8079933"/>
              <a:gd name="connsiteY15187" fmla="*/ 1829141 h 4687251"/>
              <a:gd name="connsiteX15188" fmla="*/ 5016398 w 8079933"/>
              <a:gd name="connsiteY15188" fmla="*/ 1828690 h 4687251"/>
              <a:gd name="connsiteX15189" fmla="*/ 5018676 w 8079933"/>
              <a:gd name="connsiteY15189" fmla="*/ 1830964 h 4687251"/>
              <a:gd name="connsiteX15190" fmla="*/ 5020413 w 8079933"/>
              <a:gd name="connsiteY15190" fmla="*/ 1829448 h 4687251"/>
              <a:gd name="connsiteX15191" fmla="*/ 5019436 w 8079933"/>
              <a:gd name="connsiteY15191" fmla="*/ 1826741 h 4687251"/>
              <a:gd name="connsiteX15192" fmla="*/ 5012492 w 8079933"/>
              <a:gd name="connsiteY15192" fmla="*/ 1822735 h 4687251"/>
              <a:gd name="connsiteX15193" fmla="*/ 5014294 w 8079933"/>
              <a:gd name="connsiteY15193" fmla="*/ 1822363 h 4687251"/>
              <a:gd name="connsiteX15194" fmla="*/ 5735538 w 8079933"/>
              <a:gd name="connsiteY15194" fmla="*/ 1820678 h 4687251"/>
              <a:gd name="connsiteX15195" fmla="*/ 5735537 w 8079933"/>
              <a:gd name="connsiteY15195" fmla="*/ 1820678 h 4687251"/>
              <a:gd name="connsiteX15196" fmla="*/ 5732055 w 8079933"/>
              <a:gd name="connsiteY15196" fmla="*/ 1823975 h 4687251"/>
              <a:gd name="connsiteX15197" fmla="*/ 5739552 w 8079933"/>
              <a:gd name="connsiteY15197" fmla="*/ 1819054 h 4687251"/>
              <a:gd name="connsiteX15198" fmla="*/ 5737240 w 8079933"/>
              <a:gd name="connsiteY15198" fmla="*/ 1819989 h 4687251"/>
              <a:gd name="connsiteX15199" fmla="*/ 5739552 w 8079933"/>
              <a:gd name="connsiteY15199" fmla="*/ 1819054 h 4687251"/>
              <a:gd name="connsiteX15200" fmla="*/ 4201872 w 8079933"/>
              <a:gd name="connsiteY15200" fmla="*/ 1818837 h 4687251"/>
              <a:gd name="connsiteX15201" fmla="*/ 4201872 w 8079933"/>
              <a:gd name="connsiteY15201" fmla="*/ 1818838 h 4687251"/>
              <a:gd name="connsiteX15202" fmla="*/ 4213700 w 8079933"/>
              <a:gd name="connsiteY15202" fmla="*/ 1825767 h 4687251"/>
              <a:gd name="connsiteX15203" fmla="*/ 4228133 w 8079933"/>
              <a:gd name="connsiteY15203" fmla="*/ 1828474 h 4687251"/>
              <a:gd name="connsiteX15204" fmla="*/ 4236055 w 8079933"/>
              <a:gd name="connsiteY15204" fmla="*/ 1827824 h 4687251"/>
              <a:gd name="connsiteX15205" fmla="*/ 4239527 w 8079933"/>
              <a:gd name="connsiteY15205" fmla="*/ 1830964 h 4687251"/>
              <a:gd name="connsiteX15206" fmla="*/ 4239527 w 8079933"/>
              <a:gd name="connsiteY15206" fmla="*/ 1830963 h 4687251"/>
              <a:gd name="connsiteX15207" fmla="*/ 4243217 w 8079933"/>
              <a:gd name="connsiteY15207" fmla="*/ 1831396 h 4687251"/>
              <a:gd name="connsiteX15208" fmla="*/ 4239528 w 8079933"/>
              <a:gd name="connsiteY15208" fmla="*/ 1830963 h 4687251"/>
              <a:gd name="connsiteX15209" fmla="*/ 4236055 w 8079933"/>
              <a:gd name="connsiteY15209" fmla="*/ 1827823 h 4687251"/>
              <a:gd name="connsiteX15210" fmla="*/ 4228133 w 8079933"/>
              <a:gd name="connsiteY15210" fmla="*/ 1828473 h 4687251"/>
              <a:gd name="connsiteX15211" fmla="*/ 4213700 w 8079933"/>
              <a:gd name="connsiteY15211" fmla="*/ 1825766 h 4687251"/>
              <a:gd name="connsiteX15212" fmla="*/ 2368141 w 8079933"/>
              <a:gd name="connsiteY15212" fmla="*/ 1818662 h 4687251"/>
              <a:gd name="connsiteX15213" fmla="*/ 2366205 w 8079933"/>
              <a:gd name="connsiteY15213" fmla="*/ 1820786 h 4687251"/>
              <a:gd name="connsiteX15214" fmla="*/ 2365121 w 8079933"/>
              <a:gd name="connsiteY15214" fmla="*/ 1823761 h 4687251"/>
              <a:gd name="connsiteX15215" fmla="*/ 2364903 w 8079933"/>
              <a:gd name="connsiteY15215" fmla="*/ 1824359 h 4687251"/>
              <a:gd name="connsiteX15216" fmla="*/ 2364903 w 8079933"/>
              <a:gd name="connsiteY15216" fmla="*/ 1824359 h 4687251"/>
              <a:gd name="connsiteX15217" fmla="*/ 2365121 w 8079933"/>
              <a:gd name="connsiteY15217" fmla="*/ 1823761 h 4687251"/>
              <a:gd name="connsiteX15218" fmla="*/ 2366205 w 8079933"/>
              <a:gd name="connsiteY15218" fmla="*/ 1820786 h 4687251"/>
              <a:gd name="connsiteX15219" fmla="*/ 5753938 w 8079933"/>
              <a:gd name="connsiteY15219" fmla="*/ 1817608 h 4687251"/>
              <a:gd name="connsiteX15220" fmla="*/ 5753226 w 8079933"/>
              <a:gd name="connsiteY15220" fmla="*/ 1817754 h 4687251"/>
              <a:gd name="connsiteX15221" fmla="*/ 5753226 w 8079933"/>
              <a:gd name="connsiteY15221" fmla="*/ 1817754 h 4687251"/>
              <a:gd name="connsiteX15222" fmla="*/ 5753225 w 8079933"/>
              <a:gd name="connsiteY15222" fmla="*/ 1817754 h 4687251"/>
              <a:gd name="connsiteX15223" fmla="*/ 5751480 w 8079933"/>
              <a:gd name="connsiteY15223" fmla="*/ 1818420 h 4687251"/>
              <a:gd name="connsiteX15224" fmla="*/ 5753226 w 8079933"/>
              <a:gd name="connsiteY15224" fmla="*/ 1817754 h 4687251"/>
              <a:gd name="connsiteX15225" fmla="*/ 4075840 w 8079933"/>
              <a:gd name="connsiteY15225" fmla="*/ 1816720 h 4687251"/>
              <a:gd name="connsiteX15226" fmla="*/ 4073823 w 8079933"/>
              <a:gd name="connsiteY15226" fmla="*/ 1817429 h 4687251"/>
              <a:gd name="connsiteX15227" fmla="*/ 4067637 w 8079933"/>
              <a:gd name="connsiteY15227" fmla="*/ 1827282 h 4687251"/>
              <a:gd name="connsiteX15228" fmla="*/ 4066661 w 8079933"/>
              <a:gd name="connsiteY15228" fmla="*/ 1834537 h 4687251"/>
              <a:gd name="connsiteX15229" fmla="*/ 4066661 w 8079933"/>
              <a:gd name="connsiteY15229" fmla="*/ 1839083 h 4687251"/>
              <a:gd name="connsiteX15230" fmla="*/ 4066662 w 8079933"/>
              <a:gd name="connsiteY15230" fmla="*/ 1839083 h 4687251"/>
              <a:gd name="connsiteX15231" fmla="*/ 4066662 w 8079933"/>
              <a:gd name="connsiteY15231" fmla="*/ 1834536 h 4687251"/>
              <a:gd name="connsiteX15232" fmla="*/ 4067638 w 8079933"/>
              <a:gd name="connsiteY15232" fmla="*/ 1827282 h 4687251"/>
              <a:gd name="connsiteX15233" fmla="*/ 4073823 w 8079933"/>
              <a:gd name="connsiteY15233" fmla="*/ 1817430 h 4687251"/>
              <a:gd name="connsiteX15234" fmla="*/ 6059243 w 8079933"/>
              <a:gd name="connsiteY15234" fmla="*/ 1814831 h 4687251"/>
              <a:gd name="connsiteX15235" fmla="*/ 6067279 w 8079933"/>
              <a:gd name="connsiteY15235" fmla="*/ 1820572 h 4687251"/>
              <a:gd name="connsiteX15236" fmla="*/ 6059244 w 8079933"/>
              <a:gd name="connsiteY15236" fmla="*/ 1814831 h 4687251"/>
              <a:gd name="connsiteX15237" fmla="*/ 6895742 w 8079933"/>
              <a:gd name="connsiteY15237" fmla="*/ 1814058 h 4687251"/>
              <a:gd name="connsiteX15238" fmla="*/ 6897535 w 8079933"/>
              <a:gd name="connsiteY15238" fmla="*/ 1816130 h 4687251"/>
              <a:gd name="connsiteX15239" fmla="*/ 6905132 w 8079933"/>
              <a:gd name="connsiteY15239" fmla="*/ 1817863 h 4687251"/>
              <a:gd name="connsiteX15240" fmla="*/ 6905131 w 8079933"/>
              <a:gd name="connsiteY15240" fmla="*/ 1817862 h 4687251"/>
              <a:gd name="connsiteX15241" fmla="*/ 6897535 w 8079933"/>
              <a:gd name="connsiteY15241" fmla="*/ 1816130 h 4687251"/>
              <a:gd name="connsiteX15242" fmla="*/ 5781874 w 8079933"/>
              <a:gd name="connsiteY15242" fmla="*/ 1813532 h 4687251"/>
              <a:gd name="connsiteX15243" fmla="*/ 5780664 w 8079933"/>
              <a:gd name="connsiteY15243" fmla="*/ 1814304 h 4687251"/>
              <a:gd name="connsiteX15244" fmla="*/ 5781875 w 8079933"/>
              <a:gd name="connsiteY15244" fmla="*/ 1813532 h 4687251"/>
              <a:gd name="connsiteX15245" fmla="*/ 4189176 w 8079933"/>
              <a:gd name="connsiteY15245" fmla="*/ 1813315 h 4687251"/>
              <a:gd name="connsiteX15246" fmla="*/ 4176697 w 8079933"/>
              <a:gd name="connsiteY15246" fmla="*/ 1820569 h 4687251"/>
              <a:gd name="connsiteX15247" fmla="*/ 4168775 w 8079933"/>
              <a:gd name="connsiteY15247" fmla="*/ 1817105 h 4687251"/>
              <a:gd name="connsiteX15248" fmla="*/ 4168775 w 8079933"/>
              <a:gd name="connsiteY15248" fmla="*/ 1817106 h 4687251"/>
              <a:gd name="connsiteX15249" fmla="*/ 4168775 w 8079933"/>
              <a:gd name="connsiteY15249" fmla="*/ 1817105 h 4687251"/>
              <a:gd name="connsiteX15250" fmla="*/ 4176697 w 8079933"/>
              <a:gd name="connsiteY15250" fmla="*/ 1820570 h 4687251"/>
              <a:gd name="connsiteX15251" fmla="*/ 4189176 w 8079933"/>
              <a:gd name="connsiteY15251" fmla="*/ 1813316 h 4687251"/>
              <a:gd name="connsiteX15252" fmla="*/ 4194276 w 8079933"/>
              <a:gd name="connsiteY15252" fmla="*/ 1814724 h 4687251"/>
              <a:gd name="connsiteX15253" fmla="*/ 4202632 w 8079933"/>
              <a:gd name="connsiteY15253" fmla="*/ 1814074 h 4687251"/>
              <a:gd name="connsiteX15254" fmla="*/ 4202632 w 8079933"/>
              <a:gd name="connsiteY15254" fmla="*/ 1814073 h 4687251"/>
              <a:gd name="connsiteX15255" fmla="*/ 4194276 w 8079933"/>
              <a:gd name="connsiteY15255" fmla="*/ 1814722 h 4687251"/>
              <a:gd name="connsiteX15256" fmla="*/ 4162915 w 8079933"/>
              <a:gd name="connsiteY15256" fmla="*/ 1813315 h 4687251"/>
              <a:gd name="connsiteX15257" fmla="*/ 4158792 w 8079933"/>
              <a:gd name="connsiteY15257" fmla="*/ 1817105 h 4687251"/>
              <a:gd name="connsiteX15258" fmla="*/ 4158792 w 8079933"/>
              <a:gd name="connsiteY15258" fmla="*/ 1817105 h 4687251"/>
              <a:gd name="connsiteX15259" fmla="*/ 4162916 w 8079933"/>
              <a:gd name="connsiteY15259" fmla="*/ 1813315 h 4687251"/>
              <a:gd name="connsiteX15260" fmla="*/ 4166713 w 8079933"/>
              <a:gd name="connsiteY15260" fmla="*/ 1813315 h 4687251"/>
              <a:gd name="connsiteX15261" fmla="*/ 4166713 w 8079933"/>
              <a:gd name="connsiteY15261" fmla="*/ 1813315 h 4687251"/>
              <a:gd name="connsiteX15262" fmla="*/ 4596331 w 8079933"/>
              <a:gd name="connsiteY15262" fmla="*/ 1811258 h 4687251"/>
              <a:gd name="connsiteX15263" fmla="*/ 4597090 w 8079933"/>
              <a:gd name="connsiteY15263" fmla="*/ 1815589 h 4687251"/>
              <a:gd name="connsiteX15264" fmla="*/ 4596113 w 8079933"/>
              <a:gd name="connsiteY15264" fmla="*/ 1819487 h 4687251"/>
              <a:gd name="connsiteX15265" fmla="*/ 4599043 w 8079933"/>
              <a:gd name="connsiteY15265" fmla="*/ 1823710 h 4687251"/>
              <a:gd name="connsiteX15266" fmla="*/ 4598175 w 8079933"/>
              <a:gd name="connsiteY15266" fmla="*/ 1826200 h 4687251"/>
              <a:gd name="connsiteX15267" fmla="*/ 4591122 w 8079933"/>
              <a:gd name="connsiteY15267" fmla="*/ 1826416 h 4687251"/>
              <a:gd name="connsiteX15268" fmla="*/ 4587324 w 8079933"/>
              <a:gd name="connsiteY15268" fmla="*/ 1823276 h 4687251"/>
              <a:gd name="connsiteX15269" fmla="*/ 4581138 w 8079933"/>
              <a:gd name="connsiteY15269" fmla="*/ 1825333 h 4687251"/>
              <a:gd name="connsiteX15270" fmla="*/ 4576472 w 8079933"/>
              <a:gd name="connsiteY15270" fmla="*/ 1825550 h 4687251"/>
              <a:gd name="connsiteX15271" fmla="*/ 4575821 w 8079933"/>
              <a:gd name="connsiteY15271" fmla="*/ 1834104 h 4687251"/>
              <a:gd name="connsiteX15272" fmla="*/ 4575929 w 8079933"/>
              <a:gd name="connsiteY15272" fmla="*/ 1839950 h 4687251"/>
              <a:gd name="connsiteX15273" fmla="*/ 4575930 w 8079933"/>
              <a:gd name="connsiteY15273" fmla="*/ 1839950 h 4687251"/>
              <a:gd name="connsiteX15274" fmla="*/ 4575821 w 8079933"/>
              <a:gd name="connsiteY15274" fmla="*/ 1834104 h 4687251"/>
              <a:gd name="connsiteX15275" fmla="*/ 4576473 w 8079933"/>
              <a:gd name="connsiteY15275" fmla="*/ 1825550 h 4687251"/>
              <a:gd name="connsiteX15276" fmla="*/ 4581139 w 8079933"/>
              <a:gd name="connsiteY15276" fmla="*/ 1825334 h 4687251"/>
              <a:gd name="connsiteX15277" fmla="*/ 4587324 w 8079933"/>
              <a:gd name="connsiteY15277" fmla="*/ 1823277 h 4687251"/>
              <a:gd name="connsiteX15278" fmla="*/ 4591122 w 8079933"/>
              <a:gd name="connsiteY15278" fmla="*/ 1826417 h 4687251"/>
              <a:gd name="connsiteX15279" fmla="*/ 4598176 w 8079933"/>
              <a:gd name="connsiteY15279" fmla="*/ 1826200 h 4687251"/>
              <a:gd name="connsiteX15280" fmla="*/ 4599044 w 8079933"/>
              <a:gd name="connsiteY15280" fmla="*/ 1823710 h 4687251"/>
              <a:gd name="connsiteX15281" fmla="*/ 4596114 w 8079933"/>
              <a:gd name="connsiteY15281" fmla="*/ 1819487 h 4687251"/>
              <a:gd name="connsiteX15282" fmla="*/ 4597091 w 8079933"/>
              <a:gd name="connsiteY15282" fmla="*/ 1815589 h 4687251"/>
              <a:gd name="connsiteX15283" fmla="*/ 4596331 w 8079933"/>
              <a:gd name="connsiteY15283" fmla="*/ 1811259 h 4687251"/>
              <a:gd name="connsiteX15284" fmla="*/ 6047849 w 8079933"/>
              <a:gd name="connsiteY15284" fmla="*/ 1810717 h 4687251"/>
              <a:gd name="connsiteX15285" fmla="*/ 6049384 w 8079933"/>
              <a:gd name="connsiteY15285" fmla="*/ 1812843 h 4687251"/>
              <a:gd name="connsiteX15286" fmla="*/ 6049802 w 8079933"/>
              <a:gd name="connsiteY15286" fmla="*/ 1813423 h 4687251"/>
              <a:gd name="connsiteX15287" fmla="*/ 6049802 w 8079933"/>
              <a:gd name="connsiteY15287" fmla="*/ 1813423 h 4687251"/>
              <a:gd name="connsiteX15288" fmla="*/ 6049384 w 8079933"/>
              <a:gd name="connsiteY15288" fmla="*/ 1812843 h 4687251"/>
              <a:gd name="connsiteX15289" fmla="*/ 6047850 w 8079933"/>
              <a:gd name="connsiteY15289" fmla="*/ 1810717 h 4687251"/>
              <a:gd name="connsiteX15290" fmla="*/ 7116847 w 8079933"/>
              <a:gd name="connsiteY15290" fmla="*/ 1809742 h 4687251"/>
              <a:gd name="connsiteX15291" fmla="*/ 7115870 w 8079933"/>
              <a:gd name="connsiteY15291" fmla="*/ 1814073 h 4687251"/>
              <a:gd name="connsiteX15292" fmla="*/ 7115653 w 8079933"/>
              <a:gd name="connsiteY15292" fmla="*/ 1818079 h 4687251"/>
              <a:gd name="connsiteX15293" fmla="*/ 7112940 w 8079933"/>
              <a:gd name="connsiteY15293" fmla="*/ 1820028 h 4687251"/>
              <a:gd name="connsiteX15294" fmla="*/ 7110988 w 8079933"/>
              <a:gd name="connsiteY15294" fmla="*/ 1817754 h 4687251"/>
              <a:gd name="connsiteX15295" fmla="*/ 7110445 w 8079933"/>
              <a:gd name="connsiteY15295" fmla="*/ 1814073 h 4687251"/>
              <a:gd name="connsiteX15296" fmla="*/ 7114243 w 8079933"/>
              <a:gd name="connsiteY15296" fmla="*/ 1810717 h 4687251"/>
              <a:gd name="connsiteX15297" fmla="*/ 4144328 w 8079933"/>
              <a:gd name="connsiteY15297" fmla="*/ 1807686 h 4687251"/>
              <a:gd name="connsiteX15298" fmla="*/ 4143165 w 8079933"/>
              <a:gd name="connsiteY15298" fmla="*/ 1810392 h 4687251"/>
              <a:gd name="connsiteX15299" fmla="*/ 4144685 w 8079933"/>
              <a:gd name="connsiteY15299" fmla="*/ 1813207 h 4687251"/>
              <a:gd name="connsiteX15300" fmla="*/ 4147072 w 8079933"/>
              <a:gd name="connsiteY15300" fmla="*/ 1813315 h 4687251"/>
              <a:gd name="connsiteX15301" fmla="*/ 4150871 w 8079933"/>
              <a:gd name="connsiteY15301" fmla="*/ 1813532 h 4687251"/>
              <a:gd name="connsiteX15302" fmla="*/ 4153800 w 8079933"/>
              <a:gd name="connsiteY15302" fmla="*/ 1812341 h 4687251"/>
              <a:gd name="connsiteX15303" fmla="*/ 4153799 w 8079933"/>
              <a:gd name="connsiteY15303" fmla="*/ 1812340 h 4687251"/>
              <a:gd name="connsiteX15304" fmla="*/ 4150870 w 8079933"/>
              <a:gd name="connsiteY15304" fmla="*/ 1813532 h 4687251"/>
              <a:gd name="connsiteX15305" fmla="*/ 4147071 w 8079933"/>
              <a:gd name="connsiteY15305" fmla="*/ 1813315 h 4687251"/>
              <a:gd name="connsiteX15306" fmla="*/ 4147071 w 8079933"/>
              <a:gd name="connsiteY15306" fmla="*/ 1813315 h 4687251"/>
              <a:gd name="connsiteX15307" fmla="*/ 4144685 w 8079933"/>
              <a:gd name="connsiteY15307" fmla="*/ 1813207 h 4687251"/>
              <a:gd name="connsiteX15308" fmla="*/ 4143166 w 8079933"/>
              <a:gd name="connsiteY15308" fmla="*/ 1810392 h 4687251"/>
              <a:gd name="connsiteX15309" fmla="*/ 6907193 w 8079933"/>
              <a:gd name="connsiteY15309" fmla="*/ 1806819 h 4687251"/>
              <a:gd name="connsiteX15310" fmla="*/ 6904480 w 8079933"/>
              <a:gd name="connsiteY15310" fmla="*/ 1808442 h 4687251"/>
              <a:gd name="connsiteX15311" fmla="*/ 6904424 w 8079933"/>
              <a:gd name="connsiteY15311" fmla="*/ 1808738 h 4687251"/>
              <a:gd name="connsiteX15312" fmla="*/ 6905999 w 8079933"/>
              <a:gd name="connsiteY15312" fmla="*/ 1807795 h 4687251"/>
              <a:gd name="connsiteX15313" fmla="*/ 6911642 w 8079933"/>
              <a:gd name="connsiteY15313" fmla="*/ 1808444 h 4687251"/>
              <a:gd name="connsiteX15314" fmla="*/ 6913270 w 8079933"/>
              <a:gd name="connsiteY15314" fmla="*/ 1808444 h 4687251"/>
              <a:gd name="connsiteX15315" fmla="*/ 6913270 w 8079933"/>
              <a:gd name="connsiteY15315" fmla="*/ 1807252 h 4687251"/>
              <a:gd name="connsiteX15316" fmla="*/ 6912836 w 8079933"/>
              <a:gd name="connsiteY15316" fmla="*/ 1807360 h 4687251"/>
              <a:gd name="connsiteX15317" fmla="*/ 4144576 w 8079933"/>
              <a:gd name="connsiteY15317" fmla="*/ 1806711 h 4687251"/>
              <a:gd name="connsiteX15318" fmla="*/ 4144576 w 8079933"/>
              <a:gd name="connsiteY15318" fmla="*/ 1806711 h 4687251"/>
              <a:gd name="connsiteX15319" fmla="*/ 4147289 w 8079933"/>
              <a:gd name="connsiteY15319" fmla="*/ 1808876 h 4687251"/>
              <a:gd name="connsiteX15320" fmla="*/ 5787397 w 8079933"/>
              <a:gd name="connsiteY15320" fmla="*/ 1805590 h 4687251"/>
              <a:gd name="connsiteX15321" fmla="*/ 5785455 w 8079933"/>
              <a:gd name="connsiteY15321" fmla="*/ 1809742 h 4687251"/>
              <a:gd name="connsiteX15322" fmla="*/ 5785035 w 8079933"/>
              <a:gd name="connsiteY15322" fmla="*/ 1813408 h 4687251"/>
              <a:gd name="connsiteX15323" fmla="*/ 5785456 w 8079933"/>
              <a:gd name="connsiteY15323" fmla="*/ 1809742 h 4687251"/>
              <a:gd name="connsiteX15324" fmla="*/ 6891349 w 8079933"/>
              <a:gd name="connsiteY15324" fmla="*/ 1805411 h 4687251"/>
              <a:gd name="connsiteX15325" fmla="*/ 6888202 w 8079933"/>
              <a:gd name="connsiteY15325" fmla="*/ 1806819 h 4687251"/>
              <a:gd name="connsiteX15326" fmla="*/ 6888202 w 8079933"/>
              <a:gd name="connsiteY15326" fmla="*/ 1812015 h 4687251"/>
              <a:gd name="connsiteX15327" fmla="*/ 6887876 w 8079933"/>
              <a:gd name="connsiteY15327" fmla="*/ 1816780 h 4687251"/>
              <a:gd name="connsiteX15328" fmla="*/ 6889613 w 8079933"/>
              <a:gd name="connsiteY15328" fmla="*/ 1820244 h 4687251"/>
              <a:gd name="connsiteX15329" fmla="*/ 6887876 w 8079933"/>
              <a:gd name="connsiteY15329" fmla="*/ 1824683 h 4687251"/>
              <a:gd name="connsiteX15330" fmla="*/ 6882993 w 8079933"/>
              <a:gd name="connsiteY15330" fmla="*/ 1825441 h 4687251"/>
              <a:gd name="connsiteX15331" fmla="*/ 6879195 w 8079933"/>
              <a:gd name="connsiteY15331" fmla="*/ 1830529 h 4687251"/>
              <a:gd name="connsiteX15332" fmla="*/ 6879195 w 8079933"/>
              <a:gd name="connsiteY15332" fmla="*/ 1835727 h 4687251"/>
              <a:gd name="connsiteX15333" fmla="*/ 6869971 w 8079933"/>
              <a:gd name="connsiteY15333" fmla="*/ 1843306 h 4687251"/>
              <a:gd name="connsiteX15334" fmla="*/ 6864437 w 8079933"/>
              <a:gd name="connsiteY15334" fmla="*/ 1843955 h 4687251"/>
              <a:gd name="connsiteX15335" fmla="*/ 6860205 w 8079933"/>
              <a:gd name="connsiteY15335" fmla="*/ 1846445 h 4687251"/>
              <a:gd name="connsiteX15336" fmla="*/ 6860206 w 8079933"/>
              <a:gd name="connsiteY15336" fmla="*/ 1846446 h 4687251"/>
              <a:gd name="connsiteX15337" fmla="*/ 6864438 w 8079933"/>
              <a:gd name="connsiteY15337" fmla="*/ 1843956 h 4687251"/>
              <a:gd name="connsiteX15338" fmla="*/ 6869973 w 8079933"/>
              <a:gd name="connsiteY15338" fmla="*/ 1843307 h 4687251"/>
              <a:gd name="connsiteX15339" fmla="*/ 6879196 w 8079933"/>
              <a:gd name="connsiteY15339" fmla="*/ 1835728 h 4687251"/>
              <a:gd name="connsiteX15340" fmla="*/ 6879196 w 8079933"/>
              <a:gd name="connsiteY15340" fmla="*/ 1830530 h 4687251"/>
              <a:gd name="connsiteX15341" fmla="*/ 6882995 w 8079933"/>
              <a:gd name="connsiteY15341" fmla="*/ 1825442 h 4687251"/>
              <a:gd name="connsiteX15342" fmla="*/ 6887877 w 8079933"/>
              <a:gd name="connsiteY15342" fmla="*/ 1824684 h 4687251"/>
              <a:gd name="connsiteX15343" fmla="*/ 6889614 w 8079933"/>
              <a:gd name="connsiteY15343" fmla="*/ 1820245 h 4687251"/>
              <a:gd name="connsiteX15344" fmla="*/ 6887877 w 8079933"/>
              <a:gd name="connsiteY15344" fmla="*/ 1816781 h 4687251"/>
              <a:gd name="connsiteX15345" fmla="*/ 6888203 w 8079933"/>
              <a:gd name="connsiteY15345" fmla="*/ 1812016 h 4687251"/>
              <a:gd name="connsiteX15346" fmla="*/ 6888203 w 8079933"/>
              <a:gd name="connsiteY15346" fmla="*/ 1806820 h 4687251"/>
              <a:gd name="connsiteX15347" fmla="*/ 6891350 w 8079933"/>
              <a:gd name="connsiteY15347" fmla="*/ 1805412 h 4687251"/>
              <a:gd name="connsiteX15348" fmla="*/ 6894224 w 8079933"/>
              <a:gd name="connsiteY15348" fmla="*/ 1807826 h 4687251"/>
              <a:gd name="connsiteX15349" fmla="*/ 4080701 w 8079933"/>
              <a:gd name="connsiteY15349" fmla="*/ 1801159 h 4687251"/>
              <a:gd name="connsiteX15350" fmla="*/ 4085543 w 8079933"/>
              <a:gd name="connsiteY15350" fmla="*/ 1803680 h 4687251"/>
              <a:gd name="connsiteX15351" fmla="*/ 4086411 w 8079933"/>
              <a:gd name="connsiteY15351" fmla="*/ 1808227 h 4687251"/>
              <a:gd name="connsiteX15352" fmla="*/ 4086412 w 8079933"/>
              <a:gd name="connsiteY15352" fmla="*/ 1808226 h 4687251"/>
              <a:gd name="connsiteX15353" fmla="*/ 4085543 w 8079933"/>
              <a:gd name="connsiteY15353" fmla="*/ 1803679 h 4687251"/>
              <a:gd name="connsiteX15354" fmla="*/ 4151708 w 8079933"/>
              <a:gd name="connsiteY15354" fmla="*/ 1800008 h 4687251"/>
              <a:gd name="connsiteX15355" fmla="*/ 4153474 w 8079933"/>
              <a:gd name="connsiteY15355" fmla="*/ 1801946 h 4687251"/>
              <a:gd name="connsiteX15356" fmla="*/ 4153475 w 8079933"/>
              <a:gd name="connsiteY15356" fmla="*/ 1801947 h 4687251"/>
              <a:gd name="connsiteX15357" fmla="*/ 4582657 w 8079933"/>
              <a:gd name="connsiteY15357" fmla="*/ 1799241 h 4687251"/>
              <a:gd name="connsiteX15358" fmla="*/ 4583526 w 8079933"/>
              <a:gd name="connsiteY15358" fmla="*/ 1801839 h 4687251"/>
              <a:gd name="connsiteX15359" fmla="*/ 4583526 w 8079933"/>
              <a:gd name="connsiteY15359" fmla="*/ 1801839 h 4687251"/>
              <a:gd name="connsiteX15360" fmla="*/ 4582658 w 8079933"/>
              <a:gd name="connsiteY15360" fmla="*/ 1799241 h 4687251"/>
              <a:gd name="connsiteX15361" fmla="*/ 4102579 w 8079933"/>
              <a:gd name="connsiteY15361" fmla="*/ 1798158 h 4687251"/>
              <a:gd name="connsiteX15362" fmla="*/ 4102577 w 8079933"/>
              <a:gd name="connsiteY15362" fmla="*/ 1798159 h 4687251"/>
              <a:gd name="connsiteX15363" fmla="*/ 4102471 w 8079933"/>
              <a:gd name="connsiteY15363" fmla="*/ 1798265 h 4687251"/>
              <a:gd name="connsiteX15364" fmla="*/ 4094970 w 8079933"/>
              <a:gd name="connsiteY15364" fmla="*/ 1800617 h 4687251"/>
              <a:gd name="connsiteX15365" fmla="*/ 4094908 w 8079933"/>
              <a:gd name="connsiteY15365" fmla="*/ 1800637 h 4687251"/>
              <a:gd name="connsiteX15366" fmla="*/ 4102472 w 8079933"/>
              <a:gd name="connsiteY15366" fmla="*/ 1798265 h 4687251"/>
              <a:gd name="connsiteX15367" fmla="*/ 2701847 w 8079933"/>
              <a:gd name="connsiteY15367" fmla="*/ 1798157 h 4687251"/>
              <a:gd name="connsiteX15368" fmla="*/ 2702064 w 8079933"/>
              <a:gd name="connsiteY15368" fmla="*/ 1800430 h 4687251"/>
              <a:gd name="connsiteX15369" fmla="*/ 2700544 w 8079933"/>
              <a:gd name="connsiteY15369" fmla="*/ 1802596 h 4687251"/>
              <a:gd name="connsiteX15370" fmla="*/ 2699351 w 8079933"/>
              <a:gd name="connsiteY15370" fmla="*/ 1801188 h 4687251"/>
              <a:gd name="connsiteX15371" fmla="*/ 2700002 w 8079933"/>
              <a:gd name="connsiteY15371" fmla="*/ 1798806 h 4687251"/>
              <a:gd name="connsiteX15372" fmla="*/ 6447625 w 8079933"/>
              <a:gd name="connsiteY15372" fmla="*/ 1796967 h 4687251"/>
              <a:gd name="connsiteX15373" fmla="*/ 6458369 w 8079933"/>
              <a:gd name="connsiteY15373" fmla="*/ 1804005 h 4687251"/>
              <a:gd name="connsiteX15374" fmla="*/ 6468134 w 8079933"/>
              <a:gd name="connsiteY15374" fmla="*/ 1810067 h 4687251"/>
              <a:gd name="connsiteX15375" fmla="*/ 6468134 w 8079933"/>
              <a:gd name="connsiteY15375" fmla="*/ 1810066 h 4687251"/>
              <a:gd name="connsiteX15376" fmla="*/ 6458368 w 8079933"/>
              <a:gd name="connsiteY15376" fmla="*/ 1804003 h 4687251"/>
              <a:gd name="connsiteX15377" fmla="*/ 4089232 w 8079933"/>
              <a:gd name="connsiteY15377" fmla="*/ 1796966 h 4687251"/>
              <a:gd name="connsiteX15378" fmla="*/ 4083698 w 8079933"/>
              <a:gd name="connsiteY15378" fmla="*/ 1797399 h 4687251"/>
              <a:gd name="connsiteX15379" fmla="*/ 4080551 w 8079933"/>
              <a:gd name="connsiteY15379" fmla="*/ 1801081 h 4687251"/>
              <a:gd name="connsiteX15380" fmla="*/ 4080551 w 8079933"/>
              <a:gd name="connsiteY15380" fmla="*/ 1801081 h 4687251"/>
              <a:gd name="connsiteX15381" fmla="*/ 4083699 w 8079933"/>
              <a:gd name="connsiteY15381" fmla="*/ 1797400 h 4687251"/>
              <a:gd name="connsiteX15382" fmla="*/ 4089232 w 8079933"/>
              <a:gd name="connsiteY15382" fmla="*/ 1796967 h 4687251"/>
              <a:gd name="connsiteX15383" fmla="*/ 5054812 w 8079933"/>
              <a:gd name="connsiteY15383" fmla="*/ 1796533 h 4687251"/>
              <a:gd name="connsiteX15384" fmla="*/ 5052099 w 8079933"/>
              <a:gd name="connsiteY15384" fmla="*/ 1800323 h 4687251"/>
              <a:gd name="connsiteX15385" fmla="*/ 5049496 w 8079933"/>
              <a:gd name="connsiteY15385" fmla="*/ 1799998 h 4687251"/>
              <a:gd name="connsiteX15386" fmla="*/ 5047433 w 8079933"/>
              <a:gd name="connsiteY15386" fmla="*/ 1803030 h 4687251"/>
              <a:gd name="connsiteX15387" fmla="*/ 5043418 w 8079933"/>
              <a:gd name="connsiteY15387" fmla="*/ 1806386 h 4687251"/>
              <a:gd name="connsiteX15388" fmla="*/ 5041248 w 8079933"/>
              <a:gd name="connsiteY15388" fmla="*/ 1806061 h 4687251"/>
              <a:gd name="connsiteX15389" fmla="*/ 5040380 w 8079933"/>
              <a:gd name="connsiteY15389" fmla="*/ 1808876 h 4687251"/>
              <a:gd name="connsiteX15390" fmla="*/ 5038644 w 8079933"/>
              <a:gd name="connsiteY15390" fmla="*/ 1810717 h 4687251"/>
              <a:gd name="connsiteX15391" fmla="*/ 5037016 w 8079933"/>
              <a:gd name="connsiteY15391" fmla="*/ 1808876 h 4687251"/>
              <a:gd name="connsiteX15392" fmla="*/ 5034845 w 8079933"/>
              <a:gd name="connsiteY15392" fmla="*/ 1808660 h 4687251"/>
              <a:gd name="connsiteX15393" fmla="*/ 5033326 w 8079933"/>
              <a:gd name="connsiteY15393" fmla="*/ 1811150 h 4687251"/>
              <a:gd name="connsiteX15394" fmla="*/ 5030071 w 8079933"/>
              <a:gd name="connsiteY15394" fmla="*/ 1811042 h 4687251"/>
              <a:gd name="connsiteX15395" fmla="*/ 5028878 w 8079933"/>
              <a:gd name="connsiteY15395" fmla="*/ 1808660 h 4687251"/>
              <a:gd name="connsiteX15396" fmla="*/ 5027249 w 8079933"/>
              <a:gd name="connsiteY15396" fmla="*/ 1808768 h 4687251"/>
              <a:gd name="connsiteX15397" fmla="*/ 5027033 w 8079933"/>
              <a:gd name="connsiteY15397" fmla="*/ 1808660 h 4687251"/>
              <a:gd name="connsiteX15398" fmla="*/ 5021172 w 8079933"/>
              <a:gd name="connsiteY15398" fmla="*/ 1804870 h 4687251"/>
              <a:gd name="connsiteX15399" fmla="*/ 5018183 w 8079933"/>
              <a:gd name="connsiteY15399" fmla="*/ 1805917 h 4687251"/>
              <a:gd name="connsiteX15400" fmla="*/ 5022258 w 8079933"/>
              <a:gd name="connsiteY15400" fmla="*/ 1808552 h 4687251"/>
              <a:gd name="connsiteX15401" fmla="*/ 5022258 w 8079933"/>
              <a:gd name="connsiteY15401" fmla="*/ 1810393 h 4687251"/>
              <a:gd name="connsiteX15402" fmla="*/ 5022258 w 8079933"/>
              <a:gd name="connsiteY15402" fmla="*/ 1812883 h 4687251"/>
              <a:gd name="connsiteX15403" fmla="*/ 5018677 w 8079933"/>
              <a:gd name="connsiteY15403" fmla="*/ 1813532 h 4687251"/>
              <a:gd name="connsiteX15404" fmla="*/ 5020739 w 8079933"/>
              <a:gd name="connsiteY15404" fmla="*/ 1815373 h 4687251"/>
              <a:gd name="connsiteX15405" fmla="*/ 5020739 w 8079933"/>
              <a:gd name="connsiteY15405" fmla="*/ 1818621 h 4687251"/>
              <a:gd name="connsiteX15406" fmla="*/ 5018135 w 8079933"/>
              <a:gd name="connsiteY15406" fmla="*/ 1818621 h 4687251"/>
              <a:gd name="connsiteX15407" fmla="*/ 5020414 w 8079933"/>
              <a:gd name="connsiteY15407" fmla="*/ 1820137 h 4687251"/>
              <a:gd name="connsiteX15408" fmla="*/ 5020414 w 8079933"/>
              <a:gd name="connsiteY15408" fmla="*/ 1822952 h 4687251"/>
              <a:gd name="connsiteX15409" fmla="*/ 5016615 w 8079933"/>
              <a:gd name="connsiteY15409" fmla="*/ 1821977 h 4687251"/>
              <a:gd name="connsiteX15410" fmla="*/ 5015979 w 8079933"/>
              <a:gd name="connsiteY15410" fmla="*/ 1822176 h 4687251"/>
              <a:gd name="connsiteX15411" fmla="*/ 5020088 w 8079933"/>
              <a:gd name="connsiteY15411" fmla="*/ 1823276 h 4687251"/>
              <a:gd name="connsiteX15412" fmla="*/ 5021824 w 8079933"/>
              <a:gd name="connsiteY15412" fmla="*/ 1822735 h 4687251"/>
              <a:gd name="connsiteX15413" fmla="*/ 5025622 w 8079933"/>
              <a:gd name="connsiteY15413" fmla="*/ 1823709 h 4687251"/>
              <a:gd name="connsiteX15414" fmla="*/ 5025622 w 8079933"/>
              <a:gd name="connsiteY15414" fmla="*/ 1820895 h 4687251"/>
              <a:gd name="connsiteX15415" fmla="*/ 5023343 w 8079933"/>
              <a:gd name="connsiteY15415" fmla="*/ 1819379 h 4687251"/>
              <a:gd name="connsiteX15416" fmla="*/ 5025947 w 8079933"/>
              <a:gd name="connsiteY15416" fmla="*/ 1819379 h 4687251"/>
              <a:gd name="connsiteX15417" fmla="*/ 5025947 w 8079933"/>
              <a:gd name="connsiteY15417" fmla="*/ 1816672 h 4687251"/>
              <a:gd name="connsiteX15418" fmla="*/ 5023886 w 8079933"/>
              <a:gd name="connsiteY15418" fmla="*/ 1814831 h 4687251"/>
              <a:gd name="connsiteX15419" fmla="*/ 5027467 w 8079933"/>
              <a:gd name="connsiteY15419" fmla="*/ 1814182 h 4687251"/>
              <a:gd name="connsiteX15420" fmla="*/ 5027467 w 8079933"/>
              <a:gd name="connsiteY15420" fmla="*/ 1811691 h 4687251"/>
              <a:gd name="connsiteX15421" fmla="*/ 5027467 w 8079933"/>
              <a:gd name="connsiteY15421" fmla="*/ 1809850 h 4687251"/>
              <a:gd name="connsiteX15422" fmla="*/ 5029420 w 8079933"/>
              <a:gd name="connsiteY15422" fmla="*/ 1809850 h 4687251"/>
              <a:gd name="connsiteX15423" fmla="*/ 5030614 w 8079933"/>
              <a:gd name="connsiteY15423" fmla="*/ 1812232 h 4687251"/>
              <a:gd name="connsiteX15424" fmla="*/ 5033869 w 8079933"/>
              <a:gd name="connsiteY15424" fmla="*/ 1812232 h 4687251"/>
              <a:gd name="connsiteX15425" fmla="*/ 5035388 w 8079933"/>
              <a:gd name="connsiteY15425" fmla="*/ 1809743 h 4687251"/>
              <a:gd name="connsiteX15426" fmla="*/ 5037450 w 8079933"/>
              <a:gd name="connsiteY15426" fmla="*/ 1809743 h 4687251"/>
              <a:gd name="connsiteX15427" fmla="*/ 5039078 w 8079933"/>
              <a:gd name="connsiteY15427" fmla="*/ 1811583 h 4687251"/>
              <a:gd name="connsiteX15428" fmla="*/ 5040923 w 8079933"/>
              <a:gd name="connsiteY15428" fmla="*/ 1809743 h 4687251"/>
              <a:gd name="connsiteX15429" fmla="*/ 5041683 w 8079933"/>
              <a:gd name="connsiteY15429" fmla="*/ 1806927 h 4687251"/>
              <a:gd name="connsiteX15430" fmla="*/ 5043961 w 8079933"/>
              <a:gd name="connsiteY15430" fmla="*/ 1806927 h 4687251"/>
              <a:gd name="connsiteX15431" fmla="*/ 5047976 w 8079933"/>
              <a:gd name="connsiteY15431" fmla="*/ 1803571 h 4687251"/>
              <a:gd name="connsiteX15432" fmla="*/ 5049930 w 8079933"/>
              <a:gd name="connsiteY15432" fmla="*/ 1800540 h 4687251"/>
              <a:gd name="connsiteX15433" fmla="*/ 5052534 w 8079933"/>
              <a:gd name="connsiteY15433" fmla="*/ 1800540 h 4687251"/>
              <a:gd name="connsiteX15434" fmla="*/ 5055247 w 8079933"/>
              <a:gd name="connsiteY15434" fmla="*/ 1796750 h 4687251"/>
              <a:gd name="connsiteX15435" fmla="*/ 5057342 w 8079933"/>
              <a:gd name="connsiteY15435" fmla="*/ 1796750 h 4687251"/>
              <a:gd name="connsiteX15436" fmla="*/ 5057092 w 8079933"/>
              <a:gd name="connsiteY15436" fmla="*/ 1796533 h 4687251"/>
              <a:gd name="connsiteX15437" fmla="*/ 5085306 w 8079933"/>
              <a:gd name="connsiteY15437" fmla="*/ 1796209 h 4687251"/>
              <a:gd name="connsiteX15438" fmla="*/ 5082484 w 8079933"/>
              <a:gd name="connsiteY15438" fmla="*/ 1796317 h 4687251"/>
              <a:gd name="connsiteX15439" fmla="*/ 5081131 w 8079933"/>
              <a:gd name="connsiteY15439" fmla="*/ 1797667 h 4687251"/>
              <a:gd name="connsiteX15440" fmla="*/ 5081616 w 8079933"/>
              <a:gd name="connsiteY15440" fmla="*/ 1798266 h 4687251"/>
              <a:gd name="connsiteX15441" fmla="*/ 5083136 w 8079933"/>
              <a:gd name="connsiteY15441" fmla="*/ 1796750 h 4687251"/>
              <a:gd name="connsiteX15442" fmla="*/ 5085396 w 8079933"/>
              <a:gd name="connsiteY15442" fmla="*/ 1796750 h 4687251"/>
              <a:gd name="connsiteX15443" fmla="*/ 4539467 w 8079933"/>
              <a:gd name="connsiteY15443" fmla="*/ 1795775 h 4687251"/>
              <a:gd name="connsiteX15444" fmla="*/ 4540444 w 8079933"/>
              <a:gd name="connsiteY15444" fmla="*/ 1800647 h 4687251"/>
              <a:gd name="connsiteX15445" fmla="*/ 4553249 w 8079933"/>
              <a:gd name="connsiteY15445" fmla="*/ 1810608 h 4687251"/>
              <a:gd name="connsiteX15446" fmla="*/ 4554848 w 8079933"/>
              <a:gd name="connsiteY15446" fmla="*/ 1816589 h 4687251"/>
              <a:gd name="connsiteX15447" fmla="*/ 4553250 w 8079933"/>
              <a:gd name="connsiteY15447" fmla="*/ 1810609 h 4687251"/>
              <a:gd name="connsiteX15448" fmla="*/ 4540445 w 8079933"/>
              <a:gd name="connsiteY15448" fmla="*/ 1800648 h 4687251"/>
              <a:gd name="connsiteX15449" fmla="*/ 4539468 w 8079933"/>
              <a:gd name="connsiteY15449" fmla="*/ 1795776 h 4687251"/>
              <a:gd name="connsiteX15450" fmla="*/ 4118071 w 8079933"/>
              <a:gd name="connsiteY15450" fmla="*/ 1794842 h 4687251"/>
              <a:gd name="connsiteX15451" fmla="*/ 4118315 w 8079933"/>
              <a:gd name="connsiteY15451" fmla="*/ 1796208 h 4687251"/>
              <a:gd name="connsiteX15452" fmla="*/ 4116579 w 8079933"/>
              <a:gd name="connsiteY15452" fmla="*/ 1799024 h 4687251"/>
              <a:gd name="connsiteX15453" fmla="*/ 4110719 w 8079933"/>
              <a:gd name="connsiteY15453" fmla="*/ 1796967 h 4687251"/>
              <a:gd name="connsiteX15454" fmla="*/ 4110719 w 8079933"/>
              <a:gd name="connsiteY15454" fmla="*/ 1796967 h 4687251"/>
              <a:gd name="connsiteX15455" fmla="*/ 4116579 w 8079933"/>
              <a:gd name="connsiteY15455" fmla="*/ 1799024 h 4687251"/>
              <a:gd name="connsiteX15456" fmla="*/ 4118316 w 8079933"/>
              <a:gd name="connsiteY15456" fmla="*/ 1796208 h 4687251"/>
              <a:gd name="connsiteX15457" fmla="*/ 4129710 w 8079933"/>
              <a:gd name="connsiteY15457" fmla="*/ 1794801 h 4687251"/>
              <a:gd name="connsiteX15458" fmla="*/ 4127213 w 8079933"/>
              <a:gd name="connsiteY15458" fmla="*/ 1796967 h 4687251"/>
              <a:gd name="connsiteX15459" fmla="*/ 4129710 w 8079933"/>
              <a:gd name="connsiteY15459" fmla="*/ 1794801 h 4687251"/>
              <a:gd name="connsiteX15460" fmla="*/ 4132965 w 8079933"/>
              <a:gd name="connsiteY15460" fmla="*/ 1794910 h 4687251"/>
              <a:gd name="connsiteX15461" fmla="*/ 4139476 w 8079933"/>
              <a:gd name="connsiteY15461" fmla="*/ 1799781 h 4687251"/>
              <a:gd name="connsiteX15462" fmla="*/ 4132965 w 8079933"/>
              <a:gd name="connsiteY15462" fmla="*/ 1794909 h 4687251"/>
              <a:gd name="connsiteX15463" fmla="*/ 4200354 w 8079933"/>
              <a:gd name="connsiteY15463" fmla="*/ 1794585 h 4687251"/>
              <a:gd name="connsiteX15464" fmla="*/ 4200353 w 8079933"/>
              <a:gd name="connsiteY15464" fmla="*/ 1794585 h 4687251"/>
              <a:gd name="connsiteX15465" fmla="*/ 4205888 w 8079933"/>
              <a:gd name="connsiteY15465" fmla="*/ 1796208 h 4687251"/>
              <a:gd name="connsiteX15466" fmla="*/ 5094205 w 8079933"/>
              <a:gd name="connsiteY15466" fmla="*/ 1794149 h 4687251"/>
              <a:gd name="connsiteX15467" fmla="*/ 5094095 w 8079933"/>
              <a:gd name="connsiteY15467" fmla="*/ 1794476 h 4687251"/>
              <a:gd name="connsiteX15468" fmla="*/ 5091491 w 8079933"/>
              <a:gd name="connsiteY15468" fmla="*/ 1795884 h 4687251"/>
              <a:gd name="connsiteX15469" fmla="*/ 5091382 w 8079933"/>
              <a:gd name="connsiteY15469" fmla="*/ 1798158 h 4687251"/>
              <a:gd name="connsiteX15470" fmla="*/ 5088995 w 8079933"/>
              <a:gd name="connsiteY15470" fmla="*/ 1799456 h 4687251"/>
              <a:gd name="connsiteX15471" fmla="*/ 5085957 w 8079933"/>
              <a:gd name="connsiteY15471" fmla="*/ 1798284 h 4687251"/>
              <a:gd name="connsiteX15472" fmla="*/ 5085957 w 8079933"/>
              <a:gd name="connsiteY15472" fmla="*/ 1798699 h 4687251"/>
              <a:gd name="connsiteX15473" fmla="*/ 5089321 w 8079933"/>
              <a:gd name="connsiteY15473" fmla="*/ 1799998 h 4687251"/>
              <a:gd name="connsiteX15474" fmla="*/ 5091600 w 8079933"/>
              <a:gd name="connsiteY15474" fmla="*/ 1798699 h 4687251"/>
              <a:gd name="connsiteX15475" fmla="*/ 5091600 w 8079933"/>
              <a:gd name="connsiteY15475" fmla="*/ 1796317 h 4687251"/>
              <a:gd name="connsiteX15476" fmla="*/ 5094205 w 8079933"/>
              <a:gd name="connsiteY15476" fmla="*/ 1794909 h 4687251"/>
              <a:gd name="connsiteX15477" fmla="*/ 2385847 w 8079933"/>
              <a:gd name="connsiteY15477" fmla="*/ 1793285 h 4687251"/>
              <a:gd name="connsiteX15478" fmla="*/ 2385846 w 8079933"/>
              <a:gd name="connsiteY15478" fmla="*/ 1793285 h 4687251"/>
              <a:gd name="connsiteX15479" fmla="*/ 2385087 w 8079933"/>
              <a:gd name="connsiteY15479" fmla="*/ 1798591 h 4687251"/>
              <a:gd name="connsiteX15480" fmla="*/ 2384066 w 8079933"/>
              <a:gd name="connsiteY15480" fmla="*/ 1801219 h 4687251"/>
              <a:gd name="connsiteX15481" fmla="*/ 2385087 w 8079933"/>
              <a:gd name="connsiteY15481" fmla="*/ 1798591 h 4687251"/>
              <a:gd name="connsiteX15482" fmla="*/ 5972369 w 8079933"/>
              <a:gd name="connsiteY15482" fmla="*/ 1793277 h 4687251"/>
              <a:gd name="connsiteX15483" fmla="*/ 5974926 w 8079933"/>
              <a:gd name="connsiteY15483" fmla="*/ 1797182 h 4687251"/>
              <a:gd name="connsiteX15484" fmla="*/ 5974927 w 8079933"/>
              <a:gd name="connsiteY15484" fmla="*/ 1797183 h 4687251"/>
              <a:gd name="connsiteX15485" fmla="*/ 5097785 w 8079933"/>
              <a:gd name="connsiteY15485" fmla="*/ 1791878 h 4687251"/>
              <a:gd name="connsiteX15486" fmla="*/ 5094639 w 8079933"/>
              <a:gd name="connsiteY15486" fmla="*/ 1792852 h 4687251"/>
              <a:gd name="connsiteX15487" fmla="*/ 5094523 w 8079933"/>
              <a:gd name="connsiteY15487" fmla="*/ 1793198 h 4687251"/>
              <a:gd name="connsiteX15488" fmla="*/ 5097351 w 8079933"/>
              <a:gd name="connsiteY15488" fmla="*/ 1792419 h 4687251"/>
              <a:gd name="connsiteX15489" fmla="*/ 5100390 w 8079933"/>
              <a:gd name="connsiteY15489" fmla="*/ 1793069 h 4687251"/>
              <a:gd name="connsiteX15490" fmla="*/ 5108637 w 8079933"/>
              <a:gd name="connsiteY15490" fmla="*/ 1793069 h 4687251"/>
              <a:gd name="connsiteX15491" fmla="*/ 5109288 w 8079933"/>
              <a:gd name="connsiteY15491" fmla="*/ 1795126 h 4687251"/>
              <a:gd name="connsiteX15492" fmla="*/ 5111133 w 8079933"/>
              <a:gd name="connsiteY15492" fmla="*/ 1798266 h 4687251"/>
              <a:gd name="connsiteX15493" fmla="*/ 5114280 w 8079933"/>
              <a:gd name="connsiteY15493" fmla="*/ 1798915 h 4687251"/>
              <a:gd name="connsiteX15494" fmla="*/ 5114280 w 8079933"/>
              <a:gd name="connsiteY15494" fmla="*/ 1800322 h 4687251"/>
              <a:gd name="connsiteX15495" fmla="*/ 5112327 w 8079933"/>
              <a:gd name="connsiteY15495" fmla="*/ 1803354 h 4687251"/>
              <a:gd name="connsiteX15496" fmla="*/ 5113412 w 8079933"/>
              <a:gd name="connsiteY15496" fmla="*/ 1806062 h 4687251"/>
              <a:gd name="connsiteX15497" fmla="*/ 5117101 w 8079933"/>
              <a:gd name="connsiteY15497" fmla="*/ 1809743 h 4687251"/>
              <a:gd name="connsiteX15498" fmla="*/ 5117101 w 8079933"/>
              <a:gd name="connsiteY15498" fmla="*/ 1813315 h 4687251"/>
              <a:gd name="connsiteX15499" fmla="*/ 5114388 w 8079933"/>
              <a:gd name="connsiteY15499" fmla="*/ 1818188 h 4687251"/>
              <a:gd name="connsiteX15500" fmla="*/ 5115148 w 8079933"/>
              <a:gd name="connsiteY15500" fmla="*/ 1820462 h 4687251"/>
              <a:gd name="connsiteX15501" fmla="*/ 5116668 w 8079933"/>
              <a:gd name="connsiteY15501" fmla="*/ 1822519 h 4687251"/>
              <a:gd name="connsiteX15502" fmla="*/ 5118186 w 8079933"/>
              <a:gd name="connsiteY15502" fmla="*/ 1823926 h 4687251"/>
              <a:gd name="connsiteX15503" fmla="*/ 5116342 w 8079933"/>
              <a:gd name="connsiteY15503" fmla="*/ 1826199 h 4687251"/>
              <a:gd name="connsiteX15504" fmla="*/ 5113195 w 8079933"/>
              <a:gd name="connsiteY15504" fmla="*/ 1827607 h 4687251"/>
              <a:gd name="connsiteX15505" fmla="*/ 5112435 w 8079933"/>
              <a:gd name="connsiteY15505" fmla="*/ 1832913 h 4687251"/>
              <a:gd name="connsiteX15506" fmla="*/ 5115583 w 8079933"/>
              <a:gd name="connsiteY15506" fmla="*/ 1839192 h 4687251"/>
              <a:gd name="connsiteX15507" fmla="*/ 5120140 w 8079933"/>
              <a:gd name="connsiteY15507" fmla="*/ 1840275 h 4687251"/>
              <a:gd name="connsiteX15508" fmla="*/ 5123612 w 8079933"/>
              <a:gd name="connsiteY15508" fmla="*/ 1841466 h 4687251"/>
              <a:gd name="connsiteX15509" fmla="*/ 5122853 w 8079933"/>
              <a:gd name="connsiteY15509" fmla="*/ 1843631 h 4687251"/>
              <a:gd name="connsiteX15510" fmla="*/ 5117862 w 8079933"/>
              <a:gd name="connsiteY15510" fmla="*/ 1846121 h 4687251"/>
              <a:gd name="connsiteX15511" fmla="*/ 5118078 w 8079933"/>
              <a:gd name="connsiteY15511" fmla="*/ 1846121 h 4687251"/>
              <a:gd name="connsiteX15512" fmla="*/ 5123070 w 8079933"/>
              <a:gd name="connsiteY15512" fmla="*/ 1843631 h 4687251"/>
              <a:gd name="connsiteX15513" fmla="*/ 5123830 w 8079933"/>
              <a:gd name="connsiteY15513" fmla="*/ 1841466 h 4687251"/>
              <a:gd name="connsiteX15514" fmla="*/ 5120465 w 8079933"/>
              <a:gd name="connsiteY15514" fmla="*/ 1840275 h 4687251"/>
              <a:gd name="connsiteX15515" fmla="*/ 5115907 w 8079933"/>
              <a:gd name="connsiteY15515" fmla="*/ 1839192 h 4687251"/>
              <a:gd name="connsiteX15516" fmla="*/ 5112760 w 8079933"/>
              <a:gd name="connsiteY15516" fmla="*/ 1832912 h 4687251"/>
              <a:gd name="connsiteX15517" fmla="*/ 5113520 w 8079933"/>
              <a:gd name="connsiteY15517" fmla="*/ 1827607 h 4687251"/>
              <a:gd name="connsiteX15518" fmla="*/ 5116667 w 8079933"/>
              <a:gd name="connsiteY15518" fmla="*/ 1826200 h 4687251"/>
              <a:gd name="connsiteX15519" fmla="*/ 5118404 w 8079933"/>
              <a:gd name="connsiteY15519" fmla="*/ 1823926 h 4687251"/>
              <a:gd name="connsiteX15520" fmla="*/ 5116993 w 8079933"/>
              <a:gd name="connsiteY15520" fmla="*/ 1822518 h 4687251"/>
              <a:gd name="connsiteX15521" fmla="*/ 5115365 w 8079933"/>
              <a:gd name="connsiteY15521" fmla="*/ 1820353 h 4687251"/>
              <a:gd name="connsiteX15522" fmla="*/ 5114605 w 8079933"/>
              <a:gd name="connsiteY15522" fmla="*/ 1818188 h 4687251"/>
              <a:gd name="connsiteX15523" fmla="*/ 5117318 w 8079933"/>
              <a:gd name="connsiteY15523" fmla="*/ 1813207 h 4687251"/>
              <a:gd name="connsiteX15524" fmla="*/ 5117752 w 8079933"/>
              <a:gd name="connsiteY15524" fmla="*/ 1809742 h 4687251"/>
              <a:gd name="connsiteX15525" fmla="*/ 5114062 w 8079933"/>
              <a:gd name="connsiteY15525" fmla="*/ 1806061 h 4687251"/>
              <a:gd name="connsiteX15526" fmla="*/ 5112977 w 8079933"/>
              <a:gd name="connsiteY15526" fmla="*/ 1803354 h 4687251"/>
              <a:gd name="connsiteX15527" fmla="*/ 5114931 w 8079933"/>
              <a:gd name="connsiteY15527" fmla="*/ 1800323 h 4687251"/>
              <a:gd name="connsiteX15528" fmla="*/ 5114713 w 8079933"/>
              <a:gd name="connsiteY15528" fmla="*/ 1798915 h 4687251"/>
              <a:gd name="connsiteX15529" fmla="*/ 5111567 w 8079933"/>
              <a:gd name="connsiteY15529" fmla="*/ 1798266 h 4687251"/>
              <a:gd name="connsiteX15530" fmla="*/ 5109722 w 8079933"/>
              <a:gd name="connsiteY15530" fmla="*/ 1795017 h 4687251"/>
              <a:gd name="connsiteX15531" fmla="*/ 5109071 w 8079933"/>
              <a:gd name="connsiteY15531" fmla="*/ 1792960 h 4687251"/>
              <a:gd name="connsiteX15532" fmla="*/ 5100823 w 8079933"/>
              <a:gd name="connsiteY15532" fmla="*/ 1792527 h 4687251"/>
              <a:gd name="connsiteX15533" fmla="*/ 4122656 w 8079933"/>
              <a:gd name="connsiteY15533" fmla="*/ 1791553 h 4687251"/>
              <a:gd name="connsiteX15534" fmla="*/ 4117773 w 8079933"/>
              <a:gd name="connsiteY15534" fmla="*/ 1793177 h 4687251"/>
              <a:gd name="connsiteX15535" fmla="*/ 4117773 w 8079933"/>
              <a:gd name="connsiteY15535" fmla="*/ 1793177 h 4687251"/>
              <a:gd name="connsiteX15536" fmla="*/ 4097080 w 8079933"/>
              <a:gd name="connsiteY15536" fmla="*/ 1791512 h 4687251"/>
              <a:gd name="connsiteX15537" fmla="*/ 4100409 w 8079933"/>
              <a:gd name="connsiteY15537" fmla="*/ 1793610 h 4687251"/>
              <a:gd name="connsiteX15538" fmla="*/ 4102065 w 8079933"/>
              <a:gd name="connsiteY15538" fmla="*/ 1797078 h 4687251"/>
              <a:gd name="connsiteX15539" fmla="*/ 4100410 w 8079933"/>
              <a:gd name="connsiteY15539" fmla="*/ 1793610 h 4687251"/>
              <a:gd name="connsiteX15540" fmla="*/ 4577883 w 8079933"/>
              <a:gd name="connsiteY15540" fmla="*/ 1790795 h 4687251"/>
              <a:gd name="connsiteX15541" fmla="*/ 4577340 w 8079933"/>
              <a:gd name="connsiteY15541" fmla="*/ 1796533 h 4687251"/>
              <a:gd name="connsiteX15542" fmla="*/ 4577341 w 8079933"/>
              <a:gd name="connsiteY15542" fmla="*/ 1796534 h 4687251"/>
              <a:gd name="connsiteX15543" fmla="*/ 4577883 w 8079933"/>
              <a:gd name="connsiteY15543" fmla="*/ 1790796 h 4687251"/>
              <a:gd name="connsiteX15544" fmla="*/ 5070764 w 8079933"/>
              <a:gd name="connsiteY15544" fmla="*/ 1790254 h 4687251"/>
              <a:gd name="connsiteX15545" fmla="*/ 5064471 w 8079933"/>
              <a:gd name="connsiteY15545" fmla="*/ 1790362 h 4687251"/>
              <a:gd name="connsiteX15546" fmla="*/ 5061107 w 8079933"/>
              <a:gd name="connsiteY15546" fmla="*/ 1793719 h 4687251"/>
              <a:gd name="connsiteX15547" fmla="*/ 5060022 w 8079933"/>
              <a:gd name="connsiteY15547" fmla="*/ 1797183 h 4687251"/>
              <a:gd name="connsiteX15548" fmla="*/ 5058772 w 8079933"/>
              <a:gd name="connsiteY15548" fmla="*/ 1797911 h 4687251"/>
              <a:gd name="connsiteX15549" fmla="*/ 5059153 w 8079933"/>
              <a:gd name="connsiteY15549" fmla="*/ 1798266 h 4687251"/>
              <a:gd name="connsiteX15550" fmla="*/ 5060456 w 8079933"/>
              <a:gd name="connsiteY15550" fmla="*/ 1797508 h 4687251"/>
              <a:gd name="connsiteX15551" fmla="*/ 5061541 w 8079933"/>
              <a:gd name="connsiteY15551" fmla="*/ 1794044 h 4687251"/>
              <a:gd name="connsiteX15552" fmla="*/ 5064905 w 8079933"/>
              <a:gd name="connsiteY15552" fmla="*/ 1790687 h 4687251"/>
              <a:gd name="connsiteX15553" fmla="*/ 5071090 w 8079933"/>
              <a:gd name="connsiteY15553" fmla="*/ 1790687 h 4687251"/>
              <a:gd name="connsiteX15554" fmla="*/ 5073369 w 8079933"/>
              <a:gd name="connsiteY15554" fmla="*/ 1792203 h 4687251"/>
              <a:gd name="connsiteX15555" fmla="*/ 5076408 w 8079933"/>
              <a:gd name="connsiteY15555" fmla="*/ 1792203 h 4687251"/>
              <a:gd name="connsiteX15556" fmla="*/ 5078209 w 8079933"/>
              <a:gd name="connsiteY15556" fmla="*/ 1790723 h 4687251"/>
              <a:gd name="connsiteX15557" fmla="*/ 5077818 w 8079933"/>
              <a:gd name="connsiteY15557" fmla="*/ 1790254 h 4687251"/>
              <a:gd name="connsiteX15558" fmla="*/ 5075974 w 8079933"/>
              <a:gd name="connsiteY15558" fmla="*/ 1791878 h 4687251"/>
              <a:gd name="connsiteX15559" fmla="*/ 5072935 w 8079933"/>
              <a:gd name="connsiteY15559" fmla="*/ 1791878 h 4687251"/>
              <a:gd name="connsiteX15560" fmla="*/ 4212399 w 8079933"/>
              <a:gd name="connsiteY15560" fmla="*/ 1788521 h 4687251"/>
              <a:gd name="connsiteX15561" fmla="*/ 4212399 w 8079933"/>
              <a:gd name="connsiteY15561" fmla="*/ 1788522 h 4687251"/>
              <a:gd name="connsiteX15562" fmla="*/ 4218258 w 8079933"/>
              <a:gd name="connsiteY15562" fmla="*/ 1791553 h 4687251"/>
              <a:gd name="connsiteX15563" fmla="*/ 4307676 w 8079933"/>
              <a:gd name="connsiteY15563" fmla="*/ 1786356 h 4687251"/>
              <a:gd name="connsiteX15564" fmla="*/ 4308327 w 8079933"/>
              <a:gd name="connsiteY15564" fmla="*/ 1791120 h 4687251"/>
              <a:gd name="connsiteX15565" fmla="*/ 4307459 w 8079933"/>
              <a:gd name="connsiteY15565" fmla="*/ 1795992 h 4687251"/>
              <a:gd name="connsiteX15566" fmla="*/ 4297150 w 8079933"/>
              <a:gd name="connsiteY15566" fmla="*/ 1795775 h 4687251"/>
              <a:gd name="connsiteX15567" fmla="*/ 4296065 w 8079933"/>
              <a:gd name="connsiteY15567" fmla="*/ 1797832 h 4687251"/>
              <a:gd name="connsiteX15568" fmla="*/ 4300405 w 8079933"/>
              <a:gd name="connsiteY15568" fmla="*/ 1802812 h 4687251"/>
              <a:gd name="connsiteX15569" fmla="*/ 4298344 w 8079933"/>
              <a:gd name="connsiteY15569" fmla="*/ 1808334 h 4687251"/>
              <a:gd name="connsiteX15570" fmla="*/ 4297801 w 8079933"/>
              <a:gd name="connsiteY15570" fmla="*/ 1812882 h 4687251"/>
              <a:gd name="connsiteX15571" fmla="*/ 4300405 w 8079933"/>
              <a:gd name="connsiteY15571" fmla="*/ 1817321 h 4687251"/>
              <a:gd name="connsiteX15572" fmla="*/ 4298226 w 8079933"/>
              <a:gd name="connsiteY15572" fmla="*/ 1820071 h 4687251"/>
              <a:gd name="connsiteX15573" fmla="*/ 4300406 w 8079933"/>
              <a:gd name="connsiteY15573" fmla="*/ 1817321 h 4687251"/>
              <a:gd name="connsiteX15574" fmla="*/ 4297801 w 8079933"/>
              <a:gd name="connsiteY15574" fmla="*/ 1812882 h 4687251"/>
              <a:gd name="connsiteX15575" fmla="*/ 4298344 w 8079933"/>
              <a:gd name="connsiteY15575" fmla="*/ 1808335 h 4687251"/>
              <a:gd name="connsiteX15576" fmla="*/ 4300406 w 8079933"/>
              <a:gd name="connsiteY15576" fmla="*/ 1802813 h 4687251"/>
              <a:gd name="connsiteX15577" fmla="*/ 4296065 w 8079933"/>
              <a:gd name="connsiteY15577" fmla="*/ 1797833 h 4687251"/>
              <a:gd name="connsiteX15578" fmla="*/ 4297150 w 8079933"/>
              <a:gd name="connsiteY15578" fmla="*/ 1795776 h 4687251"/>
              <a:gd name="connsiteX15579" fmla="*/ 4307459 w 8079933"/>
              <a:gd name="connsiteY15579" fmla="*/ 1795992 h 4687251"/>
              <a:gd name="connsiteX15580" fmla="*/ 4308327 w 8079933"/>
              <a:gd name="connsiteY15580" fmla="*/ 1791119 h 4687251"/>
              <a:gd name="connsiteX15581" fmla="*/ 2604181 w 8079933"/>
              <a:gd name="connsiteY15581" fmla="*/ 1785814 h 4687251"/>
              <a:gd name="connsiteX15582" fmla="*/ 2604616 w 8079933"/>
              <a:gd name="connsiteY15582" fmla="*/ 1787763 h 4687251"/>
              <a:gd name="connsiteX15583" fmla="*/ 2602445 w 8079933"/>
              <a:gd name="connsiteY15583" fmla="*/ 1791119 h 4687251"/>
              <a:gd name="connsiteX15584" fmla="*/ 2606569 w 8079933"/>
              <a:gd name="connsiteY15584" fmla="*/ 1791552 h 4687251"/>
              <a:gd name="connsiteX15585" fmla="*/ 2606678 w 8079933"/>
              <a:gd name="connsiteY15585" fmla="*/ 1794692 h 4687251"/>
              <a:gd name="connsiteX15586" fmla="*/ 2601469 w 8079933"/>
              <a:gd name="connsiteY15586" fmla="*/ 1803571 h 4687251"/>
              <a:gd name="connsiteX15587" fmla="*/ 2598322 w 8079933"/>
              <a:gd name="connsiteY15587" fmla="*/ 1806494 h 4687251"/>
              <a:gd name="connsiteX15588" fmla="*/ 2603205 w 8079933"/>
              <a:gd name="connsiteY15588" fmla="*/ 1808226 h 4687251"/>
              <a:gd name="connsiteX15589" fmla="*/ 2605158 w 8079933"/>
              <a:gd name="connsiteY15589" fmla="*/ 1811691 h 4687251"/>
              <a:gd name="connsiteX15590" fmla="*/ 2602880 w 8079933"/>
              <a:gd name="connsiteY15590" fmla="*/ 1814830 h 4687251"/>
              <a:gd name="connsiteX15591" fmla="*/ 2604507 w 8079933"/>
              <a:gd name="connsiteY15591" fmla="*/ 1816779 h 4687251"/>
              <a:gd name="connsiteX15592" fmla="*/ 2607437 w 8079933"/>
              <a:gd name="connsiteY15592" fmla="*/ 1814830 h 4687251"/>
              <a:gd name="connsiteX15593" fmla="*/ 2607437 w 8079933"/>
              <a:gd name="connsiteY15593" fmla="*/ 1811366 h 4687251"/>
              <a:gd name="connsiteX15594" fmla="*/ 2610259 w 8079933"/>
              <a:gd name="connsiteY15594" fmla="*/ 1810608 h 4687251"/>
              <a:gd name="connsiteX15595" fmla="*/ 2614924 w 8079933"/>
              <a:gd name="connsiteY15595" fmla="*/ 1812232 h 4687251"/>
              <a:gd name="connsiteX15596" fmla="*/ 2615792 w 8079933"/>
              <a:gd name="connsiteY15596" fmla="*/ 1817537 h 4687251"/>
              <a:gd name="connsiteX15597" fmla="*/ 2617095 w 8079933"/>
              <a:gd name="connsiteY15597" fmla="*/ 1819595 h 4687251"/>
              <a:gd name="connsiteX15598" fmla="*/ 2612537 w 8079933"/>
              <a:gd name="connsiteY15598" fmla="*/ 1821002 h 4687251"/>
              <a:gd name="connsiteX15599" fmla="*/ 2610150 w 8079933"/>
              <a:gd name="connsiteY15599" fmla="*/ 1822951 h 4687251"/>
              <a:gd name="connsiteX15600" fmla="*/ 2603531 w 8079933"/>
              <a:gd name="connsiteY15600" fmla="*/ 1823817 h 4687251"/>
              <a:gd name="connsiteX15601" fmla="*/ 2596152 w 8079933"/>
              <a:gd name="connsiteY15601" fmla="*/ 1829339 h 4687251"/>
              <a:gd name="connsiteX15602" fmla="*/ 2591919 w 8079933"/>
              <a:gd name="connsiteY15602" fmla="*/ 1829339 h 4687251"/>
              <a:gd name="connsiteX15603" fmla="*/ 2590184 w 8079933"/>
              <a:gd name="connsiteY15603" fmla="*/ 1826740 h 4687251"/>
              <a:gd name="connsiteX15604" fmla="*/ 2588447 w 8079933"/>
              <a:gd name="connsiteY15604" fmla="*/ 1827498 h 4687251"/>
              <a:gd name="connsiteX15605" fmla="*/ 2587471 w 8079933"/>
              <a:gd name="connsiteY15605" fmla="*/ 1831938 h 4687251"/>
              <a:gd name="connsiteX15606" fmla="*/ 2586168 w 8079933"/>
              <a:gd name="connsiteY15606" fmla="*/ 1832912 h 4687251"/>
              <a:gd name="connsiteX15607" fmla="*/ 2584432 w 8079933"/>
              <a:gd name="connsiteY15607" fmla="*/ 1829555 h 4687251"/>
              <a:gd name="connsiteX15608" fmla="*/ 2577053 w 8079933"/>
              <a:gd name="connsiteY15608" fmla="*/ 1826091 h 4687251"/>
              <a:gd name="connsiteX15609" fmla="*/ 2576619 w 8079933"/>
              <a:gd name="connsiteY15609" fmla="*/ 1819595 h 4687251"/>
              <a:gd name="connsiteX15610" fmla="*/ 2574883 w 8079933"/>
              <a:gd name="connsiteY15610" fmla="*/ 1816563 h 4687251"/>
              <a:gd name="connsiteX15611" fmla="*/ 2576728 w 8079933"/>
              <a:gd name="connsiteY15611" fmla="*/ 1813098 h 4687251"/>
              <a:gd name="connsiteX15612" fmla="*/ 2583347 w 8079933"/>
              <a:gd name="connsiteY15612" fmla="*/ 1809309 h 4687251"/>
              <a:gd name="connsiteX15613" fmla="*/ 2588447 w 8079933"/>
              <a:gd name="connsiteY15613" fmla="*/ 1801838 h 4687251"/>
              <a:gd name="connsiteX15614" fmla="*/ 2590617 w 8079933"/>
              <a:gd name="connsiteY15614" fmla="*/ 1799565 h 4687251"/>
              <a:gd name="connsiteX15615" fmla="*/ 2593005 w 8079933"/>
              <a:gd name="connsiteY15615" fmla="*/ 1794584 h 4687251"/>
              <a:gd name="connsiteX15616" fmla="*/ 2598539 w 8079933"/>
              <a:gd name="connsiteY15616" fmla="*/ 1790145 h 4687251"/>
              <a:gd name="connsiteX15617" fmla="*/ 2600601 w 8079933"/>
              <a:gd name="connsiteY15617" fmla="*/ 1786463 h 4687251"/>
              <a:gd name="connsiteX15618" fmla="*/ 4433106 w 8079933"/>
              <a:gd name="connsiteY15618" fmla="*/ 1783068 h 4687251"/>
              <a:gd name="connsiteX15619" fmla="*/ 4433121 w 8079933"/>
              <a:gd name="connsiteY15619" fmla="*/ 1783108 h 4687251"/>
              <a:gd name="connsiteX15620" fmla="*/ 4433121 w 8079933"/>
              <a:gd name="connsiteY15620" fmla="*/ 1783107 h 4687251"/>
              <a:gd name="connsiteX15621" fmla="*/ 2696096 w 8079933"/>
              <a:gd name="connsiteY15621" fmla="*/ 1782566 h 4687251"/>
              <a:gd name="connsiteX15622" fmla="*/ 2695770 w 8079933"/>
              <a:gd name="connsiteY15622" fmla="*/ 1784298 h 4687251"/>
              <a:gd name="connsiteX15623" fmla="*/ 2697399 w 8079933"/>
              <a:gd name="connsiteY15623" fmla="*/ 1786139 h 4687251"/>
              <a:gd name="connsiteX15624" fmla="*/ 2697182 w 8079933"/>
              <a:gd name="connsiteY15624" fmla="*/ 1788954 h 4687251"/>
              <a:gd name="connsiteX15625" fmla="*/ 2695553 w 8079933"/>
              <a:gd name="connsiteY15625" fmla="*/ 1790361 h 4687251"/>
              <a:gd name="connsiteX15626" fmla="*/ 2695662 w 8079933"/>
              <a:gd name="connsiteY15626" fmla="*/ 1792527 h 4687251"/>
              <a:gd name="connsiteX15627" fmla="*/ 2697073 w 8079933"/>
              <a:gd name="connsiteY15627" fmla="*/ 1793826 h 4687251"/>
              <a:gd name="connsiteX15628" fmla="*/ 2697941 w 8079933"/>
              <a:gd name="connsiteY15628" fmla="*/ 1795775 h 4687251"/>
              <a:gd name="connsiteX15629" fmla="*/ 2696422 w 8079933"/>
              <a:gd name="connsiteY15629" fmla="*/ 1798915 h 4687251"/>
              <a:gd name="connsiteX15630" fmla="*/ 2695228 w 8079933"/>
              <a:gd name="connsiteY15630" fmla="*/ 1799023 h 4687251"/>
              <a:gd name="connsiteX15631" fmla="*/ 2694034 w 8079933"/>
              <a:gd name="connsiteY15631" fmla="*/ 1796316 h 4687251"/>
              <a:gd name="connsiteX15632" fmla="*/ 2695119 w 8079933"/>
              <a:gd name="connsiteY15632" fmla="*/ 1793068 h 4687251"/>
              <a:gd name="connsiteX15633" fmla="*/ 2694359 w 8079933"/>
              <a:gd name="connsiteY15633" fmla="*/ 1789387 h 4687251"/>
              <a:gd name="connsiteX15634" fmla="*/ 2692949 w 8079933"/>
              <a:gd name="connsiteY15634" fmla="*/ 1786247 h 4687251"/>
              <a:gd name="connsiteX15635" fmla="*/ 2694468 w 8079933"/>
              <a:gd name="connsiteY15635" fmla="*/ 1784190 h 4687251"/>
              <a:gd name="connsiteX15636" fmla="*/ 2526375 w 8079933"/>
              <a:gd name="connsiteY15636" fmla="*/ 1780726 h 4687251"/>
              <a:gd name="connsiteX15637" fmla="*/ 2527352 w 8079933"/>
              <a:gd name="connsiteY15637" fmla="*/ 1784840 h 4687251"/>
              <a:gd name="connsiteX15638" fmla="*/ 2524314 w 8079933"/>
              <a:gd name="connsiteY15638" fmla="*/ 1787872 h 4687251"/>
              <a:gd name="connsiteX15639" fmla="*/ 2524205 w 8079933"/>
              <a:gd name="connsiteY15639" fmla="*/ 1789604 h 4687251"/>
              <a:gd name="connsiteX15640" fmla="*/ 2526050 w 8079933"/>
              <a:gd name="connsiteY15640" fmla="*/ 1791986 h 4687251"/>
              <a:gd name="connsiteX15641" fmla="*/ 2526158 w 8079933"/>
              <a:gd name="connsiteY15641" fmla="*/ 1796101 h 4687251"/>
              <a:gd name="connsiteX15642" fmla="*/ 2529848 w 8079933"/>
              <a:gd name="connsiteY15642" fmla="*/ 1798158 h 4687251"/>
              <a:gd name="connsiteX15643" fmla="*/ 2530500 w 8079933"/>
              <a:gd name="connsiteY15643" fmla="*/ 1795126 h 4687251"/>
              <a:gd name="connsiteX15644" fmla="*/ 2534080 w 8079933"/>
              <a:gd name="connsiteY15644" fmla="*/ 1795018 h 4687251"/>
              <a:gd name="connsiteX15645" fmla="*/ 2540157 w 8079933"/>
              <a:gd name="connsiteY15645" fmla="*/ 1799781 h 4687251"/>
              <a:gd name="connsiteX15646" fmla="*/ 2542762 w 8079933"/>
              <a:gd name="connsiteY15646" fmla="*/ 1799781 h 4687251"/>
              <a:gd name="connsiteX15647" fmla="*/ 2544932 w 8079933"/>
              <a:gd name="connsiteY15647" fmla="*/ 1801947 h 4687251"/>
              <a:gd name="connsiteX15648" fmla="*/ 2551878 w 8079933"/>
              <a:gd name="connsiteY15648" fmla="*/ 1801730 h 4687251"/>
              <a:gd name="connsiteX15649" fmla="*/ 2553722 w 8079933"/>
              <a:gd name="connsiteY15649" fmla="*/ 1799565 h 4687251"/>
              <a:gd name="connsiteX15650" fmla="*/ 2557846 w 8079933"/>
              <a:gd name="connsiteY15650" fmla="*/ 1800864 h 4687251"/>
              <a:gd name="connsiteX15651" fmla="*/ 2564682 w 8079933"/>
              <a:gd name="connsiteY15651" fmla="*/ 1801081 h 4687251"/>
              <a:gd name="connsiteX15652" fmla="*/ 2562620 w 8079933"/>
              <a:gd name="connsiteY15652" fmla="*/ 1802597 h 4687251"/>
              <a:gd name="connsiteX15653" fmla="*/ 2557520 w 8079933"/>
              <a:gd name="connsiteY15653" fmla="*/ 1803571 h 4687251"/>
              <a:gd name="connsiteX15654" fmla="*/ 2556001 w 8079933"/>
              <a:gd name="connsiteY15654" fmla="*/ 1808010 h 4687251"/>
              <a:gd name="connsiteX15655" fmla="*/ 2556761 w 8079933"/>
              <a:gd name="connsiteY15655" fmla="*/ 1810934 h 4687251"/>
              <a:gd name="connsiteX15656" fmla="*/ 2555024 w 8079933"/>
              <a:gd name="connsiteY15656" fmla="*/ 1815589 h 4687251"/>
              <a:gd name="connsiteX15657" fmla="*/ 2551551 w 8079933"/>
              <a:gd name="connsiteY15657" fmla="*/ 1816889 h 4687251"/>
              <a:gd name="connsiteX15658" fmla="*/ 2545908 w 8079933"/>
              <a:gd name="connsiteY15658" fmla="*/ 1814290 h 4687251"/>
              <a:gd name="connsiteX15659" fmla="*/ 2544607 w 8079933"/>
              <a:gd name="connsiteY15659" fmla="*/ 1809418 h 4687251"/>
              <a:gd name="connsiteX15660" fmla="*/ 2533863 w 8079933"/>
              <a:gd name="connsiteY15660" fmla="*/ 1808118 h 4687251"/>
              <a:gd name="connsiteX15661" fmla="*/ 2530825 w 8079933"/>
              <a:gd name="connsiteY15661" fmla="*/ 1806603 h 4687251"/>
              <a:gd name="connsiteX15662" fmla="*/ 2530391 w 8079933"/>
              <a:gd name="connsiteY15662" fmla="*/ 1803896 h 4687251"/>
              <a:gd name="connsiteX15663" fmla="*/ 2528220 w 8079933"/>
              <a:gd name="connsiteY15663" fmla="*/ 1801514 h 4687251"/>
              <a:gd name="connsiteX15664" fmla="*/ 2526375 w 8079933"/>
              <a:gd name="connsiteY15664" fmla="*/ 1801406 h 4687251"/>
              <a:gd name="connsiteX15665" fmla="*/ 2524639 w 8079933"/>
              <a:gd name="connsiteY15665" fmla="*/ 1798483 h 4687251"/>
              <a:gd name="connsiteX15666" fmla="*/ 2521817 w 8079933"/>
              <a:gd name="connsiteY15666" fmla="*/ 1797508 h 4687251"/>
              <a:gd name="connsiteX15667" fmla="*/ 2521817 w 8079933"/>
              <a:gd name="connsiteY15667" fmla="*/ 1793935 h 4687251"/>
              <a:gd name="connsiteX15668" fmla="*/ 2519647 w 8079933"/>
              <a:gd name="connsiteY15668" fmla="*/ 1791877 h 4687251"/>
              <a:gd name="connsiteX15669" fmla="*/ 2517151 w 8079933"/>
              <a:gd name="connsiteY15669" fmla="*/ 1792419 h 4687251"/>
              <a:gd name="connsiteX15670" fmla="*/ 2515741 w 8079933"/>
              <a:gd name="connsiteY15670" fmla="*/ 1790687 h 4687251"/>
              <a:gd name="connsiteX15671" fmla="*/ 2517586 w 8079933"/>
              <a:gd name="connsiteY15671" fmla="*/ 1786897 h 4687251"/>
              <a:gd name="connsiteX15672" fmla="*/ 4515214 w 8079933"/>
              <a:gd name="connsiteY15672" fmla="*/ 1778546 h 4687251"/>
              <a:gd name="connsiteX15673" fmla="*/ 4512783 w 8079933"/>
              <a:gd name="connsiteY15673" fmla="*/ 1778967 h 4687251"/>
              <a:gd name="connsiteX15674" fmla="*/ 4512758 w 8079933"/>
              <a:gd name="connsiteY15674" fmla="*/ 1778972 h 4687251"/>
              <a:gd name="connsiteX15675" fmla="*/ 4430843 w 8079933"/>
              <a:gd name="connsiteY15675" fmla="*/ 1777261 h 4687251"/>
              <a:gd name="connsiteX15676" fmla="*/ 4430852 w 8079933"/>
              <a:gd name="connsiteY15676" fmla="*/ 1777285 h 4687251"/>
              <a:gd name="connsiteX15677" fmla="*/ 4430846 w 8079933"/>
              <a:gd name="connsiteY15677" fmla="*/ 1777270 h 4687251"/>
              <a:gd name="connsiteX15678" fmla="*/ 4367578 w 8079933"/>
              <a:gd name="connsiteY15678" fmla="*/ 1776719 h 4687251"/>
              <a:gd name="connsiteX15679" fmla="*/ 4359873 w 8079933"/>
              <a:gd name="connsiteY15679" fmla="*/ 1783215 h 4687251"/>
              <a:gd name="connsiteX15680" fmla="*/ 4353145 w 8079933"/>
              <a:gd name="connsiteY15680" fmla="*/ 1785489 h 4687251"/>
              <a:gd name="connsiteX15681" fmla="*/ 4353145 w 8079933"/>
              <a:gd name="connsiteY15681" fmla="*/ 1785490 h 4687251"/>
              <a:gd name="connsiteX15682" fmla="*/ 4359872 w 8079933"/>
              <a:gd name="connsiteY15682" fmla="*/ 1783216 h 4687251"/>
              <a:gd name="connsiteX15683" fmla="*/ 4367577 w 8079933"/>
              <a:gd name="connsiteY15683" fmla="*/ 1776720 h 4687251"/>
              <a:gd name="connsiteX15684" fmla="*/ 4374306 w 8079933"/>
              <a:gd name="connsiteY15684" fmla="*/ 1783757 h 4687251"/>
              <a:gd name="connsiteX15685" fmla="*/ 4374306 w 8079933"/>
              <a:gd name="connsiteY15685" fmla="*/ 1783756 h 4687251"/>
              <a:gd name="connsiteX15686" fmla="*/ 4567492 w 8079933"/>
              <a:gd name="connsiteY15686" fmla="*/ 1776571 h 4687251"/>
              <a:gd name="connsiteX15687" fmla="*/ 4570287 w 8079933"/>
              <a:gd name="connsiteY15687" fmla="*/ 1779319 h 4687251"/>
              <a:gd name="connsiteX15688" fmla="*/ 4571485 w 8079933"/>
              <a:gd name="connsiteY15688" fmla="*/ 1779927 h 4687251"/>
              <a:gd name="connsiteX15689" fmla="*/ 4570287 w 8079933"/>
              <a:gd name="connsiteY15689" fmla="*/ 1779319 h 4687251"/>
              <a:gd name="connsiteX15690" fmla="*/ 4378331 w 8079933"/>
              <a:gd name="connsiteY15690" fmla="*/ 1776538 h 4687251"/>
              <a:gd name="connsiteX15691" fmla="*/ 4374849 w 8079933"/>
              <a:gd name="connsiteY15691" fmla="*/ 1779317 h 4687251"/>
              <a:gd name="connsiteX15692" fmla="*/ 4374849 w 8079933"/>
              <a:gd name="connsiteY15692" fmla="*/ 1779318 h 4687251"/>
              <a:gd name="connsiteX15693" fmla="*/ 4526989 w 8079933"/>
              <a:gd name="connsiteY15693" fmla="*/ 1776503 h 4687251"/>
              <a:gd name="connsiteX15694" fmla="*/ 4526988 w 8079933"/>
              <a:gd name="connsiteY15694" fmla="*/ 1776503 h 4687251"/>
              <a:gd name="connsiteX15695" fmla="*/ 4529701 w 8079933"/>
              <a:gd name="connsiteY15695" fmla="*/ 1787221 h 4687251"/>
              <a:gd name="connsiteX15696" fmla="*/ 4529702 w 8079933"/>
              <a:gd name="connsiteY15696" fmla="*/ 1787222 h 4687251"/>
              <a:gd name="connsiteX15697" fmla="*/ 4429351 w 8079933"/>
              <a:gd name="connsiteY15697" fmla="*/ 1776260 h 4687251"/>
              <a:gd name="connsiteX15698" fmla="*/ 4430843 w 8079933"/>
              <a:gd name="connsiteY15698" fmla="*/ 1777261 h 4687251"/>
              <a:gd name="connsiteX15699" fmla="*/ 4430846 w 8079933"/>
              <a:gd name="connsiteY15699" fmla="*/ 1777270 h 4687251"/>
              <a:gd name="connsiteX15700" fmla="*/ 4430869 w 8079933"/>
              <a:gd name="connsiteY15700" fmla="*/ 1777329 h 4687251"/>
              <a:gd name="connsiteX15701" fmla="*/ 4430843 w 8079933"/>
              <a:gd name="connsiteY15701" fmla="*/ 1777261 h 4687251"/>
              <a:gd name="connsiteX15702" fmla="*/ 4430843 w 8079933"/>
              <a:gd name="connsiteY15702" fmla="*/ 1777261 h 4687251"/>
              <a:gd name="connsiteX15703" fmla="*/ 4098348 w 8079933"/>
              <a:gd name="connsiteY15703" fmla="*/ 1775854 h 4687251"/>
              <a:gd name="connsiteX15704" fmla="*/ 4098348 w 8079933"/>
              <a:gd name="connsiteY15704" fmla="*/ 1775854 h 4687251"/>
              <a:gd name="connsiteX15705" fmla="*/ 4095852 w 8079933"/>
              <a:gd name="connsiteY15705" fmla="*/ 1784082 h 4687251"/>
              <a:gd name="connsiteX15706" fmla="*/ 4096276 w 8079933"/>
              <a:gd name="connsiteY15706" fmla="*/ 1790847 h 4687251"/>
              <a:gd name="connsiteX15707" fmla="*/ 4095853 w 8079933"/>
              <a:gd name="connsiteY15707" fmla="*/ 1784082 h 4687251"/>
              <a:gd name="connsiteX15708" fmla="*/ 4516680 w 8079933"/>
              <a:gd name="connsiteY15708" fmla="*/ 1772281 h 4687251"/>
              <a:gd name="connsiteX15709" fmla="*/ 4516680 w 8079933"/>
              <a:gd name="connsiteY15709" fmla="*/ 1772281 h 4687251"/>
              <a:gd name="connsiteX15710" fmla="*/ 4517374 w 8079933"/>
              <a:gd name="connsiteY15710" fmla="*/ 1776958 h 4687251"/>
              <a:gd name="connsiteX15711" fmla="*/ 4391235 w 8079933"/>
              <a:gd name="connsiteY15711" fmla="*/ 1768815 h 4687251"/>
              <a:gd name="connsiteX15712" fmla="*/ 4383313 w 8079933"/>
              <a:gd name="connsiteY15712" fmla="*/ 1769465 h 4687251"/>
              <a:gd name="connsiteX15713" fmla="*/ 4381993 w 8079933"/>
              <a:gd name="connsiteY15713" fmla="*/ 1771510 h 4687251"/>
              <a:gd name="connsiteX15714" fmla="*/ 4383312 w 8079933"/>
              <a:gd name="connsiteY15714" fmla="*/ 1769466 h 4687251"/>
              <a:gd name="connsiteX15715" fmla="*/ 4391234 w 8079933"/>
              <a:gd name="connsiteY15715" fmla="*/ 1768816 h 4687251"/>
              <a:gd name="connsiteX15716" fmla="*/ 4396769 w 8079933"/>
              <a:gd name="connsiteY15716" fmla="*/ 1770332 h 4687251"/>
              <a:gd name="connsiteX15717" fmla="*/ 4406426 w 8079933"/>
              <a:gd name="connsiteY15717" fmla="*/ 1769682 h 4687251"/>
              <a:gd name="connsiteX15718" fmla="*/ 4413806 w 8079933"/>
              <a:gd name="connsiteY15718" fmla="*/ 1771415 h 4687251"/>
              <a:gd name="connsiteX15719" fmla="*/ 4413871 w 8079933"/>
              <a:gd name="connsiteY15719" fmla="*/ 1771372 h 4687251"/>
              <a:gd name="connsiteX15720" fmla="*/ 4413806 w 8079933"/>
              <a:gd name="connsiteY15720" fmla="*/ 1771414 h 4687251"/>
              <a:gd name="connsiteX15721" fmla="*/ 4406427 w 8079933"/>
              <a:gd name="connsiteY15721" fmla="*/ 1769681 h 4687251"/>
              <a:gd name="connsiteX15722" fmla="*/ 4396769 w 8079933"/>
              <a:gd name="connsiteY15722" fmla="*/ 1770331 h 4687251"/>
              <a:gd name="connsiteX15723" fmla="*/ 2580308 w 8079933"/>
              <a:gd name="connsiteY15723" fmla="*/ 1768383 h 4687251"/>
              <a:gd name="connsiteX15724" fmla="*/ 2581176 w 8079933"/>
              <a:gd name="connsiteY15724" fmla="*/ 1768491 h 4687251"/>
              <a:gd name="connsiteX15725" fmla="*/ 2580850 w 8079933"/>
              <a:gd name="connsiteY15725" fmla="*/ 1769682 h 4687251"/>
              <a:gd name="connsiteX15726" fmla="*/ 2580742 w 8079933"/>
              <a:gd name="connsiteY15726" fmla="*/ 1769032 h 4687251"/>
              <a:gd name="connsiteX15727" fmla="*/ 2577161 w 8079933"/>
              <a:gd name="connsiteY15727" fmla="*/ 1771956 h 4687251"/>
              <a:gd name="connsiteX15728" fmla="*/ 2576076 w 8079933"/>
              <a:gd name="connsiteY15728" fmla="*/ 1774879 h 4687251"/>
              <a:gd name="connsiteX15729" fmla="*/ 2574449 w 8079933"/>
              <a:gd name="connsiteY15729" fmla="*/ 1775746 h 4687251"/>
              <a:gd name="connsiteX15730" fmla="*/ 2575317 w 8079933"/>
              <a:gd name="connsiteY15730" fmla="*/ 1777478 h 4687251"/>
              <a:gd name="connsiteX15731" fmla="*/ 2577270 w 8079933"/>
              <a:gd name="connsiteY15731" fmla="*/ 1777695 h 4687251"/>
              <a:gd name="connsiteX15732" fmla="*/ 2576402 w 8079933"/>
              <a:gd name="connsiteY15732" fmla="*/ 1778778 h 4687251"/>
              <a:gd name="connsiteX15733" fmla="*/ 2574882 w 8079933"/>
              <a:gd name="connsiteY15733" fmla="*/ 1778128 h 4687251"/>
              <a:gd name="connsiteX15734" fmla="*/ 2573472 w 8079933"/>
              <a:gd name="connsiteY15734" fmla="*/ 1775638 h 4687251"/>
              <a:gd name="connsiteX15735" fmla="*/ 2576185 w 8079933"/>
              <a:gd name="connsiteY15735" fmla="*/ 1771740 h 4687251"/>
              <a:gd name="connsiteX15736" fmla="*/ 4517195 w 8079933"/>
              <a:gd name="connsiteY15736" fmla="*/ 1767422 h 4687251"/>
              <a:gd name="connsiteX15737" fmla="*/ 4517548 w 8079933"/>
              <a:gd name="connsiteY15737" fmla="*/ 1769466 h 4687251"/>
              <a:gd name="connsiteX15738" fmla="*/ 4517548 w 8079933"/>
              <a:gd name="connsiteY15738" fmla="*/ 1769466 h 4687251"/>
              <a:gd name="connsiteX15739" fmla="*/ 2406140 w 8079933"/>
              <a:gd name="connsiteY15739" fmla="*/ 1767409 h 4687251"/>
              <a:gd name="connsiteX15740" fmla="*/ 2406139 w 8079933"/>
              <a:gd name="connsiteY15740" fmla="*/ 1767409 h 4687251"/>
              <a:gd name="connsiteX15741" fmla="*/ 2404294 w 8079933"/>
              <a:gd name="connsiteY15741" fmla="*/ 1771198 h 4687251"/>
              <a:gd name="connsiteX15742" fmla="*/ 2395830 w 8079933"/>
              <a:gd name="connsiteY15742" fmla="*/ 1780618 h 4687251"/>
              <a:gd name="connsiteX15743" fmla="*/ 2391598 w 8079933"/>
              <a:gd name="connsiteY15743" fmla="*/ 1786032 h 4687251"/>
              <a:gd name="connsiteX15744" fmla="*/ 2391923 w 8079933"/>
              <a:gd name="connsiteY15744" fmla="*/ 1790038 h 4687251"/>
              <a:gd name="connsiteX15745" fmla="*/ 2389004 w 8079933"/>
              <a:gd name="connsiteY15745" fmla="*/ 1791598 h 4687251"/>
              <a:gd name="connsiteX15746" fmla="*/ 2391924 w 8079933"/>
              <a:gd name="connsiteY15746" fmla="*/ 1790037 h 4687251"/>
              <a:gd name="connsiteX15747" fmla="*/ 2391598 w 8079933"/>
              <a:gd name="connsiteY15747" fmla="*/ 1786031 h 4687251"/>
              <a:gd name="connsiteX15748" fmla="*/ 2395831 w 8079933"/>
              <a:gd name="connsiteY15748" fmla="*/ 1780618 h 4687251"/>
              <a:gd name="connsiteX15749" fmla="*/ 2404295 w 8079933"/>
              <a:gd name="connsiteY15749" fmla="*/ 1771198 h 4687251"/>
              <a:gd name="connsiteX15750" fmla="*/ 5783267 w 8079933"/>
              <a:gd name="connsiteY15750" fmla="*/ 1767374 h 4687251"/>
              <a:gd name="connsiteX15751" fmla="*/ 5782959 w 8079933"/>
              <a:gd name="connsiteY15751" fmla="*/ 1772389 h 4687251"/>
              <a:gd name="connsiteX15752" fmla="*/ 5780680 w 8079933"/>
              <a:gd name="connsiteY15752" fmla="*/ 1786140 h 4687251"/>
              <a:gd name="connsiteX15753" fmla="*/ 5780680 w 8079933"/>
              <a:gd name="connsiteY15753" fmla="*/ 1796858 h 4687251"/>
              <a:gd name="connsiteX15754" fmla="*/ 5779487 w 8079933"/>
              <a:gd name="connsiteY15754" fmla="*/ 1800431 h 4687251"/>
              <a:gd name="connsiteX15755" fmla="*/ 5782200 w 8079933"/>
              <a:gd name="connsiteY15755" fmla="*/ 1802488 h 4687251"/>
              <a:gd name="connsiteX15756" fmla="*/ 5787734 w 8079933"/>
              <a:gd name="connsiteY15756" fmla="*/ 1804870 h 4687251"/>
              <a:gd name="connsiteX15757" fmla="*/ 5787734 w 8079933"/>
              <a:gd name="connsiteY15757" fmla="*/ 1804870 h 4687251"/>
              <a:gd name="connsiteX15758" fmla="*/ 5782201 w 8079933"/>
              <a:gd name="connsiteY15758" fmla="*/ 1802487 h 4687251"/>
              <a:gd name="connsiteX15759" fmla="*/ 5779488 w 8079933"/>
              <a:gd name="connsiteY15759" fmla="*/ 1800430 h 4687251"/>
              <a:gd name="connsiteX15760" fmla="*/ 5780681 w 8079933"/>
              <a:gd name="connsiteY15760" fmla="*/ 1796858 h 4687251"/>
              <a:gd name="connsiteX15761" fmla="*/ 5780681 w 8079933"/>
              <a:gd name="connsiteY15761" fmla="*/ 1786138 h 4687251"/>
              <a:gd name="connsiteX15762" fmla="*/ 5782960 w 8079933"/>
              <a:gd name="connsiteY15762" fmla="*/ 1772389 h 4687251"/>
              <a:gd name="connsiteX15763" fmla="*/ 2707815 w 8079933"/>
              <a:gd name="connsiteY15763" fmla="*/ 1766759 h 4687251"/>
              <a:gd name="connsiteX15764" fmla="*/ 2708900 w 8079933"/>
              <a:gd name="connsiteY15764" fmla="*/ 1768383 h 4687251"/>
              <a:gd name="connsiteX15765" fmla="*/ 2707924 w 8079933"/>
              <a:gd name="connsiteY15765" fmla="*/ 1769466 h 4687251"/>
              <a:gd name="connsiteX15766" fmla="*/ 2706622 w 8079933"/>
              <a:gd name="connsiteY15766" fmla="*/ 1769033 h 4687251"/>
              <a:gd name="connsiteX15767" fmla="*/ 2431423 w 8079933"/>
              <a:gd name="connsiteY15767" fmla="*/ 1766543 h 4687251"/>
              <a:gd name="connsiteX15768" fmla="*/ 2429362 w 8079933"/>
              <a:gd name="connsiteY15768" fmla="*/ 1768491 h 4687251"/>
              <a:gd name="connsiteX15769" fmla="*/ 2431423 w 8079933"/>
              <a:gd name="connsiteY15769" fmla="*/ 1766543 h 4687251"/>
              <a:gd name="connsiteX15770" fmla="*/ 4979610 w 8079933"/>
              <a:gd name="connsiteY15770" fmla="*/ 1766434 h 4687251"/>
              <a:gd name="connsiteX15771" fmla="*/ 4979310 w 8079933"/>
              <a:gd name="connsiteY15771" fmla="*/ 1767017 h 4687251"/>
              <a:gd name="connsiteX15772" fmla="*/ 4990029 w 8079933"/>
              <a:gd name="connsiteY15772" fmla="*/ 1770008 h 4687251"/>
              <a:gd name="connsiteX15773" fmla="*/ 5000881 w 8079933"/>
              <a:gd name="connsiteY15773" fmla="*/ 1780835 h 4687251"/>
              <a:gd name="connsiteX15774" fmla="*/ 5010538 w 8079933"/>
              <a:gd name="connsiteY15774" fmla="*/ 1796967 h 4687251"/>
              <a:gd name="connsiteX15775" fmla="*/ 5001423 w 8079933"/>
              <a:gd name="connsiteY15775" fmla="*/ 1796967 h 4687251"/>
              <a:gd name="connsiteX15776" fmla="*/ 5001423 w 8079933"/>
              <a:gd name="connsiteY15776" fmla="*/ 1800974 h 4687251"/>
              <a:gd name="connsiteX15777" fmla="*/ 5010213 w 8079933"/>
              <a:gd name="connsiteY15777" fmla="*/ 1806820 h 4687251"/>
              <a:gd name="connsiteX15778" fmla="*/ 5013201 w 8079933"/>
              <a:gd name="connsiteY15778" fmla="*/ 1805826 h 4687251"/>
              <a:gd name="connsiteX15779" fmla="*/ 5006197 w 8079933"/>
              <a:gd name="connsiteY15779" fmla="*/ 1801081 h 4687251"/>
              <a:gd name="connsiteX15780" fmla="*/ 5006740 w 8079933"/>
              <a:gd name="connsiteY15780" fmla="*/ 1797183 h 4687251"/>
              <a:gd name="connsiteX15781" fmla="*/ 5015855 w 8079933"/>
              <a:gd name="connsiteY15781" fmla="*/ 1797183 h 4687251"/>
              <a:gd name="connsiteX15782" fmla="*/ 5006197 w 8079933"/>
              <a:gd name="connsiteY15782" fmla="*/ 1781050 h 4687251"/>
              <a:gd name="connsiteX15783" fmla="*/ 4995129 w 8079933"/>
              <a:gd name="connsiteY15783" fmla="*/ 1770657 h 4687251"/>
              <a:gd name="connsiteX15784" fmla="*/ 6910991 w 8079933"/>
              <a:gd name="connsiteY15784" fmla="*/ 1766414 h 4687251"/>
              <a:gd name="connsiteX15785" fmla="*/ 6910990 w 8079933"/>
              <a:gd name="connsiteY15785" fmla="*/ 1766434 h 4687251"/>
              <a:gd name="connsiteX15786" fmla="*/ 6910991 w 8079933"/>
              <a:gd name="connsiteY15786" fmla="*/ 1766444 h 4687251"/>
              <a:gd name="connsiteX15787" fmla="*/ 4306243 w 8079933"/>
              <a:gd name="connsiteY15787" fmla="*/ 1765841 h 4687251"/>
              <a:gd name="connsiteX15788" fmla="*/ 4305831 w 8079933"/>
              <a:gd name="connsiteY15788" fmla="*/ 1773038 h 4687251"/>
              <a:gd name="connsiteX15789" fmla="*/ 4307242 w 8079933"/>
              <a:gd name="connsiteY15789" fmla="*/ 1783108 h 4687251"/>
              <a:gd name="connsiteX15790" fmla="*/ 4307242 w 8079933"/>
              <a:gd name="connsiteY15790" fmla="*/ 1783108 h 4687251"/>
              <a:gd name="connsiteX15791" fmla="*/ 4323194 w 8079933"/>
              <a:gd name="connsiteY15791" fmla="*/ 1792311 h 4687251"/>
              <a:gd name="connsiteX15792" fmla="*/ 4331658 w 8079933"/>
              <a:gd name="connsiteY15792" fmla="*/ 1793935 h 4687251"/>
              <a:gd name="connsiteX15793" fmla="*/ 4339689 w 8079933"/>
              <a:gd name="connsiteY15793" fmla="*/ 1791119 h 4687251"/>
              <a:gd name="connsiteX15794" fmla="*/ 4352493 w 8079933"/>
              <a:gd name="connsiteY15794" fmla="*/ 1789929 h 4687251"/>
              <a:gd name="connsiteX15795" fmla="*/ 4339689 w 8079933"/>
              <a:gd name="connsiteY15795" fmla="*/ 1791119 h 4687251"/>
              <a:gd name="connsiteX15796" fmla="*/ 4331659 w 8079933"/>
              <a:gd name="connsiteY15796" fmla="*/ 1793934 h 4687251"/>
              <a:gd name="connsiteX15797" fmla="*/ 4323194 w 8079933"/>
              <a:gd name="connsiteY15797" fmla="*/ 1792310 h 4687251"/>
              <a:gd name="connsiteX15798" fmla="*/ 4307242 w 8079933"/>
              <a:gd name="connsiteY15798" fmla="*/ 1783107 h 4687251"/>
              <a:gd name="connsiteX15799" fmla="*/ 4305832 w 8079933"/>
              <a:gd name="connsiteY15799" fmla="*/ 1773038 h 4687251"/>
              <a:gd name="connsiteX15800" fmla="*/ 4103086 w 8079933"/>
              <a:gd name="connsiteY15800" fmla="*/ 1765013 h 4687251"/>
              <a:gd name="connsiteX15801" fmla="*/ 4101603 w 8079933"/>
              <a:gd name="connsiteY15801" fmla="*/ 1769141 h 4687251"/>
              <a:gd name="connsiteX15802" fmla="*/ 4101603 w 8079933"/>
              <a:gd name="connsiteY15802" fmla="*/ 1772823 h 4687251"/>
              <a:gd name="connsiteX15803" fmla="*/ 4101604 w 8079933"/>
              <a:gd name="connsiteY15803" fmla="*/ 1772822 h 4687251"/>
              <a:gd name="connsiteX15804" fmla="*/ 4101604 w 8079933"/>
              <a:gd name="connsiteY15804" fmla="*/ 1769141 h 4687251"/>
              <a:gd name="connsiteX15805" fmla="*/ 4520639 w 8079933"/>
              <a:gd name="connsiteY15805" fmla="*/ 1764174 h 4687251"/>
              <a:gd name="connsiteX15806" fmla="*/ 4520260 w 8079933"/>
              <a:gd name="connsiteY15806" fmla="*/ 1764702 h 4687251"/>
              <a:gd name="connsiteX15807" fmla="*/ 4520261 w 8079933"/>
              <a:gd name="connsiteY15807" fmla="*/ 1764702 h 4687251"/>
              <a:gd name="connsiteX15808" fmla="*/ 4318745 w 8079933"/>
              <a:gd name="connsiteY15808" fmla="*/ 1761778 h 4687251"/>
              <a:gd name="connsiteX15809" fmla="*/ 4313211 w 8079933"/>
              <a:gd name="connsiteY15809" fmla="*/ 1761886 h 4687251"/>
              <a:gd name="connsiteX15810" fmla="*/ 4311677 w 8079933"/>
              <a:gd name="connsiteY15810" fmla="*/ 1762926 h 4687251"/>
              <a:gd name="connsiteX15811" fmla="*/ 4313211 w 8079933"/>
              <a:gd name="connsiteY15811" fmla="*/ 1761886 h 4687251"/>
              <a:gd name="connsiteX15812" fmla="*/ 4318745 w 8079933"/>
              <a:gd name="connsiteY15812" fmla="*/ 1761778 h 4687251"/>
              <a:gd name="connsiteX15813" fmla="*/ 4534585 w 8079933"/>
              <a:gd name="connsiteY15813" fmla="*/ 1761563 h 4687251"/>
              <a:gd name="connsiteX15814" fmla="*/ 4534585 w 8079933"/>
              <a:gd name="connsiteY15814" fmla="*/ 1761563 h 4687251"/>
              <a:gd name="connsiteX15815" fmla="*/ 4534851 w 8079933"/>
              <a:gd name="connsiteY15815" fmla="*/ 1761986 h 4687251"/>
              <a:gd name="connsiteX15816" fmla="*/ 4234753 w 8079933"/>
              <a:gd name="connsiteY15816" fmla="*/ 1761237 h 4687251"/>
              <a:gd name="connsiteX15817" fmla="*/ 4246906 w 8079933"/>
              <a:gd name="connsiteY15817" fmla="*/ 1768166 h 4687251"/>
              <a:gd name="connsiteX15818" fmla="*/ 4246907 w 8079933"/>
              <a:gd name="connsiteY15818" fmla="*/ 1768166 h 4687251"/>
              <a:gd name="connsiteX15819" fmla="*/ 5972322 w 8079933"/>
              <a:gd name="connsiteY15819" fmla="*/ 1760479 h 4687251"/>
              <a:gd name="connsiteX15820" fmla="*/ 5971236 w 8079933"/>
              <a:gd name="connsiteY15820" fmla="*/ 1763510 h 4687251"/>
              <a:gd name="connsiteX15821" fmla="*/ 5972430 w 8079933"/>
              <a:gd name="connsiteY15821" fmla="*/ 1769140 h 4687251"/>
              <a:gd name="connsiteX15822" fmla="*/ 5975143 w 8079933"/>
              <a:gd name="connsiteY15822" fmla="*/ 1772280 h 4687251"/>
              <a:gd name="connsiteX15823" fmla="*/ 5973624 w 8079933"/>
              <a:gd name="connsiteY15823" fmla="*/ 1776611 h 4687251"/>
              <a:gd name="connsiteX15824" fmla="*/ 5970260 w 8079933"/>
              <a:gd name="connsiteY15824" fmla="*/ 1779318 h 4687251"/>
              <a:gd name="connsiteX15825" fmla="*/ 5968741 w 8079933"/>
              <a:gd name="connsiteY15825" fmla="*/ 1781808 h 4687251"/>
              <a:gd name="connsiteX15826" fmla="*/ 5968741 w 8079933"/>
              <a:gd name="connsiteY15826" fmla="*/ 1785273 h 4687251"/>
              <a:gd name="connsiteX15827" fmla="*/ 5969459 w 8079933"/>
              <a:gd name="connsiteY15827" fmla="*/ 1788406 h 4687251"/>
              <a:gd name="connsiteX15828" fmla="*/ 5968742 w 8079933"/>
              <a:gd name="connsiteY15828" fmla="*/ 1785273 h 4687251"/>
              <a:gd name="connsiteX15829" fmla="*/ 5968742 w 8079933"/>
              <a:gd name="connsiteY15829" fmla="*/ 1781809 h 4687251"/>
              <a:gd name="connsiteX15830" fmla="*/ 5970261 w 8079933"/>
              <a:gd name="connsiteY15830" fmla="*/ 1779318 h 4687251"/>
              <a:gd name="connsiteX15831" fmla="*/ 5973624 w 8079933"/>
              <a:gd name="connsiteY15831" fmla="*/ 1776612 h 4687251"/>
              <a:gd name="connsiteX15832" fmla="*/ 5975144 w 8079933"/>
              <a:gd name="connsiteY15832" fmla="*/ 1772281 h 4687251"/>
              <a:gd name="connsiteX15833" fmla="*/ 5972431 w 8079933"/>
              <a:gd name="connsiteY15833" fmla="*/ 1769141 h 4687251"/>
              <a:gd name="connsiteX15834" fmla="*/ 5971238 w 8079933"/>
              <a:gd name="connsiteY15834" fmla="*/ 1763511 h 4687251"/>
              <a:gd name="connsiteX15835" fmla="*/ 5972322 w 8079933"/>
              <a:gd name="connsiteY15835" fmla="*/ 1760479 h 4687251"/>
              <a:gd name="connsiteX15836" fmla="*/ 4292809 w 8079933"/>
              <a:gd name="connsiteY15836" fmla="*/ 1760262 h 4687251"/>
              <a:gd name="connsiteX15837" fmla="*/ 4286515 w 8079933"/>
              <a:gd name="connsiteY15837" fmla="*/ 1761561 h 4687251"/>
              <a:gd name="connsiteX15838" fmla="*/ 4292809 w 8079933"/>
              <a:gd name="connsiteY15838" fmla="*/ 1760263 h 4687251"/>
              <a:gd name="connsiteX15839" fmla="*/ 4296933 w 8079933"/>
              <a:gd name="connsiteY15839" fmla="*/ 1763294 h 4687251"/>
              <a:gd name="connsiteX15840" fmla="*/ 4300291 w 8079933"/>
              <a:gd name="connsiteY15840" fmla="*/ 1764073 h 4687251"/>
              <a:gd name="connsiteX15841" fmla="*/ 4296933 w 8079933"/>
              <a:gd name="connsiteY15841" fmla="*/ 1763294 h 4687251"/>
              <a:gd name="connsiteX15842" fmla="*/ 4334401 w 8079933"/>
              <a:gd name="connsiteY15842" fmla="*/ 1759778 h 4687251"/>
              <a:gd name="connsiteX15843" fmla="*/ 4330031 w 8079933"/>
              <a:gd name="connsiteY15843" fmla="*/ 1760370 h 4687251"/>
              <a:gd name="connsiteX15844" fmla="*/ 4322983 w 8079933"/>
              <a:gd name="connsiteY15844" fmla="*/ 1762882 h 4687251"/>
              <a:gd name="connsiteX15845" fmla="*/ 4330031 w 8079933"/>
              <a:gd name="connsiteY15845" fmla="*/ 1760370 h 4687251"/>
              <a:gd name="connsiteX15846" fmla="*/ 4265138 w 8079933"/>
              <a:gd name="connsiteY15846" fmla="*/ 1756798 h 4687251"/>
              <a:gd name="connsiteX15847" fmla="*/ 4273927 w 8079933"/>
              <a:gd name="connsiteY15847" fmla="*/ 1757122 h 4687251"/>
              <a:gd name="connsiteX15848" fmla="*/ 4279787 w 8079933"/>
              <a:gd name="connsiteY15848" fmla="*/ 1761237 h 4687251"/>
              <a:gd name="connsiteX15849" fmla="*/ 4273928 w 8079933"/>
              <a:gd name="connsiteY15849" fmla="*/ 1757122 h 4687251"/>
              <a:gd name="connsiteX15850" fmla="*/ 5971996 w 8079933"/>
              <a:gd name="connsiteY15850" fmla="*/ 1755065 h 4687251"/>
              <a:gd name="connsiteX15851" fmla="*/ 5972306 w 8079933"/>
              <a:gd name="connsiteY15851" fmla="*/ 1760220 h 4687251"/>
              <a:gd name="connsiteX15852" fmla="*/ 5971997 w 8079933"/>
              <a:gd name="connsiteY15852" fmla="*/ 1755066 h 4687251"/>
              <a:gd name="connsiteX15853" fmla="*/ 4345224 w 8079933"/>
              <a:gd name="connsiteY15853" fmla="*/ 1752792 h 4687251"/>
              <a:gd name="connsiteX15854" fmla="*/ 4338820 w 8079933"/>
              <a:gd name="connsiteY15854" fmla="*/ 1759179 h 4687251"/>
              <a:gd name="connsiteX15855" fmla="*/ 4338821 w 8079933"/>
              <a:gd name="connsiteY15855" fmla="*/ 1759179 h 4687251"/>
              <a:gd name="connsiteX15856" fmla="*/ 4083156 w 8079933"/>
              <a:gd name="connsiteY15856" fmla="*/ 1750951 h 4687251"/>
              <a:gd name="connsiteX15857" fmla="*/ 4080070 w 8079933"/>
              <a:gd name="connsiteY15857" fmla="*/ 1752033 h 4687251"/>
              <a:gd name="connsiteX15858" fmla="*/ 4083156 w 8079933"/>
              <a:gd name="connsiteY15858" fmla="*/ 1750952 h 4687251"/>
              <a:gd name="connsiteX15859" fmla="*/ 4087279 w 8079933"/>
              <a:gd name="connsiteY15859" fmla="*/ 1750952 h 4687251"/>
              <a:gd name="connsiteX15860" fmla="*/ 4090426 w 8079933"/>
              <a:gd name="connsiteY15860" fmla="*/ 1752142 h 4687251"/>
              <a:gd name="connsiteX15861" fmla="*/ 4087280 w 8079933"/>
              <a:gd name="connsiteY15861" fmla="*/ 1750951 h 4687251"/>
              <a:gd name="connsiteX15862" fmla="*/ 4094658 w 8079933"/>
              <a:gd name="connsiteY15862" fmla="*/ 1750735 h 4687251"/>
              <a:gd name="connsiteX15863" fmla="*/ 4091356 w 8079933"/>
              <a:gd name="connsiteY15863" fmla="*/ 1751833 h 4687251"/>
              <a:gd name="connsiteX15864" fmla="*/ 4094658 w 8079933"/>
              <a:gd name="connsiteY15864" fmla="*/ 1750735 h 4687251"/>
              <a:gd name="connsiteX15865" fmla="*/ 4100409 w 8079933"/>
              <a:gd name="connsiteY15865" fmla="*/ 1753334 h 4687251"/>
              <a:gd name="connsiteX15866" fmla="*/ 4104859 w 8079933"/>
              <a:gd name="connsiteY15866" fmla="*/ 1753334 h 4687251"/>
              <a:gd name="connsiteX15867" fmla="*/ 4109525 w 8079933"/>
              <a:gd name="connsiteY15867" fmla="*/ 1756473 h 4687251"/>
              <a:gd name="connsiteX15868" fmla="*/ 4104859 w 8079933"/>
              <a:gd name="connsiteY15868" fmla="*/ 1753333 h 4687251"/>
              <a:gd name="connsiteX15869" fmla="*/ 4100410 w 8079933"/>
              <a:gd name="connsiteY15869" fmla="*/ 1753333 h 4687251"/>
              <a:gd name="connsiteX15870" fmla="*/ 5787410 w 8079933"/>
              <a:gd name="connsiteY15870" fmla="*/ 1749436 h 4687251"/>
              <a:gd name="connsiteX15871" fmla="*/ 5787408 w 8079933"/>
              <a:gd name="connsiteY15871" fmla="*/ 1749436 h 4687251"/>
              <a:gd name="connsiteX15872" fmla="*/ 5785346 w 8079933"/>
              <a:gd name="connsiteY15872" fmla="*/ 1760263 h 4687251"/>
              <a:gd name="connsiteX15873" fmla="*/ 5783760 w 8079933"/>
              <a:gd name="connsiteY15873" fmla="*/ 1765512 h 4687251"/>
              <a:gd name="connsiteX15874" fmla="*/ 5785347 w 8079933"/>
              <a:gd name="connsiteY15874" fmla="*/ 1760262 h 4687251"/>
              <a:gd name="connsiteX15875" fmla="*/ 5835807 w 8079933"/>
              <a:gd name="connsiteY15875" fmla="*/ 1749003 h 4687251"/>
              <a:gd name="connsiteX15876" fmla="*/ 5831683 w 8079933"/>
              <a:gd name="connsiteY15876" fmla="*/ 1753875 h 4687251"/>
              <a:gd name="connsiteX15877" fmla="*/ 5831256 w 8079933"/>
              <a:gd name="connsiteY15877" fmla="*/ 1754021 h 4687251"/>
              <a:gd name="connsiteX15878" fmla="*/ 5831685 w 8079933"/>
              <a:gd name="connsiteY15878" fmla="*/ 1753874 h 4687251"/>
              <a:gd name="connsiteX15879" fmla="*/ 4075017 w 8079933"/>
              <a:gd name="connsiteY15879" fmla="*/ 1748894 h 4687251"/>
              <a:gd name="connsiteX15880" fmla="*/ 4075017 w 8079933"/>
              <a:gd name="connsiteY15880" fmla="*/ 1748895 h 4687251"/>
              <a:gd name="connsiteX15881" fmla="*/ 4079140 w 8079933"/>
              <a:gd name="connsiteY15881" fmla="*/ 1752359 h 4687251"/>
              <a:gd name="connsiteX15882" fmla="*/ 4079141 w 8079933"/>
              <a:gd name="connsiteY15882" fmla="*/ 1752359 h 4687251"/>
              <a:gd name="connsiteX15883" fmla="*/ 4219414 w 8079933"/>
              <a:gd name="connsiteY15883" fmla="*/ 1748039 h 4687251"/>
              <a:gd name="connsiteX15884" fmla="*/ 4221840 w 8079933"/>
              <a:gd name="connsiteY15884" fmla="*/ 1749652 h 4687251"/>
              <a:gd name="connsiteX15885" fmla="*/ 4231498 w 8079933"/>
              <a:gd name="connsiteY15885" fmla="*/ 1760696 h 4687251"/>
              <a:gd name="connsiteX15886" fmla="*/ 4221840 w 8079933"/>
              <a:gd name="connsiteY15886" fmla="*/ 1749652 h 4687251"/>
              <a:gd name="connsiteX15887" fmla="*/ 5967114 w 8079933"/>
              <a:gd name="connsiteY15887" fmla="*/ 1747271 h 4687251"/>
              <a:gd name="connsiteX15888" fmla="*/ 5970043 w 8079933"/>
              <a:gd name="connsiteY15888" fmla="*/ 1752142 h 4687251"/>
              <a:gd name="connsiteX15889" fmla="*/ 5971776 w 8079933"/>
              <a:gd name="connsiteY15889" fmla="*/ 1754735 h 4687251"/>
              <a:gd name="connsiteX15890" fmla="*/ 5970044 w 8079933"/>
              <a:gd name="connsiteY15890" fmla="*/ 1752143 h 4687251"/>
              <a:gd name="connsiteX15891" fmla="*/ 4381920 w 8079933"/>
              <a:gd name="connsiteY15891" fmla="*/ 1743253 h 4687251"/>
              <a:gd name="connsiteX15892" fmla="*/ 4383855 w 8079933"/>
              <a:gd name="connsiteY15892" fmla="*/ 1743480 h 4687251"/>
              <a:gd name="connsiteX15893" fmla="*/ 4389607 w 8079933"/>
              <a:gd name="connsiteY15893" fmla="*/ 1743480 h 4687251"/>
              <a:gd name="connsiteX15894" fmla="*/ 4389606 w 8079933"/>
              <a:gd name="connsiteY15894" fmla="*/ 1743480 h 4687251"/>
              <a:gd name="connsiteX15895" fmla="*/ 4383854 w 8079933"/>
              <a:gd name="connsiteY15895" fmla="*/ 1743480 h 4687251"/>
              <a:gd name="connsiteX15896" fmla="*/ 4380165 w 8079933"/>
              <a:gd name="connsiteY15896" fmla="*/ 1743047 h 4687251"/>
              <a:gd name="connsiteX15897" fmla="*/ 4376367 w 8079933"/>
              <a:gd name="connsiteY15897" fmla="*/ 1744346 h 4687251"/>
              <a:gd name="connsiteX15898" fmla="*/ 4373545 w 8079933"/>
              <a:gd name="connsiteY15898" fmla="*/ 1748677 h 4687251"/>
              <a:gd name="connsiteX15899" fmla="*/ 4373546 w 8079933"/>
              <a:gd name="connsiteY15899" fmla="*/ 1748677 h 4687251"/>
              <a:gd name="connsiteX15900" fmla="*/ 4376368 w 8079933"/>
              <a:gd name="connsiteY15900" fmla="*/ 1744346 h 4687251"/>
              <a:gd name="connsiteX15901" fmla="*/ 4396008 w 8079933"/>
              <a:gd name="connsiteY15901" fmla="*/ 1742722 h 4687251"/>
              <a:gd name="connsiteX15902" fmla="*/ 4392971 w 8079933"/>
              <a:gd name="connsiteY15902" fmla="*/ 1745753 h 4687251"/>
              <a:gd name="connsiteX15903" fmla="*/ 4392971 w 8079933"/>
              <a:gd name="connsiteY15903" fmla="*/ 1745754 h 4687251"/>
              <a:gd name="connsiteX15904" fmla="*/ 4396009 w 8079933"/>
              <a:gd name="connsiteY15904" fmla="*/ 1742722 h 4687251"/>
              <a:gd name="connsiteX15905" fmla="*/ 4406534 w 8079933"/>
              <a:gd name="connsiteY15905" fmla="*/ 1742506 h 4687251"/>
              <a:gd name="connsiteX15906" fmla="*/ 4403605 w 8079933"/>
              <a:gd name="connsiteY15906" fmla="*/ 1743913 h 4687251"/>
              <a:gd name="connsiteX15907" fmla="*/ 4403605 w 8079933"/>
              <a:gd name="connsiteY15907" fmla="*/ 1743913 h 4687251"/>
              <a:gd name="connsiteX15908" fmla="*/ 4406535 w 8079933"/>
              <a:gd name="connsiteY15908" fmla="*/ 1742506 h 4687251"/>
              <a:gd name="connsiteX15909" fmla="*/ 4061126 w 8079933"/>
              <a:gd name="connsiteY15909" fmla="*/ 1742181 h 4687251"/>
              <a:gd name="connsiteX15910" fmla="*/ 4067095 w 8079933"/>
              <a:gd name="connsiteY15910" fmla="*/ 1743373 h 4687251"/>
              <a:gd name="connsiteX15911" fmla="*/ 4070567 w 8079933"/>
              <a:gd name="connsiteY15911" fmla="*/ 1742507 h 4687251"/>
              <a:gd name="connsiteX15912" fmla="*/ 4074195 w 8079933"/>
              <a:gd name="connsiteY15912" fmla="*/ 1745331 h 4687251"/>
              <a:gd name="connsiteX15913" fmla="*/ 4070568 w 8079933"/>
              <a:gd name="connsiteY15913" fmla="*/ 1742506 h 4687251"/>
              <a:gd name="connsiteX15914" fmla="*/ 4070567 w 8079933"/>
              <a:gd name="connsiteY15914" fmla="*/ 1742506 h 4687251"/>
              <a:gd name="connsiteX15915" fmla="*/ 4067096 w 8079933"/>
              <a:gd name="connsiteY15915" fmla="*/ 1743372 h 4687251"/>
              <a:gd name="connsiteX15916" fmla="*/ 4068669 w 8079933"/>
              <a:gd name="connsiteY15916" fmla="*/ 1742967 h 4687251"/>
              <a:gd name="connsiteX15917" fmla="*/ 4067095 w 8079933"/>
              <a:gd name="connsiteY15917" fmla="*/ 1743372 h 4687251"/>
              <a:gd name="connsiteX15918" fmla="*/ 4366508 w 8079933"/>
              <a:gd name="connsiteY15918" fmla="*/ 1742044 h 4687251"/>
              <a:gd name="connsiteX15919" fmla="*/ 4366510 w 8079933"/>
              <a:gd name="connsiteY15919" fmla="*/ 1742051 h 4687251"/>
              <a:gd name="connsiteX15920" fmla="*/ 4367794 w 8079933"/>
              <a:gd name="connsiteY15920" fmla="*/ 1748136 h 4687251"/>
              <a:gd name="connsiteX15921" fmla="*/ 4367794 w 8079933"/>
              <a:gd name="connsiteY15921" fmla="*/ 1748352 h 4687251"/>
              <a:gd name="connsiteX15922" fmla="*/ 4356726 w 8079933"/>
              <a:gd name="connsiteY15922" fmla="*/ 1747270 h 4687251"/>
              <a:gd name="connsiteX15923" fmla="*/ 4351625 w 8079933"/>
              <a:gd name="connsiteY15923" fmla="*/ 1751925 h 4687251"/>
              <a:gd name="connsiteX15924" fmla="*/ 4349272 w 8079933"/>
              <a:gd name="connsiteY15924" fmla="*/ 1752135 h 4687251"/>
              <a:gd name="connsiteX15925" fmla="*/ 4351626 w 8079933"/>
              <a:gd name="connsiteY15925" fmla="*/ 1751925 h 4687251"/>
              <a:gd name="connsiteX15926" fmla="*/ 4356726 w 8079933"/>
              <a:gd name="connsiteY15926" fmla="*/ 1747270 h 4687251"/>
              <a:gd name="connsiteX15927" fmla="*/ 4367794 w 8079933"/>
              <a:gd name="connsiteY15927" fmla="*/ 1748352 h 4687251"/>
              <a:gd name="connsiteX15928" fmla="*/ 4367795 w 8079933"/>
              <a:gd name="connsiteY15928" fmla="*/ 1748352 h 4687251"/>
              <a:gd name="connsiteX15929" fmla="*/ 4367795 w 8079933"/>
              <a:gd name="connsiteY15929" fmla="*/ 1748137 h 4687251"/>
              <a:gd name="connsiteX15930" fmla="*/ 4367794 w 8079933"/>
              <a:gd name="connsiteY15930" fmla="*/ 1748136 h 4687251"/>
              <a:gd name="connsiteX15931" fmla="*/ 6549800 w 8079933"/>
              <a:gd name="connsiteY15931" fmla="*/ 1740229 h 4687251"/>
              <a:gd name="connsiteX15932" fmla="*/ 6549848 w 8079933"/>
              <a:gd name="connsiteY15932" fmla="*/ 1740774 h 4687251"/>
              <a:gd name="connsiteX15933" fmla="*/ 6549848 w 8079933"/>
              <a:gd name="connsiteY15933" fmla="*/ 1740773 h 4687251"/>
              <a:gd name="connsiteX15934" fmla="*/ 5958593 w 8079933"/>
              <a:gd name="connsiteY15934" fmla="*/ 1739306 h 4687251"/>
              <a:gd name="connsiteX15935" fmla="*/ 5959734 w 8079933"/>
              <a:gd name="connsiteY15935" fmla="*/ 1742397 h 4687251"/>
              <a:gd name="connsiteX15936" fmla="*/ 5963531 w 8079933"/>
              <a:gd name="connsiteY15936" fmla="*/ 1745538 h 4687251"/>
              <a:gd name="connsiteX15937" fmla="*/ 5964278 w 8079933"/>
              <a:gd name="connsiteY15937" fmla="*/ 1745899 h 4687251"/>
              <a:gd name="connsiteX15938" fmla="*/ 5963533 w 8079933"/>
              <a:gd name="connsiteY15938" fmla="*/ 1745538 h 4687251"/>
              <a:gd name="connsiteX15939" fmla="*/ 5959735 w 8079933"/>
              <a:gd name="connsiteY15939" fmla="*/ 1742398 h 4687251"/>
              <a:gd name="connsiteX15940" fmla="*/ 4356400 w 8079933"/>
              <a:gd name="connsiteY15940" fmla="*/ 1738067 h 4687251"/>
              <a:gd name="connsiteX15941" fmla="*/ 4354338 w 8079933"/>
              <a:gd name="connsiteY15941" fmla="*/ 1740449 h 4687251"/>
              <a:gd name="connsiteX15942" fmla="*/ 4353118 w 8079933"/>
              <a:gd name="connsiteY15942" fmla="*/ 1740385 h 4687251"/>
              <a:gd name="connsiteX15943" fmla="*/ 4354338 w 8079933"/>
              <a:gd name="connsiteY15943" fmla="*/ 1740449 h 4687251"/>
              <a:gd name="connsiteX15944" fmla="*/ 4057979 w 8079933"/>
              <a:gd name="connsiteY15944" fmla="*/ 1737742 h 4687251"/>
              <a:gd name="connsiteX15945" fmla="*/ 4057979 w 8079933"/>
              <a:gd name="connsiteY15945" fmla="*/ 1737742 h 4687251"/>
              <a:gd name="connsiteX15946" fmla="*/ 4057980 w 8079933"/>
              <a:gd name="connsiteY15946" fmla="*/ 1737742 h 4687251"/>
              <a:gd name="connsiteX15947" fmla="*/ 4058305 w 8079933"/>
              <a:gd name="connsiteY15947" fmla="*/ 1737742 h 4687251"/>
              <a:gd name="connsiteX15948" fmla="*/ 4058305 w 8079933"/>
              <a:gd name="connsiteY15948" fmla="*/ 1737742 h 4687251"/>
              <a:gd name="connsiteX15949" fmla="*/ 7269963 w 8079933"/>
              <a:gd name="connsiteY15949" fmla="*/ 1735252 h 4687251"/>
              <a:gd name="connsiteX15950" fmla="*/ 7269203 w 8079933"/>
              <a:gd name="connsiteY15950" fmla="*/ 1738825 h 4687251"/>
              <a:gd name="connsiteX15951" fmla="*/ 7264971 w 8079933"/>
              <a:gd name="connsiteY15951" fmla="*/ 1741640 h 4687251"/>
              <a:gd name="connsiteX15952" fmla="*/ 7262802 w 8079933"/>
              <a:gd name="connsiteY15952" fmla="*/ 1740882 h 4687251"/>
              <a:gd name="connsiteX15953" fmla="*/ 7266491 w 8079933"/>
              <a:gd name="connsiteY15953" fmla="*/ 1736768 h 4687251"/>
              <a:gd name="connsiteX15954" fmla="*/ 4203067 w 8079933"/>
              <a:gd name="connsiteY15954" fmla="*/ 1734819 h 4687251"/>
              <a:gd name="connsiteX15955" fmla="*/ 4203067 w 8079933"/>
              <a:gd name="connsiteY15955" fmla="*/ 1734819 h 4687251"/>
              <a:gd name="connsiteX15956" fmla="*/ 4203316 w 8079933"/>
              <a:gd name="connsiteY15956" fmla="*/ 1735501 h 4687251"/>
              <a:gd name="connsiteX15957" fmla="*/ 4054507 w 8079933"/>
              <a:gd name="connsiteY15957" fmla="*/ 1728107 h 4687251"/>
              <a:gd name="connsiteX15958" fmla="*/ 4054507 w 8079933"/>
              <a:gd name="connsiteY15958" fmla="*/ 1728107 h 4687251"/>
              <a:gd name="connsiteX15959" fmla="*/ 4056134 w 8079933"/>
              <a:gd name="connsiteY15959" fmla="*/ 1730164 h 4687251"/>
              <a:gd name="connsiteX15960" fmla="*/ 4056134 w 8079933"/>
              <a:gd name="connsiteY15960" fmla="*/ 1733412 h 4687251"/>
              <a:gd name="connsiteX15961" fmla="*/ 4057979 w 8079933"/>
              <a:gd name="connsiteY15961" fmla="*/ 1735144 h 4687251"/>
              <a:gd name="connsiteX15962" fmla="*/ 4057979 w 8079933"/>
              <a:gd name="connsiteY15962" fmla="*/ 1735143 h 4687251"/>
              <a:gd name="connsiteX15963" fmla="*/ 4056135 w 8079933"/>
              <a:gd name="connsiteY15963" fmla="*/ 1733411 h 4687251"/>
              <a:gd name="connsiteX15964" fmla="*/ 4056135 w 8079933"/>
              <a:gd name="connsiteY15964" fmla="*/ 1730163 h 4687251"/>
              <a:gd name="connsiteX15965" fmla="*/ 4067312 w 8079933"/>
              <a:gd name="connsiteY15965" fmla="*/ 1727564 h 4687251"/>
              <a:gd name="connsiteX15966" fmla="*/ 4068289 w 8079933"/>
              <a:gd name="connsiteY15966" fmla="*/ 1732653 h 4687251"/>
              <a:gd name="connsiteX15967" fmla="*/ 4070893 w 8079933"/>
              <a:gd name="connsiteY15967" fmla="*/ 1734927 h 4687251"/>
              <a:gd name="connsiteX15968" fmla="*/ 4070459 w 8079933"/>
              <a:gd name="connsiteY15968" fmla="*/ 1742506 h 4687251"/>
              <a:gd name="connsiteX15969" fmla="*/ 4070460 w 8079933"/>
              <a:gd name="connsiteY15969" fmla="*/ 1742506 h 4687251"/>
              <a:gd name="connsiteX15970" fmla="*/ 4070894 w 8079933"/>
              <a:gd name="connsiteY15970" fmla="*/ 1734927 h 4687251"/>
              <a:gd name="connsiteX15971" fmla="*/ 4068289 w 8079933"/>
              <a:gd name="connsiteY15971" fmla="*/ 1732653 h 4687251"/>
              <a:gd name="connsiteX15972" fmla="*/ 4067312 w 8079933"/>
              <a:gd name="connsiteY15972" fmla="*/ 1727565 h 4687251"/>
              <a:gd name="connsiteX15973" fmla="*/ 5953657 w 8079933"/>
              <a:gd name="connsiteY15973" fmla="*/ 1726698 h 4687251"/>
              <a:gd name="connsiteX15974" fmla="*/ 5954308 w 8079933"/>
              <a:gd name="connsiteY15974" fmla="*/ 1730488 h 4687251"/>
              <a:gd name="connsiteX15975" fmla="*/ 5955719 w 8079933"/>
              <a:gd name="connsiteY15975" fmla="*/ 1734710 h 4687251"/>
              <a:gd name="connsiteX15976" fmla="*/ 5955720 w 8079933"/>
              <a:gd name="connsiteY15976" fmla="*/ 1734711 h 4687251"/>
              <a:gd name="connsiteX15977" fmla="*/ 5955720 w 8079933"/>
              <a:gd name="connsiteY15977" fmla="*/ 1734712 h 4687251"/>
              <a:gd name="connsiteX15978" fmla="*/ 5955809 w 8079933"/>
              <a:gd name="connsiteY15978" fmla="*/ 1734839 h 4687251"/>
              <a:gd name="connsiteX15979" fmla="*/ 5955720 w 8079933"/>
              <a:gd name="connsiteY15979" fmla="*/ 1734711 h 4687251"/>
              <a:gd name="connsiteX15980" fmla="*/ 5954309 w 8079933"/>
              <a:gd name="connsiteY15980" fmla="*/ 1730489 h 4687251"/>
              <a:gd name="connsiteX15981" fmla="*/ 5953658 w 8079933"/>
              <a:gd name="connsiteY15981" fmla="*/ 1726699 h 4687251"/>
              <a:gd name="connsiteX15982" fmla="*/ 4028869 w 8079933"/>
              <a:gd name="connsiteY15982" fmla="*/ 1726212 h 4687251"/>
              <a:gd name="connsiteX15983" fmla="*/ 4027160 w 8079933"/>
              <a:gd name="connsiteY15983" fmla="*/ 1727348 h 4687251"/>
              <a:gd name="connsiteX15984" fmla="*/ 4027161 w 8079933"/>
              <a:gd name="connsiteY15984" fmla="*/ 1727348 h 4687251"/>
              <a:gd name="connsiteX15985" fmla="*/ 4330208 w 8079933"/>
              <a:gd name="connsiteY15985" fmla="*/ 1721715 h 4687251"/>
              <a:gd name="connsiteX15986" fmla="*/ 4331224 w 8079933"/>
              <a:gd name="connsiteY15986" fmla="*/ 1722043 h 4687251"/>
              <a:gd name="connsiteX15987" fmla="*/ 4338494 w 8079933"/>
              <a:gd name="connsiteY15987" fmla="*/ 1727294 h 4687251"/>
              <a:gd name="connsiteX15988" fmla="*/ 4331224 w 8079933"/>
              <a:gd name="connsiteY15988" fmla="*/ 1722043 h 4687251"/>
              <a:gd name="connsiteX15989" fmla="*/ 6914355 w 8079933"/>
              <a:gd name="connsiteY15989" fmla="*/ 1721068 h 4687251"/>
              <a:gd name="connsiteX15990" fmla="*/ 6912510 w 8079933"/>
              <a:gd name="connsiteY15990" fmla="*/ 1721501 h 4687251"/>
              <a:gd name="connsiteX15991" fmla="*/ 6908061 w 8079933"/>
              <a:gd name="connsiteY15991" fmla="*/ 1728322 h 4687251"/>
              <a:gd name="connsiteX15992" fmla="*/ 6907084 w 8079933"/>
              <a:gd name="connsiteY15992" fmla="*/ 1731571 h 4687251"/>
              <a:gd name="connsiteX15993" fmla="*/ 6904805 w 8079933"/>
              <a:gd name="connsiteY15993" fmla="*/ 1734602 h 4687251"/>
              <a:gd name="connsiteX15994" fmla="*/ 6901984 w 8079933"/>
              <a:gd name="connsiteY15994" fmla="*/ 1734818 h 4687251"/>
              <a:gd name="connsiteX15995" fmla="*/ 6899054 w 8079933"/>
              <a:gd name="connsiteY15995" fmla="*/ 1736767 h 4687251"/>
              <a:gd name="connsiteX15996" fmla="*/ 6898077 w 8079933"/>
              <a:gd name="connsiteY15996" fmla="*/ 1738933 h 4687251"/>
              <a:gd name="connsiteX15997" fmla="*/ 6898309 w 8079933"/>
              <a:gd name="connsiteY15997" fmla="*/ 1739454 h 4687251"/>
              <a:gd name="connsiteX15998" fmla="*/ 6898837 w 8079933"/>
              <a:gd name="connsiteY15998" fmla="*/ 1738285 h 4687251"/>
              <a:gd name="connsiteX15999" fmla="*/ 6901767 w 8079933"/>
              <a:gd name="connsiteY15999" fmla="*/ 1736336 h 4687251"/>
              <a:gd name="connsiteX16000" fmla="*/ 6904480 w 8079933"/>
              <a:gd name="connsiteY16000" fmla="*/ 1736336 h 4687251"/>
              <a:gd name="connsiteX16001" fmla="*/ 6906758 w 8079933"/>
              <a:gd name="connsiteY16001" fmla="*/ 1733304 h 4687251"/>
              <a:gd name="connsiteX16002" fmla="*/ 6907735 w 8079933"/>
              <a:gd name="connsiteY16002" fmla="*/ 1730056 h 4687251"/>
              <a:gd name="connsiteX16003" fmla="*/ 6912184 w 8079933"/>
              <a:gd name="connsiteY16003" fmla="*/ 1723235 h 4687251"/>
              <a:gd name="connsiteX16004" fmla="*/ 6914029 w 8079933"/>
              <a:gd name="connsiteY16004" fmla="*/ 1723235 h 4687251"/>
              <a:gd name="connsiteX16005" fmla="*/ 6917827 w 8079933"/>
              <a:gd name="connsiteY16005" fmla="*/ 1724209 h 4687251"/>
              <a:gd name="connsiteX16006" fmla="*/ 6920757 w 8079933"/>
              <a:gd name="connsiteY16006" fmla="*/ 1725400 h 4687251"/>
              <a:gd name="connsiteX16007" fmla="*/ 6935950 w 8079933"/>
              <a:gd name="connsiteY16007" fmla="*/ 1728107 h 4687251"/>
              <a:gd name="connsiteX16008" fmla="*/ 6938228 w 8079933"/>
              <a:gd name="connsiteY16008" fmla="*/ 1728865 h 4687251"/>
              <a:gd name="connsiteX16009" fmla="*/ 6940941 w 8079933"/>
              <a:gd name="connsiteY16009" fmla="*/ 1728865 h 4687251"/>
              <a:gd name="connsiteX16010" fmla="*/ 6942894 w 8079933"/>
              <a:gd name="connsiteY16010" fmla="*/ 1726483 h 4687251"/>
              <a:gd name="connsiteX16011" fmla="*/ 6942660 w 8079933"/>
              <a:gd name="connsiteY16011" fmla="*/ 1725201 h 4687251"/>
              <a:gd name="connsiteX16012" fmla="*/ 6941375 w 8079933"/>
              <a:gd name="connsiteY16012" fmla="*/ 1726698 h 4687251"/>
              <a:gd name="connsiteX16013" fmla="*/ 6938662 w 8079933"/>
              <a:gd name="connsiteY16013" fmla="*/ 1726698 h 4687251"/>
              <a:gd name="connsiteX16014" fmla="*/ 6936383 w 8079933"/>
              <a:gd name="connsiteY16014" fmla="*/ 1726049 h 4687251"/>
              <a:gd name="connsiteX16015" fmla="*/ 6921082 w 8079933"/>
              <a:gd name="connsiteY16015" fmla="*/ 1723234 h 4687251"/>
              <a:gd name="connsiteX16016" fmla="*/ 6918153 w 8079933"/>
              <a:gd name="connsiteY16016" fmla="*/ 1722043 h 4687251"/>
              <a:gd name="connsiteX16017" fmla="*/ 4021342 w 8079933"/>
              <a:gd name="connsiteY16017" fmla="*/ 1718021 h 4687251"/>
              <a:gd name="connsiteX16018" fmla="*/ 4021843 w 8079933"/>
              <a:gd name="connsiteY16018" fmla="*/ 1718254 h 4687251"/>
              <a:gd name="connsiteX16019" fmla="*/ 4021843 w 8079933"/>
              <a:gd name="connsiteY16019" fmla="*/ 1718254 h 4687251"/>
              <a:gd name="connsiteX16020" fmla="*/ 4293243 w 8079933"/>
              <a:gd name="connsiteY16020" fmla="*/ 1717062 h 4687251"/>
              <a:gd name="connsiteX16021" fmla="*/ 4291921 w 8079933"/>
              <a:gd name="connsiteY16021" fmla="*/ 1718444 h 4687251"/>
              <a:gd name="connsiteX16022" fmla="*/ 4293243 w 8079933"/>
              <a:gd name="connsiteY16022" fmla="*/ 1717062 h 4687251"/>
              <a:gd name="connsiteX16023" fmla="*/ 4805225 w 8079933"/>
              <a:gd name="connsiteY16023" fmla="*/ 1716522 h 4687251"/>
              <a:gd name="connsiteX16024" fmla="*/ 4801644 w 8079933"/>
              <a:gd name="connsiteY16024" fmla="*/ 1720096 h 4687251"/>
              <a:gd name="connsiteX16025" fmla="*/ 4795056 w 8079933"/>
              <a:gd name="connsiteY16025" fmla="*/ 1718820 h 4687251"/>
              <a:gd name="connsiteX16026" fmla="*/ 4796652 w 8079933"/>
              <a:gd name="connsiteY16026" fmla="*/ 1719770 h 4687251"/>
              <a:gd name="connsiteX16027" fmla="*/ 4803923 w 8079933"/>
              <a:gd name="connsiteY16027" fmla="*/ 1721178 h 4687251"/>
              <a:gd name="connsiteX16028" fmla="*/ 4806138 w 8079933"/>
              <a:gd name="connsiteY16028" fmla="*/ 1718967 h 4687251"/>
              <a:gd name="connsiteX16029" fmla="*/ 5941828 w 8079933"/>
              <a:gd name="connsiteY16029" fmla="*/ 1715872 h 4687251"/>
              <a:gd name="connsiteX16030" fmla="*/ 5943673 w 8079933"/>
              <a:gd name="connsiteY16030" fmla="*/ 1718686 h 4687251"/>
              <a:gd name="connsiteX16031" fmla="*/ 5941829 w 8079933"/>
              <a:gd name="connsiteY16031" fmla="*/ 1715872 h 4687251"/>
              <a:gd name="connsiteX16032" fmla="*/ 7243812 w 8079933"/>
              <a:gd name="connsiteY16032" fmla="*/ 1715222 h 4687251"/>
              <a:gd name="connsiteX16033" fmla="*/ 7246200 w 8079933"/>
              <a:gd name="connsiteY16033" fmla="*/ 1717495 h 4687251"/>
              <a:gd name="connsiteX16034" fmla="*/ 7248804 w 8079933"/>
              <a:gd name="connsiteY16034" fmla="*/ 1718362 h 4687251"/>
              <a:gd name="connsiteX16035" fmla="*/ 7252276 w 8079933"/>
              <a:gd name="connsiteY16035" fmla="*/ 1717495 h 4687251"/>
              <a:gd name="connsiteX16036" fmla="*/ 7253688 w 8079933"/>
              <a:gd name="connsiteY16036" fmla="*/ 1717495 h 4687251"/>
              <a:gd name="connsiteX16037" fmla="*/ 7252602 w 8079933"/>
              <a:gd name="connsiteY16037" fmla="*/ 1722693 h 4687251"/>
              <a:gd name="connsiteX16038" fmla="*/ 7246742 w 8079933"/>
              <a:gd name="connsiteY16038" fmla="*/ 1728215 h 4687251"/>
              <a:gd name="connsiteX16039" fmla="*/ 7244680 w 8079933"/>
              <a:gd name="connsiteY16039" fmla="*/ 1729297 h 4687251"/>
              <a:gd name="connsiteX16040" fmla="*/ 7242619 w 8079933"/>
              <a:gd name="connsiteY16040" fmla="*/ 1740774 h 4687251"/>
              <a:gd name="connsiteX16041" fmla="*/ 7242619 w 8079933"/>
              <a:gd name="connsiteY16041" fmla="*/ 1747487 h 4687251"/>
              <a:gd name="connsiteX16042" fmla="*/ 7238278 w 8079933"/>
              <a:gd name="connsiteY16042" fmla="*/ 1742506 h 4687251"/>
              <a:gd name="connsiteX16043" fmla="*/ 7237301 w 8079933"/>
              <a:gd name="connsiteY16043" fmla="*/ 1739583 h 4687251"/>
              <a:gd name="connsiteX16044" fmla="*/ 7239471 w 8079933"/>
              <a:gd name="connsiteY16044" fmla="*/ 1734603 h 4687251"/>
              <a:gd name="connsiteX16045" fmla="*/ 7240340 w 8079933"/>
              <a:gd name="connsiteY16045" fmla="*/ 1727565 h 4687251"/>
              <a:gd name="connsiteX16046" fmla="*/ 7241534 w 8079933"/>
              <a:gd name="connsiteY16046" fmla="*/ 1722585 h 4687251"/>
              <a:gd name="connsiteX16047" fmla="*/ 7242401 w 8079933"/>
              <a:gd name="connsiteY16047" fmla="*/ 1716954 h 4687251"/>
              <a:gd name="connsiteX16048" fmla="*/ 4788188 w 8079933"/>
              <a:gd name="connsiteY16048" fmla="*/ 1714898 h 4687251"/>
              <a:gd name="connsiteX16049" fmla="*/ 4783371 w 8079933"/>
              <a:gd name="connsiteY16049" fmla="*/ 1715699 h 4687251"/>
              <a:gd name="connsiteX16050" fmla="*/ 4785258 w 8079933"/>
              <a:gd name="connsiteY16050" fmla="*/ 1716847 h 4687251"/>
              <a:gd name="connsiteX16051" fmla="*/ 4790196 w 8079933"/>
              <a:gd name="connsiteY16051" fmla="*/ 1716128 h 4687251"/>
              <a:gd name="connsiteX16052" fmla="*/ 6941300 w 8079933"/>
              <a:gd name="connsiteY16052" fmla="*/ 1714722 h 4687251"/>
              <a:gd name="connsiteX16053" fmla="*/ 6940832 w 8079933"/>
              <a:gd name="connsiteY16053" fmla="*/ 1715655 h 4687251"/>
              <a:gd name="connsiteX16054" fmla="*/ 6941043 w 8079933"/>
              <a:gd name="connsiteY16054" fmla="*/ 1717268 h 4687251"/>
              <a:gd name="connsiteX16055" fmla="*/ 6941701 w 8079933"/>
              <a:gd name="connsiteY16055" fmla="*/ 1715872 h 4687251"/>
              <a:gd name="connsiteX16056" fmla="*/ 4015657 w 8079933"/>
              <a:gd name="connsiteY16056" fmla="*/ 1714356 h 4687251"/>
              <a:gd name="connsiteX16057" fmla="*/ 4012728 w 8079933"/>
              <a:gd name="connsiteY16057" fmla="*/ 1714464 h 4687251"/>
              <a:gd name="connsiteX16058" fmla="*/ 4015658 w 8079933"/>
              <a:gd name="connsiteY16058" fmla="*/ 1714356 h 4687251"/>
              <a:gd name="connsiteX16059" fmla="*/ 4191781 w 8079933"/>
              <a:gd name="connsiteY16059" fmla="*/ 1713923 h 4687251"/>
              <a:gd name="connsiteX16060" fmla="*/ 4192106 w 8079933"/>
              <a:gd name="connsiteY16060" fmla="*/ 1717496 h 4687251"/>
              <a:gd name="connsiteX16061" fmla="*/ 4198401 w 8079933"/>
              <a:gd name="connsiteY16061" fmla="*/ 1721285 h 4687251"/>
              <a:gd name="connsiteX16062" fmla="*/ 4203392 w 8079933"/>
              <a:gd name="connsiteY16062" fmla="*/ 1729080 h 4687251"/>
              <a:gd name="connsiteX16063" fmla="*/ 4203392 w 8079933"/>
              <a:gd name="connsiteY16063" fmla="*/ 1729080 h 4687251"/>
              <a:gd name="connsiteX16064" fmla="*/ 4198401 w 8079933"/>
              <a:gd name="connsiteY16064" fmla="*/ 1721284 h 4687251"/>
              <a:gd name="connsiteX16065" fmla="*/ 4192106 w 8079933"/>
              <a:gd name="connsiteY16065" fmla="*/ 1717495 h 4687251"/>
              <a:gd name="connsiteX16066" fmla="*/ 5922903 w 8079933"/>
              <a:gd name="connsiteY16066" fmla="*/ 1712563 h 4687251"/>
              <a:gd name="connsiteX16067" fmla="*/ 5923055 w 8079933"/>
              <a:gd name="connsiteY16067" fmla="*/ 1712840 h 4687251"/>
              <a:gd name="connsiteX16068" fmla="*/ 5923055 w 8079933"/>
              <a:gd name="connsiteY16068" fmla="*/ 1712839 h 4687251"/>
              <a:gd name="connsiteX16069" fmla="*/ 4763555 w 8079933"/>
              <a:gd name="connsiteY16069" fmla="*/ 1711217 h 4687251"/>
              <a:gd name="connsiteX16070" fmla="*/ 4761545 w 8079933"/>
              <a:gd name="connsiteY16070" fmla="*/ 1713222 h 4687251"/>
              <a:gd name="connsiteX16071" fmla="*/ 4762578 w 8079933"/>
              <a:gd name="connsiteY16071" fmla="*/ 1715331 h 4687251"/>
              <a:gd name="connsiteX16072" fmla="*/ 4765833 w 8079933"/>
              <a:gd name="connsiteY16072" fmla="*/ 1712083 h 4687251"/>
              <a:gd name="connsiteX16073" fmla="*/ 4774406 w 8079933"/>
              <a:gd name="connsiteY16073" fmla="*/ 1713923 h 4687251"/>
              <a:gd name="connsiteX16074" fmla="*/ 4780280 w 8079933"/>
              <a:gd name="connsiteY16074" fmla="*/ 1714123 h 4687251"/>
              <a:gd name="connsiteX16075" fmla="*/ 4778530 w 8079933"/>
              <a:gd name="connsiteY16075" fmla="*/ 1713058 h 4687251"/>
              <a:gd name="connsiteX16076" fmla="*/ 4772127 w 8079933"/>
              <a:gd name="connsiteY16076" fmla="*/ 1713058 h 4687251"/>
              <a:gd name="connsiteX16077" fmla="*/ 4293026 w 8079933"/>
              <a:gd name="connsiteY16077" fmla="*/ 1708292 h 4687251"/>
              <a:gd name="connsiteX16078" fmla="*/ 4290747 w 8079933"/>
              <a:gd name="connsiteY16078" fmla="*/ 1709808 h 4687251"/>
              <a:gd name="connsiteX16079" fmla="*/ 4296282 w 8079933"/>
              <a:gd name="connsiteY16079" fmla="*/ 1717062 h 4687251"/>
              <a:gd name="connsiteX16080" fmla="*/ 4290748 w 8079933"/>
              <a:gd name="connsiteY16080" fmla="*/ 1709808 h 4687251"/>
              <a:gd name="connsiteX16081" fmla="*/ 5839582 w 8079933"/>
              <a:gd name="connsiteY16081" fmla="*/ 1705657 h 4687251"/>
              <a:gd name="connsiteX16082" fmla="*/ 5839062 w 8079933"/>
              <a:gd name="connsiteY16082" fmla="*/ 1706020 h 4687251"/>
              <a:gd name="connsiteX16083" fmla="*/ 5838194 w 8079933"/>
              <a:gd name="connsiteY16083" fmla="*/ 1711541 h 4687251"/>
              <a:gd name="connsiteX16084" fmla="*/ 5838520 w 8079933"/>
              <a:gd name="connsiteY16084" fmla="*/ 1721718 h 4687251"/>
              <a:gd name="connsiteX16085" fmla="*/ 5843187 w 8079933"/>
              <a:gd name="connsiteY16085" fmla="*/ 1731138 h 4687251"/>
              <a:gd name="connsiteX16086" fmla="*/ 5847744 w 8079933"/>
              <a:gd name="connsiteY16086" fmla="*/ 1737201 h 4687251"/>
              <a:gd name="connsiteX16087" fmla="*/ 5846984 w 8079933"/>
              <a:gd name="connsiteY16087" fmla="*/ 1740449 h 4687251"/>
              <a:gd name="connsiteX16088" fmla="*/ 5842454 w 8079933"/>
              <a:gd name="connsiteY16088" fmla="*/ 1745544 h 4687251"/>
              <a:gd name="connsiteX16089" fmla="*/ 5846985 w 8079933"/>
              <a:gd name="connsiteY16089" fmla="*/ 1740449 h 4687251"/>
              <a:gd name="connsiteX16090" fmla="*/ 5847745 w 8079933"/>
              <a:gd name="connsiteY16090" fmla="*/ 1737200 h 4687251"/>
              <a:gd name="connsiteX16091" fmla="*/ 5843187 w 8079933"/>
              <a:gd name="connsiteY16091" fmla="*/ 1731137 h 4687251"/>
              <a:gd name="connsiteX16092" fmla="*/ 5838521 w 8079933"/>
              <a:gd name="connsiteY16092" fmla="*/ 1721718 h 4687251"/>
              <a:gd name="connsiteX16093" fmla="*/ 5838195 w 8079933"/>
              <a:gd name="connsiteY16093" fmla="*/ 1711540 h 4687251"/>
              <a:gd name="connsiteX16094" fmla="*/ 5839064 w 8079933"/>
              <a:gd name="connsiteY16094" fmla="*/ 1706018 h 4687251"/>
              <a:gd name="connsiteX16095" fmla="*/ 5898314 w 8079933"/>
              <a:gd name="connsiteY16095" fmla="*/ 1705586 h 4687251"/>
              <a:gd name="connsiteX16096" fmla="*/ 5898314 w 8079933"/>
              <a:gd name="connsiteY16096" fmla="*/ 1705586 h 4687251"/>
              <a:gd name="connsiteX16097" fmla="*/ 5899155 w 8079933"/>
              <a:gd name="connsiteY16097" fmla="*/ 1706615 h 4687251"/>
              <a:gd name="connsiteX16098" fmla="*/ 5901677 w 8079933"/>
              <a:gd name="connsiteY16098" fmla="*/ 1709700 h 4687251"/>
              <a:gd name="connsiteX16099" fmla="*/ 5901786 w 8079933"/>
              <a:gd name="connsiteY16099" fmla="*/ 1711324 h 4687251"/>
              <a:gd name="connsiteX16100" fmla="*/ 5902979 w 8079933"/>
              <a:gd name="connsiteY16100" fmla="*/ 1714896 h 4687251"/>
              <a:gd name="connsiteX16101" fmla="*/ 5902980 w 8079933"/>
              <a:gd name="connsiteY16101" fmla="*/ 1714897 h 4687251"/>
              <a:gd name="connsiteX16102" fmla="*/ 5901787 w 8079933"/>
              <a:gd name="connsiteY16102" fmla="*/ 1711325 h 4687251"/>
              <a:gd name="connsiteX16103" fmla="*/ 5901678 w 8079933"/>
              <a:gd name="connsiteY16103" fmla="*/ 1709701 h 4687251"/>
              <a:gd name="connsiteX16104" fmla="*/ 5899155 w 8079933"/>
              <a:gd name="connsiteY16104" fmla="*/ 1706615 h 4687251"/>
              <a:gd name="connsiteX16105" fmla="*/ 3913001 w 8079933"/>
              <a:gd name="connsiteY16105" fmla="*/ 1704720 h 4687251"/>
              <a:gd name="connsiteX16106" fmla="*/ 3915280 w 8079933"/>
              <a:gd name="connsiteY16106" fmla="*/ 1706452 h 4687251"/>
              <a:gd name="connsiteX16107" fmla="*/ 3917667 w 8079933"/>
              <a:gd name="connsiteY16107" fmla="*/ 1706236 h 4687251"/>
              <a:gd name="connsiteX16108" fmla="*/ 3916148 w 8079933"/>
              <a:gd name="connsiteY16108" fmla="*/ 1708834 h 4687251"/>
              <a:gd name="connsiteX16109" fmla="*/ 3916148 w 8079933"/>
              <a:gd name="connsiteY16109" fmla="*/ 1710567 h 4687251"/>
              <a:gd name="connsiteX16110" fmla="*/ 3913001 w 8079933"/>
              <a:gd name="connsiteY16110" fmla="*/ 1711108 h 4687251"/>
              <a:gd name="connsiteX16111" fmla="*/ 3909746 w 8079933"/>
              <a:gd name="connsiteY16111" fmla="*/ 1708726 h 4687251"/>
              <a:gd name="connsiteX16112" fmla="*/ 3906599 w 8079933"/>
              <a:gd name="connsiteY16112" fmla="*/ 1708077 h 4687251"/>
              <a:gd name="connsiteX16113" fmla="*/ 2749703 w 8079933"/>
              <a:gd name="connsiteY16113" fmla="*/ 1704071 h 4687251"/>
              <a:gd name="connsiteX16114" fmla="*/ 2750571 w 8079933"/>
              <a:gd name="connsiteY16114" fmla="*/ 1704396 h 4687251"/>
              <a:gd name="connsiteX16115" fmla="*/ 2751222 w 8079933"/>
              <a:gd name="connsiteY16115" fmla="*/ 1706995 h 4687251"/>
              <a:gd name="connsiteX16116" fmla="*/ 2749269 w 8079933"/>
              <a:gd name="connsiteY16116" fmla="*/ 1710350 h 4687251"/>
              <a:gd name="connsiteX16117" fmla="*/ 2745797 w 8079933"/>
              <a:gd name="connsiteY16117" fmla="*/ 1711975 h 4687251"/>
              <a:gd name="connsiteX16118" fmla="*/ 2743735 w 8079933"/>
              <a:gd name="connsiteY16118" fmla="*/ 1710567 h 4687251"/>
              <a:gd name="connsiteX16119" fmla="*/ 2743952 w 8079933"/>
              <a:gd name="connsiteY16119" fmla="*/ 1708618 h 4687251"/>
              <a:gd name="connsiteX16120" fmla="*/ 2744820 w 8079933"/>
              <a:gd name="connsiteY16120" fmla="*/ 1707536 h 4687251"/>
              <a:gd name="connsiteX16121" fmla="*/ 2747316 w 8079933"/>
              <a:gd name="connsiteY16121" fmla="*/ 1708510 h 4687251"/>
              <a:gd name="connsiteX16122" fmla="*/ 2748943 w 8079933"/>
              <a:gd name="connsiteY16122" fmla="*/ 1708077 h 4687251"/>
              <a:gd name="connsiteX16123" fmla="*/ 2750028 w 8079933"/>
              <a:gd name="connsiteY16123" fmla="*/ 1705479 h 4687251"/>
              <a:gd name="connsiteX16124" fmla="*/ 2755237 w 8079933"/>
              <a:gd name="connsiteY16124" fmla="*/ 1702879 h 4687251"/>
              <a:gd name="connsiteX16125" fmla="*/ 2756865 w 8079933"/>
              <a:gd name="connsiteY16125" fmla="*/ 1702879 h 4687251"/>
              <a:gd name="connsiteX16126" fmla="*/ 2757841 w 8079933"/>
              <a:gd name="connsiteY16126" fmla="*/ 1704179 h 4687251"/>
              <a:gd name="connsiteX16127" fmla="*/ 2759035 w 8079933"/>
              <a:gd name="connsiteY16127" fmla="*/ 1703312 h 4687251"/>
              <a:gd name="connsiteX16128" fmla="*/ 2761422 w 8079933"/>
              <a:gd name="connsiteY16128" fmla="*/ 1704936 h 4687251"/>
              <a:gd name="connsiteX16129" fmla="*/ 2761422 w 8079933"/>
              <a:gd name="connsiteY16129" fmla="*/ 1706885 h 4687251"/>
              <a:gd name="connsiteX16130" fmla="*/ 2758709 w 8079933"/>
              <a:gd name="connsiteY16130" fmla="*/ 1709051 h 4687251"/>
              <a:gd name="connsiteX16131" fmla="*/ 2756214 w 8079933"/>
              <a:gd name="connsiteY16131" fmla="*/ 1709051 h 4687251"/>
              <a:gd name="connsiteX16132" fmla="*/ 2755237 w 8079933"/>
              <a:gd name="connsiteY16132" fmla="*/ 1704179 h 4687251"/>
              <a:gd name="connsiteX16133" fmla="*/ 6943458 w 8079933"/>
              <a:gd name="connsiteY16133" fmla="*/ 1702700 h 4687251"/>
              <a:gd name="connsiteX16134" fmla="*/ 6942352 w 8079933"/>
              <a:gd name="connsiteY16134" fmla="*/ 1703961 h 4687251"/>
              <a:gd name="connsiteX16135" fmla="*/ 6940290 w 8079933"/>
              <a:gd name="connsiteY16135" fmla="*/ 1708726 h 4687251"/>
              <a:gd name="connsiteX16136" fmla="*/ 6940529 w 8079933"/>
              <a:gd name="connsiteY16136" fmla="*/ 1709872 h 4687251"/>
              <a:gd name="connsiteX16137" fmla="*/ 6942243 w 8079933"/>
              <a:gd name="connsiteY16137" fmla="*/ 1705912 h 4687251"/>
              <a:gd name="connsiteX16138" fmla="*/ 6943763 w 8079933"/>
              <a:gd name="connsiteY16138" fmla="*/ 1704180 h 4687251"/>
              <a:gd name="connsiteX16139" fmla="*/ 6603781 w 8079933"/>
              <a:gd name="connsiteY16139" fmla="*/ 1700714 h 4687251"/>
              <a:gd name="connsiteX16140" fmla="*/ 6605950 w 8079933"/>
              <a:gd name="connsiteY16140" fmla="*/ 1702986 h 4687251"/>
              <a:gd name="connsiteX16141" fmla="*/ 6605951 w 8079933"/>
              <a:gd name="connsiteY16141" fmla="*/ 1702987 h 4687251"/>
              <a:gd name="connsiteX16142" fmla="*/ 6944726 w 8079933"/>
              <a:gd name="connsiteY16142" fmla="*/ 1693612 h 4687251"/>
              <a:gd name="connsiteX16143" fmla="*/ 6942352 w 8079933"/>
              <a:gd name="connsiteY16143" fmla="*/ 1694759 h 4687251"/>
              <a:gd name="connsiteX16144" fmla="*/ 6941701 w 8079933"/>
              <a:gd name="connsiteY16144" fmla="*/ 1696166 h 4687251"/>
              <a:gd name="connsiteX16145" fmla="*/ 6942146 w 8079933"/>
              <a:gd name="connsiteY16145" fmla="*/ 1696918 h 4687251"/>
              <a:gd name="connsiteX16146" fmla="*/ 6942243 w 8079933"/>
              <a:gd name="connsiteY16146" fmla="*/ 1696709 h 4687251"/>
              <a:gd name="connsiteX16147" fmla="*/ 6945499 w 8079933"/>
              <a:gd name="connsiteY16147" fmla="*/ 1695085 h 4687251"/>
              <a:gd name="connsiteX16148" fmla="*/ 4741526 w 8079933"/>
              <a:gd name="connsiteY16148" fmla="*/ 1693460 h 4687251"/>
              <a:gd name="connsiteX16149" fmla="*/ 4733387 w 8079933"/>
              <a:gd name="connsiteY16149" fmla="*/ 1699632 h 4687251"/>
              <a:gd name="connsiteX16150" fmla="*/ 4728178 w 8079933"/>
              <a:gd name="connsiteY16150" fmla="*/ 1698658 h 4687251"/>
              <a:gd name="connsiteX16151" fmla="*/ 4722644 w 8079933"/>
              <a:gd name="connsiteY16151" fmla="*/ 1700174 h 4687251"/>
              <a:gd name="connsiteX16152" fmla="*/ 4715915 w 8079933"/>
              <a:gd name="connsiteY16152" fmla="*/ 1696601 h 4687251"/>
              <a:gd name="connsiteX16153" fmla="*/ 4712059 w 8079933"/>
              <a:gd name="connsiteY16153" fmla="*/ 1700930 h 4687251"/>
              <a:gd name="connsiteX16154" fmla="*/ 4713962 w 8079933"/>
              <a:gd name="connsiteY16154" fmla="*/ 1702772 h 4687251"/>
              <a:gd name="connsiteX16155" fmla="*/ 4718303 w 8079933"/>
              <a:gd name="connsiteY16155" fmla="*/ 1698008 h 4687251"/>
              <a:gd name="connsiteX16156" fmla="*/ 4725032 w 8079933"/>
              <a:gd name="connsiteY16156" fmla="*/ 1701580 h 4687251"/>
              <a:gd name="connsiteX16157" fmla="*/ 4730458 w 8079933"/>
              <a:gd name="connsiteY16157" fmla="*/ 1700065 h 4687251"/>
              <a:gd name="connsiteX16158" fmla="*/ 4735666 w 8079933"/>
              <a:gd name="connsiteY16158" fmla="*/ 1701039 h 4687251"/>
              <a:gd name="connsiteX16159" fmla="*/ 4743805 w 8079933"/>
              <a:gd name="connsiteY16159" fmla="*/ 1694868 h 4687251"/>
              <a:gd name="connsiteX16160" fmla="*/ 4745857 w 8079933"/>
              <a:gd name="connsiteY16160" fmla="*/ 1694634 h 4687251"/>
              <a:gd name="connsiteX16161" fmla="*/ 4745324 w 8079933"/>
              <a:gd name="connsiteY16161" fmla="*/ 1693460 h 4687251"/>
              <a:gd name="connsiteX16162" fmla="*/ 4454093 w 8079933"/>
              <a:gd name="connsiteY16162" fmla="*/ 1690656 h 4687251"/>
              <a:gd name="connsiteX16163" fmla="*/ 4455258 w 8079933"/>
              <a:gd name="connsiteY16163" fmla="*/ 1691402 h 4687251"/>
              <a:gd name="connsiteX16164" fmla="*/ 4453196 w 8079933"/>
              <a:gd name="connsiteY16164" fmla="*/ 1694001 h 4687251"/>
              <a:gd name="connsiteX16165" fmla="*/ 4453848 w 8079933"/>
              <a:gd name="connsiteY16165" fmla="*/ 1697790 h 4687251"/>
              <a:gd name="connsiteX16166" fmla="*/ 4455584 w 8079933"/>
              <a:gd name="connsiteY16166" fmla="*/ 1700713 h 4687251"/>
              <a:gd name="connsiteX16167" fmla="*/ 4454281 w 8079933"/>
              <a:gd name="connsiteY16167" fmla="*/ 1707751 h 4687251"/>
              <a:gd name="connsiteX16168" fmla="*/ 4450375 w 8079933"/>
              <a:gd name="connsiteY16168" fmla="*/ 1707968 h 4687251"/>
              <a:gd name="connsiteX16169" fmla="*/ 4446685 w 8079933"/>
              <a:gd name="connsiteY16169" fmla="*/ 1711757 h 4687251"/>
              <a:gd name="connsiteX16170" fmla="*/ 4444624 w 8079933"/>
              <a:gd name="connsiteY16170" fmla="*/ 1718903 h 4687251"/>
              <a:gd name="connsiteX16171" fmla="*/ 4429974 w 8079933"/>
              <a:gd name="connsiteY16171" fmla="*/ 1735251 h 4687251"/>
              <a:gd name="connsiteX16172" fmla="*/ 4431059 w 8079933"/>
              <a:gd name="connsiteY16172" fmla="*/ 1741856 h 4687251"/>
              <a:gd name="connsiteX16173" fmla="*/ 4430733 w 8079933"/>
              <a:gd name="connsiteY16173" fmla="*/ 1749002 h 4687251"/>
              <a:gd name="connsiteX16174" fmla="*/ 4425529 w 8079933"/>
              <a:gd name="connsiteY16174" fmla="*/ 1748677 h 4687251"/>
              <a:gd name="connsiteX16175" fmla="*/ 4425535 w 8079933"/>
              <a:gd name="connsiteY16175" fmla="*/ 1748679 h 4687251"/>
              <a:gd name="connsiteX16176" fmla="*/ 4430734 w 8079933"/>
              <a:gd name="connsiteY16176" fmla="*/ 1749003 h 4687251"/>
              <a:gd name="connsiteX16177" fmla="*/ 4426177 w 8079933"/>
              <a:gd name="connsiteY16177" fmla="*/ 1748786 h 4687251"/>
              <a:gd name="connsiteX16178" fmla="*/ 4421185 w 8079933"/>
              <a:gd name="connsiteY16178" fmla="*/ 1759179 h 4687251"/>
              <a:gd name="connsiteX16179" fmla="*/ 4420208 w 8079933"/>
              <a:gd name="connsiteY16179" fmla="*/ 1767299 h 4687251"/>
              <a:gd name="connsiteX16180" fmla="*/ 4420196 w 8079933"/>
              <a:gd name="connsiteY16180" fmla="*/ 1767307 h 4687251"/>
              <a:gd name="connsiteX16181" fmla="*/ 4420208 w 8079933"/>
              <a:gd name="connsiteY16181" fmla="*/ 1767300 h 4687251"/>
              <a:gd name="connsiteX16182" fmla="*/ 4420172 w 8079933"/>
              <a:gd name="connsiteY16182" fmla="*/ 1767323 h 4687251"/>
              <a:gd name="connsiteX16183" fmla="*/ 4420209 w 8079933"/>
              <a:gd name="connsiteY16183" fmla="*/ 1767301 h 4687251"/>
              <a:gd name="connsiteX16184" fmla="*/ 4421186 w 8079933"/>
              <a:gd name="connsiteY16184" fmla="*/ 1759181 h 4687251"/>
              <a:gd name="connsiteX16185" fmla="*/ 4426177 w 8079933"/>
              <a:gd name="connsiteY16185" fmla="*/ 1748787 h 4687251"/>
              <a:gd name="connsiteX16186" fmla="*/ 4430735 w 8079933"/>
              <a:gd name="connsiteY16186" fmla="*/ 1749003 h 4687251"/>
              <a:gd name="connsiteX16187" fmla="*/ 4431060 w 8079933"/>
              <a:gd name="connsiteY16187" fmla="*/ 1741857 h 4687251"/>
              <a:gd name="connsiteX16188" fmla="*/ 4429975 w 8079933"/>
              <a:gd name="connsiteY16188" fmla="*/ 1735253 h 4687251"/>
              <a:gd name="connsiteX16189" fmla="*/ 4444625 w 8079933"/>
              <a:gd name="connsiteY16189" fmla="*/ 1718904 h 4687251"/>
              <a:gd name="connsiteX16190" fmla="*/ 4446687 w 8079933"/>
              <a:gd name="connsiteY16190" fmla="*/ 1711758 h 4687251"/>
              <a:gd name="connsiteX16191" fmla="*/ 4450376 w 8079933"/>
              <a:gd name="connsiteY16191" fmla="*/ 1707968 h 4687251"/>
              <a:gd name="connsiteX16192" fmla="*/ 4454283 w 8079933"/>
              <a:gd name="connsiteY16192" fmla="*/ 1707752 h 4687251"/>
              <a:gd name="connsiteX16193" fmla="*/ 4455585 w 8079933"/>
              <a:gd name="connsiteY16193" fmla="*/ 1700715 h 4687251"/>
              <a:gd name="connsiteX16194" fmla="*/ 4453849 w 8079933"/>
              <a:gd name="connsiteY16194" fmla="*/ 1697791 h 4687251"/>
              <a:gd name="connsiteX16195" fmla="*/ 4453198 w 8079933"/>
              <a:gd name="connsiteY16195" fmla="*/ 1694002 h 4687251"/>
              <a:gd name="connsiteX16196" fmla="*/ 4455259 w 8079933"/>
              <a:gd name="connsiteY16196" fmla="*/ 1691403 h 4687251"/>
              <a:gd name="connsiteX16197" fmla="*/ 7135512 w 8079933"/>
              <a:gd name="connsiteY16197" fmla="*/ 1690103 h 4687251"/>
              <a:gd name="connsiteX16198" fmla="*/ 7140829 w 8079933"/>
              <a:gd name="connsiteY16198" fmla="*/ 1690103 h 4687251"/>
              <a:gd name="connsiteX16199" fmla="*/ 7142566 w 8079933"/>
              <a:gd name="connsiteY16199" fmla="*/ 1693676 h 4687251"/>
              <a:gd name="connsiteX16200" fmla="*/ 7150270 w 8079933"/>
              <a:gd name="connsiteY16200" fmla="*/ 1700064 h 4687251"/>
              <a:gd name="connsiteX16201" fmla="*/ 7156782 w 8079933"/>
              <a:gd name="connsiteY16201" fmla="*/ 1701363 h 4687251"/>
              <a:gd name="connsiteX16202" fmla="*/ 7160145 w 8079933"/>
              <a:gd name="connsiteY16202" fmla="*/ 1707751 h 4687251"/>
              <a:gd name="connsiteX16203" fmla="*/ 7170997 w 8079933"/>
              <a:gd name="connsiteY16203" fmla="*/ 1718470 h 4687251"/>
              <a:gd name="connsiteX16204" fmla="*/ 7176965 w 8079933"/>
              <a:gd name="connsiteY16204" fmla="*/ 1722692 h 4687251"/>
              <a:gd name="connsiteX16205" fmla="*/ 7178919 w 8079933"/>
              <a:gd name="connsiteY16205" fmla="*/ 1726157 h 4687251"/>
              <a:gd name="connsiteX16206" fmla="*/ 7183585 w 8079933"/>
              <a:gd name="connsiteY16206" fmla="*/ 1727240 h 4687251"/>
              <a:gd name="connsiteX16207" fmla="*/ 7187708 w 8079933"/>
              <a:gd name="connsiteY16207" fmla="*/ 1731679 h 4687251"/>
              <a:gd name="connsiteX16208" fmla="*/ 7194762 w 8079933"/>
              <a:gd name="connsiteY16208" fmla="*/ 1735144 h 4687251"/>
              <a:gd name="connsiteX16209" fmla="*/ 7200622 w 8079933"/>
              <a:gd name="connsiteY16209" fmla="*/ 1735793 h 4687251"/>
              <a:gd name="connsiteX16210" fmla="*/ 7205288 w 8079933"/>
              <a:gd name="connsiteY16210" fmla="*/ 1740232 h 4687251"/>
              <a:gd name="connsiteX16211" fmla="*/ 7208869 w 8079933"/>
              <a:gd name="connsiteY16211" fmla="*/ 1739583 h 4687251"/>
              <a:gd name="connsiteX16212" fmla="*/ 7210605 w 8079933"/>
              <a:gd name="connsiteY16212" fmla="*/ 1740774 h 4687251"/>
              <a:gd name="connsiteX16213" fmla="*/ 7216574 w 8079933"/>
              <a:gd name="connsiteY16213" fmla="*/ 1739907 h 4687251"/>
              <a:gd name="connsiteX16214" fmla="*/ 7224387 w 8079933"/>
              <a:gd name="connsiteY16214" fmla="*/ 1734711 h 4687251"/>
              <a:gd name="connsiteX16215" fmla="*/ 7228186 w 8079933"/>
              <a:gd name="connsiteY16215" fmla="*/ 1729622 h 4687251"/>
              <a:gd name="connsiteX16216" fmla="*/ 7229162 w 8079933"/>
              <a:gd name="connsiteY16216" fmla="*/ 1725399 h 4687251"/>
              <a:gd name="connsiteX16217" fmla="*/ 7230247 w 8079933"/>
              <a:gd name="connsiteY16217" fmla="*/ 1723992 h 4687251"/>
              <a:gd name="connsiteX16218" fmla="*/ 7231550 w 8079933"/>
              <a:gd name="connsiteY16218" fmla="*/ 1725941 h 4687251"/>
              <a:gd name="connsiteX16219" fmla="*/ 7231550 w 8079933"/>
              <a:gd name="connsiteY16219" fmla="*/ 1729946 h 4687251"/>
              <a:gd name="connsiteX16220" fmla="*/ 7229053 w 8079933"/>
              <a:gd name="connsiteY16220" fmla="*/ 1737092 h 4687251"/>
              <a:gd name="connsiteX16221" fmla="*/ 7229053 w 8079933"/>
              <a:gd name="connsiteY16221" fmla="*/ 1743589 h 4687251"/>
              <a:gd name="connsiteX16222" fmla="*/ 7230682 w 8079933"/>
              <a:gd name="connsiteY16222" fmla="*/ 1745754 h 4687251"/>
              <a:gd name="connsiteX16223" fmla="*/ 7236432 w 8079933"/>
              <a:gd name="connsiteY16223" fmla="*/ 1749435 h 4687251"/>
              <a:gd name="connsiteX16224" fmla="*/ 7240447 w 8079933"/>
              <a:gd name="connsiteY16224" fmla="*/ 1754307 h 4687251"/>
              <a:gd name="connsiteX16225" fmla="*/ 7240773 w 8079933"/>
              <a:gd name="connsiteY16225" fmla="*/ 1757989 h 4687251"/>
              <a:gd name="connsiteX16226" fmla="*/ 7240231 w 8079933"/>
              <a:gd name="connsiteY16226" fmla="*/ 1760370 h 4687251"/>
              <a:gd name="connsiteX16227" fmla="*/ 7243812 w 8079933"/>
              <a:gd name="connsiteY16227" fmla="*/ 1760370 h 4687251"/>
              <a:gd name="connsiteX16228" fmla="*/ 7246090 w 8079933"/>
              <a:gd name="connsiteY16228" fmla="*/ 1756798 h 4687251"/>
              <a:gd name="connsiteX16229" fmla="*/ 7249563 w 8079933"/>
              <a:gd name="connsiteY16229" fmla="*/ 1753441 h 4687251"/>
              <a:gd name="connsiteX16230" fmla="*/ 7252493 w 8079933"/>
              <a:gd name="connsiteY16230" fmla="*/ 1753117 h 4687251"/>
              <a:gd name="connsiteX16231" fmla="*/ 7250865 w 8079933"/>
              <a:gd name="connsiteY16231" fmla="*/ 1756582 h 4687251"/>
              <a:gd name="connsiteX16232" fmla="*/ 7248695 w 8079933"/>
              <a:gd name="connsiteY16232" fmla="*/ 1757989 h 4687251"/>
              <a:gd name="connsiteX16233" fmla="*/ 7248370 w 8079933"/>
              <a:gd name="connsiteY16233" fmla="*/ 1762645 h 4687251"/>
              <a:gd name="connsiteX16234" fmla="*/ 7245439 w 8079933"/>
              <a:gd name="connsiteY16234" fmla="*/ 1764810 h 4687251"/>
              <a:gd name="connsiteX16235" fmla="*/ 7241207 w 8079933"/>
              <a:gd name="connsiteY16235" fmla="*/ 1766543 h 4687251"/>
              <a:gd name="connsiteX16236" fmla="*/ 7240447 w 8079933"/>
              <a:gd name="connsiteY16236" fmla="*/ 1770115 h 4687251"/>
              <a:gd name="connsiteX16237" fmla="*/ 7238711 w 8079933"/>
              <a:gd name="connsiteY16237" fmla="*/ 1772713 h 4687251"/>
              <a:gd name="connsiteX16238" fmla="*/ 7235348 w 8079933"/>
              <a:gd name="connsiteY16238" fmla="*/ 1772930 h 4687251"/>
              <a:gd name="connsiteX16239" fmla="*/ 7233719 w 8079933"/>
              <a:gd name="connsiteY16239" fmla="*/ 1771523 h 4687251"/>
              <a:gd name="connsiteX16240" fmla="*/ 7230355 w 8079933"/>
              <a:gd name="connsiteY16240" fmla="*/ 1774121 h 4687251"/>
              <a:gd name="connsiteX16241" fmla="*/ 7230790 w 8079933"/>
              <a:gd name="connsiteY16241" fmla="*/ 1776503 h 4687251"/>
              <a:gd name="connsiteX16242" fmla="*/ 7224713 w 8079933"/>
              <a:gd name="connsiteY16242" fmla="*/ 1776503 h 4687251"/>
              <a:gd name="connsiteX16243" fmla="*/ 7220047 w 8079933"/>
              <a:gd name="connsiteY16243" fmla="*/ 1775312 h 4687251"/>
              <a:gd name="connsiteX16244" fmla="*/ 7216140 w 8079933"/>
              <a:gd name="connsiteY16244" fmla="*/ 1776503 h 4687251"/>
              <a:gd name="connsiteX16245" fmla="*/ 7209737 w 8079933"/>
              <a:gd name="connsiteY16245" fmla="*/ 1785490 h 4687251"/>
              <a:gd name="connsiteX16246" fmla="*/ 7207350 w 8079933"/>
              <a:gd name="connsiteY16246" fmla="*/ 1795126 h 4687251"/>
              <a:gd name="connsiteX16247" fmla="*/ 7206265 w 8079933"/>
              <a:gd name="connsiteY16247" fmla="*/ 1803029 h 4687251"/>
              <a:gd name="connsiteX16248" fmla="*/ 7207676 w 8079933"/>
              <a:gd name="connsiteY16248" fmla="*/ 1808335 h 4687251"/>
              <a:gd name="connsiteX16249" fmla="*/ 7206807 w 8079933"/>
              <a:gd name="connsiteY16249" fmla="*/ 1812233 h 4687251"/>
              <a:gd name="connsiteX16250" fmla="*/ 7207133 w 8079933"/>
              <a:gd name="connsiteY16250" fmla="*/ 1815914 h 4687251"/>
              <a:gd name="connsiteX16251" fmla="*/ 7203010 w 8079933"/>
              <a:gd name="connsiteY16251" fmla="*/ 1814181 h 4687251"/>
              <a:gd name="connsiteX16252" fmla="*/ 7200622 w 8079933"/>
              <a:gd name="connsiteY16252" fmla="*/ 1810933 h 4687251"/>
              <a:gd name="connsiteX16253" fmla="*/ 7193243 w 8079933"/>
              <a:gd name="connsiteY16253" fmla="*/ 1808984 h 4687251"/>
              <a:gd name="connsiteX16254" fmla="*/ 7185972 w 8079933"/>
              <a:gd name="connsiteY16254" fmla="*/ 1805195 h 4687251"/>
              <a:gd name="connsiteX16255" fmla="*/ 7179569 w 8079933"/>
              <a:gd name="connsiteY16255" fmla="*/ 1799565 h 4687251"/>
              <a:gd name="connsiteX16256" fmla="*/ 7175446 w 8079933"/>
              <a:gd name="connsiteY16256" fmla="*/ 1794909 h 4687251"/>
              <a:gd name="connsiteX16257" fmla="*/ 7171106 w 8079933"/>
              <a:gd name="connsiteY16257" fmla="*/ 1795559 h 4687251"/>
              <a:gd name="connsiteX16258" fmla="*/ 7167307 w 8079933"/>
              <a:gd name="connsiteY16258" fmla="*/ 1794801 h 4687251"/>
              <a:gd name="connsiteX16259" fmla="*/ 7165462 w 8079933"/>
              <a:gd name="connsiteY16259" fmla="*/ 1792852 h 4687251"/>
              <a:gd name="connsiteX16260" fmla="*/ 7161013 w 8079933"/>
              <a:gd name="connsiteY16260" fmla="*/ 1792635 h 4687251"/>
              <a:gd name="connsiteX16261" fmla="*/ 7155588 w 8079933"/>
              <a:gd name="connsiteY16261" fmla="*/ 1796641 h 4687251"/>
              <a:gd name="connsiteX16262" fmla="*/ 7149945 w 8079933"/>
              <a:gd name="connsiteY16262" fmla="*/ 1804329 h 4687251"/>
              <a:gd name="connsiteX16263" fmla="*/ 7147557 w 8079933"/>
              <a:gd name="connsiteY16263" fmla="*/ 1802813 h 4687251"/>
              <a:gd name="connsiteX16264" fmla="*/ 7141480 w 8079933"/>
              <a:gd name="connsiteY16264" fmla="*/ 1799024 h 4687251"/>
              <a:gd name="connsiteX16265" fmla="*/ 7138225 w 8079933"/>
              <a:gd name="connsiteY16265" fmla="*/ 1799349 h 4687251"/>
              <a:gd name="connsiteX16266" fmla="*/ 7135078 w 8079933"/>
              <a:gd name="connsiteY16266" fmla="*/ 1802163 h 4687251"/>
              <a:gd name="connsiteX16267" fmla="*/ 7135078 w 8079933"/>
              <a:gd name="connsiteY16267" fmla="*/ 1806819 h 4687251"/>
              <a:gd name="connsiteX16268" fmla="*/ 7136706 w 8079933"/>
              <a:gd name="connsiteY16268" fmla="*/ 1810608 h 4687251"/>
              <a:gd name="connsiteX16269" fmla="*/ 7141698 w 8079933"/>
              <a:gd name="connsiteY16269" fmla="*/ 1813315 h 4687251"/>
              <a:gd name="connsiteX16270" fmla="*/ 7146906 w 8079933"/>
              <a:gd name="connsiteY16270" fmla="*/ 1811908 h 4687251"/>
              <a:gd name="connsiteX16271" fmla="*/ 7152875 w 8079933"/>
              <a:gd name="connsiteY16271" fmla="*/ 1818620 h 4687251"/>
              <a:gd name="connsiteX16272" fmla="*/ 7158083 w 8079933"/>
              <a:gd name="connsiteY16272" fmla="*/ 1820028 h 4687251"/>
              <a:gd name="connsiteX16273" fmla="*/ 7163509 w 8079933"/>
              <a:gd name="connsiteY16273" fmla="*/ 1820028 h 4687251"/>
              <a:gd name="connsiteX16274" fmla="*/ 7165462 w 8079933"/>
              <a:gd name="connsiteY16274" fmla="*/ 1822735 h 4687251"/>
              <a:gd name="connsiteX16275" fmla="*/ 7161881 w 8079933"/>
              <a:gd name="connsiteY16275" fmla="*/ 1827607 h 4687251"/>
              <a:gd name="connsiteX16276" fmla="*/ 7160579 w 8079933"/>
              <a:gd name="connsiteY16276" fmla="*/ 1831072 h 4687251"/>
              <a:gd name="connsiteX16277" fmla="*/ 7157324 w 8079933"/>
              <a:gd name="connsiteY16277" fmla="*/ 1828473 h 4687251"/>
              <a:gd name="connsiteX16278" fmla="*/ 7151030 w 8079933"/>
              <a:gd name="connsiteY16278" fmla="*/ 1828040 h 4687251"/>
              <a:gd name="connsiteX16279" fmla="*/ 7148534 w 8079933"/>
              <a:gd name="connsiteY16279" fmla="*/ 1829773 h 4687251"/>
              <a:gd name="connsiteX16280" fmla="*/ 7149077 w 8079933"/>
              <a:gd name="connsiteY16280" fmla="*/ 1833237 h 4687251"/>
              <a:gd name="connsiteX16281" fmla="*/ 7147341 w 8079933"/>
              <a:gd name="connsiteY16281" fmla="*/ 1837243 h 4687251"/>
              <a:gd name="connsiteX16282" fmla="*/ 7141806 w 8079933"/>
              <a:gd name="connsiteY16282" fmla="*/ 1843631 h 4687251"/>
              <a:gd name="connsiteX16283" fmla="*/ 7137791 w 8079933"/>
              <a:gd name="connsiteY16283" fmla="*/ 1841141 h 4687251"/>
              <a:gd name="connsiteX16284" fmla="*/ 7135838 w 8079933"/>
              <a:gd name="connsiteY16284" fmla="*/ 1837243 h 4687251"/>
              <a:gd name="connsiteX16285" fmla="*/ 7137356 w 8079933"/>
              <a:gd name="connsiteY16285" fmla="*/ 1836161 h 4687251"/>
              <a:gd name="connsiteX16286" fmla="*/ 7135838 w 8079933"/>
              <a:gd name="connsiteY16286" fmla="*/ 1827607 h 4687251"/>
              <a:gd name="connsiteX16287" fmla="*/ 7132908 w 8079933"/>
              <a:gd name="connsiteY16287" fmla="*/ 1819487 h 4687251"/>
              <a:gd name="connsiteX16288" fmla="*/ 7129327 w 8079933"/>
              <a:gd name="connsiteY16288" fmla="*/ 1816130 h 4687251"/>
              <a:gd name="connsiteX16289" fmla="*/ 7125202 w 8079933"/>
              <a:gd name="connsiteY16289" fmla="*/ 1813315 h 4687251"/>
              <a:gd name="connsiteX16290" fmla="*/ 7122382 w 8079933"/>
              <a:gd name="connsiteY16290" fmla="*/ 1813207 h 4687251"/>
              <a:gd name="connsiteX16291" fmla="*/ 7121839 w 8079933"/>
              <a:gd name="connsiteY16291" fmla="*/ 1810067 h 4687251"/>
              <a:gd name="connsiteX16292" fmla="*/ 7122273 w 8079933"/>
              <a:gd name="connsiteY16292" fmla="*/ 1803571 h 4687251"/>
              <a:gd name="connsiteX16293" fmla="*/ 7121079 w 8079933"/>
              <a:gd name="connsiteY16293" fmla="*/ 1798807 h 4687251"/>
              <a:gd name="connsiteX16294" fmla="*/ 7122816 w 8079933"/>
              <a:gd name="connsiteY16294" fmla="*/ 1794909 h 4687251"/>
              <a:gd name="connsiteX16295" fmla="*/ 7125638 w 8079933"/>
              <a:gd name="connsiteY16295" fmla="*/ 1793394 h 4687251"/>
              <a:gd name="connsiteX16296" fmla="*/ 7126397 w 8079933"/>
              <a:gd name="connsiteY16296" fmla="*/ 1791228 h 4687251"/>
              <a:gd name="connsiteX16297" fmla="*/ 7129544 w 8079933"/>
              <a:gd name="connsiteY16297" fmla="*/ 1790686 h 4687251"/>
              <a:gd name="connsiteX16298" fmla="*/ 7131605 w 8079933"/>
              <a:gd name="connsiteY16298" fmla="*/ 1785923 h 4687251"/>
              <a:gd name="connsiteX16299" fmla="*/ 7133341 w 8079933"/>
              <a:gd name="connsiteY16299" fmla="*/ 1783541 h 4687251"/>
              <a:gd name="connsiteX16300" fmla="*/ 7132799 w 8079933"/>
              <a:gd name="connsiteY16300" fmla="*/ 1781484 h 4687251"/>
              <a:gd name="connsiteX16301" fmla="*/ 7128024 w 8079933"/>
              <a:gd name="connsiteY16301" fmla="*/ 1777911 h 4687251"/>
              <a:gd name="connsiteX16302" fmla="*/ 7126179 w 8079933"/>
              <a:gd name="connsiteY16302" fmla="*/ 1777586 h 4687251"/>
              <a:gd name="connsiteX16303" fmla="*/ 7124769 w 8079933"/>
              <a:gd name="connsiteY16303" fmla="*/ 1775853 h 4687251"/>
              <a:gd name="connsiteX16304" fmla="*/ 7126505 w 8079933"/>
              <a:gd name="connsiteY16304" fmla="*/ 1772280 h 4687251"/>
              <a:gd name="connsiteX16305" fmla="*/ 7129977 w 8079933"/>
              <a:gd name="connsiteY16305" fmla="*/ 1771523 h 4687251"/>
              <a:gd name="connsiteX16306" fmla="*/ 7137465 w 8079933"/>
              <a:gd name="connsiteY16306" fmla="*/ 1775637 h 4687251"/>
              <a:gd name="connsiteX16307" fmla="*/ 7145495 w 8079933"/>
              <a:gd name="connsiteY16307" fmla="*/ 1776936 h 4687251"/>
              <a:gd name="connsiteX16308" fmla="*/ 7148208 w 8079933"/>
              <a:gd name="connsiteY16308" fmla="*/ 1774771 h 4687251"/>
              <a:gd name="connsiteX16309" fmla="*/ 7148534 w 8079933"/>
              <a:gd name="connsiteY16309" fmla="*/ 1771198 h 4687251"/>
              <a:gd name="connsiteX16310" fmla="*/ 7150054 w 8079933"/>
              <a:gd name="connsiteY16310" fmla="*/ 1769682 h 4687251"/>
              <a:gd name="connsiteX16311" fmla="*/ 7148534 w 8079933"/>
              <a:gd name="connsiteY16311" fmla="*/ 1766217 h 4687251"/>
              <a:gd name="connsiteX16312" fmla="*/ 7146364 w 8079933"/>
              <a:gd name="connsiteY16312" fmla="*/ 1765027 h 4687251"/>
              <a:gd name="connsiteX16313" fmla="*/ 7145495 w 8079933"/>
              <a:gd name="connsiteY16313" fmla="*/ 1762753 h 4687251"/>
              <a:gd name="connsiteX16314" fmla="*/ 7142891 w 8079933"/>
              <a:gd name="connsiteY16314" fmla="*/ 1758422 h 4687251"/>
              <a:gd name="connsiteX16315" fmla="*/ 7141480 w 8079933"/>
              <a:gd name="connsiteY16315" fmla="*/ 1754091 h 4687251"/>
              <a:gd name="connsiteX16316" fmla="*/ 7145061 w 8079933"/>
              <a:gd name="connsiteY16316" fmla="*/ 1749976 h 4687251"/>
              <a:gd name="connsiteX16317" fmla="*/ 7147124 w 8079933"/>
              <a:gd name="connsiteY16317" fmla="*/ 1749652 h 4687251"/>
              <a:gd name="connsiteX16318" fmla="*/ 7147557 w 8079933"/>
              <a:gd name="connsiteY16318" fmla="*/ 1747703 h 4687251"/>
              <a:gd name="connsiteX16319" fmla="*/ 7145821 w 8079933"/>
              <a:gd name="connsiteY16319" fmla="*/ 1743047 h 4687251"/>
              <a:gd name="connsiteX16320" fmla="*/ 7143434 w 8079933"/>
              <a:gd name="connsiteY16320" fmla="*/ 1735793 h 4687251"/>
              <a:gd name="connsiteX16321" fmla="*/ 7144302 w 8079933"/>
              <a:gd name="connsiteY16321" fmla="*/ 1732545 h 4687251"/>
              <a:gd name="connsiteX16322" fmla="*/ 7143759 w 8079933"/>
              <a:gd name="connsiteY16322" fmla="*/ 1723558 h 4687251"/>
              <a:gd name="connsiteX16323" fmla="*/ 7141806 w 8079933"/>
              <a:gd name="connsiteY16323" fmla="*/ 1718145 h 4687251"/>
              <a:gd name="connsiteX16324" fmla="*/ 7133558 w 8079933"/>
              <a:gd name="connsiteY16324" fmla="*/ 1705369 h 4687251"/>
              <a:gd name="connsiteX16325" fmla="*/ 7132257 w 8079933"/>
              <a:gd name="connsiteY16325" fmla="*/ 1699631 h 4687251"/>
              <a:gd name="connsiteX16326" fmla="*/ 7130195 w 8079933"/>
              <a:gd name="connsiteY16326" fmla="*/ 1696599 h 4687251"/>
              <a:gd name="connsiteX16327" fmla="*/ 7131388 w 8079933"/>
              <a:gd name="connsiteY16327" fmla="*/ 1695083 h 4687251"/>
              <a:gd name="connsiteX16328" fmla="*/ 7133558 w 8079933"/>
              <a:gd name="connsiteY16328" fmla="*/ 1695083 h 4687251"/>
              <a:gd name="connsiteX16329" fmla="*/ 7136054 w 8079933"/>
              <a:gd name="connsiteY16329" fmla="*/ 1692160 h 4687251"/>
              <a:gd name="connsiteX16330" fmla="*/ 4967783 w 8079933"/>
              <a:gd name="connsiteY16330" fmla="*/ 1689671 h 4687251"/>
              <a:gd name="connsiteX16331" fmla="*/ 4964311 w 8079933"/>
              <a:gd name="connsiteY16331" fmla="*/ 1694110 h 4687251"/>
              <a:gd name="connsiteX16332" fmla="*/ 4964311 w 8079933"/>
              <a:gd name="connsiteY16332" fmla="*/ 1700174 h 4687251"/>
              <a:gd name="connsiteX16333" fmla="*/ 4957908 w 8079933"/>
              <a:gd name="connsiteY16333" fmla="*/ 1708077 h 4687251"/>
              <a:gd name="connsiteX16334" fmla="*/ 4953242 w 8079933"/>
              <a:gd name="connsiteY16334" fmla="*/ 1710351 h 4687251"/>
              <a:gd name="connsiteX16335" fmla="*/ 4954435 w 8079933"/>
              <a:gd name="connsiteY16335" fmla="*/ 1722044 h 4687251"/>
              <a:gd name="connsiteX16336" fmla="*/ 4958016 w 8079933"/>
              <a:gd name="connsiteY16336" fmla="*/ 1725617 h 4687251"/>
              <a:gd name="connsiteX16337" fmla="*/ 4955955 w 8079933"/>
              <a:gd name="connsiteY16337" fmla="*/ 1740450 h 4687251"/>
              <a:gd name="connsiteX16338" fmla="*/ 4952374 w 8079933"/>
              <a:gd name="connsiteY16338" fmla="*/ 1748679 h 4687251"/>
              <a:gd name="connsiteX16339" fmla="*/ 4962249 w 8079933"/>
              <a:gd name="connsiteY16339" fmla="*/ 1752468 h 4687251"/>
              <a:gd name="connsiteX16340" fmla="*/ 4966372 w 8079933"/>
              <a:gd name="connsiteY16340" fmla="*/ 1759181 h 4687251"/>
              <a:gd name="connsiteX16341" fmla="*/ 4964853 w 8079933"/>
              <a:gd name="connsiteY16341" fmla="*/ 1762754 h 4687251"/>
              <a:gd name="connsiteX16342" fmla="*/ 4972558 w 8079933"/>
              <a:gd name="connsiteY16342" fmla="*/ 1769250 h 4687251"/>
              <a:gd name="connsiteX16343" fmla="*/ 4973900 w 8079933"/>
              <a:gd name="connsiteY16343" fmla="*/ 1766794 h 4687251"/>
              <a:gd name="connsiteX16344" fmla="*/ 4969952 w 8079933"/>
              <a:gd name="connsiteY16344" fmla="*/ 1763511 h 4687251"/>
              <a:gd name="connsiteX16345" fmla="*/ 4971581 w 8079933"/>
              <a:gd name="connsiteY16345" fmla="*/ 1759830 h 4687251"/>
              <a:gd name="connsiteX16346" fmla="*/ 4967457 w 8079933"/>
              <a:gd name="connsiteY16346" fmla="*/ 1753225 h 4687251"/>
              <a:gd name="connsiteX16347" fmla="*/ 4957582 w 8079933"/>
              <a:gd name="connsiteY16347" fmla="*/ 1749436 h 4687251"/>
              <a:gd name="connsiteX16348" fmla="*/ 4961163 w 8079933"/>
              <a:gd name="connsiteY16348" fmla="*/ 1741099 h 4687251"/>
              <a:gd name="connsiteX16349" fmla="*/ 4963333 w 8079933"/>
              <a:gd name="connsiteY16349" fmla="*/ 1726374 h 4687251"/>
              <a:gd name="connsiteX16350" fmla="*/ 4959644 w 8079933"/>
              <a:gd name="connsiteY16350" fmla="*/ 1722801 h 4687251"/>
              <a:gd name="connsiteX16351" fmla="*/ 4958450 w 8079933"/>
              <a:gd name="connsiteY16351" fmla="*/ 1711000 h 4687251"/>
              <a:gd name="connsiteX16352" fmla="*/ 4963116 w 8079933"/>
              <a:gd name="connsiteY16352" fmla="*/ 1708834 h 4687251"/>
              <a:gd name="connsiteX16353" fmla="*/ 4969410 w 8079933"/>
              <a:gd name="connsiteY16353" fmla="*/ 1700931 h 4687251"/>
              <a:gd name="connsiteX16354" fmla="*/ 4969410 w 8079933"/>
              <a:gd name="connsiteY16354" fmla="*/ 1694867 h 4687251"/>
              <a:gd name="connsiteX16355" fmla="*/ 4971117 w 8079933"/>
              <a:gd name="connsiteY16355" fmla="*/ 1692685 h 4687251"/>
              <a:gd name="connsiteX16356" fmla="*/ 5883354 w 8079933"/>
              <a:gd name="connsiteY16356" fmla="*/ 1689146 h 4687251"/>
              <a:gd name="connsiteX16357" fmla="*/ 5883555 w 8079933"/>
              <a:gd name="connsiteY16357" fmla="*/ 1692051 h 4687251"/>
              <a:gd name="connsiteX16358" fmla="*/ 5884640 w 8079933"/>
              <a:gd name="connsiteY16358" fmla="*/ 1695083 h 4687251"/>
              <a:gd name="connsiteX16359" fmla="*/ 5887049 w 8079933"/>
              <a:gd name="connsiteY16359" fmla="*/ 1697278 h 4687251"/>
              <a:gd name="connsiteX16360" fmla="*/ 5884641 w 8079933"/>
              <a:gd name="connsiteY16360" fmla="*/ 1695084 h 4687251"/>
              <a:gd name="connsiteX16361" fmla="*/ 5883556 w 8079933"/>
              <a:gd name="connsiteY16361" fmla="*/ 1692053 h 4687251"/>
              <a:gd name="connsiteX16362" fmla="*/ 4051468 w 8079933"/>
              <a:gd name="connsiteY16362" fmla="*/ 1687288 h 4687251"/>
              <a:gd name="connsiteX16363" fmla="*/ 4049166 w 8079933"/>
              <a:gd name="connsiteY16363" fmla="*/ 1687444 h 4687251"/>
              <a:gd name="connsiteX16364" fmla="*/ 4051468 w 8079933"/>
              <a:gd name="connsiteY16364" fmla="*/ 1687289 h 4687251"/>
              <a:gd name="connsiteX16365" fmla="*/ 2537661 w 8079933"/>
              <a:gd name="connsiteY16365" fmla="*/ 1686747 h 4687251"/>
              <a:gd name="connsiteX16366" fmla="*/ 2541892 w 8079933"/>
              <a:gd name="connsiteY16366" fmla="*/ 1688479 h 4687251"/>
              <a:gd name="connsiteX16367" fmla="*/ 2552961 w 8079933"/>
              <a:gd name="connsiteY16367" fmla="*/ 1692269 h 4687251"/>
              <a:gd name="connsiteX16368" fmla="*/ 2559255 w 8079933"/>
              <a:gd name="connsiteY16368" fmla="*/ 1692810 h 4687251"/>
              <a:gd name="connsiteX16369" fmla="*/ 2564898 w 8079933"/>
              <a:gd name="connsiteY16369" fmla="*/ 1694975 h 4687251"/>
              <a:gd name="connsiteX16370" fmla="*/ 2569456 w 8079933"/>
              <a:gd name="connsiteY16370" fmla="*/ 1699956 h 4687251"/>
              <a:gd name="connsiteX16371" fmla="*/ 2571518 w 8079933"/>
              <a:gd name="connsiteY16371" fmla="*/ 1700281 h 4687251"/>
              <a:gd name="connsiteX16372" fmla="*/ 2576943 w 8079933"/>
              <a:gd name="connsiteY16372" fmla="*/ 1704287 h 4687251"/>
              <a:gd name="connsiteX16373" fmla="*/ 2580742 w 8079933"/>
              <a:gd name="connsiteY16373" fmla="*/ 1708834 h 4687251"/>
              <a:gd name="connsiteX16374" fmla="*/ 2583888 w 8079933"/>
              <a:gd name="connsiteY16374" fmla="*/ 1709808 h 4687251"/>
              <a:gd name="connsiteX16375" fmla="*/ 2586384 w 8079933"/>
              <a:gd name="connsiteY16375" fmla="*/ 1711865 h 4687251"/>
              <a:gd name="connsiteX16376" fmla="*/ 2587578 w 8079933"/>
              <a:gd name="connsiteY16376" fmla="*/ 1714139 h 4687251"/>
              <a:gd name="connsiteX16377" fmla="*/ 2590291 w 8079933"/>
              <a:gd name="connsiteY16377" fmla="*/ 1716629 h 4687251"/>
              <a:gd name="connsiteX16378" fmla="*/ 2589748 w 8079933"/>
              <a:gd name="connsiteY16378" fmla="*/ 1719444 h 4687251"/>
              <a:gd name="connsiteX16379" fmla="*/ 2584105 w 8079933"/>
              <a:gd name="connsiteY16379" fmla="*/ 1721285 h 4687251"/>
              <a:gd name="connsiteX16380" fmla="*/ 2579656 w 8079933"/>
              <a:gd name="connsiteY16380" fmla="*/ 1719444 h 4687251"/>
              <a:gd name="connsiteX16381" fmla="*/ 2576401 w 8079933"/>
              <a:gd name="connsiteY16381" fmla="*/ 1719011 h 4687251"/>
              <a:gd name="connsiteX16382" fmla="*/ 2572819 w 8079933"/>
              <a:gd name="connsiteY16382" fmla="*/ 1716196 h 4687251"/>
              <a:gd name="connsiteX16383" fmla="*/ 2568153 w 8079933"/>
              <a:gd name="connsiteY16383" fmla="*/ 1715114 h 4687251"/>
              <a:gd name="connsiteX16384" fmla="*/ 2561425 w 8079933"/>
              <a:gd name="connsiteY16384" fmla="*/ 1715114 h 4687251"/>
              <a:gd name="connsiteX16385" fmla="*/ 2552310 w 8079933"/>
              <a:gd name="connsiteY16385" fmla="*/ 1708401 h 4687251"/>
              <a:gd name="connsiteX16386" fmla="*/ 2549815 w 8079933"/>
              <a:gd name="connsiteY16386" fmla="*/ 1707968 h 4687251"/>
              <a:gd name="connsiteX16387" fmla="*/ 2548512 w 8079933"/>
              <a:gd name="connsiteY16387" fmla="*/ 1706019 h 4687251"/>
              <a:gd name="connsiteX16388" fmla="*/ 2547535 w 8079933"/>
              <a:gd name="connsiteY16388" fmla="*/ 1701688 h 4687251"/>
              <a:gd name="connsiteX16389" fmla="*/ 2539614 w 8079933"/>
              <a:gd name="connsiteY16389" fmla="*/ 1695733 h 4687251"/>
              <a:gd name="connsiteX16390" fmla="*/ 2534948 w 8079933"/>
              <a:gd name="connsiteY16390" fmla="*/ 1693568 h 4687251"/>
              <a:gd name="connsiteX16391" fmla="*/ 2532886 w 8079933"/>
              <a:gd name="connsiteY16391" fmla="*/ 1689345 h 4687251"/>
              <a:gd name="connsiteX16392" fmla="*/ 5882037 w 8079933"/>
              <a:gd name="connsiteY16392" fmla="*/ 1686423 h 4687251"/>
              <a:gd name="connsiteX16393" fmla="*/ 5882037 w 8079933"/>
              <a:gd name="connsiteY16393" fmla="*/ 1686423 h 4687251"/>
              <a:gd name="connsiteX16394" fmla="*/ 5882500 w 8079933"/>
              <a:gd name="connsiteY16394" fmla="*/ 1687309 h 4687251"/>
              <a:gd name="connsiteX16395" fmla="*/ 5855158 w 8079933"/>
              <a:gd name="connsiteY16395" fmla="*/ 1685804 h 4687251"/>
              <a:gd name="connsiteX16396" fmla="*/ 5852193 w 8079933"/>
              <a:gd name="connsiteY16396" fmla="*/ 1688913 h 4687251"/>
              <a:gd name="connsiteX16397" fmla="*/ 5851976 w 8079933"/>
              <a:gd name="connsiteY16397" fmla="*/ 1692702 h 4687251"/>
              <a:gd name="connsiteX16398" fmla="*/ 5853387 w 8079933"/>
              <a:gd name="connsiteY16398" fmla="*/ 1695192 h 4687251"/>
              <a:gd name="connsiteX16399" fmla="*/ 5850927 w 8079933"/>
              <a:gd name="connsiteY16399" fmla="*/ 1699557 h 4687251"/>
              <a:gd name="connsiteX16400" fmla="*/ 5850458 w 8079933"/>
              <a:gd name="connsiteY16400" fmla="*/ 1700388 h 4687251"/>
              <a:gd name="connsiteX16401" fmla="*/ 5850458 w 8079933"/>
              <a:gd name="connsiteY16401" fmla="*/ 1700388 h 4687251"/>
              <a:gd name="connsiteX16402" fmla="*/ 5850927 w 8079933"/>
              <a:gd name="connsiteY16402" fmla="*/ 1699557 h 4687251"/>
              <a:gd name="connsiteX16403" fmla="*/ 5853388 w 8079933"/>
              <a:gd name="connsiteY16403" fmla="*/ 1695192 h 4687251"/>
              <a:gd name="connsiteX16404" fmla="*/ 5851977 w 8079933"/>
              <a:gd name="connsiteY16404" fmla="*/ 1692701 h 4687251"/>
              <a:gd name="connsiteX16405" fmla="*/ 5852194 w 8079933"/>
              <a:gd name="connsiteY16405" fmla="*/ 1688912 h 4687251"/>
              <a:gd name="connsiteX16406" fmla="*/ 5877139 w 8079933"/>
              <a:gd name="connsiteY16406" fmla="*/ 1685108 h 4687251"/>
              <a:gd name="connsiteX16407" fmla="*/ 5877587 w 8079933"/>
              <a:gd name="connsiteY16407" fmla="*/ 1685555 h 4687251"/>
              <a:gd name="connsiteX16408" fmla="*/ 5879323 w 8079933"/>
              <a:gd name="connsiteY16408" fmla="*/ 1688587 h 4687251"/>
              <a:gd name="connsiteX16409" fmla="*/ 5879324 w 8079933"/>
              <a:gd name="connsiteY16409" fmla="*/ 1688587 h 4687251"/>
              <a:gd name="connsiteX16410" fmla="*/ 5877588 w 8079933"/>
              <a:gd name="connsiteY16410" fmla="*/ 1685556 h 4687251"/>
              <a:gd name="connsiteX16411" fmla="*/ 4038217 w 8079933"/>
              <a:gd name="connsiteY16411" fmla="*/ 1683921 h 4687251"/>
              <a:gd name="connsiteX16412" fmla="*/ 4038663 w 8079933"/>
              <a:gd name="connsiteY16412" fmla="*/ 1684366 h 4687251"/>
              <a:gd name="connsiteX16413" fmla="*/ 4042895 w 8079933"/>
              <a:gd name="connsiteY16413" fmla="*/ 1684366 h 4687251"/>
              <a:gd name="connsiteX16414" fmla="*/ 4042895 w 8079933"/>
              <a:gd name="connsiteY16414" fmla="*/ 1684365 h 4687251"/>
              <a:gd name="connsiteX16415" fmla="*/ 4038663 w 8079933"/>
              <a:gd name="connsiteY16415" fmla="*/ 1684365 h 4687251"/>
              <a:gd name="connsiteX16416" fmla="*/ 4027811 w 8079933"/>
              <a:gd name="connsiteY16416" fmla="*/ 1681442 h 4687251"/>
              <a:gd name="connsiteX16417" fmla="*/ 4026509 w 8079933"/>
              <a:gd name="connsiteY16417" fmla="*/ 1684907 h 4687251"/>
              <a:gd name="connsiteX16418" fmla="*/ 4023037 w 8079933"/>
              <a:gd name="connsiteY16418" fmla="*/ 1685231 h 4687251"/>
              <a:gd name="connsiteX16419" fmla="*/ 4021952 w 8079933"/>
              <a:gd name="connsiteY16419" fmla="*/ 1686855 h 4687251"/>
              <a:gd name="connsiteX16420" fmla="*/ 4020469 w 8079933"/>
              <a:gd name="connsiteY16420" fmla="*/ 1687144 h 4687251"/>
              <a:gd name="connsiteX16421" fmla="*/ 4021952 w 8079933"/>
              <a:gd name="connsiteY16421" fmla="*/ 1686856 h 4687251"/>
              <a:gd name="connsiteX16422" fmla="*/ 4023037 w 8079933"/>
              <a:gd name="connsiteY16422" fmla="*/ 1685231 h 4687251"/>
              <a:gd name="connsiteX16423" fmla="*/ 4026509 w 8079933"/>
              <a:gd name="connsiteY16423" fmla="*/ 1684907 h 4687251"/>
              <a:gd name="connsiteX16424" fmla="*/ 4027812 w 8079933"/>
              <a:gd name="connsiteY16424" fmla="*/ 1681442 h 4687251"/>
              <a:gd name="connsiteX16425" fmla="*/ 6946150 w 8079933"/>
              <a:gd name="connsiteY16425" fmla="*/ 1680871 h 4687251"/>
              <a:gd name="connsiteX16426" fmla="*/ 6943871 w 8079933"/>
              <a:gd name="connsiteY16426" fmla="*/ 1682523 h 4687251"/>
              <a:gd name="connsiteX16427" fmla="*/ 6942894 w 8079933"/>
              <a:gd name="connsiteY16427" fmla="*/ 1685664 h 4687251"/>
              <a:gd name="connsiteX16428" fmla="*/ 6943232 w 8079933"/>
              <a:gd name="connsiteY16428" fmla="*/ 1686181 h 4687251"/>
              <a:gd name="connsiteX16429" fmla="*/ 6943763 w 8079933"/>
              <a:gd name="connsiteY16429" fmla="*/ 1684474 h 4687251"/>
              <a:gd name="connsiteX16430" fmla="*/ 6946150 w 8079933"/>
              <a:gd name="connsiteY16430" fmla="*/ 1682742 h 4687251"/>
              <a:gd name="connsiteX16431" fmla="*/ 3957276 w 8079933"/>
              <a:gd name="connsiteY16431" fmla="*/ 1680034 h 4687251"/>
              <a:gd name="connsiteX16432" fmla="*/ 3959555 w 8079933"/>
              <a:gd name="connsiteY16432" fmla="*/ 1680034 h 4687251"/>
              <a:gd name="connsiteX16433" fmla="*/ 3960965 w 8079933"/>
              <a:gd name="connsiteY16433" fmla="*/ 1681766 h 4687251"/>
              <a:gd name="connsiteX16434" fmla="*/ 3958470 w 8079933"/>
              <a:gd name="connsiteY16434" fmla="*/ 1682416 h 4687251"/>
              <a:gd name="connsiteX16435" fmla="*/ 3955648 w 8079933"/>
              <a:gd name="connsiteY16435" fmla="*/ 1680900 h 4687251"/>
              <a:gd name="connsiteX16436" fmla="*/ 5876018 w 8079933"/>
              <a:gd name="connsiteY16436" fmla="*/ 1676865 h 4687251"/>
              <a:gd name="connsiteX16437" fmla="*/ 5876393 w 8079933"/>
              <a:gd name="connsiteY16437" fmla="*/ 1678735 h 4687251"/>
              <a:gd name="connsiteX16438" fmla="*/ 5876176 w 8079933"/>
              <a:gd name="connsiteY16438" fmla="*/ 1684148 h 4687251"/>
              <a:gd name="connsiteX16439" fmla="*/ 5876177 w 8079933"/>
              <a:gd name="connsiteY16439" fmla="*/ 1684149 h 4687251"/>
              <a:gd name="connsiteX16440" fmla="*/ 5876394 w 8079933"/>
              <a:gd name="connsiteY16440" fmla="*/ 1678735 h 4687251"/>
              <a:gd name="connsiteX16441" fmla="*/ 4695902 w 8079933"/>
              <a:gd name="connsiteY16441" fmla="*/ 1676139 h 4687251"/>
              <a:gd name="connsiteX16442" fmla="*/ 4696057 w 8079933"/>
              <a:gd name="connsiteY16442" fmla="*/ 1677328 h 4687251"/>
              <a:gd name="connsiteX16443" fmla="*/ 4698119 w 8079933"/>
              <a:gd name="connsiteY16443" fmla="*/ 1677679 h 4687251"/>
              <a:gd name="connsiteX16444" fmla="*/ 4698119 w 8079933"/>
              <a:gd name="connsiteY16444" fmla="*/ 1676462 h 4687251"/>
              <a:gd name="connsiteX16445" fmla="*/ 4015875 w 8079933"/>
              <a:gd name="connsiteY16445" fmla="*/ 1673213 h 4687251"/>
              <a:gd name="connsiteX16446" fmla="*/ 4017720 w 8079933"/>
              <a:gd name="connsiteY16446" fmla="*/ 1675703 h 4687251"/>
              <a:gd name="connsiteX16447" fmla="*/ 4015333 w 8079933"/>
              <a:gd name="connsiteY16447" fmla="*/ 1676353 h 4687251"/>
              <a:gd name="connsiteX16448" fmla="*/ 4014465 w 8079933"/>
              <a:gd name="connsiteY16448" fmla="*/ 1675161 h 4687251"/>
              <a:gd name="connsiteX16449" fmla="*/ 4011752 w 8079933"/>
              <a:gd name="connsiteY16449" fmla="*/ 1675053 h 4687251"/>
              <a:gd name="connsiteX16450" fmla="*/ 6598939 w 8079933"/>
              <a:gd name="connsiteY16450" fmla="*/ 1672167 h 4687251"/>
              <a:gd name="connsiteX16451" fmla="*/ 6602804 w 8079933"/>
              <a:gd name="connsiteY16451" fmla="*/ 1677003 h 4687251"/>
              <a:gd name="connsiteX16452" fmla="*/ 6611702 w 8079933"/>
              <a:gd name="connsiteY16452" fmla="*/ 1683390 h 4687251"/>
              <a:gd name="connsiteX16453" fmla="*/ 6611702 w 8079933"/>
              <a:gd name="connsiteY16453" fmla="*/ 1683390 h 4687251"/>
              <a:gd name="connsiteX16454" fmla="*/ 6602804 w 8079933"/>
              <a:gd name="connsiteY16454" fmla="*/ 1677002 h 4687251"/>
              <a:gd name="connsiteX16455" fmla="*/ 5218457 w 8079933"/>
              <a:gd name="connsiteY16455" fmla="*/ 1670724 h 4687251"/>
              <a:gd name="connsiteX16456" fmla="*/ 5216394 w 8079933"/>
              <a:gd name="connsiteY16456" fmla="*/ 1672131 h 4687251"/>
              <a:gd name="connsiteX16457" fmla="*/ 5212665 w 8079933"/>
              <a:gd name="connsiteY16457" fmla="*/ 1670922 h 4687251"/>
              <a:gd name="connsiteX16458" fmla="*/ 5213138 w 8079933"/>
              <a:gd name="connsiteY16458" fmla="*/ 1671481 h 4687251"/>
              <a:gd name="connsiteX16459" fmla="*/ 5217371 w 8079933"/>
              <a:gd name="connsiteY16459" fmla="*/ 1672888 h 4687251"/>
              <a:gd name="connsiteX16460" fmla="*/ 5219541 w 8079933"/>
              <a:gd name="connsiteY16460" fmla="*/ 1671481 h 4687251"/>
              <a:gd name="connsiteX16461" fmla="*/ 5222796 w 8079933"/>
              <a:gd name="connsiteY16461" fmla="*/ 1673430 h 4687251"/>
              <a:gd name="connsiteX16462" fmla="*/ 5229783 w 8079933"/>
              <a:gd name="connsiteY16462" fmla="*/ 1673113 h 4687251"/>
              <a:gd name="connsiteX16463" fmla="*/ 5228983 w 8079933"/>
              <a:gd name="connsiteY16463" fmla="*/ 1672673 h 4687251"/>
              <a:gd name="connsiteX16464" fmla="*/ 5221712 w 8079933"/>
              <a:gd name="connsiteY16464" fmla="*/ 1672673 h 4687251"/>
              <a:gd name="connsiteX16465" fmla="*/ 4013814 w 8079933"/>
              <a:gd name="connsiteY16465" fmla="*/ 1670181 h 4687251"/>
              <a:gd name="connsiteX16466" fmla="*/ 4017177 w 8079933"/>
              <a:gd name="connsiteY16466" fmla="*/ 1670289 h 4687251"/>
              <a:gd name="connsiteX16467" fmla="*/ 4021518 w 8079933"/>
              <a:gd name="connsiteY16467" fmla="*/ 1672022 h 4687251"/>
              <a:gd name="connsiteX16468" fmla="*/ 4020650 w 8079933"/>
              <a:gd name="connsiteY16468" fmla="*/ 1673213 h 4687251"/>
              <a:gd name="connsiteX16469" fmla="*/ 4018263 w 8079933"/>
              <a:gd name="connsiteY16469" fmla="*/ 1672672 h 4687251"/>
              <a:gd name="connsiteX16470" fmla="*/ 4017503 w 8079933"/>
              <a:gd name="connsiteY16470" fmla="*/ 1671264 h 4687251"/>
              <a:gd name="connsiteX16471" fmla="*/ 4014573 w 8079933"/>
              <a:gd name="connsiteY16471" fmla="*/ 1672239 h 4687251"/>
              <a:gd name="connsiteX16472" fmla="*/ 2733968 w 8079933"/>
              <a:gd name="connsiteY16472" fmla="*/ 1667691 h 4687251"/>
              <a:gd name="connsiteX16473" fmla="*/ 2735595 w 8079933"/>
              <a:gd name="connsiteY16473" fmla="*/ 1668124 h 4687251"/>
              <a:gd name="connsiteX16474" fmla="*/ 2735595 w 8079933"/>
              <a:gd name="connsiteY16474" fmla="*/ 1670615 h 4687251"/>
              <a:gd name="connsiteX16475" fmla="*/ 2734076 w 8079933"/>
              <a:gd name="connsiteY16475" fmla="*/ 1670722 h 4687251"/>
              <a:gd name="connsiteX16476" fmla="*/ 2733208 w 8079933"/>
              <a:gd name="connsiteY16476" fmla="*/ 1671589 h 4687251"/>
              <a:gd name="connsiteX16477" fmla="*/ 2731906 w 8079933"/>
              <a:gd name="connsiteY16477" fmla="*/ 1670939 h 4687251"/>
              <a:gd name="connsiteX16478" fmla="*/ 2731798 w 8079933"/>
              <a:gd name="connsiteY16478" fmla="*/ 1668340 h 4687251"/>
              <a:gd name="connsiteX16479" fmla="*/ 7294381 w 8079933"/>
              <a:gd name="connsiteY16479" fmla="*/ 1667150 h 4687251"/>
              <a:gd name="connsiteX16480" fmla="*/ 7296008 w 8079933"/>
              <a:gd name="connsiteY16480" fmla="*/ 1671805 h 4687251"/>
              <a:gd name="connsiteX16481" fmla="*/ 7296334 w 8079933"/>
              <a:gd name="connsiteY16481" fmla="*/ 1676570 h 4687251"/>
              <a:gd name="connsiteX16482" fmla="*/ 7292536 w 8079933"/>
              <a:gd name="connsiteY16482" fmla="*/ 1678952 h 4687251"/>
              <a:gd name="connsiteX16483" fmla="*/ 7287219 w 8079933"/>
              <a:gd name="connsiteY16483" fmla="*/ 1679493 h 4687251"/>
              <a:gd name="connsiteX16484" fmla="*/ 7282552 w 8079933"/>
              <a:gd name="connsiteY16484" fmla="*/ 1685123 h 4687251"/>
              <a:gd name="connsiteX16485" fmla="*/ 7278971 w 8079933"/>
              <a:gd name="connsiteY16485" fmla="*/ 1692160 h 4687251"/>
              <a:gd name="connsiteX16486" fmla="*/ 7275715 w 8079933"/>
              <a:gd name="connsiteY16486" fmla="*/ 1695300 h 4687251"/>
              <a:gd name="connsiteX16487" fmla="*/ 7273219 w 8079933"/>
              <a:gd name="connsiteY16487" fmla="*/ 1694217 h 4687251"/>
              <a:gd name="connsiteX16488" fmla="*/ 7271049 w 8079933"/>
              <a:gd name="connsiteY16488" fmla="*/ 1695950 h 4687251"/>
              <a:gd name="connsiteX16489" fmla="*/ 7270723 w 8079933"/>
              <a:gd name="connsiteY16489" fmla="*/ 1698549 h 4687251"/>
              <a:gd name="connsiteX16490" fmla="*/ 7268445 w 8079933"/>
              <a:gd name="connsiteY16490" fmla="*/ 1700606 h 4687251"/>
              <a:gd name="connsiteX16491" fmla="*/ 7269205 w 8079933"/>
              <a:gd name="connsiteY16491" fmla="*/ 1706777 h 4687251"/>
              <a:gd name="connsiteX16492" fmla="*/ 7265949 w 8079933"/>
              <a:gd name="connsiteY16492" fmla="*/ 1709700 h 4687251"/>
              <a:gd name="connsiteX16493" fmla="*/ 7264538 w 8079933"/>
              <a:gd name="connsiteY16493" fmla="*/ 1714789 h 4687251"/>
              <a:gd name="connsiteX16494" fmla="*/ 7262150 w 8079933"/>
              <a:gd name="connsiteY16494" fmla="*/ 1715764 h 4687251"/>
              <a:gd name="connsiteX16495" fmla="*/ 7260957 w 8079933"/>
              <a:gd name="connsiteY16495" fmla="*/ 1710458 h 4687251"/>
              <a:gd name="connsiteX16496" fmla="*/ 7261825 w 8079933"/>
              <a:gd name="connsiteY16496" fmla="*/ 1706777 h 4687251"/>
              <a:gd name="connsiteX16497" fmla="*/ 7263779 w 8079933"/>
              <a:gd name="connsiteY16497" fmla="*/ 1705153 h 4687251"/>
              <a:gd name="connsiteX16498" fmla="*/ 7261500 w 8079933"/>
              <a:gd name="connsiteY16498" fmla="*/ 1702771 h 4687251"/>
              <a:gd name="connsiteX16499" fmla="*/ 7262043 w 8079933"/>
              <a:gd name="connsiteY16499" fmla="*/ 1699956 h 4687251"/>
              <a:gd name="connsiteX16500" fmla="*/ 7265840 w 8079933"/>
              <a:gd name="connsiteY16500" fmla="*/ 1697899 h 4687251"/>
              <a:gd name="connsiteX16501" fmla="*/ 7267143 w 8079933"/>
              <a:gd name="connsiteY16501" fmla="*/ 1693243 h 4687251"/>
              <a:gd name="connsiteX16502" fmla="*/ 7266709 w 8079933"/>
              <a:gd name="connsiteY16502" fmla="*/ 1690537 h 4687251"/>
              <a:gd name="connsiteX16503" fmla="*/ 7268879 w 8079933"/>
              <a:gd name="connsiteY16503" fmla="*/ 1690645 h 4687251"/>
              <a:gd name="connsiteX16504" fmla="*/ 7271700 w 8079933"/>
              <a:gd name="connsiteY16504" fmla="*/ 1685772 h 4687251"/>
              <a:gd name="connsiteX16505" fmla="*/ 7273545 w 8079933"/>
              <a:gd name="connsiteY16505" fmla="*/ 1682633 h 4687251"/>
              <a:gd name="connsiteX16506" fmla="*/ 7272026 w 8079933"/>
              <a:gd name="connsiteY16506" fmla="*/ 1680034 h 4687251"/>
              <a:gd name="connsiteX16507" fmla="*/ 7273654 w 8079933"/>
              <a:gd name="connsiteY16507" fmla="*/ 1676028 h 4687251"/>
              <a:gd name="connsiteX16508" fmla="*/ 7274739 w 8079933"/>
              <a:gd name="connsiteY16508" fmla="*/ 1675487 h 4687251"/>
              <a:gd name="connsiteX16509" fmla="*/ 7276475 w 8079933"/>
              <a:gd name="connsiteY16509" fmla="*/ 1679060 h 4687251"/>
              <a:gd name="connsiteX16510" fmla="*/ 7278971 w 8079933"/>
              <a:gd name="connsiteY16510" fmla="*/ 1680034 h 4687251"/>
              <a:gd name="connsiteX16511" fmla="*/ 7282336 w 8079933"/>
              <a:gd name="connsiteY16511" fmla="*/ 1677760 h 4687251"/>
              <a:gd name="connsiteX16512" fmla="*/ 7285265 w 8079933"/>
              <a:gd name="connsiteY16512" fmla="*/ 1677436 h 4687251"/>
              <a:gd name="connsiteX16513" fmla="*/ 7286242 w 8079933"/>
              <a:gd name="connsiteY16513" fmla="*/ 1673754 h 4687251"/>
              <a:gd name="connsiteX16514" fmla="*/ 7291342 w 8079933"/>
              <a:gd name="connsiteY16514" fmla="*/ 1668016 h 4687251"/>
              <a:gd name="connsiteX16515" fmla="*/ 4065576 w 8079933"/>
              <a:gd name="connsiteY16515" fmla="*/ 1666934 h 4687251"/>
              <a:gd name="connsiteX16516" fmla="*/ 4065575 w 8079933"/>
              <a:gd name="connsiteY16516" fmla="*/ 1666934 h 4687251"/>
              <a:gd name="connsiteX16517" fmla="*/ 4062645 w 8079933"/>
              <a:gd name="connsiteY16517" fmla="*/ 1671698 h 4687251"/>
              <a:gd name="connsiteX16518" fmla="*/ 4059606 w 8079933"/>
              <a:gd name="connsiteY16518" fmla="*/ 1675488 h 4687251"/>
              <a:gd name="connsiteX16519" fmla="*/ 4061017 w 8079933"/>
              <a:gd name="connsiteY16519" fmla="*/ 1682417 h 4687251"/>
              <a:gd name="connsiteX16520" fmla="*/ 4059389 w 8079933"/>
              <a:gd name="connsiteY16520" fmla="*/ 1690320 h 4687251"/>
              <a:gd name="connsiteX16521" fmla="*/ 4057436 w 8079933"/>
              <a:gd name="connsiteY16521" fmla="*/ 1695517 h 4687251"/>
              <a:gd name="connsiteX16522" fmla="*/ 4056555 w 8079933"/>
              <a:gd name="connsiteY16522" fmla="*/ 1695263 h 4687251"/>
              <a:gd name="connsiteX16523" fmla="*/ 4057437 w 8079933"/>
              <a:gd name="connsiteY16523" fmla="*/ 1695517 h 4687251"/>
              <a:gd name="connsiteX16524" fmla="*/ 4057979 w 8079933"/>
              <a:gd name="connsiteY16524" fmla="*/ 1695734 h 4687251"/>
              <a:gd name="connsiteX16525" fmla="*/ 4056460 w 8079933"/>
              <a:gd name="connsiteY16525" fmla="*/ 1699199 h 4687251"/>
              <a:gd name="connsiteX16526" fmla="*/ 4060041 w 8079933"/>
              <a:gd name="connsiteY16526" fmla="*/ 1706561 h 4687251"/>
              <a:gd name="connsiteX16527" fmla="*/ 4059932 w 8079933"/>
              <a:gd name="connsiteY16527" fmla="*/ 1709484 h 4687251"/>
              <a:gd name="connsiteX16528" fmla="*/ 4062862 w 8079933"/>
              <a:gd name="connsiteY16528" fmla="*/ 1713923 h 4687251"/>
              <a:gd name="connsiteX16529" fmla="*/ 4060042 w 8079933"/>
              <a:gd name="connsiteY16529" fmla="*/ 1720527 h 4687251"/>
              <a:gd name="connsiteX16530" fmla="*/ 4062863 w 8079933"/>
              <a:gd name="connsiteY16530" fmla="*/ 1713923 h 4687251"/>
              <a:gd name="connsiteX16531" fmla="*/ 4059933 w 8079933"/>
              <a:gd name="connsiteY16531" fmla="*/ 1709484 h 4687251"/>
              <a:gd name="connsiteX16532" fmla="*/ 4060042 w 8079933"/>
              <a:gd name="connsiteY16532" fmla="*/ 1706560 h 4687251"/>
              <a:gd name="connsiteX16533" fmla="*/ 4056461 w 8079933"/>
              <a:gd name="connsiteY16533" fmla="*/ 1699198 h 4687251"/>
              <a:gd name="connsiteX16534" fmla="*/ 4057980 w 8079933"/>
              <a:gd name="connsiteY16534" fmla="*/ 1695733 h 4687251"/>
              <a:gd name="connsiteX16535" fmla="*/ 4057438 w 8079933"/>
              <a:gd name="connsiteY16535" fmla="*/ 1695517 h 4687251"/>
              <a:gd name="connsiteX16536" fmla="*/ 4059391 w 8079933"/>
              <a:gd name="connsiteY16536" fmla="*/ 1690319 h 4687251"/>
              <a:gd name="connsiteX16537" fmla="*/ 4061019 w 8079933"/>
              <a:gd name="connsiteY16537" fmla="*/ 1682415 h 4687251"/>
              <a:gd name="connsiteX16538" fmla="*/ 4059608 w 8079933"/>
              <a:gd name="connsiteY16538" fmla="*/ 1675486 h 4687251"/>
              <a:gd name="connsiteX16539" fmla="*/ 4062646 w 8079933"/>
              <a:gd name="connsiteY16539" fmla="*/ 1671697 h 4687251"/>
              <a:gd name="connsiteX16540" fmla="*/ 4688136 w 8079933"/>
              <a:gd name="connsiteY16540" fmla="*/ 1666718 h 4687251"/>
              <a:gd name="connsiteX16541" fmla="*/ 4675933 w 8079933"/>
              <a:gd name="connsiteY16541" fmla="*/ 1668414 h 4687251"/>
              <a:gd name="connsiteX16542" fmla="*/ 4677284 w 8079933"/>
              <a:gd name="connsiteY16542" fmla="*/ 1670182 h 4687251"/>
              <a:gd name="connsiteX16543" fmla="*/ 4690022 w 8079933"/>
              <a:gd name="connsiteY16543" fmla="*/ 1668307 h 4687251"/>
              <a:gd name="connsiteX16544" fmla="*/ 4574628 w 8079933"/>
              <a:gd name="connsiteY16544" fmla="*/ 1665417 h 4687251"/>
              <a:gd name="connsiteX16545" fmla="*/ 4569637 w 8079933"/>
              <a:gd name="connsiteY16545" fmla="*/ 1665634 h 4687251"/>
              <a:gd name="connsiteX16546" fmla="*/ 4569636 w 8079933"/>
              <a:gd name="connsiteY16546" fmla="*/ 1665635 h 4687251"/>
              <a:gd name="connsiteX16547" fmla="*/ 4574628 w 8079933"/>
              <a:gd name="connsiteY16547" fmla="*/ 1665419 h 4687251"/>
              <a:gd name="connsiteX16548" fmla="*/ 4578751 w 8079933"/>
              <a:gd name="connsiteY16548" fmla="*/ 1668017 h 4687251"/>
              <a:gd name="connsiteX16549" fmla="*/ 4585588 w 8079933"/>
              <a:gd name="connsiteY16549" fmla="*/ 1665960 h 4687251"/>
              <a:gd name="connsiteX16550" fmla="*/ 4589712 w 8079933"/>
              <a:gd name="connsiteY16550" fmla="*/ 1669641 h 4687251"/>
              <a:gd name="connsiteX16551" fmla="*/ 4594920 w 8079933"/>
              <a:gd name="connsiteY16551" fmla="*/ 1668883 h 4687251"/>
              <a:gd name="connsiteX16552" fmla="*/ 4594920 w 8079933"/>
              <a:gd name="connsiteY16552" fmla="*/ 1668882 h 4687251"/>
              <a:gd name="connsiteX16553" fmla="*/ 4589712 w 8079933"/>
              <a:gd name="connsiteY16553" fmla="*/ 1669640 h 4687251"/>
              <a:gd name="connsiteX16554" fmla="*/ 4585589 w 8079933"/>
              <a:gd name="connsiteY16554" fmla="*/ 1665958 h 4687251"/>
              <a:gd name="connsiteX16555" fmla="*/ 4578752 w 8079933"/>
              <a:gd name="connsiteY16555" fmla="*/ 1668016 h 4687251"/>
              <a:gd name="connsiteX16556" fmla="*/ 5247539 w 8079933"/>
              <a:gd name="connsiteY16556" fmla="*/ 1664444 h 4687251"/>
              <a:gd name="connsiteX16557" fmla="*/ 5245152 w 8079933"/>
              <a:gd name="connsiteY16557" fmla="*/ 1666718 h 4687251"/>
              <a:gd name="connsiteX16558" fmla="*/ 5245152 w 8079933"/>
              <a:gd name="connsiteY16558" fmla="*/ 1671374 h 4687251"/>
              <a:gd name="connsiteX16559" fmla="*/ 5242764 w 8079933"/>
              <a:gd name="connsiteY16559" fmla="*/ 1676354 h 4687251"/>
              <a:gd name="connsiteX16560" fmla="*/ 5237724 w 8079933"/>
              <a:gd name="connsiteY16560" fmla="*/ 1677277 h 4687251"/>
              <a:gd name="connsiteX16561" fmla="*/ 5238423 w 8079933"/>
              <a:gd name="connsiteY16561" fmla="*/ 1677653 h 4687251"/>
              <a:gd name="connsiteX16562" fmla="*/ 5243741 w 8079933"/>
              <a:gd name="connsiteY16562" fmla="*/ 1676678 h 4687251"/>
              <a:gd name="connsiteX16563" fmla="*/ 5246236 w 8079933"/>
              <a:gd name="connsiteY16563" fmla="*/ 1671698 h 4687251"/>
              <a:gd name="connsiteX16564" fmla="*/ 5246562 w 8079933"/>
              <a:gd name="connsiteY16564" fmla="*/ 1667042 h 4687251"/>
              <a:gd name="connsiteX16565" fmla="*/ 5248612 w 8079933"/>
              <a:gd name="connsiteY16565" fmla="*/ 1665089 h 4687251"/>
              <a:gd name="connsiteX16566" fmla="*/ 4553793 w 8079933"/>
              <a:gd name="connsiteY16566" fmla="*/ 1664334 h 4687251"/>
              <a:gd name="connsiteX16567" fmla="*/ 4546305 w 8079933"/>
              <a:gd name="connsiteY16567" fmla="*/ 1668882 h 4687251"/>
              <a:gd name="connsiteX16568" fmla="*/ 4543050 w 8079933"/>
              <a:gd name="connsiteY16568" fmla="*/ 1667366 h 4687251"/>
              <a:gd name="connsiteX16569" fmla="*/ 4535779 w 8079933"/>
              <a:gd name="connsiteY16569" fmla="*/ 1666391 h 4687251"/>
              <a:gd name="connsiteX16570" fmla="*/ 4533744 w 8079933"/>
              <a:gd name="connsiteY16570" fmla="*/ 1668423 h 4687251"/>
              <a:gd name="connsiteX16571" fmla="*/ 4535779 w 8079933"/>
              <a:gd name="connsiteY16571" fmla="*/ 1666393 h 4687251"/>
              <a:gd name="connsiteX16572" fmla="*/ 4543049 w 8079933"/>
              <a:gd name="connsiteY16572" fmla="*/ 1667367 h 4687251"/>
              <a:gd name="connsiteX16573" fmla="*/ 4546305 w 8079933"/>
              <a:gd name="connsiteY16573" fmla="*/ 1668883 h 4687251"/>
              <a:gd name="connsiteX16574" fmla="*/ 4553793 w 8079933"/>
              <a:gd name="connsiteY16574" fmla="*/ 1664336 h 4687251"/>
              <a:gd name="connsiteX16575" fmla="*/ 4560303 w 8079933"/>
              <a:gd name="connsiteY16575" fmla="*/ 1665201 h 4687251"/>
              <a:gd name="connsiteX16576" fmla="*/ 4561280 w 8079933"/>
              <a:gd name="connsiteY16576" fmla="*/ 1669749 h 4687251"/>
              <a:gd name="connsiteX16577" fmla="*/ 4565187 w 8079933"/>
              <a:gd name="connsiteY16577" fmla="*/ 1671048 h 4687251"/>
              <a:gd name="connsiteX16578" fmla="*/ 4565187 w 8079933"/>
              <a:gd name="connsiteY16578" fmla="*/ 1671048 h 4687251"/>
              <a:gd name="connsiteX16579" fmla="*/ 4561280 w 8079933"/>
              <a:gd name="connsiteY16579" fmla="*/ 1669748 h 4687251"/>
              <a:gd name="connsiteX16580" fmla="*/ 4560304 w 8079933"/>
              <a:gd name="connsiteY16580" fmla="*/ 1665201 h 4687251"/>
              <a:gd name="connsiteX16581" fmla="*/ 5272997 w 8079933"/>
              <a:gd name="connsiteY16581" fmla="*/ 1663932 h 4687251"/>
              <a:gd name="connsiteX16582" fmla="*/ 5269785 w 8079933"/>
              <a:gd name="connsiteY16582" fmla="*/ 1666826 h 4687251"/>
              <a:gd name="connsiteX16583" fmla="*/ 5261646 w 8079933"/>
              <a:gd name="connsiteY16583" fmla="*/ 1669533 h 4687251"/>
              <a:gd name="connsiteX16584" fmla="*/ 5255758 w 8079933"/>
              <a:gd name="connsiteY16584" fmla="*/ 1668964 h 4687251"/>
              <a:gd name="connsiteX16585" fmla="*/ 5256328 w 8079933"/>
              <a:gd name="connsiteY16585" fmla="*/ 1669315 h 4687251"/>
              <a:gd name="connsiteX16586" fmla="*/ 5263056 w 8079933"/>
              <a:gd name="connsiteY16586" fmla="*/ 1669965 h 4687251"/>
              <a:gd name="connsiteX16587" fmla="*/ 5271195 w 8079933"/>
              <a:gd name="connsiteY16587" fmla="*/ 1667259 h 4687251"/>
              <a:gd name="connsiteX16588" fmla="*/ 6945345 w 8079933"/>
              <a:gd name="connsiteY16588" fmla="*/ 1663834 h 4687251"/>
              <a:gd name="connsiteX16589" fmla="*/ 6945391 w 8079933"/>
              <a:gd name="connsiteY16589" fmla="*/ 1664226 h 4687251"/>
              <a:gd name="connsiteX16590" fmla="*/ 6944305 w 8079933"/>
              <a:gd name="connsiteY16590" fmla="*/ 1665200 h 4687251"/>
              <a:gd name="connsiteX16591" fmla="*/ 6942786 w 8079933"/>
              <a:gd name="connsiteY16591" fmla="*/ 1665850 h 4687251"/>
              <a:gd name="connsiteX16592" fmla="*/ 6943003 w 8079933"/>
              <a:gd name="connsiteY16592" fmla="*/ 1669609 h 4687251"/>
              <a:gd name="connsiteX16593" fmla="*/ 6943003 w 8079933"/>
              <a:gd name="connsiteY16593" fmla="*/ 1667801 h 4687251"/>
              <a:gd name="connsiteX16594" fmla="*/ 6944522 w 8079933"/>
              <a:gd name="connsiteY16594" fmla="*/ 1667151 h 4687251"/>
              <a:gd name="connsiteX16595" fmla="*/ 6945608 w 8079933"/>
              <a:gd name="connsiteY16595" fmla="*/ 1666068 h 4687251"/>
              <a:gd name="connsiteX16596" fmla="*/ 6945608 w 8079933"/>
              <a:gd name="connsiteY16596" fmla="*/ 1664228 h 4687251"/>
              <a:gd name="connsiteX16597" fmla="*/ 6944218 w 8079933"/>
              <a:gd name="connsiteY16597" fmla="*/ 1659684 h 4687251"/>
              <a:gd name="connsiteX16598" fmla="*/ 6944088 w 8079933"/>
              <a:gd name="connsiteY16598" fmla="*/ 1660761 h 4687251"/>
              <a:gd name="connsiteX16599" fmla="*/ 6944522 w 8079933"/>
              <a:gd name="connsiteY16599" fmla="*/ 1661411 h 4687251"/>
              <a:gd name="connsiteX16600" fmla="*/ 6944522 w 8079933"/>
              <a:gd name="connsiteY16600" fmla="*/ 1659897 h 4687251"/>
              <a:gd name="connsiteX16601" fmla="*/ 4081053 w 8079933"/>
              <a:gd name="connsiteY16601" fmla="*/ 1658712 h 4687251"/>
              <a:gd name="connsiteX16602" fmla="*/ 4078814 w 8079933"/>
              <a:gd name="connsiteY16602" fmla="*/ 1660330 h 4687251"/>
              <a:gd name="connsiteX16603" fmla="*/ 4081418 w 8079933"/>
              <a:gd name="connsiteY16603" fmla="*/ 1664768 h 4687251"/>
              <a:gd name="connsiteX16604" fmla="*/ 4077947 w 8079933"/>
              <a:gd name="connsiteY16604" fmla="*/ 1666717 h 4687251"/>
              <a:gd name="connsiteX16605" fmla="*/ 4081419 w 8079933"/>
              <a:gd name="connsiteY16605" fmla="*/ 1664768 h 4687251"/>
              <a:gd name="connsiteX16606" fmla="*/ 4078815 w 8079933"/>
              <a:gd name="connsiteY16606" fmla="*/ 1660329 h 4687251"/>
              <a:gd name="connsiteX16607" fmla="*/ 5167236 w 8079933"/>
              <a:gd name="connsiteY16607" fmla="*/ 1658381 h 4687251"/>
              <a:gd name="connsiteX16608" fmla="*/ 5163439 w 8079933"/>
              <a:gd name="connsiteY16608" fmla="*/ 1659572 h 4687251"/>
              <a:gd name="connsiteX16609" fmla="*/ 5163439 w 8079933"/>
              <a:gd name="connsiteY16609" fmla="*/ 1664011 h 4687251"/>
              <a:gd name="connsiteX16610" fmla="*/ 5158447 w 8079933"/>
              <a:gd name="connsiteY16610" fmla="*/ 1664011 h 4687251"/>
              <a:gd name="connsiteX16611" fmla="*/ 5158447 w 8079933"/>
              <a:gd name="connsiteY16611" fmla="*/ 1672889 h 4687251"/>
              <a:gd name="connsiteX16612" fmla="*/ 5152587 w 8079933"/>
              <a:gd name="connsiteY16612" fmla="*/ 1677328 h 4687251"/>
              <a:gd name="connsiteX16613" fmla="*/ 5148789 w 8079933"/>
              <a:gd name="connsiteY16613" fmla="*/ 1675813 h 4687251"/>
              <a:gd name="connsiteX16614" fmla="*/ 5146076 w 8079933"/>
              <a:gd name="connsiteY16614" fmla="*/ 1671374 h 4687251"/>
              <a:gd name="connsiteX16615" fmla="*/ 5136961 w 8079933"/>
              <a:gd name="connsiteY16615" fmla="*/ 1669966 h 4687251"/>
              <a:gd name="connsiteX16616" fmla="*/ 5133705 w 8079933"/>
              <a:gd name="connsiteY16616" fmla="*/ 1665311 h 4687251"/>
              <a:gd name="connsiteX16617" fmla="*/ 5129038 w 8079933"/>
              <a:gd name="connsiteY16617" fmla="*/ 1668017 h 4687251"/>
              <a:gd name="connsiteX16618" fmla="*/ 5129038 w 8079933"/>
              <a:gd name="connsiteY16618" fmla="*/ 1674080 h 4687251"/>
              <a:gd name="connsiteX16619" fmla="*/ 5125892 w 8079933"/>
              <a:gd name="connsiteY16619" fmla="*/ 1678736 h 4687251"/>
              <a:gd name="connsiteX16620" fmla="*/ 5123783 w 8079933"/>
              <a:gd name="connsiteY16620" fmla="*/ 1678063 h 4687251"/>
              <a:gd name="connsiteX16621" fmla="*/ 5123830 w 8079933"/>
              <a:gd name="connsiteY16621" fmla="*/ 1678843 h 4687251"/>
              <a:gd name="connsiteX16622" fmla="*/ 5126651 w 8079933"/>
              <a:gd name="connsiteY16622" fmla="*/ 1679818 h 4687251"/>
              <a:gd name="connsiteX16623" fmla="*/ 5129689 w 8079933"/>
              <a:gd name="connsiteY16623" fmla="*/ 1675162 h 4687251"/>
              <a:gd name="connsiteX16624" fmla="*/ 5129255 w 8079933"/>
              <a:gd name="connsiteY16624" fmla="*/ 1669099 h 4687251"/>
              <a:gd name="connsiteX16625" fmla="*/ 5133812 w 8079933"/>
              <a:gd name="connsiteY16625" fmla="*/ 1666392 h 4687251"/>
              <a:gd name="connsiteX16626" fmla="*/ 5137177 w 8079933"/>
              <a:gd name="connsiteY16626" fmla="*/ 1670939 h 4687251"/>
              <a:gd name="connsiteX16627" fmla="*/ 5146292 w 8079933"/>
              <a:gd name="connsiteY16627" fmla="*/ 1672347 h 4687251"/>
              <a:gd name="connsiteX16628" fmla="*/ 5149005 w 8079933"/>
              <a:gd name="connsiteY16628" fmla="*/ 1676894 h 4687251"/>
              <a:gd name="connsiteX16629" fmla="*/ 5152803 w 8079933"/>
              <a:gd name="connsiteY16629" fmla="*/ 1678410 h 4687251"/>
              <a:gd name="connsiteX16630" fmla="*/ 5158663 w 8079933"/>
              <a:gd name="connsiteY16630" fmla="*/ 1673863 h 4687251"/>
              <a:gd name="connsiteX16631" fmla="*/ 5159205 w 8079933"/>
              <a:gd name="connsiteY16631" fmla="*/ 1664985 h 4687251"/>
              <a:gd name="connsiteX16632" fmla="*/ 5164198 w 8079933"/>
              <a:gd name="connsiteY16632" fmla="*/ 1664443 h 4687251"/>
              <a:gd name="connsiteX16633" fmla="*/ 5164523 w 8079933"/>
              <a:gd name="connsiteY16633" fmla="*/ 1660004 h 4687251"/>
              <a:gd name="connsiteX16634" fmla="*/ 5167710 w 8079933"/>
              <a:gd name="connsiteY16634" fmla="*/ 1659005 h 4687251"/>
              <a:gd name="connsiteX16635" fmla="*/ 5177546 w 8079933"/>
              <a:gd name="connsiteY16635" fmla="*/ 1657190 h 4687251"/>
              <a:gd name="connsiteX16636" fmla="*/ 5172011 w 8079933"/>
              <a:gd name="connsiteY16636" fmla="*/ 1658056 h 4687251"/>
              <a:gd name="connsiteX16637" fmla="*/ 5170260 w 8079933"/>
              <a:gd name="connsiteY16637" fmla="*/ 1661367 h 4687251"/>
              <a:gd name="connsiteX16638" fmla="*/ 5171034 w 8079933"/>
              <a:gd name="connsiteY16638" fmla="*/ 1662386 h 4687251"/>
              <a:gd name="connsiteX16639" fmla="*/ 5173095 w 8079933"/>
              <a:gd name="connsiteY16639" fmla="*/ 1658488 h 4687251"/>
              <a:gd name="connsiteX16640" fmla="*/ 5178098 w 8079933"/>
              <a:gd name="connsiteY16640" fmla="*/ 1657706 h 4687251"/>
              <a:gd name="connsiteX16641" fmla="*/ 4488792 w 8079933"/>
              <a:gd name="connsiteY16641" fmla="*/ 1657081 h 4687251"/>
              <a:gd name="connsiteX16642" fmla="*/ 4488791 w 8079933"/>
              <a:gd name="connsiteY16642" fmla="*/ 1657081 h 4687251"/>
              <a:gd name="connsiteX16643" fmla="*/ 4491721 w 8079933"/>
              <a:gd name="connsiteY16643" fmla="*/ 1657189 h 4687251"/>
              <a:gd name="connsiteX16644" fmla="*/ 4497581 w 8079933"/>
              <a:gd name="connsiteY16644" fmla="*/ 1660546 h 4687251"/>
              <a:gd name="connsiteX16645" fmla="*/ 4511363 w 8079933"/>
              <a:gd name="connsiteY16645" fmla="*/ 1662603 h 4687251"/>
              <a:gd name="connsiteX16646" fmla="*/ 4517222 w 8079933"/>
              <a:gd name="connsiteY16646" fmla="*/ 1665527 h 4687251"/>
              <a:gd name="connsiteX16647" fmla="*/ 4518199 w 8079933"/>
              <a:gd name="connsiteY16647" fmla="*/ 1668233 h 4687251"/>
              <a:gd name="connsiteX16648" fmla="*/ 4526555 w 8079933"/>
              <a:gd name="connsiteY16648" fmla="*/ 1664985 h 4687251"/>
              <a:gd name="connsiteX16649" fmla="*/ 4530461 w 8079933"/>
              <a:gd name="connsiteY16649" fmla="*/ 1668558 h 4687251"/>
              <a:gd name="connsiteX16650" fmla="*/ 4533717 w 8079933"/>
              <a:gd name="connsiteY16650" fmla="*/ 1668450 h 4687251"/>
              <a:gd name="connsiteX16651" fmla="*/ 4533718 w 8079933"/>
              <a:gd name="connsiteY16651" fmla="*/ 1668449 h 4687251"/>
              <a:gd name="connsiteX16652" fmla="*/ 4530462 w 8079933"/>
              <a:gd name="connsiteY16652" fmla="*/ 1668557 h 4687251"/>
              <a:gd name="connsiteX16653" fmla="*/ 4526555 w 8079933"/>
              <a:gd name="connsiteY16653" fmla="*/ 1664984 h 4687251"/>
              <a:gd name="connsiteX16654" fmla="*/ 4518199 w 8079933"/>
              <a:gd name="connsiteY16654" fmla="*/ 1668232 h 4687251"/>
              <a:gd name="connsiteX16655" fmla="*/ 4517223 w 8079933"/>
              <a:gd name="connsiteY16655" fmla="*/ 1665526 h 4687251"/>
              <a:gd name="connsiteX16656" fmla="*/ 4511363 w 8079933"/>
              <a:gd name="connsiteY16656" fmla="*/ 1662603 h 4687251"/>
              <a:gd name="connsiteX16657" fmla="*/ 4497581 w 8079933"/>
              <a:gd name="connsiteY16657" fmla="*/ 1660545 h 4687251"/>
              <a:gd name="connsiteX16658" fmla="*/ 4491722 w 8079933"/>
              <a:gd name="connsiteY16658" fmla="*/ 1657189 h 4687251"/>
              <a:gd name="connsiteX16659" fmla="*/ 5203373 w 8079933"/>
              <a:gd name="connsiteY16659" fmla="*/ 1655241 h 4687251"/>
              <a:gd name="connsiteX16660" fmla="*/ 5200768 w 8079933"/>
              <a:gd name="connsiteY16660" fmla="*/ 1658489 h 4687251"/>
              <a:gd name="connsiteX16661" fmla="*/ 5195451 w 8079933"/>
              <a:gd name="connsiteY16661" fmla="*/ 1658489 h 4687251"/>
              <a:gd name="connsiteX16662" fmla="*/ 5191653 w 8079933"/>
              <a:gd name="connsiteY16662" fmla="*/ 1659680 h 4687251"/>
              <a:gd name="connsiteX16663" fmla="*/ 5192521 w 8079933"/>
              <a:gd name="connsiteY16663" fmla="*/ 1665527 h 4687251"/>
              <a:gd name="connsiteX16664" fmla="*/ 5186673 w 8079933"/>
              <a:gd name="connsiteY16664" fmla="*/ 1666092 h 4687251"/>
              <a:gd name="connsiteX16665" fmla="*/ 5186878 w 8079933"/>
              <a:gd name="connsiteY16665" fmla="*/ 1666501 h 4687251"/>
              <a:gd name="connsiteX16666" fmla="*/ 5193605 w 8079933"/>
              <a:gd name="connsiteY16666" fmla="*/ 1665851 h 4687251"/>
              <a:gd name="connsiteX16667" fmla="*/ 5192846 w 8079933"/>
              <a:gd name="connsiteY16667" fmla="*/ 1660004 h 4687251"/>
              <a:gd name="connsiteX16668" fmla="*/ 5196535 w 8079933"/>
              <a:gd name="connsiteY16668" fmla="*/ 1658813 h 4687251"/>
              <a:gd name="connsiteX16669" fmla="*/ 5201961 w 8079933"/>
              <a:gd name="connsiteY16669" fmla="*/ 1659247 h 4687251"/>
              <a:gd name="connsiteX16670" fmla="*/ 5204457 w 8079933"/>
              <a:gd name="connsiteY16670" fmla="*/ 1655998 h 4687251"/>
              <a:gd name="connsiteX16671" fmla="*/ 5210209 w 8079933"/>
              <a:gd name="connsiteY16671" fmla="*/ 1659139 h 4687251"/>
              <a:gd name="connsiteX16672" fmla="*/ 5212427 w 8079933"/>
              <a:gd name="connsiteY16672" fmla="*/ 1660245 h 4687251"/>
              <a:gd name="connsiteX16673" fmla="*/ 5212488 w 8079933"/>
              <a:gd name="connsiteY16673" fmla="*/ 1660113 h 4687251"/>
              <a:gd name="connsiteX16674" fmla="*/ 5209016 w 8079933"/>
              <a:gd name="connsiteY16674" fmla="*/ 1658381 h 4687251"/>
              <a:gd name="connsiteX16675" fmla="*/ 5093330 w 8079933"/>
              <a:gd name="connsiteY16675" fmla="*/ 1651658 h 4687251"/>
              <a:gd name="connsiteX16676" fmla="*/ 5094530 w 8079933"/>
              <a:gd name="connsiteY16676" fmla="*/ 1653508 h 4687251"/>
              <a:gd name="connsiteX16677" fmla="*/ 5097351 w 8079933"/>
              <a:gd name="connsiteY16677" fmla="*/ 1653617 h 4687251"/>
              <a:gd name="connsiteX16678" fmla="*/ 5102126 w 8079933"/>
              <a:gd name="connsiteY16678" fmla="*/ 1659788 h 4687251"/>
              <a:gd name="connsiteX16679" fmla="*/ 5107334 w 8079933"/>
              <a:gd name="connsiteY16679" fmla="*/ 1659788 h 4687251"/>
              <a:gd name="connsiteX16680" fmla="*/ 5111132 w 8079933"/>
              <a:gd name="connsiteY16680" fmla="*/ 1664768 h 4687251"/>
              <a:gd name="connsiteX16681" fmla="*/ 5117861 w 8079933"/>
              <a:gd name="connsiteY16681" fmla="*/ 1669749 h 4687251"/>
              <a:gd name="connsiteX16682" fmla="*/ 5121659 w 8079933"/>
              <a:gd name="connsiteY16682" fmla="*/ 1670182 h 4687251"/>
              <a:gd name="connsiteX16683" fmla="*/ 5123179 w 8079933"/>
              <a:gd name="connsiteY16683" fmla="*/ 1672858 h 4687251"/>
              <a:gd name="connsiteX16684" fmla="*/ 5123179 w 8079933"/>
              <a:gd name="connsiteY16684" fmla="*/ 1672348 h 4687251"/>
              <a:gd name="connsiteX16685" fmla="*/ 5121334 w 8079933"/>
              <a:gd name="connsiteY16685" fmla="*/ 1669099 h 4687251"/>
              <a:gd name="connsiteX16686" fmla="*/ 5117536 w 8079933"/>
              <a:gd name="connsiteY16686" fmla="*/ 1669099 h 4687251"/>
              <a:gd name="connsiteX16687" fmla="*/ 5110808 w 8079933"/>
              <a:gd name="connsiteY16687" fmla="*/ 1664119 h 4687251"/>
              <a:gd name="connsiteX16688" fmla="*/ 5107010 w 8079933"/>
              <a:gd name="connsiteY16688" fmla="*/ 1659139 h 4687251"/>
              <a:gd name="connsiteX16689" fmla="*/ 5101801 w 8079933"/>
              <a:gd name="connsiteY16689" fmla="*/ 1659139 h 4687251"/>
              <a:gd name="connsiteX16690" fmla="*/ 5096918 w 8079933"/>
              <a:gd name="connsiteY16690" fmla="*/ 1652968 h 4687251"/>
              <a:gd name="connsiteX16691" fmla="*/ 5094205 w 8079933"/>
              <a:gd name="connsiteY16691" fmla="*/ 1652968 h 4687251"/>
              <a:gd name="connsiteX16692" fmla="*/ 5022475 w 8079933"/>
              <a:gd name="connsiteY16692" fmla="*/ 1651126 h 4687251"/>
              <a:gd name="connsiteX16693" fmla="*/ 5018894 w 8079933"/>
              <a:gd name="connsiteY16693" fmla="*/ 1653942 h 4687251"/>
              <a:gd name="connsiteX16694" fmla="*/ 5016615 w 8079933"/>
              <a:gd name="connsiteY16694" fmla="*/ 1660330 h 4687251"/>
              <a:gd name="connsiteX16695" fmla="*/ 5013360 w 8079933"/>
              <a:gd name="connsiteY16695" fmla="*/ 1660330 h 4687251"/>
              <a:gd name="connsiteX16696" fmla="*/ 5006306 w 8079933"/>
              <a:gd name="connsiteY16696" fmla="*/ 1664769 h 4687251"/>
              <a:gd name="connsiteX16697" fmla="*/ 5004787 w 8079933"/>
              <a:gd name="connsiteY16697" fmla="*/ 1670291 h 4687251"/>
              <a:gd name="connsiteX16698" fmla="*/ 5008260 w 8079933"/>
              <a:gd name="connsiteY16698" fmla="*/ 1674621 h 4687251"/>
              <a:gd name="connsiteX16699" fmla="*/ 5008260 w 8079933"/>
              <a:gd name="connsiteY16699" fmla="*/ 1679711 h 4687251"/>
              <a:gd name="connsiteX16700" fmla="*/ 5000555 w 8079933"/>
              <a:gd name="connsiteY16700" fmla="*/ 1679711 h 4687251"/>
              <a:gd name="connsiteX16701" fmla="*/ 4993176 w 8079933"/>
              <a:gd name="connsiteY16701" fmla="*/ 1680576 h 4687251"/>
              <a:gd name="connsiteX16702" fmla="*/ 4998710 w 8079933"/>
              <a:gd name="connsiteY16702" fmla="*/ 1699632 h 4687251"/>
              <a:gd name="connsiteX16703" fmla="*/ 4995780 w 8079933"/>
              <a:gd name="connsiteY16703" fmla="*/ 1702014 h 4687251"/>
              <a:gd name="connsiteX16704" fmla="*/ 4996648 w 8079933"/>
              <a:gd name="connsiteY16704" fmla="*/ 1709268 h 4687251"/>
              <a:gd name="connsiteX16705" fmla="*/ 4992737 w 8079933"/>
              <a:gd name="connsiteY16705" fmla="*/ 1709613 h 4687251"/>
              <a:gd name="connsiteX16706" fmla="*/ 4994477 w 8079933"/>
              <a:gd name="connsiteY16706" fmla="*/ 1710675 h 4687251"/>
              <a:gd name="connsiteX16707" fmla="*/ 5001856 w 8079933"/>
              <a:gd name="connsiteY16707" fmla="*/ 1710026 h 4687251"/>
              <a:gd name="connsiteX16708" fmla="*/ 5000988 w 8079933"/>
              <a:gd name="connsiteY16708" fmla="*/ 1702771 h 4687251"/>
              <a:gd name="connsiteX16709" fmla="*/ 5003918 w 8079933"/>
              <a:gd name="connsiteY16709" fmla="*/ 1700389 h 4687251"/>
              <a:gd name="connsiteX16710" fmla="*/ 4998383 w 8079933"/>
              <a:gd name="connsiteY16710" fmla="*/ 1681333 h 4687251"/>
              <a:gd name="connsiteX16711" fmla="*/ 5005871 w 8079933"/>
              <a:gd name="connsiteY16711" fmla="*/ 1680468 h 4687251"/>
              <a:gd name="connsiteX16712" fmla="*/ 5013576 w 8079933"/>
              <a:gd name="connsiteY16712" fmla="*/ 1680468 h 4687251"/>
              <a:gd name="connsiteX16713" fmla="*/ 5013576 w 8079933"/>
              <a:gd name="connsiteY16713" fmla="*/ 1674837 h 4687251"/>
              <a:gd name="connsiteX16714" fmla="*/ 5010104 w 8079933"/>
              <a:gd name="connsiteY16714" fmla="*/ 1670507 h 4687251"/>
              <a:gd name="connsiteX16715" fmla="*/ 5011731 w 8079933"/>
              <a:gd name="connsiteY16715" fmla="*/ 1664985 h 4687251"/>
              <a:gd name="connsiteX16716" fmla="*/ 5018785 w 8079933"/>
              <a:gd name="connsiteY16716" fmla="*/ 1660546 h 4687251"/>
              <a:gd name="connsiteX16717" fmla="*/ 5022040 w 8079933"/>
              <a:gd name="connsiteY16717" fmla="*/ 1660329 h 4687251"/>
              <a:gd name="connsiteX16718" fmla="*/ 5024320 w 8079933"/>
              <a:gd name="connsiteY16718" fmla="*/ 1653941 h 4687251"/>
              <a:gd name="connsiteX16719" fmla="*/ 5026530 w 8079933"/>
              <a:gd name="connsiteY16719" fmla="*/ 1652270 h 4687251"/>
              <a:gd name="connsiteX16720" fmla="*/ 6570356 w 8079933"/>
              <a:gd name="connsiteY16720" fmla="*/ 1650151 h 4687251"/>
              <a:gd name="connsiteX16721" fmla="*/ 6567970 w 8079933"/>
              <a:gd name="connsiteY16721" fmla="*/ 1652208 h 4687251"/>
              <a:gd name="connsiteX16722" fmla="*/ 6561350 w 8079933"/>
              <a:gd name="connsiteY16722" fmla="*/ 1654265 h 4687251"/>
              <a:gd name="connsiteX16723" fmla="*/ 6561024 w 8079933"/>
              <a:gd name="connsiteY16723" fmla="*/ 1658704 h 4687251"/>
              <a:gd name="connsiteX16724" fmla="*/ 6561784 w 8079933"/>
              <a:gd name="connsiteY16724" fmla="*/ 1663901 h 4687251"/>
              <a:gd name="connsiteX16725" fmla="*/ 6555816 w 8079933"/>
              <a:gd name="connsiteY16725" fmla="*/ 1672888 h 4687251"/>
              <a:gd name="connsiteX16726" fmla="*/ 6551041 w 8079933"/>
              <a:gd name="connsiteY16726" fmla="*/ 1668015 h 4687251"/>
              <a:gd name="connsiteX16727" fmla="*/ 6540732 w 8079933"/>
              <a:gd name="connsiteY16727" fmla="*/ 1666283 h 4687251"/>
              <a:gd name="connsiteX16728" fmla="*/ 6531074 w 8079933"/>
              <a:gd name="connsiteY16728" fmla="*/ 1666283 h 4687251"/>
              <a:gd name="connsiteX16729" fmla="*/ 6523478 w 8079933"/>
              <a:gd name="connsiteY16729" fmla="*/ 1672129 h 4687251"/>
              <a:gd name="connsiteX16730" fmla="*/ 6512084 w 8079933"/>
              <a:gd name="connsiteY16730" fmla="*/ 1666717 h 4687251"/>
              <a:gd name="connsiteX16731" fmla="*/ 6512084 w 8079933"/>
              <a:gd name="connsiteY16731" fmla="*/ 1666717 h 4687251"/>
              <a:gd name="connsiteX16732" fmla="*/ 6523479 w 8079933"/>
              <a:gd name="connsiteY16732" fmla="*/ 1672131 h 4687251"/>
              <a:gd name="connsiteX16733" fmla="*/ 6531074 w 8079933"/>
              <a:gd name="connsiteY16733" fmla="*/ 1666284 h 4687251"/>
              <a:gd name="connsiteX16734" fmla="*/ 6540732 w 8079933"/>
              <a:gd name="connsiteY16734" fmla="*/ 1666284 h 4687251"/>
              <a:gd name="connsiteX16735" fmla="*/ 6551042 w 8079933"/>
              <a:gd name="connsiteY16735" fmla="*/ 1668017 h 4687251"/>
              <a:gd name="connsiteX16736" fmla="*/ 6555816 w 8079933"/>
              <a:gd name="connsiteY16736" fmla="*/ 1672889 h 4687251"/>
              <a:gd name="connsiteX16737" fmla="*/ 6561785 w 8079933"/>
              <a:gd name="connsiteY16737" fmla="*/ 1663902 h 4687251"/>
              <a:gd name="connsiteX16738" fmla="*/ 6561025 w 8079933"/>
              <a:gd name="connsiteY16738" fmla="*/ 1658705 h 4687251"/>
              <a:gd name="connsiteX16739" fmla="*/ 6561351 w 8079933"/>
              <a:gd name="connsiteY16739" fmla="*/ 1654266 h 4687251"/>
              <a:gd name="connsiteX16740" fmla="*/ 6567970 w 8079933"/>
              <a:gd name="connsiteY16740" fmla="*/ 1652209 h 4687251"/>
              <a:gd name="connsiteX16741" fmla="*/ 6570358 w 8079933"/>
              <a:gd name="connsiteY16741" fmla="*/ 1650152 h 4687251"/>
              <a:gd name="connsiteX16742" fmla="*/ 6581100 w 8079933"/>
              <a:gd name="connsiteY16742" fmla="*/ 1652858 h 4687251"/>
              <a:gd name="connsiteX16743" fmla="*/ 6581100 w 8079933"/>
              <a:gd name="connsiteY16743" fmla="*/ 1652858 h 4687251"/>
              <a:gd name="connsiteX16744" fmla="*/ 6942322 w 8079933"/>
              <a:gd name="connsiteY16744" fmla="*/ 1648712 h 4687251"/>
              <a:gd name="connsiteX16745" fmla="*/ 6942134 w 8079933"/>
              <a:gd name="connsiteY16745" fmla="*/ 1651017 h 4687251"/>
              <a:gd name="connsiteX16746" fmla="*/ 6940832 w 8079933"/>
              <a:gd name="connsiteY16746" fmla="*/ 1654482 h 4687251"/>
              <a:gd name="connsiteX16747" fmla="*/ 6941334 w 8079933"/>
              <a:gd name="connsiteY16747" fmla="*/ 1655252 h 4687251"/>
              <a:gd name="connsiteX16748" fmla="*/ 6942352 w 8079933"/>
              <a:gd name="connsiteY16748" fmla="*/ 1652751 h 4687251"/>
              <a:gd name="connsiteX16749" fmla="*/ 6942352 w 8079933"/>
              <a:gd name="connsiteY16749" fmla="*/ 1648745 h 4687251"/>
              <a:gd name="connsiteX16750" fmla="*/ 5074177 w 8079933"/>
              <a:gd name="connsiteY16750" fmla="*/ 1648706 h 4687251"/>
              <a:gd name="connsiteX16751" fmla="*/ 5074237 w 8079933"/>
              <a:gd name="connsiteY16751" fmla="*/ 1648852 h 4687251"/>
              <a:gd name="connsiteX16752" fmla="*/ 5079555 w 8079933"/>
              <a:gd name="connsiteY16752" fmla="*/ 1652425 h 4687251"/>
              <a:gd name="connsiteX16753" fmla="*/ 5088236 w 8079933"/>
              <a:gd name="connsiteY16753" fmla="*/ 1649719 h 4687251"/>
              <a:gd name="connsiteX16754" fmla="*/ 5092106 w 8079933"/>
              <a:gd name="connsiteY16754" fmla="*/ 1649826 h 4687251"/>
              <a:gd name="connsiteX16755" fmla="*/ 5091818 w 8079933"/>
              <a:gd name="connsiteY16755" fmla="*/ 1649395 h 4687251"/>
              <a:gd name="connsiteX16756" fmla="*/ 5087802 w 8079933"/>
              <a:gd name="connsiteY16756" fmla="*/ 1649395 h 4687251"/>
              <a:gd name="connsiteX16757" fmla="*/ 5079229 w 8079933"/>
              <a:gd name="connsiteY16757" fmla="*/ 1652101 h 4687251"/>
              <a:gd name="connsiteX16758" fmla="*/ 2731906 w 8079933"/>
              <a:gd name="connsiteY16758" fmla="*/ 1642356 h 4687251"/>
              <a:gd name="connsiteX16759" fmla="*/ 2731906 w 8079933"/>
              <a:gd name="connsiteY16759" fmla="*/ 1643980 h 4687251"/>
              <a:gd name="connsiteX16760" fmla="*/ 2731906 w 8079933"/>
              <a:gd name="connsiteY16760" fmla="*/ 1646362 h 4687251"/>
              <a:gd name="connsiteX16761" fmla="*/ 2733968 w 8079933"/>
              <a:gd name="connsiteY16761" fmla="*/ 1646362 h 4687251"/>
              <a:gd name="connsiteX16762" fmla="*/ 2733968 w 8079933"/>
              <a:gd name="connsiteY16762" fmla="*/ 1644738 h 4687251"/>
              <a:gd name="connsiteX16763" fmla="*/ 2736681 w 8079933"/>
              <a:gd name="connsiteY16763" fmla="*/ 1643655 h 4687251"/>
              <a:gd name="connsiteX16764" fmla="*/ 2739828 w 8079933"/>
              <a:gd name="connsiteY16764" fmla="*/ 1643655 h 4687251"/>
              <a:gd name="connsiteX16765" fmla="*/ 2739828 w 8079933"/>
              <a:gd name="connsiteY16765" fmla="*/ 1649610 h 4687251"/>
              <a:gd name="connsiteX16766" fmla="*/ 2738200 w 8079933"/>
              <a:gd name="connsiteY16766" fmla="*/ 1652209 h 4687251"/>
              <a:gd name="connsiteX16767" fmla="*/ 2736356 w 8079933"/>
              <a:gd name="connsiteY16767" fmla="*/ 1653183 h 4687251"/>
              <a:gd name="connsiteX16768" fmla="*/ 2732883 w 8079933"/>
              <a:gd name="connsiteY16768" fmla="*/ 1651234 h 4687251"/>
              <a:gd name="connsiteX16769" fmla="*/ 2729410 w 8079933"/>
              <a:gd name="connsiteY16769" fmla="*/ 1650476 h 4687251"/>
              <a:gd name="connsiteX16770" fmla="*/ 2727023 w 8079933"/>
              <a:gd name="connsiteY16770" fmla="*/ 1651018 h 4687251"/>
              <a:gd name="connsiteX16771" fmla="*/ 2725938 w 8079933"/>
              <a:gd name="connsiteY16771" fmla="*/ 1653183 h 4687251"/>
              <a:gd name="connsiteX16772" fmla="*/ 2727348 w 8079933"/>
              <a:gd name="connsiteY16772" fmla="*/ 1654590 h 4687251"/>
              <a:gd name="connsiteX16773" fmla="*/ 2727999 w 8079933"/>
              <a:gd name="connsiteY16773" fmla="*/ 1657947 h 4687251"/>
              <a:gd name="connsiteX16774" fmla="*/ 2730061 w 8079933"/>
              <a:gd name="connsiteY16774" fmla="*/ 1656323 h 4687251"/>
              <a:gd name="connsiteX16775" fmla="*/ 2731689 w 8079933"/>
              <a:gd name="connsiteY16775" fmla="*/ 1656323 h 4687251"/>
              <a:gd name="connsiteX16776" fmla="*/ 2733208 w 8079933"/>
              <a:gd name="connsiteY16776" fmla="*/ 1658488 h 4687251"/>
              <a:gd name="connsiteX16777" fmla="*/ 2732014 w 8079933"/>
              <a:gd name="connsiteY16777" fmla="*/ 1660978 h 4687251"/>
              <a:gd name="connsiteX16778" fmla="*/ 2727565 w 8079933"/>
              <a:gd name="connsiteY16778" fmla="*/ 1665417 h 4687251"/>
              <a:gd name="connsiteX16779" fmla="*/ 2724853 w 8079933"/>
              <a:gd name="connsiteY16779" fmla="*/ 1669965 h 4687251"/>
              <a:gd name="connsiteX16780" fmla="*/ 2723550 w 8079933"/>
              <a:gd name="connsiteY16780" fmla="*/ 1668016 h 4687251"/>
              <a:gd name="connsiteX16781" fmla="*/ 2724201 w 8079933"/>
              <a:gd name="connsiteY16781" fmla="*/ 1665959 h 4687251"/>
              <a:gd name="connsiteX16782" fmla="*/ 2724201 w 8079933"/>
              <a:gd name="connsiteY16782" fmla="*/ 1663360 h 4687251"/>
              <a:gd name="connsiteX16783" fmla="*/ 2722899 w 8079933"/>
              <a:gd name="connsiteY16783" fmla="*/ 1666176 h 4687251"/>
              <a:gd name="connsiteX16784" fmla="*/ 2721380 w 8079933"/>
              <a:gd name="connsiteY16784" fmla="*/ 1668774 h 4687251"/>
              <a:gd name="connsiteX16785" fmla="*/ 2721380 w 8079933"/>
              <a:gd name="connsiteY16785" fmla="*/ 1670831 h 4687251"/>
              <a:gd name="connsiteX16786" fmla="*/ 2720729 w 8079933"/>
              <a:gd name="connsiteY16786" fmla="*/ 1672347 h 4687251"/>
              <a:gd name="connsiteX16787" fmla="*/ 2718450 w 8079933"/>
              <a:gd name="connsiteY16787" fmla="*/ 1673105 h 4687251"/>
              <a:gd name="connsiteX16788" fmla="*/ 2716605 w 8079933"/>
              <a:gd name="connsiteY16788" fmla="*/ 1675811 h 4687251"/>
              <a:gd name="connsiteX16789" fmla="*/ 2713892 w 8079933"/>
              <a:gd name="connsiteY16789" fmla="*/ 1677761 h 4687251"/>
              <a:gd name="connsiteX16790" fmla="*/ 2711831 w 8079933"/>
              <a:gd name="connsiteY16790" fmla="*/ 1681767 h 4687251"/>
              <a:gd name="connsiteX16791" fmla="*/ 2710311 w 8079933"/>
              <a:gd name="connsiteY16791" fmla="*/ 1683282 h 4687251"/>
              <a:gd name="connsiteX16792" fmla="*/ 2708141 w 8079933"/>
              <a:gd name="connsiteY16792" fmla="*/ 1685339 h 4687251"/>
              <a:gd name="connsiteX16793" fmla="*/ 2708141 w 8079933"/>
              <a:gd name="connsiteY16793" fmla="*/ 1687180 h 4687251"/>
              <a:gd name="connsiteX16794" fmla="*/ 2705103 w 8079933"/>
              <a:gd name="connsiteY16794" fmla="*/ 1690320 h 4687251"/>
              <a:gd name="connsiteX16795" fmla="*/ 2703149 w 8079933"/>
              <a:gd name="connsiteY16795" fmla="*/ 1694326 h 4687251"/>
              <a:gd name="connsiteX16796" fmla="*/ 2703149 w 8079933"/>
              <a:gd name="connsiteY16796" fmla="*/ 1696600 h 4687251"/>
              <a:gd name="connsiteX16797" fmla="*/ 2700979 w 8079933"/>
              <a:gd name="connsiteY16797" fmla="*/ 1699955 h 4687251"/>
              <a:gd name="connsiteX16798" fmla="*/ 2700328 w 8079933"/>
              <a:gd name="connsiteY16798" fmla="*/ 1703096 h 4687251"/>
              <a:gd name="connsiteX16799" fmla="*/ 2700328 w 8079933"/>
              <a:gd name="connsiteY16799" fmla="*/ 1706885 h 4687251"/>
              <a:gd name="connsiteX16800" fmla="*/ 2702932 w 8079933"/>
              <a:gd name="connsiteY16800" fmla="*/ 1704070 h 4687251"/>
              <a:gd name="connsiteX16801" fmla="*/ 2706296 w 8079933"/>
              <a:gd name="connsiteY16801" fmla="*/ 1701904 h 4687251"/>
              <a:gd name="connsiteX16802" fmla="*/ 2707165 w 8079933"/>
              <a:gd name="connsiteY16802" fmla="*/ 1699306 h 4687251"/>
              <a:gd name="connsiteX16803" fmla="*/ 2709443 w 8079933"/>
              <a:gd name="connsiteY16803" fmla="*/ 1697791 h 4687251"/>
              <a:gd name="connsiteX16804" fmla="*/ 2712373 w 8079933"/>
              <a:gd name="connsiteY16804" fmla="*/ 1694651 h 4687251"/>
              <a:gd name="connsiteX16805" fmla="*/ 2714326 w 8079933"/>
              <a:gd name="connsiteY16805" fmla="*/ 1691727 h 4687251"/>
              <a:gd name="connsiteX16806" fmla="*/ 2717256 w 8079933"/>
              <a:gd name="connsiteY16806" fmla="*/ 1689453 h 4687251"/>
              <a:gd name="connsiteX16807" fmla="*/ 2719752 w 8079933"/>
              <a:gd name="connsiteY16807" fmla="*/ 1688804 h 4687251"/>
              <a:gd name="connsiteX16808" fmla="*/ 2719752 w 8079933"/>
              <a:gd name="connsiteY16808" fmla="*/ 1689778 h 4687251"/>
              <a:gd name="connsiteX16809" fmla="*/ 2718450 w 8079933"/>
              <a:gd name="connsiteY16809" fmla="*/ 1690969 h 4687251"/>
              <a:gd name="connsiteX16810" fmla="*/ 2716605 w 8079933"/>
              <a:gd name="connsiteY16810" fmla="*/ 1694975 h 4687251"/>
              <a:gd name="connsiteX16811" fmla="*/ 2718450 w 8079933"/>
              <a:gd name="connsiteY16811" fmla="*/ 1693568 h 4687251"/>
              <a:gd name="connsiteX16812" fmla="*/ 2720404 w 8079933"/>
              <a:gd name="connsiteY16812" fmla="*/ 1693568 h 4687251"/>
              <a:gd name="connsiteX16813" fmla="*/ 2723985 w 8079933"/>
              <a:gd name="connsiteY16813" fmla="*/ 1696383 h 4687251"/>
              <a:gd name="connsiteX16814" fmla="*/ 2726371 w 8079933"/>
              <a:gd name="connsiteY16814" fmla="*/ 1697141 h 4687251"/>
              <a:gd name="connsiteX16815" fmla="*/ 2730387 w 8079933"/>
              <a:gd name="connsiteY16815" fmla="*/ 1695950 h 4687251"/>
              <a:gd name="connsiteX16816" fmla="*/ 2731689 w 8079933"/>
              <a:gd name="connsiteY16816" fmla="*/ 1695300 h 4687251"/>
              <a:gd name="connsiteX16817" fmla="*/ 2731689 w 8079933"/>
              <a:gd name="connsiteY16817" fmla="*/ 1697249 h 4687251"/>
              <a:gd name="connsiteX16818" fmla="*/ 2729627 w 8079933"/>
              <a:gd name="connsiteY16818" fmla="*/ 1699523 h 4687251"/>
              <a:gd name="connsiteX16819" fmla="*/ 2726155 w 8079933"/>
              <a:gd name="connsiteY16819" fmla="*/ 1700281 h 4687251"/>
              <a:gd name="connsiteX16820" fmla="*/ 2724310 w 8079933"/>
              <a:gd name="connsiteY16820" fmla="*/ 1701363 h 4687251"/>
              <a:gd name="connsiteX16821" fmla="*/ 2720295 w 8079933"/>
              <a:gd name="connsiteY16821" fmla="*/ 1701363 h 4687251"/>
              <a:gd name="connsiteX16822" fmla="*/ 2716605 w 8079933"/>
              <a:gd name="connsiteY16822" fmla="*/ 1704503 h 4687251"/>
              <a:gd name="connsiteX16823" fmla="*/ 2714869 w 8079933"/>
              <a:gd name="connsiteY16823" fmla="*/ 1707426 h 4687251"/>
              <a:gd name="connsiteX16824" fmla="*/ 2718124 w 8079933"/>
              <a:gd name="connsiteY16824" fmla="*/ 1704828 h 4687251"/>
              <a:gd name="connsiteX16825" fmla="*/ 2719969 w 8079933"/>
              <a:gd name="connsiteY16825" fmla="*/ 1704828 h 4687251"/>
              <a:gd name="connsiteX16826" fmla="*/ 2721488 w 8079933"/>
              <a:gd name="connsiteY16826" fmla="*/ 1704828 h 4687251"/>
              <a:gd name="connsiteX16827" fmla="*/ 2720404 w 8079933"/>
              <a:gd name="connsiteY16827" fmla="*/ 1707968 h 4687251"/>
              <a:gd name="connsiteX16828" fmla="*/ 2717907 w 8079933"/>
              <a:gd name="connsiteY16828" fmla="*/ 1711865 h 4687251"/>
              <a:gd name="connsiteX16829" fmla="*/ 2714001 w 8079933"/>
              <a:gd name="connsiteY16829" fmla="*/ 1714464 h 4687251"/>
              <a:gd name="connsiteX16830" fmla="*/ 2714001 w 8079933"/>
              <a:gd name="connsiteY16830" fmla="*/ 1715547 h 4687251"/>
              <a:gd name="connsiteX16831" fmla="*/ 2715846 w 8079933"/>
              <a:gd name="connsiteY16831" fmla="*/ 1715547 h 4687251"/>
              <a:gd name="connsiteX16832" fmla="*/ 2719427 w 8079933"/>
              <a:gd name="connsiteY16832" fmla="*/ 1712624 h 4687251"/>
              <a:gd name="connsiteX16833" fmla="*/ 2720512 w 8079933"/>
              <a:gd name="connsiteY16833" fmla="*/ 1712624 h 4687251"/>
              <a:gd name="connsiteX16834" fmla="*/ 2721814 w 8079933"/>
              <a:gd name="connsiteY16834" fmla="*/ 1716305 h 4687251"/>
              <a:gd name="connsiteX16835" fmla="*/ 2723442 w 8079933"/>
              <a:gd name="connsiteY16835" fmla="*/ 1716305 h 4687251"/>
              <a:gd name="connsiteX16836" fmla="*/ 2727348 w 8079933"/>
              <a:gd name="connsiteY16836" fmla="*/ 1712732 h 4687251"/>
              <a:gd name="connsiteX16837" fmla="*/ 2730387 w 8079933"/>
              <a:gd name="connsiteY16837" fmla="*/ 1712191 h 4687251"/>
              <a:gd name="connsiteX16838" fmla="*/ 2730387 w 8079933"/>
              <a:gd name="connsiteY16838" fmla="*/ 1713165 h 4687251"/>
              <a:gd name="connsiteX16839" fmla="*/ 2729736 w 8079933"/>
              <a:gd name="connsiteY16839" fmla="*/ 1715655 h 4687251"/>
              <a:gd name="connsiteX16840" fmla="*/ 2728108 w 8079933"/>
              <a:gd name="connsiteY16840" fmla="*/ 1717279 h 4687251"/>
              <a:gd name="connsiteX16841" fmla="*/ 2728976 w 8079933"/>
              <a:gd name="connsiteY16841" fmla="*/ 1718903 h 4687251"/>
              <a:gd name="connsiteX16842" fmla="*/ 2731581 w 8079933"/>
              <a:gd name="connsiteY16842" fmla="*/ 1716196 h 4687251"/>
              <a:gd name="connsiteX16843" fmla="*/ 2732774 w 8079933"/>
              <a:gd name="connsiteY16843" fmla="*/ 1713922 h 4687251"/>
              <a:gd name="connsiteX16844" fmla="*/ 2735379 w 8079933"/>
              <a:gd name="connsiteY16844" fmla="*/ 1712840 h 4687251"/>
              <a:gd name="connsiteX16845" fmla="*/ 2736464 w 8079933"/>
              <a:gd name="connsiteY16845" fmla="*/ 1713489 h 4687251"/>
              <a:gd name="connsiteX16846" fmla="*/ 2733859 w 8079933"/>
              <a:gd name="connsiteY16846" fmla="*/ 1717928 h 4687251"/>
              <a:gd name="connsiteX16847" fmla="*/ 2733317 w 8079933"/>
              <a:gd name="connsiteY16847" fmla="*/ 1723883 h 4687251"/>
              <a:gd name="connsiteX16848" fmla="*/ 2731038 w 8079933"/>
              <a:gd name="connsiteY16848" fmla="*/ 1726373 h 4687251"/>
              <a:gd name="connsiteX16849" fmla="*/ 2734185 w 8079933"/>
              <a:gd name="connsiteY16849" fmla="*/ 1724100 h 4687251"/>
              <a:gd name="connsiteX16850" fmla="*/ 2734836 w 8079933"/>
              <a:gd name="connsiteY16850" fmla="*/ 1719553 h 4687251"/>
              <a:gd name="connsiteX16851" fmla="*/ 2737983 w 8079933"/>
              <a:gd name="connsiteY16851" fmla="*/ 1717496 h 4687251"/>
              <a:gd name="connsiteX16852" fmla="*/ 2739502 w 8079933"/>
              <a:gd name="connsiteY16852" fmla="*/ 1719011 h 4687251"/>
              <a:gd name="connsiteX16853" fmla="*/ 2741998 w 8079933"/>
              <a:gd name="connsiteY16853" fmla="*/ 1718037 h 4687251"/>
              <a:gd name="connsiteX16854" fmla="*/ 2743300 w 8079933"/>
              <a:gd name="connsiteY16854" fmla="*/ 1716521 h 4687251"/>
              <a:gd name="connsiteX16855" fmla="*/ 2744711 w 8079933"/>
              <a:gd name="connsiteY16855" fmla="*/ 1717928 h 4687251"/>
              <a:gd name="connsiteX16856" fmla="*/ 2746013 w 8079933"/>
              <a:gd name="connsiteY16856" fmla="*/ 1717496 h 4687251"/>
              <a:gd name="connsiteX16857" fmla="*/ 2747641 w 8079933"/>
              <a:gd name="connsiteY16857" fmla="*/ 1715005 h 4687251"/>
              <a:gd name="connsiteX16858" fmla="*/ 2750896 w 8079933"/>
              <a:gd name="connsiteY16858" fmla="*/ 1712515 h 4687251"/>
              <a:gd name="connsiteX16859" fmla="*/ 2752416 w 8079933"/>
              <a:gd name="connsiteY16859" fmla="*/ 1712515 h 4687251"/>
              <a:gd name="connsiteX16860" fmla="*/ 2750788 w 8079933"/>
              <a:gd name="connsiteY16860" fmla="*/ 1715763 h 4687251"/>
              <a:gd name="connsiteX16861" fmla="*/ 2749703 w 8079933"/>
              <a:gd name="connsiteY16861" fmla="*/ 1718037 h 4687251"/>
              <a:gd name="connsiteX16862" fmla="*/ 2750788 w 8079933"/>
              <a:gd name="connsiteY16862" fmla="*/ 1719553 h 4687251"/>
              <a:gd name="connsiteX16863" fmla="*/ 2750137 w 8079933"/>
              <a:gd name="connsiteY16863" fmla="*/ 1723450 h 4687251"/>
              <a:gd name="connsiteX16864" fmla="*/ 2748509 w 8079933"/>
              <a:gd name="connsiteY16864" fmla="*/ 1725508 h 4687251"/>
              <a:gd name="connsiteX16865" fmla="*/ 2751114 w 8079933"/>
              <a:gd name="connsiteY16865" fmla="*/ 1723559 h 4687251"/>
              <a:gd name="connsiteX16866" fmla="*/ 2751982 w 8079933"/>
              <a:gd name="connsiteY16866" fmla="*/ 1719769 h 4687251"/>
              <a:gd name="connsiteX16867" fmla="*/ 2753718 w 8079933"/>
              <a:gd name="connsiteY16867" fmla="*/ 1716412 h 4687251"/>
              <a:gd name="connsiteX16868" fmla="*/ 2753718 w 8079933"/>
              <a:gd name="connsiteY16868" fmla="*/ 1714031 h 4687251"/>
              <a:gd name="connsiteX16869" fmla="*/ 2755671 w 8079933"/>
              <a:gd name="connsiteY16869" fmla="*/ 1714031 h 4687251"/>
              <a:gd name="connsiteX16870" fmla="*/ 2759687 w 8079933"/>
              <a:gd name="connsiteY16870" fmla="*/ 1713057 h 4687251"/>
              <a:gd name="connsiteX16871" fmla="*/ 2763593 w 8079933"/>
              <a:gd name="connsiteY16871" fmla="*/ 1713057 h 4687251"/>
              <a:gd name="connsiteX16872" fmla="*/ 2767608 w 8079933"/>
              <a:gd name="connsiteY16872" fmla="*/ 1716846 h 4687251"/>
              <a:gd name="connsiteX16873" fmla="*/ 2770429 w 8079933"/>
              <a:gd name="connsiteY16873" fmla="*/ 1718470 h 4687251"/>
              <a:gd name="connsiteX16874" fmla="*/ 2770429 w 8079933"/>
              <a:gd name="connsiteY16874" fmla="*/ 1720852 h 4687251"/>
              <a:gd name="connsiteX16875" fmla="*/ 2768693 w 8079933"/>
              <a:gd name="connsiteY16875" fmla="*/ 1722476 h 4687251"/>
              <a:gd name="connsiteX16876" fmla="*/ 2768693 w 8079933"/>
              <a:gd name="connsiteY16876" fmla="*/ 1725508 h 4687251"/>
              <a:gd name="connsiteX16877" fmla="*/ 2766414 w 8079933"/>
              <a:gd name="connsiteY16877" fmla="*/ 1727024 h 4687251"/>
              <a:gd name="connsiteX16878" fmla="*/ 2764135 w 8079933"/>
              <a:gd name="connsiteY16878" fmla="*/ 1727024 h 4687251"/>
              <a:gd name="connsiteX16879" fmla="*/ 2762725 w 8079933"/>
              <a:gd name="connsiteY16879" fmla="*/ 1728756 h 4687251"/>
              <a:gd name="connsiteX16880" fmla="*/ 2759578 w 8079933"/>
              <a:gd name="connsiteY16880" fmla="*/ 1730272 h 4687251"/>
              <a:gd name="connsiteX16881" fmla="*/ 2755562 w 8079933"/>
              <a:gd name="connsiteY16881" fmla="*/ 1731030 h 4687251"/>
              <a:gd name="connsiteX16882" fmla="*/ 2758059 w 8079933"/>
              <a:gd name="connsiteY16882" fmla="*/ 1732870 h 4687251"/>
              <a:gd name="connsiteX16883" fmla="*/ 2753718 w 8079933"/>
              <a:gd name="connsiteY16883" fmla="*/ 1732870 h 4687251"/>
              <a:gd name="connsiteX16884" fmla="*/ 2758167 w 8079933"/>
              <a:gd name="connsiteY16884" fmla="*/ 1733520 h 4687251"/>
              <a:gd name="connsiteX16885" fmla="*/ 2760988 w 8079933"/>
              <a:gd name="connsiteY16885" fmla="*/ 1732546 h 4687251"/>
              <a:gd name="connsiteX16886" fmla="*/ 2762508 w 8079933"/>
              <a:gd name="connsiteY16886" fmla="*/ 1732546 h 4687251"/>
              <a:gd name="connsiteX16887" fmla="*/ 2762508 w 8079933"/>
              <a:gd name="connsiteY16887" fmla="*/ 1735144 h 4687251"/>
              <a:gd name="connsiteX16888" fmla="*/ 2761531 w 8079933"/>
              <a:gd name="connsiteY16888" fmla="*/ 1737634 h 4687251"/>
              <a:gd name="connsiteX16889" fmla="*/ 2763376 w 8079933"/>
              <a:gd name="connsiteY16889" fmla="*/ 1735577 h 4687251"/>
              <a:gd name="connsiteX16890" fmla="*/ 2765003 w 8079933"/>
              <a:gd name="connsiteY16890" fmla="*/ 1736335 h 4687251"/>
              <a:gd name="connsiteX16891" fmla="*/ 2763593 w 8079933"/>
              <a:gd name="connsiteY16891" fmla="*/ 1739691 h 4687251"/>
              <a:gd name="connsiteX16892" fmla="*/ 2761640 w 8079933"/>
              <a:gd name="connsiteY16892" fmla="*/ 1741423 h 4687251"/>
              <a:gd name="connsiteX16893" fmla="*/ 2763376 w 8079933"/>
              <a:gd name="connsiteY16893" fmla="*/ 1742506 h 4687251"/>
              <a:gd name="connsiteX16894" fmla="*/ 2762291 w 8079933"/>
              <a:gd name="connsiteY16894" fmla="*/ 1743913 h 4687251"/>
              <a:gd name="connsiteX16895" fmla="*/ 2759903 w 8079933"/>
              <a:gd name="connsiteY16895" fmla="*/ 1746295 h 4687251"/>
              <a:gd name="connsiteX16896" fmla="*/ 2757516 w 8079933"/>
              <a:gd name="connsiteY16896" fmla="*/ 1747595 h 4687251"/>
              <a:gd name="connsiteX16897" fmla="*/ 2759903 w 8079933"/>
              <a:gd name="connsiteY16897" fmla="*/ 1747595 h 4687251"/>
              <a:gd name="connsiteX16898" fmla="*/ 2761423 w 8079933"/>
              <a:gd name="connsiteY16898" fmla="*/ 1746079 h 4687251"/>
              <a:gd name="connsiteX16899" fmla="*/ 2761423 w 8079933"/>
              <a:gd name="connsiteY16899" fmla="*/ 1748894 h 4687251"/>
              <a:gd name="connsiteX16900" fmla="*/ 2760663 w 8079933"/>
              <a:gd name="connsiteY16900" fmla="*/ 1750843 h 4687251"/>
              <a:gd name="connsiteX16901" fmla="*/ 2762291 w 8079933"/>
              <a:gd name="connsiteY16901" fmla="*/ 1750085 h 4687251"/>
              <a:gd name="connsiteX16902" fmla="*/ 2762291 w 8079933"/>
              <a:gd name="connsiteY16902" fmla="*/ 1747703 h 4687251"/>
              <a:gd name="connsiteX16903" fmla="*/ 2764569 w 8079933"/>
              <a:gd name="connsiteY16903" fmla="*/ 1746295 h 4687251"/>
              <a:gd name="connsiteX16904" fmla="*/ 2767608 w 8079933"/>
              <a:gd name="connsiteY16904" fmla="*/ 1744022 h 4687251"/>
              <a:gd name="connsiteX16905" fmla="*/ 2769453 w 8079933"/>
              <a:gd name="connsiteY16905" fmla="*/ 1744022 h 4687251"/>
              <a:gd name="connsiteX16906" fmla="*/ 2771298 w 8079933"/>
              <a:gd name="connsiteY16906" fmla="*/ 1743048 h 4687251"/>
              <a:gd name="connsiteX16907" fmla="*/ 2771298 w 8079933"/>
              <a:gd name="connsiteY16907" fmla="*/ 1739907 h 4687251"/>
              <a:gd name="connsiteX16908" fmla="*/ 2771298 w 8079933"/>
              <a:gd name="connsiteY16908" fmla="*/ 1737959 h 4687251"/>
              <a:gd name="connsiteX16909" fmla="*/ 2773902 w 8079933"/>
              <a:gd name="connsiteY16909" fmla="*/ 1737959 h 4687251"/>
              <a:gd name="connsiteX16910" fmla="*/ 2774553 w 8079933"/>
              <a:gd name="connsiteY16910" fmla="*/ 1739475 h 4687251"/>
              <a:gd name="connsiteX16911" fmla="*/ 2776940 w 8079933"/>
              <a:gd name="connsiteY16911" fmla="*/ 1737959 h 4687251"/>
              <a:gd name="connsiteX16912" fmla="*/ 2779979 w 8079933"/>
              <a:gd name="connsiteY16912" fmla="*/ 1734710 h 4687251"/>
              <a:gd name="connsiteX16913" fmla="*/ 2781173 w 8079933"/>
              <a:gd name="connsiteY16913" fmla="*/ 1737093 h 4687251"/>
              <a:gd name="connsiteX16914" fmla="*/ 2781173 w 8079933"/>
              <a:gd name="connsiteY16914" fmla="*/ 1740449 h 4687251"/>
              <a:gd name="connsiteX16915" fmla="*/ 2779762 w 8079933"/>
              <a:gd name="connsiteY16915" fmla="*/ 1743481 h 4687251"/>
              <a:gd name="connsiteX16916" fmla="*/ 2775421 w 8079933"/>
              <a:gd name="connsiteY16916" fmla="*/ 1746187 h 4687251"/>
              <a:gd name="connsiteX16917" fmla="*/ 2774336 w 8079933"/>
              <a:gd name="connsiteY16917" fmla="*/ 1744888 h 4687251"/>
              <a:gd name="connsiteX16918" fmla="*/ 2770755 w 8079933"/>
              <a:gd name="connsiteY16918" fmla="*/ 1744888 h 4687251"/>
              <a:gd name="connsiteX16919" fmla="*/ 2769236 w 8079933"/>
              <a:gd name="connsiteY16919" fmla="*/ 1748894 h 4687251"/>
              <a:gd name="connsiteX16920" fmla="*/ 2765655 w 8079933"/>
              <a:gd name="connsiteY16920" fmla="*/ 1751817 h 4687251"/>
              <a:gd name="connsiteX16921" fmla="*/ 2764461 w 8079933"/>
              <a:gd name="connsiteY16921" fmla="*/ 1752791 h 4687251"/>
              <a:gd name="connsiteX16922" fmla="*/ 2760446 w 8079933"/>
              <a:gd name="connsiteY16922" fmla="*/ 1752791 h 4687251"/>
              <a:gd name="connsiteX16923" fmla="*/ 2759143 w 8079933"/>
              <a:gd name="connsiteY16923" fmla="*/ 1753658 h 4687251"/>
              <a:gd name="connsiteX16924" fmla="*/ 2759143 w 8079933"/>
              <a:gd name="connsiteY16924" fmla="*/ 1754839 h 4687251"/>
              <a:gd name="connsiteX16925" fmla="*/ 2763485 w 8079933"/>
              <a:gd name="connsiteY16925" fmla="*/ 1756149 h 4687251"/>
              <a:gd name="connsiteX16926" fmla="*/ 2762834 w 8079933"/>
              <a:gd name="connsiteY16926" fmla="*/ 1757773 h 4687251"/>
              <a:gd name="connsiteX16927" fmla="*/ 2760759 w 8079933"/>
              <a:gd name="connsiteY16927" fmla="*/ 1757773 h 4687251"/>
              <a:gd name="connsiteX16928" fmla="*/ 2760988 w 8079933"/>
              <a:gd name="connsiteY16928" fmla="*/ 1757989 h 4687251"/>
              <a:gd name="connsiteX16929" fmla="*/ 2764787 w 8079933"/>
              <a:gd name="connsiteY16929" fmla="*/ 1758746 h 4687251"/>
              <a:gd name="connsiteX16930" fmla="*/ 2761097 w 8079933"/>
              <a:gd name="connsiteY16930" fmla="*/ 1758746 h 4687251"/>
              <a:gd name="connsiteX16931" fmla="*/ 2758818 w 8079933"/>
              <a:gd name="connsiteY16931" fmla="*/ 1758746 h 4687251"/>
              <a:gd name="connsiteX16932" fmla="*/ 2762400 w 8079933"/>
              <a:gd name="connsiteY16932" fmla="*/ 1760046 h 4687251"/>
              <a:gd name="connsiteX16933" fmla="*/ 2764244 w 8079933"/>
              <a:gd name="connsiteY16933" fmla="*/ 1760046 h 4687251"/>
              <a:gd name="connsiteX16934" fmla="*/ 2761531 w 8079933"/>
              <a:gd name="connsiteY16934" fmla="*/ 1764268 h 4687251"/>
              <a:gd name="connsiteX16935" fmla="*/ 2760012 w 8079933"/>
              <a:gd name="connsiteY16935" fmla="*/ 1764268 h 4687251"/>
              <a:gd name="connsiteX16936" fmla="*/ 2758275 w 8079933"/>
              <a:gd name="connsiteY16936" fmla="*/ 1761670 h 4687251"/>
              <a:gd name="connsiteX16937" fmla="*/ 2758275 w 8079933"/>
              <a:gd name="connsiteY16937" fmla="*/ 1764485 h 4687251"/>
              <a:gd name="connsiteX16938" fmla="*/ 2759361 w 8079933"/>
              <a:gd name="connsiteY16938" fmla="*/ 1767191 h 4687251"/>
              <a:gd name="connsiteX16939" fmla="*/ 2759361 w 8079933"/>
              <a:gd name="connsiteY16939" fmla="*/ 1769574 h 4687251"/>
              <a:gd name="connsiteX16940" fmla="*/ 2762616 w 8079933"/>
              <a:gd name="connsiteY16940" fmla="*/ 1772389 h 4687251"/>
              <a:gd name="connsiteX16941" fmla="*/ 2764895 w 8079933"/>
              <a:gd name="connsiteY16941" fmla="*/ 1770764 h 4687251"/>
              <a:gd name="connsiteX16942" fmla="*/ 2764895 w 8079933"/>
              <a:gd name="connsiteY16942" fmla="*/ 1769032 h 4687251"/>
              <a:gd name="connsiteX16943" fmla="*/ 2769670 w 8079933"/>
              <a:gd name="connsiteY16943" fmla="*/ 1765351 h 4687251"/>
              <a:gd name="connsiteX16944" fmla="*/ 2770321 w 8079933"/>
              <a:gd name="connsiteY16944" fmla="*/ 1762970 h 4687251"/>
              <a:gd name="connsiteX16945" fmla="*/ 2773251 w 8079933"/>
              <a:gd name="connsiteY16945" fmla="*/ 1760262 h 4687251"/>
              <a:gd name="connsiteX16946" fmla="*/ 2775964 w 8079933"/>
              <a:gd name="connsiteY16946" fmla="*/ 1760262 h 4687251"/>
              <a:gd name="connsiteX16947" fmla="*/ 2778894 w 8079933"/>
              <a:gd name="connsiteY16947" fmla="*/ 1758746 h 4687251"/>
              <a:gd name="connsiteX16948" fmla="*/ 2780521 w 8079933"/>
              <a:gd name="connsiteY16948" fmla="*/ 1758746 h 4687251"/>
              <a:gd name="connsiteX16949" fmla="*/ 2782583 w 8079933"/>
              <a:gd name="connsiteY16949" fmla="*/ 1756906 h 4687251"/>
              <a:gd name="connsiteX16950" fmla="*/ 2783560 w 8079933"/>
              <a:gd name="connsiteY16950" fmla="*/ 1759288 h 4687251"/>
              <a:gd name="connsiteX16951" fmla="*/ 2781824 w 8079933"/>
              <a:gd name="connsiteY16951" fmla="*/ 1760262 h 4687251"/>
              <a:gd name="connsiteX16952" fmla="*/ 2780630 w 8079933"/>
              <a:gd name="connsiteY16952" fmla="*/ 1760262 h 4687251"/>
              <a:gd name="connsiteX16953" fmla="*/ 2777049 w 8079933"/>
              <a:gd name="connsiteY16953" fmla="*/ 1763511 h 4687251"/>
              <a:gd name="connsiteX16954" fmla="*/ 2776180 w 8079933"/>
              <a:gd name="connsiteY16954" fmla="*/ 1765134 h 4687251"/>
              <a:gd name="connsiteX16955" fmla="*/ 2772166 w 8079933"/>
              <a:gd name="connsiteY16955" fmla="*/ 1768274 h 4687251"/>
              <a:gd name="connsiteX16956" fmla="*/ 2772166 w 8079933"/>
              <a:gd name="connsiteY16956" fmla="*/ 1771956 h 4687251"/>
              <a:gd name="connsiteX16957" fmla="*/ 2771514 w 8079933"/>
              <a:gd name="connsiteY16957" fmla="*/ 1775312 h 4687251"/>
              <a:gd name="connsiteX16958" fmla="*/ 2773034 w 8079933"/>
              <a:gd name="connsiteY16958" fmla="*/ 1778235 h 4687251"/>
              <a:gd name="connsiteX16959" fmla="*/ 2774987 w 8079933"/>
              <a:gd name="connsiteY16959" fmla="*/ 1777586 h 4687251"/>
              <a:gd name="connsiteX16960" fmla="*/ 2777808 w 8079933"/>
              <a:gd name="connsiteY16960" fmla="*/ 1774337 h 4687251"/>
              <a:gd name="connsiteX16961" fmla="*/ 2781064 w 8079933"/>
              <a:gd name="connsiteY16961" fmla="*/ 1772172 h 4687251"/>
              <a:gd name="connsiteX16962" fmla="*/ 2782692 w 8079933"/>
              <a:gd name="connsiteY16962" fmla="*/ 1768599 h 4687251"/>
              <a:gd name="connsiteX16963" fmla="*/ 2782692 w 8079933"/>
              <a:gd name="connsiteY16963" fmla="*/ 1766867 h 4687251"/>
              <a:gd name="connsiteX16964" fmla="*/ 2783994 w 8079933"/>
              <a:gd name="connsiteY16964" fmla="*/ 1766867 h 4687251"/>
              <a:gd name="connsiteX16965" fmla="*/ 2783994 w 8079933"/>
              <a:gd name="connsiteY16965" fmla="*/ 1769357 h 4687251"/>
              <a:gd name="connsiteX16966" fmla="*/ 2783994 w 8079933"/>
              <a:gd name="connsiteY16966" fmla="*/ 1776286 h 4687251"/>
              <a:gd name="connsiteX16967" fmla="*/ 2781607 w 8079933"/>
              <a:gd name="connsiteY16967" fmla="*/ 1780076 h 4687251"/>
              <a:gd name="connsiteX16968" fmla="*/ 2777592 w 8079933"/>
              <a:gd name="connsiteY16968" fmla="*/ 1785489 h 4687251"/>
              <a:gd name="connsiteX16969" fmla="*/ 2776615 w 8079933"/>
              <a:gd name="connsiteY16969" fmla="*/ 1789279 h 4687251"/>
              <a:gd name="connsiteX16970" fmla="*/ 2777808 w 8079933"/>
              <a:gd name="connsiteY16970" fmla="*/ 1791661 h 4687251"/>
              <a:gd name="connsiteX16971" fmla="*/ 2777049 w 8079933"/>
              <a:gd name="connsiteY16971" fmla="*/ 1793718 h 4687251"/>
              <a:gd name="connsiteX16972" fmla="*/ 2776072 w 8079933"/>
              <a:gd name="connsiteY16972" fmla="*/ 1793718 h 4687251"/>
              <a:gd name="connsiteX16973" fmla="*/ 2776072 w 8079933"/>
              <a:gd name="connsiteY16973" fmla="*/ 1794368 h 4687251"/>
              <a:gd name="connsiteX16974" fmla="*/ 2775204 w 8079933"/>
              <a:gd name="connsiteY16974" fmla="*/ 1796641 h 4687251"/>
              <a:gd name="connsiteX16975" fmla="*/ 2773794 w 8079933"/>
              <a:gd name="connsiteY16975" fmla="*/ 1796641 h 4687251"/>
              <a:gd name="connsiteX16976" fmla="*/ 2773794 w 8079933"/>
              <a:gd name="connsiteY16976" fmla="*/ 1799023 h 4687251"/>
              <a:gd name="connsiteX16977" fmla="*/ 2770646 w 8079933"/>
              <a:gd name="connsiteY16977" fmla="*/ 1801080 h 4687251"/>
              <a:gd name="connsiteX16978" fmla="*/ 2768585 w 8079933"/>
              <a:gd name="connsiteY16978" fmla="*/ 1800431 h 4687251"/>
              <a:gd name="connsiteX16979" fmla="*/ 2766631 w 8079933"/>
              <a:gd name="connsiteY16979" fmla="*/ 1797291 h 4687251"/>
              <a:gd name="connsiteX16980" fmla="*/ 2764461 w 8079933"/>
              <a:gd name="connsiteY16980" fmla="*/ 1797291 h 4687251"/>
              <a:gd name="connsiteX16981" fmla="*/ 2762400 w 8079933"/>
              <a:gd name="connsiteY16981" fmla="*/ 1799565 h 4687251"/>
              <a:gd name="connsiteX16982" fmla="*/ 2761748 w 8079933"/>
              <a:gd name="connsiteY16982" fmla="*/ 1802813 h 4687251"/>
              <a:gd name="connsiteX16983" fmla="*/ 2759469 w 8079933"/>
              <a:gd name="connsiteY16983" fmla="*/ 1800755 h 4687251"/>
              <a:gd name="connsiteX16984" fmla="*/ 2759469 w 8079933"/>
              <a:gd name="connsiteY16984" fmla="*/ 1796533 h 4687251"/>
              <a:gd name="connsiteX16985" fmla="*/ 2758493 w 8079933"/>
              <a:gd name="connsiteY16985" fmla="*/ 1795017 h 4687251"/>
              <a:gd name="connsiteX16986" fmla="*/ 2759469 w 8079933"/>
              <a:gd name="connsiteY16986" fmla="*/ 1791769 h 4687251"/>
              <a:gd name="connsiteX16987" fmla="*/ 2759469 w 8079933"/>
              <a:gd name="connsiteY16987" fmla="*/ 1788954 h 4687251"/>
              <a:gd name="connsiteX16988" fmla="*/ 2763485 w 8079933"/>
              <a:gd name="connsiteY16988" fmla="*/ 1784731 h 4687251"/>
              <a:gd name="connsiteX16989" fmla="*/ 2766306 w 8079933"/>
              <a:gd name="connsiteY16989" fmla="*/ 1784082 h 4687251"/>
              <a:gd name="connsiteX16990" fmla="*/ 2766306 w 8079933"/>
              <a:gd name="connsiteY16990" fmla="*/ 1782458 h 4687251"/>
              <a:gd name="connsiteX16991" fmla="*/ 2762508 w 8079933"/>
              <a:gd name="connsiteY16991" fmla="*/ 1782458 h 4687251"/>
              <a:gd name="connsiteX16992" fmla="*/ 2761856 w 8079933"/>
              <a:gd name="connsiteY16992" fmla="*/ 1780942 h 4687251"/>
              <a:gd name="connsiteX16993" fmla="*/ 2760120 w 8079933"/>
              <a:gd name="connsiteY16993" fmla="*/ 1783432 h 4687251"/>
              <a:gd name="connsiteX16994" fmla="*/ 2756865 w 8079933"/>
              <a:gd name="connsiteY16994" fmla="*/ 1787330 h 4687251"/>
              <a:gd name="connsiteX16995" fmla="*/ 2755129 w 8079933"/>
              <a:gd name="connsiteY16995" fmla="*/ 1787330 h 4687251"/>
              <a:gd name="connsiteX16996" fmla="*/ 2751982 w 8079933"/>
              <a:gd name="connsiteY16996" fmla="*/ 1793502 h 4687251"/>
              <a:gd name="connsiteX16997" fmla="*/ 2748509 w 8079933"/>
              <a:gd name="connsiteY16997" fmla="*/ 1795559 h 4687251"/>
              <a:gd name="connsiteX16998" fmla="*/ 2746230 w 8079933"/>
              <a:gd name="connsiteY16998" fmla="*/ 1794801 h 4687251"/>
              <a:gd name="connsiteX16999" fmla="*/ 2746230 w 8079933"/>
              <a:gd name="connsiteY16999" fmla="*/ 1791986 h 4687251"/>
              <a:gd name="connsiteX17000" fmla="*/ 2747641 w 8079933"/>
              <a:gd name="connsiteY17000" fmla="*/ 1790686 h 4687251"/>
              <a:gd name="connsiteX17001" fmla="*/ 2747641 w 8079933"/>
              <a:gd name="connsiteY17001" fmla="*/ 1787546 h 4687251"/>
              <a:gd name="connsiteX17002" fmla="*/ 2750246 w 8079933"/>
              <a:gd name="connsiteY17002" fmla="*/ 1780725 h 4687251"/>
              <a:gd name="connsiteX17003" fmla="*/ 2753826 w 8079933"/>
              <a:gd name="connsiteY17003" fmla="*/ 1777802 h 4687251"/>
              <a:gd name="connsiteX17004" fmla="*/ 2754912 w 8079933"/>
              <a:gd name="connsiteY17004" fmla="*/ 1775312 h 4687251"/>
              <a:gd name="connsiteX17005" fmla="*/ 2753718 w 8079933"/>
              <a:gd name="connsiteY17005" fmla="*/ 1773038 h 4687251"/>
              <a:gd name="connsiteX17006" fmla="*/ 2754369 w 8079933"/>
              <a:gd name="connsiteY17006" fmla="*/ 1769682 h 4687251"/>
              <a:gd name="connsiteX17007" fmla="*/ 2755129 w 8079933"/>
              <a:gd name="connsiteY17007" fmla="*/ 1766975 h 4687251"/>
              <a:gd name="connsiteX17008" fmla="*/ 2755129 w 8079933"/>
              <a:gd name="connsiteY17008" fmla="*/ 1762319 h 4687251"/>
              <a:gd name="connsiteX17009" fmla="*/ 2753392 w 8079933"/>
              <a:gd name="connsiteY17009" fmla="*/ 1760803 h 4687251"/>
              <a:gd name="connsiteX17010" fmla="*/ 2751873 w 8079933"/>
              <a:gd name="connsiteY17010" fmla="*/ 1760803 h 4687251"/>
              <a:gd name="connsiteX17011" fmla="*/ 2750137 w 8079933"/>
              <a:gd name="connsiteY17011" fmla="*/ 1759180 h 4687251"/>
              <a:gd name="connsiteX17012" fmla="*/ 2748726 w 8079933"/>
              <a:gd name="connsiteY17012" fmla="*/ 1759180 h 4687251"/>
              <a:gd name="connsiteX17013" fmla="*/ 2747641 w 8079933"/>
              <a:gd name="connsiteY17013" fmla="*/ 1760587 h 4687251"/>
              <a:gd name="connsiteX17014" fmla="*/ 2747641 w 8079933"/>
              <a:gd name="connsiteY17014" fmla="*/ 1765027 h 4687251"/>
              <a:gd name="connsiteX17015" fmla="*/ 2745362 w 8079933"/>
              <a:gd name="connsiteY17015" fmla="*/ 1769682 h 4687251"/>
              <a:gd name="connsiteX17016" fmla="*/ 2743517 w 8079933"/>
              <a:gd name="connsiteY17016" fmla="*/ 1775095 h 4687251"/>
              <a:gd name="connsiteX17017" fmla="*/ 2741455 w 8079933"/>
              <a:gd name="connsiteY17017" fmla="*/ 1776611 h 4687251"/>
              <a:gd name="connsiteX17018" fmla="*/ 2738960 w 8079933"/>
              <a:gd name="connsiteY17018" fmla="*/ 1776611 h 4687251"/>
              <a:gd name="connsiteX17019" fmla="*/ 2741673 w 8079933"/>
              <a:gd name="connsiteY17019" fmla="*/ 1774987 h 4687251"/>
              <a:gd name="connsiteX17020" fmla="*/ 2738525 w 8079933"/>
              <a:gd name="connsiteY17020" fmla="*/ 1774987 h 4687251"/>
              <a:gd name="connsiteX17021" fmla="*/ 2736572 w 8079933"/>
              <a:gd name="connsiteY17021" fmla="*/ 1773472 h 4687251"/>
              <a:gd name="connsiteX17022" fmla="*/ 2734619 w 8079933"/>
              <a:gd name="connsiteY17022" fmla="*/ 1774662 h 4687251"/>
              <a:gd name="connsiteX17023" fmla="*/ 2730604 w 8079933"/>
              <a:gd name="connsiteY17023" fmla="*/ 1779210 h 4687251"/>
              <a:gd name="connsiteX17024" fmla="*/ 2728868 w 8079933"/>
              <a:gd name="connsiteY17024" fmla="*/ 1779859 h 4687251"/>
              <a:gd name="connsiteX17025" fmla="*/ 2728216 w 8079933"/>
              <a:gd name="connsiteY17025" fmla="*/ 1782891 h 4687251"/>
              <a:gd name="connsiteX17026" fmla="*/ 2727240 w 8079933"/>
              <a:gd name="connsiteY17026" fmla="*/ 1785489 h 4687251"/>
              <a:gd name="connsiteX17027" fmla="*/ 2726263 w 8079933"/>
              <a:gd name="connsiteY17027" fmla="*/ 1785489 h 4687251"/>
              <a:gd name="connsiteX17028" fmla="*/ 2724853 w 8079933"/>
              <a:gd name="connsiteY17028" fmla="*/ 1788196 h 4687251"/>
              <a:gd name="connsiteX17029" fmla="*/ 2722790 w 8079933"/>
              <a:gd name="connsiteY17029" fmla="*/ 1790470 h 4687251"/>
              <a:gd name="connsiteX17030" fmla="*/ 2719318 w 8079933"/>
              <a:gd name="connsiteY17030" fmla="*/ 1791769 h 4687251"/>
              <a:gd name="connsiteX17031" fmla="*/ 2717799 w 8079933"/>
              <a:gd name="connsiteY17031" fmla="*/ 1790362 h 4687251"/>
              <a:gd name="connsiteX17032" fmla="*/ 2717799 w 8079933"/>
              <a:gd name="connsiteY17032" fmla="*/ 1788413 h 4687251"/>
              <a:gd name="connsiteX17033" fmla="*/ 2715954 w 8079933"/>
              <a:gd name="connsiteY17033" fmla="*/ 1788413 h 4687251"/>
              <a:gd name="connsiteX17034" fmla="*/ 2714435 w 8079933"/>
              <a:gd name="connsiteY17034" fmla="*/ 1789929 h 4687251"/>
              <a:gd name="connsiteX17035" fmla="*/ 2713132 w 8079933"/>
              <a:gd name="connsiteY17035" fmla="*/ 1791769 h 4687251"/>
              <a:gd name="connsiteX17036" fmla="*/ 2710094 w 8079933"/>
              <a:gd name="connsiteY17036" fmla="*/ 1791769 h 4687251"/>
              <a:gd name="connsiteX17037" fmla="*/ 2709118 w 8079933"/>
              <a:gd name="connsiteY17037" fmla="*/ 1790253 h 4687251"/>
              <a:gd name="connsiteX17038" fmla="*/ 2708033 w 8079933"/>
              <a:gd name="connsiteY17038" fmla="*/ 1788846 h 4687251"/>
              <a:gd name="connsiteX17039" fmla="*/ 2708683 w 8079933"/>
              <a:gd name="connsiteY17039" fmla="*/ 1787005 h 4687251"/>
              <a:gd name="connsiteX17040" fmla="*/ 2712156 w 8079933"/>
              <a:gd name="connsiteY17040" fmla="*/ 1784298 h 4687251"/>
              <a:gd name="connsiteX17041" fmla="*/ 2716280 w 8079933"/>
              <a:gd name="connsiteY17041" fmla="*/ 1783215 h 4687251"/>
              <a:gd name="connsiteX17042" fmla="*/ 2717907 w 8079933"/>
              <a:gd name="connsiteY17042" fmla="*/ 1781700 h 4687251"/>
              <a:gd name="connsiteX17043" fmla="*/ 2718992 w 8079933"/>
              <a:gd name="connsiteY17043" fmla="*/ 1780076 h 4687251"/>
              <a:gd name="connsiteX17044" fmla="*/ 2720620 w 8079933"/>
              <a:gd name="connsiteY17044" fmla="*/ 1779426 h 4687251"/>
              <a:gd name="connsiteX17045" fmla="*/ 2723550 w 8079933"/>
              <a:gd name="connsiteY17045" fmla="*/ 1779426 h 4687251"/>
              <a:gd name="connsiteX17046" fmla="*/ 2724310 w 8079933"/>
              <a:gd name="connsiteY17046" fmla="*/ 1777586 h 4687251"/>
              <a:gd name="connsiteX17047" fmla="*/ 2725612 w 8079933"/>
              <a:gd name="connsiteY17047" fmla="*/ 1776936 h 4687251"/>
              <a:gd name="connsiteX17048" fmla="*/ 2725612 w 8079933"/>
              <a:gd name="connsiteY17048" fmla="*/ 1775095 h 4687251"/>
              <a:gd name="connsiteX17049" fmla="*/ 2727891 w 8079933"/>
              <a:gd name="connsiteY17049" fmla="*/ 1772605 h 4687251"/>
              <a:gd name="connsiteX17050" fmla="*/ 2731906 w 8079933"/>
              <a:gd name="connsiteY17050" fmla="*/ 1772605 h 4687251"/>
              <a:gd name="connsiteX17051" fmla="*/ 2735921 w 8079933"/>
              <a:gd name="connsiteY17051" fmla="*/ 1770873 h 4687251"/>
              <a:gd name="connsiteX17052" fmla="*/ 2735921 w 8079933"/>
              <a:gd name="connsiteY17052" fmla="*/ 1769357 h 4687251"/>
              <a:gd name="connsiteX17053" fmla="*/ 2738634 w 8079933"/>
              <a:gd name="connsiteY17053" fmla="*/ 1767625 h 4687251"/>
              <a:gd name="connsiteX17054" fmla="*/ 2735487 w 8079933"/>
              <a:gd name="connsiteY17054" fmla="*/ 1767625 h 4687251"/>
              <a:gd name="connsiteX17055" fmla="*/ 2733208 w 8079933"/>
              <a:gd name="connsiteY17055" fmla="*/ 1769032 h 4687251"/>
              <a:gd name="connsiteX17056" fmla="*/ 2730604 w 8079933"/>
              <a:gd name="connsiteY17056" fmla="*/ 1769682 h 4687251"/>
              <a:gd name="connsiteX17057" fmla="*/ 2728759 w 8079933"/>
              <a:gd name="connsiteY17057" fmla="*/ 1767625 h 4687251"/>
              <a:gd name="connsiteX17058" fmla="*/ 2725178 w 8079933"/>
              <a:gd name="connsiteY17058" fmla="*/ 1766975 h 4687251"/>
              <a:gd name="connsiteX17059" fmla="*/ 2723225 w 8079933"/>
              <a:gd name="connsiteY17059" fmla="*/ 1765676 h 4687251"/>
              <a:gd name="connsiteX17060" fmla="*/ 2723225 w 8079933"/>
              <a:gd name="connsiteY17060" fmla="*/ 1768166 h 4687251"/>
              <a:gd name="connsiteX17061" fmla="*/ 2721705 w 8079933"/>
              <a:gd name="connsiteY17061" fmla="*/ 1771414 h 4687251"/>
              <a:gd name="connsiteX17062" fmla="*/ 2718992 w 8079933"/>
              <a:gd name="connsiteY17062" fmla="*/ 1772064 h 4687251"/>
              <a:gd name="connsiteX17063" fmla="*/ 2717256 w 8079933"/>
              <a:gd name="connsiteY17063" fmla="*/ 1773363 h 4687251"/>
              <a:gd name="connsiteX17064" fmla="*/ 2716171 w 8079933"/>
              <a:gd name="connsiteY17064" fmla="*/ 1771956 h 4687251"/>
              <a:gd name="connsiteX17065" fmla="*/ 2713458 w 8079933"/>
              <a:gd name="connsiteY17065" fmla="*/ 1771956 h 4687251"/>
              <a:gd name="connsiteX17066" fmla="*/ 2712590 w 8079933"/>
              <a:gd name="connsiteY17066" fmla="*/ 1770548 h 4687251"/>
              <a:gd name="connsiteX17067" fmla="*/ 2709877 w 8079933"/>
              <a:gd name="connsiteY17067" fmla="*/ 1770548 h 4687251"/>
              <a:gd name="connsiteX17068" fmla="*/ 2708575 w 8079933"/>
              <a:gd name="connsiteY17068" fmla="*/ 1771306 h 4687251"/>
              <a:gd name="connsiteX17069" fmla="*/ 2707273 w 8079933"/>
              <a:gd name="connsiteY17069" fmla="*/ 1770331 h 4687251"/>
              <a:gd name="connsiteX17070" fmla="*/ 2711722 w 8079933"/>
              <a:gd name="connsiteY17070" fmla="*/ 1768491 h 4687251"/>
              <a:gd name="connsiteX17071" fmla="*/ 2716388 w 8079933"/>
              <a:gd name="connsiteY17071" fmla="*/ 1765568 h 4687251"/>
              <a:gd name="connsiteX17072" fmla="*/ 2716388 w 8079933"/>
              <a:gd name="connsiteY17072" fmla="*/ 1764593 h 4687251"/>
              <a:gd name="connsiteX17073" fmla="*/ 2715194 w 8079933"/>
              <a:gd name="connsiteY17073" fmla="*/ 1764593 h 4687251"/>
              <a:gd name="connsiteX17074" fmla="*/ 2712264 w 8079933"/>
              <a:gd name="connsiteY17074" fmla="*/ 1765243 h 4687251"/>
              <a:gd name="connsiteX17075" fmla="*/ 2712264 w 8079933"/>
              <a:gd name="connsiteY17075" fmla="*/ 1763402 h 4687251"/>
              <a:gd name="connsiteX17076" fmla="*/ 2713784 w 8079933"/>
              <a:gd name="connsiteY17076" fmla="*/ 1760912 h 4687251"/>
              <a:gd name="connsiteX17077" fmla="*/ 2713784 w 8079933"/>
              <a:gd name="connsiteY17077" fmla="*/ 1758097 h 4687251"/>
              <a:gd name="connsiteX17078" fmla="*/ 2712807 w 8079933"/>
              <a:gd name="connsiteY17078" fmla="*/ 1758097 h 4687251"/>
              <a:gd name="connsiteX17079" fmla="*/ 2710203 w 8079933"/>
              <a:gd name="connsiteY17079" fmla="*/ 1760803 h 4687251"/>
              <a:gd name="connsiteX17080" fmla="*/ 2709118 w 8079933"/>
              <a:gd name="connsiteY17080" fmla="*/ 1763185 h 4687251"/>
              <a:gd name="connsiteX17081" fmla="*/ 2708250 w 8079933"/>
              <a:gd name="connsiteY17081" fmla="*/ 1762103 h 4687251"/>
              <a:gd name="connsiteX17082" fmla="*/ 2709443 w 8079933"/>
              <a:gd name="connsiteY17082" fmla="*/ 1757556 h 4687251"/>
              <a:gd name="connsiteX17083" fmla="*/ 2710528 w 8079933"/>
              <a:gd name="connsiteY17083" fmla="*/ 1756473 h 4687251"/>
              <a:gd name="connsiteX17084" fmla="*/ 2708901 w 8079933"/>
              <a:gd name="connsiteY17084" fmla="*/ 1756473 h 4687251"/>
              <a:gd name="connsiteX17085" fmla="*/ 2707381 w 8079933"/>
              <a:gd name="connsiteY17085" fmla="*/ 1759180 h 4687251"/>
              <a:gd name="connsiteX17086" fmla="*/ 2706079 w 8079933"/>
              <a:gd name="connsiteY17086" fmla="*/ 1757772 h 4687251"/>
              <a:gd name="connsiteX17087" fmla="*/ 2706079 w 8079933"/>
              <a:gd name="connsiteY17087" fmla="*/ 1761345 h 4687251"/>
              <a:gd name="connsiteX17088" fmla="*/ 2706079 w 8079933"/>
              <a:gd name="connsiteY17088" fmla="*/ 1763294 h 4687251"/>
              <a:gd name="connsiteX17089" fmla="*/ 2705211 w 8079933"/>
              <a:gd name="connsiteY17089" fmla="*/ 1765351 h 4687251"/>
              <a:gd name="connsiteX17090" fmla="*/ 2702932 w 8079933"/>
              <a:gd name="connsiteY17090" fmla="*/ 1764268 h 4687251"/>
              <a:gd name="connsiteX17091" fmla="*/ 2700653 w 8079933"/>
              <a:gd name="connsiteY17091" fmla="*/ 1764268 h 4687251"/>
              <a:gd name="connsiteX17092" fmla="*/ 2699134 w 8079933"/>
              <a:gd name="connsiteY17092" fmla="*/ 1766001 h 4687251"/>
              <a:gd name="connsiteX17093" fmla="*/ 2697181 w 8079933"/>
              <a:gd name="connsiteY17093" fmla="*/ 1766001 h 4687251"/>
              <a:gd name="connsiteX17094" fmla="*/ 2695879 w 8079933"/>
              <a:gd name="connsiteY17094" fmla="*/ 1764701 h 4687251"/>
              <a:gd name="connsiteX17095" fmla="*/ 2692189 w 8079933"/>
              <a:gd name="connsiteY17095" fmla="*/ 1764701 h 4687251"/>
              <a:gd name="connsiteX17096" fmla="*/ 2692189 w 8079933"/>
              <a:gd name="connsiteY17096" fmla="*/ 1766217 h 4687251"/>
              <a:gd name="connsiteX17097" fmla="*/ 2690236 w 8079933"/>
              <a:gd name="connsiteY17097" fmla="*/ 1767625 h 4687251"/>
              <a:gd name="connsiteX17098" fmla="*/ 2687523 w 8079933"/>
              <a:gd name="connsiteY17098" fmla="*/ 1767625 h 4687251"/>
              <a:gd name="connsiteX17099" fmla="*/ 2686655 w 8079933"/>
              <a:gd name="connsiteY17099" fmla="*/ 1766217 h 4687251"/>
              <a:gd name="connsiteX17100" fmla="*/ 2685135 w 8079933"/>
              <a:gd name="connsiteY17100" fmla="*/ 1766867 h 4687251"/>
              <a:gd name="connsiteX17101" fmla="*/ 2680903 w 8079933"/>
              <a:gd name="connsiteY17101" fmla="*/ 1766867 h 4687251"/>
              <a:gd name="connsiteX17102" fmla="*/ 2679167 w 8079933"/>
              <a:gd name="connsiteY17102" fmla="*/ 1764918 h 4687251"/>
              <a:gd name="connsiteX17103" fmla="*/ 2678407 w 8079933"/>
              <a:gd name="connsiteY17103" fmla="*/ 1763294 h 4687251"/>
              <a:gd name="connsiteX17104" fmla="*/ 2674609 w 8079933"/>
              <a:gd name="connsiteY17104" fmla="*/ 1764377 h 4687251"/>
              <a:gd name="connsiteX17105" fmla="*/ 2668424 w 8079933"/>
              <a:gd name="connsiteY17105" fmla="*/ 1764377 h 4687251"/>
              <a:gd name="connsiteX17106" fmla="*/ 2666796 w 8079933"/>
              <a:gd name="connsiteY17106" fmla="*/ 1761995 h 4687251"/>
              <a:gd name="connsiteX17107" fmla="*/ 2663215 w 8079933"/>
              <a:gd name="connsiteY17107" fmla="*/ 1763402 h 4687251"/>
              <a:gd name="connsiteX17108" fmla="*/ 2658332 w 8079933"/>
              <a:gd name="connsiteY17108" fmla="*/ 1762428 h 4687251"/>
              <a:gd name="connsiteX17109" fmla="*/ 2660610 w 8079933"/>
              <a:gd name="connsiteY17109" fmla="*/ 1759180 h 4687251"/>
              <a:gd name="connsiteX17110" fmla="*/ 2660610 w 8079933"/>
              <a:gd name="connsiteY17110" fmla="*/ 1757664 h 4687251"/>
              <a:gd name="connsiteX17111" fmla="*/ 2659742 w 8079933"/>
              <a:gd name="connsiteY17111" fmla="*/ 1759613 h 4687251"/>
              <a:gd name="connsiteX17112" fmla="*/ 2656596 w 8079933"/>
              <a:gd name="connsiteY17112" fmla="*/ 1762319 h 4687251"/>
              <a:gd name="connsiteX17113" fmla="*/ 2652580 w 8079933"/>
              <a:gd name="connsiteY17113" fmla="*/ 1762319 h 4687251"/>
              <a:gd name="connsiteX17114" fmla="*/ 2649325 w 8079933"/>
              <a:gd name="connsiteY17114" fmla="*/ 1764918 h 4687251"/>
              <a:gd name="connsiteX17115" fmla="*/ 2644007 w 8079933"/>
              <a:gd name="connsiteY17115" fmla="*/ 1765676 h 4687251"/>
              <a:gd name="connsiteX17116" fmla="*/ 2639341 w 8079933"/>
              <a:gd name="connsiteY17116" fmla="*/ 1764160 h 4687251"/>
              <a:gd name="connsiteX17117" fmla="*/ 2636737 w 8079933"/>
              <a:gd name="connsiteY17117" fmla="*/ 1764160 h 4687251"/>
              <a:gd name="connsiteX17118" fmla="*/ 2635978 w 8079933"/>
              <a:gd name="connsiteY17118" fmla="*/ 1762319 h 4687251"/>
              <a:gd name="connsiteX17119" fmla="*/ 2636954 w 8079933"/>
              <a:gd name="connsiteY17119" fmla="*/ 1758855 h 4687251"/>
              <a:gd name="connsiteX17120" fmla="*/ 2635869 w 8079933"/>
              <a:gd name="connsiteY17120" fmla="*/ 1756364 h 4687251"/>
              <a:gd name="connsiteX17121" fmla="*/ 2636846 w 8079933"/>
              <a:gd name="connsiteY17121" fmla="*/ 1753983 h 4687251"/>
              <a:gd name="connsiteX17122" fmla="*/ 2639559 w 8079933"/>
              <a:gd name="connsiteY17122" fmla="*/ 1753983 h 4687251"/>
              <a:gd name="connsiteX17123" fmla="*/ 2644116 w 8079933"/>
              <a:gd name="connsiteY17123" fmla="*/ 1749977 h 4687251"/>
              <a:gd name="connsiteX17124" fmla="*/ 2649542 w 8079933"/>
              <a:gd name="connsiteY17124" fmla="*/ 1747162 h 4687251"/>
              <a:gd name="connsiteX17125" fmla="*/ 2652255 w 8079933"/>
              <a:gd name="connsiteY17125" fmla="*/ 1742723 h 4687251"/>
              <a:gd name="connsiteX17126" fmla="*/ 2656704 w 8079933"/>
              <a:gd name="connsiteY17126" fmla="*/ 1737201 h 4687251"/>
              <a:gd name="connsiteX17127" fmla="*/ 2659851 w 8079933"/>
              <a:gd name="connsiteY17127" fmla="*/ 1734061 h 4687251"/>
              <a:gd name="connsiteX17128" fmla="*/ 2654643 w 8079933"/>
              <a:gd name="connsiteY17128" fmla="*/ 1734061 h 4687251"/>
              <a:gd name="connsiteX17129" fmla="*/ 2648023 w 8079933"/>
              <a:gd name="connsiteY17129" fmla="*/ 1734819 h 4687251"/>
              <a:gd name="connsiteX17130" fmla="*/ 2644658 w 8079933"/>
              <a:gd name="connsiteY17130" fmla="*/ 1735901 h 4687251"/>
              <a:gd name="connsiteX17131" fmla="*/ 2642922 w 8079933"/>
              <a:gd name="connsiteY17131" fmla="*/ 1735901 h 4687251"/>
              <a:gd name="connsiteX17132" fmla="*/ 2645201 w 8079933"/>
              <a:gd name="connsiteY17132" fmla="*/ 1730163 h 4687251"/>
              <a:gd name="connsiteX17133" fmla="*/ 2650736 w 8079933"/>
              <a:gd name="connsiteY17133" fmla="*/ 1726915 h 4687251"/>
              <a:gd name="connsiteX17134" fmla="*/ 2654099 w 8079933"/>
              <a:gd name="connsiteY17134" fmla="*/ 1724533 h 4687251"/>
              <a:gd name="connsiteX17135" fmla="*/ 2655184 w 8079933"/>
              <a:gd name="connsiteY17135" fmla="*/ 1723234 h 4687251"/>
              <a:gd name="connsiteX17136" fmla="*/ 2654208 w 8079933"/>
              <a:gd name="connsiteY17136" fmla="*/ 1725508 h 4687251"/>
              <a:gd name="connsiteX17137" fmla="*/ 2651495 w 8079933"/>
              <a:gd name="connsiteY17137" fmla="*/ 1727456 h 4687251"/>
              <a:gd name="connsiteX17138" fmla="*/ 2650844 w 8079933"/>
              <a:gd name="connsiteY17138" fmla="*/ 1729405 h 4687251"/>
              <a:gd name="connsiteX17139" fmla="*/ 2652689 w 8079933"/>
              <a:gd name="connsiteY17139" fmla="*/ 1732437 h 4687251"/>
              <a:gd name="connsiteX17140" fmla="*/ 2654208 w 8079933"/>
              <a:gd name="connsiteY17140" fmla="*/ 1729189 h 4687251"/>
              <a:gd name="connsiteX17141" fmla="*/ 2654208 w 8079933"/>
              <a:gd name="connsiteY17141" fmla="*/ 1732653 h 4687251"/>
              <a:gd name="connsiteX17142" fmla="*/ 2655619 w 8079933"/>
              <a:gd name="connsiteY17142" fmla="*/ 1732653 h 4687251"/>
              <a:gd name="connsiteX17143" fmla="*/ 2657897 w 8079933"/>
              <a:gd name="connsiteY17143" fmla="*/ 1729514 h 4687251"/>
              <a:gd name="connsiteX17144" fmla="*/ 2660285 w 8079933"/>
              <a:gd name="connsiteY17144" fmla="*/ 1724642 h 4687251"/>
              <a:gd name="connsiteX17145" fmla="*/ 2663107 w 8079933"/>
              <a:gd name="connsiteY17145" fmla="*/ 1721826 h 4687251"/>
              <a:gd name="connsiteX17146" fmla="*/ 2663107 w 8079933"/>
              <a:gd name="connsiteY17146" fmla="*/ 1719661 h 4687251"/>
              <a:gd name="connsiteX17147" fmla="*/ 2664191 w 8079933"/>
              <a:gd name="connsiteY17147" fmla="*/ 1718253 h 4687251"/>
              <a:gd name="connsiteX17148" fmla="*/ 2669292 w 8079933"/>
              <a:gd name="connsiteY17148" fmla="*/ 1719769 h 4687251"/>
              <a:gd name="connsiteX17149" fmla="*/ 2672004 w 8079933"/>
              <a:gd name="connsiteY17149" fmla="*/ 1717712 h 4687251"/>
              <a:gd name="connsiteX17150" fmla="*/ 2672004 w 8079933"/>
              <a:gd name="connsiteY17150" fmla="*/ 1715330 h 4687251"/>
              <a:gd name="connsiteX17151" fmla="*/ 2673524 w 8079933"/>
              <a:gd name="connsiteY17151" fmla="*/ 1714031 h 4687251"/>
              <a:gd name="connsiteX17152" fmla="*/ 2671788 w 8079933"/>
              <a:gd name="connsiteY17152" fmla="*/ 1712406 h 4687251"/>
              <a:gd name="connsiteX17153" fmla="*/ 2669292 w 8079933"/>
              <a:gd name="connsiteY17153" fmla="*/ 1712406 h 4687251"/>
              <a:gd name="connsiteX17154" fmla="*/ 2669292 w 8079933"/>
              <a:gd name="connsiteY17154" fmla="*/ 1710567 h 4687251"/>
              <a:gd name="connsiteX17155" fmla="*/ 2670920 w 8079933"/>
              <a:gd name="connsiteY17155" fmla="*/ 1707426 h 4687251"/>
              <a:gd name="connsiteX17156" fmla="*/ 2675261 w 8079933"/>
              <a:gd name="connsiteY17156" fmla="*/ 1705369 h 4687251"/>
              <a:gd name="connsiteX17157" fmla="*/ 2676671 w 8079933"/>
              <a:gd name="connsiteY17157" fmla="*/ 1705369 h 4687251"/>
              <a:gd name="connsiteX17158" fmla="*/ 2677648 w 8079933"/>
              <a:gd name="connsiteY17158" fmla="*/ 1706669 h 4687251"/>
              <a:gd name="connsiteX17159" fmla="*/ 2679167 w 8079933"/>
              <a:gd name="connsiteY17159" fmla="*/ 1706669 h 4687251"/>
              <a:gd name="connsiteX17160" fmla="*/ 2679167 w 8079933"/>
              <a:gd name="connsiteY17160" fmla="*/ 1704286 h 4687251"/>
              <a:gd name="connsiteX17161" fmla="*/ 2677322 w 8079933"/>
              <a:gd name="connsiteY17161" fmla="*/ 1702338 h 4687251"/>
              <a:gd name="connsiteX17162" fmla="*/ 2677322 w 8079933"/>
              <a:gd name="connsiteY17162" fmla="*/ 1699955 h 4687251"/>
              <a:gd name="connsiteX17163" fmla="*/ 2682314 w 8079933"/>
              <a:gd name="connsiteY17163" fmla="*/ 1692485 h 4687251"/>
              <a:gd name="connsiteX17164" fmla="*/ 2682965 w 8079933"/>
              <a:gd name="connsiteY17164" fmla="*/ 1689995 h 4687251"/>
              <a:gd name="connsiteX17165" fmla="*/ 2685678 w 8079933"/>
              <a:gd name="connsiteY17165" fmla="*/ 1685988 h 4687251"/>
              <a:gd name="connsiteX17166" fmla="*/ 2688391 w 8079933"/>
              <a:gd name="connsiteY17166" fmla="*/ 1685988 h 4687251"/>
              <a:gd name="connsiteX17167" fmla="*/ 2690778 w 8079933"/>
              <a:gd name="connsiteY17167" fmla="*/ 1684581 h 4687251"/>
              <a:gd name="connsiteX17168" fmla="*/ 2689368 w 8079933"/>
              <a:gd name="connsiteY17168" fmla="*/ 1683824 h 4687251"/>
              <a:gd name="connsiteX17169" fmla="*/ 2688174 w 8079933"/>
              <a:gd name="connsiteY17169" fmla="*/ 1683824 h 4687251"/>
              <a:gd name="connsiteX17170" fmla="*/ 2688174 w 8079933"/>
              <a:gd name="connsiteY17170" fmla="*/ 1681983 h 4687251"/>
              <a:gd name="connsiteX17171" fmla="*/ 2690453 w 8079933"/>
              <a:gd name="connsiteY17171" fmla="*/ 1678627 h 4687251"/>
              <a:gd name="connsiteX17172" fmla="*/ 2693491 w 8079933"/>
              <a:gd name="connsiteY17172" fmla="*/ 1678627 h 4687251"/>
              <a:gd name="connsiteX17173" fmla="*/ 2695227 w 8079933"/>
              <a:gd name="connsiteY17173" fmla="*/ 1677111 h 4687251"/>
              <a:gd name="connsiteX17174" fmla="*/ 2693274 w 8079933"/>
              <a:gd name="connsiteY17174" fmla="*/ 1676028 h 4687251"/>
              <a:gd name="connsiteX17175" fmla="*/ 2693274 w 8079933"/>
              <a:gd name="connsiteY17175" fmla="*/ 1673755 h 4687251"/>
              <a:gd name="connsiteX17176" fmla="*/ 2695227 w 8079933"/>
              <a:gd name="connsiteY17176" fmla="*/ 1673755 h 4687251"/>
              <a:gd name="connsiteX17177" fmla="*/ 2696421 w 8079933"/>
              <a:gd name="connsiteY17177" fmla="*/ 1672130 h 4687251"/>
              <a:gd name="connsiteX17178" fmla="*/ 2695770 w 8079933"/>
              <a:gd name="connsiteY17178" fmla="*/ 1670939 h 4687251"/>
              <a:gd name="connsiteX17179" fmla="*/ 2698266 w 8079933"/>
              <a:gd name="connsiteY17179" fmla="*/ 1669532 h 4687251"/>
              <a:gd name="connsiteX17180" fmla="*/ 2702498 w 8079933"/>
              <a:gd name="connsiteY17180" fmla="*/ 1666392 h 4687251"/>
              <a:gd name="connsiteX17181" fmla="*/ 2704668 w 8079933"/>
              <a:gd name="connsiteY17181" fmla="*/ 1663794 h 4687251"/>
              <a:gd name="connsiteX17182" fmla="*/ 2704668 w 8079933"/>
              <a:gd name="connsiteY17182" fmla="*/ 1661412 h 4687251"/>
              <a:gd name="connsiteX17183" fmla="*/ 2703475 w 8079933"/>
              <a:gd name="connsiteY17183" fmla="*/ 1659896 h 4687251"/>
              <a:gd name="connsiteX17184" fmla="*/ 2703475 w 8079933"/>
              <a:gd name="connsiteY17184" fmla="*/ 1659138 h 4687251"/>
              <a:gd name="connsiteX17185" fmla="*/ 2705537 w 8079933"/>
              <a:gd name="connsiteY17185" fmla="*/ 1659788 h 4687251"/>
              <a:gd name="connsiteX17186" fmla="*/ 2707924 w 8079933"/>
              <a:gd name="connsiteY17186" fmla="*/ 1659788 h 4687251"/>
              <a:gd name="connsiteX17187" fmla="*/ 2707924 w 8079933"/>
              <a:gd name="connsiteY17187" fmla="*/ 1656106 h 4687251"/>
              <a:gd name="connsiteX17188" fmla="*/ 2712156 w 8079933"/>
              <a:gd name="connsiteY17188" fmla="*/ 1652966 h 4687251"/>
              <a:gd name="connsiteX17189" fmla="*/ 2716280 w 8079933"/>
              <a:gd name="connsiteY17189" fmla="*/ 1650260 h 4687251"/>
              <a:gd name="connsiteX17190" fmla="*/ 2720186 w 8079933"/>
              <a:gd name="connsiteY17190" fmla="*/ 1650260 h 4687251"/>
              <a:gd name="connsiteX17191" fmla="*/ 2723008 w 8079933"/>
              <a:gd name="connsiteY17191" fmla="*/ 1648094 h 4687251"/>
              <a:gd name="connsiteX17192" fmla="*/ 2724635 w 8079933"/>
              <a:gd name="connsiteY17192" fmla="*/ 1646037 h 4687251"/>
              <a:gd name="connsiteX17193" fmla="*/ 2727565 w 8079933"/>
              <a:gd name="connsiteY17193" fmla="*/ 1646037 h 4687251"/>
              <a:gd name="connsiteX17194" fmla="*/ 2729844 w 8079933"/>
              <a:gd name="connsiteY17194" fmla="*/ 1643655 h 4687251"/>
              <a:gd name="connsiteX17195" fmla="*/ 5066967 w 8079933"/>
              <a:gd name="connsiteY17195" fmla="*/ 1642140 h 4687251"/>
              <a:gd name="connsiteX17196" fmla="*/ 5056658 w 8079933"/>
              <a:gd name="connsiteY17196" fmla="*/ 1646471 h 4687251"/>
              <a:gd name="connsiteX17197" fmla="*/ 5051992 w 8079933"/>
              <a:gd name="connsiteY17197" fmla="*/ 1646471 h 4687251"/>
              <a:gd name="connsiteX17198" fmla="*/ 5051341 w 8079933"/>
              <a:gd name="connsiteY17198" fmla="*/ 1649395 h 4687251"/>
              <a:gd name="connsiteX17199" fmla="*/ 5048193 w 8079933"/>
              <a:gd name="connsiteY17199" fmla="*/ 1652642 h 4687251"/>
              <a:gd name="connsiteX17200" fmla="*/ 5048193 w 8079933"/>
              <a:gd name="connsiteY17200" fmla="*/ 1648528 h 4687251"/>
              <a:gd name="connsiteX17201" fmla="*/ 5045706 w 8079933"/>
              <a:gd name="connsiteY17201" fmla="*/ 1650101 h 4687251"/>
              <a:gd name="connsiteX17202" fmla="*/ 5045589 w 8079933"/>
              <a:gd name="connsiteY17202" fmla="*/ 1650585 h 4687251"/>
              <a:gd name="connsiteX17203" fmla="*/ 5044505 w 8079933"/>
              <a:gd name="connsiteY17203" fmla="*/ 1651882 h 4687251"/>
              <a:gd name="connsiteX17204" fmla="*/ 5043744 w 8079933"/>
              <a:gd name="connsiteY17204" fmla="*/ 1654158 h 4687251"/>
              <a:gd name="connsiteX17205" fmla="*/ 5042649 w 8079933"/>
              <a:gd name="connsiteY17205" fmla="*/ 1654798 h 4687251"/>
              <a:gd name="connsiteX17206" fmla="*/ 5044721 w 8079933"/>
              <a:gd name="connsiteY17206" fmla="*/ 1656864 h 4687251"/>
              <a:gd name="connsiteX17207" fmla="*/ 5049278 w 8079933"/>
              <a:gd name="connsiteY17207" fmla="*/ 1654266 h 4687251"/>
              <a:gd name="connsiteX17208" fmla="*/ 5050472 w 8079933"/>
              <a:gd name="connsiteY17208" fmla="*/ 1650693 h 4687251"/>
              <a:gd name="connsiteX17209" fmla="*/ 5053727 w 8079933"/>
              <a:gd name="connsiteY17209" fmla="*/ 1648636 h 4687251"/>
              <a:gd name="connsiteX17210" fmla="*/ 5053944 w 8079933"/>
              <a:gd name="connsiteY17210" fmla="*/ 1652750 h 4687251"/>
              <a:gd name="connsiteX17211" fmla="*/ 5056983 w 8079933"/>
              <a:gd name="connsiteY17211" fmla="*/ 1649502 h 4687251"/>
              <a:gd name="connsiteX17212" fmla="*/ 5057742 w 8079933"/>
              <a:gd name="connsiteY17212" fmla="*/ 1646579 h 4687251"/>
              <a:gd name="connsiteX17213" fmla="*/ 5062300 w 8079933"/>
              <a:gd name="connsiteY17213" fmla="*/ 1646037 h 4687251"/>
              <a:gd name="connsiteX17214" fmla="*/ 5067292 w 8079933"/>
              <a:gd name="connsiteY17214" fmla="*/ 1642681 h 4687251"/>
              <a:gd name="connsiteX17215" fmla="*/ 5071444 w 8079933"/>
              <a:gd name="connsiteY17215" fmla="*/ 1642474 h 4687251"/>
              <a:gd name="connsiteX17216" fmla="*/ 5071308 w 8079933"/>
              <a:gd name="connsiteY17216" fmla="*/ 1642140 h 4687251"/>
              <a:gd name="connsiteX17217" fmla="*/ 5028119 w 8079933"/>
              <a:gd name="connsiteY17217" fmla="*/ 1640732 h 4687251"/>
              <a:gd name="connsiteX17218" fmla="*/ 5026924 w 8079933"/>
              <a:gd name="connsiteY17218" fmla="*/ 1643873 h 4687251"/>
              <a:gd name="connsiteX17219" fmla="*/ 5028119 w 8079933"/>
              <a:gd name="connsiteY17219" fmla="*/ 1648203 h 4687251"/>
              <a:gd name="connsiteX17220" fmla="*/ 5027632 w 8079933"/>
              <a:gd name="connsiteY17220" fmla="*/ 1651437 h 4687251"/>
              <a:gd name="connsiteX17221" fmla="*/ 5027901 w 8079933"/>
              <a:gd name="connsiteY17221" fmla="*/ 1651234 h 4687251"/>
              <a:gd name="connsiteX17222" fmla="*/ 5032892 w 8079933"/>
              <a:gd name="connsiteY17222" fmla="*/ 1652642 h 4687251"/>
              <a:gd name="connsiteX17223" fmla="*/ 5033544 w 8079933"/>
              <a:gd name="connsiteY17223" fmla="*/ 1648311 h 4687251"/>
              <a:gd name="connsiteX17224" fmla="*/ 5032349 w 8079933"/>
              <a:gd name="connsiteY17224" fmla="*/ 1643980 h 4687251"/>
              <a:gd name="connsiteX17225" fmla="*/ 5032599 w 8079933"/>
              <a:gd name="connsiteY17225" fmla="*/ 1643346 h 4687251"/>
              <a:gd name="connsiteX17226" fmla="*/ 4077077 w 8079933"/>
              <a:gd name="connsiteY17226" fmla="*/ 1640191 h 4687251"/>
              <a:gd name="connsiteX17227" fmla="*/ 4075016 w 8079933"/>
              <a:gd name="connsiteY17227" fmla="*/ 1644847 h 4687251"/>
              <a:gd name="connsiteX17228" fmla="*/ 4075775 w 8079933"/>
              <a:gd name="connsiteY17228" fmla="*/ 1647987 h 4687251"/>
              <a:gd name="connsiteX17229" fmla="*/ 4081635 w 8079933"/>
              <a:gd name="connsiteY17229" fmla="*/ 1647770 h 4687251"/>
              <a:gd name="connsiteX17230" fmla="*/ 4084022 w 8079933"/>
              <a:gd name="connsiteY17230" fmla="*/ 1650044 h 4687251"/>
              <a:gd name="connsiteX17231" fmla="*/ 4082612 w 8079933"/>
              <a:gd name="connsiteY17231" fmla="*/ 1652967 h 4687251"/>
              <a:gd name="connsiteX17232" fmla="*/ 4081960 w 8079933"/>
              <a:gd name="connsiteY17232" fmla="*/ 1658056 h 4687251"/>
              <a:gd name="connsiteX17233" fmla="*/ 4081962 w 8079933"/>
              <a:gd name="connsiteY17233" fmla="*/ 1658055 h 4687251"/>
              <a:gd name="connsiteX17234" fmla="*/ 4082613 w 8079933"/>
              <a:gd name="connsiteY17234" fmla="*/ 1652966 h 4687251"/>
              <a:gd name="connsiteX17235" fmla="*/ 4084024 w 8079933"/>
              <a:gd name="connsiteY17235" fmla="*/ 1650042 h 4687251"/>
              <a:gd name="connsiteX17236" fmla="*/ 4081637 w 8079933"/>
              <a:gd name="connsiteY17236" fmla="*/ 1647769 h 4687251"/>
              <a:gd name="connsiteX17237" fmla="*/ 4075776 w 8079933"/>
              <a:gd name="connsiteY17237" fmla="*/ 1647986 h 4687251"/>
              <a:gd name="connsiteX17238" fmla="*/ 4075017 w 8079933"/>
              <a:gd name="connsiteY17238" fmla="*/ 1644846 h 4687251"/>
              <a:gd name="connsiteX17239" fmla="*/ 4077078 w 8079933"/>
              <a:gd name="connsiteY17239" fmla="*/ 1640192 h 4687251"/>
              <a:gd name="connsiteX17240" fmla="*/ 4441990 w 8079933"/>
              <a:gd name="connsiteY17240" fmla="*/ 1639262 h 4687251"/>
              <a:gd name="connsiteX17241" fmla="*/ 4440826 w 8079933"/>
              <a:gd name="connsiteY17241" fmla="*/ 1639649 h 4687251"/>
              <a:gd name="connsiteX17242" fmla="*/ 4437244 w 8079933"/>
              <a:gd name="connsiteY17242" fmla="*/ 1645604 h 4687251"/>
              <a:gd name="connsiteX17243" fmla="*/ 4439089 w 8079933"/>
              <a:gd name="connsiteY17243" fmla="*/ 1652642 h 4687251"/>
              <a:gd name="connsiteX17244" fmla="*/ 4443972 w 8079933"/>
              <a:gd name="connsiteY17244" fmla="*/ 1660329 h 4687251"/>
              <a:gd name="connsiteX17245" fmla="*/ 4443756 w 8079933"/>
              <a:gd name="connsiteY17245" fmla="*/ 1662711 h 4687251"/>
              <a:gd name="connsiteX17246" fmla="*/ 4443430 w 8079933"/>
              <a:gd name="connsiteY17246" fmla="*/ 1666717 h 4687251"/>
              <a:gd name="connsiteX17247" fmla="*/ 4443756 w 8079933"/>
              <a:gd name="connsiteY17247" fmla="*/ 1677652 h 4687251"/>
              <a:gd name="connsiteX17248" fmla="*/ 4446685 w 8079933"/>
              <a:gd name="connsiteY17248" fmla="*/ 1680792 h 4687251"/>
              <a:gd name="connsiteX17249" fmla="*/ 4449507 w 8079933"/>
              <a:gd name="connsiteY17249" fmla="*/ 1687721 h 4687251"/>
              <a:gd name="connsiteX17250" fmla="*/ 4449508 w 8079933"/>
              <a:gd name="connsiteY17250" fmla="*/ 1687722 h 4687251"/>
              <a:gd name="connsiteX17251" fmla="*/ 4446687 w 8079933"/>
              <a:gd name="connsiteY17251" fmla="*/ 1680793 h 4687251"/>
              <a:gd name="connsiteX17252" fmla="*/ 4443757 w 8079933"/>
              <a:gd name="connsiteY17252" fmla="*/ 1677652 h 4687251"/>
              <a:gd name="connsiteX17253" fmla="*/ 4443432 w 8079933"/>
              <a:gd name="connsiteY17253" fmla="*/ 1666717 h 4687251"/>
              <a:gd name="connsiteX17254" fmla="*/ 4443757 w 8079933"/>
              <a:gd name="connsiteY17254" fmla="*/ 1662711 h 4687251"/>
              <a:gd name="connsiteX17255" fmla="*/ 4447555 w 8079933"/>
              <a:gd name="connsiteY17255" fmla="*/ 1662278 h 4687251"/>
              <a:gd name="connsiteX17256" fmla="*/ 4455368 w 8079933"/>
              <a:gd name="connsiteY17256" fmla="*/ 1666176 h 4687251"/>
              <a:gd name="connsiteX17257" fmla="*/ 4459492 w 8079933"/>
              <a:gd name="connsiteY17257" fmla="*/ 1663903 h 4687251"/>
              <a:gd name="connsiteX17258" fmla="*/ 4476203 w 8079933"/>
              <a:gd name="connsiteY17258" fmla="*/ 1661521 h 4687251"/>
              <a:gd name="connsiteX17259" fmla="*/ 4483800 w 8079933"/>
              <a:gd name="connsiteY17259" fmla="*/ 1661195 h 4687251"/>
              <a:gd name="connsiteX17260" fmla="*/ 4487387 w 8079933"/>
              <a:gd name="connsiteY17260" fmla="*/ 1658239 h 4687251"/>
              <a:gd name="connsiteX17261" fmla="*/ 4483799 w 8079933"/>
              <a:gd name="connsiteY17261" fmla="*/ 1661195 h 4687251"/>
              <a:gd name="connsiteX17262" fmla="*/ 4476203 w 8079933"/>
              <a:gd name="connsiteY17262" fmla="*/ 1661520 h 4687251"/>
              <a:gd name="connsiteX17263" fmla="*/ 4459492 w 8079933"/>
              <a:gd name="connsiteY17263" fmla="*/ 1663901 h 4687251"/>
              <a:gd name="connsiteX17264" fmla="*/ 4455368 w 8079933"/>
              <a:gd name="connsiteY17264" fmla="*/ 1666175 h 4687251"/>
              <a:gd name="connsiteX17265" fmla="*/ 4447555 w 8079933"/>
              <a:gd name="connsiteY17265" fmla="*/ 1662277 h 4687251"/>
              <a:gd name="connsiteX17266" fmla="*/ 4443757 w 8079933"/>
              <a:gd name="connsiteY17266" fmla="*/ 1662711 h 4687251"/>
              <a:gd name="connsiteX17267" fmla="*/ 4443974 w 8079933"/>
              <a:gd name="connsiteY17267" fmla="*/ 1660329 h 4687251"/>
              <a:gd name="connsiteX17268" fmla="*/ 4439091 w 8079933"/>
              <a:gd name="connsiteY17268" fmla="*/ 1652642 h 4687251"/>
              <a:gd name="connsiteX17269" fmla="*/ 4437246 w 8079933"/>
              <a:gd name="connsiteY17269" fmla="*/ 1645604 h 4687251"/>
              <a:gd name="connsiteX17270" fmla="*/ 4440827 w 8079933"/>
              <a:gd name="connsiteY17270" fmla="*/ 1639649 h 4687251"/>
              <a:gd name="connsiteX17271" fmla="*/ 4626932 w 8079933"/>
              <a:gd name="connsiteY17271" fmla="*/ 1639109 h 4687251"/>
              <a:gd name="connsiteX17272" fmla="*/ 4623351 w 8079933"/>
              <a:gd name="connsiteY17272" fmla="*/ 1642357 h 4687251"/>
              <a:gd name="connsiteX17273" fmla="*/ 4623351 w 8079933"/>
              <a:gd name="connsiteY17273" fmla="*/ 1647338 h 4687251"/>
              <a:gd name="connsiteX17274" fmla="*/ 4617817 w 8079933"/>
              <a:gd name="connsiteY17274" fmla="*/ 1648528 h 4687251"/>
              <a:gd name="connsiteX17275" fmla="*/ 4616733 w 8079933"/>
              <a:gd name="connsiteY17275" fmla="*/ 1648281 h 4687251"/>
              <a:gd name="connsiteX17276" fmla="*/ 4616733 w 8079933"/>
              <a:gd name="connsiteY17276" fmla="*/ 1648636 h 4687251"/>
              <a:gd name="connsiteX17277" fmla="*/ 4616082 w 8079933"/>
              <a:gd name="connsiteY17277" fmla="*/ 1648419 h 4687251"/>
              <a:gd name="connsiteX17278" fmla="*/ 4605881 w 8079933"/>
              <a:gd name="connsiteY17278" fmla="*/ 1651017 h 4687251"/>
              <a:gd name="connsiteX17279" fmla="*/ 4598827 w 8079933"/>
              <a:gd name="connsiteY17279" fmla="*/ 1651775 h 4687251"/>
              <a:gd name="connsiteX17280" fmla="*/ 4598827 w 8079933"/>
              <a:gd name="connsiteY17280" fmla="*/ 1651776 h 4687251"/>
              <a:gd name="connsiteX17281" fmla="*/ 4605880 w 8079933"/>
              <a:gd name="connsiteY17281" fmla="*/ 1651019 h 4687251"/>
              <a:gd name="connsiteX17282" fmla="*/ 4616081 w 8079933"/>
              <a:gd name="connsiteY17282" fmla="*/ 1648420 h 4687251"/>
              <a:gd name="connsiteX17283" fmla="*/ 4616732 w 8079933"/>
              <a:gd name="connsiteY17283" fmla="*/ 1648636 h 4687251"/>
              <a:gd name="connsiteX17284" fmla="*/ 4620530 w 8079933"/>
              <a:gd name="connsiteY17284" fmla="*/ 1649503 h 4687251"/>
              <a:gd name="connsiteX17285" fmla="*/ 4626065 w 8079933"/>
              <a:gd name="connsiteY17285" fmla="*/ 1648311 h 4687251"/>
              <a:gd name="connsiteX17286" fmla="*/ 4625522 w 8079933"/>
              <a:gd name="connsiteY17286" fmla="*/ 1643331 h 4687251"/>
              <a:gd name="connsiteX17287" fmla="*/ 4629211 w 8079933"/>
              <a:gd name="connsiteY17287" fmla="*/ 1640083 h 4687251"/>
              <a:gd name="connsiteX17288" fmla="*/ 4641040 w 8079933"/>
              <a:gd name="connsiteY17288" fmla="*/ 1643981 h 4687251"/>
              <a:gd name="connsiteX17289" fmla="*/ 4653302 w 8079933"/>
              <a:gd name="connsiteY17289" fmla="*/ 1643981 h 4687251"/>
              <a:gd name="connsiteX17290" fmla="*/ 4659379 w 8079933"/>
              <a:gd name="connsiteY17290" fmla="*/ 1640732 h 4687251"/>
              <a:gd name="connsiteX17291" fmla="*/ 4662918 w 8079933"/>
              <a:gd name="connsiteY17291" fmla="*/ 1640945 h 4687251"/>
              <a:gd name="connsiteX17292" fmla="*/ 4662525 w 8079933"/>
              <a:gd name="connsiteY17292" fmla="*/ 1639758 h 4687251"/>
              <a:gd name="connsiteX17293" fmla="*/ 4656991 w 8079933"/>
              <a:gd name="connsiteY17293" fmla="*/ 1639758 h 4687251"/>
              <a:gd name="connsiteX17294" fmla="*/ 4651023 w 8079933"/>
              <a:gd name="connsiteY17294" fmla="*/ 1643006 h 4687251"/>
              <a:gd name="connsiteX17295" fmla="*/ 4638760 w 8079933"/>
              <a:gd name="connsiteY17295" fmla="*/ 1643006 h 4687251"/>
              <a:gd name="connsiteX17296" fmla="*/ 6074304 w 8079933"/>
              <a:gd name="connsiteY17296" fmla="*/ 1637593 h 4687251"/>
              <a:gd name="connsiteX17297" fmla="*/ 6074762 w 8079933"/>
              <a:gd name="connsiteY17297" fmla="*/ 1637809 h 4687251"/>
              <a:gd name="connsiteX17298" fmla="*/ 6076581 w 8079933"/>
              <a:gd name="connsiteY17298" fmla="*/ 1637593 h 4687251"/>
              <a:gd name="connsiteX17299" fmla="*/ 6079754 w 8079933"/>
              <a:gd name="connsiteY17299" fmla="*/ 1636402 h 4687251"/>
              <a:gd name="connsiteX17300" fmla="*/ 6078921 w 8079933"/>
              <a:gd name="connsiteY17300" fmla="*/ 1637315 h 4687251"/>
              <a:gd name="connsiteX17301" fmla="*/ 6079320 w 8079933"/>
              <a:gd name="connsiteY17301" fmla="*/ 1637268 h 4687251"/>
              <a:gd name="connsiteX17302" fmla="*/ 6079992 w 8079933"/>
              <a:gd name="connsiteY17302" fmla="*/ 1636448 h 4687251"/>
              <a:gd name="connsiteX17303" fmla="*/ 6060462 w 8079933"/>
              <a:gd name="connsiteY17303" fmla="*/ 1635752 h 4687251"/>
              <a:gd name="connsiteX17304" fmla="*/ 6070666 w 8079933"/>
              <a:gd name="connsiteY17304" fmla="*/ 1635964 h 4687251"/>
              <a:gd name="connsiteX17305" fmla="*/ 6070204 w 8079933"/>
              <a:gd name="connsiteY17305" fmla="*/ 1635752 h 4687251"/>
              <a:gd name="connsiteX17306" fmla="*/ 6059352 w 8079933"/>
              <a:gd name="connsiteY17306" fmla="*/ 1635752 h 4687251"/>
              <a:gd name="connsiteX17307" fmla="*/ 6056380 w 8079933"/>
              <a:gd name="connsiteY17307" fmla="*/ 1636684 h 4687251"/>
              <a:gd name="connsiteX17308" fmla="*/ 6056749 w 8079933"/>
              <a:gd name="connsiteY17308" fmla="*/ 1636943 h 4687251"/>
              <a:gd name="connsiteX17309" fmla="*/ 6060437 w 8079933"/>
              <a:gd name="connsiteY17309" fmla="*/ 1635752 h 4687251"/>
              <a:gd name="connsiteX17310" fmla="*/ 1221354 w 8079933"/>
              <a:gd name="connsiteY17310" fmla="*/ 1635752 h 4687251"/>
              <a:gd name="connsiteX17311" fmla="*/ 1222765 w 8079933"/>
              <a:gd name="connsiteY17311" fmla="*/ 1637917 h 4687251"/>
              <a:gd name="connsiteX17312" fmla="*/ 1220052 w 8079933"/>
              <a:gd name="connsiteY17312" fmla="*/ 1639000 h 4687251"/>
              <a:gd name="connsiteX17313" fmla="*/ 1219184 w 8079933"/>
              <a:gd name="connsiteY17313" fmla="*/ 1643006 h 4687251"/>
              <a:gd name="connsiteX17314" fmla="*/ 1221897 w 8079933"/>
              <a:gd name="connsiteY17314" fmla="*/ 1651884 h 4687251"/>
              <a:gd name="connsiteX17315" fmla="*/ 1219943 w 8079933"/>
              <a:gd name="connsiteY17315" fmla="*/ 1653400 h 4687251"/>
              <a:gd name="connsiteX17316" fmla="*/ 1216688 w 8079933"/>
              <a:gd name="connsiteY17316" fmla="*/ 1646254 h 4687251"/>
              <a:gd name="connsiteX17317" fmla="*/ 1216796 w 8079933"/>
              <a:gd name="connsiteY17317" fmla="*/ 1639650 h 4687251"/>
              <a:gd name="connsiteX17318" fmla="*/ 7327586 w 8079933"/>
              <a:gd name="connsiteY17318" fmla="*/ 1634561 h 4687251"/>
              <a:gd name="connsiteX17319" fmla="*/ 7322594 w 8079933"/>
              <a:gd name="connsiteY17319" fmla="*/ 1641273 h 4687251"/>
              <a:gd name="connsiteX17320" fmla="*/ 7321183 w 8079933"/>
              <a:gd name="connsiteY17320" fmla="*/ 1646362 h 4687251"/>
              <a:gd name="connsiteX17321" fmla="*/ 7320967 w 8079933"/>
              <a:gd name="connsiteY17321" fmla="*/ 1651126 h 4687251"/>
              <a:gd name="connsiteX17322" fmla="*/ 7317928 w 8079933"/>
              <a:gd name="connsiteY17322" fmla="*/ 1653399 h 4687251"/>
              <a:gd name="connsiteX17323" fmla="*/ 7314455 w 8079933"/>
              <a:gd name="connsiteY17323" fmla="*/ 1659030 h 4687251"/>
              <a:gd name="connsiteX17324" fmla="*/ 7309464 w 8079933"/>
              <a:gd name="connsiteY17324" fmla="*/ 1664118 h 4687251"/>
              <a:gd name="connsiteX17325" fmla="*/ 7306860 w 8079933"/>
              <a:gd name="connsiteY17325" fmla="*/ 1663252 h 4687251"/>
              <a:gd name="connsiteX17326" fmla="*/ 7308487 w 8079933"/>
              <a:gd name="connsiteY17326" fmla="*/ 1656215 h 4687251"/>
              <a:gd name="connsiteX17327" fmla="*/ 7311960 w 8079933"/>
              <a:gd name="connsiteY17327" fmla="*/ 1652425 h 4687251"/>
              <a:gd name="connsiteX17328" fmla="*/ 7312828 w 8079933"/>
              <a:gd name="connsiteY17328" fmla="*/ 1649610 h 4687251"/>
              <a:gd name="connsiteX17329" fmla="*/ 7314672 w 8079933"/>
              <a:gd name="connsiteY17329" fmla="*/ 1647661 h 4687251"/>
              <a:gd name="connsiteX17330" fmla="*/ 7316084 w 8079933"/>
              <a:gd name="connsiteY17330" fmla="*/ 1643330 h 4687251"/>
              <a:gd name="connsiteX17331" fmla="*/ 7317928 w 8079933"/>
              <a:gd name="connsiteY17331" fmla="*/ 1641598 h 4687251"/>
              <a:gd name="connsiteX17332" fmla="*/ 7320316 w 8079933"/>
              <a:gd name="connsiteY17332" fmla="*/ 1636726 h 4687251"/>
              <a:gd name="connsiteX17333" fmla="*/ 7325199 w 8079933"/>
              <a:gd name="connsiteY17333" fmla="*/ 1635860 h 4687251"/>
              <a:gd name="connsiteX17334" fmla="*/ 6947018 w 8079933"/>
              <a:gd name="connsiteY17334" fmla="*/ 1634466 h 4687251"/>
              <a:gd name="connsiteX17335" fmla="*/ 6946259 w 8079933"/>
              <a:gd name="connsiteY17335" fmla="*/ 1636076 h 4687251"/>
              <a:gd name="connsiteX17336" fmla="*/ 6942569 w 8079933"/>
              <a:gd name="connsiteY17336" fmla="*/ 1636725 h 4687251"/>
              <a:gd name="connsiteX17337" fmla="*/ 6939313 w 8079933"/>
              <a:gd name="connsiteY17337" fmla="*/ 1640731 h 4687251"/>
              <a:gd name="connsiteX17338" fmla="*/ 6939313 w 8079933"/>
              <a:gd name="connsiteY17338" fmla="*/ 1642332 h 4687251"/>
              <a:gd name="connsiteX17339" fmla="*/ 6942460 w 8079933"/>
              <a:gd name="connsiteY17339" fmla="*/ 1638459 h 4687251"/>
              <a:gd name="connsiteX17340" fmla="*/ 6946041 w 8079933"/>
              <a:gd name="connsiteY17340" fmla="*/ 1637810 h 4687251"/>
              <a:gd name="connsiteX17341" fmla="*/ 6947018 w 8079933"/>
              <a:gd name="connsiteY17341" fmla="*/ 1635969 h 4687251"/>
              <a:gd name="connsiteX17342" fmla="*/ 6043291 w 8079933"/>
              <a:gd name="connsiteY17342" fmla="*/ 1633154 h 4687251"/>
              <a:gd name="connsiteX17343" fmla="*/ 6038082 w 8079933"/>
              <a:gd name="connsiteY17343" fmla="*/ 1636943 h 4687251"/>
              <a:gd name="connsiteX17344" fmla="*/ 6033199 w 8079933"/>
              <a:gd name="connsiteY17344" fmla="*/ 1638675 h 4687251"/>
              <a:gd name="connsiteX17345" fmla="*/ 6030120 w 8079933"/>
              <a:gd name="connsiteY17345" fmla="*/ 1640371 h 4687251"/>
              <a:gd name="connsiteX17346" fmla="*/ 6031356 w 8079933"/>
              <a:gd name="connsiteY17346" fmla="*/ 1640949 h 4687251"/>
              <a:gd name="connsiteX17347" fmla="*/ 6034503 w 8079933"/>
              <a:gd name="connsiteY17347" fmla="*/ 1639217 h 4687251"/>
              <a:gd name="connsiteX17348" fmla="*/ 6039278 w 8079933"/>
              <a:gd name="connsiteY17348" fmla="*/ 1637484 h 4687251"/>
              <a:gd name="connsiteX17349" fmla="*/ 6044486 w 8079933"/>
              <a:gd name="connsiteY17349" fmla="*/ 1633695 h 4687251"/>
              <a:gd name="connsiteX17350" fmla="*/ 6047807 w 8079933"/>
              <a:gd name="connsiteY17350" fmla="*/ 1633259 h 4687251"/>
              <a:gd name="connsiteX17351" fmla="*/ 6047415 w 8079933"/>
              <a:gd name="connsiteY17351" fmla="*/ 1633154 h 4687251"/>
              <a:gd name="connsiteX17352" fmla="*/ 5243090 w 8079933"/>
              <a:gd name="connsiteY17352" fmla="*/ 1630613 h 4687251"/>
              <a:gd name="connsiteX17353" fmla="*/ 5243090 w 8079933"/>
              <a:gd name="connsiteY17353" fmla="*/ 1632829 h 4687251"/>
              <a:gd name="connsiteX17354" fmla="*/ 5248733 w 8079933"/>
              <a:gd name="connsiteY17354" fmla="*/ 1632829 h 4687251"/>
              <a:gd name="connsiteX17355" fmla="*/ 5251988 w 8079933"/>
              <a:gd name="connsiteY17355" fmla="*/ 1635969 h 4687251"/>
              <a:gd name="connsiteX17356" fmla="*/ 5257306 w 8079933"/>
              <a:gd name="connsiteY17356" fmla="*/ 1637160 h 4687251"/>
              <a:gd name="connsiteX17357" fmla="*/ 5258174 w 8079933"/>
              <a:gd name="connsiteY17357" fmla="*/ 1639758 h 4687251"/>
              <a:gd name="connsiteX17358" fmla="*/ 5262623 w 8079933"/>
              <a:gd name="connsiteY17358" fmla="*/ 1643332 h 4687251"/>
              <a:gd name="connsiteX17359" fmla="*/ 5269676 w 8079933"/>
              <a:gd name="connsiteY17359" fmla="*/ 1643332 h 4687251"/>
              <a:gd name="connsiteX17360" fmla="*/ 5271956 w 8079933"/>
              <a:gd name="connsiteY17360" fmla="*/ 1645063 h 4687251"/>
              <a:gd name="connsiteX17361" fmla="*/ 5273141 w 8079933"/>
              <a:gd name="connsiteY17361" fmla="*/ 1663666 h 4687251"/>
              <a:gd name="connsiteX17362" fmla="*/ 5273365 w 8079933"/>
              <a:gd name="connsiteY17362" fmla="*/ 1663252 h 4687251"/>
              <a:gd name="connsiteX17363" fmla="*/ 5272280 w 8079933"/>
              <a:gd name="connsiteY17363" fmla="*/ 1644521 h 4687251"/>
              <a:gd name="connsiteX17364" fmla="*/ 5270002 w 8079933"/>
              <a:gd name="connsiteY17364" fmla="*/ 1642789 h 4687251"/>
              <a:gd name="connsiteX17365" fmla="*/ 5262947 w 8079933"/>
              <a:gd name="connsiteY17365" fmla="*/ 1642681 h 4687251"/>
              <a:gd name="connsiteX17366" fmla="*/ 5258390 w 8079933"/>
              <a:gd name="connsiteY17366" fmla="*/ 1639000 h 4687251"/>
              <a:gd name="connsiteX17367" fmla="*/ 5257521 w 8079933"/>
              <a:gd name="connsiteY17367" fmla="*/ 1636401 h 4687251"/>
              <a:gd name="connsiteX17368" fmla="*/ 5252205 w 8079933"/>
              <a:gd name="connsiteY17368" fmla="*/ 1635211 h 4687251"/>
              <a:gd name="connsiteX17369" fmla="*/ 5248949 w 8079933"/>
              <a:gd name="connsiteY17369" fmla="*/ 1632179 h 4687251"/>
              <a:gd name="connsiteX17370" fmla="*/ 5243306 w 8079933"/>
              <a:gd name="connsiteY17370" fmla="*/ 1632179 h 4687251"/>
              <a:gd name="connsiteX17371" fmla="*/ 5748125 w 8079933"/>
              <a:gd name="connsiteY17371" fmla="*/ 1630468 h 4687251"/>
              <a:gd name="connsiteX17372" fmla="*/ 5743786 w 8079933"/>
              <a:gd name="connsiteY17372" fmla="*/ 1632179 h 4687251"/>
              <a:gd name="connsiteX17373" fmla="*/ 5739771 w 8079933"/>
              <a:gd name="connsiteY17373" fmla="*/ 1631313 h 4687251"/>
              <a:gd name="connsiteX17374" fmla="*/ 5739348 w 8079933"/>
              <a:gd name="connsiteY17374" fmla="*/ 1631532 h 4687251"/>
              <a:gd name="connsiteX17375" fmla="*/ 5743351 w 8079933"/>
              <a:gd name="connsiteY17375" fmla="*/ 1632503 h 4687251"/>
              <a:gd name="connsiteX17376" fmla="*/ 5748017 w 8079933"/>
              <a:gd name="connsiteY17376" fmla="*/ 1630663 h 4687251"/>
              <a:gd name="connsiteX17377" fmla="*/ 5929017 w 8079933"/>
              <a:gd name="connsiteY17377" fmla="*/ 1628059 h 4687251"/>
              <a:gd name="connsiteX17378" fmla="*/ 5927070 w 8079933"/>
              <a:gd name="connsiteY17378" fmla="*/ 1629797 h 4687251"/>
              <a:gd name="connsiteX17379" fmla="*/ 5923815 w 8079933"/>
              <a:gd name="connsiteY17379" fmla="*/ 1634454 h 4687251"/>
              <a:gd name="connsiteX17380" fmla="*/ 5919800 w 8079933"/>
              <a:gd name="connsiteY17380" fmla="*/ 1635428 h 4687251"/>
              <a:gd name="connsiteX17381" fmla="*/ 5915784 w 8079933"/>
              <a:gd name="connsiteY17381" fmla="*/ 1639217 h 4687251"/>
              <a:gd name="connsiteX17382" fmla="*/ 5915784 w 8079933"/>
              <a:gd name="connsiteY17382" fmla="*/ 1642465 h 4687251"/>
              <a:gd name="connsiteX17383" fmla="*/ 5909599 w 8079933"/>
              <a:gd name="connsiteY17383" fmla="*/ 1645389 h 4687251"/>
              <a:gd name="connsiteX17384" fmla="*/ 5907863 w 8079933"/>
              <a:gd name="connsiteY17384" fmla="*/ 1650152 h 4687251"/>
              <a:gd name="connsiteX17385" fmla="*/ 5907863 w 8079933"/>
              <a:gd name="connsiteY17385" fmla="*/ 1654916 h 4687251"/>
              <a:gd name="connsiteX17386" fmla="*/ 5900267 w 8079933"/>
              <a:gd name="connsiteY17386" fmla="*/ 1657623 h 4687251"/>
              <a:gd name="connsiteX17387" fmla="*/ 5896142 w 8079933"/>
              <a:gd name="connsiteY17387" fmla="*/ 1662062 h 4687251"/>
              <a:gd name="connsiteX17388" fmla="*/ 5894624 w 8079933"/>
              <a:gd name="connsiteY17388" fmla="*/ 1664444 h 4687251"/>
              <a:gd name="connsiteX17389" fmla="*/ 5883772 w 8079933"/>
              <a:gd name="connsiteY17389" fmla="*/ 1664444 h 4687251"/>
              <a:gd name="connsiteX17390" fmla="*/ 5879432 w 8079933"/>
              <a:gd name="connsiteY17390" fmla="*/ 1666718 h 4687251"/>
              <a:gd name="connsiteX17391" fmla="*/ 5875633 w 8079933"/>
              <a:gd name="connsiteY17391" fmla="*/ 1675487 h 4687251"/>
              <a:gd name="connsiteX17392" fmla="*/ 5875633 w 8079933"/>
              <a:gd name="connsiteY17392" fmla="*/ 1676029 h 4687251"/>
              <a:gd name="connsiteX17393" fmla="*/ 5873572 w 8079933"/>
              <a:gd name="connsiteY17393" fmla="*/ 1676029 h 4687251"/>
              <a:gd name="connsiteX17394" fmla="*/ 5868797 w 8079933"/>
              <a:gd name="connsiteY17394" fmla="*/ 1674297 h 4687251"/>
              <a:gd name="connsiteX17395" fmla="*/ 5865867 w 8079933"/>
              <a:gd name="connsiteY17395" fmla="*/ 1674297 h 4687251"/>
              <a:gd name="connsiteX17396" fmla="*/ 5864674 w 8079933"/>
              <a:gd name="connsiteY17396" fmla="*/ 1672889 h 4687251"/>
              <a:gd name="connsiteX17397" fmla="*/ 5857619 w 8079933"/>
              <a:gd name="connsiteY17397" fmla="*/ 1670507 h 4687251"/>
              <a:gd name="connsiteX17398" fmla="*/ 5852302 w 8079933"/>
              <a:gd name="connsiteY17398" fmla="*/ 1665852 h 4687251"/>
              <a:gd name="connsiteX17399" fmla="*/ 5848874 w 8079933"/>
              <a:gd name="connsiteY17399" fmla="*/ 1664996 h 4687251"/>
              <a:gd name="connsiteX17400" fmla="*/ 5849046 w 8079933"/>
              <a:gd name="connsiteY17400" fmla="*/ 1665526 h 4687251"/>
              <a:gd name="connsiteX17401" fmla="*/ 5852519 w 8079933"/>
              <a:gd name="connsiteY17401" fmla="*/ 1666392 h 4687251"/>
              <a:gd name="connsiteX17402" fmla="*/ 5857836 w 8079933"/>
              <a:gd name="connsiteY17402" fmla="*/ 1670939 h 4687251"/>
              <a:gd name="connsiteX17403" fmla="*/ 5864890 w 8079933"/>
              <a:gd name="connsiteY17403" fmla="*/ 1673430 h 4687251"/>
              <a:gd name="connsiteX17404" fmla="*/ 5866083 w 8079933"/>
              <a:gd name="connsiteY17404" fmla="*/ 1674729 h 4687251"/>
              <a:gd name="connsiteX17405" fmla="*/ 5866625 w 8079933"/>
              <a:gd name="connsiteY17405" fmla="*/ 1675487 h 4687251"/>
              <a:gd name="connsiteX17406" fmla="*/ 5866626 w 8079933"/>
              <a:gd name="connsiteY17406" fmla="*/ 1675486 h 4687251"/>
              <a:gd name="connsiteX17407" fmla="*/ 5866084 w 8079933"/>
              <a:gd name="connsiteY17407" fmla="*/ 1674728 h 4687251"/>
              <a:gd name="connsiteX17408" fmla="*/ 5869014 w 8079933"/>
              <a:gd name="connsiteY17408" fmla="*/ 1674837 h 4687251"/>
              <a:gd name="connsiteX17409" fmla="*/ 5873897 w 8079933"/>
              <a:gd name="connsiteY17409" fmla="*/ 1676569 h 4687251"/>
              <a:gd name="connsiteX17410" fmla="*/ 5875959 w 8079933"/>
              <a:gd name="connsiteY17410" fmla="*/ 1676569 h 4687251"/>
              <a:gd name="connsiteX17411" fmla="*/ 5875743 w 8079933"/>
              <a:gd name="connsiteY17411" fmla="*/ 1676029 h 4687251"/>
              <a:gd name="connsiteX17412" fmla="*/ 5879541 w 8079933"/>
              <a:gd name="connsiteY17412" fmla="*/ 1667259 h 4687251"/>
              <a:gd name="connsiteX17413" fmla="*/ 5883882 w 8079933"/>
              <a:gd name="connsiteY17413" fmla="*/ 1664985 h 4687251"/>
              <a:gd name="connsiteX17414" fmla="*/ 5894950 w 8079933"/>
              <a:gd name="connsiteY17414" fmla="*/ 1665527 h 4687251"/>
              <a:gd name="connsiteX17415" fmla="*/ 5896469 w 8079933"/>
              <a:gd name="connsiteY17415" fmla="*/ 1663036 h 4687251"/>
              <a:gd name="connsiteX17416" fmla="*/ 5900593 w 8079933"/>
              <a:gd name="connsiteY17416" fmla="*/ 1658597 h 4687251"/>
              <a:gd name="connsiteX17417" fmla="*/ 5908190 w 8079933"/>
              <a:gd name="connsiteY17417" fmla="*/ 1655890 h 4687251"/>
              <a:gd name="connsiteX17418" fmla="*/ 5908514 w 8079933"/>
              <a:gd name="connsiteY17418" fmla="*/ 1651018 h 4687251"/>
              <a:gd name="connsiteX17419" fmla="*/ 5910251 w 8079933"/>
              <a:gd name="connsiteY17419" fmla="*/ 1646254 h 4687251"/>
              <a:gd name="connsiteX17420" fmla="*/ 5916436 w 8079933"/>
              <a:gd name="connsiteY17420" fmla="*/ 1643331 h 4687251"/>
              <a:gd name="connsiteX17421" fmla="*/ 5916654 w 8079933"/>
              <a:gd name="connsiteY17421" fmla="*/ 1640083 h 4687251"/>
              <a:gd name="connsiteX17422" fmla="*/ 5920561 w 8079933"/>
              <a:gd name="connsiteY17422" fmla="*/ 1636293 h 4687251"/>
              <a:gd name="connsiteX17423" fmla="*/ 5924575 w 8079933"/>
              <a:gd name="connsiteY17423" fmla="*/ 1635211 h 4687251"/>
              <a:gd name="connsiteX17424" fmla="*/ 5927831 w 8079933"/>
              <a:gd name="connsiteY17424" fmla="*/ 1630555 h 4687251"/>
              <a:gd name="connsiteX17425" fmla="*/ 5929893 w 8079933"/>
              <a:gd name="connsiteY17425" fmla="*/ 1628714 h 4687251"/>
              <a:gd name="connsiteX17426" fmla="*/ 2750679 w 8079933"/>
              <a:gd name="connsiteY17426" fmla="*/ 1626873 h 4687251"/>
              <a:gd name="connsiteX17427" fmla="*/ 2750679 w 8079933"/>
              <a:gd name="connsiteY17427" fmla="*/ 1629904 h 4687251"/>
              <a:gd name="connsiteX17428" fmla="*/ 2749377 w 8079933"/>
              <a:gd name="connsiteY17428" fmla="*/ 1633045 h 4687251"/>
              <a:gd name="connsiteX17429" fmla="*/ 2746989 w 8079933"/>
              <a:gd name="connsiteY17429" fmla="*/ 1634561 h 4687251"/>
              <a:gd name="connsiteX17430" fmla="*/ 2745904 w 8079933"/>
              <a:gd name="connsiteY17430" fmla="*/ 1633586 h 4687251"/>
              <a:gd name="connsiteX17431" fmla="*/ 2747749 w 8079933"/>
              <a:gd name="connsiteY17431" fmla="*/ 1629147 h 4687251"/>
              <a:gd name="connsiteX17432" fmla="*/ 6947993 w 8079933"/>
              <a:gd name="connsiteY17432" fmla="*/ 1626809 h 4687251"/>
              <a:gd name="connsiteX17433" fmla="*/ 6947344 w 8079933"/>
              <a:gd name="connsiteY17433" fmla="*/ 1630121 h 4687251"/>
              <a:gd name="connsiteX17434" fmla="*/ 6947328 w 8079933"/>
              <a:gd name="connsiteY17434" fmla="*/ 1630434 h 4687251"/>
              <a:gd name="connsiteX17435" fmla="*/ 6948103 w 8079933"/>
              <a:gd name="connsiteY17435" fmla="*/ 1626874 h 4687251"/>
              <a:gd name="connsiteX17436" fmla="*/ 6896047 w 8079933"/>
              <a:gd name="connsiteY17436" fmla="*/ 1626742 h 4687251"/>
              <a:gd name="connsiteX17437" fmla="*/ 6896015 w 8079933"/>
              <a:gd name="connsiteY17437" fmla="*/ 1626874 h 4687251"/>
              <a:gd name="connsiteX17438" fmla="*/ 6896015 w 8079933"/>
              <a:gd name="connsiteY17438" fmla="*/ 1629327 h 4687251"/>
              <a:gd name="connsiteX17439" fmla="*/ 6896450 w 8079933"/>
              <a:gd name="connsiteY17439" fmla="*/ 1629146 h 4687251"/>
              <a:gd name="connsiteX17440" fmla="*/ 4088898 w 8079933"/>
              <a:gd name="connsiteY17440" fmla="*/ 1626668 h 4687251"/>
              <a:gd name="connsiteX17441" fmla="*/ 4087495 w 8079933"/>
              <a:gd name="connsiteY17441" fmla="*/ 1628390 h 4687251"/>
              <a:gd name="connsiteX17442" fmla="*/ 4087170 w 8079933"/>
              <a:gd name="connsiteY17442" fmla="*/ 1631097 h 4687251"/>
              <a:gd name="connsiteX17443" fmla="*/ 4085325 w 8079933"/>
              <a:gd name="connsiteY17443" fmla="*/ 1635211 h 4687251"/>
              <a:gd name="connsiteX17444" fmla="*/ 4085216 w 8079933"/>
              <a:gd name="connsiteY17444" fmla="*/ 1639867 h 4687251"/>
              <a:gd name="connsiteX17445" fmla="*/ 4082178 w 8079933"/>
              <a:gd name="connsiteY17445" fmla="*/ 1642464 h 4687251"/>
              <a:gd name="connsiteX17446" fmla="*/ 4082179 w 8079933"/>
              <a:gd name="connsiteY17446" fmla="*/ 1642464 h 4687251"/>
              <a:gd name="connsiteX17447" fmla="*/ 4085217 w 8079933"/>
              <a:gd name="connsiteY17447" fmla="*/ 1639866 h 4687251"/>
              <a:gd name="connsiteX17448" fmla="*/ 4085326 w 8079933"/>
              <a:gd name="connsiteY17448" fmla="*/ 1635210 h 4687251"/>
              <a:gd name="connsiteX17449" fmla="*/ 4087171 w 8079933"/>
              <a:gd name="connsiteY17449" fmla="*/ 1631095 h 4687251"/>
              <a:gd name="connsiteX17450" fmla="*/ 4087497 w 8079933"/>
              <a:gd name="connsiteY17450" fmla="*/ 1628389 h 4687251"/>
              <a:gd name="connsiteX17451" fmla="*/ 5241612 w 8079933"/>
              <a:gd name="connsiteY17451" fmla="*/ 1626613 h 4687251"/>
              <a:gd name="connsiteX17452" fmla="*/ 5241570 w 8079933"/>
              <a:gd name="connsiteY17452" fmla="*/ 1626765 h 4687251"/>
              <a:gd name="connsiteX17453" fmla="*/ 5242917 w 8079933"/>
              <a:gd name="connsiteY17453" fmla="*/ 1629356 h 4687251"/>
              <a:gd name="connsiteX17454" fmla="*/ 5242873 w 8079933"/>
              <a:gd name="connsiteY17454" fmla="*/ 1629039 h 4687251"/>
              <a:gd name="connsiteX17455" fmla="*/ 6328426 w 8079933"/>
              <a:gd name="connsiteY17455" fmla="*/ 1625782 h 4687251"/>
              <a:gd name="connsiteX17456" fmla="*/ 6332055 w 8079933"/>
              <a:gd name="connsiteY17456" fmla="*/ 1629689 h 4687251"/>
              <a:gd name="connsiteX17457" fmla="*/ 6332096 w 8079933"/>
              <a:gd name="connsiteY17457" fmla="*/ 1629691 h 4687251"/>
              <a:gd name="connsiteX17458" fmla="*/ 6328474 w 8079933"/>
              <a:gd name="connsiteY17458" fmla="*/ 1625791 h 4687251"/>
              <a:gd name="connsiteX17459" fmla="*/ 5697557 w 8079933"/>
              <a:gd name="connsiteY17459" fmla="*/ 1625574 h 4687251"/>
              <a:gd name="connsiteX17460" fmla="*/ 5697557 w 8079933"/>
              <a:gd name="connsiteY17460" fmla="*/ 1626008 h 4687251"/>
              <a:gd name="connsiteX17461" fmla="*/ 5698600 w 8079933"/>
              <a:gd name="connsiteY17461" fmla="*/ 1626954 h 4687251"/>
              <a:gd name="connsiteX17462" fmla="*/ 5698751 w 8079933"/>
              <a:gd name="connsiteY17462" fmla="*/ 1626548 h 4687251"/>
              <a:gd name="connsiteX17463" fmla="*/ 6897125 w 8079933"/>
              <a:gd name="connsiteY17463" fmla="*/ 1622423 h 4687251"/>
              <a:gd name="connsiteX17464" fmla="*/ 6897101 w 8079933"/>
              <a:gd name="connsiteY17464" fmla="*/ 1622435 h 4687251"/>
              <a:gd name="connsiteX17465" fmla="*/ 6896897 w 8079933"/>
              <a:gd name="connsiteY17465" fmla="*/ 1623268 h 4687251"/>
              <a:gd name="connsiteX17466" fmla="*/ 5756916 w 8079933"/>
              <a:gd name="connsiteY17466" fmla="*/ 1622110 h 4687251"/>
              <a:gd name="connsiteX17467" fmla="*/ 5748994 w 8079933"/>
              <a:gd name="connsiteY17467" fmla="*/ 1623193 h 4687251"/>
              <a:gd name="connsiteX17468" fmla="*/ 5748899 w 8079933"/>
              <a:gd name="connsiteY17468" fmla="*/ 1623466 h 4687251"/>
              <a:gd name="connsiteX17469" fmla="*/ 5756481 w 8079933"/>
              <a:gd name="connsiteY17469" fmla="*/ 1622326 h 4687251"/>
              <a:gd name="connsiteX17470" fmla="*/ 5764946 w 8079933"/>
              <a:gd name="connsiteY17470" fmla="*/ 1622326 h 4687251"/>
              <a:gd name="connsiteX17471" fmla="*/ 5772216 w 8079933"/>
              <a:gd name="connsiteY17471" fmla="*/ 1624275 h 4687251"/>
              <a:gd name="connsiteX17472" fmla="*/ 5779270 w 8079933"/>
              <a:gd name="connsiteY17472" fmla="*/ 1629472 h 4687251"/>
              <a:gd name="connsiteX17473" fmla="*/ 5783176 w 8079933"/>
              <a:gd name="connsiteY17473" fmla="*/ 1636293 h 4687251"/>
              <a:gd name="connsiteX17474" fmla="*/ 5785672 w 8079933"/>
              <a:gd name="connsiteY17474" fmla="*/ 1641815 h 4687251"/>
              <a:gd name="connsiteX17475" fmla="*/ 5787951 w 8079933"/>
              <a:gd name="connsiteY17475" fmla="*/ 1642031 h 4687251"/>
              <a:gd name="connsiteX17476" fmla="*/ 5792943 w 8079933"/>
              <a:gd name="connsiteY17476" fmla="*/ 1643439 h 4687251"/>
              <a:gd name="connsiteX17477" fmla="*/ 5798585 w 8079933"/>
              <a:gd name="connsiteY17477" fmla="*/ 1646903 h 4687251"/>
              <a:gd name="connsiteX17478" fmla="*/ 5800322 w 8079933"/>
              <a:gd name="connsiteY17478" fmla="*/ 1646903 h 4687251"/>
              <a:gd name="connsiteX17479" fmla="*/ 5803903 w 8079933"/>
              <a:gd name="connsiteY17479" fmla="*/ 1648636 h 4687251"/>
              <a:gd name="connsiteX17480" fmla="*/ 5804120 w 8079933"/>
              <a:gd name="connsiteY17480" fmla="*/ 1651343 h 4687251"/>
              <a:gd name="connsiteX17481" fmla="*/ 5803252 w 8079933"/>
              <a:gd name="connsiteY17481" fmla="*/ 1653617 h 4687251"/>
              <a:gd name="connsiteX17482" fmla="*/ 5803360 w 8079933"/>
              <a:gd name="connsiteY17482" fmla="*/ 1657514 h 4687251"/>
              <a:gd name="connsiteX17483" fmla="*/ 5804662 w 8079933"/>
              <a:gd name="connsiteY17483" fmla="*/ 1660654 h 4687251"/>
              <a:gd name="connsiteX17484" fmla="*/ 5806941 w 8079933"/>
              <a:gd name="connsiteY17484" fmla="*/ 1662927 h 4687251"/>
              <a:gd name="connsiteX17485" fmla="*/ 5808026 w 8079933"/>
              <a:gd name="connsiteY17485" fmla="*/ 1664119 h 4687251"/>
              <a:gd name="connsiteX17486" fmla="*/ 5810197 w 8079933"/>
              <a:gd name="connsiteY17486" fmla="*/ 1664010 h 4687251"/>
              <a:gd name="connsiteX17487" fmla="*/ 5814863 w 8079933"/>
              <a:gd name="connsiteY17487" fmla="*/ 1665959 h 4687251"/>
              <a:gd name="connsiteX17488" fmla="*/ 5818553 w 8079933"/>
              <a:gd name="connsiteY17488" fmla="*/ 1667692 h 4687251"/>
              <a:gd name="connsiteX17489" fmla="*/ 5819855 w 8079933"/>
              <a:gd name="connsiteY17489" fmla="*/ 1665526 h 4687251"/>
              <a:gd name="connsiteX17490" fmla="*/ 5823653 w 8079933"/>
              <a:gd name="connsiteY17490" fmla="*/ 1663469 h 4687251"/>
              <a:gd name="connsiteX17491" fmla="*/ 5834939 w 8079933"/>
              <a:gd name="connsiteY17491" fmla="*/ 1662711 h 4687251"/>
              <a:gd name="connsiteX17492" fmla="*/ 5840148 w 8079933"/>
              <a:gd name="connsiteY17492" fmla="*/ 1661195 h 4687251"/>
              <a:gd name="connsiteX17493" fmla="*/ 5842535 w 8079933"/>
              <a:gd name="connsiteY17493" fmla="*/ 1657081 h 4687251"/>
              <a:gd name="connsiteX17494" fmla="*/ 5847201 w 8079933"/>
              <a:gd name="connsiteY17494" fmla="*/ 1654482 h 4687251"/>
              <a:gd name="connsiteX17495" fmla="*/ 5849395 w 8079933"/>
              <a:gd name="connsiteY17495" fmla="*/ 1655486 h 4687251"/>
              <a:gd name="connsiteX17496" fmla="*/ 5849481 w 8079933"/>
              <a:gd name="connsiteY17496" fmla="*/ 1655241 h 4687251"/>
              <a:gd name="connsiteX17497" fmla="*/ 5846877 w 8079933"/>
              <a:gd name="connsiteY17497" fmla="*/ 1654050 h 4687251"/>
              <a:gd name="connsiteX17498" fmla="*/ 5842210 w 8079933"/>
              <a:gd name="connsiteY17498" fmla="*/ 1656648 h 4687251"/>
              <a:gd name="connsiteX17499" fmla="*/ 5839822 w 8079933"/>
              <a:gd name="connsiteY17499" fmla="*/ 1660763 h 4687251"/>
              <a:gd name="connsiteX17500" fmla="*/ 5834723 w 8079933"/>
              <a:gd name="connsiteY17500" fmla="*/ 1662279 h 4687251"/>
              <a:gd name="connsiteX17501" fmla="*/ 5823871 w 8079933"/>
              <a:gd name="connsiteY17501" fmla="*/ 1663036 h 4687251"/>
              <a:gd name="connsiteX17502" fmla="*/ 5820073 w 8079933"/>
              <a:gd name="connsiteY17502" fmla="*/ 1665093 h 4687251"/>
              <a:gd name="connsiteX17503" fmla="*/ 5818771 w 8079933"/>
              <a:gd name="connsiteY17503" fmla="*/ 1667259 h 4687251"/>
              <a:gd name="connsiteX17504" fmla="*/ 5815190 w 8079933"/>
              <a:gd name="connsiteY17504" fmla="*/ 1665527 h 4687251"/>
              <a:gd name="connsiteX17505" fmla="*/ 5810415 w 8079933"/>
              <a:gd name="connsiteY17505" fmla="*/ 1663578 h 4687251"/>
              <a:gd name="connsiteX17506" fmla="*/ 5808245 w 8079933"/>
              <a:gd name="connsiteY17506" fmla="*/ 1663578 h 4687251"/>
              <a:gd name="connsiteX17507" fmla="*/ 5807160 w 8079933"/>
              <a:gd name="connsiteY17507" fmla="*/ 1662387 h 4687251"/>
              <a:gd name="connsiteX17508" fmla="*/ 5804880 w 8079933"/>
              <a:gd name="connsiteY17508" fmla="*/ 1660113 h 4687251"/>
              <a:gd name="connsiteX17509" fmla="*/ 5803579 w 8079933"/>
              <a:gd name="connsiteY17509" fmla="*/ 1656973 h 4687251"/>
              <a:gd name="connsiteX17510" fmla="*/ 5803579 w 8079933"/>
              <a:gd name="connsiteY17510" fmla="*/ 1653184 h 4687251"/>
              <a:gd name="connsiteX17511" fmla="*/ 5804447 w 8079933"/>
              <a:gd name="connsiteY17511" fmla="*/ 1650910 h 4687251"/>
              <a:gd name="connsiteX17512" fmla="*/ 5804447 w 8079933"/>
              <a:gd name="connsiteY17512" fmla="*/ 1648203 h 4687251"/>
              <a:gd name="connsiteX17513" fmla="*/ 5800866 w 8079933"/>
              <a:gd name="connsiteY17513" fmla="*/ 1646579 h 4687251"/>
              <a:gd name="connsiteX17514" fmla="*/ 5799129 w 8079933"/>
              <a:gd name="connsiteY17514" fmla="*/ 1646579 h 4687251"/>
              <a:gd name="connsiteX17515" fmla="*/ 5793486 w 8079933"/>
              <a:gd name="connsiteY17515" fmla="*/ 1643006 h 4687251"/>
              <a:gd name="connsiteX17516" fmla="*/ 5788495 w 8079933"/>
              <a:gd name="connsiteY17516" fmla="*/ 1641599 h 4687251"/>
              <a:gd name="connsiteX17517" fmla="*/ 5786107 w 8079933"/>
              <a:gd name="connsiteY17517" fmla="*/ 1641599 h 4687251"/>
              <a:gd name="connsiteX17518" fmla="*/ 5783611 w 8079933"/>
              <a:gd name="connsiteY17518" fmla="*/ 1636077 h 4687251"/>
              <a:gd name="connsiteX17519" fmla="*/ 5779704 w 8079933"/>
              <a:gd name="connsiteY17519" fmla="*/ 1629148 h 4687251"/>
              <a:gd name="connsiteX17520" fmla="*/ 5772652 w 8079933"/>
              <a:gd name="connsiteY17520" fmla="*/ 1623951 h 4687251"/>
              <a:gd name="connsiteX17521" fmla="*/ 5765380 w 8079933"/>
              <a:gd name="connsiteY17521" fmla="*/ 1622110 h 4687251"/>
              <a:gd name="connsiteX17522" fmla="*/ 5707927 w 8079933"/>
              <a:gd name="connsiteY17522" fmla="*/ 1621986 h 4687251"/>
              <a:gd name="connsiteX17523" fmla="*/ 5707215 w 8079933"/>
              <a:gd name="connsiteY17523" fmla="*/ 1625033 h 4687251"/>
              <a:gd name="connsiteX17524" fmla="*/ 5707541 w 8079933"/>
              <a:gd name="connsiteY17524" fmla="*/ 1627473 h 4687251"/>
              <a:gd name="connsiteX17525" fmla="*/ 5707541 w 8079933"/>
              <a:gd name="connsiteY17525" fmla="*/ 1625358 h 4687251"/>
              <a:gd name="connsiteX17526" fmla="*/ 5708192 w 8079933"/>
              <a:gd name="connsiteY17526" fmla="*/ 1622110 h 4687251"/>
              <a:gd name="connsiteX17527" fmla="*/ 3845612 w 8079933"/>
              <a:gd name="connsiteY17527" fmla="*/ 1616588 h 4687251"/>
              <a:gd name="connsiteX17528" fmla="*/ 3847565 w 8079933"/>
              <a:gd name="connsiteY17528" fmla="*/ 1620486 h 4687251"/>
              <a:gd name="connsiteX17529" fmla="*/ 3851580 w 8079933"/>
              <a:gd name="connsiteY17529" fmla="*/ 1620486 h 4687251"/>
              <a:gd name="connsiteX17530" fmla="*/ 3846046 w 8079933"/>
              <a:gd name="connsiteY17530" fmla="*/ 1624492 h 4687251"/>
              <a:gd name="connsiteX17531" fmla="*/ 3839535 w 8079933"/>
              <a:gd name="connsiteY17531" fmla="*/ 1621243 h 4687251"/>
              <a:gd name="connsiteX17532" fmla="*/ 3840620 w 8079933"/>
              <a:gd name="connsiteY17532" fmla="*/ 1617237 h 4687251"/>
              <a:gd name="connsiteX17533" fmla="*/ 5993916 w 8079933"/>
              <a:gd name="connsiteY17533" fmla="*/ 1615289 h 4687251"/>
              <a:gd name="connsiteX17534" fmla="*/ 5990336 w 8079933"/>
              <a:gd name="connsiteY17534" fmla="*/ 1617671 h 4687251"/>
              <a:gd name="connsiteX17535" fmla="*/ 5985995 w 8079933"/>
              <a:gd name="connsiteY17535" fmla="*/ 1617671 h 4687251"/>
              <a:gd name="connsiteX17536" fmla="*/ 5983390 w 8079933"/>
              <a:gd name="connsiteY17536" fmla="*/ 1618538 h 4687251"/>
              <a:gd name="connsiteX17537" fmla="*/ 5978658 w 8079933"/>
              <a:gd name="connsiteY17537" fmla="*/ 1618538 h 4687251"/>
              <a:gd name="connsiteX17538" fmla="*/ 5979702 w 8079933"/>
              <a:gd name="connsiteY17538" fmla="*/ 1619620 h 4687251"/>
              <a:gd name="connsiteX17539" fmla="*/ 5984693 w 8079933"/>
              <a:gd name="connsiteY17539" fmla="*/ 1619295 h 4687251"/>
              <a:gd name="connsiteX17540" fmla="*/ 5987298 w 8079933"/>
              <a:gd name="connsiteY17540" fmla="*/ 1618320 h 4687251"/>
              <a:gd name="connsiteX17541" fmla="*/ 5991530 w 8079933"/>
              <a:gd name="connsiteY17541" fmla="*/ 1618753 h 4687251"/>
              <a:gd name="connsiteX17542" fmla="*/ 5995219 w 8079933"/>
              <a:gd name="connsiteY17542" fmla="*/ 1616371 h 4687251"/>
              <a:gd name="connsiteX17543" fmla="*/ 6001759 w 8079933"/>
              <a:gd name="connsiteY17543" fmla="*/ 1615905 h 4687251"/>
              <a:gd name="connsiteX17544" fmla="*/ 6001512 w 8079933"/>
              <a:gd name="connsiteY17544" fmla="*/ 1615289 h 4687251"/>
              <a:gd name="connsiteX17545" fmla="*/ 4608811 w 8079933"/>
              <a:gd name="connsiteY17545" fmla="*/ 1612581 h 4687251"/>
              <a:gd name="connsiteX17546" fmla="*/ 4608317 w 8079933"/>
              <a:gd name="connsiteY17546" fmla="*/ 1613489 h 4687251"/>
              <a:gd name="connsiteX17547" fmla="*/ 4611631 w 8079933"/>
              <a:gd name="connsiteY17547" fmla="*/ 1616589 h 4687251"/>
              <a:gd name="connsiteX17548" fmla="*/ 4612905 w 8079933"/>
              <a:gd name="connsiteY17548" fmla="*/ 1616411 h 4687251"/>
              <a:gd name="connsiteX17549" fmla="*/ 6314541 w 8079933"/>
              <a:gd name="connsiteY17549" fmla="*/ 1612232 h 4687251"/>
              <a:gd name="connsiteX17550" fmla="*/ 6317080 w 8079933"/>
              <a:gd name="connsiteY17550" fmla="*/ 1619620 h 4687251"/>
              <a:gd name="connsiteX17551" fmla="*/ 6317402 w 8079933"/>
              <a:gd name="connsiteY17551" fmla="*/ 1619839 h 4687251"/>
              <a:gd name="connsiteX17552" fmla="*/ 6314909 w 8079933"/>
              <a:gd name="connsiteY17552" fmla="*/ 1612583 h 4687251"/>
              <a:gd name="connsiteX17553" fmla="*/ 6939734 w 8079933"/>
              <a:gd name="connsiteY17553" fmla="*/ 1609104 h 4687251"/>
              <a:gd name="connsiteX17554" fmla="*/ 6937903 w 8079933"/>
              <a:gd name="connsiteY17554" fmla="*/ 1610848 h 4687251"/>
              <a:gd name="connsiteX17555" fmla="*/ 6938400 w 8079933"/>
              <a:gd name="connsiteY17555" fmla="*/ 1612213 h 4687251"/>
              <a:gd name="connsiteX17556" fmla="*/ 6940399 w 8079933"/>
              <a:gd name="connsiteY17556" fmla="*/ 1610309 h 4687251"/>
              <a:gd name="connsiteX17557" fmla="*/ 6217352 w 8079933"/>
              <a:gd name="connsiteY17557" fmla="*/ 1608901 h 4687251"/>
              <a:gd name="connsiteX17558" fmla="*/ 6214097 w 8079933"/>
              <a:gd name="connsiteY17558" fmla="*/ 1611175 h 4687251"/>
              <a:gd name="connsiteX17559" fmla="*/ 6206826 w 8079933"/>
              <a:gd name="connsiteY17559" fmla="*/ 1611175 h 4687251"/>
              <a:gd name="connsiteX17560" fmla="*/ 6205090 w 8079933"/>
              <a:gd name="connsiteY17560" fmla="*/ 1612799 h 4687251"/>
              <a:gd name="connsiteX17561" fmla="*/ 6202168 w 8079933"/>
              <a:gd name="connsiteY17561" fmla="*/ 1612799 h 4687251"/>
              <a:gd name="connsiteX17562" fmla="*/ 6202378 w 8079933"/>
              <a:gd name="connsiteY17562" fmla="*/ 1612907 h 4687251"/>
              <a:gd name="connsiteX17563" fmla="*/ 6205742 w 8079933"/>
              <a:gd name="connsiteY17563" fmla="*/ 1613015 h 4687251"/>
              <a:gd name="connsiteX17564" fmla="*/ 6207478 w 8079933"/>
              <a:gd name="connsiteY17564" fmla="*/ 1611391 h 4687251"/>
              <a:gd name="connsiteX17565" fmla="*/ 6214749 w 8079933"/>
              <a:gd name="connsiteY17565" fmla="*/ 1611716 h 4687251"/>
              <a:gd name="connsiteX17566" fmla="*/ 6218004 w 8079933"/>
              <a:gd name="connsiteY17566" fmla="*/ 1609550 h 4687251"/>
              <a:gd name="connsiteX17567" fmla="*/ 6221585 w 8079933"/>
              <a:gd name="connsiteY17567" fmla="*/ 1609659 h 4687251"/>
              <a:gd name="connsiteX17568" fmla="*/ 6224515 w 8079933"/>
              <a:gd name="connsiteY17568" fmla="*/ 1610742 h 4687251"/>
              <a:gd name="connsiteX17569" fmla="*/ 6227554 w 8079933"/>
              <a:gd name="connsiteY17569" fmla="*/ 1609767 h 4687251"/>
              <a:gd name="connsiteX17570" fmla="*/ 6227620 w 8079933"/>
              <a:gd name="connsiteY17570" fmla="*/ 1609696 h 4687251"/>
              <a:gd name="connsiteX17571" fmla="*/ 6223863 w 8079933"/>
              <a:gd name="connsiteY17571" fmla="*/ 1609984 h 4687251"/>
              <a:gd name="connsiteX17572" fmla="*/ 6220934 w 8079933"/>
              <a:gd name="connsiteY17572" fmla="*/ 1608901 h 4687251"/>
              <a:gd name="connsiteX17573" fmla="*/ 5971562 w 8079933"/>
              <a:gd name="connsiteY17573" fmla="*/ 1608901 h 4687251"/>
              <a:gd name="connsiteX17574" fmla="*/ 5967982 w 8079933"/>
              <a:gd name="connsiteY17574" fmla="*/ 1611175 h 4687251"/>
              <a:gd name="connsiteX17575" fmla="*/ 5962447 w 8079933"/>
              <a:gd name="connsiteY17575" fmla="*/ 1611175 h 4687251"/>
              <a:gd name="connsiteX17576" fmla="*/ 5958540 w 8079933"/>
              <a:gd name="connsiteY17576" fmla="*/ 1611175 h 4687251"/>
              <a:gd name="connsiteX17577" fmla="*/ 5953874 w 8079933"/>
              <a:gd name="connsiteY17577" fmla="*/ 1612366 h 4687251"/>
              <a:gd name="connsiteX17578" fmla="*/ 5945410 w 8079933"/>
              <a:gd name="connsiteY17578" fmla="*/ 1613449 h 4687251"/>
              <a:gd name="connsiteX17579" fmla="*/ 5941611 w 8079933"/>
              <a:gd name="connsiteY17579" fmla="*/ 1614965 h 4687251"/>
              <a:gd name="connsiteX17580" fmla="*/ 5939224 w 8079933"/>
              <a:gd name="connsiteY17580" fmla="*/ 1621136 h 4687251"/>
              <a:gd name="connsiteX17581" fmla="*/ 5935969 w 8079933"/>
              <a:gd name="connsiteY17581" fmla="*/ 1622868 h 4687251"/>
              <a:gd name="connsiteX17582" fmla="*/ 5928046 w 8079933"/>
              <a:gd name="connsiteY17582" fmla="*/ 1620595 h 4687251"/>
              <a:gd name="connsiteX17583" fmla="*/ 5926528 w 8079933"/>
              <a:gd name="connsiteY17583" fmla="*/ 1622652 h 4687251"/>
              <a:gd name="connsiteX17584" fmla="*/ 5926528 w 8079933"/>
              <a:gd name="connsiteY17584" fmla="*/ 1626116 h 4687251"/>
              <a:gd name="connsiteX17585" fmla="*/ 5927285 w 8079933"/>
              <a:gd name="connsiteY17585" fmla="*/ 1626651 h 4687251"/>
              <a:gd name="connsiteX17586" fmla="*/ 5927180 w 8079933"/>
              <a:gd name="connsiteY17586" fmla="*/ 1623409 h 4687251"/>
              <a:gd name="connsiteX17587" fmla="*/ 5928699 w 8079933"/>
              <a:gd name="connsiteY17587" fmla="*/ 1621352 h 4687251"/>
              <a:gd name="connsiteX17588" fmla="*/ 5936621 w 8079933"/>
              <a:gd name="connsiteY17588" fmla="*/ 1623517 h 4687251"/>
              <a:gd name="connsiteX17589" fmla="*/ 5939876 w 8079933"/>
              <a:gd name="connsiteY17589" fmla="*/ 1621785 h 4687251"/>
              <a:gd name="connsiteX17590" fmla="*/ 5942264 w 8079933"/>
              <a:gd name="connsiteY17590" fmla="*/ 1615614 h 4687251"/>
              <a:gd name="connsiteX17591" fmla="*/ 5946062 w 8079933"/>
              <a:gd name="connsiteY17591" fmla="*/ 1614098 h 4687251"/>
              <a:gd name="connsiteX17592" fmla="*/ 5954525 w 8079933"/>
              <a:gd name="connsiteY17592" fmla="*/ 1613015 h 4687251"/>
              <a:gd name="connsiteX17593" fmla="*/ 5959192 w 8079933"/>
              <a:gd name="connsiteY17593" fmla="*/ 1611824 h 4687251"/>
              <a:gd name="connsiteX17594" fmla="*/ 5963099 w 8079933"/>
              <a:gd name="connsiteY17594" fmla="*/ 1611716 h 4687251"/>
              <a:gd name="connsiteX17595" fmla="*/ 5968633 w 8079933"/>
              <a:gd name="connsiteY17595" fmla="*/ 1612040 h 4687251"/>
              <a:gd name="connsiteX17596" fmla="*/ 5972322 w 8079933"/>
              <a:gd name="connsiteY17596" fmla="*/ 1609767 h 4687251"/>
              <a:gd name="connsiteX17597" fmla="*/ 5973516 w 8079933"/>
              <a:gd name="connsiteY17597" fmla="*/ 1609983 h 4687251"/>
              <a:gd name="connsiteX17598" fmla="*/ 5974667 w 8079933"/>
              <a:gd name="connsiteY17598" fmla="*/ 1611514 h 4687251"/>
              <a:gd name="connsiteX17599" fmla="*/ 5972755 w 8079933"/>
              <a:gd name="connsiteY17599" fmla="*/ 1608901 h 4687251"/>
              <a:gd name="connsiteX17600" fmla="*/ 5246236 w 8079933"/>
              <a:gd name="connsiteY17600" fmla="*/ 1607959 h 4687251"/>
              <a:gd name="connsiteX17601" fmla="*/ 5246236 w 8079933"/>
              <a:gd name="connsiteY17601" fmla="*/ 1609551 h 4687251"/>
              <a:gd name="connsiteX17602" fmla="*/ 5249818 w 8079933"/>
              <a:gd name="connsiteY17602" fmla="*/ 1609551 h 4687251"/>
              <a:gd name="connsiteX17603" fmla="*/ 5250784 w 8079933"/>
              <a:gd name="connsiteY17603" fmla="*/ 1614020 h 4687251"/>
              <a:gd name="connsiteX17604" fmla="*/ 5250902 w 8079933"/>
              <a:gd name="connsiteY17604" fmla="*/ 1613881 h 4687251"/>
              <a:gd name="connsiteX17605" fmla="*/ 5249600 w 8079933"/>
              <a:gd name="connsiteY17605" fmla="*/ 1608468 h 4687251"/>
              <a:gd name="connsiteX17606" fmla="*/ 6848604 w 8079933"/>
              <a:gd name="connsiteY17606" fmla="*/ 1606417 h 4687251"/>
              <a:gd name="connsiteX17607" fmla="*/ 6848702 w 8079933"/>
              <a:gd name="connsiteY17607" fmla="*/ 1606842 h 4687251"/>
              <a:gd name="connsiteX17608" fmla="*/ 6849877 w 8079933"/>
              <a:gd name="connsiteY17608" fmla="*/ 1610092 h 4687251"/>
              <a:gd name="connsiteX17609" fmla="*/ 6849896 w 8079933"/>
              <a:gd name="connsiteY17609" fmla="*/ 1609984 h 4687251"/>
              <a:gd name="connsiteX17610" fmla="*/ 6244814 w 8079933"/>
              <a:gd name="connsiteY17610" fmla="*/ 1602663 h 4687251"/>
              <a:gd name="connsiteX17611" fmla="*/ 6239056 w 8079933"/>
              <a:gd name="connsiteY17611" fmla="*/ 1603055 h 4687251"/>
              <a:gd name="connsiteX17612" fmla="*/ 6238783 w 8079933"/>
              <a:gd name="connsiteY17612" fmla="*/ 1603141 h 4687251"/>
              <a:gd name="connsiteX17613" fmla="*/ 6843554 w 8079933"/>
              <a:gd name="connsiteY17613" fmla="*/ 1601863 h 4687251"/>
              <a:gd name="connsiteX17614" fmla="*/ 6843710 w 8079933"/>
              <a:gd name="connsiteY17614" fmla="*/ 1602836 h 4687251"/>
              <a:gd name="connsiteX17615" fmla="*/ 6847683 w 8079933"/>
              <a:gd name="connsiteY17615" fmla="*/ 1602622 h 4687251"/>
              <a:gd name="connsiteX17616" fmla="*/ 6847508 w 8079933"/>
              <a:gd name="connsiteY17616" fmla="*/ 1601863 h 4687251"/>
              <a:gd name="connsiteX17617" fmla="*/ 6287211 w 8079933"/>
              <a:gd name="connsiteY17617" fmla="*/ 1601430 h 4687251"/>
              <a:gd name="connsiteX17618" fmla="*/ 6291687 w 8079933"/>
              <a:gd name="connsiteY17618" fmla="*/ 1607926 h 4687251"/>
              <a:gd name="connsiteX17619" fmla="*/ 6292115 w 8079933"/>
              <a:gd name="connsiteY17619" fmla="*/ 1608091 h 4687251"/>
              <a:gd name="connsiteX17620" fmla="*/ 6287454 w 8079933"/>
              <a:gd name="connsiteY17620" fmla="*/ 1601430 h 4687251"/>
              <a:gd name="connsiteX17621" fmla="*/ 6178843 w 8079933"/>
              <a:gd name="connsiteY17621" fmla="*/ 1600023 h 4687251"/>
              <a:gd name="connsiteX17622" fmla="*/ 6181204 w 8079933"/>
              <a:gd name="connsiteY17622" fmla="*/ 1600110 h 4687251"/>
              <a:gd name="connsiteX17623" fmla="*/ 6181108 w 8079933"/>
              <a:gd name="connsiteY17623" fmla="*/ 1600023 h 4687251"/>
              <a:gd name="connsiteX17624" fmla="*/ 4434843 w 8079933"/>
              <a:gd name="connsiteY17624" fmla="*/ 1598808 h 4687251"/>
              <a:gd name="connsiteX17625" fmla="*/ 4434858 w 8079933"/>
              <a:gd name="connsiteY17625" fmla="*/ 1598831 h 4687251"/>
              <a:gd name="connsiteX17626" fmla="*/ 4438438 w 8079933"/>
              <a:gd name="connsiteY17626" fmla="*/ 1609767 h 4687251"/>
              <a:gd name="connsiteX17627" fmla="*/ 4441694 w 8079933"/>
              <a:gd name="connsiteY17627" fmla="*/ 1614747 h 4687251"/>
              <a:gd name="connsiteX17628" fmla="*/ 4442779 w 8079933"/>
              <a:gd name="connsiteY17628" fmla="*/ 1620594 h 4687251"/>
              <a:gd name="connsiteX17629" fmla="*/ 4445492 w 8079933"/>
              <a:gd name="connsiteY17629" fmla="*/ 1623084 h 4687251"/>
              <a:gd name="connsiteX17630" fmla="*/ 4445709 w 8079933"/>
              <a:gd name="connsiteY17630" fmla="*/ 1638025 h 4687251"/>
              <a:gd name="connsiteX17631" fmla="*/ 4445710 w 8079933"/>
              <a:gd name="connsiteY17631" fmla="*/ 1638024 h 4687251"/>
              <a:gd name="connsiteX17632" fmla="*/ 4445493 w 8079933"/>
              <a:gd name="connsiteY17632" fmla="*/ 1623083 h 4687251"/>
              <a:gd name="connsiteX17633" fmla="*/ 4442780 w 8079933"/>
              <a:gd name="connsiteY17633" fmla="*/ 1620593 h 4687251"/>
              <a:gd name="connsiteX17634" fmla="*/ 4441695 w 8079933"/>
              <a:gd name="connsiteY17634" fmla="*/ 1614747 h 4687251"/>
              <a:gd name="connsiteX17635" fmla="*/ 4438440 w 8079933"/>
              <a:gd name="connsiteY17635" fmla="*/ 1609766 h 4687251"/>
              <a:gd name="connsiteX17636" fmla="*/ 4434858 w 8079933"/>
              <a:gd name="connsiteY17636" fmla="*/ 1598831 h 4687251"/>
              <a:gd name="connsiteX17637" fmla="*/ 7349072 w 8079933"/>
              <a:gd name="connsiteY17637" fmla="*/ 1598290 h 4687251"/>
              <a:gd name="connsiteX17638" fmla="*/ 7350700 w 8079933"/>
              <a:gd name="connsiteY17638" fmla="*/ 1598615 h 4687251"/>
              <a:gd name="connsiteX17639" fmla="*/ 7350049 w 8079933"/>
              <a:gd name="connsiteY17639" fmla="*/ 1606410 h 4687251"/>
              <a:gd name="connsiteX17640" fmla="*/ 7348205 w 8079933"/>
              <a:gd name="connsiteY17640" fmla="*/ 1609008 h 4687251"/>
              <a:gd name="connsiteX17641" fmla="*/ 7346577 w 8079933"/>
              <a:gd name="connsiteY17641" fmla="*/ 1608467 h 4687251"/>
              <a:gd name="connsiteX17642" fmla="*/ 7348639 w 8079933"/>
              <a:gd name="connsiteY17642" fmla="*/ 1602296 h 4687251"/>
              <a:gd name="connsiteX17643" fmla="*/ 6265642 w 8079933"/>
              <a:gd name="connsiteY17643" fmla="*/ 1597749 h 4687251"/>
              <a:gd name="connsiteX17644" fmla="*/ 6265552 w 8079933"/>
              <a:gd name="connsiteY17644" fmla="*/ 1597776 h 4687251"/>
              <a:gd name="connsiteX17645" fmla="*/ 6269408 w 8079933"/>
              <a:gd name="connsiteY17645" fmla="*/ 1599853 h 4687251"/>
              <a:gd name="connsiteX17646" fmla="*/ 6843494 w 8079933"/>
              <a:gd name="connsiteY17646" fmla="*/ 1596403 h 4687251"/>
              <a:gd name="connsiteX17647" fmla="*/ 6843168 w 8079933"/>
              <a:gd name="connsiteY17647" fmla="*/ 1596882 h 4687251"/>
              <a:gd name="connsiteX17648" fmla="*/ 6843276 w 8079933"/>
              <a:gd name="connsiteY17648" fmla="*/ 1600130 h 4687251"/>
              <a:gd name="connsiteX17649" fmla="*/ 6843494 w 8079933"/>
              <a:gd name="connsiteY17649" fmla="*/ 1601490 h 4687251"/>
              <a:gd name="connsiteX17650" fmla="*/ 6843494 w 8079933"/>
              <a:gd name="connsiteY17650" fmla="*/ 1599157 h 4687251"/>
              <a:gd name="connsiteX17651" fmla="*/ 4438981 w 8079933"/>
              <a:gd name="connsiteY17651" fmla="*/ 1593310 h 4687251"/>
              <a:gd name="connsiteX17652" fmla="*/ 4438981 w 8079933"/>
              <a:gd name="connsiteY17652" fmla="*/ 1593310 h 4687251"/>
              <a:gd name="connsiteX17653" fmla="*/ 4437555 w 8079933"/>
              <a:gd name="connsiteY17653" fmla="*/ 1594298 h 4687251"/>
              <a:gd name="connsiteX17654" fmla="*/ 2221443 w 8079933"/>
              <a:gd name="connsiteY17654" fmla="*/ 1592552 h 4687251"/>
              <a:gd name="connsiteX17655" fmla="*/ 2222637 w 8079933"/>
              <a:gd name="connsiteY17655" fmla="*/ 1596342 h 4687251"/>
              <a:gd name="connsiteX17656" fmla="*/ 2217320 w 8079933"/>
              <a:gd name="connsiteY17656" fmla="*/ 1599265 h 4687251"/>
              <a:gd name="connsiteX17657" fmla="*/ 2214715 w 8079933"/>
              <a:gd name="connsiteY17657" fmla="*/ 1598507 h 4687251"/>
              <a:gd name="connsiteX17658" fmla="*/ 2216343 w 8079933"/>
              <a:gd name="connsiteY17658" fmla="*/ 1594717 h 4687251"/>
              <a:gd name="connsiteX17659" fmla="*/ 2219815 w 8079933"/>
              <a:gd name="connsiteY17659" fmla="*/ 1593960 h 4687251"/>
              <a:gd name="connsiteX17660" fmla="*/ 6845555 w 8079933"/>
              <a:gd name="connsiteY17660" fmla="*/ 1592030 h 4687251"/>
              <a:gd name="connsiteX17661" fmla="*/ 6845326 w 8079933"/>
              <a:gd name="connsiteY17661" fmla="*/ 1593311 h 4687251"/>
              <a:gd name="connsiteX17662" fmla="*/ 6845555 w 8079933"/>
              <a:gd name="connsiteY17662" fmla="*/ 1592985 h 4687251"/>
              <a:gd name="connsiteX17663" fmla="*/ 6516571 w 8079933"/>
              <a:gd name="connsiteY17663" fmla="*/ 1591722 h 4687251"/>
              <a:gd name="connsiteX17664" fmla="*/ 6516967 w 8079933"/>
              <a:gd name="connsiteY17664" fmla="*/ 1592119 h 4687251"/>
              <a:gd name="connsiteX17665" fmla="*/ 6516967 w 8079933"/>
              <a:gd name="connsiteY17665" fmla="*/ 1592118 h 4687251"/>
              <a:gd name="connsiteX17666" fmla="*/ 4460032 w 8079933"/>
              <a:gd name="connsiteY17666" fmla="*/ 1590603 h 4687251"/>
              <a:gd name="connsiteX17667" fmla="*/ 4454420 w 8079933"/>
              <a:gd name="connsiteY17667" fmla="*/ 1593354 h 4687251"/>
              <a:gd name="connsiteX17668" fmla="*/ 4460033 w 8079933"/>
              <a:gd name="connsiteY17668" fmla="*/ 1590603 h 4687251"/>
              <a:gd name="connsiteX17669" fmla="*/ 6514391 w 8079933"/>
              <a:gd name="connsiteY17669" fmla="*/ 1589335 h 4687251"/>
              <a:gd name="connsiteX17670" fmla="*/ 6516533 w 8079933"/>
              <a:gd name="connsiteY17670" fmla="*/ 1591685 h 4687251"/>
              <a:gd name="connsiteX17671" fmla="*/ 6516618 w 8079933"/>
              <a:gd name="connsiteY17671" fmla="*/ 1591661 h 4687251"/>
              <a:gd name="connsiteX17672" fmla="*/ 7353087 w 8079933"/>
              <a:gd name="connsiteY17672" fmla="*/ 1587788 h 4687251"/>
              <a:gd name="connsiteX17673" fmla="*/ 7355475 w 8079933"/>
              <a:gd name="connsiteY17673" fmla="*/ 1588763 h 4687251"/>
              <a:gd name="connsiteX17674" fmla="*/ 7354824 w 8079933"/>
              <a:gd name="connsiteY17674" fmla="*/ 1591253 h 4687251"/>
              <a:gd name="connsiteX17675" fmla="*/ 7352654 w 8079933"/>
              <a:gd name="connsiteY17675" fmla="*/ 1590603 h 4687251"/>
              <a:gd name="connsiteX17676" fmla="*/ 7352111 w 8079933"/>
              <a:gd name="connsiteY17676" fmla="*/ 1588871 h 4687251"/>
              <a:gd name="connsiteX17677" fmla="*/ 4610075 w 8079933"/>
              <a:gd name="connsiteY17677" fmla="*/ 1586667 h 4687251"/>
              <a:gd name="connsiteX17678" fmla="*/ 4610113 w 8079933"/>
              <a:gd name="connsiteY17678" fmla="*/ 1586813 h 4687251"/>
              <a:gd name="connsiteX17679" fmla="*/ 4615833 w 8079933"/>
              <a:gd name="connsiteY17679" fmla="*/ 1588278 h 4687251"/>
              <a:gd name="connsiteX17680" fmla="*/ 4615646 w 8079933"/>
              <a:gd name="connsiteY17680" fmla="*/ 1588114 h 4687251"/>
              <a:gd name="connsiteX17681" fmla="*/ 5273149 w 8079933"/>
              <a:gd name="connsiteY17681" fmla="*/ 1583607 h 4687251"/>
              <a:gd name="connsiteX17682" fmla="*/ 5273149 w 8079933"/>
              <a:gd name="connsiteY17682" fmla="*/ 1588005 h 4687251"/>
              <a:gd name="connsiteX17683" fmla="*/ 5272716 w 8079933"/>
              <a:gd name="connsiteY17683" fmla="*/ 1588827 h 4687251"/>
              <a:gd name="connsiteX17684" fmla="*/ 5273257 w 8079933"/>
              <a:gd name="connsiteY17684" fmla="*/ 1588438 h 4687251"/>
              <a:gd name="connsiteX17685" fmla="*/ 5273365 w 8079933"/>
              <a:gd name="connsiteY17685" fmla="*/ 1583673 h 4687251"/>
              <a:gd name="connsiteX17686" fmla="*/ 4461769 w 8079933"/>
              <a:gd name="connsiteY17686" fmla="*/ 1583349 h 4687251"/>
              <a:gd name="connsiteX17687" fmla="*/ 4464156 w 8079933"/>
              <a:gd name="connsiteY17687" fmla="*/ 1590278 h 4687251"/>
              <a:gd name="connsiteX17688" fmla="*/ 4464158 w 8079933"/>
              <a:gd name="connsiteY17688" fmla="*/ 1590277 h 4687251"/>
              <a:gd name="connsiteX17689" fmla="*/ 4461771 w 8079933"/>
              <a:gd name="connsiteY17689" fmla="*/ 1583349 h 4687251"/>
              <a:gd name="connsiteX17690" fmla="*/ 3844636 w 8079933"/>
              <a:gd name="connsiteY17690" fmla="*/ 1583133 h 4687251"/>
              <a:gd name="connsiteX17691" fmla="*/ 3843768 w 8079933"/>
              <a:gd name="connsiteY17691" fmla="*/ 1587139 h 4687251"/>
              <a:gd name="connsiteX17692" fmla="*/ 3844636 w 8079933"/>
              <a:gd name="connsiteY17692" fmla="*/ 1589629 h 4687251"/>
              <a:gd name="connsiteX17693" fmla="*/ 3838993 w 8079933"/>
              <a:gd name="connsiteY17693" fmla="*/ 1595367 h 4687251"/>
              <a:gd name="connsiteX17694" fmla="*/ 3834978 w 8079933"/>
              <a:gd name="connsiteY17694" fmla="*/ 1596017 h 4687251"/>
              <a:gd name="connsiteX17695" fmla="*/ 3836823 w 8079933"/>
              <a:gd name="connsiteY17695" fmla="*/ 1589845 h 4687251"/>
              <a:gd name="connsiteX17696" fmla="*/ 7356452 w 8079933"/>
              <a:gd name="connsiteY17696" fmla="*/ 1580642 h 4687251"/>
              <a:gd name="connsiteX17697" fmla="*/ 7358948 w 8079933"/>
              <a:gd name="connsiteY17697" fmla="*/ 1580750 h 4687251"/>
              <a:gd name="connsiteX17698" fmla="*/ 7357320 w 8079933"/>
              <a:gd name="connsiteY17698" fmla="*/ 1583565 h 4687251"/>
              <a:gd name="connsiteX17699" fmla="*/ 1191946 w 8079933"/>
              <a:gd name="connsiteY17699" fmla="*/ 1579775 h 4687251"/>
              <a:gd name="connsiteX17700" fmla="*/ 1197047 w 8079933"/>
              <a:gd name="connsiteY17700" fmla="*/ 1583781 h 4687251"/>
              <a:gd name="connsiteX17701" fmla="*/ 1201387 w 8079933"/>
              <a:gd name="connsiteY17701" fmla="*/ 1589952 h 4687251"/>
              <a:gd name="connsiteX17702" fmla="*/ 1199977 w 8079933"/>
              <a:gd name="connsiteY17702" fmla="*/ 1592334 h 4687251"/>
              <a:gd name="connsiteX17703" fmla="*/ 1193139 w 8079933"/>
              <a:gd name="connsiteY17703" fmla="*/ 1586163 h 4687251"/>
              <a:gd name="connsiteX17704" fmla="*/ 4471102 w 8079933"/>
              <a:gd name="connsiteY17704" fmla="*/ 1576745 h 4687251"/>
              <a:gd name="connsiteX17705" fmla="*/ 4471101 w 8079933"/>
              <a:gd name="connsiteY17705" fmla="*/ 1576745 h 4687251"/>
              <a:gd name="connsiteX17706" fmla="*/ 4468714 w 8079933"/>
              <a:gd name="connsiteY17706" fmla="*/ 1583024 h 4687251"/>
              <a:gd name="connsiteX17707" fmla="*/ 4468715 w 8079933"/>
              <a:gd name="connsiteY17707" fmla="*/ 1583024 h 4687251"/>
              <a:gd name="connsiteX17708" fmla="*/ 5246996 w 8079933"/>
              <a:gd name="connsiteY17708" fmla="*/ 1576183 h 4687251"/>
              <a:gd name="connsiteX17709" fmla="*/ 5246996 w 8079933"/>
              <a:gd name="connsiteY17709" fmla="*/ 1578261 h 4687251"/>
              <a:gd name="connsiteX17710" fmla="*/ 5247355 w 8079933"/>
              <a:gd name="connsiteY17710" fmla="*/ 1578261 h 4687251"/>
              <a:gd name="connsiteX17711" fmla="*/ 6569970 w 8079933"/>
              <a:gd name="connsiteY17711" fmla="*/ 1575832 h 4687251"/>
              <a:gd name="connsiteX17712" fmla="*/ 6566342 w 8079933"/>
              <a:gd name="connsiteY17712" fmla="*/ 1579451 h 4687251"/>
              <a:gd name="connsiteX17713" fmla="*/ 6557769 w 8079933"/>
              <a:gd name="connsiteY17713" fmla="*/ 1580967 h 4687251"/>
              <a:gd name="connsiteX17714" fmla="*/ 6552343 w 8079933"/>
              <a:gd name="connsiteY17714" fmla="*/ 1584757 h 4687251"/>
              <a:gd name="connsiteX17715" fmla="*/ 6540949 w 8079933"/>
              <a:gd name="connsiteY17715" fmla="*/ 1595585 h 4687251"/>
              <a:gd name="connsiteX17716" fmla="*/ 6538236 w 8079933"/>
              <a:gd name="connsiteY17716" fmla="*/ 1595585 h 4687251"/>
              <a:gd name="connsiteX17717" fmla="*/ 6534763 w 8079933"/>
              <a:gd name="connsiteY17717" fmla="*/ 1592661 h 4687251"/>
              <a:gd name="connsiteX17718" fmla="*/ 6527818 w 8079933"/>
              <a:gd name="connsiteY17718" fmla="*/ 1591686 h 4687251"/>
              <a:gd name="connsiteX17719" fmla="*/ 6523477 w 8079933"/>
              <a:gd name="connsiteY17719" fmla="*/ 1592444 h 4687251"/>
              <a:gd name="connsiteX17720" fmla="*/ 6522718 w 8079933"/>
              <a:gd name="connsiteY17720" fmla="*/ 1590820 h 4687251"/>
              <a:gd name="connsiteX17721" fmla="*/ 6519355 w 8079933"/>
              <a:gd name="connsiteY17721" fmla="*/ 1590820 h 4687251"/>
              <a:gd name="connsiteX17722" fmla="*/ 6517435 w 8079933"/>
              <a:gd name="connsiteY17722" fmla="*/ 1591433 h 4687251"/>
              <a:gd name="connsiteX17723" fmla="*/ 6519246 w 8079933"/>
              <a:gd name="connsiteY17723" fmla="*/ 1590927 h 4687251"/>
              <a:gd name="connsiteX17724" fmla="*/ 6522610 w 8079933"/>
              <a:gd name="connsiteY17724" fmla="*/ 1591360 h 4687251"/>
              <a:gd name="connsiteX17725" fmla="*/ 6523369 w 8079933"/>
              <a:gd name="connsiteY17725" fmla="*/ 1592984 h 4687251"/>
              <a:gd name="connsiteX17726" fmla="*/ 6527709 w 8079933"/>
              <a:gd name="connsiteY17726" fmla="*/ 1592226 h 4687251"/>
              <a:gd name="connsiteX17727" fmla="*/ 6534764 w 8079933"/>
              <a:gd name="connsiteY17727" fmla="*/ 1593201 h 4687251"/>
              <a:gd name="connsiteX17728" fmla="*/ 6538127 w 8079933"/>
              <a:gd name="connsiteY17728" fmla="*/ 1596124 h 4687251"/>
              <a:gd name="connsiteX17729" fmla="*/ 6540840 w 8079933"/>
              <a:gd name="connsiteY17729" fmla="*/ 1595691 h 4687251"/>
              <a:gd name="connsiteX17730" fmla="*/ 6552234 w 8079933"/>
              <a:gd name="connsiteY17730" fmla="*/ 1584864 h 4687251"/>
              <a:gd name="connsiteX17731" fmla="*/ 6557660 w 8079933"/>
              <a:gd name="connsiteY17731" fmla="*/ 1581074 h 4687251"/>
              <a:gd name="connsiteX17732" fmla="*/ 6566234 w 8079933"/>
              <a:gd name="connsiteY17732" fmla="*/ 1579667 h 4687251"/>
              <a:gd name="connsiteX17733" fmla="*/ 6569923 w 8079933"/>
              <a:gd name="connsiteY17733" fmla="*/ 1575985 h 4687251"/>
              <a:gd name="connsiteX17734" fmla="*/ 4212941 w 8079933"/>
              <a:gd name="connsiteY17734" fmla="*/ 1573929 h 4687251"/>
              <a:gd name="connsiteX17735" fmla="*/ 4214569 w 8079933"/>
              <a:gd name="connsiteY17735" fmla="*/ 1574795 h 4687251"/>
              <a:gd name="connsiteX17736" fmla="*/ 4216196 w 8079933"/>
              <a:gd name="connsiteY17736" fmla="*/ 1573929 h 4687251"/>
              <a:gd name="connsiteX17737" fmla="*/ 4219669 w 8079933"/>
              <a:gd name="connsiteY17737" fmla="*/ 1574687 h 4687251"/>
              <a:gd name="connsiteX17738" fmla="*/ 4218692 w 8079933"/>
              <a:gd name="connsiteY17738" fmla="*/ 1578585 h 4687251"/>
              <a:gd name="connsiteX17739" fmla="*/ 4220754 w 8079933"/>
              <a:gd name="connsiteY17739" fmla="*/ 1582266 h 4687251"/>
              <a:gd name="connsiteX17740" fmla="*/ 4220428 w 8079933"/>
              <a:gd name="connsiteY17740" fmla="*/ 1584432 h 4687251"/>
              <a:gd name="connsiteX17741" fmla="*/ 4217498 w 8079933"/>
              <a:gd name="connsiteY17741" fmla="*/ 1583566 h 4687251"/>
              <a:gd name="connsiteX17742" fmla="*/ 4214460 w 8079933"/>
              <a:gd name="connsiteY17742" fmla="*/ 1587789 h 4687251"/>
              <a:gd name="connsiteX17743" fmla="*/ 4209577 w 8079933"/>
              <a:gd name="connsiteY17743" fmla="*/ 1586164 h 4687251"/>
              <a:gd name="connsiteX17744" fmla="*/ 4208275 w 8079933"/>
              <a:gd name="connsiteY17744" fmla="*/ 1584432 h 4687251"/>
              <a:gd name="connsiteX17745" fmla="*/ 4209360 w 8079933"/>
              <a:gd name="connsiteY17745" fmla="*/ 1581076 h 4687251"/>
              <a:gd name="connsiteX17746" fmla="*/ 4212290 w 8079933"/>
              <a:gd name="connsiteY17746" fmla="*/ 1579343 h 4687251"/>
              <a:gd name="connsiteX17747" fmla="*/ 4213267 w 8079933"/>
              <a:gd name="connsiteY17747" fmla="*/ 1578043 h 4687251"/>
              <a:gd name="connsiteX17748" fmla="*/ 4209577 w 8079933"/>
              <a:gd name="connsiteY17748" fmla="*/ 1577719 h 4687251"/>
              <a:gd name="connsiteX17749" fmla="*/ 4209360 w 8079933"/>
              <a:gd name="connsiteY17749" fmla="*/ 1574795 h 4687251"/>
              <a:gd name="connsiteX17750" fmla="*/ 5249058 w 8079933"/>
              <a:gd name="connsiteY17750" fmla="*/ 1573281 h 4687251"/>
              <a:gd name="connsiteX17751" fmla="*/ 5246996 w 8079933"/>
              <a:gd name="connsiteY17751" fmla="*/ 1575121 h 4687251"/>
              <a:gd name="connsiteX17752" fmla="*/ 5246996 w 8079933"/>
              <a:gd name="connsiteY17752" fmla="*/ 1575456 h 4687251"/>
              <a:gd name="connsiteX17753" fmla="*/ 5248949 w 8079933"/>
              <a:gd name="connsiteY17753" fmla="*/ 1573713 h 4687251"/>
              <a:gd name="connsiteX17754" fmla="*/ 5255352 w 8079933"/>
              <a:gd name="connsiteY17754" fmla="*/ 1573496 h 4687251"/>
              <a:gd name="connsiteX17755" fmla="*/ 5255271 w 8079933"/>
              <a:gd name="connsiteY17755" fmla="*/ 1573281 h 4687251"/>
              <a:gd name="connsiteX17756" fmla="*/ 7358080 w 8079933"/>
              <a:gd name="connsiteY17756" fmla="*/ 1570789 h 4687251"/>
              <a:gd name="connsiteX17757" fmla="*/ 7359057 w 8079933"/>
              <a:gd name="connsiteY17757" fmla="*/ 1573387 h 4687251"/>
              <a:gd name="connsiteX17758" fmla="*/ 7357755 w 8079933"/>
              <a:gd name="connsiteY17758" fmla="*/ 1576961 h 4687251"/>
              <a:gd name="connsiteX17759" fmla="*/ 7356452 w 8079933"/>
              <a:gd name="connsiteY17759" fmla="*/ 1573063 h 4687251"/>
              <a:gd name="connsiteX17760" fmla="*/ 6148736 w 8079933"/>
              <a:gd name="connsiteY17760" fmla="*/ 1569645 h 4687251"/>
              <a:gd name="connsiteX17761" fmla="*/ 6149313 w 8079933"/>
              <a:gd name="connsiteY17761" fmla="*/ 1569924 h 4687251"/>
              <a:gd name="connsiteX17762" fmla="*/ 6153437 w 8079933"/>
              <a:gd name="connsiteY17762" fmla="*/ 1570573 h 4687251"/>
              <a:gd name="connsiteX17763" fmla="*/ 6162723 w 8079933"/>
              <a:gd name="connsiteY17763" fmla="*/ 1570274 h 4687251"/>
              <a:gd name="connsiteX17764" fmla="*/ 6162659 w 8079933"/>
              <a:gd name="connsiteY17764" fmla="*/ 1570249 h 4687251"/>
              <a:gd name="connsiteX17765" fmla="*/ 6152568 w 8079933"/>
              <a:gd name="connsiteY17765" fmla="*/ 1570249 h 4687251"/>
              <a:gd name="connsiteX17766" fmla="*/ 6782339 w 8079933"/>
              <a:gd name="connsiteY17766" fmla="*/ 1568639 h 4687251"/>
              <a:gd name="connsiteX17767" fmla="*/ 6781964 w 8079933"/>
              <a:gd name="connsiteY17767" fmla="*/ 1569056 h 4687251"/>
              <a:gd name="connsiteX17768" fmla="*/ 6783483 w 8079933"/>
              <a:gd name="connsiteY17768" fmla="*/ 1570463 h 4687251"/>
              <a:gd name="connsiteX17769" fmla="*/ 6788800 w 8079933"/>
              <a:gd name="connsiteY17769" fmla="*/ 1570897 h 4687251"/>
              <a:gd name="connsiteX17770" fmla="*/ 6791188 w 8079933"/>
              <a:gd name="connsiteY17770" fmla="*/ 1572196 h 4687251"/>
              <a:gd name="connsiteX17771" fmla="*/ 6792816 w 8079933"/>
              <a:gd name="connsiteY17771" fmla="*/ 1574036 h 4687251"/>
              <a:gd name="connsiteX17772" fmla="*/ 6795746 w 8079933"/>
              <a:gd name="connsiteY17772" fmla="*/ 1575985 h 4687251"/>
              <a:gd name="connsiteX17773" fmla="*/ 6796397 w 8079933"/>
              <a:gd name="connsiteY17773" fmla="*/ 1574036 h 4687251"/>
              <a:gd name="connsiteX17774" fmla="*/ 6798784 w 8079933"/>
              <a:gd name="connsiteY17774" fmla="*/ 1573062 h 4687251"/>
              <a:gd name="connsiteX17775" fmla="*/ 6801280 w 8079933"/>
              <a:gd name="connsiteY17775" fmla="*/ 1573820 h 4687251"/>
              <a:gd name="connsiteX17776" fmla="*/ 6802257 w 8079933"/>
              <a:gd name="connsiteY17776" fmla="*/ 1570897 h 4687251"/>
              <a:gd name="connsiteX17777" fmla="*/ 6804644 w 8079933"/>
              <a:gd name="connsiteY17777" fmla="*/ 1570572 h 4687251"/>
              <a:gd name="connsiteX17778" fmla="*/ 6806489 w 8079933"/>
              <a:gd name="connsiteY17778" fmla="*/ 1572304 h 4687251"/>
              <a:gd name="connsiteX17779" fmla="*/ 6807466 w 8079933"/>
              <a:gd name="connsiteY17779" fmla="*/ 1575011 h 4687251"/>
              <a:gd name="connsiteX17780" fmla="*/ 6809853 w 8079933"/>
              <a:gd name="connsiteY17780" fmla="*/ 1577826 h 4687251"/>
              <a:gd name="connsiteX17781" fmla="*/ 6812458 w 8079933"/>
              <a:gd name="connsiteY17781" fmla="*/ 1578151 h 4687251"/>
              <a:gd name="connsiteX17782" fmla="*/ 6813217 w 8079933"/>
              <a:gd name="connsiteY17782" fmla="*/ 1580533 h 4687251"/>
              <a:gd name="connsiteX17783" fmla="*/ 6815714 w 8079933"/>
              <a:gd name="connsiteY17783" fmla="*/ 1582590 h 4687251"/>
              <a:gd name="connsiteX17784" fmla="*/ 6817015 w 8079933"/>
              <a:gd name="connsiteY17784" fmla="*/ 1582481 h 4687251"/>
              <a:gd name="connsiteX17785" fmla="*/ 6819185 w 8079933"/>
              <a:gd name="connsiteY17785" fmla="*/ 1584755 h 4687251"/>
              <a:gd name="connsiteX17786" fmla="*/ 6819728 w 8079933"/>
              <a:gd name="connsiteY17786" fmla="*/ 1587029 h 4687251"/>
              <a:gd name="connsiteX17787" fmla="*/ 6824937 w 8079933"/>
              <a:gd name="connsiteY17787" fmla="*/ 1589411 h 4687251"/>
              <a:gd name="connsiteX17788" fmla="*/ 6826130 w 8079933"/>
              <a:gd name="connsiteY17788" fmla="*/ 1590494 h 4687251"/>
              <a:gd name="connsiteX17789" fmla="*/ 6828409 w 8079933"/>
              <a:gd name="connsiteY17789" fmla="*/ 1590818 h 4687251"/>
              <a:gd name="connsiteX17790" fmla="*/ 6830905 w 8079933"/>
              <a:gd name="connsiteY17790" fmla="*/ 1592659 h 4687251"/>
              <a:gd name="connsiteX17791" fmla="*/ 6834161 w 8079933"/>
              <a:gd name="connsiteY17791" fmla="*/ 1593309 h 4687251"/>
              <a:gd name="connsiteX17792" fmla="*/ 6836657 w 8079933"/>
              <a:gd name="connsiteY17792" fmla="*/ 1592551 h 4687251"/>
              <a:gd name="connsiteX17793" fmla="*/ 6839478 w 8079933"/>
              <a:gd name="connsiteY17793" fmla="*/ 1592226 h 4687251"/>
              <a:gd name="connsiteX17794" fmla="*/ 6841974 w 8079933"/>
              <a:gd name="connsiteY17794" fmla="*/ 1590385 h 4687251"/>
              <a:gd name="connsiteX17795" fmla="*/ 6843927 w 8079933"/>
              <a:gd name="connsiteY17795" fmla="*/ 1589952 h 4687251"/>
              <a:gd name="connsiteX17796" fmla="*/ 6845555 w 8079933"/>
              <a:gd name="connsiteY17796" fmla="*/ 1590716 h 4687251"/>
              <a:gd name="connsiteX17797" fmla="*/ 6845555 w 8079933"/>
              <a:gd name="connsiteY17797" fmla="*/ 1589846 h 4687251"/>
              <a:gd name="connsiteX17798" fmla="*/ 6843710 w 8079933"/>
              <a:gd name="connsiteY17798" fmla="*/ 1588979 h 4687251"/>
              <a:gd name="connsiteX17799" fmla="*/ 6841865 w 8079933"/>
              <a:gd name="connsiteY17799" fmla="*/ 1588979 h 4687251"/>
              <a:gd name="connsiteX17800" fmla="*/ 6839370 w 8079933"/>
              <a:gd name="connsiteY17800" fmla="*/ 1590820 h 4687251"/>
              <a:gd name="connsiteX17801" fmla="*/ 6836548 w 8079933"/>
              <a:gd name="connsiteY17801" fmla="*/ 1590820 h 4687251"/>
              <a:gd name="connsiteX17802" fmla="*/ 6834053 w 8079933"/>
              <a:gd name="connsiteY17802" fmla="*/ 1591578 h 4687251"/>
              <a:gd name="connsiteX17803" fmla="*/ 6830796 w 8079933"/>
              <a:gd name="connsiteY17803" fmla="*/ 1590928 h 4687251"/>
              <a:gd name="connsiteX17804" fmla="*/ 6828410 w 8079933"/>
              <a:gd name="connsiteY17804" fmla="*/ 1588979 h 4687251"/>
              <a:gd name="connsiteX17805" fmla="*/ 6826130 w 8079933"/>
              <a:gd name="connsiteY17805" fmla="*/ 1588979 h 4687251"/>
              <a:gd name="connsiteX17806" fmla="*/ 6824937 w 8079933"/>
              <a:gd name="connsiteY17806" fmla="*/ 1587896 h 4687251"/>
              <a:gd name="connsiteX17807" fmla="*/ 6819728 w 8079933"/>
              <a:gd name="connsiteY17807" fmla="*/ 1585623 h 4687251"/>
              <a:gd name="connsiteX17808" fmla="*/ 6819077 w 8079933"/>
              <a:gd name="connsiteY17808" fmla="*/ 1583349 h 4687251"/>
              <a:gd name="connsiteX17809" fmla="*/ 6816907 w 8079933"/>
              <a:gd name="connsiteY17809" fmla="*/ 1581076 h 4687251"/>
              <a:gd name="connsiteX17810" fmla="*/ 6815604 w 8079933"/>
              <a:gd name="connsiteY17810" fmla="*/ 1581076 h 4687251"/>
              <a:gd name="connsiteX17811" fmla="*/ 6813108 w 8079933"/>
              <a:gd name="connsiteY17811" fmla="*/ 1579018 h 4687251"/>
              <a:gd name="connsiteX17812" fmla="*/ 6812349 w 8079933"/>
              <a:gd name="connsiteY17812" fmla="*/ 1576745 h 4687251"/>
              <a:gd name="connsiteX17813" fmla="*/ 6809744 w 8079933"/>
              <a:gd name="connsiteY17813" fmla="*/ 1576745 h 4687251"/>
              <a:gd name="connsiteX17814" fmla="*/ 6807248 w 8079933"/>
              <a:gd name="connsiteY17814" fmla="*/ 1573930 h 4687251"/>
              <a:gd name="connsiteX17815" fmla="*/ 6806272 w 8079933"/>
              <a:gd name="connsiteY17815" fmla="*/ 1571224 h 4687251"/>
              <a:gd name="connsiteX17816" fmla="*/ 6804428 w 8079933"/>
              <a:gd name="connsiteY17816" fmla="*/ 1569491 h 4687251"/>
              <a:gd name="connsiteX17817" fmla="*/ 6802040 w 8079933"/>
              <a:gd name="connsiteY17817" fmla="*/ 1569491 h 4687251"/>
              <a:gd name="connsiteX17818" fmla="*/ 6801063 w 8079933"/>
              <a:gd name="connsiteY17818" fmla="*/ 1572306 h 4687251"/>
              <a:gd name="connsiteX17819" fmla="*/ 6798567 w 8079933"/>
              <a:gd name="connsiteY17819" fmla="*/ 1571656 h 4687251"/>
              <a:gd name="connsiteX17820" fmla="*/ 6796180 w 8079933"/>
              <a:gd name="connsiteY17820" fmla="*/ 1572631 h 4687251"/>
              <a:gd name="connsiteX17821" fmla="*/ 6795529 w 8079933"/>
              <a:gd name="connsiteY17821" fmla="*/ 1574471 h 4687251"/>
              <a:gd name="connsiteX17822" fmla="*/ 6792599 w 8079933"/>
              <a:gd name="connsiteY17822" fmla="*/ 1572631 h 4687251"/>
              <a:gd name="connsiteX17823" fmla="*/ 6791080 w 8079933"/>
              <a:gd name="connsiteY17823" fmla="*/ 1570790 h 4687251"/>
              <a:gd name="connsiteX17824" fmla="*/ 6788692 w 8079933"/>
              <a:gd name="connsiteY17824" fmla="*/ 1569599 h 4687251"/>
              <a:gd name="connsiteX17825" fmla="*/ 6783375 w 8079933"/>
              <a:gd name="connsiteY17825" fmla="*/ 1569599 h 4687251"/>
              <a:gd name="connsiteX17826" fmla="*/ 4131652 w 8079933"/>
              <a:gd name="connsiteY17826" fmla="*/ 1568558 h 4687251"/>
              <a:gd name="connsiteX17827" fmla="*/ 4129817 w 8079933"/>
              <a:gd name="connsiteY17827" fmla="*/ 1568840 h 4687251"/>
              <a:gd name="connsiteX17828" fmla="*/ 4129818 w 8079933"/>
              <a:gd name="connsiteY17828" fmla="*/ 1568840 h 4687251"/>
              <a:gd name="connsiteX17829" fmla="*/ 6139502 w 8079933"/>
              <a:gd name="connsiteY17829" fmla="*/ 1567389 h 4687251"/>
              <a:gd name="connsiteX17830" fmla="*/ 6139763 w 8079933"/>
              <a:gd name="connsiteY17830" fmla="*/ 1567649 h 4687251"/>
              <a:gd name="connsiteX17831" fmla="*/ 6145697 w 8079933"/>
              <a:gd name="connsiteY17831" fmla="*/ 1568273 h 4687251"/>
              <a:gd name="connsiteX17832" fmla="*/ 6145080 w 8079933"/>
              <a:gd name="connsiteY17832" fmla="*/ 1567975 h 4687251"/>
              <a:gd name="connsiteX17833" fmla="*/ 4149460 w 8079933"/>
              <a:gd name="connsiteY17833" fmla="*/ 1566458 h 4687251"/>
              <a:gd name="connsiteX17834" fmla="*/ 4154668 w 8079933"/>
              <a:gd name="connsiteY17834" fmla="*/ 1568407 h 4687251"/>
              <a:gd name="connsiteX17835" fmla="*/ 4153041 w 8079933"/>
              <a:gd name="connsiteY17835" fmla="*/ 1570031 h 4687251"/>
              <a:gd name="connsiteX17836" fmla="*/ 6085504 w 8079933"/>
              <a:gd name="connsiteY17836" fmla="*/ 1566135 h 4687251"/>
              <a:gd name="connsiteX17837" fmla="*/ 6081598 w 8079933"/>
              <a:gd name="connsiteY17837" fmla="*/ 1567542 h 4687251"/>
              <a:gd name="connsiteX17838" fmla="*/ 6079211 w 8079933"/>
              <a:gd name="connsiteY17838" fmla="*/ 1571548 h 4687251"/>
              <a:gd name="connsiteX17839" fmla="*/ 6079211 w 8079933"/>
              <a:gd name="connsiteY17839" fmla="*/ 1575121 h 4687251"/>
              <a:gd name="connsiteX17840" fmla="*/ 6074328 w 8079933"/>
              <a:gd name="connsiteY17840" fmla="*/ 1580643 h 4687251"/>
              <a:gd name="connsiteX17841" fmla="*/ 6074328 w 8079933"/>
              <a:gd name="connsiteY17841" fmla="*/ 1592336 h 4687251"/>
              <a:gd name="connsiteX17842" fmla="*/ 6076064 w 8079933"/>
              <a:gd name="connsiteY17842" fmla="*/ 1598183 h 4687251"/>
              <a:gd name="connsiteX17843" fmla="*/ 6083117 w 8079933"/>
              <a:gd name="connsiteY17843" fmla="*/ 1600023 h 4687251"/>
              <a:gd name="connsiteX17844" fmla="*/ 6085504 w 8079933"/>
              <a:gd name="connsiteY17844" fmla="*/ 1603163 h 4687251"/>
              <a:gd name="connsiteX17845" fmla="*/ 6089954 w 8079933"/>
              <a:gd name="connsiteY17845" fmla="*/ 1604679 h 4687251"/>
              <a:gd name="connsiteX17846" fmla="*/ 6090822 w 8079933"/>
              <a:gd name="connsiteY17846" fmla="*/ 1607818 h 4687251"/>
              <a:gd name="connsiteX17847" fmla="*/ 6089411 w 8079933"/>
              <a:gd name="connsiteY17847" fmla="*/ 1615506 h 4687251"/>
              <a:gd name="connsiteX17848" fmla="*/ 6089411 w 8079933"/>
              <a:gd name="connsiteY17848" fmla="*/ 1622760 h 4687251"/>
              <a:gd name="connsiteX17849" fmla="*/ 6094185 w 8079933"/>
              <a:gd name="connsiteY17849" fmla="*/ 1626008 h 4687251"/>
              <a:gd name="connsiteX17850" fmla="*/ 6096791 w 8079933"/>
              <a:gd name="connsiteY17850" fmla="*/ 1628932 h 4687251"/>
              <a:gd name="connsiteX17851" fmla="*/ 6092441 w 8079933"/>
              <a:gd name="connsiteY17851" fmla="*/ 1636022 h 4687251"/>
              <a:gd name="connsiteX17852" fmla="*/ 6092884 w 8079933"/>
              <a:gd name="connsiteY17852" fmla="*/ 1635968 h 4687251"/>
              <a:gd name="connsiteX17853" fmla="*/ 6097334 w 8079933"/>
              <a:gd name="connsiteY17853" fmla="*/ 1628714 h 4687251"/>
              <a:gd name="connsiteX17854" fmla="*/ 6094729 w 8079933"/>
              <a:gd name="connsiteY17854" fmla="*/ 1625791 h 4687251"/>
              <a:gd name="connsiteX17855" fmla="*/ 6089955 w 8079933"/>
              <a:gd name="connsiteY17855" fmla="*/ 1622543 h 4687251"/>
              <a:gd name="connsiteX17856" fmla="*/ 6090172 w 8079933"/>
              <a:gd name="connsiteY17856" fmla="*/ 1615289 h 4687251"/>
              <a:gd name="connsiteX17857" fmla="*/ 6091474 w 8079933"/>
              <a:gd name="connsiteY17857" fmla="*/ 1607602 h 4687251"/>
              <a:gd name="connsiteX17858" fmla="*/ 6090606 w 8079933"/>
              <a:gd name="connsiteY17858" fmla="*/ 1604462 h 4687251"/>
              <a:gd name="connsiteX17859" fmla="*/ 6086156 w 8079933"/>
              <a:gd name="connsiteY17859" fmla="*/ 1602946 h 4687251"/>
              <a:gd name="connsiteX17860" fmla="*/ 6083770 w 8079933"/>
              <a:gd name="connsiteY17860" fmla="*/ 1599806 h 4687251"/>
              <a:gd name="connsiteX17861" fmla="*/ 6076715 w 8079933"/>
              <a:gd name="connsiteY17861" fmla="*/ 1597965 h 4687251"/>
              <a:gd name="connsiteX17862" fmla="*/ 6074979 w 8079933"/>
              <a:gd name="connsiteY17862" fmla="*/ 1592119 h 4687251"/>
              <a:gd name="connsiteX17863" fmla="*/ 6075088 w 8079933"/>
              <a:gd name="connsiteY17863" fmla="*/ 1580426 h 4687251"/>
              <a:gd name="connsiteX17864" fmla="*/ 6079971 w 8079933"/>
              <a:gd name="connsiteY17864" fmla="*/ 1574904 h 4687251"/>
              <a:gd name="connsiteX17865" fmla="*/ 6079971 w 8079933"/>
              <a:gd name="connsiteY17865" fmla="*/ 1571331 h 4687251"/>
              <a:gd name="connsiteX17866" fmla="*/ 6082358 w 8079933"/>
              <a:gd name="connsiteY17866" fmla="*/ 1567325 h 4687251"/>
              <a:gd name="connsiteX17867" fmla="*/ 6085627 w 8079933"/>
              <a:gd name="connsiteY17867" fmla="*/ 1566179 h 4687251"/>
              <a:gd name="connsiteX17868" fmla="*/ 5245336 w 8079933"/>
              <a:gd name="connsiteY17868" fmla="*/ 1565524 h 4687251"/>
              <a:gd name="connsiteX17869" fmla="*/ 5243198 w 8079933"/>
              <a:gd name="connsiteY17869" fmla="*/ 1567759 h 4687251"/>
              <a:gd name="connsiteX17870" fmla="*/ 5243275 w 8079933"/>
              <a:gd name="connsiteY17870" fmla="*/ 1567780 h 4687251"/>
              <a:gd name="connsiteX17871" fmla="*/ 5245368 w 8079933"/>
              <a:gd name="connsiteY17871" fmla="*/ 1565593 h 4687251"/>
              <a:gd name="connsiteX17872" fmla="*/ 6562544 w 8079933"/>
              <a:gd name="connsiteY17872" fmla="*/ 1564942 h 4687251"/>
              <a:gd name="connsiteX17873" fmla="*/ 6562544 w 8079933"/>
              <a:gd name="connsiteY17873" fmla="*/ 1565268 h 4687251"/>
              <a:gd name="connsiteX17874" fmla="*/ 6563981 w 8079933"/>
              <a:gd name="connsiteY17874" fmla="*/ 1565268 h 4687251"/>
              <a:gd name="connsiteX17875" fmla="*/ 4168883 w 8079933"/>
              <a:gd name="connsiteY17875" fmla="*/ 1564835 h 4687251"/>
              <a:gd name="connsiteX17876" fmla="*/ 4173224 w 8079933"/>
              <a:gd name="connsiteY17876" fmla="*/ 1571006 h 4687251"/>
              <a:gd name="connsiteX17877" fmla="*/ 4176262 w 8079933"/>
              <a:gd name="connsiteY17877" fmla="*/ 1570031 h 4687251"/>
              <a:gd name="connsiteX17878" fmla="*/ 4178757 w 8079933"/>
              <a:gd name="connsiteY17878" fmla="*/ 1570031 h 4687251"/>
              <a:gd name="connsiteX17879" fmla="*/ 4180277 w 8079933"/>
              <a:gd name="connsiteY17879" fmla="*/ 1566459 h 4687251"/>
              <a:gd name="connsiteX17880" fmla="*/ 4184183 w 8079933"/>
              <a:gd name="connsiteY17880" fmla="*/ 1566676 h 4687251"/>
              <a:gd name="connsiteX17881" fmla="*/ 4185052 w 8079933"/>
              <a:gd name="connsiteY17881" fmla="*/ 1565918 h 4687251"/>
              <a:gd name="connsiteX17882" fmla="*/ 4185811 w 8079933"/>
              <a:gd name="connsiteY17882" fmla="*/ 1569274 h 4687251"/>
              <a:gd name="connsiteX17883" fmla="*/ 4183641 w 8079933"/>
              <a:gd name="connsiteY17883" fmla="*/ 1573388 h 4687251"/>
              <a:gd name="connsiteX17884" fmla="*/ 4183749 w 8079933"/>
              <a:gd name="connsiteY17884" fmla="*/ 1577286 h 4687251"/>
              <a:gd name="connsiteX17885" fmla="*/ 4182555 w 8079933"/>
              <a:gd name="connsiteY17885" fmla="*/ 1576636 h 4687251"/>
              <a:gd name="connsiteX17886" fmla="*/ 4181362 w 8079933"/>
              <a:gd name="connsiteY17886" fmla="*/ 1572955 h 4687251"/>
              <a:gd name="connsiteX17887" fmla="*/ 4179083 w 8079933"/>
              <a:gd name="connsiteY17887" fmla="*/ 1575986 h 4687251"/>
              <a:gd name="connsiteX17888" fmla="*/ 4172355 w 8079933"/>
              <a:gd name="connsiteY17888" fmla="*/ 1576528 h 4687251"/>
              <a:gd name="connsiteX17889" fmla="*/ 4165519 w 8079933"/>
              <a:gd name="connsiteY17889" fmla="*/ 1574255 h 4687251"/>
              <a:gd name="connsiteX17890" fmla="*/ 4163566 w 8079933"/>
              <a:gd name="connsiteY17890" fmla="*/ 1571547 h 4687251"/>
              <a:gd name="connsiteX17891" fmla="*/ 4166279 w 8079933"/>
              <a:gd name="connsiteY17891" fmla="*/ 1570573 h 4687251"/>
              <a:gd name="connsiteX17892" fmla="*/ 4164651 w 8079933"/>
              <a:gd name="connsiteY17892" fmla="*/ 1568408 h 4687251"/>
              <a:gd name="connsiteX17893" fmla="*/ 4166604 w 8079933"/>
              <a:gd name="connsiteY17893" fmla="*/ 1565376 h 4687251"/>
              <a:gd name="connsiteX17894" fmla="*/ 6119364 w 8079933"/>
              <a:gd name="connsiteY17894" fmla="*/ 1562994 h 4687251"/>
              <a:gd name="connsiteX17895" fmla="*/ 6119688 w 8079933"/>
              <a:gd name="connsiteY17895" fmla="*/ 1563102 h 4687251"/>
              <a:gd name="connsiteX17896" fmla="*/ 6125656 w 8079933"/>
              <a:gd name="connsiteY17896" fmla="*/ 1563643 h 4687251"/>
              <a:gd name="connsiteX17897" fmla="*/ 6133874 w 8079933"/>
              <a:gd name="connsiteY17897" fmla="*/ 1563336 h 4687251"/>
              <a:gd name="connsiteX17898" fmla="*/ 6133361 w 8079933"/>
              <a:gd name="connsiteY17898" fmla="*/ 1562994 h 4687251"/>
              <a:gd name="connsiteX17899" fmla="*/ 6124788 w 8079933"/>
              <a:gd name="connsiteY17899" fmla="*/ 1562994 h 4687251"/>
              <a:gd name="connsiteX17900" fmla="*/ 4477288 w 8079933"/>
              <a:gd name="connsiteY17900" fmla="*/ 1562669 h 4687251"/>
              <a:gd name="connsiteX17901" fmla="*/ 4477287 w 8079933"/>
              <a:gd name="connsiteY17901" fmla="*/ 1562669 h 4687251"/>
              <a:gd name="connsiteX17902" fmla="*/ 4475876 w 8079933"/>
              <a:gd name="connsiteY17902" fmla="*/ 1569923 h 4687251"/>
              <a:gd name="connsiteX17903" fmla="*/ 4482170 w 8079933"/>
              <a:gd name="connsiteY17903" fmla="*/ 1573063 h 4687251"/>
              <a:gd name="connsiteX17904" fmla="*/ 4482170 w 8079933"/>
              <a:gd name="connsiteY17904" fmla="*/ 1578151 h 4687251"/>
              <a:gd name="connsiteX17905" fmla="*/ 4482172 w 8079933"/>
              <a:gd name="connsiteY17905" fmla="*/ 1578151 h 4687251"/>
              <a:gd name="connsiteX17906" fmla="*/ 4482172 w 8079933"/>
              <a:gd name="connsiteY17906" fmla="*/ 1573062 h 4687251"/>
              <a:gd name="connsiteX17907" fmla="*/ 4475878 w 8079933"/>
              <a:gd name="connsiteY17907" fmla="*/ 1569922 h 4687251"/>
              <a:gd name="connsiteX17908" fmla="*/ 1185760 w 8079933"/>
              <a:gd name="connsiteY17908" fmla="*/ 1561153 h 4687251"/>
              <a:gd name="connsiteX17909" fmla="*/ 1183373 w 8079933"/>
              <a:gd name="connsiteY17909" fmla="*/ 1569057 h 4687251"/>
              <a:gd name="connsiteX17910" fmla="*/ 1182288 w 8079933"/>
              <a:gd name="connsiteY17910" fmla="*/ 1562235 h 4687251"/>
              <a:gd name="connsiteX17911" fmla="*/ 4192215 w 8079933"/>
              <a:gd name="connsiteY17911" fmla="*/ 1561045 h 4687251"/>
              <a:gd name="connsiteX17912" fmla="*/ 4192866 w 8079933"/>
              <a:gd name="connsiteY17912" fmla="*/ 1563643 h 4687251"/>
              <a:gd name="connsiteX17913" fmla="*/ 4189719 w 8079933"/>
              <a:gd name="connsiteY17913" fmla="*/ 1564185 h 4687251"/>
              <a:gd name="connsiteX17914" fmla="*/ 4187549 w 8079933"/>
              <a:gd name="connsiteY17914" fmla="*/ 1567324 h 4687251"/>
              <a:gd name="connsiteX17915" fmla="*/ 4186789 w 8079933"/>
              <a:gd name="connsiteY17915" fmla="*/ 1565483 h 4687251"/>
              <a:gd name="connsiteX17916" fmla="*/ 4188742 w 8079933"/>
              <a:gd name="connsiteY17916" fmla="*/ 1562452 h 4687251"/>
              <a:gd name="connsiteX17917" fmla="*/ 4160202 w 8079933"/>
              <a:gd name="connsiteY17917" fmla="*/ 1558772 h 4687251"/>
              <a:gd name="connsiteX17918" fmla="*/ 4163349 w 8079933"/>
              <a:gd name="connsiteY17918" fmla="*/ 1562237 h 4687251"/>
              <a:gd name="connsiteX17919" fmla="*/ 4160636 w 8079933"/>
              <a:gd name="connsiteY17919" fmla="*/ 1567759 h 4687251"/>
              <a:gd name="connsiteX17920" fmla="*/ 4157923 w 8079933"/>
              <a:gd name="connsiteY17920" fmla="*/ 1571331 h 4687251"/>
              <a:gd name="connsiteX17921" fmla="*/ 4157055 w 8079933"/>
              <a:gd name="connsiteY17921" fmla="*/ 1569057 h 4687251"/>
              <a:gd name="connsiteX17922" fmla="*/ 4159008 w 8079933"/>
              <a:gd name="connsiteY17922" fmla="*/ 1565268 h 4687251"/>
              <a:gd name="connsiteX17923" fmla="*/ 5244609 w 8079933"/>
              <a:gd name="connsiteY17923" fmla="*/ 1558122 h 4687251"/>
              <a:gd name="connsiteX17924" fmla="*/ 5242873 w 8079933"/>
              <a:gd name="connsiteY17924" fmla="*/ 1559638 h 4687251"/>
              <a:gd name="connsiteX17925" fmla="*/ 5242947 w 8079933"/>
              <a:gd name="connsiteY17925" fmla="*/ 1559803 h 4687251"/>
              <a:gd name="connsiteX17926" fmla="*/ 5244500 w 8079933"/>
              <a:gd name="connsiteY17926" fmla="*/ 1558447 h 4687251"/>
              <a:gd name="connsiteX17927" fmla="*/ 5248322 w 8079933"/>
              <a:gd name="connsiteY17927" fmla="*/ 1558122 h 4687251"/>
              <a:gd name="connsiteX17928" fmla="*/ 7358731 w 8079933"/>
              <a:gd name="connsiteY17928" fmla="*/ 1557256 h 4687251"/>
              <a:gd name="connsiteX17929" fmla="*/ 7361011 w 8079933"/>
              <a:gd name="connsiteY17929" fmla="*/ 1558772 h 4687251"/>
              <a:gd name="connsiteX17930" fmla="*/ 7359057 w 8079933"/>
              <a:gd name="connsiteY17930" fmla="*/ 1560180 h 4687251"/>
              <a:gd name="connsiteX17931" fmla="*/ 7357212 w 8079933"/>
              <a:gd name="connsiteY17931" fmla="*/ 1558122 h 4687251"/>
              <a:gd name="connsiteX17932" fmla="*/ 5262732 w 8079933"/>
              <a:gd name="connsiteY17932" fmla="*/ 1557148 h 4687251"/>
              <a:gd name="connsiteX17933" fmla="*/ 5262545 w 8079933"/>
              <a:gd name="connsiteY17933" fmla="*/ 1557170 h 4687251"/>
              <a:gd name="connsiteX17934" fmla="*/ 5266854 w 8079933"/>
              <a:gd name="connsiteY17934" fmla="*/ 1560287 h 4687251"/>
              <a:gd name="connsiteX17935" fmla="*/ 5266935 w 8079933"/>
              <a:gd name="connsiteY17935" fmla="*/ 1560189 h 4687251"/>
              <a:gd name="connsiteX17936" fmla="*/ 5253787 w 8079933"/>
              <a:gd name="connsiteY17936" fmla="*/ 1555199 h 4687251"/>
              <a:gd name="connsiteX17937" fmla="*/ 5255460 w 8079933"/>
              <a:gd name="connsiteY17937" fmla="*/ 1555307 h 4687251"/>
              <a:gd name="connsiteX17938" fmla="*/ 5257088 w 8079933"/>
              <a:gd name="connsiteY17938" fmla="*/ 1557906 h 4687251"/>
              <a:gd name="connsiteX17939" fmla="*/ 5261335 w 8079933"/>
              <a:gd name="connsiteY17939" fmla="*/ 1557312 h 4687251"/>
              <a:gd name="connsiteX17940" fmla="*/ 5257197 w 8079933"/>
              <a:gd name="connsiteY17940" fmla="*/ 1557798 h 4687251"/>
              <a:gd name="connsiteX17941" fmla="*/ 5255678 w 8079933"/>
              <a:gd name="connsiteY17941" fmla="*/ 1555199 h 4687251"/>
              <a:gd name="connsiteX17942" fmla="*/ 6091907 w 8079933"/>
              <a:gd name="connsiteY17942" fmla="*/ 1552709 h 4687251"/>
              <a:gd name="connsiteX17943" fmla="*/ 6088868 w 8079933"/>
              <a:gd name="connsiteY17943" fmla="*/ 1555415 h 4687251"/>
              <a:gd name="connsiteX17944" fmla="*/ 6088217 w 8079933"/>
              <a:gd name="connsiteY17944" fmla="*/ 1559097 h 4687251"/>
              <a:gd name="connsiteX17945" fmla="*/ 6089628 w 8079933"/>
              <a:gd name="connsiteY17945" fmla="*/ 1563103 h 4687251"/>
              <a:gd name="connsiteX17946" fmla="*/ 6088096 w 8079933"/>
              <a:gd name="connsiteY17946" fmla="*/ 1566543 h 4687251"/>
              <a:gd name="connsiteX17947" fmla="*/ 6088761 w 8079933"/>
              <a:gd name="connsiteY17947" fmla="*/ 1566784 h 4687251"/>
              <a:gd name="connsiteX17948" fmla="*/ 6090497 w 8079933"/>
              <a:gd name="connsiteY17948" fmla="*/ 1562886 h 4687251"/>
              <a:gd name="connsiteX17949" fmla="*/ 6089086 w 8079933"/>
              <a:gd name="connsiteY17949" fmla="*/ 1558880 h 4687251"/>
              <a:gd name="connsiteX17950" fmla="*/ 6089737 w 8079933"/>
              <a:gd name="connsiteY17950" fmla="*/ 1555198 h 4687251"/>
              <a:gd name="connsiteX17951" fmla="*/ 6092532 w 8079933"/>
              <a:gd name="connsiteY17951" fmla="*/ 1552709 h 4687251"/>
              <a:gd name="connsiteX17952" fmla="*/ 4488917 w 8079933"/>
              <a:gd name="connsiteY17952" fmla="*/ 1552412 h 4687251"/>
              <a:gd name="connsiteX17953" fmla="*/ 4485209 w 8079933"/>
              <a:gd name="connsiteY17953" fmla="*/ 1554115 h 4687251"/>
              <a:gd name="connsiteX17954" fmla="*/ 4480759 w 8079933"/>
              <a:gd name="connsiteY17954" fmla="*/ 1562019 h 4687251"/>
              <a:gd name="connsiteX17955" fmla="*/ 4480761 w 8079933"/>
              <a:gd name="connsiteY17955" fmla="*/ 1562019 h 4687251"/>
              <a:gd name="connsiteX17956" fmla="*/ 4485211 w 8079933"/>
              <a:gd name="connsiteY17956" fmla="*/ 1554115 h 4687251"/>
              <a:gd name="connsiteX17957" fmla="*/ 5273041 w 8079933"/>
              <a:gd name="connsiteY17957" fmla="*/ 1552384 h 4687251"/>
              <a:gd name="connsiteX17958" fmla="*/ 5273033 w 8079933"/>
              <a:gd name="connsiteY17958" fmla="*/ 1552389 h 4687251"/>
              <a:gd name="connsiteX17959" fmla="*/ 5277163 w 8079933"/>
              <a:gd name="connsiteY17959" fmla="*/ 1552600 h 4687251"/>
              <a:gd name="connsiteX17960" fmla="*/ 5279984 w 8079933"/>
              <a:gd name="connsiteY17960" fmla="*/ 1556822 h 4687251"/>
              <a:gd name="connsiteX17961" fmla="*/ 5280079 w 8079933"/>
              <a:gd name="connsiteY17961" fmla="*/ 1556690 h 4687251"/>
              <a:gd name="connsiteX17962" fmla="*/ 5277381 w 8079933"/>
              <a:gd name="connsiteY17962" fmla="*/ 1552384 h 4687251"/>
              <a:gd name="connsiteX17963" fmla="*/ 6749626 w 8079933"/>
              <a:gd name="connsiteY17963" fmla="*/ 1551926 h 4687251"/>
              <a:gd name="connsiteX17964" fmla="*/ 6749517 w 8079933"/>
              <a:gd name="connsiteY17964" fmla="*/ 1552599 h 4687251"/>
              <a:gd name="connsiteX17965" fmla="*/ 6752122 w 8079933"/>
              <a:gd name="connsiteY17965" fmla="*/ 1557146 h 4687251"/>
              <a:gd name="connsiteX17966" fmla="*/ 6757440 w 8079933"/>
              <a:gd name="connsiteY17966" fmla="*/ 1562668 h 4687251"/>
              <a:gd name="connsiteX17967" fmla="*/ 6761455 w 8079933"/>
              <a:gd name="connsiteY17967" fmla="*/ 1564075 h 4687251"/>
              <a:gd name="connsiteX17968" fmla="*/ 6763191 w 8079933"/>
              <a:gd name="connsiteY17968" fmla="*/ 1567216 h 4687251"/>
              <a:gd name="connsiteX17969" fmla="*/ 6766230 w 8079933"/>
              <a:gd name="connsiteY17969" fmla="*/ 1567649 h 4687251"/>
              <a:gd name="connsiteX17970" fmla="*/ 6768617 w 8079933"/>
              <a:gd name="connsiteY17970" fmla="*/ 1566783 h 4687251"/>
              <a:gd name="connsiteX17971" fmla="*/ 6771112 w 8079933"/>
              <a:gd name="connsiteY17971" fmla="*/ 1568190 h 4687251"/>
              <a:gd name="connsiteX17972" fmla="*/ 6772957 w 8079933"/>
              <a:gd name="connsiteY17972" fmla="*/ 1567216 h 4687251"/>
              <a:gd name="connsiteX17973" fmla="*/ 6777949 w 8079933"/>
              <a:gd name="connsiteY17973" fmla="*/ 1567865 h 4687251"/>
              <a:gd name="connsiteX17974" fmla="*/ 6780554 w 8079933"/>
              <a:gd name="connsiteY17974" fmla="*/ 1565808 h 4687251"/>
              <a:gd name="connsiteX17975" fmla="*/ 6783810 w 8079933"/>
              <a:gd name="connsiteY17975" fmla="*/ 1565808 h 4687251"/>
              <a:gd name="connsiteX17976" fmla="*/ 6783810 w 8079933"/>
              <a:gd name="connsiteY17976" fmla="*/ 1564943 h 4687251"/>
              <a:gd name="connsiteX17977" fmla="*/ 6780553 w 8079933"/>
              <a:gd name="connsiteY17977" fmla="*/ 1564943 h 4687251"/>
              <a:gd name="connsiteX17978" fmla="*/ 6777949 w 8079933"/>
              <a:gd name="connsiteY17978" fmla="*/ 1567000 h 4687251"/>
              <a:gd name="connsiteX17979" fmla="*/ 6772958 w 8079933"/>
              <a:gd name="connsiteY17979" fmla="*/ 1566351 h 4687251"/>
              <a:gd name="connsiteX17980" fmla="*/ 6771112 w 8079933"/>
              <a:gd name="connsiteY17980" fmla="*/ 1567325 h 4687251"/>
              <a:gd name="connsiteX17981" fmla="*/ 6768726 w 8079933"/>
              <a:gd name="connsiteY17981" fmla="*/ 1565918 h 4687251"/>
              <a:gd name="connsiteX17982" fmla="*/ 6766338 w 8079933"/>
              <a:gd name="connsiteY17982" fmla="*/ 1566784 h 4687251"/>
              <a:gd name="connsiteX17983" fmla="*/ 6763191 w 8079933"/>
              <a:gd name="connsiteY17983" fmla="*/ 1566784 h 4687251"/>
              <a:gd name="connsiteX17984" fmla="*/ 6761455 w 8079933"/>
              <a:gd name="connsiteY17984" fmla="*/ 1563644 h 4687251"/>
              <a:gd name="connsiteX17985" fmla="*/ 6757548 w 8079933"/>
              <a:gd name="connsiteY17985" fmla="*/ 1562237 h 4687251"/>
              <a:gd name="connsiteX17986" fmla="*/ 6752231 w 8079933"/>
              <a:gd name="connsiteY17986" fmla="*/ 1556715 h 4687251"/>
              <a:gd name="connsiteX17987" fmla="*/ 6749626 w 8079933"/>
              <a:gd name="connsiteY17987" fmla="*/ 1552059 h 4687251"/>
              <a:gd name="connsiteX17988" fmla="*/ 4242566 w 8079933"/>
              <a:gd name="connsiteY17988" fmla="*/ 1551409 h 4687251"/>
              <a:gd name="connsiteX17989" fmla="*/ 4246907 w 8079933"/>
              <a:gd name="connsiteY17989" fmla="*/ 1554007 h 4687251"/>
              <a:gd name="connsiteX17990" fmla="*/ 4251031 w 8079933"/>
              <a:gd name="connsiteY17990" fmla="*/ 1560612 h 4687251"/>
              <a:gd name="connsiteX17991" fmla="*/ 4250163 w 8079933"/>
              <a:gd name="connsiteY17991" fmla="*/ 1564619 h 4687251"/>
              <a:gd name="connsiteX17992" fmla="*/ 4242566 w 8079933"/>
              <a:gd name="connsiteY17992" fmla="*/ 1562020 h 4687251"/>
              <a:gd name="connsiteX17993" fmla="*/ 4241373 w 8079933"/>
              <a:gd name="connsiteY17993" fmla="*/ 1557689 h 4687251"/>
              <a:gd name="connsiteX17994" fmla="*/ 2181943 w 8079933"/>
              <a:gd name="connsiteY17994" fmla="*/ 1550217 h 4687251"/>
              <a:gd name="connsiteX17995" fmla="*/ 2186609 w 8079933"/>
              <a:gd name="connsiteY17995" fmla="*/ 1550217 h 4687251"/>
              <a:gd name="connsiteX17996" fmla="*/ 2187694 w 8079933"/>
              <a:gd name="connsiteY17996" fmla="*/ 1552166 h 4687251"/>
              <a:gd name="connsiteX17997" fmla="*/ 2191601 w 8079933"/>
              <a:gd name="connsiteY17997" fmla="*/ 1551733 h 4687251"/>
              <a:gd name="connsiteX17998" fmla="*/ 2197135 w 8079933"/>
              <a:gd name="connsiteY17998" fmla="*/ 1556388 h 4687251"/>
              <a:gd name="connsiteX17999" fmla="*/ 2198111 w 8079933"/>
              <a:gd name="connsiteY17999" fmla="*/ 1561369 h 4687251"/>
              <a:gd name="connsiteX18000" fmla="*/ 2199414 w 8079933"/>
              <a:gd name="connsiteY18000" fmla="*/ 1563534 h 4687251"/>
              <a:gd name="connsiteX18001" fmla="*/ 2198329 w 8079933"/>
              <a:gd name="connsiteY18001" fmla="*/ 1567107 h 4687251"/>
              <a:gd name="connsiteX18002" fmla="*/ 2187152 w 8079933"/>
              <a:gd name="connsiteY18002" fmla="*/ 1564833 h 4687251"/>
              <a:gd name="connsiteX18003" fmla="*/ 2183246 w 8079933"/>
              <a:gd name="connsiteY18003" fmla="*/ 1562343 h 4687251"/>
              <a:gd name="connsiteX18004" fmla="*/ 2179013 w 8079933"/>
              <a:gd name="connsiteY18004" fmla="*/ 1562127 h 4687251"/>
              <a:gd name="connsiteX18005" fmla="*/ 2178796 w 8079933"/>
              <a:gd name="connsiteY18005" fmla="*/ 1565050 h 4687251"/>
              <a:gd name="connsiteX18006" fmla="*/ 2179231 w 8079933"/>
              <a:gd name="connsiteY18006" fmla="*/ 1566782 h 4687251"/>
              <a:gd name="connsiteX18007" fmla="*/ 2176626 w 8079933"/>
              <a:gd name="connsiteY18007" fmla="*/ 1564292 h 4687251"/>
              <a:gd name="connsiteX18008" fmla="*/ 2176192 w 8079933"/>
              <a:gd name="connsiteY18008" fmla="*/ 1562019 h 4687251"/>
              <a:gd name="connsiteX18009" fmla="*/ 2172068 w 8079933"/>
              <a:gd name="connsiteY18009" fmla="*/ 1562451 h 4687251"/>
              <a:gd name="connsiteX18010" fmla="*/ 2170658 w 8079933"/>
              <a:gd name="connsiteY18010" fmla="*/ 1560503 h 4687251"/>
              <a:gd name="connsiteX18011" fmla="*/ 2175324 w 8079933"/>
              <a:gd name="connsiteY18011" fmla="*/ 1554764 h 4687251"/>
              <a:gd name="connsiteX18012" fmla="*/ 2179231 w 8079933"/>
              <a:gd name="connsiteY18012" fmla="*/ 1555414 h 4687251"/>
              <a:gd name="connsiteX18013" fmla="*/ 2179556 w 8079933"/>
              <a:gd name="connsiteY18013" fmla="*/ 1552058 h 4687251"/>
              <a:gd name="connsiteX18014" fmla="*/ 3784626 w 8079933"/>
              <a:gd name="connsiteY18014" fmla="*/ 1549676 h 4687251"/>
              <a:gd name="connsiteX18015" fmla="*/ 3788099 w 8079933"/>
              <a:gd name="connsiteY18015" fmla="*/ 1552815 h 4687251"/>
              <a:gd name="connsiteX18016" fmla="*/ 3793199 w 8079933"/>
              <a:gd name="connsiteY18016" fmla="*/ 1555523 h 4687251"/>
              <a:gd name="connsiteX18017" fmla="*/ 3788967 w 8079933"/>
              <a:gd name="connsiteY18017" fmla="*/ 1558013 h 4687251"/>
              <a:gd name="connsiteX18018" fmla="*/ 3784192 w 8079933"/>
              <a:gd name="connsiteY18018" fmla="*/ 1561694 h 4687251"/>
              <a:gd name="connsiteX18019" fmla="*/ 3786363 w 8079933"/>
              <a:gd name="connsiteY18019" fmla="*/ 1561261 h 4687251"/>
              <a:gd name="connsiteX18020" fmla="*/ 3784083 w 8079933"/>
              <a:gd name="connsiteY18020" fmla="*/ 1563751 h 4687251"/>
              <a:gd name="connsiteX18021" fmla="*/ 3780828 w 8079933"/>
              <a:gd name="connsiteY18021" fmla="*/ 1565483 h 4687251"/>
              <a:gd name="connsiteX18022" fmla="*/ 3779526 w 8079933"/>
              <a:gd name="connsiteY18022" fmla="*/ 1569598 h 4687251"/>
              <a:gd name="connsiteX18023" fmla="*/ 3774642 w 8079933"/>
              <a:gd name="connsiteY18023" fmla="*/ 1570247 h 4687251"/>
              <a:gd name="connsiteX18024" fmla="*/ 3769434 w 8079933"/>
              <a:gd name="connsiteY18024" fmla="*/ 1580966 h 4687251"/>
              <a:gd name="connsiteX18025" fmla="*/ 3769434 w 8079933"/>
              <a:gd name="connsiteY18025" fmla="*/ 1580966 h 4687251"/>
              <a:gd name="connsiteX18026" fmla="*/ 3774642 w 8079933"/>
              <a:gd name="connsiteY18026" fmla="*/ 1570248 h 4687251"/>
              <a:gd name="connsiteX18027" fmla="*/ 3779526 w 8079933"/>
              <a:gd name="connsiteY18027" fmla="*/ 1569598 h 4687251"/>
              <a:gd name="connsiteX18028" fmla="*/ 3780828 w 8079933"/>
              <a:gd name="connsiteY18028" fmla="*/ 1565484 h 4687251"/>
              <a:gd name="connsiteX18029" fmla="*/ 3784083 w 8079933"/>
              <a:gd name="connsiteY18029" fmla="*/ 1563751 h 4687251"/>
              <a:gd name="connsiteX18030" fmla="*/ 3786363 w 8079933"/>
              <a:gd name="connsiteY18030" fmla="*/ 1561261 h 4687251"/>
              <a:gd name="connsiteX18031" fmla="*/ 3790811 w 8079933"/>
              <a:gd name="connsiteY18031" fmla="*/ 1560395 h 4687251"/>
              <a:gd name="connsiteX18032" fmla="*/ 3792331 w 8079933"/>
              <a:gd name="connsiteY18032" fmla="*/ 1558771 h 4687251"/>
              <a:gd name="connsiteX18033" fmla="*/ 3795044 w 8079933"/>
              <a:gd name="connsiteY18033" fmla="*/ 1558447 h 4687251"/>
              <a:gd name="connsiteX18034" fmla="*/ 3799493 w 8079933"/>
              <a:gd name="connsiteY18034" fmla="*/ 1555523 h 4687251"/>
              <a:gd name="connsiteX18035" fmla="*/ 3806763 w 8079933"/>
              <a:gd name="connsiteY18035" fmla="*/ 1556281 h 4687251"/>
              <a:gd name="connsiteX18036" fmla="*/ 3810345 w 8079933"/>
              <a:gd name="connsiteY18036" fmla="*/ 1558121 h 4687251"/>
              <a:gd name="connsiteX18037" fmla="*/ 3810779 w 8079933"/>
              <a:gd name="connsiteY18037" fmla="*/ 1562561 h 4687251"/>
              <a:gd name="connsiteX18038" fmla="*/ 3817724 w 8079933"/>
              <a:gd name="connsiteY18038" fmla="*/ 1572413 h 4687251"/>
              <a:gd name="connsiteX18039" fmla="*/ 3814143 w 8079933"/>
              <a:gd name="connsiteY18039" fmla="*/ 1575012 h 4687251"/>
              <a:gd name="connsiteX18040" fmla="*/ 3820653 w 8079933"/>
              <a:gd name="connsiteY18040" fmla="*/ 1575337 h 4687251"/>
              <a:gd name="connsiteX18041" fmla="*/ 3822064 w 8079933"/>
              <a:gd name="connsiteY18041" fmla="*/ 1585731 h 4687251"/>
              <a:gd name="connsiteX18042" fmla="*/ 3819352 w 8079933"/>
              <a:gd name="connsiteY18042" fmla="*/ 1577610 h 4687251"/>
              <a:gd name="connsiteX18043" fmla="*/ 3816747 w 8079933"/>
              <a:gd name="connsiteY18043" fmla="*/ 1578043 h 4687251"/>
              <a:gd name="connsiteX18044" fmla="*/ 3818049 w 8079933"/>
              <a:gd name="connsiteY18044" fmla="*/ 1580750 h 4687251"/>
              <a:gd name="connsiteX18045" fmla="*/ 3816747 w 8079933"/>
              <a:gd name="connsiteY18045" fmla="*/ 1584431 h 4687251"/>
              <a:gd name="connsiteX18046" fmla="*/ 3820220 w 8079933"/>
              <a:gd name="connsiteY18046" fmla="*/ 1585189 h 4687251"/>
              <a:gd name="connsiteX18047" fmla="*/ 3819460 w 8079933"/>
              <a:gd name="connsiteY18047" fmla="*/ 1589087 h 4687251"/>
              <a:gd name="connsiteX18048" fmla="*/ 3813817 w 8079933"/>
              <a:gd name="connsiteY18048" fmla="*/ 1588329 h 4687251"/>
              <a:gd name="connsiteX18049" fmla="*/ 3813491 w 8079933"/>
              <a:gd name="connsiteY18049" fmla="*/ 1591686 h 4687251"/>
              <a:gd name="connsiteX18050" fmla="*/ 3809802 w 8079933"/>
              <a:gd name="connsiteY18050" fmla="*/ 1594609 h 4687251"/>
              <a:gd name="connsiteX18051" fmla="*/ 3807631 w 8079933"/>
              <a:gd name="connsiteY18051" fmla="*/ 1594067 h 4687251"/>
              <a:gd name="connsiteX18052" fmla="*/ 3808066 w 8079933"/>
              <a:gd name="connsiteY18052" fmla="*/ 1597641 h 4687251"/>
              <a:gd name="connsiteX18053" fmla="*/ 3807089 w 8079933"/>
              <a:gd name="connsiteY18053" fmla="*/ 1597424 h 4687251"/>
              <a:gd name="connsiteX18054" fmla="*/ 3807086 w 8079933"/>
              <a:gd name="connsiteY18054" fmla="*/ 1597422 h 4687251"/>
              <a:gd name="connsiteX18055" fmla="*/ 3804159 w 8079933"/>
              <a:gd name="connsiteY18055" fmla="*/ 1596990 h 4687251"/>
              <a:gd name="connsiteX18056" fmla="*/ 3802423 w 8079933"/>
              <a:gd name="connsiteY18056" fmla="*/ 1599804 h 4687251"/>
              <a:gd name="connsiteX18057" fmla="*/ 3806004 w 8079933"/>
              <a:gd name="connsiteY18057" fmla="*/ 1602403 h 4687251"/>
              <a:gd name="connsiteX18058" fmla="*/ 3805136 w 8079933"/>
              <a:gd name="connsiteY18058" fmla="*/ 1607167 h 4687251"/>
              <a:gd name="connsiteX18059" fmla="*/ 3808174 w 8079933"/>
              <a:gd name="connsiteY18059" fmla="*/ 1611931 h 4687251"/>
              <a:gd name="connsiteX18060" fmla="*/ 3808174 w 8079933"/>
              <a:gd name="connsiteY18060" fmla="*/ 1616695 h 4687251"/>
              <a:gd name="connsiteX18061" fmla="*/ 3804810 w 8079933"/>
              <a:gd name="connsiteY18061" fmla="*/ 1618969 h 4687251"/>
              <a:gd name="connsiteX18062" fmla="*/ 3807632 w 8079933"/>
              <a:gd name="connsiteY18062" fmla="*/ 1620701 h 4687251"/>
              <a:gd name="connsiteX18063" fmla="*/ 3809476 w 8079933"/>
              <a:gd name="connsiteY18063" fmla="*/ 1631419 h 4687251"/>
              <a:gd name="connsiteX18064" fmla="*/ 3808174 w 8079933"/>
              <a:gd name="connsiteY18064" fmla="*/ 1636183 h 4687251"/>
              <a:gd name="connsiteX18065" fmla="*/ 3804376 w 8079933"/>
              <a:gd name="connsiteY18065" fmla="*/ 1640406 h 4687251"/>
              <a:gd name="connsiteX18066" fmla="*/ 3805136 w 8079933"/>
              <a:gd name="connsiteY18066" fmla="*/ 1644303 h 4687251"/>
              <a:gd name="connsiteX18067" fmla="*/ 3801446 w 8079933"/>
              <a:gd name="connsiteY18067" fmla="*/ 1648743 h 4687251"/>
              <a:gd name="connsiteX18068" fmla="*/ 3798082 w 8079933"/>
              <a:gd name="connsiteY18068" fmla="*/ 1650150 h 4687251"/>
              <a:gd name="connsiteX18069" fmla="*/ 3802748 w 8079933"/>
              <a:gd name="connsiteY18069" fmla="*/ 1656213 h 4687251"/>
              <a:gd name="connsiteX18070" fmla="*/ 3795912 w 8079933"/>
              <a:gd name="connsiteY18070" fmla="*/ 1656321 h 4687251"/>
              <a:gd name="connsiteX18071" fmla="*/ 3793091 w 8079933"/>
              <a:gd name="connsiteY18071" fmla="*/ 1655239 h 4687251"/>
              <a:gd name="connsiteX18072" fmla="*/ 3790269 w 8079933"/>
              <a:gd name="connsiteY18072" fmla="*/ 1657946 h 4687251"/>
              <a:gd name="connsiteX18073" fmla="*/ 3788207 w 8079933"/>
              <a:gd name="connsiteY18073" fmla="*/ 1654481 h 4687251"/>
              <a:gd name="connsiteX18074" fmla="*/ 3787122 w 8079933"/>
              <a:gd name="connsiteY18074" fmla="*/ 1657404 h 4687251"/>
              <a:gd name="connsiteX18075" fmla="*/ 3773774 w 8079933"/>
              <a:gd name="connsiteY18075" fmla="*/ 1658920 h 4687251"/>
              <a:gd name="connsiteX18076" fmla="*/ 3772580 w 8079933"/>
              <a:gd name="connsiteY18076" fmla="*/ 1663359 h 4687251"/>
              <a:gd name="connsiteX18077" fmla="*/ 3769434 w 8079933"/>
              <a:gd name="connsiteY18077" fmla="*/ 1663143 h 4687251"/>
              <a:gd name="connsiteX18078" fmla="*/ 3764985 w 8079933"/>
              <a:gd name="connsiteY18078" fmla="*/ 1667798 h 4687251"/>
              <a:gd name="connsiteX18079" fmla="*/ 3760318 w 8079933"/>
              <a:gd name="connsiteY18079" fmla="*/ 1667798 h 4687251"/>
              <a:gd name="connsiteX18080" fmla="*/ 3761621 w 8079933"/>
              <a:gd name="connsiteY18080" fmla="*/ 1665092 h 4687251"/>
              <a:gd name="connsiteX18081" fmla="*/ 3757063 w 8079933"/>
              <a:gd name="connsiteY18081" fmla="*/ 1664658 h 4687251"/>
              <a:gd name="connsiteX18082" fmla="*/ 3759016 w 8079933"/>
              <a:gd name="connsiteY18082" fmla="*/ 1669314 h 4687251"/>
              <a:gd name="connsiteX18083" fmla="*/ 3753047 w 8079933"/>
              <a:gd name="connsiteY18083" fmla="*/ 1673320 h 4687251"/>
              <a:gd name="connsiteX18084" fmla="*/ 3745451 w 8079933"/>
              <a:gd name="connsiteY18084" fmla="*/ 1675594 h 4687251"/>
              <a:gd name="connsiteX18085" fmla="*/ 3737422 w 8079933"/>
              <a:gd name="connsiteY18085" fmla="*/ 1676568 h 4687251"/>
              <a:gd name="connsiteX18086" fmla="*/ 3734383 w 8079933"/>
              <a:gd name="connsiteY18086" fmla="*/ 1674403 h 4687251"/>
              <a:gd name="connsiteX18087" fmla="*/ 3728523 w 8079933"/>
              <a:gd name="connsiteY18087" fmla="*/ 1675918 h 4687251"/>
              <a:gd name="connsiteX18088" fmla="*/ 3729608 w 8079933"/>
              <a:gd name="connsiteY18088" fmla="*/ 1673645 h 4687251"/>
              <a:gd name="connsiteX18089" fmla="*/ 3726027 w 8079933"/>
              <a:gd name="connsiteY18089" fmla="*/ 1673645 h 4687251"/>
              <a:gd name="connsiteX18090" fmla="*/ 3732538 w 8079933"/>
              <a:gd name="connsiteY18090" fmla="*/ 1670505 h 4687251"/>
              <a:gd name="connsiteX18091" fmla="*/ 3732972 w 8079933"/>
              <a:gd name="connsiteY18091" fmla="*/ 1667582 h 4687251"/>
              <a:gd name="connsiteX18092" fmla="*/ 3725268 w 8079933"/>
              <a:gd name="connsiteY18092" fmla="*/ 1671804 h 4687251"/>
              <a:gd name="connsiteX18093" fmla="*/ 3719299 w 8079933"/>
              <a:gd name="connsiteY18093" fmla="*/ 1671804 h 4687251"/>
              <a:gd name="connsiteX18094" fmla="*/ 3722771 w 8079933"/>
              <a:gd name="connsiteY18094" fmla="*/ 1668881 h 4687251"/>
              <a:gd name="connsiteX18095" fmla="*/ 3731236 w 8079933"/>
              <a:gd name="connsiteY18095" fmla="*/ 1663359 h 4687251"/>
              <a:gd name="connsiteX18096" fmla="*/ 3720058 w 8079933"/>
              <a:gd name="connsiteY18096" fmla="*/ 1667041 h 4687251"/>
              <a:gd name="connsiteX18097" fmla="*/ 3719190 w 8079933"/>
              <a:gd name="connsiteY18097" fmla="*/ 1664225 h 4687251"/>
              <a:gd name="connsiteX18098" fmla="*/ 3715284 w 8079933"/>
              <a:gd name="connsiteY18098" fmla="*/ 1664225 h 4687251"/>
              <a:gd name="connsiteX18099" fmla="*/ 3717345 w 8079933"/>
              <a:gd name="connsiteY18099" fmla="*/ 1659137 h 4687251"/>
              <a:gd name="connsiteX18100" fmla="*/ 3723531 w 8079933"/>
              <a:gd name="connsiteY18100" fmla="*/ 1657729 h 4687251"/>
              <a:gd name="connsiteX18101" fmla="*/ 3728414 w 8079933"/>
              <a:gd name="connsiteY18101" fmla="*/ 1653615 h 4687251"/>
              <a:gd name="connsiteX18102" fmla="*/ 3713765 w 8079933"/>
              <a:gd name="connsiteY18102" fmla="*/ 1654481 h 4687251"/>
              <a:gd name="connsiteX18103" fmla="*/ 3713114 w 8079933"/>
              <a:gd name="connsiteY18103" fmla="*/ 1652749 h 4687251"/>
              <a:gd name="connsiteX18104" fmla="*/ 3719516 w 8079933"/>
              <a:gd name="connsiteY18104" fmla="*/ 1649392 h 4687251"/>
              <a:gd name="connsiteX18105" fmla="*/ 3720601 w 8079933"/>
              <a:gd name="connsiteY18105" fmla="*/ 1650692 h 4687251"/>
              <a:gd name="connsiteX18106" fmla="*/ 3721795 w 8079933"/>
              <a:gd name="connsiteY18106" fmla="*/ 1648851 h 4687251"/>
              <a:gd name="connsiteX18107" fmla="*/ 3725051 w 8079933"/>
              <a:gd name="connsiteY18107" fmla="*/ 1651666 h 4687251"/>
              <a:gd name="connsiteX18108" fmla="*/ 3728849 w 8079933"/>
              <a:gd name="connsiteY18108" fmla="*/ 1650908 h 4687251"/>
              <a:gd name="connsiteX18109" fmla="*/ 3726678 w 8079933"/>
              <a:gd name="connsiteY18109" fmla="*/ 1650258 h 4687251"/>
              <a:gd name="connsiteX18110" fmla="*/ 3727763 w 8079933"/>
              <a:gd name="connsiteY18110" fmla="*/ 1647985 h 4687251"/>
              <a:gd name="connsiteX18111" fmla="*/ 3726027 w 8079933"/>
              <a:gd name="connsiteY18111" fmla="*/ 1645495 h 4687251"/>
              <a:gd name="connsiteX18112" fmla="*/ 3731127 w 8079933"/>
              <a:gd name="connsiteY18112" fmla="*/ 1643762 h 4687251"/>
              <a:gd name="connsiteX18113" fmla="*/ 3733081 w 8079933"/>
              <a:gd name="connsiteY18113" fmla="*/ 1640731 h 4687251"/>
              <a:gd name="connsiteX18114" fmla="*/ 3740894 w 8079933"/>
              <a:gd name="connsiteY18114" fmla="*/ 1640406 h 4687251"/>
              <a:gd name="connsiteX18115" fmla="*/ 3751529 w 8079933"/>
              <a:gd name="connsiteY18115" fmla="*/ 1637591 h 4687251"/>
              <a:gd name="connsiteX18116" fmla="*/ 3746754 w 8079933"/>
              <a:gd name="connsiteY18116" fmla="*/ 1637158 h 4687251"/>
              <a:gd name="connsiteX18117" fmla="*/ 3746428 w 8079933"/>
              <a:gd name="connsiteY18117" fmla="*/ 1635425 h 4687251"/>
              <a:gd name="connsiteX18118" fmla="*/ 3742630 w 8079933"/>
              <a:gd name="connsiteY18118" fmla="*/ 1639215 h 4687251"/>
              <a:gd name="connsiteX18119" fmla="*/ 3736987 w 8079933"/>
              <a:gd name="connsiteY18119" fmla="*/ 1638999 h 4687251"/>
              <a:gd name="connsiteX18120" fmla="*/ 3734274 w 8079933"/>
              <a:gd name="connsiteY18120" fmla="*/ 1637374 h 4687251"/>
              <a:gd name="connsiteX18121" fmla="*/ 3729717 w 8079933"/>
              <a:gd name="connsiteY18121" fmla="*/ 1640297 h 4687251"/>
              <a:gd name="connsiteX18122" fmla="*/ 3726353 w 8079933"/>
              <a:gd name="connsiteY18122" fmla="*/ 1640297 h 4687251"/>
              <a:gd name="connsiteX18123" fmla="*/ 3734709 w 8079933"/>
              <a:gd name="connsiteY18123" fmla="*/ 1634668 h 4687251"/>
              <a:gd name="connsiteX18124" fmla="*/ 3738615 w 8079933"/>
              <a:gd name="connsiteY18124" fmla="*/ 1629146 h 4687251"/>
              <a:gd name="connsiteX18125" fmla="*/ 3736445 w 8079933"/>
              <a:gd name="connsiteY18125" fmla="*/ 1629362 h 4687251"/>
              <a:gd name="connsiteX18126" fmla="*/ 3741328 w 8079933"/>
              <a:gd name="connsiteY18126" fmla="*/ 1621350 h 4687251"/>
              <a:gd name="connsiteX18127" fmla="*/ 3744366 w 8079933"/>
              <a:gd name="connsiteY18127" fmla="*/ 1623083 h 4687251"/>
              <a:gd name="connsiteX18128" fmla="*/ 3748490 w 8079933"/>
              <a:gd name="connsiteY18128" fmla="*/ 1618860 h 4687251"/>
              <a:gd name="connsiteX18129" fmla="*/ 3735577 w 8079933"/>
              <a:gd name="connsiteY18129" fmla="*/ 1619077 h 4687251"/>
              <a:gd name="connsiteX18130" fmla="*/ 3734165 w 8079933"/>
              <a:gd name="connsiteY18130" fmla="*/ 1613230 h 4687251"/>
              <a:gd name="connsiteX18131" fmla="*/ 3728740 w 8079933"/>
              <a:gd name="connsiteY18131" fmla="*/ 1614313 h 4687251"/>
              <a:gd name="connsiteX18132" fmla="*/ 3730368 w 8079933"/>
              <a:gd name="connsiteY18132" fmla="*/ 1612040 h 4687251"/>
              <a:gd name="connsiteX18133" fmla="*/ 3727546 w 8079933"/>
              <a:gd name="connsiteY18133" fmla="*/ 1613122 h 4687251"/>
              <a:gd name="connsiteX18134" fmla="*/ 3723965 w 8079933"/>
              <a:gd name="connsiteY18134" fmla="*/ 1610957 h 4687251"/>
              <a:gd name="connsiteX18135" fmla="*/ 3726353 w 8079933"/>
              <a:gd name="connsiteY18135" fmla="*/ 1609982 h 4687251"/>
              <a:gd name="connsiteX18136" fmla="*/ 3724833 w 8079933"/>
              <a:gd name="connsiteY18136" fmla="*/ 1605976 h 4687251"/>
              <a:gd name="connsiteX18137" fmla="*/ 3731561 w 8079933"/>
              <a:gd name="connsiteY18137" fmla="*/ 1605868 h 4687251"/>
              <a:gd name="connsiteX18138" fmla="*/ 3729825 w 8079933"/>
              <a:gd name="connsiteY18138" fmla="*/ 1603486 h 4687251"/>
              <a:gd name="connsiteX18139" fmla="*/ 3730585 w 8079933"/>
              <a:gd name="connsiteY18139" fmla="*/ 1600779 h 4687251"/>
              <a:gd name="connsiteX18140" fmla="*/ 3736553 w 8079933"/>
              <a:gd name="connsiteY18140" fmla="*/ 1599589 h 4687251"/>
              <a:gd name="connsiteX18141" fmla="*/ 3735034 w 8079933"/>
              <a:gd name="connsiteY18141" fmla="*/ 1595907 h 4687251"/>
              <a:gd name="connsiteX18142" fmla="*/ 3730368 w 8079933"/>
              <a:gd name="connsiteY18142" fmla="*/ 1597098 h 4687251"/>
              <a:gd name="connsiteX18143" fmla="*/ 3723531 w 8079933"/>
              <a:gd name="connsiteY18143" fmla="*/ 1592226 h 4687251"/>
              <a:gd name="connsiteX18144" fmla="*/ 3729391 w 8079933"/>
              <a:gd name="connsiteY18144" fmla="*/ 1592010 h 4687251"/>
              <a:gd name="connsiteX18145" fmla="*/ 3729934 w 8079933"/>
              <a:gd name="connsiteY18145" fmla="*/ 1594283 h 4687251"/>
              <a:gd name="connsiteX18146" fmla="*/ 3732538 w 8079933"/>
              <a:gd name="connsiteY18146" fmla="*/ 1594175 h 4687251"/>
              <a:gd name="connsiteX18147" fmla="*/ 3731127 w 8079933"/>
              <a:gd name="connsiteY18147" fmla="*/ 1590277 h 4687251"/>
              <a:gd name="connsiteX18148" fmla="*/ 3729825 w 8079933"/>
              <a:gd name="connsiteY18148" fmla="*/ 1589519 h 4687251"/>
              <a:gd name="connsiteX18149" fmla="*/ 3729174 w 8079933"/>
              <a:gd name="connsiteY18149" fmla="*/ 1585513 h 4687251"/>
              <a:gd name="connsiteX18150" fmla="*/ 3726136 w 8079933"/>
              <a:gd name="connsiteY18150" fmla="*/ 1588545 h 4687251"/>
              <a:gd name="connsiteX18151" fmla="*/ 3727221 w 8079933"/>
              <a:gd name="connsiteY18151" fmla="*/ 1581940 h 4687251"/>
              <a:gd name="connsiteX18152" fmla="*/ 3733297 w 8079933"/>
              <a:gd name="connsiteY18152" fmla="*/ 1583565 h 4687251"/>
              <a:gd name="connsiteX18153" fmla="*/ 3733297 w 8079933"/>
              <a:gd name="connsiteY18153" fmla="*/ 1581616 h 4687251"/>
              <a:gd name="connsiteX18154" fmla="*/ 3744258 w 8079933"/>
              <a:gd name="connsiteY18154" fmla="*/ 1583239 h 4687251"/>
              <a:gd name="connsiteX18155" fmla="*/ 3745669 w 8079933"/>
              <a:gd name="connsiteY18155" fmla="*/ 1587679 h 4687251"/>
              <a:gd name="connsiteX18156" fmla="*/ 3748708 w 8079933"/>
              <a:gd name="connsiteY18156" fmla="*/ 1584214 h 4687251"/>
              <a:gd name="connsiteX18157" fmla="*/ 3752179 w 8079933"/>
              <a:gd name="connsiteY18157" fmla="*/ 1585838 h 4687251"/>
              <a:gd name="connsiteX18158" fmla="*/ 3758908 w 8079933"/>
              <a:gd name="connsiteY18158" fmla="*/ 1584539 h 4687251"/>
              <a:gd name="connsiteX18159" fmla="*/ 3756520 w 8079933"/>
              <a:gd name="connsiteY18159" fmla="*/ 1582373 h 4687251"/>
              <a:gd name="connsiteX18160" fmla="*/ 3763356 w 8079933"/>
              <a:gd name="connsiteY18160" fmla="*/ 1579775 h 4687251"/>
              <a:gd name="connsiteX18161" fmla="*/ 3768782 w 8079933"/>
              <a:gd name="connsiteY18161" fmla="*/ 1574037 h 4687251"/>
              <a:gd name="connsiteX18162" fmla="*/ 3765961 w 8079933"/>
              <a:gd name="connsiteY18162" fmla="*/ 1574037 h 4687251"/>
              <a:gd name="connsiteX18163" fmla="*/ 3761838 w 8079933"/>
              <a:gd name="connsiteY18163" fmla="*/ 1575444 h 4687251"/>
              <a:gd name="connsiteX18164" fmla="*/ 3762597 w 8079933"/>
              <a:gd name="connsiteY18164" fmla="*/ 1574037 h 4687251"/>
              <a:gd name="connsiteX18165" fmla="*/ 3757497 w 8079933"/>
              <a:gd name="connsiteY18165" fmla="*/ 1574037 h 4687251"/>
              <a:gd name="connsiteX18166" fmla="*/ 3756195 w 8079933"/>
              <a:gd name="connsiteY18166" fmla="*/ 1570247 h 4687251"/>
              <a:gd name="connsiteX18167" fmla="*/ 3760861 w 8079933"/>
              <a:gd name="connsiteY18167" fmla="*/ 1569056 h 4687251"/>
              <a:gd name="connsiteX18168" fmla="*/ 3760535 w 8079933"/>
              <a:gd name="connsiteY18168" fmla="*/ 1567216 h 4687251"/>
              <a:gd name="connsiteX18169" fmla="*/ 3763900 w 8079933"/>
              <a:gd name="connsiteY18169" fmla="*/ 1567108 h 4687251"/>
              <a:gd name="connsiteX18170" fmla="*/ 3764768 w 8079933"/>
              <a:gd name="connsiteY18170" fmla="*/ 1565267 h 4687251"/>
              <a:gd name="connsiteX18171" fmla="*/ 3761512 w 8079933"/>
              <a:gd name="connsiteY18171" fmla="*/ 1563967 h 4687251"/>
              <a:gd name="connsiteX18172" fmla="*/ 3763031 w 8079933"/>
              <a:gd name="connsiteY18172" fmla="*/ 1560070 h 4687251"/>
              <a:gd name="connsiteX18173" fmla="*/ 3765201 w 8079933"/>
              <a:gd name="connsiteY18173" fmla="*/ 1559961 h 4687251"/>
              <a:gd name="connsiteX18174" fmla="*/ 3765201 w 8079933"/>
              <a:gd name="connsiteY18174" fmla="*/ 1556821 h 4687251"/>
              <a:gd name="connsiteX18175" fmla="*/ 3771712 w 8079933"/>
              <a:gd name="connsiteY18175" fmla="*/ 1555198 h 4687251"/>
              <a:gd name="connsiteX18176" fmla="*/ 3773774 w 8079933"/>
              <a:gd name="connsiteY18176" fmla="*/ 1557147 h 4687251"/>
              <a:gd name="connsiteX18177" fmla="*/ 3777464 w 8079933"/>
              <a:gd name="connsiteY18177" fmla="*/ 1557038 h 4687251"/>
              <a:gd name="connsiteX18178" fmla="*/ 3775619 w 8079933"/>
              <a:gd name="connsiteY18178" fmla="*/ 1554331 h 4687251"/>
              <a:gd name="connsiteX18179" fmla="*/ 3778766 w 8079933"/>
              <a:gd name="connsiteY18179" fmla="*/ 1553682 h 4687251"/>
              <a:gd name="connsiteX18180" fmla="*/ 3781045 w 8079933"/>
              <a:gd name="connsiteY18180" fmla="*/ 1557796 h 4687251"/>
              <a:gd name="connsiteX18181" fmla="*/ 3779200 w 8079933"/>
              <a:gd name="connsiteY18181" fmla="*/ 1560070 h 4687251"/>
              <a:gd name="connsiteX18182" fmla="*/ 3778766 w 8079933"/>
              <a:gd name="connsiteY18182" fmla="*/ 1563426 h 4687251"/>
              <a:gd name="connsiteX18183" fmla="*/ 3782130 w 8079933"/>
              <a:gd name="connsiteY18183" fmla="*/ 1558446 h 4687251"/>
              <a:gd name="connsiteX18184" fmla="*/ 3781371 w 8079933"/>
              <a:gd name="connsiteY18184" fmla="*/ 1553032 h 4687251"/>
              <a:gd name="connsiteX18185" fmla="*/ 3786254 w 8079933"/>
              <a:gd name="connsiteY18185" fmla="*/ 1553032 h 4687251"/>
              <a:gd name="connsiteX18186" fmla="*/ 5290620 w 8079933"/>
              <a:gd name="connsiteY18186" fmla="*/ 1547512 h 4687251"/>
              <a:gd name="connsiteX18187" fmla="*/ 5282373 w 8079933"/>
              <a:gd name="connsiteY18187" fmla="*/ 1550110 h 4687251"/>
              <a:gd name="connsiteX18188" fmla="*/ 5282373 w 8079933"/>
              <a:gd name="connsiteY18188" fmla="*/ 1552400 h 4687251"/>
              <a:gd name="connsiteX18189" fmla="*/ 5282698 w 8079933"/>
              <a:gd name="connsiteY18189" fmla="*/ 1550326 h 4687251"/>
              <a:gd name="connsiteX18190" fmla="*/ 5290945 w 8079933"/>
              <a:gd name="connsiteY18190" fmla="*/ 1547728 h 4687251"/>
              <a:gd name="connsiteX18191" fmla="*/ 5293150 w 8079933"/>
              <a:gd name="connsiteY18191" fmla="*/ 1547512 h 4687251"/>
              <a:gd name="connsiteX18192" fmla="*/ 1163514 w 8079933"/>
              <a:gd name="connsiteY18192" fmla="*/ 1545562 h 4687251"/>
              <a:gd name="connsiteX18193" fmla="*/ 1163839 w 8079933"/>
              <a:gd name="connsiteY18193" fmla="*/ 1549244 h 4687251"/>
              <a:gd name="connsiteX18194" fmla="*/ 1157112 w 8079933"/>
              <a:gd name="connsiteY18194" fmla="*/ 1546320 h 4687251"/>
              <a:gd name="connsiteX18195" fmla="*/ 4145660 w 8079933"/>
              <a:gd name="connsiteY18195" fmla="*/ 1545237 h 4687251"/>
              <a:gd name="connsiteX18196" fmla="*/ 4150869 w 8079933"/>
              <a:gd name="connsiteY18196" fmla="*/ 1548052 h 4687251"/>
              <a:gd name="connsiteX18197" fmla="*/ 4154124 w 8079933"/>
              <a:gd name="connsiteY18197" fmla="*/ 1547510 h 4687251"/>
              <a:gd name="connsiteX18198" fmla="*/ 4157162 w 8079933"/>
              <a:gd name="connsiteY18198" fmla="*/ 1554223 h 4687251"/>
              <a:gd name="connsiteX18199" fmla="*/ 4158356 w 8079933"/>
              <a:gd name="connsiteY18199" fmla="*/ 1558013 h 4687251"/>
              <a:gd name="connsiteX18200" fmla="*/ 4155535 w 8079933"/>
              <a:gd name="connsiteY18200" fmla="*/ 1563643 h 4687251"/>
              <a:gd name="connsiteX18201" fmla="*/ 4150869 w 8079933"/>
              <a:gd name="connsiteY18201" fmla="*/ 1564509 h 4687251"/>
              <a:gd name="connsiteX18202" fmla="*/ 4148264 w 8079933"/>
              <a:gd name="connsiteY18202" fmla="*/ 1562777 h 4687251"/>
              <a:gd name="connsiteX18203" fmla="*/ 4144249 w 8079933"/>
              <a:gd name="connsiteY18203" fmla="*/ 1562235 h 4687251"/>
              <a:gd name="connsiteX18204" fmla="*/ 4139800 w 8079933"/>
              <a:gd name="connsiteY18204" fmla="*/ 1557688 h 4687251"/>
              <a:gd name="connsiteX18205" fmla="*/ 4137413 w 8079933"/>
              <a:gd name="connsiteY18205" fmla="*/ 1552491 h 4687251"/>
              <a:gd name="connsiteX18206" fmla="*/ 4138390 w 8079933"/>
              <a:gd name="connsiteY18206" fmla="*/ 1546645 h 4687251"/>
              <a:gd name="connsiteX18207" fmla="*/ 6746985 w 8079933"/>
              <a:gd name="connsiteY18207" fmla="*/ 1544697 h 4687251"/>
              <a:gd name="connsiteX18208" fmla="*/ 6748636 w 8079933"/>
              <a:gd name="connsiteY18208" fmla="*/ 1545055 h 4687251"/>
              <a:gd name="connsiteX18209" fmla="*/ 6748542 w 8079933"/>
              <a:gd name="connsiteY18209" fmla="*/ 1544697 h 4687251"/>
              <a:gd name="connsiteX18210" fmla="*/ 5543683 w 8079933"/>
              <a:gd name="connsiteY18210" fmla="*/ 1543753 h 4687251"/>
              <a:gd name="connsiteX18211" fmla="*/ 5543464 w 8079933"/>
              <a:gd name="connsiteY18211" fmla="*/ 1543831 h 4687251"/>
              <a:gd name="connsiteX18212" fmla="*/ 5544233 w 8079933"/>
              <a:gd name="connsiteY18212" fmla="*/ 1548090 h 4687251"/>
              <a:gd name="connsiteX18213" fmla="*/ 5544440 w 8079933"/>
              <a:gd name="connsiteY18213" fmla="*/ 1547945 h 4687251"/>
              <a:gd name="connsiteX18214" fmla="*/ 2218405 w 8079933"/>
              <a:gd name="connsiteY18214" fmla="*/ 1543505 h 4687251"/>
              <a:gd name="connsiteX18215" fmla="*/ 2218405 w 8079933"/>
              <a:gd name="connsiteY18215" fmla="*/ 1549027 h 4687251"/>
              <a:gd name="connsiteX18216" fmla="*/ 2217320 w 8079933"/>
              <a:gd name="connsiteY18216" fmla="*/ 1551301 h 4687251"/>
              <a:gd name="connsiteX18217" fmla="*/ 2216126 w 8079933"/>
              <a:gd name="connsiteY18217" fmla="*/ 1549676 h 4687251"/>
              <a:gd name="connsiteX18218" fmla="*/ 2215801 w 8079933"/>
              <a:gd name="connsiteY18218" fmla="*/ 1544696 h 4687251"/>
              <a:gd name="connsiteX18219" fmla="*/ 2217103 w 8079933"/>
              <a:gd name="connsiteY18219" fmla="*/ 1544371 h 4687251"/>
              <a:gd name="connsiteX18220" fmla="*/ 4195795 w 8079933"/>
              <a:gd name="connsiteY18220" fmla="*/ 1540582 h 4687251"/>
              <a:gd name="connsiteX18221" fmla="*/ 4197315 w 8079933"/>
              <a:gd name="connsiteY18221" fmla="*/ 1546645 h 4687251"/>
              <a:gd name="connsiteX18222" fmla="*/ 4194060 w 8079933"/>
              <a:gd name="connsiteY18222" fmla="*/ 1545563 h 4687251"/>
              <a:gd name="connsiteX18223" fmla="*/ 3827490 w 8079933"/>
              <a:gd name="connsiteY18223" fmla="*/ 1540149 h 4687251"/>
              <a:gd name="connsiteX18224" fmla="*/ 3830746 w 8079933"/>
              <a:gd name="connsiteY18224" fmla="*/ 1546753 h 4687251"/>
              <a:gd name="connsiteX18225" fmla="*/ 3829335 w 8079933"/>
              <a:gd name="connsiteY18225" fmla="*/ 1551518 h 4687251"/>
              <a:gd name="connsiteX18226" fmla="*/ 3824886 w 8079933"/>
              <a:gd name="connsiteY18226" fmla="*/ 1549677 h 4687251"/>
              <a:gd name="connsiteX18227" fmla="*/ 3823692 w 8079933"/>
              <a:gd name="connsiteY18227" fmla="*/ 1542747 h 4687251"/>
              <a:gd name="connsiteX18228" fmla="*/ 1164818 w 8079933"/>
              <a:gd name="connsiteY18228" fmla="*/ 1537117 h 4687251"/>
              <a:gd name="connsiteX18229" fmla="*/ 1167747 w 8079933"/>
              <a:gd name="connsiteY18229" fmla="*/ 1539282 h 4687251"/>
              <a:gd name="connsiteX18230" fmla="*/ 1164166 w 8079933"/>
              <a:gd name="connsiteY18230" fmla="*/ 1542530 h 4687251"/>
              <a:gd name="connsiteX18231" fmla="*/ 1160043 w 8079933"/>
              <a:gd name="connsiteY18231" fmla="*/ 1542855 h 4687251"/>
              <a:gd name="connsiteX18232" fmla="*/ 1160368 w 8079933"/>
              <a:gd name="connsiteY18232" fmla="*/ 1539282 h 4687251"/>
              <a:gd name="connsiteX18233" fmla="*/ 1163515 w 8079933"/>
              <a:gd name="connsiteY18233" fmla="*/ 1539066 h 4687251"/>
              <a:gd name="connsiteX18234" fmla="*/ 3829335 w 8079933"/>
              <a:gd name="connsiteY18234" fmla="*/ 1534410 h 4687251"/>
              <a:gd name="connsiteX18235" fmla="*/ 3831288 w 8079933"/>
              <a:gd name="connsiteY18235" fmla="*/ 1536467 h 4687251"/>
              <a:gd name="connsiteX18236" fmla="*/ 3831505 w 8079933"/>
              <a:gd name="connsiteY18236" fmla="*/ 1539824 h 4687251"/>
              <a:gd name="connsiteX18237" fmla="*/ 3828901 w 8079933"/>
              <a:gd name="connsiteY18237" fmla="*/ 1537658 h 4687251"/>
              <a:gd name="connsiteX18238" fmla="*/ 5519569 w 8079933"/>
              <a:gd name="connsiteY18238" fmla="*/ 1534372 h 4687251"/>
              <a:gd name="connsiteX18239" fmla="*/ 5517962 w 8079933"/>
              <a:gd name="connsiteY18239" fmla="*/ 1538200 h 4687251"/>
              <a:gd name="connsiteX18240" fmla="*/ 5515032 w 8079933"/>
              <a:gd name="connsiteY18240" fmla="*/ 1540798 h 4687251"/>
              <a:gd name="connsiteX18241" fmla="*/ 5514923 w 8079933"/>
              <a:gd name="connsiteY18241" fmla="*/ 1546970 h 4687251"/>
              <a:gd name="connsiteX18242" fmla="*/ 5515141 w 8079933"/>
              <a:gd name="connsiteY18242" fmla="*/ 1547253 h 4687251"/>
              <a:gd name="connsiteX18243" fmla="*/ 5515141 w 8079933"/>
              <a:gd name="connsiteY18243" fmla="*/ 1541882 h 4687251"/>
              <a:gd name="connsiteX18244" fmla="*/ 5518071 w 8079933"/>
              <a:gd name="connsiteY18244" fmla="*/ 1539284 h 4687251"/>
              <a:gd name="connsiteX18245" fmla="*/ 5520025 w 8079933"/>
              <a:gd name="connsiteY18245" fmla="*/ 1534627 h 4687251"/>
              <a:gd name="connsiteX18246" fmla="*/ 3809043 w 8079933"/>
              <a:gd name="connsiteY18246" fmla="*/ 1533002 h 4687251"/>
              <a:gd name="connsiteX18247" fmla="*/ 3810996 w 8079933"/>
              <a:gd name="connsiteY18247" fmla="*/ 1540689 h 4687251"/>
              <a:gd name="connsiteX18248" fmla="*/ 3806113 w 8079933"/>
              <a:gd name="connsiteY18248" fmla="*/ 1543720 h 4687251"/>
              <a:gd name="connsiteX18249" fmla="*/ 3806656 w 8079933"/>
              <a:gd name="connsiteY18249" fmla="*/ 1539065 h 4687251"/>
              <a:gd name="connsiteX18250" fmla="*/ 3802316 w 8079933"/>
              <a:gd name="connsiteY18250" fmla="*/ 1541879 h 4687251"/>
              <a:gd name="connsiteX18251" fmla="*/ 3802207 w 8079933"/>
              <a:gd name="connsiteY18251" fmla="*/ 1535817 h 4687251"/>
              <a:gd name="connsiteX18252" fmla="*/ 5496809 w 8079933"/>
              <a:gd name="connsiteY18252" fmla="*/ 1532695 h 4687251"/>
              <a:gd name="connsiteX18253" fmla="*/ 5496368 w 8079933"/>
              <a:gd name="connsiteY18253" fmla="*/ 1532787 h 4687251"/>
              <a:gd name="connsiteX18254" fmla="*/ 5497670 w 8079933"/>
              <a:gd name="connsiteY18254" fmla="*/ 1535494 h 4687251"/>
              <a:gd name="connsiteX18255" fmla="*/ 5499707 w 8079933"/>
              <a:gd name="connsiteY18255" fmla="*/ 1536426 h 4687251"/>
              <a:gd name="connsiteX18256" fmla="*/ 5500382 w 8079933"/>
              <a:gd name="connsiteY18256" fmla="*/ 1535710 h 4687251"/>
              <a:gd name="connsiteX18257" fmla="*/ 5497669 w 8079933"/>
              <a:gd name="connsiteY18257" fmla="*/ 1534411 h 4687251"/>
              <a:gd name="connsiteX18258" fmla="*/ 1158849 w 8079933"/>
              <a:gd name="connsiteY18258" fmla="*/ 1531812 h 4687251"/>
              <a:gd name="connsiteX18259" fmla="*/ 1160694 w 8079933"/>
              <a:gd name="connsiteY18259" fmla="*/ 1535926 h 4687251"/>
              <a:gd name="connsiteX18260" fmla="*/ 1155919 w 8079933"/>
              <a:gd name="connsiteY18260" fmla="*/ 1535493 h 4687251"/>
              <a:gd name="connsiteX18261" fmla="*/ 4154234 w 8079933"/>
              <a:gd name="connsiteY18261" fmla="*/ 1530838 h 4687251"/>
              <a:gd name="connsiteX18262" fmla="*/ 4155970 w 8079933"/>
              <a:gd name="connsiteY18262" fmla="*/ 1536901 h 4687251"/>
              <a:gd name="connsiteX18263" fmla="*/ 4155536 w 8079933"/>
              <a:gd name="connsiteY18263" fmla="*/ 1540257 h 4687251"/>
              <a:gd name="connsiteX18264" fmla="*/ 4151847 w 8079933"/>
              <a:gd name="connsiteY18264" fmla="*/ 1541015 h 4687251"/>
              <a:gd name="connsiteX18265" fmla="*/ 4154234 w 8079933"/>
              <a:gd name="connsiteY18265" fmla="*/ 1537334 h 4687251"/>
              <a:gd name="connsiteX18266" fmla="*/ 5334623 w 8079933"/>
              <a:gd name="connsiteY18266" fmla="*/ 1530587 h 4687251"/>
              <a:gd name="connsiteX18267" fmla="*/ 5334461 w 8079933"/>
              <a:gd name="connsiteY18267" fmla="*/ 1530730 h 4687251"/>
              <a:gd name="connsiteX18268" fmla="*/ 5334461 w 8079933"/>
              <a:gd name="connsiteY18268" fmla="*/ 1534591 h 4687251"/>
              <a:gd name="connsiteX18269" fmla="*/ 5334786 w 8079933"/>
              <a:gd name="connsiteY18269" fmla="*/ 1534302 h 4687251"/>
              <a:gd name="connsiteX18270" fmla="*/ 4192540 w 8079933"/>
              <a:gd name="connsiteY18270" fmla="*/ 1529321 h 4687251"/>
              <a:gd name="connsiteX18271" fmla="*/ 4193951 w 8079933"/>
              <a:gd name="connsiteY18271" fmla="*/ 1533219 h 4687251"/>
              <a:gd name="connsiteX18272" fmla="*/ 4194384 w 8079933"/>
              <a:gd name="connsiteY18272" fmla="*/ 1538415 h 4687251"/>
              <a:gd name="connsiteX18273" fmla="*/ 4192866 w 8079933"/>
              <a:gd name="connsiteY18273" fmla="*/ 1544046 h 4687251"/>
              <a:gd name="connsiteX18274" fmla="*/ 4187874 w 8079933"/>
              <a:gd name="connsiteY18274" fmla="*/ 1546428 h 4687251"/>
              <a:gd name="connsiteX18275" fmla="*/ 4187874 w 8079933"/>
              <a:gd name="connsiteY18275" fmla="*/ 1548160 h 4687251"/>
              <a:gd name="connsiteX18276" fmla="*/ 4192214 w 8079933"/>
              <a:gd name="connsiteY18276" fmla="*/ 1551084 h 4687251"/>
              <a:gd name="connsiteX18277" fmla="*/ 4193082 w 8079933"/>
              <a:gd name="connsiteY18277" fmla="*/ 1554007 h 4687251"/>
              <a:gd name="connsiteX18278" fmla="*/ 4190586 w 8079933"/>
              <a:gd name="connsiteY18278" fmla="*/ 1556281 h 4687251"/>
              <a:gd name="connsiteX18279" fmla="*/ 4185594 w 8079933"/>
              <a:gd name="connsiteY18279" fmla="*/ 1558338 h 4687251"/>
              <a:gd name="connsiteX18280" fmla="*/ 4185812 w 8079933"/>
              <a:gd name="connsiteY18280" fmla="*/ 1561586 h 4687251"/>
              <a:gd name="connsiteX18281" fmla="*/ 4183967 w 8079933"/>
              <a:gd name="connsiteY18281" fmla="*/ 1564076 h 4687251"/>
              <a:gd name="connsiteX18282" fmla="*/ 4180387 w 8079933"/>
              <a:gd name="connsiteY18282" fmla="*/ 1564293 h 4687251"/>
              <a:gd name="connsiteX18283" fmla="*/ 4178541 w 8079933"/>
              <a:gd name="connsiteY18283" fmla="*/ 1561803 h 4687251"/>
              <a:gd name="connsiteX18284" fmla="*/ 4180603 w 8079933"/>
              <a:gd name="connsiteY18284" fmla="*/ 1559313 h 4687251"/>
              <a:gd name="connsiteX18285" fmla="*/ 4179735 w 8079933"/>
              <a:gd name="connsiteY18285" fmla="*/ 1557147 h 4687251"/>
              <a:gd name="connsiteX18286" fmla="*/ 4174201 w 8079933"/>
              <a:gd name="connsiteY18286" fmla="*/ 1555631 h 4687251"/>
              <a:gd name="connsiteX18287" fmla="*/ 4171162 w 8079933"/>
              <a:gd name="connsiteY18287" fmla="*/ 1555631 h 4687251"/>
              <a:gd name="connsiteX18288" fmla="*/ 4168449 w 8079933"/>
              <a:gd name="connsiteY18288" fmla="*/ 1552275 h 4687251"/>
              <a:gd name="connsiteX18289" fmla="*/ 4168666 w 8079933"/>
              <a:gd name="connsiteY18289" fmla="*/ 1547403 h 4687251"/>
              <a:gd name="connsiteX18290" fmla="*/ 4166822 w 8079933"/>
              <a:gd name="connsiteY18290" fmla="*/ 1544479 h 4687251"/>
              <a:gd name="connsiteX18291" fmla="*/ 4166171 w 8079933"/>
              <a:gd name="connsiteY18291" fmla="*/ 1541015 h 4687251"/>
              <a:gd name="connsiteX18292" fmla="*/ 4169101 w 8079933"/>
              <a:gd name="connsiteY18292" fmla="*/ 1540148 h 4687251"/>
              <a:gd name="connsiteX18293" fmla="*/ 4170945 w 8079933"/>
              <a:gd name="connsiteY18293" fmla="*/ 1536575 h 4687251"/>
              <a:gd name="connsiteX18294" fmla="*/ 4173224 w 8079933"/>
              <a:gd name="connsiteY18294" fmla="*/ 1534951 h 4687251"/>
              <a:gd name="connsiteX18295" fmla="*/ 4175394 w 8079933"/>
              <a:gd name="connsiteY18295" fmla="*/ 1537766 h 4687251"/>
              <a:gd name="connsiteX18296" fmla="*/ 4175612 w 8079933"/>
              <a:gd name="connsiteY18296" fmla="*/ 1540040 h 4687251"/>
              <a:gd name="connsiteX18297" fmla="*/ 4179952 w 8079933"/>
              <a:gd name="connsiteY18297" fmla="*/ 1542963 h 4687251"/>
              <a:gd name="connsiteX18298" fmla="*/ 4180928 w 8079933"/>
              <a:gd name="connsiteY18298" fmla="*/ 1541772 h 4687251"/>
              <a:gd name="connsiteX18299" fmla="*/ 4183425 w 8079933"/>
              <a:gd name="connsiteY18299" fmla="*/ 1542422 h 4687251"/>
              <a:gd name="connsiteX18300" fmla="*/ 4183750 w 8079933"/>
              <a:gd name="connsiteY18300" fmla="*/ 1539931 h 4687251"/>
              <a:gd name="connsiteX18301" fmla="*/ 4180060 w 8079933"/>
              <a:gd name="connsiteY18301" fmla="*/ 1537441 h 4687251"/>
              <a:gd name="connsiteX18302" fmla="*/ 4178433 w 8079933"/>
              <a:gd name="connsiteY18302" fmla="*/ 1535276 h 4687251"/>
              <a:gd name="connsiteX18303" fmla="*/ 4180712 w 8079933"/>
              <a:gd name="connsiteY18303" fmla="*/ 1531053 h 4687251"/>
              <a:gd name="connsiteX18304" fmla="*/ 4187006 w 8079933"/>
              <a:gd name="connsiteY18304" fmla="*/ 1529537 h 4687251"/>
              <a:gd name="connsiteX18305" fmla="*/ 6562251 w 8079933"/>
              <a:gd name="connsiteY18305" fmla="*/ 1528573 h 4687251"/>
              <a:gd name="connsiteX18306" fmla="*/ 6562218 w 8079933"/>
              <a:gd name="connsiteY18306" fmla="*/ 1528672 h 4687251"/>
              <a:gd name="connsiteX18307" fmla="*/ 6562978 w 8079933"/>
              <a:gd name="connsiteY18307" fmla="*/ 1533870 h 4687251"/>
              <a:gd name="connsiteX18308" fmla="*/ 6565764 w 8079933"/>
              <a:gd name="connsiteY18308" fmla="*/ 1536756 h 4687251"/>
              <a:gd name="connsiteX18309" fmla="*/ 6565799 w 8079933"/>
              <a:gd name="connsiteY18309" fmla="*/ 1536467 h 4687251"/>
              <a:gd name="connsiteX18310" fmla="*/ 6562978 w 8079933"/>
              <a:gd name="connsiteY18310" fmla="*/ 1533543 h 4687251"/>
              <a:gd name="connsiteX18311" fmla="*/ 1126076 w 8079933"/>
              <a:gd name="connsiteY18311" fmla="*/ 1527589 h 4687251"/>
              <a:gd name="connsiteX18312" fmla="*/ 1130417 w 8079933"/>
              <a:gd name="connsiteY18312" fmla="*/ 1528563 h 4687251"/>
              <a:gd name="connsiteX18313" fmla="*/ 1133347 w 8079933"/>
              <a:gd name="connsiteY18313" fmla="*/ 1533760 h 4687251"/>
              <a:gd name="connsiteX18314" fmla="*/ 1138882 w 8079933"/>
              <a:gd name="connsiteY18314" fmla="*/ 1533436 h 4687251"/>
              <a:gd name="connsiteX18315" fmla="*/ 1140075 w 8079933"/>
              <a:gd name="connsiteY18315" fmla="*/ 1537875 h 4687251"/>
              <a:gd name="connsiteX18316" fmla="*/ 1143548 w 8079933"/>
              <a:gd name="connsiteY18316" fmla="*/ 1541989 h 4687251"/>
              <a:gd name="connsiteX18317" fmla="*/ 1151035 w 8079933"/>
              <a:gd name="connsiteY18317" fmla="*/ 1546103 h 4687251"/>
              <a:gd name="connsiteX18318" fmla="*/ 1153097 w 8079933"/>
              <a:gd name="connsiteY18318" fmla="*/ 1550217 h 4687251"/>
              <a:gd name="connsiteX18319" fmla="*/ 1158523 w 8079933"/>
              <a:gd name="connsiteY18319" fmla="*/ 1552275 h 4687251"/>
              <a:gd name="connsiteX18320" fmla="*/ 1163298 w 8079933"/>
              <a:gd name="connsiteY18320" fmla="*/ 1552275 h 4687251"/>
              <a:gd name="connsiteX18321" fmla="*/ 1171762 w 8079933"/>
              <a:gd name="connsiteY18321" fmla="*/ 1556822 h 4687251"/>
              <a:gd name="connsiteX18322" fmla="*/ 1176754 w 8079933"/>
              <a:gd name="connsiteY18322" fmla="*/ 1557472 h 4687251"/>
              <a:gd name="connsiteX18323" fmla="*/ 1179358 w 8079933"/>
              <a:gd name="connsiteY18323" fmla="*/ 1560178 h 4687251"/>
              <a:gd name="connsiteX18324" fmla="*/ 1179467 w 8079933"/>
              <a:gd name="connsiteY18324" fmla="*/ 1568515 h 4687251"/>
              <a:gd name="connsiteX18325" fmla="*/ 1185218 w 8079933"/>
              <a:gd name="connsiteY18325" fmla="*/ 1577068 h 4687251"/>
              <a:gd name="connsiteX18326" fmla="*/ 1186195 w 8079933"/>
              <a:gd name="connsiteY18326" fmla="*/ 1590819 h 4687251"/>
              <a:gd name="connsiteX18327" fmla="*/ 1197047 w 8079933"/>
              <a:gd name="connsiteY18327" fmla="*/ 1598182 h 4687251"/>
              <a:gd name="connsiteX18328" fmla="*/ 1201061 w 8079933"/>
              <a:gd name="connsiteY18328" fmla="*/ 1603703 h 4687251"/>
              <a:gd name="connsiteX18329" fmla="*/ 1199976 w 8079933"/>
              <a:gd name="connsiteY18329" fmla="*/ 1613015 h 4687251"/>
              <a:gd name="connsiteX18330" fmla="*/ 1201713 w 8079933"/>
              <a:gd name="connsiteY18330" fmla="*/ 1616804 h 4687251"/>
              <a:gd name="connsiteX18331" fmla="*/ 1200845 w 8079933"/>
              <a:gd name="connsiteY18331" fmla="*/ 1622976 h 4687251"/>
              <a:gd name="connsiteX18332" fmla="*/ 1204100 w 8079933"/>
              <a:gd name="connsiteY18332" fmla="*/ 1635210 h 4687251"/>
              <a:gd name="connsiteX18333" fmla="*/ 1199868 w 8079933"/>
              <a:gd name="connsiteY18333" fmla="*/ 1634669 h 4687251"/>
              <a:gd name="connsiteX18334" fmla="*/ 1197372 w 8079933"/>
              <a:gd name="connsiteY18334" fmla="*/ 1636402 h 4687251"/>
              <a:gd name="connsiteX18335" fmla="*/ 1182831 w 8079933"/>
              <a:gd name="connsiteY18335" fmla="*/ 1627956 h 4687251"/>
              <a:gd name="connsiteX18336" fmla="*/ 1180878 w 8079933"/>
              <a:gd name="connsiteY18336" fmla="*/ 1624492 h 4687251"/>
              <a:gd name="connsiteX18337" fmla="*/ 1177730 w 8079933"/>
              <a:gd name="connsiteY18337" fmla="*/ 1623625 h 4687251"/>
              <a:gd name="connsiteX18338" fmla="*/ 1168832 w 8079933"/>
              <a:gd name="connsiteY18338" fmla="*/ 1614531 h 4687251"/>
              <a:gd name="connsiteX18339" fmla="*/ 1175560 w 8079933"/>
              <a:gd name="connsiteY18339" fmla="*/ 1607493 h 4687251"/>
              <a:gd name="connsiteX18340" fmla="*/ 1171220 w 8079933"/>
              <a:gd name="connsiteY18340" fmla="*/ 1607493 h 4687251"/>
              <a:gd name="connsiteX18341" fmla="*/ 1168941 w 8079933"/>
              <a:gd name="connsiteY18341" fmla="*/ 1605111 h 4687251"/>
              <a:gd name="connsiteX18342" fmla="*/ 1165359 w 8079933"/>
              <a:gd name="connsiteY18342" fmla="*/ 1608359 h 4687251"/>
              <a:gd name="connsiteX18343" fmla="*/ 1160043 w 8079933"/>
              <a:gd name="connsiteY18343" fmla="*/ 1603487 h 4687251"/>
              <a:gd name="connsiteX18344" fmla="*/ 1161561 w 8079933"/>
              <a:gd name="connsiteY18344" fmla="*/ 1599048 h 4687251"/>
              <a:gd name="connsiteX18345" fmla="*/ 1159825 w 8079933"/>
              <a:gd name="connsiteY18345" fmla="*/ 1594609 h 4687251"/>
              <a:gd name="connsiteX18346" fmla="*/ 1156787 w 8079933"/>
              <a:gd name="connsiteY18346" fmla="*/ 1594067 h 4687251"/>
              <a:gd name="connsiteX18347" fmla="*/ 1157221 w 8079933"/>
              <a:gd name="connsiteY18347" fmla="*/ 1590170 h 4687251"/>
              <a:gd name="connsiteX18348" fmla="*/ 1148974 w 8079933"/>
              <a:gd name="connsiteY18348" fmla="*/ 1591036 h 4687251"/>
              <a:gd name="connsiteX18349" fmla="*/ 1147563 w 8079933"/>
              <a:gd name="connsiteY18349" fmla="*/ 1585297 h 4687251"/>
              <a:gd name="connsiteX18350" fmla="*/ 1145176 w 8079933"/>
              <a:gd name="connsiteY18350" fmla="*/ 1586164 h 4687251"/>
              <a:gd name="connsiteX18351" fmla="*/ 1144850 w 8079933"/>
              <a:gd name="connsiteY18351" fmla="*/ 1582266 h 4687251"/>
              <a:gd name="connsiteX18352" fmla="*/ 1148866 w 8079933"/>
              <a:gd name="connsiteY18352" fmla="*/ 1578584 h 4687251"/>
              <a:gd name="connsiteX18353" fmla="*/ 1150384 w 8079933"/>
              <a:gd name="connsiteY18353" fmla="*/ 1572954 h 4687251"/>
              <a:gd name="connsiteX18354" fmla="*/ 1144199 w 8079933"/>
              <a:gd name="connsiteY18354" fmla="*/ 1574687 h 4687251"/>
              <a:gd name="connsiteX18355" fmla="*/ 1143656 w 8079933"/>
              <a:gd name="connsiteY18355" fmla="*/ 1578909 h 4687251"/>
              <a:gd name="connsiteX18356" fmla="*/ 1140184 w 8079933"/>
              <a:gd name="connsiteY18356" fmla="*/ 1580100 h 4687251"/>
              <a:gd name="connsiteX18357" fmla="*/ 1137254 w 8079933"/>
              <a:gd name="connsiteY18357" fmla="*/ 1574362 h 4687251"/>
              <a:gd name="connsiteX18358" fmla="*/ 1143656 w 8079933"/>
              <a:gd name="connsiteY18358" fmla="*/ 1566891 h 4687251"/>
              <a:gd name="connsiteX18359" fmla="*/ 1138665 w 8079933"/>
              <a:gd name="connsiteY18359" fmla="*/ 1569706 h 4687251"/>
              <a:gd name="connsiteX18360" fmla="*/ 1133999 w 8079933"/>
              <a:gd name="connsiteY18360" fmla="*/ 1566458 h 4687251"/>
              <a:gd name="connsiteX18361" fmla="*/ 1133782 w 8079933"/>
              <a:gd name="connsiteY18361" fmla="*/ 1561803 h 4687251"/>
              <a:gd name="connsiteX18362" fmla="*/ 1128681 w 8079933"/>
              <a:gd name="connsiteY18362" fmla="*/ 1562127 h 4687251"/>
              <a:gd name="connsiteX18363" fmla="*/ 1128030 w 8079933"/>
              <a:gd name="connsiteY18363" fmla="*/ 1557688 h 4687251"/>
              <a:gd name="connsiteX18364" fmla="*/ 1122496 w 8079933"/>
              <a:gd name="connsiteY18364" fmla="*/ 1559529 h 4687251"/>
              <a:gd name="connsiteX18365" fmla="*/ 1121085 w 8079933"/>
              <a:gd name="connsiteY18365" fmla="*/ 1558013 h 4687251"/>
              <a:gd name="connsiteX18366" fmla="*/ 1123689 w 8079933"/>
              <a:gd name="connsiteY18366" fmla="*/ 1552275 h 4687251"/>
              <a:gd name="connsiteX18367" fmla="*/ 1120868 w 8079933"/>
              <a:gd name="connsiteY18367" fmla="*/ 1550542 h 4687251"/>
              <a:gd name="connsiteX18368" fmla="*/ 1124340 w 8079933"/>
              <a:gd name="connsiteY18368" fmla="*/ 1545346 h 4687251"/>
              <a:gd name="connsiteX18369" fmla="*/ 1130201 w 8079933"/>
              <a:gd name="connsiteY18369" fmla="*/ 1545670 h 4687251"/>
              <a:gd name="connsiteX18370" fmla="*/ 1135084 w 8079933"/>
              <a:gd name="connsiteY18370" fmla="*/ 1542855 h 4687251"/>
              <a:gd name="connsiteX18371" fmla="*/ 1123364 w 8079933"/>
              <a:gd name="connsiteY18371" fmla="*/ 1541556 h 4687251"/>
              <a:gd name="connsiteX18372" fmla="*/ 1121302 w 8079933"/>
              <a:gd name="connsiteY18372" fmla="*/ 1535709 h 4687251"/>
              <a:gd name="connsiteX18373" fmla="*/ 1119132 w 8079933"/>
              <a:gd name="connsiteY18373" fmla="*/ 1535385 h 4687251"/>
              <a:gd name="connsiteX18374" fmla="*/ 1117070 w 8079933"/>
              <a:gd name="connsiteY18374" fmla="*/ 1528780 h 4687251"/>
              <a:gd name="connsiteX18375" fmla="*/ 1124232 w 8079933"/>
              <a:gd name="connsiteY18375" fmla="*/ 1529321 h 4687251"/>
              <a:gd name="connsiteX18376" fmla="*/ 5565382 w 8079933"/>
              <a:gd name="connsiteY18376" fmla="*/ 1527168 h 4687251"/>
              <a:gd name="connsiteX18377" fmla="*/ 5564950 w 8079933"/>
              <a:gd name="connsiteY18377" fmla="*/ 1527590 h 4687251"/>
              <a:gd name="connsiteX18378" fmla="*/ 5564950 w 8079933"/>
              <a:gd name="connsiteY18378" fmla="*/ 1529847 h 4687251"/>
              <a:gd name="connsiteX18379" fmla="*/ 5565058 w 8079933"/>
              <a:gd name="connsiteY18379" fmla="*/ 1529755 h 4687251"/>
              <a:gd name="connsiteX18380" fmla="*/ 4480434 w 8079933"/>
              <a:gd name="connsiteY18380" fmla="*/ 1526724 h 4687251"/>
              <a:gd name="connsiteX18381" fmla="*/ 4485969 w 8079933"/>
              <a:gd name="connsiteY18381" fmla="*/ 1534194 h 4687251"/>
              <a:gd name="connsiteX18382" fmla="*/ 4492913 w 8079933"/>
              <a:gd name="connsiteY18382" fmla="*/ 1534519 h 4687251"/>
              <a:gd name="connsiteX18383" fmla="*/ 4495192 w 8079933"/>
              <a:gd name="connsiteY18383" fmla="*/ 1536576 h 4687251"/>
              <a:gd name="connsiteX18384" fmla="*/ 4489766 w 8079933"/>
              <a:gd name="connsiteY18384" fmla="*/ 1543721 h 4687251"/>
              <a:gd name="connsiteX18385" fmla="*/ 4493456 w 8079933"/>
              <a:gd name="connsiteY18385" fmla="*/ 1545454 h 4687251"/>
              <a:gd name="connsiteX18386" fmla="*/ 4493456 w 8079933"/>
              <a:gd name="connsiteY18386" fmla="*/ 1550326 h 4687251"/>
              <a:gd name="connsiteX18387" fmla="*/ 4493458 w 8079933"/>
              <a:gd name="connsiteY18387" fmla="*/ 1550325 h 4687251"/>
              <a:gd name="connsiteX18388" fmla="*/ 4493458 w 8079933"/>
              <a:gd name="connsiteY18388" fmla="*/ 1545453 h 4687251"/>
              <a:gd name="connsiteX18389" fmla="*/ 4489768 w 8079933"/>
              <a:gd name="connsiteY18389" fmla="*/ 1543721 h 4687251"/>
              <a:gd name="connsiteX18390" fmla="*/ 4495193 w 8079933"/>
              <a:gd name="connsiteY18390" fmla="*/ 1536576 h 4687251"/>
              <a:gd name="connsiteX18391" fmla="*/ 4492916 w 8079933"/>
              <a:gd name="connsiteY18391" fmla="*/ 1534519 h 4687251"/>
              <a:gd name="connsiteX18392" fmla="*/ 4485970 w 8079933"/>
              <a:gd name="connsiteY18392" fmla="*/ 1534194 h 4687251"/>
              <a:gd name="connsiteX18393" fmla="*/ 4480436 w 8079933"/>
              <a:gd name="connsiteY18393" fmla="*/ 1526724 h 4687251"/>
              <a:gd name="connsiteX18394" fmla="*/ 4570544 w 8079933"/>
              <a:gd name="connsiteY18394" fmla="*/ 1526074 h 4687251"/>
              <a:gd name="connsiteX18395" fmla="*/ 4571156 w 8079933"/>
              <a:gd name="connsiteY18395" fmla="*/ 1526831 h 4687251"/>
              <a:gd name="connsiteX18396" fmla="*/ 4573863 w 8079933"/>
              <a:gd name="connsiteY18396" fmla="*/ 1526831 h 4687251"/>
              <a:gd name="connsiteX18397" fmla="*/ 4571697 w 8079933"/>
              <a:gd name="connsiteY18397" fmla="*/ 1526074 h 4687251"/>
              <a:gd name="connsiteX18398" fmla="*/ 3808390 w 8079933"/>
              <a:gd name="connsiteY18398" fmla="*/ 1526074 h 4687251"/>
              <a:gd name="connsiteX18399" fmla="*/ 3809041 w 8079933"/>
              <a:gd name="connsiteY18399" fmla="*/ 1528456 h 4687251"/>
              <a:gd name="connsiteX18400" fmla="*/ 3806980 w 8079933"/>
              <a:gd name="connsiteY18400" fmla="*/ 1530621 h 4687251"/>
              <a:gd name="connsiteX18401" fmla="*/ 3818700 w 8079933"/>
              <a:gd name="connsiteY18401" fmla="*/ 1525856 h 4687251"/>
              <a:gd name="connsiteX18402" fmla="*/ 3815119 w 8079933"/>
              <a:gd name="connsiteY18402" fmla="*/ 1533868 h 4687251"/>
              <a:gd name="connsiteX18403" fmla="*/ 3812189 w 8079933"/>
              <a:gd name="connsiteY18403" fmla="*/ 1537658 h 4687251"/>
              <a:gd name="connsiteX18404" fmla="*/ 3810561 w 8079933"/>
              <a:gd name="connsiteY18404" fmla="*/ 1533435 h 4687251"/>
              <a:gd name="connsiteX18405" fmla="*/ 5460014 w 8079933"/>
              <a:gd name="connsiteY18405" fmla="*/ 1524262 h 4687251"/>
              <a:gd name="connsiteX18406" fmla="*/ 5456433 w 8079933"/>
              <a:gd name="connsiteY18406" fmla="*/ 1525208 h 4687251"/>
              <a:gd name="connsiteX18407" fmla="*/ 5456737 w 8079933"/>
              <a:gd name="connsiteY18407" fmla="*/ 1525845 h 4687251"/>
              <a:gd name="connsiteX18408" fmla="*/ 5460014 w 8079933"/>
              <a:gd name="connsiteY18408" fmla="*/ 1524884 h 4687251"/>
              <a:gd name="connsiteX18409" fmla="*/ 5587889 w 8079933"/>
              <a:gd name="connsiteY18409" fmla="*/ 1523007 h 4687251"/>
              <a:gd name="connsiteX18410" fmla="*/ 5584373 w 8079933"/>
              <a:gd name="connsiteY18410" fmla="*/ 1523908 h 4687251"/>
              <a:gd name="connsiteX18411" fmla="*/ 5584385 w 8079933"/>
              <a:gd name="connsiteY18411" fmla="*/ 1523931 h 4687251"/>
              <a:gd name="connsiteX18412" fmla="*/ 5587847 w 8079933"/>
              <a:gd name="connsiteY18412" fmla="*/ 1523043 h 4687251"/>
              <a:gd name="connsiteX18413" fmla="*/ 4565512 w 8079933"/>
              <a:gd name="connsiteY18413" fmla="*/ 1522609 h 4687251"/>
              <a:gd name="connsiteX18414" fmla="*/ 4558567 w 8079933"/>
              <a:gd name="connsiteY18414" fmla="*/ 1524666 h 4687251"/>
              <a:gd name="connsiteX18415" fmla="*/ 4554086 w 8079933"/>
              <a:gd name="connsiteY18415" fmla="*/ 1528118 h 4687251"/>
              <a:gd name="connsiteX18416" fmla="*/ 4555312 w 8079933"/>
              <a:gd name="connsiteY18416" fmla="*/ 1530295 h 4687251"/>
              <a:gd name="connsiteX18417" fmla="*/ 4561497 w 8079933"/>
              <a:gd name="connsiteY18417" fmla="*/ 1525531 h 4687251"/>
              <a:gd name="connsiteX18418" fmla="*/ 4566613 w 8079933"/>
              <a:gd name="connsiteY18418" fmla="*/ 1524016 h 4687251"/>
              <a:gd name="connsiteX18419" fmla="*/ 5480401 w 8079933"/>
              <a:gd name="connsiteY18419" fmla="*/ 1521630 h 4687251"/>
              <a:gd name="connsiteX18420" fmla="*/ 5480090 w 8079933"/>
              <a:gd name="connsiteY18420" fmla="*/ 1521852 h 4687251"/>
              <a:gd name="connsiteX18421" fmla="*/ 5481932 w 8079933"/>
              <a:gd name="connsiteY18421" fmla="*/ 1526715 h 4687251"/>
              <a:gd name="connsiteX18422" fmla="*/ 5482042 w 8079933"/>
              <a:gd name="connsiteY18422" fmla="*/ 1525966 h 4687251"/>
              <a:gd name="connsiteX18423" fmla="*/ 7367737 w 8079933"/>
              <a:gd name="connsiteY18423" fmla="*/ 1521526 h 4687251"/>
              <a:gd name="connsiteX18424" fmla="*/ 7369257 w 8079933"/>
              <a:gd name="connsiteY18424" fmla="*/ 1523258 h 4687251"/>
              <a:gd name="connsiteX18425" fmla="*/ 7368931 w 8079933"/>
              <a:gd name="connsiteY18425" fmla="*/ 1527589 h 4687251"/>
              <a:gd name="connsiteX18426" fmla="*/ 7367195 w 8079933"/>
              <a:gd name="connsiteY18426" fmla="*/ 1529863 h 4687251"/>
              <a:gd name="connsiteX18427" fmla="*/ 7365458 w 8079933"/>
              <a:gd name="connsiteY18427" fmla="*/ 1530946 h 4687251"/>
              <a:gd name="connsiteX18428" fmla="*/ 7366326 w 8079933"/>
              <a:gd name="connsiteY18428" fmla="*/ 1524991 h 4687251"/>
              <a:gd name="connsiteX18429" fmla="*/ 4542723 w 8079933"/>
              <a:gd name="connsiteY18429" fmla="*/ 1520877 h 4687251"/>
              <a:gd name="connsiteX18430" fmla="*/ 4538692 w 8079933"/>
              <a:gd name="connsiteY18430" fmla="*/ 1522739 h 4687251"/>
              <a:gd name="connsiteX18431" fmla="*/ 4539794 w 8079933"/>
              <a:gd name="connsiteY18431" fmla="*/ 1524449 h 4687251"/>
              <a:gd name="connsiteX18432" fmla="*/ 4545654 w 8079933"/>
              <a:gd name="connsiteY18432" fmla="*/ 1521742 h 4687251"/>
              <a:gd name="connsiteX18433" fmla="*/ 4548235 w 8079933"/>
              <a:gd name="connsiteY18433" fmla="*/ 1522064 h 4687251"/>
              <a:gd name="connsiteX18434" fmla="*/ 4547932 w 8079933"/>
              <a:gd name="connsiteY18434" fmla="*/ 1521527 h 4687251"/>
              <a:gd name="connsiteX18435" fmla="*/ 5591753 w 8079933"/>
              <a:gd name="connsiteY18435" fmla="*/ 1518864 h 4687251"/>
              <a:gd name="connsiteX18436" fmla="*/ 5588788 w 8079933"/>
              <a:gd name="connsiteY18436" fmla="*/ 1522235 h 4687251"/>
              <a:gd name="connsiteX18437" fmla="*/ 5591753 w 8079933"/>
              <a:gd name="connsiteY18437" fmla="*/ 1519686 h 4687251"/>
              <a:gd name="connsiteX18438" fmla="*/ 4469149 w 8079933"/>
              <a:gd name="connsiteY18438" fmla="*/ 1518820 h 4687251"/>
              <a:gd name="connsiteX18439" fmla="*/ 4475334 w 8079933"/>
              <a:gd name="connsiteY18439" fmla="*/ 1525965 h 4687251"/>
              <a:gd name="connsiteX18440" fmla="*/ 4477404 w 8079933"/>
              <a:gd name="connsiteY18440" fmla="*/ 1526273 h 4687251"/>
              <a:gd name="connsiteX18441" fmla="*/ 4475336 w 8079933"/>
              <a:gd name="connsiteY18441" fmla="*/ 1525965 h 4687251"/>
              <a:gd name="connsiteX18442" fmla="*/ 4469150 w 8079933"/>
              <a:gd name="connsiteY18442" fmla="*/ 1518820 h 4687251"/>
              <a:gd name="connsiteX18443" fmla="*/ 4443323 w 8079933"/>
              <a:gd name="connsiteY18443" fmla="*/ 1517629 h 4687251"/>
              <a:gd name="connsiteX18444" fmla="*/ 4443321 w 8079933"/>
              <a:gd name="connsiteY18444" fmla="*/ 1517629 h 4687251"/>
              <a:gd name="connsiteX18445" fmla="*/ 4445453 w 8079933"/>
              <a:gd name="connsiteY18445" fmla="*/ 1518692 h 4687251"/>
              <a:gd name="connsiteX18446" fmla="*/ 7360792 w 8079933"/>
              <a:gd name="connsiteY18446" fmla="*/ 1517087 h 4687251"/>
              <a:gd name="connsiteX18447" fmla="*/ 7362637 w 8079933"/>
              <a:gd name="connsiteY18447" fmla="*/ 1517736 h 4687251"/>
              <a:gd name="connsiteX18448" fmla="*/ 7363396 w 8079933"/>
              <a:gd name="connsiteY18448" fmla="*/ 1519252 h 4687251"/>
              <a:gd name="connsiteX18449" fmla="*/ 7362094 w 8079933"/>
              <a:gd name="connsiteY18449" fmla="*/ 1519902 h 4687251"/>
              <a:gd name="connsiteX18450" fmla="*/ 7359815 w 8079933"/>
              <a:gd name="connsiteY18450" fmla="*/ 1519143 h 4687251"/>
              <a:gd name="connsiteX18451" fmla="*/ 4523643 w 8079933"/>
              <a:gd name="connsiteY18451" fmla="*/ 1517021 h 4687251"/>
              <a:gd name="connsiteX18452" fmla="*/ 4523722 w 8079933"/>
              <a:gd name="connsiteY18452" fmla="*/ 1517641 h 4687251"/>
              <a:gd name="connsiteX18453" fmla="*/ 4524356 w 8079933"/>
              <a:gd name="connsiteY18453" fmla="*/ 1517489 h 4687251"/>
              <a:gd name="connsiteX18454" fmla="*/ 4532089 w 8079933"/>
              <a:gd name="connsiteY18454" fmla="*/ 1516005 h 4687251"/>
              <a:gd name="connsiteX18455" fmla="*/ 4527706 w 8079933"/>
              <a:gd name="connsiteY18455" fmla="*/ 1518647 h 4687251"/>
              <a:gd name="connsiteX18456" fmla="*/ 4529702 w 8079933"/>
              <a:gd name="connsiteY18456" fmla="*/ 1520009 h 4687251"/>
              <a:gd name="connsiteX18457" fmla="*/ 4533260 w 8079933"/>
              <a:gd name="connsiteY18457" fmla="*/ 1517865 h 4687251"/>
              <a:gd name="connsiteX18458" fmla="*/ 4453307 w 8079933"/>
              <a:gd name="connsiteY18458" fmla="*/ 1513731 h 4687251"/>
              <a:gd name="connsiteX18459" fmla="*/ 4453306 w 8079933"/>
              <a:gd name="connsiteY18459" fmla="*/ 1513731 h 4687251"/>
              <a:gd name="connsiteX18460" fmla="*/ 4461660 w 8079933"/>
              <a:gd name="connsiteY18460" fmla="*/ 1517629 h 4687251"/>
              <a:gd name="connsiteX18461" fmla="*/ 4464654 w 8079933"/>
              <a:gd name="connsiteY18461" fmla="*/ 1518105 h 4687251"/>
              <a:gd name="connsiteX18462" fmla="*/ 4461662 w 8079933"/>
              <a:gd name="connsiteY18462" fmla="*/ 1517629 h 4687251"/>
              <a:gd name="connsiteX18463" fmla="*/ 4431928 w 8079933"/>
              <a:gd name="connsiteY18463" fmla="*/ 1513406 h 4687251"/>
              <a:gd name="connsiteX18464" fmla="*/ 4435834 w 8079933"/>
              <a:gd name="connsiteY18464" fmla="*/ 1517845 h 4687251"/>
              <a:gd name="connsiteX18465" fmla="*/ 4435835 w 8079933"/>
              <a:gd name="connsiteY18465" fmla="*/ 1517845 h 4687251"/>
              <a:gd name="connsiteX18466" fmla="*/ 4431929 w 8079933"/>
              <a:gd name="connsiteY18466" fmla="*/ 1513406 h 4687251"/>
              <a:gd name="connsiteX18467" fmla="*/ 6563563 w 8079933"/>
              <a:gd name="connsiteY18467" fmla="*/ 1513284 h 4687251"/>
              <a:gd name="connsiteX18468" fmla="*/ 6563412 w 8079933"/>
              <a:gd name="connsiteY18468" fmla="*/ 1513407 h 4687251"/>
              <a:gd name="connsiteX18469" fmla="*/ 6560699 w 8079933"/>
              <a:gd name="connsiteY18469" fmla="*/ 1518170 h 4687251"/>
              <a:gd name="connsiteX18470" fmla="*/ 6560699 w 8079933"/>
              <a:gd name="connsiteY18470" fmla="*/ 1521742 h 4687251"/>
              <a:gd name="connsiteX18471" fmla="*/ 6560699 w 8079933"/>
              <a:gd name="connsiteY18471" fmla="*/ 1522068 h 4687251"/>
              <a:gd name="connsiteX18472" fmla="*/ 6563016 w 8079933"/>
              <a:gd name="connsiteY18472" fmla="*/ 1525957 h 4687251"/>
              <a:gd name="connsiteX18473" fmla="*/ 6563086 w 8079933"/>
              <a:gd name="connsiteY18473" fmla="*/ 1525748 h 4687251"/>
              <a:gd name="connsiteX18474" fmla="*/ 6560699 w 8079933"/>
              <a:gd name="connsiteY18474" fmla="*/ 1521742 h 4687251"/>
              <a:gd name="connsiteX18475" fmla="*/ 6561024 w 8079933"/>
              <a:gd name="connsiteY18475" fmla="*/ 1517844 h 4687251"/>
              <a:gd name="connsiteX18476" fmla="*/ 3794068 w 8079933"/>
              <a:gd name="connsiteY18476" fmla="*/ 1512431 h 4687251"/>
              <a:gd name="connsiteX18477" fmla="*/ 3797866 w 8079933"/>
              <a:gd name="connsiteY18477" fmla="*/ 1512647 h 4687251"/>
              <a:gd name="connsiteX18478" fmla="*/ 3793634 w 8079933"/>
              <a:gd name="connsiteY18478" fmla="*/ 1515788 h 4687251"/>
              <a:gd name="connsiteX18479" fmla="*/ 4414132 w 8079933"/>
              <a:gd name="connsiteY18479" fmla="*/ 1511998 h 4687251"/>
              <a:gd name="connsiteX18480" fmla="*/ 4414131 w 8079933"/>
              <a:gd name="connsiteY18480" fmla="*/ 1511999 h 4687251"/>
              <a:gd name="connsiteX18481" fmla="*/ 4417277 w 8079933"/>
              <a:gd name="connsiteY18481" fmla="*/ 1514597 h 4687251"/>
              <a:gd name="connsiteX18482" fmla="*/ 4417278 w 8079933"/>
              <a:gd name="connsiteY18482" fmla="*/ 1514596 h 4687251"/>
              <a:gd name="connsiteX18483" fmla="*/ 4400134 w 8079933"/>
              <a:gd name="connsiteY18483" fmla="*/ 1511457 h 4687251"/>
              <a:gd name="connsiteX18484" fmla="*/ 4400133 w 8079933"/>
              <a:gd name="connsiteY18484" fmla="*/ 1511457 h 4687251"/>
              <a:gd name="connsiteX18485" fmla="*/ 4402422 w 8079933"/>
              <a:gd name="connsiteY18485" fmla="*/ 1511695 h 4687251"/>
              <a:gd name="connsiteX18486" fmla="*/ 4426720 w 8079933"/>
              <a:gd name="connsiteY18486" fmla="*/ 1510267 h 4687251"/>
              <a:gd name="connsiteX18487" fmla="*/ 4426719 w 8079933"/>
              <a:gd name="connsiteY18487" fmla="*/ 1510267 h 4687251"/>
              <a:gd name="connsiteX18488" fmla="*/ 4427803 w 8079933"/>
              <a:gd name="connsiteY18488" fmla="*/ 1513189 h 4687251"/>
              <a:gd name="connsiteX18489" fmla="*/ 4427805 w 8079933"/>
              <a:gd name="connsiteY18489" fmla="*/ 1513189 h 4687251"/>
              <a:gd name="connsiteX18490" fmla="*/ 3810344 w 8079933"/>
              <a:gd name="connsiteY18490" fmla="*/ 1508859 h 4687251"/>
              <a:gd name="connsiteX18491" fmla="*/ 3814142 w 8079933"/>
              <a:gd name="connsiteY18491" fmla="*/ 1513082 h 4687251"/>
              <a:gd name="connsiteX18492" fmla="*/ 3817073 w 8079933"/>
              <a:gd name="connsiteY18492" fmla="*/ 1513514 h 4687251"/>
              <a:gd name="connsiteX18493" fmla="*/ 3818809 w 8079933"/>
              <a:gd name="connsiteY18493" fmla="*/ 1517412 h 4687251"/>
              <a:gd name="connsiteX18494" fmla="*/ 3814577 w 8079933"/>
              <a:gd name="connsiteY18494" fmla="*/ 1520553 h 4687251"/>
              <a:gd name="connsiteX18495" fmla="*/ 3814251 w 8079933"/>
              <a:gd name="connsiteY18495" fmla="*/ 1519145 h 4687251"/>
              <a:gd name="connsiteX18496" fmla="*/ 3805461 w 8079933"/>
              <a:gd name="connsiteY18496" fmla="*/ 1521094 h 4687251"/>
              <a:gd name="connsiteX18497" fmla="*/ 3809584 w 8079933"/>
              <a:gd name="connsiteY18497" fmla="*/ 1518171 h 4687251"/>
              <a:gd name="connsiteX18498" fmla="*/ 3808716 w 8079933"/>
              <a:gd name="connsiteY18498" fmla="*/ 1516763 h 4687251"/>
              <a:gd name="connsiteX18499" fmla="*/ 3812081 w 8079933"/>
              <a:gd name="connsiteY18499" fmla="*/ 1514922 h 4687251"/>
              <a:gd name="connsiteX18500" fmla="*/ 3806003 w 8079933"/>
              <a:gd name="connsiteY18500" fmla="*/ 1511890 h 4687251"/>
              <a:gd name="connsiteX18501" fmla="*/ 7368714 w 8079933"/>
              <a:gd name="connsiteY18501" fmla="*/ 1507776 h 4687251"/>
              <a:gd name="connsiteX18502" fmla="*/ 7372186 w 8079933"/>
              <a:gd name="connsiteY18502" fmla="*/ 1509075 h 4687251"/>
              <a:gd name="connsiteX18503" fmla="*/ 7372946 w 8079933"/>
              <a:gd name="connsiteY18503" fmla="*/ 1511999 h 4687251"/>
              <a:gd name="connsiteX18504" fmla="*/ 7370667 w 8079933"/>
              <a:gd name="connsiteY18504" fmla="*/ 1513082 h 4687251"/>
              <a:gd name="connsiteX18505" fmla="*/ 7368171 w 8079933"/>
              <a:gd name="connsiteY18505" fmla="*/ 1510807 h 4687251"/>
              <a:gd name="connsiteX18506" fmla="*/ 7367303 w 8079933"/>
              <a:gd name="connsiteY18506" fmla="*/ 1508751 h 4687251"/>
              <a:gd name="connsiteX18507" fmla="*/ 3803616 w 8079933"/>
              <a:gd name="connsiteY18507" fmla="*/ 1506043 h 4687251"/>
              <a:gd name="connsiteX18508" fmla="*/ 3802640 w 8079933"/>
              <a:gd name="connsiteY18508" fmla="*/ 1509616 h 4687251"/>
              <a:gd name="connsiteX18509" fmla="*/ 3799493 w 8079933"/>
              <a:gd name="connsiteY18509" fmla="*/ 1511023 h 4687251"/>
              <a:gd name="connsiteX18510" fmla="*/ 4121787 w 8079933"/>
              <a:gd name="connsiteY18510" fmla="*/ 1500846 h 4687251"/>
              <a:gd name="connsiteX18511" fmla="*/ 4121136 w 8079933"/>
              <a:gd name="connsiteY18511" fmla="*/ 1503877 h 4687251"/>
              <a:gd name="connsiteX18512" fmla="*/ 4117339 w 8079933"/>
              <a:gd name="connsiteY18512" fmla="*/ 1508209 h 4687251"/>
              <a:gd name="connsiteX18513" fmla="*/ 4114951 w 8079933"/>
              <a:gd name="connsiteY18513" fmla="*/ 1509400 h 4687251"/>
              <a:gd name="connsiteX18514" fmla="*/ 4114517 w 8079933"/>
              <a:gd name="connsiteY18514" fmla="*/ 1504419 h 4687251"/>
              <a:gd name="connsiteX18515" fmla="*/ 4117989 w 8079933"/>
              <a:gd name="connsiteY18515" fmla="*/ 1501062 h 4687251"/>
              <a:gd name="connsiteX18516" fmla="*/ 6570762 w 8079933"/>
              <a:gd name="connsiteY18516" fmla="*/ 1500617 h 4687251"/>
              <a:gd name="connsiteX18517" fmla="*/ 6570465 w 8079933"/>
              <a:gd name="connsiteY18517" fmla="*/ 1500847 h 4687251"/>
              <a:gd name="connsiteX18518" fmla="*/ 6567319 w 8079933"/>
              <a:gd name="connsiteY18518" fmla="*/ 1505503 h 4687251"/>
              <a:gd name="connsiteX18519" fmla="*/ 6566377 w 8079933"/>
              <a:gd name="connsiteY18519" fmla="*/ 1510825 h 4687251"/>
              <a:gd name="connsiteX18520" fmla="*/ 6566667 w 8079933"/>
              <a:gd name="connsiteY18520" fmla="*/ 1510590 h 4687251"/>
              <a:gd name="connsiteX18521" fmla="*/ 6567753 w 8079933"/>
              <a:gd name="connsiteY18521" fmla="*/ 1505068 h 4687251"/>
              <a:gd name="connsiteX18522" fmla="*/ 5393435 w 8079933"/>
              <a:gd name="connsiteY18522" fmla="*/ 1499719 h 4687251"/>
              <a:gd name="connsiteX18523" fmla="*/ 5392951 w 8079933"/>
              <a:gd name="connsiteY18523" fmla="*/ 1499981 h 4687251"/>
              <a:gd name="connsiteX18524" fmla="*/ 5395154 w 8079933"/>
              <a:gd name="connsiteY18524" fmla="*/ 1503435 h 4687251"/>
              <a:gd name="connsiteX18525" fmla="*/ 5395121 w 8079933"/>
              <a:gd name="connsiteY18525" fmla="*/ 1502362 h 4687251"/>
              <a:gd name="connsiteX18526" fmla="*/ 3809042 w 8079933"/>
              <a:gd name="connsiteY18526" fmla="*/ 1499439 h 4687251"/>
              <a:gd name="connsiteX18527" fmla="*/ 3811320 w 8079933"/>
              <a:gd name="connsiteY18527" fmla="*/ 1499439 h 4687251"/>
              <a:gd name="connsiteX18528" fmla="*/ 3809150 w 8079933"/>
              <a:gd name="connsiteY18528" fmla="*/ 1501605 h 4687251"/>
              <a:gd name="connsiteX18529" fmla="*/ 3806981 w 8079933"/>
              <a:gd name="connsiteY18529" fmla="*/ 1494999 h 4687251"/>
              <a:gd name="connsiteX18530" fmla="*/ 3808174 w 8079933"/>
              <a:gd name="connsiteY18530" fmla="*/ 1497597 h 4687251"/>
              <a:gd name="connsiteX18531" fmla="*/ 3806547 w 8079933"/>
              <a:gd name="connsiteY18531" fmla="*/ 1499113 h 4687251"/>
              <a:gd name="connsiteX18532" fmla="*/ 3804702 w 8079933"/>
              <a:gd name="connsiteY18532" fmla="*/ 1495432 h 4687251"/>
              <a:gd name="connsiteX18533" fmla="*/ 1140075 w 8079933"/>
              <a:gd name="connsiteY18533" fmla="*/ 1494350 h 4687251"/>
              <a:gd name="connsiteX18534" fmla="*/ 1141052 w 8079933"/>
              <a:gd name="connsiteY18534" fmla="*/ 1498464 h 4687251"/>
              <a:gd name="connsiteX18535" fmla="*/ 1139750 w 8079933"/>
              <a:gd name="connsiteY18535" fmla="*/ 1505068 h 4687251"/>
              <a:gd name="connsiteX18536" fmla="*/ 1137145 w 8079933"/>
              <a:gd name="connsiteY18536" fmla="*/ 1502145 h 4687251"/>
              <a:gd name="connsiteX18537" fmla="*/ 1136820 w 8079933"/>
              <a:gd name="connsiteY18537" fmla="*/ 1497815 h 4687251"/>
              <a:gd name="connsiteX18538" fmla="*/ 3785277 w 8079933"/>
              <a:gd name="connsiteY18538" fmla="*/ 1494242 h 4687251"/>
              <a:gd name="connsiteX18539" fmla="*/ 3786470 w 8079933"/>
              <a:gd name="connsiteY18539" fmla="*/ 1497166 h 4687251"/>
              <a:gd name="connsiteX18540" fmla="*/ 3783216 w 8079933"/>
              <a:gd name="connsiteY18540" fmla="*/ 1499115 h 4687251"/>
              <a:gd name="connsiteX18541" fmla="*/ 3783433 w 8079933"/>
              <a:gd name="connsiteY18541" fmla="*/ 1496624 h 4687251"/>
              <a:gd name="connsiteX18542" fmla="*/ 5448294 w 8079933"/>
              <a:gd name="connsiteY18542" fmla="*/ 1493593 h 4687251"/>
              <a:gd name="connsiteX18543" fmla="*/ 5450030 w 8079933"/>
              <a:gd name="connsiteY18543" fmla="*/ 1498790 h 4687251"/>
              <a:gd name="connsiteX18544" fmla="*/ 5450031 w 8079933"/>
              <a:gd name="connsiteY18544" fmla="*/ 1498791 h 4687251"/>
              <a:gd name="connsiteX18545" fmla="*/ 5448295 w 8079933"/>
              <a:gd name="connsiteY18545" fmla="*/ 1493593 h 4687251"/>
              <a:gd name="connsiteX18546" fmla="*/ 7368172 w 8079933"/>
              <a:gd name="connsiteY18546" fmla="*/ 1491427 h 4687251"/>
              <a:gd name="connsiteX18547" fmla="*/ 7369582 w 8079933"/>
              <a:gd name="connsiteY18547" fmla="*/ 1492077 h 4687251"/>
              <a:gd name="connsiteX18548" fmla="*/ 7369582 w 8079933"/>
              <a:gd name="connsiteY18548" fmla="*/ 1496191 h 4687251"/>
              <a:gd name="connsiteX18549" fmla="*/ 7371862 w 8079933"/>
              <a:gd name="connsiteY18549" fmla="*/ 1500847 h 4687251"/>
              <a:gd name="connsiteX18550" fmla="*/ 7369799 w 8079933"/>
              <a:gd name="connsiteY18550" fmla="*/ 1503878 h 4687251"/>
              <a:gd name="connsiteX18551" fmla="*/ 7366652 w 8079933"/>
              <a:gd name="connsiteY18551" fmla="*/ 1500414 h 4687251"/>
              <a:gd name="connsiteX18552" fmla="*/ 7368172 w 8079933"/>
              <a:gd name="connsiteY18552" fmla="*/ 1495758 h 4687251"/>
              <a:gd name="connsiteX18553" fmla="*/ 4284671 w 8079933"/>
              <a:gd name="connsiteY18553" fmla="*/ 1487313 h 4687251"/>
              <a:gd name="connsiteX18554" fmla="*/ 4287275 w 8079933"/>
              <a:gd name="connsiteY18554" fmla="*/ 1490128 h 4687251"/>
              <a:gd name="connsiteX18555" fmla="*/ 4286407 w 8079933"/>
              <a:gd name="connsiteY18555" fmla="*/ 1497166 h 4687251"/>
              <a:gd name="connsiteX18556" fmla="*/ 4284019 w 8079933"/>
              <a:gd name="connsiteY18556" fmla="*/ 1505178 h 4687251"/>
              <a:gd name="connsiteX18557" fmla="*/ 4283151 w 8079933"/>
              <a:gd name="connsiteY18557" fmla="*/ 1513081 h 4687251"/>
              <a:gd name="connsiteX18558" fmla="*/ 4280547 w 8079933"/>
              <a:gd name="connsiteY18558" fmla="*/ 1520660 h 4687251"/>
              <a:gd name="connsiteX18559" fmla="*/ 4278811 w 8079933"/>
              <a:gd name="connsiteY18559" fmla="*/ 1524775 h 4687251"/>
              <a:gd name="connsiteX18560" fmla="*/ 4277292 w 8079933"/>
              <a:gd name="connsiteY18560" fmla="*/ 1523259 h 4687251"/>
              <a:gd name="connsiteX18561" fmla="*/ 4277292 w 8079933"/>
              <a:gd name="connsiteY18561" fmla="*/ 1520010 h 4687251"/>
              <a:gd name="connsiteX18562" fmla="*/ 4276641 w 8079933"/>
              <a:gd name="connsiteY18562" fmla="*/ 1515571 h 4687251"/>
              <a:gd name="connsiteX18563" fmla="*/ 4278268 w 8079933"/>
              <a:gd name="connsiteY18563" fmla="*/ 1502579 h 4687251"/>
              <a:gd name="connsiteX18564" fmla="*/ 4280872 w 8079933"/>
              <a:gd name="connsiteY18564" fmla="*/ 1500955 h 4687251"/>
              <a:gd name="connsiteX18565" fmla="*/ 4282501 w 8079933"/>
              <a:gd name="connsiteY18565" fmla="*/ 1493809 h 4687251"/>
              <a:gd name="connsiteX18566" fmla="*/ 4281741 w 8079933"/>
              <a:gd name="connsiteY18566" fmla="*/ 1491752 h 4687251"/>
              <a:gd name="connsiteX18567" fmla="*/ 4159768 w 8079933"/>
              <a:gd name="connsiteY18567" fmla="*/ 1483956 h 4687251"/>
              <a:gd name="connsiteX18568" fmla="*/ 4164977 w 8079933"/>
              <a:gd name="connsiteY18568" fmla="*/ 1483956 h 4687251"/>
              <a:gd name="connsiteX18569" fmla="*/ 4161070 w 8079933"/>
              <a:gd name="connsiteY18569" fmla="*/ 1486771 h 4687251"/>
              <a:gd name="connsiteX18570" fmla="*/ 4157598 w 8079933"/>
              <a:gd name="connsiteY18570" fmla="*/ 1486880 h 4687251"/>
              <a:gd name="connsiteX18571" fmla="*/ 3786796 w 8079933"/>
              <a:gd name="connsiteY18571" fmla="*/ 1483307 h 4687251"/>
              <a:gd name="connsiteX18572" fmla="*/ 3789184 w 8079933"/>
              <a:gd name="connsiteY18572" fmla="*/ 1483740 h 4687251"/>
              <a:gd name="connsiteX18573" fmla="*/ 3789727 w 8079933"/>
              <a:gd name="connsiteY18573" fmla="*/ 1486555 h 4687251"/>
              <a:gd name="connsiteX18574" fmla="*/ 3788533 w 8079933"/>
              <a:gd name="connsiteY18574" fmla="*/ 1488721 h 4687251"/>
              <a:gd name="connsiteX18575" fmla="*/ 3789401 w 8079933"/>
              <a:gd name="connsiteY18575" fmla="*/ 1492727 h 4687251"/>
              <a:gd name="connsiteX18576" fmla="*/ 3786579 w 8079933"/>
              <a:gd name="connsiteY18576" fmla="*/ 1492076 h 4687251"/>
              <a:gd name="connsiteX18577" fmla="*/ 3785711 w 8079933"/>
              <a:gd name="connsiteY18577" fmla="*/ 1488937 h 4687251"/>
              <a:gd name="connsiteX18578" fmla="*/ 3787013 w 8079933"/>
              <a:gd name="connsiteY18578" fmla="*/ 1486013 h 4687251"/>
              <a:gd name="connsiteX18579" fmla="*/ 1145285 w 8079933"/>
              <a:gd name="connsiteY18579" fmla="*/ 1481032 h 4687251"/>
              <a:gd name="connsiteX18580" fmla="*/ 1147129 w 8079933"/>
              <a:gd name="connsiteY18580" fmla="*/ 1483089 h 4687251"/>
              <a:gd name="connsiteX18581" fmla="*/ 1144091 w 8079933"/>
              <a:gd name="connsiteY18581" fmla="*/ 1488936 h 4687251"/>
              <a:gd name="connsiteX18582" fmla="*/ 1140619 w 8079933"/>
              <a:gd name="connsiteY18582" fmla="*/ 1488936 h 4687251"/>
              <a:gd name="connsiteX18583" fmla="*/ 1138557 w 8079933"/>
              <a:gd name="connsiteY18583" fmla="*/ 1488936 h 4687251"/>
              <a:gd name="connsiteX18584" fmla="*/ 1139642 w 8079933"/>
              <a:gd name="connsiteY18584" fmla="*/ 1484280 h 4687251"/>
              <a:gd name="connsiteX18585" fmla="*/ 3790812 w 8079933"/>
              <a:gd name="connsiteY18585" fmla="*/ 1479409 h 4687251"/>
              <a:gd name="connsiteX18586" fmla="*/ 3789618 w 8079933"/>
              <a:gd name="connsiteY18586" fmla="*/ 1482658 h 4687251"/>
              <a:gd name="connsiteX18587" fmla="*/ 3786580 w 8079933"/>
              <a:gd name="connsiteY18587" fmla="*/ 1481466 h 4687251"/>
              <a:gd name="connsiteX18588" fmla="*/ 3786580 w 8079933"/>
              <a:gd name="connsiteY18588" fmla="*/ 1480058 h 4687251"/>
              <a:gd name="connsiteX18589" fmla="*/ 4505589 w 8079933"/>
              <a:gd name="connsiteY18589" fmla="*/ 1474899 h 4687251"/>
              <a:gd name="connsiteX18590" fmla="*/ 4505176 w 8079933"/>
              <a:gd name="connsiteY18590" fmla="*/ 1475511 h 4687251"/>
              <a:gd name="connsiteX18591" fmla="*/ 4505177 w 8079933"/>
              <a:gd name="connsiteY18591" fmla="*/ 1475511 h 4687251"/>
              <a:gd name="connsiteX18592" fmla="*/ 4507028 w 8079933"/>
              <a:gd name="connsiteY18592" fmla="*/ 1475804 h 4687251"/>
              <a:gd name="connsiteX18593" fmla="*/ 4506913 w 8079933"/>
              <a:gd name="connsiteY18593" fmla="*/ 1475079 h 4687251"/>
              <a:gd name="connsiteX18594" fmla="*/ 4499281 w 8079933"/>
              <a:gd name="connsiteY18594" fmla="*/ 1474721 h 4687251"/>
              <a:gd name="connsiteX18595" fmla="*/ 4507034 w 8079933"/>
              <a:gd name="connsiteY18595" fmla="*/ 1475846 h 4687251"/>
              <a:gd name="connsiteX18596" fmla="*/ 4507034 w 8079933"/>
              <a:gd name="connsiteY18596" fmla="*/ 1475845 h 4687251"/>
              <a:gd name="connsiteX18597" fmla="*/ 6702340 w 8079933"/>
              <a:gd name="connsiteY18597" fmla="*/ 1474646 h 4687251"/>
              <a:gd name="connsiteX18598" fmla="*/ 6702964 w 8079933"/>
              <a:gd name="connsiteY18598" fmla="*/ 1477243 h 4687251"/>
              <a:gd name="connsiteX18599" fmla="*/ 6701553 w 8079933"/>
              <a:gd name="connsiteY18599" fmla="*/ 1480382 h 4687251"/>
              <a:gd name="connsiteX18600" fmla="*/ 6701771 w 8079933"/>
              <a:gd name="connsiteY18600" fmla="*/ 1481426 h 4687251"/>
              <a:gd name="connsiteX18601" fmla="*/ 6701771 w 8079933"/>
              <a:gd name="connsiteY18601" fmla="*/ 1480601 h 4687251"/>
              <a:gd name="connsiteX18602" fmla="*/ 6703182 w 8079933"/>
              <a:gd name="connsiteY18602" fmla="*/ 1477352 h 4687251"/>
              <a:gd name="connsiteX18603" fmla="*/ 6702422 w 8079933"/>
              <a:gd name="connsiteY18603" fmla="*/ 1474646 h 4687251"/>
              <a:gd name="connsiteX18604" fmla="*/ 4498014 w 8079933"/>
              <a:gd name="connsiteY18604" fmla="*/ 1474536 h 4687251"/>
              <a:gd name="connsiteX18605" fmla="*/ 4489659 w 8079933"/>
              <a:gd name="connsiteY18605" fmla="*/ 1477892 h 4687251"/>
              <a:gd name="connsiteX18606" fmla="*/ 4489660 w 8079933"/>
              <a:gd name="connsiteY18606" fmla="*/ 1477894 h 4687251"/>
              <a:gd name="connsiteX18607" fmla="*/ 4498015 w 8079933"/>
              <a:gd name="connsiteY18607" fmla="*/ 1474537 h 4687251"/>
              <a:gd name="connsiteX18608" fmla="*/ 4498022 w 8079933"/>
              <a:gd name="connsiteY18608" fmla="*/ 1474538 h 4687251"/>
              <a:gd name="connsiteX18609" fmla="*/ 4502860 w 8079933"/>
              <a:gd name="connsiteY18609" fmla="*/ 1475196 h 4687251"/>
              <a:gd name="connsiteX18610" fmla="*/ 1143005 w 8079933"/>
              <a:gd name="connsiteY18610" fmla="*/ 1474212 h 4687251"/>
              <a:gd name="connsiteX18611" fmla="*/ 1144307 w 8079933"/>
              <a:gd name="connsiteY18611" fmla="*/ 1476161 h 4687251"/>
              <a:gd name="connsiteX18612" fmla="*/ 1142571 w 8079933"/>
              <a:gd name="connsiteY18612" fmla="*/ 1479409 h 4687251"/>
              <a:gd name="connsiteX18613" fmla="*/ 1141160 w 8079933"/>
              <a:gd name="connsiteY18613" fmla="*/ 1479517 h 4687251"/>
              <a:gd name="connsiteX18614" fmla="*/ 1140835 w 8079933"/>
              <a:gd name="connsiteY18614" fmla="*/ 1475620 h 4687251"/>
              <a:gd name="connsiteX18615" fmla="*/ 3786363 w 8079933"/>
              <a:gd name="connsiteY18615" fmla="*/ 1473995 h 4687251"/>
              <a:gd name="connsiteX18616" fmla="*/ 3792222 w 8079933"/>
              <a:gd name="connsiteY18616" fmla="*/ 1474644 h 4687251"/>
              <a:gd name="connsiteX18617" fmla="*/ 3791896 w 8079933"/>
              <a:gd name="connsiteY18617" fmla="*/ 1477243 h 4687251"/>
              <a:gd name="connsiteX18618" fmla="*/ 3787773 w 8079933"/>
              <a:gd name="connsiteY18618" fmla="*/ 1478326 h 4687251"/>
              <a:gd name="connsiteX18619" fmla="*/ 3784518 w 8079933"/>
              <a:gd name="connsiteY18619" fmla="*/ 1474969 h 4687251"/>
              <a:gd name="connsiteX18620" fmla="*/ 3808284 w 8079933"/>
              <a:gd name="connsiteY18620" fmla="*/ 1473887 h 4687251"/>
              <a:gd name="connsiteX18621" fmla="*/ 3810779 w 8079933"/>
              <a:gd name="connsiteY18621" fmla="*/ 1478001 h 4687251"/>
              <a:gd name="connsiteX18622" fmla="*/ 3810237 w 8079933"/>
              <a:gd name="connsiteY18622" fmla="*/ 1486013 h 4687251"/>
              <a:gd name="connsiteX18623" fmla="*/ 3815012 w 8079933"/>
              <a:gd name="connsiteY18623" fmla="*/ 1488612 h 4687251"/>
              <a:gd name="connsiteX18624" fmla="*/ 3817725 w 8079933"/>
              <a:gd name="connsiteY18624" fmla="*/ 1487962 h 4687251"/>
              <a:gd name="connsiteX18625" fmla="*/ 3819461 w 8079933"/>
              <a:gd name="connsiteY18625" fmla="*/ 1489262 h 4687251"/>
              <a:gd name="connsiteX18626" fmla="*/ 3816206 w 8079933"/>
              <a:gd name="connsiteY18626" fmla="*/ 1491102 h 4687251"/>
              <a:gd name="connsiteX18627" fmla="*/ 3814795 w 8079933"/>
              <a:gd name="connsiteY18627" fmla="*/ 1495217 h 4687251"/>
              <a:gd name="connsiteX18628" fmla="*/ 3812950 w 8079933"/>
              <a:gd name="connsiteY18628" fmla="*/ 1495542 h 4687251"/>
              <a:gd name="connsiteX18629" fmla="*/ 3812516 w 8079933"/>
              <a:gd name="connsiteY18629" fmla="*/ 1490994 h 4687251"/>
              <a:gd name="connsiteX18630" fmla="*/ 3806981 w 8079933"/>
              <a:gd name="connsiteY18630" fmla="*/ 1491535 h 4687251"/>
              <a:gd name="connsiteX18631" fmla="*/ 3803835 w 8079933"/>
              <a:gd name="connsiteY18631" fmla="*/ 1485905 h 4687251"/>
              <a:gd name="connsiteX18632" fmla="*/ 3804485 w 8079933"/>
              <a:gd name="connsiteY18632" fmla="*/ 1484389 h 4687251"/>
              <a:gd name="connsiteX18633" fmla="*/ 3802749 w 8079933"/>
              <a:gd name="connsiteY18633" fmla="*/ 1483090 h 4687251"/>
              <a:gd name="connsiteX18634" fmla="*/ 3802640 w 8079933"/>
              <a:gd name="connsiteY18634" fmla="*/ 1484822 h 4687251"/>
              <a:gd name="connsiteX18635" fmla="*/ 3798300 w 8079933"/>
              <a:gd name="connsiteY18635" fmla="*/ 1481683 h 4687251"/>
              <a:gd name="connsiteX18636" fmla="*/ 3800036 w 8079933"/>
              <a:gd name="connsiteY18636" fmla="*/ 1479950 h 4687251"/>
              <a:gd name="connsiteX18637" fmla="*/ 3801664 w 8079933"/>
              <a:gd name="connsiteY18637" fmla="*/ 1481032 h 4687251"/>
              <a:gd name="connsiteX18638" fmla="*/ 3801447 w 8079933"/>
              <a:gd name="connsiteY18638" fmla="*/ 1476918 h 4687251"/>
              <a:gd name="connsiteX18639" fmla="*/ 3806548 w 8079933"/>
              <a:gd name="connsiteY18639" fmla="*/ 1480383 h 4687251"/>
              <a:gd name="connsiteX18640" fmla="*/ 3806005 w 8079933"/>
              <a:gd name="connsiteY18640" fmla="*/ 1474969 h 4687251"/>
              <a:gd name="connsiteX18641" fmla="*/ 4152389 w 8079933"/>
              <a:gd name="connsiteY18641" fmla="*/ 1469989 h 4687251"/>
              <a:gd name="connsiteX18642" fmla="*/ 4153040 w 8079933"/>
              <a:gd name="connsiteY18642" fmla="*/ 1471721 h 4687251"/>
              <a:gd name="connsiteX18643" fmla="*/ 4149568 w 8079933"/>
              <a:gd name="connsiteY18643" fmla="*/ 1477893 h 4687251"/>
              <a:gd name="connsiteX18644" fmla="*/ 4150653 w 8079933"/>
              <a:gd name="connsiteY18644" fmla="*/ 1482656 h 4687251"/>
              <a:gd name="connsiteX18645" fmla="*/ 4149785 w 8079933"/>
              <a:gd name="connsiteY18645" fmla="*/ 1484713 h 4687251"/>
              <a:gd name="connsiteX18646" fmla="*/ 4150870 w 8079933"/>
              <a:gd name="connsiteY18646" fmla="*/ 1489694 h 4687251"/>
              <a:gd name="connsiteX18647" fmla="*/ 4146203 w 8079933"/>
              <a:gd name="connsiteY18647" fmla="*/ 1497815 h 4687251"/>
              <a:gd name="connsiteX18648" fmla="*/ 4143599 w 8079933"/>
              <a:gd name="connsiteY18648" fmla="*/ 1499005 h 4687251"/>
              <a:gd name="connsiteX18649" fmla="*/ 4139584 w 8079933"/>
              <a:gd name="connsiteY18649" fmla="*/ 1497273 h 4687251"/>
              <a:gd name="connsiteX18650" fmla="*/ 4134918 w 8079933"/>
              <a:gd name="connsiteY18650" fmla="*/ 1497273 h 4687251"/>
              <a:gd name="connsiteX18651" fmla="*/ 4131553 w 8079933"/>
              <a:gd name="connsiteY18651" fmla="*/ 1498464 h 4687251"/>
              <a:gd name="connsiteX18652" fmla="*/ 4126345 w 8079933"/>
              <a:gd name="connsiteY18652" fmla="*/ 1497489 h 4687251"/>
              <a:gd name="connsiteX18653" fmla="*/ 4122438 w 8079933"/>
              <a:gd name="connsiteY18653" fmla="*/ 1498139 h 4687251"/>
              <a:gd name="connsiteX18654" fmla="*/ 4121353 w 8079933"/>
              <a:gd name="connsiteY18654" fmla="*/ 1497273 h 4687251"/>
              <a:gd name="connsiteX18655" fmla="*/ 4113431 w 8079933"/>
              <a:gd name="connsiteY18655" fmla="*/ 1502254 h 4687251"/>
              <a:gd name="connsiteX18656" fmla="*/ 4112346 w 8079933"/>
              <a:gd name="connsiteY18656" fmla="*/ 1505501 h 4687251"/>
              <a:gd name="connsiteX18657" fmla="*/ 4113431 w 8079933"/>
              <a:gd name="connsiteY18657" fmla="*/ 1511782 h 4687251"/>
              <a:gd name="connsiteX18658" fmla="*/ 4108439 w 8079933"/>
              <a:gd name="connsiteY18658" fmla="*/ 1506043 h 4687251"/>
              <a:gd name="connsiteX18659" fmla="*/ 4106377 w 8079933"/>
              <a:gd name="connsiteY18659" fmla="*/ 1507234 h 4687251"/>
              <a:gd name="connsiteX18660" fmla="*/ 4104099 w 8079933"/>
              <a:gd name="connsiteY18660" fmla="*/ 1505393 h 4687251"/>
              <a:gd name="connsiteX18661" fmla="*/ 4107789 w 8079933"/>
              <a:gd name="connsiteY18661" fmla="*/ 1501821 h 4687251"/>
              <a:gd name="connsiteX18662" fmla="*/ 4109307 w 8079933"/>
              <a:gd name="connsiteY18662" fmla="*/ 1496623 h 4687251"/>
              <a:gd name="connsiteX18663" fmla="*/ 4112780 w 8079933"/>
              <a:gd name="connsiteY18663" fmla="*/ 1496407 h 4687251"/>
              <a:gd name="connsiteX18664" fmla="*/ 4114516 w 8079933"/>
              <a:gd name="connsiteY18664" fmla="*/ 1497598 h 4687251"/>
              <a:gd name="connsiteX18665" fmla="*/ 4120485 w 8079933"/>
              <a:gd name="connsiteY18665" fmla="*/ 1492834 h 4687251"/>
              <a:gd name="connsiteX18666" fmla="*/ 4125694 w 8079933"/>
              <a:gd name="connsiteY18666" fmla="*/ 1492834 h 4687251"/>
              <a:gd name="connsiteX18667" fmla="*/ 4130360 w 8079933"/>
              <a:gd name="connsiteY18667" fmla="*/ 1489586 h 4687251"/>
              <a:gd name="connsiteX18668" fmla="*/ 4132748 w 8079933"/>
              <a:gd name="connsiteY18668" fmla="*/ 1484064 h 4687251"/>
              <a:gd name="connsiteX18669" fmla="*/ 4135677 w 8079933"/>
              <a:gd name="connsiteY18669" fmla="*/ 1479625 h 4687251"/>
              <a:gd name="connsiteX18670" fmla="*/ 4139909 w 8079933"/>
              <a:gd name="connsiteY18670" fmla="*/ 1479083 h 4687251"/>
              <a:gd name="connsiteX18671" fmla="*/ 4145987 w 8079933"/>
              <a:gd name="connsiteY18671" fmla="*/ 1476377 h 4687251"/>
              <a:gd name="connsiteX18672" fmla="*/ 1167748 w 8079933"/>
              <a:gd name="connsiteY18672" fmla="*/ 1469448 h 4687251"/>
              <a:gd name="connsiteX18673" fmla="*/ 1167097 w 8079933"/>
              <a:gd name="connsiteY18673" fmla="*/ 1472046 h 4687251"/>
              <a:gd name="connsiteX18674" fmla="*/ 1160043 w 8079933"/>
              <a:gd name="connsiteY18674" fmla="*/ 1478543 h 4687251"/>
              <a:gd name="connsiteX18675" fmla="*/ 1156353 w 8079933"/>
              <a:gd name="connsiteY18675" fmla="*/ 1479085 h 4687251"/>
              <a:gd name="connsiteX18676" fmla="*/ 1151253 w 8079933"/>
              <a:gd name="connsiteY18676" fmla="*/ 1483740 h 4687251"/>
              <a:gd name="connsiteX18677" fmla="*/ 1148432 w 8079933"/>
              <a:gd name="connsiteY18677" fmla="*/ 1484065 h 4687251"/>
              <a:gd name="connsiteX18678" fmla="*/ 1154183 w 8079933"/>
              <a:gd name="connsiteY18678" fmla="*/ 1475944 h 4687251"/>
              <a:gd name="connsiteX18679" fmla="*/ 1157765 w 8079933"/>
              <a:gd name="connsiteY18679" fmla="*/ 1475836 h 4687251"/>
              <a:gd name="connsiteX18680" fmla="*/ 1161237 w 8079933"/>
              <a:gd name="connsiteY18680" fmla="*/ 1471722 h 4687251"/>
              <a:gd name="connsiteX18681" fmla="*/ 6694300 w 8079933"/>
              <a:gd name="connsiteY18681" fmla="*/ 1468230 h 4687251"/>
              <a:gd name="connsiteX18682" fmla="*/ 6695150 w 8079933"/>
              <a:gd name="connsiteY18682" fmla="*/ 1470313 h 4687251"/>
              <a:gd name="connsiteX18683" fmla="*/ 6695150 w 8079933"/>
              <a:gd name="connsiteY18683" fmla="*/ 1472587 h 4687251"/>
              <a:gd name="connsiteX18684" fmla="*/ 6695368 w 8079933"/>
              <a:gd name="connsiteY18684" fmla="*/ 1472949 h 4687251"/>
              <a:gd name="connsiteX18685" fmla="*/ 6695368 w 8079933"/>
              <a:gd name="connsiteY18685" fmla="*/ 1470748 h 4687251"/>
              <a:gd name="connsiteX18686" fmla="*/ 4325582 w 8079933"/>
              <a:gd name="connsiteY18686" fmla="*/ 1465983 h 4687251"/>
              <a:gd name="connsiteX18687" fmla="*/ 4328294 w 8079933"/>
              <a:gd name="connsiteY18687" fmla="*/ 1467391 h 4687251"/>
              <a:gd name="connsiteX18688" fmla="*/ 4326341 w 8079933"/>
              <a:gd name="connsiteY18688" fmla="*/ 1469231 h 4687251"/>
              <a:gd name="connsiteX18689" fmla="*/ 4325799 w 8079933"/>
              <a:gd name="connsiteY18689" fmla="*/ 1471938 h 4687251"/>
              <a:gd name="connsiteX18690" fmla="*/ 4323846 w 8079933"/>
              <a:gd name="connsiteY18690" fmla="*/ 1475944 h 4687251"/>
              <a:gd name="connsiteX18691" fmla="*/ 4327209 w 8079933"/>
              <a:gd name="connsiteY18691" fmla="*/ 1478976 h 4687251"/>
              <a:gd name="connsiteX18692" fmla="*/ 4327752 w 8079933"/>
              <a:gd name="connsiteY18692" fmla="*/ 1481141 h 4687251"/>
              <a:gd name="connsiteX18693" fmla="*/ 4324388 w 8079933"/>
              <a:gd name="connsiteY18693" fmla="*/ 1485255 h 4687251"/>
              <a:gd name="connsiteX18694" fmla="*/ 4323628 w 8079933"/>
              <a:gd name="connsiteY18694" fmla="*/ 1488395 h 4687251"/>
              <a:gd name="connsiteX18695" fmla="*/ 4318094 w 8079933"/>
              <a:gd name="connsiteY18695" fmla="*/ 1492726 h 4687251"/>
              <a:gd name="connsiteX18696" fmla="*/ 4317226 w 8079933"/>
              <a:gd name="connsiteY18696" fmla="*/ 1495649 h 4687251"/>
              <a:gd name="connsiteX18697" fmla="*/ 4318853 w 8079933"/>
              <a:gd name="connsiteY18697" fmla="*/ 1496840 h 4687251"/>
              <a:gd name="connsiteX18698" fmla="*/ 4317768 w 8079933"/>
              <a:gd name="connsiteY18698" fmla="*/ 1499655 h 4687251"/>
              <a:gd name="connsiteX18699" fmla="*/ 4312234 w 8079933"/>
              <a:gd name="connsiteY18699" fmla="*/ 1501280 h 4687251"/>
              <a:gd name="connsiteX18700" fmla="*/ 4311800 w 8079933"/>
              <a:gd name="connsiteY18700" fmla="*/ 1499222 h 4687251"/>
              <a:gd name="connsiteX18701" fmla="*/ 4314622 w 8079933"/>
              <a:gd name="connsiteY18701" fmla="*/ 1495758 h 4687251"/>
              <a:gd name="connsiteX18702" fmla="*/ 4315707 w 8079933"/>
              <a:gd name="connsiteY18702" fmla="*/ 1491752 h 4687251"/>
              <a:gd name="connsiteX18703" fmla="*/ 4313753 w 8079933"/>
              <a:gd name="connsiteY18703" fmla="*/ 1492401 h 4687251"/>
              <a:gd name="connsiteX18704" fmla="*/ 4309087 w 8079933"/>
              <a:gd name="connsiteY18704" fmla="*/ 1485580 h 4687251"/>
              <a:gd name="connsiteX18705" fmla="*/ 4310823 w 8079933"/>
              <a:gd name="connsiteY18705" fmla="*/ 1484389 h 4687251"/>
              <a:gd name="connsiteX18706" fmla="*/ 4309304 w 8079933"/>
              <a:gd name="connsiteY18706" fmla="*/ 1478976 h 4687251"/>
              <a:gd name="connsiteX18707" fmla="*/ 4312451 w 8079933"/>
              <a:gd name="connsiteY18707" fmla="*/ 1475619 h 4687251"/>
              <a:gd name="connsiteX18708" fmla="*/ 4314730 w 8079933"/>
              <a:gd name="connsiteY18708" fmla="*/ 1471397 h 4687251"/>
              <a:gd name="connsiteX18709" fmla="*/ 4317985 w 8079933"/>
              <a:gd name="connsiteY18709" fmla="*/ 1467391 h 4687251"/>
              <a:gd name="connsiteX18710" fmla="*/ 4323086 w 8079933"/>
              <a:gd name="connsiteY18710" fmla="*/ 1467391 h 4687251"/>
              <a:gd name="connsiteX18711" fmla="*/ 3797540 w 8079933"/>
              <a:gd name="connsiteY18711" fmla="*/ 1465875 h 4687251"/>
              <a:gd name="connsiteX18712" fmla="*/ 3801229 w 8079933"/>
              <a:gd name="connsiteY18712" fmla="*/ 1467391 h 4687251"/>
              <a:gd name="connsiteX18713" fmla="*/ 3796020 w 8079933"/>
              <a:gd name="connsiteY18713" fmla="*/ 1472047 h 4687251"/>
              <a:gd name="connsiteX18714" fmla="*/ 3792982 w 8079933"/>
              <a:gd name="connsiteY18714" fmla="*/ 1469773 h 4687251"/>
              <a:gd name="connsiteX18715" fmla="*/ 3794610 w 8079933"/>
              <a:gd name="connsiteY18715" fmla="*/ 1468799 h 4687251"/>
              <a:gd name="connsiteX18716" fmla="*/ 3795586 w 8079933"/>
              <a:gd name="connsiteY18716" fmla="*/ 1466958 h 4687251"/>
              <a:gd name="connsiteX18717" fmla="*/ 6692382 w 8079933"/>
              <a:gd name="connsiteY18717" fmla="*/ 1461885 h 4687251"/>
              <a:gd name="connsiteX18718" fmla="*/ 6693741 w 8079933"/>
              <a:gd name="connsiteY18718" fmla="*/ 1464142 h 4687251"/>
              <a:gd name="connsiteX18719" fmla="*/ 6693957 w 8079933"/>
              <a:gd name="connsiteY18719" fmla="*/ 1467390 h 4687251"/>
              <a:gd name="connsiteX18720" fmla="*/ 6694174 w 8079933"/>
              <a:gd name="connsiteY18720" fmla="*/ 1467922 h 4687251"/>
              <a:gd name="connsiteX18721" fmla="*/ 6694174 w 8079933"/>
              <a:gd name="connsiteY18721" fmla="*/ 1464685 h 4687251"/>
              <a:gd name="connsiteX18722" fmla="*/ 6692546 w 8079933"/>
              <a:gd name="connsiteY18722" fmla="*/ 1461978 h 4687251"/>
              <a:gd name="connsiteX18723" fmla="*/ 4336108 w 8079933"/>
              <a:gd name="connsiteY18723" fmla="*/ 1461328 h 4687251"/>
              <a:gd name="connsiteX18724" fmla="*/ 4337193 w 8079933"/>
              <a:gd name="connsiteY18724" fmla="*/ 1462952 h 4687251"/>
              <a:gd name="connsiteX18725" fmla="*/ 4332961 w 8079933"/>
              <a:gd name="connsiteY18725" fmla="*/ 1464143 h 4687251"/>
              <a:gd name="connsiteX18726" fmla="*/ 4330356 w 8079933"/>
              <a:gd name="connsiteY18726" fmla="*/ 1466634 h 4687251"/>
              <a:gd name="connsiteX18727" fmla="*/ 4328729 w 8079933"/>
              <a:gd name="connsiteY18727" fmla="*/ 1464359 h 4687251"/>
              <a:gd name="connsiteX18728" fmla="*/ 4331224 w 8079933"/>
              <a:gd name="connsiteY18728" fmla="*/ 1461436 h 4687251"/>
              <a:gd name="connsiteX18729" fmla="*/ 4468607 w 8079933"/>
              <a:gd name="connsiteY18729" fmla="*/ 1460244 h 4687251"/>
              <a:gd name="connsiteX18730" fmla="*/ 4468608 w 8079933"/>
              <a:gd name="connsiteY18730" fmla="*/ 1460245 h 4687251"/>
              <a:gd name="connsiteX18731" fmla="*/ 4471646 w 8079933"/>
              <a:gd name="connsiteY18731" fmla="*/ 1460353 h 4687251"/>
              <a:gd name="connsiteX18732" fmla="*/ 4471645 w 8079933"/>
              <a:gd name="connsiteY18732" fmla="*/ 1460353 h 4687251"/>
              <a:gd name="connsiteX18733" fmla="*/ 6553466 w 8079933"/>
              <a:gd name="connsiteY18733" fmla="*/ 1458429 h 4687251"/>
              <a:gd name="connsiteX18734" fmla="*/ 6551583 w 8079933"/>
              <a:gd name="connsiteY18734" fmla="*/ 1462087 h 4687251"/>
              <a:gd name="connsiteX18735" fmla="*/ 6549630 w 8079933"/>
              <a:gd name="connsiteY18735" fmla="*/ 1464468 h 4687251"/>
              <a:gd name="connsiteX18736" fmla="*/ 6549630 w 8079933"/>
              <a:gd name="connsiteY18736" fmla="*/ 1466850 h 4687251"/>
              <a:gd name="connsiteX18737" fmla="*/ 6548111 w 8079933"/>
              <a:gd name="connsiteY18737" fmla="*/ 1468907 h 4687251"/>
              <a:gd name="connsiteX18738" fmla="*/ 6548111 w 8079933"/>
              <a:gd name="connsiteY18738" fmla="*/ 1475837 h 4687251"/>
              <a:gd name="connsiteX18739" fmla="*/ 6549630 w 8079933"/>
              <a:gd name="connsiteY18739" fmla="*/ 1477786 h 4687251"/>
              <a:gd name="connsiteX18740" fmla="*/ 6552018 w 8079933"/>
              <a:gd name="connsiteY18740" fmla="*/ 1477786 h 4687251"/>
              <a:gd name="connsiteX18741" fmla="*/ 6557335 w 8079933"/>
              <a:gd name="connsiteY18741" fmla="*/ 1474538 h 4687251"/>
              <a:gd name="connsiteX18742" fmla="*/ 6560591 w 8079933"/>
              <a:gd name="connsiteY18742" fmla="*/ 1473130 h 4687251"/>
              <a:gd name="connsiteX18743" fmla="*/ 6563520 w 8079933"/>
              <a:gd name="connsiteY18743" fmla="*/ 1473780 h 4687251"/>
              <a:gd name="connsiteX18744" fmla="*/ 6566993 w 8079933"/>
              <a:gd name="connsiteY18744" fmla="*/ 1479410 h 4687251"/>
              <a:gd name="connsiteX18745" fmla="*/ 6568838 w 8079933"/>
              <a:gd name="connsiteY18745" fmla="*/ 1483848 h 4687251"/>
              <a:gd name="connsiteX18746" fmla="*/ 6572310 w 8079933"/>
              <a:gd name="connsiteY18746" fmla="*/ 1486447 h 4687251"/>
              <a:gd name="connsiteX18747" fmla="*/ 6572310 w 8079933"/>
              <a:gd name="connsiteY18747" fmla="*/ 1490021 h 4687251"/>
              <a:gd name="connsiteX18748" fmla="*/ 6573396 w 8079933"/>
              <a:gd name="connsiteY18748" fmla="*/ 1492944 h 4687251"/>
              <a:gd name="connsiteX18749" fmla="*/ 6573396 w 8079933"/>
              <a:gd name="connsiteY18749" fmla="*/ 1498567 h 4687251"/>
              <a:gd name="connsiteX18750" fmla="*/ 6573829 w 8079933"/>
              <a:gd name="connsiteY18750" fmla="*/ 1498247 h 4687251"/>
              <a:gd name="connsiteX18751" fmla="*/ 6574155 w 8079933"/>
              <a:gd name="connsiteY18751" fmla="*/ 1492509 h 4687251"/>
              <a:gd name="connsiteX18752" fmla="*/ 6573069 w 8079933"/>
              <a:gd name="connsiteY18752" fmla="*/ 1489586 h 4687251"/>
              <a:gd name="connsiteX18753" fmla="*/ 6573069 w 8079933"/>
              <a:gd name="connsiteY18753" fmla="*/ 1486013 h 4687251"/>
              <a:gd name="connsiteX18754" fmla="*/ 6569598 w 8079933"/>
              <a:gd name="connsiteY18754" fmla="*/ 1483414 h 4687251"/>
              <a:gd name="connsiteX18755" fmla="*/ 6567753 w 8079933"/>
              <a:gd name="connsiteY18755" fmla="*/ 1478975 h 4687251"/>
              <a:gd name="connsiteX18756" fmla="*/ 6564280 w 8079933"/>
              <a:gd name="connsiteY18756" fmla="*/ 1473345 h 4687251"/>
              <a:gd name="connsiteX18757" fmla="*/ 6561350 w 8079933"/>
              <a:gd name="connsiteY18757" fmla="*/ 1472587 h 4687251"/>
              <a:gd name="connsiteX18758" fmla="*/ 6558095 w 8079933"/>
              <a:gd name="connsiteY18758" fmla="*/ 1473995 h 4687251"/>
              <a:gd name="connsiteX18759" fmla="*/ 6552777 w 8079933"/>
              <a:gd name="connsiteY18759" fmla="*/ 1477243 h 4687251"/>
              <a:gd name="connsiteX18760" fmla="*/ 6550390 w 8079933"/>
              <a:gd name="connsiteY18760" fmla="*/ 1476918 h 4687251"/>
              <a:gd name="connsiteX18761" fmla="*/ 6548762 w 8079933"/>
              <a:gd name="connsiteY18761" fmla="*/ 1474969 h 4687251"/>
              <a:gd name="connsiteX18762" fmla="*/ 6548762 w 8079933"/>
              <a:gd name="connsiteY18762" fmla="*/ 1469123 h 4687251"/>
              <a:gd name="connsiteX18763" fmla="*/ 6550390 w 8079933"/>
              <a:gd name="connsiteY18763" fmla="*/ 1467065 h 4687251"/>
              <a:gd name="connsiteX18764" fmla="*/ 6550390 w 8079933"/>
              <a:gd name="connsiteY18764" fmla="*/ 1464683 h 4687251"/>
              <a:gd name="connsiteX18765" fmla="*/ 6552234 w 8079933"/>
              <a:gd name="connsiteY18765" fmla="*/ 1462301 h 4687251"/>
              <a:gd name="connsiteX18766" fmla="*/ 6689725 w 8079933"/>
              <a:gd name="connsiteY18766" fmla="*/ 1457900 h 4687251"/>
              <a:gd name="connsiteX18767" fmla="*/ 6689725 w 8079933"/>
              <a:gd name="connsiteY18767" fmla="*/ 1460136 h 4687251"/>
              <a:gd name="connsiteX18768" fmla="*/ 6690268 w 8079933"/>
              <a:gd name="connsiteY18768" fmla="*/ 1460431 h 4687251"/>
              <a:gd name="connsiteX18769" fmla="*/ 6690268 w 8079933"/>
              <a:gd name="connsiteY18769" fmla="*/ 1458405 h 4687251"/>
              <a:gd name="connsiteX18770" fmla="*/ 4171271 w 8079933"/>
              <a:gd name="connsiteY18770" fmla="*/ 1456564 h 4687251"/>
              <a:gd name="connsiteX18771" fmla="*/ 4170294 w 8079933"/>
              <a:gd name="connsiteY18771" fmla="*/ 1460570 h 4687251"/>
              <a:gd name="connsiteX18772" fmla="*/ 4167907 w 8079933"/>
              <a:gd name="connsiteY18772" fmla="*/ 1460678 h 4687251"/>
              <a:gd name="connsiteX18773" fmla="*/ 4168232 w 8079933"/>
              <a:gd name="connsiteY18773" fmla="*/ 1457321 h 4687251"/>
              <a:gd name="connsiteX18774" fmla="*/ 1140727 w 8079933"/>
              <a:gd name="connsiteY18774" fmla="*/ 1454182 h 4687251"/>
              <a:gd name="connsiteX18775" fmla="*/ 1142246 w 8079933"/>
              <a:gd name="connsiteY18775" fmla="*/ 1456888 h 4687251"/>
              <a:gd name="connsiteX18776" fmla="*/ 1140401 w 8079933"/>
              <a:gd name="connsiteY18776" fmla="*/ 1459704 h 4687251"/>
              <a:gd name="connsiteX18777" fmla="*/ 1134867 w 8079933"/>
              <a:gd name="connsiteY18777" fmla="*/ 1457105 h 4687251"/>
              <a:gd name="connsiteX18778" fmla="*/ 4463397 w 8079933"/>
              <a:gd name="connsiteY18778" fmla="*/ 1454181 h 4687251"/>
              <a:gd name="connsiteX18779" fmla="*/ 4462420 w 8079933"/>
              <a:gd name="connsiteY18779" fmla="*/ 1458295 h 4687251"/>
              <a:gd name="connsiteX18780" fmla="*/ 4459274 w 8079933"/>
              <a:gd name="connsiteY18780" fmla="*/ 1458728 h 4687251"/>
              <a:gd name="connsiteX18781" fmla="*/ 4459275 w 8079933"/>
              <a:gd name="connsiteY18781" fmla="*/ 1458729 h 4687251"/>
              <a:gd name="connsiteX18782" fmla="*/ 4462422 w 8079933"/>
              <a:gd name="connsiteY18782" fmla="*/ 1458296 h 4687251"/>
              <a:gd name="connsiteX18783" fmla="*/ 4463398 w 8079933"/>
              <a:gd name="connsiteY18783" fmla="*/ 1454182 h 4687251"/>
              <a:gd name="connsiteX18784" fmla="*/ 6681197 w 8079933"/>
              <a:gd name="connsiteY18784" fmla="*/ 1449012 h 4687251"/>
              <a:gd name="connsiteX18785" fmla="*/ 6681912 w 8079933"/>
              <a:gd name="connsiteY18785" fmla="*/ 1451150 h 4687251"/>
              <a:gd name="connsiteX18786" fmla="*/ 6680610 w 8079933"/>
              <a:gd name="connsiteY18786" fmla="*/ 1453423 h 4687251"/>
              <a:gd name="connsiteX18787" fmla="*/ 6681695 w 8079933"/>
              <a:gd name="connsiteY18787" fmla="*/ 1455480 h 4687251"/>
              <a:gd name="connsiteX18788" fmla="*/ 6682134 w 8079933"/>
              <a:gd name="connsiteY18788" fmla="*/ 1455611 h 4687251"/>
              <a:gd name="connsiteX18789" fmla="*/ 6681152 w 8079933"/>
              <a:gd name="connsiteY18789" fmla="*/ 1453750 h 4687251"/>
              <a:gd name="connsiteX18790" fmla="*/ 6682454 w 8079933"/>
              <a:gd name="connsiteY18790" fmla="*/ 1451368 h 4687251"/>
              <a:gd name="connsiteX18791" fmla="*/ 6681695 w 8079933"/>
              <a:gd name="connsiteY18791" fmla="*/ 1449094 h 4687251"/>
              <a:gd name="connsiteX18792" fmla="*/ 1147997 w 8079933"/>
              <a:gd name="connsiteY18792" fmla="*/ 1448768 h 4687251"/>
              <a:gd name="connsiteX18793" fmla="*/ 1149516 w 8079933"/>
              <a:gd name="connsiteY18793" fmla="*/ 1453640 h 4687251"/>
              <a:gd name="connsiteX18794" fmla="*/ 1146912 w 8079933"/>
              <a:gd name="connsiteY18794" fmla="*/ 1455481 h 4687251"/>
              <a:gd name="connsiteX18795" fmla="*/ 1146912 w 8079933"/>
              <a:gd name="connsiteY18795" fmla="*/ 1457105 h 4687251"/>
              <a:gd name="connsiteX18796" fmla="*/ 1144850 w 8079933"/>
              <a:gd name="connsiteY18796" fmla="*/ 1458513 h 4687251"/>
              <a:gd name="connsiteX18797" fmla="*/ 1144850 w 8079933"/>
              <a:gd name="connsiteY18797" fmla="*/ 1453099 h 4687251"/>
              <a:gd name="connsiteX18798" fmla="*/ 6674508 w 8079933"/>
              <a:gd name="connsiteY18798" fmla="*/ 1448661 h 4687251"/>
              <a:gd name="connsiteX18799" fmla="*/ 6675401 w 8079933"/>
              <a:gd name="connsiteY18799" fmla="*/ 1450175 h 4687251"/>
              <a:gd name="connsiteX18800" fmla="*/ 6675721 w 8079933"/>
              <a:gd name="connsiteY18800" fmla="*/ 1449939 h 4687251"/>
              <a:gd name="connsiteX18801" fmla="*/ 6674967 w 8079933"/>
              <a:gd name="connsiteY18801" fmla="*/ 1448661 h 4687251"/>
              <a:gd name="connsiteX18802" fmla="*/ 2259291 w 8079933"/>
              <a:gd name="connsiteY18802" fmla="*/ 1446637 h 4687251"/>
              <a:gd name="connsiteX18803" fmla="*/ 2256386 w 8079933"/>
              <a:gd name="connsiteY18803" fmla="*/ 1450501 h 4687251"/>
              <a:gd name="connsiteX18804" fmla="*/ 2256494 w 8079933"/>
              <a:gd name="connsiteY18804" fmla="*/ 1450501 h 4687251"/>
              <a:gd name="connsiteX18805" fmla="*/ 3809910 w 8079933"/>
              <a:gd name="connsiteY18805" fmla="*/ 1446495 h 4687251"/>
              <a:gd name="connsiteX18806" fmla="*/ 3810670 w 8079933"/>
              <a:gd name="connsiteY18806" fmla="*/ 1452666 h 4687251"/>
              <a:gd name="connsiteX18807" fmla="*/ 3806546 w 8079933"/>
              <a:gd name="connsiteY18807" fmla="*/ 1456456 h 4687251"/>
              <a:gd name="connsiteX18808" fmla="*/ 3805244 w 8079933"/>
              <a:gd name="connsiteY18808" fmla="*/ 1459920 h 4687251"/>
              <a:gd name="connsiteX18809" fmla="*/ 3806655 w 8079933"/>
              <a:gd name="connsiteY18809" fmla="*/ 1461003 h 4687251"/>
              <a:gd name="connsiteX18810" fmla="*/ 3803725 w 8079933"/>
              <a:gd name="connsiteY18810" fmla="*/ 1465226 h 4687251"/>
              <a:gd name="connsiteX18811" fmla="*/ 3799493 w 8079933"/>
              <a:gd name="connsiteY18811" fmla="*/ 1464144 h 4687251"/>
              <a:gd name="connsiteX18812" fmla="*/ 3795478 w 8079933"/>
              <a:gd name="connsiteY18812" fmla="*/ 1464793 h 4687251"/>
              <a:gd name="connsiteX18813" fmla="*/ 3793308 w 8079933"/>
              <a:gd name="connsiteY18813" fmla="*/ 1462952 h 4687251"/>
              <a:gd name="connsiteX18814" fmla="*/ 3795369 w 8079933"/>
              <a:gd name="connsiteY18814" fmla="*/ 1461328 h 4687251"/>
              <a:gd name="connsiteX18815" fmla="*/ 3792874 w 8079933"/>
              <a:gd name="connsiteY18815" fmla="*/ 1458621 h 4687251"/>
              <a:gd name="connsiteX18816" fmla="*/ 3795478 w 8079933"/>
              <a:gd name="connsiteY18816" fmla="*/ 1455373 h 4687251"/>
              <a:gd name="connsiteX18817" fmla="*/ 3800469 w 8079933"/>
              <a:gd name="connsiteY18817" fmla="*/ 1457647 h 4687251"/>
              <a:gd name="connsiteX18818" fmla="*/ 3799276 w 8079933"/>
              <a:gd name="connsiteY18818" fmla="*/ 1454074 h 4687251"/>
              <a:gd name="connsiteX18819" fmla="*/ 1128030 w 8079933"/>
              <a:gd name="connsiteY18819" fmla="*/ 1442814 h 4687251"/>
              <a:gd name="connsiteX18820" fmla="*/ 1131286 w 8079933"/>
              <a:gd name="connsiteY18820" fmla="*/ 1447253 h 4687251"/>
              <a:gd name="connsiteX18821" fmla="*/ 1133130 w 8079933"/>
              <a:gd name="connsiteY18821" fmla="*/ 1452559 h 4687251"/>
              <a:gd name="connsiteX18822" fmla="*/ 1130418 w 8079933"/>
              <a:gd name="connsiteY18822" fmla="*/ 1457106 h 4687251"/>
              <a:gd name="connsiteX18823" fmla="*/ 1130201 w 8079933"/>
              <a:gd name="connsiteY18823" fmla="*/ 1453641 h 4687251"/>
              <a:gd name="connsiteX18824" fmla="*/ 1127271 w 8079933"/>
              <a:gd name="connsiteY18824" fmla="*/ 1451584 h 4687251"/>
              <a:gd name="connsiteX18825" fmla="*/ 3863627 w 8079933"/>
              <a:gd name="connsiteY18825" fmla="*/ 1442272 h 4687251"/>
              <a:gd name="connsiteX18826" fmla="*/ 3868293 w 8079933"/>
              <a:gd name="connsiteY18826" fmla="*/ 1442272 h 4687251"/>
              <a:gd name="connsiteX18827" fmla="*/ 3868509 w 8079933"/>
              <a:gd name="connsiteY18827" fmla="*/ 1444113 h 4687251"/>
              <a:gd name="connsiteX18828" fmla="*/ 3866665 w 8079933"/>
              <a:gd name="connsiteY18828" fmla="*/ 1447036 h 4687251"/>
              <a:gd name="connsiteX18829" fmla="*/ 3868293 w 8079933"/>
              <a:gd name="connsiteY18829" fmla="*/ 1448768 h 4687251"/>
              <a:gd name="connsiteX18830" fmla="*/ 3866773 w 8079933"/>
              <a:gd name="connsiteY18830" fmla="*/ 1452990 h 4687251"/>
              <a:gd name="connsiteX18831" fmla="*/ 3863627 w 8079933"/>
              <a:gd name="connsiteY18831" fmla="*/ 1454074 h 4687251"/>
              <a:gd name="connsiteX18832" fmla="*/ 3860914 w 8079933"/>
              <a:gd name="connsiteY18832" fmla="*/ 1458621 h 4687251"/>
              <a:gd name="connsiteX18833" fmla="*/ 3851581 w 8079933"/>
              <a:gd name="connsiteY18833" fmla="*/ 1465658 h 4687251"/>
              <a:gd name="connsiteX18834" fmla="*/ 3850821 w 8079933"/>
              <a:gd name="connsiteY18834" fmla="*/ 1468473 h 4687251"/>
              <a:gd name="connsiteX18835" fmla="*/ 3848868 w 8079933"/>
              <a:gd name="connsiteY18835" fmla="*/ 1469772 h 4687251"/>
              <a:gd name="connsiteX18836" fmla="*/ 3852232 w 8079933"/>
              <a:gd name="connsiteY18836" fmla="*/ 1470963 h 4687251"/>
              <a:gd name="connsiteX18837" fmla="*/ 3854945 w 8079933"/>
              <a:gd name="connsiteY18837" fmla="*/ 1469448 h 4687251"/>
              <a:gd name="connsiteX18838" fmla="*/ 3851147 w 8079933"/>
              <a:gd name="connsiteY18838" fmla="*/ 1475511 h 4687251"/>
              <a:gd name="connsiteX18839" fmla="*/ 3847675 w 8079933"/>
              <a:gd name="connsiteY18839" fmla="*/ 1479517 h 4687251"/>
              <a:gd name="connsiteX18840" fmla="*/ 3848434 w 8079933"/>
              <a:gd name="connsiteY18840" fmla="*/ 1480383 h 4687251"/>
              <a:gd name="connsiteX18841" fmla="*/ 3851038 w 8079933"/>
              <a:gd name="connsiteY18841" fmla="*/ 1478218 h 4687251"/>
              <a:gd name="connsiteX18842" fmla="*/ 3852666 w 8079933"/>
              <a:gd name="connsiteY18842" fmla="*/ 1478326 h 4687251"/>
              <a:gd name="connsiteX18843" fmla="*/ 3856573 w 8079933"/>
              <a:gd name="connsiteY18843" fmla="*/ 1476161 h 4687251"/>
              <a:gd name="connsiteX18844" fmla="*/ 3860154 w 8079933"/>
              <a:gd name="connsiteY18844" fmla="*/ 1475078 h 4687251"/>
              <a:gd name="connsiteX18845" fmla="*/ 3860479 w 8079933"/>
              <a:gd name="connsiteY18845" fmla="*/ 1473778 h 4687251"/>
              <a:gd name="connsiteX18846" fmla="*/ 3863083 w 8079933"/>
              <a:gd name="connsiteY18846" fmla="*/ 1473670 h 4687251"/>
              <a:gd name="connsiteX18847" fmla="*/ 3866665 w 8079933"/>
              <a:gd name="connsiteY18847" fmla="*/ 1474970 h 4687251"/>
              <a:gd name="connsiteX18848" fmla="*/ 3869486 w 8079933"/>
              <a:gd name="connsiteY18848" fmla="*/ 1474970 h 4687251"/>
              <a:gd name="connsiteX18849" fmla="*/ 3871222 w 8079933"/>
              <a:gd name="connsiteY18849" fmla="*/ 1473778 h 4687251"/>
              <a:gd name="connsiteX18850" fmla="*/ 3877191 w 8079933"/>
              <a:gd name="connsiteY18850" fmla="*/ 1474861 h 4687251"/>
              <a:gd name="connsiteX18851" fmla="*/ 3886740 w 8079933"/>
              <a:gd name="connsiteY18851" fmla="*/ 1474537 h 4687251"/>
              <a:gd name="connsiteX18852" fmla="*/ 3887934 w 8079933"/>
              <a:gd name="connsiteY18852" fmla="*/ 1473562 h 4687251"/>
              <a:gd name="connsiteX18853" fmla="*/ 3893468 w 8079933"/>
              <a:gd name="connsiteY18853" fmla="*/ 1478651 h 4687251"/>
              <a:gd name="connsiteX18854" fmla="*/ 3893468 w 8079933"/>
              <a:gd name="connsiteY18854" fmla="*/ 1482332 h 4687251"/>
              <a:gd name="connsiteX18855" fmla="*/ 3889670 w 8079933"/>
              <a:gd name="connsiteY18855" fmla="*/ 1485580 h 4687251"/>
              <a:gd name="connsiteX18856" fmla="*/ 3887717 w 8079933"/>
              <a:gd name="connsiteY18856" fmla="*/ 1491318 h 4687251"/>
              <a:gd name="connsiteX18857" fmla="*/ 3888585 w 8079933"/>
              <a:gd name="connsiteY18857" fmla="*/ 1492726 h 4687251"/>
              <a:gd name="connsiteX18858" fmla="*/ 3886306 w 8079933"/>
              <a:gd name="connsiteY18858" fmla="*/ 1496840 h 4687251"/>
              <a:gd name="connsiteX18859" fmla="*/ 3886523 w 8079933"/>
              <a:gd name="connsiteY18859" fmla="*/ 1498897 h 4687251"/>
              <a:gd name="connsiteX18860" fmla="*/ 3884570 w 8079933"/>
              <a:gd name="connsiteY18860" fmla="*/ 1501712 h 4687251"/>
              <a:gd name="connsiteX18861" fmla="*/ 3881423 w 8079933"/>
              <a:gd name="connsiteY18861" fmla="*/ 1507884 h 4687251"/>
              <a:gd name="connsiteX18862" fmla="*/ 3879252 w 8079933"/>
              <a:gd name="connsiteY18862" fmla="*/ 1509291 h 4687251"/>
              <a:gd name="connsiteX18863" fmla="*/ 3878710 w 8079933"/>
              <a:gd name="connsiteY18863" fmla="*/ 1511781 h 4687251"/>
              <a:gd name="connsiteX18864" fmla="*/ 3875563 w 8079933"/>
              <a:gd name="connsiteY18864" fmla="*/ 1514488 h 4687251"/>
              <a:gd name="connsiteX18865" fmla="*/ 3870029 w 8079933"/>
              <a:gd name="connsiteY18865" fmla="*/ 1514163 h 4687251"/>
              <a:gd name="connsiteX18866" fmla="*/ 3865580 w 8079933"/>
              <a:gd name="connsiteY18866" fmla="*/ 1517520 h 4687251"/>
              <a:gd name="connsiteX18867" fmla="*/ 3866556 w 8079933"/>
              <a:gd name="connsiteY18867" fmla="*/ 1518711 h 4687251"/>
              <a:gd name="connsiteX18868" fmla="*/ 3872416 w 8079933"/>
              <a:gd name="connsiteY18868" fmla="*/ 1515571 h 4687251"/>
              <a:gd name="connsiteX18869" fmla="*/ 3874153 w 8079933"/>
              <a:gd name="connsiteY18869" fmla="*/ 1516871 h 4687251"/>
              <a:gd name="connsiteX18870" fmla="*/ 3874478 w 8079933"/>
              <a:gd name="connsiteY18870" fmla="*/ 1519361 h 4687251"/>
              <a:gd name="connsiteX18871" fmla="*/ 3878710 w 8079933"/>
              <a:gd name="connsiteY18871" fmla="*/ 1521418 h 4687251"/>
              <a:gd name="connsiteX18872" fmla="*/ 3874478 w 8079933"/>
              <a:gd name="connsiteY18872" fmla="*/ 1524557 h 4687251"/>
              <a:gd name="connsiteX18873" fmla="*/ 3869920 w 8079933"/>
              <a:gd name="connsiteY18873" fmla="*/ 1524341 h 4687251"/>
              <a:gd name="connsiteX18874" fmla="*/ 3868509 w 8079933"/>
              <a:gd name="connsiteY18874" fmla="*/ 1527914 h 4687251"/>
              <a:gd name="connsiteX18875" fmla="*/ 3864060 w 8079933"/>
              <a:gd name="connsiteY18875" fmla="*/ 1529430 h 4687251"/>
              <a:gd name="connsiteX18876" fmla="*/ 3858634 w 8079933"/>
              <a:gd name="connsiteY18876" fmla="*/ 1528997 h 4687251"/>
              <a:gd name="connsiteX18877" fmla="*/ 3855922 w 8079933"/>
              <a:gd name="connsiteY18877" fmla="*/ 1527589 h 4687251"/>
              <a:gd name="connsiteX18878" fmla="*/ 3857224 w 8079933"/>
              <a:gd name="connsiteY18878" fmla="*/ 1530079 h 4687251"/>
              <a:gd name="connsiteX18879" fmla="*/ 3861782 w 8079933"/>
              <a:gd name="connsiteY18879" fmla="*/ 1531487 h 4687251"/>
              <a:gd name="connsiteX18880" fmla="*/ 3864495 w 8079933"/>
              <a:gd name="connsiteY18880" fmla="*/ 1531162 h 4687251"/>
              <a:gd name="connsiteX18881" fmla="*/ 3870029 w 8079933"/>
              <a:gd name="connsiteY18881" fmla="*/ 1533002 h 4687251"/>
              <a:gd name="connsiteX18882" fmla="*/ 3874044 w 8079933"/>
              <a:gd name="connsiteY18882" fmla="*/ 1530404 h 4687251"/>
              <a:gd name="connsiteX18883" fmla="*/ 3876106 w 8079933"/>
              <a:gd name="connsiteY18883" fmla="*/ 1528563 h 4687251"/>
              <a:gd name="connsiteX18884" fmla="*/ 3881097 w 8079933"/>
              <a:gd name="connsiteY18884" fmla="*/ 1530512 h 4687251"/>
              <a:gd name="connsiteX18885" fmla="*/ 3884245 w 8079933"/>
              <a:gd name="connsiteY18885" fmla="*/ 1533111 h 4687251"/>
              <a:gd name="connsiteX18886" fmla="*/ 3888260 w 8079933"/>
              <a:gd name="connsiteY18886" fmla="*/ 1533977 h 4687251"/>
              <a:gd name="connsiteX18887" fmla="*/ 3894879 w 8079933"/>
              <a:gd name="connsiteY18887" fmla="*/ 1543938 h 4687251"/>
              <a:gd name="connsiteX18888" fmla="*/ 3897158 w 8079933"/>
              <a:gd name="connsiteY18888" fmla="*/ 1543938 h 4687251"/>
              <a:gd name="connsiteX18889" fmla="*/ 3899437 w 8079933"/>
              <a:gd name="connsiteY18889" fmla="*/ 1547619 h 4687251"/>
              <a:gd name="connsiteX18890" fmla="*/ 3901498 w 8079933"/>
              <a:gd name="connsiteY18890" fmla="*/ 1558663 h 4687251"/>
              <a:gd name="connsiteX18891" fmla="*/ 3904320 w 8079933"/>
              <a:gd name="connsiteY18891" fmla="*/ 1563318 h 4687251"/>
              <a:gd name="connsiteX18892" fmla="*/ 3906925 w 8079933"/>
              <a:gd name="connsiteY18892" fmla="*/ 1571980 h 4687251"/>
              <a:gd name="connsiteX18893" fmla="*/ 3908661 w 8079933"/>
              <a:gd name="connsiteY18893" fmla="*/ 1573062 h 4687251"/>
              <a:gd name="connsiteX18894" fmla="*/ 3909095 w 8079933"/>
              <a:gd name="connsiteY18894" fmla="*/ 1576203 h 4687251"/>
              <a:gd name="connsiteX18895" fmla="*/ 3917017 w 8079933"/>
              <a:gd name="connsiteY18895" fmla="*/ 1578043 h 4687251"/>
              <a:gd name="connsiteX18896" fmla="*/ 3922659 w 8079933"/>
              <a:gd name="connsiteY18896" fmla="*/ 1580966 h 4687251"/>
              <a:gd name="connsiteX18897" fmla="*/ 3926458 w 8079933"/>
              <a:gd name="connsiteY18897" fmla="*/ 1587787 h 4687251"/>
              <a:gd name="connsiteX18898" fmla="*/ 3927760 w 8079933"/>
              <a:gd name="connsiteY18898" fmla="*/ 1588004 h 4687251"/>
              <a:gd name="connsiteX18899" fmla="*/ 3929170 w 8079933"/>
              <a:gd name="connsiteY18899" fmla="*/ 1590386 h 4687251"/>
              <a:gd name="connsiteX18900" fmla="*/ 3932317 w 8079933"/>
              <a:gd name="connsiteY18900" fmla="*/ 1592119 h 4687251"/>
              <a:gd name="connsiteX18901" fmla="*/ 3930581 w 8079933"/>
              <a:gd name="connsiteY18901" fmla="*/ 1592768 h 4687251"/>
              <a:gd name="connsiteX18902" fmla="*/ 3928736 w 8079933"/>
              <a:gd name="connsiteY18902" fmla="*/ 1595799 h 4687251"/>
              <a:gd name="connsiteX18903" fmla="*/ 3931666 w 8079933"/>
              <a:gd name="connsiteY18903" fmla="*/ 1599589 h 4687251"/>
              <a:gd name="connsiteX18904" fmla="*/ 3938069 w 8079933"/>
              <a:gd name="connsiteY18904" fmla="*/ 1607601 h 4687251"/>
              <a:gd name="connsiteX18905" fmla="*/ 3935790 w 8079933"/>
              <a:gd name="connsiteY18905" fmla="*/ 1607060 h 4687251"/>
              <a:gd name="connsiteX18906" fmla="*/ 3933294 w 8079933"/>
              <a:gd name="connsiteY18906" fmla="*/ 1607493 h 4687251"/>
              <a:gd name="connsiteX18907" fmla="*/ 3931449 w 8079933"/>
              <a:gd name="connsiteY18907" fmla="*/ 1605544 h 4687251"/>
              <a:gd name="connsiteX18908" fmla="*/ 3929279 w 8079933"/>
              <a:gd name="connsiteY18908" fmla="*/ 1604570 h 4687251"/>
              <a:gd name="connsiteX18909" fmla="*/ 3925698 w 8079933"/>
              <a:gd name="connsiteY18909" fmla="*/ 1605327 h 4687251"/>
              <a:gd name="connsiteX18910" fmla="*/ 3923636 w 8079933"/>
              <a:gd name="connsiteY18910" fmla="*/ 1604786 h 4687251"/>
              <a:gd name="connsiteX18911" fmla="*/ 3920380 w 8079933"/>
              <a:gd name="connsiteY18911" fmla="*/ 1605652 h 4687251"/>
              <a:gd name="connsiteX18912" fmla="*/ 3922117 w 8079933"/>
              <a:gd name="connsiteY18912" fmla="*/ 1605652 h 4687251"/>
              <a:gd name="connsiteX18913" fmla="*/ 3925047 w 8079933"/>
              <a:gd name="connsiteY18913" fmla="*/ 1606627 h 4687251"/>
              <a:gd name="connsiteX18914" fmla="*/ 3926675 w 8079933"/>
              <a:gd name="connsiteY18914" fmla="*/ 1606085 h 4687251"/>
              <a:gd name="connsiteX18915" fmla="*/ 3929170 w 8079933"/>
              <a:gd name="connsiteY18915" fmla="*/ 1605652 h 4687251"/>
              <a:gd name="connsiteX18916" fmla="*/ 3931124 w 8079933"/>
              <a:gd name="connsiteY18916" fmla="*/ 1609009 h 4687251"/>
              <a:gd name="connsiteX18917" fmla="*/ 3935899 w 8079933"/>
              <a:gd name="connsiteY18917" fmla="*/ 1611715 h 4687251"/>
              <a:gd name="connsiteX18918" fmla="*/ 3938069 w 8079933"/>
              <a:gd name="connsiteY18918" fmla="*/ 1612148 h 4687251"/>
              <a:gd name="connsiteX18919" fmla="*/ 3943495 w 8079933"/>
              <a:gd name="connsiteY18919" fmla="*/ 1620918 h 4687251"/>
              <a:gd name="connsiteX18920" fmla="*/ 3943495 w 8079933"/>
              <a:gd name="connsiteY18920" fmla="*/ 1625141 h 4687251"/>
              <a:gd name="connsiteX18921" fmla="*/ 3936658 w 8079933"/>
              <a:gd name="connsiteY18921" fmla="*/ 1631962 h 4687251"/>
              <a:gd name="connsiteX18922" fmla="*/ 3940999 w 8079933"/>
              <a:gd name="connsiteY18922" fmla="*/ 1633045 h 4687251"/>
              <a:gd name="connsiteX18923" fmla="*/ 3944580 w 8079933"/>
              <a:gd name="connsiteY18923" fmla="*/ 1637159 h 4687251"/>
              <a:gd name="connsiteX18924" fmla="*/ 3946425 w 8079933"/>
              <a:gd name="connsiteY18924" fmla="*/ 1634127 h 4687251"/>
              <a:gd name="connsiteX18925" fmla="*/ 3946967 w 8079933"/>
              <a:gd name="connsiteY18925" fmla="*/ 1629039 h 4687251"/>
              <a:gd name="connsiteX18926" fmla="*/ 3953912 w 8079933"/>
              <a:gd name="connsiteY18926" fmla="*/ 1628822 h 4687251"/>
              <a:gd name="connsiteX18927" fmla="*/ 3964981 w 8079933"/>
              <a:gd name="connsiteY18927" fmla="*/ 1629363 h 4687251"/>
              <a:gd name="connsiteX18928" fmla="*/ 3972902 w 8079933"/>
              <a:gd name="connsiteY18928" fmla="*/ 1635535 h 4687251"/>
              <a:gd name="connsiteX18929" fmla="*/ 3973987 w 8079933"/>
              <a:gd name="connsiteY18929" fmla="*/ 1641382 h 4687251"/>
              <a:gd name="connsiteX18930" fmla="*/ 3976049 w 8079933"/>
              <a:gd name="connsiteY18930" fmla="*/ 1643980 h 4687251"/>
              <a:gd name="connsiteX18931" fmla="*/ 3973445 w 8079933"/>
              <a:gd name="connsiteY18931" fmla="*/ 1650368 h 4687251"/>
              <a:gd name="connsiteX18932" fmla="*/ 3973011 w 8079933"/>
              <a:gd name="connsiteY18932" fmla="*/ 1657297 h 4687251"/>
              <a:gd name="connsiteX18933" fmla="*/ 3970298 w 8079933"/>
              <a:gd name="connsiteY18933" fmla="*/ 1658380 h 4687251"/>
              <a:gd name="connsiteX18934" fmla="*/ 3967476 w 8079933"/>
              <a:gd name="connsiteY18934" fmla="*/ 1662061 h 4687251"/>
              <a:gd name="connsiteX18935" fmla="*/ 3966826 w 8079933"/>
              <a:gd name="connsiteY18935" fmla="*/ 1660220 h 4687251"/>
              <a:gd name="connsiteX18936" fmla="*/ 3964330 w 8079933"/>
              <a:gd name="connsiteY18936" fmla="*/ 1659679 h 4687251"/>
              <a:gd name="connsiteX18937" fmla="*/ 3962810 w 8079933"/>
              <a:gd name="connsiteY18937" fmla="*/ 1662169 h 4687251"/>
              <a:gd name="connsiteX18938" fmla="*/ 3966717 w 8079933"/>
              <a:gd name="connsiteY18938" fmla="*/ 1662602 h 4687251"/>
              <a:gd name="connsiteX18939" fmla="*/ 3965632 w 8079933"/>
              <a:gd name="connsiteY18939" fmla="*/ 1664335 h 4687251"/>
              <a:gd name="connsiteX18940" fmla="*/ 3967259 w 8079933"/>
              <a:gd name="connsiteY18940" fmla="*/ 1664659 h 4687251"/>
              <a:gd name="connsiteX18941" fmla="*/ 3965849 w 8079933"/>
              <a:gd name="connsiteY18941" fmla="*/ 1666716 h 4687251"/>
              <a:gd name="connsiteX18942" fmla="*/ 3962485 w 8079933"/>
              <a:gd name="connsiteY18942" fmla="*/ 1669207 h 4687251"/>
              <a:gd name="connsiteX18943" fmla="*/ 3960315 w 8079933"/>
              <a:gd name="connsiteY18943" fmla="*/ 1667367 h 4687251"/>
              <a:gd name="connsiteX18944" fmla="*/ 3958361 w 8079933"/>
              <a:gd name="connsiteY18944" fmla="*/ 1669315 h 4687251"/>
              <a:gd name="connsiteX18945" fmla="*/ 3955648 w 8079933"/>
              <a:gd name="connsiteY18945" fmla="*/ 1671697 h 4687251"/>
              <a:gd name="connsiteX18946" fmla="*/ 3959338 w 8079933"/>
              <a:gd name="connsiteY18946" fmla="*/ 1671697 h 4687251"/>
              <a:gd name="connsiteX18947" fmla="*/ 3960315 w 8079933"/>
              <a:gd name="connsiteY18947" fmla="*/ 1674837 h 4687251"/>
              <a:gd name="connsiteX18948" fmla="*/ 3956734 w 8079933"/>
              <a:gd name="connsiteY18948" fmla="*/ 1676569 h 4687251"/>
              <a:gd name="connsiteX18949" fmla="*/ 3953695 w 8079933"/>
              <a:gd name="connsiteY18949" fmla="*/ 1676245 h 4687251"/>
              <a:gd name="connsiteX18950" fmla="*/ 3949138 w 8079933"/>
              <a:gd name="connsiteY18950" fmla="*/ 1679384 h 4687251"/>
              <a:gd name="connsiteX18951" fmla="*/ 3952393 w 8079933"/>
              <a:gd name="connsiteY18951" fmla="*/ 1678193 h 4687251"/>
              <a:gd name="connsiteX18952" fmla="*/ 3956082 w 8079933"/>
              <a:gd name="connsiteY18952" fmla="*/ 1679168 h 4687251"/>
              <a:gd name="connsiteX18953" fmla="*/ 3955757 w 8079933"/>
              <a:gd name="connsiteY18953" fmla="*/ 1679926 h 4687251"/>
              <a:gd name="connsiteX18954" fmla="*/ 3954455 w 8079933"/>
              <a:gd name="connsiteY18954" fmla="*/ 1680142 h 4687251"/>
              <a:gd name="connsiteX18955" fmla="*/ 3953044 w 8079933"/>
              <a:gd name="connsiteY18955" fmla="*/ 1681549 h 4687251"/>
              <a:gd name="connsiteX18956" fmla="*/ 3954563 w 8079933"/>
              <a:gd name="connsiteY18956" fmla="*/ 1681875 h 4687251"/>
              <a:gd name="connsiteX18957" fmla="*/ 3958687 w 8079933"/>
              <a:gd name="connsiteY18957" fmla="*/ 1683390 h 4687251"/>
              <a:gd name="connsiteX18958" fmla="*/ 3961292 w 8079933"/>
              <a:gd name="connsiteY18958" fmla="*/ 1682957 h 4687251"/>
              <a:gd name="connsiteX18959" fmla="*/ 3965740 w 8079933"/>
              <a:gd name="connsiteY18959" fmla="*/ 1681225 h 4687251"/>
              <a:gd name="connsiteX18960" fmla="*/ 3971926 w 8079933"/>
              <a:gd name="connsiteY18960" fmla="*/ 1681008 h 4687251"/>
              <a:gd name="connsiteX18961" fmla="*/ 3970841 w 8079933"/>
              <a:gd name="connsiteY18961" fmla="*/ 1683932 h 4687251"/>
              <a:gd name="connsiteX18962" fmla="*/ 3971818 w 8079933"/>
              <a:gd name="connsiteY18962" fmla="*/ 1686314 h 4687251"/>
              <a:gd name="connsiteX18963" fmla="*/ 3971600 w 8079933"/>
              <a:gd name="connsiteY18963" fmla="*/ 1689887 h 4687251"/>
              <a:gd name="connsiteX18964" fmla="*/ 3968128 w 8079933"/>
              <a:gd name="connsiteY18964" fmla="*/ 1690644 h 4687251"/>
              <a:gd name="connsiteX18965" fmla="*/ 3962593 w 8079933"/>
              <a:gd name="connsiteY18965" fmla="*/ 1694434 h 4687251"/>
              <a:gd name="connsiteX18966" fmla="*/ 3963136 w 8079933"/>
              <a:gd name="connsiteY18966" fmla="*/ 1697032 h 4687251"/>
              <a:gd name="connsiteX18967" fmla="*/ 3960748 w 8079933"/>
              <a:gd name="connsiteY18967" fmla="*/ 1696491 h 4687251"/>
              <a:gd name="connsiteX18968" fmla="*/ 3958361 w 8079933"/>
              <a:gd name="connsiteY18968" fmla="*/ 1696708 h 4687251"/>
              <a:gd name="connsiteX18969" fmla="*/ 3954889 w 8079933"/>
              <a:gd name="connsiteY18969" fmla="*/ 1699848 h 4687251"/>
              <a:gd name="connsiteX18970" fmla="*/ 3951091 w 8079933"/>
              <a:gd name="connsiteY18970" fmla="*/ 1700605 h 4687251"/>
              <a:gd name="connsiteX18971" fmla="*/ 3947509 w 8079933"/>
              <a:gd name="connsiteY18971" fmla="*/ 1703528 h 4687251"/>
              <a:gd name="connsiteX18972" fmla="*/ 3945231 w 8079933"/>
              <a:gd name="connsiteY18972" fmla="*/ 1703095 h 4687251"/>
              <a:gd name="connsiteX18973" fmla="*/ 3940456 w 8079933"/>
              <a:gd name="connsiteY18973" fmla="*/ 1701580 h 4687251"/>
              <a:gd name="connsiteX18974" fmla="*/ 3935573 w 8079933"/>
              <a:gd name="connsiteY18974" fmla="*/ 1702554 h 4687251"/>
              <a:gd name="connsiteX18975" fmla="*/ 3927760 w 8079933"/>
              <a:gd name="connsiteY18975" fmla="*/ 1702663 h 4687251"/>
              <a:gd name="connsiteX18976" fmla="*/ 3924395 w 8079933"/>
              <a:gd name="connsiteY18976" fmla="*/ 1704936 h 4687251"/>
              <a:gd name="connsiteX18977" fmla="*/ 3921357 w 8079933"/>
              <a:gd name="connsiteY18977" fmla="*/ 1703204 h 4687251"/>
              <a:gd name="connsiteX18978" fmla="*/ 3920706 w 8079933"/>
              <a:gd name="connsiteY18978" fmla="*/ 1701471 h 4687251"/>
              <a:gd name="connsiteX18979" fmla="*/ 3918210 w 8079933"/>
              <a:gd name="connsiteY18979" fmla="*/ 1703312 h 4687251"/>
              <a:gd name="connsiteX18980" fmla="*/ 3916365 w 8079933"/>
              <a:gd name="connsiteY18980" fmla="*/ 1703528 h 4687251"/>
              <a:gd name="connsiteX18981" fmla="*/ 3912892 w 8079933"/>
              <a:gd name="connsiteY18981" fmla="*/ 1702771 h 4687251"/>
              <a:gd name="connsiteX18982" fmla="*/ 3907901 w 8079933"/>
              <a:gd name="connsiteY18982" fmla="*/ 1706019 h 4687251"/>
              <a:gd name="connsiteX18983" fmla="*/ 3904428 w 8079933"/>
              <a:gd name="connsiteY18983" fmla="*/ 1705044 h 4687251"/>
              <a:gd name="connsiteX18984" fmla="*/ 3899220 w 8079933"/>
              <a:gd name="connsiteY18984" fmla="*/ 1707643 h 4687251"/>
              <a:gd name="connsiteX18985" fmla="*/ 3897809 w 8079933"/>
              <a:gd name="connsiteY18985" fmla="*/ 1711216 h 4687251"/>
              <a:gd name="connsiteX18986" fmla="*/ 3894771 w 8079933"/>
              <a:gd name="connsiteY18986" fmla="*/ 1710133 h 4687251"/>
              <a:gd name="connsiteX18987" fmla="*/ 3889128 w 8079933"/>
              <a:gd name="connsiteY18987" fmla="*/ 1709916 h 4687251"/>
              <a:gd name="connsiteX18988" fmla="*/ 3887283 w 8079933"/>
              <a:gd name="connsiteY18988" fmla="*/ 1710675 h 4687251"/>
              <a:gd name="connsiteX18989" fmla="*/ 3882183 w 8079933"/>
              <a:gd name="connsiteY18989" fmla="*/ 1707102 h 4687251"/>
              <a:gd name="connsiteX18990" fmla="*/ 3877625 w 8079933"/>
              <a:gd name="connsiteY18990" fmla="*/ 1706777 h 4687251"/>
              <a:gd name="connsiteX18991" fmla="*/ 3869161 w 8079933"/>
              <a:gd name="connsiteY18991" fmla="*/ 1708726 h 4687251"/>
              <a:gd name="connsiteX18992" fmla="*/ 3868293 w 8079933"/>
              <a:gd name="connsiteY18992" fmla="*/ 1710350 h 4687251"/>
              <a:gd name="connsiteX18993" fmla="*/ 3866122 w 8079933"/>
              <a:gd name="connsiteY18993" fmla="*/ 1710675 h 4687251"/>
              <a:gd name="connsiteX18994" fmla="*/ 3863518 w 8079933"/>
              <a:gd name="connsiteY18994" fmla="*/ 1713165 h 4687251"/>
              <a:gd name="connsiteX18995" fmla="*/ 3864277 w 8079933"/>
              <a:gd name="connsiteY18995" fmla="*/ 1717387 h 4687251"/>
              <a:gd name="connsiteX18996" fmla="*/ 3863518 w 8079933"/>
              <a:gd name="connsiteY18996" fmla="*/ 1719661 h 4687251"/>
              <a:gd name="connsiteX18997" fmla="*/ 3860479 w 8079933"/>
              <a:gd name="connsiteY18997" fmla="*/ 1721068 h 4687251"/>
              <a:gd name="connsiteX18998" fmla="*/ 3861239 w 8079933"/>
              <a:gd name="connsiteY18998" fmla="*/ 1723450 h 4687251"/>
              <a:gd name="connsiteX18999" fmla="*/ 3857441 w 8079933"/>
              <a:gd name="connsiteY18999" fmla="*/ 1723667 h 4687251"/>
              <a:gd name="connsiteX19000" fmla="*/ 3854186 w 8079933"/>
              <a:gd name="connsiteY19000" fmla="*/ 1720960 h 4687251"/>
              <a:gd name="connsiteX19001" fmla="*/ 3851798 w 8079933"/>
              <a:gd name="connsiteY19001" fmla="*/ 1721177 h 4687251"/>
              <a:gd name="connsiteX19002" fmla="*/ 3849844 w 8079933"/>
              <a:gd name="connsiteY19002" fmla="*/ 1718470 h 4687251"/>
              <a:gd name="connsiteX19003" fmla="*/ 3847783 w 8079933"/>
              <a:gd name="connsiteY19003" fmla="*/ 1719553 h 4687251"/>
              <a:gd name="connsiteX19004" fmla="*/ 3845070 w 8079933"/>
              <a:gd name="connsiteY19004" fmla="*/ 1719120 h 4687251"/>
              <a:gd name="connsiteX19005" fmla="*/ 3841597 w 8079933"/>
              <a:gd name="connsiteY19005" fmla="*/ 1720744 h 4687251"/>
              <a:gd name="connsiteX19006" fmla="*/ 3837148 w 8079933"/>
              <a:gd name="connsiteY19006" fmla="*/ 1719553 h 4687251"/>
              <a:gd name="connsiteX19007" fmla="*/ 3835737 w 8079933"/>
              <a:gd name="connsiteY19007" fmla="*/ 1723017 h 4687251"/>
              <a:gd name="connsiteX19008" fmla="*/ 3833784 w 8079933"/>
              <a:gd name="connsiteY19008" fmla="*/ 1723017 h 4687251"/>
              <a:gd name="connsiteX19009" fmla="*/ 3830963 w 8079933"/>
              <a:gd name="connsiteY19009" fmla="*/ 1725832 h 4687251"/>
              <a:gd name="connsiteX19010" fmla="*/ 3829769 w 8079933"/>
              <a:gd name="connsiteY19010" fmla="*/ 1724316 h 4687251"/>
              <a:gd name="connsiteX19011" fmla="*/ 3827382 w 8079933"/>
              <a:gd name="connsiteY19011" fmla="*/ 1727456 h 4687251"/>
              <a:gd name="connsiteX19012" fmla="*/ 3828575 w 8079933"/>
              <a:gd name="connsiteY19012" fmla="*/ 1729297 h 4687251"/>
              <a:gd name="connsiteX19013" fmla="*/ 3825971 w 8079933"/>
              <a:gd name="connsiteY19013" fmla="*/ 1731679 h 4687251"/>
              <a:gd name="connsiteX19014" fmla="*/ 3823909 w 8079933"/>
              <a:gd name="connsiteY19014" fmla="*/ 1727889 h 4687251"/>
              <a:gd name="connsiteX19015" fmla="*/ 3818700 w 8079933"/>
              <a:gd name="connsiteY19015" fmla="*/ 1726590 h 4687251"/>
              <a:gd name="connsiteX19016" fmla="*/ 3818484 w 8079933"/>
              <a:gd name="connsiteY19016" fmla="*/ 1729838 h 4687251"/>
              <a:gd name="connsiteX19017" fmla="*/ 3814251 w 8079933"/>
              <a:gd name="connsiteY19017" fmla="*/ 1729513 h 4687251"/>
              <a:gd name="connsiteX19018" fmla="*/ 3814251 w 8079933"/>
              <a:gd name="connsiteY19018" fmla="*/ 1725940 h 4687251"/>
              <a:gd name="connsiteX19019" fmla="*/ 3818158 w 8079933"/>
              <a:gd name="connsiteY19019" fmla="*/ 1723234 h 4687251"/>
              <a:gd name="connsiteX19020" fmla="*/ 3820653 w 8079933"/>
              <a:gd name="connsiteY19020" fmla="*/ 1724100 h 4687251"/>
              <a:gd name="connsiteX19021" fmla="*/ 3826297 w 8079933"/>
              <a:gd name="connsiteY19021" fmla="*/ 1720094 h 4687251"/>
              <a:gd name="connsiteX19022" fmla="*/ 3827382 w 8079933"/>
              <a:gd name="connsiteY19022" fmla="*/ 1717604 h 4687251"/>
              <a:gd name="connsiteX19023" fmla="*/ 3829335 w 8079933"/>
              <a:gd name="connsiteY19023" fmla="*/ 1717495 h 4687251"/>
              <a:gd name="connsiteX19024" fmla="*/ 3830529 w 8079933"/>
              <a:gd name="connsiteY19024" fmla="*/ 1712840 h 4687251"/>
              <a:gd name="connsiteX19025" fmla="*/ 3835195 w 8079933"/>
              <a:gd name="connsiteY19025" fmla="*/ 1712082 h 4687251"/>
              <a:gd name="connsiteX19026" fmla="*/ 3836280 w 8079933"/>
              <a:gd name="connsiteY19026" fmla="*/ 1709916 h 4687251"/>
              <a:gd name="connsiteX19027" fmla="*/ 3840404 w 8079933"/>
              <a:gd name="connsiteY19027" fmla="*/ 1706127 h 4687251"/>
              <a:gd name="connsiteX19028" fmla="*/ 3841055 w 8079933"/>
              <a:gd name="connsiteY19028" fmla="*/ 1698007 h 4687251"/>
              <a:gd name="connsiteX19029" fmla="*/ 3844962 w 8079933"/>
              <a:gd name="connsiteY19029" fmla="*/ 1698007 h 4687251"/>
              <a:gd name="connsiteX19030" fmla="*/ 3847891 w 8079933"/>
              <a:gd name="connsiteY19030" fmla="*/ 1695083 h 4687251"/>
              <a:gd name="connsiteX19031" fmla="*/ 3847783 w 8079933"/>
              <a:gd name="connsiteY19031" fmla="*/ 1691510 h 4687251"/>
              <a:gd name="connsiteX19032" fmla="*/ 3854945 w 8079933"/>
              <a:gd name="connsiteY19032" fmla="*/ 1689670 h 4687251"/>
              <a:gd name="connsiteX19033" fmla="*/ 3864820 w 8079933"/>
              <a:gd name="connsiteY19033" fmla="*/ 1690753 h 4687251"/>
              <a:gd name="connsiteX19034" fmla="*/ 3868401 w 8079933"/>
              <a:gd name="connsiteY19034" fmla="*/ 1692702 h 4687251"/>
              <a:gd name="connsiteX19035" fmla="*/ 3871440 w 8079933"/>
              <a:gd name="connsiteY19035" fmla="*/ 1691510 h 4687251"/>
              <a:gd name="connsiteX19036" fmla="*/ 3875346 w 8079933"/>
              <a:gd name="connsiteY19036" fmla="*/ 1691727 h 4687251"/>
              <a:gd name="connsiteX19037" fmla="*/ 3875563 w 8079933"/>
              <a:gd name="connsiteY19037" fmla="*/ 1685339 h 4687251"/>
              <a:gd name="connsiteX19038" fmla="*/ 3881315 w 8079933"/>
              <a:gd name="connsiteY19038" fmla="*/ 1679818 h 4687251"/>
              <a:gd name="connsiteX19039" fmla="*/ 3886957 w 8079933"/>
              <a:gd name="connsiteY19039" fmla="*/ 1673213 h 4687251"/>
              <a:gd name="connsiteX19040" fmla="*/ 3882833 w 8079933"/>
              <a:gd name="connsiteY19040" fmla="*/ 1675161 h 4687251"/>
              <a:gd name="connsiteX19041" fmla="*/ 3880989 w 8079933"/>
              <a:gd name="connsiteY19041" fmla="*/ 1677977 h 4687251"/>
              <a:gd name="connsiteX19042" fmla="*/ 3875997 w 8079933"/>
              <a:gd name="connsiteY19042" fmla="*/ 1679818 h 4687251"/>
              <a:gd name="connsiteX19043" fmla="*/ 3872308 w 8079933"/>
              <a:gd name="connsiteY19043" fmla="*/ 1681333 h 4687251"/>
              <a:gd name="connsiteX19044" fmla="*/ 3870571 w 8079933"/>
              <a:gd name="connsiteY19044" fmla="*/ 1684365 h 4687251"/>
              <a:gd name="connsiteX19045" fmla="*/ 3862867 w 8079933"/>
              <a:gd name="connsiteY19045" fmla="*/ 1684473 h 4687251"/>
              <a:gd name="connsiteX19046" fmla="*/ 3859829 w 8079933"/>
              <a:gd name="connsiteY19046" fmla="*/ 1680900 h 4687251"/>
              <a:gd name="connsiteX19047" fmla="*/ 3856356 w 8079933"/>
              <a:gd name="connsiteY19047" fmla="*/ 1676894 h 4687251"/>
              <a:gd name="connsiteX19048" fmla="*/ 3852991 w 8079933"/>
              <a:gd name="connsiteY19048" fmla="*/ 1677869 h 4687251"/>
              <a:gd name="connsiteX19049" fmla="*/ 3852991 w 8079933"/>
              <a:gd name="connsiteY19049" fmla="*/ 1679168 h 4687251"/>
              <a:gd name="connsiteX19050" fmla="*/ 3846263 w 8079933"/>
              <a:gd name="connsiteY19050" fmla="*/ 1678951 h 4687251"/>
              <a:gd name="connsiteX19051" fmla="*/ 3846806 w 8079933"/>
              <a:gd name="connsiteY19051" fmla="*/ 1676677 h 4687251"/>
              <a:gd name="connsiteX19052" fmla="*/ 3850713 w 8079933"/>
              <a:gd name="connsiteY19052" fmla="*/ 1675595 h 4687251"/>
              <a:gd name="connsiteX19053" fmla="*/ 3845830 w 8079933"/>
              <a:gd name="connsiteY19053" fmla="*/ 1674404 h 4687251"/>
              <a:gd name="connsiteX19054" fmla="*/ 3845287 w 8079933"/>
              <a:gd name="connsiteY19054" fmla="*/ 1671589 h 4687251"/>
              <a:gd name="connsiteX19055" fmla="*/ 3839102 w 8079933"/>
              <a:gd name="connsiteY19055" fmla="*/ 1673646 h 4687251"/>
              <a:gd name="connsiteX19056" fmla="*/ 3835412 w 8079933"/>
              <a:gd name="connsiteY19056" fmla="*/ 1675920 h 4687251"/>
              <a:gd name="connsiteX19057" fmla="*/ 3832048 w 8079933"/>
              <a:gd name="connsiteY19057" fmla="*/ 1676894 h 4687251"/>
              <a:gd name="connsiteX19058" fmla="*/ 3829878 w 8079933"/>
              <a:gd name="connsiteY19058" fmla="*/ 1675595 h 4687251"/>
              <a:gd name="connsiteX19059" fmla="*/ 3831288 w 8079933"/>
              <a:gd name="connsiteY19059" fmla="*/ 1674187 h 4687251"/>
              <a:gd name="connsiteX19060" fmla="*/ 3825537 w 8079933"/>
              <a:gd name="connsiteY19060" fmla="*/ 1673213 h 4687251"/>
              <a:gd name="connsiteX19061" fmla="*/ 3828793 w 8079933"/>
              <a:gd name="connsiteY19061" fmla="*/ 1671697 h 4687251"/>
              <a:gd name="connsiteX19062" fmla="*/ 3828466 w 8079933"/>
              <a:gd name="connsiteY19062" fmla="*/ 1668341 h 4687251"/>
              <a:gd name="connsiteX19063" fmla="*/ 3823909 w 8079933"/>
              <a:gd name="connsiteY19063" fmla="*/ 1667691 h 4687251"/>
              <a:gd name="connsiteX19064" fmla="*/ 3829661 w 8079933"/>
              <a:gd name="connsiteY19064" fmla="*/ 1664010 h 4687251"/>
              <a:gd name="connsiteX19065" fmla="*/ 3833241 w 8079933"/>
              <a:gd name="connsiteY19065" fmla="*/ 1664010 h 4687251"/>
              <a:gd name="connsiteX19066" fmla="*/ 3838125 w 8079933"/>
              <a:gd name="connsiteY19066" fmla="*/ 1660978 h 4687251"/>
              <a:gd name="connsiteX19067" fmla="*/ 3839970 w 8079933"/>
              <a:gd name="connsiteY19067" fmla="*/ 1660870 h 4687251"/>
              <a:gd name="connsiteX19068" fmla="*/ 3843768 w 8079933"/>
              <a:gd name="connsiteY19068" fmla="*/ 1658055 h 4687251"/>
              <a:gd name="connsiteX19069" fmla="*/ 3847566 w 8079933"/>
              <a:gd name="connsiteY19069" fmla="*/ 1656756 h 4687251"/>
              <a:gd name="connsiteX19070" fmla="*/ 3852775 w 8079933"/>
              <a:gd name="connsiteY19070" fmla="*/ 1646686 h 4687251"/>
              <a:gd name="connsiteX19071" fmla="*/ 3850930 w 8079933"/>
              <a:gd name="connsiteY19071" fmla="*/ 1646253 h 4687251"/>
              <a:gd name="connsiteX19072" fmla="*/ 3849193 w 8079933"/>
              <a:gd name="connsiteY19072" fmla="*/ 1643006 h 4687251"/>
              <a:gd name="connsiteX19073" fmla="*/ 3852232 w 8079933"/>
              <a:gd name="connsiteY19073" fmla="*/ 1640840 h 4687251"/>
              <a:gd name="connsiteX19074" fmla="*/ 3849411 w 8079933"/>
              <a:gd name="connsiteY19074" fmla="*/ 1637917 h 4687251"/>
              <a:gd name="connsiteX19075" fmla="*/ 3850062 w 8079933"/>
              <a:gd name="connsiteY19075" fmla="*/ 1633694 h 4687251"/>
              <a:gd name="connsiteX19076" fmla="*/ 3842032 w 8079933"/>
              <a:gd name="connsiteY19076" fmla="*/ 1635860 h 4687251"/>
              <a:gd name="connsiteX19077" fmla="*/ 3841489 w 8079933"/>
              <a:gd name="connsiteY19077" fmla="*/ 1637917 h 4687251"/>
              <a:gd name="connsiteX19078" fmla="*/ 3839644 w 8079933"/>
              <a:gd name="connsiteY19078" fmla="*/ 1637267 h 4687251"/>
              <a:gd name="connsiteX19079" fmla="*/ 3836063 w 8079933"/>
              <a:gd name="connsiteY19079" fmla="*/ 1637917 h 4687251"/>
              <a:gd name="connsiteX19080" fmla="*/ 3838559 w 8079933"/>
              <a:gd name="connsiteY19080" fmla="*/ 1634452 h 4687251"/>
              <a:gd name="connsiteX19081" fmla="*/ 3844202 w 8079933"/>
              <a:gd name="connsiteY19081" fmla="*/ 1630879 h 4687251"/>
              <a:gd name="connsiteX19082" fmla="*/ 3848325 w 8079933"/>
              <a:gd name="connsiteY19082" fmla="*/ 1625141 h 4687251"/>
              <a:gd name="connsiteX19083" fmla="*/ 3856139 w 8079933"/>
              <a:gd name="connsiteY19083" fmla="*/ 1621351 h 4687251"/>
              <a:gd name="connsiteX19084" fmla="*/ 3859611 w 8079933"/>
              <a:gd name="connsiteY19084" fmla="*/ 1621784 h 4687251"/>
              <a:gd name="connsiteX19085" fmla="*/ 3867207 w 8079933"/>
              <a:gd name="connsiteY19085" fmla="*/ 1619402 h 4687251"/>
              <a:gd name="connsiteX19086" fmla="*/ 3870138 w 8079933"/>
              <a:gd name="connsiteY19086" fmla="*/ 1622434 h 4687251"/>
              <a:gd name="connsiteX19087" fmla="*/ 3873935 w 8079933"/>
              <a:gd name="connsiteY19087" fmla="*/ 1623192 h 4687251"/>
              <a:gd name="connsiteX19088" fmla="*/ 3871548 w 8079933"/>
              <a:gd name="connsiteY19088" fmla="*/ 1621784 h 4687251"/>
              <a:gd name="connsiteX19089" fmla="*/ 3869378 w 8079933"/>
              <a:gd name="connsiteY19089" fmla="*/ 1617995 h 4687251"/>
              <a:gd name="connsiteX19090" fmla="*/ 3871982 w 8079933"/>
              <a:gd name="connsiteY19090" fmla="*/ 1617021 h 4687251"/>
              <a:gd name="connsiteX19091" fmla="*/ 3874695 w 8079933"/>
              <a:gd name="connsiteY19091" fmla="*/ 1620918 h 4687251"/>
              <a:gd name="connsiteX19092" fmla="*/ 3877842 w 8079933"/>
              <a:gd name="connsiteY19092" fmla="*/ 1620702 h 4687251"/>
              <a:gd name="connsiteX19093" fmla="*/ 3879795 w 8079933"/>
              <a:gd name="connsiteY19093" fmla="*/ 1619294 h 4687251"/>
              <a:gd name="connsiteX19094" fmla="*/ 3876974 w 8079933"/>
              <a:gd name="connsiteY19094" fmla="*/ 1618970 h 4687251"/>
              <a:gd name="connsiteX19095" fmla="*/ 3873501 w 8079933"/>
              <a:gd name="connsiteY19095" fmla="*/ 1616046 h 4687251"/>
              <a:gd name="connsiteX19096" fmla="*/ 3870680 w 8079933"/>
              <a:gd name="connsiteY19096" fmla="*/ 1612257 h 4687251"/>
              <a:gd name="connsiteX19097" fmla="*/ 3873176 w 8079933"/>
              <a:gd name="connsiteY19097" fmla="*/ 1607384 h 4687251"/>
              <a:gd name="connsiteX19098" fmla="*/ 3871765 w 8079933"/>
              <a:gd name="connsiteY19098" fmla="*/ 1600996 h 4687251"/>
              <a:gd name="connsiteX19099" fmla="*/ 3876431 w 8079933"/>
              <a:gd name="connsiteY19099" fmla="*/ 1597315 h 4687251"/>
              <a:gd name="connsiteX19100" fmla="*/ 3874912 w 8079933"/>
              <a:gd name="connsiteY19100" fmla="*/ 1596341 h 4687251"/>
              <a:gd name="connsiteX19101" fmla="*/ 3876648 w 8079933"/>
              <a:gd name="connsiteY19101" fmla="*/ 1590711 h 4687251"/>
              <a:gd name="connsiteX19102" fmla="*/ 3871873 w 8079933"/>
              <a:gd name="connsiteY19102" fmla="*/ 1589953 h 4687251"/>
              <a:gd name="connsiteX19103" fmla="*/ 3868075 w 8079933"/>
              <a:gd name="connsiteY19103" fmla="*/ 1594609 h 4687251"/>
              <a:gd name="connsiteX19104" fmla="*/ 3868075 w 8079933"/>
              <a:gd name="connsiteY19104" fmla="*/ 1589087 h 4687251"/>
              <a:gd name="connsiteX19105" fmla="*/ 3865145 w 8079933"/>
              <a:gd name="connsiteY19105" fmla="*/ 1590711 h 4687251"/>
              <a:gd name="connsiteX19106" fmla="*/ 3859394 w 8079933"/>
              <a:gd name="connsiteY19106" fmla="*/ 1580317 h 4687251"/>
              <a:gd name="connsiteX19107" fmla="*/ 3864060 w 8079933"/>
              <a:gd name="connsiteY19107" fmla="*/ 1566891 h 4687251"/>
              <a:gd name="connsiteX19108" fmla="*/ 3871873 w 8079933"/>
              <a:gd name="connsiteY19108" fmla="*/ 1564834 h 4687251"/>
              <a:gd name="connsiteX19109" fmla="*/ 3860045 w 8079933"/>
              <a:gd name="connsiteY19109" fmla="*/ 1564293 h 4687251"/>
              <a:gd name="connsiteX19110" fmla="*/ 3858852 w 8079933"/>
              <a:gd name="connsiteY19110" fmla="*/ 1568299 h 4687251"/>
              <a:gd name="connsiteX19111" fmla="*/ 3854511 w 8079933"/>
              <a:gd name="connsiteY19111" fmla="*/ 1568191 h 4687251"/>
              <a:gd name="connsiteX19112" fmla="*/ 3854511 w 8079933"/>
              <a:gd name="connsiteY19112" fmla="*/ 1570139 h 4687251"/>
              <a:gd name="connsiteX19113" fmla="*/ 3849736 w 8079933"/>
              <a:gd name="connsiteY19113" fmla="*/ 1570897 h 4687251"/>
              <a:gd name="connsiteX19114" fmla="*/ 3843009 w 8079933"/>
              <a:gd name="connsiteY19114" fmla="*/ 1566783 h 4687251"/>
              <a:gd name="connsiteX19115" fmla="*/ 3840838 w 8079933"/>
              <a:gd name="connsiteY19115" fmla="*/ 1567324 h 4687251"/>
              <a:gd name="connsiteX19116" fmla="*/ 3844310 w 8079933"/>
              <a:gd name="connsiteY19116" fmla="*/ 1570031 h 4687251"/>
              <a:gd name="connsiteX19117" fmla="*/ 3844093 w 8079933"/>
              <a:gd name="connsiteY19117" fmla="*/ 1574795 h 4687251"/>
              <a:gd name="connsiteX19118" fmla="*/ 3835737 w 8079933"/>
              <a:gd name="connsiteY19118" fmla="*/ 1568732 h 4687251"/>
              <a:gd name="connsiteX19119" fmla="*/ 3832482 w 8079933"/>
              <a:gd name="connsiteY19119" fmla="*/ 1569706 h 4687251"/>
              <a:gd name="connsiteX19120" fmla="*/ 3834001 w 8079933"/>
              <a:gd name="connsiteY19120" fmla="*/ 1575769 h 4687251"/>
              <a:gd name="connsiteX19121" fmla="*/ 3829226 w 8079933"/>
              <a:gd name="connsiteY19121" fmla="*/ 1569165 h 4687251"/>
              <a:gd name="connsiteX19122" fmla="*/ 3829010 w 8079933"/>
              <a:gd name="connsiteY19122" fmla="*/ 1564185 h 4687251"/>
              <a:gd name="connsiteX19123" fmla="*/ 3832482 w 8079933"/>
              <a:gd name="connsiteY19123" fmla="*/ 1566458 h 4687251"/>
              <a:gd name="connsiteX19124" fmla="*/ 3831614 w 8079933"/>
              <a:gd name="connsiteY19124" fmla="*/ 1561803 h 4687251"/>
              <a:gd name="connsiteX19125" fmla="*/ 3835521 w 8079933"/>
              <a:gd name="connsiteY19125" fmla="*/ 1551517 h 4687251"/>
              <a:gd name="connsiteX19126" fmla="*/ 3839427 w 8079933"/>
              <a:gd name="connsiteY19126" fmla="*/ 1547619 h 4687251"/>
              <a:gd name="connsiteX19127" fmla="*/ 3837908 w 8079933"/>
              <a:gd name="connsiteY19127" fmla="*/ 1543505 h 4687251"/>
              <a:gd name="connsiteX19128" fmla="*/ 3835303 w 8079933"/>
              <a:gd name="connsiteY19128" fmla="*/ 1542855 h 4687251"/>
              <a:gd name="connsiteX19129" fmla="*/ 3834218 w 8079933"/>
              <a:gd name="connsiteY19129" fmla="*/ 1538199 h 4687251"/>
              <a:gd name="connsiteX19130" fmla="*/ 3835846 w 8079933"/>
              <a:gd name="connsiteY19130" fmla="*/ 1531812 h 4687251"/>
              <a:gd name="connsiteX19131" fmla="*/ 3840187 w 8079933"/>
              <a:gd name="connsiteY19131" fmla="*/ 1533002 h 4687251"/>
              <a:gd name="connsiteX19132" fmla="*/ 3835086 w 8079933"/>
              <a:gd name="connsiteY19132" fmla="*/ 1529213 h 4687251"/>
              <a:gd name="connsiteX19133" fmla="*/ 3835954 w 8079933"/>
              <a:gd name="connsiteY19133" fmla="*/ 1524232 h 4687251"/>
              <a:gd name="connsiteX19134" fmla="*/ 3833892 w 8079933"/>
              <a:gd name="connsiteY19134" fmla="*/ 1525207 h 4687251"/>
              <a:gd name="connsiteX19135" fmla="*/ 3834436 w 8079933"/>
              <a:gd name="connsiteY19135" fmla="*/ 1529105 h 4687251"/>
              <a:gd name="connsiteX19136" fmla="*/ 3832048 w 8079933"/>
              <a:gd name="connsiteY19136" fmla="*/ 1534626 h 4687251"/>
              <a:gd name="connsiteX19137" fmla="*/ 3830637 w 8079933"/>
              <a:gd name="connsiteY19137" fmla="*/ 1529971 h 4687251"/>
              <a:gd name="connsiteX19138" fmla="*/ 3827707 w 8079933"/>
              <a:gd name="connsiteY19138" fmla="*/ 1532461 h 4687251"/>
              <a:gd name="connsiteX19139" fmla="*/ 3827273 w 8079933"/>
              <a:gd name="connsiteY19139" fmla="*/ 1535385 h 4687251"/>
              <a:gd name="connsiteX19140" fmla="*/ 3825645 w 8079933"/>
              <a:gd name="connsiteY19140" fmla="*/ 1534193 h 4687251"/>
              <a:gd name="connsiteX19141" fmla="*/ 3826080 w 8079933"/>
              <a:gd name="connsiteY19141" fmla="*/ 1529213 h 4687251"/>
              <a:gd name="connsiteX19142" fmla="*/ 3830637 w 8079933"/>
              <a:gd name="connsiteY19142" fmla="*/ 1522392 h 4687251"/>
              <a:gd name="connsiteX19143" fmla="*/ 3824669 w 8079933"/>
              <a:gd name="connsiteY19143" fmla="*/ 1529538 h 4687251"/>
              <a:gd name="connsiteX19144" fmla="*/ 3822824 w 8079933"/>
              <a:gd name="connsiteY19144" fmla="*/ 1529538 h 4687251"/>
              <a:gd name="connsiteX19145" fmla="*/ 3824777 w 8079933"/>
              <a:gd name="connsiteY19145" fmla="*/ 1537983 h 4687251"/>
              <a:gd name="connsiteX19146" fmla="*/ 3822173 w 8079933"/>
              <a:gd name="connsiteY19146" fmla="*/ 1541231 h 4687251"/>
              <a:gd name="connsiteX19147" fmla="*/ 3822390 w 8079933"/>
              <a:gd name="connsiteY19147" fmla="*/ 1544371 h 4687251"/>
              <a:gd name="connsiteX19148" fmla="*/ 3820219 w 8079933"/>
              <a:gd name="connsiteY19148" fmla="*/ 1549352 h 4687251"/>
              <a:gd name="connsiteX19149" fmla="*/ 3820871 w 8079933"/>
              <a:gd name="connsiteY19149" fmla="*/ 1552924 h 4687251"/>
              <a:gd name="connsiteX19150" fmla="*/ 3815771 w 8079933"/>
              <a:gd name="connsiteY19150" fmla="*/ 1552924 h 4687251"/>
              <a:gd name="connsiteX19151" fmla="*/ 3815662 w 8079933"/>
              <a:gd name="connsiteY19151" fmla="*/ 1551300 h 4687251"/>
              <a:gd name="connsiteX19152" fmla="*/ 3817940 w 8079933"/>
              <a:gd name="connsiteY19152" fmla="*/ 1549026 h 4687251"/>
              <a:gd name="connsiteX19153" fmla="*/ 3818484 w 8079933"/>
              <a:gd name="connsiteY19153" fmla="*/ 1542206 h 4687251"/>
              <a:gd name="connsiteX19154" fmla="*/ 3821522 w 8079933"/>
              <a:gd name="connsiteY19154" fmla="*/ 1537442 h 4687251"/>
              <a:gd name="connsiteX19155" fmla="*/ 3819785 w 8079933"/>
              <a:gd name="connsiteY19155" fmla="*/ 1538199 h 4687251"/>
              <a:gd name="connsiteX19156" fmla="*/ 3818484 w 8079933"/>
              <a:gd name="connsiteY19156" fmla="*/ 1536034 h 4687251"/>
              <a:gd name="connsiteX19157" fmla="*/ 3820219 w 8079933"/>
              <a:gd name="connsiteY19157" fmla="*/ 1533436 h 4687251"/>
              <a:gd name="connsiteX19158" fmla="*/ 3819569 w 8079933"/>
              <a:gd name="connsiteY19158" fmla="*/ 1528997 h 4687251"/>
              <a:gd name="connsiteX19159" fmla="*/ 3822173 w 8079933"/>
              <a:gd name="connsiteY19159" fmla="*/ 1522284 h 4687251"/>
              <a:gd name="connsiteX19160" fmla="*/ 3820871 w 8079933"/>
              <a:gd name="connsiteY19160" fmla="*/ 1521526 h 4687251"/>
              <a:gd name="connsiteX19161" fmla="*/ 3823909 w 8079933"/>
              <a:gd name="connsiteY19161" fmla="*/ 1515787 h 4687251"/>
              <a:gd name="connsiteX19162" fmla="*/ 3823584 w 8079933"/>
              <a:gd name="connsiteY19162" fmla="*/ 1514488 h 4687251"/>
              <a:gd name="connsiteX19163" fmla="*/ 3825971 w 8079933"/>
              <a:gd name="connsiteY19163" fmla="*/ 1508858 h 4687251"/>
              <a:gd name="connsiteX19164" fmla="*/ 3828793 w 8079933"/>
              <a:gd name="connsiteY19164" fmla="*/ 1507775 h 4687251"/>
              <a:gd name="connsiteX19165" fmla="*/ 3827382 w 8079933"/>
              <a:gd name="connsiteY19165" fmla="*/ 1506910 h 4687251"/>
              <a:gd name="connsiteX19166" fmla="*/ 3828901 w 8079933"/>
              <a:gd name="connsiteY19166" fmla="*/ 1503986 h 4687251"/>
              <a:gd name="connsiteX19167" fmla="*/ 3819243 w 8079933"/>
              <a:gd name="connsiteY19167" fmla="*/ 1513730 h 4687251"/>
              <a:gd name="connsiteX19168" fmla="*/ 3817398 w 8079933"/>
              <a:gd name="connsiteY19168" fmla="*/ 1511781 h 4687251"/>
              <a:gd name="connsiteX19169" fmla="*/ 3816204 w 8079933"/>
              <a:gd name="connsiteY19169" fmla="*/ 1512214 h 4687251"/>
              <a:gd name="connsiteX19170" fmla="*/ 3812514 w 8079933"/>
              <a:gd name="connsiteY19170" fmla="*/ 1508750 h 4687251"/>
              <a:gd name="connsiteX19171" fmla="*/ 3815227 w 8079933"/>
              <a:gd name="connsiteY19171" fmla="*/ 1508750 h 4687251"/>
              <a:gd name="connsiteX19172" fmla="*/ 3815771 w 8079933"/>
              <a:gd name="connsiteY19172" fmla="*/ 1507667 h 4687251"/>
              <a:gd name="connsiteX19173" fmla="*/ 3813383 w 8079933"/>
              <a:gd name="connsiteY19173" fmla="*/ 1507018 h 4687251"/>
              <a:gd name="connsiteX19174" fmla="*/ 3809802 w 8079933"/>
              <a:gd name="connsiteY19174" fmla="*/ 1507234 h 4687251"/>
              <a:gd name="connsiteX19175" fmla="*/ 3808283 w 8079933"/>
              <a:gd name="connsiteY19175" fmla="*/ 1506259 h 4687251"/>
              <a:gd name="connsiteX19176" fmla="*/ 3810019 w 8079933"/>
              <a:gd name="connsiteY19176" fmla="*/ 1504311 h 4687251"/>
              <a:gd name="connsiteX19177" fmla="*/ 3814251 w 8079933"/>
              <a:gd name="connsiteY19177" fmla="*/ 1504202 h 4687251"/>
              <a:gd name="connsiteX19178" fmla="*/ 3816313 w 8079933"/>
              <a:gd name="connsiteY19178" fmla="*/ 1502686 h 4687251"/>
              <a:gd name="connsiteX19179" fmla="*/ 3817289 w 8079933"/>
              <a:gd name="connsiteY19179" fmla="*/ 1500846 h 4687251"/>
              <a:gd name="connsiteX19180" fmla="*/ 3815553 w 8079933"/>
              <a:gd name="connsiteY19180" fmla="*/ 1499655 h 4687251"/>
              <a:gd name="connsiteX19181" fmla="*/ 3816313 w 8079933"/>
              <a:gd name="connsiteY19181" fmla="*/ 1496840 h 4687251"/>
              <a:gd name="connsiteX19182" fmla="*/ 3820653 w 8079933"/>
              <a:gd name="connsiteY19182" fmla="*/ 1498464 h 4687251"/>
              <a:gd name="connsiteX19183" fmla="*/ 3820002 w 8079933"/>
              <a:gd name="connsiteY19183" fmla="*/ 1496516 h 4687251"/>
              <a:gd name="connsiteX19184" fmla="*/ 3817398 w 8079933"/>
              <a:gd name="connsiteY19184" fmla="*/ 1495541 h 4687251"/>
              <a:gd name="connsiteX19185" fmla="*/ 3818917 w 8079933"/>
              <a:gd name="connsiteY19185" fmla="*/ 1493375 h 4687251"/>
              <a:gd name="connsiteX19186" fmla="*/ 3821087 w 8079933"/>
              <a:gd name="connsiteY19186" fmla="*/ 1493051 h 4687251"/>
              <a:gd name="connsiteX19187" fmla="*/ 3819569 w 8079933"/>
              <a:gd name="connsiteY19187" fmla="*/ 1491968 h 4687251"/>
              <a:gd name="connsiteX19188" fmla="*/ 3820437 w 8079933"/>
              <a:gd name="connsiteY19188" fmla="*/ 1489369 h 4687251"/>
              <a:gd name="connsiteX19189" fmla="*/ 3821522 w 8079933"/>
              <a:gd name="connsiteY19189" fmla="*/ 1488612 h 4687251"/>
              <a:gd name="connsiteX19190" fmla="*/ 3824344 w 8079933"/>
              <a:gd name="connsiteY19190" fmla="*/ 1489802 h 4687251"/>
              <a:gd name="connsiteX19191" fmla="*/ 3822824 w 8079933"/>
              <a:gd name="connsiteY19191" fmla="*/ 1487853 h 4687251"/>
              <a:gd name="connsiteX19192" fmla="*/ 3823692 w 8079933"/>
              <a:gd name="connsiteY19192" fmla="*/ 1486879 h 4687251"/>
              <a:gd name="connsiteX19193" fmla="*/ 3819894 w 8079933"/>
              <a:gd name="connsiteY19193" fmla="*/ 1488287 h 4687251"/>
              <a:gd name="connsiteX19194" fmla="*/ 3818592 w 8079933"/>
              <a:gd name="connsiteY19194" fmla="*/ 1487529 h 4687251"/>
              <a:gd name="connsiteX19195" fmla="*/ 3819026 w 8079933"/>
              <a:gd name="connsiteY19195" fmla="*/ 1486446 h 4687251"/>
              <a:gd name="connsiteX19196" fmla="*/ 3822932 w 8079933"/>
              <a:gd name="connsiteY19196" fmla="*/ 1484498 h 4687251"/>
              <a:gd name="connsiteX19197" fmla="*/ 3816964 w 8079933"/>
              <a:gd name="connsiteY19197" fmla="*/ 1485472 h 4687251"/>
              <a:gd name="connsiteX19198" fmla="*/ 3817072 w 8079933"/>
              <a:gd name="connsiteY19198" fmla="*/ 1483739 h 4687251"/>
              <a:gd name="connsiteX19199" fmla="*/ 3816313 w 8079933"/>
              <a:gd name="connsiteY19199" fmla="*/ 1478434 h 4687251"/>
              <a:gd name="connsiteX19200" fmla="*/ 3819569 w 8079933"/>
              <a:gd name="connsiteY19200" fmla="*/ 1480275 h 4687251"/>
              <a:gd name="connsiteX19201" fmla="*/ 3822824 w 8079933"/>
              <a:gd name="connsiteY19201" fmla="*/ 1479084 h 4687251"/>
              <a:gd name="connsiteX19202" fmla="*/ 3820111 w 8079933"/>
              <a:gd name="connsiteY19202" fmla="*/ 1478976 h 4687251"/>
              <a:gd name="connsiteX19203" fmla="*/ 3817289 w 8079933"/>
              <a:gd name="connsiteY19203" fmla="*/ 1475835 h 4687251"/>
              <a:gd name="connsiteX19204" fmla="*/ 3818700 w 8079933"/>
              <a:gd name="connsiteY19204" fmla="*/ 1473887 h 4687251"/>
              <a:gd name="connsiteX19205" fmla="*/ 3816856 w 8079933"/>
              <a:gd name="connsiteY19205" fmla="*/ 1471829 h 4687251"/>
              <a:gd name="connsiteX19206" fmla="*/ 3818484 w 8079933"/>
              <a:gd name="connsiteY19206" fmla="*/ 1468149 h 4687251"/>
              <a:gd name="connsiteX19207" fmla="*/ 3820328 w 8079933"/>
              <a:gd name="connsiteY19207" fmla="*/ 1471721 h 4687251"/>
              <a:gd name="connsiteX19208" fmla="*/ 3821413 w 8079933"/>
              <a:gd name="connsiteY19208" fmla="*/ 1469989 h 4687251"/>
              <a:gd name="connsiteX19209" fmla="*/ 3820545 w 8079933"/>
              <a:gd name="connsiteY19209" fmla="*/ 1467824 h 4687251"/>
              <a:gd name="connsiteX19210" fmla="*/ 3820653 w 8079933"/>
              <a:gd name="connsiteY19210" fmla="*/ 1466200 h 4687251"/>
              <a:gd name="connsiteX19211" fmla="*/ 3824126 w 8079933"/>
              <a:gd name="connsiteY19211" fmla="*/ 1468473 h 4687251"/>
              <a:gd name="connsiteX19212" fmla="*/ 3825862 w 8079933"/>
              <a:gd name="connsiteY19212" fmla="*/ 1466957 h 4687251"/>
              <a:gd name="connsiteX19213" fmla="*/ 3830529 w 8079933"/>
              <a:gd name="connsiteY19213" fmla="*/ 1469339 h 4687251"/>
              <a:gd name="connsiteX19214" fmla="*/ 3828901 w 8079933"/>
              <a:gd name="connsiteY19214" fmla="*/ 1466416 h 4687251"/>
              <a:gd name="connsiteX19215" fmla="*/ 3824344 w 8079933"/>
              <a:gd name="connsiteY19215" fmla="*/ 1462302 h 4687251"/>
              <a:gd name="connsiteX19216" fmla="*/ 3826188 w 8079933"/>
              <a:gd name="connsiteY19216" fmla="*/ 1462194 h 4687251"/>
              <a:gd name="connsiteX19217" fmla="*/ 3827816 w 8079933"/>
              <a:gd name="connsiteY19217" fmla="*/ 1458945 h 4687251"/>
              <a:gd name="connsiteX19218" fmla="*/ 3825971 w 8079933"/>
              <a:gd name="connsiteY19218" fmla="*/ 1455806 h 4687251"/>
              <a:gd name="connsiteX19219" fmla="*/ 3829878 w 8079933"/>
              <a:gd name="connsiteY19219" fmla="*/ 1454939 h 4687251"/>
              <a:gd name="connsiteX19220" fmla="*/ 3829661 w 8079933"/>
              <a:gd name="connsiteY19220" fmla="*/ 1451150 h 4687251"/>
              <a:gd name="connsiteX19221" fmla="*/ 3830746 w 8079933"/>
              <a:gd name="connsiteY19221" fmla="*/ 1451150 h 4687251"/>
              <a:gd name="connsiteX19222" fmla="*/ 3830203 w 8079933"/>
              <a:gd name="connsiteY19222" fmla="*/ 1448119 h 4687251"/>
              <a:gd name="connsiteX19223" fmla="*/ 3832048 w 8079933"/>
              <a:gd name="connsiteY19223" fmla="*/ 1446711 h 4687251"/>
              <a:gd name="connsiteX19224" fmla="*/ 3832916 w 8079933"/>
              <a:gd name="connsiteY19224" fmla="*/ 1443354 h 4687251"/>
              <a:gd name="connsiteX19225" fmla="*/ 3838234 w 8079933"/>
              <a:gd name="connsiteY19225" fmla="*/ 1445845 h 4687251"/>
              <a:gd name="connsiteX19226" fmla="*/ 3837039 w 8079933"/>
              <a:gd name="connsiteY19226" fmla="*/ 1448876 h 4687251"/>
              <a:gd name="connsiteX19227" fmla="*/ 3840946 w 8079933"/>
              <a:gd name="connsiteY19227" fmla="*/ 1445411 h 4687251"/>
              <a:gd name="connsiteX19228" fmla="*/ 3842900 w 8079933"/>
              <a:gd name="connsiteY19228" fmla="*/ 1446278 h 4687251"/>
              <a:gd name="connsiteX19229" fmla="*/ 3842465 w 8079933"/>
              <a:gd name="connsiteY19229" fmla="*/ 1448335 h 4687251"/>
              <a:gd name="connsiteX19230" fmla="*/ 3844527 w 8079933"/>
              <a:gd name="connsiteY19230" fmla="*/ 1446494 h 4687251"/>
              <a:gd name="connsiteX19231" fmla="*/ 3846480 w 8079933"/>
              <a:gd name="connsiteY19231" fmla="*/ 1446386 h 4687251"/>
              <a:gd name="connsiteX19232" fmla="*/ 3850062 w 8079933"/>
              <a:gd name="connsiteY19232" fmla="*/ 1444978 h 4687251"/>
              <a:gd name="connsiteX19233" fmla="*/ 3854186 w 8079933"/>
              <a:gd name="connsiteY19233" fmla="*/ 1445411 h 4687251"/>
              <a:gd name="connsiteX19234" fmla="*/ 3858634 w 8079933"/>
              <a:gd name="connsiteY19234" fmla="*/ 1443354 h 4687251"/>
              <a:gd name="connsiteX19235" fmla="*/ 3861673 w 8079933"/>
              <a:gd name="connsiteY19235" fmla="*/ 1444329 h 4687251"/>
              <a:gd name="connsiteX19236" fmla="*/ 6670155 w 8079933"/>
              <a:gd name="connsiteY19236" fmla="*/ 1441445 h 4687251"/>
              <a:gd name="connsiteX19237" fmla="*/ 6671494 w 8079933"/>
              <a:gd name="connsiteY19237" fmla="*/ 1443354 h 4687251"/>
              <a:gd name="connsiteX19238" fmla="*/ 6670843 w 8079933"/>
              <a:gd name="connsiteY19238" fmla="*/ 1445844 h 4687251"/>
              <a:gd name="connsiteX19239" fmla="*/ 6671602 w 8079933"/>
              <a:gd name="connsiteY19239" fmla="*/ 1448334 h 4687251"/>
              <a:gd name="connsiteX19240" fmla="*/ 6672150 w 8079933"/>
              <a:gd name="connsiteY19240" fmla="*/ 1448334 h 4687251"/>
              <a:gd name="connsiteX19241" fmla="*/ 6671494 w 8079933"/>
              <a:gd name="connsiteY19241" fmla="*/ 1446279 h 4687251"/>
              <a:gd name="connsiteX19242" fmla="*/ 6672146 w 8079933"/>
              <a:gd name="connsiteY19242" fmla="*/ 1443789 h 4687251"/>
              <a:gd name="connsiteX19243" fmla="*/ 6670627 w 8079933"/>
              <a:gd name="connsiteY19243" fmla="*/ 1441623 h 4687251"/>
              <a:gd name="connsiteX19244" fmla="*/ 4328947 w 8079933"/>
              <a:gd name="connsiteY19244" fmla="*/ 1441082 h 4687251"/>
              <a:gd name="connsiteX19245" fmla="*/ 4331442 w 8079933"/>
              <a:gd name="connsiteY19245" fmla="*/ 1443139 h 4687251"/>
              <a:gd name="connsiteX19246" fmla="*/ 4328947 w 8079933"/>
              <a:gd name="connsiteY19246" fmla="*/ 1446278 h 4687251"/>
              <a:gd name="connsiteX19247" fmla="*/ 4326885 w 8079933"/>
              <a:gd name="connsiteY19247" fmla="*/ 1442381 h 4687251"/>
              <a:gd name="connsiteX19248" fmla="*/ 2262029 w 8079933"/>
              <a:gd name="connsiteY19248" fmla="*/ 1440431 h 4687251"/>
              <a:gd name="connsiteX19249" fmla="*/ 2255626 w 8079933"/>
              <a:gd name="connsiteY19249" fmla="*/ 1446927 h 4687251"/>
              <a:gd name="connsiteX19250" fmla="*/ 2255554 w 8079933"/>
              <a:gd name="connsiteY19250" fmla="*/ 1447325 h 4687251"/>
              <a:gd name="connsiteX19251" fmla="*/ 2261773 w 8079933"/>
              <a:gd name="connsiteY19251" fmla="*/ 1441014 h 4687251"/>
              <a:gd name="connsiteX19252" fmla="*/ 2272122 w 8079933"/>
              <a:gd name="connsiteY19252" fmla="*/ 1440216 h 4687251"/>
              <a:gd name="connsiteX19253" fmla="*/ 2273532 w 8079933"/>
              <a:gd name="connsiteY19253" fmla="*/ 1440216 h 4687251"/>
              <a:gd name="connsiteX19254" fmla="*/ 2273532 w 8079933"/>
              <a:gd name="connsiteY19254" fmla="*/ 1445846 h 4687251"/>
              <a:gd name="connsiteX19255" fmla="*/ 2269735 w 8079933"/>
              <a:gd name="connsiteY19255" fmla="*/ 1447904 h 4687251"/>
              <a:gd name="connsiteX19256" fmla="*/ 2267890 w 8079933"/>
              <a:gd name="connsiteY19256" fmla="*/ 1447904 h 4687251"/>
              <a:gd name="connsiteX19257" fmla="*/ 2271037 w 8079933"/>
              <a:gd name="connsiteY19257" fmla="*/ 1443897 h 4687251"/>
              <a:gd name="connsiteX19258" fmla="*/ 6662596 w 8079933"/>
              <a:gd name="connsiteY19258" fmla="*/ 1437726 h 4687251"/>
              <a:gd name="connsiteX19259" fmla="*/ 6662286 w 8079933"/>
              <a:gd name="connsiteY19259" fmla="*/ 1437880 h 4687251"/>
              <a:gd name="connsiteX19260" fmla="*/ 6664441 w 8079933"/>
              <a:gd name="connsiteY19260" fmla="*/ 1440322 h 4687251"/>
              <a:gd name="connsiteX19261" fmla="*/ 6664931 w 8079933"/>
              <a:gd name="connsiteY19261" fmla="*/ 1440258 h 4687251"/>
              <a:gd name="connsiteX19262" fmla="*/ 6655326 w 8079933"/>
              <a:gd name="connsiteY19262" fmla="*/ 1437726 h 4687251"/>
              <a:gd name="connsiteX19263" fmla="*/ 6655316 w 8079933"/>
              <a:gd name="connsiteY19263" fmla="*/ 1437732 h 4687251"/>
              <a:gd name="connsiteX19264" fmla="*/ 6656844 w 8079933"/>
              <a:gd name="connsiteY19264" fmla="*/ 1438374 h 4687251"/>
              <a:gd name="connsiteX19265" fmla="*/ 6656869 w 8079933"/>
              <a:gd name="connsiteY19265" fmla="*/ 1438374 h 4687251"/>
              <a:gd name="connsiteX19266" fmla="*/ 7377287 w 8079933"/>
              <a:gd name="connsiteY19266" fmla="*/ 1436859 h 4687251"/>
              <a:gd name="connsiteX19267" fmla="*/ 7384883 w 8079933"/>
              <a:gd name="connsiteY19267" fmla="*/ 1443463 h 4687251"/>
              <a:gd name="connsiteX19268" fmla="*/ 7386294 w 8079933"/>
              <a:gd name="connsiteY19268" fmla="*/ 1448119 h 4687251"/>
              <a:gd name="connsiteX19269" fmla="*/ 7383689 w 8079933"/>
              <a:gd name="connsiteY19269" fmla="*/ 1450501 h 4687251"/>
              <a:gd name="connsiteX19270" fmla="*/ 7382929 w 8079933"/>
              <a:gd name="connsiteY19270" fmla="*/ 1454291 h 4687251"/>
              <a:gd name="connsiteX19271" fmla="*/ 7383255 w 8079933"/>
              <a:gd name="connsiteY19271" fmla="*/ 1459271 h 4687251"/>
              <a:gd name="connsiteX19272" fmla="*/ 7380434 w 8079933"/>
              <a:gd name="connsiteY19272" fmla="*/ 1463601 h 4687251"/>
              <a:gd name="connsiteX19273" fmla="*/ 7376527 w 8079933"/>
              <a:gd name="connsiteY19273" fmla="*/ 1465550 h 4687251"/>
              <a:gd name="connsiteX19274" fmla="*/ 7375876 w 8079933"/>
              <a:gd name="connsiteY19274" fmla="*/ 1469340 h 4687251"/>
              <a:gd name="connsiteX19275" fmla="*/ 7375767 w 8079933"/>
              <a:gd name="connsiteY19275" fmla="*/ 1474754 h 4687251"/>
              <a:gd name="connsiteX19276" fmla="*/ 7374031 w 8079933"/>
              <a:gd name="connsiteY19276" fmla="*/ 1474536 h 4687251"/>
              <a:gd name="connsiteX19277" fmla="*/ 7372513 w 8079933"/>
              <a:gd name="connsiteY19277" fmla="*/ 1472046 h 4687251"/>
              <a:gd name="connsiteX19278" fmla="*/ 7368171 w 8079933"/>
              <a:gd name="connsiteY19278" fmla="*/ 1472263 h 4687251"/>
              <a:gd name="connsiteX19279" fmla="*/ 7367086 w 8079933"/>
              <a:gd name="connsiteY19279" fmla="*/ 1470748 h 4687251"/>
              <a:gd name="connsiteX19280" fmla="*/ 7369799 w 8079933"/>
              <a:gd name="connsiteY19280" fmla="*/ 1469232 h 4687251"/>
              <a:gd name="connsiteX19281" fmla="*/ 7369799 w 8079933"/>
              <a:gd name="connsiteY19281" fmla="*/ 1465550 h 4687251"/>
              <a:gd name="connsiteX19282" fmla="*/ 7366218 w 8079933"/>
              <a:gd name="connsiteY19282" fmla="*/ 1461328 h 4687251"/>
              <a:gd name="connsiteX19283" fmla="*/ 7366652 w 8079933"/>
              <a:gd name="connsiteY19283" fmla="*/ 1460028 h 4687251"/>
              <a:gd name="connsiteX19284" fmla="*/ 7369582 w 8079933"/>
              <a:gd name="connsiteY19284" fmla="*/ 1459704 h 4687251"/>
              <a:gd name="connsiteX19285" fmla="*/ 7372295 w 8079933"/>
              <a:gd name="connsiteY19285" fmla="*/ 1455265 h 4687251"/>
              <a:gd name="connsiteX19286" fmla="*/ 7376310 w 8079933"/>
              <a:gd name="connsiteY19286" fmla="*/ 1453749 h 4687251"/>
              <a:gd name="connsiteX19287" fmla="*/ 7376853 w 8079933"/>
              <a:gd name="connsiteY19287" fmla="*/ 1448985 h 4687251"/>
              <a:gd name="connsiteX19288" fmla="*/ 7376202 w 8079933"/>
              <a:gd name="connsiteY19288" fmla="*/ 1440648 h 4687251"/>
              <a:gd name="connsiteX19289" fmla="*/ 4396443 w 8079933"/>
              <a:gd name="connsiteY19289" fmla="*/ 1434260 h 4687251"/>
              <a:gd name="connsiteX19290" fmla="*/ 4398504 w 8079933"/>
              <a:gd name="connsiteY19290" fmla="*/ 1435343 h 4687251"/>
              <a:gd name="connsiteX19291" fmla="*/ 4405775 w 8079933"/>
              <a:gd name="connsiteY19291" fmla="*/ 1435992 h 4687251"/>
              <a:gd name="connsiteX19292" fmla="*/ 4409465 w 8079933"/>
              <a:gd name="connsiteY19292" fmla="*/ 1438699 h 4687251"/>
              <a:gd name="connsiteX19293" fmla="*/ 4411744 w 8079933"/>
              <a:gd name="connsiteY19293" fmla="*/ 1440107 h 4687251"/>
              <a:gd name="connsiteX19294" fmla="*/ 4412829 w 8079933"/>
              <a:gd name="connsiteY19294" fmla="*/ 1441514 h 4687251"/>
              <a:gd name="connsiteX19295" fmla="*/ 4411635 w 8079933"/>
              <a:gd name="connsiteY19295" fmla="*/ 1442164 h 4687251"/>
              <a:gd name="connsiteX19296" fmla="*/ 4408488 w 8079933"/>
              <a:gd name="connsiteY19296" fmla="*/ 1441514 h 4687251"/>
              <a:gd name="connsiteX19297" fmla="*/ 4405775 w 8079933"/>
              <a:gd name="connsiteY19297" fmla="*/ 1445629 h 4687251"/>
              <a:gd name="connsiteX19298" fmla="*/ 4402737 w 8079933"/>
              <a:gd name="connsiteY19298" fmla="*/ 1449093 h 4687251"/>
              <a:gd name="connsiteX19299" fmla="*/ 4396226 w 8079933"/>
              <a:gd name="connsiteY19299" fmla="*/ 1450393 h 4687251"/>
              <a:gd name="connsiteX19300" fmla="*/ 4392970 w 8079933"/>
              <a:gd name="connsiteY19300" fmla="*/ 1456780 h 4687251"/>
              <a:gd name="connsiteX19301" fmla="*/ 4393078 w 8079933"/>
              <a:gd name="connsiteY19301" fmla="*/ 1459271 h 4687251"/>
              <a:gd name="connsiteX19302" fmla="*/ 4389388 w 8079933"/>
              <a:gd name="connsiteY19302" fmla="*/ 1462303 h 4687251"/>
              <a:gd name="connsiteX19303" fmla="*/ 4387435 w 8079933"/>
              <a:gd name="connsiteY19303" fmla="*/ 1461870 h 4687251"/>
              <a:gd name="connsiteX19304" fmla="*/ 4389280 w 8079933"/>
              <a:gd name="connsiteY19304" fmla="*/ 1455915 h 4687251"/>
              <a:gd name="connsiteX19305" fmla="*/ 4391233 w 8079933"/>
              <a:gd name="connsiteY19305" fmla="*/ 1456131 h 4687251"/>
              <a:gd name="connsiteX19306" fmla="*/ 4392536 w 8079933"/>
              <a:gd name="connsiteY19306" fmla="*/ 1452558 h 4687251"/>
              <a:gd name="connsiteX19307" fmla="*/ 4388846 w 8079933"/>
              <a:gd name="connsiteY19307" fmla="*/ 1448985 h 4687251"/>
              <a:gd name="connsiteX19308" fmla="*/ 4385157 w 8079933"/>
              <a:gd name="connsiteY19308" fmla="*/ 1448011 h 4687251"/>
              <a:gd name="connsiteX19309" fmla="*/ 4385157 w 8079933"/>
              <a:gd name="connsiteY19309" fmla="*/ 1445303 h 4687251"/>
              <a:gd name="connsiteX19310" fmla="*/ 4387544 w 8079933"/>
              <a:gd name="connsiteY19310" fmla="*/ 1443572 h 4687251"/>
              <a:gd name="connsiteX19311" fmla="*/ 4387544 w 8079933"/>
              <a:gd name="connsiteY19311" fmla="*/ 1441189 h 4687251"/>
              <a:gd name="connsiteX19312" fmla="*/ 4384397 w 8079933"/>
              <a:gd name="connsiteY19312" fmla="*/ 1440215 h 4687251"/>
              <a:gd name="connsiteX19313" fmla="*/ 4386784 w 8079933"/>
              <a:gd name="connsiteY19313" fmla="*/ 1439240 h 4687251"/>
              <a:gd name="connsiteX19314" fmla="*/ 4386675 w 8079933"/>
              <a:gd name="connsiteY19314" fmla="*/ 1437291 h 4687251"/>
              <a:gd name="connsiteX19315" fmla="*/ 4389172 w 8079933"/>
              <a:gd name="connsiteY19315" fmla="*/ 1438050 h 4687251"/>
              <a:gd name="connsiteX19316" fmla="*/ 4390365 w 8079933"/>
              <a:gd name="connsiteY19316" fmla="*/ 1440431 h 4687251"/>
              <a:gd name="connsiteX19317" fmla="*/ 4392645 w 8079933"/>
              <a:gd name="connsiteY19317" fmla="*/ 1437617 h 4687251"/>
              <a:gd name="connsiteX19318" fmla="*/ 4394163 w 8079933"/>
              <a:gd name="connsiteY19318" fmla="*/ 1437075 h 4687251"/>
              <a:gd name="connsiteX19319" fmla="*/ 3863627 w 8079933"/>
              <a:gd name="connsiteY19319" fmla="*/ 1433827 h 4687251"/>
              <a:gd name="connsiteX19320" fmla="*/ 3865254 w 8079933"/>
              <a:gd name="connsiteY19320" fmla="*/ 1436209 h 4687251"/>
              <a:gd name="connsiteX19321" fmla="*/ 3864169 w 8079933"/>
              <a:gd name="connsiteY19321" fmla="*/ 1438374 h 4687251"/>
              <a:gd name="connsiteX19322" fmla="*/ 3861565 w 8079933"/>
              <a:gd name="connsiteY19322" fmla="*/ 1434260 h 4687251"/>
              <a:gd name="connsiteX19323" fmla="*/ 7363613 w 8079933"/>
              <a:gd name="connsiteY19323" fmla="*/ 1432961 h 4687251"/>
              <a:gd name="connsiteX19324" fmla="*/ 7368171 w 8079933"/>
              <a:gd name="connsiteY19324" fmla="*/ 1436750 h 4687251"/>
              <a:gd name="connsiteX19325" fmla="*/ 7367302 w 8079933"/>
              <a:gd name="connsiteY19325" fmla="*/ 1439998 h 4687251"/>
              <a:gd name="connsiteX19326" fmla="*/ 7362528 w 8079933"/>
              <a:gd name="connsiteY19326" fmla="*/ 1440324 h 4687251"/>
              <a:gd name="connsiteX19327" fmla="*/ 7360467 w 8079933"/>
              <a:gd name="connsiteY19327" fmla="*/ 1438483 h 4687251"/>
              <a:gd name="connsiteX19328" fmla="*/ 7360792 w 8079933"/>
              <a:gd name="connsiteY19328" fmla="*/ 1434693 h 4687251"/>
              <a:gd name="connsiteX19329" fmla="*/ 1141377 w 8079933"/>
              <a:gd name="connsiteY19329" fmla="*/ 1432853 h 4687251"/>
              <a:gd name="connsiteX19330" fmla="*/ 1146803 w 8079933"/>
              <a:gd name="connsiteY19330" fmla="*/ 1435777 h 4687251"/>
              <a:gd name="connsiteX19331" fmla="*/ 1145935 w 8079933"/>
              <a:gd name="connsiteY19331" fmla="*/ 1446928 h 4687251"/>
              <a:gd name="connsiteX19332" fmla="*/ 1141052 w 8079933"/>
              <a:gd name="connsiteY19332" fmla="*/ 1452125 h 4687251"/>
              <a:gd name="connsiteX19333" fmla="*/ 1140401 w 8079933"/>
              <a:gd name="connsiteY19333" fmla="*/ 1447578 h 4687251"/>
              <a:gd name="connsiteX19334" fmla="*/ 1142788 w 8079933"/>
              <a:gd name="connsiteY19334" fmla="*/ 1442165 h 4687251"/>
              <a:gd name="connsiteX19335" fmla="*/ 1138122 w 8079933"/>
              <a:gd name="connsiteY19335" fmla="*/ 1446820 h 4687251"/>
              <a:gd name="connsiteX19336" fmla="*/ 1134541 w 8079933"/>
              <a:gd name="connsiteY19336" fmla="*/ 1446062 h 4687251"/>
              <a:gd name="connsiteX19337" fmla="*/ 1134323 w 8079933"/>
              <a:gd name="connsiteY19337" fmla="*/ 1442489 h 4687251"/>
              <a:gd name="connsiteX19338" fmla="*/ 1135518 w 8079933"/>
              <a:gd name="connsiteY19338" fmla="*/ 1439349 h 4687251"/>
              <a:gd name="connsiteX19339" fmla="*/ 1131828 w 8079933"/>
              <a:gd name="connsiteY19339" fmla="*/ 1438700 h 4687251"/>
              <a:gd name="connsiteX19340" fmla="*/ 1136603 w 8079933"/>
              <a:gd name="connsiteY19340" fmla="*/ 1434044 h 4687251"/>
              <a:gd name="connsiteX19341" fmla="*/ 4408380 w 8079933"/>
              <a:gd name="connsiteY19341" fmla="*/ 1431877 h 4687251"/>
              <a:gd name="connsiteX19342" fmla="*/ 4414565 w 8079933"/>
              <a:gd name="connsiteY19342" fmla="*/ 1432093 h 4687251"/>
              <a:gd name="connsiteX19343" fmla="*/ 4416627 w 8079933"/>
              <a:gd name="connsiteY19343" fmla="*/ 1437290 h 4687251"/>
              <a:gd name="connsiteX19344" fmla="*/ 4414131 w 8079933"/>
              <a:gd name="connsiteY19344" fmla="*/ 1438914 h 4687251"/>
              <a:gd name="connsiteX19345" fmla="*/ 4408597 w 8079933"/>
              <a:gd name="connsiteY19345" fmla="*/ 1434692 h 4687251"/>
              <a:gd name="connsiteX19346" fmla="*/ 2254107 w 8079933"/>
              <a:gd name="connsiteY19346" fmla="*/ 1431877 h 4687251"/>
              <a:gd name="connsiteX19347" fmla="*/ 2251286 w 8079933"/>
              <a:gd name="connsiteY19347" fmla="*/ 1437399 h 4687251"/>
              <a:gd name="connsiteX19348" fmla="*/ 2245101 w 8079933"/>
              <a:gd name="connsiteY19348" fmla="*/ 1441513 h 4687251"/>
              <a:gd name="connsiteX19349" fmla="*/ 2241302 w 8079933"/>
              <a:gd name="connsiteY19349" fmla="*/ 1442920 h 4687251"/>
              <a:gd name="connsiteX19350" fmla="*/ 2240109 w 8079933"/>
              <a:gd name="connsiteY19350" fmla="*/ 1442054 h 4687251"/>
              <a:gd name="connsiteX19351" fmla="*/ 2242279 w 8079933"/>
              <a:gd name="connsiteY19351" fmla="*/ 1437182 h 4687251"/>
              <a:gd name="connsiteX19352" fmla="*/ 2245534 w 8079933"/>
              <a:gd name="connsiteY19352" fmla="*/ 1437073 h 4687251"/>
              <a:gd name="connsiteX19353" fmla="*/ 2246945 w 8079933"/>
              <a:gd name="connsiteY19353" fmla="*/ 1435666 h 4687251"/>
              <a:gd name="connsiteX19354" fmla="*/ 2248573 w 8079933"/>
              <a:gd name="connsiteY19354" fmla="*/ 1435666 h 4687251"/>
              <a:gd name="connsiteX19355" fmla="*/ 2251937 w 8079933"/>
              <a:gd name="connsiteY19355" fmla="*/ 1433609 h 4687251"/>
              <a:gd name="connsiteX19356" fmla="*/ 7386185 w 8079933"/>
              <a:gd name="connsiteY19356" fmla="*/ 1431661 h 4687251"/>
              <a:gd name="connsiteX19357" fmla="*/ 7388789 w 8079933"/>
              <a:gd name="connsiteY19357" fmla="*/ 1434585 h 4687251"/>
              <a:gd name="connsiteX19358" fmla="*/ 7389766 w 8079933"/>
              <a:gd name="connsiteY19358" fmla="*/ 1438699 h 4687251"/>
              <a:gd name="connsiteX19359" fmla="*/ 7387813 w 8079933"/>
              <a:gd name="connsiteY19359" fmla="*/ 1440973 h 4687251"/>
              <a:gd name="connsiteX19360" fmla="*/ 7385859 w 8079933"/>
              <a:gd name="connsiteY19360" fmla="*/ 1440973 h 4687251"/>
              <a:gd name="connsiteX19361" fmla="*/ 7382821 w 8079933"/>
              <a:gd name="connsiteY19361" fmla="*/ 1437291 h 4687251"/>
              <a:gd name="connsiteX19362" fmla="*/ 7382821 w 8079933"/>
              <a:gd name="connsiteY19362" fmla="*/ 1434259 h 4687251"/>
              <a:gd name="connsiteX19363" fmla="*/ 2263765 w 8079933"/>
              <a:gd name="connsiteY19363" fmla="*/ 1430687 h 4687251"/>
              <a:gd name="connsiteX19364" fmla="*/ 2267237 w 8079933"/>
              <a:gd name="connsiteY19364" fmla="*/ 1432528 h 4687251"/>
              <a:gd name="connsiteX19365" fmla="*/ 2267237 w 8079933"/>
              <a:gd name="connsiteY19365" fmla="*/ 1435884 h 4687251"/>
              <a:gd name="connsiteX19366" fmla="*/ 2268648 w 8079933"/>
              <a:gd name="connsiteY19366" fmla="*/ 1435884 h 4687251"/>
              <a:gd name="connsiteX19367" fmla="*/ 2270601 w 8079933"/>
              <a:gd name="connsiteY19367" fmla="*/ 1438050 h 4687251"/>
              <a:gd name="connsiteX19368" fmla="*/ 2269842 w 8079933"/>
              <a:gd name="connsiteY19368" fmla="*/ 1443246 h 4687251"/>
              <a:gd name="connsiteX19369" fmla="*/ 2267888 w 8079933"/>
              <a:gd name="connsiteY19369" fmla="*/ 1444979 h 4687251"/>
              <a:gd name="connsiteX19370" fmla="*/ 2262571 w 8079933"/>
              <a:gd name="connsiteY19370" fmla="*/ 1451583 h 4687251"/>
              <a:gd name="connsiteX19371" fmla="*/ 2259858 w 8079933"/>
              <a:gd name="connsiteY19371" fmla="*/ 1453423 h 4687251"/>
              <a:gd name="connsiteX19372" fmla="*/ 2261377 w 8079933"/>
              <a:gd name="connsiteY19372" fmla="*/ 1449850 h 4687251"/>
              <a:gd name="connsiteX19373" fmla="*/ 2267563 w 8079933"/>
              <a:gd name="connsiteY19373" fmla="*/ 1442921 h 4687251"/>
              <a:gd name="connsiteX19374" fmla="*/ 2267563 w 8079933"/>
              <a:gd name="connsiteY19374" fmla="*/ 1439890 h 4687251"/>
              <a:gd name="connsiteX19375" fmla="*/ 2265935 w 8079933"/>
              <a:gd name="connsiteY19375" fmla="*/ 1439890 h 4687251"/>
              <a:gd name="connsiteX19376" fmla="*/ 2264741 w 8079933"/>
              <a:gd name="connsiteY19376" fmla="*/ 1443030 h 4687251"/>
              <a:gd name="connsiteX19377" fmla="*/ 2259207 w 8079933"/>
              <a:gd name="connsiteY19377" fmla="*/ 1450609 h 4687251"/>
              <a:gd name="connsiteX19378" fmla="*/ 2255626 w 8079933"/>
              <a:gd name="connsiteY19378" fmla="*/ 1455048 h 4687251"/>
              <a:gd name="connsiteX19379" fmla="*/ 2253130 w 8079933"/>
              <a:gd name="connsiteY19379" fmla="*/ 1455048 h 4687251"/>
              <a:gd name="connsiteX19380" fmla="*/ 2249983 w 8079933"/>
              <a:gd name="connsiteY19380" fmla="*/ 1456997 h 4687251"/>
              <a:gd name="connsiteX19381" fmla="*/ 2248464 w 8079933"/>
              <a:gd name="connsiteY19381" fmla="*/ 1456997 h 4687251"/>
              <a:gd name="connsiteX19382" fmla="*/ 2251611 w 8079933"/>
              <a:gd name="connsiteY19382" fmla="*/ 1452125 h 4687251"/>
              <a:gd name="connsiteX19383" fmla="*/ 2252805 w 8079933"/>
              <a:gd name="connsiteY19383" fmla="*/ 1449093 h 4687251"/>
              <a:gd name="connsiteX19384" fmla="*/ 2250417 w 8079933"/>
              <a:gd name="connsiteY19384" fmla="*/ 1449743 h 4687251"/>
              <a:gd name="connsiteX19385" fmla="*/ 2245752 w 8079933"/>
              <a:gd name="connsiteY19385" fmla="*/ 1456022 h 4687251"/>
              <a:gd name="connsiteX19386" fmla="*/ 2244015 w 8079933"/>
              <a:gd name="connsiteY19386" fmla="*/ 1456022 h 4687251"/>
              <a:gd name="connsiteX19387" fmla="*/ 2242930 w 8079933"/>
              <a:gd name="connsiteY19387" fmla="*/ 1453099 h 4687251"/>
              <a:gd name="connsiteX19388" fmla="*/ 2246402 w 8079933"/>
              <a:gd name="connsiteY19388" fmla="*/ 1448876 h 4687251"/>
              <a:gd name="connsiteX19389" fmla="*/ 2247053 w 8079933"/>
              <a:gd name="connsiteY19389" fmla="*/ 1446386 h 4687251"/>
              <a:gd name="connsiteX19390" fmla="*/ 2252371 w 8079933"/>
              <a:gd name="connsiteY19390" fmla="*/ 1441189 h 4687251"/>
              <a:gd name="connsiteX19391" fmla="*/ 2255192 w 8079933"/>
              <a:gd name="connsiteY19391" fmla="*/ 1435559 h 4687251"/>
              <a:gd name="connsiteX19392" fmla="*/ 2258231 w 8079933"/>
              <a:gd name="connsiteY19392" fmla="*/ 1433285 h 4687251"/>
              <a:gd name="connsiteX19393" fmla="*/ 2259099 w 8079933"/>
              <a:gd name="connsiteY19393" fmla="*/ 1434693 h 4687251"/>
              <a:gd name="connsiteX19394" fmla="*/ 2257688 w 8079933"/>
              <a:gd name="connsiteY19394" fmla="*/ 1438807 h 4687251"/>
              <a:gd name="connsiteX19395" fmla="*/ 2253890 w 8079933"/>
              <a:gd name="connsiteY19395" fmla="*/ 1442272 h 4687251"/>
              <a:gd name="connsiteX19396" fmla="*/ 2253021 w 8079933"/>
              <a:gd name="connsiteY19396" fmla="*/ 1445411 h 4687251"/>
              <a:gd name="connsiteX19397" fmla="*/ 2256603 w 8079933"/>
              <a:gd name="connsiteY19397" fmla="*/ 1443030 h 4687251"/>
              <a:gd name="connsiteX19398" fmla="*/ 2260075 w 8079933"/>
              <a:gd name="connsiteY19398" fmla="*/ 1439673 h 4687251"/>
              <a:gd name="connsiteX19399" fmla="*/ 2262137 w 8079933"/>
              <a:gd name="connsiteY19399" fmla="*/ 1433069 h 4687251"/>
              <a:gd name="connsiteX19400" fmla="*/ 1128573 w 8079933"/>
              <a:gd name="connsiteY19400" fmla="*/ 1430255 h 4687251"/>
              <a:gd name="connsiteX19401" fmla="*/ 1131068 w 8079933"/>
              <a:gd name="connsiteY19401" fmla="*/ 1434152 h 4687251"/>
              <a:gd name="connsiteX19402" fmla="*/ 1128573 w 8079933"/>
              <a:gd name="connsiteY19402" fmla="*/ 1436318 h 4687251"/>
              <a:gd name="connsiteX19403" fmla="*/ 2266695 w 8079933"/>
              <a:gd name="connsiteY19403" fmla="*/ 1427547 h 4687251"/>
              <a:gd name="connsiteX19404" fmla="*/ 2267346 w 8079933"/>
              <a:gd name="connsiteY19404" fmla="*/ 1428846 h 4687251"/>
              <a:gd name="connsiteX19405" fmla="*/ 2266261 w 8079933"/>
              <a:gd name="connsiteY19405" fmla="*/ 1430037 h 4687251"/>
              <a:gd name="connsiteX19406" fmla="*/ 2265285 w 8079933"/>
              <a:gd name="connsiteY19406" fmla="*/ 1427872 h 4687251"/>
              <a:gd name="connsiteX19407" fmla="*/ 3865471 w 8079933"/>
              <a:gd name="connsiteY19407" fmla="*/ 1426140 h 4687251"/>
              <a:gd name="connsiteX19408" fmla="*/ 3868293 w 8079933"/>
              <a:gd name="connsiteY19408" fmla="*/ 1428846 h 4687251"/>
              <a:gd name="connsiteX19409" fmla="*/ 3866556 w 8079933"/>
              <a:gd name="connsiteY19409" fmla="*/ 1430904 h 4687251"/>
              <a:gd name="connsiteX19410" fmla="*/ 3871765 w 8079933"/>
              <a:gd name="connsiteY19410" fmla="*/ 1430362 h 4687251"/>
              <a:gd name="connsiteX19411" fmla="*/ 3871657 w 8079933"/>
              <a:gd name="connsiteY19411" fmla="*/ 1433936 h 4687251"/>
              <a:gd name="connsiteX19412" fmla="*/ 3869161 w 8079933"/>
              <a:gd name="connsiteY19412" fmla="*/ 1432420 h 4687251"/>
              <a:gd name="connsiteX19413" fmla="*/ 3864712 w 8079933"/>
              <a:gd name="connsiteY19413" fmla="*/ 1432961 h 4687251"/>
              <a:gd name="connsiteX19414" fmla="*/ 3864494 w 8079933"/>
              <a:gd name="connsiteY19414" fmla="*/ 1429605 h 4687251"/>
              <a:gd name="connsiteX19415" fmla="*/ 3863518 w 8079933"/>
              <a:gd name="connsiteY19415" fmla="*/ 1432420 h 4687251"/>
              <a:gd name="connsiteX19416" fmla="*/ 3861890 w 8079933"/>
              <a:gd name="connsiteY19416" fmla="*/ 1430687 h 4687251"/>
              <a:gd name="connsiteX19417" fmla="*/ 3861890 w 8079933"/>
              <a:gd name="connsiteY19417" fmla="*/ 1426356 h 4687251"/>
              <a:gd name="connsiteX19418" fmla="*/ 1134324 w 8079933"/>
              <a:gd name="connsiteY19418" fmla="*/ 1426140 h 4687251"/>
              <a:gd name="connsiteX19419" fmla="*/ 1136277 w 8079933"/>
              <a:gd name="connsiteY19419" fmla="*/ 1428846 h 4687251"/>
              <a:gd name="connsiteX19420" fmla="*/ 1135083 w 8079933"/>
              <a:gd name="connsiteY19420" fmla="*/ 1431662 h 4687251"/>
              <a:gd name="connsiteX19421" fmla="*/ 1131828 w 8079933"/>
              <a:gd name="connsiteY19421" fmla="*/ 1427980 h 4687251"/>
              <a:gd name="connsiteX19422" fmla="*/ 3869051 w 8079933"/>
              <a:gd name="connsiteY19422" fmla="*/ 1424299 h 4687251"/>
              <a:gd name="connsiteX19423" fmla="*/ 3868617 w 8079933"/>
              <a:gd name="connsiteY19423" fmla="*/ 1426681 h 4687251"/>
              <a:gd name="connsiteX19424" fmla="*/ 3866773 w 8079933"/>
              <a:gd name="connsiteY19424" fmla="*/ 1424624 h 4687251"/>
              <a:gd name="connsiteX19425" fmla="*/ 4045500 w 8079933"/>
              <a:gd name="connsiteY19425" fmla="*/ 1420402 h 4687251"/>
              <a:gd name="connsiteX19426" fmla="*/ 4048647 w 8079933"/>
              <a:gd name="connsiteY19426" fmla="*/ 1423541 h 4687251"/>
              <a:gd name="connsiteX19427" fmla="*/ 4044958 w 8079933"/>
              <a:gd name="connsiteY19427" fmla="*/ 1424841 h 4687251"/>
              <a:gd name="connsiteX19428" fmla="*/ 4412503 w 8079933"/>
              <a:gd name="connsiteY19428" fmla="*/ 1419427 h 4687251"/>
              <a:gd name="connsiteX19429" fmla="*/ 4413697 w 8079933"/>
              <a:gd name="connsiteY19429" fmla="*/ 1421809 h 4687251"/>
              <a:gd name="connsiteX19430" fmla="*/ 4409248 w 8079933"/>
              <a:gd name="connsiteY19430" fmla="*/ 1422459 h 4687251"/>
              <a:gd name="connsiteX19431" fmla="*/ 4408380 w 8079933"/>
              <a:gd name="connsiteY19431" fmla="*/ 1419752 h 4687251"/>
              <a:gd name="connsiteX19432" fmla="*/ 4397203 w 8079933"/>
              <a:gd name="connsiteY19432" fmla="*/ 1418886 h 4687251"/>
              <a:gd name="connsiteX19433" fmla="*/ 4399807 w 8079933"/>
              <a:gd name="connsiteY19433" fmla="*/ 1419319 h 4687251"/>
              <a:gd name="connsiteX19434" fmla="*/ 4402195 w 8079933"/>
              <a:gd name="connsiteY19434" fmla="*/ 1421592 h 4687251"/>
              <a:gd name="connsiteX19435" fmla="*/ 4406427 w 8079933"/>
              <a:gd name="connsiteY19435" fmla="*/ 1421917 h 4687251"/>
              <a:gd name="connsiteX19436" fmla="*/ 4408272 w 8079933"/>
              <a:gd name="connsiteY19436" fmla="*/ 1426573 h 4687251"/>
              <a:gd name="connsiteX19437" fmla="*/ 4405451 w 8079933"/>
              <a:gd name="connsiteY19437" fmla="*/ 1425599 h 4687251"/>
              <a:gd name="connsiteX19438" fmla="*/ 4401435 w 8079933"/>
              <a:gd name="connsiteY19438" fmla="*/ 1428306 h 4687251"/>
              <a:gd name="connsiteX19439" fmla="*/ 4399916 w 8079933"/>
              <a:gd name="connsiteY19439" fmla="*/ 1431013 h 4687251"/>
              <a:gd name="connsiteX19440" fmla="*/ 4396986 w 8079933"/>
              <a:gd name="connsiteY19440" fmla="*/ 1426249 h 4687251"/>
              <a:gd name="connsiteX19441" fmla="*/ 4392971 w 8079933"/>
              <a:gd name="connsiteY19441" fmla="*/ 1426573 h 4687251"/>
              <a:gd name="connsiteX19442" fmla="*/ 4388847 w 8079933"/>
              <a:gd name="connsiteY19442" fmla="*/ 1428414 h 4687251"/>
              <a:gd name="connsiteX19443" fmla="*/ 4387111 w 8079933"/>
              <a:gd name="connsiteY19443" fmla="*/ 1427115 h 4687251"/>
              <a:gd name="connsiteX19444" fmla="*/ 4394599 w 8079933"/>
              <a:gd name="connsiteY19444" fmla="*/ 1423541 h 4687251"/>
              <a:gd name="connsiteX19445" fmla="*/ 4396877 w 8079933"/>
              <a:gd name="connsiteY19445" fmla="*/ 1420618 h 4687251"/>
              <a:gd name="connsiteX19446" fmla="*/ 1147346 w 8079933"/>
              <a:gd name="connsiteY19446" fmla="*/ 1412064 h 4687251"/>
              <a:gd name="connsiteX19447" fmla="*/ 1149733 w 8079933"/>
              <a:gd name="connsiteY19447" fmla="*/ 1412389 h 4687251"/>
              <a:gd name="connsiteX19448" fmla="*/ 1148214 w 8079933"/>
              <a:gd name="connsiteY19448" fmla="*/ 1416286 h 4687251"/>
              <a:gd name="connsiteX19449" fmla="*/ 1143656 w 8079933"/>
              <a:gd name="connsiteY19449" fmla="*/ 1418018 h 4687251"/>
              <a:gd name="connsiteX19450" fmla="*/ 1140618 w 8079933"/>
              <a:gd name="connsiteY19450" fmla="*/ 1420400 h 4687251"/>
              <a:gd name="connsiteX19451" fmla="*/ 1142463 w 8079933"/>
              <a:gd name="connsiteY19451" fmla="*/ 1414770 h 4687251"/>
              <a:gd name="connsiteX19452" fmla="*/ 1111644 w 8079933"/>
              <a:gd name="connsiteY19452" fmla="*/ 1406759 h 4687251"/>
              <a:gd name="connsiteX19453" fmla="*/ 1121411 w 8079933"/>
              <a:gd name="connsiteY19453" fmla="*/ 1418236 h 4687251"/>
              <a:gd name="connsiteX19454" fmla="*/ 1124992 w 8079933"/>
              <a:gd name="connsiteY19454" fmla="*/ 1425057 h 4687251"/>
              <a:gd name="connsiteX19455" fmla="*/ 1122930 w 8079933"/>
              <a:gd name="connsiteY19455" fmla="*/ 1428955 h 4687251"/>
              <a:gd name="connsiteX19456" fmla="*/ 1119349 w 8079933"/>
              <a:gd name="connsiteY19456" fmla="*/ 1427439 h 4687251"/>
              <a:gd name="connsiteX19457" fmla="*/ 1119349 w 8079933"/>
              <a:gd name="connsiteY19457" fmla="*/ 1422133 h 4687251"/>
              <a:gd name="connsiteX19458" fmla="*/ 1112296 w 8079933"/>
              <a:gd name="connsiteY19458" fmla="*/ 1414337 h 4687251"/>
              <a:gd name="connsiteX19459" fmla="*/ 1110234 w 8079933"/>
              <a:gd name="connsiteY19459" fmla="*/ 1409682 h 4687251"/>
              <a:gd name="connsiteX19460" fmla="*/ 1111644 w 8079933"/>
              <a:gd name="connsiteY19460" fmla="*/ 1406759 h 4687251"/>
              <a:gd name="connsiteX19461" fmla="*/ 4310498 w 8079933"/>
              <a:gd name="connsiteY19461" fmla="*/ 1402645 h 4687251"/>
              <a:gd name="connsiteX19462" fmla="*/ 4316249 w 8079933"/>
              <a:gd name="connsiteY19462" fmla="*/ 1402645 h 4687251"/>
              <a:gd name="connsiteX19463" fmla="*/ 4316141 w 8079933"/>
              <a:gd name="connsiteY19463" fmla="*/ 1406543 h 4687251"/>
              <a:gd name="connsiteX19464" fmla="*/ 4311474 w 8079933"/>
              <a:gd name="connsiteY19464" fmla="*/ 1410657 h 4687251"/>
              <a:gd name="connsiteX19465" fmla="*/ 4311366 w 8079933"/>
              <a:gd name="connsiteY19465" fmla="*/ 1416505 h 4687251"/>
              <a:gd name="connsiteX19466" fmla="*/ 4309521 w 8079933"/>
              <a:gd name="connsiteY19466" fmla="*/ 1414989 h 4687251"/>
              <a:gd name="connsiteX19467" fmla="*/ 4305940 w 8079933"/>
              <a:gd name="connsiteY19467" fmla="*/ 1409358 h 4687251"/>
              <a:gd name="connsiteX19468" fmla="*/ 1122278 w 8079933"/>
              <a:gd name="connsiteY19468" fmla="*/ 1400155 h 4687251"/>
              <a:gd name="connsiteX19469" fmla="*/ 1124558 w 8079933"/>
              <a:gd name="connsiteY19469" fmla="*/ 1400804 h 4687251"/>
              <a:gd name="connsiteX19470" fmla="*/ 1126728 w 8079933"/>
              <a:gd name="connsiteY19470" fmla="*/ 1407192 h 4687251"/>
              <a:gd name="connsiteX19471" fmla="*/ 1131068 w 8079933"/>
              <a:gd name="connsiteY19471" fmla="*/ 1416504 h 4687251"/>
              <a:gd name="connsiteX19472" fmla="*/ 1130417 w 8079933"/>
              <a:gd name="connsiteY19472" fmla="*/ 1424083 h 4687251"/>
              <a:gd name="connsiteX19473" fmla="*/ 1125534 w 8079933"/>
              <a:gd name="connsiteY19473" fmla="*/ 1420077 h 4687251"/>
              <a:gd name="connsiteX19474" fmla="*/ 1124883 w 8079933"/>
              <a:gd name="connsiteY19474" fmla="*/ 1413363 h 4687251"/>
              <a:gd name="connsiteX19475" fmla="*/ 1121410 w 8079933"/>
              <a:gd name="connsiteY19475" fmla="*/ 1407734 h 4687251"/>
              <a:gd name="connsiteX19476" fmla="*/ 1120868 w 8079933"/>
              <a:gd name="connsiteY19476" fmla="*/ 1401779 h 4687251"/>
              <a:gd name="connsiteX19477" fmla="*/ 4174526 w 8079933"/>
              <a:gd name="connsiteY19477" fmla="*/ 1398530 h 4687251"/>
              <a:gd name="connsiteX19478" fmla="*/ 4171162 w 8079933"/>
              <a:gd name="connsiteY19478" fmla="*/ 1400262 h 4687251"/>
              <a:gd name="connsiteX19479" fmla="*/ 4169317 w 8079933"/>
              <a:gd name="connsiteY19479" fmla="*/ 1404377 h 4687251"/>
              <a:gd name="connsiteX19480" fmla="*/ 4169859 w 8079933"/>
              <a:gd name="connsiteY19480" fmla="*/ 1405344 h 4687251"/>
              <a:gd name="connsiteX19481" fmla="*/ 4169317 w 8079933"/>
              <a:gd name="connsiteY19481" fmla="*/ 1404377 h 4687251"/>
              <a:gd name="connsiteX19482" fmla="*/ 4171162 w 8079933"/>
              <a:gd name="connsiteY19482" fmla="*/ 1400263 h 4687251"/>
              <a:gd name="connsiteX19483" fmla="*/ 4174526 w 8079933"/>
              <a:gd name="connsiteY19483" fmla="*/ 1398531 h 4687251"/>
              <a:gd name="connsiteX19484" fmla="*/ 4037361 w 8079933"/>
              <a:gd name="connsiteY19484" fmla="*/ 1392901 h 4687251"/>
              <a:gd name="connsiteX19485" fmla="*/ 4039965 w 8079933"/>
              <a:gd name="connsiteY19485" fmla="*/ 1395608 h 4687251"/>
              <a:gd name="connsiteX19486" fmla="*/ 4038230 w 8079933"/>
              <a:gd name="connsiteY19486" fmla="*/ 1399073 h 4687251"/>
              <a:gd name="connsiteX19487" fmla="*/ 4034649 w 8079933"/>
              <a:gd name="connsiteY19487" fmla="*/ 1393767 h 4687251"/>
              <a:gd name="connsiteX19488" fmla="*/ 4037361 w 8079933"/>
              <a:gd name="connsiteY19488" fmla="*/ 1392901 h 4687251"/>
              <a:gd name="connsiteX19489" fmla="*/ 1121084 w 8079933"/>
              <a:gd name="connsiteY19489" fmla="*/ 1389003 h 4687251"/>
              <a:gd name="connsiteX19490" fmla="*/ 1125208 w 8079933"/>
              <a:gd name="connsiteY19490" fmla="*/ 1392251 h 4687251"/>
              <a:gd name="connsiteX19491" fmla="*/ 1122929 w 8079933"/>
              <a:gd name="connsiteY19491" fmla="*/ 1397774 h 4687251"/>
              <a:gd name="connsiteX19492" fmla="*/ 1119565 w 8079933"/>
              <a:gd name="connsiteY19492" fmla="*/ 1397774 h 4687251"/>
              <a:gd name="connsiteX19493" fmla="*/ 1119348 w 8079933"/>
              <a:gd name="connsiteY19493" fmla="*/ 1395174 h 4687251"/>
              <a:gd name="connsiteX19494" fmla="*/ 1112512 w 8079933"/>
              <a:gd name="connsiteY19494" fmla="*/ 1395174 h 4687251"/>
              <a:gd name="connsiteX19495" fmla="*/ 1115225 w 8079933"/>
              <a:gd name="connsiteY19495" fmla="*/ 1391601 h 4687251"/>
              <a:gd name="connsiteX19496" fmla="*/ 4183099 w 8079933"/>
              <a:gd name="connsiteY19496" fmla="*/ 1386620 h 4687251"/>
              <a:gd name="connsiteX19497" fmla="*/ 4181037 w 8079933"/>
              <a:gd name="connsiteY19497" fmla="*/ 1390301 h 4687251"/>
              <a:gd name="connsiteX19498" fmla="*/ 4173658 w 8079933"/>
              <a:gd name="connsiteY19498" fmla="*/ 1390951 h 4687251"/>
              <a:gd name="connsiteX19499" fmla="*/ 4172030 w 8079933"/>
              <a:gd name="connsiteY19499" fmla="*/ 1393658 h 4687251"/>
              <a:gd name="connsiteX19500" fmla="*/ 4172030 w 8079933"/>
              <a:gd name="connsiteY19500" fmla="*/ 1393659 h 4687251"/>
              <a:gd name="connsiteX19501" fmla="*/ 4173658 w 8079933"/>
              <a:gd name="connsiteY19501" fmla="*/ 1390952 h 4687251"/>
              <a:gd name="connsiteX19502" fmla="*/ 4181037 w 8079933"/>
              <a:gd name="connsiteY19502" fmla="*/ 1390302 h 4687251"/>
              <a:gd name="connsiteX19503" fmla="*/ 4183099 w 8079933"/>
              <a:gd name="connsiteY19503" fmla="*/ 1386621 h 4687251"/>
              <a:gd name="connsiteX19504" fmla="*/ 4043004 w 8079933"/>
              <a:gd name="connsiteY19504" fmla="*/ 1384564 h 4687251"/>
              <a:gd name="connsiteX19505" fmla="*/ 4042787 w 8079933"/>
              <a:gd name="connsiteY19505" fmla="*/ 1388353 h 4687251"/>
              <a:gd name="connsiteX19506" fmla="*/ 4040943 w 8079933"/>
              <a:gd name="connsiteY19506" fmla="*/ 1388786 h 4687251"/>
              <a:gd name="connsiteX19507" fmla="*/ 3909421 w 8079933"/>
              <a:gd name="connsiteY19507" fmla="*/ 1384131 h 4687251"/>
              <a:gd name="connsiteX19508" fmla="*/ 3910831 w 8079933"/>
              <a:gd name="connsiteY19508" fmla="*/ 1385430 h 4687251"/>
              <a:gd name="connsiteX19509" fmla="*/ 3907359 w 8079933"/>
              <a:gd name="connsiteY19509" fmla="*/ 1388029 h 4687251"/>
              <a:gd name="connsiteX19510" fmla="*/ 4038880 w 8079933"/>
              <a:gd name="connsiteY19510" fmla="*/ 1382290 h 4687251"/>
              <a:gd name="connsiteX19511" fmla="*/ 4038121 w 8079933"/>
              <a:gd name="connsiteY19511" fmla="*/ 1386404 h 4687251"/>
              <a:gd name="connsiteX19512" fmla="*/ 4034540 w 8079933"/>
              <a:gd name="connsiteY19512" fmla="*/ 1385755 h 4687251"/>
              <a:gd name="connsiteX19513" fmla="*/ 4399482 w 8079933"/>
              <a:gd name="connsiteY19513" fmla="*/ 1379041 h 4687251"/>
              <a:gd name="connsiteX19514" fmla="*/ 4400458 w 8079933"/>
              <a:gd name="connsiteY19514" fmla="*/ 1382614 h 4687251"/>
              <a:gd name="connsiteX19515" fmla="*/ 4397311 w 8079933"/>
              <a:gd name="connsiteY19515" fmla="*/ 1384672 h 4687251"/>
              <a:gd name="connsiteX19516" fmla="*/ 4395575 w 8079933"/>
              <a:gd name="connsiteY19516" fmla="*/ 1382614 h 4687251"/>
              <a:gd name="connsiteX19517" fmla="*/ 4397853 w 8079933"/>
              <a:gd name="connsiteY19517" fmla="*/ 1381315 h 4687251"/>
              <a:gd name="connsiteX19518" fmla="*/ 1068345 w 8079933"/>
              <a:gd name="connsiteY19518" fmla="*/ 1377309 h 4687251"/>
              <a:gd name="connsiteX19519" fmla="*/ 1075941 w 8079933"/>
              <a:gd name="connsiteY19519" fmla="*/ 1379582 h 4687251"/>
              <a:gd name="connsiteX19520" fmla="*/ 1074748 w 8079933"/>
              <a:gd name="connsiteY19520" fmla="*/ 1385429 h 4687251"/>
              <a:gd name="connsiteX19521" fmla="*/ 1077461 w 8079933"/>
              <a:gd name="connsiteY19521" fmla="*/ 1384130 h 4687251"/>
              <a:gd name="connsiteX19522" fmla="*/ 1080607 w 8079933"/>
              <a:gd name="connsiteY19522" fmla="*/ 1381423 h 4687251"/>
              <a:gd name="connsiteX19523" fmla="*/ 1083863 w 8079933"/>
              <a:gd name="connsiteY19523" fmla="*/ 1382939 h 4687251"/>
              <a:gd name="connsiteX19524" fmla="*/ 1084080 w 8079933"/>
              <a:gd name="connsiteY19524" fmla="*/ 1386079 h 4687251"/>
              <a:gd name="connsiteX19525" fmla="*/ 1083537 w 8079933"/>
              <a:gd name="connsiteY19525" fmla="*/ 1391601 h 4687251"/>
              <a:gd name="connsiteX19526" fmla="*/ 1079414 w 8079933"/>
              <a:gd name="connsiteY19526" fmla="*/ 1395499 h 4687251"/>
              <a:gd name="connsiteX19527" fmla="*/ 1070407 w 8079933"/>
              <a:gd name="connsiteY19527" fmla="*/ 1398963 h 4687251"/>
              <a:gd name="connsiteX19528" fmla="*/ 1073228 w 8079933"/>
              <a:gd name="connsiteY19528" fmla="*/ 1401237 h 4687251"/>
              <a:gd name="connsiteX19529" fmla="*/ 1073879 w 8079933"/>
              <a:gd name="connsiteY19529" fmla="*/ 1403835 h 4687251"/>
              <a:gd name="connsiteX19530" fmla="*/ 1079197 w 8079933"/>
              <a:gd name="connsiteY19530" fmla="*/ 1402536 h 4687251"/>
              <a:gd name="connsiteX19531" fmla="*/ 1082344 w 8079933"/>
              <a:gd name="connsiteY19531" fmla="*/ 1395174 h 4687251"/>
              <a:gd name="connsiteX19532" fmla="*/ 1088203 w 8079933"/>
              <a:gd name="connsiteY19532" fmla="*/ 1388136 h 4687251"/>
              <a:gd name="connsiteX19533" fmla="*/ 1095583 w 8079933"/>
              <a:gd name="connsiteY19533" fmla="*/ 1384563 h 4687251"/>
              <a:gd name="connsiteX19534" fmla="*/ 1097861 w 8079933"/>
              <a:gd name="connsiteY19534" fmla="*/ 1384996 h 4687251"/>
              <a:gd name="connsiteX19535" fmla="*/ 1089180 w 8079933"/>
              <a:gd name="connsiteY19535" fmla="*/ 1394632 h 4687251"/>
              <a:gd name="connsiteX19536" fmla="*/ 1087335 w 8079933"/>
              <a:gd name="connsiteY19536" fmla="*/ 1402103 h 4687251"/>
              <a:gd name="connsiteX19537" fmla="*/ 1082995 w 8079933"/>
              <a:gd name="connsiteY19537" fmla="*/ 1407192 h 4687251"/>
              <a:gd name="connsiteX19538" fmla="*/ 1082452 w 8079933"/>
              <a:gd name="connsiteY19538" fmla="*/ 1415096 h 4687251"/>
              <a:gd name="connsiteX19539" fmla="*/ 1077135 w 8079933"/>
              <a:gd name="connsiteY19539" fmla="*/ 1419427 h 4687251"/>
              <a:gd name="connsiteX19540" fmla="*/ 1072794 w 8079933"/>
              <a:gd name="connsiteY19540" fmla="*/ 1419427 h 4687251"/>
              <a:gd name="connsiteX19541" fmla="*/ 1069430 w 8079933"/>
              <a:gd name="connsiteY19541" fmla="*/ 1423433 h 4687251"/>
              <a:gd name="connsiteX19542" fmla="*/ 1073337 w 8079933"/>
              <a:gd name="connsiteY19542" fmla="*/ 1423541 h 4687251"/>
              <a:gd name="connsiteX19543" fmla="*/ 1076267 w 8079933"/>
              <a:gd name="connsiteY19543" fmla="*/ 1421809 h 4687251"/>
              <a:gd name="connsiteX19544" fmla="*/ 1081584 w 8079933"/>
              <a:gd name="connsiteY19544" fmla="*/ 1422566 h 4687251"/>
              <a:gd name="connsiteX19545" fmla="*/ 1082127 w 8079933"/>
              <a:gd name="connsiteY19545" fmla="*/ 1428197 h 4687251"/>
              <a:gd name="connsiteX19546" fmla="*/ 1075833 w 8079933"/>
              <a:gd name="connsiteY19546" fmla="*/ 1427980 h 4687251"/>
              <a:gd name="connsiteX19547" fmla="*/ 1072794 w 8079933"/>
              <a:gd name="connsiteY19547" fmla="*/ 1433935 h 4687251"/>
              <a:gd name="connsiteX19548" fmla="*/ 1074422 w 8079933"/>
              <a:gd name="connsiteY19548" fmla="*/ 1438807 h 4687251"/>
              <a:gd name="connsiteX19549" fmla="*/ 1073554 w 8079933"/>
              <a:gd name="connsiteY19549" fmla="*/ 1445520 h 4687251"/>
              <a:gd name="connsiteX19550" fmla="*/ 1076158 w 8079933"/>
              <a:gd name="connsiteY19550" fmla="*/ 1453640 h 4687251"/>
              <a:gd name="connsiteX19551" fmla="*/ 1077461 w 8079933"/>
              <a:gd name="connsiteY19551" fmla="*/ 1459704 h 4687251"/>
              <a:gd name="connsiteX19552" fmla="*/ 1080933 w 8079933"/>
              <a:gd name="connsiteY19552" fmla="*/ 1459487 h 4687251"/>
              <a:gd name="connsiteX19553" fmla="*/ 1082995 w 8079933"/>
              <a:gd name="connsiteY19553" fmla="*/ 1462411 h 4687251"/>
              <a:gd name="connsiteX19554" fmla="*/ 1080390 w 8079933"/>
              <a:gd name="connsiteY19554" fmla="*/ 1466417 h 4687251"/>
              <a:gd name="connsiteX19555" fmla="*/ 1074205 w 8079933"/>
              <a:gd name="connsiteY19555" fmla="*/ 1465009 h 4687251"/>
              <a:gd name="connsiteX19556" fmla="*/ 1067043 w 8079933"/>
              <a:gd name="connsiteY19556" fmla="*/ 1449526 h 4687251"/>
              <a:gd name="connsiteX19557" fmla="*/ 1066283 w 8079933"/>
              <a:gd name="connsiteY19557" fmla="*/ 1442813 h 4687251"/>
              <a:gd name="connsiteX19558" fmla="*/ 1067694 w 8079933"/>
              <a:gd name="connsiteY19558" fmla="*/ 1439565 h 4687251"/>
              <a:gd name="connsiteX19559" fmla="*/ 1062160 w 8079933"/>
              <a:gd name="connsiteY19559" fmla="*/ 1438482 h 4687251"/>
              <a:gd name="connsiteX19560" fmla="*/ 1060749 w 8079933"/>
              <a:gd name="connsiteY19560" fmla="*/ 1434368 h 4687251"/>
              <a:gd name="connsiteX19561" fmla="*/ 1062702 w 8079933"/>
              <a:gd name="connsiteY19561" fmla="*/ 1430903 h 4687251"/>
              <a:gd name="connsiteX19562" fmla="*/ 1068237 w 8079933"/>
              <a:gd name="connsiteY19562" fmla="*/ 1431661 h 4687251"/>
              <a:gd name="connsiteX19563" fmla="*/ 1063896 w 8079933"/>
              <a:gd name="connsiteY19563" fmla="*/ 1426789 h 4687251"/>
              <a:gd name="connsiteX19564" fmla="*/ 1060966 w 8079933"/>
              <a:gd name="connsiteY19564" fmla="*/ 1425598 h 4687251"/>
              <a:gd name="connsiteX19565" fmla="*/ 1063679 w 8079933"/>
              <a:gd name="connsiteY19565" fmla="*/ 1420617 h 4687251"/>
              <a:gd name="connsiteX19566" fmla="*/ 1060098 w 8079933"/>
              <a:gd name="connsiteY19566" fmla="*/ 1416503 h 4687251"/>
              <a:gd name="connsiteX19567" fmla="*/ 1060749 w 8079933"/>
              <a:gd name="connsiteY19567" fmla="*/ 1413905 h 4687251"/>
              <a:gd name="connsiteX19568" fmla="*/ 1064764 w 8079933"/>
              <a:gd name="connsiteY19568" fmla="*/ 1414446 h 4687251"/>
              <a:gd name="connsiteX19569" fmla="*/ 1067043 w 8079933"/>
              <a:gd name="connsiteY19569" fmla="*/ 1415854 h 4687251"/>
              <a:gd name="connsiteX19570" fmla="*/ 1066826 w 8079933"/>
              <a:gd name="connsiteY19570" fmla="*/ 1411739 h 4687251"/>
              <a:gd name="connsiteX19571" fmla="*/ 1063679 w 8079933"/>
              <a:gd name="connsiteY19571" fmla="*/ 1407950 h 4687251"/>
              <a:gd name="connsiteX19572" fmla="*/ 1059772 w 8079933"/>
              <a:gd name="connsiteY19572" fmla="*/ 1407084 h 4687251"/>
              <a:gd name="connsiteX19573" fmla="*/ 1059447 w 8079933"/>
              <a:gd name="connsiteY19573" fmla="*/ 1402752 h 4687251"/>
              <a:gd name="connsiteX19574" fmla="*/ 1062160 w 8079933"/>
              <a:gd name="connsiteY19574" fmla="*/ 1398097 h 4687251"/>
              <a:gd name="connsiteX19575" fmla="*/ 1060966 w 8079933"/>
              <a:gd name="connsiteY19575" fmla="*/ 1389652 h 4687251"/>
              <a:gd name="connsiteX19576" fmla="*/ 4186138 w 8079933"/>
              <a:gd name="connsiteY19576" fmla="*/ 1374278 h 4687251"/>
              <a:gd name="connsiteX19577" fmla="*/ 4182773 w 8079933"/>
              <a:gd name="connsiteY19577" fmla="*/ 1381640 h 4687251"/>
              <a:gd name="connsiteX19578" fmla="*/ 4182773 w 8079933"/>
              <a:gd name="connsiteY19578" fmla="*/ 1381641 h 4687251"/>
              <a:gd name="connsiteX19579" fmla="*/ 4186138 w 8079933"/>
              <a:gd name="connsiteY19579" fmla="*/ 1374278 h 4687251"/>
              <a:gd name="connsiteX19580" fmla="*/ 4393078 w 8079933"/>
              <a:gd name="connsiteY19580" fmla="*/ 1374170 h 4687251"/>
              <a:gd name="connsiteX19581" fmla="*/ 4394489 w 8079933"/>
              <a:gd name="connsiteY19581" fmla="*/ 1377527 h 4687251"/>
              <a:gd name="connsiteX19582" fmla="*/ 4392536 w 8079933"/>
              <a:gd name="connsiteY19582" fmla="*/ 1377527 h 4687251"/>
              <a:gd name="connsiteX19583" fmla="*/ 4032478 w 8079933"/>
              <a:gd name="connsiteY19583" fmla="*/ 1373196 h 4687251"/>
              <a:gd name="connsiteX19584" fmla="*/ 4031067 w 8079933"/>
              <a:gd name="connsiteY19584" fmla="*/ 1378392 h 4687251"/>
              <a:gd name="connsiteX19585" fmla="*/ 4028029 w 8079933"/>
              <a:gd name="connsiteY19585" fmla="*/ 1374603 h 4687251"/>
              <a:gd name="connsiteX19586" fmla="*/ 4037579 w 8079933"/>
              <a:gd name="connsiteY19586" fmla="*/ 1372329 h 4687251"/>
              <a:gd name="connsiteX19587" fmla="*/ 4041160 w 8079933"/>
              <a:gd name="connsiteY19587" fmla="*/ 1376985 h 4687251"/>
              <a:gd name="connsiteX19588" fmla="*/ 4039640 w 8079933"/>
              <a:gd name="connsiteY19588" fmla="*/ 1381425 h 4687251"/>
              <a:gd name="connsiteX19589" fmla="*/ 3908445 w 8079933"/>
              <a:gd name="connsiteY19589" fmla="*/ 1369298 h 4687251"/>
              <a:gd name="connsiteX19590" fmla="*/ 3911158 w 8079933"/>
              <a:gd name="connsiteY19590" fmla="*/ 1370597 h 4687251"/>
              <a:gd name="connsiteX19591" fmla="*/ 3914413 w 8079933"/>
              <a:gd name="connsiteY19591" fmla="*/ 1371788 h 4687251"/>
              <a:gd name="connsiteX19592" fmla="*/ 3912460 w 8079933"/>
              <a:gd name="connsiteY19592" fmla="*/ 1373845 h 4687251"/>
              <a:gd name="connsiteX19593" fmla="*/ 3913002 w 8079933"/>
              <a:gd name="connsiteY19593" fmla="*/ 1376444 h 4687251"/>
              <a:gd name="connsiteX19594" fmla="*/ 3910833 w 8079933"/>
              <a:gd name="connsiteY19594" fmla="*/ 1378718 h 4687251"/>
              <a:gd name="connsiteX19595" fmla="*/ 3911917 w 8079933"/>
              <a:gd name="connsiteY19595" fmla="*/ 1382508 h 4687251"/>
              <a:gd name="connsiteX19596" fmla="*/ 3909313 w 8079933"/>
              <a:gd name="connsiteY19596" fmla="*/ 1381641 h 4687251"/>
              <a:gd name="connsiteX19597" fmla="*/ 3907468 w 8079933"/>
              <a:gd name="connsiteY19597" fmla="*/ 1377851 h 4687251"/>
              <a:gd name="connsiteX19598" fmla="*/ 3901717 w 8079933"/>
              <a:gd name="connsiteY19598" fmla="*/ 1377635 h 4687251"/>
              <a:gd name="connsiteX19599" fmla="*/ 3899872 w 8079933"/>
              <a:gd name="connsiteY19599" fmla="*/ 1375253 h 4687251"/>
              <a:gd name="connsiteX19600" fmla="*/ 3902802 w 8079933"/>
              <a:gd name="connsiteY19600" fmla="*/ 1374062 h 4687251"/>
              <a:gd name="connsiteX19601" fmla="*/ 3907685 w 8079933"/>
              <a:gd name="connsiteY19601" fmla="*/ 1374495 h 4687251"/>
              <a:gd name="connsiteX19602" fmla="*/ 3908228 w 8079933"/>
              <a:gd name="connsiteY19602" fmla="*/ 1372329 h 4687251"/>
              <a:gd name="connsiteX19603" fmla="*/ 3907143 w 8079933"/>
              <a:gd name="connsiteY19603" fmla="*/ 1370597 h 4687251"/>
              <a:gd name="connsiteX19604" fmla="*/ 4028788 w 8079933"/>
              <a:gd name="connsiteY19604" fmla="*/ 1367891 h 4687251"/>
              <a:gd name="connsiteX19605" fmla="*/ 4032260 w 8079933"/>
              <a:gd name="connsiteY19605" fmla="*/ 1367999 h 4687251"/>
              <a:gd name="connsiteX19606" fmla="*/ 4030524 w 8079933"/>
              <a:gd name="connsiteY19606" fmla="*/ 1370057 h 4687251"/>
              <a:gd name="connsiteX19607" fmla="*/ 4390691 w 8079933"/>
              <a:gd name="connsiteY19607" fmla="*/ 1367566 h 4687251"/>
              <a:gd name="connsiteX19608" fmla="*/ 4390148 w 8079933"/>
              <a:gd name="connsiteY19608" fmla="*/ 1370273 h 4687251"/>
              <a:gd name="connsiteX19609" fmla="*/ 4385916 w 8079933"/>
              <a:gd name="connsiteY19609" fmla="*/ 1373738 h 4687251"/>
              <a:gd name="connsiteX19610" fmla="*/ 4382552 w 8079933"/>
              <a:gd name="connsiteY19610" fmla="*/ 1371897 h 4687251"/>
              <a:gd name="connsiteX19611" fmla="*/ 4383420 w 8079933"/>
              <a:gd name="connsiteY19611" fmla="*/ 1368974 h 4687251"/>
              <a:gd name="connsiteX19612" fmla="*/ 1122496 w 8079933"/>
              <a:gd name="connsiteY19612" fmla="*/ 1366266 h 4687251"/>
              <a:gd name="connsiteX19613" fmla="*/ 1122604 w 8079933"/>
              <a:gd name="connsiteY19613" fmla="*/ 1370813 h 4687251"/>
              <a:gd name="connsiteX19614" fmla="*/ 1119674 w 8079933"/>
              <a:gd name="connsiteY19614" fmla="*/ 1373412 h 4687251"/>
              <a:gd name="connsiteX19615" fmla="*/ 1118915 w 8079933"/>
              <a:gd name="connsiteY19615" fmla="*/ 1368540 h 4687251"/>
              <a:gd name="connsiteX19616" fmla="*/ 3906925 w 8079933"/>
              <a:gd name="connsiteY19616" fmla="*/ 1364967 h 4687251"/>
              <a:gd name="connsiteX19617" fmla="*/ 3906491 w 8079933"/>
              <a:gd name="connsiteY19617" fmla="*/ 1370598 h 4687251"/>
              <a:gd name="connsiteX19618" fmla="*/ 3902910 w 8079933"/>
              <a:gd name="connsiteY19618" fmla="*/ 1368649 h 4687251"/>
              <a:gd name="connsiteX19619" fmla="*/ 3903778 w 8079933"/>
              <a:gd name="connsiteY19619" fmla="*/ 1365725 h 4687251"/>
              <a:gd name="connsiteX19620" fmla="*/ 4514726 w 8079933"/>
              <a:gd name="connsiteY19620" fmla="*/ 1364642 h 4687251"/>
              <a:gd name="connsiteX19621" fmla="*/ 4519284 w 8079933"/>
              <a:gd name="connsiteY19621" fmla="*/ 1368973 h 4687251"/>
              <a:gd name="connsiteX19622" fmla="*/ 4517765 w 8079933"/>
              <a:gd name="connsiteY19622" fmla="*/ 1371355 h 4687251"/>
              <a:gd name="connsiteX19623" fmla="*/ 4512990 w 8079933"/>
              <a:gd name="connsiteY19623" fmla="*/ 1368865 h 4687251"/>
              <a:gd name="connsiteX19624" fmla="*/ 4514726 w 8079933"/>
              <a:gd name="connsiteY19624" fmla="*/ 1364642 h 4687251"/>
              <a:gd name="connsiteX19625" fmla="*/ 4336867 w 8079933"/>
              <a:gd name="connsiteY19625" fmla="*/ 1363559 h 4687251"/>
              <a:gd name="connsiteX19626" fmla="*/ 4343921 w 8079933"/>
              <a:gd name="connsiteY19626" fmla="*/ 1368323 h 4687251"/>
              <a:gd name="connsiteX19627" fmla="*/ 4344572 w 8079933"/>
              <a:gd name="connsiteY19627" fmla="*/ 1372004 h 4687251"/>
              <a:gd name="connsiteX19628" fmla="*/ 4341208 w 8079933"/>
              <a:gd name="connsiteY19628" fmla="*/ 1371463 h 4687251"/>
              <a:gd name="connsiteX19629" fmla="*/ 4339580 w 8079933"/>
              <a:gd name="connsiteY19629" fmla="*/ 1373195 h 4687251"/>
              <a:gd name="connsiteX19630" fmla="*/ 4342076 w 8079933"/>
              <a:gd name="connsiteY19630" fmla="*/ 1377309 h 4687251"/>
              <a:gd name="connsiteX19631" fmla="*/ 4345657 w 8079933"/>
              <a:gd name="connsiteY19631" fmla="*/ 1376985 h 4687251"/>
              <a:gd name="connsiteX19632" fmla="*/ 4346742 w 8079933"/>
              <a:gd name="connsiteY19632" fmla="*/ 1381099 h 4687251"/>
              <a:gd name="connsiteX19633" fmla="*/ 4343379 w 8079933"/>
              <a:gd name="connsiteY19633" fmla="*/ 1382940 h 4687251"/>
              <a:gd name="connsiteX19634" fmla="*/ 4339472 w 8079933"/>
              <a:gd name="connsiteY19634" fmla="*/ 1379150 h 4687251"/>
              <a:gd name="connsiteX19635" fmla="*/ 4334806 w 8079933"/>
              <a:gd name="connsiteY19635" fmla="*/ 1377634 h 4687251"/>
              <a:gd name="connsiteX19636" fmla="*/ 4332093 w 8079933"/>
              <a:gd name="connsiteY19636" fmla="*/ 1374494 h 4687251"/>
              <a:gd name="connsiteX19637" fmla="*/ 4329163 w 8079933"/>
              <a:gd name="connsiteY19637" fmla="*/ 1372329 h 4687251"/>
              <a:gd name="connsiteX19638" fmla="*/ 4331008 w 8079933"/>
              <a:gd name="connsiteY19638" fmla="*/ 1369947 h 4687251"/>
              <a:gd name="connsiteX19639" fmla="*/ 4336542 w 8079933"/>
              <a:gd name="connsiteY19639" fmla="*/ 1371896 h 4687251"/>
              <a:gd name="connsiteX19640" fmla="*/ 4337844 w 8079933"/>
              <a:gd name="connsiteY19640" fmla="*/ 1369730 h 4687251"/>
              <a:gd name="connsiteX19641" fmla="*/ 4334263 w 8079933"/>
              <a:gd name="connsiteY19641" fmla="*/ 1367348 h 4687251"/>
              <a:gd name="connsiteX19642" fmla="*/ 4334371 w 8079933"/>
              <a:gd name="connsiteY19642" fmla="*/ 1363775 h 4687251"/>
              <a:gd name="connsiteX19643" fmla="*/ 4362695 w 8079933"/>
              <a:gd name="connsiteY19643" fmla="*/ 1363127 h 4687251"/>
              <a:gd name="connsiteX19644" fmla="*/ 4367252 w 8079933"/>
              <a:gd name="connsiteY19644" fmla="*/ 1363776 h 4687251"/>
              <a:gd name="connsiteX19645" fmla="*/ 4364540 w 8079933"/>
              <a:gd name="connsiteY19645" fmla="*/ 1364859 h 4687251"/>
              <a:gd name="connsiteX19646" fmla="*/ 3038032 w 8079933"/>
              <a:gd name="connsiteY19646" fmla="*/ 1361503 h 4687251"/>
              <a:gd name="connsiteX19647" fmla="*/ 3039551 w 8079933"/>
              <a:gd name="connsiteY19647" fmla="*/ 1362802 h 4687251"/>
              <a:gd name="connsiteX19648" fmla="*/ 3038032 w 8079933"/>
              <a:gd name="connsiteY19648" fmla="*/ 1365292 h 4687251"/>
              <a:gd name="connsiteX19649" fmla="*/ 3035102 w 8079933"/>
              <a:gd name="connsiteY19649" fmla="*/ 1365508 h 4687251"/>
              <a:gd name="connsiteX19650" fmla="*/ 3033149 w 8079933"/>
              <a:gd name="connsiteY19650" fmla="*/ 1366700 h 4687251"/>
              <a:gd name="connsiteX19651" fmla="*/ 3031304 w 8079933"/>
              <a:gd name="connsiteY19651" fmla="*/ 1365833 h 4687251"/>
              <a:gd name="connsiteX19652" fmla="*/ 3034559 w 8079933"/>
              <a:gd name="connsiteY19652" fmla="*/ 1361828 h 4687251"/>
              <a:gd name="connsiteX19653" fmla="*/ 4373546 w 8079933"/>
              <a:gd name="connsiteY19653" fmla="*/ 1361070 h 4687251"/>
              <a:gd name="connsiteX19654" fmla="*/ 4378429 w 8079933"/>
              <a:gd name="connsiteY19654" fmla="*/ 1365293 h 4687251"/>
              <a:gd name="connsiteX19655" fmla="*/ 4375499 w 8079933"/>
              <a:gd name="connsiteY19655" fmla="*/ 1367242 h 4687251"/>
              <a:gd name="connsiteX19656" fmla="*/ 4373546 w 8079933"/>
              <a:gd name="connsiteY19656" fmla="*/ 1364968 h 4687251"/>
              <a:gd name="connsiteX19657" fmla="*/ 3911374 w 8079933"/>
              <a:gd name="connsiteY19657" fmla="*/ 1359121 h 4687251"/>
              <a:gd name="connsiteX19658" fmla="*/ 3913111 w 8079933"/>
              <a:gd name="connsiteY19658" fmla="*/ 1360420 h 4687251"/>
              <a:gd name="connsiteX19659" fmla="*/ 3913219 w 8079933"/>
              <a:gd name="connsiteY19659" fmla="*/ 1365725 h 4687251"/>
              <a:gd name="connsiteX19660" fmla="*/ 3911700 w 8079933"/>
              <a:gd name="connsiteY19660" fmla="*/ 1367457 h 4687251"/>
              <a:gd name="connsiteX19661" fmla="*/ 3909204 w 8079933"/>
              <a:gd name="connsiteY19661" fmla="*/ 1364859 h 4687251"/>
              <a:gd name="connsiteX19662" fmla="*/ 3911049 w 8079933"/>
              <a:gd name="connsiteY19662" fmla="*/ 1362152 h 4687251"/>
              <a:gd name="connsiteX19663" fmla="*/ 4030524 w 8079933"/>
              <a:gd name="connsiteY19663" fmla="*/ 1358904 h 4687251"/>
              <a:gd name="connsiteX19664" fmla="*/ 4030524 w 8079933"/>
              <a:gd name="connsiteY19664" fmla="*/ 1364209 h 4687251"/>
              <a:gd name="connsiteX19665" fmla="*/ 4026943 w 8079933"/>
              <a:gd name="connsiteY19665" fmla="*/ 1361827 h 4687251"/>
              <a:gd name="connsiteX19666" fmla="*/ 3918101 w 8079933"/>
              <a:gd name="connsiteY19666" fmla="*/ 1354248 h 4687251"/>
              <a:gd name="connsiteX19667" fmla="*/ 3916365 w 8079933"/>
              <a:gd name="connsiteY19667" fmla="*/ 1359662 h 4687251"/>
              <a:gd name="connsiteX19668" fmla="*/ 3915063 w 8079933"/>
              <a:gd name="connsiteY19668" fmla="*/ 1357388 h 4687251"/>
              <a:gd name="connsiteX19669" fmla="*/ 4028030 w 8079933"/>
              <a:gd name="connsiteY19669" fmla="*/ 1350675 h 4687251"/>
              <a:gd name="connsiteX19670" fmla="*/ 4028789 w 8079933"/>
              <a:gd name="connsiteY19670" fmla="*/ 1352948 h 4687251"/>
              <a:gd name="connsiteX19671" fmla="*/ 4026402 w 8079933"/>
              <a:gd name="connsiteY19671" fmla="*/ 1355330 h 4687251"/>
              <a:gd name="connsiteX19672" fmla="*/ 4024014 w 8079933"/>
              <a:gd name="connsiteY19672" fmla="*/ 1353706 h 4687251"/>
              <a:gd name="connsiteX19673" fmla="*/ 3035102 w 8079933"/>
              <a:gd name="connsiteY19673" fmla="*/ 1350675 h 4687251"/>
              <a:gd name="connsiteX19674" fmla="*/ 3038465 w 8079933"/>
              <a:gd name="connsiteY19674" fmla="*/ 1351108 h 4687251"/>
              <a:gd name="connsiteX19675" fmla="*/ 3046170 w 8079933"/>
              <a:gd name="connsiteY19675" fmla="*/ 1355438 h 4687251"/>
              <a:gd name="connsiteX19676" fmla="*/ 3042698 w 8079933"/>
              <a:gd name="connsiteY19676" fmla="*/ 1357171 h 4687251"/>
              <a:gd name="connsiteX19677" fmla="*/ 3039985 w 8079933"/>
              <a:gd name="connsiteY19677" fmla="*/ 1357171 h 4687251"/>
              <a:gd name="connsiteX19678" fmla="*/ 3035102 w 8079933"/>
              <a:gd name="connsiteY19678" fmla="*/ 1352083 h 4687251"/>
              <a:gd name="connsiteX19679" fmla="*/ 1118155 w 8079933"/>
              <a:gd name="connsiteY19679" fmla="*/ 1350134 h 4687251"/>
              <a:gd name="connsiteX19680" fmla="*/ 1121628 w 8079933"/>
              <a:gd name="connsiteY19680" fmla="*/ 1352407 h 4687251"/>
              <a:gd name="connsiteX19681" fmla="*/ 1118372 w 8079933"/>
              <a:gd name="connsiteY19681" fmla="*/ 1356197 h 4687251"/>
              <a:gd name="connsiteX19682" fmla="*/ 1114249 w 8079933"/>
              <a:gd name="connsiteY19682" fmla="*/ 1353057 h 4687251"/>
              <a:gd name="connsiteX19683" fmla="*/ 2500765 w 8079933"/>
              <a:gd name="connsiteY19683" fmla="*/ 1345695 h 4687251"/>
              <a:gd name="connsiteX19684" fmla="*/ 2500873 w 8079933"/>
              <a:gd name="connsiteY19684" fmla="*/ 1348077 h 4687251"/>
              <a:gd name="connsiteX19685" fmla="*/ 2499680 w 8079933"/>
              <a:gd name="connsiteY19685" fmla="*/ 1348185 h 4687251"/>
              <a:gd name="connsiteX19686" fmla="*/ 2503479 w 8079933"/>
              <a:gd name="connsiteY19686" fmla="*/ 1345045 h 4687251"/>
              <a:gd name="connsiteX19687" fmla="*/ 2504998 w 8079933"/>
              <a:gd name="connsiteY19687" fmla="*/ 1348943 h 4687251"/>
              <a:gd name="connsiteX19688" fmla="*/ 2504455 w 8079933"/>
              <a:gd name="connsiteY19688" fmla="*/ 1353057 h 4687251"/>
              <a:gd name="connsiteX19689" fmla="*/ 2502936 w 8079933"/>
              <a:gd name="connsiteY19689" fmla="*/ 1353490 h 4687251"/>
              <a:gd name="connsiteX19690" fmla="*/ 2503154 w 8079933"/>
              <a:gd name="connsiteY19690" fmla="*/ 1351541 h 4687251"/>
              <a:gd name="connsiteX19691" fmla="*/ 2502177 w 8079933"/>
              <a:gd name="connsiteY19691" fmla="*/ 1347535 h 4687251"/>
              <a:gd name="connsiteX19692" fmla="*/ 2498270 w 8079933"/>
              <a:gd name="connsiteY19692" fmla="*/ 1345045 h 4687251"/>
              <a:gd name="connsiteX19693" fmla="*/ 2498921 w 8079933"/>
              <a:gd name="connsiteY19693" fmla="*/ 1346128 h 4687251"/>
              <a:gd name="connsiteX19694" fmla="*/ 2497619 w 8079933"/>
              <a:gd name="connsiteY19694" fmla="*/ 1347318 h 4687251"/>
              <a:gd name="connsiteX19695" fmla="*/ 1079089 w 8079933"/>
              <a:gd name="connsiteY19695" fmla="*/ 1343097 h 4687251"/>
              <a:gd name="connsiteX19696" fmla="*/ 1082237 w 8079933"/>
              <a:gd name="connsiteY19696" fmla="*/ 1345046 h 4687251"/>
              <a:gd name="connsiteX19697" fmla="*/ 1081585 w 8079933"/>
              <a:gd name="connsiteY19697" fmla="*/ 1347752 h 4687251"/>
              <a:gd name="connsiteX19698" fmla="*/ 1084949 w 8079933"/>
              <a:gd name="connsiteY19698" fmla="*/ 1353383 h 4687251"/>
              <a:gd name="connsiteX19699" fmla="*/ 1081260 w 8079933"/>
              <a:gd name="connsiteY19699" fmla="*/ 1359230 h 4687251"/>
              <a:gd name="connsiteX19700" fmla="*/ 1079524 w 8079933"/>
              <a:gd name="connsiteY19700" fmla="*/ 1357281 h 4687251"/>
              <a:gd name="connsiteX19701" fmla="*/ 1079415 w 8079933"/>
              <a:gd name="connsiteY19701" fmla="*/ 1352842 h 4687251"/>
              <a:gd name="connsiteX19702" fmla="*/ 1075834 w 8079933"/>
              <a:gd name="connsiteY19702" fmla="*/ 1346995 h 4687251"/>
              <a:gd name="connsiteX19703" fmla="*/ 1077136 w 8079933"/>
              <a:gd name="connsiteY19703" fmla="*/ 1343746 h 4687251"/>
              <a:gd name="connsiteX19704" fmla="*/ 3008189 w 8079933"/>
              <a:gd name="connsiteY19704" fmla="*/ 1342663 h 4687251"/>
              <a:gd name="connsiteX19705" fmla="*/ 3010359 w 8079933"/>
              <a:gd name="connsiteY19705" fmla="*/ 1342771 h 4687251"/>
              <a:gd name="connsiteX19706" fmla="*/ 3010467 w 8079933"/>
              <a:gd name="connsiteY19706" fmla="*/ 1345803 h 4687251"/>
              <a:gd name="connsiteX19707" fmla="*/ 3008080 w 8079933"/>
              <a:gd name="connsiteY19707" fmla="*/ 1349159 h 4687251"/>
              <a:gd name="connsiteX19708" fmla="*/ 3007971 w 8079933"/>
              <a:gd name="connsiteY19708" fmla="*/ 1350892 h 4687251"/>
              <a:gd name="connsiteX19709" fmla="*/ 3006018 w 8079933"/>
              <a:gd name="connsiteY19709" fmla="*/ 1350892 h 4687251"/>
              <a:gd name="connsiteX19710" fmla="*/ 3005368 w 8079933"/>
              <a:gd name="connsiteY19710" fmla="*/ 1346453 h 4687251"/>
              <a:gd name="connsiteX19711" fmla="*/ 3007321 w 8079933"/>
              <a:gd name="connsiteY19711" fmla="*/ 1344612 h 4687251"/>
              <a:gd name="connsiteX19712" fmla="*/ 6911425 w 8079933"/>
              <a:gd name="connsiteY19712" fmla="*/ 1342555 h 4687251"/>
              <a:gd name="connsiteX19713" fmla="*/ 6913921 w 8079933"/>
              <a:gd name="connsiteY19713" fmla="*/ 1344720 h 4687251"/>
              <a:gd name="connsiteX19714" fmla="*/ 6912944 w 8079933"/>
              <a:gd name="connsiteY19714" fmla="*/ 1347644 h 4687251"/>
              <a:gd name="connsiteX19715" fmla="*/ 6910123 w 8079933"/>
              <a:gd name="connsiteY19715" fmla="*/ 1349702 h 4687251"/>
              <a:gd name="connsiteX19716" fmla="*/ 6909255 w 8079933"/>
              <a:gd name="connsiteY19716" fmla="*/ 1348510 h 4687251"/>
              <a:gd name="connsiteX19717" fmla="*/ 6911100 w 8079933"/>
              <a:gd name="connsiteY19717" fmla="*/ 1345478 h 4687251"/>
              <a:gd name="connsiteX19718" fmla="*/ 6910666 w 8079933"/>
              <a:gd name="connsiteY19718" fmla="*/ 1343746 h 4687251"/>
              <a:gd name="connsiteX19719" fmla="*/ 6905565 w 8079933"/>
              <a:gd name="connsiteY19719" fmla="*/ 1341797 h 4687251"/>
              <a:gd name="connsiteX19720" fmla="*/ 6906867 w 8079933"/>
              <a:gd name="connsiteY19720" fmla="*/ 1342988 h 4687251"/>
              <a:gd name="connsiteX19721" fmla="*/ 6907084 w 8079933"/>
              <a:gd name="connsiteY19721" fmla="*/ 1346452 h 4687251"/>
              <a:gd name="connsiteX19722" fmla="*/ 6905999 w 8079933"/>
              <a:gd name="connsiteY19722" fmla="*/ 1348834 h 4687251"/>
              <a:gd name="connsiteX19723" fmla="*/ 6904154 w 8079933"/>
              <a:gd name="connsiteY19723" fmla="*/ 1345695 h 4687251"/>
              <a:gd name="connsiteX19724" fmla="*/ 6904263 w 8079933"/>
              <a:gd name="connsiteY19724" fmla="*/ 1342988 h 4687251"/>
              <a:gd name="connsiteX19725" fmla="*/ 1087553 w 8079933"/>
              <a:gd name="connsiteY19725" fmla="*/ 1339198 h 4687251"/>
              <a:gd name="connsiteX19726" fmla="*/ 1089289 w 8079933"/>
              <a:gd name="connsiteY19726" fmla="*/ 1341904 h 4687251"/>
              <a:gd name="connsiteX19727" fmla="*/ 1088204 w 8079933"/>
              <a:gd name="connsiteY19727" fmla="*/ 1344612 h 4687251"/>
              <a:gd name="connsiteX19728" fmla="*/ 1086468 w 8079933"/>
              <a:gd name="connsiteY19728" fmla="*/ 1342446 h 4687251"/>
              <a:gd name="connsiteX19729" fmla="*/ 1119891 w 8079933"/>
              <a:gd name="connsiteY19729" fmla="*/ 1338440 h 4687251"/>
              <a:gd name="connsiteX19730" fmla="*/ 1122279 w 8079933"/>
              <a:gd name="connsiteY19730" fmla="*/ 1343962 h 4687251"/>
              <a:gd name="connsiteX19731" fmla="*/ 1117830 w 8079933"/>
              <a:gd name="connsiteY19731" fmla="*/ 1348293 h 4687251"/>
              <a:gd name="connsiteX19732" fmla="*/ 1114357 w 8079933"/>
              <a:gd name="connsiteY19732" fmla="*/ 1345803 h 4687251"/>
              <a:gd name="connsiteX19733" fmla="*/ 1116962 w 8079933"/>
              <a:gd name="connsiteY19733" fmla="*/ 1343420 h 4687251"/>
              <a:gd name="connsiteX19734" fmla="*/ 1115876 w 8079933"/>
              <a:gd name="connsiteY19734" fmla="*/ 1340172 h 4687251"/>
              <a:gd name="connsiteX19735" fmla="*/ 1079848 w 8079933"/>
              <a:gd name="connsiteY19735" fmla="*/ 1336167 h 4687251"/>
              <a:gd name="connsiteX19736" fmla="*/ 1082018 w 8079933"/>
              <a:gd name="connsiteY19736" fmla="*/ 1336708 h 4687251"/>
              <a:gd name="connsiteX19737" fmla="*/ 1083429 w 8079933"/>
              <a:gd name="connsiteY19737" fmla="*/ 1340064 h 4687251"/>
              <a:gd name="connsiteX19738" fmla="*/ 1079631 w 8079933"/>
              <a:gd name="connsiteY19738" fmla="*/ 1341689 h 4687251"/>
              <a:gd name="connsiteX19739" fmla="*/ 1077895 w 8079933"/>
              <a:gd name="connsiteY19739" fmla="*/ 1337357 h 4687251"/>
              <a:gd name="connsiteX19740" fmla="*/ 1114901 w 8079933"/>
              <a:gd name="connsiteY19740" fmla="*/ 1329563 h 4687251"/>
              <a:gd name="connsiteX19741" fmla="*/ 1118481 w 8079933"/>
              <a:gd name="connsiteY19741" fmla="*/ 1334651 h 4687251"/>
              <a:gd name="connsiteX19742" fmla="*/ 1114358 w 8079933"/>
              <a:gd name="connsiteY19742" fmla="*/ 1338441 h 4687251"/>
              <a:gd name="connsiteX19743" fmla="*/ 1114901 w 8079933"/>
              <a:gd name="connsiteY19743" fmla="*/ 1334327 h 4687251"/>
              <a:gd name="connsiteX19744" fmla="*/ 1112839 w 8079933"/>
              <a:gd name="connsiteY19744" fmla="*/ 1331945 h 4687251"/>
              <a:gd name="connsiteX19745" fmla="*/ 4190152 w 8079933"/>
              <a:gd name="connsiteY19745" fmla="*/ 1329237 h 4687251"/>
              <a:gd name="connsiteX19746" fmla="*/ 4187874 w 8079933"/>
              <a:gd name="connsiteY19746" fmla="*/ 1334542 h 4687251"/>
              <a:gd name="connsiteX19747" fmla="*/ 4187765 w 8079933"/>
              <a:gd name="connsiteY19747" fmla="*/ 1342337 h 4687251"/>
              <a:gd name="connsiteX19748" fmla="*/ 4176914 w 8079933"/>
              <a:gd name="connsiteY19748" fmla="*/ 1345910 h 4687251"/>
              <a:gd name="connsiteX19749" fmla="*/ 4176588 w 8079933"/>
              <a:gd name="connsiteY19749" fmla="*/ 1349916 h 4687251"/>
              <a:gd name="connsiteX19750" fmla="*/ 4176588 w 8079933"/>
              <a:gd name="connsiteY19750" fmla="*/ 1349917 h 4687251"/>
              <a:gd name="connsiteX19751" fmla="*/ 4176914 w 8079933"/>
              <a:gd name="connsiteY19751" fmla="*/ 1345911 h 4687251"/>
              <a:gd name="connsiteX19752" fmla="*/ 4187765 w 8079933"/>
              <a:gd name="connsiteY19752" fmla="*/ 1342339 h 4687251"/>
              <a:gd name="connsiteX19753" fmla="*/ 4187874 w 8079933"/>
              <a:gd name="connsiteY19753" fmla="*/ 1334543 h 4687251"/>
              <a:gd name="connsiteX19754" fmla="*/ 4190153 w 8079933"/>
              <a:gd name="connsiteY19754" fmla="*/ 1329238 h 4687251"/>
              <a:gd name="connsiteX19755" fmla="*/ 7018315 w 8079933"/>
              <a:gd name="connsiteY19755" fmla="*/ 1328913 h 4687251"/>
              <a:gd name="connsiteX19756" fmla="*/ 7019942 w 8079933"/>
              <a:gd name="connsiteY19756" fmla="*/ 1330970 h 4687251"/>
              <a:gd name="connsiteX19757" fmla="*/ 7023306 w 8079933"/>
              <a:gd name="connsiteY19757" fmla="*/ 1337683 h 4687251"/>
              <a:gd name="connsiteX19758" fmla="*/ 7030468 w 8079933"/>
              <a:gd name="connsiteY19758" fmla="*/ 1340498 h 4687251"/>
              <a:gd name="connsiteX19759" fmla="*/ 7033290 w 8079933"/>
              <a:gd name="connsiteY19759" fmla="*/ 1343529 h 4687251"/>
              <a:gd name="connsiteX19760" fmla="*/ 7032964 w 8079933"/>
              <a:gd name="connsiteY19760" fmla="*/ 1351433 h 4687251"/>
              <a:gd name="connsiteX19761" fmla="*/ 7036220 w 8079933"/>
              <a:gd name="connsiteY19761" fmla="*/ 1356739 h 4687251"/>
              <a:gd name="connsiteX19762" fmla="*/ 7045877 w 8079933"/>
              <a:gd name="connsiteY19762" fmla="*/ 1364534 h 4687251"/>
              <a:gd name="connsiteX19763" fmla="*/ 7047180 w 8079933"/>
              <a:gd name="connsiteY19763" fmla="*/ 1368648 h 4687251"/>
              <a:gd name="connsiteX19764" fmla="*/ 7049242 w 8079933"/>
              <a:gd name="connsiteY19764" fmla="*/ 1368648 h 4687251"/>
              <a:gd name="connsiteX19765" fmla="*/ 7054776 w 8079933"/>
              <a:gd name="connsiteY19765" fmla="*/ 1374494 h 4687251"/>
              <a:gd name="connsiteX19766" fmla="*/ 7060310 w 8079933"/>
              <a:gd name="connsiteY19766" fmla="*/ 1382723 h 4687251"/>
              <a:gd name="connsiteX19767" fmla="*/ 7062372 w 8079933"/>
              <a:gd name="connsiteY19767" fmla="*/ 1388787 h 4687251"/>
              <a:gd name="connsiteX19768" fmla="*/ 7057923 w 8079933"/>
              <a:gd name="connsiteY19768" fmla="*/ 1382182 h 4687251"/>
              <a:gd name="connsiteX19769" fmla="*/ 7053473 w 8079933"/>
              <a:gd name="connsiteY19769" fmla="*/ 1377743 h 4687251"/>
              <a:gd name="connsiteX19770" fmla="*/ 7051303 w 8079933"/>
              <a:gd name="connsiteY19770" fmla="*/ 1378284 h 4687251"/>
              <a:gd name="connsiteX19771" fmla="*/ 7051303 w 8079933"/>
              <a:gd name="connsiteY19771" fmla="*/ 1380666 h 4687251"/>
              <a:gd name="connsiteX19772" fmla="*/ 7053908 w 8079933"/>
              <a:gd name="connsiteY19772" fmla="*/ 1383265 h 4687251"/>
              <a:gd name="connsiteX19773" fmla="*/ 7054450 w 8079933"/>
              <a:gd name="connsiteY19773" fmla="*/ 1386296 h 4687251"/>
              <a:gd name="connsiteX19774" fmla="*/ 7059442 w 8079933"/>
              <a:gd name="connsiteY19774" fmla="*/ 1391818 h 4687251"/>
              <a:gd name="connsiteX19775" fmla="*/ 7064326 w 8079933"/>
              <a:gd name="connsiteY19775" fmla="*/ 1393875 h 4687251"/>
              <a:gd name="connsiteX19776" fmla="*/ 7065519 w 8079933"/>
              <a:gd name="connsiteY19776" fmla="*/ 1399289 h 4687251"/>
              <a:gd name="connsiteX19777" fmla="*/ 7066496 w 8079933"/>
              <a:gd name="connsiteY19777" fmla="*/ 1406976 h 4687251"/>
              <a:gd name="connsiteX19778" fmla="*/ 7067689 w 8079933"/>
              <a:gd name="connsiteY19778" fmla="*/ 1413905 h 4687251"/>
              <a:gd name="connsiteX19779" fmla="*/ 7066713 w 8079933"/>
              <a:gd name="connsiteY19779" fmla="*/ 1412931 h 4687251"/>
              <a:gd name="connsiteX19780" fmla="*/ 7065519 w 8079933"/>
              <a:gd name="connsiteY19780" fmla="*/ 1416828 h 4687251"/>
              <a:gd name="connsiteX19781" fmla="*/ 7066170 w 8079933"/>
              <a:gd name="connsiteY19781" fmla="*/ 1421917 h 4687251"/>
              <a:gd name="connsiteX19782" fmla="*/ 7068557 w 8079933"/>
              <a:gd name="connsiteY19782" fmla="*/ 1425599 h 4687251"/>
              <a:gd name="connsiteX19783" fmla="*/ 7070945 w 8079933"/>
              <a:gd name="connsiteY19783" fmla="*/ 1432095 h 4687251"/>
              <a:gd name="connsiteX19784" fmla="*/ 7075285 w 8079933"/>
              <a:gd name="connsiteY19784" fmla="*/ 1437291 h 4687251"/>
              <a:gd name="connsiteX19785" fmla="*/ 7079734 w 8079933"/>
              <a:gd name="connsiteY19785" fmla="*/ 1439999 h 4687251"/>
              <a:gd name="connsiteX19786" fmla="*/ 7081146 w 8079933"/>
              <a:gd name="connsiteY19786" fmla="*/ 1443463 h 4687251"/>
              <a:gd name="connsiteX19787" fmla="*/ 7080169 w 8079933"/>
              <a:gd name="connsiteY19787" fmla="*/ 1447361 h 4687251"/>
              <a:gd name="connsiteX19788" fmla="*/ 7081146 w 8079933"/>
              <a:gd name="connsiteY19788" fmla="*/ 1449309 h 4687251"/>
              <a:gd name="connsiteX19789" fmla="*/ 7084076 w 8079933"/>
              <a:gd name="connsiteY19789" fmla="*/ 1449634 h 4687251"/>
              <a:gd name="connsiteX19790" fmla="*/ 7084293 w 8079933"/>
              <a:gd name="connsiteY19790" fmla="*/ 1447577 h 4687251"/>
              <a:gd name="connsiteX19791" fmla="*/ 7087331 w 8079933"/>
              <a:gd name="connsiteY19791" fmla="*/ 1448768 h 4687251"/>
              <a:gd name="connsiteX19792" fmla="*/ 7090152 w 8079933"/>
              <a:gd name="connsiteY19792" fmla="*/ 1453207 h 4687251"/>
              <a:gd name="connsiteX19793" fmla="*/ 7090152 w 8079933"/>
              <a:gd name="connsiteY19793" fmla="*/ 1458187 h 4687251"/>
              <a:gd name="connsiteX19794" fmla="*/ 7093516 w 8079933"/>
              <a:gd name="connsiteY19794" fmla="*/ 1460570 h 4687251"/>
              <a:gd name="connsiteX19795" fmla="*/ 7097857 w 8079933"/>
              <a:gd name="connsiteY19795" fmla="*/ 1468907 h 4687251"/>
              <a:gd name="connsiteX19796" fmla="*/ 7106321 w 8079933"/>
              <a:gd name="connsiteY19796" fmla="*/ 1480058 h 4687251"/>
              <a:gd name="connsiteX19797" fmla="*/ 7107841 w 8079933"/>
              <a:gd name="connsiteY19797" fmla="*/ 1485905 h 4687251"/>
              <a:gd name="connsiteX19798" fmla="*/ 7114460 w 8079933"/>
              <a:gd name="connsiteY19798" fmla="*/ 1497598 h 4687251"/>
              <a:gd name="connsiteX19799" fmla="*/ 7121514 w 8079933"/>
              <a:gd name="connsiteY19799" fmla="*/ 1506043 h 4687251"/>
              <a:gd name="connsiteX19800" fmla="*/ 7122165 w 8079933"/>
              <a:gd name="connsiteY19800" fmla="*/ 1510699 h 4687251"/>
              <a:gd name="connsiteX19801" fmla="*/ 7125420 w 8079933"/>
              <a:gd name="connsiteY19801" fmla="*/ 1512323 h 4687251"/>
              <a:gd name="connsiteX19802" fmla="*/ 7127482 w 8079933"/>
              <a:gd name="connsiteY19802" fmla="*/ 1517845 h 4687251"/>
              <a:gd name="connsiteX19803" fmla="*/ 7132040 w 8079933"/>
              <a:gd name="connsiteY19803" fmla="*/ 1526290 h 4687251"/>
              <a:gd name="connsiteX19804" fmla="*/ 7134753 w 8079933"/>
              <a:gd name="connsiteY19804" fmla="*/ 1528672 h 4687251"/>
              <a:gd name="connsiteX19805" fmla="*/ 7134753 w 8079933"/>
              <a:gd name="connsiteY19805" fmla="*/ 1531812 h 4687251"/>
              <a:gd name="connsiteX19806" fmla="*/ 7138876 w 8079933"/>
              <a:gd name="connsiteY19806" fmla="*/ 1537659 h 4687251"/>
              <a:gd name="connsiteX19807" fmla="*/ 7142675 w 8079933"/>
              <a:gd name="connsiteY19807" fmla="*/ 1544155 h 4687251"/>
              <a:gd name="connsiteX19808" fmla="*/ 7149620 w 8079933"/>
              <a:gd name="connsiteY19808" fmla="*/ 1549135 h 4687251"/>
              <a:gd name="connsiteX19809" fmla="*/ 7154394 w 8079933"/>
              <a:gd name="connsiteY19809" fmla="*/ 1555198 h 4687251"/>
              <a:gd name="connsiteX19810" fmla="*/ 7156673 w 8079933"/>
              <a:gd name="connsiteY19810" fmla="*/ 1561369 h 4687251"/>
              <a:gd name="connsiteX19811" fmla="*/ 7154069 w 8079933"/>
              <a:gd name="connsiteY19811" fmla="*/ 1560179 h 4687251"/>
              <a:gd name="connsiteX19812" fmla="*/ 7149728 w 8079933"/>
              <a:gd name="connsiteY19812" fmla="*/ 1553357 h 4687251"/>
              <a:gd name="connsiteX19813" fmla="*/ 7145279 w 8079933"/>
              <a:gd name="connsiteY19813" fmla="*/ 1550543 h 4687251"/>
              <a:gd name="connsiteX19814" fmla="*/ 7140287 w 8079933"/>
              <a:gd name="connsiteY19814" fmla="*/ 1548702 h 4687251"/>
              <a:gd name="connsiteX19815" fmla="*/ 7137031 w 8079933"/>
              <a:gd name="connsiteY19815" fmla="*/ 1541881 h 4687251"/>
              <a:gd name="connsiteX19816" fmla="*/ 7131931 w 8079933"/>
              <a:gd name="connsiteY19816" fmla="*/ 1538524 h 4687251"/>
              <a:gd name="connsiteX19817" fmla="*/ 7126289 w 8079933"/>
              <a:gd name="connsiteY19817" fmla="*/ 1537767 h 4687251"/>
              <a:gd name="connsiteX19818" fmla="*/ 7120754 w 8079933"/>
              <a:gd name="connsiteY19818" fmla="*/ 1539066 h 4687251"/>
              <a:gd name="connsiteX19819" fmla="*/ 7118041 w 8079933"/>
              <a:gd name="connsiteY19819" fmla="*/ 1538524 h 4687251"/>
              <a:gd name="connsiteX19820" fmla="*/ 7115762 w 8079933"/>
              <a:gd name="connsiteY19820" fmla="*/ 1538849 h 4687251"/>
              <a:gd name="connsiteX19821" fmla="*/ 7115871 w 8079933"/>
              <a:gd name="connsiteY19821" fmla="*/ 1541556 h 4687251"/>
              <a:gd name="connsiteX19822" fmla="*/ 7115003 w 8079933"/>
              <a:gd name="connsiteY19822" fmla="*/ 1545129 h 4687251"/>
              <a:gd name="connsiteX19823" fmla="*/ 7112832 w 8079933"/>
              <a:gd name="connsiteY19823" fmla="*/ 1548269 h 4687251"/>
              <a:gd name="connsiteX19824" fmla="*/ 7116088 w 8079933"/>
              <a:gd name="connsiteY19824" fmla="*/ 1554332 h 4687251"/>
              <a:gd name="connsiteX19825" fmla="*/ 7116522 w 8079933"/>
              <a:gd name="connsiteY19825" fmla="*/ 1558988 h 4687251"/>
              <a:gd name="connsiteX19826" fmla="*/ 7115437 w 8079933"/>
              <a:gd name="connsiteY19826" fmla="*/ 1567000 h 4687251"/>
              <a:gd name="connsiteX19827" fmla="*/ 7118366 w 8079933"/>
              <a:gd name="connsiteY19827" fmla="*/ 1571871 h 4687251"/>
              <a:gd name="connsiteX19828" fmla="*/ 7119234 w 8079933"/>
              <a:gd name="connsiteY19828" fmla="*/ 1581075 h 4687251"/>
              <a:gd name="connsiteX19829" fmla="*/ 7119018 w 8079933"/>
              <a:gd name="connsiteY19829" fmla="*/ 1588870 h 4687251"/>
              <a:gd name="connsiteX19830" fmla="*/ 7120754 w 8079933"/>
              <a:gd name="connsiteY19830" fmla="*/ 1594717 h 4687251"/>
              <a:gd name="connsiteX19831" fmla="*/ 7124444 w 8079933"/>
              <a:gd name="connsiteY19831" fmla="*/ 1600888 h 4687251"/>
              <a:gd name="connsiteX19832" fmla="*/ 7126505 w 8079933"/>
              <a:gd name="connsiteY19832" fmla="*/ 1609117 h 4687251"/>
              <a:gd name="connsiteX19833" fmla="*/ 7130304 w 8079933"/>
              <a:gd name="connsiteY19833" fmla="*/ 1613772 h 4687251"/>
              <a:gd name="connsiteX19834" fmla="*/ 7133885 w 8079933"/>
              <a:gd name="connsiteY19834" fmla="*/ 1614639 h 4687251"/>
              <a:gd name="connsiteX19835" fmla="*/ 7139744 w 8079933"/>
              <a:gd name="connsiteY19835" fmla="*/ 1619836 h 4687251"/>
              <a:gd name="connsiteX19836" fmla="*/ 7142891 w 8079933"/>
              <a:gd name="connsiteY19836" fmla="*/ 1625358 h 4687251"/>
              <a:gd name="connsiteX19837" fmla="*/ 7143868 w 8079933"/>
              <a:gd name="connsiteY19837" fmla="*/ 1632395 h 4687251"/>
              <a:gd name="connsiteX19838" fmla="*/ 7150379 w 8079933"/>
              <a:gd name="connsiteY19838" fmla="*/ 1636509 h 4687251"/>
              <a:gd name="connsiteX19839" fmla="*/ 7153527 w 8079933"/>
              <a:gd name="connsiteY19839" fmla="*/ 1636509 h 4687251"/>
              <a:gd name="connsiteX19840" fmla="*/ 7156999 w 8079933"/>
              <a:gd name="connsiteY19840" fmla="*/ 1634777 h 4687251"/>
              <a:gd name="connsiteX19841" fmla="*/ 7158735 w 8079933"/>
              <a:gd name="connsiteY19841" fmla="*/ 1638674 h 4687251"/>
              <a:gd name="connsiteX19842" fmla="*/ 7159929 w 8079933"/>
              <a:gd name="connsiteY19842" fmla="*/ 1645062 h 4687251"/>
              <a:gd name="connsiteX19843" fmla="*/ 7164378 w 8079933"/>
              <a:gd name="connsiteY19843" fmla="*/ 1648852 h 4687251"/>
              <a:gd name="connsiteX19844" fmla="*/ 7164378 w 8079933"/>
              <a:gd name="connsiteY19844" fmla="*/ 1654374 h 4687251"/>
              <a:gd name="connsiteX19845" fmla="*/ 7164052 w 8079933"/>
              <a:gd name="connsiteY19845" fmla="*/ 1659354 h 4687251"/>
              <a:gd name="connsiteX19846" fmla="*/ 7165029 w 8079933"/>
              <a:gd name="connsiteY19846" fmla="*/ 1661953 h 4687251"/>
              <a:gd name="connsiteX19847" fmla="*/ 7164921 w 8079933"/>
              <a:gd name="connsiteY19847" fmla="*/ 1665201 h 4687251"/>
              <a:gd name="connsiteX19848" fmla="*/ 7162099 w 8079933"/>
              <a:gd name="connsiteY19848" fmla="*/ 1662278 h 4687251"/>
              <a:gd name="connsiteX19849" fmla="*/ 7161448 w 8079933"/>
              <a:gd name="connsiteY19849" fmla="*/ 1657947 h 4687251"/>
              <a:gd name="connsiteX19850" fmla="*/ 7156456 w 8079933"/>
              <a:gd name="connsiteY19850" fmla="*/ 1652641 h 4687251"/>
              <a:gd name="connsiteX19851" fmla="*/ 7156131 w 8079933"/>
              <a:gd name="connsiteY19851" fmla="*/ 1649068 h 4687251"/>
              <a:gd name="connsiteX19852" fmla="*/ 7157324 w 8079933"/>
              <a:gd name="connsiteY19852" fmla="*/ 1647336 h 4687251"/>
              <a:gd name="connsiteX19853" fmla="*/ 7155805 w 8079933"/>
              <a:gd name="connsiteY19853" fmla="*/ 1644954 h 4687251"/>
              <a:gd name="connsiteX19854" fmla="*/ 7153527 w 8079933"/>
              <a:gd name="connsiteY19854" fmla="*/ 1645388 h 4687251"/>
              <a:gd name="connsiteX19855" fmla="*/ 7152550 w 8079933"/>
              <a:gd name="connsiteY19855" fmla="*/ 1647661 h 4687251"/>
              <a:gd name="connsiteX19856" fmla="*/ 7143217 w 8079933"/>
              <a:gd name="connsiteY19856" fmla="*/ 1648527 h 4687251"/>
              <a:gd name="connsiteX19857" fmla="*/ 7140396 w 8079933"/>
              <a:gd name="connsiteY19857" fmla="*/ 1646578 h 4687251"/>
              <a:gd name="connsiteX19858" fmla="*/ 7140396 w 8079933"/>
              <a:gd name="connsiteY19858" fmla="*/ 1643222 h 4687251"/>
              <a:gd name="connsiteX19859" fmla="*/ 7138225 w 8079933"/>
              <a:gd name="connsiteY19859" fmla="*/ 1642139 h 4687251"/>
              <a:gd name="connsiteX19860" fmla="*/ 7133885 w 8079933"/>
              <a:gd name="connsiteY19860" fmla="*/ 1645929 h 4687251"/>
              <a:gd name="connsiteX19861" fmla="*/ 7132800 w 8079933"/>
              <a:gd name="connsiteY19861" fmla="*/ 1653724 h 4687251"/>
              <a:gd name="connsiteX19862" fmla="*/ 7134427 w 8079933"/>
              <a:gd name="connsiteY19862" fmla="*/ 1659138 h 4687251"/>
              <a:gd name="connsiteX19863" fmla="*/ 7136489 w 8079933"/>
              <a:gd name="connsiteY19863" fmla="*/ 1663685 h 4687251"/>
              <a:gd name="connsiteX19864" fmla="*/ 7135621 w 8079933"/>
              <a:gd name="connsiteY19864" fmla="*/ 1668774 h 4687251"/>
              <a:gd name="connsiteX19865" fmla="*/ 7136272 w 8079933"/>
              <a:gd name="connsiteY19865" fmla="*/ 1674188 h 4687251"/>
              <a:gd name="connsiteX19866" fmla="*/ 7130304 w 8079933"/>
              <a:gd name="connsiteY19866" fmla="*/ 1670506 h 4687251"/>
              <a:gd name="connsiteX19867" fmla="*/ 7126831 w 8079933"/>
              <a:gd name="connsiteY19867" fmla="*/ 1663361 h 4687251"/>
              <a:gd name="connsiteX19868" fmla="*/ 7121839 w 8079933"/>
              <a:gd name="connsiteY19868" fmla="*/ 1659679 h 4687251"/>
              <a:gd name="connsiteX19869" fmla="*/ 7119777 w 8079933"/>
              <a:gd name="connsiteY19869" fmla="*/ 1653724 h 4687251"/>
              <a:gd name="connsiteX19870" fmla="*/ 7120429 w 8079933"/>
              <a:gd name="connsiteY19870" fmla="*/ 1643655 h 4687251"/>
              <a:gd name="connsiteX19871" fmla="*/ 7121839 w 8079933"/>
              <a:gd name="connsiteY19871" fmla="*/ 1636184 h 4687251"/>
              <a:gd name="connsiteX19872" fmla="*/ 7121079 w 8079933"/>
              <a:gd name="connsiteY19872" fmla="*/ 1632503 h 4687251"/>
              <a:gd name="connsiteX19873" fmla="*/ 7114786 w 8079933"/>
              <a:gd name="connsiteY19873" fmla="*/ 1624275 h 4687251"/>
              <a:gd name="connsiteX19874" fmla="*/ 7113592 w 8079933"/>
              <a:gd name="connsiteY19874" fmla="*/ 1619294 h 4687251"/>
              <a:gd name="connsiteX19875" fmla="*/ 7109577 w 8079933"/>
              <a:gd name="connsiteY19875" fmla="*/ 1611932 h 4687251"/>
              <a:gd name="connsiteX19876" fmla="*/ 7108383 w 8079933"/>
              <a:gd name="connsiteY19876" fmla="*/ 1604028 h 4687251"/>
              <a:gd name="connsiteX19877" fmla="*/ 7109252 w 8079933"/>
              <a:gd name="connsiteY19877" fmla="*/ 1594067 h 4687251"/>
              <a:gd name="connsiteX19878" fmla="*/ 7105562 w 8079933"/>
              <a:gd name="connsiteY19878" fmla="*/ 1587463 h 4687251"/>
              <a:gd name="connsiteX19879" fmla="*/ 7105562 w 8079933"/>
              <a:gd name="connsiteY19879" fmla="*/ 1582807 h 4687251"/>
              <a:gd name="connsiteX19880" fmla="*/ 7096880 w 8079933"/>
              <a:gd name="connsiteY19880" fmla="*/ 1571871 h 4687251"/>
              <a:gd name="connsiteX19881" fmla="*/ 7092214 w 8079933"/>
              <a:gd name="connsiteY19881" fmla="*/ 1567757 h 4687251"/>
              <a:gd name="connsiteX19882" fmla="*/ 7091455 w 8079933"/>
              <a:gd name="connsiteY19882" fmla="*/ 1561369 h 4687251"/>
              <a:gd name="connsiteX19883" fmla="*/ 7092540 w 8079933"/>
              <a:gd name="connsiteY19883" fmla="*/ 1557905 h 4687251"/>
              <a:gd name="connsiteX19884" fmla="*/ 7088742 w 8079933"/>
              <a:gd name="connsiteY19884" fmla="*/ 1548594 h 4687251"/>
              <a:gd name="connsiteX19885" fmla="*/ 7087657 w 8079933"/>
              <a:gd name="connsiteY19885" fmla="*/ 1540690 h 4687251"/>
              <a:gd name="connsiteX19886" fmla="*/ 7088416 w 8079933"/>
              <a:gd name="connsiteY19886" fmla="*/ 1536143 h 4687251"/>
              <a:gd name="connsiteX19887" fmla="*/ 7086680 w 8079933"/>
              <a:gd name="connsiteY19887" fmla="*/ 1533002 h 4687251"/>
              <a:gd name="connsiteX19888" fmla="*/ 7086029 w 8079933"/>
              <a:gd name="connsiteY19888" fmla="*/ 1524233 h 4687251"/>
              <a:gd name="connsiteX19889" fmla="*/ 7083533 w 8079933"/>
              <a:gd name="connsiteY19889" fmla="*/ 1517737 h 4687251"/>
              <a:gd name="connsiteX19890" fmla="*/ 7082340 w 8079933"/>
              <a:gd name="connsiteY19890" fmla="*/ 1512323 h 4687251"/>
              <a:gd name="connsiteX19891" fmla="*/ 7077021 w 8079933"/>
              <a:gd name="connsiteY19891" fmla="*/ 1503986 h 4687251"/>
              <a:gd name="connsiteX19892" fmla="*/ 7076479 w 8079933"/>
              <a:gd name="connsiteY19892" fmla="*/ 1500305 h 4687251"/>
              <a:gd name="connsiteX19893" fmla="*/ 7077890 w 8079933"/>
              <a:gd name="connsiteY19893" fmla="*/ 1498898 h 4687251"/>
              <a:gd name="connsiteX19894" fmla="*/ 7073441 w 8079933"/>
              <a:gd name="connsiteY19894" fmla="*/ 1494025 h 4687251"/>
              <a:gd name="connsiteX19895" fmla="*/ 7069426 w 8079933"/>
              <a:gd name="connsiteY19895" fmla="*/ 1491210 h 4687251"/>
              <a:gd name="connsiteX19896" fmla="*/ 7069426 w 8079933"/>
              <a:gd name="connsiteY19896" fmla="*/ 1486446 h 4687251"/>
              <a:gd name="connsiteX19897" fmla="*/ 7065627 w 8079933"/>
              <a:gd name="connsiteY19897" fmla="*/ 1480058 h 4687251"/>
              <a:gd name="connsiteX19898" fmla="*/ 7066170 w 8079933"/>
              <a:gd name="connsiteY19898" fmla="*/ 1473887 h 4687251"/>
              <a:gd name="connsiteX19899" fmla="*/ 7064651 w 8079933"/>
              <a:gd name="connsiteY19899" fmla="*/ 1465983 h 4687251"/>
              <a:gd name="connsiteX19900" fmla="*/ 7059117 w 8079933"/>
              <a:gd name="connsiteY19900" fmla="*/ 1457863 h 4687251"/>
              <a:gd name="connsiteX19901" fmla="*/ 7055102 w 8079933"/>
              <a:gd name="connsiteY19901" fmla="*/ 1456456 h 4687251"/>
              <a:gd name="connsiteX19902" fmla="*/ 7043382 w 8079933"/>
              <a:gd name="connsiteY19902" fmla="*/ 1444979 h 4687251"/>
              <a:gd name="connsiteX19903" fmla="*/ 7045661 w 8079933"/>
              <a:gd name="connsiteY19903" fmla="*/ 1443463 h 4687251"/>
              <a:gd name="connsiteX19904" fmla="*/ 7045117 w 8079933"/>
              <a:gd name="connsiteY19904" fmla="*/ 1441189 h 4687251"/>
              <a:gd name="connsiteX19905" fmla="*/ 7040018 w 8079933"/>
              <a:gd name="connsiteY19905" fmla="*/ 1438483 h 4687251"/>
              <a:gd name="connsiteX19906" fmla="*/ 7036220 w 8079933"/>
              <a:gd name="connsiteY19906" fmla="*/ 1430904 h 4687251"/>
              <a:gd name="connsiteX19907" fmla="*/ 7033072 w 8079933"/>
              <a:gd name="connsiteY19907" fmla="*/ 1419536 h 4687251"/>
              <a:gd name="connsiteX19908" fmla="*/ 7032096 w 8079933"/>
              <a:gd name="connsiteY19908" fmla="*/ 1411956 h 4687251"/>
              <a:gd name="connsiteX19909" fmla="*/ 7030360 w 8079933"/>
              <a:gd name="connsiteY19909" fmla="*/ 1409791 h 4687251"/>
              <a:gd name="connsiteX19910" fmla="*/ 7029817 w 8079933"/>
              <a:gd name="connsiteY19910" fmla="*/ 1399614 h 4687251"/>
              <a:gd name="connsiteX19911" fmla="*/ 7025694 w 8079933"/>
              <a:gd name="connsiteY19911" fmla="*/ 1392035 h 4687251"/>
              <a:gd name="connsiteX19912" fmla="*/ 7020810 w 8079933"/>
              <a:gd name="connsiteY19912" fmla="*/ 1386188 h 4687251"/>
              <a:gd name="connsiteX19913" fmla="*/ 7019508 w 8079933"/>
              <a:gd name="connsiteY19913" fmla="*/ 1380558 h 4687251"/>
              <a:gd name="connsiteX19914" fmla="*/ 7015167 w 8079933"/>
              <a:gd name="connsiteY19914" fmla="*/ 1375686 h 4687251"/>
              <a:gd name="connsiteX19915" fmla="*/ 7017772 w 8079933"/>
              <a:gd name="connsiteY19915" fmla="*/ 1369298 h 4687251"/>
              <a:gd name="connsiteX19916" fmla="*/ 7020810 w 8079933"/>
              <a:gd name="connsiteY19916" fmla="*/ 1366374 h 4687251"/>
              <a:gd name="connsiteX19917" fmla="*/ 7023740 w 8079933"/>
              <a:gd name="connsiteY19917" fmla="*/ 1370380 h 4687251"/>
              <a:gd name="connsiteX19918" fmla="*/ 7027430 w 8079933"/>
              <a:gd name="connsiteY19918" fmla="*/ 1371030 h 4687251"/>
              <a:gd name="connsiteX19919" fmla="*/ 7031228 w 8079933"/>
              <a:gd name="connsiteY19919" fmla="*/ 1368865 h 4687251"/>
              <a:gd name="connsiteX19920" fmla="*/ 7030034 w 8079933"/>
              <a:gd name="connsiteY19920" fmla="*/ 1363992 h 4687251"/>
              <a:gd name="connsiteX19921" fmla="*/ 7026344 w 8079933"/>
              <a:gd name="connsiteY19921" fmla="*/ 1363884 h 4687251"/>
              <a:gd name="connsiteX19922" fmla="*/ 7025476 w 8079933"/>
              <a:gd name="connsiteY19922" fmla="*/ 1360745 h 4687251"/>
              <a:gd name="connsiteX19923" fmla="*/ 7028732 w 8079933"/>
              <a:gd name="connsiteY19923" fmla="*/ 1359337 h 4687251"/>
              <a:gd name="connsiteX19924" fmla="*/ 7030686 w 8079933"/>
              <a:gd name="connsiteY19924" fmla="*/ 1357172 h 4687251"/>
              <a:gd name="connsiteX19925" fmla="*/ 7029492 w 8079933"/>
              <a:gd name="connsiteY19925" fmla="*/ 1353815 h 4687251"/>
              <a:gd name="connsiteX19926" fmla="*/ 7026670 w 8079933"/>
              <a:gd name="connsiteY19926" fmla="*/ 1354249 h 4687251"/>
              <a:gd name="connsiteX19927" fmla="*/ 7024500 w 8079933"/>
              <a:gd name="connsiteY19927" fmla="*/ 1356305 h 4687251"/>
              <a:gd name="connsiteX19928" fmla="*/ 7025151 w 8079933"/>
              <a:gd name="connsiteY19928" fmla="*/ 1350892 h 4687251"/>
              <a:gd name="connsiteX19929" fmla="*/ 7022763 w 8079933"/>
              <a:gd name="connsiteY19929" fmla="*/ 1347102 h 4687251"/>
              <a:gd name="connsiteX19930" fmla="*/ 7014517 w 8079933"/>
              <a:gd name="connsiteY19930" fmla="*/ 1342339 h 4687251"/>
              <a:gd name="connsiteX19931" fmla="*/ 7008331 w 8079933"/>
              <a:gd name="connsiteY19931" fmla="*/ 1335842 h 4687251"/>
              <a:gd name="connsiteX19932" fmla="*/ 7012237 w 8079933"/>
              <a:gd name="connsiteY19932" fmla="*/ 1335409 h 4687251"/>
              <a:gd name="connsiteX19933" fmla="*/ 7015710 w 8079933"/>
              <a:gd name="connsiteY19933" fmla="*/ 1337899 h 4687251"/>
              <a:gd name="connsiteX19934" fmla="*/ 7018423 w 8079933"/>
              <a:gd name="connsiteY19934" fmla="*/ 1336817 h 4687251"/>
              <a:gd name="connsiteX19935" fmla="*/ 7018315 w 8079933"/>
              <a:gd name="connsiteY19935" fmla="*/ 1333352 h 4687251"/>
              <a:gd name="connsiteX19936" fmla="*/ 7016579 w 8079933"/>
              <a:gd name="connsiteY19936" fmla="*/ 1331295 h 4687251"/>
              <a:gd name="connsiteX19937" fmla="*/ 1078872 w 8079933"/>
              <a:gd name="connsiteY19937" fmla="*/ 1328479 h 4687251"/>
              <a:gd name="connsiteX19938" fmla="*/ 1079089 w 8079933"/>
              <a:gd name="connsiteY19938" fmla="*/ 1333785 h 4687251"/>
              <a:gd name="connsiteX19939" fmla="*/ 1075834 w 8079933"/>
              <a:gd name="connsiteY19939" fmla="*/ 1332052 h 4687251"/>
              <a:gd name="connsiteX19940" fmla="*/ 3796562 w 8079933"/>
              <a:gd name="connsiteY19940" fmla="*/ 1327397 h 4687251"/>
              <a:gd name="connsiteX19941" fmla="*/ 3800360 w 8079933"/>
              <a:gd name="connsiteY19941" fmla="*/ 1329238 h 4687251"/>
              <a:gd name="connsiteX19942" fmla="*/ 3799817 w 8079933"/>
              <a:gd name="connsiteY19942" fmla="*/ 1331728 h 4687251"/>
              <a:gd name="connsiteX19943" fmla="*/ 3800360 w 8079933"/>
              <a:gd name="connsiteY19943" fmla="*/ 1336493 h 4687251"/>
              <a:gd name="connsiteX19944" fmla="*/ 2607 w 8079933"/>
              <a:gd name="connsiteY19944" fmla="*/ 1325448 h 4687251"/>
              <a:gd name="connsiteX19945" fmla="*/ 4668 w 8079933"/>
              <a:gd name="connsiteY19945" fmla="*/ 1328697 h 4687251"/>
              <a:gd name="connsiteX19946" fmla="*/ 0 w 8079933"/>
              <a:gd name="connsiteY19946" fmla="*/ 1330212 h 4687251"/>
              <a:gd name="connsiteX19947" fmla="*/ 1072361 w 8079933"/>
              <a:gd name="connsiteY19947" fmla="*/ 1324906 h 4687251"/>
              <a:gd name="connsiteX19948" fmla="*/ 1075942 w 8079933"/>
              <a:gd name="connsiteY19948" fmla="*/ 1326314 h 4687251"/>
              <a:gd name="connsiteX19949" fmla="*/ 1071819 w 8079933"/>
              <a:gd name="connsiteY19949" fmla="*/ 1331078 h 4687251"/>
              <a:gd name="connsiteX19950" fmla="*/ 3066680 w 8079933"/>
              <a:gd name="connsiteY19950" fmla="*/ 1322742 h 4687251"/>
              <a:gd name="connsiteX19951" fmla="*/ 3067547 w 8079933"/>
              <a:gd name="connsiteY19951" fmla="*/ 1324907 h 4687251"/>
              <a:gd name="connsiteX19952" fmla="*/ 3065703 w 8079933"/>
              <a:gd name="connsiteY19952" fmla="*/ 1325991 h 4687251"/>
              <a:gd name="connsiteX19953" fmla="*/ 3062448 w 8079933"/>
              <a:gd name="connsiteY19953" fmla="*/ 1323825 h 4687251"/>
              <a:gd name="connsiteX19954" fmla="*/ 3064401 w 8079933"/>
              <a:gd name="connsiteY19954" fmla="*/ 1322850 h 4687251"/>
              <a:gd name="connsiteX19955" fmla="*/ 6883537 w 8079933"/>
              <a:gd name="connsiteY19955" fmla="*/ 1320576 h 4687251"/>
              <a:gd name="connsiteX19956" fmla="*/ 6884622 w 8079933"/>
              <a:gd name="connsiteY19956" fmla="*/ 1323499 h 4687251"/>
              <a:gd name="connsiteX19957" fmla="*/ 6882777 w 8079933"/>
              <a:gd name="connsiteY19957" fmla="*/ 1326314 h 4687251"/>
              <a:gd name="connsiteX19958" fmla="*/ 6884187 w 8079933"/>
              <a:gd name="connsiteY19958" fmla="*/ 1329670 h 4687251"/>
              <a:gd name="connsiteX19959" fmla="*/ 6882560 w 8079933"/>
              <a:gd name="connsiteY19959" fmla="*/ 1330862 h 4687251"/>
              <a:gd name="connsiteX19960" fmla="*/ 6879847 w 8079933"/>
              <a:gd name="connsiteY19960" fmla="*/ 1329129 h 4687251"/>
              <a:gd name="connsiteX19961" fmla="*/ 6878327 w 8079933"/>
              <a:gd name="connsiteY19961" fmla="*/ 1330753 h 4687251"/>
              <a:gd name="connsiteX19962" fmla="*/ 6878327 w 8079933"/>
              <a:gd name="connsiteY19962" fmla="*/ 1331945 h 4687251"/>
              <a:gd name="connsiteX19963" fmla="*/ 6876591 w 8079933"/>
              <a:gd name="connsiteY19963" fmla="*/ 1332811 h 4687251"/>
              <a:gd name="connsiteX19964" fmla="*/ 6874638 w 8079933"/>
              <a:gd name="connsiteY19964" fmla="*/ 1329454 h 4687251"/>
              <a:gd name="connsiteX19965" fmla="*/ 6874747 w 8079933"/>
              <a:gd name="connsiteY19965" fmla="*/ 1325556 h 4687251"/>
              <a:gd name="connsiteX19966" fmla="*/ 6879413 w 8079933"/>
              <a:gd name="connsiteY19966" fmla="*/ 1323824 h 4687251"/>
              <a:gd name="connsiteX19967" fmla="*/ 6882126 w 8079933"/>
              <a:gd name="connsiteY19967" fmla="*/ 1320792 h 4687251"/>
              <a:gd name="connsiteX19968" fmla="*/ 2955233 w 8079933"/>
              <a:gd name="connsiteY19968" fmla="*/ 1320034 h 4687251"/>
              <a:gd name="connsiteX19969" fmla="*/ 2958814 w 8079933"/>
              <a:gd name="connsiteY19969" fmla="*/ 1320900 h 4687251"/>
              <a:gd name="connsiteX19970" fmla="*/ 2960224 w 8079933"/>
              <a:gd name="connsiteY19970" fmla="*/ 1324364 h 4687251"/>
              <a:gd name="connsiteX19971" fmla="*/ 2956860 w 8079933"/>
              <a:gd name="connsiteY19971" fmla="*/ 1325772 h 4687251"/>
              <a:gd name="connsiteX19972" fmla="*/ 2955775 w 8079933"/>
              <a:gd name="connsiteY19972" fmla="*/ 1323390 h 4687251"/>
              <a:gd name="connsiteX19973" fmla="*/ 2953822 w 8079933"/>
              <a:gd name="connsiteY19973" fmla="*/ 1322957 h 4687251"/>
              <a:gd name="connsiteX19974" fmla="*/ 2953280 w 8079933"/>
              <a:gd name="connsiteY19974" fmla="*/ 1321333 h 4687251"/>
              <a:gd name="connsiteX19975" fmla="*/ 2980952 w 8079933"/>
              <a:gd name="connsiteY19975" fmla="*/ 1317436 h 4687251"/>
              <a:gd name="connsiteX19976" fmla="*/ 2982905 w 8079933"/>
              <a:gd name="connsiteY19976" fmla="*/ 1318736 h 4687251"/>
              <a:gd name="connsiteX19977" fmla="*/ 2982688 w 8079933"/>
              <a:gd name="connsiteY19977" fmla="*/ 1321118 h 4687251"/>
              <a:gd name="connsiteX19978" fmla="*/ 2979758 w 8079933"/>
              <a:gd name="connsiteY19978" fmla="*/ 1321118 h 4687251"/>
              <a:gd name="connsiteX19979" fmla="*/ 2979107 w 8079933"/>
              <a:gd name="connsiteY19979" fmla="*/ 1318519 h 4687251"/>
              <a:gd name="connsiteX19980" fmla="*/ 4026293 w 8079933"/>
              <a:gd name="connsiteY19980" fmla="*/ 1317328 h 4687251"/>
              <a:gd name="connsiteX19981" fmla="*/ 4031827 w 8079933"/>
              <a:gd name="connsiteY19981" fmla="*/ 1319926 h 4687251"/>
              <a:gd name="connsiteX19982" fmla="*/ 4027270 w 8079933"/>
              <a:gd name="connsiteY19982" fmla="*/ 1320793 h 4687251"/>
              <a:gd name="connsiteX19983" fmla="*/ 6895363 w 8079933"/>
              <a:gd name="connsiteY19983" fmla="*/ 1317111 h 4687251"/>
              <a:gd name="connsiteX19984" fmla="*/ 6898728 w 8079933"/>
              <a:gd name="connsiteY19984" fmla="*/ 1318843 h 4687251"/>
              <a:gd name="connsiteX19985" fmla="*/ 6903828 w 8079933"/>
              <a:gd name="connsiteY19985" fmla="*/ 1317869 h 4687251"/>
              <a:gd name="connsiteX19986" fmla="*/ 6905130 w 8079933"/>
              <a:gd name="connsiteY19986" fmla="*/ 1318843 h 4687251"/>
              <a:gd name="connsiteX19987" fmla="*/ 6904804 w 8079933"/>
              <a:gd name="connsiteY19987" fmla="*/ 1320684 h 4687251"/>
              <a:gd name="connsiteX19988" fmla="*/ 6902851 w 8079933"/>
              <a:gd name="connsiteY19988" fmla="*/ 1323715 h 4687251"/>
              <a:gd name="connsiteX19989" fmla="*/ 6903828 w 8079933"/>
              <a:gd name="connsiteY19989" fmla="*/ 1325015 h 4687251"/>
              <a:gd name="connsiteX19990" fmla="*/ 6906324 w 8079933"/>
              <a:gd name="connsiteY19990" fmla="*/ 1323391 h 4687251"/>
              <a:gd name="connsiteX19991" fmla="*/ 6907192 w 8079933"/>
              <a:gd name="connsiteY19991" fmla="*/ 1321225 h 4687251"/>
              <a:gd name="connsiteX19992" fmla="*/ 6911099 w 8079933"/>
              <a:gd name="connsiteY19992" fmla="*/ 1321225 h 4687251"/>
              <a:gd name="connsiteX19993" fmla="*/ 6910230 w 8079933"/>
              <a:gd name="connsiteY19993" fmla="*/ 1323391 h 4687251"/>
              <a:gd name="connsiteX19994" fmla="*/ 6907517 w 8079933"/>
              <a:gd name="connsiteY19994" fmla="*/ 1325989 h 4687251"/>
              <a:gd name="connsiteX19995" fmla="*/ 6907410 w 8079933"/>
              <a:gd name="connsiteY19995" fmla="*/ 1329021 h 4687251"/>
              <a:gd name="connsiteX19996" fmla="*/ 6909037 w 8079933"/>
              <a:gd name="connsiteY19996" fmla="*/ 1331511 h 4687251"/>
              <a:gd name="connsiteX19997" fmla="*/ 6907626 w 8079933"/>
              <a:gd name="connsiteY19997" fmla="*/ 1334326 h 4687251"/>
              <a:gd name="connsiteX19998" fmla="*/ 6905021 w 8079933"/>
              <a:gd name="connsiteY19998" fmla="*/ 1336925 h 4687251"/>
              <a:gd name="connsiteX19999" fmla="*/ 6901115 w 8079933"/>
              <a:gd name="connsiteY19999" fmla="*/ 1335842 h 4687251"/>
              <a:gd name="connsiteX20000" fmla="*/ 6898076 w 8079933"/>
              <a:gd name="connsiteY20000" fmla="*/ 1332486 h 4687251"/>
              <a:gd name="connsiteX20001" fmla="*/ 6895906 w 8079933"/>
              <a:gd name="connsiteY20001" fmla="*/ 1331944 h 4687251"/>
              <a:gd name="connsiteX20002" fmla="*/ 6894496 w 8079933"/>
              <a:gd name="connsiteY20002" fmla="*/ 1333460 h 4687251"/>
              <a:gd name="connsiteX20003" fmla="*/ 6893845 w 8079933"/>
              <a:gd name="connsiteY20003" fmla="*/ 1335733 h 4687251"/>
              <a:gd name="connsiteX20004" fmla="*/ 6892326 w 8079933"/>
              <a:gd name="connsiteY20004" fmla="*/ 1336383 h 4687251"/>
              <a:gd name="connsiteX20005" fmla="*/ 6888527 w 8079933"/>
              <a:gd name="connsiteY20005" fmla="*/ 1329995 h 4687251"/>
              <a:gd name="connsiteX20006" fmla="*/ 6888527 w 8079933"/>
              <a:gd name="connsiteY20006" fmla="*/ 1326422 h 4687251"/>
              <a:gd name="connsiteX20007" fmla="*/ 6891566 w 8079933"/>
              <a:gd name="connsiteY20007" fmla="*/ 1323823 h 4687251"/>
              <a:gd name="connsiteX20008" fmla="*/ 6892868 w 8079933"/>
              <a:gd name="connsiteY20008" fmla="*/ 1319493 h 4687251"/>
              <a:gd name="connsiteX20009" fmla="*/ 2994407 w 8079933"/>
              <a:gd name="connsiteY20009" fmla="*/ 1317111 h 4687251"/>
              <a:gd name="connsiteX20010" fmla="*/ 2995058 w 8079933"/>
              <a:gd name="connsiteY20010" fmla="*/ 1318627 h 4687251"/>
              <a:gd name="connsiteX20011" fmla="*/ 2992129 w 8079933"/>
              <a:gd name="connsiteY20011" fmla="*/ 1320359 h 4687251"/>
              <a:gd name="connsiteX20012" fmla="*/ 2989308 w 8079933"/>
              <a:gd name="connsiteY20012" fmla="*/ 1320468 h 4687251"/>
              <a:gd name="connsiteX20013" fmla="*/ 2988331 w 8079933"/>
              <a:gd name="connsiteY20013" fmla="*/ 1319601 h 4687251"/>
              <a:gd name="connsiteX20014" fmla="*/ 2990935 w 8079933"/>
              <a:gd name="connsiteY20014" fmla="*/ 1317327 h 4687251"/>
              <a:gd name="connsiteX20015" fmla="*/ 3799276 w 8079933"/>
              <a:gd name="connsiteY20015" fmla="*/ 1316354 h 4687251"/>
              <a:gd name="connsiteX20016" fmla="*/ 3800795 w 8079933"/>
              <a:gd name="connsiteY20016" fmla="*/ 1318627 h 4687251"/>
              <a:gd name="connsiteX20017" fmla="*/ 3800578 w 8079933"/>
              <a:gd name="connsiteY20017" fmla="*/ 1321876 h 4687251"/>
              <a:gd name="connsiteX20018" fmla="*/ 3797106 w 8079933"/>
              <a:gd name="connsiteY20018" fmla="*/ 1317762 h 4687251"/>
              <a:gd name="connsiteX20019" fmla="*/ 6078 w 8079933"/>
              <a:gd name="connsiteY20019" fmla="*/ 1315271 h 4687251"/>
              <a:gd name="connsiteX20020" fmla="*/ 10526 w 8079933"/>
              <a:gd name="connsiteY20020" fmla="*/ 1317112 h 4687251"/>
              <a:gd name="connsiteX20021" fmla="*/ 5643 w 8079933"/>
              <a:gd name="connsiteY20021" fmla="*/ 1320902 h 4687251"/>
              <a:gd name="connsiteX20022" fmla="*/ 2931 w 8079933"/>
              <a:gd name="connsiteY20022" fmla="*/ 1317545 h 4687251"/>
              <a:gd name="connsiteX20023" fmla="*/ 135104 w 8079933"/>
              <a:gd name="connsiteY20023" fmla="*/ 1313539 h 4687251"/>
              <a:gd name="connsiteX20024" fmla="*/ 146605 w 8079933"/>
              <a:gd name="connsiteY20024" fmla="*/ 1315812 h 4687251"/>
              <a:gd name="connsiteX20025" fmla="*/ 149861 w 8079933"/>
              <a:gd name="connsiteY20025" fmla="*/ 1314947 h 4687251"/>
              <a:gd name="connsiteX20026" fmla="*/ 153551 w 8079933"/>
              <a:gd name="connsiteY20026" fmla="*/ 1317653 h 4687251"/>
              <a:gd name="connsiteX20027" fmla="*/ 147910 w 8079933"/>
              <a:gd name="connsiteY20027" fmla="*/ 1319061 h 4687251"/>
              <a:gd name="connsiteX20028" fmla="*/ 137057 w 8079933"/>
              <a:gd name="connsiteY20028" fmla="*/ 1316354 h 4687251"/>
              <a:gd name="connsiteX20029" fmla="*/ 133150 w 8079933"/>
              <a:gd name="connsiteY20029" fmla="*/ 1317436 h 4687251"/>
              <a:gd name="connsiteX20030" fmla="*/ 130654 w 8079933"/>
              <a:gd name="connsiteY20030" fmla="*/ 1314838 h 4687251"/>
              <a:gd name="connsiteX20031" fmla="*/ 1135953 w 8079933"/>
              <a:gd name="connsiteY20031" fmla="*/ 1311481 h 4687251"/>
              <a:gd name="connsiteX20032" fmla="*/ 1137798 w 8079933"/>
              <a:gd name="connsiteY20032" fmla="*/ 1316461 h 4687251"/>
              <a:gd name="connsiteX20033" fmla="*/ 1135953 w 8079933"/>
              <a:gd name="connsiteY20033" fmla="*/ 1321766 h 4687251"/>
              <a:gd name="connsiteX20034" fmla="*/ 1137472 w 8079933"/>
              <a:gd name="connsiteY20034" fmla="*/ 1325772 h 4687251"/>
              <a:gd name="connsiteX20035" fmla="*/ 1131287 w 8079933"/>
              <a:gd name="connsiteY20035" fmla="*/ 1334650 h 4687251"/>
              <a:gd name="connsiteX20036" fmla="*/ 1124016 w 8079933"/>
              <a:gd name="connsiteY20036" fmla="*/ 1340497 h 4687251"/>
              <a:gd name="connsiteX20037" fmla="*/ 1121846 w 8079933"/>
              <a:gd name="connsiteY20037" fmla="*/ 1338115 h 4687251"/>
              <a:gd name="connsiteX20038" fmla="*/ 1124884 w 8079933"/>
              <a:gd name="connsiteY20038" fmla="*/ 1332810 h 4687251"/>
              <a:gd name="connsiteX20039" fmla="*/ 1129659 w 8079933"/>
              <a:gd name="connsiteY20039" fmla="*/ 1329345 h 4687251"/>
              <a:gd name="connsiteX20040" fmla="*/ 1129659 w 8079933"/>
              <a:gd name="connsiteY20040" fmla="*/ 1327288 h 4687251"/>
              <a:gd name="connsiteX20041" fmla="*/ 1120869 w 8079933"/>
              <a:gd name="connsiteY20041" fmla="*/ 1331619 h 4687251"/>
              <a:gd name="connsiteX20042" fmla="*/ 1119350 w 8079933"/>
              <a:gd name="connsiteY20042" fmla="*/ 1328804 h 4687251"/>
              <a:gd name="connsiteX20043" fmla="*/ 1123365 w 8079933"/>
              <a:gd name="connsiteY20043" fmla="*/ 1324907 h 4687251"/>
              <a:gd name="connsiteX20044" fmla="*/ 1122931 w 8079933"/>
              <a:gd name="connsiteY20044" fmla="*/ 1322633 h 4687251"/>
              <a:gd name="connsiteX20045" fmla="*/ 1125426 w 8079933"/>
              <a:gd name="connsiteY20045" fmla="*/ 1316136 h 4687251"/>
              <a:gd name="connsiteX20046" fmla="*/ 1130202 w 8079933"/>
              <a:gd name="connsiteY20046" fmla="*/ 1314079 h 4687251"/>
              <a:gd name="connsiteX20047" fmla="*/ 1130419 w 8079933"/>
              <a:gd name="connsiteY20047" fmla="*/ 1311697 h 4687251"/>
              <a:gd name="connsiteX20048" fmla="*/ 4027813 w 8079933"/>
              <a:gd name="connsiteY20048" fmla="*/ 1309099 h 4687251"/>
              <a:gd name="connsiteX20049" fmla="*/ 4032262 w 8079933"/>
              <a:gd name="connsiteY20049" fmla="*/ 1312022 h 4687251"/>
              <a:gd name="connsiteX20050" fmla="*/ 4030091 w 8079933"/>
              <a:gd name="connsiteY20050" fmla="*/ 1314946 h 4687251"/>
              <a:gd name="connsiteX20051" fmla="*/ 4174643 w 8079933"/>
              <a:gd name="connsiteY20051" fmla="*/ 1308019 h 4687251"/>
              <a:gd name="connsiteX20052" fmla="*/ 4174960 w 8079933"/>
              <a:gd name="connsiteY20052" fmla="*/ 1316678 h 4687251"/>
              <a:gd name="connsiteX20053" fmla="*/ 4174961 w 8079933"/>
              <a:gd name="connsiteY20053" fmla="*/ 1316678 h 4687251"/>
              <a:gd name="connsiteX20054" fmla="*/ 1085058 w 8079933"/>
              <a:gd name="connsiteY20054" fmla="*/ 1306826 h 4687251"/>
              <a:gd name="connsiteX20055" fmla="*/ 1086794 w 8079933"/>
              <a:gd name="connsiteY20055" fmla="*/ 1309749 h 4687251"/>
              <a:gd name="connsiteX20056" fmla="*/ 1084407 w 8079933"/>
              <a:gd name="connsiteY20056" fmla="*/ 1311481 h 4687251"/>
              <a:gd name="connsiteX20057" fmla="*/ 1082345 w 8079933"/>
              <a:gd name="connsiteY20057" fmla="*/ 1308775 h 4687251"/>
              <a:gd name="connsiteX20058" fmla="*/ 65760 w 8079933"/>
              <a:gd name="connsiteY20058" fmla="*/ 1306826 h 4687251"/>
              <a:gd name="connsiteX20059" fmla="*/ 68040 w 8079933"/>
              <a:gd name="connsiteY20059" fmla="*/ 1307584 h 4687251"/>
              <a:gd name="connsiteX20060" fmla="*/ 69775 w 8079933"/>
              <a:gd name="connsiteY20060" fmla="*/ 1313755 h 4687251"/>
              <a:gd name="connsiteX20061" fmla="*/ 64026 w 8079933"/>
              <a:gd name="connsiteY20061" fmla="*/ 1318845 h 4687251"/>
              <a:gd name="connsiteX20062" fmla="*/ 58925 w 8079933"/>
              <a:gd name="connsiteY20062" fmla="*/ 1318845 h 4687251"/>
              <a:gd name="connsiteX20063" fmla="*/ 61745 w 8079933"/>
              <a:gd name="connsiteY20063" fmla="*/ 1312998 h 4687251"/>
              <a:gd name="connsiteX20064" fmla="*/ 64242 w 8079933"/>
              <a:gd name="connsiteY20064" fmla="*/ 1312132 h 4687251"/>
              <a:gd name="connsiteX20065" fmla="*/ 54910 w 8079933"/>
              <a:gd name="connsiteY20065" fmla="*/ 1305634 h 4687251"/>
              <a:gd name="connsiteX20066" fmla="*/ 56539 w 8079933"/>
              <a:gd name="connsiteY20066" fmla="*/ 1306825 h 4687251"/>
              <a:gd name="connsiteX20067" fmla="*/ 53932 w 8079933"/>
              <a:gd name="connsiteY20067" fmla="*/ 1310723 h 4687251"/>
              <a:gd name="connsiteX20068" fmla="*/ 53392 w 8079933"/>
              <a:gd name="connsiteY20068" fmla="*/ 1315054 h 4687251"/>
              <a:gd name="connsiteX20069" fmla="*/ 47639 w 8079933"/>
              <a:gd name="connsiteY20069" fmla="*/ 1318626 h 4687251"/>
              <a:gd name="connsiteX20070" fmla="*/ 44927 w 8079933"/>
              <a:gd name="connsiteY20070" fmla="*/ 1317111 h 4687251"/>
              <a:gd name="connsiteX20071" fmla="*/ 48834 w 8079933"/>
              <a:gd name="connsiteY20071" fmla="*/ 1314187 h 4687251"/>
              <a:gd name="connsiteX20072" fmla="*/ 50571 w 8079933"/>
              <a:gd name="connsiteY20072" fmla="*/ 1309965 h 4687251"/>
              <a:gd name="connsiteX20073" fmla="*/ 170263 w 8079933"/>
              <a:gd name="connsiteY20073" fmla="*/ 1304769 h 4687251"/>
              <a:gd name="connsiteX20074" fmla="*/ 174711 w 8079933"/>
              <a:gd name="connsiteY20074" fmla="*/ 1307692 h 4687251"/>
              <a:gd name="connsiteX20075" fmla="*/ 169503 w 8079933"/>
              <a:gd name="connsiteY20075" fmla="*/ 1310291 h 4687251"/>
              <a:gd name="connsiteX20076" fmla="*/ 162775 w 8079933"/>
              <a:gd name="connsiteY20076" fmla="*/ 1310291 h 4687251"/>
              <a:gd name="connsiteX20077" fmla="*/ 164402 w 8079933"/>
              <a:gd name="connsiteY20077" fmla="*/ 1305418 h 4687251"/>
              <a:gd name="connsiteX20078" fmla="*/ 1157981 w 8079933"/>
              <a:gd name="connsiteY20078" fmla="*/ 1304444 h 4687251"/>
              <a:gd name="connsiteX20079" fmla="*/ 1157981 w 8079933"/>
              <a:gd name="connsiteY20079" fmla="*/ 1304444 h 4687251"/>
              <a:gd name="connsiteX20080" fmla="*/ 1158516 w 8079933"/>
              <a:gd name="connsiteY20080" fmla="*/ 1304700 h 4687251"/>
              <a:gd name="connsiteX20081" fmla="*/ 3787882 w 8079933"/>
              <a:gd name="connsiteY20081" fmla="*/ 1302820 h 4687251"/>
              <a:gd name="connsiteX20082" fmla="*/ 3792222 w 8079933"/>
              <a:gd name="connsiteY20082" fmla="*/ 1308234 h 4687251"/>
              <a:gd name="connsiteX20083" fmla="*/ 3788533 w 8079933"/>
              <a:gd name="connsiteY20083" fmla="*/ 1307042 h 4687251"/>
              <a:gd name="connsiteX20084" fmla="*/ 15843 w 8079933"/>
              <a:gd name="connsiteY20084" fmla="*/ 1302387 h 4687251"/>
              <a:gd name="connsiteX20085" fmla="*/ 15194 w 8079933"/>
              <a:gd name="connsiteY20085" fmla="*/ 1307151 h 4687251"/>
              <a:gd name="connsiteX20086" fmla="*/ 12046 w 8079933"/>
              <a:gd name="connsiteY20086" fmla="*/ 1304119 h 4687251"/>
              <a:gd name="connsiteX20087" fmla="*/ 33099 w 8079933"/>
              <a:gd name="connsiteY20087" fmla="*/ 1301304 h 4687251"/>
              <a:gd name="connsiteX20088" fmla="*/ 36678 w 8079933"/>
              <a:gd name="connsiteY20088" fmla="*/ 1301737 h 4687251"/>
              <a:gd name="connsiteX20089" fmla="*/ 42214 w 8079933"/>
              <a:gd name="connsiteY20089" fmla="*/ 1307692 h 4687251"/>
              <a:gd name="connsiteX20090" fmla="*/ 39283 w 8079933"/>
              <a:gd name="connsiteY20090" fmla="*/ 1309316 h 4687251"/>
              <a:gd name="connsiteX20091" fmla="*/ 36354 w 8079933"/>
              <a:gd name="connsiteY20091" fmla="*/ 1312997 h 4687251"/>
              <a:gd name="connsiteX20092" fmla="*/ 32773 w 8079933"/>
              <a:gd name="connsiteY20092" fmla="*/ 1313863 h 4687251"/>
              <a:gd name="connsiteX20093" fmla="*/ 31469 w 8079933"/>
              <a:gd name="connsiteY20093" fmla="*/ 1310182 h 4687251"/>
              <a:gd name="connsiteX20094" fmla="*/ 35487 w 8079933"/>
              <a:gd name="connsiteY20094" fmla="*/ 1309208 h 4687251"/>
              <a:gd name="connsiteX20095" fmla="*/ 30494 w 8079933"/>
              <a:gd name="connsiteY20095" fmla="*/ 1306934 h 4687251"/>
              <a:gd name="connsiteX20096" fmla="*/ 29517 w 8079933"/>
              <a:gd name="connsiteY20096" fmla="*/ 1304335 h 4687251"/>
              <a:gd name="connsiteX20097" fmla="*/ 199019 w 8079933"/>
              <a:gd name="connsiteY20097" fmla="*/ 1300005 h 4687251"/>
              <a:gd name="connsiteX20098" fmla="*/ 201081 w 8079933"/>
              <a:gd name="connsiteY20098" fmla="*/ 1305960 h 4687251"/>
              <a:gd name="connsiteX20099" fmla="*/ 196958 w 8079933"/>
              <a:gd name="connsiteY20099" fmla="*/ 1304444 h 4687251"/>
              <a:gd name="connsiteX20100" fmla="*/ 4041266 w 8079933"/>
              <a:gd name="connsiteY20100" fmla="*/ 1299463 h 4687251"/>
              <a:gd name="connsiteX20101" fmla="*/ 4042677 w 8079933"/>
              <a:gd name="connsiteY20101" fmla="*/ 1303252 h 4687251"/>
              <a:gd name="connsiteX20102" fmla="*/ 4038120 w 8079933"/>
              <a:gd name="connsiteY20102" fmla="*/ 1303361 h 4687251"/>
              <a:gd name="connsiteX20103" fmla="*/ 126312 w 8079933"/>
              <a:gd name="connsiteY20103" fmla="*/ 1299247 h 4687251"/>
              <a:gd name="connsiteX20104" fmla="*/ 129676 w 8079933"/>
              <a:gd name="connsiteY20104" fmla="*/ 1300438 h 4687251"/>
              <a:gd name="connsiteX20105" fmla="*/ 130546 w 8079933"/>
              <a:gd name="connsiteY20105" fmla="*/ 1305418 h 4687251"/>
              <a:gd name="connsiteX20106" fmla="*/ 127074 w 8079933"/>
              <a:gd name="connsiteY20106" fmla="*/ 1307691 h 4687251"/>
              <a:gd name="connsiteX20107" fmla="*/ 127290 w 8079933"/>
              <a:gd name="connsiteY20107" fmla="*/ 1311805 h 4687251"/>
              <a:gd name="connsiteX20108" fmla="*/ 121538 w 8079933"/>
              <a:gd name="connsiteY20108" fmla="*/ 1311048 h 4687251"/>
              <a:gd name="connsiteX20109" fmla="*/ 115789 w 8079933"/>
              <a:gd name="connsiteY20109" fmla="*/ 1313213 h 4687251"/>
              <a:gd name="connsiteX20110" fmla="*/ 110796 w 8079933"/>
              <a:gd name="connsiteY20110" fmla="*/ 1312672 h 4687251"/>
              <a:gd name="connsiteX20111" fmla="*/ 108299 w 8079933"/>
              <a:gd name="connsiteY20111" fmla="*/ 1313646 h 4687251"/>
              <a:gd name="connsiteX20112" fmla="*/ 104828 w 8079933"/>
              <a:gd name="connsiteY20112" fmla="*/ 1311048 h 4687251"/>
              <a:gd name="connsiteX20113" fmla="*/ 106238 w 8079933"/>
              <a:gd name="connsiteY20113" fmla="*/ 1308774 h 4687251"/>
              <a:gd name="connsiteX20114" fmla="*/ 110037 w 8079933"/>
              <a:gd name="connsiteY20114" fmla="*/ 1309857 h 4687251"/>
              <a:gd name="connsiteX20115" fmla="*/ 113182 w 8079933"/>
              <a:gd name="connsiteY20115" fmla="*/ 1309965 h 4687251"/>
              <a:gd name="connsiteX20116" fmla="*/ 116764 w 8079933"/>
              <a:gd name="connsiteY20116" fmla="*/ 1306393 h 4687251"/>
              <a:gd name="connsiteX20117" fmla="*/ 119150 w 8079933"/>
              <a:gd name="connsiteY20117" fmla="*/ 1307367 h 4687251"/>
              <a:gd name="connsiteX20118" fmla="*/ 121430 w 8079933"/>
              <a:gd name="connsiteY20118" fmla="*/ 1306067 h 4687251"/>
              <a:gd name="connsiteX20119" fmla="*/ 121646 w 8079933"/>
              <a:gd name="connsiteY20119" fmla="*/ 1302387 h 4687251"/>
              <a:gd name="connsiteX20120" fmla="*/ 1116745 w 8079933"/>
              <a:gd name="connsiteY20120" fmla="*/ 1298922 h 4687251"/>
              <a:gd name="connsiteX20121" fmla="*/ 1119349 w 8079933"/>
              <a:gd name="connsiteY20121" fmla="*/ 1299571 h 4687251"/>
              <a:gd name="connsiteX20122" fmla="*/ 1119349 w 8079933"/>
              <a:gd name="connsiteY20122" fmla="*/ 1304660 h 4687251"/>
              <a:gd name="connsiteX20123" fmla="*/ 1115876 w 8079933"/>
              <a:gd name="connsiteY20123" fmla="*/ 1306826 h 4687251"/>
              <a:gd name="connsiteX20124" fmla="*/ 1113381 w 8079933"/>
              <a:gd name="connsiteY20124" fmla="*/ 1306176 h 4687251"/>
              <a:gd name="connsiteX20125" fmla="*/ 1069106 w 8079933"/>
              <a:gd name="connsiteY20125" fmla="*/ 1298922 h 4687251"/>
              <a:gd name="connsiteX20126" fmla="*/ 1072470 w 8079933"/>
              <a:gd name="connsiteY20126" fmla="*/ 1300654 h 4687251"/>
              <a:gd name="connsiteX20127" fmla="*/ 1070083 w 8079933"/>
              <a:gd name="connsiteY20127" fmla="*/ 1302712 h 4687251"/>
              <a:gd name="connsiteX20128" fmla="*/ 4176262 w 8079933"/>
              <a:gd name="connsiteY20128" fmla="*/ 1298922 h 4687251"/>
              <a:gd name="connsiteX20129" fmla="*/ 4174635 w 8079933"/>
              <a:gd name="connsiteY20129" fmla="*/ 1307799 h 4687251"/>
              <a:gd name="connsiteX20130" fmla="*/ 4174635 w 8079933"/>
              <a:gd name="connsiteY20130" fmla="*/ 1307800 h 4687251"/>
              <a:gd name="connsiteX20131" fmla="*/ 4176262 w 8079933"/>
              <a:gd name="connsiteY20131" fmla="*/ 1298922 h 4687251"/>
              <a:gd name="connsiteX20132" fmla="*/ 3792873 w 8079933"/>
              <a:gd name="connsiteY20132" fmla="*/ 1298706 h 4687251"/>
              <a:gd name="connsiteX20133" fmla="*/ 3798842 w 8079933"/>
              <a:gd name="connsiteY20133" fmla="*/ 1308667 h 4687251"/>
              <a:gd name="connsiteX20134" fmla="*/ 3803399 w 8079933"/>
              <a:gd name="connsiteY20134" fmla="*/ 1312132 h 4687251"/>
              <a:gd name="connsiteX20135" fmla="*/ 3799492 w 8079933"/>
              <a:gd name="connsiteY20135" fmla="*/ 1312023 h 4687251"/>
              <a:gd name="connsiteX20136" fmla="*/ 3793199 w 8079933"/>
              <a:gd name="connsiteY20136" fmla="*/ 1305743 h 4687251"/>
              <a:gd name="connsiteX20137" fmla="*/ 3791354 w 8079933"/>
              <a:gd name="connsiteY20137" fmla="*/ 1300655 h 4687251"/>
              <a:gd name="connsiteX20138" fmla="*/ 3795261 w 8079933"/>
              <a:gd name="connsiteY20138" fmla="*/ 1297947 h 4687251"/>
              <a:gd name="connsiteX20139" fmla="*/ 3797757 w 8079933"/>
              <a:gd name="connsiteY20139" fmla="*/ 1297947 h 4687251"/>
              <a:gd name="connsiteX20140" fmla="*/ 3802314 w 8079933"/>
              <a:gd name="connsiteY20140" fmla="*/ 1301087 h 4687251"/>
              <a:gd name="connsiteX20141" fmla="*/ 3802314 w 8079933"/>
              <a:gd name="connsiteY20141" fmla="*/ 1305094 h 4687251"/>
              <a:gd name="connsiteX20142" fmla="*/ 3799168 w 8079933"/>
              <a:gd name="connsiteY20142" fmla="*/ 1304010 h 4687251"/>
              <a:gd name="connsiteX20143" fmla="*/ 3802314 w 8079933"/>
              <a:gd name="connsiteY20143" fmla="*/ 1297730 h 4687251"/>
              <a:gd name="connsiteX20144" fmla="*/ 3804159 w 8079933"/>
              <a:gd name="connsiteY20144" fmla="*/ 1297838 h 4687251"/>
              <a:gd name="connsiteX20145" fmla="*/ 3805027 w 8079933"/>
              <a:gd name="connsiteY20145" fmla="*/ 1300979 h 4687251"/>
              <a:gd name="connsiteX20146" fmla="*/ 4045609 w 8079933"/>
              <a:gd name="connsiteY20146" fmla="*/ 1296540 h 4687251"/>
              <a:gd name="connsiteX20147" fmla="*/ 4048973 w 8079933"/>
              <a:gd name="connsiteY20147" fmla="*/ 1297514 h 4687251"/>
              <a:gd name="connsiteX20148" fmla="*/ 4050601 w 8079933"/>
              <a:gd name="connsiteY20148" fmla="*/ 1300330 h 4687251"/>
              <a:gd name="connsiteX20149" fmla="*/ 4045718 w 8079933"/>
              <a:gd name="connsiteY20149" fmla="*/ 1303253 h 4687251"/>
              <a:gd name="connsiteX20150" fmla="*/ 228104 w 8079933"/>
              <a:gd name="connsiteY20150" fmla="*/ 1295024 h 4687251"/>
              <a:gd name="connsiteX20151" fmla="*/ 230817 w 8079933"/>
              <a:gd name="connsiteY20151" fmla="*/ 1297406 h 4687251"/>
              <a:gd name="connsiteX20152" fmla="*/ 228428 w 8079933"/>
              <a:gd name="connsiteY20152" fmla="*/ 1298706 h 4687251"/>
              <a:gd name="connsiteX20153" fmla="*/ 225174 w 8079933"/>
              <a:gd name="connsiteY20153" fmla="*/ 1297189 h 4687251"/>
              <a:gd name="connsiteX20154" fmla="*/ 1091134 w 8079933"/>
              <a:gd name="connsiteY20154" fmla="*/ 1294375 h 4687251"/>
              <a:gd name="connsiteX20155" fmla="*/ 1094172 w 8079933"/>
              <a:gd name="connsiteY20155" fmla="*/ 1296973 h 4687251"/>
              <a:gd name="connsiteX20156" fmla="*/ 1091459 w 8079933"/>
              <a:gd name="connsiteY20156" fmla="*/ 1300005 h 4687251"/>
              <a:gd name="connsiteX20157" fmla="*/ 1088854 w 8079933"/>
              <a:gd name="connsiteY20157" fmla="*/ 1300005 h 4687251"/>
              <a:gd name="connsiteX20158" fmla="*/ 1085708 w 8079933"/>
              <a:gd name="connsiteY20158" fmla="*/ 1302279 h 4687251"/>
              <a:gd name="connsiteX20159" fmla="*/ 1083321 w 8079933"/>
              <a:gd name="connsiteY20159" fmla="*/ 1301304 h 4687251"/>
              <a:gd name="connsiteX20160" fmla="*/ 1087010 w 8079933"/>
              <a:gd name="connsiteY20160" fmla="*/ 1295783 h 4687251"/>
              <a:gd name="connsiteX20161" fmla="*/ 214538 w 8079933"/>
              <a:gd name="connsiteY20161" fmla="*/ 1294158 h 4687251"/>
              <a:gd name="connsiteX20162" fmla="*/ 218986 w 8079933"/>
              <a:gd name="connsiteY20162" fmla="*/ 1298272 h 4687251"/>
              <a:gd name="connsiteX20163" fmla="*/ 215190 w 8079933"/>
              <a:gd name="connsiteY20163" fmla="*/ 1297948 h 4687251"/>
              <a:gd name="connsiteX20164" fmla="*/ 209980 w 8079933"/>
              <a:gd name="connsiteY20164" fmla="*/ 1302171 h 4687251"/>
              <a:gd name="connsiteX20165" fmla="*/ 210416 w 8079933"/>
              <a:gd name="connsiteY20165" fmla="*/ 1297948 h 4687251"/>
              <a:gd name="connsiteX20166" fmla="*/ 2548514 w 8079933"/>
              <a:gd name="connsiteY20166" fmla="*/ 1293508 h 4687251"/>
              <a:gd name="connsiteX20167" fmla="*/ 2549057 w 8079933"/>
              <a:gd name="connsiteY20167" fmla="*/ 1295240 h 4687251"/>
              <a:gd name="connsiteX20168" fmla="*/ 2548623 w 8079933"/>
              <a:gd name="connsiteY20168" fmla="*/ 1297730 h 4687251"/>
              <a:gd name="connsiteX20169" fmla="*/ 2549816 w 8079933"/>
              <a:gd name="connsiteY20169" fmla="*/ 1298597 h 4687251"/>
              <a:gd name="connsiteX20170" fmla="*/ 2549599 w 8079933"/>
              <a:gd name="connsiteY20170" fmla="*/ 1300762 h 4687251"/>
              <a:gd name="connsiteX20171" fmla="*/ 2546127 w 8079933"/>
              <a:gd name="connsiteY20171" fmla="*/ 1303360 h 4687251"/>
              <a:gd name="connsiteX20172" fmla="*/ 2544391 w 8079933"/>
              <a:gd name="connsiteY20172" fmla="*/ 1305851 h 4687251"/>
              <a:gd name="connsiteX20173" fmla="*/ 2541243 w 8079933"/>
              <a:gd name="connsiteY20173" fmla="*/ 1305959 h 4687251"/>
              <a:gd name="connsiteX20174" fmla="*/ 2536903 w 8079933"/>
              <a:gd name="connsiteY20174" fmla="*/ 1309424 h 4687251"/>
              <a:gd name="connsiteX20175" fmla="*/ 2535058 w 8079933"/>
              <a:gd name="connsiteY20175" fmla="*/ 1309424 h 4687251"/>
              <a:gd name="connsiteX20176" fmla="*/ 2534407 w 8079933"/>
              <a:gd name="connsiteY20176" fmla="*/ 1306608 h 4687251"/>
              <a:gd name="connsiteX20177" fmla="*/ 2535817 w 8079933"/>
              <a:gd name="connsiteY20177" fmla="*/ 1302602 h 4687251"/>
              <a:gd name="connsiteX20178" fmla="*/ 2537771 w 8079933"/>
              <a:gd name="connsiteY20178" fmla="*/ 1300437 h 4687251"/>
              <a:gd name="connsiteX20179" fmla="*/ 2538205 w 8079933"/>
              <a:gd name="connsiteY20179" fmla="*/ 1298271 h 4687251"/>
              <a:gd name="connsiteX20180" fmla="*/ 2543088 w 8079933"/>
              <a:gd name="connsiteY20180" fmla="*/ 1294157 h 4687251"/>
              <a:gd name="connsiteX20181" fmla="*/ 1152068 w 8079933"/>
              <a:gd name="connsiteY20181" fmla="*/ 1292851 h 4687251"/>
              <a:gd name="connsiteX20182" fmla="*/ 1155267 w 8079933"/>
              <a:gd name="connsiteY20182" fmla="*/ 1295025 h 4687251"/>
              <a:gd name="connsiteX20183" fmla="*/ 1156137 w 8079933"/>
              <a:gd name="connsiteY20183" fmla="*/ 1296760 h 4687251"/>
              <a:gd name="connsiteX20184" fmla="*/ 1155267 w 8079933"/>
              <a:gd name="connsiteY20184" fmla="*/ 1295024 h 4687251"/>
              <a:gd name="connsiteX20185" fmla="*/ 1118480 w 8079933"/>
              <a:gd name="connsiteY20185" fmla="*/ 1291885 h 4687251"/>
              <a:gd name="connsiteX20186" fmla="*/ 1118480 w 8079933"/>
              <a:gd name="connsiteY20186" fmla="*/ 1295133 h 4687251"/>
              <a:gd name="connsiteX20187" fmla="*/ 1116093 w 8079933"/>
              <a:gd name="connsiteY20187" fmla="*/ 1297515 h 4687251"/>
              <a:gd name="connsiteX20188" fmla="*/ 1113488 w 8079933"/>
              <a:gd name="connsiteY20188" fmla="*/ 1301522 h 4687251"/>
              <a:gd name="connsiteX20189" fmla="*/ 1110125 w 8079933"/>
              <a:gd name="connsiteY20189" fmla="*/ 1300763 h 4687251"/>
              <a:gd name="connsiteX20190" fmla="*/ 1110776 w 8079933"/>
              <a:gd name="connsiteY20190" fmla="*/ 1296865 h 4687251"/>
              <a:gd name="connsiteX20191" fmla="*/ 238630 w 8079933"/>
              <a:gd name="connsiteY20191" fmla="*/ 1290802 h 4687251"/>
              <a:gd name="connsiteX20192" fmla="*/ 240476 w 8079933"/>
              <a:gd name="connsiteY20192" fmla="*/ 1293400 h 4687251"/>
              <a:gd name="connsiteX20193" fmla="*/ 237112 w 8079933"/>
              <a:gd name="connsiteY20193" fmla="*/ 1295674 h 4687251"/>
              <a:gd name="connsiteX20194" fmla="*/ 233637 w 8079933"/>
              <a:gd name="connsiteY20194" fmla="*/ 1292967 h 4687251"/>
              <a:gd name="connsiteX20195" fmla="*/ 1124232 w 8079933"/>
              <a:gd name="connsiteY20195" fmla="*/ 1290368 h 4687251"/>
              <a:gd name="connsiteX20196" fmla="*/ 1125751 w 8079933"/>
              <a:gd name="connsiteY20196" fmla="*/ 1291667 h 4687251"/>
              <a:gd name="connsiteX20197" fmla="*/ 1125534 w 8079933"/>
              <a:gd name="connsiteY20197" fmla="*/ 1296864 h 4687251"/>
              <a:gd name="connsiteX20198" fmla="*/ 1122821 w 8079933"/>
              <a:gd name="connsiteY20198" fmla="*/ 1300329 h 4687251"/>
              <a:gd name="connsiteX20199" fmla="*/ 1120217 w 8079933"/>
              <a:gd name="connsiteY20199" fmla="*/ 1296756 h 4687251"/>
              <a:gd name="connsiteX20200" fmla="*/ 1121953 w 8079933"/>
              <a:gd name="connsiteY20200" fmla="*/ 1294266 h 4687251"/>
              <a:gd name="connsiteX20201" fmla="*/ 1094714 w 8079933"/>
              <a:gd name="connsiteY20201" fmla="*/ 1287228 h 4687251"/>
              <a:gd name="connsiteX20202" fmla="*/ 1098730 w 8079933"/>
              <a:gd name="connsiteY20202" fmla="*/ 1288311 h 4687251"/>
              <a:gd name="connsiteX20203" fmla="*/ 1101768 w 8079933"/>
              <a:gd name="connsiteY20203" fmla="*/ 1293291 h 4687251"/>
              <a:gd name="connsiteX20204" fmla="*/ 1098730 w 8079933"/>
              <a:gd name="connsiteY20204" fmla="*/ 1297730 h 4687251"/>
              <a:gd name="connsiteX20205" fmla="*/ 1097645 w 8079933"/>
              <a:gd name="connsiteY20205" fmla="*/ 1300437 h 4687251"/>
              <a:gd name="connsiteX20206" fmla="*/ 1100466 w 8079933"/>
              <a:gd name="connsiteY20206" fmla="*/ 1303360 h 4687251"/>
              <a:gd name="connsiteX20207" fmla="*/ 1101660 w 8079933"/>
              <a:gd name="connsiteY20207" fmla="*/ 1302711 h 4687251"/>
              <a:gd name="connsiteX20208" fmla="*/ 1106978 w 8079933"/>
              <a:gd name="connsiteY20208" fmla="*/ 1305850 h 4687251"/>
              <a:gd name="connsiteX20209" fmla="*/ 1107194 w 8079933"/>
              <a:gd name="connsiteY20209" fmla="*/ 1312888 h 4687251"/>
              <a:gd name="connsiteX20210" fmla="*/ 1103830 w 8079933"/>
              <a:gd name="connsiteY20210" fmla="*/ 1313213 h 4687251"/>
              <a:gd name="connsiteX20211" fmla="*/ 1107846 w 8079933"/>
              <a:gd name="connsiteY20211" fmla="*/ 1317544 h 4687251"/>
              <a:gd name="connsiteX20212" fmla="*/ 1107846 w 8079933"/>
              <a:gd name="connsiteY20212" fmla="*/ 1320900 h 4687251"/>
              <a:gd name="connsiteX20213" fmla="*/ 1104373 w 8079933"/>
              <a:gd name="connsiteY20213" fmla="*/ 1321225 h 4687251"/>
              <a:gd name="connsiteX20214" fmla="*/ 1103179 w 8079933"/>
              <a:gd name="connsiteY20214" fmla="*/ 1320034 h 4687251"/>
              <a:gd name="connsiteX20215" fmla="*/ 1101117 w 8079933"/>
              <a:gd name="connsiteY20215" fmla="*/ 1324581 h 4687251"/>
              <a:gd name="connsiteX20216" fmla="*/ 1106434 w 8079933"/>
              <a:gd name="connsiteY20216" fmla="*/ 1328371 h 4687251"/>
              <a:gd name="connsiteX20217" fmla="*/ 1108822 w 8079933"/>
              <a:gd name="connsiteY20217" fmla="*/ 1332485 h 4687251"/>
              <a:gd name="connsiteX20218" fmla="*/ 1104047 w 8079933"/>
              <a:gd name="connsiteY20218" fmla="*/ 1335409 h 4687251"/>
              <a:gd name="connsiteX20219" fmla="*/ 1103505 w 8079933"/>
              <a:gd name="connsiteY20219" fmla="*/ 1336924 h 4687251"/>
              <a:gd name="connsiteX20220" fmla="*/ 1106760 w 8079933"/>
              <a:gd name="connsiteY20220" fmla="*/ 1336383 h 4687251"/>
              <a:gd name="connsiteX20221" fmla="*/ 1108714 w 8079933"/>
              <a:gd name="connsiteY20221" fmla="*/ 1337466 h 4687251"/>
              <a:gd name="connsiteX20222" fmla="*/ 1108714 w 8079933"/>
              <a:gd name="connsiteY20222" fmla="*/ 1340822 h 4687251"/>
              <a:gd name="connsiteX20223" fmla="*/ 1104373 w 8079933"/>
              <a:gd name="connsiteY20223" fmla="*/ 1343745 h 4687251"/>
              <a:gd name="connsiteX20224" fmla="*/ 1101660 w 8079933"/>
              <a:gd name="connsiteY20224" fmla="*/ 1344503 h 4687251"/>
              <a:gd name="connsiteX20225" fmla="*/ 1099598 w 8079933"/>
              <a:gd name="connsiteY20225" fmla="*/ 1348293 h 4687251"/>
              <a:gd name="connsiteX20226" fmla="*/ 1101660 w 8079933"/>
              <a:gd name="connsiteY20226" fmla="*/ 1348401 h 4687251"/>
              <a:gd name="connsiteX20227" fmla="*/ 1103505 w 8079933"/>
              <a:gd name="connsiteY20227" fmla="*/ 1350891 h 4687251"/>
              <a:gd name="connsiteX20228" fmla="*/ 1101443 w 8079933"/>
              <a:gd name="connsiteY20228" fmla="*/ 1352948 h 4687251"/>
              <a:gd name="connsiteX20229" fmla="*/ 1103396 w 8079933"/>
              <a:gd name="connsiteY20229" fmla="*/ 1356197 h 4687251"/>
              <a:gd name="connsiteX20230" fmla="*/ 1100792 w 8079933"/>
              <a:gd name="connsiteY20230" fmla="*/ 1358578 h 4687251"/>
              <a:gd name="connsiteX20231" fmla="*/ 1096777 w 8079933"/>
              <a:gd name="connsiteY20231" fmla="*/ 1358795 h 4687251"/>
              <a:gd name="connsiteX20232" fmla="*/ 1094606 w 8079933"/>
              <a:gd name="connsiteY20232" fmla="*/ 1356846 h 4687251"/>
              <a:gd name="connsiteX20233" fmla="*/ 1095909 w 8079933"/>
              <a:gd name="connsiteY20233" fmla="*/ 1352948 h 4687251"/>
              <a:gd name="connsiteX20234" fmla="*/ 1091459 w 8079933"/>
              <a:gd name="connsiteY20234" fmla="*/ 1349268 h 4687251"/>
              <a:gd name="connsiteX20235" fmla="*/ 1092110 w 8079933"/>
              <a:gd name="connsiteY20235" fmla="*/ 1345694 h 4687251"/>
              <a:gd name="connsiteX20236" fmla="*/ 1095257 w 8079933"/>
              <a:gd name="connsiteY20236" fmla="*/ 1342987 h 4687251"/>
              <a:gd name="connsiteX20237" fmla="*/ 1092653 w 8079933"/>
              <a:gd name="connsiteY20237" fmla="*/ 1340064 h 4687251"/>
              <a:gd name="connsiteX20238" fmla="*/ 1093521 w 8079933"/>
              <a:gd name="connsiteY20238" fmla="*/ 1337466 h 4687251"/>
              <a:gd name="connsiteX20239" fmla="*/ 1096994 w 8079933"/>
              <a:gd name="connsiteY20239" fmla="*/ 1335409 h 4687251"/>
              <a:gd name="connsiteX20240" fmla="*/ 1095040 w 8079933"/>
              <a:gd name="connsiteY20240" fmla="*/ 1333135 h 4687251"/>
              <a:gd name="connsiteX20241" fmla="*/ 1092002 w 8079933"/>
              <a:gd name="connsiteY20241" fmla="*/ 1333784 h 4687251"/>
              <a:gd name="connsiteX20242" fmla="*/ 1090591 w 8079933"/>
              <a:gd name="connsiteY20242" fmla="*/ 1336275 h 4687251"/>
              <a:gd name="connsiteX20243" fmla="*/ 1088746 w 8079933"/>
              <a:gd name="connsiteY20243" fmla="*/ 1334001 h 4687251"/>
              <a:gd name="connsiteX20244" fmla="*/ 1085273 w 8079933"/>
              <a:gd name="connsiteY20244" fmla="*/ 1334001 h 4687251"/>
              <a:gd name="connsiteX20245" fmla="*/ 1083863 w 8079933"/>
              <a:gd name="connsiteY20245" fmla="*/ 1331619 h 4687251"/>
              <a:gd name="connsiteX20246" fmla="*/ 1085599 w 8079933"/>
              <a:gd name="connsiteY20246" fmla="*/ 1329021 h 4687251"/>
              <a:gd name="connsiteX20247" fmla="*/ 1088203 w 8079933"/>
              <a:gd name="connsiteY20247" fmla="*/ 1329021 h 4687251"/>
              <a:gd name="connsiteX20248" fmla="*/ 1089397 w 8079933"/>
              <a:gd name="connsiteY20248" fmla="*/ 1325772 h 4687251"/>
              <a:gd name="connsiteX20249" fmla="*/ 1089397 w 8079933"/>
              <a:gd name="connsiteY20249" fmla="*/ 1323715 h 4687251"/>
              <a:gd name="connsiteX20250" fmla="*/ 1094172 w 8079933"/>
              <a:gd name="connsiteY20250" fmla="*/ 1320034 h 4687251"/>
              <a:gd name="connsiteX20251" fmla="*/ 1094172 w 8079933"/>
              <a:gd name="connsiteY20251" fmla="*/ 1317869 h 4687251"/>
              <a:gd name="connsiteX20252" fmla="*/ 1091459 w 8079933"/>
              <a:gd name="connsiteY20252" fmla="*/ 1317111 h 4687251"/>
              <a:gd name="connsiteX20253" fmla="*/ 1088746 w 8079933"/>
              <a:gd name="connsiteY20253" fmla="*/ 1317977 h 4687251"/>
              <a:gd name="connsiteX20254" fmla="*/ 1087553 w 8079933"/>
              <a:gd name="connsiteY20254" fmla="*/ 1316136 h 4687251"/>
              <a:gd name="connsiteX20255" fmla="*/ 1088854 w 8079933"/>
              <a:gd name="connsiteY20255" fmla="*/ 1314079 h 4687251"/>
              <a:gd name="connsiteX20256" fmla="*/ 1093304 w 8079933"/>
              <a:gd name="connsiteY20256" fmla="*/ 1312888 h 4687251"/>
              <a:gd name="connsiteX20257" fmla="*/ 1094606 w 8079933"/>
              <a:gd name="connsiteY20257" fmla="*/ 1308340 h 4687251"/>
              <a:gd name="connsiteX20258" fmla="*/ 1094172 w 8079933"/>
              <a:gd name="connsiteY20258" fmla="*/ 1304876 h 4687251"/>
              <a:gd name="connsiteX20259" fmla="*/ 1096342 w 8079933"/>
              <a:gd name="connsiteY20259" fmla="*/ 1298163 h 4687251"/>
              <a:gd name="connsiteX20260" fmla="*/ 1095257 w 8079933"/>
              <a:gd name="connsiteY20260" fmla="*/ 1293724 h 4687251"/>
              <a:gd name="connsiteX20261" fmla="*/ 1092002 w 8079933"/>
              <a:gd name="connsiteY20261" fmla="*/ 1289718 h 4687251"/>
              <a:gd name="connsiteX20262" fmla="*/ 231360 w 8079933"/>
              <a:gd name="connsiteY20262" fmla="*/ 1287228 h 4687251"/>
              <a:gd name="connsiteX20263" fmla="*/ 232551 w 8079933"/>
              <a:gd name="connsiteY20263" fmla="*/ 1289934 h 4687251"/>
              <a:gd name="connsiteX20264" fmla="*/ 228104 w 8079933"/>
              <a:gd name="connsiteY20264" fmla="*/ 1290152 h 4687251"/>
              <a:gd name="connsiteX20265" fmla="*/ 4173292 w 8079933"/>
              <a:gd name="connsiteY20265" fmla="*/ 1284978 h 4687251"/>
              <a:gd name="connsiteX20266" fmla="*/ 4174960 w 8079933"/>
              <a:gd name="connsiteY20266" fmla="*/ 1289393 h 4687251"/>
              <a:gd name="connsiteX20267" fmla="*/ 4176133 w 8079933"/>
              <a:gd name="connsiteY20267" fmla="*/ 1297974 h 4687251"/>
              <a:gd name="connsiteX20268" fmla="*/ 4174961 w 8079933"/>
              <a:gd name="connsiteY20268" fmla="*/ 1289394 h 4687251"/>
              <a:gd name="connsiteX20269" fmla="*/ 1109256 w 8079933"/>
              <a:gd name="connsiteY20269" fmla="*/ 1284955 h 4687251"/>
              <a:gd name="connsiteX20270" fmla="*/ 1116744 w 8079933"/>
              <a:gd name="connsiteY20270" fmla="*/ 1285712 h 4687251"/>
              <a:gd name="connsiteX20271" fmla="*/ 1116093 w 8079933"/>
              <a:gd name="connsiteY20271" fmla="*/ 1288744 h 4687251"/>
              <a:gd name="connsiteX20272" fmla="*/ 1111644 w 8079933"/>
              <a:gd name="connsiteY20272" fmla="*/ 1294483 h 4687251"/>
              <a:gd name="connsiteX20273" fmla="*/ 1107628 w 8079933"/>
              <a:gd name="connsiteY20273" fmla="*/ 1292750 h 4687251"/>
              <a:gd name="connsiteX20274" fmla="*/ 1105241 w 8079933"/>
              <a:gd name="connsiteY20274" fmla="*/ 1288961 h 4687251"/>
              <a:gd name="connsiteX20275" fmla="*/ 1134216 w 8079933"/>
              <a:gd name="connsiteY20275" fmla="*/ 1278567 h 4687251"/>
              <a:gd name="connsiteX20276" fmla="*/ 1134216 w 8079933"/>
              <a:gd name="connsiteY20276" fmla="*/ 1278568 h 4687251"/>
              <a:gd name="connsiteX20277" fmla="*/ 1138231 w 8079933"/>
              <a:gd name="connsiteY20277" fmla="*/ 1278676 h 4687251"/>
              <a:gd name="connsiteX20278" fmla="*/ 1141486 w 8079933"/>
              <a:gd name="connsiteY20278" fmla="*/ 1279975 h 4687251"/>
              <a:gd name="connsiteX20279" fmla="*/ 1141486 w 8079933"/>
              <a:gd name="connsiteY20279" fmla="*/ 1279975 h 4687251"/>
              <a:gd name="connsiteX20280" fmla="*/ 1138230 w 8079933"/>
              <a:gd name="connsiteY20280" fmla="*/ 1278675 h 4687251"/>
              <a:gd name="connsiteX20281" fmla="*/ 3087840 w 8079933"/>
              <a:gd name="connsiteY20281" fmla="*/ 1275753 h 4687251"/>
              <a:gd name="connsiteX20282" fmla="*/ 3087298 w 8079933"/>
              <a:gd name="connsiteY20282" fmla="*/ 1277485 h 4687251"/>
              <a:gd name="connsiteX20283" fmla="*/ 3086538 w 8079933"/>
              <a:gd name="connsiteY20283" fmla="*/ 1276077 h 4687251"/>
              <a:gd name="connsiteX20284" fmla="*/ 4174526 w 8079933"/>
              <a:gd name="connsiteY20284" fmla="*/ 1275427 h 4687251"/>
              <a:gd name="connsiteX20285" fmla="*/ 4172464 w 8079933"/>
              <a:gd name="connsiteY20285" fmla="*/ 1282789 h 4687251"/>
              <a:gd name="connsiteX20286" fmla="*/ 4172464 w 8079933"/>
              <a:gd name="connsiteY20286" fmla="*/ 1282789 h 4687251"/>
              <a:gd name="connsiteX20287" fmla="*/ 4174526 w 8079933"/>
              <a:gd name="connsiteY20287" fmla="*/ 1275428 h 4687251"/>
              <a:gd name="connsiteX20288" fmla="*/ 3090227 w 8079933"/>
              <a:gd name="connsiteY20288" fmla="*/ 1269255 h 4687251"/>
              <a:gd name="connsiteX20289" fmla="*/ 3090119 w 8079933"/>
              <a:gd name="connsiteY20289" fmla="*/ 1271637 h 4687251"/>
              <a:gd name="connsiteX20290" fmla="*/ 3088600 w 8079933"/>
              <a:gd name="connsiteY20290" fmla="*/ 1272612 h 4687251"/>
              <a:gd name="connsiteX20291" fmla="*/ 3089034 w 8079933"/>
              <a:gd name="connsiteY20291" fmla="*/ 1270013 h 4687251"/>
              <a:gd name="connsiteX20292" fmla="*/ 1119674 w 8079933"/>
              <a:gd name="connsiteY20292" fmla="*/ 1268823 h 4687251"/>
              <a:gd name="connsiteX20293" fmla="*/ 1122170 w 8079933"/>
              <a:gd name="connsiteY20293" fmla="*/ 1276402 h 4687251"/>
              <a:gd name="connsiteX20294" fmla="*/ 1119240 w 8079933"/>
              <a:gd name="connsiteY20294" fmla="*/ 1280840 h 4687251"/>
              <a:gd name="connsiteX20295" fmla="*/ 1113489 w 8079933"/>
              <a:gd name="connsiteY20295" fmla="*/ 1282465 h 4687251"/>
              <a:gd name="connsiteX20296" fmla="*/ 1111753 w 8079933"/>
              <a:gd name="connsiteY20296" fmla="*/ 1280191 h 4687251"/>
              <a:gd name="connsiteX20297" fmla="*/ 1111753 w 8079933"/>
              <a:gd name="connsiteY20297" fmla="*/ 1277268 h 4687251"/>
              <a:gd name="connsiteX20298" fmla="*/ 1116310 w 8079933"/>
              <a:gd name="connsiteY20298" fmla="*/ 1270555 h 4687251"/>
              <a:gd name="connsiteX20299" fmla="*/ 288980 w 8079933"/>
              <a:gd name="connsiteY20299" fmla="*/ 1267308 h 4687251"/>
              <a:gd name="connsiteX20300" fmla="*/ 290500 w 8079933"/>
              <a:gd name="connsiteY20300" fmla="*/ 1272288 h 4687251"/>
              <a:gd name="connsiteX20301" fmla="*/ 293649 w 8079933"/>
              <a:gd name="connsiteY20301" fmla="*/ 1272938 h 4687251"/>
              <a:gd name="connsiteX20302" fmla="*/ 288980 w 8079933"/>
              <a:gd name="connsiteY20302" fmla="*/ 1274886 h 4687251"/>
              <a:gd name="connsiteX20303" fmla="*/ 287462 w 8079933"/>
              <a:gd name="connsiteY20303" fmla="*/ 1279326 h 4687251"/>
              <a:gd name="connsiteX20304" fmla="*/ 280408 w 8079933"/>
              <a:gd name="connsiteY20304" fmla="*/ 1281925 h 4687251"/>
              <a:gd name="connsiteX20305" fmla="*/ 272813 w 8079933"/>
              <a:gd name="connsiteY20305" fmla="*/ 1290370 h 4687251"/>
              <a:gd name="connsiteX20306" fmla="*/ 266410 w 8079933"/>
              <a:gd name="connsiteY20306" fmla="*/ 1290370 h 4687251"/>
              <a:gd name="connsiteX20307" fmla="*/ 261201 w 8079933"/>
              <a:gd name="connsiteY20307" fmla="*/ 1296217 h 4687251"/>
              <a:gd name="connsiteX20308" fmla="*/ 252196 w 8079933"/>
              <a:gd name="connsiteY20308" fmla="*/ 1296217 h 4687251"/>
              <a:gd name="connsiteX20309" fmla="*/ 256862 w 8079933"/>
              <a:gd name="connsiteY20309" fmla="*/ 1292102 h 4687251"/>
              <a:gd name="connsiteX20310" fmla="*/ 259572 w 8079933"/>
              <a:gd name="connsiteY20310" fmla="*/ 1292102 h 4687251"/>
              <a:gd name="connsiteX20311" fmla="*/ 262830 w 8079933"/>
              <a:gd name="connsiteY20311" fmla="*/ 1286797 h 4687251"/>
              <a:gd name="connsiteX20312" fmla="*/ 265762 w 8079933"/>
              <a:gd name="connsiteY20312" fmla="*/ 1285064 h 4687251"/>
              <a:gd name="connsiteX20313" fmla="*/ 265762 w 8079933"/>
              <a:gd name="connsiteY20313" fmla="*/ 1282682 h 4687251"/>
              <a:gd name="connsiteX20314" fmla="*/ 271619 w 8079933"/>
              <a:gd name="connsiteY20314" fmla="*/ 1277702 h 4687251"/>
              <a:gd name="connsiteX20315" fmla="*/ 276285 w 8079933"/>
              <a:gd name="connsiteY20315" fmla="*/ 1276836 h 4687251"/>
              <a:gd name="connsiteX20316" fmla="*/ 278130 w 8079933"/>
              <a:gd name="connsiteY20316" fmla="*/ 1272397 h 4687251"/>
              <a:gd name="connsiteX20317" fmla="*/ 276936 w 8079933"/>
              <a:gd name="connsiteY20317" fmla="*/ 1269690 h 4687251"/>
              <a:gd name="connsiteX20318" fmla="*/ 284533 w 8079933"/>
              <a:gd name="connsiteY20318" fmla="*/ 1269690 h 4687251"/>
              <a:gd name="connsiteX20319" fmla="*/ 288980 w 8079933"/>
              <a:gd name="connsiteY20319" fmla="*/ 1267308 h 4687251"/>
              <a:gd name="connsiteX20320" fmla="*/ 4092271 w 8079933"/>
              <a:gd name="connsiteY20320" fmla="*/ 1262110 h 4687251"/>
              <a:gd name="connsiteX20321" fmla="*/ 4093465 w 8079933"/>
              <a:gd name="connsiteY20321" fmla="*/ 1267307 h 4687251"/>
              <a:gd name="connsiteX20322" fmla="*/ 4091077 w 8079933"/>
              <a:gd name="connsiteY20322" fmla="*/ 1269473 h 4687251"/>
              <a:gd name="connsiteX20323" fmla="*/ 4088039 w 8079933"/>
              <a:gd name="connsiteY20323" fmla="*/ 1266874 h 4687251"/>
              <a:gd name="connsiteX20324" fmla="*/ 3093157 w 8079933"/>
              <a:gd name="connsiteY20324" fmla="*/ 1261244 h 4687251"/>
              <a:gd name="connsiteX20325" fmla="*/ 3092506 w 8079933"/>
              <a:gd name="connsiteY20325" fmla="*/ 1263084 h 4687251"/>
              <a:gd name="connsiteX20326" fmla="*/ 3091313 w 8079933"/>
              <a:gd name="connsiteY20326" fmla="*/ 1263301 h 4687251"/>
              <a:gd name="connsiteX20327" fmla="*/ 3090879 w 8079933"/>
              <a:gd name="connsiteY20327" fmla="*/ 1261893 h 4687251"/>
              <a:gd name="connsiteX20328" fmla="*/ 3091530 w 8079933"/>
              <a:gd name="connsiteY20328" fmla="*/ 1261352 h 4687251"/>
              <a:gd name="connsiteX20329" fmla="*/ 2611778 w 8079933"/>
              <a:gd name="connsiteY20329" fmla="*/ 1258862 h 4687251"/>
              <a:gd name="connsiteX20330" fmla="*/ 2618832 w 8079933"/>
              <a:gd name="connsiteY20330" fmla="*/ 1259945 h 4687251"/>
              <a:gd name="connsiteX20331" fmla="*/ 2623390 w 8079933"/>
              <a:gd name="connsiteY20331" fmla="*/ 1262543 h 4687251"/>
              <a:gd name="connsiteX20332" fmla="*/ 2623715 w 8079933"/>
              <a:gd name="connsiteY20332" fmla="*/ 1264492 h 4687251"/>
              <a:gd name="connsiteX20333" fmla="*/ 2621437 w 8079933"/>
              <a:gd name="connsiteY20333" fmla="*/ 1266116 h 4687251"/>
              <a:gd name="connsiteX20334" fmla="*/ 2621002 w 8079933"/>
              <a:gd name="connsiteY20334" fmla="*/ 1268823 h 4687251"/>
              <a:gd name="connsiteX20335" fmla="*/ 2619266 w 8079933"/>
              <a:gd name="connsiteY20335" fmla="*/ 1270339 h 4687251"/>
              <a:gd name="connsiteX20336" fmla="*/ 2618289 w 8079933"/>
              <a:gd name="connsiteY20336" fmla="*/ 1272829 h 4687251"/>
              <a:gd name="connsiteX20337" fmla="*/ 2617204 w 8079933"/>
              <a:gd name="connsiteY20337" fmla="*/ 1273154 h 4687251"/>
              <a:gd name="connsiteX20338" fmla="*/ 2615468 w 8079933"/>
              <a:gd name="connsiteY20338" fmla="*/ 1271421 h 4687251"/>
              <a:gd name="connsiteX20339" fmla="*/ 2615251 w 8079933"/>
              <a:gd name="connsiteY20339" fmla="*/ 1268715 h 4687251"/>
              <a:gd name="connsiteX20340" fmla="*/ 2612972 w 8079933"/>
              <a:gd name="connsiteY20340" fmla="*/ 1266982 h 4687251"/>
              <a:gd name="connsiteX20341" fmla="*/ 2610476 w 8079933"/>
              <a:gd name="connsiteY20341" fmla="*/ 1266441 h 4687251"/>
              <a:gd name="connsiteX20342" fmla="*/ 2607546 w 8079933"/>
              <a:gd name="connsiteY20342" fmla="*/ 1262976 h 4687251"/>
              <a:gd name="connsiteX20343" fmla="*/ 2607546 w 8079933"/>
              <a:gd name="connsiteY20343" fmla="*/ 1260486 h 4687251"/>
              <a:gd name="connsiteX20344" fmla="*/ 2609499 w 8079933"/>
              <a:gd name="connsiteY20344" fmla="*/ 1260053 h 4687251"/>
              <a:gd name="connsiteX20345" fmla="*/ 1087662 w 8079933"/>
              <a:gd name="connsiteY20345" fmla="*/ 1256263 h 4687251"/>
              <a:gd name="connsiteX20346" fmla="*/ 1089940 w 8079933"/>
              <a:gd name="connsiteY20346" fmla="*/ 1256263 h 4687251"/>
              <a:gd name="connsiteX20347" fmla="*/ 1094064 w 8079933"/>
              <a:gd name="connsiteY20347" fmla="*/ 1262001 h 4687251"/>
              <a:gd name="connsiteX20348" fmla="*/ 1092111 w 8079933"/>
              <a:gd name="connsiteY20348" fmla="*/ 1265791 h 4687251"/>
              <a:gd name="connsiteX20349" fmla="*/ 1092653 w 8079933"/>
              <a:gd name="connsiteY20349" fmla="*/ 1268714 h 4687251"/>
              <a:gd name="connsiteX20350" fmla="*/ 1095041 w 8079933"/>
              <a:gd name="connsiteY20350" fmla="*/ 1265899 h 4687251"/>
              <a:gd name="connsiteX20351" fmla="*/ 1096668 w 8079933"/>
              <a:gd name="connsiteY20351" fmla="*/ 1268281 h 4687251"/>
              <a:gd name="connsiteX20352" fmla="*/ 1092979 w 8079933"/>
              <a:gd name="connsiteY20352" fmla="*/ 1277809 h 4687251"/>
              <a:gd name="connsiteX20353" fmla="*/ 1085925 w 8079933"/>
              <a:gd name="connsiteY20353" fmla="*/ 1285171 h 4687251"/>
              <a:gd name="connsiteX20354" fmla="*/ 1086034 w 8079933"/>
              <a:gd name="connsiteY20354" fmla="*/ 1289285 h 4687251"/>
              <a:gd name="connsiteX20355" fmla="*/ 1083646 w 8079933"/>
              <a:gd name="connsiteY20355" fmla="*/ 1292750 h 4687251"/>
              <a:gd name="connsiteX20356" fmla="*/ 1078871 w 8079933"/>
              <a:gd name="connsiteY20356" fmla="*/ 1294266 h 4687251"/>
              <a:gd name="connsiteX20357" fmla="*/ 1080608 w 8079933"/>
              <a:gd name="connsiteY20357" fmla="*/ 1289826 h 4687251"/>
              <a:gd name="connsiteX20358" fmla="*/ 1079089 w 8079933"/>
              <a:gd name="connsiteY20358" fmla="*/ 1287228 h 4687251"/>
              <a:gd name="connsiteX20359" fmla="*/ 1076267 w 8079933"/>
              <a:gd name="connsiteY20359" fmla="*/ 1295673 h 4687251"/>
              <a:gd name="connsiteX20360" fmla="*/ 1074531 w 8079933"/>
              <a:gd name="connsiteY20360" fmla="*/ 1293399 h 4687251"/>
              <a:gd name="connsiteX20361" fmla="*/ 1075073 w 8079933"/>
              <a:gd name="connsiteY20361" fmla="*/ 1289935 h 4687251"/>
              <a:gd name="connsiteX20362" fmla="*/ 1077135 w 8079933"/>
              <a:gd name="connsiteY20362" fmla="*/ 1286254 h 4687251"/>
              <a:gd name="connsiteX20363" fmla="*/ 1076810 w 8079933"/>
              <a:gd name="connsiteY20363" fmla="*/ 1283655 h 4687251"/>
              <a:gd name="connsiteX20364" fmla="*/ 1078763 w 8079933"/>
              <a:gd name="connsiteY20364" fmla="*/ 1280191 h 4687251"/>
              <a:gd name="connsiteX20365" fmla="*/ 1081476 w 8079933"/>
              <a:gd name="connsiteY20365" fmla="*/ 1282464 h 4687251"/>
              <a:gd name="connsiteX20366" fmla="*/ 1083864 w 8079933"/>
              <a:gd name="connsiteY20366" fmla="*/ 1279866 h 4687251"/>
              <a:gd name="connsiteX20367" fmla="*/ 1084080 w 8079933"/>
              <a:gd name="connsiteY20367" fmla="*/ 1276726 h 4687251"/>
              <a:gd name="connsiteX20368" fmla="*/ 1080282 w 8079933"/>
              <a:gd name="connsiteY20368" fmla="*/ 1274128 h 4687251"/>
              <a:gd name="connsiteX20369" fmla="*/ 1083646 w 8079933"/>
              <a:gd name="connsiteY20369" fmla="*/ 1269363 h 4687251"/>
              <a:gd name="connsiteX20370" fmla="*/ 1081259 w 8079933"/>
              <a:gd name="connsiteY20370" fmla="*/ 1267306 h 4687251"/>
              <a:gd name="connsiteX20371" fmla="*/ 1081802 w 8079933"/>
              <a:gd name="connsiteY20371" fmla="*/ 1262326 h 4687251"/>
              <a:gd name="connsiteX20372" fmla="*/ 1083646 w 8079933"/>
              <a:gd name="connsiteY20372" fmla="*/ 1259403 h 4687251"/>
              <a:gd name="connsiteX20373" fmla="*/ 1087878 w 8079933"/>
              <a:gd name="connsiteY20373" fmla="*/ 1261135 h 4687251"/>
              <a:gd name="connsiteX20374" fmla="*/ 4083046 w 8079933"/>
              <a:gd name="connsiteY20374" fmla="*/ 1255505 h 4687251"/>
              <a:gd name="connsiteX20375" fmla="*/ 4088037 w 8079933"/>
              <a:gd name="connsiteY20375" fmla="*/ 1255505 h 4687251"/>
              <a:gd name="connsiteX20376" fmla="*/ 4089448 w 8079933"/>
              <a:gd name="connsiteY20376" fmla="*/ 1259078 h 4687251"/>
              <a:gd name="connsiteX20377" fmla="*/ 4087603 w 8079933"/>
              <a:gd name="connsiteY20377" fmla="*/ 1260595 h 4687251"/>
              <a:gd name="connsiteX20378" fmla="*/ 4349998 w 8079933"/>
              <a:gd name="connsiteY20378" fmla="*/ 1253557 h 4687251"/>
              <a:gd name="connsiteX20379" fmla="*/ 4352819 w 8079933"/>
              <a:gd name="connsiteY20379" fmla="*/ 1255939 h 4687251"/>
              <a:gd name="connsiteX20380" fmla="*/ 4355858 w 8079933"/>
              <a:gd name="connsiteY20380" fmla="*/ 1254423 h 4687251"/>
              <a:gd name="connsiteX20381" fmla="*/ 4355423 w 8079933"/>
              <a:gd name="connsiteY20381" fmla="*/ 1258429 h 4687251"/>
              <a:gd name="connsiteX20382" fmla="*/ 4351192 w 8079933"/>
              <a:gd name="connsiteY20382" fmla="*/ 1260812 h 4687251"/>
              <a:gd name="connsiteX20383" fmla="*/ 4348479 w 8079933"/>
              <a:gd name="connsiteY20383" fmla="*/ 1257563 h 4687251"/>
              <a:gd name="connsiteX20384" fmla="*/ 362663 w 8079933"/>
              <a:gd name="connsiteY20384" fmla="*/ 1253232 h 4687251"/>
              <a:gd name="connsiteX20385" fmla="*/ 365049 w 8079933"/>
              <a:gd name="connsiteY20385" fmla="*/ 1255398 h 4687251"/>
              <a:gd name="connsiteX20386" fmla="*/ 360167 w 8079933"/>
              <a:gd name="connsiteY20386" fmla="*/ 1255290 h 4687251"/>
              <a:gd name="connsiteX20387" fmla="*/ 340416 w 8079933"/>
              <a:gd name="connsiteY20387" fmla="*/ 1253232 h 4687251"/>
              <a:gd name="connsiteX20388" fmla="*/ 343999 w 8079933"/>
              <a:gd name="connsiteY20388" fmla="*/ 1255397 h 4687251"/>
              <a:gd name="connsiteX20389" fmla="*/ 344105 w 8079933"/>
              <a:gd name="connsiteY20389" fmla="*/ 1258104 h 4687251"/>
              <a:gd name="connsiteX20390" fmla="*/ 339984 w 8079933"/>
              <a:gd name="connsiteY20390" fmla="*/ 1256155 h 4687251"/>
              <a:gd name="connsiteX20391" fmla="*/ 1102855 w 8079933"/>
              <a:gd name="connsiteY20391" fmla="*/ 1252040 h 4687251"/>
              <a:gd name="connsiteX20392" fmla="*/ 1107629 w 8079933"/>
              <a:gd name="connsiteY20392" fmla="*/ 1257345 h 4687251"/>
              <a:gd name="connsiteX20393" fmla="*/ 1112079 w 8079933"/>
              <a:gd name="connsiteY20393" fmla="*/ 1257345 h 4687251"/>
              <a:gd name="connsiteX20394" fmla="*/ 1115443 w 8079933"/>
              <a:gd name="connsiteY20394" fmla="*/ 1261568 h 4687251"/>
              <a:gd name="connsiteX20395" fmla="*/ 1115443 w 8079933"/>
              <a:gd name="connsiteY20395" fmla="*/ 1267631 h 4687251"/>
              <a:gd name="connsiteX20396" fmla="*/ 1111754 w 8079933"/>
              <a:gd name="connsiteY20396" fmla="*/ 1273694 h 4687251"/>
              <a:gd name="connsiteX20397" fmla="*/ 1109583 w 8079933"/>
              <a:gd name="connsiteY20397" fmla="*/ 1274344 h 4687251"/>
              <a:gd name="connsiteX20398" fmla="*/ 1108823 w 8079933"/>
              <a:gd name="connsiteY20398" fmla="*/ 1268172 h 4687251"/>
              <a:gd name="connsiteX20399" fmla="*/ 1106219 w 8079933"/>
              <a:gd name="connsiteY20399" fmla="*/ 1269146 h 4687251"/>
              <a:gd name="connsiteX20400" fmla="*/ 1106219 w 8079933"/>
              <a:gd name="connsiteY20400" fmla="*/ 1274344 h 4687251"/>
              <a:gd name="connsiteX20401" fmla="*/ 1104374 w 8079933"/>
              <a:gd name="connsiteY20401" fmla="*/ 1276401 h 4687251"/>
              <a:gd name="connsiteX20402" fmla="*/ 1106979 w 8079933"/>
              <a:gd name="connsiteY20402" fmla="*/ 1280407 h 4687251"/>
              <a:gd name="connsiteX20403" fmla="*/ 1103831 w 8079933"/>
              <a:gd name="connsiteY20403" fmla="*/ 1282464 h 4687251"/>
              <a:gd name="connsiteX20404" fmla="*/ 1101987 w 8079933"/>
              <a:gd name="connsiteY20404" fmla="*/ 1280840 h 4687251"/>
              <a:gd name="connsiteX20405" fmla="*/ 1099165 w 8079933"/>
              <a:gd name="connsiteY20405" fmla="*/ 1284305 h 4687251"/>
              <a:gd name="connsiteX20406" fmla="*/ 1096127 w 8079933"/>
              <a:gd name="connsiteY20406" fmla="*/ 1283655 h 4687251"/>
              <a:gd name="connsiteX20407" fmla="*/ 1096344 w 8079933"/>
              <a:gd name="connsiteY20407" fmla="*/ 1277808 h 4687251"/>
              <a:gd name="connsiteX20408" fmla="*/ 1099165 w 8079933"/>
              <a:gd name="connsiteY20408" fmla="*/ 1266981 h 4687251"/>
              <a:gd name="connsiteX20409" fmla="*/ 1101444 w 8079933"/>
              <a:gd name="connsiteY20409" fmla="*/ 1263733 h 4687251"/>
              <a:gd name="connsiteX20410" fmla="*/ 1097104 w 8079933"/>
              <a:gd name="connsiteY20410" fmla="*/ 1262001 h 4687251"/>
              <a:gd name="connsiteX20411" fmla="*/ 1098189 w 8079933"/>
              <a:gd name="connsiteY20411" fmla="*/ 1257995 h 4687251"/>
              <a:gd name="connsiteX20412" fmla="*/ 1096344 w 8079933"/>
              <a:gd name="connsiteY20412" fmla="*/ 1255288 h 4687251"/>
              <a:gd name="connsiteX20413" fmla="*/ 1096778 w 8079933"/>
              <a:gd name="connsiteY20413" fmla="*/ 1252148 h 4687251"/>
              <a:gd name="connsiteX20414" fmla="*/ 367764 w 8079933"/>
              <a:gd name="connsiteY20414" fmla="*/ 1252040 h 4687251"/>
              <a:gd name="connsiteX20415" fmla="*/ 372106 w 8079933"/>
              <a:gd name="connsiteY20415" fmla="*/ 1252148 h 4687251"/>
              <a:gd name="connsiteX20416" fmla="*/ 373516 w 8079933"/>
              <a:gd name="connsiteY20416" fmla="*/ 1254530 h 4687251"/>
              <a:gd name="connsiteX20417" fmla="*/ 369175 w 8079933"/>
              <a:gd name="connsiteY20417" fmla="*/ 1255180 h 4687251"/>
              <a:gd name="connsiteX20418" fmla="*/ 368307 w 8079933"/>
              <a:gd name="connsiteY20418" fmla="*/ 1254421 h 4687251"/>
              <a:gd name="connsiteX20419" fmla="*/ 329024 w 8079933"/>
              <a:gd name="connsiteY20419" fmla="*/ 1251283 h 4687251"/>
              <a:gd name="connsiteX20420" fmla="*/ 330650 w 8079933"/>
              <a:gd name="connsiteY20420" fmla="*/ 1254314 h 4687251"/>
              <a:gd name="connsiteX20421" fmla="*/ 335859 w 8079933"/>
              <a:gd name="connsiteY20421" fmla="*/ 1255830 h 4687251"/>
              <a:gd name="connsiteX20422" fmla="*/ 337054 w 8079933"/>
              <a:gd name="connsiteY20422" fmla="*/ 1260053 h 4687251"/>
              <a:gd name="connsiteX20423" fmla="*/ 332387 w 8079933"/>
              <a:gd name="connsiteY20423" fmla="*/ 1263518 h 4687251"/>
              <a:gd name="connsiteX20424" fmla="*/ 336185 w 8079933"/>
              <a:gd name="connsiteY20424" fmla="*/ 1264601 h 4687251"/>
              <a:gd name="connsiteX20425" fmla="*/ 336294 w 8079933"/>
              <a:gd name="connsiteY20425" fmla="*/ 1266550 h 4687251"/>
              <a:gd name="connsiteX20426" fmla="*/ 329890 w 8079933"/>
              <a:gd name="connsiteY20426" fmla="*/ 1269689 h 4687251"/>
              <a:gd name="connsiteX20427" fmla="*/ 326203 w 8079933"/>
              <a:gd name="connsiteY20427" fmla="*/ 1274236 h 4687251"/>
              <a:gd name="connsiteX20428" fmla="*/ 323706 w 8079933"/>
              <a:gd name="connsiteY20428" fmla="*/ 1274886 h 4687251"/>
              <a:gd name="connsiteX20429" fmla="*/ 322513 w 8079933"/>
              <a:gd name="connsiteY20429" fmla="*/ 1272179 h 4687251"/>
              <a:gd name="connsiteX20430" fmla="*/ 319691 w 8079933"/>
              <a:gd name="connsiteY20430" fmla="*/ 1271313 h 4687251"/>
              <a:gd name="connsiteX20431" fmla="*/ 318389 w 8079933"/>
              <a:gd name="connsiteY20431" fmla="*/ 1275103 h 4687251"/>
              <a:gd name="connsiteX20432" fmla="*/ 316760 w 8079933"/>
              <a:gd name="connsiteY20432" fmla="*/ 1279650 h 4687251"/>
              <a:gd name="connsiteX20433" fmla="*/ 314266 w 8079933"/>
              <a:gd name="connsiteY20433" fmla="*/ 1278675 h 4687251"/>
              <a:gd name="connsiteX20434" fmla="*/ 313723 w 8079933"/>
              <a:gd name="connsiteY20434" fmla="*/ 1274453 h 4687251"/>
              <a:gd name="connsiteX20435" fmla="*/ 308622 w 8079933"/>
              <a:gd name="connsiteY20435" fmla="*/ 1280408 h 4687251"/>
              <a:gd name="connsiteX20436" fmla="*/ 301895 w 8079933"/>
              <a:gd name="connsiteY20436" fmla="*/ 1282357 h 4687251"/>
              <a:gd name="connsiteX20437" fmla="*/ 294300 w 8079933"/>
              <a:gd name="connsiteY20437" fmla="*/ 1282465 h 4687251"/>
              <a:gd name="connsiteX20438" fmla="*/ 291153 w 8079933"/>
              <a:gd name="connsiteY20438" fmla="*/ 1279434 h 4687251"/>
              <a:gd name="connsiteX20439" fmla="*/ 294190 w 8079933"/>
              <a:gd name="connsiteY20439" fmla="*/ 1278892 h 4687251"/>
              <a:gd name="connsiteX20440" fmla="*/ 298423 w 8079933"/>
              <a:gd name="connsiteY20440" fmla="*/ 1279001 h 4687251"/>
              <a:gd name="connsiteX20441" fmla="*/ 304064 w 8079933"/>
              <a:gd name="connsiteY20441" fmla="*/ 1274995 h 4687251"/>
              <a:gd name="connsiteX20442" fmla="*/ 306777 w 8079933"/>
              <a:gd name="connsiteY20442" fmla="*/ 1274778 h 4687251"/>
              <a:gd name="connsiteX20443" fmla="*/ 311011 w 8079933"/>
              <a:gd name="connsiteY20443" fmla="*/ 1269581 h 4687251"/>
              <a:gd name="connsiteX20444" fmla="*/ 313396 w 8079933"/>
              <a:gd name="connsiteY20444" fmla="*/ 1268823 h 4687251"/>
              <a:gd name="connsiteX20445" fmla="*/ 312964 w 8079933"/>
              <a:gd name="connsiteY20445" fmla="*/ 1265791 h 4687251"/>
              <a:gd name="connsiteX20446" fmla="*/ 317195 w 8079933"/>
              <a:gd name="connsiteY20446" fmla="*/ 1262218 h 4687251"/>
              <a:gd name="connsiteX20447" fmla="*/ 322077 w 8079933"/>
              <a:gd name="connsiteY20447" fmla="*/ 1264601 h 4687251"/>
              <a:gd name="connsiteX20448" fmla="*/ 323922 w 8079933"/>
              <a:gd name="connsiteY20448" fmla="*/ 1263193 h 4687251"/>
              <a:gd name="connsiteX20449" fmla="*/ 320126 w 8079933"/>
              <a:gd name="connsiteY20449" fmla="*/ 1259511 h 4687251"/>
              <a:gd name="connsiteX20450" fmla="*/ 320126 w 8079933"/>
              <a:gd name="connsiteY20450" fmla="*/ 1255830 h 4687251"/>
              <a:gd name="connsiteX20451" fmla="*/ 324790 w 8079933"/>
              <a:gd name="connsiteY20451" fmla="*/ 1251824 h 4687251"/>
              <a:gd name="connsiteX20452" fmla="*/ 3088925 w 8079933"/>
              <a:gd name="connsiteY20452" fmla="*/ 1250849 h 4687251"/>
              <a:gd name="connsiteX20453" fmla="*/ 3091312 w 8079933"/>
              <a:gd name="connsiteY20453" fmla="*/ 1252798 h 4687251"/>
              <a:gd name="connsiteX20454" fmla="*/ 3095436 w 8079933"/>
              <a:gd name="connsiteY20454" fmla="*/ 1252906 h 4687251"/>
              <a:gd name="connsiteX20455" fmla="*/ 3097606 w 8079933"/>
              <a:gd name="connsiteY20455" fmla="*/ 1254746 h 4687251"/>
              <a:gd name="connsiteX20456" fmla="*/ 3097171 w 8079933"/>
              <a:gd name="connsiteY20456" fmla="*/ 1256154 h 4687251"/>
              <a:gd name="connsiteX20457" fmla="*/ 3092180 w 8079933"/>
              <a:gd name="connsiteY20457" fmla="*/ 1256371 h 4687251"/>
              <a:gd name="connsiteX20458" fmla="*/ 3090878 w 8079933"/>
              <a:gd name="connsiteY20458" fmla="*/ 1254963 h 4687251"/>
              <a:gd name="connsiteX20459" fmla="*/ 3087948 w 8079933"/>
              <a:gd name="connsiteY20459" fmla="*/ 1254530 h 4687251"/>
              <a:gd name="connsiteX20460" fmla="*/ 3086755 w 8079933"/>
              <a:gd name="connsiteY20460" fmla="*/ 1251824 h 4687251"/>
              <a:gd name="connsiteX20461" fmla="*/ 4107898 w 8079933"/>
              <a:gd name="connsiteY20461" fmla="*/ 1249876 h 4687251"/>
              <a:gd name="connsiteX20462" fmla="*/ 4110394 w 8079933"/>
              <a:gd name="connsiteY20462" fmla="*/ 1252582 h 4687251"/>
              <a:gd name="connsiteX20463" fmla="*/ 4106921 w 8079933"/>
              <a:gd name="connsiteY20463" fmla="*/ 1256804 h 4687251"/>
              <a:gd name="connsiteX20464" fmla="*/ 4101495 w 8079933"/>
              <a:gd name="connsiteY20464" fmla="*/ 1256480 h 4687251"/>
              <a:gd name="connsiteX20465" fmla="*/ 4098348 w 8079933"/>
              <a:gd name="connsiteY20465" fmla="*/ 1258212 h 4687251"/>
              <a:gd name="connsiteX20466" fmla="*/ 4095201 w 8079933"/>
              <a:gd name="connsiteY20466" fmla="*/ 1258104 h 4687251"/>
              <a:gd name="connsiteX20467" fmla="*/ 4098131 w 8079933"/>
              <a:gd name="connsiteY20467" fmla="*/ 1252690 h 4687251"/>
              <a:gd name="connsiteX20468" fmla="*/ 4102797 w 8079933"/>
              <a:gd name="connsiteY20468" fmla="*/ 1252582 h 4687251"/>
              <a:gd name="connsiteX20469" fmla="*/ 4104208 w 8079933"/>
              <a:gd name="connsiteY20469" fmla="*/ 1250092 h 4687251"/>
              <a:gd name="connsiteX20470" fmla="*/ 3535798 w 8079933"/>
              <a:gd name="connsiteY20470" fmla="*/ 1249009 h 4687251"/>
              <a:gd name="connsiteX20471" fmla="*/ 3536557 w 8079933"/>
              <a:gd name="connsiteY20471" fmla="*/ 1253989 h 4687251"/>
              <a:gd name="connsiteX20472" fmla="*/ 3533518 w 8079933"/>
              <a:gd name="connsiteY20472" fmla="*/ 1256155 h 4687251"/>
              <a:gd name="connsiteX20473" fmla="*/ 3532108 w 8079933"/>
              <a:gd name="connsiteY20473" fmla="*/ 1252907 h 4687251"/>
              <a:gd name="connsiteX20474" fmla="*/ 3533410 w 8079933"/>
              <a:gd name="connsiteY20474" fmla="*/ 1249550 h 4687251"/>
              <a:gd name="connsiteX20475" fmla="*/ 4352602 w 8079933"/>
              <a:gd name="connsiteY20475" fmla="*/ 1247602 h 4687251"/>
              <a:gd name="connsiteX20476" fmla="*/ 4355424 w 8079933"/>
              <a:gd name="connsiteY20476" fmla="*/ 1250092 h 4687251"/>
              <a:gd name="connsiteX20477" fmla="*/ 4353470 w 8079933"/>
              <a:gd name="connsiteY20477" fmla="*/ 1252041 h 4687251"/>
              <a:gd name="connsiteX20478" fmla="*/ 4352060 w 8079933"/>
              <a:gd name="connsiteY20478" fmla="*/ 1250741 h 4687251"/>
              <a:gd name="connsiteX20479" fmla="*/ 2617422 w 8079933"/>
              <a:gd name="connsiteY20479" fmla="*/ 1246518 h 4687251"/>
              <a:gd name="connsiteX20480" fmla="*/ 2619592 w 8079933"/>
              <a:gd name="connsiteY20480" fmla="*/ 1249550 h 4687251"/>
              <a:gd name="connsiteX20481" fmla="*/ 2620243 w 8079933"/>
              <a:gd name="connsiteY20481" fmla="*/ 1251715 h 4687251"/>
              <a:gd name="connsiteX20482" fmla="*/ 2622305 w 8079933"/>
              <a:gd name="connsiteY20482" fmla="*/ 1254421 h 4687251"/>
              <a:gd name="connsiteX20483" fmla="*/ 2622739 w 8079933"/>
              <a:gd name="connsiteY20483" fmla="*/ 1257994 h 4687251"/>
              <a:gd name="connsiteX20484" fmla="*/ 2621654 w 8079933"/>
              <a:gd name="connsiteY20484" fmla="*/ 1258644 h 4687251"/>
              <a:gd name="connsiteX20485" fmla="*/ 2617313 w 8079933"/>
              <a:gd name="connsiteY20485" fmla="*/ 1255287 h 4687251"/>
              <a:gd name="connsiteX20486" fmla="*/ 2617313 w 8079933"/>
              <a:gd name="connsiteY20486" fmla="*/ 1252364 h 4687251"/>
              <a:gd name="connsiteX20487" fmla="*/ 2615360 w 8079933"/>
              <a:gd name="connsiteY20487" fmla="*/ 1250740 h 4687251"/>
              <a:gd name="connsiteX20488" fmla="*/ 2615360 w 8079933"/>
              <a:gd name="connsiteY20488" fmla="*/ 1248467 h 4687251"/>
              <a:gd name="connsiteX20489" fmla="*/ 4538434 w 8079933"/>
              <a:gd name="connsiteY20489" fmla="*/ 1246465 h 4687251"/>
              <a:gd name="connsiteX20490" fmla="*/ 4540445 w 8079933"/>
              <a:gd name="connsiteY20490" fmla="*/ 1249333 h 4687251"/>
              <a:gd name="connsiteX20491" fmla="*/ 4546630 w 8079933"/>
              <a:gd name="connsiteY20491" fmla="*/ 1251390 h 4687251"/>
              <a:gd name="connsiteX20492" fmla="*/ 4555463 w 8079933"/>
              <a:gd name="connsiteY20492" fmla="*/ 1260997 h 4687251"/>
              <a:gd name="connsiteX20493" fmla="*/ 4555311 w 8079933"/>
              <a:gd name="connsiteY20493" fmla="*/ 1260270 h 4687251"/>
              <a:gd name="connsiteX20494" fmla="*/ 4544460 w 8079933"/>
              <a:gd name="connsiteY20494" fmla="*/ 1248469 h 4687251"/>
              <a:gd name="connsiteX20495" fmla="*/ 349535 w 8079933"/>
              <a:gd name="connsiteY20495" fmla="*/ 1246302 h 4687251"/>
              <a:gd name="connsiteX20496" fmla="*/ 351378 w 8079933"/>
              <a:gd name="connsiteY20496" fmla="*/ 1249658 h 4687251"/>
              <a:gd name="connsiteX20497" fmla="*/ 353982 w 8079933"/>
              <a:gd name="connsiteY20497" fmla="*/ 1250632 h 4687251"/>
              <a:gd name="connsiteX20498" fmla="*/ 352791 w 8079933"/>
              <a:gd name="connsiteY20498" fmla="*/ 1252906 h 4687251"/>
              <a:gd name="connsiteX20499" fmla="*/ 349317 w 8079933"/>
              <a:gd name="connsiteY20499" fmla="*/ 1254963 h 4687251"/>
              <a:gd name="connsiteX20500" fmla="*/ 345085 w 8079933"/>
              <a:gd name="connsiteY20500" fmla="*/ 1251391 h 4687251"/>
              <a:gd name="connsiteX20501" fmla="*/ 344758 w 8079933"/>
              <a:gd name="connsiteY20501" fmla="*/ 1247818 h 4687251"/>
              <a:gd name="connsiteX20502" fmla="*/ 3108567 w 8079933"/>
              <a:gd name="connsiteY20502" fmla="*/ 1244029 h 4687251"/>
              <a:gd name="connsiteX20503" fmla="*/ 3109001 w 8079933"/>
              <a:gd name="connsiteY20503" fmla="*/ 1246952 h 4687251"/>
              <a:gd name="connsiteX20504" fmla="*/ 3107265 w 8079933"/>
              <a:gd name="connsiteY20504" fmla="*/ 1249119 h 4687251"/>
              <a:gd name="connsiteX20505" fmla="*/ 3107265 w 8079933"/>
              <a:gd name="connsiteY20505" fmla="*/ 1245329 h 4687251"/>
              <a:gd name="connsiteX20506" fmla="*/ 424517 w 8079933"/>
              <a:gd name="connsiteY20506" fmla="*/ 1243595 h 4687251"/>
              <a:gd name="connsiteX20507" fmla="*/ 429075 w 8079933"/>
              <a:gd name="connsiteY20507" fmla="*/ 1247926 h 4687251"/>
              <a:gd name="connsiteX20508" fmla="*/ 425603 w 8079933"/>
              <a:gd name="connsiteY20508" fmla="*/ 1249983 h 4687251"/>
              <a:gd name="connsiteX20509" fmla="*/ 421804 w 8079933"/>
              <a:gd name="connsiteY20509" fmla="*/ 1246301 h 4687251"/>
              <a:gd name="connsiteX20510" fmla="*/ 358108 w 8079933"/>
              <a:gd name="connsiteY20510" fmla="*/ 1243488 h 4687251"/>
              <a:gd name="connsiteX20511" fmla="*/ 360058 w 8079933"/>
              <a:gd name="connsiteY20511" fmla="*/ 1244137 h 4687251"/>
              <a:gd name="connsiteX20512" fmla="*/ 361253 w 8079933"/>
              <a:gd name="connsiteY20512" fmla="*/ 1248902 h 4687251"/>
              <a:gd name="connsiteX20513" fmla="*/ 357238 w 8079933"/>
              <a:gd name="connsiteY20513" fmla="*/ 1250851 h 4687251"/>
              <a:gd name="connsiteX20514" fmla="*/ 358216 w 8079933"/>
              <a:gd name="connsiteY20514" fmla="*/ 1247277 h 4687251"/>
              <a:gd name="connsiteX20515" fmla="*/ 4101494 w 8079933"/>
              <a:gd name="connsiteY20515" fmla="*/ 1242513 h 4687251"/>
              <a:gd name="connsiteX20516" fmla="*/ 4104641 w 8079933"/>
              <a:gd name="connsiteY20516" fmla="*/ 1245436 h 4687251"/>
              <a:gd name="connsiteX20517" fmla="*/ 4099758 w 8079933"/>
              <a:gd name="connsiteY20517" fmla="*/ 1248792 h 4687251"/>
              <a:gd name="connsiteX20518" fmla="*/ 4094007 w 8079933"/>
              <a:gd name="connsiteY20518" fmla="*/ 1249009 h 4687251"/>
              <a:gd name="connsiteX20519" fmla="*/ 1080934 w 8079933"/>
              <a:gd name="connsiteY20519" fmla="*/ 1235368 h 4687251"/>
              <a:gd name="connsiteX20520" fmla="*/ 1084406 w 8079933"/>
              <a:gd name="connsiteY20520" fmla="*/ 1235584 h 4687251"/>
              <a:gd name="connsiteX20521" fmla="*/ 1083104 w 8079933"/>
              <a:gd name="connsiteY20521" fmla="*/ 1238941 h 4687251"/>
              <a:gd name="connsiteX20522" fmla="*/ 1063788 w 8079933"/>
              <a:gd name="connsiteY20522" fmla="*/ 1235150 h 4687251"/>
              <a:gd name="connsiteX20523" fmla="*/ 1065198 w 8079933"/>
              <a:gd name="connsiteY20523" fmla="*/ 1238615 h 4687251"/>
              <a:gd name="connsiteX20524" fmla="*/ 1064004 w 8079933"/>
              <a:gd name="connsiteY20524" fmla="*/ 1241862 h 4687251"/>
              <a:gd name="connsiteX20525" fmla="*/ 1063462 w 8079933"/>
              <a:gd name="connsiteY20525" fmla="*/ 1246843 h 4687251"/>
              <a:gd name="connsiteX20526" fmla="*/ 1059448 w 8079933"/>
              <a:gd name="connsiteY20526" fmla="*/ 1248142 h 4687251"/>
              <a:gd name="connsiteX20527" fmla="*/ 1058471 w 8079933"/>
              <a:gd name="connsiteY20527" fmla="*/ 1245652 h 4687251"/>
              <a:gd name="connsiteX20528" fmla="*/ 1061183 w 8079933"/>
              <a:gd name="connsiteY20528" fmla="*/ 1242837 h 4687251"/>
              <a:gd name="connsiteX20529" fmla="*/ 1060207 w 8079933"/>
              <a:gd name="connsiteY20529" fmla="*/ 1241321 h 4687251"/>
              <a:gd name="connsiteX20530" fmla="*/ 1060749 w 8079933"/>
              <a:gd name="connsiteY20530" fmla="*/ 1237532 h 4687251"/>
              <a:gd name="connsiteX20531" fmla="*/ 511006 w 8079933"/>
              <a:gd name="connsiteY20531" fmla="*/ 1233743 h 4687251"/>
              <a:gd name="connsiteX20532" fmla="*/ 511222 w 8079933"/>
              <a:gd name="connsiteY20532" fmla="*/ 1236991 h 4687251"/>
              <a:gd name="connsiteX20533" fmla="*/ 509269 w 8079933"/>
              <a:gd name="connsiteY20533" fmla="*/ 1239157 h 4687251"/>
              <a:gd name="connsiteX20534" fmla="*/ 508618 w 8079933"/>
              <a:gd name="connsiteY20534" fmla="*/ 1236233 h 4687251"/>
              <a:gd name="connsiteX20535" fmla="*/ 1075725 w 8079933"/>
              <a:gd name="connsiteY20535" fmla="*/ 1232444 h 4687251"/>
              <a:gd name="connsiteX20536" fmla="*/ 1078329 w 8079933"/>
              <a:gd name="connsiteY20536" fmla="*/ 1233418 h 4687251"/>
              <a:gd name="connsiteX20537" fmla="*/ 1080282 w 8079933"/>
              <a:gd name="connsiteY20537" fmla="*/ 1239915 h 4687251"/>
              <a:gd name="connsiteX20538" fmla="*/ 1080825 w 8079933"/>
              <a:gd name="connsiteY20538" fmla="*/ 1248143 h 4687251"/>
              <a:gd name="connsiteX20539" fmla="*/ 1079414 w 8079933"/>
              <a:gd name="connsiteY20539" fmla="*/ 1255830 h 4687251"/>
              <a:gd name="connsiteX20540" fmla="*/ 1077353 w 8079933"/>
              <a:gd name="connsiteY20540" fmla="*/ 1257887 h 4687251"/>
              <a:gd name="connsiteX20541" fmla="*/ 1076051 w 8079933"/>
              <a:gd name="connsiteY20541" fmla="*/ 1266333 h 4687251"/>
              <a:gd name="connsiteX20542" fmla="*/ 1073338 w 8079933"/>
              <a:gd name="connsiteY20542" fmla="*/ 1269256 h 4687251"/>
              <a:gd name="connsiteX20543" fmla="*/ 1071493 w 8079933"/>
              <a:gd name="connsiteY20543" fmla="*/ 1275536 h 4687251"/>
              <a:gd name="connsiteX20544" fmla="*/ 1070733 w 8079933"/>
              <a:gd name="connsiteY20544" fmla="*/ 1281382 h 4687251"/>
              <a:gd name="connsiteX20545" fmla="*/ 1069431 w 8079933"/>
              <a:gd name="connsiteY20545" fmla="*/ 1285064 h 4687251"/>
              <a:gd name="connsiteX20546" fmla="*/ 1067478 w 8079933"/>
              <a:gd name="connsiteY20546" fmla="*/ 1286038 h 4687251"/>
              <a:gd name="connsiteX20547" fmla="*/ 1066827 w 8079933"/>
              <a:gd name="connsiteY20547" fmla="*/ 1282682 h 4687251"/>
              <a:gd name="connsiteX20548" fmla="*/ 1067695 w 8079933"/>
              <a:gd name="connsiteY20548" fmla="*/ 1279001 h 4687251"/>
              <a:gd name="connsiteX20549" fmla="*/ 1065525 w 8079933"/>
              <a:gd name="connsiteY20549" fmla="*/ 1277376 h 4687251"/>
              <a:gd name="connsiteX20550" fmla="*/ 1064005 w 8079933"/>
              <a:gd name="connsiteY20550" fmla="*/ 1270988 h 4687251"/>
              <a:gd name="connsiteX20551" fmla="*/ 1065959 w 8079933"/>
              <a:gd name="connsiteY20551" fmla="*/ 1267415 h 4687251"/>
              <a:gd name="connsiteX20552" fmla="*/ 1069105 w 8079933"/>
              <a:gd name="connsiteY20552" fmla="*/ 1266766 h 4687251"/>
              <a:gd name="connsiteX20553" fmla="*/ 1071493 w 8079933"/>
              <a:gd name="connsiteY20553" fmla="*/ 1264817 h 4687251"/>
              <a:gd name="connsiteX20554" fmla="*/ 1070950 w 8079933"/>
              <a:gd name="connsiteY20554" fmla="*/ 1262652 h 4687251"/>
              <a:gd name="connsiteX20555" fmla="*/ 1068237 w 8079933"/>
              <a:gd name="connsiteY20555" fmla="*/ 1264168 h 4687251"/>
              <a:gd name="connsiteX20556" fmla="*/ 1065959 w 8079933"/>
              <a:gd name="connsiteY20556" fmla="*/ 1264168 h 4687251"/>
              <a:gd name="connsiteX20557" fmla="*/ 1065633 w 8079933"/>
              <a:gd name="connsiteY20557" fmla="*/ 1261244 h 4687251"/>
              <a:gd name="connsiteX20558" fmla="*/ 1067695 w 8079933"/>
              <a:gd name="connsiteY20558" fmla="*/ 1260053 h 4687251"/>
              <a:gd name="connsiteX20559" fmla="*/ 1068888 w 8079933"/>
              <a:gd name="connsiteY20559" fmla="*/ 1257779 h 4687251"/>
              <a:gd name="connsiteX20560" fmla="*/ 1063680 w 8079933"/>
              <a:gd name="connsiteY20560" fmla="*/ 1256372 h 4687251"/>
              <a:gd name="connsiteX20561" fmla="*/ 1063897 w 8079933"/>
              <a:gd name="connsiteY20561" fmla="*/ 1254315 h 4687251"/>
              <a:gd name="connsiteX20562" fmla="*/ 1068020 w 8079933"/>
              <a:gd name="connsiteY20562" fmla="*/ 1253665 h 4687251"/>
              <a:gd name="connsiteX20563" fmla="*/ 1070299 w 8079933"/>
              <a:gd name="connsiteY20563" fmla="*/ 1250309 h 4687251"/>
              <a:gd name="connsiteX20564" fmla="*/ 1070842 w 8079933"/>
              <a:gd name="connsiteY20564" fmla="*/ 1245653 h 4687251"/>
              <a:gd name="connsiteX20565" fmla="*/ 1073555 w 8079933"/>
              <a:gd name="connsiteY20565" fmla="*/ 1242730 h 4687251"/>
              <a:gd name="connsiteX20566" fmla="*/ 1070082 w 8079933"/>
              <a:gd name="connsiteY20566" fmla="*/ 1239589 h 4687251"/>
              <a:gd name="connsiteX20567" fmla="*/ 1069431 w 8079933"/>
              <a:gd name="connsiteY20567" fmla="*/ 1236666 h 4687251"/>
              <a:gd name="connsiteX20568" fmla="*/ 1073663 w 8079933"/>
              <a:gd name="connsiteY20568" fmla="*/ 1234934 h 4687251"/>
              <a:gd name="connsiteX20569" fmla="*/ 509272 w 8079933"/>
              <a:gd name="connsiteY20569" fmla="*/ 1226488 h 4687251"/>
              <a:gd name="connsiteX20570" fmla="*/ 509272 w 8079933"/>
              <a:gd name="connsiteY20570" fmla="*/ 1230710 h 4687251"/>
              <a:gd name="connsiteX20571" fmla="*/ 506232 w 8079933"/>
              <a:gd name="connsiteY20571" fmla="*/ 1232010 h 4687251"/>
              <a:gd name="connsiteX20572" fmla="*/ 444267 w 8079933"/>
              <a:gd name="connsiteY20572" fmla="*/ 1225298 h 4687251"/>
              <a:gd name="connsiteX20573" fmla="*/ 445137 w 8079933"/>
              <a:gd name="connsiteY20573" fmla="*/ 1228763 h 4687251"/>
              <a:gd name="connsiteX20574" fmla="*/ 441989 w 8079933"/>
              <a:gd name="connsiteY20574" fmla="*/ 1232335 h 4687251"/>
              <a:gd name="connsiteX20575" fmla="*/ 439709 w 8079933"/>
              <a:gd name="connsiteY20575" fmla="*/ 1228546 h 4687251"/>
              <a:gd name="connsiteX20576" fmla="*/ 501566 w 8079933"/>
              <a:gd name="connsiteY20576" fmla="*/ 1224865 h 4687251"/>
              <a:gd name="connsiteX20577" fmla="*/ 498092 w 8079933"/>
              <a:gd name="connsiteY20577" fmla="*/ 1228113 h 4687251"/>
              <a:gd name="connsiteX20578" fmla="*/ 496900 w 8079933"/>
              <a:gd name="connsiteY20578" fmla="*/ 1231144 h 4687251"/>
              <a:gd name="connsiteX20579" fmla="*/ 490387 w 8079933"/>
              <a:gd name="connsiteY20579" fmla="*/ 1234393 h 4687251"/>
              <a:gd name="connsiteX20580" fmla="*/ 487241 w 8079933"/>
              <a:gd name="connsiteY20580" fmla="*/ 1237965 h 4687251"/>
              <a:gd name="connsiteX20581" fmla="*/ 489846 w 8079933"/>
              <a:gd name="connsiteY20581" fmla="*/ 1231577 h 4687251"/>
              <a:gd name="connsiteX20582" fmla="*/ 495055 w 8079933"/>
              <a:gd name="connsiteY20582" fmla="*/ 1227138 h 4687251"/>
              <a:gd name="connsiteX20583" fmla="*/ 495271 w 8079933"/>
              <a:gd name="connsiteY20583" fmla="*/ 1225190 h 4687251"/>
              <a:gd name="connsiteX20584" fmla="*/ 4201655 w 8079933"/>
              <a:gd name="connsiteY20584" fmla="*/ 1223673 h 4687251"/>
              <a:gd name="connsiteX20585" fmla="*/ 4197532 w 8079933"/>
              <a:gd name="connsiteY20585" fmla="*/ 1229412 h 4687251"/>
              <a:gd name="connsiteX20586" fmla="*/ 4189501 w 8079933"/>
              <a:gd name="connsiteY20586" fmla="*/ 1228870 h 4687251"/>
              <a:gd name="connsiteX20587" fmla="*/ 4183099 w 8079933"/>
              <a:gd name="connsiteY20587" fmla="*/ 1227463 h 4687251"/>
              <a:gd name="connsiteX20588" fmla="*/ 4177890 w 8079933"/>
              <a:gd name="connsiteY20588" fmla="*/ 1230603 h 4687251"/>
              <a:gd name="connsiteX20589" fmla="*/ 4172573 w 8079933"/>
              <a:gd name="connsiteY20589" fmla="*/ 1240022 h 4687251"/>
              <a:gd name="connsiteX20590" fmla="*/ 4170836 w 8079933"/>
              <a:gd name="connsiteY20590" fmla="*/ 1250632 h 4687251"/>
              <a:gd name="connsiteX20591" fmla="*/ 4172473 w 8079933"/>
              <a:gd name="connsiteY20591" fmla="*/ 1259418 h 4687251"/>
              <a:gd name="connsiteX20592" fmla="*/ 4170837 w 8079933"/>
              <a:gd name="connsiteY20592" fmla="*/ 1250633 h 4687251"/>
              <a:gd name="connsiteX20593" fmla="*/ 4172573 w 8079933"/>
              <a:gd name="connsiteY20593" fmla="*/ 1240023 h 4687251"/>
              <a:gd name="connsiteX20594" fmla="*/ 4177890 w 8079933"/>
              <a:gd name="connsiteY20594" fmla="*/ 1230604 h 4687251"/>
              <a:gd name="connsiteX20595" fmla="*/ 4183099 w 8079933"/>
              <a:gd name="connsiteY20595" fmla="*/ 1227463 h 4687251"/>
              <a:gd name="connsiteX20596" fmla="*/ 4189501 w 8079933"/>
              <a:gd name="connsiteY20596" fmla="*/ 1228871 h 4687251"/>
              <a:gd name="connsiteX20597" fmla="*/ 4197532 w 8079933"/>
              <a:gd name="connsiteY20597" fmla="*/ 1229412 h 4687251"/>
              <a:gd name="connsiteX20598" fmla="*/ 4201655 w 8079933"/>
              <a:gd name="connsiteY20598" fmla="*/ 1223674 h 4687251"/>
              <a:gd name="connsiteX20599" fmla="*/ 2637279 w 8079933"/>
              <a:gd name="connsiteY20599" fmla="*/ 1223349 h 4687251"/>
              <a:gd name="connsiteX20600" fmla="*/ 2639883 w 8079933"/>
              <a:gd name="connsiteY20600" fmla="*/ 1224324 h 4687251"/>
              <a:gd name="connsiteX20601" fmla="*/ 2639558 w 8079933"/>
              <a:gd name="connsiteY20601" fmla="*/ 1226597 h 4687251"/>
              <a:gd name="connsiteX20602" fmla="*/ 2638256 w 8079933"/>
              <a:gd name="connsiteY20602" fmla="*/ 1228438 h 4687251"/>
              <a:gd name="connsiteX20603" fmla="*/ 2637496 w 8079933"/>
              <a:gd name="connsiteY20603" fmla="*/ 1231578 h 4687251"/>
              <a:gd name="connsiteX20604" fmla="*/ 2635326 w 8079933"/>
              <a:gd name="connsiteY20604" fmla="*/ 1232986 h 4687251"/>
              <a:gd name="connsiteX20605" fmla="*/ 2631203 w 8079933"/>
              <a:gd name="connsiteY20605" fmla="*/ 1229088 h 4687251"/>
              <a:gd name="connsiteX20606" fmla="*/ 2627513 w 8079933"/>
              <a:gd name="connsiteY20606" fmla="*/ 1228979 h 4687251"/>
              <a:gd name="connsiteX20607" fmla="*/ 2626428 w 8079933"/>
              <a:gd name="connsiteY20607" fmla="*/ 1228113 h 4687251"/>
              <a:gd name="connsiteX20608" fmla="*/ 2629791 w 8079933"/>
              <a:gd name="connsiteY20608" fmla="*/ 1225947 h 4687251"/>
              <a:gd name="connsiteX20609" fmla="*/ 2634024 w 8079933"/>
              <a:gd name="connsiteY20609" fmla="*/ 1224757 h 4687251"/>
              <a:gd name="connsiteX20610" fmla="*/ 459786 w 8079933"/>
              <a:gd name="connsiteY20610" fmla="*/ 1220100 h 4687251"/>
              <a:gd name="connsiteX20611" fmla="*/ 462498 w 8079933"/>
              <a:gd name="connsiteY20611" fmla="*/ 1223131 h 4687251"/>
              <a:gd name="connsiteX20612" fmla="*/ 458808 w 8079933"/>
              <a:gd name="connsiteY20612" fmla="*/ 1225190 h 4687251"/>
              <a:gd name="connsiteX20613" fmla="*/ 457181 w 8079933"/>
              <a:gd name="connsiteY20613" fmla="*/ 1220533 h 4687251"/>
              <a:gd name="connsiteX20614" fmla="*/ 410954 w 8079933"/>
              <a:gd name="connsiteY20614" fmla="*/ 1216636 h 4687251"/>
              <a:gd name="connsiteX20615" fmla="*/ 417466 w 8079933"/>
              <a:gd name="connsiteY20615" fmla="*/ 1217069 h 4687251"/>
              <a:gd name="connsiteX20616" fmla="*/ 420502 w 8079933"/>
              <a:gd name="connsiteY20616" fmla="*/ 1221291 h 4687251"/>
              <a:gd name="connsiteX20617" fmla="*/ 418225 w 8079933"/>
              <a:gd name="connsiteY20617" fmla="*/ 1225514 h 4687251"/>
              <a:gd name="connsiteX20618" fmla="*/ 424628 w 8079933"/>
              <a:gd name="connsiteY20618" fmla="*/ 1231577 h 4687251"/>
              <a:gd name="connsiteX20619" fmla="*/ 424520 w 8079933"/>
              <a:gd name="connsiteY20619" fmla="*/ 1234067 h 4687251"/>
              <a:gd name="connsiteX20620" fmla="*/ 418441 w 8079933"/>
              <a:gd name="connsiteY20620" fmla="*/ 1232660 h 4687251"/>
              <a:gd name="connsiteX20621" fmla="*/ 414861 w 8079933"/>
              <a:gd name="connsiteY20621" fmla="*/ 1235691 h 4687251"/>
              <a:gd name="connsiteX20622" fmla="*/ 407591 w 8079933"/>
              <a:gd name="connsiteY20622" fmla="*/ 1236666 h 4687251"/>
              <a:gd name="connsiteX20623" fmla="*/ 402490 w 8079933"/>
              <a:gd name="connsiteY20623" fmla="*/ 1235150 h 4687251"/>
              <a:gd name="connsiteX20624" fmla="*/ 393917 w 8079933"/>
              <a:gd name="connsiteY20624" fmla="*/ 1235366 h 4687251"/>
              <a:gd name="connsiteX20625" fmla="*/ 388927 w 8079933"/>
              <a:gd name="connsiteY20625" fmla="*/ 1240888 h 4687251"/>
              <a:gd name="connsiteX20626" fmla="*/ 386862 w 8079933"/>
              <a:gd name="connsiteY20626" fmla="*/ 1240455 h 4687251"/>
              <a:gd name="connsiteX20627" fmla="*/ 383391 w 8079933"/>
              <a:gd name="connsiteY20627" fmla="*/ 1242188 h 4687251"/>
              <a:gd name="connsiteX20628" fmla="*/ 378833 w 8079933"/>
              <a:gd name="connsiteY20628" fmla="*/ 1239589 h 4687251"/>
              <a:gd name="connsiteX20629" fmla="*/ 377748 w 8079933"/>
              <a:gd name="connsiteY20629" fmla="*/ 1235583 h 4687251"/>
              <a:gd name="connsiteX20630" fmla="*/ 379049 w 8079933"/>
              <a:gd name="connsiteY20630" fmla="*/ 1231360 h 4687251"/>
              <a:gd name="connsiteX20631" fmla="*/ 381003 w 8079933"/>
              <a:gd name="connsiteY20631" fmla="*/ 1228978 h 4687251"/>
              <a:gd name="connsiteX20632" fmla="*/ 383283 w 8079933"/>
              <a:gd name="connsiteY20632" fmla="*/ 1229736 h 4687251"/>
              <a:gd name="connsiteX20633" fmla="*/ 387298 w 8079933"/>
              <a:gd name="connsiteY20633" fmla="*/ 1226813 h 4687251"/>
              <a:gd name="connsiteX20634" fmla="*/ 389143 w 8079933"/>
              <a:gd name="connsiteY20634" fmla="*/ 1225622 h 4687251"/>
              <a:gd name="connsiteX20635" fmla="*/ 393050 w 8079933"/>
              <a:gd name="connsiteY20635" fmla="*/ 1217827 h 4687251"/>
              <a:gd name="connsiteX20636" fmla="*/ 394785 w 8079933"/>
              <a:gd name="connsiteY20636" fmla="*/ 1218044 h 4687251"/>
              <a:gd name="connsiteX20637" fmla="*/ 399234 w 8079933"/>
              <a:gd name="connsiteY20637" fmla="*/ 1221832 h 4687251"/>
              <a:gd name="connsiteX20638" fmla="*/ 401515 w 8079933"/>
              <a:gd name="connsiteY20638" fmla="*/ 1219884 h 4687251"/>
              <a:gd name="connsiteX20639" fmla="*/ 405853 w 8079933"/>
              <a:gd name="connsiteY20639" fmla="*/ 1220425 h 4687251"/>
              <a:gd name="connsiteX20640" fmla="*/ 409652 w 8079933"/>
              <a:gd name="connsiteY20640" fmla="*/ 1218693 h 4687251"/>
              <a:gd name="connsiteX20641" fmla="*/ 489627 w 8079933"/>
              <a:gd name="connsiteY20641" fmla="*/ 1215878 h 4687251"/>
              <a:gd name="connsiteX20642" fmla="*/ 492883 w 8079933"/>
              <a:gd name="connsiteY20642" fmla="*/ 1217502 h 4687251"/>
              <a:gd name="connsiteX20643" fmla="*/ 490062 w 8079933"/>
              <a:gd name="connsiteY20643" fmla="*/ 1220100 h 4687251"/>
              <a:gd name="connsiteX20644" fmla="*/ 483659 w 8079933"/>
              <a:gd name="connsiteY20644" fmla="*/ 1214146 h 4687251"/>
              <a:gd name="connsiteX20645" fmla="*/ 486590 w 8079933"/>
              <a:gd name="connsiteY20645" fmla="*/ 1216636 h 4687251"/>
              <a:gd name="connsiteX20646" fmla="*/ 484529 w 8079933"/>
              <a:gd name="connsiteY20646" fmla="*/ 1220534 h 4687251"/>
              <a:gd name="connsiteX20647" fmla="*/ 483986 w 8079933"/>
              <a:gd name="connsiteY20647" fmla="*/ 1223241 h 4687251"/>
              <a:gd name="connsiteX20648" fmla="*/ 480946 w 8079933"/>
              <a:gd name="connsiteY20648" fmla="*/ 1223458 h 4687251"/>
              <a:gd name="connsiteX20649" fmla="*/ 478777 w 8079933"/>
              <a:gd name="connsiteY20649" fmla="*/ 1220426 h 4687251"/>
              <a:gd name="connsiteX20650" fmla="*/ 480295 w 8079933"/>
              <a:gd name="connsiteY20650" fmla="*/ 1215878 h 4687251"/>
              <a:gd name="connsiteX20651" fmla="*/ 497114 w 8079933"/>
              <a:gd name="connsiteY20651" fmla="*/ 1213063 h 4687251"/>
              <a:gd name="connsiteX20652" fmla="*/ 498199 w 8079933"/>
              <a:gd name="connsiteY20652" fmla="*/ 1215661 h 4687251"/>
              <a:gd name="connsiteX20653" fmla="*/ 495163 w 8079933"/>
              <a:gd name="connsiteY20653" fmla="*/ 1214579 h 4687251"/>
              <a:gd name="connsiteX20654" fmla="*/ 497114 w 8079933"/>
              <a:gd name="connsiteY20654" fmla="*/ 1213063 h 4687251"/>
              <a:gd name="connsiteX20655" fmla="*/ 609324 w 8079933"/>
              <a:gd name="connsiteY20655" fmla="*/ 1210248 h 4687251"/>
              <a:gd name="connsiteX20656" fmla="*/ 608345 w 8079933"/>
              <a:gd name="connsiteY20656" fmla="*/ 1213929 h 4687251"/>
              <a:gd name="connsiteX20657" fmla="*/ 605741 w 8079933"/>
              <a:gd name="connsiteY20657" fmla="*/ 1215012 h 4687251"/>
              <a:gd name="connsiteX20658" fmla="*/ 603679 w 8079933"/>
              <a:gd name="connsiteY20658" fmla="*/ 1214795 h 4687251"/>
              <a:gd name="connsiteX20659" fmla="*/ 604115 w 8079933"/>
              <a:gd name="connsiteY20659" fmla="*/ 1211980 h 4687251"/>
              <a:gd name="connsiteX20660" fmla="*/ 4527843 w 8079933"/>
              <a:gd name="connsiteY20660" fmla="*/ 1206523 h 4687251"/>
              <a:gd name="connsiteX20661" fmla="*/ 4528834 w 8079933"/>
              <a:gd name="connsiteY20661" fmla="*/ 1208624 h 4687251"/>
              <a:gd name="connsiteX20662" fmla="*/ 4533824 w 8079933"/>
              <a:gd name="connsiteY20662" fmla="*/ 1212094 h 4687251"/>
              <a:gd name="connsiteX20663" fmla="*/ 4533824 w 8079933"/>
              <a:gd name="connsiteY20663" fmla="*/ 1210682 h 4687251"/>
              <a:gd name="connsiteX20664" fmla="*/ 7555362 w 8079933"/>
              <a:gd name="connsiteY20664" fmla="*/ 1204618 h 4687251"/>
              <a:gd name="connsiteX20665" fmla="*/ 7561222 w 8079933"/>
              <a:gd name="connsiteY20665" fmla="*/ 1206242 h 4687251"/>
              <a:gd name="connsiteX20666" fmla="*/ 7564478 w 8079933"/>
              <a:gd name="connsiteY20666" fmla="*/ 1210140 h 4687251"/>
              <a:gd name="connsiteX20667" fmla="*/ 7569252 w 8079933"/>
              <a:gd name="connsiteY20667" fmla="*/ 1210681 h 4687251"/>
              <a:gd name="connsiteX20668" fmla="*/ 7572399 w 8079933"/>
              <a:gd name="connsiteY20668" fmla="*/ 1213280 h 4687251"/>
              <a:gd name="connsiteX20669" fmla="*/ 7579669 w 8079933"/>
              <a:gd name="connsiteY20669" fmla="*/ 1216204 h 4687251"/>
              <a:gd name="connsiteX20670" fmla="*/ 7581515 w 8079933"/>
              <a:gd name="connsiteY20670" fmla="*/ 1217935 h 4687251"/>
              <a:gd name="connsiteX20671" fmla="*/ 7575112 w 8079933"/>
              <a:gd name="connsiteY20671" fmla="*/ 1219235 h 4687251"/>
              <a:gd name="connsiteX20672" fmla="*/ 7572616 w 8079933"/>
              <a:gd name="connsiteY20672" fmla="*/ 1217069 h 4687251"/>
              <a:gd name="connsiteX20673" fmla="*/ 7565345 w 8079933"/>
              <a:gd name="connsiteY20673" fmla="*/ 1214796 h 4687251"/>
              <a:gd name="connsiteX20674" fmla="*/ 7560136 w 8079933"/>
              <a:gd name="connsiteY20674" fmla="*/ 1210140 h 4687251"/>
              <a:gd name="connsiteX20675" fmla="*/ 7555687 w 8079933"/>
              <a:gd name="connsiteY20675" fmla="*/ 1209924 h 4687251"/>
              <a:gd name="connsiteX20676" fmla="*/ 7553300 w 8079933"/>
              <a:gd name="connsiteY20676" fmla="*/ 1206242 h 4687251"/>
              <a:gd name="connsiteX20677" fmla="*/ 2507385 w 8079933"/>
              <a:gd name="connsiteY20677" fmla="*/ 1195848 h 4687251"/>
              <a:gd name="connsiteX20678" fmla="*/ 2510532 w 8079933"/>
              <a:gd name="connsiteY20678" fmla="*/ 1195956 h 4687251"/>
              <a:gd name="connsiteX20679" fmla="*/ 2514765 w 8079933"/>
              <a:gd name="connsiteY20679" fmla="*/ 1198446 h 4687251"/>
              <a:gd name="connsiteX20680" fmla="*/ 2515850 w 8079933"/>
              <a:gd name="connsiteY20680" fmla="*/ 1199529 h 4687251"/>
              <a:gd name="connsiteX20681" fmla="*/ 2518888 w 8079933"/>
              <a:gd name="connsiteY20681" fmla="*/ 1201045 h 4687251"/>
              <a:gd name="connsiteX20682" fmla="*/ 2521818 w 8079933"/>
              <a:gd name="connsiteY20682" fmla="*/ 1203643 h 4687251"/>
              <a:gd name="connsiteX20683" fmla="*/ 2522035 w 8079933"/>
              <a:gd name="connsiteY20683" fmla="*/ 1206567 h 4687251"/>
              <a:gd name="connsiteX20684" fmla="*/ 2521167 w 8079933"/>
              <a:gd name="connsiteY20684" fmla="*/ 1207000 h 4687251"/>
              <a:gd name="connsiteX20685" fmla="*/ 2520299 w 8079933"/>
              <a:gd name="connsiteY20685" fmla="*/ 1208407 h 4687251"/>
              <a:gd name="connsiteX20686" fmla="*/ 2517478 w 8079933"/>
              <a:gd name="connsiteY20686" fmla="*/ 1208732 h 4687251"/>
              <a:gd name="connsiteX20687" fmla="*/ 2515633 w 8079933"/>
              <a:gd name="connsiteY20687" fmla="*/ 1207325 h 4687251"/>
              <a:gd name="connsiteX20688" fmla="*/ 2512703 w 8079933"/>
              <a:gd name="connsiteY20688" fmla="*/ 1205809 h 4687251"/>
              <a:gd name="connsiteX20689" fmla="*/ 2512268 w 8079933"/>
              <a:gd name="connsiteY20689" fmla="*/ 1202777 h 4687251"/>
              <a:gd name="connsiteX20690" fmla="*/ 2512594 w 8079933"/>
              <a:gd name="connsiteY20690" fmla="*/ 1201478 h 4687251"/>
              <a:gd name="connsiteX20691" fmla="*/ 2511835 w 8079933"/>
              <a:gd name="connsiteY20691" fmla="*/ 1198880 h 4687251"/>
              <a:gd name="connsiteX20692" fmla="*/ 2506952 w 8079933"/>
              <a:gd name="connsiteY20692" fmla="*/ 1197472 h 4687251"/>
              <a:gd name="connsiteX20693" fmla="*/ 2505975 w 8079933"/>
              <a:gd name="connsiteY20693" fmla="*/ 1196064 h 4687251"/>
              <a:gd name="connsiteX20694" fmla="*/ 4160094 w 8079933"/>
              <a:gd name="connsiteY20694" fmla="*/ 1192925 h 4687251"/>
              <a:gd name="connsiteX20695" fmla="*/ 4154668 w 8079933"/>
              <a:gd name="connsiteY20695" fmla="*/ 1199637 h 4687251"/>
              <a:gd name="connsiteX20696" fmla="*/ 4152172 w 8079933"/>
              <a:gd name="connsiteY20696" fmla="*/ 1201803 h 4687251"/>
              <a:gd name="connsiteX20697" fmla="*/ 4150544 w 8079933"/>
              <a:gd name="connsiteY20697" fmla="*/ 1198880 h 4687251"/>
              <a:gd name="connsiteX20698" fmla="*/ 4146204 w 8079933"/>
              <a:gd name="connsiteY20698" fmla="*/ 1199205 h 4687251"/>
              <a:gd name="connsiteX20699" fmla="*/ 4149894 w 8079933"/>
              <a:gd name="connsiteY20699" fmla="*/ 1195198 h 4687251"/>
              <a:gd name="connsiteX20700" fmla="*/ 4156513 w 8079933"/>
              <a:gd name="connsiteY20700" fmla="*/ 1194441 h 4687251"/>
              <a:gd name="connsiteX20701" fmla="*/ 1078112 w 8079933"/>
              <a:gd name="connsiteY20701" fmla="*/ 1192817 h 4687251"/>
              <a:gd name="connsiteX20702" fmla="*/ 1082887 w 8079933"/>
              <a:gd name="connsiteY20702" fmla="*/ 1195415 h 4687251"/>
              <a:gd name="connsiteX20703" fmla="*/ 1082887 w 8079933"/>
              <a:gd name="connsiteY20703" fmla="*/ 1199205 h 4687251"/>
              <a:gd name="connsiteX20704" fmla="*/ 1080608 w 8079933"/>
              <a:gd name="connsiteY20704" fmla="*/ 1202345 h 4687251"/>
              <a:gd name="connsiteX20705" fmla="*/ 1082019 w 8079933"/>
              <a:gd name="connsiteY20705" fmla="*/ 1205268 h 4687251"/>
              <a:gd name="connsiteX20706" fmla="*/ 1083864 w 8079933"/>
              <a:gd name="connsiteY20706" fmla="*/ 1202670 h 4687251"/>
              <a:gd name="connsiteX20707" fmla="*/ 1087662 w 8079933"/>
              <a:gd name="connsiteY20707" fmla="*/ 1201154 h 4687251"/>
              <a:gd name="connsiteX20708" fmla="*/ 1092870 w 8079933"/>
              <a:gd name="connsiteY20708" fmla="*/ 1205268 h 4687251"/>
              <a:gd name="connsiteX20709" fmla="*/ 1092870 w 8079933"/>
              <a:gd name="connsiteY20709" fmla="*/ 1208841 h 4687251"/>
              <a:gd name="connsiteX20710" fmla="*/ 1088530 w 8079933"/>
              <a:gd name="connsiteY20710" fmla="*/ 1209924 h 4687251"/>
              <a:gd name="connsiteX20711" fmla="*/ 1089940 w 8079933"/>
              <a:gd name="connsiteY20711" fmla="*/ 1212847 h 4687251"/>
              <a:gd name="connsiteX20712" fmla="*/ 1087336 w 8079933"/>
              <a:gd name="connsiteY20712" fmla="*/ 1215337 h 4687251"/>
              <a:gd name="connsiteX20713" fmla="*/ 1083864 w 8079933"/>
              <a:gd name="connsiteY20713" fmla="*/ 1214363 h 4687251"/>
              <a:gd name="connsiteX20714" fmla="*/ 1080391 w 8079933"/>
              <a:gd name="connsiteY20714" fmla="*/ 1209166 h 4687251"/>
              <a:gd name="connsiteX20715" fmla="*/ 1074965 w 8079933"/>
              <a:gd name="connsiteY20715" fmla="*/ 1204186 h 4687251"/>
              <a:gd name="connsiteX20716" fmla="*/ 1074531 w 8079933"/>
              <a:gd name="connsiteY20716" fmla="*/ 1205376 h 4687251"/>
              <a:gd name="connsiteX20717" fmla="*/ 1080391 w 8079933"/>
              <a:gd name="connsiteY20717" fmla="*/ 1214688 h 4687251"/>
              <a:gd name="connsiteX20718" fmla="*/ 1080391 w 8079933"/>
              <a:gd name="connsiteY20718" fmla="*/ 1218478 h 4687251"/>
              <a:gd name="connsiteX20719" fmla="*/ 1085600 w 8079933"/>
              <a:gd name="connsiteY20719" fmla="*/ 1219127 h 4687251"/>
              <a:gd name="connsiteX20720" fmla="*/ 1087987 w 8079933"/>
              <a:gd name="connsiteY20720" fmla="*/ 1222917 h 4687251"/>
              <a:gd name="connsiteX20721" fmla="*/ 1085600 w 8079933"/>
              <a:gd name="connsiteY20721" fmla="*/ 1225299 h 4687251"/>
              <a:gd name="connsiteX20722" fmla="*/ 1085274 w 8079933"/>
              <a:gd name="connsiteY20722" fmla="*/ 1232119 h 4687251"/>
              <a:gd name="connsiteX20723" fmla="*/ 1082344 w 8079933"/>
              <a:gd name="connsiteY20723" fmla="*/ 1232553 h 4687251"/>
              <a:gd name="connsiteX20724" fmla="*/ 1077678 w 8079933"/>
              <a:gd name="connsiteY20724" fmla="*/ 1227464 h 4687251"/>
              <a:gd name="connsiteX20725" fmla="*/ 1077461 w 8079933"/>
              <a:gd name="connsiteY20725" fmla="*/ 1222808 h 4687251"/>
              <a:gd name="connsiteX20726" fmla="*/ 1071818 w 8079933"/>
              <a:gd name="connsiteY20726" fmla="*/ 1212631 h 4687251"/>
              <a:gd name="connsiteX20727" fmla="*/ 1070841 w 8079933"/>
              <a:gd name="connsiteY20727" fmla="*/ 1217286 h 4687251"/>
              <a:gd name="connsiteX20728" fmla="*/ 1073663 w 8079933"/>
              <a:gd name="connsiteY20728" fmla="*/ 1223999 h 4687251"/>
              <a:gd name="connsiteX20729" fmla="*/ 1073880 w 8079933"/>
              <a:gd name="connsiteY20729" fmla="*/ 1229088 h 4687251"/>
              <a:gd name="connsiteX20730" fmla="*/ 1070950 w 8079933"/>
              <a:gd name="connsiteY20730" fmla="*/ 1232770 h 4687251"/>
              <a:gd name="connsiteX20731" fmla="*/ 1066609 w 8079933"/>
              <a:gd name="connsiteY20731" fmla="*/ 1232445 h 4687251"/>
              <a:gd name="connsiteX20732" fmla="*/ 1062702 w 8079933"/>
              <a:gd name="connsiteY20732" fmla="*/ 1227464 h 4687251"/>
              <a:gd name="connsiteX20733" fmla="*/ 1065415 w 8079933"/>
              <a:gd name="connsiteY20733" fmla="*/ 1223783 h 4687251"/>
              <a:gd name="connsiteX20734" fmla="*/ 1062486 w 8079933"/>
              <a:gd name="connsiteY20734" fmla="*/ 1221617 h 4687251"/>
              <a:gd name="connsiteX20735" fmla="*/ 1063679 w 8079933"/>
              <a:gd name="connsiteY20735" fmla="*/ 1216962 h 4687251"/>
              <a:gd name="connsiteX20736" fmla="*/ 1060424 w 8079933"/>
              <a:gd name="connsiteY20736" fmla="*/ 1210790 h 4687251"/>
              <a:gd name="connsiteX20737" fmla="*/ 1063028 w 8079933"/>
              <a:gd name="connsiteY20737" fmla="*/ 1206135 h 4687251"/>
              <a:gd name="connsiteX20738" fmla="*/ 1065632 w 8079933"/>
              <a:gd name="connsiteY20738" fmla="*/ 1208517 h 4687251"/>
              <a:gd name="connsiteX20739" fmla="*/ 1067477 w 8079933"/>
              <a:gd name="connsiteY20739" fmla="*/ 1205701 h 4687251"/>
              <a:gd name="connsiteX20740" fmla="*/ 1064764 w 8079933"/>
              <a:gd name="connsiteY20740" fmla="*/ 1203860 h 4687251"/>
              <a:gd name="connsiteX20741" fmla="*/ 1064114 w 8079933"/>
              <a:gd name="connsiteY20741" fmla="*/ 1198231 h 4687251"/>
              <a:gd name="connsiteX20742" fmla="*/ 1066284 w 8079933"/>
              <a:gd name="connsiteY20742" fmla="*/ 1193033 h 4687251"/>
              <a:gd name="connsiteX20743" fmla="*/ 1068345 w 8079933"/>
              <a:gd name="connsiteY20743" fmla="*/ 1197689 h 4687251"/>
              <a:gd name="connsiteX20744" fmla="*/ 1070841 w 8079933"/>
              <a:gd name="connsiteY20744" fmla="*/ 1196823 h 4687251"/>
              <a:gd name="connsiteX20745" fmla="*/ 1071601 w 8079933"/>
              <a:gd name="connsiteY20745" fmla="*/ 1194333 h 4687251"/>
              <a:gd name="connsiteX20746" fmla="*/ 1101226 w 8079933"/>
              <a:gd name="connsiteY20746" fmla="*/ 1192384 h 4687251"/>
              <a:gd name="connsiteX20747" fmla="*/ 1102854 w 8079933"/>
              <a:gd name="connsiteY20747" fmla="*/ 1194766 h 4687251"/>
              <a:gd name="connsiteX20748" fmla="*/ 1102854 w 8079933"/>
              <a:gd name="connsiteY20748" fmla="*/ 1199205 h 4687251"/>
              <a:gd name="connsiteX20749" fmla="*/ 1108822 w 8079933"/>
              <a:gd name="connsiteY20749" fmla="*/ 1203211 h 4687251"/>
              <a:gd name="connsiteX20750" fmla="*/ 1111752 w 8079933"/>
              <a:gd name="connsiteY20750" fmla="*/ 1207000 h 4687251"/>
              <a:gd name="connsiteX20751" fmla="*/ 1112946 w 8079933"/>
              <a:gd name="connsiteY20751" fmla="*/ 1224324 h 4687251"/>
              <a:gd name="connsiteX20752" fmla="*/ 1110233 w 8079933"/>
              <a:gd name="connsiteY20752" fmla="*/ 1231253 h 4687251"/>
              <a:gd name="connsiteX20753" fmla="*/ 1108171 w 8079933"/>
              <a:gd name="connsiteY20753" fmla="*/ 1229629 h 4687251"/>
              <a:gd name="connsiteX20754" fmla="*/ 1109257 w 8079933"/>
              <a:gd name="connsiteY20754" fmla="*/ 1219018 h 4687251"/>
              <a:gd name="connsiteX20755" fmla="*/ 1107303 w 8079933"/>
              <a:gd name="connsiteY20755" fmla="*/ 1209166 h 4687251"/>
              <a:gd name="connsiteX20756" fmla="*/ 1106109 w 8079933"/>
              <a:gd name="connsiteY20756" fmla="*/ 1213714 h 4687251"/>
              <a:gd name="connsiteX20757" fmla="*/ 1105784 w 8079933"/>
              <a:gd name="connsiteY20757" fmla="*/ 1229953 h 4687251"/>
              <a:gd name="connsiteX20758" fmla="*/ 1104373 w 8079933"/>
              <a:gd name="connsiteY20758" fmla="*/ 1232985 h 4687251"/>
              <a:gd name="connsiteX20759" fmla="*/ 1103831 w 8079933"/>
              <a:gd name="connsiteY20759" fmla="*/ 1236991 h 4687251"/>
              <a:gd name="connsiteX20760" fmla="*/ 1101443 w 8079933"/>
              <a:gd name="connsiteY20760" fmla="*/ 1239048 h 4687251"/>
              <a:gd name="connsiteX20761" fmla="*/ 1097862 w 8079933"/>
              <a:gd name="connsiteY20761" fmla="*/ 1237532 h 4687251"/>
              <a:gd name="connsiteX20762" fmla="*/ 1096560 w 8079933"/>
              <a:gd name="connsiteY20762" fmla="*/ 1244570 h 4687251"/>
              <a:gd name="connsiteX20763" fmla="*/ 1089724 w 8079933"/>
              <a:gd name="connsiteY20763" fmla="*/ 1248576 h 4687251"/>
              <a:gd name="connsiteX20764" fmla="*/ 1085816 w 8079933"/>
              <a:gd name="connsiteY20764" fmla="*/ 1252149 h 4687251"/>
              <a:gd name="connsiteX20765" fmla="*/ 1083321 w 8079933"/>
              <a:gd name="connsiteY20765" fmla="*/ 1248685 h 4687251"/>
              <a:gd name="connsiteX20766" fmla="*/ 1085925 w 8079933"/>
              <a:gd name="connsiteY20766" fmla="*/ 1243704 h 4687251"/>
              <a:gd name="connsiteX20767" fmla="*/ 1086251 w 8079933"/>
              <a:gd name="connsiteY20767" fmla="*/ 1238399 h 4687251"/>
              <a:gd name="connsiteX20768" fmla="*/ 1089397 w 8079933"/>
              <a:gd name="connsiteY20768" fmla="*/ 1235475 h 4687251"/>
              <a:gd name="connsiteX20769" fmla="*/ 1094932 w 8079933"/>
              <a:gd name="connsiteY20769" fmla="*/ 1235692 h 4687251"/>
              <a:gd name="connsiteX20770" fmla="*/ 1093196 w 8079933"/>
              <a:gd name="connsiteY20770" fmla="*/ 1232769 h 4687251"/>
              <a:gd name="connsiteX20771" fmla="*/ 1095367 w 8079933"/>
              <a:gd name="connsiteY20771" fmla="*/ 1229845 h 4687251"/>
              <a:gd name="connsiteX20772" fmla="*/ 1091460 w 8079933"/>
              <a:gd name="connsiteY20772" fmla="*/ 1227788 h 4687251"/>
              <a:gd name="connsiteX20773" fmla="*/ 1092328 w 8079933"/>
              <a:gd name="connsiteY20773" fmla="*/ 1219885 h 4687251"/>
              <a:gd name="connsiteX20774" fmla="*/ 1096994 w 8079933"/>
              <a:gd name="connsiteY20774" fmla="*/ 1213496 h 4687251"/>
              <a:gd name="connsiteX20775" fmla="*/ 1097971 w 8079933"/>
              <a:gd name="connsiteY20775" fmla="*/ 1198663 h 4687251"/>
              <a:gd name="connsiteX20776" fmla="*/ 2432618 w 8079933"/>
              <a:gd name="connsiteY20776" fmla="*/ 1191193 h 4687251"/>
              <a:gd name="connsiteX20777" fmla="*/ 2435548 w 8079933"/>
              <a:gd name="connsiteY20777" fmla="*/ 1191734 h 4687251"/>
              <a:gd name="connsiteX20778" fmla="*/ 2440865 w 8079933"/>
              <a:gd name="connsiteY20778" fmla="*/ 1195957 h 4687251"/>
              <a:gd name="connsiteX20779" fmla="*/ 2444663 w 8079933"/>
              <a:gd name="connsiteY20779" fmla="*/ 1197906 h 4687251"/>
              <a:gd name="connsiteX20780" fmla="*/ 2446183 w 8079933"/>
              <a:gd name="connsiteY20780" fmla="*/ 1199747 h 4687251"/>
              <a:gd name="connsiteX20781" fmla="*/ 2441408 w 8079933"/>
              <a:gd name="connsiteY20781" fmla="*/ 1198123 h 4687251"/>
              <a:gd name="connsiteX20782" fmla="*/ 2437826 w 8079933"/>
              <a:gd name="connsiteY20782" fmla="*/ 1197581 h 4687251"/>
              <a:gd name="connsiteX20783" fmla="*/ 2434680 w 8079933"/>
              <a:gd name="connsiteY20783" fmla="*/ 1194225 h 4687251"/>
              <a:gd name="connsiteX20784" fmla="*/ 2430990 w 8079933"/>
              <a:gd name="connsiteY20784" fmla="*/ 1191626 h 4687251"/>
              <a:gd name="connsiteX20785" fmla="*/ 2321061 w 8079933"/>
              <a:gd name="connsiteY20785" fmla="*/ 1189136 h 4687251"/>
              <a:gd name="connsiteX20786" fmla="*/ 2322689 w 8079933"/>
              <a:gd name="connsiteY20786" fmla="*/ 1189894 h 4687251"/>
              <a:gd name="connsiteX20787" fmla="*/ 2325076 w 8079933"/>
              <a:gd name="connsiteY20787" fmla="*/ 1192601 h 4687251"/>
              <a:gd name="connsiteX20788" fmla="*/ 2327139 w 8079933"/>
              <a:gd name="connsiteY20788" fmla="*/ 1192601 h 4687251"/>
              <a:gd name="connsiteX20789" fmla="*/ 2329417 w 8079933"/>
              <a:gd name="connsiteY20789" fmla="*/ 1191518 h 4687251"/>
              <a:gd name="connsiteX20790" fmla="*/ 2330937 w 8079933"/>
              <a:gd name="connsiteY20790" fmla="*/ 1193034 h 4687251"/>
              <a:gd name="connsiteX20791" fmla="*/ 2331045 w 8079933"/>
              <a:gd name="connsiteY20791" fmla="*/ 1195957 h 4687251"/>
              <a:gd name="connsiteX20792" fmla="*/ 2331913 w 8079933"/>
              <a:gd name="connsiteY20792" fmla="*/ 1198447 h 4687251"/>
              <a:gd name="connsiteX20793" fmla="*/ 2329851 w 8079933"/>
              <a:gd name="connsiteY20793" fmla="*/ 1201479 h 4687251"/>
              <a:gd name="connsiteX20794" fmla="*/ 2327681 w 8079933"/>
              <a:gd name="connsiteY20794" fmla="*/ 1203752 h 4687251"/>
              <a:gd name="connsiteX20795" fmla="*/ 2328224 w 8079933"/>
              <a:gd name="connsiteY20795" fmla="*/ 1206568 h 4687251"/>
              <a:gd name="connsiteX20796" fmla="*/ 2328441 w 8079933"/>
              <a:gd name="connsiteY20796" fmla="*/ 1208191 h 4687251"/>
              <a:gd name="connsiteX20797" fmla="*/ 2327464 w 8079933"/>
              <a:gd name="connsiteY20797" fmla="*/ 1209383 h 4687251"/>
              <a:gd name="connsiteX20798" fmla="*/ 2324968 w 8079933"/>
              <a:gd name="connsiteY20798" fmla="*/ 1209924 h 4687251"/>
              <a:gd name="connsiteX20799" fmla="*/ 2322255 w 8079933"/>
              <a:gd name="connsiteY20799" fmla="*/ 1213821 h 4687251"/>
              <a:gd name="connsiteX20800" fmla="*/ 2318023 w 8079933"/>
              <a:gd name="connsiteY20800" fmla="*/ 1217286 h 4687251"/>
              <a:gd name="connsiteX20801" fmla="*/ 2317263 w 8079933"/>
              <a:gd name="connsiteY20801" fmla="*/ 1219343 h 4687251"/>
              <a:gd name="connsiteX20802" fmla="*/ 2318457 w 8079933"/>
              <a:gd name="connsiteY20802" fmla="*/ 1220426 h 4687251"/>
              <a:gd name="connsiteX20803" fmla="*/ 2318023 w 8079933"/>
              <a:gd name="connsiteY20803" fmla="*/ 1222483 h 4687251"/>
              <a:gd name="connsiteX20804" fmla="*/ 2316395 w 8079933"/>
              <a:gd name="connsiteY20804" fmla="*/ 1224757 h 4687251"/>
              <a:gd name="connsiteX20805" fmla="*/ 2315853 w 8079933"/>
              <a:gd name="connsiteY20805" fmla="*/ 1226597 h 4687251"/>
              <a:gd name="connsiteX20806" fmla="*/ 2314550 w 8079933"/>
              <a:gd name="connsiteY20806" fmla="*/ 1228438 h 4687251"/>
              <a:gd name="connsiteX20807" fmla="*/ 2313249 w 8079933"/>
              <a:gd name="connsiteY20807" fmla="*/ 1228330 h 4687251"/>
              <a:gd name="connsiteX20808" fmla="*/ 2312380 w 8079933"/>
              <a:gd name="connsiteY20808" fmla="*/ 1224757 h 4687251"/>
              <a:gd name="connsiteX20809" fmla="*/ 2310752 w 8079933"/>
              <a:gd name="connsiteY20809" fmla="*/ 1223782 h 4687251"/>
              <a:gd name="connsiteX20810" fmla="*/ 2309451 w 8079933"/>
              <a:gd name="connsiteY20810" fmla="*/ 1220859 h 4687251"/>
              <a:gd name="connsiteX20811" fmla="*/ 2305978 w 8079933"/>
              <a:gd name="connsiteY20811" fmla="*/ 1220209 h 4687251"/>
              <a:gd name="connsiteX20812" fmla="*/ 2304676 w 8079933"/>
              <a:gd name="connsiteY20812" fmla="*/ 1218477 h 4687251"/>
              <a:gd name="connsiteX20813" fmla="*/ 2306629 w 8079933"/>
              <a:gd name="connsiteY20813" fmla="*/ 1215770 h 4687251"/>
              <a:gd name="connsiteX20814" fmla="*/ 2306086 w 8079933"/>
              <a:gd name="connsiteY20814" fmla="*/ 1211656 h 4687251"/>
              <a:gd name="connsiteX20815" fmla="*/ 2307389 w 8079933"/>
              <a:gd name="connsiteY20815" fmla="*/ 1208841 h 4687251"/>
              <a:gd name="connsiteX20816" fmla="*/ 2310210 w 8079933"/>
              <a:gd name="connsiteY20816" fmla="*/ 1207001 h 4687251"/>
              <a:gd name="connsiteX20817" fmla="*/ 2309125 w 8079933"/>
              <a:gd name="connsiteY20817" fmla="*/ 1203536 h 4687251"/>
              <a:gd name="connsiteX20818" fmla="*/ 2309993 w 8079933"/>
              <a:gd name="connsiteY20818" fmla="*/ 1199313 h 4687251"/>
              <a:gd name="connsiteX20819" fmla="*/ 2312814 w 8079933"/>
              <a:gd name="connsiteY20819" fmla="*/ 1196499 h 4687251"/>
              <a:gd name="connsiteX20820" fmla="*/ 2314659 w 8079933"/>
              <a:gd name="connsiteY20820" fmla="*/ 1196065 h 4687251"/>
              <a:gd name="connsiteX20821" fmla="*/ 2319217 w 8079933"/>
              <a:gd name="connsiteY20821" fmla="*/ 1191734 h 4687251"/>
              <a:gd name="connsiteX20822" fmla="*/ 2362190 w 8079933"/>
              <a:gd name="connsiteY20822" fmla="*/ 1188811 h 4687251"/>
              <a:gd name="connsiteX20823" fmla="*/ 2367073 w 8079933"/>
              <a:gd name="connsiteY20823" fmla="*/ 1189569 h 4687251"/>
              <a:gd name="connsiteX20824" fmla="*/ 2366422 w 8079933"/>
              <a:gd name="connsiteY20824" fmla="*/ 1191193 h 4687251"/>
              <a:gd name="connsiteX20825" fmla="*/ 2362298 w 8079933"/>
              <a:gd name="connsiteY20825" fmla="*/ 1191193 h 4687251"/>
              <a:gd name="connsiteX20826" fmla="*/ 2361105 w 8079933"/>
              <a:gd name="connsiteY20826" fmla="*/ 1189460 h 4687251"/>
              <a:gd name="connsiteX20827" fmla="*/ 7513150 w 8079933"/>
              <a:gd name="connsiteY20827" fmla="*/ 1186645 h 4687251"/>
              <a:gd name="connsiteX20828" fmla="*/ 7518142 w 8079933"/>
              <a:gd name="connsiteY20828" fmla="*/ 1187078 h 4687251"/>
              <a:gd name="connsiteX20829" fmla="*/ 7515862 w 8079933"/>
              <a:gd name="connsiteY20829" fmla="*/ 1189135 h 4687251"/>
              <a:gd name="connsiteX20830" fmla="*/ 7515862 w 8079933"/>
              <a:gd name="connsiteY20830" fmla="*/ 1190867 h 4687251"/>
              <a:gd name="connsiteX20831" fmla="*/ 7520203 w 8079933"/>
              <a:gd name="connsiteY20831" fmla="*/ 1197363 h 4687251"/>
              <a:gd name="connsiteX20832" fmla="*/ 7524652 w 8079933"/>
              <a:gd name="connsiteY20832" fmla="*/ 1197796 h 4687251"/>
              <a:gd name="connsiteX20833" fmla="*/ 7526389 w 8079933"/>
              <a:gd name="connsiteY20833" fmla="*/ 1202236 h 4687251"/>
              <a:gd name="connsiteX20834" fmla="*/ 7532900 w 8079933"/>
              <a:gd name="connsiteY20834" fmla="*/ 1207000 h 4687251"/>
              <a:gd name="connsiteX20835" fmla="*/ 7537892 w 8079933"/>
              <a:gd name="connsiteY20835" fmla="*/ 1208732 h 4687251"/>
              <a:gd name="connsiteX20836" fmla="*/ 7540713 w 8079933"/>
              <a:gd name="connsiteY20836" fmla="*/ 1214146 h 4687251"/>
              <a:gd name="connsiteX20837" fmla="*/ 7539628 w 8079933"/>
              <a:gd name="connsiteY20837" fmla="*/ 1215986 h 4687251"/>
              <a:gd name="connsiteX20838" fmla="*/ 7534527 w 8079933"/>
              <a:gd name="connsiteY20838" fmla="*/ 1215336 h 4687251"/>
              <a:gd name="connsiteX20839" fmla="*/ 7529970 w 8079933"/>
              <a:gd name="connsiteY20839" fmla="*/ 1210789 h 4687251"/>
              <a:gd name="connsiteX20840" fmla="*/ 7527908 w 8079933"/>
              <a:gd name="connsiteY20840" fmla="*/ 1211872 h 4687251"/>
              <a:gd name="connsiteX20841" fmla="*/ 7525738 w 8079933"/>
              <a:gd name="connsiteY20841" fmla="*/ 1211547 h 4687251"/>
              <a:gd name="connsiteX20842" fmla="*/ 7521723 w 8079933"/>
              <a:gd name="connsiteY20842" fmla="*/ 1207000 h 4687251"/>
              <a:gd name="connsiteX20843" fmla="*/ 7518359 w 8079933"/>
              <a:gd name="connsiteY20843" fmla="*/ 1206350 h 4687251"/>
              <a:gd name="connsiteX20844" fmla="*/ 7513584 w 8079933"/>
              <a:gd name="connsiteY20844" fmla="*/ 1200504 h 4687251"/>
              <a:gd name="connsiteX20845" fmla="*/ 7514018 w 8079933"/>
              <a:gd name="connsiteY20845" fmla="*/ 1198771 h 4687251"/>
              <a:gd name="connsiteX20846" fmla="*/ 7511414 w 8079933"/>
              <a:gd name="connsiteY20846" fmla="*/ 1196065 h 4687251"/>
              <a:gd name="connsiteX20847" fmla="*/ 7507398 w 8079933"/>
              <a:gd name="connsiteY20847" fmla="*/ 1196173 h 4687251"/>
              <a:gd name="connsiteX20848" fmla="*/ 7503600 w 8079933"/>
              <a:gd name="connsiteY20848" fmla="*/ 1194440 h 4687251"/>
              <a:gd name="connsiteX20849" fmla="*/ 7503492 w 8079933"/>
              <a:gd name="connsiteY20849" fmla="*/ 1191734 h 4687251"/>
              <a:gd name="connsiteX20850" fmla="*/ 7506965 w 8079933"/>
              <a:gd name="connsiteY20850" fmla="*/ 1187620 h 4687251"/>
              <a:gd name="connsiteX20851" fmla="*/ 7510220 w 8079933"/>
              <a:gd name="connsiteY20851" fmla="*/ 1187620 h 4687251"/>
              <a:gd name="connsiteX20852" fmla="*/ 4165086 w 8079933"/>
              <a:gd name="connsiteY20852" fmla="*/ 1185778 h 4687251"/>
              <a:gd name="connsiteX20853" fmla="*/ 4160203 w 8079933"/>
              <a:gd name="connsiteY20853" fmla="*/ 1191625 h 4687251"/>
              <a:gd name="connsiteX20854" fmla="*/ 4157273 w 8079933"/>
              <a:gd name="connsiteY20854" fmla="*/ 1190325 h 4687251"/>
              <a:gd name="connsiteX20855" fmla="*/ 4159009 w 8079933"/>
              <a:gd name="connsiteY20855" fmla="*/ 1186861 h 4687251"/>
              <a:gd name="connsiteX20856" fmla="*/ 1077029 w 8079933"/>
              <a:gd name="connsiteY20856" fmla="*/ 1185455 h 4687251"/>
              <a:gd name="connsiteX20857" fmla="*/ 1078656 w 8079933"/>
              <a:gd name="connsiteY20857" fmla="*/ 1188161 h 4687251"/>
              <a:gd name="connsiteX20858" fmla="*/ 1075184 w 8079933"/>
              <a:gd name="connsiteY20858" fmla="*/ 1190761 h 4687251"/>
              <a:gd name="connsiteX20859" fmla="*/ 1072579 w 8079933"/>
              <a:gd name="connsiteY20859" fmla="*/ 1189245 h 4687251"/>
              <a:gd name="connsiteX20860" fmla="*/ 4517006 w 8079933"/>
              <a:gd name="connsiteY20860" fmla="*/ 1182481 h 4687251"/>
              <a:gd name="connsiteX20861" fmla="*/ 4517006 w 8079933"/>
              <a:gd name="connsiteY20861" fmla="*/ 1182639 h 4687251"/>
              <a:gd name="connsiteX20862" fmla="*/ 4520152 w 8079933"/>
              <a:gd name="connsiteY20862" fmla="*/ 1186645 h 4687251"/>
              <a:gd name="connsiteX20863" fmla="*/ 4525130 w 8079933"/>
              <a:gd name="connsiteY20863" fmla="*/ 1187473 h 4687251"/>
              <a:gd name="connsiteX20864" fmla="*/ 4523842 w 8079933"/>
              <a:gd name="connsiteY20864" fmla="*/ 1184697 h 4687251"/>
              <a:gd name="connsiteX20865" fmla="*/ 4517981 w 8079933"/>
              <a:gd name="connsiteY20865" fmla="*/ 1183723 h 4687251"/>
              <a:gd name="connsiteX20866" fmla="*/ 655008 w 8079933"/>
              <a:gd name="connsiteY20866" fmla="*/ 1182207 h 4687251"/>
              <a:gd name="connsiteX20867" fmla="*/ 653163 w 8079933"/>
              <a:gd name="connsiteY20867" fmla="*/ 1185130 h 4687251"/>
              <a:gd name="connsiteX20868" fmla="*/ 651644 w 8079933"/>
              <a:gd name="connsiteY20868" fmla="*/ 1182748 h 4687251"/>
              <a:gd name="connsiteX20869" fmla="*/ 651425 w 8079933"/>
              <a:gd name="connsiteY20869" fmla="*/ 1178417 h 4687251"/>
              <a:gd name="connsiteX20870" fmla="*/ 642312 w 8079933"/>
              <a:gd name="connsiteY20870" fmla="*/ 1187512 h 4687251"/>
              <a:gd name="connsiteX20871" fmla="*/ 637970 w 8079933"/>
              <a:gd name="connsiteY20871" fmla="*/ 1188054 h 4687251"/>
              <a:gd name="connsiteX20872" fmla="*/ 641661 w 8079933"/>
              <a:gd name="connsiteY20872" fmla="*/ 1181882 h 4687251"/>
              <a:gd name="connsiteX20873" fmla="*/ 4414566 w 8079933"/>
              <a:gd name="connsiteY20873" fmla="*/ 1176901 h 4687251"/>
              <a:gd name="connsiteX20874" fmla="*/ 4421728 w 8079933"/>
              <a:gd name="connsiteY20874" fmla="*/ 1178092 h 4687251"/>
              <a:gd name="connsiteX20875" fmla="*/ 4421402 w 8079933"/>
              <a:gd name="connsiteY20875" fmla="*/ 1180149 h 4687251"/>
              <a:gd name="connsiteX20876" fmla="*/ 4417062 w 8079933"/>
              <a:gd name="connsiteY20876" fmla="*/ 1180258 h 4687251"/>
              <a:gd name="connsiteX20877" fmla="*/ 4419340 w 8079933"/>
              <a:gd name="connsiteY20877" fmla="*/ 1182856 h 4687251"/>
              <a:gd name="connsiteX20878" fmla="*/ 4417495 w 8079933"/>
              <a:gd name="connsiteY20878" fmla="*/ 1185130 h 4687251"/>
              <a:gd name="connsiteX20879" fmla="*/ 4413372 w 8079933"/>
              <a:gd name="connsiteY20879" fmla="*/ 1184805 h 4687251"/>
              <a:gd name="connsiteX20880" fmla="*/ 4410008 w 8079933"/>
              <a:gd name="connsiteY20880" fmla="*/ 1180149 h 4687251"/>
              <a:gd name="connsiteX20881" fmla="*/ 2651387 w 8079933"/>
              <a:gd name="connsiteY20881" fmla="*/ 1176576 h 4687251"/>
              <a:gd name="connsiteX20882" fmla="*/ 2653015 w 8079933"/>
              <a:gd name="connsiteY20882" fmla="*/ 1178092 h 4687251"/>
              <a:gd name="connsiteX20883" fmla="*/ 2653666 w 8079933"/>
              <a:gd name="connsiteY20883" fmla="*/ 1182856 h 4687251"/>
              <a:gd name="connsiteX20884" fmla="*/ 2652147 w 8079933"/>
              <a:gd name="connsiteY20884" fmla="*/ 1188270 h 4687251"/>
              <a:gd name="connsiteX20885" fmla="*/ 2652907 w 8079933"/>
              <a:gd name="connsiteY20885" fmla="*/ 1191409 h 4687251"/>
              <a:gd name="connsiteX20886" fmla="*/ 2651387 w 8079933"/>
              <a:gd name="connsiteY20886" fmla="*/ 1193250 h 4687251"/>
              <a:gd name="connsiteX20887" fmla="*/ 2649217 w 8079933"/>
              <a:gd name="connsiteY20887" fmla="*/ 1189460 h 4687251"/>
              <a:gd name="connsiteX20888" fmla="*/ 2650519 w 8079933"/>
              <a:gd name="connsiteY20888" fmla="*/ 1184155 h 4687251"/>
              <a:gd name="connsiteX20889" fmla="*/ 592719 w 8079933"/>
              <a:gd name="connsiteY20889" fmla="*/ 1172029 h 4687251"/>
              <a:gd name="connsiteX20890" fmla="*/ 595215 w 8079933"/>
              <a:gd name="connsiteY20890" fmla="*/ 1174735 h 4687251"/>
              <a:gd name="connsiteX20891" fmla="*/ 591960 w 8079933"/>
              <a:gd name="connsiteY20891" fmla="*/ 1176251 h 4687251"/>
              <a:gd name="connsiteX20892" fmla="*/ 587944 w 8079933"/>
              <a:gd name="connsiteY20892" fmla="*/ 1172137 h 4687251"/>
              <a:gd name="connsiteX20893" fmla="*/ 2929407 w 8079933"/>
              <a:gd name="connsiteY20893" fmla="*/ 1167156 h 4687251"/>
              <a:gd name="connsiteX20894" fmla="*/ 2925934 w 8079933"/>
              <a:gd name="connsiteY20894" fmla="*/ 1172028 h 4687251"/>
              <a:gd name="connsiteX20895" fmla="*/ 2922136 w 8079933"/>
              <a:gd name="connsiteY20895" fmla="*/ 1175060 h 4687251"/>
              <a:gd name="connsiteX20896" fmla="*/ 2920183 w 8079933"/>
              <a:gd name="connsiteY20896" fmla="*/ 1175385 h 4687251"/>
              <a:gd name="connsiteX20897" fmla="*/ 2925066 w 8079933"/>
              <a:gd name="connsiteY20897" fmla="*/ 1170729 h 4687251"/>
              <a:gd name="connsiteX20898" fmla="*/ 2927345 w 8079933"/>
              <a:gd name="connsiteY20898" fmla="*/ 1168022 h 4687251"/>
              <a:gd name="connsiteX20899" fmla="*/ 4515594 w 8079933"/>
              <a:gd name="connsiteY20899" fmla="*/ 1166845 h 4687251"/>
              <a:gd name="connsiteX20900" fmla="*/ 4515594 w 8079933"/>
              <a:gd name="connsiteY20900" fmla="*/ 1169213 h 4687251"/>
              <a:gd name="connsiteX20901" fmla="*/ 4516596 w 8079933"/>
              <a:gd name="connsiteY20901" fmla="*/ 1169469 h 4687251"/>
              <a:gd name="connsiteX20902" fmla="*/ 4518090 w 8079933"/>
              <a:gd name="connsiteY20902" fmla="*/ 1167482 h 4687251"/>
              <a:gd name="connsiteX20903" fmla="*/ 2923873 w 8079933"/>
              <a:gd name="connsiteY20903" fmla="*/ 1166183 h 4687251"/>
              <a:gd name="connsiteX20904" fmla="*/ 2925609 w 8079933"/>
              <a:gd name="connsiteY20904" fmla="*/ 1166183 h 4687251"/>
              <a:gd name="connsiteX20905" fmla="*/ 2923981 w 8079933"/>
              <a:gd name="connsiteY20905" fmla="*/ 1168997 h 4687251"/>
              <a:gd name="connsiteX20906" fmla="*/ 2921593 w 8079933"/>
              <a:gd name="connsiteY20906" fmla="*/ 1170946 h 4687251"/>
              <a:gd name="connsiteX20907" fmla="*/ 2919966 w 8079933"/>
              <a:gd name="connsiteY20907" fmla="*/ 1171704 h 4687251"/>
              <a:gd name="connsiteX20908" fmla="*/ 2919966 w 8079933"/>
              <a:gd name="connsiteY20908" fmla="*/ 1170405 h 4687251"/>
              <a:gd name="connsiteX20909" fmla="*/ 2261053 w 8079933"/>
              <a:gd name="connsiteY20909" fmla="*/ 1164342 h 4687251"/>
              <a:gd name="connsiteX20910" fmla="*/ 2262463 w 8079933"/>
              <a:gd name="connsiteY20910" fmla="*/ 1168673 h 4687251"/>
              <a:gd name="connsiteX20911" fmla="*/ 2266261 w 8079933"/>
              <a:gd name="connsiteY20911" fmla="*/ 1170621 h 4687251"/>
              <a:gd name="connsiteX20912" fmla="*/ 2269191 w 8079933"/>
              <a:gd name="connsiteY20912" fmla="*/ 1167157 h 4687251"/>
              <a:gd name="connsiteX20913" fmla="*/ 2271579 w 8079933"/>
              <a:gd name="connsiteY20913" fmla="*/ 1166291 h 4687251"/>
              <a:gd name="connsiteX20914" fmla="*/ 2273424 w 8079933"/>
              <a:gd name="connsiteY20914" fmla="*/ 1167698 h 4687251"/>
              <a:gd name="connsiteX20915" fmla="*/ 2277005 w 8079933"/>
              <a:gd name="connsiteY20915" fmla="*/ 1165858 h 4687251"/>
              <a:gd name="connsiteX20916" fmla="*/ 2280260 w 8079933"/>
              <a:gd name="connsiteY20916" fmla="*/ 1165858 h 4687251"/>
              <a:gd name="connsiteX20917" fmla="*/ 2282322 w 8079933"/>
              <a:gd name="connsiteY20917" fmla="*/ 1167266 h 4687251"/>
              <a:gd name="connsiteX20918" fmla="*/ 2286663 w 8079933"/>
              <a:gd name="connsiteY20918" fmla="*/ 1167266 h 4687251"/>
              <a:gd name="connsiteX20919" fmla="*/ 2288399 w 8079933"/>
              <a:gd name="connsiteY20919" fmla="*/ 1168673 h 4687251"/>
              <a:gd name="connsiteX20920" fmla="*/ 2284601 w 8079933"/>
              <a:gd name="connsiteY20920" fmla="*/ 1173111 h 4687251"/>
              <a:gd name="connsiteX20921" fmla="*/ 2284601 w 8079933"/>
              <a:gd name="connsiteY20921" fmla="*/ 1176360 h 4687251"/>
              <a:gd name="connsiteX20922" fmla="*/ 2279067 w 8079933"/>
              <a:gd name="connsiteY20922" fmla="*/ 1180366 h 4687251"/>
              <a:gd name="connsiteX20923" fmla="*/ 2275377 w 8079933"/>
              <a:gd name="connsiteY20923" fmla="*/ 1180582 h 4687251"/>
              <a:gd name="connsiteX20924" fmla="*/ 2271579 w 8079933"/>
              <a:gd name="connsiteY20924" fmla="*/ 1186212 h 4687251"/>
              <a:gd name="connsiteX20925" fmla="*/ 2267455 w 8079933"/>
              <a:gd name="connsiteY20925" fmla="*/ 1188919 h 4687251"/>
              <a:gd name="connsiteX20926" fmla="*/ 2263983 w 8079933"/>
              <a:gd name="connsiteY20926" fmla="*/ 1190002 h 4687251"/>
              <a:gd name="connsiteX20927" fmla="*/ 2257472 w 8079933"/>
              <a:gd name="connsiteY20927" fmla="*/ 1195523 h 4687251"/>
              <a:gd name="connsiteX20928" fmla="*/ 2253999 w 8079933"/>
              <a:gd name="connsiteY20928" fmla="*/ 1195523 h 4687251"/>
              <a:gd name="connsiteX20929" fmla="*/ 2253348 w 8079933"/>
              <a:gd name="connsiteY20929" fmla="*/ 1192925 h 4687251"/>
              <a:gd name="connsiteX20930" fmla="*/ 2251069 w 8079933"/>
              <a:gd name="connsiteY20930" fmla="*/ 1192275 h 4687251"/>
              <a:gd name="connsiteX20931" fmla="*/ 2247922 w 8079933"/>
              <a:gd name="connsiteY20931" fmla="*/ 1192275 h 4687251"/>
              <a:gd name="connsiteX20932" fmla="*/ 2243798 w 8079933"/>
              <a:gd name="connsiteY20932" fmla="*/ 1197472 h 4687251"/>
              <a:gd name="connsiteX20933" fmla="*/ 2241954 w 8079933"/>
              <a:gd name="connsiteY20933" fmla="*/ 1198339 h 4687251"/>
              <a:gd name="connsiteX20934" fmla="*/ 2240869 w 8079933"/>
              <a:gd name="connsiteY20934" fmla="*/ 1196931 h 4687251"/>
              <a:gd name="connsiteX20935" fmla="*/ 2240869 w 8079933"/>
              <a:gd name="connsiteY20935" fmla="*/ 1192600 h 4687251"/>
              <a:gd name="connsiteX20936" fmla="*/ 2242279 w 8079933"/>
              <a:gd name="connsiteY20936" fmla="*/ 1189135 h 4687251"/>
              <a:gd name="connsiteX20937" fmla="*/ 2240869 w 8079933"/>
              <a:gd name="connsiteY20937" fmla="*/ 1184480 h 4687251"/>
              <a:gd name="connsiteX20938" fmla="*/ 2238807 w 8079933"/>
              <a:gd name="connsiteY20938" fmla="*/ 1182639 h 4687251"/>
              <a:gd name="connsiteX20939" fmla="*/ 2239675 w 8079933"/>
              <a:gd name="connsiteY20939" fmla="*/ 1179716 h 4687251"/>
              <a:gd name="connsiteX20940" fmla="*/ 2248140 w 8079933"/>
              <a:gd name="connsiteY20940" fmla="*/ 1177442 h 4687251"/>
              <a:gd name="connsiteX20941" fmla="*/ 2249984 w 8079933"/>
              <a:gd name="connsiteY20941" fmla="*/ 1175060 h 4687251"/>
              <a:gd name="connsiteX20942" fmla="*/ 2249984 w 8079933"/>
              <a:gd name="connsiteY20942" fmla="*/ 1172787 h 4687251"/>
              <a:gd name="connsiteX20943" fmla="*/ 2254976 w 8079933"/>
              <a:gd name="connsiteY20943" fmla="*/ 1166615 h 4687251"/>
              <a:gd name="connsiteX20944" fmla="*/ 2259317 w 8079933"/>
              <a:gd name="connsiteY20944" fmla="*/ 1165425 h 4687251"/>
              <a:gd name="connsiteX20945" fmla="*/ 4628560 w 8079933"/>
              <a:gd name="connsiteY20945" fmla="*/ 1163475 h 4687251"/>
              <a:gd name="connsiteX20946" fmla="*/ 4631708 w 8079933"/>
              <a:gd name="connsiteY20946" fmla="*/ 1164124 h 4687251"/>
              <a:gd name="connsiteX20947" fmla="*/ 4632250 w 8079933"/>
              <a:gd name="connsiteY20947" fmla="*/ 1167048 h 4687251"/>
              <a:gd name="connsiteX20948" fmla="*/ 4630622 w 8079933"/>
              <a:gd name="connsiteY20948" fmla="*/ 1168997 h 4687251"/>
              <a:gd name="connsiteX20949" fmla="*/ 4632793 w 8079933"/>
              <a:gd name="connsiteY20949" fmla="*/ 1173003 h 4687251"/>
              <a:gd name="connsiteX20950" fmla="*/ 4632250 w 8079933"/>
              <a:gd name="connsiteY20950" fmla="*/ 1175276 h 4687251"/>
              <a:gd name="connsiteX20951" fmla="*/ 4630297 w 8079933"/>
              <a:gd name="connsiteY20951" fmla="*/ 1175385 h 4687251"/>
              <a:gd name="connsiteX20952" fmla="*/ 4629212 w 8079933"/>
              <a:gd name="connsiteY20952" fmla="*/ 1173219 h 4687251"/>
              <a:gd name="connsiteX20953" fmla="*/ 4625631 w 8079933"/>
              <a:gd name="connsiteY20953" fmla="*/ 1169971 h 4687251"/>
              <a:gd name="connsiteX20954" fmla="*/ 4625522 w 8079933"/>
              <a:gd name="connsiteY20954" fmla="*/ 1166723 h 4687251"/>
              <a:gd name="connsiteX20955" fmla="*/ 3136348 w 8079933"/>
              <a:gd name="connsiteY20955" fmla="*/ 1163367 h 4687251"/>
              <a:gd name="connsiteX20956" fmla="*/ 3138084 w 8079933"/>
              <a:gd name="connsiteY20956" fmla="*/ 1165208 h 4687251"/>
              <a:gd name="connsiteX20957" fmla="*/ 3139711 w 8079933"/>
              <a:gd name="connsiteY20957" fmla="*/ 1169646 h 4687251"/>
              <a:gd name="connsiteX20958" fmla="*/ 3141665 w 8079933"/>
              <a:gd name="connsiteY20958" fmla="*/ 1171812 h 4687251"/>
              <a:gd name="connsiteX20959" fmla="*/ 3141014 w 8079933"/>
              <a:gd name="connsiteY20959" fmla="*/ 1176793 h 4687251"/>
              <a:gd name="connsiteX20960" fmla="*/ 3141882 w 8079933"/>
              <a:gd name="connsiteY20960" fmla="*/ 1181881 h 4687251"/>
              <a:gd name="connsiteX20961" fmla="*/ 3139386 w 8079933"/>
              <a:gd name="connsiteY20961" fmla="*/ 1181231 h 4687251"/>
              <a:gd name="connsiteX20962" fmla="*/ 3137650 w 8079933"/>
              <a:gd name="connsiteY20962" fmla="*/ 1177658 h 4687251"/>
              <a:gd name="connsiteX20963" fmla="*/ 3138193 w 8079933"/>
              <a:gd name="connsiteY20963" fmla="*/ 1172028 h 4687251"/>
              <a:gd name="connsiteX20964" fmla="*/ 3136131 w 8079933"/>
              <a:gd name="connsiteY20964" fmla="*/ 1168781 h 4687251"/>
              <a:gd name="connsiteX20965" fmla="*/ 3135480 w 8079933"/>
              <a:gd name="connsiteY20965" fmla="*/ 1165099 h 4687251"/>
              <a:gd name="connsiteX20966" fmla="*/ 4163891 w 8079933"/>
              <a:gd name="connsiteY20966" fmla="*/ 1161635 h 4687251"/>
              <a:gd name="connsiteX20967" fmla="*/ 4165844 w 8079933"/>
              <a:gd name="connsiteY20967" fmla="*/ 1162934 h 4687251"/>
              <a:gd name="connsiteX20968" fmla="*/ 4166061 w 8079933"/>
              <a:gd name="connsiteY20968" fmla="*/ 1165749 h 4687251"/>
              <a:gd name="connsiteX20969" fmla="*/ 4163565 w 8079933"/>
              <a:gd name="connsiteY20969" fmla="*/ 1168023 h 4687251"/>
              <a:gd name="connsiteX20970" fmla="*/ 4161504 w 8079933"/>
              <a:gd name="connsiteY20970" fmla="*/ 1165425 h 4687251"/>
              <a:gd name="connsiteX20971" fmla="*/ 4212399 w 8079933"/>
              <a:gd name="connsiteY20971" fmla="*/ 1157303 h 4687251"/>
              <a:gd name="connsiteX20972" fmla="*/ 4210011 w 8079933"/>
              <a:gd name="connsiteY20972" fmla="*/ 1163366 h 4687251"/>
              <a:gd name="connsiteX20973" fmla="*/ 4207515 w 8079933"/>
              <a:gd name="connsiteY20973" fmla="*/ 1174194 h 4687251"/>
              <a:gd name="connsiteX20974" fmla="*/ 4207190 w 8079933"/>
              <a:gd name="connsiteY20974" fmla="*/ 1185562 h 4687251"/>
              <a:gd name="connsiteX20975" fmla="*/ 4199160 w 8079933"/>
              <a:gd name="connsiteY20975" fmla="*/ 1205267 h 4687251"/>
              <a:gd name="connsiteX20976" fmla="*/ 4198725 w 8079933"/>
              <a:gd name="connsiteY20976" fmla="*/ 1211114 h 4687251"/>
              <a:gd name="connsiteX20977" fmla="*/ 4198725 w 8079933"/>
              <a:gd name="connsiteY20977" fmla="*/ 1211114 h 4687251"/>
              <a:gd name="connsiteX20978" fmla="*/ 4199160 w 8079933"/>
              <a:gd name="connsiteY20978" fmla="*/ 1205268 h 4687251"/>
              <a:gd name="connsiteX20979" fmla="*/ 4207190 w 8079933"/>
              <a:gd name="connsiteY20979" fmla="*/ 1185562 h 4687251"/>
              <a:gd name="connsiteX20980" fmla="*/ 4207515 w 8079933"/>
              <a:gd name="connsiteY20980" fmla="*/ 1174194 h 4687251"/>
              <a:gd name="connsiteX20981" fmla="*/ 4210011 w 8079933"/>
              <a:gd name="connsiteY20981" fmla="*/ 1163367 h 4687251"/>
              <a:gd name="connsiteX20982" fmla="*/ 4212399 w 8079933"/>
              <a:gd name="connsiteY20982" fmla="*/ 1157304 h 4687251"/>
              <a:gd name="connsiteX20983" fmla="*/ 3159678 w 8079933"/>
              <a:gd name="connsiteY20983" fmla="*/ 1150483 h 4687251"/>
              <a:gd name="connsiteX20984" fmla="*/ 3161523 w 8079933"/>
              <a:gd name="connsiteY20984" fmla="*/ 1152324 h 4687251"/>
              <a:gd name="connsiteX20985" fmla="*/ 3160980 w 8079933"/>
              <a:gd name="connsiteY20985" fmla="*/ 1154165 h 4687251"/>
              <a:gd name="connsiteX20986" fmla="*/ 3158701 w 8079933"/>
              <a:gd name="connsiteY20986" fmla="*/ 1152865 h 4687251"/>
              <a:gd name="connsiteX20987" fmla="*/ 3157942 w 8079933"/>
              <a:gd name="connsiteY20987" fmla="*/ 1150699 h 4687251"/>
              <a:gd name="connsiteX20988" fmla="*/ 4174961 w 8079933"/>
              <a:gd name="connsiteY20988" fmla="*/ 1150267 h 4687251"/>
              <a:gd name="connsiteX20989" fmla="*/ 4179410 w 8079933"/>
              <a:gd name="connsiteY20989" fmla="*/ 1150916 h 4687251"/>
              <a:gd name="connsiteX20990" fmla="*/ 4173767 w 8079933"/>
              <a:gd name="connsiteY20990" fmla="*/ 1155573 h 4687251"/>
              <a:gd name="connsiteX20991" fmla="*/ 4172899 w 8079933"/>
              <a:gd name="connsiteY20991" fmla="*/ 1152649 h 4687251"/>
              <a:gd name="connsiteX20992" fmla="*/ 2368484 w 8079933"/>
              <a:gd name="connsiteY20992" fmla="*/ 1149833 h 4687251"/>
              <a:gd name="connsiteX20993" fmla="*/ 2371414 w 8079933"/>
              <a:gd name="connsiteY20993" fmla="*/ 1152865 h 4687251"/>
              <a:gd name="connsiteX20994" fmla="*/ 2373802 w 8079933"/>
              <a:gd name="connsiteY20994" fmla="*/ 1155138 h 4687251"/>
              <a:gd name="connsiteX20995" fmla="*/ 2378793 w 8079933"/>
              <a:gd name="connsiteY20995" fmla="*/ 1155571 h 4687251"/>
              <a:gd name="connsiteX20996" fmla="*/ 2380963 w 8079933"/>
              <a:gd name="connsiteY20996" fmla="*/ 1156762 h 4687251"/>
              <a:gd name="connsiteX20997" fmla="*/ 2381289 w 8079933"/>
              <a:gd name="connsiteY20997" fmla="*/ 1162934 h 4687251"/>
              <a:gd name="connsiteX20998" fmla="*/ 2380855 w 8079933"/>
              <a:gd name="connsiteY20998" fmla="*/ 1164557 h 4687251"/>
              <a:gd name="connsiteX20999" fmla="*/ 2380855 w 8079933"/>
              <a:gd name="connsiteY20999" fmla="*/ 1167048 h 4687251"/>
              <a:gd name="connsiteX21000" fmla="*/ 2378793 w 8079933"/>
              <a:gd name="connsiteY21000" fmla="*/ 1168455 h 4687251"/>
              <a:gd name="connsiteX21001" fmla="*/ 2376188 w 8079933"/>
              <a:gd name="connsiteY21001" fmla="*/ 1168888 h 4687251"/>
              <a:gd name="connsiteX21002" fmla="*/ 2374019 w 8079933"/>
              <a:gd name="connsiteY21002" fmla="*/ 1170404 h 4687251"/>
              <a:gd name="connsiteX21003" fmla="*/ 2370329 w 8079933"/>
              <a:gd name="connsiteY21003" fmla="*/ 1170945 h 4687251"/>
              <a:gd name="connsiteX21004" fmla="*/ 2368376 w 8079933"/>
              <a:gd name="connsiteY21004" fmla="*/ 1169321 h 4687251"/>
              <a:gd name="connsiteX21005" fmla="*/ 2367724 w 8079933"/>
              <a:gd name="connsiteY21005" fmla="*/ 1165748 h 4687251"/>
              <a:gd name="connsiteX21006" fmla="*/ 2365988 w 8079933"/>
              <a:gd name="connsiteY21006" fmla="*/ 1164232 h 4687251"/>
              <a:gd name="connsiteX21007" fmla="*/ 2364035 w 8079933"/>
              <a:gd name="connsiteY21007" fmla="*/ 1159469 h 4687251"/>
              <a:gd name="connsiteX21008" fmla="*/ 2360563 w 8079933"/>
              <a:gd name="connsiteY21008" fmla="*/ 1156762 h 4687251"/>
              <a:gd name="connsiteX21009" fmla="*/ 2359803 w 8079933"/>
              <a:gd name="connsiteY21009" fmla="*/ 1152648 h 4687251"/>
              <a:gd name="connsiteX21010" fmla="*/ 2360563 w 8079933"/>
              <a:gd name="connsiteY21010" fmla="*/ 1150266 h 4687251"/>
              <a:gd name="connsiteX21011" fmla="*/ 2362733 w 8079933"/>
              <a:gd name="connsiteY21011" fmla="*/ 1151457 h 4687251"/>
              <a:gd name="connsiteX21012" fmla="*/ 2366856 w 8079933"/>
              <a:gd name="connsiteY21012" fmla="*/ 1151241 h 4687251"/>
              <a:gd name="connsiteX21013" fmla="*/ 1073889 w 8079933"/>
              <a:gd name="connsiteY21013" fmla="*/ 1147565 h 4687251"/>
              <a:gd name="connsiteX21014" fmla="*/ 1067585 w 8079933"/>
              <a:gd name="connsiteY21014" fmla="*/ 1148426 h 4687251"/>
              <a:gd name="connsiteX21015" fmla="*/ 1058361 w 8079933"/>
              <a:gd name="connsiteY21015" fmla="*/ 1149942 h 4687251"/>
              <a:gd name="connsiteX21016" fmla="*/ 1056734 w 8079933"/>
              <a:gd name="connsiteY21016" fmla="*/ 1150266 h 4687251"/>
              <a:gd name="connsiteX21017" fmla="*/ 1056734 w 8079933"/>
              <a:gd name="connsiteY21017" fmla="*/ 1150267 h 4687251"/>
              <a:gd name="connsiteX21018" fmla="*/ 1058362 w 8079933"/>
              <a:gd name="connsiteY21018" fmla="*/ 1149942 h 4687251"/>
              <a:gd name="connsiteX21019" fmla="*/ 1067586 w 8079933"/>
              <a:gd name="connsiteY21019" fmla="*/ 1148426 h 4687251"/>
              <a:gd name="connsiteX21020" fmla="*/ 2647480 w 8079933"/>
              <a:gd name="connsiteY21020" fmla="*/ 1146910 h 4687251"/>
              <a:gd name="connsiteX21021" fmla="*/ 2648782 w 8079933"/>
              <a:gd name="connsiteY21021" fmla="*/ 1148209 h 4687251"/>
              <a:gd name="connsiteX21022" fmla="*/ 2648674 w 8079933"/>
              <a:gd name="connsiteY21022" fmla="*/ 1151349 h 4687251"/>
              <a:gd name="connsiteX21023" fmla="*/ 2647154 w 8079933"/>
              <a:gd name="connsiteY21023" fmla="*/ 1151024 h 4687251"/>
              <a:gd name="connsiteX21024" fmla="*/ 2645635 w 8079933"/>
              <a:gd name="connsiteY21024" fmla="*/ 1148859 h 4687251"/>
              <a:gd name="connsiteX21025" fmla="*/ 2391163 w 8079933"/>
              <a:gd name="connsiteY21025" fmla="*/ 1144745 h 4687251"/>
              <a:gd name="connsiteX21026" fmla="*/ 2393333 w 8079933"/>
              <a:gd name="connsiteY21026" fmla="*/ 1146044 h 4687251"/>
              <a:gd name="connsiteX21027" fmla="*/ 2395612 w 8079933"/>
              <a:gd name="connsiteY21027" fmla="*/ 1145828 h 4687251"/>
              <a:gd name="connsiteX21028" fmla="*/ 2396806 w 8079933"/>
              <a:gd name="connsiteY21028" fmla="*/ 1147127 h 4687251"/>
              <a:gd name="connsiteX21029" fmla="*/ 2397240 w 8079933"/>
              <a:gd name="connsiteY21029" fmla="*/ 1148643 h 4687251"/>
              <a:gd name="connsiteX21030" fmla="*/ 2400712 w 8079933"/>
              <a:gd name="connsiteY21030" fmla="*/ 1148967 h 4687251"/>
              <a:gd name="connsiteX21031" fmla="*/ 2404727 w 8079933"/>
              <a:gd name="connsiteY21031" fmla="*/ 1152324 h 4687251"/>
              <a:gd name="connsiteX21032" fmla="*/ 2404727 w 8079933"/>
              <a:gd name="connsiteY21032" fmla="*/ 1153515 h 4687251"/>
              <a:gd name="connsiteX21033" fmla="*/ 2402557 w 8079933"/>
              <a:gd name="connsiteY21033" fmla="*/ 1155031 h 4687251"/>
              <a:gd name="connsiteX21034" fmla="*/ 2405161 w 8079933"/>
              <a:gd name="connsiteY21034" fmla="*/ 1156655 h 4687251"/>
              <a:gd name="connsiteX21035" fmla="*/ 2404619 w 8079933"/>
              <a:gd name="connsiteY21035" fmla="*/ 1158929 h 4687251"/>
              <a:gd name="connsiteX21036" fmla="*/ 2403208 w 8079933"/>
              <a:gd name="connsiteY21036" fmla="*/ 1159362 h 4687251"/>
              <a:gd name="connsiteX21037" fmla="*/ 2402774 w 8079933"/>
              <a:gd name="connsiteY21037" fmla="*/ 1160878 h 4687251"/>
              <a:gd name="connsiteX21038" fmla="*/ 2400604 w 8079933"/>
              <a:gd name="connsiteY21038" fmla="*/ 1161960 h 4687251"/>
              <a:gd name="connsiteX21039" fmla="*/ 2398868 w 8079933"/>
              <a:gd name="connsiteY21039" fmla="*/ 1160445 h 4687251"/>
              <a:gd name="connsiteX21040" fmla="*/ 2396155 w 8079933"/>
              <a:gd name="connsiteY21040" fmla="*/ 1160445 h 4687251"/>
              <a:gd name="connsiteX21041" fmla="*/ 2395178 w 8079933"/>
              <a:gd name="connsiteY21041" fmla="*/ 1159470 h 4687251"/>
              <a:gd name="connsiteX21042" fmla="*/ 2394744 w 8079933"/>
              <a:gd name="connsiteY21042" fmla="*/ 1156005 h 4687251"/>
              <a:gd name="connsiteX21043" fmla="*/ 2392683 w 8079933"/>
              <a:gd name="connsiteY21043" fmla="*/ 1153515 h 4687251"/>
              <a:gd name="connsiteX21044" fmla="*/ 2391272 w 8079933"/>
              <a:gd name="connsiteY21044" fmla="*/ 1151025 h 4687251"/>
              <a:gd name="connsiteX21045" fmla="*/ 2389318 w 8079933"/>
              <a:gd name="connsiteY21045" fmla="*/ 1149942 h 4687251"/>
              <a:gd name="connsiteX21046" fmla="*/ 2388016 w 8079933"/>
              <a:gd name="connsiteY21046" fmla="*/ 1149833 h 4687251"/>
              <a:gd name="connsiteX21047" fmla="*/ 2386823 w 8079933"/>
              <a:gd name="connsiteY21047" fmla="*/ 1147019 h 4687251"/>
              <a:gd name="connsiteX21048" fmla="*/ 2388016 w 8079933"/>
              <a:gd name="connsiteY21048" fmla="*/ 1145828 h 4687251"/>
              <a:gd name="connsiteX21049" fmla="*/ 3164670 w 8079933"/>
              <a:gd name="connsiteY21049" fmla="*/ 1143770 h 4687251"/>
              <a:gd name="connsiteX21050" fmla="*/ 3166406 w 8079933"/>
              <a:gd name="connsiteY21050" fmla="*/ 1145286 h 4687251"/>
              <a:gd name="connsiteX21051" fmla="*/ 3165972 w 8079933"/>
              <a:gd name="connsiteY21051" fmla="*/ 1147127 h 4687251"/>
              <a:gd name="connsiteX21052" fmla="*/ 3164670 w 8079933"/>
              <a:gd name="connsiteY21052" fmla="*/ 1145178 h 4687251"/>
              <a:gd name="connsiteX21053" fmla="*/ 4174093 w 8079933"/>
              <a:gd name="connsiteY21053" fmla="*/ 1139547 h 4687251"/>
              <a:gd name="connsiteX21054" fmla="*/ 4175069 w 8079933"/>
              <a:gd name="connsiteY21054" fmla="*/ 1144094 h 4687251"/>
              <a:gd name="connsiteX21055" fmla="*/ 4171271 w 8079933"/>
              <a:gd name="connsiteY21055" fmla="*/ 1150049 h 4687251"/>
              <a:gd name="connsiteX21056" fmla="*/ 4169752 w 8079933"/>
              <a:gd name="connsiteY21056" fmla="*/ 1144202 h 4687251"/>
              <a:gd name="connsiteX21057" fmla="*/ 3217626 w 8079933"/>
              <a:gd name="connsiteY21057" fmla="*/ 1134350 h 4687251"/>
              <a:gd name="connsiteX21058" fmla="*/ 3216325 w 8079933"/>
              <a:gd name="connsiteY21058" fmla="*/ 1136732 h 4687251"/>
              <a:gd name="connsiteX21059" fmla="*/ 3217626 w 8079933"/>
              <a:gd name="connsiteY21059" fmla="*/ 1139439 h 4687251"/>
              <a:gd name="connsiteX21060" fmla="*/ 3216866 w 8079933"/>
              <a:gd name="connsiteY21060" fmla="*/ 1140522 h 4687251"/>
              <a:gd name="connsiteX21061" fmla="*/ 3215131 w 8079933"/>
              <a:gd name="connsiteY21061" fmla="*/ 1138898 h 4687251"/>
              <a:gd name="connsiteX21062" fmla="*/ 3215131 w 8079933"/>
              <a:gd name="connsiteY21062" fmla="*/ 1136191 h 4687251"/>
              <a:gd name="connsiteX21063" fmla="*/ 1092521 w 8079933"/>
              <a:gd name="connsiteY21063" fmla="*/ 1129611 h 4687251"/>
              <a:gd name="connsiteX21064" fmla="*/ 1087879 w 8079933"/>
              <a:gd name="connsiteY21064" fmla="*/ 1134242 h 4687251"/>
              <a:gd name="connsiteX21065" fmla="*/ 1081151 w 8079933"/>
              <a:gd name="connsiteY21065" fmla="*/ 1144312 h 4687251"/>
              <a:gd name="connsiteX21066" fmla="*/ 1075508 w 8079933"/>
              <a:gd name="connsiteY21066" fmla="*/ 1147343 h 4687251"/>
              <a:gd name="connsiteX21067" fmla="*/ 1081151 w 8079933"/>
              <a:gd name="connsiteY21067" fmla="*/ 1144312 h 4687251"/>
              <a:gd name="connsiteX21068" fmla="*/ 1087879 w 8079933"/>
              <a:gd name="connsiteY21068" fmla="*/ 1134243 h 4687251"/>
              <a:gd name="connsiteX21069" fmla="*/ 2646612 w 8079933"/>
              <a:gd name="connsiteY21069" fmla="*/ 1129262 h 4687251"/>
              <a:gd name="connsiteX21070" fmla="*/ 2647263 w 8079933"/>
              <a:gd name="connsiteY21070" fmla="*/ 1131860 h 4687251"/>
              <a:gd name="connsiteX21071" fmla="*/ 2643791 w 8079933"/>
              <a:gd name="connsiteY21071" fmla="*/ 1134567 h 4687251"/>
              <a:gd name="connsiteX21072" fmla="*/ 2642055 w 8079933"/>
              <a:gd name="connsiteY21072" fmla="*/ 1136625 h 4687251"/>
              <a:gd name="connsiteX21073" fmla="*/ 2639776 w 8079933"/>
              <a:gd name="connsiteY21073" fmla="*/ 1135974 h 4687251"/>
              <a:gd name="connsiteX21074" fmla="*/ 2643031 w 8079933"/>
              <a:gd name="connsiteY21074" fmla="*/ 1130994 h 4687251"/>
              <a:gd name="connsiteX21075" fmla="*/ 3203736 w 8079933"/>
              <a:gd name="connsiteY21075" fmla="*/ 1128179 h 4687251"/>
              <a:gd name="connsiteX21076" fmla="*/ 3205039 w 8079933"/>
              <a:gd name="connsiteY21076" fmla="*/ 1130994 h 4687251"/>
              <a:gd name="connsiteX21077" fmla="*/ 3206775 w 8079933"/>
              <a:gd name="connsiteY21077" fmla="*/ 1131860 h 4687251"/>
              <a:gd name="connsiteX21078" fmla="*/ 3209813 w 8079933"/>
              <a:gd name="connsiteY21078" fmla="*/ 1137057 h 4687251"/>
              <a:gd name="connsiteX21079" fmla="*/ 3208945 w 8079933"/>
              <a:gd name="connsiteY21079" fmla="*/ 1139547 h 4687251"/>
              <a:gd name="connsiteX21080" fmla="*/ 3205256 w 8079933"/>
              <a:gd name="connsiteY21080" fmla="*/ 1139222 h 4687251"/>
              <a:gd name="connsiteX21081" fmla="*/ 3202760 w 8079933"/>
              <a:gd name="connsiteY21081" fmla="*/ 1141605 h 4687251"/>
              <a:gd name="connsiteX21082" fmla="*/ 3200590 w 8079933"/>
              <a:gd name="connsiteY21082" fmla="*/ 1141388 h 4687251"/>
              <a:gd name="connsiteX21083" fmla="*/ 3199613 w 8079933"/>
              <a:gd name="connsiteY21083" fmla="*/ 1139222 h 4687251"/>
              <a:gd name="connsiteX21084" fmla="*/ 3196683 w 8079933"/>
              <a:gd name="connsiteY21084" fmla="*/ 1136732 h 4687251"/>
              <a:gd name="connsiteX21085" fmla="*/ 3197660 w 8079933"/>
              <a:gd name="connsiteY21085" fmla="*/ 1134350 h 4687251"/>
              <a:gd name="connsiteX21086" fmla="*/ 3197985 w 8079933"/>
              <a:gd name="connsiteY21086" fmla="*/ 1131752 h 4687251"/>
              <a:gd name="connsiteX21087" fmla="*/ 3201023 w 8079933"/>
              <a:gd name="connsiteY21087" fmla="*/ 1128395 h 4687251"/>
              <a:gd name="connsiteX21088" fmla="*/ 2388342 w 8079933"/>
              <a:gd name="connsiteY21088" fmla="*/ 1127962 h 4687251"/>
              <a:gd name="connsiteX21089" fmla="*/ 2390621 w 8079933"/>
              <a:gd name="connsiteY21089" fmla="*/ 1130235 h 4687251"/>
              <a:gd name="connsiteX21090" fmla="*/ 2388885 w 8079933"/>
              <a:gd name="connsiteY21090" fmla="*/ 1131427 h 4687251"/>
              <a:gd name="connsiteX21091" fmla="*/ 2383677 w 8079933"/>
              <a:gd name="connsiteY21091" fmla="*/ 1130885 h 4687251"/>
              <a:gd name="connsiteX21092" fmla="*/ 2385087 w 8079933"/>
              <a:gd name="connsiteY21092" fmla="*/ 1128503 h 4687251"/>
              <a:gd name="connsiteX21093" fmla="*/ 1103059 w 8079933"/>
              <a:gd name="connsiteY21093" fmla="*/ 1125444 h 4687251"/>
              <a:gd name="connsiteX21094" fmla="*/ 1101769 w 8079933"/>
              <a:gd name="connsiteY21094" fmla="*/ 1126230 h 4687251"/>
              <a:gd name="connsiteX21095" fmla="*/ 1097709 w 8079933"/>
              <a:gd name="connsiteY21095" fmla="*/ 1127512 h 4687251"/>
              <a:gd name="connsiteX21096" fmla="*/ 1101769 w 8079933"/>
              <a:gd name="connsiteY21096" fmla="*/ 1126231 h 4687251"/>
              <a:gd name="connsiteX21097" fmla="*/ 4388088 w 8079933"/>
              <a:gd name="connsiteY21097" fmla="*/ 1124125 h 4687251"/>
              <a:gd name="connsiteX21098" fmla="*/ 4386784 w 8079933"/>
              <a:gd name="connsiteY21098" fmla="*/ 1127097 h 4687251"/>
              <a:gd name="connsiteX21099" fmla="*/ 4387110 w 8079933"/>
              <a:gd name="connsiteY21099" fmla="*/ 1128027 h 4687251"/>
              <a:gd name="connsiteX21100" fmla="*/ 4388088 w 8079933"/>
              <a:gd name="connsiteY21100" fmla="*/ 1125797 h 4687251"/>
              <a:gd name="connsiteX21101" fmla="*/ 3496514 w 8079933"/>
              <a:gd name="connsiteY21101" fmla="*/ 1122657 h 4687251"/>
              <a:gd name="connsiteX21102" fmla="*/ 3501507 w 8079933"/>
              <a:gd name="connsiteY21102" fmla="*/ 1124173 h 4687251"/>
              <a:gd name="connsiteX21103" fmla="*/ 3505847 w 8079933"/>
              <a:gd name="connsiteY21103" fmla="*/ 1123090 h 4687251"/>
              <a:gd name="connsiteX21104" fmla="*/ 3508235 w 8079933"/>
              <a:gd name="connsiteY21104" fmla="*/ 1127529 h 4687251"/>
              <a:gd name="connsiteX21105" fmla="*/ 3508343 w 8079933"/>
              <a:gd name="connsiteY21105" fmla="*/ 1131643 h 4687251"/>
              <a:gd name="connsiteX21106" fmla="*/ 3514202 w 8079933"/>
              <a:gd name="connsiteY21106" fmla="*/ 1134891 h 4687251"/>
              <a:gd name="connsiteX21107" fmla="*/ 3516482 w 8079933"/>
              <a:gd name="connsiteY21107" fmla="*/ 1138573 h 4687251"/>
              <a:gd name="connsiteX21108" fmla="*/ 3519086 w 8079933"/>
              <a:gd name="connsiteY21108" fmla="*/ 1136516 h 4687251"/>
              <a:gd name="connsiteX21109" fmla="*/ 3522667 w 8079933"/>
              <a:gd name="connsiteY21109" fmla="*/ 1140413 h 4687251"/>
              <a:gd name="connsiteX21110" fmla="*/ 3518652 w 8079933"/>
              <a:gd name="connsiteY21110" fmla="*/ 1143336 h 4687251"/>
              <a:gd name="connsiteX21111" fmla="*/ 3523210 w 8079933"/>
              <a:gd name="connsiteY21111" fmla="*/ 1145394 h 4687251"/>
              <a:gd name="connsiteX21112" fmla="*/ 3524187 w 8079933"/>
              <a:gd name="connsiteY21112" fmla="*/ 1148209 h 4687251"/>
              <a:gd name="connsiteX21113" fmla="*/ 3520388 w 8079933"/>
              <a:gd name="connsiteY21113" fmla="*/ 1152106 h 4687251"/>
              <a:gd name="connsiteX21114" fmla="*/ 3517024 w 8079933"/>
              <a:gd name="connsiteY21114" fmla="*/ 1149941 h 4687251"/>
              <a:gd name="connsiteX21115" fmla="*/ 3519737 w 8079933"/>
              <a:gd name="connsiteY21115" fmla="*/ 1155355 h 4687251"/>
              <a:gd name="connsiteX21116" fmla="*/ 3517459 w 8079933"/>
              <a:gd name="connsiteY21116" fmla="*/ 1158495 h 4687251"/>
              <a:gd name="connsiteX21117" fmla="*/ 3522775 w 8079933"/>
              <a:gd name="connsiteY21117" fmla="*/ 1158495 h 4687251"/>
              <a:gd name="connsiteX21118" fmla="*/ 3522775 w 8079933"/>
              <a:gd name="connsiteY21118" fmla="*/ 1162067 h 4687251"/>
              <a:gd name="connsiteX21119" fmla="*/ 3519412 w 8079933"/>
              <a:gd name="connsiteY21119" fmla="*/ 1166615 h 4687251"/>
              <a:gd name="connsiteX21120" fmla="*/ 3518652 w 8079933"/>
              <a:gd name="connsiteY21120" fmla="*/ 1170187 h 4687251"/>
              <a:gd name="connsiteX21121" fmla="*/ 3522125 w 8079933"/>
              <a:gd name="connsiteY21121" fmla="*/ 1170512 h 4687251"/>
              <a:gd name="connsiteX21122" fmla="*/ 3525380 w 8079933"/>
              <a:gd name="connsiteY21122" fmla="*/ 1177875 h 4687251"/>
              <a:gd name="connsiteX21123" fmla="*/ 3525597 w 8079933"/>
              <a:gd name="connsiteY21123" fmla="*/ 1170296 h 4687251"/>
              <a:gd name="connsiteX21124" fmla="*/ 3528527 w 8079933"/>
              <a:gd name="connsiteY21124" fmla="*/ 1168455 h 4687251"/>
              <a:gd name="connsiteX21125" fmla="*/ 3530371 w 8079933"/>
              <a:gd name="connsiteY21125" fmla="*/ 1162717 h 4687251"/>
              <a:gd name="connsiteX21126" fmla="*/ 3535255 w 8079933"/>
              <a:gd name="connsiteY21126" fmla="*/ 1160335 h 4687251"/>
              <a:gd name="connsiteX21127" fmla="*/ 3535364 w 8079933"/>
              <a:gd name="connsiteY21127" fmla="*/ 1166073 h 4687251"/>
              <a:gd name="connsiteX21128" fmla="*/ 3539595 w 8079933"/>
              <a:gd name="connsiteY21128" fmla="*/ 1165857 h 4687251"/>
              <a:gd name="connsiteX21129" fmla="*/ 3542417 w 8079933"/>
              <a:gd name="connsiteY21129" fmla="*/ 1162067 h 4687251"/>
              <a:gd name="connsiteX21130" fmla="*/ 3542851 w 8079933"/>
              <a:gd name="connsiteY21130" fmla="*/ 1154489 h 4687251"/>
              <a:gd name="connsiteX21131" fmla="*/ 3540355 w 8079933"/>
              <a:gd name="connsiteY21131" fmla="*/ 1151240 h 4687251"/>
              <a:gd name="connsiteX21132" fmla="*/ 3539595 w 8079933"/>
              <a:gd name="connsiteY21132" fmla="*/ 1140413 h 4687251"/>
              <a:gd name="connsiteX21133" fmla="*/ 3545346 w 8079933"/>
              <a:gd name="connsiteY21133" fmla="*/ 1135433 h 4687251"/>
              <a:gd name="connsiteX21134" fmla="*/ 3548711 w 8079933"/>
              <a:gd name="connsiteY21134" fmla="*/ 1138032 h 4687251"/>
              <a:gd name="connsiteX21135" fmla="*/ 3549362 w 8079933"/>
              <a:gd name="connsiteY21135" fmla="*/ 1147775 h 4687251"/>
              <a:gd name="connsiteX21136" fmla="*/ 3552618 w 8079933"/>
              <a:gd name="connsiteY21136" fmla="*/ 1149183 h 4687251"/>
              <a:gd name="connsiteX21137" fmla="*/ 3553160 w 8079933"/>
              <a:gd name="connsiteY21137" fmla="*/ 1156220 h 4687251"/>
              <a:gd name="connsiteX21138" fmla="*/ 3556959 w 8079933"/>
              <a:gd name="connsiteY21138" fmla="*/ 1156220 h 4687251"/>
              <a:gd name="connsiteX21139" fmla="*/ 3560865 w 8079933"/>
              <a:gd name="connsiteY21139" fmla="*/ 1149941 h 4687251"/>
              <a:gd name="connsiteX21140" fmla="*/ 3559237 w 8079933"/>
              <a:gd name="connsiteY21140" fmla="*/ 1145935 h 4687251"/>
              <a:gd name="connsiteX21141" fmla="*/ 3560539 w 8079933"/>
              <a:gd name="connsiteY21141" fmla="*/ 1140738 h 4687251"/>
              <a:gd name="connsiteX21142" fmla="*/ 3569871 w 8079933"/>
              <a:gd name="connsiteY21142" fmla="*/ 1134783 h 4687251"/>
              <a:gd name="connsiteX21143" fmla="*/ 3574646 w 8079933"/>
              <a:gd name="connsiteY21143" fmla="*/ 1137706 h 4687251"/>
              <a:gd name="connsiteX21144" fmla="*/ 3574212 w 8079933"/>
              <a:gd name="connsiteY21144" fmla="*/ 1142471 h 4687251"/>
              <a:gd name="connsiteX21145" fmla="*/ 3576057 w 8079933"/>
              <a:gd name="connsiteY21145" fmla="*/ 1144420 h 4687251"/>
              <a:gd name="connsiteX21146" fmla="*/ 3576057 w 8079933"/>
              <a:gd name="connsiteY21146" fmla="*/ 1148209 h 4687251"/>
              <a:gd name="connsiteX21147" fmla="*/ 3580723 w 8079933"/>
              <a:gd name="connsiteY21147" fmla="*/ 1155246 h 4687251"/>
              <a:gd name="connsiteX21148" fmla="*/ 3578878 w 8079933"/>
              <a:gd name="connsiteY21148" fmla="*/ 1165532 h 4687251"/>
              <a:gd name="connsiteX21149" fmla="*/ 3583978 w 8079933"/>
              <a:gd name="connsiteY21149" fmla="*/ 1153514 h 4687251"/>
              <a:gd name="connsiteX21150" fmla="*/ 3579747 w 8079933"/>
              <a:gd name="connsiteY21150" fmla="*/ 1145069 h 4687251"/>
              <a:gd name="connsiteX21151" fmla="*/ 3581266 w 8079933"/>
              <a:gd name="connsiteY21151" fmla="*/ 1137165 h 4687251"/>
              <a:gd name="connsiteX21152" fmla="*/ 3584847 w 8079933"/>
              <a:gd name="connsiteY21152" fmla="*/ 1136840 h 4687251"/>
              <a:gd name="connsiteX21153" fmla="*/ 3586366 w 8079933"/>
              <a:gd name="connsiteY21153" fmla="*/ 1138032 h 4687251"/>
              <a:gd name="connsiteX21154" fmla="*/ 3589839 w 8079933"/>
              <a:gd name="connsiteY21154" fmla="*/ 1137165 h 4687251"/>
              <a:gd name="connsiteX21155" fmla="*/ 3594288 w 8079933"/>
              <a:gd name="connsiteY21155" fmla="*/ 1144852 h 4687251"/>
              <a:gd name="connsiteX21156" fmla="*/ 3598954 w 8079933"/>
              <a:gd name="connsiteY21156" fmla="*/ 1145069 h 4687251"/>
              <a:gd name="connsiteX21157" fmla="*/ 3601559 w 8079933"/>
              <a:gd name="connsiteY21157" fmla="*/ 1139006 h 4687251"/>
              <a:gd name="connsiteX21158" fmla="*/ 3604380 w 8079933"/>
              <a:gd name="connsiteY21158" fmla="*/ 1135000 h 4687251"/>
              <a:gd name="connsiteX21159" fmla="*/ 3606876 w 8079933"/>
              <a:gd name="connsiteY21159" fmla="*/ 1136840 h 4687251"/>
              <a:gd name="connsiteX21160" fmla="*/ 3606985 w 8079933"/>
              <a:gd name="connsiteY21160" fmla="*/ 1140738 h 4687251"/>
              <a:gd name="connsiteX21161" fmla="*/ 3611651 w 8079933"/>
              <a:gd name="connsiteY21161" fmla="*/ 1138681 h 4687251"/>
              <a:gd name="connsiteX21162" fmla="*/ 3616317 w 8079933"/>
              <a:gd name="connsiteY21162" fmla="*/ 1138248 h 4687251"/>
              <a:gd name="connsiteX21163" fmla="*/ 3618053 w 8079933"/>
              <a:gd name="connsiteY21163" fmla="*/ 1134891 h 4687251"/>
              <a:gd name="connsiteX21164" fmla="*/ 3616208 w 8079933"/>
              <a:gd name="connsiteY21164" fmla="*/ 1130344 h 4687251"/>
              <a:gd name="connsiteX21165" fmla="*/ 3618379 w 8079933"/>
              <a:gd name="connsiteY21165" fmla="*/ 1126338 h 4687251"/>
              <a:gd name="connsiteX21166" fmla="*/ 3621200 w 8079933"/>
              <a:gd name="connsiteY21166" fmla="*/ 1127637 h 4687251"/>
              <a:gd name="connsiteX21167" fmla="*/ 3624890 w 8079933"/>
              <a:gd name="connsiteY21167" fmla="*/ 1125255 h 4687251"/>
              <a:gd name="connsiteX21168" fmla="*/ 3629447 w 8079933"/>
              <a:gd name="connsiteY21168" fmla="*/ 1126555 h 4687251"/>
              <a:gd name="connsiteX21169" fmla="*/ 3630207 w 8079933"/>
              <a:gd name="connsiteY21169" fmla="*/ 1130777 h 4687251"/>
              <a:gd name="connsiteX21170" fmla="*/ 3632486 w 8079933"/>
              <a:gd name="connsiteY21170" fmla="*/ 1133159 h 4687251"/>
              <a:gd name="connsiteX21171" fmla="*/ 3630641 w 8079933"/>
              <a:gd name="connsiteY21171" fmla="*/ 1135974 h 4687251"/>
              <a:gd name="connsiteX21172" fmla="*/ 3633679 w 8079933"/>
              <a:gd name="connsiteY21172" fmla="*/ 1140630 h 4687251"/>
              <a:gd name="connsiteX21173" fmla="*/ 3636500 w 8079933"/>
              <a:gd name="connsiteY21173" fmla="*/ 1140197 h 4687251"/>
              <a:gd name="connsiteX21174" fmla="*/ 3637912 w 8079933"/>
              <a:gd name="connsiteY21174" fmla="*/ 1136191 h 4687251"/>
              <a:gd name="connsiteX21175" fmla="*/ 3645508 w 8079933"/>
              <a:gd name="connsiteY21175" fmla="*/ 1129045 h 4687251"/>
              <a:gd name="connsiteX21176" fmla="*/ 3649197 w 8079933"/>
              <a:gd name="connsiteY21176" fmla="*/ 1128071 h 4687251"/>
              <a:gd name="connsiteX21177" fmla="*/ 3653972 w 8079933"/>
              <a:gd name="connsiteY21177" fmla="*/ 1130128 h 4687251"/>
              <a:gd name="connsiteX21178" fmla="*/ 3649523 w 8079933"/>
              <a:gd name="connsiteY21178" fmla="*/ 1131318 h 4687251"/>
              <a:gd name="connsiteX21179" fmla="*/ 3647352 w 8079933"/>
              <a:gd name="connsiteY21179" fmla="*/ 1133159 h 4687251"/>
              <a:gd name="connsiteX21180" fmla="*/ 3646810 w 8079933"/>
              <a:gd name="connsiteY21180" fmla="*/ 1136732 h 4687251"/>
              <a:gd name="connsiteX21181" fmla="*/ 3642578 w 8079933"/>
              <a:gd name="connsiteY21181" fmla="*/ 1138681 h 4687251"/>
              <a:gd name="connsiteX21182" fmla="*/ 3644423 w 8079933"/>
              <a:gd name="connsiteY21182" fmla="*/ 1143012 h 4687251"/>
              <a:gd name="connsiteX21183" fmla="*/ 3648329 w 8079933"/>
              <a:gd name="connsiteY21183" fmla="*/ 1144636 h 4687251"/>
              <a:gd name="connsiteX21184" fmla="*/ 3651476 w 8079933"/>
              <a:gd name="connsiteY21184" fmla="*/ 1142146 h 4687251"/>
              <a:gd name="connsiteX21185" fmla="*/ 3653864 w 8079933"/>
              <a:gd name="connsiteY21185" fmla="*/ 1143553 h 4687251"/>
              <a:gd name="connsiteX21186" fmla="*/ 3654623 w 8079933"/>
              <a:gd name="connsiteY21186" fmla="*/ 1149724 h 4687251"/>
              <a:gd name="connsiteX21187" fmla="*/ 3651042 w 8079933"/>
              <a:gd name="connsiteY21187" fmla="*/ 1150916 h 4687251"/>
              <a:gd name="connsiteX21188" fmla="*/ 3647678 w 8079933"/>
              <a:gd name="connsiteY21188" fmla="*/ 1155030 h 4687251"/>
              <a:gd name="connsiteX21189" fmla="*/ 3649414 w 8079933"/>
              <a:gd name="connsiteY21189" fmla="*/ 1159361 h 4687251"/>
              <a:gd name="connsiteX21190" fmla="*/ 3650825 w 8079933"/>
              <a:gd name="connsiteY21190" fmla="*/ 1158169 h 4687251"/>
              <a:gd name="connsiteX21191" fmla="*/ 3656142 w 8079933"/>
              <a:gd name="connsiteY21191" fmla="*/ 1158603 h 4687251"/>
              <a:gd name="connsiteX21192" fmla="*/ 3656794 w 8079933"/>
              <a:gd name="connsiteY21192" fmla="*/ 1162067 h 4687251"/>
              <a:gd name="connsiteX21193" fmla="*/ 3654297 w 8079933"/>
              <a:gd name="connsiteY21193" fmla="*/ 1166399 h 4687251"/>
              <a:gd name="connsiteX21194" fmla="*/ 3657227 w 8079933"/>
              <a:gd name="connsiteY21194" fmla="*/ 1164124 h 4687251"/>
              <a:gd name="connsiteX21195" fmla="*/ 3666777 w 8079933"/>
              <a:gd name="connsiteY21195" fmla="*/ 1164883 h 4687251"/>
              <a:gd name="connsiteX21196" fmla="*/ 3670792 w 8079933"/>
              <a:gd name="connsiteY21196" fmla="*/ 1168780 h 4687251"/>
              <a:gd name="connsiteX21197" fmla="*/ 3668513 w 8079933"/>
              <a:gd name="connsiteY21197" fmla="*/ 1172136 h 4687251"/>
              <a:gd name="connsiteX21198" fmla="*/ 3664823 w 8079933"/>
              <a:gd name="connsiteY21198" fmla="*/ 1172136 h 4687251"/>
              <a:gd name="connsiteX21199" fmla="*/ 3660591 w 8079933"/>
              <a:gd name="connsiteY21199" fmla="*/ 1174302 h 4687251"/>
              <a:gd name="connsiteX21200" fmla="*/ 3661025 w 8079933"/>
              <a:gd name="connsiteY21200" fmla="*/ 1178633 h 4687251"/>
              <a:gd name="connsiteX21201" fmla="*/ 3658421 w 8079933"/>
              <a:gd name="connsiteY21201" fmla="*/ 1180799 h 4687251"/>
              <a:gd name="connsiteX21202" fmla="*/ 3658530 w 8079933"/>
              <a:gd name="connsiteY21202" fmla="*/ 1185562 h 4687251"/>
              <a:gd name="connsiteX21203" fmla="*/ 3662870 w 8079933"/>
              <a:gd name="connsiteY21203" fmla="*/ 1190001 h 4687251"/>
              <a:gd name="connsiteX21204" fmla="*/ 3664173 w 8079933"/>
              <a:gd name="connsiteY21204" fmla="*/ 1194224 h 4687251"/>
              <a:gd name="connsiteX21205" fmla="*/ 3661568 w 8079933"/>
              <a:gd name="connsiteY21205" fmla="*/ 1199313 h 4687251"/>
              <a:gd name="connsiteX21206" fmla="*/ 3657662 w 8079933"/>
              <a:gd name="connsiteY21206" fmla="*/ 1199854 h 4687251"/>
              <a:gd name="connsiteX21207" fmla="*/ 3656902 w 8079933"/>
              <a:gd name="connsiteY21207" fmla="*/ 1196064 h 4687251"/>
              <a:gd name="connsiteX21208" fmla="*/ 3652778 w 8079933"/>
              <a:gd name="connsiteY21208" fmla="*/ 1193574 h 4687251"/>
              <a:gd name="connsiteX21209" fmla="*/ 3650934 w 8079933"/>
              <a:gd name="connsiteY21209" fmla="*/ 1195848 h 4687251"/>
              <a:gd name="connsiteX21210" fmla="*/ 3652996 w 8079933"/>
              <a:gd name="connsiteY21210" fmla="*/ 1201695 h 4687251"/>
              <a:gd name="connsiteX21211" fmla="*/ 3650174 w 8079933"/>
              <a:gd name="connsiteY21211" fmla="*/ 1202452 h 4687251"/>
              <a:gd name="connsiteX21212" fmla="*/ 3649631 w 8079933"/>
              <a:gd name="connsiteY21212" fmla="*/ 1205484 h 4687251"/>
              <a:gd name="connsiteX21213" fmla="*/ 3651151 w 8079933"/>
              <a:gd name="connsiteY21213" fmla="*/ 1207108 h 4687251"/>
              <a:gd name="connsiteX21214" fmla="*/ 3650499 w 8079933"/>
              <a:gd name="connsiteY21214" fmla="*/ 1210031 h 4687251"/>
              <a:gd name="connsiteX21215" fmla="*/ 3647135 w 8079933"/>
              <a:gd name="connsiteY21215" fmla="*/ 1213821 h 4687251"/>
              <a:gd name="connsiteX21216" fmla="*/ 3641167 w 8079933"/>
              <a:gd name="connsiteY21216" fmla="*/ 1211764 h 4687251"/>
              <a:gd name="connsiteX21217" fmla="*/ 3640082 w 8079933"/>
              <a:gd name="connsiteY21217" fmla="*/ 1208191 h 4687251"/>
              <a:gd name="connsiteX21218" fmla="*/ 3637912 w 8079933"/>
              <a:gd name="connsiteY21218" fmla="*/ 1207974 h 4687251"/>
              <a:gd name="connsiteX21219" fmla="*/ 3637260 w 8079933"/>
              <a:gd name="connsiteY21219" fmla="*/ 1211114 h 4687251"/>
              <a:gd name="connsiteX21220" fmla="*/ 3638345 w 8079933"/>
              <a:gd name="connsiteY21220" fmla="*/ 1213279 h 4687251"/>
              <a:gd name="connsiteX21221" fmla="*/ 3636067 w 8079933"/>
              <a:gd name="connsiteY21221" fmla="*/ 1216203 h 4687251"/>
              <a:gd name="connsiteX21222" fmla="*/ 3624130 w 8079933"/>
              <a:gd name="connsiteY21222" fmla="*/ 1218476 h 4687251"/>
              <a:gd name="connsiteX21223" fmla="*/ 3620332 w 8079933"/>
              <a:gd name="connsiteY21223" fmla="*/ 1223674 h 4687251"/>
              <a:gd name="connsiteX21224" fmla="*/ 3610348 w 8079933"/>
              <a:gd name="connsiteY21224" fmla="*/ 1232443 h 4687251"/>
              <a:gd name="connsiteX21225" fmla="*/ 3608286 w 8079933"/>
              <a:gd name="connsiteY21225" fmla="*/ 1233635 h 4687251"/>
              <a:gd name="connsiteX21226" fmla="*/ 3608395 w 8079933"/>
              <a:gd name="connsiteY21226" fmla="*/ 1232443 h 4687251"/>
              <a:gd name="connsiteX21227" fmla="*/ 3604380 w 8079933"/>
              <a:gd name="connsiteY21227" fmla="*/ 1232119 h 4687251"/>
              <a:gd name="connsiteX21228" fmla="*/ 3602861 w 8079933"/>
              <a:gd name="connsiteY21228" fmla="*/ 1232660 h 4687251"/>
              <a:gd name="connsiteX21229" fmla="*/ 3600582 w 8079933"/>
              <a:gd name="connsiteY21229" fmla="*/ 1231360 h 4687251"/>
              <a:gd name="connsiteX21230" fmla="*/ 3596241 w 8079933"/>
              <a:gd name="connsiteY21230" fmla="*/ 1236991 h 4687251"/>
              <a:gd name="connsiteX21231" fmla="*/ 3592552 w 8079933"/>
              <a:gd name="connsiteY21231" fmla="*/ 1237749 h 4687251"/>
              <a:gd name="connsiteX21232" fmla="*/ 3590707 w 8079933"/>
              <a:gd name="connsiteY21232" fmla="*/ 1240023 h 4687251"/>
              <a:gd name="connsiteX21233" fmla="*/ 3588971 w 8079933"/>
              <a:gd name="connsiteY21233" fmla="*/ 1237749 h 4687251"/>
              <a:gd name="connsiteX21234" fmla="*/ 3591249 w 8079933"/>
              <a:gd name="connsiteY21234" fmla="*/ 1234825 h 4687251"/>
              <a:gd name="connsiteX21235" fmla="*/ 3585064 w 8079933"/>
              <a:gd name="connsiteY21235" fmla="*/ 1235475 h 4687251"/>
              <a:gd name="connsiteX21236" fmla="*/ 3584630 w 8079933"/>
              <a:gd name="connsiteY21236" fmla="*/ 1241321 h 4687251"/>
              <a:gd name="connsiteX21237" fmla="*/ 3579530 w 8079933"/>
              <a:gd name="connsiteY21237" fmla="*/ 1246302 h 4687251"/>
              <a:gd name="connsiteX21238" fmla="*/ 3574212 w 8079933"/>
              <a:gd name="connsiteY21238" fmla="*/ 1244895 h 4687251"/>
              <a:gd name="connsiteX21239" fmla="*/ 3572910 w 8079933"/>
              <a:gd name="connsiteY21239" fmla="*/ 1242080 h 4687251"/>
              <a:gd name="connsiteX21240" fmla="*/ 3571391 w 8079933"/>
              <a:gd name="connsiteY21240" fmla="*/ 1244245 h 4687251"/>
              <a:gd name="connsiteX21241" fmla="*/ 3572259 w 8079933"/>
              <a:gd name="connsiteY21241" fmla="*/ 1249550 h 4687251"/>
              <a:gd name="connsiteX21242" fmla="*/ 3565857 w 8079933"/>
              <a:gd name="connsiteY21242" fmla="*/ 1251499 h 4687251"/>
              <a:gd name="connsiteX21243" fmla="*/ 3561950 w 8079933"/>
              <a:gd name="connsiteY21243" fmla="*/ 1249875 h 4687251"/>
              <a:gd name="connsiteX21244" fmla="*/ 3551966 w 8079933"/>
              <a:gd name="connsiteY21244" fmla="*/ 1250092 h 4687251"/>
              <a:gd name="connsiteX21245" fmla="*/ 3544370 w 8079933"/>
              <a:gd name="connsiteY21245" fmla="*/ 1242946 h 4687251"/>
              <a:gd name="connsiteX21246" fmla="*/ 3539921 w 8079933"/>
              <a:gd name="connsiteY21246" fmla="*/ 1242513 h 4687251"/>
              <a:gd name="connsiteX21247" fmla="*/ 3536123 w 8079933"/>
              <a:gd name="connsiteY21247" fmla="*/ 1245760 h 4687251"/>
              <a:gd name="connsiteX21248" fmla="*/ 3532325 w 8079933"/>
              <a:gd name="connsiteY21248" fmla="*/ 1243920 h 4687251"/>
              <a:gd name="connsiteX21249" fmla="*/ 3527008 w 8079933"/>
              <a:gd name="connsiteY21249" fmla="*/ 1238615 h 4687251"/>
              <a:gd name="connsiteX21250" fmla="*/ 3527441 w 8079933"/>
              <a:gd name="connsiteY21250" fmla="*/ 1233635 h 4687251"/>
              <a:gd name="connsiteX21251" fmla="*/ 3522450 w 8079933"/>
              <a:gd name="connsiteY21251" fmla="*/ 1235366 h 4687251"/>
              <a:gd name="connsiteX21252" fmla="*/ 3519520 w 8079933"/>
              <a:gd name="connsiteY21252" fmla="*/ 1234501 h 4687251"/>
              <a:gd name="connsiteX21253" fmla="*/ 3518652 w 8079933"/>
              <a:gd name="connsiteY21253" fmla="*/ 1231794 h 4687251"/>
              <a:gd name="connsiteX21254" fmla="*/ 3515071 w 8079933"/>
              <a:gd name="connsiteY21254" fmla="*/ 1234068 h 4687251"/>
              <a:gd name="connsiteX21255" fmla="*/ 3510296 w 8079933"/>
              <a:gd name="connsiteY21255" fmla="*/ 1231469 h 4687251"/>
              <a:gd name="connsiteX21256" fmla="*/ 3504653 w 8079933"/>
              <a:gd name="connsiteY21256" fmla="*/ 1235800 h 4687251"/>
              <a:gd name="connsiteX21257" fmla="*/ 3496840 w 8079933"/>
              <a:gd name="connsiteY21257" fmla="*/ 1234825 h 4687251"/>
              <a:gd name="connsiteX21258" fmla="*/ 3493151 w 8079933"/>
              <a:gd name="connsiteY21258" fmla="*/ 1232660 h 4687251"/>
              <a:gd name="connsiteX21259" fmla="*/ 3491631 w 8079933"/>
              <a:gd name="connsiteY21259" fmla="*/ 1234501 h 4687251"/>
              <a:gd name="connsiteX21260" fmla="*/ 3485988 w 8079933"/>
              <a:gd name="connsiteY21260" fmla="*/ 1234501 h 4687251"/>
              <a:gd name="connsiteX21261" fmla="*/ 3486639 w 8079933"/>
              <a:gd name="connsiteY21261" fmla="*/ 1226813 h 4687251"/>
              <a:gd name="connsiteX21262" fmla="*/ 3488376 w 8079933"/>
              <a:gd name="connsiteY21262" fmla="*/ 1225514 h 4687251"/>
              <a:gd name="connsiteX21263" fmla="*/ 3486097 w 8079933"/>
              <a:gd name="connsiteY21263" fmla="*/ 1224431 h 4687251"/>
              <a:gd name="connsiteX21264" fmla="*/ 3485120 w 8079933"/>
              <a:gd name="connsiteY21264" fmla="*/ 1218801 h 4687251"/>
              <a:gd name="connsiteX21265" fmla="*/ 3486857 w 8079933"/>
              <a:gd name="connsiteY21265" fmla="*/ 1218801 h 4687251"/>
              <a:gd name="connsiteX21266" fmla="*/ 3486965 w 8079933"/>
              <a:gd name="connsiteY21266" fmla="*/ 1216744 h 4687251"/>
              <a:gd name="connsiteX21267" fmla="*/ 3490980 w 8079933"/>
              <a:gd name="connsiteY21267" fmla="*/ 1219451 h 4687251"/>
              <a:gd name="connsiteX21268" fmla="*/ 3492391 w 8079933"/>
              <a:gd name="connsiteY21268" fmla="*/ 1222482 h 4687251"/>
              <a:gd name="connsiteX21269" fmla="*/ 3495429 w 8079933"/>
              <a:gd name="connsiteY21269" fmla="*/ 1220750 h 4687251"/>
              <a:gd name="connsiteX21270" fmla="*/ 3498034 w 8079933"/>
              <a:gd name="connsiteY21270" fmla="*/ 1221399 h 4687251"/>
              <a:gd name="connsiteX21271" fmla="*/ 3500312 w 8079933"/>
              <a:gd name="connsiteY21271" fmla="*/ 1218585 h 4687251"/>
              <a:gd name="connsiteX21272" fmla="*/ 3500530 w 8079933"/>
              <a:gd name="connsiteY21272" fmla="*/ 1215337 h 4687251"/>
              <a:gd name="connsiteX21273" fmla="*/ 3504979 w 8079933"/>
              <a:gd name="connsiteY21273" fmla="*/ 1215228 h 4687251"/>
              <a:gd name="connsiteX21274" fmla="*/ 3508343 w 8079933"/>
              <a:gd name="connsiteY21274" fmla="*/ 1212305 h 4687251"/>
              <a:gd name="connsiteX21275" fmla="*/ 3513009 w 8079933"/>
              <a:gd name="connsiteY21275" fmla="*/ 1210681 h 4687251"/>
              <a:gd name="connsiteX21276" fmla="*/ 3516047 w 8079933"/>
              <a:gd name="connsiteY21276" fmla="*/ 1212522 h 4687251"/>
              <a:gd name="connsiteX21277" fmla="*/ 3514854 w 8079933"/>
              <a:gd name="connsiteY21277" fmla="*/ 1209815 h 4687251"/>
              <a:gd name="connsiteX21278" fmla="*/ 3509753 w 8079933"/>
              <a:gd name="connsiteY21278" fmla="*/ 1208191 h 4687251"/>
              <a:gd name="connsiteX21279" fmla="*/ 3503243 w 8079933"/>
              <a:gd name="connsiteY21279" fmla="*/ 1213388 h 4687251"/>
              <a:gd name="connsiteX21280" fmla="*/ 3499662 w 8079933"/>
              <a:gd name="connsiteY21280" fmla="*/ 1210789 h 4687251"/>
              <a:gd name="connsiteX21281" fmla="*/ 3501940 w 8079933"/>
              <a:gd name="connsiteY21281" fmla="*/ 1207325 h 4687251"/>
              <a:gd name="connsiteX21282" fmla="*/ 3506281 w 8079933"/>
              <a:gd name="connsiteY21282" fmla="*/ 1204185 h 4687251"/>
              <a:gd name="connsiteX21283" fmla="*/ 3507258 w 8079933"/>
              <a:gd name="connsiteY21283" fmla="*/ 1201153 h 4687251"/>
              <a:gd name="connsiteX21284" fmla="*/ 3501289 w 8079933"/>
              <a:gd name="connsiteY21284" fmla="*/ 1205268 h 4687251"/>
              <a:gd name="connsiteX21285" fmla="*/ 3498468 w 8079933"/>
              <a:gd name="connsiteY21285" fmla="*/ 1205809 h 4687251"/>
              <a:gd name="connsiteX21286" fmla="*/ 3497491 w 8079933"/>
              <a:gd name="connsiteY21286" fmla="*/ 1202669 h 4687251"/>
              <a:gd name="connsiteX21287" fmla="*/ 3493151 w 8079933"/>
              <a:gd name="connsiteY21287" fmla="*/ 1199638 h 4687251"/>
              <a:gd name="connsiteX21288" fmla="*/ 3493259 w 8079933"/>
              <a:gd name="connsiteY21288" fmla="*/ 1197147 h 4687251"/>
              <a:gd name="connsiteX21289" fmla="*/ 3496406 w 8079933"/>
              <a:gd name="connsiteY21289" fmla="*/ 1195090 h 4687251"/>
              <a:gd name="connsiteX21290" fmla="*/ 3496732 w 8079933"/>
              <a:gd name="connsiteY21290" fmla="*/ 1192925 h 4687251"/>
              <a:gd name="connsiteX21291" fmla="*/ 3491631 w 8079933"/>
              <a:gd name="connsiteY21291" fmla="*/ 1192491 h 4687251"/>
              <a:gd name="connsiteX21292" fmla="*/ 3482625 w 8079933"/>
              <a:gd name="connsiteY21292" fmla="*/ 1193141 h 4687251"/>
              <a:gd name="connsiteX21293" fmla="*/ 3474920 w 8079933"/>
              <a:gd name="connsiteY21293" fmla="*/ 1191084 h 4687251"/>
              <a:gd name="connsiteX21294" fmla="*/ 3474920 w 8079933"/>
              <a:gd name="connsiteY21294" fmla="*/ 1192600 h 4687251"/>
              <a:gd name="connsiteX21295" fmla="*/ 3468734 w 8079933"/>
              <a:gd name="connsiteY21295" fmla="*/ 1192167 h 4687251"/>
              <a:gd name="connsiteX21296" fmla="*/ 3466890 w 8079933"/>
              <a:gd name="connsiteY21296" fmla="*/ 1187944 h 4687251"/>
              <a:gd name="connsiteX21297" fmla="*/ 3463634 w 8079933"/>
              <a:gd name="connsiteY21297" fmla="*/ 1182856 h 4687251"/>
              <a:gd name="connsiteX21298" fmla="*/ 3465913 w 8079933"/>
              <a:gd name="connsiteY21298" fmla="*/ 1183180 h 4687251"/>
              <a:gd name="connsiteX21299" fmla="*/ 3469168 w 8079933"/>
              <a:gd name="connsiteY21299" fmla="*/ 1181881 h 4687251"/>
              <a:gd name="connsiteX21300" fmla="*/ 3473943 w 8079933"/>
              <a:gd name="connsiteY21300" fmla="*/ 1183722 h 4687251"/>
              <a:gd name="connsiteX21301" fmla="*/ 3478067 w 8079933"/>
              <a:gd name="connsiteY21301" fmla="*/ 1181664 h 4687251"/>
              <a:gd name="connsiteX21302" fmla="*/ 3482082 w 8079933"/>
              <a:gd name="connsiteY21302" fmla="*/ 1181340 h 4687251"/>
              <a:gd name="connsiteX21303" fmla="*/ 3484903 w 8079933"/>
              <a:gd name="connsiteY21303" fmla="*/ 1182856 h 4687251"/>
              <a:gd name="connsiteX21304" fmla="*/ 3488593 w 8079933"/>
              <a:gd name="connsiteY21304" fmla="*/ 1180257 h 4687251"/>
              <a:gd name="connsiteX21305" fmla="*/ 3487725 w 8079933"/>
              <a:gd name="connsiteY21305" fmla="*/ 1178308 h 4687251"/>
              <a:gd name="connsiteX21306" fmla="*/ 3488484 w 8079933"/>
              <a:gd name="connsiteY21306" fmla="*/ 1177117 h 4687251"/>
              <a:gd name="connsiteX21307" fmla="*/ 3490871 w 8079933"/>
              <a:gd name="connsiteY21307" fmla="*/ 1177875 h 4687251"/>
              <a:gd name="connsiteX21308" fmla="*/ 3490980 w 8079933"/>
              <a:gd name="connsiteY21308" fmla="*/ 1179824 h 4687251"/>
              <a:gd name="connsiteX21309" fmla="*/ 3492391 w 8079933"/>
              <a:gd name="connsiteY21309" fmla="*/ 1181340 h 4687251"/>
              <a:gd name="connsiteX21310" fmla="*/ 3494344 w 8079933"/>
              <a:gd name="connsiteY21310" fmla="*/ 1183613 h 4687251"/>
              <a:gd name="connsiteX21311" fmla="*/ 3498142 w 8079933"/>
              <a:gd name="connsiteY21311" fmla="*/ 1180040 h 4687251"/>
              <a:gd name="connsiteX21312" fmla="*/ 3500855 w 8079933"/>
              <a:gd name="connsiteY21312" fmla="*/ 1180799 h 4687251"/>
              <a:gd name="connsiteX21313" fmla="*/ 3509103 w 8079933"/>
              <a:gd name="connsiteY21313" fmla="*/ 1179824 h 4687251"/>
              <a:gd name="connsiteX21314" fmla="*/ 3511816 w 8079933"/>
              <a:gd name="connsiteY21314" fmla="*/ 1176142 h 4687251"/>
              <a:gd name="connsiteX21315" fmla="*/ 3512033 w 8079933"/>
              <a:gd name="connsiteY21315" fmla="*/ 1172353 h 4687251"/>
              <a:gd name="connsiteX21316" fmla="*/ 3509320 w 8079933"/>
              <a:gd name="connsiteY21316" fmla="*/ 1173436 h 4687251"/>
              <a:gd name="connsiteX21317" fmla="*/ 3507583 w 8079933"/>
              <a:gd name="connsiteY21317" fmla="*/ 1176359 h 4687251"/>
              <a:gd name="connsiteX21318" fmla="*/ 3503243 w 8079933"/>
              <a:gd name="connsiteY21318" fmla="*/ 1177009 h 4687251"/>
              <a:gd name="connsiteX21319" fmla="*/ 3495321 w 8079933"/>
              <a:gd name="connsiteY21319" fmla="*/ 1174735 h 4687251"/>
              <a:gd name="connsiteX21320" fmla="*/ 3495755 w 8079933"/>
              <a:gd name="connsiteY21320" fmla="*/ 1173003 h 4687251"/>
              <a:gd name="connsiteX21321" fmla="*/ 3501940 w 8079933"/>
              <a:gd name="connsiteY21321" fmla="*/ 1170296 h 4687251"/>
              <a:gd name="connsiteX21322" fmla="*/ 3505847 w 8079933"/>
              <a:gd name="connsiteY21322" fmla="*/ 1169971 h 4687251"/>
              <a:gd name="connsiteX21323" fmla="*/ 3509211 w 8079933"/>
              <a:gd name="connsiteY21323" fmla="*/ 1167481 h 4687251"/>
              <a:gd name="connsiteX21324" fmla="*/ 3511924 w 8079933"/>
              <a:gd name="connsiteY21324" fmla="*/ 1167481 h 4687251"/>
              <a:gd name="connsiteX21325" fmla="*/ 3514637 w 8079933"/>
              <a:gd name="connsiteY21325" fmla="*/ 1166290 h 4687251"/>
              <a:gd name="connsiteX21326" fmla="*/ 3509645 w 8079933"/>
              <a:gd name="connsiteY21326" fmla="*/ 1163367 h 4687251"/>
              <a:gd name="connsiteX21327" fmla="*/ 3506390 w 8079933"/>
              <a:gd name="connsiteY21327" fmla="*/ 1166073 h 4687251"/>
              <a:gd name="connsiteX21328" fmla="*/ 3504328 w 8079933"/>
              <a:gd name="connsiteY21328" fmla="*/ 1164450 h 4687251"/>
              <a:gd name="connsiteX21329" fmla="*/ 3505847 w 8079933"/>
              <a:gd name="connsiteY21329" fmla="*/ 1160660 h 4687251"/>
              <a:gd name="connsiteX21330" fmla="*/ 3506173 w 8079933"/>
              <a:gd name="connsiteY21330" fmla="*/ 1158495 h 4687251"/>
              <a:gd name="connsiteX21331" fmla="*/ 3501289 w 8079933"/>
              <a:gd name="connsiteY21331" fmla="*/ 1162393 h 4687251"/>
              <a:gd name="connsiteX21332" fmla="*/ 3499878 w 8079933"/>
              <a:gd name="connsiteY21332" fmla="*/ 1162501 h 4687251"/>
              <a:gd name="connsiteX21333" fmla="*/ 3499444 w 8079933"/>
              <a:gd name="connsiteY21333" fmla="*/ 1157736 h 4687251"/>
              <a:gd name="connsiteX21334" fmla="*/ 3498250 w 8079933"/>
              <a:gd name="connsiteY21334" fmla="*/ 1160227 h 4687251"/>
              <a:gd name="connsiteX21335" fmla="*/ 3494452 w 8079933"/>
              <a:gd name="connsiteY21335" fmla="*/ 1163258 h 4687251"/>
              <a:gd name="connsiteX21336" fmla="*/ 3492499 w 8079933"/>
              <a:gd name="connsiteY21336" fmla="*/ 1163258 h 4687251"/>
              <a:gd name="connsiteX21337" fmla="*/ 3491631 w 8079933"/>
              <a:gd name="connsiteY21337" fmla="*/ 1158711 h 4687251"/>
              <a:gd name="connsiteX21338" fmla="*/ 3488593 w 8079933"/>
              <a:gd name="connsiteY21338" fmla="*/ 1160660 h 4687251"/>
              <a:gd name="connsiteX21339" fmla="*/ 3485988 w 8079933"/>
              <a:gd name="connsiteY21339" fmla="*/ 1160660 h 4687251"/>
              <a:gd name="connsiteX21340" fmla="*/ 3485880 w 8079933"/>
              <a:gd name="connsiteY21340" fmla="*/ 1158278 h 4687251"/>
              <a:gd name="connsiteX21341" fmla="*/ 3484361 w 8079933"/>
              <a:gd name="connsiteY21341" fmla="*/ 1155896 h 4687251"/>
              <a:gd name="connsiteX21342" fmla="*/ 3482190 w 8079933"/>
              <a:gd name="connsiteY21342" fmla="*/ 1160010 h 4687251"/>
              <a:gd name="connsiteX21343" fmla="*/ 3476982 w 8079933"/>
              <a:gd name="connsiteY21343" fmla="*/ 1161526 h 4687251"/>
              <a:gd name="connsiteX21344" fmla="*/ 3474052 w 8079933"/>
              <a:gd name="connsiteY21344" fmla="*/ 1166181 h 4687251"/>
              <a:gd name="connsiteX21345" fmla="*/ 3468192 w 8079933"/>
              <a:gd name="connsiteY21345" fmla="*/ 1164991 h 4687251"/>
              <a:gd name="connsiteX21346" fmla="*/ 3464177 w 8079933"/>
              <a:gd name="connsiteY21346" fmla="*/ 1160660 h 4687251"/>
              <a:gd name="connsiteX21347" fmla="*/ 3459185 w 8079933"/>
              <a:gd name="connsiteY21347" fmla="*/ 1158603 h 4687251"/>
              <a:gd name="connsiteX21348" fmla="*/ 3461680 w 8079933"/>
              <a:gd name="connsiteY21348" fmla="*/ 1153947 h 4687251"/>
              <a:gd name="connsiteX21349" fmla="*/ 3465696 w 8079933"/>
              <a:gd name="connsiteY21349" fmla="*/ 1155138 h 4687251"/>
              <a:gd name="connsiteX21350" fmla="*/ 3469711 w 8079933"/>
              <a:gd name="connsiteY21350" fmla="*/ 1160552 h 4687251"/>
              <a:gd name="connsiteX21351" fmla="*/ 3471556 w 8079933"/>
              <a:gd name="connsiteY21351" fmla="*/ 1159794 h 4687251"/>
              <a:gd name="connsiteX21352" fmla="*/ 3469711 w 8079933"/>
              <a:gd name="connsiteY21352" fmla="*/ 1156438 h 4687251"/>
              <a:gd name="connsiteX21353" fmla="*/ 3466781 w 8079933"/>
              <a:gd name="connsiteY21353" fmla="*/ 1151024 h 4687251"/>
              <a:gd name="connsiteX21354" fmla="*/ 3469060 w 8079933"/>
              <a:gd name="connsiteY21354" fmla="*/ 1148642 h 4687251"/>
              <a:gd name="connsiteX21355" fmla="*/ 3471121 w 8079933"/>
              <a:gd name="connsiteY21355" fmla="*/ 1149075 h 4687251"/>
              <a:gd name="connsiteX21356" fmla="*/ 3477850 w 8079933"/>
              <a:gd name="connsiteY21356" fmla="*/ 1155246 h 4687251"/>
              <a:gd name="connsiteX21357" fmla="*/ 3479260 w 8079933"/>
              <a:gd name="connsiteY21357" fmla="*/ 1154922 h 4687251"/>
              <a:gd name="connsiteX21358" fmla="*/ 3478175 w 8079933"/>
              <a:gd name="connsiteY21358" fmla="*/ 1152214 h 4687251"/>
              <a:gd name="connsiteX21359" fmla="*/ 3479477 w 8079933"/>
              <a:gd name="connsiteY21359" fmla="*/ 1151132 h 4687251"/>
              <a:gd name="connsiteX21360" fmla="*/ 3482516 w 8079933"/>
              <a:gd name="connsiteY21360" fmla="*/ 1150591 h 4687251"/>
              <a:gd name="connsiteX21361" fmla="*/ 3476222 w 8079933"/>
              <a:gd name="connsiteY21361" fmla="*/ 1148750 h 4687251"/>
              <a:gd name="connsiteX21362" fmla="*/ 3473618 w 8079933"/>
              <a:gd name="connsiteY21362" fmla="*/ 1144961 h 4687251"/>
              <a:gd name="connsiteX21363" fmla="*/ 3477850 w 8079933"/>
              <a:gd name="connsiteY21363" fmla="*/ 1143228 h 4687251"/>
              <a:gd name="connsiteX21364" fmla="*/ 3482190 w 8079933"/>
              <a:gd name="connsiteY21364" fmla="*/ 1144961 h 4687251"/>
              <a:gd name="connsiteX21365" fmla="*/ 3480562 w 8079933"/>
              <a:gd name="connsiteY21365" fmla="*/ 1142579 h 4687251"/>
              <a:gd name="connsiteX21366" fmla="*/ 3477850 w 8079933"/>
              <a:gd name="connsiteY21366" fmla="*/ 1140955 h 4687251"/>
              <a:gd name="connsiteX21367" fmla="*/ 3475137 w 8079933"/>
              <a:gd name="connsiteY21367" fmla="*/ 1137490 h 4687251"/>
              <a:gd name="connsiteX21368" fmla="*/ 3476331 w 8079933"/>
              <a:gd name="connsiteY21368" fmla="*/ 1134675 h 4687251"/>
              <a:gd name="connsiteX21369" fmla="*/ 3480129 w 8079933"/>
              <a:gd name="connsiteY21369" fmla="*/ 1135866 h 4687251"/>
              <a:gd name="connsiteX21370" fmla="*/ 3482950 w 8079933"/>
              <a:gd name="connsiteY21370" fmla="*/ 1139980 h 4687251"/>
              <a:gd name="connsiteX21371" fmla="*/ 3483926 w 8079933"/>
              <a:gd name="connsiteY21371" fmla="*/ 1137490 h 4687251"/>
              <a:gd name="connsiteX21372" fmla="*/ 3480562 w 8079933"/>
              <a:gd name="connsiteY21372" fmla="*/ 1133051 h 4687251"/>
              <a:gd name="connsiteX21373" fmla="*/ 3483926 w 8079933"/>
              <a:gd name="connsiteY21373" fmla="*/ 1130994 h 4687251"/>
              <a:gd name="connsiteX21374" fmla="*/ 3488593 w 8079933"/>
              <a:gd name="connsiteY21374" fmla="*/ 1132943 h 4687251"/>
              <a:gd name="connsiteX21375" fmla="*/ 3492391 w 8079933"/>
              <a:gd name="connsiteY21375" fmla="*/ 1137814 h 4687251"/>
              <a:gd name="connsiteX21376" fmla="*/ 3491089 w 8079933"/>
              <a:gd name="connsiteY21376" fmla="*/ 1140738 h 4687251"/>
              <a:gd name="connsiteX21377" fmla="*/ 3493802 w 8079933"/>
              <a:gd name="connsiteY21377" fmla="*/ 1141604 h 4687251"/>
              <a:gd name="connsiteX21378" fmla="*/ 3497057 w 8079933"/>
              <a:gd name="connsiteY21378" fmla="*/ 1138681 h 4687251"/>
              <a:gd name="connsiteX21379" fmla="*/ 3501940 w 8079933"/>
              <a:gd name="connsiteY21379" fmla="*/ 1142038 h 4687251"/>
              <a:gd name="connsiteX21380" fmla="*/ 3501940 w 8079933"/>
              <a:gd name="connsiteY21380" fmla="*/ 1144961 h 4687251"/>
              <a:gd name="connsiteX21381" fmla="*/ 3504111 w 8079933"/>
              <a:gd name="connsiteY21381" fmla="*/ 1144528 h 4687251"/>
              <a:gd name="connsiteX21382" fmla="*/ 3505304 w 8079933"/>
              <a:gd name="connsiteY21382" fmla="*/ 1141171 h 4687251"/>
              <a:gd name="connsiteX21383" fmla="*/ 3500964 w 8079933"/>
              <a:gd name="connsiteY21383" fmla="*/ 1135974 h 4687251"/>
              <a:gd name="connsiteX21384" fmla="*/ 3494452 w 8079933"/>
              <a:gd name="connsiteY21384" fmla="*/ 1131643 h 4687251"/>
              <a:gd name="connsiteX21385" fmla="*/ 3493802 w 8079933"/>
              <a:gd name="connsiteY21385" fmla="*/ 1130128 h 4687251"/>
              <a:gd name="connsiteX21386" fmla="*/ 3498034 w 8079933"/>
              <a:gd name="connsiteY21386" fmla="*/ 1130020 h 4687251"/>
              <a:gd name="connsiteX21387" fmla="*/ 3502266 w 8079933"/>
              <a:gd name="connsiteY21387" fmla="*/ 1131318 h 4687251"/>
              <a:gd name="connsiteX21388" fmla="*/ 3504219 w 8079933"/>
              <a:gd name="connsiteY21388" fmla="*/ 1129045 h 4687251"/>
              <a:gd name="connsiteX21389" fmla="*/ 3500312 w 8079933"/>
              <a:gd name="connsiteY21389" fmla="*/ 1127746 h 4687251"/>
              <a:gd name="connsiteX21390" fmla="*/ 3497600 w 8079933"/>
              <a:gd name="connsiteY21390" fmla="*/ 1125905 h 4687251"/>
              <a:gd name="connsiteX21391" fmla="*/ 3494127 w 8079933"/>
              <a:gd name="connsiteY21391" fmla="*/ 1125797 h 4687251"/>
              <a:gd name="connsiteX21392" fmla="*/ 3493584 w 8079933"/>
              <a:gd name="connsiteY21392" fmla="*/ 1127853 h 4687251"/>
              <a:gd name="connsiteX21393" fmla="*/ 3490763 w 8079933"/>
              <a:gd name="connsiteY21393" fmla="*/ 1128071 h 4687251"/>
              <a:gd name="connsiteX21394" fmla="*/ 3488810 w 8079933"/>
              <a:gd name="connsiteY21394" fmla="*/ 1125147 h 4687251"/>
              <a:gd name="connsiteX21395" fmla="*/ 3489461 w 8079933"/>
              <a:gd name="connsiteY21395" fmla="*/ 1123198 h 4687251"/>
              <a:gd name="connsiteX21396" fmla="*/ 1119239 w 8079933"/>
              <a:gd name="connsiteY21396" fmla="*/ 1122116 h 4687251"/>
              <a:gd name="connsiteX21397" fmla="*/ 1115184 w 8079933"/>
              <a:gd name="connsiteY21397" fmla="*/ 1122358 h 4687251"/>
              <a:gd name="connsiteX21398" fmla="*/ 1119240 w 8079933"/>
              <a:gd name="connsiteY21398" fmla="*/ 1122116 h 4687251"/>
              <a:gd name="connsiteX21399" fmla="*/ 2901299 w 8079933"/>
              <a:gd name="connsiteY21399" fmla="*/ 1120925 h 4687251"/>
              <a:gd name="connsiteX21400" fmla="*/ 2902928 w 8079933"/>
              <a:gd name="connsiteY21400" fmla="*/ 1121250 h 4687251"/>
              <a:gd name="connsiteX21401" fmla="*/ 2903579 w 8079933"/>
              <a:gd name="connsiteY21401" fmla="*/ 1123199 h 4687251"/>
              <a:gd name="connsiteX21402" fmla="*/ 2899672 w 8079933"/>
              <a:gd name="connsiteY21402" fmla="*/ 1124282 h 4687251"/>
              <a:gd name="connsiteX21403" fmla="*/ 2898153 w 8079933"/>
              <a:gd name="connsiteY21403" fmla="*/ 1124065 h 4687251"/>
              <a:gd name="connsiteX21404" fmla="*/ 2899998 w 8079933"/>
              <a:gd name="connsiteY21404" fmla="*/ 1121250 h 4687251"/>
              <a:gd name="connsiteX21405" fmla="*/ 705901 w 8079933"/>
              <a:gd name="connsiteY21405" fmla="*/ 1120383 h 4687251"/>
              <a:gd name="connsiteX21406" fmla="*/ 710025 w 8079933"/>
              <a:gd name="connsiteY21406" fmla="*/ 1123306 h 4687251"/>
              <a:gd name="connsiteX21407" fmla="*/ 710025 w 8079933"/>
              <a:gd name="connsiteY21407" fmla="*/ 1126879 h 4687251"/>
              <a:gd name="connsiteX21408" fmla="*/ 707854 w 8079933"/>
              <a:gd name="connsiteY21408" fmla="*/ 1128503 h 4687251"/>
              <a:gd name="connsiteX21409" fmla="*/ 707854 w 8079933"/>
              <a:gd name="connsiteY21409" fmla="*/ 1130236 h 4687251"/>
              <a:gd name="connsiteX21410" fmla="*/ 710568 w 8079933"/>
              <a:gd name="connsiteY21410" fmla="*/ 1130993 h 4687251"/>
              <a:gd name="connsiteX21411" fmla="*/ 714908 w 8079933"/>
              <a:gd name="connsiteY21411" fmla="*/ 1125905 h 4687251"/>
              <a:gd name="connsiteX21412" fmla="*/ 719142 w 8079933"/>
              <a:gd name="connsiteY21412" fmla="*/ 1125038 h 4687251"/>
              <a:gd name="connsiteX21413" fmla="*/ 722287 w 8079933"/>
              <a:gd name="connsiteY21413" fmla="*/ 1126121 h 4687251"/>
              <a:gd name="connsiteX21414" fmla="*/ 724240 w 8079933"/>
              <a:gd name="connsiteY21414" fmla="*/ 1131101 h 4687251"/>
              <a:gd name="connsiteX21415" fmla="*/ 720117 w 8079933"/>
              <a:gd name="connsiteY21415" fmla="*/ 1132293 h 4687251"/>
              <a:gd name="connsiteX21416" fmla="*/ 715776 w 8079933"/>
              <a:gd name="connsiteY21416" fmla="*/ 1132293 h 4687251"/>
              <a:gd name="connsiteX21417" fmla="*/ 715560 w 8079933"/>
              <a:gd name="connsiteY21417" fmla="*/ 1135107 h 4687251"/>
              <a:gd name="connsiteX21418" fmla="*/ 717838 w 8079933"/>
              <a:gd name="connsiteY21418" fmla="*/ 1136515 h 4687251"/>
              <a:gd name="connsiteX21419" fmla="*/ 719250 w 8079933"/>
              <a:gd name="connsiteY21419" fmla="*/ 1139655 h 4687251"/>
              <a:gd name="connsiteX21420" fmla="*/ 716103 w 8079933"/>
              <a:gd name="connsiteY21420" fmla="*/ 1144636 h 4687251"/>
              <a:gd name="connsiteX21421" fmla="*/ 712521 w 8079933"/>
              <a:gd name="connsiteY21421" fmla="*/ 1144094 h 4687251"/>
              <a:gd name="connsiteX21422" fmla="*/ 711327 w 8079933"/>
              <a:gd name="connsiteY21422" fmla="*/ 1141820 h 4687251"/>
              <a:gd name="connsiteX21423" fmla="*/ 708289 w 8079933"/>
              <a:gd name="connsiteY21423" fmla="*/ 1142903 h 4687251"/>
              <a:gd name="connsiteX21424" fmla="*/ 705141 w 8079933"/>
              <a:gd name="connsiteY21424" fmla="*/ 1141279 h 4687251"/>
              <a:gd name="connsiteX21425" fmla="*/ 701562 w 8079933"/>
              <a:gd name="connsiteY21425" fmla="*/ 1141712 h 4687251"/>
              <a:gd name="connsiteX21426" fmla="*/ 699390 w 8079933"/>
              <a:gd name="connsiteY21426" fmla="*/ 1143986 h 4687251"/>
              <a:gd name="connsiteX21427" fmla="*/ 703950 w 8079933"/>
              <a:gd name="connsiteY21427" fmla="*/ 1145068 h 4687251"/>
              <a:gd name="connsiteX21428" fmla="*/ 706228 w 8079933"/>
              <a:gd name="connsiteY21428" fmla="*/ 1150049 h 4687251"/>
              <a:gd name="connsiteX21429" fmla="*/ 703405 w 8079933"/>
              <a:gd name="connsiteY21429" fmla="*/ 1154164 h 4687251"/>
              <a:gd name="connsiteX21430" fmla="*/ 699718 w 8079933"/>
              <a:gd name="connsiteY21430" fmla="*/ 1153838 h 4687251"/>
              <a:gd name="connsiteX21431" fmla="*/ 696896 w 8079933"/>
              <a:gd name="connsiteY21431" fmla="*/ 1149183 h 4687251"/>
              <a:gd name="connsiteX21432" fmla="*/ 690928 w 8079933"/>
              <a:gd name="connsiteY21432" fmla="*/ 1148750 h 4687251"/>
              <a:gd name="connsiteX21433" fmla="*/ 687345 w 8079933"/>
              <a:gd name="connsiteY21433" fmla="*/ 1150158 h 4687251"/>
              <a:gd name="connsiteX21434" fmla="*/ 692228 w 8079933"/>
              <a:gd name="connsiteY21434" fmla="*/ 1152323 h 4687251"/>
              <a:gd name="connsiteX21435" fmla="*/ 693530 w 8079933"/>
              <a:gd name="connsiteY21435" fmla="*/ 1155354 h 4687251"/>
              <a:gd name="connsiteX21436" fmla="*/ 690928 w 8079933"/>
              <a:gd name="connsiteY21436" fmla="*/ 1157411 h 4687251"/>
              <a:gd name="connsiteX21437" fmla="*/ 687019 w 8079933"/>
              <a:gd name="connsiteY21437" fmla="*/ 1156437 h 4687251"/>
              <a:gd name="connsiteX21438" fmla="*/ 682571 w 8079933"/>
              <a:gd name="connsiteY21438" fmla="*/ 1157628 h 4687251"/>
              <a:gd name="connsiteX21439" fmla="*/ 680402 w 8079933"/>
              <a:gd name="connsiteY21439" fmla="*/ 1156978 h 4687251"/>
              <a:gd name="connsiteX21440" fmla="*/ 677905 w 8079933"/>
              <a:gd name="connsiteY21440" fmla="*/ 1162175 h 4687251"/>
              <a:gd name="connsiteX21441" fmla="*/ 675733 w 8079933"/>
              <a:gd name="connsiteY21441" fmla="*/ 1162392 h 4687251"/>
              <a:gd name="connsiteX21442" fmla="*/ 673131 w 8079933"/>
              <a:gd name="connsiteY21442" fmla="*/ 1164341 h 4687251"/>
              <a:gd name="connsiteX21443" fmla="*/ 674432 w 8079933"/>
              <a:gd name="connsiteY21443" fmla="*/ 1166939 h 4687251"/>
              <a:gd name="connsiteX21444" fmla="*/ 669116 w 8079933"/>
              <a:gd name="connsiteY21444" fmla="*/ 1169862 h 4687251"/>
              <a:gd name="connsiteX21445" fmla="*/ 669005 w 8079933"/>
              <a:gd name="connsiteY21445" fmla="*/ 1173002 h 4687251"/>
              <a:gd name="connsiteX21446" fmla="*/ 666077 w 8079933"/>
              <a:gd name="connsiteY21446" fmla="*/ 1174735 h 4687251"/>
              <a:gd name="connsiteX21447" fmla="*/ 664015 w 8079933"/>
              <a:gd name="connsiteY21447" fmla="*/ 1177658 h 4687251"/>
              <a:gd name="connsiteX21448" fmla="*/ 659130 w 8079933"/>
              <a:gd name="connsiteY21448" fmla="*/ 1176792 h 4687251"/>
              <a:gd name="connsiteX21449" fmla="*/ 659781 w 8079933"/>
              <a:gd name="connsiteY21449" fmla="*/ 1174627 h 4687251"/>
              <a:gd name="connsiteX21450" fmla="*/ 668246 w 8079933"/>
              <a:gd name="connsiteY21450" fmla="*/ 1167913 h 4687251"/>
              <a:gd name="connsiteX21451" fmla="*/ 668246 w 8079933"/>
              <a:gd name="connsiteY21451" fmla="*/ 1165315 h 4687251"/>
              <a:gd name="connsiteX21452" fmla="*/ 671070 w 8079933"/>
              <a:gd name="connsiteY21452" fmla="*/ 1161093 h 4687251"/>
              <a:gd name="connsiteX21453" fmla="*/ 669332 w 8079933"/>
              <a:gd name="connsiteY21453" fmla="*/ 1160876 h 4687251"/>
              <a:gd name="connsiteX21454" fmla="*/ 665643 w 8079933"/>
              <a:gd name="connsiteY21454" fmla="*/ 1163907 h 4687251"/>
              <a:gd name="connsiteX21455" fmla="*/ 663797 w 8079933"/>
              <a:gd name="connsiteY21455" fmla="*/ 1161958 h 4687251"/>
              <a:gd name="connsiteX21456" fmla="*/ 665207 w 8079933"/>
              <a:gd name="connsiteY21456" fmla="*/ 1159685 h 4687251"/>
              <a:gd name="connsiteX21457" fmla="*/ 659999 w 8079933"/>
              <a:gd name="connsiteY21457" fmla="*/ 1159468 h 4687251"/>
              <a:gd name="connsiteX21458" fmla="*/ 657612 w 8079933"/>
              <a:gd name="connsiteY21458" fmla="*/ 1161958 h 4687251"/>
              <a:gd name="connsiteX21459" fmla="*/ 659891 w 8079933"/>
              <a:gd name="connsiteY21459" fmla="*/ 1162609 h 4687251"/>
              <a:gd name="connsiteX21460" fmla="*/ 661084 w 8079933"/>
              <a:gd name="connsiteY21460" fmla="*/ 1164124 h 4687251"/>
              <a:gd name="connsiteX21461" fmla="*/ 660325 w 8079933"/>
              <a:gd name="connsiteY21461" fmla="*/ 1166831 h 4687251"/>
              <a:gd name="connsiteX21462" fmla="*/ 657285 w 8079933"/>
              <a:gd name="connsiteY21462" fmla="*/ 1167589 h 4687251"/>
              <a:gd name="connsiteX21463" fmla="*/ 654246 w 8079933"/>
              <a:gd name="connsiteY21463" fmla="*/ 1165748 h 4687251"/>
              <a:gd name="connsiteX21464" fmla="*/ 653705 w 8079933"/>
              <a:gd name="connsiteY21464" fmla="*/ 1160984 h 4687251"/>
              <a:gd name="connsiteX21465" fmla="*/ 655984 w 8079933"/>
              <a:gd name="connsiteY21465" fmla="*/ 1158170 h 4687251"/>
              <a:gd name="connsiteX21466" fmla="*/ 657069 w 8079933"/>
              <a:gd name="connsiteY21466" fmla="*/ 1153297 h 4687251"/>
              <a:gd name="connsiteX21467" fmla="*/ 656742 w 8079933"/>
              <a:gd name="connsiteY21467" fmla="*/ 1147450 h 4687251"/>
              <a:gd name="connsiteX21468" fmla="*/ 655335 w 8079933"/>
              <a:gd name="connsiteY21468" fmla="*/ 1145068 h 4687251"/>
              <a:gd name="connsiteX21469" fmla="*/ 656418 w 8079933"/>
              <a:gd name="connsiteY21469" fmla="*/ 1142254 h 4687251"/>
              <a:gd name="connsiteX21470" fmla="*/ 662711 w 8079933"/>
              <a:gd name="connsiteY21470" fmla="*/ 1137381 h 4687251"/>
              <a:gd name="connsiteX21471" fmla="*/ 673131 w 8079933"/>
              <a:gd name="connsiteY21471" fmla="*/ 1132293 h 4687251"/>
              <a:gd name="connsiteX21472" fmla="*/ 679099 w 8079933"/>
              <a:gd name="connsiteY21472" fmla="*/ 1131534 h 4687251"/>
              <a:gd name="connsiteX21473" fmla="*/ 680834 w 8079933"/>
              <a:gd name="connsiteY21473" fmla="*/ 1132617 h 4687251"/>
              <a:gd name="connsiteX21474" fmla="*/ 681161 w 8079933"/>
              <a:gd name="connsiteY21474" fmla="*/ 1141929 h 4687251"/>
              <a:gd name="connsiteX21475" fmla="*/ 682898 w 8079933"/>
              <a:gd name="connsiteY21475" fmla="*/ 1142903 h 4687251"/>
              <a:gd name="connsiteX21476" fmla="*/ 687019 w 8079933"/>
              <a:gd name="connsiteY21476" fmla="*/ 1137706 h 4687251"/>
              <a:gd name="connsiteX21477" fmla="*/ 685500 w 8079933"/>
              <a:gd name="connsiteY21477" fmla="*/ 1133375 h 4687251"/>
              <a:gd name="connsiteX21478" fmla="*/ 686695 w 8079933"/>
              <a:gd name="connsiteY21478" fmla="*/ 1132617 h 4687251"/>
              <a:gd name="connsiteX21479" fmla="*/ 689841 w 8079933"/>
              <a:gd name="connsiteY21479" fmla="*/ 1134783 h 4687251"/>
              <a:gd name="connsiteX21480" fmla="*/ 691144 w 8079933"/>
              <a:gd name="connsiteY21480" fmla="*/ 1130993 h 4687251"/>
              <a:gd name="connsiteX21481" fmla="*/ 687129 w 8079933"/>
              <a:gd name="connsiteY21481" fmla="*/ 1128070 h 4687251"/>
              <a:gd name="connsiteX21482" fmla="*/ 686043 w 8079933"/>
              <a:gd name="connsiteY21482" fmla="*/ 1125905 h 4687251"/>
              <a:gd name="connsiteX21483" fmla="*/ 690385 w 8079933"/>
              <a:gd name="connsiteY21483" fmla="*/ 1121141 h 4687251"/>
              <a:gd name="connsiteX21484" fmla="*/ 693530 w 8079933"/>
              <a:gd name="connsiteY21484" fmla="*/ 1120816 h 4687251"/>
              <a:gd name="connsiteX21485" fmla="*/ 696680 w 8079933"/>
              <a:gd name="connsiteY21485" fmla="*/ 1123198 h 4687251"/>
              <a:gd name="connsiteX21486" fmla="*/ 696461 w 8079933"/>
              <a:gd name="connsiteY21486" fmla="*/ 1127962 h 4687251"/>
              <a:gd name="connsiteX21487" fmla="*/ 694725 w 8079933"/>
              <a:gd name="connsiteY21487" fmla="*/ 1130127 h 4687251"/>
              <a:gd name="connsiteX21488" fmla="*/ 694725 w 8079933"/>
              <a:gd name="connsiteY21488" fmla="*/ 1133592 h 4687251"/>
              <a:gd name="connsiteX21489" fmla="*/ 697436 w 8079933"/>
              <a:gd name="connsiteY21489" fmla="*/ 1132834 h 4687251"/>
              <a:gd name="connsiteX21490" fmla="*/ 699608 w 8079933"/>
              <a:gd name="connsiteY21490" fmla="*/ 1128936 h 4687251"/>
              <a:gd name="connsiteX21491" fmla="*/ 701562 w 8079933"/>
              <a:gd name="connsiteY21491" fmla="*/ 1127962 h 4687251"/>
              <a:gd name="connsiteX21492" fmla="*/ 704056 w 8079933"/>
              <a:gd name="connsiteY21492" fmla="*/ 1129369 h 4687251"/>
              <a:gd name="connsiteX21493" fmla="*/ 704817 w 8079933"/>
              <a:gd name="connsiteY21493" fmla="*/ 1125038 h 4687251"/>
              <a:gd name="connsiteX21494" fmla="*/ 703515 w 8079933"/>
              <a:gd name="connsiteY21494" fmla="*/ 1122115 h 4687251"/>
              <a:gd name="connsiteX21495" fmla="*/ 2900433 w 8079933"/>
              <a:gd name="connsiteY21495" fmla="*/ 1113995 h 4687251"/>
              <a:gd name="connsiteX21496" fmla="*/ 2902711 w 8079933"/>
              <a:gd name="connsiteY21496" fmla="*/ 1114861 h 4687251"/>
              <a:gd name="connsiteX21497" fmla="*/ 2902494 w 8079933"/>
              <a:gd name="connsiteY21497" fmla="*/ 1118434 h 4687251"/>
              <a:gd name="connsiteX21498" fmla="*/ 2899022 w 8079933"/>
              <a:gd name="connsiteY21498" fmla="*/ 1117893 h 4687251"/>
              <a:gd name="connsiteX21499" fmla="*/ 2897503 w 8079933"/>
              <a:gd name="connsiteY21499" fmla="*/ 1115403 h 4687251"/>
              <a:gd name="connsiteX21500" fmla="*/ 4388063 w 8079933"/>
              <a:gd name="connsiteY21500" fmla="*/ 1108152 h 4687251"/>
              <a:gd name="connsiteX21501" fmla="*/ 4387218 w 8079933"/>
              <a:gd name="connsiteY21501" fmla="*/ 1110748 h 4687251"/>
              <a:gd name="connsiteX21502" fmla="*/ 4387435 w 8079933"/>
              <a:gd name="connsiteY21502" fmla="*/ 1111462 h 4687251"/>
              <a:gd name="connsiteX21503" fmla="*/ 4388197 w 8079933"/>
              <a:gd name="connsiteY21503" fmla="*/ 1108907 h 4687251"/>
              <a:gd name="connsiteX21504" fmla="*/ 4244303 w 8079933"/>
              <a:gd name="connsiteY21504" fmla="*/ 1101653 h 4687251"/>
              <a:gd name="connsiteX21505" fmla="*/ 4242023 w 8079933"/>
              <a:gd name="connsiteY21505" fmla="*/ 1107066 h 4687251"/>
              <a:gd name="connsiteX21506" fmla="*/ 4235295 w 8079933"/>
              <a:gd name="connsiteY21506" fmla="*/ 1116377 h 4687251"/>
              <a:gd name="connsiteX21507" fmla="*/ 4228784 w 8079933"/>
              <a:gd name="connsiteY21507" fmla="*/ 1127962 h 4687251"/>
              <a:gd name="connsiteX21508" fmla="*/ 4228459 w 8079933"/>
              <a:gd name="connsiteY21508" fmla="*/ 1132726 h 4687251"/>
              <a:gd name="connsiteX21509" fmla="*/ 4224661 w 8079933"/>
              <a:gd name="connsiteY21509" fmla="*/ 1135974 h 4687251"/>
              <a:gd name="connsiteX21510" fmla="*/ 4216522 w 8079933"/>
              <a:gd name="connsiteY21510" fmla="*/ 1137706 h 4687251"/>
              <a:gd name="connsiteX21511" fmla="*/ 4208926 w 8079933"/>
              <a:gd name="connsiteY21511" fmla="*/ 1142254 h 4687251"/>
              <a:gd name="connsiteX21512" fmla="*/ 4208818 w 8079933"/>
              <a:gd name="connsiteY21512" fmla="*/ 1147017 h 4687251"/>
              <a:gd name="connsiteX21513" fmla="*/ 4208926 w 8079933"/>
              <a:gd name="connsiteY21513" fmla="*/ 1142254 h 4687251"/>
              <a:gd name="connsiteX21514" fmla="*/ 4216522 w 8079933"/>
              <a:gd name="connsiteY21514" fmla="*/ 1137707 h 4687251"/>
              <a:gd name="connsiteX21515" fmla="*/ 4224661 w 8079933"/>
              <a:gd name="connsiteY21515" fmla="*/ 1135975 h 4687251"/>
              <a:gd name="connsiteX21516" fmla="*/ 4228459 w 8079933"/>
              <a:gd name="connsiteY21516" fmla="*/ 1132726 h 4687251"/>
              <a:gd name="connsiteX21517" fmla="*/ 4228784 w 8079933"/>
              <a:gd name="connsiteY21517" fmla="*/ 1127963 h 4687251"/>
              <a:gd name="connsiteX21518" fmla="*/ 4235295 w 8079933"/>
              <a:gd name="connsiteY21518" fmla="*/ 1116378 h 4687251"/>
              <a:gd name="connsiteX21519" fmla="*/ 4242023 w 8079933"/>
              <a:gd name="connsiteY21519" fmla="*/ 1107067 h 4687251"/>
              <a:gd name="connsiteX21520" fmla="*/ 4244303 w 8079933"/>
              <a:gd name="connsiteY21520" fmla="*/ 1101653 h 4687251"/>
              <a:gd name="connsiteX21521" fmla="*/ 727278 w 8079933"/>
              <a:gd name="connsiteY21521" fmla="*/ 1100137 h 4687251"/>
              <a:gd name="connsiteX21522" fmla="*/ 729884 w 8079933"/>
              <a:gd name="connsiteY21522" fmla="*/ 1101220 h 4687251"/>
              <a:gd name="connsiteX21523" fmla="*/ 728907 w 8079933"/>
              <a:gd name="connsiteY21523" fmla="*/ 1105551 h 4687251"/>
              <a:gd name="connsiteX21524" fmla="*/ 731076 w 8079933"/>
              <a:gd name="connsiteY21524" fmla="*/ 1106092 h 4687251"/>
              <a:gd name="connsiteX21525" fmla="*/ 732270 w 8079933"/>
              <a:gd name="connsiteY21525" fmla="*/ 1103818 h 4687251"/>
              <a:gd name="connsiteX21526" fmla="*/ 735201 w 8079933"/>
              <a:gd name="connsiteY21526" fmla="*/ 1102952 h 4687251"/>
              <a:gd name="connsiteX21527" fmla="*/ 737047 w 8079933"/>
              <a:gd name="connsiteY21527" fmla="*/ 1106525 h 4687251"/>
              <a:gd name="connsiteX21528" fmla="*/ 734767 w 8079933"/>
              <a:gd name="connsiteY21528" fmla="*/ 1108690 h 4687251"/>
              <a:gd name="connsiteX21529" fmla="*/ 733032 w 8079933"/>
              <a:gd name="connsiteY21529" fmla="*/ 1112047 h 4687251"/>
              <a:gd name="connsiteX21530" fmla="*/ 735853 w 8079933"/>
              <a:gd name="connsiteY21530" fmla="*/ 1113021 h 4687251"/>
              <a:gd name="connsiteX21531" fmla="*/ 737371 w 8079933"/>
              <a:gd name="connsiteY21531" fmla="*/ 1115944 h 4687251"/>
              <a:gd name="connsiteX21532" fmla="*/ 733789 w 8079933"/>
              <a:gd name="connsiteY21532" fmla="*/ 1116918 h 4687251"/>
              <a:gd name="connsiteX21533" fmla="*/ 731403 w 8079933"/>
              <a:gd name="connsiteY21533" fmla="*/ 1114970 h 4687251"/>
              <a:gd name="connsiteX21534" fmla="*/ 727713 w 8079933"/>
              <a:gd name="connsiteY21534" fmla="*/ 1118759 h 4687251"/>
              <a:gd name="connsiteX21535" fmla="*/ 725107 w 8079933"/>
              <a:gd name="connsiteY21535" fmla="*/ 1118759 h 4687251"/>
              <a:gd name="connsiteX21536" fmla="*/ 724024 w 8079933"/>
              <a:gd name="connsiteY21536" fmla="*/ 1115728 h 4687251"/>
              <a:gd name="connsiteX21537" fmla="*/ 719574 w 8079933"/>
              <a:gd name="connsiteY21537" fmla="*/ 1119517 h 4687251"/>
              <a:gd name="connsiteX21538" fmla="*/ 716211 w 8079933"/>
              <a:gd name="connsiteY21538" fmla="*/ 1119626 h 4687251"/>
              <a:gd name="connsiteX21539" fmla="*/ 710786 w 8079933"/>
              <a:gd name="connsiteY21539" fmla="*/ 1114428 h 4687251"/>
              <a:gd name="connsiteX21540" fmla="*/ 709915 w 8079933"/>
              <a:gd name="connsiteY21540" fmla="*/ 1112371 h 4687251"/>
              <a:gd name="connsiteX21541" fmla="*/ 711980 w 8079933"/>
              <a:gd name="connsiteY21541" fmla="*/ 1110206 h 4687251"/>
              <a:gd name="connsiteX21542" fmla="*/ 715016 w 8079933"/>
              <a:gd name="connsiteY21542" fmla="*/ 1111614 h 4687251"/>
              <a:gd name="connsiteX21543" fmla="*/ 717186 w 8079933"/>
              <a:gd name="connsiteY21543" fmla="*/ 1109773 h 4687251"/>
              <a:gd name="connsiteX21544" fmla="*/ 719899 w 8079933"/>
              <a:gd name="connsiteY21544" fmla="*/ 1111072 h 4687251"/>
              <a:gd name="connsiteX21545" fmla="*/ 722612 w 8079933"/>
              <a:gd name="connsiteY21545" fmla="*/ 1106958 h 4687251"/>
              <a:gd name="connsiteX21546" fmla="*/ 720658 w 8079933"/>
              <a:gd name="connsiteY21546" fmla="*/ 1104576 h 4687251"/>
              <a:gd name="connsiteX21547" fmla="*/ 722722 w 8079933"/>
              <a:gd name="connsiteY21547" fmla="*/ 1101436 h 4687251"/>
              <a:gd name="connsiteX21548" fmla="*/ 4200897 w 8079933"/>
              <a:gd name="connsiteY21548" fmla="*/ 1098730 h 4687251"/>
              <a:gd name="connsiteX21549" fmla="*/ 4203610 w 8079933"/>
              <a:gd name="connsiteY21549" fmla="*/ 1099271 h 4687251"/>
              <a:gd name="connsiteX21550" fmla="*/ 4201656 w 8079933"/>
              <a:gd name="connsiteY21550" fmla="*/ 1103169 h 4687251"/>
              <a:gd name="connsiteX21551" fmla="*/ 4199378 w 8079933"/>
              <a:gd name="connsiteY21551" fmla="*/ 1101112 h 4687251"/>
              <a:gd name="connsiteX21552" fmla="*/ 4492529 w 8079933"/>
              <a:gd name="connsiteY21552" fmla="*/ 1092350 h 4687251"/>
              <a:gd name="connsiteX21553" fmla="*/ 4492372 w 8079933"/>
              <a:gd name="connsiteY21553" fmla="*/ 1092774 h 4687251"/>
              <a:gd name="connsiteX21554" fmla="*/ 4496224 w 8079933"/>
              <a:gd name="connsiteY21554" fmla="*/ 1096908 h 4687251"/>
              <a:gd name="connsiteX21555" fmla="*/ 4495953 w 8079933"/>
              <a:gd name="connsiteY21555" fmla="*/ 1096024 h 4687251"/>
              <a:gd name="connsiteX21556" fmla="*/ 732379 w 8079933"/>
              <a:gd name="connsiteY21556" fmla="*/ 1091042 h 4687251"/>
              <a:gd name="connsiteX21557" fmla="*/ 735853 w 8079933"/>
              <a:gd name="connsiteY21557" fmla="*/ 1091258 h 4687251"/>
              <a:gd name="connsiteX21558" fmla="*/ 735526 w 8079933"/>
              <a:gd name="connsiteY21558" fmla="*/ 1094940 h 4687251"/>
              <a:gd name="connsiteX21559" fmla="*/ 731838 w 8079933"/>
              <a:gd name="connsiteY21559" fmla="*/ 1097538 h 4687251"/>
              <a:gd name="connsiteX21560" fmla="*/ 729125 w 8079933"/>
              <a:gd name="connsiteY21560" fmla="*/ 1095373 h 4687251"/>
              <a:gd name="connsiteX21561" fmla="*/ 730316 w 8079933"/>
              <a:gd name="connsiteY21561" fmla="*/ 1091475 h 4687251"/>
              <a:gd name="connsiteX21562" fmla="*/ 4756175 w 8079933"/>
              <a:gd name="connsiteY21562" fmla="*/ 1088660 h 4687251"/>
              <a:gd name="connsiteX21563" fmla="*/ 4758779 w 8079933"/>
              <a:gd name="connsiteY21563" fmla="*/ 1091691 h 4687251"/>
              <a:gd name="connsiteX21564" fmla="*/ 4759105 w 8079933"/>
              <a:gd name="connsiteY21564" fmla="*/ 1094182 h 4687251"/>
              <a:gd name="connsiteX21565" fmla="*/ 4756717 w 8079933"/>
              <a:gd name="connsiteY21565" fmla="*/ 1094507 h 4687251"/>
              <a:gd name="connsiteX21566" fmla="*/ 4753679 w 8079933"/>
              <a:gd name="connsiteY21566" fmla="*/ 1091583 h 4687251"/>
              <a:gd name="connsiteX21567" fmla="*/ 4753679 w 8079933"/>
              <a:gd name="connsiteY21567" fmla="*/ 1089093 h 4687251"/>
              <a:gd name="connsiteX21568" fmla="*/ 880070 w 8079933"/>
              <a:gd name="connsiteY21568" fmla="*/ 1085629 h 4687251"/>
              <a:gd name="connsiteX21569" fmla="*/ 882783 w 8079933"/>
              <a:gd name="connsiteY21569" fmla="*/ 1087795 h 4687251"/>
              <a:gd name="connsiteX21570" fmla="*/ 875729 w 8079933"/>
              <a:gd name="connsiteY21570" fmla="*/ 1088336 h 4687251"/>
              <a:gd name="connsiteX21571" fmla="*/ 4385170 w 8079933"/>
              <a:gd name="connsiteY21571" fmla="*/ 1085051 h 4687251"/>
              <a:gd name="connsiteX21572" fmla="*/ 4383420 w 8079933"/>
              <a:gd name="connsiteY21572" fmla="*/ 1087794 h 4687251"/>
              <a:gd name="connsiteX21573" fmla="*/ 4383588 w 8079933"/>
              <a:gd name="connsiteY21573" fmla="*/ 1089250 h 4687251"/>
              <a:gd name="connsiteX21574" fmla="*/ 4385484 w 8079933"/>
              <a:gd name="connsiteY21574" fmla="*/ 1086278 h 4687251"/>
              <a:gd name="connsiteX21575" fmla="*/ 1047655 w 8079933"/>
              <a:gd name="connsiteY21575" fmla="*/ 1084195 h 4687251"/>
              <a:gd name="connsiteX21576" fmla="*/ 1045666 w 8079933"/>
              <a:gd name="connsiteY21576" fmla="*/ 1088336 h 4687251"/>
              <a:gd name="connsiteX21577" fmla="*/ 1045666 w 8079933"/>
              <a:gd name="connsiteY21577" fmla="*/ 1088336 h 4687251"/>
              <a:gd name="connsiteX21578" fmla="*/ 1008988 w 8079933"/>
              <a:gd name="connsiteY21578" fmla="*/ 1078592 h 4687251"/>
              <a:gd name="connsiteX21579" fmla="*/ 1008987 w 8079933"/>
              <a:gd name="connsiteY21579" fmla="*/ 1078592 h 4687251"/>
              <a:gd name="connsiteX21580" fmla="*/ 1024614 w 8079933"/>
              <a:gd name="connsiteY21580" fmla="*/ 1078808 h 4687251"/>
              <a:gd name="connsiteX21581" fmla="*/ 1029052 w 8079933"/>
              <a:gd name="connsiteY21581" fmla="*/ 1081022 h 4687251"/>
              <a:gd name="connsiteX21582" fmla="*/ 1024613 w 8079933"/>
              <a:gd name="connsiteY21582" fmla="*/ 1078808 h 4687251"/>
              <a:gd name="connsiteX21583" fmla="*/ 7094276 w 8079933"/>
              <a:gd name="connsiteY21583" fmla="*/ 1077942 h 4687251"/>
              <a:gd name="connsiteX21584" fmla="*/ 7094059 w 8079933"/>
              <a:gd name="connsiteY21584" fmla="*/ 1081299 h 4687251"/>
              <a:gd name="connsiteX21585" fmla="*/ 7090803 w 8079933"/>
              <a:gd name="connsiteY21585" fmla="*/ 1086171 h 4687251"/>
              <a:gd name="connsiteX21586" fmla="*/ 7088633 w 8079933"/>
              <a:gd name="connsiteY21586" fmla="*/ 1085846 h 4687251"/>
              <a:gd name="connsiteX21587" fmla="*/ 7088959 w 8079933"/>
              <a:gd name="connsiteY21587" fmla="*/ 1082165 h 4687251"/>
              <a:gd name="connsiteX21588" fmla="*/ 7091346 w 8079933"/>
              <a:gd name="connsiteY21588" fmla="*/ 1078591 h 4687251"/>
              <a:gd name="connsiteX21589" fmla="*/ 4170729 w 8079933"/>
              <a:gd name="connsiteY21589" fmla="*/ 1076643 h 4687251"/>
              <a:gd name="connsiteX21590" fmla="*/ 4172791 w 8079933"/>
              <a:gd name="connsiteY21590" fmla="*/ 1079133 h 4687251"/>
              <a:gd name="connsiteX21591" fmla="*/ 4171488 w 8079933"/>
              <a:gd name="connsiteY21591" fmla="*/ 1081515 h 4687251"/>
              <a:gd name="connsiteX21592" fmla="*/ 4168993 w 8079933"/>
              <a:gd name="connsiteY21592" fmla="*/ 1080000 h 4687251"/>
              <a:gd name="connsiteX21593" fmla="*/ 1038720 w 8079933"/>
              <a:gd name="connsiteY21593" fmla="*/ 1076318 h 4687251"/>
              <a:gd name="connsiteX21594" fmla="*/ 1029605 w 8079933"/>
              <a:gd name="connsiteY21594" fmla="*/ 1081298 h 4687251"/>
              <a:gd name="connsiteX21595" fmla="*/ 1029605 w 8079933"/>
              <a:gd name="connsiteY21595" fmla="*/ 1081298 h 4687251"/>
              <a:gd name="connsiteX21596" fmla="*/ 1038721 w 8079933"/>
              <a:gd name="connsiteY21596" fmla="*/ 1076318 h 4687251"/>
              <a:gd name="connsiteX21597" fmla="*/ 934006 w 8079933"/>
              <a:gd name="connsiteY21597" fmla="*/ 1073394 h 4687251"/>
              <a:gd name="connsiteX21598" fmla="*/ 937044 w 8079933"/>
              <a:gd name="connsiteY21598" fmla="*/ 1073394 h 4687251"/>
              <a:gd name="connsiteX21599" fmla="*/ 932812 w 8079933"/>
              <a:gd name="connsiteY21599" fmla="*/ 1078374 h 4687251"/>
              <a:gd name="connsiteX21600" fmla="*/ 928144 w 8079933"/>
              <a:gd name="connsiteY21600" fmla="*/ 1079566 h 4687251"/>
              <a:gd name="connsiteX21601" fmla="*/ 928254 w 8079933"/>
              <a:gd name="connsiteY21601" fmla="*/ 1075668 h 4687251"/>
              <a:gd name="connsiteX21602" fmla="*/ 4379492 w 8079933"/>
              <a:gd name="connsiteY21602" fmla="*/ 1068147 h 4687251"/>
              <a:gd name="connsiteX21603" fmla="*/ 4377452 w 8079933"/>
              <a:gd name="connsiteY21603" fmla="*/ 1073611 h 4687251"/>
              <a:gd name="connsiteX21604" fmla="*/ 4377779 w 8079933"/>
              <a:gd name="connsiteY21604" fmla="*/ 1077119 h 4687251"/>
              <a:gd name="connsiteX21605" fmla="*/ 4377779 w 8079933"/>
              <a:gd name="connsiteY21605" fmla="*/ 1075992 h 4687251"/>
              <a:gd name="connsiteX21606" fmla="*/ 4379949 w 8079933"/>
              <a:gd name="connsiteY21606" fmla="*/ 1070579 h 4687251"/>
              <a:gd name="connsiteX21607" fmla="*/ 2904231 w 8079933"/>
              <a:gd name="connsiteY21607" fmla="*/ 1067115 h 4687251"/>
              <a:gd name="connsiteX21608" fmla="*/ 2906509 w 8079933"/>
              <a:gd name="connsiteY21608" fmla="*/ 1067981 h 4687251"/>
              <a:gd name="connsiteX21609" fmla="*/ 2904882 w 8079933"/>
              <a:gd name="connsiteY21609" fmla="*/ 1070039 h 4687251"/>
              <a:gd name="connsiteX21610" fmla="*/ 2900541 w 8079933"/>
              <a:gd name="connsiteY21610" fmla="*/ 1068847 h 4687251"/>
              <a:gd name="connsiteX21611" fmla="*/ 2906619 w 8079933"/>
              <a:gd name="connsiteY21611" fmla="*/ 1062135 h 4687251"/>
              <a:gd name="connsiteX21612" fmla="*/ 2911068 w 8079933"/>
              <a:gd name="connsiteY21612" fmla="*/ 1063651 h 4687251"/>
              <a:gd name="connsiteX21613" fmla="*/ 2908355 w 8079933"/>
              <a:gd name="connsiteY21613" fmla="*/ 1065275 h 4687251"/>
              <a:gd name="connsiteX21614" fmla="*/ 2904882 w 8079933"/>
              <a:gd name="connsiteY21614" fmla="*/ 1065275 h 4687251"/>
              <a:gd name="connsiteX21615" fmla="*/ 2902712 w 8079933"/>
              <a:gd name="connsiteY21615" fmla="*/ 1064083 h 4687251"/>
              <a:gd name="connsiteX21616" fmla="*/ 2903363 w 8079933"/>
              <a:gd name="connsiteY21616" fmla="*/ 1063110 h 4687251"/>
              <a:gd name="connsiteX21617" fmla="*/ 2895332 w 8079933"/>
              <a:gd name="connsiteY21617" fmla="*/ 1061809 h 4687251"/>
              <a:gd name="connsiteX21618" fmla="*/ 2896743 w 8079933"/>
              <a:gd name="connsiteY21618" fmla="*/ 1062134 h 4687251"/>
              <a:gd name="connsiteX21619" fmla="*/ 2897394 w 8079933"/>
              <a:gd name="connsiteY21619" fmla="*/ 1063758 h 4687251"/>
              <a:gd name="connsiteX21620" fmla="*/ 2895332 w 8079933"/>
              <a:gd name="connsiteY21620" fmla="*/ 1064841 h 4687251"/>
              <a:gd name="connsiteX21621" fmla="*/ 2894247 w 8079933"/>
              <a:gd name="connsiteY21621" fmla="*/ 1062242 h 4687251"/>
              <a:gd name="connsiteX21622" fmla="*/ 4252255 w 8079933"/>
              <a:gd name="connsiteY21622" fmla="*/ 1061328 h 4687251"/>
              <a:gd name="connsiteX21623" fmla="*/ 4249402 w 8079933"/>
              <a:gd name="connsiteY21623" fmla="*/ 1067439 h 4687251"/>
              <a:gd name="connsiteX21624" fmla="*/ 4246147 w 8079933"/>
              <a:gd name="connsiteY21624" fmla="*/ 1069171 h 4687251"/>
              <a:gd name="connsiteX21625" fmla="*/ 4244736 w 8079933"/>
              <a:gd name="connsiteY21625" fmla="*/ 1075018 h 4687251"/>
              <a:gd name="connsiteX21626" fmla="*/ 4241807 w 8079933"/>
              <a:gd name="connsiteY21626" fmla="*/ 1078915 h 4687251"/>
              <a:gd name="connsiteX21627" fmla="*/ 4238768 w 8079933"/>
              <a:gd name="connsiteY21627" fmla="*/ 1080540 h 4687251"/>
              <a:gd name="connsiteX21628" fmla="*/ 4238768 w 8079933"/>
              <a:gd name="connsiteY21628" fmla="*/ 1080541 h 4687251"/>
              <a:gd name="connsiteX21629" fmla="*/ 4241807 w 8079933"/>
              <a:gd name="connsiteY21629" fmla="*/ 1078916 h 4687251"/>
              <a:gd name="connsiteX21630" fmla="*/ 4244736 w 8079933"/>
              <a:gd name="connsiteY21630" fmla="*/ 1075019 h 4687251"/>
              <a:gd name="connsiteX21631" fmla="*/ 4246147 w 8079933"/>
              <a:gd name="connsiteY21631" fmla="*/ 1069172 h 4687251"/>
              <a:gd name="connsiteX21632" fmla="*/ 4249402 w 8079933"/>
              <a:gd name="connsiteY21632" fmla="*/ 1067439 h 4687251"/>
              <a:gd name="connsiteX21633" fmla="*/ 4379569 w 8079933"/>
              <a:gd name="connsiteY21633" fmla="*/ 1058081 h 4687251"/>
              <a:gd name="connsiteX21634" fmla="*/ 4378211 w 8079933"/>
              <a:gd name="connsiteY21634" fmla="*/ 1061268 h 4687251"/>
              <a:gd name="connsiteX21635" fmla="*/ 4378660 w 8079933"/>
              <a:gd name="connsiteY21635" fmla="*/ 1063618 h 4687251"/>
              <a:gd name="connsiteX21636" fmla="*/ 4380383 w 8079933"/>
              <a:gd name="connsiteY21636" fmla="*/ 1059319 h 4687251"/>
              <a:gd name="connsiteX21637" fmla="*/ 4177564 w 8079933"/>
              <a:gd name="connsiteY21637" fmla="*/ 1057912 h 4687251"/>
              <a:gd name="connsiteX21638" fmla="*/ 4178758 w 8079933"/>
              <a:gd name="connsiteY21638" fmla="*/ 1064625 h 4687251"/>
              <a:gd name="connsiteX21639" fmla="*/ 4173224 w 8079933"/>
              <a:gd name="connsiteY21639" fmla="*/ 1069931 h 4687251"/>
              <a:gd name="connsiteX21640" fmla="*/ 4173224 w 8079933"/>
              <a:gd name="connsiteY21640" fmla="*/ 1065275 h 4687251"/>
              <a:gd name="connsiteX21641" fmla="*/ 4182231 w 8079933"/>
              <a:gd name="connsiteY21641" fmla="*/ 1055854 h 4687251"/>
              <a:gd name="connsiteX21642" fmla="*/ 4184184 w 8079933"/>
              <a:gd name="connsiteY21642" fmla="*/ 1057045 h 4687251"/>
              <a:gd name="connsiteX21643" fmla="*/ 4182231 w 8079933"/>
              <a:gd name="connsiteY21643" fmla="*/ 1061051 h 4687251"/>
              <a:gd name="connsiteX21644" fmla="*/ 4180278 w 8079933"/>
              <a:gd name="connsiteY21644" fmla="*/ 1058235 h 4687251"/>
              <a:gd name="connsiteX21645" fmla="*/ 4258084 w 8079933"/>
              <a:gd name="connsiteY21645" fmla="*/ 1055746 h 4687251"/>
              <a:gd name="connsiteX21646" fmla="*/ 4253092 w 8079933"/>
              <a:gd name="connsiteY21646" fmla="*/ 1059535 h 4687251"/>
              <a:gd name="connsiteX21647" fmla="*/ 4253092 w 8079933"/>
              <a:gd name="connsiteY21647" fmla="*/ 1059536 h 4687251"/>
              <a:gd name="connsiteX21648" fmla="*/ 4258084 w 8079933"/>
              <a:gd name="connsiteY21648" fmla="*/ 1055747 h 4687251"/>
              <a:gd name="connsiteX21649" fmla="*/ 4263401 w 8079933"/>
              <a:gd name="connsiteY21649" fmla="*/ 1058129 h 4687251"/>
              <a:gd name="connsiteX21650" fmla="*/ 4265571 w 8079933"/>
              <a:gd name="connsiteY21650" fmla="*/ 1060727 h 4687251"/>
              <a:gd name="connsiteX21651" fmla="*/ 4268719 w 8079933"/>
              <a:gd name="connsiteY21651" fmla="*/ 1060186 h 4687251"/>
              <a:gd name="connsiteX21652" fmla="*/ 4272299 w 8079933"/>
              <a:gd name="connsiteY21652" fmla="*/ 1056937 h 4687251"/>
              <a:gd name="connsiteX21653" fmla="*/ 4272299 w 8079933"/>
              <a:gd name="connsiteY21653" fmla="*/ 1056937 h 4687251"/>
              <a:gd name="connsiteX21654" fmla="*/ 4268719 w 8079933"/>
              <a:gd name="connsiteY21654" fmla="*/ 1060185 h 4687251"/>
              <a:gd name="connsiteX21655" fmla="*/ 4265571 w 8079933"/>
              <a:gd name="connsiteY21655" fmla="*/ 1060726 h 4687251"/>
              <a:gd name="connsiteX21656" fmla="*/ 4263401 w 8079933"/>
              <a:gd name="connsiteY21656" fmla="*/ 1058128 h 4687251"/>
              <a:gd name="connsiteX21657" fmla="*/ 4488790 w 8079933"/>
              <a:gd name="connsiteY21657" fmla="*/ 1055495 h 4687251"/>
              <a:gd name="connsiteX21658" fmla="*/ 4489659 w 8079933"/>
              <a:gd name="connsiteY21658" fmla="*/ 1057587 h 4687251"/>
              <a:gd name="connsiteX21659" fmla="*/ 4500510 w 8079933"/>
              <a:gd name="connsiteY21659" fmla="*/ 1064516 h 4687251"/>
              <a:gd name="connsiteX21660" fmla="*/ 4501041 w 8079933"/>
              <a:gd name="connsiteY21660" fmla="*/ 1065006 h 4687251"/>
              <a:gd name="connsiteX21661" fmla="*/ 4501270 w 8079933"/>
              <a:gd name="connsiteY21661" fmla="*/ 1064300 h 4687251"/>
              <a:gd name="connsiteX21662" fmla="*/ 4498340 w 8079933"/>
              <a:gd name="connsiteY21662" fmla="*/ 1061594 h 4687251"/>
              <a:gd name="connsiteX21663" fmla="*/ 863360 w 8079933"/>
              <a:gd name="connsiteY21663" fmla="*/ 1051090 h 4687251"/>
              <a:gd name="connsiteX21664" fmla="*/ 863360 w 8079933"/>
              <a:gd name="connsiteY21664" fmla="*/ 1054663 h 4687251"/>
              <a:gd name="connsiteX21665" fmla="*/ 859345 w 8079933"/>
              <a:gd name="connsiteY21665" fmla="*/ 1057262 h 4687251"/>
              <a:gd name="connsiteX21666" fmla="*/ 856957 w 8079933"/>
              <a:gd name="connsiteY21666" fmla="*/ 1056070 h 4687251"/>
              <a:gd name="connsiteX21667" fmla="*/ 4196013 w 8079933"/>
              <a:gd name="connsiteY21667" fmla="*/ 1050332 h 4687251"/>
              <a:gd name="connsiteX21668" fmla="*/ 4195470 w 8079933"/>
              <a:gd name="connsiteY21668" fmla="*/ 1054338 h 4687251"/>
              <a:gd name="connsiteX21669" fmla="*/ 4186789 w 8079933"/>
              <a:gd name="connsiteY21669" fmla="*/ 1060834 h 4687251"/>
              <a:gd name="connsiteX21670" fmla="*/ 4188199 w 8079933"/>
              <a:gd name="connsiteY21670" fmla="*/ 1052389 h 4687251"/>
              <a:gd name="connsiteX21671" fmla="*/ 733899 w 8079933"/>
              <a:gd name="connsiteY21671" fmla="*/ 1050008 h 4687251"/>
              <a:gd name="connsiteX21672" fmla="*/ 737371 w 8079933"/>
              <a:gd name="connsiteY21672" fmla="*/ 1051198 h 4687251"/>
              <a:gd name="connsiteX21673" fmla="*/ 733789 w 8079933"/>
              <a:gd name="connsiteY21673" fmla="*/ 1053147 h 4687251"/>
              <a:gd name="connsiteX21674" fmla="*/ 730209 w 8079933"/>
              <a:gd name="connsiteY21674" fmla="*/ 1050874 h 4687251"/>
              <a:gd name="connsiteX21675" fmla="*/ 4272191 w 8079933"/>
              <a:gd name="connsiteY21675" fmla="*/ 1049357 h 4687251"/>
              <a:gd name="connsiteX21676" fmla="*/ 4269369 w 8079933"/>
              <a:gd name="connsiteY21676" fmla="*/ 1051956 h 4687251"/>
              <a:gd name="connsiteX21677" fmla="*/ 4269369 w 8079933"/>
              <a:gd name="connsiteY21677" fmla="*/ 1051957 h 4687251"/>
              <a:gd name="connsiteX21678" fmla="*/ 4272191 w 8079933"/>
              <a:gd name="connsiteY21678" fmla="*/ 1049358 h 4687251"/>
              <a:gd name="connsiteX21679" fmla="*/ 573403 w 8079933"/>
              <a:gd name="connsiteY21679" fmla="*/ 1049033 h 4687251"/>
              <a:gd name="connsiteX21680" fmla="*/ 572101 w 8079933"/>
              <a:gd name="connsiteY21680" fmla="*/ 1051739 h 4687251"/>
              <a:gd name="connsiteX21681" fmla="*/ 570364 w 8079933"/>
              <a:gd name="connsiteY21681" fmla="*/ 1052498 h 4687251"/>
              <a:gd name="connsiteX21682" fmla="*/ 569063 w 8079933"/>
              <a:gd name="connsiteY21682" fmla="*/ 1050657 h 4687251"/>
              <a:gd name="connsiteX21683" fmla="*/ 4273385 w 8079933"/>
              <a:gd name="connsiteY21683" fmla="*/ 1044161 h 4687251"/>
              <a:gd name="connsiteX21684" fmla="*/ 4272191 w 8079933"/>
              <a:gd name="connsiteY21684" fmla="*/ 1046759 h 4687251"/>
              <a:gd name="connsiteX21685" fmla="*/ 4272191 w 8079933"/>
              <a:gd name="connsiteY21685" fmla="*/ 1046760 h 4687251"/>
              <a:gd name="connsiteX21686" fmla="*/ 4273385 w 8079933"/>
              <a:gd name="connsiteY21686" fmla="*/ 1044162 h 4687251"/>
              <a:gd name="connsiteX21687" fmla="*/ 568411 w 8079933"/>
              <a:gd name="connsiteY21687" fmla="*/ 1043511 h 4687251"/>
              <a:gd name="connsiteX21688" fmla="*/ 568954 w 8079933"/>
              <a:gd name="connsiteY21688" fmla="*/ 1045893 h 4687251"/>
              <a:gd name="connsiteX21689" fmla="*/ 563637 w 8079933"/>
              <a:gd name="connsiteY21689" fmla="*/ 1052389 h 4687251"/>
              <a:gd name="connsiteX21690" fmla="*/ 560708 w 8079933"/>
              <a:gd name="connsiteY21690" fmla="*/ 1054664 h 4687251"/>
              <a:gd name="connsiteX21691" fmla="*/ 558320 w 8079933"/>
              <a:gd name="connsiteY21691" fmla="*/ 1053472 h 4687251"/>
              <a:gd name="connsiteX21692" fmla="*/ 558755 w 8079933"/>
              <a:gd name="connsiteY21692" fmla="*/ 1049358 h 4687251"/>
              <a:gd name="connsiteX21693" fmla="*/ 564396 w 8079933"/>
              <a:gd name="connsiteY21693" fmla="*/ 1045785 h 4687251"/>
              <a:gd name="connsiteX21694" fmla="*/ 4209903 w 8079933"/>
              <a:gd name="connsiteY21694" fmla="*/ 1041780 h 4687251"/>
              <a:gd name="connsiteX21695" fmla="*/ 4209795 w 8079933"/>
              <a:gd name="connsiteY21695" fmla="*/ 1051200 h 4687251"/>
              <a:gd name="connsiteX21696" fmla="*/ 4204803 w 8079933"/>
              <a:gd name="connsiteY21696" fmla="*/ 1048817 h 4687251"/>
              <a:gd name="connsiteX21697" fmla="*/ 4198400 w 8079933"/>
              <a:gd name="connsiteY21697" fmla="*/ 1052932 h 4687251"/>
              <a:gd name="connsiteX21698" fmla="*/ 4199051 w 8079933"/>
              <a:gd name="connsiteY21698" fmla="*/ 1048276 h 4687251"/>
              <a:gd name="connsiteX21699" fmla="*/ 4473245 w 8079933"/>
              <a:gd name="connsiteY21699" fmla="*/ 1041130 h 4687251"/>
              <a:gd name="connsiteX21700" fmla="*/ 4474358 w 8079933"/>
              <a:gd name="connsiteY21700" fmla="*/ 1044053 h 4687251"/>
              <a:gd name="connsiteX21701" fmla="*/ 4477614 w 8079933"/>
              <a:gd name="connsiteY21701" fmla="*/ 1044053 h 4687251"/>
              <a:gd name="connsiteX21702" fmla="*/ 4483780 w 8079933"/>
              <a:gd name="connsiteY21702" fmla="*/ 1047437 h 4687251"/>
              <a:gd name="connsiteX21703" fmla="*/ 4481954 w 8079933"/>
              <a:gd name="connsiteY21703" fmla="*/ 1044704 h 4687251"/>
              <a:gd name="connsiteX21704" fmla="*/ 4475443 w 8079933"/>
              <a:gd name="connsiteY21704" fmla="*/ 1041130 h 4687251"/>
              <a:gd name="connsiteX21705" fmla="*/ 888319 w 8079933"/>
              <a:gd name="connsiteY21705" fmla="*/ 1040047 h 4687251"/>
              <a:gd name="connsiteX21706" fmla="*/ 889187 w 8079933"/>
              <a:gd name="connsiteY21706" fmla="*/ 1042645 h 4687251"/>
              <a:gd name="connsiteX21707" fmla="*/ 887992 w 8079933"/>
              <a:gd name="connsiteY21707" fmla="*/ 1045244 h 4687251"/>
              <a:gd name="connsiteX21708" fmla="*/ 890272 w 8079933"/>
              <a:gd name="connsiteY21708" fmla="*/ 1047084 h 4687251"/>
              <a:gd name="connsiteX21709" fmla="*/ 887666 w 8079933"/>
              <a:gd name="connsiteY21709" fmla="*/ 1049467 h 4687251"/>
              <a:gd name="connsiteX21710" fmla="*/ 882351 w 8079933"/>
              <a:gd name="connsiteY21710" fmla="*/ 1051524 h 4687251"/>
              <a:gd name="connsiteX21711" fmla="*/ 875188 w 8079933"/>
              <a:gd name="connsiteY21711" fmla="*/ 1059644 h 4687251"/>
              <a:gd name="connsiteX21712" fmla="*/ 870954 w 8079933"/>
              <a:gd name="connsiteY21712" fmla="*/ 1061051 h 4687251"/>
              <a:gd name="connsiteX21713" fmla="*/ 871823 w 8079933"/>
              <a:gd name="connsiteY21713" fmla="*/ 1063867 h 4687251"/>
              <a:gd name="connsiteX21714" fmla="*/ 870630 w 8079933"/>
              <a:gd name="connsiteY21714" fmla="*/ 1066465 h 4687251"/>
              <a:gd name="connsiteX21715" fmla="*/ 865203 w 8079933"/>
              <a:gd name="connsiteY21715" fmla="*/ 1065274 h 4687251"/>
              <a:gd name="connsiteX21716" fmla="*/ 862490 w 8079933"/>
              <a:gd name="connsiteY21716" fmla="*/ 1067223 h 4687251"/>
              <a:gd name="connsiteX21717" fmla="*/ 857608 w 8079933"/>
              <a:gd name="connsiteY21717" fmla="*/ 1067223 h 4687251"/>
              <a:gd name="connsiteX21718" fmla="*/ 857825 w 8079933"/>
              <a:gd name="connsiteY21718" fmla="*/ 1065166 h 4687251"/>
              <a:gd name="connsiteX21719" fmla="*/ 861188 w 8079933"/>
              <a:gd name="connsiteY21719" fmla="*/ 1064300 h 4687251"/>
              <a:gd name="connsiteX21720" fmla="*/ 863033 w 8079933"/>
              <a:gd name="connsiteY21720" fmla="*/ 1063109 h 4687251"/>
              <a:gd name="connsiteX21721" fmla="*/ 863684 w 8079933"/>
              <a:gd name="connsiteY21721" fmla="*/ 1060510 h 4687251"/>
              <a:gd name="connsiteX21722" fmla="*/ 872476 w 8079933"/>
              <a:gd name="connsiteY21722" fmla="*/ 1053365 h 4687251"/>
              <a:gd name="connsiteX21723" fmla="*/ 876598 w 8079933"/>
              <a:gd name="connsiteY21723" fmla="*/ 1052065 h 4687251"/>
              <a:gd name="connsiteX21724" fmla="*/ 881481 w 8079933"/>
              <a:gd name="connsiteY21724" fmla="*/ 1046651 h 4687251"/>
              <a:gd name="connsiteX21725" fmla="*/ 883651 w 8079933"/>
              <a:gd name="connsiteY21725" fmla="*/ 1046002 h 4687251"/>
              <a:gd name="connsiteX21726" fmla="*/ 899170 w 8079933"/>
              <a:gd name="connsiteY21726" fmla="*/ 1036258 h 4687251"/>
              <a:gd name="connsiteX21727" fmla="*/ 902100 w 8079933"/>
              <a:gd name="connsiteY21727" fmla="*/ 1037666 h 4687251"/>
              <a:gd name="connsiteX21728" fmla="*/ 902317 w 8079933"/>
              <a:gd name="connsiteY21728" fmla="*/ 1041780 h 4687251"/>
              <a:gd name="connsiteX21729" fmla="*/ 905354 w 8079933"/>
              <a:gd name="connsiteY21729" fmla="*/ 1041780 h 4687251"/>
              <a:gd name="connsiteX21730" fmla="*/ 906982 w 8079933"/>
              <a:gd name="connsiteY21730" fmla="*/ 1045027 h 4687251"/>
              <a:gd name="connsiteX21731" fmla="*/ 902750 w 8079933"/>
              <a:gd name="connsiteY21731" fmla="*/ 1046976 h 4687251"/>
              <a:gd name="connsiteX21732" fmla="*/ 896241 w 8079933"/>
              <a:gd name="connsiteY21732" fmla="*/ 1045894 h 4687251"/>
              <a:gd name="connsiteX21733" fmla="*/ 896132 w 8079933"/>
              <a:gd name="connsiteY21733" fmla="*/ 1038315 h 4687251"/>
              <a:gd name="connsiteX21734" fmla="*/ 4206322 w 8079933"/>
              <a:gd name="connsiteY21734" fmla="*/ 1035717 h 4687251"/>
              <a:gd name="connsiteX21735" fmla="*/ 4210445 w 8079933"/>
              <a:gd name="connsiteY21735" fmla="*/ 1039182 h 4687251"/>
              <a:gd name="connsiteX21736" fmla="*/ 4203718 w 8079933"/>
              <a:gd name="connsiteY21736" fmla="*/ 1040048 h 4687251"/>
              <a:gd name="connsiteX21737" fmla="*/ 5277056 w 8079933"/>
              <a:gd name="connsiteY21737" fmla="*/ 1035608 h 4687251"/>
              <a:gd name="connsiteX21738" fmla="*/ 5280312 w 8079933"/>
              <a:gd name="connsiteY21738" fmla="*/ 1035608 h 4687251"/>
              <a:gd name="connsiteX21739" fmla="*/ 5283675 w 8079933"/>
              <a:gd name="connsiteY21739" fmla="*/ 1036799 h 4687251"/>
              <a:gd name="connsiteX21740" fmla="*/ 5287365 w 8079933"/>
              <a:gd name="connsiteY21740" fmla="*/ 1035716 h 4687251"/>
              <a:gd name="connsiteX21741" fmla="*/ 5291164 w 8079933"/>
              <a:gd name="connsiteY21741" fmla="*/ 1036799 h 4687251"/>
              <a:gd name="connsiteX21742" fmla="*/ 5293009 w 8079933"/>
              <a:gd name="connsiteY21742" fmla="*/ 1041238 h 4687251"/>
              <a:gd name="connsiteX21743" fmla="*/ 5291164 w 8079933"/>
              <a:gd name="connsiteY21743" fmla="*/ 1043295 h 4687251"/>
              <a:gd name="connsiteX21744" fmla="*/ 5286280 w 8079933"/>
              <a:gd name="connsiteY21744" fmla="*/ 1045028 h 4687251"/>
              <a:gd name="connsiteX21745" fmla="*/ 5280962 w 8079933"/>
              <a:gd name="connsiteY21745" fmla="*/ 1041671 h 4687251"/>
              <a:gd name="connsiteX21746" fmla="*/ 5280637 w 8079933"/>
              <a:gd name="connsiteY21746" fmla="*/ 1038748 h 4687251"/>
              <a:gd name="connsiteX21747" fmla="*/ 5277490 w 8079933"/>
              <a:gd name="connsiteY21747" fmla="*/ 1037773 h 4687251"/>
              <a:gd name="connsiteX21748" fmla="*/ 4284019 w 8079933"/>
              <a:gd name="connsiteY21748" fmla="*/ 1034091 h 4687251"/>
              <a:gd name="connsiteX21749" fmla="*/ 4278919 w 8079933"/>
              <a:gd name="connsiteY21749" fmla="*/ 1036798 h 4687251"/>
              <a:gd name="connsiteX21750" fmla="*/ 4271974 w 8079933"/>
              <a:gd name="connsiteY21750" fmla="*/ 1036690 h 4687251"/>
              <a:gd name="connsiteX21751" fmla="*/ 4269587 w 8079933"/>
              <a:gd name="connsiteY21751" fmla="*/ 1038206 h 4687251"/>
              <a:gd name="connsiteX21752" fmla="*/ 4269587 w 8079933"/>
              <a:gd name="connsiteY21752" fmla="*/ 1038206 h 4687251"/>
              <a:gd name="connsiteX21753" fmla="*/ 4271974 w 8079933"/>
              <a:gd name="connsiteY21753" fmla="*/ 1036691 h 4687251"/>
              <a:gd name="connsiteX21754" fmla="*/ 4278919 w 8079933"/>
              <a:gd name="connsiteY21754" fmla="*/ 1036799 h 4687251"/>
              <a:gd name="connsiteX21755" fmla="*/ 4284019 w 8079933"/>
              <a:gd name="connsiteY21755" fmla="*/ 1034092 h 4687251"/>
              <a:gd name="connsiteX21756" fmla="*/ 4291941 w 8079933"/>
              <a:gd name="connsiteY21756" fmla="*/ 1036150 h 4687251"/>
              <a:gd name="connsiteX21757" fmla="*/ 4296824 w 8079933"/>
              <a:gd name="connsiteY21757" fmla="*/ 1039398 h 4687251"/>
              <a:gd name="connsiteX21758" fmla="*/ 4302358 w 8079933"/>
              <a:gd name="connsiteY21758" fmla="*/ 1039939 h 4687251"/>
              <a:gd name="connsiteX21759" fmla="*/ 4305397 w 8079933"/>
              <a:gd name="connsiteY21759" fmla="*/ 1042537 h 4687251"/>
              <a:gd name="connsiteX21760" fmla="*/ 4307893 w 8079933"/>
              <a:gd name="connsiteY21760" fmla="*/ 1041672 h 4687251"/>
              <a:gd name="connsiteX21761" fmla="*/ 4310063 w 8079933"/>
              <a:gd name="connsiteY21761" fmla="*/ 1042970 h 4687251"/>
              <a:gd name="connsiteX21762" fmla="*/ 4310063 w 8079933"/>
              <a:gd name="connsiteY21762" fmla="*/ 1042969 h 4687251"/>
              <a:gd name="connsiteX21763" fmla="*/ 4307893 w 8079933"/>
              <a:gd name="connsiteY21763" fmla="*/ 1041671 h 4687251"/>
              <a:gd name="connsiteX21764" fmla="*/ 4305397 w 8079933"/>
              <a:gd name="connsiteY21764" fmla="*/ 1042536 h 4687251"/>
              <a:gd name="connsiteX21765" fmla="*/ 4302359 w 8079933"/>
              <a:gd name="connsiteY21765" fmla="*/ 1039938 h 4687251"/>
              <a:gd name="connsiteX21766" fmla="*/ 4296825 w 8079933"/>
              <a:gd name="connsiteY21766" fmla="*/ 1039397 h 4687251"/>
              <a:gd name="connsiteX21767" fmla="*/ 4291941 w 8079933"/>
              <a:gd name="connsiteY21767" fmla="*/ 1036149 h 4687251"/>
              <a:gd name="connsiteX21768" fmla="*/ 4307597 w 8079933"/>
              <a:gd name="connsiteY21768" fmla="*/ 1031996 h 4687251"/>
              <a:gd name="connsiteX21769" fmla="*/ 4307459 w 8079933"/>
              <a:gd name="connsiteY21769" fmla="*/ 1033334 h 4687251"/>
              <a:gd name="connsiteX21770" fmla="*/ 4307459 w 8079933"/>
              <a:gd name="connsiteY21770" fmla="*/ 1033334 h 4687251"/>
              <a:gd name="connsiteX21771" fmla="*/ 878768 w 8079933"/>
              <a:gd name="connsiteY21771" fmla="*/ 1031602 h 4687251"/>
              <a:gd name="connsiteX21772" fmla="*/ 881700 w 8079933"/>
              <a:gd name="connsiteY21772" fmla="*/ 1031818 h 4687251"/>
              <a:gd name="connsiteX21773" fmla="*/ 882892 w 8079933"/>
              <a:gd name="connsiteY21773" fmla="*/ 1033875 h 4687251"/>
              <a:gd name="connsiteX21774" fmla="*/ 879636 w 8079933"/>
              <a:gd name="connsiteY21774" fmla="*/ 1037232 h 4687251"/>
              <a:gd name="connsiteX21775" fmla="*/ 877577 w 8079933"/>
              <a:gd name="connsiteY21775" fmla="*/ 1040480 h 4687251"/>
              <a:gd name="connsiteX21776" fmla="*/ 872909 w 8079933"/>
              <a:gd name="connsiteY21776" fmla="*/ 1044594 h 4687251"/>
              <a:gd name="connsiteX21777" fmla="*/ 872149 w 8079933"/>
              <a:gd name="connsiteY21777" fmla="*/ 1047085 h 4687251"/>
              <a:gd name="connsiteX21778" fmla="*/ 869872 w 8079933"/>
              <a:gd name="connsiteY21778" fmla="*/ 1046868 h 4687251"/>
              <a:gd name="connsiteX21779" fmla="*/ 868677 w 8079933"/>
              <a:gd name="connsiteY21779" fmla="*/ 1044594 h 4687251"/>
              <a:gd name="connsiteX21780" fmla="*/ 875296 w 8079933"/>
              <a:gd name="connsiteY21780" fmla="*/ 1037881 h 4687251"/>
              <a:gd name="connsiteX21781" fmla="*/ 875839 w 8079933"/>
              <a:gd name="connsiteY21781" fmla="*/ 1034850 h 4687251"/>
              <a:gd name="connsiteX21782" fmla="*/ 4467034 w 8079933"/>
              <a:gd name="connsiteY21782" fmla="*/ 1029070 h 4687251"/>
              <a:gd name="connsiteX21783" fmla="*/ 4466979 w 8079933"/>
              <a:gd name="connsiteY21783" fmla="*/ 1029328 h 4687251"/>
              <a:gd name="connsiteX21784" fmla="*/ 4468290 w 8079933"/>
              <a:gd name="connsiteY21784" fmla="*/ 1030897 h 4687251"/>
              <a:gd name="connsiteX21785" fmla="*/ 4468063 w 8079933"/>
              <a:gd name="connsiteY21785" fmla="*/ 1030303 h 4687251"/>
              <a:gd name="connsiteX21786" fmla="*/ 2261486 w 8079933"/>
              <a:gd name="connsiteY21786" fmla="*/ 1025431 h 4687251"/>
              <a:gd name="connsiteX21787" fmla="*/ 2263765 w 8079933"/>
              <a:gd name="connsiteY21787" fmla="*/ 1026405 h 4687251"/>
              <a:gd name="connsiteX21788" fmla="*/ 2260293 w 8079933"/>
              <a:gd name="connsiteY21788" fmla="*/ 1030845 h 4687251"/>
              <a:gd name="connsiteX21789" fmla="*/ 2260293 w 8079933"/>
              <a:gd name="connsiteY21789" fmla="*/ 1033984 h 4687251"/>
              <a:gd name="connsiteX21790" fmla="*/ 2264416 w 8079933"/>
              <a:gd name="connsiteY21790" fmla="*/ 1032902 h 4687251"/>
              <a:gd name="connsiteX21791" fmla="*/ 2265609 w 8079933"/>
              <a:gd name="connsiteY21791" fmla="*/ 1037232 h 4687251"/>
              <a:gd name="connsiteX21792" fmla="*/ 2264741 w 8079933"/>
              <a:gd name="connsiteY21792" fmla="*/ 1041022 h 4687251"/>
              <a:gd name="connsiteX21793" fmla="*/ 2265936 w 8079933"/>
              <a:gd name="connsiteY21793" fmla="*/ 1044053 h 4687251"/>
              <a:gd name="connsiteX21794" fmla="*/ 2262680 w 8079933"/>
              <a:gd name="connsiteY21794" fmla="*/ 1044053 h 4687251"/>
              <a:gd name="connsiteX21795" fmla="*/ 2260293 w 8079933"/>
              <a:gd name="connsiteY21795" fmla="*/ 1044053 h 4687251"/>
              <a:gd name="connsiteX21796" fmla="*/ 2259641 w 8079933"/>
              <a:gd name="connsiteY21796" fmla="*/ 1046760 h 4687251"/>
              <a:gd name="connsiteX21797" fmla="*/ 2261703 w 8079933"/>
              <a:gd name="connsiteY21797" fmla="*/ 1051199 h 4687251"/>
              <a:gd name="connsiteX21798" fmla="*/ 2261703 w 8079933"/>
              <a:gd name="connsiteY21798" fmla="*/ 1057045 h 4687251"/>
              <a:gd name="connsiteX21799" fmla="*/ 2263765 w 8079933"/>
              <a:gd name="connsiteY21799" fmla="*/ 1058886 h 4687251"/>
              <a:gd name="connsiteX21800" fmla="*/ 2266369 w 8079933"/>
              <a:gd name="connsiteY21800" fmla="*/ 1056612 h 4687251"/>
              <a:gd name="connsiteX21801" fmla="*/ 2267237 w 8079933"/>
              <a:gd name="connsiteY21801" fmla="*/ 1052498 h 4687251"/>
              <a:gd name="connsiteX21802" fmla="*/ 2271578 w 8079933"/>
              <a:gd name="connsiteY21802" fmla="*/ 1047302 h 4687251"/>
              <a:gd name="connsiteX21803" fmla="*/ 2273097 w 8079933"/>
              <a:gd name="connsiteY21803" fmla="*/ 1047302 h 4687251"/>
              <a:gd name="connsiteX21804" fmla="*/ 2274182 w 8079933"/>
              <a:gd name="connsiteY21804" fmla="*/ 1050549 h 4687251"/>
              <a:gd name="connsiteX21805" fmla="*/ 2277763 w 8079933"/>
              <a:gd name="connsiteY21805" fmla="*/ 1053256 h 4687251"/>
              <a:gd name="connsiteX21806" fmla="*/ 2277763 w 8079933"/>
              <a:gd name="connsiteY21806" fmla="*/ 1055638 h 4687251"/>
              <a:gd name="connsiteX21807" fmla="*/ 2275810 w 8079933"/>
              <a:gd name="connsiteY21807" fmla="*/ 1058020 h 4687251"/>
              <a:gd name="connsiteX21808" fmla="*/ 2278089 w 8079933"/>
              <a:gd name="connsiteY21808" fmla="*/ 1062676 h 4687251"/>
              <a:gd name="connsiteX21809" fmla="*/ 2285794 w 8079933"/>
              <a:gd name="connsiteY21809" fmla="*/ 1065599 h 4687251"/>
              <a:gd name="connsiteX21810" fmla="*/ 2291654 w 8079933"/>
              <a:gd name="connsiteY21810" fmla="*/ 1065599 h 4687251"/>
              <a:gd name="connsiteX21811" fmla="*/ 2293173 w 8079933"/>
              <a:gd name="connsiteY21811" fmla="*/ 1069063 h 4687251"/>
              <a:gd name="connsiteX21812" fmla="*/ 2292305 w 8079933"/>
              <a:gd name="connsiteY21812" fmla="*/ 1074585 h 4687251"/>
              <a:gd name="connsiteX21813" fmla="*/ 2293498 w 8079933"/>
              <a:gd name="connsiteY21813" fmla="*/ 1077509 h 4687251"/>
              <a:gd name="connsiteX21814" fmla="*/ 2296754 w 8079933"/>
              <a:gd name="connsiteY21814" fmla="*/ 1077509 h 4687251"/>
              <a:gd name="connsiteX21815" fmla="*/ 2298273 w 8079933"/>
              <a:gd name="connsiteY21815" fmla="*/ 1083030 h 4687251"/>
              <a:gd name="connsiteX21816" fmla="*/ 2298273 w 8079933"/>
              <a:gd name="connsiteY21816" fmla="*/ 1085087 h 4687251"/>
              <a:gd name="connsiteX21817" fmla="*/ 2304133 w 8079933"/>
              <a:gd name="connsiteY21817" fmla="*/ 1087469 h 4687251"/>
              <a:gd name="connsiteX21818" fmla="*/ 2310427 w 8079933"/>
              <a:gd name="connsiteY21818" fmla="*/ 1094399 h 4687251"/>
              <a:gd name="connsiteX21819" fmla="*/ 2310427 w 8079933"/>
              <a:gd name="connsiteY21819" fmla="*/ 1097647 h 4687251"/>
              <a:gd name="connsiteX21820" fmla="*/ 2313032 w 8079933"/>
              <a:gd name="connsiteY21820" fmla="*/ 1099921 h 4687251"/>
              <a:gd name="connsiteX21821" fmla="*/ 2313032 w 8079933"/>
              <a:gd name="connsiteY21821" fmla="*/ 1102303 h 4687251"/>
              <a:gd name="connsiteX21822" fmla="*/ 2311512 w 8079933"/>
              <a:gd name="connsiteY21822" fmla="*/ 1105117 h 4687251"/>
              <a:gd name="connsiteX21823" fmla="*/ 2311512 w 8079933"/>
              <a:gd name="connsiteY21823" fmla="*/ 1110206 h 4687251"/>
              <a:gd name="connsiteX21824" fmla="*/ 2313032 w 8079933"/>
              <a:gd name="connsiteY21824" fmla="*/ 1111613 h 4687251"/>
              <a:gd name="connsiteX21825" fmla="*/ 2313032 w 8079933"/>
              <a:gd name="connsiteY21825" fmla="*/ 1114754 h 4687251"/>
              <a:gd name="connsiteX21826" fmla="*/ 2309559 w 8079933"/>
              <a:gd name="connsiteY21826" fmla="*/ 1117352 h 4687251"/>
              <a:gd name="connsiteX21827" fmla="*/ 2306412 w 8079933"/>
              <a:gd name="connsiteY21827" fmla="*/ 1117352 h 4687251"/>
              <a:gd name="connsiteX21828" fmla="*/ 2302288 w 8079933"/>
              <a:gd name="connsiteY21828" fmla="*/ 1119842 h 4687251"/>
              <a:gd name="connsiteX21829" fmla="*/ 2305436 w 8079933"/>
              <a:gd name="connsiteY21829" fmla="*/ 1122441 h 4687251"/>
              <a:gd name="connsiteX21830" fmla="*/ 2312815 w 8079933"/>
              <a:gd name="connsiteY21830" fmla="*/ 1122441 h 4687251"/>
              <a:gd name="connsiteX21831" fmla="*/ 2315962 w 8079933"/>
              <a:gd name="connsiteY21831" fmla="*/ 1119084 h 4687251"/>
              <a:gd name="connsiteX21832" fmla="*/ 2317589 w 8079933"/>
              <a:gd name="connsiteY21832" fmla="*/ 1118326 h 4687251"/>
              <a:gd name="connsiteX21833" fmla="*/ 2317589 w 8079933"/>
              <a:gd name="connsiteY21833" fmla="*/ 1121358 h 4687251"/>
              <a:gd name="connsiteX21834" fmla="*/ 2321604 w 8079933"/>
              <a:gd name="connsiteY21834" fmla="*/ 1123199 h 4687251"/>
              <a:gd name="connsiteX21835" fmla="*/ 2323449 w 8079933"/>
              <a:gd name="connsiteY21835" fmla="*/ 1124389 h 4687251"/>
              <a:gd name="connsiteX21836" fmla="*/ 2325294 w 8079933"/>
              <a:gd name="connsiteY21836" fmla="*/ 1123090 h 4687251"/>
              <a:gd name="connsiteX21837" fmla="*/ 2325294 w 8079933"/>
              <a:gd name="connsiteY21837" fmla="*/ 1120275 h 4687251"/>
              <a:gd name="connsiteX21838" fmla="*/ 2327030 w 8079933"/>
              <a:gd name="connsiteY21838" fmla="*/ 1119517 h 4687251"/>
              <a:gd name="connsiteX21839" fmla="*/ 2328875 w 8079933"/>
              <a:gd name="connsiteY21839" fmla="*/ 1123199 h 4687251"/>
              <a:gd name="connsiteX21840" fmla="*/ 2331697 w 8079933"/>
              <a:gd name="connsiteY21840" fmla="*/ 1124389 h 4687251"/>
              <a:gd name="connsiteX21841" fmla="*/ 2330177 w 8079933"/>
              <a:gd name="connsiteY21841" fmla="*/ 1127096 h 4687251"/>
              <a:gd name="connsiteX21842" fmla="*/ 2327355 w 8079933"/>
              <a:gd name="connsiteY21842" fmla="*/ 1128070 h 4687251"/>
              <a:gd name="connsiteX21843" fmla="*/ 2329635 w 8079933"/>
              <a:gd name="connsiteY21843" fmla="*/ 1130994 h 4687251"/>
              <a:gd name="connsiteX21844" fmla="*/ 2332456 w 8079933"/>
              <a:gd name="connsiteY21844" fmla="*/ 1132618 h 4687251"/>
              <a:gd name="connsiteX21845" fmla="*/ 2331480 w 8079933"/>
              <a:gd name="connsiteY21845" fmla="*/ 1134892 h 4687251"/>
              <a:gd name="connsiteX21846" fmla="*/ 2327464 w 8079933"/>
              <a:gd name="connsiteY21846" fmla="*/ 1134892 h 4687251"/>
              <a:gd name="connsiteX21847" fmla="*/ 2323774 w 8079933"/>
              <a:gd name="connsiteY21847" fmla="*/ 1138790 h 4687251"/>
              <a:gd name="connsiteX21848" fmla="*/ 2321062 w 8079933"/>
              <a:gd name="connsiteY21848" fmla="*/ 1139764 h 4687251"/>
              <a:gd name="connsiteX21849" fmla="*/ 2318458 w 8079933"/>
              <a:gd name="connsiteY21849" fmla="*/ 1145178 h 4687251"/>
              <a:gd name="connsiteX21850" fmla="*/ 2316396 w 8079933"/>
              <a:gd name="connsiteY21850" fmla="*/ 1146476 h 4687251"/>
              <a:gd name="connsiteX21851" fmla="*/ 2310644 w 8079933"/>
              <a:gd name="connsiteY21851" fmla="*/ 1143012 h 4687251"/>
              <a:gd name="connsiteX21852" fmla="*/ 2308040 w 8079933"/>
              <a:gd name="connsiteY21852" fmla="*/ 1143012 h 4687251"/>
              <a:gd name="connsiteX21853" fmla="*/ 2305436 w 8079933"/>
              <a:gd name="connsiteY21853" fmla="*/ 1140630 h 4687251"/>
              <a:gd name="connsiteX21854" fmla="*/ 2301203 w 8079933"/>
              <a:gd name="connsiteY21854" fmla="*/ 1140630 h 4687251"/>
              <a:gd name="connsiteX21855" fmla="*/ 2299793 w 8079933"/>
              <a:gd name="connsiteY21855" fmla="*/ 1137707 h 4687251"/>
              <a:gd name="connsiteX21856" fmla="*/ 2296971 w 8079933"/>
              <a:gd name="connsiteY21856" fmla="*/ 1138356 h 4687251"/>
              <a:gd name="connsiteX21857" fmla="*/ 2295452 w 8079933"/>
              <a:gd name="connsiteY21857" fmla="*/ 1136949 h 4687251"/>
              <a:gd name="connsiteX21858" fmla="*/ 2292305 w 8079933"/>
              <a:gd name="connsiteY21858" fmla="*/ 1136949 h 4687251"/>
              <a:gd name="connsiteX21859" fmla="*/ 2290352 w 8079933"/>
              <a:gd name="connsiteY21859" fmla="*/ 1138248 h 4687251"/>
              <a:gd name="connsiteX21860" fmla="*/ 2287422 w 8079933"/>
              <a:gd name="connsiteY21860" fmla="*/ 1136840 h 4687251"/>
              <a:gd name="connsiteX21861" fmla="*/ 2287422 w 8079933"/>
              <a:gd name="connsiteY21861" fmla="*/ 1131211 h 4687251"/>
              <a:gd name="connsiteX21862" fmla="*/ 2290352 w 8079933"/>
              <a:gd name="connsiteY21862" fmla="*/ 1130345 h 4687251"/>
              <a:gd name="connsiteX21863" fmla="*/ 2293173 w 8079933"/>
              <a:gd name="connsiteY21863" fmla="*/ 1125905 h 4687251"/>
              <a:gd name="connsiteX21864" fmla="*/ 2292088 w 8079933"/>
              <a:gd name="connsiteY21864" fmla="*/ 1122549 h 4687251"/>
              <a:gd name="connsiteX21865" fmla="*/ 2288941 w 8079933"/>
              <a:gd name="connsiteY21865" fmla="*/ 1121358 h 4687251"/>
              <a:gd name="connsiteX21866" fmla="*/ 2284166 w 8079933"/>
              <a:gd name="connsiteY21866" fmla="*/ 1121358 h 4687251"/>
              <a:gd name="connsiteX21867" fmla="*/ 2280476 w 8079933"/>
              <a:gd name="connsiteY21867" fmla="*/ 1118976 h 4687251"/>
              <a:gd name="connsiteX21868" fmla="*/ 2282429 w 8079933"/>
              <a:gd name="connsiteY21868" fmla="*/ 1116378 h 4687251"/>
              <a:gd name="connsiteX21869" fmla="*/ 2285468 w 8079933"/>
              <a:gd name="connsiteY21869" fmla="*/ 1113779 h 4687251"/>
              <a:gd name="connsiteX21870" fmla="*/ 2284817 w 8079933"/>
              <a:gd name="connsiteY21870" fmla="*/ 1109990 h 4687251"/>
              <a:gd name="connsiteX21871" fmla="*/ 2282538 w 8079933"/>
              <a:gd name="connsiteY21871" fmla="*/ 1108799 h 4687251"/>
              <a:gd name="connsiteX21872" fmla="*/ 2279825 w 8079933"/>
              <a:gd name="connsiteY21872" fmla="*/ 1109881 h 4687251"/>
              <a:gd name="connsiteX21873" fmla="*/ 2277546 w 8079933"/>
              <a:gd name="connsiteY21873" fmla="*/ 1112264 h 4687251"/>
              <a:gd name="connsiteX21874" fmla="*/ 2275376 w 8079933"/>
              <a:gd name="connsiteY21874" fmla="*/ 1110315 h 4687251"/>
              <a:gd name="connsiteX21875" fmla="*/ 2272447 w 8079933"/>
              <a:gd name="connsiteY21875" fmla="*/ 1110315 h 4687251"/>
              <a:gd name="connsiteX21876" fmla="*/ 2270927 w 8079933"/>
              <a:gd name="connsiteY21876" fmla="*/ 1113346 h 4687251"/>
              <a:gd name="connsiteX21877" fmla="*/ 2266912 w 8079933"/>
              <a:gd name="connsiteY21877" fmla="*/ 1116052 h 4687251"/>
              <a:gd name="connsiteX21878" fmla="*/ 2266912 w 8079933"/>
              <a:gd name="connsiteY21878" fmla="*/ 1121791 h 4687251"/>
              <a:gd name="connsiteX21879" fmla="*/ 2265176 w 8079933"/>
              <a:gd name="connsiteY21879" fmla="*/ 1127854 h 4687251"/>
              <a:gd name="connsiteX21880" fmla="*/ 2262354 w 8079933"/>
              <a:gd name="connsiteY21880" fmla="*/ 1127854 h 4687251"/>
              <a:gd name="connsiteX21881" fmla="*/ 2260075 w 8079933"/>
              <a:gd name="connsiteY21881" fmla="*/ 1129370 h 4687251"/>
              <a:gd name="connsiteX21882" fmla="*/ 2256603 w 8079933"/>
              <a:gd name="connsiteY21882" fmla="*/ 1131860 h 4687251"/>
              <a:gd name="connsiteX21883" fmla="*/ 2254432 w 8079933"/>
              <a:gd name="connsiteY21883" fmla="*/ 1129695 h 4687251"/>
              <a:gd name="connsiteX21884" fmla="*/ 2252370 w 8079933"/>
              <a:gd name="connsiteY21884" fmla="*/ 1129695 h 4687251"/>
              <a:gd name="connsiteX21885" fmla="*/ 2250092 w 8079933"/>
              <a:gd name="connsiteY21885" fmla="*/ 1133268 h 4687251"/>
              <a:gd name="connsiteX21886" fmla="*/ 2246945 w 8079933"/>
              <a:gd name="connsiteY21886" fmla="*/ 1135974 h 4687251"/>
              <a:gd name="connsiteX21887" fmla="*/ 2245642 w 8079933"/>
              <a:gd name="connsiteY21887" fmla="*/ 1141063 h 4687251"/>
              <a:gd name="connsiteX21888" fmla="*/ 2241736 w 8079933"/>
              <a:gd name="connsiteY21888" fmla="*/ 1144636 h 4687251"/>
              <a:gd name="connsiteX21889" fmla="*/ 2238480 w 8079933"/>
              <a:gd name="connsiteY21889" fmla="*/ 1144636 h 4687251"/>
              <a:gd name="connsiteX21890" fmla="*/ 2235008 w 8079933"/>
              <a:gd name="connsiteY21890" fmla="*/ 1146585 h 4687251"/>
              <a:gd name="connsiteX21891" fmla="*/ 2233923 w 8079933"/>
              <a:gd name="connsiteY21891" fmla="*/ 1148533 h 4687251"/>
              <a:gd name="connsiteX21892" fmla="*/ 2230016 w 8079933"/>
              <a:gd name="connsiteY21892" fmla="*/ 1148533 h 4687251"/>
              <a:gd name="connsiteX21893" fmla="*/ 2227412 w 8079933"/>
              <a:gd name="connsiteY21893" fmla="*/ 1150266 h 4687251"/>
              <a:gd name="connsiteX21894" fmla="*/ 2223939 w 8079933"/>
              <a:gd name="connsiteY21894" fmla="*/ 1150266 h 4687251"/>
              <a:gd name="connsiteX21895" fmla="*/ 2222203 w 8079933"/>
              <a:gd name="connsiteY21895" fmla="*/ 1148967 h 4687251"/>
              <a:gd name="connsiteX21896" fmla="*/ 2219598 w 8079933"/>
              <a:gd name="connsiteY21896" fmla="*/ 1150266 h 4687251"/>
              <a:gd name="connsiteX21897" fmla="*/ 2218622 w 8079933"/>
              <a:gd name="connsiteY21897" fmla="*/ 1148318 h 4687251"/>
              <a:gd name="connsiteX21898" fmla="*/ 2218622 w 8079933"/>
              <a:gd name="connsiteY21898" fmla="*/ 1141929 h 4687251"/>
              <a:gd name="connsiteX21899" fmla="*/ 2221335 w 8079933"/>
              <a:gd name="connsiteY21899" fmla="*/ 1138140 h 4687251"/>
              <a:gd name="connsiteX21900" fmla="*/ 2220575 w 8079933"/>
              <a:gd name="connsiteY21900" fmla="*/ 1134351 h 4687251"/>
              <a:gd name="connsiteX21901" fmla="*/ 2224156 w 8079933"/>
              <a:gd name="connsiteY21901" fmla="*/ 1129695 h 4687251"/>
              <a:gd name="connsiteX21902" fmla="*/ 2223505 w 8079933"/>
              <a:gd name="connsiteY21902" fmla="*/ 1126880 h 4687251"/>
              <a:gd name="connsiteX21903" fmla="*/ 2220901 w 8079933"/>
              <a:gd name="connsiteY21903" fmla="*/ 1125147 h 4687251"/>
              <a:gd name="connsiteX21904" fmla="*/ 2218622 w 8079933"/>
              <a:gd name="connsiteY21904" fmla="*/ 1125147 h 4687251"/>
              <a:gd name="connsiteX21905" fmla="*/ 2216777 w 8079933"/>
              <a:gd name="connsiteY21905" fmla="*/ 1126231 h 4687251"/>
              <a:gd name="connsiteX21906" fmla="*/ 2213087 w 8079933"/>
              <a:gd name="connsiteY21906" fmla="*/ 1126231 h 4687251"/>
              <a:gd name="connsiteX21907" fmla="*/ 2210049 w 8079933"/>
              <a:gd name="connsiteY21907" fmla="*/ 1124498 h 4687251"/>
              <a:gd name="connsiteX21908" fmla="*/ 2208421 w 8079933"/>
              <a:gd name="connsiteY21908" fmla="*/ 1123307 h 4687251"/>
              <a:gd name="connsiteX21909" fmla="*/ 2206142 w 8079933"/>
              <a:gd name="connsiteY21909" fmla="*/ 1124173 h 4687251"/>
              <a:gd name="connsiteX21910" fmla="*/ 2205166 w 8079933"/>
              <a:gd name="connsiteY21910" fmla="*/ 1128179 h 4687251"/>
              <a:gd name="connsiteX21911" fmla="*/ 2203104 w 8079933"/>
              <a:gd name="connsiteY21911" fmla="*/ 1128179 h 4687251"/>
              <a:gd name="connsiteX21912" fmla="*/ 2202236 w 8079933"/>
              <a:gd name="connsiteY21912" fmla="*/ 1123199 h 4687251"/>
              <a:gd name="connsiteX21913" fmla="*/ 2204623 w 8079933"/>
              <a:gd name="connsiteY21913" fmla="*/ 1115078 h 4687251"/>
              <a:gd name="connsiteX21914" fmla="*/ 2204623 w 8079933"/>
              <a:gd name="connsiteY21914" fmla="*/ 1110748 h 4687251"/>
              <a:gd name="connsiteX21915" fmla="*/ 2212328 w 8079933"/>
              <a:gd name="connsiteY21915" fmla="*/ 1107607 h 4687251"/>
              <a:gd name="connsiteX21916" fmla="*/ 2218188 w 8079933"/>
              <a:gd name="connsiteY21916" fmla="*/ 1107607 h 4687251"/>
              <a:gd name="connsiteX21917" fmla="*/ 2220901 w 8079933"/>
              <a:gd name="connsiteY21917" fmla="*/ 1104685 h 4687251"/>
              <a:gd name="connsiteX21918" fmla="*/ 2220901 w 8079933"/>
              <a:gd name="connsiteY21918" fmla="*/ 1097864 h 4687251"/>
              <a:gd name="connsiteX21919" fmla="*/ 2222094 w 8079933"/>
              <a:gd name="connsiteY21919" fmla="*/ 1095265 h 4687251"/>
              <a:gd name="connsiteX21920" fmla="*/ 2222094 w 8079933"/>
              <a:gd name="connsiteY21920" fmla="*/ 1088769 h 4687251"/>
              <a:gd name="connsiteX21921" fmla="*/ 2224156 w 8079933"/>
              <a:gd name="connsiteY21921" fmla="*/ 1084763 h 4687251"/>
              <a:gd name="connsiteX21922" fmla="*/ 2230125 w 8079933"/>
              <a:gd name="connsiteY21922" fmla="*/ 1079457 h 4687251"/>
              <a:gd name="connsiteX21923" fmla="*/ 2230125 w 8079933"/>
              <a:gd name="connsiteY21923" fmla="*/ 1075668 h 4687251"/>
              <a:gd name="connsiteX21924" fmla="*/ 2231319 w 8079933"/>
              <a:gd name="connsiteY21924" fmla="*/ 1071337 h 4687251"/>
              <a:gd name="connsiteX21925" fmla="*/ 2233923 w 8079933"/>
              <a:gd name="connsiteY21925" fmla="*/ 1069930 h 4687251"/>
              <a:gd name="connsiteX21926" fmla="*/ 2232187 w 8079933"/>
              <a:gd name="connsiteY21926" fmla="*/ 1066682 h 4687251"/>
              <a:gd name="connsiteX21927" fmla="*/ 2236853 w 8079933"/>
              <a:gd name="connsiteY21927" fmla="*/ 1059102 h 4687251"/>
              <a:gd name="connsiteX21928" fmla="*/ 2236853 w 8079933"/>
              <a:gd name="connsiteY21928" fmla="*/ 1056179 h 4687251"/>
              <a:gd name="connsiteX21929" fmla="*/ 2239783 w 8079933"/>
              <a:gd name="connsiteY21929" fmla="*/ 1052173 h 4687251"/>
              <a:gd name="connsiteX21930" fmla="*/ 2239783 w 8079933"/>
              <a:gd name="connsiteY21930" fmla="*/ 1048709 h 4687251"/>
              <a:gd name="connsiteX21931" fmla="*/ 2244123 w 8079933"/>
              <a:gd name="connsiteY21931" fmla="*/ 1042321 h 4687251"/>
              <a:gd name="connsiteX21932" fmla="*/ 2247704 w 8079933"/>
              <a:gd name="connsiteY21932" fmla="*/ 1033226 h 4687251"/>
              <a:gd name="connsiteX21933" fmla="*/ 2252370 w 8079933"/>
              <a:gd name="connsiteY21933" fmla="*/ 1029220 h 4687251"/>
              <a:gd name="connsiteX21934" fmla="*/ 4312017 w 8079933"/>
              <a:gd name="connsiteY21934" fmla="*/ 1023914 h 4687251"/>
              <a:gd name="connsiteX21935" fmla="*/ 4308219 w 8079933"/>
              <a:gd name="connsiteY21935" fmla="*/ 1025971 h 4687251"/>
              <a:gd name="connsiteX21936" fmla="*/ 4308219 w 8079933"/>
              <a:gd name="connsiteY21936" fmla="*/ 1025972 h 4687251"/>
              <a:gd name="connsiteX21937" fmla="*/ 4312017 w 8079933"/>
              <a:gd name="connsiteY21937" fmla="*/ 1023915 h 4687251"/>
              <a:gd name="connsiteX21938" fmla="*/ 890597 w 8079933"/>
              <a:gd name="connsiteY21938" fmla="*/ 1023590 h 4687251"/>
              <a:gd name="connsiteX21939" fmla="*/ 894071 w 8079933"/>
              <a:gd name="connsiteY21939" fmla="*/ 1023915 h 4687251"/>
              <a:gd name="connsiteX21940" fmla="*/ 894503 w 8079933"/>
              <a:gd name="connsiteY21940" fmla="*/ 1027488 h 4687251"/>
              <a:gd name="connsiteX21941" fmla="*/ 889837 w 8079933"/>
              <a:gd name="connsiteY21941" fmla="*/ 1026838 h 4687251"/>
              <a:gd name="connsiteX21942" fmla="*/ 2730604 w 8079933"/>
              <a:gd name="connsiteY21942" fmla="*/ 1022940 h 4687251"/>
              <a:gd name="connsiteX21943" fmla="*/ 2732883 w 8079933"/>
              <a:gd name="connsiteY21943" fmla="*/ 1024348 h 4687251"/>
              <a:gd name="connsiteX21944" fmla="*/ 2730279 w 8079933"/>
              <a:gd name="connsiteY21944" fmla="*/ 1028787 h 4687251"/>
              <a:gd name="connsiteX21945" fmla="*/ 2727457 w 8079933"/>
              <a:gd name="connsiteY21945" fmla="*/ 1029761 h 4687251"/>
              <a:gd name="connsiteX21946" fmla="*/ 2725504 w 8079933"/>
              <a:gd name="connsiteY21946" fmla="*/ 1030736 h 4687251"/>
              <a:gd name="connsiteX21947" fmla="*/ 2725504 w 8079933"/>
              <a:gd name="connsiteY21947" fmla="*/ 1026188 h 4687251"/>
              <a:gd name="connsiteX21948" fmla="*/ 2728976 w 8079933"/>
              <a:gd name="connsiteY21948" fmla="*/ 1024239 h 4687251"/>
              <a:gd name="connsiteX21949" fmla="*/ 4247884 w 8079933"/>
              <a:gd name="connsiteY21949" fmla="*/ 1020017 h 4687251"/>
              <a:gd name="connsiteX21950" fmla="*/ 4250488 w 8079933"/>
              <a:gd name="connsiteY21950" fmla="*/ 1024023 h 4687251"/>
              <a:gd name="connsiteX21951" fmla="*/ 4246256 w 8079933"/>
              <a:gd name="connsiteY21951" fmla="*/ 1025864 h 4687251"/>
              <a:gd name="connsiteX21952" fmla="*/ 2272012 w 8079933"/>
              <a:gd name="connsiteY21952" fmla="*/ 1019692 h 4687251"/>
              <a:gd name="connsiteX21953" fmla="*/ 2274942 w 8079933"/>
              <a:gd name="connsiteY21953" fmla="*/ 1019800 h 4687251"/>
              <a:gd name="connsiteX21954" fmla="*/ 2275810 w 8079933"/>
              <a:gd name="connsiteY21954" fmla="*/ 1023806 h 4687251"/>
              <a:gd name="connsiteX21955" fmla="*/ 2273965 w 8079933"/>
              <a:gd name="connsiteY21955" fmla="*/ 1025106 h 4687251"/>
              <a:gd name="connsiteX21956" fmla="*/ 2274291 w 8079933"/>
              <a:gd name="connsiteY21956" fmla="*/ 1028029 h 4687251"/>
              <a:gd name="connsiteX21957" fmla="*/ 2276353 w 8079933"/>
              <a:gd name="connsiteY21957" fmla="*/ 1031277 h 4687251"/>
              <a:gd name="connsiteX21958" fmla="*/ 2273097 w 8079933"/>
              <a:gd name="connsiteY21958" fmla="*/ 1039073 h 4687251"/>
              <a:gd name="connsiteX21959" fmla="*/ 2270384 w 8079933"/>
              <a:gd name="connsiteY21959" fmla="*/ 1039939 h 4687251"/>
              <a:gd name="connsiteX21960" fmla="*/ 2270710 w 8079933"/>
              <a:gd name="connsiteY21960" fmla="*/ 1035608 h 4687251"/>
              <a:gd name="connsiteX21961" fmla="*/ 2269625 w 8079933"/>
              <a:gd name="connsiteY21961" fmla="*/ 1033010 h 4687251"/>
              <a:gd name="connsiteX21962" fmla="*/ 2270493 w 8079933"/>
              <a:gd name="connsiteY21962" fmla="*/ 1029978 h 4687251"/>
              <a:gd name="connsiteX21963" fmla="*/ 2270493 w 8079933"/>
              <a:gd name="connsiteY21963" fmla="*/ 1023481 h 4687251"/>
              <a:gd name="connsiteX21964" fmla="*/ 4224769 w 8079933"/>
              <a:gd name="connsiteY21964" fmla="*/ 1018609 h 4687251"/>
              <a:gd name="connsiteX21965" fmla="*/ 4221839 w 8079933"/>
              <a:gd name="connsiteY21965" fmla="*/ 1031060 h 4687251"/>
              <a:gd name="connsiteX21966" fmla="*/ 4223033 w 8079933"/>
              <a:gd name="connsiteY21966" fmla="*/ 1035607 h 4687251"/>
              <a:gd name="connsiteX21967" fmla="*/ 4226288 w 8079933"/>
              <a:gd name="connsiteY21967" fmla="*/ 1029544 h 4687251"/>
              <a:gd name="connsiteX21968" fmla="*/ 4233884 w 8079933"/>
              <a:gd name="connsiteY21968" fmla="*/ 1029219 h 4687251"/>
              <a:gd name="connsiteX21969" fmla="*/ 4230954 w 8079933"/>
              <a:gd name="connsiteY21969" fmla="*/ 1025105 h 4687251"/>
              <a:gd name="connsiteX21970" fmla="*/ 4230737 w 8079933"/>
              <a:gd name="connsiteY21970" fmla="*/ 1021640 h 4687251"/>
              <a:gd name="connsiteX21971" fmla="*/ 4233992 w 8079933"/>
              <a:gd name="connsiteY21971" fmla="*/ 1024131 h 4687251"/>
              <a:gd name="connsiteX21972" fmla="*/ 4240069 w 8079933"/>
              <a:gd name="connsiteY21972" fmla="*/ 1029977 h 4687251"/>
              <a:gd name="connsiteX21973" fmla="*/ 4231931 w 8079933"/>
              <a:gd name="connsiteY21973" fmla="*/ 1038855 h 4687251"/>
              <a:gd name="connsiteX21974" fmla="*/ 4226396 w 8079933"/>
              <a:gd name="connsiteY21974" fmla="*/ 1041994 h 4687251"/>
              <a:gd name="connsiteX21975" fmla="*/ 4224552 w 8079933"/>
              <a:gd name="connsiteY21975" fmla="*/ 1045784 h 4687251"/>
              <a:gd name="connsiteX21976" fmla="*/ 4220862 w 8079933"/>
              <a:gd name="connsiteY21976" fmla="*/ 1044485 h 4687251"/>
              <a:gd name="connsiteX21977" fmla="*/ 4221405 w 8079933"/>
              <a:gd name="connsiteY21977" fmla="*/ 1039829 h 4687251"/>
              <a:gd name="connsiteX21978" fmla="*/ 4215762 w 8079933"/>
              <a:gd name="connsiteY21978" fmla="*/ 1047300 h 4687251"/>
              <a:gd name="connsiteX21979" fmla="*/ 4213158 w 8079933"/>
              <a:gd name="connsiteY21979" fmla="*/ 1047300 h 4687251"/>
              <a:gd name="connsiteX21980" fmla="*/ 4214026 w 8079933"/>
              <a:gd name="connsiteY21980" fmla="*/ 1041453 h 4687251"/>
              <a:gd name="connsiteX21981" fmla="*/ 4216521 w 8079933"/>
              <a:gd name="connsiteY21981" fmla="*/ 1040046 h 4687251"/>
              <a:gd name="connsiteX21982" fmla="*/ 4215762 w 8079933"/>
              <a:gd name="connsiteY21982" fmla="*/ 1035715 h 4687251"/>
              <a:gd name="connsiteX21983" fmla="*/ 4219018 w 8079933"/>
              <a:gd name="connsiteY21983" fmla="*/ 1031818 h 4687251"/>
              <a:gd name="connsiteX21984" fmla="*/ 4219018 w 8079933"/>
              <a:gd name="connsiteY21984" fmla="*/ 1027378 h 4687251"/>
              <a:gd name="connsiteX21985" fmla="*/ 4213049 w 8079933"/>
              <a:gd name="connsiteY21985" fmla="*/ 1018609 h 4687251"/>
              <a:gd name="connsiteX21986" fmla="*/ 4214568 w 8079933"/>
              <a:gd name="connsiteY21986" fmla="*/ 1024889 h 4687251"/>
              <a:gd name="connsiteX21987" fmla="*/ 4214785 w 8079933"/>
              <a:gd name="connsiteY21987" fmla="*/ 1032793 h 4687251"/>
              <a:gd name="connsiteX21988" fmla="*/ 4208382 w 8079933"/>
              <a:gd name="connsiteY21988" fmla="*/ 1034742 h 4687251"/>
              <a:gd name="connsiteX21989" fmla="*/ 4205778 w 8079933"/>
              <a:gd name="connsiteY21989" fmla="*/ 1032468 h 4687251"/>
              <a:gd name="connsiteX21990" fmla="*/ 4211638 w 8079933"/>
              <a:gd name="connsiteY21990" fmla="*/ 1028354 h 4687251"/>
              <a:gd name="connsiteX21991" fmla="*/ 4208382 w 8079933"/>
              <a:gd name="connsiteY21991" fmla="*/ 1028245 h 4687251"/>
              <a:gd name="connsiteX21992" fmla="*/ 4202306 w 8079933"/>
              <a:gd name="connsiteY21992" fmla="*/ 1033009 h 4687251"/>
              <a:gd name="connsiteX21993" fmla="*/ 4200461 w 8079933"/>
              <a:gd name="connsiteY21993" fmla="*/ 1029870 h 4687251"/>
              <a:gd name="connsiteX21994" fmla="*/ 4202197 w 8079933"/>
              <a:gd name="connsiteY21994" fmla="*/ 1025105 h 4687251"/>
              <a:gd name="connsiteX21995" fmla="*/ 4206646 w 8079933"/>
              <a:gd name="connsiteY21995" fmla="*/ 1026080 h 4687251"/>
              <a:gd name="connsiteX21996" fmla="*/ 4210770 w 8079933"/>
              <a:gd name="connsiteY21996" fmla="*/ 1021315 h 4687251"/>
              <a:gd name="connsiteX21997" fmla="*/ 4209902 w 8079933"/>
              <a:gd name="connsiteY21997" fmla="*/ 1019042 h 4687251"/>
              <a:gd name="connsiteX21998" fmla="*/ 2909440 w 8079933"/>
              <a:gd name="connsiteY21998" fmla="*/ 1018609 h 4687251"/>
              <a:gd name="connsiteX21999" fmla="*/ 2911719 w 8079933"/>
              <a:gd name="connsiteY21999" fmla="*/ 1018609 h 4687251"/>
              <a:gd name="connsiteX22000" fmla="*/ 2911393 w 8079933"/>
              <a:gd name="connsiteY22000" fmla="*/ 1020558 h 4687251"/>
              <a:gd name="connsiteX22001" fmla="*/ 2908680 w 8079933"/>
              <a:gd name="connsiteY22001" fmla="*/ 1023589 h 4687251"/>
              <a:gd name="connsiteX22002" fmla="*/ 2906510 w 8079933"/>
              <a:gd name="connsiteY22002" fmla="*/ 1024023 h 4687251"/>
              <a:gd name="connsiteX22003" fmla="*/ 2905317 w 8079933"/>
              <a:gd name="connsiteY22003" fmla="*/ 1022831 h 4687251"/>
              <a:gd name="connsiteX22004" fmla="*/ 2906402 w 8079933"/>
              <a:gd name="connsiteY22004" fmla="*/ 1021424 h 4687251"/>
              <a:gd name="connsiteX22005" fmla="*/ 4235295 w 8079933"/>
              <a:gd name="connsiteY22005" fmla="*/ 1015903 h 4687251"/>
              <a:gd name="connsiteX22006" fmla="*/ 4240070 w 8079933"/>
              <a:gd name="connsiteY22006" fmla="*/ 1018393 h 4687251"/>
              <a:gd name="connsiteX22007" fmla="*/ 4240070 w 8079933"/>
              <a:gd name="connsiteY22007" fmla="*/ 1021641 h 4687251"/>
              <a:gd name="connsiteX22008" fmla="*/ 4233233 w 8079933"/>
              <a:gd name="connsiteY22008" fmla="*/ 1018825 h 4687251"/>
              <a:gd name="connsiteX22009" fmla="*/ 4231823 w 8079933"/>
              <a:gd name="connsiteY22009" fmla="*/ 1017310 h 4687251"/>
              <a:gd name="connsiteX22010" fmla="*/ 2289158 w 8079933"/>
              <a:gd name="connsiteY22010" fmla="*/ 1015578 h 4687251"/>
              <a:gd name="connsiteX22011" fmla="*/ 2290460 w 8079933"/>
              <a:gd name="connsiteY22011" fmla="*/ 1020341 h 4687251"/>
              <a:gd name="connsiteX22012" fmla="*/ 2294801 w 8079933"/>
              <a:gd name="connsiteY22012" fmla="*/ 1022074 h 4687251"/>
              <a:gd name="connsiteX22013" fmla="*/ 2295777 w 8079933"/>
              <a:gd name="connsiteY22013" fmla="*/ 1025106 h 4687251"/>
              <a:gd name="connsiteX22014" fmla="*/ 2298599 w 8079933"/>
              <a:gd name="connsiteY22014" fmla="*/ 1027379 h 4687251"/>
              <a:gd name="connsiteX22015" fmla="*/ 2298599 w 8079933"/>
              <a:gd name="connsiteY22015" fmla="*/ 1034092 h 4687251"/>
              <a:gd name="connsiteX22016" fmla="*/ 2303373 w 8079933"/>
              <a:gd name="connsiteY22016" fmla="*/ 1036473 h 4687251"/>
              <a:gd name="connsiteX22017" fmla="*/ 2306629 w 8079933"/>
              <a:gd name="connsiteY22017" fmla="*/ 1036798 h 4687251"/>
              <a:gd name="connsiteX22018" fmla="*/ 2305978 w 8079933"/>
              <a:gd name="connsiteY22018" fmla="*/ 1041671 h 4687251"/>
              <a:gd name="connsiteX22019" fmla="*/ 2301312 w 8079933"/>
              <a:gd name="connsiteY22019" fmla="*/ 1040588 h 4687251"/>
              <a:gd name="connsiteX22020" fmla="*/ 2298056 w 8079933"/>
              <a:gd name="connsiteY22020" fmla="*/ 1041454 h 4687251"/>
              <a:gd name="connsiteX22021" fmla="*/ 2298056 w 8079933"/>
              <a:gd name="connsiteY22021" fmla="*/ 1038206 h 4687251"/>
              <a:gd name="connsiteX22022" fmla="*/ 2295452 w 8079933"/>
              <a:gd name="connsiteY22022" fmla="*/ 1035499 h 4687251"/>
              <a:gd name="connsiteX22023" fmla="*/ 2291003 w 8079933"/>
              <a:gd name="connsiteY22023" fmla="*/ 1033009 h 4687251"/>
              <a:gd name="connsiteX22024" fmla="*/ 2291654 w 8079933"/>
              <a:gd name="connsiteY22024" fmla="*/ 1030086 h 4687251"/>
              <a:gd name="connsiteX22025" fmla="*/ 2290352 w 8079933"/>
              <a:gd name="connsiteY22025" fmla="*/ 1025863 h 4687251"/>
              <a:gd name="connsiteX22026" fmla="*/ 2287422 w 8079933"/>
              <a:gd name="connsiteY22026" fmla="*/ 1023482 h 4687251"/>
              <a:gd name="connsiteX22027" fmla="*/ 2287747 w 8079933"/>
              <a:gd name="connsiteY22027" fmla="*/ 1017202 h 4687251"/>
              <a:gd name="connsiteX22028" fmla="*/ 901339 w 8079933"/>
              <a:gd name="connsiteY22028" fmla="*/ 1014820 h 4687251"/>
              <a:gd name="connsiteX22029" fmla="*/ 904594 w 8079933"/>
              <a:gd name="connsiteY22029" fmla="*/ 1016010 h 4687251"/>
              <a:gd name="connsiteX22030" fmla="*/ 902207 w 8079933"/>
              <a:gd name="connsiteY22030" fmla="*/ 1018177 h 4687251"/>
              <a:gd name="connsiteX22031" fmla="*/ 898953 w 8079933"/>
              <a:gd name="connsiteY22031" fmla="*/ 1016985 h 4687251"/>
              <a:gd name="connsiteX22032" fmla="*/ 2314985 w 8079933"/>
              <a:gd name="connsiteY22032" fmla="*/ 1014062 h 4687251"/>
              <a:gd name="connsiteX22033" fmla="*/ 2317155 w 8079933"/>
              <a:gd name="connsiteY22033" fmla="*/ 1014387 h 4687251"/>
              <a:gd name="connsiteX22034" fmla="*/ 2319868 w 8079933"/>
              <a:gd name="connsiteY22034" fmla="*/ 1016443 h 4687251"/>
              <a:gd name="connsiteX22035" fmla="*/ 2319651 w 8079933"/>
              <a:gd name="connsiteY22035" fmla="*/ 1018176 h 4687251"/>
              <a:gd name="connsiteX22036" fmla="*/ 2317155 w 8079933"/>
              <a:gd name="connsiteY22036" fmla="*/ 1017634 h 4687251"/>
              <a:gd name="connsiteX22037" fmla="*/ 2313683 w 8079933"/>
              <a:gd name="connsiteY22037" fmla="*/ 1014928 h 4687251"/>
              <a:gd name="connsiteX22038" fmla="*/ 4467534 w 8079933"/>
              <a:gd name="connsiteY22038" fmla="*/ 1012459 h 4687251"/>
              <a:gd name="connsiteX22039" fmla="*/ 4466003 w 8079933"/>
              <a:gd name="connsiteY22039" fmla="*/ 1013520 h 4687251"/>
              <a:gd name="connsiteX22040" fmla="*/ 4467280 w 8079933"/>
              <a:gd name="connsiteY22040" fmla="*/ 1013957 h 4687251"/>
              <a:gd name="connsiteX22041" fmla="*/ 4319288 w 8079933"/>
              <a:gd name="connsiteY22041" fmla="*/ 1011896 h 4687251"/>
              <a:gd name="connsiteX22042" fmla="*/ 4317551 w 8079933"/>
              <a:gd name="connsiteY22042" fmla="*/ 1012762 h 4687251"/>
              <a:gd name="connsiteX22043" fmla="*/ 4312125 w 8079933"/>
              <a:gd name="connsiteY22043" fmla="*/ 1013737 h 4687251"/>
              <a:gd name="connsiteX22044" fmla="*/ 4306699 w 8079933"/>
              <a:gd name="connsiteY22044" fmla="*/ 1012112 h 4687251"/>
              <a:gd name="connsiteX22045" fmla="*/ 4306699 w 8079933"/>
              <a:gd name="connsiteY22045" fmla="*/ 1012114 h 4687251"/>
              <a:gd name="connsiteX22046" fmla="*/ 4312125 w 8079933"/>
              <a:gd name="connsiteY22046" fmla="*/ 1013738 h 4687251"/>
              <a:gd name="connsiteX22047" fmla="*/ 4317551 w 8079933"/>
              <a:gd name="connsiteY22047" fmla="*/ 1012763 h 4687251"/>
              <a:gd name="connsiteX22048" fmla="*/ 4319287 w 8079933"/>
              <a:gd name="connsiteY22048" fmla="*/ 1011897 h 4687251"/>
              <a:gd name="connsiteX22049" fmla="*/ 4320412 w 8079933"/>
              <a:gd name="connsiteY22049" fmla="*/ 1013237 h 4687251"/>
              <a:gd name="connsiteX22050" fmla="*/ 4320412 w 8079933"/>
              <a:gd name="connsiteY22050" fmla="*/ 1013236 h 4687251"/>
              <a:gd name="connsiteX22051" fmla="*/ 4319288 w 8079933"/>
              <a:gd name="connsiteY22051" fmla="*/ 1011896 h 4687251"/>
              <a:gd name="connsiteX22052" fmla="*/ 878441 w 8079933"/>
              <a:gd name="connsiteY22052" fmla="*/ 1010489 h 4687251"/>
              <a:gd name="connsiteX22053" fmla="*/ 881698 w 8079933"/>
              <a:gd name="connsiteY22053" fmla="*/ 1012005 h 4687251"/>
              <a:gd name="connsiteX22054" fmla="*/ 880829 w 8079933"/>
              <a:gd name="connsiteY22054" fmla="*/ 1014820 h 4687251"/>
              <a:gd name="connsiteX22055" fmla="*/ 881480 w 8079933"/>
              <a:gd name="connsiteY22055" fmla="*/ 1017310 h 4687251"/>
              <a:gd name="connsiteX22056" fmla="*/ 879854 w 8079933"/>
              <a:gd name="connsiteY22056" fmla="*/ 1019584 h 4687251"/>
              <a:gd name="connsiteX22057" fmla="*/ 875729 w 8079933"/>
              <a:gd name="connsiteY22057" fmla="*/ 1013954 h 4687251"/>
              <a:gd name="connsiteX22058" fmla="*/ 4320264 w 8079933"/>
              <a:gd name="connsiteY22058" fmla="*/ 1010380 h 4687251"/>
              <a:gd name="connsiteX22059" fmla="*/ 4319288 w 8079933"/>
              <a:gd name="connsiteY22059" fmla="*/ 1011788 h 4687251"/>
              <a:gd name="connsiteX22060" fmla="*/ 4319288 w 8079933"/>
              <a:gd name="connsiteY22060" fmla="*/ 1011788 h 4687251"/>
              <a:gd name="connsiteX22061" fmla="*/ 4320441 w 8079933"/>
              <a:gd name="connsiteY22061" fmla="*/ 1013195 h 4687251"/>
              <a:gd name="connsiteX22062" fmla="*/ 4320591 w 8079933"/>
              <a:gd name="connsiteY22062" fmla="*/ 1012979 h 4687251"/>
              <a:gd name="connsiteX22063" fmla="*/ 4322652 w 8079933"/>
              <a:gd name="connsiteY22063" fmla="*/ 1013954 h 4687251"/>
              <a:gd name="connsiteX22064" fmla="*/ 4324280 w 8079933"/>
              <a:gd name="connsiteY22064" fmla="*/ 1012871 h 4687251"/>
              <a:gd name="connsiteX22065" fmla="*/ 4323377 w 8079933"/>
              <a:gd name="connsiteY22065" fmla="*/ 1010584 h 4687251"/>
              <a:gd name="connsiteX22066" fmla="*/ 4322217 w 8079933"/>
              <a:gd name="connsiteY22066" fmla="*/ 1011355 h 4687251"/>
              <a:gd name="connsiteX22067" fmla="*/ 786962 w 8079933"/>
              <a:gd name="connsiteY22067" fmla="*/ 1009623 h 4687251"/>
              <a:gd name="connsiteX22068" fmla="*/ 790544 w 8079933"/>
              <a:gd name="connsiteY22068" fmla="*/ 1009623 h 4687251"/>
              <a:gd name="connsiteX22069" fmla="*/ 790764 w 8079933"/>
              <a:gd name="connsiteY22069" fmla="*/ 1013304 h 4687251"/>
              <a:gd name="connsiteX22070" fmla="*/ 784684 w 8079933"/>
              <a:gd name="connsiteY22070" fmla="*/ 1017311 h 4687251"/>
              <a:gd name="connsiteX22071" fmla="*/ 780237 w 8079933"/>
              <a:gd name="connsiteY22071" fmla="*/ 1016878 h 4687251"/>
              <a:gd name="connsiteX22072" fmla="*/ 7383580 w 8079933"/>
              <a:gd name="connsiteY22072" fmla="*/ 1007024 h 4687251"/>
              <a:gd name="connsiteX22073" fmla="*/ 7386186 w 8079933"/>
              <a:gd name="connsiteY22073" fmla="*/ 1007890 h 4687251"/>
              <a:gd name="connsiteX22074" fmla="*/ 7391719 w 8079933"/>
              <a:gd name="connsiteY22074" fmla="*/ 1014169 h 4687251"/>
              <a:gd name="connsiteX22075" fmla="*/ 7394215 w 8079933"/>
              <a:gd name="connsiteY22075" fmla="*/ 1020124 h 4687251"/>
              <a:gd name="connsiteX22076" fmla="*/ 7395518 w 8079933"/>
              <a:gd name="connsiteY22076" fmla="*/ 1025321 h 4687251"/>
              <a:gd name="connsiteX22077" fmla="*/ 7393238 w 8079933"/>
              <a:gd name="connsiteY22077" fmla="*/ 1026513 h 4687251"/>
              <a:gd name="connsiteX22078" fmla="*/ 7387379 w 8079933"/>
              <a:gd name="connsiteY22078" fmla="*/ 1030843 h 4687251"/>
              <a:gd name="connsiteX22079" fmla="*/ 7383689 w 8079933"/>
              <a:gd name="connsiteY22079" fmla="*/ 1035066 h 4687251"/>
              <a:gd name="connsiteX22080" fmla="*/ 7381194 w 8079933"/>
              <a:gd name="connsiteY22080" fmla="*/ 1040696 h 4687251"/>
              <a:gd name="connsiteX22081" fmla="*/ 7381194 w 8079933"/>
              <a:gd name="connsiteY22081" fmla="*/ 1044052 h 4687251"/>
              <a:gd name="connsiteX22082" fmla="*/ 7379782 w 8079933"/>
              <a:gd name="connsiteY22082" fmla="*/ 1046325 h 4687251"/>
              <a:gd name="connsiteX22083" fmla="*/ 7381953 w 8079933"/>
              <a:gd name="connsiteY22083" fmla="*/ 1050765 h 4687251"/>
              <a:gd name="connsiteX22084" fmla="*/ 7382604 w 8079933"/>
              <a:gd name="connsiteY22084" fmla="*/ 1056070 h 4687251"/>
              <a:gd name="connsiteX22085" fmla="*/ 7381085 w 8079933"/>
              <a:gd name="connsiteY22085" fmla="*/ 1055420 h 4687251"/>
              <a:gd name="connsiteX22086" fmla="*/ 7376852 w 8079933"/>
              <a:gd name="connsiteY22086" fmla="*/ 1050982 h 4687251"/>
              <a:gd name="connsiteX22087" fmla="*/ 7375985 w 8079933"/>
              <a:gd name="connsiteY22087" fmla="*/ 1048383 h 4687251"/>
              <a:gd name="connsiteX22088" fmla="*/ 7378155 w 8079933"/>
              <a:gd name="connsiteY22088" fmla="*/ 1045351 h 4687251"/>
              <a:gd name="connsiteX22089" fmla="*/ 7377829 w 8079933"/>
              <a:gd name="connsiteY22089" fmla="*/ 1040046 h 4687251"/>
              <a:gd name="connsiteX22090" fmla="*/ 7375225 w 8079933"/>
              <a:gd name="connsiteY22090" fmla="*/ 1036473 h 4687251"/>
              <a:gd name="connsiteX22091" fmla="*/ 7373597 w 8079933"/>
              <a:gd name="connsiteY22091" fmla="*/ 1028894 h 4687251"/>
              <a:gd name="connsiteX22092" fmla="*/ 7375008 w 8079933"/>
              <a:gd name="connsiteY22092" fmla="*/ 1024672 h 4687251"/>
              <a:gd name="connsiteX22093" fmla="*/ 7374465 w 8079933"/>
              <a:gd name="connsiteY22093" fmla="*/ 1023914 h 4687251"/>
              <a:gd name="connsiteX22094" fmla="*/ 7370016 w 8079933"/>
              <a:gd name="connsiteY22094" fmla="*/ 1025538 h 4687251"/>
              <a:gd name="connsiteX22095" fmla="*/ 7367303 w 8079933"/>
              <a:gd name="connsiteY22095" fmla="*/ 1025863 h 4687251"/>
              <a:gd name="connsiteX22096" fmla="*/ 7370125 w 8079933"/>
              <a:gd name="connsiteY22096" fmla="*/ 1021315 h 4687251"/>
              <a:gd name="connsiteX22097" fmla="*/ 7372512 w 8079933"/>
              <a:gd name="connsiteY22097" fmla="*/ 1020233 h 4687251"/>
              <a:gd name="connsiteX22098" fmla="*/ 7378372 w 8079933"/>
              <a:gd name="connsiteY22098" fmla="*/ 1013303 h 4687251"/>
              <a:gd name="connsiteX22099" fmla="*/ 7380325 w 8079933"/>
              <a:gd name="connsiteY22099" fmla="*/ 1012004 h 4687251"/>
              <a:gd name="connsiteX22100" fmla="*/ 7381085 w 8079933"/>
              <a:gd name="connsiteY22100" fmla="*/ 1009622 h 4687251"/>
              <a:gd name="connsiteX22101" fmla="*/ 2948614 w 8079933"/>
              <a:gd name="connsiteY22101" fmla="*/ 1002044 h 4687251"/>
              <a:gd name="connsiteX22102" fmla="*/ 2954149 w 8079933"/>
              <a:gd name="connsiteY22102" fmla="*/ 1003343 h 4687251"/>
              <a:gd name="connsiteX22103" fmla="*/ 2954582 w 8079933"/>
              <a:gd name="connsiteY22103" fmla="*/ 1005725 h 4687251"/>
              <a:gd name="connsiteX22104" fmla="*/ 2948289 w 8079933"/>
              <a:gd name="connsiteY22104" fmla="*/ 1006591 h 4687251"/>
              <a:gd name="connsiteX22105" fmla="*/ 2945034 w 8079933"/>
              <a:gd name="connsiteY22105" fmla="*/ 1004967 h 4687251"/>
              <a:gd name="connsiteX22106" fmla="*/ 2945034 w 8079933"/>
              <a:gd name="connsiteY22106" fmla="*/ 1003127 h 4687251"/>
              <a:gd name="connsiteX22107" fmla="*/ 4228892 w 8079933"/>
              <a:gd name="connsiteY22107" fmla="*/ 1000854 h 4687251"/>
              <a:gd name="connsiteX22108" fmla="*/ 4230086 w 8079933"/>
              <a:gd name="connsiteY22108" fmla="*/ 1005293 h 4687251"/>
              <a:gd name="connsiteX22109" fmla="*/ 4225094 w 8079933"/>
              <a:gd name="connsiteY22109" fmla="*/ 1008974 h 4687251"/>
              <a:gd name="connsiteX22110" fmla="*/ 4224551 w 8079933"/>
              <a:gd name="connsiteY22110" fmla="*/ 1013738 h 4687251"/>
              <a:gd name="connsiteX22111" fmla="*/ 4218149 w 8079933"/>
              <a:gd name="connsiteY22111" fmla="*/ 1021317 h 4687251"/>
              <a:gd name="connsiteX22112" fmla="*/ 4215762 w 8079933"/>
              <a:gd name="connsiteY22112" fmla="*/ 1019584 h 4687251"/>
              <a:gd name="connsiteX22113" fmla="*/ 4216087 w 8079933"/>
              <a:gd name="connsiteY22113" fmla="*/ 1012655 h 4687251"/>
              <a:gd name="connsiteX22114" fmla="*/ 4222490 w 8079933"/>
              <a:gd name="connsiteY22114" fmla="*/ 1007566 h 4687251"/>
              <a:gd name="connsiteX22115" fmla="*/ 4222707 w 8079933"/>
              <a:gd name="connsiteY22115" fmla="*/ 1003236 h 4687251"/>
              <a:gd name="connsiteX22116" fmla="*/ 4326666 w 8079933"/>
              <a:gd name="connsiteY22116" fmla="*/ 999878 h 4687251"/>
              <a:gd name="connsiteX22117" fmla="*/ 4323302 w 8079933"/>
              <a:gd name="connsiteY22117" fmla="*/ 1002584 h 4687251"/>
              <a:gd name="connsiteX22118" fmla="*/ 4322434 w 8079933"/>
              <a:gd name="connsiteY22118" fmla="*/ 1006699 h 4687251"/>
              <a:gd name="connsiteX22119" fmla="*/ 4323075 w 8079933"/>
              <a:gd name="connsiteY22119" fmla="*/ 1008322 h 4687251"/>
              <a:gd name="connsiteX22120" fmla="*/ 4323737 w 8079933"/>
              <a:gd name="connsiteY22120" fmla="*/ 1005184 h 4687251"/>
              <a:gd name="connsiteX22121" fmla="*/ 4326993 w 8079933"/>
              <a:gd name="connsiteY22121" fmla="*/ 1002477 h 4687251"/>
              <a:gd name="connsiteX22122" fmla="*/ 4331442 w 8079933"/>
              <a:gd name="connsiteY22122" fmla="*/ 1003126 h 4687251"/>
              <a:gd name="connsiteX22123" fmla="*/ 4335023 w 8079933"/>
              <a:gd name="connsiteY22123" fmla="*/ 1008432 h 4687251"/>
              <a:gd name="connsiteX22124" fmla="*/ 4345223 w 8079933"/>
              <a:gd name="connsiteY22124" fmla="*/ 1016660 h 4687251"/>
              <a:gd name="connsiteX22125" fmla="*/ 4347177 w 8079933"/>
              <a:gd name="connsiteY22125" fmla="*/ 1021641 h 4687251"/>
              <a:gd name="connsiteX22126" fmla="*/ 4350975 w 8079933"/>
              <a:gd name="connsiteY22126" fmla="*/ 1026838 h 4687251"/>
              <a:gd name="connsiteX22127" fmla="*/ 4357703 w 8079933"/>
              <a:gd name="connsiteY22127" fmla="*/ 1029544 h 4687251"/>
              <a:gd name="connsiteX22128" fmla="*/ 4368555 w 8079933"/>
              <a:gd name="connsiteY22128" fmla="*/ 1029544 h 4687251"/>
              <a:gd name="connsiteX22129" fmla="*/ 4374414 w 8079933"/>
              <a:gd name="connsiteY22129" fmla="*/ 1023914 h 4687251"/>
              <a:gd name="connsiteX22130" fmla="*/ 4377670 w 8079933"/>
              <a:gd name="connsiteY22130" fmla="*/ 1020450 h 4687251"/>
              <a:gd name="connsiteX22131" fmla="*/ 4382662 w 8079933"/>
              <a:gd name="connsiteY22131" fmla="*/ 1020450 h 4687251"/>
              <a:gd name="connsiteX22132" fmla="*/ 4390583 w 8079933"/>
              <a:gd name="connsiteY22132" fmla="*/ 1025971 h 4687251"/>
              <a:gd name="connsiteX22133" fmla="*/ 4395901 w 8079933"/>
              <a:gd name="connsiteY22133" fmla="*/ 1026838 h 4687251"/>
              <a:gd name="connsiteX22134" fmla="*/ 4398614 w 8079933"/>
              <a:gd name="connsiteY22134" fmla="*/ 1021641 h 4687251"/>
              <a:gd name="connsiteX22135" fmla="*/ 4401761 w 8079933"/>
              <a:gd name="connsiteY22135" fmla="*/ 1019908 h 4687251"/>
              <a:gd name="connsiteX22136" fmla="*/ 4405558 w 8079933"/>
              <a:gd name="connsiteY22136" fmla="*/ 1016336 h 4687251"/>
              <a:gd name="connsiteX22137" fmla="*/ 4409683 w 8079933"/>
              <a:gd name="connsiteY22137" fmla="*/ 1016336 h 4687251"/>
              <a:gd name="connsiteX22138" fmla="*/ 4413806 w 8079933"/>
              <a:gd name="connsiteY22138" fmla="*/ 1013629 h 4687251"/>
              <a:gd name="connsiteX22139" fmla="*/ 4415543 w 8079933"/>
              <a:gd name="connsiteY22139" fmla="*/ 1010489 h 4687251"/>
              <a:gd name="connsiteX22140" fmla="*/ 4415127 w 8079933"/>
              <a:gd name="connsiteY22140" fmla="*/ 1009505 h 4687251"/>
              <a:gd name="connsiteX22141" fmla="*/ 4413805 w 8079933"/>
              <a:gd name="connsiteY22141" fmla="*/ 1011896 h 4687251"/>
              <a:gd name="connsiteX22142" fmla="*/ 4409682 w 8079933"/>
              <a:gd name="connsiteY22142" fmla="*/ 1014602 h 4687251"/>
              <a:gd name="connsiteX22143" fmla="*/ 4405558 w 8079933"/>
              <a:gd name="connsiteY22143" fmla="*/ 1014278 h 4687251"/>
              <a:gd name="connsiteX22144" fmla="*/ 4401760 w 8079933"/>
              <a:gd name="connsiteY22144" fmla="*/ 1017959 h 4687251"/>
              <a:gd name="connsiteX22145" fmla="*/ 4398613 w 8079933"/>
              <a:gd name="connsiteY22145" fmla="*/ 1019583 h 4687251"/>
              <a:gd name="connsiteX22146" fmla="*/ 4395900 w 8079933"/>
              <a:gd name="connsiteY22146" fmla="*/ 1024780 h 4687251"/>
              <a:gd name="connsiteX22147" fmla="*/ 4390583 w 8079933"/>
              <a:gd name="connsiteY22147" fmla="*/ 1023914 h 4687251"/>
              <a:gd name="connsiteX22148" fmla="*/ 4382661 w 8079933"/>
              <a:gd name="connsiteY22148" fmla="*/ 1018392 h 4687251"/>
              <a:gd name="connsiteX22149" fmla="*/ 4377670 w 8079933"/>
              <a:gd name="connsiteY22149" fmla="*/ 1018284 h 4687251"/>
              <a:gd name="connsiteX22150" fmla="*/ 4374305 w 8079933"/>
              <a:gd name="connsiteY22150" fmla="*/ 1021640 h 4687251"/>
              <a:gd name="connsiteX22151" fmla="*/ 4368445 w 8079933"/>
              <a:gd name="connsiteY22151" fmla="*/ 1027379 h 4687251"/>
              <a:gd name="connsiteX22152" fmla="*/ 4357268 w 8079933"/>
              <a:gd name="connsiteY22152" fmla="*/ 1027054 h 4687251"/>
              <a:gd name="connsiteX22153" fmla="*/ 4350540 w 8079933"/>
              <a:gd name="connsiteY22153" fmla="*/ 1024239 h 4687251"/>
              <a:gd name="connsiteX22154" fmla="*/ 4346742 w 8079933"/>
              <a:gd name="connsiteY22154" fmla="*/ 1019150 h 4687251"/>
              <a:gd name="connsiteX22155" fmla="*/ 4344898 w 8079933"/>
              <a:gd name="connsiteY22155" fmla="*/ 1014170 h 4687251"/>
              <a:gd name="connsiteX22156" fmla="*/ 4334697 w 8079933"/>
              <a:gd name="connsiteY22156" fmla="*/ 1005833 h 4687251"/>
              <a:gd name="connsiteX22157" fmla="*/ 4331115 w 8079933"/>
              <a:gd name="connsiteY22157" fmla="*/ 1000527 h 4687251"/>
              <a:gd name="connsiteX22158" fmla="*/ 2708358 w 8079933"/>
              <a:gd name="connsiteY22158" fmla="*/ 999554 h 4687251"/>
              <a:gd name="connsiteX22159" fmla="*/ 2711180 w 8079933"/>
              <a:gd name="connsiteY22159" fmla="*/ 1002152 h 4687251"/>
              <a:gd name="connsiteX22160" fmla="*/ 2711505 w 8079933"/>
              <a:gd name="connsiteY22160" fmla="*/ 1007024 h 4687251"/>
              <a:gd name="connsiteX22161" fmla="*/ 2709010 w 8079933"/>
              <a:gd name="connsiteY22161" fmla="*/ 1008107 h 4687251"/>
              <a:gd name="connsiteX22162" fmla="*/ 2706513 w 8079933"/>
              <a:gd name="connsiteY22162" fmla="*/ 1008215 h 4687251"/>
              <a:gd name="connsiteX22163" fmla="*/ 2705320 w 8079933"/>
              <a:gd name="connsiteY22163" fmla="*/ 1002585 h 4687251"/>
              <a:gd name="connsiteX22164" fmla="*/ 4900612 w 8079933"/>
              <a:gd name="connsiteY22164" fmla="*/ 995007 h 4687251"/>
              <a:gd name="connsiteX22165" fmla="*/ 4906580 w 8079933"/>
              <a:gd name="connsiteY22165" fmla="*/ 995656 h 4687251"/>
              <a:gd name="connsiteX22166" fmla="*/ 4904084 w 8079933"/>
              <a:gd name="connsiteY22166" fmla="*/ 997389 h 4687251"/>
              <a:gd name="connsiteX22167" fmla="*/ 4898767 w 8079933"/>
              <a:gd name="connsiteY22167" fmla="*/ 998472 h 4687251"/>
              <a:gd name="connsiteX22168" fmla="*/ 4897573 w 8079933"/>
              <a:gd name="connsiteY22168" fmla="*/ 999879 h 4687251"/>
              <a:gd name="connsiteX22169" fmla="*/ 4895946 w 8079933"/>
              <a:gd name="connsiteY22169" fmla="*/ 999879 h 4687251"/>
              <a:gd name="connsiteX22170" fmla="*/ 4896163 w 8079933"/>
              <a:gd name="connsiteY22170" fmla="*/ 997281 h 4687251"/>
              <a:gd name="connsiteX22171" fmla="*/ 4959645 w 8079933"/>
              <a:gd name="connsiteY22171" fmla="*/ 994681 h 4687251"/>
              <a:gd name="connsiteX22172" fmla="*/ 4961272 w 8079933"/>
              <a:gd name="connsiteY22172" fmla="*/ 997171 h 4687251"/>
              <a:gd name="connsiteX22173" fmla="*/ 4959102 w 8079933"/>
              <a:gd name="connsiteY22173" fmla="*/ 999877 h 4687251"/>
              <a:gd name="connsiteX22174" fmla="*/ 4955630 w 8079933"/>
              <a:gd name="connsiteY22174" fmla="*/ 999444 h 4687251"/>
              <a:gd name="connsiteX22175" fmla="*/ 4957257 w 8079933"/>
              <a:gd name="connsiteY22175" fmla="*/ 995655 h 4687251"/>
              <a:gd name="connsiteX22176" fmla="*/ 4969628 w 8079933"/>
              <a:gd name="connsiteY22176" fmla="*/ 992408 h 4687251"/>
              <a:gd name="connsiteX22177" fmla="*/ 4969845 w 8079933"/>
              <a:gd name="connsiteY22177" fmla="*/ 995873 h 4687251"/>
              <a:gd name="connsiteX22178" fmla="*/ 4966481 w 8079933"/>
              <a:gd name="connsiteY22178" fmla="*/ 1000312 h 4687251"/>
              <a:gd name="connsiteX22179" fmla="*/ 4964853 w 8079933"/>
              <a:gd name="connsiteY22179" fmla="*/ 998471 h 4687251"/>
              <a:gd name="connsiteX22180" fmla="*/ 4964636 w 8079933"/>
              <a:gd name="connsiteY22180" fmla="*/ 996089 h 4687251"/>
              <a:gd name="connsiteX22181" fmla="*/ 4966481 w 8079933"/>
              <a:gd name="connsiteY22181" fmla="*/ 992949 h 4687251"/>
              <a:gd name="connsiteX22182" fmla="*/ 4249946 w 8079933"/>
              <a:gd name="connsiteY22182" fmla="*/ 989160 h 4687251"/>
              <a:gd name="connsiteX22183" fmla="*/ 4257108 w 8079933"/>
              <a:gd name="connsiteY22183" fmla="*/ 989918 h 4687251"/>
              <a:gd name="connsiteX22184" fmla="*/ 4257977 w 8079933"/>
              <a:gd name="connsiteY22184" fmla="*/ 993707 h 4687251"/>
              <a:gd name="connsiteX22185" fmla="*/ 4261231 w 8079933"/>
              <a:gd name="connsiteY22185" fmla="*/ 994790 h 4687251"/>
              <a:gd name="connsiteX22186" fmla="*/ 4262534 w 8079933"/>
              <a:gd name="connsiteY22186" fmla="*/ 1000203 h 4687251"/>
              <a:gd name="connsiteX22187" fmla="*/ 4261666 w 8079933"/>
              <a:gd name="connsiteY22187" fmla="*/ 1002910 h 4687251"/>
              <a:gd name="connsiteX22188" fmla="*/ 4262751 w 8079933"/>
              <a:gd name="connsiteY22188" fmla="*/ 1006700 h 4687251"/>
              <a:gd name="connsiteX22189" fmla="*/ 4257650 w 8079933"/>
              <a:gd name="connsiteY22189" fmla="*/ 1007891 h 4687251"/>
              <a:gd name="connsiteX22190" fmla="*/ 4255806 w 8079933"/>
              <a:gd name="connsiteY22190" fmla="*/ 1010490 h 4687251"/>
              <a:gd name="connsiteX22191" fmla="*/ 4250272 w 8079933"/>
              <a:gd name="connsiteY22191" fmla="*/ 1010056 h 4687251"/>
              <a:gd name="connsiteX22192" fmla="*/ 4249078 w 8079933"/>
              <a:gd name="connsiteY22192" fmla="*/ 1015903 h 4687251"/>
              <a:gd name="connsiteX22193" fmla="*/ 4246907 w 8079933"/>
              <a:gd name="connsiteY22193" fmla="*/ 1016011 h 4687251"/>
              <a:gd name="connsiteX22194" fmla="*/ 4246691 w 8079933"/>
              <a:gd name="connsiteY22194" fmla="*/ 1011572 h 4687251"/>
              <a:gd name="connsiteX22195" fmla="*/ 4242784 w 8079933"/>
              <a:gd name="connsiteY22195" fmla="*/ 1011031 h 4687251"/>
              <a:gd name="connsiteX22196" fmla="*/ 4246582 w 8079933"/>
              <a:gd name="connsiteY22196" fmla="*/ 1005942 h 4687251"/>
              <a:gd name="connsiteX22197" fmla="*/ 4241916 w 8079933"/>
              <a:gd name="connsiteY22197" fmla="*/ 1005509 h 4687251"/>
              <a:gd name="connsiteX22198" fmla="*/ 4243978 w 8079933"/>
              <a:gd name="connsiteY22198" fmla="*/ 999987 h 4687251"/>
              <a:gd name="connsiteX22199" fmla="*/ 4250054 w 8079933"/>
              <a:gd name="connsiteY22199" fmla="*/ 999446 h 4687251"/>
              <a:gd name="connsiteX22200" fmla="*/ 4244520 w 8079933"/>
              <a:gd name="connsiteY22200" fmla="*/ 996631 h 4687251"/>
              <a:gd name="connsiteX22201" fmla="*/ 4247450 w 8079933"/>
              <a:gd name="connsiteY22201" fmla="*/ 991433 h 4687251"/>
              <a:gd name="connsiteX22202" fmla="*/ 4251031 w 8079933"/>
              <a:gd name="connsiteY22202" fmla="*/ 994249 h 4687251"/>
              <a:gd name="connsiteX22203" fmla="*/ 2932445 w 8079933"/>
              <a:gd name="connsiteY22203" fmla="*/ 982664 h 4687251"/>
              <a:gd name="connsiteX22204" fmla="*/ 2936569 w 8079933"/>
              <a:gd name="connsiteY22204" fmla="*/ 982989 h 4687251"/>
              <a:gd name="connsiteX22205" fmla="*/ 2937437 w 8079933"/>
              <a:gd name="connsiteY22205" fmla="*/ 985586 h 4687251"/>
              <a:gd name="connsiteX22206" fmla="*/ 2930600 w 8079933"/>
              <a:gd name="connsiteY22206" fmla="*/ 986778 h 4687251"/>
              <a:gd name="connsiteX22207" fmla="*/ 2929190 w 8079933"/>
              <a:gd name="connsiteY22207" fmla="*/ 985154 h 4687251"/>
              <a:gd name="connsiteX22208" fmla="*/ 2929732 w 8079933"/>
              <a:gd name="connsiteY22208" fmla="*/ 983205 h 4687251"/>
              <a:gd name="connsiteX22209" fmla="*/ 4413906 w 8079933"/>
              <a:gd name="connsiteY22209" fmla="*/ 982573 h 4687251"/>
              <a:gd name="connsiteX22210" fmla="*/ 4412828 w 8079933"/>
              <a:gd name="connsiteY22210" fmla="*/ 985261 h 4687251"/>
              <a:gd name="connsiteX22211" fmla="*/ 4411527 w 8079933"/>
              <a:gd name="connsiteY22211" fmla="*/ 997496 h 4687251"/>
              <a:gd name="connsiteX22212" fmla="*/ 4411648 w 8079933"/>
              <a:gd name="connsiteY22212" fmla="*/ 997878 h 4687251"/>
              <a:gd name="connsiteX22213" fmla="*/ 4412721 w 8079933"/>
              <a:gd name="connsiteY22213" fmla="*/ 986886 h 4687251"/>
              <a:gd name="connsiteX22214" fmla="*/ 4414240 w 8079933"/>
              <a:gd name="connsiteY22214" fmla="*/ 983096 h 4687251"/>
              <a:gd name="connsiteX22215" fmla="*/ 2952412 w 8079933"/>
              <a:gd name="connsiteY22215" fmla="*/ 980498 h 4687251"/>
              <a:gd name="connsiteX22216" fmla="*/ 2956427 w 8079933"/>
              <a:gd name="connsiteY22216" fmla="*/ 982122 h 4687251"/>
              <a:gd name="connsiteX22217" fmla="*/ 2953823 w 8079933"/>
              <a:gd name="connsiteY22217" fmla="*/ 983529 h 4687251"/>
              <a:gd name="connsiteX22218" fmla="*/ 2949916 w 8079933"/>
              <a:gd name="connsiteY22218" fmla="*/ 983747 h 4687251"/>
              <a:gd name="connsiteX22219" fmla="*/ 2948614 w 8079933"/>
              <a:gd name="connsiteY22219" fmla="*/ 981689 h 4687251"/>
              <a:gd name="connsiteX22220" fmla="*/ 4497906 w 8079933"/>
              <a:gd name="connsiteY22220" fmla="*/ 978657 h 4687251"/>
              <a:gd name="connsiteX22221" fmla="*/ 4497275 w 8079933"/>
              <a:gd name="connsiteY22221" fmla="*/ 978710 h 4687251"/>
              <a:gd name="connsiteX22222" fmla="*/ 4501487 w 8079933"/>
              <a:gd name="connsiteY22222" fmla="*/ 980391 h 4687251"/>
              <a:gd name="connsiteX22223" fmla="*/ 4501621 w 8079933"/>
              <a:gd name="connsiteY22223" fmla="*/ 980222 h 4687251"/>
              <a:gd name="connsiteX22224" fmla="*/ 3504111 w 8079933"/>
              <a:gd name="connsiteY22224" fmla="*/ 978441 h 4687251"/>
              <a:gd name="connsiteX22225" fmla="*/ 3504653 w 8079933"/>
              <a:gd name="connsiteY22225" fmla="*/ 980498 h 4687251"/>
              <a:gd name="connsiteX22226" fmla="*/ 3502049 w 8079933"/>
              <a:gd name="connsiteY22226" fmla="*/ 982014 h 4687251"/>
              <a:gd name="connsiteX22227" fmla="*/ 3500313 w 8079933"/>
              <a:gd name="connsiteY22227" fmla="*/ 981797 h 4687251"/>
              <a:gd name="connsiteX22228" fmla="*/ 3500638 w 8079933"/>
              <a:gd name="connsiteY22228" fmla="*/ 979848 h 4687251"/>
              <a:gd name="connsiteX22229" fmla="*/ 4277617 w 8079933"/>
              <a:gd name="connsiteY22229" fmla="*/ 978332 h 4687251"/>
              <a:gd name="connsiteX22230" fmla="*/ 4280764 w 8079933"/>
              <a:gd name="connsiteY22230" fmla="*/ 982987 h 4687251"/>
              <a:gd name="connsiteX22231" fmla="*/ 4277400 w 8079933"/>
              <a:gd name="connsiteY22231" fmla="*/ 987102 h 4687251"/>
              <a:gd name="connsiteX22232" fmla="*/ 4277617 w 8079933"/>
              <a:gd name="connsiteY22232" fmla="*/ 990567 h 4687251"/>
              <a:gd name="connsiteX22233" fmla="*/ 4271974 w 8079933"/>
              <a:gd name="connsiteY22233" fmla="*/ 990675 h 4687251"/>
              <a:gd name="connsiteX22234" fmla="*/ 4267417 w 8079933"/>
              <a:gd name="connsiteY22234" fmla="*/ 992408 h 4687251"/>
              <a:gd name="connsiteX22235" fmla="*/ 4262642 w 8079933"/>
              <a:gd name="connsiteY22235" fmla="*/ 986236 h 4687251"/>
              <a:gd name="connsiteX22236" fmla="*/ 4269044 w 8079933"/>
              <a:gd name="connsiteY22236" fmla="*/ 985911 h 4687251"/>
              <a:gd name="connsiteX22237" fmla="*/ 4269262 w 8079933"/>
              <a:gd name="connsiteY22237" fmla="*/ 982338 h 4687251"/>
              <a:gd name="connsiteX22238" fmla="*/ 4274904 w 8079933"/>
              <a:gd name="connsiteY22238" fmla="*/ 982122 h 4687251"/>
              <a:gd name="connsiteX22239" fmla="*/ 2942212 w 8079933"/>
              <a:gd name="connsiteY22239" fmla="*/ 975409 h 4687251"/>
              <a:gd name="connsiteX22240" fmla="*/ 2946878 w 8079933"/>
              <a:gd name="connsiteY22240" fmla="*/ 976600 h 4687251"/>
              <a:gd name="connsiteX22241" fmla="*/ 2949591 w 8079933"/>
              <a:gd name="connsiteY22241" fmla="*/ 978115 h 4687251"/>
              <a:gd name="connsiteX22242" fmla="*/ 2946552 w 8079933"/>
              <a:gd name="connsiteY22242" fmla="*/ 980498 h 4687251"/>
              <a:gd name="connsiteX22243" fmla="*/ 2943297 w 8079933"/>
              <a:gd name="connsiteY22243" fmla="*/ 980931 h 4687251"/>
              <a:gd name="connsiteX22244" fmla="*/ 2937654 w 8079933"/>
              <a:gd name="connsiteY22244" fmla="*/ 978441 h 4687251"/>
              <a:gd name="connsiteX22245" fmla="*/ 2938088 w 8079933"/>
              <a:gd name="connsiteY22245" fmla="*/ 976925 h 4687251"/>
              <a:gd name="connsiteX22246" fmla="*/ 4290530 w 8079933"/>
              <a:gd name="connsiteY22246" fmla="*/ 971295 h 4687251"/>
              <a:gd name="connsiteX22247" fmla="*/ 4292592 w 8079933"/>
              <a:gd name="connsiteY22247" fmla="*/ 975734 h 4687251"/>
              <a:gd name="connsiteX22248" fmla="*/ 4289120 w 8079933"/>
              <a:gd name="connsiteY22248" fmla="*/ 977683 h 4687251"/>
              <a:gd name="connsiteX22249" fmla="*/ 4418472 w 8079933"/>
              <a:gd name="connsiteY22249" fmla="*/ 971118 h 4687251"/>
              <a:gd name="connsiteX22250" fmla="*/ 4414781 w 8079933"/>
              <a:gd name="connsiteY22250" fmla="*/ 976166 h 4687251"/>
              <a:gd name="connsiteX22251" fmla="*/ 4412069 w 8079933"/>
              <a:gd name="connsiteY22251" fmla="*/ 977899 h 4687251"/>
              <a:gd name="connsiteX22252" fmla="*/ 4412774 w 8079933"/>
              <a:gd name="connsiteY22252" fmla="*/ 979005 h 4687251"/>
              <a:gd name="connsiteX22253" fmla="*/ 4414675 w 8079933"/>
              <a:gd name="connsiteY22253" fmla="*/ 977791 h 4687251"/>
              <a:gd name="connsiteX22254" fmla="*/ 4418472 w 8079933"/>
              <a:gd name="connsiteY22254" fmla="*/ 972594 h 4687251"/>
              <a:gd name="connsiteX22255" fmla="*/ 2672222 w 8079933"/>
              <a:gd name="connsiteY22255" fmla="*/ 970104 h 4687251"/>
              <a:gd name="connsiteX22256" fmla="*/ 2674826 w 8079933"/>
              <a:gd name="connsiteY22256" fmla="*/ 970212 h 4687251"/>
              <a:gd name="connsiteX22257" fmla="*/ 2675694 w 8079933"/>
              <a:gd name="connsiteY22257" fmla="*/ 973135 h 4687251"/>
              <a:gd name="connsiteX22258" fmla="*/ 2673958 w 8079933"/>
              <a:gd name="connsiteY22258" fmla="*/ 974435 h 4687251"/>
              <a:gd name="connsiteX22259" fmla="*/ 2669509 w 8079933"/>
              <a:gd name="connsiteY22259" fmla="*/ 971620 h 4687251"/>
              <a:gd name="connsiteX22260" fmla="*/ 2672222 w 8079933"/>
              <a:gd name="connsiteY22260" fmla="*/ 970104 h 4687251"/>
              <a:gd name="connsiteX22261" fmla="*/ 4991874 w 8079933"/>
              <a:gd name="connsiteY22261" fmla="*/ 968914 h 4687251"/>
              <a:gd name="connsiteX22262" fmla="*/ 4995454 w 8079933"/>
              <a:gd name="connsiteY22262" fmla="*/ 970754 h 4687251"/>
              <a:gd name="connsiteX22263" fmla="*/ 4994695 w 8079933"/>
              <a:gd name="connsiteY22263" fmla="*/ 973136 h 4687251"/>
              <a:gd name="connsiteX22264" fmla="*/ 4991765 w 8079933"/>
              <a:gd name="connsiteY22264" fmla="*/ 973028 h 4687251"/>
              <a:gd name="connsiteX22265" fmla="*/ 4989595 w 8079933"/>
              <a:gd name="connsiteY22265" fmla="*/ 970430 h 4687251"/>
              <a:gd name="connsiteX22266" fmla="*/ 5021282 w 8079933"/>
              <a:gd name="connsiteY22266" fmla="*/ 968372 h 4687251"/>
              <a:gd name="connsiteX22267" fmla="*/ 5025622 w 8079933"/>
              <a:gd name="connsiteY22267" fmla="*/ 969563 h 4687251"/>
              <a:gd name="connsiteX22268" fmla="*/ 5023886 w 8079933"/>
              <a:gd name="connsiteY22268" fmla="*/ 971837 h 4687251"/>
              <a:gd name="connsiteX22269" fmla="*/ 5017158 w 8079933"/>
              <a:gd name="connsiteY22269" fmla="*/ 974002 h 4687251"/>
              <a:gd name="connsiteX22270" fmla="*/ 5014554 w 8079933"/>
              <a:gd name="connsiteY22270" fmla="*/ 975951 h 4687251"/>
              <a:gd name="connsiteX22271" fmla="*/ 5012601 w 8079933"/>
              <a:gd name="connsiteY22271" fmla="*/ 975409 h 4687251"/>
              <a:gd name="connsiteX22272" fmla="*/ 5014988 w 8079933"/>
              <a:gd name="connsiteY22272" fmla="*/ 971512 h 4687251"/>
              <a:gd name="connsiteX22273" fmla="*/ 4971147 w 8079933"/>
              <a:gd name="connsiteY22273" fmla="*/ 967830 h 4687251"/>
              <a:gd name="connsiteX22274" fmla="*/ 4973426 w 8079933"/>
              <a:gd name="connsiteY22274" fmla="*/ 968696 h 4687251"/>
              <a:gd name="connsiteX22275" fmla="*/ 4971473 w 8079933"/>
              <a:gd name="connsiteY22275" fmla="*/ 971187 h 4687251"/>
              <a:gd name="connsiteX22276" fmla="*/ 4968543 w 8079933"/>
              <a:gd name="connsiteY22276" fmla="*/ 971187 h 4687251"/>
              <a:gd name="connsiteX22277" fmla="*/ 4967892 w 8079933"/>
              <a:gd name="connsiteY22277" fmla="*/ 969779 h 4687251"/>
              <a:gd name="connsiteX22278" fmla="*/ 4978636 w 8079933"/>
              <a:gd name="connsiteY22278" fmla="*/ 967073 h 4687251"/>
              <a:gd name="connsiteX22279" fmla="*/ 4982868 w 8079933"/>
              <a:gd name="connsiteY22279" fmla="*/ 968914 h 4687251"/>
              <a:gd name="connsiteX22280" fmla="*/ 4984821 w 8079933"/>
              <a:gd name="connsiteY22280" fmla="*/ 973569 h 4687251"/>
              <a:gd name="connsiteX22281" fmla="*/ 4980372 w 8079933"/>
              <a:gd name="connsiteY22281" fmla="*/ 972487 h 4687251"/>
              <a:gd name="connsiteX22282" fmla="*/ 4978310 w 8079933"/>
              <a:gd name="connsiteY22282" fmla="*/ 970321 h 4687251"/>
              <a:gd name="connsiteX22283" fmla="*/ 4975163 w 8079933"/>
              <a:gd name="connsiteY22283" fmla="*/ 969455 h 4687251"/>
              <a:gd name="connsiteX22284" fmla="*/ 4283477 w 8079933"/>
              <a:gd name="connsiteY22284" fmla="*/ 965990 h 4687251"/>
              <a:gd name="connsiteX22285" fmla="*/ 4285213 w 8079933"/>
              <a:gd name="connsiteY22285" fmla="*/ 968696 h 4687251"/>
              <a:gd name="connsiteX22286" fmla="*/ 4289337 w 8079933"/>
              <a:gd name="connsiteY22286" fmla="*/ 968047 h 4687251"/>
              <a:gd name="connsiteX22287" fmla="*/ 4289988 w 8079933"/>
              <a:gd name="connsiteY22287" fmla="*/ 969347 h 4687251"/>
              <a:gd name="connsiteX22288" fmla="*/ 4286299 w 8079933"/>
              <a:gd name="connsiteY22288" fmla="*/ 972161 h 4687251"/>
              <a:gd name="connsiteX22289" fmla="*/ 4286732 w 8079933"/>
              <a:gd name="connsiteY22289" fmla="*/ 976276 h 4687251"/>
              <a:gd name="connsiteX22290" fmla="*/ 4285431 w 8079933"/>
              <a:gd name="connsiteY22290" fmla="*/ 978333 h 4687251"/>
              <a:gd name="connsiteX22291" fmla="*/ 4282066 w 8079933"/>
              <a:gd name="connsiteY22291" fmla="*/ 978333 h 4687251"/>
              <a:gd name="connsiteX22292" fmla="*/ 4276098 w 8079933"/>
              <a:gd name="connsiteY22292" fmla="*/ 972161 h 4687251"/>
              <a:gd name="connsiteX22293" fmla="*/ 4279895 w 8079933"/>
              <a:gd name="connsiteY22293" fmla="*/ 961876 h 4687251"/>
              <a:gd name="connsiteX22294" fmla="*/ 4279678 w 8079933"/>
              <a:gd name="connsiteY22294" fmla="*/ 965124 h 4687251"/>
              <a:gd name="connsiteX22295" fmla="*/ 4273710 w 8079933"/>
              <a:gd name="connsiteY22295" fmla="*/ 969130 h 4687251"/>
              <a:gd name="connsiteX22296" fmla="*/ 4273710 w 8079933"/>
              <a:gd name="connsiteY22296" fmla="*/ 963608 h 4687251"/>
              <a:gd name="connsiteX22297" fmla="*/ 4446903 w 8079933"/>
              <a:gd name="connsiteY22297" fmla="*/ 959818 h 4687251"/>
              <a:gd name="connsiteX22298" fmla="*/ 4436703 w 8079933"/>
              <a:gd name="connsiteY22298" fmla="*/ 959926 h 4687251"/>
              <a:gd name="connsiteX22299" fmla="*/ 4432796 w 8079933"/>
              <a:gd name="connsiteY22299" fmla="*/ 964257 h 4687251"/>
              <a:gd name="connsiteX22300" fmla="*/ 4433121 w 8079933"/>
              <a:gd name="connsiteY22300" fmla="*/ 966314 h 4687251"/>
              <a:gd name="connsiteX22301" fmla="*/ 4429540 w 8079933"/>
              <a:gd name="connsiteY22301" fmla="*/ 967180 h 4687251"/>
              <a:gd name="connsiteX22302" fmla="*/ 4423246 w 8079933"/>
              <a:gd name="connsiteY22302" fmla="*/ 965989 h 4687251"/>
              <a:gd name="connsiteX22303" fmla="*/ 4418254 w 8079933"/>
              <a:gd name="connsiteY22303" fmla="*/ 968263 h 4687251"/>
              <a:gd name="connsiteX22304" fmla="*/ 4418472 w 8079933"/>
              <a:gd name="connsiteY22304" fmla="*/ 970074 h 4687251"/>
              <a:gd name="connsiteX22305" fmla="*/ 4418472 w 8079933"/>
              <a:gd name="connsiteY22305" fmla="*/ 969888 h 4687251"/>
              <a:gd name="connsiteX22306" fmla="*/ 4423464 w 8079933"/>
              <a:gd name="connsiteY22306" fmla="*/ 967614 h 4687251"/>
              <a:gd name="connsiteX22307" fmla="*/ 4429649 w 8079933"/>
              <a:gd name="connsiteY22307" fmla="*/ 968805 h 4687251"/>
              <a:gd name="connsiteX22308" fmla="*/ 4433231 w 8079933"/>
              <a:gd name="connsiteY22308" fmla="*/ 967939 h 4687251"/>
              <a:gd name="connsiteX22309" fmla="*/ 4433231 w 8079933"/>
              <a:gd name="connsiteY22309" fmla="*/ 965882 h 4687251"/>
              <a:gd name="connsiteX22310" fmla="*/ 4437246 w 8079933"/>
              <a:gd name="connsiteY22310" fmla="*/ 961551 h 4687251"/>
              <a:gd name="connsiteX22311" fmla="*/ 4447446 w 8079933"/>
              <a:gd name="connsiteY22311" fmla="*/ 961551 h 4687251"/>
              <a:gd name="connsiteX22312" fmla="*/ 4451896 w 8079933"/>
              <a:gd name="connsiteY22312" fmla="*/ 964582 h 4687251"/>
              <a:gd name="connsiteX22313" fmla="*/ 4457647 w 8079933"/>
              <a:gd name="connsiteY22313" fmla="*/ 971945 h 4687251"/>
              <a:gd name="connsiteX22314" fmla="*/ 4461011 w 8079933"/>
              <a:gd name="connsiteY22314" fmla="*/ 975410 h 4687251"/>
              <a:gd name="connsiteX22315" fmla="*/ 4466220 w 8079933"/>
              <a:gd name="connsiteY22315" fmla="*/ 977359 h 4687251"/>
              <a:gd name="connsiteX22316" fmla="*/ 4474141 w 8079933"/>
              <a:gd name="connsiteY22316" fmla="*/ 978224 h 4687251"/>
              <a:gd name="connsiteX22317" fmla="*/ 4475552 w 8079933"/>
              <a:gd name="connsiteY22317" fmla="*/ 982122 h 4687251"/>
              <a:gd name="connsiteX22318" fmla="*/ 4479627 w 8079933"/>
              <a:gd name="connsiteY22318" fmla="*/ 986373 h 4687251"/>
              <a:gd name="connsiteX22319" fmla="*/ 4479784 w 8079933"/>
              <a:gd name="connsiteY22319" fmla="*/ 985370 h 4687251"/>
              <a:gd name="connsiteX22320" fmla="*/ 4475009 w 8079933"/>
              <a:gd name="connsiteY22320" fmla="*/ 980281 h 4687251"/>
              <a:gd name="connsiteX22321" fmla="*/ 4473707 w 8079933"/>
              <a:gd name="connsiteY22321" fmla="*/ 976492 h 4687251"/>
              <a:gd name="connsiteX22322" fmla="*/ 4465676 w 8079933"/>
              <a:gd name="connsiteY22322" fmla="*/ 975625 h 4687251"/>
              <a:gd name="connsiteX22323" fmla="*/ 4460576 w 8079933"/>
              <a:gd name="connsiteY22323" fmla="*/ 973676 h 4687251"/>
              <a:gd name="connsiteX22324" fmla="*/ 4457212 w 8079933"/>
              <a:gd name="connsiteY22324" fmla="*/ 970212 h 4687251"/>
              <a:gd name="connsiteX22325" fmla="*/ 4451352 w 8079933"/>
              <a:gd name="connsiteY22325" fmla="*/ 962849 h 4687251"/>
              <a:gd name="connsiteX22326" fmla="*/ 4309087 w 8079933"/>
              <a:gd name="connsiteY22326" fmla="*/ 955812 h 4687251"/>
              <a:gd name="connsiteX22327" fmla="*/ 4313971 w 8079933"/>
              <a:gd name="connsiteY22327" fmla="*/ 959601 h 4687251"/>
              <a:gd name="connsiteX22328" fmla="*/ 4311909 w 8079933"/>
              <a:gd name="connsiteY22328" fmla="*/ 964257 h 4687251"/>
              <a:gd name="connsiteX22329" fmla="*/ 4314730 w 8079933"/>
              <a:gd name="connsiteY22329" fmla="*/ 968047 h 4687251"/>
              <a:gd name="connsiteX22330" fmla="*/ 4312560 w 8079933"/>
              <a:gd name="connsiteY22330" fmla="*/ 972161 h 4687251"/>
              <a:gd name="connsiteX22331" fmla="*/ 4309955 w 8079933"/>
              <a:gd name="connsiteY22331" fmla="*/ 968155 h 4687251"/>
              <a:gd name="connsiteX22332" fmla="*/ 4306374 w 8079933"/>
              <a:gd name="connsiteY22332" fmla="*/ 966855 h 4687251"/>
              <a:gd name="connsiteX22333" fmla="*/ 4305832 w 8079933"/>
              <a:gd name="connsiteY22333" fmla="*/ 958952 h 4687251"/>
              <a:gd name="connsiteX22334" fmla="*/ 4284887 w 8079933"/>
              <a:gd name="connsiteY22334" fmla="*/ 955163 h 4687251"/>
              <a:gd name="connsiteX22335" fmla="*/ 4281957 w 8079933"/>
              <a:gd name="connsiteY22335" fmla="*/ 959818 h 4687251"/>
              <a:gd name="connsiteX22336" fmla="*/ 4280764 w 8079933"/>
              <a:gd name="connsiteY22336" fmla="*/ 956462 h 4687251"/>
              <a:gd name="connsiteX22337" fmla="*/ 4845703 w 8079933"/>
              <a:gd name="connsiteY22337" fmla="*/ 953971 h 4687251"/>
              <a:gd name="connsiteX22338" fmla="*/ 4853624 w 8079933"/>
              <a:gd name="connsiteY22338" fmla="*/ 955379 h 4687251"/>
              <a:gd name="connsiteX22339" fmla="*/ 4870879 w 8079933"/>
              <a:gd name="connsiteY22339" fmla="*/ 962632 h 4687251"/>
              <a:gd name="connsiteX22340" fmla="*/ 4875328 w 8079933"/>
              <a:gd name="connsiteY22340" fmla="*/ 967721 h 4687251"/>
              <a:gd name="connsiteX22341" fmla="*/ 4875328 w 8079933"/>
              <a:gd name="connsiteY22341" fmla="*/ 973243 h 4687251"/>
              <a:gd name="connsiteX22342" fmla="*/ 4871856 w 8079933"/>
              <a:gd name="connsiteY22342" fmla="*/ 979198 h 4687251"/>
              <a:gd name="connsiteX22343" fmla="*/ 4873266 w 8079933"/>
              <a:gd name="connsiteY22343" fmla="*/ 972701 h 4687251"/>
              <a:gd name="connsiteX22344" fmla="*/ 4871530 w 8079933"/>
              <a:gd name="connsiteY22344" fmla="*/ 968587 h 4687251"/>
              <a:gd name="connsiteX22345" fmla="*/ 4868600 w 8079933"/>
              <a:gd name="connsiteY22345" fmla="*/ 971727 h 4687251"/>
              <a:gd name="connsiteX22346" fmla="*/ 4868600 w 8079933"/>
              <a:gd name="connsiteY22346" fmla="*/ 979956 h 4687251"/>
              <a:gd name="connsiteX22347" fmla="*/ 4864368 w 8079933"/>
              <a:gd name="connsiteY22347" fmla="*/ 985261 h 4687251"/>
              <a:gd name="connsiteX22348" fmla="*/ 4857965 w 8079933"/>
              <a:gd name="connsiteY22348" fmla="*/ 990566 h 4687251"/>
              <a:gd name="connsiteX22349" fmla="*/ 4852973 w 8079933"/>
              <a:gd name="connsiteY22349" fmla="*/ 990999 h 4687251"/>
              <a:gd name="connsiteX22350" fmla="*/ 4849392 w 8079933"/>
              <a:gd name="connsiteY22350" fmla="*/ 994248 h 4687251"/>
              <a:gd name="connsiteX22351" fmla="*/ 4845703 w 8079933"/>
              <a:gd name="connsiteY22351" fmla="*/ 994248 h 4687251"/>
              <a:gd name="connsiteX22352" fmla="*/ 4847113 w 8079933"/>
              <a:gd name="connsiteY22352" fmla="*/ 990999 h 4687251"/>
              <a:gd name="connsiteX22353" fmla="*/ 4843423 w 8079933"/>
              <a:gd name="connsiteY22353" fmla="*/ 988834 h 4687251"/>
              <a:gd name="connsiteX22354" fmla="*/ 4841904 w 8079933"/>
              <a:gd name="connsiteY22354" fmla="*/ 990133 h 4687251"/>
              <a:gd name="connsiteX22355" fmla="*/ 4840494 w 8079933"/>
              <a:gd name="connsiteY22355" fmla="*/ 984070 h 4687251"/>
              <a:gd name="connsiteX22356" fmla="*/ 4837564 w 8079933"/>
              <a:gd name="connsiteY22356" fmla="*/ 978765 h 4687251"/>
              <a:gd name="connsiteX22357" fmla="*/ 4837781 w 8079933"/>
              <a:gd name="connsiteY22357" fmla="*/ 966855 h 4687251"/>
              <a:gd name="connsiteX22358" fmla="*/ 4840710 w 8079933"/>
              <a:gd name="connsiteY22358" fmla="*/ 957111 h 4687251"/>
              <a:gd name="connsiteX22359" fmla="*/ 2517803 w 8079933"/>
              <a:gd name="connsiteY22359" fmla="*/ 952131 h 4687251"/>
              <a:gd name="connsiteX22360" fmla="*/ 2518019 w 8079933"/>
              <a:gd name="connsiteY22360" fmla="*/ 954729 h 4687251"/>
              <a:gd name="connsiteX22361" fmla="*/ 2518128 w 8079933"/>
              <a:gd name="connsiteY22361" fmla="*/ 957220 h 4687251"/>
              <a:gd name="connsiteX22362" fmla="*/ 2519756 w 8079933"/>
              <a:gd name="connsiteY22362" fmla="*/ 956353 h 4687251"/>
              <a:gd name="connsiteX22363" fmla="*/ 2523445 w 8079933"/>
              <a:gd name="connsiteY22363" fmla="*/ 956678 h 4687251"/>
              <a:gd name="connsiteX22364" fmla="*/ 2525616 w 8079933"/>
              <a:gd name="connsiteY22364" fmla="*/ 960143 h 4687251"/>
              <a:gd name="connsiteX22365" fmla="*/ 2530282 w 8079933"/>
              <a:gd name="connsiteY22365" fmla="*/ 960468 h 4687251"/>
              <a:gd name="connsiteX22366" fmla="*/ 2530065 w 8079933"/>
              <a:gd name="connsiteY22366" fmla="*/ 965340 h 4687251"/>
              <a:gd name="connsiteX22367" fmla="*/ 2531476 w 8079933"/>
              <a:gd name="connsiteY22367" fmla="*/ 968047 h 4687251"/>
              <a:gd name="connsiteX22368" fmla="*/ 2529740 w 8079933"/>
              <a:gd name="connsiteY22368" fmla="*/ 971078 h 4687251"/>
              <a:gd name="connsiteX22369" fmla="*/ 2525507 w 8079933"/>
              <a:gd name="connsiteY22369" fmla="*/ 969671 h 4687251"/>
              <a:gd name="connsiteX22370" fmla="*/ 2521601 w 8079933"/>
              <a:gd name="connsiteY22370" fmla="*/ 970428 h 4687251"/>
              <a:gd name="connsiteX22371" fmla="*/ 2519214 w 8079933"/>
              <a:gd name="connsiteY22371" fmla="*/ 969345 h 4687251"/>
              <a:gd name="connsiteX22372" fmla="*/ 2514873 w 8079933"/>
              <a:gd name="connsiteY22372" fmla="*/ 968155 h 4687251"/>
              <a:gd name="connsiteX22373" fmla="*/ 2512377 w 8079933"/>
              <a:gd name="connsiteY22373" fmla="*/ 969237 h 4687251"/>
              <a:gd name="connsiteX22374" fmla="*/ 2510315 w 8079933"/>
              <a:gd name="connsiteY22374" fmla="*/ 967830 h 4687251"/>
              <a:gd name="connsiteX22375" fmla="*/ 2509447 w 8079933"/>
              <a:gd name="connsiteY22375" fmla="*/ 961984 h 4687251"/>
              <a:gd name="connsiteX22376" fmla="*/ 2508145 w 8079933"/>
              <a:gd name="connsiteY22376" fmla="*/ 957653 h 4687251"/>
              <a:gd name="connsiteX22377" fmla="*/ 2509013 w 8079933"/>
              <a:gd name="connsiteY22377" fmla="*/ 955920 h 4687251"/>
              <a:gd name="connsiteX22378" fmla="*/ 2512051 w 8079933"/>
              <a:gd name="connsiteY22378" fmla="*/ 956029 h 4687251"/>
              <a:gd name="connsiteX22379" fmla="*/ 2514330 w 8079933"/>
              <a:gd name="connsiteY22379" fmla="*/ 955596 h 4687251"/>
              <a:gd name="connsiteX22380" fmla="*/ 2516066 w 8079933"/>
              <a:gd name="connsiteY22380" fmla="*/ 952780 h 4687251"/>
              <a:gd name="connsiteX22381" fmla="*/ 4292701 w 8079933"/>
              <a:gd name="connsiteY22381" fmla="*/ 952023 h 4687251"/>
              <a:gd name="connsiteX22382" fmla="*/ 4293678 w 8079933"/>
              <a:gd name="connsiteY22382" fmla="*/ 958627 h 4687251"/>
              <a:gd name="connsiteX22383" fmla="*/ 4298126 w 8079933"/>
              <a:gd name="connsiteY22383" fmla="*/ 962200 h 4687251"/>
              <a:gd name="connsiteX22384" fmla="*/ 4299429 w 8079933"/>
              <a:gd name="connsiteY22384" fmla="*/ 965015 h 4687251"/>
              <a:gd name="connsiteX22385" fmla="*/ 4297258 w 8079933"/>
              <a:gd name="connsiteY22385" fmla="*/ 966747 h 4687251"/>
              <a:gd name="connsiteX22386" fmla="*/ 4291942 w 8079933"/>
              <a:gd name="connsiteY22386" fmla="*/ 964473 h 4687251"/>
              <a:gd name="connsiteX22387" fmla="*/ 4291724 w 8079933"/>
              <a:gd name="connsiteY22387" fmla="*/ 960143 h 4687251"/>
              <a:gd name="connsiteX22388" fmla="*/ 4289988 w 8079933"/>
              <a:gd name="connsiteY22388" fmla="*/ 953863 h 4687251"/>
              <a:gd name="connsiteX22389" fmla="*/ 5054161 w 8079933"/>
              <a:gd name="connsiteY22389" fmla="*/ 950616 h 4687251"/>
              <a:gd name="connsiteX22390" fmla="*/ 5051232 w 8079933"/>
              <a:gd name="connsiteY22390" fmla="*/ 954189 h 4687251"/>
              <a:gd name="connsiteX22391" fmla="*/ 5050364 w 8079933"/>
              <a:gd name="connsiteY22391" fmla="*/ 951265 h 4687251"/>
              <a:gd name="connsiteX22392" fmla="*/ 2653232 w 8079933"/>
              <a:gd name="connsiteY22392" fmla="*/ 949749 h 4687251"/>
              <a:gd name="connsiteX22393" fmla="*/ 2655294 w 8079933"/>
              <a:gd name="connsiteY22393" fmla="*/ 951265 h 4687251"/>
              <a:gd name="connsiteX22394" fmla="*/ 2652907 w 8079933"/>
              <a:gd name="connsiteY22394" fmla="*/ 952131 h 4687251"/>
              <a:gd name="connsiteX22395" fmla="*/ 2649977 w 8079933"/>
              <a:gd name="connsiteY22395" fmla="*/ 950074 h 4687251"/>
              <a:gd name="connsiteX22396" fmla="*/ 4342076 w 8079933"/>
              <a:gd name="connsiteY22396" fmla="*/ 946826 h 4687251"/>
              <a:gd name="connsiteX22397" fmla="*/ 4347176 w 8079933"/>
              <a:gd name="connsiteY22397" fmla="*/ 947259 h 4687251"/>
              <a:gd name="connsiteX22398" fmla="*/ 4349455 w 8079933"/>
              <a:gd name="connsiteY22398" fmla="*/ 949641 h 4687251"/>
              <a:gd name="connsiteX22399" fmla="*/ 4348479 w 8079933"/>
              <a:gd name="connsiteY22399" fmla="*/ 954081 h 4687251"/>
              <a:gd name="connsiteX22400" fmla="*/ 4343812 w 8079933"/>
              <a:gd name="connsiteY22400" fmla="*/ 952023 h 4687251"/>
              <a:gd name="connsiteX22401" fmla="*/ 4338604 w 8079933"/>
              <a:gd name="connsiteY22401" fmla="*/ 949424 h 4687251"/>
              <a:gd name="connsiteX22402" fmla="*/ 2524747 w 8079933"/>
              <a:gd name="connsiteY22402" fmla="*/ 940438 h 4687251"/>
              <a:gd name="connsiteX22403" fmla="*/ 2525941 w 8079933"/>
              <a:gd name="connsiteY22403" fmla="*/ 941304 h 4687251"/>
              <a:gd name="connsiteX22404" fmla="*/ 2526158 w 8079933"/>
              <a:gd name="connsiteY22404" fmla="*/ 944876 h 4687251"/>
              <a:gd name="connsiteX22405" fmla="*/ 2524747 w 8079933"/>
              <a:gd name="connsiteY22405" fmla="*/ 946176 h 4687251"/>
              <a:gd name="connsiteX22406" fmla="*/ 2523120 w 8079933"/>
              <a:gd name="connsiteY22406" fmla="*/ 943469 h 4687251"/>
              <a:gd name="connsiteX22407" fmla="*/ 494944 w 8079933"/>
              <a:gd name="connsiteY22407" fmla="*/ 940114 h 4687251"/>
              <a:gd name="connsiteX22408" fmla="*/ 494512 w 8079933"/>
              <a:gd name="connsiteY22408" fmla="*/ 943795 h 4687251"/>
              <a:gd name="connsiteX22409" fmla="*/ 499937 w 8079933"/>
              <a:gd name="connsiteY22409" fmla="*/ 947693 h 4687251"/>
              <a:gd name="connsiteX22410" fmla="*/ 500480 w 8079933"/>
              <a:gd name="connsiteY22410" fmla="*/ 951699 h 4687251"/>
              <a:gd name="connsiteX22411" fmla="*/ 496030 w 8079933"/>
              <a:gd name="connsiteY22411" fmla="*/ 958195 h 4687251"/>
              <a:gd name="connsiteX22412" fmla="*/ 494296 w 8079933"/>
              <a:gd name="connsiteY22412" fmla="*/ 964042 h 4687251"/>
              <a:gd name="connsiteX22413" fmla="*/ 487893 w 8079933"/>
              <a:gd name="connsiteY22413" fmla="*/ 964042 h 4687251"/>
              <a:gd name="connsiteX22414" fmla="*/ 483443 w 8079933"/>
              <a:gd name="connsiteY22414" fmla="*/ 962310 h 4687251"/>
              <a:gd name="connsiteX22415" fmla="*/ 479320 w 8079933"/>
              <a:gd name="connsiteY22415" fmla="*/ 965233 h 4687251"/>
              <a:gd name="connsiteX22416" fmla="*/ 474978 w 8079933"/>
              <a:gd name="connsiteY22416" fmla="*/ 961985 h 4687251"/>
              <a:gd name="connsiteX22417" fmla="*/ 470312 w 8079933"/>
              <a:gd name="connsiteY22417" fmla="*/ 961119 h 4687251"/>
              <a:gd name="connsiteX22418" fmla="*/ 465320 w 8079933"/>
              <a:gd name="connsiteY22418" fmla="*/ 952565 h 4687251"/>
              <a:gd name="connsiteX22419" fmla="*/ 462934 w 8079933"/>
              <a:gd name="connsiteY22419" fmla="*/ 943579 h 4687251"/>
              <a:gd name="connsiteX22420" fmla="*/ 468686 w 8079933"/>
              <a:gd name="connsiteY22420" fmla="*/ 943254 h 4687251"/>
              <a:gd name="connsiteX22421" fmla="*/ 474327 w 8079933"/>
              <a:gd name="connsiteY22421" fmla="*/ 945203 h 4687251"/>
              <a:gd name="connsiteX22422" fmla="*/ 478993 w 8079933"/>
              <a:gd name="connsiteY22422" fmla="*/ 944769 h 4687251"/>
              <a:gd name="connsiteX22423" fmla="*/ 482791 w 8079933"/>
              <a:gd name="connsiteY22423" fmla="*/ 946502 h 4687251"/>
              <a:gd name="connsiteX22424" fmla="*/ 488433 w 8079933"/>
              <a:gd name="connsiteY22424" fmla="*/ 941522 h 4687251"/>
              <a:gd name="connsiteX22425" fmla="*/ 3452022 w 8079933"/>
              <a:gd name="connsiteY22425" fmla="*/ 938706 h 4687251"/>
              <a:gd name="connsiteX22426" fmla="*/ 3455603 w 8079933"/>
              <a:gd name="connsiteY22426" fmla="*/ 939355 h 4687251"/>
              <a:gd name="connsiteX22427" fmla="*/ 3455603 w 8079933"/>
              <a:gd name="connsiteY22427" fmla="*/ 941196 h 4687251"/>
              <a:gd name="connsiteX22428" fmla="*/ 3452347 w 8079933"/>
              <a:gd name="connsiteY22428" fmla="*/ 941846 h 4687251"/>
              <a:gd name="connsiteX22429" fmla="*/ 3450069 w 8079933"/>
              <a:gd name="connsiteY22429" fmla="*/ 940763 h 4687251"/>
              <a:gd name="connsiteX22430" fmla="*/ 3452022 w 8079933"/>
              <a:gd name="connsiteY22430" fmla="*/ 938706 h 4687251"/>
              <a:gd name="connsiteX22431" fmla="*/ 2489696 w 8079933"/>
              <a:gd name="connsiteY22431" fmla="*/ 936324 h 4687251"/>
              <a:gd name="connsiteX22432" fmla="*/ 2494688 w 8079933"/>
              <a:gd name="connsiteY22432" fmla="*/ 937840 h 4687251"/>
              <a:gd name="connsiteX22433" fmla="*/ 2496858 w 8079933"/>
              <a:gd name="connsiteY22433" fmla="*/ 940979 h 4687251"/>
              <a:gd name="connsiteX22434" fmla="*/ 2499462 w 8079933"/>
              <a:gd name="connsiteY22434" fmla="*/ 940979 h 4687251"/>
              <a:gd name="connsiteX22435" fmla="*/ 2502718 w 8079933"/>
              <a:gd name="connsiteY22435" fmla="*/ 944553 h 4687251"/>
              <a:gd name="connsiteX22436" fmla="*/ 2504454 w 8079933"/>
              <a:gd name="connsiteY22436" fmla="*/ 949208 h 4687251"/>
              <a:gd name="connsiteX22437" fmla="*/ 2504346 w 8079933"/>
              <a:gd name="connsiteY22437" fmla="*/ 952781 h 4687251"/>
              <a:gd name="connsiteX22438" fmla="*/ 2500222 w 8079933"/>
              <a:gd name="connsiteY22438" fmla="*/ 956246 h 4687251"/>
              <a:gd name="connsiteX22439" fmla="*/ 2498160 w 8079933"/>
              <a:gd name="connsiteY22439" fmla="*/ 960902 h 4687251"/>
              <a:gd name="connsiteX22440" fmla="*/ 2497726 w 8079933"/>
              <a:gd name="connsiteY22440" fmla="*/ 965665 h 4687251"/>
              <a:gd name="connsiteX22441" fmla="*/ 2491541 w 8079933"/>
              <a:gd name="connsiteY22441" fmla="*/ 975302 h 4687251"/>
              <a:gd name="connsiteX22442" fmla="*/ 2489479 w 8079933"/>
              <a:gd name="connsiteY22442" fmla="*/ 978875 h 4687251"/>
              <a:gd name="connsiteX22443" fmla="*/ 2485681 w 8079933"/>
              <a:gd name="connsiteY22443" fmla="*/ 980065 h 4687251"/>
              <a:gd name="connsiteX22444" fmla="*/ 2479821 w 8079933"/>
              <a:gd name="connsiteY22444" fmla="*/ 982989 h 4687251"/>
              <a:gd name="connsiteX22445" fmla="*/ 2478519 w 8079933"/>
              <a:gd name="connsiteY22445" fmla="*/ 984613 h 4687251"/>
              <a:gd name="connsiteX22446" fmla="*/ 2475046 w 8079933"/>
              <a:gd name="connsiteY22446" fmla="*/ 985046 h 4687251"/>
              <a:gd name="connsiteX22447" fmla="*/ 2469838 w 8079933"/>
              <a:gd name="connsiteY22447" fmla="*/ 987320 h 4687251"/>
              <a:gd name="connsiteX22448" fmla="*/ 2467125 w 8079933"/>
              <a:gd name="connsiteY22448" fmla="*/ 985479 h 4687251"/>
              <a:gd name="connsiteX22449" fmla="*/ 2460397 w 8079933"/>
              <a:gd name="connsiteY22449" fmla="*/ 986779 h 4687251"/>
              <a:gd name="connsiteX22450" fmla="*/ 2456599 w 8079933"/>
              <a:gd name="connsiteY22450" fmla="*/ 985479 h 4687251"/>
              <a:gd name="connsiteX22451" fmla="*/ 2453669 w 8079933"/>
              <a:gd name="connsiteY22451" fmla="*/ 985587 h 4687251"/>
              <a:gd name="connsiteX22452" fmla="*/ 2452909 w 8079933"/>
              <a:gd name="connsiteY22452" fmla="*/ 984071 h 4687251"/>
              <a:gd name="connsiteX22453" fmla="*/ 2454536 w 8079933"/>
              <a:gd name="connsiteY22453" fmla="*/ 978767 h 4687251"/>
              <a:gd name="connsiteX22454" fmla="*/ 2453126 w 8079933"/>
              <a:gd name="connsiteY22454" fmla="*/ 976818 h 4687251"/>
              <a:gd name="connsiteX22455" fmla="*/ 2453669 w 8079933"/>
              <a:gd name="connsiteY22455" fmla="*/ 971512 h 4687251"/>
              <a:gd name="connsiteX22456" fmla="*/ 2454211 w 8079933"/>
              <a:gd name="connsiteY22456" fmla="*/ 966207 h 4687251"/>
              <a:gd name="connsiteX22457" fmla="*/ 2460397 w 8079933"/>
              <a:gd name="connsiteY22457" fmla="*/ 960036 h 4687251"/>
              <a:gd name="connsiteX22458" fmla="*/ 2463001 w 8079933"/>
              <a:gd name="connsiteY22458" fmla="*/ 954622 h 4687251"/>
              <a:gd name="connsiteX22459" fmla="*/ 2466582 w 8079933"/>
              <a:gd name="connsiteY22459" fmla="*/ 952240 h 4687251"/>
              <a:gd name="connsiteX22460" fmla="*/ 2473527 w 8079933"/>
              <a:gd name="connsiteY22460" fmla="*/ 942279 h 4687251"/>
              <a:gd name="connsiteX22461" fmla="*/ 2478085 w 8079933"/>
              <a:gd name="connsiteY22461" fmla="*/ 939355 h 4687251"/>
              <a:gd name="connsiteX22462" fmla="*/ 2480364 w 8079933"/>
              <a:gd name="connsiteY22462" fmla="*/ 939355 h 4687251"/>
              <a:gd name="connsiteX22463" fmla="*/ 2482208 w 8079933"/>
              <a:gd name="connsiteY22463" fmla="*/ 937298 h 4687251"/>
              <a:gd name="connsiteX22464" fmla="*/ 2485030 w 8079933"/>
              <a:gd name="connsiteY22464" fmla="*/ 938706 h 4687251"/>
              <a:gd name="connsiteX22465" fmla="*/ 4357811 w 8079933"/>
              <a:gd name="connsiteY22465" fmla="*/ 936215 h 4687251"/>
              <a:gd name="connsiteX22466" fmla="*/ 4359222 w 8079933"/>
              <a:gd name="connsiteY22466" fmla="*/ 941520 h 4687251"/>
              <a:gd name="connsiteX22467" fmla="*/ 4355424 w 8079933"/>
              <a:gd name="connsiteY22467" fmla="*/ 946067 h 4687251"/>
              <a:gd name="connsiteX22468" fmla="*/ 4354664 w 8079933"/>
              <a:gd name="connsiteY22468" fmla="*/ 950182 h 4687251"/>
              <a:gd name="connsiteX22469" fmla="*/ 4349347 w 8079933"/>
              <a:gd name="connsiteY22469" fmla="*/ 943577 h 4687251"/>
              <a:gd name="connsiteX22470" fmla="*/ 5035606 w 8079933"/>
              <a:gd name="connsiteY22470" fmla="*/ 934592 h 4687251"/>
              <a:gd name="connsiteX22471" fmla="*/ 5038644 w 8079933"/>
              <a:gd name="connsiteY22471" fmla="*/ 937840 h 4687251"/>
              <a:gd name="connsiteX22472" fmla="*/ 5046241 w 8079933"/>
              <a:gd name="connsiteY22472" fmla="*/ 941738 h 4687251"/>
              <a:gd name="connsiteX22473" fmla="*/ 5047109 w 8079933"/>
              <a:gd name="connsiteY22473" fmla="*/ 947151 h 4687251"/>
              <a:gd name="connsiteX22474" fmla="*/ 5039404 w 8079933"/>
              <a:gd name="connsiteY22474" fmla="*/ 941629 h 4687251"/>
              <a:gd name="connsiteX22475" fmla="*/ 5034521 w 8079933"/>
              <a:gd name="connsiteY22475" fmla="*/ 936974 h 4687251"/>
              <a:gd name="connsiteX22476" fmla="*/ 2435222 w 8079933"/>
              <a:gd name="connsiteY22476" fmla="*/ 929177 h 4687251"/>
              <a:gd name="connsiteX22477" fmla="*/ 2436523 w 8079933"/>
              <a:gd name="connsiteY22477" fmla="*/ 930152 h 4687251"/>
              <a:gd name="connsiteX22478" fmla="*/ 2440539 w 8079933"/>
              <a:gd name="connsiteY22478" fmla="*/ 930476 h 4687251"/>
              <a:gd name="connsiteX22479" fmla="*/ 2440431 w 8079933"/>
              <a:gd name="connsiteY22479" fmla="*/ 933508 h 4687251"/>
              <a:gd name="connsiteX22480" fmla="*/ 2436958 w 8079933"/>
              <a:gd name="connsiteY22480" fmla="*/ 934266 h 4687251"/>
              <a:gd name="connsiteX22481" fmla="*/ 2436523 w 8079933"/>
              <a:gd name="connsiteY22481" fmla="*/ 937297 h 4687251"/>
              <a:gd name="connsiteX22482" fmla="*/ 2434896 w 8079933"/>
              <a:gd name="connsiteY22482" fmla="*/ 938489 h 4687251"/>
              <a:gd name="connsiteX22483" fmla="*/ 2433160 w 8079933"/>
              <a:gd name="connsiteY22483" fmla="*/ 932858 h 4687251"/>
              <a:gd name="connsiteX22484" fmla="*/ 5028227 w 8079933"/>
              <a:gd name="connsiteY22484" fmla="*/ 929070 h 4687251"/>
              <a:gd name="connsiteX22485" fmla="*/ 5030614 w 8079933"/>
              <a:gd name="connsiteY22485" fmla="*/ 930478 h 4687251"/>
              <a:gd name="connsiteX22486" fmla="*/ 5029855 w 8079933"/>
              <a:gd name="connsiteY22486" fmla="*/ 934050 h 4687251"/>
              <a:gd name="connsiteX22487" fmla="*/ 5028010 w 8079933"/>
              <a:gd name="connsiteY22487" fmla="*/ 934917 h 4687251"/>
              <a:gd name="connsiteX22488" fmla="*/ 4365734 w 8079933"/>
              <a:gd name="connsiteY22488" fmla="*/ 929070 h 4687251"/>
              <a:gd name="connsiteX22489" fmla="*/ 4371268 w 8079933"/>
              <a:gd name="connsiteY22489" fmla="*/ 933184 h 4687251"/>
              <a:gd name="connsiteX22490" fmla="*/ 4369640 w 8079933"/>
              <a:gd name="connsiteY22490" fmla="*/ 937299 h 4687251"/>
              <a:gd name="connsiteX22491" fmla="*/ 4363237 w 8079933"/>
              <a:gd name="connsiteY22491" fmla="*/ 939681 h 4687251"/>
              <a:gd name="connsiteX22492" fmla="*/ 4362695 w 8079933"/>
              <a:gd name="connsiteY22492" fmla="*/ 935133 h 4687251"/>
              <a:gd name="connsiteX22493" fmla="*/ 4359114 w 8079933"/>
              <a:gd name="connsiteY22493" fmla="*/ 931452 h 4687251"/>
              <a:gd name="connsiteX22494" fmla="*/ 2518345 w 8079933"/>
              <a:gd name="connsiteY22494" fmla="*/ 927337 h 4687251"/>
              <a:gd name="connsiteX22495" fmla="*/ 2519755 w 8079933"/>
              <a:gd name="connsiteY22495" fmla="*/ 931884 h 4687251"/>
              <a:gd name="connsiteX22496" fmla="*/ 2521275 w 8079933"/>
              <a:gd name="connsiteY22496" fmla="*/ 934591 h 4687251"/>
              <a:gd name="connsiteX22497" fmla="*/ 2519864 w 8079933"/>
              <a:gd name="connsiteY22497" fmla="*/ 936540 h 4687251"/>
              <a:gd name="connsiteX22498" fmla="*/ 2518129 w 8079933"/>
              <a:gd name="connsiteY22498" fmla="*/ 936322 h 4687251"/>
              <a:gd name="connsiteX22499" fmla="*/ 2517152 w 8079933"/>
              <a:gd name="connsiteY22499" fmla="*/ 932642 h 4687251"/>
              <a:gd name="connsiteX22500" fmla="*/ 2271903 w 8079933"/>
              <a:gd name="connsiteY22500" fmla="*/ 926796 h 4687251"/>
              <a:gd name="connsiteX22501" fmla="*/ 2276353 w 8079933"/>
              <a:gd name="connsiteY22501" fmla="*/ 927553 h 4687251"/>
              <a:gd name="connsiteX22502" fmla="*/ 2277112 w 8079933"/>
              <a:gd name="connsiteY22502" fmla="*/ 929394 h 4687251"/>
              <a:gd name="connsiteX22503" fmla="*/ 2274073 w 8079933"/>
              <a:gd name="connsiteY22503" fmla="*/ 932534 h 4687251"/>
              <a:gd name="connsiteX22504" fmla="*/ 2269082 w 8079933"/>
              <a:gd name="connsiteY22504" fmla="*/ 932534 h 4687251"/>
              <a:gd name="connsiteX22505" fmla="*/ 2267780 w 8079933"/>
              <a:gd name="connsiteY22505" fmla="*/ 931342 h 4687251"/>
              <a:gd name="connsiteX22506" fmla="*/ 2268322 w 8079933"/>
              <a:gd name="connsiteY22506" fmla="*/ 927012 h 4687251"/>
              <a:gd name="connsiteX22507" fmla="*/ 2986487 w 8079933"/>
              <a:gd name="connsiteY22507" fmla="*/ 926038 h 4687251"/>
              <a:gd name="connsiteX22508" fmla="*/ 2987681 w 8079933"/>
              <a:gd name="connsiteY22508" fmla="*/ 927770 h 4687251"/>
              <a:gd name="connsiteX22509" fmla="*/ 2984209 w 8079933"/>
              <a:gd name="connsiteY22509" fmla="*/ 931018 h 4687251"/>
              <a:gd name="connsiteX22510" fmla="*/ 2982472 w 8079933"/>
              <a:gd name="connsiteY22510" fmla="*/ 937840 h 4687251"/>
              <a:gd name="connsiteX22511" fmla="*/ 2979433 w 8079933"/>
              <a:gd name="connsiteY22511" fmla="*/ 940114 h 4687251"/>
              <a:gd name="connsiteX22512" fmla="*/ 2977697 w 8079933"/>
              <a:gd name="connsiteY22512" fmla="*/ 938056 h 4687251"/>
              <a:gd name="connsiteX22513" fmla="*/ 2978999 w 8079933"/>
              <a:gd name="connsiteY22513" fmla="*/ 933401 h 4687251"/>
              <a:gd name="connsiteX22514" fmla="*/ 2978674 w 8079933"/>
              <a:gd name="connsiteY22514" fmla="*/ 930477 h 4687251"/>
              <a:gd name="connsiteX22515" fmla="*/ 2976178 w 8079933"/>
              <a:gd name="connsiteY22515" fmla="*/ 930910 h 4687251"/>
              <a:gd name="connsiteX22516" fmla="*/ 2976178 w 8079933"/>
              <a:gd name="connsiteY22516" fmla="*/ 929395 h 4687251"/>
              <a:gd name="connsiteX22517" fmla="*/ 2979759 w 8079933"/>
              <a:gd name="connsiteY22517" fmla="*/ 926254 h 4687251"/>
              <a:gd name="connsiteX22518" fmla="*/ 2984100 w 8079933"/>
              <a:gd name="connsiteY22518" fmla="*/ 926579 h 4687251"/>
              <a:gd name="connsiteX22519" fmla="*/ 4355859 w 8079933"/>
              <a:gd name="connsiteY22519" fmla="*/ 925713 h 4687251"/>
              <a:gd name="connsiteX22520" fmla="*/ 4356727 w 8079933"/>
              <a:gd name="connsiteY22520" fmla="*/ 928853 h 4687251"/>
              <a:gd name="connsiteX22521" fmla="*/ 4344356 w 8079933"/>
              <a:gd name="connsiteY22521" fmla="*/ 941304 h 4687251"/>
              <a:gd name="connsiteX22522" fmla="*/ 4341209 w 8079933"/>
              <a:gd name="connsiteY22522" fmla="*/ 941954 h 4687251"/>
              <a:gd name="connsiteX22523" fmla="*/ 4333613 w 8079933"/>
              <a:gd name="connsiteY22523" fmla="*/ 939680 h 4687251"/>
              <a:gd name="connsiteX22524" fmla="*/ 4331768 w 8079933"/>
              <a:gd name="connsiteY22524" fmla="*/ 934699 h 4687251"/>
              <a:gd name="connsiteX22525" fmla="*/ 4336000 w 8079933"/>
              <a:gd name="connsiteY22525" fmla="*/ 935674 h 4687251"/>
              <a:gd name="connsiteX22526" fmla="*/ 4340015 w 8079933"/>
              <a:gd name="connsiteY22526" fmla="*/ 932534 h 4687251"/>
              <a:gd name="connsiteX22527" fmla="*/ 4342837 w 8079933"/>
              <a:gd name="connsiteY22527" fmla="*/ 935782 h 4687251"/>
              <a:gd name="connsiteX22528" fmla="*/ 4345224 w 8079933"/>
              <a:gd name="connsiteY22528" fmla="*/ 931018 h 4687251"/>
              <a:gd name="connsiteX22529" fmla="*/ 4348263 w 8079933"/>
              <a:gd name="connsiteY22529" fmla="*/ 932750 h 4687251"/>
              <a:gd name="connsiteX22530" fmla="*/ 2512051 w 8079933"/>
              <a:gd name="connsiteY22530" fmla="*/ 922789 h 4687251"/>
              <a:gd name="connsiteX22531" fmla="*/ 2514547 w 8079933"/>
              <a:gd name="connsiteY22531" fmla="*/ 926579 h 4687251"/>
              <a:gd name="connsiteX22532" fmla="*/ 2513679 w 8079933"/>
              <a:gd name="connsiteY22532" fmla="*/ 932967 h 4687251"/>
              <a:gd name="connsiteX22533" fmla="*/ 2514547 w 8079933"/>
              <a:gd name="connsiteY22533" fmla="*/ 939788 h 4687251"/>
              <a:gd name="connsiteX22534" fmla="*/ 2512485 w 8079933"/>
              <a:gd name="connsiteY22534" fmla="*/ 940654 h 4687251"/>
              <a:gd name="connsiteX22535" fmla="*/ 2510098 w 8079933"/>
              <a:gd name="connsiteY22535" fmla="*/ 942387 h 4687251"/>
              <a:gd name="connsiteX22536" fmla="*/ 2509446 w 8079933"/>
              <a:gd name="connsiteY22536" fmla="*/ 939030 h 4687251"/>
              <a:gd name="connsiteX22537" fmla="*/ 2507710 w 8079933"/>
              <a:gd name="connsiteY22537" fmla="*/ 936864 h 4687251"/>
              <a:gd name="connsiteX22538" fmla="*/ 2506951 w 8079933"/>
              <a:gd name="connsiteY22538" fmla="*/ 932425 h 4687251"/>
              <a:gd name="connsiteX22539" fmla="*/ 2509338 w 8079933"/>
              <a:gd name="connsiteY22539" fmla="*/ 927553 h 4687251"/>
              <a:gd name="connsiteX22540" fmla="*/ 2509664 w 8079933"/>
              <a:gd name="connsiteY22540" fmla="*/ 923547 h 4687251"/>
              <a:gd name="connsiteX22541" fmla="*/ 3434552 w 8079933"/>
              <a:gd name="connsiteY22541" fmla="*/ 918892 h 4687251"/>
              <a:gd name="connsiteX22542" fmla="*/ 3433249 w 8079933"/>
              <a:gd name="connsiteY22542" fmla="*/ 921382 h 4687251"/>
              <a:gd name="connsiteX22543" fmla="*/ 3430645 w 8079933"/>
              <a:gd name="connsiteY22543" fmla="*/ 922032 h 4687251"/>
              <a:gd name="connsiteX22544" fmla="*/ 3429126 w 8079933"/>
              <a:gd name="connsiteY22544" fmla="*/ 921490 h 4687251"/>
              <a:gd name="connsiteX22545" fmla="*/ 3431404 w 8079933"/>
              <a:gd name="connsiteY22545" fmla="*/ 919325 h 4687251"/>
              <a:gd name="connsiteX22546" fmla="*/ 4369856 w 8079933"/>
              <a:gd name="connsiteY22546" fmla="*/ 917160 h 4687251"/>
              <a:gd name="connsiteX22547" fmla="*/ 4372135 w 8079933"/>
              <a:gd name="connsiteY22547" fmla="*/ 919975 h 4687251"/>
              <a:gd name="connsiteX22548" fmla="*/ 4370724 w 8079933"/>
              <a:gd name="connsiteY22548" fmla="*/ 922357 h 4687251"/>
              <a:gd name="connsiteX22549" fmla="*/ 4368662 w 8079933"/>
              <a:gd name="connsiteY22549" fmla="*/ 923007 h 4687251"/>
              <a:gd name="connsiteX22550" fmla="*/ 4365624 w 8079933"/>
              <a:gd name="connsiteY22550" fmla="*/ 918243 h 4687251"/>
              <a:gd name="connsiteX22551" fmla="*/ 5192304 w 8079933"/>
              <a:gd name="connsiteY22551" fmla="*/ 915753 h 4687251"/>
              <a:gd name="connsiteX22552" fmla="*/ 5194583 w 8079933"/>
              <a:gd name="connsiteY22552" fmla="*/ 918351 h 4687251"/>
              <a:gd name="connsiteX22553" fmla="*/ 5194583 w 8079933"/>
              <a:gd name="connsiteY22553" fmla="*/ 921924 h 4687251"/>
              <a:gd name="connsiteX22554" fmla="*/ 5192413 w 8079933"/>
              <a:gd name="connsiteY22554" fmla="*/ 925173 h 4687251"/>
              <a:gd name="connsiteX22555" fmla="*/ 5189157 w 8079933"/>
              <a:gd name="connsiteY22555" fmla="*/ 924090 h 4687251"/>
              <a:gd name="connsiteX22556" fmla="*/ 5188072 w 8079933"/>
              <a:gd name="connsiteY22556" fmla="*/ 922032 h 4687251"/>
              <a:gd name="connsiteX22557" fmla="*/ 5189374 w 8079933"/>
              <a:gd name="connsiteY22557" fmla="*/ 919867 h 4687251"/>
              <a:gd name="connsiteX22558" fmla="*/ 5189374 w 8079933"/>
              <a:gd name="connsiteY22558" fmla="*/ 917594 h 4687251"/>
              <a:gd name="connsiteX22559" fmla="*/ 2439888 w 8079933"/>
              <a:gd name="connsiteY22559" fmla="*/ 914778 h 4687251"/>
              <a:gd name="connsiteX22560" fmla="*/ 2442168 w 8079933"/>
              <a:gd name="connsiteY22560" fmla="*/ 915644 h 4687251"/>
              <a:gd name="connsiteX22561" fmla="*/ 2444772 w 8079933"/>
              <a:gd name="connsiteY22561" fmla="*/ 917592 h 4687251"/>
              <a:gd name="connsiteX22562" fmla="*/ 2443687 w 8079933"/>
              <a:gd name="connsiteY22562" fmla="*/ 920516 h 4687251"/>
              <a:gd name="connsiteX22563" fmla="*/ 2443144 w 8079933"/>
              <a:gd name="connsiteY22563" fmla="*/ 923655 h 4687251"/>
              <a:gd name="connsiteX22564" fmla="*/ 2439346 w 8079933"/>
              <a:gd name="connsiteY22564" fmla="*/ 923981 h 4687251"/>
              <a:gd name="connsiteX22565" fmla="*/ 2439346 w 8079933"/>
              <a:gd name="connsiteY22565" fmla="*/ 921490 h 4687251"/>
              <a:gd name="connsiteX22566" fmla="*/ 2441191 w 8079933"/>
              <a:gd name="connsiteY22566" fmla="*/ 919325 h 4687251"/>
              <a:gd name="connsiteX22567" fmla="*/ 3465152 w 8079933"/>
              <a:gd name="connsiteY22567" fmla="*/ 911639 h 4687251"/>
              <a:gd name="connsiteX22568" fmla="*/ 3468951 w 8079933"/>
              <a:gd name="connsiteY22568" fmla="*/ 911855 h 4687251"/>
              <a:gd name="connsiteX22569" fmla="*/ 3470904 w 8079933"/>
              <a:gd name="connsiteY22569" fmla="*/ 916294 h 4687251"/>
              <a:gd name="connsiteX22570" fmla="*/ 3474268 w 8079933"/>
              <a:gd name="connsiteY22570" fmla="*/ 919434 h 4687251"/>
              <a:gd name="connsiteX22571" fmla="*/ 3473833 w 8079933"/>
              <a:gd name="connsiteY22571" fmla="*/ 932318 h 4687251"/>
              <a:gd name="connsiteX22572" fmla="*/ 3468082 w 8079933"/>
              <a:gd name="connsiteY22572" fmla="*/ 936649 h 4687251"/>
              <a:gd name="connsiteX22573" fmla="*/ 3465478 w 8079933"/>
              <a:gd name="connsiteY22573" fmla="*/ 935891 h 4687251"/>
              <a:gd name="connsiteX22574" fmla="*/ 3460052 w 8079933"/>
              <a:gd name="connsiteY22574" fmla="*/ 938057 h 4687251"/>
              <a:gd name="connsiteX22575" fmla="*/ 3454843 w 8079933"/>
              <a:gd name="connsiteY22575" fmla="*/ 934917 h 4687251"/>
              <a:gd name="connsiteX22576" fmla="*/ 3450394 w 8079933"/>
              <a:gd name="connsiteY22576" fmla="*/ 935891 h 4687251"/>
              <a:gd name="connsiteX22577" fmla="*/ 3447247 w 8079933"/>
              <a:gd name="connsiteY22577" fmla="*/ 939248 h 4687251"/>
              <a:gd name="connsiteX22578" fmla="*/ 3436938 w 8079933"/>
              <a:gd name="connsiteY22578" fmla="*/ 936974 h 4687251"/>
              <a:gd name="connsiteX22579" fmla="*/ 3426412 w 8079933"/>
              <a:gd name="connsiteY22579" fmla="*/ 939248 h 4687251"/>
              <a:gd name="connsiteX22580" fmla="*/ 3420769 w 8079933"/>
              <a:gd name="connsiteY22580" fmla="*/ 940114 h 4687251"/>
              <a:gd name="connsiteX22581" fmla="*/ 3419901 w 8079933"/>
              <a:gd name="connsiteY22581" fmla="*/ 937840 h 4687251"/>
              <a:gd name="connsiteX22582" fmla="*/ 3421637 w 8079933"/>
              <a:gd name="connsiteY22582" fmla="*/ 934592 h 4687251"/>
              <a:gd name="connsiteX22583" fmla="*/ 3422288 w 8079933"/>
              <a:gd name="connsiteY22583" fmla="*/ 931452 h 4687251"/>
              <a:gd name="connsiteX22584" fmla="*/ 3427497 w 8079933"/>
              <a:gd name="connsiteY22584" fmla="*/ 930586 h 4687251"/>
              <a:gd name="connsiteX22585" fmla="*/ 3430210 w 8079933"/>
              <a:gd name="connsiteY22585" fmla="*/ 925822 h 4687251"/>
              <a:gd name="connsiteX22586" fmla="*/ 3434876 w 8079933"/>
              <a:gd name="connsiteY22586" fmla="*/ 923549 h 4687251"/>
              <a:gd name="connsiteX22587" fmla="*/ 3438348 w 8079933"/>
              <a:gd name="connsiteY22587" fmla="*/ 919651 h 4687251"/>
              <a:gd name="connsiteX22588" fmla="*/ 3451262 w 8079933"/>
              <a:gd name="connsiteY22588" fmla="*/ 918027 h 4687251"/>
              <a:gd name="connsiteX22589" fmla="*/ 4380817 w 8079933"/>
              <a:gd name="connsiteY22589" fmla="*/ 909147 h 4687251"/>
              <a:gd name="connsiteX22590" fmla="*/ 4384181 w 8079933"/>
              <a:gd name="connsiteY22590" fmla="*/ 909147 h 4687251"/>
              <a:gd name="connsiteX22591" fmla="*/ 4382445 w 8079933"/>
              <a:gd name="connsiteY22591" fmla="*/ 912504 h 4687251"/>
              <a:gd name="connsiteX22592" fmla="*/ 4379189 w 8079933"/>
              <a:gd name="connsiteY22592" fmla="*/ 912504 h 4687251"/>
              <a:gd name="connsiteX22593" fmla="*/ 2279934 w 8079933"/>
              <a:gd name="connsiteY22593" fmla="*/ 908606 h 4687251"/>
              <a:gd name="connsiteX22594" fmla="*/ 2280694 w 8079933"/>
              <a:gd name="connsiteY22594" fmla="*/ 910014 h 4687251"/>
              <a:gd name="connsiteX22595" fmla="*/ 2280694 w 8079933"/>
              <a:gd name="connsiteY22595" fmla="*/ 914777 h 4687251"/>
              <a:gd name="connsiteX22596" fmla="*/ 2279609 w 8079933"/>
              <a:gd name="connsiteY22596" fmla="*/ 919649 h 4687251"/>
              <a:gd name="connsiteX22597" fmla="*/ 2279609 w 8079933"/>
              <a:gd name="connsiteY22597" fmla="*/ 924089 h 4687251"/>
              <a:gd name="connsiteX22598" fmla="*/ 2275702 w 8079933"/>
              <a:gd name="connsiteY22598" fmla="*/ 925496 h 4687251"/>
              <a:gd name="connsiteX22599" fmla="*/ 2269300 w 8079933"/>
              <a:gd name="connsiteY22599" fmla="*/ 925063 h 4687251"/>
              <a:gd name="connsiteX22600" fmla="*/ 2271579 w 8079933"/>
              <a:gd name="connsiteY22600" fmla="*/ 920949 h 4687251"/>
              <a:gd name="connsiteX22601" fmla="*/ 2271362 w 8079933"/>
              <a:gd name="connsiteY22601" fmla="*/ 916185 h 4687251"/>
              <a:gd name="connsiteX22602" fmla="*/ 2276679 w 8079933"/>
              <a:gd name="connsiteY22602" fmla="*/ 911530 h 4687251"/>
              <a:gd name="connsiteX22603" fmla="*/ 3472857 w 8079933"/>
              <a:gd name="connsiteY22603" fmla="*/ 907957 h 4687251"/>
              <a:gd name="connsiteX22604" fmla="*/ 3474919 w 8079933"/>
              <a:gd name="connsiteY22604" fmla="*/ 909473 h 4687251"/>
              <a:gd name="connsiteX22605" fmla="*/ 3475353 w 8079933"/>
              <a:gd name="connsiteY22605" fmla="*/ 912612 h 4687251"/>
              <a:gd name="connsiteX22606" fmla="*/ 3474160 w 8079933"/>
              <a:gd name="connsiteY22606" fmla="*/ 914236 h 4687251"/>
              <a:gd name="connsiteX22607" fmla="*/ 3472098 w 8079933"/>
              <a:gd name="connsiteY22607" fmla="*/ 912395 h 4687251"/>
              <a:gd name="connsiteX22608" fmla="*/ 3472315 w 8079933"/>
              <a:gd name="connsiteY22608" fmla="*/ 909473 h 4687251"/>
              <a:gd name="connsiteX22609" fmla="*/ 4397093 w 8079933"/>
              <a:gd name="connsiteY22609" fmla="*/ 906224 h 4687251"/>
              <a:gd name="connsiteX22610" fmla="*/ 4399806 w 8079933"/>
              <a:gd name="connsiteY22610" fmla="*/ 908497 h 4687251"/>
              <a:gd name="connsiteX22611" fmla="*/ 4403604 w 8079933"/>
              <a:gd name="connsiteY22611" fmla="*/ 909472 h 4687251"/>
              <a:gd name="connsiteX22612" fmla="*/ 4400565 w 8079933"/>
              <a:gd name="connsiteY22612" fmla="*/ 913370 h 4687251"/>
              <a:gd name="connsiteX22613" fmla="*/ 4406317 w 8079933"/>
              <a:gd name="connsiteY22613" fmla="*/ 913370 h 4687251"/>
              <a:gd name="connsiteX22614" fmla="*/ 4404255 w 8079933"/>
              <a:gd name="connsiteY22614" fmla="*/ 918783 h 4687251"/>
              <a:gd name="connsiteX22615" fmla="*/ 4399372 w 8079933"/>
              <a:gd name="connsiteY22615" fmla="*/ 919866 h 4687251"/>
              <a:gd name="connsiteX22616" fmla="*/ 4394271 w 8079933"/>
              <a:gd name="connsiteY22616" fmla="*/ 915860 h 4687251"/>
              <a:gd name="connsiteX22617" fmla="*/ 4389063 w 8079933"/>
              <a:gd name="connsiteY22617" fmla="*/ 915101 h 4687251"/>
              <a:gd name="connsiteX22618" fmla="*/ 4389388 w 8079933"/>
              <a:gd name="connsiteY22618" fmla="*/ 912720 h 4687251"/>
              <a:gd name="connsiteX22619" fmla="*/ 4391450 w 8079933"/>
              <a:gd name="connsiteY22619" fmla="*/ 910771 h 4687251"/>
              <a:gd name="connsiteX22620" fmla="*/ 4394271 w 8079933"/>
              <a:gd name="connsiteY22620" fmla="*/ 912070 h 4687251"/>
              <a:gd name="connsiteX22621" fmla="*/ 4396551 w 8079933"/>
              <a:gd name="connsiteY22621" fmla="*/ 910013 h 4687251"/>
              <a:gd name="connsiteX22622" fmla="*/ 2675261 w 8079933"/>
              <a:gd name="connsiteY22622" fmla="*/ 899620 h 4687251"/>
              <a:gd name="connsiteX22623" fmla="*/ 2678950 w 8079933"/>
              <a:gd name="connsiteY22623" fmla="*/ 900919 h 4687251"/>
              <a:gd name="connsiteX22624" fmla="*/ 2676455 w 8079933"/>
              <a:gd name="connsiteY22624" fmla="*/ 903518 h 4687251"/>
              <a:gd name="connsiteX22625" fmla="*/ 2673633 w 8079933"/>
              <a:gd name="connsiteY22625" fmla="*/ 903518 h 4687251"/>
              <a:gd name="connsiteX22626" fmla="*/ 2672765 w 8079933"/>
              <a:gd name="connsiteY22626" fmla="*/ 902326 h 4687251"/>
              <a:gd name="connsiteX22627" fmla="*/ 356586 w 8079933"/>
              <a:gd name="connsiteY22627" fmla="*/ 897671 h 4687251"/>
              <a:gd name="connsiteX22628" fmla="*/ 359299 w 8079933"/>
              <a:gd name="connsiteY22628" fmla="*/ 899620 h 4687251"/>
              <a:gd name="connsiteX22629" fmla="*/ 359518 w 8079933"/>
              <a:gd name="connsiteY22629" fmla="*/ 903734 h 4687251"/>
              <a:gd name="connsiteX22630" fmla="*/ 366027 w 8079933"/>
              <a:gd name="connsiteY22630" fmla="*/ 910554 h 4687251"/>
              <a:gd name="connsiteX22631" fmla="*/ 365160 w 8079933"/>
              <a:gd name="connsiteY22631" fmla="*/ 914453 h 4687251"/>
              <a:gd name="connsiteX22632" fmla="*/ 356479 w 8079933"/>
              <a:gd name="connsiteY22632" fmla="*/ 907740 h 4687251"/>
              <a:gd name="connsiteX22633" fmla="*/ 355611 w 8079933"/>
              <a:gd name="connsiteY22633" fmla="*/ 902976 h 4687251"/>
              <a:gd name="connsiteX22634" fmla="*/ 354093 w 8079933"/>
              <a:gd name="connsiteY22634" fmla="*/ 899511 h 4687251"/>
              <a:gd name="connsiteX22635" fmla="*/ 356586 w 8079933"/>
              <a:gd name="connsiteY22635" fmla="*/ 897671 h 4687251"/>
              <a:gd name="connsiteX22636" fmla="*/ 2921050 w 8079933"/>
              <a:gd name="connsiteY22636" fmla="*/ 896371 h 4687251"/>
              <a:gd name="connsiteX22637" fmla="*/ 2926260 w 8079933"/>
              <a:gd name="connsiteY22637" fmla="*/ 898428 h 4687251"/>
              <a:gd name="connsiteX22638" fmla="*/ 2933313 w 8079933"/>
              <a:gd name="connsiteY22638" fmla="*/ 899186 h 4687251"/>
              <a:gd name="connsiteX22639" fmla="*/ 2937762 w 8079933"/>
              <a:gd name="connsiteY22639" fmla="*/ 904166 h 4687251"/>
              <a:gd name="connsiteX22640" fmla="*/ 2945250 w 8079933"/>
              <a:gd name="connsiteY22640" fmla="*/ 905899 h 4687251"/>
              <a:gd name="connsiteX22641" fmla="*/ 2949699 w 8079933"/>
              <a:gd name="connsiteY22641" fmla="*/ 913586 h 4687251"/>
              <a:gd name="connsiteX22642" fmla="*/ 2952738 w 8079933"/>
              <a:gd name="connsiteY22642" fmla="*/ 924954 h 4687251"/>
              <a:gd name="connsiteX22643" fmla="*/ 2957295 w 8079933"/>
              <a:gd name="connsiteY22643" fmla="*/ 927011 h 4687251"/>
              <a:gd name="connsiteX22644" fmla="*/ 2961853 w 8079933"/>
              <a:gd name="connsiteY22644" fmla="*/ 927336 h 4687251"/>
              <a:gd name="connsiteX22645" fmla="*/ 2964675 w 8079933"/>
              <a:gd name="connsiteY22645" fmla="*/ 933399 h 4687251"/>
              <a:gd name="connsiteX22646" fmla="*/ 2966085 w 8079933"/>
              <a:gd name="connsiteY22646" fmla="*/ 940437 h 4687251"/>
              <a:gd name="connsiteX22647" fmla="*/ 2957730 w 8079933"/>
              <a:gd name="connsiteY22647" fmla="*/ 947583 h 4687251"/>
              <a:gd name="connsiteX22648" fmla="*/ 2950567 w 8079933"/>
              <a:gd name="connsiteY22648" fmla="*/ 947583 h 4687251"/>
              <a:gd name="connsiteX22649" fmla="*/ 2937762 w 8079933"/>
              <a:gd name="connsiteY22649" fmla="*/ 949856 h 4687251"/>
              <a:gd name="connsiteX22650" fmla="*/ 2934833 w 8079933"/>
              <a:gd name="connsiteY22650" fmla="*/ 952130 h 4687251"/>
              <a:gd name="connsiteX22651" fmla="*/ 2930600 w 8079933"/>
              <a:gd name="connsiteY22651" fmla="*/ 951264 h 4687251"/>
              <a:gd name="connsiteX22652" fmla="*/ 2929298 w 8079933"/>
              <a:gd name="connsiteY22652" fmla="*/ 947799 h 4687251"/>
              <a:gd name="connsiteX22653" fmla="*/ 2922244 w 8079933"/>
              <a:gd name="connsiteY22653" fmla="*/ 946933 h 4687251"/>
              <a:gd name="connsiteX22654" fmla="*/ 2919749 w 8079933"/>
              <a:gd name="connsiteY22654" fmla="*/ 944984 h 4687251"/>
              <a:gd name="connsiteX22655" fmla="*/ 2920074 w 8079933"/>
              <a:gd name="connsiteY22655" fmla="*/ 940762 h 4687251"/>
              <a:gd name="connsiteX22656" fmla="*/ 2922787 w 8079933"/>
              <a:gd name="connsiteY22656" fmla="*/ 940112 h 4687251"/>
              <a:gd name="connsiteX22657" fmla="*/ 2929515 w 8079933"/>
              <a:gd name="connsiteY22657" fmla="*/ 942603 h 4687251"/>
              <a:gd name="connsiteX22658" fmla="*/ 2933530 w 8079933"/>
              <a:gd name="connsiteY22658" fmla="*/ 942494 h 4687251"/>
              <a:gd name="connsiteX22659" fmla="*/ 2938847 w 8079933"/>
              <a:gd name="connsiteY22659" fmla="*/ 935781 h 4687251"/>
              <a:gd name="connsiteX22660" fmla="*/ 2931360 w 8079933"/>
              <a:gd name="connsiteY22660" fmla="*/ 940437 h 4687251"/>
              <a:gd name="connsiteX22661" fmla="*/ 2928321 w 8079933"/>
              <a:gd name="connsiteY22661" fmla="*/ 939354 h 4687251"/>
              <a:gd name="connsiteX22662" fmla="*/ 2926585 w 8079933"/>
              <a:gd name="connsiteY22662" fmla="*/ 937189 h 4687251"/>
              <a:gd name="connsiteX22663" fmla="*/ 2915191 w 8079933"/>
              <a:gd name="connsiteY22663" fmla="*/ 934374 h 4687251"/>
              <a:gd name="connsiteX22664" fmla="*/ 2913346 w 8079933"/>
              <a:gd name="connsiteY22664" fmla="*/ 930476 h 4687251"/>
              <a:gd name="connsiteX22665" fmla="*/ 2914756 w 8079933"/>
              <a:gd name="connsiteY22665" fmla="*/ 928744 h 4687251"/>
              <a:gd name="connsiteX22666" fmla="*/ 2918881 w 8079933"/>
              <a:gd name="connsiteY22666" fmla="*/ 927553 h 4687251"/>
              <a:gd name="connsiteX22667" fmla="*/ 2912478 w 8079933"/>
              <a:gd name="connsiteY22667" fmla="*/ 923872 h 4687251"/>
              <a:gd name="connsiteX22668" fmla="*/ 2913997 w 8079933"/>
              <a:gd name="connsiteY22668" fmla="*/ 920299 h 4687251"/>
              <a:gd name="connsiteX22669" fmla="*/ 2913997 w 8079933"/>
              <a:gd name="connsiteY22669" fmla="*/ 916726 h 4687251"/>
              <a:gd name="connsiteX22670" fmla="*/ 2918012 w 8079933"/>
              <a:gd name="connsiteY22670" fmla="*/ 914993 h 4687251"/>
              <a:gd name="connsiteX22671" fmla="*/ 2922461 w 8079933"/>
              <a:gd name="connsiteY22671" fmla="*/ 917701 h 4687251"/>
              <a:gd name="connsiteX22672" fmla="*/ 2920399 w 8079933"/>
              <a:gd name="connsiteY22672" fmla="*/ 913261 h 4687251"/>
              <a:gd name="connsiteX22673" fmla="*/ 2915191 w 8079933"/>
              <a:gd name="connsiteY22673" fmla="*/ 910338 h 4687251"/>
              <a:gd name="connsiteX22674" fmla="*/ 2915191 w 8079933"/>
              <a:gd name="connsiteY22674" fmla="*/ 904491 h 4687251"/>
              <a:gd name="connsiteX22675" fmla="*/ 2920725 w 8079933"/>
              <a:gd name="connsiteY22675" fmla="*/ 899294 h 4687251"/>
              <a:gd name="connsiteX22676" fmla="*/ 2670594 w 8079933"/>
              <a:gd name="connsiteY22676" fmla="*/ 895614 h 4687251"/>
              <a:gd name="connsiteX22677" fmla="*/ 2672005 w 8079933"/>
              <a:gd name="connsiteY22677" fmla="*/ 897779 h 4687251"/>
              <a:gd name="connsiteX22678" fmla="*/ 2668316 w 8079933"/>
              <a:gd name="connsiteY22678" fmla="*/ 902218 h 4687251"/>
              <a:gd name="connsiteX22679" fmla="*/ 2665168 w 8079933"/>
              <a:gd name="connsiteY22679" fmla="*/ 902435 h 4687251"/>
              <a:gd name="connsiteX22680" fmla="*/ 2663975 w 8079933"/>
              <a:gd name="connsiteY22680" fmla="*/ 900811 h 4687251"/>
              <a:gd name="connsiteX22681" fmla="*/ 2664083 w 8079933"/>
              <a:gd name="connsiteY22681" fmla="*/ 897779 h 4687251"/>
              <a:gd name="connsiteX22682" fmla="*/ 2668966 w 8079933"/>
              <a:gd name="connsiteY22682" fmla="*/ 897022 h 4687251"/>
              <a:gd name="connsiteX22683" fmla="*/ 7288304 w 8079933"/>
              <a:gd name="connsiteY22683" fmla="*/ 890633 h 4687251"/>
              <a:gd name="connsiteX22684" fmla="*/ 7289714 w 8079933"/>
              <a:gd name="connsiteY22684" fmla="*/ 892041 h 4687251"/>
              <a:gd name="connsiteX22685" fmla="*/ 7289606 w 8079933"/>
              <a:gd name="connsiteY22685" fmla="*/ 894855 h 4687251"/>
              <a:gd name="connsiteX22686" fmla="*/ 7287435 w 8079933"/>
              <a:gd name="connsiteY22686" fmla="*/ 897562 h 4687251"/>
              <a:gd name="connsiteX22687" fmla="*/ 7285808 w 8079933"/>
              <a:gd name="connsiteY22687" fmla="*/ 892690 h 4687251"/>
              <a:gd name="connsiteX22688" fmla="*/ 7287327 w 8079933"/>
              <a:gd name="connsiteY22688" fmla="*/ 891932 h 4687251"/>
              <a:gd name="connsiteX22689" fmla="*/ 358324 w 8079933"/>
              <a:gd name="connsiteY22689" fmla="*/ 890417 h 4687251"/>
              <a:gd name="connsiteX22690" fmla="*/ 359842 w 8079933"/>
              <a:gd name="connsiteY22690" fmla="*/ 893882 h 4687251"/>
              <a:gd name="connsiteX22691" fmla="*/ 357238 w 8079933"/>
              <a:gd name="connsiteY22691" fmla="*/ 894748 h 4687251"/>
              <a:gd name="connsiteX22692" fmla="*/ 356152 w 8079933"/>
              <a:gd name="connsiteY22692" fmla="*/ 892907 h 4687251"/>
              <a:gd name="connsiteX22693" fmla="*/ 2486224 w 8079933"/>
              <a:gd name="connsiteY22693" fmla="*/ 886952 h 4687251"/>
              <a:gd name="connsiteX22694" fmla="*/ 2488829 w 8079933"/>
              <a:gd name="connsiteY22694" fmla="*/ 887493 h 4687251"/>
              <a:gd name="connsiteX22695" fmla="*/ 2494146 w 8079933"/>
              <a:gd name="connsiteY22695" fmla="*/ 888035 h 4687251"/>
              <a:gd name="connsiteX22696" fmla="*/ 2495014 w 8079933"/>
              <a:gd name="connsiteY22696" fmla="*/ 893340 h 4687251"/>
              <a:gd name="connsiteX22697" fmla="*/ 2492952 w 8079933"/>
              <a:gd name="connsiteY22697" fmla="*/ 897238 h 4687251"/>
              <a:gd name="connsiteX22698" fmla="*/ 2490022 w 8079933"/>
              <a:gd name="connsiteY22698" fmla="*/ 897563 h 4687251"/>
              <a:gd name="connsiteX22699" fmla="*/ 2487093 w 8079933"/>
              <a:gd name="connsiteY22699" fmla="*/ 901569 h 4687251"/>
              <a:gd name="connsiteX22700" fmla="*/ 2483294 w 8079933"/>
              <a:gd name="connsiteY22700" fmla="*/ 900919 h 4687251"/>
              <a:gd name="connsiteX22701" fmla="*/ 2482101 w 8079933"/>
              <a:gd name="connsiteY22701" fmla="*/ 893989 h 4687251"/>
              <a:gd name="connsiteX22702" fmla="*/ 2483837 w 8079933"/>
              <a:gd name="connsiteY22702" fmla="*/ 892041 h 4687251"/>
              <a:gd name="connsiteX22703" fmla="*/ 2979758 w 8079933"/>
              <a:gd name="connsiteY22703" fmla="*/ 885545 h 4687251"/>
              <a:gd name="connsiteX22704" fmla="*/ 2982036 w 8079933"/>
              <a:gd name="connsiteY22704" fmla="*/ 886302 h 4687251"/>
              <a:gd name="connsiteX22705" fmla="*/ 2983990 w 8079933"/>
              <a:gd name="connsiteY22705" fmla="*/ 888793 h 4687251"/>
              <a:gd name="connsiteX22706" fmla="*/ 2982796 w 8079933"/>
              <a:gd name="connsiteY22706" fmla="*/ 891283 h 4687251"/>
              <a:gd name="connsiteX22707" fmla="*/ 2980626 w 8079933"/>
              <a:gd name="connsiteY22707" fmla="*/ 889226 h 4687251"/>
              <a:gd name="connsiteX22708" fmla="*/ 2922786 w 8079933"/>
              <a:gd name="connsiteY22708" fmla="*/ 884029 h 4687251"/>
              <a:gd name="connsiteX22709" fmla="*/ 2925390 w 8079933"/>
              <a:gd name="connsiteY22709" fmla="*/ 888793 h 4687251"/>
              <a:gd name="connsiteX22710" fmla="*/ 2924414 w 8079933"/>
              <a:gd name="connsiteY22710" fmla="*/ 891392 h 4687251"/>
              <a:gd name="connsiteX22711" fmla="*/ 2921158 w 8079933"/>
              <a:gd name="connsiteY22711" fmla="*/ 890417 h 4687251"/>
              <a:gd name="connsiteX22712" fmla="*/ 2918880 w 8079933"/>
              <a:gd name="connsiteY22712" fmla="*/ 886411 h 4687251"/>
              <a:gd name="connsiteX22713" fmla="*/ 2920398 w 8079933"/>
              <a:gd name="connsiteY22713" fmla="*/ 884137 h 4687251"/>
              <a:gd name="connsiteX22714" fmla="*/ 5020414 w 8079933"/>
              <a:gd name="connsiteY22714" fmla="*/ 883704 h 4687251"/>
              <a:gd name="connsiteX22715" fmla="*/ 5023669 w 8079933"/>
              <a:gd name="connsiteY22715" fmla="*/ 883920 h 4687251"/>
              <a:gd name="connsiteX22716" fmla="*/ 5029746 w 8079933"/>
              <a:gd name="connsiteY22716" fmla="*/ 888359 h 4687251"/>
              <a:gd name="connsiteX22717" fmla="*/ 5031266 w 8079933"/>
              <a:gd name="connsiteY22717" fmla="*/ 891608 h 4687251"/>
              <a:gd name="connsiteX22718" fmla="*/ 5036257 w 8079933"/>
              <a:gd name="connsiteY22718" fmla="*/ 894314 h 4687251"/>
              <a:gd name="connsiteX22719" fmla="*/ 5041466 w 8079933"/>
              <a:gd name="connsiteY22719" fmla="*/ 899620 h 4687251"/>
              <a:gd name="connsiteX22720" fmla="*/ 5046240 w 8079933"/>
              <a:gd name="connsiteY22720" fmla="*/ 900161 h 4687251"/>
              <a:gd name="connsiteX22721" fmla="*/ 5051774 w 8079933"/>
              <a:gd name="connsiteY22721" fmla="*/ 906332 h 4687251"/>
              <a:gd name="connsiteX22722" fmla="*/ 5060564 w 8079933"/>
              <a:gd name="connsiteY22722" fmla="*/ 911854 h 4687251"/>
              <a:gd name="connsiteX22723" fmla="*/ 5061758 w 8079933"/>
              <a:gd name="connsiteY22723" fmla="*/ 919433 h 4687251"/>
              <a:gd name="connsiteX22724" fmla="*/ 5059371 w 8079933"/>
              <a:gd name="connsiteY22724" fmla="*/ 924089 h 4687251"/>
              <a:gd name="connsiteX22725" fmla="*/ 5054379 w 8079933"/>
              <a:gd name="connsiteY22725" fmla="*/ 922681 h 4687251"/>
              <a:gd name="connsiteX22726" fmla="*/ 5051992 w 8079933"/>
              <a:gd name="connsiteY22726" fmla="*/ 925930 h 4687251"/>
              <a:gd name="connsiteX22727" fmla="*/ 5045806 w 8079933"/>
              <a:gd name="connsiteY22727" fmla="*/ 924955 h 4687251"/>
              <a:gd name="connsiteX22728" fmla="*/ 5042985 w 8079933"/>
              <a:gd name="connsiteY22728" fmla="*/ 922140 h 4687251"/>
              <a:gd name="connsiteX22729" fmla="*/ 5043853 w 8079933"/>
              <a:gd name="connsiteY22729" fmla="*/ 920083 h 4687251"/>
              <a:gd name="connsiteX22730" fmla="*/ 5042333 w 8079933"/>
              <a:gd name="connsiteY22730" fmla="*/ 914236 h 4687251"/>
              <a:gd name="connsiteX22731" fmla="*/ 5040923 w 8079933"/>
              <a:gd name="connsiteY22731" fmla="*/ 912396 h 4687251"/>
              <a:gd name="connsiteX22732" fmla="*/ 5036800 w 8079933"/>
              <a:gd name="connsiteY22732" fmla="*/ 912937 h 4687251"/>
              <a:gd name="connsiteX22733" fmla="*/ 5033327 w 8079933"/>
              <a:gd name="connsiteY22733" fmla="*/ 911313 h 4687251"/>
              <a:gd name="connsiteX22734" fmla="*/ 5033002 w 8079933"/>
              <a:gd name="connsiteY22734" fmla="*/ 916726 h 4687251"/>
              <a:gd name="connsiteX22735" fmla="*/ 5030722 w 8079933"/>
              <a:gd name="connsiteY22735" fmla="*/ 916402 h 4687251"/>
              <a:gd name="connsiteX22736" fmla="*/ 5027684 w 8079933"/>
              <a:gd name="connsiteY22736" fmla="*/ 912071 h 4687251"/>
              <a:gd name="connsiteX22737" fmla="*/ 5023018 w 8079933"/>
              <a:gd name="connsiteY22737" fmla="*/ 909473 h 4687251"/>
              <a:gd name="connsiteX22738" fmla="*/ 5014771 w 8079933"/>
              <a:gd name="connsiteY22738" fmla="*/ 900161 h 4687251"/>
              <a:gd name="connsiteX22739" fmla="*/ 5013035 w 8079933"/>
              <a:gd name="connsiteY22739" fmla="*/ 896263 h 4687251"/>
              <a:gd name="connsiteX22740" fmla="*/ 5014880 w 8079933"/>
              <a:gd name="connsiteY22740" fmla="*/ 895938 h 4687251"/>
              <a:gd name="connsiteX22741" fmla="*/ 5018352 w 8079933"/>
              <a:gd name="connsiteY22741" fmla="*/ 898861 h 4687251"/>
              <a:gd name="connsiteX22742" fmla="*/ 5020740 w 8079933"/>
              <a:gd name="connsiteY22742" fmla="*/ 897996 h 4687251"/>
              <a:gd name="connsiteX22743" fmla="*/ 5021608 w 8079933"/>
              <a:gd name="connsiteY22743" fmla="*/ 895722 h 4687251"/>
              <a:gd name="connsiteX22744" fmla="*/ 5017701 w 8079933"/>
              <a:gd name="connsiteY22744" fmla="*/ 895073 h 4687251"/>
              <a:gd name="connsiteX22745" fmla="*/ 5014880 w 8079933"/>
              <a:gd name="connsiteY22745" fmla="*/ 891067 h 4687251"/>
              <a:gd name="connsiteX22746" fmla="*/ 5018243 w 8079933"/>
              <a:gd name="connsiteY22746" fmla="*/ 888359 h 4687251"/>
              <a:gd name="connsiteX22747" fmla="*/ 5017810 w 8079933"/>
              <a:gd name="connsiteY22747" fmla="*/ 885761 h 4687251"/>
              <a:gd name="connsiteX22748" fmla="*/ 2463436 w 8079933"/>
              <a:gd name="connsiteY22748" fmla="*/ 881647 h 4687251"/>
              <a:gd name="connsiteX22749" fmla="*/ 2465715 w 8079933"/>
              <a:gd name="connsiteY22749" fmla="*/ 882838 h 4687251"/>
              <a:gd name="connsiteX22750" fmla="*/ 2466040 w 8079933"/>
              <a:gd name="connsiteY22750" fmla="*/ 887494 h 4687251"/>
              <a:gd name="connsiteX22751" fmla="*/ 2462134 w 8079933"/>
              <a:gd name="connsiteY22751" fmla="*/ 890741 h 4687251"/>
              <a:gd name="connsiteX22752" fmla="*/ 2458119 w 8079933"/>
              <a:gd name="connsiteY22752" fmla="*/ 894639 h 4687251"/>
              <a:gd name="connsiteX22753" fmla="*/ 2455732 w 8079933"/>
              <a:gd name="connsiteY22753" fmla="*/ 894639 h 4687251"/>
              <a:gd name="connsiteX22754" fmla="*/ 2453778 w 8079933"/>
              <a:gd name="connsiteY22754" fmla="*/ 897996 h 4687251"/>
              <a:gd name="connsiteX22755" fmla="*/ 2444880 w 8079933"/>
              <a:gd name="connsiteY22755" fmla="*/ 905359 h 4687251"/>
              <a:gd name="connsiteX22756" fmla="*/ 2441733 w 8079933"/>
              <a:gd name="connsiteY22756" fmla="*/ 905359 h 4687251"/>
              <a:gd name="connsiteX22757" fmla="*/ 2437284 w 8079933"/>
              <a:gd name="connsiteY22757" fmla="*/ 904276 h 4687251"/>
              <a:gd name="connsiteX22758" fmla="*/ 2435547 w 8079933"/>
              <a:gd name="connsiteY22758" fmla="*/ 905684 h 4687251"/>
              <a:gd name="connsiteX22759" fmla="*/ 2434137 w 8079933"/>
              <a:gd name="connsiteY22759" fmla="*/ 900378 h 4687251"/>
              <a:gd name="connsiteX22760" fmla="*/ 2437609 w 8079933"/>
              <a:gd name="connsiteY22760" fmla="*/ 897996 h 4687251"/>
              <a:gd name="connsiteX22761" fmla="*/ 2439345 w 8079933"/>
              <a:gd name="connsiteY22761" fmla="*/ 894206 h 4687251"/>
              <a:gd name="connsiteX22762" fmla="*/ 2442818 w 8079933"/>
              <a:gd name="connsiteY22762" fmla="*/ 892257 h 4687251"/>
              <a:gd name="connsiteX22763" fmla="*/ 2449003 w 8079933"/>
              <a:gd name="connsiteY22763" fmla="*/ 892474 h 4687251"/>
              <a:gd name="connsiteX22764" fmla="*/ 2452584 w 8079933"/>
              <a:gd name="connsiteY22764" fmla="*/ 890741 h 4687251"/>
              <a:gd name="connsiteX22765" fmla="*/ 2456708 w 8079933"/>
              <a:gd name="connsiteY22765" fmla="*/ 886302 h 4687251"/>
              <a:gd name="connsiteX22766" fmla="*/ 2458987 w 8079933"/>
              <a:gd name="connsiteY22766" fmla="*/ 886302 h 4687251"/>
              <a:gd name="connsiteX22767" fmla="*/ 2459855 w 8079933"/>
              <a:gd name="connsiteY22767" fmla="*/ 882513 h 4687251"/>
              <a:gd name="connsiteX22768" fmla="*/ 7285048 w 8079933"/>
              <a:gd name="connsiteY22768" fmla="*/ 880023 h 4687251"/>
              <a:gd name="connsiteX22769" fmla="*/ 7288304 w 8079933"/>
              <a:gd name="connsiteY22769" fmla="*/ 884570 h 4687251"/>
              <a:gd name="connsiteX22770" fmla="*/ 7288087 w 8079933"/>
              <a:gd name="connsiteY22770" fmla="*/ 886735 h 4687251"/>
              <a:gd name="connsiteX22771" fmla="*/ 7285916 w 8079933"/>
              <a:gd name="connsiteY22771" fmla="*/ 887386 h 4687251"/>
              <a:gd name="connsiteX22772" fmla="*/ 7280925 w 8079933"/>
              <a:gd name="connsiteY22772" fmla="*/ 882621 h 4687251"/>
              <a:gd name="connsiteX22773" fmla="*/ 7281901 w 8079933"/>
              <a:gd name="connsiteY22773" fmla="*/ 880348 h 4687251"/>
              <a:gd name="connsiteX22774" fmla="*/ 2976828 w 8079933"/>
              <a:gd name="connsiteY22774" fmla="*/ 874284 h 4687251"/>
              <a:gd name="connsiteX22775" fmla="*/ 2981169 w 8079933"/>
              <a:gd name="connsiteY22775" fmla="*/ 875908 h 4687251"/>
              <a:gd name="connsiteX22776" fmla="*/ 2982580 w 8079933"/>
              <a:gd name="connsiteY22776" fmla="*/ 880022 h 4687251"/>
              <a:gd name="connsiteX22777" fmla="*/ 2980301 w 8079933"/>
              <a:gd name="connsiteY22777" fmla="*/ 880022 h 4687251"/>
              <a:gd name="connsiteX22778" fmla="*/ 2975526 w 8079933"/>
              <a:gd name="connsiteY22778" fmla="*/ 876774 h 4687251"/>
              <a:gd name="connsiteX22779" fmla="*/ 2037942 w 8079933"/>
              <a:gd name="connsiteY22779" fmla="*/ 872011 h 4687251"/>
              <a:gd name="connsiteX22780" fmla="*/ 2042174 w 8079933"/>
              <a:gd name="connsiteY22780" fmla="*/ 872011 h 4687251"/>
              <a:gd name="connsiteX22781" fmla="*/ 2042174 w 8079933"/>
              <a:gd name="connsiteY22781" fmla="*/ 876125 h 4687251"/>
              <a:gd name="connsiteX22782" fmla="*/ 2039461 w 8079933"/>
              <a:gd name="connsiteY22782" fmla="*/ 877642 h 4687251"/>
              <a:gd name="connsiteX22783" fmla="*/ 2038050 w 8079933"/>
              <a:gd name="connsiteY22783" fmla="*/ 875801 h 4687251"/>
              <a:gd name="connsiteX22784" fmla="*/ 1840442 w 8079933"/>
              <a:gd name="connsiteY22784" fmla="*/ 869737 h 4687251"/>
              <a:gd name="connsiteX22785" fmla="*/ 1841853 w 8079933"/>
              <a:gd name="connsiteY22785" fmla="*/ 872335 h 4687251"/>
              <a:gd name="connsiteX22786" fmla="*/ 1840767 w 8079933"/>
              <a:gd name="connsiteY22786" fmla="*/ 875476 h 4687251"/>
              <a:gd name="connsiteX22787" fmla="*/ 1842721 w 8079933"/>
              <a:gd name="connsiteY22787" fmla="*/ 877533 h 4687251"/>
              <a:gd name="connsiteX22788" fmla="*/ 1841310 w 8079933"/>
              <a:gd name="connsiteY22788" fmla="*/ 880023 h 4687251"/>
              <a:gd name="connsiteX22789" fmla="*/ 1842721 w 8079933"/>
              <a:gd name="connsiteY22789" fmla="*/ 882947 h 4687251"/>
              <a:gd name="connsiteX22790" fmla="*/ 1839574 w 8079933"/>
              <a:gd name="connsiteY22790" fmla="*/ 884678 h 4687251"/>
              <a:gd name="connsiteX22791" fmla="*/ 1838597 w 8079933"/>
              <a:gd name="connsiteY22791" fmla="*/ 887494 h 4687251"/>
              <a:gd name="connsiteX22792" fmla="*/ 1836318 w 8079933"/>
              <a:gd name="connsiteY22792" fmla="*/ 888793 h 4687251"/>
              <a:gd name="connsiteX22793" fmla="*/ 1834799 w 8079933"/>
              <a:gd name="connsiteY22793" fmla="*/ 881214 h 4687251"/>
              <a:gd name="connsiteX22794" fmla="*/ 1836969 w 8079933"/>
              <a:gd name="connsiteY22794" fmla="*/ 878723 h 4687251"/>
              <a:gd name="connsiteX22795" fmla="*/ 1837404 w 8079933"/>
              <a:gd name="connsiteY22795" fmla="*/ 875043 h 4687251"/>
              <a:gd name="connsiteX22796" fmla="*/ 2401257 w 8079933"/>
              <a:gd name="connsiteY22796" fmla="*/ 869088 h 4687251"/>
              <a:gd name="connsiteX22797" fmla="*/ 2403861 w 8079933"/>
              <a:gd name="connsiteY22797" fmla="*/ 870820 h 4687251"/>
              <a:gd name="connsiteX22798" fmla="*/ 2403644 w 8079933"/>
              <a:gd name="connsiteY22798" fmla="*/ 873527 h 4687251"/>
              <a:gd name="connsiteX22799" fmla="*/ 2400605 w 8079933"/>
              <a:gd name="connsiteY22799" fmla="*/ 872228 h 4687251"/>
              <a:gd name="connsiteX22800" fmla="*/ 2398110 w 8079933"/>
              <a:gd name="connsiteY22800" fmla="*/ 872553 h 4687251"/>
              <a:gd name="connsiteX22801" fmla="*/ 2396482 w 8079933"/>
              <a:gd name="connsiteY22801" fmla="*/ 870387 h 4687251"/>
              <a:gd name="connsiteX22802" fmla="*/ 2397567 w 8079933"/>
              <a:gd name="connsiteY22802" fmla="*/ 869304 h 4687251"/>
              <a:gd name="connsiteX22803" fmla="*/ 2475048 w 8079933"/>
              <a:gd name="connsiteY22803" fmla="*/ 865623 h 4687251"/>
              <a:gd name="connsiteX22804" fmla="*/ 2477001 w 8079933"/>
              <a:gd name="connsiteY22804" fmla="*/ 868113 h 4687251"/>
              <a:gd name="connsiteX22805" fmla="*/ 2476567 w 8079933"/>
              <a:gd name="connsiteY22805" fmla="*/ 870278 h 4687251"/>
              <a:gd name="connsiteX22806" fmla="*/ 2472009 w 8079933"/>
              <a:gd name="connsiteY22806" fmla="*/ 872335 h 4687251"/>
              <a:gd name="connsiteX22807" fmla="*/ 2468103 w 8079933"/>
              <a:gd name="connsiteY22807" fmla="*/ 875367 h 4687251"/>
              <a:gd name="connsiteX22808" fmla="*/ 2464739 w 8079933"/>
              <a:gd name="connsiteY22808" fmla="*/ 875584 h 4687251"/>
              <a:gd name="connsiteX22809" fmla="*/ 2462460 w 8079933"/>
              <a:gd name="connsiteY22809" fmla="*/ 876125 h 4687251"/>
              <a:gd name="connsiteX22810" fmla="*/ 2465390 w 8079933"/>
              <a:gd name="connsiteY22810" fmla="*/ 873094 h 4687251"/>
              <a:gd name="connsiteX22811" fmla="*/ 2467886 w 8079933"/>
              <a:gd name="connsiteY22811" fmla="*/ 868871 h 4687251"/>
              <a:gd name="connsiteX22812" fmla="*/ 2471358 w 8079933"/>
              <a:gd name="connsiteY22812" fmla="*/ 868979 h 4687251"/>
              <a:gd name="connsiteX22813" fmla="*/ 2473312 w 8079933"/>
              <a:gd name="connsiteY22813" fmla="*/ 865948 h 4687251"/>
              <a:gd name="connsiteX22814" fmla="*/ 2400170 w 8079933"/>
              <a:gd name="connsiteY22814" fmla="*/ 864324 h 4687251"/>
              <a:gd name="connsiteX22815" fmla="*/ 2402341 w 8079933"/>
              <a:gd name="connsiteY22815" fmla="*/ 864649 h 4687251"/>
              <a:gd name="connsiteX22816" fmla="*/ 2401690 w 8079933"/>
              <a:gd name="connsiteY22816" fmla="*/ 866381 h 4687251"/>
              <a:gd name="connsiteX22817" fmla="*/ 2392792 w 8079933"/>
              <a:gd name="connsiteY22817" fmla="*/ 863025 h 4687251"/>
              <a:gd name="connsiteX22818" fmla="*/ 2395287 w 8079933"/>
              <a:gd name="connsiteY22818" fmla="*/ 864324 h 4687251"/>
              <a:gd name="connsiteX22819" fmla="*/ 2395830 w 8079933"/>
              <a:gd name="connsiteY22819" fmla="*/ 865948 h 4687251"/>
              <a:gd name="connsiteX22820" fmla="*/ 2395071 w 8079933"/>
              <a:gd name="connsiteY22820" fmla="*/ 867139 h 4687251"/>
              <a:gd name="connsiteX22821" fmla="*/ 1848038 w 8079933"/>
              <a:gd name="connsiteY22821" fmla="*/ 858261 h 4687251"/>
              <a:gd name="connsiteX22822" fmla="*/ 1850968 w 8079933"/>
              <a:gd name="connsiteY22822" fmla="*/ 858261 h 4687251"/>
              <a:gd name="connsiteX22823" fmla="*/ 1848689 w 8079933"/>
              <a:gd name="connsiteY22823" fmla="*/ 860859 h 4687251"/>
              <a:gd name="connsiteX22824" fmla="*/ 1850100 w 8079933"/>
              <a:gd name="connsiteY22824" fmla="*/ 862592 h 4687251"/>
              <a:gd name="connsiteX22825" fmla="*/ 1846627 w 8079933"/>
              <a:gd name="connsiteY22825" fmla="*/ 866815 h 4687251"/>
              <a:gd name="connsiteX22826" fmla="*/ 1844782 w 8079933"/>
              <a:gd name="connsiteY22826" fmla="*/ 866165 h 4687251"/>
              <a:gd name="connsiteX22827" fmla="*/ 1842829 w 8079933"/>
              <a:gd name="connsiteY22827" fmla="*/ 860102 h 4687251"/>
              <a:gd name="connsiteX22828" fmla="*/ 1845107 w 8079933"/>
              <a:gd name="connsiteY22828" fmla="*/ 859236 h 4687251"/>
              <a:gd name="connsiteX22829" fmla="*/ 1846519 w 8079933"/>
              <a:gd name="connsiteY22829" fmla="*/ 860968 h 4687251"/>
              <a:gd name="connsiteX22830" fmla="*/ 4897681 w 8079933"/>
              <a:gd name="connsiteY22830" fmla="*/ 856311 h 4687251"/>
              <a:gd name="connsiteX22831" fmla="*/ 4900828 w 8079933"/>
              <a:gd name="connsiteY22831" fmla="*/ 858043 h 4687251"/>
              <a:gd name="connsiteX22832" fmla="*/ 4901913 w 8079933"/>
              <a:gd name="connsiteY22832" fmla="*/ 861183 h 4687251"/>
              <a:gd name="connsiteX22833" fmla="*/ 4907230 w 8079933"/>
              <a:gd name="connsiteY22833" fmla="*/ 862915 h 4687251"/>
              <a:gd name="connsiteX22834" fmla="*/ 4908750 w 8079933"/>
              <a:gd name="connsiteY22834" fmla="*/ 866489 h 4687251"/>
              <a:gd name="connsiteX22835" fmla="*/ 4906579 w 8079933"/>
              <a:gd name="connsiteY22835" fmla="*/ 870278 h 4687251"/>
              <a:gd name="connsiteX22836" fmla="*/ 4908750 w 8079933"/>
              <a:gd name="connsiteY22836" fmla="*/ 873201 h 4687251"/>
              <a:gd name="connsiteX22837" fmla="*/ 4908424 w 8079933"/>
              <a:gd name="connsiteY22837" fmla="*/ 875909 h 4687251"/>
              <a:gd name="connsiteX22838" fmla="*/ 4906579 w 8079933"/>
              <a:gd name="connsiteY22838" fmla="*/ 875042 h 4687251"/>
              <a:gd name="connsiteX22839" fmla="*/ 4903107 w 8079933"/>
              <a:gd name="connsiteY22839" fmla="*/ 870062 h 4687251"/>
              <a:gd name="connsiteX22840" fmla="*/ 4899092 w 8079933"/>
              <a:gd name="connsiteY22840" fmla="*/ 869195 h 4687251"/>
              <a:gd name="connsiteX22841" fmla="*/ 4898766 w 8079933"/>
              <a:gd name="connsiteY22841" fmla="*/ 864973 h 4687251"/>
              <a:gd name="connsiteX22842" fmla="*/ 4895294 w 8079933"/>
              <a:gd name="connsiteY22842" fmla="*/ 863565 h 4687251"/>
              <a:gd name="connsiteX22843" fmla="*/ 4892907 w 8079933"/>
              <a:gd name="connsiteY22843" fmla="*/ 864431 h 4687251"/>
              <a:gd name="connsiteX22844" fmla="*/ 4889651 w 8079933"/>
              <a:gd name="connsiteY22844" fmla="*/ 862699 h 4687251"/>
              <a:gd name="connsiteX22845" fmla="*/ 4889000 w 8079933"/>
              <a:gd name="connsiteY22845" fmla="*/ 860101 h 4687251"/>
              <a:gd name="connsiteX22846" fmla="*/ 4892255 w 8079933"/>
              <a:gd name="connsiteY22846" fmla="*/ 856852 h 4687251"/>
              <a:gd name="connsiteX22847" fmla="*/ 2431424 w 8079933"/>
              <a:gd name="connsiteY22847" fmla="*/ 852847 h 4687251"/>
              <a:gd name="connsiteX22848" fmla="*/ 2435655 w 8079933"/>
              <a:gd name="connsiteY22848" fmla="*/ 853496 h 4687251"/>
              <a:gd name="connsiteX22849" fmla="*/ 2439128 w 8079933"/>
              <a:gd name="connsiteY22849" fmla="*/ 856745 h 4687251"/>
              <a:gd name="connsiteX22850" fmla="*/ 2445096 w 8079933"/>
              <a:gd name="connsiteY22850" fmla="*/ 857178 h 4687251"/>
              <a:gd name="connsiteX22851" fmla="*/ 2447375 w 8079933"/>
              <a:gd name="connsiteY22851" fmla="*/ 860318 h 4687251"/>
              <a:gd name="connsiteX22852" fmla="*/ 2444771 w 8079933"/>
              <a:gd name="connsiteY22852" fmla="*/ 862916 h 4687251"/>
              <a:gd name="connsiteX22853" fmla="*/ 2443034 w 8079933"/>
              <a:gd name="connsiteY22853" fmla="*/ 862916 h 4687251"/>
              <a:gd name="connsiteX22854" fmla="*/ 2439453 w 8079933"/>
              <a:gd name="connsiteY22854" fmla="*/ 863782 h 4687251"/>
              <a:gd name="connsiteX22855" fmla="*/ 2436523 w 8079933"/>
              <a:gd name="connsiteY22855" fmla="*/ 862592 h 4687251"/>
              <a:gd name="connsiteX22856" fmla="*/ 2436523 w 8079933"/>
              <a:gd name="connsiteY22856" fmla="*/ 865840 h 4687251"/>
              <a:gd name="connsiteX22857" fmla="*/ 2433810 w 8079933"/>
              <a:gd name="connsiteY22857" fmla="*/ 866923 h 4687251"/>
              <a:gd name="connsiteX22858" fmla="*/ 2432725 w 8079933"/>
              <a:gd name="connsiteY22858" fmla="*/ 864649 h 4687251"/>
              <a:gd name="connsiteX22859" fmla="*/ 2433377 w 8079933"/>
              <a:gd name="connsiteY22859" fmla="*/ 862592 h 4687251"/>
              <a:gd name="connsiteX22860" fmla="*/ 2432183 w 8079933"/>
              <a:gd name="connsiteY22860" fmla="*/ 861076 h 4687251"/>
              <a:gd name="connsiteX22861" fmla="*/ 2431206 w 8079933"/>
              <a:gd name="connsiteY22861" fmla="*/ 858694 h 4687251"/>
              <a:gd name="connsiteX22862" fmla="*/ 2427734 w 8079933"/>
              <a:gd name="connsiteY22862" fmla="*/ 857935 h 4687251"/>
              <a:gd name="connsiteX22863" fmla="*/ 2431424 w 8079933"/>
              <a:gd name="connsiteY22863" fmla="*/ 855337 h 4687251"/>
              <a:gd name="connsiteX22864" fmla="*/ 2968690 w 8079933"/>
              <a:gd name="connsiteY22864" fmla="*/ 851115 h 4687251"/>
              <a:gd name="connsiteX22865" fmla="*/ 2973139 w 8079933"/>
              <a:gd name="connsiteY22865" fmla="*/ 852847 h 4687251"/>
              <a:gd name="connsiteX22866" fmla="*/ 2973790 w 8079933"/>
              <a:gd name="connsiteY22866" fmla="*/ 857719 h 4687251"/>
              <a:gd name="connsiteX22867" fmla="*/ 2970209 w 8079933"/>
              <a:gd name="connsiteY22867" fmla="*/ 861617 h 4687251"/>
              <a:gd name="connsiteX22868" fmla="*/ 2965977 w 8079933"/>
              <a:gd name="connsiteY22868" fmla="*/ 862158 h 4687251"/>
              <a:gd name="connsiteX22869" fmla="*/ 2963915 w 8079933"/>
              <a:gd name="connsiteY22869" fmla="*/ 860426 h 4687251"/>
              <a:gd name="connsiteX22870" fmla="*/ 2965651 w 8079933"/>
              <a:gd name="connsiteY22870" fmla="*/ 852414 h 4687251"/>
              <a:gd name="connsiteX22871" fmla="*/ 2956970 w 8079933"/>
              <a:gd name="connsiteY22871" fmla="*/ 850574 h 4687251"/>
              <a:gd name="connsiteX22872" fmla="*/ 2955559 w 8079933"/>
              <a:gd name="connsiteY22872" fmla="*/ 857178 h 4687251"/>
              <a:gd name="connsiteX22873" fmla="*/ 2956102 w 8079933"/>
              <a:gd name="connsiteY22873" fmla="*/ 859994 h 4687251"/>
              <a:gd name="connsiteX22874" fmla="*/ 2952954 w 8079933"/>
              <a:gd name="connsiteY22874" fmla="*/ 863784 h 4687251"/>
              <a:gd name="connsiteX22875" fmla="*/ 2949048 w 8079933"/>
              <a:gd name="connsiteY22875" fmla="*/ 861617 h 4687251"/>
              <a:gd name="connsiteX22876" fmla="*/ 2948723 w 8079933"/>
              <a:gd name="connsiteY22876" fmla="*/ 856745 h 4687251"/>
              <a:gd name="connsiteX22877" fmla="*/ 2950676 w 8079933"/>
              <a:gd name="connsiteY22877" fmla="*/ 853605 h 4687251"/>
              <a:gd name="connsiteX22878" fmla="*/ 2484270 w 8079933"/>
              <a:gd name="connsiteY22878" fmla="*/ 850140 h 4687251"/>
              <a:gd name="connsiteX22879" fmla="*/ 2483076 w 8079933"/>
              <a:gd name="connsiteY22879" fmla="*/ 853605 h 4687251"/>
              <a:gd name="connsiteX22880" fmla="*/ 2481232 w 8079933"/>
              <a:gd name="connsiteY22880" fmla="*/ 854146 h 4687251"/>
              <a:gd name="connsiteX22881" fmla="*/ 2481991 w 8079933"/>
              <a:gd name="connsiteY22881" fmla="*/ 851115 h 4687251"/>
              <a:gd name="connsiteX22882" fmla="*/ 2383785 w 8079933"/>
              <a:gd name="connsiteY22882" fmla="*/ 846026 h 4687251"/>
              <a:gd name="connsiteX22883" fmla="*/ 2387474 w 8079933"/>
              <a:gd name="connsiteY22883" fmla="*/ 846026 h 4687251"/>
              <a:gd name="connsiteX22884" fmla="*/ 2387908 w 8079933"/>
              <a:gd name="connsiteY22884" fmla="*/ 847217 h 4687251"/>
              <a:gd name="connsiteX22885" fmla="*/ 2391489 w 8079933"/>
              <a:gd name="connsiteY22885" fmla="*/ 849274 h 4687251"/>
              <a:gd name="connsiteX22886" fmla="*/ 2391597 w 8079933"/>
              <a:gd name="connsiteY22886" fmla="*/ 851331 h 4687251"/>
              <a:gd name="connsiteX22887" fmla="*/ 2388993 w 8079933"/>
              <a:gd name="connsiteY22887" fmla="*/ 851764 h 4687251"/>
              <a:gd name="connsiteX22888" fmla="*/ 2387148 w 8079933"/>
              <a:gd name="connsiteY22888" fmla="*/ 849923 h 4687251"/>
              <a:gd name="connsiteX22889" fmla="*/ 2384218 w 8079933"/>
              <a:gd name="connsiteY22889" fmla="*/ 849490 h 4687251"/>
              <a:gd name="connsiteX22890" fmla="*/ 2382808 w 8079933"/>
              <a:gd name="connsiteY22890" fmla="*/ 848299 h 4687251"/>
              <a:gd name="connsiteX22891" fmla="*/ 2378576 w 8079933"/>
              <a:gd name="connsiteY22891" fmla="*/ 845701 h 4687251"/>
              <a:gd name="connsiteX22892" fmla="*/ 2379987 w 8079933"/>
              <a:gd name="connsiteY22892" fmla="*/ 848191 h 4687251"/>
              <a:gd name="connsiteX22893" fmla="*/ 2376406 w 8079933"/>
              <a:gd name="connsiteY22893" fmla="*/ 847109 h 4687251"/>
              <a:gd name="connsiteX22894" fmla="*/ 1835667 w 8079933"/>
              <a:gd name="connsiteY22894" fmla="*/ 843319 h 4687251"/>
              <a:gd name="connsiteX22895" fmla="*/ 1836860 w 8079933"/>
              <a:gd name="connsiteY22895" fmla="*/ 847217 h 4687251"/>
              <a:gd name="connsiteX22896" fmla="*/ 1835124 w 8079933"/>
              <a:gd name="connsiteY22896" fmla="*/ 847000 h 4687251"/>
              <a:gd name="connsiteX22897" fmla="*/ 1834582 w 8079933"/>
              <a:gd name="connsiteY22897" fmla="*/ 844294 h 4687251"/>
              <a:gd name="connsiteX22898" fmla="*/ 1832194 w 8079933"/>
              <a:gd name="connsiteY22898" fmla="*/ 843103 h 4687251"/>
              <a:gd name="connsiteX22899" fmla="*/ 1835341 w 8079933"/>
              <a:gd name="connsiteY22899" fmla="*/ 849166 h 4687251"/>
              <a:gd name="connsiteX22900" fmla="*/ 1832736 w 8079933"/>
              <a:gd name="connsiteY22900" fmla="*/ 847542 h 4687251"/>
              <a:gd name="connsiteX22901" fmla="*/ 1831001 w 8079933"/>
              <a:gd name="connsiteY22901" fmla="*/ 845160 h 4687251"/>
              <a:gd name="connsiteX22902" fmla="*/ 2365988 w 8079933"/>
              <a:gd name="connsiteY22902" fmla="*/ 841695 h 4687251"/>
              <a:gd name="connsiteX22903" fmla="*/ 2368701 w 8079933"/>
              <a:gd name="connsiteY22903" fmla="*/ 842778 h 4687251"/>
              <a:gd name="connsiteX22904" fmla="*/ 2371522 w 8079933"/>
              <a:gd name="connsiteY22904" fmla="*/ 842778 h 4687251"/>
              <a:gd name="connsiteX22905" fmla="*/ 2372282 w 8079933"/>
              <a:gd name="connsiteY22905" fmla="*/ 845376 h 4687251"/>
              <a:gd name="connsiteX22906" fmla="*/ 2370980 w 8079933"/>
              <a:gd name="connsiteY22906" fmla="*/ 846459 h 4687251"/>
              <a:gd name="connsiteX22907" fmla="*/ 2367941 w 8079933"/>
              <a:gd name="connsiteY22907" fmla="*/ 846351 h 4687251"/>
              <a:gd name="connsiteX22908" fmla="*/ 2227954 w 8079933"/>
              <a:gd name="connsiteY22908" fmla="*/ 841046 h 4687251"/>
              <a:gd name="connsiteX22909" fmla="*/ 2229473 w 8079933"/>
              <a:gd name="connsiteY22909" fmla="*/ 842995 h 4687251"/>
              <a:gd name="connsiteX22910" fmla="*/ 2229799 w 8079933"/>
              <a:gd name="connsiteY22910" fmla="*/ 849382 h 4687251"/>
              <a:gd name="connsiteX22911" fmla="*/ 2228605 w 8079933"/>
              <a:gd name="connsiteY22911" fmla="*/ 851223 h 4687251"/>
              <a:gd name="connsiteX22912" fmla="*/ 2227303 w 8079933"/>
              <a:gd name="connsiteY22912" fmla="*/ 849923 h 4687251"/>
              <a:gd name="connsiteX22913" fmla="*/ 2227411 w 8079933"/>
              <a:gd name="connsiteY22913" fmla="*/ 847650 h 4687251"/>
              <a:gd name="connsiteX22914" fmla="*/ 2225350 w 8079933"/>
              <a:gd name="connsiteY22914" fmla="*/ 845160 h 4687251"/>
              <a:gd name="connsiteX22915" fmla="*/ 2226869 w 8079933"/>
              <a:gd name="connsiteY22915" fmla="*/ 842020 h 4687251"/>
              <a:gd name="connsiteX22916" fmla="*/ 2233489 w 8079933"/>
              <a:gd name="connsiteY22916" fmla="*/ 839746 h 4687251"/>
              <a:gd name="connsiteX22917" fmla="*/ 2235659 w 8079933"/>
              <a:gd name="connsiteY22917" fmla="*/ 841262 h 4687251"/>
              <a:gd name="connsiteX22918" fmla="*/ 2235442 w 8079933"/>
              <a:gd name="connsiteY22918" fmla="*/ 845051 h 4687251"/>
              <a:gd name="connsiteX22919" fmla="*/ 2234248 w 8079933"/>
              <a:gd name="connsiteY22919" fmla="*/ 845160 h 4687251"/>
              <a:gd name="connsiteX22920" fmla="*/ 2231535 w 8079933"/>
              <a:gd name="connsiteY22920" fmla="*/ 847650 h 4687251"/>
              <a:gd name="connsiteX22921" fmla="*/ 2231210 w 8079933"/>
              <a:gd name="connsiteY22921" fmla="*/ 841803 h 4687251"/>
              <a:gd name="connsiteX22922" fmla="*/ 2966954 w 8079933"/>
              <a:gd name="connsiteY22922" fmla="*/ 833574 h 4687251"/>
              <a:gd name="connsiteX22923" fmla="*/ 2970100 w 8079933"/>
              <a:gd name="connsiteY22923" fmla="*/ 835631 h 4687251"/>
              <a:gd name="connsiteX22924" fmla="*/ 2974007 w 8079933"/>
              <a:gd name="connsiteY22924" fmla="*/ 835847 h 4687251"/>
              <a:gd name="connsiteX22925" fmla="*/ 2973899 w 8079933"/>
              <a:gd name="connsiteY22925" fmla="*/ 837688 h 4687251"/>
              <a:gd name="connsiteX22926" fmla="*/ 2970317 w 8079933"/>
              <a:gd name="connsiteY22926" fmla="*/ 838988 h 4687251"/>
              <a:gd name="connsiteX22927" fmla="*/ 2966845 w 8079933"/>
              <a:gd name="connsiteY22927" fmla="*/ 842560 h 4687251"/>
              <a:gd name="connsiteX22928" fmla="*/ 2963589 w 8079933"/>
              <a:gd name="connsiteY22928" fmla="*/ 842452 h 4687251"/>
              <a:gd name="connsiteX22929" fmla="*/ 2962504 w 8079933"/>
              <a:gd name="connsiteY22929" fmla="*/ 839204 h 4687251"/>
              <a:gd name="connsiteX22930" fmla="*/ 2963697 w 8079933"/>
              <a:gd name="connsiteY22930" fmla="*/ 835739 h 4687251"/>
              <a:gd name="connsiteX22931" fmla="*/ 1829590 w 8079933"/>
              <a:gd name="connsiteY22931" fmla="*/ 827295 h 4687251"/>
              <a:gd name="connsiteX22932" fmla="*/ 1832520 w 8079933"/>
              <a:gd name="connsiteY22932" fmla="*/ 827944 h 4687251"/>
              <a:gd name="connsiteX22933" fmla="*/ 1833280 w 8079933"/>
              <a:gd name="connsiteY22933" fmla="*/ 829894 h 4687251"/>
              <a:gd name="connsiteX22934" fmla="*/ 1828071 w 8079933"/>
              <a:gd name="connsiteY22934" fmla="*/ 830002 h 4687251"/>
              <a:gd name="connsiteX22935" fmla="*/ 1992691 w 8079933"/>
              <a:gd name="connsiteY22935" fmla="*/ 826645 h 4687251"/>
              <a:gd name="connsiteX22936" fmla="*/ 1993558 w 8079933"/>
              <a:gd name="connsiteY22936" fmla="*/ 827511 h 4687251"/>
              <a:gd name="connsiteX22937" fmla="*/ 1992799 w 8079933"/>
              <a:gd name="connsiteY22937" fmla="*/ 830326 h 4687251"/>
              <a:gd name="connsiteX22938" fmla="*/ 1993124 w 8079933"/>
              <a:gd name="connsiteY22938" fmla="*/ 832924 h 4687251"/>
              <a:gd name="connsiteX22939" fmla="*/ 1992148 w 8079933"/>
              <a:gd name="connsiteY22939" fmla="*/ 835739 h 4687251"/>
              <a:gd name="connsiteX22940" fmla="*/ 1988458 w 8079933"/>
              <a:gd name="connsiteY22940" fmla="*/ 837905 h 4687251"/>
              <a:gd name="connsiteX22941" fmla="*/ 1986180 w 8079933"/>
              <a:gd name="connsiteY22941" fmla="*/ 836497 h 4687251"/>
              <a:gd name="connsiteX22942" fmla="*/ 1983033 w 8079933"/>
              <a:gd name="connsiteY22942" fmla="*/ 832383 h 4687251"/>
              <a:gd name="connsiteX22943" fmla="*/ 1984010 w 8079933"/>
              <a:gd name="connsiteY22943" fmla="*/ 830326 h 4687251"/>
              <a:gd name="connsiteX22944" fmla="*/ 1988675 w 8079933"/>
              <a:gd name="connsiteY22944" fmla="*/ 830542 h 4687251"/>
              <a:gd name="connsiteX22945" fmla="*/ 1989326 w 8079933"/>
              <a:gd name="connsiteY22945" fmla="*/ 828918 h 4687251"/>
              <a:gd name="connsiteX22946" fmla="*/ 1846084 w 8079933"/>
              <a:gd name="connsiteY22946" fmla="*/ 820799 h 4687251"/>
              <a:gd name="connsiteX22947" fmla="*/ 1849556 w 8079933"/>
              <a:gd name="connsiteY22947" fmla="*/ 820799 h 4687251"/>
              <a:gd name="connsiteX22948" fmla="*/ 1846518 w 8079933"/>
              <a:gd name="connsiteY22948" fmla="*/ 823072 h 4687251"/>
              <a:gd name="connsiteX22949" fmla="*/ 1843805 w 8079933"/>
              <a:gd name="connsiteY22949" fmla="*/ 823072 h 4687251"/>
              <a:gd name="connsiteX22950" fmla="*/ 2032734 w 8079933"/>
              <a:gd name="connsiteY22950" fmla="*/ 817551 h 4687251"/>
              <a:gd name="connsiteX22951" fmla="*/ 2035664 w 8079933"/>
              <a:gd name="connsiteY22951" fmla="*/ 818092 h 4687251"/>
              <a:gd name="connsiteX22952" fmla="*/ 2035772 w 8079933"/>
              <a:gd name="connsiteY22952" fmla="*/ 820799 h 4687251"/>
              <a:gd name="connsiteX22953" fmla="*/ 2038919 w 8079933"/>
              <a:gd name="connsiteY22953" fmla="*/ 824697 h 4687251"/>
              <a:gd name="connsiteX22954" fmla="*/ 2036206 w 8079933"/>
              <a:gd name="connsiteY22954" fmla="*/ 829461 h 4687251"/>
              <a:gd name="connsiteX22955" fmla="*/ 2031757 w 8079933"/>
              <a:gd name="connsiteY22955" fmla="*/ 832059 h 4687251"/>
              <a:gd name="connsiteX22956" fmla="*/ 2031106 w 8079933"/>
              <a:gd name="connsiteY22956" fmla="*/ 834766 h 4687251"/>
              <a:gd name="connsiteX22957" fmla="*/ 2029261 w 8079933"/>
              <a:gd name="connsiteY22957" fmla="*/ 837149 h 4687251"/>
              <a:gd name="connsiteX22958" fmla="*/ 2026440 w 8079933"/>
              <a:gd name="connsiteY22958" fmla="*/ 832817 h 4687251"/>
              <a:gd name="connsiteX22959" fmla="*/ 2026331 w 8079933"/>
              <a:gd name="connsiteY22959" fmla="*/ 830219 h 4687251"/>
              <a:gd name="connsiteX22960" fmla="*/ 2030780 w 8079933"/>
              <a:gd name="connsiteY22960" fmla="*/ 823506 h 4687251"/>
              <a:gd name="connsiteX22961" fmla="*/ 2030563 w 8079933"/>
              <a:gd name="connsiteY22961" fmla="*/ 820149 h 4687251"/>
              <a:gd name="connsiteX22962" fmla="*/ 3502916 w 8079933"/>
              <a:gd name="connsiteY22962" fmla="*/ 817334 h 4687251"/>
              <a:gd name="connsiteX22963" fmla="*/ 3508125 w 8079933"/>
              <a:gd name="connsiteY22963" fmla="*/ 818092 h 4687251"/>
              <a:gd name="connsiteX22964" fmla="*/ 3510295 w 8079933"/>
              <a:gd name="connsiteY22964" fmla="*/ 819175 h 4687251"/>
              <a:gd name="connsiteX22965" fmla="*/ 3513876 w 8079933"/>
              <a:gd name="connsiteY22965" fmla="*/ 819066 h 4687251"/>
              <a:gd name="connsiteX22966" fmla="*/ 3519845 w 8079933"/>
              <a:gd name="connsiteY22966" fmla="*/ 822856 h 4687251"/>
              <a:gd name="connsiteX22967" fmla="*/ 3523968 w 8079933"/>
              <a:gd name="connsiteY22967" fmla="*/ 822748 h 4687251"/>
              <a:gd name="connsiteX22968" fmla="*/ 3526247 w 8079933"/>
              <a:gd name="connsiteY22968" fmla="*/ 823938 h 4687251"/>
              <a:gd name="connsiteX22969" fmla="*/ 3530045 w 8079933"/>
              <a:gd name="connsiteY22969" fmla="*/ 830651 h 4687251"/>
              <a:gd name="connsiteX22970" fmla="*/ 3541439 w 8079933"/>
              <a:gd name="connsiteY22970" fmla="*/ 835956 h 4687251"/>
              <a:gd name="connsiteX22971" fmla="*/ 3543501 w 8079933"/>
              <a:gd name="connsiteY22971" fmla="*/ 840503 h 4687251"/>
              <a:gd name="connsiteX22972" fmla="*/ 3542307 w 8079933"/>
              <a:gd name="connsiteY22972" fmla="*/ 842128 h 4687251"/>
              <a:gd name="connsiteX22973" fmla="*/ 3540680 w 8079933"/>
              <a:gd name="connsiteY22973" fmla="*/ 840612 h 4687251"/>
              <a:gd name="connsiteX22974" fmla="*/ 3535688 w 8079933"/>
              <a:gd name="connsiteY22974" fmla="*/ 840071 h 4687251"/>
              <a:gd name="connsiteX22975" fmla="*/ 3531890 w 8079933"/>
              <a:gd name="connsiteY22975" fmla="*/ 837148 h 4687251"/>
              <a:gd name="connsiteX22976" fmla="*/ 3529286 w 8079933"/>
              <a:gd name="connsiteY22976" fmla="*/ 836389 h 4687251"/>
              <a:gd name="connsiteX22977" fmla="*/ 3527875 w 8079933"/>
              <a:gd name="connsiteY22977" fmla="*/ 838555 h 4687251"/>
              <a:gd name="connsiteX22978" fmla="*/ 3526247 w 8079933"/>
              <a:gd name="connsiteY22978" fmla="*/ 839962 h 4687251"/>
              <a:gd name="connsiteX22979" fmla="*/ 3528743 w 8079933"/>
              <a:gd name="connsiteY22979" fmla="*/ 842994 h 4687251"/>
              <a:gd name="connsiteX22980" fmla="*/ 3530696 w 8079933"/>
              <a:gd name="connsiteY22980" fmla="*/ 842994 h 4687251"/>
              <a:gd name="connsiteX22981" fmla="*/ 3535688 w 8079933"/>
              <a:gd name="connsiteY22981" fmla="*/ 844943 h 4687251"/>
              <a:gd name="connsiteX22982" fmla="*/ 3538943 w 8079933"/>
              <a:gd name="connsiteY22982" fmla="*/ 849707 h 4687251"/>
              <a:gd name="connsiteX22983" fmla="*/ 3536339 w 8079933"/>
              <a:gd name="connsiteY22983" fmla="*/ 851656 h 4687251"/>
              <a:gd name="connsiteX22984" fmla="*/ 3536556 w 8079933"/>
              <a:gd name="connsiteY22984" fmla="*/ 854470 h 4687251"/>
              <a:gd name="connsiteX22985" fmla="*/ 3535470 w 8079933"/>
              <a:gd name="connsiteY22985" fmla="*/ 856203 h 4687251"/>
              <a:gd name="connsiteX22986" fmla="*/ 3530588 w 8079933"/>
              <a:gd name="connsiteY22986" fmla="*/ 854362 h 4687251"/>
              <a:gd name="connsiteX22987" fmla="*/ 3529503 w 8079933"/>
              <a:gd name="connsiteY22987" fmla="*/ 851872 h 4687251"/>
              <a:gd name="connsiteX22988" fmla="*/ 3526790 w 8079933"/>
              <a:gd name="connsiteY22988" fmla="*/ 851547 h 4687251"/>
              <a:gd name="connsiteX22989" fmla="*/ 3522231 w 8079933"/>
              <a:gd name="connsiteY22989" fmla="*/ 849382 h 4687251"/>
              <a:gd name="connsiteX22990" fmla="*/ 3518651 w 8079933"/>
              <a:gd name="connsiteY22990" fmla="*/ 844293 h 4687251"/>
              <a:gd name="connsiteX22991" fmla="*/ 3513225 w 8079933"/>
              <a:gd name="connsiteY22991" fmla="*/ 839854 h 4687251"/>
              <a:gd name="connsiteX22992" fmla="*/ 3507148 w 8079933"/>
              <a:gd name="connsiteY22992" fmla="*/ 838122 h 4687251"/>
              <a:gd name="connsiteX22993" fmla="*/ 3504978 w 8079933"/>
              <a:gd name="connsiteY22993" fmla="*/ 833142 h 4687251"/>
              <a:gd name="connsiteX22994" fmla="*/ 3501722 w 8079933"/>
              <a:gd name="connsiteY22994" fmla="*/ 827295 h 4687251"/>
              <a:gd name="connsiteX22995" fmla="*/ 3502048 w 8079933"/>
              <a:gd name="connsiteY22995" fmla="*/ 823722 h 4687251"/>
              <a:gd name="connsiteX22996" fmla="*/ 3500963 w 8079933"/>
              <a:gd name="connsiteY22996" fmla="*/ 822206 h 4687251"/>
              <a:gd name="connsiteX22997" fmla="*/ 3500963 w 8079933"/>
              <a:gd name="connsiteY22997" fmla="*/ 819066 h 4687251"/>
              <a:gd name="connsiteX22998" fmla="*/ 2616661 w 8079933"/>
              <a:gd name="connsiteY22998" fmla="*/ 814736 h 4687251"/>
              <a:gd name="connsiteX22999" fmla="*/ 2620242 w 8079933"/>
              <a:gd name="connsiteY22999" fmla="*/ 815818 h 4687251"/>
              <a:gd name="connsiteX23000" fmla="*/ 2621110 w 8079933"/>
              <a:gd name="connsiteY23000" fmla="*/ 819067 h 4687251"/>
              <a:gd name="connsiteX23001" fmla="*/ 2624257 w 8079933"/>
              <a:gd name="connsiteY23001" fmla="*/ 819067 h 4687251"/>
              <a:gd name="connsiteX23002" fmla="*/ 2626428 w 8079933"/>
              <a:gd name="connsiteY23002" fmla="*/ 821016 h 4687251"/>
              <a:gd name="connsiteX23003" fmla="*/ 2623715 w 8079933"/>
              <a:gd name="connsiteY23003" fmla="*/ 824697 h 4687251"/>
              <a:gd name="connsiteX23004" fmla="*/ 2619808 w 8079933"/>
              <a:gd name="connsiteY23004" fmla="*/ 825780 h 4687251"/>
              <a:gd name="connsiteX23005" fmla="*/ 2617855 w 8079933"/>
              <a:gd name="connsiteY23005" fmla="*/ 824481 h 4687251"/>
              <a:gd name="connsiteX23006" fmla="*/ 2615034 w 8079933"/>
              <a:gd name="connsiteY23006" fmla="*/ 825888 h 4687251"/>
              <a:gd name="connsiteX23007" fmla="*/ 2613514 w 8079933"/>
              <a:gd name="connsiteY23007" fmla="*/ 828271 h 4687251"/>
              <a:gd name="connsiteX23008" fmla="*/ 2611778 w 8079933"/>
              <a:gd name="connsiteY23008" fmla="*/ 827296 h 4687251"/>
              <a:gd name="connsiteX23009" fmla="*/ 2611778 w 8079933"/>
              <a:gd name="connsiteY23009" fmla="*/ 823614 h 4687251"/>
              <a:gd name="connsiteX23010" fmla="*/ 2610259 w 8079933"/>
              <a:gd name="connsiteY23010" fmla="*/ 821232 h 4687251"/>
              <a:gd name="connsiteX23011" fmla="*/ 2612538 w 8079933"/>
              <a:gd name="connsiteY23011" fmla="*/ 817334 h 4687251"/>
              <a:gd name="connsiteX23012" fmla="*/ 5479222 w 8079933"/>
              <a:gd name="connsiteY23012" fmla="*/ 814628 h 4687251"/>
              <a:gd name="connsiteX23013" fmla="*/ 5481067 w 8079933"/>
              <a:gd name="connsiteY23013" fmla="*/ 814953 h 4687251"/>
              <a:gd name="connsiteX23014" fmla="*/ 5482694 w 8079933"/>
              <a:gd name="connsiteY23014" fmla="*/ 818309 h 4687251"/>
              <a:gd name="connsiteX23015" fmla="*/ 5481610 w 8079933"/>
              <a:gd name="connsiteY23015" fmla="*/ 822857 h 4687251"/>
              <a:gd name="connsiteX23016" fmla="*/ 5479330 w 8079933"/>
              <a:gd name="connsiteY23016" fmla="*/ 819934 h 4687251"/>
              <a:gd name="connsiteX23017" fmla="*/ 3494344 w 8079933"/>
              <a:gd name="connsiteY23017" fmla="*/ 814195 h 4687251"/>
              <a:gd name="connsiteX23018" fmla="*/ 3492065 w 8079933"/>
              <a:gd name="connsiteY23018" fmla="*/ 817119 h 4687251"/>
              <a:gd name="connsiteX23019" fmla="*/ 3492391 w 8079933"/>
              <a:gd name="connsiteY23019" fmla="*/ 819934 h 4687251"/>
              <a:gd name="connsiteX23020" fmla="*/ 3490220 w 8079933"/>
              <a:gd name="connsiteY23020" fmla="*/ 821342 h 4687251"/>
              <a:gd name="connsiteX23021" fmla="*/ 3487942 w 8079933"/>
              <a:gd name="connsiteY23021" fmla="*/ 819717 h 4687251"/>
              <a:gd name="connsiteX23022" fmla="*/ 3488267 w 8079933"/>
              <a:gd name="connsiteY23022" fmla="*/ 816902 h 4687251"/>
              <a:gd name="connsiteX23023" fmla="*/ 2928322 w 8079933"/>
              <a:gd name="connsiteY23023" fmla="*/ 813870 h 4687251"/>
              <a:gd name="connsiteX23024" fmla="*/ 2931577 w 8079933"/>
              <a:gd name="connsiteY23024" fmla="*/ 816901 h 4687251"/>
              <a:gd name="connsiteX23025" fmla="*/ 2929950 w 8079933"/>
              <a:gd name="connsiteY23025" fmla="*/ 819176 h 4687251"/>
              <a:gd name="connsiteX23026" fmla="*/ 2927453 w 8079933"/>
              <a:gd name="connsiteY23026" fmla="*/ 818309 h 4687251"/>
              <a:gd name="connsiteX23027" fmla="*/ 2926260 w 8079933"/>
              <a:gd name="connsiteY23027" fmla="*/ 814303 h 4687251"/>
              <a:gd name="connsiteX23028" fmla="*/ 2310970 w 8079933"/>
              <a:gd name="connsiteY23028" fmla="*/ 813870 h 4687251"/>
              <a:gd name="connsiteX23029" fmla="*/ 2314768 w 8079933"/>
              <a:gd name="connsiteY23029" fmla="*/ 813870 h 4687251"/>
              <a:gd name="connsiteX23030" fmla="*/ 2317264 w 8079933"/>
              <a:gd name="connsiteY23030" fmla="*/ 817659 h 4687251"/>
              <a:gd name="connsiteX23031" fmla="*/ 2322256 w 8079933"/>
              <a:gd name="connsiteY23031" fmla="*/ 818525 h 4687251"/>
              <a:gd name="connsiteX23032" fmla="*/ 2323015 w 8079933"/>
              <a:gd name="connsiteY23032" fmla="*/ 822423 h 4687251"/>
              <a:gd name="connsiteX23033" fmla="*/ 2321496 w 8079933"/>
              <a:gd name="connsiteY23033" fmla="*/ 825129 h 4687251"/>
              <a:gd name="connsiteX23034" fmla="*/ 2318566 w 8079933"/>
              <a:gd name="connsiteY23034" fmla="*/ 825780 h 4687251"/>
              <a:gd name="connsiteX23035" fmla="*/ 2317264 w 8079933"/>
              <a:gd name="connsiteY23035" fmla="*/ 823614 h 4687251"/>
              <a:gd name="connsiteX23036" fmla="*/ 2313792 w 8079933"/>
              <a:gd name="connsiteY23036" fmla="*/ 823614 h 4687251"/>
              <a:gd name="connsiteX23037" fmla="*/ 2311079 w 8079933"/>
              <a:gd name="connsiteY23037" fmla="*/ 820907 h 4687251"/>
              <a:gd name="connsiteX23038" fmla="*/ 2310102 w 8079933"/>
              <a:gd name="connsiteY23038" fmla="*/ 822856 h 4687251"/>
              <a:gd name="connsiteX23039" fmla="*/ 2307172 w 8079933"/>
              <a:gd name="connsiteY23039" fmla="*/ 822207 h 4687251"/>
              <a:gd name="connsiteX23040" fmla="*/ 2307172 w 8079933"/>
              <a:gd name="connsiteY23040" fmla="*/ 818092 h 4687251"/>
              <a:gd name="connsiteX23041" fmla="*/ 2305219 w 8079933"/>
              <a:gd name="connsiteY23041" fmla="*/ 816576 h 4687251"/>
              <a:gd name="connsiteX23042" fmla="*/ 2310102 w 8079933"/>
              <a:gd name="connsiteY23042" fmla="*/ 815386 h 4687251"/>
              <a:gd name="connsiteX23043" fmla="*/ 2217537 w 8079933"/>
              <a:gd name="connsiteY23043" fmla="*/ 813328 h 4687251"/>
              <a:gd name="connsiteX23044" fmla="*/ 2220684 w 8079933"/>
              <a:gd name="connsiteY23044" fmla="*/ 813328 h 4687251"/>
              <a:gd name="connsiteX23045" fmla="*/ 2222528 w 8079933"/>
              <a:gd name="connsiteY23045" fmla="*/ 814627 h 4687251"/>
              <a:gd name="connsiteX23046" fmla="*/ 2221443 w 8079933"/>
              <a:gd name="connsiteY23046" fmla="*/ 816901 h 4687251"/>
              <a:gd name="connsiteX23047" fmla="*/ 2219381 w 8079933"/>
              <a:gd name="connsiteY23047" fmla="*/ 817009 h 4687251"/>
              <a:gd name="connsiteX23048" fmla="*/ 2216994 w 8079933"/>
              <a:gd name="connsiteY23048" fmla="*/ 817767 h 4687251"/>
              <a:gd name="connsiteX23049" fmla="*/ 2215801 w 8079933"/>
              <a:gd name="connsiteY23049" fmla="*/ 815601 h 4687251"/>
              <a:gd name="connsiteX23050" fmla="*/ 2137559 w 8079933"/>
              <a:gd name="connsiteY23050" fmla="*/ 812354 h 4687251"/>
              <a:gd name="connsiteX23051" fmla="*/ 2143202 w 8079933"/>
              <a:gd name="connsiteY23051" fmla="*/ 814303 h 4687251"/>
              <a:gd name="connsiteX23052" fmla="*/ 2143202 w 8079933"/>
              <a:gd name="connsiteY23052" fmla="*/ 818417 h 4687251"/>
              <a:gd name="connsiteX23053" fmla="*/ 2138536 w 8079933"/>
              <a:gd name="connsiteY23053" fmla="*/ 826104 h 4687251"/>
              <a:gd name="connsiteX23054" fmla="*/ 2135172 w 8079933"/>
              <a:gd name="connsiteY23054" fmla="*/ 827403 h 4687251"/>
              <a:gd name="connsiteX23055" fmla="*/ 2135823 w 8079933"/>
              <a:gd name="connsiteY23055" fmla="*/ 823831 h 4687251"/>
              <a:gd name="connsiteX23056" fmla="*/ 2135823 w 8079933"/>
              <a:gd name="connsiteY23056" fmla="*/ 819716 h 4687251"/>
              <a:gd name="connsiteX23057" fmla="*/ 2134087 w 8079933"/>
              <a:gd name="connsiteY23057" fmla="*/ 822098 h 4687251"/>
              <a:gd name="connsiteX23058" fmla="*/ 2133436 w 8079933"/>
              <a:gd name="connsiteY23058" fmla="*/ 824805 h 4687251"/>
              <a:gd name="connsiteX23059" fmla="*/ 2130289 w 8079933"/>
              <a:gd name="connsiteY23059" fmla="*/ 824805 h 4687251"/>
              <a:gd name="connsiteX23060" fmla="*/ 2132567 w 8079933"/>
              <a:gd name="connsiteY23060" fmla="*/ 817009 h 4687251"/>
              <a:gd name="connsiteX23061" fmla="*/ 2044886 w 8079933"/>
              <a:gd name="connsiteY23061" fmla="*/ 811921 h 4687251"/>
              <a:gd name="connsiteX23062" fmla="*/ 2047382 w 8079933"/>
              <a:gd name="connsiteY23062" fmla="*/ 816360 h 4687251"/>
              <a:gd name="connsiteX23063" fmla="*/ 2044995 w 8079933"/>
              <a:gd name="connsiteY23063" fmla="*/ 819284 h 4687251"/>
              <a:gd name="connsiteX23064" fmla="*/ 2044235 w 8079933"/>
              <a:gd name="connsiteY23064" fmla="*/ 823181 h 4687251"/>
              <a:gd name="connsiteX23065" fmla="*/ 2041957 w 8079933"/>
              <a:gd name="connsiteY23065" fmla="*/ 823940 h 4687251"/>
              <a:gd name="connsiteX23066" fmla="*/ 2041305 w 8079933"/>
              <a:gd name="connsiteY23066" fmla="*/ 820907 h 4687251"/>
              <a:gd name="connsiteX23067" fmla="*/ 2039678 w 8079933"/>
              <a:gd name="connsiteY23067" fmla="*/ 819176 h 4687251"/>
              <a:gd name="connsiteX23068" fmla="*/ 2042933 w 8079933"/>
              <a:gd name="connsiteY23068" fmla="*/ 812679 h 4687251"/>
              <a:gd name="connsiteX23069" fmla="*/ 3526031 w 8079933"/>
              <a:gd name="connsiteY23069" fmla="*/ 809539 h 4687251"/>
              <a:gd name="connsiteX23070" fmla="*/ 3532217 w 8079933"/>
              <a:gd name="connsiteY23070" fmla="*/ 809539 h 4687251"/>
              <a:gd name="connsiteX23071" fmla="*/ 3538185 w 8079933"/>
              <a:gd name="connsiteY23071" fmla="*/ 813220 h 4687251"/>
              <a:gd name="connsiteX23072" fmla="*/ 3542092 w 8079933"/>
              <a:gd name="connsiteY23072" fmla="*/ 813870 h 4687251"/>
              <a:gd name="connsiteX23073" fmla="*/ 3547734 w 8079933"/>
              <a:gd name="connsiteY23073" fmla="*/ 818092 h 4687251"/>
              <a:gd name="connsiteX23074" fmla="*/ 3544696 w 8079933"/>
              <a:gd name="connsiteY23074" fmla="*/ 819500 h 4687251"/>
              <a:gd name="connsiteX23075" fmla="*/ 3543611 w 8079933"/>
              <a:gd name="connsiteY23075" fmla="*/ 822748 h 4687251"/>
              <a:gd name="connsiteX23076" fmla="*/ 3545022 w 8079933"/>
              <a:gd name="connsiteY23076" fmla="*/ 824914 h 4687251"/>
              <a:gd name="connsiteX23077" fmla="*/ 3545022 w 8079933"/>
              <a:gd name="connsiteY23077" fmla="*/ 827512 h 4687251"/>
              <a:gd name="connsiteX23078" fmla="*/ 3541766 w 8079933"/>
              <a:gd name="connsiteY23078" fmla="*/ 828378 h 4687251"/>
              <a:gd name="connsiteX23079" fmla="*/ 3539053 w 8079933"/>
              <a:gd name="connsiteY23079" fmla="*/ 827296 h 4687251"/>
              <a:gd name="connsiteX23080" fmla="*/ 3534604 w 8079933"/>
              <a:gd name="connsiteY23080" fmla="*/ 827296 h 4687251"/>
              <a:gd name="connsiteX23081" fmla="*/ 3531891 w 8079933"/>
              <a:gd name="connsiteY23081" fmla="*/ 825347 h 4687251"/>
              <a:gd name="connsiteX23082" fmla="*/ 3531891 w 8079933"/>
              <a:gd name="connsiteY23082" fmla="*/ 822639 h 4687251"/>
              <a:gd name="connsiteX23083" fmla="*/ 3529938 w 8079933"/>
              <a:gd name="connsiteY23083" fmla="*/ 821665 h 4687251"/>
              <a:gd name="connsiteX23084" fmla="*/ 3526357 w 8079933"/>
              <a:gd name="connsiteY23084" fmla="*/ 821665 h 4687251"/>
              <a:gd name="connsiteX23085" fmla="*/ 3521039 w 8079933"/>
              <a:gd name="connsiteY23085" fmla="*/ 818850 h 4687251"/>
              <a:gd name="connsiteX23086" fmla="*/ 3514854 w 8079933"/>
              <a:gd name="connsiteY23086" fmla="*/ 817767 h 4687251"/>
              <a:gd name="connsiteX23087" fmla="*/ 3510405 w 8079933"/>
              <a:gd name="connsiteY23087" fmla="*/ 815277 h 4687251"/>
              <a:gd name="connsiteX23088" fmla="*/ 3502809 w 8079933"/>
              <a:gd name="connsiteY23088" fmla="*/ 815277 h 4687251"/>
              <a:gd name="connsiteX23089" fmla="*/ 3499879 w 8079933"/>
              <a:gd name="connsiteY23089" fmla="*/ 812787 h 4687251"/>
              <a:gd name="connsiteX23090" fmla="*/ 3501832 w 8079933"/>
              <a:gd name="connsiteY23090" fmla="*/ 810730 h 4687251"/>
              <a:gd name="connsiteX23091" fmla="*/ 3505955 w 8079933"/>
              <a:gd name="connsiteY23091" fmla="*/ 810730 h 4687251"/>
              <a:gd name="connsiteX23092" fmla="*/ 3513009 w 8079933"/>
              <a:gd name="connsiteY23092" fmla="*/ 810080 h 4687251"/>
              <a:gd name="connsiteX23093" fmla="*/ 3517784 w 8079933"/>
              <a:gd name="connsiteY23093" fmla="*/ 811704 h 4687251"/>
              <a:gd name="connsiteX23094" fmla="*/ 2128337 w 8079933"/>
              <a:gd name="connsiteY23094" fmla="*/ 809106 h 4687251"/>
              <a:gd name="connsiteX23095" fmla="*/ 2131158 w 8079933"/>
              <a:gd name="connsiteY23095" fmla="*/ 814520 h 4687251"/>
              <a:gd name="connsiteX23096" fmla="*/ 2128553 w 8079933"/>
              <a:gd name="connsiteY23096" fmla="*/ 819717 h 4687251"/>
              <a:gd name="connsiteX23097" fmla="*/ 2126492 w 8079933"/>
              <a:gd name="connsiteY23097" fmla="*/ 819067 h 4687251"/>
              <a:gd name="connsiteX23098" fmla="*/ 2126275 w 8079933"/>
              <a:gd name="connsiteY23098" fmla="*/ 812354 h 4687251"/>
              <a:gd name="connsiteX23099" fmla="*/ 603026 w 8079933"/>
              <a:gd name="connsiteY23099" fmla="*/ 805641 h 4687251"/>
              <a:gd name="connsiteX23100" fmla="*/ 605306 w 8079933"/>
              <a:gd name="connsiteY23100" fmla="*/ 807590 h 4687251"/>
              <a:gd name="connsiteX23101" fmla="*/ 605087 w 8079933"/>
              <a:gd name="connsiteY23101" fmla="*/ 817226 h 4687251"/>
              <a:gd name="connsiteX23102" fmla="*/ 602483 w 8079933"/>
              <a:gd name="connsiteY23102" fmla="*/ 822747 h 4687251"/>
              <a:gd name="connsiteX23103" fmla="*/ 601507 w 8079933"/>
              <a:gd name="connsiteY23103" fmla="*/ 833250 h 4687251"/>
              <a:gd name="connsiteX23104" fmla="*/ 598035 w 8079933"/>
              <a:gd name="connsiteY23104" fmla="*/ 831192 h 4687251"/>
              <a:gd name="connsiteX23105" fmla="*/ 598252 w 8079933"/>
              <a:gd name="connsiteY23105" fmla="*/ 828052 h 4687251"/>
              <a:gd name="connsiteX23106" fmla="*/ 594780 w 8079933"/>
              <a:gd name="connsiteY23106" fmla="*/ 825995 h 4687251"/>
              <a:gd name="connsiteX23107" fmla="*/ 589244 w 8079933"/>
              <a:gd name="connsiteY23107" fmla="*/ 827619 h 4687251"/>
              <a:gd name="connsiteX23108" fmla="*/ 584578 w 8079933"/>
              <a:gd name="connsiteY23108" fmla="*/ 824371 h 4687251"/>
              <a:gd name="connsiteX23109" fmla="*/ 584686 w 8079933"/>
              <a:gd name="connsiteY23109" fmla="*/ 821556 h 4687251"/>
              <a:gd name="connsiteX23110" fmla="*/ 597493 w 8079933"/>
              <a:gd name="connsiteY23110" fmla="*/ 808564 h 4687251"/>
              <a:gd name="connsiteX23111" fmla="*/ 3559236 w 8079933"/>
              <a:gd name="connsiteY23111" fmla="*/ 805316 h 4687251"/>
              <a:gd name="connsiteX23112" fmla="*/ 3559453 w 8079933"/>
              <a:gd name="connsiteY23112" fmla="*/ 808022 h 4687251"/>
              <a:gd name="connsiteX23113" fmla="*/ 3557066 w 8079933"/>
              <a:gd name="connsiteY23113" fmla="*/ 809538 h 4687251"/>
              <a:gd name="connsiteX23114" fmla="*/ 3554896 w 8079933"/>
              <a:gd name="connsiteY23114" fmla="*/ 808130 h 4687251"/>
              <a:gd name="connsiteX23115" fmla="*/ 3556198 w 8079933"/>
              <a:gd name="connsiteY23115" fmla="*/ 806291 h 4687251"/>
              <a:gd name="connsiteX23116" fmla="*/ 5471518 w 8079933"/>
              <a:gd name="connsiteY23116" fmla="*/ 800120 h 4687251"/>
              <a:gd name="connsiteX23117" fmla="*/ 5474556 w 8079933"/>
              <a:gd name="connsiteY23117" fmla="*/ 806075 h 4687251"/>
              <a:gd name="connsiteX23118" fmla="*/ 5475859 w 8079933"/>
              <a:gd name="connsiteY23118" fmla="*/ 818958 h 4687251"/>
              <a:gd name="connsiteX23119" fmla="*/ 5473146 w 8079933"/>
              <a:gd name="connsiteY23119" fmla="*/ 823289 h 4687251"/>
              <a:gd name="connsiteX23120" fmla="*/ 5471626 w 8079933"/>
              <a:gd name="connsiteY23120" fmla="*/ 821556 h 4687251"/>
              <a:gd name="connsiteX23121" fmla="*/ 5472278 w 8079933"/>
              <a:gd name="connsiteY23121" fmla="*/ 813870 h 4687251"/>
              <a:gd name="connsiteX23122" fmla="*/ 5469890 w 8079933"/>
              <a:gd name="connsiteY23122" fmla="*/ 808673 h 4687251"/>
              <a:gd name="connsiteX23123" fmla="*/ 5469890 w 8079933"/>
              <a:gd name="connsiteY23123" fmla="*/ 800228 h 4687251"/>
              <a:gd name="connsiteX23124" fmla="*/ 618979 w 8079933"/>
              <a:gd name="connsiteY23124" fmla="*/ 798495 h 4687251"/>
              <a:gd name="connsiteX23125" fmla="*/ 627336 w 8079933"/>
              <a:gd name="connsiteY23125" fmla="*/ 804017 h 4687251"/>
              <a:gd name="connsiteX23126" fmla="*/ 627336 w 8079933"/>
              <a:gd name="connsiteY23126" fmla="*/ 807048 h 4687251"/>
              <a:gd name="connsiteX23127" fmla="*/ 622235 w 8079933"/>
              <a:gd name="connsiteY23127" fmla="*/ 809322 h 4687251"/>
              <a:gd name="connsiteX23128" fmla="*/ 612468 w 8079933"/>
              <a:gd name="connsiteY23128" fmla="*/ 818093 h 4687251"/>
              <a:gd name="connsiteX23129" fmla="*/ 609432 w 8079933"/>
              <a:gd name="connsiteY23129" fmla="*/ 816901 h 4687251"/>
              <a:gd name="connsiteX23130" fmla="*/ 611817 w 8079933"/>
              <a:gd name="connsiteY23130" fmla="*/ 814519 h 4687251"/>
              <a:gd name="connsiteX23131" fmla="*/ 611817 w 8079933"/>
              <a:gd name="connsiteY23131" fmla="*/ 812029 h 4687251"/>
              <a:gd name="connsiteX23132" fmla="*/ 608996 w 8079933"/>
              <a:gd name="connsiteY23132" fmla="*/ 809105 h 4687251"/>
              <a:gd name="connsiteX23133" fmla="*/ 610299 w 8079933"/>
              <a:gd name="connsiteY23133" fmla="*/ 805316 h 4687251"/>
              <a:gd name="connsiteX23134" fmla="*/ 606282 w 8079933"/>
              <a:gd name="connsiteY23134" fmla="*/ 801201 h 4687251"/>
              <a:gd name="connsiteX23135" fmla="*/ 609864 w 8079933"/>
              <a:gd name="connsiteY23135" fmla="*/ 799253 h 4687251"/>
              <a:gd name="connsiteX23136" fmla="*/ 2940151 w 8079933"/>
              <a:gd name="connsiteY23136" fmla="*/ 794598 h 4687251"/>
              <a:gd name="connsiteX23137" fmla="*/ 2941995 w 8079933"/>
              <a:gd name="connsiteY23137" fmla="*/ 795681 h 4687251"/>
              <a:gd name="connsiteX23138" fmla="*/ 2940910 w 8079933"/>
              <a:gd name="connsiteY23138" fmla="*/ 798171 h 4687251"/>
              <a:gd name="connsiteX23139" fmla="*/ 2936244 w 8079933"/>
              <a:gd name="connsiteY23139" fmla="*/ 799687 h 4687251"/>
              <a:gd name="connsiteX23140" fmla="*/ 2932880 w 8079933"/>
              <a:gd name="connsiteY23140" fmla="*/ 803910 h 4687251"/>
              <a:gd name="connsiteX23141" fmla="*/ 2929733 w 8079933"/>
              <a:gd name="connsiteY23141" fmla="*/ 803910 h 4687251"/>
              <a:gd name="connsiteX23142" fmla="*/ 2929950 w 8079933"/>
              <a:gd name="connsiteY23142" fmla="*/ 799903 h 4687251"/>
              <a:gd name="connsiteX23143" fmla="*/ 2931903 w 8079933"/>
              <a:gd name="connsiteY23143" fmla="*/ 798820 h 4687251"/>
              <a:gd name="connsiteX23144" fmla="*/ 2932988 w 8079933"/>
              <a:gd name="connsiteY23144" fmla="*/ 795897 h 4687251"/>
              <a:gd name="connsiteX23145" fmla="*/ 2937871 w 8079933"/>
              <a:gd name="connsiteY23145" fmla="*/ 795897 h 4687251"/>
              <a:gd name="connsiteX23146" fmla="*/ 5465224 w 8079933"/>
              <a:gd name="connsiteY23146" fmla="*/ 790483 h 4687251"/>
              <a:gd name="connsiteX23147" fmla="*/ 5468263 w 8079933"/>
              <a:gd name="connsiteY23147" fmla="*/ 793623 h 4687251"/>
              <a:gd name="connsiteX23148" fmla="*/ 5468155 w 8079933"/>
              <a:gd name="connsiteY23148" fmla="*/ 797412 h 4687251"/>
              <a:gd name="connsiteX23149" fmla="*/ 5465659 w 8079933"/>
              <a:gd name="connsiteY23149" fmla="*/ 796221 h 4687251"/>
              <a:gd name="connsiteX23150" fmla="*/ 5463271 w 8079933"/>
              <a:gd name="connsiteY23150" fmla="*/ 791241 h 4687251"/>
              <a:gd name="connsiteX23151" fmla="*/ 2033601 w 8079933"/>
              <a:gd name="connsiteY23151" fmla="*/ 788318 h 4687251"/>
              <a:gd name="connsiteX23152" fmla="*/ 2033601 w 8079933"/>
              <a:gd name="connsiteY23152" fmla="*/ 791349 h 4687251"/>
              <a:gd name="connsiteX23153" fmla="*/ 2035880 w 8079933"/>
              <a:gd name="connsiteY23153" fmla="*/ 793515 h 4687251"/>
              <a:gd name="connsiteX23154" fmla="*/ 2035880 w 8079933"/>
              <a:gd name="connsiteY23154" fmla="*/ 796222 h 4687251"/>
              <a:gd name="connsiteX23155" fmla="*/ 2034036 w 8079933"/>
              <a:gd name="connsiteY23155" fmla="*/ 799037 h 4687251"/>
              <a:gd name="connsiteX23156" fmla="*/ 2032191 w 8079933"/>
              <a:gd name="connsiteY23156" fmla="*/ 798604 h 4687251"/>
              <a:gd name="connsiteX23157" fmla="*/ 2030671 w 8079933"/>
              <a:gd name="connsiteY23157" fmla="*/ 801202 h 4687251"/>
              <a:gd name="connsiteX23158" fmla="*/ 2028935 w 8079933"/>
              <a:gd name="connsiteY23158" fmla="*/ 800877 h 4687251"/>
              <a:gd name="connsiteX23159" fmla="*/ 2028176 w 8079933"/>
              <a:gd name="connsiteY23159" fmla="*/ 798604 h 4687251"/>
              <a:gd name="connsiteX23160" fmla="*/ 2029044 w 8079933"/>
              <a:gd name="connsiteY23160" fmla="*/ 795897 h 4687251"/>
              <a:gd name="connsiteX23161" fmla="*/ 2032299 w 8079933"/>
              <a:gd name="connsiteY23161" fmla="*/ 794814 h 4687251"/>
              <a:gd name="connsiteX23162" fmla="*/ 2029912 w 8079933"/>
              <a:gd name="connsiteY23162" fmla="*/ 791566 h 4687251"/>
              <a:gd name="connsiteX23163" fmla="*/ 2031323 w 8079933"/>
              <a:gd name="connsiteY23163" fmla="*/ 788751 h 4687251"/>
              <a:gd name="connsiteX23164" fmla="*/ 3494235 w 8079933"/>
              <a:gd name="connsiteY23164" fmla="*/ 787885 h 4687251"/>
              <a:gd name="connsiteX23165" fmla="*/ 3508560 w 8079933"/>
              <a:gd name="connsiteY23165" fmla="*/ 790483 h 4687251"/>
              <a:gd name="connsiteX23166" fmla="*/ 3518651 w 8079933"/>
              <a:gd name="connsiteY23166" fmla="*/ 797629 h 4687251"/>
              <a:gd name="connsiteX23167" fmla="*/ 3521039 w 8079933"/>
              <a:gd name="connsiteY23167" fmla="*/ 800444 h 4687251"/>
              <a:gd name="connsiteX23168" fmla="*/ 3518435 w 8079933"/>
              <a:gd name="connsiteY23168" fmla="*/ 800769 h 4687251"/>
              <a:gd name="connsiteX23169" fmla="*/ 3509753 w 8079933"/>
              <a:gd name="connsiteY23169" fmla="*/ 799362 h 4687251"/>
              <a:gd name="connsiteX23170" fmla="*/ 3502483 w 8079933"/>
              <a:gd name="connsiteY23170" fmla="*/ 793948 h 4687251"/>
              <a:gd name="connsiteX23171" fmla="*/ 3499228 w 8079933"/>
              <a:gd name="connsiteY23171" fmla="*/ 793840 h 4687251"/>
              <a:gd name="connsiteX23172" fmla="*/ 3497166 w 8079933"/>
              <a:gd name="connsiteY23172" fmla="*/ 795572 h 4687251"/>
              <a:gd name="connsiteX23173" fmla="*/ 3499228 w 8079933"/>
              <a:gd name="connsiteY23173" fmla="*/ 798279 h 4687251"/>
              <a:gd name="connsiteX23174" fmla="*/ 3503894 w 8079933"/>
              <a:gd name="connsiteY23174" fmla="*/ 798928 h 4687251"/>
              <a:gd name="connsiteX23175" fmla="*/ 3510296 w 8079933"/>
              <a:gd name="connsiteY23175" fmla="*/ 802393 h 4687251"/>
              <a:gd name="connsiteX23176" fmla="*/ 3514853 w 8079933"/>
              <a:gd name="connsiteY23176" fmla="*/ 804342 h 4687251"/>
              <a:gd name="connsiteX23177" fmla="*/ 3526248 w 8079933"/>
              <a:gd name="connsiteY23177" fmla="*/ 803909 h 4687251"/>
              <a:gd name="connsiteX23178" fmla="*/ 3531782 w 8079933"/>
              <a:gd name="connsiteY23178" fmla="*/ 804883 h 4687251"/>
              <a:gd name="connsiteX23179" fmla="*/ 3531999 w 8079933"/>
              <a:gd name="connsiteY23179" fmla="*/ 807049 h 4687251"/>
              <a:gd name="connsiteX23180" fmla="*/ 3526139 w 8079933"/>
              <a:gd name="connsiteY23180" fmla="*/ 808456 h 4687251"/>
              <a:gd name="connsiteX23181" fmla="*/ 3512466 w 8079933"/>
              <a:gd name="connsiteY23181" fmla="*/ 807591 h 4687251"/>
              <a:gd name="connsiteX23182" fmla="*/ 3502917 w 8079933"/>
              <a:gd name="connsiteY23182" fmla="*/ 808673 h 4687251"/>
              <a:gd name="connsiteX23183" fmla="*/ 3496298 w 8079933"/>
              <a:gd name="connsiteY23183" fmla="*/ 806075 h 4687251"/>
              <a:gd name="connsiteX23184" fmla="*/ 3491088 w 8079933"/>
              <a:gd name="connsiteY23184" fmla="*/ 800336 h 4687251"/>
              <a:gd name="connsiteX23185" fmla="*/ 3484686 w 8079933"/>
              <a:gd name="connsiteY23185" fmla="*/ 799470 h 4687251"/>
              <a:gd name="connsiteX23186" fmla="*/ 3481431 w 8079933"/>
              <a:gd name="connsiteY23186" fmla="*/ 796330 h 4687251"/>
              <a:gd name="connsiteX23187" fmla="*/ 3484252 w 8079933"/>
              <a:gd name="connsiteY23187" fmla="*/ 793840 h 4687251"/>
              <a:gd name="connsiteX23188" fmla="*/ 3490655 w 8079933"/>
              <a:gd name="connsiteY23188" fmla="*/ 791783 h 4687251"/>
              <a:gd name="connsiteX23189" fmla="*/ 3490763 w 8079933"/>
              <a:gd name="connsiteY23189" fmla="*/ 789076 h 4687251"/>
              <a:gd name="connsiteX23190" fmla="*/ 2110867 w 8079933"/>
              <a:gd name="connsiteY23190" fmla="*/ 785177 h 4687251"/>
              <a:gd name="connsiteX23191" fmla="*/ 2110867 w 8079933"/>
              <a:gd name="connsiteY23191" fmla="*/ 790374 h 4687251"/>
              <a:gd name="connsiteX23192" fmla="*/ 2110215 w 8079933"/>
              <a:gd name="connsiteY23192" fmla="*/ 794163 h 4687251"/>
              <a:gd name="connsiteX23193" fmla="*/ 2112277 w 8079933"/>
              <a:gd name="connsiteY23193" fmla="*/ 799036 h 4687251"/>
              <a:gd name="connsiteX23194" fmla="*/ 2108804 w 8079933"/>
              <a:gd name="connsiteY23194" fmla="*/ 802067 h 4687251"/>
              <a:gd name="connsiteX23195" fmla="*/ 2108479 w 8079933"/>
              <a:gd name="connsiteY23195" fmla="*/ 807589 h 4687251"/>
              <a:gd name="connsiteX23196" fmla="*/ 2112277 w 8079933"/>
              <a:gd name="connsiteY23196" fmla="*/ 802717 h 4687251"/>
              <a:gd name="connsiteX23197" fmla="*/ 2116075 w 8079933"/>
              <a:gd name="connsiteY23197" fmla="*/ 803150 h 4687251"/>
              <a:gd name="connsiteX23198" fmla="*/ 2116075 w 8079933"/>
              <a:gd name="connsiteY23198" fmla="*/ 807914 h 4687251"/>
              <a:gd name="connsiteX23199" fmla="*/ 2122586 w 8079933"/>
              <a:gd name="connsiteY23199" fmla="*/ 812461 h 4687251"/>
              <a:gd name="connsiteX23200" fmla="*/ 2125082 w 8079933"/>
              <a:gd name="connsiteY23200" fmla="*/ 828268 h 4687251"/>
              <a:gd name="connsiteX23201" fmla="*/ 2121609 w 8079933"/>
              <a:gd name="connsiteY23201" fmla="*/ 839312 h 4687251"/>
              <a:gd name="connsiteX23202" fmla="*/ 2121935 w 8079933"/>
              <a:gd name="connsiteY23202" fmla="*/ 843751 h 4687251"/>
              <a:gd name="connsiteX23203" fmla="*/ 2125299 w 8079933"/>
              <a:gd name="connsiteY23203" fmla="*/ 836713 h 4687251"/>
              <a:gd name="connsiteX23204" fmla="*/ 2130616 w 8079933"/>
              <a:gd name="connsiteY23204" fmla="*/ 833682 h 4687251"/>
              <a:gd name="connsiteX23205" fmla="*/ 2129205 w 8079933"/>
              <a:gd name="connsiteY23205" fmla="*/ 838337 h 4687251"/>
              <a:gd name="connsiteX23206" fmla="*/ 2124431 w 8079933"/>
              <a:gd name="connsiteY23206" fmla="*/ 848298 h 4687251"/>
              <a:gd name="connsiteX23207" fmla="*/ 2126818 w 8079933"/>
              <a:gd name="connsiteY23207" fmla="*/ 851872 h 4687251"/>
              <a:gd name="connsiteX23208" fmla="*/ 2132352 w 8079933"/>
              <a:gd name="connsiteY23208" fmla="*/ 849814 h 4687251"/>
              <a:gd name="connsiteX23209" fmla="*/ 2132135 w 8079933"/>
              <a:gd name="connsiteY23209" fmla="*/ 853387 h 4687251"/>
              <a:gd name="connsiteX23210" fmla="*/ 2125407 w 8079933"/>
              <a:gd name="connsiteY23210" fmla="*/ 857935 h 4687251"/>
              <a:gd name="connsiteX23211" fmla="*/ 2123346 w 8079933"/>
              <a:gd name="connsiteY23211" fmla="*/ 860208 h 4687251"/>
              <a:gd name="connsiteX23212" fmla="*/ 2121284 w 8079933"/>
              <a:gd name="connsiteY23212" fmla="*/ 856527 h 4687251"/>
              <a:gd name="connsiteX23213" fmla="*/ 2115750 w 8079933"/>
              <a:gd name="connsiteY23213" fmla="*/ 860641 h 4687251"/>
              <a:gd name="connsiteX23214" fmla="*/ 2112277 w 8079933"/>
              <a:gd name="connsiteY23214" fmla="*/ 861291 h 4687251"/>
              <a:gd name="connsiteX23215" fmla="*/ 2107394 w 8079933"/>
              <a:gd name="connsiteY23215" fmla="*/ 866163 h 4687251"/>
              <a:gd name="connsiteX23216" fmla="*/ 2102944 w 8079933"/>
              <a:gd name="connsiteY23216" fmla="*/ 866163 h 4687251"/>
              <a:gd name="connsiteX23217" fmla="*/ 2099472 w 8079933"/>
              <a:gd name="connsiteY23217" fmla="*/ 866488 h 4687251"/>
              <a:gd name="connsiteX23218" fmla="*/ 2093286 w 8079933"/>
              <a:gd name="connsiteY23218" fmla="*/ 861291 h 4687251"/>
              <a:gd name="connsiteX23219" fmla="*/ 2092961 w 8079933"/>
              <a:gd name="connsiteY23219" fmla="*/ 856852 h 4687251"/>
              <a:gd name="connsiteX23220" fmla="*/ 2089163 w 8079933"/>
              <a:gd name="connsiteY23220" fmla="*/ 862698 h 4687251"/>
              <a:gd name="connsiteX23221" fmla="*/ 2086016 w 8079933"/>
              <a:gd name="connsiteY23221" fmla="*/ 859233 h 4687251"/>
              <a:gd name="connsiteX23222" fmla="*/ 2083629 w 8079933"/>
              <a:gd name="connsiteY23222" fmla="*/ 852304 h 4687251"/>
              <a:gd name="connsiteX23223" fmla="*/ 2079179 w 8079933"/>
              <a:gd name="connsiteY23223" fmla="*/ 851330 h 4687251"/>
              <a:gd name="connsiteX23224" fmla="*/ 2073645 w 8079933"/>
              <a:gd name="connsiteY23224" fmla="*/ 845159 h 4687251"/>
              <a:gd name="connsiteX23225" fmla="*/ 2075381 w 8079933"/>
              <a:gd name="connsiteY23225" fmla="*/ 840936 h 4687251"/>
              <a:gd name="connsiteX23226" fmla="*/ 2073645 w 8079933"/>
              <a:gd name="connsiteY23226" fmla="*/ 837905 h 4687251"/>
              <a:gd name="connsiteX23227" fmla="*/ 2070824 w 8079933"/>
              <a:gd name="connsiteY23227" fmla="*/ 842668 h 4687251"/>
              <a:gd name="connsiteX23228" fmla="*/ 2065615 w 8079933"/>
              <a:gd name="connsiteY23228" fmla="*/ 838554 h 4687251"/>
              <a:gd name="connsiteX23229" fmla="*/ 2067351 w 8079933"/>
              <a:gd name="connsiteY23229" fmla="*/ 832058 h 4687251"/>
              <a:gd name="connsiteX23230" fmla="*/ 2062902 w 8079933"/>
              <a:gd name="connsiteY23230" fmla="*/ 828268 h 4687251"/>
              <a:gd name="connsiteX23231" fmla="*/ 2061491 w 8079933"/>
              <a:gd name="connsiteY23231" fmla="*/ 831625 h 4687251"/>
              <a:gd name="connsiteX23232" fmla="*/ 2062576 w 8079933"/>
              <a:gd name="connsiteY23232" fmla="*/ 834440 h 4687251"/>
              <a:gd name="connsiteX23233" fmla="*/ 2058453 w 8079933"/>
              <a:gd name="connsiteY23233" fmla="*/ 836822 h 4687251"/>
              <a:gd name="connsiteX23234" fmla="*/ 2053570 w 8079933"/>
              <a:gd name="connsiteY23234" fmla="*/ 830650 h 4687251"/>
              <a:gd name="connsiteX23235" fmla="*/ 2052593 w 8079933"/>
              <a:gd name="connsiteY23235" fmla="*/ 825886 h 4687251"/>
              <a:gd name="connsiteX23236" fmla="*/ 2063227 w 8079933"/>
              <a:gd name="connsiteY23236" fmla="*/ 819282 h 4687251"/>
              <a:gd name="connsiteX23237" fmla="*/ 2066374 w 8079933"/>
              <a:gd name="connsiteY23237" fmla="*/ 819932 h 4687251"/>
              <a:gd name="connsiteX23238" fmla="*/ 2069522 w 8079933"/>
              <a:gd name="connsiteY23238" fmla="*/ 818633 h 4687251"/>
              <a:gd name="connsiteX23239" fmla="*/ 2077118 w 8079933"/>
              <a:gd name="connsiteY23239" fmla="*/ 819282 h 4687251"/>
              <a:gd name="connsiteX23240" fmla="*/ 2079831 w 8079933"/>
              <a:gd name="connsiteY23240" fmla="*/ 815168 h 4687251"/>
              <a:gd name="connsiteX23241" fmla="*/ 2083629 w 8079933"/>
              <a:gd name="connsiteY23241" fmla="*/ 815168 h 4687251"/>
              <a:gd name="connsiteX23242" fmla="*/ 2086342 w 8079933"/>
              <a:gd name="connsiteY23242" fmla="*/ 811054 h 4687251"/>
              <a:gd name="connsiteX23243" fmla="*/ 2083954 w 8079933"/>
              <a:gd name="connsiteY23243" fmla="*/ 806615 h 4687251"/>
              <a:gd name="connsiteX23244" fmla="*/ 2087101 w 8079933"/>
              <a:gd name="connsiteY23244" fmla="*/ 806181 h 4687251"/>
              <a:gd name="connsiteX23245" fmla="*/ 2088078 w 8079933"/>
              <a:gd name="connsiteY23245" fmla="*/ 800660 h 4687251"/>
              <a:gd name="connsiteX23246" fmla="*/ 2090140 w 8079933"/>
              <a:gd name="connsiteY23246" fmla="*/ 800984 h 4687251"/>
              <a:gd name="connsiteX23247" fmla="*/ 2091876 w 8079933"/>
              <a:gd name="connsiteY23247" fmla="*/ 807264 h 4687251"/>
              <a:gd name="connsiteX23248" fmla="*/ 2095674 w 8079933"/>
              <a:gd name="connsiteY23248" fmla="*/ 808672 h 4687251"/>
              <a:gd name="connsiteX23249" fmla="*/ 2093938 w 8079933"/>
              <a:gd name="connsiteY23249" fmla="*/ 801417 h 4687251"/>
              <a:gd name="connsiteX23250" fmla="*/ 2097085 w 8079933"/>
              <a:gd name="connsiteY23250" fmla="*/ 793081 h 4687251"/>
              <a:gd name="connsiteX23251" fmla="*/ 2104029 w 8079933"/>
              <a:gd name="connsiteY23251" fmla="*/ 787234 h 4687251"/>
              <a:gd name="connsiteX23252" fmla="*/ 662713 w 8079933"/>
              <a:gd name="connsiteY23252" fmla="*/ 784853 h 4687251"/>
              <a:gd name="connsiteX23253" fmla="*/ 665426 w 8079933"/>
              <a:gd name="connsiteY23253" fmla="*/ 788534 h 4687251"/>
              <a:gd name="connsiteX23254" fmla="*/ 663905 w 8079933"/>
              <a:gd name="connsiteY23254" fmla="*/ 791999 h 4687251"/>
              <a:gd name="connsiteX23255" fmla="*/ 660976 w 8079933"/>
              <a:gd name="connsiteY23255" fmla="*/ 792541 h 4687251"/>
              <a:gd name="connsiteX23256" fmla="*/ 654900 w 8079933"/>
              <a:gd name="connsiteY23256" fmla="*/ 786802 h 4687251"/>
              <a:gd name="connsiteX23257" fmla="*/ 657069 w 8079933"/>
              <a:gd name="connsiteY23257" fmla="*/ 785286 h 4687251"/>
              <a:gd name="connsiteX23258" fmla="*/ 2601686 w 8079933"/>
              <a:gd name="connsiteY23258" fmla="*/ 783878 h 4687251"/>
              <a:gd name="connsiteX23259" fmla="*/ 2603314 w 8079933"/>
              <a:gd name="connsiteY23259" fmla="*/ 787126 h 4687251"/>
              <a:gd name="connsiteX23260" fmla="*/ 2604833 w 8079933"/>
              <a:gd name="connsiteY23260" fmla="*/ 786693 h 4687251"/>
              <a:gd name="connsiteX23261" fmla="*/ 2607438 w 8079933"/>
              <a:gd name="connsiteY23261" fmla="*/ 788317 h 4687251"/>
              <a:gd name="connsiteX23262" fmla="*/ 2603857 w 8079933"/>
              <a:gd name="connsiteY23262" fmla="*/ 791023 h 4687251"/>
              <a:gd name="connsiteX23263" fmla="*/ 2602012 w 8079933"/>
              <a:gd name="connsiteY23263" fmla="*/ 795355 h 4687251"/>
              <a:gd name="connsiteX23264" fmla="*/ 2600492 w 8079933"/>
              <a:gd name="connsiteY23264" fmla="*/ 796221 h 4687251"/>
              <a:gd name="connsiteX23265" fmla="*/ 2598756 w 8079933"/>
              <a:gd name="connsiteY23265" fmla="*/ 792539 h 4687251"/>
              <a:gd name="connsiteX23266" fmla="*/ 2599733 w 8079933"/>
              <a:gd name="connsiteY23266" fmla="*/ 790374 h 4687251"/>
              <a:gd name="connsiteX23267" fmla="*/ 2599407 w 8079933"/>
              <a:gd name="connsiteY23267" fmla="*/ 785719 h 4687251"/>
              <a:gd name="connsiteX23268" fmla="*/ 2938088 w 8079933"/>
              <a:gd name="connsiteY23268" fmla="*/ 780631 h 4687251"/>
              <a:gd name="connsiteX23269" fmla="*/ 2940150 w 8079933"/>
              <a:gd name="connsiteY23269" fmla="*/ 781931 h 4687251"/>
              <a:gd name="connsiteX23270" fmla="*/ 2937763 w 8079933"/>
              <a:gd name="connsiteY23270" fmla="*/ 784313 h 4687251"/>
              <a:gd name="connsiteX23271" fmla="*/ 2936461 w 8079933"/>
              <a:gd name="connsiteY23271" fmla="*/ 783771 h 4687251"/>
              <a:gd name="connsiteX23272" fmla="*/ 2936461 w 8079933"/>
              <a:gd name="connsiteY23272" fmla="*/ 781714 h 4687251"/>
              <a:gd name="connsiteX23273" fmla="*/ 2946335 w 8079933"/>
              <a:gd name="connsiteY23273" fmla="*/ 779006 h 4687251"/>
              <a:gd name="connsiteX23274" fmla="*/ 2946986 w 8079933"/>
              <a:gd name="connsiteY23274" fmla="*/ 781279 h 4687251"/>
              <a:gd name="connsiteX23275" fmla="*/ 2944381 w 8079933"/>
              <a:gd name="connsiteY23275" fmla="*/ 781930 h 4687251"/>
              <a:gd name="connsiteX23276" fmla="*/ 2944056 w 8079933"/>
              <a:gd name="connsiteY23276" fmla="*/ 780197 h 4687251"/>
              <a:gd name="connsiteX23277" fmla="*/ 2609933 w 8079933"/>
              <a:gd name="connsiteY23277" fmla="*/ 776408 h 4687251"/>
              <a:gd name="connsiteX23278" fmla="*/ 2611777 w 8079933"/>
              <a:gd name="connsiteY23278" fmla="*/ 779548 h 4687251"/>
              <a:gd name="connsiteX23279" fmla="*/ 2610584 w 8079933"/>
              <a:gd name="connsiteY23279" fmla="*/ 783337 h 4687251"/>
              <a:gd name="connsiteX23280" fmla="*/ 2608522 w 8079933"/>
              <a:gd name="connsiteY23280" fmla="*/ 783987 h 4687251"/>
              <a:gd name="connsiteX23281" fmla="*/ 2607437 w 8079933"/>
              <a:gd name="connsiteY23281" fmla="*/ 781279 h 4687251"/>
              <a:gd name="connsiteX23282" fmla="*/ 2607437 w 8079933"/>
              <a:gd name="connsiteY23282" fmla="*/ 778032 h 4687251"/>
              <a:gd name="connsiteX23283" fmla="*/ 2015587 w 8079933"/>
              <a:gd name="connsiteY23283" fmla="*/ 776083 h 4687251"/>
              <a:gd name="connsiteX23284" fmla="*/ 2016130 w 8079933"/>
              <a:gd name="connsiteY23284" fmla="*/ 778140 h 4687251"/>
              <a:gd name="connsiteX23285" fmla="*/ 2015262 w 8079933"/>
              <a:gd name="connsiteY23285" fmla="*/ 780847 h 4687251"/>
              <a:gd name="connsiteX23286" fmla="*/ 2013852 w 8079933"/>
              <a:gd name="connsiteY23286" fmla="*/ 780197 h 4687251"/>
              <a:gd name="connsiteX23287" fmla="*/ 2013960 w 8079933"/>
              <a:gd name="connsiteY23287" fmla="*/ 777815 h 4687251"/>
              <a:gd name="connsiteX23288" fmla="*/ 2603423 w 8079933"/>
              <a:gd name="connsiteY23288" fmla="*/ 774459 h 4687251"/>
              <a:gd name="connsiteX23289" fmla="*/ 2603531 w 8079933"/>
              <a:gd name="connsiteY23289" fmla="*/ 779006 h 4687251"/>
              <a:gd name="connsiteX23290" fmla="*/ 2601903 w 8079933"/>
              <a:gd name="connsiteY23290" fmla="*/ 779873 h 4687251"/>
              <a:gd name="connsiteX23291" fmla="*/ 2601578 w 8079933"/>
              <a:gd name="connsiteY23291" fmla="*/ 776408 h 4687251"/>
              <a:gd name="connsiteX23292" fmla="*/ 2951001 w 8079933"/>
              <a:gd name="connsiteY23292" fmla="*/ 773918 h 4687251"/>
              <a:gd name="connsiteX23293" fmla="*/ 2950784 w 8079933"/>
              <a:gd name="connsiteY23293" fmla="*/ 775759 h 4687251"/>
              <a:gd name="connsiteX23294" fmla="*/ 2948723 w 8079933"/>
              <a:gd name="connsiteY23294" fmla="*/ 777167 h 4687251"/>
              <a:gd name="connsiteX23295" fmla="*/ 2947529 w 8079933"/>
              <a:gd name="connsiteY23295" fmla="*/ 777058 h 4687251"/>
              <a:gd name="connsiteX23296" fmla="*/ 2937220 w 8079933"/>
              <a:gd name="connsiteY23296" fmla="*/ 766988 h 4687251"/>
              <a:gd name="connsiteX23297" fmla="*/ 2937437 w 8079933"/>
              <a:gd name="connsiteY23297" fmla="*/ 768937 h 4687251"/>
              <a:gd name="connsiteX23298" fmla="*/ 2936026 w 8079933"/>
              <a:gd name="connsiteY23298" fmla="*/ 769045 h 4687251"/>
              <a:gd name="connsiteX23299" fmla="*/ 2932336 w 8079933"/>
              <a:gd name="connsiteY23299" fmla="*/ 770670 h 4687251"/>
              <a:gd name="connsiteX23300" fmla="*/ 2930600 w 8079933"/>
              <a:gd name="connsiteY23300" fmla="*/ 769262 h 4687251"/>
              <a:gd name="connsiteX23301" fmla="*/ 2932445 w 8079933"/>
              <a:gd name="connsiteY23301" fmla="*/ 767096 h 4687251"/>
              <a:gd name="connsiteX23302" fmla="*/ 2947746 w 8079933"/>
              <a:gd name="connsiteY23302" fmla="*/ 766230 h 4687251"/>
              <a:gd name="connsiteX23303" fmla="*/ 2951544 w 8079933"/>
              <a:gd name="connsiteY23303" fmla="*/ 766230 h 4687251"/>
              <a:gd name="connsiteX23304" fmla="*/ 2951761 w 8079933"/>
              <a:gd name="connsiteY23304" fmla="*/ 768720 h 4687251"/>
              <a:gd name="connsiteX23305" fmla="*/ 2947420 w 8079933"/>
              <a:gd name="connsiteY23305" fmla="*/ 772509 h 4687251"/>
              <a:gd name="connsiteX23306" fmla="*/ 2939716 w 8079933"/>
              <a:gd name="connsiteY23306" fmla="*/ 778572 h 4687251"/>
              <a:gd name="connsiteX23307" fmla="*/ 2938631 w 8079933"/>
              <a:gd name="connsiteY23307" fmla="*/ 779331 h 4687251"/>
              <a:gd name="connsiteX23308" fmla="*/ 2937328 w 8079933"/>
              <a:gd name="connsiteY23308" fmla="*/ 779222 h 4687251"/>
              <a:gd name="connsiteX23309" fmla="*/ 2937437 w 8079933"/>
              <a:gd name="connsiteY23309" fmla="*/ 777056 h 4687251"/>
              <a:gd name="connsiteX23310" fmla="*/ 2937003 w 8079933"/>
              <a:gd name="connsiteY23310" fmla="*/ 774350 h 4687251"/>
              <a:gd name="connsiteX23311" fmla="*/ 2938848 w 8079933"/>
              <a:gd name="connsiteY23311" fmla="*/ 773050 h 4687251"/>
              <a:gd name="connsiteX23312" fmla="*/ 2940584 w 8079933"/>
              <a:gd name="connsiteY23312" fmla="*/ 770128 h 4687251"/>
              <a:gd name="connsiteX23313" fmla="*/ 2943623 w 8079933"/>
              <a:gd name="connsiteY23313" fmla="*/ 769803 h 4687251"/>
              <a:gd name="connsiteX23314" fmla="*/ 2948614 w 8079933"/>
              <a:gd name="connsiteY23314" fmla="*/ 755078 h 4687251"/>
              <a:gd name="connsiteX23315" fmla="*/ 2950893 w 8079933"/>
              <a:gd name="connsiteY23315" fmla="*/ 756268 h 4687251"/>
              <a:gd name="connsiteX23316" fmla="*/ 2949917 w 8079933"/>
              <a:gd name="connsiteY23316" fmla="*/ 758651 h 4687251"/>
              <a:gd name="connsiteX23317" fmla="*/ 2947638 w 8079933"/>
              <a:gd name="connsiteY23317" fmla="*/ 758651 h 4687251"/>
              <a:gd name="connsiteX23318" fmla="*/ 2945576 w 8079933"/>
              <a:gd name="connsiteY23318" fmla="*/ 757568 h 4687251"/>
              <a:gd name="connsiteX23319" fmla="*/ 2939173 w 8079933"/>
              <a:gd name="connsiteY23319" fmla="*/ 753022 h 4687251"/>
              <a:gd name="connsiteX23320" fmla="*/ 2942211 w 8079933"/>
              <a:gd name="connsiteY23320" fmla="*/ 753347 h 4687251"/>
              <a:gd name="connsiteX23321" fmla="*/ 2944381 w 8079933"/>
              <a:gd name="connsiteY23321" fmla="*/ 753347 h 4687251"/>
              <a:gd name="connsiteX23322" fmla="*/ 2943513 w 8079933"/>
              <a:gd name="connsiteY23322" fmla="*/ 754863 h 4687251"/>
              <a:gd name="connsiteX23323" fmla="*/ 2939933 w 8079933"/>
              <a:gd name="connsiteY23323" fmla="*/ 754972 h 4687251"/>
              <a:gd name="connsiteX23324" fmla="*/ 2942862 w 8079933"/>
              <a:gd name="connsiteY23324" fmla="*/ 744251 h 4687251"/>
              <a:gd name="connsiteX23325" fmla="*/ 2942536 w 8079933"/>
              <a:gd name="connsiteY23325" fmla="*/ 745767 h 4687251"/>
              <a:gd name="connsiteX23326" fmla="*/ 2940258 w 8079933"/>
              <a:gd name="connsiteY23326" fmla="*/ 746741 h 4687251"/>
              <a:gd name="connsiteX23327" fmla="*/ 2940909 w 8079933"/>
              <a:gd name="connsiteY23327" fmla="*/ 744467 h 4687251"/>
              <a:gd name="connsiteX23328" fmla="*/ 4901913 w 8079933"/>
              <a:gd name="connsiteY23328" fmla="*/ 743061 h 4687251"/>
              <a:gd name="connsiteX23329" fmla="*/ 4905712 w 8079933"/>
              <a:gd name="connsiteY23329" fmla="*/ 743061 h 4687251"/>
              <a:gd name="connsiteX23330" fmla="*/ 4910161 w 8079933"/>
              <a:gd name="connsiteY23330" fmla="*/ 745985 h 4687251"/>
              <a:gd name="connsiteX23331" fmla="*/ 4921664 w 8079933"/>
              <a:gd name="connsiteY23331" fmla="*/ 747716 h 4687251"/>
              <a:gd name="connsiteX23332" fmla="*/ 4930453 w 8079933"/>
              <a:gd name="connsiteY23332" fmla="*/ 747716 h 4687251"/>
              <a:gd name="connsiteX23333" fmla="*/ 4932407 w 8079933"/>
              <a:gd name="connsiteY23333" fmla="*/ 749773 h 4687251"/>
              <a:gd name="connsiteX23334" fmla="*/ 4931213 w 8079933"/>
              <a:gd name="connsiteY23334" fmla="*/ 752481 h 4687251"/>
              <a:gd name="connsiteX23335" fmla="*/ 4924811 w 8079933"/>
              <a:gd name="connsiteY23335" fmla="*/ 754971 h 4687251"/>
              <a:gd name="connsiteX23336" fmla="*/ 4923075 w 8079933"/>
              <a:gd name="connsiteY23336" fmla="*/ 757028 h 4687251"/>
              <a:gd name="connsiteX23337" fmla="*/ 4927415 w 8079933"/>
              <a:gd name="connsiteY23337" fmla="*/ 755728 h 4687251"/>
              <a:gd name="connsiteX23338" fmla="*/ 4931539 w 8079933"/>
              <a:gd name="connsiteY23338" fmla="*/ 754971 h 4687251"/>
              <a:gd name="connsiteX23339" fmla="*/ 4932516 w 8079933"/>
              <a:gd name="connsiteY23339" fmla="*/ 759085 h 4687251"/>
              <a:gd name="connsiteX23340" fmla="*/ 4931647 w 8079933"/>
              <a:gd name="connsiteY23340" fmla="*/ 768179 h 4687251"/>
              <a:gd name="connsiteX23341" fmla="*/ 4926330 w 8079933"/>
              <a:gd name="connsiteY23341" fmla="*/ 771428 h 4687251"/>
              <a:gd name="connsiteX23342" fmla="*/ 4919818 w 8079933"/>
              <a:gd name="connsiteY23342" fmla="*/ 770887 h 4687251"/>
              <a:gd name="connsiteX23343" fmla="*/ 4918733 w 8079933"/>
              <a:gd name="connsiteY23343" fmla="*/ 772510 h 4687251"/>
              <a:gd name="connsiteX23344" fmla="*/ 4921664 w 8079933"/>
              <a:gd name="connsiteY23344" fmla="*/ 774676 h 4687251"/>
              <a:gd name="connsiteX23345" fmla="*/ 4925353 w 8079933"/>
              <a:gd name="connsiteY23345" fmla="*/ 772944 h 4687251"/>
              <a:gd name="connsiteX23346" fmla="*/ 4929477 w 8079933"/>
              <a:gd name="connsiteY23346" fmla="*/ 774026 h 4687251"/>
              <a:gd name="connsiteX23347" fmla="*/ 4930019 w 8079933"/>
              <a:gd name="connsiteY23347" fmla="*/ 776950 h 4687251"/>
              <a:gd name="connsiteX23348" fmla="*/ 4927741 w 8079933"/>
              <a:gd name="connsiteY23348" fmla="*/ 780956 h 4687251"/>
              <a:gd name="connsiteX23349" fmla="*/ 4928826 w 8079933"/>
              <a:gd name="connsiteY23349" fmla="*/ 783987 h 4687251"/>
              <a:gd name="connsiteX23350" fmla="*/ 4930888 w 8079933"/>
              <a:gd name="connsiteY23350" fmla="*/ 797088 h 4687251"/>
              <a:gd name="connsiteX23351" fmla="*/ 4934360 w 8079933"/>
              <a:gd name="connsiteY23351" fmla="*/ 803909 h 4687251"/>
              <a:gd name="connsiteX23352" fmla="*/ 4934685 w 8079933"/>
              <a:gd name="connsiteY23352" fmla="*/ 815711 h 4687251"/>
              <a:gd name="connsiteX23353" fmla="*/ 4939135 w 8079933"/>
              <a:gd name="connsiteY23353" fmla="*/ 823289 h 4687251"/>
              <a:gd name="connsiteX23354" fmla="*/ 4942282 w 8079933"/>
              <a:gd name="connsiteY23354" fmla="*/ 833576 h 4687251"/>
              <a:gd name="connsiteX23355" fmla="*/ 4950529 w 8079933"/>
              <a:gd name="connsiteY23355" fmla="*/ 843536 h 4687251"/>
              <a:gd name="connsiteX23356" fmla="*/ 4956497 w 8079933"/>
              <a:gd name="connsiteY23356" fmla="*/ 853930 h 4687251"/>
              <a:gd name="connsiteX23357" fmla="*/ 4961598 w 8079933"/>
              <a:gd name="connsiteY23357" fmla="*/ 853930 h 4687251"/>
              <a:gd name="connsiteX23358" fmla="*/ 4964420 w 8079933"/>
              <a:gd name="connsiteY23358" fmla="*/ 858694 h 4687251"/>
              <a:gd name="connsiteX23359" fmla="*/ 4972341 w 8079933"/>
              <a:gd name="connsiteY23359" fmla="*/ 864865 h 4687251"/>
              <a:gd name="connsiteX23360" fmla="*/ 4977115 w 8079933"/>
              <a:gd name="connsiteY23360" fmla="*/ 864865 h 4687251"/>
              <a:gd name="connsiteX23361" fmla="*/ 4980588 w 8079933"/>
              <a:gd name="connsiteY23361" fmla="*/ 871145 h 4687251"/>
              <a:gd name="connsiteX23362" fmla="*/ 4984386 w 8079933"/>
              <a:gd name="connsiteY23362" fmla="*/ 872120 h 4687251"/>
              <a:gd name="connsiteX23363" fmla="*/ 4987099 w 8079933"/>
              <a:gd name="connsiteY23363" fmla="*/ 870820 h 4687251"/>
              <a:gd name="connsiteX23364" fmla="*/ 4992308 w 8079933"/>
              <a:gd name="connsiteY23364" fmla="*/ 874610 h 4687251"/>
              <a:gd name="connsiteX23365" fmla="*/ 4992525 w 8079933"/>
              <a:gd name="connsiteY23365" fmla="*/ 877100 h 4687251"/>
              <a:gd name="connsiteX23366" fmla="*/ 4991331 w 8079933"/>
              <a:gd name="connsiteY23366" fmla="*/ 880023 h 4687251"/>
              <a:gd name="connsiteX23367" fmla="*/ 4988184 w 8079933"/>
              <a:gd name="connsiteY23367" fmla="*/ 884029 h 4687251"/>
              <a:gd name="connsiteX23368" fmla="*/ 4985471 w 8079933"/>
              <a:gd name="connsiteY23368" fmla="*/ 884029 h 4687251"/>
              <a:gd name="connsiteX23369" fmla="*/ 4983193 w 8079933"/>
              <a:gd name="connsiteY23369" fmla="*/ 882947 h 4687251"/>
              <a:gd name="connsiteX23370" fmla="*/ 4982325 w 8079933"/>
              <a:gd name="connsiteY23370" fmla="*/ 884571 h 4687251"/>
              <a:gd name="connsiteX23371" fmla="*/ 4984712 w 8079933"/>
              <a:gd name="connsiteY23371" fmla="*/ 886520 h 4687251"/>
              <a:gd name="connsiteX23372" fmla="*/ 4987642 w 8079933"/>
              <a:gd name="connsiteY23372" fmla="*/ 886736 h 4687251"/>
              <a:gd name="connsiteX23373" fmla="*/ 4989595 w 8079933"/>
              <a:gd name="connsiteY23373" fmla="*/ 890309 h 4687251"/>
              <a:gd name="connsiteX23374" fmla="*/ 4988727 w 8079933"/>
              <a:gd name="connsiteY23374" fmla="*/ 894098 h 4687251"/>
              <a:gd name="connsiteX23375" fmla="*/ 4986556 w 8079933"/>
              <a:gd name="connsiteY23375" fmla="*/ 895290 h 4687251"/>
              <a:gd name="connsiteX23376" fmla="*/ 4983626 w 8079933"/>
              <a:gd name="connsiteY23376" fmla="*/ 893341 h 4687251"/>
              <a:gd name="connsiteX23377" fmla="*/ 4982108 w 8079933"/>
              <a:gd name="connsiteY23377" fmla="*/ 888902 h 4687251"/>
              <a:gd name="connsiteX23378" fmla="*/ 4980805 w 8079933"/>
              <a:gd name="connsiteY23378" fmla="*/ 888793 h 4687251"/>
              <a:gd name="connsiteX23379" fmla="*/ 4978960 w 8079933"/>
              <a:gd name="connsiteY23379" fmla="*/ 886520 h 4687251"/>
              <a:gd name="connsiteX23380" fmla="*/ 4974077 w 8079933"/>
              <a:gd name="connsiteY23380" fmla="*/ 883921 h 4687251"/>
              <a:gd name="connsiteX23381" fmla="*/ 4972124 w 8079933"/>
              <a:gd name="connsiteY23381" fmla="*/ 884787 h 4687251"/>
              <a:gd name="connsiteX23382" fmla="*/ 4972124 w 8079933"/>
              <a:gd name="connsiteY23382" fmla="*/ 886845 h 4687251"/>
              <a:gd name="connsiteX23383" fmla="*/ 4976139 w 8079933"/>
              <a:gd name="connsiteY23383" fmla="*/ 890092 h 4687251"/>
              <a:gd name="connsiteX23384" fmla="*/ 4976139 w 8079933"/>
              <a:gd name="connsiteY23384" fmla="*/ 892908 h 4687251"/>
              <a:gd name="connsiteX23385" fmla="*/ 4972775 w 8079933"/>
              <a:gd name="connsiteY23385" fmla="*/ 893232 h 4687251"/>
              <a:gd name="connsiteX23386" fmla="*/ 4967458 w 8079933"/>
              <a:gd name="connsiteY23386" fmla="*/ 890634 h 4687251"/>
              <a:gd name="connsiteX23387" fmla="*/ 4964636 w 8079933"/>
              <a:gd name="connsiteY23387" fmla="*/ 886845 h 4687251"/>
              <a:gd name="connsiteX23388" fmla="*/ 4962791 w 8079933"/>
              <a:gd name="connsiteY23388" fmla="*/ 887602 h 4687251"/>
              <a:gd name="connsiteX23389" fmla="*/ 4961707 w 8079933"/>
              <a:gd name="connsiteY23389" fmla="*/ 891716 h 4687251"/>
              <a:gd name="connsiteX23390" fmla="*/ 4959970 w 8079933"/>
              <a:gd name="connsiteY23390" fmla="*/ 891933 h 4687251"/>
              <a:gd name="connsiteX23391" fmla="*/ 4957800 w 8079933"/>
              <a:gd name="connsiteY23391" fmla="*/ 887169 h 4687251"/>
              <a:gd name="connsiteX23392" fmla="*/ 4955738 w 8079933"/>
              <a:gd name="connsiteY23392" fmla="*/ 883704 h 4687251"/>
              <a:gd name="connsiteX23393" fmla="*/ 4951072 w 8079933"/>
              <a:gd name="connsiteY23393" fmla="*/ 880890 h 4687251"/>
              <a:gd name="connsiteX23394" fmla="*/ 4947599 w 8079933"/>
              <a:gd name="connsiteY23394" fmla="*/ 880023 h 4687251"/>
              <a:gd name="connsiteX23395" fmla="*/ 4945537 w 8079933"/>
              <a:gd name="connsiteY23395" fmla="*/ 881214 h 4687251"/>
              <a:gd name="connsiteX23396" fmla="*/ 4947708 w 8079933"/>
              <a:gd name="connsiteY23396" fmla="*/ 882622 h 4687251"/>
              <a:gd name="connsiteX23397" fmla="*/ 4953893 w 8079933"/>
              <a:gd name="connsiteY23397" fmla="*/ 885437 h 4687251"/>
              <a:gd name="connsiteX23398" fmla="*/ 4954978 w 8079933"/>
              <a:gd name="connsiteY23398" fmla="*/ 890309 h 4687251"/>
              <a:gd name="connsiteX23399" fmla="*/ 4951722 w 8079933"/>
              <a:gd name="connsiteY23399" fmla="*/ 894207 h 4687251"/>
              <a:gd name="connsiteX23400" fmla="*/ 4948468 w 8079933"/>
              <a:gd name="connsiteY23400" fmla="*/ 894423 h 4687251"/>
              <a:gd name="connsiteX23401" fmla="*/ 4944778 w 8079933"/>
              <a:gd name="connsiteY23401" fmla="*/ 891392 h 4687251"/>
              <a:gd name="connsiteX23402" fmla="*/ 4942933 w 8079933"/>
              <a:gd name="connsiteY23402" fmla="*/ 884896 h 4687251"/>
              <a:gd name="connsiteX23403" fmla="*/ 4941305 w 8079933"/>
              <a:gd name="connsiteY23403" fmla="*/ 881972 h 4687251"/>
              <a:gd name="connsiteX23404" fmla="*/ 4938592 w 8079933"/>
              <a:gd name="connsiteY23404" fmla="*/ 881106 h 4687251"/>
              <a:gd name="connsiteX23405" fmla="*/ 4938918 w 8079933"/>
              <a:gd name="connsiteY23405" fmla="*/ 885437 h 4687251"/>
              <a:gd name="connsiteX23406" fmla="*/ 4932949 w 8079933"/>
              <a:gd name="connsiteY23406" fmla="*/ 882947 h 4687251"/>
              <a:gd name="connsiteX23407" fmla="*/ 4928066 w 8079933"/>
              <a:gd name="connsiteY23407" fmla="*/ 884246 h 4687251"/>
              <a:gd name="connsiteX23408" fmla="*/ 4923291 w 8079933"/>
              <a:gd name="connsiteY23408" fmla="*/ 881972 h 4687251"/>
              <a:gd name="connsiteX23409" fmla="*/ 4916237 w 8079933"/>
              <a:gd name="connsiteY23409" fmla="*/ 881214 h 4687251"/>
              <a:gd name="connsiteX23410" fmla="*/ 4913634 w 8079933"/>
              <a:gd name="connsiteY23410" fmla="*/ 878724 h 4687251"/>
              <a:gd name="connsiteX23411" fmla="*/ 4913416 w 8079933"/>
              <a:gd name="connsiteY23411" fmla="*/ 875801 h 4687251"/>
              <a:gd name="connsiteX23412" fmla="*/ 4916237 w 8079933"/>
              <a:gd name="connsiteY23412" fmla="*/ 876667 h 4687251"/>
              <a:gd name="connsiteX23413" fmla="*/ 4918950 w 8079933"/>
              <a:gd name="connsiteY23413" fmla="*/ 876451 h 4687251"/>
              <a:gd name="connsiteX23414" fmla="*/ 4918625 w 8079933"/>
              <a:gd name="connsiteY23414" fmla="*/ 872986 h 4687251"/>
              <a:gd name="connsiteX23415" fmla="*/ 4914284 w 8079933"/>
              <a:gd name="connsiteY23415" fmla="*/ 869196 h 4687251"/>
              <a:gd name="connsiteX23416" fmla="*/ 4915152 w 8079933"/>
              <a:gd name="connsiteY23416" fmla="*/ 866490 h 4687251"/>
              <a:gd name="connsiteX23417" fmla="*/ 4918408 w 8079933"/>
              <a:gd name="connsiteY23417" fmla="*/ 864433 h 4687251"/>
              <a:gd name="connsiteX23418" fmla="*/ 4919927 w 8079933"/>
              <a:gd name="connsiteY23418" fmla="*/ 861509 h 4687251"/>
              <a:gd name="connsiteX23419" fmla="*/ 4922532 w 8079933"/>
              <a:gd name="connsiteY23419" fmla="*/ 861509 h 4687251"/>
              <a:gd name="connsiteX23420" fmla="*/ 4923725 w 8079933"/>
              <a:gd name="connsiteY23420" fmla="*/ 859560 h 4687251"/>
              <a:gd name="connsiteX23421" fmla="*/ 4921555 w 8079933"/>
              <a:gd name="connsiteY23421" fmla="*/ 858369 h 4687251"/>
              <a:gd name="connsiteX23422" fmla="*/ 4918300 w 8079933"/>
              <a:gd name="connsiteY23422" fmla="*/ 860643 h 4687251"/>
              <a:gd name="connsiteX23423" fmla="*/ 4914502 w 8079933"/>
              <a:gd name="connsiteY23423" fmla="*/ 860859 h 4687251"/>
              <a:gd name="connsiteX23424" fmla="*/ 4908967 w 8079933"/>
              <a:gd name="connsiteY23424" fmla="*/ 857503 h 4687251"/>
              <a:gd name="connsiteX23425" fmla="*/ 4904301 w 8079933"/>
              <a:gd name="connsiteY23425" fmla="*/ 850357 h 4687251"/>
              <a:gd name="connsiteX23426" fmla="*/ 4904084 w 8079933"/>
              <a:gd name="connsiteY23426" fmla="*/ 846027 h 4687251"/>
              <a:gd name="connsiteX23427" fmla="*/ 4904843 w 8079933"/>
              <a:gd name="connsiteY23427" fmla="*/ 843969 h 4687251"/>
              <a:gd name="connsiteX23428" fmla="*/ 4903650 w 8079933"/>
              <a:gd name="connsiteY23428" fmla="*/ 841588 h 4687251"/>
              <a:gd name="connsiteX23429" fmla="*/ 4901045 w 8079933"/>
              <a:gd name="connsiteY23429" fmla="*/ 846351 h 4687251"/>
              <a:gd name="connsiteX23430" fmla="*/ 4901045 w 8079933"/>
              <a:gd name="connsiteY23430" fmla="*/ 849599 h 4687251"/>
              <a:gd name="connsiteX23431" fmla="*/ 4897899 w 8079933"/>
              <a:gd name="connsiteY23431" fmla="*/ 851873 h 4687251"/>
              <a:gd name="connsiteX23432" fmla="*/ 4894969 w 8079933"/>
              <a:gd name="connsiteY23432" fmla="*/ 851007 h 4687251"/>
              <a:gd name="connsiteX23433" fmla="*/ 4893233 w 8079933"/>
              <a:gd name="connsiteY23433" fmla="*/ 844835 h 4687251"/>
              <a:gd name="connsiteX23434" fmla="*/ 4891171 w 8079933"/>
              <a:gd name="connsiteY23434" fmla="*/ 841588 h 4687251"/>
              <a:gd name="connsiteX23435" fmla="*/ 4891387 w 8079933"/>
              <a:gd name="connsiteY23435" fmla="*/ 838123 h 4687251"/>
              <a:gd name="connsiteX23436" fmla="*/ 4893666 w 8079933"/>
              <a:gd name="connsiteY23436" fmla="*/ 832601 h 4687251"/>
              <a:gd name="connsiteX23437" fmla="*/ 4890736 w 8079933"/>
              <a:gd name="connsiteY23437" fmla="*/ 836931 h 4687251"/>
              <a:gd name="connsiteX23438" fmla="*/ 4889651 w 8079933"/>
              <a:gd name="connsiteY23438" fmla="*/ 841588 h 4687251"/>
              <a:gd name="connsiteX23439" fmla="*/ 4891171 w 8079933"/>
              <a:gd name="connsiteY23439" fmla="*/ 847867 h 4687251"/>
              <a:gd name="connsiteX23440" fmla="*/ 4887264 w 8079933"/>
              <a:gd name="connsiteY23440" fmla="*/ 853930 h 4687251"/>
              <a:gd name="connsiteX23441" fmla="*/ 4883466 w 8079933"/>
              <a:gd name="connsiteY23441" fmla="*/ 855013 h 4687251"/>
              <a:gd name="connsiteX23442" fmla="*/ 4881078 w 8079933"/>
              <a:gd name="connsiteY23442" fmla="*/ 856312 h 4687251"/>
              <a:gd name="connsiteX23443" fmla="*/ 4876737 w 8079933"/>
              <a:gd name="connsiteY23443" fmla="*/ 854580 h 4687251"/>
              <a:gd name="connsiteX23444" fmla="*/ 4870335 w 8079933"/>
              <a:gd name="connsiteY23444" fmla="*/ 849599 h 4687251"/>
              <a:gd name="connsiteX23445" fmla="*/ 4870226 w 8079933"/>
              <a:gd name="connsiteY23445" fmla="*/ 846676 h 4687251"/>
              <a:gd name="connsiteX23446" fmla="*/ 4863824 w 8079933"/>
              <a:gd name="connsiteY23446" fmla="*/ 841370 h 4687251"/>
              <a:gd name="connsiteX23447" fmla="*/ 4862630 w 8079933"/>
              <a:gd name="connsiteY23447" fmla="*/ 837040 h 4687251"/>
              <a:gd name="connsiteX23448" fmla="*/ 4863607 w 8079933"/>
              <a:gd name="connsiteY23448" fmla="*/ 831735 h 4687251"/>
              <a:gd name="connsiteX23449" fmla="*/ 4862197 w 8079933"/>
              <a:gd name="connsiteY23449" fmla="*/ 825780 h 4687251"/>
              <a:gd name="connsiteX23450" fmla="*/ 4862088 w 8079933"/>
              <a:gd name="connsiteY23450" fmla="*/ 820907 h 4687251"/>
              <a:gd name="connsiteX23451" fmla="*/ 4866211 w 8079933"/>
              <a:gd name="connsiteY23451" fmla="*/ 815819 h 4687251"/>
              <a:gd name="connsiteX23452" fmla="*/ 4869250 w 8079933"/>
              <a:gd name="connsiteY23452" fmla="*/ 815386 h 4687251"/>
              <a:gd name="connsiteX23453" fmla="*/ 4872722 w 8079933"/>
              <a:gd name="connsiteY23453" fmla="*/ 817335 h 4687251"/>
              <a:gd name="connsiteX23454" fmla="*/ 4877063 w 8079933"/>
              <a:gd name="connsiteY23454" fmla="*/ 816144 h 4687251"/>
              <a:gd name="connsiteX23455" fmla="*/ 4879450 w 8079933"/>
              <a:gd name="connsiteY23455" fmla="*/ 817335 h 4687251"/>
              <a:gd name="connsiteX23456" fmla="*/ 4881512 w 8079933"/>
              <a:gd name="connsiteY23456" fmla="*/ 815602 h 4687251"/>
              <a:gd name="connsiteX23457" fmla="*/ 4879017 w 8079933"/>
              <a:gd name="connsiteY23457" fmla="*/ 810838 h 4687251"/>
              <a:gd name="connsiteX23458" fmla="*/ 4878799 w 8079933"/>
              <a:gd name="connsiteY23458" fmla="*/ 807482 h 4687251"/>
              <a:gd name="connsiteX23459" fmla="*/ 4881947 w 8079933"/>
              <a:gd name="connsiteY23459" fmla="*/ 804558 h 4687251"/>
              <a:gd name="connsiteX23460" fmla="*/ 4885202 w 8079933"/>
              <a:gd name="connsiteY23460" fmla="*/ 804450 h 4687251"/>
              <a:gd name="connsiteX23461" fmla="*/ 4887915 w 8079933"/>
              <a:gd name="connsiteY23461" fmla="*/ 802935 h 4687251"/>
              <a:gd name="connsiteX23462" fmla="*/ 4883140 w 8079933"/>
              <a:gd name="connsiteY23462" fmla="*/ 802935 h 4687251"/>
              <a:gd name="connsiteX23463" fmla="*/ 4879667 w 8079933"/>
              <a:gd name="connsiteY23463" fmla="*/ 799145 h 4687251"/>
              <a:gd name="connsiteX23464" fmla="*/ 4880535 w 8079933"/>
              <a:gd name="connsiteY23464" fmla="*/ 795681 h 4687251"/>
              <a:gd name="connsiteX23465" fmla="*/ 4884334 w 8079933"/>
              <a:gd name="connsiteY23465" fmla="*/ 792216 h 4687251"/>
              <a:gd name="connsiteX23466" fmla="*/ 4883248 w 8079933"/>
              <a:gd name="connsiteY23466" fmla="*/ 790159 h 4687251"/>
              <a:gd name="connsiteX23467" fmla="*/ 4880210 w 8079933"/>
              <a:gd name="connsiteY23467" fmla="*/ 791025 h 4687251"/>
              <a:gd name="connsiteX23468" fmla="*/ 4877063 w 8079933"/>
              <a:gd name="connsiteY23468" fmla="*/ 794815 h 4687251"/>
              <a:gd name="connsiteX23469" fmla="*/ 4874459 w 8079933"/>
              <a:gd name="connsiteY23469" fmla="*/ 794815 h 4687251"/>
              <a:gd name="connsiteX23470" fmla="*/ 4875327 w 8079933"/>
              <a:gd name="connsiteY23470" fmla="*/ 790809 h 4687251"/>
              <a:gd name="connsiteX23471" fmla="*/ 4879667 w 8079933"/>
              <a:gd name="connsiteY23471" fmla="*/ 787019 h 4687251"/>
              <a:gd name="connsiteX23472" fmla="*/ 4878582 w 8079933"/>
              <a:gd name="connsiteY23472" fmla="*/ 784962 h 4687251"/>
              <a:gd name="connsiteX23473" fmla="*/ 4872614 w 8079933"/>
              <a:gd name="connsiteY23473" fmla="*/ 788318 h 4687251"/>
              <a:gd name="connsiteX23474" fmla="*/ 4868816 w 8079933"/>
              <a:gd name="connsiteY23474" fmla="*/ 789509 h 4687251"/>
              <a:gd name="connsiteX23475" fmla="*/ 4866537 w 8079933"/>
              <a:gd name="connsiteY23475" fmla="*/ 786911 h 4687251"/>
              <a:gd name="connsiteX23476" fmla="*/ 4866863 w 8079933"/>
              <a:gd name="connsiteY23476" fmla="*/ 781605 h 4687251"/>
              <a:gd name="connsiteX23477" fmla="*/ 4870877 w 8079933"/>
              <a:gd name="connsiteY23477" fmla="*/ 774676 h 4687251"/>
              <a:gd name="connsiteX23478" fmla="*/ 4875869 w 8079933"/>
              <a:gd name="connsiteY23478" fmla="*/ 773160 h 4687251"/>
              <a:gd name="connsiteX23479" fmla="*/ 4880210 w 8079933"/>
              <a:gd name="connsiteY23479" fmla="*/ 773269 h 4687251"/>
              <a:gd name="connsiteX23480" fmla="*/ 4881187 w 8079933"/>
              <a:gd name="connsiteY23480" fmla="*/ 770778 h 4687251"/>
              <a:gd name="connsiteX23481" fmla="*/ 4879450 w 8079933"/>
              <a:gd name="connsiteY23481" fmla="*/ 769046 h 4687251"/>
              <a:gd name="connsiteX23482" fmla="*/ 4875327 w 8079933"/>
              <a:gd name="connsiteY23482" fmla="*/ 768505 h 4687251"/>
              <a:gd name="connsiteX23483" fmla="*/ 4874133 w 8079933"/>
              <a:gd name="connsiteY23483" fmla="*/ 763849 h 4687251"/>
              <a:gd name="connsiteX23484" fmla="*/ 4875652 w 8079933"/>
              <a:gd name="connsiteY23484" fmla="*/ 760817 h 4687251"/>
              <a:gd name="connsiteX23485" fmla="*/ 4876195 w 8079933"/>
              <a:gd name="connsiteY23485" fmla="*/ 755404 h 4687251"/>
              <a:gd name="connsiteX23486" fmla="*/ 4882380 w 8079933"/>
              <a:gd name="connsiteY23486" fmla="*/ 750965 h 4687251"/>
              <a:gd name="connsiteX23487" fmla="*/ 4885310 w 8079933"/>
              <a:gd name="connsiteY23487" fmla="*/ 748583 h 4687251"/>
              <a:gd name="connsiteX23488" fmla="*/ 4893449 w 8079933"/>
              <a:gd name="connsiteY23488" fmla="*/ 748583 h 4687251"/>
              <a:gd name="connsiteX23489" fmla="*/ 2942863 w 8079933"/>
              <a:gd name="connsiteY23489" fmla="*/ 738947 h 4687251"/>
              <a:gd name="connsiteX23490" fmla="*/ 2944925 w 8079933"/>
              <a:gd name="connsiteY23490" fmla="*/ 740030 h 4687251"/>
              <a:gd name="connsiteX23491" fmla="*/ 2943622 w 8079933"/>
              <a:gd name="connsiteY23491" fmla="*/ 741437 h 4687251"/>
              <a:gd name="connsiteX23492" fmla="*/ 2942212 w 8079933"/>
              <a:gd name="connsiteY23492" fmla="*/ 740571 h 4687251"/>
              <a:gd name="connsiteX23493" fmla="*/ 2949700 w 8079933"/>
              <a:gd name="connsiteY23493" fmla="*/ 738838 h 4687251"/>
              <a:gd name="connsiteX23494" fmla="*/ 2950893 w 8079933"/>
              <a:gd name="connsiteY23494" fmla="*/ 739054 h 4687251"/>
              <a:gd name="connsiteX23495" fmla="*/ 2951327 w 8079933"/>
              <a:gd name="connsiteY23495" fmla="*/ 740246 h 4687251"/>
              <a:gd name="connsiteX23496" fmla="*/ 2950459 w 8079933"/>
              <a:gd name="connsiteY23496" fmla="*/ 740246 h 4687251"/>
              <a:gd name="connsiteX23497" fmla="*/ 2936677 w 8079933"/>
              <a:gd name="connsiteY23497" fmla="*/ 738405 h 4687251"/>
              <a:gd name="connsiteX23498" fmla="*/ 2937546 w 8079933"/>
              <a:gd name="connsiteY23498" fmla="*/ 740245 h 4687251"/>
              <a:gd name="connsiteX23499" fmla="*/ 2935918 w 8079933"/>
              <a:gd name="connsiteY23499" fmla="*/ 741870 h 4687251"/>
              <a:gd name="connsiteX23500" fmla="*/ 2935375 w 8079933"/>
              <a:gd name="connsiteY23500" fmla="*/ 740570 h 4687251"/>
              <a:gd name="connsiteX23501" fmla="*/ 4253961 w 8079933"/>
              <a:gd name="connsiteY23501" fmla="*/ 738296 h 4687251"/>
              <a:gd name="connsiteX23502" fmla="*/ 4258302 w 8079933"/>
              <a:gd name="connsiteY23502" fmla="*/ 738621 h 4687251"/>
              <a:gd name="connsiteX23503" fmla="*/ 4261557 w 8079933"/>
              <a:gd name="connsiteY23503" fmla="*/ 742085 h 4687251"/>
              <a:gd name="connsiteX23504" fmla="*/ 4261015 w 8079933"/>
              <a:gd name="connsiteY23504" fmla="*/ 748473 h 4687251"/>
              <a:gd name="connsiteX23505" fmla="*/ 4259170 w 8079933"/>
              <a:gd name="connsiteY23505" fmla="*/ 751396 h 4687251"/>
              <a:gd name="connsiteX23506" fmla="*/ 4257433 w 8079933"/>
              <a:gd name="connsiteY23506" fmla="*/ 750314 h 4687251"/>
              <a:gd name="connsiteX23507" fmla="*/ 4256891 w 8079933"/>
              <a:gd name="connsiteY23507" fmla="*/ 747282 h 4687251"/>
              <a:gd name="connsiteX23508" fmla="*/ 4253852 w 8079933"/>
              <a:gd name="connsiteY23508" fmla="*/ 744900 h 4687251"/>
              <a:gd name="connsiteX23509" fmla="*/ 4252659 w 8079933"/>
              <a:gd name="connsiteY23509" fmla="*/ 741219 h 4687251"/>
              <a:gd name="connsiteX23510" fmla="*/ 3572041 w 8079933"/>
              <a:gd name="connsiteY23510" fmla="*/ 734507 h 4687251"/>
              <a:gd name="connsiteX23511" fmla="*/ 3581590 w 8079933"/>
              <a:gd name="connsiteY23511" fmla="*/ 740137 h 4687251"/>
              <a:gd name="connsiteX23512" fmla="*/ 3581807 w 8079933"/>
              <a:gd name="connsiteY23512" fmla="*/ 746200 h 4687251"/>
              <a:gd name="connsiteX23513" fmla="*/ 3580071 w 8079933"/>
              <a:gd name="connsiteY23513" fmla="*/ 749123 h 4687251"/>
              <a:gd name="connsiteX23514" fmla="*/ 3579203 w 8079933"/>
              <a:gd name="connsiteY23514" fmla="*/ 753562 h 4687251"/>
              <a:gd name="connsiteX23515" fmla="*/ 3575297 w 8079933"/>
              <a:gd name="connsiteY23515" fmla="*/ 755945 h 4687251"/>
              <a:gd name="connsiteX23516" fmla="*/ 3569979 w 8079933"/>
              <a:gd name="connsiteY23516" fmla="*/ 755294 h 4687251"/>
              <a:gd name="connsiteX23517" fmla="*/ 3566615 w 8079933"/>
              <a:gd name="connsiteY23517" fmla="*/ 755294 h 4687251"/>
              <a:gd name="connsiteX23518" fmla="*/ 3562166 w 8079933"/>
              <a:gd name="connsiteY23518" fmla="*/ 750964 h 4687251"/>
              <a:gd name="connsiteX23519" fmla="*/ 3558693 w 8079933"/>
              <a:gd name="connsiteY23519" fmla="*/ 749773 h 4687251"/>
              <a:gd name="connsiteX23520" fmla="*/ 3555439 w 8079933"/>
              <a:gd name="connsiteY23520" fmla="*/ 747499 h 4687251"/>
              <a:gd name="connsiteX23521" fmla="*/ 3555330 w 8079933"/>
              <a:gd name="connsiteY23521" fmla="*/ 743602 h 4687251"/>
              <a:gd name="connsiteX23522" fmla="*/ 3559020 w 8079933"/>
              <a:gd name="connsiteY23522" fmla="*/ 736889 h 4687251"/>
              <a:gd name="connsiteX23523" fmla="*/ 3565639 w 8079933"/>
              <a:gd name="connsiteY23523" fmla="*/ 735698 h 4687251"/>
              <a:gd name="connsiteX23524" fmla="*/ 2074404 w 8079933"/>
              <a:gd name="connsiteY23524" fmla="*/ 729635 h 4687251"/>
              <a:gd name="connsiteX23525" fmla="*/ 2076032 w 8079933"/>
              <a:gd name="connsiteY23525" fmla="*/ 731584 h 4687251"/>
              <a:gd name="connsiteX23526" fmla="*/ 2075706 w 8079933"/>
              <a:gd name="connsiteY23526" fmla="*/ 733857 h 4687251"/>
              <a:gd name="connsiteX23527" fmla="*/ 2077985 w 8079933"/>
              <a:gd name="connsiteY23527" fmla="*/ 736456 h 4687251"/>
              <a:gd name="connsiteX23528" fmla="*/ 2075598 w 8079933"/>
              <a:gd name="connsiteY23528" fmla="*/ 739163 h 4687251"/>
              <a:gd name="connsiteX23529" fmla="*/ 2075164 w 8079933"/>
              <a:gd name="connsiteY23529" fmla="*/ 743926 h 4687251"/>
              <a:gd name="connsiteX23530" fmla="*/ 2072993 w 8079933"/>
              <a:gd name="connsiteY23530" fmla="*/ 744143 h 4687251"/>
              <a:gd name="connsiteX23531" fmla="*/ 2072017 w 8079933"/>
              <a:gd name="connsiteY23531" fmla="*/ 738188 h 4687251"/>
              <a:gd name="connsiteX23532" fmla="*/ 2070498 w 8079933"/>
              <a:gd name="connsiteY23532" fmla="*/ 736456 h 4687251"/>
              <a:gd name="connsiteX23533" fmla="*/ 2071583 w 8079933"/>
              <a:gd name="connsiteY23533" fmla="*/ 730718 h 4687251"/>
              <a:gd name="connsiteX23534" fmla="*/ 3609697 w 8079933"/>
              <a:gd name="connsiteY23534" fmla="*/ 726928 h 4687251"/>
              <a:gd name="connsiteX23535" fmla="*/ 3609914 w 8079933"/>
              <a:gd name="connsiteY23535" fmla="*/ 729526 h 4687251"/>
              <a:gd name="connsiteX23536" fmla="*/ 3606550 w 8079933"/>
              <a:gd name="connsiteY23536" fmla="*/ 733207 h 4687251"/>
              <a:gd name="connsiteX23537" fmla="*/ 3604055 w 8079933"/>
              <a:gd name="connsiteY23537" fmla="*/ 732882 h 4687251"/>
              <a:gd name="connsiteX23538" fmla="*/ 3604272 w 8079933"/>
              <a:gd name="connsiteY23538" fmla="*/ 729309 h 4687251"/>
              <a:gd name="connsiteX23539" fmla="*/ 3607202 w 8079933"/>
              <a:gd name="connsiteY23539" fmla="*/ 727144 h 4687251"/>
              <a:gd name="connsiteX23540" fmla="*/ 2943946 w 8079933"/>
              <a:gd name="connsiteY23540" fmla="*/ 726712 h 4687251"/>
              <a:gd name="connsiteX23541" fmla="*/ 2945031 w 8079933"/>
              <a:gd name="connsiteY23541" fmla="*/ 729635 h 4687251"/>
              <a:gd name="connsiteX23542" fmla="*/ 2946550 w 8079933"/>
              <a:gd name="connsiteY23542" fmla="*/ 732559 h 4687251"/>
              <a:gd name="connsiteX23543" fmla="*/ 2945357 w 8079933"/>
              <a:gd name="connsiteY23543" fmla="*/ 734075 h 4687251"/>
              <a:gd name="connsiteX23544" fmla="*/ 2943404 w 8079933"/>
              <a:gd name="connsiteY23544" fmla="*/ 733749 h 4687251"/>
              <a:gd name="connsiteX23545" fmla="*/ 2943296 w 8079933"/>
              <a:gd name="connsiteY23545" fmla="*/ 728661 h 4687251"/>
              <a:gd name="connsiteX23546" fmla="*/ 482573 w 8079933"/>
              <a:gd name="connsiteY23546" fmla="*/ 722164 h 4687251"/>
              <a:gd name="connsiteX23547" fmla="*/ 485396 w 8079933"/>
              <a:gd name="connsiteY23547" fmla="*/ 722164 h 4687251"/>
              <a:gd name="connsiteX23548" fmla="*/ 485396 w 8079933"/>
              <a:gd name="connsiteY23548" fmla="*/ 731150 h 4687251"/>
              <a:gd name="connsiteX23549" fmla="*/ 483227 w 8079933"/>
              <a:gd name="connsiteY23549" fmla="*/ 734182 h 4687251"/>
              <a:gd name="connsiteX23550" fmla="*/ 489303 w 8079933"/>
              <a:gd name="connsiteY23550" fmla="*/ 736456 h 4687251"/>
              <a:gd name="connsiteX23551" fmla="*/ 489522 w 8079933"/>
              <a:gd name="connsiteY23551" fmla="*/ 739596 h 4687251"/>
              <a:gd name="connsiteX23552" fmla="*/ 494947 w 8079933"/>
              <a:gd name="connsiteY23552" fmla="*/ 740245 h 4687251"/>
              <a:gd name="connsiteX23553" fmla="*/ 497441 w 8079933"/>
              <a:gd name="connsiteY23553" fmla="*/ 737972 h 4687251"/>
              <a:gd name="connsiteX23554" fmla="*/ 506340 w 8079933"/>
              <a:gd name="connsiteY23554" fmla="*/ 738837 h 4687251"/>
              <a:gd name="connsiteX23555" fmla="*/ 511006 w 8079933"/>
              <a:gd name="connsiteY23555" fmla="*/ 743385 h 4687251"/>
              <a:gd name="connsiteX23556" fmla="*/ 510463 w 8079933"/>
              <a:gd name="connsiteY23556" fmla="*/ 746308 h 4687251"/>
              <a:gd name="connsiteX23557" fmla="*/ 507750 w 8079933"/>
              <a:gd name="connsiteY23557" fmla="*/ 748798 h 4687251"/>
              <a:gd name="connsiteX23558" fmla="*/ 510463 w 8079933"/>
              <a:gd name="connsiteY23558" fmla="*/ 754862 h 4687251"/>
              <a:gd name="connsiteX23559" fmla="*/ 515130 w 8079933"/>
              <a:gd name="connsiteY23559" fmla="*/ 758110 h 4687251"/>
              <a:gd name="connsiteX23560" fmla="*/ 515021 w 8079933"/>
              <a:gd name="connsiteY23560" fmla="*/ 762982 h 4687251"/>
              <a:gd name="connsiteX23561" fmla="*/ 523810 w 8079933"/>
              <a:gd name="connsiteY23561" fmla="*/ 771319 h 4687251"/>
              <a:gd name="connsiteX23562" fmla="*/ 525115 w 8079933"/>
              <a:gd name="connsiteY23562" fmla="*/ 775867 h 4687251"/>
              <a:gd name="connsiteX23563" fmla="*/ 521206 w 8079933"/>
              <a:gd name="connsiteY23563" fmla="*/ 778573 h 4687251"/>
              <a:gd name="connsiteX23564" fmla="*/ 515021 w 8079933"/>
              <a:gd name="connsiteY23564" fmla="*/ 774675 h 4687251"/>
              <a:gd name="connsiteX23565" fmla="*/ 512417 w 8079933"/>
              <a:gd name="connsiteY23565" fmla="*/ 775650 h 4687251"/>
              <a:gd name="connsiteX23566" fmla="*/ 510463 w 8079933"/>
              <a:gd name="connsiteY23566" fmla="*/ 778032 h 4687251"/>
              <a:gd name="connsiteX23567" fmla="*/ 505689 w 8079933"/>
              <a:gd name="connsiteY23567" fmla="*/ 778249 h 4687251"/>
              <a:gd name="connsiteX23568" fmla="*/ 498962 w 8079933"/>
              <a:gd name="connsiteY23568" fmla="*/ 783770 h 4687251"/>
              <a:gd name="connsiteX23569" fmla="*/ 494947 w 8079933"/>
              <a:gd name="connsiteY23569" fmla="*/ 781821 h 4687251"/>
              <a:gd name="connsiteX23570" fmla="*/ 499286 w 8079933"/>
              <a:gd name="connsiteY23570" fmla="*/ 775650 h 4687251"/>
              <a:gd name="connsiteX23571" fmla="*/ 497875 w 8079933"/>
              <a:gd name="connsiteY23571" fmla="*/ 770020 h 4687251"/>
              <a:gd name="connsiteX23572" fmla="*/ 492558 w 8079933"/>
              <a:gd name="connsiteY23572" fmla="*/ 767205 h 4687251"/>
              <a:gd name="connsiteX23573" fmla="*/ 493753 w 8079933"/>
              <a:gd name="connsiteY23573" fmla="*/ 761250 h 4687251"/>
              <a:gd name="connsiteX23574" fmla="*/ 492015 w 8079933"/>
              <a:gd name="connsiteY23574" fmla="*/ 753346 h 4687251"/>
              <a:gd name="connsiteX23575" fmla="*/ 486914 w 8079933"/>
              <a:gd name="connsiteY23575" fmla="*/ 749231 h 4687251"/>
              <a:gd name="connsiteX23576" fmla="*/ 478993 w 8079933"/>
              <a:gd name="connsiteY23576" fmla="*/ 749015 h 4687251"/>
              <a:gd name="connsiteX23577" fmla="*/ 477258 w 8079933"/>
              <a:gd name="connsiteY23577" fmla="*/ 753021 h 4687251"/>
              <a:gd name="connsiteX23578" fmla="*/ 472373 w 8079933"/>
              <a:gd name="connsiteY23578" fmla="*/ 753129 h 4687251"/>
              <a:gd name="connsiteX23579" fmla="*/ 467599 w 8079933"/>
              <a:gd name="connsiteY23579" fmla="*/ 747500 h 4687251"/>
              <a:gd name="connsiteX23580" fmla="*/ 467599 w 8079933"/>
              <a:gd name="connsiteY23580" fmla="*/ 741436 h 4687251"/>
              <a:gd name="connsiteX23581" fmla="*/ 478669 w 8079933"/>
              <a:gd name="connsiteY23581" fmla="*/ 731475 h 4687251"/>
              <a:gd name="connsiteX23582" fmla="*/ 5329904 w 8079933"/>
              <a:gd name="connsiteY23582" fmla="*/ 717834 h 4687251"/>
              <a:gd name="connsiteX23583" fmla="*/ 5334787 w 8079933"/>
              <a:gd name="connsiteY23583" fmla="*/ 718483 h 4687251"/>
              <a:gd name="connsiteX23584" fmla="*/ 5337066 w 8079933"/>
              <a:gd name="connsiteY23584" fmla="*/ 719783 h 4687251"/>
              <a:gd name="connsiteX23585" fmla="*/ 5337500 w 8079933"/>
              <a:gd name="connsiteY23585" fmla="*/ 723464 h 4687251"/>
              <a:gd name="connsiteX23586" fmla="*/ 5333376 w 8079933"/>
              <a:gd name="connsiteY23586" fmla="*/ 728877 h 4687251"/>
              <a:gd name="connsiteX23587" fmla="*/ 5329578 w 8079933"/>
              <a:gd name="connsiteY23587" fmla="*/ 730610 h 4687251"/>
              <a:gd name="connsiteX23588" fmla="*/ 5326323 w 8079933"/>
              <a:gd name="connsiteY23588" fmla="*/ 735915 h 4687251"/>
              <a:gd name="connsiteX23589" fmla="*/ 5323284 w 8079933"/>
              <a:gd name="connsiteY23589" fmla="*/ 737431 h 4687251"/>
              <a:gd name="connsiteX23590" fmla="*/ 5318509 w 8079933"/>
              <a:gd name="connsiteY23590" fmla="*/ 741546 h 4687251"/>
              <a:gd name="connsiteX23591" fmla="*/ 5315905 w 8079933"/>
              <a:gd name="connsiteY23591" fmla="*/ 741979 h 4687251"/>
              <a:gd name="connsiteX23592" fmla="*/ 5313626 w 8079933"/>
              <a:gd name="connsiteY23592" fmla="*/ 738947 h 4687251"/>
              <a:gd name="connsiteX23593" fmla="*/ 5314386 w 8079933"/>
              <a:gd name="connsiteY23593" fmla="*/ 734508 h 4687251"/>
              <a:gd name="connsiteX23594" fmla="*/ 5317099 w 8079933"/>
              <a:gd name="connsiteY23594" fmla="*/ 732559 h 4687251"/>
              <a:gd name="connsiteX23595" fmla="*/ 5320245 w 8079933"/>
              <a:gd name="connsiteY23595" fmla="*/ 728228 h 4687251"/>
              <a:gd name="connsiteX23596" fmla="*/ 5319703 w 8079933"/>
              <a:gd name="connsiteY23596" fmla="*/ 723681 h 4687251"/>
              <a:gd name="connsiteX23597" fmla="*/ 5322958 w 8079933"/>
              <a:gd name="connsiteY23597" fmla="*/ 719783 h 4687251"/>
              <a:gd name="connsiteX23598" fmla="*/ 2938088 w 8079933"/>
              <a:gd name="connsiteY23598" fmla="*/ 713286 h 4687251"/>
              <a:gd name="connsiteX23599" fmla="*/ 2939824 w 8079933"/>
              <a:gd name="connsiteY23599" fmla="*/ 714261 h 4687251"/>
              <a:gd name="connsiteX23600" fmla="*/ 2944707 w 8079933"/>
              <a:gd name="connsiteY23600" fmla="*/ 715126 h 4687251"/>
              <a:gd name="connsiteX23601" fmla="*/ 2941669 w 8079933"/>
              <a:gd name="connsiteY23601" fmla="*/ 717508 h 4687251"/>
              <a:gd name="connsiteX23602" fmla="*/ 2938088 w 8079933"/>
              <a:gd name="connsiteY23602" fmla="*/ 716750 h 4687251"/>
              <a:gd name="connsiteX23603" fmla="*/ 2937003 w 8079933"/>
              <a:gd name="connsiteY23603" fmla="*/ 714693 h 4687251"/>
              <a:gd name="connsiteX23604" fmla="*/ 2511834 w 8079933"/>
              <a:gd name="connsiteY23604" fmla="*/ 712529 h 4687251"/>
              <a:gd name="connsiteX23605" fmla="*/ 2515089 w 8079933"/>
              <a:gd name="connsiteY23605" fmla="*/ 715235 h 4687251"/>
              <a:gd name="connsiteX23606" fmla="*/ 2513570 w 8079933"/>
              <a:gd name="connsiteY23606" fmla="*/ 716643 h 4687251"/>
              <a:gd name="connsiteX23607" fmla="*/ 2510314 w 8079933"/>
              <a:gd name="connsiteY23607" fmla="*/ 715777 h 4687251"/>
              <a:gd name="connsiteX23608" fmla="*/ 2509772 w 8079933"/>
              <a:gd name="connsiteY23608" fmla="*/ 712962 h 4687251"/>
              <a:gd name="connsiteX23609" fmla="*/ 2501308 w 8079933"/>
              <a:gd name="connsiteY23609" fmla="*/ 711988 h 4687251"/>
              <a:gd name="connsiteX23610" fmla="*/ 2503045 w 8079933"/>
              <a:gd name="connsiteY23610" fmla="*/ 712204 h 4687251"/>
              <a:gd name="connsiteX23611" fmla="*/ 2503587 w 8079933"/>
              <a:gd name="connsiteY23611" fmla="*/ 715452 h 4687251"/>
              <a:gd name="connsiteX23612" fmla="*/ 2501091 w 8079933"/>
              <a:gd name="connsiteY23612" fmla="*/ 716643 h 4687251"/>
              <a:gd name="connsiteX23613" fmla="*/ 2499355 w 8079933"/>
              <a:gd name="connsiteY23613" fmla="*/ 713720 h 4687251"/>
              <a:gd name="connsiteX23614" fmla="*/ 2163604 w 8079933"/>
              <a:gd name="connsiteY23614" fmla="*/ 710363 h 4687251"/>
              <a:gd name="connsiteX23615" fmla="*/ 2163604 w 8079933"/>
              <a:gd name="connsiteY23615" fmla="*/ 714910 h 4687251"/>
              <a:gd name="connsiteX23616" fmla="*/ 2161868 w 8079933"/>
              <a:gd name="connsiteY23616" fmla="*/ 715669 h 4687251"/>
              <a:gd name="connsiteX23617" fmla="*/ 2160349 w 8079933"/>
              <a:gd name="connsiteY23617" fmla="*/ 714044 h 4687251"/>
              <a:gd name="connsiteX23618" fmla="*/ 2161542 w 8079933"/>
              <a:gd name="connsiteY23618" fmla="*/ 711121 h 4687251"/>
              <a:gd name="connsiteX23619" fmla="*/ 3584196 w 8079933"/>
              <a:gd name="connsiteY23619" fmla="*/ 706141 h 4687251"/>
              <a:gd name="connsiteX23620" fmla="*/ 3587342 w 8079933"/>
              <a:gd name="connsiteY23620" fmla="*/ 706682 h 4687251"/>
              <a:gd name="connsiteX23621" fmla="*/ 3591792 w 8079933"/>
              <a:gd name="connsiteY23621" fmla="*/ 709822 h 4687251"/>
              <a:gd name="connsiteX23622" fmla="*/ 3592443 w 8079933"/>
              <a:gd name="connsiteY23622" fmla="*/ 714045 h 4687251"/>
              <a:gd name="connsiteX23623" fmla="*/ 3590381 w 8079933"/>
              <a:gd name="connsiteY23623" fmla="*/ 716535 h 4687251"/>
              <a:gd name="connsiteX23624" fmla="*/ 3590055 w 8079933"/>
              <a:gd name="connsiteY23624" fmla="*/ 720432 h 4687251"/>
              <a:gd name="connsiteX23625" fmla="*/ 3587886 w 8079933"/>
              <a:gd name="connsiteY23625" fmla="*/ 722057 h 4687251"/>
              <a:gd name="connsiteX23626" fmla="*/ 3583979 w 8079933"/>
              <a:gd name="connsiteY23626" fmla="*/ 719133 h 4687251"/>
              <a:gd name="connsiteX23627" fmla="*/ 3582351 w 8079933"/>
              <a:gd name="connsiteY23627" fmla="*/ 715344 h 4687251"/>
              <a:gd name="connsiteX23628" fmla="*/ 3582460 w 8079933"/>
              <a:gd name="connsiteY23628" fmla="*/ 709172 h 4687251"/>
              <a:gd name="connsiteX23629" fmla="*/ 2495230 w 8079933"/>
              <a:gd name="connsiteY23629" fmla="*/ 705166 h 4687251"/>
              <a:gd name="connsiteX23630" fmla="*/ 2496750 w 8079933"/>
              <a:gd name="connsiteY23630" fmla="*/ 707223 h 4687251"/>
              <a:gd name="connsiteX23631" fmla="*/ 2496750 w 8079933"/>
              <a:gd name="connsiteY23631" fmla="*/ 710146 h 4687251"/>
              <a:gd name="connsiteX23632" fmla="*/ 2493929 w 8079933"/>
              <a:gd name="connsiteY23632" fmla="*/ 712421 h 4687251"/>
              <a:gd name="connsiteX23633" fmla="*/ 2493495 w 8079933"/>
              <a:gd name="connsiteY23633" fmla="*/ 707656 h 4687251"/>
              <a:gd name="connsiteX23634" fmla="*/ 5254158 w 8079933"/>
              <a:gd name="connsiteY23634" fmla="*/ 701593 h 4687251"/>
              <a:gd name="connsiteX23635" fmla="*/ 5258390 w 8079933"/>
              <a:gd name="connsiteY23635" fmla="*/ 702784 h 4687251"/>
              <a:gd name="connsiteX23636" fmla="*/ 5259909 w 8079933"/>
              <a:gd name="connsiteY23636" fmla="*/ 706032 h 4687251"/>
              <a:gd name="connsiteX23637" fmla="*/ 5257522 w 8079933"/>
              <a:gd name="connsiteY23637" fmla="*/ 708089 h 4687251"/>
              <a:gd name="connsiteX23638" fmla="*/ 5257413 w 8079933"/>
              <a:gd name="connsiteY23638" fmla="*/ 711338 h 4687251"/>
              <a:gd name="connsiteX23639" fmla="*/ 5259909 w 8079933"/>
              <a:gd name="connsiteY23639" fmla="*/ 713936 h 4687251"/>
              <a:gd name="connsiteX23640" fmla="*/ 5260886 w 8079933"/>
              <a:gd name="connsiteY23640" fmla="*/ 718592 h 4687251"/>
              <a:gd name="connsiteX23641" fmla="*/ 5257413 w 8079933"/>
              <a:gd name="connsiteY23641" fmla="*/ 718375 h 4687251"/>
              <a:gd name="connsiteX23642" fmla="*/ 5254809 w 8079933"/>
              <a:gd name="connsiteY23642" fmla="*/ 715344 h 4687251"/>
              <a:gd name="connsiteX23643" fmla="*/ 5250903 w 8079933"/>
              <a:gd name="connsiteY23643" fmla="*/ 714910 h 4687251"/>
              <a:gd name="connsiteX23644" fmla="*/ 5249058 w 8079933"/>
              <a:gd name="connsiteY23644" fmla="*/ 711554 h 4687251"/>
              <a:gd name="connsiteX23645" fmla="*/ 5250468 w 8079933"/>
              <a:gd name="connsiteY23645" fmla="*/ 703434 h 4687251"/>
              <a:gd name="connsiteX23646" fmla="*/ 2945250 w 8079933"/>
              <a:gd name="connsiteY23646" fmla="*/ 701376 h 4687251"/>
              <a:gd name="connsiteX23647" fmla="*/ 2949590 w 8079933"/>
              <a:gd name="connsiteY23647" fmla="*/ 704191 h 4687251"/>
              <a:gd name="connsiteX23648" fmla="*/ 2951001 w 8079933"/>
              <a:gd name="connsiteY23648" fmla="*/ 707007 h 4687251"/>
              <a:gd name="connsiteX23649" fmla="*/ 2948289 w 8079933"/>
              <a:gd name="connsiteY23649" fmla="*/ 708523 h 4687251"/>
              <a:gd name="connsiteX23650" fmla="*/ 2946444 w 8079933"/>
              <a:gd name="connsiteY23650" fmla="*/ 705815 h 4687251"/>
              <a:gd name="connsiteX23651" fmla="*/ 2942971 w 8079933"/>
              <a:gd name="connsiteY23651" fmla="*/ 705815 h 4687251"/>
              <a:gd name="connsiteX23652" fmla="*/ 2941669 w 8079933"/>
              <a:gd name="connsiteY23652" fmla="*/ 703433 h 4687251"/>
              <a:gd name="connsiteX23653" fmla="*/ 2942646 w 8079933"/>
              <a:gd name="connsiteY23653" fmla="*/ 701917 h 4687251"/>
              <a:gd name="connsiteX23654" fmla="*/ 5181994 w 8079933"/>
              <a:gd name="connsiteY23654" fmla="*/ 688600 h 4687251"/>
              <a:gd name="connsiteX23655" fmla="*/ 5184707 w 8079933"/>
              <a:gd name="connsiteY23655" fmla="*/ 690332 h 4687251"/>
              <a:gd name="connsiteX23656" fmla="*/ 5188831 w 8079933"/>
              <a:gd name="connsiteY23656" fmla="*/ 695421 h 4687251"/>
              <a:gd name="connsiteX23657" fmla="*/ 5189699 w 8079933"/>
              <a:gd name="connsiteY23657" fmla="*/ 699210 h 4687251"/>
              <a:gd name="connsiteX23658" fmla="*/ 5196101 w 8079933"/>
              <a:gd name="connsiteY23658" fmla="*/ 702459 h 4687251"/>
              <a:gd name="connsiteX23659" fmla="*/ 5198489 w 8079933"/>
              <a:gd name="connsiteY23659" fmla="*/ 707439 h 4687251"/>
              <a:gd name="connsiteX23660" fmla="*/ 5197837 w 8079933"/>
              <a:gd name="connsiteY23660" fmla="*/ 709930 h 4687251"/>
              <a:gd name="connsiteX23661" fmla="*/ 5193063 w 8079933"/>
              <a:gd name="connsiteY23661" fmla="*/ 711553 h 4687251"/>
              <a:gd name="connsiteX23662" fmla="*/ 5188614 w 8079933"/>
              <a:gd name="connsiteY23662" fmla="*/ 715451 h 4687251"/>
              <a:gd name="connsiteX23663" fmla="*/ 5186878 w 8079933"/>
              <a:gd name="connsiteY23663" fmla="*/ 719349 h 4687251"/>
              <a:gd name="connsiteX23664" fmla="*/ 5183297 w 8079933"/>
              <a:gd name="connsiteY23664" fmla="*/ 720216 h 4687251"/>
              <a:gd name="connsiteX23665" fmla="*/ 5181452 w 8079933"/>
              <a:gd name="connsiteY23665" fmla="*/ 719241 h 4687251"/>
              <a:gd name="connsiteX23666" fmla="*/ 5178847 w 8079933"/>
              <a:gd name="connsiteY23666" fmla="*/ 720432 h 4687251"/>
              <a:gd name="connsiteX23667" fmla="*/ 5176894 w 8079933"/>
              <a:gd name="connsiteY23667" fmla="*/ 715992 h 4687251"/>
              <a:gd name="connsiteX23668" fmla="*/ 5174072 w 8079933"/>
              <a:gd name="connsiteY23668" fmla="*/ 716210 h 4687251"/>
              <a:gd name="connsiteX23669" fmla="*/ 5173747 w 8079933"/>
              <a:gd name="connsiteY23669" fmla="*/ 719024 h 4687251"/>
              <a:gd name="connsiteX23670" fmla="*/ 5174941 w 8079933"/>
              <a:gd name="connsiteY23670" fmla="*/ 721731 h 4687251"/>
              <a:gd name="connsiteX23671" fmla="*/ 5173096 w 8079933"/>
              <a:gd name="connsiteY23671" fmla="*/ 721406 h 4687251"/>
              <a:gd name="connsiteX23672" fmla="*/ 5168972 w 8079933"/>
              <a:gd name="connsiteY23672" fmla="*/ 717833 h 4687251"/>
              <a:gd name="connsiteX23673" fmla="*/ 5169623 w 8079933"/>
              <a:gd name="connsiteY23673" fmla="*/ 711229 h 4687251"/>
              <a:gd name="connsiteX23674" fmla="*/ 5168972 w 8079933"/>
              <a:gd name="connsiteY23674" fmla="*/ 706790 h 4687251"/>
              <a:gd name="connsiteX23675" fmla="*/ 5165825 w 8079933"/>
              <a:gd name="connsiteY23675" fmla="*/ 702242 h 4687251"/>
              <a:gd name="connsiteX23676" fmla="*/ 5165500 w 8079933"/>
              <a:gd name="connsiteY23676" fmla="*/ 698669 h 4687251"/>
              <a:gd name="connsiteX23677" fmla="*/ 5170275 w 8079933"/>
              <a:gd name="connsiteY23677" fmla="*/ 694555 h 4687251"/>
              <a:gd name="connsiteX23678" fmla="*/ 5174181 w 8079933"/>
              <a:gd name="connsiteY23678" fmla="*/ 694230 h 4687251"/>
              <a:gd name="connsiteX23679" fmla="*/ 5178413 w 8079933"/>
              <a:gd name="connsiteY23679" fmla="*/ 690224 h 4687251"/>
              <a:gd name="connsiteX23680" fmla="*/ 5276406 w 8079933"/>
              <a:gd name="connsiteY23680" fmla="*/ 688275 h 4687251"/>
              <a:gd name="connsiteX23681" fmla="*/ 5280855 w 8079933"/>
              <a:gd name="connsiteY23681" fmla="*/ 690224 h 4687251"/>
              <a:gd name="connsiteX23682" fmla="*/ 5287691 w 8079933"/>
              <a:gd name="connsiteY23682" fmla="*/ 691198 h 4687251"/>
              <a:gd name="connsiteX23683" fmla="*/ 5287908 w 8079933"/>
              <a:gd name="connsiteY23683" fmla="*/ 693905 h 4687251"/>
              <a:gd name="connsiteX23684" fmla="*/ 5284653 w 8079933"/>
              <a:gd name="connsiteY23684" fmla="*/ 694663 h 4687251"/>
              <a:gd name="connsiteX23685" fmla="*/ 5278467 w 8079933"/>
              <a:gd name="connsiteY23685" fmla="*/ 693797 h 4687251"/>
              <a:gd name="connsiteX23686" fmla="*/ 5273584 w 8079933"/>
              <a:gd name="connsiteY23686" fmla="*/ 689574 h 4687251"/>
              <a:gd name="connsiteX23687" fmla="*/ 3626625 w 8079933"/>
              <a:gd name="connsiteY23687" fmla="*/ 683187 h 4687251"/>
              <a:gd name="connsiteX23688" fmla="*/ 3629664 w 8079933"/>
              <a:gd name="connsiteY23688" fmla="*/ 684811 h 4687251"/>
              <a:gd name="connsiteX23689" fmla="*/ 3629338 w 8079933"/>
              <a:gd name="connsiteY23689" fmla="*/ 688601 h 4687251"/>
              <a:gd name="connsiteX23690" fmla="*/ 3627167 w 8079933"/>
              <a:gd name="connsiteY23690" fmla="*/ 688601 h 4687251"/>
              <a:gd name="connsiteX23691" fmla="*/ 3624889 w 8079933"/>
              <a:gd name="connsiteY23691" fmla="*/ 690658 h 4687251"/>
              <a:gd name="connsiteX23692" fmla="*/ 3628035 w 8079933"/>
              <a:gd name="connsiteY23692" fmla="*/ 694447 h 4687251"/>
              <a:gd name="connsiteX23693" fmla="*/ 3627602 w 8079933"/>
              <a:gd name="connsiteY23693" fmla="*/ 697478 h 4687251"/>
              <a:gd name="connsiteX23694" fmla="*/ 3630532 w 8079933"/>
              <a:gd name="connsiteY23694" fmla="*/ 702134 h 4687251"/>
              <a:gd name="connsiteX23695" fmla="*/ 3633461 w 8079933"/>
              <a:gd name="connsiteY23695" fmla="*/ 703866 h 4687251"/>
              <a:gd name="connsiteX23696" fmla="*/ 3633461 w 8079933"/>
              <a:gd name="connsiteY23696" fmla="*/ 700943 h 4687251"/>
              <a:gd name="connsiteX23697" fmla="*/ 3634655 w 8079933"/>
              <a:gd name="connsiteY23697" fmla="*/ 697911 h 4687251"/>
              <a:gd name="connsiteX23698" fmla="*/ 3637585 w 8079933"/>
              <a:gd name="connsiteY23698" fmla="*/ 699752 h 4687251"/>
              <a:gd name="connsiteX23699" fmla="*/ 3637585 w 8079933"/>
              <a:gd name="connsiteY23699" fmla="*/ 706573 h 4687251"/>
              <a:gd name="connsiteX23700" fmla="*/ 3635523 w 8079933"/>
              <a:gd name="connsiteY23700" fmla="*/ 707980 h 4687251"/>
              <a:gd name="connsiteX23701" fmla="*/ 3633353 w 8079933"/>
              <a:gd name="connsiteY23701" fmla="*/ 712745 h 4687251"/>
              <a:gd name="connsiteX23702" fmla="*/ 3630098 w 8079933"/>
              <a:gd name="connsiteY23702" fmla="*/ 711229 h 4687251"/>
              <a:gd name="connsiteX23703" fmla="*/ 3629230 w 8079933"/>
              <a:gd name="connsiteY23703" fmla="*/ 707980 h 4687251"/>
              <a:gd name="connsiteX23704" fmla="*/ 3627276 w 8079933"/>
              <a:gd name="connsiteY23704" fmla="*/ 709496 h 4687251"/>
              <a:gd name="connsiteX23705" fmla="*/ 3622284 w 8079933"/>
              <a:gd name="connsiteY23705" fmla="*/ 709496 h 4687251"/>
              <a:gd name="connsiteX23706" fmla="*/ 3617293 w 8079933"/>
              <a:gd name="connsiteY23706" fmla="*/ 710579 h 4687251"/>
              <a:gd name="connsiteX23707" fmla="*/ 3613169 w 8079933"/>
              <a:gd name="connsiteY23707" fmla="*/ 707114 h 4687251"/>
              <a:gd name="connsiteX23708" fmla="*/ 3611650 w 8079933"/>
              <a:gd name="connsiteY23708" fmla="*/ 703000 h 4687251"/>
              <a:gd name="connsiteX23709" fmla="*/ 3613386 w 8079933"/>
              <a:gd name="connsiteY23709" fmla="*/ 697911 h 4687251"/>
              <a:gd name="connsiteX23710" fmla="*/ 3613386 w 8079933"/>
              <a:gd name="connsiteY23710" fmla="*/ 687842 h 4687251"/>
              <a:gd name="connsiteX23711" fmla="*/ 3617076 w 8079933"/>
              <a:gd name="connsiteY23711" fmla="*/ 687301 h 4687251"/>
              <a:gd name="connsiteX23712" fmla="*/ 3618812 w 8079933"/>
              <a:gd name="connsiteY23712" fmla="*/ 686219 h 4687251"/>
              <a:gd name="connsiteX23713" fmla="*/ 3622501 w 8079933"/>
              <a:gd name="connsiteY23713" fmla="*/ 686976 h 4687251"/>
              <a:gd name="connsiteX23714" fmla="*/ 591198 w 8079933"/>
              <a:gd name="connsiteY23714" fmla="*/ 681130 h 4687251"/>
              <a:gd name="connsiteX23715" fmla="*/ 594672 w 8079933"/>
              <a:gd name="connsiteY23715" fmla="*/ 681779 h 4687251"/>
              <a:gd name="connsiteX23716" fmla="*/ 591308 w 8079933"/>
              <a:gd name="connsiteY23716" fmla="*/ 685352 h 4687251"/>
              <a:gd name="connsiteX23717" fmla="*/ 587726 w 8079933"/>
              <a:gd name="connsiteY23717" fmla="*/ 681887 h 4687251"/>
              <a:gd name="connsiteX23718" fmla="*/ 5336957 w 8079933"/>
              <a:gd name="connsiteY23718" fmla="*/ 680155 h 4687251"/>
              <a:gd name="connsiteX23719" fmla="*/ 5339344 w 8079933"/>
              <a:gd name="connsiteY23719" fmla="*/ 685352 h 4687251"/>
              <a:gd name="connsiteX23720" fmla="*/ 5344879 w 8079933"/>
              <a:gd name="connsiteY23720" fmla="*/ 690116 h 4687251"/>
              <a:gd name="connsiteX23721" fmla="*/ 5345856 w 8079933"/>
              <a:gd name="connsiteY23721" fmla="*/ 696612 h 4687251"/>
              <a:gd name="connsiteX23722" fmla="*/ 5349654 w 8079933"/>
              <a:gd name="connsiteY23722" fmla="*/ 703542 h 4687251"/>
              <a:gd name="connsiteX23723" fmla="*/ 5349545 w 8079933"/>
              <a:gd name="connsiteY23723" fmla="*/ 706573 h 4687251"/>
              <a:gd name="connsiteX23724" fmla="*/ 5345530 w 8079933"/>
              <a:gd name="connsiteY23724" fmla="*/ 707981 h 4687251"/>
              <a:gd name="connsiteX23725" fmla="*/ 5341623 w 8079933"/>
              <a:gd name="connsiteY23725" fmla="*/ 706248 h 4687251"/>
              <a:gd name="connsiteX23726" fmla="*/ 5336740 w 8079933"/>
              <a:gd name="connsiteY23726" fmla="*/ 705707 h 4687251"/>
              <a:gd name="connsiteX23727" fmla="*/ 5334895 w 8079933"/>
              <a:gd name="connsiteY23727" fmla="*/ 703324 h 4687251"/>
              <a:gd name="connsiteX23728" fmla="*/ 5329361 w 8079933"/>
              <a:gd name="connsiteY23728" fmla="*/ 702459 h 4687251"/>
              <a:gd name="connsiteX23729" fmla="*/ 5328710 w 8079933"/>
              <a:gd name="connsiteY23729" fmla="*/ 698994 h 4687251"/>
              <a:gd name="connsiteX23730" fmla="*/ 5331640 w 8079933"/>
              <a:gd name="connsiteY23730" fmla="*/ 693255 h 4687251"/>
              <a:gd name="connsiteX23731" fmla="*/ 5332833 w 8079933"/>
              <a:gd name="connsiteY23731" fmla="*/ 685677 h 4687251"/>
              <a:gd name="connsiteX23732" fmla="*/ 2942753 w 8079933"/>
              <a:gd name="connsiteY23732" fmla="*/ 672252 h 4687251"/>
              <a:gd name="connsiteX23733" fmla="*/ 2943296 w 8079933"/>
              <a:gd name="connsiteY23733" fmla="*/ 674202 h 4687251"/>
              <a:gd name="connsiteX23734" fmla="*/ 2941668 w 8079933"/>
              <a:gd name="connsiteY23734" fmla="*/ 674202 h 4687251"/>
              <a:gd name="connsiteX23735" fmla="*/ 2940475 w 8079933"/>
              <a:gd name="connsiteY23735" fmla="*/ 672685 h 4687251"/>
              <a:gd name="connsiteX23736" fmla="*/ 5265335 w 8079933"/>
              <a:gd name="connsiteY23736" fmla="*/ 669762 h 4687251"/>
              <a:gd name="connsiteX23737" fmla="*/ 5266637 w 8079933"/>
              <a:gd name="connsiteY23737" fmla="*/ 671061 h 4687251"/>
              <a:gd name="connsiteX23738" fmla="*/ 5264033 w 8079933"/>
              <a:gd name="connsiteY23738" fmla="*/ 672576 h 4687251"/>
              <a:gd name="connsiteX23739" fmla="*/ 5263273 w 8079933"/>
              <a:gd name="connsiteY23739" fmla="*/ 675067 h 4687251"/>
              <a:gd name="connsiteX23740" fmla="*/ 5264250 w 8079933"/>
              <a:gd name="connsiteY23740" fmla="*/ 677665 h 4687251"/>
              <a:gd name="connsiteX23741" fmla="*/ 5260018 w 8079933"/>
              <a:gd name="connsiteY23741" fmla="*/ 680805 h 4687251"/>
              <a:gd name="connsiteX23742" fmla="*/ 5257197 w 8079933"/>
              <a:gd name="connsiteY23742" fmla="*/ 679398 h 4687251"/>
              <a:gd name="connsiteX23743" fmla="*/ 5252856 w 8079933"/>
              <a:gd name="connsiteY23743" fmla="*/ 683945 h 4687251"/>
              <a:gd name="connsiteX23744" fmla="*/ 5252639 w 8079933"/>
              <a:gd name="connsiteY23744" fmla="*/ 680372 h 4687251"/>
              <a:gd name="connsiteX23745" fmla="*/ 5255243 w 8079933"/>
              <a:gd name="connsiteY23745" fmla="*/ 674959 h 4687251"/>
              <a:gd name="connsiteX23746" fmla="*/ 5261755 w 8079933"/>
              <a:gd name="connsiteY23746" fmla="*/ 670087 h 4687251"/>
              <a:gd name="connsiteX23747" fmla="*/ 2938305 w 8079933"/>
              <a:gd name="connsiteY23747" fmla="*/ 661641 h 4687251"/>
              <a:gd name="connsiteX23748" fmla="*/ 2942754 w 8079933"/>
              <a:gd name="connsiteY23748" fmla="*/ 664456 h 4687251"/>
              <a:gd name="connsiteX23749" fmla="*/ 2944816 w 8079933"/>
              <a:gd name="connsiteY23749" fmla="*/ 663049 h 4687251"/>
              <a:gd name="connsiteX23750" fmla="*/ 2950676 w 8079933"/>
              <a:gd name="connsiteY23750" fmla="*/ 664239 h 4687251"/>
              <a:gd name="connsiteX23751" fmla="*/ 2954040 w 8079933"/>
              <a:gd name="connsiteY23751" fmla="*/ 667704 h 4687251"/>
              <a:gd name="connsiteX23752" fmla="*/ 2952737 w 8079933"/>
              <a:gd name="connsiteY23752" fmla="*/ 670953 h 4687251"/>
              <a:gd name="connsiteX23753" fmla="*/ 2951436 w 8079933"/>
              <a:gd name="connsiteY23753" fmla="*/ 669112 h 4687251"/>
              <a:gd name="connsiteX23754" fmla="*/ 2948180 w 8079933"/>
              <a:gd name="connsiteY23754" fmla="*/ 667379 h 4687251"/>
              <a:gd name="connsiteX23755" fmla="*/ 2940150 w 8079933"/>
              <a:gd name="connsiteY23755" fmla="*/ 667812 h 4687251"/>
              <a:gd name="connsiteX23756" fmla="*/ 2937762 w 8079933"/>
              <a:gd name="connsiteY23756" fmla="*/ 666513 h 4687251"/>
              <a:gd name="connsiteX23757" fmla="*/ 2934290 w 8079933"/>
              <a:gd name="connsiteY23757" fmla="*/ 665863 h 4687251"/>
              <a:gd name="connsiteX23758" fmla="*/ 2933422 w 8079933"/>
              <a:gd name="connsiteY23758" fmla="*/ 663698 h 4687251"/>
              <a:gd name="connsiteX23759" fmla="*/ 2935484 w 8079933"/>
              <a:gd name="connsiteY23759" fmla="*/ 661857 h 4687251"/>
              <a:gd name="connsiteX23760" fmla="*/ 1362752 w 8079933"/>
              <a:gd name="connsiteY23760" fmla="*/ 653737 h 4687251"/>
              <a:gd name="connsiteX23761" fmla="*/ 1369045 w 8079933"/>
              <a:gd name="connsiteY23761" fmla="*/ 659800 h 4687251"/>
              <a:gd name="connsiteX23762" fmla="*/ 1374146 w 8079933"/>
              <a:gd name="connsiteY23762" fmla="*/ 659800 h 4687251"/>
              <a:gd name="connsiteX23763" fmla="*/ 1374146 w 8079933"/>
              <a:gd name="connsiteY23763" fmla="*/ 667163 h 4687251"/>
              <a:gd name="connsiteX23764" fmla="*/ 1376967 w 8079933"/>
              <a:gd name="connsiteY23764" fmla="*/ 675066 h 4687251"/>
              <a:gd name="connsiteX23765" fmla="*/ 1374363 w 8079933"/>
              <a:gd name="connsiteY23765" fmla="*/ 679181 h 4687251"/>
              <a:gd name="connsiteX23766" fmla="*/ 1367635 w 8079933"/>
              <a:gd name="connsiteY23766" fmla="*/ 670844 h 4687251"/>
              <a:gd name="connsiteX23767" fmla="*/ 1362643 w 8079933"/>
              <a:gd name="connsiteY23767" fmla="*/ 666838 h 4687251"/>
              <a:gd name="connsiteX23768" fmla="*/ 1362643 w 8079933"/>
              <a:gd name="connsiteY23768" fmla="*/ 664131 h 4687251"/>
              <a:gd name="connsiteX23769" fmla="*/ 1368828 w 8079933"/>
              <a:gd name="connsiteY23769" fmla="*/ 664997 h 4687251"/>
              <a:gd name="connsiteX23770" fmla="*/ 1360039 w 8079933"/>
              <a:gd name="connsiteY23770" fmla="*/ 657527 h 4687251"/>
              <a:gd name="connsiteX23771" fmla="*/ 1360039 w 8079933"/>
              <a:gd name="connsiteY23771" fmla="*/ 654278 h 4687251"/>
              <a:gd name="connsiteX23772" fmla="*/ 2935375 w 8079933"/>
              <a:gd name="connsiteY23772" fmla="*/ 644534 h 4687251"/>
              <a:gd name="connsiteX23773" fmla="*/ 2937111 w 8079933"/>
              <a:gd name="connsiteY23773" fmla="*/ 646266 h 4687251"/>
              <a:gd name="connsiteX23774" fmla="*/ 2934832 w 8079933"/>
              <a:gd name="connsiteY23774" fmla="*/ 649189 h 4687251"/>
              <a:gd name="connsiteX23775" fmla="*/ 2933096 w 8079933"/>
              <a:gd name="connsiteY23775" fmla="*/ 648215 h 4687251"/>
              <a:gd name="connsiteX23776" fmla="*/ 2933964 w 8079933"/>
              <a:gd name="connsiteY23776" fmla="*/ 645075 h 4687251"/>
              <a:gd name="connsiteX23777" fmla="*/ 1608650 w 8079933"/>
              <a:gd name="connsiteY23777" fmla="*/ 643235 h 4687251"/>
              <a:gd name="connsiteX23778" fmla="*/ 1613967 w 8079933"/>
              <a:gd name="connsiteY23778" fmla="*/ 643884 h 4687251"/>
              <a:gd name="connsiteX23779" fmla="*/ 1611689 w 8079933"/>
              <a:gd name="connsiteY23779" fmla="*/ 645076 h 4687251"/>
              <a:gd name="connsiteX23780" fmla="*/ 1611797 w 8079933"/>
              <a:gd name="connsiteY23780" fmla="*/ 647241 h 4687251"/>
              <a:gd name="connsiteX23781" fmla="*/ 1609627 w 8079933"/>
              <a:gd name="connsiteY23781" fmla="*/ 648325 h 4687251"/>
              <a:gd name="connsiteX23782" fmla="*/ 1606697 w 8079933"/>
              <a:gd name="connsiteY23782" fmla="*/ 645833 h 4687251"/>
              <a:gd name="connsiteX23783" fmla="*/ 1367417 w 8079933"/>
              <a:gd name="connsiteY23783" fmla="*/ 637713 h 4687251"/>
              <a:gd name="connsiteX23784" fmla="*/ 1367417 w 8079933"/>
              <a:gd name="connsiteY23784" fmla="*/ 647349 h 4687251"/>
              <a:gd name="connsiteX23785" fmla="*/ 1365898 w 8079933"/>
              <a:gd name="connsiteY23785" fmla="*/ 651680 h 4687251"/>
              <a:gd name="connsiteX23786" fmla="*/ 1361449 w 8079933"/>
              <a:gd name="connsiteY23786" fmla="*/ 649514 h 4687251"/>
              <a:gd name="connsiteX23787" fmla="*/ 1359713 w 8079933"/>
              <a:gd name="connsiteY23787" fmla="*/ 647998 h 4687251"/>
              <a:gd name="connsiteX23788" fmla="*/ 1361558 w 8079933"/>
              <a:gd name="connsiteY23788" fmla="*/ 646482 h 4687251"/>
              <a:gd name="connsiteX23789" fmla="*/ 1362426 w 8079933"/>
              <a:gd name="connsiteY23789" fmla="*/ 642152 h 4687251"/>
              <a:gd name="connsiteX23790" fmla="*/ 2518454 w 8079933"/>
              <a:gd name="connsiteY23790" fmla="*/ 636522 h 4687251"/>
              <a:gd name="connsiteX23791" fmla="*/ 2521493 w 8079933"/>
              <a:gd name="connsiteY23791" fmla="*/ 639446 h 4687251"/>
              <a:gd name="connsiteX23792" fmla="*/ 2522578 w 8079933"/>
              <a:gd name="connsiteY23792" fmla="*/ 643343 h 4687251"/>
              <a:gd name="connsiteX23793" fmla="*/ 2531693 w 8079933"/>
              <a:gd name="connsiteY23793" fmla="*/ 646483 h 4687251"/>
              <a:gd name="connsiteX23794" fmla="*/ 2535166 w 8079933"/>
              <a:gd name="connsiteY23794" fmla="*/ 650056 h 4687251"/>
              <a:gd name="connsiteX23795" fmla="*/ 2540483 w 8079933"/>
              <a:gd name="connsiteY23795" fmla="*/ 651463 h 4687251"/>
              <a:gd name="connsiteX23796" fmla="*/ 2542328 w 8079933"/>
              <a:gd name="connsiteY23796" fmla="*/ 649514 h 4687251"/>
              <a:gd name="connsiteX23797" fmla="*/ 2551009 w 8079933"/>
              <a:gd name="connsiteY23797" fmla="*/ 652438 h 4687251"/>
              <a:gd name="connsiteX23798" fmla="*/ 2557846 w 8079933"/>
              <a:gd name="connsiteY23798" fmla="*/ 652329 h 4687251"/>
              <a:gd name="connsiteX23799" fmla="*/ 2560884 w 8079933"/>
              <a:gd name="connsiteY23799" fmla="*/ 654495 h 4687251"/>
              <a:gd name="connsiteX23800" fmla="*/ 2561969 w 8079933"/>
              <a:gd name="connsiteY23800" fmla="*/ 658825 h 4687251"/>
              <a:gd name="connsiteX23801" fmla="*/ 2568697 w 8079933"/>
              <a:gd name="connsiteY23801" fmla="*/ 662940 h 4687251"/>
              <a:gd name="connsiteX23802" fmla="*/ 2570976 w 8079933"/>
              <a:gd name="connsiteY23802" fmla="*/ 667812 h 4687251"/>
              <a:gd name="connsiteX23803" fmla="*/ 2569132 w 8079933"/>
              <a:gd name="connsiteY23803" fmla="*/ 672901 h 4687251"/>
              <a:gd name="connsiteX23804" fmla="*/ 2569457 w 8079933"/>
              <a:gd name="connsiteY23804" fmla="*/ 675824 h 4687251"/>
              <a:gd name="connsiteX23805" fmla="*/ 2573364 w 8079933"/>
              <a:gd name="connsiteY23805" fmla="*/ 678747 h 4687251"/>
              <a:gd name="connsiteX23806" fmla="*/ 2572387 w 8079933"/>
              <a:gd name="connsiteY23806" fmla="*/ 681346 h 4687251"/>
              <a:gd name="connsiteX23807" fmla="*/ 2573364 w 8079933"/>
              <a:gd name="connsiteY23807" fmla="*/ 685460 h 4687251"/>
              <a:gd name="connsiteX23808" fmla="*/ 2573038 w 8079933"/>
              <a:gd name="connsiteY23808" fmla="*/ 688383 h 4687251"/>
              <a:gd name="connsiteX23809" fmla="*/ 2575426 w 8079933"/>
              <a:gd name="connsiteY23809" fmla="*/ 693688 h 4687251"/>
              <a:gd name="connsiteX23810" fmla="*/ 2574558 w 8079933"/>
              <a:gd name="connsiteY23810" fmla="*/ 697153 h 4687251"/>
              <a:gd name="connsiteX23811" fmla="*/ 2572387 w 8079933"/>
              <a:gd name="connsiteY23811" fmla="*/ 700401 h 4687251"/>
              <a:gd name="connsiteX23812" fmla="*/ 2578247 w 8079933"/>
              <a:gd name="connsiteY23812" fmla="*/ 702133 h 4687251"/>
              <a:gd name="connsiteX23813" fmla="*/ 2578247 w 8079933"/>
              <a:gd name="connsiteY23813" fmla="*/ 704515 h 4687251"/>
              <a:gd name="connsiteX23814" fmla="*/ 2575317 w 8079933"/>
              <a:gd name="connsiteY23814" fmla="*/ 706789 h 4687251"/>
              <a:gd name="connsiteX23815" fmla="*/ 2573798 w 8079933"/>
              <a:gd name="connsiteY23815" fmla="*/ 709388 h 4687251"/>
              <a:gd name="connsiteX23816" fmla="*/ 2564791 w 8079933"/>
              <a:gd name="connsiteY23816" fmla="*/ 707439 h 4687251"/>
              <a:gd name="connsiteX23817" fmla="*/ 2563380 w 8079933"/>
              <a:gd name="connsiteY23817" fmla="*/ 705706 h 4687251"/>
              <a:gd name="connsiteX23818" fmla="*/ 2554590 w 8079933"/>
              <a:gd name="connsiteY23818" fmla="*/ 703649 h 4687251"/>
              <a:gd name="connsiteX23819" fmla="*/ 2551877 w 8079933"/>
              <a:gd name="connsiteY23819" fmla="*/ 701267 h 4687251"/>
              <a:gd name="connsiteX23820" fmla="*/ 2545692 w 8079933"/>
              <a:gd name="connsiteY23820" fmla="*/ 700076 h 4687251"/>
              <a:gd name="connsiteX23821" fmla="*/ 2543304 w 8079933"/>
              <a:gd name="connsiteY23821" fmla="*/ 700076 h 4687251"/>
              <a:gd name="connsiteX23822" fmla="*/ 2539506 w 8079933"/>
              <a:gd name="connsiteY23822" fmla="*/ 697694 h 4687251"/>
              <a:gd name="connsiteX23823" fmla="*/ 2532778 w 8079933"/>
              <a:gd name="connsiteY23823" fmla="*/ 699751 h 4687251"/>
              <a:gd name="connsiteX23824" fmla="*/ 2528546 w 8079933"/>
              <a:gd name="connsiteY23824" fmla="*/ 700076 h 4687251"/>
              <a:gd name="connsiteX23825" fmla="*/ 2523988 w 8079933"/>
              <a:gd name="connsiteY23825" fmla="*/ 704407 h 4687251"/>
              <a:gd name="connsiteX23826" fmla="*/ 2521384 w 8079933"/>
              <a:gd name="connsiteY23826" fmla="*/ 704949 h 4687251"/>
              <a:gd name="connsiteX23827" fmla="*/ 2514981 w 8079933"/>
              <a:gd name="connsiteY23827" fmla="*/ 701592 h 4687251"/>
              <a:gd name="connsiteX23828" fmla="*/ 2509989 w 8079933"/>
              <a:gd name="connsiteY23828" fmla="*/ 700293 h 4687251"/>
              <a:gd name="connsiteX23829" fmla="*/ 2507927 w 8079933"/>
              <a:gd name="connsiteY23829" fmla="*/ 694555 h 4687251"/>
              <a:gd name="connsiteX23830" fmla="*/ 2504998 w 8079933"/>
              <a:gd name="connsiteY23830" fmla="*/ 693039 h 4687251"/>
              <a:gd name="connsiteX23831" fmla="*/ 2502936 w 8079933"/>
              <a:gd name="connsiteY23831" fmla="*/ 688600 h 4687251"/>
              <a:gd name="connsiteX23832" fmla="*/ 2504455 w 8079933"/>
              <a:gd name="connsiteY23832" fmla="*/ 682537 h 4687251"/>
              <a:gd name="connsiteX23833" fmla="*/ 2509339 w 8079933"/>
              <a:gd name="connsiteY23833" fmla="*/ 679613 h 4687251"/>
              <a:gd name="connsiteX23834" fmla="*/ 2508796 w 8079933"/>
              <a:gd name="connsiteY23834" fmla="*/ 676040 h 4687251"/>
              <a:gd name="connsiteX23835" fmla="*/ 2511400 w 8079933"/>
              <a:gd name="connsiteY23835" fmla="*/ 672792 h 4687251"/>
              <a:gd name="connsiteX23836" fmla="*/ 2510532 w 8079933"/>
              <a:gd name="connsiteY23836" fmla="*/ 669003 h 4687251"/>
              <a:gd name="connsiteX23837" fmla="*/ 2506409 w 8079933"/>
              <a:gd name="connsiteY23837" fmla="*/ 668245 h 4687251"/>
              <a:gd name="connsiteX23838" fmla="*/ 2501851 w 8079933"/>
              <a:gd name="connsiteY23838" fmla="*/ 664672 h 4687251"/>
              <a:gd name="connsiteX23839" fmla="*/ 2506409 w 8079933"/>
              <a:gd name="connsiteY23839" fmla="*/ 654819 h 4687251"/>
              <a:gd name="connsiteX23840" fmla="*/ 2509447 w 8079933"/>
              <a:gd name="connsiteY23840" fmla="*/ 655361 h 4687251"/>
              <a:gd name="connsiteX23841" fmla="*/ 2510857 w 8079933"/>
              <a:gd name="connsiteY23841" fmla="*/ 652329 h 4687251"/>
              <a:gd name="connsiteX23842" fmla="*/ 2509989 w 8079933"/>
              <a:gd name="connsiteY23842" fmla="*/ 647782 h 4687251"/>
              <a:gd name="connsiteX23843" fmla="*/ 2512702 w 8079933"/>
              <a:gd name="connsiteY23843" fmla="*/ 644426 h 4687251"/>
              <a:gd name="connsiteX23844" fmla="*/ 2514330 w 8079933"/>
              <a:gd name="connsiteY23844" fmla="*/ 638039 h 4687251"/>
              <a:gd name="connsiteX23845" fmla="*/ 1378160 w 8079933"/>
              <a:gd name="connsiteY23845" fmla="*/ 630567 h 4687251"/>
              <a:gd name="connsiteX23846" fmla="*/ 1380222 w 8079933"/>
              <a:gd name="connsiteY23846" fmla="*/ 635764 h 4687251"/>
              <a:gd name="connsiteX23847" fmla="*/ 1379571 w 8079933"/>
              <a:gd name="connsiteY23847" fmla="*/ 647240 h 4687251"/>
              <a:gd name="connsiteX23848" fmla="*/ 1377075 w 8079933"/>
              <a:gd name="connsiteY23848" fmla="*/ 650813 h 4687251"/>
              <a:gd name="connsiteX23849" fmla="*/ 1379137 w 8079933"/>
              <a:gd name="connsiteY23849" fmla="*/ 654603 h 4687251"/>
              <a:gd name="connsiteX23850" fmla="*/ 1372844 w 8079933"/>
              <a:gd name="connsiteY23850" fmla="*/ 657959 h 4687251"/>
              <a:gd name="connsiteX23851" fmla="*/ 1366984 w 8079933"/>
              <a:gd name="connsiteY23851" fmla="*/ 654928 h 4687251"/>
              <a:gd name="connsiteX23852" fmla="*/ 1370022 w 8079933"/>
              <a:gd name="connsiteY23852" fmla="*/ 653303 h 4687251"/>
              <a:gd name="connsiteX23853" fmla="*/ 1371650 w 8079933"/>
              <a:gd name="connsiteY23853" fmla="*/ 650164 h 4687251"/>
              <a:gd name="connsiteX23854" fmla="*/ 1369371 w 8079933"/>
              <a:gd name="connsiteY23854" fmla="*/ 645075 h 4687251"/>
              <a:gd name="connsiteX23855" fmla="*/ 1369697 w 8079933"/>
              <a:gd name="connsiteY23855" fmla="*/ 636089 h 4687251"/>
              <a:gd name="connsiteX23856" fmla="*/ 1372409 w 8079933"/>
              <a:gd name="connsiteY23856" fmla="*/ 633165 h 4687251"/>
              <a:gd name="connsiteX23857" fmla="*/ 1374905 w 8079933"/>
              <a:gd name="connsiteY23857" fmla="*/ 634898 h 4687251"/>
              <a:gd name="connsiteX23858" fmla="*/ 1375557 w 8079933"/>
              <a:gd name="connsiteY23858" fmla="*/ 631759 h 4687251"/>
              <a:gd name="connsiteX23859" fmla="*/ 2211677 w 8079933"/>
              <a:gd name="connsiteY23859" fmla="*/ 622123 h 4687251"/>
              <a:gd name="connsiteX23860" fmla="*/ 2209507 w 8079933"/>
              <a:gd name="connsiteY23860" fmla="*/ 627969 h 4687251"/>
              <a:gd name="connsiteX23861" fmla="*/ 2207337 w 8079933"/>
              <a:gd name="connsiteY23861" fmla="*/ 629701 h 4687251"/>
              <a:gd name="connsiteX23862" fmla="*/ 2204407 w 8079933"/>
              <a:gd name="connsiteY23862" fmla="*/ 628401 h 4687251"/>
              <a:gd name="connsiteX23863" fmla="*/ 2204732 w 8079933"/>
              <a:gd name="connsiteY23863" fmla="*/ 625262 h 4687251"/>
              <a:gd name="connsiteX23864" fmla="*/ 2208205 w 8079933"/>
              <a:gd name="connsiteY23864" fmla="*/ 622339 h 4687251"/>
              <a:gd name="connsiteX23865" fmla="*/ 3585281 w 8079933"/>
              <a:gd name="connsiteY23865" fmla="*/ 622015 h 4687251"/>
              <a:gd name="connsiteX23866" fmla="*/ 3589296 w 8079933"/>
              <a:gd name="connsiteY23866" fmla="*/ 622772 h 4687251"/>
              <a:gd name="connsiteX23867" fmla="*/ 3591466 w 8079933"/>
              <a:gd name="connsiteY23867" fmla="*/ 625479 h 4687251"/>
              <a:gd name="connsiteX23868" fmla="*/ 3588862 w 8079933"/>
              <a:gd name="connsiteY23868" fmla="*/ 628294 h 4687251"/>
              <a:gd name="connsiteX23869" fmla="*/ 3584087 w 8079933"/>
              <a:gd name="connsiteY23869" fmla="*/ 628403 h 4687251"/>
              <a:gd name="connsiteX23870" fmla="*/ 3582351 w 8079933"/>
              <a:gd name="connsiteY23870" fmla="*/ 627103 h 4687251"/>
              <a:gd name="connsiteX23871" fmla="*/ 3583653 w 8079933"/>
              <a:gd name="connsiteY23871" fmla="*/ 623639 h 4687251"/>
              <a:gd name="connsiteX23872" fmla="*/ 1393027 w 8079933"/>
              <a:gd name="connsiteY23872" fmla="*/ 619091 h 4687251"/>
              <a:gd name="connsiteX23873" fmla="*/ 1394329 w 8079933"/>
              <a:gd name="connsiteY23873" fmla="*/ 621473 h 4687251"/>
              <a:gd name="connsiteX23874" fmla="*/ 1391725 w 8079933"/>
              <a:gd name="connsiteY23874" fmla="*/ 622556 h 4687251"/>
              <a:gd name="connsiteX23875" fmla="*/ 1390640 w 8079933"/>
              <a:gd name="connsiteY23875" fmla="*/ 620282 h 4687251"/>
              <a:gd name="connsiteX23876" fmla="*/ 1413321 w 8079933"/>
              <a:gd name="connsiteY23876" fmla="*/ 618225 h 4687251"/>
              <a:gd name="connsiteX23877" fmla="*/ 1414298 w 8079933"/>
              <a:gd name="connsiteY23877" fmla="*/ 626453 h 4687251"/>
              <a:gd name="connsiteX23878" fmla="*/ 1416902 w 8079933"/>
              <a:gd name="connsiteY23878" fmla="*/ 628510 h 4687251"/>
              <a:gd name="connsiteX23879" fmla="*/ 1419832 w 8079933"/>
              <a:gd name="connsiteY23879" fmla="*/ 626995 h 4687251"/>
              <a:gd name="connsiteX23880" fmla="*/ 1416793 w 8079933"/>
              <a:gd name="connsiteY23880" fmla="*/ 632841 h 4687251"/>
              <a:gd name="connsiteX23881" fmla="*/ 1409632 w 8079933"/>
              <a:gd name="connsiteY23881" fmla="*/ 636631 h 4687251"/>
              <a:gd name="connsiteX23882" fmla="*/ 1393680 w 8079933"/>
              <a:gd name="connsiteY23882" fmla="*/ 649839 h 4687251"/>
              <a:gd name="connsiteX23883" fmla="*/ 1389556 w 8079933"/>
              <a:gd name="connsiteY23883" fmla="*/ 650164 h 4687251"/>
              <a:gd name="connsiteX23884" fmla="*/ 1386300 w 8079933"/>
              <a:gd name="connsiteY23884" fmla="*/ 652979 h 4687251"/>
              <a:gd name="connsiteX23885" fmla="*/ 1381634 w 8079933"/>
              <a:gd name="connsiteY23885" fmla="*/ 652762 h 4687251"/>
              <a:gd name="connsiteX23886" fmla="*/ 1380766 w 8079933"/>
              <a:gd name="connsiteY23886" fmla="*/ 648432 h 4687251"/>
              <a:gd name="connsiteX23887" fmla="*/ 1383479 w 8079933"/>
              <a:gd name="connsiteY23887" fmla="*/ 644534 h 4687251"/>
              <a:gd name="connsiteX23888" fmla="*/ 1383153 w 8079933"/>
              <a:gd name="connsiteY23888" fmla="*/ 637064 h 4687251"/>
              <a:gd name="connsiteX23889" fmla="*/ 1385757 w 8079933"/>
              <a:gd name="connsiteY23889" fmla="*/ 634032 h 4687251"/>
              <a:gd name="connsiteX23890" fmla="*/ 1387928 w 8079933"/>
              <a:gd name="connsiteY23890" fmla="*/ 628835 h 4687251"/>
              <a:gd name="connsiteX23891" fmla="*/ 1389664 w 8079933"/>
              <a:gd name="connsiteY23891" fmla="*/ 629918 h 4687251"/>
              <a:gd name="connsiteX23892" fmla="*/ 1392594 w 8079933"/>
              <a:gd name="connsiteY23892" fmla="*/ 626237 h 4687251"/>
              <a:gd name="connsiteX23893" fmla="*/ 1395524 w 8079933"/>
              <a:gd name="connsiteY23893" fmla="*/ 629052 h 4687251"/>
              <a:gd name="connsiteX23894" fmla="*/ 1393680 w 8079933"/>
              <a:gd name="connsiteY23894" fmla="*/ 631434 h 4687251"/>
              <a:gd name="connsiteX23895" fmla="*/ 1395850 w 8079933"/>
              <a:gd name="connsiteY23895" fmla="*/ 635548 h 4687251"/>
              <a:gd name="connsiteX23896" fmla="*/ 1397586 w 8079933"/>
              <a:gd name="connsiteY23896" fmla="*/ 631434 h 4687251"/>
              <a:gd name="connsiteX23897" fmla="*/ 1399323 w 8079933"/>
              <a:gd name="connsiteY23897" fmla="*/ 629918 h 4687251"/>
              <a:gd name="connsiteX23898" fmla="*/ 1403121 w 8079933"/>
              <a:gd name="connsiteY23898" fmla="*/ 630243 h 4687251"/>
              <a:gd name="connsiteX23899" fmla="*/ 1402252 w 8079933"/>
              <a:gd name="connsiteY23899" fmla="*/ 626453 h 4687251"/>
              <a:gd name="connsiteX23900" fmla="*/ 1406919 w 8079933"/>
              <a:gd name="connsiteY23900" fmla="*/ 624613 h 4687251"/>
              <a:gd name="connsiteX23901" fmla="*/ 1409848 w 8079933"/>
              <a:gd name="connsiteY23901" fmla="*/ 618766 h 4687251"/>
              <a:gd name="connsiteX23902" fmla="*/ 5398811 w 8079933"/>
              <a:gd name="connsiteY23902" fmla="*/ 617793 h 4687251"/>
              <a:gd name="connsiteX23903" fmla="*/ 5403585 w 8079933"/>
              <a:gd name="connsiteY23903" fmla="*/ 620282 h 4687251"/>
              <a:gd name="connsiteX23904" fmla="*/ 5401415 w 8079933"/>
              <a:gd name="connsiteY23904" fmla="*/ 621798 h 4687251"/>
              <a:gd name="connsiteX23905" fmla="*/ 5394687 w 8079933"/>
              <a:gd name="connsiteY23905" fmla="*/ 621474 h 4687251"/>
              <a:gd name="connsiteX23906" fmla="*/ 5392951 w 8079933"/>
              <a:gd name="connsiteY23906" fmla="*/ 620066 h 4687251"/>
              <a:gd name="connsiteX23907" fmla="*/ 5367666 w 8079933"/>
              <a:gd name="connsiteY23907" fmla="*/ 614869 h 4687251"/>
              <a:gd name="connsiteX23908" fmla="*/ 5369620 w 8079933"/>
              <a:gd name="connsiteY23908" fmla="*/ 617035 h 4687251"/>
              <a:gd name="connsiteX23909" fmla="*/ 5365930 w 8079933"/>
              <a:gd name="connsiteY23909" fmla="*/ 622448 h 4687251"/>
              <a:gd name="connsiteX23910" fmla="*/ 5362349 w 8079933"/>
              <a:gd name="connsiteY23910" fmla="*/ 621798 h 4687251"/>
              <a:gd name="connsiteX23911" fmla="*/ 5360613 w 8079933"/>
              <a:gd name="connsiteY23911" fmla="*/ 617900 h 4687251"/>
              <a:gd name="connsiteX23912" fmla="*/ 5363651 w 8079933"/>
              <a:gd name="connsiteY23912" fmla="*/ 615193 h 4687251"/>
              <a:gd name="connsiteX23913" fmla="*/ 3581050 w 8079933"/>
              <a:gd name="connsiteY23913" fmla="*/ 614544 h 4687251"/>
              <a:gd name="connsiteX23914" fmla="*/ 3582786 w 8079933"/>
              <a:gd name="connsiteY23914" fmla="*/ 617901 h 4687251"/>
              <a:gd name="connsiteX23915" fmla="*/ 3580073 w 8079933"/>
              <a:gd name="connsiteY23915" fmla="*/ 619199 h 4687251"/>
              <a:gd name="connsiteX23916" fmla="*/ 3577794 w 8079933"/>
              <a:gd name="connsiteY23916" fmla="*/ 615952 h 4687251"/>
              <a:gd name="connsiteX23917" fmla="*/ 3578987 w 8079933"/>
              <a:gd name="connsiteY23917" fmla="*/ 614761 h 4687251"/>
              <a:gd name="connsiteX23918" fmla="*/ 3619464 w 8079933"/>
              <a:gd name="connsiteY23918" fmla="*/ 612162 h 4687251"/>
              <a:gd name="connsiteX23919" fmla="*/ 3621634 w 8079933"/>
              <a:gd name="connsiteY23919" fmla="*/ 614653 h 4687251"/>
              <a:gd name="connsiteX23920" fmla="*/ 3622611 w 8079933"/>
              <a:gd name="connsiteY23920" fmla="*/ 618442 h 4687251"/>
              <a:gd name="connsiteX23921" fmla="*/ 3621091 w 8079933"/>
              <a:gd name="connsiteY23921" fmla="*/ 623423 h 4687251"/>
              <a:gd name="connsiteX23922" fmla="*/ 3621959 w 8079933"/>
              <a:gd name="connsiteY23922" fmla="*/ 632626 h 4687251"/>
              <a:gd name="connsiteX23923" fmla="*/ 3624781 w 8079933"/>
              <a:gd name="connsiteY23923" fmla="*/ 637715 h 4687251"/>
              <a:gd name="connsiteX23924" fmla="*/ 3625432 w 8079933"/>
              <a:gd name="connsiteY23924" fmla="*/ 644535 h 4687251"/>
              <a:gd name="connsiteX23925" fmla="*/ 3623262 w 8079933"/>
              <a:gd name="connsiteY23925" fmla="*/ 646700 h 4687251"/>
              <a:gd name="connsiteX23926" fmla="*/ 3622502 w 8079933"/>
              <a:gd name="connsiteY23926" fmla="*/ 653413 h 4687251"/>
              <a:gd name="connsiteX23927" fmla="*/ 3620658 w 8079933"/>
              <a:gd name="connsiteY23927" fmla="*/ 655904 h 4687251"/>
              <a:gd name="connsiteX23928" fmla="*/ 3618921 w 8079933"/>
              <a:gd name="connsiteY23928" fmla="*/ 653629 h 4687251"/>
              <a:gd name="connsiteX23929" fmla="*/ 3619030 w 8079933"/>
              <a:gd name="connsiteY23929" fmla="*/ 648324 h 4687251"/>
              <a:gd name="connsiteX23930" fmla="*/ 3620658 w 8079933"/>
              <a:gd name="connsiteY23930" fmla="*/ 643235 h 4687251"/>
              <a:gd name="connsiteX23931" fmla="*/ 3620332 w 8079933"/>
              <a:gd name="connsiteY23931" fmla="*/ 635766 h 4687251"/>
              <a:gd name="connsiteX23932" fmla="*/ 3617402 w 8079933"/>
              <a:gd name="connsiteY23932" fmla="*/ 630461 h 4687251"/>
              <a:gd name="connsiteX23933" fmla="*/ 3617510 w 8079933"/>
              <a:gd name="connsiteY23933" fmla="*/ 624289 h 4687251"/>
              <a:gd name="connsiteX23934" fmla="*/ 3619572 w 8079933"/>
              <a:gd name="connsiteY23934" fmla="*/ 622015 h 4687251"/>
              <a:gd name="connsiteX23935" fmla="*/ 3619030 w 8079933"/>
              <a:gd name="connsiteY23935" fmla="*/ 619199 h 4687251"/>
              <a:gd name="connsiteX23936" fmla="*/ 3616425 w 8079933"/>
              <a:gd name="connsiteY23936" fmla="*/ 616926 h 4687251"/>
              <a:gd name="connsiteX23937" fmla="*/ 3615883 w 8079933"/>
              <a:gd name="connsiteY23937" fmla="*/ 615086 h 4687251"/>
              <a:gd name="connsiteX23938" fmla="*/ 5379061 w 8079933"/>
              <a:gd name="connsiteY23938" fmla="*/ 611838 h 4687251"/>
              <a:gd name="connsiteX23939" fmla="*/ 5384271 w 8079933"/>
              <a:gd name="connsiteY23939" fmla="*/ 612596 h 4687251"/>
              <a:gd name="connsiteX23940" fmla="*/ 5383294 w 8079933"/>
              <a:gd name="connsiteY23940" fmla="*/ 615736 h 4687251"/>
              <a:gd name="connsiteX23941" fmla="*/ 5380146 w 8079933"/>
              <a:gd name="connsiteY23941" fmla="*/ 618660 h 4687251"/>
              <a:gd name="connsiteX23942" fmla="*/ 5375046 w 8079933"/>
              <a:gd name="connsiteY23942" fmla="*/ 617037 h 4687251"/>
              <a:gd name="connsiteX23943" fmla="*/ 5373310 w 8079933"/>
              <a:gd name="connsiteY23943" fmla="*/ 614871 h 4687251"/>
              <a:gd name="connsiteX23944" fmla="*/ 5377000 w 8079933"/>
              <a:gd name="connsiteY23944" fmla="*/ 613464 h 4687251"/>
              <a:gd name="connsiteX23945" fmla="*/ 1395415 w 8079933"/>
              <a:gd name="connsiteY23945" fmla="*/ 611404 h 4687251"/>
              <a:gd name="connsiteX23946" fmla="*/ 1397477 w 8079933"/>
              <a:gd name="connsiteY23946" fmla="*/ 612054 h 4687251"/>
              <a:gd name="connsiteX23947" fmla="*/ 1394981 w 8079933"/>
              <a:gd name="connsiteY23947" fmla="*/ 615843 h 4687251"/>
              <a:gd name="connsiteX23948" fmla="*/ 1392594 w 8079933"/>
              <a:gd name="connsiteY23948" fmla="*/ 614435 h 4687251"/>
              <a:gd name="connsiteX23949" fmla="*/ 2405597 w 8079933"/>
              <a:gd name="connsiteY23949" fmla="*/ 611079 h 4687251"/>
              <a:gd name="connsiteX23950" fmla="*/ 2411782 w 8079933"/>
              <a:gd name="connsiteY23950" fmla="*/ 612271 h 4687251"/>
              <a:gd name="connsiteX23951" fmla="*/ 2415364 w 8079933"/>
              <a:gd name="connsiteY23951" fmla="*/ 611079 h 4687251"/>
              <a:gd name="connsiteX23952" fmla="*/ 2417968 w 8079933"/>
              <a:gd name="connsiteY23952" fmla="*/ 612053 h 4687251"/>
              <a:gd name="connsiteX23953" fmla="*/ 2425564 w 8079933"/>
              <a:gd name="connsiteY23953" fmla="*/ 612271 h 4687251"/>
              <a:gd name="connsiteX23954" fmla="*/ 2430556 w 8079933"/>
              <a:gd name="connsiteY23954" fmla="*/ 615735 h 4687251"/>
              <a:gd name="connsiteX23955" fmla="*/ 2440540 w 8079933"/>
              <a:gd name="connsiteY23955" fmla="*/ 620499 h 4687251"/>
              <a:gd name="connsiteX23956" fmla="*/ 2441299 w 8079933"/>
              <a:gd name="connsiteY23956" fmla="*/ 623422 h 4687251"/>
              <a:gd name="connsiteX23957" fmla="*/ 2439997 w 8079933"/>
              <a:gd name="connsiteY23957" fmla="*/ 627212 h 4687251"/>
              <a:gd name="connsiteX23958" fmla="*/ 2434029 w 8079933"/>
              <a:gd name="connsiteY23958" fmla="*/ 629810 h 4687251"/>
              <a:gd name="connsiteX23959" fmla="*/ 2426215 w 8079933"/>
              <a:gd name="connsiteY23959" fmla="*/ 632842 h 4687251"/>
              <a:gd name="connsiteX23960" fmla="*/ 2421658 w 8079933"/>
              <a:gd name="connsiteY23960" fmla="*/ 632734 h 4687251"/>
              <a:gd name="connsiteX23961" fmla="*/ 2419378 w 8079933"/>
              <a:gd name="connsiteY23961" fmla="*/ 636307 h 4687251"/>
              <a:gd name="connsiteX23962" fmla="*/ 2415364 w 8079933"/>
              <a:gd name="connsiteY23962" fmla="*/ 641287 h 4687251"/>
              <a:gd name="connsiteX23963" fmla="*/ 2410263 w 8079933"/>
              <a:gd name="connsiteY23963" fmla="*/ 642694 h 4687251"/>
              <a:gd name="connsiteX23964" fmla="*/ 2401473 w 8079933"/>
              <a:gd name="connsiteY23964" fmla="*/ 651139 h 4687251"/>
              <a:gd name="connsiteX23965" fmla="*/ 2393009 w 8079933"/>
              <a:gd name="connsiteY23965" fmla="*/ 661533 h 4687251"/>
              <a:gd name="connsiteX23966" fmla="*/ 2385956 w 8079933"/>
              <a:gd name="connsiteY23966" fmla="*/ 666189 h 4687251"/>
              <a:gd name="connsiteX23967" fmla="*/ 2383243 w 8079933"/>
              <a:gd name="connsiteY23967" fmla="*/ 667596 h 4687251"/>
              <a:gd name="connsiteX23968" fmla="*/ 2378685 w 8079933"/>
              <a:gd name="connsiteY23968" fmla="*/ 676691 h 4687251"/>
              <a:gd name="connsiteX23969" fmla="*/ 2378034 w 8079933"/>
              <a:gd name="connsiteY23969" fmla="*/ 682213 h 4687251"/>
              <a:gd name="connsiteX23970" fmla="*/ 2379878 w 8079933"/>
              <a:gd name="connsiteY23970" fmla="*/ 686868 h 4687251"/>
              <a:gd name="connsiteX23971" fmla="*/ 2382483 w 8079933"/>
              <a:gd name="connsiteY23971" fmla="*/ 690117 h 4687251"/>
              <a:gd name="connsiteX23972" fmla="*/ 2382483 w 8079933"/>
              <a:gd name="connsiteY23972" fmla="*/ 694231 h 4687251"/>
              <a:gd name="connsiteX23973" fmla="*/ 2378577 w 8079933"/>
              <a:gd name="connsiteY23973" fmla="*/ 696288 h 4687251"/>
              <a:gd name="connsiteX23974" fmla="*/ 2375104 w 8079933"/>
              <a:gd name="connsiteY23974" fmla="*/ 700943 h 4687251"/>
              <a:gd name="connsiteX23975" fmla="*/ 2370763 w 8079933"/>
              <a:gd name="connsiteY23975" fmla="*/ 705708 h 4687251"/>
              <a:gd name="connsiteX23976" fmla="*/ 2370438 w 8079933"/>
              <a:gd name="connsiteY23976" fmla="*/ 710580 h 4687251"/>
              <a:gd name="connsiteX23977" fmla="*/ 2367508 w 8079933"/>
              <a:gd name="connsiteY23977" fmla="*/ 716643 h 4687251"/>
              <a:gd name="connsiteX23978" fmla="*/ 2365120 w 8079933"/>
              <a:gd name="connsiteY23978" fmla="*/ 718267 h 4687251"/>
              <a:gd name="connsiteX23979" fmla="*/ 2364795 w 8079933"/>
              <a:gd name="connsiteY23979" fmla="*/ 721948 h 4687251"/>
              <a:gd name="connsiteX23980" fmla="*/ 2366965 w 8079933"/>
              <a:gd name="connsiteY23980" fmla="*/ 726063 h 4687251"/>
              <a:gd name="connsiteX23981" fmla="*/ 2368050 w 8079933"/>
              <a:gd name="connsiteY23981" fmla="*/ 732883 h 4687251"/>
              <a:gd name="connsiteX23982" fmla="*/ 2369786 w 8079933"/>
              <a:gd name="connsiteY23982" fmla="*/ 736023 h 4687251"/>
              <a:gd name="connsiteX23983" fmla="*/ 2369786 w 8079933"/>
              <a:gd name="connsiteY23983" fmla="*/ 742195 h 4687251"/>
              <a:gd name="connsiteX23984" fmla="*/ 2373910 w 8079933"/>
              <a:gd name="connsiteY23984" fmla="*/ 747716 h 4687251"/>
              <a:gd name="connsiteX23985" fmla="*/ 2374778 w 8079933"/>
              <a:gd name="connsiteY23985" fmla="*/ 750098 h 4687251"/>
              <a:gd name="connsiteX23986" fmla="*/ 2379227 w 8079933"/>
              <a:gd name="connsiteY23986" fmla="*/ 752697 h 4687251"/>
              <a:gd name="connsiteX23987" fmla="*/ 2379227 w 8079933"/>
              <a:gd name="connsiteY23987" fmla="*/ 757461 h 4687251"/>
              <a:gd name="connsiteX23988" fmla="*/ 2377274 w 8079933"/>
              <a:gd name="connsiteY23988" fmla="*/ 761791 h 4687251"/>
              <a:gd name="connsiteX23989" fmla="*/ 2375755 w 8079933"/>
              <a:gd name="connsiteY23989" fmla="*/ 757894 h 4687251"/>
              <a:gd name="connsiteX23990" fmla="*/ 2373367 w 8079933"/>
              <a:gd name="connsiteY23990" fmla="*/ 757894 h 4687251"/>
              <a:gd name="connsiteX23991" fmla="*/ 2373042 w 8079933"/>
              <a:gd name="connsiteY23991" fmla="*/ 760059 h 4687251"/>
              <a:gd name="connsiteX23992" fmla="*/ 2370112 w 8079933"/>
              <a:gd name="connsiteY23992" fmla="*/ 760384 h 4687251"/>
              <a:gd name="connsiteX23993" fmla="*/ 2366965 w 8079933"/>
              <a:gd name="connsiteY23993" fmla="*/ 761575 h 4687251"/>
              <a:gd name="connsiteX23994" fmla="*/ 2364686 w 8079933"/>
              <a:gd name="connsiteY23994" fmla="*/ 762549 h 4687251"/>
              <a:gd name="connsiteX23995" fmla="*/ 2366423 w 8079933"/>
              <a:gd name="connsiteY23995" fmla="*/ 763740 h 4687251"/>
              <a:gd name="connsiteX23996" fmla="*/ 2369461 w 8079933"/>
              <a:gd name="connsiteY23996" fmla="*/ 767313 h 4687251"/>
              <a:gd name="connsiteX23997" fmla="*/ 2372825 w 8079933"/>
              <a:gd name="connsiteY23997" fmla="*/ 766881 h 4687251"/>
              <a:gd name="connsiteX23998" fmla="*/ 2373693 w 8079933"/>
              <a:gd name="connsiteY23998" fmla="*/ 765906 h 4687251"/>
              <a:gd name="connsiteX23999" fmla="*/ 2375321 w 8079933"/>
              <a:gd name="connsiteY23999" fmla="*/ 767638 h 4687251"/>
              <a:gd name="connsiteX24000" fmla="*/ 2371631 w 8079933"/>
              <a:gd name="connsiteY24000" fmla="*/ 771211 h 4687251"/>
              <a:gd name="connsiteX24001" fmla="*/ 2369895 w 8079933"/>
              <a:gd name="connsiteY24001" fmla="*/ 778032 h 4687251"/>
              <a:gd name="connsiteX24002" fmla="*/ 2369786 w 8079933"/>
              <a:gd name="connsiteY24002" fmla="*/ 782471 h 4687251"/>
              <a:gd name="connsiteX24003" fmla="*/ 2368593 w 8079933"/>
              <a:gd name="connsiteY24003" fmla="*/ 785070 h 4687251"/>
              <a:gd name="connsiteX24004" fmla="*/ 2374452 w 8079933"/>
              <a:gd name="connsiteY24004" fmla="*/ 779332 h 4687251"/>
              <a:gd name="connsiteX24005" fmla="*/ 2374452 w 8079933"/>
              <a:gd name="connsiteY24005" fmla="*/ 776191 h 4687251"/>
              <a:gd name="connsiteX24006" fmla="*/ 2379445 w 8079933"/>
              <a:gd name="connsiteY24006" fmla="*/ 767422 h 4687251"/>
              <a:gd name="connsiteX24007" fmla="*/ 2381723 w 8079933"/>
              <a:gd name="connsiteY24007" fmla="*/ 765256 h 4687251"/>
              <a:gd name="connsiteX24008" fmla="*/ 2383025 w 8079933"/>
              <a:gd name="connsiteY24008" fmla="*/ 756595 h 4687251"/>
              <a:gd name="connsiteX24009" fmla="*/ 2385088 w 8079933"/>
              <a:gd name="connsiteY24009" fmla="*/ 753563 h 4687251"/>
              <a:gd name="connsiteX24010" fmla="*/ 2389211 w 8079933"/>
              <a:gd name="connsiteY24010" fmla="*/ 750748 h 4687251"/>
              <a:gd name="connsiteX24011" fmla="*/ 2389211 w 8079933"/>
              <a:gd name="connsiteY24011" fmla="*/ 746309 h 4687251"/>
              <a:gd name="connsiteX24012" fmla="*/ 2387909 w 8079933"/>
              <a:gd name="connsiteY24012" fmla="*/ 743385 h 4687251"/>
              <a:gd name="connsiteX24013" fmla="*/ 2388777 w 8079933"/>
              <a:gd name="connsiteY24013" fmla="*/ 740354 h 4687251"/>
              <a:gd name="connsiteX24014" fmla="*/ 2385738 w 8079933"/>
              <a:gd name="connsiteY24014" fmla="*/ 738189 h 4687251"/>
              <a:gd name="connsiteX24015" fmla="*/ 2382808 w 8079933"/>
              <a:gd name="connsiteY24015" fmla="*/ 737539 h 4687251"/>
              <a:gd name="connsiteX24016" fmla="*/ 2382591 w 8079933"/>
              <a:gd name="connsiteY24016" fmla="*/ 731584 h 4687251"/>
              <a:gd name="connsiteX24017" fmla="*/ 2381615 w 8079933"/>
              <a:gd name="connsiteY24017" fmla="*/ 730177 h 4687251"/>
              <a:gd name="connsiteX24018" fmla="*/ 2381289 w 8079933"/>
              <a:gd name="connsiteY24018" fmla="*/ 724222 h 4687251"/>
              <a:gd name="connsiteX24019" fmla="*/ 2378794 w 8079933"/>
              <a:gd name="connsiteY24019" fmla="*/ 719458 h 4687251"/>
              <a:gd name="connsiteX24020" fmla="*/ 2378142 w 8079933"/>
              <a:gd name="connsiteY24020" fmla="*/ 714802 h 4687251"/>
              <a:gd name="connsiteX24021" fmla="*/ 2380204 w 8079933"/>
              <a:gd name="connsiteY24021" fmla="*/ 713611 h 4687251"/>
              <a:gd name="connsiteX24022" fmla="*/ 2381723 w 8079933"/>
              <a:gd name="connsiteY24022" fmla="*/ 717076 h 4687251"/>
              <a:gd name="connsiteX24023" fmla="*/ 2383893 w 8079933"/>
              <a:gd name="connsiteY24023" fmla="*/ 715127 h 4687251"/>
              <a:gd name="connsiteX24024" fmla="*/ 2388777 w 8079933"/>
              <a:gd name="connsiteY24024" fmla="*/ 713719 h 4687251"/>
              <a:gd name="connsiteX24025" fmla="*/ 2391381 w 8079933"/>
              <a:gd name="connsiteY24025" fmla="*/ 710255 h 4687251"/>
              <a:gd name="connsiteX24026" fmla="*/ 2390404 w 8079933"/>
              <a:gd name="connsiteY24026" fmla="*/ 707223 h 4687251"/>
              <a:gd name="connsiteX24027" fmla="*/ 2392900 w 8079933"/>
              <a:gd name="connsiteY24027" fmla="*/ 703217 h 4687251"/>
              <a:gd name="connsiteX24028" fmla="*/ 2396482 w 8079933"/>
              <a:gd name="connsiteY24028" fmla="*/ 704408 h 4687251"/>
              <a:gd name="connsiteX24029" fmla="*/ 2399412 w 8079933"/>
              <a:gd name="connsiteY24029" fmla="*/ 710580 h 4687251"/>
              <a:gd name="connsiteX24030" fmla="*/ 2398218 w 8079933"/>
              <a:gd name="connsiteY24030" fmla="*/ 713286 h 4687251"/>
              <a:gd name="connsiteX24031" fmla="*/ 2400388 w 8079933"/>
              <a:gd name="connsiteY24031" fmla="*/ 715019 h 4687251"/>
              <a:gd name="connsiteX24032" fmla="*/ 2403535 w 8079933"/>
              <a:gd name="connsiteY24032" fmla="*/ 711445 h 4687251"/>
              <a:gd name="connsiteX24033" fmla="*/ 2403535 w 8079933"/>
              <a:gd name="connsiteY24033" fmla="*/ 707115 h 4687251"/>
              <a:gd name="connsiteX24034" fmla="*/ 2406791 w 8079933"/>
              <a:gd name="connsiteY24034" fmla="*/ 703217 h 4687251"/>
              <a:gd name="connsiteX24035" fmla="*/ 2409938 w 8079933"/>
              <a:gd name="connsiteY24035" fmla="*/ 703217 h 4687251"/>
              <a:gd name="connsiteX24036" fmla="*/ 2409395 w 8079933"/>
              <a:gd name="connsiteY24036" fmla="*/ 700619 h 4687251"/>
              <a:gd name="connsiteX24037" fmla="*/ 2411240 w 8079933"/>
              <a:gd name="connsiteY24037" fmla="*/ 698994 h 4687251"/>
              <a:gd name="connsiteX24038" fmla="*/ 2415580 w 8079933"/>
              <a:gd name="connsiteY24038" fmla="*/ 697696 h 4687251"/>
              <a:gd name="connsiteX24039" fmla="*/ 2414061 w 8079933"/>
              <a:gd name="connsiteY24039" fmla="*/ 695097 h 4687251"/>
              <a:gd name="connsiteX24040" fmla="*/ 2410806 w 8079933"/>
              <a:gd name="connsiteY24040" fmla="*/ 694555 h 4687251"/>
              <a:gd name="connsiteX24041" fmla="*/ 2402993 w 8079933"/>
              <a:gd name="connsiteY24041" fmla="*/ 700077 h 4687251"/>
              <a:gd name="connsiteX24042" fmla="*/ 2399737 w 8079933"/>
              <a:gd name="connsiteY24042" fmla="*/ 699861 h 4687251"/>
              <a:gd name="connsiteX24043" fmla="*/ 2398327 w 8079933"/>
              <a:gd name="connsiteY24043" fmla="*/ 695313 h 4687251"/>
              <a:gd name="connsiteX24044" fmla="*/ 2395830 w 8079933"/>
              <a:gd name="connsiteY24044" fmla="*/ 692715 h 4687251"/>
              <a:gd name="connsiteX24045" fmla="*/ 2396156 w 8079933"/>
              <a:gd name="connsiteY24045" fmla="*/ 689900 h 4687251"/>
              <a:gd name="connsiteX24046" fmla="*/ 2401148 w 8079933"/>
              <a:gd name="connsiteY24046" fmla="*/ 688168 h 4687251"/>
              <a:gd name="connsiteX24047" fmla="*/ 2398218 w 8079933"/>
              <a:gd name="connsiteY24047" fmla="*/ 684270 h 4687251"/>
              <a:gd name="connsiteX24048" fmla="*/ 2399954 w 8079933"/>
              <a:gd name="connsiteY24048" fmla="*/ 677774 h 4687251"/>
              <a:gd name="connsiteX24049" fmla="*/ 2403318 w 8079933"/>
              <a:gd name="connsiteY24049" fmla="*/ 671386 h 4687251"/>
              <a:gd name="connsiteX24050" fmla="*/ 2403861 w 8079933"/>
              <a:gd name="connsiteY24050" fmla="*/ 667813 h 4687251"/>
              <a:gd name="connsiteX24051" fmla="*/ 2407442 w 8079933"/>
              <a:gd name="connsiteY24051" fmla="*/ 664131 h 4687251"/>
              <a:gd name="connsiteX24052" fmla="*/ 2413193 w 8079933"/>
              <a:gd name="connsiteY24052" fmla="*/ 664673 h 4687251"/>
              <a:gd name="connsiteX24053" fmla="*/ 2417100 w 8079933"/>
              <a:gd name="connsiteY24053" fmla="*/ 669004 h 4687251"/>
              <a:gd name="connsiteX24054" fmla="*/ 2417642 w 8079933"/>
              <a:gd name="connsiteY24054" fmla="*/ 672035 h 4687251"/>
              <a:gd name="connsiteX24055" fmla="*/ 2424045 w 8079933"/>
              <a:gd name="connsiteY24055" fmla="*/ 675500 h 4687251"/>
              <a:gd name="connsiteX24056" fmla="*/ 2426974 w 8079933"/>
              <a:gd name="connsiteY24056" fmla="*/ 679831 h 4687251"/>
              <a:gd name="connsiteX24057" fmla="*/ 2431424 w 8079933"/>
              <a:gd name="connsiteY24057" fmla="*/ 680156 h 4687251"/>
              <a:gd name="connsiteX24058" fmla="*/ 2427843 w 8079933"/>
              <a:gd name="connsiteY24058" fmla="*/ 677233 h 4687251"/>
              <a:gd name="connsiteX24059" fmla="*/ 2426974 w 8079933"/>
              <a:gd name="connsiteY24059" fmla="*/ 673768 h 4687251"/>
              <a:gd name="connsiteX24060" fmla="*/ 2420247 w 8079933"/>
              <a:gd name="connsiteY24060" fmla="*/ 669329 h 4687251"/>
              <a:gd name="connsiteX24061" fmla="*/ 2419053 w 8079933"/>
              <a:gd name="connsiteY24061" fmla="*/ 664564 h 4687251"/>
              <a:gd name="connsiteX24062" fmla="*/ 2417859 w 8079933"/>
              <a:gd name="connsiteY24062" fmla="*/ 661966 h 4687251"/>
              <a:gd name="connsiteX24063" fmla="*/ 2412759 w 8079933"/>
              <a:gd name="connsiteY24063" fmla="*/ 661966 h 4687251"/>
              <a:gd name="connsiteX24064" fmla="*/ 2410806 w 8079933"/>
              <a:gd name="connsiteY24064" fmla="*/ 659692 h 4687251"/>
              <a:gd name="connsiteX24065" fmla="*/ 2412325 w 8079933"/>
              <a:gd name="connsiteY24065" fmla="*/ 659043 h 4687251"/>
              <a:gd name="connsiteX24066" fmla="*/ 2420355 w 8079933"/>
              <a:gd name="connsiteY24066" fmla="*/ 658501 h 4687251"/>
              <a:gd name="connsiteX24067" fmla="*/ 2421766 w 8079933"/>
              <a:gd name="connsiteY24067" fmla="*/ 656228 h 4687251"/>
              <a:gd name="connsiteX24068" fmla="*/ 2423828 w 8079933"/>
              <a:gd name="connsiteY24068" fmla="*/ 656228 h 4687251"/>
              <a:gd name="connsiteX24069" fmla="*/ 2431207 w 8079933"/>
              <a:gd name="connsiteY24069" fmla="*/ 664348 h 4687251"/>
              <a:gd name="connsiteX24070" fmla="*/ 2437610 w 8079933"/>
              <a:gd name="connsiteY24070" fmla="*/ 667921 h 4687251"/>
              <a:gd name="connsiteX24071" fmla="*/ 2439888 w 8079933"/>
              <a:gd name="connsiteY24071" fmla="*/ 667813 h 4687251"/>
              <a:gd name="connsiteX24072" fmla="*/ 2434029 w 8079933"/>
              <a:gd name="connsiteY24072" fmla="*/ 664348 h 4687251"/>
              <a:gd name="connsiteX24073" fmla="*/ 2429904 w 8079933"/>
              <a:gd name="connsiteY24073" fmla="*/ 657419 h 4687251"/>
              <a:gd name="connsiteX24074" fmla="*/ 2424370 w 8079933"/>
              <a:gd name="connsiteY24074" fmla="*/ 653521 h 4687251"/>
              <a:gd name="connsiteX24075" fmla="*/ 2424153 w 8079933"/>
              <a:gd name="connsiteY24075" fmla="*/ 650597 h 4687251"/>
              <a:gd name="connsiteX24076" fmla="*/ 2426106 w 8079933"/>
              <a:gd name="connsiteY24076" fmla="*/ 646267 h 4687251"/>
              <a:gd name="connsiteX24077" fmla="*/ 2432943 w 8079933"/>
              <a:gd name="connsiteY24077" fmla="*/ 644860 h 4687251"/>
              <a:gd name="connsiteX24078" fmla="*/ 2435439 w 8079933"/>
              <a:gd name="connsiteY24078" fmla="*/ 645942 h 4687251"/>
              <a:gd name="connsiteX24079" fmla="*/ 2434679 w 8079933"/>
              <a:gd name="connsiteY24079" fmla="*/ 650056 h 4687251"/>
              <a:gd name="connsiteX24080" fmla="*/ 2435439 w 8079933"/>
              <a:gd name="connsiteY24080" fmla="*/ 653305 h 4687251"/>
              <a:gd name="connsiteX24081" fmla="*/ 2437501 w 8079933"/>
              <a:gd name="connsiteY24081" fmla="*/ 651247 h 4687251"/>
              <a:gd name="connsiteX24082" fmla="*/ 2437284 w 8079933"/>
              <a:gd name="connsiteY24082" fmla="*/ 647999 h 4687251"/>
              <a:gd name="connsiteX24083" fmla="*/ 2439997 w 8079933"/>
              <a:gd name="connsiteY24083" fmla="*/ 644534 h 4687251"/>
              <a:gd name="connsiteX24084" fmla="*/ 2445423 w 8079933"/>
              <a:gd name="connsiteY24084" fmla="*/ 644534 h 4687251"/>
              <a:gd name="connsiteX24085" fmla="*/ 2447919 w 8079933"/>
              <a:gd name="connsiteY24085" fmla="*/ 649731 h 4687251"/>
              <a:gd name="connsiteX24086" fmla="*/ 2450089 w 8079933"/>
              <a:gd name="connsiteY24086" fmla="*/ 651464 h 4687251"/>
              <a:gd name="connsiteX24087" fmla="*/ 2451717 w 8079933"/>
              <a:gd name="connsiteY24087" fmla="*/ 657419 h 4687251"/>
              <a:gd name="connsiteX24088" fmla="*/ 2453995 w 8079933"/>
              <a:gd name="connsiteY24088" fmla="*/ 654821 h 4687251"/>
              <a:gd name="connsiteX24089" fmla="*/ 2453995 w 8079933"/>
              <a:gd name="connsiteY24089" fmla="*/ 651247 h 4687251"/>
              <a:gd name="connsiteX24090" fmla="*/ 2449546 w 8079933"/>
              <a:gd name="connsiteY24090" fmla="*/ 645942 h 4687251"/>
              <a:gd name="connsiteX24091" fmla="*/ 2450849 w 8079933"/>
              <a:gd name="connsiteY24091" fmla="*/ 643235 h 4687251"/>
              <a:gd name="connsiteX24092" fmla="*/ 2462785 w 8079933"/>
              <a:gd name="connsiteY24092" fmla="*/ 640420 h 4687251"/>
              <a:gd name="connsiteX24093" fmla="*/ 2469730 w 8079933"/>
              <a:gd name="connsiteY24093" fmla="*/ 637389 h 4687251"/>
              <a:gd name="connsiteX24094" fmla="*/ 2475590 w 8079933"/>
              <a:gd name="connsiteY24094" fmla="*/ 636848 h 4687251"/>
              <a:gd name="connsiteX24095" fmla="*/ 2480908 w 8079933"/>
              <a:gd name="connsiteY24095" fmla="*/ 633058 h 4687251"/>
              <a:gd name="connsiteX24096" fmla="*/ 2487744 w 8079933"/>
              <a:gd name="connsiteY24096" fmla="*/ 635440 h 4687251"/>
              <a:gd name="connsiteX24097" fmla="*/ 2495340 w 8079933"/>
              <a:gd name="connsiteY24097" fmla="*/ 635765 h 4687251"/>
              <a:gd name="connsiteX24098" fmla="*/ 2502611 w 8079933"/>
              <a:gd name="connsiteY24098" fmla="*/ 637497 h 4687251"/>
              <a:gd name="connsiteX24099" fmla="*/ 2503262 w 8079933"/>
              <a:gd name="connsiteY24099" fmla="*/ 640312 h 4687251"/>
              <a:gd name="connsiteX24100" fmla="*/ 2501851 w 8079933"/>
              <a:gd name="connsiteY24100" fmla="*/ 642153 h 4687251"/>
              <a:gd name="connsiteX24101" fmla="*/ 2500983 w 8079933"/>
              <a:gd name="connsiteY24101" fmla="*/ 652546 h 4687251"/>
              <a:gd name="connsiteX24102" fmla="*/ 2499790 w 8079933"/>
              <a:gd name="connsiteY24102" fmla="*/ 655362 h 4687251"/>
              <a:gd name="connsiteX24103" fmla="*/ 2496751 w 8079933"/>
              <a:gd name="connsiteY24103" fmla="*/ 658935 h 4687251"/>
              <a:gd name="connsiteX24104" fmla="*/ 2493495 w 8079933"/>
              <a:gd name="connsiteY24104" fmla="*/ 664889 h 4687251"/>
              <a:gd name="connsiteX24105" fmla="*/ 2494689 w 8079933"/>
              <a:gd name="connsiteY24105" fmla="*/ 667380 h 4687251"/>
              <a:gd name="connsiteX24106" fmla="*/ 2498921 w 8079933"/>
              <a:gd name="connsiteY24106" fmla="*/ 669329 h 4687251"/>
              <a:gd name="connsiteX24107" fmla="*/ 2500658 w 8079933"/>
              <a:gd name="connsiteY24107" fmla="*/ 673118 h 4687251"/>
              <a:gd name="connsiteX24108" fmla="*/ 2499790 w 8079933"/>
              <a:gd name="connsiteY24108" fmla="*/ 675608 h 4687251"/>
              <a:gd name="connsiteX24109" fmla="*/ 2493278 w 8079933"/>
              <a:gd name="connsiteY24109" fmla="*/ 682862 h 4687251"/>
              <a:gd name="connsiteX24110" fmla="*/ 2492085 w 8079933"/>
              <a:gd name="connsiteY24110" fmla="*/ 685786 h 4687251"/>
              <a:gd name="connsiteX24111" fmla="*/ 2491542 w 8079933"/>
              <a:gd name="connsiteY24111" fmla="*/ 690441 h 4687251"/>
              <a:gd name="connsiteX24112" fmla="*/ 2495340 w 8079933"/>
              <a:gd name="connsiteY24112" fmla="*/ 693906 h 4687251"/>
              <a:gd name="connsiteX24113" fmla="*/ 2495232 w 8079933"/>
              <a:gd name="connsiteY24113" fmla="*/ 696180 h 4687251"/>
              <a:gd name="connsiteX24114" fmla="*/ 2492085 w 8079933"/>
              <a:gd name="connsiteY24114" fmla="*/ 701160 h 4687251"/>
              <a:gd name="connsiteX24115" fmla="*/ 2488395 w 8079933"/>
              <a:gd name="connsiteY24115" fmla="*/ 701484 h 4687251"/>
              <a:gd name="connsiteX24116" fmla="*/ 2485139 w 8079933"/>
              <a:gd name="connsiteY24116" fmla="*/ 705274 h 4687251"/>
              <a:gd name="connsiteX24117" fmla="*/ 2481016 w 8079933"/>
              <a:gd name="connsiteY24117" fmla="*/ 706465 h 4687251"/>
              <a:gd name="connsiteX24118" fmla="*/ 2477760 w 8079933"/>
              <a:gd name="connsiteY24118" fmla="*/ 709497 h 4687251"/>
              <a:gd name="connsiteX24119" fmla="*/ 2474830 w 8079933"/>
              <a:gd name="connsiteY24119" fmla="*/ 713719 h 4687251"/>
              <a:gd name="connsiteX24120" fmla="*/ 2471792 w 8079933"/>
              <a:gd name="connsiteY24120" fmla="*/ 717292 h 4687251"/>
              <a:gd name="connsiteX24121" fmla="*/ 2475047 w 8079933"/>
              <a:gd name="connsiteY24121" fmla="*/ 716967 h 4687251"/>
              <a:gd name="connsiteX24122" fmla="*/ 2480040 w 8079933"/>
              <a:gd name="connsiteY24122" fmla="*/ 711987 h 4687251"/>
              <a:gd name="connsiteX24123" fmla="*/ 2486008 w 8079933"/>
              <a:gd name="connsiteY24123" fmla="*/ 707331 h 4687251"/>
              <a:gd name="connsiteX24124" fmla="*/ 2488395 w 8079933"/>
              <a:gd name="connsiteY24124" fmla="*/ 707439 h 4687251"/>
              <a:gd name="connsiteX24125" fmla="*/ 2490565 w 8079933"/>
              <a:gd name="connsiteY24125" fmla="*/ 707115 h 4687251"/>
              <a:gd name="connsiteX24126" fmla="*/ 2487419 w 8079933"/>
              <a:gd name="connsiteY24126" fmla="*/ 710580 h 4687251"/>
              <a:gd name="connsiteX24127" fmla="*/ 2486442 w 8079933"/>
              <a:gd name="connsiteY24127" fmla="*/ 714044 h 4687251"/>
              <a:gd name="connsiteX24128" fmla="*/ 2479714 w 8079933"/>
              <a:gd name="connsiteY24128" fmla="*/ 720216 h 4687251"/>
              <a:gd name="connsiteX24129" fmla="*/ 2475156 w 8079933"/>
              <a:gd name="connsiteY24129" fmla="*/ 722381 h 4687251"/>
              <a:gd name="connsiteX24130" fmla="*/ 2474830 w 8079933"/>
              <a:gd name="connsiteY24130" fmla="*/ 724114 h 4687251"/>
              <a:gd name="connsiteX24131" fmla="*/ 2475156 w 8079933"/>
              <a:gd name="connsiteY24131" fmla="*/ 726387 h 4687251"/>
              <a:gd name="connsiteX24132" fmla="*/ 2474505 w 8079933"/>
              <a:gd name="connsiteY24132" fmla="*/ 728769 h 4687251"/>
              <a:gd name="connsiteX24133" fmla="*/ 2472117 w 8079933"/>
              <a:gd name="connsiteY24133" fmla="*/ 727470 h 4687251"/>
              <a:gd name="connsiteX24134" fmla="*/ 2468971 w 8079933"/>
              <a:gd name="connsiteY24134" fmla="*/ 727794 h 4687251"/>
              <a:gd name="connsiteX24135" fmla="*/ 2469187 w 8079933"/>
              <a:gd name="connsiteY24135" fmla="*/ 730285 h 4687251"/>
              <a:gd name="connsiteX24136" fmla="*/ 2471249 w 8079933"/>
              <a:gd name="connsiteY24136" fmla="*/ 730502 h 4687251"/>
              <a:gd name="connsiteX24137" fmla="*/ 2473094 w 8079933"/>
              <a:gd name="connsiteY24137" fmla="*/ 732559 h 4687251"/>
              <a:gd name="connsiteX24138" fmla="*/ 2472769 w 8079933"/>
              <a:gd name="connsiteY24138" fmla="*/ 736240 h 4687251"/>
              <a:gd name="connsiteX24139" fmla="*/ 2469079 w 8079933"/>
              <a:gd name="connsiteY24139" fmla="*/ 738947 h 4687251"/>
              <a:gd name="connsiteX24140" fmla="*/ 2472986 w 8079933"/>
              <a:gd name="connsiteY24140" fmla="*/ 738947 h 4687251"/>
              <a:gd name="connsiteX24141" fmla="*/ 2474939 w 8079933"/>
              <a:gd name="connsiteY24141" fmla="*/ 736131 h 4687251"/>
              <a:gd name="connsiteX24142" fmla="*/ 2478303 w 8079933"/>
              <a:gd name="connsiteY24142" fmla="*/ 734941 h 4687251"/>
              <a:gd name="connsiteX24143" fmla="*/ 2481341 w 8079933"/>
              <a:gd name="connsiteY24143" fmla="*/ 730610 h 4687251"/>
              <a:gd name="connsiteX24144" fmla="*/ 2481450 w 8079933"/>
              <a:gd name="connsiteY24144" fmla="*/ 727253 h 4687251"/>
              <a:gd name="connsiteX24145" fmla="*/ 2485791 w 8079933"/>
              <a:gd name="connsiteY24145" fmla="*/ 725629 h 4687251"/>
              <a:gd name="connsiteX24146" fmla="*/ 2487527 w 8079933"/>
              <a:gd name="connsiteY24146" fmla="*/ 721731 h 4687251"/>
              <a:gd name="connsiteX24147" fmla="*/ 2488938 w 8079933"/>
              <a:gd name="connsiteY24147" fmla="*/ 722922 h 4687251"/>
              <a:gd name="connsiteX24148" fmla="*/ 2488938 w 8079933"/>
              <a:gd name="connsiteY24148" fmla="*/ 728986 h 4687251"/>
              <a:gd name="connsiteX24149" fmla="*/ 2491651 w 8079933"/>
              <a:gd name="connsiteY24149" fmla="*/ 730610 h 4687251"/>
              <a:gd name="connsiteX24150" fmla="*/ 2491651 w 8079933"/>
              <a:gd name="connsiteY24150" fmla="*/ 725304 h 4687251"/>
              <a:gd name="connsiteX24151" fmla="*/ 2490457 w 8079933"/>
              <a:gd name="connsiteY24151" fmla="*/ 720432 h 4687251"/>
              <a:gd name="connsiteX24152" fmla="*/ 2491325 w 8079933"/>
              <a:gd name="connsiteY24152" fmla="*/ 716967 h 4687251"/>
              <a:gd name="connsiteX24153" fmla="*/ 2493495 w 8079933"/>
              <a:gd name="connsiteY24153" fmla="*/ 715451 h 4687251"/>
              <a:gd name="connsiteX24154" fmla="*/ 2497945 w 8079933"/>
              <a:gd name="connsiteY24154" fmla="*/ 716643 h 4687251"/>
              <a:gd name="connsiteX24155" fmla="*/ 2497293 w 8079933"/>
              <a:gd name="connsiteY24155" fmla="*/ 721948 h 4687251"/>
              <a:gd name="connsiteX24156" fmla="*/ 2498813 w 8079933"/>
              <a:gd name="connsiteY24156" fmla="*/ 724547 h 4687251"/>
              <a:gd name="connsiteX24157" fmla="*/ 2501200 w 8079933"/>
              <a:gd name="connsiteY24157" fmla="*/ 722057 h 4687251"/>
              <a:gd name="connsiteX24158" fmla="*/ 2506192 w 8079933"/>
              <a:gd name="connsiteY24158" fmla="*/ 716967 h 4687251"/>
              <a:gd name="connsiteX24159" fmla="*/ 2507603 w 8079933"/>
              <a:gd name="connsiteY24159" fmla="*/ 721082 h 4687251"/>
              <a:gd name="connsiteX24160" fmla="*/ 2510641 w 8079933"/>
              <a:gd name="connsiteY24160" fmla="*/ 724547 h 4687251"/>
              <a:gd name="connsiteX24161" fmla="*/ 2509339 w 8079933"/>
              <a:gd name="connsiteY24161" fmla="*/ 728444 h 4687251"/>
              <a:gd name="connsiteX24162" fmla="*/ 2503479 w 8079933"/>
              <a:gd name="connsiteY24162" fmla="*/ 736565 h 4687251"/>
              <a:gd name="connsiteX24163" fmla="*/ 2498813 w 8079933"/>
              <a:gd name="connsiteY24163" fmla="*/ 740137 h 4687251"/>
              <a:gd name="connsiteX24164" fmla="*/ 2496534 w 8079933"/>
              <a:gd name="connsiteY24164" fmla="*/ 743385 h 4687251"/>
              <a:gd name="connsiteX24165" fmla="*/ 2501091 w 8079933"/>
              <a:gd name="connsiteY24165" fmla="*/ 744469 h 4687251"/>
              <a:gd name="connsiteX24166" fmla="*/ 2505215 w 8079933"/>
              <a:gd name="connsiteY24166" fmla="*/ 746526 h 4687251"/>
              <a:gd name="connsiteX24167" fmla="*/ 2508254 w 8079933"/>
              <a:gd name="connsiteY24167" fmla="*/ 744469 h 4687251"/>
              <a:gd name="connsiteX24168" fmla="*/ 2505649 w 8079933"/>
              <a:gd name="connsiteY24168" fmla="*/ 741328 h 4687251"/>
              <a:gd name="connsiteX24169" fmla="*/ 2507711 w 8079933"/>
              <a:gd name="connsiteY24169" fmla="*/ 736673 h 4687251"/>
              <a:gd name="connsiteX24170" fmla="*/ 2511509 w 8079933"/>
              <a:gd name="connsiteY24170" fmla="*/ 732234 h 4687251"/>
              <a:gd name="connsiteX24171" fmla="*/ 2514873 w 8079933"/>
              <a:gd name="connsiteY24171" fmla="*/ 738297 h 4687251"/>
              <a:gd name="connsiteX24172" fmla="*/ 2514982 w 8079933"/>
              <a:gd name="connsiteY24172" fmla="*/ 742520 h 4687251"/>
              <a:gd name="connsiteX24173" fmla="*/ 2516175 w 8079933"/>
              <a:gd name="connsiteY24173" fmla="*/ 739488 h 4687251"/>
              <a:gd name="connsiteX24174" fmla="*/ 2515524 w 8079933"/>
              <a:gd name="connsiteY24174" fmla="*/ 733641 h 4687251"/>
              <a:gd name="connsiteX24175" fmla="*/ 2513137 w 8079933"/>
              <a:gd name="connsiteY24175" fmla="*/ 729094 h 4687251"/>
              <a:gd name="connsiteX24176" fmla="*/ 2512920 w 8079933"/>
              <a:gd name="connsiteY24176" fmla="*/ 720324 h 4687251"/>
              <a:gd name="connsiteX24177" fmla="*/ 2514873 w 8079933"/>
              <a:gd name="connsiteY24177" fmla="*/ 719349 h 4687251"/>
              <a:gd name="connsiteX24178" fmla="*/ 2519865 w 8079933"/>
              <a:gd name="connsiteY24178" fmla="*/ 721623 h 4687251"/>
              <a:gd name="connsiteX24179" fmla="*/ 2518780 w 8079933"/>
              <a:gd name="connsiteY24179" fmla="*/ 726063 h 4687251"/>
              <a:gd name="connsiteX24180" fmla="*/ 2517260 w 8079933"/>
              <a:gd name="connsiteY24180" fmla="*/ 729635 h 4687251"/>
              <a:gd name="connsiteX24181" fmla="*/ 2519865 w 8079933"/>
              <a:gd name="connsiteY24181" fmla="*/ 728444 h 4687251"/>
              <a:gd name="connsiteX24182" fmla="*/ 2523663 w 8079933"/>
              <a:gd name="connsiteY24182" fmla="*/ 727794 h 4687251"/>
              <a:gd name="connsiteX24183" fmla="*/ 2531367 w 8079933"/>
              <a:gd name="connsiteY24183" fmla="*/ 735157 h 4687251"/>
              <a:gd name="connsiteX24184" fmla="*/ 2531367 w 8079933"/>
              <a:gd name="connsiteY24184" fmla="*/ 738297 h 4687251"/>
              <a:gd name="connsiteX24185" fmla="*/ 2536685 w 8079933"/>
              <a:gd name="connsiteY24185" fmla="*/ 738297 h 4687251"/>
              <a:gd name="connsiteX24186" fmla="*/ 2540158 w 8079933"/>
              <a:gd name="connsiteY24186" fmla="*/ 740354 h 4687251"/>
              <a:gd name="connsiteX24187" fmla="*/ 2542328 w 8079933"/>
              <a:gd name="connsiteY24187" fmla="*/ 740354 h 4687251"/>
              <a:gd name="connsiteX24188" fmla="*/ 2540158 w 8079933"/>
              <a:gd name="connsiteY24188" fmla="*/ 735482 h 4687251"/>
              <a:gd name="connsiteX24189" fmla="*/ 2536902 w 8079933"/>
              <a:gd name="connsiteY24189" fmla="*/ 734832 h 4687251"/>
              <a:gd name="connsiteX24190" fmla="*/ 2535491 w 8079933"/>
              <a:gd name="connsiteY24190" fmla="*/ 732559 h 4687251"/>
              <a:gd name="connsiteX24191" fmla="*/ 2526919 w 8079933"/>
              <a:gd name="connsiteY24191" fmla="*/ 724980 h 4687251"/>
              <a:gd name="connsiteX24192" fmla="*/ 2523663 w 8079933"/>
              <a:gd name="connsiteY24192" fmla="*/ 724005 h 4687251"/>
              <a:gd name="connsiteX24193" fmla="*/ 2522035 w 8079933"/>
              <a:gd name="connsiteY24193" fmla="*/ 721731 h 4687251"/>
              <a:gd name="connsiteX24194" fmla="*/ 2526919 w 8079933"/>
              <a:gd name="connsiteY24194" fmla="*/ 714586 h 4687251"/>
              <a:gd name="connsiteX24195" fmla="*/ 2532236 w 8079933"/>
              <a:gd name="connsiteY24195" fmla="*/ 714369 h 4687251"/>
              <a:gd name="connsiteX24196" fmla="*/ 2536685 w 8079933"/>
              <a:gd name="connsiteY24196" fmla="*/ 710255 h 4687251"/>
              <a:gd name="connsiteX24197" fmla="*/ 2543739 w 8079933"/>
              <a:gd name="connsiteY24197" fmla="*/ 708955 h 4687251"/>
              <a:gd name="connsiteX24198" fmla="*/ 2549599 w 8079933"/>
              <a:gd name="connsiteY24198" fmla="*/ 709497 h 4687251"/>
              <a:gd name="connsiteX24199" fmla="*/ 2551660 w 8079933"/>
              <a:gd name="connsiteY24199" fmla="*/ 711770 h 4687251"/>
              <a:gd name="connsiteX24200" fmla="*/ 2553939 w 8079933"/>
              <a:gd name="connsiteY24200" fmla="*/ 711445 h 4687251"/>
              <a:gd name="connsiteX24201" fmla="*/ 2560450 w 8079933"/>
              <a:gd name="connsiteY24201" fmla="*/ 714586 h 4687251"/>
              <a:gd name="connsiteX24202" fmla="*/ 2560885 w 8079933"/>
              <a:gd name="connsiteY24202" fmla="*/ 717400 h 4687251"/>
              <a:gd name="connsiteX24203" fmla="*/ 2564574 w 8079933"/>
              <a:gd name="connsiteY24203" fmla="*/ 720649 h 4687251"/>
              <a:gd name="connsiteX24204" fmla="*/ 2567504 w 8079933"/>
              <a:gd name="connsiteY24204" fmla="*/ 721948 h 4687251"/>
              <a:gd name="connsiteX24205" fmla="*/ 2568046 w 8079933"/>
              <a:gd name="connsiteY24205" fmla="*/ 725737 h 4687251"/>
              <a:gd name="connsiteX24206" fmla="*/ 2570434 w 8079933"/>
              <a:gd name="connsiteY24206" fmla="*/ 725521 h 4687251"/>
              <a:gd name="connsiteX24207" fmla="*/ 2571519 w 8079933"/>
              <a:gd name="connsiteY24207" fmla="*/ 723680 h 4687251"/>
              <a:gd name="connsiteX24208" fmla="*/ 2575317 w 8079933"/>
              <a:gd name="connsiteY24208" fmla="*/ 724330 h 4687251"/>
              <a:gd name="connsiteX24209" fmla="*/ 2577053 w 8079933"/>
              <a:gd name="connsiteY24209" fmla="*/ 728120 h 4687251"/>
              <a:gd name="connsiteX24210" fmla="*/ 2582153 w 8079933"/>
              <a:gd name="connsiteY24210" fmla="*/ 730502 h 4687251"/>
              <a:gd name="connsiteX24211" fmla="*/ 2582371 w 8079933"/>
              <a:gd name="connsiteY24211" fmla="*/ 733641 h 4687251"/>
              <a:gd name="connsiteX24212" fmla="*/ 2582045 w 8079933"/>
              <a:gd name="connsiteY24212" fmla="*/ 736889 h 4687251"/>
              <a:gd name="connsiteX24213" fmla="*/ 2583239 w 8079933"/>
              <a:gd name="connsiteY24213" fmla="*/ 739271 h 4687251"/>
              <a:gd name="connsiteX24214" fmla="*/ 2583781 w 8079933"/>
              <a:gd name="connsiteY24214" fmla="*/ 742411 h 4687251"/>
              <a:gd name="connsiteX24215" fmla="*/ 2579658 w 8079933"/>
              <a:gd name="connsiteY24215" fmla="*/ 747175 h 4687251"/>
              <a:gd name="connsiteX24216" fmla="*/ 2575860 w 8079933"/>
              <a:gd name="connsiteY24216" fmla="*/ 746526 h 4687251"/>
              <a:gd name="connsiteX24217" fmla="*/ 2571519 w 8079933"/>
              <a:gd name="connsiteY24217" fmla="*/ 745334 h 4687251"/>
              <a:gd name="connsiteX24218" fmla="*/ 2564791 w 8079933"/>
              <a:gd name="connsiteY24218" fmla="*/ 747175 h 4687251"/>
              <a:gd name="connsiteX24219" fmla="*/ 2557520 w 8079933"/>
              <a:gd name="connsiteY24219" fmla="*/ 753888 h 4687251"/>
              <a:gd name="connsiteX24220" fmla="*/ 2565659 w 8079933"/>
              <a:gd name="connsiteY24220" fmla="*/ 748691 h 4687251"/>
              <a:gd name="connsiteX24221" fmla="*/ 2573364 w 8079933"/>
              <a:gd name="connsiteY24221" fmla="*/ 748257 h 4687251"/>
              <a:gd name="connsiteX24222" fmla="*/ 2574991 w 8079933"/>
              <a:gd name="connsiteY24222" fmla="*/ 750640 h 4687251"/>
              <a:gd name="connsiteX24223" fmla="*/ 2571627 w 8079933"/>
              <a:gd name="connsiteY24223" fmla="*/ 753888 h 4687251"/>
              <a:gd name="connsiteX24224" fmla="*/ 2566527 w 8079933"/>
              <a:gd name="connsiteY24224" fmla="*/ 757136 h 4687251"/>
              <a:gd name="connsiteX24225" fmla="*/ 2561210 w 8079933"/>
              <a:gd name="connsiteY24225" fmla="*/ 764932 h 4687251"/>
              <a:gd name="connsiteX24226" fmla="*/ 2557412 w 8079933"/>
              <a:gd name="connsiteY24226" fmla="*/ 767855 h 4687251"/>
              <a:gd name="connsiteX24227" fmla="*/ 2554807 w 8079933"/>
              <a:gd name="connsiteY24227" fmla="*/ 768179 h 4687251"/>
              <a:gd name="connsiteX24228" fmla="*/ 2554156 w 8079933"/>
              <a:gd name="connsiteY24228" fmla="*/ 771752 h 4687251"/>
              <a:gd name="connsiteX24229" fmla="*/ 2556543 w 8079933"/>
              <a:gd name="connsiteY24229" fmla="*/ 772077 h 4687251"/>
              <a:gd name="connsiteX24230" fmla="*/ 2565116 w 8079933"/>
              <a:gd name="connsiteY24230" fmla="*/ 763307 h 4687251"/>
              <a:gd name="connsiteX24231" fmla="*/ 2568697 w 8079933"/>
              <a:gd name="connsiteY24231" fmla="*/ 757677 h 4687251"/>
              <a:gd name="connsiteX24232" fmla="*/ 2574991 w 8079933"/>
              <a:gd name="connsiteY24232" fmla="*/ 755404 h 4687251"/>
              <a:gd name="connsiteX24233" fmla="*/ 2579983 w 8079933"/>
              <a:gd name="connsiteY24233" fmla="*/ 750640 h 4687251"/>
              <a:gd name="connsiteX24234" fmla="*/ 2584758 w 8079933"/>
              <a:gd name="connsiteY24234" fmla="*/ 752155 h 4687251"/>
              <a:gd name="connsiteX24235" fmla="*/ 2586820 w 8079933"/>
              <a:gd name="connsiteY24235" fmla="*/ 754212 h 4687251"/>
              <a:gd name="connsiteX24236" fmla="*/ 2590075 w 8079933"/>
              <a:gd name="connsiteY24236" fmla="*/ 754538 h 4687251"/>
              <a:gd name="connsiteX24237" fmla="*/ 2590075 w 8079933"/>
              <a:gd name="connsiteY24237" fmla="*/ 758002 h 4687251"/>
              <a:gd name="connsiteX24238" fmla="*/ 2588230 w 8079933"/>
              <a:gd name="connsiteY24238" fmla="*/ 761575 h 4687251"/>
              <a:gd name="connsiteX24239" fmla="*/ 2588556 w 8079933"/>
              <a:gd name="connsiteY24239" fmla="*/ 765256 h 4687251"/>
              <a:gd name="connsiteX24240" fmla="*/ 2583347 w 8079933"/>
              <a:gd name="connsiteY24240" fmla="*/ 766989 h 4687251"/>
              <a:gd name="connsiteX24241" fmla="*/ 2580960 w 8079933"/>
              <a:gd name="connsiteY24241" fmla="*/ 771752 h 4687251"/>
              <a:gd name="connsiteX24242" fmla="*/ 2575968 w 8079933"/>
              <a:gd name="connsiteY24242" fmla="*/ 772077 h 4687251"/>
              <a:gd name="connsiteX24243" fmla="*/ 2573798 w 8079933"/>
              <a:gd name="connsiteY24243" fmla="*/ 770345 h 4687251"/>
              <a:gd name="connsiteX24244" fmla="*/ 2569457 w 8079933"/>
              <a:gd name="connsiteY24244" fmla="*/ 770345 h 4687251"/>
              <a:gd name="connsiteX24245" fmla="*/ 2567070 w 8079933"/>
              <a:gd name="connsiteY24245" fmla="*/ 773485 h 4687251"/>
              <a:gd name="connsiteX24246" fmla="*/ 2571844 w 8079933"/>
              <a:gd name="connsiteY24246" fmla="*/ 773485 h 4687251"/>
              <a:gd name="connsiteX24247" fmla="*/ 2572930 w 8079933"/>
              <a:gd name="connsiteY24247" fmla="*/ 776083 h 4687251"/>
              <a:gd name="connsiteX24248" fmla="*/ 2564574 w 8079933"/>
              <a:gd name="connsiteY24248" fmla="*/ 780522 h 4687251"/>
              <a:gd name="connsiteX24249" fmla="*/ 2567721 w 8079933"/>
              <a:gd name="connsiteY24249" fmla="*/ 781280 h 4687251"/>
              <a:gd name="connsiteX24250" fmla="*/ 2570434 w 8079933"/>
              <a:gd name="connsiteY24250" fmla="*/ 778465 h 4687251"/>
              <a:gd name="connsiteX24251" fmla="*/ 2575643 w 8079933"/>
              <a:gd name="connsiteY24251" fmla="*/ 776950 h 4687251"/>
              <a:gd name="connsiteX24252" fmla="*/ 2578355 w 8079933"/>
              <a:gd name="connsiteY24252" fmla="*/ 775326 h 4687251"/>
              <a:gd name="connsiteX24253" fmla="*/ 2579115 w 8079933"/>
              <a:gd name="connsiteY24253" fmla="*/ 777599 h 4687251"/>
              <a:gd name="connsiteX24254" fmla="*/ 2577162 w 8079933"/>
              <a:gd name="connsiteY24254" fmla="*/ 780197 h 4687251"/>
              <a:gd name="connsiteX24255" fmla="*/ 2572170 w 8079933"/>
              <a:gd name="connsiteY24255" fmla="*/ 781280 h 4687251"/>
              <a:gd name="connsiteX24256" fmla="*/ 2567721 w 8079933"/>
              <a:gd name="connsiteY24256" fmla="*/ 784853 h 4687251"/>
              <a:gd name="connsiteX24257" fmla="*/ 2571194 w 8079933"/>
              <a:gd name="connsiteY24257" fmla="*/ 784312 h 4687251"/>
              <a:gd name="connsiteX24258" fmla="*/ 2572495 w 8079933"/>
              <a:gd name="connsiteY24258" fmla="*/ 785395 h 4687251"/>
              <a:gd name="connsiteX24259" fmla="*/ 2569891 w 8079933"/>
              <a:gd name="connsiteY24259" fmla="*/ 789509 h 4687251"/>
              <a:gd name="connsiteX24260" fmla="*/ 2565008 w 8079933"/>
              <a:gd name="connsiteY24260" fmla="*/ 793731 h 4687251"/>
              <a:gd name="connsiteX24261" fmla="*/ 2561535 w 8079933"/>
              <a:gd name="connsiteY24261" fmla="*/ 796654 h 4687251"/>
              <a:gd name="connsiteX24262" fmla="*/ 2564574 w 8079933"/>
              <a:gd name="connsiteY24262" fmla="*/ 797196 h 4687251"/>
              <a:gd name="connsiteX24263" fmla="*/ 2570108 w 8079933"/>
              <a:gd name="connsiteY24263" fmla="*/ 793623 h 4687251"/>
              <a:gd name="connsiteX24264" fmla="*/ 2573907 w 8079933"/>
              <a:gd name="connsiteY24264" fmla="*/ 786261 h 4687251"/>
              <a:gd name="connsiteX24265" fmla="*/ 2577053 w 8079933"/>
              <a:gd name="connsiteY24265" fmla="*/ 782471 h 4687251"/>
              <a:gd name="connsiteX24266" fmla="*/ 2584216 w 8079933"/>
              <a:gd name="connsiteY24266" fmla="*/ 777058 h 4687251"/>
              <a:gd name="connsiteX24267" fmla="*/ 2585409 w 8079933"/>
              <a:gd name="connsiteY24267" fmla="*/ 778790 h 4687251"/>
              <a:gd name="connsiteX24268" fmla="*/ 2585409 w 8079933"/>
              <a:gd name="connsiteY24268" fmla="*/ 781280 h 4687251"/>
              <a:gd name="connsiteX24269" fmla="*/ 2589424 w 8079933"/>
              <a:gd name="connsiteY24269" fmla="*/ 779332 h 4687251"/>
              <a:gd name="connsiteX24270" fmla="*/ 2590075 w 8079933"/>
              <a:gd name="connsiteY24270" fmla="*/ 776083 h 4687251"/>
              <a:gd name="connsiteX24271" fmla="*/ 2595935 w 8079933"/>
              <a:gd name="connsiteY24271" fmla="*/ 772294 h 4687251"/>
              <a:gd name="connsiteX24272" fmla="*/ 2599082 w 8079933"/>
              <a:gd name="connsiteY24272" fmla="*/ 772618 h 4687251"/>
              <a:gd name="connsiteX24273" fmla="*/ 2598756 w 8079933"/>
              <a:gd name="connsiteY24273" fmla="*/ 775542 h 4687251"/>
              <a:gd name="connsiteX24274" fmla="*/ 2591486 w 8079933"/>
              <a:gd name="connsiteY24274" fmla="*/ 781713 h 4687251"/>
              <a:gd name="connsiteX24275" fmla="*/ 2583347 w 8079933"/>
              <a:gd name="connsiteY24275" fmla="*/ 787019 h 4687251"/>
              <a:gd name="connsiteX24276" fmla="*/ 2580091 w 8079933"/>
              <a:gd name="connsiteY24276" fmla="*/ 787885 h 4687251"/>
              <a:gd name="connsiteX24277" fmla="*/ 2580091 w 8079933"/>
              <a:gd name="connsiteY24277" fmla="*/ 790158 h 4687251"/>
              <a:gd name="connsiteX24278" fmla="*/ 2582153 w 8079933"/>
              <a:gd name="connsiteY24278" fmla="*/ 791241 h 4687251"/>
              <a:gd name="connsiteX24279" fmla="*/ 2579766 w 8079933"/>
              <a:gd name="connsiteY24279" fmla="*/ 795356 h 4687251"/>
              <a:gd name="connsiteX24280" fmla="*/ 2578790 w 8079933"/>
              <a:gd name="connsiteY24280" fmla="*/ 799578 h 4687251"/>
              <a:gd name="connsiteX24281" fmla="*/ 2580309 w 8079933"/>
              <a:gd name="connsiteY24281" fmla="*/ 800228 h 4687251"/>
              <a:gd name="connsiteX24282" fmla="*/ 2583021 w 8079933"/>
              <a:gd name="connsiteY24282" fmla="*/ 796330 h 4687251"/>
              <a:gd name="connsiteX24283" fmla="*/ 2583998 w 8079933"/>
              <a:gd name="connsiteY24283" fmla="*/ 792107 h 4687251"/>
              <a:gd name="connsiteX24284" fmla="*/ 2590509 w 8079933"/>
              <a:gd name="connsiteY24284" fmla="*/ 786694 h 4687251"/>
              <a:gd name="connsiteX24285" fmla="*/ 2595501 w 8079933"/>
              <a:gd name="connsiteY24285" fmla="*/ 783554 h 4687251"/>
              <a:gd name="connsiteX24286" fmla="*/ 2595284 w 8079933"/>
              <a:gd name="connsiteY24286" fmla="*/ 786694 h 4687251"/>
              <a:gd name="connsiteX24287" fmla="*/ 2595935 w 8079933"/>
              <a:gd name="connsiteY24287" fmla="*/ 789401 h 4687251"/>
              <a:gd name="connsiteX24288" fmla="*/ 2593548 w 8079933"/>
              <a:gd name="connsiteY24288" fmla="*/ 792432 h 4687251"/>
              <a:gd name="connsiteX24289" fmla="*/ 2587796 w 8079933"/>
              <a:gd name="connsiteY24289" fmla="*/ 797954 h 4687251"/>
              <a:gd name="connsiteX24290" fmla="*/ 2587146 w 8079933"/>
              <a:gd name="connsiteY24290" fmla="*/ 800877 h 4687251"/>
              <a:gd name="connsiteX24291" fmla="*/ 2583456 w 8079933"/>
              <a:gd name="connsiteY24291" fmla="*/ 807265 h 4687251"/>
              <a:gd name="connsiteX24292" fmla="*/ 2580960 w 8079933"/>
              <a:gd name="connsiteY24292" fmla="*/ 809431 h 4687251"/>
              <a:gd name="connsiteX24293" fmla="*/ 2581286 w 8079933"/>
              <a:gd name="connsiteY24293" fmla="*/ 810621 h 4687251"/>
              <a:gd name="connsiteX24294" fmla="*/ 2585517 w 8079933"/>
              <a:gd name="connsiteY24294" fmla="*/ 809431 h 4687251"/>
              <a:gd name="connsiteX24295" fmla="*/ 2587362 w 8079933"/>
              <a:gd name="connsiteY24295" fmla="*/ 805858 h 4687251"/>
              <a:gd name="connsiteX24296" fmla="*/ 2593222 w 8079933"/>
              <a:gd name="connsiteY24296" fmla="*/ 797954 h 4687251"/>
              <a:gd name="connsiteX24297" fmla="*/ 2596912 w 8079933"/>
              <a:gd name="connsiteY24297" fmla="*/ 796330 h 4687251"/>
              <a:gd name="connsiteX24298" fmla="*/ 2598865 w 8079933"/>
              <a:gd name="connsiteY24298" fmla="*/ 799362 h 4687251"/>
              <a:gd name="connsiteX24299" fmla="*/ 2600059 w 8079933"/>
              <a:gd name="connsiteY24299" fmla="*/ 800228 h 4687251"/>
              <a:gd name="connsiteX24300" fmla="*/ 2599841 w 8079933"/>
              <a:gd name="connsiteY24300" fmla="*/ 802718 h 4687251"/>
              <a:gd name="connsiteX24301" fmla="*/ 2596695 w 8079933"/>
              <a:gd name="connsiteY24301" fmla="*/ 803909 h 4687251"/>
              <a:gd name="connsiteX24302" fmla="*/ 2592463 w 8079933"/>
              <a:gd name="connsiteY24302" fmla="*/ 810080 h 4687251"/>
              <a:gd name="connsiteX24303" fmla="*/ 2591269 w 8079933"/>
              <a:gd name="connsiteY24303" fmla="*/ 816035 h 4687251"/>
              <a:gd name="connsiteX24304" fmla="*/ 2593114 w 8079933"/>
              <a:gd name="connsiteY24304" fmla="*/ 816793 h 4687251"/>
              <a:gd name="connsiteX24305" fmla="*/ 2594850 w 8079933"/>
              <a:gd name="connsiteY24305" fmla="*/ 813545 h 4687251"/>
              <a:gd name="connsiteX24306" fmla="*/ 2595827 w 8079933"/>
              <a:gd name="connsiteY24306" fmla="*/ 809864 h 4687251"/>
              <a:gd name="connsiteX24307" fmla="*/ 2598973 w 8079933"/>
              <a:gd name="connsiteY24307" fmla="*/ 805208 h 4687251"/>
              <a:gd name="connsiteX24308" fmla="*/ 2603857 w 8079933"/>
              <a:gd name="connsiteY24308" fmla="*/ 803042 h 4687251"/>
              <a:gd name="connsiteX24309" fmla="*/ 2603857 w 8079933"/>
              <a:gd name="connsiteY24309" fmla="*/ 798387 h 4687251"/>
              <a:gd name="connsiteX24310" fmla="*/ 2605702 w 8079933"/>
              <a:gd name="connsiteY24310" fmla="*/ 794706 h 4687251"/>
              <a:gd name="connsiteX24311" fmla="*/ 2609391 w 8079933"/>
              <a:gd name="connsiteY24311" fmla="*/ 792865 h 4687251"/>
              <a:gd name="connsiteX24312" fmla="*/ 2609934 w 8079933"/>
              <a:gd name="connsiteY24312" fmla="*/ 789401 h 4687251"/>
              <a:gd name="connsiteX24313" fmla="*/ 2611236 w 8079933"/>
              <a:gd name="connsiteY24313" fmla="*/ 787019 h 4687251"/>
              <a:gd name="connsiteX24314" fmla="*/ 2613298 w 8079933"/>
              <a:gd name="connsiteY24314" fmla="*/ 786152 h 4687251"/>
              <a:gd name="connsiteX24315" fmla="*/ 2615468 w 8079933"/>
              <a:gd name="connsiteY24315" fmla="*/ 782796 h 4687251"/>
              <a:gd name="connsiteX24316" fmla="*/ 2615793 w 8079933"/>
              <a:gd name="connsiteY24316" fmla="*/ 779440 h 4687251"/>
              <a:gd name="connsiteX24317" fmla="*/ 2617747 w 8079933"/>
              <a:gd name="connsiteY24317" fmla="*/ 778573 h 4687251"/>
              <a:gd name="connsiteX24318" fmla="*/ 2621328 w 8079933"/>
              <a:gd name="connsiteY24318" fmla="*/ 785828 h 4687251"/>
              <a:gd name="connsiteX24319" fmla="*/ 2624692 w 8079933"/>
              <a:gd name="connsiteY24319" fmla="*/ 787885 h 4687251"/>
              <a:gd name="connsiteX24320" fmla="*/ 2628815 w 8079933"/>
              <a:gd name="connsiteY24320" fmla="*/ 792107 h 4687251"/>
              <a:gd name="connsiteX24321" fmla="*/ 2629792 w 8079933"/>
              <a:gd name="connsiteY24321" fmla="*/ 796438 h 4687251"/>
              <a:gd name="connsiteX24322" fmla="*/ 2630769 w 8079933"/>
              <a:gd name="connsiteY24322" fmla="*/ 800985 h 4687251"/>
              <a:gd name="connsiteX24323" fmla="*/ 2635218 w 8079933"/>
              <a:gd name="connsiteY24323" fmla="*/ 805858 h 4687251"/>
              <a:gd name="connsiteX24324" fmla="*/ 2635543 w 8079933"/>
              <a:gd name="connsiteY24324" fmla="*/ 807915 h 4687251"/>
              <a:gd name="connsiteX24325" fmla="*/ 2632397 w 8079933"/>
              <a:gd name="connsiteY24325" fmla="*/ 811054 h 4687251"/>
              <a:gd name="connsiteX24326" fmla="*/ 2627839 w 8079933"/>
              <a:gd name="connsiteY24326" fmla="*/ 816685 h 4687251"/>
              <a:gd name="connsiteX24327" fmla="*/ 2625126 w 8079933"/>
              <a:gd name="connsiteY24327" fmla="*/ 816793 h 4687251"/>
              <a:gd name="connsiteX24328" fmla="*/ 2621979 w 8079933"/>
              <a:gd name="connsiteY24328" fmla="*/ 814195 h 4687251"/>
              <a:gd name="connsiteX24329" fmla="*/ 2617964 w 8079933"/>
              <a:gd name="connsiteY24329" fmla="*/ 810730 h 4687251"/>
              <a:gd name="connsiteX24330" fmla="*/ 2615685 w 8079933"/>
              <a:gd name="connsiteY24330" fmla="*/ 811054 h 4687251"/>
              <a:gd name="connsiteX24331" fmla="*/ 2613515 w 8079933"/>
              <a:gd name="connsiteY24331" fmla="*/ 812787 h 4687251"/>
              <a:gd name="connsiteX24332" fmla="*/ 2610694 w 8079933"/>
              <a:gd name="connsiteY24332" fmla="*/ 813870 h 4687251"/>
              <a:gd name="connsiteX24333" fmla="*/ 2608523 w 8079933"/>
              <a:gd name="connsiteY24333" fmla="*/ 818201 h 4687251"/>
              <a:gd name="connsiteX24334" fmla="*/ 2605159 w 8079933"/>
              <a:gd name="connsiteY24334" fmla="*/ 820150 h 4687251"/>
              <a:gd name="connsiteX24335" fmla="*/ 2602338 w 8079933"/>
              <a:gd name="connsiteY24335" fmla="*/ 820041 h 4687251"/>
              <a:gd name="connsiteX24336" fmla="*/ 2599733 w 8079933"/>
              <a:gd name="connsiteY24336" fmla="*/ 823181 h 4687251"/>
              <a:gd name="connsiteX24337" fmla="*/ 2604942 w 8079933"/>
              <a:gd name="connsiteY24337" fmla="*/ 822423 h 4687251"/>
              <a:gd name="connsiteX24338" fmla="*/ 2607329 w 8079933"/>
              <a:gd name="connsiteY24338" fmla="*/ 822423 h 4687251"/>
              <a:gd name="connsiteX24339" fmla="*/ 2608414 w 8079933"/>
              <a:gd name="connsiteY24339" fmla="*/ 825238 h 4687251"/>
              <a:gd name="connsiteX24340" fmla="*/ 2604725 w 8079933"/>
              <a:gd name="connsiteY24340" fmla="*/ 829352 h 4687251"/>
              <a:gd name="connsiteX24341" fmla="*/ 2600818 w 8079933"/>
              <a:gd name="connsiteY24341" fmla="*/ 831301 h 4687251"/>
              <a:gd name="connsiteX24342" fmla="*/ 2597020 w 8079933"/>
              <a:gd name="connsiteY24342" fmla="*/ 833250 h 4687251"/>
              <a:gd name="connsiteX24343" fmla="*/ 2602663 w 8079933"/>
              <a:gd name="connsiteY24343" fmla="*/ 833358 h 4687251"/>
              <a:gd name="connsiteX24344" fmla="*/ 2606461 w 8079933"/>
              <a:gd name="connsiteY24344" fmla="*/ 831085 h 4687251"/>
              <a:gd name="connsiteX24345" fmla="*/ 2611562 w 8079933"/>
              <a:gd name="connsiteY24345" fmla="*/ 830327 h 4687251"/>
              <a:gd name="connsiteX24346" fmla="*/ 2615360 w 8079933"/>
              <a:gd name="connsiteY24346" fmla="*/ 830976 h 4687251"/>
              <a:gd name="connsiteX24347" fmla="*/ 2619483 w 8079933"/>
              <a:gd name="connsiteY24347" fmla="*/ 827620 h 4687251"/>
              <a:gd name="connsiteX24348" fmla="*/ 2623716 w 8079933"/>
              <a:gd name="connsiteY24348" fmla="*/ 827728 h 4687251"/>
              <a:gd name="connsiteX24349" fmla="*/ 2626429 w 8079933"/>
              <a:gd name="connsiteY24349" fmla="*/ 829894 h 4687251"/>
              <a:gd name="connsiteX24350" fmla="*/ 2626862 w 8079933"/>
              <a:gd name="connsiteY24350" fmla="*/ 832059 h 4687251"/>
              <a:gd name="connsiteX24351" fmla="*/ 2626102 w 8079933"/>
              <a:gd name="connsiteY24351" fmla="*/ 833683 h 4687251"/>
              <a:gd name="connsiteX24352" fmla="*/ 2628056 w 8079933"/>
              <a:gd name="connsiteY24352" fmla="*/ 832492 h 4687251"/>
              <a:gd name="connsiteX24353" fmla="*/ 2629250 w 8079933"/>
              <a:gd name="connsiteY24353" fmla="*/ 827187 h 4687251"/>
              <a:gd name="connsiteX24354" fmla="*/ 2628815 w 8079933"/>
              <a:gd name="connsiteY24354" fmla="*/ 823181 h 4687251"/>
              <a:gd name="connsiteX24355" fmla="*/ 2631529 w 8079933"/>
              <a:gd name="connsiteY24355" fmla="*/ 819717 h 4687251"/>
              <a:gd name="connsiteX24356" fmla="*/ 2638365 w 8079933"/>
              <a:gd name="connsiteY24356" fmla="*/ 816468 h 4687251"/>
              <a:gd name="connsiteX24357" fmla="*/ 2639559 w 8079933"/>
              <a:gd name="connsiteY24357" fmla="*/ 817659 h 4687251"/>
              <a:gd name="connsiteX24358" fmla="*/ 2639016 w 8079933"/>
              <a:gd name="connsiteY24358" fmla="*/ 820799 h 4687251"/>
              <a:gd name="connsiteX24359" fmla="*/ 2640318 w 8079933"/>
              <a:gd name="connsiteY24359" fmla="*/ 824697 h 4687251"/>
              <a:gd name="connsiteX24360" fmla="*/ 2638148 w 8079933"/>
              <a:gd name="connsiteY24360" fmla="*/ 828811 h 4687251"/>
              <a:gd name="connsiteX24361" fmla="*/ 2633916 w 8079933"/>
              <a:gd name="connsiteY24361" fmla="*/ 834441 h 4687251"/>
              <a:gd name="connsiteX24362" fmla="*/ 2629141 w 8079933"/>
              <a:gd name="connsiteY24362" fmla="*/ 836282 h 4687251"/>
              <a:gd name="connsiteX24363" fmla="*/ 2625777 w 8079933"/>
              <a:gd name="connsiteY24363" fmla="*/ 839205 h 4687251"/>
              <a:gd name="connsiteX24364" fmla="*/ 2624909 w 8079933"/>
              <a:gd name="connsiteY24364" fmla="*/ 841262 h 4687251"/>
              <a:gd name="connsiteX24365" fmla="*/ 2620568 w 8079933"/>
              <a:gd name="connsiteY24365" fmla="*/ 841154 h 4687251"/>
              <a:gd name="connsiteX24366" fmla="*/ 2617964 w 8079933"/>
              <a:gd name="connsiteY24366" fmla="*/ 839963 h 4687251"/>
              <a:gd name="connsiteX24367" fmla="*/ 2615143 w 8079933"/>
              <a:gd name="connsiteY24367" fmla="*/ 840071 h 4687251"/>
              <a:gd name="connsiteX24368" fmla="*/ 2612755 w 8079933"/>
              <a:gd name="connsiteY24368" fmla="*/ 842994 h 4687251"/>
              <a:gd name="connsiteX24369" fmla="*/ 2611995 w 8079933"/>
              <a:gd name="connsiteY24369" fmla="*/ 846243 h 4687251"/>
              <a:gd name="connsiteX24370" fmla="*/ 2607764 w 8079933"/>
              <a:gd name="connsiteY24370" fmla="*/ 850465 h 4687251"/>
              <a:gd name="connsiteX24371" fmla="*/ 2607112 w 8079933"/>
              <a:gd name="connsiteY24371" fmla="*/ 853280 h 4687251"/>
              <a:gd name="connsiteX24372" fmla="*/ 2605811 w 8079933"/>
              <a:gd name="connsiteY24372" fmla="*/ 855987 h 4687251"/>
              <a:gd name="connsiteX24373" fmla="*/ 2608197 w 8079933"/>
              <a:gd name="connsiteY24373" fmla="*/ 855554 h 4687251"/>
              <a:gd name="connsiteX24374" fmla="*/ 2613623 w 8079933"/>
              <a:gd name="connsiteY24374" fmla="*/ 849707 h 4687251"/>
              <a:gd name="connsiteX24375" fmla="*/ 2617096 w 8079933"/>
              <a:gd name="connsiteY24375" fmla="*/ 843752 h 4687251"/>
              <a:gd name="connsiteX24376" fmla="*/ 2619591 w 8079933"/>
              <a:gd name="connsiteY24376" fmla="*/ 842670 h 4687251"/>
              <a:gd name="connsiteX24377" fmla="*/ 2620894 w 8079933"/>
              <a:gd name="connsiteY24377" fmla="*/ 843969 h 4687251"/>
              <a:gd name="connsiteX24378" fmla="*/ 2622630 w 8079933"/>
              <a:gd name="connsiteY24378" fmla="*/ 844186 h 4687251"/>
              <a:gd name="connsiteX24379" fmla="*/ 2623173 w 8079933"/>
              <a:gd name="connsiteY24379" fmla="*/ 846026 h 4687251"/>
              <a:gd name="connsiteX24380" fmla="*/ 2621003 w 8079933"/>
              <a:gd name="connsiteY24380" fmla="*/ 848408 h 4687251"/>
              <a:gd name="connsiteX24381" fmla="*/ 2618181 w 8079933"/>
              <a:gd name="connsiteY24381" fmla="*/ 853605 h 4687251"/>
              <a:gd name="connsiteX24382" fmla="*/ 2612321 w 8079933"/>
              <a:gd name="connsiteY24382" fmla="*/ 859452 h 4687251"/>
              <a:gd name="connsiteX24383" fmla="*/ 2608740 w 8079933"/>
              <a:gd name="connsiteY24383" fmla="*/ 862916 h 4687251"/>
              <a:gd name="connsiteX24384" fmla="*/ 2608849 w 8079933"/>
              <a:gd name="connsiteY24384" fmla="*/ 864324 h 4687251"/>
              <a:gd name="connsiteX24385" fmla="*/ 2616336 w 8079933"/>
              <a:gd name="connsiteY24385" fmla="*/ 860318 h 4687251"/>
              <a:gd name="connsiteX24386" fmla="*/ 2624258 w 8079933"/>
              <a:gd name="connsiteY24386" fmla="*/ 851439 h 4687251"/>
              <a:gd name="connsiteX24387" fmla="*/ 2627405 w 8079933"/>
              <a:gd name="connsiteY24387" fmla="*/ 844077 h 4687251"/>
              <a:gd name="connsiteX24388" fmla="*/ 2628165 w 8079933"/>
              <a:gd name="connsiteY24388" fmla="*/ 840937 h 4687251"/>
              <a:gd name="connsiteX24389" fmla="*/ 2630118 w 8079933"/>
              <a:gd name="connsiteY24389" fmla="*/ 838447 h 4687251"/>
              <a:gd name="connsiteX24390" fmla="*/ 2632722 w 8079933"/>
              <a:gd name="connsiteY24390" fmla="*/ 838447 h 4687251"/>
              <a:gd name="connsiteX24391" fmla="*/ 2639559 w 8079933"/>
              <a:gd name="connsiteY24391" fmla="*/ 833683 h 4687251"/>
              <a:gd name="connsiteX24392" fmla="*/ 2645744 w 8079933"/>
              <a:gd name="connsiteY24392" fmla="*/ 831193 h 4687251"/>
              <a:gd name="connsiteX24393" fmla="*/ 2648783 w 8079933"/>
              <a:gd name="connsiteY24393" fmla="*/ 830219 h 4687251"/>
              <a:gd name="connsiteX24394" fmla="*/ 2649217 w 8079933"/>
              <a:gd name="connsiteY24394" fmla="*/ 831843 h 4687251"/>
              <a:gd name="connsiteX24395" fmla="*/ 2647480 w 8079933"/>
              <a:gd name="connsiteY24395" fmla="*/ 834658 h 4687251"/>
              <a:gd name="connsiteX24396" fmla="*/ 2642597 w 8079933"/>
              <a:gd name="connsiteY24396" fmla="*/ 839746 h 4687251"/>
              <a:gd name="connsiteX24397" fmla="*/ 2637931 w 8079933"/>
              <a:gd name="connsiteY24397" fmla="*/ 839746 h 4687251"/>
              <a:gd name="connsiteX24398" fmla="*/ 2635218 w 8079933"/>
              <a:gd name="connsiteY24398" fmla="*/ 842020 h 4687251"/>
              <a:gd name="connsiteX24399" fmla="*/ 2634567 w 8079933"/>
              <a:gd name="connsiteY24399" fmla="*/ 846026 h 4687251"/>
              <a:gd name="connsiteX24400" fmla="*/ 2635652 w 8079933"/>
              <a:gd name="connsiteY24400" fmla="*/ 846892 h 4687251"/>
              <a:gd name="connsiteX24401" fmla="*/ 2638799 w 8079933"/>
              <a:gd name="connsiteY24401" fmla="*/ 843644 h 4687251"/>
              <a:gd name="connsiteX24402" fmla="*/ 2643574 w 8079933"/>
              <a:gd name="connsiteY24402" fmla="*/ 843103 h 4687251"/>
              <a:gd name="connsiteX24403" fmla="*/ 2647806 w 8079933"/>
              <a:gd name="connsiteY24403" fmla="*/ 839421 h 4687251"/>
              <a:gd name="connsiteX24404" fmla="*/ 2651170 w 8079933"/>
              <a:gd name="connsiteY24404" fmla="*/ 838339 h 4687251"/>
              <a:gd name="connsiteX24405" fmla="*/ 2653449 w 8079933"/>
              <a:gd name="connsiteY24405" fmla="*/ 836390 h 4687251"/>
              <a:gd name="connsiteX24406" fmla="*/ 2656813 w 8079933"/>
              <a:gd name="connsiteY24406" fmla="*/ 834225 h 4687251"/>
              <a:gd name="connsiteX24407" fmla="*/ 2660068 w 8079933"/>
              <a:gd name="connsiteY24407" fmla="*/ 834658 h 4687251"/>
              <a:gd name="connsiteX24408" fmla="*/ 2662131 w 8079933"/>
              <a:gd name="connsiteY24408" fmla="*/ 838988 h 4687251"/>
              <a:gd name="connsiteX24409" fmla="*/ 2667230 w 8079933"/>
              <a:gd name="connsiteY24409" fmla="*/ 844727 h 4687251"/>
              <a:gd name="connsiteX24410" fmla="*/ 2669835 w 8079933"/>
              <a:gd name="connsiteY24410" fmla="*/ 848841 h 4687251"/>
              <a:gd name="connsiteX24411" fmla="*/ 2673525 w 8079933"/>
              <a:gd name="connsiteY24411" fmla="*/ 850682 h 4687251"/>
              <a:gd name="connsiteX24412" fmla="*/ 2674393 w 8079933"/>
              <a:gd name="connsiteY24412" fmla="*/ 853280 h 4687251"/>
              <a:gd name="connsiteX24413" fmla="*/ 2673742 w 8079933"/>
              <a:gd name="connsiteY24413" fmla="*/ 857178 h 4687251"/>
              <a:gd name="connsiteX24414" fmla="*/ 2669075 w 8079933"/>
              <a:gd name="connsiteY24414" fmla="*/ 861617 h 4687251"/>
              <a:gd name="connsiteX24415" fmla="*/ 2667230 w 8079933"/>
              <a:gd name="connsiteY24415" fmla="*/ 860535 h 4687251"/>
              <a:gd name="connsiteX24416" fmla="*/ 2667665 w 8079933"/>
              <a:gd name="connsiteY24416" fmla="*/ 855878 h 4687251"/>
              <a:gd name="connsiteX24417" fmla="*/ 2664734 w 8079933"/>
              <a:gd name="connsiteY24417" fmla="*/ 856637 h 4687251"/>
              <a:gd name="connsiteX24418" fmla="*/ 2663975 w 8079933"/>
              <a:gd name="connsiteY24418" fmla="*/ 858910 h 4687251"/>
              <a:gd name="connsiteX24419" fmla="*/ 2661804 w 8079933"/>
              <a:gd name="connsiteY24419" fmla="*/ 861509 h 4687251"/>
              <a:gd name="connsiteX24420" fmla="*/ 2658766 w 8079933"/>
              <a:gd name="connsiteY24420" fmla="*/ 864324 h 4687251"/>
              <a:gd name="connsiteX24421" fmla="*/ 2651279 w 8079933"/>
              <a:gd name="connsiteY24421" fmla="*/ 864865 h 4687251"/>
              <a:gd name="connsiteX24422" fmla="*/ 2647915 w 8079933"/>
              <a:gd name="connsiteY24422" fmla="*/ 866381 h 4687251"/>
              <a:gd name="connsiteX24423" fmla="*/ 2642923 w 8079933"/>
              <a:gd name="connsiteY24423" fmla="*/ 866164 h 4687251"/>
              <a:gd name="connsiteX24424" fmla="*/ 2636520 w 8079933"/>
              <a:gd name="connsiteY24424" fmla="*/ 870387 h 4687251"/>
              <a:gd name="connsiteX24425" fmla="*/ 2632614 w 8079933"/>
              <a:gd name="connsiteY24425" fmla="*/ 870712 h 4687251"/>
              <a:gd name="connsiteX24426" fmla="*/ 2625994 w 8079933"/>
              <a:gd name="connsiteY24426" fmla="*/ 874501 h 4687251"/>
              <a:gd name="connsiteX24427" fmla="*/ 2630227 w 8079933"/>
              <a:gd name="connsiteY24427" fmla="*/ 873960 h 4687251"/>
              <a:gd name="connsiteX24428" fmla="*/ 2632505 w 8079933"/>
              <a:gd name="connsiteY24428" fmla="*/ 875151 h 4687251"/>
              <a:gd name="connsiteX24429" fmla="*/ 2631203 w 8079933"/>
              <a:gd name="connsiteY24429" fmla="*/ 878290 h 4687251"/>
              <a:gd name="connsiteX24430" fmla="*/ 2625234 w 8079933"/>
              <a:gd name="connsiteY24430" fmla="*/ 879590 h 4687251"/>
              <a:gd name="connsiteX24431" fmla="*/ 2623498 w 8079933"/>
              <a:gd name="connsiteY24431" fmla="*/ 881755 h 4687251"/>
              <a:gd name="connsiteX24432" fmla="*/ 2631529 w 8079933"/>
              <a:gd name="connsiteY24432" fmla="*/ 880672 h 4687251"/>
              <a:gd name="connsiteX24433" fmla="*/ 2636195 w 8079933"/>
              <a:gd name="connsiteY24433" fmla="*/ 875800 h 4687251"/>
              <a:gd name="connsiteX24434" fmla="*/ 2643140 w 8079933"/>
              <a:gd name="connsiteY24434" fmla="*/ 869737 h 4687251"/>
              <a:gd name="connsiteX24435" fmla="*/ 2648240 w 8079933"/>
              <a:gd name="connsiteY24435" fmla="*/ 869304 h 4687251"/>
              <a:gd name="connsiteX24436" fmla="*/ 2651821 w 8079933"/>
              <a:gd name="connsiteY24436" fmla="*/ 870387 h 4687251"/>
              <a:gd name="connsiteX24437" fmla="*/ 2655077 w 8079933"/>
              <a:gd name="connsiteY24437" fmla="*/ 869088 h 4687251"/>
              <a:gd name="connsiteX24438" fmla="*/ 2658115 w 8079933"/>
              <a:gd name="connsiteY24438" fmla="*/ 868980 h 4687251"/>
              <a:gd name="connsiteX24439" fmla="*/ 2658332 w 8079933"/>
              <a:gd name="connsiteY24439" fmla="*/ 870712 h 4687251"/>
              <a:gd name="connsiteX24440" fmla="*/ 2657898 w 8079933"/>
              <a:gd name="connsiteY24440" fmla="*/ 875692 h 4687251"/>
              <a:gd name="connsiteX24441" fmla="*/ 2654751 w 8079933"/>
              <a:gd name="connsiteY24441" fmla="*/ 877857 h 4687251"/>
              <a:gd name="connsiteX24442" fmla="*/ 2650627 w 8079933"/>
              <a:gd name="connsiteY24442" fmla="*/ 880456 h 4687251"/>
              <a:gd name="connsiteX24443" fmla="*/ 2648023 w 8079933"/>
              <a:gd name="connsiteY24443" fmla="*/ 880348 h 4687251"/>
              <a:gd name="connsiteX24444" fmla="*/ 2644442 w 8079933"/>
              <a:gd name="connsiteY24444" fmla="*/ 881972 h 4687251"/>
              <a:gd name="connsiteX24445" fmla="*/ 2641729 w 8079933"/>
              <a:gd name="connsiteY24445" fmla="*/ 886194 h 4687251"/>
              <a:gd name="connsiteX24446" fmla="*/ 2637931 w 8079933"/>
              <a:gd name="connsiteY24446" fmla="*/ 887818 h 4687251"/>
              <a:gd name="connsiteX24447" fmla="*/ 2634242 w 8079933"/>
              <a:gd name="connsiteY24447" fmla="*/ 885870 h 4687251"/>
              <a:gd name="connsiteX24448" fmla="*/ 2631637 w 8079933"/>
              <a:gd name="connsiteY24448" fmla="*/ 886953 h 4687251"/>
              <a:gd name="connsiteX24449" fmla="*/ 2627622 w 8079933"/>
              <a:gd name="connsiteY24449" fmla="*/ 890850 h 4687251"/>
              <a:gd name="connsiteX24450" fmla="*/ 2630118 w 8079933"/>
              <a:gd name="connsiteY24450" fmla="*/ 890309 h 4687251"/>
              <a:gd name="connsiteX24451" fmla="*/ 2634133 w 8079933"/>
              <a:gd name="connsiteY24451" fmla="*/ 888793 h 4687251"/>
              <a:gd name="connsiteX24452" fmla="*/ 2637388 w 8079933"/>
              <a:gd name="connsiteY24452" fmla="*/ 889659 h 4687251"/>
              <a:gd name="connsiteX24453" fmla="*/ 2639668 w 8079933"/>
              <a:gd name="connsiteY24453" fmla="*/ 891067 h 4687251"/>
              <a:gd name="connsiteX24454" fmla="*/ 2644442 w 8079933"/>
              <a:gd name="connsiteY24454" fmla="*/ 887169 h 4687251"/>
              <a:gd name="connsiteX24455" fmla="*/ 2647480 w 8079933"/>
              <a:gd name="connsiteY24455" fmla="*/ 882838 h 4687251"/>
              <a:gd name="connsiteX24456" fmla="*/ 2651604 w 8079933"/>
              <a:gd name="connsiteY24456" fmla="*/ 881431 h 4687251"/>
              <a:gd name="connsiteX24457" fmla="*/ 2654643 w 8079933"/>
              <a:gd name="connsiteY24457" fmla="*/ 882621 h 4687251"/>
              <a:gd name="connsiteX24458" fmla="*/ 2658875 w 8079933"/>
              <a:gd name="connsiteY24458" fmla="*/ 883488 h 4687251"/>
              <a:gd name="connsiteX24459" fmla="*/ 2661913 w 8079933"/>
              <a:gd name="connsiteY24459" fmla="*/ 879915 h 4687251"/>
              <a:gd name="connsiteX24460" fmla="*/ 2666471 w 8079933"/>
              <a:gd name="connsiteY24460" fmla="*/ 877857 h 4687251"/>
              <a:gd name="connsiteX24461" fmla="*/ 2668207 w 8079933"/>
              <a:gd name="connsiteY24461" fmla="*/ 876450 h 4687251"/>
              <a:gd name="connsiteX24462" fmla="*/ 2668207 w 8079933"/>
              <a:gd name="connsiteY24462" fmla="*/ 873635 h 4687251"/>
              <a:gd name="connsiteX24463" fmla="*/ 2666579 w 8079933"/>
              <a:gd name="connsiteY24463" fmla="*/ 872227 h 4687251"/>
              <a:gd name="connsiteX24464" fmla="*/ 2669292 w 8079933"/>
              <a:gd name="connsiteY24464" fmla="*/ 868329 h 4687251"/>
              <a:gd name="connsiteX24465" fmla="*/ 2669401 w 8079933"/>
              <a:gd name="connsiteY24465" fmla="*/ 865839 h 4687251"/>
              <a:gd name="connsiteX24466" fmla="*/ 2672548 w 8079933"/>
              <a:gd name="connsiteY24466" fmla="*/ 864974 h 4687251"/>
              <a:gd name="connsiteX24467" fmla="*/ 2673633 w 8079933"/>
              <a:gd name="connsiteY24467" fmla="*/ 865948 h 4687251"/>
              <a:gd name="connsiteX24468" fmla="*/ 2675478 w 8079933"/>
              <a:gd name="connsiteY24468" fmla="*/ 865298 h 4687251"/>
              <a:gd name="connsiteX24469" fmla="*/ 2676888 w 8079933"/>
              <a:gd name="connsiteY24469" fmla="*/ 870278 h 4687251"/>
              <a:gd name="connsiteX24470" fmla="*/ 2681121 w 8079933"/>
              <a:gd name="connsiteY24470" fmla="*/ 879698 h 4687251"/>
              <a:gd name="connsiteX24471" fmla="*/ 2682314 w 8079933"/>
              <a:gd name="connsiteY24471" fmla="*/ 885437 h 4687251"/>
              <a:gd name="connsiteX24472" fmla="*/ 2684919 w 8079933"/>
              <a:gd name="connsiteY24472" fmla="*/ 888901 h 4687251"/>
              <a:gd name="connsiteX24473" fmla="*/ 2684051 w 8079933"/>
              <a:gd name="connsiteY24473" fmla="*/ 892582 h 4687251"/>
              <a:gd name="connsiteX24474" fmla="*/ 2681989 w 8079933"/>
              <a:gd name="connsiteY24474" fmla="*/ 895831 h 4687251"/>
              <a:gd name="connsiteX24475" fmla="*/ 2676888 w 8079933"/>
              <a:gd name="connsiteY24475" fmla="*/ 895614 h 4687251"/>
              <a:gd name="connsiteX24476" fmla="*/ 2673742 w 8079933"/>
              <a:gd name="connsiteY24476" fmla="*/ 893340 h 4687251"/>
              <a:gd name="connsiteX24477" fmla="*/ 2667230 w 8079933"/>
              <a:gd name="connsiteY24477" fmla="*/ 892799 h 4687251"/>
              <a:gd name="connsiteX24478" fmla="*/ 2663758 w 8079933"/>
              <a:gd name="connsiteY24478" fmla="*/ 894639 h 4687251"/>
              <a:gd name="connsiteX24479" fmla="*/ 2660068 w 8079933"/>
              <a:gd name="connsiteY24479" fmla="*/ 897130 h 4687251"/>
              <a:gd name="connsiteX24480" fmla="*/ 2657138 w 8079933"/>
              <a:gd name="connsiteY24480" fmla="*/ 897238 h 4687251"/>
              <a:gd name="connsiteX24481" fmla="*/ 2655728 w 8079933"/>
              <a:gd name="connsiteY24481" fmla="*/ 896047 h 4687251"/>
              <a:gd name="connsiteX24482" fmla="*/ 2652038 w 8079933"/>
              <a:gd name="connsiteY24482" fmla="*/ 896263 h 4687251"/>
              <a:gd name="connsiteX24483" fmla="*/ 2649108 w 8079933"/>
              <a:gd name="connsiteY24483" fmla="*/ 899079 h 4687251"/>
              <a:gd name="connsiteX24484" fmla="*/ 2641838 w 8079933"/>
              <a:gd name="connsiteY24484" fmla="*/ 900161 h 4687251"/>
              <a:gd name="connsiteX24485" fmla="*/ 2644984 w 8079933"/>
              <a:gd name="connsiteY24485" fmla="*/ 901353 h 4687251"/>
              <a:gd name="connsiteX24486" fmla="*/ 2653232 w 8079933"/>
              <a:gd name="connsiteY24486" fmla="*/ 900161 h 4687251"/>
              <a:gd name="connsiteX24487" fmla="*/ 2657464 w 8079933"/>
              <a:gd name="connsiteY24487" fmla="*/ 901461 h 4687251"/>
              <a:gd name="connsiteX24488" fmla="*/ 2663867 w 8079933"/>
              <a:gd name="connsiteY24488" fmla="*/ 907416 h 4687251"/>
              <a:gd name="connsiteX24489" fmla="*/ 2667122 w 8079933"/>
              <a:gd name="connsiteY24489" fmla="*/ 909256 h 4687251"/>
              <a:gd name="connsiteX24490" fmla="*/ 2669618 w 8079933"/>
              <a:gd name="connsiteY24490" fmla="*/ 907957 h 4687251"/>
              <a:gd name="connsiteX24491" fmla="*/ 2672331 w 8079933"/>
              <a:gd name="connsiteY24491" fmla="*/ 907199 h 4687251"/>
              <a:gd name="connsiteX24492" fmla="*/ 2674610 w 8079933"/>
              <a:gd name="connsiteY24492" fmla="*/ 908823 h 4687251"/>
              <a:gd name="connsiteX24493" fmla="*/ 2678408 w 8079933"/>
              <a:gd name="connsiteY24493" fmla="*/ 911205 h 4687251"/>
              <a:gd name="connsiteX24494" fmla="*/ 2683182 w 8079933"/>
              <a:gd name="connsiteY24494" fmla="*/ 913045 h 4687251"/>
              <a:gd name="connsiteX24495" fmla="*/ 2683725 w 8079933"/>
              <a:gd name="connsiteY24495" fmla="*/ 916402 h 4687251"/>
              <a:gd name="connsiteX24496" fmla="*/ 2686004 w 8079933"/>
              <a:gd name="connsiteY24496" fmla="*/ 920191 h 4687251"/>
              <a:gd name="connsiteX24497" fmla="*/ 2686221 w 8079933"/>
              <a:gd name="connsiteY24497" fmla="*/ 925280 h 4687251"/>
              <a:gd name="connsiteX24498" fmla="*/ 2684376 w 8079933"/>
              <a:gd name="connsiteY24498" fmla="*/ 926796 h 4687251"/>
              <a:gd name="connsiteX24499" fmla="*/ 2681121 w 8079933"/>
              <a:gd name="connsiteY24499" fmla="*/ 926688 h 4687251"/>
              <a:gd name="connsiteX24500" fmla="*/ 2678842 w 8079933"/>
              <a:gd name="connsiteY24500" fmla="*/ 922898 h 4687251"/>
              <a:gd name="connsiteX24501" fmla="*/ 2677214 w 8079933"/>
              <a:gd name="connsiteY24501" fmla="*/ 923223 h 4687251"/>
              <a:gd name="connsiteX24502" fmla="*/ 2675152 w 8079933"/>
              <a:gd name="connsiteY24502" fmla="*/ 925713 h 4687251"/>
              <a:gd name="connsiteX24503" fmla="*/ 2672982 w 8079933"/>
              <a:gd name="connsiteY24503" fmla="*/ 924630 h 4687251"/>
              <a:gd name="connsiteX24504" fmla="*/ 2671463 w 8079933"/>
              <a:gd name="connsiteY24504" fmla="*/ 922140 h 4687251"/>
              <a:gd name="connsiteX24505" fmla="*/ 2668967 w 8079933"/>
              <a:gd name="connsiteY24505" fmla="*/ 923440 h 4687251"/>
              <a:gd name="connsiteX24506" fmla="*/ 2666037 w 8079933"/>
              <a:gd name="connsiteY24506" fmla="*/ 922681 h 4687251"/>
              <a:gd name="connsiteX24507" fmla="*/ 2660503 w 8079933"/>
              <a:gd name="connsiteY24507" fmla="*/ 916510 h 4687251"/>
              <a:gd name="connsiteX24508" fmla="*/ 2658224 w 8079933"/>
              <a:gd name="connsiteY24508" fmla="*/ 915752 h 4687251"/>
              <a:gd name="connsiteX24509" fmla="*/ 2655077 w 8079933"/>
              <a:gd name="connsiteY24509" fmla="*/ 916185 h 4687251"/>
              <a:gd name="connsiteX24510" fmla="*/ 2651170 w 8079933"/>
              <a:gd name="connsiteY24510" fmla="*/ 916618 h 4687251"/>
              <a:gd name="connsiteX24511" fmla="*/ 2647589 w 8079933"/>
              <a:gd name="connsiteY24511" fmla="*/ 914886 h 4687251"/>
              <a:gd name="connsiteX24512" fmla="*/ 2649000 w 8079933"/>
              <a:gd name="connsiteY24512" fmla="*/ 916943 h 4687251"/>
              <a:gd name="connsiteX24513" fmla="*/ 2653557 w 8079933"/>
              <a:gd name="connsiteY24513" fmla="*/ 918351 h 4687251"/>
              <a:gd name="connsiteX24514" fmla="*/ 2657247 w 8079933"/>
              <a:gd name="connsiteY24514" fmla="*/ 919108 h 4687251"/>
              <a:gd name="connsiteX24515" fmla="*/ 2656053 w 8079933"/>
              <a:gd name="connsiteY24515" fmla="*/ 921166 h 4687251"/>
              <a:gd name="connsiteX24516" fmla="*/ 2650410 w 8079933"/>
              <a:gd name="connsiteY24516" fmla="*/ 921599 h 4687251"/>
              <a:gd name="connsiteX24517" fmla="*/ 2648023 w 8079933"/>
              <a:gd name="connsiteY24517" fmla="*/ 922790 h 4687251"/>
              <a:gd name="connsiteX24518" fmla="*/ 2642814 w 8079933"/>
              <a:gd name="connsiteY24518" fmla="*/ 922790 h 4687251"/>
              <a:gd name="connsiteX24519" fmla="*/ 2639016 w 8079933"/>
              <a:gd name="connsiteY24519" fmla="*/ 925280 h 4687251"/>
              <a:gd name="connsiteX24520" fmla="*/ 2639668 w 8079933"/>
              <a:gd name="connsiteY24520" fmla="*/ 928312 h 4687251"/>
              <a:gd name="connsiteX24521" fmla="*/ 2641946 w 8079933"/>
              <a:gd name="connsiteY24521" fmla="*/ 927879 h 4687251"/>
              <a:gd name="connsiteX24522" fmla="*/ 2643031 w 8079933"/>
              <a:gd name="connsiteY24522" fmla="*/ 925822 h 4687251"/>
              <a:gd name="connsiteX24523" fmla="*/ 2648891 w 8079933"/>
              <a:gd name="connsiteY24523" fmla="*/ 925930 h 4687251"/>
              <a:gd name="connsiteX24524" fmla="*/ 2652581 w 8079933"/>
              <a:gd name="connsiteY24524" fmla="*/ 923873 h 4687251"/>
              <a:gd name="connsiteX24525" fmla="*/ 2656162 w 8079933"/>
              <a:gd name="connsiteY24525" fmla="*/ 923223 h 4687251"/>
              <a:gd name="connsiteX24526" fmla="*/ 2658549 w 8079933"/>
              <a:gd name="connsiteY24526" fmla="*/ 926579 h 4687251"/>
              <a:gd name="connsiteX24527" fmla="*/ 2658658 w 8079933"/>
              <a:gd name="connsiteY24527" fmla="*/ 928312 h 4687251"/>
              <a:gd name="connsiteX24528" fmla="*/ 2661479 w 8079933"/>
              <a:gd name="connsiteY24528" fmla="*/ 929611 h 4687251"/>
              <a:gd name="connsiteX24529" fmla="*/ 2661913 w 8079933"/>
              <a:gd name="connsiteY24529" fmla="*/ 931235 h 4687251"/>
              <a:gd name="connsiteX24530" fmla="*/ 2660828 w 8079933"/>
              <a:gd name="connsiteY24530" fmla="*/ 931777 h 4687251"/>
              <a:gd name="connsiteX24531" fmla="*/ 2656379 w 8079933"/>
              <a:gd name="connsiteY24531" fmla="*/ 931777 h 4687251"/>
              <a:gd name="connsiteX24532" fmla="*/ 2654208 w 8079933"/>
              <a:gd name="connsiteY24532" fmla="*/ 933400 h 4687251"/>
              <a:gd name="connsiteX24533" fmla="*/ 2652255 w 8079933"/>
              <a:gd name="connsiteY24533" fmla="*/ 932101 h 4687251"/>
              <a:gd name="connsiteX24534" fmla="*/ 2651062 w 8079933"/>
              <a:gd name="connsiteY24534" fmla="*/ 930369 h 4687251"/>
              <a:gd name="connsiteX24535" fmla="*/ 2648457 w 8079933"/>
              <a:gd name="connsiteY24535" fmla="*/ 930585 h 4687251"/>
              <a:gd name="connsiteX24536" fmla="*/ 2647264 w 8079933"/>
              <a:gd name="connsiteY24536" fmla="*/ 931560 h 4687251"/>
              <a:gd name="connsiteX24537" fmla="*/ 2650736 w 8079933"/>
              <a:gd name="connsiteY24537" fmla="*/ 934158 h 4687251"/>
              <a:gd name="connsiteX24538" fmla="*/ 2654100 w 8079933"/>
              <a:gd name="connsiteY24538" fmla="*/ 935566 h 4687251"/>
              <a:gd name="connsiteX24539" fmla="*/ 2655945 w 8079933"/>
              <a:gd name="connsiteY24539" fmla="*/ 937623 h 4687251"/>
              <a:gd name="connsiteX24540" fmla="*/ 2655836 w 8079933"/>
              <a:gd name="connsiteY24540" fmla="*/ 940546 h 4687251"/>
              <a:gd name="connsiteX24541" fmla="*/ 2657356 w 8079933"/>
              <a:gd name="connsiteY24541" fmla="*/ 942603 h 4687251"/>
              <a:gd name="connsiteX24542" fmla="*/ 2654860 w 8079933"/>
              <a:gd name="connsiteY24542" fmla="*/ 942928 h 4687251"/>
              <a:gd name="connsiteX24543" fmla="*/ 2645744 w 8079933"/>
              <a:gd name="connsiteY24543" fmla="*/ 940438 h 4687251"/>
              <a:gd name="connsiteX24544" fmla="*/ 2640101 w 8079933"/>
              <a:gd name="connsiteY24544" fmla="*/ 940222 h 4687251"/>
              <a:gd name="connsiteX24545" fmla="*/ 2631312 w 8079933"/>
              <a:gd name="connsiteY24545" fmla="*/ 936973 h 4687251"/>
              <a:gd name="connsiteX24546" fmla="*/ 2627622 w 8079933"/>
              <a:gd name="connsiteY24546" fmla="*/ 937514 h 4687251"/>
              <a:gd name="connsiteX24547" fmla="*/ 2628815 w 8079933"/>
              <a:gd name="connsiteY24547" fmla="*/ 939030 h 4687251"/>
              <a:gd name="connsiteX24548" fmla="*/ 2634025 w 8079933"/>
              <a:gd name="connsiteY24548" fmla="*/ 940438 h 4687251"/>
              <a:gd name="connsiteX24549" fmla="*/ 2646287 w 8079933"/>
              <a:gd name="connsiteY24549" fmla="*/ 946393 h 4687251"/>
              <a:gd name="connsiteX24550" fmla="*/ 2646938 w 8079933"/>
              <a:gd name="connsiteY24550" fmla="*/ 948883 h 4687251"/>
              <a:gd name="connsiteX24551" fmla="*/ 2644876 w 8079933"/>
              <a:gd name="connsiteY24551" fmla="*/ 949316 h 4687251"/>
              <a:gd name="connsiteX24552" fmla="*/ 2638148 w 8079933"/>
              <a:gd name="connsiteY24552" fmla="*/ 945202 h 4687251"/>
              <a:gd name="connsiteX24553" fmla="*/ 2636086 w 8079933"/>
              <a:gd name="connsiteY24553" fmla="*/ 945852 h 4687251"/>
              <a:gd name="connsiteX24554" fmla="*/ 2632831 w 8079933"/>
              <a:gd name="connsiteY24554" fmla="*/ 949532 h 4687251"/>
              <a:gd name="connsiteX24555" fmla="*/ 2635978 w 8079933"/>
              <a:gd name="connsiteY24555" fmla="*/ 948991 h 4687251"/>
              <a:gd name="connsiteX24556" fmla="*/ 2638040 w 8079933"/>
              <a:gd name="connsiteY24556" fmla="*/ 950399 h 4687251"/>
              <a:gd name="connsiteX24557" fmla="*/ 2640536 w 8079933"/>
              <a:gd name="connsiteY24557" fmla="*/ 952564 h 4687251"/>
              <a:gd name="connsiteX24558" fmla="*/ 2642163 w 8079933"/>
              <a:gd name="connsiteY24558" fmla="*/ 951698 h 4687251"/>
              <a:gd name="connsiteX24559" fmla="*/ 2644225 w 8079933"/>
              <a:gd name="connsiteY24559" fmla="*/ 952781 h 4687251"/>
              <a:gd name="connsiteX24560" fmla="*/ 2644551 w 8079933"/>
              <a:gd name="connsiteY24560" fmla="*/ 955921 h 4687251"/>
              <a:gd name="connsiteX24561" fmla="*/ 2646070 w 8079933"/>
              <a:gd name="connsiteY24561" fmla="*/ 958411 h 4687251"/>
              <a:gd name="connsiteX24562" fmla="*/ 2647806 w 8079933"/>
              <a:gd name="connsiteY24562" fmla="*/ 957220 h 4687251"/>
              <a:gd name="connsiteX24563" fmla="*/ 2648349 w 8079933"/>
              <a:gd name="connsiteY24563" fmla="*/ 954622 h 4687251"/>
              <a:gd name="connsiteX24564" fmla="*/ 2652255 w 8079933"/>
              <a:gd name="connsiteY24564" fmla="*/ 954622 h 4687251"/>
              <a:gd name="connsiteX24565" fmla="*/ 2651930 w 8079933"/>
              <a:gd name="connsiteY24565" fmla="*/ 957112 h 4687251"/>
              <a:gd name="connsiteX24566" fmla="*/ 2650410 w 8079933"/>
              <a:gd name="connsiteY24566" fmla="*/ 958952 h 4687251"/>
              <a:gd name="connsiteX24567" fmla="*/ 2650410 w 8079933"/>
              <a:gd name="connsiteY24567" fmla="*/ 960901 h 4687251"/>
              <a:gd name="connsiteX24568" fmla="*/ 2653015 w 8079933"/>
              <a:gd name="connsiteY24568" fmla="*/ 960685 h 4687251"/>
              <a:gd name="connsiteX24569" fmla="*/ 2653123 w 8079933"/>
              <a:gd name="connsiteY24569" fmla="*/ 956354 h 4687251"/>
              <a:gd name="connsiteX24570" fmla="*/ 2656379 w 8079933"/>
              <a:gd name="connsiteY24570" fmla="*/ 956354 h 4687251"/>
              <a:gd name="connsiteX24571" fmla="*/ 2661045 w 8079933"/>
              <a:gd name="connsiteY24571" fmla="*/ 958844 h 4687251"/>
              <a:gd name="connsiteX24572" fmla="*/ 2665386 w 8079933"/>
              <a:gd name="connsiteY24572" fmla="*/ 960144 h 4687251"/>
              <a:gd name="connsiteX24573" fmla="*/ 2669075 w 8079933"/>
              <a:gd name="connsiteY24573" fmla="*/ 960035 h 4687251"/>
              <a:gd name="connsiteX24574" fmla="*/ 2667447 w 8079933"/>
              <a:gd name="connsiteY24574" fmla="*/ 963824 h 4687251"/>
              <a:gd name="connsiteX24575" fmla="*/ 2666797 w 8079933"/>
              <a:gd name="connsiteY24575" fmla="*/ 965881 h 4687251"/>
              <a:gd name="connsiteX24576" fmla="*/ 2662673 w 8079933"/>
              <a:gd name="connsiteY24576" fmla="*/ 964474 h 4687251"/>
              <a:gd name="connsiteX24577" fmla="*/ 2660068 w 8079933"/>
              <a:gd name="connsiteY24577" fmla="*/ 962742 h 4687251"/>
              <a:gd name="connsiteX24578" fmla="*/ 2654751 w 8079933"/>
              <a:gd name="connsiteY24578" fmla="*/ 963608 h 4687251"/>
              <a:gd name="connsiteX24579" fmla="*/ 2647480 w 8079933"/>
              <a:gd name="connsiteY24579" fmla="*/ 967073 h 4687251"/>
              <a:gd name="connsiteX24580" fmla="*/ 2647264 w 8079933"/>
              <a:gd name="connsiteY24580" fmla="*/ 970429 h 4687251"/>
              <a:gd name="connsiteX24581" fmla="*/ 2650410 w 8079933"/>
              <a:gd name="connsiteY24581" fmla="*/ 967181 h 4687251"/>
              <a:gd name="connsiteX24582" fmla="*/ 2656053 w 8079933"/>
              <a:gd name="connsiteY24582" fmla="*/ 967181 h 4687251"/>
              <a:gd name="connsiteX24583" fmla="*/ 2660286 w 8079933"/>
              <a:gd name="connsiteY24583" fmla="*/ 968372 h 4687251"/>
              <a:gd name="connsiteX24584" fmla="*/ 2656379 w 8079933"/>
              <a:gd name="connsiteY24584" fmla="*/ 969130 h 4687251"/>
              <a:gd name="connsiteX24585" fmla="*/ 2655077 w 8079933"/>
              <a:gd name="connsiteY24585" fmla="*/ 972053 h 4687251"/>
              <a:gd name="connsiteX24586" fmla="*/ 2658006 w 8079933"/>
              <a:gd name="connsiteY24586" fmla="*/ 970646 h 4687251"/>
              <a:gd name="connsiteX24587" fmla="*/ 2663867 w 8079933"/>
              <a:gd name="connsiteY24587" fmla="*/ 970862 h 4687251"/>
              <a:gd name="connsiteX24588" fmla="*/ 2665929 w 8079933"/>
              <a:gd name="connsiteY24588" fmla="*/ 972919 h 4687251"/>
              <a:gd name="connsiteX24589" fmla="*/ 2664734 w 8079933"/>
              <a:gd name="connsiteY24589" fmla="*/ 974219 h 4687251"/>
              <a:gd name="connsiteX24590" fmla="*/ 2668641 w 8079933"/>
              <a:gd name="connsiteY24590" fmla="*/ 975842 h 4687251"/>
              <a:gd name="connsiteX24591" fmla="*/ 2670377 w 8079933"/>
              <a:gd name="connsiteY24591" fmla="*/ 978766 h 4687251"/>
              <a:gd name="connsiteX24592" fmla="*/ 2669075 w 8079933"/>
              <a:gd name="connsiteY24592" fmla="*/ 981364 h 4687251"/>
              <a:gd name="connsiteX24593" fmla="*/ 2666797 w 8079933"/>
              <a:gd name="connsiteY24593" fmla="*/ 986670 h 4687251"/>
              <a:gd name="connsiteX24594" fmla="*/ 2667339 w 8079933"/>
              <a:gd name="connsiteY24594" fmla="*/ 989593 h 4687251"/>
              <a:gd name="connsiteX24595" fmla="*/ 2668859 w 8079933"/>
              <a:gd name="connsiteY24595" fmla="*/ 988185 h 4687251"/>
              <a:gd name="connsiteX24596" fmla="*/ 2669401 w 8079933"/>
              <a:gd name="connsiteY24596" fmla="*/ 984937 h 4687251"/>
              <a:gd name="connsiteX24597" fmla="*/ 2672440 w 8079933"/>
              <a:gd name="connsiteY24597" fmla="*/ 981689 h 4687251"/>
              <a:gd name="connsiteX24598" fmla="*/ 2675695 w 8079933"/>
              <a:gd name="connsiteY24598" fmla="*/ 981364 h 4687251"/>
              <a:gd name="connsiteX24599" fmla="*/ 2676455 w 8079933"/>
              <a:gd name="connsiteY24599" fmla="*/ 984937 h 4687251"/>
              <a:gd name="connsiteX24600" fmla="*/ 2674718 w 8079933"/>
              <a:gd name="connsiteY24600" fmla="*/ 987536 h 4687251"/>
              <a:gd name="connsiteX24601" fmla="*/ 2670269 w 8079933"/>
              <a:gd name="connsiteY24601" fmla="*/ 995007 h 4687251"/>
              <a:gd name="connsiteX24602" fmla="*/ 2668424 w 8079933"/>
              <a:gd name="connsiteY24602" fmla="*/ 999229 h 4687251"/>
              <a:gd name="connsiteX24603" fmla="*/ 2668424 w 8079933"/>
              <a:gd name="connsiteY24603" fmla="*/ 1002585 h 4687251"/>
              <a:gd name="connsiteX24604" fmla="*/ 2670595 w 8079933"/>
              <a:gd name="connsiteY24604" fmla="*/ 1001286 h 4687251"/>
              <a:gd name="connsiteX24605" fmla="*/ 2673850 w 8079933"/>
              <a:gd name="connsiteY24605" fmla="*/ 995548 h 4687251"/>
              <a:gd name="connsiteX24606" fmla="*/ 2673850 w 8079933"/>
              <a:gd name="connsiteY24606" fmla="*/ 992841 h 4687251"/>
              <a:gd name="connsiteX24607" fmla="*/ 2676129 w 8079933"/>
              <a:gd name="connsiteY24607" fmla="*/ 989809 h 4687251"/>
              <a:gd name="connsiteX24608" fmla="*/ 2680469 w 8079933"/>
              <a:gd name="connsiteY24608" fmla="*/ 987752 h 4687251"/>
              <a:gd name="connsiteX24609" fmla="*/ 2680144 w 8079933"/>
              <a:gd name="connsiteY24609" fmla="*/ 986562 h 4687251"/>
              <a:gd name="connsiteX24610" fmla="*/ 2681772 w 8079933"/>
              <a:gd name="connsiteY24610" fmla="*/ 983421 h 4687251"/>
              <a:gd name="connsiteX24611" fmla="*/ 2685136 w 8079933"/>
              <a:gd name="connsiteY24611" fmla="*/ 980931 h 4687251"/>
              <a:gd name="connsiteX24612" fmla="*/ 2686329 w 8079933"/>
              <a:gd name="connsiteY24612" fmla="*/ 982014 h 4687251"/>
              <a:gd name="connsiteX24613" fmla="*/ 2685027 w 8079933"/>
              <a:gd name="connsiteY24613" fmla="*/ 985370 h 4687251"/>
              <a:gd name="connsiteX24614" fmla="*/ 2680795 w 8079933"/>
              <a:gd name="connsiteY24614" fmla="*/ 991109 h 4687251"/>
              <a:gd name="connsiteX24615" fmla="*/ 2678733 w 8079933"/>
              <a:gd name="connsiteY24615" fmla="*/ 994465 h 4687251"/>
              <a:gd name="connsiteX24616" fmla="*/ 2678625 w 8079933"/>
              <a:gd name="connsiteY24616" fmla="*/ 998796 h 4687251"/>
              <a:gd name="connsiteX24617" fmla="*/ 2679059 w 8079933"/>
              <a:gd name="connsiteY24617" fmla="*/ 1003127 h 4687251"/>
              <a:gd name="connsiteX24618" fmla="*/ 2681012 w 8079933"/>
              <a:gd name="connsiteY24618" fmla="*/ 1001719 h 4687251"/>
              <a:gd name="connsiteX24619" fmla="*/ 2680686 w 8079933"/>
              <a:gd name="connsiteY24619" fmla="*/ 998904 h 4687251"/>
              <a:gd name="connsiteX24620" fmla="*/ 2681121 w 8079933"/>
              <a:gd name="connsiteY24620" fmla="*/ 994682 h 4687251"/>
              <a:gd name="connsiteX24621" fmla="*/ 2684159 w 8079933"/>
              <a:gd name="connsiteY24621" fmla="*/ 992083 h 4687251"/>
              <a:gd name="connsiteX24622" fmla="*/ 2686764 w 8079933"/>
              <a:gd name="connsiteY24622" fmla="*/ 988619 h 4687251"/>
              <a:gd name="connsiteX24623" fmla="*/ 2692190 w 8079933"/>
              <a:gd name="connsiteY24623" fmla="*/ 984179 h 4687251"/>
              <a:gd name="connsiteX24624" fmla="*/ 2695879 w 8079933"/>
              <a:gd name="connsiteY24624" fmla="*/ 981256 h 4687251"/>
              <a:gd name="connsiteX24625" fmla="*/ 2696856 w 8079933"/>
              <a:gd name="connsiteY24625" fmla="*/ 982988 h 4687251"/>
              <a:gd name="connsiteX24626" fmla="*/ 2696638 w 8079933"/>
              <a:gd name="connsiteY24626" fmla="*/ 988185 h 4687251"/>
              <a:gd name="connsiteX24627" fmla="*/ 2694577 w 8079933"/>
              <a:gd name="connsiteY24627" fmla="*/ 990351 h 4687251"/>
              <a:gd name="connsiteX24628" fmla="*/ 2689368 w 8079933"/>
              <a:gd name="connsiteY24628" fmla="*/ 991542 h 4687251"/>
              <a:gd name="connsiteX24629" fmla="*/ 2688717 w 8079933"/>
              <a:gd name="connsiteY24629" fmla="*/ 995331 h 4687251"/>
              <a:gd name="connsiteX24630" fmla="*/ 2686980 w 8079933"/>
              <a:gd name="connsiteY24630" fmla="*/ 999121 h 4687251"/>
              <a:gd name="connsiteX24631" fmla="*/ 2688392 w 8079933"/>
              <a:gd name="connsiteY24631" fmla="*/ 999987 h 4687251"/>
              <a:gd name="connsiteX24632" fmla="*/ 2689802 w 8079933"/>
              <a:gd name="connsiteY24632" fmla="*/ 998471 h 4687251"/>
              <a:gd name="connsiteX24633" fmla="*/ 2691972 w 8079933"/>
              <a:gd name="connsiteY24633" fmla="*/ 999987 h 4687251"/>
              <a:gd name="connsiteX24634" fmla="*/ 2694360 w 8079933"/>
              <a:gd name="connsiteY24634" fmla="*/ 998254 h 4687251"/>
              <a:gd name="connsiteX24635" fmla="*/ 2699786 w 8079933"/>
              <a:gd name="connsiteY24635" fmla="*/ 996305 h 4687251"/>
              <a:gd name="connsiteX24636" fmla="*/ 2701413 w 8079933"/>
              <a:gd name="connsiteY24636" fmla="*/ 998904 h 4687251"/>
              <a:gd name="connsiteX24637" fmla="*/ 2702824 w 8079933"/>
              <a:gd name="connsiteY24637" fmla="*/ 1004643 h 4687251"/>
              <a:gd name="connsiteX24638" fmla="*/ 2702499 w 8079933"/>
              <a:gd name="connsiteY24638" fmla="*/ 1007349 h 4687251"/>
              <a:gd name="connsiteX24639" fmla="*/ 2698918 w 8079933"/>
              <a:gd name="connsiteY24639" fmla="*/ 1008974 h 4687251"/>
              <a:gd name="connsiteX24640" fmla="*/ 2698918 w 8079933"/>
              <a:gd name="connsiteY24640" fmla="*/ 1010381 h 4687251"/>
              <a:gd name="connsiteX24641" fmla="*/ 2701739 w 8079933"/>
              <a:gd name="connsiteY24641" fmla="*/ 1011031 h 4687251"/>
              <a:gd name="connsiteX24642" fmla="*/ 2703909 w 8079933"/>
              <a:gd name="connsiteY24642" fmla="*/ 1014820 h 4687251"/>
              <a:gd name="connsiteX24643" fmla="*/ 2700545 w 8079933"/>
              <a:gd name="connsiteY24643" fmla="*/ 1015903 h 4687251"/>
              <a:gd name="connsiteX24644" fmla="*/ 2697615 w 8079933"/>
              <a:gd name="connsiteY24644" fmla="*/ 1015361 h 4687251"/>
              <a:gd name="connsiteX24645" fmla="*/ 2700545 w 8079933"/>
              <a:gd name="connsiteY24645" fmla="*/ 1017202 h 4687251"/>
              <a:gd name="connsiteX24646" fmla="*/ 2704343 w 8079933"/>
              <a:gd name="connsiteY24646" fmla="*/ 1018935 h 4687251"/>
              <a:gd name="connsiteX24647" fmla="*/ 2695228 w 8079933"/>
              <a:gd name="connsiteY24647" fmla="*/ 1020992 h 4687251"/>
              <a:gd name="connsiteX24648" fmla="*/ 2690779 w 8079933"/>
              <a:gd name="connsiteY24648" fmla="*/ 1020666 h 4687251"/>
              <a:gd name="connsiteX24649" fmla="*/ 2692949 w 8079933"/>
              <a:gd name="connsiteY24649" fmla="*/ 1022941 h 4687251"/>
              <a:gd name="connsiteX24650" fmla="*/ 2697398 w 8079933"/>
              <a:gd name="connsiteY24650" fmla="*/ 1022615 h 4687251"/>
              <a:gd name="connsiteX24651" fmla="*/ 2703692 w 8079933"/>
              <a:gd name="connsiteY24651" fmla="*/ 1023915 h 4687251"/>
              <a:gd name="connsiteX24652" fmla="*/ 2705537 w 8079933"/>
              <a:gd name="connsiteY24652" fmla="*/ 1021858 h 4687251"/>
              <a:gd name="connsiteX24653" fmla="*/ 2709878 w 8079933"/>
              <a:gd name="connsiteY24653" fmla="*/ 1020992 h 4687251"/>
              <a:gd name="connsiteX24654" fmla="*/ 2710854 w 8079933"/>
              <a:gd name="connsiteY24654" fmla="*/ 1021316 h 4687251"/>
              <a:gd name="connsiteX24655" fmla="*/ 2707490 w 8079933"/>
              <a:gd name="connsiteY24655" fmla="*/ 1025972 h 4687251"/>
              <a:gd name="connsiteX24656" fmla="*/ 2705537 w 8079933"/>
              <a:gd name="connsiteY24656" fmla="*/ 1030627 h 4687251"/>
              <a:gd name="connsiteX24657" fmla="*/ 2709660 w 8079933"/>
              <a:gd name="connsiteY24657" fmla="*/ 1026513 h 4687251"/>
              <a:gd name="connsiteX24658" fmla="*/ 2713242 w 8079933"/>
              <a:gd name="connsiteY24658" fmla="*/ 1025322 h 4687251"/>
              <a:gd name="connsiteX24659" fmla="*/ 2716063 w 8079933"/>
              <a:gd name="connsiteY24659" fmla="*/ 1022182 h 4687251"/>
              <a:gd name="connsiteX24660" fmla="*/ 2720512 w 8079933"/>
              <a:gd name="connsiteY24660" fmla="*/ 1018935 h 4687251"/>
              <a:gd name="connsiteX24661" fmla="*/ 2723985 w 8079933"/>
              <a:gd name="connsiteY24661" fmla="*/ 1020017 h 4687251"/>
              <a:gd name="connsiteX24662" fmla="*/ 2723117 w 8079933"/>
              <a:gd name="connsiteY24662" fmla="*/ 1022182 h 4687251"/>
              <a:gd name="connsiteX24663" fmla="*/ 2720404 w 8079933"/>
              <a:gd name="connsiteY24663" fmla="*/ 1025322 h 4687251"/>
              <a:gd name="connsiteX24664" fmla="*/ 2718451 w 8079933"/>
              <a:gd name="connsiteY24664" fmla="*/ 1025539 h 4687251"/>
              <a:gd name="connsiteX24665" fmla="*/ 2716388 w 8079933"/>
              <a:gd name="connsiteY24665" fmla="*/ 1029112 h 4687251"/>
              <a:gd name="connsiteX24666" fmla="*/ 2714327 w 8079933"/>
              <a:gd name="connsiteY24666" fmla="*/ 1033767 h 4687251"/>
              <a:gd name="connsiteX24667" fmla="*/ 2709010 w 8079933"/>
              <a:gd name="connsiteY24667" fmla="*/ 1035825 h 4687251"/>
              <a:gd name="connsiteX24668" fmla="*/ 2706730 w 8079933"/>
              <a:gd name="connsiteY24668" fmla="*/ 1039939 h 4687251"/>
              <a:gd name="connsiteX24669" fmla="*/ 2706947 w 8079933"/>
              <a:gd name="connsiteY24669" fmla="*/ 1042862 h 4687251"/>
              <a:gd name="connsiteX24670" fmla="*/ 2709660 w 8079933"/>
              <a:gd name="connsiteY24670" fmla="*/ 1043404 h 4687251"/>
              <a:gd name="connsiteX24671" fmla="*/ 2713133 w 8079933"/>
              <a:gd name="connsiteY24671" fmla="*/ 1039722 h 4687251"/>
              <a:gd name="connsiteX24672" fmla="*/ 2713133 w 8079933"/>
              <a:gd name="connsiteY24672" fmla="*/ 1037882 h 4687251"/>
              <a:gd name="connsiteX24673" fmla="*/ 2717799 w 8079933"/>
              <a:gd name="connsiteY24673" fmla="*/ 1032143 h 4687251"/>
              <a:gd name="connsiteX24674" fmla="*/ 2721923 w 8079933"/>
              <a:gd name="connsiteY24674" fmla="*/ 1030627 h 4687251"/>
              <a:gd name="connsiteX24675" fmla="*/ 2721597 w 8079933"/>
              <a:gd name="connsiteY24675" fmla="*/ 1033876 h 4687251"/>
              <a:gd name="connsiteX24676" fmla="*/ 2718451 w 8079933"/>
              <a:gd name="connsiteY24676" fmla="*/ 1039072 h 4687251"/>
              <a:gd name="connsiteX24677" fmla="*/ 2717908 w 8079933"/>
              <a:gd name="connsiteY24677" fmla="*/ 1044053 h 4687251"/>
              <a:gd name="connsiteX24678" fmla="*/ 2716606 w 8079933"/>
              <a:gd name="connsiteY24678" fmla="*/ 1047193 h 4687251"/>
              <a:gd name="connsiteX24679" fmla="*/ 2719101 w 8079933"/>
              <a:gd name="connsiteY24679" fmla="*/ 1045244 h 4687251"/>
              <a:gd name="connsiteX24680" fmla="*/ 2722466 w 8079933"/>
              <a:gd name="connsiteY24680" fmla="*/ 1039398 h 4687251"/>
              <a:gd name="connsiteX24681" fmla="*/ 2722574 w 8079933"/>
              <a:gd name="connsiteY24681" fmla="*/ 1036474 h 4687251"/>
              <a:gd name="connsiteX24682" fmla="*/ 2724311 w 8079933"/>
              <a:gd name="connsiteY24682" fmla="*/ 1035608 h 4687251"/>
              <a:gd name="connsiteX24683" fmla="*/ 2725721 w 8079933"/>
              <a:gd name="connsiteY24683" fmla="*/ 1036690 h 4687251"/>
              <a:gd name="connsiteX24684" fmla="*/ 2726264 w 8079933"/>
              <a:gd name="connsiteY24684" fmla="*/ 1043186 h 4687251"/>
              <a:gd name="connsiteX24685" fmla="*/ 2728651 w 8079933"/>
              <a:gd name="connsiteY24685" fmla="*/ 1045244 h 4687251"/>
              <a:gd name="connsiteX24686" fmla="*/ 2730170 w 8079933"/>
              <a:gd name="connsiteY24686" fmla="*/ 1045135 h 4687251"/>
              <a:gd name="connsiteX24687" fmla="*/ 2729519 w 8079933"/>
              <a:gd name="connsiteY24687" fmla="*/ 1040047 h 4687251"/>
              <a:gd name="connsiteX24688" fmla="*/ 2731255 w 8079933"/>
              <a:gd name="connsiteY24688" fmla="*/ 1037232 h 4687251"/>
              <a:gd name="connsiteX24689" fmla="*/ 2737115 w 8079933"/>
              <a:gd name="connsiteY24689" fmla="*/ 1034092 h 4687251"/>
              <a:gd name="connsiteX24690" fmla="*/ 2738309 w 8079933"/>
              <a:gd name="connsiteY24690" fmla="*/ 1035608 h 4687251"/>
              <a:gd name="connsiteX24691" fmla="*/ 2736247 w 8079933"/>
              <a:gd name="connsiteY24691" fmla="*/ 1038423 h 4687251"/>
              <a:gd name="connsiteX24692" fmla="*/ 2737549 w 8079933"/>
              <a:gd name="connsiteY24692" fmla="*/ 1038856 h 4687251"/>
              <a:gd name="connsiteX24693" fmla="*/ 2741347 w 8079933"/>
              <a:gd name="connsiteY24693" fmla="*/ 1038748 h 4687251"/>
              <a:gd name="connsiteX24694" fmla="*/ 2743626 w 8079933"/>
              <a:gd name="connsiteY24694" fmla="*/ 1041671 h 4687251"/>
              <a:gd name="connsiteX24695" fmla="*/ 2741890 w 8079933"/>
              <a:gd name="connsiteY24695" fmla="*/ 1046435 h 4687251"/>
              <a:gd name="connsiteX24696" fmla="*/ 2745905 w 8079933"/>
              <a:gd name="connsiteY24696" fmla="*/ 1046002 h 4687251"/>
              <a:gd name="connsiteX24697" fmla="*/ 2747424 w 8079933"/>
              <a:gd name="connsiteY24697" fmla="*/ 1048167 h 4687251"/>
              <a:gd name="connsiteX24698" fmla="*/ 2747750 w 8079933"/>
              <a:gd name="connsiteY24698" fmla="*/ 1051307 h 4687251"/>
              <a:gd name="connsiteX24699" fmla="*/ 2750572 w 8079933"/>
              <a:gd name="connsiteY24699" fmla="*/ 1053689 h 4687251"/>
              <a:gd name="connsiteX24700" fmla="*/ 2751222 w 8079933"/>
              <a:gd name="connsiteY24700" fmla="*/ 1056504 h 4687251"/>
              <a:gd name="connsiteX24701" fmla="*/ 2749920 w 8079933"/>
              <a:gd name="connsiteY24701" fmla="*/ 1057912 h 4687251"/>
              <a:gd name="connsiteX24702" fmla="*/ 2748075 w 8079933"/>
              <a:gd name="connsiteY24702" fmla="*/ 1059427 h 4687251"/>
              <a:gd name="connsiteX24703" fmla="*/ 2743192 w 8079933"/>
              <a:gd name="connsiteY24703" fmla="*/ 1059427 h 4687251"/>
              <a:gd name="connsiteX24704" fmla="*/ 2743409 w 8079933"/>
              <a:gd name="connsiteY24704" fmla="*/ 1056504 h 4687251"/>
              <a:gd name="connsiteX24705" fmla="*/ 2741347 w 8079933"/>
              <a:gd name="connsiteY24705" fmla="*/ 1053473 h 4687251"/>
              <a:gd name="connsiteX24706" fmla="*/ 2738851 w 8079933"/>
              <a:gd name="connsiteY24706" fmla="*/ 1052173 h 4687251"/>
              <a:gd name="connsiteX24707" fmla="*/ 2737333 w 8079933"/>
              <a:gd name="connsiteY24707" fmla="*/ 1050874 h 4687251"/>
              <a:gd name="connsiteX24708" fmla="*/ 2735271 w 8079933"/>
              <a:gd name="connsiteY24708" fmla="*/ 1052715 h 4687251"/>
              <a:gd name="connsiteX24709" fmla="*/ 2732775 w 8079933"/>
              <a:gd name="connsiteY24709" fmla="*/ 1055963 h 4687251"/>
              <a:gd name="connsiteX24710" fmla="*/ 2735813 w 8079933"/>
              <a:gd name="connsiteY24710" fmla="*/ 1054663 h 4687251"/>
              <a:gd name="connsiteX24711" fmla="*/ 2738092 w 8079933"/>
              <a:gd name="connsiteY24711" fmla="*/ 1055205 h 4687251"/>
              <a:gd name="connsiteX24712" fmla="*/ 2739719 w 8079933"/>
              <a:gd name="connsiteY24712" fmla="*/ 1057262 h 4687251"/>
              <a:gd name="connsiteX24713" fmla="*/ 2738092 w 8079933"/>
              <a:gd name="connsiteY24713" fmla="*/ 1058128 h 4687251"/>
              <a:gd name="connsiteX24714" fmla="*/ 2740262 w 8079933"/>
              <a:gd name="connsiteY24714" fmla="*/ 1059319 h 4687251"/>
              <a:gd name="connsiteX24715" fmla="*/ 2741239 w 8079933"/>
              <a:gd name="connsiteY24715" fmla="*/ 1061810 h 4687251"/>
              <a:gd name="connsiteX24716" fmla="*/ 2739286 w 8079933"/>
              <a:gd name="connsiteY24716" fmla="*/ 1062675 h 4687251"/>
              <a:gd name="connsiteX24717" fmla="*/ 2735921 w 8079933"/>
              <a:gd name="connsiteY24717" fmla="*/ 1061810 h 4687251"/>
              <a:gd name="connsiteX24718" fmla="*/ 2733208 w 8079933"/>
              <a:gd name="connsiteY24718" fmla="*/ 1063433 h 4687251"/>
              <a:gd name="connsiteX24719" fmla="*/ 2734728 w 8079933"/>
              <a:gd name="connsiteY24719" fmla="*/ 1064733 h 4687251"/>
              <a:gd name="connsiteX24720" fmla="*/ 2740696 w 8079933"/>
              <a:gd name="connsiteY24720" fmla="*/ 1064841 h 4687251"/>
              <a:gd name="connsiteX24721" fmla="*/ 2742867 w 8079933"/>
              <a:gd name="connsiteY24721" fmla="*/ 1064841 h 4687251"/>
              <a:gd name="connsiteX24722" fmla="*/ 2743192 w 8079933"/>
              <a:gd name="connsiteY24722" fmla="*/ 1066573 h 4687251"/>
              <a:gd name="connsiteX24723" fmla="*/ 2741022 w 8079933"/>
              <a:gd name="connsiteY24723" fmla="*/ 1069388 h 4687251"/>
              <a:gd name="connsiteX24724" fmla="*/ 2737333 w 8079933"/>
              <a:gd name="connsiteY24724" fmla="*/ 1069388 h 4687251"/>
              <a:gd name="connsiteX24725" fmla="*/ 2733968 w 8079933"/>
              <a:gd name="connsiteY24725" fmla="*/ 1070146 h 4687251"/>
              <a:gd name="connsiteX24726" fmla="*/ 2729410 w 8079933"/>
              <a:gd name="connsiteY24726" fmla="*/ 1069496 h 4687251"/>
              <a:gd name="connsiteX24727" fmla="*/ 2725612 w 8079933"/>
              <a:gd name="connsiteY24727" fmla="*/ 1068739 h 4687251"/>
              <a:gd name="connsiteX24728" fmla="*/ 2726697 w 8079933"/>
              <a:gd name="connsiteY24728" fmla="*/ 1065274 h 4687251"/>
              <a:gd name="connsiteX24729" fmla="*/ 2726372 w 8079933"/>
              <a:gd name="connsiteY24729" fmla="*/ 1063217 h 4687251"/>
              <a:gd name="connsiteX24730" fmla="*/ 2723225 w 8079933"/>
              <a:gd name="connsiteY24730" fmla="*/ 1061484 h 4687251"/>
              <a:gd name="connsiteX24731" fmla="*/ 2721923 w 8079933"/>
              <a:gd name="connsiteY24731" fmla="*/ 1059861 h 4687251"/>
              <a:gd name="connsiteX24732" fmla="*/ 2719969 w 8079933"/>
              <a:gd name="connsiteY24732" fmla="*/ 1060510 h 4687251"/>
              <a:gd name="connsiteX24733" fmla="*/ 2720404 w 8079933"/>
              <a:gd name="connsiteY24733" fmla="*/ 1063000 h 4687251"/>
              <a:gd name="connsiteX24734" fmla="*/ 2722466 w 8079933"/>
              <a:gd name="connsiteY24734" fmla="*/ 1064516 h 4687251"/>
              <a:gd name="connsiteX24735" fmla="*/ 2723442 w 8079933"/>
              <a:gd name="connsiteY24735" fmla="*/ 1068197 h 4687251"/>
              <a:gd name="connsiteX24736" fmla="*/ 2722791 w 8079933"/>
              <a:gd name="connsiteY24736" fmla="*/ 1070038 h 4687251"/>
              <a:gd name="connsiteX24737" fmla="*/ 2719644 w 8079933"/>
              <a:gd name="connsiteY24737" fmla="*/ 1070363 h 4687251"/>
              <a:gd name="connsiteX24738" fmla="*/ 2716280 w 8079933"/>
              <a:gd name="connsiteY24738" fmla="*/ 1068197 h 4687251"/>
              <a:gd name="connsiteX24739" fmla="*/ 2715520 w 8079933"/>
              <a:gd name="connsiteY24739" fmla="*/ 1065816 h 4687251"/>
              <a:gd name="connsiteX24740" fmla="*/ 2714869 w 8079933"/>
              <a:gd name="connsiteY24740" fmla="*/ 1070038 h 4687251"/>
              <a:gd name="connsiteX24741" fmla="*/ 2717256 w 8079933"/>
              <a:gd name="connsiteY24741" fmla="*/ 1072528 h 4687251"/>
              <a:gd name="connsiteX24742" fmla="*/ 2721923 w 8079933"/>
              <a:gd name="connsiteY24742" fmla="*/ 1072528 h 4687251"/>
              <a:gd name="connsiteX24743" fmla="*/ 2724311 w 8079933"/>
              <a:gd name="connsiteY24743" fmla="*/ 1074694 h 4687251"/>
              <a:gd name="connsiteX24744" fmla="*/ 2727024 w 8079933"/>
              <a:gd name="connsiteY24744" fmla="*/ 1075559 h 4687251"/>
              <a:gd name="connsiteX24745" fmla="*/ 2727566 w 8079933"/>
              <a:gd name="connsiteY24745" fmla="*/ 1078267 h 4687251"/>
              <a:gd name="connsiteX24746" fmla="*/ 2726264 w 8079933"/>
              <a:gd name="connsiteY24746" fmla="*/ 1081514 h 4687251"/>
              <a:gd name="connsiteX24747" fmla="*/ 2719536 w 8079933"/>
              <a:gd name="connsiteY24747" fmla="*/ 1081298 h 4687251"/>
              <a:gd name="connsiteX24748" fmla="*/ 2717908 w 8079933"/>
              <a:gd name="connsiteY24748" fmla="*/ 1078483 h 4687251"/>
              <a:gd name="connsiteX24749" fmla="*/ 2713676 w 8079933"/>
              <a:gd name="connsiteY24749" fmla="*/ 1075776 h 4687251"/>
              <a:gd name="connsiteX24750" fmla="*/ 2711722 w 8079933"/>
              <a:gd name="connsiteY24750" fmla="*/ 1073719 h 4687251"/>
              <a:gd name="connsiteX24751" fmla="*/ 2710420 w 8079933"/>
              <a:gd name="connsiteY24751" fmla="*/ 1073828 h 4687251"/>
              <a:gd name="connsiteX24752" fmla="*/ 2711614 w 8079933"/>
              <a:gd name="connsiteY24752" fmla="*/ 1075776 h 4687251"/>
              <a:gd name="connsiteX24753" fmla="*/ 2716280 w 8079933"/>
              <a:gd name="connsiteY24753" fmla="*/ 1079241 h 4687251"/>
              <a:gd name="connsiteX24754" fmla="*/ 2718016 w 8079933"/>
              <a:gd name="connsiteY24754" fmla="*/ 1082814 h 4687251"/>
              <a:gd name="connsiteX24755" fmla="*/ 2717908 w 8079933"/>
              <a:gd name="connsiteY24755" fmla="*/ 1087902 h 4687251"/>
              <a:gd name="connsiteX24756" fmla="*/ 2716388 w 8079933"/>
              <a:gd name="connsiteY24756" fmla="*/ 1090609 h 4687251"/>
              <a:gd name="connsiteX24757" fmla="*/ 2714218 w 8079933"/>
              <a:gd name="connsiteY24757" fmla="*/ 1090285 h 4687251"/>
              <a:gd name="connsiteX24758" fmla="*/ 2713025 w 8079933"/>
              <a:gd name="connsiteY24758" fmla="*/ 1087036 h 4687251"/>
              <a:gd name="connsiteX24759" fmla="*/ 2710203 w 8079933"/>
              <a:gd name="connsiteY24759" fmla="*/ 1084763 h 4687251"/>
              <a:gd name="connsiteX24760" fmla="*/ 2706947 w 8079933"/>
              <a:gd name="connsiteY24760" fmla="*/ 1083572 h 4687251"/>
              <a:gd name="connsiteX24761" fmla="*/ 2707707 w 8079933"/>
              <a:gd name="connsiteY24761" fmla="*/ 1084871 h 4687251"/>
              <a:gd name="connsiteX24762" fmla="*/ 2709335 w 8079933"/>
              <a:gd name="connsiteY24762" fmla="*/ 1086387 h 4687251"/>
              <a:gd name="connsiteX24763" fmla="*/ 2709227 w 8079933"/>
              <a:gd name="connsiteY24763" fmla="*/ 1090609 h 4687251"/>
              <a:gd name="connsiteX24764" fmla="*/ 2709010 w 8079933"/>
              <a:gd name="connsiteY24764" fmla="*/ 1096240 h 4687251"/>
              <a:gd name="connsiteX24765" fmla="*/ 2707815 w 8079933"/>
              <a:gd name="connsiteY24765" fmla="*/ 1097106 h 4687251"/>
              <a:gd name="connsiteX24766" fmla="*/ 2705537 w 8079933"/>
              <a:gd name="connsiteY24766" fmla="*/ 1097106 h 4687251"/>
              <a:gd name="connsiteX24767" fmla="*/ 2704017 w 8079933"/>
              <a:gd name="connsiteY24767" fmla="*/ 1095590 h 4687251"/>
              <a:gd name="connsiteX24768" fmla="*/ 2704235 w 8079933"/>
              <a:gd name="connsiteY24768" fmla="*/ 1091259 h 4687251"/>
              <a:gd name="connsiteX24769" fmla="*/ 2702499 w 8079933"/>
              <a:gd name="connsiteY24769" fmla="*/ 1092017 h 4687251"/>
              <a:gd name="connsiteX24770" fmla="*/ 2701847 w 8079933"/>
              <a:gd name="connsiteY24770" fmla="*/ 1094616 h 4687251"/>
              <a:gd name="connsiteX24771" fmla="*/ 2698592 w 8079933"/>
              <a:gd name="connsiteY24771" fmla="*/ 1095373 h 4687251"/>
              <a:gd name="connsiteX24772" fmla="*/ 2696530 w 8079933"/>
              <a:gd name="connsiteY24772" fmla="*/ 1094507 h 4687251"/>
              <a:gd name="connsiteX24773" fmla="*/ 2697181 w 8079933"/>
              <a:gd name="connsiteY24773" fmla="*/ 1091367 h 4687251"/>
              <a:gd name="connsiteX24774" fmla="*/ 2695988 w 8079933"/>
              <a:gd name="connsiteY24774" fmla="*/ 1088010 h 4687251"/>
              <a:gd name="connsiteX24775" fmla="*/ 2695770 w 8079933"/>
              <a:gd name="connsiteY24775" fmla="*/ 1084438 h 4687251"/>
              <a:gd name="connsiteX24776" fmla="*/ 2694251 w 8079933"/>
              <a:gd name="connsiteY24776" fmla="*/ 1082706 h 4687251"/>
              <a:gd name="connsiteX24777" fmla="*/ 2693600 w 8079933"/>
              <a:gd name="connsiteY24777" fmla="*/ 1085196 h 4687251"/>
              <a:gd name="connsiteX24778" fmla="*/ 2693600 w 8079933"/>
              <a:gd name="connsiteY24778" fmla="*/ 1091584 h 4687251"/>
              <a:gd name="connsiteX24779" fmla="*/ 2691538 w 8079933"/>
              <a:gd name="connsiteY24779" fmla="*/ 1093316 h 4687251"/>
              <a:gd name="connsiteX24780" fmla="*/ 2688500 w 8079933"/>
              <a:gd name="connsiteY24780" fmla="*/ 1093424 h 4687251"/>
              <a:gd name="connsiteX24781" fmla="*/ 2689585 w 8079933"/>
              <a:gd name="connsiteY24781" fmla="*/ 1094616 h 4687251"/>
              <a:gd name="connsiteX24782" fmla="*/ 2692190 w 8079933"/>
              <a:gd name="connsiteY24782" fmla="*/ 1095048 h 4687251"/>
              <a:gd name="connsiteX24783" fmla="*/ 2692840 w 8079933"/>
              <a:gd name="connsiteY24783" fmla="*/ 1096997 h 4687251"/>
              <a:gd name="connsiteX24784" fmla="*/ 2690887 w 8079933"/>
              <a:gd name="connsiteY24784" fmla="*/ 1099487 h 4687251"/>
              <a:gd name="connsiteX24785" fmla="*/ 2688066 w 8079933"/>
              <a:gd name="connsiteY24785" fmla="*/ 1098838 h 4687251"/>
              <a:gd name="connsiteX24786" fmla="*/ 2686872 w 8079933"/>
              <a:gd name="connsiteY24786" fmla="*/ 1098080 h 4687251"/>
              <a:gd name="connsiteX24787" fmla="*/ 2686547 w 8079933"/>
              <a:gd name="connsiteY24787" fmla="*/ 1099487 h 4687251"/>
              <a:gd name="connsiteX24788" fmla="*/ 2689151 w 8079933"/>
              <a:gd name="connsiteY24788" fmla="*/ 1101545 h 4687251"/>
              <a:gd name="connsiteX24789" fmla="*/ 2691104 w 8079933"/>
              <a:gd name="connsiteY24789" fmla="*/ 1101545 h 4687251"/>
              <a:gd name="connsiteX24790" fmla="*/ 2691538 w 8079933"/>
              <a:gd name="connsiteY24790" fmla="*/ 1103493 h 4687251"/>
              <a:gd name="connsiteX24791" fmla="*/ 2691104 w 8079933"/>
              <a:gd name="connsiteY24791" fmla="*/ 1106308 h 4687251"/>
              <a:gd name="connsiteX24792" fmla="*/ 2689151 w 8079933"/>
              <a:gd name="connsiteY24792" fmla="*/ 1106958 h 4687251"/>
              <a:gd name="connsiteX24793" fmla="*/ 2688717 w 8079933"/>
              <a:gd name="connsiteY24793" fmla="*/ 1109124 h 4687251"/>
              <a:gd name="connsiteX24794" fmla="*/ 2690127 w 8079933"/>
              <a:gd name="connsiteY24794" fmla="*/ 1112480 h 4687251"/>
              <a:gd name="connsiteX24795" fmla="*/ 2690127 w 8079933"/>
              <a:gd name="connsiteY24795" fmla="*/ 1115079 h 4687251"/>
              <a:gd name="connsiteX24796" fmla="*/ 2688717 w 8079933"/>
              <a:gd name="connsiteY24796" fmla="*/ 1115079 h 4687251"/>
              <a:gd name="connsiteX24797" fmla="*/ 2686764 w 8079933"/>
              <a:gd name="connsiteY24797" fmla="*/ 1113671 h 4687251"/>
              <a:gd name="connsiteX24798" fmla="*/ 2685787 w 8079933"/>
              <a:gd name="connsiteY24798" fmla="*/ 1114104 h 4687251"/>
              <a:gd name="connsiteX24799" fmla="*/ 2688825 w 8079933"/>
              <a:gd name="connsiteY24799" fmla="*/ 1117352 h 4687251"/>
              <a:gd name="connsiteX24800" fmla="*/ 2689259 w 8079933"/>
              <a:gd name="connsiteY24800" fmla="*/ 1119951 h 4687251"/>
              <a:gd name="connsiteX24801" fmla="*/ 2688717 w 8079933"/>
              <a:gd name="connsiteY24801" fmla="*/ 1123524 h 4687251"/>
              <a:gd name="connsiteX24802" fmla="*/ 2684051 w 8079933"/>
              <a:gd name="connsiteY24802" fmla="*/ 1125040 h 4687251"/>
              <a:gd name="connsiteX24803" fmla="*/ 2682966 w 8079933"/>
              <a:gd name="connsiteY24803" fmla="*/ 1126880 h 4687251"/>
              <a:gd name="connsiteX24804" fmla="*/ 2681121 w 8079933"/>
              <a:gd name="connsiteY24804" fmla="*/ 1126122 h 4687251"/>
              <a:gd name="connsiteX24805" fmla="*/ 2680686 w 8079933"/>
              <a:gd name="connsiteY24805" fmla="*/ 1124173 h 4687251"/>
              <a:gd name="connsiteX24806" fmla="*/ 2679710 w 8079933"/>
              <a:gd name="connsiteY24806" fmla="*/ 1123199 h 4687251"/>
              <a:gd name="connsiteX24807" fmla="*/ 2679927 w 8079933"/>
              <a:gd name="connsiteY24807" fmla="*/ 1121250 h 4687251"/>
              <a:gd name="connsiteX24808" fmla="*/ 2677431 w 8079933"/>
              <a:gd name="connsiteY24808" fmla="*/ 1120383 h 4687251"/>
              <a:gd name="connsiteX24809" fmla="*/ 2676888 w 8079933"/>
              <a:gd name="connsiteY24809" fmla="*/ 1118760 h 4687251"/>
              <a:gd name="connsiteX24810" fmla="*/ 2678516 w 8079933"/>
              <a:gd name="connsiteY24810" fmla="*/ 1116377 h 4687251"/>
              <a:gd name="connsiteX24811" fmla="*/ 2678516 w 8079933"/>
              <a:gd name="connsiteY24811" fmla="*/ 1114429 h 4687251"/>
              <a:gd name="connsiteX24812" fmla="*/ 2677106 w 8079933"/>
              <a:gd name="connsiteY24812" fmla="*/ 1114646 h 4687251"/>
              <a:gd name="connsiteX24813" fmla="*/ 2673850 w 8079933"/>
              <a:gd name="connsiteY24813" fmla="*/ 1116053 h 4687251"/>
              <a:gd name="connsiteX24814" fmla="*/ 2672765 w 8079933"/>
              <a:gd name="connsiteY24814" fmla="*/ 1118543 h 4687251"/>
              <a:gd name="connsiteX24815" fmla="*/ 2671245 w 8079933"/>
              <a:gd name="connsiteY24815" fmla="*/ 1118326 h 4687251"/>
              <a:gd name="connsiteX24816" fmla="*/ 2669075 w 8079933"/>
              <a:gd name="connsiteY24816" fmla="*/ 1115620 h 4687251"/>
              <a:gd name="connsiteX24817" fmla="*/ 2670595 w 8079933"/>
              <a:gd name="connsiteY24817" fmla="*/ 1113454 h 4687251"/>
              <a:gd name="connsiteX24818" fmla="*/ 2668967 w 8079933"/>
              <a:gd name="connsiteY24818" fmla="*/ 1111289 h 4687251"/>
              <a:gd name="connsiteX24819" fmla="*/ 2668967 w 8079933"/>
              <a:gd name="connsiteY24819" fmla="*/ 1109773 h 4687251"/>
              <a:gd name="connsiteX24820" fmla="*/ 2670595 w 8079933"/>
              <a:gd name="connsiteY24820" fmla="*/ 1108257 h 4687251"/>
              <a:gd name="connsiteX24821" fmla="*/ 2670812 w 8079933"/>
              <a:gd name="connsiteY24821" fmla="*/ 1106417 h 4687251"/>
              <a:gd name="connsiteX24822" fmla="*/ 2671463 w 8079933"/>
              <a:gd name="connsiteY24822" fmla="*/ 1104360 h 4687251"/>
              <a:gd name="connsiteX24823" fmla="*/ 2670595 w 8079933"/>
              <a:gd name="connsiteY24823" fmla="*/ 1103926 h 4687251"/>
              <a:gd name="connsiteX24824" fmla="*/ 2668207 w 8079933"/>
              <a:gd name="connsiteY24824" fmla="*/ 1106417 h 4687251"/>
              <a:gd name="connsiteX24825" fmla="*/ 2666254 w 8079933"/>
              <a:gd name="connsiteY24825" fmla="*/ 1110964 h 4687251"/>
              <a:gd name="connsiteX24826" fmla="*/ 2663649 w 8079933"/>
              <a:gd name="connsiteY24826" fmla="*/ 1113887 h 4687251"/>
              <a:gd name="connsiteX24827" fmla="*/ 2662890 w 8079933"/>
              <a:gd name="connsiteY24827" fmla="*/ 1112805 h 4687251"/>
              <a:gd name="connsiteX24828" fmla="*/ 2662781 w 8079933"/>
              <a:gd name="connsiteY24828" fmla="*/ 1110098 h 4687251"/>
              <a:gd name="connsiteX24829" fmla="*/ 2661045 w 8079933"/>
              <a:gd name="connsiteY24829" fmla="*/ 1107175 h 4687251"/>
              <a:gd name="connsiteX24830" fmla="*/ 2660177 w 8079933"/>
              <a:gd name="connsiteY24830" fmla="*/ 1104360 h 4687251"/>
              <a:gd name="connsiteX24831" fmla="*/ 2661804 w 8079933"/>
              <a:gd name="connsiteY24831" fmla="*/ 1102628 h 4687251"/>
              <a:gd name="connsiteX24832" fmla="*/ 2666037 w 8079933"/>
              <a:gd name="connsiteY24832" fmla="*/ 1100895 h 4687251"/>
              <a:gd name="connsiteX24833" fmla="*/ 2666037 w 8079933"/>
              <a:gd name="connsiteY24833" fmla="*/ 1099812 h 4687251"/>
              <a:gd name="connsiteX24834" fmla="*/ 2668424 w 8079933"/>
              <a:gd name="connsiteY24834" fmla="*/ 1098946 h 4687251"/>
              <a:gd name="connsiteX24835" fmla="*/ 2667556 w 8079933"/>
              <a:gd name="connsiteY24835" fmla="*/ 1097755 h 4687251"/>
              <a:gd name="connsiteX24836" fmla="*/ 2664084 w 8079933"/>
              <a:gd name="connsiteY24836" fmla="*/ 1097430 h 4687251"/>
              <a:gd name="connsiteX24837" fmla="*/ 2661154 w 8079933"/>
              <a:gd name="connsiteY24837" fmla="*/ 1098188 h 4687251"/>
              <a:gd name="connsiteX24838" fmla="*/ 2658006 w 8079933"/>
              <a:gd name="connsiteY24838" fmla="*/ 1097430 h 4687251"/>
              <a:gd name="connsiteX24839" fmla="*/ 2657247 w 8079933"/>
              <a:gd name="connsiteY24839" fmla="*/ 1095914 h 4687251"/>
              <a:gd name="connsiteX24840" fmla="*/ 2658224 w 8079933"/>
              <a:gd name="connsiteY24840" fmla="*/ 1093749 h 4687251"/>
              <a:gd name="connsiteX24841" fmla="*/ 2661804 w 8079933"/>
              <a:gd name="connsiteY24841" fmla="*/ 1092883 h 4687251"/>
              <a:gd name="connsiteX24842" fmla="*/ 2664952 w 8079933"/>
              <a:gd name="connsiteY24842" fmla="*/ 1088877 h 4687251"/>
              <a:gd name="connsiteX24843" fmla="*/ 2662890 w 8079933"/>
              <a:gd name="connsiteY24843" fmla="*/ 1089526 h 4687251"/>
              <a:gd name="connsiteX24844" fmla="*/ 2660068 w 8079933"/>
              <a:gd name="connsiteY24844" fmla="*/ 1090718 h 4687251"/>
              <a:gd name="connsiteX24845" fmla="*/ 2658006 w 8079933"/>
              <a:gd name="connsiteY24845" fmla="*/ 1089743 h 4687251"/>
              <a:gd name="connsiteX24846" fmla="*/ 2657681 w 8079933"/>
              <a:gd name="connsiteY24846" fmla="*/ 1087469 h 4687251"/>
              <a:gd name="connsiteX24847" fmla="*/ 2660068 w 8079933"/>
              <a:gd name="connsiteY24847" fmla="*/ 1086495 h 4687251"/>
              <a:gd name="connsiteX24848" fmla="*/ 2663216 w 8079933"/>
              <a:gd name="connsiteY24848" fmla="*/ 1085196 h 4687251"/>
              <a:gd name="connsiteX24849" fmla="*/ 2666362 w 8079933"/>
              <a:gd name="connsiteY24849" fmla="*/ 1084222 h 4687251"/>
              <a:gd name="connsiteX24850" fmla="*/ 2663649 w 8079933"/>
              <a:gd name="connsiteY24850" fmla="*/ 1083030 h 4687251"/>
              <a:gd name="connsiteX24851" fmla="*/ 2660177 w 8079933"/>
              <a:gd name="connsiteY24851" fmla="*/ 1083139 h 4687251"/>
              <a:gd name="connsiteX24852" fmla="*/ 2657898 w 8079933"/>
              <a:gd name="connsiteY24852" fmla="*/ 1084655 h 4687251"/>
              <a:gd name="connsiteX24853" fmla="*/ 2656270 w 8079933"/>
              <a:gd name="connsiteY24853" fmla="*/ 1083572 h 4687251"/>
              <a:gd name="connsiteX24854" fmla="*/ 2656705 w 8079933"/>
              <a:gd name="connsiteY24854" fmla="*/ 1081514 h 4687251"/>
              <a:gd name="connsiteX24855" fmla="*/ 2660286 w 8079933"/>
              <a:gd name="connsiteY24855" fmla="*/ 1076426 h 4687251"/>
              <a:gd name="connsiteX24856" fmla="*/ 2662564 w 8079933"/>
              <a:gd name="connsiteY24856" fmla="*/ 1075559 h 4687251"/>
              <a:gd name="connsiteX24857" fmla="*/ 2667339 w 8079933"/>
              <a:gd name="connsiteY24857" fmla="*/ 1074694 h 4687251"/>
              <a:gd name="connsiteX24858" fmla="*/ 2671137 w 8079933"/>
              <a:gd name="connsiteY24858" fmla="*/ 1071553 h 4687251"/>
              <a:gd name="connsiteX24859" fmla="*/ 2674176 w 8079933"/>
              <a:gd name="connsiteY24859" fmla="*/ 1069605 h 4687251"/>
              <a:gd name="connsiteX24860" fmla="*/ 2676020 w 8079933"/>
              <a:gd name="connsiteY24860" fmla="*/ 1065816 h 4687251"/>
              <a:gd name="connsiteX24861" fmla="*/ 2679493 w 8079933"/>
              <a:gd name="connsiteY24861" fmla="*/ 1061918 h 4687251"/>
              <a:gd name="connsiteX24862" fmla="*/ 2681446 w 8079933"/>
              <a:gd name="connsiteY24862" fmla="*/ 1060835 h 4687251"/>
              <a:gd name="connsiteX24863" fmla="*/ 2681012 w 8079933"/>
              <a:gd name="connsiteY24863" fmla="*/ 1059211 h 4687251"/>
              <a:gd name="connsiteX24864" fmla="*/ 2679059 w 8079933"/>
              <a:gd name="connsiteY24864" fmla="*/ 1059535 h 4687251"/>
              <a:gd name="connsiteX24865" fmla="*/ 2674718 w 8079933"/>
              <a:gd name="connsiteY24865" fmla="*/ 1063000 h 4687251"/>
              <a:gd name="connsiteX24866" fmla="*/ 2672331 w 8079933"/>
              <a:gd name="connsiteY24866" fmla="*/ 1064300 h 4687251"/>
              <a:gd name="connsiteX24867" fmla="*/ 2670269 w 8079933"/>
              <a:gd name="connsiteY24867" fmla="*/ 1067765 h 4687251"/>
              <a:gd name="connsiteX24868" fmla="*/ 2664734 w 8079933"/>
              <a:gd name="connsiteY24868" fmla="*/ 1070363 h 4687251"/>
              <a:gd name="connsiteX24869" fmla="*/ 2661804 w 8079933"/>
              <a:gd name="connsiteY24869" fmla="*/ 1070363 h 4687251"/>
              <a:gd name="connsiteX24870" fmla="*/ 2655620 w 8079933"/>
              <a:gd name="connsiteY24870" fmla="*/ 1074694 h 4687251"/>
              <a:gd name="connsiteX24871" fmla="*/ 2651170 w 8079933"/>
              <a:gd name="connsiteY24871" fmla="*/ 1075343 h 4687251"/>
              <a:gd name="connsiteX24872" fmla="*/ 2648132 w 8079933"/>
              <a:gd name="connsiteY24872" fmla="*/ 1074152 h 4687251"/>
              <a:gd name="connsiteX24873" fmla="*/ 2648240 w 8079933"/>
              <a:gd name="connsiteY24873" fmla="*/ 1072420 h 4687251"/>
              <a:gd name="connsiteX24874" fmla="*/ 2654643 w 8079933"/>
              <a:gd name="connsiteY24874" fmla="*/ 1065707 h 4687251"/>
              <a:gd name="connsiteX24875" fmla="*/ 2659418 w 8079933"/>
              <a:gd name="connsiteY24875" fmla="*/ 1063108 h 4687251"/>
              <a:gd name="connsiteX24876" fmla="*/ 2660719 w 8079933"/>
              <a:gd name="connsiteY24876" fmla="*/ 1060835 h 4687251"/>
              <a:gd name="connsiteX24877" fmla="*/ 2662456 w 8079933"/>
              <a:gd name="connsiteY24877" fmla="*/ 1058886 h 4687251"/>
              <a:gd name="connsiteX24878" fmla="*/ 2662131 w 8079933"/>
              <a:gd name="connsiteY24878" fmla="*/ 1055638 h 4687251"/>
              <a:gd name="connsiteX24879" fmla="*/ 2658766 w 8079933"/>
              <a:gd name="connsiteY24879" fmla="*/ 1060618 h 4687251"/>
              <a:gd name="connsiteX24880" fmla="*/ 2649759 w 8079933"/>
              <a:gd name="connsiteY24880" fmla="*/ 1066032 h 4687251"/>
              <a:gd name="connsiteX24881" fmla="*/ 2646829 w 8079933"/>
              <a:gd name="connsiteY24881" fmla="*/ 1067547 h 4687251"/>
              <a:gd name="connsiteX24882" fmla="*/ 2644659 w 8079933"/>
              <a:gd name="connsiteY24882" fmla="*/ 1066790 h 4687251"/>
              <a:gd name="connsiteX24883" fmla="*/ 2643574 w 8079933"/>
              <a:gd name="connsiteY24883" fmla="*/ 1065057 h 4687251"/>
              <a:gd name="connsiteX24884" fmla="*/ 2644116 w 8079933"/>
              <a:gd name="connsiteY24884" fmla="*/ 1061810 h 4687251"/>
              <a:gd name="connsiteX24885" fmla="*/ 2642923 w 8079933"/>
              <a:gd name="connsiteY24885" fmla="*/ 1060185 h 4687251"/>
              <a:gd name="connsiteX24886" fmla="*/ 2640427 w 8079933"/>
              <a:gd name="connsiteY24886" fmla="*/ 1060943 h 4687251"/>
              <a:gd name="connsiteX24887" fmla="*/ 2638148 w 8079933"/>
              <a:gd name="connsiteY24887" fmla="*/ 1059535 h 4687251"/>
              <a:gd name="connsiteX24888" fmla="*/ 2639341 w 8079933"/>
              <a:gd name="connsiteY24888" fmla="*/ 1057804 h 4687251"/>
              <a:gd name="connsiteX24889" fmla="*/ 2641621 w 8079933"/>
              <a:gd name="connsiteY24889" fmla="*/ 1057045 h 4687251"/>
              <a:gd name="connsiteX24890" fmla="*/ 2641621 w 8079933"/>
              <a:gd name="connsiteY24890" fmla="*/ 1054772 h 4687251"/>
              <a:gd name="connsiteX24891" fmla="*/ 2639884 w 8079933"/>
              <a:gd name="connsiteY24891" fmla="*/ 1053473 h 4687251"/>
              <a:gd name="connsiteX24892" fmla="*/ 2637606 w 8079933"/>
              <a:gd name="connsiteY24892" fmla="*/ 1053473 h 4687251"/>
              <a:gd name="connsiteX24893" fmla="*/ 2637171 w 8079933"/>
              <a:gd name="connsiteY24893" fmla="*/ 1052282 h 4687251"/>
              <a:gd name="connsiteX24894" fmla="*/ 2637714 w 8079933"/>
              <a:gd name="connsiteY24894" fmla="*/ 1047843 h 4687251"/>
              <a:gd name="connsiteX24895" fmla="*/ 2639341 w 8079933"/>
              <a:gd name="connsiteY24895" fmla="*/ 1046868 h 4687251"/>
              <a:gd name="connsiteX24896" fmla="*/ 2639450 w 8079933"/>
              <a:gd name="connsiteY24896" fmla="*/ 1044270 h 4687251"/>
              <a:gd name="connsiteX24897" fmla="*/ 2636955 w 8079933"/>
              <a:gd name="connsiteY24897" fmla="*/ 1042862 h 4687251"/>
              <a:gd name="connsiteX24898" fmla="*/ 2635110 w 8079933"/>
              <a:gd name="connsiteY24898" fmla="*/ 1040480 h 4687251"/>
              <a:gd name="connsiteX24899" fmla="*/ 2634133 w 8079933"/>
              <a:gd name="connsiteY24899" fmla="*/ 1040696 h 4687251"/>
              <a:gd name="connsiteX24900" fmla="*/ 2634025 w 8079933"/>
              <a:gd name="connsiteY24900" fmla="*/ 1043837 h 4687251"/>
              <a:gd name="connsiteX24901" fmla="*/ 2634784 w 8079933"/>
              <a:gd name="connsiteY24901" fmla="*/ 1046327 h 4687251"/>
              <a:gd name="connsiteX24902" fmla="*/ 2631095 w 8079933"/>
              <a:gd name="connsiteY24902" fmla="*/ 1047734 h 4687251"/>
              <a:gd name="connsiteX24903" fmla="*/ 2629032 w 8079933"/>
              <a:gd name="connsiteY24903" fmla="*/ 1045785 h 4687251"/>
              <a:gd name="connsiteX24904" fmla="*/ 2626646 w 8079933"/>
              <a:gd name="connsiteY24904" fmla="*/ 1043512 h 4687251"/>
              <a:gd name="connsiteX24905" fmla="*/ 2622630 w 8079933"/>
              <a:gd name="connsiteY24905" fmla="*/ 1043620 h 4687251"/>
              <a:gd name="connsiteX24906" fmla="*/ 2627079 w 8079933"/>
              <a:gd name="connsiteY24906" fmla="*/ 1046327 h 4687251"/>
              <a:gd name="connsiteX24907" fmla="*/ 2629684 w 8079933"/>
              <a:gd name="connsiteY24907" fmla="*/ 1050766 h 4687251"/>
              <a:gd name="connsiteX24908" fmla="*/ 2630227 w 8079933"/>
              <a:gd name="connsiteY24908" fmla="*/ 1054772 h 4687251"/>
              <a:gd name="connsiteX24909" fmla="*/ 2627297 w 8079933"/>
              <a:gd name="connsiteY24909" fmla="*/ 1054014 h 4687251"/>
              <a:gd name="connsiteX24910" fmla="*/ 2626537 w 8079933"/>
              <a:gd name="connsiteY24910" fmla="*/ 1055313 h 4687251"/>
              <a:gd name="connsiteX24911" fmla="*/ 2627188 w 8079933"/>
              <a:gd name="connsiteY24911" fmla="*/ 1056504 h 4687251"/>
              <a:gd name="connsiteX24912" fmla="*/ 2623607 w 8079933"/>
              <a:gd name="connsiteY24912" fmla="*/ 1057045 h 4687251"/>
              <a:gd name="connsiteX24913" fmla="*/ 2621436 w 8079933"/>
              <a:gd name="connsiteY24913" fmla="*/ 1054447 h 4687251"/>
              <a:gd name="connsiteX24914" fmla="*/ 2620351 w 8079933"/>
              <a:gd name="connsiteY24914" fmla="*/ 1049792 h 4687251"/>
              <a:gd name="connsiteX24915" fmla="*/ 2618398 w 8079933"/>
              <a:gd name="connsiteY24915" fmla="*/ 1048384 h 4687251"/>
              <a:gd name="connsiteX24916" fmla="*/ 2617096 w 8079933"/>
              <a:gd name="connsiteY24916" fmla="*/ 1049683 h 4687251"/>
              <a:gd name="connsiteX24917" fmla="*/ 2619591 w 8079933"/>
              <a:gd name="connsiteY24917" fmla="*/ 1052173 h 4687251"/>
              <a:gd name="connsiteX24918" fmla="*/ 2620026 w 8079933"/>
              <a:gd name="connsiteY24918" fmla="*/ 1055313 h 4687251"/>
              <a:gd name="connsiteX24919" fmla="*/ 2618615 w 8079933"/>
              <a:gd name="connsiteY24919" fmla="*/ 1058669 h 4687251"/>
              <a:gd name="connsiteX24920" fmla="*/ 2621545 w 8079933"/>
              <a:gd name="connsiteY24920" fmla="*/ 1059319 h 4687251"/>
              <a:gd name="connsiteX24921" fmla="*/ 2624475 w 8079933"/>
              <a:gd name="connsiteY24921" fmla="*/ 1062892 h 4687251"/>
              <a:gd name="connsiteX24922" fmla="*/ 2625994 w 8079933"/>
              <a:gd name="connsiteY24922" fmla="*/ 1066898 h 4687251"/>
              <a:gd name="connsiteX24923" fmla="*/ 2625560 w 8079933"/>
              <a:gd name="connsiteY24923" fmla="*/ 1069930 h 4687251"/>
              <a:gd name="connsiteX24924" fmla="*/ 2627514 w 8079933"/>
              <a:gd name="connsiteY24924" fmla="*/ 1070471 h 4687251"/>
              <a:gd name="connsiteX24925" fmla="*/ 2627079 w 8079933"/>
              <a:gd name="connsiteY24925" fmla="*/ 1072528 h 4687251"/>
              <a:gd name="connsiteX24926" fmla="*/ 2624475 w 8079933"/>
              <a:gd name="connsiteY24926" fmla="*/ 1073394 h 4687251"/>
              <a:gd name="connsiteX24927" fmla="*/ 2619591 w 8079933"/>
              <a:gd name="connsiteY24927" fmla="*/ 1072853 h 4687251"/>
              <a:gd name="connsiteX24928" fmla="*/ 2617530 w 8079933"/>
              <a:gd name="connsiteY24928" fmla="*/ 1070255 h 4687251"/>
              <a:gd name="connsiteX24929" fmla="*/ 2616228 w 8079933"/>
              <a:gd name="connsiteY24929" fmla="*/ 1074369 h 4687251"/>
              <a:gd name="connsiteX24930" fmla="*/ 2614708 w 8079933"/>
              <a:gd name="connsiteY24930" fmla="*/ 1074369 h 4687251"/>
              <a:gd name="connsiteX24931" fmla="*/ 2610259 w 8079933"/>
              <a:gd name="connsiteY24931" fmla="*/ 1069280 h 4687251"/>
              <a:gd name="connsiteX24932" fmla="*/ 2609500 w 8079933"/>
              <a:gd name="connsiteY24932" fmla="*/ 1066140 h 4687251"/>
              <a:gd name="connsiteX24933" fmla="*/ 2611127 w 8079933"/>
              <a:gd name="connsiteY24933" fmla="*/ 1063433 h 4687251"/>
              <a:gd name="connsiteX24934" fmla="*/ 2610259 w 8079933"/>
              <a:gd name="connsiteY24934" fmla="*/ 1060618 h 4687251"/>
              <a:gd name="connsiteX24935" fmla="*/ 2606461 w 8079933"/>
              <a:gd name="connsiteY24935" fmla="*/ 1058237 h 4687251"/>
              <a:gd name="connsiteX24936" fmla="*/ 2602663 w 8079933"/>
              <a:gd name="connsiteY24936" fmla="*/ 1058453 h 4687251"/>
              <a:gd name="connsiteX24937" fmla="*/ 2602012 w 8079933"/>
              <a:gd name="connsiteY24937" fmla="*/ 1055963 h 4687251"/>
              <a:gd name="connsiteX24938" fmla="*/ 2600276 w 8079933"/>
              <a:gd name="connsiteY24938" fmla="*/ 1052715 h 4687251"/>
              <a:gd name="connsiteX24939" fmla="*/ 2597888 w 8079933"/>
              <a:gd name="connsiteY24939" fmla="*/ 1054447 h 4687251"/>
              <a:gd name="connsiteX24940" fmla="*/ 2593765 w 8079933"/>
              <a:gd name="connsiteY24940" fmla="*/ 1055529 h 4687251"/>
              <a:gd name="connsiteX24941" fmla="*/ 2588447 w 8079933"/>
              <a:gd name="connsiteY24941" fmla="*/ 1055096 h 4687251"/>
              <a:gd name="connsiteX24942" fmla="*/ 2590509 w 8079933"/>
              <a:gd name="connsiteY24942" fmla="*/ 1057587 h 4687251"/>
              <a:gd name="connsiteX24943" fmla="*/ 2596261 w 8079933"/>
              <a:gd name="connsiteY24943" fmla="*/ 1058020 h 4687251"/>
              <a:gd name="connsiteX24944" fmla="*/ 2599841 w 8079933"/>
              <a:gd name="connsiteY24944" fmla="*/ 1059535 h 4687251"/>
              <a:gd name="connsiteX24945" fmla="*/ 2604834 w 8079933"/>
              <a:gd name="connsiteY24945" fmla="*/ 1061051 h 4687251"/>
              <a:gd name="connsiteX24946" fmla="*/ 2604834 w 8079933"/>
              <a:gd name="connsiteY24946" fmla="*/ 1065816 h 4687251"/>
              <a:gd name="connsiteX24947" fmla="*/ 2602229 w 8079933"/>
              <a:gd name="connsiteY24947" fmla="*/ 1069063 h 4687251"/>
              <a:gd name="connsiteX24948" fmla="*/ 2602338 w 8079933"/>
              <a:gd name="connsiteY24948" fmla="*/ 1071770 h 4687251"/>
              <a:gd name="connsiteX24949" fmla="*/ 2604942 w 8079933"/>
              <a:gd name="connsiteY24949" fmla="*/ 1071229 h 4687251"/>
              <a:gd name="connsiteX24950" fmla="*/ 2606461 w 8079933"/>
              <a:gd name="connsiteY24950" fmla="*/ 1073394 h 4687251"/>
              <a:gd name="connsiteX24951" fmla="*/ 2604725 w 8079933"/>
              <a:gd name="connsiteY24951" fmla="*/ 1075885 h 4687251"/>
              <a:gd name="connsiteX24952" fmla="*/ 2606679 w 8079933"/>
              <a:gd name="connsiteY24952" fmla="*/ 1076751 h 4687251"/>
              <a:gd name="connsiteX24953" fmla="*/ 2610585 w 8079933"/>
              <a:gd name="connsiteY24953" fmla="*/ 1076751 h 4687251"/>
              <a:gd name="connsiteX24954" fmla="*/ 2610802 w 8079933"/>
              <a:gd name="connsiteY24954" fmla="*/ 1078808 h 4687251"/>
              <a:gd name="connsiteX24955" fmla="*/ 2608197 w 8079933"/>
              <a:gd name="connsiteY24955" fmla="*/ 1082922 h 4687251"/>
              <a:gd name="connsiteX24956" fmla="*/ 2601904 w 8079933"/>
              <a:gd name="connsiteY24956" fmla="*/ 1088336 h 4687251"/>
              <a:gd name="connsiteX24957" fmla="*/ 2597997 w 8079933"/>
              <a:gd name="connsiteY24957" fmla="*/ 1091584 h 4687251"/>
              <a:gd name="connsiteX24958" fmla="*/ 2606461 w 8079933"/>
              <a:gd name="connsiteY24958" fmla="*/ 1089526 h 4687251"/>
              <a:gd name="connsiteX24959" fmla="*/ 2609065 w 8079933"/>
              <a:gd name="connsiteY24959" fmla="*/ 1086495 h 4687251"/>
              <a:gd name="connsiteX24960" fmla="*/ 2609934 w 8079933"/>
              <a:gd name="connsiteY24960" fmla="*/ 1084438 h 4687251"/>
              <a:gd name="connsiteX24961" fmla="*/ 2616553 w 8079933"/>
              <a:gd name="connsiteY24961" fmla="*/ 1084546 h 4687251"/>
              <a:gd name="connsiteX24962" fmla="*/ 2618506 w 8079933"/>
              <a:gd name="connsiteY24962" fmla="*/ 1086712 h 4687251"/>
              <a:gd name="connsiteX24963" fmla="*/ 2618506 w 8079933"/>
              <a:gd name="connsiteY24963" fmla="*/ 1088336 h 4687251"/>
              <a:gd name="connsiteX24964" fmla="*/ 2614383 w 8079933"/>
              <a:gd name="connsiteY24964" fmla="*/ 1090501 h 4687251"/>
              <a:gd name="connsiteX24965" fmla="*/ 2612321 w 8079933"/>
              <a:gd name="connsiteY24965" fmla="*/ 1093424 h 4687251"/>
              <a:gd name="connsiteX24966" fmla="*/ 2614057 w 8079933"/>
              <a:gd name="connsiteY24966" fmla="*/ 1094724 h 4687251"/>
              <a:gd name="connsiteX24967" fmla="*/ 2618073 w 8079933"/>
              <a:gd name="connsiteY24967" fmla="*/ 1095265 h 4687251"/>
              <a:gd name="connsiteX24968" fmla="*/ 2620677 w 8079933"/>
              <a:gd name="connsiteY24968" fmla="*/ 1097863 h 4687251"/>
              <a:gd name="connsiteX24969" fmla="*/ 2618398 w 8079933"/>
              <a:gd name="connsiteY24969" fmla="*/ 1099271 h 4687251"/>
              <a:gd name="connsiteX24970" fmla="*/ 2614166 w 8079933"/>
              <a:gd name="connsiteY24970" fmla="*/ 1099812 h 4687251"/>
              <a:gd name="connsiteX24971" fmla="*/ 2612864 w 8079933"/>
              <a:gd name="connsiteY24971" fmla="*/ 1101761 h 4687251"/>
              <a:gd name="connsiteX24972" fmla="*/ 2615143 w 8079933"/>
              <a:gd name="connsiteY24972" fmla="*/ 1102519 h 4687251"/>
              <a:gd name="connsiteX24973" fmla="*/ 2615902 w 8079933"/>
              <a:gd name="connsiteY24973" fmla="*/ 1105334 h 4687251"/>
              <a:gd name="connsiteX24974" fmla="*/ 2615360 w 8079933"/>
              <a:gd name="connsiteY24974" fmla="*/ 1105875 h 4687251"/>
              <a:gd name="connsiteX24975" fmla="*/ 2615793 w 8079933"/>
              <a:gd name="connsiteY24975" fmla="*/ 1107391 h 4687251"/>
              <a:gd name="connsiteX24976" fmla="*/ 2617530 w 8079933"/>
              <a:gd name="connsiteY24976" fmla="*/ 1107391 h 4687251"/>
              <a:gd name="connsiteX24977" fmla="*/ 2616770 w 8079933"/>
              <a:gd name="connsiteY24977" fmla="*/ 1111181 h 4687251"/>
              <a:gd name="connsiteX24978" fmla="*/ 2618723 w 8079933"/>
              <a:gd name="connsiteY24978" fmla="*/ 1111614 h 4687251"/>
              <a:gd name="connsiteX24979" fmla="*/ 2619591 w 8079933"/>
              <a:gd name="connsiteY24979" fmla="*/ 1114862 h 4687251"/>
              <a:gd name="connsiteX24980" fmla="*/ 2620134 w 8079933"/>
              <a:gd name="connsiteY24980" fmla="*/ 1120601 h 4687251"/>
              <a:gd name="connsiteX24981" fmla="*/ 2621219 w 8079933"/>
              <a:gd name="connsiteY24981" fmla="*/ 1121358 h 4687251"/>
              <a:gd name="connsiteX24982" fmla="*/ 2622522 w 8079933"/>
              <a:gd name="connsiteY24982" fmla="*/ 1118760 h 4687251"/>
              <a:gd name="connsiteX24983" fmla="*/ 2622956 w 8079933"/>
              <a:gd name="connsiteY24983" fmla="*/ 1114320 h 4687251"/>
              <a:gd name="connsiteX24984" fmla="*/ 2625017 w 8079933"/>
              <a:gd name="connsiteY24984" fmla="*/ 1113021 h 4687251"/>
              <a:gd name="connsiteX24985" fmla="*/ 2627730 w 8079933"/>
              <a:gd name="connsiteY24985" fmla="*/ 1115512 h 4687251"/>
              <a:gd name="connsiteX24986" fmla="*/ 2628382 w 8079933"/>
              <a:gd name="connsiteY24986" fmla="*/ 1120383 h 4687251"/>
              <a:gd name="connsiteX24987" fmla="*/ 2630227 w 8079933"/>
              <a:gd name="connsiteY24987" fmla="*/ 1122549 h 4687251"/>
              <a:gd name="connsiteX24988" fmla="*/ 2629250 w 8079933"/>
              <a:gd name="connsiteY24988" fmla="*/ 1124173 h 4687251"/>
              <a:gd name="connsiteX24989" fmla="*/ 2625777 w 8079933"/>
              <a:gd name="connsiteY24989" fmla="*/ 1126338 h 4687251"/>
              <a:gd name="connsiteX24990" fmla="*/ 2626537 w 8079933"/>
              <a:gd name="connsiteY24990" fmla="*/ 1128071 h 4687251"/>
              <a:gd name="connsiteX24991" fmla="*/ 2632288 w 8079933"/>
              <a:gd name="connsiteY24991" fmla="*/ 1127205 h 4687251"/>
              <a:gd name="connsiteX24992" fmla="*/ 2633590 w 8079933"/>
              <a:gd name="connsiteY24992" fmla="*/ 1126122 h 4687251"/>
              <a:gd name="connsiteX24993" fmla="*/ 2633916 w 8079933"/>
              <a:gd name="connsiteY24993" fmla="*/ 1129154 h 4687251"/>
              <a:gd name="connsiteX24994" fmla="*/ 2635978 w 8079933"/>
              <a:gd name="connsiteY24994" fmla="*/ 1126014 h 4687251"/>
              <a:gd name="connsiteX24995" fmla="*/ 2636086 w 8079933"/>
              <a:gd name="connsiteY24995" fmla="*/ 1123524 h 4687251"/>
              <a:gd name="connsiteX24996" fmla="*/ 2638691 w 8079933"/>
              <a:gd name="connsiteY24996" fmla="*/ 1123848 h 4687251"/>
              <a:gd name="connsiteX24997" fmla="*/ 2640753 w 8079933"/>
              <a:gd name="connsiteY24997" fmla="*/ 1127313 h 4687251"/>
              <a:gd name="connsiteX24998" fmla="*/ 2639884 w 8079933"/>
              <a:gd name="connsiteY24998" fmla="*/ 1131319 h 4687251"/>
              <a:gd name="connsiteX24999" fmla="*/ 2636846 w 8079933"/>
              <a:gd name="connsiteY24999" fmla="*/ 1134350 h 4687251"/>
              <a:gd name="connsiteX25000" fmla="*/ 2636195 w 8079933"/>
              <a:gd name="connsiteY25000" fmla="*/ 1137058 h 4687251"/>
              <a:gd name="connsiteX25001" fmla="*/ 2635218 w 8079933"/>
              <a:gd name="connsiteY25001" fmla="*/ 1138465 h 4687251"/>
              <a:gd name="connsiteX25002" fmla="*/ 2637497 w 8079933"/>
              <a:gd name="connsiteY25002" fmla="*/ 1140522 h 4687251"/>
              <a:gd name="connsiteX25003" fmla="*/ 2643140 w 8079933"/>
              <a:gd name="connsiteY25003" fmla="*/ 1139981 h 4687251"/>
              <a:gd name="connsiteX25004" fmla="*/ 2645961 w 8079933"/>
              <a:gd name="connsiteY25004" fmla="*/ 1138573 h 4687251"/>
              <a:gd name="connsiteX25005" fmla="*/ 2647915 w 8079933"/>
              <a:gd name="connsiteY25005" fmla="*/ 1140414 h 4687251"/>
              <a:gd name="connsiteX25006" fmla="*/ 2644225 w 8079933"/>
              <a:gd name="connsiteY25006" fmla="*/ 1143121 h 4687251"/>
              <a:gd name="connsiteX25007" fmla="*/ 2643248 w 8079933"/>
              <a:gd name="connsiteY25007" fmla="*/ 1144744 h 4687251"/>
              <a:gd name="connsiteX25008" fmla="*/ 2638148 w 8079933"/>
              <a:gd name="connsiteY25008" fmla="*/ 1145611 h 4687251"/>
              <a:gd name="connsiteX25009" fmla="*/ 2640969 w 8079933"/>
              <a:gd name="connsiteY25009" fmla="*/ 1148859 h 4687251"/>
              <a:gd name="connsiteX25010" fmla="*/ 2643682 w 8079933"/>
              <a:gd name="connsiteY25010" fmla="*/ 1153839 h 4687251"/>
              <a:gd name="connsiteX25011" fmla="*/ 2642706 w 8079933"/>
              <a:gd name="connsiteY25011" fmla="*/ 1157304 h 4687251"/>
              <a:gd name="connsiteX25012" fmla="*/ 2644876 w 8079933"/>
              <a:gd name="connsiteY25012" fmla="*/ 1157845 h 4687251"/>
              <a:gd name="connsiteX25013" fmla="*/ 2645744 w 8079933"/>
              <a:gd name="connsiteY25013" fmla="*/ 1163692 h 4687251"/>
              <a:gd name="connsiteX25014" fmla="*/ 2650953 w 8079933"/>
              <a:gd name="connsiteY25014" fmla="*/ 1171812 h 4687251"/>
              <a:gd name="connsiteX25015" fmla="*/ 2652472 w 8079933"/>
              <a:gd name="connsiteY25015" fmla="*/ 1173111 h 4687251"/>
              <a:gd name="connsiteX25016" fmla="*/ 2649434 w 8079933"/>
              <a:gd name="connsiteY25016" fmla="*/ 1174844 h 4687251"/>
              <a:gd name="connsiteX25017" fmla="*/ 2648891 w 8079933"/>
              <a:gd name="connsiteY25017" fmla="*/ 1181448 h 4687251"/>
              <a:gd name="connsiteX25018" fmla="*/ 2646612 w 8079933"/>
              <a:gd name="connsiteY25018" fmla="*/ 1186212 h 4687251"/>
              <a:gd name="connsiteX25019" fmla="*/ 2647697 w 8079933"/>
              <a:gd name="connsiteY25019" fmla="*/ 1191193 h 4687251"/>
              <a:gd name="connsiteX25020" fmla="*/ 2646287 w 8079933"/>
              <a:gd name="connsiteY25020" fmla="*/ 1192925 h 4687251"/>
              <a:gd name="connsiteX25021" fmla="*/ 2640210 w 8079933"/>
              <a:gd name="connsiteY25021" fmla="*/ 1186104 h 4687251"/>
              <a:gd name="connsiteX25022" fmla="*/ 2638908 w 8079933"/>
              <a:gd name="connsiteY25022" fmla="*/ 1180690 h 4687251"/>
              <a:gd name="connsiteX25023" fmla="*/ 2639559 w 8079933"/>
              <a:gd name="connsiteY25023" fmla="*/ 1175927 h 4687251"/>
              <a:gd name="connsiteX25024" fmla="*/ 2638040 w 8079933"/>
              <a:gd name="connsiteY25024" fmla="*/ 1169213 h 4687251"/>
              <a:gd name="connsiteX25025" fmla="*/ 2637497 w 8079933"/>
              <a:gd name="connsiteY25025" fmla="*/ 1175168 h 4687251"/>
              <a:gd name="connsiteX25026" fmla="*/ 2636629 w 8079933"/>
              <a:gd name="connsiteY25026" fmla="*/ 1181882 h 4687251"/>
              <a:gd name="connsiteX25027" fmla="*/ 2639559 w 8079933"/>
              <a:gd name="connsiteY25027" fmla="*/ 1189785 h 4687251"/>
              <a:gd name="connsiteX25028" fmla="*/ 2639016 w 8079933"/>
              <a:gd name="connsiteY25028" fmla="*/ 1197256 h 4687251"/>
              <a:gd name="connsiteX25029" fmla="*/ 2637497 w 8079933"/>
              <a:gd name="connsiteY25029" fmla="*/ 1201045 h 4687251"/>
              <a:gd name="connsiteX25030" fmla="*/ 2640101 w 8079933"/>
              <a:gd name="connsiteY25030" fmla="*/ 1205484 h 4687251"/>
              <a:gd name="connsiteX25031" fmla="*/ 2638691 w 8079933"/>
              <a:gd name="connsiteY25031" fmla="*/ 1207000 h 4687251"/>
              <a:gd name="connsiteX25032" fmla="*/ 2634567 w 8079933"/>
              <a:gd name="connsiteY25032" fmla="*/ 1206134 h 4687251"/>
              <a:gd name="connsiteX25033" fmla="*/ 2632505 w 8079933"/>
              <a:gd name="connsiteY25033" fmla="*/ 1202669 h 4687251"/>
              <a:gd name="connsiteX25034" fmla="*/ 2628707 w 8079933"/>
              <a:gd name="connsiteY25034" fmla="*/ 1202669 h 4687251"/>
              <a:gd name="connsiteX25035" fmla="*/ 2631312 w 8079933"/>
              <a:gd name="connsiteY25035" fmla="*/ 1211439 h 4687251"/>
              <a:gd name="connsiteX25036" fmla="*/ 2630986 w 8079933"/>
              <a:gd name="connsiteY25036" fmla="*/ 1217178 h 4687251"/>
              <a:gd name="connsiteX25037" fmla="*/ 2632288 w 8079933"/>
              <a:gd name="connsiteY25037" fmla="*/ 1218585 h 4687251"/>
              <a:gd name="connsiteX25038" fmla="*/ 2632288 w 8079933"/>
              <a:gd name="connsiteY25038" fmla="*/ 1221617 h 4687251"/>
              <a:gd name="connsiteX25039" fmla="*/ 2628056 w 8079933"/>
              <a:gd name="connsiteY25039" fmla="*/ 1221075 h 4687251"/>
              <a:gd name="connsiteX25040" fmla="*/ 2625452 w 8079933"/>
              <a:gd name="connsiteY25040" fmla="*/ 1218152 h 4687251"/>
              <a:gd name="connsiteX25041" fmla="*/ 2623716 w 8079933"/>
              <a:gd name="connsiteY25041" fmla="*/ 1210790 h 4687251"/>
              <a:gd name="connsiteX25042" fmla="*/ 2625234 w 8079933"/>
              <a:gd name="connsiteY25042" fmla="*/ 1208624 h 4687251"/>
              <a:gd name="connsiteX25043" fmla="*/ 2625234 w 8079933"/>
              <a:gd name="connsiteY25043" fmla="*/ 1203968 h 4687251"/>
              <a:gd name="connsiteX25044" fmla="*/ 2623173 w 8079933"/>
              <a:gd name="connsiteY25044" fmla="*/ 1206459 h 4687251"/>
              <a:gd name="connsiteX25045" fmla="*/ 2619917 w 8079933"/>
              <a:gd name="connsiteY25045" fmla="*/ 1207000 h 4687251"/>
              <a:gd name="connsiteX25046" fmla="*/ 2617964 w 8079933"/>
              <a:gd name="connsiteY25046" fmla="*/ 1204294 h 4687251"/>
              <a:gd name="connsiteX25047" fmla="*/ 2617964 w 8079933"/>
              <a:gd name="connsiteY25047" fmla="*/ 1197364 h 4687251"/>
              <a:gd name="connsiteX25048" fmla="*/ 2615468 w 8079933"/>
              <a:gd name="connsiteY25048" fmla="*/ 1198880 h 4687251"/>
              <a:gd name="connsiteX25049" fmla="*/ 2615143 w 8079933"/>
              <a:gd name="connsiteY25049" fmla="*/ 1202345 h 4687251"/>
              <a:gd name="connsiteX25050" fmla="*/ 2614057 w 8079933"/>
              <a:gd name="connsiteY25050" fmla="*/ 1200829 h 4687251"/>
              <a:gd name="connsiteX25051" fmla="*/ 2614275 w 8079933"/>
              <a:gd name="connsiteY25051" fmla="*/ 1197905 h 4687251"/>
              <a:gd name="connsiteX25052" fmla="*/ 2612647 w 8079933"/>
              <a:gd name="connsiteY25052" fmla="*/ 1193574 h 4687251"/>
              <a:gd name="connsiteX25053" fmla="*/ 2609717 w 8079933"/>
              <a:gd name="connsiteY25053" fmla="*/ 1192925 h 4687251"/>
              <a:gd name="connsiteX25054" fmla="*/ 2609717 w 8079933"/>
              <a:gd name="connsiteY25054" fmla="*/ 1194766 h 4687251"/>
              <a:gd name="connsiteX25055" fmla="*/ 2611453 w 8079933"/>
              <a:gd name="connsiteY25055" fmla="*/ 1197039 h 4687251"/>
              <a:gd name="connsiteX25056" fmla="*/ 2610150 w 8079933"/>
              <a:gd name="connsiteY25056" fmla="*/ 1199746 h 4687251"/>
              <a:gd name="connsiteX25057" fmla="*/ 2607112 w 8079933"/>
              <a:gd name="connsiteY25057" fmla="*/ 1197689 h 4687251"/>
              <a:gd name="connsiteX25058" fmla="*/ 2604942 w 8079933"/>
              <a:gd name="connsiteY25058" fmla="*/ 1197039 h 4687251"/>
              <a:gd name="connsiteX25059" fmla="*/ 2604399 w 8079933"/>
              <a:gd name="connsiteY25059" fmla="*/ 1193250 h 4687251"/>
              <a:gd name="connsiteX25060" fmla="*/ 2604942 w 8079933"/>
              <a:gd name="connsiteY25060" fmla="*/ 1189135 h 4687251"/>
              <a:gd name="connsiteX25061" fmla="*/ 2602338 w 8079933"/>
              <a:gd name="connsiteY25061" fmla="*/ 1181882 h 4687251"/>
              <a:gd name="connsiteX25062" fmla="*/ 2602338 w 8079933"/>
              <a:gd name="connsiteY25062" fmla="*/ 1178958 h 4687251"/>
              <a:gd name="connsiteX25063" fmla="*/ 2601144 w 8079933"/>
              <a:gd name="connsiteY25063" fmla="*/ 1183180 h 4687251"/>
              <a:gd name="connsiteX25064" fmla="*/ 2601469 w 8079933"/>
              <a:gd name="connsiteY25064" fmla="*/ 1190218 h 4687251"/>
              <a:gd name="connsiteX25065" fmla="*/ 2602663 w 8079933"/>
              <a:gd name="connsiteY25065" fmla="*/ 1194657 h 4687251"/>
              <a:gd name="connsiteX25066" fmla="*/ 2600059 w 8079933"/>
              <a:gd name="connsiteY25066" fmla="*/ 1197364 h 4687251"/>
              <a:gd name="connsiteX25067" fmla="*/ 2596803 w 8079933"/>
              <a:gd name="connsiteY25067" fmla="*/ 1189677 h 4687251"/>
              <a:gd name="connsiteX25068" fmla="*/ 2593548 w 8079933"/>
              <a:gd name="connsiteY25068" fmla="*/ 1186429 h 4687251"/>
              <a:gd name="connsiteX25069" fmla="*/ 2593548 w 8079933"/>
              <a:gd name="connsiteY25069" fmla="*/ 1184155 h 4687251"/>
              <a:gd name="connsiteX25070" fmla="*/ 2590292 w 8079933"/>
              <a:gd name="connsiteY25070" fmla="*/ 1183505 h 4687251"/>
              <a:gd name="connsiteX25071" fmla="*/ 2588014 w 8079933"/>
              <a:gd name="connsiteY25071" fmla="*/ 1176035 h 4687251"/>
              <a:gd name="connsiteX25072" fmla="*/ 2585952 w 8079933"/>
              <a:gd name="connsiteY25072" fmla="*/ 1174194 h 4687251"/>
              <a:gd name="connsiteX25073" fmla="*/ 2585952 w 8079933"/>
              <a:gd name="connsiteY25073" fmla="*/ 1171812 h 4687251"/>
              <a:gd name="connsiteX25074" fmla="*/ 2583889 w 8079933"/>
              <a:gd name="connsiteY25074" fmla="*/ 1168348 h 4687251"/>
              <a:gd name="connsiteX25075" fmla="*/ 2581503 w 8079933"/>
              <a:gd name="connsiteY25075" fmla="*/ 1169755 h 4687251"/>
              <a:gd name="connsiteX25076" fmla="*/ 2581177 w 8079933"/>
              <a:gd name="connsiteY25076" fmla="*/ 1171812 h 4687251"/>
              <a:gd name="connsiteX25077" fmla="*/ 2583347 w 8079933"/>
              <a:gd name="connsiteY25077" fmla="*/ 1177334 h 4687251"/>
              <a:gd name="connsiteX25078" fmla="*/ 2583781 w 8079933"/>
              <a:gd name="connsiteY25078" fmla="*/ 1181015 h 4687251"/>
              <a:gd name="connsiteX25079" fmla="*/ 2581719 w 8079933"/>
              <a:gd name="connsiteY25079" fmla="*/ 1178958 h 4687251"/>
              <a:gd name="connsiteX25080" fmla="*/ 2581286 w 8079933"/>
              <a:gd name="connsiteY25080" fmla="*/ 1175927 h 4687251"/>
              <a:gd name="connsiteX25081" fmla="*/ 2578898 w 8079933"/>
              <a:gd name="connsiteY25081" fmla="*/ 1173870 h 4687251"/>
              <a:gd name="connsiteX25082" fmla="*/ 2573580 w 8079933"/>
              <a:gd name="connsiteY25082" fmla="*/ 1171271 h 4687251"/>
              <a:gd name="connsiteX25083" fmla="*/ 2570434 w 8079933"/>
              <a:gd name="connsiteY25083" fmla="*/ 1165316 h 4687251"/>
              <a:gd name="connsiteX25084" fmla="*/ 2570108 w 8079933"/>
              <a:gd name="connsiteY25084" fmla="*/ 1160768 h 4687251"/>
              <a:gd name="connsiteX25085" fmla="*/ 2565442 w 8079933"/>
              <a:gd name="connsiteY25085" fmla="*/ 1159686 h 4687251"/>
              <a:gd name="connsiteX25086" fmla="*/ 2563598 w 8079933"/>
              <a:gd name="connsiteY25086" fmla="*/ 1162826 h 4687251"/>
              <a:gd name="connsiteX25087" fmla="*/ 2560450 w 8079933"/>
              <a:gd name="connsiteY25087" fmla="*/ 1161093 h 4687251"/>
              <a:gd name="connsiteX25088" fmla="*/ 2559908 w 8079933"/>
              <a:gd name="connsiteY25088" fmla="*/ 1165099 h 4687251"/>
              <a:gd name="connsiteX25089" fmla="*/ 2561210 w 8079933"/>
              <a:gd name="connsiteY25089" fmla="*/ 1170946 h 4687251"/>
              <a:gd name="connsiteX25090" fmla="*/ 2567721 w 8079933"/>
              <a:gd name="connsiteY25090" fmla="*/ 1176468 h 4687251"/>
              <a:gd name="connsiteX25091" fmla="*/ 2567829 w 8079933"/>
              <a:gd name="connsiteY25091" fmla="*/ 1178633 h 4687251"/>
              <a:gd name="connsiteX25092" fmla="*/ 2568372 w 8079933"/>
              <a:gd name="connsiteY25092" fmla="*/ 1181882 h 4687251"/>
              <a:gd name="connsiteX25093" fmla="*/ 2568914 w 8079933"/>
              <a:gd name="connsiteY25093" fmla="*/ 1187619 h 4687251"/>
              <a:gd name="connsiteX25094" fmla="*/ 2570868 w 8079933"/>
              <a:gd name="connsiteY25094" fmla="*/ 1187295 h 4687251"/>
              <a:gd name="connsiteX25095" fmla="*/ 2576293 w 8079933"/>
              <a:gd name="connsiteY25095" fmla="*/ 1188270 h 4687251"/>
              <a:gd name="connsiteX25096" fmla="*/ 2579223 w 8079933"/>
              <a:gd name="connsiteY25096" fmla="*/ 1192276 h 4687251"/>
              <a:gd name="connsiteX25097" fmla="*/ 2578030 w 8079933"/>
              <a:gd name="connsiteY25097" fmla="*/ 1194766 h 4687251"/>
              <a:gd name="connsiteX25098" fmla="*/ 2580091 w 8079933"/>
              <a:gd name="connsiteY25098" fmla="*/ 1194441 h 4687251"/>
              <a:gd name="connsiteX25099" fmla="*/ 2583239 w 8079933"/>
              <a:gd name="connsiteY25099" fmla="*/ 1195199 h 4687251"/>
              <a:gd name="connsiteX25100" fmla="*/ 2580634 w 8079933"/>
              <a:gd name="connsiteY25100" fmla="*/ 1198555 h 4687251"/>
              <a:gd name="connsiteX25101" fmla="*/ 2584975 w 8079933"/>
              <a:gd name="connsiteY25101" fmla="*/ 1198772 h 4687251"/>
              <a:gd name="connsiteX25102" fmla="*/ 2586494 w 8079933"/>
              <a:gd name="connsiteY25102" fmla="*/ 1201803 h 4687251"/>
              <a:gd name="connsiteX25103" fmla="*/ 2588882 w 8079933"/>
              <a:gd name="connsiteY25103" fmla="*/ 1206351 h 4687251"/>
              <a:gd name="connsiteX25104" fmla="*/ 2588014 w 8079933"/>
              <a:gd name="connsiteY25104" fmla="*/ 1210249 h 4687251"/>
              <a:gd name="connsiteX25105" fmla="*/ 2591812 w 8079933"/>
              <a:gd name="connsiteY25105" fmla="*/ 1209815 h 4687251"/>
              <a:gd name="connsiteX25106" fmla="*/ 2594307 w 8079933"/>
              <a:gd name="connsiteY25106" fmla="*/ 1210790 h 4687251"/>
              <a:gd name="connsiteX25107" fmla="*/ 2595501 w 8079933"/>
              <a:gd name="connsiteY25107" fmla="*/ 1216204 h 4687251"/>
              <a:gd name="connsiteX25108" fmla="*/ 2591703 w 8079933"/>
              <a:gd name="connsiteY25108" fmla="*/ 1220426 h 4687251"/>
              <a:gd name="connsiteX25109" fmla="*/ 2594199 w 8079933"/>
              <a:gd name="connsiteY25109" fmla="*/ 1220318 h 4687251"/>
              <a:gd name="connsiteX25110" fmla="*/ 2595393 w 8079933"/>
              <a:gd name="connsiteY25110" fmla="*/ 1223349 h 4687251"/>
              <a:gd name="connsiteX25111" fmla="*/ 2595610 w 8079933"/>
              <a:gd name="connsiteY25111" fmla="*/ 1225623 h 4687251"/>
              <a:gd name="connsiteX25112" fmla="*/ 2599516 w 8079933"/>
              <a:gd name="connsiteY25112" fmla="*/ 1221833 h 4687251"/>
              <a:gd name="connsiteX25113" fmla="*/ 2600601 w 8079933"/>
              <a:gd name="connsiteY25113" fmla="*/ 1222916 h 4687251"/>
              <a:gd name="connsiteX25114" fmla="*/ 2600059 w 8079933"/>
              <a:gd name="connsiteY25114" fmla="*/ 1227896 h 4687251"/>
              <a:gd name="connsiteX25115" fmla="*/ 2601469 w 8079933"/>
              <a:gd name="connsiteY25115" fmla="*/ 1229737 h 4687251"/>
              <a:gd name="connsiteX25116" fmla="*/ 2603314 w 8079933"/>
              <a:gd name="connsiteY25116" fmla="*/ 1228546 h 4687251"/>
              <a:gd name="connsiteX25117" fmla="*/ 2604725 w 8079933"/>
              <a:gd name="connsiteY25117" fmla="*/ 1231253 h 4687251"/>
              <a:gd name="connsiteX25118" fmla="*/ 2603423 w 8079933"/>
              <a:gd name="connsiteY25118" fmla="*/ 1234176 h 4687251"/>
              <a:gd name="connsiteX25119" fmla="*/ 2599841 w 8079933"/>
              <a:gd name="connsiteY25119" fmla="*/ 1233310 h 4687251"/>
              <a:gd name="connsiteX25120" fmla="*/ 2597997 w 8079933"/>
              <a:gd name="connsiteY25120" fmla="*/ 1235367 h 4687251"/>
              <a:gd name="connsiteX25121" fmla="*/ 2599733 w 8079933"/>
              <a:gd name="connsiteY25121" fmla="*/ 1238398 h 4687251"/>
              <a:gd name="connsiteX25122" fmla="*/ 2602663 w 8079933"/>
              <a:gd name="connsiteY25122" fmla="*/ 1241647 h 4687251"/>
              <a:gd name="connsiteX25123" fmla="*/ 2602446 w 8079933"/>
              <a:gd name="connsiteY25123" fmla="*/ 1244353 h 4687251"/>
              <a:gd name="connsiteX25124" fmla="*/ 2601469 w 8079933"/>
              <a:gd name="connsiteY25124" fmla="*/ 1245545 h 4687251"/>
              <a:gd name="connsiteX25125" fmla="*/ 2597237 w 8079933"/>
              <a:gd name="connsiteY25125" fmla="*/ 1245545 h 4687251"/>
              <a:gd name="connsiteX25126" fmla="*/ 2593005 w 8079933"/>
              <a:gd name="connsiteY25126" fmla="*/ 1242946 h 4687251"/>
              <a:gd name="connsiteX25127" fmla="*/ 2585734 w 8079933"/>
              <a:gd name="connsiteY25127" fmla="*/ 1240455 h 4687251"/>
              <a:gd name="connsiteX25128" fmla="*/ 2582371 w 8079933"/>
              <a:gd name="connsiteY25128" fmla="*/ 1237857 h 4687251"/>
              <a:gd name="connsiteX25129" fmla="*/ 2579115 w 8079933"/>
              <a:gd name="connsiteY25129" fmla="*/ 1237316 h 4687251"/>
              <a:gd name="connsiteX25130" fmla="*/ 2572604 w 8079933"/>
              <a:gd name="connsiteY25130" fmla="*/ 1231686 h 4687251"/>
              <a:gd name="connsiteX25131" fmla="*/ 2571410 w 8079933"/>
              <a:gd name="connsiteY25131" fmla="*/ 1228979 h 4687251"/>
              <a:gd name="connsiteX25132" fmla="*/ 2567937 w 8079933"/>
              <a:gd name="connsiteY25132" fmla="*/ 1227030 h 4687251"/>
              <a:gd name="connsiteX25133" fmla="*/ 2565116 w 8079933"/>
              <a:gd name="connsiteY25133" fmla="*/ 1227355 h 4687251"/>
              <a:gd name="connsiteX25134" fmla="*/ 2562512 w 8079933"/>
              <a:gd name="connsiteY25134" fmla="*/ 1226272 h 4687251"/>
              <a:gd name="connsiteX25135" fmla="*/ 2560667 w 8079933"/>
              <a:gd name="connsiteY25135" fmla="*/ 1227788 h 4687251"/>
              <a:gd name="connsiteX25136" fmla="*/ 2553505 w 8079933"/>
              <a:gd name="connsiteY25136" fmla="*/ 1224757 h 4687251"/>
              <a:gd name="connsiteX25137" fmla="*/ 2552637 w 8079933"/>
              <a:gd name="connsiteY25137" fmla="*/ 1222266 h 4687251"/>
              <a:gd name="connsiteX25138" fmla="*/ 2550032 w 8079933"/>
              <a:gd name="connsiteY25138" fmla="*/ 1219776 h 4687251"/>
              <a:gd name="connsiteX25139" fmla="*/ 2546777 w 8079933"/>
              <a:gd name="connsiteY25139" fmla="*/ 1219776 h 4687251"/>
              <a:gd name="connsiteX25140" fmla="*/ 2541894 w 8079933"/>
              <a:gd name="connsiteY25140" fmla="*/ 1214146 h 4687251"/>
              <a:gd name="connsiteX25141" fmla="*/ 2542003 w 8079933"/>
              <a:gd name="connsiteY25141" fmla="*/ 1211006 h 4687251"/>
              <a:gd name="connsiteX25142" fmla="*/ 2539723 w 8079933"/>
              <a:gd name="connsiteY25142" fmla="*/ 1211223 h 4687251"/>
              <a:gd name="connsiteX25143" fmla="*/ 2536902 w 8079933"/>
              <a:gd name="connsiteY25143" fmla="*/ 1209274 h 4687251"/>
              <a:gd name="connsiteX25144" fmla="*/ 2534840 w 8079933"/>
              <a:gd name="connsiteY25144" fmla="*/ 1205160 h 4687251"/>
              <a:gd name="connsiteX25145" fmla="*/ 2536793 w 8079933"/>
              <a:gd name="connsiteY25145" fmla="*/ 1203319 h 4687251"/>
              <a:gd name="connsiteX25146" fmla="*/ 2539073 w 8079933"/>
              <a:gd name="connsiteY25146" fmla="*/ 1201803 h 4687251"/>
              <a:gd name="connsiteX25147" fmla="*/ 2534732 w 8079933"/>
              <a:gd name="connsiteY25147" fmla="*/ 1199963 h 4687251"/>
              <a:gd name="connsiteX25148" fmla="*/ 2533212 w 8079933"/>
              <a:gd name="connsiteY25148" fmla="*/ 1201045 h 4687251"/>
              <a:gd name="connsiteX25149" fmla="*/ 2532019 w 8079933"/>
              <a:gd name="connsiteY25149" fmla="*/ 1202778 h 4687251"/>
              <a:gd name="connsiteX25150" fmla="*/ 2529523 w 8079933"/>
              <a:gd name="connsiteY25150" fmla="*/ 1201262 h 4687251"/>
              <a:gd name="connsiteX25151" fmla="*/ 2529632 w 8079933"/>
              <a:gd name="connsiteY25151" fmla="*/ 1199313 h 4687251"/>
              <a:gd name="connsiteX25152" fmla="*/ 2525725 w 8079933"/>
              <a:gd name="connsiteY25152" fmla="*/ 1199313 h 4687251"/>
              <a:gd name="connsiteX25153" fmla="*/ 2518346 w 8079933"/>
              <a:gd name="connsiteY25153" fmla="*/ 1194333 h 4687251"/>
              <a:gd name="connsiteX25154" fmla="*/ 2515307 w 8079933"/>
              <a:gd name="connsiteY25154" fmla="*/ 1194116 h 4687251"/>
              <a:gd name="connsiteX25155" fmla="*/ 2512920 w 8079933"/>
              <a:gd name="connsiteY25155" fmla="*/ 1191843 h 4687251"/>
              <a:gd name="connsiteX25156" fmla="*/ 2508579 w 8079933"/>
              <a:gd name="connsiteY25156" fmla="*/ 1188270 h 4687251"/>
              <a:gd name="connsiteX25157" fmla="*/ 2508905 w 8079933"/>
              <a:gd name="connsiteY25157" fmla="*/ 1185779 h 4687251"/>
              <a:gd name="connsiteX25158" fmla="*/ 2505866 w 8079933"/>
              <a:gd name="connsiteY25158" fmla="*/ 1185346 h 4687251"/>
              <a:gd name="connsiteX25159" fmla="*/ 2503153 w 8079933"/>
              <a:gd name="connsiteY25159" fmla="*/ 1181990 h 4687251"/>
              <a:gd name="connsiteX25160" fmla="*/ 2500223 w 8079933"/>
              <a:gd name="connsiteY25160" fmla="*/ 1178092 h 4687251"/>
              <a:gd name="connsiteX25161" fmla="*/ 2499790 w 8079933"/>
              <a:gd name="connsiteY25161" fmla="*/ 1172462 h 4687251"/>
              <a:gd name="connsiteX25162" fmla="*/ 2495340 w 8079933"/>
              <a:gd name="connsiteY25162" fmla="*/ 1170188 h 4687251"/>
              <a:gd name="connsiteX25163" fmla="*/ 2496860 w 8079933"/>
              <a:gd name="connsiteY25163" fmla="*/ 1168348 h 4687251"/>
              <a:gd name="connsiteX25164" fmla="*/ 2503262 w 8079933"/>
              <a:gd name="connsiteY25164" fmla="*/ 1168672 h 4687251"/>
              <a:gd name="connsiteX25165" fmla="*/ 2511835 w 8079933"/>
              <a:gd name="connsiteY25165" fmla="*/ 1162826 h 4687251"/>
              <a:gd name="connsiteX25166" fmla="*/ 2513571 w 8079933"/>
              <a:gd name="connsiteY25166" fmla="*/ 1160444 h 4687251"/>
              <a:gd name="connsiteX25167" fmla="*/ 2506734 w 8079933"/>
              <a:gd name="connsiteY25167" fmla="*/ 1161310 h 4687251"/>
              <a:gd name="connsiteX25168" fmla="*/ 2503479 w 8079933"/>
              <a:gd name="connsiteY25168" fmla="*/ 1156329 h 4687251"/>
              <a:gd name="connsiteX25169" fmla="*/ 2501851 w 8079933"/>
              <a:gd name="connsiteY25169" fmla="*/ 1151133 h 4687251"/>
              <a:gd name="connsiteX25170" fmla="*/ 2502936 w 8079933"/>
              <a:gd name="connsiteY25170" fmla="*/ 1149292 h 4687251"/>
              <a:gd name="connsiteX25171" fmla="*/ 2500332 w 8079933"/>
              <a:gd name="connsiteY25171" fmla="*/ 1150483 h 4687251"/>
              <a:gd name="connsiteX25172" fmla="*/ 2498162 w 8079933"/>
              <a:gd name="connsiteY25172" fmla="*/ 1154814 h 4687251"/>
              <a:gd name="connsiteX25173" fmla="*/ 2497619 w 8079933"/>
              <a:gd name="connsiteY25173" fmla="*/ 1158170 h 4687251"/>
              <a:gd name="connsiteX25174" fmla="*/ 2493604 w 8079933"/>
              <a:gd name="connsiteY25174" fmla="*/ 1154272 h 4687251"/>
              <a:gd name="connsiteX25175" fmla="*/ 2496425 w 8079933"/>
              <a:gd name="connsiteY25175" fmla="*/ 1150807 h 4687251"/>
              <a:gd name="connsiteX25176" fmla="*/ 2497293 w 8079933"/>
              <a:gd name="connsiteY25176" fmla="*/ 1143554 h 4687251"/>
              <a:gd name="connsiteX25177" fmla="*/ 2494255 w 8079933"/>
              <a:gd name="connsiteY25177" fmla="*/ 1148750 h 4687251"/>
              <a:gd name="connsiteX25178" fmla="*/ 2492302 w 8079933"/>
              <a:gd name="connsiteY25178" fmla="*/ 1146693 h 4687251"/>
              <a:gd name="connsiteX25179" fmla="*/ 2492302 w 8079933"/>
              <a:gd name="connsiteY25179" fmla="*/ 1141497 h 4687251"/>
              <a:gd name="connsiteX25180" fmla="*/ 2488395 w 8079933"/>
              <a:gd name="connsiteY25180" fmla="*/ 1142254 h 4687251"/>
              <a:gd name="connsiteX25181" fmla="*/ 2487419 w 8079933"/>
              <a:gd name="connsiteY25181" fmla="*/ 1137924 h 4687251"/>
              <a:gd name="connsiteX25182" fmla="*/ 2487744 w 8079933"/>
              <a:gd name="connsiteY25182" fmla="*/ 1133809 h 4687251"/>
              <a:gd name="connsiteX25183" fmla="*/ 2485465 w 8079933"/>
              <a:gd name="connsiteY25183" fmla="*/ 1127638 h 4687251"/>
              <a:gd name="connsiteX25184" fmla="*/ 2481885 w 8079933"/>
              <a:gd name="connsiteY25184" fmla="*/ 1125581 h 4687251"/>
              <a:gd name="connsiteX25185" fmla="*/ 2482101 w 8079933"/>
              <a:gd name="connsiteY25185" fmla="*/ 1121899 h 4687251"/>
              <a:gd name="connsiteX25186" fmla="*/ 2487093 w 8079933"/>
              <a:gd name="connsiteY25186" fmla="*/ 1117136 h 4687251"/>
              <a:gd name="connsiteX25187" fmla="*/ 2485899 w 8079933"/>
              <a:gd name="connsiteY25187" fmla="*/ 1114862 h 4687251"/>
              <a:gd name="connsiteX25188" fmla="*/ 2477760 w 8079933"/>
              <a:gd name="connsiteY25188" fmla="*/ 1121791 h 4687251"/>
              <a:gd name="connsiteX25189" fmla="*/ 2477435 w 8079933"/>
              <a:gd name="connsiteY25189" fmla="*/ 1125905 h 4687251"/>
              <a:gd name="connsiteX25190" fmla="*/ 2476024 w 8079933"/>
              <a:gd name="connsiteY25190" fmla="*/ 1122658 h 4687251"/>
              <a:gd name="connsiteX25191" fmla="*/ 2478846 w 8079933"/>
              <a:gd name="connsiteY25191" fmla="*/ 1117136 h 4687251"/>
              <a:gd name="connsiteX25192" fmla="*/ 2475156 w 8079933"/>
              <a:gd name="connsiteY25192" fmla="*/ 1115944 h 4687251"/>
              <a:gd name="connsiteX25193" fmla="*/ 2472986 w 8079933"/>
              <a:gd name="connsiteY25193" fmla="*/ 1117244 h 4687251"/>
              <a:gd name="connsiteX25194" fmla="*/ 2471792 w 8079933"/>
              <a:gd name="connsiteY25194" fmla="*/ 1116053 h 4687251"/>
              <a:gd name="connsiteX25195" fmla="*/ 2469187 w 8079933"/>
              <a:gd name="connsiteY25195" fmla="*/ 1123957 h 4687251"/>
              <a:gd name="connsiteX25196" fmla="*/ 2465173 w 8079933"/>
              <a:gd name="connsiteY25196" fmla="*/ 1126447 h 4687251"/>
              <a:gd name="connsiteX25197" fmla="*/ 2464847 w 8079933"/>
              <a:gd name="connsiteY25197" fmla="*/ 1121466 h 4687251"/>
              <a:gd name="connsiteX25198" fmla="*/ 2468103 w 8079933"/>
              <a:gd name="connsiteY25198" fmla="*/ 1117460 h 4687251"/>
              <a:gd name="connsiteX25199" fmla="*/ 2467777 w 8079933"/>
              <a:gd name="connsiteY25199" fmla="*/ 1112805 h 4687251"/>
              <a:gd name="connsiteX25200" fmla="*/ 2468645 w 8079933"/>
              <a:gd name="connsiteY25200" fmla="*/ 1109881 h 4687251"/>
              <a:gd name="connsiteX25201" fmla="*/ 2464738 w 8079933"/>
              <a:gd name="connsiteY25201" fmla="*/ 1111289 h 4687251"/>
              <a:gd name="connsiteX25202" fmla="*/ 2461049 w 8079933"/>
              <a:gd name="connsiteY25202" fmla="*/ 1114862 h 4687251"/>
              <a:gd name="connsiteX25203" fmla="*/ 2458878 w 8079933"/>
              <a:gd name="connsiteY25203" fmla="*/ 1115079 h 4687251"/>
              <a:gd name="connsiteX25204" fmla="*/ 2456057 w 8079933"/>
              <a:gd name="connsiteY25204" fmla="*/ 1118868 h 4687251"/>
              <a:gd name="connsiteX25205" fmla="*/ 2454538 w 8079933"/>
              <a:gd name="connsiteY25205" fmla="*/ 1121575 h 4687251"/>
              <a:gd name="connsiteX25206" fmla="*/ 2448787 w 8079933"/>
              <a:gd name="connsiteY25206" fmla="*/ 1120383 h 4687251"/>
              <a:gd name="connsiteX25207" fmla="*/ 2445965 w 8079933"/>
              <a:gd name="connsiteY25207" fmla="*/ 1116919 h 4687251"/>
              <a:gd name="connsiteX25208" fmla="*/ 2442493 w 8079933"/>
              <a:gd name="connsiteY25208" fmla="*/ 1116919 h 4687251"/>
              <a:gd name="connsiteX25209" fmla="*/ 2437826 w 8079933"/>
              <a:gd name="connsiteY25209" fmla="*/ 1109232 h 4687251"/>
              <a:gd name="connsiteX25210" fmla="*/ 2435873 w 8079933"/>
              <a:gd name="connsiteY25210" fmla="*/ 1109015 h 4687251"/>
              <a:gd name="connsiteX25211" fmla="*/ 2434571 w 8079933"/>
              <a:gd name="connsiteY25211" fmla="*/ 1112480 h 4687251"/>
              <a:gd name="connsiteX25212" fmla="*/ 2434571 w 8079933"/>
              <a:gd name="connsiteY25212" fmla="*/ 1117136 h 4687251"/>
              <a:gd name="connsiteX25213" fmla="*/ 2432292 w 8079933"/>
              <a:gd name="connsiteY25213" fmla="*/ 1119409 h 4687251"/>
              <a:gd name="connsiteX25214" fmla="*/ 2428494 w 8079933"/>
              <a:gd name="connsiteY25214" fmla="*/ 1118002 h 4687251"/>
              <a:gd name="connsiteX25215" fmla="*/ 2425564 w 8079933"/>
              <a:gd name="connsiteY25215" fmla="*/ 1119193 h 4687251"/>
              <a:gd name="connsiteX25216" fmla="*/ 2420572 w 8079933"/>
              <a:gd name="connsiteY25216" fmla="*/ 1119409 h 4687251"/>
              <a:gd name="connsiteX25217" fmla="*/ 2418836 w 8079933"/>
              <a:gd name="connsiteY25217" fmla="*/ 1121791 h 4687251"/>
              <a:gd name="connsiteX25218" fmla="*/ 2414170 w 8079933"/>
              <a:gd name="connsiteY25218" fmla="*/ 1121466 h 4687251"/>
              <a:gd name="connsiteX25219" fmla="*/ 2412108 w 8079933"/>
              <a:gd name="connsiteY25219" fmla="*/ 1123632 h 4687251"/>
              <a:gd name="connsiteX25220" fmla="*/ 2407768 w 8079933"/>
              <a:gd name="connsiteY25220" fmla="*/ 1122116 h 4687251"/>
              <a:gd name="connsiteX25221" fmla="*/ 2400713 w 8079933"/>
              <a:gd name="connsiteY25221" fmla="*/ 1121575 h 4687251"/>
              <a:gd name="connsiteX25222" fmla="*/ 2401582 w 8079933"/>
              <a:gd name="connsiteY25222" fmla="*/ 1118652 h 4687251"/>
              <a:gd name="connsiteX25223" fmla="*/ 2396807 w 8079933"/>
              <a:gd name="connsiteY25223" fmla="*/ 1113130 h 4687251"/>
              <a:gd name="connsiteX25224" fmla="*/ 2394529 w 8079933"/>
              <a:gd name="connsiteY25224" fmla="*/ 1114754 h 4687251"/>
              <a:gd name="connsiteX25225" fmla="*/ 2390404 w 8079933"/>
              <a:gd name="connsiteY25225" fmla="*/ 1110748 h 4687251"/>
              <a:gd name="connsiteX25226" fmla="*/ 2387366 w 8079933"/>
              <a:gd name="connsiteY25226" fmla="*/ 1101653 h 4687251"/>
              <a:gd name="connsiteX25227" fmla="*/ 2389103 w 8079933"/>
              <a:gd name="connsiteY25227" fmla="*/ 1096348 h 4687251"/>
              <a:gd name="connsiteX25228" fmla="*/ 2392684 w 8079933"/>
              <a:gd name="connsiteY25228" fmla="*/ 1093857 h 4687251"/>
              <a:gd name="connsiteX25229" fmla="*/ 2392684 w 8079933"/>
              <a:gd name="connsiteY25229" fmla="*/ 1089418 h 4687251"/>
              <a:gd name="connsiteX25230" fmla="*/ 2396156 w 8079933"/>
              <a:gd name="connsiteY25230" fmla="*/ 1085845 h 4687251"/>
              <a:gd name="connsiteX25231" fmla="*/ 2401256 w 8079933"/>
              <a:gd name="connsiteY25231" fmla="*/ 1085304 h 4687251"/>
              <a:gd name="connsiteX25232" fmla="*/ 2404078 w 8079933"/>
              <a:gd name="connsiteY25232" fmla="*/ 1082164 h 4687251"/>
              <a:gd name="connsiteX25233" fmla="*/ 2408527 w 8079933"/>
              <a:gd name="connsiteY25233" fmla="*/ 1081406 h 4687251"/>
              <a:gd name="connsiteX25234" fmla="*/ 2410589 w 8079933"/>
              <a:gd name="connsiteY25234" fmla="*/ 1081731 h 4687251"/>
              <a:gd name="connsiteX25235" fmla="*/ 2411240 w 8079933"/>
              <a:gd name="connsiteY25235" fmla="*/ 1077941 h 4687251"/>
              <a:gd name="connsiteX25236" fmla="*/ 2409286 w 8079933"/>
              <a:gd name="connsiteY25236" fmla="*/ 1074910 h 4687251"/>
              <a:gd name="connsiteX25237" fmla="*/ 2409069 w 8079933"/>
              <a:gd name="connsiteY25237" fmla="*/ 1071987 h 4687251"/>
              <a:gd name="connsiteX25238" fmla="*/ 2410154 w 8079933"/>
              <a:gd name="connsiteY25238" fmla="*/ 1071120 h 4687251"/>
              <a:gd name="connsiteX25239" fmla="*/ 2412759 w 8079933"/>
              <a:gd name="connsiteY25239" fmla="*/ 1071770 h 4687251"/>
              <a:gd name="connsiteX25240" fmla="*/ 2413519 w 8079933"/>
              <a:gd name="connsiteY25240" fmla="*/ 1069605 h 4687251"/>
              <a:gd name="connsiteX25241" fmla="*/ 2413085 w 8079933"/>
              <a:gd name="connsiteY25241" fmla="*/ 1066790 h 4687251"/>
              <a:gd name="connsiteX25242" fmla="*/ 2414604 w 8079933"/>
              <a:gd name="connsiteY25242" fmla="*/ 1064949 h 4687251"/>
              <a:gd name="connsiteX25243" fmla="*/ 2419595 w 8079933"/>
              <a:gd name="connsiteY25243" fmla="*/ 1072420 h 4687251"/>
              <a:gd name="connsiteX25244" fmla="*/ 2424479 w 8079933"/>
              <a:gd name="connsiteY25244" fmla="*/ 1073286 h 4687251"/>
              <a:gd name="connsiteX25245" fmla="*/ 2429471 w 8079933"/>
              <a:gd name="connsiteY25245" fmla="*/ 1076859 h 4687251"/>
              <a:gd name="connsiteX25246" fmla="*/ 2432943 w 8079933"/>
              <a:gd name="connsiteY25246" fmla="*/ 1080757 h 4687251"/>
              <a:gd name="connsiteX25247" fmla="*/ 2435439 w 8079933"/>
              <a:gd name="connsiteY25247" fmla="*/ 1081406 h 4687251"/>
              <a:gd name="connsiteX25248" fmla="*/ 2440648 w 8079933"/>
              <a:gd name="connsiteY25248" fmla="*/ 1083896 h 4687251"/>
              <a:gd name="connsiteX25249" fmla="*/ 2443686 w 8079933"/>
              <a:gd name="connsiteY25249" fmla="*/ 1081190 h 4687251"/>
              <a:gd name="connsiteX25250" fmla="*/ 2447159 w 8079933"/>
              <a:gd name="connsiteY25250" fmla="*/ 1081298 h 4687251"/>
              <a:gd name="connsiteX25251" fmla="*/ 2449004 w 8079933"/>
              <a:gd name="connsiteY25251" fmla="*/ 1083896 h 4687251"/>
              <a:gd name="connsiteX25252" fmla="*/ 2452151 w 8079933"/>
              <a:gd name="connsiteY25252" fmla="*/ 1084005 h 4687251"/>
              <a:gd name="connsiteX25253" fmla="*/ 2457468 w 8079933"/>
              <a:gd name="connsiteY25253" fmla="*/ 1085087 h 4687251"/>
              <a:gd name="connsiteX25254" fmla="*/ 2460723 w 8079933"/>
              <a:gd name="connsiteY25254" fmla="*/ 1081514 h 4687251"/>
              <a:gd name="connsiteX25255" fmla="*/ 2463003 w 8079933"/>
              <a:gd name="connsiteY25255" fmla="*/ 1077075 h 4687251"/>
              <a:gd name="connsiteX25256" fmla="*/ 2468971 w 8079933"/>
              <a:gd name="connsiteY25256" fmla="*/ 1077075 h 4687251"/>
              <a:gd name="connsiteX25257" fmla="*/ 2468971 w 8079933"/>
              <a:gd name="connsiteY25257" fmla="*/ 1078916 h 4687251"/>
              <a:gd name="connsiteX25258" fmla="*/ 2467669 w 8079933"/>
              <a:gd name="connsiteY25258" fmla="*/ 1080865 h 4687251"/>
              <a:gd name="connsiteX25259" fmla="*/ 2470924 w 8079933"/>
              <a:gd name="connsiteY25259" fmla="*/ 1082706 h 4687251"/>
              <a:gd name="connsiteX25260" fmla="*/ 2475373 w 8079933"/>
              <a:gd name="connsiteY25260" fmla="*/ 1078916 h 4687251"/>
              <a:gd name="connsiteX25261" fmla="*/ 2477218 w 8079933"/>
              <a:gd name="connsiteY25261" fmla="*/ 1074694 h 4687251"/>
              <a:gd name="connsiteX25262" fmla="*/ 2481776 w 8079933"/>
              <a:gd name="connsiteY25262" fmla="*/ 1072095 h 4687251"/>
              <a:gd name="connsiteX25263" fmla="*/ 2483621 w 8079933"/>
              <a:gd name="connsiteY25263" fmla="*/ 1074694 h 4687251"/>
              <a:gd name="connsiteX25264" fmla="*/ 2483838 w 8079933"/>
              <a:gd name="connsiteY25264" fmla="*/ 1081190 h 4687251"/>
              <a:gd name="connsiteX25265" fmla="*/ 2485139 w 8079933"/>
              <a:gd name="connsiteY25265" fmla="*/ 1085087 h 4687251"/>
              <a:gd name="connsiteX25266" fmla="*/ 2486008 w 8079933"/>
              <a:gd name="connsiteY25266" fmla="*/ 1080324 h 4687251"/>
              <a:gd name="connsiteX25267" fmla="*/ 2488612 w 8079933"/>
              <a:gd name="connsiteY25267" fmla="*/ 1078267 h 4687251"/>
              <a:gd name="connsiteX25268" fmla="*/ 2490891 w 8079933"/>
              <a:gd name="connsiteY25268" fmla="*/ 1079457 h 4687251"/>
              <a:gd name="connsiteX25269" fmla="*/ 2493062 w 8079933"/>
              <a:gd name="connsiteY25269" fmla="*/ 1077400 h 4687251"/>
              <a:gd name="connsiteX25270" fmla="*/ 2491867 w 8079933"/>
              <a:gd name="connsiteY25270" fmla="*/ 1065598 h 4687251"/>
              <a:gd name="connsiteX25271" fmla="*/ 2487961 w 8079933"/>
              <a:gd name="connsiteY25271" fmla="*/ 1059535 h 4687251"/>
              <a:gd name="connsiteX25272" fmla="*/ 2487310 w 8079933"/>
              <a:gd name="connsiteY25272" fmla="*/ 1055422 h 4687251"/>
              <a:gd name="connsiteX25273" fmla="*/ 2484380 w 8079933"/>
              <a:gd name="connsiteY25273" fmla="*/ 1051090 h 4687251"/>
              <a:gd name="connsiteX25274" fmla="*/ 2485682 w 8079933"/>
              <a:gd name="connsiteY25274" fmla="*/ 1045569 h 4687251"/>
              <a:gd name="connsiteX25275" fmla="*/ 2487744 w 8079933"/>
              <a:gd name="connsiteY25275" fmla="*/ 1043512 h 4687251"/>
              <a:gd name="connsiteX25276" fmla="*/ 2490349 w 8079933"/>
              <a:gd name="connsiteY25276" fmla="*/ 1043404 h 4687251"/>
              <a:gd name="connsiteX25277" fmla="*/ 2497293 w 8079933"/>
              <a:gd name="connsiteY25277" fmla="*/ 1037882 h 4687251"/>
              <a:gd name="connsiteX25278" fmla="*/ 2505541 w 8079933"/>
              <a:gd name="connsiteY25278" fmla="*/ 1032901 h 4687251"/>
              <a:gd name="connsiteX25279" fmla="*/ 2508796 w 8079933"/>
              <a:gd name="connsiteY25279" fmla="*/ 1030952 h 4687251"/>
              <a:gd name="connsiteX25280" fmla="*/ 2514656 w 8079933"/>
              <a:gd name="connsiteY25280" fmla="*/ 1024997 h 4687251"/>
              <a:gd name="connsiteX25281" fmla="*/ 2517043 w 8079933"/>
              <a:gd name="connsiteY25281" fmla="*/ 1024997 h 4687251"/>
              <a:gd name="connsiteX25282" fmla="*/ 2519865 w 8079933"/>
              <a:gd name="connsiteY25282" fmla="*/ 1027271 h 4687251"/>
              <a:gd name="connsiteX25283" fmla="*/ 2523229 w 8079933"/>
              <a:gd name="connsiteY25283" fmla="*/ 1026188 h 4687251"/>
              <a:gd name="connsiteX25284" fmla="*/ 2525508 w 8079933"/>
              <a:gd name="connsiteY25284" fmla="*/ 1025864 h 4687251"/>
              <a:gd name="connsiteX25285" fmla="*/ 2519323 w 8079933"/>
              <a:gd name="connsiteY25285" fmla="*/ 1022399 h 4687251"/>
              <a:gd name="connsiteX25286" fmla="*/ 2519105 w 8079933"/>
              <a:gd name="connsiteY25286" fmla="*/ 1018826 h 4687251"/>
              <a:gd name="connsiteX25287" fmla="*/ 2527787 w 8079933"/>
              <a:gd name="connsiteY25287" fmla="*/ 1011897 h 4687251"/>
              <a:gd name="connsiteX25288" fmla="*/ 2528764 w 8079933"/>
              <a:gd name="connsiteY25288" fmla="*/ 1008432 h 4687251"/>
              <a:gd name="connsiteX25289" fmla="*/ 2531367 w 8079933"/>
              <a:gd name="connsiteY25289" fmla="*/ 1006916 h 4687251"/>
              <a:gd name="connsiteX25290" fmla="*/ 2538313 w 8079933"/>
              <a:gd name="connsiteY25290" fmla="*/ 1008432 h 4687251"/>
              <a:gd name="connsiteX25291" fmla="*/ 2545366 w 8079933"/>
              <a:gd name="connsiteY25291" fmla="*/ 1006050 h 4687251"/>
              <a:gd name="connsiteX25292" fmla="*/ 2546126 w 8079933"/>
              <a:gd name="connsiteY25292" fmla="*/ 1003019 h 4687251"/>
              <a:gd name="connsiteX25293" fmla="*/ 2543630 w 8079933"/>
              <a:gd name="connsiteY25293" fmla="*/ 998471 h 4687251"/>
              <a:gd name="connsiteX25294" fmla="*/ 2546017 w 8079933"/>
              <a:gd name="connsiteY25294" fmla="*/ 995115 h 4687251"/>
              <a:gd name="connsiteX25295" fmla="*/ 2546994 w 8079933"/>
              <a:gd name="connsiteY25295" fmla="*/ 986453 h 4687251"/>
              <a:gd name="connsiteX25296" fmla="*/ 2547428 w 8079933"/>
              <a:gd name="connsiteY25296" fmla="*/ 984829 h 4687251"/>
              <a:gd name="connsiteX25297" fmla="*/ 2546451 w 8079933"/>
              <a:gd name="connsiteY25297" fmla="*/ 983421 h 4687251"/>
              <a:gd name="connsiteX25298" fmla="*/ 2546451 w 8079933"/>
              <a:gd name="connsiteY25298" fmla="*/ 979632 h 4687251"/>
              <a:gd name="connsiteX25299" fmla="*/ 2548947 w 8079933"/>
              <a:gd name="connsiteY25299" fmla="*/ 975193 h 4687251"/>
              <a:gd name="connsiteX25300" fmla="*/ 2549056 w 8079933"/>
              <a:gd name="connsiteY25300" fmla="*/ 970970 h 4687251"/>
              <a:gd name="connsiteX25301" fmla="*/ 2545692 w 8079933"/>
              <a:gd name="connsiteY25301" fmla="*/ 969887 h 4687251"/>
              <a:gd name="connsiteX25302" fmla="*/ 2545584 w 8079933"/>
              <a:gd name="connsiteY25302" fmla="*/ 967938 h 4687251"/>
              <a:gd name="connsiteX25303" fmla="*/ 2547646 w 8079933"/>
              <a:gd name="connsiteY25303" fmla="*/ 961442 h 4687251"/>
              <a:gd name="connsiteX25304" fmla="*/ 2550901 w 8079933"/>
              <a:gd name="connsiteY25304" fmla="*/ 960793 h 4687251"/>
              <a:gd name="connsiteX25305" fmla="*/ 2551443 w 8079933"/>
              <a:gd name="connsiteY25305" fmla="*/ 957328 h 4687251"/>
              <a:gd name="connsiteX25306" fmla="*/ 2553722 w 8079933"/>
              <a:gd name="connsiteY25306" fmla="*/ 953322 h 4687251"/>
              <a:gd name="connsiteX25307" fmla="*/ 2553288 w 8079933"/>
              <a:gd name="connsiteY25307" fmla="*/ 950615 h 4687251"/>
              <a:gd name="connsiteX25308" fmla="*/ 2550901 w 8079933"/>
              <a:gd name="connsiteY25308" fmla="*/ 951048 h 4687251"/>
              <a:gd name="connsiteX25309" fmla="*/ 2548405 w 8079933"/>
              <a:gd name="connsiteY25309" fmla="*/ 953972 h 4687251"/>
              <a:gd name="connsiteX25310" fmla="*/ 2548296 w 8079933"/>
              <a:gd name="connsiteY25310" fmla="*/ 956679 h 4687251"/>
              <a:gd name="connsiteX25311" fmla="*/ 2546343 w 8079933"/>
              <a:gd name="connsiteY25311" fmla="*/ 957436 h 4687251"/>
              <a:gd name="connsiteX25312" fmla="*/ 2546017 w 8079933"/>
              <a:gd name="connsiteY25312" fmla="*/ 954405 h 4687251"/>
              <a:gd name="connsiteX25313" fmla="*/ 2546343 w 8079933"/>
              <a:gd name="connsiteY25313" fmla="*/ 950291 h 4687251"/>
              <a:gd name="connsiteX25314" fmla="*/ 2544607 w 8079933"/>
              <a:gd name="connsiteY25314" fmla="*/ 949100 h 4687251"/>
              <a:gd name="connsiteX25315" fmla="*/ 2535166 w 8079933"/>
              <a:gd name="connsiteY25315" fmla="*/ 948775 h 4687251"/>
              <a:gd name="connsiteX25316" fmla="*/ 2532127 w 8079933"/>
              <a:gd name="connsiteY25316" fmla="*/ 945635 h 4687251"/>
              <a:gd name="connsiteX25317" fmla="*/ 2533104 w 8079933"/>
              <a:gd name="connsiteY25317" fmla="*/ 943578 h 4687251"/>
              <a:gd name="connsiteX25318" fmla="*/ 2539941 w 8079933"/>
              <a:gd name="connsiteY25318" fmla="*/ 940763 h 4687251"/>
              <a:gd name="connsiteX25319" fmla="*/ 2539073 w 8079933"/>
              <a:gd name="connsiteY25319" fmla="*/ 938922 h 4687251"/>
              <a:gd name="connsiteX25320" fmla="*/ 2535600 w 8079933"/>
              <a:gd name="connsiteY25320" fmla="*/ 936865 h 4687251"/>
              <a:gd name="connsiteX25321" fmla="*/ 2538096 w 8079933"/>
              <a:gd name="connsiteY25321" fmla="*/ 932534 h 4687251"/>
              <a:gd name="connsiteX25322" fmla="*/ 2538096 w 8079933"/>
              <a:gd name="connsiteY25322" fmla="*/ 929286 h 4687251"/>
              <a:gd name="connsiteX25323" fmla="*/ 2532887 w 8079933"/>
              <a:gd name="connsiteY25323" fmla="*/ 925497 h 4687251"/>
              <a:gd name="connsiteX25324" fmla="*/ 2530934 w 8079933"/>
              <a:gd name="connsiteY25324" fmla="*/ 926255 h 4687251"/>
              <a:gd name="connsiteX25325" fmla="*/ 2530500 w 8079933"/>
              <a:gd name="connsiteY25325" fmla="*/ 929178 h 4687251"/>
              <a:gd name="connsiteX25326" fmla="*/ 2532127 w 8079933"/>
              <a:gd name="connsiteY25326" fmla="*/ 932101 h 4687251"/>
              <a:gd name="connsiteX25327" fmla="*/ 2530934 w 8079933"/>
              <a:gd name="connsiteY25327" fmla="*/ 934700 h 4687251"/>
              <a:gd name="connsiteX25328" fmla="*/ 2525399 w 8079933"/>
              <a:gd name="connsiteY25328" fmla="*/ 935999 h 4687251"/>
              <a:gd name="connsiteX25329" fmla="*/ 2523446 w 8079933"/>
              <a:gd name="connsiteY25329" fmla="*/ 931777 h 4687251"/>
              <a:gd name="connsiteX25330" fmla="*/ 2521385 w 8079933"/>
              <a:gd name="connsiteY25330" fmla="*/ 931018 h 4687251"/>
              <a:gd name="connsiteX25331" fmla="*/ 2520625 w 8079933"/>
              <a:gd name="connsiteY25331" fmla="*/ 925389 h 4687251"/>
              <a:gd name="connsiteX25332" fmla="*/ 2524423 w 8079933"/>
              <a:gd name="connsiteY25332" fmla="*/ 921707 h 4687251"/>
              <a:gd name="connsiteX25333" fmla="*/ 2523229 w 8079933"/>
              <a:gd name="connsiteY25333" fmla="*/ 918675 h 4687251"/>
              <a:gd name="connsiteX25334" fmla="*/ 2517043 w 8079933"/>
              <a:gd name="connsiteY25334" fmla="*/ 919434 h 4687251"/>
              <a:gd name="connsiteX25335" fmla="*/ 2517586 w 8079933"/>
              <a:gd name="connsiteY25335" fmla="*/ 918026 h 4687251"/>
              <a:gd name="connsiteX25336" fmla="*/ 2522578 w 8079933"/>
              <a:gd name="connsiteY25336" fmla="*/ 916402 h 4687251"/>
              <a:gd name="connsiteX25337" fmla="*/ 2523012 w 8079933"/>
              <a:gd name="connsiteY25337" fmla="*/ 914345 h 4687251"/>
              <a:gd name="connsiteX25338" fmla="*/ 2520408 w 8079933"/>
              <a:gd name="connsiteY25338" fmla="*/ 913371 h 4687251"/>
              <a:gd name="connsiteX25339" fmla="*/ 2522903 w 8079933"/>
              <a:gd name="connsiteY25339" fmla="*/ 911530 h 4687251"/>
              <a:gd name="connsiteX25340" fmla="*/ 2525725 w 8079933"/>
              <a:gd name="connsiteY25340" fmla="*/ 910122 h 4687251"/>
              <a:gd name="connsiteX25341" fmla="*/ 2526159 w 8079933"/>
              <a:gd name="connsiteY25341" fmla="*/ 907632 h 4687251"/>
              <a:gd name="connsiteX25342" fmla="*/ 2523771 w 8079933"/>
              <a:gd name="connsiteY25342" fmla="*/ 905683 h 4687251"/>
              <a:gd name="connsiteX25343" fmla="*/ 2519648 w 8079933"/>
              <a:gd name="connsiteY25343" fmla="*/ 908823 h 4687251"/>
              <a:gd name="connsiteX25344" fmla="*/ 2516392 w 8079933"/>
              <a:gd name="connsiteY25344" fmla="*/ 914020 h 4687251"/>
              <a:gd name="connsiteX25345" fmla="*/ 2513245 w 8079933"/>
              <a:gd name="connsiteY25345" fmla="*/ 916077 h 4687251"/>
              <a:gd name="connsiteX25346" fmla="*/ 2511617 w 8079933"/>
              <a:gd name="connsiteY25346" fmla="*/ 914561 h 4687251"/>
              <a:gd name="connsiteX25347" fmla="*/ 2511075 w 8079933"/>
              <a:gd name="connsiteY25347" fmla="*/ 909256 h 4687251"/>
              <a:gd name="connsiteX25348" fmla="*/ 2508796 w 8079933"/>
              <a:gd name="connsiteY25348" fmla="*/ 910663 h 4687251"/>
              <a:gd name="connsiteX25349" fmla="*/ 2506517 w 8079933"/>
              <a:gd name="connsiteY25349" fmla="*/ 914778 h 4687251"/>
              <a:gd name="connsiteX25350" fmla="*/ 2502936 w 8079933"/>
              <a:gd name="connsiteY25350" fmla="*/ 914886 h 4687251"/>
              <a:gd name="connsiteX25351" fmla="*/ 2500006 w 8079933"/>
              <a:gd name="connsiteY25351" fmla="*/ 916943 h 4687251"/>
              <a:gd name="connsiteX25352" fmla="*/ 2495665 w 8079933"/>
              <a:gd name="connsiteY25352" fmla="*/ 916835 h 4687251"/>
              <a:gd name="connsiteX25353" fmla="*/ 2492627 w 8079933"/>
              <a:gd name="connsiteY25353" fmla="*/ 918026 h 4687251"/>
              <a:gd name="connsiteX25354" fmla="*/ 2492085 w 8079933"/>
              <a:gd name="connsiteY25354" fmla="*/ 919542 h 4687251"/>
              <a:gd name="connsiteX25355" fmla="*/ 2489589 w 8079933"/>
              <a:gd name="connsiteY25355" fmla="*/ 919542 h 4687251"/>
              <a:gd name="connsiteX25356" fmla="*/ 2488829 w 8079933"/>
              <a:gd name="connsiteY25356" fmla="*/ 917051 h 4687251"/>
              <a:gd name="connsiteX25357" fmla="*/ 2491434 w 8079933"/>
              <a:gd name="connsiteY25357" fmla="*/ 913912 h 4687251"/>
              <a:gd name="connsiteX25358" fmla="*/ 2490999 w 8079933"/>
              <a:gd name="connsiteY25358" fmla="*/ 911746 h 4687251"/>
              <a:gd name="connsiteX25359" fmla="*/ 2489155 w 8079933"/>
              <a:gd name="connsiteY25359" fmla="*/ 910555 h 4687251"/>
              <a:gd name="connsiteX25360" fmla="*/ 2492519 w 8079933"/>
              <a:gd name="connsiteY25360" fmla="*/ 905791 h 4687251"/>
              <a:gd name="connsiteX25361" fmla="*/ 2494689 w 8079933"/>
              <a:gd name="connsiteY25361" fmla="*/ 905033 h 4687251"/>
              <a:gd name="connsiteX25362" fmla="*/ 2497619 w 8079933"/>
              <a:gd name="connsiteY25362" fmla="*/ 906441 h 4687251"/>
              <a:gd name="connsiteX25363" fmla="*/ 2500115 w 8079933"/>
              <a:gd name="connsiteY25363" fmla="*/ 907957 h 4687251"/>
              <a:gd name="connsiteX25364" fmla="*/ 2502503 w 8079933"/>
              <a:gd name="connsiteY25364" fmla="*/ 906766 h 4687251"/>
              <a:gd name="connsiteX25365" fmla="*/ 2505324 w 8079933"/>
              <a:gd name="connsiteY25365" fmla="*/ 906441 h 4687251"/>
              <a:gd name="connsiteX25366" fmla="*/ 2509122 w 8079933"/>
              <a:gd name="connsiteY25366" fmla="*/ 902977 h 4687251"/>
              <a:gd name="connsiteX25367" fmla="*/ 2510424 w 8079933"/>
              <a:gd name="connsiteY25367" fmla="*/ 898862 h 4687251"/>
              <a:gd name="connsiteX25368" fmla="*/ 2508905 w 8079933"/>
              <a:gd name="connsiteY25368" fmla="*/ 896155 h 4687251"/>
              <a:gd name="connsiteX25369" fmla="*/ 2506192 w 8079933"/>
              <a:gd name="connsiteY25369" fmla="*/ 893340 h 4687251"/>
              <a:gd name="connsiteX25370" fmla="*/ 2501634 w 8079933"/>
              <a:gd name="connsiteY25370" fmla="*/ 891824 h 4687251"/>
              <a:gd name="connsiteX25371" fmla="*/ 2499681 w 8079933"/>
              <a:gd name="connsiteY25371" fmla="*/ 888468 h 4687251"/>
              <a:gd name="connsiteX25372" fmla="*/ 2499464 w 8079933"/>
              <a:gd name="connsiteY25372" fmla="*/ 885437 h 4687251"/>
              <a:gd name="connsiteX25373" fmla="*/ 2498053 w 8079933"/>
              <a:gd name="connsiteY25373" fmla="*/ 883488 h 4687251"/>
              <a:gd name="connsiteX25374" fmla="*/ 2498162 w 8079933"/>
              <a:gd name="connsiteY25374" fmla="*/ 880348 h 4687251"/>
              <a:gd name="connsiteX25375" fmla="*/ 2493604 w 8079933"/>
              <a:gd name="connsiteY25375" fmla="*/ 879806 h 4687251"/>
              <a:gd name="connsiteX25376" fmla="*/ 2492953 w 8079933"/>
              <a:gd name="connsiteY25376" fmla="*/ 878616 h 4687251"/>
              <a:gd name="connsiteX25377" fmla="*/ 2490240 w 8079933"/>
              <a:gd name="connsiteY25377" fmla="*/ 876992 h 4687251"/>
              <a:gd name="connsiteX25378" fmla="*/ 2489372 w 8079933"/>
              <a:gd name="connsiteY25378" fmla="*/ 874068 h 4687251"/>
              <a:gd name="connsiteX25379" fmla="*/ 2492953 w 8079933"/>
              <a:gd name="connsiteY25379" fmla="*/ 872553 h 4687251"/>
              <a:gd name="connsiteX25380" fmla="*/ 2494580 w 8079933"/>
              <a:gd name="connsiteY25380" fmla="*/ 874826 h 4687251"/>
              <a:gd name="connsiteX25381" fmla="*/ 2496425 w 8079933"/>
              <a:gd name="connsiteY25381" fmla="*/ 873635 h 4687251"/>
              <a:gd name="connsiteX25382" fmla="*/ 2497185 w 8079933"/>
              <a:gd name="connsiteY25382" fmla="*/ 871037 h 4687251"/>
              <a:gd name="connsiteX25383" fmla="*/ 2501417 w 8079933"/>
              <a:gd name="connsiteY25383" fmla="*/ 868871 h 4687251"/>
              <a:gd name="connsiteX25384" fmla="*/ 2495232 w 8079933"/>
              <a:gd name="connsiteY25384" fmla="*/ 867680 h 4687251"/>
              <a:gd name="connsiteX25385" fmla="*/ 2492627 w 8079933"/>
              <a:gd name="connsiteY25385" fmla="*/ 864757 h 4687251"/>
              <a:gd name="connsiteX25386" fmla="*/ 2489697 w 8079933"/>
              <a:gd name="connsiteY25386" fmla="*/ 864649 h 4687251"/>
              <a:gd name="connsiteX25387" fmla="*/ 2489372 w 8079933"/>
              <a:gd name="connsiteY25387" fmla="*/ 863241 h 4687251"/>
              <a:gd name="connsiteX25388" fmla="*/ 2485465 w 8079933"/>
              <a:gd name="connsiteY25388" fmla="*/ 862266 h 4687251"/>
              <a:gd name="connsiteX25389" fmla="*/ 2483621 w 8079933"/>
              <a:gd name="connsiteY25389" fmla="*/ 866381 h 4687251"/>
              <a:gd name="connsiteX25390" fmla="*/ 2482101 w 8079933"/>
              <a:gd name="connsiteY25390" fmla="*/ 866814 h 4687251"/>
              <a:gd name="connsiteX25391" fmla="*/ 2482101 w 8079933"/>
              <a:gd name="connsiteY25391" fmla="*/ 864107 h 4687251"/>
              <a:gd name="connsiteX25392" fmla="*/ 2485465 w 8079933"/>
              <a:gd name="connsiteY25392" fmla="*/ 856637 h 4687251"/>
              <a:gd name="connsiteX25393" fmla="*/ 2489481 w 8079933"/>
              <a:gd name="connsiteY25393" fmla="*/ 850249 h 4687251"/>
              <a:gd name="connsiteX25394" fmla="*/ 2489806 w 8079933"/>
              <a:gd name="connsiteY25394" fmla="*/ 848408 h 4687251"/>
              <a:gd name="connsiteX25395" fmla="*/ 2492302 w 8079933"/>
              <a:gd name="connsiteY25395" fmla="*/ 842129 h 4687251"/>
              <a:gd name="connsiteX25396" fmla="*/ 2492410 w 8079933"/>
              <a:gd name="connsiteY25396" fmla="*/ 837581 h 4687251"/>
              <a:gd name="connsiteX25397" fmla="*/ 2493821 w 8079933"/>
              <a:gd name="connsiteY25397" fmla="*/ 835091 h 4687251"/>
              <a:gd name="connsiteX25398" fmla="*/ 2492302 w 8079933"/>
              <a:gd name="connsiteY25398" fmla="*/ 832492 h 4687251"/>
              <a:gd name="connsiteX25399" fmla="*/ 2488069 w 8079933"/>
              <a:gd name="connsiteY25399" fmla="*/ 834874 h 4687251"/>
              <a:gd name="connsiteX25400" fmla="*/ 2485465 w 8079933"/>
              <a:gd name="connsiteY25400" fmla="*/ 833033 h 4687251"/>
              <a:gd name="connsiteX25401" fmla="*/ 2483838 w 8079933"/>
              <a:gd name="connsiteY25401" fmla="*/ 834008 h 4687251"/>
              <a:gd name="connsiteX25402" fmla="*/ 2483403 w 8079933"/>
              <a:gd name="connsiteY25402" fmla="*/ 836715 h 4687251"/>
              <a:gd name="connsiteX25403" fmla="*/ 2480908 w 8079933"/>
              <a:gd name="connsiteY25403" fmla="*/ 836065 h 4687251"/>
              <a:gd name="connsiteX25404" fmla="*/ 2475047 w 8079933"/>
              <a:gd name="connsiteY25404" fmla="*/ 829894 h 4687251"/>
              <a:gd name="connsiteX25405" fmla="*/ 2474722 w 8079933"/>
              <a:gd name="connsiteY25405" fmla="*/ 826537 h 4687251"/>
              <a:gd name="connsiteX25406" fmla="*/ 2472552 w 8079933"/>
              <a:gd name="connsiteY25406" fmla="*/ 823723 h 4687251"/>
              <a:gd name="connsiteX25407" fmla="*/ 2470490 w 8079933"/>
              <a:gd name="connsiteY25407" fmla="*/ 822640 h 4687251"/>
              <a:gd name="connsiteX25408" fmla="*/ 2471358 w 8079933"/>
              <a:gd name="connsiteY25408" fmla="*/ 817442 h 4687251"/>
              <a:gd name="connsiteX25409" fmla="*/ 2475807 w 8079933"/>
              <a:gd name="connsiteY25409" fmla="*/ 815494 h 4687251"/>
              <a:gd name="connsiteX25410" fmla="*/ 2476675 w 8079933"/>
              <a:gd name="connsiteY25410" fmla="*/ 813328 h 4687251"/>
              <a:gd name="connsiteX25411" fmla="*/ 2475265 w 8079933"/>
              <a:gd name="connsiteY25411" fmla="*/ 810621 h 4687251"/>
              <a:gd name="connsiteX25412" fmla="*/ 2474830 w 8079933"/>
              <a:gd name="connsiteY25412" fmla="*/ 805858 h 4687251"/>
              <a:gd name="connsiteX25413" fmla="*/ 2472226 w 8079933"/>
              <a:gd name="connsiteY25413" fmla="*/ 806507 h 4687251"/>
              <a:gd name="connsiteX25414" fmla="*/ 2469622 w 8079933"/>
              <a:gd name="connsiteY25414" fmla="*/ 809106 h 4687251"/>
              <a:gd name="connsiteX25415" fmla="*/ 2469405 w 8079933"/>
              <a:gd name="connsiteY25415" fmla="*/ 815927 h 4687251"/>
              <a:gd name="connsiteX25416" fmla="*/ 2466909 w 8079933"/>
              <a:gd name="connsiteY25416" fmla="*/ 819825 h 4687251"/>
              <a:gd name="connsiteX25417" fmla="*/ 2465715 w 8079933"/>
              <a:gd name="connsiteY25417" fmla="*/ 815602 h 4687251"/>
              <a:gd name="connsiteX25418" fmla="*/ 2463436 w 8079933"/>
              <a:gd name="connsiteY25418" fmla="*/ 813762 h 4687251"/>
              <a:gd name="connsiteX25419" fmla="*/ 2462243 w 8079933"/>
              <a:gd name="connsiteY25419" fmla="*/ 814736 h 4687251"/>
              <a:gd name="connsiteX25420" fmla="*/ 2461917 w 8079933"/>
              <a:gd name="connsiteY25420" fmla="*/ 817659 h 4687251"/>
              <a:gd name="connsiteX25421" fmla="*/ 2459747 w 8079933"/>
              <a:gd name="connsiteY25421" fmla="*/ 818417 h 4687251"/>
              <a:gd name="connsiteX25422" fmla="*/ 2458878 w 8079933"/>
              <a:gd name="connsiteY25422" fmla="*/ 823505 h 4687251"/>
              <a:gd name="connsiteX25423" fmla="*/ 2462676 w 8079933"/>
              <a:gd name="connsiteY25423" fmla="*/ 828703 h 4687251"/>
              <a:gd name="connsiteX25424" fmla="*/ 2465389 w 8079933"/>
              <a:gd name="connsiteY25424" fmla="*/ 828270 h 4687251"/>
              <a:gd name="connsiteX25425" fmla="*/ 2469079 w 8079933"/>
              <a:gd name="connsiteY25425" fmla="*/ 836715 h 4687251"/>
              <a:gd name="connsiteX25426" fmla="*/ 2471467 w 8079933"/>
              <a:gd name="connsiteY25426" fmla="*/ 839313 h 4687251"/>
              <a:gd name="connsiteX25427" fmla="*/ 2469947 w 8079933"/>
              <a:gd name="connsiteY25427" fmla="*/ 843860 h 4687251"/>
              <a:gd name="connsiteX25428" fmla="*/ 2469622 w 8079933"/>
              <a:gd name="connsiteY25428" fmla="*/ 847650 h 4687251"/>
              <a:gd name="connsiteX25429" fmla="*/ 2466474 w 8079933"/>
              <a:gd name="connsiteY25429" fmla="*/ 852522 h 4687251"/>
              <a:gd name="connsiteX25430" fmla="*/ 2463220 w 8079933"/>
              <a:gd name="connsiteY25430" fmla="*/ 854904 h 4687251"/>
              <a:gd name="connsiteX25431" fmla="*/ 2452694 w 8079933"/>
              <a:gd name="connsiteY25431" fmla="*/ 854688 h 4687251"/>
              <a:gd name="connsiteX25432" fmla="*/ 2451282 w 8079933"/>
              <a:gd name="connsiteY25432" fmla="*/ 853388 h 4687251"/>
              <a:gd name="connsiteX25433" fmla="*/ 2447159 w 8079933"/>
              <a:gd name="connsiteY25433" fmla="*/ 853713 h 4687251"/>
              <a:gd name="connsiteX25434" fmla="*/ 2442384 w 8079933"/>
              <a:gd name="connsiteY25434" fmla="*/ 850682 h 4687251"/>
              <a:gd name="connsiteX25435" fmla="*/ 2443578 w 8079933"/>
              <a:gd name="connsiteY25435" fmla="*/ 848949 h 4687251"/>
              <a:gd name="connsiteX25436" fmla="*/ 2443578 w 8079933"/>
              <a:gd name="connsiteY25436" fmla="*/ 844619 h 4687251"/>
              <a:gd name="connsiteX25437" fmla="*/ 2436090 w 8079933"/>
              <a:gd name="connsiteY25437" fmla="*/ 844727 h 4687251"/>
              <a:gd name="connsiteX25438" fmla="*/ 2428277 w 8079933"/>
              <a:gd name="connsiteY25438" fmla="*/ 840829 h 4687251"/>
              <a:gd name="connsiteX25439" fmla="*/ 2421658 w 8079933"/>
              <a:gd name="connsiteY25439" fmla="*/ 840180 h 4687251"/>
              <a:gd name="connsiteX25440" fmla="*/ 2424804 w 8079933"/>
              <a:gd name="connsiteY25440" fmla="*/ 848733 h 4687251"/>
              <a:gd name="connsiteX25441" fmla="*/ 2426974 w 8079933"/>
              <a:gd name="connsiteY25441" fmla="*/ 853930 h 4687251"/>
              <a:gd name="connsiteX25442" fmla="*/ 2425998 w 8079933"/>
              <a:gd name="connsiteY25442" fmla="*/ 854904 h 4687251"/>
              <a:gd name="connsiteX25443" fmla="*/ 2422200 w 8079933"/>
              <a:gd name="connsiteY25443" fmla="*/ 854796 h 4687251"/>
              <a:gd name="connsiteX25444" fmla="*/ 2420030 w 8079933"/>
              <a:gd name="connsiteY25444" fmla="*/ 850140 h 4687251"/>
              <a:gd name="connsiteX25445" fmla="*/ 2416123 w 8079933"/>
              <a:gd name="connsiteY25445" fmla="*/ 845917 h 4687251"/>
              <a:gd name="connsiteX25446" fmla="*/ 2414495 w 8079933"/>
              <a:gd name="connsiteY25446" fmla="*/ 845160 h 4687251"/>
              <a:gd name="connsiteX25447" fmla="*/ 2413302 w 8079933"/>
              <a:gd name="connsiteY25447" fmla="*/ 841803 h 4687251"/>
              <a:gd name="connsiteX25448" fmla="*/ 2408744 w 8079933"/>
              <a:gd name="connsiteY25448" fmla="*/ 837040 h 4687251"/>
              <a:gd name="connsiteX25449" fmla="*/ 2405271 w 8079933"/>
              <a:gd name="connsiteY25449" fmla="*/ 832817 h 4687251"/>
              <a:gd name="connsiteX25450" fmla="*/ 2404511 w 8079933"/>
              <a:gd name="connsiteY25450" fmla="*/ 830435 h 4687251"/>
              <a:gd name="connsiteX25451" fmla="*/ 2401256 w 8079933"/>
              <a:gd name="connsiteY25451" fmla="*/ 829677 h 4687251"/>
              <a:gd name="connsiteX25452" fmla="*/ 2397350 w 8079933"/>
              <a:gd name="connsiteY25452" fmla="*/ 824697 h 4687251"/>
              <a:gd name="connsiteX25453" fmla="*/ 2394420 w 8079933"/>
              <a:gd name="connsiteY25453" fmla="*/ 823505 h 4687251"/>
              <a:gd name="connsiteX25454" fmla="*/ 2393009 w 8079933"/>
              <a:gd name="connsiteY25454" fmla="*/ 821665 h 4687251"/>
              <a:gd name="connsiteX25455" fmla="*/ 2389211 w 8079933"/>
              <a:gd name="connsiteY25455" fmla="*/ 819608 h 4687251"/>
              <a:gd name="connsiteX25456" fmla="*/ 2390079 w 8079933"/>
              <a:gd name="connsiteY25456" fmla="*/ 823181 h 4687251"/>
              <a:gd name="connsiteX25457" fmla="*/ 2399195 w 8079933"/>
              <a:gd name="connsiteY25457" fmla="*/ 830435 h 4687251"/>
              <a:gd name="connsiteX25458" fmla="*/ 2401256 w 8079933"/>
              <a:gd name="connsiteY25458" fmla="*/ 834008 h 4687251"/>
              <a:gd name="connsiteX25459" fmla="*/ 2404511 w 8079933"/>
              <a:gd name="connsiteY25459" fmla="*/ 837906 h 4687251"/>
              <a:gd name="connsiteX25460" fmla="*/ 2408201 w 8079933"/>
              <a:gd name="connsiteY25460" fmla="*/ 840396 h 4687251"/>
              <a:gd name="connsiteX25461" fmla="*/ 2409504 w 8079933"/>
              <a:gd name="connsiteY25461" fmla="*/ 843752 h 4687251"/>
              <a:gd name="connsiteX25462" fmla="*/ 2407116 w 8079933"/>
              <a:gd name="connsiteY25462" fmla="*/ 846892 h 4687251"/>
              <a:gd name="connsiteX25463" fmla="*/ 2405380 w 8079933"/>
              <a:gd name="connsiteY25463" fmla="*/ 845376 h 4687251"/>
              <a:gd name="connsiteX25464" fmla="*/ 2402993 w 8079933"/>
              <a:gd name="connsiteY25464" fmla="*/ 847758 h 4687251"/>
              <a:gd name="connsiteX25465" fmla="*/ 2396265 w 8079933"/>
              <a:gd name="connsiteY25465" fmla="*/ 843427 h 4687251"/>
              <a:gd name="connsiteX25466" fmla="*/ 2393660 w 8079933"/>
              <a:gd name="connsiteY25466" fmla="*/ 844186 h 4687251"/>
              <a:gd name="connsiteX25467" fmla="*/ 2391490 w 8079933"/>
              <a:gd name="connsiteY25467" fmla="*/ 840504 h 4687251"/>
              <a:gd name="connsiteX25468" fmla="*/ 2387149 w 8079933"/>
              <a:gd name="connsiteY25468" fmla="*/ 838988 h 4687251"/>
              <a:gd name="connsiteX25469" fmla="*/ 2385413 w 8079933"/>
              <a:gd name="connsiteY25469" fmla="*/ 834982 h 4687251"/>
              <a:gd name="connsiteX25470" fmla="*/ 2377708 w 8079933"/>
              <a:gd name="connsiteY25470" fmla="*/ 836065 h 4687251"/>
              <a:gd name="connsiteX25471" fmla="*/ 2373693 w 8079933"/>
              <a:gd name="connsiteY25471" fmla="*/ 838339 h 4687251"/>
              <a:gd name="connsiteX25472" fmla="*/ 2370221 w 8079933"/>
              <a:gd name="connsiteY25472" fmla="*/ 835415 h 4687251"/>
              <a:gd name="connsiteX25473" fmla="*/ 2365120 w 8079933"/>
              <a:gd name="connsiteY25473" fmla="*/ 834333 h 4687251"/>
              <a:gd name="connsiteX25474" fmla="*/ 2360780 w 8079933"/>
              <a:gd name="connsiteY25474" fmla="*/ 834658 h 4687251"/>
              <a:gd name="connsiteX25475" fmla="*/ 2358392 w 8079933"/>
              <a:gd name="connsiteY25475" fmla="*/ 831409 h 4687251"/>
              <a:gd name="connsiteX25476" fmla="*/ 2352858 w 8079933"/>
              <a:gd name="connsiteY25476" fmla="*/ 827837 h 4687251"/>
              <a:gd name="connsiteX25477" fmla="*/ 2352749 w 8079933"/>
              <a:gd name="connsiteY25477" fmla="*/ 824913 h 4687251"/>
              <a:gd name="connsiteX25478" fmla="*/ 2359369 w 8079933"/>
              <a:gd name="connsiteY25478" fmla="*/ 818742 h 4687251"/>
              <a:gd name="connsiteX25479" fmla="*/ 2362190 w 8079933"/>
              <a:gd name="connsiteY25479" fmla="*/ 817334 h 4687251"/>
              <a:gd name="connsiteX25480" fmla="*/ 2361973 w 8079933"/>
              <a:gd name="connsiteY25480" fmla="*/ 815385 h 4687251"/>
              <a:gd name="connsiteX25481" fmla="*/ 2358935 w 8079933"/>
              <a:gd name="connsiteY25481" fmla="*/ 815602 h 4687251"/>
              <a:gd name="connsiteX25482" fmla="*/ 2354811 w 8079933"/>
              <a:gd name="connsiteY25482" fmla="*/ 819933 h 4687251"/>
              <a:gd name="connsiteX25483" fmla="*/ 2351447 w 8079933"/>
              <a:gd name="connsiteY25483" fmla="*/ 823723 h 4687251"/>
              <a:gd name="connsiteX25484" fmla="*/ 2349060 w 8079933"/>
              <a:gd name="connsiteY25484" fmla="*/ 824588 h 4687251"/>
              <a:gd name="connsiteX25485" fmla="*/ 2345261 w 8079933"/>
              <a:gd name="connsiteY25485" fmla="*/ 821448 h 4687251"/>
              <a:gd name="connsiteX25486" fmla="*/ 2340813 w 8079933"/>
              <a:gd name="connsiteY25486" fmla="*/ 820582 h 4687251"/>
              <a:gd name="connsiteX25487" fmla="*/ 2338859 w 8079933"/>
              <a:gd name="connsiteY25487" fmla="*/ 821232 h 4687251"/>
              <a:gd name="connsiteX25488" fmla="*/ 2342875 w 8079933"/>
              <a:gd name="connsiteY25488" fmla="*/ 824047 h 4687251"/>
              <a:gd name="connsiteX25489" fmla="*/ 2340595 w 8079933"/>
              <a:gd name="connsiteY25489" fmla="*/ 825780 h 4687251"/>
              <a:gd name="connsiteX25490" fmla="*/ 2334410 w 8079933"/>
              <a:gd name="connsiteY25490" fmla="*/ 825346 h 4687251"/>
              <a:gd name="connsiteX25491" fmla="*/ 2328550 w 8079933"/>
              <a:gd name="connsiteY25491" fmla="*/ 820474 h 4687251"/>
              <a:gd name="connsiteX25492" fmla="*/ 2327682 w 8079933"/>
              <a:gd name="connsiteY25492" fmla="*/ 814086 h 4687251"/>
              <a:gd name="connsiteX25493" fmla="*/ 2323558 w 8079933"/>
              <a:gd name="connsiteY25493" fmla="*/ 810946 h 4687251"/>
              <a:gd name="connsiteX25494" fmla="*/ 2324318 w 8079933"/>
              <a:gd name="connsiteY25494" fmla="*/ 807048 h 4687251"/>
              <a:gd name="connsiteX25495" fmla="*/ 2332348 w 8079933"/>
              <a:gd name="connsiteY25495" fmla="*/ 802934 h 4687251"/>
              <a:gd name="connsiteX25496" fmla="*/ 2334302 w 8079933"/>
              <a:gd name="connsiteY25496" fmla="*/ 800011 h 4687251"/>
              <a:gd name="connsiteX25497" fmla="*/ 2332674 w 8079933"/>
              <a:gd name="connsiteY25497" fmla="*/ 798928 h 4687251"/>
              <a:gd name="connsiteX25498" fmla="*/ 2329093 w 8079933"/>
              <a:gd name="connsiteY25498" fmla="*/ 801635 h 4687251"/>
              <a:gd name="connsiteX25499" fmla="*/ 2323450 w 8079933"/>
              <a:gd name="connsiteY25499" fmla="*/ 802393 h 4687251"/>
              <a:gd name="connsiteX25500" fmla="*/ 2321388 w 8079933"/>
              <a:gd name="connsiteY25500" fmla="*/ 807374 h 4687251"/>
              <a:gd name="connsiteX25501" fmla="*/ 2318892 w 8079933"/>
              <a:gd name="connsiteY25501" fmla="*/ 807915 h 4687251"/>
              <a:gd name="connsiteX25502" fmla="*/ 2318024 w 8079933"/>
              <a:gd name="connsiteY25502" fmla="*/ 804450 h 4687251"/>
              <a:gd name="connsiteX25503" fmla="*/ 2319109 w 8079933"/>
              <a:gd name="connsiteY25503" fmla="*/ 800661 h 4687251"/>
              <a:gd name="connsiteX25504" fmla="*/ 2317156 w 8079933"/>
              <a:gd name="connsiteY25504" fmla="*/ 798928 h 4687251"/>
              <a:gd name="connsiteX25505" fmla="*/ 2314877 w 8079933"/>
              <a:gd name="connsiteY25505" fmla="*/ 799470 h 4687251"/>
              <a:gd name="connsiteX25506" fmla="*/ 2314009 w 8079933"/>
              <a:gd name="connsiteY25506" fmla="*/ 802501 h 4687251"/>
              <a:gd name="connsiteX25507" fmla="*/ 2314660 w 8079933"/>
              <a:gd name="connsiteY25507" fmla="*/ 804991 h 4687251"/>
              <a:gd name="connsiteX25508" fmla="*/ 2313466 w 8079933"/>
              <a:gd name="connsiteY25508" fmla="*/ 807482 h 4687251"/>
              <a:gd name="connsiteX25509" fmla="*/ 2310103 w 8079933"/>
              <a:gd name="connsiteY25509" fmla="*/ 806507 h 4687251"/>
              <a:gd name="connsiteX25510" fmla="*/ 2307281 w 8079933"/>
              <a:gd name="connsiteY25510" fmla="*/ 803260 h 4687251"/>
              <a:gd name="connsiteX25511" fmla="*/ 2303375 w 8079933"/>
              <a:gd name="connsiteY25511" fmla="*/ 802393 h 4687251"/>
              <a:gd name="connsiteX25512" fmla="*/ 2300227 w 8079933"/>
              <a:gd name="connsiteY25512" fmla="*/ 803260 h 4687251"/>
              <a:gd name="connsiteX25513" fmla="*/ 2299793 w 8079933"/>
              <a:gd name="connsiteY25513" fmla="*/ 806183 h 4687251"/>
              <a:gd name="connsiteX25514" fmla="*/ 2297297 w 8079933"/>
              <a:gd name="connsiteY25514" fmla="*/ 806291 h 4687251"/>
              <a:gd name="connsiteX25515" fmla="*/ 2294151 w 8079933"/>
              <a:gd name="connsiteY25515" fmla="*/ 802501 h 4687251"/>
              <a:gd name="connsiteX25516" fmla="*/ 2292848 w 8079933"/>
              <a:gd name="connsiteY25516" fmla="*/ 798712 h 4687251"/>
              <a:gd name="connsiteX25517" fmla="*/ 2294259 w 8079933"/>
              <a:gd name="connsiteY25517" fmla="*/ 798928 h 4687251"/>
              <a:gd name="connsiteX25518" fmla="*/ 2296646 w 8079933"/>
              <a:gd name="connsiteY25518" fmla="*/ 800661 h 4687251"/>
              <a:gd name="connsiteX25519" fmla="*/ 2296537 w 8079933"/>
              <a:gd name="connsiteY25519" fmla="*/ 798928 h 4687251"/>
              <a:gd name="connsiteX25520" fmla="*/ 2292089 w 8079933"/>
              <a:gd name="connsiteY25520" fmla="*/ 794706 h 4687251"/>
              <a:gd name="connsiteX25521" fmla="*/ 2286446 w 8079933"/>
              <a:gd name="connsiteY25521" fmla="*/ 791458 h 4687251"/>
              <a:gd name="connsiteX25522" fmla="*/ 2285795 w 8079933"/>
              <a:gd name="connsiteY25522" fmla="*/ 787452 h 4687251"/>
              <a:gd name="connsiteX25523" fmla="*/ 2286555 w 8079933"/>
              <a:gd name="connsiteY25523" fmla="*/ 782363 h 4687251"/>
              <a:gd name="connsiteX25524" fmla="*/ 2285903 w 8079933"/>
              <a:gd name="connsiteY25524" fmla="*/ 776516 h 4687251"/>
              <a:gd name="connsiteX25525" fmla="*/ 2283733 w 8079933"/>
              <a:gd name="connsiteY25525" fmla="*/ 769371 h 4687251"/>
              <a:gd name="connsiteX25526" fmla="*/ 2285143 w 8079933"/>
              <a:gd name="connsiteY25526" fmla="*/ 765906 h 4687251"/>
              <a:gd name="connsiteX25527" fmla="*/ 2288073 w 8079933"/>
              <a:gd name="connsiteY25527" fmla="*/ 765906 h 4687251"/>
              <a:gd name="connsiteX25528" fmla="*/ 2288073 w 8079933"/>
              <a:gd name="connsiteY25528" fmla="*/ 763199 h 4687251"/>
              <a:gd name="connsiteX25529" fmla="*/ 2286337 w 8079933"/>
              <a:gd name="connsiteY25529" fmla="*/ 757677 h 4687251"/>
              <a:gd name="connsiteX25530" fmla="*/ 2287096 w 8079933"/>
              <a:gd name="connsiteY25530" fmla="*/ 755728 h 4687251"/>
              <a:gd name="connsiteX25531" fmla="*/ 2291546 w 8079933"/>
              <a:gd name="connsiteY25531" fmla="*/ 757028 h 4687251"/>
              <a:gd name="connsiteX25532" fmla="*/ 2293282 w 8079933"/>
              <a:gd name="connsiteY25532" fmla="*/ 759410 h 4687251"/>
              <a:gd name="connsiteX25533" fmla="*/ 2300987 w 8079933"/>
              <a:gd name="connsiteY25533" fmla="*/ 759951 h 4687251"/>
              <a:gd name="connsiteX25534" fmla="*/ 2305111 w 8079933"/>
              <a:gd name="connsiteY25534" fmla="*/ 763199 h 4687251"/>
              <a:gd name="connsiteX25535" fmla="*/ 2306521 w 8079933"/>
              <a:gd name="connsiteY25535" fmla="*/ 767638 h 4687251"/>
              <a:gd name="connsiteX25536" fmla="*/ 2314986 w 8079933"/>
              <a:gd name="connsiteY25536" fmla="*/ 770887 h 4687251"/>
              <a:gd name="connsiteX25537" fmla="*/ 2322582 w 8079933"/>
              <a:gd name="connsiteY25537" fmla="*/ 770887 h 4687251"/>
              <a:gd name="connsiteX25538" fmla="*/ 2324752 w 8079933"/>
              <a:gd name="connsiteY25538" fmla="*/ 769587 h 4687251"/>
              <a:gd name="connsiteX25539" fmla="*/ 2331480 w 8079933"/>
              <a:gd name="connsiteY25539" fmla="*/ 769371 h 4687251"/>
              <a:gd name="connsiteX25540" fmla="*/ 2328550 w 8079933"/>
              <a:gd name="connsiteY25540" fmla="*/ 766989 h 4687251"/>
              <a:gd name="connsiteX25541" fmla="*/ 2327899 w 8079933"/>
              <a:gd name="connsiteY25541" fmla="*/ 763849 h 4687251"/>
              <a:gd name="connsiteX25542" fmla="*/ 2321713 w 8079933"/>
              <a:gd name="connsiteY25542" fmla="*/ 760059 h 4687251"/>
              <a:gd name="connsiteX25543" fmla="*/ 2320954 w 8079933"/>
              <a:gd name="connsiteY25543" fmla="*/ 753671 h 4687251"/>
              <a:gd name="connsiteX25544" fmla="*/ 2314769 w 8079933"/>
              <a:gd name="connsiteY25544" fmla="*/ 753671 h 4687251"/>
              <a:gd name="connsiteX25545" fmla="*/ 2309451 w 8079933"/>
              <a:gd name="connsiteY25545" fmla="*/ 750423 h 4687251"/>
              <a:gd name="connsiteX25546" fmla="*/ 2305870 w 8079933"/>
              <a:gd name="connsiteY25546" fmla="*/ 750423 h 4687251"/>
              <a:gd name="connsiteX25547" fmla="*/ 2300336 w 8079933"/>
              <a:gd name="connsiteY25547" fmla="*/ 746850 h 4687251"/>
              <a:gd name="connsiteX25548" fmla="*/ 2295669 w 8079933"/>
              <a:gd name="connsiteY25548" fmla="*/ 746634 h 4687251"/>
              <a:gd name="connsiteX25549" fmla="*/ 2287205 w 8079933"/>
              <a:gd name="connsiteY25549" fmla="*/ 741978 h 4687251"/>
              <a:gd name="connsiteX25550" fmla="*/ 2284926 w 8079933"/>
              <a:gd name="connsiteY25550" fmla="*/ 737755 h 4687251"/>
              <a:gd name="connsiteX25551" fmla="*/ 2286663 w 8079933"/>
              <a:gd name="connsiteY25551" fmla="*/ 730177 h 4687251"/>
              <a:gd name="connsiteX25552" fmla="*/ 2290678 w 8079933"/>
              <a:gd name="connsiteY25552" fmla="*/ 727578 h 4687251"/>
              <a:gd name="connsiteX25553" fmla="*/ 2290352 w 8079933"/>
              <a:gd name="connsiteY25553" fmla="*/ 724114 h 4687251"/>
              <a:gd name="connsiteX25554" fmla="*/ 2291871 w 8079933"/>
              <a:gd name="connsiteY25554" fmla="*/ 718808 h 4687251"/>
              <a:gd name="connsiteX25555" fmla="*/ 2295669 w 8079933"/>
              <a:gd name="connsiteY25555" fmla="*/ 718808 h 4687251"/>
              <a:gd name="connsiteX25556" fmla="*/ 2298057 w 8079933"/>
              <a:gd name="connsiteY25556" fmla="*/ 714153 h 4687251"/>
              <a:gd name="connsiteX25557" fmla="*/ 2298057 w 8079933"/>
              <a:gd name="connsiteY25557" fmla="*/ 705708 h 4687251"/>
              <a:gd name="connsiteX25558" fmla="*/ 2299685 w 8079933"/>
              <a:gd name="connsiteY25558" fmla="*/ 702351 h 4687251"/>
              <a:gd name="connsiteX25559" fmla="*/ 2303048 w 8079933"/>
              <a:gd name="connsiteY25559" fmla="*/ 701268 h 4687251"/>
              <a:gd name="connsiteX25560" fmla="*/ 2304243 w 8079933"/>
              <a:gd name="connsiteY25560" fmla="*/ 697154 h 4687251"/>
              <a:gd name="connsiteX25561" fmla="*/ 2310645 w 8079933"/>
              <a:gd name="connsiteY25561" fmla="*/ 693690 h 4687251"/>
              <a:gd name="connsiteX25562" fmla="*/ 2314443 w 8079933"/>
              <a:gd name="connsiteY25562" fmla="*/ 693364 h 4687251"/>
              <a:gd name="connsiteX25563" fmla="*/ 2315528 w 8079933"/>
              <a:gd name="connsiteY25563" fmla="*/ 690117 h 4687251"/>
              <a:gd name="connsiteX25564" fmla="*/ 2313900 w 8079933"/>
              <a:gd name="connsiteY25564" fmla="*/ 690333 h 4687251"/>
              <a:gd name="connsiteX25565" fmla="*/ 2311730 w 8079933"/>
              <a:gd name="connsiteY25565" fmla="*/ 691199 h 4687251"/>
              <a:gd name="connsiteX25566" fmla="*/ 2311187 w 8079933"/>
              <a:gd name="connsiteY25566" fmla="*/ 687301 h 4687251"/>
              <a:gd name="connsiteX25567" fmla="*/ 2315962 w 8079933"/>
              <a:gd name="connsiteY25567" fmla="*/ 680156 h 4687251"/>
              <a:gd name="connsiteX25568" fmla="*/ 2319652 w 8079933"/>
              <a:gd name="connsiteY25568" fmla="*/ 673227 h 4687251"/>
              <a:gd name="connsiteX25569" fmla="*/ 2321388 w 8079933"/>
              <a:gd name="connsiteY25569" fmla="*/ 671602 h 4687251"/>
              <a:gd name="connsiteX25570" fmla="*/ 2324969 w 8079933"/>
              <a:gd name="connsiteY25570" fmla="*/ 666946 h 4687251"/>
              <a:gd name="connsiteX25571" fmla="*/ 2328441 w 8079933"/>
              <a:gd name="connsiteY25571" fmla="*/ 666946 h 4687251"/>
              <a:gd name="connsiteX25572" fmla="*/ 2330178 w 8079933"/>
              <a:gd name="connsiteY25572" fmla="*/ 667380 h 4687251"/>
              <a:gd name="connsiteX25573" fmla="*/ 2332239 w 8079933"/>
              <a:gd name="connsiteY25573" fmla="*/ 660017 h 4687251"/>
              <a:gd name="connsiteX25574" fmla="*/ 2334410 w 8079933"/>
              <a:gd name="connsiteY25574" fmla="*/ 660342 h 4687251"/>
              <a:gd name="connsiteX25575" fmla="*/ 2336146 w 8079933"/>
              <a:gd name="connsiteY25575" fmla="*/ 664023 h 4687251"/>
              <a:gd name="connsiteX25576" fmla="*/ 2338534 w 8079933"/>
              <a:gd name="connsiteY25576" fmla="*/ 660667 h 4687251"/>
              <a:gd name="connsiteX25577" fmla="*/ 2336797 w 8079933"/>
              <a:gd name="connsiteY25577" fmla="*/ 657635 h 4687251"/>
              <a:gd name="connsiteX25578" fmla="*/ 2342332 w 8079933"/>
              <a:gd name="connsiteY25578" fmla="*/ 649082 h 4687251"/>
              <a:gd name="connsiteX25579" fmla="*/ 2346130 w 8079933"/>
              <a:gd name="connsiteY25579" fmla="*/ 649190 h 4687251"/>
              <a:gd name="connsiteX25580" fmla="*/ 2345804 w 8079933"/>
              <a:gd name="connsiteY25580" fmla="*/ 644860 h 4687251"/>
              <a:gd name="connsiteX25581" fmla="*/ 2349711 w 8079933"/>
              <a:gd name="connsiteY25581" fmla="*/ 639446 h 4687251"/>
              <a:gd name="connsiteX25582" fmla="*/ 2354811 w 8079933"/>
              <a:gd name="connsiteY25582" fmla="*/ 639229 h 4687251"/>
              <a:gd name="connsiteX25583" fmla="*/ 2357632 w 8079933"/>
              <a:gd name="connsiteY25583" fmla="*/ 635116 h 4687251"/>
              <a:gd name="connsiteX25584" fmla="*/ 2361322 w 8079933"/>
              <a:gd name="connsiteY25584" fmla="*/ 635224 h 4687251"/>
              <a:gd name="connsiteX25585" fmla="*/ 2364252 w 8079933"/>
              <a:gd name="connsiteY25585" fmla="*/ 636848 h 4687251"/>
              <a:gd name="connsiteX25586" fmla="*/ 2362733 w 8079933"/>
              <a:gd name="connsiteY25586" fmla="*/ 632517 h 4687251"/>
              <a:gd name="connsiteX25587" fmla="*/ 2363926 w 8079933"/>
              <a:gd name="connsiteY25587" fmla="*/ 628078 h 4687251"/>
              <a:gd name="connsiteX25588" fmla="*/ 2372391 w 8079933"/>
              <a:gd name="connsiteY25588" fmla="*/ 624289 h 4687251"/>
              <a:gd name="connsiteX25589" fmla="*/ 2380421 w 8079933"/>
              <a:gd name="connsiteY25589" fmla="*/ 617251 h 4687251"/>
              <a:gd name="connsiteX25590" fmla="*/ 2393334 w 8079933"/>
              <a:gd name="connsiteY25590" fmla="*/ 612920 h 4687251"/>
              <a:gd name="connsiteX25591" fmla="*/ 2401908 w 8079933"/>
              <a:gd name="connsiteY25591" fmla="*/ 612379 h 4687251"/>
              <a:gd name="connsiteX25592" fmla="*/ 5435707 w 8079933"/>
              <a:gd name="connsiteY25592" fmla="*/ 610865 h 4687251"/>
              <a:gd name="connsiteX25593" fmla="*/ 5439397 w 8079933"/>
              <a:gd name="connsiteY25593" fmla="*/ 612381 h 4687251"/>
              <a:gd name="connsiteX25594" fmla="*/ 5442327 w 8079933"/>
              <a:gd name="connsiteY25594" fmla="*/ 615520 h 4687251"/>
              <a:gd name="connsiteX25595" fmla="*/ 5440157 w 8079933"/>
              <a:gd name="connsiteY25595" fmla="*/ 618119 h 4687251"/>
              <a:gd name="connsiteX25596" fmla="*/ 5437769 w 8079933"/>
              <a:gd name="connsiteY25596" fmla="*/ 616820 h 4687251"/>
              <a:gd name="connsiteX25597" fmla="*/ 2214282 w 8079933"/>
              <a:gd name="connsiteY25597" fmla="*/ 604582 h 4687251"/>
              <a:gd name="connsiteX25598" fmla="*/ 2215475 w 8079933"/>
              <a:gd name="connsiteY25598" fmla="*/ 608372 h 4687251"/>
              <a:gd name="connsiteX25599" fmla="*/ 2216886 w 8079933"/>
              <a:gd name="connsiteY25599" fmla="*/ 610429 h 4687251"/>
              <a:gd name="connsiteX25600" fmla="*/ 2216343 w 8079933"/>
              <a:gd name="connsiteY25600" fmla="*/ 613677 h 4687251"/>
              <a:gd name="connsiteX25601" fmla="*/ 2212437 w 8079933"/>
              <a:gd name="connsiteY25601" fmla="*/ 618657 h 4687251"/>
              <a:gd name="connsiteX25602" fmla="*/ 2210158 w 8079933"/>
              <a:gd name="connsiteY25602" fmla="*/ 619415 h 4687251"/>
              <a:gd name="connsiteX25603" fmla="*/ 2207879 w 8079933"/>
              <a:gd name="connsiteY25603" fmla="*/ 616709 h 4687251"/>
              <a:gd name="connsiteX25604" fmla="*/ 2207337 w 8079933"/>
              <a:gd name="connsiteY25604" fmla="*/ 611295 h 4687251"/>
              <a:gd name="connsiteX25605" fmla="*/ 2209832 w 8079933"/>
              <a:gd name="connsiteY25605" fmla="*/ 609671 h 4687251"/>
              <a:gd name="connsiteX25606" fmla="*/ 2211026 w 8079933"/>
              <a:gd name="connsiteY25606" fmla="*/ 605990 h 4687251"/>
              <a:gd name="connsiteX25607" fmla="*/ 5419538 w 8079933"/>
              <a:gd name="connsiteY25607" fmla="*/ 602094 h 4687251"/>
              <a:gd name="connsiteX25608" fmla="*/ 5423662 w 8079933"/>
              <a:gd name="connsiteY25608" fmla="*/ 603611 h 4687251"/>
              <a:gd name="connsiteX25609" fmla="*/ 5420949 w 8079933"/>
              <a:gd name="connsiteY25609" fmla="*/ 607182 h 4687251"/>
              <a:gd name="connsiteX25610" fmla="*/ 5415740 w 8079933"/>
              <a:gd name="connsiteY25610" fmla="*/ 607507 h 4687251"/>
              <a:gd name="connsiteX25611" fmla="*/ 5417042 w 8079933"/>
              <a:gd name="connsiteY25611" fmla="*/ 605233 h 4687251"/>
              <a:gd name="connsiteX25612" fmla="*/ 5416717 w 8079933"/>
              <a:gd name="connsiteY25612" fmla="*/ 602959 h 4687251"/>
              <a:gd name="connsiteX25613" fmla="*/ 2213630 w 8079933"/>
              <a:gd name="connsiteY25613" fmla="*/ 599928 h 4687251"/>
              <a:gd name="connsiteX25614" fmla="*/ 2216559 w 8079933"/>
              <a:gd name="connsiteY25614" fmla="*/ 600252 h 4687251"/>
              <a:gd name="connsiteX25615" fmla="*/ 2215583 w 8079933"/>
              <a:gd name="connsiteY25615" fmla="*/ 602525 h 4687251"/>
              <a:gd name="connsiteX25616" fmla="*/ 2213305 w 8079933"/>
              <a:gd name="connsiteY25616" fmla="*/ 602202 h 4687251"/>
              <a:gd name="connsiteX25617" fmla="*/ 1568283 w 8079933"/>
              <a:gd name="connsiteY25617" fmla="*/ 593863 h 4687251"/>
              <a:gd name="connsiteX25618" fmla="*/ 1568391 w 8079933"/>
              <a:gd name="connsiteY25618" fmla="*/ 599169 h 4687251"/>
              <a:gd name="connsiteX25619" fmla="*/ 1563834 w 8079933"/>
              <a:gd name="connsiteY25619" fmla="*/ 601551 h 4687251"/>
              <a:gd name="connsiteX25620" fmla="*/ 1560904 w 8079933"/>
              <a:gd name="connsiteY25620" fmla="*/ 599927 h 4687251"/>
              <a:gd name="connsiteX25621" fmla="*/ 1563074 w 8079933"/>
              <a:gd name="connsiteY25621" fmla="*/ 596678 h 4687251"/>
              <a:gd name="connsiteX25622" fmla="*/ 5299952 w 8079933"/>
              <a:gd name="connsiteY25622" fmla="*/ 592242 h 4687251"/>
              <a:gd name="connsiteX25623" fmla="*/ 5303316 w 8079933"/>
              <a:gd name="connsiteY25623" fmla="*/ 593649 h 4687251"/>
              <a:gd name="connsiteX25624" fmla="*/ 5302991 w 8079933"/>
              <a:gd name="connsiteY25624" fmla="*/ 596464 h 4687251"/>
              <a:gd name="connsiteX25625" fmla="*/ 5304185 w 8079933"/>
              <a:gd name="connsiteY25625" fmla="*/ 600362 h 4687251"/>
              <a:gd name="connsiteX25626" fmla="*/ 5301038 w 8079933"/>
              <a:gd name="connsiteY25626" fmla="*/ 602419 h 4687251"/>
              <a:gd name="connsiteX25627" fmla="*/ 5297240 w 8079933"/>
              <a:gd name="connsiteY25627" fmla="*/ 600578 h 4687251"/>
              <a:gd name="connsiteX25628" fmla="*/ 5296263 w 8079933"/>
              <a:gd name="connsiteY25628" fmla="*/ 597006 h 4687251"/>
              <a:gd name="connsiteX25629" fmla="*/ 5293767 w 8079933"/>
              <a:gd name="connsiteY25629" fmla="*/ 595381 h 4687251"/>
              <a:gd name="connsiteX25630" fmla="*/ 5294852 w 8079933"/>
              <a:gd name="connsiteY25630" fmla="*/ 593107 h 4687251"/>
              <a:gd name="connsiteX25631" fmla="*/ 1324011 w 8079933"/>
              <a:gd name="connsiteY25631" fmla="*/ 590183 h 4687251"/>
              <a:gd name="connsiteX25632" fmla="*/ 1328677 w 8079933"/>
              <a:gd name="connsiteY25632" fmla="*/ 591807 h 4687251"/>
              <a:gd name="connsiteX25633" fmla="*/ 1333560 w 8079933"/>
              <a:gd name="connsiteY25633" fmla="*/ 598519 h 4687251"/>
              <a:gd name="connsiteX25634" fmla="*/ 1331824 w 8079933"/>
              <a:gd name="connsiteY25634" fmla="*/ 599711 h 4687251"/>
              <a:gd name="connsiteX25635" fmla="*/ 1327483 w 8079933"/>
              <a:gd name="connsiteY25635" fmla="*/ 597220 h 4687251"/>
              <a:gd name="connsiteX25636" fmla="*/ 1324445 w 8079933"/>
              <a:gd name="connsiteY25636" fmla="*/ 598195 h 4687251"/>
              <a:gd name="connsiteX25637" fmla="*/ 1320864 w 8079933"/>
              <a:gd name="connsiteY25637" fmla="*/ 592673 h 4687251"/>
              <a:gd name="connsiteX25638" fmla="*/ 5397618 w 8079933"/>
              <a:gd name="connsiteY25638" fmla="*/ 584770 h 4687251"/>
              <a:gd name="connsiteX25639" fmla="*/ 5400331 w 8079933"/>
              <a:gd name="connsiteY25639" fmla="*/ 584987 h 4687251"/>
              <a:gd name="connsiteX25640" fmla="*/ 5400222 w 8079933"/>
              <a:gd name="connsiteY25640" fmla="*/ 587152 h 4687251"/>
              <a:gd name="connsiteX25641" fmla="*/ 5397184 w 8079933"/>
              <a:gd name="connsiteY25641" fmla="*/ 588885 h 4687251"/>
              <a:gd name="connsiteX25642" fmla="*/ 5396533 w 8079933"/>
              <a:gd name="connsiteY25642" fmla="*/ 590292 h 4687251"/>
              <a:gd name="connsiteX25643" fmla="*/ 5397510 w 8079933"/>
              <a:gd name="connsiteY25643" fmla="*/ 591917 h 4687251"/>
              <a:gd name="connsiteX25644" fmla="*/ 5396316 w 8079933"/>
              <a:gd name="connsiteY25644" fmla="*/ 593649 h 4687251"/>
              <a:gd name="connsiteX25645" fmla="*/ 5391975 w 8079933"/>
              <a:gd name="connsiteY25645" fmla="*/ 591699 h 4687251"/>
              <a:gd name="connsiteX25646" fmla="*/ 5391975 w 8079933"/>
              <a:gd name="connsiteY25646" fmla="*/ 588993 h 4687251"/>
              <a:gd name="connsiteX25647" fmla="*/ 4923074 w 8079933"/>
              <a:gd name="connsiteY25647" fmla="*/ 582065 h 4687251"/>
              <a:gd name="connsiteX25648" fmla="*/ 4924593 w 8079933"/>
              <a:gd name="connsiteY25648" fmla="*/ 582173 h 4687251"/>
              <a:gd name="connsiteX25649" fmla="*/ 4923833 w 8079933"/>
              <a:gd name="connsiteY25649" fmla="*/ 585529 h 4687251"/>
              <a:gd name="connsiteX25650" fmla="*/ 4917323 w 8079933"/>
              <a:gd name="connsiteY25650" fmla="*/ 589860 h 4687251"/>
              <a:gd name="connsiteX25651" fmla="*/ 4916021 w 8079933"/>
              <a:gd name="connsiteY25651" fmla="*/ 592350 h 4687251"/>
              <a:gd name="connsiteX25652" fmla="*/ 4914176 w 8079933"/>
              <a:gd name="connsiteY25652" fmla="*/ 592782 h 4687251"/>
              <a:gd name="connsiteX25653" fmla="*/ 4912331 w 8079933"/>
              <a:gd name="connsiteY25653" fmla="*/ 589860 h 4687251"/>
              <a:gd name="connsiteX25654" fmla="*/ 4914935 w 8079933"/>
              <a:gd name="connsiteY25654" fmla="*/ 586720 h 4687251"/>
              <a:gd name="connsiteX25655" fmla="*/ 4917865 w 8079933"/>
              <a:gd name="connsiteY25655" fmla="*/ 585746 h 4687251"/>
              <a:gd name="connsiteX25656" fmla="*/ 2357198 w 8079933"/>
              <a:gd name="connsiteY25656" fmla="*/ 581196 h 4687251"/>
              <a:gd name="connsiteX25657" fmla="*/ 2363383 w 8079933"/>
              <a:gd name="connsiteY25657" fmla="*/ 582929 h 4687251"/>
              <a:gd name="connsiteX25658" fmla="*/ 2364143 w 8079933"/>
              <a:gd name="connsiteY25658" fmla="*/ 584986 h 4687251"/>
              <a:gd name="connsiteX25659" fmla="*/ 2361213 w 8079933"/>
              <a:gd name="connsiteY25659" fmla="*/ 586827 h 4687251"/>
              <a:gd name="connsiteX25660" fmla="*/ 2358934 w 8079933"/>
              <a:gd name="connsiteY25660" fmla="*/ 586285 h 4687251"/>
              <a:gd name="connsiteX25661" fmla="*/ 2355896 w 8079933"/>
              <a:gd name="connsiteY25661" fmla="*/ 583037 h 4687251"/>
              <a:gd name="connsiteX25662" fmla="*/ 5406842 w 8079933"/>
              <a:gd name="connsiteY25662" fmla="*/ 580657 h 4687251"/>
              <a:gd name="connsiteX25663" fmla="*/ 5411834 w 8079933"/>
              <a:gd name="connsiteY25663" fmla="*/ 580874 h 4687251"/>
              <a:gd name="connsiteX25664" fmla="*/ 5412810 w 8079933"/>
              <a:gd name="connsiteY25664" fmla="*/ 583798 h 4687251"/>
              <a:gd name="connsiteX25665" fmla="*/ 5412267 w 8079933"/>
              <a:gd name="connsiteY25665" fmla="*/ 585421 h 4687251"/>
              <a:gd name="connsiteX25666" fmla="*/ 5409772 w 8079933"/>
              <a:gd name="connsiteY25666" fmla="*/ 587045 h 4687251"/>
              <a:gd name="connsiteX25667" fmla="*/ 5406299 w 8079933"/>
              <a:gd name="connsiteY25667" fmla="*/ 586828 h 4687251"/>
              <a:gd name="connsiteX25668" fmla="*/ 5405431 w 8079933"/>
              <a:gd name="connsiteY25668" fmla="*/ 582821 h 4687251"/>
              <a:gd name="connsiteX25669" fmla="*/ 5420406 w 8079933"/>
              <a:gd name="connsiteY25669" fmla="*/ 576867 h 4687251"/>
              <a:gd name="connsiteX25670" fmla="*/ 5422577 w 8079933"/>
              <a:gd name="connsiteY25670" fmla="*/ 579575 h 4687251"/>
              <a:gd name="connsiteX25671" fmla="*/ 5422251 w 8079933"/>
              <a:gd name="connsiteY25671" fmla="*/ 582716 h 4687251"/>
              <a:gd name="connsiteX25672" fmla="*/ 5417801 w 8079933"/>
              <a:gd name="connsiteY25672" fmla="*/ 586504 h 4687251"/>
              <a:gd name="connsiteX25673" fmla="*/ 5415848 w 8079933"/>
              <a:gd name="connsiteY25673" fmla="*/ 587261 h 4687251"/>
              <a:gd name="connsiteX25674" fmla="*/ 5414763 w 8079933"/>
              <a:gd name="connsiteY25674" fmla="*/ 586178 h 4687251"/>
              <a:gd name="connsiteX25675" fmla="*/ 5416282 w 8079933"/>
              <a:gd name="connsiteY25675" fmla="*/ 583254 h 4687251"/>
              <a:gd name="connsiteX25676" fmla="*/ 5415522 w 8079933"/>
              <a:gd name="connsiteY25676" fmla="*/ 580441 h 4687251"/>
              <a:gd name="connsiteX25677" fmla="*/ 5416065 w 8079933"/>
              <a:gd name="connsiteY25677" fmla="*/ 577083 h 4687251"/>
              <a:gd name="connsiteX25678" fmla="*/ 5399680 w 8079933"/>
              <a:gd name="connsiteY25678" fmla="*/ 564524 h 4687251"/>
              <a:gd name="connsiteX25679" fmla="*/ 5402827 w 8079933"/>
              <a:gd name="connsiteY25679" fmla="*/ 565391 h 4687251"/>
              <a:gd name="connsiteX25680" fmla="*/ 5403913 w 8079933"/>
              <a:gd name="connsiteY25680" fmla="*/ 567230 h 4687251"/>
              <a:gd name="connsiteX25681" fmla="*/ 5400331 w 8079933"/>
              <a:gd name="connsiteY25681" fmla="*/ 571886 h 4687251"/>
              <a:gd name="connsiteX25682" fmla="*/ 5398269 w 8079933"/>
              <a:gd name="connsiteY25682" fmla="*/ 570047 h 4687251"/>
              <a:gd name="connsiteX25683" fmla="*/ 5392409 w 8079933"/>
              <a:gd name="connsiteY25683" fmla="*/ 568206 h 4687251"/>
              <a:gd name="connsiteX25684" fmla="*/ 5392192 w 8079933"/>
              <a:gd name="connsiteY25684" fmla="*/ 566905 h 4687251"/>
              <a:gd name="connsiteX25685" fmla="*/ 5396099 w 8079933"/>
              <a:gd name="connsiteY25685" fmla="*/ 565932 h 4687251"/>
              <a:gd name="connsiteX25686" fmla="*/ 2287097 w 8079933"/>
              <a:gd name="connsiteY25686" fmla="*/ 559759 h 4687251"/>
              <a:gd name="connsiteX25687" fmla="*/ 2289375 w 8079933"/>
              <a:gd name="connsiteY25687" fmla="*/ 561492 h 4687251"/>
              <a:gd name="connsiteX25688" fmla="*/ 2293716 w 8079933"/>
              <a:gd name="connsiteY25688" fmla="*/ 561492 h 4687251"/>
              <a:gd name="connsiteX25689" fmla="*/ 2294910 w 8079933"/>
              <a:gd name="connsiteY25689" fmla="*/ 564956 h 4687251"/>
              <a:gd name="connsiteX25690" fmla="*/ 2298165 w 8079933"/>
              <a:gd name="connsiteY25690" fmla="*/ 562249 h 4687251"/>
              <a:gd name="connsiteX25691" fmla="*/ 2304243 w 8079933"/>
              <a:gd name="connsiteY25691" fmla="*/ 562249 h 4687251"/>
              <a:gd name="connsiteX25692" fmla="*/ 2307389 w 8079933"/>
              <a:gd name="connsiteY25692" fmla="*/ 567555 h 4687251"/>
              <a:gd name="connsiteX25693" fmla="*/ 2312055 w 8079933"/>
              <a:gd name="connsiteY25693" fmla="*/ 568962 h 4687251"/>
              <a:gd name="connsiteX25694" fmla="*/ 2313032 w 8079933"/>
              <a:gd name="connsiteY25694" fmla="*/ 570153 h 4687251"/>
              <a:gd name="connsiteX25695" fmla="*/ 2315311 w 8079933"/>
              <a:gd name="connsiteY25695" fmla="*/ 570153 h 4687251"/>
              <a:gd name="connsiteX25696" fmla="*/ 2317915 w 8079933"/>
              <a:gd name="connsiteY25696" fmla="*/ 574592 h 4687251"/>
              <a:gd name="connsiteX25697" fmla="*/ 2317915 w 8079933"/>
              <a:gd name="connsiteY25697" fmla="*/ 578381 h 4687251"/>
              <a:gd name="connsiteX25698" fmla="*/ 2319760 w 8079933"/>
              <a:gd name="connsiteY25698" fmla="*/ 579897 h 4687251"/>
              <a:gd name="connsiteX25699" fmla="*/ 2323016 w 8079933"/>
              <a:gd name="connsiteY25699" fmla="*/ 578381 h 4687251"/>
              <a:gd name="connsiteX25700" fmla="*/ 2329744 w 8079933"/>
              <a:gd name="connsiteY25700" fmla="*/ 579031 h 4687251"/>
              <a:gd name="connsiteX25701" fmla="*/ 2340595 w 8079933"/>
              <a:gd name="connsiteY25701" fmla="*/ 580439 h 4687251"/>
              <a:gd name="connsiteX25702" fmla="*/ 2346998 w 8079933"/>
              <a:gd name="connsiteY25702" fmla="*/ 584445 h 4687251"/>
              <a:gd name="connsiteX25703" fmla="*/ 2346998 w 8079933"/>
              <a:gd name="connsiteY25703" fmla="*/ 588234 h 4687251"/>
              <a:gd name="connsiteX25704" fmla="*/ 2349927 w 8079933"/>
              <a:gd name="connsiteY25704" fmla="*/ 590291 h 4687251"/>
              <a:gd name="connsiteX25705" fmla="*/ 2351121 w 8079933"/>
              <a:gd name="connsiteY25705" fmla="*/ 594081 h 4687251"/>
              <a:gd name="connsiteX25706" fmla="*/ 2349277 w 8079933"/>
              <a:gd name="connsiteY25706" fmla="*/ 592890 h 4687251"/>
              <a:gd name="connsiteX25707" fmla="*/ 2347214 w 8079933"/>
              <a:gd name="connsiteY25707" fmla="*/ 592890 h 4687251"/>
              <a:gd name="connsiteX25708" fmla="*/ 2344936 w 8079933"/>
              <a:gd name="connsiteY25708" fmla="*/ 598195 h 4687251"/>
              <a:gd name="connsiteX25709" fmla="*/ 2337991 w 8079933"/>
              <a:gd name="connsiteY25709" fmla="*/ 604583 h 4687251"/>
              <a:gd name="connsiteX25710" fmla="*/ 2334410 w 8079933"/>
              <a:gd name="connsiteY25710" fmla="*/ 609780 h 4687251"/>
              <a:gd name="connsiteX25711" fmla="*/ 2330286 w 8079933"/>
              <a:gd name="connsiteY25711" fmla="*/ 610971 h 4687251"/>
              <a:gd name="connsiteX25712" fmla="*/ 2330286 w 8079933"/>
              <a:gd name="connsiteY25712" fmla="*/ 612811 h 4687251"/>
              <a:gd name="connsiteX25713" fmla="*/ 2320411 w 8079933"/>
              <a:gd name="connsiteY25713" fmla="*/ 620390 h 4687251"/>
              <a:gd name="connsiteX25714" fmla="*/ 2315420 w 8079933"/>
              <a:gd name="connsiteY25714" fmla="*/ 627320 h 4687251"/>
              <a:gd name="connsiteX25715" fmla="*/ 2310102 w 8079933"/>
              <a:gd name="connsiteY25715" fmla="*/ 627320 h 4687251"/>
              <a:gd name="connsiteX25716" fmla="*/ 2309451 w 8079933"/>
              <a:gd name="connsiteY25716" fmla="*/ 629593 h 4687251"/>
              <a:gd name="connsiteX25717" fmla="*/ 2311187 w 8079933"/>
              <a:gd name="connsiteY25717" fmla="*/ 631109 h 4687251"/>
              <a:gd name="connsiteX25718" fmla="*/ 2308800 w 8079933"/>
              <a:gd name="connsiteY25718" fmla="*/ 634574 h 4687251"/>
              <a:gd name="connsiteX25719" fmla="*/ 2301529 w 8079933"/>
              <a:gd name="connsiteY25719" fmla="*/ 639879 h 4687251"/>
              <a:gd name="connsiteX25720" fmla="*/ 2295670 w 8079933"/>
              <a:gd name="connsiteY25720" fmla="*/ 645942 h 4687251"/>
              <a:gd name="connsiteX25721" fmla="*/ 2287097 w 8079933"/>
              <a:gd name="connsiteY25721" fmla="*/ 651572 h 4687251"/>
              <a:gd name="connsiteX25722" fmla="*/ 2281454 w 8079933"/>
              <a:gd name="connsiteY25722" fmla="*/ 655037 h 4687251"/>
              <a:gd name="connsiteX25723" fmla="*/ 2278632 w 8079933"/>
              <a:gd name="connsiteY25723" fmla="*/ 653629 h 4687251"/>
              <a:gd name="connsiteX25724" fmla="*/ 2277656 w 8079933"/>
              <a:gd name="connsiteY25724" fmla="*/ 651464 h 4687251"/>
              <a:gd name="connsiteX25725" fmla="*/ 2274617 w 8079933"/>
              <a:gd name="connsiteY25725" fmla="*/ 651464 h 4687251"/>
              <a:gd name="connsiteX25726" fmla="*/ 2268323 w 8079933"/>
              <a:gd name="connsiteY25726" fmla="*/ 646375 h 4687251"/>
              <a:gd name="connsiteX25727" fmla="*/ 2267672 w 8079933"/>
              <a:gd name="connsiteY25727" fmla="*/ 642369 h 4687251"/>
              <a:gd name="connsiteX25728" fmla="*/ 2264308 w 8079933"/>
              <a:gd name="connsiteY25728" fmla="*/ 640854 h 4687251"/>
              <a:gd name="connsiteX25729" fmla="*/ 2260944 w 8079933"/>
              <a:gd name="connsiteY25729" fmla="*/ 642694 h 4687251"/>
              <a:gd name="connsiteX25730" fmla="*/ 2256387 w 8079933"/>
              <a:gd name="connsiteY25730" fmla="*/ 641503 h 4687251"/>
              <a:gd name="connsiteX25731" fmla="*/ 2252588 w 8079933"/>
              <a:gd name="connsiteY25731" fmla="*/ 641503 h 4687251"/>
              <a:gd name="connsiteX25732" fmla="*/ 2249224 w 8079933"/>
              <a:gd name="connsiteY25732" fmla="*/ 639554 h 4687251"/>
              <a:gd name="connsiteX25733" fmla="*/ 2245643 w 8079933"/>
              <a:gd name="connsiteY25733" fmla="*/ 639554 h 4687251"/>
              <a:gd name="connsiteX25734" fmla="*/ 2244992 w 8079933"/>
              <a:gd name="connsiteY25734" fmla="*/ 642478 h 4687251"/>
              <a:gd name="connsiteX25735" fmla="*/ 2246837 w 8079933"/>
              <a:gd name="connsiteY25735" fmla="*/ 644751 h 4687251"/>
              <a:gd name="connsiteX25736" fmla="*/ 2255952 w 8079933"/>
              <a:gd name="connsiteY25736" fmla="*/ 644751 h 4687251"/>
              <a:gd name="connsiteX25737" fmla="*/ 2254433 w 8079933"/>
              <a:gd name="connsiteY25737" fmla="*/ 648215 h 4687251"/>
              <a:gd name="connsiteX25738" fmla="*/ 2251177 w 8079933"/>
              <a:gd name="connsiteY25738" fmla="*/ 651788 h 4687251"/>
              <a:gd name="connsiteX25739" fmla="*/ 2253674 w 8079933"/>
              <a:gd name="connsiteY25739" fmla="*/ 654278 h 4687251"/>
              <a:gd name="connsiteX25740" fmla="*/ 2253674 w 8079933"/>
              <a:gd name="connsiteY25740" fmla="*/ 659476 h 4687251"/>
              <a:gd name="connsiteX25741" fmla="*/ 2251395 w 8079933"/>
              <a:gd name="connsiteY25741" fmla="*/ 663807 h 4687251"/>
              <a:gd name="connsiteX25742" fmla="*/ 2248247 w 8079933"/>
              <a:gd name="connsiteY25742" fmla="*/ 665864 h 4687251"/>
              <a:gd name="connsiteX25743" fmla="*/ 2245534 w 8079933"/>
              <a:gd name="connsiteY25743" fmla="*/ 668896 h 4687251"/>
              <a:gd name="connsiteX25744" fmla="*/ 2240977 w 8079933"/>
              <a:gd name="connsiteY25744" fmla="*/ 668896 h 4687251"/>
              <a:gd name="connsiteX25745" fmla="*/ 2238047 w 8079933"/>
              <a:gd name="connsiteY25745" fmla="*/ 671277 h 4687251"/>
              <a:gd name="connsiteX25746" fmla="*/ 2235768 w 8079933"/>
              <a:gd name="connsiteY25746" fmla="*/ 675825 h 4687251"/>
              <a:gd name="connsiteX25747" fmla="*/ 2232187 w 8079933"/>
              <a:gd name="connsiteY25747" fmla="*/ 679289 h 4687251"/>
              <a:gd name="connsiteX25748" fmla="*/ 2228715 w 8079933"/>
              <a:gd name="connsiteY25748" fmla="*/ 679289 h 4687251"/>
              <a:gd name="connsiteX25749" fmla="*/ 2228715 w 8079933"/>
              <a:gd name="connsiteY25749" fmla="*/ 683620 h 4687251"/>
              <a:gd name="connsiteX25750" fmla="*/ 2227304 w 8079933"/>
              <a:gd name="connsiteY25750" fmla="*/ 685353 h 4687251"/>
              <a:gd name="connsiteX25751" fmla="*/ 2220033 w 8079933"/>
              <a:gd name="connsiteY25751" fmla="*/ 679181 h 4687251"/>
              <a:gd name="connsiteX25752" fmla="*/ 2216561 w 8079933"/>
              <a:gd name="connsiteY25752" fmla="*/ 680588 h 4687251"/>
              <a:gd name="connsiteX25753" fmla="*/ 2208314 w 8079933"/>
              <a:gd name="connsiteY25753" fmla="*/ 679614 h 4687251"/>
              <a:gd name="connsiteX25754" fmla="*/ 2211569 w 8079933"/>
              <a:gd name="connsiteY25754" fmla="*/ 674526 h 4687251"/>
              <a:gd name="connsiteX25755" fmla="*/ 2215367 w 8079933"/>
              <a:gd name="connsiteY25755" fmla="*/ 672793 h 4687251"/>
              <a:gd name="connsiteX25756" fmla="*/ 2218080 w 8079933"/>
              <a:gd name="connsiteY25756" fmla="*/ 673984 h 4687251"/>
              <a:gd name="connsiteX25757" fmla="*/ 2219600 w 8079933"/>
              <a:gd name="connsiteY25757" fmla="*/ 672468 h 4687251"/>
              <a:gd name="connsiteX25758" fmla="*/ 2218948 w 8079933"/>
              <a:gd name="connsiteY25758" fmla="*/ 670411 h 4687251"/>
              <a:gd name="connsiteX25759" fmla="*/ 2214825 w 8079933"/>
              <a:gd name="connsiteY25759" fmla="*/ 670411 h 4687251"/>
              <a:gd name="connsiteX25760" fmla="*/ 2213631 w 8079933"/>
              <a:gd name="connsiteY25760" fmla="*/ 668679 h 4687251"/>
              <a:gd name="connsiteX25761" fmla="*/ 2219491 w 8079933"/>
              <a:gd name="connsiteY25761" fmla="*/ 660775 h 4687251"/>
              <a:gd name="connsiteX25762" fmla="*/ 2222095 w 8079933"/>
              <a:gd name="connsiteY25762" fmla="*/ 652871 h 4687251"/>
              <a:gd name="connsiteX25763" fmla="*/ 2222095 w 8079933"/>
              <a:gd name="connsiteY25763" fmla="*/ 648541 h 4687251"/>
              <a:gd name="connsiteX25764" fmla="*/ 2224483 w 8079933"/>
              <a:gd name="connsiteY25764" fmla="*/ 647133 h 4687251"/>
              <a:gd name="connsiteX25765" fmla="*/ 2224483 w 8079933"/>
              <a:gd name="connsiteY25765" fmla="*/ 644426 h 4687251"/>
              <a:gd name="connsiteX25766" fmla="*/ 2220685 w 8079933"/>
              <a:gd name="connsiteY25766" fmla="*/ 641503 h 4687251"/>
              <a:gd name="connsiteX25767" fmla="*/ 2223072 w 8079933"/>
              <a:gd name="connsiteY25767" fmla="*/ 638255 h 4687251"/>
              <a:gd name="connsiteX25768" fmla="*/ 2223072 w 8079933"/>
              <a:gd name="connsiteY25768" fmla="*/ 632733 h 4687251"/>
              <a:gd name="connsiteX25769" fmla="*/ 2227413 w 8079933"/>
              <a:gd name="connsiteY25769" fmla="*/ 623097 h 4687251"/>
              <a:gd name="connsiteX25770" fmla="*/ 2230668 w 8079933"/>
              <a:gd name="connsiteY25770" fmla="*/ 620824 h 4687251"/>
              <a:gd name="connsiteX25771" fmla="*/ 2230668 w 8079933"/>
              <a:gd name="connsiteY25771" fmla="*/ 616493 h 4687251"/>
              <a:gd name="connsiteX25772" fmla="*/ 2234683 w 8079933"/>
              <a:gd name="connsiteY25772" fmla="*/ 613569 h 4687251"/>
              <a:gd name="connsiteX25773" fmla="*/ 2236311 w 8079933"/>
              <a:gd name="connsiteY25773" fmla="*/ 608914 h 4687251"/>
              <a:gd name="connsiteX25774" fmla="*/ 2237830 w 8079933"/>
              <a:gd name="connsiteY25774" fmla="*/ 605774 h 4687251"/>
              <a:gd name="connsiteX25775" fmla="*/ 2238481 w 8079933"/>
              <a:gd name="connsiteY25775" fmla="*/ 600577 h 4687251"/>
              <a:gd name="connsiteX25776" fmla="*/ 2244558 w 8079933"/>
              <a:gd name="connsiteY25776" fmla="*/ 594081 h 4687251"/>
              <a:gd name="connsiteX25777" fmla="*/ 2245969 w 8079933"/>
              <a:gd name="connsiteY25777" fmla="*/ 587585 h 4687251"/>
              <a:gd name="connsiteX25778" fmla="*/ 2249984 w 8079933"/>
              <a:gd name="connsiteY25778" fmla="*/ 586935 h 4687251"/>
              <a:gd name="connsiteX25779" fmla="*/ 2249984 w 8079933"/>
              <a:gd name="connsiteY25779" fmla="*/ 583795 h 4687251"/>
              <a:gd name="connsiteX25780" fmla="*/ 2248791 w 8079933"/>
              <a:gd name="connsiteY25780" fmla="*/ 581955 h 4687251"/>
              <a:gd name="connsiteX25781" fmla="*/ 2252263 w 8079933"/>
              <a:gd name="connsiteY25781" fmla="*/ 576108 h 4687251"/>
              <a:gd name="connsiteX25782" fmla="*/ 2255193 w 8079933"/>
              <a:gd name="connsiteY25782" fmla="*/ 577191 h 4687251"/>
              <a:gd name="connsiteX25783" fmla="*/ 2258991 w 8079933"/>
              <a:gd name="connsiteY25783" fmla="*/ 582821 h 4687251"/>
              <a:gd name="connsiteX25784" fmla="*/ 2260185 w 8079933"/>
              <a:gd name="connsiteY25784" fmla="*/ 587260 h 4687251"/>
              <a:gd name="connsiteX25785" fmla="*/ 2265176 w 8079933"/>
              <a:gd name="connsiteY25785" fmla="*/ 587260 h 4687251"/>
              <a:gd name="connsiteX25786" fmla="*/ 2264308 w 8079933"/>
              <a:gd name="connsiteY25786" fmla="*/ 582063 h 4687251"/>
              <a:gd name="connsiteX25787" fmla="*/ 2260727 w 8079933"/>
              <a:gd name="connsiteY25787" fmla="*/ 577949 h 4687251"/>
              <a:gd name="connsiteX25788" fmla="*/ 2261378 w 8079933"/>
              <a:gd name="connsiteY25788" fmla="*/ 575891 h 4687251"/>
              <a:gd name="connsiteX25789" fmla="*/ 2264851 w 8079933"/>
              <a:gd name="connsiteY25789" fmla="*/ 574700 h 4687251"/>
              <a:gd name="connsiteX25790" fmla="*/ 2261053 w 8079933"/>
              <a:gd name="connsiteY25790" fmla="*/ 570045 h 4687251"/>
              <a:gd name="connsiteX25791" fmla="*/ 2265176 w 8079933"/>
              <a:gd name="connsiteY25791" fmla="*/ 563548 h 4687251"/>
              <a:gd name="connsiteX25792" fmla="*/ 2276028 w 8079933"/>
              <a:gd name="connsiteY25792" fmla="*/ 561167 h 4687251"/>
              <a:gd name="connsiteX25793" fmla="*/ 2283081 w 8079933"/>
              <a:gd name="connsiteY25793" fmla="*/ 561167 h 4687251"/>
              <a:gd name="connsiteX25794" fmla="*/ 2178798 w 8079933"/>
              <a:gd name="connsiteY25794" fmla="*/ 548931 h 4687251"/>
              <a:gd name="connsiteX25795" fmla="*/ 2184984 w 8079933"/>
              <a:gd name="connsiteY25795" fmla="*/ 549580 h 4687251"/>
              <a:gd name="connsiteX25796" fmla="*/ 2186394 w 8079933"/>
              <a:gd name="connsiteY25796" fmla="*/ 551855 h 4687251"/>
              <a:gd name="connsiteX25797" fmla="*/ 2184332 w 8079933"/>
              <a:gd name="connsiteY25797" fmla="*/ 553586 h 4687251"/>
              <a:gd name="connsiteX25798" fmla="*/ 2184332 w 8079933"/>
              <a:gd name="connsiteY25798" fmla="*/ 556510 h 4687251"/>
              <a:gd name="connsiteX25799" fmla="*/ 2187588 w 8079933"/>
              <a:gd name="connsiteY25799" fmla="*/ 558784 h 4687251"/>
              <a:gd name="connsiteX25800" fmla="*/ 2190843 w 8079933"/>
              <a:gd name="connsiteY25800" fmla="*/ 563439 h 4687251"/>
              <a:gd name="connsiteX25801" fmla="*/ 2194641 w 8079933"/>
              <a:gd name="connsiteY25801" fmla="*/ 562032 h 4687251"/>
              <a:gd name="connsiteX25802" fmla="*/ 2199416 w 8079933"/>
              <a:gd name="connsiteY25802" fmla="*/ 564306 h 4687251"/>
              <a:gd name="connsiteX25803" fmla="*/ 2205059 w 8079933"/>
              <a:gd name="connsiteY25803" fmla="*/ 564306 h 4687251"/>
              <a:gd name="connsiteX25804" fmla="*/ 2207447 w 8079933"/>
              <a:gd name="connsiteY25804" fmla="*/ 562032 h 4687251"/>
              <a:gd name="connsiteX25805" fmla="*/ 2211028 w 8079933"/>
              <a:gd name="connsiteY25805" fmla="*/ 562898 h 4687251"/>
              <a:gd name="connsiteX25806" fmla="*/ 2221879 w 8079933"/>
              <a:gd name="connsiteY25806" fmla="*/ 562898 h 4687251"/>
              <a:gd name="connsiteX25807" fmla="*/ 2225460 w 8079933"/>
              <a:gd name="connsiteY25807" fmla="*/ 566904 h 4687251"/>
              <a:gd name="connsiteX25808" fmla="*/ 2228390 w 8079933"/>
              <a:gd name="connsiteY25808" fmla="*/ 566038 h 4687251"/>
              <a:gd name="connsiteX25809" fmla="*/ 2229258 w 8079933"/>
              <a:gd name="connsiteY25809" fmla="*/ 568961 h 4687251"/>
              <a:gd name="connsiteX25810" fmla="*/ 2228607 w 8079933"/>
              <a:gd name="connsiteY25810" fmla="*/ 571559 h 4687251"/>
              <a:gd name="connsiteX25811" fmla="*/ 2229801 w 8079933"/>
              <a:gd name="connsiteY25811" fmla="*/ 575025 h 4687251"/>
              <a:gd name="connsiteX25812" fmla="*/ 2227522 w 8079933"/>
              <a:gd name="connsiteY25812" fmla="*/ 578814 h 4687251"/>
              <a:gd name="connsiteX25813" fmla="*/ 2221445 w 8079933"/>
              <a:gd name="connsiteY25813" fmla="*/ 582386 h 4687251"/>
              <a:gd name="connsiteX25814" fmla="*/ 2217864 w 8079933"/>
              <a:gd name="connsiteY25814" fmla="*/ 580871 h 4687251"/>
              <a:gd name="connsiteX25815" fmla="*/ 2216996 w 8079933"/>
              <a:gd name="connsiteY25815" fmla="*/ 578598 h 4687251"/>
              <a:gd name="connsiteX25816" fmla="*/ 2214608 w 8079933"/>
              <a:gd name="connsiteY25816" fmla="*/ 580979 h 4687251"/>
              <a:gd name="connsiteX25817" fmla="*/ 2211678 w 8079933"/>
              <a:gd name="connsiteY25817" fmla="*/ 581954 h 4687251"/>
              <a:gd name="connsiteX25818" fmla="*/ 2212764 w 8079933"/>
              <a:gd name="connsiteY25818" fmla="*/ 584552 h 4687251"/>
              <a:gd name="connsiteX25819" fmla="*/ 2217973 w 8079933"/>
              <a:gd name="connsiteY25819" fmla="*/ 587800 h 4687251"/>
              <a:gd name="connsiteX25820" fmla="*/ 2216236 w 8079933"/>
              <a:gd name="connsiteY25820" fmla="*/ 590724 h 4687251"/>
              <a:gd name="connsiteX25821" fmla="*/ 2215368 w 8079933"/>
              <a:gd name="connsiteY25821" fmla="*/ 596679 h 4687251"/>
              <a:gd name="connsiteX25822" fmla="*/ 2212981 w 8079933"/>
              <a:gd name="connsiteY25822" fmla="*/ 597869 h 4687251"/>
              <a:gd name="connsiteX25823" fmla="*/ 2211245 w 8079933"/>
              <a:gd name="connsiteY25823" fmla="*/ 596137 h 4687251"/>
              <a:gd name="connsiteX25824" fmla="*/ 2207772 w 8079933"/>
              <a:gd name="connsiteY25824" fmla="*/ 596137 h 4687251"/>
              <a:gd name="connsiteX25825" fmla="*/ 2202780 w 8079933"/>
              <a:gd name="connsiteY25825" fmla="*/ 597328 h 4687251"/>
              <a:gd name="connsiteX25826" fmla="*/ 2201044 w 8079933"/>
              <a:gd name="connsiteY25826" fmla="*/ 599927 h 4687251"/>
              <a:gd name="connsiteX25827" fmla="*/ 2191928 w 8079933"/>
              <a:gd name="connsiteY25827" fmla="*/ 601984 h 4687251"/>
              <a:gd name="connsiteX25828" fmla="*/ 2186394 w 8079933"/>
              <a:gd name="connsiteY25828" fmla="*/ 606423 h 4687251"/>
              <a:gd name="connsiteX25829" fmla="*/ 2183681 w 8079933"/>
              <a:gd name="connsiteY25829" fmla="*/ 606423 h 4687251"/>
              <a:gd name="connsiteX25830" fmla="*/ 2179883 w 8079933"/>
              <a:gd name="connsiteY25830" fmla="*/ 612269 h 4687251"/>
              <a:gd name="connsiteX25831" fmla="*/ 2179883 w 8079933"/>
              <a:gd name="connsiteY25831" fmla="*/ 614976 h 4687251"/>
              <a:gd name="connsiteX25832" fmla="*/ 2183031 w 8079933"/>
              <a:gd name="connsiteY25832" fmla="*/ 614976 h 4687251"/>
              <a:gd name="connsiteX25833" fmla="*/ 2184224 w 8079933"/>
              <a:gd name="connsiteY25833" fmla="*/ 612920 h 4687251"/>
              <a:gd name="connsiteX25834" fmla="*/ 2191277 w 8079933"/>
              <a:gd name="connsiteY25834" fmla="*/ 611404 h 4687251"/>
              <a:gd name="connsiteX25835" fmla="*/ 2193882 w 8079933"/>
              <a:gd name="connsiteY25835" fmla="*/ 610320 h 4687251"/>
              <a:gd name="connsiteX25836" fmla="*/ 2201152 w 8079933"/>
              <a:gd name="connsiteY25836" fmla="*/ 614435 h 4687251"/>
              <a:gd name="connsiteX25837" fmla="*/ 2202563 w 8079933"/>
              <a:gd name="connsiteY25837" fmla="*/ 619416 h 4687251"/>
              <a:gd name="connsiteX25838" fmla="*/ 2200501 w 8079933"/>
              <a:gd name="connsiteY25838" fmla="*/ 620931 h 4687251"/>
              <a:gd name="connsiteX25839" fmla="*/ 2197354 w 8079933"/>
              <a:gd name="connsiteY25839" fmla="*/ 620931 h 4687251"/>
              <a:gd name="connsiteX25840" fmla="*/ 2200827 w 8079933"/>
              <a:gd name="connsiteY25840" fmla="*/ 622447 h 4687251"/>
              <a:gd name="connsiteX25841" fmla="*/ 2201695 w 8079933"/>
              <a:gd name="connsiteY25841" fmla="*/ 626236 h 4687251"/>
              <a:gd name="connsiteX25842" fmla="*/ 2201695 w 8079933"/>
              <a:gd name="connsiteY25842" fmla="*/ 630675 h 4687251"/>
              <a:gd name="connsiteX25843" fmla="*/ 2198114 w 8079933"/>
              <a:gd name="connsiteY25843" fmla="*/ 633057 h 4687251"/>
              <a:gd name="connsiteX25844" fmla="*/ 2198114 w 8079933"/>
              <a:gd name="connsiteY25844" fmla="*/ 637930 h 4687251"/>
              <a:gd name="connsiteX25845" fmla="*/ 2199524 w 8079933"/>
              <a:gd name="connsiteY25845" fmla="*/ 639987 h 4687251"/>
              <a:gd name="connsiteX25846" fmla="*/ 2202237 w 8079933"/>
              <a:gd name="connsiteY25846" fmla="*/ 634681 h 4687251"/>
              <a:gd name="connsiteX25847" fmla="*/ 2207447 w 8079933"/>
              <a:gd name="connsiteY25847" fmla="*/ 632733 h 4687251"/>
              <a:gd name="connsiteX25848" fmla="*/ 2209183 w 8079933"/>
              <a:gd name="connsiteY25848" fmla="*/ 630675 h 4687251"/>
              <a:gd name="connsiteX25849" fmla="*/ 2211896 w 8079933"/>
              <a:gd name="connsiteY25849" fmla="*/ 630675 h 4687251"/>
              <a:gd name="connsiteX25850" fmla="*/ 2209292 w 8079933"/>
              <a:gd name="connsiteY25850" fmla="*/ 633815 h 4687251"/>
              <a:gd name="connsiteX25851" fmla="*/ 2209292 w 8079933"/>
              <a:gd name="connsiteY25851" fmla="*/ 640636 h 4687251"/>
              <a:gd name="connsiteX25852" fmla="*/ 2206579 w 8079933"/>
              <a:gd name="connsiteY25852" fmla="*/ 647891 h 4687251"/>
              <a:gd name="connsiteX25853" fmla="*/ 2206579 w 8079933"/>
              <a:gd name="connsiteY25853" fmla="*/ 652221 h 4687251"/>
              <a:gd name="connsiteX25854" fmla="*/ 2198656 w 8079933"/>
              <a:gd name="connsiteY25854" fmla="*/ 656877 h 4687251"/>
              <a:gd name="connsiteX25855" fmla="*/ 2195510 w 8079933"/>
              <a:gd name="connsiteY25855" fmla="*/ 656660 h 4687251"/>
              <a:gd name="connsiteX25856" fmla="*/ 2194099 w 8079933"/>
              <a:gd name="connsiteY25856" fmla="*/ 658934 h 4687251"/>
              <a:gd name="connsiteX25857" fmla="*/ 2195618 w 8079933"/>
              <a:gd name="connsiteY25857" fmla="*/ 661532 h 4687251"/>
              <a:gd name="connsiteX25858" fmla="*/ 2193556 w 8079933"/>
              <a:gd name="connsiteY25858" fmla="*/ 667921 h 4687251"/>
              <a:gd name="connsiteX25859" fmla="*/ 2190952 w 8079933"/>
              <a:gd name="connsiteY25859" fmla="*/ 668570 h 4687251"/>
              <a:gd name="connsiteX25860" fmla="*/ 2189758 w 8079933"/>
              <a:gd name="connsiteY25860" fmla="*/ 666513 h 4687251"/>
              <a:gd name="connsiteX25861" fmla="*/ 2186611 w 8079933"/>
              <a:gd name="connsiteY25861" fmla="*/ 668245 h 4687251"/>
              <a:gd name="connsiteX25862" fmla="*/ 2186611 w 8079933"/>
              <a:gd name="connsiteY25862" fmla="*/ 670303 h 4687251"/>
              <a:gd name="connsiteX25863" fmla="*/ 2192688 w 8079933"/>
              <a:gd name="connsiteY25863" fmla="*/ 673550 h 4687251"/>
              <a:gd name="connsiteX25864" fmla="*/ 2191495 w 8079933"/>
              <a:gd name="connsiteY25864" fmla="*/ 675932 h 4687251"/>
              <a:gd name="connsiteX25865" fmla="*/ 2186828 w 8079933"/>
              <a:gd name="connsiteY25865" fmla="*/ 675932 h 4687251"/>
              <a:gd name="connsiteX25866" fmla="*/ 2189541 w 8079933"/>
              <a:gd name="connsiteY25866" fmla="*/ 680264 h 4687251"/>
              <a:gd name="connsiteX25867" fmla="*/ 2184332 w 8079933"/>
              <a:gd name="connsiteY25867" fmla="*/ 684703 h 4687251"/>
              <a:gd name="connsiteX25868" fmla="*/ 2182271 w 8079933"/>
              <a:gd name="connsiteY25868" fmla="*/ 682645 h 4687251"/>
              <a:gd name="connsiteX25869" fmla="*/ 2179341 w 8079933"/>
              <a:gd name="connsiteY25869" fmla="*/ 685244 h 4687251"/>
              <a:gd name="connsiteX25870" fmla="*/ 2174891 w 8079933"/>
              <a:gd name="connsiteY25870" fmla="*/ 685244 h 4687251"/>
              <a:gd name="connsiteX25871" fmla="*/ 2169357 w 8079933"/>
              <a:gd name="connsiteY25871" fmla="*/ 687842 h 4687251"/>
              <a:gd name="connsiteX25872" fmla="*/ 2169357 w 8079933"/>
              <a:gd name="connsiteY25872" fmla="*/ 691415 h 4687251"/>
              <a:gd name="connsiteX25873" fmla="*/ 2162846 w 8079933"/>
              <a:gd name="connsiteY25873" fmla="*/ 693472 h 4687251"/>
              <a:gd name="connsiteX25874" fmla="*/ 2157311 w 8079933"/>
              <a:gd name="connsiteY25874" fmla="*/ 689683 h 4687251"/>
              <a:gd name="connsiteX25875" fmla="*/ 2152645 w 8079933"/>
              <a:gd name="connsiteY25875" fmla="*/ 692282 h 4687251"/>
              <a:gd name="connsiteX25876" fmla="*/ 2149498 w 8079933"/>
              <a:gd name="connsiteY25876" fmla="*/ 691199 h 4687251"/>
              <a:gd name="connsiteX25877" fmla="*/ 2147654 w 8079933"/>
              <a:gd name="connsiteY25877" fmla="*/ 681887 h 4687251"/>
              <a:gd name="connsiteX25878" fmla="*/ 2151777 w 8079933"/>
              <a:gd name="connsiteY25878" fmla="*/ 676041 h 4687251"/>
              <a:gd name="connsiteX25879" fmla="*/ 2151777 w 8079933"/>
              <a:gd name="connsiteY25879" fmla="*/ 672576 h 4687251"/>
              <a:gd name="connsiteX25880" fmla="*/ 2143856 w 8079933"/>
              <a:gd name="connsiteY25880" fmla="*/ 680155 h 4687251"/>
              <a:gd name="connsiteX25881" fmla="*/ 2143204 w 8079933"/>
              <a:gd name="connsiteY25881" fmla="*/ 684594 h 4687251"/>
              <a:gd name="connsiteX25882" fmla="*/ 2146677 w 8079933"/>
              <a:gd name="connsiteY25882" fmla="*/ 693472 h 4687251"/>
              <a:gd name="connsiteX25883" fmla="*/ 2149064 w 8079933"/>
              <a:gd name="connsiteY25883" fmla="*/ 695854 h 4687251"/>
              <a:gd name="connsiteX25884" fmla="*/ 2147870 w 8079933"/>
              <a:gd name="connsiteY25884" fmla="*/ 700185 h 4687251"/>
              <a:gd name="connsiteX25885" fmla="*/ 2141902 w 8079933"/>
              <a:gd name="connsiteY25885" fmla="*/ 706790 h 4687251"/>
              <a:gd name="connsiteX25886" fmla="*/ 2139623 w 8079933"/>
              <a:gd name="connsiteY25886" fmla="*/ 711770 h 4687251"/>
              <a:gd name="connsiteX25887" fmla="*/ 2133221 w 8079933"/>
              <a:gd name="connsiteY25887" fmla="*/ 713719 h 4687251"/>
              <a:gd name="connsiteX25888" fmla="*/ 2130291 w 8079933"/>
              <a:gd name="connsiteY25888" fmla="*/ 711337 h 4687251"/>
              <a:gd name="connsiteX25889" fmla="*/ 2130291 w 8079933"/>
              <a:gd name="connsiteY25889" fmla="*/ 706031 h 4687251"/>
              <a:gd name="connsiteX25890" fmla="*/ 2128337 w 8079933"/>
              <a:gd name="connsiteY25890" fmla="*/ 703974 h 4687251"/>
              <a:gd name="connsiteX25891" fmla="*/ 2125407 w 8079933"/>
              <a:gd name="connsiteY25891" fmla="*/ 706573 h 4687251"/>
              <a:gd name="connsiteX25892" fmla="*/ 2124322 w 8079933"/>
              <a:gd name="connsiteY25892" fmla="*/ 703974 h 4687251"/>
              <a:gd name="connsiteX25893" fmla="*/ 2125516 w 8079933"/>
              <a:gd name="connsiteY25893" fmla="*/ 699319 h 4687251"/>
              <a:gd name="connsiteX25894" fmla="*/ 2124431 w 8079933"/>
              <a:gd name="connsiteY25894" fmla="*/ 694339 h 4687251"/>
              <a:gd name="connsiteX25895" fmla="*/ 2121176 w 8079933"/>
              <a:gd name="connsiteY25895" fmla="*/ 690874 h 4687251"/>
              <a:gd name="connsiteX25896" fmla="*/ 2123888 w 8079933"/>
              <a:gd name="connsiteY25896" fmla="*/ 685568 h 4687251"/>
              <a:gd name="connsiteX25897" fmla="*/ 2123020 w 8079933"/>
              <a:gd name="connsiteY25897" fmla="*/ 678748 h 4687251"/>
              <a:gd name="connsiteX25898" fmla="*/ 2124539 w 8079933"/>
              <a:gd name="connsiteY25898" fmla="*/ 675824 h 4687251"/>
              <a:gd name="connsiteX25899" fmla="*/ 2121067 w 8079933"/>
              <a:gd name="connsiteY25899" fmla="*/ 674091 h 4687251"/>
              <a:gd name="connsiteX25900" fmla="*/ 2119005 w 8079933"/>
              <a:gd name="connsiteY25900" fmla="*/ 669978 h 4687251"/>
              <a:gd name="connsiteX25901" fmla="*/ 2119005 w 8079933"/>
              <a:gd name="connsiteY25901" fmla="*/ 666188 h 4687251"/>
              <a:gd name="connsiteX25902" fmla="*/ 2115098 w 8079933"/>
              <a:gd name="connsiteY25902" fmla="*/ 661207 h 4687251"/>
              <a:gd name="connsiteX25903" fmla="*/ 2115098 w 8079933"/>
              <a:gd name="connsiteY25903" fmla="*/ 653845 h 4687251"/>
              <a:gd name="connsiteX25904" fmla="*/ 2111952 w 8079933"/>
              <a:gd name="connsiteY25904" fmla="*/ 648215 h 4687251"/>
              <a:gd name="connsiteX25905" fmla="*/ 2109564 w 8079933"/>
              <a:gd name="connsiteY25905" fmla="*/ 648215 h 4687251"/>
              <a:gd name="connsiteX25906" fmla="*/ 2108045 w 8079933"/>
              <a:gd name="connsiteY25906" fmla="*/ 645942 h 4687251"/>
              <a:gd name="connsiteX25907" fmla="*/ 2108045 w 8079933"/>
              <a:gd name="connsiteY25907" fmla="*/ 640636 h 4687251"/>
              <a:gd name="connsiteX25908" fmla="*/ 2105441 w 8079933"/>
              <a:gd name="connsiteY25908" fmla="*/ 639229 h 4687251"/>
              <a:gd name="connsiteX25909" fmla="*/ 2101859 w 8079933"/>
              <a:gd name="connsiteY25909" fmla="*/ 641503 h 4687251"/>
              <a:gd name="connsiteX25910" fmla="*/ 2099906 w 8079933"/>
              <a:gd name="connsiteY25910" fmla="*/ 639662 h 4687251"/>
              <a:gd name="connsiteX25911" fmla="*/ 2096433 w 8079933"/>
              <a:gd name="connsiteY25911" fmla="*/ 640312 h 4687251"/>
              <a:gd name="connsiteX25912" fmla="*/ 2094155 w 8079933"/>
              <a:gd name="connsiteY25912" fmla="*/ 638038 h 4687251"/>
              <a:gd name="connsiteX25913" fmla="*/ 2094155 w 8079933"/>
              <a:gd name="connsiteY25913" fmla="*/ 632841 h 4687251"/>
              <a:gd name="connsiteX25914" fmla="*/ 2099038 w 8079933"/>
              <a:gd name="connsiteY25914" fmla="*/ 630243 h 4687251"/>
              <a:gd name="connsiteX25915" fmla="*/ 2100015 w 8079933"/>
              <a:gd name="connsiteY25915" fmla="*/ 623530 h 4687251"/>
              <a:gd name="connsiteX25916" fmla="*/ 2097627 w 8079933"/>
              <a:gd name="connsiteY25916" fmla="*/ 620282 h 4687251"/>
              <a:gd name="connsiteX25917" fmla="*/ 2098821 w 8079933"/>
              <a:gd name="connsiteY25917" fmla="*/ 617575 h 4687251"/>
              <a:gd name="connsiteX25918" fmla="*/ 2098821 w 8079933"/>
              <a:gd name="connsiteY25918" fmla="*/ 609454 h 4687251"/>
              <a:gd name="connsiteX25919" fmla="*/ 2097085 w 8079933"/>
              <a:gd name="connsiteY25919" fmla="*/ 606206 h 4687251"/>
              <a:gd name="connsiteX25920" fmla="*/ 2102728 w 8079933"/>
              <a:gd name="connsiteY25920" fmla="*/ 598953 h 4687251"/>
              <a:gd name="connsiteX25921" fmla="*/ 2107394 w 8079933"/>
              <a:gd name="connsiteY25921" fmla="*/ 597220 h 4687251"/>
              <a:gd name="connsiteX25922" fmla="*/ 2109239 w 8079933"/>
              <a:gd name="connsiteY25922" fmla="*/ 594080 h 4687251"/>
              <a:gd name="connsiteX25923" fmla="*/ 2111626 w 8079933"/>
              <a:gd name="connsiteY25923" fmla="*/ 593430 h 4687251"/>
              <a:gd name="connsiteX25924" fmla="*/ 2113037 w 8079933"/>
              <a:gd name="connsiteY25924" fmla="*/ 595704 h 4687251"/>
              <a:gd name="connsiteX25925" fmla="*/ 2120090 w 8079933"/>
              <a:gd name="connsiteY25925" fmla="*/ 593430 h 4687251"/>
              <a:gd name="connsiteX25926" fmla="*/ 2124214 w 8079933"/>
              <a:gd name="connsiteY25926" fmla="*/ 594621 h 4687251"/>
              <a:gd name="connsiteX25927" fmla="*/ 2126276 w 8079933"/>
              <a:gd name="connsiteY25927" fmla="*/ 597545 h 4687251"/>
              <a:gd name="connsiteX25928" fmla="*/ 2124431 w 8079933"/>
              <a:gd name="connsiteY25928" fmla="*/ 599818 h 4687251"/>
              <a:gd name="connsiteX25929" fmla="*/ 2122369 w 8079933"/>
              <a:gd name="connsiteY25929" fmla="*/ 600468 h 4687251"/>
              <a:gd name="connsiteX25930" fmla="*/ 2122369 w 8079933"/>
              <a:gd name="connsiteY25930" fmla="*/ 602849 h 4687251"/>
              <a:gd name="connsiteX25931" fmla="*/ 2126384 w 8079933"/>
              <a:gd name="connsiteY25931" fmla="*/ 603499 h 4687251"/>
              <a:gd name="connsiteX25932" fmla="*/ 2127252 w 8079933"/>
              <a:gd name="connsiteY25932" fmla="*/ 606206 h 4687251"/>
              <a:gd name="connsiteX25933" fmla="*/ 2127252 w 8079933"/>
              <a:gd name="connsiteY25933" fmla="*/ 610320 h 4687251"/>
              <a:gd name="connsiteX25934" fmla="*/ 2133112 w 8079933"/>
              <a:gd name="connsiteY25934" fmla="*/ 616708 h 4687251"/>
              <a:gd name="connsiteX25935" fmla="*/ 2133112 w 8079933"/>
              <a:gd name="connsiteY25935" fmla="*/ 620822 h 4687251"/>
              <a:gd name="connsiteX25936" fmla="*/ 2135825 w 8079933"/>
              <a:gd name="connsiteY25936" fmla="*/ 624829 h 4687251"/>
              <a:gd name="connsiteX25937" fmla="*/ 2140274 w 8079933"/>
              <a:gd name="connsiteY25937" fmla="*/ 625479 h 4687251"/>
              <a:gd name="connsiteX25938" fmla="*/ 2142336 w 8079933"/>
              <a:gd name="connsiteY25938" fmla="*/ 623746 h 4687251"/>
              <a:gd name="connsiteX25939" fmla="*/ 2141468 w 8079933"/>
              <a:gd name="connsiteY25939" fmla="*/ 619740 h 4687251"/>
              <a:gd name="connsiteX25940" fmla="*/ 2144072 w 8079933"/>
              <a:gd name="connsiteY25940" fmla="*/ 617900 h 4687251"/>
              <a:gd name="connsiteX25941" fmla="*/ 2147219 w 8079933"/>
              <a:gd name="connsiteY25941" fmla="*/ 612702 h 4687251"/>
              <a:gd name="connsiteX25942" fmla="*/ 2146351 w 8079933"/>
              <a:gd name="connsiteY25942" fmla="*/ 609563 h 4687251"/>
              <a:gd name="connsiteX25943" fmla="*/ 2149607 w 8079933"/>
              <a:gd name="connsiteY25943" fmla="*/ 606423 h 4687251"/>
              <a:gd name="connsiteX25944" fmla="*/ 2150258 w 8079933"/>
              <a:gd name="connsiteY25944" fmla="*/ 602959 h 4687251"/>
              <a:gd name="connsiteX25945" fmla="*/ 2148522 w 8079933"/>
              <a:gd name="connsiteY25945" fmla="*/ 598844 h 4687251"/>
              <a:gd name="connsiteX25946" fmla="*/ 2150258 w 8079933"/>
              <a:gd name="connsiteY25946" fmla="*/ 596786 h 4687251"/>
              <a:gd name="connsiteX25947" fmla="*/ 2154598 w 8079933"/>
              <a:gd name="connsiteY25947" fmla="*/ 595812 h 4687251"/>
              <a:gd name="connsiteX25948" fmla="*/ 2157746 w 8079933"/>
              <a:gd name="connsiteY25948" fmla="*/ 597003 h 4687251"/>
              <a:gd name="connsiteX25949" fmla="*/ 2160024 w 8079933"/>
              <a:gd name="connsiteY25949" fmla="*/ 601767 h 4687251"/>
              <a:gd name="connsiteX25950" fmla="*/ 2163280 w 8079933"/>
              <a:gd name="connsiteY25950" fmla="*/ 601767 h 4687251"/>
              <a:gd name="connsiteX25951" fmla="*/ 2163280 w 8079933"/>
              <a:gd name="connsiteY25951" fmla="*/ 598844 h 4687251"/>
              <a:gd name="connsiteX25952" fmla="*/ 2159808 w 8079933"/>
              <a:gd name="connsiteY25952" fmla="*/ 593214 h 4687251"/>
              <a:gd name="connsiteX25953" fmla="*/ 2158723 w 8079933"/>
              <a:gd name="connsiteY25953" fmla="*/ 588775 h 4687251"/>
              <a:gd name="connsiteX25954" fmla="*/ 2156986 w 8079933"/>
              <a:gd name="connsiteY25954" fmla="*/ 588775 h 4687251"/>
              <a:gd name="connsiteX25955" fmla="*/ 2154707 w 8079933"/>
              <a:gd name="connsiteY25955" fmla="*/ 593106 h 4687251"/>
              <a:gd name="connsiteX25956" fmla="*/ 2149390 w 8079933"/>
              <a:gd name="connsiteY25956" fmla="*/ 593106 h 4687251"/>
              <a:gd name="connsiteX25957" fmla="*/ 2145266 w 8079933"/>
              <a:gd name="connsiteY25957" fmla="*/ 587259 h 4687251"/>
              <a:gd name="connsiteX25958" fmla="*/ 2145266 w 8079933"/>
              <a:gd name="connsiteY25958" fmla="*/ 584119 h 4687251"/>
              <a:gd name="connsiteX25959" fmla="*/ 2141468 w 8079933"/>
              <a:gd name="connsiteY25959" fmla="*/ 579355 h 4687251"/>
              <a:gd name="connsiteX25960" fmla="*/ 2141468 w 8079933"/>
              <a:gd name="connsiteY25960" fmla="*/ 573833 h 4687251"/>
              <a:gd name="connsiteX25961" fmla="*/ 2144398 w 8079933"/>
              <a:gd name="connsiteY25961" fmla="*/ 570910 h 4687251"/>
              <a:gd name="connsiteX25962" fmla="*/ 2147979 w 8079933"/>
              <a:gd name="connsiteY25962" fmla="*/ 570910 h 4687251"/>
              <a:gd name="connsiteX25963" fmla="*/ 2149064 w 8079933"/>
              <a:gd name="connsiteY25963" fmla="*/ 567121 h 4687251"/>
              <a:gd name="connsiteX25964" fmla="*/ 2152645 w 8079933"/>
              <a:gd name="connsiteY25964" fmla="*/ 569178 h 4687251"/>
              <a:gd name="connsiteX25965" fmla="*/ 2155033 w 8079933"/>
              <a:gd name="connsiteY25965" fmla="*/ 573292 h 4687251"/>
              <a:gd name="connsiteX25966" fmla="*/ 2156552 w 8079933"/>
              <a:gd name="connsiteY25966" fmla="*/ 582604 h 4687251"/>
              <a:gd name="connsiteX25967" fmla="*/ 2157637 w 8079933"/>
              <a:gd name="connsiteY25967" fmla="*/ 582604 h 4687251"/>
              <a:gd name="connsiteX25968" fmla="*/ 2158614 w 8079933"/>
              <a:gd name="connsiteY25968" fmla="*/ 577623 h 4687251"/>
              <a:gd name="connsiteX25969" fmla="*/ 2160350 w 8079933"/>
              <a:gd name="connsiteY25969" fmla="*/ 575349 h 4687251"/>
              <a:gd name="connsiteX25970" fmla="*/ 2160350 w 8079933"/>
              <a:gd name="connsiteY25970" fmla="*/ 570368 h 4687251"/>
              <a:gd name="connsiteX25971" fmla="*/ 2156878 w 8079933"/>
              <a:gd name="connsiteY25971" fmla="*/ 568528 h 4687251"/>
              <a:gd name="connsiteX25972" fmla="*/ 2156878 w 8079933"/>
              <a:gd name="connsiteY25972" fmla="*/ 564089 h 4687251"/>
              <a:gd name="connsiteX25973" fmla="*/ 2155901 w 8079933"/>
              <a:gd name="connsiteY25973" fmla="*/ 559433 h 4687251"/>
              <a:gd name="connsiteX25974" fmla="*/ 2157963 w 8079933"/>
              <a:gd name="connsiteY25974" fmla="*/ 558243 h 4687251"/>
              <a:gd name="connsiteX25975" fmla="*/ 2159373 w 8079933"/>
              <a:gd name="connsiteY25975" fmla="*/ 553478 h 4687251"/>
              <a:gd name="connsiteX25976" fmla="*/ 2163822 w 8079933"/>
              <a:gd name="connsiteY25976" fmla="*/ 551746 h 4687251"/>
              <a:gd name="connsiteX25977" fmla="*/ 2165884 w 8079933"/>
              <a:gd name="connsiteY25977" fmla="*/ 552829 h 4687251"/>
              <a:gd name="connsiteX25978" fmla="*/ 2168163 w 8079933"/>
              <a:gd name="connsiteY25978" fmla="*/ 552180 h 4687251"/>
              <a:gd name="connsiteX25979" fmla="*/ 2171636 w 8079933"/>
              <a:gd name="connsiteY25979" fmla="*/ 557376 h 4687251"/>
              <a:gd name="connsiteX25980" fmla="*/ 2177279 w 8079933"/>
              <a:gd name="connsiteY25980" fmla="*/ 558784 h 4687251"/>
              <a:gd name="connsiteX25981" fmla="*/ 2179558 w 8079933"/>
              <a:gd name="connsiteY25981" fmla="*/ 554778 h 4687251"/>
              <a:gd name="connsiteX25982" fmla="*/ 2174891 w 8079933"/>
              <a:gd name="connsiteY25982" fmla="*/ 554778 h 4687251"/>
              <a:gd name="connsiteX25983" fmla="*/ 2172830 w 8079933"/>
              <a:gd name="connsiteY25983" fmla="*/ 552504 h 4687251"/>
              <a:gd name="connsiteX25984" fmla="*/ 2175217 w 8079933"/>
              <a:gd name="connsiteY25984" fmla="*/ 550664 h 4687251"/>
              <a:gd name="connsiteX25985" fmla="*/ 5417911 w 8079933"/>
              <a:gd name="connsiteY25985" fmla="*/ 548501 h 4687251"/>
              <a:gd name="connsiteX25986" fmla="*/ 5423662 w 8079933"/>
              <a:gd name="connsiteY25986" fmla="*/ 549259 h 4687251"/>
              <a:gd name="connsiteX25987" fmla="*/ 5426701 w 8079933"/>
              <a:gd name="connsiteY25987" fmla="*/ 552723 h 4687251"/>
              <a:gd name="connsiteX25988" fmla="*/ 5426484 w 8079933"/>
              <a:gd name="connsiteY25988" fmla="*/ 554673 h 4687251"/>
              <a:gd name="connsiteX25989" fmla="*/ 5422794 w 8079933"/>
              <a:gd name="connsiteY25989" fmla="*/ 555430 h 4687251"/>
              <a:gd name="connsiteX25990" fmla="*/ 5424639 w 8079933"/>
              <a:gd name="connsiteY25990" fmla="*/ 558136 h 4687251"/>
              <a:gd name="connsiteX25991" fmla="*/ 5424965 w 8079933"/>
              <a:gd name="connsiteY25991" fmla="*/ 559761 h 4687251"/>
              <a:gd name="connsiteX25992" fmla="*/ 5422903 w 8079933"/>
              <a:gd name="connsiteY25992" fmla="*/ 560735 h 4687251"/>
              <a:gd name="connsiteX25993" fmla="*/ 5419430 w 8079933"/>
              <a:gd name="connsiteY25993" fmla="*/ 558355 h 4687251"/>
              <a:gd name="connsiteX25994" fmla="*/ 5414764 w 8079933"/>
              <a:gd name="connsiteY25994" fmla="*/ 558136 h 4687251"/>
              <a:gd name="connsiteX25995" fmla="*/ 5412159 w 8079933"/>
              <a:gd name="connsiteY25995" fmla="*/ 556404 h 4687251"/>
              <a:gd name="connsiteX25996" fmla="*/ 5409772 w 8079933"/>
              <a:gd name="connsiteY25996" fmla="*/ 552399 h 4687251"/>
              <a:gd name="connsiteX25997" fmla="*/ 5411183 w 8079933"/>
              <a:gd name="connsiteY25997" fmla="*/ 551423 h 4687251"/>
              <a:gd name="connsiteX25998" fmla="*/ 5414655 w 8079933"/>
              <a:gd name="connsiteY25998" fmla="*/ 553481 h 4687251"/>
              <a:gd name="connsiteX25999" fmla="*/ 5415957 w 8079933"/>
              <a:gd name="connsiteY25999" fmla="*/ 553156 h 4687251"/>
              <a:gd name="connsiteX26000" fmla="*/ 5415523 w 8079933"/>
              <a:gd name="connsiteY26000" fmla="*/ 550016 h 4687251"/>
              <a:gd name="connsiteX26001" fmla="*/ 2223614 w 8079933"/>
              <a:gd name="connsiteY26001" fmla="*/ 544384 h 4687251"/>
              <a:gd name="connsiteX26002" fmla="*/ 2230450 w 8079933"/>
              <a:gd name="connsiteY26002" fmla="*/ 548390 h 4687251"/>
              <a:gd name="connsiteX26003" fmla="*/ 2230993 w 8079933"/>
              <a:gd name="connsiteY26003" fmla="*/ 551963 h 4687251"/>
              <a:gd name="connsiteX26004" fmla="*/ 2225133 w 8079933"/>
              <a:gd name="connsiteY26004" fmla="*/ 551639 h 4687251"/>
              <a:gd name="connsiteX26005" fmla="*/ 2221769 w 8079933"/>
              <a:gd name="connsiteY26005" fmla="*/ 555212 h 4687251"/>
              <a:gd name="connsiteX26006" fmla="*/ 2218405 w 8079933"/>
              <a:gd name="connsiteY26006" fmla="*/ 556078 h 4687251"/>
              <a:gd name="connsiteX26007" fmla="*/ 2214824 w 8079933"/>
              <a:gd name="connsiteY26007" fmla="*/ 554670 h 4687251"/>
              <a:gd name="connsiteX26008" fmla="*/ 2209073 w 8079933"/>
              <a:gd name="connsiteY26008" fmla="*/ 557594 h 4687251"/>
              <a:gd name="connsiteX26009" fmla="*/ 2204732 w 8079933"/>
              <a:gd name="connsiteY26009" fmla="*/ 555970 h 4687251"/>
              <a:gd name="connsiteX26010" fmla="*/ 2202671 w 8079933"/>
              <a:gd name="connsiteY26010" fmla="*/ 558460 h 4687251"/>
              <a:gd name="connsiteX26011" fmla="*/ 2196485 w 8079933"/>
              <a:gd name="connsiteY26011" fmla="*/ 553913 h 4687251"/>
              <a:gd name="connsiteX26012" fmla="*/ 2190625 w 8079933"/>
              <a:gd name="connsiteY26012" fmla="*/ 552288 h 4687251"/>
              <a:gd name="connsiteX26013" fmla="*/ 2188672 w 8079933"/>
              <a:gd name="connsiteY26013" fmla="*/ 549256 h 4687251"/>
              <a:gd name="connsiteX26014" fmla="*/ 2190191 w 8079933"/>
              <a:gd name="connsiteY26014" fmla="*/ 548607 h 4687251"/>
              <a:gd name="connsiteX26015" fmla="*/ 2195725 w 8079933"/>
              <a:gd name="connsiteY26015" fmla="*/ 549148 h 4687251"/>
              <a:gd name="connsiteX26016" fmla="*/ 2200608 w 8079933"/>
              <a:gd name="connsiteY26016" fmla="*/ 545684 h 4687251"/>
              <a:gd name="connsiteX26017" fmla="*/ 2207011 w 8079933"/>
              <a:gd name="connsiteY26017" fmla="*/ 548715 h 4687251"/>
              <a:gd name="connsiteX26018" fmla="*/ 2211786 w 8079933"/>
              <a:gd name="connsiteY26018" fmla="*/ 546009 h 4687251"/>
              <a:gd name="connsiteX26019" fmla="*/ 2214173 w 8079933"/>
              <a:gd name="connsiteY26019" fmla="*/ 547308 h 4687251"/>
              <a:gd name="connsiteX26020" fmla="*/ 2219708 w 8079933"/>
              <a:gd name="connsiteY26020" fmla="*/ 546550 h 4687251"/>
              <a:gd name="connsiteX26021" fmla="*/ 3646919 w 8079933"/>
              <a:gd name="connsiteY26021" fmla="*/ 541028 h 4687251"/>
              <a:gd name="connsiteX26022" fmla="*/ 3646919 w 8079933"/>
              <a:gd name="connsiteY26022" fmla="*/ 545899 h 4687251"/>
              <a:gd name="connsiteX26023" fmla="*/ 3645399 w 8079933"/>
              <a:gd name="connsiteY26023" fmla="*/ 548606 h 4687251"/>
              <a:gd name="connsiteX26024" fmla="*/ 3644857 w 8079933"/>
              <a:gd name="connsiteY26024" fmla="*/ 553262 h 4687251"/>
              <a:gd name="connsiteX26025" fmla="*/ 3645616 w 8079933"/>
              <a:gd name="connsiteY26025" fmla="*/ 555860 h 4687251"/>
              <a:gd name="connsiteX26026" fmla="*/ 3644206 w 8079933"/>
              <a:gd name="connsiteY26026" fmla="*/ 558350 h 4687251"/>
              <a:gd name="connsiteX26027" fmla="*/ 3640625 w 8079933"/>
              <a:gd name="connsiteY26027" fmla="*/ 558351 h 4687251"/>
              <a:gd name="connsiteX26028" fmla="*/ 3639648 w 8079933"/>
              <a:gd name="connsiteY26028" fmla="*/ 555752 h 4687251"/>
              <a:gd name="connsiteX26029" fmla="*/ 3642144 w 8079933"/>
              <a:gd name="connsiteY26029" fmla="*/ 551746 h 4687251"/>
              <a:gd name="connsiteX26030" fmla="*/ 3642144 w 8079933"/>
              <a:gd name="connsiteY26030" fmla="*/ 547091 h 4687251"/>
              <a:gd name="connsiteX26031" fmla="*/ 3609806 w 8079933"/>
              <a:gd name="connsiteY26031" fmla="*/ 536156 h 4687251"/>
              <a:gd name="connsiteX26032" fmla="*/ 3611759 w 8079933"/>
              <a:gd name="connsiteY26032" fmla="*/ 536373 h 4687251"/>
              <a:gd name="connsiteX26033" fmla="*/ 3615124 w 8079933"/>
              <a:gd name="connsiteY26033" fmla="*/ 540920 h 4687251"/>
              <a:gd name="connsiteX26034" fmla="*/ 3618488 w 8079933"/>
              <a:gd name="connsiteY26034" fmla="*/ 542760 h 4687251"/>
              <a:gd name="connsiteX26035" fmla="*/ 3618596 w 8079933"/>
              <a:gd name="connsiteY26035" fmla="*/ 545576 h 4687251"/>
              <a:gd name="connsiteX26036" fmla="*/ 3615774 w 8079933"/>
              <a:gd name="connsiteY26036" fmla="*/ 545251 h 4687251"/>
              <a:gd name="connsiteX26037" fmla="*/ 3612302 w 8079933"/>
              <a:gd name="connsiteY26037" fmla="*/ 543085 h 4687251"/>
              <a:gd name="connsiteX26038" fmla="*/ 3608938 w 8079933"/>
              <a:gd name="connsiteY26038" fmla="*/ 537455 h 4687251"/>
              <a:gd name="connsiteX26039" fmla="*/ 5322742 w 8079933"/>
              <a:gd name="connsiteY26039" fmla="*/ 529445 h 4687251"/>
              <a:gd name="connsiteX26040" fmla="*/ 5323935 w 8079933"/>
              <a:gd name="connsiteY26040" fmla="*/ 533344 h 4687251"/>
              <a:gd name="connsiteX26041" fmla="*/ 5323935 w 8079933"/>
              <a:gd name="connsiteY26041" fmla="*/ 536374 h 4687251"/>
              <a:gd name="connsiteX26042" fmla="*/ 5327300 w 8079933"/>
              <a:gd name="connsiteY26042" fmla="*/ 539623 h 4687251"/>
              <a:gd name="connsiteX26043" fmla="*/ 5327300 w 8079933"/>
              <a:gd name="connsiteY26043" fmla="*/ 542220 h 4687251"/>
              <a:gd name="connsiteX26044" fmla="*/ 5324044 w 8079933"/>
              <a:gd name="connsiteY26044" fmla="*/ 544386 h 4687251"/>
              <a:gd name="connsiteX26045" fmla="*/ 5325563 w 8079933"/>
              <a:gd name="connsiteY26045" fmla="*/ 549800 h 4687251"/>
              <a:gd name="connsiteX26046" fmla="*/ 5325129 w 8079933"/>
              <a:gd name="connsiteY26046" fmla="*/ 554563 h 4687251"/>
              <a:gd name="connsiteX26047" fmla="*/ 5322850 w 8079933"/>
              <a:gd name="connsiteY26047" fmla="*/ 551857 h 4687251"/>
              <a:gd name="connsiteX26048" fmla="*/ 5322308 w 8079933"/>
              <a:gd name="connsiteY26048" fmla="*/ 546878 h 4687251"/>
              <a:gd name="connsiteX26049" fmla="*/ 5320463 w 8079933"/>
              <a:gd name="connsiteY26049" fmla="*/ 545470 h 4687251"/>
              <a:gd name="connsiteX26050" fmla="*/ 5317967 w 8079933"/>
              <a:gd name="connsiteY26050" fmla="*/ 547634 h 4687251"/>
              <a:gd name="connsiteX26051" fmla="*/ 5314820 w 8079933"/>
              <a:gd name="connsiteY26051" fmla="*/ 546552 h 4687251"/>
              <a:gd name="connsiteX26052" fmla="*/ 5314386 w 8079933"/>
              <a:gd name="connsiteY26052" fmla="*/ 537565 h 4687251"/>
              <a:gd name="connsiteX26053" fmla="*/ 5316339 w 8079933"/>
              <a:gd name="connsiteY26053" fmla="*/ 539730 h 4687251"/>
              <a:gd name="connsiteX26054" fmla="*/ 5318509 w 8079933"/>
              <a:gd name="connsiteY26054" fmla="*/ 540705 h 4687251"/>
              <a:gd name="connsiteX26055" fmla="*/ 5319161 w 8079933"/>
              <a:gd name="connsiteY26055" fmla="*/ 537132 h 4687251"/>
              <a:gd name="connsiteX26056" fmla="*/ 5315688 w 8079933"/>
              <a:gd name="connsiteY26056" fmla="*/ 533451 h 4687251"/>
              <a:gd name="connsiteX26057" fmla="*/ 5317207 w 8079933"/>
              <a:gd name="connsiteY26057" fmla="*/ 531502 h 4687251"/>
              <a:gd name="connsiteX26058" fmla="*/ 5319377 w 8079933"/>
              <a:gd name="connsiteY26058" fmla="*/ 531502 h 4687251"/>
              <a:gd name="connsiteX26059" fmla="*/ 2062358 w 8079933"/>
              <a:gd name="connsiteY26059" fmla="*/ 526953 h 4687251"/>
              <a:gd name="connsiteX26060" fmla="*/ 2065940 w 8079933"/>
              <a:gd name="connsiteY26060" fmla="*/ 529875 h 4687251"/>
              <a:gd name="connsiteX26061" fmla="*/ 2069304 w 8079933"/>
              <a:gd name="connsiteY26061" fmla="*/ 530092 h 4687251"/>
              <a:gd name="connsiteX26062" fmla="*/ 2073427 w 8079933"/>
              <a:gd name="connsiteY26062" fmla="*/ 532799 h 4687251"/>
              <a:gd name="connsiteX26063" fmla="*/ 2076140 w 8079933"/>
              <a:gd name="connsiteY26063" fmla="*/ 531933 h 4687251"/>
              <a:gd name="connsiteX26064" fmla="*/ 2080807 w 8079933"/>
              <a:gd name="connsiteY26064" fmla="*/ 533881 h 4687251"/>
              <a:gd name="connsiteX26065" fmla="*/ 2083520 w 8079933"/>
              <a:gd name="connsiteY26065" fmla="*/ 533016 h 4687251"/>
              <a:gd name="connsiteX26066" fmla="*/ 2086992 w 8079933"/>
              <a:gd name="connsiteY26066" fmla="*/ 533124 h 4687251"/>
              <a:gd name="connsiteX26067" fmla="*/ 2091332 w 8079933"/>
              <a:gd name="connsiteY26067" fmla="*/ 539187 h 4687251"/>
              <a:gd name="connsiteX26068" fmla="*/ 2091116 w 8079933"/>
              <a:gd name="connsiteY26068" fmla="*/ 542652 h 4687251"/>
              <a:gd name="connsiteX26069" fmla="*/ 2089922 w 8079933"/>
              <a:gd name="connsiteY26069" fmla="*/ 544709 h 4687251"/>
              <a:gd name="connsiteX26070" fmla="*/ 2092743 w 8079933"/>
              <a:gd name="connsiteY26070" fmla="*/ 549473 h 4687251"/>
              <a:gd name="connsiteX26071" fmla="*/ 2092743 w 8079933"/>
              <a:gd name="connsiteY26071" fmla="*/ 552396 h 4687251"/>
              <a:gd name="connsiteX26072" fmla="*/ 2090681 w 8079933"/>
              <a:gd name="connsiteY26072" fmla="*/ 554345 h 4687251"/>
              <a:gd name="connsiteX26073" fmla="*/ 2090464 w 8079933"/>
              <a:gd name="connsiteY26073" fmla="*/ 557917 h 4687251"/>
              <a:gd name="connsiteX26074" fmla="*/ 2084930 w 8079933"/>
              <a:gd name="connsiteY26074" fmla="*/ 563440 h 4687251"/>
              <a:gd name="connsiteX26075" fmla="*/ 2082543 w 8079933"/>
              <a:gd name="connsiteY26075" fmla="*/ 563440 h 4687251"/>
              <a:gd name="connsiteX26076" fmla="*/ 2075815 w 8079933"/>
              <a:gd name="connsiteY26076" fmla="*/ 569827 h 4687251"/>
              <a:gd name="connsiteX26077" fmla="*/ 2069846 w 8079933"/>
              <a:gd name="connsiteY26077" fmla="*/ 573617 h 4687251"/>
              <a:gd name="connsiteX26078" fmla="*/ 2064312 w 8079933"/>
              <a:gd name="connsiteY26078" fmla="*/ 580221 h 4687251"/>
              <a:gd name="connsiteX26079" fmla="*/ 2059754 w 8079933"/>
              <a:gd name="connsiteY26079" fmla="*/ 580221 h 4687251"/>
              <a:gd name="connsiteX26080" fmla="*/ 2056824 w 8079933"/>
              <a:gd name="connsiteY26080" fmla="*/ 582279 h 4687251"/>
              <a:gd name="connsiteX26081" fmla="*/ 2057150 w 8079933"/>
              <a:gd name="connsiteY26081" fmla="*/ 585743 h 4687251"/>
              <a:gd name="connsiteX26082" fmla="*/ 2055522 w 8079933"/>
              <a:gd name="connsiteY26082" fmla="*/ 587151 h 4687251"/>
              <a:gd name="connsiteX26083" fmla="*/ 2052049 w 8079933"/>
              <a:gd name="connsiteY26083" fmla="*/ 582821 h 4687251"/>
              <a:gd name="connsiteX26084" fmla="*/ 2051507 w 8079933"/>
              <a:gd name="connsiteY26084" fmla="*/ 573076 h 4687251"/>
              <a:gd name="connsiteX26085" fmla="*/ 2048794 w 8079933"/>
              <a:gd name="connsiteY26085" fmla="*/ 568203 h 4687251"/>
              <a:gd name="connsiteX26086" fmla="*/ 2048794 w 8079933"/>
              <a:gd name="connsiteY26086" fmla="*/ 564414 h 4687251"/>
              <a:gd name="connsiteX26087" fmla="*/ 2049663 w 8079933"/>
              <a:gd name="connsiteY26087" fmla="*/ 561924 h 4687251"/>
              <a:gd name="connsiteX26088" fmla="*/ 2048251 w 8079933"/>
              <a:gd name="connsiteY26088" fmla="*/ 556402 h 4687251"/>
              <a:gd name="connsiteX26089" fmla="*/ 2048251 w 8079933"/>
              <a:gd name="connsiteY26089" fmla="*/ 550880 h 4687251"/>
              <a:gd name="connsiteX26090" fmla="*/ 2044453 w 8079933"/>
              <a:gd name="connsiteY26090" fmla="*/ 545358 h 4687251"/>
              <a:gd name="connsiteX26091" fmla="*/ 2040330 w 8079933"/>
              <a:gd name="connsiteY26091" fmla="*/ 541785 h 4687251"/>
              <a:gd name="connsiteX26092" fmla="*/ 2040438 w 8079933"/>
              <a:gd name="connsiteY26092" fmla="*/ 539187 h 4687251"/>
              <a:gd name="connsiteX26093" fmla="*/ 2047926 w 8079933"/>
              <a:gd name="connsiteY26093" fmla="*/ 533341 h 4687251"/>
              <a:gd name="connsiteX26094" fmla="*/ 2051507 w 8079933"/>
              <a:gd name="connsiteY26094" fmla="*/ 531933 h 4687251"/>
              <a:gd name="connsiteX26095" fmla="*/ 2055956 w 8079933"/>
              <a:gd name="connsiteY26095" fmla="*/ 527710 h 4687251"/>
              <a:gd name="connsiteX26096" fmla="*/ 2026548 w 8079933"/>
              <a:gd name="connsiteY26096" fmla="*/ 526629 h 4687251"/>
              <a:gd name="connsiteX26097" fmla="*/ 2032191 w 8079933"/>
              <a:gd name="connsiteY26097" fmla="*/ 527495 h 4687251"/>
              <a:gd name="connsiteX26098" fmla="*/ 2034144 w 8079933"/>
              <a:gd name="connsiteY26098" fmla="*/ 530310 h 4687251"/>
              <a:gd name="connsiteX26099" fmla="*/ 2032517 w 8079933"/>
              <a:gd name="connsiteY26099" fmla="*/ 532150 h 4687251"/>
              <a:gd name="connsiteX26100" fmla="*/ 2029152 w 8079933"/>
              <a:gd name="connsiteY26100" fmla="*/ 530742 h 4687251"/>
              <a:gd name="connsiteX26101" fmla="*/ 2026331 w 8079933"/>
              <a:gd name="connsiteY26101" fmla="*/ 531934 h 4687251"/>
              <a:gd name="connsiteX26102" fmla="*/ 2024921 w 8079933"/>
              <a:gd name="connsiteY26102" fmla="*/ 530418 h 4687251"/>
              <a:gd name="connsiteX26103" fmla="*/ 2024812 w 8079933"/>
              <a:gd name="connsiteY26103" fmla="*/ 527603 h 4687251"/>
              <a:gd name="connsiteX26104" fmla="*/ 2281019 w 8079933"/>
              <a:gd name="connsiteY26104" fmla="*/ 522405 h 4687251"/>
              <a:gd name="connsiteX26105" fmla="*/ 2282972 w 8079933"/>
              <a:gd name="connsiteY26105" fmla="*/ 523379 h 4687251"/>
              <a:gd name="connsiteX26106" fmla="*/ 2284817 w 8079933"/>
              <a:gd name="connsiteY26106" fmla="*/ 526953 h 4687251"/>
              <a:gd name="connsiteX26107" fmla="*/ 2283514 w 8079933"/>
              <a:gd name="connsiteY26107" fmla="*/ 531176 h 4687251"/>
              <a:gd name="connsiteX26108" fmla="*/ 2281887 w 8079933"/>
              <a:gd name="connsiteY26108" fmla="*/ 532475 h 4687251"/>
              <a:gd name="connsiteX26109" fmla="*/ 2280259 w 8079933"/>
              <a:gd name="connsiteY26109" fmla="*/ 530202 h 4687251"/>
              <a:gd name="connsiteX26110" fmla="*/ 2278849 w 8079933"/>
              <a:gd name="connsiteY26110" fmla="*/ 524895 h 4687251"/>
              <a:gd name="connsiteX26111" fmla="*/ 3629555 w 8079933"/>
              <a:gd name="connsiteY26111" fmla="*/ 520672 h 4687251"/>
              <a:gd name="connsiteX26112" fmla="*/ 3629881 w 8079933"/>
              <a:gd name="connsiteY26112" fmla="*/ 523595 h 4687251"/>
              <a:gd name="connsiteX26113" fmla="*/ 3628470 w 8079933"/>
              <a:gd name="connsiteY26113" fmla="*/ 528360 h 4687251"/>
              <a:gd name="connsiteX26114" fmla="*/ 3626517 w 8079933"/>
              <a:gd name="connsiteY26114" fmla="*/ 529442 h 4687251"/>
              <a:gd name="connsiteX26115" fmla="*/ 3625432 w 8079933"/>
              <a:gd name="connsiteY26115" fmla="*/ 528468 h 4687251"/>
              <a:gd name="connsiteX26116" fmla="*/ 3628036 w 8079933"/>
              <a:gd name="connsiteY26116" fmla="*/ 522296 h 4687251"/>
              <a:gd name="connsiteX26117" fmla="*/ 2242712 w 8079933"/>
              <a:gd name="connsiteY26117" fmla="*/ 515801 h 4687251"/>
              <a:gd name="connsiteX26118" fmla="*/ 2245968 w 8079933"/>
              <a:gd name="connsiteY26118" fmla="*/ 518075 h 4687251"/>
              <a:gd name="connsiteX26119" fmla="*/ 2244557 w 8079933"/>
              <a:gd name="connsiteY26119" fmla="*/ 520890 h 4687251"/>
              <a:gd name="connsiteX26120" fmla="*/ 2241193 w 8079933"/>
              <a:gd name="connsiteY26120" fmla="*/ 521108 h 4687251"/>
              <a:gd name="connsiteX26121" fmla="*/ 2237829 w 8079933"/>
              <a:gd name="connsiteY26121" fmla="*/ 523489 h 4687251"/>
              <a:gd name="connsiteX26122" fmla="*/ 2234031 w 8079933"/>
              <a:gd name="connsiteY26122" fmla="*/ 523056 h 4687251"/>
              <a:gd name="connsiteX26123" fmla="*/ 2237069 w 8079933"/>
              <a:gd name="connsiteY26123" fmla="*/ 518075 h 4687251"/>
              <a:gd name="connsiteX26124" fmla="*/ 1898715 w 8079933"/>
              <a:gd name="connsiteY26124" fmla="*/ 513202 h 4687251"/>
              <a:gd name="connsiteX26125" fmla="*/ 1902622 w 8079933"/>
              <a:gd name="connsiteY26125" fmla="*/ 513419 h 4687251"/>
              <a:gd name="connsiteX26126" fmla="*/ 1904032 w 8079933"/>
              <a:gd name="connsiteY26126" fmla="*/ 517641 h 4687251"/>
              <a:gd name="connsiteX26127" fmla="*/ 1902839 w 8079933"/>
              <a:gd name="connsiteY26127" fmla="*/ 521430 h 4687251"/>
              <a:gd name="connsiteX26128" fmla="*/ 1903381 w 8079933"/>
              <a:gd name="connsiteY26128" fmla="*/ 528577 h 4687251"/>
              <a:gd name="connsiteX26129" fmla="*/ 1899909 w 8079933"/>
              <a:gd name="connsiteY26129" fmla="*/ 535289 h 4687251"/>
              <a:gd name="connsiteX26130" fmla="*/ 1896111 w 8079933"/>
              <a:gd name="connsiteY26130" fmla="*/ 535289 h 4687251"/>
              <a:gd name="connsiteX26131" fmla="*/ 1894266 w 8079933"/>
              <a:gd name="connsiteY26131" fmla="*/ 537779 h 4687251"/>
              <a:gd name="connsiteX26132" fmla="*/ 1893940 w 8079933"/>
              <a:gd name="connsiteY26132" fmla="*/ 543301 h 4687251"/>
              <a:gd name="connsiteX26133" fmla="*/ 1890468 w 8079933"/>
              <a:gd name="connsiteY26133" fmla="*/ 547957 h 4687251"/>
              <a:gd name="connsiteX26134" fmla="*/ 1887538 w 8079933"/>
              <a:gd name="connsiteY26134" fmla="*/ 547308 h 4687251"/>
              <a:gd name="connsiteX26135" fmla="*/ 1883522 w 8079933"/>
              <a:gd name="connsiteY26135" fmla="*/ 548823 h 4687251"/>
              <a:gd name="connsiteX26136" fmla="*/ 1881786 w 8079933"/>
              <a:gd name="connsiteY26136" fmla="*/ 552938 h 4687251"/>
              <a:gd name="connsiteX26137" fmla="*/ 1874949 w 8079933"/>
              <a:gd name="connsiteY26137" fmla="*/ 554453 h 4687251"/>
              <a:gd name="connsiteX26138" fmla="*/ 1873213 w 8079933"/>
              <a:gd name="connsiteY26138" fmla="*/ 556185 h 4687251"/>
              <a:gd name="connsiteX26139" fmla="*/ 1875058 w 8079933"/>
              <a:gd name="connsiteY26139" fmla="*/ 557918 h 4687251"/>
              <a:gd name="connsiteX26140" fmla="*/ 1879941 w 8079933"/>
              <a:gd name="connsiteY26140" fmla="*/ 558134 h 4687251"/>
              <a:gd name="connsiteX26141" fmla="*/ 1882003 w 8079933"/>
              <a:gd name="connsiteY26141" fmla="*/ 556185 h 4687251"/>
              <a:gd name="connsiteX26142" fmla="*/ 1886670 w 8079933"/>
              <a:gd name="connsiteY26142" fmla="*/ 555861 h 4687251"/>
              <a:gd name="connsiteX26143" fmla="*/ 1890142 w 8079933"/>
              <a:gd name="connsiteY26143" fmla="*/ 558243 h 4687251"/>
              <a:gd name="connsiteX26144" fmla="*/ 1893723 w 8079933"/>
              <a:gd name="connsiteY26144" fmla="*/ 557593 h 4687251"/>
              <a:gd name="connsiteX26145" fmla="*/ 1893940 w 8079933"/>
              <a:gd name="connsiteY26145" fmla="*/ 559650 h 4687251"/>
              <a:gd name="connsiteX26146" fmla="*/ 1897196 w 8079933"/>
              <a:gd name="connsiteY26146" fmla="*/ 558134 h 4687251"/>
              <a:gd name="connsiteX26147" fmla="*/ 1900126 w 8079933"/>
              <a:gd name="connsiteY26147" fmla="*/ 557052 h 4687251"/>
              <a:gd name="connsiteX26148" fmla="*/ 1900234 w 8079933"/>
              <a:gd name="connsiteY26148" fmla="*/ 554020 h 4687251"/>
              <a:gd name="connsiteX26149" fmla="*/ 1898389 w 8079933"/>
              <a:gd name="connsiteY26149" fmla="*/ 552288 h 4687251"/>
              <a:gd name="connsiteX26150" fmla="*/ 1905877 w 8079933"/>
              <a:gd name="connsiteY26150" fmla="*/ 544492 h 4687251"/>
              <a:gd name="connsiteX26151" fmla="*/ 1909024 w 8079933"/>
              <a:gd name="connsiteY26151" fmla="*/ 544167 h 4687251"/>
              <a:gd name="connsiteX26152" fmla="*/ 1914232 w 8079933"/>
              <a:gd name="connsiteY26152" fmla="*/ 540378 h 4687251"/>
              <a:gd name="connsiteX26153" fmla="*/ 1918139 w 8079933"/>
              <a:gd name="connsiteY26153" fmla="*/ 540378 h 4687251"/>
              <a:gd name="connsiteX26154" fmla="*/ 1919224 w 8079933"/>
              <a:gd name="connsiteY26154" fmla="*/ 542977 h 4687251"/>
              <a:gd name="connsiteX26155" fmla="*/ 1926495 w 8079933"/>
              <a:gd name="connsiteY26155" fmla="*/ 549690 h 4687251"/>
              <a:gd name="connsiteX26156" fmla="*/ 1927146 w 8079933"/>
              <a:gd name="connsiteY26156" fmla="*/ 552938 h 4687251"/>
              <a:gd name="connsiteX26157" fmla="*/ 1932463 w 8079933"/>
              <a:gd name="connsiteY26157" fmla="*/ 554670 h 4687251"/>
              <a:gd name="connsiteX26158" fmla="*/ 1936479 w 8079933"/>
              <a:gd name="connsiteY26158" fmla="*/ 562573 h 4687251"/>
              <a:gd name="connsiteX26159" fmla="*/ 1939517 w 8079933"/>
              <a:gd name="connsiteY26159" fmla="*/ 565281 h 4687251"/>
              <a:gd name="connsiteX26160" fmla="*/ 1938649 w 8079933"/>
              <a:gd name="connsiteY26160" fmla="*/ 568095 h 4687251"/>
              <a:gd name="connsiteX26161" fmla="*/ 1938649 w 8079933"/>
              <a:gd name="connsiteY26161" fmla="*/ 571993 h 4687251"/>
              <a:gd name="connsiteX26162" fmla="*/ 1933874 w 8079933"/>
              <a:gd name="connsiteY26162" fmla="*/ 576107 h 4687251"/>
              <a:gd name="connsiteX26163" fmla="*/ 1930619 w 8079933"/>
              <a:gd name="connsiteY26163" fmla="*/ 575132 h 4687251"/>
              <a:gd name="connsiteX26164" fmla="*/ 1927471 w 8079933"/>
              <a:gd name="connsiteY26164" fmla="*/ 576107 h 4687251"/>
              <a:gd name="connsiteX26165" fmla="*/ 1927146 w 8079933"/>
              <a:gd name="connsiteY26165" fmla="*/ 579030 h 4687251"/>
              <a:gd name="connsiteX26166" fmla="*/ 1921829 w 8079933"/>
              <a:gd name="connsiteY26166" fmla="*/ 580438 h 4687251"/>
              <a:gd name="connsiteX26167" fmla="*/ 1918899 w 8079933"/>
              <a:gd name="connsiteY26167" fmla="*/ 579464 h 4687251"/>
              <a:gd name="connsiteX26168" fmla="*/ 1912822 w 8079933"/>
              <a:gd name="connsiteY26168" fmla="*/ 580114 h 4687251"/>
              <a:gd name="connsiteX26169" fmla="*/ 1909024 w 8079933"/>
              <a:gd name="connsiteY26169" fmla="*/ 583578 h 4687251"/>
              <a:gd name="connsiteX26170" fmla="*/ 1911303 w 8079933"/>
              <a:gd name="connsiteY26170" fmla="*/ 585635 h 4687251"/>
              <a:gd name="connsiteX26171" fmla="*/ 1916620 w 8079933"/>
              <a:gd name="connsiteY26171" fmla="*/ 584769 h 4687251"/>
              <a:gd name="connsiteX26172" fmla="*/ 1917705 w 8079933"/>
              <a:gd name="connsiteY26172" fmla="*/ 587367 h 4687251"/>
              <a:gd name="connsiteX26173" fmla="*/ 1923022 w 8079933"/>
              <a:gd name="connsiteY26173" fmla="*/ 587151 h 4687251"/>
              <a:gd name="connsiteX26174" fmla="*/ 1925952 w 8079933"/>
              <a:gd name="connsiteY26174" fmla="*/ 584228 h 4687251"/>
              <a:gd name="connsiteX26175" fmla="*/ 1928991 w 8079933"/>
              <a:gd name="connsiteY26175" fmla="*/ 583903 h 4687251"/>
              <a:gd name="connsiteX26176" fmla="*/ 1932246 w 8079933"/>
              <a:gd name="connsiteY26176" fmla="*/ 589533 h 4687251"/>
              <a:gd name="connsiteX26177" fmla="*/ 1937672 w 8079933"/>
              <a:gd name="connsiteY26177" fmla="*/ 584444 h 4687251"/>
              <a:gd name="connsiteX26178" fmla="*/ 1943858 w 8079933"/>
              <a:gd name="connsiteY26178" fmla="*/ 581954 h 4687251"/>
              <a:gd name="connsiteX26179" fmla="*/ 1945268 w 8079933"/>
              <a:gd name="connsiteY26179" fmla="*/ 583036 h 4687251"/>
              <a:gd name="connsiteX26180" fmla="*/ 1942339 w 8079933"/>
              <a:gd name="connsiteY26180" fmla="*/ 586068 h 4687251"/>
              <a:gd name="connsiteX26181" fmla="*/ 1942339 w 8079933"/>
              <a:gd name="connsiteY26181" fmla="*/ 591049 h 4687251"/>
              <a:gd name="connsiteX26182" fmla="*/ 1944183 w 8079933"/>
              <a:gd name="connsiteY26182" fmla="*/ 591915 h 4687251"/>
              <a:gd name="connsiteX26183" fmla="*/ 1946788 w 8079933"/>
              <a:gd name="connsiteY26183" fmla="*/ 587151 h 4687251"/>
              <a:gd name="connsiteX26184" fmla="*/ 1949718 w 8079933"/>
              <a:gd name="connsiteY26184" fmla="*/ 586609 h 4687251"/>
              <a:gd name="connsiteX26185" fmla="*/ 1949718 w 8079933"/>
              <a:gd name="connsiteY26185" fmla="*/ 590615 h 4687251"/>
              <a:gd name="connsiteX26186" fmla="*/ 1953624 w 8079933"/>
              <a:gd name="connsiteY26186" fmla="*/ 593647 h 4687251"/>
              <a:gd name="connsiteX26187" fmla="*/ 1954926 w 8079933"/>
              <a:gd name="connsiteY26187" fmla="*/ 588233 h 4687251"/>
              <a:gd name="connsiteX26188" fmla="*/ 1956988 w 8079933"/>
              <a:gd name="connsiteY26188" fmla="*/ 590291 h 4687251"/>
              <a:gd name="connsiteX26189" fmla="*/ 1957639 w 8079933"/>
              <a:gd name="connsiteY26189" fmla="*/ 592131 h 4687251"/>
              <a:gd name="connsiteX26190" fmla="*/ 1960027 w 8079933"/>
              <a:gd name="connsiteY26190" fmla="*/ 590399 h 4687251"/>
              <a:gd name="connsiteX26191" fmla="*/ 1958291 w 8079933"/>
              <a:gd name="connsiteY26191" fmla="*/ 584769 h 4687251"/>
              <a:gd name="connsiteX26192" fmla="*/ 1957097 w 8079933"/>
              <a:gd name="connsiteY26192" fmla="*/ 580763 h 4687251"/>
              <a:gd name="connsiteX26193" fmla="*/ 1955035 w 8079933"/>
              <a:gd name="connsiteY26193" fmla="*/ 579464 h 4687251"/>
              <a:gd name="connsiteX26194" fmla="*/ 1956771 w 8079933"/>
              <a:gd name="connsiteY26194" fmla="*/ 574266 h 4687251"/>
              <a:gd name="connsiteX26195" fmla="*/ 1960027 w 8079933"/>
              <a:gd name="connsiteY26195" fmla="*/ 574266 h 4687251"/>
              <a:gd name="connsiteX26196" fmla="*/ 1961546 w 8079933"/>
              <a:gd name="connsiteY26196" fmla="*/ 578706 h 4687251"/>
              <a:gd name="connsiteX26197" fmla="*/ 1964693 w 8079933"/>
              <a:gd name="connsiteY26197" fmla="*/ 578598 h 4687251"/>
              <a:gd name="connsiteX26198" fmla="*/ 1964693 w 8079933"/>
              <a:gd name="connsiteY26198" fmla="*/ 574916 h 4687251"/>
              <a:gd name="connsiteX26199" fmla="*/ 1962305 w 8079933"/>
              <a:gd name="connsiteY26199" fmla="*/ 571993 h 4687251"/>
              <a:gd name="connsiteX26200" fmla="*/ 1962414 w 8079933"/>
              <a:gd name="connsiteY26200" fmla="*/ 567879 h 4687251"/>
              <a:gd name="connsiteX26201" fmla="*/ 1957965 w 8079933"/>
              <a:gd name="connsiteY26201" fmla="*/ 564414 h 4687251"/>
              <a:gd name="connsiteX26202" fmla="*/ 1959484 w 8079933"/>
              <a:gd name="connsiteY26202" fmla="*/ 559434 h 4687251"/>
              <a:gd name="connsiteX26203" fmla="*/ 1966212 w 8079933"/>
              <a:gd name="connsiteY26203" fmla="*/ 557268 h 4687251"/>
              <a:gd name="connsiteX26204" fmla="*/ 1970553 w 8079933"/>
              <a:gd name="connsiteY26204" fmla="*/ 562898 h 4687251"/>
              <a:gd name="connsiteX26205" fmla="*/ 1973483 w 8079933"/>
              <a:gd name="connsiteY26205" fmla="*/ 563440 h 4687251"/>
              <a:gd name="connsiteX26206" fmla="*/ 1973157 w 8079933"/>
              <a:gd name="connsiteY26206" fmla="*/ 569069 h 4687251"/>
              <a:gd name="connsiteX26207" fmla="*/ 1971638 w 8079933"/>
              <a:gd name="connsiteY26207" fmla="*/ 571018 h 4687251"/>
              <a:gd name="connsiteX26208" fmla="*/ 1973700 w 8079933"/>
              <a:gd name="connsiteY26208" fmla="*/ 576540 h 4687251"/>
              <a:gd name="connsiteX26209" fmla="*/ 1976196 w 8079933"/>
              <a:gd name="connsiteY26209" fmla="*/ 578164 h 4687251"/>
              <a:gd name="connsiteX26210" fmla="*/ 1975762 w 8079933"/>
              <a:gd name="connsiteY26210" fmla="*/ 588017 h 4687251"/>
              <a:gd name="connsiteX26211" fmla="*/ 1972832 w 8079933"/>
              <a:gd name="connsiteY26211" fmla="*/ 591265 h 4687251"/>
              <a:gd name="connsiteX26212" fmla="*/ 1972397 w 8079933"/>
              <a:gd name="connsiteY26212" fmla="*/ 594730 h 4687251"/>
              <a:gd name="connsiteX26213" fmla="*/ 1974676 w 8079933"/>
              <a:gd name="connsiteY26213" fmla="*/ 595271 h 4687251"/>
              <a:gd name="connsiteX26214" fmla="*/ 1977389 w 8079933"/>
              <a:gd name="connsiteY26214" fmla="*/ 594730 h 4687251"/>
              <a:gd name="connsiteX26215" fmla="*/ 1976955 w 8079933"/>
              <a:gd name="connsiteY26215" fmla="*/ 600360 h 4687251"/>
              <a:gd name="connsiteX26216" fmla="*/ 1971421 w 8079933"/>
              <a:gd name="connsiteY26216" fmla="*/ 603283 h 4687251"/>
              <a:gd name="connsiteX26217" fmla="*/ 1968816 w 8079933"/>
              <a:gd name="connsiteY26217" fmla="*/ 613244 h 4687251"/>
              <a:gd name="connsiteX26218" fmla="*/ 1967623 w 8079933"/>
              <a:gd name="connsiteY26218" fmla="*/ 617250 h 4687251"/>
              <a:gd name="connsiteX26219" fmla="*/ 1967297 w 8079933"/>
              <a:gd name="connsiteY26219" fmla="*/ 621148 h 4687251"/>
              <a:gd name="connsiteX26220" fmla="*/ 1964042 w 8079933"/>
              <a:gd name="connsiteY26220" fmla="*/ 623963 h 4687251"/>
              <a:gd name="connsiteX26221" fmla="*/ 1963174 w 8079933"/>
              <a:gd name="connsiteY26221" fmla="*/ 629809 h 4687251"/>
              <a:gd name="connsiteX26222" fmla="*/ 1959701 w 8079933"/>
              <a:gd name="connsiteY26222" fmla="*/ 636847 h 4687251"/>
              <a:gd name="connsiteX26223" fmla="*/ 1959810 w 8079933"/>
              <a:gd name="connsiteY26223" fmla="*/ 643884 h 4687251"/>
              <a:gd name="connsiteX26224" fmla="*/ 1962414 w 8079933"/>
              <a:gd name="connsiteY26224" fmla="*/ 647024 h 4687251"/>
              <a:gd name="connsiteX26225" fmla="*/ 1961112 w 8079933"/>
              <a:gd name="connsiteY26225" fmla="*/ 650597 h 4687251"/>
              <a:gd name="connsiteX26226" fmla="*/ 1961546 w 8079933"/>
              <a:gd name="connsiteY26226" fmla="*/ 655361 h 4687251"/>
              <a:gd name="connsiteX26227" fmla="*/ 1964801 w 8079933"/>
              <a:gd name="connsiteY26227" fmla="*/ 657310 h 4687251"/>
              <a:gd name="connsiteX26228" fmla="*/ 1966971 w 8079933"/>
              <a:gd name="connsiteY26228" fmla="*/ 655253 h 4687251"/>
              <a:gd name="connsiteX26229" fmla="*/ 1966538 w 8079933"/>
              <a:gd name="connsiteY26229" fmla="*/ 650597 h 4687251"/>
              <a:gd name="connsiteX26230" fmla="*/ 1968708 w 8079933"/>
              <a:gd name="connsiteY26230" fmla="*/ 648323 h 4687251"/>
              <a:gd name="connsiteX26231" fmla="*/ 1971638 w 8079933"/>
              <a:gd name="connsiteY26231" fmla="*/ 649406 h 4687251"/>
              <a:gd name="connsiteX26232" fmla="*/ 1975327 w 8079933"/>
              <a:gd name="connsiteY26232" fmla="*/ 646808 h 4687251"/>
              <a:gd name="connsiteX26233" fmla="*/ 1978474 w 8079933"/>
              <a:gd name="connsiteY26233" fmla="*/ 646050 h 4687251"/>
              <a:gd name="connsiteX26234" fmla="*/ 1981405 w 8079933"/>
              <a:gd name="connsiteY26234" fmla="*/ 647457 h 4687251"/>
              <a:gd name="connsiteX26235" fmla="*/ 1981405 w 8079933"/>
              <a:gd name="connsiteY26235" fmla="*/ 643343 h 4687251"/>
              <a:gd name="connsiteX26236" fmla="*/ 1977281 w 8079933"/>
              <a:gd name="connsiteY26236" fmla="*/ 641503 h 4687251"/>
              <a:gd name="connsiteX26237" fmla="*/ 1975327 w 8079933"/>
              <a:gd name="connsiteY26237" fmla="*/ 639229 h 4687251"/>
              <a:gd name="connsiteX26238" fmla="*/ 1980428 w 8079933"/>
              <a:gd name="connsiteY26238" fmla="*/ 639229 h 4687251"/>
              <a:gd name="connsiteX26239" fmla="*/ 1981079 w 8079933"/>
              <a:gd name="connsiteY26239" fmla="*/ 635764 h 4687251"/>
              <a:gd name="connsiteX26240" fmla="*/ 1978692 w 8079933"/>
              <a:gd name="connsiteY26240" fmla="*/ 632191 h 4687251"/>
              <a:gd name="connsiteX26241" fmla="*/ 1982055 w 8079933"/>
              <a:gd name="connsiteY26241" fmla="*/ 627752 h 4687251"/>
              <a:gd name="connsiteX26242" fmla="*/ 1982598 w 8079933"/>
              <a:gd name="connsiteY26242" fmla="*/ 622880 h 4687251"/>
              <a:gd name="connsiteX26243" fmla="*/ 1984009 w 8079933"/>
              <a:gd name="connsiteY26243" fmla="*/ 618441 h 4687251"/>
              <a:gd name="connsiteX26244" fmla="*/ 1982490 w 8079933"/>
              <a:gd name="connsiteY26244" fmla="*/ 615734 h 4687251"/>
              <a:gd name="connsiteX26245" fmla="*/ 1985745 w 8079933"/>
              <a:gd name="connsiteY26245" fmla="*/ 607939 h 4687251"/>
              <a:gd name="connsiteX26246" fmla="*/ 1987807 w 8079933"/>
              <a:gd name="connsiteY26246" fmla="*/ 608805 h 4687251"/>
              <a:gd name="connsiteX26247" fmla="*/ 1991388 w 8079933"/>
              <a:gd name="connsiteY26247" fmla="*/ 606423 h 4687251"/>
              <a:gd name="connsiteX26248" fmla="*/ 1991931 w 8079933"/>
              <a:gd name="connsiteY26248" fmla="*/ 596787 h 4687251"/>
              <a:gd name="connsiteX26249" fmla="*/ 1995403 w 8079933"/>
              <a:gd name="connsiteY26249" fmla="*/ 594513 h 4687251"/>
              <a:gd name="connsiteX26250" fmla="*/ 1995729 w 8079933"/>
              <a:gd name="connsiteY26250" fmla="*/ 590615 h 4687251"/>
              <a:gd name="connsiteX26251" fmla="*/ 1997248 w 8079933"/>
              <a:gd name="connsiteY26251" fmla="*/ 589208 h 4687251"/>
              <a:gd name="connsiteX26252" fmla="*/ 1997574 w 8079933"/>
              <a:gd name="connsiteY26252" fmla="*/ 583578 h 4687251"/>
              <a:gd name="connsiteX26253" fmla="*/ 2000178 w 8079933"/>
              <a:gd name="connsiteY26253" fmla="*/ 579789 h 4687251"/>
              <a:gd name="connsiteX26254" fmla="*/ 2000178 w 8079933"/>
              <a:gd name="connsiteY26254" fmla="*/ 574916 h 4687251"/>
              <a:gd name="connsiteX26255" fmla="*/ 2003976 w 8079933"/>
              <a:gd name="connsiteY26255" fmla="*/ 563440 h 4687251"/>
              <a:gd name="connsiteX26256" fmla="*/ 2006906 w 8079933"/>
              <a:gd name="connsiteY26256" fmla="*/ 561707 h 4687251"/>
              <a:gd name="connsiteX26257" fmla="*/ 2006906 w 8079933"/>
              <a:gd name="connsiteY26257" fmla="*/ 558784 h 4687251"/>
              <a:gd name="connsiteX26258" fmla="*/ 2009293 w 8079933"/>
              <a:gd name="connsiteY26258" fmla="*/ 553154 h 4687251"/>
              <a:gd name="connsiteX26259" fmla="*/ 2012549 w 8079933"/>
              <a:gd name="connsiteY26259" fmla="*/ 554020 h 4687251"/>
              <a:gd name="connsiteX26260" fmla="*/ 2014285 w 8079933"/>
              <a:gd name="connsiteY26260" fmla="*/ 552720 h 4687251"/>
              <a:gd name="connsiteX26261" fmla="*/ 2013417 w 8079933"/>
              <a:gd name="connsiteY26261" fmla="*/ 546766 h 4687251"/>
              <a:gd name="connsiteX26262" fmla="*/ 2016564 w 8079933"/>
              <a:gd name="connsiteY26262" fmla="*/ 545034 h 4687251"/>
              <a:gd name="connsiteX26263" fmla="*/ 2019820 w 8079933"/>
              <a:gd name="connsiteY26263" fmla="*/ 548823 h 4687251"/>
              <a:gd name="connsiteX26264" fmla="*/ 2022966 w 8079933"/>
              <a:gd name="connsiteY26264" fmla="*/ 549364 h 4687251"/>
              <a:gd name="connsiteX26265" fmla="*/ 2027958 w 8079933"/>
              <a:gd name="connsiteY26265" fmla="*/ 558459 h 4687251"/>
              <a:gd name="connsiteX26266" fmla="*/ 2030129 w 8079933"/>
              <a:gd name="connsiteY26266" fmla="*/ 558567 h 4687251"/>
              <a:gd name="connsiteX26267" fmla="*/ 2030997 w 8079933"/>
              <a:gd name="connsiteY26267" fmla="*/ 552396 h 4687251"/>
              <a:gd name="connsiteX26268" fmla="*/ 2032950 w 8079933"/>
              <a:gd name="connsiteY26268" fmla="*/ 552071 h 4687251"/>
              <a:gd name="connsiteX26269" fmla="*/ 2034795 w 8079933"/>
              <a:gd name="connsiteY26269" fmla="*/ 554128 h 4687251"/>
              <a:gd name="connsiteX26270" fmla="*/ 2039135 w 8079933"/>
              <a:gd name="connsiteY26270" fmla="*/ 554994 h 4687251"/>
              <a:gd name="connsiteX26271" fmla="*/ 2042391 w 8079933"/>
              <a:gd name="connsiteY26271" fmla="*/ 563115 h 4687251"/>
              <a:gd name="connsiteX26272" fmla="*/ 2040872 w 8079933"/>
              <a:gd name="connsiteY26272" fmla="*/ 565281 h 4687251"/>
              <a:gd name="connsiteX26273" fmla="*/ 2042933 w 8079933"/>
              <a:gd name="connsiteY26273" fmla="*/ 572210 h 4687251"/>
              <a:gd name="connsiteX26274" fmla="*/ 2047057 w 8079933"/>
              <a:gd name="connsiteY26274" fmla="*/ 574375 h 4687251"/>
              <a:gd name="connsiteX26275" fmla="*/ 2047057 w 8079933"/>
              <a:gd name="connsiteY26275" fmla="*/ 578056 h 4687251"/>
              <a:gd name="connsiteX26276" fmla="*/ 2046298 w 8079933"/>
              <a:gd name="connsiteY26276" fmla="*/ 580979 h 4687251"/>
              <a:gd name="connsiteX26277" fmla="*/ 2048793 w 8079933"/>
              <a:gd name="connsiteY26277" fmla="*/ 585960 h 4687251"/>
              <a:gd name="connsiteX26278" fmla="*/ 2048468 w 8079933"/>
              <a:gd name="connsiteY26278" fmla="*/ 590615 h 4687251"/>
              <a:gd name="connsiteX26279" fmla="*/ 2045321 w 8079933"/>
              <a:gd name="connsiteY26279" fmla="*/ 591481 h 4687251"/>
              <a:gd name="connsiteX26280" fmla="*/ 2044778 w 8079933"/>
              <a:gd name="connsiteY26280" fmla="*/ 594730 h 4687251"/>
              <a:gd name="connsiteX26281" fmla="*/ 2045321 w 8079933"/>
              <a:gd name="connsiteY26281" fmla="*/ 599927 h 4687251"/>
              <a:gd name="connsiteX26282" fmla="*/ 2040112 w 8079933"/>
              <a:gd name="connsiteY26282" fmla="*/ 605665 h 4687251"/>
              <a:gd name="connsiteX26283" fmla="*/ 2040112 w 8079933"/>
              <a:gd name="connsiteY26283" fmla="*/ 610213 h 4687251"/>
              <a:gd name="connsiteX26284" fmla="*/ 2037182 w 8079933"/>
              <a:gd name="connsiteY26284" fmla="*/ 611403 h 4687251"/>
              <a:gd name="connsiteX26285" fmla="*/ 2037182 w 8079933"/>
              <a:gd name="connsiteY26285" fmla="*/ 620499 h 4687251"/>
              <a:gd name="connsiteX26286" fmla="*/ 2034686 w 8079933"/>
              <a:gd name="connsiteY26286" fmla="*/ 623638 h 4687251"/>
              <a:gd name="connsiteX26287" fmla="*/ 2034144 w 8079933"/>
              <a:gd name="connsiteY26287" fmla="*/ 627536 h 4687251"/>
              <a:gd name="connsiteX26288" fmla="*/ 2029261 w 8079933"/>
              <a:gd name="connsiteY26288" fmla="*/ 634032 h 4687251"/>
              <a:gd name="connsiteX26289" fmla="*/ 2028935 w 8079933"/>
              <a:gd name="connsiteY26289" fmla="*/ 640961 h 4687251"/>
              <a:gd name="connsiteX26290" fmla="*/ 2026005 w 8079933"/>
              <a:gd name="connsiteY26290" fmla="*/ 641503 h 4687251"/>
              <a:gd name="connsiteX26291" fmla="*/ 2024268 w 8079933"/>
              <a:gd name="connsiteY26291" fmla="*/ 647024 h 4687251"/>
              <a:gd name="connsiteX26292" fmla="*/ 2027741 w 8079933"/>
              <a:gd name="connsiteY26292" fmla="*/ 654712 h 4687251"/>
              <a:gd name="connsiteX26293" fmla="*/ 2026765 w 8079933"/>
              <a:gd name="connsiteY26293" fmla="*/ 657310 h 4687251"/>
              <a:gd name="connsiteX26294" fmla="*/ 2026765 w 8079933"/>
              <a:gd name="connsiteY26294" fmla="*/ 663481 h 4687251"/>
              <a:gd name="connsiteX26295" fmla="*/ 2022423 w 8079933"/>
              <a:gd name="connsiteY26295" fmla="*/ 672792 h 4687251"/>
              <a:gd name="connsiteX26296" fmla="*/ 2022207 w 8079933"/>
              <a:gd name="connsiteY26296" fmla="*/ 676907 h 4687251"/>
              <a:gd name="connsiteX26297" fmla="*/ 2019169 w 8079933"/>
              <a:gd name="connsiteY26297" fmla="*/ 678964 h 4687251"/>
              <a:gd name="connsiteX26298" fmla="*/ 2018300 w 8079933"/>
              <a:gd name="connsiteY26298" fmla="*/ 677557 h 4687251"/>
              <a:gd name="connsiteX26299" fmla="*/ 2015153 w 8079933"/>
              <a:gd name="connsiteY26299" fmla="*/ 677557 h 4687251"/>
              <a:gd name="connsiteX26300" fmla="*/ 2013634 w 8079933"/>
              <a:gd name="connsiteY26300" fmla="*/ 682537 h 4687251"/>
              <a:gd name="connsiteX26301" fmla="*/ 2008859 w 8079933"/>
              <a:gd name="connsiteY26301" fmla="*/ 683078 h 4687251"/>
              <a:gd name="connsiteX26302" fmla="*/ 2008859 w 8079933"/>
              <a:gd name="connsiteY26302" fmla="*/ 686326 h 4687251"/>
              <a:gd name="connsiteX26303" fmla="*/ 2010487 w 8079933"/>
              <a:gd name="connsiteY26303" fmla="*/ 689466 h 4687251"/>
              <a:gd name="connsiteX26304" fmla="*/ 2010704 w 8079933"/>
              <a:gd name="connsiteY26304" fmla="*/ 694014 h 4687251"/>
              <a:gd name="connsiteX26305" fmla="*/ 2013959 w 8079933"/>
              <a:gd name="connsiteY26305" fmla="*/ 698344 h 4687251"/>
              <a:gd name="connsiteX26306" fmla="*/ 2014827 w 8079933"/>
              <a:gd name="connsiteY26306" fmla="*/ 706140 h 4687251"/>
              <a:gd name="connsiteX26307" fmla="*/ 2017757 w 8079933"/>
              <a:gd name="connsiteY26307" fmla="*/ 707872 h 4687251"/>
              <a:gd name="connsiteX26308" fmla="*/ 2019169 w 8079933"/>
              <a:gd name="connsiteY26308" fmla="*/ 717616 h 4687251"/>
              <a:gd name="connsiteX26309" fmla="*/ 2024160 w 8079933"/>
              <a:gd name="connsiteY26309" fmla="*/ 720323 h 4687251"/>
              <a:gd name="connsiteX26310" fmla="*/ 2027741 w 8079933"/>
              <a:gd name="connsiteY26310" fmla="*/ 725412 h 4687251"/>
              <a:gd name="connsiteX26311" fmla="*/ 2027416 w 8079933"/>
              <a:gd name="connsiteY26311" fmla="*/ 720648 h 4687251"/>
              <a:gd name="connsiteX26312" fmla="*/ 2030129 w 8079933"/>
              <a:gd name="connsiteY26312" fmla="*/ 715234 h 4687251"/>
              <a:gd name="connsiteX26313" fmla="*/ 2032299 w 8079933"/>
              <a:gd name="connsiteY26313" fmla="*/ 722164 h 4687251"/>
              <a:gd name="connsiteX26314" fmla="*/ 2030129 w 8079933"/>
              <a:gd name="connsiteY26314" fmla="*/ 727252 h 4687251"/>
              <a:gd name="connsiteX26315" fmla="*/ 2030671 w 8079933"/>
              <a:gd name="connsiteY26315" fmla="*/ 733099 h 4687251"/>
              <a:gd name="connsiteX26316" fmla="*/ 2034035 w 8079933"/>
              <a:gd name="connsiteY26316" fmla="*/ 740354 h 4687251"/>
              <a:gd name="connsiteX26317" fmla="*/ 2034035 w 8079933"/>
              <a:gd name="connsiteY26317" fmla="*/ 743818 h 4687251"/>
              <a:gd name="connsiteX26318" fmla="*/ 2038375 w 8079933"/>
              <a:gd name="connsiteY26318" fmla="*/ 747391 h 4687251"/>
              <a:gd name="connsiteX26319" fmla="*/ 2039135 w 8079933"/>
              <a:gd name="connsiteY26319" fmla="*/ 749448 h 4687251"/>
              <a:gd name="connsiteX26320" fmla="*/ 2043585 w 8079933"/>
              <a:gd name="connsiteY26320" fmla="*/ 748907 h 4687251"/>
              <a:gd name="connsiteX26321" fmla="*/ 2044995 w 8079933"/>
              <a:gd name="connsiteY26321" fmla="*/ 751289 h 4687251"/>
              <a:gd name="connsiteX26322" fmla="*/ 2042933 w 8079933"/>
              <a:gd name="connsiteY26322" fmla="*/ 752696 h 4687251"/>
              <a:gd name="connsiteX26323" fmla="*/ 2042933 w 8079933"/>
              <a:gd name="connsiteY26323" fmla="*/ 757893 h 4687251"/>
              <a:gd name="connsiteX26324" fmla="*/ 2045646 w 8079933"/>
              <a:gd name="connsiteY26324" fmla="*/ 755728 h 4687251"/>
              <a:gd name="connsiteX26325" fmla="*/ 2048251 w 8079933"/>
              <a:gd name="connsiteY26325" fmla="*/ 757027 h 4687251"/>
              <a:gd name="connsiteX26326" fmla="*/ 2050964 w 8079933"/>
              <a:gd name="connsiteY26326" fmla="*/ 756702 h 4687251"/>
              <a:gd name="connsiteX26327" fmla="*/ 2051723 w 8079933"/>
              <a:gd name="connsiteY26327" fmla="*/ 759084 h 4687251"/>
              <a:gd name="connsiteX26328" fmla="*/ 2049987 w 8079933"/>
              <a:gd name="connsiteY26328" fmla="*/ 761141 h 4687251"/>
              <a:gd name="connsiteX26329" fmla="*/ 2051181 w 8079933"/>
              <a:gd name="connsiteY26329" fmla="*/ 766230 h 4687251"/>
              <a:gd name="connsiteX26330" fmla="*/ 2048902 w 8079933"/>
              <a:gd name="connsiteY26330" fmla="*/ 771211 h 4687251"/>
              <a:gd name="connsiteX26331" fmla="*/ 2047274 w 8079933"/>
              <a:gd name="connsiteY26331" fmla="*/ 778140 h 4687251"/>
              <a:gd name="connsiteX26332" fmla="*/ 2041848 w 8079933"/>
              <a:gd name="connsiteY26332" fmla="*/ 782796 h 4687251"/>
              <a:gd name="connsiteX26333" fmla="*/ 2039787 w 8079933"/>
              <a:gd name="connsiteY26333" fmla="*/ 786043 h 4687251"/>
              <a:gd name="connsiteX26334" fmla="*/ 2036857 w 8079933"/>
              <a:gd name="connsiteY26334" fmla="*/ 784095 h 4687251"/>
              <a:gd name="connsiteX26335" fmla="*/ 2033384 w 8079933"/>
              <a:gd name="connsiteY26335" fmla="*/ 783986 h 4687251"/>
              <a:gd name="connsiteX26336" fmla="*/ 2032407 w 8079933"/>
              <a:gd name="connsiteY26336" fmla="*/ 776624 h 4687251"/>
              <a:gd name="connsiteX26337" fmla="*/ 2036205 w 8079933"/>
              <a:gd name="connsiteY26337" fmla="*/ 772076 h 4687251"/>
              <a:gd name="connsiteX26338" fmla="*/ 2037182 w 8079933"/>
              <a:gd name="connsiteY26338" fmla="*/ 767096 h 4687251"/>
              <a:gd name="connsiteX26339" fmla="*/ 2034252 w 8079933"/>
              <a:gd name="connsiteY26339" fmla="*/ 768287 h 4687251"/>
              <a:gd name="connsiteX26340" fmla="*/ 2030671 w 8079933"/>
              <a:gd name="connsiteY26340" fmla="*/ 775325 h 4687251"/>
              <a:gd name="connsiteX26341" fmla="*/ 2028284 w 8079933"/>
              <a:gd name="connsiteY26341" fmla="*/ 777057 h 4687251"/>
              <a:gd name="connsiteX26342" fmla="*/ 2026222 w 8079933"/>
              <a:gd name="connsiteY26342" fmla="*/ 782254 h 4687251"/>
              <a:gd name="connsiteX26343" fmla="*/ 2023292 w 8079933"/>
              <a:gd name="connsiteY26343" fmla="*/ 782254 h 4687251"/>
              <a:gd name="connsiteX26344" fmla="*/ 2025354 w 8079933"/>
              <a:gd name="connsiteY26344" fmla="*/ 778464 h 4687251"/>
              <a:gd name="connsiteX26345" fmla="*/ 2023292 w 8079933"/>
              <a:gd name="connsiteY26345" fmla="*/ 777274 h 4687251"/>
              <a:gd name="connsiteX26346" fmla="*/ 2021339 w 8079933"/>
              <a:gd name="connsiteY26346" fmla="*/ 778356 h 4687251"/>
              <a:gd name="connsiteX26347" fmla="*/ 2021013 w 8079933"/>
              <a:gd name="connsiteY26347" fmla="*/ 772293 h 4687251"/>
              <a:gd name="connsiteX26348" fmla="*/ 2024486 w 8079933"/>
              <a:gd name="connsiteY26348" fmla="*/ 764714 h 4687251"/>
              <a:gd name="connsiteX26349" fmla="*/ 2020470 w 8079933"/>
              <a:gd name="connsiteY26349" fmla="*/ 768287 h 4687251"/>
              <a:gd name="connsiteX26350" fmla="*/ 2018734 w 8079933"/>
              <a:gd name="connsiteY26350" fmla="*/ 768179 h 4687251"/>
              <a:gd name="connsiteX26351" fmla="*/ 2017975 w 8079933"/>
              <a:gd name="connsiteY26351" fmla="*/ 764064 h 4687251"/>
              <a:gd name="connsiteX26352" fmla="*/ 2016347 w 8079933"/>
              <a:gd name="connsiteY26352" fmla="*/ 769045 h 4687251"/>
              <a:gd name="connsiteX26353" fmla="*/ 2012549 w 8079933"/>
              <a:gd name="connsiteY26353" fmla="*/ 772618 h 4687251"/>
              <a:gd name="connsiteX26354" fmla="*/ 2010161 w 8079933"/>
              <a:gd name="connsiteY26354" fmla="*/ 773268 h 4687251"/>
              <a:gd name="connsiteX26355" fmla="*/ 2008643 w 8079933"/>
              <a:gd name="connsiteY26355" fmla="*/ 771644 h 4687251"/>
              <a:gd name="connsiteX26356" fmla="*/ 2005387 w 8079933"/>
              <a:gd name="connsiteY26356" fmla="*/ 771752 h 4687251"/>
              <a:gd name="connsiteX26357" fmla="*/ 2005170 w 8079933"/>
              <a:gd name="connsiteY26357" fmla="*/ 773701 h 4687251"/>
              <a:gd name="connsiteX26358" fmla="*/ 2007774 w 8079933"/>
              <a:gd name="connsiteY26358" fmla="*/ 775866 h 4687251"/>
              <a:gd name="connsiteX26359" fmla="*/ 2005495 w 8079933"/>
              <a:gd name="connsiteY26359" fmla="*/ 781280 h 4687251"/>
              <a:gd name="connsiteX26360" fmla="*/ 2000720 w 8079933"/>
              <a:gd name="connsiteY26360" fmla="*/ 781388 h 4687251"/>
              <a:gd name="connsiteX26361" fmla="*/ 1998442 w 8079933"/>
              <a:gd name="connsiteY26361" fmla="*/ 782470 h 4687251"/>
              <a:gd name="connsiteX26362" fmla="*/ 1995403 w 8079933"/>
              <a:gd name="connsiteY26362" fmla="*/ 779331 h 4687251"/>
              <a:gd name="connsiteX26363" fmla="*/ 1993341 w 8079933"/>
              <a:gd name="connsiteY26363" fmla="*/ 772835 h 4687251"/>
              <a:gd name="connsiteX26364" fmla="*/ 1993992 w 8079933"/>
              <a:gd name="connsiteY26364" fmla="*/ 770236 h 4687251"/>
              <a:gd name="connsiteX26365" fmla="*/ 1990737 w 8079933"/>
              <a:gd name="connsiteY26365" fmla="*/ 770019 h 4687251"/>
              <a:gd name="connsiteX26366" fmla="*/ 1987916 w 8079933"/>
              <a:gd name="connsiteY26366" fmla="*/ 773701 h 4687251"/>
              <a:gd name="connsiteX26367" fmla="*/ 1991062 w 8079933"/>
              <a:gd name="connsiteY26367" fmla="*/ 779547 h 4687251"/>
              <a:gd name="connsiteX26368" fmla="*/ 1987048 w 8079933"/>
              <a:gd name="connsiteY26368" fmla="*/ 782470 h 4687251"/>
              <a:gd name="connsiteX26369" fmla="*/ 1987265 w 8079933"/>
              <a:gd name="connsiteY26369" fmla="*/ 786260 h 4687251"/>
              <a:gd name="connsiteX26370" fmla="*/ 1989326 w 8079933"/>
              <a:gd name="connsiteY26370" fmla="*/ 787235 h 4687251"/>
              <a:gd name="connsiteX26371" fmla="*/ 1991279 w 8079933"/>
              <a:gd name="connsiteY26371" fmla="*/ 784095 h 4687251"/>
              <a:gd name="connsiteX26372" fmla="*/ 1991388 w 8079933"/>
              <a:gd name="connsiteY26372" fmla="*/ 789508 h 4687251"/>
              <a:gd name="connsiteX26373" fmla="*/ 1988784 w 8079933"/>
              <a:gd name="connsiteY26373" fmla="*/ 792865 h 4687251"/>
              <a:gd name="connsiteX26374" fmla="*/ 1983683 w 8079933"/>
              <a:gd name="connsiteY26374" fmla="*/ 796004 h 4687251"/>
              <a:gd name="connsiteX26375" fmla="*/ 1983575 w 8079933"/>
              <a:gd name="connsiteY26375" fmla="*/ 798062 h 4687251"/>
              <a:gd name="connsiteX26376" fmla="*/ 1988133 w 8079933"/>
              <a:gd name="connsiteY26376" fmla="*/ 795139 h 4687251"/>
              <a:gd name="connsiteX26377" fmla="*/ 1993776 w 8079933"/>
              <a:gd name="connsiteY26377" fmla="*/ 789292 h 4687251"/>
              <a:gd name="connsiteX26378" fmla="*/ 1999527 w 8079933"/>
              <a:gd name="connsiteY26378" fmla="*/ 789508 h 4687251"/>
              <a:gd name="connsiteX26379" fmla="*/ 2002348 w 8079933"/>
              <a:gd name="connsiteY26379" fmla="*/ 791132 h 4687251"/>
              <a:gd name="connsiteX26380" fmla="*/ 2004085 w 8079933"/>
              <a:gd name="connsiteY26380" fmla="*/ 789400 h 4687251"/>
              <a:gd name="connsiteX26381" fmla="*/ 2004410 w 8079933"/>
              <a:gd name="connsiteY26381" fmla="*/ 786476 h 4687251"/>
              <a:gd name="connsiteX26382" fmla="*/ 2007448 w 8079933"/>
              <a:gd name="connsiteY26382" fmla="*/ 785394 h 4687251"/>
              <a:gd name="connsiteX26383" fmla="*/ 2012223 w 8079933"/>
              <a:gd name="connsiteY26383" fmla="*/ 788101 h 4687251"/>
              <a:gd name="connsiteX26384" fmla="*/ 2011789 w 8079933"/>
              <a:gd name="connsiteY26384" fmla="*/ 792107 h 4687251"/>
              <a:gd name="connsiteX26385" fmla="*/ 2008100 w 8079933"/>
              <a:gd name="connsiteY26385" fmla="*/ 792865 h 4687251"/>
              <a:gd name="connsiteX26386" fmla="*/ 2006580 w 8079933"/>
              <a:gd name="connsiteY26386" fmla="*/ 796654 h 4687251"/>
              <a:gd name="connsiteX26387" fmla="*/ 2007448 w 8079933"/>
              <a:gd name="connsiteY26387" fmla="*/ 800227 h 4687251"/>
              <a:gd name="connsiteX26388" fmla="*/ 2011138 w 8079933"/>
              <a:gd name="connsiteY26388" fmla="*/ 800335 h 4687251"/>
              <a:gd name="connsiteX26389" fmla="*/ 2011355 w 8079933"/>
              <a:gd name="connsiteY26389" fmla="*/ 803475 h 4687251"/>
              <a:gd name="connsiteX26390" fmla="*/ 2009184 w 8079933"/>
              <a:gd name="connsiteY26390" fmla="*/ 806182 h 4687251"/>
              <a:gd name="connsiteX26391" fmla="*/ 2009184 w 8079933"/>
              <a:gd name="connsiteY26391" fmla="*/ 808131 h 4687251"/>
              <a:gd name="connsiteX26392" fmla="*/ 2006255 w 8079933"/>
              <a:gd name="connsiteY26392" fmla="*/ 811487 h 4687251"/>
              <a:gd name="connsiteX26393" fmla="*/ 2007123 w 8079933"/>
              <a:gd name="connsiteY26393" fmla="*/ 814194 h 4687251"/>
              <a:gd name="connsiteX26394" fmla="*/ 2006580 w 8079933"/>
              <a:gd name="connsiteY26394" fmla="*/ 815926 h 4687251"/>
              <a:gd name="connsiteX26395" fmla="*/ 2004627 w 8079933"/>
              <a:gd name="connsiteY26395" fmla="*/ 816792 h 4687251"/>
              <a:gd name="connsiteX26396" fmla="*/ 2002782 w 8079933"/>
              <a:gd name="connsiteY26396" fmla="*/ 816035 h 4687251"/>
              <a:gd name="connsiteX26397" fmla="*/ 2001805 w 8079933"/>
              <a:gd name="connsiteY26397" fmla="*/ 814410 h 4687251"/>
              <a:gd name="connsiteX26398" fmla="*/ 1998659 w 8079933"/>
              <a:gd name="connsiteY26398" fmla="*/ 814086 h 4687251"/>
              <a:gd name="connsiteX26399" fmla="*/ 1996054 w 8079933"/>
              <a:gd name="connsiteY26399" fmla="*/ 816792 h 4687251"/>
              <a:gd name="connsiteX26400" fmla="*/ 1994861 w 8079933"/>
              <a:gd name="connsiteY26400" fmla="*/ 817333 h 4687251"/>
              <a:gd name="connsiteX26401" fmla="*/ 1993341 w 8079933"/>
              <a:gd name="connsiteY26401" fmla="*/ 819391 h 4687251"/>
              <a:gd name="connsiteX26402" fmla="*/ 1991388 w 8079933"/>
              <a:gd name="connsiteY26402" fmla="*/ 819499 h 4687251"/>
              <a:gd name="connsiteX26403" fmla="*/ 1990628 w 8079933"/>
              <a:gd name="connsiteY26403" fmla="*/ 816576 h 4687251"/>
              <a:gd name="connsiteX26404" fmla="*/ 1988784 w 8079933"/>
              <a:gd name="connsiteY26404" fmla="*/ 815493 h 4687251"/>
              <a:gd name="connsiteX26405" fmla="*/ 1986288 w 8079933"/>
              <a:gd name="connsiteY26405" fmla="*/ 818958 h 4687251"/>
              <a:gd name="connsiteX26406" fmla="*/ 1982598 w 8079933"/>
              <a:gd name="connsiteY26406" fmla="*/ 820041 h 4687251"/>
              <a:gd name="connsiteX26407" fmla="*/ 1980970 w 8079933"/>
              <a:gd name="connsiteY26407" fmla="*/ 819066 h 4687251"/>
              <a:gd name="connsiteX26408" fmla="*/ 1981187 w 8079933"/>
              <a:gd name="connsiteY26408" fmla="*/ 815818 h 4687251"/>
              <a:gd name="connsiteX26409" fmla="*/ 1979342 w 8079933"/>
              <a:gd name="connsiteY26409" fmla="*/ 814302 h 4687251"/>
              <a:gd name="connsiteX26410" fmla="*/ 1976087 w 8079933"/>
              <a:gd name="connsiteY26410" fmla="*/ 815493 h 4687251"/>
              <a:gd name="connsiteX26411" fmla="*/ 1973917 w 8079933"/>
              <a:gd name="connsiteY26411" fmla="*/ 815493 h 4687251"/>
              <a:gd name="connsiteX26412" fmla="*/ 1974134 w 8079933"/>
              <a:gd name="connsiteY26412" fmla="*/ 819282 h 4687251"/>
              <a:gd name="connsiteX26413" fmla="*/ 1972397 w 8079933"/>
              <a:gd name="connsiteY26413" fmla="*/ 819174 h 4687251"/>
              <a:gd name="connsiteX26414" fmla="*/ 1970336 w 8079933"/>
              <a:gd name="connsiteY26414" fmla="*/ 816684 h 4687251"/>
              <a:gd name="connsiteX26415" fmla="*/ 1966863 w 8079933"/>
              <a:gd name="connsiteY26415" fmla="*/ 816684 h 4687251"/>
              <a:gd name="connsiteX26416" fmla="*/ 1964801 w 8079933"/>
              <a:gd name="connsiteY26416" fmla="*/ 813653 h 4687251"/>
              <a:gd name="connsiteX26417" fmla="*/ 1961112 w 8079933"/>
              <a:gd name="connsiteY26417" fmla="*/ 812678 h 4687251"/>
              <a:gd name="connsiteX26418" fmla="*/ 1958399 w 8079933"/>
              <a:gd name="connsiteY26418" fmla="*/ 814519 h 4687251"/>
              <a:gd name="connsiteX26419" fmla="*/ 1955578 w 8079933"/>
              <a:gd name="connsiteY26419" fmla="*/ 813653 h 4687251"/>
              <a:gd name="connsiteX26420" fmla="*/ 1952973 w 8079933"/>
              <a:gd name="connsiteY26420" fmla="*/ 808997 h 4687251"/>
              <a:gd name="connsiteX26421" fmla="*/ 1953299 w 8079933"/>
              <a:gd name="connsiteY26421" fmla="*/ 805099 h 4687251"/>
              <a:gd name="connsiteX26422" fmla="*/ 1951779 w 8079933"/>
              <a:gd name="connsiteY26422" fmla="*/ 804991 h 4687251"/>
              <a:gd name="connsiteX26423" fmla="*/ 1948306 w 8079933"/>
              <a:gd name="connsiteY26423" fmla="*/ 809755 h 4687251"/>
              <a:gd name="connsiteX26424" fmla="*/ 1945377 w 8079933"/>
              <a:gd name="connsiteY26424" fmla="*/ 810729 h 4687251"/>
              <a:gd name="connsiteX26425" fmla="*/ 1941687 w 8079933"/>
              <a:gd name="connsiteY26425" fmla="*/ 807590 h 4687251"/>
              <a:gd name="connsiteX26426" fmla="*/ 1938757 w 8079933"/>
              <a:gd name="connsiteY26426" fmla="*/ 806939 h 4687251"/>
              <a:gd name="connsiteX26427" fmla="*/ 1936262 w 8079933"/>
              <a:gd name="connsiteY26427" fmla="*/ 806939 h 4687251"/>
              <a:gd name="connsiteX26428" fmla="*/ 1935719 w 8079933"/>
              <a:gd name="connsiteY26428" fmla="*/ 804666 h 4687251"/>
              <a:gd name="connsiteX26429" fmla="*/ 1938324 w 8079933"/>
              <a:gd name="connsiteY26429" fmla="*/ 801418 h 4687251"/>
              <a:gd name="connsiteX26430" fmla="*/ 1941796 w 8079933"/>
              <a:gd name="connsiteY26430" fmla="*/ 801418 h 4687251"/>
              <a:gd name="connsiteX26431" fmla="*/ 1944726 w 8079933"/>
              <a:gd name="connsiteY26431" fmla="*/ 798603 h 4687251"/>
              <a:gd name="connsiteX26432" fmla="*/ 1944726 w 8079933"/>
              <a:gd name="connsiteY26432" fmla="*/ 795571 h 4687251"/>
              <a:gd name="connsiteX26433" fmla="*/ 1941796 w 8079933"/>
              <a:gd name="connsiteY26433" fmla="*/ 794272 h 4687251"/>
              <a:gd name="connsiteX26434" fmla="*/ 1940385 w 8079933"/>
              <a:gd name="connsiteY26434" fmla="*/ 795680 h 4687251"/>
              <a:gd name="connsiteX26435" fmla="*/ 1940168 w 8079933"/>
              <a:gd name="connsiteY26435" fmla="*/ 797737 h 4687251"/>
              <a:gd name="connsiteX26436" fmla="*/ 1938215 w 8079933"/>
              <a:gd name="connsiteY26436" fmla="*/ 795896 h 4687251"/>
              <a:gd name="connsiteX26437" fmla="*/ 1936804 w 8079933"/>
              <a:gd name="connsiteY26437" fmla="*/ 791674 h 4687251"/>
              <a:gd name="connsiteX26438" fmla="*/ 1932898 w 8079933"/>
              <a:gd name="connsiteY26438" fmla="*/ 789725 h 4687251"/>
              <a:gd name="connsiteX26439" fmla="*/ 1929968 w 8079933"/>
              <a:gd name="connsiteY26439" fmla="*/ 790049 h 4687251"/>
              <a:gd name="connsiteX26440" fmla="*/ 1928557 w 8079933"/>
              <a:gd name="connsiteY26440" fmla="*/ 791241 h 4687251"/>
              <a:gd name="connsiteX26441" fmla="*/ 1924976 w 8079933"/>
              <a:gd name="connsiteY26441" fmla="*/ 788317 h 4687251"/>
              <a:gd name="connsiteX26442" fmla="*/ 1921829 w 8079933"/>
              <a:gd name="connsiteY26442" fmla="*/ 787668 h 4687251"/>
              <a:gd name="connsiteX26443" fmla="*/ 1921504 w 8079933"/>
              <a:gd name="connsiteY26443" fmla="*/ 786043 h 4687251"/>
              <a:gd name="connsiteX26444" fmla="*/ 1923782 w 8079933"/>
              <a:gd name="connsiteY26444" fmla="*/ 784419 h 4687251"/>
              <a:gd name="connsiteX26445" fmla="*/ 1925735 w 8079933"/>
              <a:gd name="connsiteY26445" fmla="*/ 781496 h 4687251"/>
              <a:gd name="connsiteX26446" fmla="*/ 1925735 w 8079933"/>
              <a:gd name="connsiteY26446" fmla="*/ 778573 h 4687251"/>
              <a:gd name="connsiteX26447" fmla="*/ 1929208 w 8079933"/>
              <a:gd name="connsiteY26447" fmla="*/ 776299 h 4687251"/>
              <a:gd name="connsiteX26448" fmla="*/ 1927580 w 8079933"/>
              <a:gd name="connsiteY26448" fmla="*/ 773917 h 4687251"/>
              <a:gd name="connsiteX26449" fmla="*/ 1927580 w 8079933"/>
              <a:gd name="connsiteY26449" fmla="*/ 771644 h 4687251"/>
              <a:gd name="connsiteX26450" fmla="*/ 1926061 w 8079933"/>
              <a:gd name="connsiteY26450" fmla="*/ 768937 h 4687251"/>
              <a:gd name="connsiteX26451" fmla="*/ 1923890 w 8079933"/>
              <a:gd name="connsiteY26451" fmla="*/ 769370 h 4687251"/>
              <a:gd name="connsiteX26452" fmla="*/ 1921829 w 8079933"/>
              <a:gd name="connsiteY26452" fmla="*/ 768504 h 4687251"/>
              <a:gd name="connsiteX26453" fmla="*/ 1922263 w 8079933"/>
              <a:gd name="connsiteY26453" fmla="*/ 770886 h 4687251"/>
              <a:gd name="connsiteX26454" fmla="*/ 1920635 w 8079933"/>
              <a:gd name="connsiteY26454" fmla="*/ 773376 h 4687251"/>
              <a:gd name="connsiteX26455" fmla="*/ 1917705 w 8079933"/>
              <a:gd name="connsiteY26455" fmla="*/ 773809 h 4687251"/>
              <a:gd name="connsiteX26456" fmla="*/ 1915861 w 8079933"/>
              <a:gd name="connsiteY26456" fmla="*/ 773051 h 4687251"/>
              <a:gd name="connsiteX26457" fmla="*/ 1914449 w 8079933"/>
              <a:gd name="connsiteY26457" fmla="*/ 774892 h 4687251"/>
              <a:gd name="connsiteX26458" fmla="*/ 1914667 w 8079933"/>
              <a:gd name="connsiteY26458" fmla="*/ 777815 h 4687251"/>
              <a:gd name="connsiteX26459" fmla="*/ 1910977 w 8079933"/>
              <a:gd name="connsiteY26459" fmla="*/ 779980 h 4687251"/>
              <a:gd name="connsiteX26460" fmla="*/ 1909566 w 8079933"/>
              <a:gd name="connsiteY26460" fmla="*/ 782579 h 4687251"/>
              <a:gd name="connsiteX26461" fmla="*/ 1908047 w 8079933"/>
              <a:gd name="connsiteY26461" fmla="*/ 780955 h 4687251"/>
              <a:gd name="connsiteX26462" fmla="*/ 1906311 w 8079933"/>
              <a:gd name="connsiteY26462" fmla="*/ 781063 h 4687251"/>
              <a:gd name="connsiteX26463" fmla="*/ 1904792 w 8079933"/>
              <a:gd name="connsiteY26463" fmla="*/ 783986 h 4687251"/>
              <a:gd name="connsiteX26464" fmla="*/ 1895351 w 8079933"/>
              <a:gd name="connsiteY26464" fmla="*/ 790158 h 4687251"/>
              <a:gd name="connsiteX26465" fmla="*/ 1886235 w 8079933"/>
              <a:gd name="connsiteY26465" fmla="*/ 790158 h 4687251"/>
              <a:gd name="connsiteX26466" fmla="*/ 1882980 w 8079933"/>
              <a:gd name="connsiteY26466" fmla="*/ 788425 h 4687251"/>
              <a:gd name="connsiteX26467" fmla="*/ 1879724 w 8079933"/>
              <a:gd name="connsiteY26467" fmla="*/ 788967 h 4687251"/>
              <a:gd name="connsiteX26468" fmla="*/ 1874949 w 8079933"/>
              <a:gd name="connsiteY26468" fmla="*/ 788101 h 4687251"/>
              <a:gd name="connsiteX26469" fmla="*/ 1871694 w 8079933"/>
              <a:gd name="connsiteY26469" fmla="*/ 787992 h 4687251"/>
              <a:gd name="connsiteX26470" fmla="*/ 1870609 w 8079933"/>
              <a:gd name="connsiteY26470" fmla="*/ 790049 h 4687251"/>
              <a:gd name="connsiteX26471" fmla="*/ 1866593 w 8079933"/>
              <a:gd name="connsiteY26471" fmla="*/ 791024 h 4687251"/>
              <a:gd name="connsiteX26472" fmla="*/ 1860951 w 8079933"/>
              <a:gd name="connsiteY26472" fmla="*/ 793514 h 4687251"/>
              <a:gd name="connsiteX26473" fmla="*/ 1856068 w 8079933"/>
              <a:gd name="connsiteY26473" fmla="*/ 798278 h 4687251"/>
              <a:gd name="connsiteX26474" fmla="*/ 1852595 w 8079933"/>
              <a:gd name="connsiteY26474" fmla="*/ 798278 h 4687251"/>
              <a:gd name="connsiteX26475" fmla="*/ 1848797 w 8079933"/>
              <a:gd name="connsiteY26475" fmla="*/ 799577 h 4687251"/>
              <a:gd name="connsiteX26476" fmla="*/ 1846084 w 8079933"/>
              <a:gd name="connsiteY26476" fmla="*/ 802500 h 4687251"/>
              <a:gd name="connsiteX26477" fmla="*/ 1840116 w 8079933"/>
              <a:gd name="connsiteY26477" fmla="*/ 803151 h 4687251"/>
              <a:gd name="connsiteX26478" fmla="*/ 1838162 w 8079933"/>
              <a:gd name="connsiteY26478" fmla="*/ 805208 h 4687251"/>
              <a:gd name="connsiteX26479" fmla="*/ 1835775 w 8079933"/>
              <a:gd name="connsiteY26479" fmla="*/ 805316 h 4687251"/>
              <a:gd name="connsiteX26480" fmla="*/ 1834907 w 8079933"/>
              <a:gd name="connsiteY26480" fmla="*/ 801743 h 4687251"/>
              <a:gd name="connsiteX26481" fmla="*/ 1832736 w 8079933"/>
              <a:gd name="connsiteY26481" fmla="*/ 800335 h 4687251"/>
              <a:gd name="connsiteX26482" fmla="*/ 1831000 w 8079933"/>
              <a:gd name="connsiteY26482" fmla="*/ 801418 h 4687251"/>
              <a:gd name="connsiteX26483" fmla="*/ 1828287 w 8079933"/>
              <a:gd name="connsiteY26483" fmla="*/ 801851 h 4687251"/>
              <a:gd name="connsiteX26484" fmla="*/ 1827636 w 8079933"/>
              <a:gd name="connsiteY26484" fmla="*/ 799036 h 4687251"/>
              <a:gd name="connsiteX26485" fmla="*/ 1825466 w 8079933"/>
              <a:gd name="connsiteY26485" fmla="*/ 798170 h 4687251"/>
              <a:gd name="connsiteX26486" fmla="*/ 1821994 w 8079933"/>
              <a:gd name="connsiteY26486" fmla="*/ 799036 h 4687251"/>
              <a:gd name="connsiteX26487" fmla="*/ 1820257 w 8079933"/>
              <a:gd name="connsiteY26487" fmla="*/ 800227 h 4687251"/>
              <a:gd name="connsiteX26488" fmla="*/ 1818955 w 8079933"/>
              <a:gd name="connsiteY26488" fmla="*/ 799794 h 4687251"/>
              <a:gd name="connsiteX26489" fmla="*/ 1817761 w 8079933"/>
              <a:gd name="connsiteY26489" fmla="*/ 797629 h 4687251"/>
              <a:gd name="connsiteX26490" fmla="*/ 1811685 w 8079933"/>
              <a:gd name="connsiteY26490" fmla="*/ 797304 h 4687251"/>
              <a:gd name="connsiteX26491" fmla="*/ 1808755 w 8079933"/>
              <a:gd name="connsiteY26491" fmla="*/ 800768 h 4687251"/>
              <a:gd name="connsiteX26492" fmla="*/ 1801267 w 8079933"/>
              <a:gd name="connsiteY26492" fmla="*/ 797304 h 4687251"/>
              <a:gd name="connsiteX26493" fmla="*/ 1795298 w 8079933"/>
              <a:gd name="connsiteY26493" fmla="*/ 797304 h 4687251"/>
              <a:gd name="connsiteX26494" fmla="*/ 1793236 w 8079933"/>
              <a:gd name="connsiteY26494" fmla="*/ 796004 h 4687251"/>
              <a:gd name="connsiteX26495" fmla="*/ 1790632 w 8079933"/>
              <a:gd name="connsiteY26495" fmla="*/ 796437 h 4687251"/>
              <a:gd name="connsiteX26496" fmla="*/ 1788679 w 8079933"/>
              <a:gd name="connsiteY26496" fmla="*/ 799145 h 4687251"/>
              <a:gd name="connsiteX26497" fmla="*/ 1787160 w 8079933"/>
              <a:gd name="connsiteY26497" fmla="*/ 797520 h 4687251"/>
              <a:gd name="connsiteX26498" fmla="*/ 1784880 w 8079933"/>
              <a:gd name="connsiteY26498" fmla="*/ 797196 h 4687251"/>
              <a:gd name="connsiteX26499" fmla="*/ 1781734 w 8079933"/>
              <a:gd name="connsiteY26499" fmla="*/ 798062 h 4687251"/>
              <a:gd name="connsiteX26500" fmla="*/ 1773812 w 8079933"/>
              <a:gd name="connsiteY26500" fmla="*/ 796546 h 4687251"/>
              <a:gd name="connsiteX26501" fmla="*/ 1772185 w 8079933"/>
              <a:gd name="connsiteY26501" fmla="*/ 794597 h 4687251"/>
              <a:gd name="connsiteX26502" fmla="*/ 1777719 w 8079933"/>
              <a:gd name="connsiteY26502" fmla="*/ 793406 h 4687251"/>
              <a:gd name="connsiteX26503" fmla="*/ 1778153 w 8079933"/>
              <a:gd name="connsiteY26503" fmla="*/ 790482 h 4687251"/>
              <a:gd name="connsiteX26504" fmla="*/ 1775656 w 8079933"/>
              <a:gd name="connsiteY26504" fmla="*/ 784961 h 4687251"/>
              <a:gd name="connsiteX26505" fmla="*/ 1775440 w 8079933"/>
              <a:gd name="connsiteY26505" fmla="*/ 779331 h 4687251"/>
              <a:gd name="connsiteX26506" fmla="*/ 1771750 w 8079933"/>
              <a:gd name="connsiteY26506" fmla="*/ 776732 h 4687251"/>
              <a:gd name="connsiteX26507" fmla="*/ 1773486 w 8079933"/>
              <a:gd name="connsiteY26507" fmla="*/ 773701 h 4687251"/>
              <a:gd name="connsiteX26508" fmla="*/ 1773812 w 8079933"/>
              <a:gd name="connsiteY26508" fmla="*/ 771319 h 4687251"/>
              <a:gd name="connsiteX26509" fmla="*/ 1779563 w 8079933"/>
              <a:gd name="connsiteY26509" fmla="*/ 768395 h 4687251"/>
              <a:gd name="connsiteX26510" fmla="*/ 1781299 w 8079933"/>
              <a:gd name="connsiteY26510" fmla="*/ 765364 h 4687251"/>
              <a:gd name="connsiteX26511" fmla="*/ 1780974 w 8079933"/>
              <a:gd name="connsiteY26511" fmla="*/ 762982 h 4687251"/>
              <a:gd name="connsiteX26512" fmla="*/ 1783253 w 8079933"/>
              <a:gd name="connsiteY26512" fmla="*/ 760600 h 4687251"/>
              <a:gd name="connsiteX26513" fmla="*/ 1782710 w 8079933"/>
              <a:gd name="connsiteY26513" fmla="*/ 757785 h 4687251"/>
              <a:gd name="connsiteX26514" fmla="*/ 1787810 w 8079933"/>
              <a:gd name="connsiteY26514" fmla="*/ 756161 h 4687251"/>
              <a:gd name="connsiteX26515" fmla="*/ 1786834 w 8079933"/>
              <a:gd name="connsiteY26515" fmla="*/ 753562 h 4687251"/>
              <a:gd name="connsiteX26516" fmla="*/ 1784012 w 8079933"/>
              <a:gd name="connsiteY26516" fmla="*/ 752588 h 4687251"/>
              <a:gd name="connsiteX26517" fmla="*/ 1780974 w 8079933"/>
              <a:gd name="connsiteY26517" fmla="*/ 747283 h 4687251"/>
              <a:gd name="connsiteX26518" fmla="*/ 1775874 w 8079933"/>
              <a:gd name="connsiteY26518" fmla="*/ 747283 h 4687251"/>
              <a:gd name="connsiteX26519" fmla="*/ 1772510 w 8079933"/>
              <a:gd name="connsiteY26519" fmla="*/ 743710 h 4687251"/>
              <a:gd name="connsiteX26520" fmla="*/ 1769472 w 8079933"/>
              <a:gd name="connsiteY26520" fmla="*/ 743601 h 4687251"/>
              <a:gd name="connsiteX26521" fmla="*/ 1764588 w 8079933"/>
              <a:gd name="connsiteY26521" fmla="*/ 745767 h 4687251"/>
              <a:gd name="connsiteX26522" fmla="*/ 1761441 w 8079933"/>
              <a:gd name="connsiteY26522" fmla="*/ 745009 h 4687251"/>
              <a:gd name="connsiteX26523" fmla="*/ 1758945 w 8079933"/>
              <a:gd name="connsiteY26523" fmla="*/ 742303 h 4687251"/>
              <a:gd name="connsiteX26524" fmla="*/ 1755038 w 8079933"/>
              <a:gd name="connsiteY26524" fmla="*/ 743277 h 4687251"/>
              <a:gd name="connsiteX26525" fmla="*/ 1752976 w 8079933"/>
              <a:gd name="connsiteY26525" fmla="*/ 741111 h 4687251"/>
              <a:gd name="connsiteX26526" fmla="*/ 1746140 w 8079933"/>
              <a:gd name="connsiteY26526" fmla="*/ 737105 h 4687251"/>
              <a:gd name="connsiteX26527" fmla="*/ 1745055 w 8079933"/>
              <a:gd name="connsiteY26527" fmla="*/ 734832 h 4687251"/>
              <a:gd name="connsiteX26528" fmla="*/ 1741583 w 8079933"/>
              <a:gd name="connsiteY26528" fmla="*/ 731908 h 4687251"/>
              <a:gd name="connsiteX26529" fmla="*/ 1738327 w 8079933"/>
              <a:gd name="connsiteY26529" fmla="*/ 722056 h 4687251"/>
              <a:gd name="connsiteX26530" fmla="*/ 1740063 w 8079933"/>
              <a:gd name="connsiteY26530" fmla="*/ 720648 h 4687251"/>
              <a:gd name="connsiteX26531" fmla="*/ 1740931 w 8079933"/>
              <a:gd name="connsiteY26531" fmla="*/ 718050 h 4687251"/>
              <a:gd name="connsiteX26532" fmla="*/ 1737676 w 8079933"/>
              <a:gd name="connsiteY26532" fmla="*/ 716642 h 4687251"/>
              <a:gd name="connsiteX26533" fmla="*/ 1736591 w 8079933"/>
              <a:gd name="connsiteY26533" fmla="*/ 714152 h 4687251"/>
              <a:gd name="connsiteX26534" fmla="*/ 1738110 w 8079933"/>
              <a:gd name="connsiteY26534" fmla="*/ 711337 h 4687251"/>
              <a:gd name="connsiteX26535" fmla="*/ 1736808 w 8079933"/>
              <a:gd name="connsiteY26535" fmla="*/ 704083 h 4687251"/>
              <a:gd name="connsiteX26536" fmla="*/ 1740931 w 8079933"/>
              <a:gd name="connsiteY26536" fmla="*/ 697587 h 4687251"/>
              <a:gd name="connsiteX26537" fmla="*/ 1741366 w 8079933"/>
              <a:gd name="connsiteY26537" fmla="*/ 690332 h 4687251"/>
              <a:gd name="connsiteX26538" fmla="*/ 1743970 w 8079933"/>
              <a:gd name="connsiteY26538" fmla="*/ 686651 h 4687251"/>
              <a:gd name="connsiteX26539" fmla="*/ 1749504 w 8079933"/>
              <a:gd name="connsiteY26539" fmla="*/ 685244 h 4687251"/>
              <a:gd name="connsiteX26540" fmla="*/ 1752543 w 8079933"/>
              <a:gd name="connsiteY26540" fmla="*/ 683944 h 4687251"/>
              <a:gd name="connsiteX26541" fmla="*/ 1771316 w 8079933"/>
              <a:gd name="connsiteY26541" fmla="*/ 684269 h 4687251"/>
              <a:gd name="connsiteX26542" fmla="*/ 1775983 w 8079933"/>
              <a:gd name="connsiteY26542" fmla="*/ 685677 h 4687251"/>
              <a:gd name="connsiteX26543" fmla="*/ 1782276 w 8079933"/>
              <a:gd name="connsiteY26543" fmla="*/ 686218 h 4687251"/>
              <a:gd name="connsiteX26544" fmla="*/ 1792803 w 8079933"/>
              <a:gd name="connsiteY26544" fmla="*/ 685785 h 4687251"/>
              <a:gd name="connsiteX26545" fmla="*/ 1795081 w 8079933"/>
              <a:gd name="connsiteY26545" fmla="*/ 687084 h 4687251"/>
              <a:gd name="connsiteX26546" fmla="*/ 1800182 w 8079933"/>
              <a:gd name="connsiteY26546" fmla="*/ 686759 h 4687251"/>
              <a:gd name="connsiteX26547" fmla="*/ 1802786 w 8079933"/>
              <a:gd name="connsiteY26547" fmla="*/ 687842 h 4687251"/>
              <a:gd name="connsiteX26548" fmla="*/ 1804631 w 8079933"/>
              <a:gd name="connsiteY26548" fmla="*/ 687842 h 4687251"/>
              <a:gd name="connsiteX26549" fmla="*/ 1805499 w 8079933"/>
              <a:gd name="connsiteY26549" fmla="*/ 691524 h 4687251"/>
              <a:gd name="connsiteX26550" fmla="*/ 1810708 w 8079933"/>
              <a:gd name="connsiteY26550" fmla="*/ 693473 h 4687251"/>
              <a:gd name="connsiteX26551" fmla="*/ 1812878 w 8079933"/>
              <a:gd name="connsiteY26551" fmla="*/ 695530 h 4687251"/>
              <a:gd name="connsiteX26552" fmla="*/ 1815591 w 8079933"/>
              <a:gd name="connsiteY26552" fmla="*/ 696287 h 4687251"/>
              <a:gd name="connsiteX26553" fmla="*/ 1820583 w 8079933"/>
              <a:gd name="connsiteY26553" fmla="*/ 695638 h 4687251"/>
              <a:gd name="connsiteX26554" fmla="*/ 1822753 w 8079933"/>
              <a:gd name="connsiteY26554" fmla="*/ 696396 h 4687251"/>
              <a:gd name="connsiteX26555" fmla="*/ 1825466 w 8079933"/>
              <a:gd name="connsiteY26555" fmla="*/ 700402 h 4687251"/>
              <a:gd name="connsiteX26556" fmla="*/ 1828505 w 8079933"/>
              <a:gd name="connsiteY26556" fmla="*/ 700510 h 4687251"/>
              <a:gd name="connsiteX26557" fmla="*/ 1831868 w 8079933"/>
              <a:gd name="connsiteY26557" fmla="*/ 704408 h 4687251"/>
              <a:gd name="connsiteX26558" fmla="*/ 1835233 w 8079933"/>
              <a:gd name="connsiteY26558" fmla="*/ 704408 h 4687251"/>
              <a:gd name="connsiteX26559" fmla="*/ 1836318 w 8079933"/>
              <a:gd name="connsiteY26559" fmla="*/ 703433 h 4687251"/>
              <a:gd name="connsiteX26560" fmla="*/ 1839899 w 8079933"/>
              <a:gd name="connsiteY26560" fmla="*/ 704624 h 4687251"/>
              <a:gd name="connsiteX26561" fmla="*/ 1843371 w 8079933"/>
              <a:gd name="connsiteY26561" fmla="*/ 703433 h 4687251"/>
              <a:gd name="connsiteX26562" fmla="*/ 1850316 w 8079933"/>
              <a:gd name="connsiteY26562" fmla="*/ 705491 h 4687251"/>
              <a:gd name="connsiteX26563" fmla="*/ 1858564 w 8079933"/>
              <a:gd name="connsiteY26563" fmla="*/ 707439 h 4687251"/>
              <a:gd name="connsiteX26564" fmla="*/ 1860842 w 8079933"/>
              <a:gd name="connsiteY26564" fmla="*/ 708630 h 4687251"/>
              <a:gd name="connsiteX26565" fmla="*/ 1859757 w 8079933"/>
              <a:gd name="connsiteY26565" fmla="*/ 706032 h 4687251"/>
              <a:gd name="connsiteX26566" fmla="*/ 1860951 w 8079933"/>
              <a:gd name="connsiteY26566" fmla="*/ 704732 h 4687251"/>
              <a:gd name="connsiteX26567" fmla="*/ 1860842 w 8079933"/>
              <a:gd name="connsiteY26567" fmla="*/ 702134 h 4687251"/>
              <a:gd name="connsiteX26568" fmla="*/ 1854766 w 8079933"/>
              <a:gd name="connsiteY26568" fmla="*/ 698236 h 4687251"/>
              <a:gd name="connsiteX26569" fmla="*/ 1850533 w 8079933"/>
              <a:gd name="connsiteY26569" fmla="*/ 693797 h 4687251"/>
              <a:gd name="connsiteX26570" fmla="*/ 1850968 w 8079933"/>
              <a:gd name="connsiteY26570" fmla="*/ 690332 h 4687251"/>
              <a:gd name="connsiteX26571" fmla="*/ 1851618 w 8079933"/>
              <a:gd name="connsiteY26571" fmla="*/ 688600 h 4687251"/>
              <a:gd name="connsiteX26572" fmla="*/ 1848905 w 8079933"/>
              <a:gd name="connsiteY26572" fmla="*/ 685569 h 4687251"/>
              <a:gd name="connsiteX26573" fmla="*/ 1846302 w 8079933"/>
              <a:gd name="connsiteY26573" fmla="*/ 684810 h 4687251"/>
              <a:gd name="connsiteX26574" fmla="*/ 1845216 w 8079933"/>
              <a:gd name="connsiteY26574" fmla="*/ 681563 h 4687251"/>
              <a:gd name="connsiteX26575" fmla="*/ 1842395 w 8079933"/>
              <a:gd name="connsiteY26575" fmla="*/ 680155 h 4687251"/>
              <a:gd name="connsiteX26576" fmla="*/ 1837946 w 8079933"/>
              <a:gd name="connsiteY26576" fmla="*/ 680155 h 4687251"/>
              <a:gd name="connsiteX26577" fmla="*/ 1836426 w 8079933"/>
              <a:gd name="connsiteY26577" fmla="*/ 678098 h 4687251"/>
              <a:gd name="connsiteX26578" fmla="*/ 1836209 w 8079933"/>
              <a:gd name="connsiteY26578" fmla="*/ 676257 h 4687251"/>
              <a:gd name="connsiteX26579" fmla="*/ 1832194 w 8079933"/>
              <a:gd name="connsiteY26579" fmla="*/ 673009 h 4687251"/>
              <a:gd name="connsiteX26580" fmla="*/ 1831543 w 8079933"/>
              <a:gd name="connsiteY26580" fmla="*/ 669003 h 4687251"/>
              <a:gd name="connsiteX26581" fmla="*/ 1828613 w 8079933"/>
              <a:gd name="connsiteY26581" fmla="*/ 670952 h 4687251"/>
              <a:gd name="connsiteX26582" fmla="*/ 1827093 w 8079933"/>
              <a:gd name="connsiteY26582" fmla="*/ 667596 h 4687251"/>
              <a:gd name="connsiteX26583" fmla="*/ 1823296 w 8079933"/>
              <a:gd name="connsiteY26583" fmla="*/ 665863 h 4687251"/>
              <a:gd name="connsiteX26584" fmla="*/ 1818413 w 8079933"/>
              <a:gd name="connsiteY26584" fmla="*/ 667163 h 4687251"/>
              <a:gd name="connsiteX26585" fmla="*/ 1812770 w 8079933"/>
              <a:gd name="connsiteY26585" fmla="*/ 666621 h 4687251"/>
              <a:gd name="connsiteX26586" fmla="*/ 1809948 w 8079933"/>
              <a:gd name="connsiteY26586" fmla="*/ 665430 h 4687251"/>
              <a:gd name="connsiteX26587" fmla="*/ 1806042 w 8079933"/>
              <a:gd name="connsiteY26587" fmla="*/ 667379 h 4687251"/>
              <a:gd name="connsiteX26588" fmla="*/ 1801701 w 8079933"/>
              <a:gd name="connsiteY26588" fmla="*/ 665539 h 4687251"/>
              <a:gd name="connsiteX26589" fmla="*/ 1798337 w 8079933"/>
              <a:gd name="connsiteY26589" fmla="*/ 666188 h 4687251"/>
              <a:gd name="connsiteX26590" fmla="*/ 1793236 w 8079933"/>
              <a:gd name="connsiteY26590" fmla="*/ 665971 h 4687251"/>
              <a:gd name="connsiteX26591" fmla="*/ 1791283 w 8079933"/>
              <a:gd name="connsiteY26591" fmla="*/ 664023 h 4687251"/>
              <a:gd name="connsiteX26592" fmla="*/ 1788462 w 8079933"/>
              <a:gd name="connsiteY26592" fmla="*/ 663914 h 4687251"/>
              <a:gd name="connsiteX26593" fmla="*/ 1784664 w 8079933"/>
              <a:gd name="connsiteY26593" fmla="*/ 664997 h 4687251"/>
              <a:gd name="connsiteX26594" fmla="*/ 1781734 w 8079933"/>
              <a:gd name="connsiteY26594" fmla="*/ 664131 h 4687251"/>
              <a:gd name="connsiteX26595" fmla="*/ 1781299 w 8079933"/>
              <a:gd name="connsiteY26595" fmla="*/ 661424 h 4687251"/>
              <a:gd name="connsiteX26596" fmla="*/ 1778587 w 8079933"/>
              <a:gd name="connsiteY26596" fmla="*/ 658934 h 4687251"/>
              <a:gd name="connsiteX26597" fmla="*/ 1776199 w 8079933"/>
              <a:gd name="connsiteY26597" fmla="*/ 659800 h 4687251"/>
              <a:gd name="connsiteX26598" fmla="*/ 1774355 w 8079933"/>
              <a:gd name="connsiteY26598" fmla="*/ 658068 h 4687251"/>
              <a:gd name="connsiteX26599" fmla="*/ 1771316 w 8079933"/>
              <a:gd name="connsiteY26599" fmla="*/ 656552 h 4687251"/>
              <a:gd name="connsiteX26600" fmla="*/ 1770340 w 8079933"/>
              <a:gd name="connsiteY26600" fmla="*/ 656985 h 4687251"/>
              <a:gd name="connsiteX26601" fmla="*/ 1769146 w 8079933"/>
              <a:gd name="connsiteY26601" fmla="*/ 658934 h 4687251"/>
              <a:gd name="connsiteX26602" fmla="*/ 1764914 w 8079933"/>
              <a:gd name="connsiteY26602" fmla="*/ 658826 h 4687251"/>
              <a:gd name="connsiteX26603" fmla="*/ 1762201 w 8079933"/>
              <a:gd name="connsiteY26603" fmla="*/ 656769 h 4687251"/>
              <a:gd name="connsiteX26604" fmla="*/ 1759705 w 8079933"/>
              <a:gd name="connsiteY26604" fmla="*/ 656769 h 4687251"/>
              <a:gd name="connsiteX26605" fmla="*/ 1755581 w 8079933"/>
              <a:gd name="connsiteY26605" fmla="*/ 657418 h 4687251"/>
              <a:gd name="connsiteX26606" fmla="*/ 1753520 w 8079933"/>
              <a:gd name="connsiteY26606" fmla="*/ 655578 h 4687251"/>
              <a:gd name="connsiteX26607" fmla="*/ 1752976 w 8079933"/>
              <a:gd name="connsiteY26607" fmla="*/ 652113 h 4687251"/>
              <a:gd name="connsiteX26608" fmla="*/ 1754822 w 8079933"/>
              <a:gd name="connsiteY26608" fmla="*/ 650922 h 4687251"/>
              <a:gd name="connsiteX26609" fmla="*/ 1754822 w 8079933"/>
              <a:gd name="connsiteY26609" fmla="*/ 645941 h 4687251"/>
              <a:gd name="connsiteX26610" fmla="*/ 1753736 w 8079933"/>
              <a:gd name="connsiteY26610" fmla="*/ 643343 h 4687251"/>
              <a:gd name="connsiteX26611" fmla="*/ 1752435 w 8079933"/>
              <a:gd name="connsiteY26611" fmla="*/ 630351 h 4687251"/>
              <a:gd name="connsiteX26612" fmla="*/ 1753953 w 8079933"/>
              <a:gd name="connsiteY26612" fmla="*/ 625262 h 4687251"/>
              <a:gd name="connsiteX26613" fmla="*/ 1762961 w 8079933"/>
              <a:gd name="connsiteY26613" fmla="*/ 623638 h 4687251"/>
              <a:gd name="connsiteX26614" fmla="*/ 1764805 w 8079933"/>
              <a:gd name="connsiteY26614" fmla="*/ 622013 h 4687251"/>
              <a:gd name="connsiteX26615" fmla="*/ 1776091 w 8079933"/>
              <a:gd name="connsiteY26615" fmla="*/ 621364 h 4687251"/>
              <a:gd name="connsiteX26616" fmla="*/ 1779672 w 8079933"/>
              <a:gd name="connsiteY26616" fmla="*/ 621689 h 4687251"/>
              <a:gd name="connsiteX26617" fmla="*/ 1783253 w 8079933"/>
              <a:gd name="connsiteY26617" fmla="*/ 620715 h 4687251"/>
              <a:gd name="connsiteX26618" fmla="*/ 1786074 w 8079933"/>
              <a:gd name="connsiteY26618" fmla="*/ 620715 h 4687251"/>
              <a:gd name="connsiteX26619" fmla="*/ 1789113 w 8079933"/>
              <a:gd name="connsiteY26619" fmla="*/ 622555 h 4687251"/>
              <a:gd name="connsiteX26620" fmla="*/ 1791935 w 8079933"/>
              <a:gd name="connsiteY26620" fmla="*/ 619957 h 4687251"/>
              <a:gd name="connsiteX26621" fmla="*/ 1802352 w 8079933"/>
              <a:gd name="connsiteY26621" fmla="*/ 618766 h 4687251"/>
              <a:gd name="connsiteX26622" fmla="*/ 1805824 w 8079933"/>
              <a:gd name="connsiteY26622" fmla="*/ 621689 h 4687251"/>
              <a:gd name="connsiteX26623" fmla="*/ 1813638 w 8079933"/>
              <a:gd name="connsiteY26623" fmla="*/ 621689 h 4687251"/>
              <a:gd name="connsiteX26624" fmla="*/ 1812227 w 8079933"/>
              <a:gd name="connsiteY26624" fmla="*/ 619091 h 4687251"/>
              <a:gd name="connsiteX26625" fmla="*/ 1806367 w 8079933"/>
              <a:gd name="connsiteY26625" fmla="*/ 617033 h 4687251"/>
              <a:gd name="connsiteX26626" fmla="*/ 1808103 w 8079933"/>
              <a:gd name="connsiteY26626" fmla="*/ 615301 h 4687251"/>
              <a:gd name="connsiteX26627" fmla="*/ 1817219 w 8079933"/>
              <a:gd name="connsiteY26627" fmla="*/ 615517 h 4687251"/>
              <a:gd name="connsiteX26628" fmla="*/ 1823730 w 8079933"/>
              <a:gd name="connsiteY26628" fmla="*/ 619848 h 4687251"/>
              <a:gd name="connsiteX26629" fmla="*/ 1827202 w 8079933"/>
              <a:gd name="connsiteY26629" fmla="*/ 619848 h 4687251"/>
              <a:gd name="connsiteX26630" fmla="*/ 1828722 w 8079933"/>
              <a:gd name="connsiteY26630" fmla="*/ 617358 h 4687251"/>
              <a:gd name="connsiteX26631" fmla="*/ 1825140 w 8079933"/>
              <a:gd name="connsiteY26631" fmla="*/ 616925 h 4687251"/>
              <a:gd name="connsiteX26632" fmla="*/ 1822427 w 8079933"/>
              <a:gd name="connsiteY26632" fmla="*/ 613027 h 4687251"/>
              <a:gd name="connsiteX26633" fmla="*/ 1817761 w 8079933"/>
              <a:gd name="connsiteY26633" fmla="*/ 610970 h 4687251"/>
              <a:gd name="connsiteX26634" fmla="*/ 1812661 w 8079933"/>
              <a:gd name="connsiteY26634" fmla="*/ 611945 h 4687251"/>
              <a:gd name="connsiteX26635" fmla="*/ 1805933 w 8079933"/>
              <a:gd name="connsiteY26635" fmla="*/ 609022 h 4687251"/>
              <a:gd name="connsiteX26636" fmla="*/ 1801375 w 8079933"/>
              <a:gd name="connsiteY26636" fmla="*/ 609022 h 4687251"/>
              <a:gd name="connsiteX26637" fmla="*/ 1793996 w 8079933"/>
              <a:gd name="connsiteY26637" fmla="*/ 611078 h 4687251"/>
              <a:gd name="connsiteX26638" fmla="*/ 1786074 w 8079933"/>
              <a:gd name="connsiteY26638" fmla="*/ 609671 h 4687251"/>
              <a:gd name="connsiteX26639" fmla="*/ 1782276 w 8079933"/>
              <a:gd name="connsiteY26639" fmla="*/ 610104 h 4687251"/>
              <a:gd name="connsiteX26640" fmla="*/ 1784121 w 8079933"/>
              <a:gd name="connsiteY26640" fmla="*/ 606748 h 4687251"/>
              <a:gd name="connsiteX26641" fmla="*/ 1782494 w 8079933"/>
              <a:gd name="connsiteY26641" fmla="*/ 604474 h 4687251"/>
              <a:gd name="connsiteX26642" fmla="*/ 1779781 w 8079933"/>
              <a:gd name="connsiteY26642" fmla="*/ 604582 h 4687251"/>
              <a:gd name="connsiteX26643" fmla="*/ 1778804 w 8079933"/>
              <a:gd name="connsiteY26643" fmla="*/ 608048 h 4687251"/>
              <a:gd name="connsiteX26644" fmla="*/ 1776091 w 8079933"/>
              <a:gd name="connsiteY26644" fmla="*/ 609779 h 4687251"/>
              <a:gd name="connsiteX26645" fmla="*/ 1767844 w 8079933"/>
              <a:gd name="connsiteY26645" fmla="*/ 605556 h 4687251"/>
              <a:gd name="connsiteX26646" fmla="*/ 1766867 w 8079933"/>
              <a:gd name="connsiteY26646" fmla="*/ 601226 h 4687251"/>
              <a:gd name="connsiteX26647" fmla="*/ 1770448 w 8079933"/>
              <a:gd name="connsiteY26647" fmla="*/ 599277 h 4687251"/>
              <a:gd name="connsiteX26648" fmla="*/ 1775656 w 8079933"/>
              <a:gd name="connsiteY26648" fmla="*/ 602200 h 4687251"/>
              <a:gd name="connsiteX26649" fmla="*/ 1781083 w 8079933"/>
              <a:gd name="connsiteY26649" fmla="*/ 599927 h 4687251"/>
              <a:gd name="connsiteX26650" fmla="*/ 1782602 w 8079933"/>
              <a:gd name="connsiteY26650" fmla="*/ 596354 h 4687251"/>
              <a:gd name="connsiteX26651" fmla="*/ 1778912 w 8079933"/>
              <a:gd name="connsiteY26651" fmla="*/ 593972 h 4687251"/>
              <a:gd name="connsiteX26652" fmla="*/ 1774463 w 8079933"/>
              <a:gd name="connsiteY26652" fmla="*/ 593539 h 4687251"/>
              <a:gd name="connsiteX26653" fmla="*/ 1770340 w 8079933"/>
              <a:gd name="connsiteY26653" fmla="*/ 596029 h 4687251"/>
              <a:gd name="connsiteX26654" fmla="*/ 1767518 w 8079933"/>
              <a:gd name="connsiteY26654" fmla="*/ 596570 h 4687251"/>
              <a:gd name="connsiteX26655" fmla="*/ 1766107 w 8079933"/>
              <a:gd name="connsiteY26655" fmla="*/ 595379 h 4687251"/>
              <a:gd name="connsiteX26656" fmla="*/ 1767844 w 8079933"/>
              <a:gd name="connsiteY26656" fmla="*/ 592348 h 4687251"/>
              <a:gd name="connsiteX26657" fmla="*/ 1764697 w 8079933"/>
              <a:gd name="connsiteY26657" fmla="*/ 589641 h 4687251"/>
              <a:gd name="connsiteX26658" fmla="*/ 1761332 w 8079933"/>
              <a:gd name="connsiteY26658" fmla="*/ 591373 h 4687251"/>
              <a:gd name="connsiteX26659" fmla="*/ 1761549 w 8079933"/>
              <a:gd name="connsiteY26659" fmla="*/ 585527 h 4687251"/>
              <a:gd name="connsiteX26660" fmla="*/ 1764479 w 8079933"/>
              <a:gd name="connsiteY26660" fmla="*/ 581738 h 4687251"/>
              <a:gd name="connsiteX26661" fmla="*/ 1770882 w 8079933"/>
              <a:gd name="connsiteY26661" fmla="*/ 576973 h 4687251"/>
              <a:gd name="connsiteX26662" fmla="*/ 1772076 w 8079933"/>
              <a:gd name="connsiteY26662" fmla="*/ 572751 h 4687251"/>
              <a:gd name="connsiteX26663" fmla="*/ 1775331 w 8079933"/>
              <a:gd name="connsiteY26663" fmla="*/ 569936 h 4687251"/>
              <a:gd name="connsiteX26664" fmla="*/ 1781951 w 8079933"/>
              <a:gd name="connsiteY26664" fmla="*/ 569611 h 4687251"/>
              <a:gd name="connsiteX26665" fmla="*/ 1789438 w 8079933"/>
              <a:gd name="connsiteY26665" fmla="*/ 562790 h 4687251"/>
              <a:gd name="connsiteX26666" fmla="*/ 1793996 w 8079933"/>
              <a:gd name="connsiteY26666" fmla="*/ 562790 h 4687251"/>
              <a:gd name="connsiteX26667" fmla="*/ 1798662 w 8079933"/>
              <a:gd name="connsiteY26667" fmla="*/ 559325 h 4687251"/>
              <a:gd name="connsiteX26668" fmla="*/ 1796166 w 8079933"/>
              <a:gd name="connsiteY26668" fmla="*/ 557377 h 4687251"/>
              <a:gd name="connsiteX26669" fmla="*/ 1792260 w 8079933"/>
              <a:gd name="connsiteY26669" fmla="*/ 557052 h 4687251"/>
              <a:gd name="connsiteX26670" fmla="*/ 1792803 w 8079933"/>
              <a:gd name="connsiteY26670" fmla="*/ 553479 h 4687251"/>
              <a:gd name="connsiteX26671" fmla="*/ 1798771 w 8079933"/>
              <a:gd name="connsiteY26671" fmla="*/ 547957 h 4687251"/>
              <a:gd name="connsiteX26672" fmla="*/ 1816134 w 8079933"/>
              <a:gd name="connsiteY26672" fmla="*/ 539837 h 4687251"/>
              <a:gd name="connsiteX26673" fmla="*/ 1829264 w 8079933"/>
              <a:gd name="connsiteY26673" fmla="*/ 536805 h 4687251"/>
              <a:gd name="connsiteX26674" fmla="*/ 1834798 w 8079933"/>
              <a:gd name="connsiteY26674" fmla="*/ 531933 h 4687251"/>
              <a:gd name="connsiteX26675" fmla="*/ 1856176 w 8079933"/>
              <a:gd name="connsiteY26675" fmla="*/ 523704 h 4687251"/>
              <a:gd name="connsiteX26676" fmla="*/ 1873539 w 8079933"/>
              <a:gd name="connsiteY26676" fmla="*/ 520998 h 4687251"/>
              <a:gd name="connsiteX26677" fmla="*/ 1882654 w 8079933"/>
              <a:gd name="connsiteY26677" fmla="*/ 517316 h 4687251"/>
              <a:gd name="connsiteX26678" fmla="*/ 1891444 w 8079933"/>
              <a:gd name="connsiteY26678" fmla="*/ 515476 h 4687251"/>
              <a:gd name="connsiteX26679" fmla="*/ 3630424 w 8079933"/>
              <a:gd name="connsiteY26679" fmla="*/ 511254 h 4687251"/>
              <a:gd name="connsiteX26680" fmla="*/ 3630207 w 8079933"/>
              <a:gd name="connsiteY26680" fmla="*/ 513420 h 4687251"/>
              <a:gd name="connsiteX26681" fmla="*/ 3629122 w 8079933"/>
              <a:gd name="connsiteY26681" fmla="*/ 514503 h 4687251"/>
              <a:gd name="connsiteX26682" fmla="*/ 3627277 w 8079933"/>
              <a:gd name="connsiteY26682" fmla="*/ 512987 h 4687251"/>
              <a:gd name="connsiteX26683" fmla="*/ 3628254 w 8079933"/>
              <a:gd name="connsiteY26683" fmla="*/ 511363 h 4687251"/>
              <a:gd name="connsiteX26684" fmla="*/ 5300387 w 8079933"/>
              <a:gd name="connsiteY26684" fmla="*/ 507141 h 4687251"/>
              <a:gd name="connsiteX26685" fmla="*/ 5303208 w 8079933"/>
              <a:gd name="connsiteY26685" fmla="*/ 508006 h 4687251"/>
              <a:gd name="connsiteX26686" fmla="*/ 5304836 w 8079933"/>
              <a:gd name="connsiteY26686" fmla="*/ 510822 h 4687251"/>
              <a:gd name="connsiteX26687" fmla="*/ 5311021 w 8079933"/>
              <a:gd name="connsiteY26687" fmla="*/ 512446 h 4687251"/>
              <a:gd name="connsiteX26688" fmla="*/ 5309176 w 8079933"/>
              <a:gd name="connsiteY26688" fmla="*/ 514830 h 4687251"/>
              <a:gd name="connsiteX26689" fmla="*/ 5304510 w 8079933"/>
              <a:gd name="connsiteY26689" fmla="*/ 514612 h 4687251"/>
              <a:gd name="connsiteX26690" fmla="*/ 5298976 w 8079933"/>
              <a:gd name="connsiteY26690" fmla="*/ 512121 h 4687251"/>
              <a:gd name="connsiteX26691" fmla="*/ 5298325 w 8079933"/>
              <a:gd name="connsiteY26691" fmla="*/ 509090 h 4687251"/>
              <a:gd name="connsiteX26692" fmla="*/ 4295415 w 8079933"/>
              <a:gd name="connsiteY26692" fmla="*/ 506382 h 4687251"/>
              <a:gd name="connsiteX26693" fmla="*/ 4297151 w 8079933"/>
              <a:gd name="connsiteY26693" fmla="*/ 511687 h 4687251"/>
              <a:gd name="connsiteX26694" fmla="*/ 4300949 w 8079933"/>
              <a:gd name="connsiteY26694" fmla="*/ 517317 h 4687251"/>
              <a:gd name="connsiteX26695" fmla="*/ 4300624 w 8079933"/>
              <a:gd name="connsiteY26695" fmla="*/ 519808 h 4687251"/>
              <a:gd name="connsiteX26696" fmla="*/ 4296934 w 8079933"/>
              <a:gd name="connsiteY26696" fmla="*/ 520783 h 4687251"/>
              <a:gd name="connsiteX26697" fmla="*/ 4295415 w 8079933"/>
              <a:gd name="connsiteY26697" fmla="*/ 523055 h 4687251"/>
              <a:gd name="connsiteX26698" fmla="*/ 4296500 w 8079933"/>
              <a:gd name="connsiteY26698" fmla="*/ 528902 h 4687251"/>
              <a:gd name="connsiteX26699" fmla="*/ 4302034 w 8079933"/>
              <a:gd name="connsiteY26699" fmla="*/ 534748 h 4687251"/>
              <a:gd name="connsiteX26700" fmla="*/ 4307460 w 8079933"/>
              <a:gd name="connsiteY26700" fmla="*/ 538214 h 4687251"/>
              <a:gd name="connsiteX26701" fmla="*/ 4310607 w 8079933"/>
              <a:gd name="connsiteY26701" fmla="*/ 535398 h 4687251"/>
              <a:gd name="connsiteX26702" fmla="*/ 4316141 w 8079933"/>
              <a:gd name="connsiteY26702" fmla="*/ 532476 h 4687251"/>
              <a:gd name="connsiteX26703" fmla="*/ 4320048 w 8079933"/>
              <a:gd name="connsiteY26703" fmla="*/ 534532 h 4687251"/>
              <a:gd name="connsiteX26704" fmla="*/ 4322111 w 8079933"/>
              <a:gd name="connsiteY26704" fmla="*/ 537132 h 4687251"/>
              <a:gd name="connsiteX26705" fmla="*/ 4326668 w 8079933"/>
              <a:gd name="connsiteY26705" fmla="*/ 539187 h 4687251"/>
              <a:gd name="connsiteX26706" fmla="*/ 4324932 w 8079933"/>
              <a:gd name="connsiteY26706" fmla="*/ 540920 h 4687251"/>
              <a:gd name="connsiteX26707" fmla="*/ 4319723 w 8079933"/>
              <a:gd name="connsiteY26707" fmla="*/ 542978 h 4687251"/>
              <a:gd name="connsiteX26708" fmla="*/ 4315382 w 8079933"/>
              <a:gd name="connsiteY26708" fmla="*/ 549798 h 4687251"/>
              <a:gd name="connsiteX26709" fmla="*/ 4314731 w 8079933"/>
              <a:gd name="connsiteY26709" fmla="*/ 554129 h 4687251"/>
              <a:gd name="connsiteX26710" fmla="*/ 4311584 w 8079933"/>
              <a:gd name="connsiteY26710" fmla="*/ 563765 h 4687251"/>
              <a:gd name="connsiteX26711" fmla="*/ 4307894 w 8079933"/>
              <a:gd name="connsiteY26711" fmla="*/ 564849 h 4687251"/>
              <a:gd name="connsiteX26712" fmla="*/ 4303554 w 8079933"/>
              <a:gd name="connsiteY26712" fmla="*/ 567338 h 4687251"/>
              <a:gd name="connsiteX26713" fmla="*/ 4301166 w 8079933"/>
              <a:gd name="connsiteY26713" fmla="*/ 571020 h 4687251"/>
              <a:gd name="connsiteX26714" fmla="*/ 4301166 w 8079933"/>
              <a:gd name="connsiteY26714" fmla="*/ 574917 h 4687251"/>
              <a:gd name="connsiteX26715" fmla="*/ 4297476 w 8079933"/>
              <a:gd name="connsiteY26715" fmla="*/ 577840 h 4687251"/>
              <a:gd name="connsiteX26716" fmla="*/ 4294763 w 8079933"/>
              <a:gd name="connsiteY26716" fmla="*/ 577732 h 4687251"/>
              <a:gd name="connsiteX26717" fmla="*/ 4293245 w 8079933"/>
              <a:gd name="connsiteY26717" fmla="*/ 573726 h 4687251"/>
              <a:gd name="connsiteX26718" fmla="*/ 4295849 w 8079933"/>
              <a:gd name="connsiteY26718" fmla="*/ 570152 h 4687251"/>
              <a:gd name="connsiteX26719" fmla="*/ 4294981 w 8079933"/>
              <a:gd name="connsiteY26719" fmla="*/ 564631 h 4687251"/>
              <a:gd name="connsiteX26720" fmla="*/ 4296934 w 8079933"/>
              <a:gd name="connsiteY26720" fmla="*/ 557702 h 4687251"/>
              <a:gd name="connsiteX26721" fmla="*/ 4296934 w 8079933"/>
              <a:gd name="connsiteY26721" fmla="*/ 552722 h 4687251"/>
              <a:gd name="connsiteX26722" fmla="*/ 4294981 w 8079933"/>
              <a:gd name="connsiteY26722" fmla="*/ 554346 h 4687251"/>
              <a:gd name="connsiteX26723" fmla="*/ 4291508 w 8079933"/>
              <a:gd name="connsiteY26723" fmla="*/ 553589 h 4687251"/>
              <a:gd name="connsiteX26724" fmla="*/ 4289120 w 8079933"/>
              <a:gd name="connsiteY26724" fmla="*/ 555320 h 4687251"/>
              <a:gd name="connsiteX26725" fmla="*/ 4286299 w 8079933"/>
              <a:gd name="connsiteY26725" fmla="*/ 560842 h 4687251"/>
              <a:gd name="connsiteX26726" fmla="*/ 4283261 w 8079933"/>
              <a:gd name="connsiteY26726" fmla="*/ 563441 h 4687251"/>
              <a:gd name="connsiteX26727" fmla="*/ 4279788 w 8079933"/>
              <a:gd name="connsiteY26727" fmla="*/ 563224 h 4687251"/>
              <a:gd name="connsiteX26728" fmla="*/ 4275230 w 8079933"/>
              <a:gd name="connsiteY26728" fmla="*/ 567555 h 4687251"/>
              <a:gd name="connsiteX26729" fmla="*/ 4270781 w 8079933"/>
              <a:gd name="connsiteY26729" fmla="*/ 568096 h 4687251"/>
              <a:gd name="connsiteX26730" fmla="*/ 4266874 w 8079933"/>
              <a:gd name="connsiteY26730" fmla="*/ 570152 h 4687251"/>
              <a:gd name="connsiteX26731" fmla="*/ 4264921 w 8079933"/>
              <a:gd name="connsiteY26731" fmla="*/ 569829 h 4687251"/>
              <a:gd name="connsiteX26732" fmla="*/ 4264379 w 8079933"/>
              <a:gd name="connsiteY26732" fmla="*/ 566147 h 4687251"/>
              <a:gd name="connsiteX26733" fmla="*/ 4265789 w 8079933"/>
              <a:gd name="connsiteY26733" fmla="*/ 563765 h 4687251"/>
              <a:gd name="connsiteX26734" fmla="*/ 4265247 w 8079933"/>
              <a:gd name="connsiteY26734" fmla="*/ 559435 h 4687251"/>
              <a:gd name="connsiteX26735" fmla="*/ 4268719 w 8079933"/>
              <a:gd name="connsiteY26735" fmla="*/ 556945 h 4687251"/>
              <a:gd name="connsiteX26736" fmla="*/ 4269805 w 8079933"/>
              <a:gd name="connsiteY26736" fmla="*/ 549798 h 4687251"/>
              <a:gd name="connsiteX26737" fmla="*/ 4273277 w 8079933"/>
              <a:gd name="connsiteY26737" fmla="*/ 543627 h 4687251"/>
              <a:gd name="connsiteX26738" fmla="*/ 4273385 w 8079933"/>
              <a:gd name="connsiteY26738" fmla="*/ 538971 h 4687251"/>
              <a:gd name="connsiteX26739" fmla="*/ 4274471 w 8079933"/>
              <a:gd name="connsiteY26739" fmla="*/ 536156 h 4687251"/>
              <a:gd name="connsiteX26740" fmla="*/ 4273603 w 8079933"/>
              <a:gd name="connsiteY26740" fmla="*/ 533558 h 4687251"/>
              <a:gd name="connsiteX26741" fmla="*/ 4269370 w 8079933"/>
              <a:gd name="connsiteY26741" fmla="*/ 533558 h 4687251"/>
              <a:gd name="connsiteX26742" fmla="*/ 4265681 w 8079933"/>
              <a:gd name="connsiteY26742" fmla="*/ 529552 h 4687251"/>
              <a:gd name="connsiteX26743" fmla="*/ 4261666 w 8079933"/>
              <a:gd name="connsiteY26743" fmla="*/ 527169 h 4687251"/>
              <a:gd name="connsiteX26744" fmla="*/ 4263944 w 8079933"/>
              <a:gd name="connsiteY26744" fmla="*/ 522298 h 4687251"/>
              <a:gd name="connsiteX26745" fmla="*/ 4268177 w 8079933"/>
              <a:gd name="connsiteY26745" fmla="*/ 518617 h 4687251"/>
              <a:gd name="connsiteX26746" fmla="*/ 4277509 w 8079933"/>
              <a:gd name="connsiteY26746" fmla="*/ 516451 h 4687251"/>
              <a:gd name="connsiteX26747" fmla="*/ 4282718 w 8079933"/>
              <a:gd name="connsiteY26747" fmla="*/ 516019 h 4687251"/>
              <a:gd name="connsiteX26748" fmla="*/ 4288687 w 8079933"/>
              <a:gd name="connsiteY26748" fmla="*/ 510821 h 4687251"/>
              <a:gd name="connsiteX26749" fmla="*/ 2612863 w 8079933"/>
              <a:gd name="connsiteY26749" fmla="*/ 502374 h 4687251"/>
              <a:gd name="connsiteX26750" fmla="*/ 2610042 w 8079933"/>
              <a:gd name="connsiteY26750" fmla="*/ 507139 h 4687251"/>
              <a:gd name="connsiteX26751" fmla="*/ 2603205 w 8079933"/>
              <a:gd name="connsiteY26751" fmla="*/ 512552 h 4687251"/>
              <a:gd name="connsiteX26752" fmla="*/ 2601795 w 8079933"/>
              <a:gd name="connsiteY26752" fmla="*/ 516125 h 4687251"/>
              <a:gd name="connsiteX26753" fmla="*/ 2603531 w 8079933"/>
              <a:gd name="connsiteY26753" fmla="*/ 519048 h 4687251"/>
              <a:gd name="connsiteX26754" fmla="*/ 2602988 w 8079933"/>
              <a:gd name="connsiteY26754" fmla="*/ 521539 h 4687251"/>
              <a:gd name="connsiteX26755" fmla="*/ 2600601 w 8079933"/>
              <a:gd name="connsiteY26755" fmla="*/ 520889 h 4687251"/>
              <a:gd name="connsiteX26756" fmla="*/ 2598756 w 8079933"/>
              <a:gd name="connsiteY26756" fmla="*/ 517858 h 4687251"/>
              <a:gd name="connsiteX26757" fmla="*/ 2596586 w 8079933"/>
              <a:gd name="connsiteY26757" fmla="*/ 519373 h 4687251"/>
              <a:gd name="connsiteX26758" fmla="*/ 2595066 w 8079933"/>
              <a:gd name="connsiteY26758" fmla="*/ 521647 h 4687251"/>
              <a:gd name="connsiteX26759" fmla="*/ 2593005 w 8079933"/>
              <a:gd name="connsiteY26759" fmla="*/ 521430 h 4687251"/>
              <a:gd name="connsiteX26760" fmla="*/ 2592571 w 8079933"/>
              <a:gd name="connsiteY26760" fmla="*/ 515801 h 4687251"/>
              <a:gd name="connsiteX26761" fmla="*/ 2594958 w 8079933"/>
              <a:gd name="connsiteY26761" fmla="*/ 514393 h 4687251"/>
              <a:gd name="connsiteX26762" fmla="*/ 2597888 w 8079933"/>
              <a:gd name="connsiteY26762" fmla="*/ 510062 h 4687251"/>
              <a:gd name="connsiteX26763" fmla="*/ 2608631 w 8079933"/>
              <a:gd name="connsiteY26763" fmla="*/ 503240 h 4687251"/>
              <a:gd name="connsiteX26764" fmla="*/ 5317316 w 8079933"/>
              <a:gd name="connsiteY26764" fmla="*/ 501186 h 4687251"/>
              <a:gd name="connsiteX26765" fmla="*/ 5320571 w 8079933"/>
              <a:gd name="connsiteY26765" fmla="*/ 503135 h 4687251"/>
              <a:gd name="connsiteX26766" fmla="*/ 5327951 w 8079933"/>
              <a:gd name="connsiteY26766" fmla="*/ 504216 h 4687251"/>
              <a:gd name="connsiteX26767" fmla="*/ 5327299 w 8079933"/>
              <a:gd name="connsiteY26767" fmla="*/ 506057 h 4687251"/>
              <a:gd name="connsiteX26768" fmla="*/ 5323067 w 8079933"/>
              <a:gd name="connsiteY26768" fmla="*/ 507790 h 4687251"/>
              <a:gd name="connsiteX26769" fmla="*/ 5319486 w 8079933"/>
              <a:gd name="connsiteY26769" fmla="*/ 507790 h 4687251"/>
              <a:gd name="connsiteX26770" fmla="*/ 5313951 w 8079933"/>
              <a:gd name="connsiteY26770" fmla="*/ 508765 h 4687251"/>
              <a:gd name="connsiteX26771" fmla="*/ 5311781 w 8079933"/>
              <a:gd name="connsiteY26771" fmla="*/ 507248 h 4687251"/>
              <a:gd name="connsiteX26772" fmla="*/ 5314385 w 8079933"/>
              <a:gd name="connsiteY26772" fmla="*/ 502052 h 4687251"/>
              <a:gd name="connsiteX26773" fmla="*/ 6051756 w 8079933"/>
              <a:gd name="connsiteY26773" fmla="*/ 498913 h 4687251"/>
              <a:gd name="connsiteX26774" fmla="*/ 6055446 w 8079933"/>
              <a:gd name="connsiteY26774" fmla="*/ 498913 h 4687251"/>
              <a:gd name="connsiteX26775" fmla="*/ 6060330 w 8079933"/>
              <a:gd name="connsiteY26775" fmla="*/ 502377 h 4687251"/>
              <a:gd name="connsiteX26776" fmla="*/ 6063368 w 8079933"/>
              <a:gd name="connsiteY26776" fmla="*/ 505409 h 4687251"/>
              <a:gd name="connsiteX26777" fmla="*/ 6063368 w 8079933"/>
              <a:gd name="connsiteY26777" fmla="*/ 507356 h 4687251"/>
              <a:gd name="connsiteX26778" fmla="*/ 6061415 w 8079933"/>
              <a:gd name="connsiteY26778" fmla="*/ 507356 h 4687251"/>
              <a:gd name="connsiteX26779" fmla="*/ 6059570 w 8079933"/>
              <a:gd name="connsiteY26779" fmla="*/ 508874 h 4687251"/>
              <a:gd name="connsiteX26780" fmla="*/ 6053385 w 8079933"/>
              <a:gd name="connsiteY26780" fmla="*/ 508874 h 4687251"/>
              <a:gd name="connsiteX26781" fmla="*/ 6053385 w 8079933"/>
              <a:gd name="connsiteY26781" fmla="*/ 505300 h 4687251"/>
              <a:gd name="connsiteX26782" fmla="*/ 6049586 w 8079933"/>
              <a:gd name="connsiteY26782" fmla="*/ 503026 h 4687251"/>
              <a:gd name="connsiteX26783" fmla="*/ 6049586 w 8079933"/>
              <a:gd name="connsiteY26783" fmla="*/ 500861 h 4687251"/>
              <a:gd name="connsiteX26784" fmla="*/ 2574014 w 8079933"/>
              <a:gd name="connsiteY26784" fmla="*/ 496747 h 4687251"/>
              <a:gd name="connsiteX26785" fmla="*/ 2575425 w 8079933"/>
              <a:gd name="connsiteY26785" fmla="*/ 498587 h 4687251"/>
              <a:gd name="connsiteX26786" fmla="*/ 2573689 w 8079933"/>
              <a:gd name="connsiteY26786" fmla="*/ 501186 h 4687251"/>
              <a:gd name="connsiteX26787" fmla="*/ 2571301 w 8079933"/>
              <a:gd name="connsiteY26787" fmla="*/ 501186 h 4687251"/>
              <a:gd name="connsiteX26788" fmla="*/ 2569348 w 8079933"/>
              <a:gd name="connsiteY26788" fmla="*/ 498912 h 4687251"/>
              <a:gd name="connsiteX26789" fmla="*/ 5053946 w 8079933"/>
              <a:gd name="connsiteY26789" fmla="*/ 492308 h 4687251"/>
              <a:gd name="connsiteX26790" fmla="*/ 5055791 w 8079933"/>
              <a:gd name="connsiteY26790" fmla="*/ 494798 h 4687251"/>
              <a:gd name="connsiteX26791" fmla="*/ 5055791 w 8079933"/>
              <a:gd name="connsiteY26791" fmla="*/ 498697 h 4687251"/>
              <a:gd name="connsiteX26792" fmla="*/ 5058395 w 8079933"/>
              <a:gd name="connsiteY26792" fmla="*/ 502161 h 4687251"/>
              <a:gd name="connsiteX26793" fmla="*/ 5062844 w 8079933"/>
              <a:gd name="connsiteY26793" fmla="*/ 502811 h 4687251"/>
              <a:gd name="connsiteX26794" fmla="*/ 5065232 w 8079933"/>
              <a:gd name="connsiteY26794" fmla="*/ 505409 h 4687251"/>
              <a:gd name="connsiteX26795" fmla="*/ 5070115 w 8079933"/>
              <a:gd name="connsiteY26795" fmla="*/ 506058 h 4687251"/>
              <a:gd name="connsiteX26796" fmla="*/ 5071525 w 8079933"/>
              <a:gd name="connsiteY26796" fmla="*/ 508116 h 4687251"/>
              <a:gd name="connsiteX26797" fmla="*/ 5069138 w 8079933"/>
              <a:gd name="connsiteY26797" fmla="*/ 513963 h 4687251"/>
              <a:gd name="connsiteX26798" fmla="*/ 5069138 w 8079933"/>
              <a:gd name="connsiteY26798" fmla="*/ 520027 h 4687251"/>
              <a:gd name="connsiteX26799" fmla="*/ 5072285 w 8079933"/>
              <a:gd name="connsiteY26799" fmla="*/ 520027 h 4687251"/>
              <a:gd name="connsiteX26800" fmla="*/ 5073804 w 8079933"/>
              <a:gd name="connsiteY26800" fmla="*/ 521218 h 4687251"/>
              <a:gd name="connsiteX26801" fmla="*/ 5073804 w 8079933"/>
              <a:gd name="connsiteY26801" fmla="*/ 527712 h 4687251"/>
              <a:gd name="connsiteX26802" fmla="*/ 5074455 w 8079933"/>
              <a:gd name="connsiteY26802" fmla="*/ 531719 h 4687251"/>
              <a:gd name="connsiteX26803" fmla="*/ 5072177 w 8079933"/>
              <a:gd name="connsiteY26803" fmla="*/ 536159 h 4687251"/>
              <a:gd name="connsiteX26804" fmla="*/ 5073587 w 8079933"/>
              <a:gd name="connsiteY26804" fmla="*/ 538432 h 4687251"/>
              <a:gd name="connsiteX26805" fmla="*/ 5073587 w 8079933"/>
              <a:gd name="connsiteY26805" fmla="*/ 541572 h 4687251"/>
              <a:gd name="connsiteX26806" fmla="*/ 5070006 w 8079933"/>
              <a:gd name="connsiteY26806" fmla="*/ 543088 h 4687251"/>
              <a:gd name="connsiteX26807" fmla="*/ 5067402 w 8079933"/>
              <a:gd name="connsiteY26807" fmla="*/ 543088 h 4687251"/>
              <a:gd name="connsiteX26808" fmla="*/ 5063604 w 8079933"/>
              <a:gd name="connsiteY26808" fmla="*/ 545469 h 4687251"/>
              <a:gd name="connsiteX26809" fmla="*/ 5056876 w 8079933"/>
              <a:gd name="connsiteY26809" fmla="*/ 553698 h 4687251"/>
              <a:gd name="connsiteX26810" fmla="*/ 5052426 w 8079933"/>
              <a:gd name="connsiteY26810" fmla="*/ 557272 h 4687251"/>
              <a:gd name="connsiteX26811" fmla="*/ 5044830 w 8079933"/>
              <a:gd name="connsiteY26811" fmla="*/ 559544 h 4687251"/>
              <a:gd name="connsiteX26812" fmla="*/ 5038428 w 8079933"/>
              <a:gd name="connsiteY26812" fmla="*/ 565066 h 4687251"/>
              <a:gd name="connsiteX26813" fmla="*/ 5035715 w 8079933"/>
              <a:gd name="connsiteY26813" fmla="*/ 565066 h 4687251"/>
              <a:gd name="connsiteX26814" fmla="*/ 5028010 w 8079933"/>
              <a:gd name="connsiteY26814" fmla="*/ 571238 h 4687251"/>
              <a:gd name="connsiteX26815" fmla="*/ 5018352 w 8079933"/>
              <a:gd name="connsiteY26815" fmla="*/ 582065 h 4687251"/>
              <a:gd name="connsiteX26816" fmla="*/ 5009562 w 8079933"/>
              <a:gd name="connsiteY26816" fmla="*/ 588561 h 4687251"/>
              <a:gd name="connsiteX26817" fmla="*/ 5005764 w 8079933"/>
              <a:gd name="connsiteY26817" fmla="*/ 588561 h 4687251"/>
              <a:gd name="connsiteX26818" fmla="*/ 5003051 w 8079933"/>
              <a:gd name="connsiteY26818" fmla="*/ 597114 h 4687251"/>
              <a:gd name="connsiteX26819" fmla="*/ 4999253 w 8079933"/>
              <a:gd name="connsiteY26819" fmla="*/ 603828 h 4687251"/>
              <a:gd name="connsiteX26820" fmla="*/ 4992308 w 8079933"/>
              <a:gd name="connsiteY26820" fmla="*/ 608158 h 4687251"/>
              <a:gd name="connsiteX26821" fmla="*/ 4991657 w 8079933"/>
              <a:gd name="connsiteY26821" fmla="*/ 614004 h 4687251"/>
              <a:gd name="connsiteX26822" fmla="*/ 4988944 w 8079933"/>
              <a:gd name="connsiteY26822" fmla="*/ 616603 h 4687251"/>
              <a:gd name="connsiteX26823" fmla="*/ 4987208 w 8079933"/>
              <a:gd name="connsiteY26823" fmla="*/ 621908 h 4687251"/>
              <a:gd name="connsiteX26824" fmla="*/ 4980479 w 8079933"/>
              <a:gd name="connsiteY26824" fmla="*/ 630462 h 4687251"/>
              <a:gd name="connsiteX26825" fmla="*/ 4977550 w 8079933"/>
              <a:gd name="connsiteY26825" fmla="*/ 632844 h 4687251"/>
              <a:gd name="connsiteX26826" fmla="*/ 4975271 w 8079933"/>
              <a:gd name="connsiteY26826" fmla="*/ 628729 h 4687251"/>
              <a:gd name="connsiteX26827" fmla="*/ 4972883 w 8079933"/>
              <a:gd name="connsiteY26827" fmla="*/ 632844 h 4687251"/>
              <a:gd name="connsiteX26828" fmla="*/ 4974837 w 8079933"/>
              <a:gd name="connsiteY26828" fmla="*/ 636308 h 4687251"/>
              <a:gd name="connsiteX26829" fmla="*/ 4978743 w 8079933"/>
              <a:gd name="connsiteY26829" fmla="*/ 638906 h 4687251"/>
              <a:gd name="connsiteX26830" fmla="*/ 4977550 w 8079933"/>
              <a:gd name="connsiteY26830" fmla="*/ 642370 h 4687251"/>
              <a:gd name="connsiteX26831" fmla="*/ 4971364 w 8079933"/>
              <a:gd name="connsiteY26831" fmla="*/ 645293 h 4687251"/>
              <a:gd name="connsiteX26832" fmla="*/ 4970496 w 8079933"/>
              <a:gd name="connsiteY26832" fmla="*/ 647242 h 4687251"/>
              <a:gd name="connsiteX26833" fmla="*/ 4972015 w 8079933"/>
              <a:gd name="connsiteY26833" fmla="*/ 648974 h 4687251"/>
              <a:gd name="connsiteX26834" fmla="*/ 4972015 w 8079933"/>
              <a:gd name="connsiteY26834" fmla="*/ 653738 h 4687251"/>
              <a:gd name="connsiteX26835" fmla="*/ 4968543 w 8079933"/>
              <a:gd name="connsiteY26835" fmla="*/ 656878 h 4687251"/>
              <a:gd name="connsiteX26836" fmla="*/ 4965830 w 8079933"/>
              <a:gd name="connsiteY26836" fmla="*/ 655470 h 4687251"/>
              <a:gd name="connsiteX26837" fmla="*/ 4962032 w 8079933"/>
              <a:gd name="connsiteY26837" fmla="*/ 655470 h 4687251"/>
              <a:gd name="connsiteX26838" fmla="*/ 4962032 w 8079933"/>
              <a:gd name="connsiteY26838" fmla="*/ 658069 h 4687251"/>
              <a:gd name="connsiteX26839" fmla="*/ 4965504 w 8079933"/>
              <a:gd name="connsiteY26839" fmla="*/ 660343 h 4687251"/>
              <a:gd name="connsiteX26840" fmla="*/ 4963551 w 8079933"/>
              <a:gd name="connsiteY26840" fmla="*/ 663050 h 4687251"/>
              <a:gd name="connsiteX26841" fmla="*/ 4957366 w 8079933"/>
              <a:gd name="connsiteY26841" fmla="*/ 660668 h 4687251"/>
              <a:gd name="connsiteX26842" fmla="*/ 4953242 w 8079933"/>
              <a:gd name="connsiteY26842" fmla="*/ 657744 h 4687251"/>
              <a:gd name="connsiteX26843" fmla="*/ 4950312 w 8079933"/>
              <a:gd name="connsiteY26843" fmla="*/ 658611 h 4687251"/>
              <a:gd name="connsiteX26844" fmla="*/ 4950312 w 8079933"/>
              <a:gd name="connsiteY26844" fmla="*/ 664566 h 4687251"/>
              <a:gd name="connsiteX26845" fmla="*/ 4953459 w 8079933"/>
              <a:gd name="connsiteY26845" fmla="*/ 664566 h 4687251"/>
              <a:gd name="connsiteX26846" fmla="*/ 4954653 w 8079933"/>
              <a:gd name="connsiteY26846" fmla="*/ 665973 h 4687251"/>
              <a:gd name="connsiteX26847" fmla="*/ 4952808 w 8079933"/>
              <a:gd name="connsiteY26847" fmla="*/ 671170 h 4687251"/>
              <a:gd name="connsiteX26848" fmla="*/ 4949552 w 8079933"/>
              <a:gd name="connsiteY26848" fmla="*/ 672036 h 4687251"/>
              <a:gd name="connsiteX26849" fmla="*/ 4945754 w 8079933"/>
              <a:gd name="connsiteY26849" fmla="*/ 668572 h 4687251"/>
              <a:gd name="connsiteX26850" fmla="*/ 4942282 w 8079933"/>
              <a:gd name="connsiteY26850" fmla="*/ 668572 h 4687251"/>
              <a:gd name="connsiteX26851" fmla="*/ 4947274 w 8079933"/>
              <a:gd name="connsiteY26851" fmla="*/ 674743 h 4687251"/>
              <a:gd name="connsiteX26852" fmla="*/ 4950855 w 8079933"/>
              <a:gd name="connsiteY26852" fmla="*/ 679182 h 4687251"/>
              <a:gd name="connsiteX26853" fmla="*/ 4950855 w 8079933"/>
              <a:gd name="connsiteY26853" fmla="*/ 683621 h 4687251"/>
              <a:gd name="connsiteX26854" fmla="*/ 4948142 w 8079933"/>
              <a:gd name="connsiteY26854" fmla="*/ 688385 h 4687251"/>
              <a:gd name="connsiteX26855" fmla="*/ 4948142 w 8079933"/>
              <a:gd name="connsiteY26855" fmla="*/ 691308 h 4687251"/>
              <a:gd name="connsiteX26856" fmla="*/ 4949987 w 8079933"/>
              <a:gd name="connsiteY26856" fmla="*/ 693149 h 4687251"/>
              <a:gd name="connsiteX26857" fmla="*/ 4949987 w 8079933"/>
              <a:gd name="connsiteY26857" fmla="*/ 696288 h 4687251"/>
              <a:gd name="connsiteX26858" fmla="*/ 4948793 w 8079933"/>
              <a:gd name="connsiteY26858" fmla="*/ 698996 h 4687251"/>
              <a:gd name="connsiteX26859" fmla="*/ 4944669 w 8079933"/>
              <a:gd name="connsiteY26859" fmla="*/ 697804 h 4687251"/>
              <a:gd name="connsiteX26860" fmla="*/ 4940220 w 8079933"/>
              <a:gd name="connsiteY26860" fmla="*/ 695747 h 4687251"/>
              <a:gd name="connsiteX26861" fmla="*/ 4939569 w 8079933"/>
              <a:gd name="connsiteY26861" fmla="*/ 692282 h 4687251"/>
              <a:gd name="connsiteX26862" fmla="*/ 4936313 w 8079933"/>
              <a:gd name="connsiteY26862" fmla="*/ 688493 h 4687251"/>
              <a:gd name="connsiteX26863" fmla="*/ 4934903 w 8079933"/>
              <a:gd name="connsiteY26863" fmla="*/ 691092 h 4687251"/>
              <a:gd name="connsiteX26864" fmla="*/ 4939569 w 8079933"/>
              <a:gd name="connsiteY26864" fmla="*/ 697588 h 4687251"/>
              <a:gd name="connsiteX26865" fmla="*/ 4944561 w 8079933"/>
              <a:gd name="connsiteY26865" fmla="*/ 704301 h 4687251"/>
              <a:gd name="connsiteX26866" fmla="*/ 4946406 w 8079933"/>
              <a:gd name="connsiteY26866" fmla="*/ 711338 h 4687251"/>
              <a:gd name="connsiteX26867" fmla="*/ 4944126 w 8079933"/>
              <a:gd name="connsiteY26867" fmla="*/ 714478 h 4687251"/>
              <a:gd name="connsiteX26868" fmla="*/ 4941739 w 8079933"/>
              <a:gd name="connsiteY26868" fmla="*/ 713071 h 4687251"/>
              <a:gd name="connsiteX26869" fmla="*/ 4941739 w 8079933"/>
              <a:gd name="connsiteY26869" fmla="*/ 710147 h 4687251"/>
              <a:gd name="connsiteX26870" fmla="*/ 4939135 w 8079933"/>
              <a:gd name="connsiteY26870" fmla="*/ 706358 h 4687251"/>
              <a:gd name="connsiteX26871" fmla="*/ 4935988 w 8079933"/>
              <a:gd name="connsiteY26871" fmla="*/ 707441 h 4687251"/>
              <a:gd name="connsiteX26872" fmla="*/ 4932190 w 8079933"/>
              <a:gd name="connsiteY26872" fmla="*/ 706358 h 4687251"/>
              <a:gd name="connsiteX26873" fmla="*/ 4929477 w 8079933"/>
              <a:gd name="connsiteY26873" fmla="*/ 707765 h 4687251"/>
              <a:gd name="connsiteX26874" fmla="*/ 4931213 w 8079933"/>
              <a:gd name="connsiteY26874" fmla="*/ 710039 h 4687251"/>
              <a:gd name="connsiteX26875" fmla="*/ 4934469 w 8079933"/>
              <a:gd name="connsiteY26875" fmla="*/ 710039 h 4687251"/>
              <a:gd name="connsiteX26876" fmla="*/ 4938918 w 8079933"/>
              <a:gd name="connsiteY26876" fmla="*/ 711121 h 4687251"/>
              <a:gd name="connsiteX26877" fmla="*/ 4941523 w 8079933"/>
              <a:gd name="connsiteY26877" fmla="*/ 716968 h 4687251"/>
              <a:gd name="connsiteX26878" fmla="*/ 4944777 w 8079933"/>
              <a:gd name="connsiteY26878" fmla="*/ 719892 h 4687251"/>
              <a:gd name="connsiteX26879" fmla="*/ 4944126 w 8079933"/>
              <a:gd name="connsiteY26879" fmla="*/ 724222 h 4687251"/>
              <a:gd name="connsiteX26880" fmla="*/ 4940980 w 8079933"/>
              <a:gd name="connsiteY26880" fmla="*/ 729419 h 4687251"/>
              <a:gd name="connsiteX26881" fmla="*/ 4940980 w 8079933"/>
              <a:gd name="connsiteY26881" fmla="*/ 734616 h 4687251"/>
              <a:gd name="connsiteX26882" fmla="*/ 4938592 w 8079933"/>
              <a:gd name="connsiteY26882" fmla="*/ 740463 h 4687251"/>
              <a:gd name="connsiteX26883" fmla="*/ 4935011 w 8079933"/>
              <a:gd name="connsiteY26883" fmla="*/ 741329 h 4687251"/>
              <a:gd name="connsiteX26884" fmla="*/ 4933817 w 8079933"/>
              <a:gd name="connsiteY26884" fmla="*/ 743928 h 4687251"/>
              <a:gd name="connsiteX26885" fmla="*/ 4926872 w 8079933"/>
              <a:gd name="connsiteY26885" fmla="*/ 743928 h 4687251"/>
              <a:gd name="connsiteX26886" fmla="*/ 4922858 w 8079933"/>
              <a:gd name="connsiteY26886" fmla="*/ 741871 h 4687251"/>
              <a:gd name="connsiteX26887" fmla="*/ 4920578 w 8079933"/>
              <a:gd name="connsiteY26887" fmla="*/ 737215 h 4687251"/>
              <a:gd name="connsiteX26888" fmla="*/ 4918517 w 8079933"/>
              <a:gd name="connsiteY26888" fmla="*/ 736565 h 4687251"/>
              <a:gd name="connsiteX26889" fmla="*/ 4918517 w 8079933"/>
              <a:gd name="connsiteY26889" fmla="*/ 740030 h 4687251"/>
              <a:gd name="connsiteX26890" fmla="*/ 4920578 w 8079933"/>
              <a:gd name="connsiteY26890" fmla="*/ 742628 h 4687251"/>
              <a:gd name="connsiteX26891" fmla="*/ 4916997 w 8079933"/>
              <a:gd name="connsiteY26891" fmla="*/ 744686 h 4687251"/>
              <a:gd name="connsiteX26892" fmla="*/ 4911680 w 8079933"/>
              <a:gd name="connsiteY26892" fmla="*/ 743494 h 4687251"/>
              <a:gd name="connsiteX26893" fmla="*/ 4909401 w 8079933"/>
              <a:gd name="connsiteY26893" fmla="*/ 740788 h 4687251"/>
              <a:gd name="connsiteX26894" fmla="*/ 4904952 w 8079933"/>
              <a:gd name="connsiteY26894" fmla="*/ 739705 h 4687251"/>
              <a:gd name="connsiteX26895" fmla="*/ 4899309 w 8079933"/>
              <a:gd name="connsiteY26895" fmla="*/ 742304 h 4687251"/>
              <a:gd name="connsiteX26896" fmla="*/ 4892472 w 8079933"/>
              <a:gd name="connsiteY26896" fmla="*/ 745769 h 4687251"/>
              <a:gd name="connsiteX26897" fmla="*/ 4885419 w 8079933"/>
              <a:gd name="connsiteY26897" fmla="*/ 745769 h 4687251"/>
              <a:gd name="connsiteX26898" fmla="*/ 4885419 w 8079933"/>
              <a:gd name="connsiteY26898" fmla="*/ 743494 h 4687251"/>
              <a:gd name="connsiteX26899" fmla="*/ 4886504 w 8079933"/>
              <a:gd name="connsiteY26899" fmla="*/ 741546 h 4687251"/>
              <a:gd name="connsiteX26900" fmla="*/ 4885202 w 8079933"/>
              <a:gd name="connsiteY26900" fmla="*/ 737539 h 4687251"/>
              <a:gd name="connsiteX26901" fmla="*/ 4886179 w 8079933"/>
              <a:gd name="connsiteY26901" fmla="*/ 733426 h 4687251"/>
              <a:gd name="connsiteX26902" fmla="*/ 4888783 w 8079933"/>
              <a:gd name="connsiteY26902" fmla="*/ 729528 h 4687251"/>
              <a:gd name="connsiteX26903" fmla="*/ 4895185 w 8079933"/>
              <a:gd name="connsiteY26903" fmla="*/ 725738 h 4687251"/>
              <a:gd name="connsiteX26904" fmla="*/ 4896813 w 8079933"/>
              <a:gd name="connsiteY26904" fmla="*/ 723031 h 4687251"/>
              <a:gd name="connsiteX26905" fmla="*/ 4899526 w 8079933"/>
              <a:gd name="connsiteY26905" fmla="*/ 723031 h 4687251"/>
              <a:gd name="connsiteX26906" fmla="*/ 4902456 w 8079933"/>
              <a:gd name="connsiteY26906" fmla="*/ 725414 h 4687251"/>
              <a:gd name="connsiteX26907" fmla="*/ 4904518 w 8079933"/>
              <a:gd name="connsiteY26907" fmla="*/ 725414 h 4687251"/>
              <a:gd name="connsiteX26908" fmla="*/ 4904518 w 8079933"/>
              <a:gd name="connsiteY26908" fmla="*/ 723139 h 4687251"/>
              <a:gd name="connsiteX26909" fmla="*/ 4902239 w 8079933"/>
              <a:gd name="connsiteY26909" fmla="*/ 721082 h 4687251"/>
              <a:gd name="connsiteX26910" fmla="*/ 4897356 w 8079933"/>
              <a:gd name="connsiteY26910" fmla="*/ 721082 h 4687251"/>
              <a:gd name="connsiteX26911" fmla="*/ 4892472 w 8079933"/>
              <a:gd name="connsiteY26911" fmla="*/ 722815 h 4687251"/>
              <a:gd name="connsiteX26912" fmla="*/ 4886396 w 8079933"/>
              <a:gd name="connsiteY26912" fmla="*/ 727687 h 4687251"/>
              <a:gd name="connsiteX26913" fmla="*/ 4883140 w 8079933"/>
              <a:gd name="connsiteY26913" fmla="*/ 729528 h 4687251"/>
              <a:gd name="connsiteX26914" fmla="*/ 4881946 w 8079933"/>
              <a:gd name="connsiteY26914" fmla="*/ 732235 h 4687251"/>
              <a:gd name="connsiteX26915" fmla="*/ 4879993 w 8079933"/>
              <a:gd name="connsiteY26915" fmla="*/ 733534 h 4687251"/>
              <a:gd name="connsiteX26916" fmla="*/ 4875652 w 8079933"/>
              <a:gd name="connsiteY26916" fmla="*/ 731260 h 4687251"/>
              <a:gd name="connsiteX26917" fmla="*/ 4870444 w 8079933"/>
              <a:gd name="connsiteY26917" fmla="*/ 726063 h 4687251"/>
              <a:gd name="connsiteX26918" fmla="*/ 4870444 w 8079933"/>
              <a:gd name="connsiteY26918" fmla="*/ 724547 h 4687251"/>
              <a:gd name="connsiteX26919" fmla="*/ 4874459 w 8079933"/>
              <a:gd name="connsiteY26919" fmla="*/ 723465 h 4687251"/>
              <a:gd name="connsiteX26920" fmla="*/ 4875870 w 8079933"/>
              <a:gd name="connsiteY26920" fmla="*/ 721516 h 4687251"/>
              <a:gd name="connsiteX26921" fmla="*/ 4875110 w 8079933"/>
              <a:gd name="connsiteY26921" fmla="*/ 719783 h 4687251"/>
              <a:gd name="connsiteX26922" fmla="*/ 4876520 w 8079933"/>
              <a:gd name="connsiteY26922" fmla="*/ 715994 h 4687251"/>
              <a:gd name="connsiteX26923" fmla="*/ 4879342 w 8079933"/>
              <a:gd name="connsiteY26923" fmla="*/ 712529 h 4687251"/>
              <a:gd name="connsiteX26924" fmla="*/ 4881513 w 8079933"/>
              <a:gd name="connsiteY26924" fmla="*/ 712529 h 4687251"/>
              <a:gd name="connsiteX26925" fmla="*/ 4884334 w 8079933"/>
              <a:gd name="connsiteY26925" fmla="*/ 711880 h 4687251"/>
              <a:gd name="connsiteX26926" fmla="*/ 4884985 w 8079933"/>
              <a:gd name="connsiteY26926" fmla="*/ 709714 h 4687251"/>
              <a:gd name="connsiteX26927" fmla="*/ 4883249 w 8079933"/>
              <a:gd name="connsiteY26927" fmla="*/ 707657 h 4687251"/>
              <a:gd name="connsiteX26928" fmla="*/ 4883249 w 8079933"/>
              <a:gd name="connsiteY26928" fmla="*/ 705058 h 4687251"/>
              <a:gd name="connsiteX26929" fmla="*/ 4885093 w 8079933"/>
              <a:gd name="connsiteY26929" fmla="*/ 703326 h 4687251"/>
              <a:gd name="connsiteX26930" fmla="*/ 4885853 w 8079933"/>
              <a:gd name="connsiteY26930" fmla="*/ 700186 h 4687251"/>
              <a:gd name="connsiteX26931" fmla="*/ 4888566 w 8079933"/>
              <a:gd name="connsiteY26931" fmla="*/ 697480 h 4687251"/>
              <a:gd name="connsiteX26932" fmla="*/ 4892690 w 8079933"/>
              <a:gd name="connsiteY26932" fmla="*/ 697480 h 4687251"/>
              <a:gd name="connsiteX26933" fmla="*/ 4896596 w 8079933"/>
              <a:gd name="connsiteY26933" fmla="*/ 699862 h 4687251"/>
              <a:gd name="connsiteX26934" fmla="*/ 4900828 w 8079933"/>
              <a:gd name="connsiteY26934" fmla="*/ 699862 h 4687251"/>
              <a:gd name="connsiteX26935" fmla="*/ 4905603 w 8079933"/>
              <a:gd name="connsiteY26935" fmla="*/ 701919 h 4687251"/>
              <a:gd name="connsiteX26936" fmla="*/ 4908751 w 8079933"/>
              <a:gd name="connsiteY26936" fmla="*/ 705600 h 4687251"/>
              <a:gd name="connsiteX26937" fmla="*/ 4908751 w 8079933"/>
              <a:gd name="connsiteY26937" fmla="*/ 702568 h 4687251"/>
              <a:gd name="connsiteX26938" fmla="*/ 4908751 w 8079933"/>
              <a:gd name="connsiteY26938" fmla="*/ 701161 h 4687251"/>
              <a:gd name="connsiteX26939" fmla="*/ 4904952 w 8079933"/>
              <a:gd name="connsiteY26939" fmla="*/ 699645 h 4687251"/>
              <a:gd name="connsiteX26940" fmla="*/ 4898333 w 8079933"/>
              <a:gd name="connsiteY26940" fmla="*/ 695423 h 4687251"/>
              <a:gd name="connsiteX26941" fmla="*/ 4892472 w 8079933"/>
              <a:gd name="connsiteY26941" fmla="*/ 694665 h 4687251"/>
              <a:gd name="connsiteX26942" fmla="*/ 4890954 w 8079933"/>
              <a:gd name="connsiteY26942" fmla="*/ 693690 h 4687251"/>
              <a:gd name="connsiteX26943" fmla="*/ 4890954 w 8079933"/>
              <a:gd name="connsiteY26943" fmla="*/ 691200 h 4687251"/>
              <a:gd name="connsiteX26944" fmla="*/ 4895728 w 8079933"/>
              <a:gd name="connsiteY26944" fmla="*/ 690442 h 4687251"/>
              <a:gd name="connsiteX26945" fmla="*/ 4898658 w 8079933"/>
              <a:gd name="connsiteY26945" fmla="*/ 689359 h 4687251"/>
              <a:gd name="connsiteX26946" fmla="*/ 4898658 w 8079933"/>
              <a:gd name="connsiteY26946" fmla="*/ 687411 h 4687251"/>
              <a:gd name="connsiteX26947" fmla="*/ 4893883 w 8079933"/>
              <a:gd name="connsiteY26947" fmla="*/ 687411 h 4687251"/>
              <a:gd name="connsiteX26948" fmla="*/ 4889759 w 8079933"/>
              <a:gd name="connsiteY26948" fmla="*/ 688060 h 4687251"/>
              <a:gd name="connsiteX26949" fmla="*/ 4887481 w 8079933"/>
              <a:gd name="connsiteY26949" fmla="*/ 686436 h 4687251"/>
              <a:gd name="connsiteX26950" fmla="*/ 4887481 w 8079933"/>
              <a:gd name="connsiteY26950" fmla="*/ 683837 h 4687251"/>
              <a:gd name="connsiteX26951" fmla="*/ 4890194 w 8079933"/>
              <a:gd name="connsiteY26951" fmla="*/ 681889 h 4687251"/>
              <a:gd name="connsiteX26952" fmla="*/ 4895837 w 8079933"/>
              <a:gd name="connsiteY26952" fmla="*/ 681889 h 4687251"/>
              <a:gd name="connsiteX26953" fmla="*/ 4901154 w 8079933"/>
              <a:gd name="connsiteY26953" fmla="*/ 679615 h 4687251"/>
              <a:gd name="connsiteX26954" fmla="*/ 4902239 w 8079933"/>
              <a:gd name="connsiteY26954" fmla="*/ 677774 h 4687251"/>
              <a:gd name="connsiteX26955" fmla="*/ 4900720 w 8079933"/>
              <a:gd name="connsiteY26955" fmla="*/ 676258 h 4687251"/>
              <a:gd name="connsiteX26956" fmla="*/ 4897573 w 8079933"/>
              <a:gd name="connsiteY26956" fmla="*/ 677558 h 4687251"/>
              <a:gd name="connsiteX26957" fmla="*/ 4894426 w 8079933"/>
              <a:gd name="connsiteY26957" fmla="*/ 676908 h 4687251"/>
              <a:gd name="connsiteX26958" fmla="*/ 4890736 w 8079933"/>
              <a:gd name="connsiteY26958" fmla="*/ 674851 h 4687251"/>
              <a:gd name="connsiteX26959" fmla="*/ 4889217 w 8079933"/>
              <a:gd name="connsiteY26959" fmla="*/ 669870 h 4687251"/>
              <a:gd name="connsiteX26960" fmla="*/ 4890954 w 8079933"/>
              <a:gd name="connsiteY26960" fmla="*/ 666839 h 4687251"/>
              <a:gd name="connsiteX26961" fmla="*/ 4893666 w 8079933"/>
              <a:gd name="connsiteY26961" fmla="*/ 667922 h 4687251"/>
              <a:gd name="connsiteX26962" fmla="*/ 4895837 w 8079933"/>
              <a:gd name="connsiteY26962" fmla="*/ 665215 h 4687251"/>
              <a:gd name="connsiteX26963" fmla="*/ 4901588 w 8079933"/>
              <a:gd name="connsiteY26963" fmla="*/ 665215 h 4687251"/>
              <a:gd name="connsiteX26964" fmla="*/ 4905278 w 8079933"/>
              <a:gd name="connsiteY26964" fmla="*/ 664349 h 4687251"/>
              <a:gd name="connsiteX26965" fmla="*/ 4906906 w 8079933"/>
              <a:gd name="connsiteY26965" fmla="*/ 661101 h 4687251"/>
              <a:gd name="connsiteX26966" fmla="*/ 4905494 w 8079933"/>
              <a:gd name="connsiteY26966" fmla="*/ 659909 h 4687251"/>
              <a:gd name="connsiteX26967" fmla="*/ 4902456 w 8079933"/>
              <a:gd name="connsiteY26967" fmla="*/ 661967 h 4687251"/>
              <a:gd name="connsiteX26968" fmla="*/ 4897681 w 8079933"/>
              <a:gd name="connsiteY26968" fmla="*/ 661967 h 4687251"/>
              <a:gd name="connsiteX26969" fmla="*/ 4895728 w 8079933"/>
              <a:gd name="connsiteY26969" fmla="*/ 660560 h 4687251"/>
              <a:gd name="connsiteX26970" fmla="*/ 4893666 w 8079933"/>
              <a:gd name="connsiteY26970" fmla="*/ 660560 h 4687251"/>
              <a:gd name="connsiteX26971" fmla="*/ 4891279 w 8079933"/>
              <a:gd name="connsiteY26971" fmla="*/ 663374 h 4687251"/>
              <a:gd name="connsiteX26972" fmla="*/ 4888349 w 8079933"/>
              <a:gd name="connsiteY26972" fmla="*/ 661858 h 4687251"/>
              <a:gd name="connsiteX26973" fmla="*/ 4887698 w 8079933"/>
              <a:gd name="connsiteY26973" fmla="*/ 659585 h 4687251"/>
              <a:gd name="connsiteX26974" fmla="*/ 4889977 w 8079933"/>
              <a:gd name="connsiteY26974" fmla="*/ 654605 h 4687251"/>
              <a:gd name="connsiteX26975" fmla="*/ 4889977 w 8079933"/>
              <a:gd name="connsiteY26975" fmla="*/ 651464 h 4687251"/>
              <a:gd name="connsiteX26976" fmla="*/ 4888457 w 8079933"/>
              <a:gd name="connsiteY26976" fmla="*/ 650815 h 4687251"/>
              <a:gd name="connsiteX26977" fmla="*/ 4885419 w 8079933"/>
              <a:gd name="connsiteY26977" fmla="*/ 651789 h 4687251"/>
              <a:gd name="connsiteX26978" fmla="*/ 4881187 w 8079933"/>
              <a:gd name="connsiteY26978" fmla="*/ 648325 h 4687251"/>
              <a:gd name="connsiteX26979" fmla="*/ 4880210 w 8079933"/>
              <a:gd name="connsiteY26979" fmla="*/ 643128 h 4687251"/>
              <a:gd name="connsiteX26980" fmla="*/ 4881513 w 8079933"/>
              <a:gd name="connsiteY26980" fmla="*/ 637067 h 4687251"/>
              <a:gd name="connsiteX26981" fmla="*/ 4883357 w 8079933"/>
              <a:gd name="connsiteY26981" fmla="*/ 636093 h 4687251"/>
              <a:gd name="connsiteX26982" fmla="*/ 4884551 w 8079933"/>
              <a:gd name="connsiteY26982" fmla="*/ 639340 h 4687251"/>
              <a:gd name="connsiteX26983" fmla="*/ 4887047 w 8079933"/>
              <a:gd name="connsiteY26983" fmla="*/ 642478 h 4687251"/>
              <a:gd name="connsiteX26984" fmla="*/ 4890411 w 8079933"/>
              <a:gd name="connsiteY26984" fmla="*/ 644319 h 4687251"/>
              <a:gd name="connsiteX26985" fmla="*/ 4894752 w 8079933"/>
              <a:gd name="connsiteY26985" fmla="*/ 640639 h 4687251"/>
              <a:gd name="connsiteX26986" fmla="*/ 4896813 w 8079933"/>
              <a:gd name="connsiteY26986" fmla="*/ 636634 h 4687251"/>
              <a:gd name="connsiteX26987" fmla="*/ 4896813 w 8079933"/>
              <a:gd name="connsiteY26987" fmla="*/ 633277 h 4687251"/>
              <a:gd name="connsiteX26988" fmla="*/ 4898115 w 8079933"/>
              <a:gd name="connsiteY26988" fmla="*/ 630029 h 4687251"/>
              <a:gd name="connsiteX26989" fmla="*/ 4903216 w 8079933"/>
              <a:gd name="connsiteY26989" fmla="*/ 627322 h 4687251"/>
              <a:gd name="connsiteX26990" fmla="*/ 4908967 w 8079933"/>
              <a:gd name="connsiteY26990" fmla="*/ 628622 h 4687251"/>
              <a:gd name="connsiteX26991" fmla="*/ 4911897 w 8079933"/>
              <a:gd name="connsiteY26991" fmla="*/ 629704 h 4687251"/>
              <a:gd name="connsiteX26992" fmla="*/ 4915044 w 8079933"/>
              <a:gd name="connsiteY26992" fmla="*/ 627105 h 4687251"/>
              <a:gd name="connsiteX26993" fmla="*/ 4915044 w 8079933"/>
              <a:gd name="connsiteY26993" fmla="*/ 623100 h 4687251"/>
              <a:gd name="connsiteX26994" fmla="*/ 4915804 w 8079933"/>
              <a:gd name="connsiteY26994" fmla="*/ 620718 h 4687251"/>
              <a:gd name="connsiteX26995" fmla="*/ 4914393 w 8079933"/>
              <a:gd name="connsiteY26995" fmla="*/ 618769 h 4687251"/>
              <a:gd name="connsiteX26996" fmla="*/ 4910920 w 8079933"/>
              <a:gd name="connsiteY26996" fmla="*/ 619418 h 4687251"/>
              <a:gd name="connsiteX26997" fmla="*/ 4908642 w 8079933"/>
              <a:gd name="connsiteY26997" fmla="*/ 619418 h 4687251"/>
              <a:gd name="connsiteX26998" fmla="*/ 4907882 w 8079933"/>
              <a:gd name="connsiteY26998" fmla="*/ 615845 h 4687251"/>
              <a:gd name="connsiteX26999" fmla="*/ 4908859 w 8079933"/>
              <a:gd name="connsiteY26999" fmla="*/ 609674 h 4687251"/>
              <a:gd name="connsiteX27000" fmla="*/ 4911463 w 8079933"/>
              <a:gd name="connsiteY27000" fmla="*/ 607617 h 4687251"/>
              <a:gd name="connsiteX27001" fmla="*/ 4918517 w 8079933"/>
              <a:gd name="connsiteY27001" fmla="*/ 607617 h 4687251"/>
              <a:gd name="connsiteX27002" fmla="*/ 4921990 w 8079933"/>
              <a:gd name="connsiteY27002" fmla="*/ 604260 h 4687251"/>
              <a:gd name="connsiteX27003" fmla="*/ 4919168 w 8079933"/>
              <a:gd name="connsiteY27003" fmla="*/ 604260 h 4687251"/>
              <a:gd name="connsiteX27004" fmla="*/ 4917865 w 8079933"/>
              <a:gd name="connsiteY27004" fmla="*/ 602744 h 4687251"/>
              <a:gd name="connsiteX27005" fmla="*/ 4918842 w 8079933"/>
              <a:gd name="connsiteY27005" fmla="*/ 596140 h 4687251"/>
              <a:gd name="connsiteX27006" fmla="*/ 4921555 w 8079933"/>
              <a:gd name="connsiteY27006" fmla="*/ 593325 h 4687251"/>
              <a:gd name="connsiteX27007" fmla="*/ 4925896 w 8079933"/>
              <a:gd name="connsiteY27007" fmla="*/ 591917 h 4687251"/>
              <a:gd name="connsiteX27008" fmla="*/ 4926547 w 8079933"/>
              <a:gd name="connsiteY27008" fmla="*/ 589103 h 4687251"/>
              <a:gd name="connsiteX27009" fmla="*/ 4929477 w 8079933"/>
              <a:gd name="connsiteY27009" fmla="*/ 586720 h 4687251"/>
              <a:gd name="connsiteX27010" fmla="*/ 4934794 w 8079933"/>
              <a:gd name="connsiteY27010" fmla="*/ 586720 h 4687251"/>
              <a:gd name="connsiteX27011" fmla="*/ 4936639 w 8079933"/>
              <a:gd name="connsiteY27011" fmla="*/ 582930 h 4687251"/>
              <a:gd name="connsiteX27012" fmla="*/ 4939026 w 8079933"/>
              <a:gd name="connsiteY27012" fmla="*/ 580982 h 4687251"/>
              <a:gd name="connsiteX27013" fmla="*/ 4935988 w 8079933"/>
              <a:gd name="connsiteY27013" fmla="*/ 579466 h 4687251"/>
              <a:gd name="connsiteX27014" fmla="*/ 4935988 w 8079933"/>
              <a:gd name="connsiteY27014" fmla="*/ 576109 h 4687251"/>
              <a:gd name="connsiteX27015" fmla="*/ 4939460 w 8079933"/>
              <a:gd name="connsiteY27015" fmla="*/ 573620 h 4687251"/>
              <a:gd name="connsiteX27016" fmla="*/ 4943367 w 8079933"/>
              <a:gd name="connsiteY27016" fmla="*/ 568314 h 4687251"/>
              <a:gd name="connsiteX27017" fmla="*/ 4946406 w 8079933"/>
              <a:gd name="connsiteY27017" fmla="*/ 568314 h 4687251"/>
              <a:gd name="connsiteX27018" fmla="*/ 4946406 w 8079933"/>
              <a:gd name="connsiteY27018" fmla="*/ 571671 h 4687251"/>
              <a:gd name="connsiteX27019" fmla="*/ 4944669 w 8079933"/>
              <a:gd name="connsiteY27019" fmla="*/ 573620 h 4687251"/>
              <a:gd name="connsiteX27020" fmla="*/ 4944669 w 8079933"/>
              <a:gd name="connsiteY27020" fmla="*/ 576326 h 4687251"/>
              <a:gd name="connsiteX27021" fmla="*/ 4946622 w 8079933"/>
              <a:gd name="connsiteY27021" fmla="*/ 576976 h 4687251"/>
              <a:gd name="connsiteX27022" fmla="*/ 4949552 w 8079933"/>
              <a:gd name="connsiteY27022" fmla="*/ 572862 h 4687251"/>
              <a:gd name="connsiteX27023" fmla="*/ 4951832 w 8079933"/>
              <a:gd name="connsiteY27023" fmla="*/ 571996 h 4687251"/>
              <a:gd name="connsiteX27024" fmla="*/ 4951832 w 8079933"/>
              <a:gd name="connsiteY27024" fmla="*/ 569938 h 4687251"/>
              <a:gd name="connsiteX27025" fmla="*/ 4949878 w 8079933"/>
              <a:gd name="connsiteY27025" fmla="*/ 567991 h 4687251"/>
              <a:gd name="connsiteX27026" fmla="*/ 4947165 w 8079933"/>
              <a:gd name="connsiteY27026" fmla="*/ 561927 h 4687251"/>
              <a:gd name="connsiteX27027" fmla="*/ 4948575 w 8079933"/>
              <a:gd name="connsiteY27027" fmla="*/ 559436 h 4687251"/>
              <a:gd name="connsiteX27028" fmla="*/ 4952048 w 8079933"/>
              <a:gd name="connsiteY27028" fmla="*/ 558787 h 4687251"/>
              <a:gd name="connsiteX27029" fmla="*/ 4953893 w 8079933"/>
              <a:gd name="connsiteY27029" fmla="*/ 557055 h 4687251"/>
              <a:gd name="connsiteX27030" fmla="*/ 4962900 w 8079933"/>
              <a:gd name="connsiteY27030" fmla="*/ 554673 h 4687251"/>
              <a:gd name="connsiteX27031" fmla="*/ 4970170 w 8079933"/>
              <a:gd name="connsiteY27031" fmla="*/ 553914 h 4687251"/>
              <a:gd name="connsiteX27032" fmla="*/ 4972450 w 8079933"/>
              <a:gd name="connsiteY27032" fmla="*/ 557920 h 4687251"/>
              <a:gd name="connsiteX27033" fmla="*/ 4973968 w 8079933"/>
              <a:gd name="connsiteY27033" fmla="*/ 562034 h 4687251"/>
              <a:gd name="connsiteX27034" fmla="*/ 4975488 w 8079933"/>
              <a:gd name="connsiteY27034" fmla="*/ 560409 h 4687251"/>
              <a:gd name="connsiteX27035" fmla="*/ 4974728 w 8079933"/>
              <a:gd name="connsiteY27035" fmla="*/ 555105 h 4687251"/>
              <a:gd name="connsiteX27036" fmla="*/ 4975488 w 8079933"/>
              <a:gd name="connsiteY27036" fmla="*/ 551966 h 4687251"/>
              <a:gd name="connsiteX27037" fmla="*/ 4977333 w 8079933"/>
              <a:gd name="connsiteY27037" fmla="*/ 551966 h 4687251"/>
              <a:gd name="connsiteX27038" fmla="*/ 4978852 w 8079933"/>
              <a:gd name="connsiteY27038" fmla="*/ 555430 h 4687251"/>
              <a:gd name="connsiteX27039" fmla="*/ 4980697 w 8079933"/>
              <a:gd name="connsiteY27039" fmla="*/ 556730 h 4687251"/>
              <a:gd name="connsiteX27040" fmla="*/ 4984278 w 8079933"/>
              <a:gd name="connsiteY27040" fmla="*/ 554347 h 4687251"/>
              <a:gd name="connsiteX27041" fmla="*/ 4988184 w 8079933"/>
              <a:gd name="connsiteY27041" fmla="*/ 548392 h 4687251"/>
              <a:gd name="connsiteX27042" fmla="*/ 4991765 w 8079933"/>
              <a:gd name="connsiteY27042" fmla="*/ 545685 h 4687251"/>
              <a:gd name="connsiteX27043" fmla="*/ 4995781 w 8079933"/>
              <a:gd name="connsiteY27043" fmla="*/ 545685 h 4687251"/>
              <a:gd name="connsiteX27044" fmla="*/ 4997625 w 8079933"/>
              <a:gd name="connsiteY27044" fmla="*/ 546552 h 4687251"/>
              <a:gd name="connsiteX27045" fmla="*/ 5000556 w 8079933"/>
              <a:gd name="connsiteY27045" fmla="*/ 544170 h 4687251"/>
              <a:gd name="connsiteX27046" fmla="*/ 5008803 w 8079933"/>
              <a:gd name="connsiteY27046" fmla="*/ 538757 h 4687251"/>
              <a:gd name="connsiteX27047" fmla="*/ 5011515 w 8079933"/>
              <a:gd name="connsiteY27047" fmla="*/ 535184 h 4687251"/>
              <a:gd name="connsiteX27048" fmla="*/ 5013795 w 8079933"/>
              <a:gd name="connsiteY27048" fmla="*/ 533559 h 4687251"/>
              <a:gd name="connsiteX27049" fmla="*/ 5013795 w 8079933"/>
              <a:gd name="connsiteY27049" fmla="*/ 530095 h 4687251"/>
              <a:gd name="connsiteX27050" fmla="*/ 5015856 w 8079933"/>
              <a:gd name="connsiteY27050" fmla="*/ 527712 h 4687251"/>
              <a:gd name="connsiteX27051" fmla="*/ 5019871 w 8079933"/>
              <a:gd name="connsiteY27051" fmla="*/ 527712 h 4687251"/>
              <a:gd name="connsiteX27052" fmla="*/ 5019871 w 8079933"/>
              <a:gd name="connsiteY27052" fmla="*/ 524572 h 4687251"/>
              <a:gd name="connsiteX27053" fmla="*/ 5017050 w 8079933"/>
              <a:gd name="connsiteY27053" fmla="*/ 519809 h 4687251"/>
              <a:gd name="connsiteX27054" fmla="*/ 5017050 w 8079933"/>
              <a:gd name="connsiteY27054" fmla="*/ 517426 h 4687251"/>
              <a:gd name="connsiteX27055" fmla="*/ 5020631 w 8079933"/>
              <a:gd name="connsiteY27055" fmla="*/ 513530 h 4687251"/>
              <a:gd name="connsiteX27056" fmla="*/ 5020631 w 8079933"/>
              <a:gd name="connsiteY27056" fmla="*/ 510174 h 4687251"/>
              <a:gd name="connsiteX27057" fmla="*/ 5023452 w 8079933"/>
              <a:gd name="connsiteY27057" fmla="*/ 507250 h 4687251"/>
              <a:gd name="connsiteX27058" fmla="*/ 5026925 w 8079933"/>
              <a:gd name="connsiteY27058" fmla="*/ 506600 h 4687251"/>
              <a:gd name="connsiteX27059" fmla="*/ 5029747 w 8079933"/>
              <a:gd name="connsiteY27059" fmla="*/ 504327 h 4687251"/>
              <a:gd name="connsiteX27060" fmla="*/ 5031048 w 8079933"/>
              <a:gd name="connsiteY27060" fmla="*/ 500212 h 4687251"/>
              <a:gd name="connsiteX27061" fmla="*/ 5036908 w 8079933"/>
              <a:gd name="connsiteY27061" fmla="*/ 496423 h 4687251"/>
              <a:gd name="connsiteX27062" fmla="*/ 5040924 w 8079933"/>
              <a:gd name="connsiteY27062" fmla="*/ 495340 h 4687251"/>
              <a:gd name="connsiteX27063" fmla="*/ 5044614 w 8079933"/>
              <a:gd name="connsiteY27063" fmla="*/ 497072 h 4687251"/>
              <a:gd name="connsiteX27064" fmla="*/ 5047543 w 8079933"/>
              <a:gd name="connsiteY27064" fmla="*/ 498155 h 4687251"/>
              <a:gd name="connsiteX27065" fmla="*/ 5048520 w 8079933"/>
              <a:gd name="connsiteY27065" fmla="*/ 495773 h 4687251"/>
              <a:gd name="connsiteX27066" fmla="*/ 6438510 w 8079933"/>
              <a:gd name="connsiteY27066" fmla="*/ 490033 h 4687251"/>
              <a:gd name="connsiteX27067" fmla="*/ 6440355 w 8079933"/>
              <a:gd name="connsiteY27067" fmla="*/ 495338 h 4687251"/>
              <a:gd name="connsiteX27068" fmla="*/ 6442091 w 8079933"/>
              <a:gd name="connsiteY27068" fmla="*/ 498479 h 4687251"/>
              <a:gd name="connsiteX27069" fmla="*/ 6440680 w 8079933"/>
              <a:gd name="connsiteY27069" fmla="*/ 500752 h 4687251"/>
              <a:gd name="connsiteX27070" fmla="*/ 6434277 w 8079933"/>
              <a:gd name="connsiteY27070" fmla="*/ 502701 h 4687251"/>
              <a:gd name="connsiteX27071" fmla="*/ 6434277 w 8079933"/>
              <a:gd name="connsiteY27071" fmla="*/ 505300 h 4687251"/>
              <a:gd name="connsiteX27072" fmla="*/ 6430045 w 8079933"/>
              <a:gd name="connsiteY27072" fmla="*/ 503676 h 4687251"/>
              <a:gd name="connsiteX27073" fmla="*/ 6425704 w 8079933"/>
              <a:gd name="connsiteY27073" fmla="*/ 498046 h 4687251"/>
              <a:gd name="connsiteX27074" fmla="*/ 6431239 w 8079933"/>
              <a:gd name="connsiteY27074" fmla="*/ 498046 h 4687251"/>
              <a:gd name="connsiteX27075" fmla="*/ 6435689 w 8079933"/>
              <a:gd name="connsiteY27075" fmla="*/ 494907 h 4687251"/>
              <a:gd name="connsiteX27076" fmla="*/ 6436557 w 8079933"/>
              <a:gd name="connsiteY27076" fmla="*/ 490900 h 4687251"/>
              <a:gd name="connsiteX27077" fmla="*/ 4275773 w 8079933"/>
              <a:gd name="connsiteY27077" fmla="*/ 486678 h 4687251"/>
              <a:gd name="connsiteX27078" fmla="*/ 4277509 w 8079933"/>
              <a:gd name="connsiteY27078" fmla="*/ 487543 h 4687251"/>
              <a:gd name="connsiteX27079" fmla="*/ 4279137 w 8079933"/>
              <a:gd name="connsiteY27079" fmla="*/ 490141 h 4687251"/>
              <a:gd name="connsiteX27080" fmla="*/ 4282827 w 8079933"/>
              <a:gd name="connsiteY27080" fmla="*/ 490683 h 4687251"/>
              <a:gd name="connsiteX27081" fmla="*/ 4284563 w 8079933"/>
              <a:gd name="connsiteY27081" fmla="*/ 494365 h 4687251"/>
              <a:gd name="connsiteX27082" fmla="*/ 4282935 w 8079933"/>
              <a:gd name="connsiteY27082" fmla="*/ 498262 h 4687251"/>
              <a:gd name="connsiteX27083" fmla="*/ 4280114 w 8079933"/>
              <a:gd name="connsiteY27083" fmla="*/ 500104 h 4687251"/>
              <a:gd name="connsiteX27084" fmla="*/ 4279462 w 8079933"/>
              <a:gd name="connsiteY27084" fmla="*/ 506166 h 4687251"/>
              <a:gd name="connsiteX27085" fmla="*/ 4280114 w 8079933"/>
              <a:gd name="connsiteY27085" fmla="*/ 508765 h 4687251"/>
              <a:gd name="connsiteX27086" fmla="*/ 4277184 w 8079933"/>
              <a:gd name="connsiteY27086" fmla="*/ 511362 h 4687251"/>
              <a:gd name="connsiteX27087" fmla="*/ 4274036 w 8079933"/>
              <a:gd name="connsiteY27087" fmla="*/ 511362 h 4687251"/>
              <a:gd name="connsiteX27088" fmla="*/ 4267743 w 8079933"/>
              <a:gd name="connsiteY27088" fmla="*/ 515152 h 4687251"/>
              <a:gd name="connsiteX27089" fmla="*/ 4265898 w 8079933"/>
              <a:gd name="connsiteY27089" fmla="*/ 516994 h 4687251"/>
              <a:gd name="connsiteX27090" fmla="*/ 4263511 w 8079933"/>
              <a:gd name="connsiteY27090" fmla="*/ 516018 h 4687251"/>
              <a:gd name="connsiteX27091" fmla="*/ 4260472 w 8079933"/>
              <a:gd name="connsiteY27091" fmla="*/ 516452 h 4687251"/>
              <a:gd name="connsiteX27092" fmla="*/ 4262534 w 8079933"/>
              <a:gd name="connsiteY27092" fmla="*/ 512770 h 4687251"/>
              <a:gd name="connsiteX27093" fmla="*/ 4260364 w 8079933"/>
              <a:gd name="connsiteY27093" fmla="*/ 511362 h 4687251"/>
              <a:gd name="connsiteX27094" fmla="*/ 4260689 w 8079933"/>
              <a:gd name="connsiteY27094" fmla="*/ 508765 h 4687251"/>
              <a:gd name="connsiteX27095" fmla="*/ 4259170 w 8079933"/>
              <a:gd name="connsiteY27095" fmla="*/ 506275 h 4687251"/>
              <a:gd name="connsiteX27096" fmla="*/ 4257325 w 8079933"/>
              <a:gd name="connsiteY27096" fmla="*/ 502161 h 4687251"/>
              <a:gd name="connsiteX27097" fmla="*/ 4252442 w 8079933"/>
              <a:gd name="connsiteY27097" fmla="*/ 502052 h 4687251"/>
              <a:gd name="connsiteX27098" fmla="*/ 4248427 w 8079933"/>
              <a:gd name="connsiteY27098" fmla="*/ 499995 h 4687251"/>
              <a:gd name="connsiteX27099" fmla="*/ 4251682 w 8079933"/>
              <a:gd name="connsiteY27099" fmla="*/ 497829 h 4687251"/>
              <a:gd name="connsiteX27100" fmla="*/ 4254395 w 8079933"/>
              <a:gd name="connsiteY27100" fmla="*/ 494473 h 4687251"/>
              <a:gd name="connsiteX27101" fmla="*/ 4258085 w 8079933"/>
              <a:gd name="connsiteY27101" fmla="*/ 495230 h 4687251"/>
              <a:gd name="connsiteX27102" fmla="*/ 4260038 w 8079933"/>
              <a:gd name="connsiteY27102" fmla="*/ 493606 h 4687251"/>
              <a:gd name="connsiteX27103" fmla="*/ 4260581 w 8079933"/>
              <a:gd name="connsiteY27103" fmla="*/ 490900 h 4687251"/>
              <a:gd name="connsiteX27104" fmla="*/ 4263945 w 8079933"/>
              <a:gd name="connsiteY27104" fmla="*/ 488626 h 4687251"/>
              <a:gd name="connsiteX27105" fmla="*/ 4266007 w 8079933"/>
              <a:gd name="connsiteY27105" fmla="*/ 489600 h 4687251"/>
              <a:gd name="connsiteX27106" fmla="*/ 4266657 w 8079933"/>
              <a:gd name="connsiteY27106" fmla="*/ 491983 h 4687251"/>
              <a:gd name="connsiteX27107" fmla="*/ 4273495 w 8079933"/>
              <a:gd name="connsiteY27107" fmla="*/ 488843 h 4687251"/>
              <a:gd name="connsiteX27108" fmla="*/ 4096829 w 8079933"/>
              <a:gd name="connsiteY27108" fmla="*/ 479098 h 4687251"/>
              <a:gd name="connsiteX27109" fmla="*/ 4099107 w 8079933"/>
              <a:gd name="connsiteY27109" fmla="*/ 479856 h 4687251"/>
              <a:gd name="connsiteX27110" fmla="*/ 4103773 w 8079933"/>
              <a:gd name="connsiteY27110" fmla="*/ 485378 h 4687251"/>
              <a:gd name="connsiteX27111" fmla="*/ 4103773 w 8079933"/>
              <a:gd name="connsiteY27111" fmla="*/ 489925 h 4687251"/>
              <a:gd name="connsiteX27112" fmla="*/ 4103122 w 8079933"/>
              <a:gd name="connsiteY27112" fmla="*/ 494690 h 4687251"/>
              <a:gd name="connsiteX27113" fmla="*/ 4106704 w 8079933"/>
              <a:gd name="connsiteY27113" fmla="*/ 500103 h 4687251"/>
              <a:gd name="connsiteX27114" fmla="*/ 4109308 w 8079933"/>
              <a:gd name="connsiteY27114" fmla="*/ 502485 h 4687251"/>
              <a:gd name="connsiteX27115" fmla="*/ 4111044 w 8079933"/>
              <a:gd name="connsiteY27115" fmla="*/ 502485 h 4687251"/>
              <a:gd name="connsiteX27116" fmla="*/ 4111695 w 8079933"/>
              <a:gd name="connsiteY27116" fmla="*/ 503892 h 4687251"/>
              <a:gd name="connsiteX27117" fmla="*/ 4113540 w 8079933"/>
              <a:gd name="connsiteY27117" fmla="*/ 503892 h 4687251"/>
              <a:gd name="connsiteX27118" fmla="*/ 4115168 w 8079933"/>
              <a:gd name="connsiteY27118" fmla="*/ 508656 h 4687251"/>
              <a:gd name="connsiteX27119" fmla="*/ 4118966 w 8079933"/>
              <a:gd name="connsiteY27119" fmla="*/ 514828 h 4687251"/>
              <a:gd name="connsiteX27120" fmla="*/ 4120376 w 8079933"/>
              <a:gd name="connsiteY27120" fmla="*/ 519266 h 4687251"/>
              <a:gd name="connsiteX27121" fmla="*/ 4119725 w 8079933"/>
              <a:gd name="connsiteY27121" fmla="*/ 522191 h 4687251"/>
              <a:gd name="connsiteX27122" fmla="*/ 4117446 w 8079933"/>
              <a:gd name="connsiteY27122" fmla="*/ 522839 h 4687251"/>
              <a:gd name="connsiteX27123" fmla="*/ 4115602 w 8079933"/>
              <a:gd name="connsiteY27123" fmla="*/ 521215 h 4687251"/>
              <a:gd name="connsiteX27124" fmla="*/ 4113323 w 8079933"/>
              <a:gd name="connsiteY27124" fmla="*/ 515369 h 4687251"/>
              <a:gd name="connsiteX27125" fmla="*/ 4111695 w 8079933"/>
              <a:gd name="connsiteY27125" fmla="*/ 514503 h 4687251"/>
              <a:gd name="connsiteX27126" fmla="*/ 4110068 w 8079933"/>
              <a:gd name="connsiteY27126" fmla="*/ 510064 h 4687251"/>
              <a:gd name="connsiteX27127" fmla="*/ 4105727 w 8079933"/>
              <a:gd name="connsiteY27127" fmla="*/ 506708 h 4687251"/>
              <a:gd name="connsiteX27128" fmla="*/ 4102146 w 8079933"/>
              <a:gd name="connsiteY27128" fmla="*/ 506708 h 4687251"/>
              <a:gd name="connsiteX27129" fmla="*/ 4099759 w 8079933"/>
              <a:gd name="connsiteY27129" fmla="*/ 503135 h 4687251"/>
              <a:gd name="connsiteX27130" fmla="*/ 4099759 w 8079933"/>
              <a:gd name="connsiteY27130" fmla="*/ 495338 h 4687251"/>
              <a:gd name="connsiteX27131" fmla="*/ 4097697 w 8079933"/>
              <a:gd name="connsiteY27131" fmla="*/ 490900 h 4687251"/>
              <a:gd name="connsiteX27132" fmla="*/ 4094984 w 8079933"/>
              <a:gd name="connsiteY27132" fmla="*/ 487436 h 4687251"/>
              <a:gd name="connsiteX27133" fmla="*/ 4094984 w 8079933"/>
              <a:gd name="connsiteY27133" fmla="*/ 481589 h 4687251"/>
              <a:gd name="connsiteX27134" fmla="*/ 2272773 w 8079933"/>
              <a:gd name="connsiteY27134" fmla="*/ 473576 h 4687251"/>
              <a:gd name="connsiteX27135" fmla="*/ 2273749 w 8079933"/>
              <a:gd name="connsiteY27135" fmla="*/ 475091 h 4687251"/>
              <a:gd name="connsiteX27136" fmla="*/ 2272773 w 8079933"/>
              <a:gd name="connsiteY27136" fmla="*/ 477473 h 4687251"/>
              <a:gd name="connsiteX27137" fmla="*/ 2271362 w 8079933"/>
              <a:gd name="connsiteY27137" fmla="*/ 478231 h 4687251"/>
              <a:gd name="connsiteX27138" fmla="*/ 2270928 w 8079933"/>
              <a:gd name="connsiteY27138" fmla="*/ 474658 h 4687251"/>
              <a:gd name="connsiteX27139" fmla="*/ 4346634 w 8079933"/>
              <a:gd name="connsiteY27139" fmla="*/ 472277 h 4687251"/>
              <a:gd name="connsiteX27140" fmla="*/ 4348045 w 8079933"/>
              <a:gd name="connsiteY27140" fmla="*/ 472710 h 4687251"/>
              <a:gd name="connsiteX27141" fmla="*/ 4348913 w 8079933"/>
              <a:gd name="connsiteY27141" fmla="*/ 478016 h 4687251"/>
              <a:gd name="connsiteX27142" fmla="*/ 4352494 w 8079933"/>
              <a:gd name="connsiteY27142" fmla="*/ 481264 h 4687251"/>
              <a:gd name="connsiteX27143" fmla="*/ 4352386 w 8079933"/>
              <a:gd name="connsiteY27143" fmla="*/ 483754 h 4687251"/>
              <a:gd name="connsiteX27144" fmla="*/ 4349130 w 8079933"/>
              <a:gd name="connsiteY27144" fmla="*/ 487651 h 4687251"/>
              <a:gd name="connsiteX27145" fmla="*/ 4346743 w 8079933"/>
              <a:gd name="connsiteY27145" fmla="*/ 487003 h 4687251"/>
              <a:gd name="connsiteX27146" fmla="*/ 4346417 w 8079933"/>
              <a:gd name="connsiteY27146" fmla="*/ 483320 h 4687251"/>
              <a:gd name="connsiteX27147" fmla="*/ 4344030 w 8079933"/>
              <a:gd name="connsiteY27147" fmla="*/ 479424 h 4687251"/>
              <a:gd name="connsiteX27148" fmla="*/ 4344030 w 8079933"/>
              <a:gd name="connsiteY27148" fmla="*/ 475418 h 4687251"/>
              <a:gd name="connsiteX27149" fmla="*/ 4345332 w 8079933"/>
              <a:gd name="connsiteY27149" fmla="*/ 474226 h 4687251"/>
              <a:gd name="connsiteX27150" fmla="*/ 2318240 w 8079933"/>
              <a:gd name="connsiteY27150" fmla="*/ 469353 h 4687251"/>
              <a:gd name="connsiteX27151" fmla="*/ 2324534 w 8079933"/>
              <a:gd name="connsiteY27151" fmla="*/ 472276 h 4687251"/>
              <a:gd name="connsiteX27152" fmla="*/ 2325619 w 8079933"/>
              <a:gd name="connsiteY27152" fmla="*/ 476174 h 4687251"/>
              <a:gd name="connsiteX27153" fmla="*/ 2327681 w 8079933"/>
              <a:gd name="connsiteY27153" fmla="*/ 478557 h 4687251"/>
              <a:gd name="connsiteX27154" fmla="*/ 2327681 w 8079933"/>
              <a:gd name="connsiteY27154" fmla="*/ 483321 h 4687251"/>
              <a:gd name="connsiteX27155" fmla="*/ 2331371 w 8079933"/>
              <a:gd name="connsiteY27155" fmla="*/ 486677 h 4687251"/>
              <a:gd name="connsiteX27156" fmla="*/ 2332781 w 8079933"/>
              <a:gd name="connsiteY27156" fmla="*/ 491333 h 4687251"/>
              <a:gd name="connsiteX27157" fmla="*/ 2331045 w 8079933"/>
              <a:gd name="connsiteY27157" fmla="*/ 493065 h 4687251"/>
              <a:gd name="connsiteX27158" fmla="*/ 2330937 w 8079933"/>
              <a:gd name="connsiteY27158" fmla="*/ 499020 h 4687251"/>
              <a:gd name="connsiteX27159" fmla="*/ 2328441 w 8079933"/>
              <a:gd name="connsiteY27159" fmla="*/ 507032 h 4687251"/>
              <a:gd name="connsiteX27160" fmla="*/ 2326813 w 8079933"/>
              <a:gd name="connsiteY27160" fmla="*/ 508764 h 4687251"/>
              <a:gd name="connsiteX27161" fmla="*/ 2323340 w 8079933"/>
              <a:gd name="connsiteY27161" fmla="*/ 515261 h 4687251"/>
              <a:gd name="connsiteX27162" fmla="*/ 2324426 w 8079933"/>
              <a:gd name="connsiteY27162" fmla="*/ 520241 h 4687251"/>
              <a:gd name="connsiteX27163" fmla="*/ 2322038 w 8079933"/>
              <a:gd name="connsiteY27163" fmla="*/ 526520 h 4687251"/>
              <a:gd name="connsiteX27164" fmla="*/ 2318023 w 8079933"/>
              <a:gd name="connsiteY27164" fmla="*/ 527820 h 4687251"/>
              <a:gd name="connsiteX27165" fmla="*/ 2319217 w 8079933"/>
              <a:gd name="connsiteY27165" fmla="*/ 531067 h 4687251"/>
              <a:gd name="connsiteX27166" fmla="*/ 2317915 w 8079933"/>
              <a:gd name="connsiteY27166" fmla="*/ 532583 h 4687251"/>
              <a:gd name="connsiteX27167" fmla="*/ 2316504 w 8079933"/>
              <a:gd name="connsiteY27167" fmla="*/ 531067 h 4687251"/>
              <a:gd name="connsiteX27168" fmla="*/ 2312163 w 8079933"/>
              <a:gd name="connsiteY27168" fmla="*/ 531176 h 4687251"/>
              <a:gd name="connsiteX27169" fmla="*/ 2306412 w 8079933"/>
              <a:gd name="connsiteY27169" fmla="*/ 527711 h 4687251"/>
              <a:gd name="connsiteX27170" fmla="*/ 2301963 w 8079933"/>
              <a:gd name="connsiteY27170" fmla="*/ 527820 h 4687251"/>
              <a:gd name="connsiteX27171" fmla="*/ 2300878 w 8079933"/>
              <a:gd name="connsiteY27171" fmla="*/ 523164 h 4687251"/>
              <a:gd name="connsiteX27172" fmla="*/ 2296428 w 8079933"/>
              <a:gd name="connsiteY27172" fmla="*/ 524030 h 4687251"/>
              <a:gd name="connsiteX27173" fmla="*/ 2295560 w 8079933"/>
              <a:gd name="connsiteY27173" fmla="*/ 521756 h 4687251"/>
              <a:gd name="connsiteX27174" fmla="*/ 2295886 w 8079933"/>
              <a:gd name="connsiteY27174" fmla="*/ 515585 h 4687251"/>
              <a:gd name="connsiteX27175" fmla="*/ 2292956 w 8079933"/>
              <a:gd name="connsiteY27175" fmla="*/ 514935 h 4687251"/>
              <a:gd name="connsiteX27176" fmla="*/ 2291219 w 8079933"/>
              <a:gd name="connsiteY27176" fmla="*/ 517534 h 4687251"/>
              <a:gd name="connsiteX27177" fmla="*/ 2289701 w 8079933"/>
              <a:gd name="connsiteY27177" fmla="*/ 517751 h 4687251"/>
              <a:gd name="connsiteX27178" fmla="*/ 2289158 w 8079933"/>
              <a:gd name="connsiteY27178" fmla="*/ 513528 h 4687251"/>
              <a:gd name="connsiteX27179" fmla="*/ 2287638 w 8079933"/>
              <a:gd name="connsiteY27179" fmla="*/ 512445 h 4687251"/>
              <a:gd name="connsiteX27180" fmla="*/ 2285685 w 8079933"/>
              <a:gd name="connsiteY27180" fmla="*/ 513419 h 4687251"/>
              <a:gd name="connsiteX27181" fmla="*/ 2282321 w 8079933"/>
              <a:gd name="connsiteY27181" fmla="*/ 511363 h 4687251"/>
              <a:gd name="connsiteX27182" fmla="*/ 2281670 w 8079933"/>
              <a:gd name="connsiteY27182" fmla="*/ 509197 h 4687251"/>
              <a:gd name="connsiteX27183" fmla="*/ 2283406 w 8079933"/>
              <a:gd name="connsiteY27183" fmla="*/ 504325 h 4687251"/>
              <a:gd name="connsiteX27184" fmla="*/ 2282321 w 8079933"/>
              <a:gd name="connsiteY27184" fmla="*/ 503675 h 4687251"/>
              <a:gd name="connsiteX27185" fmla="*/ 2279283 w 8079933"/>
              <a:gd name="connsiteY27185" fmla="*/ 507140 h 4687251"/>
              <a:gd name="connsiteX27186" fmla="*/ 2278197 w 8079933"/>
              <a:gd name="connsiteY27186" fmla="*/ 506815 h 4687251"/>
              <a:gd name="connsiteX27187" fmla="*/ 2278523 w 8079933"/>
              <a:gd name="connsiteY27187" fmla="*/ 503892 h 4687251"/>
              <a:gd name="connsiteX27188" fmla="*/ 2279500 w 8079933"/>
              <a:gd name="connsiteY27188" fmla="*/ 501510 h 4687251"/>
              <a:gd name="connsiteX27189" fmla="*/ 2277438 w 8079933"/>
              <a:gd name="connsiteY27189" fmla="*/ 501077 h 4687251"/>
              <a:gd name="connsiteX27190" fmla="*/ 2276570 w 8079933"/>
              <a:gd name="connsiteY27190" fmla="*/ 499778 h 4687251"/>
              <a:gd name="connsiteX27191" fmla="*/ 2277980 w 8079933"/>
              <a:gd name="connsiteY27191" fmla="*/ 498261 h 4687251"/>
              <a:gd name="connsiteX27192" fmla="*/ 2279934 w 8079933"/>
              <a:gd name="connsiteY27192" fmla="*/ 493714 h 4687251"/>
              <a:gd name="connsiteX27193" fmla="*/ 2283623 w 8079933"/>
              <a:gd name="connsiteY27193" fmla="*/ 490358 h 4687251"/>
              <a:gd name="connsiteX27194" fmla="*/ 2289049 w 8079933"/>
              <a:gd name="connsiteY27194" fmla="*/ 488951 h 4687251"/>
              <a:gd name="connsiteX27195" fmla="*/ 2294041 w 8079933"/>
              <a:gd name="connsiteY27195" fmla="*/ 490683 h 4687251"/>
              <a:gd name="connsiteX27196" fmla="*/ 2294258 w 8079933"/>
              <a:gd name="connsiteY27196" fmla="*/ 488951 h 4687251"/>
              <a:gd name="connsiteX27197" fmla="*/ 2293173 w 8079933"/>
              <a:gd name="connsiteY27197" fmla="*/ 488517 h 4687251"/>
              <a:gd name="connsiteX27198" fmla="*/ 2291002 w 8079933"/>
              <a:gd name="connsiteY27198" fmla="*/ 483862 h 4687251"/>
              <a:gd name="connsiteX27199" fmla="*/ 2293064 w 8079933"/>
              <a:gd name="connsiteY27199" fmla="*/ 482563 h 4687251"/>
              <a:gd name="connsiteX27200" fmla="*/ 2299250 w 8079933"/>
              <a:gd name="connsiteY27200" fmla="*/ 481804 h 4687251"/>
              <a:gd name="connsiteX27201" fmla="*/ 2299792 w 8079933"/>
              <a:gd name="connsiteY27201" fmla="*/ 479964 h 4687251"/>
              <a:gd name="connsiteX27202" fmla="*/ 2298165 w 8079933"/>
              <a:gd name="connsiteY27202" fmla="*/ 478015 h 4687251"/>
              <a:gd name="connsiteX27203" fmla="*/ 2294041 w 8079933"/>
              <a:gd name="connsiteY27203" fmla="*/ 477907 h 4687251"/>
              <a:gd name="connsiteX27204" fmla="*/ 2295669 w 8079933"/>
              <a:gd name="connsiteY27204" fmla="*/ 475308 h 4687251"/>
              <a:gd name="connsiteX27205" fmla="*/ 2299358 w 8079933"/>
              <a:gd name="connsiteY27205" fmla="*/ 475633 h 4687251"/>
              <a:gd name="connsiteX27206" fmla="*/ 2303265 w 8079933"/>
              <a:gd name="connsiteY27206" fmla="*/ 478665 h 4687251"/>
              <a:gd name="connsiteX27207" fmla="*/ 2305110 w 8079933"/>
              <a:gd name="connsiteY27207" fmla="*/ 478881 h 4687251"/>
              <a:gd name="connsiteX27208" fmla="*/ 2304893 w 8079933"/>
              <a:gd name="connsiteY27208" fmla="*/ 476391 h 4687251"/>
              <a:gd name="connsiteX27209" fmla="*/ 2302180 w 8079933"/>
              <a:gd name="connsiteY27209" fmla="*/ 472926 h 4687251"/>
              <a:gd name="connsiteX27210" fmla="*/ 2303590 w 8079933"/>
              <a:gd name="connsiteY27210" fmla="*/ 470653 h 4687251"/>
              <a:gd name="connsiteX27211" fmla="*/ 2309451 w 8079933"/>
              <a:gd name="connsiteY27211" fmla="*/ 470111 h 4687251"/>
              <a:gd name="connsiteX27212" fmla="*/ 2313574 w 8079933"/>
              <a:gd name="connsiteY27212" fmla="*/ 471303 h 4687251"/>
              <a:gd name="connsiteX27213" fmla="*/ 2286988 w 8079933"/>
              <a:gd name="connsiteY27213" fmla="*/ 464264 h 4687251"/>
              <a:gd name="connsiteX27214" fmla="*/ 2289592 w 8079933"/>
              <a:gd name="connsiteY27214" fmla="*/ 465889 h 4687251"/>
              <a:gd name="connsiteX27215" fmla="*/ 2290894 w 8079933"/>
              <a:gd name="connsiteY27215" fmla="*/ 467295 h 4687251"/>
              <a:gd name="connsiteX27216" fmla="*/ 2289700 w 8079933"/>
              <a:gd name="connsiteY27216" fmla="*/ 469461 h 4687251"/>
              <a:gd name="connsiteX27217" fmla="*/ 2289918 w 8079933"/>
              <a:gd name="connsiteY27217" fmla="*/ 472385 h 4687251"/>
              <a:gd name="connsiteX27218" fmla="*/ 2286988 w 8079933"/>
              <a:gd name="connsiteY27218" fmla="*/ 473142 h 4687251"/>
              <a:gd name="connsiteX27219" fmla="*/ 2285685 w 8079933"/>
              <a:gd name="connsiteY27219" fmla="*/ 475199 h 4687251"/>
              <a:gd name="connsiteX27220" fmla="*/ 2283949 w 8079933"/>
              <a:gd name="connsiteY27220" fmla="*/ 475849 h 4687251"/>
              <a:gd name="connsiteX27221" fmla="*/ 2281128 w 8079933"/>
              <a:gd name="connsiteY27221" fmla="*/ 474117 h 4687251"/>
              <a:gd name="connsiteX27222" fmla="*/ 2280260 w 8079933"/>
              <a:gd name="connsiteY27222" fmla="*/ 467837 h 4687251"/>
              <a:gd name="connsiteX27223" fmla="*/ 2282105 w 8079933"/>
              <a:gd name="connsiteY27223" fmla="*/ 466538 h 4687251"/>
              <a:gd name="connsiteX27224" fmla="*/ 2284058 w 8079933"/>
              <a:gd name="connsiteY27224" fmla="*/ 464806 h 4687251"/>
              <a:gd name="connsiteX27225" fmla="*/ 2295126 w 8079933"/>
              <a:gd name="connsiteY27225" fmla="*/ 462315 h 4687251"/>
              <a:gd name="connsiteX27226" fmla="*/ 2297514 w 8079933"/>
              <a:gd name="connsiteY27226" fmla="*/ 464590 h 4687251"/>
              <a:gd name="connsiteX27227" fmla="*/ 2299250 w 8079933"/>
              <a:gd name="connsiteY27227" fmla="*/ 467838 h 4687251"/>
              <a:gd name="connsiteX27228" fmla="*/ 2295343 w 8079933"/>
              <a:gd name="connsiteY27228" fmla="*/ 471085 h 4687251"/>
              <a:gd name="connsiteX27229" fmla="*/ 2293281 w 8079933"/>
              <a:gd name="connsiteY27229" fmla="*/ 471410 h 4687251"/>
              <a:gd name="connsiteX27230" fmla="*/ 2294040 w 8079933"/>
              <a:gd name="connsiteY27230" fmla="*/ 468379 h 4687251"/>
              <a:gd name="connsiteX27231" fmla="*/ 2292630 w 8079933"/>
              <a:gd name="connsiteY27231" fmla="*/ 466646 h 4687251"/>
              <a:gd name="connsiteX27232" fmla="*/ 2293390 w 8079933"/>
              <a:gd name="connsiteY27232" fmla="*/ 462748 h 4687251"/>
              <a:gd name="connsiteX27233" fmla="*/ 6954397 w 8079933"/>
              <a:gd name="connsiteY27233" fmla="*/ 461018 h 4687251"/>
              <a:gd name="connsiteX27234" fmla="*/ 6958630 w 8079933"/>
              <a:gd name="connsiteY27234" fmla="*/ 464482 h 4687251"/>
              <a:gd name="connsiteX27235" fmla="*/ 6960366 w 8079933"/>
              <a:gd name="connsiteY27235" fmla="*/ 470653 h 4687251"/>
              <a:gd name="connsiteX27236" fmla="*/ 6959063 w 8079933"/>
              <a:gd name="connsiteY27236" fmla="*/ 472711 h 4687251"/>
              <a:gd name="connsiteX27237" fmla="*/ 6956677 w 8079933"/>
              <a:gd name="connsiteY27237" fmla="*/ 468164 h 4687251"/>
              <a:gd name="connsiteX27238" fmla="*/ 6952770 w 8079933"/>
              <a:gd name="connsiteY27238" fmla="*/ 462966 h 4687251"/>
              <a:gd name="connsiteX27239" fmla="*/ 6952444 w 8079933"/>
              <a:gd name="connsiteY27239" fmla="*/ 461125 h 4687251"/>
              <a:gd name="connsiteX27240" fmla="*/ 4378536 w 8079933"/>
              <a:gd name="connsiteY27240" fmla="*/ 459610 h 4687251"/>
              <a:gd name="connsiteX27241" fmla="*/ 4379838 w 8079933"/>
              <a:gd name="connsiteY27241" fmla="*/ 462207 h 4687251"/>
              <a:gd name="connsiteX27242" fmla="*/ 4386675 w 8079933"/>
              <a:gd name="connsiteY27242" fmla="*/ 462966 h 4687251"/>
              <a:gd name="connsiteX27243" fmla="*/ 4389713 w 8079933"/>
              <a:gd name="connsiteY27243" fmla="*/ 462641 h 4687251"/>
              <a:gd name="connsiteX27244" fmla="*/ 4388303 w 8079933"/>
              <a:gd name="connsiteY27244" fmla="*/ 465889 h 4687251"/>
              <a:gd name="connsiteX27245" fmla="*/ 4384179 w 8079933"/>
              <a:gd name="connsiteY27245" fmla="*/ 468162 h 4687251"/>
              <a:gd name="connsiteX27246" fmla="*/ 4378536 w 8079933"/>
              <a:gd name="connsiteY27246" fmla="*/ 465132 h 4687251"/>
              <a:gd name="connsiteX27247" fmla="*/ 4375390 w 8079933"/>
              <a:gd name="connsiteY27247" fmla="*/ 465132 h 4687251"/>
              <a:gd name="connsiteX27248" fmla="*/ 4373110 w 8079933"/>
              <a:gd name="connsiteY27248" fmla="*/ 466757 h 4687251"/>
              <a:gd name="connsiteX27249" fmla="*/ 4370615 w 8079933"/>
              <a:gd name="connsiteY27249" fmla="*/ 466863 h 4687251"/>
              <a:gd name="connsiteX27250" fmla="*/ 4366600 w 8079933"/>
              <a:gd name="connsiteY27250" fmla="*/ 471844 h 4687251"/>
              <a:gd name="connsiteX27251" fmla="*/ 4364864 w 8079933"/>
              <a:gd name="connsiteY27251" fmla="*/ 471520 h 4687251"/>
              <a:gd name="connsiteX27252" fmla="*/ 4368445 w 8079933"/>
              <a:gd name="connsiteY27252" fmla="*/ 464697 h 4687251"/>
              <a:gd name="connsiteX27253" fmla="*/ 4372894 w 8079933"/>
              <a:gd name="connsiteY27253" fmla="*/ 461666 h 4687251"/>
              <a:gd name="connsiteX27254" fmla="*/ 4375390 w 8079933"/>
              <a:gd name="connsiteY27254" fmla="*/ 461666 h 4687251"/>
              <a:gd name="connsiteX27255" fmla="*/ 6944848 w 8079933"/>
              <a:gd name="connsiteY27255" fmla="*/ 457335 h 4687251"/>
              <a:gd name="connsiteX27256" fmla="*/ 6947778 w 8079933"/>
              <a:gd name="connsiteY27256" fmla="*/ 458852 h 4687251"/>
              <a:gd name="connsiteX27257" fmla="*/ 6949080 w 8079933"/>
              <a:gd name="connsiteY27257" fmla="*/ 463940 h 4687251"/>
              <a:gd name="connsiteX27258" fmla="*/ 6947778 w 8079933"/>
              <a:gd name="connsiteY27258" fmla="*/ 464590 h 4687251"/>
              <a:gd name="connsiteX27259" fmla="*/ 6946367 w 8079933"/>
              <a:gd name="connsiteY27259" fmla="*/ 467188 h 4687251"/>
              <a:gd name="connsiteX27260" fmla="*/ 6943329 w 8079933"/>
              <a:gd name="connsiteY27260" fmla="*/ 465023 h 4687251"/>
              <a:gd name="connsiteX27261" fmla="*/ 6940724 w 8079933"/>
              <a:gd name="connsiteY27261" fmla="*/ 460042 h 4687251"/>
              <a:gd name="connsiteX27262" fmla="*/ 6944197 w 8079933"/>
              <a:gd name="connsiteY27262" fmla="*/ 458635 h 4687251"/>
              <a:gd name="connsiteX27263" fmla="*/ 2290677 w 8079933"/>
              <a:gd name="connsiteY27263" fmla="*/ 456902 h 4687251"/>
              <a:gd name="connsiteX27264" fmla="*/ 2288615 w 8079933"/>
              <a:gd name="connsiteY27264" fmla="*/ 459825 h 4687251"/>
              <a:gd name="connsiteX27265" fmla="*/ 2286770 w 8079933"/>
              <a:gd name="connsiteY27265" fmla="*/ 460908 h 4687251"/>
              <a:gd name="connsiteX27266" fmla="*/ 2285902 w 8079933"/>
              <a:gd name="connsiteY27266" fmla="*/ 459068 h 4687251"/>
              <a:gd name="connsiteX27267" fmla="*/ 2288724 w 8079933"/>
              <a:gd name="connsiteY27267" fmla="*/ 457119 h 4687251"/>
              <a:gd name="connsiteX27268" fmla="*/ 4241264 w 8079933"/>
              <a:gd name="connsiteY27268" fmla="*/ 455603 h 4687251"/>
              <a:gd name="connsiteX27269" fmla="*/ 4249620 w 8079933"/>
              <a:gd name="connsiteY27269" fmla="*/ 457336 h 4687251"/>
              <a:gd name="connsiteX27270" fmla="*/ 4252333 w 8079933"/>
              <a:gd name="connsiteY27270" fmla="*/ 460583 h 4687251"/>
              <a:gd name="connsiteX27271" fmla="*/ 4252333 w 8079933"/>
              <a:gd name="connsiteY27271" fmla="*/ 464807 h 4687251"/>
              <a:gd name="connsiteX27272" fmla="*/ 4248101 w 8079933"/>
              <a:gd name="connsiteY27272" fmla="*/ 466104 h 4687251"/>
              <a:gd name="connsiteX27273" fmla="*/ 4243868 w 8079933"/>
              <a:gd name="connsiteY27273" fmla="*/ 465781 h 4687251"/>
              <a:gd name="connsiteX27274" fmla="*/ 4241047 w 8079933"/>
              <a:gd name="connsiteY27274" fmla="*/ 462425 h 4687251"/>
              <a:gd name="connsiteX27275" fmla="*/ 4239745 w 8079933"/>
              <a:gd name="connsiteY27275" fmla="*/ 457878 h 4687251"/>
              <a:gd name="connsiteX27276" fmla="*/ 4239745 w 8079933"/>
              <a:gd name="connsiteY27276" fmla="*/ 456470 h 4687251"/>
              <a:gd name="connsiteX27277" fmla="*/ 6953747 w 8079933"/>
              <a:gd name="connsiteY27277" fmla="*/ 454197 h 4687251"/>
              <a:gd name="connsiteX27278" fmla="*/ 6956786 w 8079933"/>
              <a:gd name="connsiteY27278" fmla="*/ 454304 h 4687251"/>
              <a:gd name="connsiteX27279" fmla="*/ 6958957 w 8079933"/>
              <a:gd name="connsiteY27279" fmla="*/ 458093 h 4687251"/>
              <a:gd name="connsiteX27280" fmla="*/ 6959174 w 8079933"/>
              <a:gd name="connsiteY27280" fmla="*/ 461667 h 4687251"/>
              <a:gd name="connsiteX27281" fmla="*/ 6956895 w 8079933"/>
              <a:gd name="connsiteY27281" fmla="*/ 460583 h 4687251"/>
              <a:gd name="connsiteX27282" fmla="*/ 6953422 w 8079933"/>
              <a:gd name="connsiteY27282" fmla="*/ 456470 h 4687251"/>
              <a:gd name="connsiteX27283" fmla="*/ 2300444 w 8079933"/>
              <a:gd name="connsiteY27283" fmla="*/ 449539 h 4687251"/>
              <a:gd name="connsiteX27284" fmla="*/ 2301203 w 8079933"/>
              <a:gd name="connsiteY27284" fmla="*/ 450731 h 4687251"/>
              <a:gd name="connsiteX27285" fmla="*/ 2298816 w 8079933"/>
              <a:gd name="connsiteY27285" fmla="*/ 452246 h 4687251"/>
              <a:gd name="connsiteX27286" fmla="*/ 2297731 w 8079933"/>
              <a:gd name="connsiteY27286" fmla="*/ 454411 h 4687251"/>
              <a:gd name="connsiteX27287" fmla="*/ 2295343 w 8079933"/>
              <a:gd name="connsiteY27287" fmla="*/ 454953 h 4687251"/>
              <a:gd name="connsiteX27288" fmla="*/ 2293716 w 8079933"/>
              <a:gd name="connsiteY27288" fmla="*/ 452896 h 4687251"/>
              <a:gd name="connsiteX27289" fmla="*/ 2295778 w 8079933"/>
              <a:gd name="connsiteY27289" fmla="*/ 450405 h 4687251"/>
              <a:gd name="connsiteX27290" fmla="*/ 5890175 w 8079933"/>
              <a:gd name="connsiteY27290" fmla="*/ 449108 h 4687251"/>
              <a:gd name="connsiteX27291" fmla="*/ 5893865 w 8079933"/>
              <a:gd name="connsiteY27291" fmla="*/ 449973 h 4687251"/>
              <a:gd name="connsiteX27292" fmla="*/ 5893973 w 8079933"/>
              <a:gd name="connsiteY27292" fmla="*/ 453006 h 4687251"/>
              <a:gd name="connsiteX27293" fmla="*/ 5896252 w 8079933"/>
              <a:gd name="connsiteY27293" fmla="*/ 457985 h 4687251"/>
              <a:gd name="connsiteX27294" fmla="*/ 5899182 w 8079933"/>
              <a:gd name="connsiteY27294" fmla="*/ 461125 h 4687251"/>
              <a:gd name="connsiteX27295" fmla="*/ 5899291 w 8079933"/>
              <a:gd name="connsiteY27295" fmla="*/ 469246 h 4687251"/>
              <a:gd name="connsiteX27296" fmla="*/ 5901895 w 8079933"/>
              <a:gd name="connsiteY27296" fmla="*/ 471953 h 4687251"/>
              <a:gd name="connsiteX27297" fmla="*/ 5901895 w 8079933"/>
              <a:gd name="connsiteY27297" fmla="*/ 474877 h 4687251"/>
              <a:gd name="connsiteX27298" fmla="*/ 5899508 w 8079933"/>
              <a:gd name="connsiteY27298" fmla="*/ 476934 h 4687251"/>
              <a:gd name="connsiteX27299" fmla="*/ 5898640 w 8079933"/>
              <a:gd name="connsiteY27299" fmla="*/ 480724 h 4687251"/>
              <a:gd name="connsiteX27300" fmla="*/ 5895167 w 8079933"/>
              <a:gd name="connsiteY27300" fmla="*/ 482672 h 4687251"/>
              <a:gd name="connsiteX27301" fmla="*/ 5892454 w 8079933"/>
              <a:gd name="connsiteY27301" fmla="*/ 481049 h 4687251"/>
              <a:gd name="connsiteX27302" fmla="*/ 5887137 w 8079933"/>
              <a:gd name="connsiteY27302" fmla="*/ 479856 h 4687251"/>
              <a:gd name="connsiteX27303" fmla="*/ 5875200 w 8079933"/>
              <a:gd name="connsiteY27303" fmla="*/ 477150 h 4687251"/>
              <a:gd name="connsiteX27304" fmla="*/ 5868472 w 8079933"/>
              <a:gd name="connsiteY27304" fmla="*/ 476718 h 4687251"/>
              <a:gd name="connsiteX27305" fmla="*/ 5866302 w 8079933"/>
              <a:gd name="connsiteY27305" fmla="*/ 474010 h 4687251"/>
              <a:gd name="connsiteX27306" fmla="*/ 5867061 w 8079933"/>
              <a:gd name="connsiteY27306" fmla="*/ 472604 h 4687251"/>
              <a:gd name="connsiteX27307" fmla="*/ 5871620 w 8079933"/>
              <a:gd name="connsiteY27307" fmla="*/ 473036 h 4687251"/>
              <a:gd name="connsiteX27308" fmla="*/ 5873681 w 8079933"/>
              <a:gd name="connsiteY27308" fmla="*/ 470546 h 4687251"/>
              <a:gd name="connsiteX27309" fmla="*/ 5872596 w 8079933"/>
              <a:gd name="connsiteY27309" fmla="*/ 466648 h 4687251"/>
              <a:gd name="connsiteX27310" fmla="*/ 5868689 w 8079933"/>
              <a:gd name="connsiteY27310" fmla="*/ 464266 h 4687251"/>
              <a:gd name="connsiteX27311" fmla="*/ 5867278 w 8079933"/>
              <a:gd name="connsiteY27311" fmla="*/ 459177 h 4687251"/>
              <a:gd name="connsiteX27312" fmla="*/ 5868472 w 8079933"/>
              <a:gd name="connsiteY27312" fmla="*/ 457011 h 4687251"/>
              <a:gd name="connsiteX27313" fmla="*/ 5873030 w 8079933"/>
              <a:gd name="connsiteY27313" fmla="*/ 456794 h 4687251"/>
              <a:gd name="connsiteX27314" fmla="*/ 5881385 w 8079933"/>
              <a:gd name="connsiteY27314" fmla="*/ 451707 h 4687251"/>
              <a:gd name="connsiteX27315" fmla="*/ 2328766 w 8079933"/>
              <a:gd name="connsiteY27315" fmla="*/ 448998 h 4687251"/>
              <a:gd name="connsiteX27316" fmla="*/ 2335277 w 8079933"/>
              <a:gd name="connsiteY27316" fmla="*/ 448998 h 4687251"/>
              <a:gd name="connsiteX27317" fmla="*/ 2332347 w 8079933"/>
              <a:gd name="connsiteY27317" fmla="*/ 459284 h 4687251"/>
              <a:gd name="connsiteX27318" fmla="*/ 2329851 w 8079933"/>
              <a:gd name="connsiteY27318" fmla="*/ 463723 h 4687251"/>
              <a:gd name="connsiteX27319" fmla="*/ 2328332 w 8079933"/>
              <a:gd name="connsiteY27319" fmla="*/ 465455 h 4687251"/>
              <a:gd name="connsiteX27320" fmla="*/ 2327464 w 8079933"/>
              <a:gd name="connsiteY27320" fmla="*/ 461666 h 4687251"/>
              <a:gd name="connsiteX27321" fmla="*/ 2325728 w 8079933"/>
              <a:gd name="connsiteY27321" fmla="*/ 460367 h 4687251"/>
              <a:gd name="connsiteX27322" fmla="*/ 2325728 w 8079933"/>
              <a:gd name="connsiteY27322" fmla="*/ 458093 h 4687251"/>
              <a:gd name="connsiteX27323" fmla="*/ 2327573 w 8079933"/>
              <a:gd name="connsiteY27323" fmla="*/ 456469 h 4687251"/>
              <a:gd name="connsiteX27324" fmla="*/ 2327573 w 8079933"/>
              <a:gd name="connsiteY27324" fmla="*/ 451164 h 4687251"/>
              <a:gd name="connsiteX27325" fmla="*/ 6959064 w 8079933"/>
              <a:gd name="connsiteY27325" fmla="*/ 448675 h 4687251"/>
              <a:gd name="connsiteX27326" fmla="*/ 6961561 w 8079933"/>
              <a:gd name="connsiteY27326" fmla="*/ 448891 h 4687251"/>
              <a:gd name="connsiteX27327" fmla="*/ 6963080 w 8079933"/>
              <a:gd name="connsiteY27327" fmla="*/ 452788 h 4687251"/>
              <a:gd name="connsiteX27328" fmla="*/ 6962103 w 8079933"/>
              <a:gd name="connsiteY27328" fmla="*/ 456578 h 4687251"/>
              <a:gd name="connsiteX27329" fmla="*/ 6960366 w 8079933"/>
              <a:gd name="connsiteY27329" fmla="*/ 456794 h 4687251"/>
              <a:gd name="connsiteX27330" fmla="*/ 6958304 w 8079933"/>
              <a:gd name="connsiteY27330" fmla="*/ 450623 h 4687251"/>
              <a:gd name="connsiteX27331" fmla="*/ 3656359 w 8079933"/>
              <a:gd name="connsiteY27331" fmla="*/ 447265 h 4687251"/>
              <a:gd name="connsiteX27332" fmla="*/ 3658530 w 8079933"/>
              <a:gd name="connsiteY27332" fmla="*/ 448781 h 4687251"/>
              <a:gd name="connsiteX27333" fmla="*/ 3657227 w 8079933"/>
              <a:gd name="connsiteY27333" fmla="*/ 452246 h 4687251"/>
              <a:gd name="connsiteX27334" fmla="*/ 3657662 w 8079933"/>
              <a:gd name="connsiteY27334" fmla="*/ 457226 h 4687251"/>
              <a:gd name="connsiteX27335" fmla="*/ 3655709 w 8079933"/>
              <a:gd name="connsiteY27335" fmla="*/ 463182 h 4687251"/>
              <a:gd name="connsiteX27336" fmla="*/ 3651476 w 8079933"/>
              <a:gd name="connsiteY27336" fmla="*/ 466321 h 4687251"/>
              <a:gd name="connsiteX27337" fmla="*/ 3651259 w 8079933"/>
              <a:gd name="connsiteY27337" fmla="*/ 464264 h 4687251"/>
              <a:gd name="connsiteX27338" fmla="*/ 3648981 w 8079933"/>
              <a:gd name="connsiteY27338" fmla="*/ 460150 h 4687251"/>
              <a:gd name="connsiteX27339" fmla="*/ 3652127 w 8079933"/>
              <a:gd name="connsiteY27339" fmla="*/ 453220 h 4687251"/>
              <a:gd name="connsiteX27340" fmla="*/ 3653321 w 8079933"/>
              <a:gd name="connsiteY27340" fmla="*/ 449323 h 4687251"/>
              <a:gd name="connsiteX27341" fmla="*/ 2758059 w 8079933"/>
              <a:gd name="connsiteY27341" fmla="*/ 444452 h 4687251"/>
              <a:gd name="connsiteX27342" fmla="*/ 2764787 w 8079933"/>
              <a:gd name="connsiteY27342" fmla="*/ 447049 h 4687251"/>
              <a:gd name="connsiteX27343" fmla="*/ 2770539 w 8079933"/>
              <a:gd name="connsiteY27343" fmla="*/ 452030 h 4687251"/>
              <a:gd name="connsiteX27344" fmla="*/ 2765005 w 8079933"/>
              <a:gd name="connsiteY27344" fmla="*/ 455170 h 4687251"/>
              <a:gd name="connsiteX27345" fmla="*/ 2760881 w 8079933"/>
              <a:gd name="connsiteY27345" fmla="*/ 452679 h 4687251"/>
              <a:gd name="connsiteX27346" fmla="*/ 2755346 w 8079933"/>
              <a:gd name="connsiteY27346" fmla="*/ 452572 h 4687251"/>
              <a:gd name="connsiteX27347" fmla="*/ 2750680 w 8079933"/>
              <a:gd name="connsiteY27347" fmla="*/ 447049 h 4687251"/>
              <a:gd name="connsiteX27348" fmla="*/ 2752416 w 8079933"/>
              <a:gd name="connsiteY27348" fmla="*/ 444993 h 4687251"/>
              <a:gd name="connsiteX27349" fmla="*/ 2774445 w 8079933"/>
              <a:gd name="connsiteY27349" fmla="*/ 444342 h 4687251"/>
              <a:gd name="connsiteX27350" fmla="*/ 2777593 w 8079933"/>
              <a:gd name="connsiteY27350" fmla="*/ 445316 h 4687251"/>
              <a:gd name="connsiteX27351" fmla="*/ 2781824 w 8079933"/>
              <a:gd name="connsiteY27351" fmla="*/ 444342 h 4687251"/>
              <a:gd name="connsiteX27352" fmla="*/ 2785623 w 8079933"/>
              <a:gd name="connsiteY27352" fmla="*/ 448890 h 4687251"/>
              <a:gd name="connsiteX27353" fmla="*/ 2788444 w 8079933"/>
              <a:gd name="connsiteY27353" fmla="*/ 448890 h 4687251"/>
              <a:gd name="connsiteX27354" fmla="*/ 2790940 w 8079933"/>
              <a:gd name="connsiteY27354" fmla="*/ 452896 h 4687251"/>
              <a:gd name="connsiteX27355" fmla="*/ 2787251 w 8079933"/>
              <a:gd name="connsiteY27355" fmla="*/ 452896 h 4687251"/>
              <a:gd name="connsiteX27356" fmla="*/ 2783452 w 8079933"/>
              <a:gd name="connsiteY27356" fmla="*/ 451164 h 4687251"/>
              <a:gd name="connsiteX27357" fmla="*/ 2776725 w 8079933"/>
              <a:gd name="connsiteY27357" fmla="*/ 450514 h 4687251"/>
              <a:gd name="connsiteX27358" fmla="*/ 2773903 w 8079933"/>
              <a:gd name="connsiteY27358" fmla="*/ 446400 h 4687251"/>
              <a:gd name="connsiteX27359" fmla="*/ 2209832 w 8079933"/>
              <a:gd name="connsiteY27359" fmla="*/ 440986 h 4687251"/>
              <a:gd name="connsiteX27360" fmla="*/ 2211568 w 8079933"/>
              <a:gd name="connsiteY27360" fmla="*/ 442827 h 4687251"/>
              <a:gd name="connsiteX27361" fmla="*/ 2210483 w 8079933"/>
              <a:gd name="connsiteY27361" fmla="*/ 445208 h 4687251"/>
              <a:gd name="connsiteX27362" fmla="*/ 2208747 w 8079933"/>
              <a:gd name="connsiteY27362" fmla="*/ 443152 h 4687251"/>
              <a:gd name="connsiteX27363" fmla="*/ 2332131 w 8079933"/>
              <a:gd name="connsiteY27363" fmla="*/ 436872 h 4687251"/>
              <a:gd name="connsiteX27364" fmla="*/ 2335712 w 8079933"/>
              <a:gd name="connsiteY27364" fmla="*/ 436872 h 4687251"/>
              <a:gd name="connsiteX27365" fmla="*/ 2334193 w 8079933"/>
              <a:gd name="connsiteY27365" fmla="*/ 441095 h 4687251"/>
              <a:gd name="connsiteX27366" fmla="*/ 2331263 w 8079933"/>
              <a:gd name="connsiteY27366" fmla="*/ 438929 h 4687251"/>
              <a:gd name="connsiteX27367" fmla="*/ 2161218 w 8079933"/>
              <a:gd name="connsiteY27367" fmla="*/ 434599 h 4687251"/>
              <a:gd name="connsiteX27368" fmla="*/ 2161326 w 8079933"/>
              <a:gd name="connsiteY27368" fmla="*/ 439146 h 4687251"/>
              <a:gd name="connsiteX27369" fmla="*/ 2162194 w 8079933"/>
              <a:gd name="connsiteY27369" fmla="*/ 441745 h 4687251"/>
              <a:gd name="connsiteX27370" fmla="*/ 2162194 w 8079933"/>
              <a:gd name="connsiteY27370" fmla="*/ 447916 h 4687251"/>
              <a:gd name="connsiteX27371" fmla="*/ 2161000 w 8079933"/>
              <a:gd name="connsiteY27371" fmla="*/ 452247 h 4687251"/>
              <a:gd name="connsiteX27372" fmla="*/ 2156768 w 8079933"/>
              <a:gd name="connsiteY27372" fmla="*/ 455929 h 4687251"/>
              <a:gd name="connsiteX27373" fmla="*/ 2152536 w 8079933"/>
              <a:gd name="connsiteY27373" fmla="*/ 455712 h 4687251"/>
              <a:gd name="connsiteX27374" fmla="*/ 2150257 w 8079933"/>
              <a:gd name="connsiteY27374" fmla="*/ 457119 h 4687251"/>
              <a:gd name="connsiteX27375" fmla="*/ 2146567 w 8079933"/>
              <a:gd name="connsiteY27375" fmla="*/ 457119 h 4687251"/>
              <a:gd name="connsiteX27376" fmla="*/ 2145157 w 8079933"/>
              <a:gd name="connsiteY27376" fmla="*/ 453655 h 4687251"/>
              <a:gd name="connsiteX27377" fmla="*/ 2141901 w 8079933"/>
              <a:gd name="connsiteY27377" fmla="*/ 451381 h 4687251"/>
              <a:gd name="connsiteX27378" fmla="*/ 2140491 w 8079933"/>
              <a:gd name="connsiteY27378" fmla="*/ 449323 h 4687251"/>
              <a:gd name="connsiteX27379" fmla="*/ 2141684 w 8079933"/>
              <a:gd name="connsiteY27379" fmla="*/ 447808 h 4687251"/>
              <a:gd name="connsiteX27380" fmla="*/ 2146676 w 8079933"/>
              <a:gd name="connsiteY27380" fmla="*/ 446184 h 4687251"/>
              <a:gd name="connsiteX27381" fmla="*/ 2148412 w 8079933"/>
              <a:gd name="connsiteY27381" fmla="*/ 442610 h 4687251"/>
              <a:gd name="connsiteX27382" fmla="*/ 2148412 w 8079933"/>
              <a:gd name="connsiteY27382" fmla="*/ 440445 h 4687251"/>
              <a:gd name="connsiteX27383" fmla="*/ 2155466 w 8079933"/>
              <a:gd name="connsiteY27383" fmla="*/ 436547 h 4687251"/>
              <a:gd name="connsiteX27384" fmla="*/ 2156768 w 8079933"/>
              <a:gd name="connsiteY27384" fmla="*/ 434814 h 4687251"/>
              <a:gd name="connsiteX27385" fmla="*/ 6115672 w 8079933"/>
              <a:gd name="connsiteY27385" fmla="*/ 432542 h 4687251"/>
              <a:gd name="connsiteX27386" fmla="*/ 6116215 w 8079933"/>
              <a:gd name="connsiteY27386" fmla="*/ 436440 h 4687251"/>
              <a:gd name="connsiteX27387" fmla="*/ 6115347 w 8079933"/>
              <a:gd name="connsiteY27387" fmla="*/ 441746 h 4687251"/>
              <a:gd name="connsiteX27388" fmla="*/ 6113068 w 8079933"/>
              <a:gd name="connsiteY27388" fmla="*/ 443154 h 4687251"/>
              <a:gd name="connsiteX27389" fmla="*/ 6111115 w 8079933"/>
              <a:gd name="connsiteY27389" fmla="*/ 441204 h 4687251"/>
              <a:gd name="connsiteX27390" fmla="*/ 6108836 w 8079933"/>
              <a:gd name="connsiteY27390" fmla="*/ 441097 h 4687251"/>
              <a:gd name="connsiteX27391" fmla="*/ 6107859 w 8079933"/>
              <a:gd name="connsiteY27391" fmla="*/ 436981 h 4687251"/>
              <a:gd name="connsiteX27392" fmla="*/ 6109270 w 8079933"/>
              <a:gd name="connsiteY27392" fmla="*/ 435466 h 4687251"/>
              <a:gd name="connsiteX27393" fmla="*/ 5545526 w 8079933"/>
              <a:gd name="connsiteY27393" fmla="*/ 426912 h 4687251"/>
              <a:gd name="connsiteX27394" fmla="*/ 5546827 w 8079933"/>
              <a:gd name="connsiteY27394" fmla="*/ 431025 h 4687251"/>
              <a:gd name="connsiteX27395" fmla="*/ 5545959 w 8079933"/>
              <a:gd name="connsiteY27395" fmla="*/ 433301 h 4687251"/>
              <a:gd name="connsiteX27396" fmla="*/ 5547479 w 8079933"/>
              <a:gd name="connsiteY27396" fmla="*/ 433735 h 4687251"/>
              <a:gd name="connsiteX27397" fmla="*/ 5547479 w 8079933"/>
              <a:gd name="connsiteY27397" fmla="*/ 435683 h 4687251"/>
              <a:gd name="connsiteX27398" fmla="*/ 5545742 w 8079933"/>
              <a:gd name="connsiteY27398" fmla="*/ 438714 h 4687251"/>
              <a:gd name="connsiteX27399" fmla="*/ 5542053 w 8079933"/>
              <a:gd name="connsiteY27399" fmla="*/ 439579 h 4687251"/>
              <a:gd name="connsiteX27400" fmla="*/ 5537278 w 8079933"/>
              <a:gd name="connsiteY27400" fmla="*/ 438931 h 4687251"/>
              <a:gd name="connsiteX27401" fmla="*/ 5534240 w 8079933"/>
              <a:gd name="connsiteY27401" fmla="*/ 440013 h 4687251"/>
              <a:gd name="connsiteX27402" fmla="*/ 5529790 w 8079933"/>
              <a:gd name="connsiteY27402" fmla="*/ 440121 h 4687251"/>
              <a:gd name="connsiteX27403" fmla="*/ 5527403 w 8079933"/>
              <a:gd name="connsiteY27403" fmla="*/ 437848 h 4687251"/>
              <a:gd name="connsiteX27404" fmla="*/ 5523822 w 8079933"/>
              <a:gd name="connsiteY27404" fmla="*/ 438605 h 4687251"/>
              <a:gd name="connsiteX27405" fmla="*/ 5522303 w 8079933"/>
              <a:gd name="connsiteY27405" fmla="*/ 436767 h 4687251"/>
              <a:gd name="connsiteX27406" fmla="*/ 5524473 w 8079933"/>
              <a:gd name="connsiteY27406" fmla="*/ 433518 h 4687251"/>
              <a:gd name="connsiteX27407" fmla="*/ 5528054 w 8079933"/>
              <a:gd name="connsiteY27407" fmla="*/ 434060 h 4687251"/>
              <a:gd name="connsiteX27408" fmla="*/ 5530442 w 8079933"/>
              <a:gd name="connsiteY27408" fmla="*/ 432760 h 4687251"/>
              <a:gd name="connsiteX27409" fmla="*/ 5532503 w 8079933"/>
              <a:gd name="connsiteY27409" fmla="*/ 429944 h 4687251"/>
              <a:gd name="connsiteX27410" fmla="*/ 5534348 w 8079933"/>
              <a:gd name="connsiteY27410" fmla="*/ 430052 h 4687251"/>
              <a:gd name="connsiteX27411" fmla="*/ 5535976 w 8079933"/>
              <a:gd name="connsiteY27411" fmla="*/ 432218 h 4687251"/>
              <a:gd name="connsiteX27412" fmla="*/ 5538363 w 8079933"/>
              <a:gd name="connsiteY27412" fmla="*/ 432868 h 4687251"/>
              <a:gd name="connsiteX27413" fmla="*/ 5539991 w 8079933"/>
              <a:gd name="connsiteY27413" fmla="*/ 431892 h 4687251"/>
              <a:gd name="connsiteX27414" fmla="*/ 5539232 w 8079933"/>
              <a:gd name="connsiteY27414" fmla="*/ 429509 h 4687251"/>
              <a:gd name="connsiteX27415" fmla="*/ 5541727 w 8079933"/>
              <a:gd name="connsiteY27415" fmla="*/ 427129 h 4687251"/>
              <a:gd name="connsiteX27416" fmla="*/ 2437067 w 8079933"/>
              <a:gd name="connsiteY27416" fmla="*/ 415434 h 4687251"/>
              <a:gd name="connsiteX27417" fmla="*/ 2444121 w 8079933"/>
              <a:gd name="connsiteY27417" fmla="*/ 418467 h 4687251"/>
              <a:gd name="connsiteX27418" fmla="*/ 2444880 w 8079933"/>
              <a:gd name="connsiteY27418" fmla="*/ 423988 h 4687251"/>
              <a:gd name="connsiteX27419" fmla="*/ 2441625 w 8079933"/>
              <a:gd name="connsiteY27419" fmla="*/ 433299 h 4687251"/>
              <a:gd name="connsiteX27420" fmla="*/ 2440539 w 8079933"/>
              <a:gd name="connsiteY27420" fmla="*/ 436005 h 4687251"/>
              <a:gd name="connsiteX27421" fmla="*/ 2441950 w 8079933"/>
              <a:gd name="connsiteY27421" fmla="*/ 437738 h 4687251"/>
              <a:gd name="connsiteX27422" fmla="*/ 2442818 w 8079933"/>
              <a:gd name="connsiteY27422" fmla="*/ 441419 h 4687251"/>
              <a:gd name="connsiteX27423" fmla="*/ 2440322 w 8079933"/>
              <a:gd name="connsiteY27423" fmla="*/ 441527 h 4687251"/>
              <a:gd name="connsiteX27424" fmla="*/ 2434788 w 8079933"/>
              <a:gd name="connsiteY27424" fmla="*/ 439578 h 4687251"/>
              <a:gd name="connsiteX27425" fmla="*/ 2434245 w 8079933"/>
              <a:gd name="connsiteY27425" fmla="*/ 434923 h 4687251"/>
              <a:gd name="connsiteX27426" fmla="*/ 2434897 w 8079933"/>
              <a:gd name="connsiteY27426" fmla="*/ 426153 h 4687251"/>
              <a:gd name="connsiteX27427" fmla="*/ 2433269 w 8079933"/>
              <a:gd name="connsiteY27427" fmla="*/ 423879 h 4687251"/>
              <a:gd name="connsiteX27428" fmla="*/ 2433160 w 8079933"/>
              <a:gd name="connsiteY27428" fmla="*/ 418574 h 4687251"/>
              <a:gd name="connsiteX27429" fmla="*/ 2432292 w 8079933"/>
              <a:gd name="connsiteY27429" fmla="*/ 417383 h 4687251"/>
              <a:gd name="connsiteX27430" fmla="*/ 2213631 w 8079933"/>
              <a:gd name="connsiteY27430" fmla="*/ 411861 h 4687251"/>
              <a:gd name="connsiteX27431" fmla="*/ 2216453 w 8079933"/>
              <a:gd name="connsiteY27431" fmla="*/ 411970 h 4687251"/>
              <a:gd name="connsiteX27432" fmla="*/ 2217429 w 8079933"/>
              <a:gd name="connsiteY27432" fmla="*/ 414568 h 4687251"/>
              <a:gd name="connsiteX27433" fmla="*/ 2213740 w 8079933"/>
              <a:gd name="connsiteY27433" fmla="*/ 417167 h 4687251"/>
              <a:gd name="connsiteX27434" fmla="*/ 2210158 w 8079933"/>
              <a:gd name="connsiteY27434" fmla="*/ 417708 h 4687251"/>
              <a:gd name="connsiteX27435" fmla="*/ 2204732 w 8079933"/>
              <a:gd name="connsiteY27435" fmla="*/ 418249 h 4687251"/>
              <a:gd name="connsiteX27436" fmla="*/ 2203430 w 8079933"/>
              <a:gd name="connsiteY27436" fmla="*/ 420523 h 4687251"/>
              <a:gd name="connsiteX27437" fmla="*/ 2198221 w 8079933"/>
              <a:gd name="connsiteY27437" fmla="*/ 423988 h 4687251"/>
              <a:gd name="connsiteX27438" fmla="*/ 2193447 w 8079933"/>
              <a:gd name="connsiteY27438" fmla="*/ 421389 h 4687251"/>
              <a:gd name="connsiteX27439" fmla="*/ 2189323 w 8079933"/>
              <a:gd name="connsiteY27439" fmla="*/ 421174 h 4687251"/>
              <a:gd name="connsiteX27440" fmla="*/ 2187369 w 8079933"/>
              <a:gd name="connsiteY27440" fmla="*/ 422580 h 4687251"/>
              <a:gd name="connsiteX27441" fmla="*/ 2185742 w 8079933"/>
              <a:gd name="connsiteY27441" fmla="*/ 421389 h 4687251"/>
              <a:gd name="connsiteX27442" fmla="*/ 2186284 w 8079933"/>
              <a:gd name="connsiteY27442" fmla="*/ 419333 h 4687251"/>
              <a:gd name="connsiteX27443" fmla="*/ 2189648 w 8079933"/>
              <a:gd name="connsiteY27443" fmla="*/ 418142 h 4687251"/>
              <a:gd name="connsiteX27444" fmla="*/ 2193230 w 8079933"/>
              <a:gd name="connsiteY27444" fmla="*/ 417925 h 4687251"/>
              <a:gd name="connsiteX27445" fmla="*/ 2198547 w 8079933"/>
              <a:gd name="connsiteY27445" fmla="*/ 414568 h 4687251"/>
              <a:gd name="connsiteX27446" fmla="*/ 2208422 w 8079933"/>
              <a:gd name="connsiteY27446" fmla="*/ 412511 h 4687251"/>
              <a:gd name="connsiteX27447" fmla="*/ 2210810 w 8079933"/>
              <a:gd name="connsiteY27447" fmla="*/ 413053 h 4687251"/>
              <a:gd name="connsiteX27448" fmla="*/ 1820366 w 8079933"/>
              <a:gd name="connsiteY27448" fmla="*/ 410887 h 4687251"/>
              <a:gd name="connsiteX27449" fmla="*/ 1833388 w 8079933"/>
              <a:gd name="connsiteY27449" fmla="*/ 414784 h 4687251"/>
              <a:gd name="connsiteX27450" fmla="*/ 1832086 w 8079933"/>
              <a:gd name="connsiteY27450" fmla="*/ 419873 h 4687251"/>
              <a:gd name="connsiteX27451" fmla="*/ 1835124 w 8079933"/>
              <a:gd name="connsiteY27451" fmla="*/ 422363 h 4687251"/>
              <a:gd name="connsiteX27452" fmla="*/ 1838271 w 8079933"/>
              <a:gd name="connsiteY27452" fmla="*/ 427776 h 4687251"/>
              <a:gd name="connsiteX27453" fmla="*/ 1850643 w 8079933"/>
              <a:gd name="connsiteY27453" fmla="*/ 434382 h 4687251"/>
              <a:gd name="connsiteX27454" fmla="*/ 1851402 w 8079933"/>
              <a:gd name="connsiteY27454" fmla="*/ 437845 h 4687251"/>
              <a:gd name="connsiteX27455" fmla="*/ 1848255 w 8079933"/>
              <a:gd name="connsiteY27455" fmla="*/ 441202 h 4687251"/>
              <a:gd name="connsiteX27456" fmla="*/ 1852053 w 8079933"/>
              <a:gd name="connsiteY27456" fmla="*/ 440553 h 4687251"/>
              <a:gd name="connsiteX27457" fmla="*/ 1856177 w 8079933"/>
              <a:gd name="connsiteY27457" fmla="*/ 438495 h 4687251"/>
              <a:gd name="connsiteX27458" fmla="*/ 1861060 w 8079933"/>
              <a:gd name="connsiteY27458" fmla="*/ 441202 h 4687251"/>
              <a:gd name="connsiteX27459" fmla="*/ 1859324 w 8079933"/>
              <a:gd name="connsiteY27459" fmla="*/ 447482 h 4687251"/>
              <a:gd name="connsiteX27460" fmla="*/ 1852813 w 8079933"/>
              <a:gd name="connsiteY27460" fmla="*/ 454303 h 4687251"/>
              <a:gd name="connsiteX27461" fmla="*/ 1853138 w 8079933"/>
              <a:gd name="connsiteY27461" fmla="*/ 456794 h 4687251"/>
              <a:gd name="connsiteX27462" fmla="*/ 1862470 w 8079933"/>
              <a:gd name="connsiteY27462" fmla="*/ 450839 h 4687251"/>
              <a:gd name="connsiteX27463" fmla="*/ 1862470 w 8079933"/>
              <a:gd name="connsiteY27463" fmla="*/ 445424 h 4687251"/>
              <a:gd name="connsiteX27464" fmla="*/ 1865835 w 8079933"/>
              <a:gd name="connsiteY27464" fmla="*/ 442285 h 4687251"/>
              <a:gd name="connsiteX27465" fmla="*/ 1872454 w 8079933"/>
              <a:gd name="connsiteY27465" fmla="*/ 442935 h 4687251"/>
              <a:gd name="connsiteX27466" fmla="*/ 1878640 w 8079933"/>
              <a:gd name="connsiteY27466" fmla="*/ 440878 h 4687251"/>
              <a:gd name="connsiteX27467" fmla="*/ 1881352 w 8079933"/>
              <a:gd name="connsiteY27467" fmla="*/ 441960 h 4687251"/>
              <a:gd name="connsiteX27468" fmla="*/ 1882763 w 8079933"/>
              <a:gd name="connsiteY27468" fmla="*/ 446399 h 4687251"/>
              <a:gd name="connsiteX27469" fmla="*/ 1891770 w 8079933"/>
              <a:gd name="connsiteY27469" fmla="*/ 455710 h 4687251"/>
              <a:gd name="connsiteX27470" fmla="*/ 1892747 w 8079933"/>
              <a:gd name="connsiteY27470" fmla="*/ 467404 h 4687251"/>
              <a:gd name="connsiteX27471" fmla="*/ 1890685 w 8079933"/>
              <a:gd name="connsiteY27471" fmla="*/ 471843 h 4687251"/>
              <a:gd name="connsiteX27472" fmla="*/ 1894157 w 8079933"/>
              <a:gd name="connsiteY27472" fmla="*/ 479854 h 4687251"/>
              <a:gd name="connsiteX27473" fmla="*/ 1893832 w 8079933"/>
              <a:gd name="connsiteY27473" fmla="*/ 486676 h 4687251"/>
              <a:gd name="connsiteX27474" fmla="*/ 1892096 w 8079933"/>
              <a:gd name="connsiteY27474" fmla="*/ 489057 h 4687251"/>
              <a:gd name="connsiteX27475" fmla="*/ 1894483 w 8079933"/>
              <a:gd name="connsiteY27475" fmla="*/ 492198 h 4687251"/>
              <a:gd name="connsiteX27476" fmla="*/ 1894483 w 8079933"/>
              <a:gd name="connsiteY27476" fmla="*/ 497070 h 4687251"/>
              <a:gd name="connsiteX27477" fmla="*/ 1895568 w 8079933"/>
              <a:gd name="connsiteY27477" fmla="*/ 501509 h 4687251"/>
              <a:gd name="connsiteX27478" fmla="*/ 1891444 w 8079933"/>
              <a:gd name="connsiteY27478" fmla="*/ 507031 h 4687251"/>
              <a:gd name="connsiteX27479" fmla="*/ 1882438 w 8079933"/>
              <a:gd name="connsiteY27479" fmla="*/ 509088 h 4687251"/>
              <a:gd name="connsiteX27480" fmla="*/ 1878965 w 8079933"/>
              <a:gd name="connsiteY27480" fmla="*/ 511470 h 4687251"/>
              <a:gd name="connsiteX27481" fmla="*/ 1868873 w 8079933"/>
              <a:gd name="connsiteY27481" fmla="*/ 512661 h 4687251"/>
              <a:gd name="connsiteX27482" fmla="*/ 1861711 w 8079933"/>
              <a:gd name="connsiteY27482" fmla="*/ 512012 h 4687251"/>
              <a:gd name="connsiteX27483" fmla="*/ 1848580 w 8079933"/>
              <a:gd name="connsiteY27483" fmla="*/ 517858 h 4687251"/>
              <a:gd name="connsiteX27484" fmla="*/ 1840116 w 8079933"/>
              <a:gd name="connsiteY27484" fmla="*/ 518615 h 4687251"/>
              <a:gd name="connsiteX27485" fmla="*/ 1829807 w 8079933"/>
              <a:gd name="connsiteY27485" fmla="*/ 523379 h 4687251"/>
              <a:gd name="connsiteX27486" fmla="*/ 1825683 w 8079933"/>
              <a:gd name="connsiteY27486" fmla="*/ 523487 h 4687251"/>
              <a:gd name="connsiteX27487" fmla="*/ 1820475 w 8079933"/>
              <a:gd name="connsiteY27487" fmla="*/ 526953 h 4687251"/>
              <a:gd name="connsiteX27488" fmla="*/ 1812228 w 8079933"/>
              <a:gd name="connsiteY27488" fmla="*/ 527277 h 4687251"/>
              <a:gd name="connsiteX27489" fmla="*/ 1808972 w 8079933"/>
              <a:gd name="connsiteY27489" fmla="*/ 529551 h 4687251"/>
              <a:gd name="connsiteX27490" fmla="*/ 1806476 w 8079933"/>
              <a:gd name="connsiteY27490" fmla="*/ 526953 h 4687251"/>
              <a:gd name="connsiteX27491" fmla="*/ 1803655 w 8079933"/>
              <a:gd name="connsiteY27491" fmla="*/ 528360 h 4687251"/>
              <a:gd name="connsiteX27492" fmla="*/ 1795516 w 8079933"/>
              <a:gd name="connsiteY27492" fmla="*/ 530093 h 4687251"/>
              <a:gd name="connsiteX27493" fmla="*/ 1793237 w 8079933"/>
              <a:gd name="connsiteY27493" fmla="*/ 536264 h 4687251"/>
              <a:gd name="connsiteX27494" fmla="*/ 1788896 w 8079933"/>
              <a:gd name="connsiteY27494" fmla="*/ 540920 h 4687251"/>
              <a:gd name="connsiteX27495" fmla="*/ 1786183 w 8079933"/>
              <a:gd name="connsiteY27495" fmla="*/ 541136 h 4687251"/>
              <a:gd name="connsiteX27496" fmla="*/ 1784447 w 8079933"/>
              <a:gd name="connsiteY27496" fmla="*/ 547740 h 4687251"/>
              <a:gd name="connsiteX27497" fmla="*/ 1778262 w 8079933"/>
              <a:gd name="connsiteY27497" fmla="*/ 549148 h 4687251"/>
              <a:gd name="connsiteX27498" fmla="*/ 1772945 w 8079933"/>
              <a:gd name="connsiteY27498" fmla="*/ 554020 h 4687251"/>
              <a:gd name="connsiteX27499" fmla="*/ 1766433 w 8079933"/>
              <a:gd name="connsiteY27499" fmla="*/ 553479 h 4687251"/>
              <a:gd name="connsiteX27500" fmla="*/ 1762310 w 8079933"/>
              <a:gd name="connsiteY27500" fmla="*/ 547308 h 4687251"/>
              <a:gd name="connsiteX27501" fmla="*/ 1759706 w 8079933"/>
              <a:gd name="connsiteY27501" fmla="*/ 553262 h 4687251"/>
              <a:gd name="connsiteX27502" fmla="*/ 1758946 w 8079933"/>
              <a:gd name="connsiteY27502" fmla="*/ 558134 h 4687251"/>
              <a:gd name="connsiteX27503" fmla="*/ 1753520 w 8079933"/>
              <a:gd name="connsiteY27503" fmla="*/ 560191 h 4687251"/>
              <a:gd name="connsiteX27504" fmla="*/ 1747443 w 8079933"/>
              <a:gd name="connsiteY27504" fmla="*/ 566363 h 4687251"/>
              <a:gd name="connsiteX27505" fmla="*/ 1746249 w 8079933"/>
              <a:gd name="connsiteY27505" fmla="*/ 569936 h 4687251"/>
              <a:gd name="connsiteX27506" fmla="*/ 1740715 w 8079933"/>
              <a:gd name="connsiteY27506" fmla="*/ 575999 h 4687251"/>
              <a:gd name="connsiteX27507" fmla="*/ 1741583 w 8079933"/>
              <a:gd name="connsiteY27507" fmla="*/ 579248 h 4687251"/>
              <a:gd name="connsiteX27508" fmla="*/ 1734638 w 8079933"/>
              <a:gd name="connsiteY27508" fmla="*/ 585743 h 4687251"/>
              <a:gd name="connsiteX27509" fmla="*/ 1730406 w 8079933"/>
              <a:gd name="connsiteY27509" fmla="*/ 590724 h 4687251"/>
              <a:gd name="connsiteX27510" fmla="*/ 1723352 w 8079933"/>
              <a:gd name="connsiteY27510" fmla="*/ 590291 h 4687251"/>
              <a:gd name="connsiteX27511" fmla="*/ 1717167 w 8079933"/>
              <a:gd name="connsiteY27511" fmla="*/ 593323 h 4687251"/>
              <a:gd name="connsiteX27512" fmla="*/ 1713151 w 8079933"/>
              <a:gd name="connsiteY27512" fmla="*/ 593539 h 4687251"/>
              <a:gd name="connsiteX27513" fmla="*/ 1710438 w 8079933"/>
              <a:gd name="connsiteY27513" fmla="*/ 589209 h 4687251"/>
              <a:gd name="connsiteX27514" fmla="*/ 1714020 w 8079933"/>
              <a:gd name="connsiteY27514" fmla="*/ 586285 h 4687251"/>
              <a:gd name="connsiteX27515" fmla="*/ 1713694 w 8079933"/>
              <a:gd name="connsiteY27515" fmla="*/ 580438 h 4687251"/>
              <a:gd name="connsiteX27516" fmla="*/ 1711090 w 8079933"/>
              <a:gd name="connsiteY27516" fmla="*/ 577731 h 4687251"/>
              <a:gd name="connsiteX27517" fmla="*/ 1707075 w 8079933"/>
              <a:gd name="connsiteY27517" fmla="*/ 581305 h 4687251"/>
              <a:gd name="connsiteX27518" fmla="*/ 1707292 w 8079933"/>
              <a:gd name="connsiteY27518" fmla="*/ 583578 h 4687251"/>
              <a:gd name="connsiteX27519" fmla="*/ 1704362 w 8079933"/>
              <a:gd name="connsiteY27519" fmla="*/ 584878 h 4687251"/>
              <a:gd name="connsiteX27520" fmla="*/ 1697308 w 8079933"/>
              <a:gd name="connsiteY27520" fmla="*/ 591266 h 4687251"/>
              <a:gd name="connsiteX27521" fmla="*/ 1691232 w 8079933"/>
              <a:gd name="connsiteY27521" fmla="*/ 592781 h 4687251"/>
              <a:gd name="connsiteX27522" fmla="*/ 1686999 w 8079933"/>
              <a:gd name="connsiteY27522" fmla="*/ 592023 h 4687251"/>
              <a:gd name="connsiteX27523" fmla="*/ 1682007 w 8079933"/>
              <a:gd name="connsiteY27523" fmla="*/ 593431 h 4687251"/>
              <a:gd name="connsiteX27524" fmla="*/ 1678209 w 8079933"/>
              <a:gd name="connsiteY27524" fmla="*/ 597003 h 4687251"/>
              <a:gd name="connsiteX27525" fmla="*/ 1675930 w 8079933"/>
              <a:gd name="connsiteY27525" fmla="*/ 595921 h 4687251"/>
              <a:gd name="connsiteX27526" fmla="*/ 1672132 w 8079933"/>
              <a:gd name="connsiteY27526" fmla="*/ 596029 h 4687251"/>
              <a:gd name="connsiteX27527" fmla="*/ 1672567 w 8079933"/>
              <a:gd name="connsiteY27527" fmla="*/ 593756 h 4687251"/>
              <a:gd name="connsiteX27528" fmla="*/ 1672567 w 8079933"/>
              <a:gd name="connsiteY27528" fmla="*/ 584878 h 4687251"/>
              <a:gd name="connsiteX27529" fmla="*/ 1676798 w 8079933"/>
              <a:gd name="connsiteY27529" fmla="*/ 577190 h 4687251"/>
              <a:gd name="connsiteX27530" fmla="*/ 1674736 w 8079933"/>
              <a:gd name="connsiteY27530" fmla="*/ 571344 h 4687251"/>
              <a:gd name="connsiteX27531" fmla="*/ 1676473 w 8079933"/>
              <a:gd name="connsiteY27531" fmla="*/ 564847 h 4687251"/>
              <a:gd name="connsiteX27532" fmla="*/ 1677124 w 8079933"/>
              <a:gd name="connsiteY27532" fmla="*/ 559326 h 4687251"/>
              <a:gd name="connsiteX27533" fmla="*/ 1673977 w 8079933"/>
              <a:gd name="connsiteY27533" fmla="*/ 556620 h 4687251"/>
              <a:gd name="connsiteX27534" fmla="*/ 1670179 w 8079933"/>
              <a:gd name="connsiteY27534" fmla="*/ 543843 h 4687251"/>
              <a:gd name="connsiteX27535" fmla="*/ 1675713 w 8079933"/>
              <a:gd name="connsiteY27535" fmla="*/ 545575 h 4687251"/>
              <a:gd name="connsiteX27536" fmla="*/ 1675713 w 8079933"/>
              <a:gd name="connsiteY27536" fmla="*/ 541461 h 4687251"/>
              <a:gd name="connsiteX27537" fmla="*/ 1667466 w 8079933"/>
              <a:gd name="connsiteY27537" fmla="*/ 541461 h 4687251"/>
              <a:gd name="connsiteX27538" fmla="*/ 1659544 w 8079933"/>
              <a:gd name="connsiteY27538" fmla="*/ 538646 h 4687251"/>
              <a:gd name="connsiteX27539" fmla="*/ 1659219 w 8079933"/>
              <a:gd name="connsiteY27539" fmla="*/ 534532 h 4687251"/>
              <a:gd name="connsiteX27540" fmla="*/ 1663017 w 8079933"/>
              <a:gd name="connsiteY27540" fmla="*/ 535939 h 4687251"/>
              <a:gd name="connsiteX27541" fmla="*/ 1667792 w 8079933"/>
              <a:gd name="connsiteY27541" fmla="*/ 532150 h 4687251"/>
              <a:gd name="connsiteX27542" fmla="*/ 1673977 w 8079933"/>
              <a:gd name="connsiteY27542" fmla="*/ 529010 h 4687251"/>
              <a:gd name="connsiteX27543" fmla="*/ 1674736 w 8079933"/>
              <a:gd name="connsiteY27543" fmla="*/ 525220 h 4687251"/>
              <a:gd name="connsiteX27544" fmla="*/ 1677450 w 8079933"/>
              <a:gd name="connsiteY27544" fmla="*/ 525220 h 4687251"/>
              <a:gd name="connsiteX27545" fmla="*/ 1681247 w 8079933"/>
              <a:gd name="connsiteY27545" fmla="*/ 520781 h 4687251"/>
              <a:gd name="connsiteX27546" fmla="*/ 1685372 w 8079933"/>
              <a:gd name="connsiteY27546" fmla="*/ 520132 h 4687251"/>
              <a:gd name="connsiteX27547" fmla="*/ 1687759 w 8079933"/>
              <a:gd name="connsiteY27547" fmla="*/ 513202 h 4687251"/>
              <a:gd name="connsiteX27548" fmla="*/ 1696766 w 8079933"/>
              <a:gd name="connsiteY27548" fmla="*/ 511144 h 4687251"/>
              <a:gd name="connsiteX27549" fmla="*/ 1697525 w 8079933"/>
              <a:gd name="connsiteY27549" fmla="*/ 509088 h 4687251"/>
              <a:gd name="connsiteX27550" fmla="*/ 1700564 w 8079933"/>
              <a:gd name="connsiteY27550" fmla="*/ 507681 h 4687251"/>
              <a:gd name="connsiteX27551" fmla="*/ 1704687 w 8079933"/>
              <a:gd name="connsiteY27551" fmla="*/ 501509 h 4687251"/>
              <a:gd name="connsiteX27552" fmla="*/ 1705447 w 8079933"/>
              <a:gd name="connsiteY27552" fmla="*/ 493605 h 4687251"/>
              <a:gd name="connsiteX27553" fmla="*/ 1706749 w 8079933"/>
              <a:gd name="connsiteY27553" fmla="*/ 496312 h 4687251"/>
              <a:gd name="connsiteX27554" fmla="*/ 1719879 w 8079933"/>
              <a:gd name="connsiteY27554" fmla="*/ 498044 h 4687251"/>
              <a:gd name="connsiteX27555" fmla="*/ 1720206 w 8079933"/>
              <a:gd name="connsiteY27555" fmla="*/ 491548 h 4687251"/>
              <a:gd name="connsiteX27556" fmla="*/ 1717493 w 8079933"/>
              <a:gd name="connsiteY27556" fmla="*/ 484618 h 4687251"/>
              <a:gd name="connsiteX27557" fmla="*/ 1717818 w 8079933"/>
              <a:gd name="connsiteY27557" fmla="*/ 481154 h 4687251"/>
              <a:gd name="connsiteX27558" fmla="*/ 1722701 w 8079933"/>
              <a:gd name="connsiteY27558" fmla="*/ 479422 h 4687251"/>
              <a:gd name="connsiteX27559" fmla="*/ 1733336 w 8079933"/>
              <a:gd name="connsiteY27559" fmla="*/ 471518 h 4687251"/>
              <a:gd name="connsiteX27560" fmla="*/ 1737894 w 8079933"/>
              <a:gd name="connsiteY27560" fmla="*/ 465022 h 4687251"/>
              <a:gd name="connsiteX27561" fmla="*/ 1747551 w 8079933"/>
              <a:gd name="connsiteY27561" fmla="*/ 461557 h 4687251"/>
              <a:gd name="connsiteX27562" fmla="*/ 1749613 w 8079933"/>
              <a:gd name="connsiteY27562" fmla="*/ 457118 h 4687251"/>
              <a:gd name="connsiteX27563" fmla="*/ 1755799 w 8079933"/>
              <a:gd name="connsiteY27563" fmla="*/ 450839 h 4687251"/>
              <a:gd name="connsiteX27564" fmla="*/ 1761333 w 8079933"/>
              <a:gd name="connsiteY27564" fmla="*/ 450839 h 4687251"/>
              <a:gd name="connsiteX27565" fmla="*/ 1764372 w 8079933"/>
              <a:gd name="connsiteY27565" fmla="*/ 447157 h 4687251"/>
              <a:gd name="connsiteX27566" fmla="*/ 1761007 w 8079933"/>
              <a:gd name="connsiteY27566" fmla="*/ 442610 h 4687251"/>
              <a:gd name="connsiteX27567" fmla="*/ 1762310 w 8079933"/>
              <a:gd name="connsiteY27567" fmla="*/ 432974 h 4687251"/>
              <a:gd name="connsiteX27568" fmla="*/ 1762310 w 8079933"/>
              <a:gd name="connsiteY27568" fmla="*/ 426478 h 4687251"/>
              <a:gd name="connsiteX27569" fmla="*/ 1764805 w 8079933"/>
              <a:gd name="connsiteY27569" fmla="*/ 421930 h 4687251"/>
              <a:gd name="connsiteX27570" fmla="*/ 1762744 w 8079933"/>
              <a:gd name="connsiteY27570" fmla="*/ 419548 h 4687251"/>
              <a:gd name="connsiteX27571" fmla="*/ 1764372 w 8079933"/>
              <a:gd name="connsiteY27571" fmla="*/ 415759 h 4687251"/>
              <a:gd name="connsiteX27572" fmla="*/ 1771642 w 8079933"/>
              <a:gd name="connsiteY27572" fmla="*/ 413702 h 4687251"/>
              <a:gd name="connsiteX27573" fmla="*/ 1775440 w 8079933"/>
              <a:gd name="connsiteY27573" fmla="*/ 414784 h 4687251"/>
              <a:gd name="connsiteX27574" fmla="*/ 1789981 w 8079933"/>
              <a:gd name="connsiteY27574" fmla="*/ 413702 h 4687251"/>
              <a:gd name="connsiteX27575" fmla="*/ 1793346 w 8079933"/>
              <a:gd name="connsiteY27575" fmla="*/ 415434 h 4687251"/>
              <a:gd name="connsiteX27576" fmla="*/ 1809298 w 8079933"/>
              <a:gd name="connsiteY27576" fmla="*/ 415434 h 4687251"/>
              <a:gd name="connsiteX27577" fmla="*/ 5499407 w 8079933"/>
              <a:gd name="connsiteY27577" fmla="*/ 407425 h 4687251"/>
              <a:gd name="connsiteX27578" fmla="*/ 5502553 w 8079933"/>
              <a:gd name="connsiteY27578" fmla="*/ 409697 h 4687251"/>
              <a:gd name="connsiteX27579" fmla="*/ 5502988 w 8079933"/>
              <a:gd name="connsiteY27579" fmla="*/ 412188 h 4687251"/>
              <a:gd name="connsiteX27580" fmla="*/ 5497995 w 8079933"/>
              <a:gd name="connsiteY27580" fmla="*/ 414029 h 4687251"/>
              <a:gd name="connsiteX27581" fmla="*/ 5493546 w 8079933"/>
              <a:gd name="connsiteY27581" fmla="*/ 414462 h 4687251"/>
              <a:gd name="connsiteX27582" fmla="*/ 5492244 w 8079933"/>
              <a:gd name="connsiteY27582" fmla="*/ 412405 h 4687251"/>
              <a:gd name="connsiteX27583" fmla="*/ 5497345 w 8079933"/>
              <a:gd name="connsiteY27583" fmla="*/ 410564 h 4687251"/>
              <a:gd name="connsiteX27584" fmla="*/ 2190843 w 8079933"/>
              <a:gd name="connsiteY27584" fmla="*/ 403524 h 4687251"/>
              <a:gd name="connsiteX27585" fmla="*/ 2196702 w 8079933"/>
              <a:gd name="connsiteY27585" fmla="*/ 403957 h 4687251"/>
              <a:gd name="connsiteX27586" fmla="*/ 2198330 w 8079933"/>
              <a:gd name="connsiteY27586" fmla="*/ 405906 h 4687251"/>
              <a:gd name="connsiteX27587" fmla="*/ 2202888 w 8079933"/>
              <a:gd name="connsiteY27587" fmla="*/ 404716 h 4687251"/>
              <a:gd name="connsiteX27588" fmla="*/ 2213522 w 8079933"/>
              <a:gd name="connsiteY27588" fmla="*/ 403524 h 4687251"/>
              <a:gd name="connsiteX27589" fmla="*/ 2216886 w 8079933"/>
              <a:gd name="connsiteY27589" fmla="*/ 404390 h 4687251"/>
              <a:gd name="connsiteX27590" fmla="*/ 2216778 w 8079933"/>
              <a:gd name="connsiteY27590" fmla="*/ 407531 h 4687251"/>
              <a:gd name="connsiteX27591" fmla="*/ 2212437 w 8079933"/>
              <a:gd name="connsiteY27591" fmla="*/ 408180 h 4687251"/>
              <a:gd name="connsiteX27592" fmla="*/ 2209181 w 8079933"/>
              <a:gd name="connsiteY27592" fmla="*/ 409696 h 4687251"/>
              <a:gd name="connsiteX27593" fmla="*/ 2207445 w 8079933"/>
              <a:gd name="connsiteY27593" fmla="*/ 408288 h 4687251"/>
              <a:gd name="connsiteX27594" fmla="*/ 2203213 w 8079933"/>
              <a:gd name="connsiteY27594" fmla="*/ 408288 h 4687251"/>
              <a:gd name="connsiteX27595" fmla="*/ 2198981 w 8079933"/>
              <a:gd name="connsiteY27595" fmla="*/ 410345 h 4687251"/>
              <a:gd name="connsiteX27596" fmla="*/ 2188021 w 8079933"/>
              <a:gd name="connsiteY27596" fmla="*/ 407206 h 4687251"/>
              <a:gd name="connsiteX27597" fmla="*/ 2187153 w 8079933"/>
              <a:gd name="connsiteY27597" fmla="*/ 404932 h 4687251"/>
              <a:gd name="connsiteX27598" fmla="*/ 5520025 w 8079933"/>
              <a:gd name="connsiteY27598" fmla="*/ 402010 h 4687251"/>
              <a:gd name="connsiteX27599" fmla="*/ 5522846 w 8079933"/>
              <a:gd name="connsiteY27599" fmla="*/ 402010 h 4687251"/>
              <a:gd name="connsiteX27600" fmla="*/ 5522521 w 8079933"/>
              <a:gd name="connsiteY27600" fmla="*/ 407316 h 4687251"/>
              <a:gd name="connsiteX27601" fmla="*/ 5524258 w 8079933"/>
              <a:gd name="connsiteY27601" fmla="*/ 408723 h 4687251"/>
              <a:gd name="connsiteX27602" fmla="*/ 5523823 w 8079933"/>
              <a:gd name="connsiteY27602" fmla="*/ 412405 h 4687251"/>
              <a:gd name="connsiteX27603" fmla="*/ 5521761 w 8079933"/>
              <a:gd name="connsiteY27603" fmla="*/ 414786 h 4687251"/>
              <a:gd name="connsiteX27604" fmla="*/ 5520568 w 8079933"/>
              <a:gd name="connsiteY27604" fmla="*/ 410348 h 4687251"/>
              <a:gd name="connsiteX27605" fmla="*/ 5518832 w 8079933"/>
              <a:gd name="connsiteY27605" fmla="*/ 408940 h 4687251"/>
              <a:gd name="connsiteX27606" fmla="*/ 5515901 w 8079933"/>
              <a:gd name="connsiteY27606" fmla="*/ 411647 h 4687251"/>
              <a:gd name="connsiteX27607" fmla="*/ 5513297 w 8079933"/>
              <a:gd name="connsiteY27607" fmla="*/ 412620 h 4687251"/>
              <a:gd name="connsiteX27608" fmla="*/ 5512537 w 8079933"/>
              <a:gd name="connsiteY27608" fmla="*/ 410889 h 4687251"/>
              <a:gd name="connsiteX27609" fmla="*/ 5516444 w 8079933"/>
              <a:gd name="connsiteY27609" fmla="*/ 407857 h 4687251"/>
              <a:gd name="connsiteX27610" fmla="*/ 5517746 w 8079933"/>
              <a:gd name="connsiteY27610" fmla="*/ 404176 h 4687251"/>
              <a:gd name="connsiteX27611" fmla="*/ 2681446 w 8079933"/>
              <a:gd name="connsiteY27611" fmla="*/ 397678 h 4687251"/>
              <a:gd name="connsiteX27612" fmla="*/ 2683833 w 8079933"/>
              <a:gd name="connsiteY27612" fmla="*/ 401684 h 4687251"/>
              <a:gd name="connsiteX27613" fmla="*/ 2679493 w 8079933"/>
              <a:gd name="connsiteY27613" fmla="*/ 401900 h 4687251"/>
              <a:gd name="connsiteX27614" fmla="*/ 2677648 w 8079933"/>
              <a:gd name="connsiteY27614" fmla="*/ 398870 h 4687251"/>
              <a:gd name="connsiteX27615" fmla="*/ 4175502 w 8079933"/>
              <a:gd name="connsiteY27615" fmla="*/ 395513 h 4687251"/>
              <a:gd name="connsiteX27616" fmla="*/ 4177238 w 8079933"/>
              <a:gd name="connsiteY27616" fmla="*/ 396271 h 4687251"/>
              <a:gd name="connsiteX27617" fmla="*/ 4181688 w 8079933"/>
              <a:gd name="connsiteY27617" fmla="*/ 402334 h 4687251"/>
              <a:gd name="connsiteX27618" fmla="*/ 4182664 w 8079933"/>
              <a:gd name="connsiteY27618" fmla="*/ 407855 h 4687251"/>
              <a:gd name="connsiteX27619" fmla="*/ 4184943 w 8079933"/>
              <a:gd name="connsiteY27619" fmla="*/ 409480 h 4687251"/>
              <a:gd name="connsiteX27620" fmla="*/ 4187005 w 8079933"/>
              <a:gd name="connsiteY27620" fmla="*/ 405799 h 4687251"/>
              <a:gd name="connsiteX27621" fmla="*/ 4190369 w 8079933"/>
              <a:gd name="connsiteY27621" fmla="*/ 403634 h 4687251"/>
              <a:gd name="connsiteX27622" fmla="*/ 4194058 w 8079933"/>
              <a:gd name="connsiteY27622" fmla="*/ 406232 h 4687251"/>
              <a:gd name="connsiteX27623" fmla="*/ 4198725 w 8079933"/>
              <a:gd name="connsiteY27623" fmla="*/ 412945 h 4687251"/>
              <a:gd name="connsiteX27624" fmla="*/ 4200678 w 8079933"/>
              <a:gd name="connsiteY27624" fmla="*/ 418250 h 4687251"/>
              <a:gd name="connsiteX27625" fmla="*/ 4200895 w 8079933"/>
              <a:gd name="connsiteY27625" fmla="*/ 423556 h 4687251"/>
              <a:gd name="connsiteX27626" fmla="*/ 4199050 w 8079933"/>
              <a:gd name="connsiteY27626" fmla="*/ 426045 h 4687251"/>
              <a:gd name="connsiteX27627" fmla="*/ 4198833 w 8079933"/>
              <a:gd name="connsiteY27627" fmla="*/ 436223 h 4687251"/>
              <a:gd name="connsiteX27628" fmla="*/ 4198942 w 8079933"/>
              <a:gd name="connsiteY27628" fmla="*/ 442179 h 4687251"/>
              <a:gd name="connsiteX27629" fmla="*/ 4198616 w 8079933"/>
              <a:gd name="connsiteY27629" fmla="*/ 444560 h 4687251"/>
              <a:gd name="connsiteX27630" fmla="*/ 4200244 w 8079933"/>
              <a:gd name="connsiteY27630" fmla="*/ 445426 h 4687251"/>
              <a:gd name="connsiteX27631" fmla="*/ 4203283 w 8079933"/>
              <a:gd name="connsiteY27631" fmla="*/ 442611 h 4687251"/>
              <a:gd name="connsiteX27632" fmla="*/ 4203174 w 8079933"/>
              <a:gd name="connsiteY27632" fmla="*/ 436764 h 4687251"/>
              <a:gd name="connsiteX27633" fmla="*/ 4202306 w 8079933"/>
              <a:gd name="connsiteY27633" fmla="*/ 427996 h 4687251"/>
              <a:gd name="connsiteX27634" fmla="*/ 4203499 w 8079933"/>
              <a:gd name="connsiteY27634" fmla="*/ 423664 h 4687251"/>
              <a:gd name="connsiteX27635" fmla="*/ 4206647 w 8079933"/>
              <a:gd name="connsiteY27635" fmla="*/ 421281 h 4687251"/>
              <a:gd name="connsiteX27636" fmla="*/ 4212615 w 8079933"/>
              <a:gd name="connsiteY27636" fmla="*/ 426370 h 4687251"/>
              <a:gd name="connsiteX27637" fmla="*/ 4216196 w 8079933"/>
              <a:gd name="connsiteY27637" fmla="*/ 435248 h 4687251"/>
              <a:gd name="connsiteX27638" fmla="*/ 4219235 w 8079933"/>
              <a:gd name="connsiteY27638" fmla="*/ 446076 h 4687251"/>
              <a:gd name="connsiteX27639" fmla="*/ 4219343 w 8079933"/>
              <a:gd name="connsiteY27639" fmla="*/ 449215 h 4687251"/>
              <a:gd name="connsiteX27640" fmla="*/ 4222164 w 8079933"/>
              <a:gd name="connsiteY27640" fmla="*/ 452356 h 4687251"/>
              <a:gd name="connsiteX27641" fmla="*/ 4227047 w 8079933"/>
              <a:gd name="connsiteY27641" fmla="*/ 452680 h 4687251"/>
              <a:gd name="connsiteX27642" fmla="*/ 4229435 w 8079933"/>
              <a:gd name="connsiteY27642" fmla="*/ 453872 h 4687251"/>
              <a:gd name="connsiteX27643" fmla="*/ 4235078 w 8079933"/>
              <a:gd name="connsiteY27643" fmla="*/ 460583 h 4687251"/>
              <a:gd name="connsiteX27644" fmla="*/ 4237900 w 8079933"/>
              <a:gd name="connsiteY27644" fmla="*/ 462966 h 4687251"/>
              <a:gd name="connsiteX27645" fmla="*/ 4244085 w 8079933"/>
              <a:gd name="connsiteY27645" fmla="*/ 469462 h 4687251"/>
              <a:gd name="connsiteX27646" fmla="*/ 4249185 w 8079933"/>
              <a:gd name="connsiteY27646" fmla="*/ 472277 h 4687251"/>
              <a:gd name="connsiteX27647" fmla="*/ 4259494 w 8079933"/>
              <a:gd name="connsiteY27647" fmla="*/ 474876 h 4687251"/>
              <a:gd name="connsiteX27648" fmla="*/ 4262858 w 8079933"/>
              <a:gd name="connsiteY27648" fmla="*/ 475850 h 4687251"/>
              <a:gd name="connsiteX27649" fmla="*/ 4263075 w 8079933"/>
              <a:gd name="connsiteY27649" fmla="*/ 481264 h 4687251"/>
              <a:gd name="connsiteX27650" fmla="*/ 4261556 w 8079933"/>
              <a:gd name="connsiteY27650" fmla="*/ 483862 h 4687251"/>
              <a:gd name="connsiteX27651" fmla="*/ 4260796 w 8079933"/>
              <a:gd name="connsiteY27651" fmla="*/ 487003 h 4687251"/>
              <a:gd name="connsiteX27652" fmla="*/ 4258843 w 8079933"/>
              <a:gd name="connsiteY27652" fmla="*/ 487544 h 4687251"/>
              <a:gd name="connsiteX27653" fmla="*/ 4256238 w 8079933"/>
              <a:gd name="connsiteY27653" fmla="*/ 483104 h 4687251"/>
              <a:gd name="connsiteX27654" fmla="*/ 4251464 w 8079933"/>
              <a:gd name="connsiteY27654" fmla="*/ 485270 h 4687251"/>
              <a:gd name="connsiteX27655" fmla="*/ 4248100 w 8079933"/>
              <a:gd name="connsiteY27655" fmla="*/ 484729 h 4687251"/>
              <a:gd name="connsiteX27656" fmla="*/ 4241589 w 8079933"/>
              <a:gd name="connsiteY27656" fmla="*/ 489925 h 4687251"/>
              <a:gd name="connsiteX27657" fmla="*/ 4237032 w 8079933"/>
              <a:gd name="connsiteY27657" fmla="*/ 490250 h 4687251"/>
              <a:gd name="connsiteX27658" fmla="*/ 4236272 w 8079933"/>
              <a:gd name="connsiteY27658" fmla="*/ 491983 h 4687251"/>
              <a:gd name="connsiteX27659" fmla="*/ 4237791 w 8079933"/>
              <a:gd name="connsiteY27659" fmla="*/ 494582 h 4687251"/>
              <a:gd name="connsiteX27660" fmla="*/ 4237574 w 8079933"/>
              <a:gd name="connsiteY27660" fmla="*/ 497287 h 4687251"/>
              <a:gd name="connsiteX27661" fmla="*/ 4232365 w 8079933"/>
              <a:gd name="connsiteY27661" fmla="*/ 501727 h 4687251"/>
              <a:gd name="connsiteX27662" fmla="*/ 4231497 w 8079933"/>
              <a:gd name="connsiteY27662" fmla="*/ 504217 h 4687251"/>
              <a:gd name="connsiteX27663" fmla="*/ 4232799 w 8079933"/>
              <a:gd name="connsiteY27663" fmla="*/ 509955 h 4687251"/>
              <a:gd name="connsiteX27664" fmla="*/ 4233016 w 8079933"/>
              <a:gd name="connsiteY27664" fmla="*/ 518619 h 4687251"/>
              <a:gd name="connsiteX27665" fmla="*/ 4232040 w 8079933"/>
              <a:gd name="connsiteY27665" fmla="*/ 522406 h 4687251"/>
              <a:gd name="connsiteX27666" fmla="*/ 4232473 w 8079933"/>
              <a:gd name="connsiteY27666" fmla="*/ 527820 h 4687251"/>
              <a:gd name="connsiteX27667" fmla="*/ 4233559 w 8079933"/>
              <a:gd name="connsiteY27667" fmla="*/ 529661 h 4687251"/>
              <a:gd name="connsiteX27668" fmla="*/ 4231388 w 8079933"/>
              <a:gd name="connsiteY27668" fmla="*/ 533125 h 4687251"/>
              <a:gd name="connsiteX27669" fmla="*/ 4227047 w 8079933"/>
              <a:gd name="connsiteY27669" fmla="*/ 531285 h 4687251"/>
              <a:gd name="connsiteX27670" fmla="*/ 4225202 w 8079933"/>
              <a:gd name="connsiteY27670" fmla="*/ 532584 h 4687251"/>
              <a:gd name="connsiteX27671" fmla="*/ 4224769 w 8079933"/>
              <a:gd name="connsiteY27671" fmla="*/ 537673 h 4687251"/>
              <a:gd name="connsiteX27672" fmla="*/ 4228133 w 8079933"/>
              <a:gd name="connsiteY27672" fmla="*/ 543520 h 4687251"/>
              <a:gd name="connsiteX27673" fmla="*/ 4228133 w 8079933"/>
              <a:gd name="connsiteY27673" fmla="*/ 548608 h 4687251"/>
              <a:gd name="connsiteX27674" fmla="*/ 4226722 w 8079933"/>
              <a:gd name="connsiteY27674" fmla="*/ 553805 h 4687251"/>
              <a:gd name="connsiteX27675" fmla="*/ 4226831 w 8079933"/>
              <a:gd name="connsiteY27675" fmla="*/ 560085 h 4687251"/>
              <a:gd name="connsiteX27676" fmla="*/ 4226397 w 8079933"/>
              <a:gd name="connsiteY27676" fmla="*/ 564740 h 4687251"/>
              <a:gd name="connsiteX27677" fmla="*/ 4224552 w 8079933"/>
              <a:gd name="connsiteY27677" fmla="*/ 564849 h 4687251"/>
              <a:gd name="connsiteX27678" fmla="*/ 4219560 w 8079933"/>
              <a:gd name="connsiteY27678" fmla="*/ 564307 h 4687251"/>
              <a:gd name="connsiteX27679" fmla="*/ 4215654 w 8079933"/>
              <a:gd name="connsiteY27679" fmla="*/ 567664 h 4687251"/>
              <a:gd name="connsiteX27680" fmla="*/ 4219994 w 8079933"/>
              <a:gd name="connsiteY27680" fmla="*/ 569830 h 4687251"/>
              <a:gd name="connsiteX27681" fmla="*/ 4219235 w 8079933"/>
              <a:gd name="connsiteY27681" fmla="*/ 571670 h 4687251"/>
              <a:gd name="connsiteX27682" fmla="*/ 4216196 w 8079933"/>
              <a:gd name="connsiteY27682" fmla="*/ 574701 h 4687251"/>
              <a:gd name="connsiteX27683" fmla="*/ 4216196 w 8079933"/>
              <a:gd name="connsiteY27683" fmla="*/ 578167 h 4687251"/>
              <a:gd name="connsiteX27684" fmla="*/ 4215545 w 8079933"/>
              <a:gd name="connsiteY27684" fmla="*/ 582173 h 4687251"/>
              <a:gd name="connsiteX27685" fmla="*/ 4215111 w 8079933"/>
              <a:gd name="connsiteY27685" fmla="*/ 597006 h 4687251"/>
              <a:gd name="connsiteX27686" fmla="*/ 4213266 w 8079933"/>
              <a:gd name="connsiteY27686" fmla="*/ 600903 h 4687251"/>
              <a:gd name="connsiteX27687" fmla="*/ 4211095 w 8079933"/>
              <a:gd name="connsiteY27687" fmla="*/ 603826 h 4687251"/>
              <a:gd name="connsiteX27688" fmla="*/ 4211747 w 8079933"/>
              <a:gd name="connsiteY27688" fmla="*/ 609240 h 4687251"/>
              <a:gd name="connsiteX27689" fmla="*/ 4213808 w 8079933"/>
              <a:gd name="connsiteY27689" fmla="*/ 615303 h 4687251"/>
              <a:gd name="connsiteX27690" fmla="*/ 4213808 w 8079933"/>
              <a:gd name="connsiteY27690" fmla="*/ 618335 h 4687251"/>
              <a:gd name="connsiteX27691" fmla="*/ 4212615 w 8079933"/>
              <a:gd name="connsiteY27691" fmla="*/ 619526 h 4687251"/>
              <a:gd name="connsiteX27692" fmla="*/ 4211964 w 8079933"/>
              <a:gd name="connsiteY27692" fmla="*/ 624614 h 4687251"/>
              <a:gd name="connsiteX27693" fmla="*/ 4209034 w 8079933"/>
              <a:gd name="connsiteY27693" fmla="*/ 628837 h 4687251"/>
              <a:gd name="connsiteX27694" fmla="*/ 4205344 w 8079933"/>
              <a:gd name="connsiteY27694" fmla="*/ 629487 h 4687251"/>
              <a:gd name="connsiteX27695" fmla="*/ 4202740 w 8079933"/>
              <a:gd name="connsiteY27695" fmla="*/ 626671 h 4687251"/>
              <a:gd name="connsiteX27696" fmla="*/ 4200895 w 8079933"/>
              <a:gd name="connsiteY27696" fmla="*/ 627322 h 4687251"/>
              <a:gd name="connsiteX27697" fmla="*/ 4199593 w 8079933"/>
              <a:gd name="connsiteY27697" fmla="*/ 629487 h 4687251"/>
              <a:gd name="connsiteX27698" fmla="*/ 4197965 w 8079933"/>
              <a:gd name="connsiteY27698" fmla="*/ 629811 h 4687251"/>
              <a:gd name="connsiteX27699" fmla="*/ 4197206 w 8079933"/>
              <a:gd name="connsiteY27699" fmla="*/ 626346 h 4687251"/>
              <a:gd name="connsiteX27700" fmla="*/ 4197640 w 8079933"/>
              <a:gd name="connsiteY27700" fmla="*/ 620175 h 4687251"/>
              <a:gd name="connsiteX27701" fmla="*/ 4196012 w 8079933"/>
              <a:gd name="connsiteY27701" fmla="*/ 617793 h 4687251"/>
              <a:gd name="connsiteX27702" fmla="*/ 4193625 w 8079933"/>
              <a:gd name="connsiteY27702" fmla="*/ 616602 h 4687251"/>
              <a:gd name="connsiteX27703" fmla="*/ 4186245 w 8079933"/>
              <a:gd name="connsiteY27703" fmla="*/ 609348 h 4687251"/>
              <a:gd name="connsiteX27704" fmla="*/ 4186245 w 8079933"/>
              <a:gd name="connsiteY27704" fmla="*/ 606966 h 4687251"/>
              <a:gd name="connsiteX27705" fmla="*/ 4190369 w 8079933"/>
              <a:gd name="connsiteY27705" fmla="*/ 603611 h 4687251"/>
              <a:gd name="connsiteX27706" fmla="*/ 4192431 w 8079933"/>
              <a:gd name="connsiteY27706" fmla="*/ 603502 h 4687251"/>
              <a:gd name="connsiteX27707" fmla="*/ 4194167 w 8079933"/>
              <a:gd name="connsiteY27707" fmla="*/ 601553 h 4687251"/>
              <a:gd name="connsiteX27708" fmla="*/ 4194602 w 8079933"/>
              <a:gd name="connsiteY27708" fmla="*/ 598630 h 4687251"/>
              <a:gd name="connsiteX27709" fmla="*/ 4193082 w 8079933"/>
              <a:gd name="connsiteY27709" fmla="*/ 597655 h 4687251"/>
              <a:gd name="connsiteX27710" fmla="*/ 4190477 w 8079933"/>
              <a:gd name="connsiteY27710" fmla="*/ 597980 h 4687251"/>
              <a:gd name="connsiteX27711" fmla="*/ 4188959 w 8079933"/>
              <a:gd name="connsiteY27711" fmla="*/ 596032 h 4687251"/>
              <a:gd name="connsiteX27712" fmla="*/ 4187114 w 8079933"/>
              <a:gd name="connsiteY27712" fmla="*/ 596032 h 4687251"/>
              <a:gd name="connsiteX27713" fmla="*/ 4185377 w 8079933"/>
              <a:gd name="connsiteY27713" fmla="*/ 599495 h 4687251"/>
              <a:gd name="connsiteX27714" fmla="*/ 4180386 w 8079933"/>
              <a:gd name="connsiteY27714" fmla="*/ 601228 h 4687251"/>
              <a:gd name="connsiteX27715" fmla="*/ 4175177 w 8079933"/>
              <a:gd name="connsiteY27715" fmla="*/ 597114 h 4687251"/>
              <a:gd name="connsiteX27716" fmla="*/ 4175068 w 8079933"/>
              <a:gd name="connsiteY27716" fmla="*/ 593649 h 4687251"/>
              <a:gd name="connsiteX27717" fmla="*/ 4173332 w 8079933"/>
              <a:gd name="connsiteY27717" fmla="*/ 592999 h 4687251"/>
              <a:gd name="connsiteX27718" fmla="*/ 4170727 w 8079933"/>
              <a:gd name="connsiteY27718" fmla="*/ 589860 h 4687251"/>
              <a:gd name="connsiteX27719" fmla="*/ 4167798 w 8079933"/>
              <a:gd name="connsiteY27719" fmla="*/ 589101 h 4687251"/>
              <a:gd name="connsiteX27720" fmla="*/ 4166604 w 8079933"/>
              <a:gd name="connsiteY27720" fmla="*/ 589209 h 4687251"/>
              <a:gd name="connsiteX27721" fmla="*/ 4164325 w 8079933"/>
              <a:gd name="connsiteY27721" fmla="*/ 586612 h 4687251"/>
              <a:gd name="connsiteX27722" fmla="*/ 4164108 w 8079933"/>
              <a:gd name="connsiteY27722" fmla="*/ 584338 h 4687251"/>
              <a:gd name="connsiteX27723" fmla="*/ 4161395 w 8079933"/>
              <a:gd name="connsiteY27723" fmla="*/ 581631 h 4687251"/>
              <a:gd name="connsiteX27724" fmla="*/ 4159768 w 8079933"/>
              <a:gd name="connsiteY27724" fmla="*/ 581848 h 4687251"/>
              <a:gd name="connsiteX27725" fmla="*/ 4159008 w 8079933"/>
              <a:gd name="connsiteY27725" fmla="*/ 580441 h 4687251"/>
              <a:gd name="connsiteX27726" fmla="*/ 4158682 w 8079933"/>
              <a:gd name="connsiteY27726" fmla="*/ 577408 h 4687251"/>
              <a:gd name="connsiteX27727" fmla="*/ 4155319 w 8079933"/>
              <a:gd name="connsiteY27727" fmla="*/ 575351 h 4687251"/>
              <a:gd name="connsiteX27728" fmla="*/ 4154775 w 8079933"/>
              <a:gd name="connsiteY27728" fmla="*/ 573619 h 4687251"/>
              <a:gd name="connsiteX27729" fmla="*/ 4154884 w 8079933"/>
              <a:gd name="connsiteY27729" fmla="*/ 571670 h 4687251"/>
              <a:gd name="connsiteX27730" fmla="*/ 4153907 w 8079933"/>
              <a:gd name="connsiteY27730" fmla="*/ 571128 h 4687251"/>
              <a:gd name="connsiteX27731" fmla="*/ 4154993 w 8079933"/>
              <a:gd name="connsiteY27731" fmla="*/ 568206 h 4687251"/>
              <a:gd name="connsiteX27732" fmla="*/ 4154884 w 8079933"/>
              <a:gd name="connsiteY27732" fmla="*/ 565823 h 4687251"/>
              <a:gd name="connsiteX27733" fmla="*/ 4152388 w 8079933"/>
              <a:gd name="connsiteY27733" fmla="*/ 563008 h 4687251"/>
              <a:gd name="connsiteX27734" fmla="*/ 4152497 w 8079933"/>
              <a:gd name="connsiteY27734" fmla="*/ 561601 h 4687251"/>
              <a:gd name="connsiteX27735" fmla="*/ 4158140 w 8079933"/>
              <a:gd name="connsiteY27735" fmla="*/ 557812 h 4687251"/>
              <a:gd name="connsiteX27736" fmla="*/ 4160527 w 8079933"/>
              <a:gd name="connsiteY27736" fmla="*/ 558028 h 4687251"/>
              <a:gd name="connsiteX27737" fmla="*/ 4163131 w 8079933"/>
              <a:gd name="connsiteY27737" fmla="*/ 561817 h 4687251"/>
              <a:gd name="connsiteX27738" fmla="*/ 4165085 w 8079933"/>
              <a:gd name="connsiteY27738" fmla="*/ 563550 h 4687251"/>
              <a:gd name="connsiteX27739" fmla="*/ 4166279 w 8079933"/>
              <a:gd name="connsiteY27739" fmla="*/ 563550 h 4687251"/>
              <a:gd name="connsiteX27740" fmla="*/ 4167580 w 8079933"/>
              <a:gd name="connsiteY27740" fmla="*/ 561492 h 4687251"/>
              <a:gd name="connsiteX27741" fmla="*/ 4171704 w 8079933"/>
              <a:gd name="connsiteY27741" fmla="*/ 562575 h 4687251"/>
              <a:gd name="connsiteX27742" fmla="*/ 4173875 w 8079933"/>
              <a:gd name="connsiteY27742" fmla="*/ 563767 h 4687251"/>
              <a:gd name="connsiteX27743" fmla="*/ 4177456 w 8079933"/>
              <a:gd name="connsiteY27743" fmla="*/ 563116 h 4687251"/>
              <a:gd name="connsiteX27744" fmla="*/ 4185594 w 8079933"/>
              <a:gd name="connsiteY27744" fmla="*/ 562575 h 4687251"/>
              <a:gd name="connsiteX27745" fmla="*/ 4185920 w 8079933"/>
              <a:gd name="connsiteY27745" fmla="*/ 560301 h 4687251"/>
              <a:gd name="connsiteX27746" fmla="*/ 4181471 w 8079933"/>
              <a:gd name="connsiteY27746" fmla="*/ 557162 h 4687251"/>
              <a:gd name="connsiteX27747" fmla="*/ 4177673 w 8079933"/>
              <a:gd name="connsiteY27747" fmla="*/ 557487 h 4687251"/>
              <a:gd name="connsiteX27748" fmla="*/ 4171379 w 8079933"/>
              <a:gd name="connsiteY27748" fmla="*/ 556404 h 4687251"/>
              <a:gd name="connsiteX27749" fmla="*/ 4167038 w 8079933"/>
              <a:gd name="connsiteY27749" fmla="*/ 554563 h 4687251"/>
              <a:gd name="connsiteX27750" fmla="*/ 4167038 w 8079933"/>
              <a:gd name="connsiteY27750" fmla="*/ 553047 h 4687251"/>
              <a:gd name="connsiteX27751" fmla="*/ 4170836 w 8079933"/>
              <a:gd name="connsiteY27751" fmla="*/ 552073 h 4687251"/>
              <a:gd name="connsiteX27752" fmla="*/ 4174200 w 8079933"/>
              <a:gd name="connsiteY27752" fmla="*/ 551966 h 4687251"/>
              <a:gd name="connsiteX27753" fmla="*/ 4181796 w 8079933"/>
              <a:gd name="connsiteY27753" fmla="*/ 548608 h 4687251"/>
              <a:gd name="connsiteX27754" fmla="*/ 4185703 w 8079933"/>
              <a:gd name="connsiteY27754" fmla="*/ 546119 h 4687251"/>
              <a:gd name="connsiteX27755" fmla="*/ 4191889 w 8079933"/>
              <a:gd name="connsiteY27755" fmla="*/ 546551 h 4687251"/>
              <a:gd name="connsiteX27756" fmla="*/ 4194927 w 8079933"/>
              <a:gd name="connsiteY27756" fmla="*/ 545035 h 4687251"/>
              <a:gd name="connsiteX27757" fmla="*/ 4196771 w 8079933"/>
              <a:gd name="connsiteY27757" fmla="*/ 544927 h 4687251"/>
              <a:gd name="connsiteX27758" fmla="*/ 4197748 w 8079933"/>
              <a:gd name="connsiteY27758" fmla="*/ 545793 h 4687251"/>
              <a:gd name="connsiteX27759" fmla="*/ 4198291 w 8079933"/>
              <a:gd name="connsiteY27759" fmla="*/ 542545 h 4687251"/>
              <a:gd name="connsiteX27760" fmla="*/ 4200678 w 8079933"/>
              <a:gd name="connsiteY27760" fmla="*/ 540704 h 4687251"/>
              <a:gd name="connsiteX27761" fmla="*/ 4200786 w 8079933"/>
              <a:gd name="connsiteY27761" fmla="*/ 538323 h 4687251"/>
              <a:gd name="connsiteX27762" fmla="*/ 4198725 w 8079933"/>
              <a:gd name="connsiteY27762" fmla="*/ 537565 h 4687251"/>
              <a:gd name="connsiteX27763" fmla="*/ 4195252 w 8079933"/>
              <a:gd name="connsiteY27763" fmla="*/ 539947 h 4687251"/>
              <a:gd name="connsiteX27764" fmla="*/ 4192865 w 8079933"/>
              <a:gd name="connsiteY27764" fmla="*/ 542220 h 4687251"/>
              <a:gd name="connsiteX27765" fmla="*/ 4183532 w 8079933"/>
              <a:gd name="connsiteY27765" fmla="*/ 542220 h 4687251"/>
              <a:gd name="connsiteX27766" fmla="*/ 4181037 w 8079933"/>
              <a:gd name="connsiteY27766" fmla="*/ 542436 h 4687251"/>
              <a:gd name="connsiteX27767" fmla="*/ 4180060 w 8079933"/>
              <a:gd name="connsiteY27767" fmla="*/ 541030 h 4687251"/>
              <a:gd name="connsiteX27768" fmla="*/ 4176153 w 8079933"/>
              <a:gd name="connsiteY27768" fmla="*/ 541030 h 4687251"/>
              <a:gd name="connsiteX27769" fmla="*/ 4174525 w 8079933"/>
              <a:gd name="connsiteY27769" fmla="*/ 542327 h 4687251"/>
              <a:gd name="connsiteX27770" fmla="*/ 4173224 w 8079933"/>
              <a:gd name="connsiteY27770" fmla="*/ 542653 h 4687251"/>
              <a:gd name="connsiteX27771" fmla="*/ 4169859 w 8079933"/>
              <a:gd name="connsiteY27771" fmla="*/ 546984 h 4687251"/>
              <a:gd name="connsiteX27772" fmla="*/ 4166061 w 8079933"/>
              <a:gd name="connsiteY27772" fmla="*/ 547634 h 4687251"/>
              <a:gd name="connsiteX27773" fmla="*/ 4163240 w 8079933"/>
              <a:gd name="connsiteY27773" fmla="*/ 547201 h 4687251"/>
              <a:gd name="connsiteX27774" fmla="*/ 4161070 w 8079933"/>
              <a:gd name="connsiteY27774" fmla="*/ 548608 h 4687251"/>
              <a:gd name="connsiteX27775" fmla="*/ 4156187 w 8079933"/>
              <a:gd name="connsiteY27775" fmla="*/ 549149 h 4687251"/>
              <a:gd name="connsiteX27776" fmla="*/ 4152714 w 8079933"/>
              <a:gd name="connsiteY27776" fmla="*/ 551099 h 4687251"/>
              <a:gd name="connsiteX27777" fmla="*/ 4149350 w 8079933"/>
              <a:gd name="connsiteY27777" fmla="*/ 551207 h 4687251"/>
              <a:gd name="connsiteX27778" fmla="*/ 4147939 w 8079933"/>
              <a:gd name="connsiteY27778" fmla="*/ 550016 h 4687251"/>
              <a:gd name="connsiteX27779" fmla="*/ 4147614 w 8079933"/>
              <a:gd name="connsiteY27779" fmla="*/ 543737 h 4687251"/>
              <a:gd name="connsiteX27780" fmla="*/ 4146202 w 8079933"/>
              <a:gd name="connsiteY27780" fmla="*/ 536807 h 4687251"/>
              <a:gd name="connsiteX27781" fmla="*/ 4146854 w 8079933"/>
              <a:gd name="connsiteY27781" fmla="*/ 534749 h 4687251"/>
              <a:gd name="connsiteX27782" fmla="*/ 4147071 w 8079933"/>
              <a:gd name="connsiteY27782" fmla="*/ 532584 h 4687251"/>
              <a:gd name="connsiteX27783" fmla="*/ 4149784 w 8079933"/>
              <a:gd name="connsiteY27783" fmla="*/ 531068 h 4687251"/>
              <a:gd name="connsiteX27784" fmla="*/ 4152931 w 8079933"/>
              <a:gd name="connsiteY27784" fmla="*/ 529553 h 4687251"/>
              <a:gd name="connsiteX27785" fmla="*/ 4154450 w 8079933"/>
              <a:gd name="connsiteY27785" fmla="*/ 531177 h 4687251"/>
              <a:gd name="connsiteX27786" fmla="*/ 4155427 w 8079933"/>
              <a:gd name="connsiteY27786" fmla="*/ 534209 h 4687251"/>
              <a:gd name="connsiteX27787" fmla="*/ 4157055 w 8079933"/>
              <a:gd name="connsiteY27787" fmla="*/ 533884 h 4687251"/>
              <a:gd name="connsiteX27788" fmla="*/ 4158140 w 8079933"/>
              <a:gd name="connsiteY27788" fmla="*/ 529986 h 4687251"/>
              <a:gd name="connsiteX27789" fmla="*/ 4162154 w 8079933"/>
              <a:gd name="connsiteY27789" fmla="*/ 527604 h 4687251"/>
              <a:gd name="connsiteX27790" fmla="*/ 4164216 w 8079933"/>
              <a:gd name="connsiteY27790" fmla="*/ 528254 h 4687251"/>
              <a:gd name="connsiteX27791" fmla="*/ 4167038 w 8079933"/>
              <a:gd name="connsiteY27791" fmla="*/ 524464 h 4687251"/>
              <a:gd name="connsiteX27792" fmla="*/ 4171053 w 8079933"/>
              <a:gd name="connsiteY27792" fmla="*/ 520024 h 4687251"/>
              <a:gd name="connsiteX27793" fmla="*/ 4175502 w 8079933"/>
              <a:gd name="connsiteY27793" fmla="*/ 518292 h 4687251"/>
              <a:gd name="connsiteX27794" fmla="*/ 4174852 w 8079933"/>
              <a:gd name="connsiteY27794" fmla="*/ 515369 h 4687251"/>
              <a:gd name="connsiteX27795" fmla="*/ 4176262 w 8079933"/>
              <a:gd name="connsiteY27795" fmla="*/ 513095 h 4687251"/>
              <a:gd name="connsiteX27796" fmla="*/ 4182339 w 8079933"/>
              <a:gd name="connsiteY27796" fmla="*/ 510606 h 4687251"/>
              <a:gd name="connsiteX27797" fmla="*/ 4189827 w 8079933"/>
              <a:gd name="connsiteY27797" fmla="*/ 510172 h 4687251"/>
              <a:gd name="connsiteX27798" fmla="*/ 4193625 w 8079933"/>
              <a:gd name="connsiteY27798" fmla="*/ 506816 h 4687251"/>
              <a:gd name="connsiteX27799" fmla="*/ 4197748 w 8079933"/>
              <a:gd name="connsiteY27799" fmla="*/ 505300 h 4687251"/>
              <a:gd name="connsiteX27800" fmla="*/ 4200244 w 8079933"/>
              <a:gd name="connsiteY27800" fmla="*/ 502918 h 4687251"/>
              <a:gd name="connsiteX27801" fmla="*/ 4200353 w 8079933"/>
              <a:gd name="connsiteY27801" fmla="*/ 500753 h 4687251"/>
              <a:gd name="connsiteX27802" fmla="*/ 4197748 w 8079933"/>
              <a:gd name="connsiteY27802" fmla="*/ 500753 h 4687251"/>
              <a:gd name="connsiteX27803" fmla="*/ 4194384 w 8079933"/>
              <a:gd name="connsiteY27803" fmla="*/ 504108 h 4687251"/>
              <a:gd name="connsiteX27804" fmla="*/ 4190586 w 8079933"/>
              <a:gd name="connsiteY27804" fmla="*/ 504867 h 4687251"/>
              <a:gd name="connsiteX27805" fmla="*/ 4187222 w 8079933"/>
              <a:gd name="connsiteY27805" fmla="*/ 503135 h 4687251"/>
              <a:gd name="connsiteX27806" fmla="*/ 4187331 w 8079933"/>
              <a:gd name="connsiteY27806" fmla="*/ 499778 h 4687251"/>
              <a:gd name="connsiteX27807" fmla="*/ 4189501 w 8079933"/>
              <a:gd name="connsiteY27807" fmla="*/ 495123 h 4687251"/>
              <a:gd name="connsiteX27808" fmla="*/ 4189827 w 8079933"/>
              <a:gd name="connsiteY27808" fmla="*/ 489708 h 4687251"/>
              <a:gd name="connsiteX27809" fmla="*/ 4187765 w 8079933"/>
              <a:gd name="connsiteY27809" fmla="*/ 486353 h 4687251"/>
              <a:gd name="connsiteX27810" fmla="*/ 4185594 w 8079933"/>
              <a:gd name="connsiteY27810" fmla="*/ 486244 h 4687251"/>
              <a:gd name="connsiteX27811" fmla="*/ 4184292 w 8079933"/>
              <a:gd name="connsiteY27811" fmla="*/ 488734 h 4687251"/>
              <a:gd name="connsiteX27812" fmla="*/ 4184401 w 8079933"/>
              <a:gd name="connsiteY27812" fmla="*/ 493931 h 4687251"/>
              <a:gd name="connsiteX27813" fmla="*/ 4182990 w 8079933"/>
              <a:gd name="connsiteY27813" fmla="*/ 498371 h 4687251"/>
              <a:gd name="connsiteX27814" fmla="*/ 4176262 w 8079933"/>
              <a:gd name="connsiteY27814" fmla="*/ 505191 h 4687251"/>
              <a:gd name="connsiteX27815" fmla="*/ 4172464 w 8079933"/>
              <a:gd name="connsiteY27815" fmla="*/ 506165 h 4687251"/>
              <a:gd name="connsiteX27816" fmla="*/ 4170402 w 8079933"/>
              <a:gd name="connsiteY27816" fmla="*/ 504867 h 4687251"/>
              <a:gd name="connsiteX27817" fmla="*/ 4169317 w 8079933"/>
              <a:gd name="connsiteY27817" fmla="*/ 498587 h 4687251"/>
              <a:gd name="connsiteX27818" fmla="*/ 4169968 w 8079933"/>
              <a:gd name="connsiteY27818" fmla="*/ 496422 h 4687251"/>
              <a:gd name="connsiteX27819" fmla="*/ 4172572 w 8079933"/>
              <a:gd name="connsiteY27819" fmla="*/ 493390 h 4687251"/>
              <a:gd name="connsiteX27820" fmla="*/ 4172572 w 8079933"/>
              <a:gd name="connsiteY27820" fmla="*/ 490575 h 4687251"/>
              <a:gd name="connsiteX27821" fmla="*/ 4171053 w 8079933"/>
              <a:gd name="connsiteY27821" fmla="*/ 488193 h 4687251"/>
              <a:gd name="connsiteX27822" fmla="*/ 4170402 w 8079933"/>
              <a:gd name="connsiteY27822" fmla="*/ 482347 h 4687251"/>
              <a:gd name="connsiteX27823" fmla="*/ 4168883 w 8079933"/>
              <a:gd name="connsiteY27823" fmla="*/ 479639 h 4687251"/>
              <a:gd name="connsiteX27824" fmla="*/ 4167472 w 8079933"/>
              <a:gd name="connsiteY27824" fmla="*/ 479748 h 4687251"/>
              <a:gd name="connsiteX27825" fmla="*/ 4165627 w 8079933"/>
              <a:gd name="connsiteY27825" fmla="*/ 482780 h 4687251"/>
              <a:gd name="connsiteX27826" fmla="*/ 4166604 w 8079933"/>
              <a:gd name="connsiteY27826" fmla="*/ 490142 h 4687251"/>
              <a:gd name="connsiteX27827" fmla="*/ 4165844 w 8079933"/>
              <a:gd name="connsiteY27827" fmla="*/ 493498 h 4687251"/>
              <a:gd name="connsiteX27828" fmla="*/ 4163023 w 8079933"/>
              <a:gd name="connsiteY27828" fmla="*/ 496314 h 4687251"/>
              <a:gd name="connsiteX27829" fmla="*/ 4162372 w 8079933"/>
              <a:gd name="connsiteY27829" fmla="*/ 493931 h 4687251"/>
              <a:gd name="connsiteX27830" fmla="*/ 4162914 w 8079933"/>
              <a:gd name="connsiteY27830" fmla="*/ 492199 h 4687251"/>
              <a:gd name="connsiteX27831" fmla="*/ 4160745 w 8079933"/>
              <a:gd name="connsiteY27831" fmla="*/ 488085 h 4687251"/>
              <a:gd name="connsiteX27832" fmla="*/ 4158357 w 8079933"/>
              <a:gd name="connsiteY27832" fmla="*/ 487003 h 4687251"/>
              <a:gd name="connsiteX27833" fmla="*/ 4156512 w 8079933"/>
              <a:gd name="connsiteY27833" fmla="*/ 488085 h 4687251"/>
              <a:gd name="connsiteX27834" fmla="*/ 4156403 w 8079933"/>
              <a:gd name="connsiteY27834" fmla="*/ 491333 h 4687251"/>
              <a:gd name="connsiteX27835" fmla="*/ 4157380 w 8079933"/>
              <a:gd name="connsiteY27835" fmla="*/ 494582 h 4687251"/>
              <a:gd name="connsiteX27836" fmla="*/ 4157380 w 8079933"/>
              <a:gd name="connsiteY27836" fmla="*/ 499669 h 4687251"/>
              <a:gd name="connsiteX27837" fmla="*/ 4159659 w 8079933"/>
              <a:gd name="connsiteY27837" fmla="*/ 503784 h 4687251"/>
              <a:gd name="connsiteX27838" fmla="*/ 4161721 w 8079933"/>
              <a:gd name="connsiteY27838" fmla="*/ 508549 h 4687251"/>
              <a:gd name="connsiteX27839" fmla="*/ 4161829 w 8079933"/>
              <a:gd name="connsiteY27839" fmla="*/ 511472 h 4687251"/>
              <a:gd name="connsiteX27840" fmla="*/ 4158465 w 8079933"/>
              <a:gd name="connsiteY27840" fmla="*/ 511147 h 4687251"/>
              <a:gd name="connsiteX27841" fmla="*/ 4155644 w 8079933"/>
              <a:gd name="connsiteY27841" fmla="*/ 512229 h 4687251"/>
              <a:gd name="connsiteX27842" fmla="*/ 4153582 w 8079933"/>
              <a:gd name="connsiteY27842" fmla="*/ 517535 h 4687251"/>
              <a:gd name="connsiteX27843" fmla="*/ 4153474 w 8079933"/>
              <a:gd name="connsiteY27843" fmla="*/ 520783 h 4687251"/>
              <a:gd name="connsiteX27844" fmla="*/ 4150327 w 8079933"/>
              <a:gd name="connsiteY27844" fmla="*/ 523273 h 4687251"/>
              <a:gd name="connsiteX27845" fmla="*/ 4141645 w 8079933"/>
              <a:gd name="connsiteY27845" fmla="*/ 524030 h 4687251"/>
              <a:gd name="connsiteX27846" fmla="*/ 4136762 w 8079933"/>
              <a:gd name="connsiteY27846" fmla="*/ 523490 h 4687251"/>
              <a:gd name="connsiteX27847" fmla="*/ 4137413 w 8079933"/>
              <a:gd name="connsiteY27847" fmla="*/ 521324 h 4687251"/>
              <a:gd name="connsiteX27848" fmla="*/ 4138824 w 8079933"/>
              <a:gd name="connsiteY27848" fmla="*/ 519266 h 4687251"/>
              <a:gd name="connsiteX27849" fmla="*/ 4136870 w 8079933"/>
              <a:gd name="connsiteY27849" fmla="*/ 515694 h 4687251"/>
              <a:gd name="connsiteX27850" fmla="*/ 4131336 w 8079933"/>
              <a:gd name="connsiteY27850" fmla="*/ 510280 h 4687251"/>
              <a:gd name="connsiteX27851" fmla="*/ 4127755 w 8079933"/>
              <a:gd name="connsiteY27851" fmla="*/ 509198 h 4687251"/>
              <a:gd name="connsiteX27852" fmla="*/ 4126561 w 8079933"/>
              <a:gd name="connsiteY27852" fmla="*/ 509740 h 4687251"/>
              <a:gd name="connsiteX27853" fmla="*/ 4124066 w 8079933"/>
              <a:gd name="connsiteY27853" fmla="*/ 505191 h 4687251"/>
              <a:gd name="connsiteX27854" fmla="*/ 4123523 w 8079933"/>
              <a:gd name="connsiteY27854" fmla="*/ 501186 h 4687251"/>
              <a:gd name="connsiteX27855" fmla="*/ 4128949 w 8079933"/>
              <a:gd name="connsiteY27855" fmla="*/ 500969 h 4687251"/>
              <a:gd name="connsiteX27856" fmla="*/ 4131662 w 8079933"/>
              <a:gd name="connsiteY27856" fmla="*/ 499021 h 4687251"/>
              <a:gd name="connsiteX27857" fmla="*/ 4130685 w 8079933"/>
              <a:gd name="connsiteY27857" fmla="*/ 497612 h 4687251"/>
              <a:gd name="connsiteX27858" fmla="*/ 4127104 w 8079933"/>
              <a:gd name="connsiteY27858" fmla="*/ 497287 h 4687251"/>
              <a:gd name="connsiteX27859" fmla="*/ 4124825 w 8079933"/>
              <a:gd name="connsiteY27859" fmla="*/ 497938 h 4687251"/>
              <a:gd name="connsiteX27860" fmla="*/ 4121461 w 8079933"/>
              <a:gd name="connsiteY27860" fmla="*/ 496314 h 4687251"/>
              <a:gd name="connsiteX27861" fmla="*/ 4120268 w 8079933"/>
              <a:gd name="connsiteY27861" fmla="*/ 493390 h 4687251"/>
              <a:gd name="connsiteX27862" fmla="*/ 4117555 w 8079933"/>
              <a:gd name="connsiteY27862" fmla="*/ 491333 h 4687251"/>
              <a:gd name="connsiteX27863" fmla="*/ 4113431 w 8079933"/>
              <a:gd name="connsiteY27863" fmla="*/ 489275 h 4687251"/>
              <a:gd name="connsiteX27864" fmla="*/ 4110935 w 8079933"/>
              <a:gd name="connsiteY27864" fmla="*/ 486244 h 4687251"/>
              <a:gd name="connsiteX27865" fmla="*/ 4112997 w 8079933"/>
              <a:gd name="connsiteY27865" fmla="*/ 483971 h 4687251"/>
              <a:gd name="connsiteX27866" fmla="*/ 4112889 w 8079933"/>
              <a:gd name="connsiteY27866" fmla="*/ 482780 h 4687251"/>
              <a:gd name="connsiteX27867" fmla="*/ 4110392 w 8079933"/>
              <a:gd name="connsiteY27867" fmla="*/ 480289 h 4687251"/>
              <a:gd name="connsiteX27868" fmla="*/ 4107137 w 8079933"/>
              <a:gd name="connsiteY27868" fmla="*/ 478665 h 4687251"/>
              <a:gd name="connsiteX27869" fmla="*/ 4104098 w 8079933"/>
              <a:gd name="connsiteY27869" fmla="*/ 474442 h 4687251"/>
              <a:gd name="connsiteX27870" fmla="*/ 4104424 w 8079933"/>
              <a:gd name="connsiteY27870" fmla="*/ 471303 h 4687251"/>
              <a:gd name="connsiteX27871" fmla="*/ 4106052 w 8079933"/>
              <a:gd name="connsiteY27871" fmla="*/ 470653 h 4687251"/>
              <a:gd name="connsiteX27872" fmla="*/ 4111804 w 8079933"/>
              <a:gd name="connsiteY27872" fmla="*/ 475309 h 4687251"/>
              <a:gd name="connsiteX27873" fmla="*/ 4113431 w 8079933"/>
              <a:gd name="connsiteY27873" fmla="*/ 477474 h 4687251"/>
              <a:gd name="connsiteX27874" fmla="*/ 4113539 w 8079933"/>
              <a:gd name="connsiteY27874" fmla="*/ 479098 h 4687251"/>
              <a:gd name="connsiteX27875" fmla="*/ 4115493 w 8079933"/>
              <a:gd name="connsiteY27875" fmla="*/ 479098 h 4687251"/>
              <a:gd name="connsiteX27876" fmla="*/ 4119074 w 8079933"/>
              <a:gd name="connsiteY27876" fmla="*/ 476392 h 4687251"/>
              <a:gd name="connsiteX27877" fmla="*/ 4119399 w 8079933"/>
              <a:gd name="connsiteY27877" fmla="*/ 472493 h 4687251"/>
              <a:gd name="connsiteX27878" fmla="*/ 4118097 w 8079933"/>
              <a:gd name="connsiteY27878" fmla="*/ 471518 h 4687251"/>
              <a:gd name="connsiteX27879" fmla="*/ 4115058 w 8079933"/>
              <a:gd name="connsiteY27879" fmla="*/ 471953 h 4687251"/>
              <a:gd name="connsiteX27880" fmla="*/ 4112997 w 8079933"/>
              <a:gd name="connsiteY27880" fmla="*/ 470653 h 4687251"/>
              <a:gd name="connsiteX27881" fmla="*/ 4112997 w 8079933"/>
              <a:gd name="connsiteY27881" fmla="*/ 469246 h 4687251"/>
              <a:gd name="connsiteX27882" fmla="*/ 4108873 w 8079933"/>
              <a:gd name="connsiteY27882" fmla="*/ 465782 h 4687251"/>
              <a:gd name="connsiteX27883" fmla="*/ 4108765 w 8079933"/>
              <a:gd name="connsiteY27883" fmla="*/ 462533 h 4687251"/>
              <a:gd name="connsiteX27884" fmla="*/ 4109633 w 8079933"/>
              <a:gd name="connsiteY27884" fmla="*/ 461775 h 4687251"/>
              <a:gd name="connsiteX27885" fmla="*/ 4111369 w 8079933"/>
              <a:gd name="connsiteY27885" fmla="*/ 455712 h 4687251"/>
              <a:gd name="connsiteX27886" fmla="*/ 4113648 w 8079933"/>
              <a:gd name="connsiteY27886" fmla="*/ 451056 h 4687251"/>
              <a:gd name="connsiteX27887" fmla="*/ 4112563 w 8079933"/>
              <a:gd name="connsiteY27887" fmla="*/ 450190 h 4687251"/>
              <a:gd name="connsiteX27888" fmla="*/ 4109416 w 8079933"/>
              <a:gd name="connsiteY27888" fmla="*/ 451922 h 4687251"/>
              <a:gd name="connsiteX27889" fmla="*/ 4106703 w 8079933"/>
              <a:gd name="connsiteY27889" fmla="*/ 449433 h 4687251"/>
              <a:gd name="connsiteX27890" fmla="*/ 4104858 w 8079933"/>
              <a:gd name="connsiteY27890" fmla="*/ 449757 h 4687251"/>
              <a:gd name="connsiteX27891" fmla="*/ 4104207 w 8079933"/>
              <a:gd name="connsiteY27891" fmla="*/ 454737 h 4687251"/>
              <a:gd name="connsiteX27892" fmla="*/ 4104858 w 8079933"/>
              <a:gd name="connsiteY27892" fmla="*/ 458960 h 4687251"/>
              <a:gd name="connsiteX27893" fmla="*/ 4102579 w 8079933"/>
              <a:gd name="connsiteY27893" fmla="*/ 462100 h 4687251"/>
              <a:gd name="connsiteX27894" fmla="*/ 4099541 w 8079933"/>
              <a:gd name="connsiteY27894" fmla="*/ 463615 h 4687251"/>
              <a:gd name="connsiteX27895" fmla="*/ 4098998 w 8079933"/>
              <a:gd name="connsiteY27895" fmla="*/ 459392 h 4687251"/>
              <a:gd name="connsiteX27896" fmla="*/ 4094224 w 8079933"/>
              <a:gd name="connsiteY27896" fmla="*/ 452356 h 4687251"/>
              <a:gd name="connsiteX27897" fmla="*/ 4093681 w 8079933"/>
              <a:gd name="connsiteY27897" fmla="*/ 447158 h 4687251"/>
              <a:gd name="connsiteX27898" fmla="*/ 4092162 w 8079933"/>
              <a:gd name="connsiteY27898" fmla="*/ 441203 h 4687251"/>
              <a:gd name="connsiteX27899" fmla="*/ 4092162 w 8079933"/>
              <a:gd name="connsiteY27899" fmla="*/ 437198 h 4687251"/>
              <a:gd name="connsiteX27900" fmla="*/ 4094983 w 8079933"/>
              <a:gd name="connsiteY27900" fmla="*/ 436547 h 4687251"/>
              <a:gd name="connsiteX27901" fmla="*/ 4098673 w 8079933"/>
              <a:gd name="connsiteY27901" fmla="*/ 433300 h 4687251"/>
              <a:gd name="connsiteX27902" fmla="*/ 4099975 w 8079933"/>
              <a:gd name="connsiteY27902" fmla="*/ 432434 h 4687251"/>
              <a:gd name="connsiteX27903" fmla="*/ 4099975 w 8079933"/>
              <a:gd name="connsiteY27903" fmla="*/ 428320 h 4687251"/>
              <a:gd name="connsiteX27904" fmla="*/ 4098673 w 8079933"/>
              <a:gd name="connsiteY27904" fmla="*/ 426045 h 4687251"/>
              <a:gd name="connsiteX27905" fmla="*/ 4098347 w 8079933"/>
              <a:gd name="connsiteY27905" fmla="*/ 420957 h 4687251"/>
              <a:gd name="connsiteX27906" fmla="*/ 4102579 w 8079933"/>
              <a:gd name="connsiteY27906" fmla="*/ 416301 h 4687251"/>
              <a:gd name="connsiteX27907" fmla="*/ 4105834 w 8079933"/>
              <a:gd name="connsiteY27907" fmla="*/ 416518 h 4687251"/>
              <a:gd name="connsiteX27908" fmla="*/ 4108439 w 8079933"/>
              <a:gd name="connsiteY27908" fmla="*/ 422906 h 4687251"/>
              <a:gd name="connsiteX27909" fmla="*/ 4110392 w 8079933"/>
              <a:gd name="connsiteY27909" fmla="*/ 427020 h 4687251"/>
              <a:gd name="connsiteX27910" fmla="*/ 4114190 w 8079933"/>
              <a:gd name="connsiteY27910" fmla="*/ 427670 h 4687251"/>
              <a:gd name="connsiteX27911" fmla="*/ 4115276 w 8079933"/>
              <a:gd name="connsiteY27911" fmla="*/ 425613 h 4687251"/>
              <a:gd name="connsiteX27912" fmla="*/ 4110392 w 8079933"/>
              <a:gd name="connsiteY27912" fmla="*/ 419333 h 4687251"/>
              <a:gd name="connsiteX27913" fmla="*/ 4110392 w 8079933"/>
              <a:gd name="connsiteY27913" fmla="*/ 414677 h 4687251"/>
              <a:gd name="connsiteX27914" fmla="*/ 4112345 w 8079933"/>
              <a:gd name="connsiteY27914" fmla="*/ 413703 h 4687251"/>
              <a:gd name="connsiteX27915" fmla="*/ 4115058 w 8079933"/>
              <a:gd name="connsiteY27915" fmla="*/ 415435 h 4687251"/>
              <a:gd name="connsiteX27916" fmla="*/ 4115493 w 8079933"/>
              <a:gd name="connsiteY27916" fmla="*/ 418250 h 4687251"/>
              <a:gd name="connsiteX27917" fmla="*/ 4117338 w 8079933"/>
              <a:gd name="connsiteY27917" fmla="*/ 420090 h 4687251"/>
              <a:gd name="connsiteX27918" fmla="*/ 4121027 w 8079933"/>
              <a:gd name="connsiteY27918" fmla="*/ 418359 h 4687251"/>
              <a:gd name="connsiteX27919" fmla="*/ 4130685 w 8079933"/>
              <a:gd name="connsiteY27919" fmla="*/ 410780 h 4687251"/>
              <a:gd name="connsiteX27920" fmla="*/ 4135460 w 8079933"/>
              <a:gd name="connsiteY27920" fmla="*/ 409697 h 4687251"/>
              <a:gd name="connsiteX27921" fmla="*/ 4138173 w 8079933"/>
              <a:gd name="connsiteY27921" fmla="*/ 411971 h 4687251"/>
              <a:gd name="connsiteX27922" fmla="*/ 4140994 w 8079933"/>
              <a:gd name="connsiteY27922" fmla="*/ 417276 h 4687251"/>
              <a:gd name="connsiteX27923" fmla="*/ 4140126 w 8079933"/>
              <a:gd name="connsiteY27923" fmla="*/ 420740 h 4687251"/>
              <a:gd name="connsiteX27924" fmla="*/ 4137522 w 8079933"/>
              <a:gd name="connsiteY27924" fmla="*/ 423556 h 4687251"/>
              <a:gd name="connsiteX27925" fmla="*/ 4134592 w 8079933"/>
              <a:gd name="connsiteY27925" fmla="*/ 423339 h 4687251"/>
              <a:gd name="connsiteX27926" fmla="*/ 4133290 w 8079933"/>
              <a:gd name="connsiteY27926" fmla="*/ 422148 h 4687251"/>
              <a:gd name="connsiteX27927" fmla="*/ 4131010 w 8079933"/>
              <a:gd name="connsiteY27927" fmla="*/ 422473 h 4687251"/>
              <a:gd name="connsiteX27928" fmla="*/ 4126019 w 8079933"/>
              <a:gd name="connsiteY27928" fmla="*/ 426478 h 4687251"/>
              <a:gd name="connsiteX27929" fmla="*/ 4125259 w 8079933"/>
              <a:gd name="connsiteY27929" fmla="*/ 428644 h 4687251"/>
              <a:gd name="connsiteX27930" fmla="*/ 4123306 w 8079933"/>
              <a:gd name="connsiteY27930" fmla="*/ 429078 h 4687251"/>
              <a:gd name="connsiteX27931" fmla="*/ 4122329 w 8079933"/>
              <a:gd name="connsiteY27931" fmla="*/ 432000 h 4687251"/>
              <a:gd name="connsiteX27932" fmla="*/ 4124825 w 8079933"/>
              <a:gd name="connsiteY27932" fmla="*/ 433842 h 4687251"/>
              <a:gd name="connsiteX27933" fmla="*/ 4128623 w 8079933"/>
              <a:gd name="connsiteY27933" fmla="*/ 431459 h 4687251"/>
              <a:gd name="connsiteX27934" fmla="*/ 4134157 w 8079933"/>
              <a:gd name="connsiteY27934" fmla="*/ 429078 h 4687251"/>
              <a:gd name="connsiteX27935" fmla="*/ 4136436 w 8079933"/>
              <a:gd name="connsiteY27935" fmla="*/ 430269 h 4687251"/>
              <a:gd name="connsiteX27936" fmla="*/ 4136328 w 8079933"/>
              <a:gd name="connsiteY27936" fmla="*/ 432000 h 4687251"/>
              <a:gd name="connsiteX27937" fmla="*/ 4131987 w 8079933"/>
              <a:gd name="connsiteY27937" fmla="*/ 435357 h 4687251"/>
              <a:gd name="connsiteX27938" fmla="*/ 4131554 w 8079933"/>
              <a:gd name="connsiteY27938" fmla="*/ 437631 h 4687251"/>
              <a:gd name="connsiteX27939" fmla="*/ 4133941 w 8079933"/>
              <a:gd name="connsiteY27939" fmla="*/ 438713 h 4687251"/>
              <a:gd name="connsiteX27940" fmla="*/ 4135351 w 8079933"/>
              <a:gd name="connsiteY27940" fmla="*/ 436981 h 4687251"/>
              <a:gd name="connsiteX27941" fmla="*/ 4137088 w 8079933"/>
              <a:gd name="connsiteY27941" fmla="*/ 437198 h 4687251"/>
              <a:gd name="connsiteX27942" fmla="*/ 4138932 w 8079933"/>
              <a:gd name="connsiteY27942" fmla="*/ 440337 h 4687251"/>
              <a:gd name="connsiteX27943" fmla="*/ 4140886 w 8079933"/>
              <a:gd name="connsiteY27943" fmla="*/ 441853 h 4687251"/>
              <a:gd name="connsiteX27944" fmla="*/ 4140560 w 8079933"/>
              <a:gd name="connsiteY27944" fmla="*/ 444777 h 4687251"/>
              <a:gd name="connsiteX27945" fmla="*/ 4141536 w 8079933"/>
              <a:gd name="connsiteY27945" fmla="*/ 450081 h 4687251"/>
              <a:gd name="connsiteX27946" fmla="*/ 4143924 w 8079933"/>
              <a:gd name="connsiteY27946" fmla="*/ 453006 h 4687251"/>
              <a:gd name="connsiteX27947" fmla="*/ 4145986 w 8079933"/>
              <a:gd name="connsiteY27947" fmla="*/ 453980 h 4687251"/>
              <a:gd name="connsiteX27948" fmla="*/ 4144901 w 8079933"/>
              <a:gd name="connsiteY27948" fmla="*/ 447267 h 4687251"/>
              <a:gd name="connsiteX27949" fmla="*/ 4142188 w 8079933"/>
              <a:gd name="connsiteY27949" fmla="*/ 441853 h 4687251"/>
              <a:gd name="connsiteX27950" fmla="*/ 4141428 w 8079933"/>
              <a:gd name="connsiteY27950" fmla="*/ 436439 h 4687251"/>
              <a:gd name="connsiteX27951" fmla="*/ 4142622 w 8079933"/>
              <a:gd name="connsiteY27951" fmla="*/ 431025 h 4687251"/>
              <a:gd name="connsiteX27952" fmla="*/ 4147397 w 8079933"/>
              <a:gd name="connsiteY27952" fmla="*/ 423556 h 4687251"/>
              <a:gd name="connsiteX27953" fmla="*/ 4148265 w 8079933"/>
              <a:gd name="connsiteY27953" fmla="*/ 418899 h 4687251"/>
              <a:gd name="connsiteX27954" fmla="*/ 4150435 w 8079933"/>
              <a:gd name="connsiteY27954" fmla="*/ 416951 h 4687251"/>
              <a:gd name="connsiteX27955" fmla="*/ 4152714 w 8079933"/>
              <a:gd name="connsiteY27955" fmla="*/ 417925 h 4687251"/>
              <a:gd name="connsiteX27956" fmla="*/ 4156946 w 8079933"/>
              <a:gd name="connsiteY27956" fmla="*/ 422798 h 4687251"/>
              <a:gd name="connsiteX27957" fmla="*/ 4162046 w 8079933"/>
              <a:gd name="connsiteY27957" fmla="*/ 426370 h 4687251"/>
              <a:gd name="connsiteX27958" fmla="*/ 4162589 w 8079933"/>
              <a:gd name="connsiteY27958" fmla="*/ 429078 h 4687251"/>
              <a:gd name="connsiteX27959" fmla="*/ 4162589 w 8079933"/>
              <a:gd name="connsiteY27959" fmla="*/ 438171 h 4687251"/>
              <a:gd name="connsiteX27960" fmla="*/ 4166496 w 8079933"/>
              <a:gd name="connsiteY27960" fmla="*/ 447917 h 4687251"/>
              <a:gd name="connsiteX27961" fmla="*/ 4166496 w 8079933"/>
              <a:gd name="connsiteY27961" fmla="*/ 451922 h 4687251"/>
              <a:gd name="connsiteX27962" fmla="*/ 4165411 w 8079933"/>
              <a:gd name="connsiteY27962" fmla="*/ 454954 h 4687251"/>
              <a:gd name="connsiteX27963" fmla="*/ 4161938 w 8079933"/>
              <a:gd name="connsiteY27963" fmla="*/ 458203 h 4687251"/>
              <a:gd name="connsiteX27964" fmla="*/ 4162372 w 8079933"/>
              <a:gd name="connsiteY27964" fmla="*/ 460044 h 4687251"/>
              <a:gd name="connsiteX27965" fmla="*/ 4163999 w 8079933"/>
              <a:gd name="connsiteY27965" fmla="*/ 460800 h 4687251"/>
              <a:gd name="connsiteX27966" fmla="*/ 4167364 w 8079933"/>
              <a:gd name="connsiteY27966" fmla="*/ 458744 h 4687251"/>
              <a:gd name="connsiteX27967" fmla="*/ 4169751 w 8079933"/>
              <a:gd name="connsiteY27967" fmla="*/ 459176 h 4687251"/>
              <a:gd name="connsiteX27968" fmla="*/ 4172681 w 8079933"/>
              <a:gd name="connsiteY27968" fmla="*/ 463508 h 4687251"/>
              <a:gd name="connsiteX27969" fmla="*/ 4175828 w 8079933"/>
              <a:gd name="connsiteY27969" fmla="*/ 471086 h 4687251"/>
              <a:gd name="connsiteX27970" fmla="*/ 4177890 w 8079933"/>
              <a:gd name="connsiteY27970" fmla="*/ 473143 h 4687251"/>
              <a:gd name="connsiteX27971" fmla="*/ 4181145 w 8079933"/>
              <a:gd name="connsiteY27971" fmla="*/ 473035 h 4687251"/>
              <a:gd name="connsiteX27972" fmla="*/ 4182013 w 8079933"/>
              <a:gd name="connsiteY27972" fmla="*/ 469246 h 4687251"/>
              <a:gd name="connsiteX27973" fmla="*/ 4177456 w 8079933"/>
              <a:gd name="connsiteY27973" fmla="*/ 463833 h 4687251"/>
              <a:gd name="connsiteX27974" fmla="*/ 4176697 w 8079933"/>
              <a:gd name="connsiteY27974" fmla="*/ 459068 h 4687251"/>
              <a:gd name="connsiteX27975" fmla="*/ 4172681 w 8079933"/>
              <a:gd name="connsiteY27975" fmla="*/ 452572 h 4687251"/>
              <a:gd name="connsiteX27976" fmla="*/ 4170945 w 8079933"/>
              <a:gd name="connsiteY27976" fmla="*/ 447267 h 4687251"/>
              <a:gd name="connsiteX27977" fmla="*/ 4170836 w 8079933"/>
              <a:gd name="connsiteY27977" fmla="*/ 440554 h 4687251"/>
              <a:gd name="connsiteX27978" fmla="*/ 4171053 w 8079933"/>
              <a:gd name="connsiteY27978" fmla="*/ 426370 h 4687251"/>
              <a:gd name="connsiteX27979" fmla="*/ 4169642 w 8079933"/>
              <a:gd name="connsiteY27979" fmla="*/ 423556 h 4687251"/>
              <a:gd name="connsiteX27980" fmla="*/ 4167580 w 8079933"/>
              <a:gd name="connsiteY27980" fmla="*/ 422256 h 4687251"/>
              <a:gd name="connsiteX27981" fmla="*/ 4168666 w 8079933"/>
              <a:gd name="connsiteY27981" fmla="*/ 417276 h 4687251"/>
              <a:gd name="connsiteX27982" fmla="*/ 4168340 w 8079933"/>
              <a:gd name="connsiteY27982" fmla="*/ 412838 h 4687251"/>
              <a:gd name="connsiteX27983" fmla="*/ 4170402 w 8079933"/>
              <a:gd name="connsiteY27983" fmla="*/ 408723 h 4687251"/>
              <a:gd name="connsiteX27984" fmla="*/ 4169859 w 8079933"/>
              <a:gd name="connsiteY27984" fmla="*/ 401685 h 4687251"/>
              <a:gd name="connsiteX27985" fmla="*/ 4172681 w 8079933"/>
              <a:gd name="connsiteY27985" fmla="*/ 396705 h 4687251"/>
              <a:gd name="connsiteX27986" fmla="*/ 5536519 w 8079933"/>
              <a:gd name="connsiteY27986" fmla="*/ 393782 h 4687251"/>
              <a:gd name="connsiteX27987" fmla="*/ 5538364 w 8079933"/>
              <a:gd name="connsiteY27987" fmla="*/ 393891 h 4687251"/>
              <a:gd name="connsiteX27988" fmla="*/ 5540426 w 8079933"/>
              <a:gd name="connsiteY27988" fmla="*/ 397463 h 4687251"/>
              <a:gd name="connsiteX27989" fmla="*/ 5544441 w 8079933"/>
              <a:gd name="connsiteY27989" fmla="*/ 398872 h 4687251"/>
              <a:gd name="connsiteX27990" fmla="*/ 5543464 w 8079933"/>
              <a:gd name="connsiteY27990" fmla="*/ 401578 h 4687251"/>
              <a:gd name="connsiteX27991" fmla="*/ 5541511 w 8079933"/>
              <a:gd name="connsiteY27991" fmla="*/ 402660 h 4687251"/>
              <a:gd name="connsiteX27992" fmla="*/ 5539449 w 8079933"/>
              <a:gd name="connsiteY27992" fmla="*/ 402770 h 4687251"/>
              <a:gd name="connsiteX27993" fmla="*/ 5538581 w 8079933"/>
              <a:gd name="connsiteY27993" fmla="*/ 398546 h 4687251"/>
              <a:gd name="connsiteX27994" fmla="*/ 5536085 w 8079933"/>
              <a:gd name="connsiteY27994" fmla="*/ 395839 h 4687251"/>
              <a:gd name="connsiteX27995" fmla="*/ 2328875 w 8079933"/>
              <a:gd name="connsiteY27995" fmla="*/ 393130 h 4687251"/>
              <a:gd name="connsiteX27996" fmla="*/ 2329201 w 8079933"/>
              <a:gd name="connsiteY27996" fmla="*/ 396920 h 4687251"/>
              <a:gd name="connsiteX27997" fmla="*/ 2326705 w 8079933"/>
              <a:gd name="connsiteY27997" fmla="*/ 399301 h 4687251"/>
              <a:gd name="connsiteX27998" fmla="*/ 2324535 w 8079933"/>
              <a:gd name="connsiteY27998" fmla="*/ 399735 h 4687251"/>
              <a:gd name="connsiteX27999" fmla="*/ 2327465 w 8079933"/>
              <a:gd name="connsiteY27999" fmla="*/ 396379 h 4687251"/>
              <a:gd name="connsiteX28000" fmla="*/ 7107190 w 8079933"/>
              <a:gd name="connsiteY28000" fmla="*/ 388152 h 4687251"/>
              <a:gd name="connsiteX28001" fmla="*/ 7106430 w 8079933"/>
              <a:gd name="connsiteY28001" fmla="*/ 391617 h 4687251"/>
              <a:gd name="connsiteX28002" fmla="*/ 7103392 w 8079933"/>
              <a:gd name="connsiteY28002" fmla="*/ 394429 h 4687251"/>
              <a:gd name="connsiteX28003" fmla="*/ 7101438 w 8079933"/>
              <a:gd name="connsiteY28003" fmla="*/ 391617 h 4687251"/>
              <a:gd name="connsiteX28004" fmla="*/ 7102957 w 8079933"/>
              <a:gd name="connsiteY28004" fmla="*/ 389342 h 4687251"/>
              <a:gd name="connsiteX28005" fmla="*/ 2556976 w 8079933"/>
              <a:gd name="connsiteY28005" fmla="*/ 387934 h 4687251"/>
              <a:gd name="connsiteX28006" fmla="*/ 2559146 w 8079933"/>
              <a:gd name="connsiteY28006" fmla="*/ 390640 h 4687251"/>
              <a:gd name="connsiteX28007" fmla="*/ 2559146 w 8079933"/>
              <a:gd name="connsiteY28007" fmla="*/ 394863 h 4687251"/>
              <a:gd name="connsiteX28008" fmla="*/ 2557627 w 8079933"/>
              <a:gd name="connsiteY28008" fmla="*/ 396595 h 4687251"/>
              <a:gd name="connsiteX28009" fmla="*/ 2556217 w 8079933"/>
              <a:gd name="connsiteY28009" fmla="*/ 396703 h 4687251"/>
              <a:gd name="connsiteX28010" fmla="*/ 2554047 w 8079933"/>
              <a:gd name="connsiteY28010" fmla="*/ 390965 h 4687251"/>
              <a:gd name="connsiteX28011" fmla="*/ 2554264 w 8079933"/>
              <a:gd name="connsiteY28011" fmla="*/ 388150 h 4687251"/>
              <a:gd name="connsiteX28012" fmla="*/ 2444989 w 8079933"/>
              <a:gd name="connsiteY28012" fmla="*/ 387176 h 4687251"/>
              <a:gd name="connsiteX28013" fmla="*/ 2445639 w 8079933"/>
              <a:gd name="connsiteY28013" fmla="*/ 390425 h 4687251"/>
              <a:gd name="connsiteX28014" fmla="*/ 2447592 w 8079933"/>
              <a:gd name="connsiteY28014" fmla="*/ 391724 h 4687251"/>
              <a:gd name="connsiteX28015" fmla="*/ 2448026 w 8079933"/>
              <a:gd name="connsiteY28015" fmla="*/ 394430 h 4687251"/>
              <a:gd name="connsiteX28016" fmla="*/ 2446616 w 8079933"/>
              <a:gd name="connsiteY28016" fmla="*/ 396162 h 4687251"/>
              <a:gd name="connsiteX28017" fmla="*/ 2443904 w 8079933"/>
              <a:gd name="connsiteY28017" fmla="*/ 394539 h 4687251"/>
              <a:gd name="connsiteX28018" fmla="*/ 2442927 w 8079933"/>
              <a:gd name="connsiteY28018" fmla="*/ 390425 h 4687251"/>
              <a:gd name="connsiteX28019" fmla="*/ 2443686 w 8079933"/>
              <a:gd name="connsiteY28019" fmla="*/ 387718 h 4687251"/>
              <a:gd name="connsiteX28020" fmla="*/ 5536085 w 8079933"/>
              <a:gd name="connsiteY28020" fmla="*/ 386852 h 4687251"/>
              <a:gd name="connsiteX28021" fmla="*/ 5539558 w 8079933"/>
              <a:gd name="connsiteY28021" fmla="*/ 387718 h 4687251"/>
              <a:gd name="connsiteX28022" fmla="*/ 5537170 w 8079933"/>
              <a:gd name="connsiteY28022" fmla="*/ 391183 h 4687251"/>
              <a:gd name="connsiteX28023" fmla="*/ 5531962 w 8079933"/>
              <a:gd name="connsiteY28023" fmla="*/ 392160 h 4687251"/>
              <a:gd name="connsiteX28024" fmla="*/ 5530985 w 8079933"/>
              <a:gd name="connsiteY28024" fmla="*/ 390860 h 4687251"/>
              <a:gd name="connsiteX28025" fmla="*/ 5532287 w 8079933"/>
              <a:gd name="connsiteY28025" fmla="*/ 388477 h 4687251"/>
              <a:gd name="connsiteX28026" fmla="*/ 5381233 w 8079933"/>
              <a:gd name="connsiteY28026" fmla="*/ 385877 h 4687251"/>
              <a:gd name="connsiteX28027" fmla="*/ 5384271 w 8079933"/>
              <a:gd name="connsiteY28027" fmla="*/ 386095 h 4687251"/>
              <a:gd name="connsiteX28028" fmla="*/ 5387635 w 8079933"/>
              <a:gd name="connsiteY28028" fmla="*/ 389126 h 4687251"/>
              <a:gd name="connsiteX28029" fmla="*/ 5388070 w 8079933"/>
              <a:gd name="connsiteY28029" fmla="*/ 395405 h 4687251"/>
              <a:gd name="connsiteX28030" fmla="*/ 5386550 w 8079933"/>
              <a:gd name="connsiteY28030" fmla="*/ 398437 h 4687251"/>
              <a:gd name="connsiteX28031" fmla="*/ 5382317 w 8079933"/>
              <a:gd name="connsiteY28031" fmla="*/ 400386 h 4687251"/>
              <a:gd name="connsiteX28032" fmla="*/ 5379930 w 8079933"/>
              <a:gd name="connsiteY28032" fmla="*/ 400062 h 4687251"/>
              <a:gd name="connsiteX28033" fmla="*/ 5379062 w 8079933"/>
              <a:gd name="connsiteY28033" fmla="*/ 397138 h 4687251"/>
              <a:gd name="connsiteX28034" fmla="*/ 5379388 w 8079933"/>
              <a:gd name="connsiteY28034" fmla="*/ 392481 h 4687251"/>
              <a:gd name="connsiteX28035" fmla="*/ 5378845 w 8079933"/>
              <a:gd name="connsiteY28035" fmla="*/ 388368 h 4687251"/>
              <a:gd name="connsiteX28036" fmla="*/ 2194314 w 8079933"/>
              <a:gd name="connsiteY28036" fmla="*/ 384685 h 4687251"/>
              <a:gd name="connsiteX28037" fmla="*/ 2197895 w 8079933"/>
              <a:gd name="connsiteY28037" fmla="*/ 385010 h 4687251"/>
              <a:gd name="connsiteX28038" fmla="*/ 2202127 w 8079933"/>
              <a:gd name="connsiteY28038" fmla="*/ 386093 h 4687251"/>
              <a:gd name="connsiteX28039" fmla="*/ 2208095 w 8079933"/>
              <a:gd name="connsiteY28039" fmla="*/ 385660 h 4687251"/>
              <a:gd name="connsiteX28040" fmla="*/ 2213956 w 8079933"/>
              <a:gd name="connsiteY28040" fmla="*/ 388150 h 4687251"/>
              <a:gd name="connsiteX28041" fmla="*/ 2218079 w 8079933"/>
              <a:gd name="connsiteY28041" fmla="*/ 387608 h 4687251"/>
              <a:gd name="connsiteX28042" fmla="*/ 2221335 w 8079933"/>
              <a:gd name="connsiteY28042" fmla="*/ 391831 h 4687251"/>
              <a:gd name="connsiteX28043" fmla="*/ 2217971 w 8079933"/>
              <a:gd name="connsiteY28043" fmla="*/ 398544 h 4687251"/>
              <a:gd name="connsiteX28044" fmla="*/ 2214607 w 8079933"/>
              <a:gd name="connsiteY28044" fmla="*/ 401466 h 4687251"/>
              <a:gd name="connsiteX28045" fmla="*/ 2205166 w 8079933"/>
              <a:gd name="connsiteY28045" fmla="*/ 400601 h 4687251"/>
              <a:gd name="connsiteX28046" fmla="*/ 2199740 w 8079933"/>
              <a:gd name="connsiteY28046" fmla="*/ 399952 h 4687251"/>
              <a:gd name="connsiteX28047" fmla="*/ 2196050 w 8079933"/>
              <a:gd name="connsiteY28047" fmla="*/ 397677 h 4687251"/>
              <a:gd name="connsiteX28048" fmla="*/ 2192252 w 8079933"/>
              <a:gd name="connsiteY28048" fmla="*/ 396920 h 4687251"/>
              <a:gd name="connsiteX28049" fmla="*/ 2190841 w 8079933"/>
              <a:gd name="connsiteY28049" fmla="*/ 394213 h 4687251"/>
              <a:gd name="connsiteX28050" fmla="*/ 2188997 w 8079933"/>
              <a:gd name="connsiteY28050" fmla="*/ 393780 h 4687251"/>
              <a:gd name="connsiteX28051" fmla="*/ 2188237 w 8079933"/>
              <a:gd name="connsiteY28051" fmla="*/ 391831 h 4687251"/>
              <a:gd name="connsiteX28052" fmla="*/ 2188888 w 8079933"/>
              <a:gd name="connsiteY28052" fmla="*/ 388367 h 4687251"/>
              <a:gd name="connsiteX28053" fmla="*/ 2191818 w 8079933"/>
              <a:gd name="connsiteY28053" fmla="*/ 386851 h 4687251"/>
              <a:gd name="connsiteX28054" fmla="*/ 7063023 w 8079933"/>
              <a:gd name="connsiteY28054" fmla="*/ 382196 h 4687251"/>
              <a:gd name="connsiteX28055" fmla="*/ 7067906 w 8079933"/>
              <a:gd name="connsiteY28055" fmla="*/ 382412 h 4687251"/>
              <a:gd name="connsiteX28056" fmla="*/ 7072138 w 8079933"/>
              <a:gd name="connsiteY28056" fmla="*/ 384579 h 4687251"/>
              <a:gd name="connsiteX28057" fmla="*/ 7076153 w 8079933"/>
              <a:gd name="connsiteY28057" fmla="*/ 385012 h 4687251"/>
              <a:gd name="connsiteX28058" fmla="*/ 7077238 w 8079933"/>
              <a:gd name="connsiteY28058" fmla="*/ 382955 h 4687251"/>
              <a:gd name="connsiteX28059" fmla="*/ 7082230 w 8079933"/>
              <a:gd name="connsiteY28059" fmla="*/ 386311 h 4687251"/>
              <a:gd name="connsiteX28060" fmla="*/ 7084074 w 8079933"/>
              <a:gd name="connsiteY28060" fmla="*/ 390859 h 4687251"/>
              <a:gd name="connsiteX28061" fmla="*/ 7082556 w 8079933"/>
              <a:gd name="connsiteY28061" fmla="*/ 392373 h 4687251"/>
              <a:gd name="connsiteX28062" fmla="*/ 7086354 w 8079933"/>
              <a:gd name="connsiteY28062" fmla="*/ 396813 h 4687251"/>
              <a:gd name="connsiteX28063" fmla="*/ 7087222 w 8079933"/>
              <a:gd name="connsiteY28063" fmla="*/ 402009 h 4687251"/>
              <a:gd name="connsiteX28064" fmla="*/ 7084401 w 8079933"/>
              <a:gd name="connsiteY28064" fmla="*/ 406664 h 4687251"/>
              <a:gd name="connsiteX28065" fmla="*/ 7078975 w 8079933"/>
              <a:gd name="connsiteY28065" fmla="*/ 407965 h 4687251"/>
              <a:gd name="connsiteX28066" fmla="*/ 7073874 w 8079933"/>
              <a:gd name="connsiteY28066" fmla="*/ 405473 h 4687251"/>
              <a:gd name="connsiteX28067" fmla="*/ 7067906 w 8079933"/>
              <a:gd name="connsiteY28067" fmla="*/ 400926 h 4687251"/>
              <a:gd name="connsiteX28068" fmla="*/ 7062046 w 8079933"/>
              <a:gd name="connsiteY28068" fmla="*/ 399736 h 4687251"/>
              <a:gd name="connsiteX28069" fmla="*/ 7057596 w 8079933"/>
              <a:gd name="connsiteY28069" fmla="*/ 400494 h 4687251"/>
              <a:gd name="connsiteX28070" fmla="*/ 7055317 w 8079933"/>
              <a:gd name="connsiteY28070" fmla="*/ 399086 h 4687251"/>
              <a:gd name="connsiteX28071" fmla="*/ 7054992 w 8079933"/>
              <a:gd name="connsiteY28071" fmla="*/ 390965 h 4687251"/>
              <a:gd name="connsiteX28072" fmla="*/ 7056512 w 8079933"/>
              <a:gd name="connsiteY28072" fmla="*/ 386852 h 4687251"/>
              <a:gd name="connsiteX28073" fmla="*/ 7060092 w 8079933"/>
              <a:gd name="connsiteY28073" fmla="*/ 386527 h 4687251"/>
              <a:gd name="connsiteX28074" fmla="*/ 7059441 w 8079933"/>
              <a:gd name="connsiteY28074" fmla="*/ 384795 h 4687251"/>
              <a:gd name="connsiteX28075" fmla="*/ 7062371 w 8079933"/>
              <a:gd name="connsiteY28075" fmla="*/ 384253 h 4687251"/>
              <a:gd name="connsiteX28076" fmla="*/ 1076051 w 8079933"/>
              <a:gd name="connsiteY28076" fmla="*/ 381873 h 4687251"/>
              <a:gd name="connsiteX28077" fmla="*/ 1078329 w 8079933"/>
              <a:gd name="connsiteY28077" fmla="*/ 382307 h 4687251"/>
              <a:gd name="connsiteX28078" fmla="*/ 1077461 w 8079933"/>
              <a:gd name="connsiteY28078" fmla="*/ 384146 h 4687251"/>
              <a:gd name="connsiteX28079" fmla="*/ 1074966 w 8079933"/>
              <a:gd name="connsiteY28079" fmla="*/ 385012 h 4687251"/>
              <a:gd name="connsiteX28080" fmla="*/ 1074098 w 8079933"/>
              <a:gd name="connsiteY28080" fmla="*/ 386420 h 4687251"/>
              <a:gd name="connsiteX28081" fmla="*/ 1075725 w 8079933"/>
              <a:gd name="connsiteY28081" fmla="*/ 387722 h 4687251"/>
              <a:gd name="connsiteX28082" fmla="*/ 1077461 w 8079933"/>
              <a:gd name="connsiteY28082" fmla="*/ 389562 h 4687251"/>
              <a:gd name="connsiteX28083" fmla="*/ 1077787 w 8079933"/>
              <a:gd name="connsiteY28083" fmla="*/ 393458 h 4687251"/>
              <a:gd name="connsiteX28084" fmla="*/ 1079632 w 8079933"/>
              <a:gd name="connsiteY28084" fmla="*/ 393351 h 4687251"/>
              <a:gd name="connsiteX28085" fmla="*/ 1085275 w 8079933"/>
              <a:gd name="connsiteY28085" fmla="*/ 395731 h 4687251"/>
              <a:gd name="connsiteX28086" fmla="*/ 1086360 w 8079933"/>
              <a:gd name="connsiteY28086" fmla="*/ 397787 h 4687251"/>
              <a:gd name="connsiteX28087" fmla="*/ 1085057 w 8079933"/>
              <a:gd name="connsiteY28087" fmla="*/ 400063 h 4687251"/>
              <a:gd name="connsiteX28088" fmla="*/ 1084515 w 8079933"/>
              <a:gd name="connsiteY28088" fmla="*/ 402230 h 4687251"/>
              <a:gd name="connsiteX28089" fmla="*/ 1079740 w 8079933"/>
              <a:gd name="connsiteY28089" fmla="*/ 406991 h 4687251"/>
              <a:gd name="connsiteX28090" fmla="*/ 1075399 w 8079933"/>
              <a:gd name="connsiteY28090" fmla="*/ 408182 h 4687251"/>
              <a:gd name="connsiteX28091" fmla="*/ 1068888 w 8079933"/>
              <a:gd name="connsiteY28091" fmla="*/ 410890 h 4687251"/>
              <a:gd name="connsiteX28092" fmla="*/ 1063680 w 8079933"/>
              <a:gd name="connsiteY28092" fmla="*/ 406883 h 4687251"/>
              <a:gd name="connsiteX28093" fmla="*/ 1058905 w 8079933"/>
              <a:gd name="connsiteY28093" fmla="*/ 408074 h 4687251"/>
              <a:gd name="connsiteX28094" fmla="*/ 1053479 w 8079933"/>
              <a:gd name="connsiteY28094" fmla="*/ 412297 h 4687251"/>
              <a:gd name="connsiteX28095" fmla="*/ 1052611 w 8079933"/>
              <a:gd name="connsiteY28095" fmla="*/ 415436 h 4687251"/>
              <a:gd name="connsiteX28096" fmla="*/ 1056952 w 8079933"/>
              <a:gd name="connsiteY28096" fmla="*/ 414896 h 4687251"/>
              <a:gd name="connsiteX28097" fmla="*/ 1059664 w 8079933"/>
              <a:gd name="connsiteY28097" fmla="*/ 419442 h 4687251"/>
              <a:gd name="connsiteX28098" fmla="*/ 1056952 w 8079933"/>
              <a:gd name="connsiteY28098" fmla="*/ 426481 h 4687251"/>
              <a:gd name="connsiteX28099" fmla="*/ 1060532 w 8079933"/>
              <a:gd name="connsiteY28099" fmla="*/ 425506 h 4687251"/>
              <a:gd name="connsiteX28100" fmla="*/ 1061835 w 8079933"/>
              <a:gd name="connsiteY28100" fmla="*/ 422368 h 4687251"/>
              <a:gd name="connsiteX28101" fmla="*/ 1064982 w 8079933"/>
              <a:gd name="connsiteY28101" fmla="*/ 419116 h 4687251"/>
              <a:gd name="connsiteX28102" fmla="*/ 1067043 w 8079933"/>
              <a:gd name="connsiteY28102" fmla="*/ 419766 h 4687251"/>
              <a:gd name="connsiteX28103" fmla="*/ 1064765 w 8079933"/>
              <a:gd name="connsiteY28103" fmla="*/ 423884 h 4687251"/>
              <a:gd name="connsiteX28104" fmla="*/ 1064873 w 8079933"/>
              <a:gd name="connsiteY28104" fmla="*/ 428753 h 4687251"/>
              <a:gd name="connsiteX28105" fmla="*/ 1066610 w 8079933"/>
              <a:gd name="connsiteY28105" fmla="*/ 433627 h 4687251"/>
              <a:gd name="connsiteX28106" fmla="*/ 1066827 w 8079933"/>
              <a:gd name="connsiteY28106" fmla="*/ 428863 h 4687251"/>
              <a:gd name="connsiteX28107" fmla="*/ 1069431 w 8079933"/>
              <a:gd name="connsiteY28107" fmla="*/ 422910 h 4687251"/>
              <a:gd name="connsiteX28108" fmla="*/ 1070733 w 8079933"/>
              <a:gd name="connsiteY28108" fmla="*/ 424750 h 4687251"/>
              <a:gd name="connsiteX28109" fmla="*/ 1072904 w 8079933"/>
              <a:gd name="connsiteY28109" fmla="*/ 424423 h 4687251"/>
              <a:gd name="connsiteX28110" fmla="*/ 1076051 w 8079933"/>
              <a:gd name="connsiteY28110" fmla="*/ 421067 h 4687251"/>
              <a:gd name="connsiteX28111" fmla="*/ 1075074 w 8079933"/>
              <a:gd name="connsiteY28111" fmla="*/ 416302 h 4687251"/>
              <a:gd name="connsiteX28112" fmla="*/ 1076051 w 8079933"/>
              <a:gd name="connsiteY28112" fmla="*/ 413923 h 4687251"/>
              <a:gd name="connsiteX28113" fmla="*/ 1080825 w 8079933"/>
              <a:gd name="connsiteY28113" fmla="*/ 412081 h 4687251"/>
              <a:gd name="connsiteX28114" fmla="*/ 1084081 w 8079933"/>
              <a:gd name="connsiteY28114" fmla="*/ 414464 h 4687251"/>
              <a:gd name="connsiteX28115" fmla="*/ 1085275 w 8079933"/>
              <a:gd name="connsiteY28115" fmla="*/ 414356 h 4687251"/>
              <a:gd name="connsiteX28116" fmla="*/ 1086468 w 8079933"/>
              <a:gd name="connsiteY28116" fmla="*/ 410242 h 4687251"/>
              <a:gd name="connsiteX28117" fmla="*/ 1092111 w 8079933"/>
              <a:gd name="connsiteY28117" fmla="*/ 404827 h 4687251"/>
              <a:gd name="connsiteX28118" fmla="*/ 1093631 w 8079933"/>
              <a:gd name="connsiteY28118" fmla="*/ 405042 h 4687251"/>
              <a:gd name="connsiteX28119" fmla="*/ 1095041 w 8079933"/>
              <a:gd name="connsiteY28119" fmla="*/ 407749 h 4687251"/>
              <a:gd name="connsiteX28120" fmla="*/ 1093631 w 8079933"/>
              <a:gd name="connsiteY28120" fmla="*/ 411865 h 4687251"/>
              <a:gd name="connsiteX28121" fmla="*/ 1093196 w 8079933"/>
              <a:gd name="connsiteY28121" fmla="*/ 416302 h 4687251"/>
              <a:gd name="connsiteX28122" fmla="*/ 1090809 w 8079933"/>
              <a:gd name="connsiteY28122" fmla="*/ 417710 h 4687251"/>
              <a:gd name="connsiteX28123" fmla="*/ 1089181 w 8079933"/>
              <a:gd name="connsiteY28123" fmla="*/ 420960 h 4687251"/>
              <a:gd name="connsiteX28124" fmla="*/ 1089506 w 8079933"/>
              <a:gd name="connsiteY28124" fmla="*/ 424965 h 4687251"/>
              <a:gd name="connsiteX28125" fmla="*/ 1087445 w 8079933"/>
              <a:gd name="connsiteY28125" fmla="*/ 426264 h 4687251"/>
              <a:gd name="connsiteX28126" fmla="*/ 1085708 w 8079933"/>
              <a:gd name="connsiteY28126" fmla="*/ 430160 h 4687251"/>
              <a:gd name="connsiteX28127" fmla="*/ 1088530 w 8079933"/>
              <a:gd name="connsiteY28127" fmla="*/ 434060 h 4687251"/>
              <a:gd name="connsiteX28128" fmla="*/ 1088530 w 8079933"/>
              <a:gd name="connsiteY28128" fmla="*/ 432005 h 4687251"/>
              <a:gd name="connsiteX28129" fmla="*/ 1091026 w 8079933"/>
              <a:gd name="connsiteY28129" fmla="*/ 428104 h 4687251"/>
              <a:gd name="connsiteX28130" fmla="*/ 1096452 w 8079933"/>
              <a:gd name="connsiteY28130" fmla="*/ 427996 h 4687251"/>
              <a:gd name="connsiteX28131" fmla="*/ 1099924 w 8079933"/>
              <a:gd name="connsiteY28131" fmla="*/ 426805 h 4687251"/>
              <a:gd name="connsiteX28132" fmla="*/ 1102637 w 8079933"/>
              <a:gd name="connsiteY28132" fmla="*/ 427672 h 4687251"/>
              <a:gd name="connsiteX28133" fmla="*/ 1108063 w 8079933"/>
              <a:gd name="connsiteY28133" fmla="*/ 430052 h 4687251"/>
              <a:gd name="connsiteX28134" fmla="*/ 1112621 w 8079933"/>
              <a:gd name="connsiteY28134" fmla="*/ 429510 h 4687251"/>
              <a:gd name="connsiteX28135" fmla="*/ 1116311 w 8079933"/>
              <a:gd name="connsiteY28135" fmla="*/ 431353 h 4687251"/>
              <a:gd name="connsiteX28136" fmla="*/ 1118047 w 8079933"/>
              <a:gd name="connsiteY28136" fmla="*/ 434494 h 4687251"/>
              <a:gd name="connsiteX28137" fmla="*/ 1120542 w 8079933"/>
              <a:gd name="connsiteY28137" fmla="*/ 433301 h 4687251"/>
              <a:gd name="connsiteX28138" fmla="*/ 1122713 w 8079933"/>
              <a:gd name="connsiteY28138" fmla="*/ 433518 h 4687251"/>
              <a:gd name="connsiteX28139" fmla="*/ 1125317 w 8079933"/>
              <a:gd name="connsiteY28139" fmla="*/ 438607 h 4687251"/>
              <a:gd name="connsiteX28140" fmla="*/ 1127705 w 8079933"/>
              <a:gd name="connsiteY28140" fmla="*/ 441311 h 4687251"/>
              <a:gd name="connsiteX28141" fmla="*/ 1124449 w 8079933"/>
              <a:gd name="connsiteY28141" fmla="*/ 444997 h 4687251"/>
              <a:gd name="connsiteX28142" fmla="*/ 1118047 w 8079933"/>
              <a:gd name="connsiteY28142" fmla="*/ 448028 h 4687251"/>
              <a:gd name="connsiteX28143" fmla="*/ 1115551 w 8079933"/>
              <a:gd name="connsiteY28143" fmla="*/ 451814 h 4687251"/>
              <a:gd name="connsiteX28144" fmla="*/ 1116744 w 8079933"/>
              <a:gd name="connsiteY28144" fmla="*/ 454740 h 4687251"/>
              <a:gd name="connsiteX28145" fmla="*/ 1128356 w 8079933"/>
              <a:gd name="connsiteY28145" fmla="*/ 461235 h 4687251"/>
              <a:gd name="connsiteX28146" fmla="*/ 1128681 w 8079933"/>
              <a:gd name="connsiteY28146" fmla="*/ 463075 h 4687251"/>
              <a:gd name="connsiteX28147" fmla="*/ 1124883 w 8079933"/>
              <a:gd name="connsiteY28147" fmla="*/ 463292 h 4687251"/>
              <a:gd name="connsiteX28148" fmla="*/ 1120434 w 8079933"/>
              <a:gd name="connsiteY28148" fmla="*/ 465025 h 4687251"/>
              <a:gd name="connsiteX28149" fmla="*/ 1120434 w 8079933"/>
              <a:gd name="connsiteY28149" fmla="*/ 466974 h 4687251"/>
              <a:gd name="connsiteX28150" fmla="*/ 1128030 w 8079933"/>
              <a:gd name="connsiteY28150" fmla="*/ 471522 h 4687251"/>
              <a:gd name="connsiteX28151" fmla="*/ 1128247 w 8079933"/>
              <a:gd name="connsiteY28151" fmla="*/ 475526 h 4687251"/>
              <a:gd name="connsiteX28152" fmla="*/ 1127270 w 8079933"/>
              <a:gd name="connsiteY28152" fmla="*/ 481051 h 4687251"/>
              <a:gd name="connsiteX28153" fmla="*/ 1128030 w 8079933"/>
              <a:gd name="connsiteY28153" fmla="*/ 487436 h 4687251"/>
              <a:gd name="connsiteX28154" fmla="*/ 1123472 w 8079933"/>
              <a:gd name="connsiteY28154" fmla="*/ 492417 h 4687251"/>
              <a:gd name="connsiteX28155" fmla="*/ 1129006 w 8079933"/>
              <a:gd name="connsiteY28155" fmla="*/ 488195 h 4687251"/>
              <a:gd name="connsiteX28156" fmla="*/ 1135409 w 8079933"/>
              <a:gd name="connsiteY28156" fmla="*/ 481267 h 4687251"/>
              <a:gd name="connsiteX28157" fmla="*/ 1142137 w 8079933"/>
              <a:gd name="connsiteY28157" fmla="*/ 480184 h 4687251"/>
              <a:gd name="connsiteX28158" fmla="*/ 1143982 w 8079933"/>
              <a:gd name="connsiteY28158" fmla="*/ 478776 h 4687251"/>
              <a:gd name="connsiteX28159" fmla="*/ 1147780 w 8079933"/>
              <a:gd name="connsiteY28159" fmla="*/ 478776 h 4687251"/>
              <a:gd name="connsiteX28160" fmla="*/ 1153857 w 8079933"/>
              <a:gd name="connsiteY28160" fmla="*/ 476392 h 4687251"/>
              <a:gd name="connsiteX28161" fmla="*/ 1159717 w 8079933"/>
              <a:gd name="connsiteY28161" fmla="*/ 476392 h 4687251"/>
              <a:gd name="connsiteX28162" fmla="*/ 1166011 w 8079933"/>
              <a:gd name="connsiteY28162" fmla="*/ 480833 h 4687251"/>
              <a:gd name="connsiteX28163" fmla="*/ 1169158 w 8079933"/>
              <a:gd name="connsiteY28163" fmla="*/ 482890 h 4687251"/>
              <a:gd name="connsiteX28164" fmla="*/ 1167964 w 8079933"/>
              <a:gd name="connsiteY28164" fmla="*/ 488737 h 4687251"/>
              <a:gd name="connsiteX28165" fmla="*/ 1162647 w 8079933"/>
              <a:gd name="connsiteY28165" fmla="*/ 494042 h 4687251"/>
              <a:gd name="connsiteX28166" fmla="*/ 1157221 w 8079933"/>
              <a:gd name="connsiteY28166" fmla="*/ 502164 h 4687251"/>
              <a:gd name="connsiteX28167" fmla="*/ 1148431 w 8079933"/>
              <a:gd name="connsiteY28167" fmla="*/ 508223 h 4687251"/>
              <a:gd name="connsiteX28168" fmla="*/ 1158524 w 8079933"/>
              <a:gd name="connsiteY28168" fmla="*/ 503245 h 4687251"/>
              <a:gd name="connsiteX28169" fmla="*/ 1167747 w 8079933"/>
              <a:gd name="connsiteY28169" fmla="*/ 494581 h 4687251"/>
              <a:gd name="connsiteX28170" fmla="*/ 1169918 w 8079933"/>
              <a:gd name="connsiteY28170" fmla="*/ 492852 h 4687251"/>
              <a:gd name="connsiteX28171" fmla="*/ 1172956 w 8079933"/>
              <a:gd name="connsiteY28171" fmla="*/ 493716 h 4687251"/>
              <a:gd name="connsiteX28172" fmla="*/ 1174367 w 8079933"/>
              <a:gd name="connsiteY28172" fmla="*/ 495448 h 4687251"/>
              <a:gd name="connsiteX28173" fmla="*/ 1173607 w 8079933"/>
              <a:gd name="connsiteY28173" fmla="*/ 496855 h 4687251"/>
              <a:gd name="connsiteX28174" fmla="*/ 1176862 w 8079933"/>
              <a:gd name="connsiteY28174" fmla="*/ 500971 h 4687251"/>
              <a:gd name="connsiteX28175" fmla="*/ 1180878 w 8079933"/>
              <a:gd name="connsiteY28175" fmla="*/ 503570 h 4687251"/>
              <a:gd name="connsiteX28176" fmla="*/ 1181203 w 8079933"/>
              <a:gd name="connsiteY28176" fmla="*/ 505301 h 4687251"/>
              <a:gd name="connsiteX28177" fmla="*/ 1180010 w 8079933"/>
              <a:gd name="connsiteY28177" fmla="*/ 507358 h 4687251"/>
              <a:gd name="connsiteX28178" fmla="*/ 1183482 w 8079933"/>
              <a:gd name="connsiteY28178" fmla="*/ 506492 h 4687251"/>
              <a:gd name="connsiteX28179" fmla="*/ 1187280 w 8079933"/>
              <a:gd name="connsiteY28179" fmla="*/ 508007 h 4687251"/>
              <a:gd name="connsiteX28180" fmla="*/ 1188583 w 8079933"/>
              <a:gd name="connsiteY28180" fmla="*/ 510065 h 4687251"/>
              <a:gd name="connsiteX28181" fmla="*/ 1186955 w 8079933"/>
              <a:gd name="connsiteY28181" fmla="*/ 511257 h 4687251"/>
              <a:gd name="connsiteX28182" fmla="*/ 1186738 w 8079933"/>
              <a:gd name="connsiteY28182" fmla="*/ 514180 h 4687251"/>
              <a:gd name="connsiteX28183" fmla="*/ 1189125 w 8079933"/>
              <a:gd name="connsiteY28183" fmla="*/ 515912 h 4687251"/>
              <a:gd name="connsiteX28184" fmla="*/ 1191946 w 8079933"/>
              <a:gd name="connsiteY28184" fmla="*/ 511691 h 4687251"/>
              <a:gd name="connsiteX28185" fmla="*/ 1195311 w 8079933"/>
              <a:gd name="connsiteY28185" fmla="*/ 513531 h 4687251"/>
              <a:gd name="connsiteX28186" fmla="*/ 1196070 w 8079933"/>
              <a:gd name="connsiteY28186" fmla="*/ 515372 h 4687251"/>
              <a:gd name="connsiteX28187" fmla="*/ 1195527 w 8079933"/>
              <a:gd name="connsiteY28187" fmla="*/ 517102 h 4687251"/>
              <a:gd name="connsiteX28188" fmla="*/ 1197807 w 8079933"/>
              <a:gd name="connsiteY28188" fmla="*/ 515048 h 4687251"/>
              <a:gd name="connsiteX28189" fmla="*/ 1199868 w 8079933"/>
              <a:gd name="connsiteY28189" fmla="*/ 515048 h 4687251"/>
              <a:gd name="connsiteX28190" fmla="*/ 1201713 w 8079933"/>
              <a:gd name="connsiteY28190" fmla="*/ 516452 h 4687251"/>
              <a:gd name="connsiteX28191" fmla="*/ 1203232 w 8079933"/>
              <a:gd name="connsiteY28191" fmla="*/ 515912 h 4687251"/>
              <a:gd name="connsiteX28192" fmla="*/ 1210394 w 8079933"/>
              <a:gd name="connsiteY28192" fmla="*/ 521108 h 4687251"/>
              <a:gd name="connsiteX28193" fmla="*/ 1213758 w 8079933"/>
              <a:gd name="connsiteY28193" fmla="*/ 524572 h 4687251"/>
              <a:gd name="connsiteX28194" fmla="*/ 1213433 w 8079933"/>
              <a:gd name="connsiteY28194" fmla="*/ 526956 h 4687251"/>
              <a:gd name="connsiteX28195" fmla="*/ 1217014 w 8079933"/>
              <a:gd name="connsiteY28195" fmla="*/ 527605 h 4687251"/>
              <a:gd name="connsiteX28196" fmla="*/ 1219835 w 8079933"/>
              <a:gd name="connsiteY28196" fmla="*/ 527279 h 4687251"/>
              <a:gd name="connsiteX28197" fmla="*/ 1221572 w 8079933"/>
              <a:gd name="connsiteY28197" fmla="*/ 529119 h 4687251"/>
              <a:gd name="connsiteX28198" fmla="*/ 1219510 w 8079933"/>
              <a:gd name="connsiteY28198" fmla="*/ 530744 h 4687251"/>
              <a:gd name="connsiteX28199" fmla="*/ 1218750 w 8079933"/>
              <a:gd name="connsiteY28199" fmla="*/ 532259 h 4687251"/>
              <a:gd name="connsiteX28200" fmla="*/ 1221897 w 8079933"/>
              <a:gd name="connsiteY28200" fmla="*/ 533455 h 4687251"/>
              <a:gd name="connsiteX28201" fmla="*/ 1224610 w 8079933"/>
              <a:gd name="connsiteY28201" fmla="*/ 531936 h 4687251"/>
              <a:gd name="connsiteX28202" fmla="*/ 1228734 w 8079933"/>
              <a:gd name="connsiteY28202" fmla="*/ 534644 h 4687251"/>
              <a:gd name="connsiteX28203" fmla="*/ 1228408 w 8079933"/>
              <a:gd name="connsiteY28203" fmla="*/ 536916 h 4687251"/>
              <a:gd name="connsiteX28204" fmla="*/ 1226238 w 8079933"/>
              <a:gd name="connsiteY28204" fmla="*/ 537350 h 4687251"/>
              <a:gd name="connsiteX28205" fmla="*/ 1226563 w 8079933"/>
              <a:gd name="connsiteY28205" fmla="*/ 538647 h 4687251"/>
              <a:gd name="connsiteX28206" fmla="*/ 1229276 w 8079933"/>
              <a:gd name="connsiteY28206" fmla="*/ 539190 h 4687251"/>
              <a:gd name="connsiteX28207" fmla="*/ 1230796 w 8079933"/>
              <a:gd name="connsiteY28207" fmla="*/ 537784 h 4687251"/>
              <a:gd name="connsiteX28208" fmla="*/ 1232857 w 8079933"/>
              <a:gd name="connsiteY28208" fmla="*/ 538973 h 4687251"/>
              <a:gd name="connsiteX28209" fmla="*/ 1234811 w 8079933"/>
              <a:gd name="connsiteY28209" fmla="*/ 538324 h 4687251"/>
              <a:gd name="connsiteX28210" fmla="*/ 1237524 w 8079933"/>
              <a:gd name="connsiteY28210" fmla="*/ 540380 h 4687251"/>
              <a:gd name="connsiteX28211" fmla="*/ 1243600 w 8079933"/>
              <a:gd name="connsiteY28211" fmla="*/ 538973 h 4687251"/>
              <a:gd name="connsiteX28212" fmla="*/ 1250437 w 8079933"/>
              <a:gd name="connsiteY28212" fmla="*/ 539842 h 4687251"/>
              <a:gd name="connsiteX28213" fmla="*/ 1251848 w 8079933"/>
              <a:gd name="connsiteY28213" fmla="*/ 538432 h 4687251"/>
              <a:gd name="connsiteX28214" fmla="*/ 1260312 w 8079933"/>
              <a:gd name="connsiteY28214" fmla="*/ 538756 h 4687251"/>
              <a:gd name="connsiteX28215" fmla="*/ 1262373 w 8079933"/>
              <a:gd name="connsiteY28215" fmla="*/ 540814 h 4687251"/>
              <a:gd name="connsiteX28216" fmla="*/ 1265521 w 8079933"/>
              <a:gd name="connsiteY28216" fmla="*/ 546985 h 4687251"/>
              <a:gd name="connsiteX28217" fmla="*/ 1266498 w 8079933"/>
              <a:gd name="connsiteY28217" fmla="*/ 552182 h 4687251"/>
              <a:gd name="connsiteX28218" fmla="*/ 1269644 w 8079933"/>
              <a:gd name="connsiteY28218" fmla="*/ 554022 h 4687251"/>
              <a:gd name="connsiteX28219" fmla="*/ 1272141 w 8079933"/>
              <a:gd name="connsiteY28219" fmla="*/ 559004 h 4687251"/>
              <a:gd name="connsiteX28220" fmla="*/ 1273877 w 8079933"/>
              <a:gd name="connsiteY28220" fmla="*/ 568317 h 4687251"/>
              <a:gd name="connsiteX28221" fmla="*/ 1276481 w 8079933"/>
              <a:gd name="connsiteY28221" fmla="*/ 571239 h 4687251"/>
              <a:gd name="connsiteX28222" fmla="*/ 1280279 w 8079933"/>
              <a:gd name="connsiteY28222" fmla="*/ 570591 h 4687251"/>
              <a:gd name="connsiteX28223" fmla="*/ 1285271 w 8079933"/>
              <a:gd name="connsiteY28223" fmla="*/ 572105 h 4687251"/>
              <a:gd name="connsiteX28224" fmla="*/ 1286030 w 8079933"/>
              <a:gd name="connsiteY28224" fmla="*/ 574160 h 4687251"/>
              <a:gd name="connsiteX28225" fmla="*/ 1286030 w 8079933"/>
              <a:gd name="connsiteY28225" fmla="*/ 574159 h 4687251"/>
              <a:gd name="connsiteX28226" fmla="*/ 1287223 w 8079933"/>
              <a:gd name="connsiteY28226" fmla="*/ 577300 h 4687251"/>
              <a:gd name="connsiteX28227" fmla="*/ 1289936 w 8079933"/>
              <a:gd name="connsiteY28227" fmla="*/ 577300 h 4687251"/>
              <a:gd name="connsiteX28228" fmla="*/ 1303392 w 8079933"/>
              <a:gd name="connsiteY28228" fmla="*/ 587152 h 4687251"/>
              <a:gd name="connsiteX28229" fmla="*/ 1307516 w 8079933"/>
              <a:gd name="connsiteY28229" fmla="*/ 587260 h 4687251"/>
              <a:gd name="connsiteX28230" fmla="*/ 1311856 w 8079933"/>
              <a:gd name="connsiteY28230" fmla="*/ 591050 h 4687251"/>
              <a:gd name="connsiteX28231" fmla="*/ 1313593 w 8079933"/>
              <a:gd name="connsiteY28231" fmla="*/ 594514 h 4687251"/>
              <a:gd name="connsiteX28232" fmla="*/ 1315438 w 8079933"/>
              <a:gd name="connsiteY28232" fmla="*/ 594298 h 4687251"/>
              <a:gd name="connsiteX28233" fmla="*/ 1320104 w 8079933"/>
              <a:gd name="connsiteY28233" fmla="*/ 597979 h 4687251"/>
              <a:gd name="connsiteX28234" fmla="*/ 1320104 w 8079933"/>
              <a:gd name="connsiteY28234" fmla="*/ 601985 h 4687251"/>
              <a:gd name="connsiteX28235" fmla="*/ 1325422 w 8079933"/>
              <a:gd name="connsiteY28235" fmla="*/ 607724 h 4687251"/>
              <a:gd name="connsiteX28236" fmla="*/ 1324445 w 8079933"/>
              <a:gd name="connsiteY28236" fmla="*/ 610430 h 4687251"/>
              <a:gd name="connsiteX28237" fmla="*/ 1325096 w 8079933"/>
              <a:gd name="connsiteY28237" fmla="*/ 612054 h 4687251"/>
              <a:gd name="connsiteX28238" fmla="*/ 1322817 w 8079933"/>
              <a:gd name="connsiteY28238" fmla="*/ 617359 h 4687251"/>
              <a:gd name="connsiteX28239" fmla="*/ 1324770 w 8079933"/>
              <a:gd name="connsiteY28239" fmla="*/ 622340 h 4687251"/>
              <a:gd name="connsiteX28240" fmla="*/ 1326940 w 8079933"/>
              <a:gd name="connsiteY28240" fmla="*/ 623314 h 4687251"/>
              <a:gd name="connsiteX28241" fmla="*/ 1328677 w 8079933"/>
              <a:gd name="connsiteY28241" fmla="*/ 621149 h 4687251"/>
              <a:gd name="connsiteX28242" fmla="*/ 1330088 w 8079933"/>
              <a:gd name="connsiteY28242" fmla="*/ 622015 h 4687251"/>
              <a:gd name="connsiteX28243" fmla="*/ 1330196 w 8079933"/>
              <a:gd name="connsiteY28243" fmla="*/ 629378 h 4687251"/>
              <a:gd name="connsiteX28244" fmla="*/ 1331933 w 8079933"/>
              <a:gd name="connsiteY28244" fmla="*/ 636415 h 4687251"/>
              <a:gd name="connsiteX28245" fmla="*/ 1339854 w 8079933"/>
              <a:gd name="connsiteY28245" fmla="*/ 644643 h 4687251"/>
              <a:gd name="connsiteX28246" fmla="*/ 1344087 w 8079933"/>
              <a:gd name="connsiteY28246" fmla="*/ 647891 h 4687251"/>
              <a:gd name="connsiteX28247" fmla="*/ 1345823 w 8079933"/>
              <a:gd name="connsiteY28247" fmla="*/ 646592 h 4687251"/>
              <a:gd name="connsiteX28248" fmla="*/ 1348861 w 8079933"/>
              <a:gd name="connsiteY28248" fmla="*/ 648433 h 4687251"/>
              <a:gd name="connsiteX28249" fmla="*/ 1349512 w 8079933"/>
              <a:gd name="connsiteY28249" fmla="*/ 652438 h 4687251"/>
              <a:gd name="connsiteX28250" fmla="*/ 1352659 w 8079933"/>
              <a:gd name="connsiteY28250" fmla="*/ 653954 h 4687251"/>
              <a:gd name="connsiteX28251" fmla="*/ 1353853 w 8079933"/>
              <a:gd name="connsiteY28251" fmla="*/ 653629 h 4687251"/>
              <a:gd name="connsiteX28252" fmla="*/ 1358844 w 8079933"/>
              <a:gd name="connsiteY28252" fmla="*/ 660884 h 4687251"/>
              <a:gd name="connsiteX28253" fmla="*/ 1359387 w 8079933"/>
              <a:gd name="connsiteY28253" fmla="*/ 667055 h 4687251"/>
              <a:gd name="connsiteX28254" fmla="*/ 1362100 w 8079933"/>
              <a:gd name="connsiteY28254" fmla="*/ 668246 h 4687251"/>
              <a:gd name="connsiteX28255" fmla="*/ 1364162 w 8079933"/>
              <a:gd name="connsiteY28255" fmla="*/ 672035 h 4687251"/>
              <a:gd name="connsiteX28256" fmla="*/ 1367635 w 8079933"/>
              <a:gd name="connsiteY28256" fmla="*/ 672144 h 4687251"/>
              <a:gd name="connsiteX28257" fmla="*/ 1372952 w 8079933"/>
              <a:gd name="connsiteY28257" fmla="*/ 679398 h 4687251"/>
              <a:gd name="connsiteX28258" fmla="*/ 1372952 w 8079933"/>
              <a:gd name="connsiteY28258" fmla="*/ 682538 h 4687251"/>
              <a:gd name="connsiteX28259" fmla="*/ 1375447 w 8079933"/>
              <a:gd name="connsiteY28259" fmla="*/ 683729 h 4687251"/>
              <a:gd name="connsiteX28260" fmla="*/ 1374579 w 8079933"/>
              <a:gd name="connsiteY28260" fmla="*/ 687302 h 4687251"/>
              <a:gd name="connsiteX28261" fmla="*/ 1369913 w 8079933"/>
              <a:gd name="connsiteY28261" fmla="*/ 692823 h 4687251"/>
              <a:gd name="connsiteX28262" fmla="*/ 1366983 w 8079933"/>
              <a:gd name="connsiteY28262" fmla="*/ 697154 h 4687251"/>
              <a:gd name="connsiteX28263" fmla="*/ 1376967 w 8079933"/>
              <a:gd name="connsiteY28263" fmla="*/ 688492 h 4687251"/>
              <a:gd name="connsiteX28264" fmla="*/ 1380548 w 8079933"/>
              <a:gd name="connsiteY28264" fmla="*/ 686652 h 4687251"/>
              <a:gd name="connsiteX28265" fmla="*/ 1382827 w 8079933"/>
              <a:gd name="connsiteY28265" fmla="*/ 687518 h 4687251"/>
              <a:gd name="connsiteX28266" fmla="*/ 1384020 w 8079933"/>
              <a:gd name="connsiteY28266" fmla="*/ 681131 h 4687251"/>
              <a:gd name="connsiteX28267" fmla="*/ 1383152 w 8079933"/>
              <a:gd name="connsiteY28267" fmla="*/ 667921 h 4687251"/>
              <a:gd name="connsiteX28268" fmla="*/ 1383695 w 8079933"/>
              <a:gd name="connsiteY28268" fmla="*/ 660126 h 4687251"/>
              <a:gd name="connsiteX28269" fmla="*/ 1386300 w 8079933"/>
              <a:gd name="connsiteY28269" fmla="*/ 655687 h 4687251"/>
              <a:gd name="connsiteX28270" fmla="*/ 1394221 w 8079933"/>
              <a:gd name="connsiteY28270" fmla="*/ 653088 h 4687251"/>
              <a:gd name="connsiteX28271" fmla="*/ 1400407 w 8079933"/>
              <a:gd name="connsiteY28271" fmla="*/ 649623 h 4687251"/>
              <a:gd name="connsiteX28272" fmla="*/ 1404205 w 8079933"/>
              <a:gd name="connsiteY28272" fmla="*/ 646267 h 4687251"/>
              <a:gd name="connsiteX28273" fmla="*/ 1408654 w 8079933"/>
              <a:gd name="connsiteY28273" fmla="*/ 645076 h 4687251"/>
              <a:gd name="connsiteX28274" fmla="*/ 1410824 w 8079933"/>
              <a:gd name="connsiteY28274" fmla="*/ 641936 h 4687251"/>
              <a:gd name="connsiteX28275" fmla="*/ 1414188 w 8079933"/>
              <a:gd name="connsiteY28275" fmla="*/ 641396 h 4687251"/>
              <a:gd name="connsiteX28276" fmla="*/ 1417552 w 8079933"/>
              <a:gd name="connsiteY28276" fmla="*/ 639663 h 4687251"/>
              <a:gd name="connsiteX28277" fmla="*/ 1423086 w 8079933"/>
              <a:gd name="connsiteY28277" fmla="*/ 639663 h 4687251"/>
              <a:gd name="connsiteX28278" fmla="*/ 1424280 w 8079933"/>
              <a:gd name="connsiteY28278" fmla="*/ 640422 h 4687251"/>
              <a:gd name="connsiteX28279" fmla="*/ 1429163 w 8079933"/>
              <a:gd name="connsiteY28279" fmla="*/ 640422 h 4687251"/>
              <a:gd name="connsiteX28280" fmla="*/ 1431225 w 8079933"/>
              <a:gd name="connsiteY28280" fmla="*/ 642045 h 4687251"/>
              <a:gd name="connsiteX28281" fmla="*/ 1437302 w 8079933"/>
              <a:gd name="connsiteY28281" fmla="*/ 635440 h 4687251"/>
              <a:gd name="connsiteX28282" fmla="*/ 1439472 w 8079933"/>
              <a:gd name="connsiteY28282" fmla="*/ 630244 h 4687251"/>
              <a:gd name="connsiteX28283" fmla="*/ 1442620 w 8079933"/>
              <a:gd name="connsiteY28283" fmla="*/ 629702 h 4687251"/>
              <a:gd name="connsiteX28284" fmla="*/ 1446743 w 8079933"/>
              <a:gd name="connsiteY28284" fmla="*/ 630785 h 4687251"/>
              <a:gd name="connsiteX28285" fmla="*/ 1449348 w 8079933"/>
              <a:gd name="connsiteY28285" fmla="*/ 629053 h 4687251"/>
              <a:gd name="connsiteX28286" fmla="*/ 1448588 w 8079933"/>
              <a:gd name="connsiteY28286" fmla="*/ 627104 h 4687251"/>
              <a:gd name="connsiteX28287" fmla="*/ 1452061 w 8079933"/>
              <a:gd name="connsiteY28287" fmla="*/ 626995 h 4687251"/>
              <a:gd name="connsiteX28288" fmla="*/ 1454339 w 8079933"/>
              <a:gd name="connsiteY28288" fmla="*/ 629594 h 4687251"/>
              <a:gd name="connsiteX28289" fmla="*/ 1467904 w 8079933"/>
              <a:gd name="connsiteY28289" fmla="*/ 628295 h 4687251"/>
              <a:gd name="connsiteX28290" fmla="*/ 1479081 w 8079933"/>
              <a:gd name="connsiteY28290" fmla="*/ 624722 h 4687251"/>
              <a:gd name="connsiteX28291" fmla="*/ 1483205 w 8079933"/>
              <a:gd name="connsiteY28291" fmla="*/ 622015 h 4687251"/>
              <a:gd name="connsiteX28292" fmla="*/ 1485483 w 8079933"/>
              <a:gd name="connsiteY28292" fmla="*/ 621798 h 4687251"/>
              <a:gd name="connsiteX28293" fmla="*/ 1487871 w 8079933"/>
              <a:gd name="connsiteY28293" fmla="*/ 625588 h 4687251"/>
              <a:gd name="connsiteX28294" fmla="*/ 1491017 w 8079933"/>
              <a:gd name="connsiteY28294" fmla="*/ 623855 h 4687251"/>
              <a:gd name="connsiteX28295" fmla="*/ 1492754 w 8079933"/>
              <a:gd name="connsiteY28295" fmla="*/ 619092 h 4687251"/>
              <a:gd name="connsiteX28296" fmla="*/ 1500676 w 8079933"/>
              <a:gd name="connsiteY28296" fmla="*/ 615627 h 4687251"/>
              <a:gd name="connsiteX28297" fmla="*/ 1505668 w 8079933"/>
              <a:gd name="connsiteY28297" fmla="*/ 615627 h 4687251"/>
              <a:gd name="connsiteX28298" fmla="*/ 1507078 w 8079933"/>
              <a:gd name="connsiteY28298" fmla="*/ 617467 h 4687251"/>
              <a:gd name="connsiteX28299" fmla="*/ 1509466 w 8079933"/>
              <a:gd name="connsiteY28299" fmla="*/ 617467 h 4687251"/>
              <a:gd name="connsiteX28300" fmla="*/ 1510659 w 8079933"/>
              <a:gd name="connsiteY28300" fmla="*/ 620067 h 4687251"/>
              <a:gd name="connsiteX28301" fmla="*/ 1514566 w 8079933"/>
              <a:gd name="connsiteY28301" fmla="*/ 619200 h 4687251"/>
              <a:gd name="connsiteX28302" fmla="*/ 1514783 w 8079933"/>
              <a:gd name="connsiteY28302" fmla="*/ 615953 h 4687251"/>
              <a:gd name="connsiteX28303" fmla="*/ 1516302 w 8079933"/>
              <a:gd name="connsiteY28303" fmla="*/ 613569 h 4687251"/>
              <a:gd name="connsiteX28304" fmla="*/ 1519775 w 8079933"/>
              <a:gd name="connsiteY28304" fmla="*/ 615627 h 4687251"/>
              <a:gd name="connsiteX28305" fmla="*/ 1519775 w 8079933"/>
              <a:gd name="connsiteY28305" fmla="*/ 620067 h 4687251"/>
              <a:gd name="connsiteX28306" fmla="*/ 1522162 w 8079933"/>
              <a:gd name="connsiteY28306" fmla="*/ 622340 h 4687251"/>
              <a:gd name="connsiteX28307" fmla="*/ 1520317 w 8079933"/>
              <a:gd name="connsiteY28307" fmla="*/ 624614 h 4687251"/>
              <a:gd name="connsiteX28308" fmla="*/ 1518038 w 8079933"/>
              <a:gd name="connsiteY28308" fmla="*/ 624614 h 4687251"/>
              <a:gd name="connsiteX28309" fmla="*/ 1516845 w 8079933"/>
              <a:gd name="connsiteY28309" fmla="*/ 629053 h 4687251"/>
              <a:gd name="connsiteX28310" fmla="*/ 1506210 w 8079933"/>
              <a:gd name="connsiteY28310" fmla="*/ 631975 h 4687251"/>
              <a:gd name="connsiteX28311" fmla="*/ 1496878 w 8079933"/>
              <a:gd name="connsiteY28311" fmla="*/ 634683 h 4687251"/>
              <a:gd name="connsiteX28312" fmla="*/ 1493731 w 8079933"/>
              <a:gd name="connsiteY28312" fmla="*/ 638797 h 4687251"/>
              <a:gd name="connsiteX28313" fmla="*/ 1488088 w 8079933"/>
              <a:gd name="connsiteY28313" fmla="*/ 640422 h 4687251"/>
              <a:gd name="connsiteX28314" fmla="*/ 1484290 w 8079933"/>
              <a:gd name="connsiteY28314" fmla="*/ 639880 h 4687251"/>
              <a:gd name="connsiteX28315" fmla="*/ 1480817 w 8079933"/>
              <a:gd name="connsiteY28315" fmla="*/ 642478 h 4687251"/>
              <a:gd name="connsiteX28316" fmla="*/ 1478430 w 8079933"/>
              <a:gd name="connsiteY28316" fmla="*/ 642478 h 4687251"/>
              <a:gd name="connsiteX28317" fmla="*/ 1476694 w 8079933"/>
              <a:gd name="connsiteY28317" fmla="*/ 639122 h 4687251"/>
              <a:gd name="connsiteX28318" fmla="*/ 1469314 w 8079933"/>
              <a:gd name="connsiteY28318" fmla="*/ 642586 h 4687251"/>
              <a:gd name="connsiteX28319" fmla="*/ 1462044 w 8079933"/>
              <a:gd name="connsiteY28319" fmla="*/ 642261 h 4687251"/>
              <a:gd name="connsiteX28320" fmla="*/ 1460633 w 8079933"/>
              <a:gd name="connsiteY28320" fmla="*/ 643993 h 4687251"/>
              <a:gd name="connsiteX28321" fmla="*/ 1452277 w 8079933"/>
              <a:gd name="connsiteY28321" fmla="*/ 643344 h 4687251"/>
              <a:gd name="connsiteX28322" fmla="*/ 1447068 w 8079933"/>
              <a:gd name="connsiteY28322" fmla="*/ 645293 h 4687251"/>
              <a:gd name="connsiteX28323" fmla="*/ 1443488 w 8079933"/>
              <a:gd name="connsiteY28323" fmla="*/ 650815 h 4687251"/>
              <a:gd name="connsiteX28324" fmla="*/ 1432419 w 8079933"/>
              <a:gd name="connsiteY28324" fmla="*/ 655687 h 4687251"/>
              <a:gd name="connsiteX28325" fmla="*/ 1431768 w 8079933"/>
              <a:gd name="connsiteY28325" fmla="*/ 653629 h 4687251"/>
              <a:gd name="connsiteX28326" fmla="*/ 1426016 w 8079933"/>
              <a:gd name="connsiteY28326" fmla="*/ 657744 h 4687251"/>
              <a:gd name="connsiteX28327" fmla="*/ 1425148 w 8079933"/>
              <a:gd name="connsiteY28327" fmla="*/ 661209 h 4687251"/>
              <a:gd name="connsiteX28328" fmla="*/ 1421567 w 8079933"/>
              <a:gd name="connsiteY28328" fmla="*/ 662941 h 4687251"/>
              <a:gd name="connsiteX28329" fmla="*/ 1419180 w 8079933"/>
              <a:gd name="connsiteY28329" fmla="*/ 660450 h 4687251"/>
              <a:gd name="connsiteX28330" fmla="*/ 1414731 w 8079933"/>
              <a:gd name="connsiteY28330" fmla="*/ 664240 h 4687251"/>
              <a:gd name="connsiteX28331" fmla="*/ 1411801 w 8079933"/>
              <a:gd name="connsiteY28331" fmla="*/ 668896 h 4687251"/>
              <a:gd name="connsiteX28332" fmla="*/ 1408436 w 8079933"/>
              <a:gd name="connsiteY28332" fmla="*/ 669112 h 4687251"/>
              <a:gd name="connsiteX28333" fmla="*/ 1406050 w 8079933"/>
              <a:gd name="connsiteY28333" fmla="*/ 673010 h 4687251"/>
              <a:gd name="connsiteX28334" fmla="*/ 1410173 w 8079933"/>
              <a:gd name="connsiteY28334" fmla="*/ 678315 h 4687251"/>
              <a:gd name="connsiteX28335" fmla="*/ 1414839 w 8079933"/>
              <a:gd name="connsiteY28335" fmla="*/ 680805 h 4687251"/>
              <a:gd name="connsiteX28336" fmla="*/ 1410064 w 8079933"/>
              <a:gd name="connsiteY28336" fmla="*/ 675284 h 4687251"/>
              <a:gd name="connsiteX28337" fmla="*/ 1410824 w 8079933"/>
              <a:gd name="connsiteY28337" fmla="*/ 673551 h 4687251"/>
              <a:gd name="connsiteX28338" fmla="*/ 1415273 w 8079933"/>
              <a:gd name="connsiteY28338" fmla="*/ 674959 h 4687251"/>
              <a:gd name="connsiteX28339" fmla="*/ 1417660 w 8079933"/>
              <a:gd name="connsiteY28339" fmla="*/ 673227 h 4687251"/>
              <a:gd name="connsiteX28340" fmla="*/ 1421784 w 8079933"/>
              <a:gd name="connsiteY28340" fmla="*/ 674634 h 4687251"/>
              <a:gd name="connsiteX28341" fmla="*/ 1420048 w 8079933"/>
              <a:gd name="connsiteY28341" fmla="*/ 670411 h 4687251"/>
              <a:gd name="connsiteX28342" fmla="*/ 1425908 w 8079933"/>
              <a:gd name="connsiteY28342" fmla="*/ 664240 h 4687251"/>
              <a:gd name="connsiteX28343" fmla="*/ 1433938 w 8079933"/>
              <a:gd name="connsiteY28343" fmla="*/ 662183 h 4687251"/>
              <a:gd name="connsiteX28344" fmla="*/ 1438387 w 8079933"/>
              <a:gd name="connsiteY28344" fmla="*/ 662183 h 4687251"/>
              <a:gd name="connsiteX28345" fmla="*/ 1450758 w 8079933"/>
              <a:gd name="connsiteY28345" fmla="*/ 654279 h 4687251"/>
              <a:gd name="connsiteX28346" fmla="*/ 1451843 w 8079933"/>
              <a:gd name="connsiteY28346" fmla="*/ 650490 h 4687251"/>
              <a:gd name="connsiteX28347" fmla="*/ 1455641 w 8079933"/>
              <a:gd name="connsiteY28347" fmla="*/ 649407 h 4687251"/>
              <a:gd name="connsiteX28348" fmla="*/ 1458788 w 8079933"/>
              <a:gd name="connsiteY28348" fmla="*/ 652872 h 4687251"/>
              <a:gd name="connsiteX28349" fmla="*/ 1461827 w 8079933"/>
              <a:gd name="connsiteY28349" fmla="*/ 650490 h 4687251"/>
              <a:gd name="connsiteX28350" fmla="*/ 1465299 w 8079933"/>
              <a:gd name="connsiteY28350" fmla="*/ 649840 h 4687251"/>
              <a:gd name="connsiteX28351" fmla="*/ 1465950 w 8079933"/>
              <a:gd name="connsiteY28351" fmla="*/ 651897 h 4687251"/>
              <a:gd name="connsiteX28352" fmla="*/ 1473221 w 8079933"/>
              <a:gd name="connsiteY28352" fmla="*/ 647025 h 4687251"/>
              <a:gd name="connsiteX28353" fmla="*/ 1474957 w 8079933"/>
              <a:gd name="connsiteY28353" fmla="*/ 649840 h 4687251"/>
              <a:gd name="connsiteX28354" fmla="*/ 1469098 w 8079933"/>
              <a:gd name="connsiteY28354" fmla="*/ 657419 h 4687251"/>
              <a:gd name="connsiteX28355" fmla="*/ 1469749 w 8079933"/>
              <a:gd name="connsiteY28355" fmla="*/ 661209 h 4687251"/>
              <a:gd name="connsiteX28356" fmla="*/ 1474957 w 8079933"/>
              <a:gd name="connsiteY28356" fmla="*/ 652872 h 4687251"/>
              <a:gd name="connsiteX28357" fmla="*/ 1482553 w 8079933"/>
              <a:gd name="connsiteY28357" fmla="*/ 651139 h 4687251"/>
              <a:gd name="connsiteX28358" fmla="*/ 1496335 w 8079933"/>
              <a:gd name="connsiteY28358" fmla="*/ 640854 h 4687251"/>
              <a:gd name="connsiteX28359" fmla="*/ 1503606 w 8079933"/>
              <a:gd name="connsiteY28359" fmla="*/ 640854 h 4687251"/>
              <a:gd name="connsiteX28360" fmla="*/ 1509140 w 8079933"/>
              <a:gd name="connsiteY28360" fmla="*/ 637389 h 4687251"/>
              <a:gd name="connsiteX28361" fmla="*/ 1517713 w 8079933"/>
              <a:gd name="connsiteY28361" fmla="*/ 637064 h 4687251"/>
              <a:gd name="connsiteX28362" fmla="*/ 1521945 w 8079933"/>
              <a:gd name="connsiteY28362" fmla="*/ 634683 h 4687251"/>
              <a:gd name="connsiteX28363" fmla="*/ 1526069 w 8079933"/>
              <a:gd name="connsiteY28363" fmla="*/ 634683 h 4687251"/>
              <a:gd name="connsiteX28364" fmla="*/ 1524658 w 8079933"/>
              <a:gd name="connsiteY28364" fmla="*/ 639446 h 4687251"/>
              <a:gd name="connsiteX28365" fmla="*/ 1518472 w 8079933"/>
              <a:gd name="connsiteY28365" fmla="*/ 641504 h 4687251"/>
              <a:gd name="connsiteX28366" fmla="*/ 1518472 w 8079933"/>
              <a:gd name="connsiteY28366" fmla="*/ 645293 h 4687251"/>
              <a:gd name="connsiteX28367" fmla="*/ 1522271 w 8079933"/>
              <a:gd name="connsiteY28367" fmla="*/ 648107 h 4687251"/>
              <a:gd name="connsiteX28368" fmla="*/ 1528131 w 8079933"/>
              <a:gd name="connsiteY28368" fmla="*/ 641504 h 4687251"/>
              <a:gd name="connsiteX28369" fmla="*/ 1539199 w 8079933"/>
              <a:gd name="connsiteY28369" fmla="*/ 636307 h 4687251"/>
              <a:gd name="connsiteX28370" fmla="*/ 1541586 w 8079933"/>
              <a:gd name="connsiteY28370" fmla="*/ 636740 h 4687251"/>
              <a:gd name="connsiteX28371" fmla="*/ 1541261 w 8079933"/>
              <a:gd name="connsiteY28371" fmla="*/ 633600 h 4687251"/>
              <a:gd name="connsiteX28372" fmla="*/ 1545710 w 8079933"/>
              <a:gd name="connsiteY28372" fmla="*/ 630136 h 4687251"/>
              <a:gd name="connsiteX28373" fmla="*/ 1549508 w 8079933"/>
              <a:gd name="connsiteY28373" fmla="*/ 631868 h 4687251"/>
              <a:gd name="connsiteX28374" fmla="*/ 1549834 w 8079933"/>
              <a:gd name="connsiteY28374" fmla="*/ 628078 h 4687251"/>
              <a:gd name="connsiteX28375" fmla="*/ 1551244 w 8079933"/>
              <a:gd name="connsiteY28375" fmla="*/ 625371 h 4687251"/>
              <a:gd name="connsiteX28376" fmla="*/ 1554283 w 8079933"/>
              <a:gd name="connsiteY28376" fmla="*/ 628403 h 4687251"/>
              <a:gd name="connsiteX28377" fmla="*/ 1558081 w 8079933"/>
              <a:gd name="connsiteY28377" fmla="*/ 629485 h 4687251"/>
              <a:gd name="connsiteX28378" fmla="*/ 1559166 w 8079933"/>
              <a:gd name="connsiteY28378" fmla="*/ 622232 h 4687251"/>
              <a:gd name="connsiteX28379" fmla="*/ 1557105 w 8079933"/>
              <a:gd name="connsiteY28379" fmla="*/ 617035 h 4687251"/>
              <a:gd name="connsiteX28380" fmla="*/ 1559492 w 8079933"/>
              <a:gd name="connsiteY28380" fmla="*/ 614328 h 4687251"/>
              <a:gd name="connsiteX28381" fmla="*/ 1556779 w 8079933"/>
              <a:gd name="connsiteY28381" fmla="*/ 611188 h 4687251"/>
              <a:gd name="connsiteX28382" fmla="*/ 1560903 w 8079933"/>
              <a:gd name="connsiteY28382" fmla="*/ 605017 h 4687251"/>
              <a:gd name="connsiteX28383" fmla="*/ 1567739 w 8079933"/>
              <a:gd name="connsiteY28383" fmla="*/ 602310 h 4687251"/>
              <a:gd name="connsiteX28384" fmla="*/ 1567739 w 8079933"/>
              <a:gd name="connsiteY28384" fmla="*/ 608481 h 4687251"/>
              <a:gd name="connsiteX28385" fmla="*/ 1569150 w 8079933"/>
              <a:gd name="connsiteY28385" fmla="*/ 626671 h 4687251"/>
              <a:gd name="connsiteX28386" fmla="*/ 1566437 w 8079933"/>
              <a:gd name="connsiteY28386" fmla="*/ 631868 h 4687251"/>
              <a:gd name="connsiteX28387" fmla="*/ 1567088 w 8079933"/>
              <a:gd name="connsiteY28387" fmla="*/ 646700 h 4687251"/>
              <a:gd name="connsiteX28388" fmla="*/ 1562964 w 8079933"/>
              <a:gd name="connsiteY28388" fmla="*/ 655254 h 4687251"/>
              <a:gd name="connsiteX28389" fmla="*/ 1562639 w 8079933"/>
              <a:gd name="connsiteY28389" fmla="*/ 676691 h 4687251"/>
              <a:gd name="connsiteX28390" fmla="*/ 1564701 w 8079933"/>
              <a:gd name="connsiteY28390" fmla="*/ 682538 h 4687251"/>
              <a:gd name="connsiteX28391" fmla="*/ 1569801 w 8079933"/>
              <a:gd name="connsiteY28391" fmla="*/ 684270 h 4687251"/>
              <a:gd name="connsiteX28392" fmla="*/ 1572948 w 8079933"/>
              <a:gd name="connsiteY28392" fmla="*/ 691091 h 4687251"/>
              <a:gd name="connsiteX28393" fmla="*/ 1580544 w 8079933"/>
              <a:gd name="connsiteY28393" fmla="*/ 686976 h 4687251"/>
              <a:gd name="connsiteX28394" fmla="*/ 1578157 w 8079933"/>
              <a:gd name="connsiteY28394" fmla="*/ 683512 h 4687251"/>
              <a:gd name="connsiteX28395" fmla="*/ 1573707 w 8079933"/>
              <a:gd name="connsiteY28395" fmla="*/ 683512 h 4687251"/>
              <a:gd name="connsiteX28396" fmla="*/ 1572297 w 8079933"/>
              <a:gd name="connsiteY28396" fmla="*/ 680480 h 4687251"/>
              <a:gd name="connsiteX28397" fmla="*/ 1576746 w 8079933"/>
              <a:gd name="connsiteY28397" fmla="*/ 677666 h 4687251"/>
              <a:gd name="connsiteX28398" fmla="*/ 1581303 w 8079933"/>
              <a:gd name="connsiteY28398" fmla="*/ 679398 h 4687251"/>
              <a:gd name="connsiteX28399" fmla="*/ 1582606 w 8079933"/>
              <a:gd name="connsiteY28399" fmla="*/ 674201 h 4687251"/>
              <a:gd name="connsiteX28400" fmla="*/ 1579893 w 8079933"/>
              <a:gd name="connsiteY28400" fmla="*/ 673227 h 4687251"/>
              <a:gd name="connsiteX28401" fmla="*/ 1584668 w 8079933"/>
              <a:gd name="connsiteY28401" fmla="*/ 669112 h 4687251"/>
              <a:gd name="connsiteX28402" fmla="*/ 1590853 w 8079933"/>
              <a:gd name="connsiteY28402" fmla="*/ 669437 h 4687251"/>
              <a:gd name="connsiteX28403" fmla="*/ 1591612 w 8079933"/>
              <a:gd name="connsiteY28403" fmla="*/ 673227 h 4687251"/>
              <a:gd name="connsiteX28404" fmla="*/ 1595411 w 8079933"/>
              <a:gd name="connsiteY28404" fmla="*/ 669762 h 4687251"/>
              <a:gd name="connsiteX28405" fmla="*/ 1590527 w 8079933"/>
              <a:gd name="connsiteY28405" fmla="*/ 660776 h 4687251"/>
              <a:gd name="connsiteX28406" fmla="*/ 1595085 w 8079933"/>
              <a:gd name="connsiteY28406" fmla="*/ 661533 h 4687251"/>
              <a:gd name="connsiteX28407" fmla="*/ 1603984 w 8079933"/>
              <a:gd name="connsiteY28407" fmla="*/ 656011 h 4687251"/>
              <a:gd name="connsiteX28408" fmla="*/ 1603984 w 8079933"/>
              <a:gd name="connsiteY28408" fmla="*/ 652222 h 4687251"/>
              <a:gd name="connsiteX28409" fmla="*/ 1609518 w 8079933"/>
              <a:gd name="connsiteY28409" fmla="*/ 650815 h 4687251"/>
              <a:gd name="connsiteX28410" fmla="*/ 1610603 w 8079933"/>
              <a:gd name="connsiteY28410" fmla="*/ 656336 h 4687251"/>
              <a:gd name="connsiteX28411" fmla="*/ 1610386 w 8079933"/>
              <a:gd name="connsiteY28411" fmla="*/ 659801 h 4687251"/>
              <a:gd name="connsiteX28412" fmla="*/ 1605937 w 8079933"/>
              <a:gd name="connsiteY28412" fmla="*/ 664132 h 4687251"/>
              <a:gd name="connsiteX28413" fmla="*/ 1606479 w 8079933"/>
              <a:gd name="connsiteY28413" fmla="*/ 666622 h 4687251"/>
              <a:gd name="connsiteX28414" fmla="*/ 1601922 w 8079933"/>
              <a:gd name="connsiteY28414" fmla="*/ 670519 h 4687251"/>
              <a:gd name="connsiteX28415" fmla="*/ 1601271 w 8079933"/>
              <a:gd name="connsiteY28415" fmla="*/ 673335 h 4687251"/>
              <a:gd name="connsiteX28416" fmla="*/ 1603116 w 8079933"/>
              <a:gd name="connsiteY28416" fmla="*/ 675284 h 4687251"/>
              <a:gd name="connsiteX28417" fmla="*/ 1606588 w 8079933"/>
              <a:gd name="connsiteY28417" fmla="*/ 674201 h 4687251"/>
              <a:gd name="connsiteX28418" fmla="*/ 1607782 w 8079933"/>
              <a:gd name="connsiteY28418" fmla="*/ 676799 h 4687251"/>
              <a:gd name="connsiteX28419" fmla="*/ 1606696 w 8079933"/>
              <a:gd name="connsiteY28419" fmla="*/ 678748 h 4687251"/>
              <a:gd name="connsiteX28420" fmla="*/ 1603116 w 8079933"/>
              <a:gd name="connsiteY28420" fmla="*/ 680480 h 4687251"/>
              <a:gd name="connsiteX28421" fmla="*/ 1598883 w 8079933"/>
              <a:gd name="connsiteY28421" fmla="*/ 684703 h 4687251"/>
              <a:gd name="connsiteX28422" fmla="*/ 1595954 w 8079933"/>
              <a:gd name="connsiteY28422" fmla="*/ 684270 h 4687251"/>
              <a:gd name="connsiteX28423" fmla="*/ 1594325 w 8079933"/>
              <a:gd name="connsiteY28423" fmla="*/ 686652 h 4687251"/>
              <a:gd name="connsiteX28424" fmla="*/ 1590853 w 8079933"/>
              <a:gd name="connsiteY28424" fmla="*/ 691091 h 4687251"/>
              <a:gd name="connsiteX28425" fmla="*/ 1593675 w 8079933"/>
              <a:gd name="connsiteY28425" fmla="*/ 693906 h 4687251"/>
              <a:gd name="connsiteX28426" fmla="*/ 1600620 w 8079933"/>
              <a:gd name="connsiteY28426" fmla="*/ 694880 h 4687251"/>
              <a:gd name="connsiteX28427" fmla="*/ 1604309 w 8079933"/>
              <a:gd name="connsiteY28427" fmla="*/ 697696 h 4687251"/>
              <a:gd name="connsiteX28428" fmla="*/ 1608867 w 8079933"/>
              <a:gd name="connsiteY28428" fmla="*/ 697263 h 4687251"/>
              <a:gd name="connsiteX28429" fmla="*/ 1612990 w 8079933"/>
              <a:gd name="connsiteY28429" fmla="*/ 693582 h 4687251"/>
              <a:gd name="connsiteX28430" fmla="*/ 1617873 w 8079933"/>
              <a:gd name="connsiteY28430" fmla="*/ 692498 h 4687251"/>
              <a:gd name="connsiteX28431" fmla="*/ 1622648 w 8079933"/>
              <a:gd name="connsiteY28431" fmla="*/ 683837 h 4687251"/>
              <a:gd name="connsiteX28432" fmla="*/ 1628183 w 8079933"/>
              <a:gd name="connsiteY28432" fmla="*/ 678315 h 4687251"/>
              <a:gd name="connsiteX28433" fmla="*/ 1633392 w 8079933"/>
              <a:gd name="connsiteY28433" fmla="*/ 676691 h 4687251"/>
              <a:gd name="connsiteX28434" fmla="*/ 1636430 w 8079933"/>
              <a:gd name="connsiteY28434" fmla="*/ 679398 h 4687251"/>
              <a:gd name="connsiteX28435" fmla="*/ 1641313 w 8079933"/>
              <a:gd name="connsiteY28435" fmla="*/ 680047 h 4687251"/>
              <a:gd name="connsiteX28436" fmla="*/ 1645111 w 8079933"/>
              <a:gd name="connsiteY28436" fmla="*/ 683188 h 4687251"/>
              <a:gd name="connsiteX28437" fmla="*/ 1649235 w 8079933"/>
              <a:gd name="connsiteY28437" fmla="*/ 683512 h 4687251"/>
              <a:gd name="connsiteX28438" fmla="*/ 1655095 w 8079933"/>
              <a:gd name="connsiteY28438" fmla="*/ 688060 h 4687251"/>
              <a:gd name="connsiteX28439" fmla="*/ 1659218 w 8079933"/>
              <a:gd name="connsiteY28439" fmla="*/ 688060 h 4687251"/>
              <a:gd name="connsiteX28440" fmla="*/ 1659218 w 8079933"/>
              <a:gd name="connsiteY28440" fmla="*/ 692498 h 4687251"/>
              <a:gd name="connsiteX28441" fmla="*/ 1663342 w 8079933"/>
              <a:gd name="connsiteY28441" fmla="*/ 703867 h 4687251"/>
              <a:gd name="connsiteX28442" fmla="*/ 1663342 w 8079933"/>
              <a:gd name="connsiteY28442" fmla="*/ 710039 h 4687251"/>
              <a:gd name="connsiteX28443" fmla="*/ 1668877 w 8079933"/>
              <a:gd name="connsiteY28443" fmla="*/ 718267 h 4687251"/>
              <a:gd name="connsiteX28444" fmla="*/ 1688192 w 8079933"/>
              <a:gd name="connsiteY28444" fmla="*/ 730393 h 4687251"/>
              <a:gd name="connsiteX28445" fmla="*/ 1689604 w 8079933"/>
              <a:gd name="connsiteY28445" fmla="*/ 734832 h 4687251"/>
              <a:gd name="connsiteX28446" fmla="*/ 1696223 w 8079933"/>
              <a:gd name="connsiteY28446" fmla="*/ 737973 h 4687251"/>
              <a:gd name="connsiteX28447" fmla="*/ 1703276 w 8079933"/>
              <a:gd name="connsiteY28447" fmla="*/ 745551 h 4687251"/>
              <a:gd name="connsiteX28448" fmla="*/ 1705664 w 8079933"/>
              <a:gd name="connsiteY28448" fmla="*/ 745551 h 4687251"/>
              <a:gd name="connsiteX28449" fmla="*/ 1710547 w 8079933"/>
              <a:gd name="connsiteY28449" fmla="*/ 748799 h 4687251"/>
              <a:gd name="connsiteX28450" fmla="*/ 1712175 w 8079933"/>
              <a:gd name="connsiteY28450" fmla="*/ 753022 h 4687251"/>
              <a:gd name="connsiteX28451" fmla="*/ 1715213 w 8079933"/>
              <a:gd name="connsiteY28451" fmla="*/ 754863 h 4687251"/>
              <a:gd name="connsiteX28452" fmla="*/ 1717601 w 8079933"/>
              <a:gd name="connsiteY28452" fmla="*/ 752589 h 4687251"/>
              <a:gd name="connsiteX28453" fmla="*/ 1719120 w 8079933"/>
              <a:gd name="connsiteY28453" fmla="*/ 755512 h 4687251"/>
              <a:gd name="connsiteX28454" fmla="*/ 1726174 w 8079933"/>
              <a:gd name="connsiteY28454" fmla="*/ 760167 h 4687251"/>
              <a:gd name="connsiteX28455" fmla="*/ 1730189 w 8079933"/>
              <a:gd name="connsiteY28455" fmla="*/ 760167 h 4687251"/>
              <a:gd name="connsiteX28456" fmla="*/ 1730189 w 8079933"/>
              <a:gd name="connsiteY28456" fmla="*/ 764824 h 4687251"/>
              <a:gd name="connsiteX28457" fmla="*/ 1733444 w 8079933"/>
              <a:gd name="connsiteY28457" fmla="*/ 769154 h 4687251"/>
              <a:gd name="connsiteX28458" fmla="*/ 1735180 w 8079933"/>
              <a:gd name="connsiteY28458" fmla="*/ 764824 h 4687251"/>
              <a:gd name="connsiteX28459" fmla="*/ 1733118 w 8079933"/>
              <a:gd name="connsiteY28459" fmla="*/ 761900 h 4687251"/>
              <a:gd name="connsiteX28460" fmla="*/ 1734095 w 8079933"/>
              <a:gd name="connsiteY28460" fmla="*/ 759302 h 4687251"/>
              <a:gd name="connsiteX28461" fmla="*/ 1729755 w 8079933"/>
              <a:gd name="connsiteY28461" fmla="*/ 755728 h 4687251"/>
              <a:gd name="connsiteX28462" fmla="*/ 1729755 w 8079933"/>
              <a:gd name="connsiteY28462" fmla="*/ 753130 h 4687251"/>
              <a:gd name="connsiteX28463" fmla="*/ 1736700 w 8079933"/>
              <a:gd name="connsiteY28463" fmla="*/ 756703 h 4687251"/>
              <a:gd name="connsiteX28464" fmla="*/ 1738219 w 8079933"/>
              <a:gd name="connsiteY28464" fmla="*/ 760385 h 4687251"/>
              <a:gd name="connsiteX28465" fmla="*/ 1740281 w 8079933"/>
              <a:gd name="connsiteY28465" fmla="*/ 760167 h 4687251"/>
              <a:gd name="connsiteX28466" fmla="*/ 1741691 w 8079933"/>
              <a:gd name="connsiteY28466" fmla="*/ 756595 h 4687251"/>
              <a:gd name="connsiteX28467" fmla="*/ 1743536 w 8079933"/>
              <a:gd name="connsiteY28467" fmla="*/ 756053 h 4687251"/>
              <a:gd name="connsiteX28468" fmla="*/ 1749938 w 8079933"/>
              <a:gd name="connsiteY28468" fmla="*/ 762225 h 4687251"/>
              <a:gd name="connsiteX28469" fmla="*/ 1751024 w 8079933"/>
              <a:gd name="connsiteY28469" fmla="*/ 765581 h 4687251"/>
              <a:gd name="connsiteX28470" fmla="*/ 1754062 w 8079933"/>
              <a:gd name="connsiteY28470" fmla="*/ 766881 h 4687251"/>
              <a:gd name="connsiteX28471" fmla="*/ 1756667 w 8079933"/>
              <a:gd name="connsiteY28471" fmla="*/ 772944 h 4687251"/>
              <a:gd name="connsiteX28472" fmla="*/ 1759054 w 8079933"/>
              <a:gd name="connsiteY28472" fmla="*/ 777058 h 4687251"/>
              <a:gd name="connsiteX28473" fmla="*/ 1759596 w 8079933"/>
              <a:gd name="connsiteY28473" fmla="*/ 782905 h 4687251"/>
              <a:gd name="connsiteX28474" fmla="*/ 1761876 w 8079933"/>
              <a:gd name="connsiteY28474" fmla="*/ 788318 h 4687251"/>
              <a:gd name="connsiteX28475" fmla="*/ 1759596 w 8079933"/>
              <a:gd name="connsiteY28475" fmla="*/ 793082 h 4687251"/>
              <a:gd name="connsiteX28476" fmla="*/ 1759054 w 8079933"/>
              <a:gd name="connsiteY28476" fmla="*/ 798387 h 4687251"/>
              <a:gd name="connsiteX28477" fmla="*/ 1754822 w 8079933"/>
              <a:gd name="connsiteY28477" fmla="*/ 803151 h 4687251"/>
              <a:gd name="connsiteX28478" fmla="*/ 1744296 w 8079933"/>
              <a:gd name="connsiteY28478" fmla="*/ 799362 h 4687251"/>
              <a:gd name="connsiteX28479" fmla="*/ 1738436 w 8079933"/>
              <a:gd name="connsiteY28479" fmla="*/ 798820 h 4687251"/>
              <a:gd name="connsiteX28480" fmla="*/ 1738545 w 8079933"/>
              <a:gd name="connsiteY28480" fmla="*/ 800769 h 4687251"/>
              <a:gd name="connsiteX28481" fmla="*/ 1736483 w 8079933"/>
              <a:gd name="connsiteY28481" fmla="*/ 802285 h 4687251"/>
              <a:gd name="connsiteX28482" fmla="*/ 1730514 w 8079933"/>
              <a:gd name="connsiteY28482" fmla="*/ 799903 h 4687251"/>
              <a:gd name="connsiteX28483" fmla="*/ 1726499 w 8079933"/>
              <a:gd name="connsiteY28483" fmla="*/ 799687 h 4687251"/>
              <a:gd name="connsiteX28484" fmla="*/ 1727692 w 8079933"/>
              <a:gd name="connsiteY28484" fmla="*/ 803368 h 4687251"/>
              <a:gd name="connsiteX28485" fmla="*/ 1723786 w 8079933"/>
              <a:gd name="connsiteY28485" fmla="*/ 806074 h 4687251"/>
              <a:gd name="connsiteX28486" fmla="*/ 1723244 w 8079933"/>
              <a:gd name="connsiteY28486" fmla="*/ 811055 h 4687251"/>
              <a:gd name="connsiteX28487" fmla="*/ 1718251 w 8079933"/>
              <a:gd name="connsiteY28487" fmla="*/ 810513 h 4687251"/>
              <a:gd name="connsiteX28488" fmla="*/ 1713911 w 8079933"/>
              <a:gd name="connsiteY28488" fmla="*/ 812138 h 4687251"/>
              <a:gd name="connsiteX28489" fmla="*/ 1715647 w 8079933"/>
              <a:gd name="connsiteY28489" fmla="*/ 814519 h 4687251"/>
              <a:gd name="connsiteX28490" fmla="*/ 1720313 w 8079933"/>
              <a:gd name="connsiteY28490" fmla="*/ 816577 h 4687251"/>
              <a:gd name="connsiteX28491" fmla="*/ 1721724 w 8079933"/>
              <a:gd name="connsiteY28491" fmla="*/ 821882 h 4687251"/>
              <a:gd name="connsiteX28492" fmla="*/ 1725631 w 8079933"/>
              <a:gd name="connsiteY28492" fmla="*/ 825130 h 4687251"/>
              <a:gd name="connsiteX28493" fmla="*/ 1728560 w 8079933"/>
              <a:gd name="connsiteY28493" fmla="*/ 823290 h 4687251"/>
              <a:gd name="connsiteX28494" fmla="*/ 1734095 w 8079933"/>
              <a:gd name="connsiteY28494" fmla="*/ 827729 h 4687251"/>
              <a:gd name="connsiteX28495" fmla="*/ 1734421 w 8079933"/>
              <a:gd name="connsiteY28495" fmla="*/ 831843 h 4687251"/>
              <a:gd name="connsiteX28496" fmla="*/ 1741040 w 8079933"/>
              <a:gd name="connsiteY28496" fmla="*/ 831843 h 4687251"/>
              <a:gd name="connsiteX28497" fmla="*/ 1748419 w 8079933"/>
              <a:gd name="connsiteY28497" fmla="*/ 836390 h 4687251"/>
              <a:gd name="connsiteX28498" fmla="*/ 1756341 w 8079933"/>
              <a:gd name="connsiteY28498" fmla="*/ 836823 h 4687251"/>
              <a:gd name="connsiteX28499" fmla="*/ 1766325 w 8079933"/>
              <a:gd name="connsiteY28499" fmla="*/ 841370 h 4687251"/>
              <a:gd name="connsiteX28500" fmla="*/ 1772402 w 8079933"/>
              <a:gd name="connsiteY28500" fmla="*/ 841696 h 4687251"/>
              <a:gd name="connsiteX28501" fmla="*/ 1772402 w 8079933"/>
              <a:gd name="connsiteY28501" fmla="*/ 839097 h 4687251"/>
              <a:gd name="connsiteX28502" fmla="*/ 1774789 w 8079933"/>
              <a:gd name="connsiteY28502" fmla="*/ 838772 h 4687251"/>
              <a:gd name="connsiteX28503" fmla="*/ 1779021 w 8079933"/>
              <a:gd name="connsiteY28503" fmla="*/ 841154 h 4687251"/>
              <a:gd name="connsiteX28504" fmla="*/ 1778696 w 8079933"/>
              <a:gd name="connsiteY28504" fmla="*/ 844944 h 4687251"/>
              <a:gd name="connsiteX28505" fmla="*/ 1785641 w 8079933"/>
              <a:gd name="connsiteY28505" fmla="*/ 839422 h 4687251"/>
              <a:gd name="connsiteX28506" fmla="*/ 1788028 w 8079933"/>
              <a:gd name="connsiteY28506" fmla="*/ 842129 h 4687251"/>
              <a:gd name="connsiteX28507" fmla="*/ 1790958 w 8079933"/>
              <a:gd name="connsiteY28507" fmla="*/ 841804 h 4687251"/>
              <a:gd name="connsiteX28508" fmla="*/ 1794213 w 8079933"/>
              <a:gd name="connsiteY28508" fmla="*/ 838014 h 4687251"/>
              <a:gd name="connsiteX28509" fmla="*/ 1796275 w 8079933"/>
              <a:gd name="connsiteY28509" fmla="*/ 838231 h 4687251"/>
              <a:gd name="connsiteX28510" fmla="*/ 1796167 w 8079933"/>
              <a:gd name="connsiteY28510" fmla="*/ 840505 h 4687251"/>
              <a:gd name="connsiteX28511" fmla="*/ 1798663 w 8079933"/>
              <a:gd name="connsiteY28511" fmla="*/ 841479 h 4687251"/>
              <a:gd name="connsiteX28512" fmla="*/ 1806259 w 8079933"/>
              <a:gd name="connsiteY28512" fmla="*/ 837582 h 4687251"/>
              <a:gd name="connsiteX28513" fmla="*/ 1819389 w 8079933"/>
              <a:gd name="connsiteY28513" fmla="*/ 832709 h 4687251"/>
              <a:gd name="connsiteX28514" fmla="*/ 1823404 w 8079933"/>
              <a:gd name="connsiteY28514" fmla="*/ 831843 h 4687251"/>
              <a:gd name="connsiteX28515" fmla="*/ 1823187 w 8079933"/>
              <a:gd name="connsiteY28515" fmla="*/ 836390 h 4687251"/>
              <a:gd name="connsiteX28516" fmla="*/ 1821994 w 8079933"/>
              <a:gd name="connsiteY28516" fmla="*/ 838772 h 4687251"/>
              <a:gd name="connsiteX28517" fmla="*/ 1821994 w 8079933"/>
              <a:gd name="connsiteY28517" fmla="*/ 840505 h 4687251"/>
              <a:gd name="connsiteX28518" fmla="*/ 1824164 w 8079933"/>
              <a:gd name="connsiteY28518" fmla="*/ 840613 h 4687251"/>
              <a:gd name="connsiteX28519" fmla="*/ 1824598 w 8079933"/>
              <a:gd name="connsiteY28519" fmla="*/ 845593 h 4687251"/>
              <a:gd name="connsiteX28520" fmla="*/ 1823839 w 8079933"/>
              <a:gd name="connsiteY28520" fmla="*/ 849274 h 4687251"/>
              <a:gd name="connsiteX28521" fmla="*/ 1825032 w 8079933"/>
              <a:gd name="connsiteY28521" fmla="*/ 851764 h 4687251"/>
              <a:gd name="connsiteX28522" fmla="*/ 1826660 w 8079933"/>
              <a:gd name="connsiteY28522" fmla="*/ 852847 h 4687251"/>
              <a:gd name="connsiteX28523" fmla="*/ 1829373 w 8079933"/>
              <a:gd name="connsiteY28523" fmla="*/ 849924 h 4687251"/>
              <a:gd name="connsiteX28524" fmla="*/ 1832303 w 8079933"/>
              <a:gd name="connsiteY28524" fmla="*/ 852523 h 4687251"/>
              <a:gd name="connsiteX28525" fmla="*/ 1831651 w 8079933"/>
              <a:gd name="connsiteY28525" fmla="*/ 856637 h 4687251"/>
              <a:gd name="connsiteX28526" fmla="*/ 1828505 w 8079933"/>
              <a:gd name="connsiteY28526" fmla="*/ 864216 h 4687251"/>
              <a:gd name="connsiteX28527" fmla="*/ 1829590 w 8079933"/>
              <a:gd name="connsiteY28527" fmla="*/ 869196 h 4687251"/>
              <a:gd name="connsiteX28528" fmla="*/ 1830892 w 8079933"/>
              <a:gd name="connsiteY28528" fmla="*/ 870171 h 4687251"/>
              <a:gd name="connsiteX28529" fmla="*/ 1834365 w 8079933"/>
              <a:gd name="connsiteY28529" fmla="*/ 866814 h 4687251"/>
              <a:gd name="connsiteX28530" fmla="*/ 1835016 w 8079933"/>
              <a:gd name="connsiteY28530" fmla="*/ 860968 h 4687251"/>
              <a:gd name="connsiteX28531" fmla="*/ 1836752 w 8079933"/>
              <a:gd name="connsiteY28531" fmla="*/ 858045 h 4687251"/>
              <a:gd name="connsiteX28532" fmla="*/ 1838163 w 8079933"/>
              <a:gd name="connsiteY28532" fmla="*/ 858045 h 4687251"/>
              <a:gd name="connsiteX28533" fmla="*/ 1837620 w 8079933"/>
              <a:gd name="connsiteY28533" fmla="*/ 864324 h 4687251"/>
              <a:gd name="connsiteX28534" fmla="*/ 1834365 w 8079933"/>
              <a:gd name="connsiteY28534" fmla="*/ 872120 h 4687251"/>
              <a:gd name="connsiteX28535" fmla="*/ 1830892 w 8079933"/>
              <a:gd name="connsiteY28535" fmla="*/ 877316 h 4687251"/>
              <a:gd name="connsiteX28536" fmla="*/ 1830567 w 8079933"/>
              <a:gd name="connsiteY28536" fmla="*/ 885653 h 4687251"/>
              <a:gd name="connsiteX28537" fmla="*/ 1833822 w 8079933"/>
              <a:gd name="connsiteY28537" fmla="*/ 890851 h 4687251"/>
              <a:gd name="connsiteX28538" fmla="*/ 1834039 w 8079933"/>
              <a:gd name="connsiteY28538" fmla="*/ 899079 h 4687251"/>
              <a:gd name="connsiteX28539" fmla="*/ 1832303 w 8079933"/>
              <a:gd name="connsiteY28539" fmla="*/ 904926 h 4687251"/>
              <a:gd name="connsiteX28540" fmla="*/ 1837294 w 8079933"/>
              <a:gd name="connsiteY28540" fmla="*/ 908498 h 4687251"/>
              <a:gd name="connsiteX28541" fmla="*/ 1837294 w 8079933"/>
              <a:gd name="connsiteY28541" fmla="*/ 911530 h 4687251"/>
              <a:gd name="connsiteX28542" fmla="*/ 1835233 w 8079933"/>
              <a:gd name="connsiteY28542" fmla="*/ 915428 h 4687251"/>
              <a:gd name="connsiteX28543" fmla="*/ 1837294 w 8079933"/>
              <a:gd name="connsiteY28543" fmla="*/ 917810 h 4687251"/>
              <a:gd name="connsiteX28544" fmla="*/ 1839899 w 8079933"/>
              <a:gd name="connsiteY28544" fmla="*/ 924847 h 4687251"/>
              <a:gd name="connsiteX28545" fmla="*/ 1840767 w 8079933"/>
              <a:gd name="connsiteY28545" fmla="*/ 939681 h 4687251"/>
              <a:gd name="connsiteX28546" fmla="*/ 1841093 w 8079933"/>
              <a:gd name="connsiteY28546" fmla="*/ 924847 h 4687251"/>
              <a:gd name="connsiteX28547" fmla="*/ 1838488 w 8079933"/>
              <a:gd name="connsiteY28547" fmla="*/ 913154 h 4687251"/>
              <a:gd name="connsiteX28548" fmla="*/ 1839899 w 8079933"/>
              <a:gd name="connsiteY28548" fmla="*/ 902869 h 4687251"/>
              <a:gd name="connsiteX28549" fmla="*/ 1845433 w 8079933"/>
              <a:gd name="connsiteY28549" fmla="*/ 892908 h 4687251"/>
              <a:gd name="connsiteX28550" fmla="*/ 1848689 w 8079933"/>
              <a:gd name="connsiteY28550" fmla="*/ 893016 h 4687251"/>
              <a:gd name="connsiteX28551" fmla="*/ 1848689 w 8079933"/>
              <a:gd name="connsiteY28551" fmla="*/ 897347 h 4687251"/>
              <a:gd name="connsiteX28552" fmla="*/ 1846952 w 8079933"/>
              <a:gd name="connsiteY28552" fmla="*/ 897996 h 4687251"/>
              <a:gd name="connsiteX28553" fmla="*/ 1846302 w 8079933"/>
              <a:gd name="connsiteY28553" fmla="*/ 901894 h 4687251"/>
              <a:gd name="connsiteX28554" fmla="*/ 1847929 w 8079933"/>
              <a:gd name="connsiteY28554" fmla="*/ 903085 h 4687251"/>
              <a:gd name="connsiteX28555" fmla="*/ 1851076 w 8079933"/>
              <a:gd name="connsiteY28555" fmla="*/ 901028 h 4687251"/>
              <a:gd name="connsiteX28556" fmla="*/ 1852270 w 8079933"/>
              <a:gd name="connsiteY28556" fmla="*/ 902869 h 4687251"/>
              <a:gd name="connsiteX28557" fmla="*/ 1854331 w 8079933"/>
              <a:gd name="connsiteY28557" fmla="*/ 900703 h 4687251"/>
              <a:gd name="connsiteX28558" fmla="*/ 1854331 w 8079933"/>
              <a:gd name="connsiteY28558" fmla="*/ 895831 h 4687251"/>
              <a:gd name="connsiteX28559" fmla="*/ 1851618 w 8079933"/>
              <a:gd name="connsiteY28559" fmla="*/ 891500 h 4687251"/>
              <a:gd name="connsiteX28560" fmla="*/ 1851402 w 8079933"/>
              <a:gd name="connsiteY28560" fmla="*/ 888793 h 4687251"/>
              <a:gd name="connsiteX28561" fmla="*/ 1855959 w 8079933"/>
              <a:gd name="connsiteY28561" fmla="*/ 887602 h 4687251"/>
              <a:gd name="connsiteX28562" fmla="*/ 1857153 w 8079933"/>
              <a:gd name="connsiteY28562" fmla="*/ 885112 h 4687251"/>
              <a:gd name="connsiteX28563" fmla="*/ 1852813 w 8079933"/>
              <a:gd name="connsiteY28563" fmla="*/ 881755 h 4687251"/>
              <a:gd name="connsiteX28564" fmla="*/ 1853138 w 8079933"/>
              <a:gd name="connsiteY28564" fmla="*/ 878508 h 4687251"/>
              <a:gd name="connsiteX28565" fmla="*/ 1855417 w 8079933"/>
              <a:gd name="connsiteY28565" fmla="*/ 869521 h 4687251"/>
              <a:gd name="connsiteX28566" fmla="*/ 1859541 w 8079933"/>
              <a:gd name="connsiteY28566" fmla="*/ 857503 h 4687251"/>
              <a:gd name="connsiteX28567" fmla="*/ 1858456 w 8079933"/>
              <a:gd name="connsiteY28567" fmla="*/ 853497 h 4687251"/>
              <a:gd name="connsiteX28568" fmla="*/ 1858456 w 8079933"/>
              <a:gd name="connsiteY28568" fmla="*/ 849708 h 4687251"/>
              <a:gd name="connsiteX28569" fmla="*/ 1861602 w 8079933"/>
              <a:gd name="connsiteY28569" fmla="*/ 847325 h 4687251"/>
              <a:gd name="connsiteX28570" fmla="*/ 1868330 w 8079933"/>
              <a:gd name="connsiteY28570" fmla="*/ 846676 h 4687251"/>
              <a:gd name="connsiteX28571" fmla="*/ 1868656 w 8079933"/>
              <a:gd name="connsiteY28571" fmla="*/ 845160 h 4687251"/>
              <a:gd name="connsiteX28572" fmla="*/ 1870718 w 8079933"/>
              <a:gd name="connsiteY28572" fmla="*/ 842345 h 4687251"/>
              <a:gd name="connsiteX28573" fmla="*/ 1873973 w 8079933"/>
              <a:gd name="connsiteY28573" fmla="*/ 841804 h 4687251"/>
              <a:gd name="connsiteX28574" fmla="*/ 1876035 w 8079933"/>
              <a:gd name="connsiteY28574" fmla="*/ 844294 h 4687251"/>
              <a:gd name="connsiteX28575" fmla="*/ 1879507 w 8079933"/>
              <a:gd name="connsiteY28575" fmla="*/ 842670 h 4687251"/>
              <a:gd name="connsiteX28576" fmla="*/ 1882437 w 8079933"/>
              <a:gd name="connsiteY28576" fmla="*/ 838772 h 4687251"/>
              <a:gd name="connsiteX28577" fmla="*/ 1884717 w 8079933"/>
              <a:gd name="connsiteY28577" fmla="*/ 838556 h 4687251"/>
              <a:gd name="connsiteX28578" fmla="*/ 1884717 w 8079933"/>
              <a:gd name="connsiteY28578" fmla="*/ 841804 h 4687251"/>
              <a:gd name="connsiteX28579" fmla="*/ 1887103 w 8079933"/>
              <a:gd name="connsiteY28579" fmla="*/ 840613 h 4687251"/>
              <a:gd name="connsiteX28580" fmla="*/ 1892313 w 8079933"/>
              <a:gd name="connsiteY28580" fmla="*/ 839747 h 4687251"/>
              <a:gd name="connsiteX28581" fmla="*/ 1894700 w 8079933"/>
              <a:gd name="connsiteY28581" fmla="*/ 835091 h 4687251"/>
              <a:gd name="connsiteX28582" fmla="*/ 1897413 w 8079933"/>
              <a:gd name="connsiteY28582" fmla="*/ 835091 h 4687251"/>
              <a:gd name="connsiteX28583" fmla="*/ 1899041 w 8079933"/>
              <a:gd name="connsiteY28583" fmla="*/ 838772 h 4687251"/>
              <a:gd name="connsiteX28584" fmla="*/ 1901211 w 8079933"/>
              <a:gd name="connsiteY28584" fmla="*/ 839313 h 4687251"/>
              <a:gd name="connsiteX28585" fmla="*/ 1902404 w 8079933"/>
              <a:gd name="connsiteY28585" fmla="*/ 845268 h 4687251"/>
              <a:gd name="connsiteX28586" fmla="*/ 1902296 w 8079933"/>
              <a:gd name="connsiteY28586" fmla="*/ 839313 h 4687251"/>
              <a:gd name="connsiteX28587" fmla="*/ 1900668 w 8079933"/>
              <a:gd name="connsiteY28587" fmla="*/ 834117 h 4687251"/>
              <a:gd name="connsiteX28588" fmla="*/ 1904467 w 8079933"/>
              <a:gd name="connsiteY28588" fmla="*/ 826862 h 4687251"/>
              <a:gd name="connsiteX28589" fmla="*/ 1907830 w 8079933"/>
              <a:gd name="connsiteY28589" fmla="*/ 826754 h 4687251"/>
              <a:gd name="connsiteX28590" fmla="*/ 1910001 w 8079933"/>
              <a:gd name="connsiteY28590" fmla="*/ 828486 h 4687251"/>
              <a:gd name="connsiteX28591" fmla="*/ 1914016 w 8079933"/>
              <a:gd name="connsiteY28591" fmla="*/ 828270 h 4687251"/>
              <a:gd name="connsiteX28592" fmla="*/ 1916620 w 8079933"/>
              <a:gd name="connsiteY28592" fmla="*/ 826538 h 4687251"/>
              <a:gd name="connsiteX28593" fmla="*/ 1919442 w 8079933"/>
              <a:gd name="connsiteY28593" fmla="*/ 828811 h 4687251"/>
              <a:gd name="connsiteX28594" fmla="*/ 1924867 w 8079933"/>
              <a:gd name="connsiteY28594" fmla="*/ 822964 h 4687251"/>
              <a:gd name="connsiteX28595" fmla="*/ 1923131 w 8079933"/>
              <a:gd name="connsiteY28595" fmla="*/ 819825 h 4687251"/>
              <a:gd name="connsiteX28596" fmla="*/ 1926170 w 8079933"/>
              <a:gd name="connsiteY28596" fmla="*/ 816577 h 4687251"/>
              <a:gd name="connsiteX28597" fmla="*/ 1921937 w 8079933"/>
              <a:gd name="connsiteY28597" fmla="*/ 816252 h 4687251"/>
              <a:gd name="connsiteX28598" fmla="*/ 1921395 w 8079933"/>
              <a:gd name="connsiteY28598" fmla="*/ 814844 h 4687251"/>
              <a:gd name="connsiteX28599" fmla="*/ 1917814 w 8079933"/>
              <a:gd name="connsiteY28599" fmla="*/ 815061 h 4687251"/>
              <a:gd name="connsiteX28600" fmla="*/ 1908156 w 8079933"/>
              <a:gd name="connsiteY28600" fmla="*/ 818417 h 4687251"/>
              <a:gd name="connsiteX28601" fmla="*/ 1905335 w 8079933"/>
              <a:gd name="connsiteY28601" fmla="*/ 818093 h 4687251"/>
              <a:gd name="connsiteX28602" fmla="*/ 1904032 w 8079933"/>
              <a:gd name="connsiteY28602" fmla="*/ 821341 h 4687251"/>
              <a:gd name="connsiteX28603" fmla="*/ 1899801 w 8079933"/>
              <a:gd name="connsiteY28603" fmla="*/ 821774 h 4687251"/>
              <a:gd name="connsiteX28604" fmla="*/ 1899801 w 8079933"/>
              <a:gd name="connsiteY28604" fmla="*/ 824697 h 4687251"/>
              <a:gd name="connsiteX28605" fmla="*/ 1898824 w 8079933"/>
              <a:gd name="connsiteY28605" fmla="*/ 827079 h 4687251"/>
              <a:gd name="connsiteX28606" fmla="*/ 1894808 w 8079933"/>
              <a:gd name="connsiteY28606" fmla="*/ 822207 h 4687251"/>
              <a:gd name="connsiteX28607" fmla="*/ 1895351 w 8079933"/>
              <a:gd name="connsiteY28607" fmla="*/ 818417 h 4687251"/>
              <a:gd name="connsiteX28608" fmla="*/ 1892638 w 8079933"/>
              <a:gd name="connsiteY28608" fmla="*/ 820691 h 4687251"/>
              <a:gd name="connsiteX28609" fmla="*/ 1891553 w 8079933"/>
              <a:gd name="connsiteY28609" fmla="*/ 824805 h 4687251"/>
              <a:gd name="connsiteX28610" fmla="*/ 1888297 w 8079933"/>
              <a:gd name="connsiteY28610" fmla="*/ 826213 h 4687251"/>
              <a:gd name="connsiteX28611" fmla="*/ 1883849 w 8079933"/>
              <a:gd name="connsiteY28611" fmla="*/ 823290 h 4687251"/>
              <a:gd name="connsiteX28612" fmla="*/ 1880159 w 8079933"/>
              <a:gd name="connsiteY28612" fmla="*/ 823290 h 4687251"/>
              <a:gd name="connsiteX28613" fmla="*/ 1879507 w 8079933"/>
              <a:gd name="connsiteY28613" fmla="*/ 821016 h 4687251"/>
              <a:gd name="connsiteX28614" fmla="*/ 1876469 w 8079933"/>
              <a:gd name="connsiteY28614" fmla="*/ 821882 h 4687251"/>
              <a:gd name="connsiteX28615" fmla="*/ 1875926 w 8079933"/>
              <a:gd name="connsiteY28615" fmla="*/ 824697 h 4687251"/>
              <a:gd name="connsiteX28616" fmla="*/ 1879182 w 8079933"/>
              <a:gd name="connsiteY28616" fmla="*/ 827945 h 4687251"/>
              <a:gd name="connsiteX28617" fmla="*/ 1879182 w 8079933"/>
              <a:gd name="connsiteY28617" fmla="*/ 830652 h 4687251"/>
              <a:gd name="connsiteX28618" fmla="*/ 1874190 w 8079933"/>
              <a:gd name="connsiteY28618" fmla="*/ 832276 h 4687251"/>
              <a:gd name="connsiteX28619" fmla="*/ 1872780 w 8079933"/>
              <a:gd name="connsiteY28619" fmla="*/ 830002 h 4687251"/>
              <a:gd name="connsiteX28620" fmla="*/ 1866377 w 8079933"/>
              <a:gd name="connsiteY28620" fmla="*/ 829136 h 4687251"/>
              <a:gd name="connsiteX28621" fmla="*/ 1865509 w 8079933"/>
              <a:gd name="connsiteY28621" fmla="*/ 826754 h 4687251"/>
              <a:gd name="connsiteX28622" fmla="*/ 1868547 w 8079933"/>
              <a:gd name="connsiteY28622" fmla="*/ 824156 h 4687251"/>
              <a:gd name="connsiteX28623" fmla="*/ 1869850 w 8079933"/>
              <a:gd name="connsiteY28623" fmla="*/ 819825 h 4687251"/>
              <a:gd name="connsiteX28624" fmla="*/ 1868005 w 8079933"/>
              <a:gd name="connsiteY28624" fmla="*/ 819609 h 4687251"/>
              <a:gd name="connsiteX28625" fmla="*/ 1865184 w 8079933"/>
              <a:gd name="connsiteY28625" fmla="*/ 821341 h 4687251"/>
              <a:gd name="connsiteX28626" fmla="*/ 1861602 w 8079933"/>
              <a:gd name="connsiteY28626" fmla="*/ 819500 h 4687251"/>
              <a:gd name="connsiteX28627" fmla="*/ 1863447 w 8079933"/>
              <a:gd name="connsiteY28627" fmla="*/ 815711 h 4687251"/>
              <a:gd name="connsiteX28628" fmla="*/ 1867788 w 8079933"/>
              <a:gd name="connsiteY28628" fmla="*/ 813112 h 4687251"/>
              <a:gd name="connsiteX28629" fmla="*/ 1873864 w 8079933"/>
              <a:gd name="connsiteY28629" fmla="*/ 804558 h 4687251"/>
              <a:gd name="connsiteX28630" fmla="*/ 1878097 w 8079933"/>
              <a:gd name="connsiteY28630" fmla="*/ 804558 h 4687251"/>
              <a:gd name="connsiteX28631" fmla="*/ 1883306 w 8079933"/>
              <a:gd name="connsiteY28631" fmla="*/ 805966 h 4687251"/>
              <a:gd name="connsiteX28632" fmla="*/ 1900668 w 8079933"/>
              <a:gd name="connsiteY28632" fmla="*/ 805209 h 4687251"/>
              <a:gd name="connsiteX28633" fmla="*/ 1912931 w 8079933"/>
              <a:gd name="connsiteY28633" fmla="*/ 801419 h 4687251"/>
              <a:gd name="connsiteX28634" fmla="*/ 1916186 w 8079933"/>
              <a:gd name="connsiteY28634" fmla="*/ 802177 h 4687251"/>
              <a:gd name="connsiteX28635" fmla="*/ 1922263 w 8079933"/>
              <a:gd name="connsiteY28635" fmla="*/ 800011 h 4687251"/>
              <a:gd name="connsiteX28636" fmla="*/ 1924433 w 8079933"/>
              <a:gd name="connsiteY28636" fmla="*/ 803476 h 4687251"/>
              <a:gd name="connsiteX28637" fmla="*/ 1927363 w 8079933"/>
              <a:gd name="connsiteY28637" fmla="*/ 806074 h 4687251"/>
              <a:gd name="connsiteX28638" fmla="*/ 1929642 w 8079933"/>
              <a:gd name="connsiteY28638" fmla="*/ 806291 h 4687251"/>
              <a:gd name="connsiteX28639" fmla="*/ 1931053 w 8079933"/>
              <a:gd name="connsiteY28639" fmla="*/ 810080 h 4687251"/>
              <a:gd name="connsiteX28640" fmla="*/ 1930185 w 8079933"/>
              <a:gd name="connsiteY28640" fmla="*/ 819609 h 4687251"/>
              <a:gd name="connsiteX28641" fmla="*/ 1928991 w 8079933"/>
              <a:gd name="connsiteY28641" fmla="*/ 822748 h 4687251"/>
              <a:gd name="connsiteX28642" fmla="*/ 1931270 w 8079933"/>
              <a:gd name="connsiteY28642" fmla="*/ 824156 h 4687251"/>
              <a:gd name="connsiteX28643" fmla="*/ 1930510 w 8079933"/>
              <a:gd name="connsiteY28643" fmla="*/ 825996 h 4687251"/>
              <a:gd name="connsiteX28644" fmla="*/ 1926712 w 8079933"/>
              <a:gd name="connsiteY28644" fmla="*/ 828486 h 4687251"/>
              <a:gd name="connsiteX28645" fmla="*/ 1927255 w 8079933"/>
              <a:gd name="connsiteY28645" fmla="*/ 830111 h 4687251"/>
              <a:gd name="connsiteX28646" fmla="*/ 1928991 w 8079933"/>
              <a:gd name="connsiteY28646" fmla="*/ 831518 h 4687251"/>
              <a:gd name="connsiteX28647" fmla="*/ 1930185 w 8079933"/>
              <a:gd name="connsiteY28647" fmla="*/ 840829 h 4687251"/>
              <a:gd name="connsiteX28648" fmla="*/ 1933766 w 8079933"/>
              <a:gd name="connsiteY28648" fmla="*/ 840937 h 4687251"/>
              <a:gd name="connsiteX28649" fmla="*/ 1936696 w 8079933"/>
              <a:gd name="connsiteY28649" fmla="*/ 842345 h 4687251"/>
              <a:gd name="connsiteX28650" fmla="*/ 1936696 w 8079933"/>
              <a:gd name="connsiteY28650" fmla="*/ 844727 h 4687251"/>
              <a:gd name="connsiteX28651" fmla="*/ 1932898 w 8079933"/>
              <a:gd name="connsiteY28651" fmla="*/ 847542 h 4687251"/>
              <a:gd name="connsiteX28652" fmla="*/ 1932572 w 8079933"/>
              <a:gd name="connsiteY28652" fmla="*/ 851115 h 4687251"/>
              <a:gd name="connsiteX28653" fmla="*/ 1930728 w 8079933"/>
              <a:gd name="connsiteY28653" fmla="*/ 854255 h 4687251"/>
              <a:gd name="connsiteX28654" fmla="*/ 1935394 w 8079933"/>
              <a:gd name="connsiteY28654" fmla="*/ 854039 h 4687251"/>
              <a:gd name="connsiteX28655" fmla="*/ 1939626 w 8079933"/>
              <a:gd name="connsiteY28655" fmla="*/ 855988 h 4687251"/>
              <a:gd name="connsiteX28656" fmla="*/ 1940494 w 8079933"/>
              <a:gd name="connsiteY28656" fmla="*/ 857719 h 4687251"/>
              <a:gd name="connsiteX28657" fmla="*/ 1942447 w 8079933"/>
              <a:gd name="connsiteY28657" fmla="*/ 857178 h 4687251"/>
              <a:gd name="connsiteX28658" fmla="*/ 1945703 w 8079933"/>
              <a:gd name="connsiteY28658" fmla="*/ 860751 h 4687251"/>
              <a:gd name="connsiteX28659" fmla="*/ 1950694 w 8079933"/>
              <a:gd name="connsiteY28659" fmla="*/ 860968 h 4687251"/>
              <a:gd name="connsiteX28660" fmla="*/ 1954818 w 8079933"/>
              <a:gd name="connsiteY28660" fmla="*/ 858478 h 4687251"/>
              <a:gd name="connsiteX28661" fmla="*/ 1956554 w 8079933"/>
              <a:gd name="connsiteY28661" fmla="*/ 859560 h 4687251"/>
              <a:gd name="connsiteX28662" fmla="*/ 1956229 w 8079933"/>
              <a:gd name="connsiteY28662" fmla="*/ 862808 h 4687251"/>
              <a:gd name="connsiteX28663" fmla="*/ 1957423 w 8079933"/>
              <a:gd name="connsiteY28663" fmla="*/ 864216 h 4687251"/>
              <a:gd name="connsiteX28664" fmla="*/ 1959592 w 8079933"/>
              <a:gd name="connsiteY28664" fmla="*/ 863349 h 4687251"/>
              <a:gd name="connsiteX28665" fmla="*/ 1962089 w 8079933"/>
              <a:gd name="connsiteY28665" fmla="*/ 866273 h 4687251"/>
              <a:gd name="connsiteX28666" fmla="*/ 1960787 w 8079933"/>
              <a:gd name="connsiteY28666" fmla="*/ 868547 h 4687251"/>
              <a:gd name="connsiteX28667" fmla="*/ 1960787 w 8079933"/>
              <a:gd name="connsiteY28667" fmla="*/ 871362 h 4687251"/>
              <a:gd name="connsiteX28668" fmla="*/ 1962849 w 8079933"/>
              <a:gd name="connsiteY28668" fmla="*/ 872228 h 4687251"/>
              <a:gd name="connsiteX28669" fmla="*/ 1963825 w 8079933"/>
              <a:gd name="connsiteY28669" fmla="*/ 875151 h 4687251"/>
              <a:gd name="connsiteX28670" fmla="*/ 1970336 w 8079933"/>
              <a:gd name="connsiteY28670" fmla="*/ 881431 h 4687251"/>
              <a:gd name="connsiteX28671" fmla="*/ 1970336 w 8079933"/>
              <a:gd name="connsiteY28671" fmla="*/ 884787 h 4687251"/>
              <a:gd name="connsiteX28672" fmla="*/ 1975436 w 8079933"/>
              <a:gd name="connsiteY28672" fmla="*/ 881214 h 4687251"/>
              <a:gd name="connsiteX28673" fmla="*/ 1977172 w 8079933"/>
              <a:gd name="connsiteY28673" fmla="*/ 882622 h 4687251"/>
              <a:gd name="connsiteX28674" fmla="*/ 1977932 w 8079933"/>
              <a:gd name="connsiteY28674" fmla="*/ 886736 h 4687251"/>
              <a:gd name="connsiteX28675" fmla="*/ 1979126 w 8079933"/>
              <a:gd name="connsiteY28675" fmla="*/ 887277 h 4687251"/>
              <a:gd name="connsiteX28676" fmla="*/ 1984118 w 8079933"/>
              <a:gd name="connsiteY28676" fmla="*/ 891392 h 4687251"/>
              <a:gd name="connsiteX28677" fmla="*/ 1989435 w 8079933"/>
              <a:gd name="connsiteY28677" fmla="*/ 888577 h 4687251"/>
              <a:gd name="connsiteX28678" fmla="*/ 1997357 w 8079933"/>
              <a:gd name="connsiteY28678" fmla="*/ 888902 h 4687251"/>
              <a:gd name="connsiteX28679" fmla="*/ 1999744 w 8079933"/>
              <a:gd name="connsiteY28679" fmla="*/ 885112 h 4687251"/>
              <a:gd name="connsiteX28680" fmla="*/ 2006146 w 8079933"/>
              <a:gd name="connsiteY28680" fmla="*/ 881755 h 4687251"/>
              <a:gd name="connsiteX28681" fmla="*/ 2007557 w 8079933"/>
              <a:gd name="connsiteY28681" fmla="*/ 881755 h 4687251"/>
              <a:gd name="connsiteX28682" fmla="*/ 2008968 w 8079933"/>
              <a:gd name="connsiteY28682" fmla="*/ 884463 h 4687251"/>
              <a:gd name="connsiteX28683" fmla="*/ 2018192 w 8079933"/>
              <a:gd name="connsiteY28683" fmla="*/ 883921 h 4687251"/>
              <a:gd name="connsiteX28684" fmla="*/ 2026113 w 8079933"/>
              <a:gd name="connsiteY28684" fmla="*/ 890200 h 4687251"/>
              <a:gd name="connsiteX28685" fmla="*/ 2029694 w 8079933"/>
              <a:gd name="connsiteY28685" fmla="*/ 891175 h 4687251"/>
              <a:gd name="connsiteX28686" fmla="*/ 2033384 w 8079933"/>
              <a:gd name="connsiteY28686" fmla="*/ 894640 h 4687251"/>
              <a:gd name="connsiteX28687" fmla="*/ 2035446 w 8079933"/>
              <a:gd name="connsiteY28687" fmla="*/ 892908 h 4687251"/>
              <a:gd name="connsiteX28688" fmla="*/ 2044019 w 8079933"/>
              <a:gd name="connsiteY28688" fmla="*/ 891067 h 4687251"/>
              <a:gd name="connsiteX28689" fmla="*/ 2047166 w 8079933"/>
              <a:gd name="connsiteY28689" fmla="*/ 895181 h 4687251"/>
              <a:gd name="connsiteX28690" fmla="*/ 2049553 w 8079933"/>
              <a:gd name="connsiteY28690" fmla="*/ 893557 h 4687251"/>
              <a:gd name="connsiteX28691" fmla="*/ 2048902 w 8079933"/>
              <a:gd name="connsiteY28691" fmla="*/ 888468 h 4687251"/>
              <a:gd name="connsiteX28692" fmla="*/ 2045213 w 8079933"/>
              <a:gd name="connsiteY28692" fmla="*/ 884354 h 4687251"/>
              <a:gd name="connsiteX28693" fmla="*/ 2043910 w 8079933"/>
              <a:gd name="connsiteY28693" fmla="*/ 877749 h 4687251"/>
              <a:gd name="connsiteX28694" fmla="*/ 2045646 w 8079933"/>
              <a:gd name="connsiteY28694" fmla="*/ 875692 h 4687251"/>
              <a:gd name="connsiteX28695" fmla="*/ 2048359 w 8079933"/>
              <a:gd name="connsiteY28695" fmla="*/ 876234 h 4687251"/>
              <a:gd name="connsiteX28696" fmla="*/ 2050964 w 8079933"/>
              <a:gd name="connsiteY28696" fmla="*/ 883921 h 4687251"/>
              <a:gd name="connsiteX28697" fmla="*/ 2052158 w 8079933"/>
              <a:gd name="connsiteY28697" fmla="*/ 890200 h 4687251"/>
              <a:gd name="connsiteX28698" fmla="*/ 2058669 w 8079933"/>
              <a:gd name="connsiteY28698" fmla="*/ 897996 h 4687251"/>
              <a:gd name="connsiteX28699" fmla="*/ 2061924 w 8079933"/>
              <a:gd name="connsiteY28699" fmla="*/ 900703 h 4687251"/>
              <a:gd name="connsiteX28700" fmla="*/ 2063552 w 8079933"/>
              <a:gd name="connsiteY28700" fmla="*/ 906008 h 4687251"/>
              <a:gd name="connsiteX28701" fmla="*/ 2063877 w 8079933"/>
              <a:gd name="connsiteY28701" fmla="*/ 896155 h 4687251"/>
              <a:gd name="connsiteX28702" fmla="*/ 2061490 w 8079933"/>
              <a:gd name="connsiteY28702" fmla="*/ 892908 h 4687251"/>
              <a:gd name="connsiteX28703" fmla="*/ 2054871 w 8079933"/>
              <a:gd name="connsiteY28703" fmla="*/ 890200 h 4687251"/>
              <a:gd name="connsiteX28704" fmla="*/ 2053351 w 8079933"/>
              <a:gd name="connsiteY28704" fmla="*/ 883271 h 4687251"/>
              <a:gd name="connsiteX28705" fmla="*/ 2050964 w 8079933"/>
              <a:gd name="connsiteY28705" fmla="*/ 873852 h 4687251"/>
              <a:gd name="connsiteX28706" fmla="*/ 2052158 w 8079933"/>
              <a:gd name="connsiteY28706" fmla="*/ 870604 h 4687251"/>
              <a:gd name="connsiteX28707" fmla="*/ 2054002 w 8079933"/>
              <a:gd name="connsiteY28707" fmla="*/ 871037 h 4687251"/>
              <a:gd name="connsiteX28708" fmla="*/ 2054219 w 8079933"/>
              <a:gd name="connsiteY28708" fmla="*/ 874176 h 4687251"/>
              <a:gd name="connsiteX28709" fmla="*/ 2056064 w 8079933"/>
              <a:gd name="connsiteY28709" fmla="*/ 876017 h 4687251"/>
              <a:gd name="connsiteX28710" fmla="*/ 2058669 w 8079933"/>
              <a:gd name="connsiteY28710" fmla="*/ 873960 h 4687251"/>
              <a:gd name="connsiteX28711" fmla="*/ 2058669 w 8079933"/>
              <a:gd name="connsiteY28711" fmla="*/ 870712 h 4687251"/>
              <a:gd name="connsiteX28712" fmla="*/ 2056607 w 8079933"/>
              <a:gd name="connsiteY28712" fmla="*/ 866814 h 4687251"/>
              <a:gd name="connsiteX28713" fmla="*/ 2058234 w 8079933"/>
              <a:gd name="connsiteY28713" fmla="*/ 864216 h 4687251"/>
              <a:gd name="connsiteX28714" fmla="*/ 2056824 w 8079933"/>
              <a:gd name="connsiteY28714" fmla="*/ 861617 h 4687251"/>
              <a:gd name="connsiteX28715" fmla="*/ 2057692 w 8079933"/>
              <a:gd name="connsiteY28715" fmla="*/ 858694 h 4687251"/>
              <a:gd name="connsiteX28716" fmla="*/ 2061273 w 8079933"/>
              <a:gd name="connsiteY28716" fmla="*/ 858911 h 4687251"/>
              <a:gd name="connsiteX28717" fmla="*/ 2063877 w 8079933"/>
              <a:gd name="connsiteY28717" fmla="*/ 862484 h 4687251"/>
              <a:gd name="connsiteX28718" fmla="*/ 2063660 w 8079933"/>
              <a:gd name="connsiteY28718" fmla="*/ 865515 h 4687251"/>
              <a:gd name="connsiteX28719" fmla="*/ 2065722 w 8079933"/>
              <a:gd name="connsiteY28719" fmla="*/ 866814 h 4687251"/>
              <a:gd name="connsiteX28720" fmla="*/ 2066590 w 8079933"/>
              <a:gd name="connsiteY28720" fmla="*/ 864865 h 4687251"/>
              <a:gd name="connsiteX28721" fmla="*/ 2071474 w 8079933"/>
              <a:gd name="connsiteY28721" fmla="*/ 862159 h 4687251"/>
              <a:gd name="connsiteX28722" fmla="*/ 2073210 w 8079933"/>
              <a:gd name="connsiteY28722" fmla="*/ 857286 h 4687251"/>
              <a:gd name="connsiteX28723" fmla="*/ 2077334 w 8079933"/>
              <a:gd name="connsiteY28723" fmla="*/ 857286 h 4687251"/>
              <a:gd name="connsiteX28724" fmla="*/ 2079504 w 8079933"/>
              <a:gd name="connsiteY28724" fmla="*/ 861292 h 4687251"/>
              <a:gd name="connsiteX28725" fmla="*/ 2077984 w 8079933"/>
              <a:gd name="connsiteY28725" fmla="*/ 864000 h 4687251"/>
              <a:gd name="connsiteX28726" fmla="*/ 2077984 w 8079933"/>
              <a:gd name="connsiteY28726" fmla="*/ 866814 h 4687251"/>
              <a:gd name="connsiteX28727" fmla="*/ 2079179 w 8079933"/>
              <a:gd name="connsiteY28727" fmla="*/ 863674 h 4687251"/>
              <a:gd name="connsiteX28728" fmla="*/ 2081565 w 8079933"/>
              <a:gd name="connsiteY28728" fmla="*/ 863025 h 4687251"/>
              <a:gd name="connsiteX28729" fmla="*/ 2085255 w 8079933"/>
              <a:gd name="connsiteY28729" fmla="*/ 866056 h 4687251"/>
              <a:gd name="connsiteX28730" fmla="*/ 2084495 w 8079933"/>
              <a:gd name="connsiteY28730" fmla="*/ 871362 h 4687251"/>
              <a:gd name="connsiteX28731" fmla="*/ 2082976 w 8079933"/>
              <a:gd name="connsiteY28731" fmla="*/ 874502 h 4687251"/>
              <a:gd name="connsiteX28732" fmla="*/ 2085798 w 8079933"/>
              <a:gd name="connsiteY28732" fmla="*/ 877749 h 4687251"/>
              <a:gd name="connsiteX28733" fmla="*/ 2089596 w 8079933"/>
              <a:gd name="connsiteY28733" fmla="*/ 876775 h 4687251"/>
              <a:gd name="connsiteX28734" fmla="*/ 2092634 w 8079933"/>
              <a:gd name="connsiteY28734" fmla="*/ 878508 h 4687251"/>
              <a:gd name="connsiteX28735" fmla="*/ 2091441 w 8079933"/>
              <a:gd name="connsiteY28735" fmla="*/ 882188 h 4687251"/>
              <a:gd name="connsiteX28736" fmla="*/ 2085906 w 8079933"/>
              <a:gd name="connsiteY28736" fmla="*/ 884463 h 4687251"/>
              <a:gd name="connsiteX28737" fmla="*/ 2085038 w 8079933"/>
              <a:gd name="connsiteY28737" fmla="*/ 886303 h 4687251"/>
              <a:gd name="connsiteX28738" fmla="*/ 2088294 w 8079933"/>
              <a:gd name="connsiteY28738" fmla="*/ 887710 h 4687251"/>
              <a:gd name="connsiteX28739" fmla="*/ 2093719 w 8079933"/>
              <a:gd name="connsiteY28739" fmla="*/ 884137 h 4687251"/>
              <a:gd name="connsiteX28740" fmla="*/ 2096649 w 8079933"/>
              <a:gd name="connsiteY28740" fmla="*/ 879374 h 4687251"/>
              <a:gd name="connsiteX28741" fmla="*/ 2102510 w 8079933"/>
              <a:gd name="connsiteY28741" fmla="*/ 877749 h 4687251"/>
              <a:gd name="connsiteX28742" fmla="*/ 2107284 w 8079933"/>
              <a:gd name="connsiteY28742" fmla="*/ 878291 h 4687251"/>
              <a:gd name="connsiteX28743" fmla="*/ 2107176 w 8079933"/>
              <a:gd name="connsiteY28743" fmla="*/ 880240 h 4687251"/>
              <a:gd name="connsiteX28744" fmla="*/ 2103811 w 8079933"/>
              <a:gd name="connsiteY28744" fmla="*/ 881214 h 4687251"/>
              <a:gd name="connsiteX28745" fmla="*/ 2100882 w 8079933"/>
              <a:gd name="connsiteY28745" fmla="*/ 883813 h 4687251"/>
              <a:gd name="connsiteX28746" fmla="*/ 2100447 w 8079933"/>
              <a:gd name="connsiteY28746" fmla="*/ 889443 h 4687251"/>
              <a:gd name="connsiteX28747" fmla="*/ 2093394 w 8079933"/>
              <a:gd name="connsiteY28747" fmla="*/ 893774 h 4687251"/>
              <a:gd name="connsiteX28748" fmla="*/ 2092851 w 8079933"/>
              <a:gd name="connsiteY28748" fmla="*/ 896697 h 4687251"/>
              <a:gd name="connsiteX28749" fmla="*/ 2085906 w 8079933"/>
              <a:gd name="connsiteY28749" fmla="*/ 903085 h 4687251"/>
              <a:gd name="connsiteX28750" fmla="*/ 2085906 w 8079933"/>
              <a:gd name="connsiteY28750" fmla="*/ 906116 h 4687251"/>
              <a:gd name="connsiteX28751" fmla="*/ 2084062 w 8079933"/>
              <a:gd name="connsiteY28751" fmla="*/ 908715 h 4687251"/>
              <a:gd name="connsiteX28752" fmla="*/ 2082976 w 8079933"/>
              <a:gd name="connsiteY28752" fmla="*/ 904709 h 4687251"/>
              <a:gd name="connsiteX28753" fmla="*/ 2080047 w 8079933"/>
              <a:gd name="connsiteY28753" fmla="*/ 909040 h 4687251"/>
              <a:gd name="connsiteX28754" fmla="*/ 2078202 w 8079933"/>
              <a:gd name="connsiteY28754" fmla="*/ 916944 h 4687251"/>
              <a:gd name="connsiteX28755" fmla="*/ 2078635 w 8079933"/>
              <a:gd name="connsiteY28755" fmla="*/ 919759 h 4687251"/>
              <a:gd name="connsiteX28756" fmla="*/ 2082433 w 8079933"/>
              <a:gd name="connsiteY28756" fmla="*/ 917810 h 4687251"/>
              <a:gd name="connsiteX28757" fmla="*/ 2085255 w 8079933"/>
              <a:gd name="connsiteY28757" fmla="*/ 917702 h 4687251"/>
              <a:gd name="connsiteX28758" fmla="*/ 2085038 w 8079933"/>
              <a:gd name="connsiteY28758" fmla="*/ 921924 h 4687251"/>
              <a:gd name="connsiteX28759" fmla="*/ 2080047 w 8079933"/>
              <a:gd name="connsiteY28759" fmla="*/ 925389 h 4687251"/>
              <a:gd name="connsiteX28760" fmla="*/ 2079720 w 8079933"/>
              <a:gd name="connsiteY28760" fmla="*/ 928095 h 4687251"/>
              <a:gd name="connsiteX28761" fmla="*/ 2086123 w 8079933"/>
              <a:gd name="connsiteY28761" fmla="*/ 926255 h 4687251"/>
              <a:gd name="connsiteX28762" fmla="*/ 2089379 w 8079933"/>
              <a:gd name="connsiteY28762" fmla="*/ 923115 h 4687251"/>
              <a:gd name="connsiteX28763" fmla="*/ 2092851 w 8079933"/>
              <a:gd name="connsiteY28763" fmla="*/ 923548 h 4687251"/>
              <a:gd name="connsiteX28764" fmla="*/ 2089704 w 8079933"/>
              <a:gd name="connsiteY28764" fmla="*/ 928528 h 4687251"/>
              <a:gd name="connsiteX28765" fmla="*/ 2086449 w 8079933"/>
              <a:gd name="connsiteY28765" fmla="*/ 930910 h 4687251"/>
              <a:gd name="connsiteX28766" fmla="*/ 2089379 w 8079933"/>
              <a:gd name="connsiteY28766" fmla="*/ 931777 h 4687251"/>
              <a:gd name="connsiteX28767" fmla="*/ 2093177 w 8079933"/>
              <a:gd name="connsiteY28767" fmla="*/ 930153 h 4687251"/>
              <a:gd name="connsiteX28768" fmla="*/ 2091115 w 8079933"/>
              <a:gd name="connsiteY28768" fmla="*/ 936216 h 4687251"/>
              <a:gd name="connsiteX28769" fmla="*/ 2090572 w 8079933"/>
              <a:gd name="connsiteY28769" fmla="*/ 940005 h 4687251"/>
              <a:gd name="connsiteX28770" fmla="*/ 2087317 w 8079933"/>
              <a:gd name="connsiteY28770" fmla="*/ 942712 h 4687251"/>
              <a:gd name="connsiteX28771" fmla="*/ 2082108 w 8079933"/>
              <a:gd name="connsiteY28771" fmla="*/ 940655 h 4687251"/>
              <a:gd name="connsiteX28772" fmla="*/ 2079938 w 8079933"/>
              <a:gd name="connsiteY28772" fmla="*/ 936324 h 4687251"/>
              <a:gd name="connsiteX28773" fmla="*/ 2074186 w 8079933"/>
              <a:gd name="connsiteY28773" fmla="*/ 939139 h 4687251"/>
              <a:gd name="connsiteX28774" fmla="*/ 2072124 w 8079933"/>
              <a:gd name="connsiteY28774" fmla="*/ 932643 h 4687251"/>
              <a:gd name="connsiteX28775" fmla="*/ 2070280 w 8079933"/>
              <a:gd name="connsiteY28775" fmla="*/ 932751 h 4687251"/>
              <a:gd name="connsiteX28776" fmla="*/ 2068652 w 8079933"/>
              <a:gd name="connsiteY28776" fmla="*/ 939356 h 4687251"/>
              <a:gd name="connsiteX28777" fmla="*/ 2071799 w 8079933"/>
              <a:gd name="connsiteY28777" fmla="*/ 944011 h 4687251"/>
              <a:gd name="connsiteX28778" fmla="*/ 2073644 w 8079933"/>
              <a:gd name="connsiteY28778" fmla="*/ 950183 h 4687251"/>
              <a:gd name="connsiteX28779" fmla="*/ 2072016 w 8079933"/>
              <a:gd name="connsiteY28779" fmla="*/ 960468 h 4687251"/>
              <a:gd name="connsiteX28780" fmla="*/ 2076140 w 8079933"/>
              <a:gd name="connsiteY28780" fmla="*/ 950940 h 4687251"/>
              <a:gd name="connsiteX28781" fmla="*/ 2074729 w 8079933"/>
              <a:gd name="connsiteY28781" fmla="*/ 943578 h 4687251"/>
              <a:gd name="connsiteX28782" fmla="*/ 2077659 w 8079933"/>
              <a:gd name="connsiteY28782" fmla="*/ 940979 h 4687251"/>
              <a:gd name="connsiteX28783" fmla="*/ 2080589 w 8079933"/>
              <a:gd name="connsiteY28783" fmla="*/ 944011 h 4687251"/>
              <a:gd name="connsiteX28784" fmla="*/ 2085798 w 8079933"/>
              <a:gd name="connsiteY28784" fmla="*/ 944336 h 4687251"/>
              <a:gd name="connsiteX28785" fmla="*/ 2089704 w 8079933"/>
              <a:gd name="connsiteY28785" fmla="*/ 947259 h 4687251"/>
              <a:gd name="connsiteX28786" fmla="*/ 2092960 w 8079933"/>
              <a:gd name="connsiteY28786" fmla="*/ 944444 h 4687251"/>
              <a:gd name="connsiteX28787" fmla="*/ 2093502 w 8079933"/>
              <a:gd name="connsiteY28787" fmla="*/ 939139 h 4687251"/>
              <a:gd name="connsiteX28788" fmla="*/ 2099688 w 8079933"/>
              <a:gd name="connsiteY28788" fmla="*/ 937299 h 4687251"/>
              <a:gd name="connsiteX28789" fmla="*/ 2103811 w 8079933"/>
              <a:gd name="connsiteY28789" fmla="*/ 932643 h 4687251"/>
              <a:gd name="connsiteX28790" fmla="*/ 2108478 w 8079933"/>
              <a:gd name="connsiteY28790" fmla="*/ 932426 h 4687251"/>
              <a:gd name="connsiteX28791" fmla="*/ 2111733 w 8079933"/>
              <a:gd name="connsiteY28791" fmla="*/ 928095 h 4687251"/>
              <a:gd name="connsiteX28792" fmla="*/ 2107826 w 8079933"/>
              <a:gd name="connsiteY28792" fmla="*/ 930910 h 4687251"/>
              <a:gd name="connsiteX28793" fmla="*/ 2103160 w 8079933"/>
              <a:gd name="connsiteY28793" fmla="*/ 930153 h 4687251"/>
              <a:gd name="connsiteX28794" fmla="*/ 2100882 w 8079933"/>
              <a:gd name="connsiteY28794" fmla="*/ 933617 h 4687251"/>
              <a:gd name="connsiteX28795" fmla="*/ 2097843 w 8079933"/>
              <a:gd name="connsiteY28795" fmla="*/ 935024 h 4687251"/>
              <a:gd name="connsiteX28796" fmla="*/ 2096215 w 8079933"/>
              <a:gd name="connsiteY28796" fmla="*/ 935024 h 4687251"/>
              <a:gd name="connsiteX28797" fmla="*/ 2098385 w 8079933"/>
              <a:gd name="connsiteY28797" fmla="*/ 929720 h 4687251"/>
              <a:gd name="connsiteX28798" fmla="*/ 2101424 w 8079933"/>
              <a:gd name="connsiteY28798" fmla="*/ 927338 h 4687251"/>
              <a:gd name="connsiteX28799" fmla="*/ 2099688 w 8079933"/>
              <a:gd name="connsiteY28799" fmla="*/ 924414 h 4687251"/>
              <a:gd name="connsiteX28800" fmla="*/ 2099905 w 8079933"/>
              <a:gd name="connsiteY28800" fmla="*/ 921058 h 4687251"/>
              <a:gd name="connsiteX28801" fmla="*/ 2102618 w 8079933"/>
              <a:gd name="connsiteY28801" fmla="*/ 914237 h 4687251"/>
              <a:gd name="connsiteX28802" fmla="*/ 2102292 w 8079933"/>
              <a:gd name="connsiteY28802" fmla="*/ 910772 h 4687251"/>
              <a:gd name="connsiteX28803" fmla="*/ 2099905 w 8079933"/>
              <a:gd name="connsiteY28803" fmla="*/ 908065 h 4687251"/>
              <a:gd name="connsiteX28804" fmla="*/ 2101424 w 8079933"/>
              <a:gd name="connsiteY28804" fmla="*/ 906008 h 4687251"/>
              <a:gd name="connsiteX28805" fmla="*/ 2105331 w 8079933"/>
              <a:gd name="connsiteY28805" fmla="*/ 899945 h 4687251"/>
              <a:gd name="connsiteX28806" fmla="*/ 2107176 w 8079933"/>
              <a:gd name="connsiteY28806" fmla="*/ 893882 h 4687251"/>
              <a:gd name="connsiteX28807" fmla="*/ 2111951 w 8079933"/>
              <a:gd name="connsiteY28807" fmla="*/ 889984 h 4687251"/>
              <a:gd name="connsiteX28808" fmla="*/ 2113361 w 8079933"/>
              <a:gd name="connsiteY28808" fmla="*/ 891825 h 4687251"/>
              <a:gd name="connsiteX28809" fmla="*/ 2112059 w 8079933"/>
              <a:gd name="connsiteY28809" fmla="*/ 893882 h 4687251"/>
              <a:gd name="connsiteX28810" fmla="*/ 2114880 w 8079933"/>
              <a:gd name="connsiteY28810" fmla="*/ 893016 h 4687251"/>
              <a:gd name="connsiteX28811" fmla="*/ 2117485 w 8079933"/>
              <a:gd name="connsiteY28811" fmla="*/ 889335 h 4687251"/>
              <a:gd name="connsiteX28812" fmla="*/ 2118679 w 8079933"/>
              <a:gd name="connsiteY28812" fmla="*/ 891500 h 4687251"/>
              <a:gd name="connsiteX28813" fmla="*/ 2120523 w 8079933"/>
              <a:gd name="connsiteY28813" fmla="*/ 891716 h 4687251"/>
              <a:gd name="connsiteX28814" fmla="*/ 2121933 w 8079933"/>
              <a:gd name="connsiteY28814" fmla="*/ 894098 h 4687251"/>
              <a:gd name="connsiteX28815" fmla="*/ 2126275 w 8079933"/>
              <a:gd name="connsiteY28815" fmla="*/ 893232 h 4687251"/>
              <a:gd name="connsiteX28816" fmla="*/ 2128988 w 8079933"/>
              <a:gd name="connsiteY28816" fmla="*/ 889335 h 4687251"/>
              <a:gd name="connsiteX28817" fmla="*/ 2139839 w 8079933"/>
              <a:gd name="connsiteY28817" fmla="*/ 884787 h 4687251"/>
              <a:gd name="connsiteX28818" fmla="*/ 2142118 w 8079933"/>
              <a:gd name="connsiteY28818" fmla="*/ 880673 h 4687251"/>
              <a:gd name="connsiteX28819" fmla="*/ 2141901 w 8079933"/>
              <a:gd name="connsiteY28819" fmla="*/ 878291 h 4687251"/>
              <a:gd name="connsiteX28820" fmla="*/ 2144831 w 8079933"/>
              <a:gd name="connsiteY28820" fmla="*/ 877425 h 4687251"/>
              <a:gd name="connsiteX28821" fmla="*/ 2149280 w 8079933"/>
              <a:gd name="connsiteY28821" fmla="*/ 872661 h 4687251"/>
              <a:gd name="connsiteX28822" fmla="*/ 2156008 w 8079933"/>
              <a:gd name="connsiteY28822" fmla="*/ 871903 h 4687251"/>
              <a:gd name="connsiteX28823" fmla="*/ 2159372 w 8079933"/>
              <a:gd name="connsiteY28823" fmla="*/ 868114 h 4687251"/>
              <a:gd name="connsiteX28824" fmla="*/ 2158938 w 8079933"/>
              <a:gd name="connsiteY28824" fmla="*/ 865190 h 4687251"/>
              <a:gd name="connsiteX28825" fmla="*/ 2160132 w 8079933"/>
              <a:gd name="connsiteY28825" fmla="*/ 859019 h 4687251"/>
              <a:gd name="connsiteX28826" fmla="*/ 2163496 w 8079933"/>
              <a:gd name="connsiteY28826" fmla="*/ 853389 h 4687251"/>
              <a:gd name="connsiteX28827" fmla="*/ 2164255 w 8079933"/>
              <a:gd name="connsiteY28827" fmla="*/ 849058 h 4687251"/>
              <a:gd name="connsiteX28828" fmla="*/ 2162628 w 8079933"/>
              <a:gd name="connsiteY28828" fmla="*/ 846784 h 4687251"/>
              <a:gd name="connsiteX28829" fmla="*/ 2159806 w 8079933"/>
              <a:gd name="connsiteY28829" fmla="*/ 848950 h 4687251"/>
              <a:gd name="connsiteX28830" fmla="*/ 2156008 w 8079933"/>
              <a:gd name="connsiteY28830" fmla="*/ 849599 h 4687251"/>
              <a:gd name="connsiteX28831" fmla="*/ 2156876 w 8079933"/>
              <a:gd name="connsiteY28831" fmla="*/ 851440 h 4687251"/>
              <a:gd name="connsiteX28832" fmla="*/ 2154706 w 8079933"/>
              <a:gd name="connsiteY28832" fmla="*/ 855446 h 4687251"/>
              <a:gd name="connsiteX28833" fmla="*/ 2150148 w 8079933"/>
              <a:gd name="connsiteY28833" fmla="*/ 856312 h 4687251"/>
              <a:gd name="connsiteX28834" fmla="*/ 2147761 w 8079933"/>
              <a:gd name="connsiteY28834" fmla="*/ 854363 h 4687251"/>
              <a:gd name="connsiteX28835" fmla="*/ 2144614 w 8079933"/>
              <a:gd name="connsiteY28835" fmla="*/ 854363 h 4687251"/>
              <a:gd name="connsiteX28836" fmla="*/ 2143637 w 8079933"/>
              <a:gd name="connsiteY28836" fmla="*/ 852631 h 4687251"/>
              <a:gd name="connsiteX28837" fmla="*/ 2146893 w 8079933"/>
              <a:gd name="connsiteY28837" fmla="*/ 846459 h 4687251"/>
              <a:gd name="connsiteX28838" fmla="*/ 2149823 w 8079933"/>
              <a:gd name="connsiteY28838" fmla="*/ 846459 h 4687251"/>
              <a:gd name="connsiteX28839" fmla="*/ 2152644 w 8079933"/>
              <a:gd name="connsiteY28839" fmla="*/ 842995 h 4687251"/>
              <a:gd name="connsiteX28840" fmla="*/ 2158830 w 8079933"/>
              <a:gd name="connsiteY28840" fmla="*/ 840288 h 4687251"/>
              <a:gd name="connsiteX28841" fmla="*/ 2159155 w 8079933"/>
              <a:gd name="connsiteY28841" fmla="*/ 837256 h 4687251"/>
              <a:gd name="connsiteX28842" fmla="*/ 2156550 w 8079933"/>
              <a:gd name="connsiteY28842" fmla="*/ 834983 h 4687251"/>
              <a:gd name="connsiteX28843" fmla="*/ 2160674 w 8079933"/>
              <a:gd name="connsiteY28843" fmla="*/ 829786 h 4687251"/>
              <a:gd name="connsiteX28844" fmla="*/ 2165991 w 8079933"/>
              <a:gd name="connsiteY28844" fmla="*/ 828811 h 4687251"/>
              <a:gd name="connsiteX28845" fmla="*/ 2171417 w 8079933"/>
              <a:gd name="connsiteY28845" fmla="*/ 830327 h 4687251"/>
              <a:gd name="connsiteX28846" fmla="*/ 2167402 w 8079933"/>
              <a:gd name="connsiteY28846" fmla="*/ 832925 h 4687251"/>
              <a:gd name="connsiteX28847" fmla="*/ 2166751 w 8079933"/>
              <a:gd name="connsiteY28847" fmla="*/ 837690 h 4687251"/>
              <a:gd name="connsiteX28848" fmla="*/ 2168271 w 8079933"/>
              <a:gd name="connsiteY28848" fmla="*/ 838772 h 4687251"/>
              <a:gd name="connsiteX28849" fmla="*/ 2173045 w 8079933"/>
              <a:gd name="connsiteY28849" fmla="*/ 836390 h 4687251"/>
              <a:gd name="connsiteX28850" fmla="*/ 2177277 w 8079933"/>
              <a:gd name="connsiteY28850" fmla="*/ 827403 h 4687251"/>
              <a:gd name="connsiteX28851" fmla="*/ 2177385 w 8079933"/>
              <a:gd name="connsiteY28851" fmla="*/ 823615 h 4687251"/>
              <a:gd name="connsiteX28852" fmla="*/ 2172394 w 8079933"/>
              <a:gd name="connsiteY28852" fmla="*/ 822423 h 4687251"/>
              <a:gd name="connsiteX28853" fmla="*/ 2168271 w 8079933"/>
              <a:gd name="connsiteY28853" fmla="*/ 822640 h 4687251"/>
              <a:gd name="connsiteX28854" fmla="*/ 2165341 w 8079933"/>
              <a:gd name="connsiteY28854" fmla="*/ 820366 h 4687251"/>
              <a:gd name="connsiteX28855" fmla="*/ 2158612 w 8079933"/>
              <a:gd name="connsiteY28855" fmla="*/ 818850 h 4687251"/>
              <a:gd name="connsiteX28856" fmla="*/ 2156225 w 8079933"/>
              <a:gd name="connsiteY28856" fmla="*/ 812138 h 4687251"/>
              <a:gd name="connsiteX28857" fmla="*/ 2157202 w 8079933"/>
              <a:gd name="connsiteY28857" fmla="*/ 806832 h 4687251"/>
              <a:gd name="connsiteX28858" fmla="*/ 2153837 w 8079933"/>
              <a:gd name="connsiteY28858" fmla="*/ 811705 h 4687251"/>
              <a:gd name="connsiteX28859" fmla="*/ 2151233 w 8079933"/>
              <a:gd name="connsiteY28859" fmla="*/ 811705 h 4687251"/>
              <a:gd name="connsiteX28860" fmla="*/ 2148846 w 8079933"/>
              <a:gd name="connsiteY28860" fmla="*/ 807482 h 4687251"/>
              <a:gd name="connsiteX28861" fmla="*/ 2144505 w 8079933"/>
              <a:gd name="connsiteY28861" fmla="*/ 804883 h 4687251"/>
              <a:gd name="connsiteX28862" fmla="*/ 2143311 w 8079933"/>
              <a:gd name="connsiteY28862" fmla="*/ 799578 h 4687251"/>
              <a:gd name="connsiteX28863" fmla="*/ 2141250 w 8079933"/>
              <a:gd name="connsiteY28863" fmla="*/ 798495 h 4687251"/>
              <a:gd name="connsiteX28864" fmla="*/ 2137777 w 8079933"/>
              <a:gd name="connsiteY28864" fmla="*/ 799037 h 4687251"/>
              <a:gd name="connsiteX28865" fmla="*/ 2136800 w 8079933"/>
              <a:gd name="connsiteY28865" fmla="*/ 795248 h 4687251"/>
              <a:gd name="connsiteX28866" fmla="*/ 2135173 w 8079933"/>
              <a:gd name="connsiteY28866" fmla="*/ 793190 h 4687251"/>
              <a:gd name="connsiteX28867" fmla="*/ 2137452 w 8079933"/>
              <a:gd name="connsiteY28867" fmla="*/ 789293 h 4687251"/>
              <a:gd name="connsiteX28868" fmla="*/ 2137235 w 8079933"/>
              <a:gd name="connsiteY28868" fmla="*/ 785503 h 4687251"/>
              <a:gd name="connsiteX28869" fmla="*/ 2135390 w 8079933"/>
              <a:gd name="connsiteY28869" fmla="*/ 780956 h 4687251"/>
              <a:gd name="connsiteX28870" fmla="*/ 2136041 w 8079933"/>
              <a:gd name="connsiteY28870" fmla="*/ 769479 h 4687251"/>
              <a:gd name="connsiteX28871" fmla="*/ 2139405 w 8079933"/>
              <a:gd name="connsiteY28871" fmla="*/ 765581 h 4687251"/>
              <a:gd name="connsiteX28872" fmla="*/ 2147326 w 8079933"/>
              <a:gd name="connsiteY28872" fmla="*/ 758544 h 4687251"/>
              <a:gd name="connsiteX28873" fmla="*/ 2151993 w 8079933"/>
              <a:gd name="connsiteY28873" fmla="*/ 756703 h 4687251"/>
              <a:gd name="connsiteX28874" fmla="*/ 2155791 w 8079933"/>
              <a:gd name="connsiteY28874" fmla="*/ 756811 h 4687251"/>
              <a:gd name="connsiteX28875" fmla="*/ 2156225 w 8079933"/>
              <a:gd name="connsiteY28875" fmla="*/ 755079 h 4687251"/>
              <a:gd name="connsiteX28876" fmla="*/ 2160023 w 8079933"/>
              <a:gd name="connsiteY28876" fmla="*/ 752047 h 4687251"/>
              <a:gd name="connsiteX28877" fmla="*/ 2160457 w 8079933"/>
              <a:gd name="connsiteY28877" fmla="*/ 749232 h 4687251"/>
              <a:gd name="connsiteX28878" fmla="*/ 2157853 w 8079933"/>
              <a:gd name="connsiteY28878" fmla="*/ 749232 h 4687251"/>
              <a:gd name="connsiteX28879" fmla="*/ 2154164 w 8079933"/>
              <a:gd name="connsiteY28879" fmla="*/ 751722 h 4687251"/>
              <a:gd name="connsiteX28880" fmla="*/ 2151667 w 8079933"/>
              <a:gd name="connsiteY28880" fmla="*/ 750532 h 4687251"/>
              <a:gd name="connsiteX28881" fmla="*/ 2151776 w 8079933"/>
              <a:gd name="connsiteY28881" fmla="*/ 747608 h 4687251"/>
              <a:gd name="connsiteX28882" fmla="*/ 2150039 w 8079933"/>
              <a:gd name="connsiteY28882" fmla="*/ 742628 h 4687251"/>
              <a:gd name="connsiteX28883" fmla="*/ 2150691 w 8079933"/>
              <a:gd name="connsiteY28883" fmla="*/ 737647 h 4687251"/>
              <a:gd name="connsiteX28884" fmla="*/ 2156767 w 8079933"/>
              <a:gd name="connsiteY28884" fmla="*/ 730935 h 4687251"/>
              <a:gd name="connsiteX28885" fmla="*/ 2160566 w 8079933"/>
              <a:gd name="connsiteY28885" fmla="*/ 722598 h 4687251"/>
              <a:gd name="connsiteX28886" fmla="*/ 2163496 w 8079933"/>
              <a:gd name="connsiteY28886" fmla="*/ 721298 h 4687251"/>
              <a:gd name="connsiteX28887" fmla="*/ 2166751 w 8079933"/>
              <a:gd name="connsiteY28887" fmla="*/ 715127 h 4687251"/>
              <a:gd name="connsiteX28888" fmla="*/ 2169789 w 8079933"/>
              <a:gd name="connsiteY28888" fmla="*/ 715019 h 4687251"/>
              <a:gd name="connsiteX28889" fmla="*/ 2173262 w 8079933"/>
              <a:gd name="connsiteY28889" fmla="*/ 709714 h 4687251"/>
              <a:gd name="connsiteX28890" fmla="*/ 2178905 w 8079933"/>
              <a:gd name="connsiteY28890" fmla="*/ 707223 h 4687251"/>
              <a:gd name="connsiteX28891" fmla="*/ 2182269 w 8079933"/>
              <a:gd name="connsiteY28891" fmla="*/ 710039 h 4687251"/>
              <a:gd name="connsiteX28892" fmla="*/ 2180533 w 8079933"/>
              <a:gd name="connsiteY28892" fmla="*/ 715127 h 4687251"/>
              <a:gd name="connsiteX28893" fmla="*/ 2183137 w 8079933"/>
              <a:gd name="connsiteY28893" fmla="*/ 717726 h 4687251"/>
              <a:gd name="connsiteX28894" fmla="*/ 2182052 w 8079933"/>
              <a:gd name="connsiteY28894" fmla="*/ 721190 h 4687251"/>
              <a:gd name="connsiteX28895" fmla="*/ 2186935 w 8079933"/>
              <a:gd name="connsiteY28895" fmla="*/ 718592 h 4687251"/>
              <a:gd name="connsiteX28896" fmla="*/ 2187586 w 8079933"/>
              <a:gd name="connsiteY28896" fmla="*/ 715452 h 4687251"/>
              <a:gd name="connsiteX28897" fmla="*/ 2193121 w 8079933"/>
              <a:gd name="connsiteY28897" fmla="*/ 707223 h 4687251"/>
              <a:gd name="connsiteX28898" fmla="*/ 2193121 w 8079933"/>
              <a:gd name="connsiteY28898" fmla="*/ 705166 h 4687251"/>
              <a:gd name="connsiteX28899" fmla="*/ 2189323 w 8079933"/>
              <a:gd name="connsiteY28899" fmla="*/ 704625 h 4687251"/>
              <a:gd name="connsiteX28900" fmla="*/ 2185308 w 8079933"/>
              <a:gd name="connsiteY28900" fmla="*/ 703001 h 4687251"/>
              <a:gd name="connsiteX28901" fmla="*/ 2182269 w 8079933"/>
              <a:gd name="connsiteY28901" fmla="*/ 698670 h 4687251"/>
              <a:gd name="connsiteX28902" fmla="*/ 2186393 w 8079933"/>
              <a:gd name="connsiteY28902" fmla="*/ 694880 h 4687251"/>
              <a:gd name="connsiteX28903" fmla="*/ 2192687 w 8079933"/>
              <a:gd name="connsiteY28903" fmla="*/ 694880 h 4687251"/>
              <a:gd name="connsiteX28904" fmla="*/ 2194423 w 8079933"/>
              <a:gd name="connsiteY28904" fmla="*/ 692066 h 4687251"/>
              <a:gd name="connsiteX28905" fmla="*/ 2201043 w 8079933"/>
              <a:gd name="connsiteY28905" fmla="*/ 687843 h 4687251"/>
              <a:gd name="connsiteX28906" fmla="*/ 2200825 w 8079933"/>
              <a:gd name="connsiteY28906" fmla="*/ 683837 h 4687251"/>
              <a:gd name="connsiteX28907" fmla="*/ 2204298 w 8079933"/>
              <a:gd name="connsiteY28907" fmla="*/ 682105 h 4687251"/>
              <a:gd name="connsiteX28908" fmla="*/ 2209615 w 8079933"/>
              <a:gd name="connsiteY28908" fmla="*/ 684053 h 4687251"/>
              <a:gd name="connsiteX28909" fmla="*/ 2217428 w 8079933"/>
              <a:gd name="connsiteY28909" fmla="*/ 685786 h 4687251"/>
              <a:gd name="connsiteX28910" fmla="*/ 2217862 w 8079933"/>
              <a:gd name="connsiteY28910" fmla="*/ 690225 h 4687251"/>
              <a:gd name="connsiteX28911" fmla="*/ 2216886 w 8079933"/>
              <a:gd name="connsiteY28911" fmla="*/ 692282 h 4687251"/>
              <a:gd name="connsiteX28912" fmla="*/ 2219816 w 8079933"/>
              <a:gd name="connsiteY28912" fmla="*/ 693473 h 4687251"/>
              <a:gd name="connsiteX28913" fmla="*/ 2223614 w 8079933"/>
              <a:gd name="connsiteY28913" fmla="*/ 697263 h 4687251"/>
              <a:gd name="connsiteX28914" fmla="*/ 2227195 w 8079933"/>
              <a:gd name="connsiteY28914" fmla="*/ 699645 h 4687251"/>
              <a:gd name="connsiteX28915" fmla="*/ 2225459 w 8079933"/>
              <a:gd name="connsiteY28915" fmla="*/ 704300 h 4687251"/>
              <a:gd name="connsiteX28916" fmla="*/ 2223288 w 8079933"/>
              <a:gd name="connsiteY28916" fmla="*/ 705383 h 4687251"/>
              <a:gd name="connsiteX28917" fmla="*/ 2224156 w 8079933"/>
              <a:gd name="connsiteY28917" fmla="*/ 709497 h 4687251"/>
              <a:gd name="connsiteX28918" fmla="*/ 2223397 w 8079933"/>
              <a:gd name="connsiteY28918" fmla="*/ 713070 h 4687251"/>
              <a:gd name="connsiteX28919" fmla="*/ 2227412 w 8079933"/>
              <a:gd name="connsiteY28919" fmla="*/ 716859 h 4687251"/>
              <a:gd name="connsiteX28920" fmla="*/ 2228714 w 8079933"/>
              <a:gd name="connsiteY28920" fmla="*/ 720649 h 4687251"/>
              <a:gd name="connsiteX28921" fmla="*/ 2227846 w 8079933"/>
              <a:gd name="connsiteY28921" fmla="*/ 728877 h 4687251"/>
              <a:gd name="connsiteX28922" fmla="*/ 2230776 w 8079933"/>
              <a:gd name="connsiteY28922" fmla="*/ 730935 h 4687251"/>
              <a:gd name="connsiteX28923" fmla="*/ 2230776 w 8079933"/>
              <a:gd name="connsiteY28923" fmla="*/ 733208 h 4687251"/>
              <a:gd name="connsiteX28924" fmla="*/ 2227412 w 8079933"/>
              <a:gd name="connsiteY28924" fmla="*/ 737864 h 4687251"/>
              <a:gd name="connsiteX28925" fmla="*/ 2227195 w 8079933"/>
              <a:gd name="connsiteY28925" fmla="*/ 741437 h 4687251"/>
              <a:gd name="connsiteX28926" fmla="*/ 2223614 w 8079933"/>
              <a:gd name="connsiteY28926" fmla="*/ 746959 h 4687251"/>
              <a:gd name="connsiteX28927" fmla="*/ 2223397 w 8079933"/>
              <a:gd name="connsiteY28927" fmla="*/ 753022 h 4687251"/>
              <a:gd name="connsiteX28928" fmla="*/ 2221010 w 8079933"/>
              <a:gd name="connsiteY28928" fmla="*/ 754538 h 4687251"/>
              <a:gd name="connsiteX28929" fmla="*/ 2223288 w 8079933"/>
              <a:gd name="connsiteY28929" fmla="*/ 758760 h 4687251"/>
              <a:gd name="connsiteX28930" fmla="*/ 2221552 w 8079933"/>
              <a:gd name="connsiteY28930" fmla="*/ 763416 h 4687251"/>
              <a:gd name="connsiteX28931" fmla="*/ 2226327 w 8079933"/>
              <a:gd name="connsiteY28931" fmla="*/ 769154 h 4687251"/>
              <a:gd name="connsiteX28932" fmla="*/ 2226327 w 8079933"/>
              <a:gd name="connsiteY28932" fmla="*/ 772944 h 4687251"/>
              <a:gd name="connsiteX28933" fmla="*/ 2224916 w 8079933"/>
              <a:gd name="connsiteY28933" fmla="*/ 774676 h 4687251"/>
              <a:gd name="connsiteX28934" fmla="*/ 2226327 w 8079933"/>
              <a:gd name="connsiteY28934" fmla="*/ 778791 h 4687251"/>
              <a:gd name="connsiteX28935" fmla="*/ 2224916 w 8079933"/>
              <a:gd name="connsiteY28935" fmla="*/ 783013 h 4687251"/>
              <a:gd name="connsiteX28936" fmla="*/ 2224916 w 8079933"/>
              <a:gd name="connsiteY28936" fmla="*/ 786369 h 4687251"/>
              <a:gd name="connsiteX28937" fmla="*/ 2228063 w 8079933"/>
              <a:gd name="connsiteY28937" fmla="*/ 787127 h 4687251"/>
              <a:gd name="connsiteX28938" fmla="*/ 2231102 w 8079933"/>
              <a:gd name="connsiteY28938" fmla="*/ 791458 h 4687251"/>
              <a:gd name="connsiteX28939" fmla="*/ 2230667 w 8079933"/>
              <a:gd name="connsiteY28939" fmla="*/ 795464 h 4687251"/>
              <a:gd name="connsiteX28940" fmla="*/ 2227195 w 8079933"/>
              <a:gd name="connsiteY28940" fmla="*/ 798495 h 4687251"/>
              <a:gd name="connsiteX28941" fmla="*/ 2224265 w 8079933"/>
              <a:gd name="connsiteY28941" fmla="*/ 796980 h 4687251"/>
              <a:gd name="connsiteX28942" fmla="*/ 2220141 w 8079933"/>
              <a:gd name="connsiteY28942" fmla="*/ 797846 h 4687251"/>
              <a:gd name="connsiteX28943" fmla="*/ 2217754 w 8079933"/>
              <a:gd name="connsiteY28943" fmla="*/ 793407 h 4687251"/>
              <a:gd name="connsiteX28944" fmla="*/ 2219273 w 8079933"/>
              <a:gd name="connsiteY28944" fmla="*/ 788210 h 4687251"/>
              <a:gd name="connsiteX28945" fmla="*/ 2213739 w 8079933"/>
              <a:gd name="connsiteY28945" fmla="*/ 790591 h 4687251"/>
              <a:gd name="connsiteX28946" fmla="*/ 2211569 w 8079933"/>
              <a:gd name="connsiteY28946" fmla="*/ 795572 h 4687251"/>
              <a:gd name="connsiteX28947" fmla="*/ 2207445 w 8079933"/>
              <a:gd name="connsiteY28947" fmla="*/ 797305 h 4687251"/>
              <a:gd name="connsiteX28948" fmla="*/ 2207445 w 8079933"/>
              <a:gd name="connsiteY28948" fmla="*/ 799362 h 4687251"/>
              <a:gd name="connsiteX28949" fmla="*/ 2213414 w 8079933"/>
              <a:gd name="connsiteY28949" fmla="*/ 797846 h 4687251"/>
              <a:gd name="connsiteX28950" fmla="*/ 2216560 w 8079933"/>
              <a:gd name="connsiteY28950" fmla="*/ 800986 h 4687251"/>
              <a:gd name="connsiteX28951" fmla="*/ 2215800 w 8079933"/>
              <a:gd name="connsiteY28951" fmla="*/ 803368 h 4687251"/>
              <a:gd name="connsiteX28952" fmla="*/ 2203105 w 8079933"/>
              <a:gd name="connsiteY28952" fmla="*/ 812246 h 4687251"/>
              <a:gd name="connsiteX28953" fmla="*/ 2199848 w 8079933"/>
              <a:gd name="connsiteY28953" fmla="*/ 812787 h 4687251"/>
              <a:gd name="connsiteX28954" fmla="*/ 2199089 w 8079933"/>
              <a:gd name="connsiteY28954" fmla="*/ 815386 h 4687251"/>
              <a:gd name="connsiteX28955" fmla="*/ 2196159 w 8079933"/>
              <a:gd name="connsiteY28955" fmla="*/ 816793 h 4687251"/>
              <a:gd name="connsiteX28956" fmla="*/ 2194965 w 8079933"/>
              <a:gd name="connsiteY28956" fmla="*/ 821341 h 4687251"/>
              <a:gd name="connsiteX28957" fmla="*/ 2197353 w 8079933"/>
              <a:gd name="connsiteY28957" fmla="*/ 823939 h 4687251"/>
              <a:gd name="connsiteX28958" fmla="*/ 2202019 w 8079933"/>
              <a:gd name="connsiteY28958" fmla="*/ 822748 h 4687251"/>
              <a:gd name="connsiteX28959" fmla="*/ 2204949 w 8079933"/>
              <a:gd name="connsiteY28959" fmla="*/ 823831 h 4687251"/>
              <a:gd name="connsiteX28960" fmla="*/ 2205491 w 8079933"/>
              <a:gd name="connsiteY28960" fmla="*/ 828270 h 4687251"/>
              <a:gd name="connsiteX28961" fmla="*/ 2209832 w 8079933"/>
              <a:gd name="connsiteY28961" fmla="*/ 832601 h 4687251"/>
              <a:gd name="connsiteX28962" fmla="*/ 2215800 w 8079933"/>
              <a:gd name="connsiteY28962" fmla="*/ 830652 h 4687251"/>
              <a:gd name="connsiteX28963" fmla="*/ 2216669 w 8079933"/>
              <a:gd name="connsiteY28963" fmla="*/ 827079 h 4687251"/>
              <a:gd name="connsiteX28964" fmla="*/ 2220250 w 8079933"/>
              <a:gd name="connsiteY28964" fmla="*/ 826213 h 4687251"/>
              <a:gd name="connsiteX28965" fmla="*/ 2221878 w 8079933"/>
              <a:gd name="connsiteY28965" fmla="*/ 828054 h 4687251"/>
              <a:gd name="connsiteX28966" fmla="*/ 2219598 w 8079933"/>
              <a:gd name="connsiteY28966" fmla="*/ 830002 h 4687251"/>
              <a:gd name="connsiteX28967" fmla="*/ 2219598 w 8079933"/>
              <a:gd name="connsiteY28967" fmla="*/ 831301 h 4687251"/>
              <a:gd name="connsiteX28968" fmla="*/ 2223723 w 8079933"/>
              <a:gd name="connsiteY28968" fmla="*/ 832925 h 4687251"/>
              <a:gd name="connsiteX28969" fmla="*/ 2226653 w 8079933"/>
              <a:gd name="connsiteY28969" fmla="*/ 835957 h 4687251"/>
              <a:gd name="connsiteX28970" fmla="*/ 2230993 w 8079933"/>
              <a:gd name="connsiteY28970" fmla="*/ 832709 h 4687251"/>
              <a:gd name="connsiteX28971" fmla="*/ 2234249 w 8079933"/>
              <a:gd name="connsiteY28971" fmla="*/ 834658 h 4687251"/>
              <a:gd name="connsiteX28972" fmla="*/ 2231102 w 8079933"/>
              <a:gd name="connsiteY28972" fmla="*/ 838014 h 4687251"/>
              <a:gd name="connsiteX28973" fmla="*/ 2226653 w 8079933"/>
              <a:gd name="connsiteY28973" fmla="*/ 838231 h 4687251"/>
              <a:gd name="connsiteX28974" fmla="*/ 2221878 w 8079933"/>
              <a:gd name="connsiteY28974" fmla="*/ 843753 h 4687251"/>
              <a:gd name="connsiteX28975" fmla="*/ 2220141 w 8079933"/>
              <a:gd name="connsiteY28975" fmla="*/ 845268 h 4687251"/>
              <a:gd name="connsiteX28976" fmla="*/ 2219057 w 8079933"/>
              <a:gd name="connsiteY28976" fmla="*/ 839639 h 4687251"/>
              <a:gd name="connsiteX28977" fmla="*/ 2216886 w 8079933"/>
              <a:gd name="connsiteY28977" fmla="*/ 839747 h 4687251"/>
              <a:gd name="connsiteX28978" fmla="*/ 2214932 w 8079933"/>
              <a:gd name="connsiteY28978" fmla="*/ 838772 h 4687251"/>
              <a:gd name="connsiteX28979" fmla="*/ 2214932 w 8079933"/>
              <a:gd name="connsiteY28979" fmla="*/ 841154 h 4687251"/>
              <a:gd name="connsiteX28980" fmla="*/ 2217537 w 8079933"/>
              <a:gd name="connsiteY28980" fmla="*/ 845485 h 4687251"/>
              <a:gd name="connsiteX28981" fmla="*/ 2217537 w 8079933"/>
              <a:gd name="connsiteY28981" fmla="*/ 849058 h 4687251"/>
              <a:gd name="connsiteX28982" fmla="*/ 2221986 w 8079933"/>
              <a:gd name="connsiteY28982" fmla="*/ 856096 h 4687251"/>
              <a:gd name="connsiteX28983" fmla="*/ 2221227 w 8079933"/>
              <a:gd name="connsiteY28983" fmla="*/ 861725 h 4687251"/>
              <a:gd name="connsiteX28984" fmla="*/ 2221986 w 8079933"/>
              <a:gd name="connsiteY28984" fmla="*/ 862808 h 4687251"/>
              <a:gd name="connsiteX28985" fmla="*/ 2221552 w 8079933"/>
              <a:gd name="connsiteY28985" fmla="*/ 867572 h 4687251"/>
              <a:gd name="connsiteX28986" fmla="*/ 2218188 w 8079933"/>
              <a:gd name="connsiteY28986" fmla="*/ 869521 h 4687251"/>
              <a:gd name="connsiteX28987" fmla="*/ 2217971 w 8079933"/>
              <a:gd name="connsiteY28987" fmla="*/ 874069 h 4687251"/>
              <a:gd name="connsiteX28988" fmla="*/ 2217320 w 8079933"/>
              <a:gd name="connsiteY28988" fmla="*/ 878941 h 4687251"/>
              <a:gd name="connsiteX28989" fmla="*/ 2212762 w 8079933"/>
              <a:gd name="connsiteY28989" fmla="*/ 884571 h 4687251"/>
              <a:gd name="connsiteX28990" fmla="*/ 2213956 w 8079933"/>
              <a:gd name="connsiteY28990" fmla="*/ 887169 h 4687251"/>
              <a:gd name="connsiteX28991" fmla="*/ 2214282 w 8079933"/>
              <a:gd name="connsiteY28991" fmla="*/ 892258 h 4687251"/>
              <a:gd name="connsiteX28992" fmla="*/ 2211352 w 8079933"/>
              <a:gd name="connsiteY28992" fmla="*/ 893557 h 4687251"/>
              <a:gd name="connsiteX28993" fmla="*/ 2211786 w 8079933"/>
              <a:gd name="connsiteY28993" fmla="*/ 896805 h 4687251"/>
              <a:gd name="connsiteX28994" fmla="*/ 2214607 w 8079933"/>
              <a:gd name="connsiteY28994" fmla="*/ 896697 h 4687251"/>
              <a:gd name="connsiteX28995" fmla="*/ 2218405 w 8079933"/>
              <a:gd name="connsiteY28995" fmla="*/ 892366 h 4687251"/>
              <a:gd name="connsiteX28996" fmla="*/ 2220141 w 8079933"/>
              <a:gd name="connsiteY28996" fmla="*/ 889118 h 4687251"/>
              <a:gd name="connsiteX28997" fmla="*/ 2226218 w 8079933"/>
              <a:gd name="connsiteY28997" fmla="*/ 885978 h 4687251"/>
              <a:gd name="connsiteX28998" fmla="*/ 2227195 w 8079933"/>
              <a:gd name="connsiteY28998" fmla="*/ 883921 h 4687251"/>
              <a:gd name="connsiteX28999" fmla="*/ 2226327 w 8079933"/>
              <a:gd name="connsiteY28999" fmla="*/ 882622 h 4687251"/>
              <a:gd name="connsiteX29000" fmla="*/ 2229039 w 8079933"/>
              <a:gd name="connsiteY29000" fmla="*/ 879374 h 4687251"/>
              <a:gd name="connsiteX29001" fmla="*/ 2231861 w 8079933"/>
              <a:gd name="connsiteY29001" fmla="*/ 881539 h 4687251"/>
              <a:gd name="connsiteX29002" fmla="*/ 2234140 w 8079933"/>
              <a:gd name="connsiteY29002" fmla="*/ 879374 h 4687251"/>
              <a:gd name="connsiteX29003" fmla="*/ 2234140 w 8079933"/>
              <a:gd name="connsiteY29003" fmla="*/ 871037 h 4687251"/>
              <a:gd name="connsiteX29004" fmla="*/ 2235117 w 8079933"/>
              <a:gd name="connsiteY29004" fmla="*/ 866381 h 4687251"/>
              <a:gd name="connsiteX29005" fmla="*/ 2241193 w 8079933"/>
              <a:gd name="connsiteY29005" fmla="*/ 861401 h 4687251"/>
              <a:gd name="connsiteX29006" fmla="*/ 2246619 w 8079933"/>
              <a:gd name="connsiteY29006" fmla="*/ 853064 h 4687251"/>
              <a:gd name="connsiteX29007" fmla="*/ 2248356 w 8079933"/>
              <a:gd name="connsiteY29007" fmla="*/ 848192 h 4687251"/>
              <a:gd name="connsiteX29008" fmla="*/ 2250417 w 8079933"/>
              <a:gd name="connsiteY29008" fmla="*/ 847867 h 4687251"/>
              <a:gd name="connsiteX29009" fmla="*/ 2252479 w 8079933"/>
              <a:gd name="connsiteY29009" fmla="*/ 849924 h 4687251"/>
              <a:gd name="connsiteX29010" fmla="*/ 2253347 w 8079933"/>
              <a:gd name="connsiteY29010" fmla="*/ 854255 h 4687251"/>
              <a:gd name="connsiteX29011" fmla="*/ 2257037 w 8079933"/>
              <a:gd name="connsiteY29011" fmla="*/ 862267 h 4687251"/>
              <a:gd name="connsiteX29012" fmla="*/ 2257905 w 8079933"/>
              <a:gd name="connsiteY29012" fmla="*/ 868547 h 4687251"/>
              <a:gd name="connsiteX29013" fmla="*/ 2262138 w 8079933"/>
              <a:gd name="connsiteY29013" fmla="*/ 873852 h 4687251"/>
              <a:gd name="connsiteX29014" fmla="*/ 2262138 w 8079933"/>
              <a:gd name="connsiteY29014" fmla="*/ 878941 h 4687251"/>
              <a:gd name="connsiteX29015" fmla="*/ 2260510 w 8079933"/>
              <a:gd name="connsiteY29015" fmla="*/ 883488 h 4687251"/>
              <a:gd name="connsiteX29016" fmla="*/ 2262029 w 8079933"/>
              <a:gd name="connsiteY29016" fmla="*/ 893016 h 4687251"/>
              <a:gd name="connsiteX29017" fmla="*/ 2259099 w 8079933"/>
              <a:gd name="connsiteY29017" fmla="*/ 897888 h 4687251"/>
              <a:gd name="connsiteX29018" fmla="*/ 2255627 w 8079933"/>
              <a:gd name="connsiteY29018" fmla="*/ 899404 h 4687251"/>
              <a:gd name="connsiteX29019" fmla="*/ 2252914 w 8079933"/>
              <a:gd name="connsiteY29019" fmla="*/ 897022 h 4687251"/>
              <a:gd name="connsiteX29020" fmla="*/ 2250092 w 8079933"/>
              <a:gd name="connsiteY29020" fmla="*/ 899404 h 4687251"/>
              <a:gd name="connsiteX29021" fmla="*/ 2248030 w 8079933"/>
              <a:gd name="connsiteY29021" fmla="*/ 903518 h 4687251"/>
              <a:gd name="connsiteX29022" fmla="*/ 2249224 w 8079933"/>
              <a:gd name="connsiteY29022" fmla="*/ 908498 h 4687251"/>
              <a:gd name="connsiteX29023" fmla="*/ 2245860 w 8079933"/>
              <a:gd name="connsiteY29023" fmla="*/ 912829 h 4687251"/>
              <a:gd name="connsiteX29024" fmla="*/ 2243689 w 8079933"/>
              <a:gd name="connsiteY29024" fmla="*/ 918676 h 4687251"/>
              <a:gd name="connsiteX29025" fmla="*/ 2245318 w 8079933"/>
              <a:gd name="connsiteY29025" fmla="*/ 921816 h 4687251"/>
              <a:gd name="connsiteX29026" fmla="*/ 2245426 w 8079933"/>
              <a:gd name="connsiteY29026" fmla="*/ 929720 h 4687251"/>
              <a:gd name="connsiteX29027" fmla="*/ 2249224 w 8079933"/>
              <a:gd name="connsiteY29027" fmla="*/ 946177 h 4687251"/>
              <a:gd name="connsiteX29028" fmla="*/ 2252914 w 8079933"/>
              <a:gd name="connsiteY29028" fmla="*/ 953106 h 4687251"/>
              <a:gd name="connsiteX29029" fmla="*/ 2251502 w 8079933"/>
              <a:gd name="connsiteY29029" fmla="*/ 957654 h 4687251"/>
              <a:gd name="connsiteX29030" fmla="*/ 2255084 w 8079933"/>
              <a:gd name="connsiteY29030" fmla="*/ 961334 h 4687251"/>
              <a:gd name="connsiteX29031" fmla="*/ 2258557 w 8079933"/>
              <a:gd name="connsiteY29031" fmla="*/ 961334 h 4687251"/>
              <a:gd name="connsiteX29032" fmla="*/ 2257688 w 8079933"/>
              <a:gd name="connsiteY29032" fmla="*/ 955488 h 4687251"/>
              <a:gd name="connsiteX29033" fmla="*/ 2256169 w 8079933"/>
              <a:gd name="connsiteY29033" fmla="*/ 953756 h 4687251"/>
              <a:gd name="connsiteX29034" fmla="*/ 2259533 w 8079933"/>
              <a:gd name="connsiteY29034" fmla="*/ 950291 h 4687251"/>
              <a:gd name="connsiteX29035" fmla="*/ 2262571 w 8079933"/>
              <a:gd name="connsiteY29035" fmla="*/ 949966 h 4687251"/>
              <a:gd name="connsiteX29036" fmla="*/ 2264959 w 8079933"/>
              <a:gd name="connsiteY29036" fmla="*/ 955705 h 4687251"/>
              <a:gd name="connsiteX29037" fmla="*/ 2267346 w 8079933"/>
              <a:gd name="connsiteY29037" fmla="*/ 955163 h 4687251"/>
              <a:gd name="connsiteX29038" fmla="*/ 2268431 w 8079933"/>
              <a:gd name="connsiteY29038" fmla="*/ 949750 h 4687251"/>
              <a:gd name="connsiteX29039" fmla="*/ 2271795 w 8079933"/>
              <a:gd name="connsiteY29039" fmla="*/ 946068 h 4687251"/>
              <a:gd name="connsiteX29040" fmla="*/ 2272555 w 8079933"/>
              <a:gd name="connsiteY29040" fmla="*/ 938598 h 4687251"/>
              <a:gd name="connsiteX29041" fmla="*/ 2276353 w 8079933"/>
              <a:gd name="connsiteY29041" fmla="*/ 936865 h 4687251"/>
              <a:gd name="connsiteX29042" fmla="*/ 2280802 w 8079933"/>
              <a:gd name="connsiteY29042" fmla="*/ 930694 h 4687251"/>
              <a:gd name="connsiteX29043" fmla="*/ 2282538 w 8079933"/>
              <a:gd name="connsiteY29043" fmla="*/ 930369 h 4687251"/>
              <a:gd name="connsiteX29044" fmla="*/ 2285143 w 8079933"/>
              <a:gd name="connsiteY29044" fmla="*/ 926255 h 4687251"/>
              <a:gd name="connsiteX29045" fmla="*/ 2293499 w 8079933"/>
              <a:gd name="connsiteY29045" fmla="*/ 920083 h 4687251"/>
              <a:gd name="connsiteX29046" fmla="*/ 2299250 w 8079933"/>
              <a:gd name="connsiteY29046" fmla="*/ 910447 h 4687251"/>
              <a:gd name="connsiteX29047" fmla="*/ 2303374 w 8079933"/>
              <a:gd name="connsiteY29047" fmla="*/ 900270 h 4687251"/>
              <a:gd name="connsiteX29048" fmla="*/ 2307280 w 8079933"/>
              <a:gd name="connsiteY29048" fmla="*/ 891825 h 4687251"/>
              <a:gd name="connsiteX29049" fmla="*/ 2311838 w 8079933"/>
              <a:gd name="connsiteY29049" fmla="*/ 888577 h 4687251"/>
              <a:gd name="connsiteX29050" fmla="*/ 2315202 w 8079933"/>
              <a:gd name="connsiteY29050" fmla="*/ 893557 h 4687251"/>
              <a:gd name="connsiteX29051" fmla="*/ 2318132 w 8079933"/>
              <a:gd name="connsiteY29051" fmla="*/ 890851 h 4687251"/>
              <a:gd name="connsiteX29052" fmla="*/ 2320736 w 8079933"/>
              <a:gd name="connsiteY29052" fmla="*/ 892691 h 4687251"/>
              <a:gd name="connsiteX29053" fmla="*/ 2325294 w 8079933"/>
              <a:gd name="connsiteY29053" fmla="*/ 892041 h 4687251"/>
              <a:gd name="connsiteX29054" fmla="*/ 2325402 w 8079933"/>
              <a:gd name="connsiteY29054" fmla="*/ 889335 h 4687251"/>
              <a:gd name="connsiteX29055" fmla="*/ 2322798 w 8079933"/>
              <a:gd name="connsiteY29055" fmla="*/ 889118 h 4687251"/>
              <a:gd name="connsiteX29056" fmla="*/ 2318891 w 8079933"/>
              <a:gd name="connsiteY29056" fmla="*/ 885112 h 4687251"/>
              <a:gd name="connsiteX29057" fmla="*/ 2320736 w 8079933"/>
              <a:gd name="connsiteY29057" fmla="*/ 882406 h 4687251"/>
              <a:gd name="connsiteX29058" fmla="*/ 2325728 w 8079933"/>
              <a:gd name="connsiteY29058" fmla="*/ 881755 h 4687251"/>
              <a:gd name="connsiteX29059" fmla="*/ 2328332 w 8079933"/>
              <a:gd name="connsiteY29059" fmla="*/ 883921 h 4687251"/>
              <a:gd name="connsiteX29060" fmla="*/ 2330394 w 8079933"/>
              <a:gd name="connsiteY29060" fmla="*/ 882188 h 4687251"/>
              <a:gd name="connsiteX29061" fmla="*/ 2333867 w 8079933"/>
              <a:gd name="connsiteY29061" fmla="*/ 882622 h 4687251"/>
              <a:gd name="connsiteX29062" fmla="*/ 2335712 w 8079933"/>
              <a:gd name="connsiteY29062" fmla="*/ 881214 h 4687251"/>
              <a:gd name="connsiteX29063" fmla="*/ 2333541 w 8079933"/>
              <a:gd name="connsiteY29063" fmla="*/ 876775 h 4687251"/>
              <a:gd name="connsiteX29064" fmla="*/ 2331479 w 8079933"/>
              <a:gd name="connsiteY29064" fmla="*/ 876342 h 4687251"/>
              <a:gd name="connsiteX29065" fmla="*/ 2329201 w 8079933"/>
              <a:gd name="connsiteY29065" fmla="*/ 872228 h 4687251"/>
              <a:gd name="connsiteX29066" fmla="*/ 2326596 w 8079933"/>
              <a:gd name="connsiteY29066" fmla="*/ 872120 h 4687251"/>
              <a:gd name="connsiteX29067" fmla="*/ 2326922 w 8079933"/>
              <a:gd name="connsiteY29067" fmla="*/ 865082 h 4687251"/>
              <a:gd name="connsiteX29068" fmla="*/ 2329744 w 8079933"/>
              <a:gd name="connsiteY29068" fmla="*/ 861942 h 4687251"/>
              <a:gd name="connsiteX29069" fmla="*/ 2330286 w 8079933"/>
              <a:gd name="connsiteY29069" fmla="*/ 857719 h 4687251"/>
              <a:gd name="connsiteX29070" fmla="*/ 2333541 w 8079933"/>
              <a:gd name="connsiteY29070" fmla="*/ 857503 h 4687251"/>
              <a:gd name="connsiteX29071" fmla="*/ 2331045 w 8079933"/>
              <a:gd name="connsiteY29071" fmla="*/ 853713 h 4687251"/>
              <a:gd name="connsiteX29072" fmla="*/ 2331588 w 8079933"/>
              <a:gd name="connsiteY29072" fmla="*/ 850574 h 4687251"/>
              <a:gd name="connsiteX29073" fmla="*/ 2335060 w 8079933"/>
              <a:gd name="connsiteY29073" fmla="*/ 847001 h 4687251"/>
              <a:gd name="connsiteX29074" fmla="*/ 2333541 w 8079933"/>
              <a:gd name="connsiteY29074" fmla="*/ 845268 h 4687251"/>
              <a:gd name="connsiteX29075" fmla="*/ 2333324 w 8079933"/>
              <a:gd name="connsiteY29075" fmla="*/ 843861 h 4687251"/>
              <a:gd name="connsiteX29076" fmla="*/ 2337773 w 8079933"/>
              <a:gd name="connsiteY29076" fmla="*/ 843861 h 4687251"/>
              <a:gd name="connsiteX29077" fmla="*/ 2339401 w 8079933"/>
              <a:gd name="connsiteY29077" fmla="*/ 839639 h 4687251"/>
              <a:gd name="connsiteX29078" fmla="*/ 2335712 w 8079933"/>
              <a:gd name="connsiteY29078" fmla="*/ 837582 h 4687251"/>
              <a:gd name="connsiteX29079" fmla="*/ 2334518 w 8079933"/>
              <a:gd name="connsiteY29079" fmla="*/ 835091 h 4687251"/>
              <a:gd name="connsiteX29080" fmla="*/ 2339401 w 8079933"/>
              <a:gd name="connsiteY29080" fmla="*/ 835849 h 4687251"/>
              <a:gd name="connsiteX29081" fmla="*/ 2341463 w 8079933"/>
              <a:gd name="connsiteY29081" fmla="*/ 839313 h 4687251"/>
              <a:gd name="connsiteX29082" fmla="*/ 2345044 w 8079933"/>
              <a:gd name="connsiteY29082" fmla="*/ 839639 h 4687251"/>
              <a:gd name="connsiteX29083" fmla="*/ 2348082 w 8079933"/>
              <a:gd name="connsiteY29083" fmla="*/ 837582 h 4687251"/>
              <a:gd name="connsiteX29084" fmla="*/ 2355570 w 8079933"/>
              <a:gd name="connsiteY29084" fmla="*/ 838014 h 4687251"/>
              <a:gd name="connsiteX29085" fmla="*/ 2362081 w 8079933"/>
              <a:gd name="connsiteY29085" fmla="*/ 842886 h 4687251"/>
              <a:gd name="connsiteX29086" fmla="*/ 2362624 w 8079933"/>
              <a:gd name="connsiteY29086" fmla="*/ 845268 h 4687251"/>
              <a:gd name="connsiteX29087" fmla="*/ 2364686 w 8079933"/>
              <a:gd name="connsiteY29087" fmla="*/ 848192 h 4687251"/>
              <a:gd name="connsiteX29088" fmla="*/ 2373692 w 8079933"/>
              <a:gd name="connsiteY29088" fmla="*/ 852631 h 4687251"/>
              <a:gd name="connsiteX29089" fmla="*/ 2377816 w 8079933"/>
              <a:gd name="connsiteY29089" fmla="*/ 849924 h 4687251"/>
              <a:gd name="connsiteX29090" fmla="*/ 2382374 w 8079933"/>
              <a:gd name="connsiteY29090" fmla="*/ 853172 h 4687251"/>
              <a:gd name="connsiteX29091" fmla="*/ 2388342 w 8079933"/>
              <a:gd name="connsiteY29091" fmla="*/ 855662 h 4687251"/>
              <a:gd name="connsiteX29092" fmla="*/ 2388342 w 8079933"/>
              <a:gd name="connsiteY29092" fmla="*/ 858153 h 4687251"/>
              <a:gd name="connsiteX29093" fmla="*/ 2385846 w 8079933"/>
              <a:gd name="connsiteY29093" fmla="*/ 859776 h 4687251"/>
              <a:gd name="connsiteX29094" fmla="*/ 2388668 w 8079933"/>
              <a:gd name="connsiteY29094" fmla="*/ 862808 h 4687251"/>
              <a:gd name="connsiteX29095" fmla="*/ 2385738 w 8079933"/>
              <a:gd name="connsiteY29095" fmla="*/ 864324 h 4687251"/>
              <a:gd name="connsiteX29096" fmla="*/ 2382374 w 8079933"/>
              <a:gd name="connsiteY29096" fmla="*/ 861292 h 4687251"/>
              <a:gd name="connsiteX29097" fmla="*/ 2379118 w 8079933"/>
              <a:gd name="connsiteY29097" fmla="*/ 860968 h 4687251"/>
              <a:gd name="connsiteX29098" fmla="*/ 2379661 w 8079933"/>
              <a:gd name="connsiteY29098" fmla="*/ 863458 h 4687251"/>
              <a:gd name="connsiteX29099" fmla="*/ 2389644 w 8079933"/>
              <a:gd name="connsiteY29099" fmla="*/ 869846 h 4687251"/>
              <a:gd name="connsiteX29100" fmla="*/ 2390187 w 8079933"/>
              <a:gd name="connsiteY29100" fmla="*/ 874826 h 4687251"/>
              <a:gd name="connsiteX29101" fmla="*/ 2386280 w 8079933"/>
              <a:gd name="connsiteY29101" fmla="*/ 876342 h 4687251"/>
              <a:gd name="connsiteX29102" fmla="*/ 2388668 w 8079933"/>
              <a:gd name="connsiteY29102" fmla="*/ 877749 h 4687251"/>
              <a:gd name="connsiteX29103" fmla="*/ 2392792 w 8079933"/>
              <a:gd name="connsiteY29103" fmla="*/ 876342 h 4687251"/>
              <a:gd name="connsiteX29104" fmla="*/ 2399845 w 8079933"/>
              <a:gd name="connsiteY29104" fmla="*/ 878074 h 4687251"/>
              <a:gd name="connsiteX29105" fmla="*/ 2401364 w 8079933"/>
              <a:gd name="connsiteY29105" fmla="*/ 880890 h 4687251"/>
              <a:gd name="connsiteX29106" fmla="*/ 2403969 w 8079933"/>
              <a:gd name="connsiteY29106" fmla="*/ 881864 h 4687251"/>
              <a:gd name="connsiteX29107" fmla="*/ 2404728 w 8079933"/>
              <a:gd name="connsiteY29107" fmla="*/ 883921 h 4687251"/>
              <a:gd name="connsiteX29108" fmla="*/ 2401798 w 8079933"/>
              <a:gd name="connsiteY29108" fmla="*/ 888577 h 4687251"/>
              <a:gd name="connsiteX29109" fmla="*/ 2394419 w 8079933"/>
              <a:gd name="connsiteY29109" fmla="*/ 894315 h 4687251"/>
              <a:gd name="connsiteX29110" fmla="*/ 2389970 w 8079933"/>
              <a:gd name="connsiteY29110" fmla="*/ 895181 h 4687251"/>
              <a:gd name="connsiteX29111" fmla="*/ 2386606 w 8079933"/>
              <a:gd name="connsiteY29111" fmla="*/ 896805 h 4687251"/>
              <a:gd name="connsiteX29112" fmla="*/ 2393008 w 8079933"/>
              <a:gd name="connsiteY29112" fmla="*/ 896914 h 4687251"/>
              <a:gd name="connsiteX29113" fmla="*/ 2395396 w 8079933"/>
              <a:gd name="connsiteY29113" fmla="*/ 898429 h 4687251"/>
              <a:gd name="connsiteX29114" fmla="*/ 2395830 w 8079933"/>
              <a:gd name="connsiteY29114" fmla="*/ 902002 h 4687251"/>
              <a:gd name="connsiteX29115" fmla="*/ 2397566 w 8079933"/>
              <a:gd name="connsiteY29115" fmla="*/ 901894 h 4687251"/>
              <a:gd name="connsiteX29116" fmla="*/ 2399194 w 8079933"/>
              <a:gd name="connsiteY29116" fmla="*/ 903193 h 4687251"/>
              <a:gd name="connsiteX29117" fmla="*/ 2396155 w 8079933"/>
              <a:gd name="connsiteY29117" fmla="*/ 907849 h 4687251"/>
              <a:gd name="connsiteX29118" fmla="*/ 2397891 w 8079933"/>
              <a:gd name="connsiteY29118" fmla="*/ 909581 h 4687251"/>
              <a:gd name="connsiteX29119" fmla="*/ 2392249 w 8079933"/>
              <a:gd name="connsiteY29119" fmla="*/ 913371 h 4687251"/>
              <a:gd name="connsiteX29120" fmla="*/ 2385738 w 8079933"/>
              <a:gd name="connsiteY29120" fmla="*/ 915536 h 4687251"/>
              <a:gd name="connsiteX29121" fmla="*/ 2382266 w 8079933"/>
              <a:gd name="connsiteY29121" fmla="*/ 914887 h 4687251"/>
              <a:gd name="connsiteX29122" fmla="*/ 2379986 w 8079933"/>
              <a:gd name="connsiteY29122" fmla="*/ 917810 h 4687251"/>
              <a:gd name="connsiteX29123" fmla="*/ 2376405 w 8079933"/>
              <a:gd name="connsiteY29123" fmla="*/ 916618 h 4687251"/>
              <a:gd name="connsiteX29124" fmla="*/ 2372607 w 8079933"/>
              <a:gd name="connsiteY29124" fmla="*/ 912180 h 4687251"/>
              <a:gd name="connsiteX29125" fmla="*/ 2368267 w 8079933"/>
              <a:gd name="connsiteY29125" fmla="*/ 911963 h 4687251"/>
              <a:gd name="connsiteX29126" fmla="*/ 2366964 w 8079933"/>
              <a:gd name="connsiteY29126" fmla="*/ 909581 h 4687251"/>
              <a:gd name="connsiteX29127" fmla="*/ 2364034 w 8079933"/>
              <a:gd name="connsiteY29127" fmla="*/ 909906 h 4687251"/>
              <a:gd name="connsiteX29128" fmla="*/ 2363818 w 8079933"/>
              <a:gd name="connsiteY29128" fmla="*/ 913695 h 4687251"/>
              <a:gd name="connsiteX29129" fmla="*/ 2361756 w 8079933"/>
              <a:gd name="connsiteY29129" fmla="*/ 915103 h 4687251"/>
              <a:gd name="connsiteX29130" fmla="*/ 2365662 w 8079933"/>
              <a:gd name="connsiteY29130" fmla="*/ 915969 h 4687251"/>
              <a:gd name="connsiteX29131" fmla="*/ 2368701 w 8079933"/>
              <a:gd name="connsiteY29131" fmla="*/ 918351 h 4687251"/>
              <a:gd name="connsiteX29132" fmla="*/ 2367290 w 8079933"/>
              <a:gd name="connsiteY29132" fmla="*/ 921599 h 4687251"/>
              <a:gd name="connsiteX29133" fmla="*/ 2364469 w 8079933"/>
              <a:gd name="connsiteY29133" fmla="*/ 924522 h 4687251"/>
              <a:gd name="connsiteX29134" fmla="*/ 2368484 w 8079933"/>
              <a:gd name="connsiteY29134" fmla="*/ 924847 h 4687251"/>
              <a:gd name="connsiteX29135" fmla="*/ 2365662 w 8079933"/>
              <a:gd name="connsiteY29135" fmla="*/ 928961 h 4687251"/>
              <a:gd name="connsiteX29136" fmla="*/ 2366096 w 8079933"/>
              <a:gd name="connsiteY29136" fmla="*/ 931885 h 4687251"/>
              <a:gd name="connsiteX29137" fmla="*/ 2367615 w 8079933"/>
              <a:gd name="connsiteY29137" fmla="*/ 932318 h 4687251"/>
              <a:gd name="connsiteX29138" fmla="*/ 2370545 w 8079933"/>
              <a:gd name="connsiteY29138" fmla="*/ 929287 h 4687251"/>
              <a:gd name="connsiteX29139" fmla="*/ 2372065 w 8079933"/>
              <a:gd name="connsiteY29139" fmla="*/ 929503 h 4687251"/>
              <a:gd name="connsiteX29140" fmla="*/ 2370871 w 8079933"/>
              <a:gd name="connsiteY29140" fmla="*/ 932967 h 4687251"/>
              <a:gd name="connsiteX29141" fmla="*/ 2365228 w 8079933"/>
              <a:gd name="connsiteY29141" fmla="*/ 935241 h 4687251"/>
              <a:gd name="connsiteX29142" fmla="*/ 2363058 w 8079933"/>
              <a:gd name="connsiteY29142" fmla="*/ 939572 h 4687251"/>
              <a:gd name="connsiteX29143" fmla="*/ 2364034 w 8079933"/>
              <a:gd name="connsiteY29143" fmla="*/ 944661 h 4687251"/>
              <a:gd name="connsiteX29144" fmla="*/ 2369460 w 8079933"/>
              <a:gd name="connsiteY29144" fmla="*/ 948775 h 4687251"/>
              <a:gd name="connsiteX29145" fmla="*/ 2368701 w 8079933"/>
              <a:gd name="connsiteY29145" fmla="*/ 952023 h 4687251"/>
              <a:gd name="connsiteX29146" fmla="*/ 2373801 w 8079933"/>
              <a:gd name="connsiteY29146" fmla="*/ 962201 h 4687251"/>
              <a:gd name="connsiteX29147" fmla="*/ 2373150 w 8079933"/>
              <a:gd name="connsiteY29147" fmla="*/ 968048 h 4687251"/>
              <a:gd name="connsiteX29148" fmla="*/ 2371414 w 8079933"/>
              <a:gd name="connsiteY29148" fmla="*/ 969238 h 4687251"/>
              <a:gd name="connsiteX29149" fmla="*/ 2370762 w 8079933"/>
              <a:gd name="connsiteY29149" fmla="*/ 972703 h 4687251"/>
              <a:gd name="connsiteX29150" fmla="*/ 2364360 w 8079933"/>
              <a:gd name="connsiteY29150" fmla="*/ 978117 h 4687251"/>
              <a:gd name="connsiteX29151" fmla="*/ 2365554 w 8079933"/>
              <a:gd name="connsiteY29151" fmla="*/ 982447 h 4687251"/>
              <a:gd name="connsiteX29152" fmla="*/ 2363275 w 8079933"/>
              <a:gd name="connsiteY29152" fmla="*/ 985587 h 4687251"/>
              <a:gd name="connsiteX29153" fmla="*/ 2359151 w 8079933"/>
              <a:gd name="connsiteY29153" fmla="*/ 983854 h 4687251"/>
              <a:gd name="connsiteX29154" fmla="*/ 2351772 w 8079933"/>
              <a:gd name="connsiteY29154" fmla="*/ 983963 h 4687251"/>
              <a:gd name="connsiteX29155" fmla="*/ 2348517 w 8079933"/>
              <a:gd name="connsiteY29155" fmla="*/ 986237 h 4687251"/>
              <a:gd name="connsiteX29156" fmla="*/ 2347323 w 8079933"/>
              <a:gd name="connsiteY29156" fmla="*/ 991758 h 4687251"/>
              <a:gd name="connsiteX29157" fmla="*/ 2342656 w 8079933"/>
              <a:gd name="connsiteY29157" fmla="*/ 994466 h 4687251"/>
              <a:gd name="connsiteX29158" fmla="*/ 2340378 w 8079933"/>
              <a:gd name="connsiteY29158" fmla="*/ 997605 h 4687251"/>
              <a:gd name="connsiteX29159" fmla="*/ 2336580 w 8079933"/>
              <a:gd name="connsiteY29159" fmla="*/ 997713 h 4687251"/>
              <a:gd name="connsiteX29160" fmla="*/ 2329852 w 8079933"/>
              <a:gd name="connsiteY29160" fmla="*/ 1004968 h 4687251"/>
              <a:gd name="connsiteX29161" fmla="*/ 2327464 w 8079933"/>
              <a:gd name="connsiteY29161" fmla="*/ 1004101 h 4687251"/>
              <a:gd name="connsiteX29162" fmla="*/ 2323558 w 8079933"/>
              <a:gd name="connsiteY29162" fmla="*/ 1004318 h 4687251"/>
              <a:gd name="connsiteX29163" fmla="*/ 2321062 w 8079933"/>
              <a:gd name="connsiteY29163" fmla="*/ 1008974 h 4687251"/>
              <a:gd name="connsiteX29164" fmla="*/ 2309559 w 8079933"/>
              <a:gd name="connsiteY29164" fmla="*/ 1012221 h 4687251"/>
              <a:gd name="connsiteX29165" fmla="*/ 2307280 w 8079933"/>
              <a:gd name="connsiteY29165" fmla="*/ 1010164 h 4687251"/>
              <a:gd name="connsiteX29166" fmla="*/ 2309017 w 8079933"/>
              <a:gd name="connsiteY29166" fmla="*/ 1007241 h 4687251"/>
              <a:gd name="connsiteX29167" fmla="*/ 2307497 w 8079933"/>
              <a:gd name="connsiteY29167" fmla="*/ 1001503 h 4687251"/>
              <a:gd name="connsiteX29168" fmla="*/ 2304242 w 8079933"/>
              <a:gd name="connsiteY29168" fmla="*/ 997930 h 4687251"/>
              <a:gd name="connsiteX29169" fmla="*/ 2304242 w 8079933"/>
              <a:gd name="connsiteY29169" fmla="*/ 995331 h 4687251"/>
              <a:gd name="connsiteX29170" fmla="*/ 2306954 w 8079933"/>
              <a:gd name="connsiteY29170" fmla="*/ 994357 h 4687251"/>
              <a:gd name="connsiteX29171" fmla="*/ 2307172 w 8079933"/>
              <a:gd name="connsiteY29171" fmla="*/ 990568 h 4687251"/>
              <a:gd name="connsiteX29172" fmla="*/ 2310970 w 8079933"/>
              <a:gd name="connsiteY29172" fmla="*/ 983963 h 4687251"/>
              <a:gd name="connsiteX29173" fmla="*/ 2305978 w 8079933"/>
              <a:gd name="connsiteY29173" fmla="*/ 988835 h 4687251"/>
              <a:gd name="connsiteX29174" fmla="*/ 2304242 w 8079933"/>
              <a:gd name="connsiteY29174" fmla="*/ 989376 h 4687251"/>
              <a:gd name="connsiteX29175" fmla="*/ 2303699 w 8079933"/>
              <a:gd name="connsiteY29175" fmla="*/ 979415 h 4687251"/>
              <a:gd name="connsiteX29176" fmla="*/ 2301420 w 8079933"/>
              <a:gd name="connsiteY29176" fmla="*/ 978550 h 4687251"/>
              <a:gd name="connsiteX29177" fmla="*/ 2298708 w 8079933"/>
              <a:gd name="connsiteY29177" fmla="*/ 974002 h 4687251"/>
              <a:gd name="connsiteX29178" fmla="*/ 2294258 w 8079933"/>
              <a:gd name="connsiteY29178" fmla="*/ 976601 h 4687251"/>
              <a:gd name="connsiteX29179" fmla="*/ 2292630 w 8079933"/>
              <a:gd name="connsiteY29179" fmla="*/ 975085 h 4687251"/>
              <a:gd name="connsiteX29180" fmla="*/ 2288507 w 8079933"/>
              <a:gd name="connsiteY29180" fmla="*/ 975409 h 4687251"/>
              <a:gd name="connsiteX29181" fmla="*/ 2284274 w 8079933"/>
              <a:gd name="connsiteY29181" fmla="*/ 981906 h 4687251"/>
              <a:gd name="connsiteX29182" fmla="*/ 2286445 w 8079933"/>
              <a:gd name="connsiteY29182" fmla="*/ 982447 h 4687251"/>
              <a:gd name="connsiteX29183" fmla="*/ 2292630 w 8079933"/>
              <a:gd name="connsiteY29183" fmla="*/ 978333 h 4687251"/>
              <a:gd name="connsiteX29184" fmla="*/ 2295127 w 8079933"/>
              <a:gd name="connsiteY29184" fmla="*/ 979524 h 4687251"/>
              <a:gd name="connsiteX29185" fmla="*/ 2294801 w 8079933"/>
              <a:gd name="connsiteY29185" fmla="*/ 983638 h 4687251"/>
              <a:gd name="connsiteX29186" fmla="*/ 2298925 w 8079933"/>
              <a:gd name="connsiteY29186" fmla="*/ 985587 h 4687251"/>
              <a:gd name="connsiteX29187" fmla="*/ 2301854 w 8079933"/>
              <a:gd name="connsiteY29187" fmla="*/ 992733 h 4687251"/>
              <a:gd name="connsiteX29188" fmla="*/ 2300552 w 8079933"/>
              <a:gd name="connsiteY29188" fmla="*/ 999662 h 4687251"/>
              <a:gd name="connsiteX29189" fmla="*/ 2302831 w 8079933"/>
              <a:gd name="connsiteY29189" fmla="*/ 1001070 h 4687251"/>
              <a:gd name="connsiteX29190" fmla="*/ 2303916 w 8079933"/>
              <a:gd name="connsiteY29190" fmla="*/ 1007566 h 4687251"/>
              <a:gd name="connsiteX29191" fmla="*/ 2301963 w 8079933"/>
              <a:gd name="connsiteY29191" fmla="*/ 1010490 h 4687251"/>
              <a:gd name="connsiteX29192" fmla="*/ 2303483 w 8079933"/>
              <a:gd name="connsiteY29192" fmla="*/ 1012221 h 4687251"/>
              <a:gd name="connsiteX29193" fmla="*/ 2303156 w 8079933"/>
              <a:gd name="connsiteY29193" fmla="*/ 1016011 h 4687251"/>
              <a:gd name="connsiteX29194" fmla="*/ 2300770 w 8079933"/>
              <a:gd name="connsiteY29194" fmla="*/ 1016119 h 4687251"/>
              <a:gd name="connsiteX29195" fmla="*/ 2293173 w 8079933"/>
              <a:gd name="connsiteY29195" fmla="*/ 1009623 h 4687251"/>
              <a:gd name="connsiteX29196" fmla="*/ 2292522 w 8079933"/>
              <a:gd name="connsiteY29196" fmla="*/ 1005725 h 4687251"/>
              <a:gd name="connsiteX29197" fmla="*/ 2289267 w 8079933"/>
              <a:gd name="connsiteY29197" fmla="*/ 1004426 h 4687251"/>
              <a:gd name="connsiteX29198" fmla="*/ 2288181 w 8079933"/>
              <a:gd name="connsiteY29198" fmla="*/ 1000637 h 4687251"/>
              <a:gd name="connsiteX29199" fmla="*/ 2285468 w 8079933"/>
              <a:gd name="connsiteY29199" fmla="*/ 1004643 h 4687251"/>
              <a:gd name="connsiteX29200" fmla="*/ 2289917 w 8079933"/>
              <a:gd name="connsiteY29200" fmla="*/ 1008757 h 4687251"/>
              <a:gd name="connsiteX29201" fmla="*/ 2288832 w 8079933"/>
              <a:gd name="connsiteY29201" fmla="*/ 1012655 h 4687251"/>
              <a:gd name="connsiteX29202" fmla="*/ 2283406 w 8079933"/>
              <a:gd name="connsiteY29202" fmla="*/ 1009623 h 4687251"/>
              <a:gd name="connsiteX29203" fmla="*/ 2279717 w 8079933"/>
              <a:gd name="connsiteY29203" fmla="*/ 1008757 h 4687251"/>
              <a:gd name="connsiteX29204" fmla="*/ 2278849 w 8079933"/>
              <a:gd name="connsiteY29204" fmla="*/ 1006484 h 4687251"/>
              <a:gd name="connsiteX29205" fmla="*/ 2275593 w 8079933"/>
              <a:gd name="connsiteY29205" fmla="*/ 1008107 h 4687251"/>
              <a:gd name="connsiteX29206" fmla="*/ 2275485 w 8079933"/>
              <a:gd name="connsiteY29206" fmla="*/ 1004859 h 4687251"/>
              <a:gd name="connsiteX29207" fmla="*/ 2277655 w 8079933"/>
              <a:gd name="connsiteY29207" fmla="*/ 997930 h 4687251"/>
              <a:gd name="connsiteX29208" fmla="*/ 2278740 w 8079933"/>
              <a:gd name="connsiteY29208" fmla="*/ 996739 h 4687251"/>
              <a:gd name="connsiteX29209" fmla="*/ 2276136 w 8079933"/>
              <a:gd name="connsiteY29209" fmla="*/ 995548 h 4687251"/>
              <a:gd name="connsiteX29210" fmla="*/ 2275919 w 8079933"/>
              <a:gd name="connsiteY29210" fmla="*/ 993274 h 4687251"/>
              <a:gd name="connsiteX29211" fmla="*/ 2269082 w 8079933"/>
              <a:gd name="connsiteY29211" fmla="*/ 996089 h 4687251"/>
              <a:gd name="connsiteX29212" fmla="*/ 2263548 w 8079933"/>
              <a:gd name="connsiteY29212" fmla="*/ 996089 h 4687251"/>
              <a:gd name="connsiteX29213" fmla="*/ 2259533 w 8079933"/>
              <a:gd name="connsiteY29213" fmla="*/ 993166 h 4687251"/>
              <a:gd name="connsiteX29214" fmla="*/ 2255627 w 8079933"/>
              <a:gd name="connsiteY29214" fmla="*/ 993815 h 4687251"/>
              <a:gd name="connsiteX29215" fmla="*/ 2250417 w 8079933"/>
              <a:gd name="connsiteY29215" fmla="*/ 990351 h 4687251"/>
              <a:gd name="connsiteX29216" fmla="*/ 2249658 w 8079933"/>
              <a:gd name="connsiteY29216" fmla="*/ 994032 h 4687251"/>
              <a:gd name="connsiteX29217" fmla="*/ 2250960 w 8079933"/>
              <a:gd name="connsiteY29217" fmla="*/ 996956 h 4687251"/>
              <a:gd name="connsiteX29218" fmla="*/ 2248681 w 8079933"/>
              <a:gd name="connsiteY29218" fmla="*/ 998472 h 4687251"/>
              <a:gd name="connsiteX29219" fmla="*/ 2249115 w 8079933"/>
              <a:gd name="connsiteY29219" fmla="*/ 1003127 h 4687251"/>
              <a:gd name="connsiteX29220" fmla="*/ 2251286 w 8079933"/>
              <a:gd name="connsiteY29220" fmla="*/ 1006484 h 4687251"/>
              <a:gd name="connsiteX29221" fmla="*/ 2257145 w 8079933"/>
              <a:gd name="connsiteY29221" fmla="*/ 1007566 h 4687251"/>
              <a:gd name="connsiteX29222" fmla="*/ 2259750 w 8079933"/>
              <a:gd name="connsiteY29222" fmla="*/ 1011897 h 4687251"/>
              <a:gd name="connsiteX29223" fmla="*/ 2255952 w 8079933"/>
              <a:gd name="connsiteY29223" fmla="*/ 1018393 h 4687251"/>
              <a:gd name="connsiteX29224" fmla="*/ 2252914 w 8079933"/>
              <a:gd name="connsiteY29224" fmla="*/ 1019368 h 4687251"/>
              <a:gd name="connsiteX29225" fmla="*/ 2241628 w 8079933"/>
              <a:gd name="connsiteY29225" fmla="*/ 1027488 h 4687251"/>
              <a:gd name="connsiteX29226" fmla="*/ 2236853 w 8079933"/>
              <a:gd name="connsiteY29226" fmla="*/ 1033659 h 4687251"/>
              <a:gd name="connsiteX29227" fmla="*/ 2231319 w 8079933"/>
              <a:gd name="connsiteY29227" fmla="*/ 1040588 h 4687251"/>
              <a:gd name="connsiteX29228" fmla="*/ 2227846 w 8079933"/>
              <a:gd name="connsiteY29228" fmla="*/ 1039181 h 4687251"/>
              <a:gd name="connsiteX29229" fmla="*/ 2224265 w 8079933"/>
              <a:gd name="connsiteY29229" fmla="*/ 1041563 h 4687251"/>
              <a:gd name="connsiteX29230" fmla="*/ 2222420 w 8079933"/>
              <a:gd name="connsiteY29230" fmla="*/ 1047302 h 4687251"/>
              <a:gd name="connsiteX29231" fmla="*/ 2218080 w 8079933"/>
              <a:gd name="connsiteY29231" fmla="*/ 1049033 h 4687251"/>
              <a:gd name="connsiteX29232" fmla="*/ 2203105 w 8079933"/>
              <a:gd name="connsiteY29232" fmla="*/ 1045677 h 4687251"/>
              <a:gd name="connsiteX29233" fmla="*/ 2199848 w 8079933"/>
              <a:gd name="connsiteY29233" fmla="*/ 1041130 h 4687251"/>
              <a:gd name="connsiteX29234" fmla="*/ 2197787 w 8079933"/>
              <a:gd name="connsiteY29234" fmla="*/ 1035933 h 4687251"/>
              <a:gd name="connsiteX29235" fmla="*/ 2190299 w 8079933"/>
              <a:gd name="connsiteY29235" fmla="*/ 1032684 h 4687251"/>
              <a:gd name="connsiteX29236" fmla="*/ 2190516 w 8079933"/>
              <a:gd name="connsiteY29236" fmla="*/ 1030411 h 4687251"/>
              <a:gd name="connsiteX29237" fmla="*/ 2192904 w 8079933"/>
              <a:gd name="connsiteY29237" fmla="*/ 1030303 h 4687251"/>
              <a:gd name="connsiteX29238" fmla="*/ 2194749 w 8079933"/>
              <a:gd name="connsiteY29238" fmla="*/ 1028678 h 4687251"/>
              <a:gd name="connsiteX29239" fmla="*/ 2192361 w 8079933"/>
              <a:gd name="connsiteY29239" fmla="*/ 1026080 h 4687251"/>
              <a:gd name="connsiteX29240" fmla="*/ 2187912 w 8079933"/>
              <a:gd name="connsiteY29240" fmla="*/ 1024890 h 4687251"/>
              <a:gd name="connsiteX29241" fmla="*/ 2182920 w 8079933"/>
              <a:gd name="connsiteY29241" fmla="*/ 1015470 h 4687251"/>
              <a:gd name="connsiteX29242" fmla="*/ 2177060 w 8079933"/>
              <a:gd name="connsiteY29242" fmla="*/ 1010814 h 4687251"/>
              <a:gd name="connsiteX29243" fmla="*/ 2167402 w 8079933"/>
              <a:gd name="connsiteY29243" fmla="*/ 1010814 h 4687251"/>
              <a:gd name="connsiteX29244" fmla="*/ 2160566 w 8079933"/>
              <a:gd name="connsiteY29244" fmla="*/ 1006700 h 4687251"/>
              <a:gd name="connsiteX29245" fmla="*/ 2149497 w 8079933"/>
              <a:gd name="connsiteY29245" fmla="*/ 1006050 h 4687251"/>
              <a:gd name="connsiteX29246" fmla="*/ 2145156 w 8079933"/>
              <a:gd name="connsiteY29246" fmla="*/ 1004643 h 4687251"/>
              <a:gd name="connsiteX29247" fmla="*/ 2145048 w 8079933"/>
              <a:gd name="connsiteY29247" fmla="*/ 1007891 h 4687251"/>
              <a:gd name="connsiteX29248" fmla="*/ 2147978 w 8079933"/>
              <a:gd name="connsiteY29248" fmla="*/ 1011139 h 4687251"/>
              <a:gd name="connsiteX29249" fmla="*/ 2149606 w 8079933"/>
              <a:gd name="connsiteY29249" fmla="*/ 1008974 h 4687251"/>
              <a:gd name="connsiteX29250" fmla="*/ 2152644 w 8079933"/>
              <a:gd name="connsiteY29250" fmla="*/ 1008433 h 4687251"/>
              <a:gd name="connsiteX29251" fmla="*/ 2163278 w 8079933"/>
              <a:gd name="connsiteY29251" fmla="*/ 1012221 h 4687251"/>
              <a:gd name="connsiteX29252" fmla="*/ 2173045 w 8079933"/>
              <a:gd name="connsiteY29252" fmla="*/ 1012005 h 4687251"/>
              <a:gd name="connsiteX29253" fmla="*/ 2176192 w 8079933"/>
              <a:gd name="connsiteY29253" fmla="*/ 1014062 h 4687251"/>
              <a:gd name="connsiteX29254" fmla="*/ 2175107 w 8079933"/>
              <a:gd name="connsiteY29254" fmla="*/ 1016878 h 4687251"/>
              <a:gd name="connsiteX29255" fmla="*/ 2173262 w 8079933"/>
              <a:gd name="connsiteY29255" fmla="*/ 1016661 h 4687251"/>
              <a:gd name="connsiteX29256" fmla="*/ 2171743 w 8079933"/>
              <a:gd name="connsiteY29256" fmla="*/ 1018610 h 4687251"/>
              <a:gd name="connsiteX29257" fmla="*/ 2173045 w 8079933"/>
              <a:gd name="connsiteY29257" fmla="*/ 1019909 h 4687251"/>
              <a:gd name="connsiteX29258" fmla="*/ 2173805 w 8079933"/>
              <a:gd name="connsiteY29258" fmla="*/ 1027813 h 4687251"/>
              <a:gd name="connsiteX29259" fmla="*/ 2175867 w 8079933"/>
              <a:gd name="connsiteY29259" fmla="*/ 1028029 h 4687251"/>
              <a:gd name="connsiteX29260" fmla="*/ 2181075 w 8079933"/>
              <a:gd name="connsiteY29260" fmla="*/ 1038098 h 4687251"/>
              <a:gd name="connsiteX29261" fmla="*/ 2184114 w 8079933"/>
              <a:gd name="connsiteY29261" fmla="*/ 1045244 h 4687251"/>
              <a:gd name="connsiteX29262" fmla="*/ 2192904 w 8079933"/>
              <a:gd name="connsiteY29262" fmla="*/ 1048167 h 4687251"/>
              <a:gd name="connsiteX29263" fmla="*/ 2202236 w 8079933"/>
              <a:gd name="connsiteY29263" fmla="*/ 1049792 h 4687251"/>
              <a:gd name="connsiteX29264" fmla="*/ 2219273 w 8079933"/>
              <a:gd name="connsiteY29264" fmla="*/ 1054664 h 4687251"/>
              <a:gd name="connsiteX29265" fmla="*/ 2219925 w 8079933"/>
              <a:gd name="connsiteY29265" fmla="*/ 1059861 h 4687251"/>
              <a:gd name="connsiteX29266" fmla="*/ 2217862 w 8079933"/>
              <a:gd name="connsiteY29266" fmla="*/ 1061593 h 4687251"/>
              <a:gd name="connsiteX29267" fmla="*/ 2212545 w 8079933"/>
              <a:gd name="connsiteY29267" fmla="*/ 1065491 h 4687251"/>
              <a:gd name="connsiteX29268" fmla="*/ 2208204 w 8079933"/>
              <a:gd name="connsiteY29268" fmla="*/ 1067765 h 4687251"/>
              <a:gd name="connsiteX29269" fmla="*/ 2201368 w 8079933"/>
              <a:gd name="connsiteY29269" fmla="*/ 1076859 h 4687251"/>
              <a:gd name="connsiteX29270" fmla="*/ 2200283 w 8079933"/>
              <a:gd name="connsiteY29270" fmla="*/ 1074910 h 4687251"/>
              <a:gd name="connsiteX29271" fmla="*/ 2198221 w 8079933"/>
              <a:gd name="connsiteY29271" fmla="*/ 1076426 h 4687251"/>
              <a:gd name="connsiteX29272" fmla="*/ 2197570 w 8079933"/>
              <a:gd name="connsiteY29272" fmla="*/ 1079349 h 4687251"/>
              <a:gd name="connsiteX29273" fmla="*/ 2182378 w 8079933"/>
              <a:gd name="connsiteY29273" fmla="*/ 1095049 h 4687251"/>
              <a:gd name="connsiteX29274" fmla="*/ 2176192 w 8079933"/>
              <a:gd name="connsiteY29274" fmla="*/ 1097972 h 4687251"/>
              <a:gd name="connsiteX29275" fmla="*/ 2172069 w 8079933"/>
              <a:gd name="connsiteY29275" fmla="*/ 1105226 h 4687251"/>
              <a:gd name="connsiteX29276" fmla="*/ 2167945 w 8079933"/>
              <a:gd name="connsiteY29276" fmla="*/ 1106093 h 4687251"/>
              <a:gd name="connsiteX29277" fmla="*/ 2165666 w 8079933"/>
              <a:gd name="connsiteY29277" fmla="*/ 1104360 h 4687251"/>
              <a:gd name="connsiteX29278" fmla="*/ 2162953 w 8079933"/>
              <a:gd name="connsiteY29278" fmla="*/ 1104360 h 4687251"/>
              <a:gd name="connsiteX29279" fmla="*/ 2161868 w 8079933"/>
              <a:gd name="connsiteY29279" fmla="*/ 1106958 h 4687251"/>
              <a:gd name="connsiteX29280" fmla="*/ 2156008 w 8079933"/>
              <a:gd name="connsiteY29280" fmla="*/ 1100029 h 4687251"/>
              <a:gd name="connsiteX29281" fmla="*/ 2152427 w 8079933"/>
              <a:gd name="connsiteY29281" fmla="*/ 1098513 h 4687251"/>
              <a:gd name="connsiteX29282" fmla="*/ 2149606 w 8079933"/>
              <a:gd name="connsiteY29282" fmla="*/ 1101978 h 4687251"/>
              <a:gd name="connsiteX29283" fmla="*/ 2148521 w 8079933"/>
              <a:gd name="connsiteY29283" fmla="*/ 1098622 h 4687251"/>
              <a:gd name="connsiteX29284" fmla="*/ 2146567 w 8079933"/>
              <a:gd name="connsiteY29284" fmla="*/ 1097755 h 4687251"/>
              <a:gd name="connsiteX29285" fmla="*/ 2150039 w 8079933"/>
              <a:gd name="connsiteY29285" fmla="*/ 1093208 h 4687251"/>
              <a:gd name="connsiteX29286" fmla="*/ 2148521 w 8079933"/>
              <a:gd name="connsiteY29286" fmla="*/ 1092017 h 4687251"/>
              <a:gd name="connsiteX29287" fmla="*/ 2147435 w 8079933"/>
              <a:gd name="connsiteY29287" fmla="*/ 1089527 h 4687251"/>
              <a:gd name="connsiteX29288" fmla="*/ 2142769 w 8079933"/>
              <a:gd name="connsiteY29288" fmla="*/ 1092126 h 4687251"/>
              <a:gd name="connsiteX29289" fmla="*/ 2139188 w 8079933"/>
              <a:gd name="connsiteY29289" fmla="*/ 1101545 h 4687251"/>
              <a:gd name="connsiteX29290" fmla="*/ 2138862 w 8079933"/>
              <a:gd name="connsiteY29290" fmla="*/ 1097322 h 4687251"/>
              <a:gd name="connsiteX29291" fmla="*/ 2136258 w 8079933"/>
              <a:gd name="connsiteY29291" fmla="*/ 1089744 h 4687251"/>
              <a:gd name="connsiteX29292" fmla="*/ 2134196 w 8079933"/>
              <a:gd name="connsiteY29292" fmla="*/ 1096456 h 4687251"/>
              <a:gd name="connsiteX29293" fmla="*/ 2136584 w 8079933"/>
              <a:gd name="connsiteY29293" fmla="*/ 1099379 h 4687251"/>
              <a:gd name="connsiteX29294" fmla="*/ 2136041 w 8079933"/>
              <a:gd name="connsiteY29294" fmla="*/ 1108258 h 4687251"/>
              <a:gd name="connsiteX29295" fmla="*/ 2130398 w 8079933"/>
              <a:gd name="connsiteY29295" fmla="*/ 1116161 h 4687251"/>
              <a:gd name="connsiteX29296" fmla="*/ 2127251 w 8079933"/>
              <a:gd name="connsiteY29296" fmla="*/ 1115403 h 4687251"/>
              <a:gd name="connsiteX29297" fmla="*/ 2126275 w 8079933"/>
              <a:gd name="connsiteY29297" fmla="*/ 1112372 h 4687251"/>
              <a:gd name="connsiteX29298" fmla="*/ 2122802 w 8079933"/>
              <a:gd name="connsiteY29298" fmla="*/ 1106742 h 4687251"/>
              <a:gd name="connsiteX29299" fmla="*/ 2121608 w 8079933"/>
              <a:gd name="connsiteY29299" fmla="*/ 1111073 h 4687251"/>
              <a:gd name="connsiteX29300" fmla="*/ 2124864 w 8079933"/>
              <a:gd name="connsiteY29300" fmla="*/ 1113671 h 4687251"/>
              <a:gd name="connsiteX29301" fmla="*/ 2120089 w 8079933"/>
              <a:gd name="connsiteY29301" fmla="*/ 1116161 h 4687251"/>
              <a:gd name="connsiteX29302" fmla="*/ 2119547 w 8079933"/>
              <a:gd name="connsiteY29302" fmla="*/ 1121358 h 4687251"/>
              <a:gd name="connsiteX29303" fmla="*/ 2117810 w 8079933"/>
              <a:gd name="connsiteY29303" fmla="*/ 1119626 h 4687251"/>
              <a:gd name="connsiteX29304" fmla="*/ 2112601 w 8079933"/>
              <a:gd name="connsiteY29304" fmla="*/ 1117894 h 4687251"/>
              <a:gd name="connsiteX29305" fmla="*/ 2111951 w 8079933"/>
              <a:gd name="connsiteY29305" fmla="*/ 1114429 h 4687251"/>
              <a:gd name="connsiteX29306" fmla="*/ 2107935 w 8079933"/>
              <a:gd name="connsiteY29306" fmla="*/ 1111939 h 4687251"/>
              <a:gd name="connsiteX29307" fmla="*/ 2103269 w 8079933"/>
              <a:gd name="connsiteY29307" fmla="*/ 1105659 h 4687251"/>
              <a:gd name="connsiteX29308" fmla="*/ 2093828 w 8079933"/>
              <a:gd name="connsiteY29308" fmla="*/ 1102303 h 4687251"/>
              <a:gd name="connsiteX29309" fmla="*/ 2084930 w 8079933"/>
              <a:gd name="connsiteY29309" fmla="*/ 1097106 h 4687251"/>
              <a:gd name="connsiteX29310" fmla="*/ 2082000 w 8079933"/>
              <a:gd name="connsiteY29310" fmla="*/ 1090068 h 4687251"/>
              <a:gd name="connsiteX29311" fmla="*/ 2078202 w 8079933"/>
              <a:gd name="connsiteY29311" fmla="*/ 1088661 h 4687251"/>
              <a:gd name="connsiteX29312" fmla="*/ 2071582 w 8079933"/>
              <a:gd name="connsiteY29312" fmla="*/ 1083680 h 4687251"/>
              <a:gd name="connsiteX29313" fmla="*/ 2069411 w 8079933"/>
              <a:gd name="connsiteY29313" fmla="*/ 1079891 h 4687251"/>
              <a:gd name="connsiteX29314" fmla="*/ 2069086 w 8079933"/>
              <a:gd name="connsiteY29314" fmla="*/ 1086928 h 4687251"/>
              <a:gd name="connsiteX29315" fmla="*/ 2064854 w 8079933"/>
              <a:gd name="connsiteY29315" fmla="*/ 1085954 h 4687251"/>
              <a:gd name="connsiteX29316" fmla="*/ 2067458 w 8079933"/>
              <a:gd name="connsiteY29316" fmla="*/ 1092775 h 4687251"/>
              <a:gd name="connsiteX29317" fmla="*/ 2071582 w 8079933"/>
              <a:gd name="connsiteY29317" fmla="*/ 1096456 h 4687251"/>
              <a:gd name="connsiteX29318" fmla="*/ 2073210 w 8079933"/>
              <a:gd name="connsiteY29318" fmla="*/ 1094507 h 4687251"/>
              <a:gd name="connsiteX29319" fmla="*/ 2071256 w 8079933"/>
              <a:gd name="connsiteY29319" fmla="*/ 1091043 h 4687251"/>
              <a:gd name="connsiteX29320" fmla="*/ 2072124 w 8079933"/>
              <a:gd name="connsiteY29320" fmla="*/ 1088985 h 4687251"/>
              <a:gd name="connsiteX29321" fmla="*/ 2074078 w 8079933"/>
              <a:gd name="connsiteY29321" fmla="*/ 1089202 h 4687251"/>
              <a:gd name="connsiteX29322" fmla="*/ 2083627 w 8079933"/>
              <a:gd name="connsiteY29322" fmla="*/ 1099163 h 4687251"/>
              <a:gd name="connsiteX29323" fmla="*/ 2092309 w 8079933"/>
              <a:gd name="connsiteY29323" fmla="*/ 1104468 h 4687251"/>
              <a:gd name="connsiteX29324" fmla="*/ 2093177 w 8079933"/>
              <a:gd name="connsiteY29324" fmla="*/ 1106526 h 4687251"/>
              <a:gd name="connsiteX29325" fmla="*/ 2087426 w 8079933"/>
              <a:gd name="connsiteY29325" fmla="*/ 1110315 h 4687251"/>
              <a:gd name="connsiteX29326" fmla="*/ 2081783 w 8079933"/>
              <a:gd name="connsiteY29326" fmla="*/ 1111181 h 4687251"/>
              <a:gd name="connsiteX29327" fmla="*/ 2078635 w 8079933"/>
              <a:gd name="connsiteY29327" fmla="*/ 1110315 h 4687251"/>
              <a:gd name="connsiteX29328" fmla="*/ 2079720 w 8079933"/>
              <a:gd name="connsiteY29328" fmla="*/ 1113238 h 4687251"/>
              <a:gd name="connsiteX29329" fmla="*/ 2079720 w 8079933"/>
              <a:gd name="connsiteY29329" fmla="*/ 1114862 h 4687251"/>
              <a:gd name="connsiteX29330" fmla="*/ 2082108 w 8079933"/>
              <a:gd name="connsiteY29330" fmla="*/ 1113671 h 4687251"/>
              <a:gd name="connsiteX29331" fmla="*/ 2091441 w 8079933"/>
              <a:gd name="connsiteY29331" fmla="*/ 1112913 h 4687251"/>
              <a:gd name="connsiteX29332" fmla="*/ 2096432 w 8079933"/>
              <a:gd name="connsiteY29332" fmla="*/ 1107933 h 4687251"/>
              <a:gd name="connsiteX29333" fmla="*/ 2098711 w 8079933"/>
              <a:gd name="connsiteY29333" fmla="*/ 1107391 h 4687251"/>
              <a:gd name="connsiteX29334" fmla="*/ 2101641 w 8079933"/>
              <a:gd name="connsiteY29334" fmla="*/ 1110856 h 4687251"/>
              <a:gd name="connsiteX29335" fmla="*/ 2102618 w 8079933"/>
              <a:gd name="connsiteY29335" fmla="*/ 1116919 h 4687251"/>
              <a:gd name="connsiteX29336" fmla="*/ 2111624 w 8079933"/>
              <a:gd name="connsiteY29336" fmla="*/ 1127422 h 4687251"/>
              <a:gd name="connsiteX29337" fmla="*/ 2110756 w 8079933"/>
              <a:gd name="connsiteY29337" fmla="*/ 1138248 h 4687251"/>
              <a:gd name="connsiteX29338" fmla="*/ 2104571 w 8079933"/>
              <a:gd name="connsiteY29338" fmla="*/ 1144745 h 4687251"/>
              <a:gd name="connsiteX29339" fmla="*/ 2100556 w 8079933"/>
              <a:gd name="connsiteY29339" fmla="*/ 1145070 h 4687251"/>
              <a:gd name="connsiteX29340" fmla="*/ 2097843 w 8079933"/>
              <a:gd name="connsiteY29340" fmla="*/ 1147343 h 4687251"/>
              <a:gd name="connsiteX29341" fmla="*/ 2092309 w 8079933"/>
              <a:gd name="connsiteY29341" fmla="*/ 1147019 h 4687251"/>
              <a:gd name="connsiteX29342" fmla="*/ 2088294 w 8079933"/>
              <a:gd name="connsiteY29342" fmla="*/ 1144203 h 4687251"/>
              <a:gd name="connsiteX29343" fmla="*/ 2077659 w 8079933"/>
              <a:gd name="connsiteY29343" fmla="*/ 1142146 h 4687251"/>
              <a:gd name="connsiteX29344" fmla="*/ 2071474 w 8079933"/>
              <a:gd name="connsiteY29344" fmla="*/ 1134134 h 4687251"/>
              <a:gd name="connsiteX29345" fmla="*/ 2069194 w 8079933"/>
              <a:gd name="connsiteY29345" fmla="*/ 1126339 h 4687251"/>
              <a:gd name="connsiteX29346" fmla="*/ 2065722 w 8079933"/>
              <a:gd name="connsiteY29346" fmla="*/ 1123091 h 4687251"/>
              <a:gd name="connsiteX29347" fmla="*/ 2064528 w 8079933"/>
              <a:gd name="connsiteY29347" fmla="*/ 1124931 h 4687251"/>
              <a:gd name="connsiteX29348" fmla="*/ 2065288 w 8079933"/>
              <a:gd name="connsiteY29348" fmla="*/ 1128071 h 4687251"/>
              <a:gd name="connsiteX29349" fmla="*/ 2065071 w 8079933"/>
              <a:gd name="connsiteY29349" fmla="*/ 1132727 h 4687251"/>
              <a:gd name="connsiteX29350" fmla="*/ 2069194 w 8079933"/>
              <a:gd name="connsiteY29350" fmla="*/ 1137815 h 4687251"/>
              <a:gd name="connsiteX29351" fmla="*/ 2072667 w 8079933"/>
              <a:gd name="connsiteY29351" fmla="*/ 1147668 h 4687251"/>
              <a:gd name="connsiteX29352" fmla="*/ 2077442 w 8079933"/>
              <a:gd name="connsiteY29352" fmla="*/ 1155897 h 4687251"/>
              <a:gd name="connsiteX29353" fmla="*/ 2074729 w 8079933"/>
              <a:gd name="connsiteY29353" fmla="*/ 1158279 h 4687251"/>
              <a:gd name="connsiteX29354" fmla="*/ 2072016 w 8079933"/>
              <a:gd name="connsiteY29354" fmla="*/ 1156980 h 4687251"/>
              <a:gd name="connsiteX29355" fmla="*/ 2067458 w 8079933"/>
              <a:gd name="connsiteY29355" fmla="*/ 1157629 h 4687251"/>
              <a:gd name="connsiteX29356" fmla="*/ 2065940 w 8079933"/>
              <a:gd name="connsiteY29356" fmla="*/ 1151458 h 4687251"/>
              <a:gd name="connsiteX29357" fmla="*/ 2065071 w 8079933"/>
              <a:gd name="connsiteY29357" fmla="*/ 1154489 h 4687251"/>
              <a:gd name="connsiteX29358" fmla="*/ 2063227 w 8079933"/>
              <a:gd name="connsiteY29358" fmla="*/ 1155897 h 4687251"/>
              <a:gd name="connsiteX29359" fmla="*/ 2064745 w 8079933"/>
              <a:gd name="connsiteY29359" fmla="*/ 1158820 h 4687251"/>
              <a:gd name="connsiteX29360" fmla="*/ 2068652 w 8079933"/>
              <a:gd name="connsiteY29360" fmla="*/ 1160552 h 4687251"/>
              <a:gd name="connsiteX29361" fmla="*/ 2070063 w 8079933"/>
              <a:gd name="connsiteY29361" fmla="*/ 1163476 h 4687251"/>
              <a:gd name="connsiteX29362" fmla="*/ 2061598 w 8079933"/>
              <a:gd name="connsiteY29362" fmla="*/ 1161419 h 4687251"/>
              <a:gd name="connsiteX29363" fmla="*/ 2059537 w 8079933"/>
              <a:gd name="connsiteY29363" fmla="*/ 1159686 h 4687251"/>
              <a:gd name="connsiteX29364" fmla="*/ 2059211 w 8079933"/>
              <a:gd name="connsiteY29364" fmla="*/ 1163801 h 4687251"/>
              <a:gd name="connsiteX29365" fmla="*/ 2061924 w 8079933"/>
              <a:gd name="connsiteY29365" fmla="*/ 1166182 h 4687251"/>
              <a:gd name="connsiteX29366" fmla="*/ 2061924 w 8079933"/>
              <a:gd name="connsiteY29366" fmla="*/ 1169864 h 4687251"/>
              <a:gd name="connsiteX29367" fmla="*/ 2058343 w 8079933"/>
              <a:gd name="connsiteY29367" fmla="*/ 1174411 h 4687251"/>
              <a:gd name="connsiteX29368" fmla="*/ 2057475 w 8079933"/>
              <a:gd name="connsiteY29368" fmla="*/ 1168997 h 4687251"/>
              <a:gd name="connsiteX29369" fmla="*/ 2054545 w 8079933"/>
              <a:gd name="connsiteY29369" fmla="*/ 1168456 h 4687251"/>
              <a:gd name="connsiteX29370" fmla="*/ 2056064 w 8079933"/>
              <a:gd name="connsiteY29370" fmla="*/ 1170513 h 4687251"/>
              <a:gd name="connsiteX29371" fmla="*/ 2055304 w 8079933"/>
              <a:gd name="connsiteY29371" fmla="*/ 1174086 h 4687251"/>
              <a:gd name="connsiteX29372" fmla="*/ 2053677 w 8079933"/>
              <a:gd name="connsiteY29372" fmla="*/ 1172895 h 4687251"/>
              <a:gd name="connsiteX29373" fmla="*/ 2047817 w 8079933"/>
              <a:gd name="connsiteY29373" fmla="*/ 1172570 h 4687251"/>
              <a:gd name="connsiteX29374" fmla="*/ 2045646 w 8079933"/>
              <a:gd name="connsiteY29374" fmla="*/ 1175494 h 4687251"/>
              <a:gd name="connsiteX29375" fmla="*/ 2038484 w 8079933"/>
              <a:gd name="connsiteY29375" fmla="*/ 1178309 h 4687251"/>
              <a:gd name="connsiteX29376" fmla="*/ 2042391 w 8079933"/>
              <a:gd name="connsiteY29376" fmla="*/ 1180691 h 4687251"/>
              <a:gd name="connsiteX29377" fmla="*/ 2043150 w 8079933"/>
              <a:gd name="connsiteY29377" fmla="*/ 1184047 h 4687251"/>
              <a:gd name="connsiteX29378" fmla="*/ 2041089 w 8079933"/>
              <a:gd name="connsiteY29378" fmla="*/ 1184913 h 4687251"/>
              <a:gd name="connsiteX29379" fmla="*/ 2040220 w 8079933"/>
              <a:gd name="connsiteY29379" fmla="*/ 1182856 h 4687251"/>
              <a:gd name="connsiteX29380" fmla="*/ 2034904 w 8079933"/>
              <a:gd name="connsiteY29380" fmla="*/ 1178958 h 4687251"/>
              <a:gd name="connsiteX29381" fmla="*/ 2031105 w 8079933"/>
              <a:gd name="connsiteY29381" fmla="*/ 1178309 h 4687251"/>
              <a:gd name="connsiteX29382" fmla="*/ 2030780 w 8079933"/>
              <a:gd name="connsiteY29382" fmla="*/ 1181123 h 4687251"/>
              <a:gd name="connsiteX29383" fmla="*/ 2028393 w 8079933"/>
              <a:gd name="connsiteY29383" fmla="*/ 1182531 h 4687251"/>
              <a:gd name="connsiteX29384" fmla="*/ 2034253 w 8079933"/>
              <a:gd name="connsiteY29384" fmla="*/ 1186862 h 4687251"/>
              <a:gd name="connsiteX29385" fmla="*/ 2032191 w 8079933"/>
              <a:gd name="connsiteY29385" fmla="*/ 1189461 h 4687251"/>
              <a:gd name="connsiteX29386" fmla="*/ 2032191 w 8079933"/>
              <a:gd name="connsiteY29386" fmla="*/ 1192059 h 4687251"/>
              <a:gd name="connsiteX29387" fmla="*/ 2027524 w 8079933"/>
              <a:gd name="connsiteY29387" fmla="*/ 1191843 h 4687251"/>
              <a:gd name="connsiteX29388" fmla="*/ 2023727 w 8079933"/>
              <a:gd name="connsiteY29388" fmla="*/ 1198014 h 4687251"/>
              <a:gd name="connsiteX29389" fmla="*/ 2017866 w 8079933"/>
              <a:gd name="connsiteY29389" fmla="*/ 1201154 h 4687251"/>
              <a:gd name="connsiteX29390" fmla="*/ 2020254 w 8079933"/>
              <a:gd name="connsiteY29390" fmla="*/ 1204186 h 4687251"/>
              <a:gd name="connsiteX29391" fmla="*/ 2019060 w 8079933"/>
              <a:gd name="connsiteY29391" fmla="*/ 1207000 h 4687251"/>
              <a:gd name="connsiteX29392" fmla="*/ 2016021 w 8079933"/>
              <a:gd name="connsiteY29392" fmla="*/ 1207000 h 4687251"/>
              <a:gd name="connsiteX29393" fmla="*/ 2013200 w 8079933"/>
              <a:gd name="connsiteY29393" fmla="*/ 1210573 h 4687251"/>
              <a:gd name="connsiteX29394" fmla="*/ 2014068 w 8079933"/>
              <a:gd name="connsiteY29394" fmla="*/ 1214471 h 4687251"/>
              <a:gd name="connsiteX29395" fmla="*/ 2009945 w 8079933"/>
              <a:gd name="connsiteY29395" fmla="*/ 1216204 h 4687251"/>
              <a:gd name="connsiteX29396" fmla="*/ 2002891 w 8079933"/>
              <a:gd name="connsiteY29396" fmla="*/ 1224107 h 4687251"/>
              <a:gd name="connsiteX29397" fmla="*/ 1997791 w 8079933"/>
              <a:gd name="connsiteY29397" fmla="*/ 1225515 h 4687251"/>
              <a:gd name="connsiteX29398" fmla="*/ 1997466 w 8079933"/>
              <a:gd name="connsiteY29398" fmla="*/ 1229629 h 4687251"/>
              <a:gd name="connsiteX29399" fmla="*/ 1992582 w 8079933"/>
              <a:gd name="connsiteY29399" fmla="*/ 1234068 h 4687251"/>
              <a:gd name="connsiteX29400" fmla="*/ 1987373 w 8079933"/>
              <a:gd name="connsiteY29400" fmla="*/ 1230604 h 4687251"/>
              <a:gd name="connsiteX29401" fmla="*/ 1987048 w 8079933"/>
              <a:gd name="connsiteY29401" fmla="*/ 1233418 h 4687251"/>
              <a:gd name="connsiteX29402" fmla="*/ 1989435 w 8079933"/>
              <a:gd name="connsiteY29402" fmla="*/ 1238832 h 4687251"/>
              <a:gd name="connsiteX29403" fmla="*/ 1984985 w 8079933"/>
              <a:gd name="connsiteY29403" fmla="*/ 1243379 h 4687251"/>
              <a:gd name="connsiteX29404" fmla="*/ 1983250 w 8079933"/>
              <a:gd name="connsiteY29404" fmla="*/ 1251933 h 4687251"/>
              <a:gd name="connsiteX29405" fmla="*/ 1980537 w 8079933"/>
              <a:gd name="connsiteY29405" fmla="*/ 1256480 h 4687251"/>
              <a:gd name="connsiteX29406" fmla="*/ 1978475 w 8079933"/>
              <a:gd name="connsiteY29406" fmla="*/ 1262652 h 4687251"/>
              <a:gd name="connsiteX29407" fmla="*/ 1974676 w 8079933"/>
              <a:gd name="connsiteY29407" fmla="*/ 1264708 h 4687251"/>
              <a:gd name="connsiteX29408" fmla="*/ 1971204 w 8079933"/>
              <a:gd name="connsiteY29408" fmla="*/ 1274345 h 4687251"/>
              <a:gd name="connsiteX29409" fmla="*/ 1973049 w 8079933"/>
              <a:gd name="connsiteY29409" fmla="*/ 1276402 h 4687251"/>
              <a:gd name="connsiteX29410" fmla="*/ 1973049 w 8079933"/>
              <a:gd name="connsiteY29410" fmla="*/ 1283331 h 4687251"/>
              <a:gd name="connsiteX29411" fmla="*/ 1968816 w 8079933"/>
              <a:gd name="connsiteY29411" fmla="*/ 1290693 h 4687251"/>
              <a:gd name="connsiteX29412" fmla="*/ 1967189 w 8079933"/>
              <a:gd name="connsiteY29412" fmla="*/ 1294808 h 4687251"/>
              <a:gd name="connsiteX29413" fmla="*/ 1962849 w 8079933"/>
              <a:gd name="connsiteY29413" fmla="*/ 1296215 h 4687251"/>
              <a:gd name="connsiteX29414" fmla="*/ 1960787 w 8079933"/>
              <a:gd name="connsiteY29414" fmla="*/ 1298381 h 4687251"/>
              <a:gd name="connsiteX29415" fmla="*/ 1965887 w 8079933"/>
              <a:gd name="connsiteY29415" fmla="*/ 1299464 h 4687251"/>
              <a:gd name="connsiteX29416" fmla="*/ 1967080 w 8079933"/>
              <a:gd name="connsiteY29416" fmla="*/ 1303036 h 4687251"/>
              <a:gd name="connsiteX29417" fmla="*/ 1965670 w 8079933"/>
              <a:gd name="connsiteY29417" fmla="*/ 1307367 h 4687251"/>
              <a:gd name="connsiteX29418" fmla="*/ 1968057 w 8079933"/>
              <a:gd name="connsiteY29418" fmla="*/ 1310291 h 4687251"/>
              <a:gd name="connsiteX29419" fmla="*/ 1967840 w 8079933"/>
              <a:gd name="connsiteY29419" fmla="*/ 1316462 h 4687251"/>
              <a:gd name="connsiteX29420" fmla="*/ 1969793 w 8079933"/>
              <a:gd name="connsiteY29420" fmla="*/ 1317545 h 4687251"/>
              <a:gd name="connsiteX29421" fmla="*/ 1965344 w 8079933"/>
              <a:gd name="connsiteY29421" fmla="*/ 1328697 h 4687251"/>
              <a:gd name="connsiteX29422" fmla="*/ 1959050 w 8079933"/>
              <a:gd name="connsiteY29422" fmla="*/ 1334652 h 4687251"/>
              <a:gd name="connsiteX29423" fmla="*/ 1946137 w 8079933"/>
              <a:gd name="connsiteY29423" fmla="*/ 1337575 h 4687251"/>
              <a:gd name="connsiteX29424" fmla="*/ 1944292 w 8079933"/>
              <a:gd name="connsiteY29424" fmla="*/ 1342447 h 4687251"/>
              <a:gd name="connsiteX29425" fmla="*/ 1950694 w 8079933"/>
              <a:gd name="connsiteY29425" fmla="*/ 1337142 h 4687251"/>
              <a:gd name="connsiteX29426" fmla="*/ 1961655 w 8079933"/>
              <a:gd name="connsiteY29426" fmla="*/ 1335734 h 4687251"/>
              <a:gd name="connsiteX29427" fmla="*/ 1970010 w 8079933"/>
              <a:gd name="connsiteY29427" fmla="*/ 1325556 h 4687251"/>
              <a:gd name="connsiteX29428" fmla="*/ 1975979 w 8079933"/>
              <a:gd name="connsiteY29428" fmla="*/ 1313755 h 4687251"/>
              <a:gd name="connsiteX29429" fmla="*/ 1989760 w 8079933"/>
              <a:gd name="connsiteY29429" fmla="*/ 1313214 h 4687251"/>
              <a:gd name="connsiteX29430" fmla="*/ 1993884 w 8079933"/>
              <a:gd name="connsiteY29430" fmla="*/ 1315054 h 4687251"/>
              <a:gd name="connsiteX29431" fmla="*/ 1993884 w 8079933"/>
              <a:gd name="connsiteY29431" fmla="*/ 1319601 h 4687251"/>
              <a:gd name="connsiteX29432" fmla="*/ 1992039 w 8079933"/>
              <a:gd name="connsiteY29432" fmla="*/ 1324691 h 4687251"/>
              <a:gd name="connsiteX29433" fmla="*/ 1992039 w 8079933"/>
              <a:gd name="connsiteY29433" fmla="*/ 1330429 h 4687251"/>
              <a:gd name="connsiteX29434" fmla="*/ 1994753 w 8079933"/>
              <a:gd name="connsiteY29434" fmla="*/ 1336709 h 4687251"/>
              <a:gd name="connsiteX29435" fmla="*/ 1994753 w 8079933"/>
              <a:gd name="connsiteY29435" fmla="*/ 1346345 h 4687251"/>
              <a:gd name="connsiteX29436" fmla="*/ 1991171 w 8079933"/>
              <a:gd name="connsiteY29436" fmla="*/ 1355656 h 4687251"/>
              <a:gd name="connsiteX29437" fmla="*/ 1994101 w 8079933"/>
              <a:gd name="connsiteY29437" fmla="*/ 1359770 h 4687251"/>
              <a:gd name="connsiteX29438" fmla="*/ 1995837 w 8079933"/>
              <a:gd name="connsiteY29438" fmla="*/ 1369082 h 4687251"/>
              <a:gd name="connsiteX29439" fmla="*/ 1993884 w 8079933"/>
              <a:gd name="connsiteY29439" fmla="*/ 1373845 h 4687251"/>
              <a:gd name="connsiteX29440" fmla="*/ 1979234 w 8079933"/>
              <a:gd name="connsiteY29440" fmla="*/ 1387812 h 4687251"/>
              <a:gd name="connsiteX29441" fmla="*/ 1972181 w 8079933"/>
              <a:gd name="connsiteY29441" fmla="*/ 1390194 h 4687251"/>
              <a:gd name="connsiteX29442" fmla="*/ 1967080 w 8079933"/>
              <a:gd name="connsiteY29442" fmla="*/ 1389328 h 4687251"/>
              <a:gd name="connsiteX29443" fmla="*/ 1972398 w 8079933"/>
              <a:gd name="connsiteY29443" fmla="*/ 1391602 h 4687251"/>
              <a:gd name="connsiteX29444" fmla="*/ 1979451 w 8079933"/>
              <a:gd name="connsiteY29444" fmla="*/ 1391710 h 4687251"/>
              <a:gd name="connsiteX29445" fmla="*/ 1996489 w 8079933"/>
              <a:gd name="connsiteY29445" fmla="*/ 1386296 h 4687251"/>
              <a:gd name="connsiteX29446" fmla="*/ 2013743 w 8079933"/>
              <a:gd name="connsiteY29446" fmla="*/ 1380558 h 4687251"/>
              <a:gd name="connsiteX29447" fmla="*/ 2022207 w 8079933"/>
              <a:gd name="connsiteY29447" fmla="*/ 1379692 h 4687251"/>
              <a:gd name="connsiteX29448" fmla="*/ 2033059 w 8079933"/>
              <a:gd name="connsiteY29448" fmla="*/ 1386730 h 4687251"/>
              <a:gd name="connsiteX29449" fmla="*/ 2040112 w 8079933"/>
              <a:gd name="connsiteY29449" fmla="*/ 1393118 h 4687251"/>
              <a:gd name="connsiteX29450" fmla="*/ 2050421 w 8079933"/>
              <a:gd name="connsiteY29450" fmla="*/ 1396257 h 4687251"/>
              <a:gd name="connsiteX29451" fmla="*/ 2053243 w 8079933"/>
              <a:gd name="connsiteY29451" fmla="*/ 1398639 h 4687251"/>
              <a:gd name="connsiteX29452" fmla="*/ 2057801 w 8079933"/>
              <a:gd name="connsiteY29452" fmla="*/ 1399830 h 4687251"/>
              <a:gd name="connsiteX29453" fmla="*/ 2065397 w 8079933"/>
              <a:gd name="connsiteY29453" fmla="*/ 1407518 h 4687251"/>
              <a:gd name="connsiteX29454" fmla="*/ 2069086 w 8079933"/>
              <a:gd name="connsiteY29454" fmla="*/ 1409141 h 4687251"/>
              <a:gd name="connsiteX29455" fmla="*/ 2072884 w 8079933"/>
              <a:gd name="connsiteY29455" fmla="*/ 1416179 h 4687251"/>
              <a:gd name="connsiteX29456" fmla="*/ 2077008 w 8079933"/>
              <a:gd name="connsiteY29456" fmla="*/ 1418778 h 4687251"/>
              <a:gd name="connsiteX29457" fmla="*/ 2077008 w 8079933"/>
              <a:gd name="connsiteY29457" fmla="*/ 1422892 h 4687251"/>
              <a:gd name="connsiteX29458" fmla="*/ 2080047 w 8079933"/>
              <a:gd name="connsiteY29458" fmla="*/ 1426357 h 4687251"/>
              <a:gd name="connsiteX29459" fmla="*/ 2083302 w 8079933"/>
              <a:gd name="connsiteY29459" fmla="*/ 1434369 h 4687251"/>
              <a:gd name="connsiteX29460" fmla="*/ 2083193 w 8079933"/>
              <a:gd name="connsiteY29460" fmla="*/ 1436642 h 4687251"/>
              <a:gd name="connsiteX29461" fmla="*/ 2086449 w 8079933"/>
              <a:gd name="connsiteY29461" fmla="*/ 1435235 h 4687251"/>
              <a:gd name="connsiteX29462" fmla="*/ 2088728 w 8079933"/>
              <a:gd name="connsiteY29462" fmla="*/ 1437834 h 4687251"/>
              <a:gd name="connsiteX29463" fmla="*/ 2098494 w 8079933"/>
              <a:gd name="connsiteY29463" fmla="*/ 1444330 h 4687251"/>
              <a:gd name="connsiteX29464" fmla="*/ 2101967 w 8079933"/>
              <a:gd name="connsiteY29464" fmla="*/ 1445196 h 4687251"/>
              <a:gd name="connsiteX29465" fmla="*/ 2109020 w 8079933"/>
              <a:gd name="connsiteY29465" fmla="*/ 1450176 h 4687251"/>
              <a:gd name="connsiteX29466" fmla="*/ 2112601 w 8079933"/>
              <a:gd name="connsiteY29466" fmla="*/ 1451367 h 4687251"/>
              <a:gd name="connsiteX29467" fmla="*/ 2120740 w 8079933"/>
              <a:gd name="connsiteY29467" fmla="*/ 1458621 h 4687251"/>
              <a:gd name="connsiteX29468" fmla="*/ 2121608 w 8079933"/>
              <a:gd name="connsiteY29468" fmla="*/ 1462086 h 4687251"/>
              <a:gd name="connsiteX29469" fmla="*/ 2127576 w 8079933"/>
              <a:gd name="connsiteY29469" fmla="*/ 1467932 h 4687251"/>
              <a:gd name="connsiteX29470" fmla="*/ 2126708 w 8079933"/>
              <a:gd name="connsiteY29470" fmla="*/ 1470098 h 4687251"/>
              <a:gd name="connsiteX29471" fmla="*/ 2128336 w 8079933"/>
              <a:gd name="connsiteY29471" fmla="*/ 1471722 h 4687251"/>
              <a:gd name="connsiteX29472" fmla="*/ 2135824 w 8079933"/>
              <a:gd name="connsiteY29472" fmla="*/ 1471830 h 4687251"/>
              <a:gd name="connsiteX29473" fmla="*/ 2138103 w 8079933"/>
              <a:gd name="connsiteY29473" fmla="*/ 1472697 h 4687251"/>
              <a:gd name="connsiteX29474" fmla="*/ 2143528 w 8079933"/>
              <a:gd name="connsiteY29474" fmla="*/ 1471505 h 4687251"/>
              <a:gd name="connsiteX29475" fmla="*/ 2153621 w 8079933"/>
              <a:gd name="connsiteY29475" fmla="*/ 1471830 h 4687251"/>
              <a:gd name="connsiteX29476" fmla="*/ 2156008 w 8079933"/>
              <a:gd name="connsiteY29476" fmla="*/ 1474104 h 4687251"/>
              <a:gd name="connsiteX29477" fmla="*/ 2157962 w 8079933"/>
              <a:gd name="connsiteY29477" fmla="*/ 1474104 h 4687251"/>
              <a:gd name="connsiteX29478" fmla="*/ 2165341 w 8079933"/>
              <a:gd name="connsiteY29478" fmla="*/ 1476378 h 4687251"/>
              <a:gd name="connsiteX29479" fmla="*/ 2173479 w 8079933"/>
              <a:gd name="connsiteY29479" fmla="*/ 1477893 h 4687251"/>
              <a:gd name="connsiteX29480" fmla="*/ 2179339 w 8079933"/>
              <a:gd name="connsiteY29480" fmla="*/ 1475944 h 4687251"/>
              <a:gd name="connsiteX29481" fmla="*/ 2182703 w 8079933"/>
              <a:gd name="connsiteY29481" fmla="*/ 1475944 h 4687251"/>
              <a:gd name="connsiteX29482" fmla="*/ 2182595 w 8079933"/>
              <a:gd name="connsiteY29482" fmla="*/ 1477677 h 4687251"/>
              <a:gd name="connsiteX29483" fmla="*/ 2184114 w 8079933"/>
              <a:gd name="connsiteY29483" fmla="*/ 1476811 h 4687251"/>
              <a:gd name="connsiteX29484" fmla="*/ 2186501 w 8079933"/>
              <a:gd name="connsiteY29484" fmla="*/ 1476811 h 4687251"/>
              <a:gd name="connsiteX29485" fmla="*/ 2187369 w 8079933"/>
              <a:gd name="connsiteY29485" fmla="*/ 1483956 h 4687251"/>
              <a:gd name="connsiteX29486" fmla="*/ 2181184 w 8079933"/>
              <a:gd name="connsiteY29486" fmla="*/ 1495542 h 4687251"/>
              <a:gd name="connsiteX29487" fmla="*/ 2180858 w 8079933"/>
              <a:gd name="connsiteY29487" fmla="*/ 1499656 h 4687251"/>
              <a:gd name="connsiteX29488" fmla="*/ 2177603 w 8079933"/>
              <a:gd name="connsiteY29488" fmla="*/ 1504203 h 4687251"/>
              <a:gd name="connsiteX29489" fmla="*/ 2174130 w 8079933"/>
              <a:gd name="connsiteY29489" fmla="*/ 1510483 h 4687251"/>
              <a:gd name="connsiteX29490" fmla="*/ 2174998 w 8079933"/>
              <a:gd name="connsiteY29490" fmla="*/ 1515896 h 4687251"/>
              <a:gd name="connsiteX29491" fmla="*/ 2176518 w 8079933"/>
              <a:gd name="connsiteY29491" fmla="*/ 1517196 h 4687251"/>
              <a:gd name="connsiteX29492" fmla="*/ 2176844 w 8079933"/>
              <a:gd name="connsiteY29492" fmla="*/ 1527590 h 4687251"/>
              <a:gd name="connsiteX29493" fmla="*/ 2170658 w 8079933"/>
              <a:gd name="connsiteY29493" fmla="*/ 1537117 h 4687251"/>
              <a:gd name="connsiteX29494" fmla="*/ 2170658 w 8079933"/>
              <a:gd name="connsiteY29494" fmla="*/ 1541340 h 4687251"/>
              <a:gd name="connsiteX29495" fmla="*/ 2168813 w 8079933"/>
              <a:gd name="connsiteY29495" fmla="*/ 1547511 h 4687251"/>
              <a:gd name="connsiteX29496" fmla="*/ 2164146 w 8079933"/>
              <a:gd name="connsiteY29496" fmla="*/ 1551409 h 4687251"/>
              <a:gd name="connsiteX29497" fmla="*/ 2161542 w 8079933"/>
              <a:gd name="connsiteY29497" fmla="*/ 1560937 h 4687251"/>
              <a:gd name="connsiteX29498" fmla="*/ 2163605 w 8079933"/>
              <a:gd name="connsiteY29498" fmla="*/ 1564835 h 4687251"/>
              <a:gd name="connsiteX29499" fmla="*/ 2168488 w 8079933"/>
              <a:gd name="connsiteY29499" fmla="*/ 1568624 h 4687251"/>
              <a:gd name="connsiteX29500" fmla="*/ 2168488 w 8079933"/>
              <a:gd name="connsiteY29500" fmla="*/ 1574471 h 4687251"/>
              <a:gd name="connsiteX29501" fmla="*/ 2172069 w 8079933"/>
              <a:gd name="connsiteY29501" fmla="*/ 1576420 h 4687251"/>
              <a:gd name="connsiteX29502" fmla="*/ 2174782 w 8079933"/>
              <a:gd name="connsiteY29502" fmla="*/ 1580318 h 4687251"/>
              <a:gd name="connsiteX29503" fmla="*/ 2173805 w 8079933"/>
              <a:gd name="connsiteY29503" fmla="*/ 1584324 h 4687251"/>
              <a:gd name="connsiteX29504" fmla="*/ 2174456 w 8079933"/>
              <a:gd name="connsiteY29504" fmla="*/ 1586381 h 4687251"/>
              <a:gd name="connsiteX29505" fmla="*/ 2174130 w 8079933"/>
              <a:gd name="connsiteY29505" fmla="*/ 1589737 h 4687251"/>
              <a:gd name="connsiteX29506" fmla="*/ 2178580 w 8079933"/>
              <a:gd name="connsiteY29506" fmla="*/ 1591469 h 4687251"/>
              <a:gd name="connsiteX29507" fmla="*/ 2184331 w 8079933"/>
              <a:gd name="connsiteY29507" fmla="*/ 1594392 h 4687251"/>
              <a:gd name="connsiteX29508" fmla="*/ 2185524 w 8079933"/>
              <a:gd name="connsiteY29508" fmla="*/ 1594392 h 4687251"/>
              <a:gd name="connsiteX29509" fmla="*/ 2186176 w 8079933"/>
              <a:gd name="connsiteY29509" fmla="*/ 1597641 h 4687251"/>
              <a:gd name="connsiteX29510" fmla="*/ 2189106 w 8079933"/>
              <a:gd name="connsiteY29510" fmla="*/ 1601647 h 4687251"/>
              <a:gd name="connsiteX29511" fmla="*/ 2189974 w 8079933"/>
              <a:gd name="connsiteY29511" fmla="*/ 1609226 h 4687251"/>
              <a:gd name="connsiteX29512" fmla="*/ 2191167 w 8079933"/>
              <a:gd name="connsiteY29512" fmla="*/ 1612257 h 4687251"/>
              <a:gd name="connsiteX29513" fmla="*/ 2189323 w 8079933"/>
              <a:gd name="connsiteY29513" fmla="*/ 1618970 h 4687251"/>
              <a:gd name="connsiteX29514" fmla="*/ 2180207 w 8079933"/>
              <a:gd name="connsiteY29514" fmla="*/ 1627091 h 4687251"/>
              <a:gd name="connsiteX29515" fmla="*/ 2187044 w 8079933"/>
              <a:gd name="connsiteY29515" fmla="*/ 1623626 h 4687251"/>
              <a:gd name="connsiteX29516" fmla="*/ 2192904 w 8079933"/>
              <a:gd name="connsiteY29516" fmla="*/ 1619295 h 4687251"/>
              <a:gd name="connsiteX29517" fmla="*/ 2199306 w 8079933"/>
              <a:gd name="connsiteY29517" fmla="*/ 1621569 h 4687251"/>
              <a:gd name="connsiteX29518" fmla="*/ 2203430 w 8079933"/>
              <a:gd name="connsiteY29518" fmla="*/ 1625575 h 4687251"/>
              <a:gd name="connsiteX29519" fmla="*/ 2207445 w 8079933"/>
              <a:gd name="connsiteY29519" fmla="*/ 1625899 h 4687251"/>
              <a:gd name="connsiteX29520" fmla="*/ 2208747 w 8079933"/>
              <a:gd name="connsiteY29520" fmla="*/ 1621893 h 4687251"/>
              <a:gd name="connsiteX29521" fmla="*/ 2208747 w 8079933"/>
              <a:gd name="connsiteY29521" fmla="*/ 1617779 h 4687251"/>
              <a:gd name="connsiteX29522" fmla="*/ 2216886 w 8079933"/>
              <a:gd name="connsiteY29522" fmla="*/ 1607818 h 4687251"/>
              <a:gd name="connsiteX29523" fmla="*/ 2218730 w 8079933"/>
              <a:gd name="connsiteY29523" fmla="*/ 1607710 h 4687251"/>
              <a:gd name="connsiteX29524" fmla="*/ 2217754 w 8079933"/>
              <a:gd name="connsiteY29524" fmla="*/ 1611608 h 4687251"/>
              <a:gd name="connsiteX29525" fmla="*/ 2218405 w 8079933"/>
              <a:gd name="connsiteY29525" fmla="*/ 1614206 h 4687251"/>
              <a:gd name="connsiteX29526" fmla="*/ 2221227 w 8079933"/>
              <a:gd name="connsiteY29526" fmla="*/ 1614856 h 4687251"/>
              <a:gd name="connsiteX29527" fmla="*/ 2222854 w 8079933"/>
              <a:gd name="connsiteY29527" fmla="*/ 1623301 h 4687251"/>
              <a:gd name="connsiteX29528" fmla="*/ 2221986 w 8079933"/>
              <a:gd name="connsiteY29528" fmla="*/ 1629797 h 4687251"/>
              <a:gd name="connsiteX29529" fmla="*/ 2227521 w 8079933"/>
              <a:gd name="connsiteY29529" fmla="*/ 1634128 h 4687251"/>
              <a:gd name="connsiteX29530" fmla="*/ 2235659 w 8079933"/>
              <a:gd name="connsiteY29530" fmla="*/ 1634994 h 4687251"/>
              <a:gd name="connsiteX29531" fmla="*/ 2231102 w 8079933"/>
              <a:gd name="connsiteY29531" fmla="*/ 1632937 h 4687251"/>
              <a:gd name="connsiteX29532" fmla="*/ 2226544 w 8079933"/>
              <a:gd name="connsiteY29532" fmla="*/ 1627740 h 4687251"/>
              <a:gd name="connsiteX29533" fmla="*/ 2225676 w 8079933"/>
              <a:gd name="connsiteY29533" fmla="*/ 1622110 h 4687251"/>
              <a:gd name="connsiteX29534" fmla="*/ 2226653 w 8079933"/>
              <a:gd name="connsiteY29534" fmla="*/ 1614748 h 4687251"/>
              <a:gd name="connsiteX29535" fmla="*/ 2229039 w 8079933"/>
              <a:gd name="connsiteY29535" fmla="*/ 1611499 h 4687251"/>
              <a:gd name="connsiteX29536" fmla="*/ 2226653 w 8079933"/>
              <a:gd name="connsiteY29536" fmla="*/ 1608467 h 4687251"/>
              <a:gd name="connsiteX29537" fmla="*/ 2226327 w 8079933"/>
              <a:gd name="connsiteY29537" fmla="*/ 1603920 h 4687251"/>
              <a:gd name="connsiteX29538" fmla="*/ 2228172 w 8079933"/>
              <a:gd name="connsiteY29538" fmla="*/ 1604895 h 4687251"/>
              <a:gd name="connsiteX29539" fmla="*/ 2230776 w 8079933"/>
              <a:gd name="connsiteY29539" fmla="*/ 1604028 h 4687251"/>
              <a:gd name="connsiteX29540" fmla="*/ 2233055 w 8079933"/>
              <a:gd name="connsiteY29540" fmla="*/ 1597208 h 4687251"/>
              <a:gd name="connsiteX29541" fmla="*/ 2238698 w 8079933"/>
              <a:gd name="connsiteY29541" fmla="*/ 1591686 h 4687251"/>
              <a:gd name="connsiteX29542" fmla="*/ 2237070 w 8079933"/>
              <a:gd name="connsiteY29542" fmla="*/ 1589737 h 4687251"/>
              <a:gd name="connsiteX29543" fmla="*/ 2236310 w 8079933"/>
              <a:gd name="connsiteY29543" fmla="*/ 1582699 h 4687251"/>
              <a:gd name="connsiteX29544" fmla="*/ 2233597 w 8079933"/>
              <a:gd name="connsiteY29544" fmla="*/ 1581184 h 4687251"/>
              <a:gd name="connsiteX29545" fmla="*/ 2233706 w 8079933"/>
              <a:gd name="connsiteY29545" fmla="*/ 1576203 h 4687251"/>
              <a:gd name="connsiteX29546" fmla="*/ 2238263 w 8079933"/>
              <a:gd name="connsiteY29546" fmla="*/ 1570681 h 4687251"/>
              <a:gd name="connsiteX29547" fmla="*/ 2236310 w 8079933"/>
              <a:gd name="connsiteY29547" fmla="*/ 1568083 h 4687251"/>
              <a:gd name="connsiteX29548" fmla="*/ 2236527 w 8079933"/>
              <a:gd name="connsiteY29548" fmla="*/ 1565376 h 4687251"/>
              <a:gd name="connsiteX29549" fmla="*/ 2234140 w 8079933"/>
              <a:gd name="connsiteY29549" fmla="*/ 1564510 h 4687251"/>
              <a:gd name="connsiteX29550" fmla="*/ 2233380 w 8079933"/>
              <a:gd name="connsiteY29550" fmla="*/ 1561370 h 4687251"/>
              <a:gd name="connsiteX29551" fmla="*/ 2237178 w 8079933"/>
              <a:gd name="connsiteY29551" fmla="*/ 1549677 h 4687251"/>
              <a:gd name="connsiteX29552" fmla="*/ 2235985 w 8079933"/>
              <a:gd name="connsiteY29552" fmla="*/ 1545129 h 4687251"/>
              <a:gd name="connsiteX29553" fmla="*/ 2237178 w 8079933"/>
              <a:gd name="connsiteY29553" fmla="*/ 1537117 h 4687251"/>
              <a:gd name="connsiteX29554" fmla="*/ 2239783 w 8079933"/>
              <a:gd name="connsiteY29554" fmla="*/ 1534627 h 4687251"/>
              <a:gd name="connsiteX29555" fmla="*/ 2238698 w 8079933"/>
              <a:gd name="connsiteY29555" fmla="*/ 1530080 h 4687251"/>
              <a:gd name="connsiteX29556" fmla="*/ 2240976 w 8079933"/>
              <a:gd name="connsiteY29556" fmla="*/ 1528564 h 4687251"/>
              <a:gd name="connsiteX29557" fmla="*/ 2239240 w 8079933"/>
              <a:gd name="connsiteY29557" fmla="*/ 1524666 h 4687251"/>
              <a:gd name="connsiteX29558" fmla="*/ 2242061 w 8079933"/>
              <a:gd name="connsiteY29558" fmla="*/ 1522609 h 4687251"/>
              <a:gd name="connsiteX29559" fmla="*/ 2239457 w 8079933"/>
              <a:gd name="connsiteY29559" fmla="*/ 1521851 h 4687251"/>
              <a:gd name="connsiteX29560" fmla="*/ 2237938 w 8079933"/>
              <a:gd name="connsiteY29560" fmla="*/ 1518819 h 4687251"/>
              <a:gd name="connsiteX29561" fmla="*/ 2240325 w 8079933"/>
              <a:gd name="connsiteY29561" fmla="*/ 1517412 h 4687251"/>
              <a:gd name="connsiteX29562" fmla="*/ 2238372 w 8079933"/>
              <a:gd name="connsiteY29562" fmla="*/ 1513839 h 4687251"/>
              <a:gd name="connsiteX29563" fmla="*/ 2238589 w 8079933"/>
              <a:gd name="connsiteY29563" fmla="*/ 1509509 h 4687251"/>
              <a:gd name="connsiteX29564" fmla="*/ 2236527 w 8079933"/>
              <a:gd name="connsiteY29564" fmla="*/ 1505719 h 4687251"/>
              <a:gd name="connsiteX29565" fmla="*/ 2235985 w 8079933"/>
              <a:gd name="connsiteY29565" fmla="*/ 1500955 h 4687251"/>
              <a:gd name="connsiteX29566" fmla="*/ 2234465 w 8079933"/>
              <a:gd name="connsiteY29566" fmla="*/ 1498356 h 4687251"/>
              <a:gd name="connsiteX29567" fmla="*/ 2240868 w 8079933"/>
              <a:gd name="connsiteY29567" fmla="*/ 1495433 h 4687251"/>
              <a:gd name="connsiteX29568" fmla="*/ 2250309 w 8079933"/>
              <a:gd name="connsiteY29568" fmla="*/ 1493809 h 4687251"/>
              <a:gd name="connsiteX29569" fmla="*/ 2254975 w 8079933"/>
              <a:gd name="connsiteY29569" fmla="*/ 1490236 h 4687251"/>
              <a:gd name="connsiteX29570" fmla="*/ 2260510 w 8079933"/>
              <a:gd name="connsiteY29570" fmla="*/ 1490453 h 4687251"/>
              <a:gd name="connsiteX29571" fmla="*/ 2263006 w 8079933"/>
              <a:gd name="connsiteY29571" fmla="*/ 1488395 h 4687251"/>
              <a:gd name="connsiteX29572" fmla="*/ 2272338 w 8079933"/>
              <a:gd name="connsiteY29572" fmla="*/ 1483740 h 4687251"/>
              <a:gd name="connsiteX29573" fmla="*/ 2287204 w 8079933"/>
              <a:gd name="connsiteY29573" fmla="*/ 1478218 h 4687251"/>
              <a:gd name="connsiteX29574" fmla="*/ 2287313 w 8079933"/>
              <a:gd name="connsiteY29574" fmla="*/ 1476486 h 4687251"/>
              <a:gd name="connsiteX29575" fmla="*/ 2290460 w 8079933"/>
              <a:gd name="connsiteY29575" fmla="*/ 1473562 h 4687251"/>
              <a:gd name="connsiteX29576" fmla="*/ 2301638 w 8079933"/>
              <a:gd name="connsiteY29576" fmla="*/ 1468799 h 4687251"/>
              <a:gd name="connsiteX29577" fmla="*/ 2302288 w 8079933"/>
              <a:gd name="connsiteY29577" fmla="*/ 1464685 h 4687251"/>
              <a:gd name="connsiteX29578" fmla="*/ 2307822 w 8079933"/>
              <a:gd name="connsiteY29578" fmla="*/ 1462086 h 4687251"/>
              <a:gd name="connsiteX29579" fmla="*/ 2314442 w 8079933"/>
              <a:gd name="connsiteY29579" fmla="*/ 1451800 h 4687251"/>
              <a:gd name="connsiteX29580" fmla="*/ 2317263 w 8079933"/>
              <a:gd name="connsiteY29580" fmla="*/ 1452125 h 4687251"/>
              <a:gd name="connsiteX29581" fmla="*/ 2319543 w 8079933"/>
              <a:gd name="connsiteY29581" fmla="*/ 1454291 h 4687251"/>
              <a:gd name="connsiteX29582" fmla="*/ 2324318 w 8079933"/>
              <a:gd name="connsiteY29582" fmla="*/ 1453965 h 4687251"/>
              <a:gd name="connsiteX29583" fmla="*/ 2328007 w 8079933"/>
              <a:gd name="connsiteY29583" fmla="*/ 1450068 h 4687251"/>
              <a:gd name="connsiteX29584" fmla="*/ 2323666 w 8079933"/>
              <a:gd name="connsiteY29584" fmla="*/ 1444546 h 4687251"/>
              <a:gd name="connsiteX29585" fmla="*/ 2323341 w 8079933"/>
              <a:gd name="connsiteY29585" fmla="*/ 1438483 h 4687251"/>
              <a:gd name="connsiteX29586" fmla="*/ 2320411 w 8079933"/>
              <a:gd name="connsiteY29586" fmla="*/ 1441081 h 4687251"/>
              <a:gd name="connsiteX29587" fmla="*/ 2319435 w 8079933"/>
              <a:gd name="connsiteY29587" fmla="*/ 1445845 h 4687251"/>
              <a:gd name="connsiteX29588" fmla="*/ 2317263 w 8079933"/>
              <a:gd name="connsiteY29588" fmla="*/ 1446387 h 4687251"/>
              <a:gd name="connsiteX29589" fmla="*/ 2319000 w 8079933"/>
              <a:gd name="connsiteY29589" fmla="*/ 1440215 h 4687251"/>
              <a:gd name="connsiteX29590" fmla="*/ 2323341 w 8079933"/>
              <a:gd name="connsiteY29590" fmla="*/ 1428738 h 4687251"/>
              <a:gd name="connsiteX29591" fmla="*/ 2325077 w 8079933"/>
              <a:gd name="connsiteY29591" fmla="*/ 1426790 h 4687251"/>
              <a:gd name="connsiteX29592" fmla="*/ 2325077 w 8079933"/>
              <a:gd name="connsiteY29592" fmla="*/ 1418561 h 4687251"/>
              <a:gd name="connsiteX29593" fmla="*/ 2325728 w 8079933"/>
              <a:gd name="connsiteY29593" fmla="*/ 1412714 h 4687251"/>
              <a:gd name="connsiteX29594" fmla="*/ 2321930 w 8079933"/>
              <a:gd name="connsiteY29594" fmla="*/ 1405461 h 4687251"/>
              <a:gd name="connsiteX29595" fmla="*/ 2322689 w 8079933"/>
              <a:gd name="connsiteY29595" fmla="*/ 1391061 h 4687251"/>
              <a:gd name="connsiteX29596" fmla="*/ 2321062 w 8079933"/>
              <a:gd name="connsiteY29596" fmla="*/ 1378392 h 4687251"/>
              <a:gd name="connsiteX29597" fmla="*/ 2313900 w 8079933"/>
              <a:gd name="connsiteY29597" fmla="*/ 1367133 h 4687251"/>
              <a:gd name="connsiteX29598" fmla="*/ 2308691 w 8079933"/>
              <a:gd name="connsiteY29598" fmla="*/ 1363776 h 4687251"/>
              <a:gd name="connsiteX29599" fmla="*/ 2307280 w 8079933"/>
              <a:gd name="connsiteY29599" fmla="*/ 1358688 h 4687251"/>
              <a:gd name="connsiteX29600" fmla="*/ 2302506 w 8079933"/>
              <a:gd name="connsiteY29600" fmla="*/ 1357280 h 4687251"/>
              <a:gd name="connsiteX29601" fmla="*/ 2301095 w 8079933"/>
              <a:gd name="connsiteY29601" fmla="*/ 1353599 h 4687251"/>
              <a:gd name="connsiteX29602" fmla="*/ 2303916 w 8079933"/>
              <a:gd name="connsiteY29602" fmla="*/ 1344288 h 4687251"/>
              <a:gd name="connsiteX29603" fmla="*/ 2308582 w 8079933"/>
              <a:gd name="connsiteY29603" fmla="*/ 1342231 h 4687251"/>
              <a:gd name="connsiteX29604" fmla="*/ 2321062 w 8079933"/>
              <a:gd name="connsiteY29604" fmla="*/ 1329130 h 4687251"/>
              <a:gd name="connsiteX29605" fmla="*/ 2325077 w 8079933"/>
              <a:gd name="connsiteY29605" fmla="*/ 1328697 h 4687251"/>
              <a:gd name="connsiteX29606" fmla="*/ 2328115 w 8079933"/>
              <a:gd name="connsiteY29606" fmla="*/ 1325123 h 4687251"/>
              <a:gd name="connsiteX29607" fmla="*/ 2328007 w 8079933"/>
              <a:gd name="connsiteY29607" fmla="*/ 1321768 h 4687251"/>
              <a:gd name="connsiteX29608" fmla="*/ 2326271 w 8079933"/>
              <a:gd name="connsiteY29608" fmla="*/ 1320793 h 4687251"/>
              <a:gd name="connsiteX29609" fmla="*/ 2326054 w 8079933"/>
              <a:gd name="connsiteY29609" fmla="*/ 1318844 h 4687251"/>
              <a:gd name="connsiteX29610" fmla="*/ 2331045 w 8079933"/>
              <a:gd name="connsiteY29610" fmla="*/ 1312348 h 4687251"/>
              <a:gd name="connsiteX29611" fmla="*/ 2333650 w 8079933"/>
              <a:gd name="connsiteY29611" fmla="*/ 1312348 h 4687251"/>
              <a:gd name="connsiteX29612" fmla="*/ 2336580 w 8079933"/>
              <a:gd name="connsiteY29612" fmla="*/ 1317978 h 4687251"/>
              <a:gd name="connsiteX29613" fmla="*/ 2339726 w 8079933"/>
              <a:gd name="connsiteY29613" fmla="*/ 1319601 h 4687251"/>
              <a:gd name="connsiteX29614" fmla="*/ 2337990 w 8079933"/>
              <a:gd name="connsiteY29614" fmla="*/ 1317003 h 4687251"/>
              <a:gd name="connsiteX29615" fmla="*/ 2338316 w 8079933"/>
              <a:gd name="connsiteY29615" fmla="*/ 1311481 h 4687251"/>
              <a:gd name="connsiteX29616" fmla="*/ 2343525 w 8079933"/>
              <a:gd name="connsiteY29616" fmla="*/ 1309208 h 4687251"/>
              <a:gd name="connsiteX29617" fmla="*/ 2348517 w 8079933"/>
              <a:gd name="connsiteY29617" fmla="*/ 1300113 h 4687251"/>
              <a:gd name="connsiteX29618" fmla="*/ 2347649 w 8079933"/>
              <a:gd name="connsiteY29618" fmla="*/ 1297081 h 4687251"/>
              <a:gd name="connsiteX29619" fmla="*/ 2341138 w 8079933"/>
              <a:gd name="connsiteY29619" fmla="*/ 1297081 h 4687251"/>
              <a:gd name="connsiteX29620" fmla="*/ 2340595 w 8079933"/>
              <a:gd name="connsiteY29620" fmla="*/ 1295024 h 4687251"/>
              <a:gd name="connsiteX29621" fmla="*/ 2344827 w 8079933"/>
              <a:gd name="connsiteY29621" fmla="*/ 1289503 h 4687251"/>
              <a:gd name="connsiteX29622" fmla="*/ 2342331 w 8079933"/>
              <a:gd name="connsiteY29622" fmla="*/ 1287446 h 4687251"/>
              <a:gd name="connsiteX29623" fmla="*/ 2340703 w 8079933"/>
              <a:gd name="connsiteY29623" fmla="*/ 1283981 h 4687251"/>
              <a:gd name="connsiteX29624" fmla="*/ 2343959 w 8079933"/>
              <a:gd name="connsiteY29624" fmla="*/ 1280191 h 4687251"/>
              <a:gd name="connsiteX29625" fmla="*/ 2348625 w 8079933"/>
              <a:gd name="connsiteY29625" fmla="*/ 1278675 h 4687251"/>
              <a:gd name="connsiteX29626" fmla="*/ 2343525 w 8079933"/>
              <a:gd name="connsiteY29626" fmla="*/ 1277809 h 4687251"/>
              <a:gd name="connsiteX29627" fmla="*/ 2343199 w 8079933"/>
              <a:gd name="connsiteY29627" fmla="*/ 1275211 h 4687251"/>
              <a:gd name="connsiteX29628" fmla="*/ 2345261 w 8079933"/>
              <a:gd name="connsiteY29628" fmla="*/ 1268498 h 4687251"/>
              <a:gd name="connsiteX29629" fmla="*/ 2348842 w 8079933"/>
              <a:gd name="connsiteY29629" fmla="*/ 1266224 h 4687251"/>
              <a:gd name="connsiteX29630" fmla="*/ 2346021 w 8079933"/>
              <a:gd name="connsiteY29630" fmla="*/ 1265791 h 4687251"/>
              <a:gd name="connsiteX29631" fmla="*/ 2338208 w 8079933"/>
              <a:gd name="connsiteY29631" fmla="*/ 1266441 h 4687251"/>
              <a:gd name="connsiteX29632" fmla="*/ 2335928 w 8079933"/>
              <a:gd name="connsiteY29632" fmla="*/ 1265467 h 4687251"/>
              <a:gd name="connsiteX29633" fmla="*/ 2336254 w 8079933"/>
              <a:gd name="connsiteY29633" fmla="*/ 1261785 h 4687251"/>
              <a:gd name="connsiteX29634" fmla="*/ 2346455 w 8079933"/>
              <a:gd name="connsiteY29634" fmla="*/ 1253773 h 4687251"/>
              <a:gd name="connsiteX29635" fmla="*/ 2352749 w 8079933"/>
              <a:gd name="connsiteY29635" fmla="*/ 1244571 h 4687251"/>
              <a:gd name="connsiteX29636" fmla="*/ 2353834 w 8079933"/>
              <a:gd name="connsiteY29636" fmla="*/ 1239049 h 4687251"/>
              <a:gd name="connsiteX29637" fmla="*/ 2356873 w 8079933"/>
              <a:gd name="connsiteY29637" fmla="*/ 1239590 h 4687251"/>
              <a:gd name="connsiteX29638" fmla="*/ 2359043 w 8079933"/>
              <a:gd name="connsiteY29638" fmla="*/ 1236991 h 4687251"/>
              <a:gd name="connsiteX29639" fmla="*/ 2359043 w 8079933"/>
              <a:gd name="connsiteY29639" fmla="*/ 1231578 h 4687251"/>
              <a:gd name="connsiteX29640" fmla="*/ 2356438 w 8079933"/>
              <a:gd name="connsiteY29640" fmla="*/ 1230495 h 4687251"/>
              <a:gd name="connsiteX29641" fmla="*/ 2356113 w 8079933"/>
              <a:gd name="connsiteY29641" fmla="*/ 1228438 h 4687251"/>
              <a:gd name="connsiteX29642" fmla="*/ 2353617 w 8079933"/>
              <a:gd name="connsiteY29642" fmla="*/ 1227896 h 4687251"/>
              <a:gd name="connsiteX29643" fmla="*/ 2350687 w 8079933"/>
              <a:gd name="connsiteY29643" fmla="*/ 1223241 h 4687251"/>
              <a:gd name="connsiteX29644" fmla="*/ 2350904 w 8079933"/>
              <a:gd name="connsiteY29644" fmla="*/ 1214147 h 4687251"/>
              <a:gd name="connsiteX29645" fmla="*/ 2354160 w 8079933"/>
              <a:gd name="connsiteY29645" fmla="*/ 1207109 h 4687251"/>
              <a:gd name="connsiteX29646" fmla="*/ 2354377 w 8079933"/>
              <a:gd name="connsiteY29646" fmla="*/ 1201154 h 4687251"/>
              <a:gd name="connsiteX29647" fmla="*/ 2358175 w 8079933"/>
              <a:gd name="connsiteY29647" fmla="*/ 1199096 h 4687251"/>
              <a:gd name="connsiteX29648" fmla="*/ 2360019 w 8079933"/>
              <a:gd name="connsiteY29648" fmla="*/ 1200396 h 4687251"/>
              <a:gd name="connsiteX29649" fmla="*/ 2362841 w 8079933"/>
              <a:gd name="connsiteY29649" fmla="*/ 1200288 h 4687251"/>
              <a:gd name="connsiteX29650" fmla="*/ 2362841 w 8079933"/>
              <a:gd name="connsiteY29650" fmla="*/ 1197364 h 4687251"/>
              <a:gd name="connsiteX29651" fmla="*/ 2366096 w 8079933"/>
              <a:gd name="connsiteY29651" fmla="*/ 1194116 h 4687251"/>
              <a:gd name="connsiteX29652" fmla="*/ 2369026 w 8079933"/>
              <a:gd name="connsiteY29652" fmla="*/ 1193683 h 4687251"/>
              <a:gd name="connsiteX29653" fmla="*/ 2371956 w 8079933"/>
              <a:gd name="connsiteY29653" fmla="*/ 1192492 h 4687251"/>
              <a:gd name="connsiteX29654" fmla="*/ 2374886 w 8079933"/>
              <a:gd name="connsiteY29654" fmla="*/ 1194441 h 4687251"/>
              <a:gd name="connsiteX29655" fmla="*/ 2382808 w 8079933"/>
              <a:gd name="connsiteY29655" fmla="*/ 1194874 h 4687251"/>
              <a:gd name="connsiteX29656" fmla="*/ 2390838 w 8079933"/>
              <a:gd name="connsiteY29656" fmla="*/ 1199313 h 4687251"/>
              <a:gd name="connsiteX29657" fmla="*/ 2401473 w 8079933"/>
              <a:gd name="connsiteY29657" fmla="*/ 1205160 h 4687251"/>
              <a:gd name="connsiteX29658" fmla="*/ 2407332 w 8079933"/>
              <a:gd name="connsiteY29658" fmla="*/ 1205160 h 4687251"/>
              <a:gd name="connsiteX29659" fmla="*/ 2406031 w 8079933"/>
              <a:gd name="connsiteY29659" fmla="*/ 1209599 h 4687251"/>
              <a:gd name="connsiteX29660" fmla="*/ 2399845 w 8079933"/>
              <a:gd name="connsiteY29660" fmla="*/ 1211981 h 4687251"/>
              <a:gd name="connsiteX29661" fmla="*/ 2407767 w 8079933"/>
              <a:gd name="connsiteY29661" fmla="*/ 1211656 h 4687251"/>
              <a:gd name="connsiteX29662" fmla="*/ 2414278 w 8079933"/>
              <a:gd name="connsiteY29662" fmla="*/ 1206892 h 4687251"/>
              <a:gd name="connsiteX29663" fmla="*/ 2418727 w 8079933"/>
              <a:gd name="connsiteY29663" fmla="*/ 1207217 h 4687251"/>
              <a:gd name="connsiteX29664" fmla="*/ 2421223 w 8079933"/>
              <a:gd name="connsiteY29664" fmla="*/ 1209924 h 4687251"/>
              <a:gd name="connsiteX29665" fmla="*/ 2424587 w 8079933"/>
              <a:gd name="connsiteY29665" fmla="*/ 1209924 h 4687251"/>
              <a:gd name="connsiteX29666" fmla="*/ 2428059 w 8079933"/>
              <a:gd name="connsiteY29666" fmla="*/ 1214796 h 4687251"/>
              <a:gd name="connsiteX29667" fmla="*/ 2428059 w 8079933"/>
              <a:gd name="connsiteY29667" fmla="*/ 1209599 h 4687251"/>
              <a:gd name="connsiteX29668" fmla="*/ 2433593 w 8079933"/>
              <a:gd name="connsiteY29668" fmla="*/ 1211981 h 4687251"/>
              <a:gd name="connsiteX29669" fmla="*/ 2435981 w 8079933"/>
              <a:gd name="connsiteY29669" fmla="*/ 1209274 h 4687251"/>
              <a:gd name="connsiteX29670" fmla="*/ 2439779 w 8079933"/>
              <a:gd name="connsiteY29670" fmla="*/ 1208949 h 4687251"/>
              <a:gd name="connsiteX29671" fmla="*/ 2446073 w 8079933"/>
              <a:gd name="connsiteY29671" fmla="*/ 1205160 h 4687251"/>
              <a:gd name="connsiteX29672" fmla="*/ 2454320 w 8079933"/>
              <a:gd name="connsiteY29672" fmla="*/ 1211656 h 4687251"/>
              <a:gd name="connsiteX29673" fmla="*/ 2454320 w 8079933"/>
              <a:gd name="connsiteY29673" fmla="*/ 1216528 h 4687251"/>
              <a:gd name="connsiteX29674" fmla="*/ 2459854 w 8079933"/>
              <a:gd name="connsiteY29674" fmla="*/ 1220967 h 4687251"/>
              <a:gd name="connsiteX29675" fmla="*/ 2463979 w 8079933"/>
              <a:gd name="connsiteY29675" fmla="*/ 1220967 h 4687251"/>
              <a:gd name="connsiteX29676" fmla="*/ 2463979 w 8079933"/>
              <a:gd name="connsiteY29676" fmla="*/ 1228546 h 4687251"/>
              <a:gd name="connsiteX29677" fmla="*/ 2461266 w 8079933"/>
              <a:gd name="connsiteY29677" fmla="*/ 1232336 h 4687251"/>
              <a:gd name="connsiteX29678" fmla="*/ 2461266 w 8079933"/>
              <a:gd name="connsiteY29678" fmla="*/ 1235800 h 4687251"/>
              <a:gd name="connsiteX29679" fmla="*/ 2464304 w 8079933"/>
              <a:gd name="connsiteY29679" fmla="*/ 1233743 h 4687251"/>
              <a:gd name="connsiteX29680" fmla="*/ 2469513 w 8079933"/>
              <a:gd name="connsiteY29680" fmla="*/ 1238507 h 4687251"/>
              <a:gd name="connsiteX29681" fmla="*/ 2471900 w 8079933"/>
              <a:gd name="connsiteY29681" fmla="*/ 1243704 h 4687251"/>
              <a:gd name="connsiteX29682" fmla="*/ 2468102 w 8079933"/>
              <a:gd name="connsiteY29682" fmla="*/ 1244787 h 4687251"/>
              <a:gd name="connsiteX29683" fmla="*/ 2472225 w 8079933"/>
              <a:gd name="connsiteY29683" fmla="*/ 1247818 h 4687251"/>
              <a:gd name="connsiteX29684" fmla="*/ 2475698 w 8079933"/>
              <a:gd name="connsiteY29684" fmla="*/ 1244787 h 4687251"/>
              <a:gd name="connsiteX29685" fmla="*/ 2479822 w 8079933"/>
              <a:gd name="connsiteY29685" fmla="*/ 1250634 h 4687251"/>
              <a:gd name="connsiteX29686" fmla="*/ 2479171 w 8079933"/>
              <a:gd name="connsiteY29686" fmla="*/ 1253340 h 4687251"/>
              <a:gd name="connsiteX29687" fmla="*/ 2475047 w 8079933"/>
              <a:gd name="connsiteY29687" fmla="*/ 1250200 h 4687251"/>
              <a:gd name="connsiteX29688" fmla="*/ 2472985 w 8079933"/>
              <a:gd name="connsiteY29688" fmla="*/ 1254748 h 4687251"/>
              <a:gd name="connsiteX29689" fmla="*/ 2468753 w 8079933"/>
              <a:gd name="connsiteY29689" fmla="*/ 1254748 h 4687251"/>
              <a:gd name="connsiteX29690" fmla="*/ 2474613 w 8079933"/>
              <a:gd name="connsiteY29690" fmla="*/ 1260594 h 4687251"/>
              <a:gd name="connsiteX29691" fmla="*/ 2474613 w 8079933"/>
              <a:gd name="connsiteY29691" fmla="*/ 1265034 h 4687251"/>
              <a:gd name="connsiteX29692" fmla="*/ 2478845 w 8079933"/>
              <a:gd name="connsiteY29692" fmla="*/ 1261244 h 4687251"/>
              <a:gd name="connsiteX29693" fmla="*/ 2478845 w 8079933"/>
              <a:gd name="connsiteY29693" fmla="*/ 1265034 h 4687251"/>
              <a:gd name="connsiteX29694" fmla="*/ 2482643 w 8079933"/>
              <a:gd name="connsiteY29694" fmla="*/ 1262652 h 4687251"/>
              <a:gd name="connsiteX29695" fmla="*/ 2490240 w 8079933"/>
              <a:gd name="connsiteY29695" fmla="*/ 1269148 h 4687251"/>
              <a:gd name="connsiteX29696" fmla="*/ 2492952 w 8079933"/>
              <a:gd name="connsiteY29696" fmla="*/ 1268173 h 4687251"/>
              <a:gd name="connsiteX29697" fmla="*/ 2494688 w 8079933"/>
              <a:gd name="connsiteY29697" fmla="*/ 1270555 h 4687251"/>
              <a:gd name="connsiteX29698" fmla="*/ 2499897 w 8079933"/>
              <a:gd name="connsiteY29698" fmla="*/ 1268173 h 4687251"/>
              <a:gd name="connsiteX29699" fmla="*/ 2506083 w 8079933"/>
              <a:gd name="connsiteY29699" fmla="*/ 1270230 h 4687251"/>
              <a:gd name="connsiteX29700" fmla="*/ 2504997 w 8079933"/>
              <a:gd name="connsiteY29700" fmla="*/ 1278784 h 4687251"/>
              <a:gd name="connsiteX29701" fmla="*/ 2507494 w 8079933"/>
              <a:gd name="connsiteY29701" fmla="*/ 1282573 h 4687251"/>
              <a:gd name="connsiteX29702" fmla="*/ 2512920 w 8079933"/>
              <a:gd name="connsiteY29702" fmla="*/ 1278459 h 4687251"/>
              <a:gd name="connsiteX29703" fmla="*/ 2514005 w 8079933"/>
              <a:gd name="connsiteY29703" fmla="*/ 1271313 h 4687251"/>
              <a:gd name="connsiteX29704" fmla="*/ 2517803 w 8079933"/>
              <a:gd name="connsiteY29704" fmla="*/ 1270880 h 4687251"/>
              <a:gd name="connsiteX29705" fmla="*/ 2518128 w 8079933"/>
              <a:gd name="connsiteY29705" fmla="*/ 1279217 h 4687251"/>
              <a:gd name="connsiteX29706" fmla="*/ 2516826 w 8079933"/>
              <a:gd name="connsiteY29706" fmla="*/ 1287120 h 4687251"/>
              <a:gd name="connsiteX29707" fmla="*/ 2510532 w 8079933"/>
              <a:gd name="connsiteY29707" fmla="*/ 1288420 h 4687251"/>
              <a:gd name="connsiteX29708" fmla="*/ 2506083 w 8079933"/>
              <a:gd name="connsiteY29708" fmla="*/ 1295350 h 4687251"/>
              <a:gd name="connsiteX29709" fmla="*/ 2507060 w 8079933"/>
              <a:gd name="connsiteY29709" fmla="*/ 1307042 h 4687251"/>
              <a:gd name="connsiteX29710" fmla="*/ 2504997 w 8079933"/>
              <a:gd name="connsiteY29710" fmla="*/ 1311156 h 4687251"/>
              <a:gd name="connsiteX29711" fmla="*/ 2504021 w 8079933"/>
              <a:gd name="connsiteY29711" fmla="*/ 1304985 h 4687251"/>
              <a:gd name="connsiteX29712" fmla="*/ 2501959 w 8079933"/>
              <a:gd name="connsiteY29712" fmla="*/ 1307801 h 4687251"/>
              <a:gd name="connsiteX29713" fmla="*/ 2500549 w 8079933"/>
              <a:gd name="connsiteY29713" fmla="*/ 1314946 h 4687251"/>
              <a:gd name="connsiteX29714" fmla="*/ 2490240 w 8079933"/>
              <a:gd name="connsiteY29714" fmla="*/ 1313647 h 4687251"/>
              <a:gd name="connsiteX29715" fmla="*/ 2477760 w 8079933"/>
              <a:gd name="connsiteY29715" fmla="*/ 1309858 h 4687251"/>
              <a:gd name="connsiteX29716" fmla="*/ 2488829 w 8079933"/>
              <a:gd name="connsiteY29716" fmla="*/ 1315704 h 4687251"/>
              <a:gd name="connsiteX29717" fmla="*/ 2497836 w 8079933"/>
              <a:gd name="connsiteY29717" fmla="*/ 1317436 h 4687251"/>
              <a:gd name="connsiteX29718" fmla="*/ 2504238 w 8079933"/>
              <a:gd name="connsiteY29718" fmla="*/ 1322850 h 4687251"/>
              <a:gd name="connsiteX29719" fmla="*/ 2503696 w 8079933"/>
              <a:gd name="connsiteY29719" fmla="*/ 1331078 h 4687251"/>
              <a:gd name="connsiteX29720" fmla="*/ 2499572 w 8079933"/>
              <a:gd name="connsiteY29720" fmla="*/ 1337142 h 4687251"/>
              <a:gd name="connsiteX29721" fmla="*/ 2498921 w 8079933"/>
              <a:gd name="connsiteY29721" fmla="*/ 1340065 h 4687251"/>
              <a:gd name="connsiteX29722" fmla="*/ 2493929 w 8079933"/>
              <a:gd name="connsiteY29722" fmla="*/ 1346345 h 4687251"/>
              <a:gd name="connsiteX29723" fmla="*/ 2495231 w 8079933"/>
              <a:gd name="connsiteY29723" fmla="*/ 1347103 h 4687251"/>
              <a:gd name="connsiteX29724" fmla="*/ 2501199 w 8079933"/>
              <a:gd name="connsiteY29724" fmla="*/ 1356305 h 4687251"/>
              <a:gd name="connsiteX29725" fmla="*/ 2505106 w 8079933"/>
              <a:gd name="connsiteY29725" fmla="*/ 1357496 h 4687251"/>
              <a:gd name="connsiteX29726" fmla="*/ 2502719 w 8079933"/>
              <a:gd name="connsiteY29726" fmla="*/ 1358579 h 4687251"/>
              <a:gd name="connsiteX29727" fmla="*/ 2494471 w 8079933"/>
              <a:gd name="connsiteY29727" fmla="*/ 1354573 h 4687251"/>
              <a:gd name="connsiteX29728" fmla="*/ 2499897 w 8079933"/>
              <a:gd name="connsiteY29728" fmla="*/ 1362910 h 4687251"/>
              <a:gd name="connsiteX29729" fmla="*/ 2504238 w 8079933"/>
              <a:gd name="connsiteY29729" fmla="*/ 1365941 h 4687251"/>
              <a:gd name="connsiteX29730" fmla="*/ 2505757 w 8079933"/>
              <a:gd name="connsiteY29730" fmla="*/ 1365833 h 4687251"/>
              <a:gd name="connsiteX29731" fmla="*/ 2504238 w 8079933"/>
              <a:gd name="connsiteY29731" fmla="*/ 1360853 h 4687251"/>
              <a:gd name="connsiteX29732" fmla="*/ 2508579 w 8079933"/>
              <a:gd name="connsiteY29732" fmla="*/ 1360637 h 4687251"/>
              <a:gd name="connsiteX29733" fmla="*/ 2513353 w 8079933"/>
              <a:gd name="connsiteY29733" fmla="*/ 1364751 h 4687251"/>
              <a:gd name="connsiteX29734" fmla="*/ 2515958 w 8079933"/>
              <a:gd name="connsiteY29734" fmla="*/ 1369623 h 4687251"/>
              <a:gd name="connsiteX29735" fmla="*/ 2514873 w 8079933"/>
              <a:gd name="connsiteY29735" fmla="*/ 1374712 h 4687251"/>
              <a:gd name="connsiteX29736" fmla="*/ 2515306 w 8079933"/>
              <a:gd name="connsiteY29736" fmla="*/ 1380125 h 4687251"/>
              <a:gd name="connsiteX29737" fmla="*/ 2510098 w 8079933"/>
              <a:gd name="connsiteY29737" fmla="*/ 1388137 h 4687251"/>
              <a:gd name="connsiteX29738" fmla="*/ 2509122 w 8079933"/>
              <a:gd name="connsiteY29738" fmla="*/ 1393334 h 4687251"/>
              <a:gd name="connsiteX29739" fmla="*/ 2505649 w 8079933"/>
              <a:gd name="connsiteY29739" fmla="*/ 1397773 h 4687251"/>
              <a:gd name="connsiteX29740" fmla="*/ 2510640 w 8079933"/>
              <a:gd name="connsiteY29740" fmla="*/ 1395175 h 4687251"/>
              <a:gd name="connsiteX29741" fmla="*/ 2516826 w 8079933"/>
              <a:gd name="connsiteY29741" fmla="*/ 1382615 h 4687251"/>
              <a:gd name="connsiteX29742" fmla="*/ 2523011 w 8079933"/>
              <a:gd name="connsiteY29742" fmla="*/ 1376444 h 4687251"/>
              <a:gd name="connsiteX29743" fmla="*/ 2524422 w 8079933"/>
              <a:gd name="connsiteY29743" fmla="*/ 1376985 h 4687251"/>
              <a:gd name="connsiteX29744" fmla="*/ 2523662 w 8079933"/>
              <a:gd name="connsiteY29744" fmla="*/ 1381641 h 4687251"/>
              <a:gd name="connsiteX29745" fmla="*/ 2524205 w 8079933"/>
              <a:gd name="connsiteY29745" fmla="*/ 1391277 h 4687251"/>
              <a:gd name="connsiteX29746" fmla="*/ 2522903 w 8079933"/>
              <a:gd name="connsiteY29746" fmla="*/ 1393118 h 4687251"/>
              <a:gd name="connsiteX29747" fmla="*/ 2523229 w 8079933"/>
              <a:gd name="connsiteY29747" fmla="*/ 1397124 h 4687251"/>
              <a:gd name="connsiteX29748" fmla="*/ 2521275 w 8079933"/>
              <a:gd name="connsiteY29748" fmla="*/ 1401779 h 4687251"/>
              <a:gd name="connsiteX29749" fmla="*/ 2526592 w 8079933"/>
              <a:gd name="connsiteY29749" fmla="*/ 1395716 h 4687251"/>
              <a:gd name="connsiteX29750" fmla="*/ 2527352 w 8079933"/>
              <a:gd name="connsiteY29750" fmla="*/ 1390194 h 4687251"/>
              <a:gd name="connsiteX29751" fmla="*/ 2532453 w 8079933"/>
              <a:gd name="connsiteY29751" fmla="*/ 1386080 h 4687251"/>
              <a:gd name="connsiteX29752" fmla="*/ 2536793 w 8079933"/>
              <a:gd name="connsiteY29752" fmla="*/ 1385539 h 4687251"/>
              <a:gd name="connsiteX29753" fmla="*/ 2540917 w 8079933"/>
              <a:gd name="connsiteY29753" fmla="*/ 1381749 h 4687251"/>
              <a:gd name="connsiteX29754" fmla="*/ 2544389 w 8079933"/>
              <a:gd name="connsiteY29754" fmla="*/ 1382290 h 4687251"/>
              <a:gd name="connsiteX29755" fmla="*/ 2545040 w 8079933"/>
              <a:gd name="connsiteY29755" fmla="*/ 1384564 h 4687251"/>
              <a:gd name="connsiteX29756" fmla="*/ 2547102 w 8079933"/>
              <a:gd name="connsiteY29756" fmla="*/ 1382182 h 4687251"/>
              <a:gd name="connsiteX29757" fmla="*/ 2551443 w 8079933"/>
              <a:gd name="connsiteY29757" fmla="*/ 1381100 h 4687251"/>
              <a:gd name="connsiteX29758" fmla="*/ 2552094 w 8079933"/>
              <a:gd name="connsiteY29758" fmla="*/ 1376661 h 4687251"/>
              <a:gd name="connsiteX29759" fmla="*/ 2555241 w 8079933"/>
              <a:gd name="connsiteY29759" fmla="*/ 1372329 h 4687251"/>
              <a:gd name="connsiteX29760" fmla="*/ 2561644 w 8079933"/>
              <a:gd name="connsiteY29760" fmla="*/ 1367674 h 4687251"/>
              <a:gd name="connsiteX29761" fmla="*/ 2564682 w 8079933"/>
              <a:gd name="connsiteY29761" fmla="*/ 1370814 h 4687251"/>
              <a:gd name="connsiteX29762" fmla="*/ 2566092 w 8079933"/>
              <a:gd name="connsiteY29762" fmla="*/ 1377635 h 4687251"/>
              <a:gd name="connsiteX29763" fmla="*/ 2565224 w 8079933"/>
              <a:gd name="connsiteY29763" fmla="*/ 1383157 h 4687251"/>
              <a:gd name="connsiteX29764" fmla="*/ 2568480 w 8079933"/>
              <a:gd name="connsiteY29764" fmla="*/ 1375794 h 4687251"/>
              <a:gd name="connsiteX29765" fmla="*/ 2568155 w 8079933"/>
              <a:gd name="connsiteY29765" fmla="*/ 1368757 h 4687251"/>
              <a:gd name="connsiteX29766" fmla="*/ 2570216 w 8079933"/>
              <a:gd name="connsiteY29766" fmla="*/ 1368215 h 4687251"/>
              <a:gd name="connsiteX29767" fmla="*/ 2569673 w 8079933"/>
              <a:gd name="connsiteY29767" fmla="*/ 1365941 h 4687251"/>
              <a:gd name="connsiteX29768" fmla="*/ 2572495 w 8079933"/>
              <a:gd name="connsiteY29768" fmla="*/ 1361502 h 4687251"/>
              <a:gd name="connsiteX29769" fmla="*/ 2576401 w 8079933"/>
              <a:gd name="connsiteY29769" fmla="*/ 1360853 h 4687251"/>
              <a:gd name="connsiteX29770" fmla="*/ 2577596 w 8079933"/>
              <a:gd name="connsiteY29770" fmla="*/ 1354573 h 4687251"/>
              <a:gd name="connsiteX29771" fmla="*/ 2581285 w 8079933"/>
              <a:gd name="connsiteY29771" fmla="*/ 1352192 h 4687251"/>
              <a:gd name="connsiteX29772" fmla="*/ 2584215 w 8079933"/>
              <a:gd name="connsiteY29772" fmla="*/ 1347752 h 4687251"/>
              <a:gd name="connsiteX29773" fmla="*/ 2585734 w 8079933"/>
              <a:gd name="connsiteY29773" fmla="*/ 1344612 h 4687251"/>
              <a:gd name="connsiteX29774" fmla="*/ 2588338 w 8079933"/>
              <a:gd name="connsiteY29774" fmla="*/ 1344504 h 4687251"/>
              <a:gd name="connsiteX29775" fmla="*/ 2592245 w 8079933"/>
              <a:gd name="connsiteY29775" fmla="*/ 1348619 h 4687251"/>
              <a:gd name="connsiteX29776" fmla="*/ 2592462 w 8079933"/>
              <a:gd name="connsiteY29776" fmla="*/ 1345695 h 4687251"/>
              <a:gd name="connsiteX29777" fmla="*/ 2590400 w 8079933"/>
              <a:gd name="connsiteY29777" fmla="*/ 1342122 h 4687251"/>
              <a:gd name="connsiteX29778" fmla="*/ 2586385 w 8079933"/>
              <a:gd name="connsiteY29778" fmla="*/ 1341906 h 4687251"/>
              <a:gd name="connsiteX29779" fmla="*/ 2586277 w 8079933"/>
              <a:gd name="connsiteY29779" fmla="*/ 1338982 h 4687251"/>
              <a:gd name="connsiteX29780" fmla="*/ 2589315 w 8079933"/>
              <a:gd name="connsiteY29780" fmla="*/ 1331728 h 4687251"/>
              <a:gd name="connsiteX29781" fmla="*/ 2591811 w 8079933"/>
              <a:gd name="connsiteY29781" fmla="*/ 1330537 h 4687251"/>
              <a:gd name="connsiteX29782" fmla="*/ 2594524 w 8079933"/>
              <a:gd name="connsiteY29782" fmla="*/ 1333460 h 4687251"/>
              <a:gd name="connsiteX29783" fmla="*/ 2594198 w 8079933"/>
              <a:gd name="connsiteY29783" fmla="*/ 1329021 h 4687251"/>
              <a:gd name="connsiteX29784" fmla="*/ 2597128 w 8079933"/>
              <a:gd name="connsiteY29784" fmla="*/ 1326964 h 4687251"/>
              <a:gd name="connsiteX29785" fmla="*/ 2597671 w 8079933"/>
              <a:gd name="connsiteY29785" fmla="*/ 1323391 h 4687251"/>
              <a:gd name="connsiteX29786" fmla="*/ 2602771 w 8079933"/>
              <a:gd name="connsiteY29786" fmla="*/ 1317653 h 4687251"/>
              <a:gd name="connsiteX29787" fmla="*/ 2605050 w 8079933"/>
              <a:gd name="connsiteY29787" fmla="*/ 1313755 h 4687251"/>
              <a:gd name="connsiteX29788" fmla="*/ 2603965 w 8079933"/>
              <a:gd name="connsiteY29788" fmla="*/ 1310399 h 4687251"/>
              <a:gd name="connsiteX29789" fmla="*/ 2608088 w 8079933"/>
              <a:gd name="connsiteY29789" fmla="*/ 1304985 h 4687251"/>
              <a:gd name="connsiteX29790" fmla="*/ 2612971 w 8079933"/>
              <a:gd name="connsiteY29790" fmla="*/ 1303361 h 4687251"/>
              <a:gd name="connsiteX29791" fmla="*/ 2614816 w 8079933"/>
              <a:gd name="connsiteY29791" fmla="*/ 1305310 h 4687251"/>
              <a:gd name="connsiteX29792" fmla="*/ 2611018 w 8079933"/>
              <a:gd name="connsiteY29792" fmla="*/ 1308558 h 4687251"/>
              <a:gd name="connsiteX29793" fmla="*/ 2615251 w 8079933"/>
              <a:gd name="connsiteY29793" fmla="*/ 1306826 h 4687251"/>
              <a:gd name="connsiteX29794" fmla="*/ 2616770 w 8079933"/>
              <a:gd name="connsiteY29794" fmla="*/ 1308883 h 4687251"/>
              <a:gd name="connsiteX29795" fmla="*/ 2613840 w 8079933"/>
              <a:gd name="connsiteY29795" fmla="*/ 1310940 h 4687251"/>
              <a:gd name="connsiteX29796" fmla="*/ 2613298 w 8079933"/>
              <a:gd name="connsiteY29796" fmla="*/ 1314188 h 4687251"/>
              <a:gd name="connsiteX29797" fmla="*/ 2616444 w 8079933"/>
              <a:gd name="connsiteY29797" fmla="*/ 1316246 h 4687251"/>
              <a:gd name="connsiteX29798" fmla="*/ 2613623 w 8079933"/>
              <a:gd name="connsiteY29798" fmla="*/ 1320035 h 4687251"/>
              <a:gd name="connsiteX29799" fmla="*/ 2611018 w 8079933"/>
              <a:gd name="connsiteY29799" fmla="*/ 1320576 h 4687251"/>
              <a:gd name="connsiteX29800" fmla="*/ 2610910 w 8079933"/>
              <a:gd name="connsiteY29800" fmla="*/ 1321659 h 4687251"/>
              <a:gd name="connsiteX29801" fmla="*/ 2613840 w 8079933"/>
              <a:gd name="connsiteY29801" fmla="*/ 1322309 h 4687251"/>
              <a:gd name="connsiteX29802" fmla="*/ 2616770 w 8079933"/>
              <a:gd name="connsiteY29802" fmla="*/ 1322850 h 4687251"/>
              <a:gd name="connsiteX29803" fmla="*/ 2615359 w 8079933"/>
              <a:gd name="connsiteY29803" fmla="*/ 1326748 h 4687251"/>
              <a:gd name="connsiteX29804" fmla="*/ 2613948 w 8079933"/>
              <a:gd name="connsiteY29804" fmla="*/ 1328697 h 4687251"/>
              <a:gd name="connsiteX29805" fmla="*/ 2617421 w 8079933"/>
              <a:gd name="connsiteY29805" fmla="*/ 1328480 h 4687251"/>
              <a:gd name="connsiteX29806" fmla="*/ 2617746 w 8079933"/>
              <a:gd name="connsiteY29806" fmla="*/ 1332594 h 4687251"/>
              <a:gd name="connsiteX29807" fmla="*/ 2614708 w 8079933"/>
              <a:gd name="connsiteY29807" fmla="*/ 1334652 h 4687251"/>
              <a:gd name="connsiteX29808" fmla="*/ 2615684 w 8079933"/>
              <a:gd name="connsiteY29808" fmla="*/ 1339307 h 4687251"/>
              <a:gd name="connsiteX29809" fmla="*/ 2620134 w 8079933"/>
              <a:gd name="connsiteY29809" fmla="*/ 1343421 h 4687251"/>
              <a:gd name="connsiteX29810" fmla="*/ 2620459 w 8079933"/>
              <a:gd name="connsiteY29810" fmla="*/ 1349376 h 4687251"/>
              <a:gd name="connsiteX29811" fmla="*/ 2618614 w 8079933"/>
              <a:gd name="connsiteY29811" fmla="*/ 1351217 h 4687251"/>
              <a:gd name="connsiteX29812" fmla="*/ 2616336 w 8079933"/>
              <a:gd name="connsiteY29812" fmla="*/ 1349160 h 4687251"/>
              <a:gd name="connsiteX29813" fmla="*/ 2613189 w 8079933"/>
              <a:gd name="connsiteY29813" fmla="*/ 1350459 h 4687251"/>
              <a:gd name="connsiteX29814" fmla="*/ 2616336 w 8079933"/>
              <a:gd name="connsiteY29814" fmla="*/ 1353274 h 4687251"/>
              <a:gd name="connsiteX29815" fmla="*/ 2617313 w 8079933"/>
              <a:gd name="connsiteY29815" fmla="*/ 1356198 h 4687251"/>
              <a:gd name="connsiteX29816" fmla="*/ 2619374 w 8079933"/>
              <a:gd name="connsiteY29816" fmla="*/ 1356198 h 4687251"/>
              <a:gd name="connsiteX29817" fmla="*/ 2622412 w 8079933"/>
              <a:gd name="connsiteY29817" fmla="*/ 1353166 h 4687251"/>
              <a:gd name="connsiteX29818" fmla="*/ 2622847 w 8079933"/>
              <a:gd name="connsiteY29818" fmla="*/ 1356414 h 4687251"/>
              <a:gd name="connsiteX29819" fmla="*/ 2626211 w 8079933"/>
              <a:gd name="connsiteY29819" fmla="*/ 1358363 h 4687251"/>
              <a:gd name="connsiteX29820" fmla="*/ 2622630 w 8079933"/>
              <a:gd name="connsiteY29820" fmla="*/ 1364318 h 4687251"/>
              <a:gd name="connsiteX29821" fmla="*/ 2618397 w 8079933"/>
              <a:gd name="connsiteY29821" fmla="*/ 1365509 h 4687251"/>
              <a:gd name="connsiteX29822" fmla="*/ 2613406 w 8079933"/>
              <a:gd name="connsiteY29822" fmla="*/ 1364643 h 4687251"/>
              <a:gd name="connsiteX29823" fmla="*/ 2611018 w 8079933"/>
              <a:gd name="connsiteY29823" fmla="*/ 1367566 h 4687251"/>
              <a:gd name="connsiteX29824" fmla="*/ 2614599 w 8079933"/>
              <a:gd name="connsiteY29824" fmla="*/ 1369731 h 4687251"/>
              <a:gd name="connsiteX29825" fmla="*/ 2625560 w 8079933"/>
              <a:gd name="connsiteY29825" fmla="*/ 1366700 h 4687251"/>
              <a:gd name="connsiteX29826" fmla="*/ 2629141 w 8079933"/>
              <a:gd name="connsiteY29826" fmla="*/ 1367457 h 4687251"/>
              <a:gd name="connsiteX29827" fmla="*/ 2627838 w 8079933"/>
              <a:gd name="connsiteY29827" fmla="*/ 1371680 h 4687251"/>
              <a:gd name="connsiteX29828" fmla="*/ 2623607 w 8079933"/>
              <a:gd name="connsiteY29828" fmla="*/ 1376444 h 4687251"/>
              <a:gd name="connsiteX29829" fmla="*/ 2627079 w 8079933"/>
              <a:gd name="connsiteY29829" fmla="*/ 1378068 h 4687251"/>
              <a:gd name="connsiteX29830" fmla="*/ 2631094 w 8079933"/>
              <a:gd name="connsiteY29830" fmla="*/ 1375578 h 4687251"/>
              <a:gd name="connsiteX29831" fmla="*/ 2631094 w 8079933"/>
              <a:gd name="connsiteY29831" fmla="*/ 1380883 h 4687251"/>
              <a:gd name="connsiteX29832" fmla="*/ 2627079 w 8079933"/>
              <a:gd name="connsiteY29832" fmla="*/ 1386622 h 4687251"/>
              <a:gd name="connsiteX29833" fmla="*/ 2619700 w 8079933"/>
              <a:gd name="connsiteY29833" fmla="*/ 1386622 h 4687251"/>
              <a:gd name="connsiteX29834" fmla="*/ 2616227 w 8079933"/>
              <a:gd name="connsiteY29834" fmla="*/ 1384023 h 4687251"/>
              <a:gd name="connsiteX29835" fmla="*/ 2614383 w 8079933"/>
              <a:gd name="connsiteY29835" fmla="*/ 1387271 h 4687251"/>
              <a:gd name="connsiteX29836" fmla="*/ 2615359 w 8079933"/>
              <a:gd name="connsiteY29836" fmla="*/ 1390519 h 4687251"/>
              <a:gd name="connsiteX29837" fmla="*/ 2613623 w 8079933"/>
              <a:gd name="connsiteY29837" fmla="*/ 1394308 h 4687251"/>
              <a:gd name="connsiteX29838" fmla="*/ 2620242 w 8079933"/>
              <a:gd name="connsiteY29838" fmla="*/ 1391385 h 4687251"/>
              <a:gd name="connsiteX29839" fmla="*/ 2627622 w 8079933"/>
              <a:gd name="connsiteY29839" fmla="*/ 1391602 h 4687251"/>
              <a:gd name="connsiteX29840" fmla="*/ 2632830 w 8079933"/>
              <a:gd name="connsiteY29840" fmla="*/ 1389328 h 4687251"/>
              <a:gd name="connsiteX29841" fmla="*/ 2634133 w 8079933"/>
              <a:gd name="connsiteY29841" fmla="*/ 1390735 h 4687251"/>
              <a:gd name="connsiteX29842" fmla="*/ 2631420 w 8079933"/>
              <a:gd name="connsiteY29842" fmla="*/ 1393767 h 4687251"/>
              <a:gd name="connsiteX29843" fmla="*/ 2631420 w 8079933"/>
              <a:gd name="connsiteY29843" fmla="*/ 1396041 h 4687251"/>
              <a:gd name="connsiteX29844" fmla="*/ 2627296 w 8079933"/>
              <a:gd name="connsiteY29844" fmla="*/ 1398639 h 4687251"/>
              <a:gd name="connsiteX29845" fmla="*/ 2622739 w 8079933"/>
              <a:gd name="connsiteY29845" fmla="*/ 1398639 h 4687251"/>
              <a:gd name="connsiteX29846" fmla="*/ 2615902 w 8079933"/>
              <a:gd name="connsiteY29846" fmla="*/ 1407085 h 4687251"/>
              <a:gd name="connsiteX29847" fmla="*/ 2623498 w 8079933"/>
              <a:gd name="connsiteY29847" fmla="*/ 1403620 h 4687251"/>
              <a:gd name="connsiteX29848" fmla="*/ 2628598 w 8079933"/>
              <a:gd name="connsiteY29848" fmla="*/ 1403620 h 4687251"/>
              <a:gd name="connsiteX29849" fmla="*/ 2632071 w 8079933"/>
              <a:gd name="connsiteY29849" fmla="*/ 1402429 h 4687251"/>
              <a:gd name="connsiteX29850" fmla="*/ 2636411 w 8079933"/>
              <a:gd name="connsiteY29850" fmla="*/ 1403295 h 4687251"/>
              <a:gd name="connsiteX29851" fmla="*/ 2636411 w 8079933"/>
              <a:gd name="connsiteY29851" fmla="*/ 1407518 h 4687251"/>
              <a:gd name="connsiteX29852" fmla="*/ 2632613 w 8079933"/>
              <a:gd name="connsiteY29852" fmla="*/ 1408059 h 4687251"/>
              <a:gd name="connsiteX29853" fmla="*/ 2627622 w 8079933"/>
              <a:gd name="connsiteY29853" fmla="*/ 1411307 h 4687251"/>
              <a:gd name="connsiteX29854" fmla="*/ 2626211 w 8079933"/>
              <a:gd name="connsiteY29854" fmla="*/ 1415963 h 4687251"/>
              <a:gd name="connsiteX29855" fmla="*/ 2629141 w 8079933"/>
              <a:gd name="connsiteY29855" fmla="*/ 1413039 h 4687251"/>
              <a:gd name="connsiteX29856" fmla="*/ 2633590 w 8079933"/>
              <a:gd name="connsiteY29856" fmla="*/ 1414447 h 4687251"/>
              <a:gd name="connsiteX29857" fmla="*/ 2636194 w 8079933"/>
              <a:gd name="connsiteY29857" fmla="*/ 1411524 h 4687251"/>
              <a:gd name="connsiteX29858" fmla="*/ 2640644 w 8079933"/>
              <a:gd name="connsiteY29858" fmla="*/ 1415638 h 4687251"/>
              <a:gd name="connsiteX29859" fmla="*/ 2642922 w 8079933"/>
              <a:gd name="connsiteY29859" fmla="*/ 1423542 h 4687251"/>
              <a:gd name="connsiteX29860" fmla="*/ 2638147 w 8079933"/>
              <a:gd name="connsiteY29860" fmla="*/ 1427548 h 4687251"/>
              <a:gd name="connsiteX29861" fmla="*/ 2634892 w 8079933"/>
              <a:gd name="connsiteY29861" fmla="*/ 1426357 h 4687251"/>
              <a:gd name="connsiteX29862" fmla="*/ 2632396 w 8079933"/>
              <a:gd name="connsiteY29862" fmla="*/ 1428414 h 4687251"/>
              <a:gd name="connsiteX29863" fmla="*/ 2627730 w 8079933"/>
              <a:gd name="connsiteY29863" fmla="*/ 1428414 h 4687251"/>
              <a:gd name="connsiteX29864" fmla="*/ 2631203 w 8079933"/>
              <a:gd name="connsiteY29864" fmla="*/ 1431446 h 4687251"/>
              <a:gd name="connsiteX29865" fmla="*/ 2634458 w 8079933"/>
              <a:gd name="connsiteY29865" fmla="*/ 1430796 h 4687251"/>
              <a:gd name="connsiteX29866" fmla="*/ 2636520 w 8079933"/>
              <a:gd name="connsiteY29866" fmla="*/ 1432095 h 4687251"/>
              <a:gd name="connsiteX29867" fmla="*/ 2641729 w 8079933"/>
              <a:gd name="connsiteY29867" fmla="*/ 1432312 h 4687251"/>
              <a:gd name="connsiteX29868" fmla="*/ 2643790 w 8079933"/>
              <a:gd name="connsiteY29868" fmla="*/ 1434369 h 4687251"/>
              <a:gd name="connsiteX29869" fmla="*/ 2642380 w 8079933"/>
              <a:gd name="connsiteY29869" fmla="*/ 1438158 h 4687251"/>
              <a:gd name="connsiteX29870" fmla="*/ 2639124 w 8079933"/>
              <a:gd name="connsiteY29870" fmla="*/ 1440432 h 4687251"/>
              <a:gd name="connsiteX29871" fmla="*/ 2643465 w 8079933"/>
              <a:gd name="connsiteY29871" fmla="*/ 1441948 h 4687251"/>
              <a:gd name="connsiteX29872" fmla="*/ 2646937 w 8079933"/>
              <a:gd name="connsiteY29872" fmla="*/ 1441298 h 4687251"/>
              <a:gd name="connsiteX29873" fmla="*/ 2651386 w 8079933"/>
              <a:gd name="connsiteY29873" fmla="*/ 1445196 h 4687251"/>
              <a:gd name="connsiteX29874" fmla="*/ 2650301 w 8079933"/>
              <a:gd name="connsiteY29874" fmla="*/ 1449310 h 4687251"/>
              <a:gd name="connsiteX29875" fmla="*/ 2646720 w 8079933"/>
              <a:gd name="connsiteY29875" fmla="*/ 1451259 h 4687251"/>
              <a:gd name="connsiteX29876" fmla="*/ 2640861 w 8079933"/>
              <a:gd name="connsiteY29876" fmla="*/ 1456022 h 4687251"/>
              <a:gd name="connsiteX29877" fmla="*/ 2637279 w 8079933"/>
              <a:gd name="connsiteY29877" fmla="*/ 1454615 h 4687251"/>
              <a:gd name="connsiteX29878" fmla="*/ 2635869 w 8079933"/>
              <a:gd name="connsiteY29878" fmla="*/ 1456781 h 4687251"/>
              <a:gd name="connsiteX29879" fmla="*/ 2640209 w 8079933"/>
              <a:gd name="connsiteY29879" fmla="*/ 1458621 h 4687251"/>
              <a:gd name="connsiteX29880" fmla="*/ 2640535 w 8079933"/>
              <a:gd name="connsiteY29880" fmla="*/ 1461544 h 4687251"/>
              <a:gd name="connsiteX29881" fmla="*/ 2635543 w 8079933"/>
              <a:gd name="connsiteY29881" fmla="*/ 1462086 h 4687251"/>
              <a:gd name="connsiteX29882" fmla="*/ 2629358 w 8079933"/>
              <a:gd name="connsiteY29882" fmla="*/ 1458513 h 4687251"/>
              <a:gd name="connsiteX29883" fmla="*/ 2622630 w 8079933"/>
              <a:gd name="connsiteY29883" fmla="*/ 1458621 h 4687251"/>
              <a:gd name="connsiteX29884" fmla="*/ 2628815 w 8079933"/>
              <a:gd name="connsiteY29884" fmla="*/ 1462086 h 4687251"/>
              <a:gd name="connsiteX29885" fmla="*/ 2628923 w 8079933"/>
              <a:gd name="connsiteY29885" fmla="*/ 1466525 h 4687251"/>
              <a:gd name="connsiteX29886" fmla="*/ 2633807 w 8079933"/>
              <a:gd name="connsiteY29886" fmla="*/ 1470964 h 4687251"/>
              <a:gd name="connsiteX29887" fmla="*/ 2635869 w 8079933"/>
              <a:gd name="connsiteY29887" fmla="*/ 1473779 h 4687251"/>
              <a:gd name="connsiteX29888" fmla="*/ 2635001 w 8079933"/>
              <a:gd name="connsiteY29888" fmla="*/ 1475944 h 4687251"/>
              <a:gd name="connsiteX29889" fmla="*/ 2629792 w 8079933"/>
              <a:gd name="connsiteY29889" fmla="*/ 1476703 h 4687251"/>
              <a:gd name="connsiteX29890" fmla="*/ 2627947 w 8079933"/>
              <a:gd name="connsiteY29890" fmla="*/ 1479409 h 4687251"/>
              <a:gd name="connsiteX29891" fmla="*/ 2621436 w 8079933"/>
              <a:gd name="connsiteY29891" fmla="*/ 1478868 h 4687251"/>
              <a:gd name="connsiteX29892" fmla="*/ 2629792 w 8079933"/>
              <a:gd name="connsiteY29892" fmla="*/ 1481358 h 4687251"/>
              <a:gd name="connsiteX29893" fmla="*/ 2632939 w 8079933"/>
              <a:gd name="connsiteY29893" fmla="*/ 1480600 h 4687251"/>
              <a:gd name="connsiteX29894" fmla="*/ 2633481 w 8079933"/>
              <a:gd name="connsiteY29894" fmla="*/ 1478868 h 4687251"/>
              <a:gd name="connsiteX29895" fmla="*/ 2639992 w 8079933"/>
              <a:gd name="connsiteY29895" fmla="*/ 1477569 h 4687251"/>
              <a:gd name="connsiteX29896" fmla="*/ 2642597 w 8079933"/>
              <a:gd name="connsiteY29896" fmla="*/ 1478001 h 4687251"/>
              <a:gd name="connsiteX29897" fmla="*/ 2642597 w 8079933"/>
              <a:gd name="connsiteY29897" fmla="*/ 1481358 h 4687251"/>
              <a:gd name="connsiteX29898" fmla="*/ 2644442 w 8079933"/>
              <a:gd name="connsiteY29898" fmla="*/ 1483523 h 4687251"/>
              <a:gd name="connsiteX29899" fmla="*/ 2642271 w 8079933"/>
              <a:gd name="connsiteY29899" fmla="*/ 1485581 h 4687251"/>
              <a:gd name="connsiteX29900" fmla="*/ 2645201 w 8079933"/>
              <a:gd name="connsiteY29900" fmla="*/ 1486014 h 4687251"/>
              <a:gd name="connsiteX29901" fmla="*/ 2646070 w 8079933"/>
              <a:gd name="connsiteY29901" fmla="*/ 1487313 h 4687251"/>
              <a:gd name="connsiteX29902" fmla="*/ 2645201 w 8079933"/>
              <a:gd name="connsiteY29902" fmla="*/ 1490994 h 4687251"/>
              <a:gd name="connsiteX29903" fmla="*/ 2646503 w 8079933"/>
              <a:gd name="connsiteY29903" fmla="*/ 1492619 h 4687251"/>
              <a:gd name="connsiteX29904" fmla="*/ 2651061 w 8079933"/>
              <a:gd name="connsiteY29904" fmla="*/ 1489695 h 4687251"/>
              <a:gd name="connsiteX29905" fmla="*/ 2652580 w 8079933"/>
              <a:gd name="connsiteY29905" fmla="*/ 1490561 h 4687251"/>
              <a:gd name="connsiteX29906" fmla="*/ 2655727 w 8079933"/>
              <a:gd name="connsiteY29906" fmla="*/ 1491427 h 4687251"/>
              <a:gd name="connsiteX29907" fmla="*/ 2655293 w 8079933"/>
              <a:gd name="connsiteY29907" fmla="*/ 1497490 h 4687251"/>
              <a:gd name="connsiteX29908" fmla="*/ 2653666 w 8079933"/>
              <a:gd name="connsiteY29908" fmla="*/ 1500197 h 4687251"/>
              <a:gd name="connsiteX29909" fmla="*/ 2653666 w 8079933"/>
              <a:gd name="connsiteY29909" fmla="*/ 1502471 h 4687251"/>
              <a:gd name="connsiteX29910" fmla="*/ 2655836 w 8079933"/>
              <a:gd name="connsiteY29910" fmla="*/ 1502146 h 4687251"/>
              <a:gd name="connsiteX29911" fmla="*/ 2660502 w 8079933"/>
              <a:gd name="connsiteY29911" fmla="*/ 1495758 h 4687251"/>
              <a:gd name="connsiteX29912" fmla="*/ 2661587 w 8079933"/>
              <a:gd name="connsiteY29912" fmla="*/ 1496408 h 4687251"/>
              <a:gd name="connsiteX29913" fmla="*/ 2660827 w 8079933"/>
              <a:gd name="connsiteY29913" fmla="*/ 1500413 h 4687251"/>
              <a:gd name="connsiteX29914" fmla="*/ 2663649 w 8079933"/>
              <a:gd name="connsiteY29914" fmla="*/ 1503445 h 4687251"/>
              <a:gd name="connsiteX29915" fmla="*/ 2657897 w 8079933"/>
              <a:gd name="connsiteY29915" fmla="*/ 1507127 h 4687251"/>
              <a:gd name="connsiteX29916" fmla="*/ 2650736 w 8079933"/>
              <a:gd name="connsiteY29916" fmla="*/ 1516546 h 4687251"/>
              <a:gd name="connsiteX29917" fmla="*/ 2646503 w 8079933"/>
              <a:gd name="connsiteY29917" fmla="*/ 1519794 h 4687251"/>
              <a:gd name="connsiteX29918" fmla="*/ 2641512 w 8079933"/>
              <a:gd name="connsiteY29918" fmla="*/ 1518495 h 4687251"/>
              <a:gd name="connsiteX29919" fmla="*/ 2646178 w 8079933"/>
              <a:gd name="connsiteY29919" fmla="*/ 1521202 h 4687251"/>
              <a:gd name="connsiteX29920" fmla="*/ 2650301 w 8079933"/>
              <a:gd name="connsiteY29920" fmla="*/ 1520011 h 4687251"/>
              <a:gd name="connsiteX29921" fmla="*/ 2659091 w 8079933"/>
              <a:gd name="connsiteY29921" fmla="*/ 1511566 h 4687251"/>
              <a:gd name="connsiteX29922" fmla="*/ 2662564 w 8079933"/>
              <a:gd name="connsiteY29922" fmla="*/ 1511566 h 4687251"/>
              <a:gd name="connsiteX29923" fmla="*/ 2662781 w 8079933"/>
              <a:gd name="connsiteY29923" fmla="*/ 1514164 h 4687251"/>
              <a:gd name="connsiteX29924" fmla="*/ 2658766 w 8079933"/>
              <a:gd name="connsiteY29924" fmla="*/ 1517087 h 4687251"/>
              <a:gd name="connsiteX29925" fmla="*/ 2656596 w 8079933"/>
              <a:gd name="connsiteY29925" fmla="*/ 1521418 h 4687251"/>
              <a:gd name="connsiteX29926" fmla="*/ 2658982 w 8079933"/>
              <a:gd name="connsiteY29926" fmla="*/ 1522176 h 4687251"/>
              <a:gd name="connsiteX29927" fmla="*/ 2663757 w 8079933"/>
              <a:gd name="connsiteY29927" fmla="*/ 1516762 h 4687251"/>
              <a:gd name="connsiteX29928" fmla="*/ 2667881 w 8079933"/>
              <a:gd name="connsiteY29928" fmla="*/ 1511890 h 4687251"/>
              <a:gd name="connsiteX29929" fmla="*/ 2673090 w 8079933"/>
              <a:gd name="connsiteY29929" fmla="*/ 1511025 h 4687251"/>
              <a:gd name="connsiteX29930" fmla="*/ 2673090 w 8079933"/>
              <a:gd name="connsiteY29930" fmla="*/ 1513082 h 4687251"/>
              <a:gd name="connsiteX29931" fmla="*/ 2669509 w 8079933"/>
              <a:gd name="connsiteY29931" fmla="*/ 1515139 h 4687251"/>
              <a:gd name="connsiteX29932" fmla="*/ 2667447 w 8079933"/>
              <a:gd name="connsiteY29932" fmla="*/ 1517196 h 4687251"/>
              <a:gd name="connsiteX29933" fmla="*/ 2668966 w 8079933"/>
              <a:gd name="connsiteY29933" fmla="*/ 1518278 h 4687251"/>
              <a:gd name="connsiteX29934" fmla="*/ 2675369 w 8079933"/>
              <a:gd name="connsiteY29934" fmla="*/ 1515572 h 4687251"/>
              <a:gd name="connsiteX29935" fmla="*/ 2677431 w 8079933"/>
              <a:gd name="connsiteY29935" fmla="*/ 1517412 h 4687251"/>
              <a:gd name="connsiteX29936" fmla="*/ 2670486 w 8079933"/>
              <a:gd name="connsiteY29936" fmla="*/ 1522609 h 4687251"/>
              <a:gd name="connsiteX29937" fmla="*/ 2667556 w 8079933"/>
              <a:gd name="connsiteY29937" fmla="*/ 1526182 h 4687251"/>
              <a:gd name="connsiteX29938" fmla="*/ 2669835 w 8079933"/>
              <a:gd name="connsiteY29938" fmla="*/ 1526723 h 4687251"/>
              <a:gd name="connsiteX29939" fmla="*/ 2673633 w 8079933"/>
              <a:gd name="connsiteY29939" fmla="*/ 1523584 h 4687251"/>
              <a:gd name="connsiteX29940" fmla="*/ 2682531 w 8079933"/>
              <a:gd name="connsiteY29940" fmla="*/ 1515896 h 4687251"/>
              <a:gd name="connsiteX29941" fmla="*/ 2684267 w 8079933"/>
              <a:gd name="connsiteY29941" fmla="*/ 1516546 h 4687251"/>
              <a:gd name="connsiteX29942" fmla="*/ 2681880 w 8079933"/>
              <a:gd name="connsiteY29942" fmla="*/ 1518603 h 4687251"/>
              <a:gd name="connsiteX29943" fmla="*/ 2681337 w 8079933"/>
              <a:gd name="connsiteY29943" fmla="*/ 1520985 h 4687251"/>
              <a:gd name="connsiteX29944" fmla="*/ 2687848 w 8079933"/>
              <a:gd name="connsiteY29944" fmla="*/ 1516546 h 4687251"/>
              <a:gd name="connsiteX29945" fmla="*/ 2687197 w 8079933"/>
              <a:gd name="connsiteY29945" fmla="*/ 1518928 h 4687251"/>
              <a:gd name="connsiteX29946" fmla="*/ 2687088 w 8079933"/>
              <a:gd name="connsiteY29946" fmla="*/ 1526507 h 4687251"/>
              <a:gd name="connsiteX29947" fmla="*/ 2684267 w 8079933"/>
              <a:gd name="connsiteY29947" fmla="*/ 1527373 h 4687251"/>
              <a:gd name="connsiteX29948" fmla="*/ 2685027 w 8079933"/>
              <a:gd name="connsiteY29948" fmla="*/ 1530296 h 4687251"/>
              <a:gd name="connsiteX29949" fmla="*/ 2690127 w 8079933"/>
              <a:gd name="connsiteY29949" fmla="*/ 1529647 h 4687251"/>
              <a:gd name="connsiteX29950" fmla="*/ 2695661 w 8079933"/>
              <a:gd name="connsiteY29950" fmla="*/ 1532895 h 4687251"/>
              <a:gd name="connsiteX29951" fmla="*/ 2699242 w 8079933"/>
              <a:gd name="connsiteY29951" fmla="*/ 1528564 h 4687251"/>
              <a:gd name="connsiteX29952" fmla="*/ 2705970 w 8079933"/>
              <a:gd name="connsiteY29952" fmla="*/ 1526831 h 4687251"/>
              <a:gd name="connsiteX29953" fmla="*/ 2709118 w 8079933"/>
              <a:gd name="connsiteY29953" fmla="*/ 1528023 h 4687251"/>
              <a:gd name="connsiteX29954" fmla="*/ 2706838 w 8079933"/>
              <a:gd name="connsiteY29954" fmla="*/ 1532570 h 4687251"/>
              <a:gd name="connsiteX29955" fmla="*/ 2703908 w 8079933"/>
              <a:gd name="connsiteY29955" fmla="*/ 1532570 h 4687251"/>
              <a:gd name="connsiteX29956" fmla="*/ 2702172 w 8079933"/>
              <a:gd name="connsiteY29956" fmla="*/ 1534411 h 4687251"/>
              <a:gd name="connsiteX29957" fmla="*/ 2713567 w 8079933"/>
              <a:gd name="connsiteY29957" fmla="*/ 1537659 h 4687251"/>
              <a:gd name="connsiteX29958" fmla="*/ 2718016 w 8079933"/>
              <a:gd name="connsiteY29958" fmla="*/ 1541665 h 4687251"/>
              <a:gd name="connsiteX29959" fmla="*/ 2710528 w 8079933"/>
              <a:gd name="connsiteY29959" fmla="*/ 1542639 h 4687251"/>
              <a:gd name="connsiteX29960" fmla="*/ 2710528 w 8079933"/>
              <a:gd name="connsiteY29960" fmla="*/ 1544372 h 4687251"/>
              <a:gd name="connsiteX29961" fmla="*/ 2701195 w 8079933"/>
              <a:gd name="connsiteY29961" fmla="*/ 1546104 h 4687251"/>
              <a:gd name="connsiteX29962" fmla="*/ 2699242 w 8079933"/>
              <a:gd name="connsiteY29962" fmla="*/ 1544372 h 4687251"/>
              <a:gd name="connsiteX29963" fmla="*/ 2691863 w 8079933"/>
              <a:gd name="connsiteY29963" fmla="*/ 1547295 h 4687251"/>
              <a:gd name="connsiteX29964" fmla="*/ 2687848 w 8079933"/>
              <a:gd name="connsiteY29964" fmla="*/ 1551626 h 4687251"/>
              <a:gd name="connsiteX29965" fmla="*/ 2678733 w 8079933"/>
              <a:gd name="connsiteY29965" fmla="*/ 1551951 h 4687251"/>
              <a:gd name="connsiteX29966" fmla="*/ 2666362 w 8079933"/>
              <a:gd name="connsiteY29966" fmla="*/ 1554224 h 4687251"/>
              <a:gd name="connsiteX29967" fmla="*/ 2665711 w 8079933"/>
              <a:gd name="connsiteY29967" fmla="*/ 1557473 h 4687251"/>
              <a:gd name="connsiteX29968" fmla="*/ 2674826 w 8079933"/>
              <a:gd name="connsiteY29968" fmla="*/ 1555415 h 4687251"/>
              <a:gd name="connsiteX29969" fmla="*/ 2683942 w 8079933"/>
              <a:gd name="connsiteY29969" fmla="*/ 1552708 h 4687251"/>
              <a:gd name="connsiteX29970" fmla="*/ 2687088 w 8079933"/>
              <a:gd name="connsiteY29970" fmla="*/ 1553466 h 4687251"/>
              <a:gd name="connsiteX29971" fmla="*/ 2687740 w 8079933"/>
              <a:gd name="connsiteY29971" fmla="*/ 1555523 h 4687251"/>
              <a:gd name="connsiteX29972" fmla="*/ 2678624 w 8079933"/>
              <a:gd name="connsiteY29972" fmla="*/ 1556931 h 4687251"/>
              <a:gd name="connsiteX29973" fmla="*/ 2669835 w 8079933"/>
              <a:gd name="connsiteY29973" fmla="*/ 1558663 h 4687251"/>
              <a:gd name="connsiteX29974" fmla="*/ 2661913 w 8079933"/>
              <a:gd name="connsiteY29974" fmla="*/ 1562778 h 4687251"/>
              <a:gd name="connsiteX29975" fmla="*/ 2658766 w 8079933"/>
              <a:gd name="connsiteY29975" fmla="*/ 1565701 h 4687251"/>
              <a:gd name="connsiteX29976" fmla="*/ 2653231 w 8079933"/>
              <a:gd name="connsiteY29976" fmla="*/ 1565918 h 4687251"/>
              <a:gd name="connsiteX29977" fmla="*/ 2652580 w 8079933"/>
              <a:gd name="connsiteY29977" fmla="*/ 1570140 h 4687251"/>
              <a:gd name="connsiteX29978" fmla="*/ 2650736 w 8079933"/>
              <a:gd name="connsiteY29978" fmla="*/ 1572630 h 4687251"/>
              <a:gd name="connsiteX29979" fmla="*/ 2642271 w 8079933"/>
              <a:gd name="connsiteY29979" fmla="*/ 1566892 h 4687251"/>
              <a:gd name="connsiteX29980" fmla="*/ 2637279 w 8079933"/>
              <a:gd name="connsiteY29980" fmla="*/ 1558339 h 4687251"/>
              <a:gd name="connsiteX29981" fmla="*/ 2637605 w 8079933"/>
              <a:gd name="connsiteY29981" fmla="*/ 1562345 h 4687251"/>
              <a:gd name="connsiteX29982" fmla="*/ 2636303 w 8079933"/>
              <a:gd name="connsiteY29982" fmla="*/ 1564726 h 4687251"/>
              <a:gd name="connsiteX29983" fmla="*/ 2639775 w 8079933"/>
              <a:gd name="connsiteY29983" fmla="*/ 1566242 h 4687251"/>
              <a:gd name="connsiteX29984" fmla="*/ 2640644 w 8079933"/>
              <a:gd name="connsiteY29984" fmla="*/ 1568300 h 4687251"/>
              <a:gd name="connsiteX29985" fmla="*/ 2650193 w 8079933"/>
              <a:gd name="connsiteY29985" fmla="*/ 1576203 h 4687251"/>
              <a:gd name="connsiteX29986" fmla="*/ 2648782 w 8079933"/>
              <a:gd name="connsiteY29986" fmla="*/ 1579126 h 4687251"/>
              <a:gd name="connsiteX29987" fmla="*/ 2646070 w 8079933"/>
              <a:gd name="connsiteY29987" fmla="*/ 1578261 h 4687251"/>
              <a:gd name="connsiteX29988" fmla="*/ 2642922 w 8079933"/>
              <a:gd name="connsiteY29988" fmla="*/ 1580967 h 4687251"/>
              <a:gd name="connsiteX29989" fmla="*/ 2644875 w 8079933"/>
              <a:gd name="connsiteY29989" fmla="*/ 1584648 h 4687251"/>
              <a:gd name="connsiteX29990" fmla="*/ 2647263 w 8079933"/>
              <a:gd name="connsiteY29990" fmla="*/ 1585190 h 4687251"/>
              <a:gd name="connsiteX29991" fmla="*/ 2649000 w 8079933"/>
              <a:gd name="connsiteY29991" fmla="*/ 1583132 h 4687251"/>
              <a:gd name="connsiteX29992" fmla="*/ 2652038 w 8079933"/>
              <a:gd name="connsiteY29992" fmla="*/ 1583241 h 4687251"/>
              <a:gd name="connsiteX29993" fmla="*/ 2656053 w 8079933"/>
              <a:gd name="connsiteY29993" fmla="*/ 1575012 h 4687251"/>
              <a:gd name="connsiteX29994" fmla="*/ 2663107 w 8079933"/>
              <a:gd name="connsiteY29994" fmla="*/ 1575337 h 4687251"/>
              <a:gd name="connsiteX29995" fmla="*/ 2668098 w 8079933"/>
              <a:gd name="connsiteY29995" fmla="*/ 1571006 h 4687251"/>
              <a:gd name="connsiteX29996" fmla="*/ 2671679 w 8079933"/>
              <a:gd name="connsiteY29996" fmla="*/ 1570681 h 4687251"/>
              <a:gd name="connsiteX29997" fmla="*/ 2673633 w 8079933"/>
              <a:gd name="connsiteY29997" fmla="*/ 1566242 h 4687251"/>
              <a:gd name="connsiteX29998" fmla="*/ 2678299 w 8079933"/>
              <a:gd name="connsiteY29998" fmla="*/ 1561045 h 4687251"/>
              <a:gd name="connsiteX29999" fmla="*/ 2683725 w 8079933"/>
              <a:gd name="connsiteY29999" fmla="*/ 1560396 h 4687251"/>
              <a:gd name="connsiteX30000" fmla="*/ 2691321 w 8079933"/>
              <a:gd name="connsiteY30000" fmla="*/ 1557147 h 4687251"/>
              <a:gd name="connsiteX30001" fmla="*/ 2697506 w 8079933"/>
              <a:gd name="connsiteY30001" fmla="*/ 1557797 h 4687251"/>
              <a:gd name="connsiteX30002" fmla="*/ 2702498 w 8079933"/>
              <a:gd name="connsiteY30002" fmla="*/ 1557473 h 4687251"/>
              <a:gd name="connsiteX30003" fmla="*/ 2700436 w 8079933"/>
              <a:gd name="connsiteY30003" fmla="*/ 1556065 h 4687251"/>
              <a:gd name="connsiteX30004" fmla="*/ 2694902 w 8079933"/>
              <a:gd name="connsiteY30004" fmla="*/ 1556065 h 4687251"/>
              <a:gd name="connsiteX30005" fmla="*/ 2693383 w 8079933"/>
              <a:gd name="connsiteY30005" fmla="*/ 1554765 h 4687251"/>
              <a:gd name="connsiteX30006" fmla="*/ 2696856 w 8079933"/>
              <a:gd name="connsiteY30006" fmla="*/ 1553358 h 4687251"/>
              <a:gd name="connsiteX30007" fmla="*/ 2706838 w 8079933"/>
              <a:gd name="connsiteY30007" fmla="*/ 1552167 h 4687251"/>
              <a:gd name="connsiteX30008" fmla="*/ 2714977 w 8079933"/>
              <a:gd name="connsiteY30008" fmla="*/ 1554224 h 4687251"/>
              <a:gd name="connsiteX30009" fmla="*/ 2718342 w 8079933"/>
              <a:gd name="connsiteY30009" fmla="*/ 1561803 h 4687251"/>
              <a:gd name="connsiteX30010" fmla="*/ 2717691 w 8079933"/>
              <a:gd name="connsiteY30010" fmla="*/ 1566026 h 4687251"/>
              <a:gd name="connsiteX30011" fmla="*/ 2712373 w 8079933"/>
              <a:gd name="connsiteY30011" fmla="*/ 1570898 h 4687251"/>
              <a:gd name="connsiteX30012" fmla="*/ 2709768 w 8079933"/>
              <a:gd name="connsiteY30012" fmla="*/ 1571006 h 4687251"/>
              <a:gd name="connsiteX30013" fmla="*/ 2706296 w 8079933"/>
              <a:gd name="connsiteY30013" fmla="*/ 1574687 h 4687251"/>
              <a:gd name="connsiteX30014" fmla="*/ 2712373 w 8079933"/>
              <a:gd name="connsiteY30014" fmla="*/ 1575012 h 4687251"/>
              <a:gd name="connsiteX30015" fmla="*/ 2714109 w 8079933"/>
              <a:gd name="connsiteY30015" fmla="*/ 1578910 h 4687251"/>
              <a:gd name="connsiteX30016" fmla="*/ 2716497 w 8079933"/>
              <a:gd name="connsiteY30016" fmla="*/ 1576745 h 4687251"/>
              <a:gd name="connsiteX30017" fmla="*/ 2718016 w 8079933"/>
              <a:gd name="connsiteY30017" fmla="*/ 1572630 h 4687251"/>
              <a:gd name="connsiteX30018" fmla="*/ 2724961 w 8079933"/>
              <a:gd name="connsiteY30018" fmla="*/ 1568949 h 4687251"/>
              <a:gd name="connsiteX30019" fmla="*/ 2730170 w 8079933"/>
              <a:gd name="connsiteY30019" fmla="*/ 1569165 h 4687251"/>
              <a:gd name="connsiteX30020" fmla="*/ 2730929 w 8079933"/>
              <a:gd name="connsiteY30020" fmla="*/ 1571006 h 4687251"/>
              <a:gd name="connsiteX30021" fmla="*/ 2729193 w 8079933"/>
              <a:gd name="connsiteY30021" fmla="*/ 1571764 h 4687251"/>
              <a:gd name="connsiteX30022" fmla="*/ 2728542 w 8079933"/>
              <a:gd name="connsiteY30022" fmla="*/ 1574687 h 4687251"/>
              <a:gd name="connsiteX30023" fmla="*/ 2735161 w 8079933"/>
              <a:gd name="connsiteY30023" fmla="*/ 1575012 h 4687251"/>
              <a:gd name="connsiteX30024" fmla="*/ 2741130 w 8079933"/>
              <a:gd name="connsiteY30024" fmla="*/ 1577719 h 4687251"/>
              <a:gd name="connsiteX30025" fmla="*/ 2742215 w 8079933"/>
              <a:gd name="connsiteY30025" fmla="*/ 1580534 h 4687251"/>
              <a:gd name="connsiteX30026" fmla="*/ 2737874 w 8079933"/>
              <a:gd name="connsiteY30026" fmla="*/ 1578261 h 4687251"/>
              <a:gd name="connsiteX30027" fmla="*/ 2735596 w 8079933"/>
              <a:gd name="connsiteY30027" fmla="*/ 1578910 h 4687251"/>
              <a:gd name="connsiteX30028" fmla="*/ 2736789 w 8079933"/>
              <a:gd name="connsiteY30028" fmla="*/ 1583241 h 4687251"/>
              <a:gd name="connsiteX30029" fmla="*/ 2743408 w 8079933"/>
              <a:gd name="connsiteY30029" fmla="*/ 1586056 h 4687251"/>
              <a:gd name="connsiteX30030" fmla="*/ 2744603 w 8079933"/>
              <a:gd name="connsiteY30030" fmla="*/ 1589412 h 4687251"/>
              <a:gd name="connsiteX30031" fmla="*/ 2740804 w 8079933"/>
              <a:gd name="connsiteY30031" fmla="*/ 1592552 h 4687251"/>
              <a:gd name="connsiteX30032" fmla="*/ 2737006 w 8079933"/>
              <a:gd name="connsiteY30032" fmla="*/ 1591361 h 4687251"/>
              <a:gd name="connsiteX30033" fmla="*/ 2733208 w 8079933"/>
              <a:gd name="connsiteY30033" fmla="*/ 1594718 h 4687251"/>
              <a:gd name="connsiteX30034" fmla="*/ 2740262 w 8079933"/>
              <a:gd name="connsiteY30034" fmla="*/ 1596991 h 4687251"/>
              <a:gd name="connsiteX30035" fmla="*/ 2738417 w 8079933"/>
              <a:gd name="connsiteY30035" fmla="*/ 1601430 h 4687251"/>
              <a:gd name="connsiteX30036" fmla="*/ 2735270 w 8079933"/>
              <a:gd name="connsiteY30036" fmla="*/ 1602512 h 4687251"/>
              <a:gd name="connsiteX30037" fmla="*/ 2733859 w 8079933"/>
              <a:gd name="connsiteY30037" fmla="*/ 1606627 h 4687251"/>
              <a:gd name="connsiteX30038" fmla="*/ 2729953 w 8079933"/>
              <a:gd name="connsiteY30038" fmla="*/ 1608576 h 4687251"/>
              <a:gd name="connsiteX30039" fmla="*/ 2724310 w 8079933"/>
              <a:gd name="connsiteY30039" fmla="*/ 1604895 h 4687251"/>
              <a:gd name="connsiteX30040" fmla="*/ 2726697 w 8079933"/>
              <a:gd name="connsiteY30040" fmla="*/ 1608685 h 4687251"/>
              <a:gd name="connsiteX30041" fmla="*/ 2733317 w 8079933"/>
              <a:gd name="connsiteY30041" fmla="*/ 1611608 h 4687251"/>
              <a:gd name="connsiteX30042" fmla="*/ 2737224 w 8079933"/>
              <a:gd name="connsiteY30042" fmla="*/ 1611283 h 4687251"/>
              <a:gd name="connsiteX30043" fmla="*/ 2740587 w 8079933"/>
              <a:gd name="connsiteY30043" fmla="*/ 1615072 h 4687251"/>
              <a:gd name="connsiteX30044" fmla="*/ 2737115 w 8079933"/>
              <a:gd name="connsiteY30044" fmla="*/ 1616263 h 4687251"/>
              <a:gd name="connsiteX30045" fmla="*/ 2732883 w 8079933"/>
              <a:gd name="connsiteY30045" fmla="*/ 1615505 h 4687251"/>
              <a:gd name="connsiteX30046" fmla="*/ 2730495 w 8079933"/>
              <a:gd name="connsiteY30046" fmla="*/ 1615722 h 4687251"/>
              <a:gd name="connsiteX30047" fmla="*/ 2733859 w 8079933"/>
              <a:gd name="connsiteY30047" fmla="*/ 1618320 h 4687251"/>
              <a:gd name="connsiteX30048" fmla="*/ 2737657 w 8079933"/>
              <a:gd name="connsiteY30048" fmla="*/ 1617238 h 4687251"/>
              <a:gd name="connsiteX30049" fmla="*/ 2740587 w 8079933"/>
              <a:gd name="connsiteY30049" fmla="*/ 1618862 h 4687251"/>
              <a:gd name="connsiteX30050" fmla="*/ 2738200 w 8079933"/>
              <a:gd name="connsiteY30050" fmla="*/ 1623301 h 4687251"/>
              <a:gd name="connsiteX30051" fmla="*/ 2737549 w 8079933"/>
              <a:gd name="connsiteY30051" fmla="*/ 1627632 h 4687251"/>
              <a:gd name="connsiteX30052" fmla="*/ 2734076 w 8079933"/>
              <a:gd name="connsiteY30052" fmla="*/ 1627740 h 4687251"/>
              <a:gd name="connsiteX30053" fmla="*/ 2732340 w 8079933"/>
              <a:gd name="connsiteY30053" fmla="*/ 1631529 h 4687251"/>
              <a:gd name="connsiteX30054" fmla="*/ 2725829 w 8079933"/>
              <a:gd name="connsiteY30054" fmla="*/ 1636401 h 4687251"/>
              <a:gd name="connsiteX30055" fmla="*/ 2720404 w 8079933"/>
              <a:gd name="connsiteY30055" fmla="*/ 1636726 h 4687251"/>
              <a:gd name="connsiteX30056" fmla="*/ 2715846 w 8079933"/>
              <a:gd name="connsiteY30056" fmla="*/ 1640624 h 4687251"/>
              <a:gd name="connsiteX30057" fmla="*/ 2713784 w 8079933"/>
              <a:gd name="connsiteY30057" fmla="*/ 1640624 h 4687251"/>
              <a:gd name="connsiteX30058" fmla="*/ 2710094 w 8079933"/>
              <a:gd name="connsiteY30058" fmla="*/ 1644413 h 4687251"/>
              <a:gd name="connsiteX30059" fmla="*/ 2707381 w 8079933"/>
              <a:gd name="connsiteY30059" fmla="*/ 1644630 h 4687251"/>
              <a:gd name="connsiteX30060" fmla="*/ 2706296 w 8079933"/>
              <a:gd name="connsiteY30060" fmla="*/ 1647229 h 4687251"/>
              <a:gd name="connsiteX30061" fmla="*/ 2702172 w 8079933"/>
              <a:gd name="connsiteY30061" fmla="*/ 1647878 h 4687251"/>
              <a:gd name="connsiteX30062" fmla="*/ 2699677 w 8079933"/>
              <a:gd name="connsiteY30062" fmla="*/ 1645280 h 4687251"/>
              <a:gd name="connsiteX30063" fmla="*/ 2696204 w 8079933"/>
              <a:gd name="connsiteY30063" fmla="*/ 1647337 h 4687251"/>
              <a:gd name="connsiteX30064" fmla="*/ 2692406 w 8079933"/>
              <a:gd name="connsiteY30064" fmla="*/ 1646795 h 4687251"/>
              <a:gd name="connsiteX30065" fmla="*/ 2691213 w 8079933"/>
              <a:gd name="connsiteY30065" fmla="*/ 1645171 h 4687251"/>
              <a:gd name="connsiteX30066" fmla="*/ 2686329 w 8079933"/>
              <a:gd name="connsiteY30066" fmla="*/ 1648528 h 4687251"/>
              <a:gd name="connsiteX30067" fmla="*/ 2681012 w 8079933"/>
              <a:gd name="connsiteY30067" fmla="*/ 1647878 h 4687251"/>
              <a:gd name="connsiteX30068" fmla="*/ 2678733 w 8079933"/>
              <a:gd name="connsiteY30068" fmla="*/ 1644413 h 4687251"/>
              <a:gd name="connsiteX30069" fmla="*/ 2677214 w 8079933"/>
              <a:gd name="connsiteY30069" fmla="*/ 1645821 h 4687251"/>
              <a:gd name="connsiteX30070" fmla="*/ 2677756 w 8079933"/>
              <a:gd name="connsiteY30070" fmla="*/ 1648744 h 4687251"/>
              <a:gd name="connsiteX30071" fmla="*/ 2673198 w 8079933"/>
              <a:gd name="connsiteY30071" fmla="*/ 1649827 h 4687251"/>
              <a:gd name="connsiteX30072" fmla="*/ 2668424 w 8079933"/>
              <a:gd name="connsiteY30072" fmla="*/ 1649394 h 4687251"/>
              <a:gd name="connsiteX30073" fmla="*/ 2666905 w 8079933"/>
              <a:gd name="connsiteY30073" fmla="*/ 1651343 h 4687251"/>
              <a:gd name="connsiteX30074" fmla="*/ 2668749 w 8079933"/>
              <a:gd name="connsiteY30074" fmla="*/ 1651993 h 4687251"/>
              <a:gd name="connsiteX30075" fmla="*/ 2668098 w 8079933"/>
              <a:gd name="connsiteY30075" fmla="*/ 1654807 h 4687251"/>
              <a:gd name="connsiteX30076" fmla="*/ 2664517 w 8079933"/>
              <a:gd name="connsiteY30076" fmla="*/ 1658164 h 4687251"/>
              <a:gd name="connsiteX30077" fmla="*/ 2661695 w 8079933"/>
              <a:gd name="connsiteY30077" fmla="*/ 1657731 h 4687251"/>
              <a:gd name="connsiteX30078" fmla="*/ 2661587 w 8079933"/>
              <a:gd name="connsiteY30078" fmla="*/ 1661845 h 4687251"/>
              <a:gd name="connsiteX30079" fmla="*/ 2658332 w 8079933"/>
              <a:gd name="connsiteY30079" fmla="*/ 1668450 h 4687251"/>
              <a:gd name="connsiteX30080" fmla="*/ 2654534 w 8079933"/>
              <a:gd name="connsiteY30080" fmla="*/ 1667800 h 4687251"/>
              <a:gd name="connsiteX30081" fmla="*/ 2653123 w 8079933"/>
              <a:gd name="connsiteY30081" fmla="*/ 1669857 h 4687251"/>
              <a:gd name="connsiteX30082" fmla="*/ 2649000 w 8079933"/>
              <a:gd name="connsiteY30082" fmla="*/ 1672131 h 4687251"/>
              <a:gd name="connsiteX30083" fmla="*/ 2645852 w 8079933"/>
              <a:gd name="connsiteY30083" fmla="*/ 1676786 h 4687251"/>
              <a:gd name="connsiteX30084" fmla="*/ 2644007 w 8079933"/>
              <a:gd name="connsiteY30084" fmla="*/ 1676137 h 4687251"/>
              <a:gd name="connsiteX30085" fmla="*/ 2641186 w 8079933"/>
              <a:gd name="connsiteY30085" fmla="*/ 1677761 h 4687251"/>
              <a:gd name="connsiteX30086" fmla="*/ 2636194 w 8079933"/>
              <a:gd name="connsiteY30086" fmla="*/ 1677652 h 4687251"/>
              <a:gd name="connsiteX30087" fmla="*/ 2635218 w 8079933"/>
              <a:gd name="connsiteY30087" fmla="*/ 1680684 h 4687251"/>
              <a:gd name="connsiteX30088" fmla="*/ 2630877 w 8079933"/>
              <a:gd name="connsiteY30088" fmla="*/ 1682633 h 4687251"/>
              <a:gd name="connsiteX30089" fmla="*/ 2627730 w 8079933"/>
              <a:gd name="connsiteY30089" fmla="*/ 1680684 h 4687251"/>
              <a:gd name="connsiteX30090" fmla="*/ 2620242 w 8079933"/>
              <a:gd name="connsiteY30090" fmla="*/ 1680576 h 4687251"/>
              <a:gd name="connsiteX30091" fmla="*/ 2618289 w 8079933"/>
              <a:gd name="connsiteY30091" fmla="*/ 1678952 h 4687251"/>
              <a:gd name="connsiteX30092" fmla="*/ 2612971 w 8079933"/>
              <a:gd name="connsiteY30092" fmla="*/ 1680684 h 4687251"/>
              <a:gd name="connsiteX30093" fmla="*/ 2610367 w 8079933"/>
              <a:gd name="connsiteY30093" fmla="*/ 1680576 h 4687251"/>
              <a:gd name="connsiteX30094" fmla="*/ 2599516 w 8079933"/>
              <a:gd name="connsiteY30094" fmla="*/ 1684366 h 4687251"/>
              <a:gd name="connsiteX30095" fmla="*/ 2595066 w 8079933"/>
              <a:gd name="connsiteY30095" fmla="*/ 1683174 h 4687251"/>
              <a:gd name="connsiteX30096" fmla="*/ 2596043 w 8079933"/>
              <a:gd name="connsiteY30096" fmla="*/ 1680576 h 4687251"/>
              <a:gd name="connsiteX30097" fmla="*/ 2592679 w 8079933"/>
              <a:gd name="connsiteY30097" fmla="*/ 1679710 h 4687251"/>
              <a:gd name="connsiteX30098" fmla="*/ 2588338 w 8079933"/>
              <a:gd name="connsiteY30098" fmla="*/ 1681442 h 4687251"/>
              <a:gd name="connsiteX30099" fmla="*/ 2584757 w 8079933"/>
              <a:gd name="connsiteY30099" fmla="*/ 1681550 h 4687251"/>
              <a:gd name="connsiteX30100" fmla="*/ 2577813 w 8079933"/>
              <a:gd name="connsiteY30100" fmla="*/ 1678519 h 4687251"/>
              <a:gd name="connsiteX30101" fmla="*/ 2575533 w 8079933"/>
              <a:gd name="connsiteY30101" fmla="*/ 1679168 h 4687251"/>
              <a:gd name="connsiteX30102" fmla="*/ 2570108 w 8079933"/>
              <a:gd name="connsiteY30102" fmla="*/ 1678519 h 4687251"/>
              <a:gd name="connsiteX30103" fmla="*/ 2566092 w 8079933"/>
              <a:gd name="connsiteY30103" fmla="*/ 1675595 h 4687251"/>
              <a:gd name="connsiteX30104" fmla="*/ 2563705 w 8079933"/>
              <a:gd name="connsiteY30104" fmla="*/ 1675595 h 4687251"/>
              <a:gd name="connsiteX30105" fmla="*/ 2560449 w 8079933"/>
              <a:gd name="connsiteY30105" fmla="*/ 1678194 h 4687251"/>
              <a:gd name="connsiteX30106" fmla="*/ 2553288 w 8079933"/>
              <a:gd name="connsiteY30106" fmla="*/ 1677436 h 4687251"/>
              <a:gd name="connsiteX30107" fmla="*/ 2547645 w 8079933"/>
              <a:gd name="connsiteY30107" fmla="*/ 1673863 h 4687251"/>
              <a:gd name="connsiteX30108" fmla="*/ 2543847 w 8079933"/>
              <a:gd name="connsiteY30108" fmla="*/ 1676245 h 4687251"/>
              <a:gd name="connsiteX30109" fmla="*/ 2539614 w 8079933"/>
              <a:gd name="connsiteY30109" fmla="*/ 1676462 h 4687251"/>
              <a:gd name="connsiteX30110" fmla="*/ 2535925 w 8079933"/>
              <a:gd name="connsiteY30110" fmla="*/ 1673539 h 4687251"/>
              <a:gd name="connsiteX30111" fmla="*/ 2530608 w 8079933"/>
              <a:gd name="connsiteY30111" fmla="*/ 1676462 h 4687251"/>
              <a:gd name="connsiteX30112" fmla="*/ 2527895 w 8079933"/>
              <a:gd name="connsiteY30112" fmla="*/ 1675595 h 4687251"/>
              <a:gd name="connsiteX30113" fmla="*/ 2524747 w 8079933"/>
              <a:gd name="connsiteY30113" fmla="*/ 1675704 h 4687251"/>
              <a:gd name="connsiteX30114" fmla="*/ 2517477 w 8079933"/>
              <a:gd name="connsiteY30114" fmla="*/ 1672780 h 4687251"/>
              <a:gd name="connsiteX30115" fmla="*/ 2507710 w 8079933"/>
              <a:gd name="connsiteY30115" fmla="*/ 1674405 h 4687251"/>
              <a:gd name="connsiteX30116" fmla="*/ 2501851 w 8079933"/>
              <a:gd name="connsiteY30116" fmla="*/ 1672672 h 4687251"/>
              <a:gd name="connsiteX30117" fmla="*/ 2497510 w 8079933"/>
              <a:gd name="connsiteY30117" fmla="*/ 1668341 h 4687251"/>
              <a:gd name="connsiteX30118" fmla="*/ 2493712 w 8079933"/>
              <a:gd name="connsiteY30118" fmla="*/ 1670182 h 4687251"/>
              <a:gd name="connsiteX30119" fmla="*/ 2491325 w 8079933"/>
              <a:gd name="connsiteY30119" fmla="*/ 1672997 h 4687251"/>
              <a:gd name="connsiteX30120" fmla="*/ 2493603 w 8079933"/>
              <a:gd name="connsiteY30120" fmla="*/ 1675162 h 4687251"/>
              <a:gd name="connsiteX30121" fmla="*/ 2491542 w 8079933"/>
              <a:gd name="connsiteY30121" fmla="*/ 1677328 h 4687251"/>
              <a:gd name="connsiteX30122" fmla="*/ 2487201 w 8079933"/>
              <a:gd name="connsiteY30122" fmla="*/ 1678194 h 4687251"/>
              <a:gd name="connsiteX30123" fmla="*/ 2478628 w 8079933"/>
              <a:gd name="connsiteY30123" fmla="*/ 1685990 h 4687251"/>
              <a:gd name="connsiteX30124" fmla="*/ 2473093 w 8079933"/>
              <a:gd name="connsiteY30124" fmla="*/ 1688588 h 4687251"/>
              <a:gd name="connsiteX30125" fmla="*/ 2472768 w 8079933"/>
              <a:gd name="connsiteY30125" fmla="*/ 1692269 h 4687251"/>
              <a:gd name="connsiteX30126" fmla="*/ 2470706 w 8079933"/>
              <a:gd name="connsiteY30126" fmla="*/ 1694759 h 4687251"/>
              <a:gd name="connsiteX30127" fmla="*/ 2469947 w 8079933"/>
              <a:gd name="connsiteY30127" fmla="*/ 1700606 h 4687251"/>
              <a:gd name="connsiteX30128" fmla="*/ 2467017 w 8079933"/>
              <a:gd name="connsiteY30128" fmla="*/ 1704612 h 4687251"/>
              <a:gd name="connsiteX30129" fmla="*/ 2459854 w 8079933"/>
              <a:gd name="connsiteY30129" fmla="*/ 1704612 h 4687251"/>
              <a:gd name="connsiteX30130" fmla="*/ 2455948 w 8079933"/>
              <a:gd name="connsiteY30130" fmla="*/ 1706453 h 4687251"/>
              <a:gd name="connsiteX30131" fmla="*/ 2447700 w 8079933"/>
              <a:gd name="connsiteY30131" fmla="*/ 1706994 h 4687251"/>
              <a:gd name="connsiteX30132" fmla="*/ 2443903 w 8079933"/>
              <a:gd name="connsiteY30132" fmla="*/ 1712408 h 4687251"/>
              <a:gd name="connsiteX30133" fmla="*/ 2441190 w 8079933"/>
              <a:gd name="connsiteY30133" fmla="*/ 1713057 h 4687251"/>
              <a:gd name="connsiteX30134" fmla="*/ 2439236 w 8079933"/>
              <a:gd name="connsiteY30134" fmla="*/ 1711108 h 4687251"/>
              <a:gd name="connsiteX30135" fmla="*/ 2435330 w 8079933"/>
              <a:gd name="connsiteY30135" fmla="*/ 1713490 h 4687251"/>
              <a:gd name="connsiteX30136" fmla="*/ 2433485 w 8079933"/>
              <a:gd name="connsiteY30136" fmla="*/ 1718363 h 4687251"/>
              <a:gd name="connsiteX30137" fmla="*/ 2428819 w 8079933"/>
              <a:gd name="connsiteY30137" fmla="*/ 1719445 h 4687251"/>
              <a:gd name="connsiteX30138" fmla="*/ 2423827 w 8079933"/>
              <a:gd name="connsiteY30138" fmla="*/ 1723126 h 4687251"/>
              <a:gd name="connsiteX30139" fmla="*/ 2422634 w 8079933"/>
              <a:gd name="connsiteY30139" fmla="*/ 1725616 h 4687251"/>
              <a:gd name="connsiteX30140" fmla="*/ 2420029 w 8079933"/>
              <a:gd name="connsiteY30140" fmla="*/ 1726483 h 4687251"/>
              <a:gd name="connsiteX30141" fmla="*/ 2414278 w 8079933"/>
              <a:gd name="connsiteY30141" fmla="*/ 1735036 h 4687251"/>
              <a:gd name="connsiteX30142" fmla="*/ 2404837 w 8079933"/>
              <a:gd name="connsiteY30142" fmla="*/ 1739800 h 4687251"/>
              <a:gd name="connsiteX30143" fmla="*/ 2402449 w 8079933"/>
              <a:gd name="connsiteY30143" fmla="*/ 1748137 h 4687251"/>
              <a:gd name="connsiteX30144" fmla="*/ 2396047 w 8079933"/>
              <a:gd name="connsiteY30144" fmla="*/ 1751385 h 4687251"/>
              <a:gd name="connsiteX30145" fmla="*/ 2390730 w 8079933"/>
              <a:gd name="connsiteY30145" fmla="*/ 1756907 h 4687251"/>
              <a:gd name="connsiteX30146" fmla="*/ 2385846 w 8079933"/>
              <a:gd name="connsiteY30146" fmla="*/ 1758098 h 4687251"/>
              <a:gd name="connsiteX30147" fmla="*/ 2384219 w 8079933"/>
              <a:gd name="connsiteY30147" fmla="*/ 1764053 h 4687251"/>
              <a:gd name="connsiteX30148" fmla="*/ 2380854 w 8079933"/>
              <a:gd name="connsiteY30148" fmla="*/ 1769033 h 4687251"/>
              <a:gd name="connsiteX30149" fmla="*/ 2369894 w 8079933"/>
              <a:gd name="connsiteY30149" fmla="*/ 1775638 h 4687251"/>
              <a:gd name="connsiteX30150" fmla="*/ 2369135 w 8079933"/>
              <a:gd name="connsiteY30150" fmla="*/ 1779318 h 4687251"/>
              <a:gd name="connsiteX30151" fmla="*/ 2356547 w 8079933"/>
              <a:gd name="connsiteY30151" fmla="*/ 1784732 h 4687251"/>
              <a:gd name="connsiteX30152" fmla="*/ 2349385 w 8079933"/>
              <a:gd name="connsiteY30152" fmla="*/ 1786465 h 4687251"/>
              <a:gd name="connsiteX30153" fmla="*/ 2355136 w 8079933"/>
              <a:gd name="connsiteY30153" fmla="*/ 1786681 h 4687251"/>
              <a:gd name="connsiteX30154" fmla="*/ 2367399 w 8079933"/>
              <a:gd name="connsiteY30154" fmla="*/ 1781267 h 4687251"/>
              <a:gd name="connsiteX30155" fmla="*/ 2378141 w 8079933"/>
              <a:gd name="connsiteY30155" fmla="*/ 1776071 h 4687251"/>
              <a:gd name="connsiteX30156" fmla="*/ 2386280 w 8079933"/>
              <a:gd name="connsiteY30156" fmla="*/ 1771090 h 4687251"/>
              <a:gd name="connsiteX30157" fmla="*/ 2392575 w 8079933"/>
              <a:gd name="connsiteY30157" fmla="*/ 1763078 h 4687251"/>
              <a:gd name="connsiteX30158" fmla="*/ 2397891 w 8079933"/>
              <a:gd name="connsiteY30158" fmla="*/ 1757340 h 4687251"/>
              <a:gd name="connsiteX30159" fmla="*/ 2401907 w 8079933"/>
              <a:gd name="connsiteY30159" fmla="*/ 1755499 h 4687251"/>
              <a:gd name="connsiteX30160" fmla="*/ 2413843 w 8079933"/>
              <a:gd name="connsiteY30160" fmla="*/ 1744455 h 4687251"/>
              <a:gd name="connsiteX30161" fmla="*/ 2430013 w 8079933"/>
              <a:gd name="connsiteY30161" fmla="*/ 1733304 h 4687251"/>
              <a:gd name="connsiteX30162" fmla="*/ 2440648 w 8079933"/>
              <a:gd name="connsiteY30162" fmla="*/ 1726483 h 4687251"/>
              <a:gd name="connsiteX30163" fmla="*/ 2447592 w 8079933"/>
              <a:gd name="connsiteY30163" fmla="*/ 1725616 h 4687251"/>
              <a:gd name="connsiteX30164" fmla="*/ 2453778 w 8079933"/>
              <a:gd name="connsiteY30164" fmla="*/ 1721935 h 4687251"/>
              <a:gd name="connsiteX30165" fmla="*/ 2466040 w 8079933"/>
              <a:gd name="connsiteY30165" fmla="*/ 1719878 h 4687251"/>
              <a:gd name="connsiteX30166" fmla="*/ 2481016 w 8079933"/>
              <a:gd name="connsiteY30166" fmla="*/ 1714790 h 4687251"/>
              <a:gd name="connsiteX30167" fmla="*/ 2486007 w 8079933"/>
              <a:gd name="connsiteY30167" fmla="*/ 1714465 h 4687251"/>
              <a:gd name="connsiteX30168" fmla="*/ 2490673 w 8079933"/>
              <a:gd name="connsiteY30168" fmla="*/ 1711866 h 4687251"/>
              <a:gd name="connsiteX30169" fmla="*/ 2506842 w 8079933"/>
              <a:gd name="connsiteY30169" fmla="*/ 1712191 h 4687251"/>
              <a:gd name="connsiteX30170" fmla="*/ 2515415 w 8079933"/>
              <a:gd name="connsiteY30170" fmla="*/ 1715439 h 4687251"/>
              <a:gd name="connsiteX30171" fmla="*/ 2524965 w 8079933"/>
              <a:gd name="connsiteY30171" fmla="*/ 1721177 h 4687251"/>
              <a:gd name="connsiteX30172" fmla="*/ 2524965 w 8079933"/>
              <a:gd name="connsiteY30172" fmla="*/ 1723343 h 4687251"/>
              <a:gd name="connsiteX30173" fmla="*/ 2517694 w 8079933"/>
              <a:gd name="connsiteY30173" fmla="*/ 1721935 h 4687251"/>
              <a:gd name="connsiteX30174" fmla="*/ 2518237 w 8079933"/>
              <a:gd name="connsiteY30174" fmla="*/ 1723018 h 4687251"/>
              <a:gd name="connsiteX30175" fmla="*/ 2517477 w 8079933"/>
              <a:gd name="connsiteY30175" fmla="*/ 1724534 h 4687251"/>
              <a:gd name="connsiteX30176" fmla="*/ 2521275 w 8079933"/>
              <a:gd name="connsiteY30176" fmla="*/ 1724209 h 4687251"/>
              <a:gd name="connsiteX30177" fmla="*/ 2526484 w 8079933"/>
              <a:gd name="connsiteY30177" fmla="*/ 1726266 h 4687251"/>
              <a:gd name="connsiteX30178" fmla="*/ 2528329 w 8079933"/>
              <a:gd name="connsiteY30178" fmla="*/ 1729190 h 4687251"/>
              <a:gd name="connsiteX30179" fmla="*/ 2525399 w 8079933"/>
              <a:gd name="connsiteY30179" fmla="*/ 1730381 h 4687251"/>
              <a:gd name="connsiteX30180" fmla="*/ 2527678 w 8079933"/>
              <a:gd name="connsiteY30180" fmla="*/ 1732113 h 4687251"/>
              <a:gd name="connsiteX30181" fmla="*/ 2524097 w 8079933"/>
              <a:gd name="connsiteY30181" fmla="*/ 1740341 h 4687251"/>
              <a:gd name="connsiteX30182" fmla="*/ 2518888 w 8079933"/>
              <a:gd name="connsiteY30182" fmla="*/ 1741532 h 4687251"/>
              <a:gd name="connsiteX30183" fmla="*/ 2514113 w 8079933"/>
              <a:gd name="connsiteY30183" fmla="*/ 1745538 h 4687251"/>
              <a:gd name="connsiteX30184" fmla="*/ 2510315 w 8079933"/>
              <a:gd name="connsiteY30184" fmla="*/ 1745863 h 4687251"/>
              <a:gd name="connsiteX30185" fmla="*/ 2503912 w 8079933"/>
              <a:gd name="connsiteY30185" fmla="*/ 1750735 h 4687251"/>
              <a:gd name="connsiteX30186" fmla="*/ 2498704 w 8079933"/>
              <a:gd name="connsiteY30186" fmla="*/ 1750518 h 4687251"/>
              <a:gd name="connsiteX30187" fmla="*/ 2494797 w 8079933"/>
              <a:gd name="connsiteY30187" fmla="*/ 1747271 h 4687251"/>
              <a:gd name="connsiteX30188" fmla="*/ 2489588 w 8079933"/>
              <a:gd name="connsiteY30188" fmla="*/ 1745322 h 4687251"/>
              <a:gd name="connsiteX30189" fmla="*/ 2486116 w 8079933"/>
              <a:gd name="connsiteY30189" fmla="*/ 1747595 h 4687251"/>
              <a:gd name="connsiteX30190" fmla="*/ 2481016 w 8079933"/>
              <a:gd name="connsiteY30190" fmla="*/ 1748570 h 4687251"/>
              <a:gd name="connsiteX30191" fmla="*/ 2475806 w 8079933"/>
              <a:gd name="connsiteY30191" fmla="*/ 1747595 h 4687251"/>
              <a:gd name="connsiteX30192" fmla="*/ 2469404 w 8079933"/>
              <a:gd name="connsiteY30192" fmla="*/ 1750518 h 4687251"/>
              <a:gd name="connsiteX30193" fmla="*/ 2476132 w 8079933"/>
              <a:gd name="connsiteY30193" fmla="*/ 1749653 h 4687251"/>
              <a:gd name="connsiteX30194" fmla="*/ 2482643 w 8079933"/>
              <a:gd name="connsiteY30194" fmla="*/ 1750302 h 4687251"/>
              <a:gd name="connsiteX30195" fmla="*/ 2491976 w 8079933"/>
              <a:gd name="connsiteY30195" fmla="*/ 1752900 h 4687251"/>
              <a:gd name="connsiteX30196" fmla="*/ 2493386 w 8079933"/>
              <a:gd name="connsiteY30196" fmla="*/ 1757340 h 4687251"/>
              <a:gd name="connsiteX30197" fmla="*/ 2495123 w 8079933"/>
              <a:gd name="connsiteY30197" fmla="*/ 1760479 h 4687251"/>
              <a:gd name="connsiteX30198" fmla="*/ 2500440 w 8079933"/>
              <a:gd name="connsiteY30198" fmla="*/ 1758098 h 4687251"/>
              <a:gd name="connsiteX30199" fmla="*/ 2505106 w 8079933"/>
              <a:gd name="connsiteY30199" fmla="*/ 1754849 h 4687251"/>
              <a:gd name="connsiteX30200" fmla="*/ 2509772 w 8079933"/>
              <a:gd name="connsiteY30200" fmla="*/ 1754849 h 4687251"/>
              <a:gd name="connsiteX30201" fmla="*/ 2511183 w 8079933"/>
              <a:gd name="connsiteY30201" fmla="*/ 1756907 h 4687251"/>
              <a:gd name="connsiteX30202" fmla="*/ 2514547 w 8079933"/>
              <a:gd name="connsiteY30202" fmla="*/ 1756582 h 4687251"/>
              <a:gd name="connsiteX30203" fmla="*/ 2515633 w 8079933"/>
              <a:gd name="connsiteY30203" fmla="*/ 1759614 h 4687251"/>
              <a:gd name="connsiteX30204" fmla="*/ 2511183 w 8079933"/>
              <a:gd name="connsiteY30204" fmla="*/ 1763403 h 4687251"/>
              <a:gd name="connsiteX30205" fmla="*/ 2505106 w 8079933"/>
              <a:gd name="connsiteY30205" fmla="*/ 1775421 h 4687251"/>
              <a:gd name="connsiteX30206" fmla="*/ 2502176 w 8079933"/>
              <a:gd name="connsiteY30206" fmla="*/ 1775962 h 4687251"/>
              <a:gd name="connsiteX30207" fmla="*/ 2499029 w 8079933"/>
              <a:gd name="connsiteY30207" fmla="*/ 1778994 h 4687251"/>
              <a:gd name="connsiteX30208" fmla="*/ 2508036 w 8079933"/>
              <a:gd name="connsiteY30208" fmla="*/ 1779210 h 4687251"/>
              <a:gd name="connsiteX30209" fmla="*/ 2508036 w 8079933"/>
              <a:gd name="connsiteY30209" fmla="*/ 1781484 h 4687251"/>
              <a:gd name="connsiteX30210" fmla="*/ 2505323 w 8079933"/>
              <a:gd name="connsiteY30210" fmla="*/ 1785382 h 4687251"/>
              <a:gd name="connsiteX30211" fmla="*/ 2508579 w 8079933"/>
              <a:gd name="connsiteY30211" fmla="*/ 1789063 h 4687251"/>
              <a:gd name="connsiteX30212" fmla="*/ 2507819 w 8079933"/>
              <a:gd name="connsiteY30212" fmla="*/ 1793285 h 4687251"/>
              <a:gd name="connsiteX30213" fmla="*/ 2508362 w 8079933"/>
              <a:gd name="connsiteY30213" fmla="*/ 1799890 h 4687251"/>
              <a:gd name="connsiteX30214" fmla="*/ 2510640 w 8079933"/>
              <a:gd name="connsiteY30214" fmla="*/ 1801514 h 4687251"/>
              <a:gd name="connsiteX30215" fmla="*/ 2513245 w 8079933"/>
              <a:gd name="connsiteY30215" fmla="*/ 1807577 h 4687251"/>
              <a:gd name="connsiteX30216" fmla="*/ 2518019 w 8079933"/>
              <a:gd name="connsiteY30216" fmla="*/ 1807577 h 4687251"/>
              <a:gd name="connsiteX30217" fmla="*/ 2520081 w 8079933"/>
              <a:gd name="connsiteY30217" fmla="*/ 1809526 h 4687251"/>
              <a:gd name="connsiteX30218" fmla="*/ 2527027 w 8079933"/>
              <a:gd name="connsiteY30218" fmla="*/ 1809851 h 4687251"/>
              <a:gd name="connsiteX30219" fmla="*/ 2525724 w 8079933"/>
              <a:gd name="connsiteY30219" fmla="*/ 1813207 h 4687251"/>
              <a:gd name="connsiteX30220" fmla="*/ 2520407 w 8079933"/>
              <a:gd name="connsiteY30220" fmla="*/ 1814940 h 4687251"/>
              <a:gd name="connsiteX30221" fmla="*/ 2527027 w 8079933"/>
              <a:gd name="connsiteY30221" fmla="*/ 1819487 h 4687251"/>
              <a:gd name="connsiteX30222" fmla="*/ 2534406 w 8079933"/>
              <a:gd name="connsiteY30222" fmla="*/ 1819487 h 4687251"/>
              <a:gd name="connsiteX30223" fmla="*/ 2538855 w 8079933"/>
              <a:gd name="connsiteY30223" fmla="*/ 1821544 h 4687251"/>
              <a:gd name="connsiteX30224" fmla="*/ 2540917 w 8079933"/>
              <a:gd name="connsiteY30224" fmla="*/ 1820137 h 4687251"/>
              <a:gd name="connsiteX30225" fmla="*/ 2547428 w 8079933"/>
              <a:gd name="connsiteY30225" fmla="*/ 1822519 h 4687251"/>
              <a:gd name="connsiteX30226" fmla="*/ 2548730 w 8079933"/>
              <a:gd name="connsiteY30226" fmla="*/ 1825117 h 4687251"/>
              <a:gd name="connsiteX30227" fmla="*/ 2556760 w 8079933"/>
              <a:gd name="connsiteY30227" fmla="*/ 1826525 h 4687251"/>
              <a:gd name="connsiteX30228" fmla="*/ 2558279 w 8079933"/>
              <a:gd name="connsiteY30228" fmla="*/ 1824251 h 4687251"/>
              <a:gd name="connsiteX30229" fmla="*/ 2565224 w 8079933"/>
              <a:gd name="connsiteY30229" fmla="*/ 1819487 h 4687251"/>
              <a:gd name="connsiteX30230" fmla="*/ 2565875 w 8079933"/>
              <a:gd name="connsiteY30230" fmla="*/ 1823385 h 4687251"/>
              <a:gd name="connsiteX30231" fmla="*/ 2564682 w 8079933"/>
              <a:gd name="connsiteY30231" fmla="*/ 1825334 h 4687251"/>
              <a:gd name="connsiteX30232" fmla="*/ 2570542 w 8079933"/>
              <a:gd name="connsiteY30232" fmla="*/ 1826092 h 4687251"/>
              <a:gd name="connsiteX30233" fmla="*/ 2578681 w 8079933"/>
              <a:gd name="connsiteY30233" fmla="*/ 1830314 h 4687251"/>
              <a:gd name="connsiteX30234" fmla="*/ 2578897 w 8079933"/>
              <a:gd name="connsiteY30234" fmla="*/ 1832696 h 4687251"/>
              <a:gd name="connsiteX30235" fmla="*/ 2575533 w 8079933"/>
              <a:gd name="connsiteY30235" fmla="*/ 1833562 h 4687251"/>
              <a:gd name="connsiteX30236" fmla="*/ 2573471 w 8079933"/>
              <a:gd name="connsiteY30236" fmla="*/ 1833995 h 4687251"/>
              <a:gd name="connsiteX30237" fmla="*/ 2577921 w 8079933"/>
              <a:gd name="connsiteY30237" fmla="*/ 1836594 h 4687251"/>
              <a:gd name="connsiteX30238" fmla="*/ 2582696 w 8079933"/>
              <a:gd name="connsiteY30238" fmla="*/ 1836269 h 4687251"/>
              <a:gd name="connsiteX30239" fmla="*/ 2584866 w 8079933"/>
              <a:gd name="connsiteY30239" fmla="*/ 1838868 h 4687251"/>
              <a:gd name="connsiteX30240" fmla="*/ 2581068 w 8079933"/>
              <a:gd name="connsiteY30240" fmla="*/ 1840600 h 4687251"/>
              <a:gd name="connsiteX30241" fmla="*/ 2578138 w 8079933"/>
              <a:gd name="connsiteY30241" fmla="*/ 1839409 h 4687251"/>
              <a:gd name="connsiteX30242" fmla="*/ 2573689 w 8079933"/>
              <a:gd name="connsiteY30242" fmla="*/ 1839842 h 4687251"/>
              <a:gd name="connsiteX30243" fmla="*/ 2566744 w 8079933"/>
              <a:gd name="connsiteY30243" fmla="*/ 1841791 h 4687251"/>
              <a:gd name="connsiteX30244" fmla="*/ 2555892 w 8079933"/>
              <a:gd name="connsiteY30244" fmla="*/ 1847854 h 4687251"/>
              <a:gd name="connsiteX30245" fmla="*/ 2551660 w 8079933"/>
              <a:gd name="connsiteY30245" fmla="*/ 1847962 h 4687251"/>
              <a:gd name="connsiteX30246" fmla="*/ 2543412 w 8079933"/>
              <a:gd name="connsiteY30246" fmla="*/ 1850236 h 4687251"/>
              <a:gd name="connsiteX30247" fmla="*/ 2535925 w 8079933"/>
              <a:gd name="connsiteY30247" fmla="*/ 1851860 h 4687251"/>
              <a:gd name="connsiteX30248" fmla="*/ 2528546 w 8079933"/>
              <a:gd name="connsiteY30248" fmla="*/ 1856082 h 4687251"/>
              <a:gd name="connsiteX30249" fmla="*/ 2524747 w 8079933"/>
              <a:gd name="connsiteY30249" fmla="*/ 1856082 h 4687251"/>
              <a:gd name="connsiteX30250" fmla="*/ 2525290 w 8079933"/>
              <a:gd name="connsiteY30250" fmla="*/ 1858248 h 4687251"/>
              <a:gd name="connsiteX30251" fmla="*/ 2518888 w 8079933"/>
              <a:gd name="connsiteY30251" fmla="*/ 1857598 h 4687251"/>
              <a:gd name="connsiteX30252" fmla="*/ 2516826 w 8079933"/>
              <a:gd name="connsiteY30252" fmla="*/ 1852618 h 4687251"/>
              <a:gd name="connsiteX30253" fmla="*/ 2514547 w 8079933"/>
              <a:gd name="connsiteY30253" fmla="*/ 1852293 h 4687251"/>
              <a:gd name="connsiteX30254" fmla="*/ 2512811 w 8079933"/>
              <a:gd name="connsiteY30254" fmla="*/ 1855000 h 4687251"/>
              <a:gd name="connsiteX30255" fmla="*/ 2510098 w 8079933"/>
              <a:gd name="connsiteY30255" fmla="*/ 1854675 h 4687251"/>
              <a:gd name="connsiteX30256" fmla="*/ 2506517 w 8079933"/>
              <a:gd name="connsiteY30256" fmla="*/ 1860197 h 4687251"/>
              <a:gd name="connsiteX30257" fmla="*/ 2508253 w 8079933"/>
              <a:gd name="connsiteY30257" fmla="*/ 1862578 h 4687251"/>
              <a:gd name="connsiteX30258" fmla="*/ 2500983 w 8079933"/>
              <a:gd name="connsiteY30258" fmla="*/ 1868425 h 4687251"/>
              <a:gd name="connsiteX30259" fmla="*/ 2494580 w 8079933"/>
              <a:gd name="connsiteY30259" fmla="*/ 1876871 h 4687251"/>
              <a:gd name="connsiteX30260" fmla="*/ 2489913 w 8079933"/>
              <a:gd name="connsiteY30260" fmla="*/ 1877737 h 4687251"/>
              <a:gd name="connsiteX30261" fmla="*/ 2484597 w 8079933"/>
              <a:gd name="connsiteY30261" fmla="*/ 1881851 h 4687251"/>
              <a:gd name="connsiteX30262" fmla="*/ 2481884 w 8079933"/>
              <a:gd name="connsiteY30262" fmla="*/ 1881526 h 4687251"/>
              <a:gd name="connsiteX30263" fmla="*/ 2479931 w 8079933"/>
              <a:gd name="connsiteY30263" fmla="*/ 1882717 h 4687251"/>
              <a:gd name="connsiteX30264" fmla="*/ 2479496 w 8079933"/>
              <a:gd name="connsiteY30264" fmla="*/ 1887048 h 4687251"/>
              <a:gd name="connsiteX30265" fmla="*/ 2477326 w 8079933"/>
              <a:gd name="connsiteY30265" fmla="*/ 1888888 h 4687251"/>
              <a:gd name="connsiteX30266" fmla="*/ 2474938 w 8079933"/>
              <a:gd name="connsiteY30266" fmla="*/ 1886615 h 4687251"/>
              <a:gd name="connsiteX30267" fmla="*/ 2472334 w 8079933"/>
              <a:gd name="connsiteY30267" fmla="*/ 1888564 h 4687251"/>
              <a:gd name="connsiteX30268" fmla="*/ 2468536 w 8079933"/>
              <a:gd name="connsiteY30268" fmla="*/ 1885857 h 4687251"/>
              <a:gd name="connsiteX30269" fmla="*/ 2468102 w 8079933"/>
              <a:gd name="connsiteY30269" fmla="*/ 1880335 h 4687251"/>
              <a:gd name="connsiteX30270" fmla="*/ 2465606 w 8079933"/>
              <a:gd name="connsiteY30270" fmla="*/ 1878711 h 4687251"/>
              <a:gd name="connsiteX30271" fmla="*/ 2463219 w 8079933"/>
              <a:gd name="connsiteY30271" fmla="*/ 1880335 h 4687251"/>
              <a:gd name="connsiteX30272" fmla="*/ 2462567 w 8079933"/>
              <a:gd name="connsiteY30272" fmla="*/ 1875463 h 4687251"/>
              <a:gd name="connsiteX30273" fmla="*/ 2461048 w 8079933"/>
              <a:gd name="connsiteY30273" fmla="*/ 1871024 h 4687251"/>
              <a:gd name="connsiteX30274" fmla="*/ 2461374 w 8079933"/>
              <a:gd name="connsiteY30274" fmla="*/ 1865502 h 4687251"/>
              <a:gd name="connsiteX30275" fmla="*/ 2464738 w 8079933"/>
              <a:gd name="connsiteY30275" fmla="*/ 1858140 h 4687251"/>
              <a:gd name="connsiteX30276" fmla="*/ 2470706 w 8079933"/>
              <a:gd name="connsiteY30276" fmla="*/ 1853484 h 4687251"/>
              <a:gd name="connsiteX30277" fmla="*/ 2471466 w 8079933"/>
              <a:gd name="connsiteY30277" fmla="*/ 1849695 h 4687251"/>
              <a:gd name="connsiteX30278" fmla="*/ 2480473 w 8079933"/>
              <a:gd name="connsiteY30278" fmla="*/ 1844714 h 4687251"/>
              <a:gd name="connsiteX30279" fmla="*/ 2490673 w 8079933"/>
              <a:gd name="connsiteY30279" fmla="*/ 1842115 h 4687251"/>
              <a:gd name="connsiteX30280" fmla="*/ 2498595 w 8079933"/>
              <a:gd name="connsiteY30280" fmla="*/ 1836594 h 4687251"/>
              <a:gd name="connsiteX30281" fmla="*/ 2506083 w 8079933"/>
              <a:gd name="connsiteY30281" fmla="*/ 1834753 h 4687251"/>
              <a:gd name="connsiteX30282" fmla="*/ 2509230 w 8079933"/>
              <a:gd name="connsiteY30282" fmla="*/ 1835944 h 4687251"/>
              <a:gd name="connsiteX30283" fmla="*/ 2510098 w 8079933"/>
              <a:gd name="connsiteY30283" fmla="*/ 1840275 h 4687251"/>
              <a:gd name="connsiteX30284" fmla="*/ 2513028 w 8079933"/>
              <a:gd name="connsiteY30284" fmla="*/ 1842440 h 4687251"/>
              <a:gd name="connsiteX30285" fmla="*/ 2512485 w 8079933"/>
              <a:gd name="connsiteY30285" fmla="*/ 1840275 h 4687251"/>
              <a:gd name="connsiteX30286" fmla="*/ 2513245 w 8079933"/>
              <a:gd name="connsiteY30286" fmla="*/ 1837460 h 4687251"/>
              <a:gd name="connsiteX30287" fmla="*/ 2517803 w 8079933"/>
              <a:gd name="connsiteY30287" fmla="*/ 1836594 h 4687251"/>
              <a:gd name="connsiteX30288" fmla="*/ 2524205 w 8079933"/>
              <a:gd name="connsiteY30288" fmla="*/ 1835836 h 4687251"/>
              <a:gd name="connsiteX30289" fmla="*/ 2529522 w 8079933"/>
              <a:gd name="connsiteY30289" fmla="*/ 1833237 h 4687251"/>
              <a:gd name="connsiteX30290" fmla="*/ 2522361 w 8079933"/>
              <a:gd name="connsiteY30290" fmla="*/ 1833670 h 4687251"/>
              <a:gd name="connsiteX30291" fmla="*/ 2512377 w 8079933"/>
              <a:gd name="connsiteY30291" fmla="*/ 1832805 h 4687251"/>
              <a:gd name="connsiteX30292" fmla="*/ 2508904 w 8079933"/>
              <a:gd name="connsiteY30292" fmla="*/ 1830639 h 4687251"/>
              <a:gd name="connsiteX30293" fmla="*/ 2504455 w 8079933"/>
              <a:gd name="connsiteY30293" fmla="*/ 1830639 h 4687251"/>
              <a:gd name="connsiteX30294" fmla="*/ 2501308 w 8079933"/>
              <a:gd name="connsiteY30294" fmla="*/ 1834537 h 4687251"/>
              <a:gd name="connsiteX30295" fmla="*/ 2495774 w 8079933"/>
              <a:gd name="connsiteY30295" fmla="*/ 1833021 h 4687251"/>
              <a:gd name="connsiteX30296" fmla="*/ 2500657 w 8079933"/>
              <a:gd name="connsiteY30296" fmla="*/ 1827066 h 4687251"/>
              <a:gd name="connsiteX30297" fmla="*/ 2505323 w 8079933"/>
              <a:gd name="connsiteY30297" fmla="*/ 1825983 h 4687251"/>
              <a:gd name="connsiteX30298" fmla="*/ 2510315 w 8079933"/>
              <a:gd name="connsiteY30298" fmla="*/ 1820786 h 4687251"/>
              <a:gd name="connsiteX30299" fmla="*/ 2510423 w 8079933"/>
              <a:gd name="connsiteY30299" fmla="*/ 1818296 h 4687251"/>
              <a:gd name="connsiteX30300" fmla="*/ 2507385 w 8079933"/>
              <a:gd name="connsiteY30300" fmla="*/ 1819920 h 4687251"/>
              <a:gd name="connsiteX30301" fmla="*/ 2506842 w 8079933"/>
              <a:gd name="connsiteY30301" fmla="*/ 1817213 h 4687251"/>
              <a:gd name="connsiteX30302" fmla="*/ 2501634 w 8079933"/>
              <a:gd name="connsiteY30302" fmla="*/ 1824468 h 4687251"/>
              <a:gd name="connsiteX30303" fmla="*/ 2497727 w 8079933"/>
              <a:gd name="connsiteY30303" fmla="*/ 1825442 h 4687251"/>
              <a:gd name="connsiteX30304" fmla="*/ 2492735 w 8079933"/>
              <a:gd name="connsiteY30304" fmla="*/ 1830639 h 4687251"/>
              <a:gd name="connsiteX30305" fmla="*/ 2486658 w 8079933"/>
              <a:gd name="connsiteY30305" fmla="*/ 1831180 h 4687251"/>
              <a:gd name="connsiteX30306" fmla="*/ 2484922 w 8079933"/>
              <a:gd name="connsiteY30306" fmla="*/ 1833995 h 4687251"/>
              <a:gd name="connsiteX30307" fmla="*/ 2474288 w 8079933"/>
              <a:gd name="connsiteY30307" fmla="*/ 1836811 h 4687251"/>
              <a:gd name="connsiteX30308" fmla="*/ 2472334 w 8079933"/>
              <a:gd name="connsiteY30308" fmla="*/ 1835619 h 4687251"/>
              <a:gd name="connsiteX30309" fmla="*/ 2473419 w 8079933"/>
              <a:gd name="connsiteY30309" fmla="*/ 1833237 h 4687251"/>
              <a:gd name="connsiteX30310" fmla="*/ 2471792 w 8079933"/>
              <a:gd name="connsiteY30310" fmla="*/ 1833021 h 4687251"/>
              <a:gd name="connsiteX30311" fmla="*/ 2474830 w 8079933"/>
              <a:gd name="connsiteY30311" fmla="*/ 1828149 h 4687251"/>
              <a:gd name="connsiteX30312" fmla="*/ 2470706 w 8079933"/>
              <a:gd name="connsiteY30312" fmla="*/ 1832696 h 4687251"/>
              <a:gd name="connsiteX30313" fmla="*/ 2468210 w 8079933"/>
              <a:gd name="connsiteY30313" fmla="*/ 1837135 h 4687251"/>
              <a:gd name="connsiteX30314" fmla="*/ 2462567 w 8079933"/>
              <a:gd name="connsiteY30314" fmla="*/ 1838543 h 4687251"/>
              <a:gd name="connsiteX30315" fmla="*/ 2458878 w 8079933"/>
              <a:gd name="connsiteY30315" fmla="*/ 1836811 h 4687251"/>
              <a:gd name="connsiteX30316" fmla="*/ 2456491 w 8079933"/>
              <a:gd name="connsiteY30316" fmla="*/ 1839842 h 4687251"/>
              <a:gd name="connsiteX30317" fmla="*/ 2453778 w 8079933"/>
              <a:gd name="connsiteY30317" fmla="*/ 1839192 h 4687251"/>
              <a:gd name="connsiteX30318" fmla="*/ 2452693 w 8079933"/>
              <a:gd name="connsiteY30318" fmla="*/ 1835836 h 4687251"/>
              <a:gd name="connsiteX30319" fmla="*/ 2447375 w 8079933"/>
              <a:gd name="connsiteY30319" fmla="*/ 1836485 h 4687251"/>
              <a:gd name="connsiteX30320" fmla="*/ 2440559 w 8079933"/>
              <a:gd name="connsiteY30320" fmla="*/ 1834998 h 4687251"/>
              <a:gd name="connsiteX30321" fmla="*/ 2449329 w 8079933"/>
              <a:gd name="connsiteY30321" fmla="*/ 1840058 h 4687251"/>
              <a:gd name="connsiteX30322" fmla="*/ 2447701 w 8079933"/>
              <a:gd name="connsiteY30322" fmla="*/ 1845364 h 4687251"/>
              <a:gd name="connsiteX30323" fmla="*/ 2451066 w 8079933"/>
              <a:gd name="connsiteY30323" fmla="*/ 1849044 h 4687251"/>
              <a:gd name="connsiteX30324" fmla="*/ 2453019 w 8079933"/>
              <a:gd name="connsiteY30324" fmla="*/ 1845688 h 4687251"/>
              <a:gd name="connsiteX30325" fmla="*/ 2457577 w 8079933"/>
              <a:gd name="connsiteY30325" fmla="*/ 1848395 h 4687251"/>
              <a:gd name="connsiteX30326" fmla="*/ 2454429 w 8079933"/>
              <a:gd name="connsiteY30326" fmla="*/ 1852401 h 4687251"/>
              <a:gd name="connsiteX30327" fmla="*/ 2450197 w 8079933"/>
              <a:gd name="connsiteY30327" fmla="*/ 1852942 h 4687251"/>
              <a:gd name="connsiteX30328" fmla="*/ 2448570 w 8079933"/>
              <a:gd name="connsiteY30328" fmla="*/ 1850127 h 4687251"/>
              <a:gd name="connsiteX30329" fmla="*/ 2442710 w 8079933"/>
              <a:gd name="connsiteY30329" fmla="*/ 1853484 h 4687251"/>
              <a:gd name="connsiteX30330" fmla="*/ 2439129 w 8079933"/>
              <a:gd name="connsiteY30330" fmla="*/ 1853159 h 4687251"/>
              <a:gd name="connsiteX30331" fmla="*/ 2434788 w 8079933"/>
              <a:gd name="connsiteY30331" fmla="*/ 1856082 h 4687251"/>
              <a:gd name="connsiteX30332" fmla="*/ 2432184 w 8079933"/>
              <a:gd name="connsiteY30332" fmla="*/ 1857382 h 4687251"/>
              <a:gd name="connsiteX30333" fmla="*/ 2428603 w 8079933"/>
              <a:gd name="connsiteY30333" fmla="*/ 1855866 h 4687251"/>
              <a:gd name="connsiteX30334" fmla="*/ 2424696 w 8079933"/>
              <a:gd name="connsiteY30334" fmla="*/ 1861171 h 4687251"/>
              <a:gd name="connsiteX30335" fmla="*/ 2421332 w 8079933"/>
              <a:gd name="connsiteY30335" fmla="*/ 1861171 h 4687251"/>
              <a:gd name="connsiteX30336" fmla="*/ 2420030 w 8079933"/>
              <a:gd name="connsiteY30336" fmla="*/ 1855866 h 4687251"/>
              <a:gd name="connsiteX30337" fmla="*/ 2414604 w 8079933"/>
              <a:gd name="connsiteY30337" fmla="*/ 1855866 h 4687251"/>
              <a:gd name="connsiteX30338" fmla="*/ 2410480 w 8079933"/>
              <a:gd name="connsiteY30338" fmla="*/ 1860413 h 4687251"/>
              <a:gd name="connsiteX30339" fmla="*/ 2406031 w 8079933"/>
              <a:gd name="connsiteY30339" fmla="*/ 1861062 h 4687251"/>
              <a:gd name="connsiteX30340" fmla="*/ 2404837 w 8079933"/>
              <a:gd name="connsiteY30340" fmla="*/ 1857273 h 4687251"/>
              <a:gd name="connsiteX30341" fmla="*/ 2406248 w 8079933"/>
              <a:gd name="connsiteY30341" fmla="*/ 1852617 h 4687251"/>
              <a:gd name="connsiteX30342" fmla="*/ 2399954 w 8079933"/>
              <a:gd name="connsiteY30342" fmla="*/ 1860413 h 4687251"/>
              <a:gd name="connsiteX30343" fmla="*/ 2395505 w 8079933"/>
              <a:gd name="connsiteY30343" fmla="*/ 1867776 h 4687251"/>
              <a:gd name="connsiteX30344" fmla="*/ 2392792 w 8079933"/>
              <a:gd name="connsiteY30344" fmla="*/ 1869616 h 4687251"/>
              <a:gd name="connsiteX30345" fmla="*/ 2391381 w 8079933"/>
              <a:gd name="connsiteY30345" fmla="*/ 1867450 h 4687251"/>
              <a:gd name="connsiteX30346" fmla="*/ 2388668 w 8079933"/>
              <a:gd name="connsiteY30346" fmla="*/ 1872756 h 4687251"/>
              <a:gd name="connsiteX30347" fmla="*/ 2385847 w 8079933"/>
              <a:gd name="connsiteY30347" fmla="*/ 1872756 h 4687251"/>
              <a:gd name="connsiteX30348" fmla="*/ 2385196 w 8079933"/>
              <a:gd name="connsiteY30348" fmla="*/ 1867776 h 4687251"/>
              <a:gd name="connsiteX30349" fmla="*/ 2382592 w 8079933"/>
              <a:gd name="connsiteY30349" fmla="*/ 1872539 h 4687251"/>
              <a:gd name="connsiteX30350" fmla="*/ 2380312 w 8079933"/>
              <a:gd name="connsiteY30350" fmla="*/ 1875462 h 4687251"/>
              <a:gd name="connsiteX30351" fmla="*/ 2377057 w 8079933"/>
              <a:gd name="connsiteY30351" fmla="*/ 1874488 h 4687251"/>
              <a:gd name="connsiteX30352" fmla="*/ 2376731 w 8079933"/>
              <a:gd name="connsiteY30352" fmla="*/ 1871348 h 4687251"/>
              <a:gd name="connsiteX30353" fmla="*/ 2374019 w 8079933"/>
              <a:gd name="connsiteY30353" fmla="*/ 1875679 h 4687251"/>
              <a:gd name="connsiteX30354" fmla="*/ 2371414 w 8079933"/>
              <a:gd name="connsiteY30354" fmla="*/ 1875679 h 4687251"/>
              <a:gd name="connsiteX30355" fmla="*/ 2368485 w 8079933"/>
              <a:gd name="connsiteY30355" fmla="*/ 1881959 h 4687251"/>
              <a:gd name="connsiteX30356" fmla="*/ 2359694 w 8079933"/>
              <a:gd name="connsiteY30356" fmla="*/ 1888888 h 4687251"/>
              <a:gd name="connsiteX30357" fmla="*/ 2356548 w 8079933"/>
              <a:gd name="connsiteY30357" fmla="*/ 1897333 h 4687251"/>
              <a:gd name="connsiteX30358" fmla="*/ 2353618 w 8079933"/>
              <a:gd name="connsiteY30358" fmla="*/ 1900906 h 4687251"/>
              <a:gd name="connsiteX30359" fmla="*/ 2352641 w 8079933"/>
              <a:gd name="connsiteY30359" fmla="*/ 1904371 h 4687251"/>
              <a:gd name="connsiteX30360" fmla="*/ 2350253 w 8079933"/>
              <a:gd name="connsiteY30360" fmla="*/ 1906212 h 4687251"/>
              <a:gd name="connsiteX30361" fmla="*/ 2349711 w 8079933"/>
              <a:gd name="connsiteY30361" fmla="*/ 1909135 h 4687251"/>
              <a:gd name="connsiteX30362" fmla="*/ 2352749 w 8079933"/>
              <a:gd name="connsiteY30362" fmla="*/ 1909135 h 4687251"/>
              <a:gd name="connsiteX30363" fmla="*/ 2353183 w 8079933"/>
              <a:gd name="connsiteY30363" fmla="*/ 1912816 h 4687251"/>
              <a:gd name="connsiteX30364" fmla="*/ 2344719 w 8079933"/>
              <a:gd name="connsiteY30364" fmla="*/ 1920394 h 4687251"/>
              <a:gd name="connsiteX30365" fmla="*/ 2344719 w 8079933"/>
              <a:gd name="connsiteY30365" fmla="*/ 1922561 h 4687251"/>
              <a:gd name="connsiteX30366" fmla="*/ 2350688 w 8079933"/>
              <a:gd name="connsiteY30366" fmla="*/ 1926025 h 4687251"/>
              <a:gd name="connsiteX30367" fmla="*/ 2353292 w 8079933"/>
              <a:gd name="connsiteY30367" fmla="*/ 1933712 h 4687251"/>
              <a:gd name="connsiteX30368" fmla="*/ 2354051 w 8079933"/>
              <a:gd name="connsiteY30368" fmla="*/ 1937718 h 4687251"/>
              <a:gd name="connsiteX30369" fmla="*/ 2360888 w 8079933"/>
              <a:gd name="connsiteY30369" fmla="*/ 1937502 h 4687251"/>
              <a:gd name="connsiteX30370" fmla="*/ 2362842 w 8079933"/>
              <a:gd name="connsiteY30370" fmla="*/ 1932196 h 4687251"/>
              <a:gd name="connsiteX30371" fmla="*/ 2362299 w 8079933"/>
              <a:gd name="connsiteY30371" fmla="*/ 1928082 h 4687251"/>
              <a:gd name="connsiteX30372" fmla="*/ 2364469 w 8079933"/>
              <a:gd name="connsiteY30372" fmla="*/ 1927432 h 4687251"/>
              <a:gd name="connsiteX30373" fmla="*/ 2366748 w 8079933"/>
              <a:gd name="connsiteY30373" fmla="*/ 1935445 h 4687251"/>
              <a:gd name="connsiteX30374" fmla="*/ 2363818 w 8079933"/>
              <a:gd name="connsiteY30374" fmla="*/ 1940425 h 4687251"/>
              <a:gd name="connsiteX30375" fmla="*/ 2352641 w 8079933"/>
              <a:gd name="connsiteY30375" fmla="*/ 1945947 h 4687251"/>
              <a:gd name="connsiteX30376" fmla="*/ 2349711 w 8079933"/>
              <a:gd name="connsiteY30376" fmla="*/ 1944864 h 4687251"/>
              <a:gd name="connsiteX30377" fmla="*/ 2349819 w 8079933"/>
              <a:gd name="connsiteY30377" fmla="*/ 1941616 h 4687251"/>
              <a:gd name="connsiteX30378" fmla="*/ 2347649 w 8079933"/>
              <a:gd name="connsiteY30378" fmla="*/ 1937177 h 4687251"/>
              <a:gd name="connsiteX30379" fmla="*/ 2343200 w 8079933"/>
              <a:gd name="connsiteY30379" fmla="*/ 1945405 h 4687251"/>
              <a:gd name="connsiteX30380" fmla="*/ 2338859 w 8079933"/>
              <a:gd name="connsiteY30380" fmla="*/ 1949953 h 4687251"/>
              <a:gd name="connsiteX30381" fmla="*/ 2335713 w 8079933"/>
              <a:gd name="connsiteY30381" fmla="*/ 1949412 h 4687251"/>
              <a:gd name="connsiteX30382" fmla="*/ 2336254 w 8079933"/>
              <a:gd name="connsiteY30382" fmla="*/ 1946163 h 4687251"/>
              <a:gd name="connsiteX30383" fmla="*/ 2336254 w 8079933"/>
              <a:gd name="connsiteY30383" fmla="*/ 1941508 h 4687251"/>
              <a:gd name="connsiteX30384" fmla="*/ 2331480 w 8079933"/>
              <a:gd name="connsiteY30384" fmla="*/ 1936310 h 4687251"/>
              <a:gd name="connsiteX30385" fmla="*/ 2331480 w 8079933"/>
              <a:gd name="connsiteY30385" fmla="*/ 1941832 h 4687251"/>
              <a:gd name="connsiteX30386" fmla="*/ 2330720 w 8079933"/>
              <a:gd name="connsiteY30386" fmla="*/ 1948220 h 4687251"/>
              <a:gd name="connsiteX30387" fmla="*/ 2332674 w 8079933"/>
              <a:gd name="connsiteY30387" fmla="*/ 1950386 h 4687251"/>
              <a:gd name="connsiteX30388" fmla="*/ 2329852 w 8079933"/>
              <a:gd name="connsiteY30388" fmla="*/ 1951469 h 4687251"/>
              <a:gd name="connsiteX30389" fmla="*/ 2320086 w 8079933"/>
              <a:gd name="connsiteY30389" fmla="*/ 1952118 h 4687251"/>
              <a:gd name="connsiteX30390" fmla="*/ 2314009 w 8079933"/>
              <a:gd name="connsiteY30390" fmla="*/ 1953526 h 4687251"/>
              <a:gd name="connsiteX30391" fmla="*/ 2309560 w 8079933"/>
              <a:gd name="connsiteY30391" fmla="*/ 1952335 h 4687251"/>
              <a:gd name="connsiteX30392" fmla="*/ 2300119 w 8079933"/>
              <a:gd name="connsiteY30392" fmla="*/ 1952985 h 4687251"/>
              <a:gd name="connsiteX30393" fmla="*/ 2298166 w 8079933"/>
              <a:gd name="connsiteY30393" fmla="*/ 1951469 h 4687251"/>
              <a:gd name="connsiteX30394" fmla="*/ 2295453 w 8079933"/>
              <a:gd name="connsiteY30394" fmla="*/ 1951577 h 4687251"/>
              <a:gd name="connsiteX30395" fmla="*/ 2287857 w 8079933"/>
              <a:gd name="connsiteY30395" fmla="*/ 1956991 h 4687251"/>
              <a:gd name="connsiteX30396" fmla="*/ 2282647 w 8079933"/>
              <a:gd name="connsiteY30396" fmla="*/ 1957099 h 4687251"/>
              <a:gd name="connsiteX30397" fmla="*/ 2275268 w 8079933"/>
              <a:gd name="connsiteY30397" fmla="*/ 1961105 h 4687251"/>
              <a:gd name="connsiteX30398" fmla="*/ 2271036 w 8079933"/>
              <a:gd name="connsiteY30398" fmla="*/ 1962404 h 4687251"/>
              <a:gd name="connsiteX30399" fmla="*/ 2267130 w 8079933"/>
              <a:gd name="connsiteY30399" fmla="*/ 1965760 h 4687251"/>
              <a:gd name="connsiteX30400" fmla="*/ 2267021 w 8079933"/>
              <a:gd name="connsiteY30400" fmla="*/ 1968901 h 4687251"/>
              <a:gd name="connsiteX30401" fmla="*/ 2260619 w 8079933"/>
              <a:gd name="connsiteY30401" fmla="*/ 1972473 h 4687251"/>
              <a:gd name="connsiteX30402" fmla="*/ 2262572 w 8079933"/>
              <a:gd name="connsiteY30402" fmla="*/ 1975721 h 4687251"/>
              <a:gd name="connsiteX30403" fmla="*/ 2265502 w 8079933"/>
              <a:gd name="connsiteY30403" fmla="*/ 1978211 h 4687251"/>
              <a:gd name="connsiteX30404" fmla="*/ 2266262 w 8079933"/>
              <a:gd name="connsiteY30404" fmla="*/ 1981134 h 4687251"/>
              <a:gd name="connsiteX30405" fmla="*/ 2263549 w 8079933"/>
              <a:gd name="connsiteY30405" fmla="*/ 1984491 h 4687251"/>
              <a:gd name="connsiteX30406" fmla="*/ 2263766 w 8079933"/>
              <a:gd name="connsiteY30406" fmla="*/ 1986115 h 4687251"/>
              <a:gd name="connsiteX30407" fmla="*/ 2261704 w 8079933"/>
              <a:gd name="connsiteY30407" fmla="*/ 1990662 h 4687251"/>
              <a:gd name="connsiteX30408" fmla="*/ 2262355 w 8079933"/>
              <a:gd name="connsiteY30408" fmla="*/ 1992828 h 4687251"/>
              <a:gd name="connsiteX30409" fmla="*/ 2260510 w 8079933"/>
              <a:gd name="connsiteY30409" fmla="*/ 1995860 h 4687251"/>
              <a:gd name="connsiteX30410" fmla="*/ 2258666 w 8079933"/>
              <a:gd name="connsiteY30410" fmla="*/ 2000840 h 4687251"/>
              <a:gd name="connsiteX30411" fmla="*/ 2256603 w 8079933"/>
              <a:gd name="connsiteY30411" fmla="*/ 2000840 h 4687251"/>
              <a:gd name="connsiteX30412" fmla="*/ 2254216 w 8079933"/>
              <a:gd name="connsiteY30412" fmla="*/ 2003546 h 4687251"/>
              <a:gd name="connsiteX30413" fmla="*/ 2252155 w 8079933"/>
              <a:gd name="connsiteY30413" fmla="*/ 2010693 h 4687251"/>
              <a:gd name="connsiteX30414" fmla="*/ 2248790 w 8079933"/>
              <a:gd name="connsiteY30414" fmla="*/ 2011667 h 4687251"/>
              <a:gd name="connsiteX30415" fmla="*/ 2246945 w 8079933"/>
              <a:gd name="connsiteY30415" fmla="*/ 2014482 h 4687251"/>
              <a:gd name="connsiteX30416" fmla="*/ 2244992 w 8079933"/>
              <a:gd name="connsiteY30416" fmla="*/ 2014374 h 4687251"/>
              <a:gd name="connsiteX30417" fmla="*/ 2244450 w 8079933"/>
              <a:gd name="connsiteY30417" fmla="*/ 2017405 h 4687251"/>
              <a:gd name="connsiteX30418" fmla="*/ 2240652 w 8079933"/>
              <a:gd name="connsiteY30418" fmla="*/ 2022170 h 4687251"/>
              <a:gd name="connsiteX30419" fmla="*/ 2240218 w 8079933"/>
              <a:gd name="connsiteY30419" fmla="*/ 2020870 h 4687251"/>
              <a:gd name="connsiteX30420" fmla="*/ 2236745 w 8079933"/>
              <a:gd name="connsiteY30420" fmla="*/ 2023468 h 4687251"/>
              <a:gd name="connsiteX30421" fmla="*/ 2239349 w 8079933"/>
              <a:gd name="connsiteY30421" fmla="*/ 2017080 h 4687251"/>
              <a:gd name="connsiteX30422" fmla="*/ 2237288 w 8079933"/>
              <a:gd name="connsiteY30422" fmla="*/ 2014915 h 4687251"/>
              <a:gd name="connsiteX30423" fmla="*/ 2233815 w 8079933"/>
              <a:gd name="connsiteY30423" fmla="*/ 2015781 h 4687251"/>
              <a:gd name="connsiteX30424" fmla="*/ 2228280 w 8079933"/>
              <a:gd name="connsiteY30424" fmla="*/ 2010260 h 4687251"/>
              <a:gd name="connsiteX30425" fmla="*/ 2226327 w 8079933"/>
              <a:gd name="connsiteY30425" fmla="*/ 2006795 h 4687251"/>
              <a:gd name="connsiteX30426" fmla="*/ 2227738 w 8079933"/>
              <a:gd name="connsiteY30426" fmla="*/ 2003222 h 4687251"/>
              <a:gd name="connsiteX30427" fmla="*/ 2235443 w 8079933"/>
              <a:gd name="connsiteY30427" fmla="*/ 1994885 h 4687251"/>
              <a:gd name="connsiteX30428" fmla="*/ 2230343 w 8079933"/>
              <a:gd name="connsiteY30428" fmla="*/ 1997484 h 4687251"/>
              <a:gd name="connsiteX30429" fmla="*/ 2226002 w 8079933"/>
              <a:gd name="connsiteY30429" fmla="*/ 2001381 h 4687251"/>
              <a:gd name="connsiteX30430" fmla="*/ 2223723 w 8079933"/>
              <a:gd name="connsiteY30430" fmla="*/ 2005929 h 4687251"/>
              <a:gd name="connsiteX30431" fmla="*/ 2224374 w 8079933"/>
              <a:gd name="connsiteY30431" fmla="*/ 2010801 h 4687251"/>
              <a:gd name="connsiteX30432" fmla="*/ 2226544 w 8079933"/>
              <a:gd name="connsiteY30432" fmla="*/ 2013074 h 4687251"/>
              <a:gd name="connsiteX30433" fmla="*/ 2227195 w 8079933"/>
              <a:gd name="connsiteY30433" fmla="*/ 2019571 h 4687251"/>
              <a:gd name="connsiteX30434" fmla="*/ 2229475 w 8079933"/>
              <a:gd name="connsiteY30434" fmla="*/ 2022061 h 4687251"/>
              <a:gd name="connsiteX30435" fmla="*/ 2232513 w 8079933"/>
              <a:gd name="connsiteY30435" fmla="*/ 2030073 h 4687251"/>
              <a:gd name="connsiteX30436" fmla="*/ 2232405 w 8079933"/>
              <a:gd name="connsiteY30436" fmla="*/ 2036028 h 4687251"/>
              <a:gd name="connsiteX30437" fmla="*/ 2228389 w 8079933"/>
              <a:gd name="connsiteY30437" fmla="*/ 2045014 h 4687251"/>
              <a:gd name="connsiteX30438" fmla="*/ 2223072 w 8079933"/>
              <a:gd name="connsiteY30438" fmla="*/ 2048046 h 4687251"/>
              <a:gd name="connsiteX30439" fmla="*/ 2219274 w 8079933"/>
              <a:gd name="connsiteY30439" fmla="*/ 2057682 h 4687251"/>
              <a:gd name="connsiteX30440" fmla="*/ 2216561 w 8079933"/>
              <a:gd name="connsiteY30440" fmla="*/ 2062337 h 4687251"/>
              <a:gd name="connsiteX30441" fmla="*/ 2216561 w 8079933"/>
              <a:gd name="connsiteY30441" fmla="*/ 2065261 h 4687251"/>
              <a:gd name="connsiteX30442" fmla="*/ 2215150 w 8079933"/>
              <a:gd name="connsiteY30442" fmla="*/ 2067210 h 4687251"/>
              <a:gd name="connsiteX30443" fmla="*/ 2214825 w 8079933"/>
              <a:gd name="connsiteY30443" fmla="*/ 2065261 h 4687251"/>
              <a:gd name="connsiteX30444" fmla="*/ 2214282 w 8079933"/>
              <a:gd name="connsiteY30444" fmla="*/ 2063529 h 4687251"/>
              <a:gd name="connsiteX30445" fmla="*/ 2209399 w 8079933"/>
              <a:gd name="connsiteY30445" fmla="*/ 2072082 h 4687251"/>
              <a:gd name="connsiteX30446" fmla="*/ 2208965 w 8079933"/>
              <a:gd name="connsiteY30446" fmla="*/ 2074356 h 4687251"/>
              <a:gd name="connsiteX30447" fmla="*/ 2207771 w 8079933"/>
              <a:gd name="connsiteY30447" fmla="*/ 2076196 h 4687251"/>
              <a:gd name="connsiteX30448" fmla="*/ 2207228 w 8079933"/>
              <a:gd name="connsiteY30448" fmla="*/ 2071649 h 4687251"/>
              <a:gd name="connsiteX30449" fmla="*/ 2208422 w 8079933"/>
              <a:gd name="connsiteY30449" fmla="*/ 2066343 h 4687251"/>
              <a:gd name="connsiteX30450" fmla="*/ 2211135 w 8079933"/>
              <a:gd name="connsiteY30450" fmla="*/ 2061796 h 4687251"/>
              <a:gd name="connsiteX30451" fmla="*/ 2210484 w 8079933"/>
              <a:gd name="connsiteY30451" fmla="*/ 2058765 h 4687251"/>
              <a:gd name="connsiteX30452" fmla="*/ 2213414 w 8079933"/>
              <a:gd name="connsiteY30452" fmla="*/ 2054975 h 4687251"/>
              <a:gd name="connsiteX30453" fmla="*/ 2212655 w 8079933"/>
              <a:gd name="connsiteY30453" fmla="*/ 2053892 h 4687251"/>
              <a:gd name="connsiteX30454" fmla="*/ 2216778 w 8079933"/>
              <a:gd name="connsiteY30454" fmla="*/ 2051619 h 4687251"/>
              <a:gd name="connsiteX30455" fmla="*/ 2211027 w 8079933"/>
              <a:gd name="connsiteY30455" fmla="*/ 2051727 h 4687251"/>
              <a:gd name="connsiteX30456" fmla="*/ 2209399 w 8079933"/>
              <a:gd name="connsiteY30456" fmla="*/ 2048371 h 4687251"/>
              <a:gd name="connsiteX30457" fmla="*/ 2210918 w 8079933"/>
              <a:gd name="connsiteY30457" fmla="*/ 2046097 h 4687251"/>
              <a:gd name="connsiteX30458" fmla="*/ 2210701 w 8079933"/>
              <a:gd name="connsiteY30458" fmla="*/ 2045123 h 4687251"/>
              <a:gd name="connsiteX30459" fmla="*/ 2208530 w 8079933"/>
              <a:gd name="connsiteY30459" fmla="*/ 2045231 h 4687251"/>
              <a:gd name="connsiteX30460" fmla="*/ 2207988 w 8079933"/>
              <a:gd name="connsiteY30460" fmla="*/ 2043282 h 4687251"/>
              <a:gd name="connsiteX30461" fmla="*/ 2206360 w 8079933"/>
              <a:gd name="connsiteY30461" fmla="*/ 2045123 h 4687251"/>
              <a:gd name="connsiteX30462" fmla="*/ 2202562 w 8079933"/>
              <a:gd name="connsiteY30462" fmla="*/ 2040251 h 4687251"/>
              <a:gd name="connsiteX30463" fmla="*/ 2202454 w 8079933"/>
              <a:gd name="connsiteY30463" fmla="*/ 2035811 h 4687251"/>
              <a:gd name="connsiteX30464" fmla="*/ 2205817 w 8079933"/>
              <a:gd name="connsiteY30464" fmla="*/ 2030831 h 4687251"/>
              <a:gd name="connsiteX30465" fmla="*/ 2206903 w 8079933"/>
              <a:gd name="connsiteY30465" fmla="*/ 2024010 h 4687251"/>
              <a:gd name="connsiteX30466" fmla="*/ 2203105 w 8079933"/>
              <a:gd name="connsiteY30466" fmla="*/ 2017730 h 4687251"/>
              <a:gd name="connsiteX30467" fmla="*/ 2205817 w 8079933"/>
              <a:gd name="connsiteY30467" fmla="*/ 2012642 h 4687251"/>
              <a:gd name="connsiteX30468" fmla="*/ 2209833 w 8079933"/>
              <a:gd name="connsiteY30468" fmla="*/ 2010260 h 4687251"/>
              <a:gd name="connsiteX30469" fmla="*/ 2208530 w 8079933"/>
              <a:gd name="connsiteY30469" fmla="*/ 2008744 h 4687251"/>
              <a:gd name="connsiteX30470" fmla="*/ 2209724 w 8079933"/>
              <a:gd name="connsiteY30470" fmla="*/ 2004197 h 4687251"/>
              <a:gd name="connsiteX30471" fmla="*/ 2208422 w 8079933"/>
              <a:gd name="connsiteY30471" fmla="*/ 2002356 h 4687251"/>
              <a:gd name="connsiteX30472" fmla="*/ 2208530 w 8079933"/>
              <a:gd name="connsiteY30472" fmla="*/ 2003764 h 4687251"/>
              <a:gd name="connsiteX30473" fmla="*/ 2207337 w 8079933"/>
              <a:gd name="connsiteY30473" fmla="*/ 2008311 h 4687251"/>
              <a:gd name="connsiteX30474" fmla="*/ 2202562 w 8079933"/>
              <a:gd name="connsiteY30474" fmla="*/ 2012100 h 4687251"/>
              <a:gd name="connsiteX30475" fmla="*/ 2199415 w 8079933"/>
              <a:gd name="connsiteY30475" fmla="*/ 2014266 h 4687251"/>
              <a:gd name="connsiteX30476" fmla="*/ 2197462 w 8079933"/>
              <a:gd name="connsiteY30476" fmla="*/ 2014049 h 4687251"/>
              <a:gd name="connsiteX30477" fmla="*/ 2199741 w 8079933"/>
              <a:gd name="connsiteY30477" fmla="*/ 2017405 h 4687251"/>
              <a:gd name="connsiteX30478" fmla="*/ 2198873 w 8079933"/>
              <a:gd name="connsiteY30478" fmla="*/ 2020112 h 4687251"/>
              <a:gd name="connsiteX30479" fmla="*/ 2198113 w 8079933"/>
              <a:gd name="connsiteY30479" fmla="*/ 2027041 h 4687251"/>
              <a:gd name="connsiteX30480" fmla="*/ 2199089 w 8079933"/>
              <a:gd name="connsiteY30480" fmla="*/ 2029856 h 4687251"/>
              <a:gd name="connsiteX30481" fmla="*/ 2198439 w 8079933"/>
              <a:gd name="connsiteY30481" fmla="*/ 2033105 h 4687251"/>
              <a:gd name="connsiteX30482" fmla="*/ 2198764 w 8079933"/>
              <a:gd name="connsiteY30482" fmla="*/ 2037760 h 4687251"/>
              <a:gd name="connsiteX30483" fmla="*/ 2198221 w 8079933"/>
              <a:gd name="connsiteY30483" fmla="*/ 2047072 h 4687251"/>
              <a:gd name="connsiteX30484" fmla="*/ 2196919 w 8079933"/>
              <a:gd name="connsiteY30484" fmla="*/ 2047396 h 4687251"/>
              <a:gd name="connsiteX30485" fmla="*/ 2191168 w 8079933"/>
              <a:gd name="connsiteY30485" fmla="*/ 2040684 h 4687251"/>
              <a:gd name="connsiteX30486" fmla="*/ 2186502 w 8079933"/>
              <a:gd name="connsiteY30486" fmla="*/ 2040034 h 4687251"/>
              <a:gd name="connsiteX30487" fmla="*/ 2183572 w 8079933"/>
              <a:gd name="connsiteY30487" fmla="*/ 2034621 h 4687251"/>
              <a:gd name="connsiteX30488" fmla="*/ 2181401 w 8079933"/>
              <a:gd name="connsiteY30488" fmla="*/ 2034512 h 4687251"/>
              <a:gd name="connsiteX30489" fmla="*/ 2180533 w 8079933"/>
              <a:gd name="connsiteY30489" fmla="*/ 2032131 h 4687251"/>
              <a:gd name="connsiteX30490" fmla="*/ 2182596 w 8079933"/>
              <a:gd name="connsiteY30490" fmla="*/ 2027041 h 4687251"/>
              <a:gd name="connsiteX30491" fmla="*/ 2179123 w 8079933"/>
              <a:gd name="connsiteY30491" fmla="*/ 2031697 h 4687251"/>
              <a:gd name="connsiteX30492" fmla="*/ 2179123 w 8079933"/>
              <a:gd name="connsiteY30492" fmla="*/ 2035811 h 4687251"/>
              <a:gd name="connsiteX30493" fmla="*/ 2182596 w 8079933"/>
              <a:gd name="connsiteY30493" fmla="*/ 2037435 h 4687251"/>
              <a:gd name="connsiteX30494" fmla="*/ 2185308 w 8079933"/>
              <a:gd name="connsiteY30494" fmla="*/ 2041874 h 4687251"/>
              <a:gd name="connsiteX30495" fmla="*/ 2190625 w 8079933"/>
              <a:gd name="connsiteY30495" fmla="*/ 2043931 h 4687251"/>
              <a:gd name="connsiteX30496" fmla="*/ 2196051 w 8079933"/>
              <a:gd name="connsiteY30496" fmla="*/ 2050428 h 4687251"/>
              <a:gd name="connsiteX30497" fmla="*/ 2199415 w 8079933"/>
              <a:gd name="connsiteY30497" fmla="*/ 2052485 h 4687251"/>
              <a:gd name="connsiteX30498" fmla="*/ 2200175 w 8079933"/>
              <a:gd name="connsiteY30498" fmla="*/ 2056708 h 4687251"/>
              <a:gd name="connsiteX30499" fmla="*/ 2198764 w 8079933"/>
              <a:gd name="connsiteY30499" fmla="*/ 2061580 h 4687251"/>
              <a:gd name="connsiteX30500" fmla="*/ 2195292 w 8079933"/>
              <a:gd name="connsiteY30500" fmla="*/ 2061255 h 4687251"/>
              <a:gd name="connsiteX30501" fmla="*/ 2193773 w 8079933"/>
              <a:gd name="connsiteY30501" fmla="*/ 2057141 h 4687251"/>
              <a:gd name="connsiteX30502" fmla="*/ 2191493 w 8079933"/>
              <a:gd name="connsiteY30502" fmla="*/ 2056166 h 4687251"/>
              <a:gd name="connsiteX30503" fmla="*/ 2193664 w 8079933"/>
              <a:gd name="connsiteY30503" fmla="*/ 2062013 h 4687251"/>
              <a:gd name="connsiteX30504" fmla="*/ 2198764 w 8079933"/>
              <a:gd name="connsiteY30504" fmla="*/ 2065261 h 4687251"/>
              <a:gd name="connsiteX30505" fmla="*/ 2200175 w 8079933"/>
              <a:gd name="connsiteY30505" fmla="*/ 2068509 h 4687251"/>
              <a:gd name="connsiteX30506" fmla="*/ 2198547 w 8079933"/>
              <a:gd name="connsiteY30506" fmla="*/ 2069917 h 4687251"/>
              <a:gd name="connsiteX30507" fmla="*/ 2198221 w 8079933"/>
              <a:gd name="connsiteY30507" fmla="*/ 2072082 h 4687251"/>
              <a:gd name="connsiteX30508" fmla="*/ 2193230 w 8079933"/>
              <a:gd name="connsiteY30508" fmla="*/ 2071108 h 4687251"/>
              <a:gd name="connsiteX30509" fmla="*/ 2199307 w 8079933"/>
              <a:gd name="connsiteY30509" fmla="*/ 2076196 h 4687251"/>
              <a:gd name="connsiteX30510" fmla="*/ 2197353 w 8079933"/>
              <a:gd name="connsiteY30510" fmla="*/ 2079553 h 4687251"/>
              <a:gd name="connsiteX30511" fmla="*/ 2194423 w 8079933"/>
              <a:gd name="connsiteY30511" fmla="*/ 2078145 h 4687251"/>
              <a:gd name="connsiteX30512" fmla="*/ 2192036 w 8079933"/>
              <a:gd name="connsiteY30512" fmla="*/ 2073814 h 4687251"/>
              <a:gd name="connsiteX30513" fmla="*/ 2186176 w 8079933"/>
              <a:gd name="connsiteY30513" fmla="*/ 2073706 h 4687251"/>
              <a:gd name="connsiteX30514" fmla="*/ 2182269 w 8079933"/>
              <a:gd name="connsiteY30514" fmla="*/ 2071757 h 4687251"/>
              <a:gd name="connsiteX30515" fmla="*/ 2185525 w 8079933"/>
              <a:gd name="connsiteY30515" fmla="*/ 2075763 h 4687251"/>
              <a:gd name="connsiteX30516" fmla="*/ 2189323 w 8079933"/>
              <a:gd name="connsiteY30516" fmla="*/ 2077063 h 4687251"/>
              <a:gd name="connsiteX30517" fmla="*/ 2192253 w 8079933"/>
              <a:gd name="connsiteY30517" fmla="*/ 2077171 h 4687251"/>
              <a:gd name="connsiteX30518" fmla="*/ 2194098 w 8079933"/>
              <a:gd name="connsiteY30518" fmla="*/ 2082909 h 4687251"/>
              <a:gd name="connsiteX30519" fmla="*/ 2198221 w 8079933"/>
              <a:gd name="connsiteY30519" fmla="*/ 2083992 h 4687251"/>
              <a:gd name="connsiteX30520" fmla="*/ 2201586 w 8079933"/>
              <a:gd name="connsiteY30520" fmla="*/ 2083125 h 4687251"/>
              <a:gd name="connsiteX30521" fmla="*/ 2203756 w 8079933"/>
              <a:gd name="connsiteY30521" fmla="*/ 2085075 h 4687251"/>
              <a:gd name="connsiteX30522" fmla="*/ 2204949 w 8079933"/>
              <a:gd name="connsiteY30522" fmla="*/ 2089514 h 4687251"/>
              <a:gd name="connsiteX30523" fmla="*/ 2203105 w 8079933"/>
              <a:gd name="connsiteY30523" fmla="*/ 2094061 h 4687251"/>
              <a:gd name="connsiteX30524" fmla="*/ 2200609 w 8079933"/>
              <a:gd name="connsiteY30524" fmla="*/ 2092870 h 4687251"/>
              <a:gd name="connsiteX30525" fmla="*/ 2200501 w 8079933"/>
              <a:gd name="connsiteY30525" fmla="*/ 2095143 h 4687251"/>
              <a:gd name="connsiteX30526" fmla="*/ 2202454 w 8079933"/>
              <a:gd name="connsiteY30526" fmla="*/ 2097200 h 4687251"/>
              <a:gd name="connsiteX30527" fmla="*/ 2203322 w 8079933"/>
              <a:gd name="connsiteY30527" fmla="*/ 2102398 h 4687251"/>
              <a:gd name="connsiteX30528" fmla="*/ 2201802 w 8079933"/>
              <a:gd name="connsiteY30528" fmla="*/ 2104888 h 4687251"/>
              <a:gd name="connsiteX30529" fmla="*/ 2198764 w 8079933"/>
              <a:gd name="connsiteY30529" fmla="*/ 2104888 h 4687251"/>
              <a:gd name="connsiteX30530" fmla="*/ 2197571 w 8079933"/>
              <a:gd name="connsiteY30530" fmla="*/ 2106187 h 4687251"/>
              <a:gd name="connsiteX30531" fmla="*/ 2191277 w 8079933"/>
              <a:gd name="connsiteY30531" fmla="*/ 2107920 h 4687251"/>
              <a:gd name="connsiteX30532" fmla="*/ 2188780 w 8079933"/>
              <a:gd name="connsiteY30532" fmla="*/ 2110085 h 4687251"/>
              <a:gd name="connsiteX30533" fmla="*/ 2185742 w 8079933"/>
              <a:gd name="connsiteY30533" fmla="*/ 2109110 h 4687251"/>
              <a:gd name="connsiteX30534" fmla="*/ 2183463 w 8079933"/>
              <a:gd name="connsiteY30534" fmla="*/ 2104130 h 4687251"/>
              <a:gd name="connsiteX30535" fmla="*/ 2181836 w 8079933"/>
              <a:gd name="connsiteY30535" fmla="*/ 2105104 h 4687251"/>
              <a:gd name="connsiteX30536" fmla="*/ 2181619 w 8079933"/>
              <a:gd name="connsiteY30536" fmla="*/ 2112251 h 4687251"/>
              <a:gd name="connsiteX30537" fmla="*/ 2180751 w 8079933"/>
              <a:gd name="connsiteY30537" fmla="*/ 2115065 h 4687251"/>
              <a:gd name="connsiteX30538" fmla="*/ 2185525 w 8079933"/>
              <a:gd name="connsiteY30538" fmla="*/ 2113550 h 4687251"/>
              <a:gd name="connsiteX30539" fmla="*/ 2195183 w 8079933"/>
              <a:gd name="connsiteY30539" fmla="*/ 2112142 h 4687251"/>
              <a:gd name="connsiteX30540" fmla="*/ 2197136 w 8079933"/>
              <a:gd name="connsiteY30540" fmla="*/ 2113008 h 4687251"/>
              <a:gd name="connsiteX30541" fmla="*/ 2197788 w 8079933"/>
              <a:gd name="connsiteY30541" fmla="*/ 2120046 h 4687251"/>
              <a:gd name="connsiteX30542" fmla="*/ 2200175 w 8079933"/>
              <a:gd name="connsiteY30542" fmla="*/ 2121020 h 4687251"/>
              <a:gd name="connsiteX30543" fmla="*/ 2200392 w 8079933"/>
              <a:gd name="connsiteY30543" fmla="*/ 2118097 h 4687251"/>
              <a:gd name="connsiteX30544" fmla="*/ 2202888 w 8079933"/>
              <a:gd name="connsiteY30544" fmla="*/ 2113333 h 4687251"/>
              <a:gd name="connsiteX30545" fmla="*/ 2204082 w 8079933"/>
              <a:gd name="connsiteY30545" fmla="*/ 2113008 h 4687251"/>
              <a:gd name="connsiteX30546" fmla="*/ 2205926 w 8079933"/>
              <a:gd name="connsiteY30546" fmla="*/ 2117014 h 4687251"/>
              <a:gd name="connsiteX30547" fmla="*/ 2204732 w 8079933"/>
              <a:gd name="connsiteY30547" fmla="*/ 2122103 h 4687251"/>
              <a:gd name="connsiteX30548" fmla="*/ 2203214 w 8079933"/>
              <a:gd name="connsiteY30548" fmla="*/ 2122211 h 4687251"/>
              <a:gd name="connsiteX30549" fmla="*/ 2198221 w 8079933"/>
              <a:gd name="connsiteY30549" fmla="*/ 2126434 h 4687251"/>
              <a:gd name="connsiteX30550" fmla="*/ 2196485 w 8079933"/>
              <a:gd name="connsiteY30550" fmla="*/ 2129899 h 4687251"/>
              <a:gd name="connsiteX30551" fmla="*/ 2194423 w 8079933"/>
              <a:gd name="connsiteY30551" fmla="*/ 2131631 h 4687251"/>
              <a:gd name="connsiteX30552" fmla="*/ 2191168 w 8079933"/>
              <a:gd name="connsiteY30552" fmla="*/ 2129573 h 4687251"/>
              <a:gd name="connsiteX30553" fmla="*/ 2187912 w 8079933"/>
              <a:gd name="connsiteY30553" fmla="*/ 2130115 h 4687251"/>
              <a:gd name="connsiteX30554" fmla="*/ 2185959 w 8079933"/>
              <a:gd name="connsiteY30554" fmla="*/ 2124918 h 4687251"/>
              <a:gd name="connsiteX30555" fmla="*/ 2185525 w 8079933"/>
              <a:gd name="connsiteY30555" fmla="*/ 2128166 h 4687251"/>
              <a:gd name="connsiteX30556" fmla="*/ 2182269 w 8079933"/>
              <a:gd name="connsiteY30556" fmla="*/ 2129573 h 4687251"/>
              <a:gd name="connsiteX30557" fmla="*/ 2178906 w 8079933"/>
              <a:gd name="connsiteY30557" fmla="*/ 2127950 h 4687251"/>
              <a:gd name="connsiteX30558" fmla="*/ 2175650 w 8079933"/>
              <a:gd name="connsiteY30558" fmla="*/ 2127842 h 4687251"/>
              <a:gd name="connsiteX30559" fmla="*/ 2178254 w 8079933"/>
              <a:gd name="connsiteY30559" fmla="*/ 2130873 h 4687251"/>
              <a:gd name="connsiteX30560" fmla="*/ 2183897 w 8079933"/>
              <a:gd name="connsiteY30560" fmla="*/ 2131956 h 4687251"/>
              <a:gd name="connsiteX30561" fmla="*/ 2185525 w 8079933"/>
              <a:gd name="connsiteY30561" fmla="*/ 2134338 h 4687251"/>
              <a:gd name="connsiteX30562" fmla="*/ 2183137 w 8079933"/>
              <a:gd name="connsiteY30562" fmla="*/ 2136395 h 4687251"/>
              <a:gd name="connsiteX30563" fmla="*/ 2184114 w 8079933"/>
              <a:gd name="connsiteY30563" fmla="*/ 2138127 h 4687251"/>
              <a:gd name="connsiteX30564" fmla="*/ 2177712 w 8079933"/>
              <a:gd name="connsiteY30564" fmla="*/ 2140834 h 4687251"/>
              <a:gd name="connsiteX30565" fmla="*/ 2173480 w 8079933"/>
              <a:gd name="connsiteY30565" fmla="*/ 2139210 h 4687251"/>
              <a:gd name="connsiteX30566" fmla="*/ 2177061 w 8079933"/>
              <a:gd name="connsiteY30566" fmla="*/ 2142566 h 4687251"/>
              <a:gd name="connsiteX30567" fmla="*/ 2183137 w 8079933"/>
              <a:gd name="connsiteY30567" fmla="*/ 2143108 h 4687251"/>
              <a:gd name="connsiteX30568" fmla="*/ 2187370 w 8079933"/>
              <a:gd name="connsiteY30568" fmla="*/ 2139210 h 4687251"/>
              <a:gd name="connsiteX30569" fmla="*/ 2188455 w 8079933"/>
              <a:gd name="connsiteY30569" fmla="*/ 2140834 h 4687251"/>
              <a:gd name="connsiteX30570" fmla="*/ 2190192 w 8079933"/>
              <a:gd name="connsiteY30570" fmla="*/ 2141592 h 4687251"/>
              <a:gd name="connsiteX30571" fmla="*/ 2185634 w 8079933"/>
              <a:gd name="connsiteY30571" fmla="*/ 2146789 h 4687251"/>
              <a:gd name="connsiteX30572" fmla="*/ 2181510 w 8079933"/>
              <a:gd name="connsiteY30572" fmla="*/ 2146897 h 4687251"/>
              <a:gd name="connsiteX30573" fmla="*/ 2181076 w 8079933"/>
              <a:gd name="connsiteY30573" fmla="*/ 2145381 h 4687251"/>
              <a:gd name="connsiteX30574" fmla="*/ 2178146 w 8079933"/>
              <a:gd name="connsiteY30574" fmla="*/ 2145706 h 4687251"/>
              <a:gd name="connsiteX30575" fmla="*/ 2176518 w 8079933"/>
              <a:gd name="connsiteY30575" fmla="*/ 2146897 h 4687251"/>
              <a:gd name="connsiteX30576" fmla="*/ 2170658 w 8079933"/>
              <a:gd name="connsiteY30576" fmla="*/ 2147438 h 4687251"/>
              <a:gd name="connsiteX30577" fmla="*/ 2159481 w 8079933"/>
              <a:gd name="connsiteY30577" fmla="*/ 2154152 h 4687251"/>
              <a:gd name="connsiteX30578" fmla="*/ 2147436 w 8079933"/>
              <a:gd name="connsiteY30578" fmla="*/ 2163895 h 4687251"/>
              <a:gd name="connsiteX30579" fmla="*/ 2143529 w 8079933"/>
              <a:gd name="connsiteY30579" fmla="*/ 2171366 h 4687251"/>
              <a:gd name="connsiteX30580" fmla="*/ 2141359 w 8079933"/>
              <a:gd name="connsiteY30580" fmla="*/ 2171691 h 4687251"/>
              <a:gd name="connsiteX30581" fmla="*/ 2138971 w 8079933"/>
              <a:gd name="connsiteY30581" fmla="*/ 2170175 h 4687251"/>
              <a:gd name="connsiteX30582" fmla="*/ 2132135 w 8079933"/>
              <a:gd name="connsiteY30582" fmla="*/ 2170933 h 4687251"/>
              <a:gd name="connsiteX30583" fmla="*/ 2127469 w 8079933"/>
              <a:gd name="connsiteY30583" fmla="*/ 2175048 h 4687251"/>
              <a:gd name="connsiteX30584" fmla="*/ 2118462 w 8079933"/>
              <a:gd name="connsiteY30584" fmla="*/ 2186957 h 4687251"/>
              <a:gd name="connsiteX30585" fmla="*/ 2118462 w 8079933"/>
              <a:gd name="connsiteY30585" fmla="*/ 2189664 h 4687251"/>
              <a:gd name="connsiteX30586" fmla="*/ 2114663 w 8079933"/>
              <a:gd name="connsiteY30586" fmla="*/ 2193021 h 4687251"/>
              <a:gd name="connsiteX30587" fmla="*/ 2112277 w 8079933"/>
              <a:gd name="connsiteY30587" fmla="*/ 2192803 h 4687251"/>
              <a:gd name="connsiteX30588" fmla="*/ 2111950 w 8079933"/>
              <a:gd name="connsiteY30588" fmla="*/ 2195835 h 4687251"/>
              <a:gd name="connsiteX30589" fmla="*/ 2107827 w 8079933"/>
              <a:gd name="connsiteY30589" fmla="*/ 2200599 h 4687251"/>
              <a:gd name="connsiteX30590" fmla="*/ 2105006 w 8079933"/>
              <a:gd name="connsiteY30590" fmla="*/ 2199300 h 4687251"/>
              <a:gd name="connsiteX30591" fmla="*/ 2102510 w 8079933"/>
              <a:gd name="connsiteY30591" fmla="*/ 2200058 h 4687251"/>
              <a:gd name="connsiteX30592" fmla="*/ 2101208 w 8079933"/>
              <a:gd name="connsiteY30592" fmla="*/ 2202223 h 4687251"/>
              <a:gd name="connsiteX30593" fmla="*/ 2096216 w 8079933"/>
              <a:gd name="connsiteY30593" fmla="*/ 2201790 h 4687251"/>
              <a:gd name="connsiteX30594" fmla="*/ 2093720 w 8079933"/>
              <a:gd name="connsiteY30594" fmla="*/ 2205147 h 4687251"/>
              <a:gd name="connsiteX30595" fmla="*/ 2086449 w 8079933"/>
              <a:gd name="connsiteY30595" fmla="*/ 2206013 h 4687251"/>
              <a:gd name="connsiteX30596" fmla="*/ 2085256 w 8079933"/>
              <a:gd name="connsiteY30596" fmla="*/ 2208611 h 4687251"/>
              <a:gd name="connsiteX30597" fmla="*/ 2080589 w 8079933"/>
              <a:gd name="connsiteY30597" fmla="*/ 2208286 h 4687251"/>
              <a:gd name="connsiteX30598" fmla="*/ 2079721 w 8079933"/>
              <a:gd name="connsiteY30598" fmla="*/ 2211209 h 4687251"/>
              <a:gd name="connsiteX30599" fmla="*/ 2074079 w 8079933"/>
              <a:gd name="connsiteY30599" fmla="*/ 2211209 h 4687251"/>
              <a:gd name="connsiteX30600" fmla="*/ 2072668 w 8079933"/>
              <a:gd name="connsiteY30600" fmla="*/ 2212401 h 4687251"/>
              <a:gd name="connsiteX30601" fmla="*/ 2074404 w 8079933"/>
              <a:gd name="connsiteY30601" fmla="*/ 2213592 h 4687251"/>
              <a:gd name="connsiteX30602" fmla="*/ 2073862 w 8079933"/>
              <a:gd name="connsiteY30602" fmla="*/ 2217598 h 4687251"/>
              <a:gd name="connsiteX30603" fmla="*/ 2070606 w 8079933"/>
              <a:gd name="connsiteY30603" fmla="*/ 2222253 h 4687251"/>
              <a:gd name="connsiteX30604" fmla="*/ 2068544 w 8079933"/>
              <a:gd name="connsiteY30604" fmla="*/ 2222578 h 4687251"/>
              <a:gd name="connsiteX30605" fmla="*/ 2066482 w 8079933"/>
              <a:gd name="connsiteY30605" fmla="*/ 2225502 h 4687251"/>
              <a:gd name="connsiteX30606" fmla="*/ 2062468 w 8079933"/>
              <a:gd name="connsiteY30606" fmla="*/ 2226476 h 4687251"/>
              <a:gd name="connsiteX30607" fmla="*/ 2058343 w 8079933"/>
              <a:gd name="connsiteY30607" fmla="*/ 2233188 h 4687251"/>
              <a:gd name="connsiteX30608" fmla="*/ 2054871 w 8079933"/>
              <a:gd name="connsiteY30608" fmla="*/ 2240118 h 4687251"/>
              <a:gd name="connsiteX30609" fmla="*/ 2054871 w 8079933"/>
              <a:gd name="connsiteY30609" fmla="*/ 2248130 h 4687251"/>
              <a:gd name="connsiteX30610" fmla="*/ 2053677 w 8079933"/>
              <a:gd name="connsiteY30610" fmla="*/ 2262963 h 4687251"/>
              <a:gd name="connsiteX30611" fmla="*/ 2054437 w 8079933"/>
              <a:gd name="connsiteY30611" fmla="*/ 2269676 h 4687251"/>
              <a:gd name="connsiteX30612" fmla="*/ 2053026 w 8079933"/>
              <a:gd name="connsiteY30612" fmla="*/ 2279961 h 4687251"/>
              <a:gd name="connsiteX30613" fmla="*/ 2055630 w 8079933"/>
              <a:gd name="connsiteY30613" fmla="*/ 2286458 h 4687251"/>
              <a:gd name="connsiteX30614" fmla="*/ 2056607 w 8079933"/>
              <a:gd name="connsiteY30614" fmla="*/ 2296852 h 4687251"/>
              <a:gd name="connsiteX30615" fmla="*/ 2058669 w 8079933"/>
              <a:gd name="connsiteY30615" fmla="*/ 2301075 h 4687251"/>
              <a:gd name="connsiteX30616" fmla="*/ 2061165 w 8079933"/>
              <a:gd name="connsiteY30616" fmla="*/ 2312659 h 4687251"/>
              <a:gd name="connsiteX30617" fmla="*/ 2064203 w 8079933"/>
              <a:gd name="connsiteY30617" fmla="*/ 2316773 h 4687251"/>
              <a:gd name="connsiteX30618" fmla="*/ 2065939 w 8079933"/>
              <a:gd name="connsiteY30618" fmla="*/ 2320996 h 4687251"/>
              <a:gd name="connsiteX30619" fmla="*/ 2063878 w 8079933"/>
              <a:gd name="connsiteY30619" fmla="*/ 2326518 h 4687251"/>
              <a:gd name="connsiteX30620" fmla="*/ 2063227 w 8079933"/>
              <a:gd name="connsiteY30620" fmla="*/ 2333772 h 4687251"/>
              <a:gd name="connsiteX30621" fmla="*/ 2064854 w 8079933"/>
              <a:gd name="connsiteY30621" fmla="*/ 2336154 h 4687251"/>
              <a:gd name="connsiteX30622" fmla="*/ 2067459 w 8079933"/>
              <a:gd name="connsiteY30622" fmla="*/ 2351529 h 4687251"/>
              <a:gd name="connsiteX30623" fmla="*/ 2072342 w 8079933"/>
              <a:gd name="connsiteY30623" fmla="*/ 2354560 h 4687251"/>
              <a:gd name="connsiteX30624" fmla="*/ 2073862 w 8079933"/>
              <a:gd name="connsiteY30624" fmla="*/ 2361597 h 4687251"/>
              <a:gd name="connsiteX30625" fmla="*/ 2071149 w 8079933"/>
              <a:gd name="connsiteY30625" fmla="*/ 2364305 h 4687251"/>
              <a:gd name="connsiteX30626" fmla="*/ 2072342 w 8079933"/>
              <a:gd name="connsiteY30626" fmla="*/ 2366145 h 4687251"/>
              <a:gd name="connsiteX30627" fmla="*/ 2071474 w 8079933"/>
              <a:gd name="connsiteY30627" fmla="*/ 2374482 h 4687251"/>
              <a:gd name="connsiteX30628" fmla="*/ 2070280 w 8079933"/>
              <a:gd name="connsiteY30628" fmla="*/ 2376756 h 4687251"/>
              <a:gd name="connsiteX30629" fmla="*/ 2070714 w 8079933"/>
              <a:gd name="connsiteY30629" fmla="*/ 2380870 h 4687251"/>
              <a:gd name="connsiteX30630" fmla="*/ 2066591 w 8079933"/>
              <a:gd name="connsiteY30630" fmla="*/ 2389315 h 4687251"/>
              <a:gd name="connsiteX30631" fmla="*/ 2064421 w 8079933"/>
              <a:gd name="connsiteY30631" fmla="*/ 2394945 h 4687251"/>
              <a:gd name="connsiteX30632" fmla="*/ 2061491 w 8079933"/>
              <a:gd name="connsiteY30632" fmla="*/ 2399276 h 4687251"/>
              <a:gd name="connsiteX30633" fmla="*/ 2060731 w 8079933"/>
              <a:gd name="connsiteY30633" fmla="*/ 2405231 h 4687251"/>
              <a:gd name="connsiteX30634" fmla="*/ 2056825 w 8079933"/>
              <a:gd name="connsiteY30634" fmla="*/ 2406639 h 4687251"/>
              <a:gd name="connsiteX30635" fmla="*/ 2052375 w 8079933"/>
              <a:gd name="connsiteY30635" fmla="*/ 2408154 h 4687251"/>
              <a:gd name="connsiteX30636" fmla="*/ 2047818 w 8079933"/>
              <a:gd name="connsiteY30636" fmla="*/ 2406963 h 4687251"/>
              <a:gd name="connsiteX30637" fmla="*/ 2045647 w 8079933"/>
              <a:gd name="connsiteY30637" fmla="*/ 2404040 h 4687251"/>
              <a:gd name="connsiteX30638" fmla="*/ 2040655 w 8079933"/>
              <a:gd name="connsiteY30638" fmla="*/ 2402741 h 4687251"/>
              <a:gd name="connsiteX30639" fmla="*/ 2043368 w 8079933"/>
              <a:gd name="connsiteY30639" fmla="*/ 2401550 h 4687251"/>
              <a:gd name="connsiteX30640" fmla="*/ 2037617 w 8079933"/>
              <a:gd name="connsiteY30640" fmla="*/ 2396786 h 4687251"/>
              <a:gd name="connsiteX30641" fmla="*/ 2038160 w 8079933"/>
              <a:gd name="connsiteY30641" fmla="*/ 2392780 h 4687251"/>
              <a:gd name="connsiteX30642" fmla="*/ 2036423 w 8079933"/>
              <a:gd name="connsiteY30642" fmla="*/ 2389640 h 4687251"/>
              <a:gd name="connsiteX30643" fmla="*/ 2032408 w 8079933"/>
              <a:gd name="connsiteY30643" fmla="*/ 2389423 h 4687251"/>
              <a:gd name="connsiteX30644" fmla="*/ 2030564 w 8079933"/>
              <a:gd name="connsiteY30644" fmla="*/ 2387799 h 4687251"/>
              <a:gd name="connsiteX30645" fmla="*/ 2030889 w 8079933"/>
              <a:gd name="connsiteY30645" fmla="*/ 2381519 h 4687251"/>
              <a:gd name="connsiteX30646" fmla="*/ 2030129 w 8079933"/>
              <a:gd name="connsiteY30646" fmla="*/ 2376647 h 4687251"/>
              <a:gd name="connsiteX30647" fmla="*/ 2024269 w 8079933"/>
              <a:gd name="connsiteY30647" fmla="*/ 2372100 h 4687251"/>
              <a:gd name="connsiteX30648" fmla="*/ 2023835 w 8079933"/>
              <a:gd name="connsiteY30648" fmla="*/ 2369285 h 4687251"/>
              <a:gd name="connsiteX30649" fmla="*/ 2025789 w 8079933"/>
              <a:gd name="connsiteY30649" fmla="*/ 2367119 h 4687251"/>
              <a:gd name="connsiteX30650" fmla="*/ 2026657 w 8079933"/>
              <a:gd name="connsiteY30650" fmla="*/ 2363113 h 4687251"/>
              <a:gd name="connsiteX30651" fmla="*/ 2030129 w 8079933"/>
              <a:gd name="connsiteY30651" fmla="*/ 2359649 h 4687251"/>
              <a:gd name="connsiteX30652" fmla="*/ 2025680 w 8079933"/>
              <a:gd name="connsiteY30652" fmla="*/ 2360840 h 4687251"/>
              <a:gd name="connsiteX30653" fmla="*/ 2023726 w 8079933"/>
              <a:gd name="connsiteY30653" fmla="*/ 2359540 h 4687251"/>
              <a:gd name="connsiteX30654" fmla="*/ 2023726 w 8079933"/>
              <a:gd name="connsiteY30654" fmla="*/ 2361489 h 4687251"/>
              <a:gd name="connsiteX30655" fmla="*/ 2022208 w 8079933"/>
              <a:gd name="connsiteY30655" fmla="*/ 2363655 h 4687251"/>
              <a:gd name="connsiteX30656" fmla="*/ 2021014 w 8079933"/>
              <a:gd name="connsiteY30656" fmla="*/ 2359216 h 4687251"/>
              <a:gd name="connsiteX30657" fmla="*/ 2019060 w 8079933"/>
              <a:gd name="connsiteY30657" fmla="*/ 2359757 h 4687251"/>
              <a:gd name="connsiteX30658" fmla="*/ 2018192 w 8079933"/>
              <a:gd name="connsiteY30658" fmla="*/ 2357375 h 4687251"/>
              <a:gd name="connsiteX30659" fmla="*/ 2015262 w 8079933"/>
              <a:gd name="connsiteY30659" fmla="*/ 2353911 h 4687251"/>
              <a:gd name="connsiteX30660" fmla="*/ 2014937 w 8079933"/>
              <a:gd name="connsiteY30660" fmla="*/ 2349364 h 4687251"/>
              <a:gd name="connsiteX30661" fmla="*/ 2013526 w 8079933"/>
              <a:gd name="connsiteY30661" fmla="*/ 2346440 h 4687251"/>
              <a:gd name="connsiteX30662" fmla="*/ 2019386 w 8079933"/>
              <a:gd name="connsiteY30662" fmla="*/ 2338103 h 4687251"/>
              <a:gd name="connsiteX30663" fmla="*/ 2019169 w 8079933"/>
              <a:gd name="connsiteY30663" fmla="*/ 2333664 h 4687251"/>
              <a:gd name="connsiteX30664" fmla="*/ 2015697 w 8079933"/>
              <a:gd name="connsiteY30664" fmla="*/ 2332256 h 4687251"/>
              <a:gd name="connsiteX30665" fmla="*/ 2013960 w 8079933"/>
              <a:gd name="connsiteY30665" fmla="*/ 2333664 h 4687251"/>
              <a:gd name="connsiteX30666" fmla="*/ 2014828 w 8079933"/>
              <a:gd name="connsiteY30666" fmla="*/ 2335721 h 4687251"/>
              <a:gd name="connsiteX30667" fmla="*/ 2012007 w 8079933"/>
              <a:gd name="connsiteY30667" fmla="*/ 2339511 h 4687251"/>
              <a:gd name="connsiteX30668" fmla="*/ 2010705 w 8079933"/>
              <a:gd name="connsiteY30668" fmla="*/ 2340810 h 4687251"/>
              <a:gd name="connsiteX30669" fmla="*/ 2007883 w 8079933"/>
              <a:gd name="connsiteY30669" fmla="*/ 2335938 h 4687251"/>
              <a:gd name="connsiteX30670" fmla="*/ 2008101 w 8079933"/>
              <a:gd name="connsiteY30670" fmla="*/ 2332365 h 4687251"/>
              <a:gd name="connsiteX30671" fmla="*/ 2012767 w 8079933"/>
              <a:gd name="connsiteY30671" fmla="*/ 2323703 h 4687251"/>
              <a:gd name="connsiteX30672" fmla="*/ 2015914 w 8079933"/>
              <a:gd name="connsiteY30672" fmla="*/ 2312551 h 4687251"/>
              <a:gd name="connsiteX30673" fmla="*/ 2016348 w 8079933"/>
              <a:gd name="connsiteY30673" fmla="*/ 2307030 h 4687251"/>
              <a:gd name="connsiteX30674" fmla="*/ 2013201 w 8079933"/>
              <a:gd name="connsiteY30674" fmla="*/ 2301075 h 4687251"/>
              <a:gd name="connsiteX30675" fmla="*/ 2009728 w 8079933"/>
              <a:gd name="connsiteY30675" fmla="*/ 2300425 h 4687251"/>
              <a:gd name="connsiteX30676" fmla="*/ 2007558 w 8079933"/>
              <a:gd name="connsiteY30676" fmla="*/ 2297069 h 4687251"/>
              <a:gd name="connsiteX30677" fmla="*/ 2007666 w 8079933"/>
              <a:gd name="connsiteY30677" fmla="*/ 2295336 h 4687251"/>
              <a:gd name="connsiteX30678" fmla="*/ 2005604 w 8079933"/>
              <a:gd name="connsiteY30678" fmla="*/ 2295336 h 4687251"/>
              <a:gd name="connsiteX30679" fmla="*/ 2002240 w 8079933"/>
              <a:gd name="connsiteY30679" fmla="*/ 2292846 h 4687251"/>
              <a:gd name="connsiteX30680" fmla="*/ 2001589 w 8079933"/>
              <a:gd name="connsiteY30680" fmla="*/ 2287865 h 4687251"/>
              <a:gd name="connsiteX30681" fmla="*/ 1999962 w 8079933"/>
              <a:gd name="connsiteY30681" fmla="*/ 2287324 h 4687251"/>
              <a:gd name="connsiteX30682" fmla="*/ 1997465 w 8079933"/>
              <a:gd name="connsiteY30682" fmla="*/ 2284834 h 4687251"/>
              <a:gd name="connsiteX30683" fmla="*/ 1995079 w 8079933"/>
              <a:gd name="connsiteY30683" fmla="*/ 2276605 h 4687251"/>
              <a:gd name="connsiteX30684" fmla="*/ 1989544 w 8079933"/>
              <a:gd name="connsiteY30684" fmla="*/ 2274657 h 4687251"/>
              <a:gd name="connsiteX30685" fmla="*/ 1986506 w 8079933"/>
              <a:gd name="connsiteY30685" fmla="*/ 2272924 h 4687251"/>
              <a:gd name="connsiteX30686" fmla="*/ 1981731 w 8079933"/>
              <a:gd name="connsiteY30686" fmla="*/ 2273790 h 4687251"/>
              <a:gd name="connsiteX30687" fmla="*/ 1978584 w 8079933"/>
              <a:gd name="connsiteY30687" fmla="*/ 2276281 h 4687251"/>
              <a:gd name="connsiteX30688" fmla="*/ 1978584 w 8079933"/>
              <a:gd name="connsiteY30688" fmla="*/ 2277363 h 4687251"/>
              <a:gd name="connsiteX30689" fmla="*/ 1977715 w 8079933"/>
              <a:gd name="connsiteY30689" fmla="*/ 2278121 h 4687251"/>
              <a:gd name="connsiteX30690" fmla="*/ 1975762 w 8079933"/>
              <a:gd name="connsiteY30690" fmla="*/ 2277255 h 4687251"/>
              <a:gd name="connsiteX30691" fmla="*/ 1969686 w 8079933"/>
              <a:gd name="connsiteY30691" fmla="*/ 2283426 h 4687251"/>
              <a:gd name="connsiteX30692" fmla="*/ 1965236 w 8079933"/>
              <a:gd name="connsiteY30692" fmla="*/ 2283967 h 4687251"/>
              <a:gd name="connsiteX30693" fmla="*/ 1958400 w 8079933"/>
              <a:gd name="connsiteY30693" fmla="*/ 2284942 h 4687251"/>
              <a:gd name="connsiteX30694" fmla="*/ 1957206 w 8079933"/>
              <a:gd name="connsiteY30694" fmla="*/ 2283210 h 4687251"/>
              <a:gd name="connsiteX30695" fmla="*/ 1957857 w 8079933"/>
              <a:gd name="connsiteY30695" fmla="*/ 2281369 h 4687251"/>
              <a:gd name="connsiteX30696" fmla="*/ 1958508 w 8079933"/>
              <a:gd name="connsiteY30696" fmla="*/ 2282993 h 4687251"/>
              <a:gd name="connsiteX30697" fmla="*/ 1959593 w 8079933"/>
              <a:gd name="connsiteY30697" fmla="*/ 2282560 h 4687251"/>
              <a:gd name="connsiteX30698" fmla="*/ 1958400 w 8079933"/>
              <a:gd name="connsiteY30698" fmla="*/ 2280286 h 4687251"/>
              <a:gd name="connsiteX30699" fmla="*/ 1956121 w 8079933"/>
              <a:gd name="connsiteY30699" fmla="*/ 2276930 h 4687251"/>
              <a:gd name="connsiteX30700" fmla="*/ 1950261 w 8079933"/>
              <a:gd name="connsiteY30700" fmla="*/ 2272924 h 4687251"/>
              <a:gd name="connsiteX30701" fmla="*/ 1951021 w 8079933"/>
              <a:gd name="connsiteY30701" fmla="*/ 2272599 h 4687251"/>
              <a:gd name="connsiteX30702" fmla="*/ 1954167 w 8079933"/>
              <a:gd name="connsiteY30702" fmla="*/ 2274115 h 4687251"/>
              <a:gd name="connsiteX30703" fmla="*/ 1954927 w 8079933"/>
              <a:gd name="connsiteY30703" fmla="*/ 2272491 h 4687251"/>
              <a:gd name="connsiteX30704" fmla="*/ 1950369 w 8079933"/>
              <a:gd name="connsiteY30704" fmla="*/ 2269351 h 4687251"/>
              <a:gd name="connsiteX30705" fmla="*/ 1949501 w 8079933"/>
              <a:gd name="connsiteY30705" fmla="*/ 2266861 h 4687251"/>
              <a:gd name="connsiteX30706" fmla="*/ 1947440 w 8079933"/>
              <a:gd name="connsiteY30706" fmla="*/ 2266536 h 4687251"/>
              <a:gd name="connsiteX30707" fmla="*/ 1946897 w 8079933"/>
              <a:gd name="connsiteY30707" fmla="*/ 2268702 h 4687251"/>
              <a:gd name="connsiteX30708" fmla="*/ 1949176 w 8079933"/>
              <a:gd name="connsiteY30708" fmla="*/ 2271949 h 4687251"/>
              <a:gd name="connsiteX30709" fmla="*/ 1945594 w 8079933"/>
              <a:gd name="connsiteY30709" fmla="*/ 2269892 h 4687251"/>
              <a:gd name="connsiteX30710" fmla="*/ 1941905 w 8079933"/>
              <a:gd name="connsiteY30710" fmla="*/ 2266536 h 4687251"/>
              <a:gd name="connsiteX30711" fmla="*/ 1935720 w 8079933"/>
              <a:gd name="connsiteY30711" fmla="*/ 2266536 h 4687251"/>
              <a:gd name="connsiteX30712" fmla="*/ 1929534 w 8079933"/>
              <a:gd name="connsiteY30712" fmla="*/ 2265670 h 4687251"/>
              <a:gd name="connsiteX30713" fmla="*/ 1930402 w 8079933"/>
              <a:gd name="connsiteY30713" fmla="*/ 2264479 h 4687251"/>
              <a:gd name="connsiteX30714" fmla="*/ 1936045 w 8079933"/>
              <a:gd name="connsiteY30714" fmla="*/ 2264912 h 4687251"/>
              <a:gd name="connsiteX30715" fmla="*/ 1938867 w 8079933"/>
              <a:gd name="connsiteY30715" fmla="*/ 2264046 h 4687251"/>
              <a:gd name="connsiteX30716" fmla="*/ 1937673 w 8079933"/>
              <a:gd name="connsiteY30716" fmla="*/ 2262530 h 4687251"/>
              <a:gd name="connsiteX30717" fmla="*/ 1932572 w 8079933"/>
              <a:gd name="connsiteY30717" fmla="*/ 2262206 h 4687251"/>
              <a:gd name="connsiteX30718" fmla="*/ 1927256 w 8079933"/>
              <a:gd name="connsiteY30718" fmla="*/ 2265886 h 4687251"/>
              <a:gd name="connsiteX30719" fmla="*/ 1925085 w 8079933"/>
              <a:gd name="connsiteY30719" fmla="*/ 2264804 h 4687251"/>
              <a:gd name="connsiteX30720" fmla="*/ 1917923 w 8079933"/>
              <a:gd name="connsiteY30720" fmla="*/ 2265670 h 4687251"/>
              <a:gd name="connsiteX30721" fmla="*/ 1915210 w 8079933"/>
              <a:gd name="connsiteY30721" fmla="*/ 2263721 h 4687251"/>
              <a:gd name="connsiteX30722" fmla="*/ 1911737 w 8079933"/>
              <a:gd name="connsiteY30722" fmla="*/ 2265129 h 4687251"/>
              <a:gd name="connsiteX30723" fmla="*/ 1905010 w 8079933"/>
              <a:gd name="connsiteY30723" fmla="*/ 2264804 h 4687251"/>
              <a:gd name="connsiteX30724" fmla="*/ 1901211 w 8079933"/>
              <a:gd name="connsiteY30724" fmla="*/ 2266428 h 4687251"/>
              <a:gd name="connsiteX30725" fmla="*/ 1896545 w 8079933"/>
              <a:gd name="connsiteY30725" fmla="*/ 2262422 h 4687251"/>
              <a:gd name="connsiteX30726" fmla="*/ 1896437 w 8079933"/>
              <a:gd name="connsiteY30726" fmla="*/ 2259715 h 4687251"/>
              <a:gd name="connsiteX30727" fmla="*/ 1897088 w 8079933"/>
              <a:gd name="connsiteY30727" fmla="*/ 2256575 h 4687251"/>
              <a:gd name="connsiteX30728" fmla="*/ 1894158 w 8079933"/>
              <a:gd name="connsiteY30728" fmla="*/ 2256033 h 4687251"/>
              <a:gd name="connsiteX30729" fmla="*/ 1892096 w 8079933"/>
              <a:gd name="connsiteY30729" fmla="*/ 2260148 h 4687251"/>
              <a:gd name="connsiteX30730" fmla="*/ 1889817 w 8079933"/>
              <a:gd name="connsiteY30730" fmla="*/ 2263938 h 4687251"/>
              <a:gd name="connsiteX30731" fmla="*/ 1886453 w 8079933"/>
              <a:gd name="connsiteY30731" fmla="*/ 2263288 h 4687251"/>
              <a:gd name="connsiteX30732" fmla="*/ 1883523 w 8079933"/>
              <a:gd name="connsiteY30732" fmla="*/ 2264371 h 4687251"/>
              <a:gd name="connsiteX30733" fmla="*/ 1878097 w 8079933"/>
              <a:gd name="connsiteY30733" fmla="*/ 2263504 h 4687251"/>
              <a:gd name="connsiteX30734" fmla="*/ 1863990 w 8079933"/>
              <a:gd name="connsiteY30734" fmla="*/ 2265994 h 4687251"/>
              <a:gd name="connsiteX30735" fmla="*/ 1860084 w 8079933"/>
              <a:gd name="connsiteY30735" fmla="*/ 2269459 h 4687251"/>
              <a:gd name="connsiteX30736" fmla="*/ 1852162 w 8079933"/>
              <a:gd name="connsiteY30736" fmla="*/ 2272708 h 4687251"/>
              <a:gd name="connsiteX30737" fmla="*/ 1847821 w 8079933"/>
              <a:gd name="connsiteY30737" fmla="*/ 2277255 h 4687251"/>
              <a:gd name="connsiteX30738" fmla="*/ 1847821 w 8079933"/>
              <a:gd name="connsiteY30738" fmla="*/ 2280503 h 4687251"/>
              <a:gd name="connsiteX30739" fmla="*/ 1850968 w 8079933"/>
              <a:gd name="connsiteY30739" fmla="*/ 2279312 h 4687251"/>
              <a:gd name="connsiteX30740" fmla="*/ 1853681 w 8079933"/>
              <a:gd name="connsiteY30740" fmla="*/ 2276497 h 4687251"/>
              <a:gd name="connsiteX30741" fmla="*/ 1855201 w 8079933"/>
              <a:gd name="connsiteY30741" fmla="*/ 2276822 h 4687251"/>
              <a:gd name="connsiteX30742" fmla="*/ 1856937 w 8079933"/>
              <a:gd name="connsiteY30742" fmla="*/ 2279096 h 4687251"/>
              <a:gd name="connsiteX30743" fmla="*/ 1861060 w 8079933"/>
              <a:gd name="connsiteY30743" fmla="*/ 2280828 h 4687251"/>
              <a:gd name="connsiteX30744" fmla="*/ 1859541 w 8079933"/>
              <a:gd name="connsiteY30744" fmla="*/ 2282560 h 4687251"/>
              <a:gd name="connsiteX30745" fmla="*/ 1851945 w 8079933"/>
              <a:gd name="connsiteY30745" fmla="*/ 2285483 h 4687251"/>
              <a:gd name="connsiteX30746" fmla="*/ 1852162 w 8079933"/>
              <a:gd name="connsiteY30746" fmla="*/ 2289598 h 4687251"/>
              <a:gd name="connsiteX30747" fmla="*/ 1853464 w 8079933"/>
              <a:gd name="connsiteY30747" fmla="*/ 2293063 h 4687251"/>
              <a:gd name="connsiteX30748" fmla="*/ 1861060 w 8079933"/>
              <a:gd name="connsiteY30748" fmla="*/ 2295553 h 4687251"/>
              <a:gd name="connsiteX30749" fmla="*/ 1866811 w 8079933"/>
              <a:gd name="connsiteY30749" fmla="*/ 2299883 h 4687251"/>
              <a:gd name="connsiteX30750" fmla="*/ 1866378 w 8079933"/>
              <a:gd name="connsiteY30750" fmla="*/ 2301399 h 4687251"/>
              <a:gd name="connsiteX30751" fmla="*/ 1862797 w 8079933"/>
              <a:gd name="connsiteY30751" fmla="*/ 2302482 h 4687251"/>
              <a:gd name="connsiteX30752" fmla="*/ 1861277 w 8079933"/>
              <a:gd name="connsiteY30752" fmla="*/ 2305405 h 4687251"/>
              <a:gd name="connsiteX30753" fmla="*/ 1861060 w 8079933"/>
              <a:gd name="connsiteY30753" fmla="*/ 2300750 h 4687251"/>
              <a:gd name="connsiteX30754" fmla="*/ 1858673 w 8079933"/>
              <a:gd name="connsiteY30754" fmla="*/ 2299234 h 4687251"/>
              <a:gd name="connsiteX30755" fmla="*/ 1855960 w 8079933"/>
              <a:gd name="connsiteY30755" fmla="*/ 2299559 h 4687251"/>
              <a:gd name="connsiteX30756" fmla="*/ 1853464 w 8079933"/>
              <a:gd name="connsiteY30756" fmla="*/ 2296310 h 4687251"/>
              <a:gd name="connsiteX30757" fmla="*/ 1850100 w 8079933"/>
              <a:gd name="connsiteY30757" fmla="*/ 2294903 h 4687251"/>
              <a:gd name="connsiteX30758" fmla="*/ 1846628 w 8079933"/>
              <a:gd name="connsiteY30758" fmla="*/ 2289706 h 4687251"/>
              <a:gd name="connsiteX30759" fmla="*/ 1842287 w 8079933"/>
              <a:gd name="connsiteY30759" fmla="*/ 2290139 h 4687251"/>
              <a:gd name="connsiteX30760" fmla="*/ 1844348 w 8079933"/>
              <a:gd name="connsiteY30760" fmla="*/ 2294037 h 4687251"/>
              <a:gd name="connsiteX30761" fmla="*/ 1844240 w 8079933"/>
              <a:gd name="connsiteY30761" fmla="*/ 2299883 h 4687251"/>
              <a:gd name="connsiteX30762" fmla="*/ 1840550 w 8079933"/>
              <a:gd name="connsiteY30762" fmla="*/ 2301940 h 4687251"/>
              <a:gd name="connsiteX30763" fmla="*/ 1838706 w 8079933"/>
              <a:gd name="connsiteY30763" fmla="*/ 2298909 h 4687251"/>
              <a:gd name="connsiteX30764" fmla="*/ 1834691 w 8079933"/>
              <a:gd name="connsiteY30764" fmla="*/ 2296094 h 4687251"/>
              <a:gd name="connsiteX30765" fmla="*/ 1831218 w 8079933"/>
              <a:gd name="connsiteY30765" fmla="*/ 2298692 h 4687251"/>
              <a:gd name="connsiteX30766" fmla="*/ 1828831 w 8079933"/>
              <a:gd name="connsiteY30766" fmla="*/ 2301399 h 4687251"/>
              <a:gd name="connsiteX30767" fmla="*/ 1822862 w 8079933"/>
              <a:gd name="connsiteY30767" fmla="*/ 2299667 h 4687251"/>
              <a:gd name="connsiteX30768" fmla="*/ 1819607 w 8079933"/>
              <a:gd name="connsiteY30768" fmla="*/ 2297610 h 4687251"/>
              <a:gd name="connsiteX30769" fmla="*/ 1815592 w 8079933"/>
              <a:gd name="connsiteY30769" fmla="*/ 2298367 h 4687251"/>
              <a:gd name="connsiteX30770" fmla="*/ 1813096 w 8079933"/>
              <a:gd name="connsiteY30770" fmla="*/ 2297177 h 4687251"/>
              <a:gd name="connsiteX30771" fmla="*/ 1814941 w 8079933"/>
              <a:gd name="connsiteY30771" fmla="*/ 2294795 h 4687251"/>
              <a:gd name="connsiteX30772" fmla="*/ 1818196 w 8079933"/>
              <a:gd name="connsiteY30772" fmla="*/ 2292304 h 4687251"/>
              <a:gd name="connsiteX30773" fmla="*/ 1816569 w 8079933"/>
              <a:gd name="connsiteY30773" fmla="*/ 2289706 h 4687251"/>
              <a:gd name="connsiteX30774" fmla="*/ 1811685 w 8079933"/>
              <a:gd name="connsiteY30774" fmla="*/ 2290247 h 4687251"/>
              <a:gd name="connsiteX30775" fmla="*/ 1810275 w 8079933"/>
              <a:gd name="connsiteY30775" fmla="*/ 2288406 h 4687251"/>
              <a:gd name="connsiteX30776" fmla="*/ 1810275 w 8079933"/>
              <a:gd name="connsiteY30776" fmla="*/ 2284834 h 4687251"/>
              <a:gd name="connsiteX30777" fmla="*/ 1808646 w 8079933"/>
              <a:gd name="connsiteY30777" fmla="*/ 2283102 h 4687251"/>
              <a:gd name="connsiteX30778" fmla="*/ 1805391 w 8079933"/>
              <a:gd name="connsiteY30778" fmla="*/ 2284401 h 4687251"/>
              <a:gd name="connsiteX30779" fmla="*/ 1802787 w 8079933"/>
              <a:gd name="connsiteY30779" fmla="*/ 2283535 h 4687251"/>
              <a:gd name="connsiteX30780" fmla="*/ 1804632 w 8079933"/>
              <a:gd name="connsiteY30780" fmla="*/ 2280720 h 4687251"/>
              <a:gd name="connsiteX30781" fmla="*/ 1802027 w 8079933"/>
              <a:gd name="connsiteY30781" fmla="*/ 2279637 h 4687251"/>
              <a:gd name="connsiteX30782" fmla="*/ 1797252 w 8079933"/>
              <a:gd name="connsiteY30782" fmla="*/ 2281369 h 4687251"/>
              <a:gd name="connsiteX30783" fmla="*/ 1796819 w 8079933"/>
              <a:gd name="connsiteY30783" fmla="*/ 2283859 h 4687251"/>
              <a:gd name="connsiteX30784" fmla="*/ 1797687 w 8079933"/>
              <a:gd name="connsiteY30784" fmla="*/ 2286783 h 4687251"/>
              <a:gd name="connsiteX30785" fmla="*/ 1793346 w 8079933"/>
              <a:gd name="connsiteY30785" fmla="*/ 2287324 h 4687251"/>
              <a:gd name="connsiteX30786" fmla="*/ 1779564 w 8079933"/>
              <a:gd name="connsiteY30786" fmla="*/ 2286025 h 4687251"/>
              <a:gd name="connsiteX30787" fmla="*/ 1777719 w 8079933"/>
              <a:gd name="connsiteY30787" fmla="*/ 2283751 h 4687251"/>
              <a:gd name="connsiteX30788" fmla="*/ 1766542 w 8079933"/>
              <a:gd name="connsiteY30788" fmla="*/ 2281044 h 4687251"/>
              <a:gd name="connsiteX30789" fmla="*/ 1760249 w 8079933"/>
              <a:gd name="connsiteY30789" fmla="*/ 2281044 h 4687251"/>
              <a:gd name="connsiteX30790" fmla="*/ 1752218 w 8079933"/>
              <a:gd name="connsiteY30790" fmla="*/ 2282669 h 4687251"/>
              <a:gd name="connsiteX30791" fmla="*/ 1748963 w 8079933"/>
              <a:gd name="connsiteY30791" fmla="*/ 2284942 h 4687251"/>
              <a:gd name="connsiteX30792" fmla="*/ 1745490 w 8079933"/>
              <a:gd name="connsiteY30792" fmla="*/ 2285267 h 4687251"/>
              <a:gd name="connsiteX30793" fmla="*/ 1741475 w 8079933"/>
              <a:gd name="connsiteY30793" fmla="*/ 2291005 h 4687251"/>
              <a:gd name="connsiteX30794" fmla="*/ 1736158 w 8079933"/>
              <a:gd name="connsiteY30794" fmla="*/ 2291655 h 4687251"/>
              <a:gd name="connsiteX30795" fmla="*/ 1737026 w 8079933"/>
              <a:gd name="connsiteY30795" fmla="*/ 2287324 h 4687251"/>
              <a:gd name="connsiteX30796" fmla="*/ 1735832 w 8079933"/>
              <a:gd name="connsiteY30796" fmla="*/ 2283751 h 4687251"/>
              <a:gd name="connsiteX30797" fmla="*/ 1738545 w 8079933"/>
              <a:gd name="connsiteY30797" fmla="*/ 2279961 h 4687251"/>
              <a:gd name="connsiteX30798" fmla="*/ 1736917 w 8079933"/>
              <a:gd name="connsiteY30798" fmla="*/ 2274981 h 4687251"/>
              <a:gd name="connsiteX30799" fmla="*/ 1736483 w 8079933"/>
              <a:gd name="connsiteY30799" fmla="*/ 2277904 h 4687251"/>
              <a:gd name="connsiteX30800" fmla="*/ 1731817 w 8079933"/>
              <a:gd name="connsiteY30800" fmla="*/ 2281802 h 4687251"/>
              <a:gd name="connsiteX30801" fmla="*/ 1729430 w 8079933"/>
              <a:gd name="connsiteY30801" fmla="*/ 2281802 h 4687251"/>
              <a:gd name="connsiteX30802" fmla="*/ 1726825 w 8079933"/>
              <a:gd name="connsiteY30802" fmla="*/ 2278446 h 4687251"/>
              <a:gd name="connsiteX30803" fmla="*/ 1729646 w 8079933"/>
              <a:gd name="connsiteY30803" fmla="*/ 2285483 h 4687251"/>
              <a:gd name="connsiteX30804" fmla="*/ 1729430 w 8079933"/>
              <a:gd name="connsiteY30804" fmla="*/ 2290247 h 4687251"/>
              <a:gd name="connsiteX30805" fmla="*/ 1730515 w 8079933"/>
              <a:gd name="connsiteY30805" fmla="*/ 2295120 h 4687251"/>
              <a:gd name="connsiteX30806" fmla="*/ 1727368 w 8079933"/>
              <a:gd name="connsiteY30806" fmla="*/ 2297718 h 4687251"/>
              <a:gd name="connsiteX30807" fmla="*/ 1724329 w 8079933"/>
              <a:gd name="connsiteY30807" fmla="*/ 2297718 h 4687251"/>
              <a:gd name="connsiteX30808" fmla="*/ 1716733 w 8079933"/>
              <a:gd name="connsiteY30808" fmla="*/ 2304539 h 4687251"/>
              <a:gd name="connsiteX30809" fmla="*/ 1706532 w 8079933"/>
              <a:gd name="connsiteY30809" fmla="*/ 2309520 h 4687251"/>
              <a:gd name="connsiteX30810" fmla="*/ 1703385 w 8079933"/>
              <a:gd name="connsiteY30810" fmla="*/ 2309303 h 4687251"/>
              <a:gd name="connsiteX30811" fmla="*/ 1698936 w 8079933"/>
              <a:gd name="connsiteY30811" fmla="*/ 2313201 h 4687251"/>
              <a:gd name="connsiteX30812" fmla="*/ 1695681 w 8079933"/>
              <a:gd name="connsiteY30812" fmla="*/ 2313526 h 4687251"/>
              <a:gd name="connsiteX30813" fmla="*/ 1699804 w 8079933"/>
              <a:gd name="connsiteY30813" fmla="*/ 2309844 h 4687251"/>
              <a:gd name="connsiteX30814" fmla="*/ 1696223 w 8079933"/>
              <a:gd name="connsiteY30814" fmla="*/ 2307246 h 4687251"/>
              <a:gd name="connsiteX30815" fmla="*/ 1693945 w 8079933"/>
              <a:gd name="connsiteY30815" fmla="*/ 2308545 h 4687251"/>
              <a:gd name="connsiteX30816" fmla="*/ 1692208 w 8079933"/>
              <a:gd name="connsiteY30816" fmla="*/ 2307246 h 4687251"/>
              <a:gd name="connsiteX30817" fmla="*/ 1687759 w 8079933"/>
              <a:gd name="connsiteY30817" fmla="*/ 2309844 h 4687251"/>
              <a:gd name="connsiteX30818" fmla="*/ 1690363 w 8079933"/>
              <a:gd name="connsiteY30818" fmla="*/ 2312226 h 4687251"/>
              <a:gd name="connsiteX30819" fmla="*/ 1685372 w 8079933"/>
              <a:gd name="connsiteY30819" fmla="*/ 2314175 h 4687251"/>
              <a:gd name="connsiteX30820" fmla="*/ 1682767 w 8079933"/>
              <a:gd name="connsiteY30820" fmla="*/ 2312118 h 4687251"/>
              <a:gd name="connsiteX30821" fmla="*/ 1683093 w 8079933"/>
              <a:gd name="connsiteY30821" fmla="*/ 2318073 h 4687251"/>
              <a:gd name="connsiteX30822" fmla="*/ 1678752 w 8079933"/>
              <a:gd name="connsiteY30822" fmla="*/ 2320130 h 4687251"/>
              <a:gd name="connsiteX30823" fmla="*/ 1676365 w 8079933"/>
              <a:gd name="connsiteY30823" fmla="*/ 2318614 h 4687251"/>
              <a:gd name="connsiteX30824" fmla="*/ 1672133 w 8079933"/>
              <a:gd name="connsiteY30824" fmla="*/ 2323920 h 4687251"/>
              <a:gd name="connsiteX30825" fmla="*/ 1674846 w 8079933"/>
              <a:gd name="connsiteY30825" fmla="*/ 2327059 h 4687251"/>
              <a:gd name="connsiteX30826" fmla="*/ 1670071 w 8079933"/>
              <a:gd name="connsiteY30826" fmla="*/ 2330849 h 4687251"/>
              <a:gd name="connsiteX30827" fmla="*/ 1666598 w 8079933"/>
              <a:gd name="connsiteY30827" fmla="*/ 2332365 h 4687251"/>
              <a:gd name="connsiteX30828" fmla="*/ 1668118 w 8079933"/>
              <a:gd name="connsiteY30828" fmla="*/ 2341459 h 4687251"/>
              <a:gd name="connsiteX30829" fmla="*/ 1664862 w 8079933"/>
              <a:gd name="connsiteY30829" fmla="*/ 2346115 h 4687251"/>
              <a:gd name="connsiteX30830" fmla="*/ 1662800 w 8079933"/>
              <a:gd name="connsiteY30830" fmla="*/ 2353044 h 4687251"/>
              <a:gd name="connsiteX30831" fmla="*/ 1659979 w 8079933"/>
              <a:gd name="connsiteY30831" fmla="*/ 2358891 h 4687251"/>
              <a:gd name="connsiteX30832" fmla="*/ 1662041 w 8079933"/>
              <a:gd name="connsiteY30832" fmla="*/ 2362464 h 4687251"/>
              <a:gd name="connsiteX30833" fmla="*/ 1661607 w 8079933"/>
              <a:gd name="connsiteY30833" fmla="*/ 2372750 h 4687251"/>
              <a:gd name="connsiteX30834" fmla="*/ 1662800 w 8079933"/>
              <a:gd name="connsiteY30834" fmla="*/ 2376106 h 4687251"/>
              <a:gd name="connsiteX30835" fmla="*/ 1661281 w 8079933"/>
              <a:gd name="connsiteY30835" fmla="*/ 2381195 h 4687251"/>
              <a:gd name="connsiteX30836" fmla="*/ 1658785 w 8079933"/>
              <a:gd name="connsiteY30836" fmla="*/ 2388233 h 4687251"/>
              <a:gd name="connsiteX30837" fmla="*/ 1656723 w 8079933"/>
              <a:gd name="connsiteY30837" fmla="*/ 2387258 h 4687251"/>
              <a:gd name="connsiteX30838" fmla="*/ 1655204 w 8079933"/>
              <a:gd name="connsiteY30838" fmla="*/ 2384335 h 4687251"/>
              <a:gd name="connsiteX30839" fmla="*/ 1650863 w 8079933"/>
              <a:gd name="connsiteY30839" fmla="*/ 2383252 h 4687251"/>
              <a:gd name="connsiteX30840" fmla="*/ 1646414 w 8079933"/>
              <a:gd name="connsiteY30840" fmla="*/ 2380978 h 4687251"/>
              <a:gd name="connsiteX30841" fmla="*/ 1638601 w 8079933"/>
              <a:gd name="connsiteY30841" fmla="*/ 2378380 h 4687251"/>
              <a:gd name="connsiteX30842" fmla="*/ 1634694 w 8079933"/>
              <a:gd name="connsiteY30842" fmla="*/ 2374590 h 4687251"/>
              <a:gd name="connsiteX30843" fmla="*/ 1631656 w 8079933"/>
              <a:gd name="connsiteY30843" fmla="*/ 2372858 h 4687251"/>
              <a:gd name="connsiteX30844" fmla="*/ 1634694 w 8079933"/>
              <a:gd name="connsiteY30844" fmla="*/ 2374590 h 4687251"/>
              <a:gd name="connsiteX30845" fmla="*/ 1638600 w 8079933"/>
              <a:gd name="connsiteY30845" fmla="*/ 2378380 h 4687251"/>
              <a:gd name="connsiteX30846" fmla="*/ 1646413 w 8079933"/>
              <a:gd name="connsiteY30846" fmla="*/ 2380978 h 4687251"/>
              <a:gd name="connsiteX30847" fmla="*/ 1650863 w 8079933"/>
              <a:gd name="connsiteY30847" fmla="*/ 2383252 h 4687251"/>
              <a:gd name="connsiteX30848" fmla="*/ 1655204 w 8079933"/>
              <a:gd name="connsiteY30848" fmla="*/ 2384335 h 4687251"/>
              <a:gd name="connsiteX30849" fmla="*/ 1656722 w 8079933"/>
              <a:gd name="connsiteY30849" fmla="*/ 2387258 h 4687251"/>
              <a:gd name="connsiteX30850" fmla="*/ 1658785 w 8079933"/>
              <a:gd name="connsiteY30850" fmla="*/ 2388233 h 4687251"/>
              <a:gd name="connsiteX30851" fmla="*/ 1657591 w 8079933"/>
              <a:gd name="connsiteY30851" fmla="*/ 2391697 h 4687251"/>
              <a:gd name="connsiteX30852" fmla="*/ 1661715 w 8079933"/>
              <a:gd name="connsiteY30852" fmla="*/ 2388990 h 4687251"/>
              <a:gd name="connsiteX30853" fmla="*/ 1663125 w 8079933"/>
              <a:gd name="connsiteY30853" fmla="*/ 2382061 h 4687251"/>
              <a:gd name="connsiteX30854" fmla="*/ 1666381 w 8079933"/>
              <a:gd name="connsiteY30854" fmla="*/ 2379354 h 4687251"/>
              <a:gd name="connsiteX30855" fmla="*/ 1665730 w 8079933"/>
              <a:gd name="connsiteY30855" fmla="*/ 2381737 h 4687251"/>
              <a:gd name="connsiteX30856" fmla="*/ 1664970 w 8079933"/>
              <a:gd name="connsiteY30856" fmla="*/ 2387908 h 4687251"/>
              <a:gd name="connsiteX30857" fmla="*/ 1663125 w 8079933"/>
              <a:gd name="connsiteY30857" fmla="*/ 2389965 h 4687251"/>
              <a:gd name="connsiteX30858" fmla="*/ 1661715 w 8079933"/>
              <a:gd name="connsiteY30858" fmla="*/ 2395270 h 4687251"/>
              <a:gd name="connsiteX30859" fmla="*/ 1658134 w 8079933"/>
              <a:gd name="connsiteY30859" fmla="*/ 2400467 h 4687251"/>
              <a:gd name="connsiteX30860" fmla="*/ 1657482 w 8079933"/>
              <a:gd name="connsiteY30860" fmla="*/ 2404581 h 4687251"/>
              <a:gd name="connsiteX30861" fmla="*/ 1654661 w 8079933"/>
              <a:gd name="connsiteY30861" fmla="*/ 2404906 h 4687251"/>
              <a:gd name="connsiteX30862" fmla="*/ 1655529 w 8079933"/>
              <a:gd name="connsiteY30862" fmla="*/ 2402524 h 4687251"/>
              <a:gd name="connsiteX30863" fmla="*/ 1656289 w 8079933"/>
              <a:gd name="connsiteY30863" fmla="*/ 2398194 h 4687251"/>
              <a:gd name="connsiteX30864" fmla="*/ 1652056 w 8079933"/>
              <a:gd name="connsiteY30864" fmla="*/ 2397869 h 4687251"/>
              <a:gd name="connsiteX30865" fmla="*/ 1652056 w 8079933"/>
              <a:gd name="connsiteY30865" fmla="*/ 2404581 h 4687251"/>
              <a:gd name="connsiteX30866" fmla="*/ 1649126 w 8079933"/>
              <a:gd name="connsiteY30866" fmla="*/ 2408155 h 4687251"/>
              <a:gd name="connsiteX30867" fmla="*/ 1652274 w 8079933"/>
              <a:gd name="connsiteY30867" fmla="*/ 2410645 h 4687251"/>
              <a:gd name="connsiteX30868" fmla="*/ 1651188 w 8079933"/>
              <a:gd name="connsiteY30868" fmla="*/ 2412810 h 4687251"/>
              <a:gd name="connsiteX30869" fmla="*/ 1649669 w 8079933"/>
              <a:gd name="connsiteY30869" fmla="*/ 2419523 h 4687251"/>
              <a:gd name="connsiteX30870" fmla="*/ 1647281 w 8079933"/>
              <a:gd name="connsiteY30870" fmla="*/ 2421904 h 4687251"/>
              <a:gd name="connsiteX30871" fmla="*/ 1647281 w 8079933"/>
              <a:gd name="connsiteY30871" fmla="*/ 2427643 h 4687251"/>
              <a:gd name="connsiteX30872" fmla="*/ 1648801 w 8079933"/>
              <a:gd name="connsiteY30872" fmla="*/ 2429700 h 4687251"/>
              <a:gd name="connsiteX30873" fmla="*/ 1647065 w 8079933"/>
              <a:gd name="connsiteY30873" fmla="*/ 2432948 h 4687251"/>
              <a:gd name="connsiteX30874" fmla="*/ 1647390 w 8079933"/>
              <a:gd name="connsiteY30874" fmla="*/ 2436413 h 4687251"/>
              <a:gd name="connsiteX30875" fmla="*/ 1644895 w 8079933"/>
              <a:gd name="connsiteY30875" fmla="*/ 2448214 h 4687251"/>
              <a:gd name="connsiteX30876" fmla="*/ 1646088 w 8079933"/>
              <a:gd name="connsiteY30876" fmla="*/ 2455685 h 4687251"/>
              <a:gd name="connsiteX30877" fmla="*/ 1644895 w 8079933"/>
              <a:gd name="connsiteY30877" fmla="*/ 2466946 h 4687251"/>
              <a:gd name="connsiteX30878" fmla="*/ 1641097 w 8079933"/>
              <a:gd name="connsiteY30878" fmla="*/ 2471926 h 4687251"/>
              <a:gd name="connsiteX30879" fmla="*/ 1642290 w 8079933"/>
              <a:gd name="connsiteY30879" fmla="*/ 2475715 h 4687251"/>
              <a:gd name="connsiteX30880" fmla="*/ 1643809 w 8079933"/>
              <a:gd name="connsiteY30880" fmla="*/ 2484810 h 4687251"/>
              <a:gd name="connsiteX30881" fmla="*/ 1643158 w 8079933"/>
              <a:gd name="connsiteY30881" fmla="*/ 2490007 h 4687251"/>
              <a:gd name="connsiteX30882" fmla="*/ 1649344 w 8079933"/>
              <a:gd name="connsiteY30882" fmla="*/ 2499860 h 4687251"/>
              <a:gd name="connsiteX30883" fmla="*/ 1649452 w 8079933"/>
              <a:gd name="connsiteY30883" fmla="*/ 2506897 h 4687251"/>
              <a:gd name="connsiteX30884" fmla="*/ 1647933 w 8079933"/>
              <a:gd name="connsiteY30884" fmla="*/ 2508196 h 4687251"/>
              <a:gd name="connsiteX30885" fmla="*/ 1647281 w 8079933"/>
              <a:gd name="connsiteY30885" fmla="*/ 2499860 h 4687251"/>
              <a:gd name="connsiteX30886" fmla="*/ 1641965 w 8079933"/>
              <a:gd name="connsiteY30886" fmla="*/ 2492930 h 4687251"/>
              <a:gd name="connsiteX30887" fmla="*/ 1641205 w 8079933"/>
              <a:gd name="connsiteY30887" fmla="*/ 2498127 h 4687251"/>
              <a:gd name="connsiteX30888" fmla="*/ 1644895 w 8079933"/>
              <a:gd name="connsiteY30888" fmla="*/ 2501375 h 4687251"/>
              <a:gd name="connsiteX30889" fmla="*/ 1647608 w 8079933"/>
              <a:gd name="connsiteY30889" fmla="*/ 2511119 h 4687251"/>
              <a:gd name="connsiteX30890" fmla="*/ 1648801 w 8079933"/>
              <a:gd name="connsiteY30890" fmla="*/ 2514476 h 4687251"/>
              <a:gd name="connsiteX30891" fmla="*/ 1647065 w 8079933"/>
              <a:gd name="connsiteY30891" fmla="*/ 2517724 h 4687251"/>
              <a:gd name="connsiteX30892" fmla="*/ 1649886 w 8079933"/>
              <a:gd name="connsiteY30892" fmla="*/ 2521838 h 4687251"/>
              <a:gd name="connsiteX30893" fmla="*/ 1650863 w 8079933"/>
              <a:gd name="connsiteY30893" fmla="*/ 2526494 h 4687251"/>
              <a:gd name="connsiteX30894" fmla="*/ 1663993 w 8079933"/>
              <a:gd name="connsiteY30894" fmla="*/ 2540569 h 4687251"/>
              <a:gd name="connsiteX30895" fmla="*/ 1666163 w 8079933"/>
              <a:gd name="connsiteY30895" fmla="*/ 2545874 h 4687251"/>
              <a:gd name="connsiteX30896" fmla="*/ 1670613 w 8079933"/>
              <a:gd name="connsiteY30896" fmla="*/ 2552371 h 4687251"/>
              <a:gd name="connsiteX30897" fmla="*/ 1670179 w 8079933"/>
              <a:gd name="connsiteY30897" fmla="*/ 2555943 h 4687251"/>
              <a:gd name="connsiteX30898" fmla="*/ 1671481 w 8079933"/>
              <a:gd name="connsiteY30898" fmla="*/ 2559841 h 4687251"/>
              <a:gd name="connsiteX30899" fmla="*/ 1681465 w 8079933"/>
              <a:gd name="connsiteY30899" fmla="*/ 2571643 h 4687251"/>
              <a:gd name="connsiteX30900" fmla="*/ 1684611 w 8079933"/>
              <a:gd name="connsiteY30900" fmla="*/ 2575000 h 4687251"/>
              <a:gd name="connsiteX30901" fmla="*/ 1686890 w 8079933"/>
              <a:gd name="connsiteY30901" fmla="*/ 2574458 h 4687251"/>
              <a:gd name="connsiteX30902" fmla="*/ 1693510 w 8079933"/>
              <a:gd name="connsiteY30902" fmla="*/ 2574566 h 4687251"/>
              <a:gd name="connsiteX30903" fmla="*/ 1695029 w 8079933"/>
              <a:gd name="connsiteY30903" fmla="*/ 2576407 h 4687251"/>
              <a:gd name="connsiteX30904" fmla="*/ 1701974 w 8079933"/>
              <a:gd name="connsiteY30904" fmla="*/ 2579330 h 4687251"/>
              <a:gd name="connsiteX30905" fmla="*/ 1707400 w 8079933"/>
              <a:gd name="connsiteY30905" fmla="*/ 2586909 h 4687251"/>
              <a:gd name="connsiteX30906" fmla="*/ 1709244 w 8079933"/>
              <a:gd name="connsiteY30906" fmla="*/ 2592864 h 4687251"/>
              <a:gd name="connsiteX30907" fmla="*/ 1714996 w 8079933"/>
              <a:gd name="connsiteY30907" fmla="*/ 2590265 h 4687251"/>
              <a:gd name="connsiteX30908" fmla="*/ 1723026 w 8079933"/>
              <a:gd name="connsiteY30908" fmla="*/ 2588533 h 4687251"/>
              <a:gd name="connsiteX30909" fmla="*/ 1725088 w 8079933"/>
              <a:gd name="connsiteY30909" fmla="*/ 2590915 h 4687251"/>
              <a:gd name="connsiteX30910" fmla="*/ 1727909 w 8079933"/>
              <a:gd name="connsiteY30910" fmla="*/ 2590915 h 4687251"/>
              <a:gd name="connsiteX30911" fmla="*/ 1737893 w 8079933"/>
              <a:gd name="connsiteY30911" fmla="*/ 2585285 h 4687251"/>
              <a:gd name="connsiteX30912" fmla="*/ 1739304 w 8079933"/>
              <a:gd name="connsiteY30912" fmla="*/ 2583228 h 4687251"/>
              <a:gd name="connsiteX30913" fmla="*/ 1747768 w 8079933"/>
              <a:gd name="connsiteY30913" fmla="*/ 2582470 h 4687251"/>
              <a:gd name="connsiteX30914" fmla="*/ 1753194 w 8079933"/>
              <a:gd name="connsiteY30914" fmla="*/ 2582362 h 4687251"/>
              <a:gd name="connsiteX30915" fmla="*/ 1757535 w 8079933"/>
              <a:gd name="connsiteY30915" fmla="*/ 2578680 h 4687251"/>
              <a:gd name="connsiteX30916" fmla="*/ 1763937 w 8079933"/>
              <a:gd name="connsiteY30916" fmla="*/ 2578572 h 4687251"/>
              <a:gd name="connsiteX30917" fmla="*/ 1769038 w 8079933"/>
              <a:gd name="connsiteY30917" fmla="*/ 2580088 h 4687251"/>
              <a:gd name="connsiteX30918" fmla="*/ 1771099 w 8079933"/>
              <a:gd name="connsiteY30918" fmla="*/ 2577381 h 4687251"/>
              <a:gd name="connsiteX30919" fmla="*/ 1777827 w 8079933"/>
              <a:gd name="connsiteY30919" fmla="*/ 2579222 h 4687251"/>
              <a:gd name="connsiteX30920" fmla="*/ 1773269 w 8079933"/>
              <a:gd name="connsiteY30920" fmla="*/ 2581604 h 4687251"/>
              <a:gd name="connsiteX30921" fmla="*/ 1771967 w 8079933"/>
              <a:gd name="connsiteY30921" fmla="*/ 2584527 h 4687251"/>
              <a:gd name="connsiteX30922" fmla="*/ 1777502 w 8079933"/>
              <a:gd name="connsiteY30922" fmla="*/ 2587018 h 4687251"/>
              <a:gd name="connsiteX30923" fmla="*/ 1780323 w 8079933"/>
              <a:gd name="connsiteY30923" fmla="*/ 2589724 h 4687251"/>
              <a:gd name="connsiteX30924" fmla="*/ 1781300 w 8079933"/>
              <a:gd name="connsiteY30924" fmla="*/ 2587126 h 4687251"/>
              <a:gd name="connsiteX30925" fmla="*/ 1784121 w 8079933"/>
              <a:gd name="connsiteY30925" fmla="*/ 2587018 h 4687251"/>
              <a:gd name="connsiteX30926" fmla="*/ 1788679 w 8079933"/>
              <a:gd name="connsiteY30926" fmla="*/ 2581496 h 4687251"/>
              <a:gd name="connsiteX30927" fmla="*/ 1788896 w 8079933"/>
              <a:gd name="connsiteY30927" fmla="*/ 2574566 h 4687251"/>
              <a:gd name="connsiteX30928" fmla="*/ 1790089 w 8079933"/>
              <a:gd name="connsiteY30928" fmla="*/ 2570452 h 4687251"/>
              <a:gd name="connsiteX30929" fmla="*/ 1785423 w 8079933"/>
              <a:gd name="connsiteY30929" fmla="*/ 2573592 h 4687251"/>
              <a:gd name="connsiteX30930" fmla="*/ 1784555 w 8079933"/>
              <a:gd name="connsiteY30930" fmla="*/ 2572725 h 4687251"/>
              <a:gd name="connsiteX30931" fmla="*/ 1795299 w 8079933"/>
              <a:gd name="connsiteY30931" fmla="*/ 2566987 h 4687251"/>
              <a:gd name="connsiteX30932" fmla="*/ 1798880 w 8079933"/>
              <a:gd name="connsiteY30932" fmla="*/ 2566229 h 4687251"/>
              <a:gd name="connsiteX30933" fmla="*/ 1803437 w 8079933"/>
              <a:gd name="connsiteY30933" fmla="*/ 2560707 h 4687251"/>
              <a:gd name="connsiteX30934" fmla="*/ 1803437 w 8079933"/>
              <a:gd name="connsiteY30934" fmla="*/ 2552371 h 4687251"/>
              <a:gd name="connsiteX30935" fmla="*/ 1812119 w 8079933"/>
              <a:gd name="connsiteY30935" fmla="*/ 2543060 h 4687251"/>
              <a:gd name="connsiteX30936" fmla="*/ 1811467 w 8079933"/>
              <a:gd name="connsiteY30936" fmla="*/ 2541327 h 4687251"/>
              <a:gd name="connsiteX30937" fmla="*/ 1812119 w 8079933"/>
              <a:gd name="connsiteY30937" fmla="*/ 2526602 h 4687251"/>
              <a:gd name="connsiteX30938" fmla="*/ 1821125 w 8079933"/>
              <a:gd name="connsiteY30938" fmla="*/ 2516641 h 4687251"/>
              <a:gd name="connsiteX30939" fmla="*/ 1817327 w 8079933"/>
              <a:gd name="connsiteY30939" fmla="*/ 2516209 h 4687251"/>
              <a:gd name="connsiteX30940" fmla="*/ 1817327 w 8079933"/>
              <a:gd name="connsiteY30940" fmla="*/ 2512852 h 4687251"/>
              <a:gd name="connsiteX30941" fmla="*/ 1832845 w 8079933"/>
              <a:gd name="connsiteY30941" fmla="*/ 2509062 h 4687251"/>
              <a:gd name="connsiteX30942" fmla="*/ 1853138 w 8079933"/>
              <a:gd name="connsiteY30942" fmla="*/ 2509387 h 4687251"/>
              <a:gd name="connsiteX30943" fmla="*/ 1856610 w 8079933"/>
              <a:gd name="connsiteY30943" fmla="*/ 2504515 h 4687251"/>
              <a:gd name="connsiteX30944" fmla="*/ 1862470 w 8079933"/>
              <a:gd name="connsiteY30944" fmla="*/ 2503866 h 4687251"/>
              <a:gd name="connsiteX30945" fmla="*/ 1864532 w 8079933"/>
              <a:gd name="connsiteY30945" fmla="*/ 2505923 h 4687251"/>
              <a:gd name="connsiteX30946" fmla="*/ 1870392 w 8079933"/>
              <a:gd name="connsiteY30946" fmla="*/ 2503216 h 4687251"/>
              <a:gd name="connsiteX30947" fmla="*/ 1870066 w 8079933"/>
              <a:gd name="connsiteY30947" fmla="*/ 2500726 h 4687251"/>
              <a:gd name="connsiteX30948" fmla="*/ 1879399 w 8079933"/>
              <a:gd name="connsiteY30948" fmla="*/ 2500401 h 4687251"/>
              <a:gd name="connsiteX30949" fmla="*/ 1890467 w 8079933"/>
              <a:gd name="connsiteY30949" fmla="*/ 2503216 h 4687251"/>
              <a:gd name="connsiteX30950" fmla="*/ 1893180 w 8079933"/>
              <a:gd name="connsiteY30950" fmla="*/ 2502133 h 4687251"/>
              <a:gd name="connsiteX30951" fmla="*/ 1892204 w 8079933"/>
              <a:gd name="connsiteY30951" fmla="*/ 2499427 h 4687251"/>
              <a:gd name="connsiteX30952" fmla="*/ 1896653 w 8079933"/>
              <a:gd name="connsiteY30952" fmla="*/ 2498993 h 4687251"/>
              <a:gd name="connsiteX30953" fmla="*/ 1903598 w 8079933"/>
              <a:gd name="connsiteY30953" fmla="*/ 2507763 h 4687251"/>
              <a:gd name="connsiteX30954" fmla="*/ 1904032 w 8079933"/>
              <a:gd name="connsiteY30954" fmla="*/ 2513068 h 4687251"/>
              <a:gd name="connsiteX30955" fmla="*/ 1900234 w 8079933"/>
              <a:gd name="connsiteY30955" fmla="*/ 2519023 h 4687251"/>
              <a:gd name="connsiteX30956" fmla="*/ 1894808 w 8079933"/>
              <a:gd name="connsiteY30956" fmla="*/ 2528010 h 4687251"/>
              <a:gd name="connsiteX30957" fmla="*/ 1884391 w 8079933"/>
              <a:gd name="connsiteY30957" fmla="*/ 2537429 h 4687251"/>
              <a:gd name="connsiteX30958" fmla="*/ 1882329 w 8079933"/>
              <a:gd name="connsiteY30958" fmla="*/ 2540894 h 4687251"/>
              <a:gd name="connsiteX30959" fmla="*/ 1881786 w 8079933"/>
              <a:gd name="connsiteY30959" fmla="*/ 2547282 h 4687251"/>
              <a:gd name="connsiteX30960" fmla="*/ 1877120 w 8079933"/>
              <a:gd name="connsiteY30960" fmla="*/ 2550205 h 4687251"/>
              <a:gd name="connsiteX30961" fmla="*/ 1875600 w 8079933"/>
              <a:gd name="connsiteY30961" fmla="*/ 2551937 h 4687251"/>
              <a:gd name="connsiteX30962" fmla="*/ 1878639 w 8079933"/>
              <a:gd name="connsiteY30962" fmla="*/ 2554536 h 4687251"/>
              <a:gd name="connsiteX30963" fmla="*/ 1882654 w 8079933"/>
              <a:gd name="connsiteY30963" fmla="*/ 2554536 h 4687251"/>
              <a:gd name="connsiteX30964" fmla="*/ 1881786 w 8079933"/>
              <a:gd name="connsiteY30964" fmla="*/ 2557892 h 4687251"/>
              <a:gd name="connsiteX30965" fmla="*/ 1876468 w 8079933"/>
              <a:gd name="connsiteY30965" fmla="*/ 2563631 h 4687251"/>
              <a:gd name="connsiteX30966" fmla="*/ 1876468 w 8079933"/>
              <a:gd name="connsiteY30966" fmla="*/ 2565472 h 4687251"/>
              <a:gd name="connsiteX30967" fmla="*/ 1878531 w 8079933"/>
              <a:gd name="connsiteY30967" fmla="*/ 2566554 h 4687251"/>
              <a:gd name="connsiteX30968" fmla="*/ 1880918 w 8079933"/>
              <a:gd name="connsiteY30968" fmla="*/ 2564064 h 4687251"/>
              <a:gd name="connsiteX30969" fmla="*/ 1883088 w 8079933"/>
              <a:gd name="connsiteY30969" fmla="*/ 2563739 h 4687251"/>
              <a:gd name="connsiteX30970" fmla="*/ 1880701 w 8079933"/>
              <a:gd name="connsiteY30970" fmla="*/ 2567745 h 4687251"/>
              <a:gd name="connsiteX30971" fmla="*/ 1876903 w 8079933"/>
              <a:gd name="connsiteY30971" fmla="*/ 2582686 h 4687251"/>
              <a:gd name="connsiteX30972" fmla="*/ 1872454 w 8079933"/>
              <a:gd name="connsiteY30972" fmla="*/ 2590374 h 4687251"/>
              <a:gd name="connsiteX30973" fmla="*/ 1871477 w 8079933"/>
              <a:gd name="connsiteY30973" fmla="*/ 2591457 h 4687251"/>
              <a:gd name="connsiteX30974" fmla="*/ 1869524 w 8079933"/>
              <a:gd name="connsiteY30974" fmla="*/ 2587018 h 4687251"/>
              <a:gd name="connsiteX30975" fmla="*/ 1864206 w 8079933"/>
              <a:gd name="connsiteY30975" fmla="*/ 2583661 h 4687251"/>
              <a:gd name="connsiteX30976" fmla="*/ 1863989 w 8079933"/>
              <a:gd name="connsiteY30976" fmla="*/ 2582362 h 4687251"/>
              <a:gd name="connsiteX30977" fmla="*/ 1866268 w 8079933"/>
              <a:gd name="connsiteY30977" fmla="*/ 2580088 h 4687251"/>
              <a:gd name="connsiteX30978" fmla="*/ 1866811 w 8079933"/>
              <a:gd name="connsiteY30978" fmla="*/ 2575324 h 4687251"/>
              <a:gd name="connsiteX30979" fmla="*/ 1863989 w 8079933"/>
              <a:gd name="connsiteY30979" fmla="*/ 2576190 h 4687251"/>
              <a:gd name="connsiteX30980" fmla="*/ 1858781 w 8079933"/>
              <a:gd name="connsiteY30980" fmla="*/ 2582145 h 4687251"/>
              <a:gd name="connsiteX30981" fmla="*/ 1854657 w 8079933"/>
              <a:gd name="connsiteY30981" fmla="*/ 2585718 h 4687251"/>
              <a:gd name="connsiteX30982" fmla="*/ 1854765 w 8079933"/>
              <a:gd name="connsiteY30982" fmla="*/ 2585826 h 4687251"/>
              <a:gd name="connsiteX30983" fmla="*/ 1854766 w 8079933"/>
              <a:gd name="connsiteY30983" fmla="*/ 2585826 h 4687251"/>
              <a:gd name="connsiteX30984" fmla="*/ 1855959 w 8079933"/>
              <a:gd name="connsiteY30984" fmla="*/ 2587991 h 4687251"/>
              <a:gd name="connsiteX30985" fmla="*/ 1858347 w 8079933"/>
              <a:gd name="connsiteY30985" fmla="*/ 2585718 h 4687251"/>
              <a:gd name="connsiteX30986" fmla="*/ 1861385 w 8079933"/>
              <a:gd name="connsiteY30986" fmla="*/ 2585718 h 4687251"/>
              <a:gd name="connsiteX30987" fmla="*/ 1861928 w 8079933"/>
              <a:gd name="connsiteY30987" fmla="*/ 2588316 h 4687251"/>
              <a:gd name="connsiteX30988" fmla="*/ 1861277 w 8079933"/>
              <a:gd name="connsiteY30988" fmla="*/ 2590914 h 4687251"/>
              <a:gd name="connsiteX30989" fmla="*/ 1860626 w 8079933"/>
              <a:gd name="connsiteY30989" fmla="*/ 2602608 h 4687251"/>
              <a:gd name="connsiteX30990" fmla="*/ 1858021 w 8079933"/>
              <a:gd name="connsiteY30990" fmla="*/ 2606939 h 4687251"/>
              <a:gd name="connsiteX30991" fmla="*/ 1856936 w 8079933"/>
              <a:gd name="connsiteY30991" fmla="*/ 2613977 h 4687251"/>
              <a:gd name="connsiteX30992" fmla="*/ 1859541 w 8079933"/>
              <a:gd name="connsiteY30992" fmla="*/ 2616575 h 4687251"/>
              <a:gd name="connsiteX30993" fmla="*/ 1859324 w 8079933"/>
              <a:gd name="connsiteY30993" fmla="*/ 2624479 h 4687251"/>
              <a:gd name="connsiteX30994" fmla="*/ 1856936 w 8079933"/>
              <a:gd name="connsiteY30994" fmla="*/ 2630975 h 4687251"/>
              <a:gd name="connsiteX30995" fmla="*/ 1850208 w 8079933"/>
              <a:gd name="connsiteY30995" fmla="*/ 2640286 h 4687251"/>
              <a:gd name="connsiteX30996" fmla="*/ 1847603 w 8079933"/>
              <a:gd name="connsiteY30996" fmla="*/ 2638013 h 4687251"/>
              <a:gd name="connsiteX30997" fmla="*/ 1843155 w 8079933"/>
              <a:gd name="connsiteY30997" fmla="*/ 2642668 h 4687251"/>
              <a:gd name="connsiteX30998" fmla="*/ 1841310 w 8079933"/>
              <a:gd name="connsiteY30998" fmla="*/ 2646673 h 4687251"/>
              <a:gd name="connsiteX30999" fmla="*/ 1842830 w 8079933"/>
              <a:gd name="connsiteY30999" fmla="*/ 2649380 h 4687251"/>
              <a:gd name="connsiteX31000" fmla="*/ 1846302 w 8079933"/>
              <a:gd name="connsiteY31000" fmla="*/ 2649380 h 4687251"/>
              <a:gd name="connsiteX31001" fmla="*/ 1850100 w 8079933"/>
              <a:gd name="connsiteY31001" fmla="*/ 2651978 h 4687251"/>
              <a:gd name="connsiteX31002" fmla="*/ 1851294 w 8079933"/>
              <a:gd name="connsiteY31002" fmla="*/ 2649055 h 4687251"/>
              <a:gd name="connsiteX31003" fmla="*/ 1855526 w 8079933"/>
              <a:gd name="connsiteY31003" fmla="*/ 2649597 h 4687251"/>
              <a:gd name="connsiteX31004" fmla="*/ 1857479 w 8079933"/>
              <a:gd name="connsiteY31004" fmla="*/ 2651113 h 4687251"/>
              <a:gd name="connsiteX31005" fmla="*/ 1857479 w 8079933"/>
              <a:gd name="connsiteY31005" fmla="*/ 2651113 h 4687251"/>
              <a:gd name="connsiteX31006" fmla="*/ 1860409 w 8079933"/>
              <a:gd name="connsiteY31006" fmla="*/ 2653495 h 4687251"/>
              <a:gd name="connsiteX31007" fmla="*/ 1866594 w 8079933"/>
              <a:gd name="connsiteY31007" fmla="*/ 2650030 h 4687251"/>
              <a:gd name="connsiteX31008" fmla="*/ 1880701 w 8079933"/>
              <a:gd name="connsiteY31008" fmla="*/ 2649706 h 4687251"/>
              <a:gd name="connsiteX31009" fmla="*/ 1890902 w 8079933"/>
              <a:gd name="connsiteY31009" fmla="*/ 2650571 h 4687251"/>
              <a:gd name="connsiteX31010" fmla="*/ 1898823 w 8079933"/>
              <a:gd name="connsiteY31010" fmla="*/ 2648514 h 4687251"/>
              <a:gd name="connsiteX31011" fmla="*/ 1902730 w 8079933"/>
              <a:gd name="connsiteY31011" fmla="*/ 2649922 h 4687251"/>
              <a:gd name="connsiteX31012" fmla="*/ 1905226 w 8079933"/>
              <a:gd name="connsiteY31012" fmla="*/ 2648190 h 4687251"/>
              <a:gd name="connsiteX31013" fmla="*/ 1908916 w 8079933"/>
              <a:gd name="connsiteY31013" fmla="*/ 2646674 h 4687251"/>
              <a:gd name="connsiteX31014" fmla="*/ 1907071 w 8079933"/>
              <a:gd name="connsiteY31014" fmla="*/ 2645267 h 4687251"/>
              <a:gd name="connsiteX31015" fmla="*/ 1908156 w 8079933"/>
              <a:gd name="connsiteY31015" fmla="*/ 2642343 h 4687251"/>
              <a:gd name="connsiteX31016" fmla="*/ 1913147 w 8079933"/>
              <a:gd name="connsiteY31016" fmla="*/ 2644725 h 4687251"/>
              <a:gd name="connsiteX31017" fmla="*/ 1918682 w 8079933"/>
              <a:gd name="connsiteY31017" fmla="*/ 2649380 h 4687251"/>
              <a:gd name="connsiteX31018" fmla="*/ 1928774 w 8079933"/>
              <a:gd name="connsiteY31018" fmla="*/ 2649922 h 4687251"/>
              <a:gd name="connsiteX31019" fmla="*/ 1939300 w 8079933"/>
              <a:gd name="connsiteY31019" fmla="*/ 2650896 h 4687251"/>
              <a:gd name="connsiteX31020" fmla="*/ 1942447 w 8079933"/>
              <a:gd name="connsiteY31020" fmla="*/ 2653170 h 4687251"/>
              <a:gd name="connsiteX31021" fmla="*/ 1943424 w 8079933"/>
              <a:gd name="connsiteY31021" fmla="*/ 2650247 h 4687251"/>
              <a:gd name="connsiteX31022" fmla="*/ 1946028 w 8079933"/>
              <a:gd name="connsiteY31022" fmla="*/ 2651437 h 4687251"/>
              <a:gd name="connsiteX31023" fmla="*/ 1949935 w 8079933"/>
              <a:gd name="connsiteY31023" fmla="*/ 2650571 h 4687251"/>
              <a:gd name="connsiteX31024" fmla="*/ 1954167 w 8079933"/>
              <a:gd name="connsiteY31024" fmla="*/ 2650896 h 4687251"/>
              <a:gd name="connsiteX31025" fmla="*/ 1960027 w 8079933"/>
              <a:gd name="connsiteY31025" fmla="*/ 2654145 h 4687251"/>
              <a:gd name="connsiteX31026" fmla="*/ 1964259 w 8079933"/>
              <a:gd name="connsiteY31026" fmla="*/ 2657610 h 4687251"/>
              <a:gd name="connsiteX31027" fmla="*/ 1963391 w 8079933"/>
              <a:gd name="connsiteY31027" fmla="*/ 2658259 h 4687251"/>
              <a:gd name="connsiteX31028" fmla="*/ 1957097 w 8079933"/>
              <a:gd name="connsiteY31028" fmla="*/ 2656418 h 4687251"/>
              <a:gd name="connsiteX31029" fmla="*/ 1953299 w 8079933"/>
              <a:gd name="connsiteY31029" fmla="*/ 2655552 h 4687251"/>
              <a:gd name="connsiteX31030" fmla="*/ 1951237 w 8079933"/>
              <a:gd name="connsiteY31030" fmla="*/ 2656094 h 4687251"/>
              <a:gd name="connsiteX31031" fmla="*/ 1951562 w 8079933"/>
              <a:gd name="connsiteY31031" fmla="*/ 2658259 h 4687251"/>
              <a:gd name="connsiteX31032" fmla="*/ 1948416 w 8079933"/>
              <a:gd name="connsiteY31032" fmla="*/ 2659125 h 4687251"/>
              <a:gd name="connsiteX31033" fmla="*/ 1947439 w 8079933"/>
              <a:gd name="connsiteY31033" fmla="*/ 2661074 h 4687251"/>
              <a:gd name="connsiteX31034" fmla="*/ 1951346 w 8079933"/>
              <a:gd name="connsiteY31034" fmla="*/ 2661074 h 4687251"/>
              <a:gd name="connsiteX31035" fmla="*/ 1955795 w 8079933"/>
              <a:gd name="connsiteY31035" fmla="*/ 2661615 h 4687251"/>
              <a:gd name="connsiteX31036" fmla="*/ 1958291 w 8079933"/>
              <a:gd name="connsiteY31036" fmla="*/ 2663456 h 4687251"/>
              <a:gd name="connsiteX31037" fmla="*/ 1964476 w 8079933"/>
              <a:gd name="connsiteY31037" fmla="*/ 2664106 h 4687251"/>
              <a:gd name="connsiteX31038" fmla="*/ 1969576 w 8079933"/>
              <a:gd name="connsiteY31038" fmla="*/ 2664322 h 4687251"/>
              <a:gd name="connsiteX31039" fmla="*/ 1967514 w 8079933"/>
              <a:gd name="connsiteY31039" fmla="*/ 2660424 h 4687251"/>
              <a:gd name="connsiteX31040" fmla="*/ 1967840 w 8079933"/>
              <a:gd name="connsiteY31040" fmla="*/ 2659558 h 4687251"/>
              <a:gd name="connsiteX31041" fmla="*/ 1973049 w 8079933"/>
              <a:gd name="connsiteY31041" fmla="*/ 2661723 h 4687251"/>
              <a:gd name="connsiteX31042" fmla="*/ 1978583 w 8079933"/>
              <a:gd name="connsiteY31042" fmla="*/ 2666271 h 4687251"/>
              <a:gd name="connsiteX31043" fmla="*/ 1979994 w 8079933"/>
              <a:gd name="connsiteY31043" fmla="*/ 2668653 h 4687251"/>
              <a:gd name="connsiteX31044" fmla="*/ 1978475 w 8079933"/>
              <a:gd name="connsiteY31044" fmla="*/ 2670169 h 4687251"/>
              <a:gd name="connsiteX31045" fmla="*/ 1976305 w 8079933"/>
              <a:gd name="connsiteY31045" fmla="*/ 2670602 h 4687251"/>
              <a:gd name="connsiteX31046" fmla="*/ 1977823 w 8079933"/>
              <a:gd name="connsiteY31046" fmla="*/ 2670602 h 4687251"/>
              <a:gd name="connsiteX31047" fmla="*/ 1976412 w 8079933"/>
              <a:gd name="connsiteY31047" fmla="*/ 2672118 h 4687251"/>
              <a:gd name="connsiteX31048" fmla="*/ 1975002 w 8079933"/>
              <a:gd name="connsiteY31048" fmla="*/ 2674716 h 4687251"/>
              <a:gd name="connsiteX31049" fmla="*/ 1975002 w 8079933"/>
              <a:gd name="connsiteY31049" fmla="*/ 2681104 h 4687251"/>
              <a:gd name="connsiteX31050" fmla="*/ 1975653 w 8079933"/>
              <a:gd name="connsiteY31050" fmla="*/ 2685110 h 4687251"/>
              <a:gd name="connsiteX31051" fmla="*/ 1974242 w 8079933"/>
              <a:gd name="connsiteY31051" fmla="*/ 2688141 h 4687251"/>
              <a:gd name="connsiteX31052" fmla="*/ 1974242 w 8079933"/>
              <a:gd name="connsiteY31052" fmla="*/ 2690198 h 4687251"/>
              <a:gd name="connsiteX31053" fmla="*/ 1976521 w 8079933"/>
              <a:gd name="connsiteY31053" fmla="*/ 2691823 h 4687251"/>
              <a:gd name="connsiteX31054" fmla="*/ 1976521 w 8079933"/>
              <a:gd name="connsiteY31054" fmla="*/ 2694205 h 4687251"/>
              <a:gd name="connsiteX31055" fmla="*/ 1974676 w 8079933"/>
              <a:gd name="connsiteY31055" fmla="*/ 2697453 h 4687251"/>
              <a:gd name="connsiteX31056" fmla="*/ 1970769 w 8079933"/>
              <a:gd name="connsiteY31056" fmla="*/ 2702325 h 4687251"/>
              <a:gd name="connsiteX31057" fmla="*/ 1969250 w 8079933"/>
              <a:gd name="connsiteY31057" fmla="*/ 2708280 h 4687251"/>
              <a:gd name="connsiteX31058" fmla="*/ 1968382 w 8079933"/>
              <a:gd name="connsiteY31058" fmla="*/ 2706764 h 4687251"/>
              <a:gd name="connsiteX31059" fmla="*/ 1966863 w 8079933"/>
              <a:gd name="connsiteY31059" fmla="*/ 2706764 h 4687251"/>
              <a:gd name="connsiteX31060" fmla="*/ 1965235 w 8079933"/>
              <a:gd name="connsiteY31060" fmla="*/ 2708496 h 4687251"/>
              <a:gd name="connsiteX31061" fmla="*/ 1965235 w 8079933"/>
              <a:gd name="connsiteY31061" fmla="*/ 2710879 h 4687251"/>
              <a:gd name="connsiteX31062" fmla="*/ 1966755 w 8079933"/>
              <a:gd name="connsiteY31062" fmla="*/ 2711528 h 4687251"/>
              <a:gd name="connsiteX31063" fmla="*/ 1968600 w 8079933"/>
              <a:gd name="connsiteY31063" fmla="*/ 2714235 h 4687251"/>
              <a:gd name="connsiteX31064" fmla="*/ 1967731 w 8079933"/>
              <a:gd name="connsiteY31064" fmla="*/ 2716617 h 4687251"/>
              <a:gd name="connsiteX31065" fmla="*/ 1967731 w 8079933"/>
              <a:gd name="connsiteY31065" fmla="*/ 2727444 h 4687251"/>
              <a:gd name="connsiteX31066" fmla="*/ 1966646 w 8079933"/>
              <a:gd name="connsiteY31066" fmla="*/ 2736647 h 4687251"/>
              <a:gd name="connsiteX31067" fmla="*/ 1964802 w 8079933"/>
              <a:gd name="connsiteY31067" fmla="*/ 2739787 h 4687251"/>
              <a:gd name="connsiteX31068" fmla="*/ 1963499 w 8079933"/>
              <a:gd name="connsiteY31068" fmla="*/ 2739787 h 4687251"/>
              <a:gd name="connsiteX31069" fmla="*/ 1963499 w 8079933"/>
              <a:gd name="connsiteY31069" fmla="*/ 2734807 h 4687251"/>
              <a:gd name="connsiteX31070" fmla="*/ 1963499 w 8079933"/>
              <a:gd name="connsiteY31070" fmla="*/ 2731017 h 4687251"/>
              <a:gd name="connsiteX31071" fmla="*/ 1964367 w 8079933"/>
              <a:gd name="connsiteY31071" fmla="*/ 2729177 h 4687251"/>
              <a:gd name="connsiteX31072" fmla="*/ 1962305 w 8079933"/>
              <a:gd name="connsiteY31072" fmla="*/ 2729177 h 4687251"/>
              <a:gd name="connsiteX31073" fmla="*/ 1959592 w 8079933"/>
              <a:gd name="connsiteY31073" fmla="*/ 2736214 h 4687251"/>
              <a:gd name="connsiteX31074" fmla="*/ 1959592 w 8079933"/>
              <a:gd name="connsiteY31074" fmla="*/ 2739462 h 4687251"/>
              <a:gd name="connsiteX31075" fmla="*/ 1960244 w 8079933"/>
              <a:gd name="connsiteY31075" fmla="*/ 2742602 h 4687251"/>
              <a:gd name="connsiteX31076" fmla="*/ 1957965 w 8079933"/>
              <a:gd name="connsiteY31076" fmla="*/ 2747799 h 4687251"/>
              <a:gd name="connsiteX31077" fmla="*/ 1956771 w 8079933"/>
              <a:gd name="connsiteY31077" fmla="*/ 2751588 h 4687251"/>
              <a:gd name="connsiteX31078" fmla="*/ 1956771 w 8079933"/>
              <a:gd name="connsiteY31078" fmla="*/ 2755053 h 4687251"/>
              <a:gd name="connsiteX31079" fmla="*/ 1959159 w 8079933"/>
              <a:gd name="connsiteY31079" fmla="*/ 2753646 h 4687251"/>
              <a:gd name="connsiteX31080" fmla="*/ 1959809 w 8079933"/>
              <a:gd name="connsiteY31080" fmla="*/ 2751372 h 4687251"/>
              <a:gd name="connsiteX31081" fmla="*/ 1961220 w 8079933"/>
              <a:gd name="connsiteY31081" fmla="*/ 2748665 h 4687251"/>
              <a:gd name="connsiteX31082" fmla="*/ 1961220 w 8079933"/>
              <a:gd name="connsiteY31082" fmla="*/ 2753646 h 4687251"/>
              <a:gd name="connsiteX31083" fmla="*/ 1959701 w 8079933"/>
              <a:gd name="connsiteY31083" fmla="*/ 2757435 h 4687251"/>
              <a:gd name="connsiteX31084" fmla="*/ 1956771 w 8079933"/>
              <a:gd name="connsiteY31084" fmla="*/ 2763065 h 4687251"/>
              <a:gd name="connsiteX31085" fmla="*/ 1957965 w 8079933"/>
              <a:gd name="connsiteY31085" fmla="*/ 2768046 h 4687251"/>
              <a:gd name="connsiteX31086" fmla="*/ 1960569 w 8079933"/>
              <a:gd name="connsiteY31086" fmla="*/ 2771185 h 4687251"/>
              <a:gd name="connsiteX31087" fmla="*/ 1961220 w 8079933"/>
              <a:gd name="connsiteY31087" fmla="*/ 2774758 h 4687251"/>
              <a:gd name="connsiteX31088" fmla="*/ 1958941 w 8079933"/>
              <a:gd name="connsiteY31088" fmla="*/ 2776166 h 4687251"/>
              <a:gd name="connsiteX31089" fmla="*/ 1958562 w 8079933"/>
              <a:gd name="connsiteY31089" fmla="*/ 2776166 h 4687251"/>
              <a:gd name="connsiteX31090" fmla="*/ 1957749 w 8079933"/>
              <a:gd name="connsiteY31090" fmla="*/ 2777464 h 4687251"/>
              <a:gd name="connsiteX31091" fmla="*/ 1962740 w 8079933"/>
              <a:gd name="connsiteY31091" fmla="*/ 2777464 h 4687251"/>
              <a:gd name="connsiteX31092" fmla="*/ 1963392 w 8079933"/>
              <a:gd name="connsiteY31092" fmla="*/ 2775191 h 4687251"/>
              <a:gd name="connsiteX31093" fmla="*/ 1965670 w 8079933"/>
              <a:gd name="connsiteY31093" fmla="*/ 2774758 h 4687251"/>
              <a:gd name="connsiteX31094" fmla="*/ 1967298 w 8079933"/>
              <a:gd name="connsiteY31094" fmla="*/ 2778980 h 4687251"/>
              <a:gd name="connsiteX31095" fmla="*/ 1968058 w 8079933"/>
              <a:gd name="connsiteY31095" fmla="*/ 2784068 h 4687251"/>
              <a:gd name="connsiteX31096" fmla="*/ 1970988 w 8079933"/>
              <a:gd name="connsiteY31096" fmla="*/ 2788725 h 4687251"/>
              <a:gd name="connsiteX31097" fmla="*/ 1975762 w 8079933"/>
              <a:gd name="connsiteY31097" fmla="*/ 2793596 h 4687251"/>
              <a:gd name="connsiteX31098" fmla="*/ 1977282 w 8079933"/>
              <a:gd name="connsiteY31098" fmla="*/ 2797494 h 4687251"/>
              <a:gd name="connsiteX31099" fmla="*/ 1979886 w 8079933"/>
              <a:gd name="connsiteY31099" fmla="*/ 2800634 h 4687251"/>
              <a:gd name="connsiteX31100" fmla="*/ 1983684 w 8079933"/>
              <a:gd name="connsiteY31100" fmla="*/ 2801825 h 4687251"/>
              <a:gd name="connsiteX31101" fmla="*/ 1987048 w 8079933"/>
              <a:gd name="connsiteY31101" fmla="*/ 2804315 h 4687251"/>
              <a:gd name="connsiteX31102" fmla="*/ 1987482 w 8079933"/>
              <a:gd name="connsiteY31102" fmla="*/ 2805506 h 4687251"/>
              <a:gd name="connsiteX31103" fmla="*/ 1983358 w 8079933"/>
              <a:gd name="connsiteY31103" fmla="*/ 2805290 h 4687251"/>
              <a:gd name="connsiteX31104" fmla="*/ 1981080 w 8079933"/>
              <a:gd name="connsiteY31104" fmla="*/ 2806805 h 4687251"/>
              <a:gd name="connsiteX31105" fmla="*/ 1981080 w 8079933"/>
              <a:gd name="connsiteY31105" fmla="*/ 2806806 h 4687251"/>
              <a:gd name="connsiteX31106" fmla="*/ 1983358 w 8079933"/>
              <a:gd name="connsiteY31106" fmla="*/ 2805291 h 4687251"/>
              <a:gd name="connsiteX31107" fmla="*/ 1987481 w 8079933"/>
              <a:gd name="connsiteY31107" fmla="*/ 2805507 h 4687251"/>
              <a:gd name="connsiteX31108" fmla="*/ 1988458 w 8079933"/>
              <a:gd name="connsiteY31108" fmla="*/ 2808106 h 4687251"/>
              <a:gd name="connsiteX31109" fmla="*/ 1991063 w 8079933"/>
              <a:gd name="connsiteY31109" fmla="*/ 2810812 h 4687251"/>
              <a:gd name="connsiteX31110" fmla="*/ 1993992 w 8079933"/>
              <a:gd name="connsiteY31110" fmla="*/ 2811787 h 4687251"/>
              <a:gd name="connsiteX31111" fmla="*/ 1995946 w 8079933"/>
              <a:gd name="connsiteY31111" fmla="*/ 2811679 h 4687251"/>
              <a:gd name="connsiteX31112" fmla="*/ 1997140 w 8079933"/>
              <a:gd name="connsiteY31112" fmla="*/ 2813086 h 4687251"/>
              <a:gd name="connsiteX31113" fmla="*/ 1995512 w 8079933"/>
              <a:gd name="connsiteY31113" fmla="*/ 2813628 h 4687251"/>
              <a:gd name="connsiteX31114" fmla="*/ 1994644 w 8079933"/>
              <a:gd name="connsiteY31114" fmla="*/ 2814602 h 4687251"/>
              <a:gd name="connsiteX31115" fmla="*/ 1995837 w 8079933"/>
              <a:gd name="connsiteY31115" fmla="*/ 2816442 h 4687251"/>
              <a:gd name="connsiteX31116" fmla="*/ 1999744 w 8079933"/>
              <a:gd name="connsiteY31116" fmla="*/ 2818499 h 4687251"/>
              <a:gd name="connsiteX31117" fmla="*/ 2003542 w 8079933"/>
              <a:gd name="connsiteY31117" fmla="*/ 2817850 h 4687251"/>
              <a:gd name="connsiteX31118" fmla="*/ 2003542 w 8079933"/>
              <a:gd name="connsiteY31118" fmla="*/ 2815468 h 4687251"/>
              <a:gd name="connsiteX31119" fmla="*/ 2000829 w 8079933"/>
              <a:gd name="connsiteY31119" fmla="*/ 2813736 h 4687251"/>
              <a:gd name="connsiteX31120" fmla="*/ 2002240 w 8079933"/>
              <a:gd name="connsiteY31120" fmla="*/ 2812545 h 4687251"/>
              <a:gd name="connsiteX31121" fmla="*/ 2007666 w 8079933"/>
              <a:gd name="connsiteY31121" fmla="*/ 2815035 h 4687251"/>
              <a:gd name="connsiteX31122" fmla="*/ 2016022 w 8079933"/>
              <a:gd name="connsiteY31122" fmla="*/ 2820773 h 4687251"/>
              <a:gd name="connsiteX31123" fmla="*/ 2023726 w 8079933"/>
              <a:gd name="connsiteY31123" fmla="*/ 2821098 h 4687251"/>
              <a:gd name="connsiteX31124" fmla="*/ 2027850 w 8079933"/>
              <a:gd name="connsiteY31124" fmla="*/ 2820557 h 4687251"/>
              <a:gd name="connsiteX31125" fmla="*/ 2032191 w 8079933"/>
              <a:gd name="connsiteY31125" fmla="*/ 2816442 h 4687251"/>
              <a:gd name="connsiteX31126" fmla="*/ 2046840 w 8079933"/>
              <a:gd name="connsiteY31126" fmla="*/ 2809080 h 4687251"/>
              <a:gd name="connsiteX31127" fmla="*/ 2054002 w 8079933"/>
              <a:gd name="connsiteY31127" fmla="*/ 2807348 h 4687251"/>
              <a:gd name="connsiteX31128" fmla="*/ 2060730 w 8079933"/>
              <a:gd name="connsiteY31128" fmla="*/ 2802584 h 4687251"/>
              <a:gd name="connsiteX31129" fmla="*/ 2063226 w 8079933"/>
              <a:gd name="connsiteY31129" fmla="*/ 2802151 h 4687251"/>
              <a:gd name="connsiteX31130" fmla="*/ 2066807 w 8079933"/>
              <a:gd name="connsiteY31130" fmla="*/ 2803775 h 4687251"/>
              <a:gd name="connsiteX31131" fmla="*/ 2068218 w 8079933"/>
              <a:gd name="connsiteY31131" fmla="*/ 2806049 h 4687251"/>
              <a:gd name="connsiteX31132" fmla="*/ 2071582 w 8079933"/>
              <a:gd name="connsiteY31132" fmla="*/ 2806806 h 4687251"/>
              <a:gd name="connsiteX31133" fmla="*/ 2082108 w 8079933"/>
              <a:gd name="connsiteY31133" fmla="*/ 2806806 h 4687251"/>
              <a:gd name="connsiteX31134" fmla="*/ 2087968 w 8079933"/>
              <a:gd name="connsiteY31134" fmla="*/ 2808214 h 4687251"/>
              <a:gd name="connsiteX31135" fmla="*/ 2097951 w 8079933"/>
              <a:gd name="connsiteY31135" fmla="*/ 2814061 h 4687251"/>
              <a:gd name="connsiteX31136" fmla="*/ 2102292 w 8079933"/>
              <a:gd name="connsiteY31136" fmla="*/ 2819041 h 4687251"/>
              <a:gd name="connsiteX31137" fmla="*/ 2103160 w 8079933"/>
              <a:gd name="connsiteY31137" fmla="*/ 2821639 h 4687251"/>
              <a:gd name="connsiteX31138" fmla="*/ 2106415 w 8079933"/>
              <a:gd name="connsiteY31138" fmla="*/ 2823480 h 4687251"/>
              <a:gd name="connsiteX31139" fmla="*/ 2108369 w 8079933"/>
              <a:gd name="connsiteY31139" fmla="*/ 2825212 h 4687251"/>
              <a:gd name="connsiteX31140" fmla="*/ 2107392 w 8079933"/>
              <a:gd name="connsiteY31140" fmla="*/ 2829434 h 4687251"/>
              <a:gd name="connsiteX31141" fmla="*/ 2108151 w 8079933"/>
              <a:gd name="connsiteY31141" fmla="*/ 2832466 h 4687251"/>
              <a:gd name="connsiteX31142" fmla="*/ 2110322 w 8079933"/>
              <a:gd name="connsiteY31142" fmla="*/ 2838421 h 4687251"/>
              <a:gd name="connsiteX31143" fmla="*/ 2107939 w 8079933"/>
              <a:gd name="connsiteY31143" fmla="*/ 2842657 h 4687251"/>
              <a:gd name="connsiteX31144" fmla="*/ 2110323 w 8079933"/>
              <a:gd name="connsiteY31144" fmla="*/ 2838421 h 4687251"/>
              <a:gd name="connsiteX31145" fmla="*/ 2108152 w 8079933"/>
              <a:gd name="connsiteY31145" fmla="*/ 2832466 h 4687251"/>
              <a:gd name="connsiteX31146" fmla="*/ 2107393 w 8079933"/>
              <a:gd name="connsiteY31146" fmla="*/ 2829434 h 4687251"/>
              <a:gd name="connsiteX31147" fmla="*/ 2108369 w 8079933"/>
              <a:gd name="connsiteY31147" fmla="*/ 2825211 h 4687251"/>
              <a:gd name="connsiteX31148" fmla="*/ 2113687 w 8079933"/>
              <a:gd name="connsiteY31148" fmla="*/ 2829867 h 4687251"/>
              <a:gd name="connsiteX31149" fmla="*/ 2115206 w 8079933"/>
              <a:gd name="connsiteY31149" fmla="*/ 2834415 h 4687251"/>
              <a:gd name="connsiteX31150" fmla="*/ 2118787 w 8079933"/>
              <a:gd name="connsiteY31150" fmla="*/ 2835931 h 4687251"/>
              <a:gd name="connsiteX31151" fmla="*/ 2117268 w 8079933"/>
              <a:gd name="connsiteY31151" fmla="*/ 2838637 h 4687251"/>
              <a:gd name="connsiteX31152" fmla="*/ 2116725 w 8079933"/>
              <a:gd name="connsiteY31152" fmla="*/ 2840370 h 4687251"/>
              <a:gd name="connsiteX31153" fmla="*/ 2121066 w 8079933"/>
              <a:gd name="connsiteY31153" fmla="*/ 2843943 h 4687251"/>
              <a:gd name="connsiteX31154" fmla="*/ 2123670 w 8079933"/>
              <a:gd name="connsiteY31154" fmla="*/ 2844159 h 4687251"/>
              <a:gd name="connsiteX31155" fmla="*/ 2126057 w 8079933"/>
              <a:gd name="connsiteY31155" fmla="*/ 2838962 h 4687251"/>
              <a:gd name="connsiteX31156" fmla="*/ 2126057 w 8079933"/>
              <a:gd name="connsiteY31156" fmla="*/ 2833115 h 4687251"/>
              <a:gd name="connsiteX31157" fmla="*/ 2121934 w 8079933"/>
              <a:gd name="connsiteY31157" fmla="*/ 2828460 h 4687251"/>
              <a:gd name="connsiteX31158" fmla="*/ 2120523 w 8079933"/>
              <a:gd name="connsiteY31158" fmla="*/ 2824021 h 4687251"/>
              <a:gd name="connsiteX31159" fmla="*/ 2124539 w 8079933"/>
              <a:gd name="connsiteY31159" fmla="*/ 2823804 h 4687251"/>
              <a:gd name="connsiteX31160" fmla="*/ 2127252 w 8079933"/>
              <a:gd name="connsiteY31160" fmla="*/ 2823479 h 4687251"/>
              <a:gd name="connsiteX31161" fmla="*/ 2131918 w 8079933"/>
              <a:gd name="connsiteY31161" fmla="*/ 2816658 h 4687251"/>
              <a:gd name="connsiteX31162" fmla="*/ 2134522 w 8079933"/>
              <a:gd name="connsiteY31162" fmla="*/ 2815250 h 4687251"/>
              <a:gd name="connsiteX31163" fmla="*/ 2140707 w 8079933"/>
              <a:gd name="connsiteY31163" fmla="*/ 2809296 h 4687251"/>
              <a:gd name="connsiteX31164" fmla="*/ 2144180 w 8079933"/>
              <a:gd name="connsiteY31164" fmla="*/ 2807347 h 4687251"/>
              <a:gd name="connsiteX31165" fmla="*/ 2148629 w 8079933"/>
              <a:gd name="connsiteY31165" fmla="*/ 2807023 h 4687251"/>
              <a:gd name="connsiteX31166" fmla="*/ 2152102 w 8079933"/>
              <a:gd name="connsiteY31166" fmla="*/ 2805290 h 4687251"/>
              <a:gd name="connsiteX31167" fmla="*/ 2153404 w 8079933"/>
              <a:gd name="connsiteY31167" fmla="*/ 2800959 h 4687251"/>
              <a:gd name="connsiteX31168" fmla="*/ 2152753 w 8079933"/>
              <a:gd name="connsiteY31168" fmla="*/ 2797061 h 4687251"/>
              <a:gd name="connsiteX31169" fmla="*/ 2151017 w 8079933"/>
              <a:gd name="connsiteY31169" fmla="*/ 2795113 h 4687251"/>
              <a:gd name="connsiteX31170" fmla="*/ 2149172 w 8079933"/>
              <a:gd name="connsiteY31170" fmla="*/ 2795979 h 4687251"/>
              <a:gd name="connsiteX31171" fmla="*/ 2150040 w 8079933"/>
              <a:gd name="connsiteY31171" fmla="*/ 2792622 h 4687251"/>
              <a:gd name="connsiteX31172" fmla="*/ 2156443 w 8079933"/>
              <a:gd name="connsiteY31172" fmla="*/ 2780496 h 4687251"/>
              <a:gd name="connsiteX31173" fmla="*/ 2161759 w 8079933"/>
              <a:gd name="connsiteY31173" fmla="*/ 2774324 h 4687251"/>
              <a:gd name="connsiteX31174" fmla="*/ 2163604 w 8079933"/>
              <a:gd name="connsiteY31174" fmla="*/ 2771076 h 4687251"/>
              <a:gd name="connsiteX31175" fmla="*/ 2171526 w 8079933"/>
              <a:gd name="connsiteY31175" fmla="*/ 2766204 h 4687251"/>
              <a:gd name="connsiteX31176" fmla="*/ 2174673 w 8079933"/>
              <a:gd name="connsiteY31176" fmla="*/ 2766096 h 4687251"/>
              <a:gd name="connsiteX31177" fmla="*/ 2180642 w 8079933"/>
              <a:gd name="connsiteY31177" fmla="*/ 2768695 h 4687251"/>
              <a:gd name="connsiteX31178" fmla="*/ 2185634 w 8079933"/>
              <a:gd name="connsiteY31178" fmla="*/ 2769128 h 4687251"/>
              <a:gd name="connsiteX31179" fmla="*/ 2182269 w 8079933"/>
              <a:gd name="connsiteY31179" fmla="*/ 2770426 h 4687251"/>
              <a:gd name="connsiteX31180" fmla="*/ 2182704 w 8079933"/>
              <a:gd name="connsiteY31180" fmla="*/ 2771618 h 4687251"/>
              <a:gd name="connsiteX31181" fmla="*/ 2181835 w 8079933"/>
              <a:gd name="connsiteY31181" fmla="*/ 2775407 h 4687251"/>
              <a:gd name="connsiteX31182" fmla="*/ 2184331 w 8079933"/>
              <a:gd name="connsiteY31182" fmla="*/ 2776381 h 4687251"/>
              <a:gd name="connsiteX31183" fmla="*/ 2187912 w 8079933"/>
              <a:gd name="connsiteY31183" fmla="*/ 2773134 h 4687251"/>
              <a:gd name="connsiteX31184" fmla="*/ 2188455 w 8079933"/>
              <a:gd name="connsiteY31184" fmla="*/ 2769344 h 4687251"/>
              <a:gd name="connsiteX31185" fmla="*/ 2186935 w 8079933"/>
              <a:gd name="connsiteY31185" fmla="*/ 2765554 h 4687251"/>
              <a:gd name="connsiteX31186" fmla="*/ 2186502 w 8079933"/>
              <a:gd name="connsiteY31186" fmla="*/ 2762631 h 4687251"/>
              <a:gd name="connsiteX31187" fmla="*/ 2191385 w 8079933"/>
              <a:gd name="connsiteY31187" fmla="*/ 2760032 h 4687251"/>
              <a:gd name="connsiteX31188" fmla="*/ 2199089 w 8079933"/>
              <a:gd name="connsiteY31188" fmla="*/ 2760899 h 4687251"/>
              <a:gd name="connsiteX31189" fmla="*/ 2206143 w 8079933"/>
              <a:gd name="connsiteY31189" fmla="*/ 2760357 h 4687251"/>
              <a:gd name="connsiteX31190" fmla="*/ 2212546 w 8079933"/>
              <a:gd name="connsiteY31190" fmla="*/ 2759058 h 4687251"/>
              <a:gd name="connsiteX31191" fmla="*/ 2218080 w 8079933"/>
              <a:gd name="connsiteY31191" fmla="*/ 2755052 h 4687251"/>
              <a:gd name="connsiteX31192" fmla="*/ 2226327 w 8079933"/>
              <a:gd name="connsiteY31192" fmla="*/ 2750071 h 4687251"/>
              <a:gd name="connsiteX31193" fmla="*/ 2232513 w 8079933"/>
              <a:gd name="connsiteY31193" fmla="*/ 2747040 h 4687251"/>
              <a:gd name="connsiteX31194" fmla="*/ 2234141 w 8079933"/>
              <a:gd name="connsiteY31194" fmla="*/ 2744767 h 4687251"/>
              <a:gd name="connsiteX31195" fmla="*/ 2232078 w 8079933"/>
              <a:gd name="connsiteY31195" fmla="*/ 2742385 h 4687251"/>
              <a:gd name="connsiteX31196" fmla="*/ 2233923 w 8079933"/>
              <a:gd name="connsiteY31196" fmla="*/ 2740111 h 4687251"/>
              <a:gd name="connsiteX31197" fmla="*/ 2237396 w 8079933"/>
              <a:gd name="connsiteY31197" fmla="*/ 2738704 h 4687251"/>
              <a:gd name="connsiteX31198" fmla="*/ 2241302 w 8079933"/>
              <a:gd name="connsiteY31198" fmla="*/ 2739245 h 4687251"/>
              <a:gd name="connsiteX31199" fmla="*/ 2243255 w 8079933"/>
              <a:gd name="connsiteY31199" fmla="*/ 2737729 h 4687251"/>
              <a:gd name="connsiteX31200" fmla="*/ 2246837 w 8079933"/>
              <a:gd name="connsiteY31200" fmla="*/ 2737188 h 4687251"/>
              <a:gd name="connsiteX31201" fmla="*/ 2247162 w 8079933"/>
              <a:gd name="connsiteY31201" fmla="*/ 2735022 h 4687251"/>
              <a:gd name="connsiteX31202" fmla="*/ 2248356 w 8079933"/>
              <a:gd name="connsiteY31202" fmla="*/ 2732857 h 4687251"/>
              <a:gd name="connsiteX31203" fmla="*/ 2251828 w 8079933"/>
              <a:gd name="connsiteY31203" fmla="*/ 2733073 h 4687251"/>
              <a:gd name="connsiteX31204" fmla="*/ 2260510 w 8079933"/>
              <a:gd name="connsiteY31204" fmla="*/ 2737729 h 4687251"/>
              <a:gd name="connsiteX31205" fmla="*/ 2263223 w 8079933"/>
              <a:gd name="connsiteY31205" fmla="*/ 2741302 h 4687251"/>
              <a:gd name="connsiteX31206" fmla="*/ 2262138 w 8079933"/>
              <a:gd name="connsiteY31206" fmla="*/ 2744117 h 4687251"/>
              <a:gd name="connsiteX31207" fmla="*/ 2259425 w 8079933"/>
              <a:gd name="connsiteY31207" fmla="*/ 2746174 h 4687251"/>
              <a:gd name="connsiteX31208" fmla="*/ 2258774 w 8079933"/>
              <a:gd name="connsiteY31208" fmla="*/ 2746932 h 4687251"/>
              <a:gd name="connsiteX31209" fmla="*/ 2253782 w 8079933"/>
              <a:gd name="connsiteY31209" fmla="*/ 2752670 h 4687251"/>
              <a:gd name="connsiteX31210" fmla="*/ 2248031 w 8079933"/>
              <a:gd name="connsiteY31210" fmla="*/ 2754078 h 4687251"/>
              <a:gd name="connsiteX31211" fmla="*/ 2242496 w 8079933"/>
              <a:gd name="connsiteY31211" fmla="*/ 2756460 h 4687251"/>
              <a:gd name="connsiteX31212" fmla="*/ 2241303 w 8079933"/>
              <a:gd name="connsiteY31212" fmla="*/ 2759708 h 4687251"/>
              <a:gd name="connsiteX31213" fmla="*/ 2243256 w 8079933"/>
              <a:gd name="connsiteY31213" fmla="*/ 2763714 h 4687251"/>
              <a:gd name="connsiteX31214" fmla="*/ 2247054 w 8079933"/>
              <a:gd name="connsiteY31214" fmla="*/ 2766421 h 4687251"/>
              <a:gd name="connsiteX31215" fmla="*/ 2247163 w 8079933"/>
              <a:gd name="connsiteY31215" fmla="*/ 2769344 h 4687251"/>
              <a:gd name="connsiteX31216" fmla="*/ 2246837 w 8079933"/>
              <a:gd name="connsiteY31216" fmla="*/ 2771618 h 4687251"/>
              <a:gd name="connsiteX31217" fmla="*/ 2249659 w 8079933"/>
              <a:gd name="connsiteY31217" fmla="*/ 2776490 h 4687251"/>
              <a:gd name="connsiteX31218" fmla="*/ 2249659 w 8079933"/>
              <a:gd name="connsiteY31218" fmla="*/ 2784069 h 4687251"/>
              <a:gd name="connsiteX31219" fmla="*/ 2240651 w 8079933"/>
              <a:gd name="connsiteY31219" fmla="*/ 2793055 h 4687251"/>
              <a:gd name="connsiteX31220" fmla="*/ 2240326 w 8079933"/>
              <a:gd name="connsiteY31220" fmla="*/ 2795871 h 4687251"/>
              <a:gd name="connsiteX31221" fmla="*/ 2235877 w 8079933"/>
              <a:gd name="connsiteY31221" fmla="*/ 2799660 h 4687251"/>
              <a:gd name="connsiteX31222" fmla="*/ 2237287 w 8079933"/>
              <a:gd name="connsiteY31222" fmla="*/ 2804423 h 4687251"/>
              <a:gd name="connsiteX31223" fmla="*/ 2242062 w 8079933"/>
              <a:gd name="connsiteY31223" fmla="*/ 2809945 h 4687251"/>
              <a:gd name="connsiteX31224" fmla="*/ 2242062 w 8079933"/>
              <a:gd name="connsiteY31224" fmla="*/ 2816875 h 4687251"/>
              <a:gd name="connsiteX31225" fmla="*/ 2246186 w 8079933"/>
              <a:gd name="connsiteY31225" fmla="*/ 2817524 h 4687251"/>
              <a:gd name="connsiteX31226" fmla="*/ 2254542 w 8079933"/>
              <a:gd name="connsiteY31226" fmla="*/ 2812652 h 4687251"/>
              <a:gd name="connsiteX31227" fmla="*/ 2257906 w 8079933"/>
              <a:gd name="connsiteY31227" fmla="*/ 2805506 h 4687251"/>
              <a:gd name="connsiteX31228" fmla="*/ 2255844 w 8079933"/>
              <a:gd name="connsiteY31228" fmla="*/ 2799984 h 4687251"/>
              <a:gd name="connsiteX31229" fmla="*/ 2254867 w 8079933"/>
              <a:gd name="connsiteY31229" fmla="*/ 2793380 h 4687251"/>
              <a:gd name="connsiteX31230" fmla="*/ 2254867 w 8079933"/>
              <a:gd name="connsiteY31230" fmla="*/ 2783744 h 4687251"/>
              <a:gd name="connsiteX31231" fmla="*/ 2252154 w 8079933"/>
              <a:gd name="connsiteY31231" fmla="*/ 2778872 h 4687251"/>
              <a:gd name="connsiteX31232" fmla="*/ 2252154 w 8079933"/>
              <a:gd name="connsiteY31232" fmla="*/ 2774866 h 4687251"/>
              <a:gd name="connsiteX31233" fmla="*/ 2255410 w 8079933"/>
              <a:gd name="connsiteY31233" fmla="*/ 2770751 h 4687251"/>
              <a:gd name="connsiteX31234" fmla="*/ 2265936 w 8079933"/>
              <a:gd name="connsiteY31234" fmla="*/ 2766204 h 4687251"/>
              <a:gd name="connsiteX31235" fmla="*/ 2276462 w 8079933"/>
              <a:gd name="connsiteY31235" fmla="*/ 2764364 h 4687251"/>
              <a:gd name="connsiteX31236" fmla="*/ 2281996 w 8079933"/>
              <a:gd name="connsiteY31236" fmla="*/ 2761441 h 4687251"/>
              <a:gd name="connsiteX31237" fmla="*/ 2282213 w 8079933"/>
              <a:gd name="connsiteY31237" fmla="*/ 2759600 h 4687251"/>
              <a:gd name="connsiteX31238" fmla="*/ 2283190 w 8079933"/>
              <a:gd name="connsiteY31238" fmla="*/ 2758192 h 4687251"/>
              <a:gd name="connsiteX31239" fmla="*/ 2285469 w 8079933"/>
              <a:gd name="connsiteY31239" fmla="*/ 2759708 h 4687251"/>
              <a:gd name="connsiteX31240" fmla="*/ 2290244 w 8079933"/>
              <a:gd name="connsiteY31240" fmla="*/ 2761982 h 4687251"/>
              <a:gd name="connsiteX31241" fmla="*/ 2294367 w 8079933"/>
              <a:gd name="connsiteY31241" fmla="*/ 2760790 h 4687251"/>
              <a:gd name="connsiteX31242" fmla="*/ 2295127 w 8079933"/>
              <a:gd name="connsiteY31242" fmla="*/ 2757867 h 4687251"/>
              <a:gd name="connsiteX31243" fmla="*/ 2291329 w 8079933"/>
              <a:gd name="connsiteY31243" fmla="*/ 2753753 h 4687251"/>
              <a:gd name="connsiteX31244" fmla="*/ 2286988 w 8079933"/>
              <a:gd name="connsiteY31244" fmla="*/ 2753428 h 4687251"/>
              <a:gd name="connsiteX31245" fmla="*/ 2282539 w 8079933"/>
              <a:gd name="connsiteY31245" fmla="*/ 2755810 h 4687251"/>
              <a:gd name="connsiteX31246" fmla="*/ 2280260 w 8079933"/>
              <a:gd name="connsiteY31246" fmla="*/ 2753753 h 4687251"/>
              <a:gd name="connsiteX31247" fmla="*/ 2278741 w 8079933"/>
              <a:gd name="connsiteY31247" fmla="*/ 2748556 h 4687251"/>
              <a:gd name="connsiteX31248" fmla="*/ 2285252 w 8079933"/>
              <a:gd name="connsiteY31248" fmla="*/ 2740869 h 4687251"/>
              <a:gd name="connsiteX31249" fmla="*/ 2291980 w 8079933"/>
              <a:gd name="connsiteY31249" fmla="*/ 2738054 h 4687251"/>
              <a:gd name="connsiteX31250" fmla="*/ 2294259 w 8079933"/>
              <a:gd name="connsiteY31250" fmla="*/ 2738920 h 4687251"/>
              <a:gd name="connsiteX31251" fmla="*/ 2295887 w 8079933"/>
              <a:gd name="connsiteY31251" fmla="*/ 2746823 h 4687251"/>
              <a:gd name="connsiteX31252" fmla="*/ 2295887 w 8079933"/>
              <a:gd name="connsiteY31252" fmla="*/ 2753211 h 4687251"/>
              <a:gd name="connsiteX31253" fmla="*/ 2299901 w 8079933"/>
              <a:gd name="connsiteY31253" fmla="*/ 2759600 h 4687251"/>
              <a:gd name="connsiteX31254" fmla="*/ 2303049 w 8079933"/>
              <a:gd name="connsiteY31254" fmla="*/ 2758517 h 4687251"/>
              <a:gd name="connsiteX31255" fmla="*/ 2306738 w 8079933"/>
              <a:gd name="connsiteY31255" fmla="*/ 2758733 h 4687251"/>
              <a:gd name="connsiteX31256" fmla="*/ 2311947 w 8079933"/>
              <a:gd name="connsiteY31256" fmla="*/ 2761657 h 4687251"/>
              <a:gd name="connsiteX31257" fmla="*/ 2323341 w 8079933"/>
              <a:gd name="connsiteY31257" fmla="*/ 2760790 h 4687251"/>
              <a:gd name="connsiteX31258" fmla="*/ 2327790 w 8079933"/>
              <a:gd name="connsiteY31258" fmla="*/ 2761982 h 4687251"/>
              <a:gd name="connsiteX31259" fmla="*/ 2332674 w 8079933"/>
              <a:gd name="connsiteY31259" fmla="*/ 2768478 h 4687251"/>
              <a:gd name="connsiteX31260" fmla="*/ 2333108 w 8079933"/>
              <a:gd name="connsiteY31260" fmla="*/ 2773350 h 4687251"/>
              <a:gd name="connsiteX31261" fmla="*/ 2330395 w 8079933"/>
              <a:gd name="connsiteY31261" fmla="*/ 2773458 h 4687251"/>
              <a:gd name="connsiteX31262" fmla="*/ 2330395 w 8079933"/>
              <a:gd name="connsiteY31262" fmla="*/ 2777573 h 4687251"/>
              <a:gd name="connsiteX31263" fmla="*/ 2332131 w 8079933"/>
              <a:gd name="connsiteY31263" fmla="*/ 2781037 h 4687251"/>
              <a:gd name="connsiteX31264" fmla="*/ 2336472 w 8079933"/>
              <a:gd name="connsiteY31264" fmla="*/ 2783311 h 4687251"/>
              <a:gd name="connsiteX31265" fmla="*/ 2347432 w 8079933"/>
              <a:gd name="connsiteY31265" fmla="*/ 2783311 h 4687251"/>
              <a:gd name="connsiteX31266" fmla="*/ 2370003 w 8079933"/>
              <a:gd name="connsiteY31266" fmla="*/ 2779521 h 4687251"/>
              <a:gd name="connsiteX31267" fmla="*/ 2381723 w 8079933"/>
              <a:gd name="connsiteY31267" fmla="*/ 2778655 h 4687251"/>
              <a:gd name="connsiteX31268" fmla="*/ 2384871 w 8079933"/>
              <a:gd name="connsiteY31268" fmla="*/ 2779196 h 4687251"/>
              <a:gd name="connsiteX31269" fmla="*/ 2386932 w 8079933"/>
              <a:gd name="connsiteY31269" fmla="*/ 2783419 h 4687251"/>
              <a:gd name="connsiteX31270" fmla="*/ 2397458 w 8079933"/>
              <a:gd name="connsiteY31270" fmla="*/ 2790457 h 4687251"/>
              <a:gd name="connsiteX31271" fmla="*/ 2401039 w 8079933"/>
              <a:gd name="connsiteY31271" fmla="*/ 2791756 h 4687251"/>
              <a:gd name="connsiteX31272" fmla="*/ 2403318 w 8079933"/>
              <a:gd name="connsiteY31272" fmla="*/ 2790349 h 4687251"/>
              <a:gd name="connsiteX31273" fmla="*/ 2410372 w 8079933"/>
              <a:gd name="connsiteY31273" fmla="*/ 2789483 h 4687251"/>
              <a:gd name="connsiteX31274" fmla="*/ 2412433 w 8079933"/>
              <a:gd name="connsiteY31274" fmla="*/ 2786884 h 4687251"/>
              <a:gd name="connsiteX31275" fmla="*/ 2417751 w 8079933"/>
              <a:gd name="connsiteY31275" fmla="*/ 2784177 h 4687251"/>
              <a:gd name="connsiteX31276" fmla="*/ 2422200 w 8079933"/>
              <a:gd name="connsiteY31276" fmla="*/ 2783094 h 4687251"/>
              <a:gd name="connsiteX31277" fmla="*/ 2430990 w 8079933"/>
              <a:gd name="connsiteY31277" fmla="*/ 2776923 h 4687251"/>
              <a:gd name="connsiteX31278" fmla="*/ 2435331 w 8079933"/>
              <a:gd name="connsiteY31278" fmla="*/ 2776382 h 4687251"/>
              <a:gd name="connsiteX31279" fmla="*/ 2438911 w 8079933"/>
              <a:gd name="connsiteY31279" fmla="*/ 2777898 h 4687251"/>
              <a:gd name="connsiteX31280" fmla="*/ 2449438 w 8079933"/>
              <a:gd name="connsiteY31280" fmla="*/ 2774216 h 4687251"/>
              <a:gd name="connsiteX31281" fmla="*/ 2454646 w 8079933"/>
              <a:gd name="connsiteY31281" fmla="*/ 2774541 h 4687251"/>
              <a:gd name="connsiteX31282" fmla="*/ 2462351 w 8079933"/>
              <a:gd name="connsiteY31282" fmla="*/ 2773458 h 4687251"/>
              <a:gd name="connsiteX31283" fmla="*/ 2473094 w 8079933"/>
              <a:gd name="connsiteY31283" fmla="*/ 2775732 h 4687251"/>
              <a:gd name="connsiteX31284" fmla="*/ 2479279 w 8079933"/>
              <a:gd name="connsiteY31284" fmla="*/ 2774541 h 4687251"/>
              <a:gd name="connsiteX31285" fmla="*/ 2478629 w 8079933"/>
              <a:gd name="connsiteY31285" fmla="*/ 2778439 h 4687251"/>
              <a:gd name="connsiteX31286" fmla="*/ 2471792 w 8079933"/>
              <a:gd name="connsiteY31286" fmla="*/ 2779196 h 4687251"/>
              <a:gd name="connsiteX31287" fmla="*/ 2467885 w 8079933"/>
              <a:gd name="connsiteY31287" fmla="*/ 2781795 h 4687251"/>
              <a:gd name="connsiteX31288" fmla="*/ 2457251 w 8079933"/>
              <a:gd name="connsiteY31288" fmla="*/ 2781363 h 4687251"/>
              <a:gd name="connsiteX31289" fmla="*/ 2454646 w 8079933"/>
              <a:gd name="connsiteY31289" fmla="*/ 2783419 h 4687251"/>
              <a:gd name="connsiteX31290" fmla="*/ 2455949 w 8079933"/>
              <a:gd name="connsiteY31290" fmla="*/ 2786018 h 4687251"/>
              <a:gd name="connsiteX31291" fmla="*/ 2460832 w 8079933"/>
              <a:gd name="connsiteY31291" fmla="*/ 2788400 h 4687251"/>
              <a:gd name="connsiteX31292" fmla="*/ 2462677 w 8079933"/>
              <a:gd name="connsiteY31292" fmla="*/ 2793055 h 4687251"/>
              <a:gd name="connsiteX31293" fmla="*/ 2465824 w 8079933"/>
              <a:gd name="connsiteY31293" fmla="*/ 2797169 h 4687251"/>
              <a:gd name="connsiteX31294" fmla="*/ 2465607 w 8079933"/>
              <a:gd name="connsiteY31294" fmla="*/ 2793272 h 4687251"/>
              <a:gd name="connsiteX31295" fmla="*/ 2468211 w 8079933"/>
              <a:gd name="connsiteY31295" fmla="*/ 2793055 h 4687251"/>
              <a:gd name="connsiteX31296" fmla="*/ 2473094 w 8079933"/>
              <a:gd name="connsiteY31296" fmla="*/ 2795112 h 4687251"/>
              <a:gd name="connsiteX31297" fmla="*/ 2474613 w 8079933"/>
              <a:gd name="connsiteY31297" fmla="*/ 2797386 h 4687251"/>
              <a:gd name="connsiteX31298" fmla="*/ 2479279 w 8079933"/>
              <a:gd name="connsiteY31298" fmla="*/ 2797603 h 4687251"/>
              <a:gd name="connsiteX31299" fmla="*/ 2482210 w 8079933"/>
              <a:gd name="connsiteY31299" fmla="*/ 2799443 h 4687251"/>
              <a:gd name="connsiteX31300" fmla="*/ 2484597 w 8079933"/>
              <a:gd name="connsiteY31300" fmla="*/ 2801825 h 4687251"/>
              <a:gd name="connsiteX31301" fmla="*/ 2492519 w 8079933"/>
              <a:gd name="connsiteY31301" fmla="*/ 2803882 h 4687251"/>
              <a:gd name="connsiteX31302" fmla="*/ 2499030 w 8079933"/>
              <a:gd name="connsiteY31302" fmla="*/ 2807347 h 4687251"/>
              <a:gd name="connsiteX31303" fmla="*/ 2500441 w 8079933"/>
              <a:gd name="connsiteY31303" fmla="*/ 2811136 h 4687251"/>
              <a:gd name="connsiteX31304" fmla="*/ 2500115 w 8079933"/>
              <a:gd name="connsiteY31304" fmla="*/ 2812652 h 4687251"/>
              <a:gd name="connsiteX31305" fmla="*/ 2503370 w 8079933"/>
              <a:gd name="connsiteY31305" fmla="*/ 2814926 h 4687251"/>
              <a:gd name="connsiteX31306" fmla="*/ 2502394 w 8079933"/>
              <a:gd name="connsiteY31306" fmla="*/ 2817308 h 4687251"/>
              <a:gd name="connsiteX31307" fmla="*/ 2497402 w 8079933"/>
              <a:gd name="connsiteY31307" fmla="*/ 2821097 h 4687251"/>
              <a:gd name="connsiteX31308" fmla="*/ 2495231 w 8079933"/>
              <a:gd name="connsiteY31308" fmla="*/ 2824887 h 4687251"/>
              <a:gd name="connsiteX31309" fmla="*/ 2491868 w 8079933"/>
              <a:gd name="connsiteY31309" fmla="*/ 2827161 h 4687251"/>
              <a:gd name="connsiteX31310" fmla="*/ 2489046 w 8079933"/>
              <a:gd name="connsiteY31310" fmla="*/ 2826727 h 4687251"/>
              <a:gd name="connsiteX31311" fmla="*/ 2484054 w 8079933"/>
              <a:gd name="connsiteY31311" fmla="*/ 2827702 h 4687251"/>
              <a:gd name="connsiteX31312" fmla="*/ 2486985 w 8079933"/>
              <a:gd name="connsiteY31312" fmla="*/ 2828027 h 4687251"/>
              <a:gd name="connsiteX31313" fmla="*/ 2492519 w 8079933"/>
              <a:gd name="connsiteY31313" fmla="*/ 2828677 h 4687251"/>
              <a:gd name="connsiteX31314" fmla="*/ 2500224 w 8079933"/>
              <a:gd name="connsiteY31314" fmla="*/ 2827377 h 4687251"/>
              <a:gd name="connsiteX31315" fmla="*/ 2504130 w 8079933"/>
              <a:gd name="connsiteY31315" fmla="*/ 2825645 h 4687251"/>
              <a:gd name="connsiteX31316" fmla="*/ 2506735 w 8079933"/>
              <a:gd name="connsiteY31316" fmla="*/ 2825645 h 4687251"/>
              <a:gd name="connsiteX31317" fmla="*/ 2511618 w 8079933"/>
              <a:gd name="connsiteY31317" fmla="*/ 2826619 h 4687251"/>
              <a:gd name="connsiteX31318" fmla="*/ 2514873 w 8079933"/>
              <a:gd name="connsiteY31318" fmla="*/ 2825320 h 4687251"/>
              <a:gd name="connsiteX31319" fmla="*/ 2518129 w 8079933"/>
              <a:gd name="connsiteY31319" fmla="*/ 2825428 h 4687251"/>
              <a:gd name="connsiteX31320" fmla="*/ 2527244 w 8079933"/>
              <a:gd name="connsiteY31320" fmla="*/ 2829542 h 4687251"/>
              <a:gd name="connsiteX31321" fmla="*/ 2528437 w 8079933"/>
              <a:gd name="connsiteY31321" fmla="*/ 2830409 h 4687251"/>
              <a:gd name="connsiteX31322" fmla="*/ 2529848 w 8079933"/>
              <a:gd name="connsiteY31322" fmla="*/ 2831166 h 4687251"/>
              <a:gd name="connsiteX31323" fmla="*/ 2534188 w 8079933"/>
              <a:gd name="connsiteY31323" fmla="*/ 2832140 h 4687251"/>
              <a:gd name="connsiteX31324" fmla="*/ 2538855 w 8079933"/>
              <a:gd name="connsiteY31324" fmla="*/ 2836580 h 4687251"/>
              <a:gd name="connsiteX31325" fmla="*/ 2539397 w 8079933"/>
              <a:gd name="connsiteY31325" fmla="*/ 2840370 h 4687251"/>
              <a:gd name="connsiteX31326" fmla="*/ 2545692 w 8079933"/>
              <a:gd name="connsiteY31326" fmla="*/ 2847407 h 4687251"/>
              <a:gd name="connsiteX31327" fmla="*/ 2555133 w 8079933"/>
              <a:gd name="connsiteY31327" fmla="*/ 2853254 h 4687251"/>
              <a:gd name="connsiteX31328" fmla="*/ 2558714 w 8079933"/>
              <a:gd name="connsiteY31328" fmla="*/ 2855960 h 4687251"/>
              <a:gd name="connsiteX31329" fmla="*/ 2561209 w 8079933"/>
              <a:gd name="connsiteY31329" fmla="*/ 2863864 h 4687251"/>
              <a:gd name="connsiteX31330" fmla="*/ 2559582 w 8079933"/>
              <a:gd name="connsiteY31330" fmla="*/ 2868086 h 4687251"/>
              <a:gd name="connsiteX31331" fmla="*/ 2558605 w 8079933"/>
              <a:gd name="connsiteY31331" fmla="*/ 2875557 h 4687251"/>
              <a:gd name="connsiteX31332" fmla="*/ 2559473 w 8079933"/>
              <a:gd name="connsiteY31332" fmla="*/ 2881188 h 4687251"/>
              <a:gd name="connsiteX31333" fmla="*/ 2560450 w 8079933"/>
              <a:gd name="connsiteY31333" fmla="*/ 2876749 h 4687251"/>
              <a:gd name="connsiteX31334" fmla="*/ 2563705 w 8079933"/>
              <a:gd name="connsiteY31334" fmla="*/ 2873067 h 4687251"/>
              <a:gd name="connsiteX31335" fmla="*/ 2568588 w 8079933"/>
              <a:gd name="connsiteY31335" fmla="*/ 2871443 h 4687251"/>
              <a:gd name="connsiteX31336" fmla="*/ 2571518 w 8079933"/>
              <a:gd name="connsiteY31336" fmla="*/ 2869927 h 4687251"/>
              <a:gd name="connsiteX31337" fmla="*/ 2575968 w 8079933"/>
              <a:gd name="connsiteY31337" fmla="*/ 2873392 h 4687251"/>
              <a:gd name="connsiteX31338" fmla="*/ 2583672 w 8079933"/>
              <a:gd name="connsiteY31338" fmla="*/ 2881404 h 4687251"/>
              <a:gd name="connsiteX31339" fmla="*/ 2592679 w 8079933"/>
              <a:gd name="connsiteY31339" fmla="*/ 2883894 h 4687251"/>
              <a:gd name="connsiteX31340" fmla="*/ 2594199 w 8079933"/>
              <a:gd name="connsiteY31340" fmla="*/ 2887467 h 4687251"/>
              <a:gd name="connsiteX31341" fmla="*/ 2594199 w 8079933"/>
              <a:gd name="connsiteY31341" fmla="*/ 2893314 h 4687251"/>
              <a:gd name="connsiteX31342" fmla="*/ 2595609 w 8079933"/>
              <a:gd name="connsiteY31342" fmla="*/ 2898077 h 4687251"/>
              <a:gd name="connsiteX31343" fmla="*/ 2595609 w 8079933"/>
              <a:gd name="connsiteY31343" fmla="*/ 2898078 h 4687251"/>
              <a:gd name="connsiteX31344" fmla="*/ 2596586 w 8079933"/>
              <a:gd name="connsiteY31344" fmla="*/ 2892556 h 4687251"/>
              <a:gd name="connsiteX31345" fmla="*/ 2602663 w 8079933"/>
              <a:gd name="connsiteY31345" fmla="*/ 2890390 h 4687251"/>
              <a:gd name="connsiteX31346" fmla="*/ 2613189 w 8079933"/>
              <a:gd name="connsiteY31346" fmla="*/ 2890174 h 4687251"/>
              <a:gd name="connsiteX31347" fmla="*/ 2620894 w 8079933"/>
              <a:gd name="connsiteY31347" fmla="*/ 2892448 h 4687251"/>
              <a:gd name="connsiteX31348" fmla="*/ 2630226 w 8079933"/>
              <a:gd name="connsiteY31348" fmla="*/ 2890499 h 4687251"/>
              <a:gd name="connsiteX31349" fmla="*/ 2637605 w 8079933"/>
              <a:gd name="connsiteY31349" fmla="*/ 2891256 h 4687251"/>
              <a:gd name="connsiteX31350" fmla="*/ 2641946 w 8079933"/>
              <a:gd name="connsiteY31350" fmla="*/ 2889307 h 4687251"/>
              <a:gd name="connsiteX31351" fmla="*/ 2644985 w 8079933"/>
              <a:gd name="connsiteY31351" fmla="*/ 2888983 h 4687251"/>
              <a:gd name="connsiteX31352" fmla="*/ 2654534 w 8079933"/>
              <a:gd name="connsiteY31352" fmla="*/ 2892556 h 4687251"/>
              <a:gd name="connsiteX31353" fmla="*/ 2662781 w 8079933"/>
              <a:gd name="connsiteY31353" fmla="*/ 2893964 h 4687251"/>
              <a:gd name="connsiteX31354" fmla="*/ 2667773 w 8079933"/>
              <a:gd name="connsiteY31354" fmla="*/ 2896237 h 4687251"/>
              <a:gd name="connsiteX31355" fmla="*/ 2668099 w 8079933"/>
              <a:gd name="connsiteY31355" fmla="*/ 2899485 h 4687251"/>
              <a:gd name="connsiteX31356" fmla="*/ 2663433 w 8079933"/>
              <a:gd name="connsiteY31356" fmla="*/ 2905115 h 4687251"/>
              <a:gd name="connsiteX31357" fmla="*/ 2663215 w 8079933"/>
              <a:gd name="connsiteY31357" fmla="*/ 2905332 h 4687251"/>
              <a:gd name="connsiteX31358" fmla="*/ 2661370 w 8079933"/>
              <a:gd name="connsiteY31358" fmla="*/ 2907389 h 4687251"/>
              <a:gd name="connsiteX31359" fmla="*/ 2658570 w 8079933"/>
              <a:gd name="connsiteY31359" fmla="*/ 2911141 h 4687251"/>
              <a:gd name="connsiteX31360" fmla="*/ 2661370 w 8079933"/>
              <a:gd name="connsiteY31360" fmla="*/ 2907390 h 4687251"/>
              <a:gd name="connsiteX31361" fmla="*/ 2663215 w 8079933"/>
              <a:gd name="connsiteY31361" fmla="*/ 2905333 h 4687251"/>
              <a:gd name="connsiteX31362" fmla="*/ 2663432 w 8079933"/>
              <a:gd name="connsiteY31362" fmla="*/ 2905117 h 4687251"/>
              <a:gd name="connsiteX31363" fmla="*/ 2667773 w 8079933"/>
              <a:gd name="connsiteY31363" fmla="*/ 2902734 h 4687251"/>
              <a:gd name="connsiteX31364" fmla="*/ 2672113 w 8079933"/>
              <a:gd name="connsiteY31364" fmla="*/ 2899703 h 4687251"/>
              <a:gd name="connsiteX31365" fmla="*/ 2679059 w 8079933"/>
              <a:gd name="connsiteY31365" fmla="*/ 2900352 h 4687251"/>
              <a:gd name="connsiteX31366" fmla="*/ 2685135 w 8079933"/>
              <a:gd name="connsiteY31366" fmla="*/ 2903925 h 4687251"/>
              <a:gd name="connsiteX31367" fmla="*/ 2698591 w 8079933"/>
              <a:gd name="connsiteY31367" fmla="*/ 2907390 h 4687251"/>
              <a:gd name="connsiteX31368" fmla="*/ 2704125 w 8079933"/>
              <a:gd name="connsiteY31368" fmla="*/ 2912695 h 4687251"/>
              <a:gd name="connsiteX31369" fmla="*/ 2706296 w 8079933"/>
              <a:gd name="connsiteY31369" fmla="*/ 2913561 h 4687251"/>
              <a:gd name="connsiteX31370" fmla="*/ 2714760 w 8079933"/>
              <a:gd name="connsiteY31370" fmla="*/ 2922331 h 4687251"/>
              <a:gd name="connsiteX31371" fmla="*/ 2715303 w 8079933"/>
              <a:gd name="connsiteY31371" fmla="*/ 2926121 h 4687251"/>
              <a:gd name="connsiteX31372" fmla="*/ 2718233 w 8079933"/>
              <a:gd name="connsiteY31372" fmla="*/ 2928719 h 4687251"/>
              <a:gd name="connsiteX31373" fmla="*/ 2720295 w 8079933"/>
              <a:gd name="connsiteY31373" fmla="*/ 2926445 h 4687251"/>
              <a:gd name="connsiteX31374" fmla="*/ 2724635 w 8079933"/>
              <a:gd name="connsiteY31374" fmla="*/ 2931317 h 4687251"/>
              <a:gd name="connsiteX31375" fmla="*/ 2724948 w 8079933"/>
              <a:gd name="connsiteY31375" fmla="*/ 2937044 h 4687251"/>
              <a:gd name="connsiteX31376" fmla="*/ 2725829 w 8079933"/>
              <a:gd name="connsiteY31376" fmla="*/ 2935648 h 4687251"/>
              <a:gd name="connsiteX31377" fmla="*/ 2725829 w 8079933"/>
              <a:gd name="connsiteY31377" fmla="*/ 2931858 h 4687251"/>
              <a:gd name="connsiteX31378" fmla="*/ 2727023 w 8079933"/>
              <a:gd name="connsiteY31378" fmla="*/ 2931209 h 4687251"/>
              <a:gd name="connsiteX31379" fmla="*/ 2729953 w 8079933"/>
              <a:gd name="connsiteY31379" fmla="*/ 2936839 h 4687251"/>
              <a:gd name="connsiteX31380" fmla="*/ 2730712 w 8079933"/>
              <a:gd name="connsiteY31380" fmla="*/ 2941494 h 4687251"/>
              <a:gd name="connsiteX31381" fmla="*/ 2732666 w 8079933"/>
              <a:gd name="connsiteY31381" fmla="*/ 2943335 h 4687251"/>
              <a:gd name="connsiteX31382" fmla="*/ 2733860 w 8079933"/>
              <a:gd name="connsiteY31382" fmla="*/ 2948316 h 4687251"/>
              <a:gd name="connsiteX31383" fmla="*/ 2733860 w 8079933"/>
              <a:gd name="connsiteY31383" fmla="*/ 2953296 h 4687251"/>
              <a:gd name="connsiteX31384" fmla="*/ 2737332 w 8079933"/>
              <a:gd name="connsiteY31384" fmla="*/ 2962390 h 4687251"/>
              <a:gd name="connsiteX31385" fmla="*/ 2742215 w 8079933"/>
              <a:gd name="connsiteY31385" fmla="*/ 2969212 h 4687251"/>
              <a:gd name="connsiteX31386" fmla="*/ 2747532 w 8079933"/>
              <a:gd name="connsiteY31386" fmla="*/ 2982421 h 4687251"/>
              <a:gd name="connsiteX31387" fmla="*/ 2750680 w 8079933"/>
              <a:gd name="connsiteY31387" fmla="*/ 2991407 h 4687251"/>
              <a:gd name="connsiteX31388" fmla="*/ 2752958 w 8079933"/>
              <a:gd name="connsiteY31388" fmla="*/ 2995197 h 4687251"/>
              <a:gd name="connsiteX31389" fmla="*/ 2754478 w 8079933"/>
              <a:gd name="connsiteY31389" fmla="*/ 2993465 h 4687251"/>
              <a:gd name="connsiteX31390" fmla="*/ 2759469 w 8079933"/>
              <a:gd name="connsiteY31390" fmla="*/ 2993465 h 4687251"/>
              <a:gd name="connsiteX31391" fmla="*/ 2763919 w 8079933"/>
              <a:gd name="connsiteY31391" fmla="*/ 2996712 h 4687251"/>
              <a:gd name="connsiteX31392" fmla="*/ 2763919 w 8079933"/>
              <a:gd name="connsiteY31392" fmla="*/ 3001368 h 4687251"/>
              <a:gd name="connsiteX31393" fmla="*/ 2762399 w 8079933"/>
              <a:gd name="connsiteY31393" fmla="*/ 3002667 h 4687251"/>
              <a:gd name="connsiteX31394" fmla="*/ 2761531 w 8079933"/>
              <a:gd name="connsiteY31394" fmla="*/ 3005916 h 4687251"/>
              <a:gd name="connsiteX31395" fmla="*/ 2763919 w 8079933"/>
              <a:gd name="connsiteY31395" fmla="*/ 3009055 h 4687251"/>
              <a:gd name="connsiteX31396" fmla="*/ 2761639 w 8079933"/>
              <a:gd name="connsiteY31396" fmla="*/ 3010787 h 4687251"/>
              <a:gd name="connsiteX31397" fmla="*/ 2760989 w 8079933"/>
              <a:gd name="connsiteY31397" fmla="*/ 3013495 h 4687251"/>
              <a:gd name="connsiteX31398" fmla="*/ 2750137 w 8079933"/>
              <a:gd name="connsiteY31398" fmla="*/ 3024322 h 4687251"/>
              <a:gd name="connsiteX31399" fmla="*/ 2745687 w 8079933"/>
              <a:gd name="connsiteY31399" fmla="*/ 3031034 h 4687251"/>
              <a:gd name="connsiteX31400" fmla="*/ 2742107 w 8079933"/>
              <a:gd name="connsiteY31400" fmla="*/ 3032550 h 4687251"/>
              <a:gd name="connsiteX31401" fmla="*/ 2737114 w 8079933"/>
              <a:gd name="connsiteY31401" fmla="*/ 3036123 h 4687251"/>
              <a:gd name="connsiteX31402" fmla="*/ 2732448 w 8079933"/>
              <a:gd name="connsiteY31402" fmla="*/ 3038721 h 4687251"/>
              <a:gd name="connsiteX31403" fmla="*/ 2729302 w 8079933"/>
              <a:gd name="connsiteY31403" fmla="*/ 3043052 h 4687251"/>
              <a:gd name="connsiteX31404" fmla="*/ 2727240 w 8079933"/>
              <a:gd name="connsiteY31404" fmla="*/ 3050090 h 4687251"/>
              <a:gd name="connsiteX31405" fmla="*/ 2718776 w 8079933"/>
              <a:gd name="connsiteY31405" fmla="*/ 3060917 h 4687251"/>
              <a:gd name="connsiteX31406" fmla="*/ 2718124 w 8079933"/>
              <a:gd name="connsiteY31406" fmla="*/ 3066547 h 4687251"/>
              <a:gd name="connsiteX31407" fmla="*/ 2714327 w 8079933"/>
              <a:gd name="connsiteY31407" fmla="*/ 3073801 h 4687251"/>
              <a:gd name="connsiteX31408" fmla="*/ 2718233 w 8079933"/>
              <a:gd name="connsiteY31408" fmla="*/ 3071203 h 4687251"/>
              <a:gd name="connsiteX31409" fmla="*/ 2720621 w 8079933"/>
              <a:gd name="connsiteY31409" fmla="*/ 3065031 h 4687251"/>
              <a:gd name="connsiteX31410" fmla="*/ 2723008 w 8079933"/>
              <a:gd name="connsiteY31410" fmla="*/ 3059509 h 4687251"/>
              <a:gd name="connsiteX31411" fmla="*/ 2727782 w 8079933"/>
              <a:gd name="connsiteY31411" fmla="*/ 3055611 h 4687251"/>
              <a:gd name="connsiteX31412" fmla="*/ 2730170 w 8079933"/>
              <a:gd name="connsiteY31412" fmla="*/ 3055611 h 4687251"/>
              <a:gd name="connsiteX31413" fmla="*/ 2730170 w 8079933"/>
              <a:gd name="connsiteY31413" fmla="*/ 3059076 h 4687251"/>
              <a:gd name="connsiteX31414" fmla="*/ 2728976 w 8079933"/>
              <a:gd name="connsiteY31414" fmla="*/ 3061891 h 4687251"/>
              <a:gd name="connsiteX31415" fmla="*/ 2728976 w 8079933"/>
              <a:gd name="connsiteY31415" fmla="*/ 3066872 h 4687251"/>
              <a:gd name="connsiteX31416" fmla="*/ 2723442 w 8079933"/>
              <a:gd name="connsiteY31416" fmla="*/ 3074559 h 4687251"/>
              <a:gd name="connsiteX31417" fmla="*/ 2730821 w 8079933"/>
              <a:gd name="connsiteY31417" fmla="*/ 3066114 h 4687251"/>
              <a:gd name="connsiteX31418" fmla="*/ 2736355 w 8079933"/>
              <a:gd name="connsiteY31418" fmla="*/ 3058427 h 4687251"/>
              <a:gd name="connsiteX31419" fmla="*/ 2741564 w 8079933"/>
              <a:gd name="connsiteY31419" fmla="*/ 3056369 h 4687251"/>
              <a:gd name="connsiteX31420" fmla="*/ 2743843 w 8079933"/>
              <a:gd name="connsiteY31420" fmla="*/ 3057236 h 4687251"/>
              <a:gd name="connsiteX31421" fmla="*/ 2745037 w 8079933"/>
              <a:gd name="connsiteY31421" fmla="*/ 3060809 h 4687251"/>
              <a:gd name="connsiteX31422" fmla="*/ 2746773 w 8079933"/>
              <a:gd name="connsiteY31422" fmla="*/ 3056695 h 4687251"/>
              <a:gd name="connsiteX31423" fmla="*/ 2748726 w 8079933"/>
              <a:gd name="connsiteY31423" fmla="*/ 3055720 h 4687251"/>
              <a:gd name="connsiteX31424" fmla="*/ 2751873 w 8079933"/>
              <a:gd name="connsiteY31424" fmla="*/ 3055720 h 4687251"/>
              <a:gd name="connsiteX31425" fmla="*/ 2750462 w 8079933"/>
              <a:gd name="connsiteY31425" fmla="*/ 3053446 h 4687251"/>
              <a:gd name="connsiteX31426" fmla="*/ 2748292 w 8079933"/>
              <a:gd name="connsiteY31426" fmla="*/ 3051823 h 4687251"/>
              <a:gd name="connsiteX31427" fmla="*/ 2748292 w 8079933"/>
              <a:gd name="connsiteY31427" fmla="*/ 3049115 h 4687251"/>
              <a:gd name="connsiteX31428" fmla="*/ 2754803 w 8079933"/>
              <a:gd name="connsiteY31428" fmla="*/ 3042186 h 4687251"/>
              <a:gd name="connsiteX31429" fmla="*/ 2763810 w 8079933"/>
              <a:gd name="connsiteY31429" fmla="*/ 3042836 h 4687251"/>
              <a:gd name="connsiteX31430" fmla="*/ 2772057 w 8079933"/>
              <a:gd name="connsiteY31430" fmla="*/ 3046301 h 4687251"/>
              <a:gd name="connsiteX31431" fmla="*/ 2777917 w 8079933"/>
              <a:gd name="connsiteY31431" fmla="*/ 3046301 h 4687251"/>
              <a:gd name="connsiteX31432" fmla="*/ 2784862 w 8079933"/>
              <a:gd name="connsiteY31432" fmla="*/ 3042186 h 4687251"/>
              <a:gd name="connsiteX31433" fmla="*/ 2789637 w 8079933"/>
              <a:gd name="connsiteY31433" fmla="*/ 3042186 h 4687251"/>
              <a:gd name="connsiteX31434" fmla="*/ 2794846 w 8079933"/>
              <a:gd name="connsiteY31434" fmla="*/ 3046301 h 4687251"/>
              <a:gd name="connsiteX31435" fmla="*/ 2801357 w 8079933"/>
              <a:gd name="connsiteY31435" fmla="*/ 3047708 h 4687251"/>
              <a:gd name="connsiteX31436" fmla="*/ 2801357 w 8079933"/>
              <a:gd name="connsiteY31436" fmla="*/ 3051823 h 4687251"/>
              <a:gd name="connsiteX31437" fmla="*/ 2798969 w 8079933"/>
              <a:gd name="connsiteY31437" fmla="*/ 3055287 h 4687251"/>
              <a:gd name="connsiteX31438" fmla="*/ 2798969 w 8079933"/>
              <a:gd name="connsiteY31438" fmla="*/ 3060484 h 4687251"/>
              <a:gd name="connsiteX31439" fmla="*/ 2793001 w 8079933"/>
              <a:gd name="connsiteY31439" fmla="*/ 3064815 h 4687251"/>
              <a:gd name="connsiteX31440" fmla="*/ 2793001 w 8079933"/>
              <a:gd name="connsiteY31440" fmla="*/ 3070336 h 4687251"/>
              <a:gd name="connsiteX31441" fmla="*/ 2786055 w 8079933"/>
              <a:gd name="connsiteY31441" fmla="*/ 3072719 h 4687251"/>
              <a:gd name="connsiteX31442" fmla="*/ 2781932 w 8079933"/>
              <a:gd name="connsiteY31442" fmla="*/ 3075100 h 4687251"/>
              <a:gd name="connsiteX31443" fmla="*/ 2779544 w 8079933"/>
              <a:gd name="connsiteY31443" fmla="*/ 3075858 h 4687251"/>
              <a:gd name="connsiteX31444" fmla="*/ 2777266 w 8079933"/>
              <a:gd name="connsiteY31444" fmla="*/ 3074126 h 4687251"/>
              <a:gd name="connsiteX31445" fmla="*/ 2775313 w 8079933"/>
              <a:gd name="connsiteY31445" fmla="*/ 3074126 h 4687251"/>
              <a:gd name="connsiteX31446" fmla="*/ 2771515 w 8079933"/>
              <a:gd name="connsiteY31446" fmla="*/ 3078890 h 4687251"/>
              <a:gd name="connsiteX31447" fmla="*/ 2767391 w 8079933"/>
              <a:gd name="connsiteY31447" fmla="*/ 3079864 h 4687251"/>
              <a:gd name="connsiteX31448" fmla="*/ 2760229 w 8079933"/>
              <a:gd name="connsiteY31448" fmla="*/ 3078565 h 4687251"/>
              <a:gd name="connsiteX31449" fmla="*/ 2755997 w 8079933"/>
              <a:gd name="connsiteY31449" fmla="*/ 3079539 h 4687251"/>
              <a:gd name="connsiteX31450" fmla="*/ 2751982 w 8079933"/>
              <a:gd name="connsiteY31450" fmla="*/ 3082571 h 4687251"/>
              <a:gd name="connsiteX31451" fmla="*/ 2748509 w 8079933"/>
              <a:gd name="connsiteY31451" fmla="*/ 3082571 h 4687251"/>
              <a:gd name="connsiteX31452" fmla="*/ 2751548 w 8079933"/>
              <a:gd name="connsiteY31452" fmla="*/ 3085170 h 4687251"/>
              <a:gd name="connsiteX31453" fmla="*/ 2755888 w 8079933"/>
              <a:gd name="connsiteY31453" fmla="*/ 3084087 h 4687251"/>
              <a:gd name="connsiteX31454" fmla="*/ 2761206 w 8079933"/>
              <a:gd name="connsiteY31454" fmla="*/ 3084087 h 4687251"/>
              <a:gd name="connsiteX31455" fmla="*/ 2767391 w 8079933"/>
              <a:gd name="connsiteY31455" fmla="*/ 3085927 h 4687251"/>
              <a:gd name="connsiteX31456" fmla="*/ 2773034 w 8079933"/>
              <a:gd name="connsiteY31456" fmla="*/ 3083978 h 4687251"/>
              <a:gd name="connsiteX31457" fmla="*/ 2775855 w 8079933"/>
              <a:gd name="connsiteY31457" fmla="*/ 3083978 h 4687251"/>
              <a:gd name="connsiteX31458" fmla="*/ 2775855 w 8079933"/>
              <a:gd name="connsiteY31458" fmla="*/ 3086902 h 4687251"/>
              <a:gd name="connsiteX31459" fmla="*/ 2773902 w 8079933"/>
              <a:gd name="connsiteY31459" fmla="*/ 3092423 h 4687251"/>
              <a:gd name="connsiteX31460" fmla="*/ 2774553 w 8079933"/>
              <a:gd name="connsiteY31460" fmla="*/ 3099028 h 4687251"/>
              <a:gd name="connsiteX31461" fmla="*/ 2770647 w 8079933"/>
              <a:gd name="connsiteY31461" fmla="*/ 3102168 h 4687251"/>
              <a:gd name="connsiteX31462" fmla="*/ 2767391 w 8079933"/>
              <a:gd name="connsiteY31462" fmla="*/ 3106282 h 4687251"/>
              <a:gd name="connsiteX31463" fmla="*/ 2767391 w 8079933"/>
              <a:gd name="connsiteY31463" fmla="*/ 3110288 h 4687251"/>
              <a:gd name="connsiteX31464" fmla="*/ 2770647 w 8079933"/>
              <a:gd name="connsiteY31464" fmla="*/ 3115594 h 4687251"/>
              <a:gd name="connsiteX31465" fmla="*/ 2772166 w 8079933"/>
              <a:gd name="connsiteY31465" fmla="*/ 3121007 h 4687251"/>
              <a:gd name="connsiteX31466" fmla="*/ 2773034 w 8079933"/>
              <a:gd name="connsiteY31466" fmla="*/ 3112021 h 4687251"/>
              <a:gd name="connsiteX31467" fmla="*/ 2772274 w 8079933"/>
              <a:gd name="connsiteY31467" fmla="*/ 3107149 h 4687251"/>
              <a:gd name="connsiteX31468" fmla="*/ 2772274 w 8079933"/>
              <a:gd name="connsiteY31468" fmla="*/ 3104333 h 4687251"/>
              <a:gd name="connsiteX31469" fmla="*/ 2776181 w 8079933"/>
              <a:gd name="connsiteY31469" fmla="*/ 3100219 h 4687251"/>
              <a:gd name="connsiteX31470" fmla="*/ 2778459 w 8079933"/>
              <a:gd name="connsiteY31470" fmla="*/ 3096755 h 4687251"/>
              <a:gd name="connsiteX31471" fmla="*/ 2779436 w 8079933"/>
              <a:gd name="connsiteY31471" fmla="*/ 3090258 h 4687251"/>
              <a:gd name="connsiteX31472" fmla="*/ 2782041 w 8079933"/>
              <a:gd name="connsiteY31472" fmla="*/ 3083545 h 4687251"/>
              <a:gd name="connsiteX31473" fmla="*/ 2786164 w 8079933"/>
              <a:gd name="connsiteY31473" fmla="*/ 3078348 h 4687251"/>
              <a:gd name="connsiteX31474" fmla="*/ 2794737 w 8079933"/>
              <a:gd name="connsiteY31474" fmla="*/ 3073368 h 4687251"/>
              <a:gd name="connsiteX31475" fmla="*/ 2801466 w 8079933"/>
              <a:gd name="connsiteY31475" fmla="*/ 3069362 h 4687251"/>
              <a:gd name="connsiteX31476" fmla="*/ 2806674 w 8079933"/>
              <a:gd name="connsiteY31476" fmla="*/ 3064165 h 4687251"/>
              <a:gd name="connsiteX31477" fmla="*/ 2806674 w 8079933"/>
              <a:gd name="connsiteY31477" fmla="*/ 3061458 h 4687251"/>
              <a:gd name="connsiteX31478" fmla="*/ 2809279 w 8079933"/>
              <a:gd name="connsiteY31478" fmla="*/ 3056803 h 4687251"/>
              <a:gd name="connsiteX31479" fmla="*/ 2813945 w 8079933"/>
              <a:gd name="connsiteY31479" fmla="*/ 3054204 h 4687251"/>
              <a:gd name="connsiteX31480" fmla="*/ 2819479 w 8079933"/>
              <a:gd name="connsiteY31480" fmla="*/ 3054204 h 4687251"/>
              <a:gd name="connsiteX31481" fmla="*/ 2820672 w 8079933"/>
              <a:gd name="connsiteY31481" fmla="*/ 3057452 h 4687251"/>
              <a:gd name="connsiteX31482" fmla="*/ 2822952 w 8079933"/>
              <a:gd name="connsiteY31482" fmla="*/ 3057452 h 4687251"/>
              <a:gd name="connsiteX31483" fmla="*/ 2823602 w 8079933"/>
              <a:gd name="connsiteY31483" fmla="*/ 3054529 h 4687251"/>
              <a:gd name="connsiteX31484" fmla="*/ 2826750 w 8079933"/>
              <a:gd name="connsiteY31484" fmla="*/ 3054529 h 4687251"/>
              <a:gd name="connsiteX31485" fmla="*/ 2831090 w 8079933"/>
              <a:gd name="connsiteY31485" fmla="*/ 3057452 h 4687251"/>
              <a:gd name="connsiteX31486" fmla="*/ 2832284 w 8079933"/>
              <a:gd name="connsiteY31486" fmla="*/ 3055395 h 4687251"/>
              <a:gd name="connsiteX31487" fmla="*/ 2834346 w 8079933"/>
              <a:gd name="connsiteY31487" fmla="*/ 3055395 h 4687251"/>
              <a:gd name="connsiteX31488" fmla="*/ 2841399 w 8079933"/>
              <a:gd name="connsiteY31488" fmla="*/ 3059509 h 4687251"/>
              <a:gd name="connsiteX31489" fmla="*/ 2846717 w 8079933"/>
              <a:gd name="connsiteY31489" fmla="*/ 3061025 h 4687251"/>
              <a:gd name="connsiteX31490" fmla="*/ 2849647 w 8079933"/>
              <a:gd name="connsiteY31490" fmla="*/ 3059834 h 4687251"/>
              <a:gd name="connsiteX31491" fmla="*/ 2851383 w 8079933"/>
              <a:gd name="connsiteY31491" fmla="*/ 3063299 h 4687251"/>
              <a:gd name="connsiteX31492" fmla="*/ 2853987 w 8079933"/>
              <a:gd name="connsiteY31492" fmla="*/ 3064815 h 4687251"/>
              <a:gd name="connsiteX31493" fmla="*/ 2853987 w 8079933"/>
              <a:gd name="connsiteY31493" fmla="*/ 3066872 h 4687251"/>
              <a:gd name="connsiteX31494" fmla="*/ 2855832 w 8079933"/>
              <a:gd name="connsiteY31494" fmla="*/ 3064489 h 4687251"/>
              <a:gd name="connsiteX31495" fmla="*/ 2859088 w 8079933"/>
              <a:gd name="connsiteY31495" fmla="*/ 3065681 h 4687251"/>
              <a:gd name="connsiteX31496" fmla="*/ 2860932 w 8079933"/>
              <a:gd name="connsiteY31496" fmla="*/ 3068063 h 4687251"/>
              <a:gd name="connsiteX31497" fmla="*/ 2864730 w 8079933"/>
              <a:gd name="connsiteY31497" fmla="*/ 3068063 h 4687251"/>
              <a:gd name="connsiteX31498" fmla="*/ 2867443 w 8079933"/>
              <a:gd name="connsiteY31498" fmla="*/ 3070228 h 4687251"/>
              <a:gd name="connsiteX31499" fmla="*/ 2868420 w 8079933"/>
              <a:gd name="connsiteY31499" fmla="*/ 3073693 h 4687251"/>
              <a:gd name="connsiteX31500" fmla="*/ 2870698 w 8079933"/>
              <a:gd name="connsiteY31500" fmla="*/ 3075100 h 4687251"/>
              <a:gd name="connsiteX31501" fmla="*/ 2872218 w 8079933"/>
              <a:gd name="connsiteY31501" fmla="*/ 3078673 h 4687251"/>
              <a:gd name="connsiteX31502" fmla="*/ 2875256 w 8079933"/>
              <a:gd name="connsiteY31502" fmla="*/ 3077158 h 4687251"/>
              <a:gd name="connsiteX31503" fmla="*/ 2878404 w 8079933"/>
              <a:gd name="connsiteY31503" fmla="*/ 3073152 h 4687251"/>
              <a:gd name="connsiteX31504" fmla="*/ 2883720 w 8079933"/>
              <a:gd name="connsiteY31504" fmla="*/ 3074017 h 4687251"/>
              <a:gd name="connsiteX31505" fmla="*/ 2887302 w 8079933"/>
              <a:gd name="connsiteY31505" fmla="*/ 3074017 h 4687251"/>
              <a:gd name="connsiteX31506" fmla="*/ 2891100 w 8079933"/>
              <a:gd name="connsiteY31506" fmla="*/ 3079972 h 4687251"/>
              <a:gd name="connsiteX31507" fmla="*/ 2897611 w 8079933"/>
              <a:gd name="connsiteY31507" fmla="*/ 3087010 h 4687251"/>
              <a:gd name="connsiteX31508" fmla="*/ 2892619 w 8079933"/>
              <a:gd name="connsiteY31508" fmla="*/ 3092640 h 4687251"/>
              <a:gd name="connsiteX31509" fmla="*/ 2896418 w 8079933"/>
              <a:gd name="connsiteY31509" fmla="*/ 3092640 h 4687251"/>
              <a:gd name="connsiteX31510" fmla="*/ 2898154 w 8079933"/>
              <a:gd name="connsiteY31510" fmla="*/ 3094156 h 4687251"/>
              <a:gd name="connsiteX31511" fmla="*/ 2896091 w 8079933"/>
              <a:gd name="connsiteY31511" fmla="*/ 3096105 h 4687251"/>
              <a:gd name="connsiteX31512" fmla="*/ 2893705 w 8079933"/>
              <a:gd name="connsiteY31512" fmla="*/ 3103792 h 4687251"/>
              <a:gd name="connsiteX31513" fmla="*/ 2894573 w 8079933"/>
              <a:gd name="connsiteY31513" fmla="*/ 3109097 h 4687251"/>
              <a:gd name="connsiteX31514" fmla="*/ 2893053 w 8079933"/>
              <a:gd name="connsiteY31514" fmla="*/ 3115160 h 4687251"/>
              <a:gd name="connsiteX31515" fmla="*/ 2894464 w 8079933"/>
              <a:gd name="connsiteY31515" fmla="*/ 3121115 h 4687251"/>
              <a:gd name="connsiteX31516" fmla="*/ 2894464 w 8079933"/>
              <a:gd name="connsiteY31516" fmla="*/ 3114727 h 4687251"/>
              <a:gd name="connsiteX31517" fmla="*/ 2898371 w 8079933"/>
              <a:gd name="connsiteY31517" fmla="*/ 3107149 h 4687251"/>
              <a:gd name="connsiteX31518" fmla="*/ 2898371 w 8079933"/>
              <a:gd name="connsiteY31518" fmla="*/ 3102709 h 4687251"/>
              <a:gd name="connsiteX31519" fmla="*/ 2900758 w 8079933"/>
              <a:gd name="connsiteY31519" fmla="*/ 3101735 h 4687251"/>
              <a:gd name="connsiteX31520" fmla="*/ 2902169 w 8079933"/>
              <a:gd name="connsiteY31520" fmla="*/ 3105308 h 4687251"/>
              <a:gd name="connsiteX31521" fmla="*/ 2904556 w 8079933"/>
              <a:gd name="connsiteY31521" fmla="*/ 3109422 h 4687251"/>
              <a:gd name="connsiteX31522" fmla="*/ 2905207 w 8079933"/>
              <a:gd name="connsiteY31522" fmla="*/ 3103792 h 4687251"/>
              <a:gd name="connsiteX31523" fmla="*/ 2906835 w 8079933"/>
              <a:gd name="connsiteY31523" fmla="*/ 3101410 h 4687251"/>
              <a:gd name="connsiteX31524" fmla="*/ 2911393 w 8079933"/>
              <a:gd name="connsiteY31524" fmla="*/ 3099244 h 4687251"/>
              <a:gd name="connsiteX31525" fmla="*/ 2912152 w 8079933"/>
              <a:gd name="connsiteY31525" fmla="*/ 3097296 h 4687251"/>
              <a:gd name="connsiteX31526" fmla="*/ 2913346 w 8079933"/>
              <a:gd name="connsiteY31526" fmla="*/ 3096646 h 4687251"/>
              <a:gd name="connsiteX31527" fmla="*/ 2916059 w 8079933"/>
              <a:gd name="connsiteY31527" fmla="*/ 3098162 h 4687251"/>
              <a:gd name="connsiteX31528" fmla="*/ 2917144 w 8079933"/>
              <a:gd name="connsiteY31528" fmla="*/ 3096862 h 4687251"/>
              <a:gd name="connsiteX31529" fmla="*/ 2916059 w 8079933"/>
              <a:gd name="connsiteY31529" fmla="*/ 3094156 h 4687251"/>
              <a:gd name="connsiteX31530" fmla="*/ 2916059 w 8079933"/>
              <a:gd name="connsiteY31530" fmla="*/ 3092749 h 4687251"/>
              <a:gd name="connsiteX31531" fmla="*/ 2921050 w 8079933"/>
              <a:gd name="connsiteY31531" fmla="*/ 3092749 h 4687251"/>
              <a:gd name="connsiteX31532" fmla="*/ 2934181 w 8079933"/>
              <a:gd name="connsiteY31532" fmla="*/ 3098920 h 4687251"/>
              <a:gd name="connsiteX31533" fmla="*/ 2940149 w 8079933"/>
              <a:gd name="connsiteY31533" fmla="*/ 3100003 h 4687251"/>
              <a:gd name="connsiteX31534" fmla="*/ 2942429 w 8079933"/>
              <a:gd name="connsiteY31534" fmla="*/ 3100003 h 4687251"/>
              <a:gd name="connsiteX31535" fmla="*/ 2949482 w 8079933"/>
              <a:gd name="connsiteY31535" fmla="*/ 3102709 h 4687251"/>
              <a:gd name="connsiteX31536" fmla="*/ 2950893 w 8079933"/>
              <a:gd name="connsiteY31536" fmla="*/ 3101735 h 4687251"/>
              <a:gd name="connsiteX31537" fmla="*/ 2950025 w 8079933"/>
              <a:gd name="connsiteY31537" fmla="*/ 3099353 h 4687251"/>
              <a:gd name="connsiteX31538" fmla="*/ 2952846 w 8079933"/>
              <a:gd name="connsiteY31538" fmla="*/ 3100111 h 4687251"/>
              <a:gd name="connsiteX31539" fmla="*/ 2953497 w 8079933"/>
              <a:gd name="connsiteY31539" fmla="*/ 3102493 h 4687251"/>
              <a:gd name="connsiteX31540" fmla="*/ 2957295 w 8079933"/>
              <a:gd name="connsiteY31540" fmla="*/ 3105633 h 4687251"/>
              <a:gd name="connsiteX31541" fmla="*/ 2957295 w 8079933"/>
              <a:gd name="connsiteY31541" fmla="*/ 3103251 h 4687251"/>
              <a:gd name="connsiteX31542" fmla="*/ 2958381 w 8079933"/>
              <a:gd name="connsiteY31542" fmla="*/ 3100111 h 4687251"/>
              <a:gd name="connsiteX31543" fmla="*/ 2961093 w 8079933"/>
              <a:gd name="connsiteY31543" fmla="*/ 3102493 h 4687251"/>
              <a:gd name="connsiteX31544" fmla="*/ 2962179 w 8079933"/>
              <a:gd name="connsiteY31544" fmla="*/ 3100435 h 4687251"/>
              <a:gd name="connsiteX31545" fmla="*/ 2968690 w 8079933"/>
              <a:gd name="connsiteY31545" fmla="*/ 3105308 h 4687251"/>
              <a:gd name="connsiteX31546" fmla="*/ 2971402 w 8079933"/>
              <a:gd name="connsiteY31546" fmla="*/ 3108015 h 4687251"/>
              <a:gd name="connsiteX31547" fmla="*/ 2973464 w 8079933"/>
              <a:gd name="connsiteY31547" fmla="*/ 3104875 h 4687251"/>
              <a:gd name="connsiteX31548" fmla="*/ 2977913 w 8079933"/>
              <a:gd name="connsiteY31548" fmla="*/ 3102817 h 4687251"/>
              <a:gd name="connsiteX31549" fmla="*/ 2982037 w 8079933"/>
              <a:gd name="connsiteY31549" fmla="*/ 3104875 h 4687251"/>
              <a:gd name="connsiteX31550" fmla="*/ 2988982 w 8079933"/>
              <a:gd name="connsiteY31550" fmla="*/ 3104875 h 4687251"/>
              <a:gd name="connsiteX31551" fmla="*/ 2993431 w 8079933"/>
              <a:gd name="connsiteY31551" fmla="*/ 3102493 h 4687251"/>
              <a:gd name="connsiteX31552" fmla="*/ 3000702 w 8079933"/>
              <a:gd name="connsiteY31552" fmla="*/ 3105633 h 4687251"/>
              <a:gd name="connsiteX31553" fmla="*/ 3007213 w 8079933"/>
              <a:gd name="connsiteY31553" fmla="*/ 3105633 h 4687251"/>
              <a:gd name="connsiteX31554" fmla="*/ 3021754 w 8079933"/>
              <a:gd name="connsiteY31554" fmla="*/ 3116460 h 4687251"/>
              <a:gd name="connsiteX31555" fmla="*/ 3026963 w 8079933"/>
              <a:gd name="connsiteY31555" fmla="*/ 3116460 h 4687251"/>
              <a:gd name="connsiteX31556" fmla="*/ 3032822 w 8079933"/>
              <a:gd name="connsiteY31556" fmla="*/ 3121982 h 4687251"/>
              <a:gd name="connsiteX31557" fmla="*/ 3036946 w 8079933"/>
              <a:gd name="connsiteY31557" fmla="*/ 3123064 h 4687251"/>
              <a:gd name="connsiteX31558" fmla="*/ 3045519 w 8079933"/>
              <a:gd name="connsiteY31558" fmla="*/ 3135082 h 4687251"/>
              <a:gd name="connsiteX31559" fmla="*/ 3056371 w 8079933"/>
              <a:gd name="connsiteY31559" fmla="*/ 3146451 h 4687251"/>
              <a:gd name="connsiteX31560" fmla="*/ 3061254 w 8079933"/>
              <a:gd name="connsiteY31560" fmla="*/ 3147100 h 4687251"/>
              <a:gd name="connsiteX31561" fmla="*/ 3068199 w 8079933"/>
              <a:gd name="connsiteY31561" fmla="*/ 3150565 h 4687251"/>
              <a:gd name="connsiteX31562" fmla="*/ 3073408 w 8079933"/>
              <a:gd name="connsiteY31562" fmla="*/ 3156412 h 4687251"/>
              <a:gd name="connsiteX31563" fmla="*/ 3078617 w 8079933"/>
              <a:gd name="connsiteY31563" fmla="*/ 3157386 h 4687251"/>
              <a:gd name="connsiteX31564" fmla="*/ 3083066 w 8079933"/>
              <a:gd name="connsiteY31564" fmla="*/ 3163557 h 4687251"/>
              <a:gd name="connsiteX31565" fmla="*/ 3089576 w 8079933"/>
              <a:gd name="connsiteY31565" fmla="*/ 3160742 h 4687251"/>
              <a:gd name="connsiteX31566" fmla="*/ 3098583 w 8079933"/>
              <a:gd name="connsiteY31566" fmla="*/ 3160742 h 4687251"/>
              <a:gd name="connsiteX31567" fmla="*/ 3114101 w 8079933"/>
              <a:gd name="connsiteY31567" fmla="*/ 3167671 h 4687251"/>
              <a:gd name="connsiteX31568" fmla="*/ 3115512 w 8079933"/>
              <a:gd name="connsiteY31568" fmla="*/ 3175251 h 4687251"/>
              <a:gd name="connsiteX31569" fmla="*/ 3115512 w 8079933"/>
              <a:gd name="connsiteY31569" fmla="*/ 3181422 h 4687251"/>
              <a:gd name="connsiteX31570" fmla="*/ 3123760 w 8079933"/>
              <a:gd name="connsiteY31570" fmla="*/ 3199720 h 4687251"/>
              <a:gd name="connsiteX31571" fmla="*/ 3124845 w 8079933"/>
              <a:gd name="connsiteY31571" fmla="*/ 3205566 h 4687251"/>
              <a:gd name="connsiteX31572" fmla="*/ 3127558 w 8079933"/>
              <a:gd name="connsiteY31572" fmla="*/ 3207299 h 4687251"/>
              <a:gd name="connsiteX31573" fmla="*/ 3128317 w 8079933"/>
              <a:gd name="connsiteY31573" fmla="*/ 3219100 h 4687251"/>
              <a:gd name="connsiteX31574" fmla="*/ 3125713 w 8079933"/>
              <a:gd name="connsiteY31574" fmla="*/ 3221373 h 4687251"/>
              <a:gd name="connsiteX31575" fmla="*/ 3124519 w 8079933"/>
              <a:gd name="connsiteY31575" fmla="*/ 3226138 h 4687251"/>
              <a:gd name="connsiteX31576" fmla="*/ 3127666 w 8079933"/>
              <a:gd name="connsiteY31576" fmla="*/ 3230793 h 4687251"/>
              <a:gd name="connsiteX31577" fmla="*/ 3127666 w 8079933"/>
              <a:gd name="connsiteY31577" fmla="*/ 3234908 h 4687251"/>
              <a:gd name="connsiteX31578" fmla="*/ 3124736 w 8079933"/>
              <a:gd name="connsiteY31578" fmla="*/ 3239022 h 4687251"/>
              <a:gd name="connsiteX31579" fmla="*/ 3123217 w 8079933"/>
              <a:gd name="connsiteY31579" fmla="*/ 3244652 h 4687251"/>
              <a:gd name="connsiteX31580" fmla="*/ 3117357 w 8079933"/>
              <a:gd name="connsiteY31580" fmla="*/ 3257537 h 4687251"/>
              <a:gd name="connsiteX31581" fmla="*/ 3114969 w 8079933"/>
              <a:gd name="connsiteY31581" fmla="*/ 3261001 h 4687251"/>
              <a:gd name="connsiteX31582" fmla="*/ 3105528 w 8079933"/>
              <a:gd name="connsiteY31582" fmla="*/ 3273777 h 4687251"/>
              <a:gd name="connsiteX31583" fmla="*/ 3094677 w 8079933"/>
              <a:gd name="connsiteY31583" fmla="*/ 3283413 h 4687251"/>
              <a:gd name="connsiteX31584" fmla="*/ 3091964 w 8079933"/>
              <a:gd name="connsiteY31584" fmla="*/ 3287852 h 4687251"/>
              <a:gd name="connsiteX31585" fmla="*/ 3087841 w 8079933"/>
              <a:gd name="connsiteY31585" fmla="*/ 3289801 h 4687251"/>
              <a:gd name="connsiteX31586" fmla="*/ 3086322 w 8079933"/>
              <a:gd name="connsiteY31586" fmla="*/ 3293915 h 4687251"/>
              <a:gd name="connsiteX31587" fmla="*/ 3073733 w 8079933"/>
              <a:gd name="connsiteY31587" fmla="*/ 3302469 h 4687251"/>
              <a:gd name="connsiteX31588" fmla="*/ 3070261 w 8079933"/>
              <a:gd name="connsiteY31588" fmla="*/ 3309506 h 4687251"/>
              <a:gd name="connsiteX31589" fmla="*/ 3067223 w 8079933"/>
              <a:gd name="connsiteY31589" fmla="*/ 3316761 h 4687251"/>
              <a:gd name="connsiteX31590" fmla="*/ 3064075 w 8079933"/>
              <a:gd name="connsiteY31590" fmla="*/ 3319467 h 4687251"/>
              <a:gd name="connsiteX31591" fmla="*/ 3062882 w 8079933"/>
              <a:gd name="connsiteY31591" fmla="*/ 3324989 h 4687251"/>
              <a:gd name="connsiteX31592" fmla="*/ 3059300 w 8079933"/>
              <a:gd name="connsiteY31592" fmla="*/ 3334084 h 4687251"/>
              <a:gd name="connsiteX31593" fmla="*/ 3051162 w 8079933"/>
              <a:gd name="connsiteY31593" fmla="*/ 3346426 h 4687251"/>
              <a:gd name="connsiteX31594" fmla="*/ 3044760 w 8079933"/>
              <a:gd name="connsiteY31594" fmla="*/ 3349675 h 4687251"/>
              <a:gd name="connsiteX31595" fmla="*/ 3040094 w 8079933"/>
              <a:gd name="connsiteY31595" fmla="*/ 3354005 h 4687251"/>
              <a:gd name="connsiteX31596" fmla="*/ 3037706 w 8079933"/>
              <a:gd name="connsiteY31596" fmla="*/ 3354005 h 4687251"/>
              <a:gd name="connsiteX31597" fmla="*/ 3038574 w 8079933"/>
              <a:gd name="connsiteY31597" fmla="*/ 3351082 h 4687251"/>
              <a:gd name="connsiteX31598" fmla="*/ 3042047 w 8079933"/>
              <a:gd name="connsiteY31598" fmla="*/ 3348483 h 4687251"/>
              <a:gd name="connsiteX31599" fmla="*/ 3044651 w 8079933"/>
              <a:gd name="connsiteY31599" fmla="*/ 3344910 h 4687251"/>
              <a:gd name="connsiteX31600" fmla="*/ 3042264 w 8079933"/>
              <a:gd name="connsiteY31600" fmla="*/ 3343720 h 4687251"/>
              <a:gd name="connsiteX31601" fmla="*/ 3040853 w 8079933"/>
              <a:gd name="connsiteY31601" fmla="*/ 3340797 h 4687251"/>
              <a:gd name="connsiteX31602" fmla="*/ 3037597 w 8079933"/>
              <a:gd name="connsiteY31602" fmla="*/ 3340797 h 4687251"/>
              <a:gd name="connsiteX31603" fmla="*/ 3036187 w 8079933"/>
              <a:gd name="connsiteY31603" fmla="*/ 3345993 h 4687251"/>
              <a:gd name="connsiteX31604" fmla="*/ 3032714 w 8079933"/>
              <a:gd name="connsiteY31604" fmla="*/ 3344803 h 4687251"/>
              <a:gd name="connsiteX31605" fmla="*/ 3028916 w 8079933"/>
              <a:gd name="connsiteY31605" fmla="*/ 3342529 h 4687251"/>
              <a:gd name="connsiteX31606" fmla="*/ 3027722 w 8079933"/>
              <a:gd name="connsiteY31606" fmla="*/ 3339930 h 4687251"/>
              <a:gd name="connsiteX31607" fmla="*/ 3026854 w 8079933"/>
              <a:gd name="connsiteY31607" fmla="*/ 3341987 h 4687251"/>
              <a:gd name="connsiteX31608" fmla="*/ 3025010 w 8079933"/>
              <a:gd name="connsiteY31608" fmla="*/ 3343503 h 4687251"/>
              <a:gd name="connsiteX31609" fmla="*/ 3031412 w 8079933"/>
              <a:gd name="connsiteY31609" fmla="*/ 3346426 h 4687251"/>
              <a:gd name="connsiteX31610" fmla="*/ 3034667 w 8079933"/>
              <a:gd name="connsiteY31610" fmla="*/ 3351732 h 4687251"/>
              <a:gd name="connsiteX31611" fmla="*/ 3034016 w 8079933"/>
              <a:gd name="connsiteY31611" fmla="*/ 3357362 h 4687251"/>
              <a:gd name="connsiteX31612" fmla="*/ 3030869 w 8079933"/>
              <a:gd name="connsiteY31612" fmla="*/ 3358228 h 4687251"/>
              <a:gd name="connsiteX31613" fmla="*/ 3030001 w 8079933"/>
              <a:gd name="connsiteY31613" fmla="*/ 3361801 h 4687251"/>
              <a:gd name="connsiteX31614" fmla="*/ 3030869 w 8079933"/>
              <a:gd name="connsiteY31614" fmla="*/ 3367106 h 4687251"/>
              <a:gd name="connsiteX31615" fmla="*/ 3027396 w 8079933"/>
              <a:gd name="connsiteY31615" fmla="*/ 3372411 h 4687251"/>
              <a:gd name="connsiteX31616" fmla="*/ 3027396 w 8079933"/>
              <a:gd name="connsiteY31616" fmla="*/ 3375118 h 4687251"/>
              <a:gd name="connsiteX31617" fmla="*/ 3031195 w 8079933"/>
              <a:gd name="connsiteY31617" fmla="*/ 3377825 h 4687251"/>
              <a:gd name="connsiteX31618" fmla="*/ 3033256 w 8079933"/>
              <a:gd name="connsiteY31618" fmla="*/ 3375552 h 4687251"/>
              <a:gd name="connsiteX31619" fmla="*/ 3033256 w 8079933"/>
              <a:gd name="connsiteY31619" fmla="*/ 3379882 h 4687251"/>
              <a:gd name="connsiteX31620" fmla="*/ 3031303 w 8079933"/>
              <a:gd name="connsiteY31620" fmla="*/ 3384430 h 4687251"/>
              <a:gd name="connsiteX31621" fmla="*/ 3031303 w 8079933"/>
              <a:gd name="connsiteY31621" fmla="*/ 3390384 h 4687251"/>
              <a:gd name="connsiteX31622" fmla="*/ 3033691 w 8079933"/>
              <a:gd name="connsiteY31622" fmla="*/ 3422866 h 4687251"/>
              <a:gd name="connsiteX31623" fmla="*/ 3031629 w 8079933"/>
              <a:gd name="connsiteY31623" fmla="*/ 3431852 h 4687251"/>
              <a:gd name="connsiteX31624" fmla="*/ 3031629 w 8079933"/>
              <a:gd name="connsiteY31624" fmla="*/ 3435317 h 4687251"/>
              <a:gd name="connsiteX31625" fmla="*/ 3030218 w 8079933"/>
              <a:gd name="connsiteY31625" fmla="*/ 3441488 h 4687251"/>
              <a:gd name="connsiteX31626" fmla="*/ 3031303 w 8079933"/>
              <a:gd name="connsiteY31626" fmla="*/ 3449717 h 4687251"/>
              <a:gd name="connsiteX31627" fmla="*/ 3027505 w 8079933"/>
              <a:gd name="connsiteY31627" fmla="*/ 3460544 h 4687251"/>
              <a:gd name="connsiteX31628" fmla="*/ 3029350 w 8079933"/>
              <a:gd name="connsiteY31628" fmla="*/ 3469421 h 4687251"/>
              <a:gd name="connsiteX31629" fmla="*/ 3028373 w 8079933"/>
              <a:gd name="connsiteY31629" fmla="*/ 3472129 h 4687251"/>
              <a:gd name="connsiteX31630" fmla="*/ 3021320 w 8079933"/>
              <a:gd name="connsiteY31630" fmla="*/ 3477759 h 4687251"/>
              <a:gd name="connsiteX31631" fmla="*/ 3021320 w 8079933"/>
              <a:gd name="connsiteY31631" fmla="*/ 3480898 h 4687251"/>
              <a:gd name="connsiteX31632" fmla="*/ 3018932 w 8079933"/>
              <a:gd name="connsiteY31632" fmla="*/ 3484471 h 4687251"/>
              <a:gd name="connsiteX31633" fmla="*/ 3016002 w 8079933"/>
              <a:gd name="connsiteY31633" fmla="*/ 3493566 h 4687251"/>
              <a:gd name="connsiteX31634" fmla="*/ 3017088 w 8079933"/>
              <a:gd name="connsiteY31634" fmla="*/ 3495839 h 4687251"/>
              <a:gd name="connsiteX31635" fmla="*/ 3018932 w 8079933"/>
              <a:gd name="connsiteY31635" fmla="*/ 3510998 h 4687251"/>
              <a:gd name="connsiteX31636" fmla="*/ 3018932 w 8079933"/>
              <a:gd name="connsiteY31636" fmla="*/ 3515761 h 4687251"/>
              <a:gd name="connsiteX31637" fmla="*/ 3009817 w 8079933"/>
              <a:gd name="connsiteY31637" fmla="*/ 3526589 h 4687251"/>
              <a:gd name="connsiteX31638" fmla="*/ 3003089 w 8079933"/>
              <a:gd name="connsiteY31638" fmla="*/ 3537416 h 4687251"/>
              <a:gd name="connsiteX31639" fmla="*/ 3004283 w 8079933"/>
              <a:gd name="connsiteY31639" fmla="*/ 3538065 h 4687251"/>
              <a:gd name="connsiteX31640" fmla="*/ 3003415 w 8079933"/>
              <a:gd name="connsiteY31640" fmla="*/ 3542830 h 4687251"/>
              <a:gd name="connsiteX31641" fmla="*/ 2999399 w 8079933"/>
              <a:gd name="connsiteY31641" fmla="*/ 3545644 h 4687251"/>
              <a:gd name="connsiteX31642" fmla="*/ 2997121 w 8079933"/>
              <a:gd name="connsiteY31642" fmla="*/ 3547485 h 4687251"/>
              <a:gd name="connsiteX31643" fmla="*/ 2997121 w 8079933"/>
              <a:gd name="connsiteY31643" fmla="*/ 3552140 h 4687251"/>
              <a:gd name="connsiteX31644" fmla="*/ 2993756 w 8079933"/>
              <a:gd name="connsiteY31644" fmla="*/ 3556255 h 4687251"/>
              <a:gd name="connsiteX31645" fmla="*/ 2990826 w 8079933"/>
              <a:gd name="connsiteY31645" fmla="*/ 3562426 h 4687251"/>
              <a:gd name="connsiteX31646" fmla="*/ 2994842 w 8079933"/>
              <a:gd name="connsiteY31646" fmla="*/ 3571521 h 4687251"/>
              <a:gd name="connsiteX31647" fmla="*/ 2996144 w 8079933"/>
              <a:gd name="connsiteY31647" fmla="*/ 3573362 h 4687251"/>
              <a:gd name="connsiteX31648" fmla="*/ 2994733 w 8079933"/>
              <a:gd name="connsiteY31648" fmla="*/ 3576285 h 4687251"/>
              <a:gd name="connsiteX31649" fmla="*/ 2990067 w 8079933"/>
              <a:gd name="connsiteY31649" fmla="*/ 3579100 h 4687251"/>
              <a:gd name="connsiteX31650" fmla="*/ 2981060 w 8079933"/>
              <a:gd name="connsiteY31650" fmla="*/ 3582348 h 4687251"/>
              <a:gd name="connsiteX31651" fmla="*/ 2970208 w 8079933"/>
              <a:gd name="connsiteY31651" fmla="*/ 3589711 h 4687251"/>
              <a:gd name="connsiteX31652" fmla="*/ 2969558 w 8079933"/>
              <a:gd name="connsiteY31652" fmla="*/ 3592093 h 4687251"/>
              <a:gd name="connsiteX31653" fmla="*/ 2970751 w 8079933"/>
              <a:gd name="connsiteY31653" fmla="*/ 3593283 h 4687251"/>
              <a:gd name="connsiteX31654" fmla="*/ 2970751 w 8079933"/>
              <a:gd name="connsiteY31654" fmla="*/ 3595666 h 4687251"/>
              <a:gd name="connsiteX31655" fmla="*/ 2965977 w 8079933"/>
              <a:gd name="connsiteY31655" fmla="*/ 3598913 h 4687251"/>
              <a:gd name="connsiteX31656" fmla="*/ 2958054 w 8079933"/>
              <a:gd name="connsiteY31656" fmla="*/ 3598047 h 4687251"/>
              <a:gd name="connsiteX31657" fmla="*/ 2951543 w 8079933"/>
              <a:gd name="connsiteY31657" fmla="*/ 3598047 h 4687251"/>
              <a:gd name="connsiteX31658" fmla="*/ 2947637 w 8079933"/>
              <a:gd name="connsiteY31658" fmla="*/ 3600213 h 4687251"/>
              <a:gd name="connsiteX31659" fmla="*/ 2940692 w 8079933"/>
              <a:gd name="connsiteY31659" fmla="*/ 3599239 h 4687251"/>
              <a:gd name="connsiteX31660" fmla="*/ 2940041 w 8079933"/>
              <a:gd name="connsiteY31660" fmla="*/ 3595124 h 4687251"/>
              <a:gd name="connsiteX31661" fmla="*/ 2941017 w 8079933"/>
              <a:gd name="connsiteY31661" fmla="*/ 3592417 h 4687251"/>
              <a:gd name="connsiteX31662" fmla="*/ 2938304 w 8079933"/>
              <a:gd name="connsiteY31662" fmla="*/ 3592417 h 4687251"/>
              <a:gd name="connsiteX31663" fmla="*/ 2935375 w 8079933"/>
              <a:gd name="connsiteY31663" fmla="*/ 3594907 h 4687251"/>
              <a:gd name="connsiteX31664" fmla="*/ 2936351 w 8079933"/>
              <a:gd name="connsiteY31664" fmla="*/ 3596748 h 4687251"/>
              <a:gd name="connsiteX31665" fmla="*/ 2925500 w 8079933"/>
              <a:gd name="connsiteY31665" fmla="*/ 3601187 h 4687251"/>
              <a:gd name="connsiteX31666" fmla="*/ 2916276 w 8079933"/>
              <a:gd name="connsiteY31666" fmla="*/ 3604652 h 4687251"/>
              <a:gd name="connsiteX31667" fmla="*/ 2914323 w 8079933"/>
              <a:gd name="connsiteY31667" fmla="*/ 3603136 h 4687251"/>
              <a:gd name="connsiteX31668" fmla="*/ 2915516 w 8079933"/>
              <a:gd name="connsiteY31668" fmla="*/ 3601729 h 4687251"/>
              <a:gd name="connsiteX31669" fmla="*/ 2921593 w 8079933"/>
              <a:gd name="connsiteY31669" fmla="*/ 3600538 h 4687251"/>
              <a:gd name="connsiteX31670" fmla="*/ 2927345 w 8079933"/>
              <a:gd name="connsiteY31670" fmla="*/ 3597289 h 4687251"/>
              <a:gd name="connsiteX31671" fmla="*/ 2927345 w 8079933"/>
              <a:gd name="connsiteY31671" fmla="*/ 3595340 h 4687251"/>
              <a:gd name="connsiteX31672" fmla="*/ 2923329 w 8079933"/>
              <a:gd name="connsiteY31672" fmla="*/ 3595340 h 4687251"/>
              <a:gd name="connsiteX31673" fmla="*/ 2920399 w 8079933"/>
              <a:gd name="connsiteY31673" fmla="*/ 3597614 h 4687251"/>
              <a:gd name="connsiteX31674" fmla="*/ 2916384 w 8079933"/>
              <a:gd name="connsiteY31674" fmla="*/ 3597614 h 4687251"/>
              <a:gd name="connsiteX31675" fmla="*/ 2912803 w 8079933"/>
              <a:gd name="connsiteY31675" fmla="*/ 3596640 h 4687251"/>
              <a:gd name="connsiteX31676" fmla="*/ 2906618 w 8079933"/>
              <a:gd name="connsiteY31676" fmla="*/ 3600429 h 4687251"/>
              <a:gd name="connsiteX31677" fmla="*/ 2903037 w 8079933"/>
              <a:gd name="connsiteY31677" fmla="*/ 3601296 h 4687251"/>
              <a:gd name="connsiteX31678" fmla="*/ 2904556 w 8079933"/>
              <a:gd name="connsiteY31678" fmla="*/ 3604218 h 4687251"/>
              <a:gd name="connsiteX31679" fmla="*/ 2907812 w 8079933"/>
              <a:gd name="connsiteY31679" fmla="*/ 3604869 h 4687251"/>
              <a:gd name="connsiteX31680" fmla="*/ 2910199 w 8079933"/>
              <a:gd name="connsiteY31680" fmla="*/ 3606384 h 4687251"/>
              <a:gd name="connsiteX31681" fmla="*/ 2910199 w 8079933"/>
              <a:gd name="connsiteY31681" fmla="*/ 3608225 h 4687251"/>
              <a:gd name="connsiteX31682" fmla="*/ 2906292 w 8079933"/>
              <a:gd name="connsiteY31682" fmla="*/ 3609416 h 4687251"/>
              <a:gd name="connsiteX31683" fmla="*/ 2896091 w 8079933"/>
              <a:gd name="connsiteY31683" fmla="*/ 3615803 h 4687251"/>
              <a:gd name="connsiteX31684" fmla="*/ 2892511 w 8079933"/>
              <a:gd name="connsiteY31684" fmla="*/ 3622192 h 4687251"/>
              <a:gd name="connsiteX31685" fmla="*/ 2892511 w 8079933"/>
              <a:gd name="connsiteY31685" fmla="*/ 3625657 h 4687251"/>
              <a:gd name="connsiteX31686" fmla="*/ 2888930 w 8079933"/>
              <a:gd name="connsiteY31686" fmla="*/ 3624790 h 4687251"/>
              <a:gd name="connsiteX31687" fmla="*/ 2885782 w 8079933"/>
              <a:gd name="connsiteY31687" fmla="*/ 3622192 h 4687251"/>
              <a:gd name="connsiteX31688" fmla="*/ 2879706 w 8079933"/>
              <a:gd name="connsiteY31688" fmla="*/ 3622192 h 4687251"/>
              <a:gd name="connsiteX31689" fmla="*/ 2874497 w 8079933"/>
              <a:gd name="connsiteY31689" fmla="*/ 3626306 h 4687251"/>
              <a:gd name="connsiteX31690" fmla="*/ 2869831 w 8079933"/>
              <a:gd name="connsiteY31690" fmla="*/ 3630745 h 4687251"/>
              <a:gd name="connsiteX31691" fmla="*/ 2861257 w 8079933"/>
              <a:gd name="connsiteY31691" fmla="*/ 3631828 h 4687251"/>
              <a:gd name="connsiteX31692" fmla="*/ 2851491 w 8079933"/>
              <a:gd name="connsiteY31692" fmla="*/ 3642655 h 4687251"/>
              <a:gd name="connsiteX31693" fmla="*/ 2844112 w 8079933"/>
              <a:gd name="connsiteY31693" fmla="*/ 3647419 h 4687251"/>
              <a:gd name="connsiteX31694" fmla="*/ 2837710 w 8079933"/>
              <a:gd name="connsiteY31694" fmla="*/ 3652940 h 4687251"/>
              <a:gd name="connsiteX31695" fmla="*/ 2837710 w 8079933"/>
              <a:gd name="connsiteY31695" fmla="*/ 3655322 h 4687251"/>
              <a:gd name="connsiteX31696" fmla="*/ 2833261 w 8079933"/>
              <a:gd name="connsiteY31696" fmla="*/ 3658246 h 4687251"/>
              <a:gd name="connsiteX31697" fmla="*/ 2825664 w 8079933"/>
              <a:gd name="connsiteY31697" fmla="*/ 3665283 h 4687251"/>
              <a:gd name="connsiteX31698" fmla="*/ 2823277 w 8079933"/>
              <a:gd name="connsiteY31698" fmla="*/ 3663443 h 4687251"/>
              <a:gd name="connsiteX31699" fmla="*/ 2820130 w 8079933"/>
              <a:gd name="connsiteY31699" fmla="*/ 3667882 h 4687251"/>
              <a:gd name="connsiteX31700" fmla="*/ 2815355 w 8079933"/>
              <a:gd name="connsiteY31700" fmla="*/ 3669289 h 4687251"/>
              <a:gd name="connsiteX31701" fmla="*/ 2821215 w 8079933"/>
              <a:gd name="connsiteY31701" fmla="*/ 3671888 h 4687251"/>
              <a:gd name="connsiteX31702" fmla="*/ 2821215 w 8079933"/>
              <a:gd name="connsiteY31702" fmla="*/ 3676544 h 4687251"/>
              <a:gd name="connsiteX31703" fmla="*/ 2815573 w 8079933"/>
              <a:gd name="connsiteY31703" fmla="*/ 3677952 h 4687251"/>
              <a:gd name="connsiteX31704" fmla="*/ 2818502 w 8079933"/>
              <a:gd name="connsiteY31704" fmla="*/ 3679683 h 4687251"/>
              <a:gd name="connsiteX31705" fmla="*/ 2820021 w 8079933"/>
              <a:gd name="connsiteY31705" fmla="*/ 3683689 h 4687251"/>
              <a:gd name="connsiteX31706" fmla="*/ 2813945 w 8079933"/>
              <a:gd name="connsiteY31706" fmla="*/ 3684880 h 4687251"/>
              <a:gd name="connsiteX31707" fmla="*/ 2812100 w 8079933"/>
              <a:gd name="connsiteY31707" fmla="*/ 3686613 h 4687251"/>
              <a:gd name="connsiteX31708" fmla="*/ 2814487 w 8079933"/>
              <a:gd name="connsiteY31708" fmla="*/ 3693867 h 4687251"/>
              <a:gd name="connsiteX31709" fmla="*/ 2816006 w 8079933"/>
              <a:gd name="connsiteY31709" fmla="*/ 3700688 h 4687251"/>
              <a:gd name="connsiteX31710" fmla="*/ 2816874 w 8079933"/>
              <a:gd name="connsiteY31710" fmla="*/ 3703828 h 4687251"/>
              <a:gd name="connsiteX31711" fmla="*/ 2816006 w 8079933"/>
              <a:gd name="connsiteY31711" fmla="*/ 3706751 h 4687251"/>
              <a:gd name="connsiteX31712" fmla="*/ 2816006 w 8079933"/>
              <a:gd name="connsiteY31712" fmla="*/ 3709675 h 4687251"/>
              <a:gd name="connsiteX31713" fmla="*/ 2820672 w 8079933"/>
              <a:gd name="connsiteY31713" fmla="*/ 3716171 h 4687251"/>
              <a:gd name="connsiteX31714" fmla="*/ 2820672 w 8079933"/>
              <a:gd name="connsiteY31714" fmla="*/ 3720934 h 4687251"/>
              <a:gd name="connsiteX31715" fmla="*/ 2821758 w 8079933"/>
              <a:gd name="connsiteY31715" fmla="*/ 3722558 h 4687251"/>
              <a:gd name="connsiteX31716" fmla="*/ 2822843 w 8079933"/>
              <a:gd name="connsiteY31716" fmla="*/ 3723966 h 4687251"/>
              <a:gd name="connsiteX31717" fmla="*/ 2821758 w 8079933"/>
              <a:gd name="connsiteY31717" fmla="*/ 3727106 h 4687251"/>
              <a:gd name="connsiteX31718" fmla="*/ 2822843 w 8079933"/>
              <a:gd name="connsiteY31718" fmla="*/ 3731436 h 4687251"/>
              <a:gd name="connsiteX31719" fmla="*/ 2819696 w 8079933"/>
              <a:gd name="connsiteY31719" fmla="*/ 3733278 h 4687251"/>
              <a:gd name="connsiteX31720" fmla="*/ 2817959 w 8079933"/>
              <a:gd name="connsiteY31720" fmla="*/ 3738583 h 4687251"/>
              <a:gd name="connsiteX31721" fmla="*/ 2815681 w 8079933"/>
              <a:gd name="connsiteY31721" fmla="*/ 3739232 h 4687251"/>
              <a:gd name="connsiteX31722" fmla="*/ 2815681 w 8079933"/>
              <a:gd name="connsiteY31722" fmla="*/ 3742480 h 4687251"/>
              <a:gd name="connsiteX31723" fmla="*/ 2816766 w 8079933"/>
              <a:gd name="connsiteY31723" fmla="*/ 3743779 h 4687251"/>
              <a:gd name="connsiteX31724" fmla="*/ 2815030 w 8079933"/>
              <a:gd name="connsiteY31724" fmla="*/ 3747569 h 4687251"/>
              <a:gd name="connsiteX31725" fmla="*/ 2804178 w 8079933"/>
              <a:gd name="connsiteY31725" fmla="*/ 3760237 h 4687251"/>
              <a:gd name="connsiteX31726" fmla="*/ 2793327 w 8079933"/>
              <a:gd name="connsiteY31726" fmla="*/ 3780916 h 4687251"/>
              <a:gd name="connsiteX31727" fmla="*/ 2788986 w 8079933"/>
              <a:gd name="connsiteY31727" fmla="*/ 3793259 h 4687251"/>
              <a:gd name="connsiteX31728" fmla="*/ 2784645 w 8079933"/>
              <a:gd name="connsiteY31728" fmla="*/ 3802896 h 4687251"/>
              <a:gd name="connsiteX31729" fmla="*/ 2773793 w 8079933"/>
              <a:gd name="connsiteY31729" fmla="*/ 3821951 h 4687251"/>
              <a:gd name="connsiteX31730" fmla="*/ 2766089 w 8079933"/>
              <a:gd name="connsiteY31730" fmla="*/ 3830721 h 4687251"/>
              <a:gd name="connsiteX31731" fmla="*/ 2750897 w 8079933"/>
              <a:gd name="connsiteY31731" fmla="*/ 3842522 h 4687251"/>
              <a:gd name="connsiteX31732" fmla="*/ 2746231 w 8079933"/>
              <a:gd name="connsiteY31732" fmla="*/ 3841115 h 4687251"/>
              <a:gd name="connsiteX31733" fmla="*/ 2746231 w 8079933"/>
              <a:gd name="connsiteY31733" fmla="*/ 3838516 h 4687251"/>
              <a:gd name="connsiteX31734" fmla="*/ 2748184 w 8079933"/>
              <a:gd name="connsiteY31734" fmla="*/ 3836676 h 4687251"/>
              <a:gd name="connsiteX31735" fmla="*/ 2752090 w 8079933"/>
              <a:gd name="connsiteY31735" fmla="*/ 3836026 h 4687251"/>
              <a:gd name="connsiteX31736" fmla="*/ 2752090 w 8079933"/>
              <a:gd name="connsiteY31736" fmla="*/ 3833428 h 4687251"/>
              <a:gd name="connsiteX31737" fmla="*/ 2755671 w 8079933"/>
              <a:gd name="connsiteY31737" fmla="*/ 3830288 h 4687251"/>
              <a:gd name="connsiteX31738" fmla="*/ 2760663 w 8079933"/>
              <a:gd name="connsiteY31738" fmla="*/ 3827581 h 4687251"/>
              <a:gd name="connsiteX31739" fmla="*/ 2762182 w 8079933"/>
              <a:gd name="connsiteY31739" fmla="*/ 3827581 h 4687251"/>
              <a:gd name="connsiteX31740" fmla="*/ 2763919 w 8079933"/>
              <a:gd name="connsiteY31740" fmla="*/ 3824333 h 4687251"/>
              <a:gd name="connsiteX31741" fmla="*/ 2764569 w 8079933"/>
              <a:gd name="connsiteY31741" fmla="*/ 3818270 h 4687251"/>
              <a:gd name="connsiteX31742" fmla="*/ 2769562 w 8079933"/>
              <a:gd name="connsiteY31742" fmla="*/ 3818270 h 4687251"/>
              <a:gd name="connsiteX31743" fmla="*/ 2775096 w 8079933"/>
              <a:gd name="connsiteY31743" fmla="*/ 3808742 h 4687251"/>
              <a:gd name="connsiteX31744" fmla="*/ 2777375 w 8079933"/>
              <a:gd name="connsiteY31744" fmla="*/ 3800513 h 4687251"/>
              <a:gd name="connsiteX31745" fmla="*/ 2779219 w 8079933"/>
              <a:gd name="connsiteY31745" fmla="*/ 3800513 h 4687251"/>
              <a:gd name="connsiteX31746" fmla="*/ 2779219 w 8079933"/>
              <a:gd name="connsiteY31746" fmla="*/ 3796399 h 4687251"/>
              <a:gd name="connsiteX31747" fmla="*/ 2777700 w 8079933"/>
              <a:gd name="connsiteY31747" fmla="*/ 3794884 h 4687251"/>
              <a:gd name="connsiteX31748" fmla="*/ 2775313 w 8079933"/>
              <a:gd name="connsiteY31748" fmla="*/ 3796291 h 4687251"/>
              <a:gd name="connsiteX31749" fmla="*/ 2773034 w 8079933"/>
              <a:gd name="connsiteY31749" fmla="*/ 3796291 h 4687251"/>
              <a:gd name="connsiteX31750" fmla="*/ 2767391 w 8079933"/>
              <a:gd name="connsiteY31750" fmla="*/ 3790120 h 4687251"/>
              <a:gd name="connsiteX31751" fmla="*/ 2764678 w 8079933"/>
              <a:gd name="connsiteY31751" fmla="*/ 3784489 h 4687251"/>
              <a:gd name="connsiteX31752" fmla="*/ 2762291 w 8079933"/>
              <a:gd name="connsiteY31752" fmla="*/ 3783840 h 4687251"/>
              <a:gd name="connsiteX31753" fmla="*/ 2764352 w 8079933"/>
              <a:gd name="connsiteY31753" fmla="*/ 3785680 h 4687251"/>
              <a:gd name="connsiteX31754" fmla="*/ 2764352 w 8079933"/>
              <a:gd name="connsiteY31754" fmla="*/ 3792935 h 4687251"/>
              <a:gd name="connsiteX31755" fmla="*/ 2766957 w 8079933"/>
              <a:gd name="connsiteY31755" fmla="*/ 3795641 h 4687251"/>
              <a:gd name="connsiteX31756" fmla="*/ 2768150 w 8079933"/>
              <a:gd name="connsiteY31756" fmla="*/ 3799105 h 4687251"/>
              <a:gd name="connsiteX31757" fmla="*/ 2766414 w 8079933"/>
              <a:gd name="connsiteY31757" fmla="*/ 3803761 h 4687251"/>
              <a:gd name="connsiteX31758" fmla="*/ 2762616 w 8079933"/>
              <a:gd name="connsiteY31758" fmla="*/ 3803761 h 4687251"/>
              <a:gd name="connsiteX31759" fmla="*/ 2760880 w 8079933"/>
              <a:gd name="connsiteY31759" fmla="*/ 3806035 h 4687251"/>
              <a:gd name="connsiteX31760" fmla="*/ 2760880 w 8079933"/>
              <a:gd name="connsiteY31760" fmla="*/ 3811557 h 4687251"/>
              <a:gd name="connsiteX31761" fmla="*/ 2759361 w 8079933"/>
              <a:gd name="connsiteY31761" fmla="*/ 3813181 h 4687251"/>
              <a:gd name="connsiteX31762" fmla="*/ 2759361 w 8079933"/>
              <a:gd name="connsiteY31762" fmla="*/ 3817945 h 4687251"/>
              <a:gd name="connsiteX31763" fmla="*/ 2755346 w 8079933"/>
              <a:gd name="connsiteY31763" fmla="*/ 3822600 h 4687251"/>
              <a:gd name="connsiteX31764" fmla="*/ 2752090 w 8079933"/>
              <a:gd name="connsiteY31764" fmla="*/ 3822600 h 4687251"/>
              <a:gd name="connsiteX31765" fmla="*/ 2749703 w 8079933"/>
              <a:gd name="connsiteY31765" fmla="*/ 3820652 h 4687251"/>
              <a:gd name="connsiteX31766" fmla="*/ 2749703 w 8079933"/>
              <a:gd name="connsiteY31766" fmla="*/ 3824116 h 4687251"/>
              <a:gd name="connsiteX31767" fmla="*/ 2745687 w 8079933"/>
              <a:gd name="connsiteY31767" fmla="*/ 3828555 h 4687251"/>
              <a:gd name="connsiteX31768" fmla="*/ 2745687 w 8079933"/>
              <a:gd name="connsiteY31768" fmla="*/ 3831587 h 4687251"/>
              <a:gd name="connsiteX31769" fmla="*/ 2742215 w 8079933"/>
              <a:gd name="connsiteY31769" fmla="*/ 3833320 h 4687251"/>
              <a:gd name="connsiteX31770" fmla="*/ 2740479 w 8079933"/>
              <a:gd name="connsiteY31770" fmla="*/ 3838083 h 4687251"/>
              <a:gd name="connsiteX31771" fmla="*/ 2743951 w 8079933"/>
              <a:gd name="connsiteY31771" fmla="*/ 3843714 h 4687251"/>
              <a:gd name="connsiteX31772" fmla="*/ 2746013 w 8079933"/>
              <a:gd name="connsiteY31772" fmla="*/ 3846312 h 4687251"/>
              <a:gd name="connsiteX31773" fmla="*/ 2744494 w 8079933"/>
              <a:gd name="connsiteY31773" fmla="*/ 3848585 h 4687251"/>
              <a:gd name="connsiteX31774" fmla="*/ 2740913 w 8079933"/>
              <a:gd name="connsiteY31774" fmla="*/ 3859412 h 4687251"/>
              <a:gd name="connsiteX31775" fmla="*/ 2736898 w 8079933"/>
              <a:gd name="connsiteY31775" fmla="*/ 3876087 h 4687251"/>
              <a:gd name="connsiteX31776" fmla="*/ 2733860 w 8079933"/>
              <a:gd name="connsiteY31776" fmla="*/ 3883340 h 4687251"/>
              <a:gd name="connsiteX31777" fmla="*/ 2725178 w 8079933"/>
              <a:gd name="connsiteY31777" fmla="*/ 3890486 h 4687251"/>
              <a:gd name="connsiteX31778" fmla="*/ 2723876 w 8079933"/>
              <a:gd name="connsiteY31778" fmla="*/ 3889403 h 4687251"/>
              <a:gd name="connsiteX31779" fmla="*/ 2721054 w 8079933"/>
              <a:gd name="connsiteY31779" fmla="*/ 3885722 h 4687251"/>
              <a:gd name="connsiteX31780" fmla="*/ 2720403 w 8079933"/>
              <a:gd name="connsiteY31780" fmla="*/ 3884531 h 4687251"/>
              <a:gd name="connsiteX31781" fmla="*/ 2719535 w 8079933"/>
              <a:gd name="connsiteY31781" fmla="*/ 3882799 h 4687251"/>
              <a:gd name="connsiteX31782" fmla="*/ 2717256 w 8079933"/>
              <a:gd name="connsiteY31782" fmla="*/ 3875545 h 4687251"/>
              <a:gd name="connsiteX31783" fmla="*/ 2721706 w 8079933"/>
              <a:gd name="connsiteY31783" fmla="*/ 3869374 h 4687251"/>
              <a:gd name="connsiteX31784" fmla="*/ 2722672 w 8079933"/>
              <a:gd name="connsiteY31784" fmla="*/ 3862727 h 4687251"/>
              <a:gd name="connsiteX31785" fmla="*/ 2721598 w 8079933"/>
              <a:gd name="connsiteY31785" fmla="*/ 3869373 h 4687251"/>
              <a:gd name="connsiteX31786" fmla="*/ 2717148 w 8079933"/>
              <a:gd name="connsiteY31786" fmla="*/ 3875546 h 4687251"/>
              <a:gd name="connsiteX31787" fmla="*/ 2719427 w 8079933"/>
              <a:gd name="connsiteY31787" fmla="*/ 3882799 h 4687251"/>
              <a:gd name="connsiteX31788" fmla="*/ 2720295 w 8079933"/>
              <a:gd name="connsiteY31788" fmla="*/ 3884532 h 4687251"/>
              <a:gd name="connsiteX31789" fmla="*/ 2720946 w 8079933"/>
              <a:gd name="connsiteY31789" fmla="*/ 3885723 h 4687251"/>
              <a:gd name="connsiteX31790" fmla="*/ 2723659 w 8079933"/>
              <a:gd name="connsiteY31790" fmla="*/ 3889512 h 4687251"/>
              <a:gd name="connsiteX31791" fmla="*/ 2725070 w 8079933"/>
              <a:gd name="connsiteY31791" fmla="*/ 3890595 h 4687251"/>
              <a:gd name="connsiteX31792" fmla="*/ 2723008 w 8079933"/>
              <a:gd name="connsiteY31792" fmla="*/ 3892218 h 4687251"/>
              <a:gd name="connsiteX31793" fmla="*/ 2719210 w 8079933"/>
              <a:gd name="connsiteY31793" fmla="*/ 3896658 h 4687251"/>
              <a:gd name="connsiteX31794" fmla="*/ 2719210 w 8079933"/>
              <a:gd name="connsiteY31794" fmla="*/ 3903371 h 4687251"/>
              <a:gd name="connsiteX31795" fmla="*/ 2714652 w 8079933"/>
              <a:gd name="connsiteY31795" fmla="*/ 3907701 h 4687251"/>
              <a:gd name="connsiteX31796" fmla="*/ 2712265 w 8079933"/>
              <a:gd name="connsiteY31796" fmla="*/ 3911383 h 4687251"/>
              <a:gd name="connsiteX31797" fmla="*/ 2713134 w 8079933"/>
              <a:gd name="connsiteY31797" fmla="*/ 3912140 h 4687251"/>
              <a:gd name="connsiteX31798" fmla="*/ 2711614 w 8079933"/>
              <a:gd name="connsiteY31798" fmla="*/ 3914631 h 4687251"/>
              <a:gd name="connsiteX31799" fmla="*/ 2705863 w 8079933"/>
              <a:gd name="connsiteY31799" fmla="*/ 3921344 h 4687251"/>
              <a:gd name="connsiteX31800" fmla="*/ 2696965 w 8079933"/>
              <a:gd name="connsiteY31800" fmla="*/ 3924592 h 4687251"/>
              <a:gd name="connsiteX31801" fmla="*/ 2694902 w 8079933"/>
              <a:gd name="connsiteY31801" fmla="*/ 3922860 h 4687251"/>
              <a:gd name="connsiteX31802" fmla="*/ 2693709 w 8079933"/>
              <a:gd name="connsiteY31802" fmla="*/ 3923726 h 4687251"/>
              <a:gd name="connsiteX31803" fmla="*/ 2693166 w 8079933"/>
              <a:gd name="connsiteY31803" fmla="*/ 3926540 h 4687251"/>
              <a:gd name="connsiteX31804" fmla="*/ 2690779 w 8079933"/>
              <a:gd name="connsiteY31804" fmla="*/ 3928273 h 4687251"/>
              <a:gd name="connsiteX31805" fmla="*/ 2687306 w 8079933"/>
              <a:gd name="connsiteY31805" fmla="*/ 3927948 h 4687251"/>
              <a:gd name="connsiteX31806" fmla="*/ 2683725 w 8079933"/>
              <a:gd name="connsiteY31806" fmla="*/ 3926540 h 4687251"/>
              <a:gd name="connsiteX31807" fmla="*/ 2681230 w 8079933"/>
              <a:gd name="connsiteY31807" fmla="*/ 3927082 h 4687251"/>
              <a:gd name="connsiteX31808" fmla="*/ 2678191 w 8079933"/>
              <a:gd name="connsiteY31808" fmla="*/ 3925350 h 4687251"/>
              <a:gd name="connsiteX31809" fmla="*/ 2673525 w 8079933"/>
              <a:gd name="connsiteY31809" fmla="*/ 3923617 h 4687251"/>
              <a:gd name="connsiteX31810" fmla="*/ 2666796 w 8079933"/>
              <a:gd name="connsiteY31810" fmla="*/ 3924809 h 4687251"/>
              <a:gd name="connsiteX31811" fmla="*/ 2661588 w 8079933"/>
              <a:gd name="connsiteY31811" fmla="*/ 3928056 h 4687251"/>
              <a:gd name="connsiteX31812" fmla="*/ 2656705 w 8079933"/>
              <a:gd name="connsiteY31812" fmla="*/ 3927840 h 4687251"/>
              <a:gd name="connsiteX31813" fmla="*/ 2656813 w 8079933"/>
              <a:gd name="connsiteY31813" fmla="*/ 3925350 h 4687251"/>
              <a:gd name="connsiteX31814" fmla="*/ 2657464 w 8079933"/>
              <a:gd name="connsiteY31814" fmla="*/ 3923509 h 4687251"/>
              <a:gd name="connsiteX31815" fmla="*/ 2656270 w 8079933"/>
              <a:gd name="connsiteY31815" fmla="*/ 3922318 h 4687251"/>
              <a:gd name="connsiteX31816" fmla="*/ 2652581 w 8079933"/>
              <a:gd name="connsiteY31816" fmla="*/ 3922101 h 4687251"/>
              <a:gd name="connsiteX31817" fmla="*/ 2648891 w 8079933"/>
              <a:gd name="connsiteY31817" fmla="*/ 3921452 h 4687251"/>
              <a:gd name="connsiteX31818" fmla="*/ 2643248 w 8079933"/>
              <a:gd name="connsiteY31818" fmla="*/ 3917554 h 4687251"/>
              <a:gd name="connsiteX31819" fmla="*/ 2637063 w 8079933"/>
              <a:gd name="connsiteY31819" fmla="*/ 3917121 h 4687251"/>
              <a:gd name="connsiteX31820" fmla="*/ 2626537 w 8079933"/>
              <a:gd name="connsiteY31820" fmla="*/ 3918095 h 4687251"/>
              <a:gd name="connsiteX31821" fmla="*/ 2622956 w 8079933"/>
              <a:gd name="connsiteY31821" fmla="*/ 3917229 h 4687251"/>
              <a:gd name="connsiteX31822" fmla="*/ 2616336 w 8079933"/>
              <a:gd name="connsiteY31822" fmla="*/ 3910625 h 4687251"/>
              <a:gd name="connsiteX31823" fmla="*/ 2613949 w 8079933"/>
              <a:gd name="connsiteY31823" fmla="*/ 3910084 h 4687251"/>
              <a:gd name="connsiteX31824" fmla="*/ 2606895 w 8079933"/>
              <a:gd name="connsiteY31824" fmla="*/ 3900339 h 4687251"/>
              <a:gd name="connsiteX31825" fmla="*/ 2603640 w 8079933"/>
              <a:gd name="connsiteY31825" fmla="*/ 3891894 h 4687251"/>
              <a:gd name="connsiteX31826" fmla="*/ 2603423 w 8079933"/>
              <a:gd name="connsiteY31826" fmla="*/ 3881283 h 4687251"/>
              <a:gd name="connsiteX31827" fmla="*/ 2603531 w 8079933"/>
              <a:gd name="connsiteY31827" fmla="*/ 3880850 h 4687251"/>
              <a:gd name="connsiteX31828" fmla="*/ 2604400 w 8079933"/>
              <a:gd name="connsiteY31828" fmla="*/ 3879226 h 4687251"/>
              <a:gd name="connsiteX31829" fmla="*/ 2607981 w 8079933"/>
              <a:gd name="connsiteY31829" fmla="*/ 3875978 h 4687251"/>
              <a:gd name="connsiteX31830" fmla="*/ 2609499 w 8079933"/>
              <a:gd name="connsiteY31830" fmla="*/ 3872514 h 4687251"/>
              <a:gd name="connsiteX31831" fmla="*/ 2609499 w 8079933"/>
              <a:gd name="connsiteY31831" fmla="*/ 3872513 h 4687251"/>
              <a:gd name="connsiteX31832" fmla="*/ 2607981 w 8079933"/>
              <a:gd name="connsiteY31832" fmla="*/ 3875977 h 4687251"/>
              <a:gd name="connsiteX31833" fmla="*/ 2604399 w 8079933"/>
              <a:gd name="connsiteY31833" fmla="*/ 3879226 h 4687251"/>
              <a:gd name="connsiteX31834" fmla="*/ 2603531 w 8079933"/>
              <a:gd name="connsiteY31834" fmla="*/ 3880850 h 4687251"/>
              <a:gd name="connsiteX31835" fmla="*/ 2603423 w 8079933"/>
              <a:gd name="connsiteY31835" fmla="*/ 3881283 h 4687251"/>
              <a:gd name="connsiteX31836" fmla="*/ 2602229 w 8079933"/>
              <a:gd name="connsiteY31836" fmla="*/ 3891027 h 4687251"/>
              <a:gd name="connsiteX31837" fmla="*/ 2603965 w 8079933"/>
              <a:gd name="connsiteY31837" fmla="*/ 3899689 h 4687251"/>
              <a:gd name="connsiteX31838" fmla="*/ 2602988 w 8079933"/>
              <a:gd name="connsiteY31838" fmla="*/ 3902287 h 4687251"/>
              <a:gd name="connsiteX31839" fmla="*/ 2606027 w 8079933"/>
              <a:gd name="connsiteY31839" fmla="*/ 3905427 h 4687251"/>
              <a:gd name="connsiteX31840" fmla="*/ 2606244 w 8079933"/>
              <a:gd name="connsiteY31840" fmla="*/ 3909542 h 4687251"/>
              <a:gd name="connsiteX31841" fmla="*/ 2604724 w 8079933"/>
              <a:gd name="connsiteY31841" fmla="*/ 3911058 h 4687251"/>
              <a:gd name="connsiteX31842" fmla="*/ 2607112 w 8079933"/>
              <a:gd name="connsiteY31842" fmla="*/ 3915388 h 4687251"/>
              <a:gd name="connsiteX31843" fmla="*/ 2617095 w 8079933"/>
              <a:gd name="connsiteY31843" fmla="*/ 3923184 h 4687251"/>
              <a:gd name="connsiteX31844" fmla="*/ 2627079 w 8079933"/>
              <a:gd name="connsiteY31844" fmla="*/ 3926974 h 4687251"/>
              <a:gd name="connsiteX31845" fmla="*/ 2639450 w 8079933"/>
              <a:gd name="connsiteY31845" fmla="*/ 3936501 h 4687251"/>
              <a:gd name="connsiteX31846" fmla="*/ 2642271 w 8079933"/>
              <a:gd name="connsiteY31846" fmla="*/ 3939966 h 4687251"/>
              <a:gd name="connsiteX31847" fmla="*/ 2641946 w 8079933"/>
              <a:gd name="connsiteY31847" fmla="*/ 3944838 h 4687251"/>
              <a:gd name="connsiteX31848" fmla="*/ 2636086 w 8079933"/>
              <a:gd name="connsiteY31848" fmla="*/ 3956531 h 4687251"/>
              <a:gd name="connsiteX31849" fmla="*/ 2635652 w 8079933"/>
              <a:gd name="connsiteY31849" fmla="*/ 3959996 h 4687251"/>
              <a:gd name="connsiteX31850" fmla="*/ 2639341 w 8079933"/>
              <a:gd name="connsiteY31850" fmla="*/ 3966817 h 4687251"/>
              <a:gd name="connsiteX31851" fmla="*/ 2645527 w 8079933"/>
              <a:gd name="connsiteY31851" fmla="*/ 3970931 h 4687251"/>
              <a:gd name="connsiteX31852" fmla="*/ 2650736 w 8079933"/>
              <a:gd name="connsiteY31852" fmla="*/ 3971147 h 4687251"/>
              <a:gd name="connsiteX31853" fmla="*/ 2653774 w 8079933"/>
              <a:gd name="connsiteY31853" fmla="*/ 3967900 h 4687251"/>
              <a:gd name="connsiteX31854" fmla="*/ 2654968 w 8079933"/>
              <a:gd name="connsiteY31854" fmla="*/ 3968007 h 4687251"/>
              <a:gd name="connsiteX31855" fmla="*/ 2656053 w 8079933"/>
              <a:gd name="connsiteY31855" fmla="*/ 3972013 h 4687251"/>
              <a:gd name="connsiteX31856" fmla="*/ 2656053 w 8079933"/>
              <a:gd name="connsiteY31856" fmla="*/ 3982083 h 4687251"/>
              <a:gd name="connsiteX31857" fmla="*/ 2654968 w 8079933"/>
              <a:gd name="connsiteY31857" fmla="*/ 3986739 h 4687251"/>
              <a:gd name="connsiteX31858" fmla="*/ 2650302 w 8079933"/>
              <a:gd name="connsiteY31858" fmla="*/ 3994318 h 4687251"/>
              <a:gd name="connsiteX31859" fmla="*/ 2648674 w 8079933"/>
              <a:gd name="connsiteY31859" fmla="*/ 4001896 h 4687251"/>
              <a:gd name="connsiteX31860" fmla="*/ 2646937 w 8079933"/>
              <a:gd name="connsiteY31860" fmla="*/ 4004278 h 4687251"/>
              <a:gd name="connsiteX31861" fmla="*/ 2646178 w 8079933"/>
              <a:gd name="connsiteY31861" fmla="*/ 4001680 h 4687251"/>
              <a:gd name="connsiteX31862" fmla="*/ 2644442 w 8079933"/>
              <a:gd name="connsiteY31862" fmla="*/ 4003304 h 4687251"/>
              <a:gd name="connsiteX31863" fmla="*/ 2642054 w 8079933"/>
              <a:gd name="connsiteY31863" fmla="*/ 4010666 h 4687251"/>
              <a:gd name="connsiteX31864" fmla="*/ 2643465 w 8079933"/>
              <a:gd name="connsiteY31864" fmla="*/ 4016188 h 4687251"/>
              <a:gd name="connsiteX31865" fmla="*/ 2641512 w 8079933"/>
              <a:gd name="connsiteY31865" fmla="*/ 4020843 h 4687251"/>
              <a:gd name="connsiteX31866" fmla="*/ 2628490 w 8079933"/>
              <a:gd name="connsiteY31866" fmla="*/ 4028855 h 4687251"/>
              <a:gd name="connsiteX31867" fmla="*/ 2618290 w 8079933"/>
              <a:gd name="connsiteY31867" fmla="*/ 4032320 h 4687251"/>
              <a:gd name="connsiteX31868" fmla="*/ 2616445 w 8079933"/>
              <a:gd name="connsiteY31868" fmla="*/ 4029722 h 4687251"/>
              <a:gd name="connsiteX31869" fmla="*/ 2615685 w 8079933"/>
              <a:gd name="connsiteY31869" fmla="*/ 4032862 h 4687251"/>
              <a:gd name="connsiteX31870" fmla="*/ 2601035 w 8079933"/>
              <a:gd name="connsiteY31870" fmla="*/ 4038816 h 4687251"/>
              <a:gd name="connsiteX31871" fmla="*/ 2584324 w 8079933"/>
              <a:gd name="connsiteY31871" fmla="*/ 4043147 h 4687251"/>
              <a:gd name="connsiteX31872" fmla="*/ 2574340 w 8079933"/>
              <a:gd name="connsiteY31872" fmla="*/ 4043689 h 4687251"/>
              <a:gd name="connsiteX31873" fmla="*/ 2566418 w 8079933"/>
              <a:gd name="connsiteY31873" fmla="*/ 4042498 h 4687251"/>
              <a:gd name="connsiteX31874" fmla="*/ 2559039 w 8079933"/>
              <a:gd name="connsiteY31874" fmla="*/ 4043797 h 4687251"/>
              <a:gd name="connsiteX31875" fmla="*/ 2554373 w 8079933"/>
              <a:gd name="connsiteY31875" fmla="*/ 4043797 h 4687251"/>
              <a:gd name="connsiteX31876" fmla="*/ 2549056 w 8079933"/>
              <a:gd name="connsiteY31876" fmla="*/ 4040441 h 4687251"/>
              <a:gd name="connsiteX31877" fmla="*/ 2542328 w 8079933"/>
              <a:gd name="connsiteY31877" fmla="*/ 4038167 h 4687251"/>
              <a:gd name="connsiteX31878" fmla="*/ 2539072 w 8079933"/>
              <a:gd name="connsiteY31878" fmla="*/ 4038167 h 4687251"/>
              <a:gd name="connsiteX31879" fmla="*/ 2537010 w 8079933"/>
              <a:gd name="connsiteY31879" fmla="*/ 4035352 h 4687251"/>
              <a:gd name="connsiteX31880" fmla="*/ 2535382 w 8079933"/>
              <a:gd name="connsiteY31880" fmla="*/ 4036976 h 4687251"/>
              <a:gd name="connsiteX31881" fmla="*/ 2535382 w 8079933"/>
              <a:gd name="connsiteY31881" fmla="*/ 4040874 h 4687251"/>
              <a:gd name="connsiteX31882" fmla="*/ 2536685 w 8079933"/>
              <a:gd name="connsiteY31882" fmla="*/ 4043689 h 4687251"/>
              <a:gd name="connsiteX31883" fmla="*/ 2536685 w 8079933"/>
              <a:gd name="connsiteY31883" fmla="*/ 4052026 h 4687251"/>
              <a:gd name="connsiteX31884" fmla="*/ 2538855 w 8079933"/>
              <a:gd name="connsiteY31884" fmla="*/ 4055382 h 4687251"/>
              <a:gd name="connsiteX31885" fmla="*/ 2538312 w 8079933"/>
              <a:gd name="connsiteY31885" fmla="*/ 4057873 h 4687251"/>
              <a:gd name="connsiteX31886" fmla="*/ 2542328 w 8079933"/>
              <a:gd name="connsiteY31886" fmla="*/ 4058305 h 4687251"/>
              <a:gd name="connsiteX31887" fmla="*/ 2543196 w 8079933"/>
              <a:gd name="connsiteY31887" fmla="*/ 4062420 h 4687251"/>
              <a:gd name="connsiteX31888" fmla="*/ 2542436 w 8079933"/>
              <a:gd name="connsiteY31888" fmla="*/ 4065451 h 4687251"/>
              <a:gd name="connsiteX31889" fmla="*/ 2540808 w 8079933"/>
              <a:gd name="connsiteY31889" fmla="*/ 4065993 h 4687251"/>
              <a:gd name="connsiteX31890" fmla="*/ 2540917 w 8079933"/>
              <a:gd name="connsiteY31890" fmla="*/ 4067617 h 4687251"/>
              <a:gd name="connsiteX31891" fmla="*/ 2536685 w 8079933"/>
              <a:gd name="connsiteY31891" fmla="*/ 4071839 h 4687251"/>
              <a:gd name="connsiteX31892" fmla="*/ 2537662 w 8079933"/>
              <a:gd name="connsiteY31892" fmla="*/ 4074113 h 4687251"/>
              <a:gd name="connsiteX31893" fmla="*/ 2535925 w 8079933"/>
              <a:gd name="connsiteY31893" fmla="*/ 4077361 h 4687251"/>
              <a:gd name="connsiteX31894" fmla="*/ 2535925 w 8079933"/>
              <a:gd name="connsiteY31894" fmla="*/ 4081692 h 4687251"/>
              <a:gd name="connsiteX31895" fmla="*/ 2538855 w 8079933"/>
              <a:gd name="connsiteY31895" fmla="*/ 4086672 h 4687251"/>
              <a:gd name="connsiteX31896" fmla="*/ 2542979 w 8079933"/>
              <a:gd name="connsiteY31896" fmla="*/ 4087863 h 4687251"/>
              <a:gd name="connsiteX31897" fmla="*/ 2541676 w 8079933"/>
              <a:gd name="connsiteY31897" fmla="*/ 4091761 h 4687251"/>
              <a:gd name="connsiteX31898" fmla="*/ 2540266 w 8079933"/>
              <a:gd name="connsiteY31898" fmla="*/ 4094360 h 4687251"/>
              <a:gd name="connsiteX31899" fmla="*/ 2541460 w 8079933"/>
              <a:gd name="connsiteY31899" fmla="*/ 4097825 h 4687251"/>
              <a:gd name="connsiteX31900" fmla="*/ 2540375 w 8079933"/>
              <a:gd name="connsiteY31900" fmla="*/ 4102264 h 4687251"/>
              <a:gd name="connsiteX31901" fmla="*/ 2534949 w 8079933"/>
              <a:gd name="connsiteY31901" fmla="*/ 4106270 h 4687251"/>
              <a:gd name="connsiteX31902" fmla="*/ 2535600 w 8079933"/>
              <a:gd name="connsiteY31902" fmla="*/ 4107785 h 4687251"/>
              <a:gd name="connsiteX31903" fmla="*/ 2527461 w 8079933"/>
              <a:gd name="connsiteY31903" fmla="*/ 4113307 h 4687251"/>
              <a:gd name="connsiteX31904" fmla="*/ 2514113 w 8079933"/>
              <a:gd name="connsiteY31904" fmla="*/ 4113415 h 4687251"/>
              <a:gd name="connsiteX31905" fmla="*/ 2506843 w 8079933"/>
              <a:gd name="connsiteY31905" fmla="*/ 4111683 h 4687251"/>
              <a:gd name="connsiteX31906" fmla="*/ 2498378 w 8079933"/>
              <a:gd name="connsiteY31906" fmla="*/ 4104645 h 4687251"/>
              <a:gd name="connsiteX31907" fmla="*/ 2489263 w 8079933"/>
              <a:gd name="connsiteY31907" fmla="*/ 4101722 h 4687251"/>
              <a:gd name="connsiteX31908" fmla="*/ 2483946 w 8079933"/>
              <a:gd name="connsiteY31908" fmla="*/ 4102264 h 4687251"/>
              <a:gd name="connsiteX31909" fmla="*/ 2482535 w 8079933"/>
              <a:gd name="connsiteY31909" fmla="*/ 4101397 h 4687251"/>
              <a:gd name="connsiteX31910" fmla="*/ 2484054 w 8079933"/>
              <a:gd name="connsiteY31910" fmla="*/ 4098691 h 4687251"/>
              <a:gd name="connsiteX31911" fmla="*/ 2480473 w 8079933"/>
              <a:gd name="connsiteY31911" fmla="*/ 4098799 h 4687251"/>
              <a:gd name="connsiteX31912" fmla="*/ 2475590 w 8079933"/>
              <a:gd name="connsiteY31912" fmla="*/ 4103671 h 4687251"/>
              <a:gd name="connsiteX31913" fmla="*/ 2475481 w 8079933"/>
              <a:gd name="connsiteY31913" fmla="*/ 4112116 h 4687251"/>
              <a:gd name="connsiteX31914" fmla="*/ 2480690 w 8079933"/>
              <a:gd name="connsiteY31914" fmla="*/ 4116772 h 4687251"/>
              <a:gd name="connsiteX31915" fmla="*/ 2482535 w 8079933"/>
              <a:gd name="connsiteY31915" fmla="*/ 4125325 h 4687251"/>
              <a:gd name="connsiteX31916" fmla="*/ 2482318 w 8079933"/>
              <a:gd name="connsiteY31916" fmla="*/ 4136585 h 4687251"/>
              <a:gd name="connsiteX31917" fmla="*/ 2483946 w 8079933"/>
              <a:gd name="connsiteY31917" fmla="*/ 4140916 h 4687251"/>
              <a:gd name="connsiteX31918" fmla="*/ 2489480 w 8079933"/>
              <a:gd name="connsiteY31918" fmla="*/ 4144056 h 4687251"/>
              <a:gd name="connsiteX31919" fmla="*/ 2496642 w 8079933"/>
              <a:gd name="connsiteY31919" fmla="*/ 4143515 h 4687251"/>
              <a:gd name="connsiteX31920" fmla="*/ 2499247 w 8079933"/>
              <a:gd name="connsiteY31920" fmla="*/ 4144922 h 4687251"/>
              <a:gd name="connsiteX31921" fmla="*/ 2496534 w 8079933"/>
              <a:gd name="connsiteY31921" fmla="*/ 4146438 h 4687251"/>
              <a:gd name="connsiteX31922" fmla="*/ 2494255 w 8079933"/>
              <a:gd name="connsiteY31922" fmla="*/ 4148711 h 4687251"/>
              <a:gd name="connsiteX31923" fmla="*/ 2497835 w 8079933"/>
              <a:gd name="connsiteY31923" fmla="*/ 4150011 h 4687251"/>
              <a:gd name="connsiteX31924" fmla="*/ 2505974 w 8079933"/>
              <a:gd name="connsiteY31924" fmla="*/ 4147629 h 4687251"/>
              <a:gd name="connsiteX31925" fmla="*/ 2506300 w 8079933"/>
              <a:gd name="connsiteY31925" fmla="*/ 4145030 h 4687251"/>
              <a:gd name="connsiteX31926" fmla="*/ 2502393 w 8079933"/>
              <a:gd name="connsiteY31926" fmla="*/ 4144056 h 4687251"/>
              <a:gd name="connsiteX31927" fmla="*/ 2500983 w 8079933"/>
              <a:gd name="connsiteY31927" fmla="*/ 4142973 h 4687251"/>
              <a:gd name="connsiteX31928" fmla="*/ 2503261 w 8079933"/>
              <a:gd name="connsiteY31928" fmla="*/ 4141133 h 4687251"/>
              <a:gd name="connsiteX31929" fmla="*/ 2506843 w 8079933"/>
              <a:gd name="connsiteY31929" fmla="*/ 4140916 h 4687251"/>
              <a:gd name="connsiteX31930" fmla="*/ 2511509 w 8079933"/>
              <a:gd name="connsiteY31930" fmla="*/ 4137884 h 4687251"/>
              <a:gd name="connsiteX31931" fmla="*/ 2515090 w 8079933"/>
              <a:gd name="connsiteY31931" fmla="*/ 4138209 h 4687251"/>
              <a:gd name="connsiteX31932" fmla="*/ 2518345 w 8079933"/>
              <a:gd name="connsiteY31932" fmla="*/ 4143731 h 4687251"/>
              <a:gd name="connsiteX31933" fmla="*/ 2517369 w 8079933"/>
              <a:gd name="connsiteY31933" fmla="*/ 4147954 h 4687251"/>
              <a:gd name="connsiteX31934" fmla="*/ 2515415 w 8079933"/>
              <a:gd name="connsiteY31934" fmla="*/ 4148819 h 4687251"/>
              <a:gd name="connsiteX31935" fmla="*/ 2518562 w 8079933"/>
              <a:gd name="connsiteY31935" fmla="*/ 4152609 h 4687251"/>
              <a:gd name="connsiteX31936" fmla="*/ 2520733 w 8079933"/>
              <a:gd name="connsiteY31936" fmla="*/ 4157590 h 4687251"/>
              <a:gd name="connsiteX31937" fmla="*/ 2519430 w 8079933"/>
              <a:gd name="connsiteY31937" fmla="*/ 4162245 h 4687251"/>
              <a:gd name="connsiteX31938" fmla="*/ 2510098 w 8079933"/>
              <a:gd name="connsiteY31938" fmla="*/ 4167551 h 4687251"/>
              <a:gd name="connsiteX31939" fmla="*/ 2506626 w 8079933"/>
              <a:gd name="connsiteY31939" fmla="*/ 4166359 h 4687251"/>
              <a:gd name="connsiteX31940" fmla="*/ 2504781 w 8079933"/>
              <a:gd name="connsiteY31940" fmla="*/ 4161704 h 4687251"/>
              <a:gd name="connsiteX31941" fmla="*/ 2505649 w 8079933"/>
              <a:gd name="connsiteY31941" fmla="*/ 4159647 h 4687251"/>
              <a:gd name="connsiteX31942" fmla="*/ 2505649 w 8079933"/>
              <a:gd name="connsiteY31942" fmla="*/ 4156940 h 4687251"/>
              <a:gd name="connsiteX31943" fmla="*/ 2499789 w 8079933"/>
              <a:gd name="connsiteY31943" fmla="*/ 4153800 h 4687251"/>
              <a:gd name="connsiteX31944" fmla="*/ 2493387 w 8079933"/>
              <a:gd name="connsiteY31944" fmla="*/ 4156290 h 4687251"/>
              <a:gd name="connsiteX31945" fmla="*/ 2489046 w 8079933"/>
              <a:gd name="connsiteY31945" fmla="*/ 4159539 h 4687251"/>
              <a:gd name="connsiteX31946" fmla="*/ 2488178 w 8079933"/>
              <a:gd name="connsiteY31946" fmla="*/ 4162137 h 4687251"/>
              <a:gd name="connsiteX31947" fmla="*/ 2490239 w 8079933"/>
              <a:gd name="connsiteY31947" fmla="*/ 4165494 h 4687251"/>
              <a:gd name="connsiteX31948" fmla="*/ 2495123 w 8079933"/>
              <a:gd name="connsiteY31948" fmla="*/ 4165710 h 4687251"/>
              <a:gd name="connsiteX31949" fmla="*/ 2502176 w 8079933"/>
              <a:gd name="connsiteY31949" fmla="*/ 4167767 h 4687251"/>
              <a:gd name="connsiteX31950" fmla="*/ 2502393 w 8079933"/>
              <a:gd name="connsiteY31950" fmla="*/ 4170149 h 4687251"/>
              <a:gd name="connsiteX31951" fmla="*/ 2497185 w 8079933"/>
              <a:gd name="connsiteY31951" fmla="*/ 4175021 h 4687251"/>
              <a:gd name="connsiteX31952" fmla="*/ 2489806 w 8079933"/>
              <a:gd name="connsiteY31952" fmla="*/ 4177727 h 4687251"/>
              <a:gd name="connsiteX31953" fmla="*/ 2486984 w 8079933"/>
              <a:gd name="connsiteY31953" fmla="*/ 4180868 h 4687251"/>
              <a:gd name="connsiteX31954" fmla="*/ 2488721 w 8079933"/>
              <a:gd name="connsiteY31954" fmla="*/ 4182708 h 4687251"/>
              <a:gd name="connsiteX31955" fmla="*/ 2486876 w 8079933"/>
              <a:gd name="connsiteY31955" fmla="*/ 4187364 h 4687251"/>
              <a:gd name="connsiteX31956" fmla="*/ 2483078 w 8079933"/>
              <a:gd name="connsiteY31956" fmla="*/ 4191262 h 4687251"/>
              <a:gd name="connsiteX31957" fmla="*/ 2484597 w 8079933"/>
              <a:gd name="connsiteY31957" fmla="*/ 4197325 h 4687251"/>
              <a:gd name="connsiteX31958" fmla="*/ 2486333 w 8079933"/>
              <a:gd name="connsiteY31958" fmla="*/ 4199924 h 4687251"/>
              <a:gd name="connsiteX31959" fmla="*/ 2486333 w 8079933"/>
              <a:gd name="connsiteY31959" fmla="*/ 4203171 h 4687251"/>
              <a:gd name="connsiteX31960" fmla="*/ 2485465 w 8079933"/>
              <a:gd name="connsiteY31960" fmla="*/ 4206095 h 4687251"/>
              <a:gd name="connsiteX31961" fmla="*/ 2491107 w 8079933"/>
              <a:gd name="connsiteY31961" fmla="*/ 4212266 h 4687251"/>
              <a:gd name="connsiteX31962" fmla="*/ 2490999 w 8079933"/>
              <a:gd name="connsiteY31962" fmla="*/ 4214540 h 4687251"/>
              <a:gd name="connsiteX31963" fmla="*/ 2488721 w 8079933"/>
              <a:gd name="connsiteY31963" fmla="*/ 4217788 h 4687251"/>
              <a:gd name="connsiteX31964" fmla="*/ 2489914 w 8079933"/>
              <a:gd name="connsiteY31964" fmla="*/ 4219196 h 4687251"/>
              <a:gd name="connsiteX31965" fmla="*/ 2483403 w 8079933"/>
              <a:gd name="connsiteY31965" fmla="*/ 4223418 h 4687251"/>
              <a:gd name="connsiteX31966" fmla="*/ 2482535 w 8079933"/>
              <a:gd name="connsiteY31966" fmla="*/ 4227099 h 4687251"/>
              <a:gd name="connsiteX31967" fmla="*/ 2481884 w 8079933"/>
              <a:gd name="connsiteY31967" fmla="*/ 4229157 h 4687251"/>
              <a:gd name="connsiteX31968" fmla="*/ 2486441 w 8079933"/>
              <a:gd name="connsiteY31968" fmla="*/ 4230889 h 4687251"/>
              <a:gd name="connsiteX31969" fmla="*/ 2488721 w 8079933"/>
              <a:gd name="connsiteY31969" fmla="*/ 4233054 h 4687251"/>
              <a:gd name="connsiteX31970" fmla="*/ 2488394 w 8079933"/>
              <a:gd name="connsiteY31970" fmla="*/ 4235111 h 4687251"/>
              <a:gd name="connsiteX31971" fmla="*/ 2480798 w 8079933"/>
              <a:gd name="connsiteY31971" fmla="*/ 4236519 h 4687251"/>
              <a:gd name="connsiteX31972" fmla="*/ 2476567 w 8079933"/>
              <a:gd name="connsiteY31972" fmla="*/ 4235869 h 4687251"/>
              <a:gd name="connsiteX31973" fmla="*/ 2469621 w 8079933"/>
              <a:gd name="connsiteY31973" fmla="*/ 4236844 h 4687251"/>
              <a:gd name="connsiteX31974" fmla="*/ 2465172 w 8079933"/>
              <a:gd name="connsiteY31974" fmla="*/ 4241716 h 4687251"/>
              <a:gd name="connsiteX31975" fmla="*/ 2459855 w 8079933"/>
              <a:gd name="connsiteY31975" fmla="*/ 4242365 h 4687251"/>
              <a:gd name="connsiteX31976" fmla="*/ 2455840 w 8079933"/>
              <a:gd name="connsiteY31976" fmla="*/ 4247021 h 4687251"/>
              <a:gd name="connsiteX31977" fmla="*/ 2452693 w 8079933"/>
              <a:gd name="connsiteY31977" fmla="*/ 4247671 h 4687251"/>
              <a:gd name="connsiteX31978" fmla="*/ 2451065 w 8079933"/>
              <a:gd name="connsiteY31978" fmla="*/ 4253409 h 4687251"/>
              <a:gd name="connsiteX31979" fmla="*/ 2449112 w 8079933"/>
              <a:gd name="connsiteY31979" fmla="*/ 4257524 h 4687251"/>
              <a:gd name="connsiteX31980" fmla="*/ 2443795 w 8079933"/>
              <a:gd name="connsiteY31980" fmla="*/ 4261312 h 4687251"/>
              <a:gd name="connsiteX31981" fmla="*/ 2443469 w 8079933"/>
              <a:gd name="connsiteY31981" fmla="*/ 4264236 h 4687251"/>
              <a:gd name="connsiteX31982" fmla="*/ 2446399 w 8079933"/>
              <a:gd name="connsiteY31982" fmla="*/ 4268134 h 4687251"/>
              <a:gd name="connsiteX31983" fmla="*/ 2446399 w 8079933"/>
              <a:gd name="connsiteY31983" fmla="*/ 4273331 h 4687251"/>
              <a:gd name="connsiteX31984" fmla="*/ 2451499 w 8079933"/>
              <a:gd name="connsiteY31984" fmla="*/ 4281884 h 4687251"/>
              <a:gd name="connsiteX31985" fmla="*/ 2456382 w 8079933"/>
              <a:gd name="connsiteY31985" fmla="*/ 4285890 h 4687251"/>
              <a:gd name="connsiteX31986" fmla="*/ 2459638 w 8079933"/>
              <a:gd name="connsiteY31986" fmla="*/ 4286865 h 4687251"/>
              <a:gd name="connsiteX31987" fmla="*/ 2466040 w 8079933"/>
              <a:gd name="connsiteY31987" fmla="*/ 4292387 h 4687251"/>
              <a:gd name="connsiteX31988" fmla="*/ 2475481 w 8079933"/>
              <a:gd name="connsiteY31988" fmla="*/ 4301156 h 4687251"/>
              <a:gd name="connsiteX31989" fmla="*/ 2483403 w 8079933"/>
              <a:gd name="connsiteY31989" fmla="*/ 4300507 h 4687251"/>
              <a:gd name="connsiteX31990" fmla="*/ 2487744 w 8079933"/>
              <a:gd name="connsiteY31990" fmla="*/ 4300615 h 4687251"/>
              <a:gd name="connsiteX31991" fmla="*/ 2489806 w 8079933"/>
              <a:gd name="connsiteY31991" fmla="*/ 4299640 h 4687251"/>
              <a:gd name="connsiteX31992" fmla="*/ 2493604 w 8079933"/>
              <a:gd name="connsiteY31992" fmla="*/ 4300832 h 4687251"/>
              <a:gd name="connsiteX31993" fmla="*/ 2495123 w 8079933"/>
              <a:gd name="connsiteY31993" fmla="*/ 4303430 h 4687251"/>
              <a:gd name="connsiteX31994" fmla="*/ 2493387 w 8079933"/>
              <a:gd name="connsiteY31994" fmla="*/ 4305271 h 4687251"/>
              <a:gd name="connsiteX31995" fmla="*/ 2493387 w 8079933"/>
              <a:gd name="connsiteY31995" fmla="*/ 4307870 h 4687251"/>
              <a:gd name="connsiteX31996" fmla="*/ 2496208 w 8079933"/>
              <a:gd name="connsiteY31996" fmla="*/ 4313499 h 4687251"/>
              <a:gd name="connsiteX31997" fmla="*/ 2496208 w 8079933"/>
              <a:gd name="connsiteY31997" fmla="*/ 4317289 h 4687251"/>
              <a:gd name="connsiteX31998" fmla="*/ 2491976 w 8079933"/>
              <a:gd name="connsiteY31998" fmla="*/ 4321295 h 4687251"/>
              <a:gd name="connsiteX31999" fmla="*/ 2494797 w 8079933"/>
              <a:gd name="connsiteY31999" fmla="*/ 4321295 h 4687251"/>
              <a:gd name="connsiteX32000" fmla="*/ 2499030 w 8079933"/>
              <a:gd name="connsiteY32000" fmla="*/ 4325192 h 4687251"/>
              <a:gd name="connsiteX32001" fmla="*/ 2496208 w 8079933"/>
              <a:gd name="connsiteY32001" fmla="*/ 4327250 h 4687251"/>
              <a:gd name="connsiteX32002" fmla="*/ 2495665 w 8079933"/>
              <a:gd name="connsiteY32002" fmla="*/ 4330390 h 4687251"/>
              <a:gd name="connsiteX32003" fmla="*/ 2496534 w 8079933"/>
              <a:gd name="connsiteY32003" fmla="*/ 4332122 h 4687251"/>
              <a:gd name="connsiteX32004" fmla="*/ 2492736 w 8079933"/>
              <a:gd name="connsiteY32004" fmla="*/ 4336452 h 4687251"/>
              <a:gd name="connsiteX32005" fmla="*/ 2488937 w 8079933"/>
              <a:gd name="connsiteY32005" fmla="*/ 4338294 h 4687251"/>
              <a:gd name="connsiteX32006" fmla="*/ 2488069 w 8079933"/>
              <a:gd name="connsiteY32006" fmla="*/ 4342083 h 4687251"/>
              <a:gd name="connsiteX32007" fmla="*/ 2485682 w 8079933"/>
              <a:gd name="connsiteY32007" fmla="*/ 4342949 h 4687251"/>
              <a:gd name="connsiteX32008" fmla="*/ 2482210 w 8079933"/>
              <a:gd name="connsiteY32008" fmla="*/ 4347604 h 4687251"/>
              <a:gd name="connsiteX32009" fmla="*/ 2480473 w 8079933"/>
              <a:gd name="connsiteY32009" fmla="*/ 4353126 h 4687251"/>
              <a:gd name="connsiteX32010" fmla="*/ 2475807 w 8079933"/>
              <a:gd name="connsiteY32010" fmla="*/ 4353451 h 4687251"/>
              <a:gd name="connsiteX32011" fmla="*/ 2470272 w 8079933"/>
              <a:gd name="connsiteY32011" fmla="*/ 4358756 h 4687251"/>
              <a:gd name="connsiteX32012" fmla="*/ 2469296 w 8079933"/>
              <a:gd name="connsiteY32012" fmla="*/ 4364062 h 4687251"/>
              <a:gd name="connsiteX32013" fmla="*/ 2467559 w 8079933"/>
              <a:gd name="connsiteY32013" fmla="*/ 4369259 h 4687251"/>
              <a:gd name="connsiteX32014" fmla="*/ 2463436 w 8079933"/>
              <a:gd name="connsiteY32014" fmla="*/ 4373157 h 4687251"/>
              <a:gd name="connsiteX32015" fmla="*/ 2462351 w 8079933"/>
              <a:gd name="connsiteY32015" fmla="*/ 4376296 h 4687251"/>
              <a:gd name="connsiteX32016" fmla="*/ 2464630 w 8079933"/>
              <a:gd name="connsiteY32016" fmla="*/ 4374564 h 4687251"/>
              <a:gd name="connsiteX32017" fmla="*/ 2468211 w 8079933"/>
              <a:gd name="connsiteY32017" fmla="*/ 4375430 h 4687251"/>
              <a:gd name="connsiteX32018" fmla="*/ 2469838 w 8079933"/>
              <a:gd name="connsiteY32018" fmla="*/ 4382685 h 4687251"/>
              <a:gd name="connsiteX32019" fmla="*/ 2468428 w 8079933"/>
              <a:gd name="connsiteY32019" fmla="*/ 4386474 h 4687251"/>
              <a:gd name="connsiteX32020" fmla="*/ 2464087 w 8079933"/>
              <a:gd name="connsiteY32020" fmla="*/ 4391454 h 4687251"/>
              <a:gd name="connsiteX32021" fmla="*/ 2463436 w 8079933"/>
              <a:gd name="connsiteY32021" fmla="*/ 4395136 h 4687251"/>
              <a:gd name="connsiteX32022" fmla="*/ 2458444 w 8079933"/>
              <a:gd name="connsiteY32022" fmla="*/ 4399358 h 4687251"/>
              <a:gd name="connsiteX32023" fmla="*/ 2454754 w 8079933"/>
              <a:gd name="connsiteY32023" fmla="*/ 4398059 h 4687251"/>
              <a:gd name="connsiteX32024" fmla="*/ 2451716 w 8079933"/>
              <a:gd name="connsiteY32024" fmla="*/ 4394594 h 4687251"/>
              <a:gd name="connsiteX32025" fmla="*/ 2448569 w 8079933"/>
              <a:gd name="connsiteY32025" fmla="*/ 4392970 h 4687251"/>
              <a:gd name="connsiteX32026" fmla="*/ 2450848 w 8079933"/>
              <a:gd name="connsiteY32026" fmla="*/ 4395893 h 4687251"/>
              <a:gd name="connsiteX32027" fmla="*/ 2450848 w 8079933"/>
              <a:gd name="connsiteY32027" fmla="*/ 4400224 h 4687251"/>
              <a:gd name="connsiteX32028" fmla="*/ 2452584 w 8079933"/>
              <a:gd name="connsiteY32028" fmla="*/ 4402065 h 4687251"/>
              <a:gd name="connsiteX32029" fmla="*/ 2450523 w 8079933"/>
              <a:gd name="connsiteY32029" fmla="*/ 4405854 h 4687251"/>
              <a:gd name="connsiteX32030" fmla="*/ 2444663 w 8079933"/>
              <a:gd name="connsiteY32030" fmla="*/ 4410618 h 4687251"/>
              <a:gd name="connsiteX32031" fmla="*/ 2441841 w 8079933"/>
              <a:gd name="connsiteY32031" fmla="*/ 4418630 h 4687251"/>
              <a:gd name="connsiteX32032" fmla="*/ 2442709 w 8079933"/>
              <a:gd name="connsiteY32032" fmla="*/ 4425668 h 4687251"/>
              <a:gd name="connsiteX32033" fmla="*/ 2447376 w 8079933"/>
              <a:gd name="connsiteY32033" fmla="*/ 4432814 h 4687251"/>
              <a:gd name="connsiteX32034" fmla="*/ 2451391 w 8079933"/>
              <a:gd name="connsiteY32034" fmla="*/ 4443857 h 4687251"/>
              <a:gd name="connsiteX32035" fmla="*/ 2451391 w 8079933"/>
              <a:gd name="connsiteY32035" fmla="*/ 4447214 h 4687251"/>
              <a:gd name="connsiteX32036" fmla="*/ 2452693 w 8079933"/>
              <a:gd name="connsiteY32036" fmla="*/ 4447972 h 4687251"/>
              <a:gd name="connsiteX32037" fmla="*/ 2451824 w 8079933"/>
              <a:gd name="connsiteY32037" fmla="*/ 4451111 h 4687251"/>
              <a:gd name="connsiteX32038" fmla="*/ 2448244 w 8079933"/>
              <a:gd name="connsiteY32038" fmla="*/ 4453168 h 4687251"/>
              <a:gd name="connsiteX32039" fmla="*/ 2450848 w 8079933"/>
              <a:gd name="connsiteY32039" fmla="*/ 4455659 h 4687251"/>
              <a:gd name="connsiteX32040" fmla="*/ 2453561 w 8079933"/>
              <a:gd name="connsiteY32040" fmla="*/ 4454793 h 4687251"/>
              <a:gd name="connsiteX32041" fmla="*/ 2457685 w 8079933"/>
              <a:gd name="connsiteY32041" fmla="*/ 4458799 h 4687251"/>
              <a:gd name="connsiteX32042" fmla="*/ 2458553 w 8079933"/>
              <a:gd name="connsiteY32042" fmla="*/ 4463454 h 4687251"/>
              <a:gd name="connsiteX32043" fmla="*/ 2466691 w 8079933"/>
              <a:gd name="connsiteY32043" fmla="*/ 4468434 h 4687251"/>
              <a:gd name="connsiteX32044" fmla="*/ 2471466 w 8079933"/>
              <a:gd name="connsiteY32044" fmla="*/ 4472224 h 4687251"/>
              <a:gd name="connsiteX32045" fmla="*/ 2472009 w 8079933"/>
              <a:gd name="connsiteY32045" fmla="*/ 4476663 h 4687251"/>
              <a:gd name="connsiteX32046" fmla="*/ 2469947 w 8079933"/>
              <a:gd name="connsiteY32046" fmla="*/ 4476555 h 4687251"/>
              <a:gd name="connsiteX32047" fmla="*/ 2464413 w 8079933"/>
              <a:gd name="connsiteY32047" fmla="*/ 4473956 h 4687251"/>
              <a:gd name="connsiteX32048" fmla="*/ 2460504 w 8079933"/>
              <a:gd name="connsiteY32048" fmla="*/ 4470440 h 4687251"/>
              <a:gd name="connsiteX32049" fmla="*/ 2464413 w 8079933"/>
              <a:gd name="connsiteY32049" fmla="*/ 4473957 h 4687251"/>
              <a:gd name="connsiteX32050" fmla="*/ 2463545 w 8079933"/>
              <a:gd name="connsiteY32050" fmla="*/ 4473632 h 4687251"/>
              <a:gd name="connsiteX32051" fmla="*/ 2460615 w 8079933"/>
              <a:gd name="connsiteY32051" fmla="*/ 4475256 h 4687251"/>
              <a:gd name="connsiteX32052" fmla="*/ 2454430 w 8079933"/>
              <a:gd name="connsiteY32052" fmla="*/ 4471684 h 4687251"/>
              <a:gd name="connsiteX32053" fmla="*/ 2449112 w 8079933"/>
              <a:gd name="connsiteY32053" fmla="*/ 4473091 h 4687251"/>
              <a:gd name="connsiteX32054" fmla="*/ 2446399 w 8079933"/>
              <a:gd name="connsiteY32054" fmla="*/ 4475690 h 4687251"/>
              <a:gd name="connsiteX32055" fmla="*/ 2446834 w 8079933"/>
              <a:gd name="connsiteY32055" fmla="*/ 4481644 h 4687251"/>
              <a:gd name="connsiteX32056" fmla="*/ 2444989 w 8079933"/>
              <a:gd name="connsiteY32056" fmla="*/ 4483593 h 4687251"/>
              <a:gd name="connsiteX32057" fmla="*/ 2440106 w 8079933"/>
              <a:gd name="connsiteY32057" fmla="*/ 4483593 h 4687251"/>
              <a:gd name="connsiteX32058" fmla="*/ 2436850 w 8079933"/>
              <a:gd name="connsiteY32058" fmla="*/ 4484892 h 4687251"/>
              <a:gd name="connsiteX32059" fmla="*/ 2431424 w 8079933"/>
              <a:gd name="connsiteY32059" fmla="*/ 4491388 h 4687251"/>
              <a:gd name="connsiteX32060" fmla="*/ 2425456 w 8079933"/>
              <a:gd name="connsiteY32060" fmla="*/ 4494854 h 4687251"/>
              <a:gd name="connsiteX32061" fmla="*/ 2424804 w 8079933"/>
              <a:gd name="connsiteY32061" fmla="*/ 4498210 h 4687251"/>
              <a:gd name="connsiteX32062" fmla="*/ 2425999 w 8079933"/>
              <a:gd name="connsiteY32062" fmla="*/ 4502974 h 4687251"/>
              <a:gd name="connsiteX32063" fmla="*/ 2425564 w 8079933"/>
              <a:gd name="connsiteY32063" fmla="*/ 4510119 h 4687251"/>
              <a:gd name="connsiteX32064" fmla="*/ 2424804 w 8079933"/>
              <a:gd name="connsiteY32064" fmla="*/ 4516400 h 4687251"/>
              <a:gd name="connsiteX32065" fmla="*/ 2425130 w 8079933"/>
              <a:gd name="connsiteY32065" fmla="*/ 4519539 h 4687251"/>
              <a:gd name="connsiteX32066" fmla="*/ 2424479 w 8079933"/>
              <a:gd name="connsiteY32066" fmla="*/ 4523004 h 4687251"/>
              <a:gd name="connsiteX32067" fmla="*/ 2426867 w 8079933"/>
              <a:gd name="connsiteY32067" fmla="*/ 4530258 h 4687251"/>
              <a:gd name="connsiteX32068" fmla="*/ 2424045 w 8079933"/>
              <a:gd name="connsiteY32068" fmla="*/ 4535563 h 4687251"/>
              <a:gd name="connsiteX32069" fmla="*/ 2421874 w 8079933"/>
              <a:gd name="connsiteY32069" fmla="*/ 4537837 h 4687251"/>
              <a:gd name="connsiteX32070" fmla="*/ 2418728 w 8079933"/>
              <a:gd name="connsiteY32070" fmla="*/ 4536213 h 4687251"/>
              <a:gd name="connsiteX32071" fmla="*/ 2415798 w 8079933"/>
              <a:gd name="connsiteY32071" fmla="*/ 4536429 h 4687251"/>
              <a:gd name="connsiteX32072" fmla="*/ 2411349 w 8079933"/>
              <a:gd name="connsiteY32072" fmla="*/ 4533939 h 4687251"/>
              <a:gd name="connsiteX32073" fmla="*/ 2404512 w 8079933"/>
              <a:gd name="connsiteY32073" fmla="*/ 4532748 h 4687251"/>
              <a:gd name="connsiteX32074" fmla="*/ 2396807 w 8079933"/>
              <a:gd name="connsiteY32074" fmla="*/ 4525386 h 4687251"/>
              <a:gd name="connsiteX32075" fmla="*/ 2394420 w 8079933"/>
              <a:gd name="connsiteY32075" fmla="*/ 4521380 h 4687251"/>
              <a:gd name="connsiteX32076" fmla="*/ 2396265 w 8079933"/>
              <a:gd name="connsiteY32076" fmla="*/ 4519106 h 4687251"/>
              <a:gd name="connsiteX32077" fmla="*/ 2398869 w 8079933"/>
              <a:gd name="connsiteY32077" fmla="*/ 4518890 h 4687251"/>
              <a:gd name="connsiteX32078" fmla="*/ 2400606 w 8079933"/>
              <a:gd name="connsiteY32078" fmla="*/ 4519539 h 4687251"/>
              <a:gd name="connsiteX32079" fmla="*/ 2401365 w 8079933"/>
              <a:gd name="connsiteY32079" fmla="*/ 4516400 h 4687251"/>
              <a:gd name="connsiteX32080" fmla="*/ 2403536 w 8079933"/>
              <a:gd name="connsiteY32080" fmla="*/ 4514776 h 4687251"/>
              <a:gd name="connsiteX32081" fmla="*/ 2405163 w 8079933"/>
              <a:gd name="connsiteY32081" fmla="*/ 4515641 h 4687251"/>
              <a:gd name="connsiteX32082" fmla="*/ 2405054 w 8079933"/>
              <a:gd name="connsiteY32082" fmla="*/ 4521596 h 4687251"/>
              <a:gd name="connsiteX32083" fmla="*/ 2402993 w 8079933"/>
              <a:gd name="connsiteY32083" fmla="*/ 4523004 h 4687251"/>
              <a:gd name="connsiteX32084" fmla="*/ 2402884 w 8079933"/>
              <a:gd name="connsiteY32084" fmla="*/ 4525061 h 4687251"/>
              <a:gd name="connsiteX32085" fmla="*/ 2406682 w 8079933"/>
              <a:gd name="connsiteY32085" fmla="*/ 4523329 h 4687251"/>
              <a:gd name="connsiteX32086" fmla="*/ 2409070 w 8079933"/>
              <a:gd name="connsiteY32086" fmla="*/ 4520622 h 4687251"/>
              <a:gd name="connsiteX32087" fmla="*/ 2407767 w 8079933"/>
              <a:gd name="connsiteY32087" fmla="*/ 4517374 h 4687251"/>
              <a:gd name="connsiteX32088" fmla="*/ 2407767 w 8079933"/>
              <a:gd name="connsiteY32088" fmla="*/ 4512502 h 4687251"/>
              <a:gd name="connsiteX32089" fmla="*/ 2411783 w 8079933"/>
              <a:gd name="connsiteY32089" fmla="*/ 4508387 h 4687251"/>
              <a:gd name="connsiteX32090" fmla="*/ 2412651 w 8079933"/>
              <a:gd name="connsiteY32090" fmla="*/ 4505572 h 4687251"/>
              <a:gd name="connsiteX32091" fmla="*/ 2414930 w 8079933"/>
              <a:gd name="connsiteY32091" fmla="*/ 4501674 h 4687251"/>
              <a:gd name="connsiteX32092" fmla="*/ 2418185 w 8079933"/>
              <a:gd name="connsiteY32092" fmla="*/ 4500376 h 4687251"/>
              <a:gd name="connsiteX32093" fmla="*/ 2417643 w 8079933"/>
              <a:gd name="connsiteY32093" fmla="*/ 4499184 h 4687251"/>
              <a:gd name="connsiteX32094" fmla="*/ 2414930 w 8079933"/>
              <a:gd name="connsiteY32094" fmla="*/ 4499184 h 4687251"/>
              <a:gd name="connsiteX32095" fmla="*/ 2411674 w 8079933"/>
              <a:gd name="connsiteY32095" fmla="*/ 4497452 h 4687251"/>
              <a:gd name="connsiteX32096" fmla="*/ 2410915 w 8079933"/>
              <a:gd name="connsiteY32096" fmla="*/ 4496152 h 4687251"/>
              <a:gd name="connsiteX32097" fmla="*/ 2407984 w 8079933"/>
              <a:gd name="connsiteY32097" fmla="*/ 4497993 h 4687251"/>
              <a:gd name="connsiteX32098" fmla="*/ 2403861 w 8079933"/>
              <a:gd name="connsiteY32098" fmla="*/ 4503948 h 4687251"/>
              <a:gd name="connsiteX32099" fmla="*/ 2400063 w 8079933"/>
              <a:gd name="connsiteY32099" fmla="*/ 4507413 h 4687251"/>
              <a:gd name="connsiteX32100" fmla="*/ 2393768 w 8079933"/>
              <a:gd name="connsiteY32100" fmla="*/ 4508712 h 4687251"/>
              <a:gd name="connsiteX32101" fmla="*/ 2397458 w 8079933"/>
              <a:gd name="connsiteY32101" fmla="*/ 4512827 h 4687251"/>
              <a:gd name="connsiteX32102" fmla="*/ 2397025 w 8079933"/>
              <a:gd name="connsiteY32102" fmla="*/ 4514776 h 4687251"/>
              <a:gd name="connsiteX32103" fmla="*/ 2393877 w 8079933"/>
              <a:gd name="connsiteY32103" fmla="*/ 4515533 h 4687251"/>
              <a:gd name="connsiteX32104" fmla="*/ 2391164 w 8079933"/>
              <a:gd name="connsiteY32104" fmla="*/ 4518890 h 4687251"/>
              <a:gd name="connsiteX32105" fmla="*/ 2392141 w 8079933"/>
              <a:gd name="connsiteY32105" fmla="*/ 4522463 h 4687251"/>
              <a:gd name="connsiteX32106" fmla="*/ 2391164 w 8079933"/>
              <a:gd name="connsiteY32106" fmla="*/ 4524628 h 4687251"/>
              <a:gd name="connsiteX32107" fmla="*/ 2389645 w 8079933"/>
              <a:gd name="connsiteY32107" fmla="*/ 4524520 h 4687251"/>
              <a:gd name="connsiteX32108" fmla="*/ 2384654 w 8079933"/>
              <a:gd name="connsiteY32108" fmla="*/ 4520189 h 4687251"/>
              <a:gd name="connsiteX32109" fmla="*/ 2377708 w 8079933"/>
              <a:gd name="connsiteY32109" fmla="*/ 4517807 h 4687251"/>
              <a:gd name="connsiteX32110" fmla="*/ 2377708 w 8079933"/>
              <a:gd name="connsiteY32110" fmla="*/ 4515966 h 4687251"/>
              <a:gd name="connsiteX32111" fmla="*/ 2379445 w 8079933"/>
              <a:gd name="connsiteY32111" fmla="*/ 4513801 h 4687251"/>
              <a:gd name="connsiteX32112" fmla="*/ 2377383 w 8079933"/>
              <a:gd name="connsiteY32112" fmla="*/ 4512502 h 4687251"/>
              <a:gd name="connsiteX32113" fmla="*/ 2377275 w 8079933"/>
              <a:gd name="connsiteY32113" fmla="*/ 4510661 h 4687251"/>
              <a:gd name="connsiteX32114" fmla="*/ 2378576 w 8079933"/>
              <a:gd name="connsiteY32114" fmla="*/ 4508821 h 4687251"/>
              <a:gd name="connsiteX32115" fmla="*/ 2380096 w 8079933"/>
              <a:gd name="connsiteY32115" fmla="*/ 4505789 h 4687251"/>
              <a:gd name="connsiteX32116" fmla="*/ 2379445 w 8079933"/>
              <a:gd name="connsiteY32116" fmla="*/ 4502866 h 4687251"/>
              <a:gd name="connsiteX32117" fmla="*/ 2382266 w 8079933"/>
              <a:gd name="connsiteY32117" fmla="*/ 4499834 h 4687251"/>
              <a:gd name="connsiteX32118" fmla="*/ 2384436 w 8079933"/>
              <a:gd name="connsiteY32118" fmla="*/ 4500267 h 4687251"/>
              <a:gd name="connsiteX32119" fmla="*/ 2386172 w 8079933"/>
              <a:gd name="connsiteY32119" fmla="*/ 4499942 h 4687251"/>
              <a:gd name="connsiteX32120" fmla="*/ 2393552 w 8079933"/>
              <a:gd name="connsiteY32120" fmla="*/ 4493446 h 4687251"/>
              <a:gd name="connsiteX32121" fmla="*/ 2396699 w 8079933"/>
              <a:gd name="connsiteY32121" fmla="*/ 4492580 h 4687251"/>
              <a:gd name="connsiteX32122" fmla="*/ 2399629 w 8079933"/>
              <a:gd name="connsiteY32122" fmla="*/ 4494854 h 4687251"/>
              <a:gd name="connsiteX32123" fmla="*/ 2402341 w 8079933"/>
              <a:gd name="connsiteY32123" fmla="*/ 4495611 h 4687251"/>
              <a:gd name="connsiteX32124" fmla="*/ 2404404 w 8079933"/>
              <a:gd name="connsiteY32124" fmla="*/ 4492580 h 4687251"/>
              <a:gd name="connsiteX32125" fmla="*/ 2407008 w 8079933"/>
              <a:gd name="connsiteY32125" fmla="*/ 4491388 h 4687251"/>
              <a:gd name="connsiteX32126" fmla="*/ 2406574 w 8079933"/>
              <a:gd name="connsiteY32126" fmla="*/ 4489657 h 4687251"/>
              <a:gd name="connsiteX32127" fmla="*/ 2402559 w 8079933"/>
              <a:gd name="connsiteY32127" fmla="*/ 4489331 h 4687251"/>
              <a:gd name="connsiteX32128" fmla="*/ 2397893 w 8079933"/>
              <a:gd name="connsiteY32128" fmla="*/ 4489764 h 4687251"/>
              <a:gd name="connsiteX32129" fmla="*/ 2393768 w 8079933"/>
              <a:gd name="connsiteY32129" fmla="*/ 4488465 h 4687251"/>
              <a:gd name="connsiteX32130" fmla="*/ 2389102 w 8079933"/>
              <a:gd name="connsiteY32130" fmla="*/ 4489548 h 4687251"/>
              <a:gd name="connsiteX32131" fmla="*/ 2387909 w 8079933"/>
              <a:gd name="connsiteY32131" fmla="*/ 4491930 h 4687251"/>
              <a:gd name="connsiteX32132" fmla="*/ 2385522 w 8079933"/>
              <a:gd name="connsiteY32132" fmla="*/ 4490847 h 4687251"/>
              <a:gd name="connsiteX32133" fmla="*/ 2384654 w 8079933"/>
              <a:gd name="connsiteY32133" fmla="*/ 4488356 h 4687251"/>
              <a:gd name="connsiteX32134" fmla="*/ 2382374 w 8079933"/>
              <a:gd name="connsiteY32134" fmla="*/ 4489764 h 4687251"/>
              <a:gd name="connsiteX32135" fmla="*/ 2377057 w 8079933"/>
              <a:gd name="connsiteY32135" fmla="*/ 4488032 h 4687251"/>
              <a:gd name="connsiteX32136" fmla="*/ 2374995 w 8079933"/>
              <a:gd name="connsiteY32136" fmla="*/ 4489115 h 4687251"/>
              <a:gd name="connsiteX32137" fmla="*/ 2375104 w 8079933"/>
              <a:gd name="connsiteY32137" fmla="*/ 4491930 h 4687251"/>
              <a:gd name="connsiteX32138" fmla="*/ 2372391 w 8079933"/>
              <a:gd name="connsiteY32138" fmla="*/ 4493771 h 4687251"/>
              <a:gd name="connsiteX32139" fmla="*/ 2371197 w 8079933"/>
              <a:gd name="connsiteY32139" fmla="*/ 4495070 h 4687251"/>
              <a:gd name="connsiteX32140" fmla="*/ 2374670 w 8079933"/>
              <a:gd name="connsiteY32140" fmla="*/ 4495611 h 4687251"/>
              <a:gd name="connsiteX32141" fmla="*/ 2376515 w 8079933"/>
              <a:gd name="connsiteY32141" fmla="*/ 4494529 h 4687251"/>
              <a:gd name="connsiteX32142" fmla="*/ 2377816 w 8079933"/>
              <a:gd name="connsiteY32142" fmla="*/ 4498318 h 4687251"/>
              <a:gd name="connsiteX32143" fmla="*/ 2376623 w 8079933"/>
              <a:gd name="connsiteY32143" fmla="*/ 4501891 h 4687251"/>
              <a:gd name="connsiteX32144" fmla="*/ 2378576 w 8079933"/>
              <a:gd name="connsiteY32144" fmla="*/ 4506763 h 4687251"/>
              <a:gd name="connsiteX32145" fmla="*/ 2376515 w 8079933"/>
              <a:gd name="connsiteY32145" fmla="*/ 4509686 h 4687251"/>
              <a:gd name="connsiteX32146" fmla="*/ 2374236 w 8079933"/>
              <a:gd name="connsiteY32146" fmla="*/ 4510553 h 4687251"/>
              <a:gd name="connsiteX32147" fmla="*/ 2367616 w 8079933"/>
              <a:gd name="connsiteY32147" fmla="*/ 4506872 h 4687251"/>
              <a:gd name="connsiteX32148" fmla="*/ 2361973 w 8079933"/>
              <a:gd name="connsiteY32148" fmla="*/ 4506330 h 4687251"/>
              <a:gd name="connsiteX32149" fmla="*/ 2360996 w 8079933"/>
              <a:gd name="connsiteY32149" fmla="*/ 4503840 h 4687251"/>
              <a:gd name="connsiteX32150" fmla="*/ 2364361 w 8079933"/>
              <a:gd name="connsiteY32150" fmla="*/ 4500917 h 4687251"/>
              <a:gd name="connsiteX32151" fmla="*/ 2367725 w 8079933"/>
              <a:gd name="connsiteY32151" fmla="*/ 4499617 h 4687251"/>
              <a:gd name="connsiteX32152" fmla="*/ 2367725 w 8079933"/>
              <a:gd name="connsiteY32152" fmla="*/ 4498318 h 4687251"/>
              <a:gd name="connsiteX32153" fmla="*/ 2364144 w 8079933"/>
              <a:gd name="connsiteY32153" fmla="*/ 4497019 h 4687251"/>
              <a:gd name="connsiteX32154" fmla="*/ 2361973 w 8079933"/>
              <a:gd name="connsiteY32154" fmla="*/ 4495719 h 4687251"/>
              <a:gd name="connsiteX32155" fmla="*/ 2360128 w 8079933"/>
              <a:gd name="connsiteY32155" fmla="*/ 4499293 h 4687251"/>
              <a:gd name="connsiteX32156" fmla="*/ 2356981 w 8079933"/>
              <a:gd name="connsiteY32156" fmla="*/ 4498751 h 4687251"/>
              <a:gd name="connsiteX32157" fmla="*/ 2356222 w 8079933"/>
              <a:gd name="connsiteY32157" fmla="*/ 4497127 h 4687251"/>
              <a:gd name="connsiteX32158" fmla="*/ 2357633 w 8079933"/>
              <a:gd name="connsiteY32158" fmla="*/ 4494637 h 4687251"/>
              <a:gd name="connsiteX32159" fmla="*/ 2356873 w 8079933"/>
              <a:gd name="connsiteY32159" fmla="*/ 4491821 h 4687251"/>
              <a:gd name="connsiteX32160" fmla="*/ 2354811 w 8079933"/>
              <a:gd name="connsiteY32160" fmla="*/ 4488249 h 4687251"/>
              <a:gd name="connsiteX32161" fmla="*/ 2354486 w 8079933"/>
              <a:gd name="connsiteY32161" fmla="*/ 4482510 h 4687251"/>
              <a:gd name="connsiteX32162" fmla="*/ 2350362 w 8079933"/>
              <a:gd name="connsiteY32162" fmla="*/ 4479478 h 4687251"/>
              <a:gd name="connsiteX32163" fmla="*/ 2354811 w 8079933"/>
              <a:gd name="connsiteY32163" fmla="*/ 4477638 h 4687251"/>
              <a:gd name="connsiteX32164" fmla="*/ 2360237 w 8079933"/>
              <a:gd name="connsiteY32164" fmla="*/ 4477638 h 4687251"/>
              <a:gd name="connsiteX32165" fmla="*/ 2363818 w 8079933"/>
              <a:gd name="connsiteY32165" fmla="*/ 4475148 h 4687251"/>
              <a:gd name="connsiteX32166" fmla="*/ 2366423 w 8079933"/>
              <a:gd name="connsiteY32166" fmla="*/ 4475148 h 4687251"/>
              <a:gd name="connsiteX32167" fmla="*/ 2367399 w 8079933"/>
              <a:gd name="connsiteY32167" fmla="*/ 4479045 h 4687251"/>
              <a:gd name="connsiteX32168" fmla="*/ 2369027 w 8079933"/>
              <a:gd name="connsiteY32168" fmla="*/ 4480994 h 4687251"/>
              <a:gd name="connsiteX32169" fmla="*/ 2370872 w 8079933"/>
              <a:gd name="connsiteY32169" fmla="*/ 4477313 h 4687251"/>
              <a:gd name="connsiteX32170" fmla="*/ 2368810 w 8079933"/>
              <a:gd name="connsiteY32170" fmla="*/ 4474498 h 4687251"/>
              <a:gd name="connsiteX32171" fmla="*/ 2369136 w 8079933"/>
              <a:gd name="connsiteY32171" fmla="*/ 4470600 h 4687251"/>
              <a:gd name="connsiteX32172" fmla="*/ 2371089 w 8079933"/>
              <a:gd name="connsiteY32172" fmla="*/ 4467677 h 4687251"/>
              <a:gd name="connsiteX32173" fmla="*/ 2374345 w 8079933"/>
              <a:gd name="connsiteY32173" fmla="*/ 4470492 h 4687251"/>
              <a:gd name="connsiteX32174" fmla="*/ 2377600 w 8079933"/>
              <a:gd name="connsiteY32174" fmla="*/ 4478179 h 4687251"/>
              <a:gd name="connsiteX32175" fmla="*/ 2375863 w 8079933"/>
              <a:gd name="connsiteY32175" fmla="*/ 4483701 h 4687251"/>
              <a:gd name="connsiteX32176" fmla="*/ 2379336 w 8079933"/>
              <a:gd name="connsiteY32176" fmla="*/ 4481103 h 4687251"/>
              <a:gd name="connsiteX32177" fmla="*/ 2379661 w 8079933"/>
              <a:gd name="connsiteY32177" fmla="*/ 4477638 h 4687251"/>
              <a:gd name="connsiteX32178" fmla="*/ 2376515 w 8079933"/>
              <a:gd name="connsiteY32178" fmla="*/ 4471358 h 4687251"/>
              <a:gd name="connsiteX32179" fmla="*/ 2376732 w 8079933"/>
              <a:gd name="connsiteY32179" fmla="*/ 4467677 h 4687251"/>
              <a:gd name="connsiteX32180" fmla="*/ 2379879 w 8079933"/>
              <a:gd name="connsiteY32180" fmla="*/ 4464321 h 4687251"/>
              <a:gd name="connsiteX32181" fmla="*/ 2378685 w 8079933"/>
              <a:gd name="connsiteY32181" fmla="*/ 4458582 h 4687251"/>
              <a:gd name="connsiteX32182" fmla="*/ 2371089 w 8079933"/>
              <a:gd name="connsiteY32182" fmla="*/ 4454360 h 4687251"/>
              <a:gd name="connsiteX32183" fmla="*/ 2363601 w 8079933"/>
              <a:gd name="connsiteY32183" fmla="*/ 4451544 h 4687251"/>
              <a:gd name="connsiteX32184" fmla="*/ 2361105 w 8079933"/>
              <a:gd name="connsiteY32184" fmla="*/ 4452627 h 4687251"/>
              <a:gd name="connsiteX32185" fmla="*/ 2361431 w 8079933"/>
              <a:gd name="connsiteY32185" fmla="*/ 4454685 h 4687251"/>
              <a:gd name="connsiteX32186" fmla="*/ 2369895 w 8079933"/>
              <a:gd name="connsiteY32186" fmla="*/ 4455226 h 4687251"/>
              <a:gd name="connsiteX32187" fmla="*/ 2374453 w 8079933"/>
              <a:gd name="connsiteY32187" fmla="*/ 4457608 h 4687251"/>
              <a:gd name="connsiteX32188" fmla="*/ 2375755 w 8079933"/>
              <a:gd name="connsiteY32188" fmla="*/ 4461506 h 4687251"/>
              <a:gd name="connsiteX32189" fmla="*/ 2370872 w 8079933"/>
              <a:gd name="connsiteY32189" fmla="*/ 4461397 h 4687251"/>
              <a:gd name="connsiteX32190" fmla="*/ 2369678 w 8079933"/>
              <a:gd name="connsiteY32190" fmla="*/ 4459665 h 4687251"/>
              <a:gd name="connsiteX32191" fmla="*/ 2362082 w 8079933"/>
              <a:gd name="connsiteY32191" fmla="*/ 4457391 h 4687251"/>
              <a:gd name="connsiteX32192" fmla="*/ 2358501 w 8079933"/>
              <a:gd name="connsiteY32192" fmla="*/ 4457391 h 4687251"/>
              <a:gd name="connsiteX32193" fmla="*/ 2358501 w 8079933"/>
              <a:gd name="connsiteY32193" fmla="*/ 4459340 h 4687251"/>
              <a:gd name="connsiteX32194" fmla="*/ 2364144 w 8079933"/>
              <a:gd name="connsiteY32194" fmla="*/ 4460207 h 4687251"/>
              <a:gd name="connsiteX32195" fmla="*/ 2367291 w 8079933"/>
              <a:gd name="connsiteY32195" fmla="*/ 4461181 h 4687251"/>
              <a:gd name="connsiteX32196" fmla="*/ 2367399 w 8079933"/>
              <a:gd name="connsiteY32196" fmla="*/ 4464321 h 4687251"/>
              <a:gd name="connsiteX32197" fmla="*/ 2364469 w 8079933"/>
              <a:gd name="connsiteY32197" fmla="*/ 4467244 h 4687251"/>
              <a:gd name="connsiteX32198" fmla="*/ 2362841 w 8079933"/>
              <a:gd name="connsiteY32198" fmla="*/ 4471900 h 4687251"/>
              <a:gd name="connsiteX32199" fmla="*/ 2360020 w 8079933"/>
              <a:gd name="connsiteY32199" fmla="*/ 4468110 h 4687251"/>
              <a:gd name="connsiteX32200" fmla="*/ 2359369 w 8079933"/>
              <a:gd name="connsiteY32200" fmla="*/ 4464321 h 4687251"/>
              <a:gd name="connsiteX32201" fmla="*/ 2355354 w 8079933"/>
              <a:gd name="connsiteY32201" fmla="*/ 4461506 h 4687251"/>
              <a:gd name="connsiteX32202" fmla="*/ 2356548 w 8079933"/>
              <a:gd name="connsiteY32202" fmla="*/ 4465187 h 4687251"/>
              <a:gd name="connsiteX32203" fmla="*/ 2355571 w 8079933"/>
              <a:gd name="connsiteY32203" fmla="*/ 4467894 h 4687251"/>
              <a:gd name="connsiteX32204" fmla="*/ 2357850 w 8079933"/>
              <a:gd name="connsiteY32204" fmla="*/ 4474282 h 4687251"/>
              <a:gd name="connsiteX32205" fmla="*/ 2354486 w 8079933"/>
              <a:gd name="connsiteY32205" fmla="*/ 4474823 h 4687251"/>
              <a:gd name="connsiteX32206" fmla="*/ 2350362 w 8079933"/>
              <a:gd name="connsiteY32206" fmla="*/ 4471033 h 4687251"/>
              <a:gd name="connsiteX32207" fmla="*/ 2348300 w 8079933"/>
              <a:gd name="connsiteY32207" fmla="*/ 4468219 h 4687251"/>
              <a:gd name="connsiteX32208" fmla="*/ 2346781 w 8079933"/>
              <a:gd name="connsiteY32208" fmla="*/ 4463238 h 4687251"/>
              <a:gd name="connsiteX32209" fmla="*/ 2345262 w 8079933"/>
              <a:gd name="connsiteY32209" fmla="*/ 4462805 h 4687251"/>
              <a:gd name="connsiteX32210" fmla="*/ 2340921 w 8079933"/>
              <a:gd name="connsiteY32210" fmla="*/ 4457500 h 4687251"/>
              <a:gd name="connsiteX32211" fmla="*/ 2341898 w 8079933"/>
              <a:gd name="connsiteY32211" fmla="*/ 4454793 h 4687251"/>
              <a:gd name="connsiteX32212" fmla="*/ 2344177 w 8079933"/>
              <a:gd name="connsiteY32212" fmla="*/ 4454468 h 4687251"/>
              <a:gd name="connsiteX32213" fmla="*/ 2346239 w 8079933"/>
              <a:gd name="connsiteY32213" fmla="*/ 4455984 h 4687251"/>
              <a:gd name="connsiteX32214" fmla="*/ 2348517 w 8079933"/>
              <a:gd name="connsiteY32214" fmla="*/ 4456092 h 4687251"/>
              <a:gd name="connsiteX32215" fmla="*/ 2347107 w 8079933"/>
              <a:gd name="connsiteY32215" fmla="*/ 4451544 h 4687251"/>
              <a:gd name="connsiteX32216" fmla="*/ 2347541 w 8079933"/>
              <a:gd name="connsiteY32216" fmla="*/ 4446998 h 4687251"/>
              <a:gd name="connsiteX32217" fmla="*/ 2344828 w 8079933"/>
              <a:gd name="connsiteY32217" fmla="*/ 4449704 h 4687251"/>
              <a:gd name="connsiteX32218" fmla="*/ 2342658 w 8079933"/>
              <a:gd name="connsiteY32218" fmla="*/ 4449813 h 4687251"/>
              <a:gd name="connsiteX32219" fmla="*/ 2338968 w 8079933"/>
              <a:gd name="connsiteY32219" fmla="*/ 4445590 h 4687251"/>
              <a:gd name="connsiteX32220" fmla="*/ 2338968 w 8079933"/>
              <a:gd name="connsiteY32220" fmla="*/ 4442666 h 4687251"/>
              <a:gd name="connsiteX32221" fmla="*/ 2335603 w 8079933"/>
              <a:gd name="connsiteY32221" fmla="*/ 4442666 h 4687251"/>
              <a:gd name="connsiteX32222" fmla="*/ 2333108 w 8079933"/>
              <a:gd name="connsiteY32222" fmla="*/ 4441042 h 4687251"/>
              <a:gd name="connsiteX32223" fmla="*/ 2335930 w 8079933"/>
              <a:gd name="connsiteY32223" fmla="*/ 4437253 h 4687251"/>
              <a:gd name="connsiteX32224" fmla="*/ 2339728 w 8079933"/>
              <a:gd name="connsiteY32224" fmla="*/ 4435954 h 4687251"/>
              <a:gd name="connsiteX32225" fmla="*/ 2340704 w 8079933"/>
              <a:gd name="connsiteY32225" fmla="*/ 4433031 h 4687251"/>
              <a:gd name="connsiteX32226" fmla="*/ 2340921 w 8079933"/>
              <a:gd name="connsiteY32226" fmla="*/ 4429457 h 4687251"/>
              <a:gd name="connsiteX32227" fmla="*/ 2337123 w 8079933"/>
              <a:gd name="connsiteY32227" fmla="*/ 4433680 h 4687251"/>
              <a:gd name="connsiteX32228" fmla="*/ 2335387 w 8079933"/>
              <a:gd name="connsiteY32228" fmla="*/ 4431299 h 4687251"/>
              <a:gd name="connsiteX32229" fmla="*/ 2333976 w 8079933"/>
              <a:gd name="connsiteY32229" fmla="*/ 4426859 h 4687251"/>
              <a:gd name="connsiteX32230" fmla="*/ 2336146 w 8079933"/>
              <a:gd name="connsiteY32230" fmla="*/ 4426642 h 4687251"/>
              <a:gd name="connsiteX32231" fmla="*/ 2336798 w 8079933"/>
              <a:gd name="connsiteY32231" fmla="*/ 4424369 h 4687251"/>
              <a:gd name="connsiteX32232" fmla="*/ 2333108 w 8079933"/>
              <a:gd name="connsiteY32232" fmla="*/ 4421662 h 4687251"/>
              <a:gd name="connsiteX32233" fmla="*/ 2323993 w 8079933"/>
              <a:gd name="connsiteY32233" fmla="*/ 4419713 h 4687251"/>
              <a:gd name="connsiteX32234" fmla="*/ 2317481 w 8079933"/>
              <a:gd name="connsiteY32234" fmla="*/ 4414949 h 4687251"/>
              <a:gd name="connsiteX32235" fmla="*/ 2317156 w 8079933"/>
              <a:gd name="connsiteY32235" fmla="*/ 4411809 h 4687251"/>
              <a:gd name="connsiteX32236" fmla="*/ 2319001 w 8079933"/>
              <a:gd name="connsiteY32236" fmla="*/ 4407695 h 4687251"/>
              <a:gd name="connsiteX32237" fmla="*/ 2321496 w 8079933"/>
              <a:gd name="connsiteY32237" fmla="*/ 4406071 h 4687251"/>
              <a:gd name="connsiteX32238" fmla="*/ 2321496 w 8079933"/>
              <a:gd name="connsiteY32238" fmla="*/ 4401849 h 4687251"/>
              <a:gd name="connsiteX32239" fmla="*/ 2322473 w 8079933"/>
              <a:gd name="connsiteY32239" fmla="*/ 4397626 h 4687251"/>
              <a:gd name="connsiteX32240" fmla="*/ 2321822 w 8079933"/>
              <a:gd name="connsiteY32240" fmla="*/ 4395136 h 4687251"/>
              <a:gd name="connsiteX32241" fmla="*/ 2325946 w 8079933"/>
              <a:gd name="connsiteY32241" fmla="*/ 4391455 h 4687251"/>
              <a:gd name="connsiteX32242" fmla="*/ 2331480 w 8079933"/>
              <a:gd name="connsiteY32242" fmla="*/ 4390156 h 4687251"/>
              <a:gd name="connsiteX32243" fmla="*/ 2332674 w 8079933"/>
              <a:gd name="connsiteY32243" fmla="*/ 4388965 h 4687251"/>
              <a:gd name="connsiteX32244" fmla="*/ 2329527 w 8079933"/>
              <a:gd name="connsiteY32244" fmla="*/ 4389181 h 4687251"/>
              <a:gd name="connsiteX32245" fmla="*/ 2325946 w 8079933"/>
              <a:gd name="connsiteY32245" fmla="*/ 4386799 h 4687251"/>
              <a:gd name="connsiteX32246" fmla="*/ 2325621 w 8079933"/>
              <a:gd name="connsiteY32246" fmla="*/ 4384200 h 4687251"/>
              <a:gd name="connsiteX32247" fmla="*/ 2328333 w 8079933"/>
              <a:gd name="connsiteY32247" fmla="*/ 4374240 h 4687251"/>
              <a:gd name="connsiteX32248" fmla="*/ 2330612 w 8079933"/>
              <a:gd name="connsiteY32248" fmla="*/ 4374023 h 4687251"/>
              <a:gd name="connsiteX32249" fmla="*/ 2329419 w 8079933"/>
              <a:gd name="connsiteY32249" fmla="*/ 4371966 h 4687251"/>
              <a:gd name="connsiteX32250" fmla="*/ 2326054 w 8079933"/>
              <a:gd name="connsiteY32250" fmla="*/ 4374240 h 4687251"/>
              <a:gd name="connsiteX32251" fmla="*/ 2323667 w 8079933"/>
              <a:gd name="connsiteY32251" fmla="*/ 4383118 h 4687251"/>
              <a:gd name="connsiteX32252" fmla="*/ 2323667 w 8079933"/>
              <a:gd name="connsiteY32252" fmla="*/ 4391022 h 4687251"/>
              <a:gd name="connsiteX32253" fmla="*/ 2319869 w 8079933"/>
              <a:gd name="connsiteY32253" fmla="*/ 4389506 h 4687251"/>
              <a:gd name="connsiteX32254" fmla="*/ 2317156 w 8079933"/>
              <a:gd name="connsiteY32254" fmla="*/ 4384850 h 4687251"/>
              <a:gd name="connsiteX32255" fmla="*/ 2317265 w 8079933"/>
              <a:gd name="connsiteY32255" fmla="*/ 4379545 h 4687251"/>
              <a:gd name="connsiteX32256" fmla="*/ 2314768 w 8079933"/>
              <a:gd name="connsiteY32256" fmla="*/ 4376297 h 4687251"/>
              <a:gd name="connsiteX32257" fmla="*/ 2311947 w 8079933"/>
              <a:gd name="connsiteY32257" fmla="*/ 4364712 h 4687251"/>
              <a:gd name="connsiteX32258" fmla="*/ 2312273 w 8079933"/>
              <a:gd name="connsiteY32258" fmla="*/ 4361681 h 4687251"/>
              <a:gd name="connsiteX32259" fmla="*/ 2314877 w 8079933"/>
              <a:gd name="connsiteY32259" fmla="*/ 4361464 h 4687251"/>
              <a:gd name="connsiteX32260" fmla="*/ 2316288 w 8079933"/>
              <a:gd name="connsiteY32260" fmla="*/ 4358757 h 4687251"/>
              <a:gd name="connsiteX32261" fmla="*/ 2315528 w 8079933"/>
              <a:gd name="connsiteY32261" fmla="*/ 4356700 h 4687251"/>
              <a:gd name="connsiteX32262" fmla="*/ 2315420 w 8079933"/>
              <a:gd name="connsiteY32262" fmla="*/ 4354318 h 4687251"/>
              <a:gd name="connsiteX32263" fmla="*/ 2319001 w 8079933"/>
              <a:gd name="connsiteY32263" fmla="*/ 4350853 h 4687251"/>
              <a:gd name="connsiteX32264" fmla="*/ 2319543 w 8079933"/>
              <a:gd name="connsiteY32264" fmla="*/ 4348255 h 4687251"/>
              <a:gd name="connsiteX32265" fmla="*/ 2316071 w 8079933"/>
              <a:gd name="connsiteY32265" fmla="*/ 4350204 h 4687251"/>
              <a:gd name="connsiteX32266" fmla="*/ 2311947 w 8079933"/>
              <a:gd name="connsiteY32266" fmla="*/ 4349121 h 4687251"/>
              <a:gd name="connsiteX32267" fmla="*/ 2311079 w 8079933"/>
              <a:gd name="connsiteY32267" fmla="*/ 4345115 h 4687251"/>
              <a:gd name="connsiteX32268" fmla="*/ 2306413 w 8079933"/>
              <a:gd name="connsiteY32268" fmla="*/ 4342300 h 4687251"/>
              <a:gd name="connsiteX32269" fmla="*/ 2305653 w 8079933"/>
              <a:gd name="connsiteY32269" fmla="*/ 4339809 h 4687251"/>
              <a:gd name="connsiteX32270" fmla="*/ 2307281 w 8079933"/>
              <a:gd name="connsiteY32270" fmla="*/ 4336453 h 4687251"/>
              <a:gd name="connsiteX32271" fmla="*/ 2314552 w 8079933"/>
              <a:gd name="connsiteY32271" fmla="*/ 4334504 h 4687251"/>
              <a:gd name="connsiteX32272" fmla="*/ 2317807 w 8079933"/>
              <a:gd name="connsiteY32272" fmla="*/ 4337103 h 4687251"/>
              <a:gd name="connsiteX32273" fmla="*/ 2319001 w 8079933"/>
              <a:gd name="connsiteY32273" fmla="*/ 4335371 h 4687251"/>
              <a:gd name="connsiteX32274" fmla="*/ 2323341 w 8079933"/>
              <a:gd name="connsiteY32274" fmla="*/ 4335154 h 4687251"/>
              <a:gd name="connsiteX32275" fmla="*/ 2324861 w 8079933"/>
              <a:gd name="connsiteY32275" fmla="*/ 4334180 h 4687251"/>
              <a:gd name="connsiteX32276" fmla="*/ 2323993 w 8079933"/>
              <a:gd name="connsiteY32276" fmla="*/ 4332447 h 4687251"/>
              <a:gd name="connsiteX32277" fmla="*/ 2325729 w 8079933"/>
              <a:gd name="connsiteY32277" fmla="*/ 4329307 h 4687251"/>
              <a:gd name="connsiteX32278" fmla="*/ 2321822 w 8079933"/>
              <a:gd name="connsiteY32278" fmla="*/ 4331039 h 4687251"/>
              <a:gd name="connsiteX32279" fmla="*/ 2319435 w 8079933"/>
              <a:gd name="connsiteY32279" fmla="*/ 4331257 h 4687251"/>
              <a:gd name="connsiteX32280" fmla="*/ 2316830 w 8079933"/>
              <a:gd name="connsiteY32280" fmla="*/ 4328658 h 4687251"/>
              <a:gd name="connsiteX32281" fmla="*/ 2310428 w 8079933"/>
              <a:gd name="connsiteY32281" fmla="*/ 4331906 h 4687251"/>
              <a:gd name="connsiteX32282" fmla="*/ 2304026 w 8079933"/>
              <a:gd name="connsiteY32282" fmla="*/ 4330931 h 4687251"/>
              <a:gd name="connsiteX32283" fmla="*/ 2302506 w 8079933"/>
              <a:gd name="connsiteY32283" fmla="*/ 4327575 h 4687251"/>
              <a:gd name="connsiteX32284" fmla="*/ 2298925 w 8079933"/>
              <a:gd name="connsiteY32284" fmla="*/ 4324327 h 4687251"/>
              <a:gd name="connsiteX32285" fmla="*/ 2299251 w 8079933"/>
              <a:gd name="connsiteY32285" fmla="*/ 4320646 h 4687251"/>
              <a:gd name="connsiteX32286" fmla="*/ 2301855 w 8079933"/>
              <a:gd name="connsiteY32286" fmla="*/ 4320213 h 4687251"/>
              <a:gd name="connsiteX32287" fmla="*/ 2303374 w 8079933"/>
              <a:gd name="connsiteY32287" fmla="*/ 4322486 h 4687251"/>
              <a:gd name="connsiteX32288" fmla="*/ 2307715 w 8079933"/>
              <a:gd name="connsiteY32288" fmla="*/ 4324327 h 4687251"/>
              <a:gd name="connsiteX32289" fmla="*/ 2308366 w 8079933"/>
              <a:gd name="connsiteY32289" fmla="*/ 4323027 h 4687251"/>
              <a:gd name="connsiteX32290" fmla="*/ 2304026 w 8079933"/>
              <a:gd name="connsiteY32290" fmla="*/ 4320213 h 4687251"/>
              <a:gd name="connsiteX32291" fmla="*/ 2302181 w 8079933"/>
              <a:gd name="connsiteY32291" fmla="*/ 4317506 h 4687251"/>
              <a:gd name="connsiteX32292" fmla="*/ 2304243 w 8079933"/>
              <a:gd name="connsiteY32292" fmla="*/ 4314258 h 4687251"/>
              <a:gd name="connsiteX32293" fmla="*/ 2306956 w 8079933"/>
              <a:gd name="connsiteY32293" fmla="*/ 4312201 h 4687251"/>
              <a:gd name="connsiteX32294" fmla="*/ 2304894 w 8079933"/>
              <a:gd name="connsiteY32294" fmla="*/ 4309386 h 4687251"/>
              <a:gd name="connsiteX32295" fmla="*/ 2306087 w 8079933"/>
              <a:gd name="connsiteY32295" fmla="*/ 4307003 h 4687251"/>
              <a:gd name="connsiteX32296" fmla="*/ 2308692 w 8079933"/>
              <a:gd name="connsiteY32296" fmla="*/ 4306462 h 4687251"/>
              <a:gd name="connsiteX32297" fmla="*/ 2306304 w 8079933"/>
              <a:gd name="connsiteY32297" fmla="*/ 4303756 h 4687251"/>
              <a:gd name="connsiteX32298" fmla="*/ 2300119 w 8079933"/>
              <a:gd name="connsiteY32298" fmla="*/ 4300615 h 4687251"/>
              <a:gd name="connsiteX32299" fmla="*/ 2298383 w 8079933"/>
              <a:gd name="connsiteY32299" fmla="*/ 4297909 h 4687251"/>
              <a:gd name="connsiteX32300" fmla="*/ 2295453 w 8079933"/>
              <a:gd name="connsiteY32300" fmla="*/ 4296718 h 4687251"/>
              <a:gd name="connsiteX32301" fmla="*/ 2293174 w 8079933"/>
              <a:gd name="connsiteY32301" fmla="*/ 4299100 h 4687251"/>
              <a:gd name="connsiteX32302" fmla="*/ 2287856 w 8079933"/>
              <a:gd name="connsiteY32302" fmla="*/ 4299317 h 4687251"/>
              <a:gd name="connsiteX32303" fmla="*/ 2283408 w 8079933"/>
              <a:gd name="connsiteY32303" fmla="*/ 4296285 h 4687251"/>
              <a:gd name="connsiteX32304" fmla="*/ 2282322 w 8079933"/>
              <a:gd name="connsiteY32304" fmla="*/ 4290872 h 4687251"/>
              <a:gd name="connsiteX32305" fmla="*/ 2281128 w 8079933"/>
              <a:gd name="connsiteY32305" fmla="*/ 4292388 h 4687251"/>
              <a:gd name="connsiteX32306" fmla="*/ 2275052 w 8079933"/>
              <a:gd name="connsiteY32306" fmla="*/ 4292929 h 4687251"/>
              <a:gd name="connsiteX32307" fmla="*/ 2272881 w 8079933"/>
              <a:gd name="connsiteY32307" fmla="*/ 4297368 h 4687251"/>
              <a:gd name="connsiteX32308" fmla="*/ 2273424 w 8079933"/>
              <a:gd name="connsiteY32308" fmla="*/ 4299750 h 4687251"/>
              <a:gd name="connsiteX32309" fmla="*/ 2277656 w 8079933"/>
              <a:gd name="connsiteY32309" fmla="*/ 4301049 h 4687251"/>
              <a:gd name="connsiteX32310" fmla="*/ 2277982 w 8079933"/>
              <a:gd name="connsiteY32310" fmla="*/ 4303972 h 4687251"/>
              <a:gd name="connsiteX32311" fmla="*/ 2275811 w 8079933"/>
              <a:gd name="connsiteY32311" fmla="*/ 4306354 h 4687251"/>
              <a:gd name="connsiteX32312" fmla="*/ 2272122 w 8079933"/>
              <a:gd name="connsiteY32312" fmla="*/ 4305813 h 4687251"/>
              <a:gd name="connsiteX32313" fmla="*/ 2265611 w 8079933"/>
              <a:gd name="connsiteY32313" fmla="*/ 4298558 h 4687251"/>
              <a:gd name="connsiteX32314" fmla="*/ 2265936 w 8079933"/>
              <a:gd name="connsiteY32314" fmla="*/ 4294986 h 4687251"/>
              <a:gd name="connsiteX32315" fmla="*/ 2272122 w 8079933"/>
              <a:gd name="connsiteY32315" fmla="*/ 4291521 h 4687251"/>
              <a:gd name="connsiteX32316" fmla="*/ 2273858 w 8079933"/>
              <a:gd name="connsiteY32316" fmla="*/ 4287515 h 4687251"/>
              <a:gd name="connsiteX32317" fmla="*/ 2277113 w 8079933"/>
              <a:gd name="connsiteY32317" fmla="*/ 4285133 h 4687251"/>
              <a:gd name="connsiteX32318" fmla="*/ 2278741 w 8079933"/>
              <a:gd name="connsiteY32318" fmla="*/ 4280694 h 4687251"/>
              <a:gd name="connsiteX32319" fmla="*/ 2281671 w 8079933"/>
              <a:gd name="connsiteY32319" fmla="*/ 4280152 h 4687251"/>
              <a:gd name="connsiteX32320" fmla="*/ 2280586 w 8079933"/>
              <a:gd name="connsiteY32320" fmla="*/ 4276472 h 4687251"/>
              <a:gd name="connsiteX32321" fmla="*/ 2278850 w 8079933"/>
              <a:gd name="connsiteY32321" fmla="*/ 4276254 h 4687251"/>
              <a:gd name="connsiteX32322" fmla="*/ 2276462 w 8079933"/>
              <a:gd name="connsiteY32322" fmla="*/ 4271274 h 4687251"/>
              <a:gd name="connsiteX32323" fmla="*/ 2276679 w 8079933"/>
              <a:gd name="connsiteY32323" fmla="*/ 4268568 h 4687251"/>
              <a:gd name="connsiteX32324" fmla="*/ 2279935 w 8079933"/>
              <a:gd name="connsiteY32324" fmla="*/ 4267701 h 4687251"/>
              <a:gd name="connsiteX32325" fmla="*/ 2282648 w 8079933"/>
              <a:gd name="connsiteY32325" fmla="*/ 4268568 h 4687251"/>
              <a:gd name="connsiteX32326" fmla="*/ 2291112 w 8079933"/>
              <a:gd name="connsiteY32326" fmla="*/ 4268134 h 4687251"/>
              <a:gd name="connsiteX32327" fmla="*/ 2295887 w 8079933"/>
              <a:gd name="connsiteY32327" fmla="*/ 4266402 h 4687251"/>
              <a:gd name="connsiteX32328" fmla="*/ 2297732 w 8079933"/>
              <a:gd name="connsiteY32328" fmla="*/ 4267701 h 4687251"/>
              <a:gd name="connsiteX32329" fmla="*/ 2297732 w 8079933"/>
              <a:gd name="connsiteY32329" fmla="*/ 4274197 h 4687251"/>
              <a:gd name="connsiteX32330" fmla="*/ 2294910 w 8079933"/>
              <a:gd name="connsiteY32330" fmla="*/ 4276254 h 4687251"/>
              <a:gd name="connsiteX32331" fmla="*/ 2290569 w 8079933"/>
              <a:gd name="connsiteY32331" fmla="*/ 4277770 h 4687251"/>
              <a:gd name="connsiteX32332" fmla="*/ 2290461 w 8079933"/>
              <a:gd name="connsiteY32332" fmla="*/ 4279828 h 4687251"/>
              <a:gd name="connsiteX32333" fmla="*/ 2293065 w 8079933"/>
              <a:gd name="connsiteY32333" fmla="*/ 4280152 h 4687251"/>
              <a:gd name="connsiteX32334" fmla="*/ 2297515 w 8079933"/>
              <a:gd name="connsiteY32334" fmla="*/ 4277121 h 4687251"/>
              <a:gd name="connsiteX32335" fmla="*/ 2303699 w 8079933"/>
              <a:gd name="connsiteY32335" fmla="*/ 4275064 h 4687251"/>
              <a:gd name="connsiteX32336" fmla="*/ 2305762 w 8079933"/>
              <a:gd name="connsiteY32336" fmla="*/ 4275713 h 4687251"/>
              <a:gd name="connsiteX32337" fmla="*/ 2304894 w 8079933"/>
              <a:gd name="connsiteY32337" fmla="*/ 4278095 h 4687251"/>
              <a:gd name="connsiteX32338" fmla="*/ 2305653 w 8079933"/>
              <a:gd name="connsiteY32338" fmla="*/ 4282101 h 4687251"/>
              <a:gd name="connsiteX32339" fmla="*/ 2304243 w 8079933"/>
              <a:gd name="connsiteY32339" fmla="*/ 4289680 h 4687251"/>
              <a:gd name="connsiteX32340" fmla="*/ 2302506 w 8079933"/>
              <a:gd name="connsiteY32340" fmla="*/ 4291846 h 4687251"/>
              <a:gd name="connsiteX32341" fmla="*/ 2304243 w 8079933"/>
              <a:gd name="connsiteY32341" fmla="*/ 4294661 h 4687251"/>
              <a:gd name="connsiteX32342" fmla="*/ 2305111 w 8079933"/>
              <a:gd name="connsiteY32342" fmla="*/ 4290005 h 4687251"/>
              <a:gd name="connsiteX32343" fmla="*/ 2308366 w 8079933"/>
              <a:gd name="connsiteY32343" fmla="*/ 4288273 h 4687251"/>
              <a:gd name="connsiteX32344" fmla="*/ 2308692 w 8079933"/>
              <a:gd name="connsiteY32344" fmla="*/ 4279395 h 4687251"/>
              <a:gd name="connsiteX32345" fmla="*/ 2309885 w 8079933"/>
              <a:gd name="connsiteY32345" fmla="*/ 4276579 h 4687251"/>
              <a:gd name="connsiteX32346" fmla="*/ 2307281 w 8079933"/>
              <a:gd name="connsiteY32346" fmla="*/ 4275389 h 4687251"/>
              <a:gd name="connsiteX32347" fmla="*/ 2307498 w 8079933"/>
              <a:gd name="connsiteY32347" fmla="*/ 4270084 h 4687251"/>
              <a:gd name="connsiteX32348" fmla="*/ 2310102 w 8079933"/>
              <a:gd name="connsiteY32348" fmla="*/ 4262613 h 4687251"/>
              <a:gd name="connsiteX32349" fmla="*/ 2313467 w 8079933"/>
              <a:gd name="connsiteY32349" fmla="*/ 4258499 h 4687251"/>
              <a:gd name="connsiteX32350" fmla="*/ 2311622 w 8079933"/>
              <a:gd name="connsiteY32350" fmla="*/ 4257307 h 4687251"/>
              <a:gd name="connsiteX32351" fmla="*/ 2311405 w 8079933"/>
              <a:gd name="connsiteY32351" fmla="*/ 4254384 h 4687251"/>
              <a:gd name="connsiteX32352" fmla="*/ 2313141 w 8079933"/>
              <a:gd name="connsiteY32352" fmla="*/ 4252111 h 4687251"/>
              <a:gd name="connsiteX32353" fmla="*/ 2311296 w 8079933"/>
              <a:gd name="connsiteY32353" fmla="*/ 4247022 h 4687251"/>
              <a:gd name="connsiteX32354" fmla="*/ 2311839 w 8079933"/>
              <a:gd name="connsiteY32354" fmla="*/ 4242366 h 4687251"/>
              <a:gd name="connsiteX32355" fmla="*/ 2314552 w 8079933"/>
              <a:gd name="connsiteY32355" fmla="*/ 4242366 h 4687251"/>
              <a:gd name="connsiteX32356" fmla="*/ 2320737 w 8079933"/>
              <a:gd name="connsiteY32356" fmla="*/ 4238577 h 4687251"/>
              <a:gd name="connsiteX32357" fmla="*/ 2324209 w 8079933"/>
              <a:gd name="connsiteY32357" fmla="*/ 4233379 h 4687251"/>
              <a:gd name="connsiteX32358" fmla="*/ 2324752 w 8079933"/>
              <a:gd name="connsiteY32358" fmla="*/ 4225909 h 4687251"/>
              <a:gd name="connsiteX32359" fmla="*/ 2322799 w 8079933"/>
              <a:gd name="connsiteY32359" fmla="*/ 4222985 h 4687251"/>
              <a:gd name="connsiteX32360" fmla="*/ 2318675 w 8079933"/>
              <a:gd name="connsiteY32360" fmla="*/ 4222228 h 4687251"/>
              <a:gd name="connsiteX32361" fmla="*/ 2318133 w 8079933"/>
              <a:gd name="connsiteY32361" fmla="*/ 4218655 h 4687251"/>
              <a:gd name="connsiteX32362" fmla="*/ 2315203 w 8079933"/>
              <a:gd name="connsiteY32362" fmla="*/ 4215732 h 4687251"/>
              <a:gd name="connsiteX32363" fmla="*/ 2310645 w 8079933"/>
              <a:gd name="connsiteY32363" fmla="*/ 4215515 h 4687251"/>
              <a:gd name="connsiteX32364" fmla="*/ 2308149 w 8079933"/>
              <a:gd name="connsiteY32364" fmla="*/ 4213133 h 4687251"/>
              <a:gd name="connsiteX32365" fmla="*/ 2308366 w 8079933"/>
              <a:gd name="connsiteY32365" fmla="*/ 4210210 h 4687251"/>
              <a:gd name="connsiteX32366" fmla="*/ 2311296 w 8079933"/>
              <a:gd name="connsiteY32366" fmla="*/ 4206637 h 4687251"/>
              <a:gd name="connsiteX32367" fmla="*/ 2312164 w 8079933"/>
              <a:gd name="connsiteY32367" fmla="*/ 4200790 h 4687251"/>
              <a:gd name="connsiteX32368" fmla="*/ 2313467 w 8079933"/>
              <a:gd name="connsiteY32368" fmla="*/ 4196784 h 4687251"/>
              <a:gd name="connsiteX32369" fmla="*/ 2308366 w 8079933"/>
              <a:gd name="connsiteY32369" fmla="*/ 4193536 h 4687251"/>
              <a:gd name="connsiteX32370" fmla="*/ 2307715 w 8079933"/>
              <a:gd name="connsiteY32370" fmla="*/ 4191154 h 4687251"/>
              <a:gd name="connsiteX32371" fmla="*/ 2311839 w 8079933"/>
              <a:gd name="connsiteY32371" fmla="*/ 4186715 h 4687251"/>
              <a:gd name="connsiteX32372" fmla="*/ 2310102 w 8079933"/>
              <a:gd name="connsiteY32372" fmla="*/ 4185308 h 4687251"/>
              <a:gd name="connsiteX32373" fmla="*/ 2310428 w 8079933"/>
              <a:gd name="connsiteY32373" fmla="*/ 4182059 h 4687251"/>
              <a:gd name="connsiteX32374" fmla="*/ 2314009 w 8079933"/>
              <a:gd name="connsiteY32374" fmla="*/ 4177945 h 4687251"/>
              <a:gd name="connsiteX32375" fmla="*/ 2310102 w 8079933"/>
              <a:gd name="connsiteY32375" fmla="*/ 4174155 h 4687251"/>
              <a:gd name="connsiteX32376" fmla="*/ 2309669 w 8079933"/>
              <a:gd name="connsiteY32376" fmla="*/ 4168309 h 4687251"/>
              <a:gd name="connsiteX32377" fmla="*/ 2311839 w 8079933"/>
              <a:gd name="connsiteY32377" fmla="*/ 4166576 h 4687251"/>
              <a:gd name="connsiteX32378" fmla="*/ 2314877 w 8079933"/>
              <a:gd name="connsiteY32378" fmla="*/ 4165494 h 4687251"/>
              <a:gd name="connsiteX32379" fmla="*/ 2314009 w 8079933"/>
              <a:gd name="connsiteY32379" fmla="*/ 4163112 h 4687251"/>
              <a:gd name="connsiteX32380" fmla="*/ 2309560 w 8079933"/>
              <a:gd name="connsiteY32380" fmla="*/ 4159864 h 4687251"/>
              <a:gd name="connsiteX32381" fmla="*/ 2309234 w 8079933"/>
              <a:gd name="connsiteY32381" fmla="*/ 4157482 h 4687251"/>
              <a:gd name="connsiteX32382" fmla="*/ 2310645 w 8079933"/>
              <a:gd name="connsiteY32382" fmla="*/ 4155100 h 4687251"/>
              <a:gd name="connsiteX32383" fmla="*/ 2313358 w 8079933"/>
              <a:gd name="connsiteY32383" fmla="*/ 4156291 h 4687251"/>
              <a:gd name="connsiteX32384" fmla="*/ 2315094 w 8079933"/>
              <a:gd name="connsiteY32384" fmla="*/ 4160188 h 4687251"/>
              <a:gd name="connsiteX32385" fmla="*/ 2317265 w 8079933"/>
              <a:gd name="connsiteY32385" fmla="*/ 4162570 h 4687251"/>
              <a:gd name="connsiteX32386" fmla="*/ 2318567 w 8079933"/>
              <a:gd name="connsiteY32386" fmla="*/ 4161380 h 4687251"/>
              <a:gd name="connsiteX32387" fmla="*/ 2316288 w 8079933"/>
              <a:gd name="connsiteY32387" fmla="*/ 4158673 h 4687251"/>
              <a:gd name="connsiteX32388" fmla="*/ 2315745 w 8079933"/>
              <a:gd name="connsiteY32388" fmla="*/ 4150336 h 4687251"/>
              <a:gd name="connsiteX32389" fmla="*/ 2315203 w 8079933"/>
              <a:gd name="connsiteY32389" fmla="*/ 4146763 h 4687251"/>
              <a:gd name="connsiteX32390" fmla="*/ 2312490 w 8079933"/>
              <a:gd name="connsiteY32390" fmla="*/ 4148496 h 4687251"/>
              <a:gd name="connsiteX32391" fmla="*/ 2308583 w 8079933"/>
              <a:gd name="connsiteY32391" fmla="*/ 4146763 h 4687251"/>
              <a:gd name="connsiteX32392" fmla="*/ 2308583 w 8079933"/>
              <a:gd name="connsiteY32392" fmla="*/ 4143731 h 4687251"/>
              <a:gd name="connsiteX32393" fmla="*/ 2313684 w 8079933"/>
              <a:gd name="connsiteY32393" fmla="*/ 4139076 h 4687251"/>
              <a:gd name="connsiteX32394" fmla="*/ 2316071 w 8079933"/>
              <a:gd name="connsiteY32394" fmla="*/ 4135503 h 4687251"/>
              <a:gd name="connsiteX32395" fmla="*/ 2313032 w 8079933"/>
              <a:gd name="connsiteY32395" fmla="*/ 4135936 h 4687251"/>
              <a:gd name="connsiteX32396" fmla="*/ 2311405 w 8079933"/>
              <a:gd name="connsiteY32396" fmla="*/ 4137019 h 4687251"/>
              <a:gd name="connsiteX32397" fmla="*/ 2307824 w 8079933"/>
              <a:gd name="connsiteY32397" fmla="*/ 4132688 h 4687251"/>
              <a:gd name="connsiteX32398" fmla="*/ 2303483 w 8079933"/>
              <a:gd name="connsiteY32398" fmla="*/ 4132580 h 4687251"/>
              <a:gd name="connsiteX32399" fmla="*/ 2302506 w 8079933"/>
              <a:gd name="connsiteY32399" fmla="*/ 4133879 h 4687251"/>
              <a:gd name="connsiteX32400" fmla="*/ 2302181 w 8079933"/>
              <a:gd name="connsiteY32400" fmla="*/ 4140592 h 4687251"/>
              <a:gd name="connsiteX32401" fmla="*/ 2295453 w 8079933"/>
              <a:gd name="connsiteY32401" fmla="*/ 4142324 h 4687251"/>
              <a:gd name="connsiteX32402" fmla="*/ 2288507 w 8079933"/>
              <a:gd name="connsiteY32402" fmla="*/ 4139401 h 4687251"/>
              <a:gd name="connsiteX32403" fmla="*/ 2286771 w 8079933"/>
              <a:gd name="connsiteY32403" fmla="*/ 4135828 h 4687251"/>
              <a:gd name="connsiteX32404" fmla="*/ 2284601 w 8079933"/>
              <a:gd name="connsiteY32404" fmla="*/ 4133554 h 4687251"/>
              <a:gd name="connsiteX32405" fmla="*/ 2277113 w 8079933"/>
              <a:gd name="connsiteY32405" fmla="*/ 4122078 h 4687251"/>
              <a:gd name="connsiteX32406" fmla="*/ 2275594 w 8079933"/>
              <a:gd name="connsiteY32406" fmla="*/ 4119587 h 4687251"/>
              <a:gd name="connsiteX32407" fmla="*/ 2276679 w 8079933"/>
              <a:gd name="connsiteY32407" fmla="*/ 4118072 h 4687251"/>
              <a:gd name="connsiteX32408" fmla="*/ 2277656 w 8079933"/>
              <a:gd name="connsiteY32408" fmla="*/ 4114823 h 4687251"/>
              <a:gd name="connsiteX32409" fmla="*/ 2275052 w 8079933"/>
              <a:gd name="connsiteY32409" fmla="*/ 4112550 h 4687251"/>
              <a:gd name="connsiteX32410" fmla="*/ 2277330 w 8079933"/>
              <a:gd name="connsiteY32410" fmla="*/ 4109843 h 4687251"/>
              <a:gd name="connsiteX32411" fmla="*/ 2276462 w 8079933"/>
              <a:gd name="connsiteY32411" fmla="*/ 4105512 h 4687251"/>
              <a:gd name="connsiteX32412" fmla="*/ 2279067 w 8079933"/>
              <a:gd name="connsiteY32412" fmla="*/ 4095768 h 4687251"/>
              <a:gd name="connsiteX32413" fmla="*/ 2275920 w 8079933"/>
              <a:gd name="connsiteY32413" fmla="*/ 4093169 h 4687251"/>
              <a:gd name="connsiteX32414" fmla="*/ 2274726 w 8079933"/>
              <a:gd name="connsiteY32414" fmla="*/ 4088730 h 4687251"/>
              <a:gd name="connsiteX32415" fmla="*/ 2276354 w 8079933"/>
              <a:gd name="connsiteY32415" fmla="*/ 4084399 h 4687251"/>
              <a:gd name="connsiteX32416" fmla="*/ 2278850 w 8079933"/>
              <a:gd name="connsiteY32416" fmla="*/ 4084075 h 4687251"/>
              <a:gd name="connsiteX32417" fmla="*/ 2280586 w 8079933"/>
              <a:gd name="connsiteY32417" fmla="*/ 4085049 h 4687251"/>
              <a:gd name="connsiteX32418" fmla="*/ 2281454 w 8079933"/>
              <a:gd name="connsiteY32418" fmla="*/ 4082017 h 4687251"/>
              <a:gd name="connsiteX32419" fmla="*/ 2280586 w 8079933"/>
              <a:gd name="connsiteY32419" fmla="*/ 4078661 h 4687251"/>
              <a:gd name="connsiteX32420" fmla="*/ 2282539 w 8079933"/>
              <a:gd name="connsiteY32420" fmla="*/ 4077145 h 4687251"/>
              <a:gd name="connsiteX32421" fmla="*/ 2284601 w 8079933"/>
              <a:gd name="connsiteY32421" fmla="*/ 4066643 h 4687251"/>
              <a:gd name="connsiteX32422" fmla="*/ 2284601 w 8079933"/>
              <a:gd name="connsiteY32422" fmla="*/ 4058631 h 4687251"/>
              <a:gd name="connsiteX32423" fmla="*/ 2281671 w 8079933"/>
              <a:gd name="connsiteY32423" fmla="*/ 4055924 h 4687251"/>
              <a:gd name="connsiteX32424" fmla="*/ 2280477 w 8079933"/>
              <a:gd name="connsiteY32424" fmla="*/ 4052460 h 4687251"/>
              <a:gd name="connsiteX32425" fmla="*/ 2272990 w 8079933"/>
              <a:gd name="connsiteY32425" fmla="*/ 4039900 h 4687251"/>
              <a:gd name="connsiteX32426" fmla="*/ 2273858 w 8079933"/>
              <a:gd name="connsiteY32426" fmla="*/ 4033512 h 4687251"/>
              <a:gd name="connsiteX32427" fmla="*/ 2273207 w 8079933"/>
              <a:gd name="connsiteY32427" fmla="*/ 4028531 h 4687251"/>
              <a:gd name="connsiteX32428" fmla="*/ 2267998 w 8079933"/>
              <a:gd name="connsiteY32428" fmla="*/ 4024200 h 4687251"/>
              <a:gd name="connsiteX32429" fmla="*/ 2264743 w 8079933"/>
              <a:gd name="connsiteY32429" fmla="*/ 4019437 h 4687251"/>
              <a:gd name="connsiteX32430" fmla="*/ 2264634 w 8079933"/>
              <a:gd name="connsiteY32430" fmla="*/ 4012183 h 4687251"/>
              <a:gd name="connsiteX32431" fmla="*/ 2263766 w 8079933"/>
              <a:gd name="connsiteY32431" fmla="*/ 4006986 h 4687251"/>
              <a:gd name="connsiteX32432" fmla="*/ 2264200 w 8079933"/>
              <a:gd name="connsiteY32432" fmla="*/ 4004063 h 4687251"/>
              <a:gd name="connsiteX32433" fmla="*/ 2267672 w 8079933"/>
              <a:gd name="connsiteY32433" fmla="*/ 4003304 h 4687251"/>
              <a:gd name="connsiteX32434" fmla="*/ 2270602 w 8079933"/>
              <a:gd name="connsiteY32434" fmla="*/ 4005470 h 4687251"/>
              <a:gd name="connsiteX32435" fmla="*/ 2273424 w 8079933"/>
              <a:gd name="connsiteY32435" fmla="*/ 4005145 h 4687251"/>
              <a:gd name="connsiteX32436" fmla="*/ 2276137 w 8079933"/>
              <a:gd name="connsiteY32436" fmla="*/ 4001247 h 4687251"/>
              <a:gd name="connsiteX32437" fmla="*/ 2275920 w 8079933"/>
              <a:gd name="connsiteY32437" fmla="*/ 3996375 h 4687251"/>
              <a:gd name="connsiteX32438" fmla="*/ 2274400 w 8079933"/>
              <a:gd name="connsiteY32438" fmla="*/ 3992478 h 4687251"/>
              <a:gd name="connsiteX32439" fmla="*/ 2274726 w 8079933"/>
              <a:gd name="connsiteY32439" fmla="*/ 3989013 h 4687251"/>
              <a:gd name="connsiteX32440" fmla="*/ 2276354 w 8079933"/>
              <a:gd name="connsiteY32440" fmla="*/ 3986090 h 4687251"/>
              <a:gd name="connsiteX32441" fmla="*/ 2276354 w 8079933"/>
              <a:gd name="connsiteY32441" fmla="*/ 3981651 h 4687251"/>
              <a:gd name="connsiteX32442" fmla="*/ 2279610 w 8079933"/>
              <a:gd name="connsiteY32442" fmla="*/ 3979377 h 4687251"/>
              <a:gd name="connsiteX32443" fmla="*/ 2280151 w 8079933"/>
              <a:gd name="connsiteY32443" fmla="*/ 3975371 h 4687251"/>
              <a:gd name="connsiteX32444" fmla="*/ 2280260 w 8079933"/>
              <a:gd name="connsiteY32444" fmla="*/ 3968874 h 4687251"/>
              <a:gd name="connsiteX32445" fmla="*/ 2283190 w 8079933"/>
              <a:gd name="connsiteY32445" fmla="*/ 3964544 h 4687251"/>
              <a:gd name="connsiteX32446" fmla="*/ 2281454 w 8079933"/>
              <a:gd name="connsiteY32446" fmla="*/ 3961837 h 4687251"/>
              <a:gd name="connsiteX32447" fmla="*/ 2281128 w 8079933"/>
              <a:gd name="connsiteY32447" fmla="*/ 3959238 h 4687251"/>
              <a:gd name="connsiteX32448" fmla="*/ 2283841 w 8079933"/>
              <a:gd name="connsiteY32448" fmla="*/ 3956315 h 4687251"/>
              <a:gd name="connsiteX32449" fmla="*/ 2284384 w 8079933"/>
              <a:gd name="connsiteY32449" fmla="*/ 3950468 h 4687251"/>
              <a:gd name="connsiteX32450" fmla="*/ 2285578 w 8079933"/>
              <a:gd name="connsiteY32450" fmla="*/ 3948411 h 4687251"/>
              <a:gd name="connsiteX32451" fmla="*/ 2285252 w 8079933"/>
              <a:gd name="connsiteY32451" fmla="*/ 3944081 h 4687251"/>
              <a:gd name="connsiteX32452" fmla="*/ 2287314 w 8079933"/>
              <a:gd name="connsiteY32452" fmla="*/ 3940183 h 4687251"/>
              <a:gd name="connsiteX32453" fmla="*/ 2287965 w 8079933"/>
              <a:gd name="connsiteY32453" fmla="*/ 3932929 h 4687251"/>
              <a:gd name="connsiteX32454" fmla="*/ 2287965 w 8079933"/>
              <a:gd name="connsiteY32454" fmla="*/ 3929031 h 4687251"/>
              <a:gd name="connsiteX32455" fmla="*/ 2290787 w 8079933"/>
              <a:gd name="connsiteY32455" fmla="*/ 3925891 h 4687251"/>
              <a:gd name="connsiteX32456" fmla="*/ 2292522 w 8079933"/>
              <a:gd name="connsiteY32456" fmla="*/ 3920261 h 4687251"/>
              <a:gd name="connsiteX32457" fmla="*/ 2290569 w 8079933"/>
              <a:gd name="connsiteY32457" fmla="*/ 3917987 h 4687251"/>
              <a:gd name="connsiteX32458" fmla="*/ 2290569 w 8079933"/>
              <a:gd name="connsiteY32458" fmla="*/ 3915930 h 4687251"/>
              <a:gd name="connsiteX32459" fmla="*/ 2293825 w 8079933"/>
              <a:gd name="connsiteY32459" fmla="*/ 3909217 h 4687251"/>
              <a:gd name="connsiteX32460" fmla="*/ 2297515 w 8079933"/>
              <a:gd name="connsiteY32460" fmla="*/ 3907052 h 4687251"/>
              <a:gd name="connsiteX32461" fmla="*/ 2300119 w 8079933"/>
              <a:gd name="connsiteY32461" fmla="*/ 3902830 h 4687251"/>
              <a:gd name="connsiteX32462" fmla="*/ 2299360 w 8079933"/>
              <a:gd name="connsiteY32462" fmla="*/ 3898715 h 4687251"/>
              <a:gd name="connsiteX32463" fmla="*/ 2294042 w 8079933"/>
              <a:gd name="connsiteY32463" fmla="*/ 3891353 h 4687251"/>
              <a:gd name="connsiteX32464" fmla="*/ 2292631 w 8079933"/>
              <a:gd name="connsiteY32464" fmla="*/ 3888971 h 4687251"/>
              <a:gd name="connsiteX32465" fmla="*/ 2293825 w 8079933"/>
              <a:gd name="connsiteY32465" fmla="*/ 3884857 h 4687251"/>
              <a:gd name="connsiteX32466" fmla="*/ 2294585 w 8079933"/>
              <a:gd name="connsiteY32466" fmla="*/ 3881175 h 4687251"/>
              <a:gd name="connsiteX32467" fmla="*/ 2293390 w 8079933"/>
              <a:gd name="connsiteY32467" fmla="*/ 3877061 h 4687251"/>
              <a:gd name="connsiteX32468" fmla="*/ 2293174 w 8079933"/>
              <a:gd name="connsiteY32468" fmla="*/ 3874679 h 4687251"/>
              <a:gd name="connsiteX32469" fmla="*/ 2294802 w 8079933"/>
              <a:gd name="connsiteY32469" fmla="*/ 3868832 h 4687251"/>
              <a:gd name="connsiteX32470" fmla="*/ 2294367 w 8079933"/>
              <a:gd name="connsiteY32470" fmla="*/ 3860387 h 4687251"/>
              <a:gd name="connsiteX32471" fmla="*/ 2289376 w 8079933"/>
              <a:gd name="connsiteY32471" fmla="*/ 3853133 h 4687251"/>
              <a:gd name="connsiteX32472" fmla="*/ 2288833 w 8079933"/>
              <a:gd name="connsiteY32472" fmla="*/ 3848911 h 4687251"/>
              <a:gd name="connsiteX32473" fmla="*/ 2291112 w 8079933"/>
              <a:gd name="connsiteY32473" fmla="*/ 3846312 h 4687251"/>
              <a:gd name="connsiteX32474" fmla="*/ 2291112 w 8079933"/>
              <a:gd name="connsiteY32474" fmla="*/ 3838408 h 4687251"/>
              <a:gd name="connsiteX32475" fmla="*/ 2285578 w 8079933"/>
              <a:gd name="connsiteY32475" fmla="*/ 3824117 h 4687251"/>
              <a:gd name="connsiteX32476" fmla="*/ 2285144 w 8079933"/>
              <a:gd name="connsiteY32476" fmla="*/ 3819137 h 4687251"/>
              <a:gd name="connsiteX32477" fmla="*/ 2284058 w 8079933"/>
              <a:gd name="connsiteY32477" fmla="*/ 3813831 h 4687251"/>
              <a:gd name="connsiteX32478" fmla="*/ 2284276 w 8079933"/>
              <a:gd name="connsiteY32478" fmla="*/ 3807660 h 4687251"/>
              <a:gd name="connsiteX32479" fmla="*/ 2287531 w 8079933"/>
              <a:gd name="connsiteY32479" fmla="*/ 3806252 h 4687251"/>
              <a:gd name="connsiteX32480" fmla="*/ 2291004 w 8079933"/>
              <a:gd name="connsiteY32480" fmla="*/ 3802138 h 4687251"/>
              <a:gd name="connsiteX32481" fmla="*/ 2287639 w 8079933"/>
              <a:gd name="connsiteY32481" fmla="*/ 3798023 h 4687251"/>
              <a:gd name="connsiteX32482" fmla="*/ 2289701 w 8079933"/>
              <a:gd name="connsiteY32482" fmla="*/ 3792719 h 4687251"/>
              <a:gd name="connsiteX32483" fmla="*/ 2293174 w 8079933"/>
              <a:gd name="connsiteY32483" fmla="*/ 3790228 h 4687251"/>
              <a:gd name="connsiteX32484" fmla="*/ 2290461 w 8079933"/>
              <a:gd name="connsiteY32484" fmla="*/ 3786005 h 4687251"/>
              <a:gd name="connsiteX32485" fmla="*/ 2289593 w 8079933"/>
              <a:gd name="connsiteY32485" fmla="*/ 3779076 h 4687251"/>
              <a:gd name="connsiteX32486" fmla="*/ 2285252 w 8079933"/>
              <a:gd name="connsiteY32486" fmla="*/ 3772364 h 4687251"/>
              <a:gd name="connsiteX32487" fmla="*/ 2285252 w 8079933"/>
              <a:gd name="connsiteY32487" fmla="*/ 3768574 h 4687251"/>
              <a:gd name="connsiteX32488" fmla="*/ 2289267 w 8079933"/>
              <a:gd name="connsiteY32488" fmla="*/ 3759695 h 4687251"/>
              <a:gd name="connsiteX32489" fmla="*/ 2290135 w 8079933"/>
              <a:gd name="connsiteY32489" fmla="*/ 3756340 h 4687251"/>
              <a:gd name="connsiteX32490" fmla="*/ 2288724 w 8079933"/>
              <a:gd name="connsiteY32490" fmla="*/ 3748869 h 4687251"/>
              <a:gd name="connsiteX32491" fmla="*/ 2291112 w 8079933"/>
              <a:gd name="connsiteY32491" fmla="*/ 3744863 h 4687251"/>
              <a:gd name="connsiteX32492" fmla="*/ 2291437 w 8079933"/>
              <a:gd name="connsiteY32492" fmla="*/ 3738691 h 4687251"/>
              <a:gd name="connsiteX32493" fmla="*/ 2295453 w 8079933"/>
              <a:gd name="connsiteY32493" fmla="*/ 3732628 h 4687251"/>
              <a:gd name="connsiteX32494" fmla="*/ 2295453 w 8079933"/>
              <a:gd name="connsiteY32494" fmla="*/ 3729813 h 4687251"/>
              <a:gd name="connsiteX32495" fmla="*/ 2294259 w 8079933"/>
              <a:gd name="connsiteY32495" fmla="*/ 3726348 h 4687251"/>
              <a:gd name="connsiteX32496" fmla="*/ 2294259 w 8079933"/>
              <a:gd name="connsiteY32496" fmla="*/ 3719744 h 4687251"/>
              <a:gd name="connsiteX32497" fmla="*/ 2296863 w 8079933"/>
              <a:gd name="connsiteY32497" fmla="*/ 3715305 h 4687251"/>
              <a:gd name="connsiteX32498" fmla="*/ 2297297 w 8079933"/>
              <a:gd name="connsiteY32498" fmla="*/ 3703287 h 4687251"/>
              <a:gd name="connsiteX32499" fmla="*/ 2298383 w 8079933"/>
              <a:gd name="connsiteY32499" fmla="*/ 3698306 h 4687251"/>
              <a:gd name="connsiteX32500" fmla="*/ 2293825 w 8079933"/>
              <a:gd name="connsiteY32500" fmla="*/ 3690186 h 4687251"/>
              <a:gd name="connsiteX32501" fmla="*/ 2293825 w 8079933"/>
              <a:gd name="connsiteY32501" fmla="*/ 3684014 h 4687251"/>
              <a:gd name="connsiteX32502" fmla="*/ 2297840 w 8079933"/>
              <a:gd name="connsiteY32502" fmla="*/ 3677627 h 4687251"/>
              <a:gd name="connsiteX32503" fmla="*/ 2298708 w 8079933"/>
              <a:gd name="connsiteY32503" fmla="*/ 3671455 h 4687251"/>
              <a:gd name="connsiteX32504" fmla="*/ 2297948 w 8079933"/>
              <a:gd name="connsiteY32504" fmla="*/ 3664093 h 4687251"/>
              <a:gd name="connsiteX32505" fmla="*/ 2294585 w 8079933"/>
              <a:gd name="connsiteY32505" fmla="*/ 3654673 h 4687251"/>
              <a:gd name="connsiteX32506" fmla="*/ 2294367 w 8079933"/>
              <a:gd name="connsiteY32506" fmla="*/ 3629662 h 4687251"/>
              <a:gd name="connsiteX32507" fmla="*/ 2297297 w 8079933"/>
              <a:gd name="connsiteY32507" fmla="*/ 3626956 h 4687251"/>
              <a:gd name="connsiteX32508" fmla="*/ 2295453 w 8079933"/>
              <a:gd name="connsiteY32508" fmla="*/ 3625223 h 4687251"/>
              <a:gd name="connsiteX32509" fmla="*/ 2292306 w 8079933"/>
              <a:gd name="connsiteY32509" fmla="*/ 3627498 h 4687251"/>
              <a:gd name="connsiteX32510" fmla="*/ 2290787 w 8079933"/>
              <a:gd name="connsiteY32510" fmla="*/ 3625115 h 4687251"/>
              <a:gd name="connsiteX32511" fmla="*/ 2290244 w 8079933"/>
              <a:gd name="connsiteY32511" fmla="*/ 3615588 h 4687251"/>
              <a:gd name="connsiteX32512" fmla="*/ 2293499 w 8079933"/>
              <a:gd name="connsiteY32512" fmla="*/ 3613422 h 4687251"/>
              <a:gd name="connsiteX32513" fmla="*/ 2296972 w 8079933"/>
              <a:gd name="connsiteY32513" fmla="*/ 3611365 h 4687251"/>
              <a:gd name="connsiteX32514" fmla="*/ 2296972 w 8079933"/>
              <a:gd name="connsiteY32514" fmla="*/ 3607251 h 4687251"/>
              <a:gd name="connsiteX32515" fmla="*/ 2296103 w 8079933"/>
              <a:gd name="connsiteY32515" fmla="*/ 3590360 h 4687251"/>
              <a:gd name="connsiteX32516" fmla="*/ 2297189 w 8079933"/>
              <a:gd name="connsiteY32516" fmla="*/ 3588087 h 4687251"/>
              <a:gd name="connsiteX32517" fmla="*/ 2298491 w 8079933"/>
              <a:gd name="connsiteY32517" fmla="*/ 3584730 h 4687251"/>
              <a:gd name="connsiteX32518" fmla="*/ 2298491 w 8079933"/>
              <a:gd name="connsiteY32518" fmla="*/ 3572279 h 4687251"/>
              <a:gd name="connsiteX32519" fmla="*/ 2295453 w 8079933"/>
              <a:gd name="connsiteY32519" fmla="*/ 3564700 h 4687251"/>
              <a:gd name="connsiteX32520" fmla="*/ 2292522 w 8079933"/>
              <a:gd name="connsiteY32520" fmla="*/ 3555822 h 4687251"/>
              <a:gd name="connsiteX32521" fmla="*/ 2290569 w 8079933"/>
              <a:gd name="connsiteY32521" fmla="*/ 3546728 h 4687251"/>
              <a:gd name="connsiteX32522" fmla="*/ 2293174 w 8079933"/>
              <a:gd name="connsiteY32522" fmla="*/ 3543912 h 4687251"/>
              <a:gd name="connsiteX32523" fmla="*/ 2294585 w 8079933"/>
              <a:gd name="connsiteY32523" fmla="*/ 3539149 h 4687251"/>
              <a:gd name="connsiteX32524" fmla="*/ 2294585 w 8079933"/>
              <a:gd name="connsiteY32524" fmla="*/ 3532436 h 4687251"/>
              <a:gd name="connsiteX32525" fmla="*/ 2290787 w 8079933"/>
              <a:gd name="connsiteY32525" fmla="*/ 3514571 h 4687251"/>
              <a:gd name="connsiteX32526" fmla="*/ 2289593 w 8079933"/>
              <a:gd name="connsiteY32526" fmla="*/ 3507859 h 4687251"/>
              <a:gd name="connsiteX32527" fmla="*/ 2290244 w 8079933"/>
              <a:gd name="connsiteY32527" fmla="*/ 3502878 h 4687251"/>
              <a:gd name="connsiteX32528" fmla="*/ 2289701 w 8079933"/>
              <a:gd name="connsiteY32528" fmla="*/ 3496165 h 4687251"/>
              <a:gd name="connsiteX32529" fmla="*/ 2287639 w 8079933"/>
              <a:gd name="connsiteY32529" fmla="*/ 3494216 h 4687251"/>
              <a:gd name="connsiteX32530" fmla="*/ 2293608 w 8079933"/>
              <a:gd name="connsiteY32530" fmla="*/ 3491402 h 4687251"/>
              <a:gd name="connsiteX32531" fmla="*/ 2298816 w 8079933"/>
              <a:gd name="connsiteY32531" fmla="*/ 3487937 h 4687251"/>
              <a:gd name="connsiteX32532" fmla="*/ 2301964 w 8079933"/>
              <a:gd name="connsiteY32532" fmla="*/ 3488586 h 4687251"/>
              <a:gd name="connsiteX32533" fmla="*/ 2306521 w 8079933"/>
              <a:gd name="connsiteY32533" fmla="*/ 3485663 h 4687251"/>
              <a:gd name="connsiteX32534" fmla="*/ 2308258 w 8079933"/>
              <a:gd name="connsiteY32534" fmla="*/ 3481765 h 4687251"/>
              <a:gd name="connsiteX32535" fmla="*/ 2308257 w 8079933"/>
              <a:gd name="connsiteY32535" fmla="*/ 3481765 h 4687251"/>
              <a:gd name="connsiteX32536" fmla="*/ 2306521 w 8079933"/>
              <a:gd name="connsiteY32536" fmla="*/ 3485663 h 4687251"/>
              <a:gd name="connsiteX32537" fmla="*/ 2301963 w 8079933"/>
              <a:gd name="connsiteY32537" fmla="*/ 3488586 h 4687251"/>
              <a:gd name="connsiteX32538" fmla="*/ 2298816 w 8079933"/>
              <a:gd name="connsiteY32538" fmla="*/ 3487936 h 4687251"/>
              <a:gd name="connsiteX32539" fmla="*/ 2293608 w 8079933"/>
              <a:gd name="connsiteY32539" fmla="*/ 3491401 h 4687251"/>
              <a:gd name="connsiteX32540" fmla="*/ 2287639 w 8079933"/>
              <a:gd name="connsiteY32540" fmla="*/ 3494216 h 4687251"/>
              <a:gd name="connsiteX32541" fmla="*/ 2286771 w 8079933"/>
              <a:gd name="connsiteY32541" fmla="*/ 3493350 h 4687251"/>
              <a:gd name="connsiteX32542" fmla="*/ 2282648 w 8079933"/>
              <a:gd name="connsiteY32542" fmla="*/ 3492050 h 4687251"/>
              <a:gd name="connsiteX32543" fmla="*/ 2276462 w 8079933"/>
              <a:gd name="connsiteY32543" fmla="*/ 3486420 h 4687251"/>
              <a:gd name="connsiteX32544" fmla="*/ 2269950 w 8079933"/>
              <a:gd name="connsiteY32544" fmla="*/ 3479708 h 4687251"/>
              <a:gd name="connsiteX32545" fmla="*/ 2264525 w 8079933"/>
              <a:gd name="connsiteY32545" fmla="*/ 3477434 h 4687251"/>
              <a:gd name="connsiteX32546" fmla="*/ 2259099 w 8079933"/>
              <a:gd name="connsiteY32546" fmla="*/ 3476351 h 4687251"/>
              <a:gd name="connsiteX32547" fmla="*/ 2258991 w 8079933"/>
              <a:gd name="connsiteY32547" fmla="*/ 3472995 h 4687251"/>
              <a:gd name="connsiteX32548" fmla="*/ 2259316 w 8079933"/>
              <a:gd name="connsiteY32548" fmla="*/ 3470505 h 4687251"/>
              <a:gd name="connsiteX32549" fmla="*/ 2257797 w 8079933"/>
              <a:gd name="connsiteY32549" fmla="*/ 3467473 h 4687251"/>
              <a:gd name="connsiteX32550" fmla="*/ 2254541 w 8079933"/>
              <a:gd name="connsiteY32550" fmla="*/ 3466174 h 4687251"/>
              <a:gd name="connsiteX32551" fmla="*/ 2249441 w 8079933"/>
              <a:gd name="connsiteY32551" fmla="*/ 3461302 h 4687251"/>
              <a:gd name="connsiteX32552" fmla="*/ 2245751 w 8079933"/>
              <a:gd name="connsiteY32552" fmla="*/ 3459028 h 4687251"/>
              <a:gd name="connsiteX32553" fmla="*/ 2239241 w 8079933"/>
              <a:gd name="connsiteY32553" fmla="*/ 3454264 h 4687251"/>
              <a:gd name="connsiteX32554" fmla="*/ 2237938 w 8079933"/>
              <a:gd name="connsiteY32554" fmla="*/ 3451124 h 4687251"/>
              <a:gd name="connsiteX32555" fmla="*/ 2235768 w 8079933"/>
              <a:gd name="connsiteY32555" fmla="*/ 3449934 h 4687251"/>
              <a:gd name="connsiteX32556" fmla="*/ 2231319 w 8079933"/>
              <a:gd name="connsiteY32556" fmla="*/ 3449717 h 4687251"/>
              <a:gd name="connsiteX32557" fmla="*/ 2225024 w 8079933"/>
              <a:gd name="connsiteY32557" fmla="*/ 3447335 h 4687251"/>
              <a:gd name="connsiteX32558" fmla="*/ 2215801 w 8079933"/>
              <a:gd name="connsiteY32558" fmla="*/ 3441704 h 4687251"/>
              <a:gd name="connsiteX32559" fmla="*/ 2211677 w 8079933"/>
              <a:gd name="connsiteY32559" fmla="*/ 3440622 h 4687251"/>
              <a:gd name="connsiteX32560" fmla="*/ 2209615 w 8079933"/>
              <a:gd name="connsiteY32560" fmla="*/ 3441380 h 4687251"/>
              <a:gd name="connsiteX32561" fmla="*/ 2203864 w 8079933"/>
              <a:gd name="connsiteY32561" fmla="*/ 3439323 h 4687251"/>
              <a:gd name="connsiteX32562" fmla="*/ 2200175 w 8079933"/>
              <a:gd name="connsiteY32562" fmla="*/ 3436941 h 4687251"/>
              <a:gd name="connsiteX32563" fmla="*/ 2199632 w 8079933"/>
              <a:gd name="connsiteY32563" fmla="*/ 3433368 h 4687251"/>
              <a:gd name="connsiteX32564" fmla="*/ 2196160 w 8079933"/>
              <a:gd name="connsiteY32564" fmla="*/ 3430120 h 4687251"/>
              <a:gd name="connsiteX32565" fmla="*/ 2188454 w 8079933"/>
              <a:gd name="connsiteY32565" fmla="*/ 3426114 h 4687251"/>
              <a:gd name="connsiteX32566" fmla="*/ 2184331 w 8079933"/>
              <a:gd name="connsiteY32566" fmla="*/ 3421458 h 4687251"/>
              <a:gd name="connsiteX32567" fmla="*/ 2185742 w 8079933"/>
              <a:gd name="connsiteY32567" fmla="*/ 3417344 h 4687251"/>
              <a:gd name="connsiteX32568" fmla="*/ 2183463 w 8079933"/>
              <a:gd name="connsiteY32568" fmla="*/ 3420159 h 4687251"/>
              <a:gd name="connsiteX32569" fmla="*/ 2176192 w 8079933"/>
              <a:gd name="connsiteY32569" fmla="*/ 3420484 h 4687251"/>
              <a:gd name="connsiteX32570" fmla="*/ 2173154 w 8079933"/>
              <a:gd name="connsiteY32570" fmla="*/ 3418535 h 4687251"/>
              <a:gd name="connsiteX32571" fmla="*/ 2171417 w 8079933"/>
              <a:gd name="connsiteY32571" fmla="*/ 3414529 h 4687251"/>
              <a:gd name="connsiteX32572" fmla="*/ 2169681 w 8079933"/>
              <a:gd name="connsiteY32572" fmla="*/ 3412255 h 4687251"/>
              <a:gd name="connsiteX32573" fmla="*/ 2165123 w 8079933"/>
              <a:gd name="connsiteY32573" fmla="*/ 3411713 h 4687251"/>
              <a:gd name="connsiteX32574" fmla="*/ 2161543 w 8079933"/>
              <a:gd name="connsiteY32574" fmla="*/ 3407275 h 4687251"/>
              <a:gd name="connsiteX32575" fmla="*/ 2161217 w 8079933"/>
              <a:gd name="connsiteY32575" fmla="*/ 3404027 h 4687251"/>
              <a:gd name="connsiteX32576" fmla="*/ 2153621 w 8079933"/>
              <a:gd name="connsiteY32576" fmla="*/ 3400237 h 4687251"/>
              <a:gd name="connsiteX32577" fmla="*/ 2145699 w 8079933"/>
              <a:gd name="connsiteY32577" fmla="*/ 3394715 h 4687251"/>
              <a:gd name="connsiteX32578" fmla="*/ 2146784 w 8079933"/>
              <a:gd name="connsiteY32578" fmla="*/ 3392333 h 4687251"/>
              <a:gd name="connsiteX32579" fmla="*/ 2146024 w 8079933"/>
              <a:gd name="connsiteY32579" fmla="*/ 3389193 h 4687251"/>
              <a:gd name="connsiteX32580" fmla="*/ 2142986 w 8079933"/>
              <a:gd name="connsiteY32580" fmla="*/ 3387136 h 4687251"/>
              <a:gd name="connsiteX32581" fmla="*/ 2140165 w 8079933"/>
              <a:gd name="connsiteY32581" fmla="*/ 3387678 h 4687251"/>
              <a:gd name="connsiteX32582" fmla="*/ 2140165 w 8079933"/>
              <a:gd name="connsiteY32582" fmla="*/ 3384105 h 4687251"/>
              <a:gd name="connsiteX32583" fmla="*/ 2139297 w 8079933"/>
              <a:gd name="connsiteY32583" fmla="*/ 3380099 h 4687251"/>
              <a:gd name="connsiteX32584" fmla="*/ 2139513 w 8079933"/>
              <a:gd name="connsiteY32584" fmla="*/ 3377717 h 4687251"/>
              <a:gd name="connsiteX32585" fmla="*/ 2141793 w 8079933"/>
              <a:gd name="connsiteY32585" fmla="*/ 3379232 h 4687251"/>
              <a:gd name="connsiteX32586" fmla="*/ 2143854 w 8079933"/>
              <a:gd name="connsiteY32586" fmla="*/ 3378366 h 4687251"/>
              <a:gd name="connsiteX32587" fmla="*/ 2143637 w 8079933"/>
              <a:gd name="connsiteY32587" fmla="*/ 3373927 h 4687251"/>
              <a:gd name="connsiteX32588" fmla="*/ 2135715 w 8079933"/>
              <a:gd name="connsiteY32588" fmla="*/ 3362775 h 4687251"/>
              <a:gd name="connsiteX32589" fmla="*/ 2133979 w 8079933"/>
              <a:gd name="connsiteY32589" fmla="*/ 3357254 h 4687251"/>
              <a:gd name="connsiteX32590" fmla="*/ 2127143 w 8079933"/>
              <a:gd name="connsiteY32590" fmla="*/ 3346210 h 4687251"/>
              <a:gd name="connsiteX32591" fmla="*/ 2125841 w 8079933"/>
              <a:gd name="connsiteY32591" fmla="*/ 3340580 h 4687251"/>
              <a:gd name="connsiteX32592" fmla="*/ 2119655 w 8079933"/>
              <a:gd name="connsiteY32592" fmla="*/ 3338306 h 4687251"/>
              <a:gd name="connsiteX32593" fmla="*/ 2117485 w 8079933"/>
              <a:gd name="connsiteY32593" fmla="*/ 3335383 h 4687251"/>
              <a:gd name="connsiteX32594" fmla="*/ 2116617 w 8079933"/>
              <a:gd name="connsiteY32594" fmla="*/ 3328671 h 4687251"/>
              <a:gd name="connsiteX32595" fmla="*/ 2114555 w 8079933"/>
              <a:gd name="connsiteY32595" fmla="*/ 3324447 h 4687251"/>
              <a:gd name="connsiteX32596" fmla="*/ 2106416 w 8079933"/>
              <a:gd name="connsiteY32596" fmla="*/ 3317194 h 4687251"/>
              <a:gd name="connsiteX32597" fmla="*/ 2103269 w 8079933"/>
              <a:gd name="connsiteY32597" fmla="*/ 3316220 h 4687251"/>
              <a:gd name="connsiteX32598" fmla="*/ 2102510 w 8079933"/>
              <a:gd name="connsiteY32598" fmla="*/ 3312863 h 4687251"/>
              <a:gd name="connsiteX32599" fmla="*/ 2103703 w 8079933"/>
              <a:gd name="connsiteY32599" fmla="*/ 3308965 h 4687251"/>
              <a:gd name="connsiteX32600" fmla="*/ 2100773 w 8079933"/>
              <a:gd name="connsiteY32600" fmla="*/ 3303985 h 4687251"/>
              <a:gd name="connsiteX32601" fmla="*/ 2093177 w 8079933"/>
              <a:gd name="connsiteY32601" fmla="*/ 3294457 h 4687251"/>
              <a:gd name="connsiteX32602" fmla="*/ 2089379 w 8079933"/>
              <a:gd name="connsiteY32602" fmla="*/ 3286228 h 4687251"/>
              <a:gd name="connsiteX32603" fmla="*/ 2090789 w 8079933"/>
              <a:gd name="connsiteY32603" fmla="*/ 3284388 h 4687251"/>
              <a:gd name="connsiteX32604" fmla="*/ 2089921 w 8079933"/>
              <a:gd name="connsiteY32604" fmla="*/ 3278649 h 4687251"/>
              <a:gd name="connsiteX32605" fmla="*/ 2085581 w 8079933"/>
              <a:gd name="connsiteY32605" fmla="*/ 3270962 h 4687251"/>
              <a:gd name="connsiteX32606" fmla="*/ 2081783 w 8079933"/>
              <a:gd name="connsiteY32606" fmla="*/ 3268688 h 4687251"/>
              <a:gd name="connsiteX32607" fmla="*/ 2078527 w 8079933"/>
              <a:gd name="connsiteY32607" fmla="*/ 3263384 h 4687251"/>
              <a:gd name="connsiteX32608" fmla="*/ 2077659 w 8079933"/>
              <a:gd name="connsiteY32608" fmla="*/ 3255588 h 4687251"/>
              <a:gd name="connsiteX32609" fmla="*/ 2074946 w 8079933"/>
              <a:gd name="connsiteY32609" fmla="*/ 3251040 h 4687251"/>
              <a:gd name="connsiteX32610" fmla="*/ 2073536 w 8079933"/>
              <a:gd name="connsiteY32610" fmla="*/ 3244111 h 4687251"/>
              <a:gd name="connsiteX32611" fmla="*/ 2069194 w 8079933"/>
              <a:gd name="connsiteY32611" fmla="*/ 3237074 h 4687251"/>
              <a:gd name="connsiteX32612" fmla="*/ 2059537 w 8079933"/>
              <a:gd name="connsiteY32612" fmla="*/ 3232093 h 4687251"/>
              <a:gd name="connsiteX32613" fmla="*/ 2056824 w 8079933"/>
              <a:gd name="connsiteY32613" fmla="*/ 3227329 h 4687251"/>
              <a:gd name="connsiteX32614" fmla="*/ 2056064 w 8079933"/>
              <a:gd name="connsiteY32614" fmla="*/ 3220725 h 4687251"/>
              <a:gd name="connsiteX32615" fmla="*/ 2050747 w 8079933"/>
              <a:gd name="connsiteY32615" fmla="*/ 3213254 h 4687251"/>
              <a:gd name="connsiteX32616" fmla="*/ 2049553 w 8079933"/>
              <a:gd name="connsiteY32616" fmla="*/ 3209248 h 4687251"/>
              <a:gd name="connsiteX32617" fmla="*/ 2044778 w 8079933"/>
              <a:gd name="connsiteY32617" fmla="*/ 3208057 h 4687251"/>
              <a:gd name="connsiteX32618" fmla="*/ 2034903 w 8079933"/>
              <a:gd name="connsiteY32618" fmla="*/ 3201561 h 4687251"/>
              <a:gd name="connsiteX32619" fmla="*/ 2028393 w 8079933"/>
              <a:gd name="connsiteY32619" fmla="*/ 3200695 h 4687251"/>
              <a:gd name="connsiteX32620" fmla="*/ 2021339 w 8079933"/>
              <a:gd name="connsiteY32620" fmla="*/ 3194632 h 4687251"/>
              <a:gd name="connsiteX32621" fmla="*/ 2016456 w 8079933"/>
              <a:gd name="connsiteY32621" fmla="*/ 3192791 h 4687251"/>
              <a:gd name="connsiteX32622" fmla="*/ 2012549 w 8079933"/>
              <a:gd name="connsiteY32622" fmla="*/ 3189001 h 4687251"/>
              <a:gd name="connsiteX32623" fmla="*/ 2013959 w 8079933"/>
              <a:gd name="connsiteY32623" fmla="*/ 3185320 h 4687251"/>
              <a:gd name="connsiteX32624" fmla="*/ 2017757 w 8079933"/>
              <a:gd name="connsiteY32624" fmla="*/ 3183696 h 4687251"/>
              <a:gd name="connsiteX32625" fmla="*/ 2021339 w 8079933"/>
              <a:gd name="connsiteY32625" fmla="*/ 3183479 h 4687251"/>
              <a:gd name="connsiteX32626" fmla="*/ 2021773 w 8079933"/>
              <a:gd name="connsiteY32626" fmla="*/ 3178824 h 4687251"/>
              <a:gd name="connsiteX32627" fmla="*/ 2018192 w 8079933"/>
              <a:gd name="connsiteY32627" fmla="*/ 3172111 h 4687251"/>
              <a:gd name="connsiteX32628" fmla="*/ 2013526 w 8079933"/>
              <a:gd name="connsiteY32628" fmla="*/ 3167997 h 4687251"/>
              <a:gd name="connsiteX32629" fmla="*/ 2013526 w 8079933"/>
              <a:gd name="connsiteY32629" fmla="*/ 3165398 h 4687251"/>
              <a:gd name="connsiteX32630" fmla="*/ 2016456 w 8079933"/>
              <a:gd name="connsiteY32630" fmla="*/ 3163342 h 4687251"/>
              <a:gd name="connsiteX32631" fmla="*/ 2016021 w 8079933"/>
              <a:gd name="connsiteY32631" fmla="*/ 3159877 h 4687251"/>
              <a:gd name="connsiteX32632" fmla="*/ 2012223 w 8079933"/>
              <a:gd name="connsiteY32632" fmla="*/ 3156845 h 4687251"/>
              <a:gd name="connsiteX32633" fmla="*/ 2011681 w 8079933"/>
              <a:gd name="connsiteY32633" fmla="*/ 3154571 h 4687251"/>
              <a:gd name="connsiteX32634" fmla="*/ 2013526 w 8079933"/>
              <a:gd name="connsiteY32634" fmla="*/ 3149916 h 4687251"/>
              <a:gd name="connsiteX32635" fmla="*/ 2015262 w 8079933"/>
              <a:gd name="connsiteY32635" fmla="*/ 3143961 h 4687251"/>
              <a:gd name="connsiteX32636" fmla="*/ 2023509 w 8079933"/>
              <a:gd name="connsiteY32636" fmla="*/ 3135841 h 4687251"/>
              <a:gd name="connsiteX32637" fmla="*/ 2027850 w 8079933"/>
              <a:gd name="connsiteY32637" fmla="*/ 3131835 h 4687251"/>
              <a:gd name="connsiteX32638" fmla="*/ 2039570 w 8079933"/>
              <a:gd name="connsiteY32638" fmla="*/ 3126746 h 4687251"/>
              <a:gd name="connsiteX32639" fmla="*/ 2039895 w 8079933"/>
              <a:gd name="connsiteY32639" fmla="*/ 3126421 h 4687251"/>
              <a:gd name="connsiteX32640" fmla="*/ 2042065 w 8079933"/>
              <a:gd name="connsiteY32640" fmla="*/ 3127612 h 4687251"/>
              <a:gd name="connsiteX32641" fmla="*/ 2044127 w 8079933"/>
              <a:gd name="connsiteY32641" fmla="*/ 3134108 h 4687251"/>
              <a:gd name="connsiteX32642" fmla="*/ 2039135 w 8079933"/>
              <a:gd name="connsiteY32642" fmla="*/ 3136707 h 4687251"/>
              <a:gd name="connsiteX32643" fmla="*/ 2035120 w 8079933"/>
              <a:gd name="connsiteY32643" fmla="*/ 3141146 h 4687251"/>
              <a:gd name="connsiteX32644" fmla="*/ 2035880 w 8079933"/>
              <a:gd name="connsiteY32644" fmla="*/ 3145802 h 4687251"/>
              <a:gd name="connsiteX32645" fmla="*/ 2040655 w 8079933"/>
              <a:gd name="connsiteY32645" fmla="*/ 3146018 h 4687251"/>
              <a:gd name="connsiteX32646" fmla="*/ 2035881 w 8079933"/>
              <a:gd name="connsiteY32646" fmla="*/ 3145801 h 4687251"/>
              <a:gd name="connsiteX32647" fmla="*/ 2035121 w 8079933"/>
              <a:gd name="connsiteY32647" fmla="*/ 3141145 h 4687251"/>
              <a:gd name="connsiteX32648" fmla="*/ 2039136 w 8079933"/>
              <a:gd name="connsiteY32648" fmla="*/ 3136706 h 4687251"/>
              <a:gd name="connsiteX32649" fmla="*/ 2044128 w 8079933"/>
              <a:gd name="connsiteY32649" fmla="*/ 3134108 h 4687251"/>
              <a:gd name="connsiteX32650" fmla="*/ 2042066 w 8079933"/>
              <a:gd name="connsiteY32650" fmla="*/ 3127612 h 4687251"/>
              <a:gd name="connsiteX32651" fmla="*/ 2039896 w 8079933"/>
              <a:gd name="connsiteY32651" fmla="*/ 3126421 h 4687251"/>
              <a:gd name="connsiteX32652" fmla="*/ 2046081 w 8079933"/>
              <a:gd name="connsiteY32652" fmla="*/ 3121224 h 4687251"/>
              <a:gd name="connsiteX32653" fmla="*/ 2048577 w 8079933"/>
              <a:gd name="connsiteY32653" fmla="*/ 3115160 h 4687251"/>
              <a:gd name="connsiteX32654" fmla="*/ 2047817 w 8079933"/>
              <a:gd name="connsiteY32654" fmla="*/ 3111588 h 4687251"/>
              <a:gd name="connsiteX32655" fmla="*/ 2049012 w 8079933"/>
              <a:gd name="connsiteY32655" fmla="*/ 3104875 h 4687251"/>
              <a:gd name="connsiteX32656" fmla="*/ 2047492 w 8079933"/>
              <a:gd name="connsiteY32656" fmla="*/ 3098704 h 4687251"/>
              <a:gd name="connsiteX32657" fmla="*/ 2045973 w 8079933"/>
              <a:gd name="connsiteY32657" fmla="*/ 3098379 h 4687251"/>
              <a:gd name="connsiteX32658" fmla="*/ 2046299 w 8079933"/>
              <a:gd name="connsiteY32658" fmla="*/ 3102168 h 4687251"/>
              <a:gd name="connsiteX32659" fmla="*/ 2045431 w 8079933"/>
              <a:gd name="connsiteY32659" fmla="*/ 3104442 h 4687251"/>
              <a:gd name="connsiteX32660" fmla="*/ 2044888 w 8079933"/>
              <a:gd name="connsiteY32660" fmla="*/ 3100761 h 4687251"/>
              <a:gd name="connsiteX32661" fmla="*/ 2044779 w 8079933"/>
              <a:gd name="connsiteY32661" fmla="*/ 3096647 h 4687251"/>
              <a:gd name="connsiteX32662" fmla="*/ 2041306 w 8079933"/>
              <a:gd name="connsiteY32662" fmla="*/ 3100111 h 4687251"/>
              <a:gd name="connsiteX32663" fmla="*/ 2039788 w 8079933"/>
              <a:gd name="connsiteY32663" fmla="*/ 3103035 h 4687251"/>
              <a:gd name="connsiteX32664" fmla="*/ 2037726 w 8079933"/>
              <a:gd name="connsiteY32664" fmla="*/ 3108664 h 4687251"/>
              <a:gd name="connsiteX32665" fmla="*/ 2035772 w 8079933"/>
              <a:gd name="connsiteY32665" fmla="*/ 3110072 h 4687251"/>
              <a:gd name="connsiteX32666" fmla="*/ 2031865 w 8079933"/>
              <a:gd name="connsiteY32666" fmla="*/ 3107474 h 4687251"/>
              <a:gd name="connsiteX32667" fmla="*/ 2026982 w 8079933"/>
              <a:gd name="connsiteY32667" fmla="*/ 3102493 h 4687251"/>
              <a:gd name="connsiteX32668" fmla="*/ 2021774 w 8079933"/>
              <a:gd name="connsiteY32668" fmla="*/ 3100436 h 4687251"/>
              <a:gd name="connsiteX32669" fmla="*/ 2019061 w 8079933"/>
              <a:gd name="connsiteY32669" fmla="*/ 3096863 h 4687251"/>
              <a:gd name="connsiteX32670" fmla="*/ 2021448 w 8079933"/>
              <a:gd name="connsiteY32670" fmla="*/ 3094589 h 4687251"/>
              <a:gd name="connsiteX32671" fmla="*/ 2024053 w 8079933"/>
              <a:gd name="connsiteY32671" fmla="*/ 3090150 h 4687251"/>
              <a:gd name="connsiteX32672" fmla="*/ 2023184 w 8079933"/>
              <a:gd name="connsiteY32672" fmla="*/ 3083113 h 4687251"/>
              <a:gd name="connsiteX32673" fmla="*/ 2023727 w 8079933"/>
              <a:gd name="connsiteY32673" fmla="*/ 3079323 h 4687251"/>
              <a:gd name="connsiteX32674" fmla="*/ 2021883 w 8079933"/>
              <a:gd name="connsiteY32674" fmla="*/ 3074343 h 4687251"/>
              <a:gd name="connsiteX32675" fmla="*/ 2020146 w 8079933"/>
              <a:gd name="connsiteY32675" fmla="*/ 3070554 h 4687251"/>
              <a:gd name="connsiteX32676" fmla="*/ 2024378 w 8079933"/>
              <a:gd name="connsiteY32676" fmla="*/ 3064707 h 4687251"/>
              <a:gd name="connsiteX32677" fmla="*/ 2029479 w 8079933"/>
              <a:gd name="connsiteY32677" fmla="*/ 3064057 h 4687251"/>
              <a:gd name="connsiteX32678" fmla="*/ 2034036 w 8079933"/>
              <a:gd name="connsiteY32678" fmla="*/ 3057452 h 4687251"/>
              <a:gd name="connsiteX32679" fmla="*/ 2031974 w 8079933"/>
              <a:gd name="connsiteY32679" fmla="*/ 3054746 h 4687251"/>
              <a:gd name="connsiteX32680" fmla="*/ 2032625 w 8079933"/>
              <a:gd name="connsiteY32680" fmla="*/ 3050632 h 4687251"/>
              <a:gd name="connsiteX32681" fmla="*/ 2041632 w 8079933"/>
              <a:gd name="connsiteY32681" fmla="*/ 3040995 h 4687251"/>
              <a:gd name="connsiteX32682" fmla="*/ 2042934 w 8079933"/>
              <a:gd name="connsiteY32682" fmla="*/ 3034391 h 4687251"/>
              <a:gd name="connsiteX32683" fmla="*/ 2040873 w 8079933"/>
              <a:gd name="connsiteY32683" fmla="*/ 3030926 h 4687251"/>
              <a:gd name="connsiteX32684" fmla="*/ 2040547 w 8079933"/>
              <a:gd name="connsiteY32684" fmla="*/ 3027570 h 4687251"/>
              <a:gd name="connsiteX32685" fmla="*/ 2037400 w 8079933"/>
              <a:gd name="connsiteY32685" fmla="*/ 3022048 h 4687251"/>
              <a:gd name="connsiteX32686" fmla="*/ 2043694 w 8079933"/>
              <a:gd name="connsiteY32686" fmla="*/ 3018908 h 4687251"/>
              <a:gd name="connsiteX32687" fmla="*/ 2049554 w 8079933"/>
              <a:gd name="connsiteY32687" fmla="*/ 3018583 h 4687251"/>
              <a:gd name="connsiteX32688" fmla="*/ 2060948 w 8079933"/>
              <a:gd name="connsiteY32688" fmla="*/ 3010680 h 4687251"/>
              <a:gd name="connsiteX32689" fmla="*/ 2067785 w 8079933"/>
              <a:gd name="connsiteY32689" fmla="*/ 3010355 h 4687251"/>
              <a:gd name="connsiteX32690" fmla="*/ 2069195 w 8079933"/>
              <a:gd name="connsiteY32690" fmla="*/ 3004725 h 4687251"/>
              <a:gd name="connsiteX32691" fmla="*/ 2076140 w 8079933"/>
              <a:gd name="connsiteY32691" fmla="*/ 3007324 h 4687251"/>
              <a:gd name="connsiteX32692" fmla="*/ 2081966 w 8079933"/>
              <a:gd name="connsiteY32692" fmla="*/ 3011359 h 4687251"/>
              <a:gd name="connsiteX32693" fmla="*/ 2076140 w 8079933"/>
              <a:gd name="connsiteY32693" fmla="*/ 3007323 h 4687251"/>
              <a:gd name="connsiteX32694" fmla="*/ 2069195 w 8079933"/>
              <a:gd name="connsiteY32694" fmla="*/ 3004724 h 4687251"/>
              <a:gd name="connsiteX32695" fmla="*/ 2070280 w 8079933"/>
              <a:gd name="connsiteY32695" fmla="*/ 3000393 h 4687251"/>
              <a:gd name="connsiteX32696" fmla="*/ 2071257 w 8079933"/>
              <a:gd name="connsiteY32696" fmla="*/ 2992382 h 4687251"/>
              <a:gd name="connsiteX32697" fmla="*/ 2077876 w 8079933"/>
              <a:gd name="connsiteY32697" fmla="*/ 2982421 h 4687251"/>
              <a:gd name="connsiteX32698" fmla="*/ 2084712 w 8079933"/>
              <a:gd name="connsiteY32698" fmla="*/ 2977224 h 4687251"/>
              <a:gd name="connsiteX32699" fmla="*/ 2093720 w 8079933"/>
              <a:gd name="connsiteY32699" fmla="*/ 2975275 h 4687251"/>
              <a:gd name="connsiteX32700" fmla="*/ 2100448 w 8079933"/>
              <a:gd name="connsiteY32700" fmla="*/ 2968779 h 4687251"/>
              <a:gd name="connsiteX32701" fmla="*/ 2102835 w 8079933"/>
              <a:gd name="connsiteY32701" fmla="*/ 2963798 h 4687251"/>
              <a:gd name="connsiteX32702" fmla="*/ 2111733 w 8079933"/>
              <a:gd name="connsiteY32702" fmla="*/ 2954812 h 4687251"/>
              <a:gd name="connsiteX32703" fmla="*/ 2113795 w 8079933"/>
              <a:gd name="connsiteY32703" fmla="*/ 2949507 h 4687251"/>
              <a:gd name="connsiteX32704" fmla="*/ 2116291 w 8079933"/>
              <a:gd name="connsiteY32704" fmla="*/ 2946475 h 4687251"/>
              <a:gd name="connsiteX32705" fmla="*/ 2116074 w 8079933"/>
              <a:gd name="connsiteY32705" fmla="*/ 2944201 h 4687251"/>
              <a:gd name="connsiteX32706" fmla="*/ 2113578 w 8079933"/>
              <a:gd name="connsiteY32706" fmla="*/ 2944418 h 4687251"/>
              <a:gd name="connsiteX32707" fmla="*/ 2111082 w 8079933"/>
              <a:gd name="connsiteY32707" fmla="*/ 2940953 h 4687251"/>
              <a:gd name="connsiteX32708" fmla="*/ 2111733 w 8079933"/>
              <a:gd name="connsiteY32708" fmla="*/ 2938354 h 4687251"/>
              <a:gd name="connsiteX32709" fmla="*/ 2107501 w 8079933"/>
              <a:gd name="connsiteY32709" fmla="*/ 2940195 h 4687251"/>
              <a:gd name="connsiteX32710" fmla="*/ 2104680 w 8079933"/>
              <a:gd name="connsiteY32710" fmla="*/ 2936189 h 4687251"/>
              <a:gd name="connsiteX32711" fmla="*/ 2105222 w 8079933"/>
              <a:gd name="connsiteY32711" fmla="*/ 2932832 h 4687251"/>
              <a:gd name="connsiteX32712" fmla="*/ 2108587 w 8079933"/>
              <a:gd name="connsiteY32712" fmla="*/ 2928935 h 4687251"/>
              <a:gd name="connsiteX32713" fmla="*/ 2108152 w 8079933"/>
              <a:gd name="connsiteY32713" fmla="*/ 2917783 h 4687251"/>
              <a:gd name="connsiteX32714" fmla="*/ 2108695 w 8079933"/>
              <a:gd name="connsiteY32714" fmla="*/ 2909771 h 4687251"/>
              <a:gd name="connsiteX32715" fmla="*/ 2106850 w 8079933"/>
              <a:gd name="connsiteY32715" fmla="*/ 2905440 h 4687251"/>
              <a:gd name="connsiteX32716" fmla="*/ 2104897 w 8079933"/>
              <a:gd name="connsiteY32716" fmla="*/ 2904574 h 4687251"/>
              <a:gd name="connsiteX32717" fmla="*/ 2106850 w 8079933"/>
              <a:gd name="connsiteY32717" fmla="*/ 2901110 h 4687251"/>
              <a:gd name="connsiteX32718" fmla="*/ 2109888 w 8079933"/>
              <a:gd name="connsiteY32718" fmla="*/ 2898835 h 4687251"/>
              <a:gd name="connsiteX32719" fmla="*/ 2109888 w 8079933"/>
              <a:gd name="connsiteY32719" fmla="*/ 2892231 h 4687251"/>
              <a:gd name="connsiteX32720" fmla="*/ 2107067 w 8079933"/>
              <a:gd name="connsiteY32720" fmla="*/ 2889091 h 4687251"/>
              <a:gd name="connsiteX32721" fmla="*/ 2107175 w 8079933"/>
              <a:gd name="connsiteY32721" fmla="*/ 2887034 h 4687251"/>
              <a:gd name="connsiteX32722" fmla="*/ 2110105 w 8079933"/>
              <a:gd name="connsiteY32722" fmla="*/ 2883786 h 4687251"/>
              <a:gd name="connsiteX32723" fmla="*/ 2109455 w 8079933"/>
              <a:gd name="connsiteY32723" fmla="*/ 2878480 h 4687251"/>
              <a:gd name="connsiteX32724" fmla="*/ 2108152 w 8079933"/>
              <a:gd name="connsiteY32724" fmla="*/ 2876316 h 4687251"/>
              <a:gd name="connsiteX32725" fmla="*/ 2105874 w 8079933"/>
              <a:gd name="connsiteY32725" fmla="*/ 2877506 h 4687251"/>
              <a:gd name="connsiteX32726" fmla="*/ 2104029 w 8079933"/>
              <a:gd name="connsiteY32726" fmla="*/ 2877723 h 4687251"/>
              <a:gd name="connsiteX32727" fmla="*/ 2099363 w 8079933"/>
              <a:gd name="connsiteY32727" fmla="*/ 2871876 h 4687251"/>
              <a:gd name="connsiteX32728" fmla="*/ 2098820 w 8079933"/>
              <a:gd name="connsiteY32728" fmla="*/ 2866463 h 4687251"/>
              <a:gd name="connsiteX32729" fmla="*/ 2097843 w 8079933"/>
              <a:gd name="connsiteY32729" fmla="*/ 2860941 h 4687251"/>
              <a:gd name="connsiteX32730" fmla="*/ 2096866 w 8079933"/>
              <a:gd name="connsiteY32730" fmla="*/ 2860075 h 4687251"/>
              <a:gd name="connsiteX32731" fmla="*/ 2099905 w 8079933"/>
              <a:gd name="connsiteY32731" fmla="*/ 2852821 h 4687251"/>
              <a:gd name="connsiteX32732" fmla="*/ 2099905 w 8079933"/>
              <a:gd name="connsiteY32732" fmla="*/ 2852821 h 4687251"/>
              <a:gd name="connsiteX32733" fmla="*/ 2096866 w 8079933"/>
              <a:gd name="connsiteY32733" fmla="*/ 2860075 h 4687251"/>
              <a:gd name="connsiteX32734" fmla="*/ 2091874 w 8079933"/>
              <a:gd name="connsiteY32734" fmla="*/ 2855636 h 4687251"/>
              <a:gd name="connsiteX32735" fmla="*/ 2086557 w 8079933"/>
              <a:gd name="connsiteY32735" fmla="*/ 2848166 h 4687251"/>
              <a:gd name="connsiteX32736" fmla="*/ 2084495 w 8079933"/>
              <a:gd name="connsiteY32736" fmla="*/ 2841994 h 4687251"/>
              <a:gd name="connsiteX32737" fmla="*/ 2086448 w 8079933"/>
              <a:gd name="connsiteY32737" fmla="*/ 2840154 h 4687251"/>
              <a:gd name="connsiteX32738" fmla="*/ 2090355 w 8079933"/>
              <a:gd name="connsiteY32738" fmla="*/ 2834199 h 4687251"/>
              <a:gd name="connsiteX32739" fmla="*/ 2092851 w 8079933"/>
              <a:gd name="connsiteY32739" fmla="*/ 2833873 h 4687251"/>
              <a:gd name="connsiteX32740" fmla="*/ 2094804 w 8079933"/>
              <a:gd name="connsiteY32740" fmla="*/ 2831816 h 4687251"/>
              <a:gd name="connsiteX32741" fmla="*/ 2093719 w 8079933"/>
              <a:gd name="connsiteY32741" fmla="*/ 2828569 h 4687251"/>
              <a:gd name="connsiteX32742" fmla="*/ 2091114 w 8079933"/>
              <a:gd name="connsiteY32742" fmla="*/ 2828677 h 4687251"/>
              <a:gd name="connsiteX32743" fmla="*/ 2087968 w 8079933"/>
              <a:gd name="connsiteY32743" fmla="*/ 2832250 h 4687251"/>
              <a:gd name="connsiteX32744" fmla="*/ 2086557 w 8079933"/>
              <a:gd name="connsiteY32744" fmla="*/ 2833441 h 4687251"/>
              <a:gd name="connsiteX32745" fmla="*/ 2084061 w 8079933"/>
              <a:gd name="connsiteY32745" fmla="*/ 2831492 h 4687251"/>
              <a:gd name="connsiteX32746" fmla="*/ 2082433 w 8079933"/>
              <a:gd name="connsiteY32746" fmla="*/ 2827053 h 4687251"/>
              <a:gd name="connsiteX32747" fmla="*/ 2078201 w 8079933"/>
              <a:gd name="connsiteY32747" fmla="*/ 2821531 h 4687251"/>
              <a:gd name="connsiteX32748" fmla="*/ 2075054 w 8079933"/>
              <a:gd name="connsiteY32748" fmla="*/ 2820989 h 4687251"/>
              <a:gd name="connsiteX32749" fmla="*/ 2070714 w 8079933"/>
              <a:gd name="connsiteY32749" fmla="*/ 2816659 h 4687251"/>
              <a:gd name="connsiteX32750" fmla="*/ 2067675 w 8079933"/>
              <a:gd name="connsiteY32750" fmla="*/ 2815035 h 4687251"/>
              <a:gd name="connsiteX32751" fmla="*/ 2061923 w 8079933"/>
              <a:gd name="connsiteY32751" fmla="*/ 2815576 h 4687251"/>
              <a:gd name="connsiteX32752" fmla="*/ 2054762 w 8079933"/>
              <a:gd name="connsiteY32752" fmla="*/ 2819365 h 4687251"/>
              <a:gd name="connsiteX32753" fmla="*/ 2054219 w 8079933"/>
              <a:gd name="connsiteY32753" fmla="*/ 2824021 h 4687251"/>
              <a:gd name="connsiteX32754" fmla="*/ 2055630 w 8079933"/>
              <a:gd name="connsiteY32754" fmla="*/ 2825104 h 4687251"/>
              <a:gd name="connsiteX32755" fmla="*/ 2055847 w 8079933"/>
              <a:gd name="connsiteY32755" fmla="*/ 2827269 h 4687251"/>
              <a:gd name="connsiteX32756" fmla="*/ 2049119 w 8079933"/>
              <a:gd name="connsiteY32756" fmla="*/ 2833441 h 4687251"/>
              <a:gd name="connsiteX32757" fmla="*/ 2041632 w 8079933"/>
              <a:gd name="connsiteY32757" fmla="*/ 2835065 h 4687251"/>
              <a:gd name="connsiteX32758" fmla="*/ 2037725 w 8079933"/>
              <a:gd name="connsiteY32758" fmla="*/ 2837122 h 4687251"/>
              <a:gd name="connsiteX32759" fmla="*/ 2036857 w 8079933"/>
              <a:gd name="connsiteY32759" fmla="*/ 2839829 h 4687251"/>
              <a:gd name="connsiteX32760" fmla="*/ 2038702 w 8079933"/>
              <a:gd name="connsiteY32760" fmla="*/ 2843726 h 4687251"/>
              <a:gd name="connsiteX32761" fmla="*/ 2042717 w 8079933"/>
              <a:gd name="connsiteY32761" fmla="*/ 2846541 h 4687251"/>
              <a:gd name="connsiteX32762" fmla="*/ 2046406 w 8079933"/>
              <a:gd name="connsiteY32762" fmla="*/ 2849789 h 4687251"/>
              <a:gd name="connsiteX32763" fmla="*/ 2046080 w 8079933"/>
              <a:gd name="connsiteY32763" fmla="*/ 2854662 h 4687251"/>
              <a:gd name="connsiteX32764" fmla="*/ 2043585 w 8079933"/>
              <a:gd name="connsiteY32764" fmla="*/ 2855419 h 4687251"/>
              <a:gd name="connsiteX32765" fmla="*/ 2039352 w 8079933"/>
              <a:gd name="connsiteY32765" fmla="*/ 2854770 h 4687251"/>
              <a:gd name="connsiteX32766" fmla="*/ 2036097 w 8079933"/>
              <a:gd name="connsiteY32766" fmla="*/ 2858127 h 4687251"/>
              <a:gd name="connsiteX32767" fmla="*/ 2033167 w 8079933"/>
              <a:gd name="connsiteY32767" fmla="*/ 2862565 h 4687251"/>
              <a:gd name="connsiteX32768" fmla="*/ 2026439 w 8079933"/>
              <a:gd name="connsiteY32768" fmla="*/ 2861591 h 4687251"/>
              <a:gd name="connsiteX32769" fmla="*/ 2024920 w 8079933"/>
              <a:gd name="connsiteY32769" fmla="*/ 2858884 h 4687251"/>
              <a:gd name="connsiteX32770" fmla="*/ 2025788 w 8079933"/>
              <a:gd name="connsiteY32770" fmla="*/ 2855419 h 4687251"/>
              <a:gd name="connsiteX32771" fmla="*/ 2024595 w 8079933"/>
              <a:gd name="connsiteY32771" fmla="*/ 2850656 h 4687251"/>
              <a:gd name="connsiteX32772" fmla="*/ 2025463 w 8079933"/>
              <a:gd name="connsiteY32772" fmla="*/ 2848057 h 4687251"/>
              <a:gd name="connsiteX32773" fmla="*/ 2023943 w 8079933"/>
              <a:gd name="connsiteY32773" fmla="*/ 2846000 h 4687251"/>
              <a:gd name="connsiteX32774" fmla="*/ 2020796 w 8079933"/>
              <a:gd name="connsiteY32774" fmla="*/ 2845458 h 4687251"/>
              <a:gd name="connsiteX32775" fmla="*/ 2019169 w 8079933"/>
              <a:gd name="connsiteY32775" fmla="*/ 2848057 h 4687251"/>
              <a:gd name="connsiteX32776" fmla="*/ 2020796 w 8079933"/>
              <a:gd name="connsiteY32776" fmla="*/ 2849789 h 4687251"/>
              <a:gd name="connsiteX32777" fmla="*/ 2019385 w 8079933"/>
              <a:gd name="connsiteY32777" fmla="*/ 2852713 h 4687251"/>
              <a:gd name="connsiteX32778" fmla="*/ 2015371 w 8079933"/>
              <a:gd name="connsiteY32778" fmla="*/ 2852821 h 4687251"/>
              <a:gd name="connsiteX32779" fmla="*/ 2011572 w 8079933"/>
              <a:gd name="connsiteY32779" fmla="*/ 2850656 h 4687251"/>
              <a:gd name="connsiteX32780" fmla="*/ 2008534 w 8079933"/>
              <a:gd name="connsiteY32780" fmla="*/ 2844484 h 4687251"/>
              <a:gd name="connsiteX32781" fmla="*/ 2007449 w 8079933"/>
              <a:gd name="connsiteY32781" fmla="*/ 2838313 h 4687251"/>
              <a:gd name="connsiteX32782" fmla="*/ 1998767 w 8079933"/>
              <a:gd name="connsiteY32782" fmla="*/ 2837122 h 4687251"/>
              <a:gd name="connsiteX32783" fmla="*/ 1996054 w 8079933"/>
              <a:gd name="connsiteY32783" fmla="*/ 2836364 h 4687251"/>
              <a:gd name="connsiteX32784" fmla="*/ 1996380 w 8079933"/>
              <a:gd name="connsiteY32784" fmla="*/ 2834632 h 4687251"/>
              <a:gd name="connsiteX32785" fmla="*/ 1994209 w 8079933"/>
              <a:gd name="connsiteY32785" fmla="*/ 2832466 h 4687251"/>
              <a:gd name="connsiteX32786" fmla="*/ 1992039 w 8079933"/>
              <a:gd name="connsiteY32786" fmla="*/ 2834091 h 4687251"/>
              <a:gd name="connsiteX32787" fmla="*/ 1987590 w 8079933"/>
              <a:gd name="connsiteY32787" fmla="*/ 2834848 h 4687251"/>
              <a:gd name="connsiteX32788" fmla="*/ 1983575 w 8079933"/>
              <a:gd name="connsiteY32788" fmla="*/ 2834199 h 4687251"/>
              <a:gd name="connsiteX32789" fmla="*/ 1980211 w 8079933"/>
              <a:gd name="connsiteY32789" fmla="*/ 2834523 h 4687251"/>
              <a:gd name="connsiteX32790" fmla="*/ 1980210 w 8079933"/>
              <a:gd name="connsiteY32790" fmla="*/ 2834522 h 4687251"/>
              <a:gd name="connsiteX32791" fmla="*/ 1979452 w 8079933"/>
              <a:gd name="connsiteY32791" fmla="*/ 2834522 h 4687251"/>
              <a:gd name="connsiteX32792" fmla="*/ 1979777 w 8079933"/>
              <a:gd name="connsiteY32792" fmla="*/ 2837337 h 4687251"/>
              <a:gd name="connsiteX32793" fmla="*/ 1979018 w 8079933"/>
              <a:gd name="connsiteY32793" fmla="*/ 2839611 h 4687251"/>
              <a:gd name="connsiteX32794" fmla="*/ 1975979 w 8079933"/>
              <a:gd name="connsiteY32794" fmla="*/ 2839503 h 4687251"/>
              <a:gd name="connsiteX32795" fmla="*/ 1974243 w 8079933"/>
              <a:gd name="connsiteY32795" fmla="*/ 2837554 h 4687251"/>
              <a:gd name="connsiteX32796" fmla="*/ 1972941 w 8079933"/>
              <a:gd name="connsiteY32796" fmla="*/ 2836796 h 4687251"/>
              <a:gd name="connsiteX32797" fmla="*/ 1971313 w 8079933"/>
              <a:gd name="connsiteY32797" fmla="*/ 2835930 h 4687251"/>
              <a:gd name="connsiteX32798" fmla="*/ 1971530 w 8079933"/>
              <a:gd name="connsiteY32798" fmla="*/ 2831599 h 4687251"/>
              <a:gd name="connsiteX32799" fmla="*/ 1967407 w 8079933"/>
              <a:gd name="connsiteY32799" fmla="*/ 2826619 h 4687251"/>
              <a:gd name="connsiteX32800" fmla="*/ 1964802 w 8079933"/>
              <a:gd name="connsiteY32800" fmla="*/ 2824670 h 4687251"/>
              <a:gd name="connsiteX32801" fmla="*/ 1963066 w 8079933"/>
              <a:gd name="connsiteY32801" fmla="*/ 2825969 h 4687251"/>
              <a:gd name="connsiteX32802" fmla="*/ 1963066 w 8079933"/>
              <a:gd name="connsiteY32802" fmla="*/ 2826727 h 4687251"/>
              <a:gd name="connsiteX32803" fmla="*/ 1967190 w 8079933"/>
              <a:gd name="connsiteY32803" fmla="*/ 2828784 h 4687251"/>
              <a:gd name="connsiteX32804" fmla="*/ 1969468 w 8079933"/>
              <a:gd name="connsiteY32804" fmla="*/ 2831708 h 4687251"/>
              <a:gd name="connsiteX32805" fmla="*/ 1968926 w 8079933"/>
              <a:gd name="connsiteY32805" fmla="*/ 2835714 h 4687251"/>
              <a:gd name="connsiteX32806" fmla="*/ 1967081 w 8079933"/>
              <a:gd name="connsiteY32806" fmla="*/ 2836796 h 4687251"/>
              <a:gd name="connsiteX32807" fmla="*/ 1963283 w 8079933"/>
              <a:gd name="connsiteY32807" fmla="*/ 2834414 h 4687251"/>
              <a:gd name="connsiteX32808" fmla="*/ 1957532 w 8079933"/>
              <a:gd name="connsiteY32808" fmla="*/ 2832249 h 4687251"/>
              <a:gd name="connsiteX32809" fmla="*/ 1955470 w 8079933"/>
              <a:gd name="connsiteY32809" fmla="*/ 2829000 h 4687251"/>
              <a:gd name="connsiteX32810" fmla="*/ 1955470 w 8079933"/>
              <a:gd name="connsiteY32810" fmla="*/ 2825753 h 4687251"/>
              <a:gd name="connsiteX32811" fmla="*/ 1958617 w 8079933"/>
              <a:gd name="connsiteY32811" fmla="*/ 2821855 h 4687251"/>
              <a:gd name="connsiteX32812" fmla="*/ 1957749 w 8079933"/>
              <a:gd name="connsiteY32812" fmla="*/ 2819581 h 4687251"/>
              <a:gd name="connsiteX32813" fmla="*/ 1952539 w 8079933"/>
              <a:gd name="connsiteY32813" fmla="*/ 2813518 h 4687251"/>
              <a:gd name="connsiteX32814" fmla="*/ 1949501 w 8079933"/>
              <a:gd name="connsiteY32814" fmla="*/ 2811678 h 4687251"/>
              <a:gd name="connsiteX32815" fmla="*/ 1945378 w 8079933"/>
              <a:gd name="connsiteY32815" fmla="*/ 2807888 h 4687251"/>
              <a:gd name="connsiteX32816" fmla="*/ 1939844 w 8079933"/>
              <a:gd name="connsiteY32816" fmla="*/ 2804748 h 4687251"/>
              <a:gd name="connsiteX32817" fmla="*/ 1938324 w 8079933"/>
              <a:gd name="connsiteY32817" fmla="*/ 2799984 h 4687251"/>
              <a:gd name="connsiteX32818" fmla="*/ 1933658 w 8079933"/>
              <a:gd name="connsiteY32818" fmla="*/ 2796736 h 4687251"/>
              <a:gd name="connsiteX32819" fmla="*/ 1933333 w 8079933"/>
              <a:gd name="connsiteY32819" fmla="*/ 2792730 h 4687251"/>
              <a:gd name="connsiteX32820" fmla="*/ 1928775 w 8079933"/>
              <a:gd name="connsiteY32820" fmla="*/ 2790457 h 4687251"/>
              <a:gd name="connsiteX32821" fmla="*/ 1924651 w 8079933"/>
              <a:gd name="connsiteY32821" fmla="*/ 2787209 h 4687251"/>
              <a:gd name="connsiteX32822" fmla="*/ 1922589 w 8079933"/>
              <a:gd name="connsiteY32822" fmla="*/ 2788941 h 4687251"/>
              <a:gd name="connsiteX32823" fmla="*/ 1924108 w 8079933"/>
              <a:gd name="connsiteY32823" fmla="*/ 2791539 h 4687251"/>
              <a:gd name="connsiteX32824" fmla="*/ 1930511 w 8079933"/>
              <a:gd name="connsiteY32824" fmla="*/ 2796195 h 4687251"/>
              <a:gd name="connsiteX32825" fmla="*/ 1931704 w 8079933"/>
              <a:gd name="connsiteY32825" fmla="*/ 2800309 h 4687251"/>
              <a:gd name="connsiteX32826" fmla="*/ 1928991 w 8079933"/>
              <a:gd name="connsiteY32826" fmla="*/ 2805073 h 4687251"/>
              <a:gd name="connsiteX32827" fmla="*/ 1926713 w 8079933"/>
              <a:gd name="connsiteY32827" fmla="*/ 2805073 h 4687251"/>
              <a:gd name="connsiteX32828" fmla="*/ 1924434 w 8079933"/>
              <a:gd name="connsiteY32828" fmla="*/ 2801176 h 4687251"/>
              <a:gd name="connsiteX32829" fmla="*/ 1920744 w 8079933"/>
              <a:gd name="connsiteY32829" fmla="*/ 2798793 h 4687251"/>
              <a:gd name="connsiteX32830" fmla="*/ 1914342 w 8079933"/>
              <a:gd name="connsiteY32830" fmla="*/ 2798577 h 4687251"/>
              <a:gd name="connsiteX32831" fmla="*/ 1907940 w 8079933"/>
              <a:gd name="connsiteY32831" fmla="*/ 2793055 h 4687251"/>
              <a:gd name="connsiteX32832" fmla="*/ 1906963 w 8079933"/>
              <a:gd name="connsiteY32832" fmla="*/ 2788399 h 4687251"/>
              <a:gd name="connsiteX32833" fmla="*/ 1909133 w 8079933"/>
              <a:gd name="connsiteY32833" fmla="*/ 2782986 h 4687251"/>
              <a:gd name="connsiteX32834" fmla="*/ 1913257 w 8079933"/>
              <a:gd name="connsiteY32834" fmla="*/ 2780495 h 4687251"/>
              <a:gd name="connsiteX32835" fmla="*/ 1912280 w 8079933"/>
              <a:gd name="connsiteY32835" fmla="*/ 2775732 h 4687251"/>
              <a:gd name="connsiteX32836" fmla="*/ 1908590 w 8079933"/>
              <a:gd name="connsiteY32836" fmla="*/ 2774866 h 4687251"/>
              <a:gd name="connsiteX32837" fmla="*/ 1907288 w 8079933"/>
              <a:gd name="connsiteY32837" fmla="*/ 2773675 h 4687251"/>
              <a:gd name="connsiteX32838" fmla="*/ 1908808 w 8079933"/>
              <a:gd name="connsiteY32838" fmla="*/ 2772267 h 4687251"/>
              <a:gd name="connsiteX32839" fmla="*/ 1910218 w 8079933"/>
              <a:gd name="connsiteY32839" fmla="*/ 2766962 h 4687251"/>
              <a:gd name="connsiteX32840" fmla="*/ 1909676 w 8079933"/>
              <a:gd name="connsiteY32840" fmla="*/ 2766637 h 4687251"/>
              <a:gd name="connsiteX32841" fmla="*/ 1911303 w 8079933"/>
              <a:gd name="connsiteY32841" fmla="*/ 2765879 h 4687251"/>
              <a:gd name="connsiteX32842" fmla="*/ 1911303 w 8079933"/>
              <a:gd name="connsiteY32842" fmla="*/ 2764581 h 4687251"/>
              <a:gd name="connsiteX32843" fmla="*/ 1911303 w 8079933"/>
              <a:gd name="connsiteY32843" fmla="*/ 2764581 h 4687251"/>
              <a:gd name="connsiteX32844" fmla="*/ 1910543 w 8079933"/>
              <a:gd name="connsiteY32844" fmla="*/ 2763715 h 4687251"/>
              <a:gd name="connsiteX32845" fmla="*/ 1908915 w 8079933"/>
              <a:gd name="connsiteY32845" fmla="*/ 2764364 h 4687251"/>
              <a:gd name="connsiteX32846" fmla="*/ 1907179 w 8079933"/>
              <a:gd name="connsiteY32846" fmla="*/ 2763174 h 4687251"/>
              <a:gd name="connsiteX32847" fmla="*/ 1904249 w 8079933"/>
              <a:gd name="connsiteY32847" fmla="*/ 2763174 h 4687251"/>
              <a:gd name="connsiteX32848" fmla="*/ 1893398 w 8079933"/>
              <a:gd name="connsiteY32848" fmla="*/ 2751155 h 4687251"/>
              <a:gd name="connsiteX32849" fmla="*/ 1887321 w 8079933"/>
              <a:gd name="connsiteY32849" fmla="*/ 2742927 h 4687251"/>
              <a:gd name="connsiteX32850" fmla="*/ 1880484 w 8079933"/>
              <a:gd name="connsiteY32850" fmla="*/ 2736756 h 4687251"/>
              <a:gd name="connsiteX32851" fmla="*/ 1880484 w 8079933"/>
              <a:gd name="connsiteY32851" fmla="*/ 2733832 h 4687251"/>
              <a:gd name="connsiteX32852" fmla="*/ 1876361 w 8079933"/>
              <a:gd name="connsiteY32852" fmla="*/ 2731125 h 4687251"/>
              <a:gd name="connsiteX32853" fmla="*/ 1867788 w 8079933"/>
              <a:gd name="connsiteY32853" fmla="*/ 2720298 h 4687251"/>
              <a:gd name="connsiteX32854" fmla="*/ 1868656 w 8079933"/>
              <a:gd name="connsiteY32854" fmla="*/ 2718783 h 4687251"/>
              <a:gd name="connsiteX32855" fmla="*/ 1872996 w 8079933"/>
              <a:gd name="connsiteY32855" fmla="*/ 2720298 h 4687251"/>
              <a:gd name="connsiteX32856" fmla="*/ 1874841 w 8079933"/>
              <a:gd name="connsiteY32856" fmla="*/ 2720298 h 4687251"/>
              <a:gd name="connsiteX32857" fmla="*/ 1874841 w 8079933"/>
              <a:gd name="connsiteY32857" fmla="*/ 2717700 h 4687251"/>
              <a:gd name="connsiteX32858" fmla="*/ 1874918 w 8079933"/>
              <a:gd name="connsiteY32858" fmla="*/ 2717687 h 4687251"/>
              <a:gd name="connsiteX32859" fmla="*/ 1874516 w 8079933"/>
              <a:gd name="connsiteY32859" fmla="*/ 2716725 h 4687251"/>
              <a:gd name="connsiteX32860" fmla="*/ 1874516 w 8079933"/>
              <a:gd name="connsiteY32860" fmla="*/ 2713802 h 4687251"/>
              <a:gd name="connsiteX32861" fmla="*/ 1872671 w 8079933"/>
              <a:gd name="connsiteY32861" fmla="*/ 2712828 h 4687251"/>
              <a:gd name="connsiteX32862" fmla="*/ 1871586 w 8079933"/>
              <a:gd name="connsiteY32862" fmla="*/ 2714343 h 4687251"/>
              <a:gd name="connsiteX32863" fmla="*/ 1869524 w 8079933"/>
              <a:gd name="connsiteY32863" fmla="*/ 2714560 h 4687251"/>
              <a:gd name="connsiteX32864" fmla="*/ 1868330 w 8079933"/>
              <a:gd name="connsiteY32864" fmla="*/ 2712828 h 4687251"/>
              <a:gd name="connsiteX32865" fmla="*/ 1865726 w 8079933"/>
              <a:gd name="connsiteY32865" fmla="*/ 2711420 h 4687251"/>
              <a:gd name="connsiteX32866" fmla="*/ 1865618 w 8079933"/>
              <a:gd name="connsiteY32866" fmla="*/ 2711636 h 4687251"/>
              <a:gd name="connsiteX32867" fmla="*/ 1865618 w 8079933"/>
              <a:gd name="connsiteY32867" fmla="*/ 2711636 h 4687251"/>
              <a:gd name="connsiteX32868" fmla="*/ 1865617 w 8079933"/>
              <a:gd name="connsiteY32868" fmla="*/ 2711636 h 4687251"/>
              <a:gd name="connsiteX32869" fmla="*/ 1865617 w 8079933"/>
              <a:gd name="connsiteY32869" fmla="*/ 2711637 h 4687251"/>
              <a:gd name="connsiteX32870" fmla="*/ 1864207 w 8079933"/>
              <a:gd name="connsiteY32870" fmla="*/ 2712936 h 4687251"/>
              <a:gd name="connsiteX32871" fmla="*/ 1865401 w 8079933"/>
              <a:gd name="connsiteY32871" fmla="*/ 2715209 h 4687251"/>
              <a:gd name="connsiteX32872" fmla="*/ 1862254 w 8079933"/>
              <a:gd name="connsiteY32872" fmla="*/ 2719540 h 4687251"/>
              <a:gd name="connsiteX32873" fmla="*/ 1851402 w 8079933"/>
              <a:gd name="connsiteY32873" fmla="*/ 2719323 h 4687251"/>
              <a:gd name="connsiteX32874" fmla="*/ 1848906 w 8079933"/>
              <a:gd name="connsiteY32874" fmla="*/ 2717158 h 4687251"/>
              <a:gd name="connsiteX32875" fmla="*/ 1845217 w 8079933"/>
              <a:gd name="connsiteY32875" fmla="*/ 2712286 h 4687251"/>
              <a:gd name="connsiteX32876" fmla="*/ 1840876 w 8079933"/>
              <a:gd name="connsiteY32876" fmla="*/ 2712070 h 4687251"/>
              <a:gd name="connsiteX32877" fmla="*/ 1839248 w 8079933"/>
              <a:gd name="connsiteY32877" fmla="*/ 2713152 h 4687251"/>
              <a:gd name="connsiteX32878" fmla="*/ 1842613 w 8079933"/>
              <a:gd name="connsiteY32878" fmla="*/ 2715101 h 4687251"/>
              <a:gd name="connsiteX32879" fmla="*/ 1841636 w 8079933"/>
              <a:gd name="connsiteY32879" fmla="*/ 2717158 h 4687251"/>
              <a:gd name="connsiteX32880" fmla="*/ 1834040 w 8079933"/>
              <a:gd name="connsiteY32880" fmla="*/ 2712936 h 4687251"/>
              <a:gd name="connsiteX32881" fmla="*/ 1825901 w 8079933"/>
              <a:gd name="connsiteY32881" fmla="*/ 2709363 h 4687251"/>
              <a:gd name="connsiteX32882" fmla="*/ 1823948 w 8079933"/>
              <a:gd name="connsiteY32882" fmla="*/ 2709471 h 4687251"/>
              <a:gd name="connsiteX32883" fmla="*/ 1823188 w 8079933"/>
              <a:gd name="connsiteY32883" fmla="*/ 2709579 h 4687251"/>
              <a:gd name="connsiteX32884" fmla="*/ 1817653 w 8079933"/>
              <a:gd name="connsiteY32884" fmla="*/ 2708389 h 4687251"/>
              <a:gd name="connsiteX32885" fmla="*/ 1813855 w 8079933"/>
              <a:gd name="connsiteY32885" fmla="*/ 2704707 h 4687251"/>
              <a:gd name="connsiteX32886" fmla="*/ 1809189 w 8079933"/>
              <a:gd name="connsiteY32886" fmla="*/ 2704707 h 4687251"/>
              <a:gd name="connsiteX32887" fmla="*/ 1807019 w 8079933"/>
              <a:gd name="connsiteY32887" fmla="*/ 2703950 h 4687251"/>
              <a:gd name="connsiteX32888" fmla="*/ 1808755 w 8079933"/>
              <a:gd name="connsiteY32888" fmla="*/ 2701242 h 4687251"/>
              <a:gd name="connsiteX32889" fmla="*/ 1807019 w 8079933"/>
              <a:gd name="connsiteY32889" fmla="*/ 2703949 h 4687251"/>
              <a:gd name="connsiteX32890" fmla="*/ 1797903 w 8079933"/>
              <a:gd name="connsiteY32890" fmla="*/ 2700808 h 4687251"/>
              <a:gd name="connsiteX32891" fmla="*/ 1792152 w 8079933"/>
              <a:gd name="connsiteY32891" fmla="*/ 2701458 h 4687251"/>
              <a:gd name="connsiteX32892" fmla="*/ 1784773 w 8079933"/>
              <a:gd name="connsiteY32892" fmla="*/ 2701350 h 4687251"/>
              <a:gd name="connsiteX32893" fmla="*/ 1772185 w 8079933"/>
              <a:gd name="connsiteY32893" fmla="*/ 2696478 h 4687251"/>
              <a:gd name="connsiteX32894" fmla="*/ 1768929 w 8079933"/>
              <a:gd name="connsiteY32894" fmla="*/ 2692580 h 4687251"/>
              <a:gd name="connsiteX32895" fmla="*/ 1765240 w 8079933"/>
              <a:gd name="connsiteY32895" fmla="*/ 2692147 h 4687251"/>
              <a:gd name="connsiteX32896" fmla="*/ 1762418 w 8079933"/>
              <a:gd name="connsiteY32896" fmla="*/ 2687383 h 4687251"/>
              <a:gd name="connsiteX32897" fmla="*/ 1758513 w 8079933"/>
              <a:gd name="connsiteY32897" fmla="*/ 2682620 h 4687251"/>
              <a:gd name="connsiteX32898" fmla="*/ 1758512 w 8079933"/>
              <a:gd name="connsiteY32898" fmla="*/ 2682621 h 4687251"/>
              <a:gd name="connsiteX32899" fmla="*/ 1754822 w 8079933"/>
              <a:gd name="connsiteY32899" fmla="*/ 2678073 h 4687251"/>
              <a:gd name="connsiteX32900" fmla="*/ 1748094 w 8079933"/>
              <a:gd name="connsiteY32900" fmla="*/ 2672876 h 4687251"/>
              <a:gd name="connsiteX32901" fmla="*/ 1747334 w 8079933"/>
              <a:gd name="connsiteY32901" fmla="*/ 2670169 h 4687251"/>
              <a:gd name="connsiteX32902" fmla="*/ 1742234 w 8079933"/>
              <a:gd name="connsiteY32902" fmla="*/ 2668654 h 4687251"/>
              <a:gd name="connsiteX32903" fmla="*/ 1725631 w 8079933"/>
              <a:gd name="connsiteY32903" fmla="*/ 2654903 h 4687251"/>
              <a:gd name="connsiteX32904" fmla="*/ 1723569 w 8079933"/>
              <a:gd name="connsiteY32904" fmla="*/ 2652088 h 4687251"/>
              <a:gd name="connsiteX32905" fmla="*/ 1723569 w 8079933"/>
              <a:gd name="connsiteY32905" fmla="*/ 2650030 h 4687251"/>
              <a:gd name="connsiteX32906" fmla="*/ 1719445 w 8079933"/>
              <a:gd name="connsiteY32906" fmla="*/ 2644834 h 4687251"/>
              <a:gd name="connsiteX32907" fmla="*/ 1715322 w 8079933"/>
              <a:gd name="connsiteY32907" fmla="*/ 2641261 h 4687251"/>
              <a:gd name="connsiteX32908" fmla="*/ 1710656 w 8079933"/>
              <a:gd name="connsiteY32908" fmla="*/ 2640395 h 4687251"/>
              <a:gd name="connsiteX32909" fmla="*/ 1709787 w 8079933"/>
              <a:gd name="connsiteY32909" fmla="*/ 2639528 h 4687251"/>
              <a:gd name="connsiteX32910" fmla="*/ 1708051 w 8079933"/>
              <a:gd name="connsiteY32910" fmla="*/ 2639745 h 4687251"/>
              <a:gd name="connsiteX32911" fmla="*/ 1708485 w 8079933"/>
              <a:gd name="connsiteY32911" fmla="*/ 2641152 h 4687251"/>
              <a:gd name="connsiteX32912" fmla="*/ 1716190 w 8079933"/>
              <a:gd name="connsiteY32912" fmla="*/ 2644509 h 4687251"/>
              <a:gd name="connsiteX32913" fmla="*/ 1721724 w 8079933"/>
              <a:gd name="connsiteY32913" fmla="*/ 2650030 h 4687251"/>
              <a:gd name="connsiteX32914" fmla="*/ 1721724 w 8079933"/>
              <a:gd name="connsiteY32914" fmla="*/ 2651438 h 4687251"/>
              <a:gd name="connsiteX32915" fmla="*/ 1718360 w 8079933"/>
              <a:gd name="connsiteY32915" fmla="*/ 2648515 h 4687251"/>
              <a:gd name="connsiteX32916" fmla="*/ 1711198 w 8079933"/>
              <a:gd name="connsiteY32916" fmla="*/ 2643859 h 4687251"/>
              <a:gd name="connsiteX32917" fmla="*/ 1706858 w 8079933"/>
              <a:gd name="connsiteY32917" fmla="*/ 2642344 h 4687251"/>
              <a:gd name="connsiteX32918" fmla="*/ 1703385 w 8079933"/>
              <a:gd name="connsiteY32918" fmla="*/ 2642452 h 4687251"/>
              <a:gd name="connsiteX32919" fmla="*/ 1701757 w 8079933"/>
              <a:gd name="connsiteY32919" fmla="*/ 2641694 h 4687251"/>
              <a:gd name="connsiteX32920" fmla="*/ 1702733 w 8079933"/>
              <a:gd name="connsiteY32920" fmla="*/ 2640611 h 4687251"/>
              <a:gd name="connsiteX32921" fmla="*/ 1705121 w 8079933"/>
              <a:gd name="connsiteY32921" fmla="*/ 2640395 h 4687251"/>
              <a:gd name="connsiteX32922" fmla="*/ 1705121 w 8079933"/>
              <a:gd name="connsiteY32922" fmla="*/ 2638446 h 4687251"/>
              <a:gd name="connsiteX32923" fmla="*/ 1702083 w 8079933"/>
              <a:gd name="connsiteY32923" fmla="*/ 2638446 h 4687251"/>
              <a:gd name="connsiteX32924" fmla="*/ 1699153 w 8079933"/>
              <a:gd name="connsiteY32924" fmla="*/ 2639962 h 4687251"/>
              <a:gd name="connsiteX32925" fmla="*/ 1699153 w 8079933"/>
              <a:gd name="connsiteY32925" fmla="*/ 2637363 h 4687251"/>
              <a:gd name="connsiteX32926" fmla="*/ 1697417 w 8079933"/>
              <a:gd name="connsiteY32926" fmla="*/ 2636497 h 4687251"/>
              <a:gd name="connsiteX32927" fmla="*/ 1692099 w 8079933"/>
              <a:gd name="connsiteY32927" fmla="*/ 2639528 h 4687251"/>
              <a:gd name="connsiteX32928" fmla="*/ 1691882 w 8079933"/>
              <a:gd name="connsiteY32928" fmla="*/ 2641802 h 4687251"/>
              <a:gd name="connsiteX32929" fmla="*/ 1695897 w 8079933"/>
              <a:gd name="connsiteY32929" fmla="*/ 2641802 h 4687251"/>
              <a:gd name="connsiteX32930" fmla="*/ 1700563 w 8079933"/>
              <a:gd name="connsiteY32930" fmla="*/ 2642452 h 4687251"/>
              <a:gd name="connsiteX32931" fmla="*/ 1700563 w 8079933"/>
              <a:gd name="connsiteY32931" fmla="*/ 2643859 h 4687251"/>
              <a:gd name="connsiteX32932" fmla="*/ 1698067 w 8079933"/>
              <a:gd name="connsiteY32932" fmla="*/ 2643534 h 4687251"/>
              <a:gd name="connsiteX32933" fmla="*/ 1692099 w 8079933"/>
              <a:gd name="connsiteY32933" fmla="*/ 2644076 h 4687251"/>
              <a:gd name="connsiteX32934" fmla="*/ 1687216 w 8079933"/>
              <a:gd name="connsiteY32934" fmla="*/ 2644834 h 4687251"/>
              <a:gd name="connsiteX32935" fmla="*/ 1680705 w 8079933"/>
              <a:gd name="connsiteY32935" fmla="*/ 2649165 h 4687251"/>
              <a:gd name="connsiteX32936" fmla="*/ 1675496 w 8079933"/>
              <a:gd name="connsiteY32936" fmla="*/ 2649597 h 4687251"/>
              <a:gd name="connsiteX32937" fmla="*/ 1663342 w 8079933"/>
              <a:gd name="connsiteY32937" fmla="*/ 2654687 h 4687251"/>
              <a:gd name="connsiteX32938" fmla="*/ 1658459 w 8079933"/>
              <a:gd name="connsiteY32938" fmla="*/ 2655011 h 4687251"/>
              <a:gd name="connsiteX32939" fmla="*/ 1646631 w 8079933"/>
              <a:gd name="connsiteY32939" fmla="*/ 2650789 h 4687251"/>
              <a:gd name="connsiteX32940" fmla="*/ 1640228 w 8079933"/>
              <a:gd name="connsiteY32940" fmla="*/ 2647324 h 4687251"/>
              <a:gd name="connsiteX32941" fmla="*/ 1631873 w 8079933"/>
              <a:gd name="connsiteY32941" fmla="*/ 2647324 h 4687251"/>
              <a:gd name="connsiteX32942" fmla="*/ 1623191 w 8079933"/>
              <a:gd name="connsiteY32942" fmla="*/ 2643859 h 4687251"/>
              <a:gd name="connsiteX32943" fmla="*/ 1618634 w 8079933"/>
              <a:gd name="connsiteY32943" fmla="*/ 2641152 h 4687251"/>
              <a:gd name="connsiteX32944" fmla="*/ 1616789 w 8079933"/>
              <a:gd name="connsiteY32944" fmla="*/ 2641694 h 4687251"/>
              <a:gd name="connsiteX32945" fmla="*/ 1612774 w 8079933"/>
              <a:gd name="connsiteY32945" fmla="*/ 2641261 h 4687251"/>
              <a:gd name="connsiteX32946" fmla="*/ 1606805 w 8079933"/>
              <a:gd name="connsiteY32946" fmla="*/ 2638554 h 4687251"/>
              <a:gd name="connsiteX32947" fmla="*/ 1603550 w 8079933"/>
              <a:gd name="connsiteY32947" fmla="*/ 2633249 h 4687251"/>
              <a:gd name="connsiteX32948" fmla="*/ 1602139 w 8079933"/>
              <a:gd name="connsiteY32948" fmla="*/ 2632166 h 4687251"/>
              <a:gd name="connsiteX32949" fmla="*/ 1598666 w 8079933"/>
              <a:gd name="connsiteY32949" fmla="*/ 2633573 h 4687251"/>
              <a:gd name="connsiteX32950" fmla="*/ 1592481 w 8079933"/>
              <a:gd name="connsiteY32950" fmla="*/ 2630650 h 4687251"/>
              <a:gd name="connsiteX32951" fmla="*/ 1585753 w 8079933"/>
              <a:gd name="connsiteY32951" fmla="*/ 2630109 h 4687251"/>
              <a:gd name="connsiteX32952" fmla="*/ 1582823 w 8079933"/>
              <a:gd name="connsiteY32952" fmla="*/ 2625345 h 4687251"/>
              <a:gd name="connsiteX32953" fmla="*/ 1577180 w 8079933"/>
              <a:gd name="connsiteY32953" fmla="*/ 2622422 h 4687251"/>
              <a:gd name="connsiteX32954" fmla="*/ 1565243 w 8079933"/>
              <a:gd name="connsiteY32954" fmla="*/ 2620689 h 4687251"/>
              <a:gd name="connsiteX32955" fmla="*/ 1554934 w 8079933"/>
              <a:gd name="connsiteY32955" fmla="*/ 2616575 h 4687251"/>
              <a:gd name="connsiteX32956" fmla="*/ 1547989 w 8079933"/>
              <a:gd name="connsiteY32956" fmla="*/ 2609538 h 4687251"/>
              <a:gd name="connsiteX32957" fmla="*/ 1544950 w 8079933"/>
              <a:gd name="connsiteY32957" fmla="*/ 2608996 h 4687251"/>
              <a:gd name="connsiteX32958" fmla="*/ 1533231 w 8079933"/>
              <a:gd name="connsiteY32958" fmla="*/ 2597628 h 4687251"/>
              <a:gd name="connsiteX32959" fmla="*/ 1531061 w 8079933"/>
              <a:gd name="connsiteY32959" fmla="*/ 2594813 h 4687251"/>
              <a:gd name="connsiteX32960" fmla="*/ 1528456 w 8079933"/>
              <a:gd name="connsiteY32960" fmla="*/ 2595029 h 4687251"/>
              <a:gd name="connsiteX32961" fmla="*/ 1527154 w 8079933"/>
              <a:gd name="connsiteY32961" fmla="*/ 2596870 h 4687251"/>
              <a:gd name="connsiteX32962" fmla="*/ 1523573 w 8079933"/>
              <a:gd name="connsiteY32962" fmla="*/ 2596653 h 4687251"/>
              <a:gd name="connsiteX32963" fmla="*/ 1514349 w 8079933"/>
              <a:gd name="connsiteY32963" fmla="*/ 2593080 h 4687251"/>
              <a:gd name="connsiteX32964" fmla="*/ 1511311 w 8079933"/>
              <a:gd name="connsiteY32964" fmla="*/ 2592755 h 4687251"/>
              <a:gd name="connsiteX32965" fmla="*/ 1506536 w 8079933"/>
              <a:gd name="connsiteY32965" fmla="*/ 2590806 h 4687251"/>
              <a:gd name="connsiteX32966" fmla="*/ 1504582 w 8079933"/>
              <a:gd name="connsiteY32966" fmla="*/ 2591457 h 4687251"/>
              <a:gd name="connsiteX32967" fmla="*/ 1499807 w 8079933"/>
              <a:gd name="connsiteY32967" fmla="*/ 2589724 h 4687251"/>
              <a:gd name="connsiteX32968" fmla="*/ 1496335 w 8079933"/>
              <a:gd name="connsiteY32968" fmla="*/ 2584419 h 4687251"/>
              <a:gd name="connsiteX32969" fmla="*/ 1492211 w 8079933"/>
              <a:gd name="connsiteY32969" fmla="*/ 2577814 h 4687251"/>
              <a:gd name="connsiteX32970" fmla="*/ 1486135 w 8079933"/>
              <a:gd name="connsiteY32970" fmla="*/ 2572184 h 4687251"/>
              <a:gd name="connsiteX32971" fmla="*/ 1480275 w 8079933"/>
              <a:gd name="connsiteY32971" fmla="*/ 2570127 h 4687251"/>
              <a:gd name="connsiteX32972" fmla="*/ 1480275 w 8079933"/>
              <a:gd name="connsiteY32972" fmla="*/ 2568070 h 4687251"/>
              <a:gd name="connsiteX32973" fmla="*/ 1482554 w 8079933"/>
              <a:gd name="connsiteY32973" fmla="*/ 2565147 h 4687251"/>
              <a:gd name="connsiteX32974" fmla="*/ 1479624 w 8079933"/>
              <a:gd name="connsiteY32974" fmla="*/ 2564605 h 4687251"/>
              <a:gd name="connsiteX32975" fmla="*/ 1474414 w 8079933"/>
              <a:gd name="connsiteY32975" fmla="*/ 2565688 h 4687251"/>
              <a:gd name="connsiteX32976" fmla="*/ 1466927 w 8079933"/>
              <a:gd name="connsiteY32976" fmla="*/ 2563739 h 4687251"/>
              <a:gd name="connsiteX32977" fmla="*/ 1465517 w 8079933"/>
              <a:gd name="connsiteY32977" fmla="*/ 2561033 h 4687251"/>
              <a:gd name="connsiteX32978" fmla="*/ 1461935 w 8079933"/>
              <a:gd name="connsiteY32978" fmla="*/ 2561033 h 4687251"/>
              <a:gd name="connsiteX32979" fmla="*/ 1459657 w 8079933"/>
              <a:gd name="connsiteY32979" fmla="*/ 2559084 h 4687251"/>
              <a:gd name="connsiteX32980" fmla="*/ 1457921 w 8079933"/>
              <a:gd name="connsiteY32980" fmla="*/ 2553237 h 4687251"/>
              <a:gd name="connsiteX32981" fmla="*/ 1453471 w 8079933"/>
              <a:gd name="connsiteY32981" fmla="*/ 2547390 h 4687251"/>
              <a:gd name="connsiteX32982" fmla="*/ 1453471 w 8079933"/>
              <a:gd name="connsiteY32982" fmla="*/ 2544034 h 4687251"/>
              <a:gd name="connsiteX32983" fmla="*/ 1450324 w 8079933"/>
              <a:gd name="connsiteY32983" fmla="*/ 2540894 h 4687251"/>
              <a:gd name="connsiteX32984" fmla="*/ 1447069 w 8079933"/>
              <a:gd name="connsiteY32984" fmla="*/ 2532449 h 4687251"/>
              <a:gd name="connsiteX32985" fmla="*/ 1447069 w 8079933"/>
              <a:gd name="connsiteY32985" fmla="*/ 2530176 h 4687251"/>
              <a:gd name="connsiteX32986" fmla="*/ 1449998 w 8079933"/>
              <a:gd name="connsiteY32986" fmla="*/ 2528551 h 4687251"/>
              <a:gd name="connsiteX32987" fmla="*/ 1455533 w 8079933"/>
              <a:gd name="connsiteY32987" fmla="*/ 2528660 h 4687251"/>
              <a:gd name="connsiteX32988" fmla="*/ 1457594 w 8079933"/>
              <a:gd name="connsiteY32988" fmla="*/ 2526278 h 4687251"/>
              <a:gd name="connsiteX32989" fmla="*/ 1454773 w 8079933"/>
              <a:gd name="connsiteY32989" fmla="*/ 2523679 h 4687251"/>
              <a:gd name="connsiteX32990" fmla="*/ 1452386 w 8079933"/>
              <a:gd name="connsiteY32990" fmla="*/ 2523354 h 4687251"/>
              <a:gd name="connsiteX32991" fmla="*/ 1453146 w 8079933"/>
              <a:gd name="connsiteY32991" fmla="*/ 2520648 h 4687251"/>
              <a:gd name="connsiteX32992" fmla="*/ 1458571 w 8079933"/>
              <a:gd name="connsiteY32992" fmla="*/ 2515775 h 4687251"/>
              <a:gd name="connsiteX32993" fmla="*/ 1461175 w 8079933"/>
              <a:gd name="connsiteY32993" fmla="*/ 2511552 h 4687251"/>
              <a:gd name="connsiteX32994" fmla="*/ 1460850 w 8079933"/>
              <a:gd name="connsiteY32994" fmla="*/ 2506139 h 4687251"/>
              <a:gd name="connsiteX32995" fmla="*/ 1455641 w 8079933"/>
              <a:gd name="connsiteY32995" fmla="*/ 2493146 h 4687251"/>
              <a:gd name="connsiteX32996" fmla="*/ 1453146 w 8079933"/>
              <a:gd name="connsiteY32996" fmla="*/ 2486217 h 4687251"/>
              <a:gd name="connsiteX32997" fmla="*/ 1451409 w 8079933"/>
              <a:gd name="connsiteY32997" fmla="*/ 2482969 h 4687251"/>
              <a:gd name="connsiteX32998" fmla="*/ 1453146 w 8079933"/>
              <a:gd name="connsiteY32998" fmla="*/ 2478530 h 4687251"/>
              <a:gd name="connsiteX32999" fmla="*/ 1452278 w 8079933"/>
              <a:gd name="connsiteY32999" fmla="*/ 2473875 h 4687251"/>
              <a:gd name="connsiteX33000" fmla="*/ 1443487 w 8079933"/>
              <a:gd name="connsiteY33000" fmla="*/ 2462831 h 4687251"/>
              <a:gd name="connsiteX33001" fmla="*/ 1443270 w 8079933"/>
              <a:gd name="connsiteY33001" fmla="*/ 2458067 h 4687251"/>
              <a:gd name="connsiteX33002" fmla="*/ 1435566 w 8079933"/>
              <a:gd name="connsiteY33002" fmla="*/ 2450163 h 4687251"/>
              <a:gd name="connsiteX33003" fmla="*/ 1430140 w 8079933"/>
              <a:gd name="connsiteY33003" fmla="*/ 2440310 h 4687251"/>
              <a:gd name="connsiteX33004" fmla="*/ 1422978 w 8079933"/>
              <a:gd name="connsiteY33004" fmla="*/ 2430891 h 4687251"/>
              <a:gd name="connsiteX33005" fmla="*/ 1416576 w 8079933"/>
              <a:gd name="connsiteY33005" fmla="*/ 2425369 h 4687251"/>
              <a:gd name="connsiteX33006" fmla="*/ 1414296 w 8079933"/>
              <a:gd name="connsiteY33006" fmla="*/ 2423853 h 4687251"/>
              <a:gd name="connsiteX33007" fmla="*/ 1413971 w 8079933"/>
              <a:gd name="connsiteY33007" fmla="*/ 2420930 h 4687251"/>
              <a:gd name="connsiteX33008" fmla="*/ 1406917 w 8079933"/>
              <a:gd name="connsiteY33008" fmla="*/ 2418007 h 4687251"/>
              <a:gd name="connsiteX33009" fmla="*/ 1403010 w 8079933"/>
              <a:gd name="connsiteY33009" fmla="*/ 2415733 h 4687251"/>
              <a:gd name="connsiteX33010" fmla="*/ 1402577 w 8079933"/>
              <a:gd name="connsiteY33010" fmla="*/ 2414001 h 4687251"/>
              <a:gd name="connsiteX33011" fmla="*/ 1405507 w 8079933"/>
              <a:gd name="connsiteY33011" fmla="*/ 2412810 h 4687251"/>
              <a:gd name="connsiteX33012" fmla="*/ 1407460 w 8079933"/>
              <a:gd name="connsiteY33012" fmla="*/ 2408696 h 4687251"/>
              <a:gd name="connsiteX33013" fmla="*/ 1405507 w 8079933"/>
              <a:gd name="connsiteY33013" fmla="*/ 2405772 h 4687251"/>
              <a:gd name="connsiteX33014" fmla="*/ 1403770 w 8079933"/>
              <a:gd name="connsiteY33014" fmla="*/ 2401333 h 4687251"/>
              <a:gd name="connsiteX33015" fmla="*/ 1402577 w 8079933"/>
              <a:gd name="connsiteY33015" fmla="*/ 2398518 h 4687251"/>
              <a:gd name="connsiteX33016" fmla="*/ 1399647 w 8079933"/>
              <a:gd name="connsiteY33016" fmla="*/ 2398518 h 4687251"/>
              <a:gd name="connsiteX33017" fmla="*/ 1394221 w 8079933"/>
              <a:gd name="connsiteY33017" fmla="*/ 2397219 h 4687251"/>
              <a:gd name="connsiteX33018" fmla="*/ 1384672 w 8079933"/>
              <a:gd name="connsiteY33018" fmla="*/ 2389749 h 4687251"/>
              <a:gd name="connsiteX33019" fmla="*/ 1381959 w 8079933"/>
              <a:gd name="connsiteY33019" fmla="*/ 2387366 h 4687251"/>
              <a:gd name="connsiteX33020" fmla="*/ 1377618 w 8079933"/>
              <a:gd name="connsiteY33020" fmla="*/ 2387041 h 4687251"/>
              <a:gd name="connsiteX33021" fmla="*/ 1373711 w 8079933"/>
              <a:gd name="connsiteY33021" fmla="*/ 2384335 h 4687251"/>
              <a:gd name="connsiteX33022" fmla="*/ 1372951 w 8079933"/>
              <a:gd name="connsiteY33022" fmla="*/ 2379463 h 4687251"/>
              <a:gd name="connsiteX33023" fmla="*/ 1375448 w 8079933"/>
              <a:gd name="connsiteY33023" fmla="*/ 2372750 h 4687251"/>
              <a:gd name="connsiteX33024" fmla="*/ 1379571 w 8079933"/>
              <a:gd name="connsiteY33024" fmla="*/ 2368311 h 4687251"/>
              <a:gd name="connsiteX33025" fmla="*/ 1382610 w 8079933"/>
              <a:gd name="connsiteY33025" fmla="*/ 2367336 h 4687251"/>
              <a:gd name="connsiteX33026" fmla="*/ 1384997 w 8079933"/>
              <a:gd name="connsiteY33026" fmla="*/ 2369827 h 4687251"/>
              <a:gd name="connsiteX33027" fmla="*/ 1386950 w 8079933"/>
              <a:gd name="connsiteY33027" fmla="*/ 2367661 h 4687251"/>
              <a:gd name="connsiteX33028" fmla="*/ 1386299 w 8079933"/>
              <a:gd name="connsiteY33028" fmla="*/ 2364521 h 4687251"/>
              <a:gd name="connsiteX33029" fmla="*/ 1384997 w 8079933"/>
              <a:gd name="connsiteY33029" fmla="*/ 2363005 h 4687251"/>
              <a:gd name="connsiteX33030" fmla="*/ 1383478 w 8079933"/>
              <a:gd name="connsiteY33030" fmla="*/ 2364521 h 4687251"/>
              <a:gd name="connsiteX33031" fmla="*/ 1380222 w 8079933"/>
              <a:gd name="connsiteY33031" fmla="*/ 2362789 h 4687251"/>
              <a:gd name="connsiteX33032" fmla="*/ 1379571 w 8079933"/>
              <a:gd name="connsiteY33032" fmla="*/ 2359216 h 4687251"/>
              <a:gd name="connsiteX33033" fmla="*/ 1375448 w 8079933"/>
              <a:gd name="connsiteY33033" fmla="*/ 2354019 h 4687251"/>
              <a:gd name="connsiteX33034" fmla="*/ 1371650 w 8079933"/>
              <a:gd name="connsiteY33034" fmla="*/ 2354560 h 4687251"/>
              <a:gd name="connsiteX33035" fmla="*/ 1367526 w 8079933"/>
              <a:gd name="connsiteY33035" fmla="*/ 2353478 h 4687251"/>
              <a:gd name="connsiteX33036" fmla="*/ 1365355 w 8079933"/>
              <a:gd name="connsiteY33036" fmla="*/ 2349580 h 4687251"/>
              <a:gd name="connsiteX33037" fmla="*/ 1366440 w 8079933"/>
              <a:gd name="connsiteY33037" fmla="*/ 2345249 h 4687251"/>
              <a:gd name="connsiteX33038" fmla="*/ 1363511 w 8079933"/>
              <a:gd name="connsiteY33038" fmla="*/ 2344275 h 4687251"/>
              <a:gd name="connsiteX33039" fmla="*/ 1360581 w 8079933"/>
              <a:gd name="connsiteY33039" fmla="*/ 2344599 h 4687251"/>
              <a:gd name="connsiteX33040" fmla="*/ 1352333 w 8079933"/>
              <a:gd name="connsiteY33040" fmla="*/ 2337237 h 4687251"/>
              <a:gd name="connsiteX33041" fmla="*/ 1351465 w 8079933"/>
              <a:gd name="connsiteY33041" fmla="*/ 2330632 h 4687251"/>
              <a:gd name="connsiteX33042" fmla="*/ 1353310 w 8079933"/>
              <a:gd name="connsiteY33042" fmla="*/ 2327709 h 4687251"/>
              <a:gd name="connsiteX33043" fmla="*/ 1353527 w 8079933"/>
              <a:gd name="connsiteY33043" fmla="*/ 2322295 h 4687251"/>
              <a:gd name="connsiteX33044" fmla="*/ 1350923 w 8079933"/>
              <a:gd name="connsiteY33044" fmla="*/ 2320130 h 4687251"/>
              <a:gd name="connsiteX33045" fmla="*/ 1347667 w 8079933"/>
              <a:gd name="connsiteY33045" fmla="*/ 2321538 h 4687251"/>
              <a:gd name="connsiteX33046" fmla="*/ 1345931 w 8079933"/>
              <a:gd name="connsiteY33046" fmla="*/ 2320130 h 4687251"/>
              <a:gd name="connsiteX33047" fmla="*/ 1342784 w 8079933"/>
              <a:gd name="connsiteY33047" fmla="*/ 2320022 h 4687251"/>
              <a:gd name="connsiteX33048" fmla="*/ 1341807 w 8079933"/>
              <a:gd name="connsiteY33048" fmla="*/ 2317748 h 4687251"/>
              <a:gd name="connsiteX33049" fmla="*/ 1338661 w 8079933"/>
              <a:gd name="connsiteY33049" fmla="*/ 2315258 h 4687251"/>
              <a:gd name="connsiteX33050" fmla="*/ 1337358 w 8079933"/>
              <a:gd name="connsiteY33050" fmla="*/ 2311144 h 4687251"/>
              <a:gd name="connsiteX33051" fmla="*/ 1334754 w 8079933"/>
              <a:gd name="connsiteY33051" fmla="*/ 2305514 h 4687251"/>
              <a:gd name="connsiteX33052" fmla="*/ 1331607 w 8079933"/>
              <a:gd name="connsiteY33052" fmla="*/ 2304756 h 4687251"/>
              <a:gd name="connsiteX33053" fmla="*/ 1329762 w 8079933"/>
              <a:gd name="connsiteY33053" fmla="*/ 2302699 h 4687251"/>
              <a:gd name="connsiteX33054" fmla="*/ 1329220 w 8079933"/>
              <a:gd name="connsiteY33054" fmla="*/ 2297177 h 4687251"/>
              <a:gd name="connsiteX33055" fmla="*/ 1327809 w 8079933"/>
              <a:gd name="connsiteY33055" fmla="*/ 2293387 h 4687251"/>
              <a:gd name="connsiteX33056" fmla="*/ 1324554 w 8079933"/>
              <a:gd name="connsiteY33056" fmla="*/ 2291871 h 4687251"/>
              <a:gd name="connsiteX33057" fmla="*/ 1321949 w 8079933"/>
              <a:gd name="connsiteY33057" fmla="*/ 2284077 h 4687251"/>
              <a:gd name="connsiteX33058" fmla="*/ 1320321 w 8079933"/>
              <a:gd name="connsiteY33058" fmla="*/ 2281477 h 4687251"/>
              <a:gd name="connsiteX33059" fmla="*/ 1318368 w 8079933"/>
              <a:gd name="connsiteY33059" fmla="*/ 2281477 h 4687251"/>
              <a:gd name="connsiteX33060" fmla="*/ 1316849 w 8079933"/>
              <a:gd name="connsiteY33060" fmla="*/ 2278230 h 4687251"/>
              <a:gd name="connsiteX33061" fmla="*/ 1318151 w 8079933"/>
              <a:gd name="connsiteY33061" fmla="*/ 2276064 h 4687251"/>
              <a:gd name="connsiteX33062" fmla="*/ 1318585 w 8079933"/>
              <a:gd name="connsiteY33062" fmla="*/ 2273574 h 4687251"/>
              <a:gd name="connsiteX33063" fmla="*/ 1312725 w 8079933"/>
              <a:gd name="connsiteY33063" fmla="*/ 2265345 h 4687251"/>
              <a:gd name="connsiteX33064" fmla="*/ 1310988 w 8079933"/>
              <a:gd name="connsiteY33064" fmla="*/ 2261231 h 4687251"/>
              <a:gd name="connsiteX33065" fmla="*/ 1311965 w 8079933"/>
              <a:gd name="connsiteY33065" fmla="*/ 2258091 h 4687251"/>
              <a:gd name="connsiteX33066" fmla="*/ 1311315 w 8079933"/>
              <a:gd name="connsiteY33066" fmla="*/ 2252461 h 4687251"/>
              <a:gd name="connsiteX33067" fmla="*/ 1309252 w 8079933"/>
              <a:gd name="connsiteY33067" fmla="*/ 2248672 h 4687251"/>
              <a:gd name="connsiteX33068" fmla="*/ 1308059 w 8079933"/>
              <a:gd name="connsiteY33068" fmla="*/ 2240443 h 4687251"/>
              <a:gd name="connsiteX33069" fmla="*/ 1305563 w 8079933"/>
              <a:gd name="connsiteY33069" fmla="*/ 2234705 h 4687251"/>
              <a:gd name="connsiteX33070" fmla="*/ 1305237 w 8079933"/>
              <a:gd name="connsiteY33070" fmla="*/ 2230590 h 4687251"/>
              <a:gd name="connsiteX33071" fmla="*/ 1308493 w 8079933"/>
              <a:gd name="connsiteY33071" fmla="*/ 2226801 h 4687251"/>
              <a:gd name="connsiteX33072" fmla="*/ 1308493 w 8079933"/>
              <a:gd name="connsiteY33072" fmla="*/ 2224419 h 4687251"/>
              <a:gd name="connsiteX33073" fmla="*/ 1303609 w 8079933"/>
              <a:gd name="connsiteY33073" fmla="*/ 2221712 h 4687251"/>
              <a:gd name="connsiteX33074" fmla="*/ 1298943 w 8079933"/>
              <a:gd name="connsiteY33074" fmla="*/ 2221496 h 4687251"/>
              <a:gd name="connsiteX33075" fmla="*/ 1297533 w 8079933"/>
              <a:gd name="connsiteY33075" fmla="*/ 2218789 h 4687251"/>
              <a:gd name="connsiteX33076" fmla="*/ 1293518 w 8079933"/>
              <a:gd name="connsiteY33076" fmla="*/ 2215000 h 4687251"/>
              <a:gd name="connsiteX33077" fmla="*/ 1291347 w 8079933"/>
              <a:gd name="connsiteY33077" fmla="*/ 2216732 h 4687251"/>
              <a:gd name="connsiteX33078" fmla="*/ 1287332 w 8079933"/>
              <a:gd name="connsiteY33078" fmla="*/ 2217382 h 4687251"/>
              <a:gd name="connsiteX33079" fmla="*/ 1284619 w 8079933"/>
              <a:gd name="connsiteY33079" fmla="*/ 2215000 h 4687251"/>
              <a:gd name="connsiteX33080" fmla="*/ 1280279 w 8079933"/>
              <a:gd name="connsiteY33080" fmla="*/ 2208287 h 4687251"/>
              <a:gd name="connsiteX33081" fmla="*/ 1273876 w 8079933"/>
              <a:gd name="connsiteY33081" fmla="*/ 2205364 h 4687251"/>
              <a:gd name="connsiteX33082" fmla="*/ 1270838 w 8079933"/>
              <a:gd name="connsiteY33082" fmla="*/ 2199842 h 4687251"/>
              <a:gd name="connsiteX33083" fmla="*/ 1272574 w 8079933"/>
              <a:gd name="connsiteY33083" fmla="*/ 2205364 h 4687251"/>
              <a:gd name="connsiteX33084" fmla="*/ 1273442 w 8079933"/>
              <a:gd name="connsiteY33084" fmla="*/ 2209803 h 4687251"/>
              <a:gd name="connsiteX33085" fmla="*/ 1271163 w 8079933"/>
              <a:gd name="connsiteY33085" fmla="*/ 2218031 h 4687251"/>
              <a:gd name="connsiteX33086" fmla="*/ 1269102 w 8079933"/>
              <a:gd name="connsiteY33086" fmla="*/ 2223445 h 4687251"/>
              <a:gd name="connsiteX33087" fmla="*/ 1270295 w 8079933"/>
              <a:gd name="connsiteY33087" fmla="*/ 2233514 h 4687251"/>
              <a:gd name="connsiteX33088" fmla="*/ 1270946 w 8079933"/>
              <a:gd name="connsiteY33088" fmla="*/ 2250188 h 4687251"/>
              <a:gd name="connsiteX33089" fmla="*/ 1268884 w 8079933"/>
              <a:gd name="connsiteY33089" fmla="*/ 2254194 h 4687251"/>
              <a:gd name="connsiteX33090" fmla="*/ 1271488 w 8079933"/>
              <a:gd name="connsiteY33090" fmla="*/ 2256900 h 4687251"/>
              <a:gd name="connsiteX33091" fmla="*/ 1274745 w 8079933"/>
              <a:gd name="connsiteY33091" fmla="*/ 2263830 h 4687251"/>
              <a:gd name="connsiteX33092" fmla="*/ 1274636 w 8079933"/>
              <a:gd name="connsiteY33092" fmla="*/ 2268485 h 4687251"/>
              <a:gd name="connsiteX33093" fmla="*/ 1277240 w 8079933"/>
              <a:gd name="connsiteY33093" fmla="*/ 2268594 h 4687251"/>
              <a:gd name="connsiteX33094" fmla="*/ 1279411 w 8079933"/>
              <a:gd name="connsiteY33094" fmla="*/ 2272058 h 4687251"/>
              <a:gd name="connsiteX33095" fmla="*/ 1285922 w 8079933"/>
              <a:gd name="connsiteY33095" fmla="*/ 2276497 h 4687251"/>
              <a:gd name="connsiteX33096" fmla="*/ 1287332 w 8079933"/>
              <a:gd name="connsiteY33096" fmla="*/ 2282885 h 4687251"/>
              <a:gd name="connsiteX33097" fmla="*/ 1286464 w 8079933"/>
              <a:gd name="connsiteY33097" fmla="*/ 2286025 h 4687251"/>
              <a:gd name="connsiteX33098" fmla="*/ 1287658 w 8079933"/>
              <a:gd name="connsiteY33098" fmla="*/ 2290248 h 4687251"/>
              <a:gd name="connsiteX33099" fmla="*/ 1291673 w 8079933"/>
              <a:gd name="connsiteY33099" fmla="*/ 2292197 h 4687251"/>
              <a:gd name="connsiteX33100" fmla="*/ 1294711 w 8079933"/>
              <a:gd name="connsiteY33100" fmla="*/ 2295444 h 4687251"/>
              <a:gd name="connsiteX33101" fmla="*/ 1295254 w 8079933"/>
              <a:gd name="connsiteY33101" fmla="*/ 2300534 h 4687251"/>
              <a:gd name="connsiteX33102" fmla="*/ 1297207 w 8079933"/>
              <a:gd name="connsiteY33102" fmla="*/ 2302699 h 4687251"/>
              <a:gd name="connsiteX33103" fmla="*/ 1300246 w 8079933"/>
              <a:gd name="connsiteY33103" fmla="*/ 2303348 h 4687251"/>
              <a:gd name="connsiteX33104" fmla="*/ 1304261 w 8079933"/>
              <a:gd name="connsiteY33104" fmla="*/ 2309520 h 4687251"/>
              <a:gd name="connsiteX33105" fmla="*/ 1303718 w 8079933"/>
              <a:gd name="connsiteY33105" fmla="*/ 2314501 h 4687251"/>
              <a:gd name="connsiteX33106" fmla="*/ 1303935 w 8079933"/>
              <a:gd name="connsiteY33106" fmla="*/ 2320130 h 4687251"/>
              <a:gd name="connsiteX33107" fmla="*/ 1308384 w 8079933"/>
              <a:gd name="connsiteY33107" fmla="*/ 2324353 h 4687251"/>
              <a:gd name="connsiteX33108" fmla="*/ 1310229 w 8079933"/>
              <a:gd name="connsiteY33108" fmla="*/ 2325003 h 4687251"/>
              <a:gd name="connsiteX33109" fmla="*/ 1314245 w 8079933"/>
              <a:gd name="connsiteY33109" fmla="*/ 2331391 h 4687251"/>
              <a:gd name="connsiteX33110" fmla="*/ 1315655 w 8079933"/>
              <a:gd name="connsiteY33110" fmla="*/ 2341027 h 4687251"/>
              <a:gd name="connsiteX33111" fmla="*/ 1317717 w 8079933"/>
              <a:gd name="connsiteY33111" fmla="*/ 2341135 h 4687251"/>
              <a:gd name="connsiteX33112" fmla="*/ 1319019 w 8079933"/>
              <a:gd name="connsiteY33112" fmla="*/ 2343625 h 4687251"/>
              <a:gd name="connsiteX33113" fmla="*/ 1317500 w 8079933"/>
              <a:gd name="connsiteY33113" fmla="*/ 2346982 h 4687251"/>
              <a:gd name="connsiteX33114" fmla="*/ 1317825 w 8079933"/>
              <a:gd name="connsiteY33114" fmla="*/ 2350121 h 4687251"/>
              <a:gd name="connsiteX33115" fmla="*/ 1322166 w 8079933"/>
              <a:gd name="connsiteY33115" fmla="*/ 2356617 h 4687251"/>
              <a:gd name="connsiteX33116" fmla="*/ 1323902 w 8079933"/>
              <a:gd name="connsiteY33116" fmla="*/ 2355102 h 4687251"/>
              <a:gd name="connsiteX33117" fmla="*/ 1323685 w 8079933"/>
              <a:gd name="connsiteY33117" fmla="*/ 2352287 h 4687251"/>
              <a:gd name="connsiteX33118" fmla="*/ 1323902 w 8079933"/>
              <a:gd name="connsiteY33118" fmla="*/ 2350446 h 4687251"/>
              <a:gd name="connsiteX33119" fmla="*/ 1325639 w 8079933"/>
              <a:gd name="connsiteY33119" fmla="*/ 2350771 h 4687251"/>
              <a:gd name="connsiteX33120" fmla="*/ 1326940 w 8079933"/>
              <a:gd name="connsiteY33120" fmla="*/ 2354019 h 4687251"/>
              <a:gd name="connsiteX33121" fmla="*/ 1329870 w 8079933"/>
              <a:gd name="connsiteY33121" fmla="*/ 2358891 h 4687251"/>
              <a:gd name="connsiteX33122" fmla="*/ 1331281 w 8079933"/>
              <a:gd name="connsiteY33122" fmla="*/ 2367770 h 4687251"/>
              <a:gd name="connsiteX33123" fmla="*/ 1330196 w 8079933"/>
              <a:gd name="connsiteY33123" fmla="*/ 2371234 h 4687251"/>
              <a:gd name="connsiteX33124" fmla="*/ 1330738 w 8079933"/>
              <a:gd name="connsiteY33124" fmla="*/ 2377298 h 4687251"/>
              <a:gd name="connsiteX33125" fmla="*/ 1332150 w 8079933"/>
              <a:gd name="connsiteY33125" fmla="*/ 2379463 h 4687251"/>
              <a:gd name="connsiteX33126" fmla="*/ 1332150 w 8079933"/>
              <a:gd name="connsiteY33126" fmla="*/ 2384118 h 4687251"/>
              <a:gd name="connsiteX33127" fmla="*/ 1334863 w 8079933"/>
              <a:gd name="connsiteY33127" fmla="*/ 2387258 h 4687251"/>
              <a:gd name="connsiteX33128" fmla="*/ 1334754 w 8079933"/>
              <a:gd name="connsiteY33128" fmla="*/ 2390614 h 4687251"/>
              <a:gd name="connsiteX33129" fmla="*/ 1337033 w 8079933"/>
              <a:gd name="connsiteY33129" fmla="*/ 2393321 h 4687251"/>
              <a:gd name="connsiteX33130" fmla="*/ 1337141 w 8079933"/>
              <a:gd name="connsiteY33130" fmla="*/ 2396245 h 4687251"/>
              <a:gd name="connsiteX33131" fmla="*/ 1336164 w 8079933"/>
              <a:gd name="connsiteY33131" fmla="*/ 2399492 h 4687251"/>
              <a:gd name="connsiteX33132" fmla="*/ 1339746 w 8079933"/>
              <a:gd name="connsiteY33132" fmla="*/ 2404473 h 4687251"/>
              <a:gd name="connsiteX33133" fmla="*/ 1339854 w 8079933"/>
              <a:gd name="connsiteY33133" fmla="*/ 2409453 h 4687251"/>
              <a:gd name="connsiteX33134" fmla="*/ 1337467 w 8079933"/>
              <a:gd name="connsiteY33134" fmla="*/ 2414434 h 4687251"/>
              <a:gd name="connsiteX33135" fmla="*/ 1338009 w 8079933"/>
              <a:gd name="connsiteY33135" fmla="*/ 2417249 h 4687251"/>
              <a:gd name="connsiteX33136" fmla="*/ 1342133 w 8079933"/>
              <a:gd name="connsiteY33136" fmla="*/ 2422337 h 4687251"/>
              <a:gd name="connsiteX33137" fmla="*/ 1345822 w 8079933"/>
              <a:gd name="connsiteY33137" fmla="*/ 2425261 h 4687251"/>
              <a:gd name="connsiteX33138" fmla="*/ 1346474 w 8079933"/>
              <a:gd name="connsiteY33138" fmla="*/ 2427968 h 4687251"/>
              <a:gd name="connsiteX33139" fmla="*/ 1348535 w 8079933"/>
              <a:gd name="connsiteY33139" fmla="*/ 2427102 h 4687251"/>
              <a:gd name="connsiteX33140" fmla="*/ 1348318 w 8079933"/>
              <a:gd name="connsiteY33140" fmla="*/ 2423853 h 4687251"/>
              <a:gd name="connsiteX33141" fmla="*/ 1349729 w 8079933"/>
              <a:gd name="connsiteY33141" fmla="*/ 2422771 h 4687251"/>
              <a:gd name="connsiteX33142" fmla="*/ 1352008 w 8079933"/>
              <a:gd name="connsiteY33142" fmla="*/ 2423962 h 4687251"/>
              <a:gd name="connsiteX33143" fmla="*/ 1354395 w 8079933"/>
              <a:gd name="connsiteY33143" fmla="*/ 2427102 h 4687251"/>
              <a:gd name="connsiteX33144" fmla="*/ 1355914 w 8079933"/>
              <a:gd name="connsiteY33144" fmla="*/ 2430242 h 4687251"/>
              <a:gd name="connsiteX33145" fmla="*/ 1359496 w 8079933"/>
              <a:gd name="connsiteY33145" fmla="*/ 2432298 h 4687251"/>
              <a:gd name="connsiteX33146" fmla="*/ 1360906 w 8079933"/>
              <a:gd name="connsiteY33146" fmla="*/ 2436738 h 4687251"/>
              <a:gd name="connsiteX33147" fmla="*/ 1363185 w 8079933"/>
              <a:gd name="connsiteY33147" fmla="*/ 2439012 h 4687251"/>
              <a:gd name="connsiteX33148" fmla="*/ 1364596 w 8079933"/>
              <a:gd name="connsiteY33148" fmla="*/ 2443234 h 4687251"/>
              <a:gd name="connsiteX33149" fmla="*/ 1367526 w 8079933"/>
              <a:gd name="connsiteY33149" fmla="*/ 2445183 h 4687251"/>
              <a:gd name="connsiteX33150" fmla="*/ 1367092 w 8079933"/>
              <a:gd name="connsiteY33150" fmla="*/ 2451138 h 4687251"/>
              <a:gd name="connsiteX33151" fmla="*/ 1362751 w 8079933"/>
              <a:gd name="connsiteY33151" fmla="*/ 2457742 h 4687251"/>
              <a:gd name="connsiteX33152" fmla="*/ 1355589 w 8079933"/>
              <a:gd name="connsiteY33152" fmla="*/ 2460991 h 4687251"/>
              <a:gd name="connsiteX33153" fmla="*/ 1352659 w 8079933"/>
              <a:gd name="connsiteY33153" fmla="*/ 2460124 h 4687251"/>
              <a:gd name="connsiteX33154" fmla="*/ 1350597 w 8079933"/>
              <a:gd name="connsiteY33154" fmla="*/ 2455144 h 4687251"/>
              <a:gd name="connsiteX33155" fmla="*/ 1350272 w 8079933"/>
              <a:gd name="connsiteY33155" fmla="*/ 2451571 h 4687251"/>
              <a:gd name="connsiteX33156" fmla="*/ 1347450 w 8079933"/>
              <a:gd name="connsiteY33156" fmla="*/ 2449297 h 4687251"/>
              <a:gd name="connsiteX33157" fmla="*/ 1347017 w 8079933"/>
              <a:gd name="connsiteY33157" fmla="*/ 2442909 h 4687251"/>
              <a:gd name="connsiteX33158" fmla="*/ 1344737 w 8079933"/>
              <a:gd name="connsiteY33158" fmla="*/ 2439877 h 4687251"/>
              <a:gd name="connsiteX33159" fmla="*/ 1339746 w 8079933"/>
              <a:gd name="connsiteY33159" fmla="*/ 2439336 h 4687251"/>
              <a:gd name="connsiteX33160" fmla="*/ 1336164 w 8079933"/>
              <a:gd name="connsiteY33160" fmla="*/ 2435006 h 4687251"/>
              <a:gd name="connsiteX33161" fmla="*/ 1334428 w 8079933"/>
              <a:gd name="connsiteY33161" fmla="*/ 2431757 h 4687251"/>
              <a:gd name="connsiteX33162" fmla="*/ 1330738 w 8079933"/>
              <a:gd name="connsiteY33162" fmla="*/ 2430242 h 4687251"/>
              <a:gd name="connsiteX33163" fmla="*/ 1320647 w 8079933"/>
              <a:gd name="connsiteY33163" fmla="*/ 2419198 h 4687251"/>
              <a:gd name="connsiteX33164" fmla="*/ 1318368 w 8079933"/>
              <a:gd name="connsiteY33164" fmla="*/ 2414542 h 4687251"/>
              <a:gd name="connsiteX33165" fmla="*/ 1313701 w 8079933"/>
              <a:gd name="connsiteY33165" fmla="*/ 2413568 h 4687251"/>
              <a:gd name="connsiteX33166" fmla="*/ 1312508 w 8079933"/>
              <a:gd name="connsiteY33166" fmla="*/ 2410320 h 4687251"/>
              <a:gd name="connsiteX33167" fmla="*/ 1310446 w 8079933"/>
              <a:gd name="connsiteY33167" fmla="*/ 2410753 h 4687251"/>
              <a:gd name="connsiteX33168" fmla="*/ 1305780 w 8079933"/>
              <a:gd name="connsiteY33168" fmla="*/ 2406963 h 4687251"/>
              <a:gd name="connsiteX33169" fmla="*/ 1305129 w 8079933"/>
              <a:gd name="connsiteY33169" fmla="*/ 2403174 h 4687251"/>
              <a:gd name="connsiteX33170" fmla="*/ 1309035 w 8079933"/>
              <a:gd name="connsiteY33170" fmla="*/ 2396461 h 4687251"/>
              <a:gd name="connsiteX33171" fmla="*/ 1310663 w 8079933"/>
              <a:gd name="connsiteY33171" fmla="*/ 2388774 h 4687251"/>
              <a:gd name="connsiteX33172" fmla="*/ 1309903 w 8079933"/>
              <a:gd name="connsiteY33172" fmla="*/ 2379029 h 4687251"/>
              <a:gd name="connsiteX33173" fmla="*/ 1306974 w 8079933"/>
              <a:gd name="connsiteY33173" fmla="*/ 2369827 h 4687251"/>
              <a:gd name="connsiteX33174" fmla="*/ 1304586 w 8079933"/>
              <a:gd name="connsiteY33174" fmla="*/ 2366254 h 4687251"/>
              <a:gd name="connsiteX33175" fmla="*/ 1302199 w 8079933"/>
              <a:gd name="connsiteY33175" fmla="*/ 2366903 h 4687251"/>
              <a:gd name="connsiteX33176" fmla="*/ 1298726 w 8079933"/>
              <a:gd name="connsiteY33176" fmla="*/ 2365388 h 4687251"/>
              <a:gd name="connsiteX33177" fmla="*/ 1290479 w 8079933"/>
              <a:gd name="connsiteY33177" fmla="*/ 2357484 h 4687251"/>
              <a:gd name="connsiteX33178" fmla="*/ 1289285 w 8079933"/>
              <a:gd name="connsiteY33178" fmla="*/ 2349905 h 4687251"/>
              <a:gd name="connsiteX33179" fmla="*/ 1290805 w 8079933"/>
              <a:gd name="connsiteY33179" fmla="*/ 2346007 h 4687251"/>
              <a:gd name="connsiteX33180" fmla="*/ 1288960 w 8079933"/>
              <a:gd name="connsiteY33180" fmla="*/ 2345466 h 4687251"/>
              <a:gd name="connsiteX33181" fmla="*/ 1284727 w 8079933"/>
              <a:gd name="connsiteY33181" fmla="*/ 2350229 h 4687251"/>
              <a:gd name="connsiteX33182" fmla="*/ 1281689 w 8079933"/>
              <a:gd name="connsiteY33182" fmla="*/ 2350446 h 4687251"/>
              <a:gd name="connsiteX33183" fmla="*/ 1278543 w 8079933"/>
              <a:gd name="connsiteY33183" fmla="*/ 2351854 h 4687251"/>
              <a:gd name="connsiteX33184" fmla="*/ 1276806 w 8079933"/>
              <a:gd name="connsiteY33184" fmla="*/ 2348389 h 4687251"/>
              <a:gd name="connsiteX33185" fmla="*/ 1277566 w 8079933"/>
              <a:gd name="connsiteY33185" fmla="*/ 2346656 h 4687251"/>
              <a:gd name="connsiteX33186" fmla="*/ 1274418 w 8079933"/>
              <a:gd name="connsiteY33186" fmla="*/ 2345466 h 4687251"/>
              <a:gd name="connsiteX33187" fmla="*/ 1271380 w 8079933"/>
              <a:gd name="connsiteY33187" fmla="*/ 2345574 h 4687251"/>
              <a:gd name="connsiteX33188" fmla="*/ 1271380 w 8079933"/>
              <a:gd name="connsiteY33188" fmla="*/ 2343192 h 4687251"/>
              <a:gd name="connsiteX33189" fmla="*/ 1265846 w 8079933"/>
              <a:gd name="connsiteY33189" fmla="*/ 2340701 h 4687251"/>
              <a:gd name="connsiteX33190" fmla="*/ 1261722 w 8079933"/>
              <a:gd name="connsiteY33190" fmla="*/ 2339294 h 4687251"/>
              <a:gd name="connsiteX33191" fmla="*/ 1259226 w 8079933"/>
              <a:gd name="connsiteY33191" fmla="*/ 2334964 h 4687251"/>
              <a:gd name="connsiteX33192" fmla="*/ 1258901 w 8079933"/>
              <a:gd name="connsiteY33192" fmla="*/ 2330308 h 4687251"/>
              <a:gd name="connsiteX33193" fmla="*/ 1254560 w 8079933"/>
              <a:gd name="connsiteY33193" fmla="*/ 2328467 h 4687251"/>
              <a:gd name="connsiteX33194" fmla="*/ 1249785 w 8079933"/>
              <a:gd name="connsiteY33194" fmla="*/ 2322079 h 4687251"/>
              <a:gd name="connsiteX33195" fmla="*/ 1250979 w 8079933"/>
              <a:gd name="connsiteY33195" fmla="*/ 2320671 h 4687251"/>
              <a:gd name="connsiteX33196" fmla="*/ 1257165 w 8079933"/>
              <a:gd name="connsiteY33196" fmla="*/ 2320130 h 4687251"/>
              <a:gd name="connsiteX33197" fmla="*/ 1260854 w 8079933"/>
              <a:gd name="connsiteY33197" fmla="*/ 2321538 h 4687251"/>
              <a:gd name="connsiteX33198" fmla="*/ 1266714 w 8079933"/>
              <a:gd name="connsiteY33198" fmla="*/ 2322621 h 4687251"/>
              <a:gd name="connsiteX33199" fmla="*/ 1269970 w 8079933"/>
              <a:gd name="connsiteY33199" fmla="*/ 2324678 h 4687251"/>
              <a:gd name="connsiteX33200" fmla="*/ 1271706 w 8079933"/>
              <a:gd name="connsiteY33200" fmla="*/ 2322295 h 4687251"/>
              <a:gd name="connsiteX33201" fmla="*/ 1272357 w 8079933"/>
              <a:gd name="connsiteY33201" fmla="*/ 2319372 h 4687251"/>
              <a:gd name="connsiteX33202" fmla="*/ 1268450 w 8079933"/>
              <a:gd name="connsiteY33202" fmla="*/ 2318614 h 4687251"/>
              <a:gd name="connsiteX33203" fmla="*/ 1267907 w 8079933"/>
              <a:gd name="connsiteY33203" fmla="*/ 2317424 h 4687251"/>
              <a:gd name="connsiteX33204" fmla="*/ 1270295 w 8079933"/>
              <a:gd name="connsiteY33204" fmla="*/ 2314825 h 4687251"/>
              <a:gd name="connsiteX33205" fmla="*/ 1273008 w 8079933"/>
              <a:gd name="connsiteY33205" fmla="*/ 2316016 h 4687251"/>
              <a:gd name="connsiteX33206" fmla="*/ 1274310 w 8079933"/>
              <a:gd name="connsiteY33206" fmla="*/ 2312226 h 4687251"/>
              <a:gd name="connsiteX33207" fmla="*/ 1272574 w 8079933"/>
              <a:gd name="connsiteY33207" fmla="*/ 2309520 h 4687251"/>
              <a:gd name="connsiteX33208" fmla="*/ 1272682 w 8079933"/>
              <a:gd name="connsiteY33208" fmla="*/ 2306921 h 4687251"/>
              <a:gd name="connsiteX33209" fmla="*/ 1275504 w 8079933"/>
              <a:gd name="connsiteY33209" fmla="*/ 2303348 h 4687251"/>
              <a:gd name="connsiteX33210" fmla="*/ 1272357 w 8079933"/>
              <a:gd name="connsiteY33210" fmla="*/ 2298151 h 4687251"/>
              <a:gd name="connsiteX33211" fmla="*/ 1270295 w 8079933"/>
              <a:gd name="connsiteY33211" fmla="*/ 2297285 h 4687251"/>
              <a:gd name="connsiteX33212" fmla="*/ 1267907 w 8079933"/>
              <a:gd name="connsiteY33212" fmla="*/ 2290140 h 4687251"/>
              <a:gd name="connsiteX33213" fmla="*/ 1262048 w 8079933"/>
              <a:gd name="connsiteY33213" fmla="*/ 2284293 h 4687251"/>
              <a:gd name="connsiteX33214" fmla="*/ 1260963 w 8079933"/>
              <a:gd name="connsiteY33214" fmla="*/ 2280503 h 4687251"/>
              <a:gd name="connsiteX33215" fmla="*/ 1257598 w 8079933"/>
              <a:gd name="connsiteY33215" fmla="*/ 2275631 h 4687251"/>
              <a:gd name="connsiteX33216" fmla="*/ 1250870 w 8079933"/>
              <a:gd name="connsiteY33216" fmla="*/ 2268918 h 4687251"/>
              <a:gd name="connsiteX33217" fmla="*/ 1248049 w 8079933"/>
              <a:gd name="connsiteY33217" fmla="*/ 2269135 h 4687251"/>
              <a:gd name="connsiteX33218" fmla="*/ 1243926 w 8079933"/>
              <a:gd name="connsiteY33218" fmla="*/ 2265129 h 4687251"/>
              <a:gd name="connsiteX33219" fmla="*/ 1241646 w 8079933"/>
              <a:gd name="connsiteY33219" fmla="*/ 2258633 h 4687251"/>
              <a:gd name="connsiteX33220" fmla="*/ 1241538 w 8079933"/>
              <a:gd name="connsiteY33220" fmla="*/ 2250620 h 4687251"/>
              <a:gd name="connsiteX33221" fmla="*/ 1240128 w 8079933"/>
              <a:gd name="connsiteY33221" fmla="*/ 2247806 h 4687251"/>
              <a:gd name="connsiteX33222" fmla="*/ 1237198 w 8079933"/>
              <a:gd name="connsiteY33222" fmla="*/ 2245207 h 4687251"/>
              <a:gd name="connsiteX33223" fmla="*/ 1237523 w 8079933"/>
              <a:gd name="connsiteY33223" fmla="*/ 2240443 h 4687251"/>
              <a:gd name="connsiteX33224" fmla="*/ 1239151 w 8079933"/>
              <a:gd name="connsiteY33224" fmla="*/ 2238169 h 4687251"/>
              <a:gd name="connsiteX33225" fmla="*/ 1238391 w 8079933"/>
              <a:gd name="connsiteY33225" fmla="*/ 2233514 h 4687251"/>
              <a:gd name="connsiteX33226" fmla="*/ 1233400 w 8079933"/>
              <a:gd name="connsiteY33226" fmla="*/ 2229075 h 4687251"/>
              <a:gd name="connsiteX33227" fmla="*/ 1232423 w 8079933"/>
              <a:gd name="connsiteY33227" fmla="*/ 2226151 h 4687251"/>
              <a:gd name="connsiteX33228" fmla="*/ 1233942 w 8079933"/>
              <a:gd name="connsiteY33228" fmla="*/ 2224635 h 4687251"/>
              <a:gd name="connsiteX33229" fmla="*/ 1234159 w 8079933"/>
              <a:gd name="connsiteY33229" fmla="*/ 2222037 h 4687251"/>
              <a:gd name="connsiteX33230" fmla="*/ 1227757 w 8079933"/>
              <a:gd name="connsiteY33230" fmla="*/ 2214242 h 4687251"/>
              <a:gd name="connsiteX33231" fmla="*/ 1226237 w 8079933"/>
              <a:gd name="connsiteY33231" fmla="*/ 2209803 h 4687251"/>
              <a:gd name="connsiteX33232" fmla="*/ 1226889 w 8079933"/>
              <a:gd name="connsiteY33232" fmla="*/ 2206013 h 4687251"/>
              <a:gd name="connsiteX33233" fmla="*/ 1228734 w 8079933"/>
              <a:gd name="connsiteY33233" fmla="*/ 2204605 h 4687251"/>
              <a:gd name="connsiteX33234" fmla="*/ 1226237 w 8079933"/>
              <a:gd name="connsiteY33234" fmla="*/ 2201249 h 4687251"/>
              <a:gd name="connsiteX33235" fmla="*/ 1223416 w 8079933"/>
              <a:gd name="connsiteY33235" fmla="*/ 2196052 h 4687251"/>
              <a:gd name="connsiteX33236" fmla="*/ 1220161 w 8079933"/>
              <a:gd name="connsiteY33236" fmla="*/ 2183926 h 4687251"/>
              <a:gd name="connsiteX33237" fmla="*/ 1219401 w 8079933"/>
              <a:gd name="connsiteY33237" fmla="*/ 2178079 h 4687251"/>
              <a:gd name="connsiteX33238" fmla="*/ 1219401 w 8079933"/>
              <a:gd name="connsiteY33238" fmla="*/ 2178079 h 4687251"/>
              <a:gd name="connsiteX33239" fmla="*/ 1218967 w 8079933"/>
              <a:gd name="connsiteY33239" fmla="*/ 2174289 h 4687251"/>
              <a:gd name="connsiteX33240" fmla="*/ 1220160 w 8079933"/>
              <a:gd name="connsiteY33240" fmla="*/ 2168443 h 4687251"/>
              <a:gd name="connsiteX33241" fmla="*/ 1219075 w 8079933"/>
              <a:gd name="connsiteY33241" fmla="*/ 2161189 h 4687251"/>
              <a:gd name="connsiteX33242" fmla="*/ 1210828 w 8079933"/>
              <a:gd name="connsiteY33242" fmla="*/ 2148630 h 4687251"/>
              <a:gd name="connsiteX33243" fmla="*/ 1205511 w 8079933"/>
              <a:gd name="connsiteY33243" fmla="*/ 2143108 h 4687251"/>
              <a:gd name="connsiteX33244" fmla="*/ 1202473 w 8079933"/>
              <a:gd name="connsiteY33244" fmla="*/ 2143757 h 4687251"/>
              <a:gd name="connsiteX33245" fmla="*/ 1199977 w 8079933"/>
              <a:gd name="connsiteY33245" fmla="*/ 2143974 h 4687251"/>
              <a:gd name="connsiteX33246" fmla="*/ 1198457 w 8079933"/>
              <a:gd name="connsiteY33246" fmla="*/ 2143108 h 4687251"/>
              <a:gd name="connsiteX33247" fmla="*/ 1198674 w 8079933"/>
              <a:gd name="connsiteY33247" fmla="*/ 2138993 h 4687251"/>
              <a:gd name="connsiteX33248" fmla="*/ 1197589 w 8079933"/>
              <a:gd name="connsiteY33248" fmla="*/ 2136395 h 4687251"/>
              <a:gd name="connsiteX33249" fmla="*/ 1191729 w 8079933"/>
              <a:gd name="connsiteY33249" fmla="*/ 2134663 h 4687251"/>
              <a:gd name="connsiteX33250" fmla="*/ 1187823 w 8079933"/>
              <a:gd name="connsiteY33250" fmla="*/ 2134554 h 4687251"/>
              <a:gd name="connsiteX33251" fmla="*/ 1181420 w 8079933"/>
              <a:gd name="connsiteY33251" fmla="*/ 2131089 h 4687251"/>
              <a:gd name="connsiteX33252" fmla="*/ 1181420 w 8079933"/>
              <a:gd name="connsiteY33252" fmla="*/ 2126975 h 4687251"/>
              <a:gd name="connsiteX33253" fmla="*/ 1178490 w 8079933"/>
              <a:gd name="connsiteY33253" fmla="*/ 2123727 h 4687251"/>
              <a:gd name="connsiteX33254" fmla="*/ 1172088 w 8079933"/>
              <a:gd name="connsiteY33254" fmla="*/ 2123727 h 4687251"/>
              <a:gd name="connsiteX33255" fmla="*/ 1168615 w 8079933"/>
              <a:gd name="connsiteY33255" fmla="*/ 2123077 h 4687251"/>
              <a:gd name="connsiteX33256" fmla="*/ 1164817 w 8079933"/>
              <a:gd name="connsiteY33256" fmla="*/ 2120696 h 4687251"/>
              <a:gd name="connsiteX33257" fmla="*/ 1159934 w 8079933"/>
              <a:gd name="connsiteY33257" fmla="*/ 2119396 h 4687251"/>
              <a:gd name="connsiteX33258" fmla="*/ 1151795 w 8079933"/>
              <a:gd name="connsiteY33258" fmla="*/ 2119396 h 4687251"/>
              <a:gd name="connsiteX33259" fmla="*/ 1149299 w 8079933"/>
              <a:gd name="connsiteY33259" fmla="*/ 2117664 h 4687251"/>
              <a:gd name="connsiteX33260" fmla="*/ 1147997 w 8079933"/>
              <a:gd name="connsiteY33260" fmla="*/ 2113766 h 4687251"/>
              <a:gd name="connsiteX33261" fmla="*/ 1149083 w 8079933"/>
              <a:gd name="connsiteY33261" fmla="*/ 2113008 h 4687251"/>
              <a:gd name="connsiteX33262" fmla="*/ 1150276 w 8079933"/>
              <a:gd name="connsiteY33262" fmla="*/ 2109219 h 4687251"/>
              <a:gd name="connsiteX33263" fmla="*/ 1152012 w 8079933"/>
              <a:gd name="connsiteY33263" fmla="*/ 2101965 h 4687251"/>
              <a:gd name="connsiteX33264" fmla="*/ 1150493 w 8079933"/>
              <a:gd name="connsiteY33264" fmla="*/ 2096984 h 4687251"/>
              <a:gd name="connsiteX33265" fmla="*/ 1146695 w 8079933"/>
              <a:gd name="connsiteY33265" fmla="*/ 2092653 h 4687251"/>
              <a:gd name="connsiteX33266" fmla="*/ 1146261 w 8079933"/>
              <a:gd name="connsiteY33266" fmla="*/ 2091354 h 4687251"/>
              <a:gd name="connsiteX33267" fmla="*/ 1147238 w 8079933"/>
              <a:gd name="connsiteY33267" fmla="*/ 2089622 h 4687251"/>
              <a:gd name="connsiteX33268" fmla="*/ 1145176 w 8079933"/>
              <a:gd name="connsiteY33268" fmla="*/ 2088106 h 4687251"/>
              <a:gd name="connsiteX33269" fmla="*/ 1141595 w 8079933"/>
              <a:gd name="connsiteY33269" fmla="*/ 2083125 h 4687251"/>
              <a:gd name="connsiteX33270" fmla="*/ 1136603 w 8079933"/>
              <a:gd name="connsiteY33270" fmla="*/ 2072515 h 4687251"/>
              <a:gd name="connsiteX33271" fmla="*/ 1135517 w 8079933"/>
              <a:gd name="connsiteY33271" fmla="*/ 2064178 h 4687251"/>
              <a:gd name="connsiteX33272" fmla="*/ 1131828 w 8079933"/>
              <a:gd name="connsiteY33272" fmla="*/ 2061472 h 4687251"/>
              <a:gd name="connsiteX33273" fmla="*/ 1131068 w 8079933"/>
              <a:gd name="connsiteY33273" fmla="*/ 2058549 h 4687251"/>
              <a:gd name="connsiteX33274" fmla="*/ 1131394 w 8079933"/>
              <a:gd name="connsiteY33274" fmla="*/ 2054109 h 4687251"/>
              <a:gd name="connsiteX33275" fmla="*/ 1130200 w 8079933"/>
              <a:gd name="connsiteY33275" fmla="*/ 2049129 h 4687251"/>
              <a:gd name="connsiteX33276" fmla="*/ 1130418 w 8079933"/>
              <a:gd name="connsiteY33276" fmla="*/ 2047072 h 4687251"/>
              <a:gd name="connsiteX33277" fmla="*/ 1132479 w 8079933"/>
              <a:gd name="connsiteY33277" fmla="*/ 2047396 h 4687251"/>
              <a:gd name="connsiteX33278" fmla="*/ 1135517 w 8079933"/>
              <a:gd name="connsiteY33278" fmla="*/ 2043931 h 4687251"/>
              <a:gd name="connsiteX33279" fmla="*/ 1135409 w 8079933"/>
              <a:gd name="connsiteY33279" fmla="*/ 2040142 h 4687251"/>
              <a:gd name="connsiteX33280" fmla="*/ 1132804 w 8079933"/>
              <a:gd name="connsiteY33280" fmla="*/ 2037544 h 4687251"/>
              <a:gd name="connsiteX33281" fmla="*/ 1129224 w 8079933"/>
              <a:gd name="connsiteY33281" fmla="*/ 2035378 h 4687251"/>
              <a:gd name="connsiteX33282" fmla="*/ 1128138 w 8079933"/>
              <a:gd name="connsiteY33282" fmla="*/ 2030723 h 4687251"/>
              <a:gd name="connsiteX33283" fmla="*/ 1125860 w 8079933"/>
              <a:gd name="connsiteY33283" fmla="*/ 2029532 h 4687251"/>
              <a:gd name="connsiteX33284" fmla="*/ 1125426 w 8079933"/>
              <a:gd name="connsiteY33284" fmla="*/ 2025742 h 4687251"/>
              <a:gd name="connsiteX33285" fmla="*/ 1126620 w 8079933"/>
              <a:gd name="connsiteY33285" fmla="*/ 2021411 h 4687251"/>
              <a:gd name="connsiteX33286" fmla="*/ 1126077 w 8079933"/>
              <a:gd name="connsiteY33286" fmla="*/ 2019246 h 4687251"/>
              <a:gd name="connsiteX33287" fmla="*/ 1128356 w 8079933"/>
              <a:gd name="connsiteY33287" fmla="*/ 2016972 h 4687251"/>
              <a:gd name="connsiteX33288" fmla="*/ 1127813 w 8079933"/>
              <a:gd name="connsiteY33288" fmla="*/ 2014049 h 4687251"/>
              <a:gd name="connsiteX33289" fmla="*/ 1129549 w 8079933"/>
              <a:gd name="connsiteY33289" fmla="*/ 2011558 h 4687251"/>
              <a:gd name="connsiteX33290" fmla="*/ 1131611 w 8079933"/>
              <a:gd name="connsiteY33290" fmla="*/ 2012966 h 4687251"/>
              <a:gd name="connsiteX33291" fmla="*/ 1133673 w 8079933"/>
              <a:gd name="connsiteY33291" fmla="*/ 2017297 h 4687251"/>
              <a:gd name="connsiteX33292" fmla="*/ 1137579 w 8079933"/>
              <a:gd name="connsiteY33292" fmla="*/ 2019354 h 4687251"/>
              <a:gd name="connsiteX33293" fmla="*/ 1136061 w 8079933"/>
              <a:gd name="connsiteY33293" fmla="*/ 2017297 h 4687251"/>
              <a:gd name="connsiteX33294" fmla="*/ 1134541 w 8079933"/>
              <a:gd name="connsiteY33294" fmla="*/ 2013725 h 4687251"/>
              <a:gd name="connsiteX33295" fmla="*/ 1133781 w 8079933"/>
              <a:gd name="connsiteY33295" fmla="*/ 2007444 h 4687251"/>
              <a:gd name="connsiteX33296" fmla="*/ 1131936 w 8079933"/>
              <a:gd name="connsiteY33296" fmla="*/ 2006145 h 4687251"/>
              <a:gd name="connsiteX33297" fmla="*/ 1132262 w 8079933"/>
              <a:gd name="connsiteY33297" fmla="*/ 2002897 h 4687251"/>
              <a:gd name="connsiteX33298" fmla="*/ 1134324 w 8079933"/>
              <a:gd name="connsiteY33298" fmla="*/ 2002897 h 4687251"/>
              <a:gd name="connsiteX33299" fmla="*/ 1136061 w 8079933"/>
              <a:gd name="connsiteY33299" fmla="*/ 2004413 h 4687251"/>
              <a:gd name="connsiteX33300" fmla="*/ 1140184 w 8079933"/>
              <a:gd name="connsiteY33300" fmla="*/ 2003222 h 4687251"/>
              <a:gd name="connsiteX33301" fmla="*/ 1144525 w 8079933"/>
              <a:gd name="connsiteY33301" fmla="*/ 2002139 h 4687251"/>
              <a:gd name="connsiteX33302" fmla="*/ 1138556 w 8079933"/>
              <a:gd name="connsiteY33302" fmla="*/ 2001489 h 4687251"/>
              <a:gd name="connsiteX33303" fmla="*/ 1137254 w 8079933"/>
              <a:gd name="connsiteY33303" fmla="*/ 1999758 h 4687251"/>
              <a:gd name="connsiteX33304" fmla="*/ 1133456 w 8079933"/>
              <a:gd name="connsiteY33304" fmla="*/ 1999649 h 4687251"/>
              <a:gd name="connsiteX33305" fmla="*/ 1133022 w 8079933"/>
              <a:gd name="connsiteY33305" fmla="*/ 1997700 h 4687251"/>
              <a:gd name="connsiteX33306" fmla="*/ 1131828 w 8079933"/>
              <a:gd name="connsiteY33306" fmla="*/ 1998675 h 4687251"/>
              <a:gd name="connsiteX33307" fmla="*/ 1128681 w 8079933"/>
              <a:gd name="connsiteY33307" fmla="*/ 1996834 h 4687251"/>
              <a:gd name="connsiteX33308" fmla="*/ 1128464 w 8079933"/>
              <a:gd name="connsiteY33308" fmla="*/ 2002139 h 4687251"/>
              <a:gd name="connsiteX33309" fmla="*/ 1128464 w 8079933"/>
              <a:gd name="connsiteY33309" fmla="*/ 2007336 h 4687251"/>
              <a:gd name="connsiteX33310" fmla="*/ 1127270 w 8079933"/>
              <a:gd name="connsiteY33310" fmla="*/ 2006687 h 4687251"/>
              <a:gd name="connsiteX33311" fmla="*/ 1125426 w 8079933"/>
              <a:gd name="connsiteY33311" fmla="*/ 2006795 h 4687251"/>
              <a:gd name="connsiteX33312" fmla="*/ 1124558 w 8079933"/>
              <a:gd name="connsiteY33312" fmla="*/ 2004413 h 4687251"/>
              <a:gd name="connsiteX33313" fmla="*/ 1119023 w 8079933"/>
              <a:gd name="connsiteY33313" fmla="*/ 1999216 h 4687251"/>
              <a:gd name="connsiteX33314" fmla="*/ 1117829 w 8079933"/>
              <a:gd name="connsiteY33314" fmla="*/ 1995860 h 4687251"/>
              <a:gd name="connsiteX33315" fmla="*/ 1119240 w 8079933"/>
              <a:gd name="connsiteY33315" fmla="*/ 1992828 h 4687251"/>
              <a:gd name="connsiteX33316" fmla="*/ 1118480 w 8079933"/>
              <a:gd name="connsiteY33316" fmla="*/ 1988281 h 4687251"/>
              <a:gd name="connsiteX33317" fmla="*/ 1108497 w 8079933"/>
              <a:gd name="connsiteY33317" fmla="*/ 1972906 h 4687251"/>
              <a:gd name="connsiteX33318" fmla="*/ 1107520 w 8079933"/>
              <a:gd name="connsiteY33318" fmla="*/ 1970199 h 4687251"/>
              <a:gd name="connsiteX33319" fmla="*/ 1108388 w 8079933"/>
              <a:gd name="connsiteY33319" fmla="*/ 1967059 h 4687251"/>
              <a:gd name="connsiteX33320" fmla="*/ 1110450 w 8079933"/>
              <a:gd name="connsiteY33320" fmla="*/ 1963487 h 4687251"/>
              <a:gd name="connsiteX33321" fmla="*/ 1109908 w 8079933"/>
              <a:gd name="connsiteY33321" fmla="*/ 1958722 h 4687251"/>
              <a:gd name="connsiteX33322" fmla="*/ 1107846 w 8079933"/>
              <a:gd name="connsiteY33322" fmla="*/ 1954608 h 4687251"/>
              <a:gd name="connsiteX33323" fmla="*/ 1107846 w 8079933"/>
              <a:gd name="connsiteY33323" fmla="*/ 1952335 h 4687251"/>
              <a:gd name="connsiteX33324" fmla="*/ 1110559 w 8079933"/>
              <a:gd name="connsiteY33324" fmla="*/ 1948004 h 4687251"/>
              <a:gd name="connsiteX33325" fmla="*/ 1111427 w 8079933"/>
              <a:gd name="connsiteY33325" fmla="*/ 1942698 h 4687251"/>
              <a:gd name="connsiteX33326" fmla="*/ 1111101 w 8079933"/>
              <a:gd name="connsiteY33326" fmla="*/ 1933063 h 4687251"/>
              <a:gd name="connsiteX33327" fmla="*/ 1107303 w 8079933"/>
              <a:gd name="connsiteY33327" fmla="*/ 1924292 h 4687251"/>
              <a:gd name="connsiteX33328" fmla="*/ 1103180 w 8079933"/>
              <a:gd name="connsiteY33328" fmla="*/ 1918663 h 4687251"/>
              <a:gd name="connsiteX33329" fmla="*/ 1103180 w 8079933"/>
              <a:gd name="connsiteY33329" fmla="*/ 1913249 h 4687251"/>
              <a:gd name="connsiteX33330" fmla="*/ 1105784 w 8079933"/>
              <a:gd name="connsiteY33330" fmla="*/ 1907835 h 4687251"/>
              <a:gd name="connsiteX33331" fmla="*/ 1112838 w 8079933"/>
              <a:gd name="connsiteY33331" fmla="*/ 1902963 h 4687251"/>
              <a:gd name="connsiteX33332" fmla="*/ 1115225 w 8079933"/>
              <a:gd name="connsiteY33332" fmla="*/ 1896684 h 4687251"/>
              <a:gd name="connsiteX33333" fmla="*/ 1113706 w 8079933"/>
              <a:gd name="connsiteY33333" fmla="*/ 1895601 h 4687251"/>
              <a:gd name="connsiteX33334" fmla="*/ 1112946 w 8079933"/>
              <a:gd name="connsiteY33334" fmla="*/ 1892461 h 4687251"/>
              <a:gd name="connsiteX33335" fmla="*/ 1115551 w 8079933"/>
              <a:gd name="connsiteY33335" fmla="*/ 1889971 h 4687251"/>
              <a:gd name="connsiteX33336" fmla="*/ 1118155 w 8079933"/>
              <a:gd name="connsiteY33336" fmla="*/ 1884557 h 4687251"/>
              <a:gd name="connsiteX33337" fmla="*/ 1119240 w 8079933"/>
              <a:gd name="connsiteY33337" fmla="*/ 1874813 h 4687251"/>
              <a:gd name="connsiteX33338" fmla="*/ 1117504 w 8079933"/>
              <a:gd name="connsiteY33338" fmla="*/ 1868966 h 4687251"/>
              <a:gd name="connsiteX33339" fmla="*/ 1117612 w 8079933"/>
              <a:gd name="connsiteY33339" fmla="*/ 1865177 h 4687251"/>
              <a:gd name="connsiteX33340" fmla="*/ 1119674 w 8079933"/>
              <a:gd name="connsiteY33340" fmla="*/ 1862362 h 4687251"/>
              <a:gd name="connsiteX33341" fmla="*/ 1116419 w 8079933"/>
              <a:gd name="connsiteY33341" fmla="*/ 1857273 h 4687251"/>
              <a:gd name="connsiteX33342" fmla="*/ 1116744 w 8079933"/>
              <a:gd name="connsiteY33342" fmla="*/ 1851102 h 4687251"/>
              <a:gd name="connsiteX33343" fmla="*/ 1119240 w 8079933"/>
              <a:gd name="connsiteY33343" fmla="*/ 1842007 h 4687251"/>
              <a:gd name="connsiteX33344" fmla="*/ 1118480 w 8079933"/>
              <a:gd name="connsiteY33344" fmla="*/ 1832804 h 4687251"/>
              <a:gd name="connsiteX33345" fmla="*/ 1120217 w 8079933"/>
              <a:gd name="connsiteY33345" fmla="*/ 1828689 h 4687251"/>
              <a:gd name="connsiteX33346" fmla="*/ 1126402 w 8079933"/>
              <a:gd name="connsiteY33346" fmla="*/ 1820786 h 4687251"/>
              <a:gd name="connsiteX33347" fmla="*/ 1127813 w 8079933"/>
              <a:gd name="connsiteY33347" fmla="*/ 1815914 h 4687251"/>
              <a:gd name="connsiteX33348" fmla="*/ 1130200 w 8079933"/>
              <a:gd name="connsiteY33348" fmla="*/ 1813532 h 4687251"/>
              <a:gd name="connsiteX33349" fmla="*/ 1133022 w 8079933"/>
              <a:gd name="connsiteY33349" fmla="*/ 1805628 h 4687251"/>
              <a:gd name="connsiteX33350" fmla="*/ 1137471 w 8079933"/>
              <a:gd name="connsiteY33350" fmla="*/ 1800431 h 4687251"/>
              <a:gd name="connsiteX33351" fmla="*/ 1140618 w 8079933"/>
              <a:gd name="connsiteY33351" fmla="*/ 1794260 h 4687251"/>
              <a:gd name="connsiteX33352" fmla="*/ 1142354 w 8079933"/>
              <a:gd name="connsiteY33352" fmla="*/ 1781483 h 4687251"/>
              <a:gd name="connsiteX33353" fmla="*/ 1148214 w 8079933"/>
              <a:gd name="connsiteY33353" fmla="*/ 1770115 h 4687251"/>
              <a:gd name="connsiteX33354" fmla="*/ 1149191 w 8079933"/>
              <a:gd name="connsiteY33354" fmla="*/ 1759504 h 4687251"/>
              <a:gd name="connsiteX33355" fmla="*/ 1155702 w 8079933"/>
              <a:gd name="connsiteY33355" fmla="*/ 1744996 h 4687251"/>
              <a:gd name="connsiteX33356" fmla="*/ 1158197 w 8079933"/>
              <a:gd name="connsiteY33356" fmla="*/ 1739800 h 4687251"/>
              <a:gd name="connsiteX33357" fmla="*/ 1161887 w 8079933"/>
              <a:gd name="connsiteY33357" fmla="*/ 1733303 h 4687251"/>
              <a:gd name="connsiteX33358" fmla="*/ 1161453 w 8079933"/>
              <a:gd name="connsiteY33358" fmla="*/ 1729839 h 4687251"/>
              <a:gd name="connsiteX33359" fmla="*/ 1161453 w 8079933"/>
              <a:gd name="connsiteY33359" fmla="*/ 1726266 h 4687251"/>
              <a:gd name="connsiteX33360" fmla="*/ 1166228 w 8079933"/>
              <a:gd name="connsiteY33360" fmla="*/ 1720094 h 4687251"/>
              <a:gd name="connsiteX33361" fmla="*/ 1166011 w 8079933"/>
              <a:gd name="connsiteY33361" fmla="*/ 1716305 h 4687251"/>
              <a:gd name="connsiteX33362" fmla="*/ 1167638 w 8079933"/>
              <a:gd name="connsiteY33362" fmla="*/ 1715114 h 4687251"/>
              <a:gd name="connsiteX33363" fmla="*/ 1170351 w 8079933"/>
              <a:gd name="connsiteY33363" fmla="*/ 1717171 h 4687251"/>
              <a:gd name="connsiteX33364" fmla="*/ 1178490 w 8079933"/>
              <a:gd name="connsiteY33364" fmla="*/ 1717496 h 4687251"/>
              <a:gd name="connsiteX33365" fmla="*/ 1181963 w 8079933"/>
              <a:gd name="connsiteY33365" fmla="*/ 1719878 h 4687251"/>
              <a:gd name="connsiteX33366" fmla="*/ 1184893 w 8079933"/>
              <a:gd name="connsiteY33366" fmla="*/ 1719445 h 4687251"/>
              <a:gd name="connsiteX33367" fmla="*/ 1189125 w 8079933"/>
              <a:gd name="connsiteY33367" fmla="*/ 1721935 h 4687251"/>
              <a:gd name="connsiteX33368" fmla="*/ 1191404 w 8079933"/>
              <a:gd name="connsiteY33368" fmla="*/ 1727349 h 4687251"/>
              <a:gd name="connsiteX33369" fmla="*/ 1190536 w 8079933"/>
              <a:gd name="connsiteY33369" fmla="*/ 1721502 h 4687251"/>
              <a:gd name="connsiteX33370" fmla="*/ 1188148 w 8079933"/>
              <a:gd name="connsiteY33370" fmla="*/ 1718362 h 4687251"/>
              <a:gd name="connsiteX33371" fmla="*/ 1183157 w 8079933"/>
              <a:gd name="connsiteY33371" fmla="*/ 1717496 h 4687251"/>
              <a:gd name="connsiteX33372" fmla="*/ 1179142 w 8079933"/>
              <a:gd name="connsiteY33372" fmla="*/ 1714247 h 4687251"/>
              <a:gd name="connsiteX33373" fmla="*/ 1172631 w 8079933"/>
              <a:gd name="connsiteY33373" fmla="*/ 1713706 h 4687251"/>
              <a:gd name="connsiteX33374" fmla="*/ 1166011 w 8079933"/>
              <a:gd name="connsiteY33374" fmla="*/ 1711974 h 4687251"/>
              <a:gd name="connsiteX33375" fmla="*/ 1165577 w 8079933"/>
              <a:gd name="connsiteY33375" fmla="*/ 1709376 h 4687251"/>
              <a:gd name="connsiteX33376" fmla="*/ 1167205 w 8079933"/>
              <a:gd name="connsiteY33376" fmla="*/ 1707535 h 4687251"/>
              <a:gd name="connsiteX33377" fmla="*/ 1168833 w 8079933"/>
              <a:gd name="connsiteY33377" fmla="*/ 1708184 h 4687251"/>
              <a:gd name="connsiteX33378" fmla="*/ 1171545 w 8079933"/>
              <a:gd name="connsiteY33378" fmla="*/ 1704937 h 4687251"/>
              <a:gd name="connsiteX33379" fmla="*/ 1171762 w 8079933"/>
              <a:gd name="connsiteY33379" fmla="*/ 1700280 h 4687251"/>
              <a:gd name="connsiteX33380" fmla="*/ 1173173 w 8079933"/>
              <a:gd name="connsiteY33380" fmla="*/ 1696708 h 4687251"/>
              <a:gd name="connsiteX33381" fmla="*/ 1169375 w 8079933"/>
              <a:gd name="connsiteY33381" fmla="*/ 1695192 h 4687251"/>
              <a:gd name="connsiteX33382" fmla="*/ 1167638 w 8079933"/>
              <a:gd name="connsiteY33382" fmla="*/ 1693135 h 4687251"/>
              <a:gd name="connsiteX33383" fmla="*/ 1168833 w 8079933"/>
              <a:gd name="connsiteY33383" fmla="*/ 1689345 h 4687251"/>
              <a:gd name="connsiteX33384" fmla="*/ 1171219 w 8079933"/>
              <a:gd name="connsiteY33384" fmla="*/ 1689345 h 4687251"/>
              <a:gd name="connsiteX33385" fmla="*/ 1173173 w 8079933"/>
              <a:gd name="connsiteY33385" fmla="*/ 1686531 h 4687251"/>
              <a:gd name="connsiteX33386" fmla="*/ 1172739 w 8079933"/>
              <a:gd name="connsiteY33386" fmla="*/ 1684798 h 4687251"/>
              <a:gd name="connsiteX33387" fmla="*/ 1169701 w 8079933"/>
              <a:gd name="connsiteY33387" fmla="*/ 1683932 h 4687251"/>
              <a:gd name="connsiteX33388" fmla="*/ 1169375 w 8079933"/>
              <a:gd name="connsiteY33388" fmla="*/ 1680900 h 4687251"/>
              <a:gd name="connsiteX33389" fmla="*/ 1170351 w 8079933"/>
              <a:gd name="connsiteY33389" fmla="*/ 1674837 h 4687251"/>
              <a:gd name="connsiteX33390" fmla="*/ 1169158 w 8079933"/>
              <a:gd name="connsiteY33390" fmla="*/ 1668666 h 4687251"/>
              <a:gd name="connsiteX33391" fmla="*/ 1171545 w 8079933"/>
              <a:gd name="connsiteY33391" fmla="*/ 1656539 h 4687251"/>
              <a:gd name="connsiteX33392" fmla="*/ 1168941 w 8079933"/>
              <a:gd name="connsiteY33392" fmla="*/ 1647661 h 4687251"/>
              <a:gd name="connsiteX33393" fmla="*/ 1168833 w 8079933"/>
              <a:gd name="connsiteY33393" fmla="*/ 1643438 h 4687251"/>
              <a:gd name="connsiteX33394" fmla="*/ 1172631 w 8079933"/>
              <a:gd name="connsiteY33394" fmla="*/ 1634669 h 4687251"/>
              <a:gd name="connsiteX33395" fmla="*/ 1173281 w 8079933"/>
              <a:gd name="connsiteY33395" fmla="*/ 1629797 h 4687251"/>
              <a:gd name="connsiteX33396" fmla="*/ 1175017 w 8079933"/>
              <a:gd name="connsiteY33396" fmla="*/ 1629364 h 4687251"/>
              <a:gd name="connsiteX33397" fmla="*/ 1186086 w 8079933"/>
              <a:gd name="connsiteY33397" fmla="*/ 1638999 h 4687251"/>
              <a:gd name="connsiteX33398" fmla="*/ 1191946 w 8079933"/>
              <a:gd name="connsiteY33398" fmla="*/ 1642681 h 4687251"/>
              <a:gd name="connsiteX33399" fmla="*/ 1202581 w 8079933"/>
              <a:gd name="connsiteY33399" fmla="*/ 1643438 h 4687251"/>
              <a:gd name="connsiteX33400" fmla="*/ 1206379 w 8079933"/>
              <a:gd name="connsiteY33400" fmla="*/ 1645279 h 4687251"/>
              <a:gd name="connsiteX33401" fmla="*/ 1208658 w 8079933"/>
              <a:gd name="connsiteY33401" fmla="*/ 1649610 h 4687251"/>
              <a:gd name="connsiteX33402" fmla="*/ 1210828 w 8079933"/>
              <a:gd name="connsiteY33402" fmla="*/ 1648527 h 4687251"/>
              <a:gd name="connsiteX33403" fmla="*/ 1213107 w 8079933"/>
              <a:gd name="connsiteY33403" fmla="*/ 1648744 h 4687251"/>
              <a:gd name="connsiteX33404" fmla="*/ 1214626 w 8079933"/>
              <a:gd name="connsiteY33404" fmla="*/ 1651668 h 4687251"/>
              <a:gd name="connsiteX33405" fmla="*/ 1213324 w 8079933"/>
              <a:gd name="connsiteY33405" fmla="*/ 1654374 h 4687251"/>
              <a:gd name="connsiteX33406" fmla="*/ 1208224 w 8079933"/>
              <a:gd name="connsiteY33406" fmla="*/ 1656323 h 4687251"/>
              <a:gd name="connsiteX33407" fmla="*/ 1203775 w 8079933"/>
              <a:gd name="connsiteY33407" fmla="*/ 1660762 h 4687251"/>
              <a:gd name="connsiteX33408" fmla="*/ 1203666 w 8079933"/>
              <a:gd name="connsiteY33408" fmla="*/ 1663144 h 4687251"/>
              <a:gd name="connsiteX33409" fmla="*/ 1207464 w 8079933"/>
              <a:gd name="connsiteY33409" fmla="*/ 1663144 h 4687251"/>
              <a:gd name="connsiteX33410" fmla="*/ 1209092 w 8079933"/>
              <a:gd name="connsiteY33410" fmla="*/ 1660221 h 4687251"/>
              <a:gd name="connsiteX33411" fmla="*/ 1214084 w 8079933"/>
              <a:gd name="connsiteY33411" fmla="*/ 1656106 h 4687251"/>
              <a:gd name="connsiteX33412" fmla="*/ 1216580 w 8079933"/>
              <a:gd name="connsiteY33412" fmla="*/ 1655565 h 4687251"/>
              <a:gd name="connsiteX33413" fmla="*/ 1217014 w 8079933"/>
              <a:gd name="connsiteY33413" fmla="*/ 1659354 h 4687251"/>
              <a:gd name="connsiteX33414" fmla="*/ 1213432 w 8079933"/>
              <a:gd name="connsiteY33414" fmla="*/ 1662494 h 4687251"/>
              <a:gd name="connsiteX33415" fmla="*/ 1210719 w 8079933"/>
              <a:gd name="connsiteY33415" fmla="*/ 1668125 h 4687251"/>
              <a:gd name="connsiteX33416" fmla="*/ 1210503 w 8079933"/>
              <a:gd name="connsiteY33416" fmla="*/ 1673971 h 4687251"/>
              <a:gd name="connsiteX33417" fmla="*/ 1208983 w 8079933"/>
              <a:gd name="connsiteY33417" fmla="*/ 1675703 h 4687251"/>
              <a:gd name="connsiteX33418" fmla="*/ 1208224 w 8079933"/>
              <a:gd name="connsiteY33418" fmla="*/ 1672131 h 4687251"/>
              <a:gd name="connsiteX33419" fmla="*/ 1205185 w 8079933"/>
              <a:gd name="connsiteY33419" fmla="*/ 1674729 h 4687251"/>
              <a:gd name="connsiteX33420" fmla="*/ 1204100 w 8079933"/>
              <a:gd name="connsiteY33420" fmla="*/ 1672780 h 4687251"/>
              <a:gd name="connsiteX33421" fmla="*/ 1200737 w 8079933"/>
              <a:gd name="connsiteY33421" fmla="*/ 1677111 h 4687251"/>
              <a:gd name="connsiteX33422" fmla="*/ 1202038 w 8079933"/>
              <a:gd name="connsiteY33422" fmla="*/ 1679493 h 4687251"/>
              <a:gd name="connsiteX33423" fmla="*/ 1206053 w 8079933"/>
              <a:gd name="connsiteY33423" fmla="*/ 1681550 h 4687251"/>
              <a:gd name="connsiteX33424" fmla="*/ 1211154 w 8079933"/>
              <a:gd name="connsiteY33424" fmla="*/ 1678193 h 4687251"/>
              <a:gd name="connsiteX33425" fmla="*/ 1212782 w 8079933"/>
              <a:gd name="connsiteY33425" fmla="*/ 1673971 h 4687251"/>
              <a:gd name="connsiteX33426" fmla="*/ 1215386 w 8079933"/>
              <a:gd name="connsiteY33426" fmla="*/ 1671048 h 4687251"/>
              <a:gd name="connsiteX33427" fmla="*/ 1215494 w 8079933"/>
              <a:gd name="connsiteY33427" fmla="*/ 1665742 h 4687251"/>
              <a:gd name="connsiteX33428" fmla="*/ 1218316 w 8079933"/>
              <a:gd name="connsiteY33428" fmla="*/ 1663360 h 4687251"/>
              <a:gd name="connsiteX33429" fmla="*/ 1219618 w 8079933"/>
              <a:gd name="connsiteY33429" fmla="*/ 1657297 h 4687251"/>
              <a:gd name="connsiteX33430" fmla="*/ 1223633 w 8079933"/>
              <a:gd name="connsiteY33430" fmla="*/ 1654807 h 4687251"/>
              <a:gd name="connsiteX33431" fmla="*/ 1227540 w 8079933"/>
              <a:gd name="connsiteY33431" fmla="*/ 1649935 h 4687251"/>
              <a:gd name="connsiteX33432" fmla="*/ 1225370 w 8079933"/>
              <a:gd name="connsiteY33432" fmla="*/ 1647228 h 4687251"/>
              <a:gd name="connsiteX33433" fmla="*/ 1224935 w 8079933"/>
              <a:gd name="connsiteY33433" fmla="*/ 1643872 h 4687251"/>
              <a:gd name="connsiteX33434" fmla="*/ 1223416 w 8079933"/>
              <a:gd name="connsiteY33434" fmla="*/ 1642572 h 4687251"/>
              <a:gd name="connsiteX33435" fmla="*/ 1226238 w 8079933"/>
              <a:gd name="connsiteY33435" fmla="*/ 1638783 h 4687251"/>
              <a:gd name="connsiteX33436" fmla="*/ 1227757 w 8079933"/>
              <a:gd name="connsiteY33436" fmla="*/ 1636834 h 4687251"/>
              <a:gd name="connsiteX33437" fmla="*/ 1224285 w 8079933"/>
              <a:gd name="connsiteY33437" fmla="*/ 1634452 h 4687251"/>
              <a:gd name="connsiteX33438" fmla="*/ 1223633 w 8079933"/>
              <a:gd name="connsiteY33438" fmla="*/ 1630554 h 4687251"/>
              <a:gd name="connsiteX33439" fmla="*/ 1227757 w 8079933"/>
              <a:gd name="connsiteY33439" fmla="*/ 1627414 h 4687251"/>
              <a:gd name="connsiteX33440" fmla="*/ 1228299 w 8079933"/>
              <a:gd name="connsiteY33440" fmla="*/ 1624166 h 4687251"/>
              <a:gd name="connsiteX33441" fmla="*/ 1223091 w 8079933"/>
              <a:gd name="connsiteY33441" fmla="*/ 1620377 h 4687251"/>
              <a:gd name="connsiteX33442" fmla="*/ 1221246 w 8079933"/>
              <a:gd name="connsiteY33442" fmla="*/ 1611933 h 4687251"/>
              <a:gd name="connsiteX33443" fmla="*/ 1221245 w 8079933"/>
              <a:gd name="connsiteY33443" fmla="*/ 1611932 h 4687251"/>
              <a:gd name="connsiteX33444" fmla="*/ 1221245 w 8079933"/>
              <a:gd name="connsiteY33444" fmla="*/ 1611824 h 4687251"/>
              <a:gd name="connsiteX33445" fmla="*/ 1217556 w 8079933"/>
              <a:gd name="connsiteY33445" fmla="*/ 1611066 h 4687251"/>
              <a:gd name="connsiteX33446" fmla="*/ 1216036 w 8079933"/>
              <a:gd name="connsiteY33446" fmla="*/ 1603054 h 4687251"/>
              <a:gd name="connsiteX33447" fmla="*/ 1220486 w 8079933"/>
              <a:gd name="connsiteY33447" fmla="*/ 1593418 h 4687251"/>
              <a:gd name="connsiteX33448" fmla="*/ 1221897 w 8079933"/>
              <a:gd name="connsiteY33448" fmla="*/ 1587355 h 4687251"/>
              <a:gd name="connsiteX33449" fmla="*/ 1218966 w 8079933"/>
              <a:gd name="connsiteY33449" fmla="*/ 1590170 h 4687251"/>
              <a:gd name="connsiteX33450" fmla="*/ 1213432 w 8079933"/>
              <a:gd name="connsiteY33450" fmla="*/ 1592010 h 4687251"/>
              <a:gd name="connsiteX33451" fmla="*/ 1207572 w 8079933"/>
              <a:gd name="connsiteY33451" fmla="*/ 1595259 h 4687251"/>
              <a:gd name="connsiteX33452" fmla="*/ 1203232 w 8079933"/>
              <a:gd name="connsiteY33452" fmla="*/ 1589087 h 4687251"/>
              <a:gd name="connsiteX33453" fmla="*/ 1203449 w 8079933"/>
              <a:gd name="connsiteY33453" fmla="*/ 1584324 h 4687251"/>
              <a:gd name="connsiteX33454" fmla="*/ 1206053 w 8079933"/>
              <a:gd name="connsiteY33454" fmla="*/ 1584757 h 4687251"/>
              <a:gd name="connsiteX33455" fmla="*/ 1207789 w 8079933"/>
              <a:gd name="connsiteY33455" fmla="*/ 1588763 h 4687251"/>
              <a:gd name="connsiteX33456" fmla="*/ 1209960 w 8079933"/>
              <a:gd name="connsiteY33456" fmla="*/ 1589304 h 4687251"/>
              <a:gd name="connsiteX33457" fmla="*/ 1210393 w 8079933"/>
              <a:gd name="connsiteY33457" fmla="*/ 1586489 h 4687251"/>
              <a:gd name="connsiteX33458" fmla="*/ 1208115 w 8079933"/>
              <a:gd name="connsiteY33458" fmla="*/ 1582591 h 4687251"/>
              <a:gd name="connsiteX33459" fmla="*/ 1206921 w 8079933"/>
              <a:gd name="connsiteY33459" fmla="*/ 1578585 h 4687251"/>
              <a:gd name="connsiteX33460" fmla="*/ 1203449 w 8079933"/>
              <a:gd name="connsiteY33460" fmla="*/ 1578585 h 4687251"/>
              <a:gd name="connsiteX33461" fmla="*/ 1200302 w 8079933"/>
              <a:gd name="connsiteY33461" fmla="*/ 1580642 h 4687251"/>
              <a:gd name="connsiteX33462" fmla="*/ 1195310 w 8079933"/>
              <a:gd name="connsiteY33462" fmla="*/ 1578261 h 4687251"/>
              <a:gd name="connsiteX33463" fmla="*/ 1191946 w 8079933"/>
              <a:gd name="connsiteY33463" fmla="*/ 1572089 h 4687251"/>
              <a:gd name="connsiteX33464" fmla="*/ 1192055 w 8079933"/>
              <a:gd name="connsiteY33464" fmla="*/ 1569816 h 4687251"/>
              <a:gd name="connsiteX33465" fmla="*/ 1198131 w 8079933"/>
              <a:gd name="connsiteY33465" fmla="*/ 1565701 h 4687251"/>
              <a:gd name="connsiteX33466" fmla="*/ 1200736 w 8079933"/>
              <a:gd name="connsiteY33466" fmla="*/ 1560071 h 4687251"/>
              <a:gd name="connsiteX33467" fmla="*/ 1203774 w 8079933"/>
              <a:gd name="connsiteY33467" fmla="*/ 1556931 h 4687251"/>
              <a:gd name="connsiteX33468" fmla="*/ 1202472 w 8079933"/>
              <a:gd name="connsiteY33468" fmla="*/ 1555523 h 4687251"/>
              <a:gd name="connsiteX33469" fmla="*/ 1197914 w 8079933"/>
              <a:gd name="connsiteY33469" fmla="*/ 1556931 h 4687251"/>
              <a:gd name="connsiteX33470" fmla="*/ 1192814 w 8079933"/>
              <a:gd name="connsiteY33470" fmla="*/ 1556931 h 4687251"/>
              <a:gd name="connsiteX33471" fmla="*/ 1191512 w 8079933"/>
              <a:gd name="connsiteY33471" fmla="*/ 1555090 h 4687251"/>
              <a:gd name="connsiteX33472" fmla="*/ 1194984 w 8079933"/>
              <a:gd name="connsiteY33472" fmla="*/ 1551409 h 4687251"/>
              <a:gd name="connsiteX33473" fmla="*/ 1199108 w 8079933"/>
              <a:gd name="connsiteY33473" fmla="*/ 1545129 h 4687251"/>
              <a:gd name="connsiteX33474" fmla="*/ 1199325 w 8079933"/>
              <a:gd name="connsiteY33474" fmla="*/ 1538417 h 4687251"/>
              <a:gd name="connsiteX33475" fmla="*/ 1201170 w 8079933"/>
              <a:gd name="connsiteY33475" fmla="*/ 1535927 h 4687251"/>
              <a:gd name="connsiteX33476" fmla="*/ 1201170 w 8079933"/>
              <a:gd name="connsiteY33476" fmla="*/ 1533112 h 4687251"/>
              <a:gd name="connsiteX33477" fmla="*/ 1198239 w 8079933"/>
              <a:gd name="connsiteY33477" fmla="*/ 1533869 h 4687251"/>
              <a:gd name="connsiteX33478" fmla="*/ 1196395 w 8079933"/>
              <a:gd name="connsiteY33478" fmla="*/ 1537875 h 4687251"/>
              <a:gd name="connsiteX33479" fmla="*/ 1195744 w 8079933"/>
              <a:gd name="connsiteY33479" fmla="*/ 1546212 h 4687251"/>
              <a:gd name="connsiteX33480" fmla="*/ 1190535 w 8079933"/>
              <a:gd name="connsiteY33480" fmla="*/ 1553358 h 4687251"/>
              <a:gd name="connsiteX33481" fmla="*/ 1187605 w 8079933"/>
              <a:gd name="connsiteY33481" fmla="*/ 1553900 h 4687251"/>
              <a:gd name="connsiteX33482" fmla="*/ 1184784 w 8079933"/>
              <a:gd name="connsiteY33482" fmla="*/ 1551951 h 4687251"/>
              <a:gd name="connsiteX33483" fmla="*/ 1182179 w 8079933"/>
              <a:gd name="connsiteY33483" fmla="*/ 1550976 h 4687251"/>
              <a:gd name="connsiteX33484" fmla="*/ 1182179 w 8079933"/>
              <a:gd name="connsiteY33484" fmla="*/ 1548594 h 4687251"/>
              <a:gd name="connsiteX33485" fmla="*/ 1183699 w 8079933"/>
              <a:gd name="connsiteY33485" fmla="*/ 1546537 h 4687251"/>
              <a:gd name="connsiteX33486" fmla="*/ 1183699 w 8079933"/>
              <a:gd name="connsiteY33486" fmla="*/ 1544372 h 4687251"/>
              <a:gd name="connsiteX33487" fmla="*/ 1179901 w 8079933"/>
              <a:gd name="connsiteY33487" fmla="*/ 1546862 h 4687251"/>
              <a:gd name="connsiteX33488" fmla="*/ 1177730 w 8079933"/>
              <a:gd name="connsiteY33488" fmla="*/ 1549785 h 4687251"/>
              <a:gd name="connsiteX33489" fmla="*/ 1176211 w 8079933"/>
              <a:gd name="connsiteY33489" fmla="*/ 1549894 h 4687251"/>
              <a:gd name="connsiteX33490" fmla="*/ 1175018 w 8079933"/>
              <a:gd name="connsiteY33490" fmla="*/ 1547186 h 4687251"/>
              <a:gd name="connsiteX33491" fmla="*/ 1172413 w 8079933"/>
              <a:gd name="connsiteY33491" fmla="*/ 1547945 h 4687251"/>
              <a:gd name="connsiteX33492" fmla="*/ 1169917 w 8079933"/>
              <a:gd name="connsiteY33492" fmla="*/ 1550002 h 4687251"/>
              <a:gd name="connsiteX33493" fmla="*/ 1166662 w 8079933"/>
              <a:gd name="connsiteY33493" fmla="*/ 1548161 h 4687251"/>
              <a:gd name="connsiteX33494" fmla="*/ 1166553 w 8079933"/>
              <a:gd name="connsiteY33494" fmla="*/ 1546429 h 4687251"/>
              <a:gd name="connsiteX33495" fmla="*/ 1169917 w 8079933"/>
              <a:gd name="connsiteY33495" fmla="*/ 1542747 h 4687251"/>
              <a:gd name="connsiteX33496" fmla="*/ 1173823 w 8079933"/>
              <a:gd name="connsiteY33496" fmla="*/ 1542531 h 4687251"/>
              <a:gd name="connsiteX33497" fmla="*/ 1179466 w 8079933"/>
              <a:gd name="connsiteY33497" fmla="*/ 1541015 h 4687251"/>
              <a:gd name="connsiteX33498" fmla="*/ 1185760 w 8079933"/>
              <a:gd name="connsiteY33498" fmla="*/ 1536468 h 4687251"/>
              <a:gd name="connsiteX33499" fmla="*/ 1187930 w 8079933"/>
              <a:gd name="connsiteY33499" fmla="*/ 1532029 h 4687251"/>
              <a:gd name="connsiteX33500" fmla="*/ 1187822 w 8079933"/>
              <a:gd name="connsiteY33500" fmla="*/ 1527048 h 4687251"/>
              <a:gd name="connsiteX33501" fmla="*/ 1187062 w 8079933"/>
              <a:gd name="connsiteY33501" fmla="*/ 1531162 h 4687251"/>
              <a:gd name="connsiteX33502" fmla="*/ 1182830 w 8079933"/>
              <a:gd name="connsiteY33502" fmla="*/ 1534086 h 4687251"/>
              <a:gd name="connsiteX33503" fmla="*/ 1180009 w 8079933"/>
              <a:gd name="connsiteY33503" fmla="*/ 1539066 h 4687251"/>
              <a:gd name="connsiteX33504" fmla="*/ 1177404 w 8079933"/>
              <a:gd name="connsiteY33504" fmla="*/ 1540798 h 4687251"/>
              <a:gd name="connsiteX33505" fmla="*/ 1170893 w 8079933"/>
              <a:gd name="connsiteY33505" fmla="*/ 1538525 h 4687251"/>
              <a:gd name="connsiteX33506" fmla="*/ 1169483 w 8079933"/>
              <a:gd name="connsiteY33506" fmla="*/ 1535168 h 4687251"/>
              <a:gd name="connsiteX33507" fmla="*/ 1165359 w 8079933"/>
              <a:gd name="connsiteY33507" fmla="*/ 1534735 h 4687251"/>
              <a:gd name="connsiteX33508" fmla="*/ 1165359 w 8079933"/>
              <a:gd name="connsiteY33508" fmla="*/ 1533112 h 4687251"/>
              <a:gd name="connsiteX33509" fmla="*/ 1168832 w 8079933"/>
              <a:gd name="connsiteY33509" fmla="*/ 1531704 h 4687251"/>
              <a:gd name="connsiteX33510" fmla="*/ 1166879 w 8079933"/>
              <a:gd name="connsiteY33510" fmla="*/ 1529972 h 4687251"/>
              <a:gd name="connsiteX33511" fmla="*/ 1160910 w 8079933"/>
              <a:gd name="connsiteY33511" fmla="*/ 1531162 h 4687251"/>
              <a:gd name="connsiteX33512" fmla="*/ 1157112 w 8079933"/>
              <a:gd name="connsiteY33512" fmla="*/ 1529105 h 4687251"/>
              <a:gd name="connsiteX33513" fmla="*/ 1153856 w 8079933"/>
              <a:gd name="connsiteY33513" fmla="*/ 1529430 h 4687251"/>
              <a:gd name="connsiteX33514" fmla="*/ 1152988 w 8079933"/>
              <a:gd name="connsiteY33514" fmla="*/ 1533112 h 4687251"/>
              <a:gd name="connsiteX33515" fmla="*/ 1147454 w 8079933"/>
              <a:gd name="connsiteY33515" fmla="*/ 1529322 h 4687251"/>
              <a:gd name="connsiteX33516" fmla="*/ 1145175 w 8079933"/>
              <a:gd name="connsiteY33516" fmla="*/ 1524666 h 4687251"/>
              <a:gd name="connsiteX33517" fmla="*/ 1146912 w 8079933"/>
              <a:gd name="connsiteY33517" fmla="*/ 1522934 h 4687251"/>
              <a:gd name="connsiteX33518" fmla="*/ 1149842 w 8079933"/>
              <a:gd name="connsiteY33518" fmla="*/ 1525100 h 4687251"/>
              <a:gd name="connsiteX33519" fmla="*/ 1155376 w 8079933"/>
              <a:gd name="connsiteY33519" fmla="*/ 1526507 h 4687251"/>
              <a:gd name="connsiteX33520" fmla="*/ 1160910 w 8079933"/>
              <a:gd name="connsiteY33520" fmla="*/ 1525533 h 4687251"/>
              <a:gd name="connsiteX33521" fmla="*/ 1161236 w 8079933"/>
              <a:gd name="connsiteY33521" fmla="*/ 1523150 h 4687251"/>
              <a:gd name="connsiteX33522" fmla="*/ 1158631 w 8079933"/>
              <a:gd name="connsiteY33522" fmla="*/ 1523476 h 4687251"/>
              <a:gd name="connsiteX33523" fmla="*/ 1152228 w 8079933"/>
              <a:gd name="connsiteY33523" fmla="*/ 1523259 h 4687251"/>
              <a:gd name="connsiteX33524" fmla="*/ 1150710 w 8079933"/>
              <a:gd name="connsiteY33524" fmla="*/ 1522068 h 4687251"/>
              <a:gd name="connsiteX33525" fmla="*/ 1151578 w 8079933"/>
              <a:gd name="connsiteY33525" fmla="*/ 1520877 h 4687251"/>
              <a:gd name="connsiteX33526" fmla="*/ 1155701 w 8079933"/>
              <a:gd name="connsiteY33526" fmla="*/ 1521851 h 4687251"/>
              <a:gd name="connsiteX33527" fmla="*/ 1160367 w 8079933"/>
              <a:gd name="connsiteY33527" fmla="*/ 1520877 h 4687251"/>
              <a:gd name="connsiteX33528" fmla="*/ 1161127 w 8079933"/>
              <a:gd name="connsiteY33528" fmla="*/ 1518819 h 4687251"/>
              <a:gd name="connsiteX33529" fmla="*/ 1155050 w 8079933"/>
              <a:gd name="connsiteY33529" fmla="*/ 1518928 h 4687251"/>
              <a:gd name="connsiteX33530" fmla="*/ 1151903 w 8079933"/>
              <a:gd name="connsiteY33530" fmla="*/ 1517087 h 4687251"/>
              <a:gd name="connsiteX33531" fmla="*/ 1146803 w 8079933"/>
              <a:gd name="connsiteY33531" fmla="*/ 1518278 h 4687251"/>
              <a:gd name="connsiteX33532" fmla="*/ 1143547 w 8079933"/>
              <a:gd name="connsiteY33532" fmla="*/ 1518278 h 4687251"/>
              <a:gd name="connsiteX33533" fmla="*/ 1141269 w 8079933"/>
              <a:gd name="connsiteY33533" fmla="*/ 1516438 h 4687251"/>
              <a:gd name="connsiteX33534" fmla="*/ 1142246 w 8079933"/>
              <a:gd name="connsiteY33534" fmla="*/ 1512215 h 4687251"/>
              <a:gd name="connsiteX33535" fmla="*/ 1146586 w 8079933"/>
              <a:gd name="connsiteY33535" fmla="*/ 1511241 h 4687251"/>
              <a:gd name="connsiteX33536" fmla="*/ 1149516 w 8079933"/>
              <a:gd name="connsiteY33536" fmla="*/ 1513298 h 4687251"/>
              <a:gd name="connsiteX33537" fmla="*/ 1154182 w 8079933"/>
              <a:gd name="connsiteY33537" fmla="*/ 1513623 h 4687251"/>
              <a:gd name="connsiteX33538" fmla="*/ 1156895 w 8079933"/>
              <a:gd name="connsiteY33538" fmla="*/ 1511025 h 4687251"/>
              <a:gd name="connsiteX33539" fmla="*/ 1152228 w 8079933"/>
              <a:gd name="connsiteY33539" fmla="*/ 1511025 h 4687251"/>
              <a:gd name="connsiteX33540" fmla="*/ 1148865 w 8079933"/>
              <a:gd name="connsiteY33540" fmla="*/ 1509184 h 4687251"/>
              <a:gd name="connsiteX33541" fmla="*/ 1143114 w 8079933"/>
              <a:gd name="connsiteY33541" fmla="*/ 1508967 h 4687251"/>
              <a:gd name="connsiteX33542" fmla="*/ 1143656 w 8079933"/>
              <a:gd name="connsiteY33542" fmla="*/ 1507235 h 4687251"/>
              <a:gd name="connsiteX33543" fmla="*/ 1150384 w 8079933"/>
              <a:gd name="connsiteY33543" fmla="*/ 1505503 h 4687251"/>
              <a:gd name="connsiteX33544" fmla="*/ 1152988 w 8079933"/>
              <a:gd name="connsiteY33544" fmla="*/ 1506801 h 4687251"/>
              <a:gd name="connsiteX33545" fmla="*/ 1155918 w 8079933"/>
              <a:gd name="connsiteY33545" fmla="*/ 1505935 h 4687251"/>
              <a:gd name="connsiteX33546" fmla="*/ 1155050 w 8079933"/>
              <a:gd name="connsiteY33546" fmla="*/ 1503662 h 4687251"/>
              <a:gd name="connsiteX33547" fmla="*/ 1155050 w 8079933"/>
              <a:gd name="connsiteY33547" fmla="*/ 1501280 h 4687251"/>
              <a:gd name="connsiteX33548" fmla="*/ 1157763 w 8079933"/>
              <a:gd name="connsiteY33548" fmla="*/ 1498681 h 4687251"/>
              <a:gd name="connsiteX33549" fmla="*/ 1163840 w 8079933"/>
              <a:gd name="connsiteY33549" fmla="*/ 1498681 h 4687251"/>
              <a:gd name="connsiteX33550" fmla="*/ 1167963 w 8079933"/>
              <a:gd name="connsiteY33550" fmla="*/ 1499548 h 4687251"/>
              <a:gd name="connsiteX33551" fmla="*/ 1169375 w 8079933"/>
              <a:gd name="connsiteY33551" fmla="*/ 1498140 h 4687251"/>
              <a:gd name="connsiteX33552" fmla="*/ 1161887 w 8079933"/>
              <a:gd name="connsiteY33552" fmla="*/ 1497166 h 4687251"/>
              <a:gd name="connsiteX33553" fmla="*/ 1159716 w 8079933"/>
              <a:gd name="connsiteY33553" fmla="*/ 1494784 h 4687251"/>
              <a:gd name="connsiteX33554" fmla="*/ 1157438 w 8079933"/>
              <a:gd name="connsiteY33554" fmla="*/ 1494026 h 4687251"/>
              <a:gd name="connsiteX33555" fmla="*/ 1155050 w 8079933"/>
              <a:gd name="connsiteY33555" fmla="*/ 1497815 h 4687251"/>
              <a:gd name="connsiteX33556" fmla="*/ 1150710 w 8079933"/>
              <a:gd name="connsiteY33556" fmla="*/ 1499872 h 4687251"/>
              <a:gd name="connsiteX33557" fmla="*/ 1147562 w 8079933"/>
              <a:gd name="connsiteY33557" fmla="*/ 1502146 h 4687251"/>
              <a:gd name="connsiteX33558" fmla="*/ 1146044 w 8079933"/>
              <a:gd name="connsiteY33558" fmla="*/ 1500739 h 4687251"/>
              <a:gd name="connsiteX33559" fmla="*/ 1146369 w 8079933"/>
              <a:gd name="connsiteY33559" fmla="*/ 1497274 h 4687251"/>
              <a:gd name="connsiteX33560" fmla="*/ 1145718 w 8079933"/>
              <a:gd name="connsiteY33560" fmla="*/ 1493809 h 4687251"/>
              <a:gd name="connsiteX33561" fmla="*/ 1147454 w 8079933"/>
              <a:gd name="connsiteY33561" fmla="*/ 1490128 h 4687251"/>
              <a:gd name="connsiteX33562" fmla="*/ 1153531 w 8079933"/>
              <a:gd name="connsiteY33562" fmla="*/ 1487097 h 4687251"/>
              <a:gd name="connsiteX33563" fmla="*/ 1156027 w 8079933"/>
              <a:gd name="connsiteY33563" fmla="*/ 1483956 h 4687251"/>
              <a:gd name="connsiteX33564" fmla="*/ 1167095 w 8079933"/>
              <a:gd name="connsiteY33564" fmla="*/ 1475836 h 4687251"/>
              <a:gd name="connsiteX33565" fmla="*/ 1170568 w 8079933"/>
              <a:gd name="connsiteY33565" fmla="*/ 1474104 h 4687251"/>
              <a:gd name="connsiteX33566" fmla="*/ 1172413 w 8079933"/>
              <a:gd name="connsiteY33566" fmla="*/ 1477027 h 4687251"/>
              <a:gd name="connsiteX33567" fmla="*/ 1172630 w 8079933"/>
              <a:gd name="connsiteY33567" fmla="*/ 1483523 h 4687251"/>
              <a:gd name="connsiteX33568" fmla="*/ 1175234 w 8079933"/>
              <a:gd name="connsiteY33568" fmla="*/ 1487313 h 4687251"/>
              <a:gd name="connsiteX33569" fmla="*/ 1176753 w 8079933"/>
              <a:gd name="connsiteY33569" fmla="*/ 1486122 h 4687251"/>
              <a:gd name="connsiteX33570" fmla="*/ 1175234 w 8079933"/>
              <a:gd name="connsiteY33570" fmla="*/ 1480275 h 4687251"/>
              <a:gd name="connsiteX33571" fmla="*/ 1175234 w 8079933"/>
              <a:gd name="connsiteY33571" fmla="*/ 1473454 h 4687251"/>
              <a:gd name="connsiteX33572" fmla="*/ 1179684 w 8079933"/>
              <a:gd name="connsiteY33572" fmla="*/ 1471505 h 4687251"/>
              <a:gd name="connsiteX33573" fmla="*/ 1185000 w 8079933"/>
              <a:gd name="connsiteY33573" fmla="*/ 1471505 h 4687251"/>
              <a:gd name="connsiteX33574" fmla="*/ 1180660 w 8079933"/>
              <a:gd name="connsiteY33574" fmla="*/ 1470098 h 4687251"/>
              <a:gd name="connsiteX33575" fmla="*/ 1175234 w 8079933"/>
              <a:gd name="connsiteY33575" fmla="*/ 1470098 h 4687251"/>
              <a:gd name="connsiteX33576" fmla="*/ 1171978 w 8079933"/>
              <a:gd name="connsiteY33576" fmla="*/ 1471181 h 4687251"/>
              <a:gd name="connsiteX33577" fmla="*/ 1169700 w 8079933"/>
              <a:gd name="connsiteY33577" fmla="*/ 1468474 h 4687251"/>
              <a:gd name="connsiteX33578" fmla="*/ 1170893 w 8079933"/>
              <a:gd name="connsiteY33578" fmla="*/ 1465334 h 4687251"/>
              <a:gd name="connsiteX33579" fmla="*/ 1175668 w 8079933"/>
              <a:gd name="connsiteY33579" fmla="*/ 1463385 h 4687251"/>
              <a:gd name="connsiteX33580" fmla="*/ 1180552 w 8079933"/>
              <a:gd name="connsiteY33580" fmla="*/ 1460029 h 4687251"/>
              <a:gd name="connsiteX33581" fmla="*/ 1184132 w 8079933"/>
              <a:gd name="connsiteY33581" fmla="*/ 1453965 h 4687251"/>
              <a:gd name="connsiteX33582" fmla="*/ 1182939 w 8079933"/>
              <a:gd name="connsiteY33582" fmla="*/ 1450501 h 4687251"/>
              <a:gd name="connsiteX33583" fmla="*/ 1181420 w 8079933"/>
              <a:gd name="connsiteY33583" fmla="*/ 1451367 h 4687251"/>
              <a:gd name="connsiteX33584" fmla="*/ 1180226 w 8079933"/>
              <a:gd name="connsiteY33584" fmla="*/ 1455481 h 4687251"/>
              <a:gd name="connsiteX33585" fmla="*/ 1176211 w 8079933"/>
              <a:gd name="connsiteY33585" fmla="*/ 1459163 h 4687251"/>
              <a:gd name="connsiteX33586" fmla="*/ 1171436 w 8079933"/>
              <a:gd name="connsiteY33586" fmla="*/ 1459487 h 4687251"/>
              <a:gd name="connsiteX33587" fmla="*/ 1166879 w 8079933"/>
              <a:gd name="connsiteY33587" fmla="*/ 1465442 h 4687251"/>
              <a:gd name="connsiteX33588" fmla="*/ 1160259 w 8079933"/>
              <a:gd name="connsiteY33588" fmla="*/ 1470423 h 4687251"/>
              <a:gd name="connsiteX33589" fmla="*/ 1153531 w 8079933"/>
              <a:gd name="connsiteY33589" fmla="*/ 1472913 h 4687251"/>
              <a:gd name="connsiteX33590" fmla="*/ 1150167 w 8079933"/>
              <a:gd name="connsiteY33590" fmla="*/ 1468799 h 4687251"/>
              <a:gd name="connsiteX33591" fmla="*/ 1151252 w 8079933"/>
              <a:gd name="connsiteY33591" fmla="*/ 1466525 h 4687251"/>
              <a:gd name="connsiteX33592" fmla="*/ 1155050 w 8079933"/>
              <a:gd name="connsiteY33592" fmla="*/ 1465442 h 4687251"/>
              <a:gd name="connsiteX33593" fmla="*/ 1151469 w 8079933"/>
              <a:gd name="connsiteY33593" fmla="*/ 1464685 h 4687251"/>
              <a:gd name="connsiteX33594" fmla="*/ 1144741 w 8079933"/>
              <a:gd name="connsiteY33594" fmla="*/ 1467066 h 4687251"/>
              <a:gd name="connsiteX33595" fmla="*/ 1142246 w 8079933"/>
              <a:gd name="connsiteY33595" fmla="*/ 1464793 h 4687251"/>
              <a:gd name="connsiteX33596" fmla="*/ 1143331 w 8079933"/>
              <a:gd name="connsiteY33596" fmla="*/ 1462627 h 4687251"/>
              <a:gd name="connsiteX33597" fmla="*/ 1149190 w 8079933"/>
              <a:gd name="connsiteY33597" fmla="*/ 1458621 h 4687251"/>
              <a:gd name="connsiteX33598" fmla="*/ 1153097 w 8079933"/>
              <a:gd name="connsiteY33598" fmla="*/ 1456781 h 4687251"/>
              <a:gd name="connsiteX33599" fmla="*/ 1157112 w 8079933"/>
              <a:gd name="connsiteY33599" fmla="*/ 1457430 h 4687251"/>
              <a:gd name="connsiteX33600" fmla="*/ 1158631 w 8079933"/>
              <a:gd name="connsiteY33600" fmla="*/ 1455481 h 4687251"/>
              <a:gd name="connsiteX33601" fmla="*/ 1158848 w 8079933"/>
              <a:gd name="connsiteY33601" fmla="*/ 1453316 h 4687251"/>
              <a:gd name="connsiteX33602" fmla="*/ 1156027 w 8079933"/>
              <a:gd name="connsiteY33602" fmla="*/ 1451259 h 4687251"/>
              <a:gd name="connsiteX33603" fmla="*/ 1156895 w 8079933"/>
              <a:gd name="connsiteY33603" fmla="*/ 1449310 h 4687251"/>
              <a:gd name="connsiteX33604" fmla="*/ 1159174 w 8079933"/>
              <a:gd name="connsiteY33604" fmla="*/ 1447253 h 4687251"/>
              <a:gd name="connsiteX33605" fmla="*/ 1157221 w 8079933"/>
              <a:gd name="connsiteY33605" fmla="*/ 1445412 h 4687251"/>
              <a:gd name="connsiteX33606" fmla="*/ 1153531 w 8079933"/>
              <a:gd name="connsiteY33606" fmla="*/ 1447469 h 4687251"/>
              <a:gd name="connsiteX33607" fmla="*/ 1151252 w 8079933"/>
              <a:gd name="connsiteY33607" fmla="*/ 1447469 h 4687251"/>
              <a:gd name="connsiteX33608" fmla="*/ 1149516 w 8079933"/>
              <a:gd name="connsiteY33608" fmla="*/ 1443680 h 4687251"/>
              <a:gd name="connsiteX33609" fmla="*/ 1148865 w 8079933"/>
              <a:gd name="connsiteY33609" fmla="*/ 1433719 h 4687251"/>
              <a:gd name="connsiteX33610" fmla="*/ 1146586 w 8079933"/>
              <a:gd name="connsiteY33610" fmla="*/ 1430471 h 4687251"/>
              <a:gd name="connsiteX33611" fmla="*/ 1146260 w 8079933"/>
              <a:gd name="connsiteY33611" fmla="*/ 1426681 h 4687251"/>
              <a:gd name="connsiteX33612" fmla="*/ 1147997 w 8079933"/>
              <a:gd name="connsiteY33612" fmla="*/ 1423216 h 4687251"/>
              <a:gd name="connsiteX33613" fmla="*/ 1153965 w 8079933"/>
              <a:gd name="connsiteY33613" fmla="*/ 1423758 h 4687251"/>
              <a:gd name="connsiteX33614" fmla="*/ 1158523 w 8079933"/>
              <a:gd name="connsiteY33614" fmla="*/ 1425815 h 4687251"/>
              <a:gd name="connsiteX33615" fmla="*/ 1164382 w 8079933"/>
              <a:gd name="connsiteY33615" fmla="*/ 1425491 h 4687251"/>
              <a:gd name="connsiteX33616" fmla="*/ 1169483 w 8079933"/>
              <a:gd name="connsiteY33616" fmla="*/ 1427981 h 4687251"/>
              <a:gd name="connsiteX33617" fmla="*/ 1167747 w 8079933"/>
              <a:gd name="connsiteY33617" fmla="*/ 1425491 h 4687251"/>
              <a:gd name="connsiteX33618" fmla="*/ 1163949 w 8079933"/>
              <a:gd name="connsiteY33618" fmla="*/ 1424191 h 4687251"/>
              <a:gd name="connsiteX33619" fmla="*/ 1159499 w 8079933"/>
              <a:gd name="connsiteY33619" fmla="*/ 1424191 h 4687251"/>
              <a:gd name="connsiteX33620" fmla="*/ 1156244 w 8079933"/>
              <a:gd name="connsiteY33620" fmla="*/ 1420835 h 4687251"/>
              <a:gd name="connsiteX33621" fmla="*/ 1152228 w 8079933"/>
              <a:gd name="connsiteY33621" fmla="*/ 1417695 h 4687251"/>
              <a:gd name="connsiteX33622" fmla="*/ 1152120 w 8079933"/>
              <a:gd name="connsiteY33622" fmla="*/ 1415530 h 4687251"/>
              <a:gd name="connsiteX33623" fmla="*/ 1155050 w 8079933"/>
              <a:gd name="connsiteY33623" fmla="*/ 1410657 h 4687251"/>
              <a:gd name="connsiteX33624" fmla="*/ 1157654 w 8079933"/>
              <a:gd name="connsiteY33624" fmla="*/ 1409683 h 4687251"/>
              <a:gd name="connsiteX33625" fmla="*/ 1159825 w 8079933"/>
              <a:gd name="connsiteY33625" fmla="*/ 1405352 h 4687251"/>
              <a:gd name="connsiteX33626" fmla="*/ 1159499 w 8079933"/>
              <a:gd name="connsiteY33626" fmla="*/ 1400372 h 4687251"/>
              <a:gd name="connsiteX33627" fmla="*/ 1157654 w 8079933"/>
              <a:gd name="connsiteY33627" fmla="*/ 1400804 h 4687251"/>
              <a:gd name="connsiteX33628" fmla="*/ 1153314 w 8079933"/>
              <a:gd name="connsiteY33628" fmla="*/ 1406002 h 4687251"/>
              <a:gd name="connsiteX33629" fmla="*/ 1149190 w 8079933"/>
              <a:gd name="connsiteY33629" fmla="*/ 1408925 h 4687251"/>
              <a:gd name="connsiteX33630" fmla="*/ 1141919 w 8079933"/>
              <a:gd name="connsiteY33630" fmla="*/ 1411198 h 4687251"/>
              <a:gd name="connsiteX33631" fmla="*/ 1138339 w 8079933"/>
              <a:gd name="connsiteY33631" fmla="*/ 1414988 h 4687251"/>
              <a:gd name="connsiteX33632" fmla="*/ 1137471 w 8079933"/>
              <a:gd name="connsiteY33632" fmla="*/ 1418561 h 4687251"/>
              <a:gd name="connsiteX33633" fmla="*/ 1134649 w 8079933"/>
              <a:gd name="connsiteY33633" fmla="*/ 1417912 h 4687251"/>
              <a:gd name="connsiteX33634" fmla="*/ 1131285 w 8079933"/>
              <a:gd name="connsiteY33634" fmla="*/ 1410983 h 4687251"/>
              <a:gd name="connsiteX33635" fmla="*/ 1129223 w 8079933"/>
              <a:gd name="connsiteY33635" fmla="*/ 1403945 h 4687251"/>
              <a:gd name="connsiteX33636" fmla="*/ 1130200 w 8079933"/>
              <a:gd name="connsiteY33636" fmla="*/ 1391710 h 4687251"/>
              <a:gd name="connsiteX33637" fmla="*/ 1131936 w 8079933"/>
              <a:gd name="connsiteY33637" fmla="*/ 1384023 h 4687251"/>
              <a:gd name="connsiteX33638" fmla="*/ 1131285 w 8079933"/>
              <a:gd name="connsiteY33638" fmla="*/ 1380883 h 4687251"/>
              <a:gd name="connsiteX33639" fmla="*/ 1127162 w 8079933"/>
              <a:gd name="connsiteY33639" fmla="*/ 1380450 h 4687251"/>
              <a:gd name="connsiteX33640" fmla="*/ 1126944 w 8079933"/>
              <a:gd name="connsiteY33640" fmla="*/ 1373737 h 4687251"/>
              <a:gd name="connsiteX33641" fmla="*/ 1130417 w 8079933"/>
              <a:gd name="connsiteY33641" fmla="*/ 1371463 h 4687251"/>
              <a:gd name="connsiteX33642" fmla="*/ 1132696 w 8079933"/>
              <a:gd name="connsiteY33642" fmla="*/ 1373521 h 4687251"/>
              <a:gd name="connsiteX33643" fmla="*/ 1135191 w 8079933"/>
              <a:gd name="connsiteY33643" fmla="*/ 1374604 h 4687251"/>
              <a:gd name="connsiteX33644" fmla="*/ 1134215 w 8079933"/>
              <a:gd name="connsiteY33644" fmla="*/ 1369623 h 4687251"/>
              <a:gd name="connsiteX33645" fmla="*/ 1138881 w 8079933"/>
              <a:gd name="connsiteY33645" fmla="*/ 1365833 h 4687251"/>
              <a:gd name="connsiteX33646" fmla="*/ 1141269 w 8079933"/>
              <a:gd name="connsiteY33646" fmla="*/ 1359445 h 4687251"/>
              <a:gd name="connsiteX33647" fmla="*/ 1145067 w 8079933"/>
              <a:gd name="connsiteY33647" fmla="*/ 1358579 h 4687251"/>
              <a:gd name="connsiteX33648" fmla="*/ 1150167 w 8079933"/>
              <a:gd name="connsiteY33648" fmla="*/ 1359445 h 4687251"/>
              <a:gd name="connsiteX33649" fmla="*/ 1152771 w 8079933"/>
              <a:gd name="connsiteY33649" fmla="*/ 1357172 h 4687251"/>
              <a:gd name="connsiteX33650" fmla="*/ 1149733 w 8079933"/>
              <a:gd name="connsiteY33650" fmla="*/ 1356847 h 4687251"/>
              <a:gd name="connsiteX33651" fmla="*/ 1149190 w 8079933"/>
              <a:gd name="connsiteY33651" fmla="*/ 1355331 h 4687251"/>
              <a:gd name="connsiteX33652" fmla="*/ 1155701 w 8079933"/>
              <a:gd name="connsiteY33652" fmla="*/ 1347968 h 4687251"/>
              <a:gd name="connsiteX33653" fmla="*/ 1158306 w 8079933"/>
              <a:gd name="connsiteY33653" fmla="*/ 1343746 h 4687251"/>
              <a:gd name="connsiteX33654" fmla="*/ 1164817 w 8079933"/>
              <a:gd name="connsiteY33654" fmla="*/ 1340065 h 4687251"/>
              <a:gd name="connsiteX33655" fmla="*/ 1165359 w 8079933"/>
              <a:gd name="connsiteY33655" fmla="*/ 1337791 h 4687251"/>
              <a:gd name="connsiteX33656" fmla="*/ 1162321 w 8079933"/>
              <a:gd name="connsiteY33656" fmla="*/ 1337142 h 4687251"/>
              <a:gd name="connsiteX33657" fmla="*/ 1161452 w 8079933"/>
              <a:gd name="connsiteY33657" fmla="*/ 1334652 h 4687251"/>
              <a:gd name="connsiteX33658" fmla="*/ 1155593 w 8079933"/>
              <a:gd name="connsiteY33658" fmla="*/ 1339523 h 4687251"/>
              <a:gd name="connsiteX33659" fmla="*/ 1154725 w 8079933"/>
              <a:gd name="connsiteY33659" fmla="*/ 1344612 h 4687251"/>
              <a:gd name="connsiteX33660" fmla="*/ 1146803 w 8079933"/>
              <a:gd name="connsiteY33660" fmla="*/ 1353599 h 4687251"/>
              <a:gd name="connsiteX33661" fmla="*/ 1145175 w 8079933"/>
              <a:gd name="connsiteY33661" fmla="*/ 1353599 h 4687251"/>
              <a:gd name="connsiteX33662" fmla="*/ 1145718 w 8079933"/>
              <a:gd name="connsiteY33662" fmla="*/ 1350351 h 4687251"/>
              <a:gd name="connsiteX33663" fmla="*/ 1150710 w 8079933"/>
              <a:gd name="connsiteY33663" fmla="*/ 1343638 h 4687251"/>
              <a:gd name="connsiteX33664" fmla="*/ 1151578 w 8079933"/>
              <a:gd name="connsiteY33664" fmla="*/ 1335842 h 4687251"/>
              <a:gd name="connsiteX33665" fmla="*/ 1157763 w 8079933"/>
              <a:gd name="connsiteY33665" fmla="*/ 1324149 h 4687251"/>
              <a:gd name="connsiteX33666" fmla="*/ 1160042 w 8079933"/>
              <a:gd name="connsiteY33666" fmla="*/ 1319060 h 4687251"/>
              <a:gd name="connsiteX33667" fmla="*/ 1158739 w 8079933"/>
              <a:gd name="connsiteY33667" fmla="*/ 1318411 h 4687251"/>
              <a:gd name="connsiteX33668" fmla="*/ 1158632 w 8079933"/>
              <a:gd name="connsiteY33668" fmla="*/ 1318411 h 4687251"/>
              <a:gd name="connsiteX33669" fmla="*/ 1156787 w 8079933"/>
              <a:gd name="connsiteY33669" fmla="*/ 1319927 h 4687251"/>
              <a:gd name="connsiteX33670" fmla="*/ 1151469 w 8079933"/>
              <a:gd name="connsiteY33670" fmla="*/ 1331079 h 4687251"/>
              <a:gd name="connsiteX33671" fmla="*/ 1149516 w 8079933"/>
              <a:gd name="connsiteY33671" fmla="*/ 1340823 h 4687251"/>
              <a:gd name="connsiteX33672" fmla="*/ 1144525 w 8079933"/>
              <a:gd name="connsiteY33672" fmla="*/ 1348185 h 4687251"/>
              <a:gd name="connsiteX33673" fmla="*/ 1138665 w 8079933"/>
              <a:gd name="connsiteY33673" fmla="*/ 1355006 h 4687251"/>
              <a:gd name="connsiteX33674" fmla="*/ 1134324 w 8079933"/>
              <a:gd name="connsiteY33674" fmla="*/ 1356847 h 4687251"/>
              <a:gd name="connsiteX33675" fmla="*/ 1131177 w 8079933"/>
              <a:gd name="connsiteY33675" fmla="*/ 1356306 h 4687251"/>
              <a:gd name="connsiteX33676" fmla="*/ 1130526 w 8079933"/>
              <a:gd name="connsiteY33676" fmla="*/ 1359662 h 4687251"/>
              <a:gd name="connsiteX33677" fmla="*/ 1127488 w 8079933"/>
              <a:gd name="connsiteY33677" fmla="*/ 1361287 h 4687251"/>
              <a:gd name="connsiteX33678" fmla="*/ 1125208 w 8079933"/>
              <a:gd name="connsiteY33678" fmla="*/ 1356522 h 4687251"/>
              <a:gd name="connsiteX33679" fmla="*/ 1126294 w 8079933"/>
              <a:gd name="connsiteY33679" fmla="*/ 1351000 h 4687251"/>
              <a:gd name="connsiteX33680" fmla="*/ 1128681 w 8079933"/>
              <a:gd name="connsiteY33680" fmla="*/ 1349051 h 4687251"/>
              <a:gd name="connsiteX33681" fmla="*/ 1131069 w 8079933"/>
              <a:gd name="connsiteY33681" fmla="*/ 1348943 h 4687251"/>
              <a:gd name="connsiteX33682" fmla="*/ 1134324 w 8079933"/>
              <a:gd name="connsiteY33682" fmla="*/ 1349377 h 4687251"/>
              <a:gd name="connsiteX33683" fmla="*/ 1138231 w 8079933"/>
              <a:gd name="connsiteY33683" fmla="*/ 1345912 h 4687251"/>
              <a:gd name="connsiteX33684" fmla="*/ 1137797 w 8079933"/>
              <a:gd name="connsiteY33684" fmla="*/ 1344612 h 4687251"/>
              <a:gd name="connsiteX33685" fmla="*/ 1133131 w 8079933"/>
              <a:gd name="connsiteY33685" fmla="*/ 1344396 h 4687251"/>
              <a:gd name="connsiteX33686" fmla="*/ 1130960 w 8079933"/>
              <a:gd name="connsiteY33686" fmla="*/ 1345479 h 4687251"/>
              <a:gd name="connsiteX33687" fmla="*/ 1127379 w 8079933"/>
              <a:gd name="connsiteY33687" fmla="*/ 1344937 h 4687251"/>
              <a:gd name="connsiteX33688" fmla="*/ 1127270 w 8079933"/>
              <a:gd name="connsiteY33688" fmla="*/ 1343097 h 4687251"/>
              <a:gd name="connsiteX33689" fmla="*/ 1130526 w 8079933"/>
              <a:gd name="connsiteY33689" fmla="*/ 1339416 h 4687251"/>
              <a:gd name="connsiteX33690" fmla="*/ 1134867 w 8079933"/>
              <a:gd name="connsiteY33690" fmla="*/ 1339091 h 4687251"/>
              <a:gd name="connsiteX33691" fmla="*/ 1138231 w 8079933"/>
              <a:gd name="connsiteY33691" fmla="*/ 1339524 h 4687251"/>
              <a:gd name="connsiteX33692" fmla="*/ 1137146 w 8079933"/>
              <a:gd name="connsiteY33692" fmla="*/ 1337250 h 4687251"/>
              <a:gd name="connsiteX33693" fmla="*/ 1135952 w 8079933"/>
              <a:gd name="connsiteY33693" fmla="*/ 1334760 h 4687251"/>
              <a:gd name="connsiteX33694" fmla="*/ 1137471 w 8079933"/>
              <a:gd name="connsiteY33694" fmla="*/ 1331404 h 4687251"/>
              <a:gd name="connsiteX33695" fmla="*/ 1140727 w 8079933"/>
              <a:gd name="connsiteY33695" fmla="*/ 1325882 h 4687251"/>
              <a:gd name="connsiteX33696" fmla="*/ 1139859 w 8079933"/>
              <a:gd name="connsiteY33696" fmla="*/ 1322850 h 4687251"/>
              <a:gd name="connsiteX33697" fmla="*/ 1139859 w 8079933"/>
              <a:gd name="connsiteY33697" fmla="*/ 1318736 h 4687251"/>
              <a:gd name="connsiteX33698" fmla="*/ 1144742 w 8079933"/>
              <a:gd name="connsiteY33698" fmla="*/ 1314188 h 4687251"/>
              <a:gd name="connsiteX33699" fmla="*/ 1144742 w 8079933"/>
              <a:gd name="connsiteY33699" fmla="*/ 1312348 h 4687251"/>
              <a:gd name="connsiteX33700" fmla="*/ 1139207 w 8079933"/>
              <a:gd name="connsiteY33700" fmla="*/ 1312131 h 4687251"/>
              <a:gd name="connsiteX33701" fmla="*/ 1138556 w 8079933"/>
              <a:gd name="connsiteY33701" fmla="*/ 1310616 h 4687251"/>
              <a:gd name="connsiteX33702" fmla="*/ 1142137 w 8079933"/>
              <a:gd name="connsiteY33702" fmla="*/ 1306502 h 4687251"/>
              <a:gd name="connsiteX33703" fmla="*/ 1136277 w 8079933"/>
              <a:gd name="connsiteY33703" fmla="*/ 1307043 h 4687251"/>
              <a:gd name="connsiteX33704" fmla="*/ 1132696 w 8079933"/>
              <a:gd name="connsiteY33704" fmla="*/ 1307367 h 4687251"/>
              <a:gd name="connsiteX33705" fmla="*/ 1131611 w 8079933"/>
              <a:gd name="connsiteY33705" fmla="*/ 1305419 h 4687251"/>
              <a:gd name="connsiteX33706" fmla="*/ 1126077 w 8079933"/>
              <a:gd name="connsiteY33706" fmla="*/ 1310941 h 4687251"/>
              <a:gd name="connsiteX33707" fmla="*/ 1122279 w 8079933"/>
              <a:gd name="connsiteY33707" fmla="*/ 1311806 h 4687251"/>
              <a:gd name="connsiteX33708" fmla="*/ 1121953 w 8079933"/>
              <a:gd name="connsiteY33708" fmla="*/ 1313864 h 4687251"/>
              <a:gd name="connsiteX33709" fmla="*/ 1119024 w 8079933"/>
              <a:gd name="connsiteY33709" fmla="*/ 1320576 h 4687251"/>
              <a:gd name="connsiteX33710" fmla="*/ 1114031 w 8079933"/>
              <a:gd name="connsiteY33710" fmla="*/ 1324908 h 4687251"/>
              <a:gd name="connsiteX33711" fmla="*/ 1112078 w 8079933"/>
              <a:gd name="connsiteY33711" fmla="*/ 1320468 h 4687251"/>
              <a:gd name="connsiteX33712" fmla="*/ 1112078 w 8079933"/>
              <a:gd name="connsiteY33712" fmla="*/ 1315812 h 4687251"/>
              <a:gd name="connsiteX33713" fmla="*/ 1117504 w 8079933"/>
              <a:gd name="connsiteY33713" fmla="*/ 1311482 h 4687251"/>
              <a:gd name="connsiteX33714" fmla="*/ 1124666 w 8079933"/>
              <a:gd name="connsiteY33714" fmla="*/ 1303794 h 4687251"/>
              <a:gd name="connsiteX33715" fmla="*/ 1127596 w 8079933"/>
              <a:gd name="connsiteY33715" fmla="*/ 1297515 h 4687251"/>
              <a:gd name="connsiteX33716" fmla="*/ 1130960 w 8079933"/>
              <a:gd name="connsiteY33716" fmla="*/ 1296757 h 4687251"/>
              <a:gd name="connsiteX33717" fmla="*/ 1136061 w 8079933"/>
              <a:gd name="connsiteY33717" fmla="*/ 1297731 h 4687251"/>
              <a:gd name="connsiteX33718" fmla="*/ 1141052 w 8079933"/>
              <a:gd name="connsiteY33718" fmla="*/ 1295025 h 4687251"/>
              <a:gd name="connsiteX33719" fmla="*/ 1138339 w 8079933"/>
              <a:gd name="connsiteY33719" fmla="*/ 1293942 h 4687251"/>
              <a:gd name="connsiteX33720" fmla="*/ 1133131 w 8079933"/>
              <a:gd name="connsiteY33720" fmla="*/ 1294158 h 4687251"/>
              <a:gd name="connsiteX33721" fmla="*/ 1129549 w 8079933"/>
              <a:gd name="connsiteY33721" fmla="*/ 1291668 h 4687251"/>
              <a:gd name="connsiteX33722" fmla="*/ 1125534 w 8079933"/>
              <a:gd name="connsiteY33722" fmla="*/ 1284739 h 4687251"/>
              <a:gd name="connsiteX33723" fmla="*/ 1124883 w 8079933"/>
              <a:gd name="connsiteY33723" fmla="*/ 1279542 h 4687251"/>
              <a:gd name="connsiteX33724" fmla="*/ 1127705 w 8079933"/>
              <a:gd name="connsiteY33724" fmla="*/ 1275752 h 4687251"/>
              <a:gd name="connsiteX33725" fmla="*/ 1130635 w 8079933"/>
              <a:gd name="connsiteY33725" fmla="*/ 1275319 h 4687251"/>
              <a:gd name="connsiteX33726" fmla="*/ 1133456 w 8079933"/>
              <a:gd name="connsiteY33726" fmla="*/ 1274129 h 4687251"/>
              <a:gd name="connsiteX33727" fmla="*/ 1131069 w 8079933"/>
              <a:gd name="connsiteY33727" fmla="*/ 1274020 h 4687251"/>
              <a:gd name="connsiteX33728" fmla="*/ 1127270 w 8079933"/>
              <a:gd name="connsiteY33728" fmla="*/ 1270664 h 4687251"/>
              <a:gd name="connsiteX33729" fmla="*/ 1125643 w 8079933"/>
              <a:gd name="connsiteY33729" fmla="*/ 1266658 h 4687251"/>
              <a:gd name="connsiteX33730" fmla="*/ 1122279 w 8079933"/>
              <a:gd name="connsiteY33730" fmla="*/ 1264384 h 4687251"/>
              <a:gd name="connsiteX33731" fmla="*/ 1121302 w 8079933"/>
              <a:gd name="connsiteY33731" fmla="*/ 1261786 h 4687251"/>
              <a:gd name="connsiteX33732" fmla="*/ 1122930 w 8079933"/>
              <a:gd name="connsiteY33732" fmla="*/ 1260378 h 4687251"/>
              <a:gd name="connsiteX33733" fmla="*/ 1126836 w 8079933"/>
              <a:gd name="connsiteY33733" fmla="*/ 1260811 h 4687251"/>
              <a:gd name="connsiteX33734" fmla="*/ 1126620 w 8079933"/>
              <a:gd name="connsiteY33734" fmla="*/ 1259187 h 4687251"/>
              <a:gd name="connsiteX33735" fmla="*/ 1124232 w 8079933"/>
              <a:gd name="connsiteY33735" fmla="*/ 1257346 h 4687251"/>
              <a:gd name="connsiteX33736" fmla="*/ 1121410 w 8079933"/>
              <a:gd name="connsiteY33736" fmla="*/ 1257780 h 4687251"/>
              <a:gd name="connsiteX33737" fmla="*/ 1118264 w 8079933"/>
              <a:gd name="connsiteY33737" fmla="*/ 1254748 h 4687251"/>
              <a:gd name="connsiteX33738" fmla="*/ 1116961 w 8079933"/>
              <a:gd name="connsiteY33738" fmla="*/ 1250742 h 4687251"/>
              <a:gd name="connsiteX33739" fmla="*/ 1114249 w 8079933"/>
              <a:gd name="connsiteY33739" fmla="*/ 1251066 h 4687251"/>
              <a:gd name="connsiteX33740" fmla="*/ 1111536 w 8079933"/>
              <a:gd name="connsiteY33740" fmla="*/ 1250742 h 4687251"/>
              <a:gd name="connsiteX33741" fmla="*/ 1110776 w 8079933"/>
              <a:gd name="connsiteY33741" fmla="*/ 1248901 h 4687251"/>
              <a:gd name="connsiteX33742" fmla="*/ 1112946 w 8079933"/>
              <a:gd name="connsiteY33742" fmla="*/ 1245220 h 4687251"/>
              <a:gd name="connsiteX33743" fmla="*/ 1116093 w 8079933"/>
              <a:gd name="connsiteY33743" fmla="*/ 1244679 h 4687251"/>
              <a:gd name="connsiteX33744" fmla="*/ 1117721 w 8079933"/>
              <a:gd name="connsiteY33744" fmla="*/ 1242405 h 4687251"/>
              <a:gd name="connsiteX33745" fmla="*/ 1116419 w 8079933"/>
              <a:gd name="connsiteY33745" fmla="*/ 1240781 h 4687251"/>
              <a:gd name="connsiteX33746" fmla="*/ 1116202 w 8079933"/>
              <a:gd name="connsiteY33746" fmla="*/ 1235584 h 4687251"/>
              <a:gd name="connsiteX33747" fmla="*/ 1118697 w 8079933"/>
              <a:gd name="connsiteY33747" fmla="*/ 1231903 h 4687251"/>
              <a:gd name="connsiteX33748" fmla="*/ 1117504 w 8079933"/>
              <a:gd name="connsiteY33748" fmla="*/ 1228979 h 4687251"/>
              <a:gd name="connsiteX33749" fmla="*/ 1118806 w 8079933"/>
              <a:gd name="connsiteY33749" fmla="*/ 1227356 h 4687251"/>
              <a:gd name="connsiteX33750" fmla="*/ 1120434 w 8079933"/>
              <a:gd name="connsiteY33750" fmla="*/ 1231036 h 4687251"/>
              <a:gd name="connsiteX33751" fmla="*/ 1124015 w 8079933"/>
              <a:gd name="connsiteY33751" fmla="*/ 1233744 h 4687251"/>
              <a:gd name="connsiteX33752" fmla="*/ 1125860 w 8079933"/>
              <a:gd name="connsiteY33752" fmla="*/ 1232985 h 4687251"/>
              <a:gd name="connsiteX33753" fmla="*/ 1125860 w 8079933"/>
              <a:gd name="connsiteY33753" fmla="*/ 1228330 h 4687251"/>
              <a:gd name="connsiteX33754" fmla="*/ 1122604 w 8079933"/>
              <a:gd name="connsiteY33754" fmla="*/ 1222916 h 4687251"/>
              <a:gd name="connsiteX33755" fmla="*/ 1122279 w 8079933"/>
              <a:gd name="connsiteY33755" fmla="*/ 1220426 h 4687251"/>
              <a:gd name="connsiteX33756" fmla="*/ 1125860 w 8079933"/>
              <a:gd name="connsiteY33756" fmla="*/ 1219885 h 4687251"/>
              <a:gd name="connsiteX33757" fmla="*/ 1128030 w 8079933"/>
              <a:gd name="connsiteY33757" fmla="*/ 1218152 h 4687251"/>
              <a:gd name="connsiteX33758" fmla="*/ 1124883 w 8079933"/>
              <a:gd name="connsiteY33758" fmla="*/ 1215770 h 4687251"/>
              <a:gd name="connsiteX33759" fmla="*/ 1124883 w 8079933"/>
              <a:gd name="connsiteY33759" fmla="*/ 1213713 h 4687251"/>
              <a:gd name="connsiteX33760" fmla="*/ 1127270 w 8079933"/>
              <a:gd name="connsiteY33760" fmla="*/ 1212630 h 4687251"/>
              <a:gd name="connsiteX33761" fmla="*/ 1133673 w 8079933"/>
              <a:gd name="connsiteY33761" fmla="*/ 1208516 h 4687251"/>
              <a:gd name="connsiteX33762" fmla="*/ 1133781 w 8079933"/>
              <a:gd name="connsiteY33762" fmla="*/ 1207109 h 4687251"/>
              <a:gd name="connsiteX33763" fmla="*/ 1128030 w 8079933"/>
              <a:gd name="connsiteY33763" fmla="*/ 1207434 h 4687251"/>
              <a:gd name="connsiteX33764" fmla="*/ 1124015 w 8079933"/>
              <a:gd name="connsiteY33764" fmla="*/ 1209166 h 4687251"/>
              <a:gd name="connsiteX33765" fmla="*/ 1121410 w 8079933"/>
              <a:gd name="connsiteY33765" fmla="*/ 1207650 h 4687251"/>
              <a:gd name="connsiteX33766" fmla="*/ 1118915 w 8079933"/>
              <a:gd name="connsiteY33766" fmla="*/ 1209491 h 4687251"/>
              <a:gd name="connsiteX33767" fmla="*/ 1115442 w 8079933"/>
              <a:gd name="connsiteY33767" fmla="*/ 1206567 h 4687251"/>
              <a:gd name="connsiteX33768" fmla="*/ 1115008 w 8079933"/>
              <a:gd name="connsiteY33768" fmla="*/ 1201479 h 4687251"/>
              <a:gd name="connsiteX33769" fmla="*/ 1112838 w 8079933"/>
              <a:gd name="connsiteY33769" fmla="*/ 1201479 h 4687251"/>
              <a:gd name="connsiteX33770" fmla="*/ 1112078 w 8079933"/>
              <a:gd name="connsiteY33770" fmla="*/ 1195957 h 4687251"/>
              <a:gd name="connsiteX33771" fmla="*/ 1107955 w 8079933"/>
              <a:gd name="connsiteY33771" fmla="*/ 1192059 h 4687251"/>
              <a:gd name="connsiteX33772" fmla="*/ 1106978 w 8079933"/>
              <a:gd name="connsiteY33772" fmla="*/ 1187187 h 4687251"/>
              <a:gd name="connsiteX33773" fmla="*/ 1106110 w 8079933"/>
              <a:gd name="connsiteY33773" fmla="*/ 1183181 h 4687251"/>
              <a:gd name="connsiteX33774" fmla="*/ 1106435 w 8079933"/>
              <a:gd name="connsiteY33774" fmla="*/ 1176252 h 4687251"/>
              <a:gd name="connsiteX33775" fmla="*/ 1109583 w 8079933"/>
              <a:gd name="connsiteY33775" fmla="*/ 1173437 h 4687251"/>
              <a:gd name="connsiteX33776" fmla="*/ 1107955 w 8079933"/>
              <a:gd name="connsiteY33776" fmla="*/ 1170514 h 4687251"/>
              <a:gd name="connsiteX33777" fmla="*/ 1108497 w 8079933"/>
              <a:gd name="connsiteY33777" fmla="*/ 1164883 h 4687251"/>
              <a:gd name="connsiteX33778" fmla="*/ 1112946 w 8079933"/>
              <a:gd name="connsiteY33778" fmla="*/ 1156114 h 4687251"/>
              <a:gd name="connsiteX33779" fmla="*/ 1111644 w 8079933"/>
              <a:gd name="connsiteY33779" fmla="*/ 1149400 h 4687251"/>
              <a:gd name="connsiteX33780" fmla="*/ 1113489 w 8079933"/>
              <a:gd name="connsiteY33780" fmla="*/ 1141172 h 4687251"/>
              <a:gd name="connsiteX33781" fmla="*/ 1116744 w 8079933"/>
              <a:gd name="connsiteY33781" fmla="*/ 1134567 h 4687251"/>
              <a:gd name="connsiteX33782" fmla="*/ 1111753 w 8079933"/>
              <a:gd name="connsiteY33782" fmla="*/ 1138249 h 4687251"/>
              <a:gd name="connsiteX33783" fmla="*/ 1109365 w 8079933"/>
              <a:gd name="connsiteY33783" fmla="*/ 1144095 h 4687251"/>
              <a:gd name="connsiteX33784" fmla="*/ 1106761 w 8079933"/>
              <a:gd name="connsiteY33784" fmla="*/ 1143012 h 4687251"/>
              <a:gd name="connsiteX33785" fmla="*/ 1104590 w 8079933"/>
              <a:gd name="connsiteY33785" fmla="*/ 1137166 h 4687251"/>
              <a:gd name="connsiteX33786" fmla="*/ 1102854 w 8079933"/>
              <a:gd name="connsiteY33786" fmla="*/ 1136300 h 4687251"/>
              <a:gd name="connsiteX33787" fmla="*/ 1102529 w 8079933"/>
              <a:gd name="connsiteY33787" fmla="*/ 1137166 h 4687251"/>
              <a:gd name="connsiteX33788" fmla="*/ 1104157 w 8079933"/>
              <a:gd name="connsiteY33788" fmla="*/ 1140631 h 4687251"/>
              <a:gd name="connsiteX33789" fmla="*/ 1105458 w 8079933"/>
              <a:gd name="connsiteY33789" fmla="*/ 1147451 h 4687251"/>
              <a:gd name="connsiteX33790" fmla="*/ 1105458 w 8079933"/>
              <a:gd name="connsiteY33790" fmla="*/ 1157412 h 4687251"/>
              <a:gd name="connsiteX33791" fmla="*/ 1101986 w 8079933"/>
              <a:gd name="connsiteY33791" fmla="*/ 1167590 h 4687251"/>
              <a:gd name="connsiteX33792" fmla="*/ 1101118 w 8079933"/>
              <a:gd name="connsiteY33792" fmla="*/ 1179067 h 4687251"/>
              <a:gd name="connsiteX33793" fmla="*/ 1099382 w 8079933"/>
              <a:gd name="connsiteY33793" fmla="*/ 1182532 h 4687251"/>
              <a:gd name="connsiteX33794" fmla="*/ 1098839 w 8079933"/>
              <a:gd name="connsiteY33794" fmla="*/ 1188595 h 4687251"/>
              <a:gd name="connsiteX33795" fmla="*/ 1094716 w 8079933"/>
              <a:gd name="connsiteY33795" fmla="*/ 1196499 h 4687251"/>
              <a:gd name="connsiteX33796" fmla="*/ 1091677 w 8079933"/>
              <a:gd name="connsiteY33796" fmla="*/ 1194224 h 4687251"/>
              <a:gd name="connsiteX33797" fmla="*/ 1090049 w 8079933"/>
              <a:gd name="connsiteY33797" fmla="*/ 1188269 h 4687251"/>
              <a:gd name="connsiteX33798" fmla="*/ 1091460 w 8079933"/>
              <a:gd name="connsiteY33798" fmla="*/ 1186538 h 4687251"/>
              <a:gd name="connsiteX33799" fmla="*/ 1090918 w 8079933"/>
              <a:gd name="connsiteY33799" fmla="*/ 1183073 h 4687251"/>
              <a:gd name="connsiteX33800" fmla="*/ 1088530 w 8079933"/>
              <a:gd name="connsiteY33800" fmla="*/ 1186862 h 4687251"/>
              <a:gd name="connsiteX33801" fmla="*/ 1087879 w 8079933"/>
              <a:gd name="connsiteY33801" fmla="*/ 1188919 h 4687251"/>
              <a:gd name="connsiteX33802" fmla="*/ 1082887 w 8079933"/>
              <a:gd name="connsiteY33802" fmla="*/ 1187512 h 4687251"/>
              <a:gd name="connsiteX33803" fmla="*/ 1081477 w 8079933"/>
              <a:gd name="connsiteY33803" fmla="*/ 1185130 h 4687251"/>
              <a:gd name="connsiteX33804" fmla="*/ 1083213 w 8079933"/>
              <a:gd name="connsiteY33804" fmla="*/ 1180149 h 4687251"/>
              <a:gd name="connsiteX33805" fmla="*/ 1082019 w 8079933"/>
              <a:gd name="connsiteY33805" fmla="*/ 1175818 h 4687251"/>
              <a:gd name="connsiteX33806" fmla="*/ 1081802 w 8079933"/>
              <a:gd name="connsiteY33806" fmla="*/ 1172246 h 4687251"/>
              <a:gd name="connsiteX33807" fmla="*/ 1085275 w 8079933"/>
              <a:gd name="connsiteY33807" fmla="*/ 1169106 h 4687251"/>
              <a:gd name="connsiteX33808" fmla="*/ 1086685 w 8079933"/>
              <a:gd name="connsiteY33808" fmla="*/ 1165424 h 4687251"/>
              <a:gd name="connsiteX33809" fmla="*/ 1084515 w 8079933"/>
              <a:gd name="connsiteY33809" fmla="*/ 1165749 h 4687251"/>
              <a:gd name="connsiteX33810" fmla="*/ 1080391 w 8079933"/>
              <a:gd name="connsiteY33810" fmla="*/ 1169647 h 4687251"/>
              <a:gd name="connsiteX33811" fmla="*/ 1077896 w 8079933"/>
              <a:gd name="connsiteY33811" fmla="*/ 1168998 h 4687251"/>
              <a:gd name="connsiteX33812" fmla="*/ 1076811 w 8079933"/>
              <a:gd name="connsiteY33812" fmla="*/ 1165424 h 4687251"/>
              <a:gd name="connsiteX33813" fmla="*/ 1078547 w 8079933"/>
              <a:gd name="connsiteY33813" fmla="*/ 1160661 h 4687251"/>
              <a:gd name="connsiteX33814" fmla="*/ 1076811 w 8079933"/>
              <a:gd name="connsiteY33814" fmla="*/ 1157412 h 4687251"/>
              <a:gd name="connsiteX33815" fmla="*/ 1075399 w 8079933"/>
              <a:gd name="connsiteY33815" fmla="*/ 1154706 h 4687251"/>
              <a:gd name="connsiteX33816" fmla="*/ 1072686 w 8079933"/>
              <a:gd name="connsiteY33816" fmla="*/ 1159145 h 4687251"/>
              <a:gd name="connsiteX33817" fmla="*/ 1071168 w 8079933"/>
              <a:gd name="connsiteY33817" fmla="*/ 1156222 h 4687251"/>
              <a:gd name="connsiteX33818" fmla="*/ 1070841 w 8079933"/>
              <a:gd name="connsiteY33818" fmla="*/ 1151457 h 4687251"/>
              <a:gd name="connsiteX33819" fmla="*/ 1068020 w 8079933"/>
              <a:gd name="connsiteY33819" fmla="*/ 1151133 h 4687251"/>
              <a:gd name="connsiteX33820" fmla="*/ 1067370 w 8079933"/>
              <a:gd name="connsiteY33820" fmla="*/ 1156438 h 4687251"/>
              <a:gd name="connsiteX33821" fmla="*/ 1065633 w 8079933"/>
              <a:gd name="connsiteY33821" fmla="*/ 1158712 h 4687251"/>
              <a:gd name="connsiteX33822" fmla="*/ 1065742 w 8079933"/>
              <a:gd name="connsiteY33822" fmla="*/ 1161094 h 4687251"/>
              <a:gd name="connsiteX33823" fmla="*/ 1068997 w 8079933"/>
              <a:gd name="connsiteY33823" fmla="*/ 1162501 h 4687251"/>
              <a:gd name="connsiteX33824" fmla="*/ 1070408 w 8079933"/>
              <a:gd name="connsiteY33824" fmla="*/ 1165749 h 4687251"/>
              <a:gd name="connsiteX33825" fmla="*/ 1070841 w 8079933"/>
              <a:gd name="connsiteY33825" fmla="*/ 1168781 h 4687251"/>
              <a:gd name="connsiteX33826" fmla="*/ 1067478 w 8079933"/>
              <a:gd name="connsiteY33826" fmla="*/ 1173112 h 4687251"/>
              <a:gd name="connsiteX33827" fmla="*/ 1069106 w 8079933"/>
              <a:gd name="connsiteY33827" fmla="*/ 1174628 h 4687251"/>
              <a:gd name="connsiteX33828" fmla="*/ 1070841 w 8079933"/>
              <a:gd name="connsiteY33828" fmla="*/ 1173653 h 4687251"/>
              <a:gd name="connsiteX33829" fmla="*/ 1073338 w 8079933"/>
              <a:gd name="connsiteY33829" fmla="*/ 1173437 h 4687251"/>
              <a:gd name="connsiteX33830" fmla="*/ 1076159 w 8079933"/>
              <a:gd name="connsiteY33830" fmla="*/ 1180149 h 4687251"/>
              <a:gd name="connsiteX33831" fmla="*/ 1074423 w 8079933"/>
              <a:gd name="connsiteY33831" fmla="*/ 1183939 h 4687251"/>
              <a:gd name="connsiteX33832" fmla="*/ 1071601 w 8079933"/>
              <a:gd name="connsiteY33832" fmla="*/ 1183181 h 4687251"/>
              <a:gd name="connsiteX33833" fmla="*/ 1069756 w 8079933"/>
              <a:gd name="connsiteY33833" fmla="*/ 1181016 h 4687251"/>
              <a:gd name="connsiteX33834" fmla="*/ 1068346 w 8079933"/>
              <a:gd name="connsiteY33834" fmla="*/ 1183073 h 4687251"/>
              <a:gd name="connsiteX33835" fmla="*/ 1069865 w 8079933"/>
              <a:gd name="connsiteY33835" fmla="*/ 1185130 h 4687251"/>
              <a:gd name="connsiteX33836" fmla="*/ 1066501 w 8079933"/>
              <a:gd name="connsiteY33836" fmla="*/ 1186320 h 4687251"/>
              <a:gd name="connsiteX33837" fmla="*/ 1063897 w 8079933"/>
              <a:gd name="connsiteY33837" fmla="*/ 1183073 h 4687251"/>
              <a:gd name="connsiteX33838" fmla="*/ 1061292 w 8079933"/>
              <a:gd name="connsiteY33838" fmla="*/ 1185130 h 4687251"/>
              <a:gd name="connsiteX33839" fmla="*/ 1060750 w 8079933"/>
              <a:gd name="connsiteY33839" fmla="*/ 1182532 h 4687251"/>
              <a:gd name="connsiteX33840" fmla="*/ 1058254 w 8079933"/>
              <a:gd name="connsiteY33840" fmla="*/ 1181340 h 4687251"/>
              <a:gd name="connsiteX33841" fmla="*/ 1051091 w 8079933"/>
              <a:gd name="connsiteY33841" fmla="*/ 1173220 h 4687251"/>
              <a:gd name="connsiteX33842" fmla="*/ 1049790 w 8079933"/>
              <a:gd name="connsiteY33842" fmla="*/ 1169106 h 4687251"/>
              <a:gd name="connsiteX33843" fmla="*/ 1050983 w 8079933"/>
              <a:gd name="connsiteY33843" fmla="*/ 1165208 h 4687251"/>
              <a:gd name="connsiteX33844" fmla="*/ 1047728 w 8079933"/>
              <a:gd name="connsiteY33844" fmla="*/ 1164991 h 4687251"/>
              <a:gd name="connsiteX33845" fmla="*/ 1045340 w 8079933"/>
              <a:gd name="connsiteY33845" fmla="*/ 1162610 h 4687251"/>
              <a:gd name="connsiteX33846" fmla="*/ 1045449 w 8079933"/>
              <a:gd name="connsiteY33846" fmla="*/ 1151782 h 4687251"/>
              <a:gd name="connsiteX33847" fmla="*/ 1047185 w 8079933"/>
              <a:gd name="connsiteY33847" fmla="*/ 1149184 h 4687251"/>
              <a:gd name="connsiteX33848" fmla="*/ 1043604 w 8079933"/>
              <a:gd name="connsiteY33848" fmla="*/ 1146586 h 4687251"/>
              <a:gd name="connsiteX33849" fmla="*/ 1042845 w 8079933"/>
              <a:gd name="connsiteY33849" fmla="*/ 1143879 h 4687251"/>
              <a:gd name="connsiteX33850" fmla="*/ 1046208 w 8079933"/>
              <a:gd name="connsiteY33850" fmla="*/ 1139981 h 4687251"/>
              <a:gd name="connsiteX33851" fmla="*/ 1048705 w 8079933"/>
              <a:gd name="connsiteY33851" fmla="*/ 1138573 h 4687251"/>
              <a:gd name="connsiteX33852" fmla="*/ 1049898 w 8079933"/>
              <a:gd name="connsiteY33852" fmla="*/ 1135325 h 4687251"/>
              <a:gd name="connsiteX33853" fmla="*/ 1049898 w 8079933"/>
              <a:gd name="connsiteY33853" fmla="*/ 1129912 h 4687251"/>
              <a:gd name="connsiteX33854" fmla="*/ 1052503 w 8079933"/>
              <a:gd name="connsiteY33854" fmla="*/ 1122225 h 4687251"/>
              <a:gd name="connsiteX33855" fmla="*/ 1046968 w 8079933"/>
              <a:gd name="connsiteY33855" fmla="*/ 1132186 h 4687251"/>
              <a:gd name="connsiteX33856" fmla="*/ 1044798 w 8079933"/>
              <a:gd name="connsiteY33856" fmla="*/ 1136841 h 4687251"/>
              <a:gd name="connsiteX33857" fmla="*/ 1039372 w 8079933"/>
              <a:gd name="connsiteY33857" fmla="*/ 1136192 h 4687251"/>
              <a:gd name="connsiteX33858" fmla="*/ 1037202 w 8079933"/>
              <a:gd name="connsiteY33858" fmla="*/ 1137490 h 4687251"/>
              <a:gd name="connsiteX33859" fmla="*/ 1030257 w 8079933"/>
              <a:gd name="connsiteY33859" fmla="*/ 1130778 h 4687251"/>
              <a:gd name="connsiteX33860" fmla="*/ 1030257 w 8079933"/>
              <a:gd name="connsiteY33860" fmla="*/ 1129045 h 4687251"/>
              <a:gd name="connsiteX33861" fmla="*/ 1033078 w 8079933"/>
              <a:gd name="connsiteY33861" fmla="*/ 1129045 h 4687251"/>
              <a:gd name="connsiteX33862" fmla="*/ 1034380 w 8079933"/>
              <a:gd name="connsiteY33862" fmla="*/ 1126122 h 4687251"/>
              <a:gd name="connsiteX33863" fmla="*/ 1031668 w 8079933"/>
              <a:gd name="connsiteY33863" fmla="*/ 1124606 h 4687251"/>
              <a:gd name="connsiteX33864" fmla="*/ 1027761 w 8079933"/>
              <a:gd name="connsiteY33864" fmla="*/ 1125798 h 4687251"/>
              <a:gd name="connsiteX33865" fmla="*/ 1024830 w 8079933"/>
              <a:gd name="connsiteY33865" fmla="*/ 1123416 h 4687251"/>
              <a:gd name="connsiteX33866" fmla="*/ 1023529 w 8079933"/>
              <a:gd name="connsiteY33866" fmla="*/ 1118868 h 4687251"/>
              <a:gd name="connsiteX33867" fmla="*/ 1020273 w 8079933"/>
              <a:gd name="connsiteY33867" fmla="*/ 1113238 h 4687251"/>
              <a:gd name="connsiteX33868" fmla="*/ 1022009 w 8079933"/>
              <a:gd name="connsiteY33868" fmla="*/ 1112588 h 4687251"/>
              <a:gd name="connsiteX33869" fmla="*/ 1027001 w 8079933"/>
              <a:gd name="connsiteY33869" fmla="*/ 1115404 h 4687251"/>
              <a:gd name="connsiteX33870" fmla="*/ 1030148 w 8079933"/>
              <a:gd name="connsiteY33870" fmla="*/ 1114862 h 4687251"/>
              <a:gd name="connsiteX33871" fmla="*/ 1032210 w 8079933"/>
              <a:gd name="connsiteY33871" fmla="*/ 1109882 h 4687251"/>
              <a:gd name="connsiteX33872" fmla="*/ 1033078 w 8079933"/>
              <a:gd name="connsiteY33872" fmla="*/ 1101545 h 4687251"/>
              <a:gd name="connsiteX33873" fmla="*/ 1037527 w 8079933"/>
              <a:gd name="connsiteY33873" fmla="*/ 1098188 h 4687251"/>
              <a:gd name="connsiteX33874" fmla="*/ 1039372 w 8079933"/>
              <a:gd name="connsiteY33874" fmla="*/ 1095265 h 4687251"/>
              <a:gd name="connsiteX33875" fmla="*/ 1036984 w 8079933"/>
              <a:gd name="connsiteY33875" fmla="*/ 1095049 h 4687251"/>
              <a:gd name="connsiteX33876" fmla="*/ 1030799 w 8079933"/>
              <a:gd name="connsiteY33876" fmla="*/ 1099488 h 4687251"/>
              <a:gd name="connsiteX33877" fmla="*/ 1028086 w 8079933"/>
              <a:gd name="connsiteY33877" fmla="*/ 1103169 h 4687251"/>
              <a:gd name="connsiteX33878" fmla="*/ 1026893 w 8079933"/>
              <a:gd name="connsiteY33878" fmla="*/ 1100678 h 4687251"/>
              <a:gd name="connsiteX33879" fmla="*/ 1023094 w 8079933"/>
              <a:gd name="connsiteY33879" fmla="*/ 1102086 h 4687251"/>
              <a:gd name="connsiteX33880" fmla="*/ 1014305 w 8079933"/>
              <a:gd name="connsiteY33880" fmla="*/ 1104143 h 4687251"/>
              <a:gd name="connsiteX33881" fmla="*/ 1007143 w 8079933"/>
              <a:gd name="connsiteY33881" fmla="*/ 1101870 h 4687251"/>
              <a:gd name="connsiteX33882" fmla="*/ 1004321 w 8079933"/>
              <a:gd name="connsiteY33882" fmla="*/ 1099163 h 4687251"/>
              <a:gd name="connsiteX33883" fmla="*/ 1003127 w 8079933"/>
              <a:gd name="connsiteY33883" fmla="*/ 1094940 h 4687251"/>
              <a:gd name="connsiteX33884" fmla="*/ 996183 w 8079933"/>
              <a:gd name="connsiteY33884" fmla="*/ 1093208 h 4687251"/>
              <a:gd name="connsiteX33885" fmla="*/ 995314 w 8079933"/>
              <a:gd name="connsiteY33885" fmla="*/ 1090935 h 4687251"/>
              <a:gd name="connsiteX33886" fmla="*/ 999764 w 8079933"/>
              <a:gd name="connsiteY33886" fmla="*/ 1089743 h 4687251"/>
              <a:gd name="connsiteX33887" fmla="*/ 1003236 w 8079933"/>
              <a:gd name="connsiteY33887" fmla="*/ 1086929 h 4687251"/>
              <a:gd name="connsiteX33888" fmla="*/ 1003562 w 8079933"/>
              <a:gd name="connsiteY33888" fmla="*/ 1083356 h 4687251"/>
              <a:gd name="connsiteX33889" fmla="*/ 1001174 w 8079933"/>
              <a:gd name="connsiteY33889" fmla="*/ 1082164 h 4687251"/>
              <a:gd name="connsiteX33890" fmla="*/ 999764 w 8079933"/>
              <a:gd name="connsiteY33890" fmla="*/ 1083680 h 4687251"/>
              <a:gd name="connsiteX33891" fmla="*/ 993253 w 8079933"/>
              <a:gd name="connsiteY33891" fmla="*/ 1086929 h 4687251"/>
              <a:gd name="connsiteX33892" fmla="*/ 989128 w 8079933"/>
              <a:gd name="connsiteY33892" fmla="*/ 1087145 h 4687251"/>
              <a:gd name="connsiteX33893" fmla="*/ 987935 w 8079933"/>
              <a:gd name="connsiteY33893" fmla="*/ 1083897 h 4687251"/>
              <a:gd name="connsiteX33894" fmla="*/ 984788 w 8079933"/>
              <a:gd name="connsiteY33894" fmla="*/ 1081623 h 4687251"/>
              <a:gd name="connsiteX33895" fmla="*/ 981751 w 8079933"/>
              <a:gd name="connsiteY33895" fmla="*/ 1077834 h 4687251"/>
              <a:gd name="connsiteX33896" fmla="*/ 978496 w 8079933"/>
              <a:gd name="connsiteY33896" fmla="*/ 1077509 h 4687251"/>
              <a:gd name="connsiteX33897" fmla="*/ 978604 w 8079933"/>
              <a:gd name="connsiteY33897" fmla="*/ 1074044 h 4687251"/>
              <a:gd name="connsiteX33898" fmla="*/ 976216 w 8079933"/>
              <a:gd name="connsiteY33898" fmla="*/ 1073286 h 4687251"/>
              <a:gd name="connsiteX33899" fmla="*/ 970898 w 8079933"/>
              <a:gd name="connsiteY33899" fmla="*/ 1074260 h 4687251"/>
              <a:gd name="connsiteX33900" fmla="*/ 964931 w 8079933"/>
              <a:gd name="connsiteY33900" fmla="*/ 1073719 h 4687251"/>
              <a:gd name="connsiteX33901" fmla="*/ 960156 w 8079933"/>
              <a:gd name="connsiteY33901" fmla="*/ 1074260 h 4687251"/>
              <a:gd name="connsiteX33902" fmla="*/ 956576 w 8079933"/>
              <a:gd name="connsiteY33902" fmla="*/ 1073395 h 4687251"/>
              <a:gd name="connsiteX33903" fmla="*/ 953210 w 8079933"/>
              <a:gd name="connsiteY33903" fmla="*/ 1074802 h 4687251"/>
              <a:gd name="connsiteX33904" fmla="*/ 941816 w 8079933"/>
              <a:gd name="connsiteY33904" fmla="*/ 1072528 h 4687251"/>
              <a:gd name="connsiteX33905" fmla="*/ 940298 w 8079933"/>
              <a:gd name="connsiteY33905" fmla="*/ 1069713 h 4687251"/>
              <a:gd name="connsiteX33906" fmla="*/ 943227 w 8079933"/>
              <a:gd name="connsiteY33906" fmla="*/ 1068631 h 4687251"/>
              <a:gd name="connsiteX33907" fmla="*/ 945723 w 8079933"/>
              <a:gd name="connsiteY33907" fmla="*/ 1069605 h 4687251"/>
              <a:gd name="connsiteX33908" fmla="*/ 947785 w 8079933"/>
              <a:gd name="connsiteY33908" fmla="*/ 1068414 h 4687251"/>
              <a:gd name="connsiteX33909" fmla="*/ 943118 w 8079933"/>
              <a:gd name="connsiteY33909" fmla="*/ 1064083 h 4687251"/>
              <a:gd name="connsiteX33910" fmla="*/ 949195 w 8079933"/>
              <a:gd name="connsiteY33910" fmla="*/ 1058128 h 4687251"/>
              <a:gd name="connsiteX33911" fmla="*/ 948760 w 8079933"/>
              <a:gd name="connsiteY33911" fmla="*/ 1055205 h 4687251"/>
              <a:gd name="connsiteX33912" fmla="*/ 952235 w 8079933"/>
              <a:gd name="connsiteY33912" fmla="*/ 1050766 h 4687251"/>
              <a:gd name="connsiteX33913" fmla="*/ 946374 w 8079933"/>
              <a:gd name="connsiteY33913" fmla="*/ 1050550 h 4687251"/>
              <a:gd name="connsiteX33914" fmla="*/ 945180 w 8079933"/>
              <a:gd name="connsiteY33914" fmla="*/ 1052607 h 4687251"/>
              <a:gd name="connsiteX33915" fmla="*/ 946590 w 8079933"/>
              <a:gd name="connsiteY33915" fmla="*/ 1054664 h 4687251"/>
              <a:gd name="connsiteX33916" fmla="*/ 943444 w 8079933"/>
              <a:gd name="connsiteY33916" fmla="*/ 1059428 h 4687251"/>
              <a:gd name="connsiteX33917" fmla="*/ 939647 w 8079933"/>
              <a:gd name="connsiteY33917" fmla="*/ 1058128 h 4687251"/>
              <a:gd name="connsiteX33918" fmla="*/ 938996 w 8079933"/>
              <a:gd name="connsiteY33918" fmla="*/ 1055205 h 4687251"/>
              <a:gd name="connsiteX33919" fmla="*/ 936932 w 8079933"/>
              <a:gd name="connsiteY33919" fmla="*/ 1054339 h 4687251"/>
              <a:gd name="connsiteX33920" fmla="*/ 936173 w 8079933"/>
              <a:gd name="connsiteY33920" fmla="*/ 1051632 h 4687251"/>
              <a:gd name="connsiteX33921" fmla="*/ 939104 w 8079933"/>
              <a:gd name="connsiteY33921" fmla="*/ 1049575 h 4687251"/>
              <a:gd name="connsiteX33922" fmla="*/ 939104 w 8079933"/>
              <a:gd name="connsiteY33922" fmla="*/ 1047301 h 4687251"/>
              <a:gd name="connsiteX33923" fmla="*/ 937042 w 8079933"/>
              <a:gd name="connsiteY33923" fmla="*/ 1044486 h 4687251"/>
              <a:gd name="connsiteX33924" fmla="*/ 930313 w 8079933"/>
              <a:gd name="connsiteY33924" fmla="*/ 1047085 h 4687251"/>
              <a:gd name="connsiteX33925" fmla="*/ 926189 w 8079933"/>
              <a:gd name="connsiteY33925" fmla="*/ 1045244 h 4687251"/>
              <a:gd name="connsiteX33926" fmla="*/ 922067 w 8079933"/>
              <a:gd name="connsiteY33926" fmla="*/ 1041563 h 4687251"/>
              <a:gd name="connsiteX33927" fmla="*/ 917292 w 8079933"/>
              <a:gd name="connsiteY33927" fmla="*/ 1043620 h 4687251"/>
              <a:gd name="connsiteX33928" fmla="*/ 912627 w 8079933"/>
              <a:gd name="connsiteY33928" fmla="*/ 1043620 h 4687251"/>
              <a:gd name="connsiteX33929" fmla="*/ 912084 w 8079933"/>
              <a:gd name="connsiteY33929" fmla="*/ 1041130 h 4687251"/>
              <a:gd name="connsiteX33930" fmla="*/ 915882 w 8079933"/>
              <a:gd name="connsiteY33930" fmla="*/ 1039722 h 4687251"/>
              <a:gd name="connsiteX33931" fmla="*/ 919462 w 8079933"/>
              <a:gd name="connsiteY33931" fmla="*/ 1038531 h 4687251"/>
              <a:gd name="connsiteX33932" fmla="*/ 917292 w 8079933"/>
              <a:gd name="connsiteY33932" fmla="*/ 1035391 h 4687251"/>
              <a:gd name="connsiteX33933" fmla="*/ 910673 w 8079933"/>
              <a:gd name="connsiteY33933" fmla="*/ 1033659 h 4687251"/>
              <a:gd name="connsiteX33934" fmla="*/ 910238 w 8079933"/>
              <a:gd name="connsiteY33934" fmla="*/ 1030303 h 4687251"/>
              <a:gd name="connsiteX33935" fmla="*/ 915229 w 8079933"/>
              <a:gd name="connsiteY33935" fmla="*/ 1030086 h 4687251"/>
              <a:gd name="connsiteX33936" fmla="*/ 917400 w 8079933"/>
              <a:gd name="connsiteY33936" fmla="*/ 1028895 h 4687251"/>
              <a:gd name="connsiteX33937" fmla="*/ 913602 w 8079933"/>
              <a:gd name="connsiteY33937" fmla="*/ 1026080 h 4687251"/>
              <a:gd name="connsiteX33938" fmla="*/ 909695 w 8079933"/>
              <a:gd name="connsiteY33938" fmla="*/ 1028354 h 4687251"/>
              <a:gd name="connsiteX33939" fmla="*/ 906223 w 8079933"/>
              <a:gd name="connsiteY33939" fmla="*/ 1027163 h 4687251"/>
              <a:gd name="connsiteX33940" fmla="*/ 906765 w 8079933"/>
              <a:gd name="connsiteY33940" fmla="*/ 1023157 h 4687251"/>
              <a:gd name="connsiteX33941" fmla="*/ 910673 w 8079933"/>
              <a:gd name="connsiteY33941" fmla="*/ 1021316 h 4687251"/>
              <a:gd name="connsiteX33942" fmla="*/ 917074 w 8079933"/>
              <a:gd name="connsiteY33942" fmla="*/ 1021966 h 4687251"/>
              <a:gd name="connsiteX33943" fmla="*/ 922283 w 8079933"/>
              <a:gd name="connsiteY33943" fmla="*/ 1026297 h 4687251"/>
              <a:gd name="connsiteX33944" fmla="*/ 922826 w 8079933"/>
              <a:gd name="connsiteY33944" fmla="*/ 1023915 h 4687251"/>
              <a:gd name="connsiteX33945" fmla="*/ 919678 w 8079933"/>
              <a:gd name="connsiteY33945" fmla="*/ 1020775 h 4687251"/>
              <a:gd name="connsiteX33946" fmla="*/ 910673 w 8079933"/>
              <a:gd name="connsiteY33946" fmla="*/ 1018934 h 4687251"/>
              <a:gd name="connsiteX33947" fmla="*/ 908828 w 8079933"/>
              <a:gd name="connsiteY33947" fmla="*/ 1016336 h 4687251"/>
              <a:gd name="connsiteX33948" fmla="*/ 911215 w 8079933"/>
              <a:gd name="connsiteY33948" fmla="*/ 1013088 h 4687251"/>
              <a:gd name="connsiteX33949" fmla="*/ 914472 w 8079933"/>
              <a:gd name="connsiteY33949" fmla="*/ 1013088 h 4687251"/>
              <a:gd name="connsiteX33950" fmla="*/ 919462 w 8079933"/>
              <a:gd name="connsiteY33950" fmla="*/ 1007891 h 4687251"/>
              <a:gd name="connsiteX33951" fmla="*/ 924455 w 8079933"/>
              <a:gd name="connsiteY33951" fmla="*/ 1007783 h 4687251"/>
              <a:gd name="connsiteX33952" fmla="*/ 925323 w 8079933"/>
              <a:gd name="connsiteY33952" fmla="*/ 1006050 h 4687251"/>
              <a:gd name="connsiteX33953" fmla="*/ 921415 w 8079933"/>
              <a:gd name="connsiteY33953" fmla="*/ 1004643 h 4687251"/>
              <a:gd name="connsiteX33954" fmla="*/ 916098 w 8079933"/>
              <a:gd name="connsiteY33954" fmla="*/ 1005726 h 4687251"/>
              <a:gd name="connsiteX33955" fmla="*/ 911432 w 8079933"/>
              <a:gd name="connsiteY33955" fmla="*/ 1008973 h 4687251"/>
              <a:gd name="connsiteX33956" fmla="*/ 909479 w 8079933"/>
              <a:gd name="connsiteY33956" fmla="*/ 1009082 h 4687251"/>
              <a:gd name="connsiteX33957" fmla="*/ 904921 w 8079933"/>
              <a:gd name="connsiteY33957" fmla="*/ 1012546 h 4687251"/>
              <a:gd name="connsiteX33958" fmla="*/ 901231 w 8079933"/>
              <a:gd name="connsiteY33958" fmla="*/ 1009840 h 4687251"/>
              <a:gd name="connsiteX33959" fmla="*/ 900037 w 8079933"/>
              <a:gd name="connsiteY33959" fmla="*/ 1012546 h 4687251"/>
              <a:gd name="connsiteX33960" fmla="*/ 894395 w 8079933"/>
              <a:gd name="connsiteY33960" fmla="*/ 1016661 h 4687251"/>
              <a:gd name="connsiteX33961" fmla="*/ 893526 w 8079933"/>
              <a:gd name="connsiteY33961" fmla="*/ 1013629 h 4687251"/>
              <a:gd name="connsiteX33962" fmla="*/ 895913 w 8079933"/>
              <a:gd name="connsiteY33962" fmla="*/ 1009948 h 4687251"/>
              <a:gd name="connsiteX33963" fmla="*/ 897433 w 8079933"/>
              <a:gd name="connsiteY33963" fmla="*/ 1007024 h 4687251"/>
              <a:gd name="connsiteX33964" fmla="*/ 895262 w 8079933"/>
              <a:gd name="connsiteY33964" fmla="*/ 1007024 h 4687251"/>
              <a:gd name="connsiteX33965" fmla="*/ 891574 w 8079933"/>
              <a:gd name="connsiteY33965" fmla="*/ 1009407 h 4687251"/>
              <a:gd name="connsiteX33966" fmla="*/ 888643 w 8079933"/>
              <a:gd name="connsiteY33966" fmla="*/ 1018610 h 4687251"/>
              <a:gd name="connsiteX33967" fmla="*/ 886581 w 8079933"/>
              <a:gd name="connsiteY33967" fmla="*/ 1019042 h 4687251"/>
              <a:gd name="connsiteX33968" fmla="*/ 885063 w 8079933"/>
              <a:gd name="connsiteY33968" fmla="*/ 1011139 h 4687251"/>
              <a:gd name="connsiteX33969" fmla="*/ 884520 w 8079933"/>
              <a:gd name="connsiteY33969" fmla="*/ 1007241 h 4687251"/>
              <a:gd name="connsiteX33970" fmla="*/ 893309 w 8079933"/>
              <a:gd name="connsiteY33970" fmla="*/ 1001178 h 4687251"/>
              <a:gd name="connsiteX33971" fmla="*/ 887449 w 8079933"/>
              <a:gd name="connsiteY33971" fmla="*/ 1001178 h 4687251"/>
              <a:gd name="connsiteX33972" fmla="*/ 884194 w 8079933"/>
              <a:gd name="connsiteY33972" fmla="*/ 1002044 h 4687251"/>
              <a:gd name="connsiteX33973" fmla="*/ 879744 w 8079933"/>
              <a:gd name="connsiteY33973" fmla="*/ 998796 h 4687251"/>
              <a:gd name="connsiteX33974" fmla="*/ 871931 w 8079933"/>
              <a:gd name="connsiteY33974" fmla="*/ 1002044 h 4687251"/>
              <a:gd name="connsiteX33975" fmla="*/ 873667 w 8079933"/>
              <a:gd name="connsiteY33975" fmla="*/ 1007566 h 4687251"/>
              <a:gd name="connsiteX33976" fmla="*/ 873016 w 8079933"/>
              <a:gd name="connsiteY33976" fmla="*/ 1009840 h 4687251"/>
              <a:gd name="connsiteX33977" fmla="*/ 870954 w 8079933"/>
              <a:gd name="connsiteY33977" fmla="*/ 1008432 h 4687251"/>
              <a:gd name="connsiteX33978" fmla="*/ 868134 w 8079933"/>
              <a:gd name="connsiteY33978" fmla="*/ 1009840 h 4687251"/>
              <a:gd name="connsiteX33979" fmla="*/ 861947 w 8079933"/>
              <a:gd name="connsiteY33979" fmla="*/ 1010489 h 4687251"/>
              <a:gd name="connsiteX33980" fmla="*/ 862166 w 8079933"/>
              <a:gd name="connsiteY33980" fmla="*/ 1014279 h 4687251"/>
              <a:gd name="connsiteX33981" fmla="*/ 866940 w 8079933"/>
              <a:gd name="connsiteY33981" fmla="*/ 1018177 h 4687251"/>
              <a:gd name="connsiteX33982" fmla="*/ 871065 w 8079933"/>
              <a:gd name="connsiteY33982" fmla="*/ 1016552 h 4687251"/>
              <a:gd name="connsiteX33983" fmla="*/ 871065 w 8079933"/>
              <a:gd name="connsiteY33983" fmla="*/ 1020450 h 4687251"/>
              <a:gd name="connsiteX33984" fmla="*/ 869001 w 8079933"/>
              <a:gd name="connsiteY33984" fmla="*/ 1023157 h 4687251"/>
              <a:gd name="connsiteX33985" fmla="*/ 865421 w 8079933"/>
              <a:gd name="connsiteY33985" fmla="*/ 1021858 h 4687251"/>
              <a:gd name="connsiteX33986" fmla="*/ 861298 w 8079933"/>
              <a:gd name="connsiteY33986" fmla="*/ 1021966 h 4687251"/>
              <a:gd name="connsiteX33987" fmla="*/ 859343 w 8079933"/>
              <a:gd name="connsiteY33987" fmla="*/ 1024889 h 4687251"/>
              <a:gd name="connsiteX33988" fmla="*/ 864770 w 8079933"/>
              <a:gd name="connsiteY33988" fmla="*/ 1025648 h 4687251"/>
              <a:gd name="connsiteX33989" fmla="*/ 867810 w 8079933"/>
              <a:gd name="connsiteY33989" fmla="*/ 1027704 h 4687251"/>
              <a:gd name="connsiteX33990" fmla="*/ 872149 w 8079933"/>
              <a:gd name="connsiteY33990" fmla="*/ 1026946 h 4687251"/>
              <a:gd name="connsiteX33991" fmla="*/ 871931 w 8079933"/>
              <a:gd name="connsiteY33991" fmla="*/ 1031602 h 4687251"/>
              <a:gd name="connsiteX33992" fmla="*/ 870412 w 8079933"/>
              <a:gd name="connsiteY33992" fmla="*/ 1034850 h 4687251"/>
              <a:gd name="connsiteX33993" fmla="*/ 861623 w 8079933"/>
              <a:gd name="connsiteY33993" fmla="*/ 1037990 h 4687251"/>
              <a:gd name="connsiteX33994" fmla="*/ 860104 w 8079933"/>
              <a:gd name="connsiteY33994" fmla="*/ 1042970 h 4687251"/>
              <a:gd name="connsiteX33995" fmla="*/ 863033 w 8079933"/>
              <a:gd name="connsiteY33995" fmla="*/ 1044486 h 4687251"/>
              <a:gd name="connsiteX33996" fmla="*/ 859018 w 8079933"/>
              <a:gd name="connsiteY33996" fmla="*/ 1047301 h 4687251"/>
              <a:gd name="connsiteX33997" fmla="*/ 852615 w 8079933"/>
              <a:gd name="connsiteY33997" fmla="*/ 1047951 h 4687251"/>
              <a:gd name="connsiteX33998" fmla="*/ 850554 w 8079933"/>
              <a:gd name="connsiteY33998" fmla="*/ 1053256 h 4687251"/>
              <a:gd name="connsiteX33999" fmla="*/ 846756 w 8079933"/>
              <a:gd name="connsiteY33999" fmla="*/ 1056396 h 4687251"/>
              <a:gd name="connsiteX34000" fmla="*/ 844693 w 8079933"/>
              <a:gd name="connsiteY34000" fmla="*/ 1054664 h 4687251"/>
              <a:gd name="connsiteX34001" fmla="*/ 839593 w 8079933"/>
              <a:gd name="connsiteY34001" fmla="*/ 1054014 h 4687251"/>
              <a:gd name="connsiteX34002" fmla="*/ 839919 w 8079933"/>
              <a:gd name="connsiteY34002" fmla="*/ 1050874 h 4687251"/>
              <a:gd name="connsiteX34003" fmla="*/ 838291 w 8079933"/>
              <a:gd name="connsiteY34003" fmla="*/ 1048060 h 4687251"/>
              <a:gd name="connsiteX34004" fmla="*/ 832322 w 8079933"/>
              <a:gd name="connsiteY34004" fmla="*/ 1053797 h 4687251"/>
              <a:gd name="connsiteX34005" fmla="*/ 831998 w 8079933"/>
              <a:gd name="connsiteY34005" fmla="*/ 1051848 h 4687251"/>
              <a:gd name="connsiteX34006" fmla="*/ 835145 w 8079933"/>
              <a:gd name="connsiteY34006" fmla="*/ 1046219 h 4687251"/>
              <a:gd name="connsiteX34007" fmla="*/ 835253 w 8079933"/>
              <a:gd name="connsiteY34007" fmla="*/ 1042754 h 4687251"/>
              <a:gd name="connsiteX34008" fmla="*/ 831890 w 8079933"/>
              <a:gd name="connsiteY34008" fmla="*/ 1044703 h 4687251"/>
              <a:gd name="connsiteX34009" fmla="*/ 828850 w 8079933"/>
              <a:gd name="connsiteY34009" fmla="*/ 1052607 h 4687251"/>
              <a:gd name="connsiteX34010" fmla="*/ 823860 w 8079933"/>
              <a:gd name="connsiteY34010" fmla="*/ 1059319 h 4687251"/>
              <a:gd name="connsiteX34011" fmla="*/ 820928 w 8079933"/>
              <a:gd name="connsiteY34011" fmla="*/ 1061376 h 4687251"/>
              <a:gd name="connsiteX34012" fmla="*/ 820820 w 8079933"/>
              <a:gd name="connsiteY34012" fmla="*/ 1057587 h 4687251"/>
              <a:gd name="connsiteX34013" fmla="*/ 826463 w 8079933"/>
              <a:gd name="connsiteY34013" fmla="*/ 1051524 h 4687251"/>
              <a:gd name="connsiteX34014" fmla="*/ 824076 w 8079933"/>
              <a:gd name="connsiteY34014" fmla="*/ 1051091 h 4687251"/>
              <a:gd name="connsiteX34015" fmla="*/ 818759 w 8079933"/>
              <a:gd name="connsiteY34015" fmla="*/ 1054664 h 4687251"/>
              <a:gd name="connsiteX34016" fmla="*/ 816696 w 8079933"/>
              <a:gd name="connsiteY34016" fmla="*/ 1063109 h 4687251"/>
              <a:gd name="connsiteX34017" fmla="*/ 813766 w 8079933"/>
              <a:gd name="connsiteY34017" fmla="*/ 1065166 h 4687251"/>
              <a:gd name="connsiteX34018" fmla="*/ 812572 w 8079933"/>
              <a:gd name="connsiteY34018" fmla="*/ 1062351 h 4687251"/>
              <a:gd name="connsiteX34019" fmla="*/ 807364 w 8079933"/>
              <a:gd name="connsiteY34019" fmla="*/ 1062568 h 4687251"/>
              <a:gd name="connsiteX34020" fmla="*/ 800094 w 8079933"/>
              <a:gd name="connsiteY34020" fmla="*/ 1068414 h 4687251"/>
              <a:gd name="connsiteX34021" fmla="*/ 794775 w 8079933"/>
              <a:gd name="connsiteY34021" fmla="*/ 1068631 h 4687251"/>
              <a:gd name="connsiteX34022" fmla="*/ 792714 w 8079933"/>
              <a:gd name="connsiteY34022" fmla="*/ 1065815 h 4687251"/>
              <a:gd name="connsiteX34023" fmla="*/ 794451 w 8079933"/>
              <a:gd name="connsiteY34023" fmla="*/ 1063434 h 4687251"/>
              <a:gd name="connsiteX34024" fmla="*/ 793908 w 8079933"/>
              <a:gd name="connsiteY34024" fmla="*/ 1061052 h 4687251"/>
              <a:gd name="connsiteX34025" fmla="*/ 790653 w 8079933"/>
              <a:gd name="connsiteY34025" fmla="*/ 1064083 h 4687251"/>
              <a:gd name="connsiteX34026" fmla="*/ 790110 w 8079933"/>
              <a:gd name="connsiteY34026" fmla="*/ 1069280 h 4687251"/>
              <a:gd name="connsiteX34027" fmla="*/ 785443 w 8079933"/>
              <a:gd name="connsiteY34027" fmla="*/ 1072745 h 4687251"/>
              <a:gd name="connsiteX34028" fmla="*/ 781862 w 8079933"/>
              <a:gd name="connsiteY34028" fmla="*/ 1074369 h 4687251"/>
              <a:gd name="connsiteX34029" fmla="*/ 780997 w 8079933"/>
              <a:gd name="connsiteY34029" fmla="*/ 1077184 h 4687251"/>
              <a:gd name="connsiteX34030" fmla="*/ 778065 w 8079933"/>
              <a:gd name="connsiteY34030" fmla="*/ 1079025 h 4687251"/>
              <a:gd name="connsiteX34031" fmla="*/ 778282 w 8079933"/>
              <a:gd name="connsiteY34031" fmla="*/ 1075127 h 4687251"/>
              <a:gd name="connsiteX34032" fmla="*/ 774809 w 8079933"/>
              <a:gd name="connsiteY34032" fmla="*/ 1074911 h 4687251"/>
              <a:gd name="connsiteX34033" fmla="*/ 773072 w 8079933"/>
              <a:gd name="connsiteY34033" fmla="*/ 1080324 h 4687251"/>
              <a:gd name="connsiteX34034" fmla="*/ 770468 w 8079933"/>
              <a:gd name="connsiteY34034" fmla="*/ 1077509 h 4687251"/>
              <a:gd name="connsiteX34035" fmla="*/ 768299 w 8079933"/>
              <a:gd name="connsiteY34035" fmla="*/ 1080757 h 4687251"/>
              <a:gd name="connsiteX34036" fmla="*/ 766237 w 8079933"/>
              <a:gd name="connsiteY34036" fmla="*/ 1081840 h 4687251"/>
              <a:gd name="connsiteX34037" fmla="*/ 759617 w 8079933"/>
              <a:gd name="connsiteY34037" fmla="*/ 1074586 h 4687251"/>
              <a:gd name="connsiteX34038" fmla="*/ 759401 w 8079933"/>
              <a:gd name="connsiteY34038" fmla="*/ 1068739 h 4687251"/>
              <a:gd name="connsiteX34039" fmla="*/ 763197 w 8079933"/>
              <a:gd name="connsiteY34039" fmla="*/ 1067873 h 4687251"/>
              <a:gd name="connsiteX34040" fmla="*/ 766345 w 8079933"/>
              <a:gd name="connsiteY34040" fmla="*/ 1068739 h 4687251"/>
              <a:gd name="connsiteX34041" fmla="*/ 766345 w 8079933"/>
              <a:gd name="connsiteY34041" fmla="*/ 1064625 h 4687251"/>
              <a:gd name="connsiteX34042" fmla="*/ 769927 w 8079933"/>
              <a:gd name="connsiteY34042" fmla="*/ 1063217 h 4687251"/>
              <a:gd name="connsiteX34043" fmla="*/ 773615 w 8079933"/>
              <a:gd name="connsiteY34043" fmla="*/ 1063109 h 4687251"/>
              <a:gd name="connsiteX34044" fmla="*/ 778065 w 8079933"/>
              <a:gd name="connsiteY34044" fmla="*/ 1065166 h 4687251"/>
              <a:gd name="connsiteX34045" fmla="*/ 780343 w 8079933"/>
              <a:gd name="connsiteY34045" fmla="*/ 1060835 h 4687251"/>
              <a:gd name="connsiteX34046" fmla="*/ 784033 w 8079933"/>
              <a:gd name="connsiteY34046" fmla="*/ 1060727 h 4687251"/>
              <a:gd name="connsiteX34047" fmla="*/ 792388 w 8079933"/>
              <a:gd name="connsiteY34047" fmla="*/ 1054122 h 4687251"/>
              <a:gd name="connsiteX34048" fmla="*/ 792388 w 8079933"/>
              <a:gd name="connsiteY34048" fmla="*/ 1051524 h 4687251"/>
              <a:gd name="connsiteX34049" fmla="*/ 788808 w 8079933"/>
              <a:gd name="connsiteY34049" fmla="*/ 1050874 h 4687251"/>
              <a:gd name="connsiteX34050" fmla="*/ 784468 w 8079933"/>
              <a:gd name="connsiteY34050" fmla="*/ 1053797 h 4687251"/>
              <a:gd name="connsiteX34051" fmla="*/ 781972 w 8079933"/>
              <a:gd name="connsiteY34051" fmla="*/ 1054014 h 4687251"/>
              <a:gd name="connsiteX34052" fmla="*/ 779475 w 8079933"/>
              <a:gd name="connsiteY34052" fmla="*/ 1057695 h 4687251"/>
              <a:gd name="connsiteX34053" fmla="*/ 774809 w 8079933"/>
              <a:gd name="connsiteY34053" fmla="*/ 1051091 h 4687251"/>
              <a:gd name="connsiteX34054" fmla="*/ 774266 w 8079933"/>
              <a:gd name="connsiteY34054" fmla="*/ 1047626 h 4687251"/>
              <a:gd name="connsiteX34055" fmla="*/ 777849 w 8079933"/>
              <a:gd name="connsiteY34055" fmla="*/ 1042754 h 4687251"/>
              <a:gd name="connsiteX34056" fmla="*/ 791628 w 8079933"/>
              <a:gd name="connsiteY34056" fmla="*/ 1030952 h 4687251"/>
              <a:gd name="connsiteX34057" fmla="*/ 793908 w 8079933"/>
              <a:gd name="connsiteY34057" fmla="*/ 1024348 h 4687251"/>
              <a:gd name="connsiteX34058" fmla="*/ 799441 w 8079933"/>
              <a:gd name="connsiteY34058" fmla="*/ 1021100 h 4687251"/>
              <a:gd name="connsiteX34059" fmla="*/ 803240 w 8079933"/>
              <a:gd name="connsiteY34059" fmla="*/ 1013738 h 4687251"/>
              <a:gd name="connsiteX34060" fmla="*/ 802373 w 8079933"/>
              <a:gd name="connsiteY34060" fmla="*/ 1011356 h 4687251"/>
              <a:gd name="connsiteX34061" fmla="*/ 802697 w 8079933"/>
              <a:gd name="connsiteY34061" fmla="*/ 1006700 h 4687251"/>
              <a:gd name="connsiteX34062" fmla="*/ 807582 w 8079933"/>
              <a:gd name="connsiteY34062" fmla="*/ 1002261 h 4687251"/>
              <a:gd name="connsiteX34063" fmla="*/ 813875 w 8079933"/>
              <a:gd name="connsiteY34063" fmla="*/ 1002261 h 4687251"/>
              <a:gd name="connsiteX34064" fmla="*/ 820820 w 8079933"/>
              <a:gd name="connsiteY34064" fmla="*/ 997389 h 4687251"/>
              <a:gd name="connsiteX34065" fmla="*/ 824619 w 8079933"/>
              <a:gd name="connsiteY34065" fmla="*/ 997063 h 4687251"/>
              <a:gd name="connsiteX34066" fmla="*/ 832215 w 8079933"/>
              <a:gd name="connsiteY34066" fmla="*/ 993599 h 4687251"/>
              <a:gd name="connsiteX34067" fmla="*/ 833408 w 8079933"/>
              <a:gd name="connsiteY34067" fmla="*/ 999662 h 4687251"/>
              <a:gd name="connsiteX34068" fmla="*/ 838185 w 8079933"/>
              <a:gd name="connsiteY34068" fmla="*/ 1002910 h 4687251"/>
              <a:gd name="connsiteX34069" fmla="*/ 841764 w 8079933"/>
              <a:gd name="connsiteY34069" fmla="*/ 1002910 h 4687251"/>
              <a:gd name="connsiteX34070" fmla="*/ 844043 w 8079933"/>
              <a:gd name="connsiteY34070" fmla="*/ 1001828 h 4687251"/>
              <a:gd name="connsiteX34071" fmla="*/ 847841 w 8079933"/>
              <a:gd name="connsiteY34071" fmla="*/ 1002261 h 4687251"/>
              <a:gd name="connsiteX34072" fmla="*/ 852834 w 8079933"/>
              <a:gd name="connsiteY34072" fmla="*/ 1006050 h 4687251"/>
              <a:gd name="connsiteX34073" fmla="*/ 851421 w 8079933"/>
              <a:gd name="connsiteY34073" fmla="*/ 1000637 h 4687251"/>
              <a:gd name="connsiteX34074" fmla="*/ 846322 w 8079933"/>
              <a:gd name="connsiteY34074" fmla="*/ 993166 h 4687251"/>
              <a:gd name="connsiteX34075" fmla="*/ 847190 w 8079933"/>
              <a:gd name="connsiteY34075" fmla="*/ 988943 h 4687251"/>
              <a:gd name="connsiteX34076" fmla="*/ 857500 w 8079933"/>
              <a:gd name="connsiteY34076" fmla="*/ 978333 h 4687251"/>
              <a:gd name="connsiteX34077" fmla="*/ 863141 w 8079933"/>
              <a:gd name="connsiteY34077" fmla="*/ 977792 h 4687251"/>
              <a:gd name="connsiteX34078" fmla="*/ 870630 w 8079933"/>
              <a:gd name="connsiteY34078" fmla="*/ 973353 h 4687251"/>
              <a:gd name="connsiteX34079" fmla="*/ 872473 w 8079933"/>
              <a:gd name="connsiteY34079" fmla="*/ 968372 h 4687251"/>
              <a:gd name="connsiteX34080" fmla="*/ 869328 w 8079933"/>
              <a:gd name="connsiteY34080" fmla="*/ 971837 h 4687251"/>
              <a:gd name="connsiteX34081" fmla="*/ 859561 w 8079933"/>
              <a:gd name="connsiteY34081" fmla="*/ 974760 h 4687251"/>
              <a:gd name="connsiteX34082" fmla="*/ 854895 w 8079933"/>
              <a:gd name="connsiteY34082" fmla="*/ 976492 h 4687251"/>
              <a:gd name="connsiteX34083" fmla="*/ 848927 w 8079933"/>
              <a:gd name="connsiteY34083" fmla="*/ 982989 h 4687251"/>
              <a:gd name="connsiteX34084" fmla="*/ 847515 w 8079933"/>
              <a:gd name="connsiteY34084" fmla="*/ 981256 h 4687251"/>
              <a:gd name="connsiteX34085" fmla="*/ 843934 w 8079933"/>
              <a:gd name="connsiteY34085" fmla="*/ 980606 h 4687251"/>
              <a:gd name="connsiteX34086" fmla="*/ 841438 w 8079933"/>
              <a:gd name="connsiteY34086" fmla="*/ 979199 h 4687251"/>
              <a:gd name="connsiteX34087" fmla="*/ 841113 w 8079933"/>
              <a:gd name="connsiteY34087" fmla="*/ 973894 h 4687251"/>
              <a:gd name="connsiteX34088" fmla="*/ 843934 w 8079933"/>
              <a:gd name="connsiteY34088" fmla="*/ 967722 h 4687251"/>
              <a:gd name="connsiteX34089" fmla="*/ 835796 w 8079933"/>
              <a:gd name="connsiteY34089" fmla="*/ 977792 h 4687251"/>
              <a:gd name="connsiteX34090" fmla="*/ 828526 w 8079933"/>
              <a:gd name="connsiteY34090" fmla="*/ 978549 h 4687251"/>
              <a:gd name="connsiteX34091" fmla="*/ 818759 w 8079933"/>
              <a:gd name="connsiteY34091" fmla="*/ 987320 h 4687251"/>
              <a:gd name="connsiteX34092" fmla="*/ 810294 w 8079933"/>
              <a:gd name="connsiteY34092" fmla="*/ 988077 h 4687251"/>
              <a:gd name="connsiteX34093" fmla="*/ 800094 w 8079933"/>
              <a:gd name="connsiteY34093" fmla="*/ 995656 h 4687251"/>
              <a:gd name="connsiteX34094" fmla="*/ 800094 w 8079933"/>
              <a:gd name="connsiteY34094" fmla="*/ 998471 h 4687251"/>
              <a:gd name="connsiteX34095" fmla="*/ 798031 w 8079933"/>
              <a:gd name="connsiteY34095" fmla="*/ 1000637 h 4687251"/>
              <a:gd name="connsiteX34096" fmla="*/ 793041 w 8079933"/>
              <a:gd name="connsiteY34096" fmla="*/ 1001069 h 4687251"/>
              <a:gd name="connsiteX34097" fmla="*/ 787181 w 8079933"/>
              <a:gd name="connsiteY34097" fmla="*/ 1006050 h 4687251"/>
              <a:gd name="connsiteX34098" fmla="*/ 776328 w 8079933"/>
              <a:gd name="connsiteY34098" fmla="*/ 1011463 h 4687251"/>
              <a:gd name="connsiteX34099" fmla="*/ 776545 w 8079933"/>
              <a:gd name="connsiteY34099" fmla="*/ 1014279 h 4687251"/>
              <a:gd name="connsiteX34100" fmla="*/ 771878 w 8079933"/>
              <a:gd name="connsiteY34100" fmla="*/ 1018610 h 4687251"/>
              <a:gd name="connsiteX34101" fmla="*/ 765477 w 8079933"/>
              <a:gd name="connsiteY34101" fmla="*/ 1019042 h 4687251"/>
              <a:gd name="connsiteX34102" fmla="*/ 762004 w 8079933"/>
              <a:gd name="connsiteY34102" fmla="*/ 1016011 h 4687251"/>
              <a:gd name="connsiteX34103" fmla="*/ 756035 w 8079933"/>
              <a:gd name="connsiteY34103" fmla="*/ 1016552 h 4687251"/>
              <a:gd name="connsiteX34104" fmla="*/ 752780 w 8079933"/>
              <a:gd name="connsiteY34104" fmla="*/ 1019042 h 4687251"/>
              <a:gd name="connsiteX34105" fmla="*/ 752780 w 8079933"/>
              <a:gd name="connsiteY34105" fmla="*/ 1020234 h 4687251"/>
              <a:gd name="connsiteX34106" fmla="*/ 755387 w 8079933"/>
              <a:gd name="connsiteY34106" fmla="*/ 1018177 h 4687251"/>
              <a:gd name="connsiteX34107" fmla="*/ 758099 w 8079933"/>
              <a:gd name="connsiteY34107" fmla="*/ 1017852 h 4687251"/>
              <a:gd name="connsiteX34108" fmla="*/ 764934 w 8079933"/>
              <a:gd name="connsiteY34108" fmla="*/ 1022507 h 4687251"/>
              <a:gd name="connsiteX34109" fmla="*/ 766888 w 8079933"/>
              <a:gd name="connsiteY34109" fmla="*/ 1027813 h 4687251"/>
              <a:gd name="connsiteX34110" fmla="*/ 765151 w 8079933"/>
              <a:gd name="connsiteY34110" fmla="*/ 1034201 h 4687251"/>
              <a:gd name="connsiteX34111" fmla="*/ 756905 w 8079933"/>
              <a:gd name="connsiteY34111" fmla="*/ 1036799 h 4687251"/>
              <a:gd name="connsiteX34112" fmla="*/ 752347 w 8079933"/>
              <a:gd name="connsiteY34112" fmla="*/ 1035067 h 4687251"/>
              <a:gd name="connsiteX34113" fmla="*/ 749958 w 8079933"/>
              <a:gd name="connsiteY34113" fmla="*/ 1035933 h 4687251"/>
              <a:gd name="connsiteX34114" fmla="*/ 750829 w 8079933"/>
              <a:gd name="connsiteY34114" fmla="*/ 1038315 h 4687251"/>
              <a:gd name="connsiteX34115" fmla="*/ 753215 w 8079933"/>
              <a:gd name="connsiteY34115" fmla="*/ 1039181 h 4687251"/>
              <a:gd name="connsiteX34116" fmla="*/ 754625 w 8079933"/>
              <a:gd name="connsiteY34116" fmla="*/ 1041238 h 4687251"/>
              <a:gd name="connsiteX34117" fmla="*/ 749417 w 8079933"/>
              <a:gd name="connsiteY34117" fmla="*/ 1046760 h 4687251"/>
              <a:gd name="connsiteX34118" fmla="*/ 746704 w 8079933"/>
              <a:gd name="connsiteY34118" fmla="*/ 1047085 h 4687251"/>
              <a:gd name="connsiteX34119" fmla="*/ 745509 w 8079933"/>
              <a:gd name="connsiteY34119" fmla="*/ 1044486 h 4687251"/>
              <a:gd name="connsiteX34120" fmla="*/ 746161 w 8079933"/>
              <a:gd name="connsiteY34120" fmla="*/ 1041130 h 4687251"/>
              <a:gd name="connsiteX34121" fmla="*/ 740300 w 8079933"/>
              <a:gd name="connsiteY34121" fmla="*/ 1044378 h 4687251"/>
              <a:gd name="connsiteX34122" fmla="*/ 736069 w 8079933"/>
              <a:gd name="connsiteY34122" fmla="*/ 1040589 h 4687251"/>
              <a:gd name="connsiteX34123" fmla="*/ 729992 w 8079933"/>
              <a:gd name="connsiteY34123" fmla="*/ 1044811 h 4687251"/>
              <a:gd name="connsiteX34124" fmla="*/ 725216 w 8079933"/>
              <a:gd name="connsiteY34124" fmla="*/ 1043836 h 4687251"/>
              <a:gd name="connsiteX34125" fmla="*/ 722612 w 8079933"/>
              <a:gd name="connsiteY34125" fmla="*/ 1045677 h 4687251"/>
              <a:gd name="connsiteX34126" fmla="*/ 723808 w 8079933"/>
              <a:gd name="connsiteY34126" fmla="*/ 1046219 h 4687251"/>
              <a:gd name="connsiteX34127" fmla="*/ 722612 w 8079933"/>
              <a:gd name="connsiteY34127" fmla="*/ 1049142 h 4687251"/>
              <a:gd name="connsiteX34128" fmla="*/ 719356 w 8079933"/>
              <a:gd name="connsiteY34128" fmla="*/ 1049791 h 4687251"/>
              <a:gd name="connsiteX34129" fmla="*/ 718056 w 8079933"/>
              <a:gd name="connsiteY34129" fmla="*/ 1052282 h 4687251"/>
              <a:gd name="connsiteX34130" fmla="*/ 711761 w 8079933"/>
              <a:gd name="connsiteY34130" fmla="*/ 1054772 h 4687251"/>
              <a:gd name="connsiteX34131" fmla="*/ 712086 w 8079933"/>
              <a:gd name="connsiteY34131" fmla="*/ 1059319 h 4687251"/>
              <a:gd name="connsiteX34132" fmla="*/ 711110 w 8079933"/>
              <a:gd name="connsiteY34132" fmla="*/ 1063758 h 4687251"/>
              <a:gd name="connsiteX34133" fmla="*/ 717403 w 8079933"/>
              <a:gd name="connsiteY34133" fmla="*/ 1063542 h 4687251"/>
              <a:gd name="connsiteX34134" fmla="*/ 719791 w 8079933"/>
              <a:gd name="connsiteY34134" fmla="*/ 1065166 h 4687251"/>
              <a:gd name="connsiteX34135" fmla="*/ 721528 w 8079933"/>
              <a:gd name="connsiteY34135" fmla="*/ 1070363 h 4687251"/>
              <a:gd name="connsiteX34136" fmla="*/ 722938 w 8079933"/>
              <a:gd name="connsiteY34136" fmla="*/ 1070363 h 4687251"/>
              <a:gd name="connsiteX34137" fmla="*/ 724783 w 8079933"/>
              <a:gd name="connsiteY34137" fmla="*/ 1071987 h 4687251"/>
              <a:gd name="connsiteX34138" fmla="*/ 724783 w 8079933"/>
              <a:gd name="connsiteY34138" fmla="*/ 1079025 h 4687251"/>
              <a:gd name="connsiteX34139" fmla="*/ 719140 w 8079933"/>
              <a:gd name="connsiteY34139" fmla="*/ 1084438 h 4687251"/>
              <a:gd name="connsiteX34140" fmla="*/ 715668 w 8079933"/>
              <a:gd name="connsiteY34140" fmla="*/ 1085088 h 4687251"/>
              <a:gd name="connsiteX34141" fmla="*/ 710894 w 8079933"/>
              <a:gd name="connsiteY34141" fmla="*/ 1088986 h 4687251"/>
              <a:gd name="connsiteX34142" fmla="*/ 705141 w 8079933"/>
              <a:gd name="connsiteY34142" fmla="*/ 1088986 h 4687251"/>
              <a:gd name="connsiteX34143" fmla="*/ 700149 w 8079933"/>
              <a:gd name="connsiteY34143" fmla="*/ 1094074 h 4687251"/>
              <a:gd name="connsiteX34144" fmla="*/ 695918 w 8079933"/>
              <a:gd name="connsiteY34144" fmla="*/ 1092450 h 4687251"/>
              <a:gd name="connsiteX34145" fmla="*/ 693421 w 8079933"/>
              <a:gd name="connsiteY34145" fmla="*/ 1093641 h 4687251"/>
              <a:gd name="connsiteX34146" fmla="*/ 696243 w 8079933"/>
              <a:gd name="connsiteY34146" fmla="*/ 1095049 h 4687251"/>
              <a:gd name="connsiteX34147" fmla="*/ 697979 w 8079933"/>
              <a:gd name="connsiteY34147" fmla="*/ 1097755 h 4687251"/>
              <a:gd name="connsiteX34148" fmla="*/ 697112 w 8079933"/>
              <a:gd name="connsiteY34148" fmla="*/ 1099163 h 4687251"/>
              <a:gd name="connsiteX34149" fmla="*/ 695374 w 8079933"/>
              <a:gd name="connsiteY34149" fmla="*/ 1097755 h 4687251"/>
              <a:gd name="connsiteX34150" fmla="*/ 692987 w 8079933"/>
              <a:gd name="connsiteY34150" fmla="*/ 1097755 h 4687251"/>
              <a:gd name="connsiteX34151" fmla="*/ 688321 w 8079933"/>
              <a:gd name="connsiteY34151" fmla="*/ 1101545 h 4687251"/>
              <a:gd name="connsiteX34152" fmla="*/ 686802 w 8079933"/>
              <a:gd name="connsiteY34152" fmla="*/ 1105009 h 4687251"/>
              <a:gd name="connsiteX34153" fmla="*/ 689190 w 8079933"/>
              <a:gd name="connsiteY34153" fmla="*/ 1104035 h 4687251"/>
              <a:gd name="connsiteX34154" fmla="*/ 691252 w 8079933"/>
              <a:gd name="connsiteY34154" fmla="*/ 1104035 h 4687251"/>
              <a:gd name="connsiteX34155" fmla="*/ 688973 w 8079933"/>
              <a:gd name="connsiteY34155" fmla="*/ 1110639 h 4687251"/>
              <a:gd name="connsiteX34156" fmla="*/ 687237 w 8079933"/>
              <a:gd name="connsiteY34156" fmla="*/ 1111939 h 4687251"/>
              <a:gd name="connsiteX34157" fmla="*/ 685176 w 8079933"/>
              <a:gd name="connsiteY34157" fmla="*/ 1109990 h 4687251"/>
              <a:gd name="connsiteX34158" fmla="*/ 682787 w 8079933"/>
              <a:gd name="connsiteY34158" fmla="*/ 1112047 h 4687251"/>
              <a:gd name="connsiteX34159" fmla="*/ 681050 w 8079933"/>
              <a:gd name="connsiteY34159" fmla="*/ 1112264 h 4687251"/>
              <a:gd name="connsiteX34160" fmla="*/ 680726 w 8079933"/>
              <a:gd name="connsiteY34160" fmla="*/ 1109882 h 4687251"/>
              <a:gd name="connsiteX34161" fmla="*/ 678664 w 8079933"/>
              <a:gd name="connsiteY34161" fmla="*/ 1109990 h 4687251"/>
              <a:gd name="connsiteX34162" fmla="*/ 677252 w 8079933"/>
              <a:gd name="connsiteY34162" fmla="*/ 1114104 h 4687251"/>
              <a:gd name="connsiteX34163" fmla="*/ 670415 w 8079933"/>
              <a:gd name="connsiteY34163" fmla="*/ 1113455 h 4687251"/>
              <a:gd name="connsiteX34164" fmla="*/ 669222 w 8079933"/>
              <a:gd name="connsiteY34164" fmla="*/ 1112264 h 4687251"/>
              <a:gd name="connsiteX34165" fmla="*/ 667811 w 8079933"/>
              <a:gd name="connsiteY34165" fmla="*/ 1114104 h 4687251"/>
              <a:gd name="connsiteX34166" fmla="*/ 663689 w 8079933"/>
              <a:gd name="connsiteY34166" fmla="*/ 1115187 h 4687251"/>
              <a:gd name="connsiteX34167" fmla="*/ 663796 w 8079933"/>
              <a:gd name="connsiteY34167" fmla="*/ 1118110 h 4687251"/>
              <a:gd name="connsiteX34168" fmla="*/ 661951 w 8079933"/>
              <a:gd name="connsiteY34168" fmla="*/ 1119626 h 4687251"/>
              <a:gd name="connsiteX34169" fmla="*/ 657937 w 8079933"/>
              <a:gd name="connsiteY34169" fmla="*/ 1119626 h 4687251"/>
              <a:gd name="connsiteX34170" fmla="*/ 656742 w 8079933"/>
              <a:gd name="connsiteY34170" fmla="*/ 1123090 h 4687251"/>
              <a:gd name="connsiteX34171" fmla="*/ 654681 w 8079933"/>
              <a:gd name="connsiteY34171" fmla="*/ 1121900 h 4687251"/>
              <a:gd name="connsiteX34172" fmla="*/ 653163 w 8079933"/>
              <a:gd name="connsiteY34172" fmla="*/ 1119084 h 4687251"/>
              <a:gd name="connsiteX34173" fmla="*/ 649907 w 8079933"/>
              <a:gd name="connsiteY34173" fmla="*/ 1119626 h 4687251"/>
              <a:gd name="connsiteX34174" fmla="*/ 648280 w 8079933"/>
              <a:gd name="connsiteY34174" fmla="*/ 1121900 h 4687251"/>
              <a:gd name="connsiteX34175" fmla="*/ 645568 w 8079933"/>
              <a:gd name="connsiteY34175" fmla="*/ 1122874 h 4687251"/>
              <a:gd name="connsiteX34176" fmla="*/ 644155 w 8079933"/>
              <a:gd name="connsiteY34176" fmla="*/ 1126555 h 4687251"/>
              <a:gd name="connsiteX34177" fmla="*/ 639924 w 8079933"/>
              <a:gd name="connsiteY34177" fmla="*/ 1128396 h 4687251"/>
              <a:gd name="connsiteX34178" fmla="*/ 634930 w 8079933"/>
              <a:gd name="connsiteY34178" fmla="*/ 1133593 h 4687251"/>
              <a:gd name="connsiteX34179" fmla="*/ 633304 w 8079933"/>
              <a:gd name="connsiteY34179" fmla="*/ 1131861 h 4687251"/>
              <a:gd name="connsiteX34180" fmla="*/ 631568 w 8079933"/>
              <a:gd name="connsiteY34180" fmla="*/ 1131427 h 4687251"/>
              <a:gd name="connsiteX34181" fmla="*/ 628203 w 8079933"/>
              <a:gd name="connsiteY34181" fmla="*/ 1135434 h 4687251"/>
              <a:gd name="connsiteX34182" fmla="*/ 623861 w 8079933"/>
              <a:gd name="connsiteY34182" fmla="*/ 1137057 h 4687251"/>
              <a:gd name="connsiteX34183" fmla="*/ 617351 w 8079933"/>
              <a:gd name="connsiteY34183" fmla="*/ 1141822 h 4687251"/>
              <a:gd name="connsiteX34184" fmla="*/ 618220 w 8079933"/>
              <a:gd name="connsiteY34184" fmla="*/ 1142471 h 4687251"/>
              <a:gd name="connsiteX34185" fmla="*/ 621476 w 8079933"/>
              <a:gd name="connsiteY34185" fmla="*/ 1142363 h 4687251"/>
              <a:gd name="connsiteX34186" fmla="*/ 622886 w 8079933"/>
              <a:gd name="connsiteY34186" fmla="*/ 1142471 h 4687251"/>
              <a:gd name="connsiteX34187" fmla="*/ 622670 w 8079933"/>
              <a:gd name="connsiteY34187" fmla="*/ 1146261 h 4687251"/>
              <a:gd name="connsiteX34188" fmla="*/ 617677 w 8079933"/>
              <a:gd name="connsiteY34188" fmla="*/ 1152324 h 4687251"/>
              <a:gd name="connsiteX34189" fmla="*/ 613662 w 8079933"/>
              <a:gd name="connsiteY34189" fmla="*/ 1153190 h 4687251"/>
              <a:gd name="connsiteX34190" fmla="*/ 611491 w 8079933"/>
              <a:gd name="connsiteY34190" fmla="*/ 1150700 h 4687251"/>
              <a:gd name="connsiteX34191" fmla="*/ 609864 w 8079933"/>
              <a:gd name="connsiteY34191" fmla="*/ 1151782 h 4687251"/>
              <a:gd name="connsiteX34192" fmla="*/ 607367 w 8079933"/>
              <a:gd name="connsiteY34192" fmla="*/ 1155788 h 4687251"/>
              <a:gd name="connsiteX34193" fmla="*/ 603895 w 8079933"/>
              <a:gd name="connsiteY34193" fmla="*/ 1155572 h 4687251"/>
              <a:gd name="connsiteX34194" fmla="*/ 601834 w 8079933"/>
              <a:gd name="connsiteY34194" fmla="*/ 1159037 h 4687251"/>
              <a:gd name="connsiteX34195" fmla="*/ 595974 w 8079933"/>
              <a:gd name="connsiteY34195" fmla="*/ 1162718 h 4687251"/>
              <a:gd name="connsiteX34196" fmla="*/ 593586 w 8079933"/>
              <a:gd name="connsiteY34196" fmla="*/ 1161094 h 4687251"/>
              <a:gd name="connsiteX34197" fmla="*/ 593586 w 8079933"/>
              <a:gd name="connsiteY34197" fmla="*/ 1157954 h 4687251"/>
              <a:gd name="connsiteX34198" fmla="*/ 591851 w 8079933"/>
              <a:gd name="connsiteY34198" fmla="*/ 1155897 h 4687251"/>
              <a:gd name="connsiteX34199" fmla="*/ 589898 w 8079933"/>
              <a:gd name="connsiteY34199" fmla="*/ 1157629 h 4687251"/>
              <a:gd name="connsiteX34200" fmla="*/ 589787 w 8079933"/>
              <a:gd name="connsiteY34200" fmla="*/ 1161743 h 4687251"/>
              <a:gd name="connsiteX34201" fmla="*/ 586315 w 8079933"/>
              <a:gd name="connsiteY34201" fmla="*/ 1164559 h 4687251"/>
              <a:gd name="connsiteX34202" fmla="*/ 587183 w 8079933"/>
              <a:gd name="connsiteY34202" fmla="*/ 1166074 h 4687251"/>
              <a:gd name="connsiteX34203" fmla="*/ 585448 w 8079933"/>
              <a:gd name="connsiteY34203" fmla="*/ 1169106 h 4687251"/>
              <a:gd name="connsiteX34204" fmla="*/ 583168 w 8079933"/>
              <a:gd name="connsiteY34204" fmla="*/ 1169106 h 4687251"/>
              <a:gd name="connsiteX34205" fmla="*/ 581976 w 8079933"/>
              <a:gd name="connsiteY34205" fmla="*/ 1165208 h 4687251"/>
              <a:gd name="connsiteX34206" fmla="*/ 579588 w 8079933"/>
              <a:gd name="connsiteY34206" fmla="*/ 1164991 h 4687251"/>
              <a:gd name="connsiteX34207" fmla="*/ 576657 w 8079933"/>
              <a:gd name="connsiteY34207" fmla="*/ 1167049 h 4687251"/>
              <a:gd name="connsiteX34208" fmla="*/ 573076 w 8079933"/>
              <a:gd name="connsiteY34208" fmla="*/ 1167806 h 4687251"/>
              <a:gd name="connsiteX34209" fmla="*/ 570799 w 8079933"/>
              <a:gd name="connsiteY34209" fmla="*/ 1169106 h 4687251"/>
              <a:gd name="connsiteX34210" fmla="*/ 572642 w 8079933"/>
              <a:gd name="connsiteY34210" fmla="*/ 1169647 h 4687251"/>
              <a:gd name="connsiteX34211" fmla="*/ 573184 w 8079933"/>
              <a:gd name="connsiteY34211" fmla="*/ 1172787 h 4687251"/>
              <a:gd name="connsiteX34212" fmla="*/ 571015 w 8079933"/>
              <a:gd name="connsiteY34212" fmla="*/ 1174844 h 4687251"/>
              <a:gd name="connsiteX34213" fmla="*/ 561683 w 8079933"/>
              <a:gd name="connsiteY34213" fmla="*/ 1175169 h 4687251"/>
              <a:gd name="connsiteX34214" fmla="*/ 554303 w 8079933"/>
              <a:gd name="connsiteY34214" fmla="*/ 1179067 h 4687251"/>
              <a:gd name="connsiteX34215" fmla="*/ 548334 w 8079933"/>
              <a:gd name="connsiteY34215" fmla="*/ 1180691 h 4687251"/>
              <a:gd name="connsiteX34216" fmla="*/ 549855 w 8079933"/>
              <a:gd name="connsiteY34216" fmla="*/ 1182098 h 4687251"/>
              <a:gd name="connsiteX34217" fmla="*/ 557233 w 8079933"/>
              <a:gd name="connsiteY34217" fmla="*/ 1182206 h 4687251"/>
              <a:gd name="connsiteX34218" fmla="*/ 557450 w 8079933"/>
              <a:gd name="connsiteY34218" fmla="*/ 1184263 h 4687251"/>
              <a:gd name="connsiteX34219" fmla="*/ 553762 w 8079933"/>
              <a:gd name="connsiteY34219" fmla="*/ 1186971 h 4687251"/>
              <a:gd name="connsiteX34220" fmla="*/ 555605 w 8079933"/>
              <a:gd name="connsiteY34220" fmla="*/ 1188053 h 4687251"/>
              <a:gd name="connsiteX34221" fmla="*/ 551916 w 8079933"/>
              <a:gd name="connsiteY34221" fmla="*/ 1192059 h 4687251"/>
              <a:gd name="connsiteX34222" fmla="*/ 549312 w 8079933"/>
              <a:gd name="connsiteY34222" fmla="*/ 1193250 h 4687251"/>
              <a:gd name="connsiteX34223" fmla="*/ 549096 w 8079933"/>
              <a:gd name="connsiteY34223" fmla="*/ 1189028 h 4687251"/>
              <a:gd name="connsiteX34224" fmla="*/ 549855 w 8079933"/>
              <a:gd name="connsiteY34224" fmla="*/ 1185779 h 4687251"/>
              <a:gd name="connsiteX34225" fmla="*/ 548988 w 8079933"/>
              <a:gd name="connsiteY34225" fmla="*/ 1184372 h 4687251"/>
              <a:gd name="connsiteX34226" fmla="*/ 546273 w 8079933"/>
              <a:gd name="connsiteY34226" fmla="*/ 1186646 h 4687251"/>
              <a:gd name="connsiteX34227" fmla="*/ 543887 w 8079933"/>
              <a:gd name="connsiteY34227" fmla="*/ 1192059 h 4687251"/>
              <a:gd name="connsiteX34228" fmla="*/ 542801 w 8079933"/>
              <a:gd name="connsiteY34228" fmla="*/ 1190760 h 4687251"/>
              <a:gd name="connsiteX34229" fmla="*/ 541282 w 8079933"/>
              <a:gd name="connsiteY34229" fmla="*/ 1191193 h 4687251"/>
              <a:gd name="connsiteX34230" fmla="*/ 537049 w 8079933"/>
              <a:gd name="connsiteY34230" fmla="*/ 1196281 h 4687251"/>
              <a:gd name="connsiteX34231" fmla="*/ 532166 w 8079933"/>
              <a:gd name="connsiteY34231" fmla="*/ 1196499 h 4687251"/>
              <a:gd name="connsiteX34232" fmla="*/ 528803 w 8079933"/>
              <a:gd name="connsiteY34232" fmla="*/ 1195632 h 4687251"/>
              <a:gd name="connsiteX34233" fmla="*/ 525871 w 8079933"/>
              <a:gd name="connsiteY34233" fmla="*/ 1197364 h 4687251"/>
              <a:gd name="connsiteX34234" fmla="*/ 523267 w 8079933"/>
              <a:gd name="connsiteY34234" fmla="*/ 1194441 h 4687251"/>
              <a:gd name="connsiteX34235" fmla="*/ 522507 w 8079933"/>
              <a:gd name="connsiteY34235" fmla="*/ 1195957 h 4687251"/>
              <a:gd name="connsiteX34236" fmla="*/ 522183 w 8079933"/>
              <a:gd name="connsiteY34236" fmla="*/ 1203211 h 4687251"/>
              <a:gd name="connsiteX34237" fmla="*/ 515672 w 8079933"/>
              <a:gd name="connsiteY34237" fmla="*/ 1210032 h 4687251"/>
              <a:gd name="connsiteX34238" fmla="*/ 513393 w 8079933"/>
              <a:gd name="connsiteY34238" fmla="*/ 1209924 h 4687251"/>
              <a:gd name="connsiteX34239" fmla="*/ 513284 w 8079933"/>
              <a:gd name="connsiteY34239" fmla="*/ 1207975 h 4687251"/>
              <a:gd name="connsiteX34240" fmla="*/ 516215 w 8079933"/>
              <a:gd name="connsiteY34240" fmla="*/ 1202886 h 4687251"/>
              <a:gd name="connsiteX34241" fmla="*/ 519471 w 8079933"/>
              <a:gd name="connsiteY34241" fmla="*/ 1198555 h 4687251"/>
              <a:gd name="connsiteX34242" fmla="*/ 519471 w 8079933"/>
              <a:gd name="connsiteY34242" fmla="*/ 1195740 h 4687251"/>
              <a:gd name="connsiteX34243" fmla="*/ 516323 w 8079933"/>
              <a:gd name="connsiteY34243" fmla="*/ 1194550 h 4687251"/>
              <a:gd name="connsiteX34244" fmla="*/ 512089 w 8079933"/>
              <a:gd name="connsiteY34244" fmla="*/ 1197040 h 4687251"/>
              <a:gd name="connsiteX34245" fmla="*/ 507532 w 8079933"/>
              <a:gd name="connsiteY34245" fmla="*/ 1203536 h 4687251"/>
              <a:gd name="connsiteX34246" fmla="*/ 503409 w 8079933"/>
              <a:gd name="connsiteY34246" fmla="*/ 1203536 h 4687251"/>
              <a:gd name="connsiteX34247" fmla="*/ 499829 w 8079933"/>
              <a:gd name="connsiteY34247" fmla="*/ 1206459 h 4687251"/>
              <a:gd name="connsiteX34248" fmla="*/ 496246 w 8079933"/>
              <a:gd name="connsiteY34248" fmla="*/ 1205918 h 4687251"/>
              <a:gd name="connsiteX34249" fmla="*/ 492883 w 8079933"/>
              <a:gd name="connsiteY34249" fmla="*/ 1210790 h 4687251"/>
              <a:gd name="connsiteX34250" fmla="*/ 491256 w 8079933"/>
              <a:gd name="connsiteY34250" fmla="*/ 1210357 h 4687251"/>
              <a:gd name="connsiteX34251" fmla="*/ 492774 w 8079933"/>
              <a:gd name="connsiteY34251" fmla="*/ 1207325 h 4687251"/>
              <a:gd name="connsiteX34252" fmla="*/ 491689 w 8079933"/>
              <a:gd name="connsiteY34252" fmla="*/ 1204402 h 4687251"/>
              <a:gd name="connsiteX34253" fmla="*/ 489303 w 8079933"/>
              <a:gd name="connsiteY34253" fmla="*/ 1204185 h 4687251"/>
              <a:gd name="connsiteX34254" fmla="*/ 488216 w 8079933"/>
              <a:gd name="connsiteY34254" fmla="*/ 1206784 h 4687251"/>
              <a:gd name="connsiteX34255" fmla="*/ 487025 w 8079933"/>
              <a:gd name="connsiteY34255" fmla="*/ 1204510 h 4687251"/>
              <a:gd name="connsiteX34256" fmla="*/ 484311 w 8079933"/>
              <a:gd name="connsiteY34256" fmla="*/ 1205701 h 4687251"/>
              <a:gd name="connsiteX34257" fmla="*/ 483227 w 8079933"/>
              <a:gd name="connsiteY34257" fmla="*/ 1209166 h 4687251"/>
              <a:gd name="connsiteX34258" fmla="*/ 476388 w 8079933"/>
              <a:gd name="connsiteY34258" fmla="*/ 1213822 h 4687251"/>
              <a:gd name="connsiteX34259" fmla="*/ 474870 w 8079933"/>
              <a:gd name="connsiteY34259" fmla="*/ 1212847 h 4687251"/>
              <a:gd name="connsiteX34260" fmla="*/ 474870 w 8079933"/>
              <a:gd name="connsiteY34260" fmla="*/ 1208732 h 4687251"/>
              <a:gd name="connsiteX34261" fmla="*/ 477583 w 8079933"/>
              <a:gd name="connsiteY34261" fmla="*/ 1204726 h 4687251"/>
              <a:gd name="connsiteX34262" fmla="*/ 481162 w 8079933"/>
              <a:gd name="connsiteY34262" fmla="*/ 1204077 h 4687251"/>
              <a:gd name="connsiteX34263" fmla="*/ 482573 w 8079933"/>
              <a:gd name="connsiteY34263" fmla="*/ 1202020 h 4687251"/>
              <a:gd name="connsiteX34264" fmla="*/ 477799 w 8079933"/>
              <a:gd name="connsiteY34264" fmla="*/ 1198230 h 4687251"/>
              <a:gd name="connsiteX34265" fmla="*/ 475303 w 8079933"/>
              <a:gd name="connsiteY34265" fmla="*/ 1198339 h 4687251"/>
              <a:gd name="connsiteX34266" fmla="*/ 471396 w 8079933"/>
              <a:gd name="connsiteY34266" fmla="*/ 1202886 h 4687251"/>
              <a:gd name="connsiteX34267" fmla="*/ 467599 w 8079933"/>
              <a:gd name="connsiteY34267" fmla="*/ 1205052 h 4687251"/>
              <a:gd name="connsiteX34268" fmla="*/ 468249 w 8079933"/>
              <a:gd name="connsiteY34268" fmla="*/ 1209058 h 4687251"/>
              <a:gd name="connsiteX34269" fmla="*/ 465536 w 8079933"/>
              <a:gd name="connsiteY34269" fmla="*/ 1214363 h 4687251"/>
              <a:gd name="connsiteX34270" fmla="*/ 461088 w 8079933"/>
              <a:gd name="connsiteY34270" fmla="*/ 1217070 h 4687251"/>
              <a:gd name="connsiteX34271" fmla="*/ 456422 w 8079933"/>
              <a:gd name="connsiteY34271" fmla="*/ 1216853 h 4687251"/>
              <a:gd name="connsiteX34272" fmla="*/ 453491 w 8079933"/>
              <a:gd name="connsiteY34272" fmla="*/ 1218802 h 4687251"/>
              <a:gd name="connsiteX34273" fmla="*/ 452623 w 8079933"/>
              <a:gd name="connsiteY34273" fmla="*/ 1222158 h 4687251"/>
              <a:gd name="connsiteX34274" fmla="*/ 451105 w 8079933"/>
              <a:gd name="connsiteY34274" fmla="*/ 1221725 h 4687251"/>
              <a:gd name="connsiteX34275" fmla="*/ 450562 w 8079933"/>
              <a:gd name="connsiteY34275" fmla="*/ 1218802 h 4687251"/>
              <a:gd name="connsiteX34276" fmla="*/ 447958 w 8079933"/>
              <a:gd name="connsiteY34276" fmla="*/ 1223133 h 4687251"/>
              <a:gd name="connsiteX34277" fmla="*/ 443943 w 8079933"/>
              <a:gd name="connsiteY34277" fmla="*/ 1223350 h 4687251"/>
              <a:gd name="connsiteX34278" fmla="*/ 443292 w 8079933"/>
              <a:gd name="connsiteY34278" fmla="*/ 1221401 h 4687251"/>
              <a:gd name="connsiteX34279" fmla="*/ 444159 w 8079933"/>
              <a:gd name="connsiteY34279" fmla="*/ 1218802 h 4687251"/>
              <a:gd name="connsiteX34280" fmla="*/ 442313 w 8079933"/>
              <a:gd name="connsiteY34280" fmla="*/ 1215554 h 4687251"/>
              <a:gd name="connsiteX34281" fmla="*/ 440252 w 8079933"/>
              <a:gd name="connsiteY34281" fmla="*/ 1216745 h 4687251"/>
              <a:gd name="connsiteX34282" fmla="*/ 436345 w 8079933"/>
              <a:gd name="connsiteY34282" fmla="*/ 1224107 h 4687251"/>
              <a:gd name="connsiteX34283" fmla="*/ 432004 w 8079933"/>
              <a:gd name="connsiteY34283" fmla="*/ 1224324 h 4687251"/>
              <a:gd name="connsiteX34284" fmla="*/ 431680 w 8079933"/>
              <a:gd name="connsiteY34284" fmla="*/ 1222808 h 4687251"/>
              <a:gd name="connsiteX34285" fmla="*/ 432004 w 8079933"/>
              <a:gd name="connsiteY34285" fmla="*/ 1219560 h 4687251"/>
              <a:gd name="connsiteX34286" fmla="*/ 430812 w 8079933"/>
              <a:gd name="connsiteY34286" fmla="*/ 1217828 h 4687251"/>
              <a:gd name="connsiteX34287" fmla="*/ 427557 w 8079933"/>
              <a:gd name="connsiteY34287" fmla="*/ 1219560 h 4687251"/>
              <a:gd name="connsiteX34288" fmla="*/ 428100 w 8079933"/>
              <a:gd name="connsiteY34288" fmla="*/ 1222483 h 4687251"/>
              <a:gd name="connsiteX34289" fmla="*/ 426687 w 8079933"/>
              <a:gd name="connsiteY34289" fmla="*/ 1225515 h 4687251"/>
              <a:gd name="connsiteX34290" fmla="*/ 423542 w 8079933"/>
              <a:gd name="connsiteY34290" fmla="*/ 1226814 h 4687251"/>
              <a:gd name="connsiteX34291" fmla="*/ 422455 w 8079933"/>
              <a:gd name="connsiteY34291" fmla="*/ 1223891 h 4687251"/>
              <a:gd name="connsiteX34292" fmla="*/ 423434 w 8079933"/>
              <a:gd name="connsiteY34292" fmla="*/ 1218802 h 4687251"/>
              <a:gd name="connsiteX34293" fmla="*/ 424952 w 8079933"/>
              <a:gd name="connsiteY34293" fmla="*/ 1215770 h 4687251"/>
              <a:gd name="connsiteX34294" fmla="*/ 429618 w 8079933"/>
              <a:gd name="connsiteY34294" fmla="*/ 1214471 h 4687251"/>
              <a:gd name="connsiteX34295" fmla="*/ 433741 w 8079933"/>
              <a:gd name="connsiteY34295" fmla="*/ 1215662 h 4687251"/>
              <a:gd name="connsiteX34296" fmla="*/ 435802 w 8079933"/>
              <a:gd name="connsiteY34296" fmla="*/ 1215229 h 4687251"/>
              <a:gd name="connsiteX34297" fmla="*/ 436237 w 8079933"/>
              <a:gd name="connsiteY34297" fmla="*/ 1212414 h 4687251"/>
              <a:gd name="connsiteX34298" fmla="*/ 439493 w 8079933"/>
              <a:gd name="connsiteY34298" fmla="*/ 1209924 h 4687251"/>
              <a:gd name="connsiteX34299" fmla="*/ 445245 w 8079933"/>
              <a:gd name="connsiteY34299" fmla="*/ 1207867 h 4687251"/>
              <a:gd name="connsiteX34300" fmla="*/ 447522 w 8079933"/>
              <a:gd name="connsiteY34300" fmla="*/ 1208408 h 4687251"/>
              <a:gd name="connsiteX34301" fmla="*/ 449368 w 8079933"/>
              <a:gd name="connsiteY34301" fmla="*/ 1206134 h 4687251"/>
              <a:gd name="connsiteX34302" fmla="*/ 448175 w 8079933"/>
              <a:gd name="connsiteY34302" fmla="*/ 1204185 h 4687251"/>
              <a:gd name="connsiteX34303" fmla="*/ 454034 w 8079933"/>
              <a:gd name="connsiteY34303" fmla="*/ 1198014 h 4687251"/>
              <a:gd name="connsiteX34304" fmla="*/ 459460 w 8079933"/>
              <a:gd name="connsiteY34304" fmla="*/ 1194550 h 4687251"/>
              <a:gd name="connsiteX34305" fmla="*/ 465646 w 8079933"/>
              <a:gd name="connsiteY34305" fmla="*/ 1192059 h 4687251"/>
              <a:gd name="connsiteX34306" fmla="*/ 468575 w 8079933"/>
              <a:gd name="connsiteY34306" fmla="*/ 1188053 h 4687251"/>
              <a:gd name="connsiteX34307" fmla="*/ 472917 w 8079933"/>
              <a:gd name="connsiteY34307" fmla="*/ 1186212 h 4687251"/>
              <a:gd name="connsiteX34308" fmla="*/ 479971 w 8079933"/>
              <a:gd name="connsiteY34308" fmla="*/ 1185346 h 4687251"/>
              <a:gd name="connsiteX34309" fmla="*/ 484637 w 8079933"/>
              <a:gd name="connsiteY34309" fmla="*/ 1184047 h 4687251"/>
              <a:gd name="connsiteX34310" fmla="*/ 486914 w 8079933"/>
              <a:gd name="connsiteY34310" fmla="*/ 1185130 h 4687251"/>
              <a:gd name="connsiteX34311" fmla="*/ 491580 w 8079933"/>
              <a:gd name="connsiteY34311" fmla="*/ 1184697 h 4687251"/>
              <a:gd name="connsiteX34312" fmla="*/ 494944 w 8079933"/>
              <a:gd name="connsiteY34312" fmla="*/ 1186429 h 4687251"/>
              <a:gd name="connsiteX34313" fmla="*/ 493210 w 8079933"/>
              <a:gd name="connsiteY34313" fmla="*/ 1189569 h 4687251"/>
              <a:gd name="connsiteX34314" fmla="*/ 493210 w 8079933"/>
              <a:gd name="connsiteY34314" fmla="*/ 1193791 h 4687251"/>
              <a:gd name="connsiteX34315" fmla="*/ 495814 w 8079933"/>
              <a:gd name="connsiteY34315" fmla="*/ 1197148 h 4687251"/>
              <a:gd name="connsiteX34316" fmla="*/ 498092 w 8079933"/>
              <a:gd name="connsiteY34316" fmla="*/ 1195849 h 4687251"/>
              <a:gd name="connsiteX34317" fmla="*/ 497440 w 8079933"/>
              <a:gd name="connsiteY34317" fmla="*/ 1192384 h 4687251"/>
              <a:gd name="connsiteX34318" fmla="*/ 498200 w 8079933"/>
              <a:gd name="connsiteY34318" fmla="*/ 1190110 h 4687251"/>
              <a:gd name="connsiteX34319" fmla="*/ 500696 w 8079933"/>
              <a:gd name="connsiteY34319" fmla="*/ 1190110 h 4687251"/>
              <a:gd name="connsiteX34320" fmla="*/ 503409 w 8079933"/>
              <a:gd name="connsiteY34320" fmla="*/ 1194116 h 4687251"/>
              <a:gd name="connsiteX34321" fmla="*/ 504928 w 8079933"/>
              <a:gd name="connsiteY34321" fmla="*/ 1193034 h 4687251"/>
              <a:gd name="connsiteX34322" fmla="*/ 505254 w 8079933"/>
              <a:gd name="connsiteY34322" fmla="*/ 1189677 h 4687251"/>
              <a:gd name="connsiteX34323" fmla="*/ 503300 w 8079933"/>
              <a:gd name="connsiteY34323" fmla="*/ 1185888 h 4687251"/>
              <a:gd name="connsiteX34324" fmla="*/ 503734 w 8079933"/>
              <a:gd name="connsiteY34324" fmla="*/ 1183397 h 4687251"/>
              <a:gd name="connsiteX34325" fmla="*/ 506665 w 8079933"/>
              <a:gd name="connsiteY34325" fmla="*/ 1176793 h 4687251"/>
              <a:gd name="connsiteX34326" fmla="*/ 514260 w 8079933"/>
              <a:gd name="connsiteY34326" fmla="*/ 1170730 h 4687251"/>
              <a:gd name="connsiteX34327" fmla="*/ 525329 w 8079933"/>
              <a:gd name="connsiteY34327" fmla="*/ 1166724 h 4687251"/>
              <a:gd name="connsiteX34328" fmla="*/ 531839 w 8079933"/>
              <a:gd name="connsiteY34328" fmla="*/ 1160661 h 4687251"/>
              <a:gd name="connsiteX34329" fmla="*/ 538568 w 8079933"/>
              <a:gd name="connsiteY34329" fmla="*/ 1160661 h 4687251"/>
              <a:gd name="connsiteX34330" fmla="*/ 542476 w 8079933"/>
              <a:gd name="connsiteY34330" fmla="*/ 1158928 h 4687251"/>
              <a:gd name="connsiteX34331" fmla="*/ 543125 w 8079933"/>
              <a:gd name="connsiteY34331" fmla="*/ 1155463 h 4687251"/>
              <a:gd name="connsiteX34332" fmla="*/ 547466 w 8079933"/>
              <a:gd name="connsiteY34332" fmla="*/ 1153731 h 4687251"/>
              <a:gd name="connsiteX34333" fmla="*/ 552784 w 8079933"/>
              <a:gd name="connsiteY34333" fmla="*/ 1150050 h 4687251"/>
              <a:gd name="connsiteX34334" fmla="*/ 559730 w 8079933"/>
              <a:gd name="connsiteY34334" fmla="*/ 1146910 h 4687251"/>
              <a:gd name="connsiteX34335" fmla="*/ 559730 w 8079933"/>
              <a:gd name="connsiteY34335" fmla="*/ 1151674 h 4687251"/>
              <a:gd name="connsiteX34336" fmla="*/ 563418 w 8079933"/>
              <a:gd name="connsiteY34336" fmla="*/ 1153190 h 4687251"/>
              <a:gd name="connsiteX34337" fmla="*/ 565047 w 8079933"/>
              <a:gd name="connsiteY34337" fmla="*/ 1151133 h 4687251"/>
              <a:gd name="connsiteX34338" fmla="*/ 564396 w 8079933"/>
              <a:gd name="connsiteY34338" fmla="*/ 1148318 h 4687251"/>
              <a:gd name="connsiteX34339" fmla="*/ 567109 w 8079933"/>
              <a:gd name="connsiteY34339" fmla="*/ 1143445 h 4687251"/>
              <a:gd name="connsiteX34340" fmla="*/ 577635 w 8079933"/>
              <a:gd name="connsiteY34340" fmla="*/ 1135109 h 4687251"/>
              <a:gd name="connsiteX34341" fmla="*/ 580348 w 8079933"/>
              <a:gd name="connsiteY34341" fmla="*/ 1133376 h 4687251"/>
              <a:gd name="connsiteX34342" fmla="*/ 581325 w 8079933"/>
              <a:gd name="connsiteY34342" fmla="*/ 1135867 h 4687251"/>
              <a:gd name="connsiteX34343" fmla="*/ 584689 w 8079933"/>
              <a:gd name="connsiteY34343" fmla="*/ 1136516 h 4687251"/>
              <a:gd name="connsiteX34344" fmla="*/ 586642 w 8079933"/>
              <a:gd name="connsiteY34344" fmla="*/ 1133160 h 4687251"/>
              <a:gd name="connsiteX34345" fmla="*/ 584689 w 8079933"/>
              <a:gd name="connsiteY34345" fmla="*/ 1130237 h 4687251"/>
              <a:gd name="connsiteX34346" fmla="*/ 591200 w 8079933"/>
              <a:gd name="connsiteY34346" fmla="*/ 1126555 h 4687251"/>
              <a:gd name="connsiteX34347" fmla="*/ 594672 w 8079933"/>
              <a:gd name="connsiteY34347" fmla="*/ 1121900 h 4687251"/>
              <a:gd name="connsiteX34348" fmla="*/ 597819 w 8079933"/>
              <a:gd name="connsiteY34348" fmla="*/ 1122441 h 4687251"/>
              <a:gd name="connsiteX34349" fmla="*/ 599122 w 8079933"/>
              <a:gd name="connsiteY34349" fmla="*/ 1125581 h 4687251"/>
              <a:gd name="connsiteX34350" fmla="*/ 602267 w 8079933"/>
              <a:gd name="connsiteY34350" fmla="*/ 1126664 h 4687251"/>
              <a:gd name="connsiteX34351" fmla="*/ 603026 w 8079933"/>
              <a:gd name="connsiteY34351" fmla="*/ 1123199 h 4687251"/>
              <a:gd name="connsiteX34352" fmla="*/ 601399 w 8079933"/>
              <a:gd name="connsiteY34352" fmla="*/ 1121359 h 4687251"/>
              <a:gd name="connsiteX34353" fmla="*/ 599989 w 8079933"/>
              <a:gd name="connsiteY34353" fmla="*/ 1118868 h 4687251"/>
              <a:gd name="connsiteX34354" fmla="*/ 602810 w 8079933"/>
              <a:gd name="connsiteY34354" fmla="*/ 1114429 h 4687251"/>
              <a:gd name="connsiteX34355" fmla="*/ 608888 w 8079933"/>
              <a:gd name="connsiteY34355" fmla="*/ 1107500 h 4687251"/>
              <a:gd name="connsiteX34356" fmla="*/ 610515 w 8079933"/>
              <a:gd name="connsiteY34356" fmla="*/ 1101653 h 4687251"/>
              <a:gd name="connsiteX34357" fmla="*/ 614747 w 8079933"/>
              <a:gd name="connsiteY34357" fmla="*/ 1096131 h 4687251"/>
              <a:gd name="connsiteX34358" fmla="*/ 617786 w 8079933"/>
              <a:gd name="connsiteY34358" fmla="*/ 1094940 h 4687251"/>
              <a:gd name="connsiteX34359" fmla="*/ 625707 w 8079933"/>
              <a:gd name="connsiteY34359" fmla="*/ 1096348 h 4687251"/>
              <a:gd name="connsiteX34360" fmla="*/ 621258 w 8079933"/>
              <a:gd name="connsiteY34360" fmla="*/ 1093425 h 4687251"/>
              <a:gd name="connsiteX34361" fmla="*/ 619415 w 8079933"/>
              <a:gd name="connsiteY34361" fmla="*/ 1089419 h 4687251"/>
              <a:gd name="connsiteX34362" fmla="*/ 620174 w 8079933"/>
              <a:gd name="connsiteY34362" fmla="*/ 1084871 h 4687251"/>
              <a:gd name="connsiteX34363" fmla="*/ 624079 w 8079933"/>
              <a:gd name="connsiteY34363" fmla="*/ 1077509 h 4687251"/>
              <a:gd name="connsiteX34364" fmla="*/ 630049 w 8079933"/>
              <a:gd name="connsiteY34364" fmla="*/ 1072528 h 4687251"/>
              <a:gd name="connsiteX34365" fmla="*/ 643287 w 8079933"/>
              <a:gd name="connsiteY34365" fmla="*/ 1065382 h 4687251"/>
              <a:gd name="connsiteX34366" fmla="*/ 646543 w 8079933"/>
              <a:gd name="connsiteY34366" fmla="*/ 1062242 h 4687251"/>
              <a:gd name="connsiteX34367" fmla="*/ 646435 w 8079933"/>
              <a:gd name="connsiteY34367" fmla="*/ 1059644 h 4687251"/>
              <a:gd name="connsiteX34368" fmla="*/ 651642 w 8079933"/>
              <a:gd name="connsiteY34368" fmla="*/ 1053581 h 4687251"/>
              <a:gd name="connsiteX34369" fmla="*/ 654681 w 8079933"/>
              <a:gd name="connsiteY34369" fmla="*/ 1052174 h 4687251"/>
              <a:gd name="connsiteX34370" fmla="*/ 651860 w 8079933"/>
              <a:gd name="connsiteY34370" fmla="*/ 1052174 h 4687251"/>
              <a:gd name="connsiteX34371" fmla="*/ 643503 w 8079933"/>
              <a:gd name="connsiteY34371" fmla="*/ 1056287 h 4687251"/>
              <a:gd name="connsiteX34372" fmla="*/ 640575 w 8079933"/>
              <a:gd name="connsiteY34372" fmla="*/ 1056396 h 4687251"/>
              <a:gd name="connsiteX34373" fmla="*/ 636125 w 8079933"/>
              <a:gd name="connsiteY34373" fmla="*/ 1059860 h 4687251"/>
              <a:gd name="connsiteX34374" fmla="*/ 626685 w 8079933"/>
              <a:gd name="connsiteY34374" fmla="*/ 1061268 h 4687251"/>
              <a:gd name="connsiteX34375" fmla="*/ 619847 w 8079933"/>
              <a:gd name="connsiteY34375" fmla="*/ 1064733 h 4687251"/>
              <a:gd name="connsiteX34376" fmla="*/ 616808 w 8079933"/>
              <a:gd name="connsiteY34376" fmla="*/ 1063975 h 4687251"/>
              <a:gd name="connsiteX34377" fmla="*/ 610950 w 8079933"/>
              <a:gd name="connsiteY34377" fmla="*/ 1057154 h 4687251"/>
              <a:gd name="connsiteX34378" fmla="*/ 611166 w 8079933"/>
              <a:gd name="connsiteY34378" fmla="*/ 1054556 h 4687251"/>
              <a:gd name="connsiteX34379" fmla="*/ 617786 w 8079933"/>
              <a:gd name="connsiteY34379" fmla="*/ 1047518 h 4687251"/>
              <a:gd name="connsiteX34380" fmla="*/ 623861 w 8079933"/>
              <a:gd name="connsiteY34380" fmla="*/ 1044595 h 4687251"/>
              <a:gd name="connsiteX34381" fmla="*/ 616918 w 8079933"/>
              <a:gd name="connsiteY34381" fmla="*/ 1044919 h 4687251"/>
              <a:gd name="connsiteX34382" fmla="*/ 612144 w 8079933"/>
              <a:gd name="connsiteY34382" fmla="*/ 1048384 h 4687251"/>
              <a:gd name="connsiteX34383" fmla="*/ 610623 w 8079933"/>
              <a:gd name="connsiteY34383" fmla="*/ 1048601 h 4687251"/>
              <a:gd name="connsiteX34384" fmla="*/ 605414 w 8079933"/>
              <a:gd name="connsiteY34384" fmla="*/ 1052823 h 4687251"/>
              <a:gd name="connsiteX34385" fmla="*/ 604654 w 8079933"/>
              <a:gd name="connsiteY34385" fmla="*/ 1056721 h 4687251"/>
              <a:gd name="connsiteX34386" fmla="*/ 600313 w 8079933"/>
              <a:gd name="connsiteY34386" fmla="*/ 1063650 h 4687251"/>
              <a:gd name="connsiteX34387" fmla="*/ 600856 w 8079933"/>
              <a:gd name="connsiteY34387" fmla="*/ 1068414 h 4687251"/>
              <a:gd name="connsiteX34388" fmla="*/ 598686 w 8079933"/>
              <a:gd name="connsiteY34388" fmla="*/ 1074152 h 4687251"/>
              <a:gd name="connsiteX34389" fmla="*/ 595974 w 8079933"/>
              <a:gd name="connsiteY34389" fmla="*/ 1073719 h 4687251"/>
              <a:gd name="connsiteX34390" fmla="*/ 593694 w 8079933"/>
              <a:gd name="connsiteY34390" fmla="*/ 1067656 h 4687251"/>
              <a:gd name="connsiteX34391" fmla="*/ 594780 w 8079933"/>
              <a:gd name="connsiteY34391" fmla="*/ 1063325 h 4687251"/>
              <a:gd name="connsiteX34392" fmla="*/ 593261 w 8079933"/>
              <a:gd name="connsiteY34392" fmla="*/ 1055854 h 4687251"/>
              <a:gd name="connsiteX34393" fmla="*/ 590222 w 8079933"/>
              <a:gd name="connsiteY34393" fmla="*/ 1050333 h 4687251"/>
              <a:gd name="connsiteX34394" fmla="*/ 591851 w 8079933"/>
              <a:gd name="connsiteY34394" fmla="*/ 1047951 h 4687251"/>
              <a:gd name="connsiteX34395" fmla="*/ 590114 w 8079933"/>
              <a:gd name="connsiteY34395" fmla="*/ 1045785 h 4687251"/>
              <a:gd name="connsiteX34396" fmla="*/ 587836 w 8079933"/>
              <a:gd name="connsiteY34396" fmla="*/ 1049358 h 4687251"/>
              <a:gd name="connsiteX34397" fmla="*/ 583819 w 8079933"/>
              <a:gd name="connsiteY34397" fmla="*/ 1052282 h 4687251"/>
              <a:gd name="connsiteX34398" fmla="*/ 580455 w 8079933"/>
              <a:gd name="connsiteY34398" fmla="*/ 1050441 h 4687251"/>
              <a:gd name="connsiteX34399" fmla="*/ 581215 w 8079933"/>
              <a:gd name="connsiteY34399" fmla="*/ 1047842 h 4687251"/>
              <a:gd name="connsiteX34400" fmla="*/ 580239 w 8079933"/>
              <a:gd name="connsiteY34400" fmla="*/ 1043295 h 4687251"/>
              <a:gd name="connsiteX34401" fmla="*/ 576657 w 8079933"/>
              <a:gd name="connsiteY34401" fmla="*/ 1041779 h 4687251"/>
              <a:gd name="connsiteX34402" fmla="*/ 576657 w 8079933"/>
              <a:gd name="connsiteY34402" fmla="*/ 1040047 h 4687251"/>
              <a:gd name="connsiteX34403" fmla="*/ 580023 w 8079933"/>
              <a:gd name="connsiteY34403" fmla="*/ 1037990 h 4687251"/>
              <a:gd name="connsiteX34404" fmla="*/ 580998 w 8079933"/>
              <a:gd name="connsiteY34404" fmla="*/ 1034742 h 4687251"/>
              <a:gd name="connsiteX34405" fmla="*/ 573295 w 8079933"/>
              <a:gd name="connsiteY34405" fmla="*/ 1037665 h 4687251"/>
              <a:gd name="connsiteX34406" fmla="*/ 569929 w 8079933"/>
              <a:gd name="connsiteY34406" fmla="*/ 1041238 h 4687251"/>
              <a:gd name="connsiteX34407" fmla="*/ 566241 w 8079933"/>
              <a:gd name="connsiteY34407" fmla="*/ 1040697 h 4687251"/>
              <a:gd name="connsiteX34408" fmla="*/ 564288 w 8079933"/>
              <a:gd name="connsiteY34408" fmla="*/ 1040264 h 4687251"/>
              <a:gd name="connsiteX34409" fmla="*/ 554413 w 8079933"/>
              <a:gd name="connsiteY34409" fmla="*/ 1046544 h 4687251"/>
              <a:gd name="connsiteX34410" fmla="*/ 549204 w 8079933"/>
              <a:gd name="connsiteY34410" fmla="*/ 1051632 h 4687251"/>
              <a:gd name="connsiteX34411" fmla="*/ 546273 w 8079933"/>
              <a:gd name="connsiteY34411" fmla="*/ 1049250 h 4687251"/>
              <a:gd name="connsiteX34412" fmla="*/ 541823 w 8079933"/>
              <a:gd name="connsiteY34412" fmla="*/ 1048709 h 4687251"/>
              <a:gd name="connsiteX34413" fmla="*/ 538893 w 8079933"/>
              <a:gd name="connsiteY34413" fmla="*/ 1046327 h 4687251"/>
              <a:gd name="connsiteX34414" fmla="*/ 540847 w 8079933"/>
              <a:gd name="connsiteY34414" fmla="*/ 1045352 h 4687251"/>
              <a:gd name="connsiteX34415" fmla="*/ 543887 w 8079933"/>
              <a:gd name="connsiteY34415" fmla="*/ 1046219 h 4687251"/>
              <a:gd name="connsiteX34416" fmla="*/ 548229 w 8079933"/>
              <a:gd name="connsiteY34416" fmla="*/ 1043512 h 4687251"/>
              <a:gd name="connsiteX34417" fmla="*/ 552025 w 8079933"/>
              <a:gd name="connsiteY34417" fmla="*/ 1042754 h 4687251"/>
              <a:gd name="connsiteX34418" fmla="*/ 554737 w 8079933"/>
              <a:gd name="connsiteY34418" fmla="*/ 1040589 h 4687251"/>
              <a:gd name="connsiteX34419" fmla="*/ 553543 w 8079933"/>
              <a:gd name="connsiteY34419" fmla="*/ 1037124 h 4687251"/>
              <a:gd name="connsiteX34420" fmla="*/ 554194 w 8079933"/>
              <a:gd name="connsiteY34420" fmla="*/ 1035175 h 4687251"/>
              <a:gd name="connsiteX34421" fmla="*/ 553110 w 8079933"/>
              <a:gd name="connsiteY34421" fmla="*/ 1032577 h 4687251"/>
              <a:gd name="connsiteX34422" fmla="*/ 555064 w 8079933"/>
              <a:gd name="connsiteY34422" fmla="*/ 1030411 h 4687251"/>
              <a:gd name="connsiteX34423" fmla="*/ 560489 w 8079933"/>
              <a:gd name="connsiteY34423" fmla="*/ 1030519 h 4687251"/>
              <a:gd name="connsiteX34424" fmla="*/ 562985 w 8079933"/>
              <a:gd name="connsiteY34424" fmla="*/ 1027596 h 4687251"/>
              <a:gd name="connsiteX34425" fmla="*/ 562226 w 8079933"/>
              <a:gd name="connsiteY34425" fmla="*/ 1024997 h 4687251"/>
              <a:gd name="connsiteX34426" fmla="*/ 558860 w 8079933"/>
              <a:gd name="connsiteY34426" fmla="*/ 1025106 h 4687251"/>
              <a:gd name="connsiteX34427" fmla="*/ 554521 w 8079933"/>
              <a:gd name="connsiteY34427" fmla="*/ 1026513 h 4687251"/>
              <a:gd name="connsiteX34428" fmla="*/ 552349 w 8079933"/>
              <a:gd name="connsiteY34428" fmla="*/ 1025648 h 4687251"/>
              <a:gd name="connsiteX34429" fmla="*/ 552132 w 8079933"/>
              <a:gd name="connsiteY34429" fmla="*/ 1020775 h 4687251"/>
              <a:gd name="connsiteX34430" fmla="*/ 550506 w 8079933"/>
              <a:gd name="connsiteY34430" fmla="*/ 1016011 h 4687251"/>
              <a:gd name="connsiteX34431" fmla="*/ 552459 w 8079933"/>
              <a:gd name="connsiteY34431" fmla="*/ 1014604 h 4687251"/>
              <a:gd name="connsiteX34432" fmla="*/ 554737 w 8079933"/>
              <a:gd name="connsiteY34432" fmla="*/ 1015469 h 4687251"/>
              <a:gd name="connsiteX34433" fmla="*/ 555931 w 8079933"/>
              <a:gd name="connsiteY34433" fmla="*/ 1011789 h 4687251"/>
              <a:gd name="connsiteX34434" fmla="*/ 558755 w 8079933"/>
              <a:gd name="connsiteY34434" fmla="*/ 1009407 h 4687251"/>
              <a:gd name="connsiteX34435" fmla="*/ 565263 w 8079933"/>
              <a:gd name="connsiteY34435" fmla="*/ 1007349 h 4687251"/>
              <a:gd name="connsiteX34436" fmla="*/ 564504 w 8079933"/>
              <a:gd name="connsiteY34436" fmla="*/ 1002044 h 4687251"/>
              <a:gd name="connsiteX34437" fmla="*/ 564829 w 8079933"/>
              <a:gd name="connsiteY34437" fmla="*/ 998038 h 4687251"/>
              <a:gd name="connsiteX34438" fmla="*/ 564504 w 8079933"/>
              <a:gd name="connsiteY34438" fmla="*/ 995656 h 4687251"/>
              <a:gd name="connsiteX34439" fmla="*/ 566025 w 8079933"/>
              <a:gd name="connsiteY34439" fmla="*/ 991109 h 4687251"/>
              <a:gd name="connsiteX34440" fmla="*/ 564829 w 8079933"/>
              <a:gd name="connsiteY34440" fmla="*/ 985046 h 4687251"/>
              <a:gd name="connsiteX34441" fmla="*/ 565482 w 8079933"/>
              <a:gd name="connsiteY34441" fmla="*/ 979957 h 4687251"/>
              <a:gd name="connsiteX34442" fmla="*/ 570689 w 8079933"/>
              <a:gd name="connsiteY34442" fmla="*/ 976709 h 4687251"/>
              <a:gd name="connsiteX34443" fmla="*/ 574596 w 8079933"/>
              <a:gd name="connsiteY34443" fmla="*/ 969888 h 4687251"/>
              <a:gd name="connsiteX34444" fmla="*/ 574704 w 8079933"/>
              <a:gd name="connsiteY34444" fmla="*/ 967073 h 4687251"/>
              <a:gd name="connsiteX34445" fmla="*/ 570799 w 8079933"/>
              <a:gd name="connsiteY34445" fmla="*/ 963716 h 4687251"/>
              <a:gd name="connsiteX34446" fmla="*/ 571124 w 8079933"/>
              <a:gd name="connsiteY34446" fmla="*/ 961010 h 4687251"/>
              <a:gd name="connsiteX34447" fmla="*/ 577200 w 8079933"/>
              <a:gd name="connsiteY34447" fmla="*/ 957328 h 4687251"/>
              <a:gd name="connsiteX34448" fmla="*/ 587183 w 8079933"/>
              <a:gd name="connsiteY34448" fmla="*/ 947476 h 4687251"/>
              <a:gd name="connsiteX34449" fmla="*/ 591959 w 8079933"/>
              <a:gd name="connsiteY34449" fmla="*/ 947043 h 4687251"/>
              <a:gd name="connsiteX34450" fmla="*/ 587509 w 8079933"/>
              <a:gd name="connsiteY34450" fmla="*/ 946068 h 4687251"/>
              <a:gd name="connsiteX34451" fmla="*/ 576875 w 8079933"/>
              <a:gd name="connsiteY34451" fmla="*/ 952998 h 4687251"/>
              <a:gd name="connsiteX34452" fmla="*/ 569929 w 8079933"/>
              <a:gd name="connsiteY34452" fmla="*/ 958303 h 4687251"/>
              <a:gd name="connsiteX34453" fmla="*/ 563744 w 8079933"/>
              <a:gd name="connsiteY34453" fmla="*/ 961551 h 4687251"/>
              <a:gd name="connsiteX34454" fmla="*/ 563636 w 8079933"/>
              <a:gd name="connsiteY34454" fmla="*/ 963608 h 4687251"/>
              <a:gd name="connsiteX34455" fmla="*/ 566131 w 8079933"/>
              <a:gd name="connsiteY34455" fmla="*/ 967073 h 4687251"/>
              <a:gd name="connsiteX34456" fmla="*/ 566025 w 8079933"/>
              <a:gd name="connsiteY34456" fmla="*/ 971187 h 4687251"/>
              <a:gd name="connsiteX34457" fmla="*/ 559622 w 8079933"/>
              <a:gd name="connsiteY34457" fmla="*/ 979740 h 4687251"/>
              <a:gd name="connsiteX34458" fmla="*/ 556799 w 8079933"/>
              <a:gd name="connsiteY34458" fmla="*/ 979957 h 4687251"/>
              <a:gd name="connsiteX34459" fmla="*/ 554086 w 8079933"/>
              <a:gd name="connsiteY34459" fmla="*/ 978333 h 4687251"/>
              <a:gd name="connsiteX34460" fmla="*/ 550288 w 8079933"/>
              <a:gd name="connsiteY34460" fmla="*/ 979957 h 4687251"/>
              <a:gd name="connsiteX34461" fmla="*/ 543235 w 8079933"/>
              <a:gd name="connsiteY34461" fmla="*/ 982880 h 4687251"/>
              <a:gd name="connsiteX34462" fmla="*/ 537159 w 8079933"/>
              <a:gd name="connsiteY34462" fmla="*/ 982880 h 4687251"/>
              <a:gd name="connsiteX34463" fmla="*/ 521422 w 8079933"/>
              <a:gd name="connsiteY34463" fmla="*/ 975734 h 4687251"/>
              <a:gd name="connsiteX34464" fmla="*/ 522834 w 8079933"/>
              <a:gd name="connsiteY34464" fmla="*/ 973136 h 4687251"/>
              <a:gd name="connsiteX34465" fmla="*/ 528151 w 8079933"/>
              <a:gd name="connsiteY34465" fmla="*/ 972378 h 4687251"/>
              <a:gd name="connsiteX34466" fmla="*/ 528041 w 8079933"/>
              <a:gd name="connsiteY34466" fmla="*/ 970645 h 4687251"/>
              <a:gd name="connsiteX34467" fmla="*/ 523594 w 8079933"/>
              <a:gd name="connsiteY34467" fmla="*/ 966856 h 4687251"/>
              <a:gd name="connsiteX34468" fmla="*/ 523702 w 8079933"/>
              <a:gd name="connsiteY34468" fmla="*/ 963175 h 4687251"/>
              <a:gd name="connsiteX34469" fmla="*/ 522942 w 8079933"/>
              <a:gd name="connsiteY34469" fmla="*/ 960577 h 4687251"/>
              <a:gd name="connsiteX34470" fmla="*/ 522507 w 8079933"/>
              <a:gd name="connsiteY34470" fmla="*/ 952457 h 4687251"/>
              <a:gd name="connsiteX34471" fmla="*/ 519252 w 8079933"/>
              <a:gd name="connsiteY34471" fmla="*/ 952131 h 4687251"/>
              <a:gd name="connsiteX34472" fmla="*/ 517841 w 8079933"/>
              <a:gd name="connsiteY34472" fmla="*/ 947909 h 4687251"/>
              <a:gd name="connsiteX34473" fmla="*/ 518820 w 8079933"/>
              <a:gd name="connsiteY34473" fmla="*/ 941629 h 4687251"/>
              <a:gd name="connsiteX34474" fmla="*/ 521640 w 8079933"/>
              <a:gd name="connsiteY34474" fmla="*/ 937948 h 4687251"/>
              <a:gd name="connsiteX34475" fmla="*/ 519252 w 8079933"/>
              <a:gd name="connsiteY34475" fmla="*/ 937623 h 4687251"/>
              <a:gd name="connsiteX34476" fmla="*/ 516866 w 8079933"/>
              <a:gd name="connsiteY34476" fmla="*/ 933833 h 4687251"/>
              <a:gd name="connsiteX34477" fmla="*/ 517734 w 8079933"/>
              <a:gd name="connsiteY34477" fmla="*/ 930586 h 4687251"/>
              <a:gd name="connsiteX34478" fmla="*/ 522726 w 8079933"/>
              <a:gd name="connsiteY34478" fmla="*/ 931776 h 4687251"/>
              <a:gd name="connsiteX34479" fmla="*/ 526306 w 8079933"/>
              <a:gd name="connsiteY34479" fmla="*/ 929286 h 4687251"/>
              <a:gd name="connsiteX34480" fmla="*/ 527500 w 8079933"/>
              <a:gd name="connsiteY34480" fmla="*/ 925388 h 4687251"/>
              <a:gd name="connsiteX34481" fmla="*/ 531515 w 8079933"/>
              <a:gd name="connsiteY34481" fmla="*/ 924523 h 4687251"/>
              <a:gd name="connsiteX34482" fmla="*/ 535206 w 8079933"/>
              <a:gd name="connsiteY34482" fmla="*/ 921707 h 4687251"/>
              <a:gd name="connsiteX34483" fmla="*/ 537483 w 8079933"/>
              <a:gd name="connsiteY34483" fmla="*/ 924955 h 4687251"/>
              <a:gd name="connsiteX34484" fmla="*/ 544103 w 8079933"/>
              <a:gd name="connsiteY34484" fmla="*/ 926147 h 4687251"/>
              <a:gd name="connsiteX34485" fmla="*/ 546381 w 8079933"/>
              <a:gd name="connsiteY34485" fmla="*/ 929936 h 4687251"/>
              <a:gd name="connsiteX34486" fmla="*/ 550722 w 8079933"/>
              <a:gd name="connsiteY34486" fmla="*/ 929611 h 4687251"/>
              <a:gd name="connsiteX34487" fmla="*/ 552784 w 8079933"/>
              <a:gd name="connsiteY34487" fmla="*/ 932101 h 4687251"/>
              <a:gd name="connsiteX34488" fmla="*/ 552784 w 8079933"/>
              <a:gd name="connsiteY34488" fmla="*/ 935025 h 4687251"/>
              <a:gd name="connsiteX34489" fmla="*/ 554956 w 8079933"/>
              <a:gd name="connsiteY34489" fmla="*/ 936974 h 4687251"/>
              <a:gd name="connsiteX34490" fmla="*/ 561140 w 8079933"/>
              <a:gd name="connsiteY34490" fmla="*/ 935349 h 4687251"/>
              <a:gd name="connsiteX34491" fmla="*/ 560814 w 8079933"/>
              <a:gd name="connsiteY34491" fmla="*/ 931993 h 4687251"/>
              <a:gd name="connsiteX34492" fmla="*/ 556366 w 8079933"/>
              <a:gd name="connsiteY34492" fmla="*/ 927121 h 4687251"/>
              <a:gd name="connsiteX34493" fmla="*/ 559403 w 8079933"/>
              <a:gd name="connsiteY34493" fmla="*/ 923981 h 4687251"/>
              <a:gd name="connsiteX34494" fmla="*/ 560273 w 8079933"/>
              <a:gd name="connsiteY34494" fmla="*/ 919433 h 4687251"/>
              <a:gd name="connsiteX34495" fmla="*/ 567868 w 8079933"/>
              <a:gd name="connsiteY34495" fmla="*/ 911963 h 4687251"/>
              <a:gd name="connsiteX34496" fmla="*/ 571666 w 8079933"/>
              <a:gd name="connsiteY34496" fmla="*/ 911421 h 4687251"/>
              <a:gd name="connsiteX34497" fmla="*/ 575898 w 8079933"/>
              <a:gd name="connsiteY34497" fmla="*/ 906549 h 4687251"/>
              <a:gd name="connsiteX34498" fmla="*/ 572317 w 8079933"/>
              <a:gd name="connsiteY34498" fmla="*/ 909148 h 4687251"/>
              <a:gd name="connsiteX34499" fmla="*/ 563636 w 8079933"/>
              <a:gd name="connsiteY34499" fmla="*/ 909148 h 4687251"/>
              <a:gd name="connsiteX34500" fmla="*/ 560597 w 8079933"/>
              <a:gd name="connsiteY34500" fmla="*/ 912504 h 4687251"/>
              <a:gd name="connsiteX34501" fmla="*/ 558643 w 8079933"/>
              <a:gd name="connsiteY34501" fmla="*/ 921274 h 4687251"/>
              <a:gd name="connsiteX34502" fmla="*/ 554845 w 8079933"/>
              <a:gd name="connsiteY34502" fmla="*/ 924631 h 4687251"/>
              <a:gd name="connsiteX34503" fmla="*/ 549855 w 8079933"/>
              <a:gd name="connsiteY34503" fmla="*/ 924955 h 4687251"/>
              <a:gd name="connsiteX34504" fmla="*/ 545948 w 8079933"/>
              <a:gd name="connsiteY34504" fmla="*/ 922357 h 4687251"/>
              <a:gd name="connsiteX34505" fmla="*/ 540847 w 8079933"/>
              <a:gd name="connsiteY34505" fmla="*/ 921707 h 4687251"/>
              <a:gd name="connsiteX34506" fmla="*/ 540412 w 8079933"/>
              <a:gd name="connsiteY34506" fmla="*/ 919109 h 4687251"/>
              <a:gd name="connsiteX34507" fmla="*/ 538893 w 8079933"/>
              <a:gd name="connsiteY34507" fmla="*/ 917376 h 4687251"/>
              <a:gd name="connsiteX34508" fmla="*/ 536073 w 8079933"/>
              <a:gd name="connsiteY34508" fmla="*/ 917485 h 4687251"/>
              <a:gd name="connsiteX34509" fmla="*/ 533904 w 8079933"/>
              <a:gd name="connsiteY34509" fmla="*/ 919433 h 4687251"/>
              <a:gd name="connsiteX34510" fmla="*/ 530756 w 8079933"/>
              <a:gd name="connsiteY34510" fmla="*/ 919975 h 4687251"/>
              <a:gd name="connsiteX34511" fmla="*/ 529346 w 8079933"/>
              <a:gd name="connsiteY34511" fmla="*/ 918135 h 4687251"/>
              <a:gd name="connsiteX34512" fmla="*/ 531080 w 8079933"/>
              <a:gd name="connsiteY34512" fmla="*/ 915752 h 4687251"/>
              <a:gd name="connsiteX34513" fmla="*/ 533361 w 8079933"/>
              <a:gd name="connsiteY34513" fmla="*/ 914453 h 4687251"/>
              <a:gd name="connsiteX34514" fmla="*/ 532599 w 8079933"/>
              <a:gd name="connsiteY34514" fmla="*/ 907849 h 4687251"/>
              <a:gd name="connsiteX34515" fmla="*/ 531515 w 8079933"/>
              <a:gd name="connsiteY34515" fmla="*/ 905250 h 4687251"/>
              <a:gd name="connsiteX34516" fmla="*/ 528803 w 8079933"/>
              <a:gd name="connsiteY34516" fmla="*/ 908931 h 4687251"/>
              <a:gd name="connsiteX34517" fmla="*/ 525871 w 8079933"/>
              <a:gd name="connsiteY34517" fmla="*/ 909581 h 4687251"/>
              <a:gd name="connsiteX34518" fmla="*/ 524896 w 8079933"/>
              <a:gd name="connsiteY34518" fmla="*/ 905684 h 4687251"/>
              <a:gd name="connsiteX34519" fmla="*/ 527065 w 8079933"/>
              <a:gd name="connsiteY34519" fmla="*/ 901460 h 4687251"/>
              <a:gd name="connsiteX34520" fmla="*/ 528041 w 8079933"/>
              <a:gd name="connsiteY34520" fmla="*/ 897563 h 4687251"/>
              <a:gd name="connsiteX34521" fmla="*/ 527282 w 8079933"/>
              <a:gd name="connsiteY34521" fmla="*/ 891608 h 4687251"/>
              <a:gd name="connsiteX34522" fmla="*/ 523158 w 8079933"/>
              <a:gd name="connsiteY34522" fmla="*/ 885437 h 4687251"/>
              <a:gd name="connsiteX34523" fmla="*/ 523158 w 8079933"/>
              <a:gd name="connsiteY34523" fmla="*/ 882513 h 4687251"/>
              <a:gd name="connsiteX34524" fmla="*/ 528803 w 8079933"/>
              <a:gd name="connsiteY34524" fmla="*/ 875801 h 4687251"/>
              <a:gd name="connsiteX34525" fmla="*/ 531080 w 8079933"/>
              <a:gd name="connsiteY34525" fmla="*/ 871362 h 4687251"/>
              <a:gd name="connsiteX34526" fmla="*/ 533142 w 8079933"/>
              <a:gd name="connsiteY34526" fmla="*/ 871036 h 4687251"/>
              <a:gd name="connsiteX34527" fmla="*/ 535530 w 8079933"/>
              <a:gd name="connsiteY34527" fmla="*/ 875151 h 4687251"/>
              <a:gd name="connsiteX34528" fmla="*/ 538350 w 8079933"/>
              <a:gd name="connsiteY34528" fmla="*/ 874826 h 4687251"/>
              <a:gd name="connsiteX34529" fmla="*/ 539545 w 8079933"/>
              <a:gd name="connsiteY34529" fmla="*/ 871470 h 4687251"/>
              <a:gd name="connsiteX34530" fmla="*/ 534663 w 8079933"/>
              <a:gd name="connsiteY34530" fmla="*/ 866056 h 4687251"/>
              <a:gd name="connsiteX34531" fmla="*/ 535747 w 8079933"/>
              <a:gd name="connsiteY34531" fmla="*/ 864865 h 4687251"/>
              <a:gd name="connsiteX34532" fmla="*/ 540412 w 8079933"/>
              <a:gd name="connsiteY34532" fmla="*/ 866489 h 4687251"/>
              <a:gd name="connsiteX34533" fmla="*/ 545514 w 8079933"/>
              <a:gd name="connsiteY34533" fmla="*/ 865299 h 4687251"/>
              <a:gd name="connsiteX34534" fmla="*/ 547575 w 8079933"/>
              <a:gd name="connsiteY34534" fmla="*/ 863783 h 4687251"/>
              <a:gd name="connsiteX34535" fmla="*/ 549529 w 8079933"/>
              <a:gd name="connsiteY34535" fmla="*/ 856528 h 4687251"/>
              <a:gd name="connsiteX34536" fmla="*/ 560055 w 8079933"/>
              <a:gd name="connsiteY34536" fmla="*/ 847001 h 4687251"/>
              <a:gd name="connsiteX34537" fmla="*/ 562769 w 8079933"/>
              <a:gd name="connsiteY34537" fmla="*/ 846784 h 4687251"/>
              <a:gd name="connsiteX34538" fmla="*/ 565698 w 8079933"/>
              <a:gd name="connsiteY34538" fmla="*/ 845485 h 4687251"/>
              <a:gd name="connsiteX34539" fmla="*/ 568302 w 8079933"/>
              <a:gd name="connsiteY34539" fmla="*/ 839638 h 4687251"/>
              <a:gd name="connsiteX34540" fmla="*/ 575247 w 8079933"/>
              <a:gd name="connsiteY34540" fmla="*/ 832817 h 4687251"/>
              <a:gd name="connsiteX34541" fmla="*/ 577310 w 8079933"/>
              <a:gd name="connsiteY34541" fmla="*/ 832709 h 4687251"/>
              <a:gd name="connsiteX34542" fmla="*/ 581325 w 8079933"/>
              <a:gd name="connsiteY34542" fmla="*/ 837473 h 4687251"/>
              <a:gd name="connsiteX34543" fmla="*/ 583062 w 8079933"/>
              <a:gd name="connsiteY34543" fmla="*/ 841804 h 4687251"/>
              <a:gd name="connsiteX34544" fmla="*/ 585448 w 8079933"/>
              <a:gd name="connsiteY34544" fmla="*/ 841804 h 4687251"/>
              <a:gd name="connsiteX34545" fmla="*/ 587617 w 8079933"/>
              <a:gd name="connsiteY34545" fmla="*/ 838014 h 4687251"/>
              <a:gd name="connsiteX34546" fmla="*/ 584689 w 8079933"/>
              <a:gd name="connsiteY34546" fmla="*/ 835416 h 4687251"/>
              <a:gd name="connsiteX34547" fmla="*/ 583711 w 8079933"/>
              <a:gd name="connsiteY34547" fmla="*/ 831951 h 4687251"/>
              <a:gd name="connsiteX34548" fmla="*/ 586750 w 8079933"/>
              <a:gd name="connsiteY34548" fmla="*/ 830327 h 4687251"/>
              <a:gd name="connsiteX34549" fmla="*/ 593586 w 8079933"/>
              <a:gd name="connsiteY34549" fmla="*/ 830652 h 4687251"/>
              <a:gd name="connsiteX34550" fmla="*/ 599122 w 8079933"/>
              <a:gd name="connsiteY34550" fmla="*/ 836606 h 4687251"/>
              <a:gd name="connsiteX34551" fmla="*/ 599663 w 8079933"/>
              <a:gd name="connsiteY34551" fmla="*/ 839746 h 4687251"/>
              <a:gd name="connsiteX34552" fmla="*/ 603136 w 8079933"/>
              <a:gd name="connsiteY34552" fmla="*/ 836282 h 4687251"/>
              <a:gd name="connsiteX34553" fmla="*/ 606392 w 8079933"/>
              <a:gd name="connsiteY34553" fmla="*/ 828053 h 4687251"/>
              <a:gd name="connsiteX34554" fmla="*/ 606608 w 8079933"/>
              <a:gd name="connsiteY34554" fmla="*/ 822098 h 4687251"/>
              <a:gd name="connsiteX34555" fmla="*/ 609648 w 8079933"/>
              <a:gd name="connsiteY34555" fmla="*/ 819716 h 4687251"/>
              <a:gd name="connsiteX34556" fmla="*/ 615181 w 8079933"/>
              <a:gd name="connsiteY34556" fmla="*/ 819283 h 4687251"/>
              <a:gd name="connsiteX34557" fmla="*/ 621041 w 8079933"/>
              <a:gd name="connsiteY34557" fmla="*/ 814953 h 4687251"/>
              <a:gd name="connsiteX34558" fmla="*/ 628419 w 8079933"/>
              <a:gd name="connsiteY34558" fmla="*/ 814953 h 4687251"/>
              <a:gd name="connsiteX34559" fmla="*/ 632869 w 8079933"/>
              <a:gd name="connsiteY34559" fmla="*/ 816252 h 4687251"/>
              <a:gd name="connsiteX34560" fmla="*/ 637101 w 8079933"/>
              <a:gd name="connsiteY34560" fmla="*/ 816035 h 4687251"/>
              <a:gd name="connsiteX34561" fmla="*/ 639924 w 8079933"/>
              <a:gd name="connsiteY34561" fmla="*/ 813545 h 4687251"/>
              <a:gd name="connsiteX34562" fmla="*/ 649583 w 8079933"/>
              <a:gd name="connsiteY34562" fmla="*/ 810189 h 4687251"/>
              <a:gd name="connsiteX34563" fmla="*/ 653054 w 8079933"/>
              <a:gd name="connsiteY34563" fmla="*/ 805425 h 4687251"/>
              <a:gd name="connsiteX34564" fmla="*/ 658587 w 8079933"/>
              <a:gd name="connsiteY34564" fmla="*/ 801851 h 4687251"/>
              <a:gd name="connsiteX34565" fmla="*/ 663146 w 8079933"/>
              <a:gd name="connsiteY34565" fmla="*/ 795680 h 4687251"/>
              <a:gd name="connsiteX34566" fmla="*/ 664664 w 8079933"/>
              <a:gd name="connsiteY34566" fmla="*/ 795031 h 4687251"/>
              <a:gd name="connsiteX34567" fmla="*/ 668354 w 8079933"/>
              <a:gd name="connsiteY34567" fmla="*/ 799253 h 4687251"/>
              <a:gd name="connsiteX34568" fmla="*/ 670308 w 8079933"/>
              <a:gd name="connsiteY34568" fmla="*/ 801635 h 4687251"/>
              <a:gd name="connsiteX34569" fmla="*/ 672478 w 8079933"/>
              <a:gd name="connsiteY34569" fmla="*/ 800661 h 4687251"/>
              <a:gd name="connsiteX34570" fmla="*/ 679532 w 8079933"/>
              <a:gd name="connsiteY34570" fmla="*/ 804775 h 4687251"/>
              <a:gd name="connsiteX34571" fmla="*/ 684524 w 8079933"/>
              <a:gd name="connsiteY34571" fmla="*/ 805533 h 4687251"/>
              <a:gd name="connsiteX34572" fmla="*/ 688212 w 8079933"/>
              <a:gd name="connsiteY34572" fmla="*/ 804234 h 4687251"/>
              <a:gd name="connsiteX34573" fmla="*/ 693095 w 8079933"/>
              <a:gd name="connsiteY34573" fmla="*/ 799794 h 4687251"/>
              <a:gd name="connsiteX34574" fmla="*/ 696134 w 8079933"/>
              <a:gd name="connsiteY34574" fmla="*/ 798171 h 4687251"/>
              <a:gd name="connsiteX34575" fmla="*/ 700691 w 8079933"/>
              <a:gd name="connsiteY34575" fmla="*/ 798604 h 4687251"/>
              <a:gd name="connsiteX34576" fmla="*/ 704707 w 8079933"/>
              <a:gd name="connsiteY34576" fmla="*/ 795572 h 4687251"/>
              <a:gd name="connsiteX34577" fmla="*/ 709156 w 8079933"/>
              <a:gd name="connsiteY34577" fmla="*/ 789834 h 4687251"/>
              <a:gd name="connsiteX34578" fmla="*/ 710675 w 8079933"/>
              <a:gd name="connsiteY34578" fmla="*/ 785070 h 4687251"/>
              <a:gd name="connsiteX34579" fmla="*/ 709915 w 8079933"/>
              <a:gd name="connsiteY34579" fmla="*/ 781388 h 4687251"/>
              <a:gd name="connsiteX34580" fmla="*/ 708724 w 8079933"/>
              <a:gd name="connsiteY34580" fmla="*/ 779223 h 4687251"/>
              <a:gd name="connsiteX34581" fmla="*/ 709915 w 8079933"/>
              <a:gd name="connsiteY34581" fmla="*/ 776408 h 4687251"/>
              <a:gd name="connsiteX34582" fmla="*/ 712196 w 8079933"/>
              <a:gd name="connsiteY34582" fmla="*/ 772835 h 4687251"/>
              <a:gd name="connsiteX34583" fmla="*/ 713498 w 8079933"/>
              <a:gd name="connsiteY34583" fmla="*/ 767205 h 4687251"/>
              <a:gd name="connsiteX34584" fmla="*/ 720985 w 8079933"/>
              <a:gd name="connsiteY34584" fmla="*/ 758760 h 4687251"/>
              <a:gd name="connsiteX34585" fmla="*/ 721528 w 8079933"/>
              <a:gd name="connsiteY34585" fmla="*/ 752264 h 4687251"/>
              <a:gd name="connsiteX34586" fmla="*/ 718597 w 8079933"/>
              <a:gd name="connsiteY34586" fmla="*/ 749015 h 4687251"/>
              <a:gd name="connsiteX34587" fmla="*/ 713498 w 8079933"/>
              <a:gd name="connsiteY34587" fmla="*/ 748366 h 4687251"/>
              <a:gd name="connsiteX34588" fmla="*/ 712955 w 8079933"/>
              <a:gd name="connsiteY34588" fmla="*/ 747175 h 4687251"/>
              <a:gd name="connsiteX34589" fmla="*/ 719356 w 8079933"/>
              <a:gd name="connsiteY34589" fmla="*/ 742195 h 4687251"/>
              <a:gd name="connsiteX34590" fmla="*/ 722287 w 8079933"/>
              <a:gd name="connsiteY34590" fmla="*/ 742519 h 4687251"/>
              <a:gd name="connsiteX34591" fmla="*/ 724457 w 8079933"/>
              <a:gd name="connsiteY34591" fmla="*/ 744685 h 4687251"/>
              <a:gd name="connsiteX34592" fmla="*/ 731403 w 8079933"/>
              <a:gd name="connsiteY34592" fmla="*/ 743710 h 4687251"/>
              <a:gd name="connsiteX34593" fmla="*/ 735635 w 8079933"/>
              <a:gd name="connsiteY34593" fmla="*/ 735807 h 4687251"/>
              <a:gd name="connsiteX34594" fmla="*/ 733138 w 8079933"/>
              <a:gd name="connsiteY34594" fmla="*/ 734399 h 4687251"/>
              <a:gd name="connsiteX34595" fmla="*/ 732922 w 8079933"/>
              <a:gd name="connsiteY34595" fmla="*/ 732558 h 4687251"/>
              <a:gd name="connsiteX34596" fmla="*/ 738238 w 8079933"/>
              <a:gd name="connsiteY34596" fmla="*/ 728769 h 4687251"/>
              <a:gd name="connsiteX34597" fmla="*/ 740300 w 8079933"/>
              <a:gd name="connsiteY34597" fmla="*/ 725304 h 4687251"/>
              <a:gd name="connsiteX34598" fmla="*/ 737914 w 8079933"/>
              <a:gd name="connsiteY34598" fmla="*/ 727037 h 4687251"/>
              <a:gd name="connsiteX34599" fmla="*/ 731727 w 8079933"/>
              <a:gd name="connsiteY34599" fmla="*/ 727362 h 4687251"/>
              <a:gd name="connsiteX34600" fmla="*/ 723589 w 8079933"/>
              <a:gd name="connsiteY34600" fmla="*/ 732342 h 4687251"/>
              <a:gd name="connsiteX34601" fmla="*/ 721201 w 8079933"/>
              <a:gd name="connsiteY34601" fmla="*/ 731476 h 4687251"/>
              <a:gd name="connsiteX34602" fmla="*/ 720225 w 8079933"/>
              <a:gd name="connsiteY34602" fmla="*/ 728552 h 4687251"/>
              <a:gd name="connsiteX34603" fmla="*/ 718272 w 8079933"/>
              <a:gd name="connsiteY34603" fmla="*/ 728552 h 4687251"/>
              <a:gd name="connsiteX34604" fmla="*/ 715233 w 8079933"/>
              <a:gd name="connsiteY34604" fmla="*/ 733317 h 4687251"/>
              <a:gd name="connsiteX34605" fmla="*/ 708287 w 8079933"/>
              <a:gd name="connsiteY34605" fmla="*/ 734074 h 4687251"/>
              <a:gd name="connsiteX34606" fmla="*/ 698414 w 8079933"/>
              <a:gd name="connsiteY34606" fmla="*/ 740029 h 4687251"/>
              <a:gd name="connsiteX34607" fmla="*/ 690709 w 8079933"/>
              <a:gd name="connsiteY34607" fmla="*/ 741762 h 4687251"/>
              <a:gd name="connsiteX34608" fmla="*/ 688973 w 8079933"/>
              <a:gd name="connsiteY34608" fmla="*/ 744576 h 4687251"/>
              <a:gd name="connsiteX34609" fmla="*/ 682787 w 8079933"/>
              <a:gd name="connsiteY34609" fmla="*/ 749882 h 4687251"/>
              <a:gd name="connsiteX34610" fmla="*/ 680399 w 8079933"/>
              <a:gd name="connsiteY34610" fmla="*/ 749665 h 4687251"/>
              <a:gd name="connsiteX34611" fmla="*/ 680182 w 8079933"/>
              <a:gd name="connsiteY34611" fmla="*/ 745226 h 4687251"/>
              <a:gd name="connsiteX34612" fmla="*/ 685065 w 8079933"/>
              <a:gd name="connsiteY34612" fmla="*/ 739380 h 4687251"/>
              <a:gd name="connsiteX34613" fmla="*/ 685176 w 8079933"/>
              <a:gd name="connsiteY34613" fmla="*/ 736672 h 4687251"/>
              <a:gd name="connsiteX34614" fmla="*/ 680399 w 8079933"/>
              <a:gd name="connsiteY34614" fmla="*/ 734941 h 4687251"/>
              <a:gd name="connsiteX34615" fmla="*/ 678772 w 8079933"/>
              <a:gd name="connsiteY34615" fmla="*/ 736998 h 4687251"/>
              <a:gd name="connsiteX34616" fmla="*/ 679205 w 8079933"/>
              <a:gd name="connsiteY34616" fmla="*/ 743494 h 4687251"/>
              <a:gd name="connsiteX34617" fmla="*/ 677143 w 8079933"/>
              <a:gd name="connsiteY34617" fmla="*/ 745876 h 4687251"/>
              <a:gd name="connsiteX34618" fmla="*/ 674539 w 8079933"/>
              <a:gd name="connsiteY34618" fmla="*/ 744576 h 4687251"/>
              <a:gd name="connsiteX34619" fmla="*/ 673020 w 8079933"/>
              <a:gd name="connsiteY34619" fmla="*/ 738838 h 4687251"/>
              <a:gd name="connsiteX34620" fmla="*/ 669005 w 8079933"/>
              <a:gd name="connsiteY34620" fmla="*/ 736131 h 4687251"/>
              <a:gd name="connsiteX34621" fmla="*/ 658371 w 8079933"/>
              <a:gd name="connsiteY34621" fmla="*/ 734724 h 4687251"/>
              <a:gd name="connsiteX34622" fmla="*/ 652838 w 8079933"/>
              <a:gd name="connsiteY34622" fmla="*/ 731692 h 4687251"/>
              <a:gd name="connsiteX34623" fmla="*/ 646109 w 8079933"/>
              <a:gd name="connsiteY34623" fmla="*/ 733858 h 4687251"/>
              <a:gd name="connsiteX34624" fmla="*/ 639924 w 8079933"/>
              <a:gd name="connsiteY34624" fmla="*/ 738297 h 4687251"/>
              <a:gd name="connsiteX34625" fmla="*/ 636776 w 8079933"/>
              <a:gd name="connsiteY34625" fmla="*/ 738188 h 4687251"/>
              <a:gd name="connsiteX34626" fmla="*/ 631568 w 8079933"/>
              <a:gd name="connsiteY34626" fmla="*/ 732558 h 4687251"/>
              <a:gd name="connsiteX34627" fmla="*/ 623755 w 8079933"/>
              <a:gd name="connsiteY34627" fmla="*/ 729419 h 4687251"/>
              <a:gd name="connsiteX34628" fmla="*/ 615397 w 8079933"/>
              <a:gd name="connsiteY34628" fmla="*/ 720107 h 4687251"/>
              <a:gd name="connsiteX34629" fmla="*/ 614747 w 8079933"/>
              <a:gd name="connsiteY34629" fmla="*/ 713828 h 4687251"/>
              <a:gd name="connsiteX34630" fmla="*/ 615940 w 8079933"/>
              <a:gd name="connsiteY34630" fmla="*/ 707115 h 4687251"/>
              <a:gd name="connsiteX34631" fmla="*/ 619738 w 8079933"/>
              <a:gd name="connsiteY34631" fmla="*/ 701052 h 4687251"/>
              <a:gd name="connsiteX34632" fmla="*/ 624948 w 8079933"/>
              <a:gd name="connsiteY34632" fmla="*/ 696288 h 4687251"/>
              <a:gd name="connsiteX34633" fmla="*/ 624732 w 8079933"/>
              <a:gd name="connsiteY34633" fmla="*/ 692607 h 4687251"/>
              <a:gd name="connsiteX34634" fmla="*/ 623319 w 8079933"/>
              <a:gd name="connsiteY34634" fmla="*/ 690874 h 4687251"/>
              <a:gd name="connsiteX34635" fmla="*/ 622343 w 8079933"/>
              <a:gd name="connsiteY34635" fmla="*/ 681238 h 4687251"/>
              <a:gd name="connsiteX34636" fmla="*/ 625924 w 8079933"/>
              <a:gd name="connsiteY34636" fmla="*/ 676366 h 4687251"/>
              <a:gd name="connsiteX34637" fmla="*/ 629722 w 8079933"/>
              <a:gd name="connsiteY34637" fmla="*/ 675933 h 4687251"/>
              <a:gd name="connsiteX34638" fmla="*/ 629722 w 8079933"/>
              <a:gd name="connsiteY34638" fmla="*/ 677882 h 4687251"/>
              <a:gd name="connsiteX34639" fmla="*/ 625599 w 8079933"/>
              <a:gd name="connsiteY34639" fmla="*/ 682321 h 4687251"/>
              <a:gd name="connsiteX34640" fmla="*/ 628855 w 8079933"/>
              <a:gd name="connsiteY34640" fmla="*/ 686977 h 4687251"/>
              <a:gd name="connsiteX34641" fmla="*/ 631784 w 8079933"/>
              <a:gd name="connsiteY34641" fmla="*/ 686977 h 4687251"/>
              <a:gd name="connsiteX34642" fmla="*/ 637101 w 8079933"/>
              <a:gd name="connsiteY34642" fmla="*/ 681455 h 4687251"/>
              <a:gd name="connsiteX34643" fmla="*/ 639381 w 8079933"/>
              <a:gd name="connsiteY34643" fmla="*/ 681130 h 4687251"/>
              <a:gd name="connsiteX34644" fmla="*/ 642636 w 8079933"/>
              <a:gd name="connsiteY34644" fmla="*/ 683728 h 4687251"/>
              <a:gd name="connsiteX34645" fmla="*/ 648170 w 8079933"/>
              <a:gd name="connsiteY34645" fmla="*/ 687518 h 4687251"/>
              <a:gd name="connsiteX34646" fmla="*/ 649039 w 8079933"/>
              <a:gd name="connsiteY34646" fmla="*/ 692282 h 4687251"/>
              <a:gd name="connsiteX34647" fmla="*/ 657069 w 8079933"/>
              <a:gd name="connsiteY34647" fmla="*/ 692065 h 4687251"/>
              <a:gd name="connsiteX34648" fmla="*/ 658806 w 8079933"/>
              <a:gd name="connsiteY34648" fmla="*/ 690766 h 4687251"/>
              <a:gd name="connsiteX34649" fmla="*/ 653270 w 8079933"/>
              <a:gd name="connsiteY34649" fmla="*/ 687842 h 4687251"/>
              <a:gd name="connsiteX34650" fmla="*/ 648496 w 8079933"/>
              <a:gd name="connsiteY34650" fmla="*/ 686652 h 4687251"/>
              <a:gd name="connsiteX34651" fmla="*/ 646435 w 8079933"/>
              <a:gd name="connsiteY34651" fmla="*/ 680913 h 4687251"/>
              <a:gd name="connsiteX34652" fmla="*/ 641226 w 8079933"/>
              <a:gd name="connsiteY34652" fmla="*/ 678207 h 4687251"/>
              <a:gd name="connsiteX34653" fmla="*/ 636233 w 8079933"/>
              <a:gd name="connsiteY34653" fmla="*/ 671277 h 4687251"/>
              <a:gd name="connsiteX34654" fmla="*/ 629505 w 8079933"/>
              <a:gd name="connsiteY34654" fmla="*/ 669545 h 4687251"/>
              <a:gd name="connsiteX34655" fmla="*/ 623319 w 8079933"/>
              <a:gd name="connsiteY34655" fmla="*/ 660017 h 4687251"/>
              <a:gd name="connsiteX34656" fmla="*/ 616808 w 8079933"/>
              <a:gd name="connsiteY34656" fmla="*/ 651897 h 4687251"/>
              <a:gd name="connsiteX34657" fmla="*/ 616918 w 8079933"/>
              <a:gd name="connsiteY34657" fmla="*/ 650165 h 4687251"/>
              <a:gd name="connsiteX34658" fmla="*/ 620717 w 8079933"/>
              <a:gd name="connsiteY34658" fmla="*/ 644534 h 4687251"/>
              <a:gd name="connsiteX34659" fmla="*/ 624732 w 8079933"/>
              <a:gd name="connsiteY34659" fmla="*/ 642802 h 4687251"/>
              <a:gd name="connsiteX34660" fmla="*/ 623537 w 8079933"/>
              <a:gd name="connsiteY34660" fmla="*/ 645726 h 4687251"/>
              <a:gd name="connsiteX34661" fmla="*/ 622343 w 8079933"/>
              <a:gd name="connsiteY34661" fmla="*/ 647458 h 4687251"/>
              <a:gd name="connsiteX34662" fmla="*/ 625273 w 8079933"/>
              <a:gd name="connsiteY34662" fmla="*/ 646916 h 4687251"/>
              <a:gd name="connsiteX34663" fmla="*/ 630265 w 8079933"/>
              <a:gd name="connsiteY34663" fmla="*/ 643669 h 4687251"/>
              <a:gd name="connsiteX34664" fmla="*/ 637427 w 8079933"/>
              <a:gd name="connsiteY34664" fmla="*/ 640422 h 4687251"/>
              <a:gd name="connsiteX34665" fmla="*/ 641116 w 8079933"/>
              <a:gd name="connsiteY34665" fmla="*/ 639014 h 4687251"/>
              <a:gd name="connsiteX34666" fmla="*/ 641116 w 8079933"/>
              <a:gd name="connsiteY34666" fmla="*/ 636418 h 4687251"/>
              <a:gd name="connsiteX34667" fmla="*/ 647845 w 8079933"/>
              <a:gd name="connsiteY34667" fmla="*/ 632518 h 4687251"/>
              <a:gd name="connsiteX34668" fmla="*/ 651425 w 8079933"/>
              <a:gd name="connsiteY34668" fmla="*/ 632518 h 4687251"/>
              <a:gd name="connsiteX34669" fmla="*/ 652511 w 8079933"/>
              <a:gd name="connsiteY34669" fmla="*/ 634036 h 4687251"/>
              <a:gd name="connsiteX34670" fmla="*/ 657285 w 8079933"/>
              <a:gd name="connsiteY34670" fmla="*/ 633819 h 4687251"/>
              <a:gd name="connsiteX34671" fmla="*/ 657610 w 8079933"/>
              <a:gd name="connsiteY34671" fmla="*/ 631436 h 4687251"/>
              <a:gd name="connsiteX34672" fmla="*/ 660758 w 8079933"/>
              <a:gd name="connsiteY34672" fmla="*/ 628836 h 4687251"/>
              <a:gd name="connsiteX34673" fmla="*/ 669873 w 8079933"/>
              <a:gd name="connsiteY34673" fmla="*/ 627430 h 4687251"/>
              <a:gd name="connsiteX34674" fmla="*/ 678337 w 8079933"/>
              <a:gd name="connsiteY34674" fmla="*/ 628836 h 4687251"/>
              <a:gd name="connsiteX34675" fmla="*/ 682787 w 8079933"/>
              <a:gd name="connsiteY34675" fmla="*/ 630461 h 4687251"/>
              <a:gd name="connsiteX34676" fmla="*/ 684524 w 8079933"/>
              <a:gd name="connsiteY34676" fmla="*/ 632844 h 4687251"/>
              <a:gd name="connsiteX34677" fmla="*/ 688647 w 8079933"/>
              <a:gd name="connsiteY34677" fmla="*/ 632844 h 4687251"/>
              <a:gd name="connsiteX34678" fmla="*/ 692662 w 8079933"/>
              <a:gd name="connsiteY34678" fmla="*/ 633494 h 4687251"/>
              <a:gd name="connsiteX34679" fmla="*/ 693421 w 8079933"/>
              <a:gd name="connsiteY34679" fmla="*/ 631978 h 4687251"/>
              <a:gd name="connsiteX34680" fmla="*/ 688104 w 8079933"/>
              <a:gd name="connsiteY34680" fmla="*/ 627106 h 4687251"/>
              <a:gd name="connsiteX34681" fmla="*/ 685935 w 8079933"/>
              <a:gd name="connsiteY34681" fmla="*/ 624725 h 4687251"/>
              <a:gd name="connsiteX34682" fmla="*/ 686910 w 8079933"/>
              <a:gd name="connsiteY34682" fmla="*/ 622343 h 4687251"/>
              <a:gd name="connsiteX34683" fmla="*/ 701235 w 8079933"/>
              <a:gd name="connsiteY34683" fmla="*/ 616495 h 4687251"/>
              <a:gd name="connsiteX34684" fmla="*/ 705358 w 8079933"/>
              <a:gd name="connsiteY34684" fmla="*/ 616278 h 4687251"/>
              <a:gd name="connsiteX34685" fmla="*/ 709264 w 8079933"/>
              <a:gd name="connsiteY34685" fmla="*/ 619093 h 4687251"/>
              <a:gd name="connsiteX34686" fmla="*/ 713606 w 8079933"/>
              <a:gd name="connsiteY34686" fmla="*/ 618877 h 4687251"/>
              <a:gd name="connsiteX34687" fmla="*/ 721201 w 8079933"/>
              <a:gd name="connsiteY34687" fmla="*/ 614764 h 4687251"/>
              <a:gd name="connsiteX34688" fmla="*/ 725868 w 8079933"/>
              <a:gd name="connsiteY34688" fmla="*/ 614982 h 4687251"/>
              <a:gd name="connsiteX34689" fmla="*/ 729666 w 8079933"/>
              <a:gd name="connsiteY34689" fmla="*/ 616603 h 4687251"/>
              <a:gd name="connsiteX34690" fmla="*/ 735853 w 8079933"/>
              <a:gd name="connsiteY34690" fmla="*/ 623210 h 4687251"/>
              <a:gd name="connsiteX34691" fmla="*/ 736177 w 8079933"/>
              <a:gd name="connsiteY34691" fmla="*/ 626133 h 4687251"/>
              <a:gd name="connsiteX34692" fmla="*/ 733248 w 8079933"/>
              <a:gd name="connsiteY34692" fmla="*/ 629596 h 4687251"/>
              <a:gd name="connsiteX34693" fmla="*/ 730536 w 8079933"/>
              <a:gd name="connsiteY34693" fmla="*/ 630029 h 4687251"/>
              <a:gd name="connsiteX34694" fmla="*/ 725542 w 8079933"/>
              <a:gd name="connsiteY34694" fmla="*/ 637285 h 4687251"/>
              <a:gd name="connsiteX34695" fmla="*/ 721201 w 8079933"/>
              <a:gd name="connsiteY34695" fmla="*/ 638797 h 4687251"/>
              <a:gd name="connsiteX34696" fmla="*/ 720985 w 8079933"/>
              <a:gd name="connsiteY34696" fmla="*/ 641614 h 4687251"/>
              <a:gd name="connsiteX34697" fmla="*/ 722938 w 8079933"/>
              <a:gd name="connsiteY34697" fmla="*/ 645292 h 4687251"/>
              <a:gd name="connsiteX34698" fmla="*/ 723265 w 8079933"/>
              <a:gd name="connsiteY34698" fmla="*/ 650489 h 4687251"/>
              <a:gd name="connsiteX34699" fmla="*/ 725326 w 8079933"/>
              <a:gd name="connsiteY34699" fmla="*/ 650814 h 4687251"/>
              <a:gd name="connsiteX34700" fmla="*/ 728582 w 8079933"/>
              <a:gd name="connsiteY34700" fmla="*/ 648973 h 4687251"/>
              <a:gd name="connsiteX34701" fmla="*/ 731838 w 8079933"/>
              <a:gd name="connsiteY34701" fmla="*/ 651247 h 4687251"/>
              <a:gd name="connsiteX34702" fmla="*/ 732379 w 8079933"/>
              <a:gd name="connsiteY34702" fmla="*/ 654928 h 4687251"/>
              <a:gd name="connsiteX34703" fmla="*/ 736504 w 8079933"/>
              <a:gd name="connsiteY34703" fmla="*/ 655145 h 4687251"/>
              <a:gd name="connsiteX34704" fmla="*/ 739108 w 8079933"/>
              <a:gd name="connsiteY34704" fmla="*/ 654171 h 4687251"/>
              <a:gd name="connsiteX34705" fmla="*/ 742364 w 8079933"/>
              <a:gd name="connsiteY34705" fmla="*/ 654928 h 4687251"/>
              <a:gd name="connsiteX34706" fmla="*/ 743123 w 8079933"/>
              <a:gd name="connsiteY34706" fmla="*/ 660017 h 4687251"/>
              <a:gd name="connsiteX34707" fmla="*/ 746161 w 8079933"/>
              <a:gd name="connsiteY34707" fmla="*/ 661533 h 4687251"/>
              <a:gd name="connsiteX34708" fmla="*/ 752237 w 8079933"/>
              <a:gd name="connsiteY34708" fmla="*/ 660991 h 4687251"/>
              <a:gd name="connsiteX34709" fmla="*/ 754082 w 8079933"/>
              <a:gd name="connsiteY34709" fmla="*/ 662074 h 4687251"/>
              <a:gd name="connsiteX34710" fmla="*/ 755387 w 8079933"/>
              <a:gd name="connsiteY34710" fmla="*/ 666513 h 4687251"/>
              <a:gd name="connsiteX34711" fmla="*/ 759617 w 8079933"/>
              <a:gd name="connsiteY34711" fmla="*/ 664456 h 4687251"/>
              <a:gd name="connsiteX34712" fmla="*/ 763959 w 8079933"/>
              <a:gd name="connsiteY34712" fmla="*/ 662940 h 4687251"/>
              <a:gd name="connsiteX34713" fmla="*/ 764500 w 8079933"/>
              <a:gd name="connsiteY34713" fmla="*/ 658718 h 4687251"/>
              <a:gd name="connsiteX34714" fmla="*/ 771662 w 8079933"/>
              <a:gd name="connsiteY34714" fmla="*/ 653088 h 4687251"/>
              <a:gd name="connsiteX34715" fmla="*/ 774485 w 8079933"/>
              <a:gd name="connsiteY34715" fmla="*/ 650706 h 4687251"/>
              <a:gd name="connsiteX34716" fmla="*/ 776328 w 8079933"/>
              <a:gd name="connsiteY34716" fmla="*/ 652438 h 4687251"/>
              <a:gd name="connsiteX34717" fmla="*/ 779475 w 8079933"/>
              <a:gd name="connsiteY34717" fmla="*/ 653954 h 4687251"/>
              <a:gd name="connsiteX34718" fmla="*/ 779800 w 8079933"/>
              <a:gd name="connsiteY34718" fmla="*/ 656661 h 4687251"/>
              <a:gd name="connsiteX34719" fmla="*/ 773615 w 8079933"/>
              <a:gd name="connsiteY34719" fmla="*/ 664565 h 4687251"/>
              <a:gd name="connsiteX34720" fmla="*/ 780451 w 8079933"/>
              <a:gd name="connsiteY34720" fmla="*/ 662074 h 4687251"/>
              <a:gd name="connsiteX34721" fmla="*/ 785335 w 8079933"/>
              <a:gd name="connsiteY34721" fmla="*/ 656661 h 4687251"/>
              <a:gd name="connsiteX34722" fmla="*/ 785660 w 8079933"/>
              <a:gd name="connsiteY34722" fmla="*/ 648324 h 4687251"/>
              <a:gd name="connsiteX34723" fmla="*/ 783274 w 8079933"/>
              <a:gd name="connsiteY34723" fmla="*/ 642802 h 4687251"/>
              <a:gd name="connsiteX34724" fmla="*/ 777414 w 8079933"/>
              <a:gd name="connsiteY34724" fmla="*/ 642802 h 4687251"/>
              <a:gd name="connsiteX34725" fmla="*/ 775134 w 8079933"/>
              <a:gd name="connsiteY34725" fmla="*/ 640529 h 4687251"/>
              <a:gd name="connsiteX34726" fmla="*/ 771878 w 8079933"/>
              <a:gd name="connsiteY34726" fmla="*/ 640529 h 4687251"/>
              <a:gd name="connsiteX34727" fmla="*/ 768733 w 8079933"/>
              <a:gd name="connsiteY34727" fmla="*/ 645509 h 4687251"/>
              <a:gd name="connsiteX34728" fmla="*/ 768733 w 8079933"/>
              <a:gd name="connsiteY34728" fmla="*/ 641721 h 4687251"/>
              <a:gd name="connsiteX34729" fmla="*/ 773072 w 8079933"/>
              <a:gd name="connsiteY34729" fmla="*/ 636959 h 4687251"/>
              <a:gd name="connsiteX34730" fmla="*/ 775352 w 8079933"/>
              <a:gd name="connsiteY34730" fmla="*/ 627863 h 4687251"/>
              <a:gd name="connsiteX34731" fmla="*/ 775786 w 8079933"/>
              <a:gd name="connsiteY34731" fmla="*/ 613897 h 4687251"/>
              <a:gd name="connsiteX34732" fmla="*/ 779910 w 8079933"/>
              <a:gd name="connsiteY34732" fmla="*/ 609457 h 4687251"/>
              <a:gd name="connsiteX34733" fmla="*/ 781862 w 8079933"/>
              <a:gd name="connsiteY34733" fmla="*/ 609565 h 4687251"/>
              <a:gd name="connsiteX34734" fmla="*/ 782515 w 8079933"/>
              <a:gd name="connsiteY34734" fmla="*/ 614115 h 4687251"/>
              <a:gd name="connsiteX34735" fmla="*/ 777414 w 8079933"/>
              <a:gd name="connsiteY34735" fmla="*/ 628189 h 4687251"/>
              <a:gd name="connsiteX34736" fmla="*/ 776655 w 8079933"/>
              <a:gd name="connsiteY34736" fmla="*/ 635444 h 4687251"/>
              <a:gd name="connsiteX34737" fmla="*/ 782404 w 8079933"/>
              <a:gd name="connsiteY34737" fmla="*/ 639881 h 4687251"/>
              <a:gd name="connsiteX34738" fmla="*/ 784576 w 8079933"/>
              <a:gd name="connsiteY34738" fmla="*/ 639556 h 4687251"/>
              <a:gd name="connsiteX34739" fmla="*/ 788808 w 8079933"/>
              <a:gd name="connsiteY34739" fmla="*/ 641071 h 4687251"/>
              <a:gd name="connsiteX34740" fmla="*/ 790977 w 8079933"/>
              <a:gd name="connsiteY34740" fmla="*/ 647783 h 4687251"/>
              <a:gd name="connsiteX34741" fmla="*/ 793582 w 8079933"/>
              <a:gd name="connsiteY34741" fmla="*/ 650381 h 4687251"/>
              <a:gd name="connsiteX34742" fmla="*/ 799768 w 8079933"/>
              <a:gd name="connsiteY34742" fmla="*/ 651030 h 4687251"/>
              <a:gd name="connsiteX34743" fmla="*/ 802697 w 8079933"/>
              <a:gd name="connsiteY34743" fmla="*/ 649298 h 4687251"/>
              <a:gd name="connsiteX34744" fmla="*/ 807582 w 8079933"/>
              <a:gd name="connsiteY34744" fmla="*/ 652114 h 4687251"/>
              <a:gd name="connsiteX34745" fmla="*/ 806823 w 8079933"/>
              <a:gd name="connsiteY34745" fmla="*/ 655361 h 4687251"/>
              <a:gd name="connsiteX34746" fmla="*/ 814744 w 8079933"/>
              <a:gd name="connsiteY34746" fmla="*/ 654495 h 4687251"/>
              <a:gd name="connsiteX34747" fmla="*/ 816263 w 8079933"/>
              <a:gd name="connsiteY34747" fmla="*/ 649623 h 4687251"/>
              <a:gd name="connsiteX34748" fmla="*/ 814961 w 8079933"/>
              <a:gd name="connsiteY34748" fmla="*/ 644318 h 4687251"/>
              <a:gd name="connsiteX34749" fmla="*/ 821148 w 8079933"/>
              <a:gd name="connsiteY34749" fmla="*/ 641071 h 4687251"/>
              <a:gd name="connsiteX34750" fmla="*/ 814744 w 8079933"/>
              <a:gd name="connsiteY34750" fmla="*/ 637609 h 4687251"/>
              <a:gd name="connsiteX34751" fmla="*/ 807364 w 8079933"/>
              <a:gd name="connsiteY34751" fmla="*/ 635444 h 4687251"/>
              <a:gd name="connsiteX34752" fmla="*/ 801179 w 8079933"/>
              <a:gd name="connsiteY34752" fmla="*/ 637285 h 4687251"/>
              <a:gd name="connsiteX34753" fmla="*/ 799441 w 8079933"/>
              <a:gd name="connsiteY34753" fmla="*/ 634146 h 4687251"/>
              <a:gd name="connsiteX34754" fmla="*/ 795643 w 8079933"/>
              <a:gd name="connsiteY34754" fmla="*/ 632518 h 4687251"/>
              <a:gd name="connsiteX34755" fmla="*/ 790218 w 8079933"/>
              <a:gd name="connsiteY34755" fmla="*/ 634036 h 4687251"/>
              <a:gd name="connsiteX34756" fmla="*/ 786746 w 8079933"/>
              <a:gd name="connsiteY34756" fmla="*/ 636959 h 4687251"/>
              <a:gd name="connsiteX34757" fmla="*/ 784358 w 8079933"/>
              <a:gd name="connsiteY34757" fmla="*/ 635011 h 4687251"/>
              <a:gd name="connsiteX34758" fmla="*/ 783817 w 8079933"/>
              <a:gd name="connsiteY34758" fmla="*/ 629596 h 4687251"/>
              <a:gd name="connsiteX34759" fmla="*/ 784468 w 8079933"/>
              <a:gd name="connsiteY34759" fmla="*/ 617254 h 4687251"/>
              <a:gd name="connsiteX34760" fmla="*/ 785878 w 8079933"/>
              <a:gd name="connsiteY34760" fmla="*/ 613897 h 4687251"/>
              <a:gd name="connsiteX34761" fmla="*/ 790869 w 8079933"/>
              <a:gd name="connsiteY34761" fmla="*/ 614546 h 4687251"/>
              <a:gd name="connsiteX34762" fmla="*/ 793690 w 8079933"/>
              <a:gd name="connsiteY34762" fmla="*/ 612599 h 4687251"/>
              <a:gd name="connsiteX34763" fmla="*/ 781972 w 8079933"/>
              <a:gd name="connsiteY34763" fmla="*/ 603287 h 4687251"/>
              <a:gd name="connsiteX34764" fmla="*/ 782404 w 8079933"/>
              <a:gd name="connsiteY34764" fmla="*/ 600147 h 4687251"/>
              <a:gd name="connsiteX34765" fmla="*/ 785878 w 8079933"/>
              <a:gd name="connsiteY34765" fmla="*/ 597223 h 4687251"/>
              <a:gd name="connsiteX34766" fmla="*/ 782404 w 8079933"/>
              <a:gd name="connsiteY34766" fmla="*/ 597223 h 4687251"/>
              <a:gd name="connsiteX34767" fmla="*/ 778606 w 8079933"/>
              <a:gd name="connsiteY34767" fmla="*/ 599607 h 4687251"/>
              <a:gd name="connsiteX34768" fmla="*/ 776220 w 8079933"/>
              <a:gd name="connsiteY34768" fmla="*/ 597441 h 4687251"/>
              <a:gd name="connsiteX34769" fmla="*/ 776328 w 8079933"/>
              <a:gd name="connsiteY34769" fmla="*/ 602529 h 4687251"/>
              <a:gd name="connsiteX34770" fmla="*/ 771338 w 8079933"/>
              <a:gd name="connsiteY34770" fmla="*/ 600363 h 4687251"/>
              <a:gd name="connsiteX34771" fmla="*/ 762330 w 8079933"/>
              <a:gd name="connsiteY34771" fmla="*/ 589536 h 4687251"/>
              <a:gd name="connsiteX34772" fmla="*/ 762330 w 8079933"/>
              <a:gd name="connsiteY34772" fmla="*/ 586936 h 4687251"/>
              <a:gd name="connsiteX34773" fmla="*/ 766561 w 8079933"/>
              <a:gd name="connsiteY34773" fmla="*/ 580875 h 4687251"/>
              <a:gd name="connsiteX34774" fmla="*/ 771989 w 8079933"/>
              <a:gd name="connsiteY34774" fmla="*/ 570914 h 4687251"/>
              <a:gd name="connsiteX34775" fmla="*/ 773399 w 8079933"/>
              <a:gd name="connsiteY34775" fmla="*/ 557921 h 4687251"/>
              <a:gd name="connsiteX34776" fmla="*/ 771010 w 8079933"/>
              <a:gd name="connsiteY34776" fmla="*/ 543412 h 4687251"/>
              <a:gd name="connsiteX34777" fmla="*/ 765151 w 8079933"/>
              <a:gd name="connsiteY34777" fmla="*/ 527172 h 4687251"/>
              <a:gd name="connsiteX34778" fmla="*/ 759291 w 8079933"/>
              <a:gd name="connsiteY34778" fmla="*/ 506167 h 4687251"/>
              <a:gd name="connsiteX34779" fmla="*/ 754951 w 8079933"/>
              <a:gd name="connsiteY34779" fmla="*/ 496205 h 4687251"/>
              <a:gd name="connsiteX34780" fmla="*/ 757772 w 8079933"/>
              <a:gd name="connsiteY34780" fmla="*/ 494258 h 4687251"/>
              <a:gd name="connsiteX34781" fmla="*/ 760812 w 8079933"/>
              <a:gd name="connsiteY34781" fmla="*/ 496532 h 4687251"/>
              <a:gd name="connsiteX34782" fmla="*/ 764500 w 8079933"/>
              <a:gd name="connsiteY34782" fmla="*/ 496963 h 4687251"/>
              <a:gd name="connsiteX34783" fmla="*/ 766888 w 8079933"/>
              <a:gd name="connsiteY34783" fmla="*/ 491227 h 4687251"/>
              <a:gd name="connsiteX34784" fmla="*/ 771554 w 8079933"/>
              <a:gd name="connsiteY34784" fmla="*/ 486680 h 4687251"/>
              <a:gd name="connsiteX34785" fmla="*/ 773723 w 8079933"/>
              <a:gd name="connsiteY34785" fmla="*/ 481267 h 4687251"/>
              <a:gd name="connsiteX34786" fmla="*/ 782188 w 8079933"/>
              <a:gd name="connsiteY34786" fmla="*/ 472060 h 4687251"/>
              <a:gd name="connsiteX34787" fmla="*/ 787940 w 8079933"/>
              <a:gd name="connsiteY34787" fmla="*/ 466542 h 4687251"/>
              <a:gd name="connsiteX34788" fmla="*/ 790653 w 8079933"/>
              <a:gd name="connsiteY34788" fmla="*/ 465892 h 4687251"/>
              <a:gd name="connsiteX34789" fmla="*/ 797923 w 8079933"/>
              <a:gd name="connsiteY34789" fmla="*/ 469573 h 4687251"/>
              <a:gd name="connsiteX34790" fmla="*/ 802697 w 8079933"/>
              <a:gd name="connsiteY34790" fmla="*/ 472060 h 4687251"/>
              <a:gd name="connsiteX34791" fmla="*/ 809208 w 8079933"/>
              <a:gd name="connsiteY34791" fmla="*/ 476068 h 4687251"/>
              <a:gd name="connsiteX34792" fmla="*/ 816263 w 8079933"/>
              <a:gd name="connsiteY34792" fmla="*/ 476718 h 4687251"/>
              <a:gd name="connsiteX34793" fmla="*/ 819951 w 8079933"/>
              <a:gd name="connsiteY34793" fmla="*/ 479426 h 4687251"/>
              <a:gd name="connsiteX34794" fmla="*/ 827005 w 8079933"/>
              <a:gd name="connsiteY34794" fmla="*/ 479317 h 4687251"/>
              <a:gd name="connsiteX34795" fmla="*/ 835145 w 8079933"/>
              <a:gd name="connsiteY34795" fmla="*/ 474335 h 4687251"/>
              <a:gd name="connsiteX34796" fmla="*/ 840462 w 8079933"/>
              <a:gd name="connsiteY34796" fmla="*/ 474011 h 4687251"/>
              <a:gd name="connsiteX34797" fmla="*/ 847190 w 8079933"/>
              <a:gd name="connsiteY34797" fmla="*/ 470006 h 4687251"/>
              <a:gd name="connsiteX34798" fmla="*/ 851313 w 8079933"/>
              <a:gd name="connsiteY34798" fmla="*/ 469357 h 4687251"/>
              <a:gd name="connsiteX34799" fmla="*/ 859234 w 8079933"/>
              <a:gd name="connsiteY34799" fmla="*/ 466107 h 4687251"/>
              <a:gd name="connsiteX34800" fmla="*/ 871281 w 8079933"/>
              <a:gd name="connsiteY34800" fmla="*/ 455281 h 4687251"/>
              <a:gd name="connsiteX34801" fmla="*/ 881264 w 8079933"/>
              <a:gd name="connsiteY34801" fmla="*/ 446294 h 4687251"/>
              <a:gd name="connsiteX34802" fmla="*/ 890705 w 8079933"/>
              <a:gd name="connsiteY34802" fmla="*/ 439256 h 4687251"/>
              <a:gd name="connsiteX34803" fmla="*/ 904487 w 8079933"/>
              <a:gd name="connsiteY34803" fmla="*/ 432760 h 4687251"/>
              <a:gd name="connsiteX34804" fmla="*/ 916966 w 8079933"/>
              <a:gd name="connsiteY34804" fmla="*/ 422368 h 4687251"/>
              <a:gd name="connsiteX34805" fmla="*/ 926732 w 8079933"/>
              <a:gd name="connsiteY34805" fmla="*/ 417603 h 4687251"/>
              <a:gd name="connsiteX34806" fmla="*/ 934871 w 8079933"/>
              <a:gd name="connsiteY34806" fmla="*/ 418792 h 4687251"/>
              <a:gd name="connsiteX34807" fmla="*/ 941708 w 8079933"/>
              <a:gd name="connsiteY34807" fmla="*/ 420525 h 4687251"/>
              <a:gd name="connsiteX34808" fmla="*/ 944095 w 8079933"/>
              <a:gd name="connsiteY34808" fmla="*/ 419116 h 4687251"/>
              <a:gd name="connsiteX34809" fmla="*/ 941599 w 8079933"/>
              <a:gd name="connsiteY34809" fmla="*/ 416086 h 4687251"/>
              <a:gd name="connsiteX34810" fmla="*/ 934546 w 8079933"/>
              <a:gd name="connsiteY34810" fmla="*/ 412946 h 4687251"/>
              <a:gd name="connsiteX34811" fmla="*/ 934003 w 8079933"/>
              <a:gd name="connsiteY34811" fmla="*/ 411216 h 4687251"/>
              <a:gd name="connsiteX34812" fmla="*/ 936932 w 8079933"/>
              <a:gd name="connsiteY34812" fmla="*/ 411108 h 4687251"/>
              <a:gd name="connsiteX34813" fmla="*/ 942575 w 8079933"/>
              <a:gd name="connsiteY34813" fmla="*/ 412405 h 4687251"/>
              <a:gd name="connsiteX34814" fmla="*/ 946266 w 8079933"/>
              <a:gd name="connsiteY34814" fmla="*/ 417276 h 4687251"/>
              <a:gd name="connsiteX34815" fmla="*/ 949303 w 8079933"/>
              <a:gd name="connsiteY34815" fmla="*/ 418792 h 4687251"/>
              <a:gd name="connsiteX34816" fmla="*/ 954296 w 8079933"/>
              <a:gd name="connsiteY34816" fmla="*/ 418792 h 4687251"/>
              <a:gd name="connsiteX34817" fmla="*/ 966340 w 8079933"/>
              <a:gd name="connsiteY34817" fmla="*/ 413598 h 4687251"/>
              <a:gd name="connsiteX34818" fmla="*/ 968837 w 8079933"/>
              <a:gd name="connsiteY34818" fmla="*/ 413813 h 4687251"/>
              <a:gd name="connsiteX34819" fmla="*/ 968405 w 8079933"/>
              <a:gd name="connsiteY34819" fmla="*/ 416952 h 4687251"/>
              <a:gd name="connsiteX34820" fmla="*/ 961350 w 8079933"/>
              <a:gd name="connsiteY34820" fmla="*/ 427563 h 4687251"/>
              <a:gd name="connsiteX34821" fmla="*/ 959829 w 8079933"/>
              <a:gd name="connsiteY34821" fmla="*/ 435684 h 4687251"/>
              <a:gd name="connsiteX34822" fmla="*/ 960915 w 8079933"/>
              <a:gd name="connsiteY34822" fmla="*/ 437417 h 4687251"/>
              <a:gd name="connsiteX34823" fmla="*/ 963085 w 8079933"/>
              <a:gd name="connsiteY34823" fmla="*/ 436983 h 4687251"/>
              <a:gd name="connsiteX34824" fmla="*/ 965690 w 8079933"/>
              <a:gd name="connsiteY34824" fmla="*/ 428971 h 4687251"/>
              <a:gd name="connsiteX34825" fmla="*/ 970355 w 8079933"/>
              <a:gd name="connsiteY34825" fmla="*/ 418468 h 4687251"/>
              <a:gd name="connsiteX34826" fmla="*/ 976324 w 8079933"/>
              <a:gd name="connsiteY34826" fmla="*/ 413272 h 4687251"/>
              <a:gd name="connsiteX34827" fmla="*/ 982618 w 8079933"/>
              <a:gd name="connsiteY34827" fmla="*/ 413272 h 4687251"/>
              <a:gd name="connsiteX34828" fmla="*/ 985874 w 8079933"/>
              <a:gd name="connsiteY34828" fmla="*/ 410564 h 4687251"/>
              <a:gd name="connsiteX34829" fmla="*/ 980122 w 8079933"/>
              <a:gd name="connsiteY34829" fmla="*/ 409155 h 4687251"/>
              <a:gd name="connsiteX34830" fmla="*/ 979147 w 8079933"/>
              <a:gd name="connsiteY34830" fmla="*/ 405042 h 4687251"/>
              <a:gd name="connsiteX34831" fmla="*/ 981533 w 8079933"/>
              <a:gd name="connsiteY34831" fmla="*/ 400063 h 4687251"/>
              <a:gd name="connsiteX34832" fmla="*/ 988043 w 8079933"/>
              <a:gd name="connsiteY34832" fmla="*/ 396813 h 4687251"/>
              <a:gd name="connsiteX34833" fmla="*/ 997051 w 8079933"/>
              <a:gd name="connsiteY34833" fmla="*/ 391944 h 4687251"/>
              <a:gd name="connsiteX34834" fmla="*/ 1002694 w 8079933"/>
              <a:gd name="connsiteY34834" fmla="*/ 390319 h 4687251"/>
              <a:gd name="connsiteX34835" fmla="*/ 1004972 w 8079933"/>
              <a:gd name="connsiteY34835" fmla="*/ 392267 h 4687251"/>
              <a:gd name="connsiteX34836" fmla="*/ 1000849 w 8079933"/>
              <a:gd name="connsiteY34836" fmla="*/ 393999 h 4687251"/>
              <a:gd name="connsiteX34837" fmla="*/ 999764 w 8079933"/>
              <a:gd name="connsiteY34837" fmla="*/ 396922 h 4687251"/>
              <a:gd name="connsiteX34838" fmla="*/ 1001066 w 8079933"/>
              <a:gd name="connsiteY34838" fmla="*/ 400063 h 4687251"/>
              <a:gd name="connsiteX34839" fmla="*/ 1003453 w 8079933"/>
              <a:gd name="connsiteY34839" fmla="*/ 399846 h 4687251"/>
              <a:gd name="connsiteX34840" fmla="*/ 1004755 w 8079933"/>
              <a:gd name="connsiteY34840" fmla="*/ 396163 h 4687251"/>
              <a:gd name="connsiteX34841" fmla="*/ 1008770 w 8079933"/>
              <a:gd name="connsiteY34841" fmla="*/ 394216 h 4687251"/>
              <a:gd name="connsiteX34842" fmla="*/ 1013545 w 8079933"/>
              <a:gd name="connsiteY34842" fmla="*/ 398329 h 4687251"/>
              <a:gd name="connsiteX34843" fmla="*/ 1017018 w 8079933"/>
              <a:gd name="connsiteY34843" fmla="*/ 398872 h 4687251"/>
              <a:gd name="connsiteX34844" fmla="*/ 1017560 w 8079933"/>
              <a:gd name="connsiteY34844" fmla="*/ 396272 h 4687251"/>
              <a:gd name="connsiteX34845" fmla="*/ 1020164 w 8079933"/>
              <a:gd name="connsiteY34845" fmla="*/ 398222 h 4687251"/>
              <a:gd name="connsiteX34846" fmla="*/ 1026350 w 8079933"/>
              <a:gd name="connsiteY34846" fmla="*/ 402120 h 4687251"/>
              <a:gd name="connsiteX34847" fmla="*/ 1037527 w 8079933"/>
              <a:gd name="connsiteY34847" fmla="*/ 402230 h 4687251"/>
              <a:gd name="connsiteX34848" fmla="*/ 1043604 w 8079933"/>
              <a:gd name="connsiteY34848" fmla="*/ 399955 h 4687251"/>
              <a:gd name="connsiteX34849" fmla="*/ 1053805 w 8079933"/>
              <a:gd name="connsiteY34849" fmla="*/ 391727 h 4687251"/>
              <a:gd name="connsiteX34850" fmla="*/ 1058797 w 8079933"/>
              <a:gd name="connsiteY34850" fmla="*/ 388696 h 4687251"/>
              <a:gd name="connsiteX34851" fmla="*/ 1064982 w 8079933"/>
              <a:gd name="connsiteY34851" fmla="*/ 388152 h 4687251"/>
              <a:gd name="connsiteX34852" fmla="*/ 1067152 w 8079933"/>
              <a:gd name="connsiteY34852" fmla="*/ 386203 h 4687251"/>
              <a:gd name="connsiteX34853" fmla="*/ 6871382 w 8079933"/>
              <a:gd name="connsiteY34853" fmla="*/ 378407 h 4687251"/>
              <a:gd name="connsiteX34854" fmla="*/ 6874963 w 8079933"/>
              <a:gd name="connsiteY34854" fmla="*/ 379490 h 4687251"/>
              <a:gd name="connsiteX34855" fmla="*/ 6875940 w 8079933"/>
              <a:gd name="connsiteY34855" fmla="*/ 383605 h 4687251"/>
              <a:gd name="connsiteX34856" fmla="*/ 6874312 w 8079933"/>
              <a:gd name="connsiteY34856" fmla="*/ 385228 h 4687251"/>
              <a:gd name="connsiteX34857" fmla="*/ 6872250 w 8079933"/>
              <a:gd name="connsiteY34857" fmla="*/ 385337 h 4687251"/>
              <a:gd name="connsiteX34858" fmla="*/ 6869320 w 8079933"/>
              <a:gd name="connsiteY34858" fmla="*/ 381656 h 4687251"/>
              <a:gd name="connsiteX34859" fmla="*/ 6908820 w 8079933"/>
              <a:gd name="connsiteY34859" fmla="*/ 377215 h 4687251"/>
              <a:gd name="connsiteX34860" fmla="*/ 6911317 w 8079933"/>
              <a:gd name="connsiteY34860" fmla="*/ 379273 h 4687251"/>
              <a:gd name="connsiteX34861" fmla="*/ 6910231 w 8079933"/>
              <a:gd name="connsiteY34861" fmla="*/ 382087 h 4687251"/>
              <a:gd name="connsiteX34862" fmla="*/ 6908495 w 8079933"/>
              <a:gd name="connsiteY34862" fmla="*/ 382629 h 4687251"/>
              <a:gd name="connsiteX34863" fmla="*/ 6907084 w 8079933"/>
              <a:gd name="connsiteY34863" fmla="*/ 379273 h 4687251"/>
              <a:gd name="connsiteX34864" fmla="*/ 2272771 w 8079933"/>
              <a:gd name="connsiteY34864" fmla="*/ 376674 h 4687251"/>
              <a:gd name="connsiteX34865" fmla="*/ 2275918 w 8079933"/>
              <a:gd name="connsiteY34865" fmla="*/ 376674 h 4687251"/>
              <a:gd name="connsiteX34866" fmla="*/ 2277112 w 8079933"/>
              <a:gd name="connsiteY34866" fmla="*/ 380031 h 4687251"/>
              <a:gd name="connsiteX34867" fmla="*/ 2280693 w 8079933"/>
              <a:gd name="connsiteY34867" fmla="*/ 381872 h 4687251"/>
              <a:gd name="connsiteX34868" fmla="*/ 2283840 w 8079933"/>
              <a:gd name="connsiteY34868" fmla="*/ 380788 h 4687251"/>
              <a:gd name="connsiteX34869" fmla="*/ 2286119 w 8079933"/>
              <a:gd name="connsiteY34869" fmla="*/ 383279 h 4687251"/>
              <a:gd name="connsiteX34870" fmla="*/ 2284708 w 8079933"/>
              <a:gd name="connsiteY34870" fmla="*/ 392807 h 4687251"/>
              <a:gd name="connsiteX34871" fmla="*/ 2281669 w 8079933"/>
              <a:gd name="connsiteY34871" fmla="*/ 396380 h 4687251"/>
              <a:gd name="connsiteX34872" fmla="*/ 2281669 w 8079933"/>
              <a:gd name="connsiteY34872" fmla="*/ 399736 h 4687251"/>
              <a:gd name="connsiteX34873" fmla="*/ 2284165 w 8079933"/>
              <a:gd name="connsiteY34873" fmla="*/ 399736 h 4687251"/>
              <a:gd name="connsiteX34874" fmla="*/ 2286010 w 8079933"/>
              <a:gd name="connsiteY34874" fmla="*/ 397245 h 4687251"/>
              <a:gd name="connsiteX34875" fmla="*/ 2288289 w 8079933"/>
              <a:gd name="connsiteY34875" fmla="*/ 397245 h 4687251"/>
              <a:gd name="connsiteX34876" fmla="*/ 2290677 w 8079933"/>
              <a:gd name="connsiteY34876" fmla="*/ 394972 h 4687251"/>
              <a:gd name="connsiteX34877" fmla="*/ 2290677 w 8079933"/>
              <a:gd name="connsiteY34877" fmla="*/ 387935 h 4687251"/>
              <a:gd name="connsiteX34878" fmla="*/ 2294040 w 8079933"/>
              <a:gd name="connsiteY34878" fmla="*/ 385011 h 4687251"/>
              <a:gd name="connsiteX34879" fmla="*/ 2297621 w 8079933"/>
              <a:gd name="connsiteY34879" fmla="*/ 387718 h 4687251"/>
              <a:gd name="connsiteX34880" fmla="*/ 2301202 w 8079933"/>
              <a:gd name="connsiteY34880" fmla="*/ 386635 h 4687251"/>
              <a:gd name="connsiteX34881" fmla="*/ 2301202 w 8079933"/>
              <a:gd name="connsiteY34881" fmla="*/ 382412 h 4687251"/>
              <a:gd name="connsiteX34882" fmla="*/ 2300226 w 8079933"/>
              <a:gd name="connsiteY34882" fmla="*/ 380681 h 4687251"/>
              <a:gd name="connsiteX34883" fmla="*/ 2303590 w 8079933"/>
              <a:gd name="connsiteY34883" fmla="*/ 380681 h 4687251"/>
              <a:gd name="connsiteX34884" fmla="*/ 2305109 w 8079933"/>
              <a:gd name="connsiteY34884" fmla="*/ 384145 h 4687251"/>
              <a:gd name="connsiteX34885" fmla="*/ 2304349 w 8079933"/>
              <a:gd name="connsiteY34885" fmla="*/ 387284 h 4687251"/>
              <a:gd name="connsiteX34886" fmla="*/ 2305326 w 8079933"/>
              <a:gd name="connsiteY34886" fmla="*/ 389234 h 4687251"/>
              <a:gd name="connsiteX34887" fmla="*/ 2304241 w 8079933"/>
              <a:gd name="connsiteY34887" fmla="*/ 391399 h 4687251"/>
              <a:gd name="connsiteX34888" fmla="*/ 2301745 w 8079933"/>
              <a:gd name="connsiteY34888" fmla="*/ 391399 h 4687251"/>
              <a:gd name="connsiteX34889" fmla="*/ 2304024 w 8079933"/>
              <a:gd name="connsiteY34889" fmla="*/ 395513 h 4687251"/>
              <a:gd name="connsiteX34890" fmla="*/ 2308473 w 8079933"/>
              <a:gd name="connsiteY34890" fmla="*/ 397029 h 4687251"/>
              <a:gd name="connsiteX34891" fmla="*/ 2310318 w 8079933"/>
              <a:gd name="connsiteY34891" fmla="*/ 401252 h 4687251"/>
              <a:gd name="connsiteX34892" fmla="*/ 2309124 w 8079933"/>
              <a:gd name="connsiteY34892" fmla="*/ 405799 h 4687251"/>
              <a:gd name="connsiteX34893" fmla="*/ 2304675 w 8079933"/>
              <a:gd name="connsiteY34893" fmla="*/ 408831 h 4687251"/>
              <a:gd name="connsiteX34894" fmla="*/ 2300660 w 8079933"/>
              <a:gd name="connsiteY34894" fmla="*/ 416085 h 4687251"/>
              <a:gd name="connsiteX34895" fmla="*/ 2301311 w 8079933"/>
              <a:gd name="connsiteY34895" fmla="*/ 421282 h 4687251"/>
              <a:gd name="connsiteX34896" fmla="*/ 2300009 w 8079933"/>
              <a:gd name="connsiteY34896" fmla="*/ 424422 h 4687251"/>
              <a:gd name="connsiteX34897" fmla="*/ 2295776 w 8079933"/>
              <a:gd name="connsiteY34897" fmla="*/ 426804 h 4687251"/>
              <a:gd name="connsiteX34898" fmla="*/ 2290568 w 8079933"/>
              <a:gd name="connsiteY34898" fmla="*/ 432650 h 4687251"/>
              <a:gd name="connsiteX34899" fmla="*/ 2289157 w 8079933"/>
              <a:gd name="connsiteY34899" fmla="*/ 435357 h 4687251"/>
              <a:gd name="connsiteX34900" fmla="*/ 2284600 w 8079933"/>
              <a:gd name="connsiteY34900" fmla="*/ 440338 h 4687251"/>
              <a:gd name="connsiteX34901" fmla="*/ 2284600 w 8079933"/>
              <a:gd name="connsiteY34901" fmla="*/ 442178 h 4687251"/>
              <a:gd name="connsiteX34902" fmla="*/ 2283189 w 8079933"/>
              <a:gd name="connsiteY34902" fmla="*/ 446076 h 4687251"/>
              <a:gd name="connsiteX34903" fmla="*/ 2279934 w 8079933"/>
              <a:gd name="connsiteY34903" fmla="*/ 446076 h 4687251"/>
              <a:gd name="connsiteX34904" fmla="*/ 2277329 w 8079933"/>
              <a:gd name="connsiteY34904" fmla="*/ 445426 h 4687251"/>
              <a:gd name="connsiteX34905" fmla="*/ 2274941 w 8079933"/>
              <a:gd name="connsiteY34905" fmla="*/ 447268 h 4687251"/>
              <a:gd name="connsiteX34906" fmla="*/ 2274941 w 8079933"/>
              <a:gd name="connsiteY34906" fmla="*/ 449324 h 4687251"/>
              <a:gd name="connsiteX34907" fmla="*/ 2280584 w 8079933"/>
              <a:gd name="connsiteY34907" fmla="*/ 452356 h 4687251"/>
              <a:gd name="connsiteX34908" fmla="*/ 2280584 w 8079933"/>
              <a:gd name="connsiteY34908" fmla="*/ 454738 h 4687251"/>
              <a:gd name="connsiteX34909" fmla="*/ 2274941 w 8079933"/>
              <a:gd name="connsiteY34909" fmla="*/ 462858 h 4687251"/>
              <a:gd name="connsiteX34910" fmla="*/ 2273205 w 8079933"/>
              <a:gd name="connsiteY34910" fmla="*/ 465457 h 4687251"/>
              <a:gd name="connsiteX34911" fmla="*/ 2273205 w 8079933"/>
              <a:gd name="connsiteY34911" fmla="*/ 462425 h 4687251"/>
              <a:gd name="connsiteX34912" fmla="*/ 2273205 w 8079933"/>
              <a:gd name="connsiteY34912" fmla="*/ 459611 h 4687251"/>
              <a:gd name="connsiteX34913" fmla="*/ 2270275 w 8079933"/>
              <a:gd name="connsiteY34913" fmla="*/ 458419 h 4687251"/>
              <a:gd name="connsiteX34914" fmla="*/ 2267888 w 8079933"/>
              <a:gd name="connsiteY34914" fmla="*/ 459718 h 4687251"/>
              <a:gd name="connsiteX34915" fmla="*/ 2267888 w 8079933"/>
              <a:gd name="connsiteY34915" fmla="*/ 462858 h 4687251"/>
              <a:gd name="connsiteX34916" fmla="*/ 2265067 w 8079933"/>
              <a:gd name="connsiteY34916" fmla="*/ 464590 h 4687251"/>
              <a:gd name="connsiteX34917" fmla="*/ 2262679 w 8079933"/>
              <a:gd name="connsiteY34917" fmla="*/ 467730 h 4687251"/>
              <a:gd name="connsiteX34918" fmla="*/ 2258013 w 8079933"/>
              <a:gd name="connsiteY34918" fmla="*/ 468596 h 4687251"/>
              <a:gd name="connsiteX34919" fmla="*/ 2256386 w 8079933"/>
              <a:gd name="connsiteY34919" fmla="*/ 472819 h 4687251"/>
              <a:gd name="connsiteX34920" fmla="*/ 2259316 w 8079933"/>
              <a:gd name="connsiteY34920" fmla="*/ 474443 h 4687251"/>
              <a:gd name="connsiteX34921" fmla="*/ 2263439 w 8079933"/>
              <a:gd name="connsiteY34921" fmla="*/ 473794 h 4687251"/>
              <a:gd name="connsiteX34922" fmla="*/ 2262788 w 8079933"/>
              <a:gd name="connsiteY34922" fmla="*/ 476392 h 4687251"/>
              <a:gd name="connsiteX34923" fmla="*/ 2260726 w 8079933"/>
              <a:gd name="connsiteY34923" fmla="*/ 479207 h 4687251"/>
              <a:gd name="connsiteX34924" fmla="*/ 2260726 w 8079933"/>
              <a:gd name="connsiteY34924" fmla="*/ 481264 h 4687251"/>
              <a:gd name="connsiteX34925" fmla="*/ 2260726 w 8079933"/>
              <a:gd name="connsiteY34925" fmla="*/ 485595 h 4687251"/>
              <a:gd name="connsiteX34926" fmla="*/ 2259207 w 8079933"/>
              <a:gd name="connsiteY34926" fmla="*/ 487544 h 4687251"/>
              <a:gd name="connsiteX34927" fmla="*/ 2256494 w 8079933"/>
              <a:gd name="connsiteY34927" fmla="*/ 482997 h 4687251"/>
              <a:gd name="connsiteX34928" fmla="*/ 2256494 w 8079933"/>
              <a:gd name="connsiteY34928" fmla="*/ 478449 h 4687251"/>
              <a:gd name="connsiteX34929" fmla="*/ 2255409 w 8079933"/>
              <a:gd name="connsiteY34929" fmla="*/ 475850 h 4687251"/>
              <a:gd name="connsiteX34930" fmla="*/ 2253781 w 8079933"/>
              <a:gd name="connsiteY34930" fmla="*/ 478125 h 4687251"/>
              <a:gd name="connsiteX34931" fmla="*/ 2253130 w 8079933"/>
              <a:gd name="connsiteY34931" fmla="*/ 481914 h 4687251"/>
              <a:gd name="connsiteX34932" fmla="*/ 2254215 w 8079933"/>
              <a:gd name="connsiteY34932" fmla="*/ 484946 h 4687251"/>
              <a:gd name="connsiteX34933" fmla="*/ 2250851 w 8079933"/>
              <a:gd name="connsiteY34933" fmla="*/ 489493 h 4687251"/>
              <a:gd name="connsiteX34934" fmla="*/ 2238372 w 8079933"/>
              <a:gd name="connsiteY34934" fmla="*/ 488843 h 4687251"/>
              <a:gd name="connsiteX34935" fmla="*/ 2237721 w 8079933"/>
              <a:gd name="connsiteY34935" fmla="*/ 484946 h 4687251"/>
              <a:gd name="connsiteX34936" fmla="*/ 2236201 w 8079933"/>
              <a:gd name="connsiteY34936" fmla="*/ 482780 h 4687251"/>
              <a:gd name="connsiteX34937" fmla="*/ 2232946 w 8079933"/>
              <a:gd name="connsiteY34937" fmla="*/ 486353 h 4687251"/>
              <a:gd name="connsiteX34938" fmla="*/ 2229365 w 8079933"/>
              <a:gd name="connsiteY34938" fmla="*/ 486353 h 4687251"/>
              <a:gd name="connsiteX34939" fmla="*/ 2228714 w 8079933"/>
              <a:gd name="connsiteY34939" fmla="*/ 483538 h 4687251"/>
              <a:gd name="connsiteX34940" fmla="*/ 2232186 w 8079933"/>
              <a:gd name="connsiteY34940" fmla="*/ 479207 h 4687251"/>
              <a:gd name="connsiteX34941" fmla="*/ 2226327 w 8079933"/>
              <a:gd name="connsiteY34941" fmla="*/ 481698 h 4687251"/>
              <a:gd name="connsiteX34942" fmla="*/ 2224590 w 8079933"/>
              <a:gd name="connsiteY34942" fmla="*/ 484946 h 4687251"/>
              <a:gd name="connsiteX34943" fmla="*/ 2222745 w 8079933"/>
              <a:gd name="connsiteY34943" fmla="*/ 484946 h 4687251"/>
              <a:gd name="connsiteX34944" fmla="*/ 2220358 w 8079933"/>
              <a:gd name="connsiteY34944" fmla="*/ 482563 h 4687251"/>
              <a:gd name="connsiteX34945" fmla="*/ 2216018 w 8079933"/>
              <a:gd name="connsiteY34945" fmla="*/ 482563 h 4687251"/>
              <a:gd name="connsiteX34946" fmla="*/ 2213304 w 8079933"/>
              <a:gd name="connsiteY34946" fmla="*/ 479965 h 4687251"/>
              <a:gd name="connsiteX34947" fmla="*/ 2213304 w 8079933"/>
              <a:gd name="connsiteY34947" fmla="*/ 475310 h 4687251"/>
              <a:gd name="connsiteX34948" fmla="*/ 2214716 w 8079933"/>
              <a:gd name="connsiteY34948" fmla="*/ 473469 h 4687251"/>
              <a:gd name="connsiteX34949" fmla="*/ 2214716 w 8079933"/>
              <a:gd name="connsiteY34949" fmla="*/ 471086 h 4687251"/>
              <a:gd name="connsiteX34950" fmla="*/ 2216777 w 8079933"/>
              <a:gd name="connsiteY34950" fmla="*/ 466431 h 4687251"/>
              <a:gd name="connsiteX34951" fmla="*/ 2218514 w 8079933"/>
              <a:gd name="connsiteY34951" fmla="*/ 466431 h 4687251"/>
              <a:gd name="connsiteX34952" fmla="*/ 2220792 w 8079933"/>
              <a:gd name="connsiteY34952" fmla="*/ 469463 h 4687251"/>
              <a:gd name="connsiteX34953" fmla="*/ 2222854 w 8079933"/>
              <a:gd name="connsiteY34953" fmla="*/ 469463 h 4687251"/>
              <a:gd name="connsiteX34954" fmla="*/ 2220250 w 8079933"/>
              <a:gd name="connsiteY34954" fmla="*/ 465998 h 4687251"/>
              <a:gd name="connsiteX34955" fmla="*/ 2221444 w 8079933"/>
              <a:gd name="connsiteY34955" fmla="*/ 463292 h 4687251"/>
              <a:gd name="connsiteX34956" fmla="*/ 2217971 w 8079933"/>
              <a:gd name="connsiteY34956" fmla="*/ 462425 h 4687251"/>
              <a:gd name="connsiteX34957" fmla="*/ 2215366 w 8079933"/>
              <a:gd name="connsiteY34957" fmla="*/ 460043 h 4687251"/>
              <a:gd name="connsiteX34958" fmla="*/ 2215366 w 8079933"/>
              <a:gd name="connsiteY34958" fmla="*/ 457661 h 4687251"/>
              <a:gd name="connsiteX34959" fmla="*/ 2214716 w 8079933"/>
              <a:gd name="connsiteY34959" fmla="*/ 455929 h 4687251"/>
              <a:gd name="connsiteX34960" fmla="*/ 2216451 w 8079933"/>
              <a:gd name="connsiteY34960" fmla="*/ 455929 h 4687251"/>
              <a:gd name="connsiteX34961" fmla="*/ 2218839 w 8079933"/>
              <a:gd name="connsiteY34961" fmla="*/ 458310 h 4687251"/>
              <a:gd name="connsiteX34962" fmla="*/ 2220250 w 8079933"/>
              <a:gd name="connsiteY34962" fmla="*/ 456578 h 4687251"/>
              <a:gd name="connsiteX34963" fmla="*/ 2219599 w 8079933"/>
              <a:gd name="connsiteY34963" fmla="*/ 454304 h 4687251"/>
              <a:gd name="connsiteX34964" fmla="*/ 2222312 w 8079933"/>
              <a:gd name="connsiteY34964" fmla="*/ 452572 h 4687251"/>
              <a:gd name="connsiteX34965" fmla="*/ 2225892 w 8079933"/>
              <a:gd name="connsiteY34965" fmla="*/ 453980 h 4687251"/>
              <a:gd name="connsiteX34966" fmla="*/ 2233271 w 8079933"/>
              <a:gd name="connsiteY34966" fmla="*/ 455712 h 4687251"/>
              <a:gd name="connsiteX34967" fmla="*/ 2235551 w 8079933"/>
              <a:gd name="connsiteY34967" fmla="*/ 454304 h 4687251"/>
              <a:gd name="connsiteX34968" fmla="*/ 2232946 w 8079933"/>
              <a:gd name="connsiteY34968" fmla="*/ 452031 h 4687251"/>
              <a:gd name="connsiteX34969" fmla="*/ 2231535 w 8079933"/>
              <a:gd name="connsiteY34969" fmla="*/ 452031 h 4687251"/>
              <a:gd name="connsiteX34970" fmla="*/ 2238806 w 8079933"/>
              <a:gd name="connsiteY34970" fmla="*/ 450949 h 4687251"/>
              <a:gd name="connsiteX34971" fmla="*/ 2243472 w 8079933"/>
              <a:gd name="connsiteY34971" fmla="*/ 448350 h 4687251"/>
              <a:gd name="connsiteX34972" fmla="*/ 2249332 w 8079933"/>
              <a:gd name="connsiteY34972" fmla="*/ 448350 h 4687251"/>
              <a:gd name="connsiteX34973" fmla="*/ 2254541 w 8079933"/>
              <a:gd name="connsiteY34973" fmla="*/ 449000 h 4687251"/>
              <a:gd name="connsiteX34974" fmla="*/ 2258013 w 8079933"/>
              <a:gd name="connsiteY34974" fmla="*/ 446617 h 4687251"/>
              <a:gd name="connsiteX34975" fmla="*/ 2255409 w 8079933"/>
              <a:gd name="connsiteY34975" fmla="*/ 444560 h 4687251"/>
              <a:gd name="connsiteX34976" fmla="*/ 2236093 w 8079933"/>
              <a:gd name="connsiteY34976" fmla="*/ 441096 h 4687251"/>
              <a:gd name="connsiteX34977" fmla="*/ 2231318 w 8079933"/>
              <a:gd name="connsiteY34977" fmla="*/ 441096 h 4687251"/>
              <a:gd name="connsiteX34978" fmla="*/ 2227737 w 8079933"/>
              <a:gd name="connsiteY34978" fmla="*/ 439364 h 4687251"/>
              <a:gd name="connsiteX34979" fmla="*/ 2221335 w 8079933"/>
              <a:gd name="connsiteY34979" fmla="*/ 440229 h 4687251"/>
              <a:gd name="connsiteX34980" fmla="*/ 2216343 w 8079933"/>
              <a:gd name="connsiteY34980" fmla="*/ 437631 h 4687251"/>
              <a:gd name="connsiteX34981" fmla="*/ 2213413 w 8079933"/>
              <a:gd name="connsiteY34981" fmla="*/ 438281 h 4687251"/>
              <a:gd name="connsiteX34982" fmla="*/ 2210266 w 8079933"/>
              <a:gd name="connsiteY34982" fmla="*/ 436873 h 4687251"/>
              <a:gd name="connsiteX34983" fmla="*/ 2205925 w 8079933"/>
              <a:gd name="connsiteY34983" fmla="*/ 436873 h 4687251"/>
              <a:gd name="connsiteX34984" fmla="*/ 2203864 w 8079933"/>
              <a:gd name="connsiteY34984" fmla="*/ 438389 h 4687251"/>
              <a:gd name="connsiteX34985" fmla="*/ 2201477 w 8079933"/>
              <a:gd name="connsiteY34985" fmla="*/ 437306 h 4687251"/>
              <a:gd name="connsiteX34986" fmla="*/ 2198764 w 8079933"/>
              <a:gd name="connsiteY34986" fmla="*/ 437306 h 4687251"/>
              <a:gd name="connsiteX34987" fmla="*/ 2196919 w 8079933"/>
              <a:gd name="connsiteY34987" fmla="*/ 435466 h 4687251"/>
              <a:gd name="connsiteX34988" fmla="*/ 2196919 w 8079933"/>
              <a:gd name="connsiteY34988" fmla="*/ 430160 h 4687251"/>
              <a:gd name="connsiteX34989" fmla="*/ 2200500 w 8079933"/>
              <a:gd name="connsiteY34989" fmla="*/ 430810 h 4687251"/>
              <a:gd name="connsiteX34990" fmla="*/ 2203212 w 8079933"/>
              <a:gd name="connsiteY34990" fmla="*/ 428211 h 4687251"/>
              <a:gd name="connsiteX34991" fmla="*/ 2205925 w 8079933"/>
              <a:gd name="connsiteY34991" fmla="*/ 429944 h 4687251"/>
              <a:gd name="connsiteX34992" fmla="*/ 2208638 w 8079933"/>
              <a:gd name="connsiteY34992" fmla="*/ 428861 h 4687251"/>
              <a:gd name="connsiteX34993" fmla="*/ 2206793 w 8079933"/>
              <a:gd name="connsiteY34993" fmla="*/ 426263 h 4687251"/>
              <a:gd name="connsiteX34994" fmla="*/ 2208205 w 8079933"/>
              <a:gd name="connsiteY34994" fmla="*/ 423122 h 4687251"/>
              <a:gd name="connsiteX34995" fmla="*/ 2210809 w 8079933"/>
              <a:gd name="connsiteY34995" fmla="*/ 421066 h 4687251"/>
              <a:gd name="connsiteX34996" fmla="*/ 2215475 w 8079933"/>
              <a:gd name="connsiteY34996" fmla="*/ 421066 h 4687251"/>
              <a:gd name="connsiteX34997" fmla="*/ 2217754 w 8079933"/>
              <a:gd name="connsiteY34997" fmla="*/ 419982 h 4687251"/>
              <a:gd name="connsiteX34998" fmla="*/ 2217754 w 8079933"/>
              <a:gd name="connsiteY34998" fmla="*/ 424097 h 4687251"/>
              <a:gd name="connsiteX34999" fmla="*/ 2220141 w 8079933"/>
              <a:gd name="connsiteY34999" fmla="*/ 425505 h 4687251"/>
              <a:gd name="connsiteX35000" fmla="*/ 2220141 w 8079933"/>
              <a:gd name="connsiteY35000" fmla="*/ 432001 h 4687251"/>
              <a:gd name="connsiteX35001" fmla="*/ 2221877 w 8079933"/>
              <a:gd name="connsiteY35001" fmla="*/ 432976 h 4687251"/>
              <a:gd name="connsiteX35002" fmla="*/ 2223939 w 8079933"/>
              <a:gd name="connsiteY35002" fmla="*/ 430377 h 4687251"/>
              <a:gd name="connsiteX35003" fmla="*/ 2223288 w 8079933"/>
              <a:gd name="connsiteY35003" fmla="*/ 425721 h 4687251"/>
              <a:gd name="connsiteX35004" fmla="*/ 2220901 w 8079933"/>
              <a:gd name="connsiteY35004" fmla="*/ 422473 h 4687251"/>
              <a:gd name="connsiteX35005" fmla="*/ 2222420 w 8079933"/>
              <a:gd name="connsiteY35005" fmla="*/ 418575 h 4687251"/>
              <a:gd name="connsiteX35006" fmla="*/ 2227412 w 8079933"/>
              <a:gd name="connsiteY35006" fmla="*/ 416843 h 4687251"/>
              <a:gd name="connsiteX35007" fmla="*/ 2227412 w 8079933"/>
              <a:gd name="connsiteY35007" fmla="*/ 414244 h 4687251"/>
              <a:gd name="connsiteX35008" fmla="*/ 2223397 w 8079933"/>
              <a:gd name="connsiteY35008" fmla="*/ 412728 h 4687251"/>
              <a:gd name="connsiteX35009" fmla="*/ 2224807 w 8079933"/>
              <a:gd name="connsiteY35009" fmla="*/ 406557 h 4687251"/>
              <a:gd name="connsiteX35010" fmla="*/ 2229473 w 8079933"/>
              <a:gd name="connsiteY35010" fmla="*/ 404825 h 4687251"/>
              <a:gd name="connsiteX35011" fmla="*/ 2230450 w 8079933"/>
              <a:gd name="connsiteY35011" fmla="*/ 401901 h 4687251"/>
              <a:gd name="connsiteX35012" fmla="*/ 2235225 w 8079933"/>
              <a:gd name="connsiteY35012" fmla="*/ 400386 h 4687251"/>
              <a:gd name="connsiteX35013" fmla="*/ 2232621 w 8079933"/>
              <a:gd name="connsiteY35013" fmla="*/ 397138 h 4687251"/>
              <a:gd name="connsiteX35014" fmla="*/ 2230233 w 8079933"/>
              <a:gd name="connsiteY35014" fmla="*/ 397138 h 4687251"/>
              <a:gd name="connsiteX35015" fmla="*/ 2227846 w 8079933"/>
              <a:gd name="connsiteY35015" fmla="*/ 396272 h 4687251"/>
              <a:gd name="connsiteX35016" fmla="*/ 2228497 w 8079933"/>
              <a:gd name="connsiteY35016" fmla="*/ 393564 h 4687251"/>
              <a:gd name="connsiteX35017" fmla="*/ 2232838 w 8079933"/>
              <a:gd name="connsiteY35017" fmla="*/ 389884 h 4687251"/>
              <a:gd name="connsiteX35018" fmla="*/ 2233923 w 8079933"/>
              <a:gd name="connsiteY35018" fmla="*/ 387935 h 4687251"/>
              <a:gd name="connsiteX35019" fmla="*/ 2239240 w 8079933"/>
              <a:gd name="connsiteY35019" fmla="*/ 387935 h 4687251"/>
              <a:gd name="connsiteX35020" fmla="*/ 2241302 w 8079933"/>
              <a:gd name="connsiteY35020" fmla="*/ 389559 h 4687251"/>
              <a:gd name="connsiteX35021" fmla="*/ 2241953 w 8079933"/>
              <a:gd name="connsiteY35021" fmla="*/ 393673 h 4687251"/>
              <a:gd name="connsiteX35022" fmla="*/ 2244232 w 8079933"/>
              <a:gd name="connsiteY35022" fmla="*/ 395946 h 4687251"/>
              <a:gd name="connsiteX35023" fmla="*/ 2244232 w 8079933"/>
              <a:gd name="connsiteY35023" fmla="*/ 399736 h 4687251"/>
              <a:gd name="connsiteX35024" fmla="*/ 2243038 w 8079933"/>
              <a:gd name="connsiteY35024" fmla="*/ 401468 h 4687251"/>
              <a:gd name="connsiteX35025" fmla="*/ 2244232 w 8079933"/>
              <a:gd name="connsiteY35025" fmla="*/ 404933 h 4687251"/>
              <a:gd name="connsiteX35026" fmla="*/ 2246945 w 8079933"/>
              <a:gd name="connsiteY35026" fmla="*/ 408074 h 4687251"/>
              <a:gd name="connsiteX35027" fmla="*/ 2248355 w 8079933"/>
              <a:gd name="connsiteY35027" fmla="*/ 421066 h 4687251"/>
              <a:gd name="connsiteX35028" fmla="*/ 2247270 w 8079933"/>
              <a:gd name="connsiteY35028" fmla="*/ 425288 h 4687251"/>
              <a:gd name="connsiteX35029" fmla="*/ 2247270 w 8079933"/>
              <a:gd name="connsiteY35029" fmla="*/ 427670 h 4687251"/>
              <a:gd name="connsiteX35030" fmla="*/ 2251393 w 8079933"/>
              <a:gd name="connsiteY35030" fmla="*/ 430269 h 4687251"/>
              <a:gd name="connsiteX35031" fmla="*/ 2256168 w 8079933"/>
              <a:gd name="connsiteY35031" fmla="*/ 426696 h 4687251"/>
              <a:gd name="connsiteX35032" fmla="*/ 2253890 w 8079933"/>
              <a:gd name="connsiteY35032" fmla="*/ 423447 h 4687251"/>
              <a:gd name="connsiteX35033" fmla="*/ 2255192 w 8079933"/>
              <a:gd name="connsiteY35033" fmla="*/ 416410 h 4687251"/>
              <a:gd name="connsiteX35034" fmla="*/ 2259098 w 8079933"/>
              <a:gd name="connsiteY35034" fmla="*/ 415543 h 4687251"/>
              <a:gd name="connsiteX35035" fmla="*/ 2259098 w 8079933"/>
              <a:gd name="connsiteY35035" fmla="*/ 411754 h 4687251"/>
              <a:gd name="connsiteX35036" fmla="*/ 2251720 w 8079933"/>
              <a:gd name="connsiteY35036" fmla="*/ 406666 h 4687251"/>
              <a:gd name="connsiteX35037" fmla="*/ 2252696 w 8079933"/>
              <a:gd name="connsiteY35037" fmla="*/ 404500 h 4687251"/>
              <a:gd name="connsiteX35038" fmla="*/ 2256386 w 8079933"/>
              <a:gd name="connsiteY35038" fmla="*/ 404500 h 4687251"/>
              <a:gd name="connsiteX35039" fmla="*/ 2260617 w 8079933"/>
              <a:gd name="connsiteY35039" fmla="*/ 406991 h 4687251"/>
              <a:gd name="connsiteX35040" fmla="*/ 2259749 w 8079933"/>
              <a:gd name="connsiteY35040" fmla="*/ 403525 h 4687251"/>
              <a:gd name="connsiteX35041" fmla="*/ 2255409 w 8079933"/>
              <a:gd name="connsiteY35041" fmla="*/ 398762 h 4687251"/>
              <a:gd name="connsiteX35042" fmla="*/ 2254106 w 8079933"/>
              <a:gd name="connsiteY35042" fmla="*/ 392807 h 4687251"/>
              <a:gd name="connsiteX35043" fmla="*/ 2255192 w 8079933"/>
              <a:gd name="connsiteY35043" fmla="*/ 390209 h 4687251"/>
              <a:gd name="connsiteX35044" fmla="*/ 2255192 w 8079933"/>
              <a:gd name="connsiteY35044" fmla="*/ 383929 h 4687251"/>
              <a:gd name="connsiteX35045" fmla="*/ 2257904 w 8079933"/>
              <a:gd name="connsiteY35045" fmla="*/ 381980 h 4687251"/>
              <a:gd name="connsiteX35046" fmla="*/ 2261920 w 8079933"/>
              <a:gd name="connsiteY35046" fmla="*/ 381980 h 4687251"/>
              <a:gd name="connsiteX35047" fmla="*/ 2263656 w 8079933"/>
              <a:gd name="connsiteY35047" fmla="*/ 379598 h 4687251"/>
              <a:gd name="connsiteX35048" fmla="*/ 2267780 w 8079933"/>
              <a:gd name="connsiteY35048" fmla="*/ 379598 h 4687251"/>
              <a:gd name="connsiteX35049" fmla="*/ 2272771 w 8079933"/>
              <a:gd name="connsiteY35049" fmla="*/ 376674 h 4687251"/>
              <a:gd name="connsiteX35050" fmla="*/ 3644531 w 8079933"/>
              <a:gd name="connsiteY35050" fmla="*/ 376456 h 4687251"/>
              <a:gd name="connsiteX35051" fmla="*/ 3647895 w 8079933"/>
              <a:gd name="connsiteY35051" fmla="*/ 379813 h 4687251"/>
              <a:gd name="connsiteX35052" fmla="*/ 3647678 w 8079933"/>
              <a:gd name="connsiteY35052" fmla="*/ 385118 h 4687251"/>
              <a:gd name="connsiteX35053" fmla="*/ 3644422 w 8079933"/>
              <a:gd name="connsiteY35053" fmla="*/ 388799 h 4687251"/>
              <a:gd name="connsiteX35054" fmla="*/ 3638671 w 8079933"/>
              <a:gd name="connsiteY35054" fmla="*/ 388366 h 4687251"/>
              <a:gd name="connsiteX35055" fmla="*/ 3637043 w 8079933"/>
              <a:gd name="connsiteY35055" fmla="*/ 390315 h 4687251"/>
              <a:gd name="connsiteX35056" fmla="*/ 3635198 w 8079933"/>
              <a:gd name="connsiteY35056" fmla="*/ 390423 h 4687251"/>
              <a:gd name="connsiteX35057" fmla="*/ 3634873 w 8079933"/>
              <a:gd name="connsiteY35057" fmla="*/ 386201 h 4687251"/>
              <a:gd name="connsiteX35058" fmla="*/ 3636718 w 8079933"/>
              <a:gd name="connsiteY35058" fmla="*/ 379705 h 4687251"/>
              <a:gd name="connsiteX35059" fmla="*/ 6889177 w 8079933"/>
              <a:gd name="connsiteY35059" fmla="*/ 374293 h 4687251"/>
              <a:gd name="connsiteX35060" fmla="*/ 6894929 w 8079933"/>
              <a:gd name="connsiteY35060" fmla="*/ 375916 h 4687251"/>
              <a:gd name="connsiteX35061" fmla="*/ 6893301 w 8079933"/>
              <a:gd name="connsiteY35061" fmla="*/ 378515 h 4687251"/>
              <a:gd name="connsiteX35062" fmla="*/ 6890371 w 8079933"/>
              <a:gd name="connsiteY35062" fmla="*/ 378948 h 4687251"/>
              <a:gd name="connsiteX35063" fmla="*/ 6887984 w 8079933"/>
              <a:gd name="connsiteY35063" fmla="*/ 376566 h 4687251"/>
              <a:gd name="connsiteX35064" fmla="*/ 4347719 w 8079933"/>
              <a:gd name="connsiteY35064" fmla="*/ 373751 h 4687251"/>
              <a:gd name="connsiteX35065" fmla="*/ 4350866 w 8079933"/>
              <a:gd name="connsiteY35065" fmla="*/ 375592 h 4687251"/>
              <a:gd name="connsiteX35066" fmla="*/ 4352385 w 8079933"/>
              <a:gd name="connsiteY35066" fmla="*/ 379382 h 4687251"/>
              <a:gd name="connsiteX35067" fmla="*/ 4350432 w 8079933"/>
              <a:gd name="connsiteY35067" fmla="*/ 381655 h 4687251"/>
              <a:gd name="connsiteX35068" fmla="*/ 4347611 w 8079933"/>
              <a:gd name="connsiteY35068" fmla="*/ 381546 h 4687251"/>
              <a:gd name="connsiteX35069" fmla="*/ 4345224 w 8079933"/>
              <a:gd name="connsiteY35069" fmla="*/ 377216 h 4687251"/>
              <a:gd name="connsiteX35070" fmla="*/ 4345874 w 8079933"/>
              <a:gd name="connsiteY35070" fmla="*/ 374835 h 4687251"/>
              <a:gd name="connsiteX35071" fmla="*/ 4207081 w 8079933"/>
              <a:gd name="connsiteY35071" fmla="*/ 371802 h 4687251"/>
              <a:gd name="connsiteX35072" fmla="*/ 4209577 w 8079933"/>
              <a:gd name="connsiteY35072" fmla="*/ 372777 h 4687251"/>
              <a:gd name="connsiteX35073" fmla="*/ 4211856 w 8079933"/>
              <a:gd name="connsiteY35073" fmla="*/ 376674 h 4687251"/>
              <a:gd name="connsiteX35074" fmla="*/ 4211530 w 8079933"/>
              <a:gd name="connsiteY35074" fmla="*/ 379165 h 4687251"/>
              <a:gd name="connsiteX35075" fmla="*/ 4209685 w 8079933"/>
              <a:gd name="connsiteY35075" fmla="*/ 381330 h 4687251"/>
              <a:gd name="connsiteX35076" fmla="*/ 4208167 w 8079933"/>
              <a:gd name="connsiteY35076" fmla="*/ 381655 h 4687251"/>
              <a:gd name="connsiteX35077" fmla="*/ 4204260 w 8079933"/>
              <a:gd name="connsiteY35077" fmla="*/ 379165 h 4687251"/>
              <a:gd name="connsiteX35078" fmla="*/ 4203500 w 8079933"/>
              <a:gd name="connsiteY35078" fmla="*/ 376891 h 4687251"/>
              <a:gd name="connsiteX35079" fmla="*/ 4204260 w 8079933"/>
              <a:gd name="connsiteY35079" fmla="*/ 373969 h 4687251"/>
              <a:gd name="connsiteX35080" fmla="*/ 2356005 w 8079933"/>
              <a:gd name="connsiteY35080" fmla="*/ 371584 h 4687251"/>
              <a:gd name="connsiteX35081" fmla="*/ 2361105 w 8079933"/>
              <a:gd name="connsiteY35081" fmla="*/ 374183 h 4687251"/>
              <a:gd name="connsiteX35082" fmla="*/ 2365771 w 8079933"/>
              <a:gd name="connsiteY35082" fmla="*/ 374183 h 4687251"/>
              <a:gd name="connsiteX35083" fmla="*/ 2369786 w 8079933"/>
              <a:gd name="connsiteY35083" fmla="*/ 378513 h 4687251"/>
              <a:gd name="connsiteX35084" fmla="*/ 2377491 w 8079933"/>
              <a:gd name="connsiteY35084" fmla="*/ 381004 h 4687251"/>
              <a:gd name="connsiteX35085" fmla="*/ 2378250 w 8079933"/>
              <a:gd name="connsiteY35085" fmla="*/ 383927 h 4687251"/>
              <a:gd name="connsiteX35086" fmla="*/ 2378359 w 8079933"/>
              <a:gd name="connsiteY35086" fmla="*/ 388258 h 4687251"/>
              <a:gd name="connsiteX35087" fmla="*/ 2380746 w 8079933"/>
              <a:gd name="connsiteY35087" fmla="*/ 390640 h 4687251"/>
              <a:gd name="connsiteX35088" fmla="*/ 2385955 w 8079933"/>
              <a:gd name="connsiteY35088" fmla="*/ 390965 h 4687251"/>
              <a:gd name="connsiteX35089" fmla="*/ 2388017 w 8079933"/>
              <a:gd name="connsiteY35089" fmla="*/ 388583 h 4687251"/>
              <a:gd name="connsiteX35090" fmla="*/ 2391489 w 8079933"/>
              <a:gd name="connsiteY35090" fmla="*/ 392697 h 4687251"/>
              <a:gd name="connsiteX35091" fmla="*/ 2390079 w 8079933"/>
              <a:gd name="connsiteY35091" fmla="*/ 394105 h 4687251"/>
              <a:gd name="connsiteX35092" fmla="*/ 2389862 w 8079933"/>
              <a:gd name="connsiteY35092" fmla="*/ 404607 h 4687251"/>
              <a:gd name="connsiteX35093" fmla="*/ 2392140 w 8079933"/>
              <a:gd name="connsiteY35093" fmla="*/ 409262 h 4687251"/>
              <a:gd name="connsiteX35094" fmla="*/ 2391272 w 8079933"/>
              <a:gd name="connsiteY35094" fmla="*/ 412186 h 4687251"/>
              <a:gd name="connsiteX35095" fmla="*/ 2381506 w 8079933"/>
              <a:gd name="connsiteY35095" fmla="*/ 421388 h 4687251"/>
              <a:gd name="connsiteX35096" fmla="*/ 2378901 w 8079933"/>
              <a:gd name="connsiteY35096" fmla="*/ 422471 h 4687251"/>
              <a:gd name="connsiteX35097" fmla="*/ 2375646 w 8079933"/>
              <a:gd name="connsiteY35097" fmla="*/ 426803 h 4687251"/>
              <a:gd name="connsiteX35098" fmla="*/ 2375755 w 8079933"/>
              <a:gd name="connsiteY35098" fmla="*/ 430051 h 4687251"/>
              <a:gd name="connsiteX35099" fmla="*/ 2379227 w 8079933"/>
              <a:gd name="connsiteY35099" fmla="*/ 427994 h 4687251"/>
              <a:gd name="connsiteX35100" fmla="*/ 2380421 w 8079933"/>
              <a:gd name="connsiteY35100" fmla="*/ 424313 h 4687251"/>
              <a:gd name="connsiteX35101" fmla="*/ 2387041 w 8079933"/>
              <a:gd name="connsiteY35101" fmla="*/ 420956 h 4687251"/>
              <a:gd name="connsiteX35102" fmla="*/ 2391815 w 8079933"/>
              <a:gd name="connsiteY35102" fmla="*/ 413702 h 4687251"/>
              <a:gd name="connsiteX35103" fmla="*/ 2394745 w 8079933"/>
              <a:gd name="connsiteY35103" fmla="*/ 417491 h 4687251"/>
              <a:gd name="connsiteX35104" fmla="*/ 2398000 w 8079933"/>
              <a:gd name="connsiteY35104" fmla="*/ 416841 h 4687251"/>
              <a:gd name="connsiteX35105" fmla="*/ 2402124 w 8079933"/>
              <a:gd name="connsiteY35105" fmla="*/ 419873 h 4687251"/>
              <a:gd name="connsiteX35106" fmla="*/ 2406464 w 8079933"/>
              <a:gd name="connsiteY35106" fmla="*/ 419873 h 4687251"/>
              <a:gd name="connsiteX35107" fmla="*/ 2411782 w 8079933"/>
              <a:gd name="connsiteY35107" fmla="*/ 416624 h 4687251"/>
              <a:gd name="connsiteX35108" fmla="*/ 2416557 w 8079933"/>
              <a:gd name="connsiteY35108" fmla="*/ 416409 h 4687251"/>
              <a:gd name="connsiteX35109" fmla="*/ 2417859 w 8079933"/>
              <a:gd name="connsiteY35109" fmla="*/ 417491 h 4687251"/>
              <a:gd name="connsiteX35110" fmla="*/ 2421766 w 8079933"/>
              <a:gd name="connsiteY35110" fmla="*/ 417274 h 4687251"/>
              <a:gd name="connsiteX35111" fmla="*/ 2427083 w 8079933"/>
              <a:gd name="connsiteY35111" fmla="*/ 424205 h 4687251"/>
              <a:gd name="connsiteX35112" fmla="*/ 2429036 w 8079933"/>
              <a:gd name="connsiteY35112" fmla="*/ 431892 h 4687251"/>
              <a:gd name="connsiteX35113" fmla="*/ 2427300 w 8079933"/>
              <a:gd name="connsiteY35113" fmla="*/ 435248 h 4687251"/>
              <a:gd name="connsiteX35114" fmla="*/ 2424587 w 8079933"/>
              <a:gd name="connsiteY35114" fmla="*/ 434814 h 4687251"/>
              <a:gd name="connsiteX35115" fmla="*/ 2423502 w 8079933"/>
              <a:gd name="connsiteY35115" fmla="*/ 430700 h 4687251"/>
              <a:gd name="connsiteX35116" fmla="*/ 2420246 w 8079933"/>
              <a:gd name="connsiteY35116" fmla="*/ 430700 h 4687251"/>
              <a:gd name="connsiteX35117" fmla="*/ 2416991 w 8079933"/>
              <a:gd name="connsiteY35117" fmla="*/ 426803 h 4687251"/>
              <a:gd name="connsiteX35118" fmla="*/ 2413518 w 8079933"/>
              <a:gd name="connsiteY35118" fmla="*/ 425612 h 4687251"/>
              <a:gd name="connsiteX35119" fmla="*/ 2411999 w 8079933"/>
              <a:gd name="connsiteY35119" fmla="*/ 428318 h 4687251"/>
              <a:gd name="connsiteX35120" fmla="*/ 2414061 w 8079933"/>
              <a:gd name="connsiteY35120" fmla="*/ 430700 h 4687251"/>
              <a:gd name="connsiteX35121" fmla="*/ 2416231 w 8079933"/>
              <a:gd name="connsiteY35121" fmla="*/ 430916 h 4687251"/>
              <a:gd name="connsiteX35122" fmla="*/ 2420572 w 8079933"/>
              <a:gd name="connsiteY35122" fmla="*/ 435248 h 4687251"/>
              <a:gd name="connsiteX35123" fmla="*/ 2421657 w 8079933"/>
              <a:gd name="connsiteY35123" fmla="*/ 439361 h 4687251"/>
              <a:gd name="connsiteX35124" fmla="*/ 2424587 w 8079933"/>
              <a:gd name="connsiteY35124" fmla="*/ 438821 h 4687251"/>
              <a:gd name="connsiteX35125" fmla="*/ 2428710 w 8079933"/>
              <a:gd name="connsiteY35125" fmla="*/ 443259 h 4687251"/>
              <a:gd name="connsiteX35126" fmla="*/ 2438260 w 8079933"/>
              <a:gd name="connsiteY35126" fmla="*/ 450514 h 4687251"/>
              <a:gd name="connsiteX35127" fmla="*/ 2439888 w 8079933"/>
              <a:gd name="connsiteY35127" fmla="*/ 455818 h 4687251"/>
              <a:gd name="connsiteX35128" fmla="*/ 2438151 w 8079933"/>
              <a:gd name="connsiteY35128" fmla="*/ 459825 h 4687251"/>
              <a:gd name="connsiteX35129" fmla="*/ 2433160 w 8079933"/>
              <a:gd name="connsiteY35129" fmla="*/ 459825 h 4687251"/>
              <a:gd name="connsiteX35130" fmla="*/ 2425781 w 8079933"/>
              <a:gd name="connsiteY35130" fmla="*/ 458093 h 4687251"/>
              <a:gd name="connsiteX35131" fmla="*/ 2422959 w 8079933"/>
              <a:gd name="connsiteY35131" fmla="*/ 454736 h 4687251"/>
              <a:gd name="connsiteX35132" fmla="*/ 2420572 w 8079933"/>
              <a:gd name="connsiteY35132" fmla="*/ 457551 h 4687251"/>
              <a:gd name="connsiteX35133" fmla="*/ 2416557 w 8079933"/>
              <a:gd name="connsiteY35133" fmla="*/ 453545 h 4687251"/>
              <a:gd name="connsiteX35134" fmla="*/ 2410914 w 8079933"/>
              <a:gd name="connsiteY35134" fmla="*/ 452030 h 4687251"/>
              <a:gd name="connsiteX35135" fmla="*/ 2406248 w 8079933"/>
              <a:gd name="connsiteY35135" fmla="*/ 447265 h 4687251"/>
              <a:gd name="connsiteX35136" fmla="*/ 2404077 w 8079933"/>
              <a:gd name="connsiteY35136" fmla="*/ 442610 h 4687251"/>
              <a:gd name="connsiteX35137" fmla="*/ 2401581 w 8079933"/>
              <a:gd name="connsiteY35137" fmla="*/ 442610 h 4687251"/>
              <a:gd name="connsiteX35138" fmla="*/ 2401148 w 8079933"/>
              <a:gd name="connsiteY35138" fmla="*/ 445641 h 4687251"/>
              <a:gd name="connsiteX35139" fmla="*/ 2398543 w 8079933"/>
              <a:gd name="connsiteY35139" fmla="*/ 446400 h 4687251"/>
              <a:gd name="connsiteX35140" fmla="*/ 2403209 w 8079933"/>
              <a:gd name="connsiteY35140" fmla="*/ 448890 h 4687251"/>
              <a:gd name="connsiteX35141" fmla="*/ 2408852 w 8079933"/>
              <a:gd name="connsiteY35141" fmla="*/ 454736 h 4687251"/>
              <a:gd name="connsiteX35142" fmla="*/ 2406464 w 8079933"/>
              <a:gd name="connsiteY35142" fmla="*/ 456360 h 4687251"/>
              <a:gd name="connsiteX35143" fmla="*/ 2410805 w 8079933"/>
              <a:gd name="connsiteY35143" fmla="*/ 456901 h 4687251"/>
              <a:gd name="connsiteX35144" fmla="*/ 2414929 w 8079933"/>
              <a:gd name="connsiteY35144" fmla="*/ 461449 h 4687251"/>
              <a:gd name="connsiteX35145" fmla="*/ 2415580 w 8079933"/>
              <a:gd name="connsiteY35145" fmla="*/ 464264 h 4687251"/>
              <a:gd name="connsiteX35146" fmla="*/ 2409069 w 8079933"/>
              <a:gd name="connsiteY35146" fmla="*/ 464264 h 4687251"/>
              <a:gd name="connsiteX35147" fmla="*/ 2405054 w 8079933"/>
              <a:gd name="connsiteY35147" fmla="*/ 460150 h 4687251"/>
              <a:gd name="connsiteX35148" fmla="*/ 2401907 w 8079933"/>
              <a:gd name="connsiteY35148" fmla="*/ 459933 h 4687251"/>
              <a:gd name="connsiteX35149" fmla="*/ 2400930 w 8079933"/>
              <a:gd name="connsiteY35149" fmla="*/ 463506 h 4687251"/>
              <a:gd name="connsiteX35150" fmla="*/ 2398651 w 8079933"/>
              <a:gd name="connsiteY35150" fmla="*/ 467296 h 4687251"/>
              <a:gd name="connsiteX35151" fmla="*/ 2395830 w 8079933"/>
              <a:gd name="connsiteY35151" fmla="*/ 468920 h 4687251"/>
              <a:gd name="connsiteX35152" fmla="*/ 2395830 w 8079933"/>
              <a:gd name="connsiteY35152" fmla="*/ 471301 h 4687251"/>
              <a:gd name="connsiteX35153" fmla="*/ 2401473 w 8079933"/>
              <a:gd name="connsiteY35153" fmla="*/ 470219 h 4687251"/>
              <a:gd name="connsiteX35154" fmla="*/ 2404403 w 8079933"/>
              <a:gd name="connsiteY35154" fmla="*/ 467296 h 4687251"/>
              <a:gd name="connsiteX35155" fmla="*/ 2408201 w 8079933"/>
              <a:gd name="connsiteY35155" fmla="*/ 467296 h 4687251"/>
              <a:gd name="connsiteX35156" fmla="*/ 2408852 w 8079933"/>
              <a:gd name="connsiteY35156" fmla="*/ 469569 h 4687251"/>
              <a:gd name="connsiteX35157" fmla="*/ 2406248 w 8079933"/>
              <a:gd name="connsiteY35157" fmla="*/ 471627 h 4687251"/>
              <a:gd name="connsiteX35158" fmla="*/ 2410371 w 8079933"/>
              <a:gd name="connsiteY35158" fmla="*/ 471518 h 4687251"/>
              <a:gd name="connsiteX35159" fmla="*/ 2412107 w 8079933"/>
              <a:gd name="connsiteY35159" fmla="*/ 470111 h 4687251"/>
              <a:gd name="connsiteX35160" fmla="*/ 2416231 w 8079933"/>
              <a:gd name="connsiteY35160" fmla="*/ 471301 h 4687251"/>
              <a:gd name="connsiteX35161" fmla="*/ 2419595 w 8079933"/>
              <a:gd name="connsiteY35161" fmla="*/ 469894 h 4687251"/>
              <a:gd name="connsiteX35162" fmla="*/ 2420029 w 8079933"/>
              <a:gd name="connsiteY35162" fmla="*/ 473467 h 4687251"/>
              <a:gd name="connsiteX35163" fmla="*/ 2417641 w 8079933"/>
              <a:gd name="connsiteY35163" fmla="*/ 478881 h 4687251"/>
              <a:gd name="connsiteX35164" fmla="*/ 2414061 w 8079933"/>
              <a:gd name="connsiteY35164" fmla="*/ 480396 h 4687251"/>
              <a:gd name="connsiteX35165" fmla="*/ 2414061 w 8079933"/>
              <a:gd name="connsiteY35165" fmla="*/ 482995 h 4687251"/>
              <a:gd name="connsiteX35166" fmla="*/ 2419595 w 8079933"/>
              <a:gd name="connsiteY35166" fmla="*/ 480722 h 4687251"/>
              <a:gd name="connsiteX35167" fmla="*/ 2422851 w 8079933"/>
              <a:gd name="connsiteY35167" fmla="*/ 484186 h 4687251"/>
              <a:gd name="connsiteX35168" fmla="*/ 2420029 w 8079933"/>
              <a:gd name="connsiteY35168" fmla="*/ 491224 h 4687251"/>
              <a:gd name="connsiteX35169" fmla="*/ 2420029 w 8079933"/>
              <a:gd name="connsiteY35169" fmla="*/ 494363 h 4687251"/>
              <a:gd name="connsiteX35170" fmla="*/ 2418185 w 8079933"/>
              <a:gd name="connsiteY35170" fmla="*/ 498153 h 4687251"/>
              <a:gd name="connsiteX35171" fmla="*/ 2420029 w 8079933"/>
              <a:gd name="connsiteY35171" fmla="*/ 502376 h 4687251"/>
              <a:gd name="connsiteX35172" fmla="*/ 2423176 w 8079933"/>
              <a:gd name="connsiteY35172" fmla="*/ 502268 h 4687251"/>
              <a:gd name="connsiteX35173" fmla="*/ 2422634 w 8079933"/>
              <a:gd name="connsiteY35173" fmla="*/ 496529 h 4687251"/>
              <a:gd name="connsiteX35174" fmla="*/ 2427517 w 8079933"/>
              <a:gd name="connsiteY35174" fmla="*/ 491007 h 4687251"/>
              <a:gd name="connsiteX35175" fmla="*/ 2432617 w 8079933"/>
              <a:gd name="connsiteY35175" fmla="*/ 489708 h 4687251"/>
              <a:gd name="connsiteX35176" fmla="*/ 2432834 w 8079933"/>
              <a:gd name="connsiteY35176" fmla="*/ 494797 h 4687251"/>
              <a:gd name="connsiteX35177" fmla="*/ 2433377 w 8079933"/>
              <a:gd name="connsiteY35177" fmla="*/ 497070 h 4687251"/>
              <a:gd name="connsiteX35178" fmla="*/ 2431966 w 8079933"/>
              <a:gd name="connsiteY35178" fmla="*/ 501401 h 4687251"/>
              <a:gd name="connsiteX35179" fmla="*/ 2435222 w 8079933"/>
              <a:gd name="connsiteY35179" fmla="*/ 501401 h 4687251"/>
              <a:gd name="connsiteX35180" fmla="*/ 2437935 w 8079933"/>
              <a:gd name="connsiteY35180" fmla="*/ 499344 h 4687251"/>
              <a:gd name="connsiteX35181" fmla="*/ 2442492 w 8079933"/>
              <a:gd name="connsiteY35181" fmla="*/ 500534 h 4687251"/>
              <a:gd name="connsiteX35182" fmla="*/ 2442926 w 8079933"/>
              <a:gd name="connsiteY35182" fmla="*/ 503459 h 4687251"/>
              <a:gd name="connsiteX35183" fmla="*/ 2441298 w 8079933"/>
              <a:gd name="connsiteY35183" fmla="*/ 506381 h 4687251"/>
              <a:gd name="connsiteX35184" fmla="*/ 2445205 w 8079933"/>
              <a:gd name="connsiteY35184" fmla="*/ 507681 h 4687251"/>
              <a:gd name="connsiteX35185" fmla="*/ 2446399 w 8079933"/>
              <a:gd name="connsiteY35185" fmla="*/ 504974 h 4687251"/>
              <a:gd name="connsiteX35186" fmla="*/ 2445422 w 8079933"/>
              <a:gd name="connsiteY35186" fmla="*/ 501726 h 4687251"/>
              <a:gd name="connsiteX35187" fmla="*/ 2451065 w 8079933"/>
              <a:gd name="connsiteY35187" fmla="*/ 498477 h 4687251"/>
              <a:gd name="connsiteX35188" fmla="*/ 2452584 w 8079933"/>
              <a:gd name="connsiteY35188" fmla="*/ 500968 h 4687251"/>
              <a:gd name="connsiteX35189" fmla="*/ 2452150 w 8079933"/>
              <a:gd name="connsiteY35189" fmla="*/ 504000 h 4687251"/>
              <a:gd name="connsiteX35190" fmla="*/ 2457142 w 8079933"/>
              <a:gd name="connsiteY35190" fmla="*/ 509629 h 4687251"/>
              <a:gd name="connsiteX35191" fmla="*/ 2456925 w 8079933"/>
              <a:gd name="connsiteY35191" fmla="*/ 513203 h 4687251"/>
              <a:gd name="connsiteX35192" fmla="*/ 2451933 w 8079933"/>
              <a:gd name="connsiteY35192" fmla="*/ 515152 h 4687251"/>
              <a:gd name="connsiteX35193" fmla="*/ 2454646 w 8079933"/>
              <a:gd name="connsiteY35193" fmla="*/ 516667 h 4687251"/>
              <a:gd name="connsiteX35194" fmla="*/ 2460940 w 8079933"/>
              <a:gd name="connsiteY35194" fmla="*/ 515152 h 4687251"/>
              <a:gd name="connsiteX35195" fmla="*/ 2464196 w 8079933"/>
              <a:gd name="connsiteY35195" fmla="*/ 516018 h 4687251"/>
              <a:gd name="connsiteX35196" fmla="*/ 2466040 w 8079933"/>
              <a:gd name="connsiteY35196" fmla="*/ 519049 h 4687251"/>
              <a:gd name="connsiteX35197" fmla="*/ 2471032 w 8079933"/>
              <a:gd name="connsiteY35197" fmla="*/ 520132 h 4687251"/>
              <a:gd name="connsiteX35198" fmla="*/ 2467234 w 8079933"/>
              <a:gd name="connsiteY35198" fmla="*/ 516884 h 4687251"/>
              <a:gd name="connsiteX35199" fmla="*/ 2467451 w 8079933"/>
              <a:gd name="connsiteY35199" fmla="*/ 513203 h 4687251"/>
              <a:gd name="connsiteX35200" fmla="*/ 2464196 w 8079933"/>
              <a:gd name="connsiteY35200" fmla="*/ 509954 h 4687251"/>
              <a:gd name="connsiteX35201" fmla="*/ 2465497 w 8079933"/>
              <a:gd name="connsiteY35201" fmla="*/ 508546 h 4687251"/>
              <a:gd name="connsiteX35202" fmla="*/ 2475915 w 8079933"/>
              <a:gd name="connsiteY35202" fmla="*/ 510171 h 4687251"/>
              <a:gd name="connsiteX35203" fmla="*/ 2480365 w 8079933"/>
              <a:gd name="connsiteY35203" fmla="*/ 508763 h 4687251"/>
              <a:gd name="connsiteX35204" fmla="*/ 2482426 w 8079933"/>
              <a:gd name="connsiteY35204" fmla="*/ 510820 h 4687251"/>
              <a:gd name="connsiteX35205" fmla="*/ 2482426 w 8079933"/>
              <a:gd name="connsiteY35205" fmla="*/ 513960 h 4687251"/>
              <a:gd name="connsiteX35206" fmla="*/ 2484379 w 8079933"/>
              <a:gd name="connsiteY35206" fmla="*/ 512228 h 4687251"/>
              <a:gd name="connsiteX35207" fmla="*/ 2484162 w 8079933"/>
              <a:gd name="connsiteY35207" fmla="*/ 509305 h 4687251"/>
              <a:gd name="connsiteX35208" fmla="*/ 2489697 w 8079933"/>
              <a:gd name="connsiteY35208" fmla="*/ 508439 h 4687251"/>
              <a:gd name="connsiteX35209" fmla="*/ 2494146 w 8079933"/>
              <a:gd name="connsiteY35209" fmla="*/ 506706 h 4687251"/>
              <a:gd name="connsiteX35210" fmla="*/ 2497944 w 8079933"/>
              <a:gd name="connsiteY35210" fmla="*/ 509089 h 4687251"/>
              <a:gd name="connsiteX35211" fmla="*/ 2500331 w 8079933"/>
              <a:gd name="connsiteY35211" fmla="*/ 512012 h 4687251"/>
              <a:gd name="connsiteX35212" fmla="*/ 2502285 w 8079933"/>
              <a:gd name="connsiteY35212" fmla="*/ 507572 h 4687251"/>
              <a:gd name="connsiteX35213" fmla="*/ 2507602 w 8079933"/>
              <a:gd name="connsiteY35213" fmla="*/ 507356 h 4687251"/>
              <a:gd name="connsiteX35214" fmla="*/ 2510207 w 8079933"/>
              <a:gd name="connsiteY35214" fmla="*/ 506165 h 4687251"/>
              <a:gd name="connsiteX35215" fmla="*/ 2513462 w 8079933"/>
              <a:gd name="connsiteY35215" fmla="*/ 506489 h 4687251"/>
              <a:gd name="connsiteX35216" fmla="*/ 2517694 w 8079933"/>
              <a:gd name="connsiteY35216" fmla="*/ 503783 h 4687251"/>
              <a:gd name="connsiteX35217" fmla="*/ 2520299 w 8079933"/>
              <a:gd name="connsiteY35217" fmla="*/ 505191 h 4687251"/>
              <a:gd name="connsiteX35218" fmla="*/ 2521492 w 8079933"/>
              <a:gd name="connsiteY35218" fmla="*/ 508763 h 4687251"/>
              <a:gd name="connsiteX35219" fmla="*/ 2529631 w 8079933"/>
              <a:gd name="connsiteY35219" fmla="*/ 514393 h 4687251"/>
              <a:gd name="connsiteX35220" fmla="*/ 2536901 w 8079933"/>
              <a:gd name="connsiteY35220" fmla="*/ 512336 h 4687251"/>
              <a:gd name="connsiteX35221" fmla="*/ 2543087 w 8079933"/>
              <a:gd name="connsiteY35221" fmla="*/ 512336 h 4687251"/>
              <a:gd name="connsiteX35222" fmla="*/ 2546668 w 8079933"/>
              <a:gd name="connsiteY35222" fmla="*/ 510171 h 4687251"/>
              <a:gd name="connsiteX35223" fmla="*/ 2550467 w 8079933"/>
              <a:gd name="connsiteY35223" fmla="*/ 510171 h 4687251"/>
              <a:gd name="connsiteX35224" fmla="*/ 2558063 w 8079933"/>
              <a:gd name="connsiteY35224" fmla="*/ 516343 h 4687251"/>
              <a:gd name="connsiteX35225" fmla="*/ 2559582 w 8079933"/>
              <a:gd name="connsiteY35225" fmla="*/ 520673 h 4687251"/>
              <a:gd name="connsiteX35226" fmla="*/ 2557194 w 8079933"/>
              <a:gd name="connsiteY35226" fmla="*/ 521648 h 4687251"/>
              <a:gd name="connsiteX35227" fmla="*/ 2556651 w 8079933"/>
              <a:gd name="connsiteY35227" fmla="*/ 524462 h 4687251"/>
              <a:gd name="connsiteX35228" fmla="*/ 2558605 w 8079933"/>
              <a:gd name="connsiteY35228" fmla="*/ 527278 h 4687251"/>
              <a:gd name="connsiteX35229" fmla="*/ 2567829 w 8079933"/>
              <a:gd name="connsiteY35229" fmla="*/ 527169 h 4687251"/>
              <a:gd name="connsiteX35230" fmla="*/ 2572061 w 8079933"/>
              <a:gd name="connsiteY35230" fmla="*/ 529876 h 4687251"/>
              <a:gd name="connsiteX35231" fmla="*/ 2571627 w 8079933"/>
              <a:gd name="connsiteY35231" fmla="*/ 534315 h 4687251"/>
              <a:gd name="connsiteX35232" fmla="*/ 2568914 w 8079933"/>
              <a:gd name="connsiteY35232" fmla="*/ 535398 h 4687251"/>
              <a:gd name="connsiteX35233" fmla="*/ 2567178 w 8079933"/>
              <a:gd name="connsiteY35233" fmla="*/ 539187 h 4687251"/>
              <a:gd name="connsiteX35234" fmla="*/ 2571627 w 8079933"/>
              <a:gd name="connsiteY35234" fmla="*/ 538213 h 4687251"/>
              <a:gd name="connsiteX35235" fmla="*/ 2577378 w 8079933"/>
              <a:gd name="connsiteY35235" fmla="*/ 539729 h 4687251"/>
              <a:gd name="connsiteX35236" fmla="*/ 2576619 w 8079933"/>
              <a:gd name="connsiteY35236" fmla="*/ 541894 h 4687251"/>
              <a:gd name="connsiteX35237" fmla="*/ 2573906 w 8079933"/>
              <a:gd name="connsiteY35237" fmla="*/ 542652 h 4687251"/>
              <a:gd name="connsiteX35238" fmla="*/ 2574991 w 8079933"/>
              <a:gd name="connsiteY35238" fmla="*/ 545576 h 4687251"/>
              <a:gd name="connsiteX35239" fmla="*/ 2572495 w 8079933"/>
              <a:gd name="connsiteY35239" fmla="*/ 550231 h 4687251"/>
              <a:gd name="connsiteX35240" fmla="*/ 2573255 w 8079933"/>
              <a:gd name="connsiteY35240" fmla="*/ 552938 h 4687251"/>
              <a:gd name="connsiteX35241" fmla="*/ 2570650 w 8079933"/>
              <a:gd name="connsiteY35241" fmla="*/ 557377 h 4687251"/>
              <a:gd name="connsiteX35242" fmla="*/ 2567720 w 8079933"/>
              <a:gd name="connsiteY35242" fmla="*/ 557918 h 4687251"/>
              <a:gd name="connsiteX35243" fmla="*/ 2565116 w 8079933"/>
              <a:gd name="connsiteY35243" fmla="*/ 555537 h 4687251"/>
              <a:gd name="connsiteX35244" fmla="*/ 2562403 w 8079933"/>
              <a:gd name="connsiteY35244" fmla="*/ 559650 h 4687251"/>
              <a:gd name="connsiteX35245" fmla="*/ 2557411 w 8079933"/>
              <a:gd name="connsiteY35245" fmla="*/ 561383 h 4687251"/>
              <a:gd name="connsiteX35246" fmla="*/ 2554481 w 8079933"/>
              <a:gd name="connsiteY35246" fmla="*/ 560192 h 4687251"/>
              <a:gd name="connsiteX35247" fmla="*/ 2552203 w 8079933"/>
              <a:gd name="connsiteY35247" fmla="*/ 561599 h 4687251"/>
              <a:gd name="connsiteX35248" fmla="*/ 2553396 w 8079933"/>
              <a:gd name="connsiteY35248" fmla="*/ 565497 h 4687251"/>
              <a:gd name="connsiteX35249" fmla="*/ 2558931 w 8079933"/>
              <a:gd name="connsiteY35249" fmla="*/ 565173 h 4687251"/>
              <a:gd name="connsiteX35250" fmla="*/ 2564139 w 8079933"/>
              <a:gd name="connsiteY35250" fmla="*/ 563440 h 4687251"/>
              <a:gd name="connsiteX35251" fmla="*/ 2567069 w 8079933"/>
              <a:gd name="connsiteY35251" fmla="*/ 565605 h 4687251"/>
              <a:gd name="connsiteX35252" fmla="*/ 2566527 w 8079933"/>
              <a:gd name="connsiteY35252" fmla="*/ 568745 h 4687251"/>
              <a:gd name="connsiteX35253" fmla="*/ 2567829 w 8079933"/>
              <a:gd name="connsiteY35253" fmla="*/ 573942 h 4687251"/>
              <a:gd name="connsiteX35254" fmla="*/ 2567069 w 8079933"/>
              <a:gd name="connsiteY35254" fmla="*/ 576541 h 4687251"/>
              <a:gd name="connsiteX35255" fmla="*/ 2564791 w 8079933"/>
              <a:gd name="connsiteY35255" fmla="*/ 575242 h 4687251"/>
              <a:gd name="connsiteX35256" fmla="*/ 2561644 w 8079933"/>
              <a:gd name="connsiteY35256" fmla="*/ 575999 h 4687251"/>
              <a:gd name="connsiteX35257" fmla="*/ 2558714 w 8079933"/>
              <a:gd name="connsiteY35257" fmla="*/ 575458 h 4687251"/>
              <a:gd name="connsiteX35258" fmla="*/ 2556651 w 8079933"/>
              <a:gd name="connsiteY35258" fmla="*/ 578706 h 4687251"/>
              <a:gd name="connsiteX35259" fmla="*/ 2552745 w 8079933"/>
              <a:gd name="connsiteY35259" fmla="*/ 573077 h 4687251"/>
              <a:gd name="connsiteX35260" fmla="*/ 2552853 w 8079933"/>
              <a:gd name="connsiteY35260" fmla="*/ 570153 h 4687251"/>
              <a:gd name="connsiteX35261" fmla="*/ 2550141 w 8079933"/>
              <a:gd name="connsiteY35261" fmla="*/ 567230 h 4687251"/>
              <a:gd name="connsiteX35262" fmla="*/ 2550141 w 8079933"/>
              <a:gd name="connsiteY35262" fmla="*/ 572535 h 4687251"/>
              <a:gd name="connsiteX35263" fmla="*/ 2552528 w 8079933"/>
              <a:gd name="connsiteY35263" fmla="*/ 577732 h 4687251"/>
              <a:gd name="connsiteX35264" fmla="*/ 2552420 w 8079933"/>
              <a:gd name="connsiteY35264" fmla="*/ 580439 h 4687251"/>
              <a:gd name="connsiteX35265" fmla="*/ 2549490 w 8079933"/>
              <a:gd name="connsiteY35265" fmla="*/ 580656 h 4687251"/>
              <a:gd name="connsiteX35266" fmla="*/ 2546342 w 8079933"/>
              <a:gd name="connsiteY35266" fmla="*/ 586610 h 4687251"/>
              <a:gd name="connsiteX35267" fmla="*/ 2546560 w 8079933"/>
              <a:gd name="connsiteY35267" fmla="*/ 588992 h 4687251"/>
              <a:gd name="connsiteX35268" fmla="*/ 2543847 w 8079933"/>
              <a:gd name="connsiteY35268" fmla="*/ 591482 h 4687251"/>
              <a:gd name="connsiteX35269" fmla="*/ 2541134 w 8079933"/>
              <a:gd name="connsiteY35269" fmla="*/ 589966 h 4687251"/>
              <a:gd name="connsiteX35270" fmla="*/ 2536901 w 8079933"/>
              <a:gd name="connsiteY35270" fmla="*/ 590508 h 4687251"/>
              <a:gd name="connsiteX35271" fmla="*/ 2529631 w 8079933"/>
              <a:gd name="connsiteY35271" fmla="*/ 587043 h 4687251"/>
              <a:gd name="connsiteX35272" fmla="*/ 2525507 w 8079933"/>
              <a:gd name="connsiteY35272" fmla="*/ 587476 h 4687251"/>
              <a:gd name="connsiteX35273" fmla="*/ 2517151 w 8079933"/>
              <a:gd name="connsiteY35273" fmla="*/ 592998 h 4687251"/>
              <a:gd name="connsiteX35274" fmla="*/ 2512703 w 8079933"/>
              <a:gd name="connsiteY35274" fmla="*/ 592782 h 4687251"/>
              <a:gd name="connsiteX35275" fmla="*/ 2511835 w 8079933"/>
              <a:gd name="connsiteY35275" fmla="*/ 590832 h 4687251"/>
              <a:gd name="connsiteX35276" fmla="*/ 2507385 w 8079933"/>
              <a:gd name="connsiteY35276" fmla="*/ 590832 h 4687251"/>
              <a:gd name="connsiteX35277" fmla="*/ 2506517 w 8079933"/>
              <a:gd name="connsiteY35277" fmla="*/ 586068 h 4687251"/>
              <a:gd name="connsiteX35278" fmla="*/ 2501851 w 8079933"/>
              <a:gd name="connsiteY35278" fmla="*/ 588125 h 4687251"/>
              <a:gd name="connsiteX35279" fmla="*/ 2497076 w 8079933"/>
              <a:gd name="connsiteY35279" fmla="*/ 586610 h 4687251"/>
              <a:gd name="connsiteX35280" fmla="*/ 2496208 w 8079933"/>
              <a:gd name="connsiteY35280" fmla="*/ 576649 h 4687251"/>
              <a:gd name="connsiteX35281" fmla="*/ 2498595 w 8079933"/>
              <a:gd name="connsiteY35281" fmla="*/ 570261 h 4687251"/>
              <a:gd name="connsiteX35282" fmla="*/ 2502068 w 8079933"/>
              <a:gd name="connsiteY35282" fmla="*/ 567230 h 4687251"/>
              <a:gd name="connsiteX35283" fmla="*/ 2501742 w 8079933"/>
              <a:gd name="connsiteY35283" fmla="*/ 564847 h 4687251"/>
              <a:gd name="connsiteX35284" fmla="*/ 2498921 w 8079933"/>
              <a:gd name="connsiteY35284" fmla="*/ 564306 h 4687251"/>
              <a:gd name="connsiteX35285" fmla="*/ 2498595 w 8079933"/>
              <a:gd name="connsiteY35285" fmla="*/ 558568 h 4687251"/>
              <a:gd name="connsiteX35286" fmla="*/ 2496751 w 8079933"/>
              <a:gd name="connsiteY35286" fmla="*/ 557918 h 4687251"/>
              <a:gd name="connsiteX35287" fmla="*/ 2494688 w 8079933"/>
              <a:gd name="connsiteY35287" fmla="*/ 561925 h 4687251"/>
              <a:gd name="connsiteX35288" fmla="*/ 2496859 w 8079933"/>
              <a:gd name="connsiteY35288" fmla="*/ 566580 h 4687251"/>
              <a:gd name="connsiteX35289" fmla="*/ 2495231 w 8079933"/>
              <a:gd name="connsiteY35289" fmla="*/ 569611 h 4687251"/>
              <a:gd name="connsiteX35290" fmla="*/ 2490674 w 8079933"/>
              <a:gd name="connsiteY35290" fmla="*/ 573726 h 4687251"/>
              <a:gd name="connsiteX35291" fmla="*/ 2490674 w 8079933"/>
              <a:gd name="connsiteY35291" fmla="*/ 578706 h 4687251"/>
              <a:gd name="connsiteX35292" fmla="*/ 2487418 w 8079933"/>
              <a:gd name="connsiteY35292" fmla="*/ 580656 h 4687251"/>
              <a:gd name="connsiteX35293" fmla="*/ 2481884 w 8079933"/>
              <a:gd name="connsiteY35293" fmla="*/ 582171 h 4687251"/>
              <a:gd name="connsiteX35294" fmla="*/ 2480690 w 8079933"/>
              <a:gd name="connsiteY35294" fmla="*/ 579464 h 4687251"/>
              <a:gd name="connsiteX35295" fmla="*/ 2477543 w 8079933"/>
              <a:gd name="connsiteY35295" fmla="*/ 580439 h 4687251"/>
              <a:gd name="connsiteX35296" fmla="*/ 2473528 w 8079933"/>
              <a:gd name="connsiteY35296" fmla="*/ 581954 h 4687251"/>
              <a:gd name="connsiteX35297" fmla="*/ 2466909 w 8079933"/>
              <a:gd name="connsiteY35297" fmla="*/ 578166 h 4687251"/>
              <a:gd name="connsiteX35298" fmla="*/ 2462459 w 8079933"/>
              <a:gd name="connsiteY35298" fmla="*/ 578057 h 4687251"/>
              <a:gd name="connsiteX35299" fmla="*/ 2461591 w 8079933"/>
              <a:gd name="connsiteY35299" fmla="*/ 574809 h 4687251"/>
              <a:gd name="connsiteX35300" fmla="*/ 2462785 w 8079933"/>
              <a:gd name="connsiteY35300" fmla="*/ 564956 h 4687251"/>
              <a:gd name="connsiteX35301" fmla="*/ 2460940 w 8079933"/>
              <a:gd name="connsiteY35301" fmla="*/ 567771 h 4687251"/>
              <a:gd name="connsiteX35302" fmla="*/ 2458987 w 8079933"/>
              <a:gd name="connsiteY35302" fmla="*/ 574268 h 4687251"/>
              <a:gd name="connsiteX35303" fmla="*/ 2453452 w 8079933"/>
              <a:gd name="connsiteY35303" fmla="*/ 575242 h 4687251"/>
              <a:gd name="connsiteX35304" fmla="*/ 2453452 w 8079933"/>
              <a:gd name="connsiteY35304" fmla="*/ 571884 h 4687251"/>
              <a:gd name="connsiteX35305" fmla="*/ 2455515 w 8079933"/>
              <a:gd name="connsiteY35305" fmla="*/ 568962 h 4687251"/>
              <a:gd name="connsiteX35306" fmla="*/ 2454863 w 8079933"/>
              <a:gd name="connsiteY35306" fmla="*/ 565173 h 4687251"/>
              <a:gd name="connsiteX35307" fmla="*/ 2451608 w 8079933"/>
              <a:gd name="connsiteY35307" fmla="*/ 572318 h 4687251"/>
              <a:gd name="connsiteX35308" fmla="*/ 2447918 w 8079933"/>
              <a:gd name="connsiteY35308" fmla="*/ 574917 h 4687251"/>
              <a:gd name="connsiteX35309" fmla="*/ 2441733 w 8079933"/>
              <a:gd name="connsiteY35309" fmla="*/ 574809 h 4687251"/>
              <a:gd name="connsiteX35310" fmla="*/ 2441624 w 8079933"/>
              <a:gd name="connsiteY35310" fmla="*/ 571019 h 4687251"/>
              <a:gd name="connsiteX35311" fmla="*/ 2443794 w 8079933"/>
              <a:gd name="connsiteY35311" fmla="*/ 569070 h 4687251"/>
              <a:gd name="connsiteX35312" fmla="*/ 2444011 w 8079933"/>
              <a:gd name="connsiteY35312" fmla="*/ 566364 h 4687251"/>
              <a:gd name="connsiteX35313" fmla="*/ 2440539 w 8079933"/>
              <a:gd name="connsiteY35313" fmla="*/ 566905 h 4687251"/>
              <a:gd name="connsiteX35314" fmla="*/ 2439020 w 8079933"/>
              <a:gd name="connsiteY35314" fmla="*/ 569395 h 4687251"/>
              <a:gd name="connsiteX35315" fmla="*/ 2437826 w 8079933"/>
              <a:gd name="connsiteY35315" fmla="*/ 574051 h 4687251"/>
              <a:gd name="connsiteX35316" fmla="*/ 2434570 w 8079933"/>
              <a:gd name="connsiteY35316" fmla="*/ 574268 h 4687251"/>
              <a:gd name="connsiteX35317" fmla="*/ 2433485 w 8079933"/>
              <a:gd name="connsiteY35317" fmla="*/ 569286 h 4687251"/>
              <a:gd name="connsiteX35318" fmla="*/ 2434679 w 8079933"/>
              <a:gd name="connsiteY35318" fmla="*/ 565173 h 4687251"/>
              <a:gd name="connsiteX35319" fmla="*/ 2433485 w 8079933"/>
              <a:gd name="connsiteY35319" fmla="*/ 561707 h 4687251"/>
              <a:gd name="connsiteX35320" fmla="*/ 2430555 w 8079933"/>
              <a:gd name="connsiteY35320" fmla="*/ 565822 h 4687251"/>
              <a:gd name="connsiteX35321" fmla="*/ 2430772 w 8079933"/>
              <a:gd name="connsiteY35321" fmla="*/ 569611 h 4687251"/>
              <a:gd name="connsiteX35322" fmla="*/ 2431749 w 8079933"/>
              <a:gd name="connsiteY35322" fmla="*/ 572318 h 4687251"/>
              <a:gd name="connsiteX35323" fmla="*/ 2428819 w 8079933"/>
              <a:gd name="connsiteY35323" fmla="*/ 574268 h 4687251"/>
              <a:gd name="connsiteX35324" fmla="*/ 2425564 w 8079933"/>
              <a:gd name="connsiteY35324" fmla="*/ 571884 h 4687251"/>
              <a:gd name="connsiteX35325" fmla="*/ 2422091 w 8079933"/>
              <a:gd name="connsiteY35325" fmla="*/ 570802 h 4687251"/>
              <a:gd name="connsiteX35326" fmla="*/ 2421657 w 8079933"/>
              <a:gd name="connsiteY35326" fmla="*/ 568420 h 4687251"/>
              <a:gd name="connsiteX35327" fmla="*/ 2423176 w 8079933"/>
              <a:gd name="connsiteY35327" fmla="*/ 566148 h 4687251"/>
              <a:gd name="connsiteX35328" fmla="*/ 2418293 w 8079933"/>
              <a:gd name="connsiteY35328" fmla="*/ 565605 h 4687251"/>
              <a:gd name="connsiteX35329" fmla="*/ 2416991 w 8079933"/>
              <a:gd name="connsiteY35329" fmla="*/ 569070 h 4687251"/>
              <a:gd name="connsiteX35330" fmla="*/ 2411999 w 8079933"/>
              <a:gd name="connsiteY35330" fmla="*/ 568637 h 4687251"/>
              <a:gd name="connsiteX35331" fmla="*/ 2410589 w 8079933"/>
              <a:gd name="connsiteY35331" fmla="*/ 567013 h 4687251"/>
              <a:gd name="connsiteX35332" fmla="*/ 2406464 w 8079933"/>
              <a:gd name="connsiteY35332" fmla="*/ 567338 h 4687251"/>
              <a:gd name="connsiteX35333" fmla="*/ 2402449 w 8079933"/>
              <a:gd name="connsiteY35333" fmla="*/ 564090 h 4687251"/>
              <a:gd name="connsiteX35334" fmla="*/ 2397350 w 8079933"/>
              <a:gd name="connsiteY35334" fmla="*/ 562358 h 4687251"/>
              <a:gd name="connsiteX35335" fmla="*/ 2397458 w 8079933"/>
              <a:gd name="connsiteY35335" fmla="*/ 558785 h 4687251"/>
              <a:gd name="connsiteX35336" fmla="*/ 2400279 w 8079933"/>
              <a:gd name="connsiteY35336" fmla="*/ 555861 h 4687251"/>
              <a:gd name="connsiteX35337" fmla="*/ 2406464 w 8079933"/>
              <a:gd name="connsiteY35337" fmla="*/ 547741 h 4687251"/>
              <a:gd name="connsiteX35338" fmla="*/ 2407659 w 8079933"/>
              <a:gd name="connsiteY35338" fmla="*/ 542652 h 4687251"/>
              <a:gd name="connsiteX35339" fmla="*/ 2406248 w 8079933"/>
              <a:gd name="connsiteY35339" fmla="*/ 540378 h 4687251"/>
              <a:gd name="connsiteX35340" fmla="*/ 2403535 w 8079933"/>
              <a:gd name="connsiteY35340" fmla="*/ 541570 h 4687251"/>
              <a:gd name="connsiteX35341" fmla="*/ 2400713 w 8079933"/>
              <a:gd name="connsiteY35341" fmla="*/ 548499 h 4687251"/>
              <a:gd name="connsiteX35342" fmla="*/ 2398326 w 8079933"/>
              <a:gd name="connsiteY35342" fmla="*/ 549473 h 4687251"/>
              <a:gd name="connsiteX35343" fmla="*/ 2398000 w 8079933"/>
              <a:gd name="connsiteY35343" fmla="*/ 545684 h 4687251"/>
              <a:gd name="connsiteX35344" fmla="*/ 2399086 w 8079933"/>
              <a:gd name="connsiteY35344" fmla="*/ 544168 h 4687251"/>
              <a:gd name="connsiteX35345" fmla="*/ 2398218 w 8079933"/>
              <a:gd name="connsiteY35345" fmla="*/ 541461 h 4687251"/>
              <a:gd name="connsiteX35346" fmla="*/ 2396155 w 8079933"/>
              <a:gd name="connsiteY35346" fmla="*/ 543519 h 4687251"/>
              <a:gd name="connsiteX35347" fmla="*/ 2393334 w 8079933"/>
              <a:gd name="connsiteY35347" fmla="*/ 543627 h 4687251"/>
              <a:gd name="connsiteX35348" fmla="*/ 2393660 w 8079933"/>
              <a:gd name="connsiteY35348" fmla="*/ 549148 h 4687251"/>
              <a:gd name="connsiteX35349" fmla="*/ 2388126 w 8079933"/>
              <a:gd name="connsiteY35349" fmla="*/ 551206 h 4687251"/>
              <a:gd name="connsiteX35350" fmla="*/ 2385413 w 8079933"/>
              <a:gd name="connsiteY35350" fmla="*/ 553804 h 4687251"/>
              <a:gd name="connsiteX35351" fmla="*/ 2379553 w 8079933"/>
              <a:gd name="connsiteY35351" fmla="*/ 553154 h 4687251"/>
              <a:gd name="connsiteX35352" fmla="*/ 2378359 w 8079933"/>
              <a:gd name="connsiteY35352" fmla="*/ 551206 h 4687251"/>
              <a:gd name="connsiteX35353" fmla="*/ 2373910 w 8079933"/>
              <a:gd name="connsiteY35353" fmla="*/ 552613 h 4687251"/>
              <a:gd name="connsiteX35354" fmla="*/ 2369352 w 8079933"/>
              <a:gd name="connsiteY35354" fmla="*/ 547091 h 4687251"/>
              <a:gd name="connsiteX35355" fmla="*/ 2368918 w 8079933"/>
              <a:gd name="connsiteY35355" fmla="*/ 544492 h 4687251"/>
              <a:gd name="connsiteX35356" fmla="*/ 2367182 w 8079933"/>
              <a:gd name="connsiteY35356" fmla="*/ 542327 h 4687251"/>
              <a:gd name="connsiteX35357" fmla="*/ 2367832 w 8079933"/>
              <a:gd name="connsiteY35357" fmla="*/ 540054 h 4687251"/>
              <a:gd name="connsiteX35358" fmla="*/ 2371957 w 8079933"/>
              <a:gd name="connsiteY35358" fmla="*/ 538971 h 4687251"/>
              <a:gd name="connsiteX35359" fmla="*/ 2374452 w 8079933"/>
              <a:gd name="connsiteY35359" fmla="*/ 532799 h 4687251"/>
              <a:gd name="connsiteX35360" fmla="*/ 2372825 w 8079933"/>
              <a:gd name="connsiteY35360" fmla="*/ 530958 h 4687251"/>
              <a:gd name="connsiteX35361" fmla="*/ 2368592 w 8079933"/>
              <a:gd name="connsiteY35361" fmla="*/ 536589 h 4687251"/>
              <a:gd name="connsiteX35362" fmla="*/ 2366422 w 8079933"/>
              <a:gd name="connsiteY35362" fmla="*/ 536805 h 4687251"/>
              <a:gd name="connsiteX35363" fmla="*/ 2364251 w 8079933"/>
              <a:gd name="connsiteY35363" fmla="*/ 535073 h 4687251"/>
              <a:gd name="connsiteX35364" fmla="*/ 2362733 w 8079933"/>
              <a:gd name="connsiteY35364" fmla="*/ 537455 h 4687251"/>
              <a:gd name="connsiteX35365" fmla="*/ 2362190 w 8079933"/>
              <a:gd name="connsiteY35365" fmla="*/ 541787 h 4687251"/>
              <a:gd name="connsiteX35366" fmla="*/ 2359585 w 8079933"/>
              <a:gd name="connsiteY35366" fmla="*/ 542327 h 4687251"/>
              <a:gd name="connsiteX35367" fmla="*/ 2355787 w 8079933"/>
              <a:gd name="connsiteY35367" fmla="*/ 538862 h 4687251"/>
              <a:gd name="connsiteX35368" fmla="*/ 2355787 w 8079933"/>
              <a:gd name="connsiteY35368" fmla="*/ 535723 h 4687251"/>
              <a:gd name="connsiteX35369" fmla="*/ 2352857 w 8079933"/>
              <a:gd name="connsiteY35369" fmla="*/ 534857 h 4687251"/>
              <a:gd name="connsiteX35370" fmla="*/ 2350796 w 8079933"/>
              <a:gd name="connsiteY35370" fmla="*/ 529876 h 4687251"/>
              <a:gd name="connsiteX35371" fmla="*/ 2351989 w 8079933"/>
              <a:gd name="connsiteY35371" fmla="*/ 525654 h 4687251"/>
              <a:gd name="connsiteX35372" fmla="*/ 2355462 w 8079933"/>
              <a:gd name="connsiteY35372" fmla="*/ 521107 h 4687251"/>
              <a:gd name="connsiteX35373" fmla="*/ 2353183 w 8079933"/>
              <a:gd name="connsiteY35373" fmla="*/ 518940 h 4687251"/>
              <a:gd name="connsiteX35374" fmla="*/ 2354051 w 8079933"/>
              <a:gd name="connsiteY35374" fmla="*/ 515476 h 4687251"/>
              <a:gd name="connsiteX35375" fmla="*/ 2358392 w 8079933"/>
              <a:gd name="connsiteY35375" fmla="*/ 513636 h 4687251"/>
              <a:gd name="connsiteX35376" fmla="*/ 2358392 w 8079933"/>
              <a:gd name="connsiteY35376" fmla="*/ 510495 h 4687251"/>
              <a:gd name="connsiteX35377" fmla="*/ 2355137 w 8079933"/>
              <a:gd name="connsiteY35377" fmla="*/ 509413 h 4687251"/>
              <a:gd name="connsiteX35378" fmla="*/ 2354810 w 8079933"/>
              <a:gd name="connsiteY35378" fmla="*/ 504324 h 4687251"/>
              <a:gd name="connsiteX35379" fmla="*/ 2357307 w 8079933"/>
              <a:gd name="connsiteY35379" fmla="*/ 500318 h 4687251"/>
              <a:gd name="connsiteX35380" fmla="*/ 2361539 w 8079933"/>
              <a:gd name="connsiteY35380" fmla="*/ 497611 h 4687251"/>
              <a:gd name="connsiteX35381" fmla="*/ 2361322 w 8079933"/>
              <a:gd name="connsiteY35381" fmla="*/ 494472 h 4687251"/>
              <a:gd name="connsiteX35382" fmla="*/ 2366314 w 8079933"/>
              <a:gd name="connsiteY35382" fmla="*/ 488300 h 4687251"/>
              <a:gd name="connsiteX35383" fmla="*/ 2367182 w 8079933"/>
              <a:gd name="connsiteY35383" fmla="*/ 484294 h 4687251"/>
              <a:gd name="connsiteX35384" fmla="*/ 2373042 w 8079933"/>
              <a:gd name="connsiteY35384" fmla="*/ 482995 h 4687251"/>
              <a:gd name="connsiteX35385" fmla="*/ 2379553 w 8079933"/>
              <a:gd name="connsiteY35385" fmla="*/ 478339 h 4687251"/>
              <a:gd name="connsiteX35386" fmla="*/ 2381506 w 8079933"/>
              <a:gd name="connsiteY35386" fmla="*/ 472818 h 4687251"/>
              <a:gd name="connsiteX35387" fmla="*/ 2381506 w 8079933"/>
              <a:gd name="connsiteY35387" fmla="*/ 469569 h 4687251"/>
              <a:gd name="connsiteX35388" fmla="*/ 2383025 w 8079933"/>
              <a:gd name="connsiteY35388" fmla="*/ 463939 h 4687251"/>
              <a:gd name="connsiteX35389" fmla="*/ 2379878 w 8079933"/>
              <a:gd name="connsiteY35389" fmla="*/ 459284 h 4687251"/>
              <a:gd name="connsiteX35390" fmla="*/ 2379878 w 8079933"/>
              <a:gd name="connsiteY35390" fmla="*/ 455169 h 4687251"/>
              <a:gd name="connsiteX35391" fmla="*/ 2381831 w 8079933"/>
              <a:gd name="connsiteY35391" fmla="*/ 449323 h 4687251"/>
              <a:gd name="connsiteX35392" fmla="*/ 2381831 w 8079933"/>
              <a:gd name="connsiteY35392" fmla="*/ 440878 h 4687251"/>
              <a:gd name="connsiteX35393" fmla="*/ 2383676 w 8079933"/>
              <a:gd name="connsiteY35393" fmla="*/ 436547 h 4687251"/>
              <a:gd name="connsiteX35394" fmla="*/ 2382700 w 8079933"/>
              <a:gd name="connsiteY35394" fmla="*/ 433515 h 4687251"/>
              <a:gd name="connsiteX35395" fmla="*/ 2379444 w 8079933"/>
              <a:gd name="connsiteY35395" fmla="*/ 432758 h 4687251"/>
              <a:gd name="connsiteX35396" fmla="*/ 2374887 w 8079933"/>
              <a:gd name="connsiteY35396" fmla="*/ 435356 h 4687251"/>
              <a:gd name="connsiteX35397" fmla="*/ 2373042 w 8079933"/>
              <a:gd name="connsiteY35397" fmla="*/ 433515 h 4687251"/>
              <a:gd name="connsiteX35398" fmla="*/ 2372716 w 8079933"/>
              <a:gd name="connsiteY35398" fmla="*/ 436547 h 4687251"/>
              <a:gd name="connsiteX35399" fmla="*/ 2370220 w 8079933"/>
              <a:gd name="connsiteY35399" fmla="*/ 436763 h 4687251"/>
              <a:gd name="connsiteX35400" fmla="*/ 2363926 w 8079933"/>
              <a:gd name="connsiteY35400" fmla="*/ 431567 h 4687251"/>
              <a:gd name="connsiteX35401" fmla="*/ 2363166 w 8079933"/>
              <a:gd name="connsiteY35401" fmla="*/ 428535 h 4687251"/>
              <a:gd name="connsiteX35402" fmla="*/ 2358066 w 8079933"/>
              <a:gd name="connsiteY35402" fmla="*/ 427452 h 4687251"/>
              <a:gd name="connsiteX35403" fmla="*/ 2357307 w 8079933"/>
              <a:gd name="connsiteY35403" fmla="*/ 424313 h 4687251"/>
              <a:gd name="connsiteX35404" fmla="*/ 2349711 w 8079933"/>
              <a:gd name="connsiteY35404" fmla="*/ 427127 h 4687251"/>
              <a:gd name="connsiteX35405" fmla="*/ 2346672 w 8079933"/>
              <a:gd name="connsiteY35405" fmla="*/ 424528 h 4687251"/>
              <a:gd name="connsiteX35406" fmla="*/ 2340270 w 8079933"/>
              <a:gd name="connsiteY35406" fmla="*/ 427127 h 4687251"/>
              <a:gd name="connsiteX35407" fmla="*/ 2341680 w 8079933"/>
              <a:gd name="connsiteY35407" fmla="*/ 423555 h 4687251"/>
              <a:gd name="connsiteX35408" fmla="*/ 2344284 w 8079933"/>
              <a:gd name="connsiteY35408" fmla="*/ 421606 h 4687251"/>
              <a:gd name="connsiteX35409" fmla="*/ 2344284 w 8079933"/>
              <a:gd name="connsiteY35409" fmla="*/ 419223 h 4687251"/>
              <a:gd name="connsiteX35410" fmla="*/ 2351664 w 8079933"/>
              <a:gd name="connsiteY35410" fmla="*/ 419765 h 4687251"/>
              <a:gd name="connsiteX35411" fmla="*/ 2353400 w 8079933"/>
              <a:gd name="connsiteY35411" fmla="*/ 421606 h 4687251"/>
              <a:gd name="connsiteX35412" fmla="*/ 2353509 w 8079933"/>
              <a:gd name="connsiteY35412" fmla="*/ 418357 h 4687251"/>
              <a:gd name="connsiteX35413" fmla="*/ 2348951 w 8079933"/>
              <a:gd name="connsiteY35413" fmla="*/ 416409 h 4687251"/>
              <a:gd name="connsiteX35414" fmla="*/ 2343091 w 8079933"/>
              <a:gd name="connsiteY35414" fmla="*/ 408721 h 4687251"/>
              <a:gd name="connsiteX35415" fmla="*/ 2343959 w 8079933"/>
              <a:gd name="connsiteY35415" fmla="*/ 404066 h 4687251"/>
              <a:gd name="connsiteX35416" fmla="*/ 2347866 w 8079933"/>
              <a:gd name="connsiteY35416" fmla="*/ 404282 h 4687251"/>
              <a:gd name="connsiteX35417" fmla="*/ 2350687 w 8079933"/>
              <a:gd name="connsiteY35417" fmla="*/ 401684 h 4687251"/>
              <a:gd name="connsiteX35418" fmla="*/ 2346346 w 8079933"/>
              <a:gd name="connsiteY35418" fmla="*/ 401684 h 4687251"/>
              <a:gd name="connsiteX35419" fmla="*/ 2341897 w 8079933"/>
              <a:gd name="connsiteY35419" fmla="*/ 393564 h 4687251"/>
              <a:gd name="connsiteX35420" fmla="*/ 2337014 w 8079933"/>
              <a:gd name="connsiteY35420" fmla="*/ 391506 h 4687251"/>
              <a:gd name="connsiteX35421" fmla="*/ 2335495 w 8079933"/>
              <a:gd name="connsiteY35421" fmla="*/ 387067 h 4687251"/>
              <a:gd name="connsiteX35422" fmla="*/ 2336472 w 8079933"/>
              <a:gd name="connsiteY35422" fmla="*/ 382087 h 4687251"/>
              <a:gd name="connsiteX35423" fmla="*/ 2341897 w 8079933"/>
              <a:gd name="connsiteY35423" fmla="*/ 389666 h 4687251"/>
              <a:gd name="connsiteX35424" fmla="*/ 2345153 w 8079933"/>
              <a:gd name="connsiteY35424" fmla="*/ 389774 h 4687251"/>
              <a:gd name="connsiteX35425" fmla="*/ 2343091 w 8079933"/>
              <a:gd name="connsiteY35425" fmla="*/ 385334 h 4687251"/>
              <a:gd name="connsiteX35426" fmla="*/ 2339944 w 8079933"/>
              <a:gd name="connsiteY35426" fmla="*/ 381004 h 4687251"/>
              <a:gd name="connsiteX35427" fmla="*/ 2341897 w 8079933"/>
              <a:gd name="connsiteY35427" fmla="*/ 376781 h 4687251"/>
              <a:gd name="connsiteX35428" fmla="*/ 2344284 w 8079933"/>
              <a:gd name="connsiteY35428" fmla="*/ 376565 h 4687251"/>
              <a:gd name="connsiteX35429" fmla="*/ 2345261 w 8079933"/>
              <a:gd name="connsiteY35429" fmla="*/ 374833 h 4687251"/>
              <a:gd name="connsiteX35430" fmla="*/ 2353942 w 8079933"/>
              <a:gd name="connsiteY35430" fmla="*/ 373858 h 4687251"/>
              <a:gd name="connsiteX35431" fmla="*/ 2284493 w 8079933"/>
              <a:gd name="connsiteY35431" fmla="*/ 368879 h 4687251"/>
              <a:gd name="connsiteX35432" fmla="*/ 2286446 w 8079933"/>
              <a:gd name="connsiteY35432" fmla="*/ 369095 h 4687251"/>
              <a:gd name="connsiteX35433" fmla="*/ 2289376 w 8079933"/>
              <a:gd name="connsiteY35433" fmla="*/ 372235 h 4687251"/>
              <a:gd name="connsiteX35434" fmla="*/ 2290352 w 8079933"/>
              <a:gd name="connsiteY35434" fmla="*/ 376459 h 4687251"/>
              <a:gd name="connsiteX35435" fmla="*/ 2287964 w 8079933"/>
              <a:gd name="connsiteY35435" fmla="*/ 377432 h 4687251"/>
              <a:gd name="connsiteX35436" fmla="*/ 2287096 w 8079933"/>
              <a:gd name="connsiteY35436" fmla="*/ 374942 h 4687251"/>
              <a:gd name="connsiteX35437" fmla="*/ 2284384 w 8079933"/>
              <a:gd name="connsiteY35437" fmla="*/ 371044 h 4687251"/>
              <a:gd name="connsiteX35438" fmla="*/ 2456057 w 8079933"/>
              <a:gd name="connsiteY35438" fmla="*/ 367470 h 4687251"/>
              <a:gd name="connsiteX35439" fmla="*/ 2459530 w 8079933"/>
              <a:gd name="connsiteY35439" fmla="*/ 367579 h 4687251"/>
              <a:gd name="connsiteX35440" fmla="*/ 2461917 w 8079933"/>
              <a:gd name="connsiteY35440" fmla="*/ 372450 h 4687251"/>
              <a:gd name="connsiteX35441" fmla="*/ 2465607 w 8079933"/>
              <a:gd name="connsiteY35441" fmla="*/ 372667 h 4687251"/>
              <a:gd name="connsiteX35442" fmla="*/ 2467994 w 8079933"/>
              <a:gd name="connsiteY35442" fmla="*/ 376240 h 4687251"/>
              <a:gd name="connsiteX35443" fmla="*/ 2467343 w 8079933"/>
              <a:gd name="connsiteY35443" fmla="*/ 378297 h 4687251"/>
              <a:gd name="connsiteX35444" fmla="*/ 2469296 w 8079933"/>
              <a:gd name="connsiteY35444" fmla="*/ 380137 h 4687251"/>
              <a:gd name="connsiteX35445" fmla="*/ 2468754 w 8079933"/>
              <a:gd name="connsiteY35445" fmla="*/ 382953 h 4687251"/>
              <a:gd name="connsiteX35446" fmla="*/ 2463979 w 8079933"/>
              <a:gd name="connsiteY35446" fmla="*/ 391072 h 4687251"/>
              <a:gd name="connsiteX35447" fmla="*/ 2458662 w 8079933"/>
              <a:gd name="connsiteY35447" fmla="*/ 393238 h 4687251"/>
              <a:gd name="connsiteX35448" fmla="*/ 2453344 w 8079933"/>
              <a:gd name="connsiteY35448" fmla="*/ 393130 h 4687251"/>
              <a:gd name="connsiteX35449" fmla="*/ 2450089 w 8079933"/>
              <a:gd name="connsiteY35449" fmla="*/ 389665 h 4687251"/>
              <a:gd name="connsiteX35450" fmla="*/ 2449980 w 8079933"/>
              <a:gd name="connsiteY35450" fmla="*/ 385768 h 4687251"/>
              <a:gd name="connsiteX35451" fmla="*/ 2448461 w 8079933"/>
              <a:gd name="connsiteY35451" fmla="*/ 380679 h 4687251"/>
              <a:gd name="connsiteX35452" fmla="*/ 2450414 w 8079933"/>
              <a:gd name="connsiteY35452" fmla="*/ 376023 h 4687251"/>
              <a:gd name="connsiteX35453" fmla="*/ 2450957 w 8079933"/>
              <a:gd name="connsiteY35453" fmla="*/ 371044 h 4687251"/>
              <a:gd name="connsiteX35454" fmla="*/ 5506242 w 8079933"/>
              <a:gd name="connsiteY35454" fmla="*/ 366824 h 4687251"/>
              <a:gd name="connsiteX35455" fmla="*/ 5507870 w 8079933"/>
              <a:gd name="connsiteY35455" fmla="*/ 368339 h 4687251"/>
              <a:gd name="connsiteX35456" fmla="*/ 5508087 w 8079933"/>
              <a:gd name="connsiteY35456" fmla="*/ 373751 h 4687251"/>
              <a:gd name="connsiteX35457" fmla="*/ 5505374 w 8079933"/>
              <a:gd name="connsiteY35457" fmla="*/ 375592 h 4687251"/>
              <a:gd name="connsiteX35458" fmla="*/ 5505049 w 8079933"/>
              <a:gd name="connsiteY35458" fmla="*/ 379707 h 4687251"/>
              <a:gd name="connsiteX35459" fmla="*/ 5500925 w 8079933"/>
              <a:gd name="connsiteY35459" fmla="*/ 384471 h 4687251"/>
              <a:gd name="connsiteX35460" fmla="*/ 5495933 w 8079933"/>
              <a:gd name="connsiteY35460" fmla="*/ 387829 h 4687251"/>
              <a:gd name="connsiteX35461" fmla="*/ 5497453 w 8079933"/>
              <a:gd name="connsiteY35461" fmla="*/ 385229 h 4687251"/>
              <a:gd name="connsiteX35462" fmla="*/ 5497127 w 8079933"/>
              <a:gd name="connsiteY35462" fmla="*/ 383064 h 4687251"/>
              <a:gd name="connsiteX35463" fmla="*/ 5494957 w 8079933"/>
              <a:gd name="connsiteY35463" fmla="*/ 383496 h 4687251"/>
              <a:gd name="connsiteX35464" fmla="*/ 5491810 w 8079933"/>
              <a:gd name="connsiteY35464" fmla="*/ 387071 h 4687251"/>
              <a:gd name="connsiteX35465" fmla="*/ 5487469 w 8079933"/>
              <a:gd name="connsiteY35465" fmla="*/ 388586 h 4687251"/>
              <a:gd name="connsiteX35466" fmla="*/ 5485082 w 8079933"/>
              <a:gd name="connsiteY35466" fmla="*/ 388586 h 4687251"/>
              <a:gd name="connsiteX35467" fmla="*/ 5487252 w 8079933"/>
              <a:gd name="connsiteY35467" fmla="*/ 383172 h 4687251"/>
              <a:gd name="connsiteX35468" fmla="*/ 5491918 w 8079933"/>
              <a:gd name="connsiteY35468" fmla="*/ 376784 h 4687251"/>
              <a:gd name="connsiteX35469" fmla="*/ 5497778 w 8079933"/>
              <a:gd name="connsiteY35469" fmla="*/ 373751 h 4687251"/>
              <a:gd name="connsiteX35470" fmla="*/ 5502119 w 8079933"/>
              <a:gd name="connsiteY35470" fmla="*/ 370072 h 4687251"/>
              <a:gd name="connsiteX35471" fmla="*/ 5503746 w 8079933"/>
              <a:gd name="connsiteY35471" fmla="*/ 367907 h 4687251"/>
              <a:gd name="connsiteX35472" fmla="*/ 2333541 w 8079933"/>
              <a:gd name="connsiteY35472" fmla="*/ 366822 h 4687251"/>
              <a:gd name="connsiteX35473" fmla="*/ 2336580 w 8079933"/>
              <a:gd name="connsiteY35473" fmla="*/ 367795 h 4687251"/>
              <a:gd name="connsiteX35474" fmla="*/ 2336580 w 8079933"/>
              <a:gd name="connsiteY35474" fmla="*/ 369961 h 4687251"/>
              <a:gd name="connsiteX35475" fmla="*/ 2333325 w 8079933"/>
              <a:gd name="connsiteY35475" fmla="*/ 370827 h 4687251"/>
              <a:gd name="connsiteX35476" fmla="*/ 2331263 w 8079933"/>
              <a:gd name="connsiteY35476" fmla="*/ 368879 h 4687251"/>
              <a:gd name="connsiteX35477" fmla="*/ 2268431 w 8079933"/>
              <a:gd name="connsiteY35477" fmla="*/ 364764 h 4687251"/>
              <a:gd name="connsiteX35478" fmla="*/ 2275376 w 8079933"/>
              <a:gd name="connsiteY35478" fmla="*/ 365630 h 4687251"/>
              <a:gd name="connsiteX35479" fmla="*/ 2276896 w 8079933"/>
              <a:gd name="connsiteY35479" fmla="*/ 367146 h 4687251"/>
              <a:gd name="connsiteX35480" fmla="*/ 2272663 w 8079933"/>
              <a:gd name="connsiteY35480" fmla="*/ 368987 h 4687251"/>
              <a:gd name="connsiteX35481" fmla="*/ 2268974 w 8079933"/>
              <a:gd name="connsiteY35481" fmla="*/ 368987 h 4687251"/>
              <a:gd name="connsiteX35482" fmla="*/ 2262029 w 8079933"/>
              <a:gd name="connsiteY35482" fmla="*/ 373101 h 4687251"/>
              <a:gd name="connsiteX35483" fmla="*/ 2258665 w 8079933"/>
              <a:gd name="connsiteY35483" fmla="*/ 372126 h 4687251"/>
              <a:gd name="connsiteX35484" fmla="*/ 2253781 w 8079933"/>
              <a:gd name="connsiteY35484" fmla="*/ 373209 h 4687251"/>
              <a:gd name="connsiteX35485" fmla="*/ 2250526 w 8079933"/>
              <a:gd name="connsiteY35485" fmla="*/ 375482 h 4687251"/>
              <a:gd name="connsiteX35486" fmla="*/ 2248464 w 8079933"/>
              <a:gd name="connsiteY35486" fmla="*/ 373317 h 4687251"/>
              <a:gd name="connsiteX35487" fmla="*/ 2248464 w 8079933"/>
              <a:gd name="connsiteY35487" fmla="*/ 370611 h 4687251"/>
              <a:gd name="connsiteX35488" fmla="*/ 2251068 w 8079933"/>
              <a:gd name="connsiteY35488" fmla="*/ 368987 h 4687251"/>
              <a:gd name="connsiteX35489" fmla="*/ 2255517 w 8079933"/>
              <a:gd name="connsiteY35489" fmla="*/ 367579 h 4687251"/>
              <a:gd name="connsiteX35490" fmla="*/ 2258990 w 8079933"/>
              <a:gd name="connsiteY35490" fmla="*/ 368337 h 4687251"/>
              <a:gd name="connsiteX35491" fmla="*/ 2263114 w 8079933"/>
              <a:gd name="connsiteY35491" fmla="*/ 365847 h 4687251"/>
              <a:gd name="connsiteX35492" fmla="*/ 4424874 w 8079933"/>
              <a:gd name="connsiteY35492" fmla="*/ 358269 h 4687251"/>
              <a:gd name="connsiteX35493" fmla="*/ 4429214 w 8079933"/>
              <a:gd name="connsiteY35493" fmla="*/ 358269 h 4687251"/>
              <a:gd name="connsiteX35494" fmla="*/ 4430516 w 8079933"/>
              <a:gd name="connsiteY35494" fmla="*/ 360001 h 4687251"/>
              <a:gd name="connsiteX35495" fmla="*/ 4430516 w 8079933"/>
              <a:gd name="connsiteY35495" fmla="*/ 362167 h 4687251"/>
              <a:gd name="connsiteX35496" fmla="*/ 4423788 w 8079933"/>
              <a:gd name="connsiteY35496" fmla="*/ 366929 h 4687251"/>
              <a:gd name="connsiteX35497" fmla="*/ 4420316 w 8079933"/>
              <a:gd name="connsiteY35497" fmla="*/ 368662 h 4687251"/>
              <a:gd name="connsiteX35498" fmla="*/ 4414130 w 8079933"/>
              <a:gd name="connsiteY35498" fmla="*/ 373967 h 4687251"/>
              <a:gd name="connsiteX35499" fmla="*/ 4408814 w 8079933"/>
              <a:gd name="connsiteY35499" fmla="*/ 375375 h 4687251"/>
              <a:gd name="connsiteX35500" fmla="*/ 4406209 w 8079933"/>
              <a:gd name="connsiteY35500" fmla="*/ 374726 h 4687251"/>
              <a:gd name="connsiteX35501" fmla="*/ 4405124 w 8079933"/>
              <a:gd name="connsiteY35501" fmla="*/ 372777 h 4687251"/>
              <a:gd name="connsiteX35502" fmla="*/ 4407837 w 8079933"/>
              <a:gd name="connsiteY35502" fmla="*/ 369852 h 4687251"/>
              <a:gd name="connsiteX35503" fmla="*/ 4412503 w 8079933"/>
              <a:gd name="connsiteY35503" fmla="*/ 368554 h 4687251"/>
              <a:gd name="connsiteX35504" fmla="*/ 4416083 w 8079933"/>
              <a:gd name="connsiteY35504" fmla="*/ 365847 h 4687251"/>
              <a:gd name="connsiteX35505" fmla="*/ 4420208 w 8079933"/>
              <a:gd name="connsiteY35505" fmla="*/ 360867 h 4687251"/>
              <a:gd name="connsiteX35506" fmla="*/ 2203214 w 8079933"/>
              <a:gd name="connsiteY35506" fmla="*/ 355669 h 4687251"/>
              <a:gd name="connsiteX35507" fmla="*/ 2209507 w 8079933"/>
              <a:gd name="connsiteY35507" fmla="*/ 355669 h 4687251"/>
              <a:gd name="connsiteX35508" fmla="*/ 2211352 w 8079933"/>
              <a:gd name="connsiteY35508" fmla="*/ 357076 h 4687251"/>
              <a:gd name="connsiteX35509" fmla="*/ 2213197 w 8079933"/>
              <a:gd name="connsiteY35509" fmla="*/ 358266 h 4687251"/>
              <a:gd name="connsiteX35510" fmla="*/ 2214173 w 8079933"/>
              <a:gd name="connsiteY35510" fmla="*/ 360541 h 4687251"/>
              <a:gd name="connsiteX35511" fmla="*/ 2211244 w 8079933"/>
              <a:gd name="connsiteY35511" fmla="*/ 362056 h 4687251"/>
              <a:gd name="connsiteX35512" fmla="*/ 2210158 w 8079933"/>
              <a:gd name="connsiteY35512" fmla="*/ 364654 h 4687251"/>
              <a:gd name="connsiteX35513" fmla="*/ 2212112 w 8079933"/>
              <a:gd name="connsiteY35513" fmla="*/ 365305 h 4687251"/>
              <a:gd name="connsiteX35514" fmla="*/ 2216452 w 8079933"/>
              <a:gd name="connsiteY35514" fmla="*/ 365196 h 4687251"/>
              <a:gd name="connsiteX35515" fmla="*/ 2216344 w 8079933"/>
              <a:gd name="connsiteY35515" fmla="*/ 367361 h 4687251"/>
              <a:gd name="connsiteX35516" fmla="*/ 2214608 w 8079933"/>
              <a:gd name="connsiteY35516" fmla="*/ 370068 h 4687251"/>
              <a:gd name="connsiteX35517" fmla="*/ 2216344 w 8079933"/>
              <a:gd name="connsiteY35517" fmla="*/ 373425 h 4687251"/>
              <a:gd name="connsiteX35518" fmla="*/ 2216344 w 8079933"/>
              <a:gd name="connsiteY35518" fmla="*/ 378080 h 4687251"/>
              <a:gd name="connsiteX35519" fmla="*/ 2214716 w 8079933"/>
              <a:gd name="connsiteY35519" fmla="*/ 381869 h 4687251"/>
              <a:gd name="connsiteX35520" fmla="*/ 2211678 w 8079933"/>
              <a:gd name="connsiteY35520" fmla="*/ 383169 h 4687251"/>
              <a:gd name="connsiteX35521" fmla="*/ 2209182 w 8079933"/>
              <a:gd name="connsiteY35521" fmla="*/ 380354 h 4687251"/>
              <a:gd name="connsiteX35522" fmla="*/ 2202454 w 8079933"/>
              <a:gd name="connsiteY35522" fmla="*/ 379704 h 4687251"/>
              <a:gd name="connsiteX35523" fmla="*/ 2197788 w 8079933"/>
              <a:gd name="connsiteY35523" fmla="*/ 378297 h 4687251"/>
              <a:gd name="connsiteX35524" fmla="*/ 2196486 w 8079933"/>
              <a:gd name="connsiteY35524" fmla="*/ 371909 h 4687251"/>
              <a:gd name="connsiteX35525" fmla="*/ 2200175 w 8079933"/>
              <a:gd name="connsiteY35525" fmla="*/ 368444 h 4687251"/>
              <a:gd name="connsiteX35526" fmla="*/ 2200826 w 8079933"/>
              <a:gd name="connsiteY35526" fmla="*/ 365088 h 4687251"/>
              <a:gd name="connsiteX35527" fmla="*/ 2199741 w 8079933"/>
              <a:gd name="connsiteY35527" fmla="*/ 362489 h 4687251"/>
              <a:gd name="connsiteX35528" fmla="*/ 2200392 w 8079933"/>
              <a:gd name="connsiteY35528" fmla="*/ 357834 h 4687251"/>
              <a:gd name="connsiteX35529" fmla="*/ 4268502 w 8079933"/>
              <a:gd name="connsiteY35529" fmla="*/ 355344 h 4687251"/>
              <a:gd name="connsiteX35530" fmla="*/ 4270021 w 8079933"/>
              <a:gd name="connsiteY35530" fmla="*/ 355344 h 4687251"/>
              <a:gd name="connsiteX35531" fmla="*/ 4272299 w 8079933"/>
              <a:gd name="connsiteY35531" fmla="*/ 358593 h 4687251"/>
              <a:gd name="connsiteX35532" fmla="*/ 4277074 w 8079933"/>
              <a:gd name="connsiteY35532" fmla="*/ 361299 h 4687251"/>
              <a:gd name="connsiteX35533" fmla="*/ 4277943 w 8079933"/>
              <a:gd name="connsiteY35533" fmla="*/ 364547 h 4687251"/>
              <a:gd name="connsiteX35534" fmla="*/ 4277943 w 8079933"/>
              <a:gd name="connsiteY35534" fmla="*/ 373858 h 4687251"/>
              <a:gd name="connsiteX35535" fmla="*/ 4276749 w 8079933"/>
              <a:gd name="connsiteY35535" fmla="*/ 378838 h 4687251"/>
              <a:gd name="connsiteX35536" fmla="*/ 4276749 w 8079933"/>
              <a:gd name="connsiteY35536" fmla="*/ 382304 h 4687251"/>
              <a:gd name="connsiteX35537" fmla="*/ 4278159 w 8079933"/>
              <a:gd name="connsiteY35537" fmla="*/ 384902 h 4687251"/>
              <a:gd name="connsiteX35538" fmla="*/ 4279244 w 8079933"/>
              <a:gd name="connsiteY35538" fmla="*/ 382195 h 4687251"/>
              <a:gd name="connsiteX35539" fmla="*/ 4279244 w 8079933"/>
              <a:gd name="connsiteY35539" fmla="*/ 379489 h 4687251"/>
              <a:gd name="connsiteX35540" fmla="*/ 4280438 w 8079933"/>
              <a:gd name="connsiteY35540" fmla="*/ 379489 h 4687251"/>
              <a:gd name="connsiteX35541" fmla="*/ 4281957 w 8079933"/>
              <a:gd name="connsiteY35541" fmla="*/ 382195 h 4687251"/>
              <a:gd name="connsiteX35542" fmla="*/ 4285213 w 8079933"/>
              <a:gd name="connsiteY35542" fmla="*/ 383711 h 4687251"/>
              <a:gd name="connsiteX35543" fmla="*/ 4286081 w 8079933"/>
              <a:gd name="connsiteY35543" fmla="*/ 380572 h 4687251"/>
              <a:gd name="connsiteX35544" fmla="*/ 4286081 w 8079933"/>
              <a:gd name="connsiteY35544" fmla="*/ 376458 h 4687251"/>
              <a:gd name="connsiteX35545" fmla="*/ 4289011 w 8079933"/>
              <a:gd name="connsiteY35545" fmla="*/ 373209 h 4687251"/>
              <a:gd name="connsiteX35546" fmla="*/ 4289880 w 8079933"/>
              <a:gd name="connsiteY35546" fmla="*/ 370937 h 4687251"/>
              <a:gd name="connsiteX35547" fmla="*/ 4288794 w 8079933"/>
              <a:gd name="connsiteY35547" fmla="*/ 369204 h 4687251"/>
              <a:gd name="connsiteX35548" fmla="*/ 4290856 w 8079933"/>
              <a:gd name="connsiteY35548" fmla="*/ 366929 h 4687251"/>
              <a:gd name="connsiteX35549" fmla="*/ 4291941 w 8079933"/>
              <a:gd name="connsiteY35549" fmla="*/ 366929 h 4687251"/>
              <a:gd name="connsiteX35550" fmla="*/ 4292809 w 8079933"/>
              <a:gd name="connsiteY35550" fmla="*/ 372235 h 4687251"/>
              <a:gd name="connsiteX35551" fmla="*/ 4294871 w 8079933"/>
              <a:gd name="connsiteY35551" fmla="*/ 371152 h 4687251"/>
              <a:gd name="connsiteX35552" fmla="*/ 4296282 w 8079933"/>
              <a:gd name="connsiteY35552" fmla="*/ 367146 h 4687251"/>
              <a:gd name="connsiteX35553" fmla="*/ 4298994 w 8079933"/>
              <a:gd name="connsiteY35553" fmla="*/ 365198 h 4687251"/>
              <a:gd name="connsiteX35554" fmla="*/ 4298994 w 8079933"/>
              <a:gd name="connsiteY35554" fmla="*/ 367687 h 4687251"/>
              <a:gd name="connsiteX35555" fmla="*/ 4298994 w 8079933"/>
              <a:gd name="connsiteY35555" fmla="*/ 370937 h 4687251"/>
              <a:gd name="connsiteX35556" fmla="*/ 4298994 w 8079933"/>
              <a:gd name="connsiteY35556" fmla="*/ 372992 h 4687251"/>
              <a:gd name="connsiteX35557" fmla="*/ 4303010 w 8079933"/>
              <a:gd name="connsiteY35557" fmla="*/ 370393 h 4687251"/>
              <a:gd name="connsiteX35558" fmla="*/ 4304529 w 8079933"/>
              <a:gd name="connsiteY35558" fmla="*/ 371801 h 4687251"/>
              <a:gd name="connsiteX35559" fmla="*/ 4304529 w 8079933"/>
              <a:gd name="connsiteY35559" fmla="*/ 373967 h 4687251"/>
              <a:gd name="connsiteX35560" fmla="*/ 4307893 w 8079933"/>
              <a:gd name="connsiteY35560" fmla="*/ 376023 h 4687251"/>
              <a:gd name="connsiteX35561" fmla="*/ 4312125 w 8079933"/>
              <a:gd name="connsiteY35561" fmla="*/ 376023 h 4687251"/>
              <a:gd name="connsiteX35562" fmla="*/ 4315489 w 8079933"/>
              <a:gd name="connsiteY35562" fmla="*/ 378189 h 4687251"/>
              <a:gd name="connsiteX35563" fmla="*/ 4319939 w 8079933"/>
              <a:gd name="connsiteY35563" fmla="*/ 378838 h 4687251"/>
              <a:gd name="connsiteX35564" fmla="*/ 4328077 w 8079933"/>
              <a:gd name="connsiteY35564" fmla="*/ 378189 h 4687251"/>
              <a:gd name="connsiteX35565" fmla="*/ 4330573 w 8079933"/>
              <a:gd name="connsiteY35565" fmla="*/ 378189 h 4687251"/>
              <a:gd name="connsiteX35566" fmla="*/ 4334371 w 8079933"/>
              <a:gd name="connsiteY35566" fmla="*/ 381438 h 4687251"/>
              <a:gd name="connsiteX35567" fmla="*/ 4340882 w 8079933"/>
              <a:gd name="connsiteY35567" fmla="*/ 381438 h 4687251"/>
              <a:gd name="connsiteX35568" fmla="*/ 4342510 w 8079933"/>
              <a:gd name="connsiteY35568" fmla="*/ 382521 h 4687251"/>
              <a:gd name="connsiteX35569" fmla="*/ 4342510 w 8079933"/>
              <a:gd name="connsiteY35569" fmla="*/ 385227 h 4687251"/>
              <a:gd name="connsiteX35570" fmla="*/ 4341099 w 8079933"/>
              <a:gd name="connsiteY35570" fmla="*/ 387826 h 4687251"/>
              <a:gd name="connsiteX35571" fmla="*/ 4341750 w 8079933"/>
              <a:gd name="connsiteY35571" fmla="*/ 391290 h 4687251"/>
              <a:gd name="connsiteX35572" fmla="*/ 4343269 w 8079933"/>
              <a:gd name="connsiteY35572" fmla="*/ 395187 h 4687251"/>
              <a:gd name="connsiteX35573" fmla="*/ 4343269 w 8079933"/>
              <a:gd name="connsiteY35573" fmla="*/ 398652 h 4687251"/>
              <a:gd name="connsiteX35574" fmla="*/ 4341967 w 8079933"/>
              <a:gd name="connsiteY35574" fmla="*/ 402442 h 4687251"/>
              <a:gd name="connsiteX35575" fmla="*/ 4336976 w 8079933"/>
              <a:gd name="connsiteY35575" fmla="*/ 408289 h 4687251"/>
              <a:gd name="connsiteX35576" fmla="*/ 4333937 w 8079933"/>
              <a:gd name="connsiteY35576" fmla="*/ 412294 h 4687251"/>
              <a:gd name="connsiteX35577" fmla="*/ 4330356 w 8079933"/>
              <a:gd name="connsiteY35577" fmla="*/ 419765 h 4687251"/>
              <a:gd name="connsiteX35578" fmla="*/ 4326992 w 8079933"/>
              <a:gd name="connsiteY35578" fmla="*/ 422905 h 4687251"/>
              <a:gd name="connsiteX35579" fmla="*/ 4324387 w 8079933"/>
              <a:gd name="connsiteY35579" fmla="*/ 425828 h 4687251"/>
              <a:gd name="connsiteX35580" fmla="*/ 4325473 w 8079933"/>
              <a:gd name="connsiteY35580" fmla="*/ 429509 h 4687251"/>
              <a:gd name="connsiteX35581" fmla="*/ 4326558 w 8079933"/>
              <a:gd name="connsiteY35581" fmla="*/ 435789 h 4687251"/>
              <a:gd name="connsiteX35582" fmla="*/ 4325039 w 8079933"/>
              <a:gd name="connsiteY35582" fmla="*/ 437955 h 4687251"/>
              <a:gd name="connsiteX35583" fmla="*/ 4320047 w 8079933"/>
              <a:gd name="connsiteY35583" fmla="*/ 441527 h 4687251"/>
              <a:gd name="connsiteX35584" fmla="*/ 4315598 w 8079933"/>
              <a:gd name="connsiteY35584" fmla="*/ 441527 h 4687251"/>
              <a:gd name="connsiteX35585" fmla="*/ 4311908 w 8079933"/>
              <a:gd name="connsiteY35585" fmla="*/ 439146 h 4687251"/>
              <a:gd name="connsiteX35586" fmla="*/ 4308870 w 8079933"/>
              <a:gd name="connsiteY35586" fmla="*/ 436547 h 4687251"/>
              <a:gd name="connsiteX35587" fmla="*/ 4305940 w 8079933"/>
              <a:gd name="connsiteY35587" fmla="*/ 437088 h 4687251"/>
              <a:gd name="connsiteX35588" fmla="*/ 4301599 w 8079933"/>
              <a:gd name="connsiteY35588" fmla="*/ 441311 h 4687251"/>
              <a:gd name="connsiteX35589" fmla="*/ 4299754 w 8079933"/>
              <a:gd name="connsiteY35589" fmla="*/ 444452 h 4687251"/>
              <a:gd name="connsiteX35590" fmla="*/ 4299754 w 8079933"/>
              <a:gd name="connsiteY35590" fmla="*/ 447049 h 4687251"/>
              <a:gd name="connsiteX35591" fmla="*/ 4300297 w 8079933"/>
              <a:gd name="connsiteY35591" fmla="*/ 449107 h 4687251"/>
              <a:gd name="connsiteX35592" fmla="*/ 4298777 w 8079933"/>
              <a:gd name="connsiteY35592" fmla="*/ 451379 h 4687251"/>
              <a:gd name="connsiteX35593" fmla="*/ 4291615 w 8079933"/>
              <a:gd name="connsiteY35593" fmla="*/ 453546 h 4687251"/>
              <a:gd name="connsiteX35594" fmla="*/ 4286298 w 8079933"/>
              <a:gd name="connsiteY35594" fmla="*/ 452896 h 4687251"/>
              <a:gd name="connsiteX35595" fmla="*/ 4281306 w 8079933"/>
              <a:gd name="connsiteY35595" fmla="*/ 449323 h 4687251"/>
              <a:gd name="connsiteX35596" fmla="*/ 4280330 w 8079933"/>
              <a:gd name="connsiteY35596" fmla="*/ 444884 h 4687251"/>
              <a:gd name="connsiteX35597" fmla="*/ 4281089 w 8079933"/>
              <a:gd name="connsiteY35597" fmla="*/ 440878 h 4687251"/>
              <a:gd name="connsiteX35598" fmla="*/ 4281089 w 8079933"/>
              <a:gd name="connsiteY35598" fmla="*/ 438389 h 4687251"/>
              <a:gd name="connsiteX35599" fmla="*/ 4275012 w 8079933"/>
              <a:gd name="connsiteY35599" fmla="*/ 439578 h 4687251"/>
              <a:gd name="connsiteX35600" fmla="*/ 4270238 w 8079933"/>
              <a:gd name="connsiteY35600" fmla="*/ 439578 h 4687251"/>
              <a:gd name="connsiteX35601" fmla="*/ 4263727 w 8079933"/>
              <a:gd name="connsiteY35601" fmla="*/ 442068 h 4687251"/>
              <a:gd name="connsiteX35602" fmla="*/ 4257216 w 8079933"/>
              <a:gd name="connsiteY35602" fmla="*/ 442068 h 4687251"/>
              <a:gd name="connsiteX35603" fmla="*/ 4252875 w 8079933"/>
              <a:gd name="connsiteY35603" fmla="*/ 443476 h 4687251"/>
              <a:gd name="connsiteX35604" fmla="*/ 4249620 w 8079933"/>
              <a:gd name="connsiteY35604" fmla="*/ 442393 h 4687251"/>
              <a:gd name="connsiteX35605" fmla="*/ 4249620 w 8079933"/>
              <a:gd name="connsiteY35605" fmla="*/ 438711 h 4687251"/>
              <a:gd name="connsiteX35606" fmla="*/ 4247666 w 8079933"/>
              <a:gd name="connsiteY35606" fmla="*/ 434166 h 4687251"/>
              <a:gd name="connsiteX35607" fmla="*/ 4245279 w 8079933"/>
              <a:gd name="connsiteY35607" fmla="*/ 433407 h 4687251"/>
              <a:gd name="connsiteX35608" fmla="*/ 4241372 w 8079933"/>
              <a:gd name="connsiteY35608" fmla="*/ 435465 h 4687251"/>
              <a:gd name="connsiteX35609" fmla="*/ 4238551 w 8079933"/>
              <a:gd name="connsiteY35609" fmla="*/ 434814 h 4687251"/>
              <a:gd name="connsiteX35610" fmla="*/ 4229978 w 8079933"/>
              <a:gd name="connsiteY35610" fmla="*/ 427235 h 4687251"/>
              <a:gd name="connsiteX35611" fmla="*/ 4227156 w 8079933"/>
              <a:gd name="connsiteY35611" fmla="*/ 425721 h 4687251"/>
              <a:gd name="connsiteX35612" fmla="*/ 4227156 w 8079933"/>
              <a:gd name="connsiteY35612" fmla="*/ 423229 h 4687251"/>
              <a:gd name="connsiteX35613" fmla="*/ 4233016 w 8079933"/>
              <a:gd name="connsiteY35613" fmla="*/ 421498 h 4687251"/>
              <a:gd name="connsiteX35614" fmla="*/ 4237574 w 8079933"/>
              <a:gd name="connsiteY35614" fmla="*/ 422364 h 4687251"/>
              <a:gd name="connsiteX35615" fmla="*/ 4242240 w 8079933"/>
              <a:gd name="connsiteY35615" fmla="*/ 425937 h 4687251"/>
              <a:gd name="connsiteX35616" fmla="*/ 4244845 w 8079933"/>
              <a:gd name="connsiteY35616" fmla="*/ 425937 h 4687251"/>
              <a:gd name="connsiteX35617" fmla="*/ 4246039 w 8079933"/>
              <a:gd name="connsiteY35617" fmla="*/ 424312 h 4687251"/>
              <a:gd name="connsiteX35618" fmla="*/ 4250921 w 8079933"/>
              <a:gd name="connsiteY35618" fmla="*/ 426262 h 4687251"/>
              <a:gd name="connsiteX35619" fmla="*/ 4253309 w 8079933"/>
              <a:gd name="connsiteY35619" fmla="*/ 426262 h 4687251"/>
              <a:gd name="connsiteX35620" fmla="*/ 4253309 w 8079933"/>
              <a:gd name="connsiteY35620" fmla="*/ 424095 h 4687251"/>
              <a:gd name="connsiteX35621" fmla="*/ 4250921 w 8079933"/>
              <a:gd name="connsiteY35621" fmla="*/ 422255 h 4687251"/>
              <a:gd name="connsiteX35622" fmla="*/ 4243868 w 8079933"/>
              <a:gd name="connsiteY35622" fmla="*/ 420416 h 4687251"/>
              <a:gd name="connsiteX35623" fmla="*/ 4241915 w 8079933"/>
              <a:gd name="connsiteY35623" fmla="*/ 419008 h 4687251"/>
              <a:gd name="connsiteX35624" fmla="*/ 4242892 w 8079933"/>
              <a:gd name="connsiteY35624" fmla="*/ 417274 h 4687251"/>
              <a:gd name="connsiteX35625" fmla="*/ 4247232 w 8079933"/>
              <a:gd name="connsiteY35625" fmla="*/ 418249 h 4687251"/>
              <a:gd name="connsiteX35626" fmla="*/ 4252875 w 8079933"/>
              <a:gd name="connsiteY35626" fmla="*/ 418249 h 4687251"/>
              <a:gd name="connsiteX35627" fmla="*/ 4257867 w 8079933"/>
              <a:gd name="connsiteY35627" fmla="*/ 419333 h 4687251"/>
              <a:gd name="connsiteX35628" fmla="*/ 4260471 w 8079933"/>
              <a:gd name="connsiteY35628" fmla="*/ 417817 h 4687251"/>
              <a:gd name="connsiteX35629" fmla="*/ 4261991 w 8079933"/>
              <a:gd name="connsiteY35629" fmla="*/ 415001 h 4687251"/>
              <a:gd name="connsiteX35630" fmla="*/ 4263510 w 8079933"/>
              <a:gd name="connsiteY35630" fmla="*/ 413269 h 4687251"/>
              <a:gd name="connsiteX35631" fmla="*/ 4263510 w 8079933"/>
              <a:gd name="connsiteY35631" fmla="*/ 411320 h 4687251"/>
              <a:gd name="connsiteX35632" fmla="*/ 4261556 w 8079933"/>
              <a:gd name="connsiteY35632" fmla="*/ 409913 h 4687251"/>
              <a:gd name="connsiteX35633" fmla="*/ 4258952 w 8079933"/>
              <a:gd name="connsiteY35633" fmla="*/ 409913 h 4687251"/>
              <a:gd name="connsiteX35634" fmla="*/ 4255371 w 8079933"/>
              <a:gd name="connsiteY35634" fmla="*/ 412510 h 4687251"/>
              <a:gd name="connsiteX35635" fmla="*/ 4248752 w 8079933"/>
              <a:gd name="connsiteY35635" fmla="*/ 412510 h 4687251"/>
              <a:gd name="connsiteX35636" fmla="*/ 4240287 w 8079933"/>
              <a:gd name="connsiteY35636" fmla="*/ 413269 h 4687251"/>
              <a:gd name="connsiteX35637" fmla="*/ 4237574 w 8079933"/>
              <a:gd name="connsiteY35637" fmla="*/ 414352 h 4687251"/>
              <a:gd name="connsiteX35638" fmla="*/ 4232256 w 8079933"/>
              <a:gd name="connsiteY35638" fmla="*/ 418140 h 4687251"/>
              <a:gd name="connsiteX35639" fmla="*/ 4230303 w 8079933"/>
              <a:gd name="connsiteY35639" fmla="*/ 418140 h 4687251"/>
              <a:gd name="connsiteX35640" fmla="*/ 4227374 w 8079933"/>
              <a:gd name="connsiteY35640" fmla="*/ 415867 h 4687251"/>
              <a:gd name="connsiteX35641" fmla="*/ 4223575 w 8079933"/>
              <a:gd name="connsiteY35641" fmla="*/ 417383 h 4687251"/>
              <a:gd name="connsiteX35642" fmla="*/ 4217716 w 8079933"/>
              <a:gd name="connsiteY35642" fmla="*/ 417383 h 4687251"/>
              <a:gd name="connsiteX35643" fmla="*/ 4213592 w 8079933"/>
              <a:gd name="connsiteY35643" fmla="*/ 414785 h 4687251"/>
              <a:gd name="connsiteX35644" fmla="*/ 4210120 w 8079933"/>
              <a:gd name="connsiteY35644" fmla="*/ 413377 h 4687251"/>
              <a:gd name="connsiteX35645" fmla="*/ 4205128 w 8079933"/>
              <a:gd name="connsiteY35645" fmla="*/ 405690 h 4687251"/>
              <a:gd name="connsiteX35646" fmla="*/ 4205128 w 8079933"/>
              <a:gd name="connsiteY35646" fmla="*/ 403092 h 4687251"/>
              <a:gd name="connsiteX35647" fmla="*/ 4211530 w 8079933"/>
              <a:gd name="connsiteY35647" fmla="*/ 398976 h 4687251"/>
              <a:gd name="connsiteX35648" fmla="*/ 4210336 w 8079933"/>
              <a:gd name="connsiteY35648" fmla="*/ 397245 h 4687251"/>
              <a:gd name="connsiteX35649" fmla="*/ 4206213 w 8079933"/>
              <a:gd name="connsiteY35649" fmla="*/ 397245 h 4687251"/>
              <a:gd name="connsiteX35650" fmla="*/ 4205019 w 8079933"/>
              <a:gd name="connsiteY35650" fmla="*/ 395513 h 4687251"/>
              <a:gd name="connsiteX35651" fmla="*/ 4206538 w 8079933"/>
              <a:gd name="connsiteY35651" fmla="*/ 392913 h 4687251"/>
              <a:gd name="connsiteX35652" fmla="*/ 4203934 w 8079933"/>
              <a:gd name="connsiteY35652" fmla="*/ 390315 h 4687251"/>
              <a:gd name="connsiteX35653" fmla="*/ 4200570 w 8079933"/>
              <a:gd name="connsiteY35653" fmla="*/ 390858 h 4687251"/>
              <a:gd name="connsiteX35654" fmla="*/ 4198834 w 8079933"/>
              <a:gd name="connsiteY35654" fmla="*/ 386202 h 4687251"/>
              <a:gd name="connsiteX35655" fmla="*/ 4202524 w 8079933"/>
              <a:gd name="connsiteY35655" fmla="*/ 383170 h 4687251"/>
              <a:gd name="connsiteX35656" fmla="*/ 4205779 w 8079933"/>
              <a:gd name="connsiteY35656" fmla="*/ 385552 h 4687251"/>
              <a:gd name="connsiteX35657" fmla="*/ 4214026 w 8079933"/>
              <a:gd name="connsiteY35657" fmla="*/ 384469 h 4687251"/>
              <a:gd name="connsiteX35658" fmla="*/ 4215763 w 8079933"/>
              <a:gd name="connsiteY35658" fmla="*/ 386526 h 4687251"/>
              <a:gd name="connsiteX35659" fmla="*/ 4217824 w 8079933"/>
              <a:gd name="connsiteY35659" fmla="*/ 392048 h 4687251"/>
              <a:gd name="connsiteX35660" fmla="*/ 4219344 w 8079933"/>
              <a:gd name="connsiteY35660" fmla="*/ 392913 h 4687251"/>
              <a:gd name="connsiteX35661" fmla="*/ 4220537 w 8079933"/>
              <a:gd name="connsiteY35661" fmla="*/ 389449 h 4687251"/>
              <a:gd name="connsiteX35662" fmla="*/ 4220537 w 8079933"/>
              <a:gd name="connsiteY35662" fmla="*/ 385985 h 4687251"/>
              <a:gd name="connsiteX35663" fmla="*/ 4218149 w 8079933"/>
              <a:gd name="connsiteY35663" fmla="*/ 382521 h 4687251"/>
              <a:gd name="connsiteX35664" fmla="*/ 4217173 w 8079933"/>
              <a:gd name="connsiteY35664" fmla="*/ 377323 h 4687251"/>
              <a:gd name="connsiteX35665" fmla="*/ 4217173 w 8079933"/>
              <a:gd name="connsiteY35665" fmla="*/ 373317 h 4687251"/>
              <a:gd name="connsiteX35666" fmla="*/ 4218692 w 8079933"/>
              <a:gd name="connsiteY35666" fmla="*/ 374833 h 4687251"/>
              <a:gd name="connsiteX35667" fmla="*/ 4220103 w 8079933"/>
              <a:gd name="connsiteY35667" fmla="*/ 378948 h 4687251"/>
              <a:gd name="connsiteX35668" fmla="*/ 4222816 w 8079933"/>
              <a:gd name="connsiteY35668" fmla="*/ 382087 h 4687251"/>
              <a:gd name="connsiteX35669" fmla="*/ 4224878 w 8079933"/>
              <a:gd name="connsiteY35669" fmla="*/ 380896 h 4687251"/>
              <a:gd name="connsiteX35670" fmla="*/ 4223467 w 8079933"/>
              <a:gd name="connsiteY35670" fmla="*/ 374726 h 4687251"/>
              <a:gd name="connsiteX35671" fmla="*/ 4220754 w 8079933"/>
              <a:gd name="connsiteY35671" fmla="*/ 369744 h 4687251"/>
              <a:gd name="connsiteX35672" fmla="*/ 4219886 w 8079933"/>
              <a:gd name="connsiteY35672" fmla="*/ 364764 h 4687251"/>
              <a:gd name="connsiteX35673" fmla="*/ 4220537 w 8079933"/>
              <a:gd name="connsiteY35673" fmla="*/ 358269 h 4687251"/>
              <a:gd name="connsiteX35674" fmla="*/ 4222924 w 8079933"/>
              <a:gd name="connsiteY35674" fmla="*/ 355560 h 4687251"/>
              <a:gd name="connsiteX35675" fmla="*/ 4224878 w 8079933"/>
              <a:gd name="connsiteY35675" fmla="*/ 356427 h 4687251"/>
              <a:gd name="connsiteX35676" fmla="*/ 4226397 w 8079933"/>
              <a:gd name="connsiteY35676" fmla="*/ 360325 h 4687251"/>
              <a:gd name="connsiteX35677" fmla="*/ 4225312 w 8079933"/>
              <a:gd name="connsiteY35677" fmla="*/ 363898 h 4687251"/>
              <a:gd name="connsiteX35678" fmla="*/ 4228025 w 8079933"/>
              <a:gd name="connsiteY35678" fmla="*/ 366821 h 4687251"/>
              <a:gd name="connsiteX35679" fmla="*/ 4229869 w 8079933"/>
              <a:gd name="connsiteY35679" fmla="*/ 365954 h 4687251"/>
              <a:gd name="connsiteX35680" fmla="*/ 4233125 w 8079933"/>
              <a:gd name="connsiteY35680" fmla="*/ 367362 h 4687251"/>
              <a:gd name="connsiteX35681" fmla="*/ 4234536 w 8079933"/>
              <a:gd name="connsiteY35681" fmla="*/ 371693 h 4687251"/>
              <a:gd name="connsiteX35682" fmla="*/ 4237249 w 8079933"/>
              <a:gd name="connsiteY35682" fmla="*/ 375483 h 4687251"/>
              <a:gd name="connsiteX35683" fmla="*/ 4239853 w 8079933"/>
              <a:gd name="connsiteY35683" fmla="*/ 375483 h 4687251"/>
              <a:gd name="connsiteX35684" fmla="*/ 4239853 w 8079933"/>
              <a:gd name="connsiteY35684" fmla="*/ 377540 h 4687251"/>
              <a:gd name="connsiteX35685" fmla="*/ 4239853 w 8079933"/>
              <a:gd name="connsiteY35685" fmla="*/ 379922 h 4687251"/>
              <a:gd name="connsiteX35686" fmla="*/ 4243108 w 8079933"/>
              <a:gd name="connsiteY35686" fmla="*/ 381438 h 4687251"/>
              <a:gd name="connsiteX35687" fmla="*/ 4246907 w 8079933"/>
              <a:gd name="connsiteY35687" fmla="*/ 378838 h 4687251"/>
              <a:gd name="connsiteX35688" fmla="*/ 4248100 w 8079933"/>
              <a:gd name="connsiteY35688" fmla="*/ 377107 h 4687251"/>
              <a:gd name="connsiteX35689" fmla="*/ 4249945 w 8079933"/>
              <a:gd name="connsiteY35689" fmla="*/ 377107 h 4687251"/>
              <a:gd name="connsiteX35690" fmla="*/ 4254286 w 8079933"/>
              <a:gd name="connsiteY35690" fmla="*/ 374508 h 4687251"/>
              <a:gd name="connsiteX35691" fmla="*/ 4256999 w 8079933"/>
              <a:gd name="connsiteY35691" fmla="*/ 376023 h 4687251"/>
              <a:gd name="connsiteX35692" fmla="*/ 4256999 w 8079933"/>
              <a:gd name="connsiteY35692" fmla="*/ 378297 h 4687251"/>
              <a:gd name="connsiteX35693" fmla="*/ 4255154 w 8079933"/>
              <a:gd name="connsiteY35693" fmla="*/ 381546 h 4687251"/>
              <a:gd name="connsiteX35694" fmla="*/ 4255805 w 8079933"/>
              <a:gd name="connsiteY35694" fmla="*/ 384686 h 4687251"/>
              <a:gd name="connsiteX35695" fmla="*/ 4260146 w 8079933"/>
              <a:gd name="connsiteY35695" fmla="*/ 387284 h 4687251"/>
              <a:gd name="connsiteX35696" fmla="*/ 4264269 w 8079933"/>
              <a:gd name="connsiteY35696" fmla="*/ 390858 h 4687251"/>
              <a:gd name="connsiteX35697" fmla="*/ 4265789 w 8079933"/>
              <a:gd name="connsiteY35697" fmla="*/ 395295 h 4687251"/>
              <a:gd name="connsiteX35698" fmla="*/ 4267633 w 8079933"/>
              <a:gd name="connsiteY35698" fmla="*/ 395295 h 4687251"/>
              <a:gd name="connsiteX35699" fmla="*/ 4269153 w 8079933"/>
              <a:gd name="connsiteY35699" fmla="*/ 391398 h 4687251"/>
              <a:gd name="connsiteX35700" fmla="*/ 4266548 w 8079933"/>
              <a:gd name="connsiteY35700" fmla="*/ 384902 h 4687251"/>
              <a:gd name="connsiteX35701" fmla="*/ 4266548 w 8079933"/>
              <a:gd name="connsiteY35701" fmla="*/ 379380 h 4687251"/>
              <a:gd name="connsiteX35702" fmla="*/ 4267417 w 8079933"/>
              <a:gd name="connsiteY35702" fmla="*/ 375267 h 4687251"/>
              <a:gd name="connsiteX35703" fmla="*/ 4267417 w 8079933"/>
              <a:gd name="connsiteY35703" fmla="*/ 370827 h 4687251"/>
              <a:gd name="connsiteX35704" fmla="*/ 4263944 w 8079933"/>
              <a:gd name="connsiteY35704" fmla="*/ 367037 h 4687251"/>
              <a:gd name="connsiteX35705" fmla="*/ 4263944 w 8079933"/>
              <a:gd name="connsiteY35705" fmla="*/ 362382 h 4687251"/>
              <a:gd name="connsiteX35706" fmla="*/ 4266005 w 8079933"/>
              <a:gd name="connsiteY35706" fmla="*/ 360866 h 4687251"/>
              <a:gd name="connsiteX35707" fmla="*/ 4267958 w 8079933"/>
              <a:gd name="connsiteY35707" fmla="*/ 363248 h 4687251"/>
              <a:gd name="connsiteX35708" fmla="*/ 4271431 w 8079933"/>
              <a:gd name="connsiteY35708" fmla="*/ 364115 h 4687251"/>
              <a:gd name="connsiteX35709" fmla="*/ 4270238 w 8079933"/>
              <a:gd name="connsiteY35709" fmla="*/ 361190 h 4687251"/>
              <a:gd name="connsiteX35710" fmla="*/ 4267633 w 8079933"/>
              <a:gd name="connsiteY35710" fmla="*/ 358484 h 4687251"/>
              <a:gd name="connsiteX35711" fmla="*/ 5404454 w 8079933"/>
              <a:gd name="connsiteY35711" fmla="*/ 350365 h 4687251"/>
              <a:gd name="connsiteX35712" fmla="*/ 5407819 w 8079933"/>
              <a:gd name="connsiteY35712" fmla="*/ 351664 h 4687251"/>
              <a:gd name="connsiteX35713" fmla="*/ 5407927 w 8079933"/>
              <a:gd name="connsiteY35713" fmla="*/ 354912 h 4687251"/>
              <a:gd name="connsiteX35714" fmla="*/ 5405757 w 8079933"/>
              <a:gd name="connsiteY35714" fmla="*/ 355455 h 4687251"/>
              <a:gd name="connsiteX35715" fmla="*/ 5402501 w 8079933"/>
              <a:gd name="connsiteY35715" fmla="*/ 351664 h 4687251"/>
              <a:gd name="connsiteX35716" fmla="*/ 2763485 w 8079933"/>
              <a:gd name="connsiteY35716" fmla="*/ 345925 h 4687251"/>
              <a:gd name="connsiteX35717" fmla="*/ 2765655 w 8079933"/>
              <a:gd name="connsiteY35717" fmla="*/ 345925 h 4687251"/>
              <a:gd name="connsiteX35718" fmla="*/ 2768693 w 8079933"/>
              <a:gd name="connsiteY35718" fmla="*/ 347658 h 4687251"/>
              <a:gd name="connsiteX35719" fmla="*/ 2768476 w 8079933"/>
              <a:gd name="connsiteY35719" fmla="*/ 350580 h 4687251"/>
              <a:gd name="connsiteX35720" fmla="*/ 2763810 w 8079933"/>
              <a:gd name="connsiteY35720" fmla="*/ 350580 h 4687251"/>
              <a:gd name="connsiteX35721" fmla="*/ 2761640 w 8079933"/>
              <a:gd name="connsiteY35721" fmla="*/ 347766 h 4687251"/>
              <a:gd name="connsiteX35722" fmla="*/ 6275083 w 8079933"/>
              <a:gd name="connsiteY35722" fmla="*/ 345816 h 4687251"/>
              <a:gd name="connsiteX35723" fmla="*/ 6278556 w 8079933"/>
              <a:gd name="connsiteY35723" fmla="*/ 346682 h 4687251"/>
              <a:gd name="connsiteX35724" fmla="*/ 6284415 w 8079933"/>
              <a:gd name="connsiteY35724" fmla="*/ 351772 h 4687251"/>
              <a:gd name="connsiteX35725" fmla="*/ 6289950 w 8079933"/>
              <a:gd name="connsiteY35725" fmla="*/ 351988 h 4687251"/>
              <a:gd name="connsiteX35726" fmla="*/ 6294942 w 8079933"/>
              <a:gd name="connsiteY35726" fmla="*/ 353720 h 4687251"/>
              <a:gd name="connsiteX35727" fmla="*/ 6301669 w 8079933"/>
              <a:gd name="connsiteY35727" fmla="*/ 360216 h 4687251"/>
              <a:gd name="connsiteX35728" fmla="*/ 6301344 w 8079933"/>
              <a:gd name="connsiteY35728" fmla="*/ 363464 h 4687251"/>
              <a:gd name="connsiteX35729" fmla="*/ 6298414 w 8079933"/>
              <a:gd name="connsiteY35729" fmla="*/ 363248 h 4687251"/>
              <a:gd name="connsiteX35730" fmla="*/ 6293530 w 8079933"/>
              <a:gd name="connsiteY35730" fmla="*/ 358808 h 4687251"/>
              <a:gd name="connsiteX35731" fmla="*/ 6288105 w 8079933"/>
              <a:gd name="connsiteY35731" fmla="*/ 358267 h 4687251"/>
              <a:gd name="connsiteX35732" fmla="*/ 6283547 w 8079933"/>
              <a:gd name="connsiteY35732" fmla="*/ 354911 h 4687251"/>
              <a:gd name="connsiteX35733" fmla="*/ 6278556 w 8079933"/>
              <a:gd name="connsiteY35733" fmla="*/ 355019 h 4687251"/>
              <a:gd name="connsiteX35734" fmla="*/ 6275843 w 8079933"/>
              <a:gd name="connsiteY35734" fmla="*/ 351447 h 4687251"/>
              <a:gd name="connsiteX35735" fmla="*/ 6274106 w 8079933"/>
              <a:gd name="connsiteY35735" fmla="*/ 347116 h 4687251"/>
              <a:gd name="connsiteX35736" fmla="*/ 4230087 w 8079933"/>
              <a:gd name="connsiteY35736" fmla="*/ 337697 h 4687251"/>
              <a:gd name="connsiteX35737" fmla="*/ 4233669 w 8079933"/>
              <a:gd name="connsiteY35737" fmla="*/ 338888 h 4687251"/>
              <a:gd name="connsiteX35738" fmla="*/ 4238768 w 8079933"/>
              <a:gd name="connsiteY35738" fmla="*/ 341811 h 4687251"/>
              <a:gd name="connsiteX35739" fmla="*/ 4243760 w 8079933"/>
              <a:gd name="connsiteY35739" fmla="*/ 341054 h 4687251"/>
              <a:gd name="connsiteX35740" fmla="*/ 4245822 w 8079933"/>
              <a:gd name="connsiteY35740" fmla="*/ 342894 h 4687251"/>
              <a:gd name="connsiteX35741" fmla="*/ 4243869 w 8079933"/>
              <a:gd name="connsiteY35741" fmla="*/ 346250 h 4687251"/>
              <a:gd name="connsiteX35742" fmla="*/ 4241807 w 8079933"/>
              <a:gd name="connsiteY35742" fmla="*/ 347658 h 4687251"/>
              <a:gd name="connsiteX35743" fmla="*/ 4238335 w 8079933"/>
              <a:gd name="connsiteY35743" fmla="*/ 346901 h 4687251"/>
              <a:gd name="connsiteX35744" fmla="*/ 4230847 w 8079933"/>
              <a:gd name="connsiteY35744" fmla="*/ 341054 h 4687251"/>
              <a:gd name="connsiteX35745" fmla="*/ 4229002 w 8079933"/>
              <a:gd name="connsiteY35745" fmla="*/ 339322 h 4687251"/>
              <a:gd name="connsiteX35746" fmla="*/ 4693670 w 8079933"/>
              <a:gd name="connsiteY35746" fmla="*/ 334665 h 4687251"/>
              <a:gd name="connsiteX35747" fmla="*/ 4698879 w 8079933"/>
              <a:gd name="connsiteY35747" fmla="*/ 342353 h 4687251"/>
              <a:gd name="connsiteX35748" fmla="*/ 4698879 w 8079933"/>
              <a:gd name="connsiteY35748" fmla="*/ 347116 h 4687251"/>
              <a:gd name="connsiteX35749" fmla="*/ 4704196 w 8079933"/>
              <a:gd name="connsiteY35749" fmla="*/ 347982 h 4687251"/>
              <a:gd name="connsiteX35750" fmla="*/ 4705390 w 8079933"/>
              <a:gd name="connsiteY35750" fmla="*/ 351447 h 4687251"/>
              <a:gd name="connsiteX35751" fmla="*/ 4703546 w 8079933"/>
              <a:gd name="connsiteY35751" fmla="*/ 354263 h 4687251"/>
              <a:gd name="connsiteX35752" fmla="*/ 4696491 w 8079933"/>
              <a:gd name="connsiteY35752" fmla="*/ 354263 h 4687251"/>
              <a:gd name="connsiteX35753" fmla="*/ 4692910 w 8079933"/>
              <a:gd name="connsiteY35753" fmla="*/ 356536 h 4687251"/>
              <a:gd name="connsiteX35754" fmla="*/ 4688787 w 8079933"/>
              <a:gd name="connsiteY35754" fmla="*/ 356536 h 4687251"/>
              <a:gd name="connsiteX35755" fmla="*/ 4687702 w 8079933"/>
              <a:gd name="connsiteY35755" fmla="*/ 352422 h 4687251"/>
              <a:gd name="connsiteX35756" fmla="*/ 4682927 w 8079933"/>
              <a:gd name="connsiteY35756" fmla="*/ 348849 h 4687251"/>
              <a:gd name="connsiteX35757" fmla="*/ 4685314 w 8079933"/>
              <a:gd name="connsiteY35757" fmla="*/ 347766 h 4687251"/>
              <a:gd name="connsiteX35758" fmla="*/ 4690957 w 8079933"/>
              <a:gd name="connsiteY35758" fmla="*/ 347766 h 4687251"/>
              <a:gd name="connsiteX35759" fmla="*/ 4692476 w 8079933"/>
              <a:gd name="connsiteY35759" fmla="*/ 344844 h 4687251"/>
              <a:gd name="connsiteX35760" fmla="*/ 4692476 w 8079933"/>
              <a:gd name="connsiteY35760" fmla="*/ 336940 h 4687251"/>
              <a:gd name="connsiteX35761" fmla="*/ 4812495 w 8079933"/>
              <a:gd name="connsiteY35761" fmla="*/ 332717 h 4687251"/>
              <a:gd name="connsiteX35762" fmla="*/ 4816728 w 8079933"/>
              <a:gd name="connsiteY35762" fmla="*/ 332717 h 4687251"/>
              <a:gd name="connsiteX35763" fmla="*/ 4821068 w 8079933"/>
              <a:gd name="connsiteY35763" fmla="*/ 337155 h 4687251"/>
              <a:gd name="connsiteX35764" fmla="*/ 4819006 w 8079933"/>
              <a:gd name="connsiteY35764" fmla="*/ 338779 h 4687251"/>
              <a:gd name="connsiteX35765" fmla="*/ 4816728 w 8079933"/>
              <a:gd name="connsiteY35765" fmla="*/ 337479 h 4687251"/>
              <a:gd name="connsiteX35766" fmla="*/ 4811953 w 8079933"/>
              <a:gd name="connsiteY35766" fmla="*/ 335965 h 4687251"/>
              <a:gd name="connsiteX35767" fmla="*/ 2387148 w 8079933"/>
              <a:gd name="connsiteY35767" fmla="*/ 331741 h 4687251"/>
              <a:gd name="connsiteX35768" fmla="*/ 2390730 w 8079933"/>
              <a:gd name="connsiteY35768" fmla="*/ 332932 h 4687251"/>
              <a:gd name="connsiteX35769" fmla="*/ 2394203 w 8079933"/>
              <a:gd name="connsiteY35769" fmla="*/ 332175 h 4687251"/>
              <a:gd name="connsiteX35770" fmla="*/ 2396807 w 8079933"/>
              <a:gd name="connsiteY35770" fmla="*/ 332932 h 4687251"/>
              <a:gd name="connsiteX35771" fmla="*/ 2397349 w 8079933"/>
              <a:gd name="connsiteY35771" fmla="*/ 335531 h 4687251"/>
              <a:gd name="connsiteX35772" fmla="*/ 2401473 w 8079933"/>
              <a:gd name="connsiteY35772" fmla="*/ 335964 h 4687251"/>
              <a:gd name="connsiteX35773" fmla="*/ 2403209 w 8079933"/>
              <a:gd name="connsiteY35773" fmla="*/ 334664 h 4687251"/>
              <a:gd name="connsiteX35774" fmla="*/ 2406790 w 8079933"/>
              <a:gd name="connsiteY35774" fmla="*/ 336722 h 4687251"/>
              <a:gd name="connsiteX35775" fmla="*/ 2410371 w 8079933"/>
              <a:gd name="connsiteY35775" fmla="*/ 337155 h 4687251"/>
              <a:gd name="connsiteX35776" fmla="*/ 2415255 w 8079933"/>
              <a:gd name="connsiteY35776" fmla="*/ 343001 h 4687251"/>
              <a:gd name="connsiteX35777" fmla="*/ 2418619 w 8079933"/>
              <a:gd name="connsiteY35777" fmla="*/ 344951 h 4687251"/>
              <a:gd name="connsiteX35778" fmla="*/ 2416774 w 8079933"/>
              <a:gd name="connsiteY35778" fmla="*/ 346791 h 4687251"/>
              <a:gd name="connsiteX35779" fmla="*/ 2418185 w 8079933"/>
              <a:gd name="connsiteY35779" fmla="*/ 349065 h 4687251"/>
              <a:gd name="connsiteX35780" fmla="*/ 2421440 w 8079933"/>
              <a:gd name="connsiteY35780" fmla="*/ 349065 h 4687251"/>
              <a:gd name="connsiteX35781" fmla="*/ 2424913 w 8079933"/>
              <a:gd name="connsiteY35781" fmla="*/ 347224 h 4687251"/>
              <a:gd name="connsiteX35782" fmla="*/ 2427843 w 8079933"/>
              <a:gd name="connsiteY35782" fmla="*/ 351122 h 4687251"/>
              <a:gd name="connsiteX35783" fmla="*/ 2430773 w 8079933"/>
              <a:gd name="connsiteY35783" fmla="*/ 353504 h 4687251"/>
              <a:gd name="connsiteX35784" fmla="*/ 2430231 w 8079933"/>
              <a:gd name="connsiteY35784" fmla="*/ 356426 h 4687251"/>
              <a:gd name="connsiteX35785" fmla="*/ 2431207 w 8079933"/>
              <a:gd name="connsiteY35785" fmla="*/ 358700 h 4687251"/>
              <a:gd name="connsiteX35786" fmla="*/ 2429145 w 8079933"/>
              <a:gd name="connsiteY35786" fmla="*/ 360541 h 4687251"/>
              <a:gd name="connsiteX35787" fmla="*/ 2424045 w 8079933"/>
              <a:gd name="connsiteY35787" fmla="*/ 359242 h 4687251"/>
              <a:gd name="connsiteX35788" fmla="*/ 2417968 w 8079933"/>
              <a:gd name="connsiteY35788" fmla="*/ 364655 h 4687251"/>
              <a:gd name="connsiteX35789" fmla="*/ 2413844 w 8079933"/>
              <a:gd name="connsiteY35789" fmla="*/ 365738 h 4687251"/>
              <a:gd name="connsiteX35790" fmla="*/ 2407984 w 8079933"/>
              <a:gd name="connsiteY35790" fmla="*/ 361949 h 4687251"/>
              <a:gd name="connsiteX35791" fmla="*/ 2400930 w 8079933"/>
              <a:gd name="connsiteY35791" fmla="*/ 361840 h 4687251"/>
              <a:gd name="connsiteX35792" fmla="*/ 2394419 w 8079933"/>
              <a:gd name="connsiteY35792" fmla="*/ 357185 h 4687251"/>
              <a:gd name="connsiteX35793" fmla="*/ 2389102 w 8079933"/>
              <a:gd name="connsiteY35793" fmla="*/ 357185 h 4687251"/>
              <a:gd name="connsiteX35794" fmla="*/ 2384435 w 8079933"/>
              <a:gd name="connsiteY35794" fmla="*/ 354694 h 4687251"/>
              <a:gd name="connsiteX35795" fmla="*/ 2381289 w 8079933"/>
              <a:gd name="connsiteY35795" fmla="*/ 350580 h 4687251"/>
              <a:gd name="connsiteX35796" fmla="*/ 2376297 w 8079933"/>
              <a:gd name="connsiteY35796" fmla="*/ 351122 h 4687251"/>
              <a:gd name="connsiteX35797" fmla="*/ 2373367 w 8079933"/>
              <a:gd name="connsiteY35797" fmla="*/ 350580 h 4687251"/>
              <a:gd name="connsiteX35798" fmla="*/ 2372716 w 8079933"/>
              <a:gd name="connsiteY35798" fmla="*/ 343543 h 4687251"/>
              <a:gd name="connsiteX35799" fmla="*/ 2375212 w 8079933"/>
              <a:gd name="connsiteY35799" fmla="*/ 336180 h 4687251"/>
              <a:gd name="connsiteX35800" fmla="*/ 2378901 w 8079933"/>
              <a:gd name="connsiteY35800" fmla="*/ 332175 h 4687251"/>
              <a:gd name="connsiteX35801" fmla="*/ 2383676 w 8079933"/>
              <a:gd name="connsiteY35801" fmla="*/ 332390 h 4687251"/>
              <a:gd name="connsiteX35802" fmla="*/ 2227086 w 8079933"/>
              <a:gd name="connsiteY35802" fmla="*/ 327518 h 4687251"/>
              <a:gd name="connsiteX35803" fmla="*/ 2234031 w 8079933"/>
              <a:gd name="connsiteY35803" fmla="*/ 327518 h 4687251"/>
              <a:gd name="connsiteX35804" fmla="*/ 2232295 w 8079933"/>
              <a:gd name="connsiteY35804" fmla="*/ 331201 h 4687251"/>
              <a:gd name="connsiteX35805" fmla="*/ 2226761 w 8079933"/>
              <a:gd name="connsiteY35805" fmla="*/ 332607 h 4687251"/>
              <a:gd name="connsiteX35806" fmla="*/ 2223614 w 8079933"/>
              <a:gd name="connsiteY35806" fmla="*/ 330334 h 4687251"/>
              <a:gd name="connsiteX35807" fmla="*/ 4675331 w 8079933"/>
              <a:gd name="connsiteY35807" fmla="*/ 327410 h 4687251"/>
              <a:gd name="connsiteX35808" fmla="*/ 4679455 w 8079933"/>
              <a:gd name="connsiteY35808" fmla="*/ 329793 h 4687251"/>
              <a:gd name="connsiteX35809" fmla="*/ 4684772 w 8079933"/>
              <a:gd name="connsiteY35809" fmla="*/ 331524 h 4687251"/>
              <a:gd name="connsiteX35810" fmla="*/ 4684989 w 8079933"/>
              <a:gd name="connsiteY35810" fmla="*/ 335965 h 4687251"/>
              <a:gd name="connsiteX35811" fmla="*/ 4682710 w 8079933"/>
              <a:gd name="connsiteY35811" fmla="*/ 339862 h 4687251"/>
              <a:gd name="connsiteX35812" fmla="*/ 4681733 w 8079933"/>
              <a:gd name="connsiteY35812" fmla="*/ 344084 h 4687251"/>
              <a:gd name="connsiteX35813" fmla="*/ 4674788 w 8079933"/>
              <a:gd name="connsiteY35813" fmla="*/ 340294 h 4687251"/>
              <a:gd name="connsiteX35814" fmla="*/ 4673269 w 8079933"/>
              <a:gd name="connsiteY35814" fmla="*/ 336180 h 4687251"/>
              <a:gd name="connsiteX35815" fmla="*/ 4674246 w 8079933"/>
              <a:gd name="connsiteY35815" fmla="*/ 333366 h 4687251"/>
              <a:gd name="connsiteX35816" fmla="*/ 1962305 w 8079933"/>
              <a:gd name="connsiteY35816" fmla="*/ 324162 h 4687251"/>
              <a:gd name="connsiteX35817" fmla="*/ 1964367 w 8079933"/>
              <a:gd name="connsiteY35817" fmla="*/ 324596 h 4687251"/>
              <a:gd name="connsiteX35818" fmla="*/ 1962956 w 8079933"/>
              <a:gd name="connsiteY35818" fmla="*/ 328060 h 4687251"/>
              <a:gd name="connsiteX35819" fmla="*/ 1955903 w 8079933"/>
              <a:gd name="connsiteY35819" fmla="*/ 333474 h 4687251"/>
              <a:gd name="connsiteX35820" fmla="*/ 1948524 w 8079933"/>
              <a:gd name="connsiteY35820" fmla="*/ 338237 h 4687251"/>
              <a:gd name="connsiteX35821" fmla="*/ 1934308 w 8079933"/>
              <a:gd name="connsiteY35821" fmla="*/ 348956 h 4687251"/>
              <a:gd name="connsiteX35822" fmla="*/ 1929751 w 8079933"/>
              <a:gd name="connsiteY35822" fmla="*/ 354694 h 4687251"/>
              <a:gd name="connsiteX35823" fmla="*/ 1925953 w 8079933"/>
              <a:gd name="connsiteY35823" fmla="*/ 355994 h 4687251"/>
              <a:gd name="connsiteX35824" fmla="*/ 1923131 w 8079933"/>
              <a:gd name="connsiteY35824" fmla="*/ 355994 h 4687251"/>
              <a:gd name="connsiteX35825" fmla="*/ 1920960 w 8079933"/>
              <a:gd name="connsiteY35825" fmla="*/ 359025 h 4687251"/>
              <a:gd name="connsiteX35826" fmla="*/ 1918899 w 8079933"/>
              <a:gd name="connsiteY35826" fmla="*/ 359241 h 4687251"/>
              <a:gd name="connsiteX35827" fmla="*/ 1916945 w 8079933"/>
              <a:gd name="connsiteY35827" fmla="*/ 354044 h 4687251"/>
              <a:gd name="connsiteX35828" fmla="*/ 1913907 w 8079933"/>
              <a:gd name="connsiteY35828" fmla="*/ 353179 h 4687251"/>
              <a:gd name="connsiteX35829" fmla="*/ 1911303 w 8079933"/>
              <a:gd name="connsiteY35829" fmla="*/ 353936 h 4687251"/>
              <a:gd name="connsiteX35830" fmla="*/ 1909241 w 8079933"/>
              <a:gd name="connsiteY35830" fmla="*/ 352312 h 4687251"/>
              <a:gd name="connsiteX35831" fmla="*/ 1911845 w 8079933"/>
              <a:gd name="connsiteY35831" fmla="*/ 347007 h 4687251"/>
              <a:gd name="connsiteX35832" fmla="*/ 1921286 w 8079933"/>
              <a:gd name="connsiteY35832" fmla="*/ 339103 h 4687251"/>
              <a:gd name="connsiteX35833" fmla="*/ 1927797 w 8079933"/>
              <a:gd name="connsiteY35833" fmla="*/ 337047 h 4687251"/>
              <a:gd name="connsiteX35834" fmla="*/ 1931812 w 8079933"/>
              <a:gd name="connsiteY35834" fmla="*/ 333798 h 4687251"/>
              <a:gd name="connsiteX35835" fmla="*/ 1934742 w 8079933"/>
              <a:gd name="connsiteY35835" fmla="*/ 333474 h 4687251"/>
              <a:gd name="connsiteX35836" fmla="*/ 1941145 w 8079933"/>
              <a:gd name="connsiteY35836" fmla="*/ 328926 h 4687251"/>
              <a:gd name="connsiteX35837" fmla="*/ 1948198 w 8079933"/>
              <a:gd name="connsiteY35837" fmla="*/ 327735 h 4687251"/>
              <a:gd name="connsiteX35838" fmla="*/ 1951779 w 8079933"/>
              <a:gd name="connsiteY35838" fmla="*/ 325895 h 4687251"/>
              <a:gd name="connsiteX35839" fmla="*/ 1954167 w 8079933"/>
              <a:gd name="connsiteY35839" fmla="*/ 326219 h 4687251"/>
              <a:gd name="connsiteX35840" fmla="*/ 2534405 w 8079933"/>
              <a:gd name="connsiteY35840" fmla="*/ 323839 h 4687251"/>
              <a:gd name="connsiteX35841" fmla="*/ 2536141 w 8079933"/>
              <a:gd name="connsiteY35841" fmla="*/ 325138 h 4687251"/>
              <a:gd name="connsiteX35842" fmla="*/ 2534405 w 8079933"/>
              <a:gd name="connsiteY35842" fmla="*/ 328169 h 4687251"/>
              <a:gd name="connsiteX35843" fmla="*/ 2533862 w 8079933"/>
              <a:gd name="connsiteY35843" fmla="*/ 330876 h 4687251"/>
              <a:gd name="connsiteX35844" fmla="*/ 2528979 w 8079933"/>
              <a:gd name="connsiteY35844" fmla="*/ 335315 h 4687251"/>
              <a:gd name="connsiteX35845" fmla="*/ 2527026 w 8079933"/>
              <a:gd name="connsiteY35845" fmla="*/ 335748 h 4687251"/>
              <a:gd name="connsiteX35846" fmla="*/ 2527786 w 8079933"/>
              <a:gd name="connsiteY35846" fmla="*/ 331526 h 4687251"/>
              <a:gd name="connsiteX35847" fmla="*/ 2530932 w 8079933"/>
              <a:gd name="connsiteY35847" fmla="*/ 328386 h 4687251"/>
              <a:gd name="connsiteX35848" fmla="*/ 2531366 w 8079933"/>
              <a:gd name="connsiteY35848" fmla="*/ 325246 h 4687251"/>
              <a:gd name="connsiteX35849" fmla="*/ 6400746 w 8079933"/>
              <a:gd name="connsiteY35849" fmla="*/ 322755 h 4687251"/>
              <a:gd name="connsiteX35850" fmla="*/ 6404327 w 8079933"/>
              <a:gd name="connsiteY35850" fmla="*/ 322755 h 4687251"/>
              <a:gd name="connsiteX35851" fmla="*/ 6411054 w 8079933"/>
              <a:gd name="connsiteY35851" fmla="*/ 325462 h 4687251"/>
              <a:gd name="connsiteX35852" fmla="*/ 6414202 w 8079933"/>
              <a:gd name="connsiteY35852" fmla="*/ 323405 h 4687251"/>
              <a:gd name="connsiteX35853" fmla="*/ 6418434 w 8079933"/>
              <a:gd name="connsiteY35853" fmla="*/ 323405 h 4687251"/>
              <a:gd name="connsiteX35854" fmla="*/ 6423101 w 8079933"/>
              <a:gd name="connsiteY35854" fmla="*/ 328061 h 4687251"/>
              <a:gd name="connsiteX35855" fmla="*/ 6429720 w 8079933"/>
              <a:gd name="connsiteY35855" fmla="*/ 329793 h 4687251"/>
              <a:gd name="connsiteX35856" fmla="*/ 6436014 w 8079933"/>
              <a:gd name="connsiteY35856" fmla="*/ 330334 h 4687251"/>
              <a:gd name="connsiteX35857" fmla="*/ 6445671 w 8079933"/>
              <a:gd name="connsiteY35857" fmla="*/ 338021 h 4687251"/>
              <a:gd name="connsiteX35858" fmla="*/ 6451423 w 8079933"/>
              <a:gd name="connsiteY35858" fmla="*/ 345383 h 4687251"/>
              <a:gd name="connsiteX35859" fmla="*/ 6453485 w 8079933"/>
              <a:gd name="connsiteY35859" fmla="*/ 349931 h 4687251"/>
              <a:gd name="connsiteX35860" fmla="*/ 6457718 w 8079933"/>
              <a:gd name="connsiteY35860" fmla="*/ 353505 h 4687251"/>
              <a:gd name="connsiteX35861" fmla="*/ 6453485 w 8079933"/>
              <a:gd name="connsiteY35861" fmla="*/ 357293 h 4687251"/>
              <a:gd name="connsiteX35862" fmla="*/ 6448601 w 8079933"/>
              <a:gd name="connsiteY35862" fmla="*/ 356101 h 4687251"/>
              <a:gd name="connsiteX35863" fmla="*/ 6441005 w 8079933"/>
              <a:gd name="connsiteY35863" fmla="*/ 356752 h 4687251"/>
              <a:gd name="connsiteX35864" fmla="*/ 6436556 w 8079933"/>
              <a:gd name="connsiteY35864" fmla="*/ 359675 h 4687251"/>
              <a:gd name="connsiteX35865" fmla="*/ 6425596 w 8079933"/>
              <a:gd name="connsiteY35865" fmla="*/ 359567 h 4687251"/>
              <a:gd name="connsiteX35866" fmla="*/ 6418977 w 8079933"/>
              <a:gd name="connsiteY35866" fmla="*/ 360867 h 4687251"/>
              <a:gd name="connsiteX35867" fmla="*/ 6409318 w 8079933"/>
              <a:gd name="connsiteY35867" fmla="*/ 360758 h 4687251"/>
              <a:gd name="connsiteX35868" fmla="*/ 6402156 w 8079933"/>
              <a:gd name="connsiteY35868" fmla="*/ 359135 h 4687251"/>
              <a:gd name="connsiteX35869" fmla="*/ 6394886 w 8079933"/>
              <a:gd name="connsiteY35869" fmla="*/ 363465 h 4687251"/>
              <a:gd name="connsiteX35870" fmla="*/ 6391304 w 8079933"/>
              <a:gd name="connsiteY35870" fmla="*/ 368987 h 4687251"/>
              <a:gd name="connsiteX35871" fmla="*/ 6388158 w 8079933"/>
              <a:gd name="connsiteY35871" fmla="*/ 370719 h 4687251"/>
              <a:gd name="connsiteX35872" fmla="*/ 6384685 w 8079933"/>
              <a:gd name="connsiteY35872" fmla="*/ 370176 h 4687251"/>
              <a:gd name="connsiteX35873" fmla="*/ 6385011 w 8079933"/>
              <a:gd name="connsiteY35873" fmla="*/ 366063 h 4687251"/>
              <a:gd name="connsiteX35874" fmla="*/ 6389894 w 8079933"/>
              <a:gd name="connsiteY35874" fmla="*/ 361948 h 4687251"/>
              <a:gd name="connsiteX35875" fmla="*/ 6393041 w 8079933"/>
              <a:gd name="connsiteY35875" fmla="*/ 350580 h 4687251"/>
              <a:gd name="connsiteX35876" fmla="*/ 6393150 w 8079933"/>
              <a:gd name="connsiteY35876" fmla="*/ 340620 h 4687251"/>
              <a:gd name="connsiteX35877" fmla="*/ 6391630 w 8079933"/>
              <a:gd name="connsiteY35877" fmla="*/ 335423 h 4687251"/>
              <a:gd name="connsiteX35878" fmla="*/ 6396947 w 8079933"/>
              <a:gd name="connsiteY35878" fmla="*/ 327953 h 4687251"/>
              <a:gd name="connsiteX35879" fmla="*/ 1896437 w 8079933"/>
              <a:gd name="connsiteY35879" fmla="*/ 318748 h 4687251"/>
              <a:gd name="connsiteX35880" fmla="*/ 1896437 w 8079933"/>
              <a:gd name="connsiteY35880" fmla="*/ 320913 h 4687251"/>
              <a:gd name="connsiteX35881" fmla="*/ 1891554 w 8079933"/>
              <a:gd name="connsiteY35881" fmla="*/ 324486 h 4687251"/>
              <a:gd name="connsiteX35882" fmla="*/ 1891554 w 8079933"/>
              <a:gd name="connsiteY35882" fmla="*/ 322646 h 4687251"/>
              <a:gd name="connsiteX35883" fmla="*/ 4826710 w 8079933"/>
              <a:gd name="connsiteY35883" fmla="*/ 316910 h 4687251"/>
              <a:gd name="connsiteX35884" fmla="*/ 4830943 w 8079933"/>
              <a:gd name="connsiteY35884" fmla="*/ 319183 h 4687251"/>
              <a:gd name="connsiteX35885" fmla="*/ 4832787 w 8079933"/>
              <a:gd name="connsiteY35885" fmla="*/ 326221 h 4687251"/>
              <a:gd name="connsiteX35886" fmla="*/ 4828881 w 8079933"/>
              <a:gd name="connsiteY35886" fmla="*/ 333257 h 4687251"/>
              <a:gd name="connsiteX35887" fmla="*/ 4823021 w 8079933"/>
              <a:gd name="connsiteY35887" fmla="*/ 332717 h 4687251"/>
              <a:gd name="connsiteX35888" fmla="*/ 4819006 w 8079933"/>
              <a:gd name="connsiteY35888" fmla="*/ 328603 h 4687251"/>
              <a:gd name="connsiteX35889" fmla="*/ 4813689 w 8079933"/>
              <a:gd name="connsiteY35889" fmla="*/ 325679 h 4687251"/>
              <a:gd name="connsiteX35890" fmla="*/ 4814014 w 8079933"/>
              <a:gd name="connsiteY35890" fmla="*/ 322756 h 4687251"/>
              <a:gd name="connsiteX35891" fmla="*/ 4820742 w 8079933"/>
              <a:gd name="connsiteY35891" fmla="*/ 318425 h 4687251"/>
              <a:gd name="connsiteX35892" fmla="*/ 4737836 w 8079933"/>
              <a:gd name="connsiteY35892" fmla="*/ 316585 h 4687251"/>
              <a:gd name="connsiteX35893" fmla="*/ 4740657 w 8079933"/>
              <a:gd name="connsiteY35893" fmla="*/ 317558 h 4687251"/>
              <a:gd name="connsiteX35894" fmla="*/ 4742718 w 8079933"/>
              <a:gd name="connsiteY35894" fmla="*/ 321131 h 4687251"/>
              <a:gd name="connsiteX35895" fmla="*/ 4742501 w 8079933"/>
              <a:gd name="connsiteY35895" fmla="*/ 325787 h 4687251"/>
              <a:gd name="connsiteX35896" fmla="*/ 4739572 w 8079933"/>
              <a:gd name="connsiteY35896" fmla="*/ 324596 h 4687251"/>
              <a:gd name="connsiteX35897" fmla="*/ 4738053 w 8079933"/>
              <a:gd name="connsiteY35897" fmla="*/ 320483 h 4687251"/>
              <a:gd name="connsiteX35898" fmla="*/ 4726009 w 8079933"/>
              <a:gd name="connsiteY35898" fmla="*/ 316151 h 4687251"/>
              <a:gd name="connsiteX35899" fmla="*/ 4729807 w 8079933"/>
              <a:gd name="connsiteY35899" fmla="*/ 320483 h 4687251"/>
              <a:gd name="connsiteX35900" fmla="*/ 4733171 w 8079933"/>
              <a:gd name="connsiteY35900" fmla="*/ 320374 h 4687251"/>
              <a:gd name="connsiteX35901" fmla="*/ 4734256 w 8079933"/>
              <a:gd name="connsiteY35901" fmla="*/ 324489 h 4687251"/>
              <a:gd name="connsiteX35902" fmla="*/ 4731977 w 8079933"/>
              <a:gd name="connsiteY35902" fmla="*/ 330011 h 4687251"/>
              <a:gd name="connsiteX35903" fmla="*/ 4727203 w 8079933"/>
              <a:gd name="connsiteY35903" fmla="*/ 333366 h 4687251"/>
              <a:gd name="connsiteX35904" fmla="*/ 4720149 w 8079933"/>
              <a:gd name="connsiteY35904" fmla="*/ 331634 h 4687251"/>
              <a:gd name="connsiteX35905" fmla="*/ 4718087 w 8079933"/>
              <a:gd name="connsiteY35905" fmla="*/ 328929 h 4687251"/>
              <a:gd name="connsiteX35906" fmla="*/ 4722210 w 8079933"/>
              <a:gd name="connsiteY35906" fmla="*/ 325790 h 4687251"/>
              <a:gd name="connsiteX35907" fmla="*/ 4722210 w 8079933"/>
              <a:gd name="connsiteY35907" fmla="*/ 322432 h 4687251"/>
              <a:gd name="connsiteX35908" fmla="*/ 4719823 w 8079933"/>
              <a:gd name="connsiteY35908" fmla="*/ 318641 h 4687251"/>
              <a:gd name="connsiteX35909" fmla="*/ 4723187 w 8079933"/>
              <a:gd name="connsiteY35909" fmla="*/ 316369 h 4687251"/>
              <a:gd name="connsiteX35910" fmla="*/ 2014611 w 8079933"/>
              <a:gd name="connsiteY35910" fmla="*/ 313876 h 4687251"/>
              <a:gd name="connsiteX35911" fmla="*/ 2018735 w 8079933"/>
              <a:gd name="connsiteY35911" fmla="*/ 314850 h 4687251"/>
              <a:gd name="connsiteX35912" fmla="*/ 2026331 w 8079933"/>
              <a:gd name="connsiteY35912" fmla="*/ 314525 h 4687251"/>
              <a:gd name="connsiteX35913" fmla="*/ 2031214 w 8079933"/>
              <a:gd name="connsiteY35913" fmla="*/ 318640 h 4687251"/>
              <a:gd name="connsiteX35914" fmla="*/ 2033276 w 8079933"/>
              <a:gd name="connsiteY35914" fmla="*/ 325895 h 4687251"/>
              <a:gd name="connsiteX35915" fmla="*/ 2029478 w 8079933"/>
              <a:gd name="connsiteY35915" fmla="*/ 327952 h 4687251"/>
              <a:gd name="connsiteX35916" fmla="*/ 2025680 w 8079933"/>
              <a:gd name="connsiteY35916" fmla="*/ 333798 h 4687251"/>
              <a:gd name="connsiteX35917" fmla="*/ 2026982 w 8079933"/>
              <a:gd name="connsiteY35917" fmla="*/ 337912 h 4687251"/>
              <a:gd name="connsiteX35918" fmla="*/ 2036206 w 8079933"/>
              <a:gd name="connsiteY35918" fmla="*/ 337371 h 4687251"/>
              <a:gd name="connsiteX35919" fmla="*/ 2039136 w 8079933"/>
              <a:gd name="connsiteY35919" fmla="*/ 335531 h 4687251"/>
              <a:gd name="connsiteX35920" fmla="*/ 2042065 w 8079933"/>
              <a:gd name="connsiteY35920" fmla="*/ 337371 h 4687251"/>
              <a:gd name="connsiteX35921" fmla="*/ 2044996 w 8079933"/>
              <a:gd name="connsiteY35921" fmla="*/ 337371 h 4687251"/>
              <a:gd name="connsiteX35922" fmla="*/ 2046515 w 8079933"/>
              <a:gd name="connsiteY35922" fmla="*/ 340511 h 4687251"/>
              <a:gd name="connsiteX35923" fmla="*/ 2047275 w 8079933"/>
              <a:gd name="connsiteY35923" fmla="*/ 343218 h 4687251"/>
              <a:gd name="connsiteX35924" fmla="*/ 2049988 w 8079933"/>
              <a:gd name="connsiteY35924" fmla="*/ 345925 h 4687251"/>
              <a:gd name="connsiteX35925" fmla="*/ 2049662 w 8079933"/>
              <a:gd name="connsiteY35925" fmla="*/ 349281 h 4687251"/>
              <a:gd name="connsiteX35926" fmla="*/ 2046732 w 8079933"/>
              <a:gd name="connsiteY35926" fmla="*/ 350796 h 4687251"/>
              <a:gd name="connsiteX35927" fmla="*/ 2044996 w 8079933"/>
              <a:gd name="connsiteY35927" fmla="*/ 354044 h 4687251"/>
              <a:gd name="connsiteX35928" fmla="*/ 2049120 w 8079933"/>
              <a:gd name="connsiteY35928" fmla="*/ 359350 h 4687251"/>
              <a:gd name="connsiteX35929" fmla="*/ 2049771 w 8079933"/>
              <a:gd name="connsiteY35929" fmla="*/ 369202 h 4687251"/>
              <a:gd name="connsiteX35930" fmla="*/ 2048143 w 8079933"/>
              <a:gd name="connsiteY35930" fmla="*/ 372451 h 4687251"/>
              <a:gd name="connsiteX35931" fmla="*/ 2043260 w 8079933"/>
              <a:gd name="connsiteY35931" fmla="*/ 370935 h 4687251"/>
              <a:gd name="connsiteX35932" fmla="*/ 2038919 w 8079933"/>
              <a:gd name="connsiteY35932" fmla="*/ 372667 h 4687251"/>
              <a:gd name="connsiteX35933" fmla="*/ 2040112 w 8079933"/>
              <a:gd name="connsiteY35933" fmla="*/ 375590 h 4687251"/>
              <a:gd name="connsiteX35934" fmla="*/ 2044453 w 8079933"/>
              <a:gd name="connsiteY35934" fmla="*/ 374616 h 4687251"/>
              <a:gd name="connsiteX35935" fmla="*/ 2049771 w 8079933"/>
              <a:gd name="connsiteY35935" fmla="*/ 376890 h 4687251"/>
              <a:gd name="connsiteX35936" fmla="*/ 2053026 w 8079933"/>
              <a:gd name="connsiteY35936" fmla="*/ 376890 h 4687251"/>
              <a:gd name="connsiteX35937" fmla="*/ 2049771 w 8079933"/>
              <a:gd name="connsiteY35937" fmla="*/ 386742 h 4687251"/>
              <a:gd name="connsiteX35938" fmla="*/ 2046190 w 8079933"/>
              <a:gd name="connsiteY35938" fmla="*/ 389774 h 4687251"/>
              <a:gd name="connsiteX35939" fmla="*/ 2045864 w 8079933"/>
              <a:gd name="connsiteY35939" fmla="*/ 398436 h 4687251"/>
              <a:gd name="connsiteX35940" fmla="*/ 2048468 w 8079933"/>
              <a:gd name="connsiteY35940" fmla="*/ 399735 h 4687251"/>
              <a:gd name="connsiteX35941" fmla="*/ 2053786 w 8079933"/>
              <a:gd name="connsiteY35941" fmla="*/ 398436 h 4687251"/>
              <a:gd name="connsiteX35942" fmla="*/ 2056499 w 8079933"/>
              <a:gd name="connsiteY35942" fmla="*/ 395188 h 4687251"/>
              <a:gd name="connsiteX35943" fmla="*/ 2058560 w 8079933"/>
              <a:gd name="connsiteY35943" fmla="*/ 397245 h 4687251"/>
              <a:gd name="connsiteX35944" fmla="*/ 2059645 w 8079933"/>
              <a:gd name="connsiteY35944" fmla="*/ 400601 h 4687251"/>
              <a:gd name="connsiteX35945" fmla="*/ 2064963 w 8079933"/>
              <a:gd name="connsiteY35945" fmla="*/ 401359 h 4687251"/>
              <a:gd name="connsiteX35946" fmla="*/ 2067676 w 8079933"/>
              <a:gd name="connsiteY35946" fmla="*/ 400601 h 4687251"/>
              <a:gd name="connsiteX35947" fmla="*/ 2076357 w 8079933"/>
              <a:gd name="connsiteY35947" fmla="*/ 402874 h 4687251"/>
              <a:gd name="connsiteX35948" fmla="*/ 2079830 w 8079933"/>
              <a:gd name="connsiteY35948" fmla="*/ 408180 h 4687251"/>
              <a:gd name="connsiteX35949" fmla="*/ 2082868 w 8079933"/>
              <a:gd name="connsiteY35949" fmla="*/ 407206 h 4687251"/>
              <a:gd name="connsiteX35950" fmla="*/ 2082217 w 8079933"/>
              <a:gd name="connsiteY35950" fmla="*/ 404066 h 4687251"/>
              <a:gd name="connsiteX35951" fmla="*/ 2080698 w 8079933"/>
              <a:gd name="connsiteY35951" fmla="*/ 402659 h 4687251"/>
              <a:gd name="connsiteX35952" fmla="*/ 2087860 w 8079933"/>
              <a:gd name="connsiteY35952" fmla="*/ 399085 h 4687251"/>
              <a:gd name="connsiteX35953" fmla="*/ 2086015 w 8079933"/>
              <a:gd name="connsiteY35953" fmla="*/ 391181 h 4687251"/>
              <a:gd name="connsiteX35954" fmla="*/ 2081675 w 8079933"/>
              <a:gd name="connsiteY35954" fmla="*/ 386418 h 4687251"/>
              <a:gd name="connsiteX35955" fmla="*/ 2082000 w 8079933"/>
              <a:gd name="connsiteY35955" fmla="*/ 382953 h 4687251"/>
              <a:gd name="connsiteX35956" fmla="*/ 2079287 w 8079933"/>
              <a:gd name="connsiteY35956" fmla="*/ 378947 h 4687251"/>
              <a:gd name="connsiteX35957" fmla="*/ 2081457 w 8079933"/>
              <a:gd name="connsiteY35957" fmla="*/ 376565 h 4687251"/>
              <a:gd name="connsiteX35958" fmla="*/ 2084387 w 8079933"/>
              <a:gd name="connsiteY35958" fmla="*/ 376565 h 4687251"/>
              <a:gd name="connsiteX35959" fmla="*/ 2091333 w 8079933"/>
              <a:gd name="connsiteY35959" fmla="*/ 373858 h 4687251"/>
              <a:gd name="connsiteX35960" fmla="*/ 2096324 w 8079933"/>
              <a:gd name="connsiteY35960" fmla="*/ 374292 h 4687251"/>
              <a:gd name="connsiteX35961" fmla="*/ 2098712 w 8079933"/>
              <a:gd name="connsiteY35961" fmla="*/ 367578 h 4687251"/>
              <a:gd name="connsiteX35962" fmla="*/ 2095673 w 8079933"/>
              <a:gd name="connsiteY35962" fmla="*/ 360541 h 4687251"/>
              <a:gd name="connsiteX35963" fmla="*/ 2093394 w 8079933"/>
              <a:gd name="connsiteY35963" fmla="*/ 358159 h 4687251"/>
              <a:gd name="connsiteX35964" fmla="*/ 2093720 w 8079933"/>
              <a:gd name="connsiteY35964" fmla="*/ 352854 h 4687251"/>
              <a:gd name="connsiteX35965" fmla="*/ 2091549 w 8079933"/>
              <a:gd name="connsiteY35965" fmla="*/ 347223 h 4687251"/>
              <a:gd name="connsiteX35966" fmla="*/ 2095782 w 8079933"/>
              <a:gd name="connsiteY35966" fmla="*/ 341160 h 4687251"/>
              <a:gd name="connsiteX35967" fmla="*/ 2099580 w 8079933"/>
              <a:gd name="connsiteY35967" fmla="*/ 338778 h 4687251"/>
              <a:gd name="connsiteX35968" fmla="*/ 2101967 w 8079933"/>
              <a:gd name="connsiteY35968" fmla="*/ 339645 h 4687251"/>
              <a:gd name="connsiteX35969" fmla="*/ 2106850 w 8079933"/>
              <a:gd name="connsiteY35969" fmla="*/ 339754 h 4687251"/>
              <a:gd name="connsiteX35970" fmla="*/ 2105656 w 8079933"/>
              <a:gd name="connsiteY35970" fmla="*/ 337047 h 4687251"/>
              <a:gd name="connsiteX35971" fmla="*/ 2107718 w 8079933"/>
              <a:gd name="connsiteY35971" fmla="*/ 332932 h 4687251"/>
              <a:gd name="connsiteX35972" fmla="*/ 2113253 w 8079933"/>
              <a:gd name="connsiteY35972" fmla="*/ 330983 h 4687251"/>
              <a:gd name="connsiteX35973" fmla="*/ 2123888 w 8079933"/>
              <a:gd name="connsiteY35973" fmla="*/ 321023 h 4687251"/>
              <a:gd name="connsiteX35974" fmla="*/ 2127034 w 8079933"/>
              <a:gd name="connsiteY35974" fmla="*/ 321347 h 4687251"/>
              <a:gd name="connsiteX35975" fmla="*/ 2133762 w 8079933"/>
              <a:gd name="connsiteY35975" fmla="*/ 324595 h 4687251"/>
              <a:gd name="connsiteX35976" fmla="*/ 2132677 w 8079933"/>
              <a:gd name="connsiteY35976" fmla="*/ 327411 h 4687251"/>
              <a:gd name="connsiteX35977" fmla="*/ 2134631 w 8079933"/>
              <a:gd name="connsiteY35977" fmla="*/ 331201 h 4687251"/>
              <a:gd name="connsiteX35978" fmla="*/ 2133220 w 8079933"/>
              <a:gd name="connsiteY35978" fmla="*/ 334123 h 4687251"/>
              <a:gd name="connsiteX35979" fmla="*/ 2128879 w 8079933"/>
              <a:gd name="connsiteY35979" fmla="*/ 334231 h 4687251"/>
              <a:gd name="connsiteX35980" fmla="*/ 2126166 w 8079933"/>
              <a:gd name="connsiteY35980" fmla="*/ 337047 h 4687251"/>
              <a:gd name="connsiteX35981" fmla="*/ 2126166 w 8079933"/>
              <a:gd name="connsiteY35981" fmla="*/ 340836 h 4687251"/>
              <a:gd name="connsiteX35982" fmla="*/ 2124755 w 8079933"/>
              <a:gd name="connsiteY35982" fmla="*/ 345492 h 4687251"/>
              <a:gd name="connsiteX35983" fmla="*/ 2124755 w 8079933"/>
              <a:gd name="connsiteY35983" fmla="*/ 351338 h 4687251"/>
              <a:gd name="connsiteX35984" fmla="*/ 2126166 w 8079933"/>
              <a:gd name="connsiteY35984" fmla="*/ 353070 h 4687251"/>
              <a:gd name="connsiteX35985" fmla="*/ 2126166 w 8079933"/>
              <a:gd name="connsiteY35985" fmla="*/ 364547 h 4687251"/>
              <a:gd name="connsiteX35986" fmla="*/ 2123888 w 8079933"/>
              <a:gd name="connsiteY35986" fmla="*/ 366604 h 4687251"/>
              <a:gd name="connsiteX35987" fmla="*/ 2121500 w 8079933"/>
              <a:gd name="connsiteY35987" fmla="*/ 366604 h 4687251"/>
              <a:gd name="connsiteX35988" fmla="*/ 2114772 w 8079933"/>
              <a:gd name="connsiteY35988" fmla="*/ 372667 h 4687251"/>
              <a:gd name="connsiteX35989" fmla="*/ 2110974 w 8079933"/>
              <a:gd name="connsiteY35989" fmla="*/ 375374 h 4687251"/>
              <a:gd name="connsiteX35990" fmla="*/ 2110974 w 8079933"/>
              <a:gd name="connsiteY35990" fmla="*/ 377106 h 4687251"/>
              <a:gd name="connsiteX35991" fmla="*/ 2113361 w 8079933"/>
              <a:gd name="connsiteY35991" fmla="*/ 377215 h 4687251"/>
              <a:gd name="connsiteX35992" fmla="*/ 2117485 w 8079933"/>
              <a:gd name="connsiteY35992" fmla="*/ 376024 h 4687251"/>
              <a:gd name="connsiteX35993" fmla="*/ 2124430 w 8079933"/>
              <a:gd name="connsiteY35993" fmla="*/ 376457 h 4687251"/>
              <a:gd name="connsiteX35994" fmla="*/ 2125623 w 8079933"/>
              <a:gd name="connsiteY35994" fmla="*/ 378838 h 4687251"/>
              <a:gd name="connsiteX35995" fmla="*/ 2122151 w 8079933"/>
              <a:gd name="connsiteY35995" fmla="*/ 384144 h 4687251"/>
              <a:gd name="connsiteX35996" fmla="*/ 2114555 w 8079933"/>
              <a:gd name="connsiteY35996" fmla="*/ 388475 h 4687251"/>
              <a:gd name="connsiteX35997" fmla="*/ 2108044 w 8079933"/>
              <a:gd name="connsiteY35997" fmla="*/ 394322 h 4687251"/>
              <a:gd name="connsiteX35998" fmla="*/ 2106525 w 8079933"/>
              <a:gd name="connsiteY35998" fmla="*/ 398544 h 4687251"/>
              <a:gd name="connsiteX35999" fmla="*/ 2108369 w 8079933"/>
              <a:gd name="connsiteY35999" fmla="*/ 400926 h 4687251"/>
              <a:gd name="connsiteX36000" fmla="*/ 2110648 w 8079933"/>
              <a:gd name="connsiteY36000" fmla="*/ 396487 h 4687251"/>
              <a:gd name="connsiteX36001" fmla="*/ 2118895 w 8079933"/>
              <a:gd name="connsiteY36001" fmla="*/ 392698 h 4687251"/>
              <a:gd name="connsiteX36002" fmla="*/ 2121934 w 8079933"/>
              <a:gd name="connsiteY36002" fmla="*/ 389666 h 4687251"/>
              <a:gd name="connsiteX36003" fmla="*/ 2124864 w 8079933"/>
              <a:gd name="connsiteY36003" fmla="*/ 388475 h 4687251"/>
              <a:gd name="connsiteX36004" fmla="*/ 2131266 w 8079933"/>
              <a:gd name="connsiteY36004" fmla="*/ 391506 h 4687251"/>
              <a:gd name="connsiteX36005" fmla="*/ 2130616 w 8079933"/>
              <a:gd name="connsiteY36005" fmla="*/ 397569 h 4687251"/>
              <a:gd name="connsiteX36006" fmla="*/ 2127034 w 8079933"/>
              <a:gd name="connsiteY36006" fmla="*/ 404390 h 4687251"/>
              <a:gd name="connsiteX36007" fmla="*/ 2128011 w 8079933"/>
              <a:gd name="connsiteY36007" fmla="*/ 406989 h 4687251"/>
              <a:gd name="connsiteX36008" fmla="*/ 2132460 w 8079933"/>
              <a:gd name="connsiteY36008" fmla="*/ 402225 h 4687251"/>
              <a:gd name="connsiteX36009" fmla="*/ 2136259 w 8079933"/>
              <a:gd name="connsiteY36009" fmla="*/ 402659 h 4687251"/>
              <a:gd name="connsiteX36010" fmla="*/ 2137127 w 8079933"/>
              <a:gd name="connsiteY36010" fmla="*/ 399952 h 4687251"/>
              <a:gd name="connsiteX36011" fmla="*/ 2136150 w 8079933"/>
              <a:gd name="connsiteY36011" fmla="*/ 398761 h 4687251"/>
              <a:gd name="connsiteX36012" fmla="*/ 2138863 w 8079933"/>
              <a:gd name="connsiteY36012" fmla="*/ 394322 h 4687251"/>
              <a:gd name="connsiteX36013" fmla="*/ 2139622 w 8079933"/>
              <a:gd name="connsiteY36013" fmla="*/ 389449 h 4687251"/>
              <a:gd name="connsiteX36014" fmla="*/ 2147001 w 8079933"/>
              <a:gd name="connsiteY36014" fmla="*/ 384144 h 4687251"/>
              <a:gd name="connsiteX36015" fmla="*/ 2149931 w 8079933"/>
              <a:gd name="connsiteY36015" fmla="*/ 383927 h 4687251"/>
              <a:gd name="connsiteX36016" fmla="*/ 2155791 w 8079933"/>
              <a:gd name="connsiteY36016" fmla="*/ 387717 h 4687251"/>
              <a:gd name="connsiteX36017" fmla="*/ 2158504 w 8079933"/>
              <a:gd name="connsiteY36017" fmla="*/ 395295 h 4687251"/>
              <a:gd name="connsiteX36018" fmla="*/ 2160566 w 8079933"/>
              <a:gd name="connsiteY36018" fmla="*/ 398869 h 4687251"/>
              <a:gd name="connsiteX36019" fmla="*/ 2159264 w 8079933"/>
              <a:gd name="connsiteY36019" fmla="*/ 405581 h 4687251"/>
              <a:gd name="connsiteX36020" fmla="*/ 2153187 w 8079933"/>
              <a:gd name="connsiteY36020" fmla="*/ 416841 h 4687251"/>
              <a:gd name="connsiteX36021" fmla="*/ 2147653 w 8079933"/>
              <a:gd name="connsiteY36021" fmla="*/ 421606 h 4687251"/>
              <a:gd name="connsiteX36022" fmla="*/ 2143203 w 8079933"/>
              <a:gd name="connsiteY36022" fmla="*/ 423663 h 4687251"/>
              <a:gd name="connsiteX36023" fmla="*/ 2139948 w 8079933"/>
              <a:gd name="connsiteY36023" fmla="*/ 423988 h 4687251"/>
              <a:gd name="connsiteX36024" fmla="*/ 2138754 w 8079933"/>
              <a:gd name="connsiteY36024" fmla="*/ 426045 h 4687251"/>
              <a:gd name="connsiteX36025" fmla="*/ 2139405 w 8079933"/>
              <a:gd name="connsiteY36025" fmla="*/ 429726 h 4687251"/>
              <a:gd name="connsiteX36026" fmla="*/ 2134414 w 8079933"/>
              <a:gd name="connsiteY36026" fmla="*/ 436547 h 4687251"/>
              <a:gd name="connsiteX36027" fmla="*/ 2130616 w 8079933"/>
              <a:gd name="connsiteY36027" fmla="*/ 436763 h 4687251"/>
              <a:gd name="connsiteX36028" fmla="*/ 2126166 w 8079933"/>
              <a:gd name="connsiteY36028" fmla="*/ 440012 h 4687251"/>
              <a:gd name="connsiteX36029" fmla="*/ 2126275 w 8079933"/>
              <a:gd name="connsiteY36029" fmla="*/ 443909 h 4687251"/>
              <a:gd name="connsiteX36030" fmla="*/ 2124538 w 8079933"/>
              <a:gd name="connsiteY36030" fmla="*/ 446400 h 4687251"/>
              <a:gd name="connsiteX36031" fmla="*/ 2121825 w 8079933"/>
              <a:gd name="connsiteY36031" fmla="*/ 446507 h 4687251"/>
              <a:gd name="connsiteX36032" fmla="*/ 2119655 w 8079933"/>
              <a:gd name="connsiteY36032" fmla="*/ 447807 h 4687251"/>
              <a:gd name="connsiteX36033" fmla="*/ 2119655 w 8079933"/>
              <a:gd name="connsiteY36033" fmla="*/ 450406 h 4687251"/>
              <a:gd name="connsiteX36034" fmla="*/ 2117485 w 8079933"/>
              <a:gd name="connsiteY36034" fmla="*/ 451597 h 4687251"/>
              <a:gd name="connsiteX36035" fmla="*/ 2114121 w 8079933"/>
              <a:gd name="connsiteY36035" fmla="*/ 448781 h 4687251"/>
              <a:gd name="connsiteX36036" fmla="*/ 2109998 w 8079933"/>
              <a:gd name="connsiteY36036" fmla="*/ 450622 h 4687251"/>
              <a:gd name="connsiteX36037" fmla="*/ 2106633 w 8079933"/>
              <a:gd name="connsiteY36037" fmla="*/ 449864 h 4687251"/>
              <a:gd name="connsiteX36038" fmla="*/ 2098820 w 8079933"/>
              <a:gd name="connsiteY36038" fmla="*/ 453762 h 4687251"/>
              <a:gd name="connsiteX36039" fmla="*/ 2091766 w 8079933"/>
              <a:gd name="connsiteY36039" fmla="*/ 454845 h 4687251"/>
              <a:gd name="connsiteX36040" fmla="*/ 2086123 w 8079933"/>
              <a:gd name="connsiteY36040" fmla="*/ 452354 h 4687251"/>
              <a:gd name="connsiteX36041" fmla="*/ 2084821 w 8079933"/>
              <a:gd name="connsiteY36041" fmla="*/ 449215 h 4687251"/>
              <a:gd name="connsiteX36042" fmla="*/ 2087643 w 8079933"/>
              <a:gd name="connsiteY36042" fmla="*/ 445317 h 4687251"/>
              <a:gd name="connsiteX36043" fmla="*/ 2087209 w 8079933"/>
              <a:gd name="connsiteY36043" fmla="*/ 442502 h 4687251"/>
              <a:gd name="connsiteX36044" fmla="*/ 2085690 w 8079933"/>
              <a:gd name="connsiteY36044" fmla="*/ 442177 h 4687251"/>
              <a:gd name="connsiteX36045" fmla="*/ 2080698 w 8079933"/>
              <a:gd name="connsiteY36045" fmla="*/ 444450 h 4687251"/>
              <a:gd name="connsiteX36046" fmla="*/ 2079612 w 8079933"/>
              <a:gd name="connsiteY36046" fmla="*/ 447374 h 4687251"/>
              <a:gd name="connsiteX36047" fmla="*/ 2075923 w 8079933"/>
              <a:gd name="connsiteY36047" fmla="*/ 448781 h 4687251"/>
              <a:gd name="connsiteX36048" fmla="*/ 2069955 w 8079933"/>
              <a:gd name="connsiteY36048" fmla="*/ 446940 h 4687251"/>
              <a:gd name="connsiteX36049" fmla="*/ 2069955 w 8079933"/>
              <a:gd name="connsiteY36049" fmla="*/ 444126 h 4687251"/>
              <a:gd name="connsiteX36050" fmla="*/ 2071908 w 8079933"/>
              <a:gd name="connsiteY36050" fmla="*/ 441636 h 4687251"/>
              <a:gd name="connsiteX36051" fmla="*/ 2070606 w 8079933"/>
              <a:gd name="connsiteY36051" fmla="*/ 438171 h 4687251"/>
              <a:gd name="connsiteX36052" fmla="*/ 2067459 w 8079933"/>
              <a:gd name="connsiteY36052" fmla="*/ 437089 h 4687251"/>
              <a:gd name="connsiteX36053" fmla="*/ 2067133 w 8079933"/>
              <a:gd name="connsiteY36053" fmla="*/ 439903 h 4687251"/>
              <a:gd name="connsiteX36054" fmla="*/ 2064312 w 8079933"/>
              <a:gd name="connsiteY36054" fmla="*/ 441744 h 4687251"/>
              <a:gd name="connsiteX36055" fmla="*/ 2060839 w 8079933"/>
              <a:gd name="connsiteY36055" fmla="*/ 441744 h 4687251"/>
              <a:gd name="connsiteX36056" fmla="*/ 2053243 w 8079933"/>
              <a:gd name="connsiteY36056" fmla="*/ 445101 h 4687251"/>
              <a:gd name="connsiteX36057" fmla="*/ 2050964 w 8079933"/>
              <a:gd name="connsiteY36057" fmla="*/ 446940 h 4687251"/>
              <a:gd name="connsiteX36058" fmla="*/ 2045972 w 8079933"/>
              <a:gd name="connsiteY36058" fmla="*/ 446832 h 4687251"/>
              <a:gd name="connsiteX36059" fmla="*/ 2044237 w 8079933"/>
              <a:gd name="connsiteY36059" fmla="*/ 445209 h 4687251"/>
              <a:gd name="connsiteX36060" fmla="*/ 2038159 w 8079933"/>
              <a:gd name="connsiteY36060" fmla="*/ 445966 h 4687251"/>
              <a:gd name="connsiteX36061" fmla="*/ 2035229 w 8079933"/>
              <a:gd name="connsiteY36061" fmla="*/ 443801 h 4687251"/>
              <a:gd name="connsiteX36062" fmla="*/ 2033276 w 8079933"/>
              <a:gd name="connsiteY36062" fmla="*/ 446616 h 4687251"/>
              <a:gd name="connsiteX36063" fmla="*/ 2029803 w 8079933"/>
              <a:gd name="connsiteY36063" fmla="*/ 446400 h 4687251"/>
              <a:gd name="connsiteX36064" fmla="*/ 2026440 w 8079933"/>
              <a:gd name="connsiteY36064" fmla="*/ 448024 h 4687251"/>
              <a:gd name="connsiteX36065" fmla="*/ 2025680 w 8079933"/>
              <a:gd name="connsiteY36065" fmla="*/ 451813 h 4687251"/>
              <a:gd name="connsiteX36066" fmla="*/ 2023292 w 8079933"/>
              <a:gd name="connsiteY36066" fmla="*/ 453762 h 4687251"/>
              <a:gd name="connsiteX36067" fmla="*/ 2017649 w 8079933"/>
              <a:gd name="connsiteY36067" fmla="*/ 453870 h 4687251"/>
              <a:gd name="connsiteX36068" fmla="*/ 2016564 w 8079933"/>
              <a:gd name="connsiteY36068" fmla="*/ 456360 h 4687251"/>
              <a:gd name="connsiteX36069" fmla="*/ 2011681 w 8079933"/>
              <a:gd name="connsiteY36069" fmla="*/ 457877 h 4687251"/>
              <a:gd name="connsiteX36070" fmla="*/ 2010053 w 8079933"/>
              <a:gd name="connsiteY36070" fmla="*/ 457118 h 4687251"/>
              <a:gd name="connsiteX36071" fmla="*/ 2005062 w 8079933"/>
              <a:gd name="connsiteY36071" fmla="*/ 459283 h 4687251"/>
              <a:gd name="connsiteX36072" fmla="*/ 1999744 w 8079933"/>
              <a:gd name="connsiteY36072" fmla="*/ 459283 h 4687251"/>
              <a:gd name="connsiteX36073" fmla="*/ 1998117 w 8079933"/>
              <a:gd name="connsiteY36073" fmla="*/ 456685 h 4687251"/>
              <a:gd name="connsiteX36074" fmla="*/ 1991606 w 8079933"/>
              <a:gd name="connsiteY36074" fmla="*/ 456794 h 4687251"/>
              <a:gd name="connsiteX36075" fmla="*/ 1985312 w 8079933"/>
              <a:gd name="connsiteY36075" fmla="*/ 458742 h 4687251"/>
              <a:gd name="connsiteX36076" fmla="*/ 1978258 w 8079933"/>
              <a:gd name="connsiteY36076" fmla="*/ 458742 h 4687251"/>
              <a:gd name="connsiteX36077" fmla="*/ 1971204 w 8079933"/>
              <a:gd name="connsiteY36077" fmla="*/ 455278 h 4687251"/>
              <a:gd name="connsiteX36078" fmla="*/ 1965019 w 8079933"/>
              <a:gd name="connsiteY36078" fmla="*/ 454087 h 4687251"/>
              <a:gd name="connsiteX36079" fmla="*/ 1961981 w 8079933"/>
              <a:gd name="connsiteY36079" fmla="*/ 449648 h 4687251"/>
              <a:gd name="connsiteX36080" fmla="*/ 1957314 w 8079933"/>
              <a:gd name="connsiteY36080" fmla="*/ 444667 h 4687251"/>
              <a:gd name="connsiteX36081" fmla="*/ 1958725 w 8079933"/>
              <a:gd name="connsiteY36081" fmla="*/ 439470 h 4687251"/>
              <a:gd name="connsiteX36082" fmla="*/ 1958074 w 8079933"/>
              <a:gd name="connsiteY36082" fmla="*/ 435789 h 4687251"/>
              <a:gd name="connsiteX36083" fmla="*/ 1958725 w 8079933"/>
              <a:gd name="connsiteY36083" fmla="*/ 428210 h 4687251"/>
              <a:gd name="connsiteX36084" fmla="*/ 1965887 w 8079933"/>
              <a:gd name="connsiteY36084" fmla="*/ 426802 h 4687251"/>
              <a:gd name="connsiteX36085" fmla="*/ 1973158 w 8079933"/>
              <a:gd name="connsiteY36085" fmla="*/ 428860 h 4687251"/>
              <a:gd name="connsiteX36086" fmla="*/ 1976631 w 8079933"/>
              <a:gd name="connsiteY36086" fmla="*/ 426478 h 4687251"/>
              <a:gd name="connsiteX36087" fmla="*/ 1982165 w 8079933"/>
              <a:gd name="connsiteY36087" fmla="*/ 427777 h 4687251"/>
              <a:gd name="connsiteX36088" fmla="*/ 1986614 w 8079933"/>
              <a:gd name="connsiteY36088" fmla="*/ 427128 h 4687251"/>
              <a:gd name="connsiteX36089" fmla="*/ 1992908 w 8079933"/>
              <a:gd name="connsiteY36089" fmla="*/ 423663 h 4687251"/>
              <a:gd name="connsiteX36090" fmla="*/ 2000395 w 8079933"/>
              <a:gd name="connsiteY36090" fmla="*/ 423663 h 4687251"/>
              <a:gd name="connsiteX36091" fmla="*/ 2007666 w 8079933"/>
              <a:gd name="connsiteY36091" fmla="*/ 426478 h 4687251"/>
              <a:gd name="connsiteX36092" fmla="*/ 2013526 w 8079933"/>
              <a:gd name="connsiteY36092" fmla="*/ 426478 h 4687251"/>
              <a:gd name="connsiteX36093" fmla="*/ 2016673 w 8079933"/>
              <a:gd name="connsiteY36093" fmla="*/ 427777 h 4687251"/>
              <a:gd name="connsiteX36094" fmla="*/ 2020471 w 8079933"/>
              <a:gd name="connsiteY36094" fmla="*/ 424420 h 4687251"/>
              <a:gd name="connsiteX36095" fmla="*/ 2032191 w 8079933"/>
              <a:gd name="connsiteY36095" fmla="*/ 423988 h 4687251"/>
              <a:gd name="connsiteX36096" fmla="*/ 2033276 w 8079933"/>
              <a:gd name="connsiteY36096" fmla="*/ 420956 h 4687251"/>
              <a:gd name="connsiteX36097" fmla="*/ 2035989 w 8079933"/>
              <a:gd name="connsiteY36097" fmla="*/ 418574 h 4687251"/>
              <a:gd name="connsiteX36098" fmla="*/ 2034253 w 8079933"/>
              <a:gd name="connsiteY36098" fmla="*/ 416084 h 4687251"/>
              <a:gd name="connsiteX36099" fmla="*/ 2031214 w 8079933"/>
              <a:gd name="connsiteY36099" fmla="*/ 419549 h 4687251"/>
              <a:gd name="connsiteX36100" fmla="*/ 2024595 w 8079933"/>
              <a:gd name="connsiteY36100" fmla="*/ 419549 h 4687251"/>
              <a:gd name="connsiteX36101" fmla="*/ 2024269 w 8079933"/>
              <a:gd name="connsiteY36101" fmla="*/ 416841 h 4687251"/>
              <a:gd name="connsiteX36102" fmla="*/ 2017324 w 8079933"/>
              <a:gd name="connsiteY36102" fmla="*/ 419873 h 4687251"/>
              <a:gd name="connsiteX36103" fmla="*/ 2011464 w 8079933"/>
              <a:gd name="connsiteY36103" fmla="*/ 419873 h 4687251"/>
              <a:gd name="connsiteX36104" fmla="*/ 2011464 w 8079933"/>
              <a:gd name="connsiteY36104" fmla="*/ 416084 h 4687251"/>
              <a:gd name="connsiteX36105" fmla="*/ 2008426 w 8079933"/>
              <a:gd name="connsiteY36105" fmla="*/ 413702 h 4687251"/>
              <a:gd name="connsiteX36106" fmla="*/ 2004953 w 8079933"/>
              <a:gd name="connsiteY36106" fmla="*/ 416517 h 4687251"/>
              <a:gd name="connsiteX36107" fmla="*/ 1999744 w 8079933"/>
              <a:gd name="connsiteY36107" fmla="*/ 417166 h 4687251"/>
              <a:gd name="connsiteX36108" fmla="*/ 1995946 w 8079933"/>
              <a:gd name="connsiteY36108" fmla="*/ 418141 h 4687251"/>
              <a:gd name="connsiteX36109" fmla="*/ 1993559 w 8079933"/>
              <a:gd name="connsiteY36109" fmla="*/ 416517 h 4687251"/>
              <a:gd name="connsiteX36110" fmla="*/ 1989110 w 8079933"/>
              <a:gd name="connsiteY36110" fmla="*/ 417491 h 4687251"/>
              <a:gd name="connsiteX36111" fmla="*/ 1983141 w 8079933"/>
              <a:gd name="connsiteY36111" fmla="*/ 415759 h 4687251"/>
              <a:gd name="connsiteX36112" fmla="*/ 1983141 w 8079933"/>
              <a:gd name="connsiteY36112" fmla="*/ 411645 h 4687251"/>
              <a:gd name="connsiteX36113" fmla="*/ 1988350 w 8079933"/>
              <a:gd name="connsiteY36113" fmla="*/ 407855 h 4687251"/>
              <a:gd name="connsiteX36114" fmla="*/ 1993884 w 8079933"/>
              <a:gd name="connsiteY36114" fmla="*/ 403741 h 4687251"/>
              <a:gd name="connsiteX36115" fmla="*/ 1990846 w 8079933"/>
              <a:gd name="connsiteY36115" fmla="*/ 403416 h 4687251"/>
              <a:gd name="connsiteX36116" fmla="*/ 1985637 w 8079933"/>
              <a:gd name="connsiteY36116" fmla="*/ 404390 h 4687251"/>
              <a:gd name="connsiteX36117" fmla="*/ 1982490 w 8079933"/>
              <a:gd name="connsiteY36117" fmla="*/ 408180 h 4687251"/>
              <a:gd name="connsiteX36118" fmla="*/ 1980102 w 8079933"/>
              <a:gd name="connsiteY36118" fmla="*/ 403092 h 4687251"/>
              <a:gd name="connsiteX36119" fmla="*/ 1978366 w 8079933"/>
              <a:gd name="connsiteY36119" fmla="*/ 405040 h 4687251"/>
              <a:gd name="connsiteX36120" fmla="*/ 1977716 w 8079933"/>
              <a:gd name="connsiteY36120" fmla="*/ 409587 h 4687251"/>
              <a:gd name="connsiteX36121" fmla="*/ 1969685 w 8079933"/>
              <a:gd name="connsiteY36121" fmla="*/ 413702 h 4687251"/>
              <a:gd name="connsiteX36122" fmla="*/ 1968383 w 8079933"/>
              <a:gd name="connsiteY36122" fmla="*/ 416841 h 4687251"/>
              <a:gd name="connsiteX36123" fmla="*/ 1964259 w 8079933"/>
              <a:gd name="connsiteY36123" fmla="*/ 417816 h 4687251"/>
              <a:gd name="connsiteX36124" fmla="*/ 1958725 w 8079933"/>
              <a:gd name="connsiteY36124" fmla="*/ 414026 h 4687251"/>
              <a:gd name="connsiteX36125" fmla="*/ 1959051 w 8079933"/>
              <a:gd name="connsiteY36125" fmla="*/ 410237 h 4687251"/>
              <a:gd name="connsiteX36126" fmla="*/ 1961438 w 8079933"/>
              <a:gd name="connsiteY36126" fmla="*/ 406773 h 4687251"/>
              <a:gd name="connsiteX36127" fmla="*/ 1957314 w 8079933"/>
              <a:gd name="connsiteY36127" fmla="*/ 407206 h 4687251"/>
              <a:gd name="connsiteX36128" fmla="*/ 1955252 w 8079933"/>
              <a:gd name="connsiteY36128" fmla="*/ 405473 h 4687251"/>
              <a:gd name="connsiteX36129" fmla="*/ 1954601 w 8079933"/>
              <a:gd name="connsiteY36129" fmla="*/ 411645 h 4687251"/>
              <a:gd name="connsiteX36130" fmla="*/ 1951455 w 8079933"/>
              <a:gd name="connsiteY36130" fmla="*/ 414026 h 4687251"/>
              <a:gd name="connsiteX36131" fmla="*/ 1947005 w 8079933"/>
              <a:gd name="connsiteY36131" fmla="*/ 411969 h 4687251"/>
              <a:gd name="connsiteX36132" fmla="*/ 1947331 w 8079933"/>
              <a:gd name="connsiteY36132" fmla="*/ 406448 h 4687251"/>
              <a:gd name="connsiteX36133" fmla="*/ 1942122 w 8079933"/>
              <a:gd name="connsiteY36133" fmla="*/ 402659 h 4687251"/>
              <a:gd name="connsiteX36134" fmla="*/ 1943532 w 8079933"/>
              <a:gd name="connsiteY36134" fmla="*/ 398869 h 4687251"/>
              <a:gd name="connsiteX36135" fmla="*/ 1940711 w 8079933"/>
              <a:gd name="connsiteY36135" fmla="*/ 397894 h 4687251"/>
              <a:gd name="connsiteX36136" fmla="*/ 1940060 w 8079933"/>
              <a:gd name="connsiteY36136" fmla="*/ 402659 h 4687251"/>
              <a:gd name="connsiteX36137" fmla="*/ 1937347 w 8079933"/>
              <a:gd name="connsiteY36137" fmla="*/ 402333 h 4687251"/>
              <a:gd name="connsiteX36138" fmla="*/ 1932464 w 8079933"/>
              <a:gd name="connsiteY36138" fmla="*/ 395404 h 4687251"/>
              <a:gd name="connsiteX36139" fmla="*/ 1924217 w 8079933"/>
              <a:gd name="connsiteY36139" fmla="*/ 390316 h 4687251"/>
              <a:gd name="connsiteX36140" fmla="*/ 1924217 w 8079933"/>
              <a:gd name="connsiteY36140" fmla="*/ 388259 h 4687251"/>
              <a:gd name="connsiteX36141" fmla="*/ 1929751 w 8079933"/>
              <a:gd name="connsiteY36141" fmla="*/ 387933 h 4687251"/>
              <a:gd name="connsiteX36142" fmla="*/ 1929751 w 8079933"/>
              <a:gd name="connsiteY36142" fmla="*/ 383386 h 4687251"/>
              <a:gd name="connsiteX36143" fmla="*/ 1927580 w 8079933"/>
              <a:gd name="connsiteY36143" fmla="*/ 380355 h 4687251"/>
              <a:gd name="connsiteX36144" fmla="*/ 1936913 w 8079933"/>
              <a:gd name="connsiteY36144" fmla="*/ 374075 h 4687251"/>
              <a:gd name="connsiteX36145" fmla="*/ 1942122 w 8079933"/>
              <a:gd name="connsiteY36145" fmla="*/ 372776 h 4687251"/>
              <a:gd name="connsiteX36146" fmla="*/ 1944509 w 8079933"/>
              <a:gd name="connsiteY36146" fmla="*/ 374075 h 4687251"/>
              <a:gd name="connsiteX36147" fmla="*/ 1953191 w 8079933"/>
              <a:gd name="connsiteY36147" fmla="*/ 373749 h 4687251"/>
              <a:gd name="connsiteX36148" fmla="*/ 1959051 w 8079933"/>
              <a:gd name="connsiteY36148" fmla="*/ 377540 h 4687251"/>
              <a:gd name="connsiteX36149" fmla="*/ 1964910 w 8079933"/>
              <a:gd name="connsiteY36149" fmla="*/ 378297 h 4687251"/>
              <a:gd name="connsiteX36150" fmla="*/ 1968383 w 8079933"/>
              <a:gd name="connsiteY36150" fmla="*/ 375482 h 4687251"/>
              <a:gd name="connsiteX36151" fmla="*/ 1974243 w 8079933"/>
              <a:gd name="connsiteY36151" fmla="*/ 375157 h 4687251"/>
              <a:gd name="connsiteX36152" fmla="*/ 1979777 w 8079933"/>
              <a:gd name="connsiteY36152" fmla="*/ 371367 h 4687251"/>
              <a:gd name="connsiteX36153" fmla="*/ 1976304 w 8079933"/>
              <a:gd name="connsiteY36153" fmla="*/ 368987 h 4687251"/>
              <a:gd name="connsiteX36154" fmla="*/ 1973917 w 8079933"/>
              <a:gd name="connsiteY36154" fmla="*/ 366929 h 4687251"/>
              <a:gd name="connsiteX36155" fmla="*/ 1968708 w 8079933"/>
              <a:gd name="connsiteY36155" fmla="*/ 366929 h 4687251"/>
              <a:gd name="connsiteX36156" fmla="*/ 1963825 w 8079933"/>
              <a:gd name="connsiteY36156" fmla="*/ 368228 h 4687251"/>
              <a:gd name="connsiteX36157" fmla="*/ 1955904 w 8079933"/>
              <a:gd name="connsiteY36157" fmla="*/ 365197 h 4687251"/>
              <a:gd name="connsiteX36158" fmla="*/ 1950803 w 8079933"/>
              <a:gd name="connsiteY36158" fmla="*/ 365197 h 4687251"/>
              <a:gd name="connsiteX36159" fmla="*/ 1949393 w 8079933"/>
              <a:gd name="connsiteY36159" fmla="*/ 363464 h 4687251"/>
              <a:gd name="connsiteX36160" fmla="*/ 1956229 w 8079933"/>
              <a:gd name="connsiteY36160" fmla="*/ 356860 h 4687251"/>
              <a:gd name="connsiteX36161" fmla="*/ 1961764 w 8079933"/>
              <a:gd name="connsiteY36161" fmla="*/ 350364 h 4687251"/>
              <a:gd name="connsiteX36162" fmla="*/ 1966647 w 8079933"/>
              <a:gd name="connsiteY36162" fmla="*/ 349714 h 4687251"/>
              <a:gd name="connsiteX36163" fmla="*/ 1969685 w 8079933"/>
              <a:gd name="connsiteY36163" fmla="*/ 350688 h 4687251"/>
              <a:gd name="connsiteX36164" fmla="*/ 1978692 w 8079933"/>
              <a:gd name="connsiteY36164" fmla="*/ 348956 h 4687251"/>
              <a:gd name="connsiteX36165" fmla="*/ 1989110 w 8079933"/>
              <a:gd name="connsiteY36165" fmla="*/ 350039 h 4687251"/>
              <a:gd name="connsiteX36166" fmla="*/ 1994969 w 8079933"/>
              <a:gd name="connsiteY36166" fmla="*/ 351771 h 4687251"/>
              <a:gd name="connsiteX36167" fmla="*/ 1997357 w 8079933"/>
              <a:gd name="connsiteY36167" fmla="*/ 350688 h 4687251"/>
              <a:gd name="connsiteX36168" fmla="*/ 1995946 w 8079933"/>
              <a:gd name="connsiteY36168" fmla="*/ 347982 h 4687251"/>
              <a:gd name="connsiteX36169" fmla="*/ 1993233 w 8079933"/>
              <a:gd name="connsiteY36169" fmla="*/ 347982 h 4687251"/>
              <a:gd name="connsiteX36170" fmla="*/ 1988350 w 8079933"/>
              <a:gd name="connsiteY36170" fmla="*/ 345492 h 4687251"/>
              <a:gd name="connsiteX36171" fmla="*/ 1983575 w 8079933"/>
              <a:gd name="connsiteY36171" fmla="*/ 345492 h 4687251"/>
              <a:gd name="connsiteX36172" fmla="*/ 1973917 w 8079933"/>
              <a:gd name="connsiteY36172" fmla="*/ 342784 h 4687251"/>
              <a:gd name="connsiteX36173" fmla="*/ 1970770 w 8079933"/>
              <a:gd name="connsiteY36173" fmla="*/ 338671 h 4687251"/>
              <a:gd name="connsiteX36174" fmla="*/ 1976304 w 8079933"/>
              <a:gd name="connsiteY36174" fmla="*/ 334556 h 4687251"/>
              <a:gd name="connsiteX36175" fmla="*/ 1979017 w 8079933"/>
              <a:gd name="connsiteY36175" fmla="*/ 330334 h 4687251"/>
              <a:gd name="connsiteX36176" fmla="*/ 1982165 w 8079933"/>
              <a:gd name="connsiteY36176" fmla="*/ 327952 h 4687251"/>
              <a:gd name="connsiteX36177" fmla="*/ 1985312 w 8079933"/>
              <a:gd name="connsiteY36177" fmla="*/ 327952 h 4687251"/>
              <a:gd name="connsiteX36178" fmla="*/ 1990846 w 8079933"/>
              <a:gd name="connsiteY36178" fmla="*/ 325246 h 4687251"/>
              <a:gd name="connsiteX36179" fmla="*/ 1994969 w 8079933"/>
              <a:gd name="connsiteY36179" fmla="*/ 325246 h 4687251"/>
              <a:gd name="connsiteX36180" fmla="*/ 1996706 w 8079933"/>
              <a:gd name="connsiteY36180" fmla="*/ 327627 h 4687251"/>
              <a:gd name="connsiteX36181" fmla="*/ 2000829 w 8079933"/>
              <a:gd name="connsiteY36181" fmla="*/ 327627 h 4687251"/>
              <a:gd name="connsiteX36182" fmla="*/ 2005930 w 8079933"/>
              <a:gd name="connsiteY36182" fmla="*/ 332065 h 4687251"/>
              <a:gd name="connsiteX36183" fmla="*/ 2009077 w 8079933"/>
              <a:gd name="connsiteY36183" fmla="*/ 333473 h 4687251"/>
              <a:gd name="connsiteX36184" fmla="*/ 2007015 w 8079933"/>
              <a:gd name="connsiteY36184" fmla="*/ 329034 h 4687251"/>
              <a:gd name="connsiteX36185" fmla="*/ 2001806 w 8079933"/>
              <a:gd name="connsiteY36185" fmla="*/ 325246 h 4687251"/>
              <a:gd name="connsiteX36186" fmla="*/ 2001155 w 8079933"/>
              <a:gd name="connsiteY36186" fmla="*/ 321455 h 4687251"/>
              <a:gd name="connsiteX36187" fmla="*/ 1999093 w 8079933"/>
              <a:gd name="connsiteY36187" fmla="*/ 319399 h 4687251"/>
              <a:gd name="connsiteX36188" fmla="*/ 2001806 w 8079933"/>
              <a:gd name="connsiteY36188" fmla="*/ 316583 h 4687251"/>
              <a:gd name="connsiteX36189" fmla="*/ 4755850 w 8079933"/>
              <a:gd name="connsiteY36189" fmla="*/ 309763 h 4687251"/>
              <a:gd name="connsiteX36190" fmla="*/ 4757912 w 8079933"/>
              <a:gd name="connsiteY36190" fmla="*/ 312470 h 4687251"/>
              <a:gd name="connsiteX36191" fmla="*/ 4758563 w 8079933"/>
              <a:gd name="connsiteY36191" fmla="*/ 316151 h 4687251"/>
              <a:gd name="connsiteX36192" fmla="*/ 4757043 w 8079933"/>
              <a:gd name="connsiteY36192" fmla="*/ 318858 h 4687251"/>
              <a:gd name="connsiteX36193" fmla="*/ 4753680 w 8079933"/>
              <a:gd name="connsiteY36193" fmla="*/ 319618 h 4687251"/>
              <a:gd name="connsiteX36194" fmla="*/ 4748688 w 8079933"/>
              <a:gd name="connsiteY36194" fmla="*/ 318208 h 4687251"/>
              <a:gd name="connsiteX36195" fmla="*/ 4747386 w 8079933"/>
              <a:gd name="connsiteY36195" fmla="*/ 315177 h 4687251"/>
              <a:gd name="connsiteX36196" fmla="*/ 4750749 w 8079933"/>
              <a:gd name="connsiteY36196" fmla="*/ 314094 h 4687251"/>
              <a:gd name="connsiteX36197" fmla="*/ 4753462 w 8079933"/>
              <a:gd name="connsiteY36197" fmla="*/ 310630 h 4687251"/>
              <a:gd name="connsiteX36198" fmla="*/ 6366671 w 8079933"/>
              <a:gd name="connsiteY36198" fmla="*/ 305325 h 4687251"/>
              <a:gd name="connsiteX36199" fmla="*/ 6370035 w 8079933"/>
              <a:gd name="connsiteY36199" fmla="*/ 306081 h 4687251"/>
              <a:gd name="connsiteX36200" fmla="*/ 6372313 w 8079933"/>
              <a:gd name="connsiteY36200" fmla="*/ 311712 h 4687251"/>
              <a:gd name="connsiteX36201" fmla="*/ 6378716 w 8079933"/>
              <a:gd name="connsiteY36201" fmla="*/ 318208 h 4687251"/>
              <a:gd name="connsiteX36202" fmla="*/ 6379694 w 8079933"/>
              <a:gd name="connsiteY36202" fmla="*/ 322864 h 4687251"/>
              <a:gd name="connsiteX36203" fmla="*/ 6377088 w 8079933"/>
              <a:gd name="connsiteY36203" fmla="*/ 326871 h 4687251"/>
              <a:gd name="connsiteX36204" fmla="*/ 6375352 w 8079933"/>
              <a:gd name="connsiteY36204" fmla="*/ 331525 h 4687251"/>
              <a:gd name="connsiteX36205" fmla="*/ 6376437 w 8079933"/>
              <a:gd name="connsiteY36205" fmla="*/ 333259 h 4687251"/>
              <a:gd name="connsiteX36206" fmla="*/ 6374159 w 8079933"/>
              <a:gd name="connsiteY36206" fmla="*/ 335099 h 4687251"/>
              <a:gd name="connsiteX36207" fmla="*/ 6369709 w 8079933"/>
              <a:gd name="connsiteY36207" fmla="*/ 333042 h 4687251"/>
              <a:gd name="connsiteX36208" fmla="*/ 6365369 w 8079933"/>
              <a:gd name="connsiteY36208" fmla="*/ 327196 h 4687251"/>
              <a:gd name="connsiteX36209" fmla="*/ 6361462 w 8079933"/>
              <a:gd name="connsiteY36209" fmla="*/ 326005 h 4687251"/>
              <a:gd name="connsiteX36210" fmla="*/ 6359726 w 8079933"/>
              <a:gd name="connsiteY36210" fmla="*/ 323081 h 4687251"/>
              <a:gd name="connsiteX36211" fmla="*/ 6360485 w 8079933"/>
              <a:gd name="connsiteY36211" fmla="*/ 320483 h 4687251"/>
              <a:gd name="connsiteX36212" fmla="*/ 6357122 w 8079933"/>
              <a:gd name="connsiteY36212" fmla="*/ 315393 h 4687251"/>
              <a:gd name="connsiteX36213" fmla="*/ 6356579 w 8079933"/>
              <a:gd name="connsiteY36213" fmla="*/ 311279 h 4687251"/>
              <a:gd name="connsiteX36214" fmla="*/ 6361137 w 8079933"/>
              <a:gd name="connsiteY36214" fmla="*/ 306732 h 4687251"/>
              <a:gd name="connsiteX36215" fmla="*/ 4739356 w 8079933"/>
              <a:gd name="connsiteY36215" fmla="*/ 301642 h 4687251"/>
              <a:gd name="connsiteX36216" fmla="*/ 4743154 w 8079933"/>
              <a:gd name="connsiteY36216" fmla="*/ 303160 h 4687251"/>
              <a:gd name="connsiteX36217" fmla="*/ 4743588 w 8079933"/>
              <a:gd name="connsiteY36217" fmla="*/ 305866 h 4687251"/>
              <a:gd name="connsiteX36218" fmla="*/ 4742177 w 8079933"/>
              <a:gd name="connsiteY36218" fmla="*/ 310847 h 4687251"/>
              <a:gd name="connsiteX36219" fmla="*/ 4740224 w 8079933"/>
              <a:gd name="connsiteY36219" fmla="*/ 312254 h 4687251"/>
              <a:gd name="connsiteX36220" fmla="*/ 4737294 w 8079933"/>
              <a:gd name="connsiteY36220" fmla="*/ 309548 h 4687251"/>
              <a:gd name="connsiteX36221" fmla="*/ 4738704 w 8079933"/>
              <a:gd name="connsiteY36221" fmla="*/ 306190 h 4687251"/>
              <a:gd name="connsiteX36222" fmla="*/ 4738379 w 8079933"/>
              <a:gd name="connsiteY36222" fmla="*/ 303700 h 4687251"/>
              <a:gd name="connsiteX36223" fmla="*/ 2434353 w 8079933"/>
              <a:gd name="connsiteY36223" fmla="*/ 301425 h 4687251"/>
              <a:gd name="connsiteX36224" fmla="*/ 2435330 w 8079933"/>
              <a:gd name="connsiteY36224" fmla="*/ 309438 h 4687251"/>
              <a:gd name="connsiteX36225" fmla="*/ 2434136 w 8079933"/>
              <a:gd name="connsiteY36225" fmla="*/ 313119 h 4687251"/>
              <a:gd name="connsiteX36226" fmla="*/ 2431966 w 8079933"/>
              <a:gd name="connsiteY36226" fmla="*/ 313444 h 4687251"/>
              <a:gd name="connsiteX36227" fmla="*/ 2430664 w 8079933"/>
              <a:gd name="connsiteY36227" fmla="*/ 309655 h 4687251"/>
              <a:gd name="connsiteX36228" fmla="*/ 2430555 w 8079933"/>
              <a:gd name="connsiteY36228" fmla="*/ 304132 h 4687251"/>
              <a:gd name="connsiteX36229" fmla="*/ 2431748 w 8079933"/>
              <a:gd name="connsiteY36229" fmla="*/ 301534 h 4687251"/>
              <a:gd name="connsiteX36230" fmla="*/ 4777010 w 8079933"/>
              <a:gd name="connsiteY36230" fmla="*/ 301102 h 4687251"/>
              <a:gd name="connsiteX36231" fmla="*/ 4780375 w 8079933"/>
              <a:gd name="connsiteY36231" fmla="*/ 303807 h 4687251"/>
              <a:gd name="connsiteX36232" fmla="*/ 4784064 w 8079933"/>
              <a:gd name="connsiteY36232" fmla="*/ 309871 h 4687251"/>
              <a:gd name="connsiteX36233" fmla="*/ 4783305 w 8079933"/>
              <a:gd name="connsiteY36233" fmla="*/ 313769 h 4687251"/>
              <a:gd name="connsiteX36234" fmla="*/ 4784064 w 8079933"/>
              <a:gd name="connsiteY36234" fmla="*/ 319290 h 4687251"/>
              <a:gd name="connsiteX36235" fmla="*/ 4786994 w 8079933"/>
              <a:gd name="connsiteY36235" fmla="*/ 323406 h 4687251"/>
              <a:gd name="connsiteX36236" fmla="*/ 4786668 w 8079933"/>
              <a:gd name="connsiteY36236" fmla="*/ 326545 h 4687251"/>
              <a:gd name="connsiteX36237" fmla="*/ 4780917 w 8079933"/>
              <a:gd name="connsiteY36237" fmla="*/ 326219 h 4687251"/>
              <a:gd name="connsiteX36238" fmla="*/ 4774081 w 8079933"/>
              <a:gd name="connsiteY36238" fmla="*/ 328926 h 4687251"/>
              <a:gd name="connsiteX36239" fmla="*/ 4770717 w 8079933"/>
              <a:gd name="connsiteY36239" fmla="*/ 327736 h 4687251"/>
              <a:gd name="connsiteX36240" fmla="*/ 4767678 w 8079933"/>
              <a:gd name="connsiteY36240" fmla="*/ 324813 h 4687251"/>
              <a:gd name="connsiteX36241" fmla="*/ 4766268 w 8079933"/>
              <a:gd name="connsiteY36241" fmla="*/ 316909 h 4687251"/>
              <a:gd name="connsiteX36242" fmla="*/ 4762361 w 8079933"/>
              <a:gd name="connsiteY36242" fmla="*/ 311279 h 4687251"/>
              <a:gd name="connsiteX36243" fmla="*/ 4763555 w 8079933"/>
              <a:gd name="connsiteY36243" fmla="*/ 307489 h 4687251"/>
              <a:gd name="connsiteX36244" fmla="*/ 4768872 w 8079933"/>
              <a:gd name="connsiteY36244" fmla="*/ 304024 h 4687251"/>
              <a:gd name="connsiteX36245" fmla="*/ 4774732 w 8079933"/>
              <a:gd name="connsiteY36245" fmla="*/ 303267 h 4687251"/>
              <a:gd name="connsiteX36246" fmla="*/ 4753680 w 8079933"/>
              <a:gd name="connsiteY36246" fmla="*/ 299910 h 4687251"/>
              <a:gd name="connsiteX36247" fmla="*/ 4753463 w 8079933"/>
              <a:gd name="connsiteY36247" fmla="*/ 303160 h 4687251"/>
              <a:gd name="connsiteX36248" fmla="*/ 4751618 w 8079933"/>
              <a:gd name="connsiteY36248" fmla="*/ 305864 h 4687251"/>
              <a:gd name="connsiteX36249" fmla="*/ 4749882 w 8079933"/>
              <a:gd name="connsiteY36249" fmla="*/ 306407 h 4687251"/>
              <a:gd name="connsiteX36250" fmla="*/ 4750859 w 8079933"/>
              <a:gd name="connsiteY36250" fmla="*/ 301535 h 4687251"/>
              <a:gd name="connsiteX36251" fmla="*/ 4763663 w 8079933"/>
              <a:gd name="connsiteY36251" fmla="*/ 299586 h 4687251"/>
              <a:gd name="connsiteX36252" fmla="*/ 4765182 w 8079933"/>
              <a:gd name="connsiteY36252" fmla="*/ 301425 h 4687251"/>
              <a:gd name="connsiteX36253" fmla="*/ 4763771 w 8079933"/>
              <a:gd name="connsiteY36253" fmla="*/ 304024 h 4687251"/>
              <a:gd name="connsiteX36254" fmla="*/ 4760299 w 8079933"/>
              <a:gd name="connsiteY36254" fmla="*/ 305107 h 4687251"/>
              <a:gd name="connsiteX36255" fmla="*/ 4757260 w 8079933"/>
              <a:gd name="connsiteY36255" fmla="*/ 304240 h 4687251"/>
              <a:gd name="connsiteX36256" fmla="*/ 4756718 w 8079933"/>
              <a:gd name="connsiteY36256" fmla="*/ 302508 h 4687251"/>
              <a:gd name="connsiteX36257" fmla="*/ 4759540 w 8079933"/>
              <a:gd name="connsiteY36257" fmla="*/ 301425 h 4687251"/>
              <a:gd name="connsiteX36258" fmla="*/ 4760516 w 8079933"/>
              <a:gd name="connsiteY36258" fmla="*/ 299693 h 4687251"/>
              <a:gd name="connsiteX36259" fmla="*/ 5669452 w 8079933"/>
              <a:gd name="connsiteY36259" fmla="*/ 297854 h 4687251"/>
              <a:gd name="connsiteX36260" fmla="*/ 5674335 w 8079933"/>
              <a:gd name="connsiteY36260" fmla="*/ 298503 h 4687251"/>
              <a:gd name="connsiteX36261" fmla="*/ 5677374 w 8079933"/>
              <a:gd name="connsiteY36261" fmla="*/ 305324 h 4687251"/>
              <a:gd name="connsiteX36262" fmla="*/ 5675854 w 8079933"/>
              <a:gd name="connsiteY36262" fmla="*/ 310304 h 4687251"/>
              <a:gd name="connsiteX36263" fmla="*/ 5671405 w 8079933"/>
              <a:gd name="connsiteY36263" fmla="*/ 312252 h 4687251"/>
              <a:gd name="connsiteX36264" fmla="*/ 5670863 w 8079933"/>
              <a:gd name="connsiteY36264" fmla="*/ 310196 h 4687251"/>
              <a:gd name="connsiteX36265" fmla="*/ 5671839 w 8079933"/>
              <a:gd name="connsiteY36265" fmla="*/ 308354 h 4687251"/>
              <a:gd name="connsiteX36266" fmla="*/ 5667390 w 8079933"/>
              <a:gd name="connsiteY36266" fmla="*/ 302618 h 4687251"/>
              <a:gd name="connsiteX36267" fmla="*/ 5667390 w 8079933"/>
              <a:gd name="connsiteY36267" fmla="*/ 298827 h 4687251"/>
              <a:gd name="connsiteX36268" fmla="*/ 4721884 w 8079933"/>
              <a:gd name="connsiteY36268" fmla="*/ 295039 h 4687251"/>
              <a:gd name="connsiteX36269" fmla="*/ 4724379 w 8079933"/>
              <a:gd name="connsiteY36269" fmla="*/ 296122 h 4687251"/>
              <a:gd name="connsiteX36270" fmla="*/ 4724706 w 8079933"/>
              <a:gd name="connsiteY36270" fmla="*/ 302835 h 4687251"/>
              <a:gd name="connsiteX36271" fmla="*/ 4727527 w 8079933"/>
              <a:gd name="connsiteY36271" fmla="*/ 306949 h 4687251"/>
              <a:gd name="connsiteX36272" fmla="*/ 4725465 w 8079933"/>
              <a:gd name="connsiteY36272" fmla="*/ 308465 h 4687251"/>
              <a:gd name="connsiteX36273" fmla="*/ 4721125 w 8079933"/>
              <a:gd name="connsiteY36273" fmla="*/ 306624 h 4687251"/>
              <a:gd name="connsiteX36274" fmla="*/ 4719280 w 8079933"/>
              <a:gd name="connsiteY36274" fmla="*/ 303700 h 4687251"/>
              <a:gd name="connsiteX36275" fmla="*/ 4720799 w 8079933"/>
              <a:gd name="connsiteY36275" fmla="*/ 302077 h 4687251"/>
              <a:gd name="connsiteX36276" fmla="*/ 4739790 w 8079933"/>
              <a:gd name="connsiteY36276" fmla="*/ 294714 h 4687251"/>
              <a:gd name="connsiteX36277" fmla="*/ 4743805 w 8079933"/>
              <a:gd name="connsiteY36277" fmla="*/ 295579 h 4687251"/>
              <a:gd name="connsiteX36278" fmla="*/ 4746843 w 8079933"/>
              <a:gd name="connsiteY36278" fmla="*/ 299586 h 4687251"/>
              <a:gd name="connsiteX36279" fmla="*/ 4746301 w 8079933"/>
              <a:gd name="connsiteY36279" fmla="*/ 301751 h 4687251"/>
              <a:gd name="connsiteX36280" fmla="*/ 4741851 w 8079933"/>
              <a:gd name="connsiteY36280" fmla="*/ 300344 h 4687251"/>
              <a:gd name="connsiteX36281" fmla="*/ 4738271 w 8079933"/>
              <a:gd name="connsiteY36281" fmla="*/ 296230 h 4687251"/>
              <a:gd name="connsiteX36282" fmla="*/ 1869958 w 8079933"/>
              <a:gd name="connsiteY36282" fmla="*/ 293955 h 4687251"/>
              <a:gd name="connsiteX36283" fmla="*/ 1874733 w 8079933"/>
              <a:gd name="connsiteY36283" fmla="*/ 295471 h 4687251"/>
              <a:gd name="connsiteX36284" fmla="*/ 1875492 w 8079933"/>
              <a:gd name="connsiteY36284" fmla="*/ 298178 h 4687251"/>
              <a:gd name="connsiteX36285" fmla="*/ 1873648 w 8079933"/>
              <a:gd name="connsiteY36285" fmla="*/ 299261 h 4687251"/>
              <a:gd name="connsiteX36286" fmla="*/ 1869415 w 8079933"/>
              <a:gd name="connsiteY36286" fmla="*/ 297421 h 4687251"/>
              <a:gd name="connsiteX36287" fmla="*/ 1868222 w 8079933"/>
              <a:gd name="connsiteY36287" fmla="*/ 295471 h 4687251"/>
              <a:gd name="connsiteX36288" fmla="*/ 4730458 w 8079933"/>
              <a:gd name="connsiteY36288" fmla="*/ 293524 h 4687251"/>
              <a:gd name="connsiteX36289" fmla="*/ 4733930 w 8079933"/>
              <a:gd name="connsiteY36289" fmla="*/ 298505 h 4687251"/>
              <a:gd name="connsiteX36290" fmla="*/ 4735666 w 8079933"/>
              <a:gd name="connsiteY36290" fmla="*/ 302836 h 4687251"/>
              <a:gd name="connsiteX36291" fmla="*/ 4734364 w 8079933"/>
              <a:gd name="connsiteY36291" fmla="*/ 305542 h 4687251"/>
              <a:gd name="connsiteX36292" fmla="*/ 4732194 w 8079933"/>
              <a:gd name="connsiteY36292" fmla="*/ 305218 h 4687251"/>
              <a:gd name="connsiteX36293" fmla="*/ 4727853 w 8079933"/>
              <a:gd name="connsiteY36293" fmla="*/ 298505 h 4687251"/>
              <a:gd name="connsiteX36294" fmla="*/ 4727853 w 8079933"/>
              <a:gd name="connsiteY36294" fmla="*/ 294064 h 4687251"/>
              <a:gd name="connsiteX36295" fmla="*/ 5097026 w 8079933"/>
              <a:gd name="connsiteY36295" fmla="*/ 292873 h 4687251"/>
              <a:gd name="connsiteX36296" fmla="*/ 5099847 w 8079933"/>
              <a:gd name="connsiteY36296" fmla="*/ 294822 h 4687251"/>
              <a:gd name="connsiteX36297" fmla="*/ 5103754 w 8079933"/>
              <a:gd name="connsiteY36297" fmla="*/ 296121 h 4687251"/>
              <a:gd name="connsiteX36298" fmla="*/ 5109940 w 8079933"/>
              <a:gd name="connsiteY36298" fmla="*/ 294497 h 4687251"/>
              <a:gd name="connsiteX36299" fmla="*/ 5112544 w 8079933"/>
              <a:gd name="connsiteY36299" fmla="*/ 295688 h 4687251"/>
              <a:gd name="connsiteX36300" fmla="*/ 5112001 w 8079933"/>
              <a:gd name="connsiteY36300" fmla="*/ 298286 h 4687251"/>
              <a:gd name="connsiteX36301" fmla="*/ 5105165 w 8079933"/>
              <a:gd name="connsiteY36301" fmla="*/ 301317 h 4687251"/>
              <a:gd name="connsiteX36302" fmla="*/ 5102777 w 8079933"/>
              <a:gd name="connsiteY36302" fmla="*/ 301428 h 4687251"/>
              <a:gd name="connsiteX36303" fmla="*/ 5099304 w 8079933"/>
              <a:gd name="connsiteY36303" fmla="*/ 298395 h 4687251"/>
              <a:gd name="connsiteX36304" fmla="*/ 5094421 w 8079933"/>
              <a:gd name="connsiteY36304" fmla="*/ 297528 h 4687251"/>
              <a:gd name="connsiteX36305" fmla="*/ 5093228 w 8079933"/>
              <a:gd name="connsiteY36305" fmla="*/ 296121 h 4687251"/>
              <a:gd name="connsiteX36306" fmla="*/ 5094096 w 8079933"/>
              <a:gd name="connsiteY36306" fmla="*/ 293522 h 4687251"/>
              <a:gd name="connsiteX36307" fmla="*/ 5605860 w 8079933"/>
              <a:gd name="connsiteY36307" fmla="*/ 289191 h 4687251"/>
              <a:gd name="connsiteX36308" fmla="*/ 5609117 w 8079933"/>
              <a:gd name="connsiteY36308" fmla="*/ 289191 h 4687251"/>
              <a:gd name="connsiteX36309" fmla="*/ 5614868 w 8079933"/>
              <a:gd name="connsiteY36309" fmla="*/ 295904 h 4687251"/>
              <a:gd name="connsiteX36310" fmla="*/ 5619426 w 8079933"/>
              <a:gd name="connsiteY36310" fmla="*/ 291356 h 4687251"/>
              <a:gd name="connsiteX36311" fmla="*/ 5623549 w 8079933"/>
              <a:gd name="connsiteY36311" fmla="*/ 291356 h 4687251"/>
              <a:gd name="connsiteX36312" fmla="*/ 5626046 w 8079933"/>
              <a:gd name="connsiteY36312" fmla="*/ 298177 h 4687251"/>
              <a:gd name="connsiteX36313" fmla="*/ 5632556 w 8079933"/>
              <a:gd name="connsiteY36313" fmla="*/ 299260 h 4687251"/>
              <a:gd name="connsiteX36314" fmla="*/ 5638958 w 8079933"/>
              <a:gd name="connsiteY36314" fmla="*/ 293846 h 4687251"/>
              <a:gd name="connsiteX36315" fmla="*/ 5641129 w 8079933"/>
              <a:gd name="connsiteY36315" fmla="*/ 294605 h 4687251"/>
              <a:gd name="connsiteX36316" fmla="*/ 5641129 w 8079933"/>
              <a:gd name="connsiteY36316" fmla="*/ 301426 h 4687251"/>
              <a:gd name="connsiteX36317" fmla="*/ 5642974 w 8079933"/>
              <a:gd name="connsiteY36317" fmla="*/ 303591 h 4687251"/>
              <a:gd name="connsiteX36318" fmla="*/ 5650244 w 8079933"/>
              <a:gd name="connsiteY36318" fmla="*/ 305432 h 4687251"/>
              <a:gd name="connsiteX36319" fmla="*/ 5650244 w 8079933"/>
              <a:gd name="connsiteY36319" fmla="*/ 307381 h 4687251"/>
              <a:gd name="connsiteX36320" fmla="*/ 5645578 w 8079933"/>
              <a:gd name="connsiteY36320" fmla="*/ 310304 h 4687251"/>
              <a:gd name="connsiteX36321" fmla="*/ 5645578 w 8079933"/>
              <a:gd name="connsiteY36321" fmla="*/ 312470 h 4687251"/>
              <a:gd name="connsiteX36322" fmla="*/ 5643190 w 8079933"/>
              <a:gd name="connsiteY36322" fmla="*/ 316584 h 4687251"/>
              <a:gd name="connsiteX36323" fmla="*/ 5644601 w 8079933"/>
              <a:gd name="connsiteY36323" fmla="*/ 321672 h 4687251"/>
              <a:gd name="connsiteX36324" fmla="*/ 5639501 w 8079933"/>
              <a:gd name="connsiteY36324" fmla="*/ 329468 h 4687251"/>
              <a:gd name="connsiteX36325" fmla="*/ 5634292 w 8079933"/>
              <a:gd name="connsiteY36325" fmla="*/ 330550 h 4687251"/>
              <a:gd name="connsiteX36326" fmla="*/ 5630494 w 8079933"/>
              <a:gd name="connsiteY36326" fmla="*/ 336830 h 4687251"/>
              <a:gd name="connsiteX36327" fmla="*/ 5634292 w 8079933"/>
              <a:gd name="connsiteY36327" fmla="*/ 337913 h 4687251"/>
              <a:gd name="connsiteX36328" fmla="*/ 5645144 w 8079933"/>
              <a:gd name="connsiteY36328" fmla="*/ 333582 h 4687251"/>
              <a:gd name="connsiteX36329" fmla="*/ 5652957 w 8079933"/>
              <a:gd name="connsiteY36329" fmla="*/ 321997 h 4687251"/>
              <a:gd name="connsiteX36330" fmla="*/ 5656430 w 8079933"/>
              <a:gd name="connsiteY36330" fmla="*/ 322755 h 4687251"/>
              <a:gd name="connsiteX36331" fmla="*/ 5656430 w 8079933"/>
              <a:gd name="connsiteY36331" fmla="*/ 326219 h 4687251"/>
              <a:gd name="connsiteX36332" fmla="*/ 5652957 w 8079933"/>
              <a:gd name="connsiteY36332" fmla="*/ 331092 h 4687251"/>
              <a:gd name="connsiteX36333" fmla="*/ 5652957 w 8079933"/>
              <a:gd name="connsiteY36333" fmla="*/ 334556 h 4687251"/>
              <a:gd name="connsiteX36334" fmla="*/ 5656430 w 8079933"/>
              <a:gd name="connsiteY36334" fmla="*/ 334556 h 4687251"/>
              <a:gd name="connsiteX36335" fmla="*/ 5660553 w 8079933"/>
              <a:gd name="connsiteY36335" fmla="*/ 328277 h 4687251"/>
              <a:gd name="connsiteX36336" fmla="*/ 5665219 w 8079933"/>
              <a:gd name="connsiteY36336" fmla="*/ 325787 h 4687251"/>
              <a:gd name="connsiteX36337" fmla="*/ 5667499 w 8079933"/>
              <a:gd name="connsiteY36337" fmla="*/ 327952 h 4687251"/>
              <a:gd name="connsiteX36338" fmla="*/ 5673467 w 8079933"/>
              <a:gd name="connsiteY36338" fmla="*/ 327411 h 4687251"/>
              <a:gd name="connsiteX36339" fmla="*/ 5674769 w 8079933"/>
              <a:gd name="connsiteY36339" fmla="*/ 321997 h 4687251"/>
              <a:gd name="connsiteX36340" fmla="*/ 5677265 w 8079933"/>
              <a:gd name="connsiteY36340" fmla="*/ 321997 h 4687251"/>
              <a:gd name="connsiteX36341" fmla="*/ 5680520 w 8079933"/>
              <a:gd name="connsiteY36341" fmla="*/ 324162 h 4687251"/>
              <a:gd name="connsiteX36342" fmla="*/ 5684319 w 8079933"/>
              <a:gd name="connsiteY36342" fmla="*/ 321997 h 4687251"/>
              <a:gd name="connsiteX36343" fmla="*/ 5690612 w 8079933"/>
              <a:gd name="connsiteY36343" fmla="*/ 328277 h 4687251"/>
              <a:gd name="connsiteX36344" fmla="*/ 5690612 w 8079933"/>
              <a:gd name="connsiteY36344" fmla="*/ 332933 h 4687251"/>
              <a:gd name="connsiteX36345" fmla="*/ 5693434 w 8079933"/>
              <a:gd name="connsiteY36345" fmla="*/ 340186 h 4687251"/>
              <a:gd name="connsiteX36346" fmla="*/ 5691698 w 8079933"/>
              <a:gd name="connsiteY36346" fmla="*/ 343110 h 4687251"/>
              <a:gd name="connsiteX36347" fmla="*/ 5691698 w 8079933"/>
              <a:gd name="connsiteY36347" fmla="*/ 347657 h 4687251"/>
              <a:gd name="connsiteX36348" fmla="*/ 5688442 w 8079933"/>
              <a:gd name="connsiteY36348" fmla="*/ 354478 h 4687251"/>
              <a:gd name="connsiteX36349" fmla="*/ 5694193 w 8079933"/>
              <a:gd name="connsiteY36349" fmla="*/ 364006 h 4687251"/>
              <a:gd name="connsiteX36350" fmla="*/ 5693651 w 8079933"/>
              <a:gd name="connsiteY36350" fmla="*/ 369419 h 4687251"/>
              <a:gd name="connsiteX36351" fmla="*/ 5689853 w 8079933"/>
              <a:gd name="connsiteY36351" fmla="*/ 370827 h 4687251"/>
              <a:gd name="connsiteX36352" fmla="*/ 5685838 w 8079933"/>
              <a:gd name="connsiteY36352" fmla="*/ 374076 h 4687251"/>
              <a:gd name="connsiteX36353" fmla="*/ 5689094 w 8079933"/>
              <a:gd name="connsiteY36353" fmla="*/ 374833 h 4687251"/>
              <a:gd name="connsiteX36354" fmla="*/ 5698317 w 8079933"/>
              <a:gd name="connsiteY36354" fmla="*/ 372668 h 4687251"/>
              <a:gd name="connsiteX36355" fmla="*/ 5703960 w 8079933"/>
              <a:gd name="connsiteY36355" fmla="*/ 367037 h 4687251"/>
              <a:gd name="connsiteX36356" fmla="*/ 5711230 w 8079933"/>
              <a:gd name="connsiteY36356" fmla="*/ 367037 h 4687251"/>
              <a:gd name="connsiteX36357" fmla="*/ 5714486 w 8079933"/>
              <a:gd name="connsiteY36357" fmla="*/ 360325 h 4687251"/>
              <a:gd name="connsiteX36358" fmla="*/ 5713726 w 8079933"/>
              <a:gd name="connsiteY36358" fmla="*/ 351772 h 4687251"/>
              <a:gd name="connsiteX36359" fmla="*/ 5711339 w 8079933"/>
              <a:gd name="connsiteY36359" fmla="*/ 345276 h 4687251"/>
              <a:gd name="connsiteX36360" fmla="*/ 5708735 w 8079933"/>
              <a:gd name="connsiteY36360" fmla="*/ 345276 h 4687251"/>
              <a:gd name="connsiteX36361" fmla="*/ 5705154 w 8079933"/>
              <a:gd name="connsiteY36361" fmla="*/ 343868 h 4687251"/>
              <a:gd name="connsiteX36362" fmla="*/ 5705154 w 8079933"/>
              <a:gd name="connsiteY36362" fmla="*/ 338996 h 4687251"/>
              <a:gd name="connsiteX36363" fmla="*/ 5707215 w 8079933"/>
              <a:gd name="connsiteY36363" fmla="*/ 337264 h 4687251"/>
              <a:gd name="connsiteX36364" fmla="*/ 5710797 w 8079933"/>
              <a:gd name="connsiteY36364" fmla="*/ 337264 h 4687251"/>
              <a:gd name="connsiteX36365" fmla="*/ 5713075 w 8079933"/>
              <a:gd name="connsiteY36365" fmla="*/ 338996 h 4687251"/>
              <a:gd name="connsiteX36366" fmla="*/ 5716332 w 8079933"/>
              <a:gd name="connsiteY36366" fmla="*/ 337805 h 4687251"/>
              <a:gd name="connsiteX36367" fmla="*/ 5724470 w 8079933"/>
              <a:gd name="connsiteY36367" fmla="*/ 335747 h 4687251"/>
              <a:gd name="connsiteX36368" fmla="*/ 5730438 w 8079933"/>
              <a:gd name="connsiteY36368" fmla="*/ 329468 h 4687251"/>
              <a:gd name="connsiteX36369" fmla="*/ 5733910 w 8079933"/>
              <a:gd name="connsiteY36369" fmla="*/ 330225 h 4687251"/>
              <a:gd name="connsiteX36370" fmla="*/ 5740422 w 8079933"/>
              <a:gd name="connsiteY36370" fmla="*/ 330225 h 4687251"/>
              <a:gd name="connsiteX36371" fmla="*/ 5742158 w 8079933"/>
              <a:gd name="connsiteY36371" fmla="*/ 325570 h 4687251"/>
              <a:gd name="connsiteX36372" fmla="*/ 5746499 w 8079933"/>
              <a:gd name="connsiteY36372" fmla="*/ 321564 h 4687251"/>
              <a:gd name="connsiteX36373" fmla="*/ 5748235 w 8079933"/>
              <a:gd name="connsiteY36373" fmla="*/ 322647 h 4687251"/>
              <a:gd name="connsiteX36374" fmla="*/ 5751925 w 8079933"/>
              <a:gd name="connsiteY36374" fmla="*/ 319074 h 4687251"/>
              <a:gd name="connsiteX36375" fmla="*/ 5756808 w 8079933"/>
              <a:gd name="connsiteY36375" fmla="*/ 317991 h 4687251"/>
              <a:gd name="connsiteX36376" fmla="*/ 5758761 w 8079933"/>
              <a:gd name="connsiteY36376" fmla="*/ 319832 h 4687251"/>
              <a:gd name="connsiteX36377" fmla="*/ 5763753 w 8079933"/>
              <a:gd name="connsiteY36377" fmla="*/ 318749 h 4687251"/>
              <a:gd name="connsiteX36378" fmla="*/ 5764620 w 8079933"/>
              <a:gd name="connsiteY36378" fmla="*/ 321780 h 4687251"/>
              <a:gd name="connsiteX36379" fmla="*/ 5762993 w 8079933"/>
              <a:gd name="connsiteY36379" fmla="*/ 324271 h 4687251"/>
              <a:gd name="connsiteX36380" fmla="*/ 5763861 w 8079933"/>
              <a:gd name="connsiteY36380" fmla="*/ 328169 h 4687251"/>
              <a:gd name="connsiteX36381" fmla="*/ 5774712 w 8079933"/>
              <a:gd name="connsiteY36381" fmla="*/ 327303 h 4687251"/>
              <a:gd name="connsiteX36382" fmla="*/ 5776015 w 8079933"/>
              <a:gd name="connsiteY36382" fmla="*/ 328710 h 4687251"/>
              <a:gd name="connsiteX36383" fmla="*/ 5780790 w 8079933"/>
              <a:gd name="connsiteY36383" fmla="*/ 330442 h 4687251"/>
              <a:gd name="connsiteX36384" fmla="*/ 5798695 w 8079933"/>
              <a:gd name="connsiteY36384" fmla="*/ 341270 h 4687251"/>
              <a:gd name="connsiteX36385" fmla="*/ 5802819 w 8079933"/>
              <a:gd name="connsiteY36385" fmla="*/ 342136 h 4687251"/>
              <a:gd name="connsiteX36386" fmla="*/ 5805423 w 8079933"/>
              <a:gd name="connsiteY36386" fmla="*/ 347224 h 4687251"/>
              <a:gd name="connsiteX36387" fmla="*/ 5805423 w 8079933"/>
              <a:gd name="connsiteY36387" fmla="*/ 350689 h 4687251"/>
              <a:gd name="connsiteX36388" fmla="*/ 5813670 w 8079933"/>
              <a:gd name="connsiteY36388" fmla="*/ 360325 h 4687251"/>
              <a:gd name="connsiteX36389" fmla="*/ 5815732 w 8079933"/>
              <a:gd name="connsiteY36389" fmla="*/ 359242 h 4687251"/>
              <a:gd name="connsiteX36390" fmla="*/ 5815732 w 8079933"/>
              <a:gd name="connsiteY36390" fmla="*/ 355778 h 4687251"/>
              <a:gd name="connsiteX36391" fmla="*/ 5818445 w 8079933"/>
              <a:gd name="connsiteY36391" fmla="*/ 353937 h 4687251"/>
              <a:gd name="connsiteX36392" fmla="*/ 5819204 w 8079933"/>
              <a:gd name="connsiteY36392" fmla="*/ 351447 h 4687251"/>
              <a:gd name="connsiteX36393" fmla="*/ 5816166 w 8079933"/>
              <a:gd name="connsiteY36393" fmla="*/ 349282 h 4687251"/>
              <a:gd name="connsiteX36394" fmla="*/ 5811826 w 8079933"/>
              <a:gd name="connsiteY36394" fmla="*/ 349282 h 4687251"/>
              <a:gd name="connsiteX36395" fmla="*/ 5811826 w 8079933"/>
              <a:gd name="connsiteY36395" fmla="*/ 344734 h 4687251"/>
              <a:gd name="connsiteX36396" fmla="*/ 5815732 w 8079933"/>
              <a:gd name="connsiteY36396" fmla="*/ 342027 h 4687251"/>
              <a:gd name="connsiteX36397" fmla="*/ 5819747 w 8079933"/>
              <a:gd name="connsiteY36397" fmla="*/ 342027 h 4687251"/>
              <a:gd name="connsiteX36398" fmla="*/ 5822243 w 8079933"/>
              <a:gd name="connsiteY36398" fmla="*/ 345817 h 4687251"/>
              <a:gd name="connsiteX36399" fmla="*/ 5825824 w 8079933"/>
              <a:gd name="connsiteY36399" fmla="*/ 348956 h 4687251"/>
              <a:gd name="connsiteX36400" fmla="*/ 5825824 w 8079933"/>
              <a:gd name="connsiteY36400" fmla="*/ 352962 h 4687251"/>
              <a:gd name="connsiteX36401" fmla="*/ 5832661 w 8079933"/>
              <a:gd name="connsiteY36401" fmla="*/ 359242 h 4687251"/>
              <a:gd name="connsiteX36402" fmla="*/ 5833638 w 8079933"/>
              <a:gd name="connsiteY36402" fmla="*/ 364439 h 4687251"/>
              <a:gd name="connsiteX36403" fmla="*/ 5836784 w 8079933"/>
              <a:gd name="connsiteY36403" fmla="*/ 365739 h 4687251"/>
              <a:gd name="connsiteX36404" fmla="*/ 5839389 w 8079933"/>
              <a:gd name="connsiteY36404" fmla="*/ 364114 h 4687251"/>
              <a:gd name="connsiteX36405" fmla="*/ 5841233 w 8079933"/>
              <a:gd name="connsiteY36405" fmla="*/ 364114 h 4687251"/>
              <a:gd name="connsiteX36406" fmla="*/ 5844272 w 8079933"/>
              <a:gd name="connsiteY36406" fmla="*/ 366063 h 4687251"/>
              <a:gd name="connsiteX36407" fmla="*/ 5847419 w 8079933"/>
              <a:gd name="connsiteY36407" fmla="*/ 370610 h 4687251"/>
              <a:gd name="connsiteX36408" fmla="*/ 5847419 w 8079933"/>
              <a:gd name="connsiteY36408" fmla="*/ 375158 h 4687251"/>
              <a:gd name="connsiteX36409" fmla="*/ 5851326 w 8079933"/>
              <a:gd name="connsiteY36409" fmla="*/ 380139 h 4687251"/>
              <a:gd name="connsiteX36410" fmla="*/ 5851326 w 8079933"/>
              <a:gd name="connsiteY36410" fmla="*/ 383712 h 4687251"/>
              <a:gd name="connsiteX36411" fmla="*/ 5849481 w 8079933"/>
              <a:gd name="connsiteY36411" fmla="*/ 383712 h 4687251"/>
              <a:gd name="connsiteX36412" fmla="*/ 5848830 w 8079933"/>
              <a:gd name="connsiteY36412" fmla="*/ 381113 h 4687251"/>
              <a:gd name="connsiteX36413" fmla="*/ 5846877 w 8079933"/>
              <a:gd name="connsiteY36413" fmla="*/ 378298 h 4687251"/>
              <a:gd name="connsiteX36414" fmla="*/ 5845032 w 8079933"/>
              <a:gd name="connsiteY36414" fmla="*/ 378298 h 4687251"/>
              <a:gd name="connsiteX36415" fmla="*/ 5842862 w 8079933"/>
              <a:gd name="connsiteY36415" fmla="*/ 380788 h 4687251"/>
              <a:gd name="connsiteX36416" fmla="*/ 5839063 w 8079933"/>
              <a:gd name="connsiteY36416" fmla="*/ 377323 h 4687251"/>
              <a:gd name="connsiteX36417" fmla="*/ 5830816 w 8079933"/>
              <a:gd name="connsiteY36417" fmla="*/ 374076 h 4687251"/>
              <a:gd name="connsiteX36418" fmla="*/ 5824413 w 8079933"/>
              <a:gd name="connsiteY36418" fmla="*/ 374076 h 4687251"/>
              <a:gd name="connsiteX36419" fmla="*/ 5823437 w 8079933"/>
              <a:gd name="connsiteY36419" fmla="*/ 375482 h 4687251"/>
              <a:gd name="connsiteX36420" fmla="*/ 5826692 w 8079933"/>
              <a:gd name="connsiteY36420" fmla="*/ 379814 h 4687251"/>
              <a:gd name="connsiteX36421" fmla="*/ 5832878 w 8079933"/>
              <a:gd name="connsiteY36421" fmla="*/ 380572 h 4687251"/>
              <a:gd name="connsiteX36422" fmla="*/ 5835156 w 8079933"/>
              <a:gd name="connsiteY36422" fmla="*/ 382196 h 4687251"/>
              <a:gd name="connsiteX36423" fmla="*/ 5834180 w 8079933"/>
              <a:gd name="connsiteY36423" fmla="*/ 383495 h 4687251"/>
              <a:gd name="connsiteX36424" fmla="*/ 5837110 w 8079933"/>
              <a:gd name="connsiteY36424" fmla="*/ 389125 h 4687251"/>
              <a:gd name="connsiteX36425" fmla="*/ 5839714 w 8079933"/>
              <a:gd name="connsiteY36425" fmla="*/ 390965 h 4687251"/>
              <a:gd name="connsiteX36426" fmla="*/ 5841668 w 8079933"/>
              <a:gd name="connsiteY36426" fmla="*/ 389233 h 4687251"/>
              <a:gd name="connsiteX36427" fmla="*/ 5844272 w 8079933"/>
              <a:gd name="connsiteY36427" fmla="*/ 383820 h 4687251"/>
              <a:gd name="connsiteX36428" fmla="*/ 5845683 w 8079933"/>
              <a:gd name="connsiteY36428" fmla="*/ 383820 h 4687251"/>
              <a:gd name="connsiteX36429" fmla="*/ 5847961 w 8079933"/>
              <a:gd name="connsiteY36429" fmla="*/ 387501 h 4687251"/>
              <a:gd name="connsiteX36430" fmla="*/ 5851326 w 8079933"/>
              <a:gd name="connsiteY36430" fmla="*/ 389449 h 4687251"/>
              <a:gd name="connsiteX36431" fmla="*/ 5853713 w 8079933"/>
              <a:gd name="connsiteY36431" fmla="*/ 388043 h 4687251"/>
              <a:gd name="connsiteX36432" fmla="*/ 5856426 w 8079933"/>
              <a:gd name="connsiteY36432" fmla="*/ 388909 h 4687251"/>
              <a:gd name="connsiteX36433" fmla="*/ 5857511 w 8079933"/>
              <a:gd name="connsiteY36433" fmla="*/ 392265 h 4687251"/>
              <a:gd name="connsiteX36434" fmla="*/ 5856100 w 8079933"/>
              <a:gd name="connsiteY36434" fmla="*/ 394863 h 4687251"/>
              <a:gd name="connsiteX36435" fmla="*/ 5860441 w 8079933"/>
              <a:gd name="connsiteY36435" fmla="*/ 402334 h 4687251"/>
              <a:gd name="connsiteX36436" fmla="*/ 5862069 w 8079933"/>
              <a:gd name="connsiteY36436" fmla="*/ 410563 h 4687251"/>
              <a:gd name="connsiteX36437" fmla="*/ 5862069 w 8079933"/>
              <a:gd name="connsiteY36437" fmla="*/ 419765 h 4687251"/>
              <a:gd name="connsiteX36438" fmla="*/ 5858705 w 8079933"/>
              <a:gd name="connsiteY36438" fmla="*/ 427453 h 4687251"/>
              <a:gd name="connsiteX36439" fmla="*/ 5856752 w 8079933"/>
              <a:gd name="connsiteY36439" fmla="*/ 428211 h 4687251"/>
              <a:gd name="connsiteX36440" fmla="*/ 5854798 w 8079933"/>
              <a:gd name="connsiteY36440" fmla="*/ 432108 h 4687251"/>
              <a:gd name="connsiteX36441" fmla="*/ 5855992 w 8079933"/>
              <a:gd name="connsiteY36441" fmla="*/ 436656 h 4687251"/>
              <a:gd name="connsiteX36442" fmla="*/ 5852411 w 8079933"/>
              <a:gd name="connsiteY36442" fmla="*/ 442611 h 4687251"/>
              <a:gd name="connsiteX36443" fmla="*/ 5852411 w 8079933"/>
              <a:gd name="connsiteY36443" fmla="*/ 444885 h 4687251"/>
              <a:gd name="connsiteX36444" fmla="*/ 5855449 w 8079933"/>
              <a:gd name="connsiteY36444" fmla="*/ 448132 h 4687251"/>
              <a:gd name="connsiteX36445" fmla="*/ 5855449 w 8079933"/>
              <a:gd name="connsiteY36445" fmla="*/ 452030 h 4687251"/>
              <a:gd name="connsiteX36446" fmla="*/ 5849372 w 8079933"/>
              <a:gd name="connsiteY36446" fmla="*/ 454954 h 4687251"/>
              <a:gd name="connsiteX36447" fmla="*/ 5847419 w 8079933"/>
              <a:gd name="connsiteY36447" fmla="*/ 459718 h 4687251"/>
              <a:gd name="connsiteX36448" fmla="*/ 5848721 w 8079933"/>
              <a:gd name="connsiteY36448" fmla="*/ 462099 h 4687251"/>
              <a:gd name="connsiteX36449" fmla="*/ 5845141 w 8079933"/>
              <a:gd name="connsiteY36449" fmla="*/ 469787 h 4687251"/>
              <a:gd name="connsiteX36450" fmla="*/ 5842428 w 8079933"/>
              <a:gd name="connsiteY36450" fmla="*/ 472926 h 4687251"/>
              <a:gd name="connsiteX36451" fmla="*/ 5843187 w 8079933"/>
              <a:gd name="connsiteY36451" fmla="*/ 475525 h 4687251"/>
              <a:gd name="connsiteX36452" fmla="*/ 5841016 w 8079933"/>
              <a:gd name="connsiteY36452" fmla="*/ 480289 h 4687251"/>
              <a:gd name="connsiteX36453" fmla="*/ 5836784 w 8079933"/>
              <a:gd name="connsiteY36453" fmla="*/ 482346 h 4687251"/>
              <a:gd name="connsiteX36454" fmla="*/ 5831250 w 8079933"/>
              <a:gd name="connsiteY36454" fmla="*/ 487001 h 4687251"/>
              <a:gd name="connsiteX36455" fmla="*/ 5826258 w 8079933"/>
              <a:gd name="connsiteY36455" fmla="*/ 487001 h 4687251"/>
              <a:gd name="connsiteX36456" fmla="*/ 5831684 w 8079933"/>
              <a:gd name="connsiteY36456" fmla="*/ 488734 h 4687251"/>
              <a:gd name="connsiteX36457" fmla="*/ 5835482 w 8079933"/>
              <a:gd name="connsiteY36457" fmla="*/ 488734 h 4687251"/>
              <a:gd name="connsiteX36458" fmla="*/ 5838413 w 8079933"/>
              <a:gd name="connsiteY36458" fmla="*/ 485486 h 4687251"/>
              <a:gd name="connsiteX36459" fmla="*/ 5839931 w 8079933"/>
              <a:gd name="connsiteY36459" fmla="*/ 485486 h 4687251"/>
              <a:gd name="connsiteX36460" fmla="*/ 5842428 w 8079933"/>
              <a:gd name="connsiteY36460" fmla="*/ 492307 h 4687251"/>
              <a:gd name="connsiteX36461" fmla="*/ 5838520 w 8079933"/>
              <a:gd name="connsiteY36461" fmla="*/ 500427 h 4687251"/>
              <a:gd name="connsiteX36462" fmla="*/ 5834831 w 8079933"/>
              <a:gd name="connsiteY36462" fmla="*/ 505516 h 4687251"/>
              <a:gd name="connsiteX36463" fmla="*/ 5832010 w 8079933"/>
              <a:gd name="connsiteY36463" fmla="*/ 516992 h 4687251"/>
              <a:gd name="connsiteX36464" fmla="*/ 5834614 w 8079933"/>
              <a:gd name="connsiteY36464" fmla="*/ 522082 h 4687251"/>
              <a:gd name="connsiteX36465" fmla="*/ 5835374 w 8079933"/>
              <a:gd name="connsiteY36465" fmla="*/ 526087 h 4687251"/>
              <a:gd name="connsiteX36466" fmla="*/ 5831141 w 8079933"/>
              <a:gd name="connsiteY36466" fmla="*/ 536914 h 4687251"/>
              <a:gd name="connsiteX36467" fmla="*/ 5824739 w 8079933"/>
              <a:gd name="connsiteY36467" fmla="*/ 539188 h 4687251"/>
              <a:gd name="connsiteX36468" fmla="*/ 5822786 w 8079933"/>
              <a:gd name="connsiteY36468" fmla="*/ 538430 h 4687251"/>
              <a:gd name="connsiteX36469" fmla="*/ 5819639 w 8079933"/>
              <a:gd name="connsiteY36469" fmla="*/ 538430 h 4687251"/>
              <a:gd name="connsiteX36470" fmla="*/ 5817903 w 8079933"/>
              <a:gd name="connsiteY36470" fmla="*/ 541353 h 4687251"/>
              <a:gd name="connsiteX36471" fmla="*/ 5819313 w 8079933"/>
              <a:gd name="connsiteY36471" fmla="*/ 544060 h 4687251"/>
              <a:gd name="connsiteX36472" fmla="*/ 5822026 w 8079933"/>
              <a:gd name="connsiteY36472" fmla="*/ 553480 h 4687251"/>
              <a:gd name="connsiteX36473" fmla="*/ 5820181 w 8079933"/>
              <a:gd name="connsiteY36473" fmla="*/ 557702 h 4687251"/>
              <a:gd name="connsiteX36474" fmla="*/ 5815515 w 8079933"/>
              <a:gd name="connsiteY36474" fmla="*/ 560626 h 4687251"/>
              <a:gd name="connsiteX36475" fmla="*/ 5813237 w 8079933"/>
              <a:gd name="connsiteY36475" fmla="*/ 567014 h 4687251"/>
              <a:gd name="connsiteX36476" fmla="*/ 5815515 w 8079933"/>
              <a:gd name="connsiteY36476" fmla="*/ 573726 h 4687251"/>
              <a:gd name="connsiteX36477" fmla="*/ 5815515 w 8079933"/>
              <a:gd name="connsiteY36477" fmla="*/ 579465 h 4687251"/>
              <a:gd name="connsiteX36478" fmla="*/ 5813453 w 8079933"/>
              <a:gd name="connsiteY36478" fmla="*/ 581955 h 4687251"/>
              <a:gd name="connsiteX36479" fmla="*/ 5813453 w 8079933"/>
              <a:gd name="connsiteY36479" fmla="*/ 585853 h 4687251"/>
              <a:gd name="connsiteX36480" fmla="*/ 5816709 w 8079933"/>
              <a:gd name="connsiteY36480" fmla="*/ 588126 h 4687251"/>
              <a:gd name="connsiteX36481" fmla="*/ 5813453 w 8079933"/>
              <a:gd name="connsiteY36481" fmla="*/ 600686 h 4687251"/>
              <a:gd name="connsiteX36482" fmla="*/ 5809547 w 8079933"/>
              <a:gd name="connsiteY36482" fmla="*/ 603718 h 4687251"/>
              <a:gd name="connsiteX36483" fmla="*/ 5808462 w 8079933"/>
              <a:gd name="connsiteY36483" fmla="*/ 608156 h 4687251"/>
              <a:gd name="connsiteX36484" fmla="*/ 5810089 w 8079933"/>
              <a:gd name="connsiteY36484" fmla="*/ 605124 h 4687251"/>
              <a:gd name="connsiteX36485" fmla="*/ 5814647 w 8079933"/>
              <a:gd name="connsiteY36485" fmla="*/ 605124 h 4687251"/>
              <a:gd name="connsiteX36486" fmla="*/ 5819204 w 8079933"/>
              <a:gd name="connsiteY36486" fmla="*/ 600577 h 4687251"/>
              <a:gd name="connsiteX36487" fmla="*/ 5821376 w 8079933"/>
              <a:gd name="connsiteY36487" fmla="*/ 596138 h 4687251"/>
              <a:gd name="connsiteX36488" fmla="*/ 5820290 w 8079933"/>
              <a:gd name="connsiteY36488" fmla="*/ 594189 h 4687251"/>
              <a:gd name="connsiteX36489" fmla="*/ 5821917 w 8079933"/>
              <a:gd name="connsiteY36489" fmla="*/ 590941 h 4687251"/>
              <a:gd name="connsiteX36490" fmla="*/ 5828212 w 8079933"/>
              <a:gd name="connsiteY36490" fmla="*/ 590941 h 4687251"/>
              <a:gd name="connsiteX36491" fmla="*/ 5831684 w 8079933"/>
              <a:gd name="connsiteY36491" fmla="*/ 589859 h 4687251"/>
              <a:gd name="connsiteX36492" fmla="*/ 5828103 w 8079933"/>
              <a:gd name="connsiteY36492" fmla="*/ 588884 h 4687251"/>
              <a:gd name="connsiteX36493" fmla="*/ 5820073 w 8079933"/>
              <a:gd name="connsiteY36493" fmla="*/ 580547 h 4687251"/>
              <a:gd name="connsiteX36494" fmla="*/ 5817686 w 8079933"/>
              <a:gd name="connsiteY36494" fmla="*/ 574268 h 4687251"/>
              <a:gd name="connsiteX36495" fmla="*/ 5820398 w 8079933"/>
              <a:gd name="connsiteY36495" fmla="*/ 569071 h 4687251"/>
              <a:gd name="connsiteX36496" fmla="*/ 5828537 w 8079933"/>
              <a:gd name="connsiteY36496" fmla="*/ 568313 h 4687251"/>
              <a:gd name="connsiteX36497" fmla="*/ 5837110 w 8079933"/>
              <a:gd name="connsiteY36497" fmla="*/ 567230 h 4687251"/>
              <a:gd name="connsiteX36498" fmla="*/ 5844164 w 8079933"/>
              <a:gd name="connsiteY36498" fmla="*/ 561059 h 4687251"/>
              <a:gd name="connsiteX36499" fmla="*/ 5847745 w 8079933"/>
              <a:gd name="connsiteY36499" fmla="*/ 561059 h 4687251"/>
              <a:gd name="connsiteX36500" fmla="*/ 5850458 w 8079933"/>
              <a:gd name="connsiteY36500" fmla="*/ 558676 h 4687251"/>
              <a:gd name="connsiteX36501" fmla="*/ 5847745 w 8079933"/>
              <a:gd name="connsiteY36501" fmla="*/ 554671 h 4687251"/>
              <a:gd name="connsiteX36502" fmla="*/ 5854798 w 8079933"/>
              <a:gd name="connsiteY36502" fmla="*/ 549041 h 4687251"/>
              <a:gd name="connsiteX36503" fmla="*/ 5858270 w 8079933"/>
              <a:gd name="connsiteY36503" fmla="*/ 543410 h 4687251"/>
              <a:gd name="connsiteX36504" fmla="*/ 5855775 w 8079933"/>
              <a:gd name="connsiteY36504" fmla="*/ 538322 h 4687251"/>
              <a:gd name="connsiteX36505" fmla="*/ 5855775 w 8079933"/>
              <a:gd name="connsiteY36505" fmla="*/ 536481 h 4687251"/>
              <a:gd name="connsiteX36506" fmla="*/ 5860875 w 8079933"/>
              <a:gd name="connsiteY36506" fmla="*/ 539405 h 4687251"/>
              <a:gd name="connsiteX36507" fmla="*/ 5866627 w 8079933"/>
              <a:gd name="connsiteY36507" fmla="*/ 537564 h 4687251"/>
              <a:gd name="connsiteX36508" fmla="*/ 5870099 w 8079933"/>
              <a:gd name="connsiteY36508" fmla="*/ 532367 h 4687251"/>
              <a:gd name="connsiteX36509" fmla="*/ 5867386 w 8079933"/>
              <a:gd name="connsiteY36509" fmla="*/ 528794 h 4687251"/>
              <a:gd name="connsiteX36510" fmla="*/ 5876285 w 8079933"/>
              <a:gd name="connsiteY36510" fmla="*/ 522082 h 4687251"/>
              <a:gd name="connsiteX36511" fmla="*/ 5876827 w 8079933"/>
              <a:gd name="connsiteY36511" fmla="*/ 516884 h 4687251"/>
              <a:gd name="connsiteX36512" fmla="*/ 5874874 w 8079933"/>
              <a:gd name="connsiteY36512" fmla="*/ 513311 h 4687251"/>
              <a:gd name="connsiteX36513" fmla="*/ 5865975 w 8079933"/>
              <a:gd name="connsiteY36513" fmla="*/ 518400 h 4687251"/>
              <a:gd name="connsiteX36514" fmla="*/ 5865216 w 8079933"/>
              <a:gd name="connsiteY36514" fmla="*/ 521648 h 4687251"/>
              <a:gd name="connsiteX36515" fmla="*/ 5858162 w 8079933"/>
              <a:gd name="connsiteY36515" fmla="*/ 526845 h 4687251"/>
              <a:gd name="connsiteX36516" fmla="*/ 5852953 w 8079933"/>
              <a:gd name="connsiteY36516" fmla="*/ 524355 h 4687251"/>
              <a:gd name="connsiteX36517" fmla="*/ 5849481 w 8079933"/>
              <a:gd name="connsiteY36517" fmla="*/ 518184 h 4687251"/>
              <a:gd name="connsiteX36518" fmla="*/ 5853279 w 8079933"/>
              <a:gd name="connsiteY36518" fmla="*/ 512770 h 4687251"/>
              <a:gd name="connsiteX36519" fmla="*/ 5852194 w 8079933"/>
              <a:gd name="connsiteY36519" fmla="*/ 504866 h 4687251"/>
              <a:gd name="connsiteX36520" fmla="*/ 5856860 w 8079933"/>
              <a:gd name="connsiteY36520" fmla="*/ 500860 h 4687251"/>
              <a:gd name="connsiteX36521" fmla="*/ 5863697 w 8079933"/>
              <a:gd name="connsiteY36521" fmla="*/ 500860 h 4687251"/>
              <a:gd name="connsiteX36522" fmla="*/ 5871835 w 8079933"/>
              <a:gd name="connsiteY36522" fmla="*/ 506274 h 4687251"/>
              <a:gd name="connsiteX36523" fmla="*/ 5875090 w 8079933"/>
              <a:gd name="connsiteY36523" fmla="*/ 502484 h 4687251"/>
              <a:gd name="connsiteX36524" fmla="*/ 5875090 w 8079933"/>
              <a:gd name="connsiteY36524" fmla="*/ 497070 h 4687251"/>
              <a:gd name="connsiteX36525" fmla="*/ 5881602 w 8079933"/>
              <a:gd name="connsiteY36525" fmla="*/ 494364 h 4687251"/>
              <a:gd name="connsiteX36526" fmla="*/ 5882362 w 8079933"/>
              <a:gd name="connsiteY36526" fmla="*/ 498153 h 4687251"/>
              <a:gd name="connsiteX36527" fmla="*/ 5879649 w 8079933"/>
              <a:gd name="connsiteY36527" fmla="*/ 501185 h 4687251"/>
              <a:gd name="connsiteX36528" fmla="*/ 5879649 w 8079933"/>
              <a:gd name="connsiteY36528" fmla="*/ 505841 h 4687251"/>
              <a:gd name="connsiteX36529" fmla="*/ 5892670 w 8079933"/>
              <a:gd name="connsiteY36529" fmla="*/ 516668 h 4687251"/>
              <a:gd name="connsiteX36530" fmla="*/ 5899072 w 8079933"/>
              <a:gd name="connsiteY36530" fmla="*/ 516668 h 4687251"/>
              <a:gd name="connsiteX36531" fmla="*/ 5902328 w 8079933"/>
              <a:gd name="connsiteY36531" fmla="*/ 514719 h 4687251"/>
              <a:gd name="connsiteX36532" fmla="*/ 5911335 w 8079933"/>
              <a:gd name="connsiteY36532" fmla="*/ 513094 h 4687251"/>
              <a:gd name="connsiteX36533" fmla="*/ 5915351 w 8079933"/>
              <a:gd name="connsiteY36533" fmla="*/ 508764 h 4687251"/>
              <a:gd name="connsiteX36534" fmla="*/ 5914591 w 8079933"/>
              <a:gd name="connsiteY36534" fmla="*/ 503675 h 4687251"/>
              <a:gd name="connsiteX36535" fmla="*/ 5907211 w 8079933"/>
              <a:gd name="connsiteY36535" fmla="*/ 495231 h 4687251"/>
              <a:gd name="connsiteX36536" fmla="*/ 5907211 w 8079933"/>
              <a:gd name="connsiteY36536" fmla="*/ 492307 h 4687251"/>
              <a:gd name="connsiteX36537" fmla="*/ 5909707 w 8079933"/>
              <a:gd name="connsiteY36537" fmla="*/ 492307 h 4687251"/>
              <a:gd name="connsiteX36538" fmla="*/ 5918932 w 8079933"/>
              <a:gd name="connsiteY36538" fmla="*/ 501293 h 4687251"/>
              <a:gd name="connsiteX36539" fmla="*/ 5922187 w 8079933"/>
              <a:gd name="connsiteY36539" fmla="*/ 501293 h 4687251"/>
              <a:gd name="connsiteX36540" fmla="*/ 5927287 w 8079933"/>
              <a:gd name="connsiteY36540" fmla="*/ 505841 h 4687251"/>
              <a:gd name="connsiteX36541" fmla="*/ 5926202 w 8079933"/>
              <a:gd name="connsiteY36541" fmla="*/ 509413 h 4687251"/>
              <a:gd name="connsiteX36542" fmla="*/ 5927287 w 8079933"/>
              <a:gd name="connsiteY36542" fmla="*/ 512878 h 4687251"/>
              <a:gd name="connsiteX36543" fmla="*/ 5933581 w 8079933"/>
              <a:gd name="connsiteY36543" fmla="*/ 517967 h 4687251"/>
              <a:gd name="connsiteX36544" fmla="*/ 5934449 w 8079933"/>
              <a:gd name="connsiteY36544" fmla="*/ 526953 h 4687251"/>
              <a:gd name="connsiteX36545" fmla="*/ 5936294 w 8079933"/>
              <a:gd name="connsiteY36545" fmla="*/ 528577 h 4687251"/>
              <a:gd name="connsiteX36546" fmla="*/ 5936294 w 8079933"/>
              <a:gd name="connsiteY36546" fmla="*/ 526087 h 4687251"/>
              <a:gd name="connsiteX36547" fmla="*/ 5940635 w 8079933"/>
              <a:gd name="connsiteY36547" fmla="*/ 521432 h 4687251"/>
              <a:gd name="connsiteX36548" fmla="*/ 5943130 w 8079933"/>
              <a:gd name="connsiteY36548" fmla="*/ 520890 h 4687251"/>
              <a:gd name="connsiteX36549" fmla="*/ 5945519 w 8079933"/>
              <a:gd name="connsiteY36549" fmla="*/ 517317 h 4687251"/>
              <a:gd name="connsiteX36550" fmla="*/ 5943565 w 8079933"/>
              <a:gd name="connsiteY36550" fmla="*/ 515909 h 4687251"/>
              <a:gd name="connsiteX36551" fmla="*/ 5939767 w 8079933"/>
              <a:gd name="connsiteY36551" fmla="*/ 517750 h 4687251"/>
              <a:gd name="connsiteX36552" fmla="*/ 5936294 w 8079933"/>
              <a:gd name="connsiteY36552" fmla="*/ 516668 h 4687251"/>
              <a:gd name="connsiteX36553" fmla="*/ 5933256 w 8079933"/>
              <a:gd name="connsiteY36553" fmla="*/ 510713 h 4687251"/>
              <a:gd name="connsiteX36554" fmla="*/ 5939441 w 8079933"/>
              <a:gd name="connsiteY36554" fmla="*/ 504975 h 4687251"/>
              <a:gd name="connsiteX36555" fmla="*/ 5944542 w 8079933"/>
              <a:gd name="connsiteY36555" fmla="*/ 502051 h 4687251"/>
              <a:gd name="connsiteX36556" fmla="*/ 5946929 w 8079933"/>
              <a:gd name="connsiteY36556" fmla="*/ 498803 h 4687251"/>
              <a:gd name="connsiteX36557" fmla="*/ 5949968 w 8079933"/>
              <a:gd name="connsiteY36557" fmla="*/ 498803 h 4687251"/>
              <a:gd name="connsiteX36558" fmla="*/ 5951921 w 8079933"/>
              <a:gd name="connsiteY36558" fmla="*/ 495338 h 4687251"/>
              <a:gd name="connsiteX36559" fmla="*/ 5961904 w 8079933"/>
              <a:gd name="connsiteY36559" fmla="*/ 493498 h 4687251"/>
              <a:gd name="connsiteX36560" fmla="*/ 5977639 w 8079933"/>
              <a:gd name="connsiteY36560" fmla="*/ 489384 h 4687251"/>
              <a:gd name="connsiteX36561" fmla="*/ 5996629 w 8079933"/>
              <a:gd name="connsiteY36561" fmla="*/ 488626 h 4687251"/>
              <a:gd name="connsiteX36562" fmla="*/ 6011280 w 8079933"/>
              <a:gd name="connsiteY36562" fmla="*/ 482129 h 4687251"/>
              <a:gd name="connsiteX36563" fmla="*/ 6018550 w 8079933"/>
              <a:gd name="connsiteY36563" fmla="*/ 482129 h 4687251"/>
              <a:gd name="connsiteX36564" fmla="*/ 6025278 w 8079933"/>
              <a:gd name="connsiteY36564" fmla="*/ 484620 h 4687251"/>
              <a:gd name="connsiteX36565" fmla="*/ 6025278 w 8079933"/>
              <a:gd name="connsiteY36565" fmla="*/ 488409 h 4687251"/>
              <a:gd name="connsiteX36566" fmla="*/ 6023433 w 8079933"/>
              <a:gd name="connsiteY36566" fmla="*/ 489276 h 4687251"/>
              <a:gd name="connsiteX36567" fmla="*/ 6020395 w 8079933"/>
              <a:gd name="connsiteY36567" fmla="*/ 494905 h 4687251"/>
              <a:gd name="connsiteX36568" fmla="*/ 6023108 w 8079933"/>
              <a:gd name="connsiteY36568" fmla="*/ 503892 h 4687251"/>
              <a:gd name="connsiteX36569" fmla="*/ 6029401 w 8079933"/>
              <a:gd name="connsiteY36569" fmla="*/ 508980 h 4687251"/>
              <a:gd name="connsiteX36570" fmla="*/ 6051105 w 8079933"/>
              <a:gd name="connsiteY36570" fmla="*/ 509847 h 4687251"/>
              <a:gd name="connsiteX36571" fmla="*/ 6055229 w 8079933"/>
              <a:gd name="connsiteY36571" fmla="*/ 511146 h 4687251"/>
              <a:gd name="connsiteX36572" fmla="*/ 6056856 w 8079933"/>
              <a:gd name="connsiteY36572" fmla="*/ 510280 h 4687251"/>
              <a:gd name="connsiteX36573" fmla="*/ 6064561 w 8079933"/>
              <a:gd name="connsiteY36573" fmla="*/ 510280 h 4687251"/>
              <a:gd name="connsiteX36574" fmla="*/ 6070313 w 8079933"/>
              <a:gd name="connsiteY36574" fmla="*/ 512120 h 4687251"/>
              <a:gd name="connsiteX36575" fmla="*/ 6085070 w 8079933"/>
              <a:gd name="connsiteY36575" fmla="*/ 509739 h 4687251"/>
              <a:gd name="connsiteX36576" fmla="*/ 6095922 w 8079933"/>
              <a:gd name="connsiteY36576" fmla="*/ 504109 h 4687251"/>
              <a:gd name="connsiteX36577" fmla="*/ 6099611 w 8079933"/>
              <a:gd name="connsiteY36577" fmla="*/ 505407 h 4687251"/>
              <a:gd name="connsiteX36578" fmla="*/ 6104603 w 8079933"/>
              <a:gd name="connsiteY36578" fmla="*/ 505407 h 4687251"/>
              <a:gd name="connsiteX36579" fmla="*/ 6107425 w 8079933"/>
              <a:gd name="connsiteY36579" fmla="*/ 500752 h 4687251"/>
              <a:gd name="connsiteX36580" fmla="*/ 6105580 w 8079933"/>
              <a:gd name="connsiteY36580" fmla="*/ 497396 h 4687251"/>
              <a:gd name="connsiteX36581" fmla="*/ 6110029 w 8079933"/>
              <a:gd name="connsiteY36581" fmla="*/ 496313 h 4687251"/>
              <a:gd name="connsiteX36582" fmla="*/ 6114262 w 8079933"/>
              <a:gd name="connsiteY36582" fmla="*/ 497504 h 4687251"/>
              <a:gd name="connsiteX36583" fmla="*/ 6120772 w 8079933"/>
              <a:gd name="connsiteY36583" fmla="*/ 495663 h 4687251"/>
              <a:gd name="connsiteX36584" fmla="*/ 6122292 w 8079933"/>
              <a:gd name="connsiteY36584" fmla="*/ 499344 h 4687251"/>
              <a:gd name="connsiteX36585" fmla="*/ 6124679 w 8079933"/>
              <a:gd name="connsiteY36585" fmla="*/ 500103 h 4687251"/>
              <a:gd name="connsiteX36586" fmla="*/ 6127718 w 8079933"/>
              <a:gd name="connsiteY36586" fmla="*/ 495446 h 4687251"/>
              <a:gd name="connsiteX36587" fmla="*/ 6126198 w 8079933"/>
              <a:gd name="connsiteY36587" fmla="*/ 491874 h 4687251"/>
              <a:gd name="connsiteX36588" fmla="*/ 6122183 w 8079933"/>
              <a:gd name="connsiteY36588" fmla="*/ 488084 h 4687251"/>
              <a:gd name="connsiteX36589" fmla="*/ 6122183 w 8079933"/>
              <a:gd name="connsiteY36589" fmla="*/ 483429 h 4687251"/>
              <a:gd name="connsiteX36590" fmla="*/ 6119796 w 8079933"/>
              <a:gd name="connsiteY36590" fmla="*/ 479856 h 4687251"/>
              <a:gd name="connsiteX36591" fmla="*/ 6114479 w 8079933"/>
              <a:gd name="connsiteY36591" fmla="*/ 478773 h 4687251"/>
              <a:gd name="connsiteX36592" fmla="*/ 6113719 w 8079933"/>
              <a:gd name="connsiteY36592" fmla="*/ 472601 h 4687251"/>
              <a:gd name="connsiteX36593" fmla="*/ 6111222 w 8079933"/>
              <a:gd name="connsiteY36593" fmla="*/ 471519 h 4687251"/>
              <a:gd name="connsiteX36594" fmla="*/ 6110029 w 8079933"/>
              <a:gd name="connsiteY36594" fmla="*/ 466755 h 4687251"/>
              <a:gd name="connsiteX36595" fmla="*/ 6106774 w 8079933"/>
              <a:gd name="connsiteY36595" fmla="*/ 463074 h 4687251"/>
              <a:gd name="connsiteX36596" fmla="*/ 6106014 w 8079933"/>
              <a:gd name="connsiteY36596" fmla="*/ 457010 h 4687251"/>
              <a:gd name="connsiteX36597" fmla="*/ 6108510 w 8079933"/>
              <a:gd name="connsiteY36597" fmla="*/ 452571 h 4687251"/>
              <a:gd name="connsiteX36598" fmla="*/ 6109269 w 8079933"/>
              <a:gd name="connsiteY36598" fmla="*/ 455387 h 4687251"/>
              <a:gd name="connsiteX36599" fmla="*/ 6111549 w 8079933"/>
              <a:gd name="connsiteY36599" fmla="*/ 456794 h 4687251"/>
              <a:gd name="connsiteX36600" fmla="*/ 6116866 w 8079933"/>
              <a:gd name="connsiteY36600" fmla="*/ 452463 h 4687251"/>
              <a:gd name="connsiteX36601" fmla="*/ 6115781 w 8079933"/>
              <a:gd name="connsiteY36601" fmla="*/ 450623 h 4687251"/>
              <a:gd name="connsiteX36602" fmla="*/ 6114695 w 8079933"/>
              <a:gd name="connsiteY36602" fmla="*/ 446509 h 4687251"/>
              <a:gd name="connsiteX36603" fmla="*/ 6118494 w 8079933"/>
              <a:gd name="connsiteY36603" fmla="*/ 446509 h 4687251"/>
              <a:gd name="connsiteX36604" fmla="*/ 6124136 w 8079933"/>
              <a:gd name="connsiteY36604" fmla="*/ 450948 h 4687251"/>
              <a:gd name="connsiteX36605" fmla="*/ 6126958 w 8079933"/>
              <a:gd name="connsiteY36605" fmla="*/ 448891 h 4687251"/>
              <a:gd name="connsiteX36606" fmla="*/ 6127935 w 8079933"/>
              <a:gd name="connsiteY36606" fmla="*/ 444885 h 4687251"/>
              <a:gd name="connsiteX36607" fmla="*/ 6129779 w 8079933"/>
              <a:gd name="connsiteY36607" fmla="*/ 447699 h 4687251"/>
              <a:gd name="connsiteX36608" fmla="*/ 6135965 w 8079933"/>
              <a:gd name="connsiteY36608" fmla="*/ 447699 h 4687251"/>
              <a:gd name="connsiteX36609" fmla="*/ 6139546 w 8079933"/>
              <a:gd name="connsiteY36609" fmla="*/ 446942 h 4687251"/>
              <a:gd name="connsiteX36610" fmla="*/ 6141065 w 8079933"/>
              <a:gd name="connsiteY36610" fmla="*/ 444018 h 4687251"/>
              <a:gd name="connsiteX36611" fmla="*/ 6145406 w 8079933"/>
              <a:gd name="connsiteY36611" fmla="*/ 448565 h 4687251"/>
              <a:gd name="connsiteX36612" fmla="*/ 6149421 w 8079933"/>
              <a:gd name="connsiteY36612" fmla="*/ 449865 h 4687251"/>
              <a:gd name="connsiteX36613" fmla="*/ 6152351 w 8079933"/>
              <a:gd name="connsiteY36613" fmla="*/ 453762 h 4687251"/>
              <a:gd name="connsiteX36614" fmla="*/ 6155280 w 8079933"/>
              <a:gd name="connsiteY36614" fmla="*/ 451489 h 4687251"/>
              <a:gd name="connsiteX36615" fmla="*/ 6155280 w 8079933"/>
              <a:gd name="connsiteY36615" fmla="*/ 447050 h 4687251"/>
              <a:gd name="connsiteX36616" fmla="*/ 6159513 w 8079933"/>
              <a:gd name="connsiteY36616" fmla="*/ 447916 h 4687251"/>
              <a:gd name="connsiteX36617" fmla="*/ 6162226 w 8079933"/>
              <a:gd name="connsiteY36617" fmla="*/ 452463 h 4687251"/>
              <a:gd name="connsiteX36618" fmla="*/ 6159296 w 8079933"/>
              <a:gd name="connsiteY36618" fmla="*/ 454954 h 4687251"/>
              <a:gd name="connsiteX36619" fmla="*/ 6157234 w 8079933"/>
              <a:gd name="connsiteY36619" fmla="*/ 458960 h 4687251"/>
              <a:gd name="connsiteX36620" fmla="*/ 6158862 w 8079933"/>
              <a:gd name="connsiteY36620" fmla="*/ 460367 h 4687251"/>
              <a:gd name="connsiteX36621" fmla="*/ 6164179 w 8079933"/>
              <a:gd name="connsiteY36621" fmla="*/ 459176 h 4687251"/>
              <a:gd name="connsiteX36622" fmla="*/ 6165589 w 8079933"/>
              <a:gd name="connsiteY36622" fmla="*/ 459934 h 4687251"/>
              <a:gd name="connsiteX36623" fmla="*/ 6165589 w 8079933"/>
              <a:gd name="connsiteY36623" fmla="*/ 456361 h 4687251"/>
              <a:gd name="connsiteX36624" fmla="*/ 6167760 w 8079933"/>
              <a:gd name="connsiteY36624" fmla="*/ 455170 h 4687251"/>
              <a:gd name="connsiteX36625" fmla="*/ 6170907 w 8079933"/>
              <a:gd name="connsiteY36625" fmla="*/ 455928 h 4687251"/>
              <a:gd name="connsiteX36626" fmla="*/ 6169280 w 8079933"/>
              <a:gd name="connsiteY36626" fmla="*/ 450948 h 4687251"/>
              <a:gd name="connsiteX36627" fmla="*/ 6166675 w 8079933"/>
              <a:gd name="connsiteY36627" fmla="*/ 448782 h 4687251"/>
              <a:gd name="connsiteX36628" fmla="*/ 6167760 w 8079933"/>
              <a:gd name="connsiteY36628" fmla="*/ 446617 h 4687251"/>
              <a:gd name="connsiteX36629" fmla="*/ 6172101 w 8079933"/>
              <a:gd name="connsiteY36629" fmla="*/ 446617 h 4687251"/>
              <a:gd name="connsiteX36630" fmla="*/ 6179154 w 8079933"/>
              <a:gd name="connsiteY36630" fmla="*/ 444559 h 4687251"/>
              <a:gd name="connsiteX36631" fmla="*/ 6181433 w 8079933"/>
              <a:gd name="connsiteY36631" fmla="*/ 446725 h 4687251"/>
              <a:gd name="connsiteX36632" fmla="*/ 6184255 w 8079933"/>
              <a:gd name="connsiteY36632" fmla="*/ 445209 h 4687251"/>
              <a:gd name="connsiteX36633" fmla="*/ 6190766 w 8079933"/>
              <a:gd name="connsiteY36633" fmla="*/ 445209 h 4687251"/>
              <a:gd name="connsiteX36634" fmla="*/ 6190766 w 8079933"/>
              <a:gd name="connsiteY36634" fmla="*/ 448565 h 4687251"/>
              <a:gd name="connsiteX36635" fmla="*/ 6192176 w 8079933"/>
              <a:gd name="connsiteY36635" fmla="*/ 454845 h 4687251"/>
              <a:gd name="connsiteX36636" fmla="*/ 6193370 w 8079933"/>
              <a:gd name="connsiteY36636" fmla="*/ 451922 h 4687251"/>
              <a:gd name="connsiteX36637" fmla="*/ 6195649 w 8079933"/>
              <a:gd name="connsiteY36637" fmla="*/ 451922 h 4687251"/>
              <a:gd name="connsiteX36638" fmla="*/ 6199773 w 8079933"/>
              <a:gd name="connsiteY36638" fmla="*/ 448024 h 4687251"/>
              <a:gd name="connsiteX36639" fmla="*/ 6201618 w 8079933"/>
              <a:gd name="connsiteY36639" fmla="*/ 454629 h 4687251"/>
              <a:gd name="connsiteX36640" fmla="*/ 6204439 w 8079933"/>
              <a:gd name="connsiteY36640" fmla="*/ 454629 h 4687251"/>
              <a:gd name="connsiteX36641" fmla="*/ 6208888 w 8079933"/>
              <a:gd name="connsiteY36641" fmla="*/ 451273 h 4687251"/>
              <a:gd name="connsiteX36642" fmla="*/ 6213446 w 8079933"/>
              <a:gd name="connsiteY36642" fmla="*/ 455062 h 4687251"/>
              <a:gd name="connsiteX36643" fmla="*/ 6214965 w 8079933"/>
              <a:gd name="connsiteY36643" fmla="*/ 464264 h 4687251"/>
              <a:gd name="connsiteX36644" fmla="*/ 6218112 w 8079933"/>
              <a:gd name="connsiteY36644" fmla="*/ 458526 h 4687251"/>
              <a:gd name="connsiteX36645" fmla="*/ 6220934 w 8079933"/>
              <a:gd name="connsiteY36645" fmla="*/ 456144 h 4687251"/>
              <a:gd name="connsiteX36646" fmla="*/ 6223104 w 8079933"/>
              <a:gd name="connsiteY36646" fmla="*/ 458202 h 4687251"/>
              <a:gd name="connsiteX36647" fmla="*/ 6220499 w 8079933"/>
              <a:gd name="connsiteY36647" fmla="*/ 464373 h 4687251"/>
              <a:gd name="connsiteX36648" fmla="*/ 6224080 w 8079933"/>
              <a:gd name="connsiteY36648" fmla="*/ 467297 h 4687251"/>
              <a:gd name="connsiteX36649" fmla="*/ 6225708 w 8079933"/>
              <a:gd name="connsiteY36649" fmla="*/ 469354 h 4687251"/>
              <a:gd name="connsiteX36650" fmla="*/ 6230157 w 8079933"/>
              <a:gd name="connsiteY36650" fmla="*/ 469354 h 4687251"/>
              <a:gd name="connsiteX36651" fmla="*/ 6231459 w 8079933"/>
              <a:gd name="connsiteY36651" fmla="*/ 473901 h 4687251"/>
              <a:gd name="connsiteX36652" fmla="*/ 6233412 w 8079933"/>
              <a:gd name="connsiteY36652" fmla="*/ 472060 h 4687251"/>
              <a:gd name="connsiteX36653" fmla="*/ 6235257 w 8079933"/>
              <a:gd name="connsiteY36653" fmla="*/ 471519 h 4687251"/>
              <a:gd name="connsiteX36654" fmla="*/ 6236885 w 8079933"/>
              <a:gd name="connsiteY36654" fmla="*/ 476715 h 4687251"/>
              <a:gd name="connsiteX36655" fmla="*/ 6233304 w 8079933"/>
              <a:gd name="connsiteY36655" fmla="*/ 480722 h 4687251"/>
              <a:gd name="connsiteX36656" fmla="*/ 6233847 w 8079933"/>
              <a:gd name="connsiteY36656" fmla="*/ 486244 h 4687251"/>
              <a:gd name="connsiteX36657" fmla="*/ 6240358 w 8079933"/>
              <a:gd name="connsiteY36657" fmla="*/ 479748 h 4687251"/>
              <a:gd name="connsiteX36658" fmla="*/ 6244264 w 8079933"/>
              <a:gd name="connsiteY36658" fmla="*/ 479748 h 4687251"/>
              <a:gd name="connsiteX36659" fmla="*/ 6245024 w 8079933"/>
              <a:gd name="connsiteY36659" fmla="*/ 483321 h 4687251"/>
              <a:gd name="connsiteX36660" fmla="*/ 6236017 w 8079933"/>
              <a:gd name="connsiteY36660" fmla="*/ 491441 h 4687251"/>
              <a:gd name="connsiteX36661" fmla="*/ 6236668 w 8079933"/>
              <a:gd name="connsiteY36661" fmla="*/ 497937 h 4687251"/>
              <a:gd name="connsiteX36662" fmla="*/ 6244373 w 8079933"/>
              <a:gd name="connsiteY36662" fmla="*/ 499019 h 4687251"/>
              <a:gd name="connsiteX36663" fmla="*/ 6246434 w 8079933"/>
              <a:gd name="connsiteY36663" fmla="*/ 496421 h 4687251"/>
              <a:gd name="connsiteX36664" fmla="*/ 6249690 w 8079933"/>
              <a:gd name="connsiteY36664" fmla="*/ 494364 h 4687251"/>
              <a:gd name="connsiteX36665" fmla="*/ 6252512 w 8079933"/>
              <a:gd name="connsiteY36665" fmla="*/ 495880 h 4687251"/>
              <a:gd name="connsiteX36666" fmla="*/ 6253489 w 8079933"/>
              <a:gd name="connsiteY36666" fmla="*/ 499886 h 4687251"/>
              <a:gd name="connsiteX36667" fmla="*/ 6256961 w 8079933"/>
              <a:gd name="connsiteY36667" fmla="*/ 497829 h 4687251"/>
              <a:gd name="connsiteX36668" fmla="*/ 6262278 w 8079933"/>
              <a:gd name="connsiteY36668" fmla="*/ 503567 h 4687251"/>
              <a:gd name="connsiteX36669" fmla="*/ 6260650 w 8079933"/>
              <a:gd name="connsiteY36669" fmla="*/ 510713 h 4687251"/>
              <a:gd name="connsiteX36670" fmla="*/ 6265208 w 8079933"/>
              <a:gd name="connsiteY36670" fmla="*/ 509955 h 4687251"/>
              <a:gd name="connsiteX36671" fmla="*/ 6266293 w 8079933"/>
              <a:gd name="connsiteY36671" fmla="*/ 513528 h 4687251"/>
              <a:gd name="connsiteX36672" fmla="*/ 6270091 w 8079933"/>
              <a:gd name="connsiteY36672" fmla="*/ 511904 h 4687251"/>
              <a:gd name="connsiteX36673" fmla="*/ 6270091 w 8079933"/>
              <a:gd name="connsiteY36673" fmla="*/ 515476 h 4687251"/>
              <a:gd name="connsiteX36674" fmla="*/ 6265967 w 8079933"/>
              <a:gd name="connsiteY36674" fmla="*/ 522839 h 4687251"/>
              <a:gd name="connsiteX36675" fmla="*/ 6260759 w 8079933"/>
              <a:gd name="connsiteY36675" fmla="*/ 525004 h 4687251"/>
              <a:gd name="connsiteX36676" fmla="*/ 6256418 w 8079933"/>
              <a:gd name="connsiteY36676" fmla="*/ 521757 h 4687251"/>
              <a:gd name="connsiteX36677" fmla="*/ 6247194 w 8079933"/>
              <a:gd name="connsiteY36677" fmla="*/ 519374 h 4687251"/>
              <a:gd name="connsiteX36678" fmla="*/ 6236343 w 8079933"/>
              <a:gd name="connsiteY36678" fmla="*/ 519374 h 4687251"/>
              <a:gd name="connsiteX36679" fmla="*/ 6240467 w 8079933"/>
              <a:gd name="connsiteY36679" fmla="*/ 522082 h 4687251"/>
              <a:gd name="connsiteX36680" fmla="*/ 6242311 w 8079933"/>
              <a:gd name="connsiteY36680" fmla="*/ 527170 h 4687251"/>
              <a:gd name="connsiteX36681" fmla="*/ 6251535 w 8079933"/>
              <a:gd name="connsiteY36681" fmla="*/ 528253 h 4687251"/>
              <a:gd name="connsiteX36682" fmla="*/ 6253380 w 8079933"/>
              <a:gd name="connsiteY36682" fmla="*/ 531825 h 4687251"/>
              <a:gd name="connsiteX36683" fmla="*/ 6262278 w 8079933"/>
              <a:gd name="connsiteY36683" fmla="*/ 538539 h 4687251"/>
              <a:gd name="connsiteX36684" fmla="*/ 6271176 w 8079933"/>
              <a:gd name="connsiteY36684" fmla="*/ 540920 h 4687251"/>
              <a:gd name="connsiteX36685" fmla="*/ 6276820 w 8079933"/>
              <a:gd name="connsiteY36685" fmla="*/ 537131 h 4687251"/>
              <a:gd name="connsiteX36686" fmla="*/ 6276820 w 8079933"/>
              <a:gd name="connsiteY36686" fmla="*/ 532259 h 4687251"/>
              <a:gd name="connsiteX36687" fmla="*/ 6272262 w 8079933"/>
              <a:gd name="connsiteY36687" fmla="*/ 527928 h 4687251"/>
              <a:gd name="connsiteX36688" fmla="*/ 6270851 w 8079933"/>
              <a:gd name="connsiteY36688" fmla="*/ 524896 h 4687251"/>
              <a:gd name="connsiteX36689" fmla="*/ 6272262 w 8079933"/>
              <a:gd name="connsiteY36689" fmla="*/ 524896 h 4687251"/>
              <a:gd name="connsiteX36690" fmla="*/ 6277688 w 8079933"/>
              <a:gd name="connsiteY36690" fmla="*/ 530310 h 4687251"/>
              <a:gd name="connsiteX36691" fmla="*/ 6283330 w 8079933"/>
              <a:gd name="connsiteY36691" fmla="*/ 533017 h 4687251"/>
              <a:gd name="connsiteX36692" fmla="*/ 6286586 w 8079933"/>
              <a:gd name="connsiteY36692" fmla="*/ 535182 h 4687251"/>
              <a:gd name="connsiteX36693" fmla="*/ 6282462 w 8079933"/>
              <a:gd name="connsiteY36693" fmla="*/ 535182 h 4687251"/>
              <a:gd name="connsiteX36694" fmla="*/ 6273022 w 8079933"/>
              <a:gd name="connsiteY36694" fmla="*/ 544060 h 4687251"/>
              <a:gd name="connsiteX36695" fmla="*/ 6275192 w 8079933"/>
              <a:gd name="connsiteY36695" fmla="*/ 546984 h 4687251"/>
              <a:gd name="connsiteX36696" fmla="*/ 6279315 w 8079933"/>
              <a:gd name="connsiteY36696" fmla="*/ 546984 h 4687251"/>
              <a:gd name="connsiteX36697" fmla="*/ 6282354 w 8079933"/>
              <a:gd name="connsiteY36697" fmla="*/ 544602 h 4687251"/>
              <a:gd name="connsiteX36698" fmla="*/ 6289191 w 8079933"/>
              <a:gd name="connsiteY36698" fmla="*/ 544602 h 4687251"/>
              <a:gd name="connsiteX36699" fmla="*/ 6304708 w 8079933"/>
              <a:gd name="connsiteY36699" fmla="*/ 558893 h 4687251"/>
              <a:gd name="connsiteX36700" fmla="*/ 6308724 w 8079933"/>
              <a:gd name="connsiteY36700" fmla="*/ 560517 h 4687251"/>
              <a:gd name="connsiteX36701" fmla="*/ 6313607 w 8079933"/>
              <a:gd name="connsiteY36701" fmla="*/ 566797 h 4687251"/>
              <a:gd name="connsiteX36702" fmla="*/ 6324458 w 8079933"/>
              <a:gd name="connsiteY36702" fmla="*/ 567880 h 4687251"/>
              <a:gd name="connsiteX36703" fmla="*/ 6331295 w 8079933"/>
              <a:gd name="connsiteY36703" fmla="*/ 575784 h 4687251"/>
              <a:gd name="connsiteX36704" fmla="*/ 6338348 w 8079933"/>
              <a:gd name="connsiteY36704" fmla="*/ 577408 h 4687251"/>
              <a:gd name="connsiteX36705" fmla="*/ 6339976 w 8079933"/>
              <a:gd name="connsiteY36705" fmla="*/ 574376 h 4687251"/>
              <a:gd name="connsiteX36706" fmla="*/ 6338132 w 8079933"/>
              <a:gd name="connsiteY36706" fmla="*/ 571128 h 4687251"/>
              <a:gd name="connsiteX36707" fmla="*/ 6340628 w 8079933"/>
              <a:gd name="connsiteY36707" fmla="*/ 569287 h 4687251"/>
              <a:gd name="connsiteX36708" fmla="*/ 6344751 w 8079933"/>
              <a:gd name="connsiteY36708" fmla="*/ 573618 h 4687251"/>
              <a:gd name="connsiteX36709" fmla="*/ 6345835 w 8079933"/>
              <a:gd name="connsiteY36709" fmla="*/ 577408 h 4687251"/>
              <a:gd name="connsiteX36710" fmla="*/ 6348766 w 8079933"/>
              <a:gd name="connsiteY36710" fmla="*/ 581738 h 4687251"/>
              <a:gd name="connsiteX36711" fmla="*/ 6351696 w 8079933"/>
              <a:gd name="connsiteY36711" fmla="*/ 581738 h 4687251"/>
              <a:gd name="connsiteX36712" fmla="*/ 6352998 w 8079933"/>
              <a:gd name="connsiteY36712" fmla="*/ 576324 h 4687251"/>
              <a:gd name="connsiteX36713" fmla="*/ 6348115 w 8079933"/>
              <a:gd name="connsiteY36713" fmla="*/ 551098 h 4687251"/>
              <a:gd name="connsiteX36714" fmla="*/ 6343015 w 8079933"/>
              <a:gd name="connsiteY36714" fmla="*/ 540271 h 4687251"/>
              <a:gd name="connsiteX36715" fmla="*/ 6336286 w 8079933"/>
              <a:gd name="connsiteY36715" fmla="*/ 525979 h 4687251"/>
              <a:gd name="connsiteX36716" fmla="*/ 6334876 w 8079933"/>
              <a:gd name="connsiteY36716" fmla="*/ 513311 h 4687251"/>
              <a:gd name="connsiteX36717" fmla="*/ 6331295 w 8079933"/>
              <a:gd name="connsiteY36717" fmla="*/ 505516 h 4687251"/>
              <a:gd name="connsiteX36718" fmla="*/ 6331295 w 8079933"/>
              <a:gd name="connsiteY36718" fmla="*/ 501943 h 4687251"/>
              <a:gd name="connsiteX36719" fmla="*/ 6335635 w 8079933"/>
              <a:gd name="connsiteY36719" fmla="*/ 503784 h 4687251"/>
              <a:gd name="connsiteX36720" fmla="*/ 6338565 w 8079933"/>
              <a:gd name="connsiteY36720" fmla="*/ 509955 h 4687251"/>
              <a:gd name="connsiteX36721" fmla="*/ 6343774 w 8079933"/>
              <a:gd name="connsiteY36721" fmla="*/ 515585 h 4687251"/>
              <a:gd name="connsiteX36722" fmla="*/ 6349526 w 8079933"/>
              <a:gd name="connsiteY36722" fmla="*/ 516992 h 4687251"/>
              <a:gd name="connsiteX36723" fmla="*/ 6354626 w 8079933"/>
              <a:gd name="connsiteY36723" fmla="*/ 522731 h 4687251"/>
              <a:gd name="connsiteX36724" fmla="*/ 6363524 w 8079933"/>
              <a:gd name="connsiteY36724" fmla="*/ 523597 h 4687251"/>
              <a:gd name="connsiteX36725" fmla="*/ 6382298 w 8079933"/>
              <a:gd name="connsiteY36725" fmla="*/ 521432 h 4687251"/>
              <a:gd name="connsiteX36726" fmla="*/ 6386421 w 8079933"/>
              <a:gd name="connsiteY36726" fmla="*/ 523056 h 4687251"/>
              <a:gd name="connsiteX36727" fmla="*/ 6390002 w 8079933"/>
              <a:gd name="connsiteY36727" fmla="*/ 521215 h 4687251"/>
              <a:gd name="connsiteX36728" fmla="*/ 6394668 w 8079933"/>
              <a:gd name="connsiteY36728" fmla="*/ 525221 h 4687251"/>
              <a:gd name="connsiteX36729" fmla="*/ 6395536 w 8079933"/>
              <a:gd name="connsiteY36729" fmla="*/ 523922 h 4687251"/>
              <a:gd name="connsiteX36730" fmla="*/ 6391955 w 8079933"/>
              <a:gd name="connsiteY36730" fmla="*/ 518508 h 4687251"/>
              <a:gd name="connsiteX36731" fmla="*/ 6393040 w 8079933"/>
              <a:gd name="connsiteY36731" fmla="*/ 515476 h 4687251"/>
              <a:gd name="connsiteX36732" fmla="*/ 6389460 w 8079933"/>
              <a:gd name="connsiteY36732" fmla="*/ 512012 h 4687251"/>
              <a:gd name="connsiteX36733" fmla="*/ 6391413 w 8079933"/>
              <a:gd name="connsiteY36733" fmla="*/ 509630 h 4687251"/>
              <a:gd name="connsiteX36734" fmla="*/ 6392172 w 8079933"/>
              <a:gd name="connsiteY36734" fmla="*/ 505083 h 4687251"/>
              <a:gd name="connsiteX36735" fmla="*/ 6408233 w 8079933"/>
              <a:gd name="connsiteY36735" fmla="*/ 498370 h 4687251"/>
              <a:gd name="connsiteX36736" fmla="*/ 6410729 w 8079933"/>
              <a:gd name="connsiteY36736" fmla="*/ 499669 h 4687251"/>
              <a:gd name="connsiteX36737" fmla="*/ 6414744 w 8079933"/>
              <a:gd name="connsiteY36737" fmla="*/ 498911 h 4687251"/>
              <a:gd name="connsiteX36738" fmla="*/ 6419844 w 8079933"/>
              <a:gd name="connsiteY36738" fmla="*/ 501835 h 4687251"/>
              <a:gd name="connsiteX36739" fmla="*/ 6427223 w 8079933"/>
              <a:gd name="connsiteY36739" fmla="*/ 501835 h 4687251"/>
              <a:gd name="connsiteX36740" fmla="*/ 6432866 w 8079933"/>
              <a:gd name="connsiteY36740" fmla="*/ 507465 h 4687251"/>
              <a:gd name="connsiteX36741" fmla="*/ 6438510 w 8079933"/>
              <a:gd name="connsiteY36741" fmla="*/ 509089 h 4687251"/>
              <a:gd name="connsiteX36742" fmla="*/ 6441547 w 8079933"/>
              <a:gd name="connsiteY36742" fmla="*/ 514178 h 4687251"/>
              <a:gd name="connsiteX36743" fmla="*/ 6449469 w 8079933"/>
              <a:gd name="connsiteY36743" fmla="*/ 514178 h 4687251"/>
              <a:gd name="connsiteX36744" fmla="*/ 6451965 w 8079933"/>
              <a:gd name="connsiteY36744" fmla="*/ 518833 h 4687251"/>
              <a:gd name="connsiteX36745" fmla="*/ 6462817 w 8079933"/>
              <a:gd name="connsiteY36745" fmla="*/ 518833 h 4687251"/>
              <a:gd name="connsiteX36746" fmla="*/ 6456089 w 8079933"/>
              <a:gd name="connsiteY36746" fmla="*/ 515044 h 4687251"/>
              <a:gd name="connsiteX36747" fmla="*/ 6456089 w 8079933"/>
              <a:gd name="connsiteY36747" fmla="*/ 512662 h 4687251"/>
              <a:gd name="connsiteX36748" fmla="*/ 6462600 w 8079933"/>
              <a:gd name="connsiteY36748" fmla="*/ 514502 h 4687251"/>
              <a:gd name="connsiteX36749" fmla="*/ 6466941 w 8079933"/>
              <a:gd name="connsiteY36749" fmla="*/ 511037 h 4687251"/>
              <a:gd name="connsiteX36750" fmla="*/ 6461732 w 8079933"/>
              <a:gd name="connsiteY36750" fmla="*/ 508331 h 4687251"/>
              <a:gd name="connsiteX36751" fmla="*/ 6465530 w 8079933"/>
              <a:gd name="connsiteY36751" fmla="*/ 505083 h 4687251"/>
              <a:gd name="connsiteX36752" fmla="*/ 6461406 w 8079933"/>
              <a:gd name="connsiteY36752" fmla="*/ 500752 h 4687251"/>
              <a:gd name="connsiteX36753" fmla="*/ 6455221 w 8079933"/>
              <a:gd name="connsiteY36753" fmla="*/ 504000 h 4687251"/>
              <a:gd name="connsiteX36754" fmla="*/ 6449795 w 8079933"/>
              <a:gd name="connsiteY36754" fmla="*/ 502593 h 4687251"/>
              <a:gd name="connsiteX36755" fmla="*/ 6449035 w 8079933"/>
              <a:gd name="connsiteY36755" fmla="*/ 495013 h 4687251"/>
              <a:gd name="connsiteX36756" fmla="*/ 6446865 w 8079933"/>
              <a:gd name="connsiteY36756" fmla="*/ 489600 h 4687251"/>
              <a:gd name="connsiteX36757" fmla="*/ 6449795 w 8079933"/>
              <a:gd name="connsiteY36757" fmla="*/ 487218 h 4687251"/>
              <a:gd name="connsiteX36758" fmla="*/ 6452725 w 8079933"/>
              <a:gd name="connsiteY36758" fmla="*/ 489708 h 4687251"/>
              <a:gd name="connsiteX36759" fmla="*/ 6456848 w 8079933"/>
              <a:gd name="connsiteY36759" fmla="*/ 487001 h 4687251"/>
              <a:gd name="connsiteX36760" fmla="*/ 6454353 w 8079933"/>
              <a:gd name="connsiteY36760" fmla="*/ 483212 h 4687251"/>
              <a:gd name="connsiteX36761" fmla="*/ 6457934 w 8079933"/>
              <a:gd name="connsiteY36761" fmla="*/ 481913 h 4687251"/>
              <a:gd name="connsiteX36762" fmla="*/ 6465312 w 8079933"/>
              <a:gd name="connsiteY36762" fmla="*/ 487543 h 4687251"/>
              <a:gd name="connsiteX36763" fmla="*/ 6467266 w 8079933"/>
              <a:gd name="connsiteY36763" fmla="*/ 492740 h 4687251"/>
              <a:gd name="connsiteX36764" fmla="*/ 6470305 w 8079933"/>
              <a:gd name="connsiteY36764" fmla="*/ 491658 h 4687251"/>
              <a:gd name="connsiteX36765" fmla="*/ 6473018 w 8079933"/>
              <a:gd name="connsiteY36765" fmla="*/ 494040 h 4687251"/>
              <a:gd name="connsiteX36766" fmla="*/ 6475948 w 8079933"/>
              <a:gd name="connsiteY36766" fmla="*/ 492415 h 4687251"/>
              <a:gd name="connsiteX36767" fmla="*/ 6474320 w 8079933"/>
              <a:gd name="connsiteY36767" fmla="*/ 486785 h 4687251"/>
              <a:gd name="connsiteX36768" fmla="*/ 6479420 w 8079933"/>
              <a:gd name="connsiteY36768" fmla="*/ 484836 h 4687251"/>
              <a:gd name="connsiteX36769" fmla="*/ 6483001 w 8079933"/>
              <a:gd name="connsiteY36769" fmla="*/ 487326 h 4687251"/>
              <a:gd name="connsiteX36770" fmla="*/ 6484303 w 8079933"/>
              <a:gd name="connsiteY36770" fmla="*/ 482995 h 4687251"/>
              <a:gd name="connsiteX36771" fmla="*/ 6476924 w 8079933"/>
              <a:gd name="connsiteY36771" fmla="*/ 474334 h 4687251"/>
              <a:gd name="connsiteX36772" fmla="*/ 6471064 w 8079933"/>
              <a:gd name="connsiteY36772" fmla="*/ 473793 h 4687251"/>
              <a:gd name="connsiteX36773" fmla="*/ 6465312 w 8079933"/>
              <a:gd name="connsiteY36773" fmla="*/ 467838 h 4687251"/>
              <a:gd name="connsiteX36774" fmla="*/ 6466398 w 8079933"/>
              <a:gd name="connsiteY36774" fmla="*/ 462424 h 4687251"/>
              <a:gd name="connsiteX36775" fmla="*/ 6463902 w 8079933"/>
              <a:gd name="connsiteY36775" fmla="*/ 458634 h 4687251"/>
              <a:gd name="connsiteX36776" fmla="*/ 6458910 w 8079933"/>
              <a:gd name="connsiteY36776" fmla="*/ 460800 h 4687251"/>
              <a:gd name="connsiteX36777" fmla="*/ 6454027 w 8079933"/>
              <a:gd name="connsiteY36777" fmla="*/ 459501 h 4687251"/>
              <a:gd name="connsiteX36778" fmla="*/ 6459996 w 8079933"/>
              <a:gd name="connsiteY36778" fmla="*/ 456036 h 4687251"/>
              <a:gd name="connsiteX36779" fmla="*/ 6457825 w 8079933"/>
              <a:gd name="connsiteY36779" fmla="*/ 451922 h 4687251"/>
              <a:gd name="connsiteX36780" fmla="*/ 6458910 w 8079933"/>
              <a:gd name="connsiteY36780" fmla="*/ 450623 h 4687251"/>
              <a:gd name="connsiteX36781" fmla="*/ 6455112 w 8079933"/>
              <a:gd name="connsiteY36781" fmla="*/ 444885 h 4687251"/>
              <a:gd name="connsiteX36782" fmla="*/ 6463251 w 8079933"/>
              <a:gd name="connsiteY36782" fmla="*/ 444885 h 4687251"/>
              <a:gd name="connsiteX36783" fmla="*/ 6464879 w 8079933"/>
              <a:gd name="connsiteY36783" fmla="*/ 436222 h 4687251"/>
              <a:gd name="connsiteX36784" fmla="*/ 6455980 w 8079933"/>
              <a:gd name="connsiteY36784" fmla="*/ 438929 h 4687251"/>
              <a:gd name="connsiteX36785" fmla="*/ 6450881 w 8079933"/>
              <a:gd name="connsiteY36785" fmla="*/ 444018 h 4687251"/>
              <a:gd name="connsiteX36786" fmla="*/ 6450012 w 8079933"/>
              <a:gd name="connsiteY36786" fmla="*/ 449215 h 4687251"/>
              <a:gd name="connsiteX36787" fmla="*/ 6441547 w 8079933"/>
              <a:gd name="connsiteY36787" fmla="*/ 446833 h 4687251"/>
              <a:gd name="connsiteX36788" fmla="*/ 6436448 w 8079933"/>
              <a:gd name="connsiteY36788" fmla="*/ 437630 h 4687251"/>
              <a:gd name="connsiteX36789" fmla="*/ 6439160 w 8079933"/>
              <a:gd name="connsiteY36789" fmla="*/ 433083 h 4687251"/>
              <a:gd name="connsiteX36790" fmla="*/ 6440028 w 8079933"/>
              <a:gd name="connsiteY36790" fmla="*/ 426370 h 4687251"/>
              <a:gd name="connsiteX36791" fmla="*/ 6448167 w 8079933"/>
              <a:gd name="connsiteY36791" fmla="*/ 423338 h 4687251"/>
              <a:gd name="connsiteX36792" fmla="*/ 6453268 w 8079933"/>
              <a:gd name="connsiteY36792" fmla="*/ 424096 h 4687251"/>
              <a:gd name="connsiteX36793" fmla="*/ 6461623 w 8079933"/>
              <a:gd name="connsiteY36793" fmla="*/ 416301 h 4687251"/>
              <a:gd name="connsiteX36794" fmla="*/ 6461623 w 8079933"/>
              <a:gd name="connsiteY36794" fmla="*/ 412836 h 4687251"/>
              <a:gd name="connsiteX36795" fmla="*/ 6456740 w 8079933"/>
              <a:gd name="connsiteY36795" fmla="*/ 407098 h 4687251"/>
              <a:gd name="connsiteX36796" fmla="*/ 6452182 w 8079933"/>
              <a:gd name="connsiteY36796" fmla="*/ 407856 h 4687251"/>
              <a:gd name="connsiteX36797" fmla="*/ 6447624 w 8079933"/>
              <a:gd name="connsiteY36797" fmla="*/ 406015 h 4687251"/>
              <a:gd name="connsiteX36798" fmla="*/ 6439486 w 8079933"/>
              <a:gd name="connsiteY36798" fmla="*/ 406015 h 4687251"/>
              <a:gd name="connsiteX36799" fmla="*/ 6434277 w 8079933"/>
              <a:gd name="connsiteY36799" fmla="*/ 399735 h 4687251"/>
              <a:gd name="connsiteX36800" fmla="*/ 6441114 w 8079933"/>
              <a:gd name="connsiteY36800" fmla="*/ 397028 h 4687251"/>
              <a:gd name="connsiteX36801" fmla="*/ 6450555 w 8079933"/>
              <a:gd name="connsiteY36801" fmla="*/ 395621 h 4687251"/>
              <a:gd name="connsiteX36802" fmla="*/ 6461406 w 8079933"/>
              <a:gd name="connsiteY36802" fmla="*/ 400277 h 4687251"/>
              <a:gd name="connsiteX36803" fmla="*/ 6471390 w 8079933"/>
              <a:gd name="connsiteY36803" fmla="*/ 398328 h 4687251"/>
              <a:gd name="connsiteX36804" fmla="*/ 6487451 w 8079933"/>
              <a:gd name="connsiteY36804" fmla="*/ 398328 h 4687251"/>
              <a:gd name="connsiteX36805" fmla="*/ 6515122 w 8079933"/>
              <a:gd name="connsiteY36805" fmla="*/ 396379 h 4687251"/>
              <a:gd name="connsiteX36806" fmla="*/ 6519679 w 8079933"/>
              <a:gd name="connsiteY36806" fmla="*/ 393673 h 4687251"/>
              <a:gd name="connsiteX36807" fmla="*/ 6540081 w 8079933"/>
              <a:gd name="connsiteY36807" fmla="*/ 393673 h 4687251"/>
              <a:gd name="connsiteX36808" fmla="*/ 6549304 w 8079933"/>
              <a:gd name="connsiteY36808" fmla="*/ 394755 h 4687251"/>
              <a:gd name="connsiteX36809" fmla="*/ 6556141 w 8079933"/>
              <a:gd name="connsiteY36809" fmla="*/ 393673 h 4687251"/>
              <a:gd name="connsiteX36810" fmla="*/ 6567752 w 8079933"/>
              <a:gd name="connsiteY36810" fmla="*/ 393673 h 4687251"/>
              <a:gd name="connsiteX36811" fmla="*/ 6561567 w 8079933"/>
              <a:gd name="connsiteY36811" fmla="*/ 395621 h 4687251"/>
              <a:gd name="connsiteX36812" fmla="*/ 6545615 w 8079933"/>
              <a:gd name="connsiteY36812" fmla="*/ 402659 h 4687251"/>
              <a:gd name="connsiteX36813" fmla="*/ 6540298 w 8079933"/>
              <a:gd name="connsiteY36813" fmla="*/ 399952 h 4687251"/>
              <a:gd name="connsiteX36814" fmla="*/ 6537802 w 8079933"/>
              <a:gd name="connsiteY36814" fmla="*/ 400818 h 4687251"/>
              <a:gd name="connsiteX36815" fmla="*/ 6532702 w 8079933"/>
              <a:gd name="connsiteY36815" fmla="*/ 398869 h 4687251"/>
              <a:gd name="connsiteX36816" fmla="*/ 6529663 w 8079933"/>
              <a:gd name="connsiteY36816" fmla="*/ 408938 h 4687251"/>
              <a:gd name="connsiteX36817" fmla="*/ 6534546 w 8079933"/>
              <a:gd name="connsiteY36817" fmla="*/ 414352 h 4687251"/>
              <a:gd name="connsiteX36818" fmla="*/ 6530531 w 8079933"/>
              <a:gd name="connsiteY36818" fmla="*/ 415976 h 4687251"/>
              <a:gd name="connsiteX36819" fmla="*/ 6529446 w 8079933"/>
              <a:gd name="connsiteY36819" fmla="*/ 419549 h 4687251"/>
              <a:gd name="connsiteX36820" fmla="*/ 6534112 w 8079933"/>
              <a:gd name="connsiteY36820" fmla="*/ 422473 h 4687251"/>
              <a:gd name="connsiteX36821" fmla="*/ 6541165 w 8079933"/>
              <a:gd name="connsiteY36821" fmla="*/ 417383 h 4687251"/>
              <a:gd name="connsiteX36822" fmla="*/ 6541165 w 8079933"/>
              <a:gd name="connsiteY36822" fmla="*/ 412295 h 4687251"/>
              <a:gd name="connsiteX36823" fmla="*/ 6553645 w 8079933"/>
              <a:gd name="connsiteY36823" fmla="*/ 403850 h 4687251"/>
              <a:gd name="connsiteX36824" fmla="*/ 6569706 w 8079933"/>
              <a:gd name="connsiteY36824" fmla="*/ 397570 h 4687251"/>
              <a:gd name="connsiteX36825" fmla="*/ 6572093 w 8079933"/>
              <a:gd name="connsiteY36825" fmla="*/ 406232 h 4687251"/>
              <a:gd name="connsiteX36826" fmla="*/ 6572853 w 8079933"/>
              <a:gd name="connsiteY36826" fmla="*/ 418467 h 4687251"/>
              <a:gd name="connsiteX36827" fmla="*/ 6571442 w 8079933"/>
              <a:gd name="connsiteY36827" fmla="*/ 421173 h 4687251"/>
              <a:gd name="connsiteX36828" fmla="*/ 6568512 w 8079933"/>
              <a:gd name="connsiteY36828" fmla="*/ 413377 h 4687251"/>
              <a:gd name="connsiteX36829" fmla="*/ 6563846 w 8079933"/>
              <a:gd name="connsiteY36829" fmla="*/ 408830 h 4687251"/>
              <a:gd name="connsiteX36830" fmla="*/ 6563846 w 8079933"/>
              <a:gd name="connsiteY36830" fmla="*/ 403741 h 4687251"/>
              <a:gd name="connsiteX36831" fmla="*/ 6558962 w 8079933"/>
              <a:gd name="connsiteY36831" fmla="*/ 408073 h 4687251"/>
              <a:gd name="connsiteX36832" fmla="*/ 6555708 w 8079933"/>
              <a:gd name="connsiteY36832" fmla="*/ 406773 h 4687251"/>
              <a:gd name="connsiteX36833" fmla="*/ 6558854 w 8079933"/>
              <a:gd name="connsiteY36833" fmla="*/ 415218 h 4687251"/>
              <a:gd name="connsiteX36834" fmla="*/ 6563737 w 8079933"/>
              <a:gd name="connsiteY36834" fmla="*/ 417167 h 4687251"/>
              <a:gd name="connsiteX36835" fmla="*/ 6565582 w 8079933"/>
              <a:gd name="connsiteY36835" fmla="*/ 426695 h 4687251"/>
              <a:gd name="connsiteX36836" fmla="*/ 6562110 w 8079933"/>
              <a:gd name="connsiteY36836" fmla="*/ 434274 h 4687251"/>
              <a:gd name="connsiteX36837" fmla="*/ 6558854 w 8079933"/>
              <a:gd name="connsiteY36837" fmla="*/ 432866 h 4687251"/>
              <a:gd name="connsiteX36838" fmla="*/ 6555381 w 8079933"/>
              <a:gd name="connsiteY36838" fmla="*/ 435790 h 4687251"/>
              <a:gd name="connsiteX36839" fmla="*/ 6561024 w 8079933"/>
              <a:gd name="connsiteY36839" fmla="*/ 439579 h 4687251"/>
              <a:gd name="connsiteX36840" fmla="*/ 6561024 w 8079933"/>
              <a:gd name="connsiteY36840" fmla="*/ 442827 h 4687251"/>
              <a:gd name="connsiteX36841" fmla="*/ 6563195 w 8079933"/>
              <a:gd name="connsiteY36841" fmla="*/ 445209 h 4687251"/>
              <a:gd name="connsiteX36842" fmla="*/ 6567210 w 8079933"/>
              <a:gd name="connsiteY36842" fmla="*/ 445209 h 4687251"/>
              <a:gd name="connsiteX36843" fmla="*/ 6573396 w 8079933"/>
              <a:gd name="connsiteY36843" fmla="*/ 440337 h 4687251"/>
              <a:gd name="connsiteX36844" fmla="*/ 6573396 w 8079933"/>
              <a:gd name="connsiteY36844" fmla="*/ 433191 h 4687251"/>
              <a:gd name="connsiteX36845" fmla="*/ 6578062 w 8079933"/>
              <a:gd name="connsiteY36845" fmla="*/ 426153 h 4687251"/>
              <a:gd name="connsiteX36846" fmla="*/ 6576217 w 8079933"/>
              <a:gd name="connsiteY36846" fmla="*/ 421606 h 4687251"/>
              <a:gd name="connsiteX36847" fmla="*/ 6576759 w 8079933"/>
              <a:gd name="connsiteY36847" fmla="*/ 415110 h 4687251"/>
              <a:gd name="connsiteX36848" fmla="*/ 6574915 w 8079933"/>
              <a:gd name="connsiteY36848" fmla="*/ 390749 h 4687251"/>
              <a:gd name="connsiteX36849" fmla="*/ 6583270 w 8079933"/>
              <a:gd name="connsiteY36849" fmla="*/ 384037 h 4687251"/>
              <a:gd name="connsiteX36850" fmla="*/ 6595967 w 8079933"/>
              <a:gd name="connsiteY36850" fmla="*/ 381329 h 4687251"/>
              <a:gd name="connsiteX36851" fmla="*/ 6609857 w 8079933"/>
              <a:gd name="connsiteY36851" fmla="*/ 377757 h 4687251"/>
              <a:gd name="connsiteX36852" fmla="*/ 6622662 w 8079933"/>
              <a:gd name="connsiteY36852" fmla="*/ 379380 h 4687251"/>
              <a:gd name="connsiteX36853" fmla="*/ 6638614 w 8079933"/>
              <a:gd name="connsiteY36853" fmla="*/ 385119 h 4687251"/>
              <a:gd name="connsiteX36854" fmla="*/ 6646536 w 8079933"/>
              <a:gd name="connsiteY36854" fmla="*/ 395946 h 4687251"/>
              <a:gd name="connsiteX36855" fmla="*/ 6645776 w 8079933"/>
              <a:gd name="connsiteY36855" fmla="*/ 401359 h 4687251"/>
              <a:gd name="connsiteX36856" fmla="*/ 6641760 w 8079933"/>
              <a:gd name="connsiteY36856" fmla="*/ 404283 h 4687251"/>
              <a:gd name="connsiteX36857" fmla="*/ 6633080 w 8079933"/>
              <a:gd name="connsiteY36857" fmla="*/ 397570 h 4687251"/>
              <a:gd name="connsiteX36858" fmla="*/ 6632211 w 8079933"/>
              <a:gd name="connsiteY36858" fmla="*/ 398978 h 4687251"/>
              <a:gd name="connsiteX36859" fmla="*/ 6633840 w 8079933"/>
              <a:gd name="connsiteY36859" fmla="*/ 404066 h 4687251"/>
              <a:gd name="connsiteX36860" fmla="*/ 6633840 w 8079933"/>
              <a:gd name="connsiteY36860" fmla="*/ 408722 h 4687251"/>
              <a:gd name="connsiteX36861" fmla="*/ 6634924 w 8079933"/>
              <a:gd name="connsiteY36861" fmla="*/ 413269 h 4687251"/>
              <a:gd name="connsiteX36862" fmla="*/ 6630800 w 8079933"/>
              <a:gd name="connsiteY36862" fmla="*/ 416734 h 4687251"/>
              <a:gd name="connsiteX36863" fmla="*/ 6634273 w 8079933"/>
              <a:gd name="connsiteY36863" fmla="*/ 418141 h 4687251"/>
              <a:gd name="connsiteX36864" fmla="*/ 6639482 w 8079933"/>
              <a:gd name="connsiteY36864" fmla="*/ 414893 h 4687251"/>
              <a:gd name="connsiteX36865" fmla="*/ 6647620 w 8079933"/>
              <a:gd name="connsiteY36865" fmla="*/ 414352 h 4687251"/>
              <a:gd name="connsiteX36866" fmla="*/ 6652504 w 8079933"/>
              <a:gd name="connsiteY36866" fmla="*/ 409479 h 4687251"/>
              <a:gd name="connsiteX36867" fmla="*/ 6654674 w 8079933"/>
              <a:gd name="connsiteY36867" fmla="*/ 416517 h 4687251"/>
              <a:gd name="connsiteX36868" fmla="*/ 6657387 w 8079933"/>
              <a:gd name="connsiteY36868" fmla="*/ 421606 h 4687251"/>
              <a:gd name="connsiteX36869" fmla="*/ 6658147 w 8079933"/>
              <a:gd name="connsiteY36869" fmla="*/ 427561 h 4687251"/>
              <a:gd name="connsiteX36870" fmla="*/ 6661077 w 8079933"/>
              <a:gd name="connsiteY36870" fmla="*/ 430593 h 4687251"/>
              <a:gd name="connsiteX36871" fmla="*/ 6664115 w 8079933"/>
              <a:gd name="connsiteY36871" fmla="*/ 425179 h 4687251"/>
              <a:gd name="connsiteX36872" fmla="*/ 6663247 w 8079933"/>
              <a:gd name="connsiteY36872" fmla="*/ 421931 h 4687251"/>
              <a:gd name="connsiteX36873" fmla="*/ 6668998 w 8079933"/>
              <a:gd name="connsiteY36873" fmla="*/ 416734 h 4687251"/>
              <a:gd name="connsiteX36874" fmla="*/ 6674750 w 8079933"/>
              <a:gd name="connsiteY36874" fmla="*/ 419657 h 4687251"/>
              <a:gd name="connsiteX36875" fmla="*/ 6676920 w 8079933"/>
              <a:gd name="connsiteY36875" fmla="*/ 425612 h 4687251"/>
              <a:gd name="connsiteX36876" fmla="*/ 6674750 w 8079933"/>
              <a:gd name="connsiteY36876" fmla="*/ 428860 h 4687251"/>
              <a:gd name="connsiteX36877" fmla="*/ 6672905 w 8079933"/>
              <a:gd name="connsiteY36877" fmla="*/ 435573 h 4687251"/>
              <a:gd name="connsiteX36878" fmla="*/ 6674316 w 8079933"/>
              <a:gd name="connsiteY36878" fmla="*/ 437955 h 4687251"/>
              <a:gd name="connsiteX36879" fmla="*/ 6677788 w 8079933"/>
              <a:gd name="connsiteY36879" fmla="*/ 436114 h 4687251"/>
              <a:gd name="connsiteX36880" fmla="*/ 6680284 w 8079933"/>
              <a:gd name="connsiteY36880" fmla="*/ 430159 h 4687251"/>
              <a:gd name="connsiteX36881" fmla="*/ 6682781 w 8079933"/>
              <a:gd name="connsiteY36881" fmla="*/ 429077 h 4687251"/>
              <a:gd name="connsiteX36882" fmla="*/ 6684734 w 8079933"/>
              <a:gd name="connsiteY36882" fmla="*/ 432650 h 4687251"/>
              <a:gd name="connsiteX36883" fmla="*/ 6684734 w 8079933"/>
              <a:gd name="connsiteY36883" fmla="*/ 427236 h 4687251"/>
              <a:gd name="connsiteX36884" fmla="*/ 6689400 w 8079933"/>
              <a:gd name="connsiteY36884" fmla="*/ 417708 h 4687251"/>
              <a:gd name="connsiteX36885" fmla="*/ 6691353 w 8079933"/>
              <a:gd name="connsiteY36885" fmla="*/ 415759 h 4687251"/>
              <a:gd name="connsiteX36886" fmla="*/ 6694934 w 8079933"/>
              <a:gd name="connsiteY36886" fmla="*/ 417600 h 4687251"/>
              <a:gd name="connsiteX36887" fmla="*/ 6705786 w 8079933"/>
              <a:gd name="connsiteY36887" fmla="*/ 425179 h 4687251"/>
              <a:gd name="connsiteX36888" fmla="*/ 6717940 w 8079933"/>
              <a:gd name="connsiteY36888" fmla="*/ 428102 h 4687251"/>
              <a:gd name="connsiteX36889" fmla="*/ 6724668 w 8079933"/>
              <a:gd name="connsiteY36889" fmla="*/ 436006 h 4687251"/>
              <a:gd name="connsiteX36890" fmla="*/ 6723582 w 8079933"/>
              <a:gd name="connsiteY36890" fmla="*/ 440120 h 4687251"/>
              <a:gd name="connsiteX36891" fmla="*/ 6715769 w 8079933"/>
              <a:gd name="connsiteY36891" fmla="*/ 444777 h 4687251"/>
              <a:gd name="connsiteX36892" fmla="*/ 6710560 w 8079933"/>
              <a:gd name="connsiteY36892" fmla="*/ 450189 h 4687251"/>
              <a:gd name="connsiteX36893" fmla="*/ 6717398 w 8079933"/>
              <a:gd name="connsiteY36893" fmla="*/ 446725 h 4687251"/>
              <a:gd name="connsiteX36894" fmla="*/ 6727489 w 8079933"/>
              <a:gd name="connsiteY36894" fmla="*/ 444559 h 4687251"/>
              <a:gd name="connsiteX36895" fmla="*/ 6734218 w 8079933"/>
              <a:gd name="connsiteY36895" fmla="*/ 446942 h 4687251"/>
              <a:gd name="connsiteX36896" fmla="*/ 6742138 w 8079933"/>
              <a:gd name="connsiteY36896" fmla="*/ 444993 h 4687251"/>
              <a:gd name="connsiteX36897" fmla="*/ 6747890 w 8079933"/>
              <a:gd name="connsiteY36897" fmla="*/ 439795 h 4687251"/>
              <a:gd name="connsiteX36898" fmla="*/ 6753316 w 8079933"/>
              <a:gd name="connsiteY36898" fmla="*/ 437306 h 4687251"/>
              <a:gd name="connsiteX36899" fmla="*/ 6762866 w 8079933"/>
              <a:gd name="connsiteY36899" fmla="*/ 429402 h 4687251"/>
              <a:gd name="connsiteX36900" fmla="*/ 6767532 w 8079933"/>
              <a:gd name="connsiteY36900" fmla="*/ 427561 h 4687251"/>
              <a:gd name="connsiteX36901" fmla="*/ 6775344 w 8079933"/>
              <a:gd name="connsiteY36901" fmla="*/ 419765 h 4687251"/>
              <a:gd name="connsiteX36902" fmla="*/ 6782073 w 8079933"/>
              <a:gd name="connsiteY36902" fmla="*/ 418141 h 4687251"/>
              <a:gd name="connsiteX36903" fmla="*/ 6799978 w 8079933"/>
              <a:gd name="connsiteY36903" fmla="*/ 409155 h 4687251"/>
              <a:gd name="connsiteX36904" fmla="*/ 6808877 w 8079933"/>
              <a:gd name="connsiteY36904" fmla="*/ 406124 h 4687251"/>
              <a:gd name="connsiteX36905" fmla="*/ 6814085 w 8079933"/>
              <a:gd name="connsiteY36905" fmla="*/ 407206 h 4687251"/>
              <a:gd name="connsiteX36906" fmla="*/ 6814085 w 8079933"/>
              <a:gd name="connsiteY36906" fmla="*/ 405257 h 4687251"/>
              <a:gd name="connsiteX36907" fmla="*/ 6824178 w 8079933"/>
              <a:gd name="connsiteY36907" fmla="*/ 398544 h 4687251"/>
              <a:gd name="connsiteX36908" fmla="*/ 6829820 w 8079933"/>
              <a:gd name="connsiteY36908" fmla="*/ 397462 h 4687251"/>
              <a:gd name="connsiteX36909" fmla="*/ 6842082 w 8079933"/>
              <a:gd name="connsiteY36909" fmla="*/ 397462 h 4687251"/>
              <a:gd name="connsiteX36910" fmla="*/ 6865414 w 8079933"/>
              <a:gd name="connsiteY36910" fmla="*/ 405257 h 4687251"/>
              <a:gd name="connsiteX36911" fmla="*/ 6875397 w 8079933"/>
              <a:gd name="connsiteY36911" fmla="*/ 416084 h 4687251"/>
              <a:gd name="connsiteX36912" fmla="*/ 6885490 w 8079933"/>
              <a:gd name="connsiteY36912" fmla="*/ 421281 h 4687251"/>
              <a:gd name="connsiteX36913" fmla="*/ 6893953 w 8079933"/>
              <a:gd name="connsiteY36913" fmla="*/ 431026 h 4687251"/>
              <a:gd name="connsiteX36914" fmla="*/ 6898512 w 8079933"/>
              <a:gd name="connsiteY36914" fmla="*/ 439471 h 4687251"/>
              <a:gd name="connsiteX36915" fmla="*/ 6898512 w 8079933"/>
              <a:gd name="connsiteY36915" fmla="*/ 444018 h 4687251"/>
              <a:gd name="connsiteX36916" fmla="*/ 6900681 w 8079933"/>
              <a:gd name="connsiteY36916" fmla="*/ 446509 h 4687251"/>
              <a:gd name="connsiteX36917" fmla="*/ 6900681 w 8079933"/>
              <a:gd name="connsiteY36917" fmla="*/ 453330 h 4687251"/>
              <a:gd name="connsiteX36918" fmla="*/ 6905564 w 8079933"/>
              <a:gd name="connsiteY36918" fmla="*/ 462749 h 4687251"/>
              <a:gd name="connsiteX36919" fmla="*/ 6905564 w 8079933"/>
              <a:gd name="connsiteY36919" fmla="*/ 467297 h 4687251"/>
              <a:gd name="connsiteX36920" fmla="*/ 6902092 w 8079933"/>
              <a:gd name="connsiteY36920" fmla="*/ 472385 h 4687251"/>
              <a:gd name="connsiteX36921" fmla="*/ 6907518 w 8079933"/>
              <a:gd name="connsiteY36921" fmla="*/ 471085 h 4687251"/>
              <a:gd name="connsiteX36922" fmla="*/ 6913161 w 8079933"/>
              <a:gd name="connsiteY36922" fmla="*/ 464373 h 4687251"/>
              <a:gd name="connsiteX36923" fmla="*/ 6919672 w 8079933"/>
              <a:gd name="connsiteY36923" fmla="*/ 464373 h 4687251"/>
              <a:gd name="connsiteX36924" fmla="*/ 6922710 w 8079933"/>
              <a:gd name="connsiteY36924" fmla="*/ 467405 h 4687251"/>
              <a:gd name="connsiteX36925" fmla="*/ 6922710 w 8079933"/>
              <a:gd name="connsiteY36925" fmla="*/ 463940 h 4687251"/>
              <a:gd name="connsiteX36926" fmla="*/ 6929221 w 8079933"/>
              <a:gd name="connsiteY36926" fmla="*/ 463074 h 4687251"/>
              <a:gd name="connsiteX36927" fmla="*/ 6934431 w 8079933"/>
              <a:gd name="connsiteY36927" fmla="*/ 466106 h 4687251"/>
              <a:gd name="connsiteX36928" fmla="*/ 6936600 w 8079933"/>
              <a:gd name="connsiteY36928" fmla="*/ 471844 h 4687251"/>
              <a:gd name="connsiteX36929" fmla="*/ 6937686 w 8079933"/>
              <a:gd name="connsiteY36929" fmla="*/ 467297 h 4687251"/>
              <a:gd name="connsiteX36930" fmla="*/ 6935732 w 8079933"/>
              <a:gd name="connsiteY36930" fmla="*/ 459934 h 4687251"/>
              <a:gd name="connsiteX36931" fmla="*/ 6939856 w 8079933"/>
              <a:gd name="connsiteY36931" fmla="*/ 459934 h 4687251"/>
              <a:gd name="connsiteX36932" fmla="*/ 6943437 w 8079933"/>
              <a:gd name="connsiteY36932" fmla="*/ 466213 h 4687251"/>
              <a:gd name="connsiteX36933" fmla="*/ 6951359 w 8079933"/>
              <a:gd name="connsiteY36933" fmla="*/ 473793 h 4687251"/>
              <a:gd name="connsiteX36934" fmla="*/ 6952770 w 8079933"/>
              <a:gd name="connsiteY36934" fmla="*/ 482454 h 4687251"/>
              <a:gd name="connsiteX36935" fmla="*/ 6957110 w 8079933"/>
              <a:gd name="connsiteY36935" fmla="*/ 482454 h 4687251"/>
              <a:gd name="connsiteX36936" fmla="*/ 6964164 w 8079933"/>
              <a:gd name="connsiteY36936" fmla="*/ 491333 h 4687251"/>
              <a:gd name="connsiteX36937" fmla="*/ 6964164 w 8079933"/>
              <a:gd name="connsiteY36937" fmla="*/ 488626 h 4687251"/>
              <a:gd name="connsiteX36938" fmla="*/ 6961776 w 8079933"/>
              <a:gd name="connsiteY36938" fmla="*/ 481046 h 4687251"/>
              <a:gd name="connsiteX36939" fmla="*/ 6957110 w 8079933"/>
              <a:gd name="connsiteY36939" fmla="*/ 478881 h 4687251"/>
              <a:gd name="connsiteX36940" fmla="*/ 6956242 w 8079933"/>
              <a:gd name="connsiteY36940" fmla="*/ 474550 h 4687251"/>
              <a:gd name="connsiteX36941" fmla="*/ 6961342 w 8079933"/>
              <a:gd name="connsiteY36941" fmla="*/ 477474 h 4687251"/>
              <a:gd name="connsiteX36942" fmla="*/ 6965358 w 8079933"/>
              <a:gd name="connsiteY36942" fmla="*/ 476932 h 4687251"/>
              <a:gd name="connsiteX36943" fmla="*/ 6970241 w 8079933"/>
              <a:gd name="connsiteY36943" fmla="*/ 481805 h 4687251"/>
              <a:gd name="connsiteX36944" fmla="*/ 6976752 w 8079933"/>
              <a:gd name="connsiteY36944" fmla="*/ 490791 h 4687251"/>
              <a:gd name="connsiteX36945" fmla="*/ 6975450 w 8079933"/>
              <a:gd name="connsiteY36945" fmla="*/ 483537 h 4687251"/>
              <a:gd name="connsiteX36946" fmla="*/ 6966551 w 8079933"/>
              <a:gd name="connsiteY36946" fmla="*/ 471085 h 4687251"/>
              <a:gd name="connsiteX36947" fmla="*/ 6966551 w 8079933"/>
              <a:gd name="connsiteY36947" fmla="*/ 460258 h 4687251"/>
              <a:gd name="connsiteX36948" fmla="*/ 6966551 w 8079933"/>
              <a:gd name="connsiteY36948" fmla="*/ 451164 h 4687251"/>
              <a:gd name="connsiteX36949" fmla="*/ 6972303 w 8079933"/>
              <a:gd name="connsiteY36949" fmla="*/ 444559 h 4687251"/>
              <a:gd name="connsiteX36950" fmla="*/ 6981852 w 8079933"/>
              <a:gd name="connsiteY36950" fmla="*/ 443585 h 4687251"/>
              <a:gd name="connsiteX36951" fmla="*/ 6986301 w 8079933"/>
              <a:gd name="connsiteY36951" fmla="*/ 440120 h 4687251"/>
              <a:gd name="connsiteX36952" fmla="*/ 6994549 w 8079933"/>
              <a:gd name="connsiteY36952" fmla="*/ 436764 h 4687251"/>
              <a:gd name="connsiteX36953" fmla="*/ 6994006 w 8079933"/>
              <a:gd name="connsiteY36953" fmla="*/ 433191 h 4687251"/>
              <a:gd name="connsiteX36954" fmla="*/ 6995633 w 8079933"/>
              <a:gd name="connsiteY36954" fmla="*/ 431350 h 4687251"/>
              <a:gd name="connsiteX36955" fmla="*/ 6998890 w 8079933"/>
              <a:gd name="connsiteY36955" fmla="*/ 431350 h 4687251"/>
              <a:gd name="connsiteX36956" fmla="*/ 7003664 w 8079933"/>
              <a:gd name="connsiteY36956" fmla="*/ 435898 h 4687251"/>
              <a:gd name="connsiteX36957" fmla="*/ 7007679 w 8079933"/>
              <a:gd name="connsiteY36957" fmla="*/ 437197 h 4687251"/>
              <a:gd name="connsiteX36958" fmla="*/ 7014624 w 8079933"/>
              <a:gd name="connsiteY36958" fmla="*/ 435790 h 4687251"/>
              <a:gd name="connsiteX36959" fmla="*/ 7021026 w 8079933"/>
              <a:gd name="connsiteY36959" fmla="*/ 430810 h 4687251"/>
              <a:gd name="connsiteX36960" fmla="*/ 7024499 w 8079933"/>
              <a:gd name="connsiteY36960" fmla="*/ 432000 h 4687251"/>
              <a:gd name="connsiteX36961" fmla="*/ 7033072 w 8079933"/>
              <a:gd name="connsiteY36961" fmla="*/ 428860 h 4687251"/>
              <a:gd name="connsiteX36962" fmla="*/ 7043055 w 8079933"/>
              <a:gd name="connsiteY36962" fmla="*/ 429618 h 4687251"/>
              <a:gd name="connsiteX36963" fmla="*/ 7047504 w 8079933"/>
              <a:gd name="connsiteY36963" fmla="*/ 426695 h 4687251"/>
              <a:gd name="connsiteX36964" fmla="*/ 7049783 w 8079933"/>
              <a:gd name="connsiteY36964" fmla="*/ 426695 h 4687251"/>
              <a:gd name="connsiteX36965" fmla="*/ 7050434 w 8079933"/>
              <a:gd name="connsiteY36965" fmla="*/ 429618 h 4687251"/>
              <a:gd name="connsiteX36966" fmla="*/ 7053473 w 8079933"/>
              <a:gd name="connsiteY36966" fmla="*/ 432758 h 4687251"/>
              <a:gd name="connsiteX36967" fmla="*/ 7055535 w 8079933"/>
              <a:gd name="connsiteY36967" fmla="*/ 427669 h 4687251"/>
              <a:gd name="connsiteX36968" fmla="*/ 7061069 w 8079933"/>
              <a:gd name="connsiteY36968" fmla="*/ 419982 h 4687251"/>
              <a:gd name="connsiteX36969" fmla="*/ 7060201 w 8079933"/>
              <a:gd name="connsiteY36969" fmla="*/ 416517 h 4687251"/>
              <a:gd name="connsiteX36970" fmla="*/ 7060201 w 8079933"/>
              <a:gd name="connsiteY36970" fmla="*/ 410130 h 4687251"/>
              <a:gd name="connsiteX36971" fmla="*/ 7060201 w 8079933"/>
              <a:gd name="connsiteY36971" fmla="*/ 404824 h 4687251"/>
              <a:gd name="connsiteX36972" fmla="*/ 7062696 w 8079933"/>
              <a:gd name="connsiteY36972" fmla="*/ 402550 h 4687251"/>
              <a:gd name="connsiteX36973" fmla="*/ 7070293 w 8079933"/>
              <a:gd name="connsiteY36973" fmla="*/ 404392 h 4687251"/>
              <a:gd name="connsiteX36974" fmla="*/ 7072789 w 8079933"/>
              <a:gd name="connsiteY36974" fmla="*/ 409804 h 4687251"/>
              <a:gd name="connsiteX36975" fmla="*/ 7073874 w 8079933"/>
              <a:gd name="connsiteY36975" fmla="*/ 412728 h 4687251"/>
              <a:gd name="connsiteX36976" fmla="*/ 7080060 w 8079933"/>
              <a:gd name="connsiteY36976" fmla="*/ 413486 h 4687251"/>
              <a:gd name="connsiteX36977" fmla="*/ 7084400 w 8079933"/>
              <a:gd name="connsiteY36977" fmla="*/ 416951 h 4687251"/>
              <a:gd name="connsiteX36978" fmla="*/ 7084400 w 8079933"/>
              <a:gd name="connsiteY36978" fmla="*/ 422689 h 4687251"/>
              <a:gd name="connsiteX36979" fmla="*/ 7091237 w 8079933"/>
              <a:gd name="connsiteY36979" fmla="*/ 430268 h 4687251"/>
              <a:gd name="connsiteX36980" fmla="*/ 7094709 w 8079933"/>
              <a:gd name="connsiteY36980" fmla="*/ 432650 h 4687251"/>
              <a:gd name="connsiteX36981" fmla="*/ 7101980 w 8079933"/>
              <a:gd name="connsiteY36981" fmla="*/ 431567 h 4687251"/>
              <a:gd name="connsiteX36982" fmla="*/ 7112832 w 8079933"/>
              <a:gd name="connsiteY36982" fmla="*/ 434057 h 4687251"/>
              <a:gd name="connsiteX36983" fmla="*/ 7114460 w 8079933"/>
              <a:gd name="connsiteY36983" fmla="*/ 432650 h 4687251"/>
              <a:gd name="connsiteX36984" fmla="*/ 7117932 w 8079933"/>
              <a:gd name="connsiteY36984" fmla="*/ 432650 h 4687251"/>
              <a:gd name="connsiteX36985" fmla="*/ 7125853 w 8079933"/>
              <a:gd name="connsiteY36985" fmla="*/ 443477 h 4687251"/>
              <a:gd name="connsiteX36986" fmla="*/ 7125853 w 8079933"/>
              <a:gd name="connsiteY36986" fmla="*/ 448674 h 4687251"/>
              <a:gd name="connsiteX36987" fmla="*/ 7128892 w 8079933"/>
              <a:gd name="connsiteY36987" fmla="*/ 451597 h 4687251"/>
              <a:gd name="connsiteX36988" fmla="*/ 7136814 w 8079933"/>
              <a:gd name="connsiteY36988" fmla="*/ 452679 h 4687251"/>
              <a:gd name="connsiteX36989" fmla="*/ 7140612 w 8079933"/>
              <a:gd name="connsiteY36989" fmla="*/ 449973 h 4687251"/>
              <a:gd name="connsiteX36990" fmla="*/ 7146581 w 8079933"/>
              <a:gd name="connsiteY36990" fmla="*/ 449215 h 4687251"/>
              <a:gd name="connsiteX36991" fmla="*/ 7145821 w 8079933"/>
              <a:gd name="connsiteY36991" fmla="*/ 445426 h 4687251"/>
              <a:gd name="connsiteX36992" fmla="*/ 7151464 w 8079933"/>
              <a:gd name="connsiteY36992" fmla="*/ 441853 h 4687251"/>
              <a:gd name="connsiteX36993" fmla="*/ 7154719 w 8079933"/>
              <a:gd name="connsiteY36993" fmla="*/ 442935 h 4687251"/>
              <a:gd name="connsiteX36994" fmla="*/ 7156672 w 8079933"/>
              <a:gd name="connsiteY36994" fmla="*/ 440987 h 4687251"/>
              <a:gd name="connsiteX36995" fmla="*/ 7153417 w 8079933"/>
              <a:gd name="connsiteY36995" fmla="*/ 436439 h 4687251"/>
              <a:gd name="connsiteX36996" fmla="*/ 7155586 w 8079933"/>
              <a:gd name="connsiteY36996" fmla="*/ 434491 h 4687251"/>
              <a:gd name="connsiteX36997" fmla="*/ 7154177 w 8079933"/>
              <a:gd name="connsiteY36997" fmla="*/ 431567 h 4687251"/>
              <a:gd name="connsiteX36998" fmla="*/ 7154177 w 8079933"/>
              <a:gd name="connsiteY36998" fmla="*/ 428319 h 4687251"/>
              <a:gd name="connsiteX36999" fmla="*/ 7149510 w 8079933"/>
              <a:gd name="connsiteY36999" fmla="*/ 422364 h 4687251"/>
              <a:gd name="connsiteX37000" fmla="*/ 7142674 w 8079933"/>
              <a:gd name="connsiteY37000" fmla="*/ 419982 h 4687251"/>
              <a:gd name="connsiteX37001" fmla="*/ 7141046 w 8079933"/>
              <a:gd name="connsiteY37001" fmla="*/ 412403 h 4687251"/>
              <a:gd name="connsiteX37002" fmla="*/ 7132365 w 8079933"/>
              <a:gd name="connsiteY37002" fmla="*/ 403958 h 4687251"/>
              <a:gd name="connsiteX37003" fmla="*/ 7128892 w 8079933"/>
              <a:gd name="connsiteY37003" fmla="*/ 403092 h 4687251"/>
              <a:gd name="connsiteX37004" fmla="*/ 7126722 w 8079933"/>
              <a:gd name="connsiteY37004" fmla="*/ 399519 h 4687251"/>
              <a:gd name="connsiteX37005" fmla="*/ 7118258 w 8079933"/>
              <a:gd name="connsiteY37005" fmla="*/ 395512 h 4687251"/>
              <a:gd name="connsiteX37006" fmla="*/ 7113917 w 8079933"/>
              <a:gd name="connsiteY37006" fmla="*/ 399302 h 4687251"/>
              <a:gd name="connsiteX37007" fmla="*/ 7111204 w 8079933"/>
              <a:gd name="connsiteY37007" fmla="*/ 399302 h 4687251"/>
              <a:gd name="connsiteX37008" fmla="*/ 7111204 w 8079933"/>
              <a:gd name="connsiteY37008" fmla="*/ 393131 h 4687251"/>
              <a:gd name="connsiteX37009" fmla="*/ 7113157 w 8079933"/>
              <a:gd name="connsiteY37009" fmla="*/ 390208 h 4687251"/>
              <a:gd name="connsiteX37010" fmla="*/ 7109576 w 8079933"/>
              <a:gd name="connsiteY37010" fmla="*/ 382953 h 4687251"/>
              <a:gd name="connsiteX37011" fmla="*/ 7108165 w 8079933"/>
              <a:gd name="connsiteY37011" fmla="*/ 378081 h 4687251"/>
              <a:gd name="connsiteX37012" fmla="*/ 7105236 w 8079933"/>
              <a:gd name="connsiteY37012" fmla="*/ 375916 h 4687251"/>
              <a:gd name="connsiteX37013" fmla="*/ 7102197 w 8079933"/>
              <a:gd name="connsiteY37013" fmla="*/ 368120 h 4687251"/>
              <a:gd name="connsiteX37014" fmla="*/ 7095578 w 8079933"/>
              <a:gd name="connsiteY37014" fmla="*/ 363248 h 4687251"/>
              <a:gd name="connsiteX37015" fmla="*/ 7096662 w 8079933"/>
              <a:gd name="connsiteY37015" fmla="*/ 361949 h 4687251"/>
              <a:gd name="connsiteX37016" fmla="*/ 7107514 w 8079933"/>
              <a:gd name="connsiteY37016" fmla="*/ 360217 h 4687251"/>
              <a:gd name="connsiteX37017" fmla="*/ 7110662 w 8079933"/>
              <a:gd name="connsiteY37017" fmla="*/ 362165 h 4687251"/>
              <a:gd name="connsiteX37018" fmla="*/ 7123683 w 8079933"/>
              <a:gd name="connsiteY37018" fmla="*/ 360866 h 4687251"/>
              <a:gd name="connsiteX37019" fmla="*/ 7134535 w 8079933"/>
              <a:gd name="connsiteY37019" fmla="*/ 360866 h 4687251"/>
              <a:gd name="connsiteX37020" fmla="*/ 7134535 w 8079933"/>
              <a:gd name="connsiteY37020" fmla="*/ 357402 h 4687251"/>
              <a:gd name="connsiteX37021" fmla="*/ 7140178 w 8079933"/>
              <a:gd name="connsiteY37021" fmla="*/ 355453 h 4687251"/>
              <a:gd name="connsiteX37022" fmla="*/ 7146472 w 8079933"/>
              <a:gd name="connsiteY37022" fmla="*/ 359567 h 4687251"/>
              <a:gd name="connsiteX37023" fmla="*/ 7150487 w 8079933"/>
              <a:gd name="connsiteY37023" fmla="*/ 357727 h 4687251"/>
              <a:gd name="connsiteX37024" fmla="*/ 7153742 w 8079933"/>
              <a:gd name="connsiteY37024" fmla="*/ 357727 h 4687251"/>
              <a:gd name="connsiteX37025" fmla="*/ 7153742 w 8079933"/>
              <a:gd name="connsiteY37025" fmla="*/ 353179 h 4687251"/>
              <a:gd name="connsiteX37026" fmla="*/ 7160470 w 8079933"/>
              <a:gd name="connsiteY37026" fmla="*/ 352421 h 4687251"/>
              <a:gd name="connsiteX37027" fmla="*/ 7162316 w 8079933"/>
              <a:gd name="connsiteY37027" fmla="*/ 355669 h 4687251"/>
              <a:gd name="connsiteX37028" fmla="*/ 7164160 w 8079933"/>
              <a:gd name="connsiteY37028" fmla="*/ 355669 h 4687251"/>
              <a:gd name="connsiteX37029" fmla="*/ 7166655 w 8079933"/>
              <a:gd name="connsiteY37029" fmla="*/ 350256 h 4687251"/>
              <a:gd name="connsiteX37030" fmla="*/ 7171213 w 8079933"/>
              <a:gd name="connsiteY37030" fmla="*/ 351880 h 4687251"/>
              <a:gd name="connsiteX37031" fmla="*/ 7171213 w 8079933"/>
              <a:gd name="connsiteY37031" fmla="*/ 347224 h 4687251"/>
              <a:gd name="connsiteX37032" fmla="*/ 7190420 w 8079933"/>
              <a:gd name="connsiteY37032" fmla="*/ 342136 h 4687251"/>
              <a:gd name="connsiteX37033" fmla="*/ 7192809 w 8079933"/>
              <a:gd name="connsiteY37033" fmla="*/ 346682 h 4687251"/>
              <a:gd name="connsiteX37034" fmla="*/ 7193893 w 8079933"/>
              <a:gd name="connsiteY37034" fmla="*/ 342894 h 4687251"/>
              <a:gd name="connsiteX37035" fmla="*/ 7195955 w 8079933"/>
              <a:gd name="connsiteY37035" fmla="*/ 340511 h 4687251"/>
              <a:gd name="connsiteX37036" fmla="*/ 7197800 w 8079933"/>
              <a:gd name="connsiteY37036" fmla="*/ 341811 h 4687251"/>
              <a:gd name="connsiteX37037" fmla="*/ 7204528 w 8079933"/>
              <a:gd name="connsiteY37037" fmla="*/ 340945 h 4687251"/>
              <a:gd name="connsiteX37038" fmla="*/ 7207784 w 8079933"/>
              <a:gd name="connsiteY37038" fmla="*/ 340403 h 4687251"/>
              <a:gd name="connsiteX37039" fmla="*/ 7211906 w 8079933"/>
              <a:gd name="connsiteY37039" fmla="*/ 343976 h 4687251"/>
              <a:gd name="connsiteX37040" fmla="*/ 7220805 w 8079933"/>
              <a:gd name="connsiteY37040" fmla="*/ 343976 h 4687251"/>
              <a:gd name="connsiteX37041" fmla="*/ 7225364 w 8079933"/>
              <a:gd name="connsiteY37041" fmla="*/ 341919 h 4687251"/>
              <a:gd name="connsiteX37042" fmla="*/ 7227750 w 8079933"/>
              <a:gd name="connsiteY37042" fmla="*/ 344951 h 4687251"/>
              <a:gd name="connsiteX37043" fmla="*/ 7231223 w 8079933"/>
              <a:gd name="connsiteY37043" fmla="*/ 346250 h 4687251"/>
              <a:gd name="connsiteX37044" fmla="*/ 7233936 w 8079933"/>
              <a:gd name="connsiteY37044" fmla="*/ 343001 h 4687251"/>
              <a:gd name="connsiteX37045" fmla="*/ 7241749 w 8079933"/>
              <a:gd name="connsiteY37045" fmla="*/ 342136 h 4687251"/>
              <a:gd name="connsiteX37046" fmla="*/ 7256617 w 8079933"/>
              <a:gd name="connsiteY37046" fmla="*/ 346791 h 4687251"/>
              <a:gd name="connsiteX37047" fmla="*/ 7262042 w 8079933"/>
              <a:gd name="connsiteY37047" fmla="*/ 349282 h 4687251"/>
              <a:gd name="connsiteX37048" fmla="*/ 7265514 w 8079933"/>
              <a:gd name="connsiteY37048" fmla="*/ 348198 h 4687251"/>
              <a:gd name="connsiteX37049" fmla="*/ 7263887 w 8079933"/>
              <a:gd name="connsiteY37049" fmla="*/ 346791 h 4687251"/>
              <a:gd name="connsiteX37050" fmla="*/ 7268987 w 8079933"/>
              <a:gd name="connsiteY37050" fmla="*/ 345492 h 4687251"/>
              <a:gd name="connsiteX37051" fmla="*/ 7272785 w 8079933"/>
              <a:gd name="connsiteY37051" fmla="*/ 348198 h 4687251"/>
              <a:gd name="connsiteX37052" fmla="*/ 7270072 w 8079933"/>
              <a:gd name="connsiteY37052" fmla="*/ 350689 h 4687251"/>
              <a:gd name="connsiteX37053" fmla="*/ 7272459 w 8079933"/>
              <a:gd name="connsiteY37053" fmla="*/ 352313 h 4687251"/>
              <a:gd name="connsiteX37054" fmla="*/ 7279513 w 8079933"/>
              <a:gd name="connsiteY37054" fmla="*/ 350472 h 4687251"/>
              <a:gd name="connsiteX37055" fmla="*/ 7296007 w 8079933"/>
              <a:gd name="connsiteY37055" fmla="*/ 352313 h 4687251"/>
              <a:gd name="connsiteX37056" fmla="*/ 7309898 w 8079933"/>
              <a:gd name="connsiteY37056" fmla="*/ 361733 h 4687251"/>
              <a:gd name="connsiteX37057" fmla="*/ 7309138 w 8079933"/>
              <a:gd name="connsiteY37057" fmla="*/ 363898 h 4687251"/>
              <a:gd name="connsiteX37058" fmla="*/ 7304797 w 8079933"/>
              <a:gd name="connsiteY37058" fmla="*/ 361733 h 4687251"/>
              <a:gd name="connsiteX37059" fmla="*/ 7296442 w 8079933"/>
              <a:gd name="connsiteY37059" fmla="*/ 358701 h 4687251"/>
              <a:gd name="connsiteX37060" fmla="*/ 7295900 w 8079933"/>
              <a:gd name="connsiteY37060" fmla="*/ 360541 h 4687251"/>
              <a:gd name="connsiteX37061" fmla="*/ 7310223 w 8079933"/>
              <a:gd name="connsiteY37061" fmla="*/ 365630 h 4687251"/>
              <a:gd name="connsiteX37062" fmla="*/ 7317494 w 8079933"/>
              <a:gd name="connsiteY37062" fmla="*/ 365630 h 4687251"/>
              <a:gd name="connsiteX37063" fmla="*/ 7319122 w 8079933"/>
              <a:gd name="connsiteY37063" fmla="*/ 361841 h 4687251"/>
              <a:gd name="connsiteX37064" fmla="*/ 7325307 w 8079933"/>
              <a:gd name="connsiteY37064" fmla="*/ 361300 h 4687251"/>
              <a:gd name="connsiteX37065" fmla="*/ 7332144 w 8079933"/>
              <a:gd name="connsiteY37065" fmla="*/ 361300 h 4687251"/>
              <a:gd name="connsiteX37066" fmla="*/ 7330841 w 8079933"/>
              <a:gd name="connsiteY37066" fmla="*/ 357294 h 4687251"/>
              <a:gd name="connsiteX37067" fmla="*/ 7333771 w 8079933"/>
              <a:gd name="connsiteY37067" fmla="*/ 355886 h 4687251"/>
              <a:gd name="connsiteX37068" fmla="*/ 7338112 w 8079933"/>
              <a:gd name="connsiteY37068" fmla="*/ 359351 h 4687251"/>
              <a:gd name="connsiteX37069" fmla="*/ 7342670 w 8079933"/>
              <a:gd name="connsiteY37069" fmla="*/ 360758 h 4687251"/>
              <a:gd name="connsiteX37070" fmla="*/ 7345166 w 8079933"/>
              <a:gd name="connsiteY37070" fmla="*/ 362382 h 4687251"/>
              <a:gd name="connsiteX37071" fmla="*/ 7345166 w 8079933"/>
              <a:gd name="connsiteY37071" fmla="*/ 359892 h 4687251"/>
              <a:gd name="connsiteX37072" fmla="*/ 7345925 w 8079933"/>
              <a:gd name="connsiteY37072" fmla="*/ 358593 h 4687251"/>
              <a:gd name="connsiteX37073" fmla="*/ 7352979 w 8079933"/>
              <a:gd name="connsiteY37073" fmla="*/ 360433 h 4687251"/>
              <a:gd name="connsiteX37074" fmla="*/ 7352979 w 8079933"/>
              <a:gd name="connsiteY37074" fmla="*/ 363465 h 4687251"/>
              <a:gd name="connsiteX37075" fmla="*/ 7360792 w 8079933"/>
              <a:gd name="connsiteY37075" fmla="*/ 366172 h 4687251"/>
              <a:gd name="connsiteX37076" fmla="*/ 7366435 w 8079933"/>
              <a:gd name="connsiteY37076" fmla="*/ 364006 h 4687251"/>
              <a:gd name="connsiteX37077" fmla="*/ 7386836 w 8079933"/>
              <a:gd name="connsiteY37077" fmla="*/ 368012 h 4687251"/>
              <a:gd name="connsiteX37078" fmla="*/ 7384666 w 8079933"/>
              <a:gd name="connsiteY37078" fmla="*/ 364223 h 4687251"/>
              <a:gd name="connsiteX37079" fmla="*/ 7391502 w 8079933"/>
              <a:gd name="connsiteY37079" fmla="*/ 364223 h 4687251"/>
              <a:gd name="connsiteX37080" fmla="*/ 7393456 w 8079933"/>
              <a:gd name="connsiteY37080" fmla="*/ 368337 h 4687251"/>
              <a:gd name="connsiteX37081" fmla="*/ 7397471 w 8079933"/>
              <a:gd name="connsiteY37081" fmla="*/ 369636 h 4687251"/>
              <a:gd name="connsiteX37082" fmla="*/ 7396602 w 8079933"/>
              <a:gd name="connsiteY37082" fmla="*/ 365089 h 4687251"/>
              <a:gd name="connsiteX37083" fmla="*/ 7398447 w 8079933"/>
              <a:gd name="connsiteY37083" fmla="*/ 364331 h 4687251"/>
              <a:gd name="connsiteX37084" fmla="*/ 7406260 w 8079933"/>
              <a:gd name="connsiteY37084" fmla="*/ 365739 h 4687251"/>
              <a:gd name="connsiteX37085" fmla="*/ 7404850 w 8079933"/>
              <a:gd name="connsiteY37085" fmla="*/ 368120 h 4687251"/>
              <a:gd name="connsiteX37086" fmla="*/ 7408648 w 8079933"/>
              <a:gd name="connsiteY37086" fmla="*/ 372776 h 4687251"/>
              <a:gd name="connsiteX37087" fmla="*/ 7415375 w 8079933"/>
              <a:gd name="connsiteY37087" fmla="*/ 370935 h 4687251"/>
              <a:gd name="connsiteX37088" fmla="*/ 7415375 w 8079933"/>
              <a:gd name="connsiteY37088" fmla="*/ 368445 h 4687251"/>
              <a:gd name="connsiteX37089" fmla="*/ 7412880 w 8079933"/>
              <a:gd name="connsiteY37089" fmla="*/ 366821 h 4687251"/>
              <a:gd name="connsiteX37090" fmla="*/ 7420476 w 8079933"/>
              <a:gd name="connsiteY37090" fmla="*/ 366821 h 4687251"/>
              <a:gd name="connsiteX37091" fmla="*/ 7422863 w 8079933"/>
              <a:gd name="connsiteY37091" fmla="*/ 368445 h 4687251"/>
              <a:gd name="connsiteX37092" fmla="*/ 7421779 w 8079933"/>
              <a:gd name="connsiteY37092" fmla="*/ 371910 h 4687251"/>
              <a:gd name="connsiteX37093" fmla="*/ 7426119 w 8079933"/>
              <a:gd name="connsiteY37093" fmla="*/ 376241 h 4687251"/>
              <a:gd name="connsiteX37094" fmla="*/ 7434474 w 8079933"/>
              <a:gd name="connsiteY37094" fmla="*/ 379706 h 4687251"/>
              <a:gd name="connsiteX37095" fmla="*/ 7440986 w 8079933"/>
              <a:gd name="connsiteY37095" fmla="*/ 377215 h 4687251"/>
              <a:gd name="connsiteX37096" fmla="*/ 7431979 w 8079933"/>
              <a:gd name="connsiteY37096" fmla="*/ 373967 h 4687251"/>
              <a:gd name="connsiteX37097" fmla="*/ 7427855 w 8079933"/>
              <a:gd name="connsiteY37097" fmla="*/ 371586 h 4687251"/>
              <a:gd name="connsiteX37098" fmla="*/ 7426878 w 8079933"/>
              <a:gd name="connsiteY37098" fmla="*/ 368445 h 4687251"/>
              <a:gd name="connsiteX37099" fmla="*/ 7431762 w 8079933"/>
              <a:gd name="connsiteY37099" fmla="*/ 367362 h 4687251"/>
              <a:gd name="connsiteX37100" fmla="*/ 7437404 w 8079933"/>
              <a:gd name="connsiteY37100" fmla="*/ 368012 h 4687251"/>
              <a:gd name="connsiteX37101" fmla="*/ 7446846 w 8079933"/>
              <a:gd name="connsiteY37101" fmla="*/ 373209 h 4687251"/>
              <a:gd name="connsiteX37102" fmla="*/ 7449016 w 8079933"/>
              <a:gd name="connsiteY37102" fmla="*/ 378406 h 4687251"/>
              <a:gd name="connsiteX37103" fmla="*/ 7451078 w 8079933"/>
              <a:gd name="connsiteY37103" fmla="*/ 379814 h 4687251"/>
              <a:gd name="connsiteX37104" fmla="*/ 7452488 w 8079933"/>
              <a:gd name="connsiteY37104" fmla="*/ 375808 h 4687251"/>
              <a:gd name="connsiteX37105" fmla="*/ 7451187 w 8079933"/>
              <a:gd name="connsiteY37105" fmla="*/ 373967 h 4687251"/>
              <a:gd name="connsiteX37106" fmla="*/ 7455093 w 8079933"/>
              <a:gd name="connsiteY37106" fmla="*/ 374833 h 4687251"/>
              <a:gd name="connsiteX37107" fmla="*/ 7458132 w 8079933"/>
              <a:gd name="connsiteY37107" fmla="*/ 377649 h 4687251"/>
              <a:gd name="connsiteX37108" fmla="*/ 7457372 w 8079933"/>
              <a:gd name="connsiteY37108" fmla="*/ 379706 h 4687251"/>
              <a:gd name="connsiteX37109" fmla="*/ 7462255 w 8079933"/>
              <a:gd name="connsiteY37109" fmla="*/ 385227 h 4687251"/>
              <a:gd name="connsiteX37110" fmla="*/ 7469851 w 8079933"/>
              <a:gd name="connsiteY37110" fmla="*/ 398869 h 4687251"/>
              <a:gd name="connsiteX37111" fmla="*/ 7478099 w 8079933"/>
              <a:gd name="connsiteY37111" fmla="*/ 401576 h 4687251"/>
              <a:gd name="connsiteX37112" fmla="*/ 7479509 w 8079933"/>
              <a:gd name="connsiteY37112" fmla="*/ 406773 h 4687251"/>
              <a:gd name="connsiteX37113" fmla="*/ 7483850 w 8079933"/>
              <a:gd name="connsiteY37113" fmla="*/ 410563 h 4687251"/>
              <a:gd name="connsiteX37114" fmla="*/ 7486780 w 8079933"/>
              <a:gd name="connsiteY37114" fmla="*/ 415543 h 4687251"/>
              <a:gd name="connsiteX37115" fmla="*/ 7484610 w 8079933"/>
              <a:gd name="connsiteY37115" fmla="*/ 417925 h 4687251"/>
              <a:gd name="connsiteX37116" fmla="*/ 7486128 w 8079933"/>
              <a:gd name="connsiteY37116" fmla="*/ 423014 h 4687251"/>
              <a:gd name="connsiteX37117" fmla="*/ 7489818 w 8079933"/>
              <a:gd name="connsiteY37117" fmla="*/ 424530 h 4687251"/>
              <a:gd name="connsiteX37118" fmla="*/ 7494593 w 8079933"/>
              <a:gd name="connsiteY37118" fmla="*/ 420198 h 4687251"/>
              <a:gd name="connsiteX37119" fmla="*/ 7500779 w 8079933"/>
              <a:gd name="connsiteY37119" fmla="*/ 421065 h 4687251"/>
              <a:gd name="connsiteX37120" fmla="*/ 7504685 w 8079933"/>
              <a:gd name="connsiteY37120" fmla="*/ 427777 h 4687251"/>
              <a:gd name="connsiteX37121" fmla="*/ 7508809 w 8079933"/>
              <a:gd name="connsiteY37121" fmla="*/ 428860 h 4687251"/>
              <a:gd name="connsiteX37122" fmla="*/ 7509676 w 8079933"/>
              <a:gd name="connsiteY37122" fmla="*/ 427344 h 4687251"/>
              <a:gd name="connsiteX37123" fmla="*/ 7507507 w 8079933"/>
              <a:gd name="connsiteY37123" fmla="*/ 425828 h 4687251"/>
              <a:gd name="connsiteX37124" fmla="*/ 7506096 w 8079933"/>
              <a:gd name="connsiteY37124" fmla="*/ 421389 h 4687251"/>
              <a:gd name="connsiteX37125" fmla="*/ 7508809 w 8079933"/>
              <a:gd name="connsiteY37125" fmla="*/ 417383 h 4687251"/>
              <a:gd name="connsiteX37126" fmla="*/ 7511739 w 8079933"/>
              <a:gd name="connsiteY37126" fmla="*/ 418683 h 4687251"/>
              <a:gd name="connsiteX37127" fmla="*/ 7514452 w 8079933"/>
              <a:gd name="connsiteY37127" fmla="*/ 424746 h 4687251"/>
              <a:gd name="connsiteX37128" fmla="*/ 7518792 w 8079933"/>
              <a:gd name="connsiteY37128" fmla="*/ 429293 h 4687251"/>
              <a:gd name="connsiteX37129" fmla="*/ 7518792 w 8079933"/>
              <a:gd name="connsiteY37129" fmla="*/ 427236 h 4687251"/>
              <a:gd name="connsiteX37130" fmla="*/ 7515646 w 8079933"/>
              <a:gd name="connsiteY37130" fmla="*/ 419549 h 4687251"/>
              <a:gd name="connsiteX37131" fmla="*/ 7515646 w 8079933"/>
              <a:gd name="connsiteY37131" fmla="*/ 415326 h 4687251"/>
              <a:gd name="connsiteX37132" fmla="*/ 7512173 w 8079933"/>
              <a:gd name="connsiteY37132" fmla="*/ 411320 h 4687251"/>
              <a:gd name="connsiteX37133" fmla="*/ 7506096 w 8079933"/>
              <a:gd name="connsiteY37133" fmla="*/ 414569 h 4687251"/>
              <a:gd name="connsiteX37134" fmla="*/ 7499802 w 8079933"/>
              <a:gd name="connsiteY37134" fmla="*/ 415759 h 4687251"/>
              <a:gd name="connsiteX37135" fmla="*/ 7498825 w 8079933"/>
              <a:gd name="connsiteY37135" fmla="*/ 411861 h 4687251"/>
              <a:gd name="connsiteX37136" fmla="*/ 7502081 w 8079933"/>
              <a:gd name="connsiteY37136" fmla="*/ 408181 h 4687251"/>
              <a:gd name="connsiteX37137" fmla="*/ 7500670 w 8079933"/>
              <a:gd name="connsiteY37137" fmla="*/ 402659 h 4687251"/>
              <a:gd name="connsiteX37138" fmla="*/ 7492097 w 8079933"/>
              <a:gd name="connsiteY37138" fmla="*/ 396596 h 4687251"/>
              <a:gd name="connsiteX37139" fmla="*/ 7487540 w 8079933"/>
              <a:gd name="connsiteY37139" fmla="*/ 392590 h 4687251"/>
              <a:gd name="connsiteX37140" fmla="*/ 7485369 w 8079933"/>
              <a:gd name="connsiteY37140" fmla="*/ 387718 h 4687251"/>
              <a:gd name="connsiteX37141" fmla="*/ 7482331 w 8079933"/>
              <a:gd name="connsiteY37141" fmla="*/ 387718 h 4687251"/>
              <a:gd name="connsiteX37142" fmla="*/ 7476146 w 8079933"/>
              <a:gd name="connsiteY37142" fmla="*/ 392698 h 4687251"/>
              <a:gd name="connsiteX37143" fmla="*/ 7475277 w 8079933"/>
              <a:gd name="connsiteY37143" fmla="*/ 390208 h 4687251"/>
              <a:gd name="connsiteX37144" fmla="*/ 7480161 w 8079933"/>
              <a:gd name="connsiteY37144" fmla="*/ 386202 h 4687251"/>
              <a:gd name="connsiteX37145" fmla="*/ 7483633 w 8079933"/>
              <a:gd name="connsiteY37145" fmla="*/ 379164 h 4687251"/>
              <a:gd name="connsiteX37146" fmla="*/ 7489818 w 8079933"/>
              <a:gd name="connsiteY37146" fmla="*/ 370394 h 4687251"/>
              <a:gd name="connsiteX37147" fmla="*/ 7492966 w 8079933"/>
              <a:gd name="connsiteY37147" fmla="*/ 369636 h 4687251"/>
              <a:gd name="connsiteX37148" fmla="*/ 7492314 w 8079933"/>
              <a:gd name="connsiteY37148" fmla="*/ 372343 h 4687251"/>
              <a:gd name="connsiteX37149" fmla="*/ 7496004 w 8079933"/>
              <a:gd name="connsiteY37149" fmla="*/ 381221 h 4687251"/>
              <a:gd name="connsiteX37150" fmla="*/ 7500887 w 8079933"/>
              <a:gd name="connsiteY37150" fmla="*/ 382520 h 4687251"/>
              <a:gd name="connsiteX37151" fmla="*/ 7502189 w 8079933"/>
              <a:gd name="connsiteY37151" fmla="*/ 380572 h 4687251"/>
              <a:gd name="connsiteX37152" fmla="*/ 7497849 w 8079933"/>
              <a:gd name="connsiteY37152" fmla="*/ 376998 h 4687251"/>
              <a:gd name="connsiteX37153" fmla="*/ 7496221 w 8079933"/>
              <a:gd name="connsiteY37153" fmla="*/ 372776 h 4687251"/>
              <a:gd name="connsiteX37154" fmla="*/ 7498608 w 8079933"/>
              <a:gd name="connsiteY37154" fmla="*/ 372776 h 4687251"/>
              <a:gd name="connsiteX37155" fmla="*/ 7504142 w 8079933"/>
              <a:gd name="connsiteY37155" fmla="*/ 369312 h 4687251"/>
              <a:gd name="connsiteX37156" fmla="*/ 7505878 w 8079933"/>
              <a:gd name="connsiteY37156" fmla="*/ 365847 h 4687251"/>
              <a:gd name="connsiteX37157" fmla="*/ 7499911 w 8079933"/>
              <a:gd name="connsiteY37157" fmla="*/ 365847 h 4687251"/>
              <a:gd name="connsiteX37158" fmla="*/ 7502406 w 8079933"/>
              <a:gd name="connsiteY37158" fmla="*/ 363790 h 4687251"/>
              <a:gd name="connsiteX37159" fmla="*/ 7504685 w 8079933"/>
              <a:gd name="connsiteY37159" fmla="*/ 362490 h 4687251"/>
              <a:gd name="connsiteX37160" fmla="*/ 7509351 w 8079933"/>
              <a:gd name="connsiteY37160" fmla="*/ 361408 h 4687251"/>
              <a:gd name="connsiteX37161" fmla="*/ 7513475 w 8079933"/>
              <a:gd name="connsiteY37161" fmla="*/ 354586 h 4687251"/>
              <a:gd name="connsiteX37162" fmla="*/ 7517599 w 8079933"/>
              <a:gd name="connsiteY37162" fmla="*/ 354586 h 4687251"/>
              <a:gd name="connsiteX37163" fmla="*/ 7519444 w 8079933"/>
              <a:gd name="connsiteY37163" fmla="*/ 357402 h 4687251"/>
              <a:gd name="connsiteX37164" fmla="*/ 7521830 w 8079933"/>
              <a:gd name="connsiteY37164" fmla="*/ 356535 h 4687251"/>
              <a:gd name="connsiteX37165" fmla="*/ 7526063 w 8079933"/>
              <a:gd name="connsiteY37165" fmla="*/ 357619 h 4687251"/>
              <a:gd name="connsiteX37166" fmla="*/ 7526714 w 8079933"/>
              <a:gd name="connsiteY37166" fmla="*/ 359892 h 4687251"/>
              <a:gd name="connsiteX37167" fmla="*/ 7530838 w 8079933"/>
              <a:gd name="connsiteY37167" fmla="*/ 363898 h 4687251"/>
              <a:gd name="connsiteX37168" fmla="*/ 7537782 w 8079933"/>
              <a:gd name="connsiteY37168" fmla="*/ 365197 h 4687251"/>
              <a:gd name="connsiteX37169" fmla="*/ 7541038 w 8079933"/>
              <a:gd name="connsiteY37169" fmla="*/ 363465 h 4687251"/>
              <a:gd name="connsiteX37170" fmla="*/ 7555796 w 8079933"/>
              <a:gd name="connsiteY37170" fmla="*/ 366063 h 4687251"/>
              <a:gd name="connsiteX37171" fmla="*/ 7554711 w 8079933"/>
              <a:gd name="connsiteY37171" fmla="*/ 371152 h 4687251"/>
              <a:gd name="connsiteX37172" fmla="*/ 7556014 w 8079933"/>
              <a:gd name="connsiteY37172" fmla="*/ 373426 h 4687251"/>
              <a:gd name="connsiteX37173" fmla="*/ 7558944 w 8079933"/>
              <a:gd name="connsiteY37173" fmla="*/ 372235 h 4687251"/>
              <a:gd name="connsiteX37174" fmla="*/ 7558944 w 8079933"/>
              <a:gd name="connsiteY37174" fmla="*/ 368770 h 4687251"/>
              <a:gd name="connsiteX37175" fmla="*/ 7563176 w 8079933"/>
              <a:gd name="connsiteY37175" fmla="*/ 368770 h 4687251"/>
              <a:gd name="connsiteX37176" fmla="*/ 7563176 w 8079933"/>
              <a:gd name="connsiteY37176" fmla="*/ 374833 h 4687251"/>
              <a:gd name="connsiteX37177" fmla="*/ 7567191 w 8079933"/>
              <a:gd name="connsiteY37177" fmla="*/ 371910 h 4687251"/>
              <a:gd name="connsiteX37178" fmla="*/ 7571748 w 8079933"/>
              <a:gd name="connsiteY37178" fmla="*/ 366713 h 4687251"/>
              <a:gd name="connsiteX37179" fmla="*/ 7576306 w 8079933"/>
              <a:gd name="connsiteY37179" fmla="*/ 368337 h 4687251"/>
              <a:gd name="connsiteX37180" fmla="*/ 7576306 w 8079933"/>
              <a:gd name="connsiteY37180" fmla="*/ 371802 h 4687251"/>
              <a:gd name="connsiteX37181" fmla="*/ 7573702 w 8079933"/>
              <a:gd name="connsiteY37181" fmla="*/ 375374 h 4687251"/>
              <a:gd name="connsiteX37182" fmla="*/ 7573268 w 8079933"/>
              <a:gd name="connsiteY37182" fmla="*/ 377540 h 4687251"/>
              <a:gd name="connsiteX37183" fmla="*/ 7577283 w 8079933"/>
              <a:gd name="connsiteY37183" fmla="*/ 390316 h 4687251"/>
              <a:gd name="connsiteX37184" fmla="*/ 7575546 w 8079933"/>
              <a:gd name="connsiteY37184" fmla="*/ 396487 h 4687251"/>
              <a:gd name="connsiteX37185" fmla="*/ 7576089 w 8079933"/>
              <a:gd name="connsiteY37185" fmla="*/ 399302 h 4687251"/>
              <a:gd name="connsiteX37186" fmla="*/ 7580539 w 8079933"/>
              <a:gd name="connsiteY37186" fmla="*/ 398220 h 4687251"/>
              <a:gd name="connsiteX37187" fmla="*/ 7583469 w 8079933"/>
              <a:gd name="connsiteY37187" fmla="*/ 403200 h 4687251"/>
              <a:gd name="connsiteX37188" fmla="*/ 7588678 w 8079933"/>
              <a:gd name="connsiteY37188" fmla="*/ 405582 h 4687251"/>
              <a:gd name="connsiteX37189" fmla="*/ 7590522 w 8079933"/>
              <a:gd name="connsiteY37189" fmla="*/ 410563 h 4687251"/>
              <a:gd name="connsiteX37190" fmla="*/ 7587918 w 8079933"/>
              <a:gd name="connsiteY37190" fmla="*/ 413486 h 4687251"/>
              <a:gd name="connsiteX37191" fmla="*/ 7580321 w 8079933"/>
              <a:gd name="connsiteY37191" fmla="*/ 413486 h 4687251"/>
              <a:gd name="connsiteX37192" fmla="*/ 7572291 w 8079933"/>
              <a:gd name="connsiteY37192" fmla="*/ 414893 h 4687251"/>
              <a:gd name="connsiteX37193" fmla="*/ 7583143 w 8079933"/>
              <a:gd name="connsiteY37193" fmla="*/ 417275 h 4687251"/>
              <a:gd name="connsiteX37194" fmla="*/ 7586073 w 8079933"/>
              <a:gd name="connsiteY37194" fmla="*/ 421498 h 4687251"/>
              <a:gd name="connsiteX37195" fmla="*/ 7584879 w 8079933"/>
              <a:gd name="connsiteY37195" fmla="*/ 425504 h 4687251"/>
              <a:gd name="connsiteX37196" fmla="*/ 7579454 w 8079933"/>
              <a:gd name="connsiteY37196" fmla="*/ 426803 h 4687251"/>
              <a:gd name="connsiteX37197" fmla="*/ 7574895 w 8079933"/>
              <a:gd name="connsiteY37197" fmla="*/ 434815 h 4687251"/>
              <a:gd name="connsiteX37198" fmla="*/ 7573268 w 8079933"/>
              <a:gd name="connsiteY37198" fmla="*/ 432216 h 4687251"/>
              <a:gd name="connsiteX37199" fmla="*/ 7567516 w 8079933"/>
              <a:gd name="connsiteY37199" fmla="*/ 436872 h 4687251"/>
              <a:gd name="connsiteX37200" fmla="*/ 7561114 w 8079933"/>
              <a:gd name="connsiteY37200" fmla="*/ 436872 h 4687251"/>
              <a:gd name="connsiteX37201" fmla="*/ 7556122 w 8079933"/>
              <a:gd name="connsiteY37201" fmla="*/ 441420 h 4687251"/>
              <a:gd name="connsiteX37202" fmla="*/ 7562850 w 8079933"/>
              <a:gd name="connsiteY37202" fmla="*/ 440337 h 4687251"/>
              <a:gd name="connsiteX37203" fmla="*/ 7566540 w 8079933"/>
              <a:gd name="connsiteY37203" fmla="*/ 441528 h 4687251"/>
              <a:gd name="connsiteX37204" fmla="*/ 7569036 w 8079933"/>
              <a:gd name="connsiteY37204" fmla="*/ 445209 h 4687251"/>
              <a:gd name="connsiteX37205" fmla="*/ 7572725 w 8079933"/>
              <a:gd name="connsiteY37205" fmla="*/ 441420 h 4687251"/>
              <a:gd name="connsiteX37206" fmla="*/ 7575004 w 8079933"/>
              <a:gd name="connsiteY37206" fmla="*/ 441420 h 4687251"/>
              <a:gd name="connsiteX37207" fmla="*/ 7575004 w 8079933"/>
              <a:gd name="connsiteY37207" fmla="*/ 445534 h 4687251"/>
              <a:gd name="connsiteX37208" fmla="*/ 7579561 w 8079933"/>
              <a:gd name="connsiteY37208" fmla="*/ 451597 h 4687251"/>
              <a:gd name="connsiteX37209" fmla="*/ 7575546 w 8079933"/>
              <a:gd name="connsiteY37209" fmla="*/ 454087 h 4687251"/>
              <a:gd name="connsiteX37210" fmla="*/ 7574462 w 8079933"/>
              <a:gd name="connsiteY37210" fmla="*/ 461558 h 4687251"/>
              <a:gd name="connsiteX37211" fmla="*/ 7580104 w 8079933"/>
              <a:gd name="connsiteY37211" fmla="*/ 455711 h 4687251"/>
              <a:gd name="connsiteX37212" fmla="*/ 7586073 w 8079933"/>
              <a:gd name="connsiteY37212" fmla="*/ 455062 h 4687251"/>
              <a:gd name="connsiteX37213" fmla="*/ 7592475 w 8079933"/>
              <a:gd name="connsiteY37213" fmla="*/ 460475 h 4687251"/>
              <a:gd name="connsiteX37214" fmla="*/ 7591715 w 8079933"/>
              <a:gd name="connsiteY37214" fmla="*/ 463940 h 4687251"/>
              <a:gd name="connsiteX37215" fmla="*/ 7595296 w 8079933"/>
              <a:gd name="connsiteY37215" fmla="*/ 470111 h 4687251"/>
              <a:gd name="connsiteX37216" fmla="*/ 7589654 w 8079933"/>
              <a:gd name="connsiteY37216" fmla="*/ 474117 h 4687251"/>
              <a:gd name="connsiteX37217" fmla="*/ 7592584 w 8079933"/>
              <a:gd name="connsiteY37217" fmla="*/ 475525 h 4687251"/>
              <a:gd name="connsiteX37218" fmla="*/ 7593886 w 8079933"/>
              <a:gd name="connsiteY37218" fmla="*/ 482779 h 4687251"/>
              <a:gd name="connsiteX37219" fmla="*/ 7588678 w 8079933"/>
              <a:gd name="connsiteY37219" fmla="*/ 485160 h 4687251"/>
              <a:gd name="connsiteX37220" fmla="*/ 7588678 w 8079933"/>
              <a:gd name="connsiteY37220" fmla="*/ 488626 h 4687251"/>
              <a:gd name="connsiteX37221" fmla="*/ 7590630 w 8079933"/>
              <a:gd name="connsiteY37221" fmla="*/ 491658 h 4687251"/>
              <a:gd name="connsiteX37222" fmla="*/ 7590630 w 8079933"/>
              <a:gd name="connsiteY37222" fmla="*/ 487868 h 4687251"/>
              <a:gd name="connsiteX37223" fmla="*/ 7594754 w 8079933"/>
              <a:gd name="connsiteY37223" fmla="*/ 486785 h 4687251"/>
              <a:gd name="connsiteX37224" fmla="*/ 7597684 w 8079933"/>
              <a:gd name="connsiteY37224" fmla="*/ 490033 h 4687251"/>
              <a:gd name="connsiteX37225" fmla="*/ 7596816 w 8079933"/>
              <a:gd name="connsiteY37225" fmla="*/ 496205 h 4687251"/>
              <a:gd name="connsiteX37226" fmla="*/ 7602242 w 8079933"/>
              <a:gd name="connsiteY37226" fmla="*/ 494905 h 4687251"/>
              <a:gd name="connsiteX37227" fmla="*/ 7603978 w 8079933"/>
              <a:gd name="connsiteY37227" fmla="*/ 498370 h 4687251"/>
              <a:gd name="connsiteX37228" fmla="*/ 7603978 w 8079933"/>
              <a:gd name="connsiteY37228" fmla="*/ 494364 h 4687251"/>
              <a:gd name="connsiteX37229" fmla="*/ 7606908 w 8079933"/>
              <a:gd name="connsiteY37229" fmla="*/ 491874 h 4687251"/>
              <a:gd name="connsiteX37230" fmla="*/ 7610380 w 8079933"/>
              <a:gd name="connsiteY37230" fmla="*/ 493715 h 4687251"/>
              <a:gd name="connsiteX37231" fmla="*/ 7615264 w 8079933"/>
              <a:gd name="connsiteY37231" fmla="*/ 494472 h 4687251"/>
              <a:gd name="connsiteX37232" fmla="*/ 7615264 w 8079933"/>
              <a:gd name="connsiteY37232" fmla="*/ 500968 h 4687251"/>
              <a:gd name="connsiteX37233" fmla="*/ 7611683 w 8079933"/>
              <a:gd name="connsiteY37233" fmla="*/ 502593 h 4687251"/>
              <a:gd name="connsiteX37234" fmla="*/ 7607342 w 8079933"/>
              <a:gd name="connsiteY37234" fmla="*/ 499886 h 4687251"/>
              <a:gd name="connsiteX37235" fmla="*/ 7604303 w 8079933"/>
              <a:gd name="connsiteY37235" fmla="*/ 504000 h 4687251"/>
              <a:gd name="connsiteX37236" fmla="*/ 7609729 w 8079933"/>
              <a:gd name="connsiteY37236" fmla="*/ 507248 h 4687251"/>
              <a:gd name="connsiteX37237" fmla="*/ 7613744 w 8079933"/>
              <a:gd name="connsiteY37237" fmla="*/ 506491 h 4687251"/>
              <a:gd name="connsiteX37238" fmla="*/ 7617109 w 8079933"/>
              <a:gd name="connsiteY37238" fmla="*/ 512878 h 4687251"/>
              <a:gd name="connsiteX37239" fmla="*/ 7617109 w 8079933"/>
              <a:gd name="connsiteY37239" fmla="*/ 516126 h 4687251"/>
              <a:gd name="connsiteX37240" fmla="*/ 7607885 w 8079933"/>
              <a:gd name="connsiteY37240" fmla="*/ 521215 h 4687251"/>
              <a:gd name="connsiteX37241" fmla="*/ 7602676 w 8079933"/>
              <a:gd name="connsiteY37241" fmla="*/ 513419 h 4687251"/>
              <a:gd name="connsiteX37242" fmla="*/ 7601048 w 8079933"/>
              <a:gd name="connsiteY37242" fmla="*/ 512337 h 4687251"/>
              <a:gd name="connsiteX37243" fmla="*/ 7603544 w 8079933"/>
              <a:gd name="connsiteY37243" fmla="*/ 521215 h 4687251"/>
              <a:gd name="connsiteX37244" fmla="*/ 7599963 w 8079933"/>
              <a:gd name="connsiteY37244" fmla="*/ 524680 h 4687251"/>
              <a:gd name="connsiteX37245" fmla="*/ 7597576 w 8079933"/>
              <a:gd name="connsiteY37245" fmla="*/ 524680 h 4687251"/>
              <a:gd name="connsiteX37246" fmla="*/ 7596274 w 8079933"/>
              <a:gd name="connsiteY37246" fmla="*/ 522731 h 4687251"/>
              <a:gd name="connsiteX37247" fmla="*/ 7592475 w 8079933"/>
              <a:gd name="connsiteY37247" fmla="*/ 522731 h 4687251"/>
              <a:gd name="connsiteX37248" fmla="*/ 7589437 w 8079933"/>
              <a:gd name="connsiteY37248" fmla="*/ 520782 h 4687251"/>
              <a:gd name="connsiteX37249" fmla="*/ 7578585 w 8079933"/>
              <a:gd name="connsiteY37249" fmla="*/ 519916 h 4687251"/>
              <a:gd name="connsiteX37250" fmla="*/ 7574462 w 8079933"/>
              <a:gd name="connsiteY37250" fmla="*/ 522298 h 4687251"/>
              <a:gd name="connsiteX37251" fmla="*/ 7569795 w 8079933"/>
              <a:gd name="connsiteY37251" fmla="*/ 522298 h 4687251"/>
              <a:gd name="connsiteX37252" fmla="*/ 7571098 w 8079933"/>
              <a:gd name="connsiteY37252" fmla="*/ 518833 h 4687251"/>
              <a:gd name="connsiteX37253" fmla="*/ 7569253 w 8079933"/>
              <a:gd name="connsiteY37253" fmla="*/ 515585 h 4687251"/>
              <a:gd name="connsiteX37254" fmla="*/ 7565672 w 8079933"/>
              <a:gd name="connsiteY37254" fmla="*/ 514935 h 4687251"/>
              <a:gd name="connsiteX37255" fmla="*/ 7566756 w 8079933"/>
              <a:gd name="connsiteY37255" fmla="*/ 521107 h 4687251"/>
              <a:gd name="connsiteX37256" fmla="*/ 7563827 w 8079933"/>
              <a:gd name="connsiteY37256" fmla="*/ 521107 h 4687251"/>
              <a:gd name="connsiteX37257" fmla="*/ 7562959 w 8079933"/>
              <a:gd name="connsiteY37257" fmla="*/ 522514 h 4687251"/>
              <a:gd name="connsiteX37258" fmla="*/ 7565237 w 8079933"/>
              <a:gd name="connsiteY37258" fmla="*/ 526412 h 4687251"/>
              <a:gd name="connsiteX37259" fmla="*/ 7561440 w 8079933"/>
              <a:gd name="connsiteY37259" fmla="*/ 530959 h 4687251"/>
              <a:gd name="connsiteX37260" fmla="*/ 7560028 w 8079933"/>
              <a:gd name="connsiteY37260" fmla="*/ 530959 h 4687251"/>
              <a:gd name="connsiteX37261" fmla="*/ 7560028 w 8079933"/>
              <a:gd name="connsiteY37261" fmla="*/ 528577 h 4687251"/>
              <a:gd name="connsiteX37262" fmla="*/ 7558184 w 8079933"/>
              <a:gd name="connsiteY37262" fmla="*/ 527278 h 4687251"/>
              <a:gd name="connsiteX37263" fmla="*/ 7548200 w 8079933"/>
              <a:gd name="connsiteY37263" fmla="*/ 529768 h 4687251"/>
              <a:gd name="connsiteX37264" fmla="*/ 7545596 w 8079933"/>
              <a:gd name="connsiteY37264" fmla="*/ 528361 h 4687251"/>
              <a:gd name="connsiteX37265" fmla="*/ 7545596 w 8079933"/>
              <a:gd name="connsiteY37265" fmla="*/ 525654 h 4687251"/>
              <a:gd name="connsiteX37266" fmla="*/ 7543642 w 8079933"/>
              <a:gd name="connsiteY37266" fmla="*/ 519591 h 4687251"/>
              <a:gd name="connsiteX37267" fmla="*/ 7541907 w 8079933"/>
              <a:gd name="connsiteY37267" fmla="*/ 518400 h 4687251"/>
              <a:gd name="connsiteX37268" fmla="*/ 7530404 w 8079933"/>
              <a:gd name="connsiteY37268" fmla="*/ 509955 h 4687251"/>
              <a:gd name="connsiteX37269" fmla="*/ 7528993 w 8079933"/>
              <a:gd name="connsiteY37269" fmla="*/ 508115 h 4687251"/>
              <a:gd name="connsiteX37270" fmla="*/ 7530186 w 8079933"/>
              <a:gd name="connsiteY37270" fmla="*/ 506382 h 4687251"/>
              <a:gd name="connsiteX37271" fmla="*/ 7522048 w 8079933"/>
              <a:gd name="connsiteY37271" fmla="*/ 503675 h 4687251"/>
              <a:gd name="connsiteX37272" fmla="*/ 7520962 w 8079933"/>
              <a:gd name="connsiteY37272" fmla="*/ 508656 h 4687251"/>
              <a:gd name="connsiteX37273" fmla="*/ 7512824 w 8079933"/>
              <a:gd name="connsiteY37273" fmla="*/ 510821 h 4687251"/>
              <a:gd name="connsiteX37274" fmla="*/ 7508700 w 8079933"/>
              <a:gd name="connsiteY37274" fmla="*/ 514935 h 4687251"/>
              <a:gd name="connsiteX37275" fmla="*/ 7505878 w 8079933"/>
              <a:gd name="connsiteY37275" fmla="*/ 514935 h 4687251"/>
              <a:gd name="connsiteX37276" fmla="*/ 7505878 w 8079933"/>
              <a:gd name="connsiteY37276" fmla="*/ 508872 h 4687251"/>
              <a:gd name="connsiteX37277" fmla="*/ 7503384 w 8079933"/>
              <a:gd name="connsiteY37277" fmla="*/ 504217 h 4687251"/>
              <a:gd name="connsiteX37278" fmla="*/ 7504685 w 8079933"/>
              <a:gd name="connsiteY37278" fmla="*/ 508764 h 4687251"/>
              <a:gd name="connsiteX37279" fmla="*/ 7503708 w 8079933"/>
              <a:gd name="connsiteY37279" fmla="*/ 518292 h 4687251"/>
              <a:gd name="connsiteX37280" fmla="*/ 7505770 w 8079933"/>
              <a:gd name="connsiteY37280" fmla="*/ 523597 h 4687251"/>
              <a:gd name="connsiteX37281" fmla="*/ 7504034 w 8079933"/>
              <a:gd name="connsiteY37281" fmla="*/ 529227 h 4687251"/>
              <a:gd name="connsiteX37282" fmla="*/ 7495244 w 8079933"/>
              <a:gd name="connsiteY37282" fmla="*/ 541570 h 4687251"/>
              <a:gd name="connsiteX37283" fmla="*/ 7490795 w 8079933"/>
              <a:gd name="connsiteY37283" fmla="*/ 541570 h 4687251"/>
              <a:gd name="connsiteX37284" fmla="*/ 7490795 w 8079933"/>
              <a:gd name="connsiteY37284" fmla="*/ 533017 h 4687251"/>
              <a:gd name="connsiteX37285" fmla="*/ 7485695 w 8079933"/>
              <a:gd name="connsiteY37285" fmla="*/ 531068 h 4687251"/>
              <a:gd name="connsiteX37286" fmla="*/ 7481354 w 8079933"/>
              <a:gd name="connsiteY37286" fmla="*/ 533666 h 4687251"/>
              <a:gd name="connsiteX37287" fmla="*/ 7469634 w 8079933"/>
              <a:gd name="connsiteY37287" fmla="*/ 524788 h 4687251"/>
              <a:gd name="connsiteX37288" fmla="*/ 7470394 w 8079933"/>
              <a:gd name="connsiteY37288" fmla="*/ 520998 h 4687251"/>
              <a:gd name="connsiteX37289" fmla="*/ 7468658 w 8079933"/>
              <a:gd name="connsiteY37289" fmla="*/ 509521 h 4687251"/>
              <a:gd name="connsiteX37290" fmla="*/ 7464208 w 8079933"/>
              <a:gd name="connsiteY37290" fmla="*/ 507898 h 4687251"/>
              <a:gd name="connsiteX37291" fmla="*/ 7462581 w 8079933"/>
              <a:gd name="connsiteY37291" fmla="*/ 504649 h 4687251"/>
              <a:gd name="connsiteX37292" fmla="*/ 7459976 w 8079933"/>
              <a:gd name="connsiteY37292" fmla="*/ 501727 h 4687251"/>
              <a:gd name="connsiteX37293" fmla="*/ 7457589 w 8079933"/>
              <a:gd name="connsiteY37293" fmla="*/ 504109 h 4687251"/>
              <a:gd name="connsiteX37294" fmla="*/ 7459217 w 8079933"/>
              <a:gd name="connsiteY37294" fmla="*/ 507790 h 4687251"/>
              <a:gd name="connsiteX37295" fmla="*/ 7459217 w 8079933"/>
              <a:gd name="connsiteY37295" fmla="*/ 511796 h 4687251"/>
              <a:gd name="connsiteX37296" fmla="*/ 7462146 w 8079933"/>
              <a:gd name="connsiteY37296" fmla="*/ 515152 h 4687251"/>
              <a:gd name="connsiteX37297" fmla="*/ 7460844 w 8079933"/>
              <a:gd name="connsiteY37297" fmla="*/ 518508 h 4687251"/>
              <a:gd name="connsiteX37298" fmla="*/ 7453356 w 8079933"/>
              <a:gd name="connsiteY37298" fmla="*/ 514286 h 4687251"/>
              <a:gd name="connsiteX37299" fmla="*/ 7448039 w 8079933"/>
              <a:gd name="connsiteY37299" fmla="*/ 507790 h 4687251"/>
              <a:gd name="connsiteX37300" fmla="*/ 7447063 w 8079933"/>
              <a:gd name="connsiteY37300" fmla="*/ 508331 h 4687251"/>
              <a:gd name="connsiteX37301" fmla="*/ 7449776 w 8079933"/>
              <a:gd name="connsiteY37301" fmla="*/ 514502 h 4687251"/>
              <a:gd name="connsiteX37302" fmla="*/ 7446737 w 8079933"/>
              <a:gd name="connsiteY37302" fmla="*/ 516884 h 4687251"/>
              <a:gd name="connsiteX37303" fmla="*/ 7448908 w 8079933"/>
              <a:gd name="connsiteY37303" fmla="*/ 518725 h 4687251"/>
              <a:gd name="connsiteX37304" fmla="*/ 7454551 w 8079933"/>
              <a:gd name="connsiteY37304" fmla="*/ 518725 h 4687251"/>
              <a:gd name="connsiteX37305" fmla="*/ 7457697 w 8079933"/>
              <a:gd name="connsiteY37305" fmla="*/ 522514 h 4687251"/>
              <a:gd name="connsiteX37306" fmla="*/ 7455853 w 8079933"/>
              <a:gd name="connsiteY37306" fmla="*/ 527603 h 4687251"/>
              <a:gd name="connsiteX37307" fmla="*/ 7448799 w 8079933"/>
              <a:gd name="connsiteY37307" fmla="*/ 527603 h 4687251"/>
              <a:gd name="connsiteX37308" fmla="*/ 7448039 w 8079933"/>
              <a:gd name="connsiteY37308" fmla="*/ 530635 h 4687251"/>
              <a:gd name="connsiteX37309" fmla="*/ 7451187 w 8079933"/>
              <a:gd name="connsiteY37309" fmla="*/ 532259 h 4687251"/>
              <a:gd name="connsiteX37310" fmla="*/ 7464425 w 8079933"/>
              <a:gd name="connsiteY37310" fmla="*/ 547958 h 4687251"/>
              <a:gd name="connsiteX37311" fmla="*/ 7474084 w 8079933"/>
              <a:gd name="connsiteY37311" fmla="*/ 550556 h 4687251"/>
              <a:gd name="connsiteX37312" fmla="*/ 7479618 w 8079933"/>
              <a:gd name="connsiteY37312" fmla="*/ 548282 h 4687251"/>
              <a:gd name="connsiteX37313" fmla="*/ 7485695 w 8079933"/>
              <a:gd name="connsiteY37313" fmla="*/ 551314 h 4687251"/>
              <a:gd name="connsiteX37314" fmla="*/ 7487431 w 8079933"/>
              <a:gd name="connsiteY37314" fmla="*/ 558027 h 4687251"/>
              <a:gd name="connsiteX37315" fmla="*/ 7486454 w 8079933"/>
              <a:gd name="connsiteY37315" fmla="*/ 558027 h 4687251"/>
              <a:gd name="connsiteX37316" fmla="*/ 7482114 w 8079933"/>
              <a:gd name="connsiteY37316" fmla="*/ 552288 h 4687251"/>
              <a:gd name="connsiteX37317" fmla="*/ 7479835 w 8079933"/>
              <a:gd name="connsiteY37317" fmla="*/ 552288 h 4687251"/>
              <a:gd name="connsiteX37318" fmla="*/ 7482874 w 8079933"/>
              <a:gd name="connsiteY37318" fmla="*/ 559435 h 4687251"/>
              <a:gd name="connsiteX37319" fmla="*/ 7489710 w 8079933"/>
              <a:gd name="connsiteY37319" fmla="*/ 564631 h 4687251"/>
              <a:gd name="connsiteX37320" fmla="*/ 7491554 w 8079933"/>
              <a:gd name="connsiteY37320" fmla="*/ 570586 h 4687251"/>
              <a:gd name="connsiteX37321" fmla="*/ 7496004 w 8079933"/>
              <a:gd name="connsiteY37321" fmla="*/ 575892 h 4687251"/>
              <a:gd name="connsiteX37322" fmla="*/ 7496004 w 8079933"/>
              <a:gd name="connsiteY37322" fmla="*/ 586069 h 4687251"/>
              <a:gd name="connsiteX37323" fmla="*/ 7492097 w 8079933"/>
              <a:gd name="connsiteY37323" fmla="*/ 601768 h 4687251"/>
              <a:gd name="connsiteX37324" fmla="*/ 7494485 w 8079933"/>
              <a:gd name="connsiteY37324" fmla="*/ 610971 h 4687251"/>
              <a:gd name="connsiteX37325" fmla="*/ 7494485 w 8079933"/>
              <a:gd name="connsiteY37325" fmla="*/ 617467 h 4687251"/>
              <a:gd name="connsiteX37326" fmla="*/ 7495896 w 8079933"/>
              <a:gd name="connsiteY37326" fmla="*/ 620716 h 4687251"/>
              <a:gd name="connsiteX37327" fmla="*/ 7490144 w 8079933"/>
              <a:gd name="connsiteY37327" fmla="*/ 629594 h 4687251"/>
              <a:gd name="connsiteX37328" fmla="*/ 7490144 w 8079933"/>
              <a:gd name="connsiteY37328" fmla="*/ 635332 h 4687251"/>
              <a:gd name="connsiteX37329" fmla="*/ 7486020 w 8079933"/>
              <a:gd name="connsiteY37329" fmla="*/ 638364 h 4687251"/>
              <a:gd name="connsiteX37330" fmla="*/ 7487322 w 8079933"/>
              <a:gd name="connsiteY37330" fmla="*/ 633925 h 4687251"/>
              <a:gd name="connsiteX37331" fmla="*/ 7486020 w 8079933"/>
              <a:gd name="connsiteY37331" fmla="*/ 632084 h 4687251"/>
              <a:gd name="connsiteX37332" fmla="*/ 7475169 w 8079933"/>
              <a:gd name="connsiteY37332" fmla="*/ 640421 h 4687251"/>
              <a:gd name="connsiteX37333" fmla="*/ 7472456 w 8079933"/>
              <a:gd name="connsiteY37333" fmla="*/ 637173 h 4687251"/>
              <a:gd name="connsiteX37334" fmla="*/ 7467356 w 8079933"/>
              <a:gd name="connsiteY37334" fmla="*/ 640746 h 4687251"/>
              <a:gd name="connsiteX37335" fmla="*/ 7463774 w 8079933"/>
              <a:gd name="connsiteY37335" fmla="*/ 639880 h 4687251"/>
              <a:gd name="connsiteX37336" fmla="*/ 7461170 w 8079933"/>
              <a:gd name="connsiteY37336" fmla="*/ 635332 h 4687251"/>
              <a:gd name="connsiteX37337" fmla="*/ 7456070 w 8079933"/>
              <a:gd name="connsiteY37337" fmla="*/ 635332 h 4687251"/>
              <a:gd name="connsiteX37338" fmla="*/ 7449234 w 8079933"/>
              <a:gd name="connsiteY37338" fmla="*/ 628078 h 4687251"/>
              <a:gd name="connsiteX37339" fmla="*/ 7443699 w 8079933"/>
              <a:gd name="connsiteY37339" fmla="*/ 624181 h 4687251"/>
              <a:gd name="connsiteX37340" fmla="*/ 7437514 w 8079933"/>
              <a:gd name="connsiteY37340" fmla="*/ 623422 h 4687251"/>
              <a:gd name="connsiteX37341" fmla="*/ 7433607 w 8079933"/>
              <a:gd name="connsiteY37341" fmla="*/ 620824 h 4687251"/>
              <a:gd name="connsiteX37342" fmla="*/ 7429483 w 8079933"/>
              <a:gd name="connsiteY37342" fmla="*/ 621907 h 4687251"/>
              <a:gd name="connsiteX37343" fmla="*/ 7425142 w 8079933"/>
              <a:gd name="connsiteY37343" fmla="*/ 627645 h 4687251"/>
              <a:gd name="connsiteX37344" fmla="*/ 7419934 w 8079933"/>
              <a:gd name="connsiteY37344" fmla="*/ 627645 h 4687251"/>
              <a:gd name="connsiteX37345" fmla="*/ 7425251 w 8079933"/>
              <a:gd name="connsiteY37345" fmla="*/ 630027 h 4687251"/>
              <a:gd name="connsiteX37346" fmla="*/ 7431979 w 8079933"/>
              <a:gd name="connsiteY37346" fmla="*/ 630027 h 4687251"/>
              <a:gd name="connsiteX37347" fmla="*/ 7435126 w 8079933"/>
              <a:gd name="connsiteY37347" fmla="*/ 625155 h 4687251"/>
              <a:gd name="connsiteX37348" fmla="*/ 7447822 w 8079933"/>
              <a:gd name="connsiteY37348" fmla="*/ 630460 h 4687251"/>
              <a:gd name="connsiteX37349" fmla="*/ 7450210 w 8079933"/>
              <a:gd name="connsiteY37349" fmla="*/ 634791 h 4687251"/>
              <a:gd name="connsiteX37350" fmla="*/ 7443916 w 8079933"/>
              <a:gd name="connsiteY37350" fmla="*/ 639122 h 4687251"/>
              <a:gd name="connsiteX37351" fmla="*/ 7439792 w 8079933"/>
              <a:gd name="connsiteY37351" fmla="*/ 636415 h 4687251"/>
              <a:gd name="connsiteX37352" fmla="*/ 7434366 w 8079933"/>
              <a:gd name="connsiteY37352" fmla="*/ 636415 h 4687251"/>
              <a:gd name="connsiteX37353" fmla="*/ 7434366 w 8079933"/>
              <a:gd name="connsiteY37353" fmla="*/ 641287 h 4687251"/>
              <a:gd name="connsiteX37354" fmla="*/ 7429808 w 8079933"/>
              <a:gd name="connsiteY37354" fmla="*/ 636090 h 4687251"/>
              <a:gd name="connsiteX37355" fmla="*/ 7425468 w 8079933"/>
              <a:gd name="connsiteY37355" fmla="*/ 636632 h 4687251"/>
              <a:gd name="connsiteX37356" fmla="*/ 7427638 w 8079933"/>
              <a:gd name="connsiteY37356" fmla="*/ 636632 h 4687251"/>
              <a:gd name="connsiteX37357" fmla="*/ 7430026 w 8079933"/>
              <a:gd name="connsiteY37357" fmla="*/ 642911 h 4687251"/>
              <a:gd name="connsiteX37358" fmla="*/ 7437296 w 8079933"/>
              <a:gd name="connsiteY37358" fmla="*/ 646701 h 4687251"/>
              <a:gd name="connsiteX37359" fmla="*/ 7435452 w 8079933"/>
              <a:gd name="connsiteY37359" fmla="*/ 653521 h 4687251"/>
              <a:gd name="connsiteX37360" fmla="*/ 7438382 w 8079933"/>
              <a:gd name="connsiteY37360" fmla="*/ 661858 h 4687251"/>
              <a:gd name="connsiteX37361" fmla="*/ 7442939 w 8079933"/>
              <a:gd name="connsiteY37361" fmla="*/ 664240 h 4687251"/>
              <a:gd name="connsiteX37362" fmla="*/ 7440226 w 8079933"/>
              <a:gd name="connsiteY37362" fmla="*/ 661533 h 4687251"/>
              <a:gd name="connsiteX37363" fmla="*/ 7440226 w 8079933"/>
              <a:gd name="connsiteY37363" fmla="*/ 651572 h 4687251"/>
              <a:gd name="connsiteX37364" fmla="*/ 7443482 w 8079933"/>
              <a:gd name="connsiteY37364" fmla="*/ 649624 h 4687251"/>
              <a:gd name="connsiteX37365" fmla="*/ 7447605 w 8079933"/>
              <a:gd name="connsiteY37365" fmla="*/ 650707 h 4687251"/>
              <a:gd name="connsiteX37366" fmla="*/ 7447605 w 8079933"/>
              <a:gd name="connsiteY37366" fmla="*/ 647999 h 4687251"/>
              <a:gd name="connsiteX37367" fmla="*/ 7454984 w 8079933"/>
              <a:gd name="connsiteY37367" fmla="*/ 641287 h 4687251"/>
              <a:gd name="connsiteX37368" fmla="*/ 7459000 w 8079933"/>
              <a:gd name="connsiteY37368" fmla="*/ 640205 h 4687251"/>
              <a:gd name="connsiteX37369" fmla="*/ 7462038 w 8079933"/>
              <a:gd name="connsiteY37369" fmla="*/ 642695 h 4687251"/>
              <a:gd name="connsiteX37370" fmla="*/ 7462038 w 8079933"/>
              <a:gd name="connsiteY37370" fmla="*/ 645726 h 4687251"/>
              <a:gd name="connsiteX37371" fmla="*/ 7468007 w 8079933"/>
              <a:gd name="connsiteY37371" fmla="*/ 654929 h 4687251"/>
              <a:gd name="connsiteX37372" fmla="*/ 7473975 w 8079933"/>
              <a:gd name="connsiteY37372" fmla="*/ 656553 h 4687251"/>
              <a:gd name="connsiteX37373" fmla="*/ 7479726 w 8079933"/>
              <a:gd name="connsiteY37373" fmla="*/ 662184 h 4687251"/>
              <a:gd name="connsiteX37374" fmla="*/ 7486454 w 8079933"/>
              <a:gd name="connsiteY37374" fmla="*/ 661209 h 4687251"/>
              <a:gd name="connsiteX37375" fmla="*/ 7488408 w 8079933"/>
              <a:gd name="connsiteY37375" fmla="*/ 657203 h 4687251"/>
              <a:gd name="connsiteX37376" fmla="*/ 7487106 w 8079933"/>
              <a:gd name="connsiteY37376" fmla="*/ 653738 h 4687251"/>
              <a:gd name="connsiteX37377" fmla="*/ 7489276 w 8079933"/>
              <a:gd name="connsiteY37377" fmla="*/ 653738 h 4687251"/>
              <a:gd name="connsiteX37378" fmla="*/ 7501755 w 8079933"/>
              <a:gd name="connsiteY37378" fmla="*/ 663807 h 4687251"/>
              <a:gd name="connsiteX37379" fmla="*/ 7503926 w 8079933"/>
              <a:gd name="connsiteY37379" fmla="*/ 667813 h 4687251"/>
              <a:gd name="connsiteX37380" fmla="*/ 7499259 w 8079933"/>
              <a:gd name="connsiteY37380" fmla="*/ 667055 h 4687251"/>
              <a:gd name="connsiteX37381" fmla="*/ 7499259 w 8079933"/>
              <a:gd name="connsiteY37381" fmla="*/ 671603 h 4687251"/>
              <a:gd name="connsiteX37382" fmla="*/ 7507940 w 8079933"/>
              <a:gd name="connsiteY37382" fmla="*/ 680048 h 4687251"/>
              <a:gd name="connsiteX37383" fmla="*/ 7511196 w 8079933"/>
              <a:gd name="connsiteY37383" fmla="*/ 680048 h 4687251"/>
              <a:gd name="connsiteX37384" fmla="*/ 7511196 w 8079933"/>
              <a:gd name="connsiteY37384" fmla="*/ 678099 h 4687251"/>
              <a:gd name="connsiteX37385" fmla="*/ 7511196 w 8079933"/>
              <a:gd name="connsiteY37385" fmla="*/ 671061 h 4687251"/>
              <a:gd name="connsiteX37386" fmla="*/ 7518032 w 8079933"/>
              <a:gd name="connsiteY37386" fmla="*/ 676258 h 4687251"/>
              <a:gd name="connsiteX37387" fmla="*/ 7527582 w 8079933"/>
              <a:gd name="connsiteY37387" fmla="*/ 691200 h 4687251"/>
              <a:gd name="connsiteX37388" fmla="*/ 7524001 w 8079933"/>
              <a:gd name="connsiteY37388" fmla="*/ 687951 h 4687251"/>
              <a:gd name="connsiteX37389" fmla="*/ 7520962 w 8079933"/>
              <a:gd name="connsiteY37389" fmla="*/ 687951 h 4687251"/>
              <a:gd name="connsiteX37390" fmla="*/ 7519877 w 8079933"/>
              <a:gd name="connsiteY37390" fmla="*/ 689576 h 4687251"/>
              <a:gd name="connsiteX37391" fmla="*/ 7523567 w 8079933"/>
              <a:gd name="connsiteY37391" fmla="*/ 694448 h 4687251"/>
              <a:gd name="connsiteX37392" fmla="*/ 7518684 w 8079933"/>
              <a:gd name="connsiteY37392" fmla="*/ 697912 h 4687251"/>
              <a:gd name="connsiteX37393" fmla="*/ 7518684 w 8079933"/>
              <a:gd name="connsiteY37393" fmla="*/ 703110 h 4687251"/>
              <a:gd name="connsiteX37394" fmla="*/ 7520421 w 8079933"/>
              <a:gd name="connsiteY37394" fmla="*/ 706141 h 4687251"/>
              <a:gd name="connsiteX37395" fmla="*/ 7525303 w 8079933"/>
              <a:gd name="connsiteY37395" fmla="*/ 704517 h 4687251"/>
              <a:gd name="connsiteX37396" fmla="*/ 7526171 w 8079933"/>
              <a:gd name="connsiteY37396" fmla="*/ 699104 h 4687251"/>
              <a:gd name="connsiteX37397" fmla="*/ 7528016 w 8079933"/>
              <a:gd name="connsiteY37397" fmla="*/ 697696 h 4687251"/>
              <a:gd name="connsiteX37398" fmla="*/ 7531489 w 8079933"/>
              <a:gd name="connsiteY37398" fmla="*/ 699104 h 4687251"/>
              <a:gd name="connsiteX37399" fmla="*/ 7532791 w 8079933"/>
              <a:gd name="connsiteY37399" fmla="*/ 694556 h 4687251"/>
              <a:gd name="connsiteX37400" fmla="*/ 7536806 w 8079933"/>
              <a:gd name="connsiteY37400" fmla="*/ 701594 h 4687251"/>
              <a:gd name="connsiteX37401" fmla="*/ 7547658 w 8079933"/>
              <a:gd name="connsiteY37401" fmla="*/ 708631 h 4687251"/>
              <a:gd name="connsiteX37402" fmla="*/ 7558510 w 8079933"/>
              <a:gd name="connsiteY37402" fmla="*/ 711121 h 4687251"/>
              <a:gd name="connsiteX37403" fmla="*/ 7564803 w 8079933"/>
              <a:gd name="connsiteY37403" fmla="*/ 716751 h 4687251"/>
              <a:gd name="connsiteX37404" fmla="*/ 7561440 w 8079933"/>
              <a:gd name="connsiteY37404" fmla="*/ 720324 h 4687251"/>
              <a:gd name="connsiteX37405" fmla="*/ 7567625 w 8079933"/>
              <a:gd name="connsiteY37405" fmla="*/ 728986 h 4687251"/>
              <a:gd name="connsiteX37406" fmla="*/ 7572834 w 8079933"/>
              <a:gd name="connsiteY37406" fmla="*/ 730285 h 4687251"/>
              <a:gd name="connsiteX37407" fmla="*/ 7579128 w 8079933"/>
              <a:gd name="connsiteY37407" fmla="*/ 740030 h 4687251"/>
              <a:gd name="connsiteX37408" fmla="*/ 7579128 w 8079933"/>
              <a:gd name="connsiteY37408" fmla="*/ 754322 h 4687251"/>
              <a:gd name="connsiteX37409" fmla="*/ 7575872 w 8079933"/>
              <a:gd name="connsiteY37409" fmla="*/ 755404 h 4687251"/>
              <a:gd name="connsiteX37410" fmla="*/ 7575872 w 8079933"/>
              <a:gd name="connsiteY37410" fmla="*/ 757786 h 4687251"/>
              <a:gd name="connsiteX37411" fmla="*/ 7580647 w 8079933"/>
              <a:gd name="connsiteY37411" fmla="*/ 760709 h 4687251"/>
              <a:gd name="connsiteX37412" fmla="*/ 7583143 w 8079933"/>
              <a:gd name="connsiteY37412" fmla="*/ 766881 h 4687251"/>
              <a:gd name="connsiteX37413" fmla="*/ 7580756 w 8079933"/>
              <a:gd name="connsiteY37413" fmla="*/ 767747 h 4687251"/>
              <a:gd name="connsiteX37414" fmla="*/ 7577717 w 8079933"/>
              <a:gd name="connsiteY37414" fmla="*/ 765040 h 4687251"/>
              <a:gd name="connsiteX37415" fmla="*/ 7560137 w 8079933"/>
              <a:gd name="connsiteY37415" fmla="*/ 765040 h 4687251"/>
              <a:gd name="connsiteX37416" fmla="*/ 7554928 w 8079933"/>
              <a:gd name="connsiteY37416" fmla="*/ 761792 h 4687251"/>
              <a:gd name="connsiteX37417" fmla="*/ 7551456 w 8079933"/>
              <a:gd name="connsiteY37417" fmla="*/ 763957 h 4687251"/>
              <a:gd name="connsiteX37418" fmla="*/ 7547115 w 8079933"/>
              <a:gd name="connsiteY37418" fmla="*/ 762550 h 4687251"/>
              <a:gd name="connsiteX37419" fmla="*/ 7546246 w 8079933"/>
              <a:gd name="connsiteY37419" fmla="*/ 758436 h 4687251"/>
              <a:gd name="connsiteX37420" fmla="*/ 7543534 w 8079933"/>
              <a:gd name="connsiteY37420" fmla="*/ 756812 h 4687251"/>
              <a:gd name="connsiteX37421" fmla="*/ 7542231 w 8079933"/>
              <a:gd name="connsiteY37421" fmla="*/ 758761 h 4687251"/>
              <a:gd name="connsiteX37422" fmla="*/ 7544402 w 8079933"/>
              <a:gd name="connsiteY37422" fmla="*/ 762334 h 4687251"/>
              <a:gd name="connsiteX37423" fmla="*/ 7536806 w 8079933"/>
              <a:gd name="connsiteY37423" fmla="*/ 766989 h 4687251"/>
              <a:gd name="connsiteX37424" fmla="*/ 7530838 w 8079933"/>
              <a:gd name="connsiteY37424" fmla="*/ 766989 h 4687251"/>
              <a:gd name="connsiteX37425" fmla="*/ 7528993 w 8079933"/>
              <a:gd name="connsiteY37425" fmla="*/ 768938 h 4687251"/>
              <a:gd name="connsiteX37426" fmla="*/ 7532466 w 8079933"/>
              <a:gd name="connsiteY37426" fmla="*/ 771103 h 4687251"/>
              <a:gd name="connsiteX37427" fmla="*/ 7524327 w 8079933"/>
              <a:gd name="connsiteY37427" fmla="*/ 778466 h 4687251"/>
              <a:gd name="connsiteX37428" fmla="*/ 7519986 w 8079933"/>
              <a:gd name="connsiteY37428" fmla="*/ 778466 h 4687251"/>
              <a:gd name="connsiteX37429" fmla="*/ 7519986 w 8079933"/>
              <a:gd name="connsiteY37429" fmla="*/ 782797 h 4687251"/>
              <a:gd name="connsiteX37430" fmla="*/ 7523024 w 8079933"/>
              <a:gd name="connsiteY37430" fmla="*/ 783879 h 4687251"/>
              <a:gd name="connsiteX37431" fmla="*/ 7515754 w 8079933"/>
              <a:gd name="connsiteY37431" fmla="*/ 793082 h 4687251"/>
              <a:gd name="connsiteX37432" fmla="*/ 7513041 w 8079933"/>
              <a:gd name="connsiteY37432" fmla="*/ 795789 h 4687251"/>
              <a:gd name="connsiteX37433" fmla="*/ 7512282 w 8079933"/>
              <a:gd name="connsiteY37433" fmla="*/ 794490 h 4687251"/>
              <a:gd name="connsiteX37434" fmla="*/ 7508266 w 8079933"/>
              <a:gd name="connsiteY37434" fmla="*/ 794490 h 4687251"/>
              <a:gd name="connsiteX37435" fmla="*/ 7508266 w 8079933"/>
              <a:gd name="connsiteY37435" fmla="*/ 801311 h 4687251"/>
              <a:gd name="connsiteX37436" fmla="*/ 7511305 w 8079933"/>
              <a:gd name="connsiteY37436" fmla="*/ 808132 h 4687251"/>
              <a:gd name="connsiteX37437" fmla="*/ 7506421 w 8079933"/>
              <a:gd name="connsiteY37437" fmla="*/ 812787 h 4687251"/>
              <a:gd name="connsiteX37438" fmla="*/ 7503708 w 8079933"/>
              <a:gd name="connsiteY37438" fmla="*/ 809864 h 4687251"/>
              <a:gd name="connsiteX37439" fmla="*/ 7502840 w 8079933"/>
              <a:gd name="connsiteY37439" fmla="*/ 814736 h 4687251"/>
              <a:gd name="connsiteX37440" fmla="*/ 7505010 w 8079933"/>
              <a:gd name="connsiteY37440" fmla="*/ 818201 h 4687251"/>
              <a:gd name="connsiteX37441" fmla="*/ 7499585 w 8079933"/>
              <a:gd name="connsiteY37441" fmla="*/ 823831 h 4687251"/>
              <a:gd name="connsiteX37442" fmla="*/ 7495570 w 8079933"/>
              <a:gd name="connsiteY37442" fmla="*/ 824914 h 4687251"/>
              <a:gd name="connsiteX37443" fmla="*/ 7498066 w 8079933"/>
              <a:gd name="connsiteY37443" fmla="*/ 827296 h 4687251"/>
              <a:gd name="connsiteX37444" fmla="*/ 7496763 w 8079933"/>
              <a:gd name="connsiteY37444" fmla="*/ 829786 h 4687251"/>
              <a:gd name="connsiteX37445" fmla="*/ 7494919 w 8079933"/>
              <a:gd name="connsiteY37445" fmla="*/ 833900 h 4687251"/>
              <a:gd name="connsiteX37446" fmla="*/ 7491989 w 8079933"/>
              <a:gd name="connsiteY37446" fmla="*/ 832493 h 4687251"/>
              <a:gd name="connsiteX37447" fmla="*/ 7488408 w 8079933"/>
              <a:gd name="connsiteY37447" fmla="*/ 834333 h 4687251"/>
              <a:gd name="connsiteX37448" fmla="*/ 7491337 w 8079933"/>
              <a:gd name="connsiteY37448" fmla="*/ 837798 h 4687251"/>
              <a:gd name="connsiteX37449" fmla="*/ 7491337 w 8079933"/>
              <a:gd name="connsiteY37449" fmla="*/ 841588 h 4687251"/>
              <a:gd name="connsiteX37450" fmla="*/ 7486454 w 8079933"/>
              <a:gd name="connsiteY37450" fmla="*/ 845377 h 4687251"/>
              <a:gd name="connsiteX37451" fmla="*/ 7488842 w 8079933"/>
              <a:gd name="connsiteY37451" fmla="*/ 848842 h 4687251"/>
              <a:gd name="connsiteX37452" fmla="*/ 7487757 w 8079933"/>
              <a:gd name="connsiteY37452" fmla="*/ 852631 h 4687251"/>
              <a:gd name="connsiteX37453" fmla="*/ 7484502 w 8079933"/>
              <a:gd name="connsiteY37453" fmla="*/ 853389 h 4687251"/>
              <a:gd name="connsiteX37454" fmla="*/ 7482005 w 8079933"/>
              <a:gd name="connsiteY37454" fmla="*/ 850899 h 4687251"/>
              <a:gd name="connsiteX37455" fmla="*/ 7478967 w 8079933"/>
              <a:gd name="connsiteY37455" fmla="*/ 851982 h 4687251"/>
              <a:gd name="connsiteX37456" fmla="*/ 7481462 w 8079933"/>
              <a:gd name="connsiteY37456" fmla="*/ 855771 h 4687251"/>
              <a:gd name="connsiteX37457" fmla="*/ 7488517 w 8079933"/>
              <a:gd name="connsiteY37457" fmla="*/ 859019 h 4687251"/>
              <a:gd name="connsiteX37458" fmla="*/ 7486128 w 8079933"/>
              <a:gd name="connsiteY37458" fmla="*/ 864216 h 4687251"/>
              <a:gd name="connsiteX37459" fmla="*/ 7479401 w 8079933"/>
              <a:gd name="connsiteY37459" fmla="*/ 864216 h 4687251"/>
              <a:gd name="connsiteX37460" fmla="*/ 7479401 w 8079933"/>
              <a:gd name="connsiteY37460" fmla="*/ 866706 h 4687251"/>
              <a:gd name="connsiteX37461" fmla="*/ 7482656 w 8079933"/>
              <a:gd name="connsiteY37461" fmla="*/ 868547 h 4687251"/>
              <a:gd name="connsiteX37462" fmla="*/ 7486128 w 8079933"/>
              <a:gd name="connsiteY37462" fmla="*/ 876343 h 4687251"/>
              <a:gd name="connsiteX37463" fmla="*/ 7483198 w 8079933"/>
              <a:gd name="connsiteY37463" fmla="*/ 878724 h 4687251"/>
              <a:gd name="connsiteX37464" fmla="*/ 7485044 w 8079933"/>
              <a:gd name="connsiteY37464" fmla="*/ 881973 h 4687251"/>
              <a:gd name="connsiteX37465" fmla="*/ 7479943 w 8079933"/>
              <a:gd name="connsiteY37465" fmla="*/ 889227 h 4687251"/>
              <a:gd name="connsiteX37466" fmla="*/ 7481245 w 8079933"/>
              <a:gd name="connsiteY37466" fmla="*/ 893016 h 4687251"/>
              <a:gd name="connsiteX37467" fmla="*/ 7477990 w 8079933"/>
              <a:gd name="connsiteY37467" fmla="*/ 901353 h 4687251"/>
              <a:gd name="connsiteX37468" fmla="*/ 7476146 w 8079933"/>
              <a:gd name="connsiteY37468" fmla="*/ 912180 h 4687251"/>
              <a:gd name="connsiteX37469" fmla="*/ 7473433 w 8079933"/>
              <a:gd name="connsiteY37469" fmla="*/ 916294 h 4687251"/>
              <a:gd name="connsiteX37470" fmla="*/ 7473433 w 8079933"/>
              <a:gd name="connsiteY37470" fmla="*/ 920625 h 4687251"/>
              <a:gd name="connsiteX37471" fmla="*/ 7476470 w 8079933"/>
              <a:gd name="connsiteY37471" fmla="*/ 921708 h 4687251"/>
              <a:gd name="connsiteX37472" fmla="*/ 7477882 w 8079933"/>
              <a:gd name="connsiteY37472" fmla="*/ 924631 h 4687251"/>
              <a:gd name="connsiteX37473" fmla="*/ 7476037 w 8079933"/>
              <a:gd name="connsiteY37473" fmla="*/ 927554 h 4687251"/>
              <a:gd name="connsiteX37474" fmla="*/ 7481245 w 8079933"/>
              <a:gd name="connsiteY37474" fmla="*/ 937840 h 4687251"/>
              <a:gd name="connsiteX37475" fmla="*/ 7481245 w 8079933"/>
              <a:gd name="connsiteY37475" fmla="*/ 941846 h 4687251"/>
              <a:gd name="connsiteX37476" fmla="*/ 7477447 w 8079933"/>
              <a:gd name="connsiteY37476" fmla="*/ 940547 h 4687251"/>
              <a:gd name="connsiteX37477" fmla="*/ 7471804 w 8079933"/>
              <a:gd name="connsiteY37477" fmla="*/ 941413 h 4687251"/>
              <a:gd name="connsiteX37478" fmla="*/ 7467681 w 8079933"/>
              <a:gd name="connsiteY37478" fmla="*/ 937299 h 4687251"/>
              <a:gd name="connsiteX37479" fmla="*/ 7465185 w 8079933"/>
              <a:gd name="connsiteY37479" fmla="*/ 939681 h 4687251"/>
              <a:gd name="connsiteX37480" fmla="*/ 7458349 w 8079933"/>
              <a:gd name="connsiteY37480" fmla="*/ 931885 h 4687251"/>
              <a:gd name="connsiteX37481" fmla="*/ 7460519 w 8079933"/>
              <a:gd name="connsiteY37481" fmla="*/ 930261 h 4687251"/>
              <a:gd name="connsiteX37482" fmla="*/ 7458132 w 8079933"/>
              <a:gd name="connsiteY37482" fmla="*/ 928962 h 4687251"/>
              <a:gd name="connsiteX37483" fmla="*/ 7454007 w 8079933"/>
              <a:gd name="connsiteY37483" fmla="*/ 929828 h 4687251"/>
              <a:gd name="connsiteX37484" fmla="*/ 7450318 w 8079933"/>
              <a:gd name="connsiteY37484" fmla="*/ 929287 h 4687251"/>
              <a:gd name="connsiteX37485" fmla="*/ 7449450 w 8079933"/>
              <a:gd name="connsiteY37485" fmla="*/ 925173 h 4687251"/>
              <a:gd name="connsiteX37486" fmla="*/ 7436754 w 8079933"/>
              <a:gd name="connsiteY37486" fmla="*/ 917810 h 4687251"/>
              <a:gd name="connsiteX37487" fmla="*/ 7430026 w 8079933"/>
              <a:gd name="connsiteY37487" fmla="*/ 916511 h 4687251"/>
              <a:gd name="connsiteX37488" fmla="*/ 7422104 w 8079933"/>
              <a:gd name="connsiteY37488" fmla="*/ 921600 h 4687251"/>
              <a:gd name="connsiteX37489" fmla="*/ 7419608 w 8079933"/>
              <a:gd name="connsiteY37489" fmla="*/ 919651 h 4687251"/>
              <a:gd name="connsiteX37490" fmla="*/ 7414508 w 8079933"/>
              <a:gd name="connsiteY37490" fmla="*/ 921058 h 4687251"/>
              <a:gd name="connsiteX37491" fmla="*/ 7409408 w 8079933"/>
              <a:gd name="connsiteY37491" fmla="*/ 927554 h 4687251"/>
              <a:gd name="connsiteX37492" fmla="*/ 7404741 w 8079933"/>
              <a:gd name="connsiteY37492" fmla="*/ 927554 h 4687251"/>
              <a:gd name="connsiteX37493" fmla="*/ 7402354 w 8079933"/>
              <a:gd name="connsiteY37493" fmla="*/ 936432 h 4687251"/>
              <a:gd name="connsiteX37494" fmla="*/ 7399098 w 8079933"/>
              <a:gd name="connsiteY37494" fmla="*/ 939464 h 4687251"/>
              <a:gd name="connsiteX37495" fmla="*/ 7394432 w 8079933"/>
              <a:gd name="connsiteY37495" fmla="*/ 936974 h 4687251"/>
              <a:gd name="connsiteX37496" fmla="*/ 7398122 w 8079933"/>
              <a:gd name="connsiteY37496" fmla="*/ 943470 h 4687251"/>
              <a:gd name="connsiteX37497" fmla="*/ 7395409 w 8079933"/>
              <a:gd name="connsiteY37497" fmla="*/ 947476 h 4687251"/>
              <a:gd name="connsiteX37498" fmla="*/ 7396494 w 8079933"/>
              <a:gd name="connsiteY37498" fmla="*/ 952889 h 4687251"/>
              <a:gd name="connsiteX37499" fmla="*/ 7394866 w 8079933"/>
              <a:gd name="connsiteY37499" fmla="*/ 957004 h 4687251"/>
              <a:gd name="connsiteX37500" fmla="*/ 7393238 w 8079933"/>
              <a:gd name="connsiteY37500" fmla="*/ 969672 h 4687251"/>
              <a:gd name="connsiteX37501" fmla="*/ 7390852 w 8079933"/>
              <a:gd name="connsiteY37501" fmla="*/ 971621 h 4687251"/>
              <a:gd name="connsiteX37502" fmla="*/ 7387813 w 8079933"/>
              <a:gd name="connsiteY37502" fmla="*/ 967831 h 4687251"/>
              <a:gd name="connsiteX37503" fmla="*/ 7382062 w 8079933"/>
              <a:gd name="connsiteY37503" fmla="*/ 952457 h 4687251"/>
              <a:gd name="connsiteX37504" fmla="*/ 7382062 w 8079933"/>
              <a:gd name="connsiteY37504" fmla="*/ 947260 h 4687251"/>
              <a:gd name="connsiteX37505" fmla="*/ 7377721 w 8079933"/>
              <a:gd name="connsiteY37505" fmla="*/ 944878 h 4687251"/>
              <a:gd name="connsiteX37506" fmla="*/ 7374139 w 8079933"/>
              <a:gd name="connsiteY37506" fmla="*/ 940222 h 4687251"/>
              <a:gd name="connsiteX37507" fmla="*/ 7374139 w 8079933"/>
              <a:gd name="connsiteY37507" fmla="*/ 945636 h 4687251"/>
              <a:gd name="connsiteX37508" fmla="*/ 7368280 w 8079933"/>
              <a:gd name="connsiteY37508" fmla="*/ 955705 h 4687251"/>
              <a:gd name="connsiteX37509" fmla="*/ 7364481 w 8079933"/>
              <a:gd name="connsiteY37509" fmla="*/ 958087 h 4687251"/>
              <a:gd name="connsiteX37510" fmla="*/ 7363614 w 8079933"/>
              <a:gd name="connsiteY37510" fmla="*/ 962742 h 4687251"/>
              <a:gd name="connsiteX37511" fmla="*/ 7368822 w 8079933"/>
              <a:gd name="connsiteY37511" fmla="*/ 964691 h 4687251"/>
              <a:gd name="connsiteX37512" fmla="*/ 7363830 w 8079933"/>
              <a:gd name="connsiteY37512" fmla="*/ 975518 h 4687251"/>
              <a:gd name="connsiteX37513" fmla="*/ 7360249 w 8079933"/>
              <a:gd name="connsiteY37513" fmla="*/ 970321 h 4687251"/>
              <a:gd name="connsiteX37514" fmla="*/ 7357754 w 8079933"/>
              <a:gd name="connsiteY37514" fmla="*/ 970321 h 4687251"/>
              <a:gd name="connsiteX37515" fmla="*/ 7355366 w 8079933"/>
              <a:gd name="connsiteY37515" fmla="*/ 966856 h 4687251"/>
              <a:gd name="connsiteX37516" fmla="*/ 7351785 w 8079933"/>
              <a:gd name="connsiteY37516" fmla="*/ 966856 h 4687251"/>
              <a:gd name="connsiteX37517" fmla="*/ 7349832 w 8079933"/>
              <a:gd name="connsiteY37517" fmla="*/ 973678 h 4687251"/>
              <a:gd name="connsiteX37518" fmla="*/ 7347119 w 8079933"/>
              <a:gd name="connsiteY37518" fmla="*/ 974544 h 4687251"/>
              <a:gd name="connsiteX37519" fmla="*/ 7342344 w 8079933"/>
              <a:gd name="connsiteY37519" fmla="*/ 971837 h 4687251"/>
              <a:gd name="connsiteX37520" fmla="*/ 7338872 w 8079933"/>
              <a:gd name="connsiteY37520" fmla="*/ 971837 h 4687251"/>
              <a:gd name="connsiteX37521" fmla="*/ 7338221 w 8079933"/>
              <a:gd name="connsiteY37521" fmla="*/ 974869 h 4687251"/>
              <a:gd name="connsiteX37522" fmla="*/ 7341368 w 8079933"/>
              <a:gd name="connsiteY37522" fmla="*/ 979416 h 4687251"/>
              <a:gd name="connsiteX37523" fmla="*/ 7338980 w 8079933"/>
              <a:gd name="connsiteY37523" fmla="*/ 981256 h 4687251"/>
              <a:gd name="connsiteX37524" fmla="*/ 7337461 w 8079933"/>
              <a:gd name="connsiteY37524" fmla="*/ 985371 h 4687251"/>
              <a:gd name="connsiteX37525" fmla="*/ 7336810 w 8079933"/>
              <a:gd name="connsiteY37525" fmla="*/ 989377 h 4687251"/>
              <a:gd name="connsiteX37526" fmla="*/ 7341151 w 8079933"/>
              <a:gd name="connsiteY37526" fmla="*/ 994249 h 4687251"/>
              <a:gd name="connsiteX37527" fmla="*/ 7342344 w 8079933"/>
              <a:gd name="connsiteY37527" fmla="*/ 999879 h 4687251"/>
              <a:gd name="connsiteX37528" fmla="*/ 7339957 w 8079933"/>
              <a:gd name="connsiteY37528" fmla="*/ 1000745 h 4687251"/>
              <a:gd name="connsiteX37529" fmla="*/ 7341151 w 8079933"/>
              <a:gd name="connsiteY37529" fmla="*/ 1003993 h 4687251"/>
              <a:gd name="connsiteX37530" fmla="*/ 7346142 w 8079933"/>
              <a:gd name="connsiteY37530" fmla="*/ 1005509 h 4687251"/>
              <a:gd name="connsiteX37531" fmla="*/ 7349723 w 8079933"/>
              <a:gd name="connsiteY37531" fmla="*/ 1009299 h 4687251"/>
              <a:gd name="connsiteX37532" fmla="*/ 7350591 w 8079933"/>
              <a:gd name="connsiteY37532" fmla="*/ 1012330 h 4687251"/>
              <a:gd name="connsiteX37533" fmla="*/ 7348747 w 8079933"/>
              <a:gd name="connsiteY37533" fmla="*/ 1012330 h 4687251"/>
              <a:gd name="connsiteX37534" fmla="*/ 7347228 w 8079933"/>
              <a:gd name="connsiteY37534" fmla="*/ 1015578 h 4687251"/>
              <a:gd name="connsiteX37535" fmla="*/ 7351026 w 8079933"/>
              <a:gd name="connsiteY37535" fmla="*/ 1019043 h 4687251"/>
              <a:gd name="connsiteX37536" fmla="*/ 7354606 w 8079933"/>
              <a:gd name="connsiteY37536" fmla="*/ 1021966 h 4687251"/>
              <a:gd name="connsiteX37537" fmla="*/ 7354606 w 8079933"/>
              <a:gd name="connsiteY37537" fmla="*/ 1023915 h 4687251"/>
              <a:gd name="connsiteX37538" fmla="*/ 7350266 w 8079933"/>
              <a:gd name="connsiteY37538" fmla="*/ 1020992 h 4687251"/>
              <a:gd name="connsiteX37539" fmla="*/ 7346901 w 8079933"/>
              <a:gd name="connsiteY37539" fmla="*/ 1022183 h 4687251"/>
              <a:gd name="connsiteX37540" fmla="*/ 7346250 w 8079933"/>
              <a:gd name="connsiteY37540" fmla="*/ 1024023 h 4687251"/>
              <a:gd name="connsiteX37541" fmla="*/ 7350916 w 8079933"/>
              <a:gd name="connsiteY37541" fmla="*/ 1029112 h 4687251"/>
              <a:gd name="connsiteX37542" fmla="*/ 7353413 w 8079933"/>
              <a:gd name="connsiteY37542" fmla="*/ 1027596 h 4687251"/>
              <a:gd name="connsiteX37543" fmla="*/ 7353413 w 8079933"/>
              <a:gd name="connsiteY37543" fmla="*/ 1032577 h 4687251"/>
              <a:gd name="connsiteX37544" fmla="*/ 7352002 w 8079933"/>
              <a:gd name="connsiteY37544" fmla="*/ 1037990 h 4687251"/>
              <a:gd name="connsiteX37545" fmla="*/ 7352002 w 8079933"/>
              <a:gd name="connsiteY37545" fmla="*/ 1042213 h 4687251"/>
              <a:gd name="connsiteX37546" fmla="*/ 7349072 w 8079933"/>
              <a:gd name="connsiteY37546" fmla="*/ 1046111 h 4687251"/>
              <a:gd name="connsiteX37547" fmla="*/ 7351460 w 8079933"/>
              <a:gd name="connsiteY37547" fmla="*/ 1053257 h 4687251"/>
              <a:gd name="connsiteX37548" fmla="*/ 7349723 w 8079933"/>
              <a:gd name="connsiteY37548" fmla="*/ 1056613 h 4687251"/>
              <a:gd name="connsiteX37549" fmla="*/ 7352111 w 8079933"/>
              <a:gd name="connsiteY37549" fmla="*/ 1061485 h 4687251"/>
              <a:gd name="connsiteX37550" fmla="*/ 7352111 w 8079933"/>
              <a:gd name="connsiteY37550" fmla="*/ 1064300 h 4687251"/>
              <a:gd name="connsiteX37551" fmla="*/ 7352111 w 8079933"/>
              <a:gd name="connsiteY37551" fmla="*/ 1069389 h 4687251"/>
              <a:gd name="connsiteX37552" fmla="*/ 7356018 w 8079933"/>
              <a:gd name="connsiteY37552" fmla="*/ 1077942 h 4687251"/>
              <a:gd name="connsiteX37553" fmla="*/ 7354173 w 8079933"/>
              <a:gd name="connsiteY37553" fmla="*/ 1080324 h 4687251"/>
              <a:gd name="connsiteX37554" fmla="*/ 7357862 w 8079933"/>
              <a:gd name="connsiteY37554" fmla="*/ 1082814 h 4687251"/>
              <a:gd name="connsiteX37555" fmla="*/ 7362202 w 8079933"/>
              <a:gd name="connsiteY37555" fmla="*/ 1087253 h 4687251"/>
              <a:gd name="connsiteX37556" fmla="*/ 7368605 w 8079933"/>
              <a:gd name="connsiteY37556" fmla="*/ 1095699 h 4687251"/>
              <a:gd name="connsiteX37557" fmla="*/ 7374466 w 8079933"/>
              <a:gd name="connsiteY37557" fmla="*/ 1098405 h 4687251"/>
              <a:gd name="connsiteX37558" fmla="*/ 7376418 w 8079933"/>
              <a:gd name="connsiteY37558" fmla="*/ 1096781 h 4687251"/>
              <a:gd name="connsiteX37559" fmla="*/ 7377178 w 8079933"/>
              <a:gd name="connsiteY37559" fmla="*/ 1092559 h 4687251"/>
              <a:gd name="connsiteX37560" fmla="*/ 7371210 w 8079933"/>
              <a:gd name="connsiteY37560" fmla="*/ 1085846 h 4687251"/>
              <a:gd name="connsiteX37561" fmla="*/ 7371210 w 8079933"/>
              <a:gd name="connsiteY37561" fmla="*/ 1082490 h 4687251"/>
              <a:gd name="connsiteX37562" fmla="*/ 7374682 w 8079933"/>
              <a:gd name="connsiteY37562" fmla="*/ 1079675 h 4687251"/>
              <a:gd name="connsiteX37563" fmla="*/ 7379674 w 8079933"/>
              <a:gd name="connsiteY37563" fmla="*/ 1079675 h 4687251"/>
              <a:gd name="connsiteX37564" fmla="*/ 7387813 w 8079933"/>
              <a:gd name="connsiteY37564" fmla="*/ 1085846 h 4687251"/>
              <a:gd name="connsiteX37565" fmla="*/ 7391828 w 8079933"/>
              <a:gd name="connsiteY37565" fmla="*/ 1085088 h 4687251"/>
              <a:gd name="connsiteX37566" fmla="*/ 7395192 w 8079933"/>
              <a:gd name="connsiteY37566" fmla="*/ 1086820 h 4687251"/>
              <a:gd name="connsiteX37567" fmla="*/ 7395192 w 8079933"/>
              <a:gd name="connsiteY37567" fmla="*/ 1091043 h 4687251"/>
              <a:gd name="connsiteX37568" fmla="*/ 7393998 w 8079933"/>
              <a:gd name="connsiteY37568" fmla="*/ 1093858 h 4687251"/>
              <a:gd name="connsiteX37569" fmla="*/ 7397036 w 8079933"/>
              <a:gd name="connsiteY37569" fmla="*/ 1097431 h 4687251"/>
              <a:gd name="connsiteX37570" fmla="*/ 7394106 w 8079933"/>
              <a:gd name="connsiteY37570" fmla="*/ 1101870 h 4687251"/>
              <a:gd name="connsiteX37571" fmla="*/ 7395409 w 8079933"/>
              <a:gd name="connsiteY37571" fmla="*/ 1105767 h 4687251"/>
              <a:gd name="connsiteX37572" fmla="*/ 7393672 w 8079933"/>
              <a:gd name="connsiteY37572" fmla="*/ 1107175 h 4687251"/>
              <a:gd name="connsiteX37573" fmla="*/ 7390200 w 8079933"/>
              <a:gd name="connsiteY37573" fmla="*/ 1111289 h 4687251"/>
              <a:gd name="connsiteX37574" fmla="*/ 7394649 w 8079933"/>
              <a:gd name="connsiteY37574" fmla="*/ 1120168 h 4687251"/>
              <a:gd name="connsiteX37575" fmla="*/ 7398122 w 8079933"/>
              <a:gd name="connsiteY37575" fmla="*/ 1125365 h 4687251"/>
              <a:gd name="connsiteX37576" fmla="*/ 7398122 w 8079933"/>
              <a:gd name="connsiteY37576" fmla="*/ 1133810 h 4687251"/>
              <a:gd name="connsiteX37577" fmla="*/ 7403222 w 8079933"/>
              <a:gd name="connsiteY37577" fmla="*/ 1137383 h 4687251"/>
              <a:gd name="connsiteX37578" fmla="*/ 7405718 w 8079933"/>
              <a:gd name="connsiteY37578" fmla="*/ 1135542 h 4687251"/>
              <a:gd name="connsiteX37579" fmla="*/ 7405718 w 8079933"/>
              <a:gd name="connsiteY37579" fmla="*/ 1133052 h 4687251"/>
              <a:gd name="connsiteX37580" fmla="*/ 7409516 w 8079933"/>
              <a:gd name="connsiteY37580" fmla="*/ 1130128 h 4687251"/>
              <a:gd name="connsiteX37581" fmla="*/ 7410926 w 8079933"/>
              <a:gd name="connsiteY37581" fmla="*/ 1128180 h 4687251"/>
              <a:gd name="connsiteX37582" fmla="*/ 7412229 w 8079933"/>
              <a:gd name="connsiteY37582" fmla="*/ 1129479 h 4687251"/>
              <a:gd name="connsiteX37583" fmla="*/ 7417329 w 8079933"/>
              <a:gd name="connsiteY37583" fmla="*/ 1131970 h 4687251"/>
              <a:gd name="connsiteX37584" fmla="*/ 7417329 w 8079933"/>
              <a:gd name="connsiteY37584" fmla="*/ 1142797 h 4687251"/>
              <a:gd name="connsiteX37585" fmla="*/ 7428182 w 8079933"/>
              <a:gd name="connsiteY37585" fmla="*/ 1152216 h 4687251"/>
              <a:gd name="connsiteX37586" fmla="*/ 7431979 w 8079933"/>
              <a:gd name="connsiteY37586" fmla="*/ 1159795 h 4687251"/>
              <a:gd name="connsiteX37587" fmla="*/ 7429808 w 8079933"/>
              <a:gd name="connsiteY37587" fmla="*/ 1162827 h 4687251"/>
              <a:gd name="connsiteX37588" fmla="*/ 7429808 w 8079933"/>
              <a:gd name="connsiteY37588" fmla="*/ 1169323 h 4687251"/>
              <a:gd name="connsiteX37589" fmla="*/ 7426553 w 8079933"/>
              <a:gd name="connsiteY37589" fmla="*/ 1170622 h 4687251"/>
              <a:gd name="connsiteX37590" fmla="*/ 7420368 w 8079933"/>
              <a:gd name="connsiteY37590" fmla="*/ 1166074 h 4687251"/>
              <a:gd name="connsiteX37591" fmla="*/ 7413098 w 8079933"/>
              <a:gd name="connsiteY37591" fmla="*/ 1163368 h 4687251"/>
              <a:gd name="connsiteX37592" fmla="*/ 7413098 w 8079933"/>
              <a:gd name="connsiteY37592" fmla="*/ 1156546 h 4687251"/>
              <a:gd name="connsiteX37593" fmla="*/ 7415268 w 8079933"/>
              <a:gd name="connsiteY37593" fmla="*/ 1151674 h 4687251"/>
              <a:gd name="connsiteX37594" fmla="*/ 7415268 w 8079933"/>
              <a:gd name="connsiteY37594" fmla="*/ 1145720 h 4687251"/>
              <a:gd name="connsiteX37595" fmla="*/ 7413966 w 8079933"/>
              <a:gd name="connsiteY37595" fmla="*/ 1141172 h 4687251"/>
              <a:gd name="connsiteX37596" fmla="*/ 7410926 w 8079933"/>
              <a:gd name="connsiteY37596" fmla="*/ 1144095 h 4687251"/>
              <a:gd name="connsiteX37597" fmla="*/ 7411795 w 8079933"/>
              <a:gd name="connsiteY37597" fmla="*/ 1146152 h 4687251"/>
              <a:gd name="connsiteX37598" fmla="*/ 7411795 w 8079933"/>
              <a:gd name="connsiteY37598" fmla="*/ 1149726 h 4687251"/>
              <a:gd name="connsiteX37599" fmla="*/ 7407129 w 8079933"/>
              <a:gd name="connsiteY37599" fmla="*/ 1150592 h 4687251"/>
              <a:gd name="connsiteX37600" fmla="*/ 7402570 w 8079933"/>
              <a:gd name="connsiteY37600" fmla="*/ 1157305 h 4687251"/>
              <a:gd name="connsiteX37601" fmla="*/ 7403873 w 8079933"/>
              <a:gd name="connsiteY37601" fmla="*/ 1160228 h 4687251"/>
              <a:gd name="connsiteX37602" fmla="*/ 7409516 w 8079933"/>
              <a:gd name="connsiteY37602" fmla="*/ 1158929 h 4687251"/>
              <a:gd name="connsiteX37603" fmla="*/ 7409516 w 8079933"/>
              <a:gd name="connsiteY37603" fmla="*/ 1163801 h 4687251"/>
              <a:gd name="connsiteX37604" fmla="*/ 7406043 w 8079933"/>
              <a:gd name="connsiteY37604" fmla="*/ 1169215 h 4687251"/>
              <a:gd name="connsiteX37605" fmla="*/ 7407996 w 8079933"/>
              <a:gd name="connsiteY37605" fmla="*/ 1176793 h 4687251"/>
              <a:gd name="connsiteX37606" fmla="*/ 7406912 w 8079933"/>
              <a:gd name="connsiteY37606" fmla="*/ 1178959 h 4687251"/>
              <a:gd name="connsiteX37607" fmla="*/ 7407454 w 8079933"/>
              <a:gd name="connsiteY37607" fmla="*/ 1195741 h 4687251"/>
              <a:gd name="connsiteX37608" fmla="*/ 7410926 w 8079933"/>
              <a:gd name="connsiteY37608" fmla="*/ 1199205 h 4687251"/>
              <a:gd name="connsiteX37609" fmla="*/ 7410926 w 8079933"/>
              <a:gd name="connsiteY37609" fmla="*/ 1203211 h 4687251"/>
              <a:gd name="connsiteX37610" fmla="*/ 7423623 w 8079933"/>
              <a:gd name="connsiteY37610" fmla="*/ 1221076 h 4687251"/>
              <a:gd name="connsiteX37611" fmla="*/ 7427204 w 8079933"/>
              <a:gd name="connsiteY37611" fmla="*/ 1221076 h 4687251"/>
              <a:gd name="connsiteX37612" fmla="*/ 7435343 w 8079933"/>
              <a:gd name="connsiteY37612" fmla="*/ 1232445 h 4687251"/>
              <a:gd name="connsiteX37613" fmla="*/ 7440769 w 8079933"/>
              <a:gd name="connsiteY37613" fmla="*/ 1235476 h 4687251"/>
              <a:gd name="connsiteX37614" fmla="*/ 7437514 w 8079933"/>
              <a:gd name="connsiteY37614" fmla="*/ 1239265 h 4687251"/>
              <a:gd name="connsiteX37615" fmla="*/ 7437514 w 8079933"/>
              <a:gd name="connsiteY37615" fmla="*/ 1245437 h 4687251"/>
              <a:gd name="connsiteX37616" fmla="*/ 7423406 w 8079933"/>
              <a:gd name="connsiteY37616" fmla="*/ 1250851 h 4687251"/>
              <a:gd name="connsiteX37617" fmla="*/ 7422320 w 8079933"/>
              <a:gd name="connsiteY37617" fmla="*/ 1248360 h 4687251"/>
              <a:gd name="connsiteX37618" fmla="*/ 7414508 w 8079933"/>
              <a:gd name="connsiteY37618" fmla="*/ 1253232 h 4687251"/>
              <a:gd name="connsiteX37619" fmla="*/ 7410926 w 8079933"/>
              <a:gd name="connsiteY37619" fmla="*/ 1252367 h 4687251"/>
              <a:gd name="connsiteX37620" fmla="*/ 7411252 w 8079933"/>
              <a:gd name="connsiteY37620" fmla="*/ 1251500 h 4687251"/>
              <a:gd name="connsiteX37621" fmla="*/ 7406912 w 8079933"/>
              <a:gd name="connsiteY37621" fmla="*/ 1260703 h 4687251"/>
              <a:gd name="connsiteX37622" fmla="*/ 7406043 w 8079933"/>
              <a:gd name="connsiteY37622" fmla="*/ 1266983 h 4687251"/>
              <a:gd name="connsiteX37623" fmla="*/ 7403005 w 8079933"/>
              <a:gd name="connsiteY37623" fmla="*/ 1269906 h 4687251"/>
              <a:gd name="connsiteX37624" fmla="*/ 7406912 w 8079933"/>
              <a:gd name="connsiteY37624" fmla="*/ 1274020 h 4687251"/>
              <a:gd name="connsiteX37625" fmla="*/ 7403982 w 8079933"/>
              <a:gd name="connsiteY37625" fmla="*/ 1286147 h 4687251"/>
              <a:gd name="connsiteX37626" fmla="*/ 7408540 w 8079933"/>
              <a:gd name="connsiteY37626" fmla="*/ 1299897 h 4687251"/>
              <a:gd name="connsiteX37627" fmla="*/ 7415050 w 8079933"/>
              <a:gd name="connsiteY37627" fmla="*/ 1303470 h 4687251"/>
              <a:gd name="connsiteX37628" fmla="*/ 7415050 w 8079933"/>
              <a:gd name="connsiteY37628" fmla="*/ 1309424 h 4687251"/>
              <a:gd name="connsiteX37629" fmla="*/ 7421887 w 8079933"/>
              <a:gd name="connsiteY37629" fmla="*/ 1312889 h 4687251"/>
              <a:gd name="connsiteX37630" fmla="*/ 7425360 w 8079933"/>
              <a:gd name="connsiteY37630" fmla="*/ 1317545 h 4687251"/>
              <a:gd name="connsiteX37631" fmla="*/ 7419934 w 8079933"/>
              <a:gd name="connsiteY37631" fmla="*/ 1317004 h 4687251"/>
              <a:gd name="connsiteX37632" fmla="*/ 7418306 w 8079933"/>
              <a:gd name="connsiteY37632" fmla="*/ 1315380 h 4687251"/>
              <a:gd name="connsiteX37633" fmla="*/ 7413748 w 8079933"/>
              <a:gd name="connsiteY37633" fmla="*/ 1318303 h 4687251"/>
              <a:gd name="connsiteX37634" fmla="*/ 7409733 w 8079933"/>
              <a:gd name="connsiteY37634" fmla="*/ 1322093 h 4687251"/>
              <a:gd name="connsiteX37635" fmla="*/ 7406152 w 8079933"/>
              <a:gd name="connsiteY37635" fmla="*/ 1321334 h 4687251"/>
              <a:gd name="connsiteX37636" fmla="*/ 7399098 w 8079933"/>
              <a:gd name="connsiteY37636" fmla="*/ 1327831 h 4687251"/>
              <a:gd name="connsiteX37637" fmla="*/ 7394432 w 8079933"/>
              <a:gd name="connsiteY37637" fmla="*/ 1324041 h 4687251"/>
              <a:gd name="connsiteX37638" fmla="*/ 7391936 w 8079933"/>
              <a:gd name="connsiteY37638" fmla="*/ 1328697 h 4687251"/>
              <a:gd name="connsiteX37639" fmla="*/ 7394866 w 8079933"/>
              <a:gd name="connsiteY37639" fmla="*/ 1331187 h 4687251"/>
              <a:gd name="connsiteX37640" fmla="*/ 7399966 w 8079933"/>
              <a:gd name="connsiteY37640" fmla="*/ 1331187 h 4687251"/>
              <a:gd name="connsiteX37641" fmla="*/ 7398773 w 8079933"/>
              <a:gd name="connsiteY37641" fmla="*/ 1336384 h 4687251"/>
              <a:gd name="connsiteX37642" fmla="*/ 7397688 w 8079933"/>
              <a:gd name="connsiteY37642" fmla="*/ 1339524 h 4687251"/>
              <a:gd name="connsiteX37643" fmla="*/ 7402354 w 8079933"/>
              <a:gd name="connsiteY37643" fmla="*/ 1344180 h 4687251"/>
              <a:gd name="connsiteX37644" fmla="*/ 7400509 w 8079933"/>
              <a:gd name="connsiteY37644" fmla="*/ 1346562 h 4687251"/>
              <a:gd name="connsiteX37645" fmla="*/ 7397796 w 8079933"/>
              <a:gd name="connsiteY37645" fmla="*/ 1345695 h 4687251"/>
              <a:gd name="connsiteX37646" fmla="*/ 7401052 w 8079933"/>
              <a:gd name="connsiteY37646" fmla="*/ 1352517 h 4687251"/>
              <a:gd name="connsiteX37647" fmla="*/ 7399424 w 8079933"/>
              <a:gd name="connsiteY37647" fmla="*/ 1356089 h 4687251"/>
              <a:gd name="connsiteX37648" fmla="*/ 7402462 w 8079933"/>
              <a:gd name="connsiteY37648" fmla="*/ 1356847 h 4687251"/>
              <a:gd name="connsiteX37649" fmla="*/ 7405175 w 8079933"/>
              <a:gd name="connsiteY37649" fmla="*/ 1355440 h 4687251"/>
              <a:gd name="connsiteX37650" fmla="*/ 7409516 w 8079933"/>
              <a:gd name="connsiteY37650" fmla="*/ 1359988 h 4687251"/>
              <a:gd name="connsiteX37651" fmla="*/ 7405610 w 8079933"/>
              <a:gd name="connsiteY37651" fmla="*/ 1363560 h 4687251"/>
              <a:gd name="connsiteX37652" fmla="*/ 7405067 w 8079933"/>
              <a:gd name="connsiteY37652" fmla="*/ 1370598 h 4687251"/>
              <a:gd name="connsiteX37653" fmla="*/ 7407780 w 8079933"/>
              <a:gd name="connsiteY37653" fmla="*/ 1374929 h 4687251"/>
              <a:gd name="connsiteX37654" fmla="*/ 7406152 w 8079933"/>
              <a:gd name="connsiteY37654" fmla="*/ 1385755 h 4687251"/>
              <a:gd name="connsiteX37655" fmla="*/ 7404199 w 8079933"/>
              <a:gd name="connsiteY37655" fmla="*/ 1389761 h 4687251"/>
              <a:gd name="connsiteX37656" fmla="*/ 7405284 w 8079933"/>
              <a:gd name="connsiteY37656" fmla="*/ 1391927 h 4687251"/>
              <a:gd name="connsiteX37657" fmla="*/ 7404199 w 8079933"/>
              <a:gd name="connsiteY37657" fmla="*/ 1396258 h 4687251"/>
              <a:gd name="connsiteX37658" fmla="*/ 7398447 w 8079933"/>
              <a:gd name="connsiteY37658" fmla="*/ 1401347 h 4687251"/>
              <a:gd name="connsiteX37659" fmla="*/ 7398447 w 8079933"/>
              <a:gd name="connsiteY37659" fmla="*/ 1406219 h 4687251"/>
              <a:gd name="connsiteX37660" fmla="*/ 7397036 w 8079933"/>
              <a:gd name="connsiteY37660" fmla="*/ 1407085 h 4687251"/>
              <a:gd name="connsiteX37661" fmla="*/ 7394541 w 8079933"/>
              <a:gd name="connsiteY37661" fmla="*/ 1417912 h 4687251"/>
              <a:gd name="connsiteX37662" fmla="*/ 7389440 w 8079933"/>
              <a:gd name="connsiteY37662" fmla="*/ 1428739 h 4687251"/>
              <a:gd name="connsiteX37663" fmla="*/ 7390308 w 8079933"/>
              <a:gd name="connsiteY37663" fmla="*/ 1423650 h 4687251"/>
              <a:gd name="connsiteX37664" fmla="*/ 7389006 w 8079933"/>
              <a:gd name="connsiteY37664" fmla="*/ 1420077 h 4687251"/>
              <a:gd name="connsiteX37665" fmla="*/ 7389006 w 8079933"/>
              <a:gd name="connsiteY37665" fmla="*/ 1415205 h 4687251"/>
              <a:gd name="connsiteX37666" fmla="*/ 7387596 w 8079933"/>
              <a:gd name="connsiteY37666" fmla="*/ 1411957 h 4687251"/>
              <a:gd name="connsiteX37667" fmla="*/ 7378154 w 8079933"/>
              <a:gd name="connsiteY37667" fmla="*/ 1410875 h 4687251"/>
              <a:gd name="connsiteX37668" fmla="*/ 7373055 w 8079933"/>
              <a:gd name="connsiteY37668" fmla="*/ 1403512 h 4687251"/>
              <a:gd name="connsiteX37669" fmla="*/ 7371969 w 8079933"/>
              <a:gd name="connsiteY37669" fmla="*/ 1395067 h 4687251"/>
              <a:gd name="connsiteX37670" fmla="*/ 7362745 w 8079933"/>
              <a:gd name="connsiteY37670" fmla="*/ 1374712 h 4687251"/>
              <a:gd name="connsiteX37671" fmla="*/ 7356560 w 8079933"/>
              <a:gd name="connsiteY37671" fmla="*/ 1364968 h 4687251"/>
              <a:gd name="connsiteX37672" fmla="*/ 7360032 w 8079933"/>
              <a:gd name="connsiteY37672" fmla="*/ 1364968 h 4687251"/>
              <a:gd name="connsiteX37673" fmla="*/ 7364048 w 8079933"/>
              <a:gd name="connsiteY37673" fmla="*/ 1362802 h 4687251"/>
              <a:gd name="connsiteX37674" fmla="*/ 7365892 w 8079933"/>
              <a:gd name="connsiteY37674" fmla="*/ 1358796 h 4687251"/>
              <a:gd name="connsiteX37675" fmla="*/ 7362094 w 8079933"/>
              <a:gd name="connsiteY37675" fmla="*/ 1360637 h 4687251"/>
              <a:gd name="connsiteX37676" fmla="*/ 7355800 w 8079933"/>
              <a:gd name="connsiteY37676" fmla="*/ 1360637 h 4687251"/>
              <a:gd name="connsiteX37677" fmla="*/ 7347336 w 8079933"/>
              <a:gd name="connsiteY37677" fmla="*/ 1356306 h 4687251"/>
              <a:gd name="connsiteX37678" fmla="*/ 7328888 w 8079933"/>
              <a:gd name="connsiteY37678" fmla="*/ 1322958 h 4687251"/>
              <a:gd name="connsiteX37679" fmla="*/ 7312068 w 8079933"/>
              <a:gd name="connsiteY37679" fmla="*/ 1303254 h 4687251"/>
              <a:gd name="connsiteX37680" fmla="*/ 7312068 w 8079933"/>
              <a:gd name="connsiteY37680" fmla="*/ 1295999 h 4687251"/>
              <a:gd name="connsiteX37681" fmla="*/ 7305882 w 8079933"/>
              <a:gd name="connsiteY37681" fmla="*/ 1289178 h 4687251"/>
              <a:gd name="connsiteX37682" fmla="*/ 7292644 w 8079933"/>
              <a:gd name="connsiteY37682" fmla="*/ 1268391 h 4687251"/>
              <a:gd name="connsiteX37683" fmla="*/ 7279947 w 8079933"/>
              <a:gd name="connsiteY37683" fmla="*/ 1243055 h 4687251"/>
              <a:gd name="connsiteX37684" fmla="*/ 7269095 w 8079933"/>
              <a:gd name="connsiteY37684" fmla="*/ 1219235 h 4687251"/>
              <a:gd name="connsiteX37685" fmla="*/ 7269095 w 8079933"/>
              <a:gd name="connsiteY37685" fmla="*/ 1210898 h 4687251"/>
              <a:gd name="connsiteX37686" fmla="*/ 7262584 w 8079933"/>
              <a:gd name="connsiteY37686" fmla="*/ 1200072 h 4687251"/>
              <a:gd name="connsiteX37687" fmla="*/ 7260414 w 8079933"/>
              <a:gd name="connsiteY37687" fmla="*/ 1183398 h 4687251"/>
              <a:gd name="connsiteX37688" fmla="*/ 7256399 w 8079933"/>
              <a:gd name="connsiteY37688" fmla="*/ 1175061 h 4687251"/>
              <a:gd name="connsiteX37689" fmla="*/ 7257484 w 8079933"/>
              <a:gd name="connsiteY37689" fmla="*/ 1165209 h 4687251"/>
              <a:gd name="connsiteX37690" fmla="*/ 7262802 w 8079933"/>
              <a:gd name="connsiteY37690" fmla="*/ 1158820 h 4687251"/>
              <a:gd name="connsiteX37691" fmla="*/ 7264103 w 8079933"/>
              <a:gd name="connsiteY37691" fmla="*/ 1150700 h 4687251"/>
              <a:gd name="connsiteX37692" fmla="*/ 7267902 w 8079933"/>
              <a:gd name="connsiteY37692" fmla="*/ 1149293 h 4687251"/>
              <a:gd name="connsiteX37693" fmla="*/ 7265189 w 8079933"/>
              <a:gd name="connsiteY37693" fmla="*/ 1146044 h 4687251"/>
              <a:gd name="connsiteX37694" fmla="*/ 7267142 w 8079933"/>
              <a:gd name="connsiteY37694" fmla="*/ 1143121 h 4687251"/>
              <a:gd name="connsiteX37695" fmla="*/ 7267142 w 8079933"/>
              <a:gd name="connsiteY37695" fmla="*/ 1131428 h 4687251"/>
              <a:gd name="connsiteX37696" fmla="*/ 7258135 w 8079933"/>
              <a:gd name="connsiteY37696" fmla="*/ 1118977 h 4687251"/>
              <a:gd name="connsiteX37697" fmla="*/ 7251949 w 8079933"/>
              <a:gd name="connsiteY37697" fmla="*/ 1118977 h 4687251"/>
              <a:gd name="connsiteX37698" fmla="*/ 7251949 w 8079933"/>
              <a:gd name="connsiteY37698" fmla="*/ 1115512 h 4687251"/>
              <a:gd name="connsiteX37699" fmla="*/ 7256617 w 8079933"/>
              <a:gd name="connsiteY37699" fmla="*/ 1111181 h 4687251"/>
              <a:gd name="connsiteX37700" fmla="*/ 7266057 w 8079933"/>
              <a:gd name="connsiteY37700" fmla="*/ 1115729 h 4687251"/>
              <a:gd name="connsiteX37701" fmla="*/ 7271266 w 8079933"/>
              <a:gd name="connsiteY37701" fmla="*/ 1109991 h 4687251"/>
              <a:gd name="connsiteX37702" fmla="*/ 7269964 w 8079933"/>
              <a:gd name="connsiteY37702" fmla="*/ 1106201 h 4687251"/>
              <a:gd name="connsiteX37703" fmla="*/ 7269964 w 8079933"/>
              <a:gd name="connsiteY37703" fmla="*/ 1096998 h 4687251"/>
              <a:gd name="connsiteX37704" fmla="*/ 7278103 w 8079933"/>
              <a:gd name="connsiteY37704" fmla="*/ 1095915 h 4687251"/>
              <a:gd name="connsiteX37705" fmla="*/ 7282660 w 8079933"/>
              <a:gd name="connsiteY37705" fmla="*/ 1097215 h 4687251"/>
              <a:gd name="connsiteX37706" fmla="*/ 7278644 w 8079933"/>
              <a:gd name="connsiteY37706" fmla="*/ 1091584 h 4687251"/>
              <a:gd name="connsiteX37707" fmla="*/ 7286024 w 8079933"/>
              <a:gd name="connsiteY37707" fmla="*/ 1077292 h 4687251"/>
              <a:gd name="connsiteX37708" fmla="*/ 7282986 w 8079933"/>
              <a:gd name="connsiteY37708" fmla="*/ 1068414 h 4687251"/>
              <a:gd name="connsiteX37709" fmla="*/ 7282986 w 8079933"/>
              <a:gd name="connsiteY37709" fmla="*/ 1058995 h 4687251"/>
              <a:gd name="connsiteX37710" fmla="*/ 7280056 w 8079933"/>
              <a:gd name="connsiteY37710" fmla="*/ 1053906 h 4687251"/>
              <a:gd name="connsiteX37711" fmla="*/ 7284071 w 8079933"/>
              <a:gd name="connsiteY37711" fmla="*/ 1049575 h 4687251"/>
              <a:gd name="connsiteX37712" fmla="*/ 7284071 w 8079933"/>
              <a:gd name="connsiteY37712" fmla="*/ 1043621 h 4687251"/>
              <a:gd name="connsiteX37713" fmla="*/ 7282443 w 8079933"/>
              <a:gd name="connsiteY37713" fmla="*/ 1040914 h 4687251"/>
              <a:gd name="connsiteX37714" fmla="*/ 7283962 w 8079933"/>
              <a:gd name="connsiteY37714" fmla="*/ 1032902 h 4687251"/>
              <a:gd name="connsiteX37715" fmla="*/ 7287652 w 8079933"/>
              <a:gd name="connsiteY37715" fmla="*/ 1032902 h 4687251"/>
              <a:gd name="connsiteX37716" fmla="*/ 7283202 w 8079933"/>
              <a:gd name="connsiteY37716" fmla="*/ 1028463 h 4687251"/>
              <a:gd name="connsiteX37717" fmla="*/ 7282226 w 8079933"/>
              <a:gd name="connsiteY37717" fmla="*/ 1024673 h 4687251"/>
              <a:gd name="connsiteX37718" fmla="*/ 7283746 w 8079933"/>
              <a:gd name="connsiteY37718" fmla="*/ 1022507 h 4687251"/>
              <a:gd name="connsiteX37719" fmla="*/ 7284939 w 8079933"/>
              <a:gd name="connsiteY37719" fmla="*/ 1013305 h 4687251"/>
              <a:gd name="connsiteX37720" fmla="*/ 7282877 w 8079933"/>
              <a:gd name="connsiteY37720" fmla="*/ 1011464 h 4687251"/>
              <a:gd name="connsiteX37721" fmla="*/ 7283637 w 8079933"/>
              <a:gd name="connsiteY37721" fmla="*/ 1006700 h 4687251"/>
              <a:gd name="connsiteX37722" fmla="*/ 7289062 w 8079933"/>
              <a:gd name="connsiteY37722" fmla="*/ 1004643 h 4687251"/>
              <a:gd name="connsiteX37723" fmla="*/ 7291341 w 8079933"/>
              <a:gd name="connsiteY37723" fmla="*/ 1001287 h 4687251"/>
              <a:gd name="connsiteX37724" fmla="*/ 7289822 w 8079933"/>
              <a:gd name="connsiteY37724" fmla="*/ 993599 h 4687251"/>
              <a:gd name="connsiteX37725" fmla="*/ 7291450 w 8079933"/>
              <a:gd name="connsiteY37725" fmla="*/ 983422 h 4687251"/>
              <a:gd name="connsiteX37726" fmla="*/ 7288954 w 8079933"/>
              <a:gd name="connsiteY37726" fmla="*/ 981906 h 4687251"/>
              <a:gd name="connsiteX37727" fmla="*/ 7288086 w 8079933"/>
              <a:gd name="connsiteY37727" fmla="*/ 978875 h 4687251"/>
              <a:gd name="connsiteX37728" fmla="*/ 7292210 w 8079933"/>
              <a:gd name="connsiteY37728" fmla="*/ 971404 h 4687251"/>
              <a:gd name="connsiteX37729" fmla="*/ 7292210 w 8079933"/>
              <a:gd name="connsiteY37729" fmla="*/ 964799 h 4687251"/>
              <a:gd name="connsiteX37730" fmla="*/ 7288737 w 8079933"/>
              <a:gd name="connsiteY37730" fmla="*/ 965991 h 4687251"/>
              <a:gd name="connsiteX37731" fmla="*/ 7286892 w 8079933"/>
              <a:gd name="connsiteY37731" fmla="*/ 960036 h 4687251"/>
              <a:gd name="connsiteX37732" fmla="*/ 7289388 w 8079933"/>
              <a:gd name="connsiteY37732" fmla="*/ 956354 h 4687251"/>
              <a:gd name="connsiteX37733" fmla="*/ 7289388 w 8079933"/>
              <a:gd name="connsiteY37733" fmla="*/ 951699 h 4687251"/>
              <a:gd name="connsiteX37734" fmla="*/ 7293078 w 8079933"/>
              <a:gd name="connsiteY37734" fmla="*/ 950399 h 4687251"/>
              <a:gd name="connsiteX37735" fmla="*/ 7294054 w 8079933"/>
              <a:gd name="connsiteY37735" fmla="*/ 948018 h 4687251"/>
              <a:gd name="connsiteX37736" fmla="*/ 7299480 w 8079933"/>
              <a:gd name="connsiteY37736" fmla="*/ 944661 h 4687251"/>
              <a:gd name="connsiteX37737" fmla="*/ 7300023 w 8079933"/>
              <a:gd name="connsiteY37737" fmla="*/ 940114 h 4687251"/>
              <a:gd name="connsiteX37738" fmla="*/ 7305992 w 8079933"/>
              <a:gd name="connsiteY37738" fmla="*/ 934484 h 4687251"/>
              <a:gd name="connsiteX37739" fmla="*/ 7307510 w 8079933"/>
              <a:gd name="connsiteY37739" fmla="*/ 934484 h 4687251"/>
              <a:gd name="connsiteX37740" fmla="*/ 7311960 w 8079933"/>
              <a:gd name="connsiteY37740" fmla="*/ 931127 h 4687251"/>
              <a:gd name="connsiteX37741" fmla="*/ 7314781 w 8079933"/>
              <a:gd name="connsiteY37741" fmla="*/ 931127 h 4687251"/>
              <a:gd name="connsiteX37742" fmla="*/ 7315757 w 8079933"/>
              <a:gd name="connsiteY37742" fmla="*/ 928096 h 4687251"/>
              <a:gd name="connsiteX37743" fmla="*/ 7314564 w 8079933"/>
              <a:gd name="connsiteY37743" fmla="*/ 926255 h 4687251"/>
              <a:gd name="connsiteX37744" fmla="*/ 7310007 w 8079933"/>
              <a:gd name="connsiteY37744" fmla="*/ 925606 h 4687251"/>
              <a:gd name="connsiteX37745" fmla="*/ 7306968 w 8079933"/>
              <a:gd name="connsiteY37745" fmla="*/ 927554 h 4687251"/>
              <a:gd name="connsiteX37746" fmla="*/ 7303278 w 8079933"/>
              <a:gd name="connsiteY37746" fmla="*/ 924739 h 4687251"/>
              <a:gd name="connsiteX37747" fmla="*/ 7303278 w 8079933"/>
              <a:gd name="connsiteY37747" fmla="*/ 915536 h 4687251"/>
              <a:gd name="connsiteX37748" fmla="*/ 7306100 w 8079933"/>
              <a:gd name="connsiteY37748" fmla="*/ 908282 h 4687251"/>
              <a:gd name="connsiteX37749" fmla="*/ 7304363 w 8079933"/>
              <a:gd name="connsiteY37749" fmla="*/ 905359 h 4687251"/>
              <a:gd name="connsiteX37750" fmla="*/ 7301650 w 8079933"/>
              <a:gd name="connsiteY37750" fmla="*/ 900487 h 4687251"/>
              <a:gd name="connsiteX37751" fmla="*/ 7299914 w 8079933"/>
              <a:gd name="connsiteY37751" fmla="*/ 900487 h 4687251"/>
              <a:gd name="connsiteX37752" fmla="*/ 7298178 w 8079933"/>
              <a:gd name="connsiteY37752" fmla="*/ 903735 h 4687251"/>
              <a:gd name="connsiteX37753" fmla="*/ 7296442 w 8079933"/>
              <a:gd name="connsiteY37753" fmla="*/ 903085 h 4687251"/>
              <a:gd name="connsiteX37754" fmla="*/ 7295356 w 8079933"/>
              <a:gd name="connsiteY37754" fmla="*/ 892258 h 4687251"/>
              <a:gd name="connsiteX37755" fmla="*/ 7297310 w 8079933"/>
              <a:gd name="connsiteY37755" fmla="*/ 889768 h 4687251"/>
              <a:gd name="connsiteX37756" fmla="*/ 7297310 w 8079933"/>
              <a:gd name="connsiteY37756" fmla="*/ 887061 h 4687251"/>
              <a:gd name="connsiteX37757" fmla="*/ 7296007 w 8079933"/>
              <a:gd name="connsiteY37757" fmla="*/ 881431 h 4687251"/>
              <a:gd name="connsiteX37758" fmla="*/ 7291016 w 8079933"/>
              <a:gd name="connsiteY37758" fmla="*/ 879374 h 4687251"/>
              <a:gd name="connsiteX37759" fmla="*/ 7292210 w 8079933"/>
              <a:gd name="connsiteY37759" fmla="*/ 877425 h 4687251"/>
              <a:gd name="connsiteX37760" fmla="*/ 7291558 w 8079933"/>
              <a:gd name="connsiteY37760" fmla="*/ 877425 h 4687251"/>
              <a:gd name="connsiteX37761" fmla="*/ 7291558 w 8079933"/>
              <a:gd name="connsiteY37761" fmla="*/ 874935 h 4687251"/>
              <a:gd name="connsiteX37762" fmla="*/ 7286242 w 8079933"/>
              <a:gd name="connsiteY37762" fmla="*/ 868763 h 4687251"/>
              <a:gd name="connsiteX37763" fmla="*/ 7285482 w 8079933"/>
              <a:gd name="connsiteY37763" fmla="*/ 865190 h 4687251"/>
              <a:gd name="connsiteX37764" fmla="*/ 7282552 w 8079933"/>
              <a:gd name="connsiteY37764" fmla="*/ 862484 h 4687251"/>
              <a:gd name="connsiteX37765" fmla="*/ 7282552 w 8079933"/>
              <a:gd name="connsiteY37765" fmla="*/ 857503 h 4687251"/>
              <a:gd name="connsiteX37766" fmla="*/ 7279947 w 8079933"/>
              <a:gd name="connsiteY37766" fmla="*/ 851549 h 4687251"/>
              <a:gd name="connsiteX37767" fmla="*/ 7279947 w 8079933"/>
              <a:gd name="connsiteY37767" fmla="*/ 847976 h 4687251"/>
              <a:gd name="connsiteX37768" fmla="*/ 7286350 w 8079933"/>
              <a:gd name="connsiteY37768" fmla="*/ 841371 h 4687251"/>
              <a:gd name="connsiteX37769" fmla="*/ 7291884 w 8079933"/>
              <a:gd name="connsiteY37769" fmla="*/ 842670 h 4687251"/>
              <a:gd name="connsiteX37770" fmla="*/ 7296767 w 8079933"/>
              <a:gd name="connsiteY37770" fmla="*/ 840938 h 4687251"/>
              <a:gd name="connsiteX37771" fmla="*/ 7293838 w 8079933"/>
              <a:gd name="connsiteY37771" fmla="*/ 838556 h 4687251"/>
              <a:gd name="connsiteX37772" fmla="*/ 7299914 w 8079933"/>
              <a:gd name="connsiteY37772" fmla="*/ 835091 h 4687251"/>
              <a:gd name="connsiteX37773" fmla="*/ 7297093 w 8079933"/>
              <a:gd name="connsiteY37773" fmla="*/ 835849 h 4687251"/>
              <a:gd name="connsiteX37774" fmla="*/ 7292210 w 8079933"/>
              <a:gd name="connsiteY37774" fmla="*/ 835308 h 4687251"/>
              <a:gd name="connsiteX37775" fmla="*/ 7289605 w 8079933"/>
              <a:gd name="connsiteY37775" fmla="*/ 834009 h 4687251"/>
              <a:gd name="connsiteX37776" fmla="*/ 7282986 w 8079933"/>
              <a:gd name="connsiteY37776" fmla="*/ 834009 h 4687251"/>
              <a:gd name="connsiteX37777" fmla="*/ 7276041 w 8079933"/>
              <a:gd name="connsiteY37777" fmla="*/ 828378 h 4687251"/>
              <a:gd name="connsiteX37778" fmla="*/ 7274196 w 8079933"/>
              <a:gd name="connsiteY37778" fmla="*/ 830111 h 4687251"/>
              <a:gd name="connsiteX37779" fmla="*/ 7268010 w 8079933"/>
              <a:gd name="connsiteY37779" fmla="*/ 830111 h 4687251"/>
              <a:gd name="connsiteX37780" fmla="*/ 7263670 w 8079933"/>
              <a:gd name="connsiteY37780" fmla="*/ 835200 h 4687251"/>
              <a:gd name="connsiteX37781" fmla="*/ 7258678 w 8079933"/>
              <a:gd name="connsiteY37781" fmla="*/ 835200 h 4687251"/>
              <a:gd name="connsiteX37782" fmla="*/ 7252384 w 8079933"/>
              <a:gd name="connsiteY37782" fmla="*/ 841154 h 4687251"/>
              <a:gd name="connsiteX37783" fmla="*/ 7254555 w 8079933"/>
              <a:gd name="connsiteY37783" fmla="*/ 843536 h 4687251"/>
              <a:gd name="connsiteX37784" fmla="*/ 7253904 w 8079933"/>
              <a:gd name="connsiteY37784" fmla="*/ 847542 h 4687251"/>
              <a:gd name="connsiteX37785" fmla="*/ 7259221 w 8079933"/>
              <a:gd name="connsiteY37785" fmla="*/ 851765 h 4687251"/>
              <a:gd name="connsiteX37786" fmla="*/ 7260306 w 8079933"/>
              <a:gd name="connsiteY37786" fmla="*/ 856745 h 4687251"/>
              <a:gd name="connsiteX37787" fmla="*/ 7258461 w 8079933"/>
              <a:gd name="connsiteY37787" fmla="*/ 858694 h 4687251"/>
              <a:gd name="connsiteX37788" fmla="*/ 7259980 w 8079933"/>
              <a:gd name="connsiteY37788" fmla="*/ 865623 h 4687251"/>
              <a:gd name="connsiteX37789" fmla="*/ 7264429 w 8079933"/>
              <a:gd name="connsiteY37789" fmla="*/ 869088 h 4687251"/>
              <a:gd name="connsiteX37790" fmla="*/ 7264429 w 8079933"/>
              <a:gd name="connsiteY37790" fmla="*/ 871686 h 4687251"/>
              <a:gd name="connsiteX37791" fmla="*/ 7267576 w 8079933"/>
              <a:gd name="connsiteY37791" fmla="*/ 873528 h 4687251"/>
              <a:gd name="connsiteX37792" fmla="*/ 7269964 w 8079933"/>
              <a:gd name="connsiteY37792" fmla="*/ 883380 h 4687251"/>
              <a:gd name="connsiteX37793" fmla="*/ 7277017 w 8079933"/>
              <a:gd name="connsiteY37793" fmla="*/ 886845 h 4687251"/>
              <a:gd name="connsiteX37794" fmla="*/ 7276150 w 8079933"/>
              <a:gd name="connsiteY37794" fmla="*/ 891826 h 4687251"/>
              <a:gd name="connsiteX37795" fmla="*/ 7279187 w 8079933"/>
              <a:gd name="connsiteY37795" fmla="*/ 895290 h 4687251"/>
              <a:gd name="connsiteX37796" fmla="*/ 7277343 w 8079933"/>
              <a:gd name="connsiteY37796" fmla="*/ 898213 h 4687251"/>
              <a:gd name="connsiteX37797" fmla="*/ 7273762 w 8079933"/>
              <a:gd name="connsiteY37797" fmla="*/ 895290 h 4687251"/>
              <a:gd name="connsiteX37798" fmla="*/ 7272026 w 8079933"/>
              <a:gd name="connsiteY37798" fmla="*/ 891500 h 4687251"/>
              <a:gd name="connsiteX37799" fmla="*/ 7265514 w 8079933"/>
              <a:gd name="connsiteY37799" fmla="*/ 893016 h 4687251"/>
              <a:gd name="connsiteX37800" fmla="*/ 7261825 w 8079933"/>
              <a:gd name="connsiteY37800" fmla="*/ 895831 h 4687251"/>
              <a:gd name="connsiteX37801" fmla="*/ 7259221 w 8079933"/>
              <a:gd name="connsiteY37801" fmla="*/ 903085 h 4687251"/>
              <a:gd name="connsiteX37802" fmla="*/ 7262042 w 8079933"/>
              <a:gd name="connsiteY37802" fmla="*/ 906008 h 4687251"/>
              <a:gd name="connsiteX37803" fmla="*/ 7260740 w 8079933"/>
              <a:gd name="connsiteY37803" fmla="*/ 913155 h 4687251"/>
              <a:gd name="connsiteX37804" fmla="*/ 7259004 w 8079933"/>
              <a:gd name="connsiteY37804" fmla="*/ 914454 h 4687251"/>
              <a:gd name="connsiteX37805" fmla="*/ 7259004 w 8079933"/>
              <a:gd name="connsiteY37805" fmla="*/ 916078 h 4687251"/>
              <a:gd name="connsiteX37806" fmla="*/ 7260740 w 8079933"/>
              <a:gd name="connsiteY37806" fmla="*/ 917269 h 4687251"/>
              <a:gd name="connsiteX37807" fmla="*/ 7260740 w 8079933"/>
              <a:gd name="connsiteY37807" fmla="*/ 921058 h 4687251"/>
              <a:gd name="connsiteX37808" fmla="*/ 7256724 w 8079933"/>
              <a:gd name="connsiteY37808" fmla="*/ 924848 h 4687251"/>
              <a:gd name="connsiteX37809" fmla="*/ 7260089 w 8079933"/>
              <a:gd name="connsiteY37809" fmla="*/ 927879 h 4687251"/>
              <a:gd name="connsiteX37810" fmla="*/ 7256942 w 8079933"/>
              <a:gd name="connsiteY37810" fmla="*/ 931236 h 4687251"/>
              <a:gd name="connsiteX37811" fmla="*/ 7256942 w 8079933"/>
              <a:gd name="connsiteY37811" fmla="*/ 943254 h 4687251"/>
              <a:gd name="connsiteX37812" fmla="*/ 7255097 w 8079933"/>
              <a:gd name="connsiteY37812" fmla="*/ 946177 h 4687251"/>
              <a:gd name="connsiteX37813" fmla="*/ 7255097 w 8079933"/>
              <a:gd name="connsiteY37813" fmla="*/ 949100 h 4687251"/>
              <a:gd name="connsiteX37814" fmla="*/ 7251624 w 8079933"/>
              <a:gd name="connsiteY37814" fmla="*/ 951266 h 4687251"/>
              <a:gd name="connsiteX37815" fmla="*/ 7248803 w 8079933"/>
              <a:gd name="connsiteY37815" fmla="*/ 958411 h 4687251"/>
              <a:gd name="connsiteX37816" fmla="*/ 7247283 w 8079933"/>
              <a:gd name="connsiteY37816" fmla="*/ 953106 h 4687251"/>
              <a:gd name="connsiteX37817" fmla="*/ 7243052 w 8079933"/>
              <a:gd name="connsiteY37817" fmla="*/ 949317 h 4687251"/>
              <a:gd name="connsiteX37818" fmla="*/ 7246958 w 8079933"/>
              <a:gd name="connsiteY37818" fmla="*/ 942279 h 4687251"/>
              <a:gd name="connsiteX37819" fmla="*/ 7244896 w 8079933"/>
              <a:gd name="connsiteY37819" fmla="*/ 939681 h 4687251"/>
              <a:gd name="connsiteX37820" fmla="*/ 7241641 w 8079933"/>
              <a:gd name="connsiteY37820" fmla="*/ 939681 h 4687251"/>
              <a:gd name="connsiteX37821" fmla="*/ 7237408 w 8079933"/>
              <a:gd name="connsiteY37821" fmla="*/ 943579 h 4687251"/>
              <a:gd name="connsiteX37822" fmla="*/ 7237408 w 8079933"/>
              <a:gd name="connsiteY37822" fmla="*/ 947260 h 4687251"/>
              <a:gd name="connsiteX37823" fmla="*/ 7235021 w 8079933"/>
              <a:gd name="connsiteY37823" fmla="*/ 949100 h 4687251"/>
              <a:gd name="connsiteX37824" fmla="*/ 7234261 w 8079933"/>
              <a:gd name="connsiteY37824" fmla="*/ 940655 h 4687251"/>
              <a:gd name="connsiteX37825" fmla="*/ 7229487 w 8079933"/>
              <a:gd name="connsiteY37825" fmla="*/ 939464 h 4687251"/>
              <a:gd name="connsiteX37826" fmla="*/ 7227859 w 8079933"/>
              <a:gd name="connsiteY37826" fmla="*/ 936108 h 4687251"/>
              <a:gd name="connsiteX37827" fmla="*/ 7223736 w 8079933"/>
              <a:gd name="connsiteY37827" fmla="*/ 940006 h 4687251"/>
              <a:gd name="connsiteX37828" fmla="*/ 7222216 w 8079933"/>
              <a:gd name="connsiteY37828" fmla="*/ 937624 h 4687251"/>
              <a:gd name="connsiteX37829" fmla="*/ 7223627 w 8079933"/>
              <a:gd name="connsiteY37829" fmla="*/ 935783 h 4687251"/>
              <a:gd name="connsiteX37830" fmla="*/ 7225689 w 8079933"/>
              <a:gd name="connsiteY37830" fmla="*/ 932752 h 4687251"/>
              <a:gd name="connsiteX37831" fmla="*/ 7224278 w 8079933"/>
              <a:gd name="connsiteY37831" fmla="*/ 930802 h 4687251"/>
              <a:gd name="connsiteX37832" fmla="*/ 7224278 w 8079933"/>
              <a:gd name="connsiteY37832" fmla="*/ 927122 h 4687251"/>
              <a:gd name="connsiteX37833" fmla="*/ 7225689 w 8079933"/>
              <a:gd name="connsiteY37833" fmla="*/ 927122 h 4687251"/>
              <a:gd name="connsiteX37834" fmla="*/ 7224278 w 8079933"/>
              <a:gd name="connsiteY37834" fmla="*/ 922032 h 4687251"/>
              <a:gd name="connsiteX37835" fmla="*/ 7222108 w 8079933"/>
              <a:gd name="connsiteY37835" fmla="*/ 920625 h 4687251"/>
              <a:gd name="connsiteX37836" fmla="*/ 7225255 w 8079933"/>
              <a:gd name="connsiteY37836" fmla="*/ 917161 h 4687251"/>
              <a:gd name="connsiteX37837" fmla="*/ 7223736 w 8079933"/>
              <a:gd name="connsiteY37837" fmla="*/ 912830 h 4687251"/>
              <a:gd name="connsiteX37838" fmla="*/ 7221674 w 8079933"/>
              <a:gd name="connsiteY37838" fmla="*/ 910340 h 4687251"/>
              <a:gd name="connsiteX37839" fmla="*/ 7223084 w 8079933"/>
              <a:gd name="connsiteY37839" fmla="*/ 908282 h 4687251"/>
              <a:gd name="connsiteX37840" fmla="*/ 7223084 w 8079933"/>
              <a:gd name="connsiteY37840" fmla="*/ 902544 h 4687251"/>
              <a:gd name="connsiteX37841" fmla="*/ 7218092 w 8079933"/>
              <a:gd name="connsiteY37841" fmla="*/ 898971 h 4687251"/>
              <a:gd name="connsiteX37842" fmla="*/ 7216682 w 8079933"/>
              <a:gd name="connsiteY37842" fmla="*/ 894965 h 4687251"/>
              <a:gd name="connsiteX37843" fmla="*/ 7214620 w 8079933"/>
              <a:gd name="connsiteY37843" fmla="*/ 894965 h 4687251"/>
              <a:gd name="connsiteX37844" fmla="*/ 7213643 w 8079933"/>
              <a:gd name="connsiteY37844" fmla="*/ 900703 h 4687251"/>
              <a:gd name="connsiteX37845" fmla="*/ 7210497 w 8079933"/>
              <a:gd name="connsiteY37845" fmla="*/ 901569 h 4687251"/>
              <a:gd name="connsiteX37846" fmla="*/ 7210497 w 8079933"/>
              <a:gd name="connsiteY37846" fmla="*/ 907524 h 4687251"/>
              <a:gd name="connsiteX37847" fmla="*/ 7206481 w 8079933"/>
              <a:gd name="connsiteY37847" fmla="*/ 912504 h 4687251"/>
              <a:gd name="connsiteX37848" fmla="*/ 7204636 w 8079933"/>
              <a:gd name="connsiteY37848" fmla="*/ 912504 h 4687251"/>
              <a:gd name="connsiteX37849" fmla="*/ 7201815 w 8079933"/>
              <a:gd name="connsiteY37849" fmla="*/ 906658 h 4687251"/>
              <a:gd name="connsiteX37850" fmla="*/ 7199970 w 8079933"/>
              <a:gd name="connsiteY37850" fmla="*/ 906658 h 4687251"/>
              <a:gd name="connsiteX37851" fmla="*/ 7197800 w 8079933"/>
              <a:gd name="connsiteY37851" fmla="*/ 908174 h 4687251"/>
              <a:gd name="connsiteX37852" fmla="*/ 7196823 w 8079933"/>
              <a:gd name="connsiteY37852" fmla="*/ 903626 h 4687251"/>
              <a:gd name="connsiteX37853" fmla="*/ 7191289 w 8079933"/>
              <a:gd name="connsiteY37853" fmla="*/ 903626 h 4687251"/>
              <a:gd name="connsiteX37854" fmla="*/ 7189661 w 8079933"/>
              <a:gd name="connsiteY37854" fmla="*/ 905251 h 4687251"/>
              <a:gd name="connsiteX37855" fmla="*/ 7187600 w 8079933"/>
              <a:gd name="connsiteY37855" fmla="*/ 905251 h 4687251"/>
              <a:gd name="connsiteX37856" fmla="*/ 7186623 w 8079933"/>
              <a:gd name="connsiteY37856" fmla="*/ 909798 h 4687251"/>
              <a:gd name="connsiteX37857" fmla="*/ 7183042 w 8079933"/>
              <a:gd name="connsiteY37857" fmla="*/ 910773 h 4687251"/>
              <a:gd name="connsiteX37858" fmla="*/ 7182391 w 8079933"/>
              <a:gd name="connsiteY37858" fmla="*/ 913046 h 4687251"/>
              <a:gd name="connsiteX37859" fmla="*/ 7173710 w 8079933"/>
              <a:gd name="connsiteY37859" fmla="*/ 913046 h 4687251"/>
              <a:gd name="connsiteX37860" fmla="*/ 7171213 w 8079933"/>
              <a:gd name="connsiteY37860" fmla="*/ 916619 h 4687251"/>
              <a:gd name="connsiteX37861" fmla="*/ 7167850 w 8079933"/>
              <a:gd name="connsiteY37861" fmla="*/ 915428 h 4687251"/>
              <a:gd name="connsiteX37862" fmla="*/ 7165028 w 8079933"/>
              <a:gd name="connsiteY37862" fmla="*/ 917485 h 4687251"/>
              <a:gd name="connsiteX37863" fmla="*/ 7159385 w 8079933"/>
              <a:gd name="connsiteY37863" fmla="*/ 916728 h 4687251"/>
              <a:gd name="connsiteX37864" fmla="*/ 7154177 w 8079933"/>
              <a:gd name="connsiteY37864" fmla="*/ 925173 h 4687251"/>
              <a:gd name="connsiteX37865" fmla="*/ 7151247 w 8079933"/>
              <a:gd name="connsiteY37865" fmla="*/ 926905 h 4687251"/>
              <a:gd name="connsiteX37866" fmla="*/ 7151898 w 8079933"/>
              <a:gd name="connsiteY37866" fmla="*/ 933401 h 4687251"/>
              <a:gd name="connsiteX37867" fmla="*/ 7147665 w 8079933"/>
              <a:gd name="connsiteY37867" fmla="*/ 936649 h 4687251"/>
              <a:gd name="connsiteX37868" fmla="*/ 7147665 w 8079933"/>
              <a:gd name="connsiteY37868" fmla="*/ 939031 h 4687251"/>
              <a:gd name="connsiteX37869" fmla="*/ 7150920 w 8079933"/>
              <a:gd name="connsiteY37869" fmla="*/ 941413 h 4687251"/>
              <a:gd name="connsiteX37870" fmla="*/ 7151789 w 8079933"/>
              <a:gd name="connsiteY37870" fmla="*/ 947585 h 4687251"/>
              <a:gd name="connsiteX37871" fmla="*/ 7156672 w 8079933"/>
              <a:gd name="connsiteY37871" fmla="*/ 954297 h 4687251"/>
              <a:gd name="connsiteX37872" fmla="*/ 7152766 w 8079933"/>
              <a:gd name="connsiteY37872" fmla="*/ 957654 h 4687251"/>
              <a:gd name="connsiteX37873" fmla="*/ 7150270 w 8079933"/>
              <a:gd name="connsiteY37873" fmla="*/ 974436 h 4687251"/>
              <a:gd name="connsiteX37874" fmla="*/ 7156239 w 8079933"/>
              <a:gd name="connsiteY37874" fmla="*/ 981148 h 4687251"/>
              <a:gd name="connsiteX37875" fmla="*/ 7151355 w 8079933"/>
              <a:gd name="connsiteY37875" fmla="*/ 982989 h 4687251"/>
              <a:gd name="connsiteX37876" fmla="*/ 7152766 w 8079933"/>
              <a:gd name="connsiteY37876" fmla="*/ 983855 h 4687251"/>
              <a:gd name="connsiteX37877" fmla="*/ 7152766 w 8079933"/>
              <a:gd name="connsiteY37877" fmla="*/ 989160 h 4687251"/>
              <a:gd name="connsiteX37878" fmla="*/ 7148208 w 8079933"/>
              <a:gd name="connsiteY37878" fmla="*/ 994033 h 4687251"/>
              <a:gd name="connsiteX37879" fmla="*/ 7148208 w 8079933"/>
              <a:gd name="connsiteY37879" fmla="*/ 1001287 h 4687251"/>
              <a:gd name="connsiteX37880" fmla="*/ 7144735 w 8079933"/>
              <a:gd name="connsiteY37880" fmla="*/ 1005617 h 4687251"/>
              <a:gd name="connsiteX37881" fmla="*/ 7144735 w 8079933"/>
              <a:gd name="connsiteY37881" fmla="*/ 1010923 h 4687251"/>
              <a:gd name="connsiteX37882" fmla="*/ 7142456 w 8079933"/>
              <a:gd name="connsiteY37882" fmla="*/ 1019260 h 4687251"/>
              <a:gd name="connsiteX37883" fmla="*/ 7146905 w 8079933"/>
              <a:gd name="connsiteY37883" fmla="*/ 1025323 h 4687251"/>
              <a:gd name="connsiteX37884" fmla="*/ 7143108 w 8079933"/>
              <a:gd name="connsiteY37884" fmla="*/ 1028246 h 4687251"/>
              <a:gd name="connsiteX37885" fmla="*/ 7149510 w 8079933"/>
              <a:gd name="connsiteY37885" fmla="*/ 1037016 h 4687251"/>
              <a:gd name="connsiteX37886" fmla="*/ 7147232 w 8079933"/>
              <a:gd name="connsiteY37886" fmla="*/ 1038316 h 4687251"/>
              <a:gd name="connsiteX37887" fmla="*/ 7145929 w 8079933"/>
              <a:gd name="connsiteY37887" fmla="*/ 1042429 h 4687251"/>
              <a:gd name="connsiteX37888" fmla="*/ 7149727 w 8079933"/>
              <a:gd name="connsiteY37888" fmla="*/ 1044486 h 4687251"/>
              <a:gd name="connsiteX37889" fmla="*/ 7151571 w 8079933"/>
              <a:gd name="connsiteY37889" fmla="*/ 1042755 h 4687251"/>
              <a:gd name="connsiteX37890" fmla="*/ 7156130 w 8079933"/>
              <a:gd name="connsiteY37890" fmla="*/ 1042755 h 4687251"/>
              <a:gd name="connsiteX37891" fmla="*/ 7156130 w 8079933"/>
              <a:gd name="connsiteY37891" fmla="*/ 1040373 h 4687251"/>
              <a:gd name="connsiteX37892" fmla="*/ 7157432 w 8079933"/>
              <a:gd name="connsiteY37892" fmla="*/ 1039614 h 4687251"/>
              <a:gd name="connsiteX37893" fmla="*/ 7161664 w 8079933"/>
              <a:gd name="connsiteY37893" fmla="*/ 1041888 h 4687251"/>
              <a:gd name="connsiteX37894" fmla="*/ 7164378 w 8079933"/>
              <a:gd name="connsiteY37894" fmla="*/ 1041888 h 4687251"/>
              <a:gd name="connsiteX37895" fmla="*/ 7164378 w 8079933"/>
              <a:gd name="connsiteY37895" fmla="*/ 1039939 h 4687251"/>
              <a:gd name="connsiteX37896" fmla="*/ 7164378 w 8079933"/>
              <a:gd name="connsiteY37896" fmla="*/ 1038965 h 4687251"/>
              <a:gd name="connsiteX37897" fmla="*/ 7167090 w 8079933"/>
              <a:gd name="connsiteY37897" fmla="*/ 1040805 h 4687251"/>
              <a:gd name="connsiteX37898" fmla="*/ 7171973 w 8079933"/>
              <a:gd name="connsiteY37898" fmla="*/ 1042755 h 4687251"/>
              <a:gd name="connsiteX37899" fmla="*/ 7171973 w 8079933"/>
              <a:gd name="connsiteY37899" fmla="*/ 1045245 h 4687251"/>
              <a:gd name="connsiteX37900" fmla="*/ 7171105 w 8079933"/>
              <a:gd name="connsiteY37900" fmla="*/ 1046977 h 4687251"/>
              <a:gd name="connsiteX37901" fmla="*/ 7175229 w 8079933"/>
              <a:gd name="connsiteY37901" fmla="*/ 1051416 h 4687251"/>
              <a:gd name="connsiteX37902" fmla="*/ 7174360 w 8079933"/>
              <a:gd name="connsiteY37902" fmla="*/ 1053798 h 4687251"/>
              <a:gd name="connsiteX37903" fmla="*/ 7171213 w 8079933"/>
              <a:gd name="connsiteY37903" fmla="*/ 1053798 h 4687251"/>
              <a:gd name="connsiteX37904" fmla="*/ 7168284 w 8079933"/>
              <a:gd name="connsiteY37904" fmla="*/ 1055747 h 4687251"/>
              <a:gd name="connsiteX37905" fmla="*/ 7164920 w 8079933"/>
              <a:gd name="connsiteY37905" fmla="*/ 1054339 h 4687251"/>
              <a:gd name="connsiteX37906" fmla="*/ 7161230 w 8079933"/>
              <a:gd name="connsiteY37906" fmla="*/ 1056721 h 4687251"/>
              <a:gd name="connsiteX37907" fmla="*/ 7161230 w 8079933"/>
              <a:gd name="connsiteY37907" fmla="*/ 1058237 h 4687251"/>
              <a:gd name="connsiteX37908" fmla="*/ 7164160 w 8079933"/>
              <a:gd name="connsiteY37908" fmla="*/ 1060835 h 4687251"/>
              <a:gd name="connsiteX37909" fmla="*/ 7157866 w 8079933"/>
              <a:gd name="connsiteY37909" fmla="*/ 1066898 h 4687251"/>
              <a:gd name="connsiteX37910" fmla="*/ 7154610 w 8079933"/>
              <a:gd name="connsiteY37910" fmla="*/ 1065166 h 4687251"/>
              <a:gd name="connsiteX37911" fmla="*/ 7153960 w 8079933"/>
              <a:gd name="connsiteY37911" fmla="*/ 1061485 h 4687251"/>
              <a:gd name="connsiteX37912" fmla="*/ 7151464 w 8079933"/>
              <a:gd name="connsiteY37912" fmla="*/ 1059212 h 4687251"/>
              <a:gd name="connsiteX37913" fmla="*/ 7148100 w 8079933"/>
              <a:gd name="connsiteY37913" fmla="*/ 1061161 h 4687251"/>
              <a:gd name="connsiteX37914" fmla="*/ 7145278 w 8079933"/>
              <a:gd name="connsiteY37914" fmla="*/ 1059103 h 4687251"/>
              <a:gd name="connsiteX37915" fmla="*/ 7142022 w 8079933"/>
              <a:gd name="connsiteY37915" fmla="*/ 1060402 h 4687251"/>
              <a:gd name="connsiteX37916" fmla="*/ 7142782 w 8079933"/>
              <a:gd name="connsiteY37916" fmla="*/ 1063542 h 4687251"/>
              <a:gd name="connsiteX37917" fmla="*/ 7142782 w 8079933"/>
              <a:gd name="connsiteY37917" fmla="*/ 1067657 h 4687251"/>
              <a:gd name="connsiteX37918" fmla="*/ 7141371 w 8079933"/>
              <a:gd name="connsiteY37918" fmla="*/ 1067657 h 4687251"/>
              <a:gd name="connsiteX37919" fmla="*/ 7139093 w 8079933"/>
              <a:gd name="connsiteY37919" fmla="*/ 1070797 h 4687251"/>
              <a:gd name="connsiteX37920" fmla="*/ 7135946 w 8079933"/>
              <a:gd name="connsiteY37920" fmla="*/ 1073070 h 4687251"/>
              <a:gd name="connsiteX37921" fmla="*/ 7138116 w 8079933"/>
              <a:gd name="connsiteY37921" fmla="*/ 1075236 h 4687251"/>
              <a:gd name="connsiteX37922" fmla="*/ 7135946 w 8079933"/>
              <a:gd name="connsiteY37922" fmla="*/ 1078267 h 4687251"/>
              <a:gd name="connsiteX37923" fmla="*/ 7132474 w 8079933"/>
              <a:gd name="connsiteY37923" fmla="*/ 1077726 h 4687251"/>
              <a:gd name="connsiteX37924" fmla="*/ 7126504 w 8079933"/>
              <a:gd name="connsiteY37924" fmla="*/ 1071555 h 4687251"/>
              <a:gd name="connsiteX37925" fmla="*/ 7123575 w 8079933"/>
              <a:gd name="connsiteY37925" fmla="*/ 1071555 h 4687251"/>
              <a:gd name="connsiteX37926" fmla="*/ 7127155 w 8079933"/>
              <a:gd name="connsiteY37926" fmla="*/ 1076643 h 4687251"/>
              <a:gd name="connsiteX37927" fmla="*/ 7122273 w 8079933"/>
              <a:gd name="connsiteY37927" fmla="*/ 1079025 h 4687251"/>
              <a:gd name="connsiteX37928" fmla="*/ 7123358 w 8079933"/>
              <a:gd name="connsiteY37928" fmla="*/ 1080865 h 4687251"/>
              <a:gd name="connsiteX37929" fmla="*/ 7120319 w 8079933"/>
              <a:gd name="connsiteY37929" fmla="*/ 1084871 h 4687251"/>
              <a:gd name="connsiteX37930" fmla="*/ 7113048 w 8079933"/>
              <a:gd name="connsiteY37930" fmla="*/ 1087037 h 4687251"/>
              <a:gd name="connsiteX37931" fmla="*/ 7111095 w 8079933"/>
              <a:gd name="connsiteY37931" fmla="*/ 1089419 h 4687251"/>
              <a:gd name="connsiteX37932" fmla="*/ 7104801 w 8079933"/>
              <a:gd name="connsiteY37932" fmla="*/ 1080757 h 4687251"/>
              <a:gd name="connsiteX37933" fmla="*/ 7101003 w 8079933"/>
              <a:gd name="connsiteY37933" fmla="*/ 1080757 h 4687251"/>
              <a:gd name="connsiteX37934" fmla="*/ 7099050 w 8079933"/>
              <a:gd name="connsiteY37934" fmla="*/ 1079458 h 4687251"/>
              <a:gd name="connsiteX37935" fmla="*/ 7100352 w 8079933"/>
              <a:gd name="connsiteY37935" fmla="*/ 1077076 h 4687251"/>
              <a:gd name="connsiteX37936" fmla="*/ 7104367 w 8079933"/>
              <a:gd name="connsiteY37936" fmla="*/ 1077076 h 4687251"/>
              <a:gd name="connsiteX37937" fmla="*/ 7104367 w 8079933"/>
              <a:gd name="connsiteY37937" fmla="*/ 1072204 h 4687251"/>
              <a:gd name="connsiteX37938" fmla="*/ 7106212 w 8079933"/>
              <a:gd name="connsiteY37938" fmla="*/ 1069714 h 4687251"/>
              <a:gd name="connsiteX37939" fmla="*/ 7113591 w 8079933"/>
              <a:gd name="connsiteY37939" fmla="*/ 1069714 h 4687251"/>
              <a:gd name="connsiteX37940" fmla="*/ 7121947 w 8079933"/>
              <a:gd name="connsiteY37940" fmla="*/ 1063542 h 4687251"/>
              <a:gd name="connsiteX37941" fmla="*/ 7120862 w 8079933"/>
              <a:gd name="connsiteY37941" fmla="*/ 1060619 h 4687251"/>
              <a:gd name="connsiteX37942" fmla="*/ 7117064 w 8079933"/>
              <a:gd name="connsiteY37942" fmla="*/ 1059861 h 4687251"/>
              <a:gd name="connsiteX37943" fmla="*/ 7112940 w 8079933"/>
              <a:gd name="connsiteY37943" fmla="*/ 1063867 h 4687251"/>
              <a:gd name="connsiteX37944" fmla="*/ 7106972 w 8079933"/>
              <a:gd name="connsiteY37944" fmla="*/ 1062784 h 4687251"/>
              <a:gd name="connsiteX37945" fmla="*/ 7106972 w 8079933"/>
              <a:gd name="connsiteY37945" fmla="*/ 1060619 h 4687251"/>
              <a:gd name="connsiteX37946" fmla="*/ 7102414 w 8079933"/>
              <a:gd name="connsiteY37946" fmla="*/ 1057155 h 4687251"/>
              <a:gd name="connsiteX37947" fmla="*/ 7098073 w 8079933"/>
              <a:gd name="connsiteY37947" fmla="*/ 1057155 h 4687251"/>
              <a:gd name="connsiteX37948" fmla="*/ 7091237 w 8079933"/>
              <a:gd name="connsiteY37948" fmla="*/ 1055855 h 4687251"/>
              <a:gd name="connsiteX37949" fmla="*/ 7084183 w 8079933"/>
              <a:gd name="connsiteY37949" fmla="*/ 1055855 h 4687251"/>
              <a:gd name="connsiteX37950" fmla="*/ 7086136 w 8079933"/>
              <a:gd name="connsiteY37950" fmla="*/ 1059320 h 4687251"/>
              <a:gd name="connsiteX37951" fmla="*/ 7083098 w 8079933"/>
              <a:gd name="connsiteY37951" fmla="*/ 1060186 h 4687251"/>
              <a:gd name="connsiteX37952" fmla="*/ 7080060 w 8079933"/>
              <a:gd name="connsiteY37952" fmla="*/ 1058020 h 4687251"/>
              <a:gd name="connsiteX37953" fmla="*/ 7080060 w 8079933"/>
              <a:gd name="connsiteY37953" fmla="*/ 1055639 h 4687251"/>
              <a:gd name="connsiteX37954" fmla="*/ 7073548 w 8079933"/>
              <a:gd name="connsiteY37954" fmla="*/ 1055639 h 4687251"/>
              <a:gd name="connsiteX37955" fmla="*/ 7065084 w 8079933"/>
              <a:gd name="connsiteY37955" fmla="*/ 1053473 h 4687251"/>
              <a:gd name="connsiteX37956" fmla="*/ 7061287 w 8079933"/>
              <a:gd name="connsiteY37956" fmla="*/ 1055422 h 4687251"/>
              <a:gd name="connsiteX37957" fmla="*/ 7057705 w 8079933"/>
              <a:gd name="connsiteY37957" fmla="*/ 1052715 h 4687251"/>
              <a:gd name="connsiteX37958" fmla="*/ 7050869 w 8079933"/>
              <a:gd name="connsiteY37958" fmla="*/ 1052715 h 4687251"/>
              <a:gd name="connsiteX37959" fmla="*/ 7044574 w 8079933"/>
              <a:gd name="connsiteY37959" fmla="*/ 1060294 h 4687251"/>
              <a:gd name="connsiteX37960" fmla="*/ 7041536 w 8079933"/>
              <a:gd name="connsiteY37960" fmla="*/ 1060294 h 4687251"/>
              <a:gd name="connsiteX37961" fmla="*/ 7041536 w 8079933"/>
              <a:gd name="connsiteY37961" fmla="*/ 1063326 h 4687251"/>
              <a:gd name="connsiteX37962" fmla="*/ 7047830 w 8079933"/>
              <a:gd name="connsiteY37962" fmla="*/ 1067332 h 4687251"/>
              <a:gd name="connsiteX37963" fmla="*/ 7040994 w 8079933"/>
              <a:gd name="connsiteY37963" fmla="*/ 1070039 h 4687251"/>
              <a:gd name="connsiteX37964" fmla="*/ 7039908 w 8079933"/>
              <a:gd name="connsiteY37964" fmla="*/ 1066574 h 4687251"/>
              <a:gd name="connsiteX37965" fmla="*/ 7036327 w 8079933"/>
              <a:gd name="connsiteY37965" fmla="*/ 1072204 h 4687251"/>
              <a:gd name="connsiteX37966" fmla="*/ 7042078 w 8079933"/>
              <a:gd name="connsiteY37966" fmla="*/ 1075236 h 4687251"/>
              <a:gd name="connsiteX37967" fmla="*/ 7044032 w 8079933"/>
              <a:gd name="connsiteY37967" fmla="*/ 1073612 h 4687251"/>
              <a:gd name="connsiteX37968" fmla="*/ 7046962 w 8079933"/>
              <a:gd name="connsiteY37968" fmla="*/ 1075236 h 4687251"/>
              <a:gd name="connsiteX37969" fmla="*/ 7046962 w 8079933"/>
              <a:gd name="connsiteY37969" fmla="*/ 1078808 h 4687251"/>
              <a:gd name="connsiteX37970" fmla="*/ 7037738 w 8079933"/>
              <a:gd name="connsiteY37970" fmla="*/ 1082381 h 4687251"/>
              <a:gd name="connsiteX37971" fmla="*/ 7034482 w 8079933"/>
              <a:gd name="connsiteY37971" fmla="*/ 1078375 h 4687251"/>
              <a:gd name="connsiteX37972" fmla="*/ 7026670 w 8079933"/>
              <a:gd name="connsiteY37972" fmla="*/ 1078375 h 4687251"/>
              <a:gd name="connsiteX37973" fmla="*/ 7023739 w 8079933"/>
              <a:gd name="connsiteY37973" fmla="*/ 1080541 h 4687251"/>
              <a:gd name="connsiteX37974" fmla="*/ 7025042 w 8079933"/>
              <a:gd name="connsiteY37974" fmla="*/ 1084547 h 4687251"/>
              <a:gd name="connsiteX37975" fmla="*/ 7021460 w 8079933"/>
              <a:gd name="connsiteY37975" fmla="*/ 1084547 h 4687251"/>
              <a:gd name="connsiteX37976" fmla="*/ 7018748 w 8079933"/>
              <a:gd name="connsiteY37976" fmla="*/ 1087470 h 4687251"/>
              <a:gd name="connsiteX37977" fmla="*/ 7016360 w 8079933"/>
              <a:gd name="connsiteY37977" fmla="*/ 1087470 h 4687251"/>
              <a:gd name="connsiteX37978" fmla="*/ 7014732 w 8079933"/>
              <a:gd name="connsiteY37978" fmla="*/ 1084006 h 4687251"/>
              <a:gd name="connsiteX37979" fmla="*/ 7004966 w 8079933"/>
              <a:gd name="connsiteY37979" fmla="*/ 1084006 h 4687251"/>
              <a:gd name="connsiteX37980" fmla="*/ 7000951 w 8079933"/>
              <a:gd name="connsiteY37980" fmla="*/ 1086387 h 4687251"/>
              <a:gd name="connsiteX37981" fmla="*/ 6991727 w 8079933"/>
              <a:gd name="connsiteY37981" fmla="*/ 1085088 h 4687251"/>
              <a:gd name="connsiteX37982" fmla="*/ 6986301 w 8079933"/>
              <a:gd name="connsiteY37982" fmla="*/ 1088012 h 4687251"/>
              <a:gd name="connsiteX37983" fmla="*/ 6986301 w 8079933"/>
              <a:gd name="connsiteY37983" fmla="*/ 1090393 h 4687251"/>
              <a:gd name="connsiteX37984" fmla="*/ 6993138 w 8079933"/>
              <a:gd name="connsiteY37984" fmla="*/ 1095590 h 4687251"/>
              <a:gd name="connsiteX37985" fmla="*/ 6989340 w 8079933"/>
              <a:gd name="connsiteY37985" fmla="*/ 1098838 h 4687251"/>
              <a:gd name="connsiteX37986" fmla="*/ 6986952 w 8079933"/>
              <a:gd name="connsiteY37986" fmla="*/ 1103494 h 4687251"/>
              <a:gd name="connsiteX37987" fmla="*/ 6982612 w 8079933"/>
              <a:gd name="connsiteY37987" fmla="*/ 1099380 h 4687251"/>
              <a:gd name="connsiteX37988" fmla="*/ 6979139 w 8079933"/>
              <a:gd name="connsiteY37988" fmla="*/ 1098081 h 4687251"/>
              <a:gd name="connsiteX37989" fmla="*/ 6981092 w 8079933"/>
              <a:gd name="connsiteY37989" fmla="*/ 1092883 h 4687251"/>
              <a:gd name="connsiteX37990" fmla="*/ 6976969 w 8079933"/>
              <a:gd name="connsiteY37990" fmla="*/ 1090177 h 4687251"/>
              <a:gd name="connsiteX37991" fmla="*/ 6974798 w 8079933"/>
              <a:gd name="connsiteY37991" fmla="*/ 1093750 h 4687251"/>
              <a:gd name="connsiteX37992" fmla="*/ 6970674 w 8079933"/>
              <a:gd name="connsiteY37992" fmla="*/ 1094291 h 4687251"/>
              <a:gd name="connsiteX37993" fmla="*/ 6966551 w 8079933"/>
              <a:gd name="connsiteY37993" fmla="*/ 1094291 h 4687251"/>
              <a:gd name="connsiteX37994" fmla="*/ 6961668 w 8079933"/>
              <a:gd name="connsiteY37994" fmla="*/ 1097756 h 4687251"/>
              <a:gd name="connsiteX37995" fmla="*/ 6956785 w 8079933"/>
              <a:gd name="connsiteY37995" fmla="*/ 1097756 h 4687251"/>
              <a:gd name="connsiteX37996" fmla="*/ 6949731 w 8079933"/>
              <a:gd name="connsiteY37996" fmla="*/ 1102087 h 4687251"/>
              <a:gd name="connsiteX37997" fmla="*/ 6942677 w 8079933"/>
              <a:gd name="connsiteY37997" fmla="*/ 1102087 h 4687251"/>
              <a:gd name="connsiteX37998" fmla="*/ 6934322 w 8079933"/>
              <a:gd name="connsiteY37998" fmla="*/ 1108799 h 4687251"/>
              <a:gd name="connsiteX37999" fmla="*/ 6929330 w 8079933"/>
              <a:gd name="connsiteY37999" fmla="*/ 1109666 h 4687251"/>
              <a:gd name="connsiteX38000" fmla="*/ 6926075 w 8079933"/>
              <a:gd name="connsiteY38000" fmla="*/ 1106201 h 4687251"/>
              <a:gd name="connsiteX38001" fmla="*/ 6923036 w 8079933"/>
              <a:gd name="connsiteY38001" fmla="*/ 1106201 h 4687251"/>
              <a:gd name="connsiteX38002" fmla="*/ 6921734 w 8079933"/>
              <a:gd name="connsiteY38002" fmla="*/ 1110857 h 4687251"/>
              <a:gd name="connsiteX38003" fmla="*/ 6913052 w 8079933"/>
              <a:gd name="connsiteY38003" fmla="*/ 1117353 h 4687251"/>
              <a:gd name="connsiteX38004" fmla="*/ 6911750 w 8079933"/>
              <a:gd name="connsiteY38004" fmla="*/ 1122442 h 4687251"/>
              <a:gd name="connsiteX38005" fmla="*/ 6902743 w 8079933"/>
              <a:gd name="connsiteY38005" fmla="*/ 1126772 h 4687251"/>
              <a:gd name="connsiteX38006" fmla="*/ 6901875 w 8079933"/>
              <a:gd name="connsiteY38006" fmla="*/ 1132185 h 4687251"/>
              <a:gd name="connsiteX38007" fmla="*/ 6908060 w 8079933"/>
              <a:gd name="connsiteY38007" fmla="*/ 1141714 h 4687251"/>
              <a:gd name="connsiteX38008" fmla="*/ 6906433 w 8079933"/>
              <a:gd name="connsiteY38008" fmla="*/ 1150917 h 4687251"/>
              <a:gd name="connsiteX38009" fmla="*/ 6899380 w 8079933"/>
              <a:gd name="connsiteY38009" fmla="*/ 1158820 h 4687251"/>
              <a:gd name="connsiteX38010" fmla="*/ 6895907 w 8079933"/>
              <a:gd name="connsiteY38010" fmla="*/ 1166399 h 4687251"/>
              <a:gd name="connsiteX38011" fmla="*/ 6897318 w 8079933"/>
              <a:gd name="connsiteY38011" fmla="*/ 1172354 h 4687251"/>
              <a:gd name="connsiteX38012" fmla="*/ 6897318 w 8079933"/>
              <a:gd name="connsiteY38012" fmla="*/ 1181774 h 4687251"/>
              <a:gd name="connsiteX38013" fmla="*/ 6899488 w 8079933"/>
              <a:gd name="connsiteY38013" fmla="*/ 1185347 h 4687251"/>
              <a:gd name="connsiteX38014" fmla="*/ 6899488 w 8079933"/>
              <a:gd name="connsiteY38014" fmla="*/ 1190544 h 4687251"/>
              <a:gd name="connsiteX38015" fmla="*/ 6897318 w 8079933"/>
              <a:gd name="connsiteY38015" fmla="*/ 1190544 h 4687251"/>
              <a:gd name="connsiteX38016" fmla="*/ 6894279 w 8079933"/>
              <a:gd name="connsiteY38016" fmla="*/ 1192384 h 4687251"/>
              <a:gd name="connsiteX38017" fmla="*/ 6894279 w 8079933"/>
              <a:gd name="connsiteY38017" fmla="*/ 1198014 h 4687251"/>
              <a:gd name="connsiteX38018" fmla="*/ 6891892 w 8079933"/>
              <a:gd name="connsiteY38018" fmla="*/ 1199855 h 4687251"/>
              <a:gd name="connsiteX38019" fmla="*/ 6894604 w 8079933"/>
              <a:gd name="connsiteY38019" fmla="*/ 1207975 h 4687251"/>
              <a:gd name="connsiteX38020" fmla="*/ 6889938 w 8079933"/>
              <a:gd name="connsiteY38020" fmla="*/ 1211440 h 4687251"/>
              <a:gd name="connsiteX38021" fmla="*/ 6889179 w 8079933"/>
              <a:gd name="connsiteY38021" fmla="*/ 1217612 h 4687251"/>
              <a:gd name="connsiteX38022" fmla="*/ 6882668 w 8079933"/>
              <a:gd name="connsiteY38022" fmla="*/ 1225515 h 4687251"/>
              <a:gd name="connsiteX38023" fmla="*/ 6883753 w 8079933"/>
              <a:gd name="connsiteY38023" fmla="*/ 1230712 h 4687251"/>
              <a:gd name="connsiteX38024" fmla="*/ 6879955 w 8079933"/>
              <a:gd name="connsiteY38024" fmla="*/ 1232661 h 4687251"/>
              <a:gd name="connsiteX38025" fmla="*/ 6878652 w 8079933"/>
              <a:gd name="connsiteY38025" fmla="*/ 1241539 h 4687251"/>
              <a:gd name="connsiteX38026" fmla="*/ 6876808 w 8079933"/>
              <a:gd name="connsiteY38026" fmla="*/ 1241539 h 4687251"/>
              <a:gd name="connsiteX38027" fmla="*/ 6874096 w 8079933"/>
              <a:gd name="connsiteY38027" fmla="*/ 1253124 h 4687251"/>
              <a:gd name="connsiteX38028" fmla="*/ 6874096 w 8079933"/>
              <a:gd name="connsiteY38028" fmla="*/ 1261786 h 4687251"/>
              <a:gd name="connsiteX38029" fmla="*/ 6872467 w 8079933"/>
              <a:gd name="connsiteY38029" fmla="*/ 1264709 h 4687251"/>
              <a:gd name="connsiteX38030" fmla="*/ 6874420 w 8079933"/>
              <a:gd name="connsiteY38030" fmla="*/ 1270123 h 4687251"/>
              <a:gd name="connsiteX38031" fmla="*/ 6870948 w 8079933"/>
              <a:gd name="connsiteY38031" fmla="*/ 1275320 h 4687251"/>
              <a:gd name="connsiteX38032" fmla="*/ 6870080 w 8079933"/>
              <a:gd name="connsiteY38032" fmla="*/ 1280733 h 4687251"/>
              <a:gd name="connsiteX38033" fmla="*/ 6865522 w 8079933"/>
              <a:gd name="connsiteY38033" fmla="*/ 1287771 h 4687251"/>
              <a:gd name="connsiteX38034" fmla="*/ 6865522 w 8079933"/>
              <a:gd name="connsiteY38034" fmla="*/ 1290261 h 4687251"/>
              <a:gd name="connsiteX38035" fmla="*/ 6863135 w 8079933"/>
              <a:gd name="connsiteY38035" fmla="*/ 1291127 h 4687251"/>
              <a:gd name="connsiteX38036" fmla="*/ 6863135 w 8079933"/>
              <a:gd name="connsiteY38036" fmla="*/ 1297299 h 4687251"/>
              <a:gd name="connsiteX38037" fmla="*/ 6855864 w 8079933"/>
              <a:gd name="connsiteY38037" fmla="*/ 1303254 h 4687251"/>
              <a:gd name="connsiteX38038" fmla="*/ 6855864 w 8079933"/>
              <a:gd name="connsiteY38038" fmla="*/ 1311157 h 4687251"/>
              <a:gd name="connsiteX38039" fmla="*/ 6849136 w 8079933"/>
              <a:gd name="connsiteY38039" fmla="*/ 1317329 h 4687251"/>
              <a:gd name="connsiteX38040" fmla="*/ 6849136 w 8079933"/>
              <a:gd name="connsiteY38040" fmla="*/ 1321551 h 4687251"/>
              <a:gd name="connsiteX38041" fmla="*/ 6844470 w 8079933"/>
              <a:gd name="connsiteY38041" fmla="*/ 1328805 h 4687251"/>
              <a:gd name="connsiteX38042" fmla="*/ 6843168 w 8079933"/>
              <a:gd name="connsiteY38042" fmla="*/ 1333785 h 4687251"/>
              <a:gd name="connsiteX38043" fmla="*/ 6840780 w 8079933"/>
              <a:gd name="connsiteY38043" fmla="*/ 1338008 h 4687251"/>
              <a:gd name="connsiteX38044" fmla="*/ 6843385 w 8079933"/>
              <a:gd name="connsiteY38044" fmla="*/ 1342447 h 4687251"/>
              <a:gd name="connsiteX38045" fmla="*/ 6847834 w 8079933"/>
              <a:gd name="connsiteY38045" fmla="*/ 1345479 h 4687251"/>
              <a:gd name="connsiteX38046" fmla="*/ 6852392 w 8079933"/>
              <a:gd name="connsiteY38046" fmla="*/ 1343747 h 4687251"/>
              <a:gd name="connsiteX38047" fmla="*/ 6856407 w 8079933"/>
              <a:gd name="connsiteY38047" fmla="*/ 1347319 h 4687251"/>
              <a:gd name="connsiteX38048" fmla="*/ 6861073 w 8079933"/>
              <a:gd name="connsiteY38048" fmla="*/ 1347319 h 4687251"/>
              <a:gd name="connsiteX38049" fmla="*/ 6867041 w 8079933"/>
              <a:gd name="connsiteY38049" fmla="*/ 1342989 h 4687251"/>
              <a:gd name="connsiteX38050" fmla="*/ 6870730 w 8079933"/>
              <a:gd name="connsiteY38050" fmla="*/ 1341690 h 4687251"/>
              <a:gd name="connsiteX38051" fmla="*/ 6874746 w 8079933"/>
              <a:gd name="connsiteY38051" fmla="*/ 1338983 h 4687251"/>
              <a:gd name="connsiteX38052" fmla="*/ 6876916 w 8079933"/>
              <a:gd name="connsiteY38052" fmla="*/ 1338983 h 4687251"/>
              <a:gd name="connsiteX38053" fmla="*/ 6882125 w 8079933"/>
              <a:gd name="connsiteY38053" fmla="*/ 1337575 h 4687251"/>
              <a:gd name="connsiteX38054" fmla="*/ 6882125 w 8079933"/>
              <a:gd name="connsiteY38054" fmla="*/ 1349810 h 4687251"/>
              <a:gd name="connsiteX38055" fmla="*/ 6887551 w 8079933"/>
              <a:gd name="connsiteY38055" fmla="*/ 1357064 h 4687251"/>
              <a:gd name="connsiteX38056" fmla="*/ 6889504 w 8079933"/>
              <a:gd name="connsiteY38056" fmla="*/ 1364426 h 4687251"/>
              <a:gd name="connsiteX38057" fmla="*/ 6888636 w 8079933"/>
              <a:gd name="connsiteY38057" fmla="*/ 1370598 h 4687251"/>
              <a:gd name="connsiteX38058" fmla="*/ 6894822 w 8079933"/>
              <a:gd name="connsiteY38058" fmla="*/ 1375794 h 4687251"/>
              <a:gd name="connsiteX38059" fmla="*/ 6898077 w 8079933"/>
              <a:gd name="connsiteY38059" fmla="*/ 1371788 h 4687251"/>
              <a:gd name="connsiteX38060" fmla="*/ 6899380 w 8079933"/>
              <a:gd name="connsiteY38060" fmla="*/ 1371788 h 4687251"/>
              <a:gd name="connsiteX38061" fmla="*/ 6902310 w 8079933"/>
              <a:gd name="connsiteY38061" fmla="*/ 1369840 h 4687251"/>
              <a:gd name="connsiteX38062" fmla="*/ 6904480 w 8079933"/>
              <a:gd name="connsiteY38062" fmla="*/ 1365184 h 4687251"/>
              <a:gd name="connsiteX38063" fmla="*/ 6905401 w 8079933"/>
              <a:gd name="connsiteY38063" fmla="*/ 1364817 h 4687251"/>
              <a:gd name="connsiteX38064" fmla="*/ 6901985 w 8079933"/>
              <a:gd name="connsiteY38064" fmla="*/ 1362260 h 4687251"/>
              <a:gd name="connsiteX38065" fmla="*/ 6901442 w 8079933"/>
              <a:gd name="connsiteY38065" fmla="*/ 1358795 h 4687251"/>
              <a:gd name="connsiteX38066" fmla="*/ 6905457 w 8079933"/>
              <a:gd name="connsiteY38066" fmla="*/ 1353381 h 4687251"/>
              <a:gd name="connsiteX38067" fmla="*/ 6912510 w 8079933"/>
              <a:gd name="connsiteY38067" fmla="*/ 1351649 h 4687251"/>
              <a:gd name="connsiteX38068" fmla="*/ 6911208 w 8079933"/>
              <a:gd name="connsiteY38068" fmla="*/ 1354573 h 4687251"/>
              <a:gd name="connsiteX38069" fmla="*/ 6912293 w 8079933"/>
              <a:gd name="connsiteY38069" fmla="*/ 1355871 h 4687251"/>
              <a:gd name="connsiteX38070" fmla="*/ 6910774 w 8079933"/>
              <a:gd name="connsiteY38070" fmla="*/ 1359661 h 4687251"/>
              <a:gd name="connsiteX38071" fmla="*/ 6908170 w 8079933"/>
              <a:gd name="connsiteY38071" fmla="*/ 1360419 h 4687251"/>
              <a:gd name="connsiteX38072" fmla="*/ 6905509 w 8079933"/>
              <a:gd name="connsiteY38072" fmla="*/ 1364774 h 4687251"/>
              <a:gd name="connsiteX38073" fmla="*/ 6907735 w 8079933"/>
              <a:gd name="connsiteY38073" fmla="*/ 1363885 h 4687251"/>
              <a:gd name="connsiteX38074" fmla="*/ 6909580 w 8079933"/>
              <a:gd name="connsiteY38074" fmla="*/ 1366592 h 4687251"/>
              <a:gd name="connsiteX38075" fmla="*/ 6912292 w 8079933"/>
              <a:gd name="connsiteY38075" fmla="*/ 1364102 h 4687251"/>
              <a:gd name="connsiteX38076" fmla="*/ 6917502 w 8079933"/>
              <a:gd name="connsiteY38076" fmla="*/ 1364102 h 4687251"/>
              <a:gd name="connsiteX38077" fmla="*/ 6915548 w 8079933"/>
              <a:gd name="connsiteY38077" fmla="*/ 1366050 h 4687251"/>
              <a:gd name="connsiteX38078" fmla="*/ 6913378 w 8079933"/>
              <a:gd name="connsiteY38078" fmla="*/ 1369623 h 4687251"/>
              <a:gd name="connsiteX38079" fmla="*/ 6913378 w 8079933"/>
              <a:gd name="connsiteY38079" fmla="*/ 1376444 h 4687251"/>
              <a:gd name="connsiteX38080" fmla="*/ 6910666 w 8079933"/>
              <a:gd name="connsiteY38080" fmla="*/ 1376444 h 4687251"/>
              <a:gd name="connsiteX38081" fmla="*/ 6906867 w 8079933"/>
              <a:gd name="connsiteY38081" fmla="*/ 1380017 h 4687251"/>
              <a:gd name="connsiteX38082" fmla="*/ 6908278 w 8079933"/>
              <a:gd name="connsiteY38082" fmla="*/ 1382182 h 4687251"/>
              <a:gd name="connsiteX38083" fmla="*/ 6919130 w 8079933"/>
              <a:gd name="connsiteY38083" fmla="*/ 1380559 h 4687251"/>
              <a:gd name="connsiteX38084" fmla="*/ 6924772 w 8079933"/>
              <a:gd name="connsiteY38084" fmla="*/ 1377094 h 4687251"/>
              <a:gd name="connsiteX38085" fmla="*/ 6926726 w 8079933"/>
              <a:gd name="connsiteY38085" fmla="*/ 1369840 h 4687251"/>
              <a:gd name="connsiteX38086" fmla="*/ 6925857 w 8079933"/>
              <a:gd name="connsiteY38086" fmla="*/ 1365184 h 4687251"/>
              <a:gd name="connsiteX38087" fmla="*/ 6927702 w 8079933"/>
              <a:gd name="connsiteY38087" fmla="*/ 1361719 h 4687251"/>
              <a:gd name="connsiteX38088" fmla="*/ 6930632 w 8079933"/>
              <a:gd name="connsiteY38088" fmla="*/ 1368216 h 4687251"/>
              <a:gd name="connsiteX38089" fmla="*/ 6929764 w 8079933"/>
              <a:gd name="connsiteY38089" fmla="*/ 1374170 h 4687251"/>
              <a:gd name="connsiteX38090" fmla="*/ 6929764 w 8079933"/>
              <a:gd name="connsiteY38090" fmla="*/ 1380125 h 4687251"/>
              <a:gd name="connsiteX38091" fmla="*/ 6932802 w 8079933"/>
              <a:gd name="connsiteY38091" fmla="*/ 1378176 h 4687251"/>
              <a:gd name="connsiteX38092" fmla="*/ 6934647 w 8079933"/>
              <a:gd name="connsiteY38092" fmla="*/ 1371680 h 4687251"/>
              <a:gd name="connsiteX38093" fmla="*/ 6932042 w 8079933"/>
              <a:gd name="connsiteY38093" fmla="*/ 1363668 h 4687251"/>
              <a:gd name="connsiteX38094" fmla="*/ 6933996 w 8079933"/>
              <a:gd name="connsiteY38094" fmla="*/ 1359554 h 4687251"/>
              <a:gd name="connsiteX38095" fmla="*/ 6929872 w 8079933"/>
              <a:gd name="connsiteY38095" fmla="*/ 1355115 h 4687251"/>
              <a:gd name="connsiteX38096" fmla="*/ 6927594 w 8079933"/>
              <a:gd name="connsiteY38096" fmla="*/ 1346995 h 4687251"/>
              <a:gd name="connsiteX38097" fmla="*/ 6932260 w 8079933"/>
              <a:gd name="connsiteY38097" fmla="*/ 1346995 h 4687251"/>
              <a:gd name="connsiteX38098" fmla="*/ 6936818 w 8079933"/>
              <a:gd name="connsiteY38098" fmla="*/ 1349594 h 4687251"/>
              <a:gd name="connsiteX38099" fmla="*/ 6936818 w 8079933"/>
              <a:gd name="connsiteY38099" fmla="*/ 1351758 h 4687251"/>
              <a:gd name="connsiteX38100" fmla="*/ 6938554 w 8079933"/>
              <a:gd name="connsiteY38100" fmla="*/ 1353924 h 4687251"/>
              <a:gd name="connsiteX38101" fmla="*/ 6941266 w 8079933"/>
              <a:gd name="connsiteY38101" fmla="*/ 1353924 h 4687251"/>
              <a:gd name="connsiteX38102" fmla="*/ 6943220 w 8079933"/>
              <a:gd name="connsiteY38102" fmla="*/ 1350892 h 4687251"/>
              <a:gd name="connsiteX38103" fmla="*/ 6947778 w 8079933"/>
              <a:gd name="connsiteY38103" fmla="*/ 1350892 h 4687251"/>
              <a:gd name="connsiteX38104" fmla="*/ 6953312 w 8079933"/>
              <a:gd name="connsiteY38104" fmla="*/ 1346670 h 4687251"/>
              <a:gd name="connsiteX38105" fmla="*/ 6958738 w 8079933"/>
              <a:gd name="connsiteY38105" fmla="*/ 1351109 h 4687251"/>
              <a:gd name="connsiteX38106" fmla="*/ 6964272 w 8079933"/>
              <a:gd name="connsiteY38106" fmla="*/ 1351109 h 4687251"/>
              <a:gd name="connsiteX38107" fmla="*/ 6967744 w 8079933"/>
              <a:gd name="connsiteY38107" fmla="*/ 1354249 h 4687251"/>
              <a:gd name="connsiteX38108" fmla="*/ 6970458 w 8079933"/>
              <a:gd name="connsiteY38108" fmla="*/ 1359988 h 4687251"/>
              <a:gd name="connsiteX38109" fmla="*/ 6973388 w 8079933"/>
              <a:gd name="connsiteY38109" fmla="*/ 1361936 h 4687251"/>
              <a:gd name="connsiteX38110" fmla="*/ 6980007 w 8079933"/>
              <a:gd name="connsiteY38110" fmla="*/ 1362802 h 4687251"/>
              <a:gd name="connsiteX38111" fmla="*/ 6982503 w 8079933"/>
              <a:gd name="connsiteY38111" fmla="*/ 1366050 h 4687251"/>
              <a:gd name="connsiteX38112" fmla="*/ 6993355 w 8079933"/>
              <a:gd name="connsiteY38112" fmla="*/ 1369840 h 4687251"/>
              <a:gd name="connsiteX38113" fmla="*/ 6994657 w 8079933"/>
              <a:gd name="connsiteY38113" fmla="*/ 1372980 h 4687251"/>
              <a:gd name="connsiteX38114" fmla="*/ 6998563 w 8079933"/>
              <a:gd name="connsiteY38114" fmla="*/ 1373629 h 4687251"/>
              <a:gd name="connsiteX38115" fmla="*/ 7001602 w 8079933"/>
              <a:gd name="connsiteY38115" fmla="*/ 1377419 h 4687251"/>
              <a:gd name="connsiteX38116" fmla="*/ 7004424 w 8079933"/>
              <a:gd name="connsiteY38116" fmla="*/ 1377419 h 4687251"/>
              <a:gd name="connsiteX38117" fmla="*/ 7008438 w 8079933"/>
              <a:gd name="connsiteY38117" fmla="*/ 1384998 h 4687251"/>
              <a:gd name="connsiteX38118" fmla="*/ 7005942 w 8079933"/>
              <a:gd name="connsiteY38118" fmla="*/ 1389004 h 4687251"/>
              <a:gd name="connsiteX38119" fmla="*/ 7005942 w 8079933"/>
              <a:gd name="connsiteY38119" fmla="*/ 1393010 h 4687251"/>
              <a:gd name="connsiteX38120" fmla="*/ 7002688 w 8079933"/>
              <a:gd name="connsiteY38120" fmla="*/ 1394959 h 4687251"/>
              <a:gd name="connsiteX38121" fmla="*/ 7007354 w 8079933"/>
              <a:gd name="connsiteY38121" fmla="*/ 1400155 h 4687251"/>
              <a:gd name="connsiteX38122" fmla="*/ 7010826 w 8079933"/>
              <a:gd name="connsiteY38122" fmla="*/ 1400155 h 4687251"/>
              <a:gd name="connsiteX38123" fmla="*/ 7017120 w 8079933"/>
              <a:gd name="connsiteY38123" fmla="*/ 1408276 h 4687251"/>
              <a:gd name="connsiteX38124" fmla="*/ 7017120 w 8079933"/>
              <a:gd name="connsiteY38124" fmla="*/ 1412606 h 4687251"/>
              <a:gd name="connsiteX38125" fmla="*/ 7014407 w 8079933"/>
              <a:gd name="connsiteY38125" fmla="*/ 1415855 h 4687251"/>
              <a:gd name="connsiteX38126" fmla="*/ 7014407 w 8079933"/>
              <a:gd name="connsiteY38126" fmla="*/ 1421051 h 4687251"/>
              <a:gd name="connsiteX38127" fmla="*/ 7019290 w 8079933"/>
              <a:gd name="connsiteY38127" fmla="*/ 1425166 h 4687251"/>
              <a:gd name="connsiteX38128" fmla="*/ 7023306 w 8079933"/>
              <a:gd name="connsiteY38128" fmla="*/ 1426249 h 4687251"/>
              <a:gd name="connsiteX38129" fmla="*/ 7026344 w 8079933"/>
              <a:gd name="connsiteY38129" fmla="*/ 1423542 h 4687251"/>
              <a:gd name="connsiteX38130" fmla="*/ 7027212 w 8079933"/>
              <a:gd name="connsiteY38130" fmla="*/ 1427656 h 4687251"/>
              <a:gd name="connsiteX38131" fmla="*/ 7025042 w 8079933"/>
              <a:gd name="connsiteY38131" fmla="*/ 1430363 h 4687251"/>
              <a:gd name="connsiteX38132" fmla="*/ 7025801 w 8079933"/>
              <a:gd name="connsiteY38132" fmla="*/ 1436101 h 4687251"/>
              <a:gd name="connsiteX38133" fmla="*/ 7029816 w 8079933"/>
              <a:gd name="connsiteY38133" fmla="*/ 1439674 h 4687251"/>
              <a:gd name="connsiteX38134" fmla="*/ 7026886 w 8079933"/>
              <a:gd name="connsiteY38134" fmla="*/ 1442056 h 4687251"/>
              <a:gd name="connsiteX38135" fmla="*/ 7026886 w 8079933"/>
              <a:gd name="connsiteY38135" fmla="*/ 1445521 h 4687251"/>
              <a:gd name="connsiteX38136" fmla="*/ 7028840 w 8079933"/>
              <a:gd name="connsiteY38136" fmla="*/ 1449636 h 4687251"/>
              <a:gd name="connsiteX38137" fmla="*/ 7026344 w 8079933"/>
              <a:gd name="connsiteY38137" fmla="*/ 1454507 h 4687251"/>
              <a:gd name="connsiteX38138" fmla="*/ 7028297 w 8079933"/>
              <a:gd name="connsiteY38138" fmla="*/ 1456132 h 4687251"/>
              <a:gd name="connsiteX38139" fmla="*/ 7028297 w 8079933"/>
              <a:gd name="connsiteY38139" fmla="*/ 1459379 h 4687251"/>
              <a:gd name="connsiteX38140" fmla="*/ 7027212 w 8079933"/>
              <a:gd name="connsiteY38140" fmla="*/ 1461761 h 4687251"/>
              <a:gd name="connsiteX38141" fmla="*/ 7029708 w 8079933"/>
              <a:gd name="connsiteY38141" fmla="*/ 1463385 h 4687251"/>
              <a:gd name="connsiteX38142" fmla="*/ 7026778 w 8079933"/>
              <a:gd name="connsiteY38142" fmla="*/ 1466850 h 4687251"/>
              <a:gd name="connsiteX38143" fmla="*/ 7030576 w 8079933"/>
              <a:gd name="connsiteY38143" fmla="*/ 1478218 h 4687251"/>
              <a:gd name="connsiteX38144" fmla="*/ 7028948 w 8079933"/>
              <a:gd name="connsiteY38144" fmla="*/ 1481467 h 4687251"/>
              <a:gd name="connsiteX38145" fmla="*/ 7029816 w 8079933"/>
              <a:gd name="connsiteY38145" fmla="*/ 1490345 h 4687251"/>
              <a:gd name="connsiteX38146" fmla="*/ 7030576 w 8079933"/>
              <a:gd name="connsiteY38146" fmla="*/ 1493809 h 4687251"/>
              <a:gd name="connsiteX38147" fmla="*/ 7030576 w 8079933"/>
              <a:gd name="connsiteY38147" fmla="*/ 1497815 h 4687251"/>
              <a:gd name="connsiteX38148" fmla="*/ 7035460 w 8079933"/>
              <a:gd name="connsiteY38148" fmla="*/ 1513515 h 4687251"/>
              <a:gd name="connsiteX38149" fmla="*/ 7039258 w 8079933"/>
              <a:gd name="connsiteY38149" fmla="*/ 1514273 h 4687251"/>
              <a:gd name="connsiteX38150" fmla="*/ 7043598 w 8079933"/>
              <a:gd name="connsiteY38150" fmla="*/ 1511241 h 4687251"/>
              <a:gd name="connsiteX38151" fmla="*/ 7043598 w 8079933"/>
              <a:gd name="connsiteY38151" fmla="*/ 1513407 h 4687251"/>
              <a:gd name="connsiteX38152" fmla="*/ 7040017 w 8079933"/>
              <a:gd name="connsiteY38152" fmla="*/ 1519578 h 4687251"/>
              <a:gd name="connsiteX38153" fmla="*/ 7038064 w 8079933"/>
              <a:gd name="connsiteY38153" fmla="*/ 1521743 h 4687251"/>
              <a:gd name="connsiteX38154" fmla="*/ 7040451 w 8079933"/>
              <a:gd name="connsiteY38154" fmla="*/ 1525858 h 4687251"/>
              <a:gd name="connsiteX38155" fmla="*/ 7042621 w 8079933"/>
              <a:gd name="connsiteY38155" fmla="*/ 1525858 h 4687251"/>
              <a:gd name="connsiteX38156" fmla="*/ 7049349 w 8079933"/>
              <a:gd name="connsiteY38156" fmla="*/ 1533220 h 4687251"/>
              <a:gd name="connsiteX38157" fmla="*/ 7049349 w 8079933"/>
              <a:gd name="connsiteY38157" fmla="*/ 1542207 h 4687251"/>
              <a:gd name="connsiteX38158" fmla="*/ 7050977 w 8079933"/>
              <a:gd name="connsiteY38158" fmla="*/ 1545455 h 4687251"/>
              <a:gd name="connsiteX38159" fmla="*/ 7050977 w 8079933"/>
              <a:gd name="connsiteY38159" fmla="*/ 1548486 h 4687251"/>
              <a:gd name="connsiteX38160" fmla="*/ 7052605 w 8079933"/>
              <a:gd name="connsiteY38160" fmla="*/ 1560071 h 4687251"/>
              <a:gd name="connsiteX38161" fmla="*/ 7056186 w 8079933"/>
              <a:gd name="connsiteY38161" fmla="*/ 1560071 h 4687251"/>
              <a:gd name="connsiteX38162" fmla="*/ 7056186 w 8079933"/>
              <a:gd name="connsiteY38162" fmla="*/ 1565702 h 4687251"/>
              <a:gd name="connsiteX38163" fmla="*/ 7054558 w 8079933"/>
              <a:gd name="connsiteY38163" fmla="*/ 1567542 h 4687251"/>
              <a:gd name="connsiteX38164" fmla="*/ 7054558 w 8079933"/>
              <a:gd name="connsiteY38164" fmla="*/ 1574796 h 4687251"/>
              <a:gd name="connsiteX38165" fmla="*/ 7056946 w 8079933"/>
              <a:gd name="connsiteY38165" fmla="*/ 1579344 h 4687251"/>
              <a:gd name="connsiteX38166" fmla="*/ 7056946 w 8079933"/>
              <a:gd name="connsiteY38166" fmla="*/ 1585623 h 4687251"/>
              <a:gd name="connsiteX38167" fmla="*/ 7050109 w 8079933"/>
              <a:gd name="connsiteY38167" fmla="*/ 1592877 h 4687251"/>
              <a:gd name="connsiteX38168" fmla="*/ 7050109 w 8079933"/>
              <a:gd name="connsiteY38168" fmla="*/ 1599698 h 4687251"/>
              <a:gd name="connsiteX38169" fmla="*/ 7047070 w 8079933"/>
              <a:gd name="connsiteY38169" fmla="*/ 1607277 h 4687251"/>
              <a:gd name="connsiteX38170" fmla="*/ 7047939 w 8079933"/>
              <a:gd name="connsiteY38170" fmla="*/ 1615181 h 4687251"/>
              <a:gd name="connsiteX38171" fmla="*/ 7049240 w 8079933"/>
              <a:gd name="connsiteY38171" fmla="*/ 1615939 h 4687251"/>
              <a:gd name="connsiteX38172" fmla="*/ 7049240 w 8079933"/>
              <a:gd name="connsiteY38172" fmla="*/ 1622977 h 4687251"/>
              <a:gd name="connsiteX38173" fmla="*/ 7044683 w 8079933"/>
              <a:gd name="connsiteY38173" fmla="*/ 1627307 h 4687251"/>
              <a:gd name="connsiteX38174" fmla="*/ 7044683 w 8079933"/>
              <a:gd name="connsiteY38174" fmla="*/ 1633479 h 4687251"/>
              <a:gd name="connsiteX38175" fmla="*/ 7041210 w 8079933"/>
              <a:gd name="connsiteY38175" fmla="*/ 1641274 h 4687251"/>
              <a:gd name="connsiteX38176" fmla="*/ 7043164 w 8079933"/>
              <a:gd name="connsiteY38176" fmla="*/ 1641274 h 4687251"/>
              <a:gd name="connsiteX38177" fmla="*/ 7043164 w 8079933"/>
              <a:gd name="connsiteY38177" fmla="*/ 1644847 h 4687251"/>
              <a:gd name="connsiteX38178" fmla="*/ 7039040 w 8079933"/>
              <a:gd name="connsiteY38178" fmla="*/ 1649936 h 4687251"/>
              <a:gd name="connsiteX38179" fmla="*/ 7041536 w 8079933"/>
              <a:gd name="connsiteY38179" fmla="*/ 1660763 h 4687251"/>
              <a:gd name="connsiteX38180" fmla="*/ 7036436 w 8079933"/>
              <a:gd name="connsiteY38180" fmla="*/ 1665852 h 4687251"/>
              <a:gd name="connsiteX38181" fmla="*/ 7038064 w 8079933"/>
              <a:gd name="connsiteY38181" fmla="*/ 1672131 h 4687251"/>
              <a:gd name="connsiteX38182" fmla="*/ 7040451 w 8079933"/>
              <a:gd name="connsiteY38182" fmla="*/ 1672889 h 4687251"/>
              <a:gd name="connsiteX38183" fmla="*/ 7040451 w 8079933"/>
              <a:gd name="connsiteY38183" fmla="*/ 1677762 h 4687251"/>
              <a:gd name="connsiteX38184" fmla="*/ 7034700 w 8079933"/>
              <a:gd name="connsiteY38184" fmla="*/ 1684799 h 4687251"/>
              <a:gd name="connsiteX38185" fmla="*/ 7033614 w 8079933"/>
              <a:gd name="connsiteY38185" fmla="*/ 1690429 h 4687251"/>
              <a:gd name="connsiteX38186" fmla="*/ 7028731 w 8079933"/>
              <a:gd name="connsiteY38186" fmla="*/ 1694760 h 4687251"/>
              <a:gd name="connsiteX38187" fmla="*/ 7028731 w 8079933"/>
              <a:gd name="connsiteY38187" fmla="*/ 1699091 h 4687251"/>
              <a:gd name="connsiteX38188" fmla="*/ 7023848 w 8079933"/>
              <a:gd name="connsiteY38188" fmla="*/ 1705370 h 4687251"/>
              <a:gd name="connsiteX38189" fmla="*/ 7019290 w 8079933"/>
              <a:gd name="connsiteY38189" fmla="*/ 1725725 h 4687251"/>
              <a:gd name="connsiteX38190" fmla="*/ 7016577 w 8079933"/>
              <a:gd name="connsiteY38190" fmla="*/ 1727349 h 4687251"/>
              <a:gd name="connsiteX38191" fmla="*/ 7015709 w 8079933"/>
              <a:gd name="connsiteY38191" fmla="*/ 1732980 h 4687251"/>
              <a:gd name="connsiteX38192" fmla="*/ 7017662 w 8079933"/>
              <a:gd name="connsiteY38192" fmla="*/ 1734820 h 4687251"/>
              <a:gd name="connsiteX38193" fmla="*/ 7016794 w 8079933"/>
              <a:gd name="connsiteY38193" fmla="*/ 1737202 h 4687251"/>
              <a:gd name="connsiteX38194" fmla="*/ 7010284 w 8079933"/>
              <a:gd name="connsiteY38194" fmla="*/ 1741533 h 4687251"/>
              <a:gd name="connsiteX38195" fmla="*/ 7010284 w 8079933"/>
              <a:gd name="connsiteY38195" fmla="*/ 1746405 h 4687251"/>
              <a:gd name="connsiteX38196" fmla="*/ 7005942 w 8079933"/>
              <a:gd name="connsiteY38196" fmla="*/ 1748787 h 4687251"/>
              <a:gd name="connsiteX38197" fmla="*/ 7005942 w 8079933"/>
              <a:gd name="connsiteY38197" fmla="*/ 1756149 h 4687251"/>
              <a:gd name="connsiteX38198" fmla="*/ 7003447 w 8079933"/>
              <a:gd name="connsiteY38198" fmla="*/ 1756907 h 4687251"/>
              <a:gd name="connsiteX38199" fmla="*/ 7005834 w 8079933"/>
              <a:gd name="connsiteY38199" fmla="*/ 1761455 h 4687251"/>
              <a:gd name="connsiteX38200" fmla="*/ 7000192 w 8079933"/>
              <a:gd name="connsiteY38200" fmla="*/ 1769359 h 4687251"/>
              <a:gd name="connsiteX38201" fmla="*/ 7000192 w 8079933"/>
              <a:gd name="connsiteY38201" fmla="*/ 1768059 h 4687251"/>
              <a:gd name="connsiteX38202" fmla="*/ 6996610 w 8079933"/>
              <a:gd name="connsiteY38202" fmla="*/ 1766977 h 4687251"/>
              <a:gd name="connsiteX38203" fmla="*/ 6998455 w 8079933"/>
              <a:gd name="connsiteY38203" fmla="*/ 1772065 h 4687251"/>
              <a:gd name="connsiteX38204" fmla="*/ 6998455 w 8079933"/>
              <a:gd name="connsiteY38204" fmla="*/ 1778995 h 4687251"/>
              <a:gd name="connsiteX38205" fmla="*/ 6992812 w 8079933"/>
              <a:gd name="connsiteY38205" fmla="*/ 1781485 h 4687251"/>
              <a:gd name="connsiteX38206" fmla="*/ 6994223 w 8079933"/>
              <a:gd name="connsiteY38206" fmla="*/ 1783975 h 4687251"/>
              <a:gd name="connsiteX38207" fmla="*/ 6986301 w 8079933"/>
              <a:gd name="connsiteY38207" fmla="*/ 1793719 h 4687251"/>
              <a:gd name="connsiteX38208" fmla="*/ 6982720 w 8079933"/>
              <a:gd name="connsiteY38208" fmla="*/ 1799891 h 4687251"/>
              <a:gd name="connsiteX38209" fmla="*/ 6979247 w 8079933"/>
              <a:gd name="connsiteY38209" fmla="*/ 1799891 h 4687251"/>
              <a:gd name="connsiteX38210" fmla="*/ 6978380 w 8079933"/>
              <a:gd name="connsiteY38210" fmla="*/ 1803139 h 4687251"/>
              <a:gd name="connsiteX38211" fmla="*/ 6971652 w 8079933"/>
              <a:gd name="connsiteY38211" fmla="*/ 1804222 h 4687251"/>
              <a:gd name="connsiteX38212" fmla="*/ 6966226 w 8079933"/>
              <a:gd name="connsiteY38212" fmla="*/ 1809852 h 4687251"/>
              <a:gd name="connsiteX38213" fmla="*/ 6963296 w 8079933"/>
              <a:gd name="connsiteY38213" fmla="*/ 1806820 h 4687251"/>
              <a:gd name="connsiteX38214" fmla="*/ 6960583 w 8079933"/>
              <a:gd name="connsiteY38214" fmla="*/ 1809526 h 4687251"/>
              <a:gd name="connsiteX38215" fmla="*/ 6953204 w 8079933"/>
              <a:gd name="connsiteY38215" fmla="*/ 1804871 h 4687251"/>
              <a:gd name="connsiteX38216" fmla="*/ 6945825 w 8079933"/>
              <a:gd name="connsiteY38216" fmla="*/ 1802922 h 4687251"/>
              <a:gd name="connsiteX38217" fmla="*/ 6945825 w 8079933"/>
              <a:gd name="connsiteY38217" fmla="*/ 1794477 h 4687251"/>
              <a:gd name="connsiteX38218" fmla="*/ 6943112 w 8079933"/>
              <a:gd name="connsiteY38218" fmla="*/ 1792095 h 4687251"/>
              <a:gd name="connsiteX38219" fmla="*/ 6937360 w 8079933"/>
              <a:gd name="connsiteY38219" fmla="*/ 1794585 h 4687251"/>
              <a:gd name="connsiteX38220" fmla="*/ 6932260 w 8079933"/>
              <a:gd name="connsiteY38220" fmla="*/ 1791338 h 4687251"/>
              <a:gd name="connsiteX38221" fmla="*/ 6930849 w 8079933"/>
              <a:gd name="connsiteY38221" fmla="*/ 1793828 h 4687251"/>
              <a:gd name="connsiteX38222" fmla="*/ 6930849 w 8079933"/>
              <a:gd name="connsiteY38222" fmla="*/ 1798158 h 4687251"/>
              <a:gd name="connsiteX38223" fmla="*/ 6926508 w 8079933"/>
              <a:gd name="connsiteY38223" fmla="*/ 1801623 h 4687251"/>
              <a:gd name="connsiteX38224" fmla="*/ 6926508 w 8079933"/>
              <a:gd name="connsiteY38224" fmla="*/ 1810285 h 4687251"/>
              <a:gd name="connsiteX38225" fmla="*/ 6923470 w 8079933"/>
              <a:gd name="connsiteY38225" fmla="*/ 1812450 h 4687251"/>
              <a:gd name="connsiteX38226" fmla="*/ 6921517 w 8079933"/>
              <a:gd name="connsiteY38226" fmla="*/ 1820354 h 4687251"/>
              <a:gd name="connsiteX38227" fmla="*/ 6919563 w 8079933"/>
              <a:gd name="connsiteY38227" fmla="*/ 1818189 h 4687251"/>
              <a:gd name="connsiteX38228" fmla="*/ 6913378 w 8079933"/>
              <a:gd name="connsiteY38228" fmla="*/ 1819271 h 4687251"/>
              <a:gd name="connsiteX38229" fmla="*/ 6911750 w 8079933"/>
              <a:gd name="connsiteY38229" fmla="*/ 1826309 h 4687251"/>
              <a:gd name="connsiteX38230" fmla="*/ 6910122 w 8079933"/>
              <a:gd name="connsiteY38230" fmla="*/ 1826309 h 4687251"/>
              <a:gd name="connsiteX38231" fmla="*/ 6909492 w 8079933"/>
              <a:gd name="connsiteY38231" fmla="*/ 1825432 h 4687251"/>
              <a:gd name="connsiteX38232" fmla="*/ 6901768 w 8079933"/>
              <a:gd name="connsiteY38232" fmla="*/ 1833995 h 4687251"/>
              <a:gd name="connsiteX38233" fmla="*/ 6898838 w 8079933"/>
              <a:gd name="connsiteY38233" fmla="*/ 1833454 h 4687251"/>
              <a:gd name="connsiteX38234" fmla="*/ 6898729 w 8079933"/>
              <a:gd name="connsiteY38234" fmla="*/ 1839193 h 4687251"/>
              <a:gd name="connsiteX38235" fmla="*/ 6895474 w 8079933"/>
              <a:gd name="connsiteY38235" fmla="*/ 1851102 h 4687251"/>
              <a:gd name="connsiteX38236" fmla="*/ 6895799 w 8079933"/>
              <a:gd name="connsiteY38236" fmla="*/ 1857923 h 4687251"/>
              <a:gd name="connsiteX38237" fmla="*/ 6900683 w 8079933"/>
              <a:gd name="connsiteY38237" fmla="*/ 1861821 h 4687251"/>
              <a:gd name="connsiteX38238" fmla="*/ 6900791 w 8079933"/>
              <a:gd name="connsiteY38238" fmla="*/ 1874164 h 4687251"/>
              <a:gd name="connsiteX38239" fmla="*/ 6904698 w 8079933"/>
              <a:gd name="connsiteY38239" fmla="*/ 1877087 h 4687251"/>
              <a:gd name="connsiteX38240" fmla="*/ 6902636 w 8079933"/>
              <a:gd name="connsiteY38240" fmla="*/ 1882717 h 4687251"/>
              <a:gd name="connsiteX38241" fmla="*/ 6896559 w 8079933"/>
              <a:gd name="connsiteY38241" fmla="*/ 1887914 h 4687251"/>
              <a:gd name="connsiteX38242" fmla="*/ 6897753 w 8079933"/>
              <a:gd name="connsiteY38242" fmla="*/ 1889754 h 4687251"/>
              <a:gd name="connsiteX38243" fmla="*/ 6885816 w 8079933"/>
              <a:gd name="connsiteY38243" fmla="*/ 1902206 h 4687251"/>
              <a:gd name="connsiteX38244" fmla="*/ 6887335 w 8079933"/>
              <a:gd name="connsiteY38244" fmla="*/ 1905778 h 4687251"/>
              <a:gd name="connsiteX38245" fmla="*/ 6883863 w 8079933"/>
              <a:gd name="connsiteY38245" fmla="*/ 1908810 h 4687251"/>
              <a:gd name="connsiteX38246" fmla="*/ 6882778 w 8079933"/>
              <a:gd name="connsiteY38246" fmla="*/ 1911409 h 4687251"/>
              <a:gd name="connsiteX38247" fmla="*/ 6877894 w 8079933"/>
              <a:gd name="connsiteY38247" fmla="*/ 1911192 h 4687251"/>
              <a:gd name="connsiteX38248" fmla="*/ 6873228 w 8079933"/>
              <a:gd name="connsiteY38248" fmla="*/ 1914224 h 4687251"/>
              <a:gd name="connsiteX38249" fmla="*/ 6871166 w 8079933"/>
              <a:gd name="connsiteY38249" fmla="*/ 1919529 h 4687251"/>
              <a:gd name="connsiteX38250" fmla="*/ 6864872 w 8079933"/>
              <a:gd name="connsiteY38250" fmla="*/ 1923427 h 4687251"/>
              <a:gd name="connsiteX38251" fmla="*/ 6864872 w 8079933"/>
              <a:gd name="connsiteY38251" fmla="*/ 1929382 h 4687251"/>
              <a:gd name="connsiteX38252" fmla="*/ 6866717 w 8079933"/>
              <a:gd name="connsiteY38252" fmla="*/ 1934904 h 4687251"/>
              <a:gd name="connsiteX38253" fmla="*/ 6864330 w 8079933"/>
              <a:gd name="connsiteY38253" fmla="*/ 1937394 h 4687251"/>
              <a:gd name="connsiteX38254" fmla="*/ 6865740 w 8079933"/>
              <a:gd name="connsiteY38254" fmla="*/ 1943673 h 4687251"/>
              <a:gd name="connsiteX38255" fmla="*/ 6874530 w 8079933"/>
              <a:gd name="connsiteY38255" fmla="*/ 1945298 h 4687251"/>
              <a:gd name="connsiteX38256" fmla="*/ 6877026 w 8079933"/>
              <a:gd name="connsiteY38256" fmla="*/ 1949304 h 4687251"/>
              <a:gd name="connsiteX38257" fmla="*/ 6894498 w 8079933"/>
              <a:gd name="connsiteY38257" fmla="*/ 1959373 h 4687251"/>
              <a:gd name="connsiteX38258" fmla="*/ 6897318 w 8079933"/>
              <a:gd name="connsiteY38258" fmla="*/ 1964569 h 4687251"/>
              <a:gd name="connsiteX38259" fmla="*/ 6897317 w 8079933"/>
              <a:gd name="connsiteY38259" fmla="*/ 1964570 h 4687251"/>
              <a:gd name="connsiteX38260" fmla="*/ 6906107 w 8079933"/>
              <a:gd name="connsiteY38260" fmla="*/ 1980701 h 4687251"/>
              <a:gd name="connsiteX38261" fmla="*/ 6918912 w 8079933"/>
              <a:gd name="connsiteY38261" fmla="*/ 1994018 h 4687251"/>
              <a:gd name="connsiteX38262" fmla="*/ 6933019 w 8079933"/>
              <a:gd name="connsiteY38262" fmla="*/ 2011666 h 4687251"/>
              <a:gd name="connsiteX38263" fmla="*/ 6933453 w 8079933"/>
              <a:gd name="connsiteY38263" fmla="*/ 2022385 h 4687251"/>
              <a:gd name="connsiteX38264" fmla="*/ 6937034 w 8079933"/>
              <a:gd name="connsiteY38264" fmla="*/ 2026174 h 4687251"/>
              <a:gd name="connsiteX38265" fmla="*/ 6940289 w 8079933"/>
              <a:gd name="connsiteY38265" fmla="*/ 2042957 h 4687251"/>
              <a:gd name="connsiteX38266" fmla="*/ 6940507 w 8079933"/>
              <a:gd name="connsiteY38266" fmla="*/ 2048478 h 4687251"/>
              <a:gd name="connsiteX38267" fmla="*/ 6942134 w 8079933"/>
              <a:gd name="connsiteY38267" fmla="*/ 2046746 h 4687251"/>
              <a:gd name="connsiteX38268" fmla="*/ 6943762 w 8079933"/>
              <a:gd name="connsiteY38268" fmla="*/ 2046746 h 4687251"/>
              <a:gd name="connsiteX38269" fmla="*/ 6944956 w 8079933"/>
              <a:gd name="connsiteY38269" fmla="*/ 2064935 h 4687251"/>
              <a:gd name="connsiteX38270" fmla="*/ 6941700 w 8079933"/>
              <a:gd name="connsiteY38270" fmla="*/ 2067426 h 4687251"/>
              <a:gd name="connsiteX38271" fmla="*/ 6943220 w 8079933"/>
              <a:gd name="connsiteY38271" fmla="*/ 2070024 h 4687251"/>
              <a:gd name="connsiteX38272" fmla="*/ 6936708 w 8079933"/>
              <a:gd name="connsiteY38272" fmla="*/ 2078253 h 4687251"/>
              <a:gd name="connsiteX38273" fmla="*/ 6931282 w 8079933"/>
              <a:gd name="connsiteY38273" fmla="*/ 2078253 h 4687251"/>
              <a:gd name="connsiteX38274" fmla="*/ 6925423 w 8079933"/>
              <a:gd name="connsiteY38274" fmla="*/ 2081934 h 4687251"/>
              <a:gd name="connsiteX38275" fmla="*/ 6927267 w 8079933"/>
              <a:gd name="connsiteY38275" fmla="*/ 2085290 h 4687251"/>
              <a:gd name="connsiteX38276" fmla="*/ 6924880 w 8079933"/>
              <a:gd name="connsiteY38276" fmla="*/ 2086914 h 4687251"/>
              <a:gd name="connsiteX38277" fmla="*/ 6923144 w 8079933"/>
              <a:gd name="connsiteY38277" fmla="*/ 2084749 h 4687251"/>
              <a:gd name="connsiteX38278" fmla="*/ 6918586 w 8079933"/>
              <a:gd name="connsiteY38278" fmla="*/ 2086589 h 4687251"/>
              <a:gd name="connsiteX38279" fmla="*/ 6916199 w 8079933"/>
              <a:gd name="connsiteY38279" fmla="*/ 2081934 h 4687251"/>
              <a:gd name="connsiteX38280" fmla="*/ 6913703 w 8079933"/>
              <a:gd name="connsiteY38280" fmla="*/ 2081501 h 4687251"/>
              <a:gd name="connsiteX38281" fmla="*/ 6910447 w 8079933"/>
              <a:gd name="connsiteY38281" fmla="*/ 2085506 h 4687251"/>
              <a:gd name="connsiteX38282" fmla="*/ 6909687 w 8079933"/>
              <a:gd name="connsiteY38282" fmla="*/ 2083016 h 4687251"/>
              <a:gd name="connsiteX38283" fmla="*/ 6905347 w 8079933"/>
              <a:gd name="connsiteY38283" fmla="*/ 2083883 h 4687251"/>
              <a:gd name="connsiteX38284" fmla="*/ 6894712 w 8079933"/>
              <a:gd name="connsiteY38284" fmla="*/ 2093086 h 4687251"/>
              <a:gd name="connsiteX38285" fmla="*/ 6891240 w 8079933"/>
              <a:gd name="connsiteY38285" fmla="*/ 2097958 h 4687251"/>
              <a:gd name="connsiteX38286" fmla="*/ 6889070 w 8079933"/>
              <a:gd name="connsiteY38286" fmla="*/ 2095034 h 4687251"/>
              <a:gd name="connsiteX38287" fmla="*/ 6888744 w 8079933"/>
              <a:gd name="connsiteY38287" fmla="*/ 2101206 h 4687251"/>
              <a:gd name="connsiteX38288" fmla="*/ 6885271 w 8079933"/>
              <a:gd name="connsiteY38288" fmla="*/ 2103696 h 4687251"/>
              <a:gd name="connsiteX38289" fmla="*/ 6885489 w 8079933"/>
              <a:gd name="connsiteY38289" fmla="*/ 2099582 h 4687251"/>
              <a:gd name="connsiteX38290" fmla="*/ 6883644 w 8079933"/>
              <a:gd name="connsiteY38290" fmla="*/ 2098175 h 4687251"/>
              <a:gd name="connsiteX38291" fmla="*/ 6882558 w 8079933"/>
              <a:gd name="connsiteY38291" fmla="*/ 2092653 h 4687251"/>
              <a:gd name="connsiteX38292" fmla="*/ 6879195 w 8079933"/>
              <a:gd name="connsiteY38292" fmla="*/ 2092328 h 4687251"/>
              <a:gd name="connsiteX38293" fmla="*/ 6873335 w 8079933"/>
              <a:gd name="connsiteY38293" fmla="*/ 2081176 h 4687251"/>
              <a:gd name="connsiteX38294" fmla="*/ 6876481 w 8079933"/>
              <a:gd name="connsiteY38294" fmla="*/ 2080959 h 4687251"/>
              <a:gd name="connsiteX38295" fmla="*/ 6873986 w 8079933"/>
              <a:gd name="connsiteY38295" fmla="*/ 2076520 h 4687251"/>
              <a:gd name="connsiteX38296" fmla="*/ 6873986 w 8079933"/>
              <a:gd name="connsiteY38296" fmla="*/ 2071973 h 4687251"/>
              <a:gd name="connsiteX38297" fmla="*/ 6876807 w 8079933"/>
              <a:gd name="connsiteY38297" fmla="*/ 2070349 h 4687251"/>
              <a:gd name="connsiteX38298" fmla="*/ 6876590 w 8079933"/>
              <a:gd name="connsiteY38298" fmla="*/ 2066235 h 4687251"/>
              <a:gd name="connsiteX38299" fmla="*/ 6873335 w 8079933"/>
              <a:gd name="connsiteY38299" fmla="*/ 2063636 h 4687251"/>
              <a:gd name="connsiteX38300" fmla="*/ 6873551 w 8079933"/>
              <a:gd name="connsiteY38300" fmla="*/ 2060930 h 4687251"/>
              <a:gd name="connsiteX38301" fmla="*/ 6881365 w 8079933"/>
              <a:gd name="connsiteY38301" fmla="*/ 2055733 h 4687251"/>
              <a:gd name="connsiteX38302" fmla="*/ 6877133 w 8079933"/>
              <a:gd name="connsiteY38302" fmla="*/ 2047612 h 4687251"/>
              <a:gd name="connsiteX38303" fmla="*/ 6875397 w 8079933"/>
              <a:gd name="connsiteY38303" fmla="*/ 2049236 h 4687251"/>
              <a:gd name="connsiteX38304" fmla="*/ 6872684 w 8079933"/>
              <a:gd name="connsiteY38304" fmla="*/ 2047396 h 4687251"/>
              <a:gd name="connsiteX38305" fmla="*/ 6872467 w 8079933"/>
              <a:gd name="connsiteY38305" fmla="*/ 2037543 h 4687251"/>
              <a:gd name="connsiteX38306" fmla="*/ 6870079 w 8079933"/>
              <a:gd name="connsiteY38306" fmla="*/ 2032238 h 4687251"/>
              <a:gd name="connsiteX38307" fmla="*/ 6867366 w 8079933"/>
              <a:gd name="connsiteY38307" fmla="*/ 2033212 h 4687251"/>
              <a:gd name="connsiteX38308" fmla="*/ 6856948 w 8079933"/>
              <a:gd name="connsiteY38308" fmla="*/ 2028340 h 4687251"/>
              <a:gd name="connsiteX38309" fmla="*/ 6861832 w 8079933"/>
              <a:gd name="connsiteY38309" fmla="*/ 2021411 h 4687251"/>
              <a:gd name="connsiteX38310" fmla="*/ 6865196 w 8079933"/>
              <a:gd name="connsiteY38310" fmla="*/ 2022385 h 4687251"/>
              <a:gd name="connsiteX38311" fmla="*/ 6866824 w 8079933"/>
              <a:gd name="connsiteY38311" fmla="*/ 2018162 h 4687251"/>
              <a:gd name="connsiteX38312" fmla="*/ 6868451 w 8079933"/>
              <a:gd name="connsiteY38312" fmla="*/ 2020544 h 4687251"/>
              <a:gd name="connsiteX38313" fmla="*/ 6876481 w 8079933"/>
              <a:gd name="connsiteY38313" fmla="*/ 2023251 h 4687251"/>
              <a:gd name="connsiteX38314" fmla="*/ 6874528 w 8079933"/>
              <a:gd name="connsiteY38314" fmla="*/ 2019137 h 4687251"/>
              <a:gd name="connsiteX38315" fmla="*/ 6871055 w 8079933"/>
              <a:gd name="connsiteY38315" fmla="*/ 2014265 h 4687251"/>
              <a:gd name="connsiteX38316" fmla="*/ 6872684 w 8079933"/>
              <a:gd name="connsiteY38316" fmla="*/ 2011666 h 4687251"/>
              <a:gd name="connsiteX38317" fmla="*/ 6869428 w 8079933"/>
              <a:gd name="connsiteY38317" fmla="*/ 2011017 h 4687251"/>
              <a:gd name="connsiteX38318" fmla="*/ 6863243 w 8079933"/>
              <a:gd name="connsiteY38318" fmla="*/ 2002138 h 4687251"/>
              <a:gd name="connsiteX38319" fmla="*/ 6853802 w 8079933"/>
              <a:gd name="connsiteY38319" fmla="*/ 1994235 h 4687251"/>
              <a:gd name="connsiteX38320" fmla="*/ 6857274 w 8079933"/>
              <a:gd name="connsiteY38320" fmla="*/ 1992395 h 4687251"/>
              <a:gd name="connsiteX38321" fmla="*/ 6850112 w 8079933"/>
              <a:gd name="connsiteY38321" fmla="*/ 1992178 h 4687251"/>
              <a:gd name="connsiteX38322" fmla="*/ 6846097 w 8079933"/>
              <a:gd name="connsiteY38322" fmla="*/ 1995101 h 4687251"/>
              <a:gd name="connsiteX38323" fmla="*/ 6845446 w 8079933"/>
              <a:gd name="connsiteY38323" fmla="*/ 1994452 h 4687251"/>
              <a:gd name="connsiteX38324" fmla="*/ 6845446 w 8079933"/>
              <a:gd name="connsiteY38324" fmla="*/ 1994451 h 4687251"/>
              <a:gd name="connsiteX38325" fmla="*/ 6840130 w 8079933"/>
              <a:gd name="connsiteY38325" fmla="*/ 1988606 h 4687251"/>
              <a:gd name="connsiteX38326" fmla="*/ 6837417 w 8079933"/>
              <a:gd name="connsiteY38326" fmla="*/ 1990446 h 4687251"/>
              <a:gd name="connsiteX38327" fmla="*/ 6838611 w 8079933"/>
              <a:gd name="connsiteY38327" fmla="*/ 1992936 h 4687251"/>
              <a:gd name="connsiteX38328" fmla="*/ 6834270 w 8079933"/>
              <a:gd name="connsiteY38328" fmla="*/ 1998567 h 4687251"/>
              <a:gd name="connsiteX38329" fmla="*/ 6831450 w 8079933"/>
              <a:gd name="connsiteY38329" fmla="*/ 1996510 h 4687251"/>
              <a:gd name="connsiteX38330" fmla="*/ 6826566 w 8079933"/>
              <a:gd name="connsiteY38330" fmla="*/ 2000516 h 4687251"/>
              <a:gd name="connsiteX38331" fmla="*/ 6824504 w 8079933"/>
              <a:gd name="connsiteY38331" fmla="*/ 1997267 h 4687251"/>
              <a:gd name="connsiteX38332" fmla="*/ 6828844 w 8079933"/>
              <a:gd name="connsiteY38332" fmla="*/ 1990446 h 4687251"/>
              <a:gd name="connsiteX38333" fmla="*/ 6823853 w 8079933"/>
              <a:gd name="connsiteY38333" fmla="*/ 1988606 h 4687251"/>
              <a:gd name="connsiteX38334" fmla="*/ 6819621 w 8079933"/>
              <a:gd name="connsiteY38334" fmla="*/ 1990988 h 4687251"/>
              <a:gd name="connsiteX38335" fmla="*/ 6817559 w 8079933"/>
              <a:gd name="connsiteY38335" fmla="*/ 1990446 h 4687251"/>
              <a:gd name="connsiteX38336" fmla="*/ 6818753 w 8079933"/>
              <a:gd name="connsiteY38336" fmla="*/ 1986116 h 4687251"/>
              <a:gd name="connsiteX38337" fmla="*/ 6819079 w 8079933"/>
              <a:gd name="connsiteY38337" fmla="*/ 1976155 h 4687251"/>
              <a:gd name="connsiteX38338" fmla="*/ 6822333 w 8079933"/>
              <a:gd name="connsiteY38338" fmla="*/ 1969442 h 4687251"/>
              <a:gd name="connsiteX38339" fmla="*/ 6828519 w 8079933"/>
              <a:gd name="connsiteY38339" fmla="*/ 1968900 h 4687251"/>
              <a:gd name="connsiteX38340" fmla="*/ 6833619 w 8079933"/>
              <a:gd name="connsiteY38340" fmla="*/ 1964245 h 4687251"/>
              <a:gd name="connsiteX38341" fmla="*/ 6828844 w 8079933"/>
              <a:gd name="connsiteY38341" fmla="*/ 1966627 h 4687251"/>
              <a:gd name="connsiteX38342" fmla="*/ 6820055 w 8079933"/>
              <a:gd name="connsiteY38342" fmla="*/ 1966410 h 4687251"/>
              <a:gd name="connsiteX38343" fmla="*/ 6818427 w 8079933"/>
              <a:gd name="connsiteY38343" fmla="*/ 1964461 h 4687251"/>
              <a:gd name="connsiteX38344" fmla="*/ 6817993 w 8079933"/>
              <a:gd name="connsiteY38344" fmla="*/ 1953093 h 4687251"/>
              <a:gd name="connsiteX38345" fmla="*/ 6823853 w 8079933"/>
              <a:gd name="connsiteY38345" fmla="*/ 1943673 h 4687251"/>
              <a:gd name="connsiteX38346" fmla="*/ 6820706 w 8079933"/>
              <a:gd name="connsiteY38346" fmla="*/ 1939126 h 4687251"/>
              <a:gd name="connsiteX38347" fmla="*/ 6823962 w 8079933"/>
              <a:gd name="connsiteY38347" fmla="*/ 1936961 h 4687251"/>
              <a:gd name="connsiteX38348" fmla="*/ 6825264 w 8079933"/>
              <a:gd name="connsiteY38348" fmla="*/ 1932847 h 4687251"/>
              <a:gd name="connsiteX38349" fmla="*/ 6822225 w 8079933"/>
              <a:gd name="connsiteY38349" fmla="*/ 1933171 h 4687251"/>
              <a:gd name="connsiteX38350" fmla="*/ 6819621 w 8079933"/>
              <a:gd name="connsiteY38350" fmla="*/ 1936419 h 4687251"/>
              <a:gd name="connsiteX38351" fmla="*/ 6811916 w 8079933"/>
              <a:gd name="connsiteY38351" fmla="*/ 1937502 h 4687251"/>
              <a:gd name="connsiteX38352" fmla="*/ 6809746 w 8079933"/>
              <a:gd name="connsiteY38352" fmla="*/ 1934470 h 4687251"/>
              <a:gd name="connsiteX38353" fmla="*/ 6804428 w 8079933"/>
              <a:gd name="connsiteY38353" fmla="*/ 1931547 h 4687251"/>
              <a:gd name="connsiteX38354" fmla="*/ 6804103 w 8079933"/>
              <a:gd name="connsiteY38354" fmla="*/ 1935228 h 4687251"/>
              <a:gd name="connsiteX38355" fmla="*/ 6800739 w 8079933"/>
              <a:gd name="connsiteY38355" fmla="*/ 1937502 h 4687251"/>
              <a:gd name="connsiteX38356" fmla="*/ 6798460 w 8079933"/>
              <a:gd name="connsiteY38356" fmla="*/ 1929057 h 4687251"/>
              <a:gd name="connsiteX38357" fmla="*/ 6797375 w 8079933"/>
              <a:gd name="connsiteY38357" fmla="*/ 1929598 h 4687251"/>
              <a:gd name="connsiteX38358" fmla="*/ 6796724 w 8079933"/>
              <a:gd name="connsiteY38358" fmla="*/ 1927974 h 4687251"/>
              <a:gd name="connsiteX38359" fmla="*/ 6796724 w 8079933"/>
              <a:gd name="connsiteY38359" fmla="*/ 1927649 h 4687251"/>
              <a:gd name="connsiteX38360" fmla="*/ 6796724 w 8079933"/>
              <a:gd name="connsiteY38360" fmla="*/ 1914224 h 4687251"/>
              <a:gd name="connsiteX38361" fmla="*/ 6803018 w 8079933"/>
              <a:gd name="connsiteY38361" fmla="*/ 1909027 h 4687251"/>
              <a:gd name="connsiteX38362" fmla="*/ 6805731 w 8079933"/>
              <a:gd name="connsiteY38362" fmla="*/ 1902855 h 4687251"/>
              <a:gd name="connsiteX38363" fmla="*/ 6805731 w 8079933"/>
              <a:gd name="connsiteY38363" fmla="*/ 1898741 h 4687251"/>
              <a:gd name="connsiteX38364" fmla="*/ 6811916 w 8079933"/>
              <a:gd name="connsiteY38364" fmla="*/ 1894627 h 4687251"/>
              <a:gd name="connsiteX38365" fmla="*/ 6816148 w 8079933"/>
              <a:gd name="connsiteY38365" fmla="*/ 1886723 h 4687251"/>
              <a:gd name="connsiteX38366" fmla="*/ 6820597 w 8079933"/>
              <a:gd name="connsiteY38366" fmla="*/ 1884666 h 4687251"/>
              <a:gd name="connsiteX38367" fmla="*/ 6824395 w 8079933"/>
              <a:gd name="connsiteY38367" fmla="*/ 1872973 h 4687251"/>
              <a:gd name="connsiteX38368" fmla="*/ 6826458 w 8079933"/>
              <a:gd name="connsiteY38368" fmla="*/ 1868750 h 4687251"/>
              <a:gd name="connsiteX38369" fmla="*/ 6826131 w 8079933"/>
              <a:gd name="connsiteY38369" fmla="*/ 1866368 h 4687251"/>
              <a:gd name="connsiteX38370" fmla="*/ 6826458 w 8079933"/>
              <a:gd name="connsiteY38370" fmla="*/ 1858464 h 4687251"/>
              <a:gd name="connsiteX38371" fmla="*/ 6830906 w 8079933"/>
              <a:gd name="connsiteY38371" fmla="*/ 1852943 h 4687251"/>
              <a:gd name="connsiteX38372" fmla="*/ 6830905 w 8079933"/>
              <a:gd name="connsiteY38372" fmla="*/ 1852941 h 4687251"/>
              <a:gd name="connsiteX38373" fmla="*/ 6826456 w 8079933"/>
              <a:gd name="connsiteY38373" fmla="*/ 1858463 h 4687251"/>
              <a:gd name="connsiteX38374" fmla="*/ 6826130 w 8079933"/>
              <a:gd name="connsiteY38374" fmla="*/ 1866367 h 4687251"/>
              <a:gd name="connsiteX38375" fmla="*/ 6826456 w 8079933"/>
              <a:gd name="connsiteY38375" fmla="*/ 1868749 h 4687251"/>
              <a:gd name="connsiteX38376" fmla="*/ 6824394 w 8079933"/>
              <a:gd name="connsiteY38376" fmla="*/ 1872972 h 4687251"/>
              <a:gd name="connsiteX38377" fmla="*/ 6820597 w 8079933"/>
              <a:gd name="connsiteY38377" fmla="*/ 1884665 h 4687251"/>
              <a:gd name="connsiteX38378" fmla="*/ 6816147 w 8079933"/>
              <a:gd name="connsiteY38378" fmla="*/ 1886722 h 4687251"/>
              <a:gd name="connsiteX38379" fmla="*/ 6811915 w 8079933"/>
              <a:gd name="connsiteY38379" fmla="*/ 1894626 h 4687251"/>
              <a:gd name="connsiteX38380" fmla="*/ 6805729 w 8079933"/>
              <a:gd name="connsiteY38380" fmla="*/ 1898740 h 4687251"/>
              <a:gd name="connsiteX38381" fmla="*/ 6805729 w 8079933"/>
              <a:gd name="connsiteY38381" fmla="*/ 1902855 h 4687251"/>
              <a:gd name="connsiteX38382" fmla="*/ 6803016 w 8079933"/>
              <a:gd name="connsiteY38382" fmla="*/ 1909026 h 4687251"/>
              <a:gd name="connsiteX38383" fmla="*/ 6796722 w 8079933"/>
              <a:gd name="connsiteY38383" fmla="*/ 1914223 h 4687251"/>
              <a:gd name="connsiteX38384" fmla="*/ 6796722 w 8079933"/>
              <a:gd name="connsiteY38384" fmla="*/ 1927648 h 4687251"/>
              <a:gd name="connsiteX38385" fmla="*/ 6795204 w 8079933"/>
              <a:gd name="connsiteY38385" fmla="*/ 1923534 h 4687251"/>
              <a:gd name="connsiteX38386" fmla="*/ 6788258 w 8079933"/>
              <a:gd name="connsiteY38386" fmla="*/ 1931546 h 4687251"/>
              <a:gd name="connsiteX38387" fmla="*/ 6783050 w 8079933"/>
              <a:gd name="connsiteY38387" fmla="*/ 1931871 h 4687251"/>
              <a:gd name="connsiteX38388" fmla="*/ 6780337 w 8079933"/>
              <a:gd name="connsiteY38388" fmla="*/ 1932737 h 4687251"/>
              <a:gd name="connsiteX38389" fmla="*/ 6777841 w 8079933"/>
              <a:gd name="connsiteY38389" fmla="*/ 1930571 h 4687251"/>
              <a:gd name="connsiteX38390" fmla="*/ 6771438 w 8079933"/>
              <a:gd name="connsiteY38390" fmla="*/ 1935119 h 4687251"/>
              <a:gd name="connsiteX38391" fmla="*/ 6766013 w 8079933"/>
              <a:gd name="connsiteY38391" fmla="*/ 1935119 h 4687251"/>
              <a:gd name="connsiteX38392" fmla="*/ 6765144 w 8079933"/>
              <a:gd name="connsiteY38392" fmla="*/ 1939991 h 4687251"/>
              <a:gd name="connsiteX38393" fmla="*/ 6762106 w 8079933"/>
              <a:gd name="connsiteY38393" fmla="*/ 1939667 h 4687251"/>
              <a:gd name="connsiteX38394" fmla="*/ 6751580 w 8079933"/>
              <a:gd name="connsiteY38394" fmla="*/ 1947570 h 4687251"/>
              <a:gd name="connsiteX38395" fmla="*/ 6745611 w 8079933"/>
              <a:gd name="connsiteY38395" fmla="*/ 1952009 h 4687251"/>
              <a:gd name="connsiteX38396" fmla="*/ 6747564 w 8079933"/>
              <a:gd name="connsiteY38396" fmla="*/ 1956773 h 4687251"/>
              <a:gd name="connsiteX38397" fmla="*/ 6746913 w 8079933"/>
              <a:gd name="connsiteY38397" fmla="*/ 1958614 h 4687251"/>
              <a:gd name="connsiteX38398" fmla="*/ 6740077 w 8079933"/>
              <a:gd name="connsiteY38398" fmla="*/ 1961537 h 4687251"/>
              <a:gd name="connsiteX38399" fmla="*/ 6736279 w 8079933"/>
              <a:gd name="connsiteY38399" fmla="*/ 1967384 h 4687251"/>
              <a:gd name="connsiteX38400" fmla="*/ 6733457 w 8079933"/>
              <a:gd name="connsiteY38400" fmla="*/ 1967275 h 4687251"/>
              <a:gd name="connsiteX38401" fmla="*/ 6730636 w 8079933"/>
              <a:gd name="connsiteY38401" fmla="*/ 1970956 h 4687251"/>
              <a:gd name="connsiteX38402" fmla="*/ 6727598 w 8079933"/>
              <a:gd name="connsiteY38402" fmla="*/ 1971498 h 4687251"/>
              <a:gd name="connsiteX38403" fmla="*/ 6726947 w 8079933"/>
              <a:gd name="connsiteY38403" fmla="*/ 1967709 h 4687251"/>
              <a:gd name="connsiteX38404" fmla="*/ 6723257 w 8079933"/>
              <a:gd name="connsiteY38404" fmla="*/ 1965110 h 4687251"/>
              <a:gd name="connsiteX38405" fmla="*/ 6725210 w 8079933"/>
              <a:gd name="connsiteY38405" fmla="*/ 1961537 h 4687251"/>
              <a:gd name="connsiteX38406" fmla="*/ 6729116 w 8079933"/>
              <a:gd name="connsiteY38406" fmla="*/ 1961320 h 4687251"/>
              <a:gd name="connsiteX38407" fmla="*/ 6731504 w 8079933"/>
              <a:gd name="connsiteY38407" fmla="*/ 1957964 h 4687251"/>
              <a:gd name="connsiteX38408" fmla="*/ 6736930 w 8079933"/>
              <a:gd name="connsiteY38408" fmla="*/ 1958722 h 4687251"/>
              <a:gd name="connsiteX38409" fmla="*/ 6738883 w 8079933"/>
              <a:gd name="connsiteY38409" fmla="*/ 1957315 h 4687251"/>
              <a:gd name="connsiteX38410" fmla="*/ 6739426 w 8079933"/>
              <a:gd name="connsiteY38410" fmla="*/ 1954608 h 4687251"/>
              <a:gd name="connsiteX38411" fmla="*/ 6736713 w 8079933"/>
              <a:gd name="connsiteY38411" fmla="*/ 1954066 h 4687251"/>
              <a:gd name="connsiteX38412" fmla="*/ 6736170 w 8079933"/>
              <a:gd name="connsiteY38412" fmla="*/ 1951685 h 4687251"/>
              <a:gd name="connsiteX38413" fmla="*/ 6740728 w 8079933"/>
              <a:gd name="connsiteY38413" fmla="*/ 1948653 h 4687251"/>
              <a:gd name="connsiteX38414" fmla="*/ 6742898 w 8079933"/>
              <a:gd name="connsiteY38414" fmla="*/ 1944322 h 4687251"/>
              <a:gd name="connsiteX38415" fmla="*/ 6737255 w 8079933"/>
              <a:gd name="connsiteY38415" fmla="*/ 1948653 h 4687251"/>
              <a:gd name="connsiteX38416" fmla="*/ 6732047 w 8079933"/>
              <a:gd name="connsiteY38416" fmla="*/ 1950385 h 4687251"/>
              <a:gd name="connsiteX38417" fmla="*/ 6729876 w 8079933"/>
              <a:gd name="connsiteY38417" fmla="*/ 1947895 h 4687251"/>
              <a:gd name="connsiteX38418" fmla="*/ 6729876 w 8079933"/>
              <a:gd name="connsiteY38418" fmla="*/ 1945080 h 4687251"/>
              <a:gd name="connsiteX38419" fmla="*/ 6731829 w 8079933"/>
              <a:gd name="connsiteY38419" fmla="*/ 1944105 h 4687251"/>
              <a:gd name="connsiteX38420" fmla="*/ 6732264 w 8079933"/>
              <a:gd name="connsiteY38420" fmla="*/ 1940857 h 4687251"/>
              <a:gd name="connsiteX38421" fmla="*/ 6726947 w 8079933"/>
              <a:gd name="connsiteY38421" fmla="*/ 1935660 h 4687251"/>
              <a:gd name="connsiteX38422" fmla="*/ 6728031 w 8079933"/>
              <a:gd name="connsiteY38422" fmla="*/ 1929489 h 4687251"/>
              <a:gd name="connsiteX38423" fmla="*/ 6727489 w 8079933"/>
              <a:gd name="connsiteY38423" fmla="*/ 1927648 h 4687251"/>
              <a:gd name="connsiteX38424" fmla="*/ 6732047 w 8079933"/>
              <a:gd name="connsiteY38424" fmla="*/ 1927540 h 4687251"/>
              <a:gd name="connsiteX38425" fmla="*/ 6732589 w 8079933"/>
              <a:gd name="connsiteY38425" fmla="*/ 1921585 h 4687251"/>
              <a:gd name="connsiteX38426" fmla="*/ 6737690 w 8079933"/>
              <a:gd name="connsiteY38426" fmla="*/ 1915089 h 4687251"/>
              <a:gd name="connsiteX38427" fmla="*/ 6738775 w 8079933"/>
              <a:gd name="connsiteY38427" fmla="*/ 1911841 h 4687251"/>
              <a:gd name="connsiteX38428" fmla="*/ 6741596 w 8079933"/>
              <a:gd name="connsiteY38428" fmla="*/ 1910217 h 4687251"/>
              <a:gd name="connsiteX38429" fmla="*/ 6741054 w 8079933"/>
              <a:gd name="connsiteY38429" fmla="*/ 1906211 h 4687251"/>
              <a:gd name="connsiteX38430" fmla="*/ 6730419 w 8079933"/>
              <a:gd name="connsiteY38430" fmla="*/ 1899931 h 4687251"/>
              <a:gd name="connsiteX38431" fmla="*/ 6723039 w 8079933"/>
              <a:gd name="connsiteY38431" fmla="*/ 1891053 h 4687251"/>
              <a:gd name="connsiteX38432" fmla="*/ 6721412 w 8079933"/>
              <a:gd name="connsiteY38432" fmla="*/ 1895708 h 4687251"/>
              <a:gd name="connsiteX38433" fmla="*/ 6717180 w 8079933"/>
              <a:gd name="connsiteY38433" fmla="*/ 1895708 h 4687251"/>
              <a:gd name="connsiteX38434" fmla="*/ 6715010 w 8079933"/>
              <a:gd name="connsiteY38434" fmla="*/ 1894301 h 4687251"/>
              <a:gd name="connsiteX38435" fmla="*/ 6709584 w 8079933"/>
              <a:gd name="connsiteY38435" fmla="*/ 1894518 h 4687251"/>
              <a:gd name="connsiteX38436" fmla="*/ 6706545 w 8079933"/>
              <a:gd name="connsiteY38436" fmla="*/ 1899714 h 4687251"/>
              <a:gd name="connsiteX38437" fmla="*/ 6704592 w 8079933"/>
              <a:gd name="connsiteY38437" fmla="*/ 1900797 h 4687251"/>
              <a:gd name="connsiteX38438" fmla="*/ 6703615 w 8079933"/>
              <a:gd name="connsiteY38438" fmla="*/ 1906211 h 4687251"/>
              <a:gd name="connsiteX38439" fmla="*/ 6698732 w 8079933"/>
              <a:gd name="connsiteY38439" fmla="*/ 1911624 h 4687251"/>
              <a:gd name="connsiteX38440" fmla="*/ 6698190 w 8079933"/>
              <a:gd name="connsiteY38440" fmla="*/ 1921044 h 4687251"/>
              <a:gd name="connsiteX38441" fmla="*/ 6695694 w 8079933"/>
              <a:gd name="connsiteY38441" fmla="*/ 1921585 h 4687251"/>
              <a:gd name="connsiteX38442" fmla="*/ 6691895 w 8079933"/>
              <a:gd name="connsiteY38442" fmla="*/ 1928081 h 4687251"/>
              <a:gd name="connsiteX38443" fmla="*/ 6686795 w 8079933"/>
              <a:gd name="connsiteY38443" fmla="*/ 1928190 h 4687251"/>
              <a:gd name="connsiteX38444" fmla="*/ 6678330 w 8079933"/>
              <a:gd name="connsiteY38444" fmla="*/ 1932954 h 4687251"/>
              <a:gd name="connsiteX38445" fmla="*/ 6675835 w 8079933"/>
              <a:gd name="connsiteY38445" fmla="*/ 1945080 h 4687251"/>
              <a:gd name="connsiteX38446" fmla="*/ 6673991 w 8079933"/>
              <a:gd name="connsiteY38446" fmla="*/ 1947787 h 4687251"/>
              <a:gd name="connsiteX38447" fmla="*/ 6675401 w 8079933"/>
              <a:gd name="connsiteY38447" fmla="*/ 1948977 h 4687251"/>
              <a:gd name="connsiteX38448" fmla="*/ 6676377 w 8079933"/>
              <a:gd name="connsiteY38448" fmla="*/ 1954716 h 4687251"/>
              <a:gd name="connsiteX38449" fmla="*/ 6672905 w 8079933"/>
              <a:gd name="connsiteY38449" fmla="*/ 1954716 h 4687251"/>
              <a:gd name="connsiteX38450" fmla="*/ 6674315 w 8079933"/>
              <a:gd name="connsiteY38450" fmla="*/ 1957098 h 4687251"/>
              <a:gd name="connsiteX38451" fmla="*/ 6672038 w 8079933"/>
              <a:gd name="connsiteY38451" fmla="*/ 1962187 h 4687251"/>
              <a:gd name="connsiteX38452" fmla="*/ 6665852 w 8079933"/>
              <a:gd name="connsiteY38452" fmla="*/ 1962403 h 4687251"/>
              <a:gd name="connsiteX38453" fmla="*/ 6658038 w 8079933"/>
              <a:gd name="connsiteY38453" fmla="*/ 1962511 h 4687251"/>
              <a:gd name="connsiteX38454" fmla="*/ 6649031 w 8079933"/>
              <a:gd name="connsiteY38454" fmla="*/ 1959264 h 4687251"/>
              <a:gd name="connsiteX38455" fmla="*/ 6648489 w 8079933"/>
              <a:gd name="connsiteY38455" fmla="*/ 1961970 h 4687251"/>
              <a:gd name="connsiteX38456" fmla="*/ 6645559 w 8079933"/>
              <a:gd name="connsiteY38456" fmla="*/ 1964136 h 4687251"/>
              <a:gd name="connsiteX38457" fmla="*/ 6645016 w 8079933"/>
              <a:gd name="connsiteY38457" fmla="*/ 1969008 h 4687251"/>
              <a:gd name="connsiteX38458" fmla="*/ 6644365 w 8079933"/>
              <a:gd name="connsiteY38458" fmla="*/ 1971607 h 4687251"/>
              <a:gd name="connsiteX38459" fmla="*/ 6644473 w 8079933"/>
              <a:gd name="connsiteY38459" fmla="*/ 1973880 h 4687251"/>
              <a:gd name="connsiteX38460" fmla="*/ 6642303 w 8079933"/>
              <a:gd name="connsiteY38460" fmla="*/ 1975937 h 4687251"/>
              <a:gd name="connsiteX38461" fmla="*/ 6644908 w 8079933"/>
              <a:gd name="connsiteY38461" fmla="*/ 1981459 h 4687251"/>
              <a:gd name="connsiteX38462" fmla="*/ 6645450 w 8079933"/>
              <a:gd name="connsiteY38462" fmla="*/ 1986764 h 4687251"/>
              <a:gd name="connsiteX38463" fmla="*/ 6650442 w 8079933"/>
              <a:gd name="connsiteY38463" fmla="*/ 1989579 h 4687251"/>
              <a:gd name="connsiteX38464" fmla="*/ 6658473 w 8079933"/>
              <a:gd name="connsiteY38464" fmla="*/ 1994993 h 4687251"/>
              <a:gd name="connsiteX38465" fmla="*/ 6659340 w 8079933"/>
              <a:gd name="connsiteY38465" fmla="*/ 1997916 h 4687251"/>
              <a:gd name="connsiteX38466" fmla="*/ 6662922 w 8079933"/>
              <a:gd name="connsiteY38466" fmla="*/ 2004088 h 4687251"/>
              <a:gd name="connsiteX38467" fmla="*/ 6663139 w 8079933"/>
              <a:gd name="connsiteY38467" fmla="*/ 2001813 h 4687251"/>
              <a:gd name="connsiteX38468" fmla="*/ 6664766 w 8079933"/>
              <a:gd name="connsiteY38468" fmla="*/ 2004412 h 4687251"/>
              <a:gd name="connsiteX38469" fmla="*/ 6666719 w 8079933"/>
              <a:gd name="connsiteY38469" fmla="*/ 2001489 h 4687251"/>
              <a:gd name="connsiteX38470" fmla="*/ 6669432 w 8079933"/>
              <a:gd name="connsiteY38470" fmla="*/ 2001489 h 4687251"/>
              <a:gd name="connsiteX38471" fmla="*/ 6669866 w 8079933"/>
              <a:gd name="connsiteY38471" fmla="*/ 2003871 h 4687251"/>
              <a:gd name="connsiteX38472" fmla="*/ 6672362 w 8079933"/>
              <a:gd name="connsiteY38472" fmla="*/ 2002355 h 4687251"/>
              <a:gd name="connsiteX38473" fmla="*/ 6678657 w 8079933"/>
              <a:gd name="connsiteY38473" fmla="*/ 2002247 h 4687251"/>
              <a:gd name="connsiteX38474" fmla="*/ 6679742 w 8079933"/>
              <a:gd name="connsiteY38474" fmla="*/ 2006686 h 4687251"/>
              <a:gd name="connsiteX38475" fmla="*/ 6679742 w 8079933"/>
              <a:gd name="connsiteY38475" fmla="*/ 2013182 h 4687251"/>
              <a:gd name="connsiteX38476" fmla="*/ 6686253 w 8079933"/>
              <a:gd name="connsiteY38476" fmla="*/ 2025850 h 4687251"/>
              <a:gd name="connsiteX38477" fmla="*/ 6692655 w 8079933"/>
              <a:gd name="connsiteY38477" fmla="*/ 2026066 h 4687251"/>
              <a:gd name="connsiteX38478" fmla="*/ 6697104 w 8079933"/>
              <a:gd name="connsiteY38478" fmla="*/ 2023360 h 4687251"/>
              <a:gd name="connsiteX38479" fmla="*/ 6701879 w 8079933"/>
              <a:gd name="connsiteY38479" fmla="*/ 2025092 h 4687251"/>
              <a:gd name="connsiteX38480" fmla="*/ 6704049 w 8079933"/>
              <a:gd name="connsiteY38480" fmla="*/ 2023143 h 4687251"/>
              <a:gd name="connsiteX38481" fmla="*/ 6706545 w 8079933"/>
              <a:gd name="connsiteY38481" fmla="*/ 2018704 h 4687251"/>
              <a:gd name="connsiteX38482" fmla="*/ 6704375 w 8079933"/>
              <a:gd name="connsiteY38482" fmla="*/ 2015780 h 4687251"/>
              <a:gd name="connsiteX38483" fmla="*/ 6703289 w 8079933"/>
              <a:gd name="connsiteY38483" fmla="*/ 2015023 h 4687251"/>
              <a:gd name="connsiteX38484" fmla="*/ 6709801 w 8079933"/>
              <a:gd name="connsiteY38484" fmla="*/ 2012533 h 4687251"/>
              <a:gd name="connsiteX38485" fmla="*/ 6713056 w 8079933"/>
              <a:gd name="connsiteY38485" fmla="*/ 2009826 h 4687251"/>
              <a:gd name="connsiteX38486" fmla="*/ 6713056 w 8079933"/>
              <a:gd name="connsiteY38486" fmla="*/ 2005495 h 4687251"/>
              <a:gd name="connsiteX38487" fmla="*/ 6711103 w 8079933"/>
              <a:gd name="connsiteY38487" fmla="*/ 2003871 h 4687251"/>
              <a:gd name="connsiteX38488" fmla="*/ 6716854 w 8079933"/>
              <a:gd name="connsiteY38488" fmla="*/ 2003654 h 4687251"/>
              <a:gd name="connsiteX38489" fmla="*/ 6727706 w 8079933"/>
              <a:gd name="connsiteY38489" fmla="*/ 1998566 h 4687251"/>
              <a:gd name="connsiteX38490" fmla="*/ 6729116 w 8079933"/>
              <a:gd name="connsiteY38490" fmla="*/ 2000623 h 4687251"/>
              <a:gd name="connsiteX38491" fmla="*/ 6731829 w 8079933"/>
              <a:gd name="connsiteY38491" fmla="*/ 2001706 h 4687251"/>
              <a:gd name="connsiteX38492" fmla="*/ 6734542 w 8079933"/>
              <a:gd name="connsiteY38492" fmla="*/ 2005819 h 4687251"/>
              <a:gd name="connsiteX38493" fmla="*/ 6737472 w 8079933"/>
              <a:gd name="connsiteY38493" fmla="*/ 2007119 h 4687251"/>
              <a:gd name="connsiteX38494" fmla="*/ 6740511 w 8079933"/>
              <a:gd name="connsiteY38494" fmla="*/ 2009826 h 4687251"/>
              <a:gd name="connsiteX38495" fmla="*/ 6755703 w 8079933"/>
              <a:gd name="connsiteY38495" fmla="*/ 2009284 h 4687251"/>
              <a:gd name="connsiteX38496" fmla="*/ 6757765 w 8079933"/>
              <a:gd name="connsiteY38496" fmla="*/ 2007119 h 4687251"/>
              <a:gd name="connsiteX38497" fmla="*/ 6762974 w 8079933"/>
              <a:gd name="connsiteY38497" fmla="*/ 2006903 h 4687251"/>
              <a:gd name="connsiteX38498" fmla="*/ 6762648 w 8079933"/>
              <a:gd name="connsiteY38498" fmla="*/ 2008851 h 4687251"/>
              <a:gd name="connsiteX38499" fmla="*/ 6769267 w 8079933"/>
              <a:gd name="connsiteY38499" fmla="*/ 2008743 h 4687251"/>
              <a:gd name="connsiteX38500" fmla="*/ 6774911 w 8079933"/>
              <a:gd name="connsiteY38500" fmla="*/ 2007660 h 4687251"/>
              <a:gd name="connsiteX38501" fmla="*/ 6777949 w 8079933"/>
              <a:gd name="connsiteY38501" fmla="*/ 2009068 h 4687251"/>
              <a:gd name="connsiteX38502" fmla="*/ 6772740 w 8079933"/>
              <a:gd name="connsiteY38502" fmla="*/ 2010692 h 4687251"/>
              <a:gd name="connsiteX38503" fmla="*/ 6772415 w 8079933"/>
              <a:gd name="connsiteY38503" fmla="*/ 2013399 h 4687251"/>
              <a:gd name="connsiteX38504" fmla="*/ 6776322 w 8079933"/>
              <a:gd name="connsiteY38504" fmla="*/ 2019029 h 4687251"/>
              <a:gd name="connsiteX38505" fmla="*/ 6773825 w 8079933"/>
              <a:gd name="connsiteY38505" fmla="*/ 2019029 h 4687251"/>
              <a:gd name="connsiteX38506" fmla="*/ 6770787 w 8079933"/>
              <a:gd name="connsiteY38506" fmla="*/ 2020653 h 4687251"/>
              <a:gd name="connsiteX38507" fmla="*/ 6771330 w 8079933"/>
              <a:gd name="connsiteY38507" fmla="*/ 2025633 h 4687251"/>
              <a:gd name="connsiteX38508" fmla="*/ 6775128 w 8079933"/>
              <a:gd name="connsiteY38508" fmla="*/ 2026392 h 4687251"/>
              <a:gd name="connsiteX38509" fmla="*/ 6775128 w 8079933"/>
              <a:gd name="connsiteY38509" fmla="*/ 2028557 h 4687251"/>
              <a:gd name="connsiteX38510" fmla="*/ 6769159 w 8079933"/>
              <a:gd name="connsiteY38510" fmla="*/ 2033645 h 4687251"/>
              <a:gd name="connsiteX38511" fmla="*/ 6763300 w 8079933"/>
              <a:gd name="connsiteY38511" fmla="*/ 2029639 h 4687251"/>
              <a:gd name="connsiteX38512" fmla="*/ 6762757 w 8079933"/>
              <a:gd name="connsiteY38512" fmla="*/ 2027149 h 4687251"/>
              <a:gd name="connsiteX38513" fmla="*/ 6760587 w 8079933"/>
              <a:gd name="connsiteY38513" fmla="*/ 2029856 h 4687251"/>
              <a:gd name="connsiteX38514" fmla="*/ 6758851 w 8079933"/>
              <a:gd name="connsiteY38514" fmla="*/ 2026933 h 4687251"/>
              <a:gd name="connsiteX38515" fmla="*/ 6753750 w 8079933"/>
              <a:gd name="connsiteY38515" fmla="*/ 2033645 h 4687251"/>
              <a:gd name="connsiteX38516" fmla="*/ 6750712 w 8079933"/>
              <a:gd name="connsiteY38516" fmla="*/ 2033645 h 4687251"/>
              <a:gd name="connsiteX38517" fmla="*/ 6746371 w 8079933"/>
              <a:gd name="connsiteY38517" fmla="*/ 2037218 h 4687251"/>
              <a:gd name="connsiteX38518" fmla="*/ 6742030 w 8079933"/>
              <a:gd name="connsiteY38518" fmla="*/ 2037110 h 4687251"/>
              <a:gd name="connsiteX38519" fmla="*/ 6740945 w 8079933"/>
              <a:gd name="connsiteY38519" fmla="*/ 2039925 h 4687251"/>
              <a:gd name="connsiteX38520" fmla="*/ 6736930 w 8079933"/>
              <a:gd name="connsiteY38520" fmla="*/ 2036894 h 4687251"/>
              <a:gd name="connsiteX38521" fmla="*/ 6731504 w 8079933"/>
              <a:gd name="connsiteY38521" fmla="*/ 2037543 h 4687251"/>
              <a:gd name="connsiteX38522" fmla="*/ 6736930 w 8079933"/>
              <a:gd name="connsiteY38522" fmla="*/ 2041008 h 4687251"/>
              <a:gd name="connsiteX38523" fmla="*/ 6737472 w 8079933"/>
              <a:gd name="connsiteY38523" fmla="*/ 2044798 h 4687251"/>
              <a:gd name="connsiteX38524" fmla="*/ 6731504 w 8079933"/>
              <a:gd name="connsiteY38524" fmla="*/ 2045880 h 4687251"/>
              <a:gd name="connsiteX38525" fmla="*/ 6731287 w 8079933"/>
              <a:gd name="connsiteY38525" fmla="*/ 2050969 h 4687251"/>
              <a:gd name="connsiteX38526" fmla="*/ 6724125 w 8079933"/>
              <a:gd name="connsiteY38526" fmla="*/ 2050535 h 4687251"/>
              <a:gd name="connsiteX38527" fmla="*/ 6720326 w 8079933"/>
              <a:gd name="connsiteY38527" fmla="*/ 2054758 h 4687251"/>
              <a:gd name="connsiteX38528" fmla="*/ 6722497 w 8079933"/>
              <a:gd name="connsiteY38528" fmla="*/ 2057573 h 4687251"/>
              <a:gd name="connsiteX38529" fmla="*/ 6726947 w 8079933"/>
              <a:gd name="connsiteY38529" fmla="*/ 2060388 h 4687251"/>
              <a:gd name="connsiteX38530" fmla="*/ 6722606 w 8079933"/>
              <a:gd name="connsiteY38530" fmla="*/ 2065369 h 4687251"/>
              <a:gd name="connsiteX38531" fmla="*/ 6720326 w 8079933"/>
              <a:gd name="connsiteY38531" fmla="*/ 2063961 h 4687251"/>
              <a:gd name="connsiteX38532" fmla="*/ 6715986 w 8079933"/>
              <a:gd name="connsiteY38532" fmla="*/ 2070998 h 4687251"/>
              <a:gd name="connsiteX38533" fmla="*/ 6712514 w 8079933"/>
              <a:gd name="connsiteY38533" fmla="*/ 2072081 h 4687251"/>
              <a:gd name="connsiteX38534" fmla="*/ 6710886 w 8079933"/>
              <a:gd name="connsiteY38534" fmla="*/ 2070998 h 4687251"/>
              <a:gd name="connsiteX38535" fmla="*/ 6709584 w 8079933"/>
              <a:gd name="connsiteY38535" fmla="*/ 2077820 h 4687251"/>
              <a:gd name="connsiteX38536" fmla="*/ 6711645 w 8079933"/>
              <a:gd name="connsiteY38536" fmla="*/ 2083234 h 4687251"/>
              <a:gd name="connsiteX38537" fmla="*/ 6709584 w 8079933"/>
              <a:gd name="connsiteY38537" fmla="*/ 2091354 h 4687251"/>
              <a:gd name="connsiteX38538" fmla="*/ 6709801 w 8079933"/>
              <a:gd name="connsiteY38538" fmla="*/ 2103263 h 4687251"/>
              <a:gd name="connsiteX38539" fmla="*/ 6711645 w 8079933"/>
              <a:gd name="connsiteY38539" fmla="*/ 2103155 h 4687251"/>
              <a:gd name="connsiteX38540" fmla="*/ 6723908 w 8079933"/>
              <a:gd name="connsiteY38540" fmla="*/ 2108893 h 4687251"/>
              <a:gd name="connsiteX38541" fmla="*/ 6723908 w 8079933"/>
              <a:gd name="connsiteY38541" fmla="*/ 2112358 h 4687251"/>
              <a:gd name="connsiteX38542" fmla="*/ 6727380 w 8079933"/>
              <a:gd name="connsiteY38542" fmla="*/ 2110301 h 4687251"/>
              <a:gd name="connsiteX38543" fmla="*/ 6740511 w 8079933"/>
              <a:gd name="connsiteY38543" fmla="*/ 2117014 h 4687251"/>
              <a:gd name="connsiteX38544" fmla="*/ 6747781 w 8079933"/>
              <a:gd name="connsiteY38544" fmla="*/ 2131955 h 4687251"/>
              <a:gd name="connsiteX38545" fmla="*/ 6749409 w 8079933"/>
              <a:gd name="connsiteY38545" fmla="*/ 2132388 h 4687251"/>
              <a:gd name="connsiteX38546" fmla="*/ 6747022 w 8079933"/>
              <a:gd name="connsiteY38546" fmla="*/ 2137910 h 4687251"/>
              <a:gd name="connsiteX38547" fmla="*/ 6751797 w 8079933"/>
              <a:gd name="connsiteY38547" fmla="*/ 2139534 h 4687251"/>
              <a:gd name="connsiteX38548" fmla="*/ 6752339 w 8079933"/>
              <a:gd name="connsiteY38548" fmla="*/ 2146572 h 4687251"/>
              <a:gd name="connsiteX38549" fmla="*/ 6761129 w 8079933"/>
              <a:gd name="connsiteY38549" fmla="*/ 2153068 h 4687251"/>
              <a:gd name="connsiteX38550" fmla="*/ 6761346 w 8079933"/>
              <a:gd name="connsiteY38550" fmla="*/ 2160105 h 4687251"/>
              <a:gd name="connsiteX38551" fmla="*/ 6767640 w 8079933"/>
              <a:gd name="connsiteY38551" fmla="*/ 2169092 h 4687251"/>
              <a:gd name="connsiteX38552" fmla="*/ 6772415 w 8079933"/>
              <a:gd name="connsiteY38552" fmla="*/ 2171149 h 4687251"/>
              <a:gd name="connsiteX38553" fmla="*/ 6777298 w 8079933"/>
              <a:gd name="connsiteY38553" fmla="*/ 2170825 h 4687251"/>
              <a:gd name="connsiteX38554" fmla="*/ 6779794 w 8079933"/>
              <a:gd name="connsiteY38554" fmla="*/ 2172773 h 4687251"/>
              <a:gd name="connsiteX38555" fmla="*/ 6779794 w 8079933"/>
              <a:gd name="connsiteY38555" fmla="*/ 2174505 h 4687251"/>
              <a:gd name="connsiteX38556" fmla="*/ 6785436 w 8079933"/>
              <a:gd name="connsiteY38556" fmla="*/ 2181435 h 4687251"/>
              <a:gd name="connsiteX38557" fmla="*/ 6788476 w 8079933"/>
              <a:gd name="connsiteY38557" fmla="*/ 2182625 h 4687251"/>
              <a:gd name="connsiteX38558" fmla="*/ 6791948 w 8079933"/>
              <a:gd name="connsiteY38558" fmla="*/ 2189555 h 4687251"/>
              <a:gd name="connsiteX38559" fmla="*/ 6789235 w 8079933"/>
              <a:gd name="connsiteY38559" fmla="*/ 2191179 h 4687251"/>
              <a:gd name="connsiteX38560" fmla="*/ 6779468 w 8079933"/>
              <a:gd name="connsiteY38560" fmla="*/ 2187498 h 4687251"/>
              <a:gd name="connsiteX38561" fmla="*/ 6772523 w 8079933"/>
              <a:gd name="connsiteY38561" fmla="*/ 2191504 h 4687251"/>
              <a:gd name="connsiteX38562" fmla="*/ 6767857 w 8079933"/>
              <a:gd name="connsiteY38562" fmla="*/ 2186632 h 4687251"/>
              <a:gd name="connsiteX38563" fmla="*/ 6764277 w 8079933"/>
              <a:gd name="connsiteY38563" fmla="*/ 2186415 h 4687251"/>
              <a:gd name="connsiteX38564" fmla="*/ 6758958 w 8079933"/>
              <a:gd name="connsiteY38564" fmla="*/ 2182843 h 4687251"/>
              <a:gd name="connsiteX38565" fmla="*/ 6751363 w 8079933"/>
              <a:gd name="connsiteY38565" fmla="*/ 2181760 h 4687251"/>
              <a:gd name="connsiteX38566" fmla="*/ 6748324 w 8079933"/>
              <a:gd name="connsiteY38566" fmla="*/ 2185874 h 4687251"/>
              <a:gd name="connsiteX38567" fmla="*/ 6743658 w 8079933"/>
              <a:gd name="connsiteY38567" fmla="*/ 2185874 h 4687251"/>
              <a:gd name="connsiteX38568" fmla="*/ 6740511 w 8079933"/>
              <a:gd name="connsiteY38568" fmla="*/ 2183384 h 4687251"/>
              <a:gd name="connsiteX38569" fmla="*/ 6737690 w 8079933"/>
              <a:gd name="connsiteY38569" fmla="*/ 2176129 h 4687251"/>
              <a:gd name="connsiteX38570" fmla="*/ 6731287 w 8079933"/>
              <a:gd name="connsiteY38570" fmla="*/ 2178728 h 4687251"/>
              <a:gd name="connsiteX38571" fmla="*/ 6727706 w 8079933"/>
              <a:gd name="connsiteY38571" fmla="*/ 2177212 h 4687251"/>
              <a:gd name="connsiteX38572" fmla="*/ 6726404 w 8079933"/>
              <a:gd name="connsiteY38572" fmla="*/ 2178728 h 4687251"/>
              <a:gd name="connsiteX38573" fmla="*/ 6723365 w 8079933"/>
              <a:gd name="connsiteY38573" fmla="*/ 2178728 h 4687251"/>
              <a:gd name="connsiteX38574" fmla="*/ 6720435 w 8079933"/>
              <a:gd name="connsiteY38574" fmla="*/ 2177862 h 4687251"/>
              <a:gd name="connsiteX38575" fmla="*/ 6716095 w 8079933"/>
              <a:gd name="connsiteY38575" fmla="*/ 2179919 h 4687251"/>
              <a:gd name="connsiteX38576" fmla="*/ 6710561 w 8079933"/>
              <a:gd name="connsiteY38576" fmla="*/ 2190855 h 4687251"/>
              <a:gd name="connsiteX38577" fmla="*/ 6717180 w 8079933"/>
              <a:gd name="connsiteY38577" fmla="*/ 2182625 h 4687251"/>
              <a:gd name="connsiteX38578" fmla="*/ 6722497 w 8079933"/>
              <a:gd name="connsiteY38578" fmla="*/ 2180893 h 4687251"/>
              <a:gd name="connsiteX38579" fmla="*/ 6728574 w 8079933"/>
              <a:gd name="connsiteY38579" fmla="*/ 2181651 h 4687251"/>
              <a:gd name="connsiteX38580" fmla="*/ 6734000 w 8079933"/>
              <a:gd name="connsiteY38580" fmla="*/ 2179378 h 4687251"/>
              <a:gd name="connsiteX38581" fmla="*/ 6736604 w 8079933"/>
              <a:gd name="connsiteY38581" fmla="*/ 2180568 h 4687251"/>
              <a:gd name="connsiteX38582" fmla="*/ 6736713 w 8079933"/>
              <a:gd name="connsiteY38582" fmla="*/ 2183059 h 4687251"/>
              <a:gd name="connsiteX38583" fmla="*/ 6742898 w 8079933"/>
              <a:gd name="connsiteY38583" fmla="*/ 2188580 h 4687251"/>
              <a:gd name="connsiteX38584" fmla="*/ 6746696 w 8079933"/>
              <a:gd name="connsiteY38584" fmla="*/ 2189555 h 4687251"/>
              <a:gd name="connsiteX38585" fmla="*/ 6754510 w 8079933"/>
              <a:gd name="connsiteY38585" fmla="*/ 2184141 h 4687251"/>
              <a:gd name="connsiteX38586" fmla="*/ 6759176 w 8079933"/>
              <a:gd name="connsiteY38586" fmla="*/ 2184358 h 4687251"/>
              <a:gd name="connsiteX38587" fmla="*/ 6768726 w 8079933"/>
              <a:gd name="connsiteY38587" fmla="*/ 2193669 h 4687251"/>
              <a:gd name="connsiteX38588" fmla="*/ 6776755 w 8079933"/>
              <a:gd name="connsiteY38588" fmla="*/ 2198217 h 4687251"/>
              <a:gd name="connsiteX38589" fmla="*/ 6789018 w 8079933"/>
              <a:gd name="connsiteY38589" fmla="*/ 2205796 h 4687251"/>
              <a:gd name="connsiteX38590" fmla="*/ 6794769 w 8079933"/>
              <a:gd name="connsiteY38590" fmla="*/ 2215216 h 4687251"/>
              <a:gd name="connsiteX38591" fmla="*/ 6794661 w 8079933"/>
              <a:gd name="connsiteY38591" fmla="*/ 2218572 h 4687251"/>
              <a:gd name="connsiteX38592" fmla="*/ 6788150 w 8079933"/>
              <a:gd name="connsiteY38592" fmla="*/ 2219329 h 4687251"/>
              <a:gd name="connsiteX38593" fmla="*/ 6782507 w 8079933"/>
              <a:gd name="connsiteY38593" fmla="*/ 2225826 h 4687251"/>
              <a:gd name="connsiteX38594" fmla="*/ 6779577 w 8079933"/>
              <a:gd name="connsiteY38594" fmla="*/ 2225392 h 4687251"/>
              <a:gd name="connsiteX38595" fmla="*/ 6777298 w 8079933"/>
              <a:gd name="connsiteY38595" fmla="*/ 2227667 h 4687251"/>
              <a:gd name="connsiteX38596" fmla="*/ 6776864 w 8079933"/>
              <a:gd name="connsiteY38596" fmla="*/ 2231781 h 4687251"/>
              <a:gd name="connsiteX38597" fmla="*/ 6772740 w 8079933"/>
              <a:gd name="connsiteY38597" fmla="*/ 2233729 h 4687251"/>
              <a:gd name="connsiteX38598" fmla="*/ 6766990 w 8079933"/>
              <a:gd name="connsiteY38598" fmla="*/ 2230806 h 4687251"/>
              <a:gd name="connsiteX38599" fmla="*/ 6763733 w 8079933"/>
              <a:gd name="connsiteY38599" fmla="*/ 2233188 h 4687251"/>
              <a:gd name="connsiteX38600" fmla="*/ 6760587 w 8079933"/>
              <a:gd name="connsiteY38600" fmla="*/ 2233080 h 4687251"/>
              <a:gd name="connsiteX38601" fmla="*/ 6755160 w 8079933"/>
              <a:gd name="connsiteY38601" fmla="*/ 2237519 h 4687251"/>
              <a:gd name="connsiteX38602" fmla="*/ 6754618 w 8079933"/>
              <a:gd name="connsiteY38602" fmla="*/ 2243149 h 4687251"/>
              <a:gd name="connsiteX38603" fmla="*/ 6756137 w 8079933"/>
              <a:gd name="connsiteY38603" fmla="*/ 2239035 h 4687251"/>
              <a:gd name="connsiteX38604" fmla="*/ 6761020 w 8079933"/>
              <a:gd name="connsiteY38604" fmla="*/ 2235029 h 4687251"/>
              <a:gd name="connsiteX38605" fmla="*/ 6765904 w 8079933"/>
              <a:gd name="connsiteY38605" fmla="*/ 2233946 h 4687251"/>
              <a:gd name="connsiteX38606" fmla="*/ 6770787 w 8079933"/>
              <a:gd name="connsiteY38606" fmla="*/ 2240984 h 4687251"/>
              <a:gd name="connsiteX38607" fmla="*/ 6774585 w 8079933"/>
              <a:gd name="connsiteY38607" fmla="*/ 2242283 h 4687251"/>
              <a:gd name="connsiteX38608" fmla="*/ 6781964 w 8079933"/>
              <a:gd name="connsiteY38608" fmla="*/ 2235895 h 4687251"/>
              <a:gd name="connsiteX38609" fmla="*/ 6787607 w 8079933"/>
              <a:gd name="connsiteY38609" fmla="*/ 2236761 h 4687251"/>
              <a:gd name="connsiteX38610" fmla="*/ 6795312 w 8079933"/>
              <a:gd name="connsiteY38610" fmla="*/ 2246722 h 4687251"/>
              <a:gd name="connsiteX38611" fmla="*/ 6796614 w 8079933"/>
              <a:gd name="connsiteY38611" fmla="*/ 2244557 h 4687251"/>
              <a:gd name="connsiteX38612" fmla="*/ 6798567 w 8079933"/>
              <a:gd name="connsiteY38612" fmla="*/ 2247047 h 4687251"/>
              <a:gd name="connsiteX38613" fmla="*/ 6803342 w 8079933"/>
              <a:gd name="connsiteY38613" fmla="*/ 2247047 h 4687251"/>
              <a:gd name="connsiteX38614" fmla="*/ 6803993 w 8079933"/>
              <a:gd name="connsiteY38614" fmla="*/ 2248563 h 4687251"/>
              <a:gd name="connsiteX38615" fmla="*/ 6793359 w 8079933"/>
              <a:gd name="connsiteY38615" fmla="*/ 2258524 h 4687251"/>
              <a:gd name="connsiteX38616" fmla="*/ 6786847 w 8079933"/>
              <a:gd name="connsiteY38616" fmla="*/ 2259714 h 4687251"/>
              <a:gd name="connsiteX38617" fmla="*/ 6786847 w 8079933"/>
              <a:gd name="connsiteY38617" fmla="*/ 2264045 h 4687251"/>
              <a:gd name="connsiteX38618" fmla="*/ 6790103 w 8079933"/>
              <a:gd name="connsiteY38618" fmla="*/ 2264587 h 4687251"/>
              <a:gd name="connsiteX38619" fmla="*/ 6796288 w 8079933"/>
              <a:gd name="connsiteY38619" fmla="*/ 2259390 h 4687251"/>
              <a:gd name="connsiteX38620" fmla="*/ 6801280 w 8079933"/>
              <a:gd name="connsiteY38620" fmla="*/ 2260473 h 4687251"/>
              <a:gd name="connsiteX38621" fmla="*/ 6801280 w 8079933"/>
              <a:gd name="connsiteY38621" fmla="*/ 2258307 h 4687251"/>
              <a:gd name="connsiteX38622" fmla="*/ 6800412 w 8079933"/>
              <a:gd name="connsiteY38622" fmla="*/ 2257008 h 4687251"/>
              <a:gd name="connsiteX38623" fmla="*/ 6803342 w 8079933"/>
              <a:gd name="connsiteY38623" fmla="*/ 2254193 h 4687251"/>
              <a:gd name="connsiteX38624" fmla="*/ 6805838 w 8079933"/>
              <a:gd name="connsiteY38624" fmla="*/ 2255816 h 4687251"/>
              <a:gd name="connsiteX38625" fmla="*/ 6806489 w 8079933"/>
              <a:gd name="connsiteY38625" fmla="*/ 2262854 h 4687251"/>
              <a:gd name="connsiteX38626" fmla="*/ 6807900 w 8079933"/>
              <a:gd name="connsiteY38626" fmla="*/ 2265777 h 4687251"/>
              <a:gd name="connsiteX38627" fmla="*/ 6804970 w 8079933"/>
              <a:gd name="connsiteY38627" fmla="*/ 2268160 h 4687251"/>
              <a:gd name="connsiteX38628" fmla="*/ 6804644 w 8079933"/>
              <a:gd name="connsiteY38628" fmla="*/ 2266428 h 4687251"/>
              <a:gd name="connsiteX38629" fmla="*/ 6801823 w 8079933"/>
              <a:gd name="connsiteY38629" fmla="*/ 2264912 h 4687251"/>
              <a:gd name="connsiteX38630" fmla="*/ 6801171 w 8079933"/>
              <a:gd name="connsiteY38630" fmla="*/ 2267293 h 4687251"/>
              <a:gd name="connsiteX38631" fmla="*/ 6799761 w 8079933"/>
              <a:gd name="connsiteY38631" fmla="*/ 2268376 h 4687251"/>
              <a:gd name="connsiteX38632" fmla="*/ 6795095 w 8079933"/>
              <a:gd name="connsiteY38632" fmla="*/ 2267293 h 4687251"/>
              <a:gd name="connsiteX38633" fmla="*/ 6790103 w 8079933"/>
              <a:gd name="connsiteY38633" fmla="*/ 2271516 h 4687251"/>
              <a:gd name="connsiteX38634" fmla="*/ 6789669 w 8079933"/>
              <a:gd name="connsiteY38634" fmla="*/ 2273681 h 4687251"/>
              <a:gd name="connsiteX38635" fmla="*/ 6797482 w 8079933"/>
              <a:gd name="connsiteY38635" fmla="*/ 2273357 h 4687251"/>
              <a:gd name="connsiteX38636" fmla="*/ 6800087 w 8079933"/>
              <a:gd name="connsiteY38636" fmla="*/ 2275847 h 4687251"/>
              <a:gd name="connsiteX38637" fmla="*/ 6799435 w 8079933"/>
              <a:gd name="connsiteY38637" fmla="*/ 2277796 h 4687251"/>
              <a:gd name="connsiteX38638" fmla="*/ 6797808 w 8079933"/>
              <a:gd name="connsiteY38638" fmla="*/ 2277363 h 4687251"/>
              <a:gd name="connsiteX38639" fmla="*/ 6794552 w 8079933"/>
              <a:gd name="connsiteY38639" fmla="*/ 2280394 h 4687251"/>
              <a:gd name="connsiteX38640" fmla="*/ 6797590 w 8079933"/>
              <a:gd name="connsiteY38640" fmla="*/ 2281910 h 4687251"/>
              <a:gd name="connsiteX38641" fmla="*/ 6799761 w 8079933"/>
              <a:gd name="connsiteY38641" fmla="*/ 2284292 h 4687251"/>
              <a:gd name="connsiteX38642" fmla="*/ 6797048 w 8079933"/>
              <a:gd name="connsiteY38642" fmla="*/ 2286782 h 4687251"/>
              <a:gd name="connsiteX38643" fmla="*/ 6793792 w 8079933"/>
              <a:gd name="connsiteY38643" fmla="*/ 2286132 h 4687251"/>
              <a:gd name="connsiteX38644" fmla="*/ 6791839 w 8079933"/>
              <a:gd name="connsiteY38644" fmla="*/ 2287756 h 4687251"/>
              <a:gd name="connsiteX38645" fmla="*/ 6793901 w 8079933"/>
              <a:gd name="connsiteY38645" fmla="*/ 2289705 h 4687251"/>
              <a:gd name="connsiteX38646" fmla="*/ 6798350 w 8079933"/>
              <a:gd name="connsiteY38646" fmla="*/ 2290138 h 4687251"/>
              <a:gd name="connsiteX38647" fmla="*/ 6800954 w 8079933"/>
              <a:gd name="connsiteY38647" fmla="*/ 2294577 h 4687251"/>
              <a:gd name="connsiteX38648" fmla="*/ 6797699 w 8079933"/>
              <a:gd name="connsiteY38648" fmla="*/ 2296634 h 4687251"/>
              <a:gd name="connsiteX38649" fmla="*/ 6796722 w 8079933"/>
              <a:gd name="connsiteY38649" fmla="*/ 2301399 h 4687251"/>
              <a:gd name="connsiteX38650" fmla="*/ 6795528 w 8079933"/>
              <a:gd name="connsiteY38650" fmla="*/ 2299775 h 4687251"/>
              <a:gd name="connsiteX38651" fmla="*/ 6794661 w 8079933"/>
              <a:gd name="connsiteY38651" fmla="*/ 2295877 h 4687251"/>
              <a:gd name="connsiteX38652" fmla="*/ 6790754 w 8079933"/>
              <a:gd name="connsiteY38652" fmla="*/ 2296418 h 4687251"/>
              <a:gd name="connsiteX38653" fmla="*/ 6787173 w 8079933"/>
              <a:gd name="connsiteY38653" fmla="*/ 2304864 h 4687251"/>
              <a:gd name="connsiteX38654" fmla="*/ 6784460 w 8079933"/>
              <a:gd name="connsiteY38654" fmla="*/ 2307029 h 4687251"/>
              <a:gd name="connsiteX38655" fmla="*/ 6777949 w 8079933"/>
              <a:gd name="connsiteY38655" fmla="*/ 2304972 h 4687251"/>
              <a:gd name="connsiteX38656" fmla="*/ 6782507 w 8079933"/>
              <a:gd name="connsiteY38656" fmla="*/ 2307570 h 4687251"/>
              <a:gd name="connsiteX38657" fmla="*/ 6782507 w 8079933"/>
              <a:gd name="connsiteY38657" fmla="*/ 2310060 h 4687251"/>
              <a:gd name="connsiteX38658" fmla="*/ 6784351 w 8079933"/>
              <a:gd name="connsiteY38658" fmla="*/ 2312984 h 4687251"/>
              <a:gd name="connsiteX38659" fmla="*/ 6781638 w 8079933"/>
              <a:gd name="connsiteY38659" fmla="*/ 2314824 h 4687251"/>
              <a:gd name="connsiteX38660" fmla="*/ 6781205 w 8079933"/>
              <a:gd name="connsiteY38660" fmla="*/ 2318072 h 4687251"/>
              <a:gd name="connsiteX38661" fmla="*/ 6783267 w 8079933"/>
              <a:gd name="connsiteY38661" fmla="*/ 2320779 h 4687251"/>
              <a:gd name="connsiteX38662" fmla="*/ 6781638 w 8079933"/>
              <a:gd name="connsiteY38662" fmla="*/ 2322511 h 4687251"/>
              <a:gd name="connsiteX38663" fmla="*/ 6781747 w 8079933"/>
              <a:gd name="connsiteY38663" fmla="*/ 2326734 h 4687251"/>
              <a:gd name="connsiteX38664" fmla="*/ 6777841 w 8079933"/>
              <a:gd name="connsiteY38664" fmla="*/ 2328683 h 4687251"/>
              <a:gd name="connsiteX38665" fmla="*/ 6774585 w 8079933"/>
              <a:gd name="connsiteY38665" fmla="*/ 2325218 h 4687251"/>
              <a:gd name="connsiteX38666" fmla="*/ 6773500 w 8079933"/>
              <a:gd name="connsiteY38666" fmla="*/ 2329440 h 4687251"/>
              <a:gd name="connsiteX38667" fmla="*/ 6777081 w 8079933"/>
              <a:gd name="connsiteY38667" fmla="*/ 2329766 h 4687251"/>
              <a:gd name="connsiteX38668" fmla="*/ 6780337 w 8079933"/>
              <a:gd name="connsiteY38668" fmla="*/ 2333772 h 4687251"/>
              <a:gd name="connsiteX38669" fmla="*/ 6774911 w 8079933"/>
              <a:gd name="connsiteY38669" fmla="*/ 2333338 h 4687251"/>
              <a:gd name="connsiteX38670" fmla="*/ 6774585 w 8079933"/>
              <a:gd name="connsiteY38670" fmla="*/ 2336262 h 4687251"/>
              <a:gd name="connsiteX38671" fmla="*/ 6768617 w 8079933"/>
              <a:gd name="connsiteY38671" fmla="*/ 2342541 h 4687251"/>
              <a:gd name="connsiteX38672" fmla="*/ 6765470 w 8079933"/>
              <a:gd name="connsiteY38672" fmla="*/ 2342541 h 4687251"/>
              <a:gd name="connsiteX38673" fmla="*/ 6765904 w 8079933"/>
              <a:gd name="connsiteY38673" fmla="*/ 2337886 h 4687251"/>
              <a:gd name="connsiteX38674" fmla="*/ 6763300 w 8079933"/>
              <a:gd name="connsiteY38674" fmla="*/ 2338211 h 4687251"/>
              <a:gd name="connsiteX38675" fmla="*/ 6761888 w 8079933"/>
              <a:gd name="connsiteY38675" fmla="*/ 2337886 h 4687251"/>
              <a:gd name="connsiteX38676" fmla="*/ 6761020 w 8079933"/>
              <a:gd name="connsiteY38676" fmla="*/ 2341892 h 4687251"/>
              <a:gd name="connsiteX38677" fmla="*/ 6757874 w 8079933"/>
              <a:gd name="connsiteY38677" fmla="*/ 2341134 h 4687251"/>
              <a:gd name="connsiteX38678" fmla="*/ 6759935 w 8079933"/>
              <a:gd name="connsiteY38678" fmla="*/ 2343624 h 4687251"/>
              <a:gd name="connsiteX38679" fmla="*/ 6757331 w 8079933"/>
              <a:gd name="connsiteY38679" fmla="*/ 2345790 h 4687251"/>
              <a:gd name="connsiteX38680" fmla="*/ 6761129 w 8079933"/>
              <a:gd name="connsiteY38680" fmla="*/ 2346223 h 4687251"/>
              <a:gd name="connsiteX38681" fmla="*/ 6764384 w 8079933"/>
              <a:gd name="connsiteY38681" fmla="*/ 2350554 h 4687251"/>
              <a:gd name="connsiteX38682" fmla="*/ 6759393 w 8079933"/>
              <a:gd name="connsiteY38682" fmla="*/ 2350554 h 4687251"/>
              <a:gd name="connsiteX38683" fmla="*/ 6765144 w 8079933"/>
              <a:gd name="connsiteY38683" fmla="*/ 2355534 h 4687251"/>
              <a:gd name="connsiteX38684" fmla="*/ 6768074 w 8079933"/>
              <a:gd name="connsiteY38684" fmla="*/ 2352827 h 4687251"/>
              <a:gd name="connsiteX38685" fmla="*/ 6770570 w 8079933"/>
              <a:gd name="connsiteY38685" fmla="*/ 2355534 h 4687251"/>
              <a:gd name="connsiteX38686" fmla="*/ 6762648 w 8079933"/>
              <a:gd name="connsiteY38686" fmla="*/ 2358999 h 4687251"/>
              <a:gd name="connsiteX38687" fmla="*/ 6757765 w 8079933"/>
              <a:gd name="connsiteY38687" fmla="*/ 2362463 h 4687251"/>
              <a:gd name="connsiteX38688" fmla="*/ 6756896 w 8079933"/>
              <a:gd name="connsiteY38688" fmla="*/ 2366145 h 4687251"/>
              <a:gd name="connsiteX38689" fmla="*/ 6758742 w 8079933"/>
              <a:gd name="connsiteY38689" fmla="*/ 2364304 h 4687251"/>
              <a:gd name="connsiteX38690" fmla="*/ 6762431 w 8079933"/>
              <a:gd name="connsiteY38690" fmla="*/ 2364088 h 4687251"/>
              <a:gd name="connsiteX38691" fmla="*/ 6765144 w 8079933"/>
              <a:gd name="connsiteY38691" fmla="*/ 2366794 h 4687251"/>
              <a:gd name="connsiteX38692" fmla="*/ 6759610 w 8079933"/>
              <a:gd name="connsiteY38692" fmla="*/ 2371341 h 4687251"/>
              <a:gd name="connsiteX38693" fmla="*/ 6763517 w 8079933"/>
              <a:gd name="connsiteY38693" fmla="*/ 2372641 h 4687251"/>
              <a:gd name="connsiteX38694" fmla="*/ 6762974 w 8079933"/>
              <a:gd name="connsiteY38694" fmla="*/ 2375780 h 4687251"/>
              <a:gd name="connsiteX38695" fmla="*/ 6759718 w 8079933"/>
              <a:gd name="connsiteY38695" fmla="*/ 2376647 h 4687251"/>
              <a:gd name="connsiteX38696" fmla="*/ 6760587 w 8079933"/>
              <a:gd name="connsiteY38696" fmla="*/ 2379353 h 4687251"/>
              <a:gd name="connsiteX38697" fmla="*/ 6762974 w 8079933"/>
              <a:gd name="connsiteY38697" fmla="*/ 2379353 h 4687251"/>
              <a:gd name="connsiteX38698" fmla="*/ 6764818 w 8079933"/>
              <a:gd name="connsiteY38698" fmla="*/ 2382818 h 4687251"/>
              <a:gd name="connsiteX38699" fmla="*/ 6764384 w 8079933"/>
              <a:gd name="connsiteY38699" fmla="*/ 2388557 h 4687251"/>
              <a:gd name="connsiteX38700" fmla="*/ 6761888 w 8079933"/>
              <a:gd name="connsiteY38700" fmla="*/ 2384659 h 4687251"/>
              <a:gd name="connsiteX38701" fmla="*/ 6759393 w 8079933"/>
              <a:gd name="connsiteY38701" fmla="*/ 2384659 h 4687251"/>
              <a:gd name="connsiteX38702" fmla="*/ 6759393 w 8079933"/>
              <a:gd name="connsiteY38702" fmla="*/ 2381411 h 4687251"/>
              <a:gd name="connsiteX38703" fmla="*/ 6755703 w 8079933"/>
              <a:gd name="connsiteY38703" fmla="*/ 2378162 h 4687251"/>
              <a:gd name="connsiteX38704" fmla="*/ 6754076 w 8079933"/>
              <a:gd name="connsiteY38704" fmla="*/ 2380978 h 4687251"/>
              <a:gd name="connsiteX38705" fmla="*/ 6751580 w 8079933"/>
              <a:gd name="connsiteY38705" fmla="*/ 2380978 h 4687251"/>
              <a:gd name="connsiteX38706" fmla="*/ 6751146 w 8079933"/>
              <a:gd name="connsiteY38706" fmla="*/ 2384767 h 4687251"/>
              <a:gd name="connsiteX38707" fmla="*/ 6755378 w 8079933"/>
              <a:gd name="connsiteY38707" fmla="*/ 2387907 h 4687251"/>
              <a:gd name="connsiteX38708" fmla="*/ 6755160 w 8079933"/>
              <a:gd name="connsiteY38708" fmla="*/ 2391804 h 4687251"/>
              <a:gd name="connsiteX38709" fmla="*/ 6753533 w 8079933"/>
              <a:gd name="connsiteY38709" fmla="*/ 2389531 h 4687251"/>
              <a:gd name="connsiteX38710" fmla="*/ 6751146 w 8079933"/>
              <a:gd name="connsiteY38710" fmla="*/ 2389531 h 4687251"/>
              <a:gd name="connsiteX38711" fmla="*/ 6749409 w 8079933"/>
              <a:gd name="connsiteY38711" fmla="*/ 2387149 h 4687251"/>
              <a:gd name="connsiteX38712" fmla="*/ 6745937 w 8079933"/>
              <a:gd name="connsiteY38712" fmla="*/ 2388015 h 4687251"/>
              <a:gd name="connsiteX38713" fmla="*/ 6748541 w 8079933"/>
              <a:gd name="connsiteY38713" fmla="*/ 2390072 h 4687251"/>
              <a:gd name="connsiteX38714" fmla="*/ 6749193 w 8079933"/>
              <a:gd name="connsiteY38714" fmla="*/ 2394403 h 4687251"/>
              <a:gd name="connsiteX38715" fmla="*/ 6752447 w 8079933"/>
              <a:gd name="connsiteY38715" fmla="*/ 2394403 h 4687251"/>
              <a:gd name="connsiteX38716" fmla="*/ 6752990 w 8079933"/>
              <a:gd name="connsiteY38716" fmla="*/ 2395594 h 4687251"/>
              <a:gd name="connsiteX38717" fmla="*/ 6750277 w 8079933"/>
              <a:gd name="connsiteY38717" fmla="*/ 2398842 h 4687251"/>
              <a:gd name="connsiteX38718" fmla="*/ 6745394 w 8079933"/>
              <a:gd name="connsiteY38718" fmla="*/ 2395486 h 4687251"/>
              <a:gd name="connsiteX38719" fmla="*/ 6744743 w 8079933"/>
              <a:gd name="connsiteY38719" fmla="*/ 2398518 h 4687251"/>
              <a:gd name="connsiteX38720" fmla="*/ 6746371 w 8079933"/>
              <a:gd name="connsiteY38720" fmla="*/ 2400900 h 4687251"/>
              <a:gd name="connsiteX38721" fmla="*/ 6750277 w 8079933"/>
              <a:gd name="connsiteY38721" fmla="*/ 2402090 h 4687251"/>
              <a:gd name="connsiteX38722" fmla="*/ 6748541 w 8079933"/>
              <a:gd name="connsiteY38722" fmla="*/ 2407179 h 4687251"/>
              <a:gd name="connsiteX38723" fmla="*/ 6742030 w 8079933"/>
              <a:gd name="connsiteY38723" fmla="*/ 2403173 h 4687251"/>
              <a:gd name="connsiteX38724" fmla="*/ 6739426 w 8079933"/>
              <a:gd name="connsiteY38724" fmla="*/ 2405555 h 4687251"/>
              <a:gd name="connsiteX38725" fmla="*/ 6737690 w 8079933"/>
              <a:gd name="connsiteY38725" fmla="*/ 2403714 h 4687251"/>
              <a:gd name="connsiteX38726" fmla="*/ 6734000 w 8079933"/>
              <a:gd name="connsiteY38726" fmla="*/ 2408803 h 4687251"/>
              <a:gd name="connsiteX38727" fmla="*/ 6726078 w 8079933"/>
              <a:gd name="connsiteY38727" fmla="*/ 2409128 h 4687251"/>
              <a:gd name="connsiteX38728" fmla="*/ 6732047 w 8079933"/>
              <a:gd name="connsiteY38728" fmla="*/ 2413675 h 4687251"/>
              <a:gd name="connsiteX38729" fmla="*/ 6735519 w 8079933"/>
              <a:gd name="connsiteY38729" fmla="*/ 2412376 h 4687251"/>
              <a:gd name="connsiteX38730" fmla="*/ 6739643 w 8079933"/>
              <a:gd name="connsiteY38730" fmla="*/ 2413351 h 4687251"/>
              <a:gd name="connsiteX38731" fmla="*/ 6737798 w 8079933"/>
              <a:gd name="connsiteY38731" fmla="*/ 2417140 h 4687251"/>
              <a:gd name="connsiteX38732" fmla="*/ 6735086 w 8079933"/>
              <a:gd name="connsiteY38732" fmla="*/ 2417465 h 4687251"/>
              <a:gd name="connsiteX38733" fmla="*/ 6734434 w 8079933"/>
              <a:gd name="connsiteY38733" fmla="*/ 2422337 h 4687251"/>
              <a:gd name="connsiteX38734" fmla="*/ 6731721 w 8079933"/>
              <a:gd name="connsiteY38734" fmla="*/ 2419089 h 4687251"/>
              <a:gd name="connsiteX38735" fmla="*/ 6728791 w 8079933"/>
              <a:gd name="connsiteY38735" fmla="*/ 2423420 h 4687251"/>
              <a:gd name="connsiteX38736" fmla="*/ 6727380 w 8079933"/>
              <a:gd name="connsiteY38736" fmla="*/ 2424286 h 4687251"/>
              <a:gd name="connsiteX38737" fmla="*/ 6726947 w 8079933"/>
              <a:gd name="connsiteY38737" fmla="*/ 2422337 h 4687251"/>
              <a:gd name="connsiteX38738" fmla="*/ 6724776 w 8079933"/>
              <a:gd name="connsiteY38738" fmla="*/ 2422553 h 4687251"/>
              <a:gd name="connsiteX38739" fmla="*/ 6724125 w 8079933"/>
              <a:gd name="connsiteY38739" fmla="*/ 2426343 h 4687251"/>
              <a:gd name="connsiteX38740" fmla="*/ 6721738 w 8079933"/>
              <a:gd name="connsiteY38740" fmla="*/ 2426343 h 4687251"/>
              <a:gd name="connsiteX38741" fmla="*/ 6720652 w 8079933"/>
              <a:gd name="connsiteY38741" fmla="*/ 2431865 h 4687251"/>
              <a:gd name="connsiteX38742" fmla="*/ 6716095 w 8079933"/>
              <a:gd name="connsiteY38742" fmla="*/ 2431865 h 4687251"/>
              <a:gd name="connsiteX38743" fmla="*/ 6715552 w 8079933"/>
              <a:gd name="connsiteY38743" fmla="*/ 2429699 h 4687251"/>
              <a:gd name="connsiteX38744" fmla="*/ 6709584 w 8079933"/>
              <a:gd name="connsiteY38744" fmla="*/ 2430674 h 4687251"/>
              <a:gd name="connsiteX38745" fmla="*/ 6707956 w 8079933"/>
              <a:gd name="connsiteY38745" fmla="*/ 2433164 h 4687251"/>
              <a:gd name="connsiteX38746" fmla="*/ 6705677 w 8079933"/>
              <a:gd name="connsiteY38746" fmla="*/ 2432406 h 4687251"/>
              <a:gd name="connsiteX38747" fmla="*/ 6707848 w 8079933"/>
              <a:gd name="connsiteY38747" fmla="*/ 2437279 h 4687251"/>
              <a:gd name="connsiteX38748" fmla="*/ 6706219 w 8079933"/>
              <a:gd name="connsiteY38748" fmla="*/ 2442367 h 4687251"/>
              <a:gd name="connsiteX38749" fmla="*/ 6704158 w 8079933"/>
              <a:gd name="connsiteY38749" fmla="*/ 2445182 h 4687251"/>
              <a:gd name="connsiteX38750" fmla="*/ 6706002 w 8079933"/>
              <a:gd name="connsiteY38750" fmla="*/ 2448322 h 4687251"/>
              <a:gd name="connsiteX38751" fmla="*/ 6701988 w 8079933"/>
              <a:gd name="connsiteY38751" fmla="*/ 2450163 h 4687251"/>
              <a:gd name="connsiteX38752" fmla="*/ 6699492 w 8079933"/>
              <a:gd name="connsiteY38752" fmla="*/ 2449404 h 4687251"/>
              <a:gd name="connsiteX38753" fmla="*/ 6697863 w 8079933"/>
              <a:gd name="connsiteY38753" fmla="*/ 2451570 h 4687251"/>
              <a:gd name="connsiteX38754" fmla="*/ 6697321 w 8079933"/>
              <a:gd name="connsiteY38754" fmla="*/ 2448863 h 4687251"/>
              <a:gd name="connsiteX38755" fmla="*/ 6695150 w 8079933"/>
              <a:gd name="connsiteY38755" fmla="*/ 2450812 h 4687251"/>
              <a:gd name="connsiteX38756" fmla="*/ 6692221 w 8079933"/>
              <a:gd name="connsiteY38756" fmla="*/ 2453736 h 4687251"/>
              <a:gd name="connsiteX38757" fmla="*/ 6686795 w 8079933"/>
              <a:gd name="connsiteY38757" fmla="*/ 2454385 h 4687251"/>
              <a:gd name="connsiteX38758" fmla="*/ 6686253 w 8079933"/>
              <a:gd name="connsiteY38758" fmla="*/ 2456767 h 4687251"/>
              <a:gd name="connsiteX38759" fmla="*/ 6682346 w 8079933"/>
              <a:gd name="connsiteY38759" fmla="*/ 2456767 h 4687251"/>
              <a:gd name="connsiteX38760" fmla="*/ 6681912 w 8079933"/>
              <a:gd name="connsiteY38760" fmla="*/ 2455359 h 4687251"/>
              <a:gd name="connsiteX38761" fmla="*/ 6679416 w 8079933"/>
              <a:gd name="connsiteY38761" fmla="*/ 2455359 h 4687251"/>
              <a:gd name="connsiteX38762" fmla="*/ 6678657 w 8079933"/>
              <a:gd name="connsiteY38762" fmla="*/ 2459474 h 4687251"/>
              <a:gd name="connsiteX38763" fmla="*/ 6676377 w 8079933"/>
              <a:gd name="connsiteY38763" fmla="*/ 2461531 h 4687251"/>
              <a:gd name="connsiteX38764" fmla="*/ 6672688 w 8079933"/>
              <a:gd name="connsiteY38764" fmla="*/ 2457524 h 4687251"/>
              <a:gd name="connsiteX38765" fmla="*/ 6670952 w 8079933"/>
              <a:gd name="connsiteY38765" fmla="*/ 2454601 h 4687251"/>
              <a:gd name="connsiteX38766" fmla="*/ 6669866 w 8079933"/>
              <a:gd name="connsiteY38766" fmla="*/ 2456983 h 4687251"/>
              <a:gd name="connsiteX38767" fmla="*/ 6665960 w 8079933"/>
              <a:gd name="connsiteY38767" fmla="*/ 2457850 h 4687251"/>
              <a:gd name="connsiteX38768" fmla="*/ 6665635 w 8079933"/>
              <a:gd name="connsiteY38768" fmla="*/ 2461098 h 4687251"/>
              <a:gd name="connsiteX38769" fmla="*/ 6661837 w 8079933"/>
              <a:gd name="connsiteY38769" fmla="*/ 2462072 h 4687251"/>
              <a:gd name="connsiteX38770" fmla="*/ 6658038 w 8079933"/>
              <a:gd name="connsiteY38770" fmla="*/ 2459799 h 4687251"/>
              <a:gd name="connsiteX38771" fmla="*/ 6655868 w 8079933"/>
              <a:gd name="connsiteY38771" fmla="*/ 2461856 h 4687251"/>
              <a:gd name="connsiteX38772" fmla="*/ 6651528 w 8079933"/>
              <a:gd name="connsiteY38772" fmla="*/ 2463263 h 4687251"/>
              <a:gd name="connsiteX38773" fmla="*/ 6650985 w 8079933"/>
              <a:gd name="connsiteY38773" fmla="*/ 2468027 h 4687251"/>
              <a:gd name="connsiteX38774" fmla="*/ 6642520 w 8079933"/>
              <a:gd name="connsiteY38774" fmla="*/ 2472142 h 4687251"/>
              <a:gd name="connsiteX38775" fmla="*/ 6641978 w 8079933"/>
              <a:gd name="connsiteY38775" fmla="*/ 2470193 h 4687251"/>
              <a:gd name="connsiteX38776" fmla="*/ 6645016 w 8079933"/>
              <a:gd name="connsiteY38776" fmla="*/ 2468677 h 4687251"/>
              <a:gd name="connsiteX38777" fmla="*/ 6647404 w 8079933"/>
              <a:gd name="connsiteY38777" fmla="*/ 2465320 h 4687251"/>
              <a:gd name="connsiteX38778" fmla="*/ 6644257 w 8079933"/>
              <a:gd name="connsiteY38778" fmla="*/ 2466078 h 4687251"/>
              <a:gd name="connsiteX38779" fmla="*/ 6639374 w 8079933"/>
              <a:gd name="connsiteY38779" fmla="*/ 2461314 h 4687251"/>
              <a:gd name="connsiteX38780" fmla="*/ 6638614 w 8079933"/>
              <a:gd name="connsiteY38780" fmla="*/ 2458283 h 4687251"/>
              <a:gd name="connsiteX38781" fmla="*/ 6632754 w 8079933"/>
              <a:gd name="connsiteY38781" fmla="*/ 2455251 h 4687251"/>
              <a:gd name="connsiteX38782" fmla="*/ 6630366 w 8079933"/>
              <a:gd name="connsiteY38782" fmla="*/ 2453302 h 4687251"/>
              <a:gd name="connsiteX38783" fmla="*/ 6631452 w 8079933"/>
              <a:gd name="connsiteY38783" fmla="*/ 2455793 h 4687251"/>
              <a:gd name="connsiteX38784" fmla="*/ 6631126 w 8079933"/>
              <a:gd name="connsiteY38784" fmla="*/ 2459257 h 4687251"/>
              <a:gd name="connsiteX38785" fmla="*/ 6632211 w 8079933"/>
              <a:gd name="connsiteY38785" fmla="*/ 2463479 h 4687251"/>
              <a:gd name="connsiteX38786" fmla="*/ 6632971 w 8079933"/>
              <a:gd name="connsiteY38786" fmla="*/ 2469218 h 4687251"/>
              <a:gd name="connsiteX38787" fmla="*/ 6629173 w 8079933"/>
              <a:gd name="connsiteY38787" fmla="*/ 2471275 h 4687251"/>
              <a:gd name="connsiteX38788" fmla="*/ 6627003 w 8079933"/>
              <a:gd name="connsiteY38788" fmla="*/ 2474848 h 4687251"/>
              <a:gd name="connsiteX38789" fmla="*/ 6624832 w 8079933"/>
              <a:gd name="connsiteY38789" fmla="*/ 2476581 h 4687251"/>
              <a:gd name="connsiteX38790" fmla="*/ 6622770 w 8079933"/>
              <a:gd name="connsiteY38790" fmla="*/ 2474956 h 4687251"/>
              <a:gd name="connsiteX38791" fmla="*/ 6621468 w 8079933"/>
              <a:gd name="connsiteY38791" fmla="*/ 2473765 h 4687251"/>
              <a:gd name="connsiteX38792" fmla="*/ 6621034 w 8079933"/>
              <a:gd name="connsiteY38792" fmla="*/ 2475606 h 4687251"/>
              <a:gd name="connsiteX38793" fmla="*/ 6617995 w 8079933"/>
              <a:gd name="connsiteY38793" fmla="*/ 2479720 h 4687251"/>
              <a:gd name="connsiteX38794" fmla="*/ 6613438 w 8079933"/>
              <a:gd name="connsiteY38794" fmla="*/ 2484268 h 4687251"/>
              <a:gd name="connsiteX38795" fmla="*/ 6608230 w 8079933"/>
              <a:gd name="connsiteY38795" fmla="*/ 2486866 h 4687251"/>
              <a:gd name="connsiteX38796" fmla="*/ 6605408 w 8079933"/>
              <a:gd name="connsiteY38796" fmla="*/ 2487732 h 4687251"/>
              <a:gd name="connsiteX38797" fmla="*/ 6600742 w 8079933"/>
              <a:gd name="connsiteY38797" fmla="*/ 2486109 h 4687251"/>
              <a:gd name="connsiteX38798" fmla="*/ 6596076 w 8079933"/>
              <a:gd name="connsiteY38798" fmla="*/ 2487407 h 4687251"/>
              <a:gd name="connsiteX38799" fmla="*/ 6592060 w 8079933"/>
              <a:gd name="connsiteY38799" fmla="*/ 2487299 h 4687251"/>
              <a:gd name="connsiteX38800" fmla="*/ 6593796 w 8079933"/>
              <a:gd name="connsiteY38800" fmla="*/ 2490439 h 4687251"/>
              <a:gd name="connsiteX38801" fmla="*/ 6588696 w 8079933"/>
              <a:gd name="connsiteY38801" fmla="*/ 2493254 h 4687251"/>
              <a:gd name="connsiteX38802" fmla="*/ 6584355 w 8079933"/>
              <a:gd name="connsiteY38802" fmla="*/ 2494770 h 4687251"/>
              <a:gd name="connsiteX38803" fmla="*/ 6580449 w 8079933"/>
              <a:gd name="connsiteY38803" fmla="*/ 2493362 h 4687251"/>
              <a:gd name="connsiteX38804" fmla="*/ 6578712 w 8079933"/>
              <a:gd name="connsiteY38804" fmla="*/ 2496827 h 4687251"/>
              <a:gd name="connsiteX38805" fmla="*/ 6574046 w 8079933"/>
              <a:gd name="connsiteY38805" fmla="*/ 2497585 h 4687251"/>
              <a:gd name="connsiteX38806" fmla="*/ 6571551 w 8079933"/>
              <a:gd name="connsiteY38806" fmla="*/ 2500183 h 4687251"/>
              <a:gd name="connsiteX38807" fmla="*/ 6570356 w 8079933"/>
              <a:gd name="connsiteY38807" fmla="*/ 2499967 h 4687251"/>
              <a:gd name="connsiteX38808" fmla="*/ 6571334 w 8079933"/>
              <a:gd name="connsiteY38808" fmla="*/ 2498776 h 4687251"/>
              <a:gd name="connsiteX38809" fmla="*/ 6569163 w 8079933"/>
              <a:gd name="connsiteY38809" fmla="*/ 2498343 h 4687251"/>
              <a:gd name="connsiteX38810" fmla="*/ 6568838 w 8079933"/>
              <a:gd name="connsiteY38810" fmla="*/ 2497368 h 4687251"/>
              <a:gd name="connsiteX38811" fmla="*/ 6569706 w 8079933"/>
              <a:gd name="connsiteY38811" fmla="*/ 2496611 h 4687251"/>
              <a:gd name="connsiteX38812" fmla="*/ 6568403 w 8079933"/>
              <a:gd name="connsiteY38812" fmla="*/ 2496611 h 4687251"/>
              <a:gd name="connsiteX38813" fmla="*/ 6567318 w 8079933"/>
              <a:gd name="connsiteY38813" fmla="*/ 2494770 h 4687251"/>
              <a:gd name="connsiteX38814" fmla="*/ 6566885 w 8079933"/>
              <a:gd name="connsiteY38814" fmla="*/ 2493579 h 4687251"/>
              <a:gd name="connsiteX38815" fmla="*/ 6565257 w 8079933"/>
              <a:gd name="connsiteY38815" fmla="*/ 2495311 h 4687251"/>
              <a:gd name="connsiteX38816" fmla="*/ 6564063 w 8079933"/>
              <a:gd name="connsiteY38816" fmla="*/ 2495419 h 4687251"/>
              <a:gd name="connsiteX38817" fmla="*/ 6564822 w 8079933"/>
              <a:gd name="connsiteY38817" fmla="*/ 2497910 h 4687251"/>
              <a:gd name="connsiteX38818" fmla="*/ 6563954 w 8079933"/>
              <a:gd name="connsiteY38818" fmla="*/ 2501050 h 4687251"/>
              <a:gd name="connsiteX38819" fmla="*/ 6560699 w 8079933"/>
              <a:gd name="connsiteY38819" fmla="*/ 2503756 h 4687251"/>
              <a:gd name="connsiteX38820" fmla="*/ 6559613 w 8079933"/>
              <a:gd name="connsiteY38820" fmla="*/ 2505705 h 4687251"/>
              <a:gd name="connsiteX38821" fmla="*/ 6561350 w 8079933"/>
              <a:gd name="connsiteY38821" fmla="*/ 2510144 h 4687251"/>
              <a:gd name="connsiteX38822" fmla="*/ 6564172 w 8079933"/>
              <a:gd name="connsiteY38822" fmla="*/ 2510144 h 4687251"/>
              <a:gd name="connsiteX38823" fmla="*/ 6566667 w 8079933"/>
              <a:gd name="connsiteY38823" fmla="*/ 2514908 h 4687251"/>
              <a:gd name="connsiteX38824" fmla="*/ 6566667 w 8079933"/>
              <a:gd name="connsiteY38824" fmla="*/ 2516207 h 4687251"/>
              <a:gd name="connsiteX38825" fmla="*/ 6568620 w 8079933"/>
              <a:gd name="connsiteY38825" fmla="*/ 2516641 h 4687251"/>
              <a:gd name="connsiteX38826" fmla="*/ 6569814 w 8079933"/>
              <a:gd name="connsiteY38826" fmla="*/ 2518698 h 4687251"/>
              <a:gd name="connsiteX38827" fmla="*/ 6565582 w 8079933"/>
              <a:gd name="connsiteY38827" fmla="*/ 2523895 h 4687251"/>
              <a:gd name="connsiteX38828" fmla="*/ 6562869 w 8079933"/>
              <a:gd name="connsiteY38828" fmla="*/ 2523895 h 4687251"/>
              <a:gd name="connsiteX38829" fmla="*/ 6562869 w 8079933"/>
              <a:gd name="connsiteY38829" fmla="*/ 2522596 h 4687251"/>
              <a:gd name="connsiteX38830" fmla="*/ 6557552 w 8079933"/>
              <a:gd name="connsiteY38830" fmla="*/ 2521621 h 4687251"/>
              <a:gd name="connsiteX38831" fmla="*/ 6555707 w 8079933"/>
              <a:gd name="connsiteY38831" fmla="*/ 2524869 h 4687251"/>
              <a:gd name="connsiteX38832" fmla="*/ 6554731 w 8079933"/>
              <a:gd name="connsiteY38832" fmla="*/ 2525844 h 4687251"/>
              <a:gd name="connsiteX38833" fmla="*/ 6553971 w 8079933"/>
              <a:gd name="connsiteY38833" fmla="*/ 2520755 h 4687251"/>
              <a:gd name="connsiteX38834" fmla="*/ 6554187 w 8079933"/>
              <a:gd name="connsiteY38834" fmla="*/ 2518482 h 4687251"/>
              <a:gd name="connsiteX38835" fmla="*/ 6550715 w 8079933"/>
              <a:gd name="connsiteY38835" fmla="*/ 2516424 h 4687251"/>
              <a:gd name="connsiteX38836" fmla="*/ 6544964 w 8079933"/>
              <a:gd name="connsiteY38836" fmla="*/ 2508521 h 4687251"/>
              <a:gd name="connsiteX38837" fmla="*/ 6545072 w 8079933"/>
              <a:gd name="connsiteY38837" fmla="*/ 2505705 h 4687251"/>
              <a:gd name="connsiteX38838" fmla="*/ 6548437 w 8079933"/>
              <a:gd name="connsiteY38838" fmla="*/ 2501483 h 4687251"/>
              <a:gd name="connsiteX38839" fmla="*/ 6549197 w 8079933"/>
              <a:gd name="connsiteY38839" fmla="*/ 2497368 h 4687251"/>
              <a:gd name="connsiteX38840" fmla="*/ 6552669 w 8079933"/>
              <a:gd name="connsiteY38840" fmla="*/ 2496827 h 4687251"/>
              <a:gd name="connsiteX38841" fmla="*/ 6552451 w 8079933"/>
              <a:gd name="connsiteY38841" fmla="*/ 2495311 h 4687251"/>
              <a:gd name="connsiteX38842" fmla="*/ 6549956 w 8079933"/>
              <a:gd name="connsiteY38842" fmla="*/ 2494121 h 4687251"/>
              <a:gd name="connsiteX38843" fmla="*/ 6546484 w 8079933"/>
              <a:gd name="connsiteY38843" fmla="*/ 2495311 h 4687251"/>
              <a:gd name="connsiteX38844" fmla="*/ 6543119 w 8079933"/>
              <a:gd name="connsiteY38844" fmla="*/ 2492171 h 4687251"/>
              <a:gd name="connsiteX38845" fmla="*/ 6540623 w 8079933"/>
              <a:gd name="connsiteY38845" fmla="*/ 2496286 h 4687251"/>
              <a:gd name="connsiteX38846" fmla="*/ 6537367 w 8079933"/>
              <a:gd name="connsiteY38846" fmla="*/ 2495961 h 4687251"/>
              <a:gd name="connsiteX38847" fmla="*/ 6534872 w 8079933"/>
              <a:gd name="connsiteY38847" fmla="*/ 2496827 h 4687251"/>
              <a:gd name="connsiteX38848" fmla="*/ 6529012 w 8079933"/>
              <a:gd name="connsiteY38848" fmla="*/ 2491955 h 4687251"/>
              <a:gd name="connsiteX38849" fmla="*/ 6526625 w 8079933"/>
              <a:gd name="connsiteY38849" fmla="*/ 2492713 h 4687251"/>
              <a:gd name="connsiteX38850" fmla="*/ 6522283 w 8079933"/>
              <a:gd name="connsiteY38850" fmla="*/ 2488274 h 4687251"/>
              <a:gd name="connsiteX38851" fmla="*/ 6519897 w 8079933"/>
              <a:gd name="connsiteY38851" fmla="*/ 2483943 h 4687251"/>
              <a:gd name="connsiteX38852" fmla="*/ 6518811 w 8079933"/>
              <a:gd name="connsiteY38852" fmla="*/ 2488599 h 4687251"/>
              <a:gd name="connsiteX38853" fmla="*/ 6519029 w 8079933"/>
              <a:gd name="connsiteY38853" fmla="*/ 2491089 h 4687251"/>
              <a:gd name="connsiteX38854" fmla="*/ 6515122 w 8079933"/>
              <a:gd name="connsiteY38854" fmla="*/ 2492713 h 4687251"/>
              <a:gd name="connsiteX38855" fmla="*/ 6512192 w 8079933"/>
              <a:gd name="connsiteY38855" fmla="*/ 2491413 h 4687251"/>
              <a:gd name="connsiteX38856" fmla="*/ 6510456 w 8079933"/>
              <a:gd name="connsiteY38856" fmla="*/ 2492496 h 4687251"/>
              <a:gd name="connsiteX38857" fmla="*/ 6509045 w 8079933"/>
              <a:gd name="connsiteY38857" fmla="*/ 2492171 h 4687251"/>
              <a:gd name="connsiteX38858" fmla="*/ 6504922 w 8079933"/>
              <a:gd name="connsiteY38858" fmla="*/ 2490006 h 4687251"/>
              <a:gd name="connsiteX38859" fmla="*/ 6503286 w 8079933"/>
              <a:gd name="connsiteY38859" fmla="*/ 2490489 h 4687251"/>
              <a:gd name="connsiteX38860" fmla="*/ 6504922 w 8079933"/>
              <a:gd name="connsiteY38860" fmla="*/ 2490006 h 4687251"/>
              <a:gd name="connsiteX38861" fmla="*/ 6509045 w 8079933"/>
              <a:gd name="connsiteY38861" fmla="*/ 2492171 h 4687251"/>
              <a:gd name="connsiteX38862" fmla="*/ 6509154 w 8079933"/>
              <a:gd name="connsiteY38862" fmla="*/ 2492280 h 4687251"/>
              <a:gd name="connsiteX38863" fmla="*/ 6508938 w 8079933"/>
              <a:gd name="connsiteY38863" fmla="*/ 2492172 h 4687251"/>
              <a:gd name="connsiteX38864" fmla="*/ 6508938 w 8079933"/>
              <a:gd name="connsiteY38864" fmla="*/ 2492281 h 4687251"/>
              <a:gd name="connsiteX38865" fmla="*/ 6508828 w 8079933"/>
              <a:gd name="connsiteY38865" fmla="*/ 2492172 h 4687251"/>
              <a:gd name="connsiteX38866" fmla="*/ 6509696 w 8079933"/>
              <a:gd name="connsiteY38866" fmla="*/ 2494012 h 4687251"/>
              <a:gd name="connsiteX38867" fmla="*/ 6508068 w 8079933"/>
              <a:gd name="connsiteY38867" fmla="*/ 2496719 h 4687251"/>
              <a:gd name="connsiteX38868" fmla="*/ 6505573 w 8079933"/>
              <a:gd name="connsiteY38868" fmla="*/ 2497802 h 4687251"/>
              <a:gd name="connsiteX38869" fmla="*/ 6503619 w 8079933"/>
              <a:gd name="connsiteY38869" fmla="*/ 2497693 h 4687251"/>
              <a:gd name="connsiteX38870" fmla="*/ 6499387 w 8079933"/>
              <a:gd name="connsiteY38870" fmla="*/ 2500400 h 4687251"/>
              <a:gd name="connsiteX38871" fmla="*/ 6495264 w 8079933"/>
              <a:gd name="connsiteY38871" fmla="*/ 2500075 h 4687251"/>
              <a:gd name="connsiteX38872" fmla="*/ 6490923 w 8079933"/>
              <a:gd name="connsiteY38872" fmla="*/ 2500833 h 4687251"/>
              <a:gd name="connsiteX38873" fmla="*/ 6489729 w 8079933"/>
              <a:gd name="connsiteY38873" fmla="*/ 2503107 h 4687251"/>
              <a:gd name="connsiteX38874" fmla="*/ 6490706 w 8079933"/>
              <a:gd name="connsiteY38874" fmla="*/ 2506463 h 4687251"/>
              <a:gd name="connsiteX38875" fmla="*/ 6488318 w 8079933"/>
              <a:gd name="connsiteY38875" fmla="*/ 2508087 h 4687251"/>
              <a:gd name="connsiteX38876" fmla="*/ 6487450 w 8079933"/>
              <a:gd name="connsiteY38876" fmla="*/ 2509712 h 4687251"/>
              <a:gd name="connsiteX38877" fmla="*/ 6485172 w 8079933"/>
              <a:gd name="connsiteY38877" fmla="*/ 2508412 h 4687251"/>
              <a:gd name="connsiteX38878" fmla="*/ 6481590 w 8079933"/>
              <a:gd name="connsiteY38878" fmla="*/ 2509170 h 4687251"/>
              <a:gd name="connsiteX38879" fmla="*/ 6479312 w 8079933"/>
              <a:gd name="connsiteY38879" fmla="*/ 2511335 h 4687251"/>
              <a:gd name="connsiteX38880" fmla="*/ 6477684 w 8079933"/>
              <a:gd name="connsiteY38880" fmla="*/ 2511985 h 4687251"/>
              <a:gd name="connsiteX38881" fmla="*/ 6476164 w 8079933"/>
              <a:gd name="connsiteY38881" fmla="*/ 2509712 h 4687251"/>
              <a:gd name="connsiteX38882" fmla="*/ 6474537 w 8079933"/>
              <a:gd name="connsiteY38882" fmla="*/ 2509170 h 4687251"/>
              <a:gd name="connsiteX38883" fmla="*/ 6474211 w 8079933"/>
              <a:gd name="connsiteY38883" fmla="*/ 2512526 h 4687251"/>
              <a:gd name="connsiteX38884" fmla="*/ 6472366 w 8079933"/>
              <a:gd name="connsiteY38884" fmla="*/ 2515016 h 4687251"/>
              <a:gd name="connsiteX38885" fmla="*/ 6473669 w 8079933"/>
              <a:gd name="connsiteY38885" fmla="*/ 2516424 h 4687251"/>
              <a:gd name="connsiteX38886" fmla="*/ 6473018 w 8079933"/>
              <a:gd name="connsiteY38886" fmla="*/ 2519997 h 4687251"/>
              <a:gd name="connsiteX38887" fmla="*/ 6473235 w 8079933"/>
              <a:gd name="connsiteY38887" fmla="*/ 2523787 h 4687251"/>
              <a:gd name="connsiteX38888" fmla="*/ 6472583 w 8079933"/>
              <a:gd name="connsiteY38888" fmla="*/ 2524761 h 4687251"/>
              <a:gd name="connsiteX38889" fmla="*/ 6473886 w 8079933"/>
              <a:gd name="connsiteY38889" fmla="*/ 2527468 h 4687251"/>
              <a:gd name="connsiteX38890" fmla="*/ 6472692 w 8079933"/>
              <a:gd name="connsiteY38890" fmla="*/ 2529634 h 4687251"/>
              <a:gd name="connsiteX38891" fmla="*/ 6470847 w 8079933"/>
              <a:gd name="connsiteY38891" fmla="*/ 2530175 h 4687251"/>
              <a:gd name="connsiteX38892" fmla="*/ 6467375 w 8079933"/>
              <a:gd name="connsiteY38892" fmla="*/ 2535805 h 4687251"/>
              <a:gd name="connsiteX38893" fmla="*/ 6464228 w 8079933"/>
              <a:gd name="connsiteY38893" fmla="*/ 2535913 h 4687251"/>
              <a:gd name="connsiteX38894" fmla="*/ 6463034 w 8079933"/>
              <a:gd name="connsiteY38894" fmla="*/ 2534289 h 4687251"/>
              <a:gd name="connsiteX38895" fmla="*/ 6462926 w 8079933"/>
              <a:gd name="connsiteY38895" fmla="*/ 2536238 h 4687251"/>
              <a:gd name="connsiteX38896" fmla="*/ 6460755 w 8079933"/>
              <a:gd name="connsiteY38896" fmla="*/ 2537861 h 4687251"/>
              <a:gd name="connsiteX38897" fmla="*/ 6459453 w 8079933"/>
              <a:gd name="connsiteY38897" fmla="*/ 2541976 h 4687251"/>
              <a:gd name="connsiteX38898" fmla="*/ 6457391 w 8079933"/>
              <a:gd name="connsiteY38898" fmla="*/ 2543709 h 4687251"/>
              <a:gd name="connsiteX38899" fmla="*/ 6457174 w 8079933"/>
              <a:gd name="connsiteY38899" fmla="*/ 2547931 h 4687251"/>
              <a:gd name="connsiteX38900" fmla="*/ 6459019 w 8079933"/>
              <a:gd name="connsiteY38900" fmla="*/ 2548364 h 4687251"/>
              <a:gd name="connsiteX38901" fmla="*/ 6460864 w 8079933"/>
              <a:gd name="connsiteY38901" fmla="*/ 2550746 h 4687251"/>
              <a:gd name="connsiteX38902" fmla="*/ 6458476 w 8079933"/>
              <a:gd name="connsiteY38902" fmla="*/ 2558650 h 4687251"/>
              <a:gd name="connsiteX38903" fmla="*/ 6455763 w 8079933"/>
              <a:gd name="connsiteY38903" fmla="*/ 2562656 h 4687251"/>
              <a:gd name="connsiteX38904" fmla="*/ 6460864 w 8079933"/>
              <a:gd name="connsiteY38904" fmla="*/ 2566987 h 4687251"/>
              <a:gd name="connsiteX38905" fmla="*/ 6460321 w 8079933"/>
              <a:gd name="connsiteY38905" fmla="*/ 2569477 h 4687251"/>
              <a:gd name="connsiteX38906" fmla="*/ 6456306 w 8079933"/>
              <a:gd name="connsiteY38906" fmla="*/ 2570560 h 4687251"/>
              <a:gd name="connsiteX38907" fmla="*/ 6460430 w 8079933"/>
              <a:gd name="connsiteY38907" fmla="*/ 2571750 h 4687251"/>
              <a:gd name="connsiteX38908" fmla="*/ 6467592 w 8079933"/>
              <a:gd name="connsiteY38908" fmla="*/ 2575973 h 4687251"/>
              <a:gd name="connsiteX38909" fmla="*/ 6473886 w 8079933"/>
              <a:gd name="connsiteY38909" fmla="*/ 2582144 h 4687251"/>
              <a:gd name="connsiteX38910" fmla="*/ 6476164 w 8079933"/>
              <a:gd name="connsiteY38910" fmla="*/ 2581928 h 4687251"/>
              <a:gd name="connsiteX38911" fmla="*/ 6479312 w 8079933"/>
              <a:gd name="connsiteY38911" fmla="*/ 2587342 h 4687251"/>
              <a:gd name="connsiteX38912" fmla="*/ 6479312 w 8079933"/>
              <a:gd name="connsiteY38912" fmla="*/ 2590048 h 4687251"/>
              <a:gd name="connsiteX38913" fmla="*/ 6478335 w 8079933"/>
              <a:gd name="connsiteY38913" fmla="*/ 2591672 h 4687251"/>
              <a:gd name="connsiteX38914" fmla="*/ 6480397 w 8079933"/>
              <a:gd name="connsiteY38914" fmla="*/ 2597086 h 4687251"/>
              <a:gd name="connsiteX38915" fmla="*/ 6481265 w 8079933"/>
              <a:gd name="connsiteY38915" fmla="*/ 2600009 h 4687251"/>
              <a:gd name="connsiteX38916" fmla="*/ 6490706 w 8079933"/>
              <a:gd name="connsiteY38916" fmla="*/ 2607588 h 4687251"/>
              <a:gd name="connsiteX38917" fmla="*/ 6495914 w 8079933"/>
              <a:gd name="connsiteY38917" fmla="*/ 2610619 h 4687251"/>
              <a:gd name="connsiteX38918" fmla="*/ 6496457 w 8079933"/>
              <a:gd name="connsiteY38918" fmla="*/ 2612244 h 4687251"/>
              <a:gd name="connsiteX38919" fmla="*/ 6509262 w 8079933"/>
              <a:gd name="connsiteY38919" fmla="*/ 2619282 h 4687251"/>
              <a:gd name="connsiteX38920" fmla="*/ 6520873 w 8079933"/>
              <a:gd name="connsiteY38920" fmla="*/ 2627727 h 4687251"/>
              <a:gd name="connsiteX38921" fmla="*/ 6523369 w 8079933"/>
              <a:gd name="connsiteY38921" fmla="*/ 2632274 h 4687251"/>
              <a:gd name="connsiteX38922" fmla="*/ 6534113 w 8079933"/>
              <a:gd name="connsiteY38922" fmla="*/ 2640178 h 4687251"/>
              <a:gd name="connsiteX38923" fmla="*/ 6537476 w 8079933"/>
              <a:gd name="connsiteY38923" fmla="*/ 2646349 h 4687251"/>
              <a:gd name="connsiteX38924" fmla="*/ 6538236 w 8079933"/>
              <a:gd name="connsiteY38924" fmla="*/ 2650139 h 4687251"/>
              <a:gd name="connsiteX38925" fmla="*/ 6539647 w 8079933"/>
              <a:gd name="connsiteY38925" fmla="*/ 2650139 h 4687251"/>
              <a:gd name="connsiteX38926" fmla="*/ 6539539 w 8079933"/>
              <a:gd name="connsiteY38926" fmla="*/ 2653386 h 4687251"/>
              <a:gd name="connsiteX38927" fmla="*/ 6544964 w 8079933"/>
              <a:gd name="connsiteY38927" fmla="*/ 2658908 h 4687251"/>
              <a:gd name="connsiteX38928" fmla="*/ 6544964 w 8079933"/>
              <a:gd name="connsiteY38928" fmla="*/ 2661507 h 4687251"/>
              <a:gd name="connsiteX38929" fmla="*/ 6546158 w 8079933"/>
              <a:gd name="connsiteY38929" fmla="*/ 2663455 h 4687251"/>
              <a:gd name="connsiteX38930" fmla="*/ 6545073 w 8079933"/>
              <a:gd name="connsiteY38930" fmla="*/ 2665404 h 4687251"/>
              <a:gd name="connsiteX38931" fmla="*/ 6549305 w 8079933"/>
              <a:gd name="connsiteY38931" fmla="*/ 2670493 h 4687251"/>
              <a:gd name="connsiteX38932" fmla="*/ 6550390 w 8079933"/>
              <a:gd name="connsiteY38932" fmla="*/ 2679263 h 4687251"/>
              <a:gd name="connsiteX38933" fmla="*/ 6552126 w 8079933"/>
              <a:gd name="connsiteY38933" fmla="*/ 2680671 h 4687251"/>
              <a:gd name="connsiteX38934" fmla="*/ 6554079 w 8079933"/>
              <a:gd name="connsiteY38934" fmla="*/ 2688249 h 4687251"/>
              <a:gd name="connsiteX38935" fmla="*/ 6555599 w 8079933"/>
              <a:gd name="connsiteY38935" fmla="*/ 2689873 h 4687251"/>
              <a:gd name="connsiteX38936" fmla="*/ 6555816 w 8079933"/>
              <a:gd name="connsiteY38936" fmla="*/ 2694096 h 4687251"/>
              <a:gd name="connsiteX38937" fmla="*/ 6554947 w 8079933"/>
              <a:gd name="connsiteY38937" fmla="*/ 2696803 h 4687251"/>
              <a:gd name="connsiteX38938" fmla="*/ 6556576 w 8079933"/>
              <a:gd name="connsiteY38938" fmla="*/ 2700809 h 4687251"/>
              <a:gd name="connsiteX38939" fmla="*/ 6555382 w 8079933"/>
              <a:gd name="connsiteY38939" fmla="*/ 2702433 h 4687251"/>
              <a:gd name="connsiteX38940" fmla="*/ 6557118 w 8079933"/>
              <a:gd name="connsiteY38940" fmla="*/ 2708497 h 4687251"/>
              <a:gd name="connsiteX38941" fmla="*/ 6557335 w 8079933"/>
              <a:gd name="connsiteY38941" fmla="*/ 2710770 h 4687251"/>
              <a:gd name="connsiteX38942" fmla="*/ 6559505 w 8079933"/>
              <a:gd name="connsiteY38942" fmla="*/ 2711744 h 4687251"/>
              <a:gd name="connsiteX38943" fmla="*/ 6560590 w 8079933"/>
              <a:gd name="connsiteY38943" fmla="*/ 2715101 h 4687251"/>
              <a:gd name="connsiteX38944" fmla="*/ 6563412 w 8079933"/>
              <a:gd name="connsiteY38944" fmla="*/ 2720622 h 4687251"/>
              <a:gd name="connsiteX38945" fmla="*/ 6562869 w 8079933"/>
              <a:gd name="connsiteY38945" fmla="*/ 2724195 h 4687251"/>
              <a:gd name="connsiteX38946" fmla="*/ 6561675 w 8079933"/>
              <a:gd name="connsiteY38946" fmla="*/ 2724087 h 4687251"/>
              <a:gd name="connsiteX38947" fmla="*/ 6561675 w 8079933"/>
              <a:gd name="connsiteY38947" fmla="*/ 2722355 h 4687251"/>
              <a:gd name="connsiteX38948" fmla="*/ 6560157 w 8079933"/>
              <a:gd name="connsiteY38948" fmla="*/ 2720514 h 4687251"/>
              <a:gd name="connsiteX38949" fmla="*/ 6558095 w 8079933"/>
              <a:gd name="connsiteY38949" fmla="*/ 2721705 h 4687251"/>
              <a:gd name="connsiteX38950" fmla="*/ 6558420 w 8079933"/>
              <a:gd name="connsiteY38950" fmla="*/ 2725387 h 4687251"/>
              <a:gd name="connsiteX38951" fmla="*/ 6560699 w 8079933"/>
              <a:gd name="connsiteY38951" fmla="*/ 2727768 h 4687251"/>
              <a:gd name="connsiteX38952" fmla="*/ 6560157 w 8079933"/>
              <a:gd name="connsiteY38952" fmla="*/ 2729826 h 4687251"/>
              <a:gd name="connsiteX38953" fmla="*/ 6557769 w 8079933"/>
              <a:gd name="connsiteY38953" fmla="*/ 2731775 h 4687251"/>
              <a:gd name="connsiteX38954" fmla="*/ 6557552 w 8079933"/>
              <a:gd name="connsiteY38954" fmla="*/ 2734481 h 4687251"/>
              <a:gd name="connsiteX38955" fmla="*/ 6553863 w 8079933"/>
              <a:gd name="connsiteY38955" fmla="*/ 2737297 h 4687251"/>
              <a:gd name="connsiteX38956" fmla="*/ 6557118 w 8079933"/>
              <a:gd name="connsiteY38956" fmla="*/ 2742385 h 4687251"/>
              <a:gd name="connsiteX38957" fmla="*/ 6555382 w 8079933"/>
              <a:gd name="connsiteY38957" fmla="*/ 2746607 h 4687251"/>
              <a:gd name="connsiteX38958" fmla="*/ 6556900 w 8079933"/>
              <a:gd name="connsiteY38958" fmla="*/ 2748556 h 4687251"/>
              <a:gd name="connsiteX38959" fmla="*/ 6553754 w 8079933"/>
              <a:gd name="connsiteY38959" fmla="*/ 2751588 h 4687251"/>
              <a:gd name="connsiteX38960" fmla="*/ 6551150 w 8079933"/>
              <a:gd name="connsiteY38960" fmla="*/ 2752562 h 4687251"/>
              <a:gd name="connsiteX38961" fmla="*/ 6550390 w 8079933"/>
              <a:gd name="connsiteY38961" fmla="*/ 2758409 h 4687251"/>
              <a:gd name="connsiteX38962" fmla="*/ 6547894 w 8079933"/>
              <a:gd name="connsiteY38962" fmla="*/ 2759383 h 4687251"/>
              <a:gd name="connsiteX38963" fmla="*/ 6542469 w 8079933"/>
              <a:gd name="connsiteY38963" fmla="*/ 2764905 h 4687251"/>
              <a:gd name="connsiteX38964" fmla="*/ 6538887 w 8079933"/>
              <a:gd name="connsiteY38964" fmla="*/ 2766746 h 4687251"/>
              <a:gd name="connsiteX38965" fmla="*/ 6534113 w 8079933"/>
              <a:gd name="connsiteY38965" fmla="*/ 2770102 h 4687251"/>
              <a:gd name="connsiteX38966" fmla="*/ 6533570 w 8079933"/>
              <a:gd name="connsiteY38966" fmla="*/ 2774108 h 4687251"/>
              <a:gd name="connsiteX38967" fmla="*/ 6529229 w 8079933"/>
              <a:gd name="connsiteY38967" fmla="*/ 2774108 h 4687251"/>
              <a:gd name="connsiteX38968" fmla="*/ 6526516 w 8079933"/>
              <a:gd name="connsiteY38968" fmla="*/ 2777248 h 4687251"/>
              <a:gd name="connsiteX38969" fmla="*/ 6516098 w 8079933"/>
              <a:gd name="connsiteY38969" fmla="*/ 2783311 h 4687251"/>
              <a:gd name="connsiteX38970" fmla="*/ 6509913 w 8079933"/>
              <a:gd name="connsiteY38970" fmla="*/ 2783961 h 4687251"/>
              <a:gd name="connsiteX38971" fmla="*/ 6507200 w 8079933"/>
              <a:gd name="connsiteY38971" fmla="*/ 2782553 h 4687251"/>
              <a:gd name="connsiteX38972" fmla="*/ 6502642 w 8079933"/>
              <a:gd name="connsiteY38972" fmla="*/ 2783744 h 4687251"/>
              <a:gd name="connsiteX38973" fmla="*/ 6501774 w 8079933"/>
              <a:gd name="connsiteY38973" fmla="*/ 2782878 h 4687251"/>
              <a:gd name="connsiteX38974" fmla="*/ 6502426 w 8079933"/>
              <a:gd name="connsiteY38974" fmla="*/ 2779847 h 4687251"/>
              <a:gd name="connsiteX38975" fmla="*/ 6502209 w 8079933"/>
              <a:gd name="connsiteY38975" fmla="*/ 2777031 h 4687251"/>
              <a:gd name="connsiteX38976" fmla="*/ 6501124 w 8079933"/>
              <a:gd name="connsiteY38976" fmla="*/ 2779847 h 4687251"/>
              <a:gd name="connsiteX38977" fmla="*/ 6500364 w 8079933"/>
              <a:gd name="connsiteY38977" fmla="*/ 2780929 h 4687251"/>
              <a:gd name="connsiteX38978" fmla="*/ 6496349 w 8079933"/>
              <a:gd name="connsiteY38978" fmla="*/ 2779847 h 4687251"/>
              <a:gd name="connsiteX38979" fmla="*/ 6499062 w 8079933"/>
              <a:gd name="connsiteY38979" fmla="*/ 2782012 h 4687251"/>
              <a:gd name="connsiteX38980" fmla="*/ 6498953 w 8079933"/>
              <a:gd name="connsiteY38980" fmla="*/ 2783744 h 4687251"/>
              <a:gd name="connsiteX38981" fmla="*/ 6497760 w 8079933"/>
              <a:gd name="connsiteY38981" fmla="*/ 2784610 h 4687251"/>
              <a:gd name="connsiteX38982" fmla="*/ 6493852 w 8079933"/>
              <a:gd name="connsiteY38982" fmla="*/ 2783961 h 4687251"/>
              <a:gd name="connsiteX38983" fmla="*/ 6500364 w 8079933"/>
              <a:gd name="connsiteY38983" fmla="*/ 2786992 h 4687251"/>
              <a:gd name="connsiteX38984" fmla="*/ 6498844 w 8079933"/>
              <a:gd name="connsiteY38984" fmla="*/ 2789158 h 4687251"/>
              <a:gd name="connsiteX38985" fmla="*/ 6500689 w 8079933"/>
              <a:gd name="connsiteY38985" fmla="*/ 2792947 h 4687251"/>
              <a:gd name="connsiteX38986" fmla="*/ 6497217 w 8079933"/>
              <a:gd name="connsiteY38986" fmla="*/ 2794788 h 4687251"/>
              <a:gd name="connsiteX38987" fmla="*/ 6492008 w 8079933"/>
              <a:gd name="connsiteY38987" fmla="*/ 2790890 h 4687251"/>
              <a:gd name="connsiteX38988" fmla="*/ 6496349 w 8079933"/>
              <a:gd name="connsiteY38988" fmla="*/ 2795654 h 4687251"/>
              <a:gd name="connsiteX38989" fmla="*/ 6495914 w 8079933"/>
              <a:gd name="connsiteY38989" fmla="*/ 2797928 h 4687251"/>
              <a:gd name="connsiteX38990" fmla="*/ 6493961 w 8079933"/>
              <a:gd name="connsiteY38990" fmla="*/ 2800635 h 4687251"/>
              <a:gd name="connsiteX38991" fmla="*/ 6491899 w 8079933"/>
              <a:gd name="connsiteY38991" fmla="*/ 2799876 h 4687251"/>
              <a:gd name="connsiteX38992" fmla="*/ 6489946 w 8079933"/>
              <a:gd name="connsiteY38992" fmla="*/ 2797062 h 4687251"/>
              <a:gd name="connsiteX38993" fmla="*/ 6487233 w 8079933"/>
              <a:gd name="connsiteY38993" fmla="*/ 2797494 h 4687251"/>
              <a:gd name="connsiteX38994" fmla="*/ 6488535 w 8079933"/>
              <a:gd name="connsiteY38994" fmla="*/ 2801068 h 4687251"/>
              <a:gd name="connsiteX38995" fmla="*/ 6488318 w 8079933"/>
              <a:gd name="connsiteY38995" fmla="*/ 2802259 h 4687251"/>
              <a:gd name="connsiteX38996" fmla="*/ 6489295 w 8079933"/>
              <a:gd name="connsiteY38996" fmla="*/ 2803558 h 4687251"/>
              <a:gd name="connsiteX38997" fmla="*/ 6487450 w 8079933"/>
              <a:gd name="connsiteY38997" fmla="*/ 2804857 h 4687251"/>
              <a:gd name="connsiteX38998" fmla="*/ 6486149 w 8079933"/>
              <a:gd name="connsiteY38998" fmla="*/ 2806698 h 4687251"/>
              <a:gd name="connsiteX38999" fmla="*/ 6483760 w 8079933"/>
              <a:gd name="connsiteY38999" fmla="*/ 2806914 h 4687251"/>
              <a:gd name="connsiteX39000" fmla="*/ 6479203 w 8079933"/>
              <a:gd name="connsiteY39000" fmla="*/ 2810920 h 4687251"/>
              <a:gd name="connsiteX39001" fmla="*/ 6477141 w 8079933"/>
              <a:gd name="connsiteY39001" fmla="*/ 2812328 h 4687251"/>
              <a:gd name="connsiteX39002" fmla="*/ 6473995 w 8079933"/>
              <a:gd name="connsiteY39002" fmla="*/ 2811894 h 4687251"/>
              <a:gd name="connsiteX39003" fmla="*/ 6472909 w 8079933"/>
              <a:gd name="connsiteY39003" fmla="*/ 2814493 h 4687251"/>
              <a:gd name="connsiteX39004" fmla="*/ 6472258 w 8079933"/>
              <a:gd name="connsiteY39004" fmla="*/ 2819582 h 4687251"/>
              <a:gd name="connsiteX39005" fmla="*/ 6469328 w 8079933"/>
              <a:gd name="connsiteY39005" fmla="*/ 2822289 h 4687251"/>
              <a:gd name="connsiteX39006" fmla="*/ 6468134 w 8079933"/>
              <a:gd name="connsiteY39006" fmla="*/ 2822180 h 4687251"/>
              <a:gd name="connsiteX39007" fmla="*/ 6468460 w 8079933"/>
              <a:gd name="connsiteY39007" fmla="*/ 2823263 h 4687251"/>
              <a:gd name="connsiteX39008" fmla="*/ 6457825 w 8079933"/>
              <a:gd name="connsiteY39008" fmla="*/ 2828027 h 4687251"/>
              <a:gd name="connsiteX39009" fmla="*/ 6452183 w 8079933"/>
              <a:gd name="connsiteY39009" fmla="*/ 2827161 h 4687251"/>
              <a:gd name="connsiteX39010" fmla="*/ 6455763 w 8079933"/>
              <a:gd name="connsiteY39010" fmla="*/ 2824996 h 4687251"/>
              <a:gd name="connsiteX39011" fmla="*/ 6460104 w 8079933"/>
              <a:gd name="connsiteY39011" fmla="*/ 2823047 h 4687251"/>
              <a:gd name="connsiteX39012" fmla="*/ 6462492 w 8079933"/>
              <a:gd name="connsiteY39012" fmla="*/ 2820339 h 4687251"/>
              <a:gd name="connsiteX39013" fmla="*/ 6459995 w 8079933"/>
              <a:gd name="connsiteY39013" fmla="*/ 2821314 h 4687251"/>
              <a:gd name="connsiteX39014" fmla="*/ 6456740 w 8079933"/>
              <a:gd name="connsiteY39014" fmla="*/ 2819582 h 4687251"/>
              <a:gd name="connsiteX39015" fmla="*/ 6457174 w 8079933"/>
              <a:gd name="connsiteY39015" fmla="*/ 2812328 h 4687251"/>
              <a:gd name="connsiteX39016" fmla="*/ 6457825 w 8079933"/>
              <a:gd name="connsiteY39016" fmla="*/ 2811570 h 4687251"/>
              <a:gd name="connsiteX39017" fmla="*/ 6456414 w 8079933"/>
              <a:gd name="connsiteY39017" fmla="*/ 2811137 h 4687251"/>
              <a:gd name="connsiteX39018" fmla="*/ 6457282 w 8079933"/>
              <a:gd name="connsiteY39018" fmla="*/ 2808105 h 4687251"/>
              <a:gd name="connsiteX39019" fmla="*/ 6456849 w 8079933"/>
              <a:gd name="connsiteY39019" fmla="*/ 2800526 h 4687251"/>
              <a:gd name="connsiteX39020" fmla="*/ 6460430 w 8079933"/>
              <a:gd name="connsiteY39020" fmla="*/ 2794788 h 4687251"/>
              <a:gd name="connsiteX39021" fmla="*/ 6467049 w 8079933"/>
              <a:gd name="connsiteY39021" fmla="*/ 2789483 h 4687251"/>
              <a:gd name="connsiteX39022" fmla="*/ 6469111 w 8079933"/>
              <a:gd name="connsiteY39022" fmla="*/ 2787101 h 4687251"/>
              <a:gd name="connsiteX39023" fmla="*/ 6465747 w 8079933"/>
              <a:gd name="connsiteY39023" fmla="*/ 2788617 h 4687251"/>
              <a:gd name="connsiteX39024" fmla="*/ 6460647 w 8079933"/>
              <a:gd name="connsiteY39024" fmla="*/ 2787858 h 4687251"/>
              <a:gd name="connsiteX39025" fmla="*/ 6457066 w 8079933"/>
              <a:gd name="connsiteY39025" fmla="*/ 2789049 h 4687251"/>
              <a:gd name="connsiteX39026" fmla="*/ 6454787 w 8079933"/>
              <a:gd name="connsiteY39026" fmla="*/ 2787642 h 4687251"/>
              <a:gd name="connsiteX39027" fmla="*/ 6452508 w 8079933"/>
              <a:gd name="connsiteY39027" fmla="*/ 2788508 h 4687251"/>
              <a:gd name="connsiteX39028" fmla="*/ 6447950 w 8079933"/>
              <a:gd name="connsiteY39028" fmla="*/ 2787317 h 4687251"/>
              <a:gd name="connsiteX39029" fmla="*/ 6448601 w 8079933"/>
              <a:gd name="connsiteY39029" fmla="*/ 2786126 h 4687251"/>
              <a:gd name="connsiteX39030" fmla="*/ 6448493 w 8079933"/>
              <a:gd name="connsiteY39030" fmla="*/ 2782120 h 4687251"/>
              <a:gd name="connsiteX39031" fmla="*/ 6447299 w 8079933"/>
              <a:gd name="connsiteY39031" fmla="*/ 2781254 h 4687251"/>
              <a:gd name="connsiteX39032" fmla="*/ 6451748 w 8079933"/>
              <a:gd name="connsiteY39032" fmla="*/ 2775841 h 4687251"/>
              <a:gd name="connsiteX39033" fmla="*/ 6456958 w 8079933"/>
              <a:gd name="connsiteY39033" fmla="*/ 2774974 h 4687251"/>
              <a:gd name="connsiteX39034" fmla="*/ 6459670 w 8079933"/>
              <a:gd name="connsiteY39034" fmla="*/ 2768153 h 4687251"/>
              <a:gd name="connsiteX39035" fmla="*/ 6456957 w 8079933"/>
              <a:gd name="connsiteY39035" fmla="*/ 2774974 h 4687251"/>
              <a:gd name="connsiteX39036" fmla="*/ 6451747 w 8079933"/>
              <a:gd name="connsiteY39036" fmla="*/ 2775841 h 4687251"/>
              <a:gd name="connsiteX39037" fmla="*/ 6447298 w 8079933"/>
              <a:gd name="connsiteY39037" fmla="*/ 2781254 h 4687251"/>
              <a:gd name="connsiteX39038" fmla="*/ 6442958 w 8079933"/>
              <a:gd name="connsiteY39038" fmla="*/ 2778114 h 4687251"/>
              <a:gd name="connsiteX39039" fmla="*/ 6441547 w 8079933"/>
              <a:gd name="connsiteY39039" fmla="*/ 2778980 h 4687251"/>
              <a:gd name="connsiteX39040" fmla="*/ 6436772 w 8079933"/>
              <a:gd name="connsiteY39040" fmla="*/ 2777464 h 4687251"/>
              <a:gd name="connsiteX39041" fmla="*/ 6434168 w 8079933"/>
              <a:gd name="connsiteY39041" fmla="*/ 2775515 h 4687251"/>
              <a:gd name="connsiteX39042" fmla="*/ 6433734 w 8079933"/>
              <a:gd name="connsiteY39042" fmla="*/ 2776815 h 4687251"/>
              <a:gd name="connsiteX39043" fmla="*/ 6429936 w 8079933"/>
              <a:gd name="connsiteY39043" fmla="*/ 2780388 h 4687251"/>
              <a:gd name="connsiteX39044" fmla="*/ 6427331 w 8079933"/>
              <a:gd name="connsiteY39044" fmla="*/ 2780280 h 4687251"/>
              <a:gd name="connsiteX39045" fmla="*/ 6426680 w 8079933"/>
              <a:gd name="connsiteY39045" fmla="*/ 2778439 h 4687251"/>
              <a:gd name="connsiteX39046" fmla="*/ 6425162 w 8079933"/>
              <a:gd name="connsiteY39046" fmla="*/ 2776165 h 4687251"/>
              <a:gd name="connsiteX39047" fmla="*/ 6428091 w 8079933"/>
              <a:gd name="connsiteY39047" fmla="*/ 2772809 h 4687251"/>
              <a:gd name="connsiteX39048" fmla="*/ 6428416 w 8079933"/>
              <a:gd name="connsiteY39048" fmla="*/ 2769669 h 4687251"/>
              <a:gd name="connsiteX39049" fmla="*/ 6426789 w 8079933"/>
              <a:gd name="connsiteY39049" fmla="*/ 2765988 h 4687251"/>
              <a:gd name="connsiteX39050" fmla="*/ 6426789 w 8079933"/>
              <a:gd name="connsiteY39050" fmla="*/ 2763173 h 4687251"/>
              <a:gd name="connsiteX39051" fmla="*/ 6424836 w 8079933"/>
              <a:gd name="connsiteY39051" fmla="*/ 2764472 h 4687251"/>
              <a:gd name="connsiteX39052" fmla="*/ 6421906 w 8079933"/>
              <a:gd name="connsiteY39052" fmla="*/ 2766962 h 4687251"/>
              <a:gd name="connsiteX39053" fmla="*/ 6421906 w 8079933"/>
              <a:gd name="connsiteY39053" fmla="*/ 2771076 h 4687251"/>
              <a:gd name="connsiteX39054" fmla="*/ 6418867 w 8079933"/>
              <a:gd name="connsiteY39054" fmla="*/ 2771509 h 4687251"/>
              <a:gd name="connsiteX39055" fmla="*/ 6415177 w 8079933"/>
              <a:gd name="connsiteY39055" fmla="*/ 2771076 h 4687251"/>
              <a:gd name="connsiteX39056" fmla="*/ 6414527 w 8079933"/>
              <a:gd name="connsiteY39056" fmla="*/ 2767503 h 4687251"/>
              <a:gd name="connsiteX39057" fmla="*/ 6413007 w 8079933"/>
              <a:gd name="connsiteY39057" fmla="*/ 2764797 h 4687251"/>
              <a:gd name="connsiteX39058" fmla="*/ 6413333 w 8079933"/>
              <a:gd name="connsiteY39058" fmla="*/ 2761007 h 4687251"/>
              <a:gd name="connsiteX39059" fmla="*/ 6411488 w 8079933"/>
              <a:gd name="connsiteY39059" fmla="*/ 2757543 h 4687251"/>
              <a:gd name="connsiteX39060" fmla="*/ 6409643 w 8079933"/>
              <a:gd name="connsiteY39060" fmla="*/ 2758192 h 4687251"/>
              <a:gd name="connsiteX39061" fmla="*/ 6406279 w 8079933"/>
              <a:gd name="connsiteY39061" fmla="*/ 2753428 h 4687251"/>
              <a:gd name="connsiteX39062" fmla="*/ 6406063 w 8079933"/>
              <a:gd name="connsiteY39062" fmla="*/ 2748881 h 4687251"/>
              <a:gd name="connsiteX39063" fmla="*/ 6402915 w 8079933"/>
              <a:gd name="connsiteY39063" fmla="*/ 2746066 h 4687251"/>
              <a:gd name="connsiteX39064" fmla="*/ 6402807 w 8079933"/>
              <a:gd name="connsiteY39064" fmla="*/ 2741519 h 4687251"/>
              <a:gd name="connsiteX39065" fmla="*/ 6399551 w 8079933"/>
              <a:gd name="connsiteY39065" fmla="*/ 2737729 h 4687251"/>
              <a:gd name="connsiteX39066" fmla="*/ 6399443 w 8079933"/>
              <a:gd name="connsiteY39066" fmla="*/ 2737729 h 4687251"/>
              <a:gd name="connsiteX39067" fmla="*/ 6399768 w 8079933"/>
              <a:gd name="connsiteY39067" fmla="*/ 2735889 h 4687251"/>
              <a:gd name="connsiteX39068" fmla="*/ 6399443 w 8079933"/>
              <a:gd name="connsiteY39068" fmla="*/ 2737729 h 4687251"/>
              <a:gd name="connsiteX39069" fmla="*/ 6397382 w 8079933"/>
              <a:gd name="connsiteY39069" fmla="*/ 2737513 h 4687251"/>
              <a:gd name="connsiteX39070" fmla="*/ 6397055 w 8079933"/>
              <a:gd name="connsiteY39070" fmla="*/ 2740869 h 4687251"/>
              <a:gd name="connsiteX39071" fmla="*/ 6396187 w 8079933"/>
              <a:gd name="connsiteY39071" fmla="*/ 2741194 h 4687251"/>
              <a:gd name="connsiteX39072" fmla="*/ 6395428 w 8079933"/>
              <a:gd name="connsiteY39072" fmla="*/ 2740003 h 4687251"/>
              <a:gd name="connsiteX39073" fmla="*/ 6390436 w 8079933"/>
              <a:gd name="connsiteY39073" fmla="*/ 2735889 h 4687251"/>
              <a:gd name="connsiteX39074" fmla="*/ 6388591 w 8079933"/>
              <a:gd name="connsiteY39074" fmla="*/ 2735780 h 4687251"/>
              <a:gd name="connsiteX39075" fmla="*/ 6388700 w 8079933"/>
              <a:gd name="connsiteY39075" fmla="*/ 2733615 h 4687251"/>
              <a:gd name="connsiteX39076" fmla="*/ 6385770 w 8079933"/>
              <a:gd name="connsiteY39076" fmla="*/ 2732099 h 4687251"/>
              <a:gd name="connsiteX39077" fmla="*/ 6379476 w 8079933"/>
              <a:gd name="connsiteY39077" fmla="*/ 2726036 h 4687251"/>
              <a:gd name="connsiteX39078" fmla="*/ 6376003 w 8079933"/>
              <a:gd name="connsiteY39078" fmla="*/ 2724737 h 4687251"/>
              <a:gd name="connsiteX39079" fmla="*/ 6373290 w 8079933"/>
              <a:gd name="connsiteY39079" fmla="*/ 2727010 h 4687251"/>
              <a:gd name="connsiteX39080" fmla="*/ 6373833 w 8079933"/>
              <a:gd name="connsiteY39080" fmla="*/ 2728093 h 4687251"/>
              <a:gd name="connsiteX39081" fmla="*/ 6373399 w 8079933"/>
              <a:gd name="connsiteY39081" fmla="*/ 2728959 h 4687251"/>
              <a:gd name="connsiteX39082" fmla="*/ 6371337 w 8079933"/>
              <a:gd name="connsiteY39082" fmla="*/ 2727552 h 4687251"/>
              <a:gd name="connsiteX39083" fmla="*/ 6366128 w 8079933"/>
              <a:gd name="connsiteY39083" fmla="*/ 2726253 h 4687251"/>
              <a:gd name="connsiteX39084" fmla="*/ 6361354 w 8079933"/>
              <a:gd name="connsiteY39084" fmla="*/ 2727443 h 4687251"/>
              <a:gd name="connsiteX39085" fmla="*/ 6357990 w 8079933"/>
              <a:gd name="connsiteY39085" fmla="*/ 2726253 h 4687251"/>
              <a:gd name="connsiteX39086" fmla="*/ 6354409 w 8079933"/>
              <a:gd name="connsiteY39086" fmla="*/ 2726577 h 4687251"/>
              <a:gd name="connsiteX39087" fmla="*/ 6355711 w 8079933"/>
              <a:gd name="connsiteY39087" fmla="*/ 2722896 h 4687251"/>
              <a:gd name="connsiteX39088" fmla="*/ 6357230 w 8079933"/>
              <a:gd name="connsiteY39088" fmla="*/ 2721272 h 4687251"/>
              <a:gd name="connsiteX39089" fmla="*/ 6355060 w 8079933"/>
              <a:gd name="connsiteY39089" fmla="*/ 2717483 h 4687251"/>
              <a:gd name="connsiteX39090" fmla="*/ 6355385 w 8079933"/>
              <a:gd name="connsiteY39090" fmla="*/ 2711203 h 4687251"/>
              <a:gd name="connsiteX39091" fmla="*/ 6356796 w 8079933"/>
              <a:gd name="connsiteY39091" fmla="*/ 2709688 h 4687251"/>
              <a:gd name="connsiteX39092" fmla="*/ 6355493 w 8079933"/>
              <a:gd name="connsiteY39092" fmla="*/ 2706547 h 4687251"/>
              <a:gd name="connsiteX39093" fmla="*/ 6351370 w 8079933"/>
              <a:gd name="connsiteY39093" fmla="*/ 2705790 h 4687251"/>
              <a:gd name="connsiteX39094" fmla="*/ 6350610 w 8079933"/>
              <a:gd name="connsiteY39094" fmla="*/ 2705140 h 4687251"/>
              <a:gd name="connsiteX39095" fmla="*/ 6348983 w 8079933"/>
              <a:gd name="connsiteY39095" fmla="*/ 2705573 h 4687251"/>
              <a:gd name="connsiteX39096" fmla="*/ 6347246 w 8079933"/>
              <a:gd name="connsiteY39096" fmla="*/ 2704274 h 4687251"/>
              <a:gd name="connsiteX39097" fmla="*/ 6343557 w 8079933"/>
              <a:gd name="connsiteY39097" fmla="*/ 2706006 h 4687251"/>
              <a:gd name="connsiteX39098" fmla="*/ 6340735 w 8079933"/>
              <a:gd name="connsiteY39098" fmla="*/ 2706331 h 4687251"/>
              <a:gd name="connsiteX39099" fmla="*/ 6339000 w 8079933"/>
              <a:gd name="connsiteY39099" fmla="*/ 2704815 h 4687251"/>
              <a:gd name="connsiteX39100" fmla="*/ 6337480 w 8079933"/>
              <a:gd name="connsiteY39100" fmla="*/ 2706764 h 4687251"/>
              <a:gd name="connsiteX39101" fmla="*/ 6334767 w 8079933"/>
              <a:gd name="connsiteY39101" fmla="*/ 2706764 h 4687251"/>
              <a:gd name="connsiteX39102" fmla="*/ 6333357 w 8079933"/>
              <a:gd name="connsiteY39102" fmla="*/ 2706114 h 4687251"/>
              <a:gd name="connsiteX39103" fmla="*/ 6333357 w 8079933"/>
              <a:gd name="connsiteY39103" fmla="*/ 2707089 h 4687251"/>
              <a:gd name="connsiteX39104" fmla="*/ 6332271 w 8079933"/>
              <a:gd name="connsiteY39104" fmla="*/ 2710445 h 4687251"/>
              <a:gd name="connsiteX39105" fmla="*/ 6336287 w 8079933"/>
              <a:gd name="connsiteY39105" fmla="*/ 2712394 h 4687251"/>
              <a:gd name="connsiteX39106" fmla="*/ 6336937 w 8079933"/>
              <a:gd name="connsiteY39106" fmla="*/ 2716725 h 4687251"/>
              <a:gd name="connsiteX39107" fmla="*/ 6334442 w 8079933"/>
              <a:gd name="connsiteY39107" fmla="*/ 2720839 h 4687251"/>
              <a:gd name="connsiteX39108" fmla="*/ 6334659 w 8079933"/>
              <a:gd name="connsiteY39108" fmla="*/ 2726036 h 4687251"/>
              <a:gd name="connsiteX39109" fmla="*/ 6333682 w 8079933"/>
              <a:gd name="connsiteY39109" fmla="*/ 2728959 h 4687251"/>
              <a:gd name="connsiteX39110" fmla="*/ 6335527 w 8079933"/>
              <a:gd name="connsiteY39110" fmla="*/ 2730475 h 4687251"/>
              <a:gd name="connsiteX39111" fmla="*/ 6334767 w 8079933"/>
              <a:gd name="connsiteY39111" fmla="*/ 2737080 h 4687251"/>
              <a:gd name="connsiteX39112" fmla="*/ 6331403 w 8079933"/>
              <a:gd name="connsiteY39112" fmla="*/ 2741410 h 4687251"/>
              <a:gd name="connsiteX39113" fmla="*/ 6330644 w 8079933"/>
              <a:gd name="connsiteY39113" fmla="*/ 2746283 h 4687251"/>
              <a:gd name="connsiteX39114" fmla="*/ 6327171 w 8079933"/>
              <a:gd name="connsiteY39114" fmla="*/ 2751371 h 4687251"/>
              <a:gd name="connsiteX39115" fmla="*/ 6325978 w 8079933"/>
              <a:gd name="connsiteY39115" fmla="*/ 2769452 h 4687251"/>
              <a:gd name="connsiteX39116" fmla="*/ 6320226 w 8079933"/>
              <a:gd name="connsiteY39116" fmla="*/ 2776706 h 4687251"/>
              <a:gd name="connsiteX39117" fmla="*/ 6320226 w 8079933"/>
              <a:gd name="connsiteY39117" fmla="*/ 2781795 h 4687251"/>
              <a:gd name="connsiteX39118" fmla="*/ 6317947 w 8079933"/>
              <a:gd name="connsiteY39118" fmla="*/ 2786559 h 4687251"/>
              <a:gd name="connsiteX39119" fmla="*/ 6320443 w 8079933"/>
              <a:gd name="connsiteY39119" fmla="*/ 2786992 h 4687251"/>
              <a:gd name="connsiteX39120" fmla="*/ 6321094 w 8079933"/>
              <a:gd name="connsiteY39120" fmla="*/ 2788183 h 4687251"/>
              <a:gd name="connsiteX39121" fmla="*/ 6318923 w 8079933"/>
              <a:gd name="connsiteY39121" fmla="*/ 2790999 h 4687251"/>
              <a:gd name="connsiteX39122" fmla="*/ 6319250 w 8079933"/>
              <a:gd name="connsiteY39122" fmla="*/ 2793164 h 4687251"/>
              <a:gd name="connsiteX39123" fmla="*/ 6320443 w 8079933"/>
              <a:gd name="connsiteY39123" fmla="*/ 2798144 h 4687251"/>
              <a:gd name="connsiteX39124" fmla="*/ 6320443 w 8079933"/>
              <a:gd name="connsiteY39124" fmla="*/ 2801284 h 4687251"/>
              <a:gd name="connsiteX39125" fmla="*/ 6325109 w 8079933"/>
              <a:gd name="connsiteY39125" fmla="*/ 2808105 h 4687251"/>
              <a:gd name="connsiteX39126" fmla="*/ 6322722 w 8079933"/>
              <a:gd name="connsiteY39126" fmla="*/ 2812760 h 4687251"/>
              <a:gd name="connsiteX39127" fmla="*/ 6324241 w 8079933"/>
              <a:gd name="connsiteY39127" fmla="*/ 2814493 h 4687251"/>
              <a:gd name="connsiteX39128" fmla="*/ 6326846 w 8079933"/>
              <a:gd name="connsiteY39128" fmla="*/ 2813735 h 4687251"/>
              <a:gd name="connsiteX39129" fmla="*/ 6327497 w 8079933"/>
              <a:gd name="connsiteY39129" fmla="*/ 2811786 h 4687251"/>
              <a:gd name="connsiteX39130" fmla="*/ 6329775 w 8079933"/>
              <a:gd name="connsiteY39130" fmla="*/ 2809187 h 4687251"/>
              <a:gd name="connsiteX39131" fmla="*/ 6330969 w 8079933"/>
              <a:gd name="connsiteY39131" fmla="*/ 2810054 h 4687251"/>
              <a:gd name="connsiteX39132" fmla="*/ 6334550 w 8079933"/>
              <a:gd name="connsiteY39132" fmla="*/ 2810703 h 4687251"/>
              <a:gd name="connsiteX39133" fmla="*/ 6336612 w 8079933"/>
              <a:gd name="connsiteY39133" fmla="*/ 2812760 h 4687251"/>
              <a:gd name="connsiteX39134" fmla="*/ 6337155 w 8079933"/>
              <a:gd name="connsiteY39134" fmla="*/ 2817633 h 4687251"/>
              <a:gd name="connsiteX39135" fmla="*/ 6339325 w 8079933"/>
              <a:gd name="connsiteY39135" fmla="*/ 2820556 h 4687251"/>
              <a:gd name="connsiteX39136" fmla="*/ 6338891 w 8079933"/>
              <a:gd name="connsiteY39136" fmla="*/ 2825645 h 4687251"/>
              <a:gd name="connsiteX39137" fmla="*/ 6341495 w 8079933"/>
              <a:gd name="connsiteY39137" fmla="*/ 2826619 h 4687251"/>
              <a:gd name="connsiteX39138" fmla="*/ 6343882 w 8079933"/>
              <a:gd name="connsiteY39138" fmla="*/ 2831925 h 4687251"/>
              <a:gd name="connsiteX39139" fmla="*/ 6346487 w 8079933"/>
              <a:gd name="connsiteY39139" fmla="*/ 2831816 h 4687251"/>
              <a:gd name="connsiteX39140" fmla="*/ 6346378 w 8079933"/>
              <a:gd name="connsiteY39140" fmla="*/ 2829217 h 4687251"/>
              <a:gd name="connsiteX39141" fmla="*/ 6346813 w 8079933"/>
              <a:gd name="connsiteY39141" fmla="*/ 2827160 h 4687251"/>
              <a:gd name="connsiteX39142" fmla="*/ 6347897 w 8079933"/>
              <a:gd name="connsiteY39142" fmla="*/ 2830950 h 4687251"/>
              <a:gd name="connsiteX39143" fmla="*/ 6350610 w 8079933"/>
              <a:gd name="connsiteY39143" fmla="*/ 2834848 h 4687251"/>
              <a:gd name="connsiteX39144" fmla="*/ 6350719 w 8079933"/>
              <a:gd name="connsiteY39144" fmla="*/ 2838854 h 4687251"/>
              <a:gd name="connsiteX39145" fmla="*/ 6352998 w 8079933"/>
              <a:gd name="connsiteY39145" fmla="*/ 2840045 h 4687251"/>
              <a:gd name="connsiteX39146" fmla="*/ 6354843 w 8079933"/>
              <a:gd name="connsiteY39146" fmla="*/ 2849898 h 4687251"/>
              <a:gd name="connsiteX39147" fmla="*/ 6353975 w 8079933"/>
              <a:gd name="connsiteY39147" fmla="*/ 2851196 h 4687251"/>
              <a:gd name="connsiteX39148" fmla="*/ 6353215 w 8079933"/>
              <a:gd name="connsiteY39148" fmla="*/ 2852929 h 4687251"/>
              <a:gd name="connsiteX39149" fmla="*/ 6352021 w 8079933"/>
              <a:gd name="connsiteY39149" fmla="*/ 2851305 h 4687251"/>
              <a:gd name="connsiteX39150" fmla="*/ 6348223 w 8079933"/>
              <a:gd name="connsiteY39150" fmla="*/ 2853795 h 4687251"/>
              <a:gd name="connsiteX39151" fmla="*/ 6347572 w 8079933"/>
              <a:gd name="connsiteY39151" fmla="*/ 2857260 h 4687251"/>
              <a:gd name="connsiteX39152" fmla="*/ 6354517 w 8079933"/>
              <a:gd name="connsiteY39152" fmla="*/ 2859859 h 4687251"/>
              <a:gd name="connsiteX39153" fmla="*/ 6355385 w 8079933"/>
              <a:gd name="connsiteY39153" fmla="*/ 2856286 h 4687251"/>
              <a:gd name="connsiteX39154" fmla="*/ 6356796 w 8079933"/>
              <a:gd name="connsiteY39154" fmla="*/ 2857368 h 4687251"/>
              <a:gd name="connsiteX39155" fmla="*/ 6357230 w 8079933"/>
              <a:gd name="connsiteY39155" fmla="*/ 2861590 h 4687251"/>
              <a:gd name="connsiteX39156" fmla="*/ 6360377 w 8079933"/>
              <a:gd name="connsiteY39156" fmla="*/ 2864189 h 4687251"/>
              <a:gd name="connsiteX39157" fmla="*/ 6367214 w 8079933"/>
              <a:gd name="connsiteY39157" fmla="*/ 2870902 h 4687251"/>
              <a:gd name="connsiteX39158" fmla="*/ 6370035 w 8079933"/>
              <a:gd name="connsiteY39158" fmla="*/ 2873175 h 4687251"/>
              <a:gd name="connsiteX39159" fmla="*/ 6372097 w 8079933"/>
              <a:gd name="connsiteY39159" fmla="*/ 2871768 h 4687251"/>
              <a:gd name="connsiteX39160" fmla="*/ 6376872 w 8079933"/>
              <a:gd name="connsiteY39160" fmla="*/ 2872310 h 4687251"/>
              <a:gd name="connsiteX39161" fmla="*/ 6381321 w 8079933"/>
              <a:gd name="connsiteY39161" fmla="*/ 2873933 h 4687251"/>
              <a:gd name="connsiteX39162" fmla="*/ 6384468 w 8079933"/>
              <a:gd name="connsiteY39162" fmla="*/ 2880863 h 4687251"/>
              <a:gd name="connsiteX39163" fmla="*/ 6387073 w 8079933"/>
              <a:gd name="connsiteY39163" fmla="*/ 2884219 h 4687251"/>
              <a:gd name="connsiteX39164" fmla="*/ 6391412 w 8079933"/>
              <a:gd name="connsiteY39164" fmla="*/ 2887034 h 4687251"/>
              <a:gd name="connsiteX39165" fmla="*/ 6391956 w 8079933"/>
              <a:gd name="connsiteY39165" fmla="*/ 2889308 h 4687251"/>
              <a:gd name="connsiteX39166" fmla="*/ 6390762 w 8079933"/>
              <a:gd name="connsiteY39166" fmla="*/ 2890499 h 4687251"/>
              <a:gd name="connsiteX39167" fmla="*/ 6390762 w 8079933"/>
              <a:gd name="connsiteY39167" fmla="*/ 2890500 h 4687251"/>
              <a:gd name="connsiteX39168" fmla="*/ 6391956 w 8079933"/>
              <a:gd name="connsiteY39168" fmla="*/ 2889308 h 4687251"/>
              <a:gd name="connsiteX39169" fmla="*/ 6391956 w 8079933"/>
              <a:gd name="connsiteY39169" fmla="*/ 2889417 h 4687251"/>
              <a:gd name="connsiteX39170" fmla="*/ 6395428 w 8079933"/>
              <a:gd name="connsiteY39170" fmla="*/ 2889200 h 4687251"/>
              <a:gd name="connsiteX39171" fmla="*/ 6397490 w 8079933"/>
              <a:gd name="connsiteY39171" fmla="*/ 2886818 h 4687251"/>
              <a:gd name="connsiteX39172" fmla="*/ 6399552 w 8079933"/>
              <a:gd name="connsiteY39172" fmla="*/ 2886276 h 4687251"/>
              <a:gd name="connsiteX39173" fmla="*/ 6403133 w 8079933"/>
              <a:gd name="connsiteY39173" fmla="*/ 2892881 h 4687251"/>
              <a:gd name="connsiteX39174" fmla="*/ 6420495 w 8079933"/>
              <a:gd name="connsiteY39174" fmla="*/ 2910530 h 4687251"/>
              <a:gd name="connsiteX39175" fmla="*/ 6425705 w 8079933"/>
              <a:gd name="connsiteY39175" fmla="*/ 2918867 h 4687251"/>
              <a:gd name="connsiteX39176" fmla="*/ 6428092 w 8079933"/>
              <a:gd name="connsiteY39176" fmla="*/ 2928503 h 4687251"/>
              <a:gd name="connsiteX39177" fmla="*/ 6426138 w 8079933"/>
              <a:gd name="connsiteY39177" fmla="*/ 2931101 h 4687251"/>
              <a:gd name="connsiteX39178" fmla="*/ 6426790 w 8079933"/>
              <a:gd name="connsiteY39178" fmla="*/ 2942794 h 4687251"/>
              <a:gd name="connsiteX39179" fmla="*/ 6425596 w 8079933"/>
              <a:gd name="connsiteY39179" fmla="*/ 2944851 h 4687251"/>
              <a:gd name="connsiteX39180" fmla="*/ 6425596 w 8079933"/>
              <a:gd name="connsiteY39180" fmla="*/ 2949074 h 4687251"/>
              <a:gd name="connsiteX39181" fmla="*/ 6427332 w 8079933"/>
              <a:gd name="connsiteY39181" fmla="*/ 2952214 h 4687251"/>
              <a:gd name="connsiteX39182" fmla="*/ 6427332 w 8079933"/>
              <a:gd name="connsiteY39182" fmla="*/ 2964016 h 4687251"/>
              <a:gd name="connsiteX39183" fmla="*/ 6430480 w 8079933"/>
              <a:gd name="connsiteY39183" fmla="*/ 2970295 h 4687251"/>
              <a:gd name="connsiteX39184" fmla="*/ 6435906 w 8079933"/>
              <a:gd name="connsiteY39184" fmla="*/ 2975275 h 4687251"/>
              <a:gd name="connsiteX39185" fmla="*/ 6439703 w 8079933"/>
              <a:gd name="connsiteY39185" fmla="*/ 2975275 h 4687251"/>
              <a:gd name="connsiteX39186" fmla="*/ 6440789 w 8079933"/>
              <a:gd name="connsiteY39186" fmla="*/ 2977332 h 4687251"/>
              <a:gd name="connsiteX39187" fmla="*/ 6440137 w 8079933"/>
              <a:gd name="connsiteY39187" fmla="*/ 2979173 h 4687251"/>
              <a:gd name="connsiteX39188" fmla="*/ 6441114 w 8079933"/>
              <a:gd name="connsiteY39188" fmla="*/ 2986319 h 4687251"/>
              <a:gd name="connsiteX39189" fmla="*/ 6442742 w 8079933"/>
              <a:gd name="connsiteY39189" fmla="*/ 2987727 h 4687251"/>
              <a:gd name="connsiteX39190" fmla="*/ 6443718 w 8079933"/>
              <a:gd name="connsiteY39190" fmla="*/ 2989567 h 4687251"/>
              <a:gd name="connsiteX39191" fmla="*/ 6443610 w 8079933"/>
              <a:gd name="connsiteY39191" fmla="*/ 2990975 h 4687251"/>
              <a:gd name="connsiteX39192" fmla="*/ 6445020 w 8079933"/>
              <a:gd name="connsiteY39192" fmla="*/ 2991624 h 4687251"/>
              <a:gd name="connsiteX39193" fmla="*/ 6450121 w 8079933"/>
              <a:gd name="connsiteY39193" fmla="*/ 3001585 h 4687251"/>
              <a:gd name="connsiteX39194" fmla="*/ 6450230 w 8079933"/>
              <a:gd name="connsiteY39194" fmla="*/ 3007540 h 4687251"/>
              <a:gd name="connsiteX39195" fmla="*/ 6446540 w 8079933"/>
              <a:gd name="connsiteY39195" fmla="*/ 3006891 h 4687251"/>
              <a:gd name="connsiteX39196" fmla="*/ 6445671 w 8079933"/>
              <a:gd name="connsiteY39196" fmla="*/ 3005050 h 4687251"/>
              <a:gd name="connsiteX39197" fmla="*/ 6445888 w 8079933"/>
              <a:gd name="connsiteY39197" fmla="*/ 3002452 h 4687251"/>
              <a:gd name="connsiteX39198" fmla="*/ 6443284 w 8079933"/>
              <a:gd name="connsiteY39198" fmla="*/ 3000503 h 4687251"/>
              <a:gd name="connsiteX39199" fmla="*/ 6444695 w 8079933"/>
              <a:gd name="connsiteY39199" fmla="*/ 3002343 h 4687251"/>
              <a:gd name="connsiteX39200" fmla="*/ 6444369 w 8079933"/>
              <a:gd name="connsiteY39200" fmla="*/ 3004942 h 4687251"/>
              <a:gd name="connsiteX39201" fmla="*/ 6442850 w 8079933"/>
              <a:gd name="connsiteY39201" fmla="*/ 3005483 h 4687251"/>
              <a:gd name="connsiteX39202" fmla="*/ 6445020 w 8079933"/>
              <a:gd name="connsiteY39202" fmla="*/ 3005808 h 4687251"/>
              <a:gd name="connsiteX39203" fmla="*/ 6445020 w 8079933"/>
              <a:gd name="connsiteY39203" fmla="*/ 3006891 h 4687251"/>
              <a:gd name="connsiteX39204" fmla="*/ 6440245 w 8079933"/>
              <a:gd name="connsiteY39204" fmla="*/ 3009814 h 4687251"/>
              <a:gd name="connsiteX39205" fmla="*/ 6438618 w 8079933"/>
              <a:gd name="connsiteY39205" fmla="*/ 3007324 h 4687251"/>
              <a:gd name="connsiteX39206" fmla="*/ 6436990 w 8079933"/>
              <a:gd name="connsiteY39206" fmla="*/ 3008948 h 4687251"/>
              <a:gd name="connsiteX39207" fmla="*/ 6432324 w 8079933"/>
              <a:gd name="connsiteY39207" fmla="*/ 3006674 h 4687251"/>
              <a:gd name="connsiteX39208" fmla="*/ 6429285 w 8079933"/>
              <a:gd name="connsiteY39208" fmla="*/ 3003101 h 4687251"/>
              <a:gd name="connsiteX39209" fmla="*/ 6421472 w 8079933"/>
              <a:gd name="connsiteY39209" fmla="*/ 3001585 h 4687251"/>
              <a:gd name="connsiteX39210" fmla="*/ 6414202 w 8079933"/>
              <a:gd name="connsiteY39210" fmla="*/ 2997796 h 4687251"/>
              <a:gd name="connsiteX39211" fmla="*/ 6410621 w 8079933"/>
              <a:gd name="connsiteY39211" fmla="*/ 2993898 h 4687251"/>
              <a:gd name="connsiteX39212" fmla="*/ 6408016 w 8079933"/>
              <a:gd name="connsiteY39212" fmla="*/ 2991733 h 4687251"/>
              <a:gd name="connsiteX39213" fmla="*/ 6404652 w 8079933"/>
              <a:gd name="connsiteY39213" fmla="*/ 2992599 h 4687251"/>
              <a:gd name="connsiteX39214" fmla="*/ 6401180 w 8079933"/>
              <a:gd name="connsiteY39214" fmla="*/ 2992383 h 4687251"/>
              <a:gd name="connsiteX39215" fmla="*/ 6395428 w 8079933"/>
              <a:gd name="connsiteY39215" fmla="*/ 2986319 h 4687251"/>
              <a:gd name="connsiteX39216" fmla="*/ 6395863 w 8079933"/>
              <a:gd name="connsiteY39216" fmla="*/ 2981880 h 4687251"/>
              <a:gd name="connsiteX39217" fmla="*/ 6388592 w 8079933"/>
              <a:gd name="connsiteY39217" fmla="*/ 2976142 h 4687251"/>
              <a:gd name="connsiteX39218" fmla="*/ 6380019 w 8079933"/>
              <a:gd name="connsiteY39218" fmla="*/ 2972785 h 4687251"/>
              <a:gd name="connsiteX39219" fmla="*/ 6377089 w 8079933"/>
              <a:gd name="connsiteY39219" fmla="*/ 2970079 h 4687251"/>
              <a:gd name="connsiteX39220" fmla="*/ 6377632 w 8079933"/>
              <a:gd name="connsiteY39220" fmla="*/ 2966830 h 4687251"/>
              <a:gd name="connsiteX39221" fmla="*/ 6381213 w 8079933"/>
              <a:gd name="connsiteY39221" fmla="*/ 2963366 h 4687251"/>
              <a:gd name="connsiteX39222" fmla="*/ 6378391 w 8079933"/>
              <a:gd name="connsiteY39222" fmla="*/ 2959035 h 4687251"/>
              <a:gd name="connsiteX39223" fmla="*/ 6374051 w 8079933"/>
              <a:gd name="connsiteY39223" fmla="*/ 2956545 h 4687251"/>
              <a:gd name="connsiteX39224" fmla="*/ 6369927 w 8079933"/>
              <a:gd name="connsiteY39224" fmla="*/ 2950048 h 4687251"/>
              <a:gd name="connsiteX39225" fmla="*/ 6363416 w 8079933"/>
              <a:gd name="connsiteY39225" fmla="*/ 2946259 h 4687251"/>
              <a:gd name="connsiteX39226" fmla="*/ 6360486 w 8079933"/>
              <a:gd name="connsiteY39226" fmla="*/ 2942036 h 4687251"/>
              <a:gd name="connsiteX39227" fmla="*/ 6361788 w 8079933"/>
              <a:gd name="connsiteY39227" fmla="*/ 2939871 h 4687251"/>
              <a:gd name="connsiteX39228" fmla="*/ 6358098 w 8079933"/>
              <a:gd name="connsiteY39228" fmla="*/ 2936514 h 4687251"/>
              <a:gd name="connsiteX39229" fmla="*/ 6357556 w 8079933"/>
              <a:gd name="connsiteY39229" fmla="*/ 2931209 h 4687251"/>
              <a:gd name="connsiteX39230" fmla="*/ 6359075 w 8079933"/>
              <a:gd name="connsiteY39230" fmla="*/ 2930018 h 4687251"/>
              <a:gd name="connsiteX39231" fmla="*/ 6359944 w 8079933"/>
              <a:gd name="connsiteY39231" fmla="*/ 2922223 h 4687251"/>
              <a:gd name="connsiteX39232" fmla="*/ 6357014 w 8079933"/>
              <a:gd name="connsiteY39232" fmla="*/ 2916268 h 4687251"/>
              <a:gd name="connsiteX39233" fmla="*/ 6354301 w 8079933"/>
              <a:gd name="connsiteY39233" fmla="*/ 2909772 h 4687251"/>
              <a:gd name="connsiteX39234" fmla="*/ 6351805 w 8079933"/>
              <a:gd name="connsiteY39234" fmla="*/ 2890066 h 4687251"/>
              <a:gd name="connsiteX39235" fmla="*/ 6346813 w 8079933"/>
              <a:gd name="connsiteY39235" fmla="*/ 2882055 h 4687251"/>
              <a:gd name="connsiteX39236" fmla="*/ 6348441 w 8079933"/>
              <a:gd name="connsiteY39236" fmla="*/ 2876641 h 4687251"/>
              <a:gd name="connsiteX39237" fmla="*/ 6351479 w 8079933"/>
              <a:gd name="connsiteY39237" fmla="*/ 2872635 h 4687251"/>
              <a:gd name="connsiteX39238" fmla="*/ 6354188 w 8079933"/>
              <a:gd name="connsiteY39238" fmla="*/ 2875016 h 4687251"/>
              <a:gd name="connsiteX39239" fmla="*/ 6351479 w 8079933"/>
              <a:gd name="connsiteY39239" fmla="*/ 2872634 h 4687251"/>
              <a:gd name="connsiteX39240" fmla="*/ 6348441 w 8079933"/>
              <a:gd name="connsiteY39240" fmla="*/ 2876640 h 4687251"/>
              <a:gd name="connsiteX39241" fmla="*/ 6346813 w 8079933"/>
              <a:gd name="connsiteY39241" fmla="*/ 2882053 h 4687251"/>
              <a:gd name="connsiteX39242" fmla="*/ 6344859 w 8079933"/>
              <a:gd name="connsiteY39242" fmla="*/ 2878806 h 4687251"/>
              <a:gd name="connsiteX39243" fmla="*/ 6334550 w 8079933"/>
              <a:gd name="connsiteY39243" fmla="*/ 2871443 h 4687251"/>
              <a:gd name="connsiteX39244" fmla="*/ 6334225 w 8079933"/>
              <a:gd name="connsiteY39244" fmla="*/ 2869494 h 4687251"/>
              <a:gd name="connsiteX39245" fmla="*/ 6336287 w 8079933"/>
              <a:gd name="connsiteY39245" fmla="*/ 2867221 h 4687251"/>
              <a:gd name="connsiteX39246" fmla="*/ 6336395 w 8079933"/>
              <a:gd name="connsiteY39246" fmla="*/ 2864622 h 4687251"/>
              <a:gd name="connsiteX39247" fmla="*/ 6333899 w 8079933"/>
              <a:gd name="connsiteY39247" fmla="*/ 2864297 h 4687251"/>
              <a:gd name="connsiteX39248" fmla="*/ 6332271 w 8079933"/>
              <a:gd name="connsiteY39248" fmla="*/ 2860400 h 4687251"/>
              <a:gd name="connsiteX39249" fmla="*/ 6327605 w 8079933"/>
              <a:gd name="connsiteY39249" fmla="*/ 2859641 h 4687251"/>
              <a:gd name="connsiteX39250" fmla="*/ 6327605 w 8079933"/>
              <a:gd name="connsiteY39250" fmla="*/ 2856394 h 4687251"/>
              <a:gd name="connsiteX39251" fmla="*/ 6322179 w 8079933"/>
              <a:gd name="connsiteY39251" fmla="*/ 2849139 h 4687251"/>
              <a:gd name="connsiteX39252" fmla="*/ 6318707 w 8079933"/>
              <a:gd name="connsiteY39252" fmla="*/ 2849139 h 4687251"/>
              <a:gd name="connsiteX39253" fmla="*/ 6315994 w 8079933"/>
              <a:gd name="connsiteY39253" fmla="*/ 2840478 h 4687251"/>
              <a:gd name="connsiteX39254" fmla="*/ 6311653 w 8079933"/>
              <a:gd name="connsiteY39254" fmla="*/ 2839720 h 4687251"/>
              <a:gd name="connsiteX39255" fmla="*/ 6311653 w 8079933"/>
              <a:gd name="connsiteY39255" fmla="*/ 2836147 h 4687251"/>
              <a:gd name="connsiteX39256" fmla="*/ 6308941 w 8079933"/>
              <a:gd name="connsiteY39256" fmla="*/ 2834198 h 4687251"/>
              <a:gd name="connsiteX39257" fmla="*/ 6309049 w 8079933"/>
              <a:gd name="connsiteY39257" fmla="*/ 2831816 h 4687251"/>
              <a:gd name="connsiteX39258" fmla="*/ 6304599 w 8079933"/>
              <a:gd name="connsiteY39258" fmla="*/ 2833982 h 4687251"/>
              <a:gd name="connsiteX39259" fmla="*/ 6304708 w 8079933"/>
              <a:gd name="connsiteY39259" fmla="*/ 2838529 h 4687251"/>
              <a:gd name="connsiteX39260" fmla="*/ 6301670 w 8079933"/>
              <a:gd name="connsiteY39260" fmla="*/ 2838096 h 4687251"/>
              <a:gd name="connsiteX39261" fmla="*/ 6299500 w 8079933"/>
              <a:gd name="connsiteY39261" fmla="*/ 2834848 h 4687251"/>
              <a:gd name="connsiteX39262" fmla="*/ 6298197 w 8079933"/>
              <a:gd name="connsiteY39262" fmla="*/ 2826727 h 4687251"/>
              <a:gd name="connsiteX39263" fmla="*/ 6299391 w 8079933"/>
              <a:gd name="connsiteY39263" fmla="*/ 2824562 h 4687251"/>
              <a:gd name="connsiteX39264" fmla="*/ 6298631 w 8079933"/>
              <a:gd name="connsiteY39264" fmla="*/ 2817741 h 4687251"/>
              <a:gd name="connsiteX39265" fmla="*/ 6301670 w 8079933"/>
              <a:gd name="connsiteY39265" fmla="*/ 2816333 h 4687251"/>
              <a:gd name="connsiteX39266" fmla="*/ 6301562 w 8079933"/>
              <a:gd name="connsiteY39266" fmla="*/ 2807130 h 4687251"/>
              <a:gd name="connsiteX39267" fmla="*/ 6304057 w 8079933"/>
              <a:gd name="connsiteY39267" fmla="*/ 2807672 h 4687251"/>
              <a:gd name="connsiteX39268" fmla="*/ 6305902 w 8079933"/>
              <a:gd name="connsiteY39268" fmla="*/ 2803991 h 4687251"/>
              <a:gd name="connsiteX39269" fmla="*/ 6303189 w 8079933"/>
              <a:gd name="connsiteY39269" fmla="*/ 2803450 h 4687251"/>
              <a:gd name="connsiteX39270" fmla="*/ 6306552 w 8079933"/>
              <a:gd name="connsiteY39270" fmla="*/ 2798578 h 4687251"/>
              <a:gd name="connsiteX39271" fmla="*/ 6305468 w 8079933"/>
              <a:gd name="connsiteY39271" fmla="*/ 2796628 h 4687251"/>
              <a:gd name="connsiteX39272" fmla="*/ 6308614 w 8079933"/>
              <a:gd name="connsiteY39272" fmla="*/ 2792081 h 4687251"/>
              <a:gd name="connsiteX39273" fmla="*/ 6305902 w 8079933"/>
              <a:gd name="connsiteY39273" fmla="*/ 2791756 h 4687251"/>
              <a:gd name="connsiteX39274" fmla="*/ 6306878 w 8079933"/>
              <a:gd name="connsiteY39274" fmla="*/ 2783961 h 4687251"/>
              <a:gd name="connsiteX39275" fmla="*/ 6306880 w 8079933"/>
              <a:gd name="connsiteY39275" fmla="*/ 2783956 h 4687251"/>
              <a:gd name="connsiteX39276" fmla="*/ 6306988 w 8079933"/>
              <a:gd name="connsiteY39276" fmla="*/ 2783095 h 4687251"/>
              <a:gd name="connsiteX39277" fmla="*/ 6304708 w 8079933"/>
              <a:gd name="connsiteY39277" fmla="*/ 2787967 h 4687251"/>
              <a:gd name="connsiteX39278" fmla="*/ 6304166 w 8079933"/>
              <a:gd name="connsiteY39278" fmla="*/ 2795005 h 4687251"/>
              <a:gd name="connsiteX39279" fmla="*/ 6301886 w 8079933"/>
              <a:gd name="connsiteY39279" fmla="*/ 2787643 h 4687251"/>
              <a:gd name="connsiteX39280" fmla="*/ 6301670 w 8079933"/>
              <a:gd name="connsiteY39280" fmla="*/ 2780713 h 4687251"/>
              <a:gd name="connsiteX39281" fmla="*/ 6300042 w 8079933"/>
              <a:gd name="connsiteY39281" fmla="*/ 2777898 h 4687251"/>
              <a:gd name="connsiteX39282" fmla="*/ 6299825 w 8079933"/>
              <a:gd name="connsiteY39282" fmla="*/ 2775516 h 4687251"/>
              <a:gd name="connsiteX39283" fmla="*/ 6301670 w 8079933"/>
              <a:gd name="connsiteY39283" fmla="*/ 2776275 h 4687251"/>
              <a:gd name="connsiteX39284" fmla="*/ 6303515 w 8079933"/>
              <a:gd name="connsiteY39284" fmla="*/ 2774650 h 4687251"/>
              <a:gd name="connsiteX39285" fmla="*/ 6306336 w 8079933"/>
              <a:gd name="connsiteY39285" fmla="*/ 2769886 h 4687251"/>
              <a:gd name="connsiteX39286" fmla="*/ 6306336 w 8079933"/>
              <a:gd name="connsiteY39286" fmla="*/ 2765988 h 4687251"/>
              <a:gd name="connsiteX39287" fmla="*/ 6304925 w 8079933"/>
              <a:gd name="connsiteY39287" fmla="*/ 2764690 h 4687251"/>
              <a:gd name="connsiteX39288" fmla="*/ 6305685 w 8079933"/>
              <a:gd name="connsiteY39288" fmla="*/ 2758410 h 4687251"/>
              <a:gd name="connsiteX39289" fmla="*/ 6307312 w 8079933"/>
              <a:gd name="connsiteY39289" fmla="*/ 2757652 h 4687251"/>
              <a:gd name="connsiteX39290" fmla="*/ 6308507 w 8079933"/>
              <a:gd name="connsiteY39290" fmla="*/ 2754837 h 4687251"/>
              <a:gd name="connsiteX39291" fmla="*/ 6306228 w 8079933"/>
              <a:gd name="connsiteY39291" fmla="*/ 2748341 h 4687251"/>
              <a:gd name="connsiteX39292" fmla="*/ 6309592 w 8079933"/>
              <a:gd name="connsiteY39292" fmla="*/ 2745742 h 4687251"/>
              <a:gd name="connsiteX39293" fmla="*/ 6306011 w 8079933"/>
              <a:gd name="connsiteY39293" fmla="*/ 2741952 h 4687251"/>
              <a:gd name="connsiteX39294" fmla="*/ 6303732 w 8079933"/>
              <a:gd name="connsiteY39294" fmla="*/ 2738596 h 4687251"/>
              <a:gd name="connsiteX39295" fmla="*/ 6303515 w 8079933"/>
              <a:gd name="connsiteY39295" fmla="*/ 2732425 h 4687251"/>
              <a:gd name="connsiteX39296" fmla="*/ 6305143 w 8079933"/>
              <a:gd name="connsiteY39296" fmla="*/ 2730042 h 4687251"/>
              <a:gd name="connsiteX39297" fmla="*/ 6303732 w 8079933"/>
              <a:gd name="connsiteY39297" fmla="*/ 2725712 h 4687251"/>
              <a:gd name="connsiteX39298" fmla="*/ 6301345 w 8079933"/>
              <a:gd name="connsiteY39298" fmla="*/ 2723980 h 4687251"/>
              <a:gd name="connsiteX39299" fmla="*/ 6299717 w 8079933"/>
              <a:gd name="connsiteY39299" fmla="*/ 2709363 h 4687251"/>
              <a:gd name="connsiteX39300" fmla="*/ 6296461 w 8079933"/>
              <a:gd name="connsiteY39300" fmla="*/ 2706440 h 4687251"/>
              <a:gd name="connsiteX39301" fmla="*/ 6295376 w 8079933"/>
              <a:gd name="connsiteY39301" fmla="*/ 2701351 h 4687251"/>
              <a:gd name="connsiteX39302" fmla="*/ 6291904 w 8079933"/>
              <a:gd name="connsiteY39302" fmla="*/ 2695613 h 4687251"/>
              <a:gd name="connsiteX39303" fmla="*/ 6291035 w 8079933"/>
              <a:gd name="connsiteY39303" fmla="*/ 2703191 h 4687251"/>
              <a:gd name="connsiteX39304" fmla="*/ 6289624 w 8079933"/>
              <a:gd name="connsiteY39304" fmla="*/ 2704274 h 4687251"/>
              <a:gd name="connsiteX39305" fmla="*/ 6289733 w 8079933"/>
              <a:gd name="connsiteY39305" fmla="*/ 2700052 h 4687251"/>
              <a:gd name="connsiteX39306" fmla="*/ 6287562 w 8079933"/>
              <a:gd name="connsiteY39306" fmla="*/ 2695721 h 4687251"/>
              <a:gd name="connsiteX39307" fmla="*/ 6287997 w 8079933"/>
              <a:gd name="connsiteY39307" fmla="*/ 2685327 h 4687251"/>
              <a:gd name="connsiteX39308" fmla="*/ 6284525 w 8079933"/>
              <a:gd name="connsiteY39308" fmla="*/ 2681105 h 4687251"/>
              <a:gd name="connsiteX39309" fmla="*/ 6284198 w 8079933"/>
              <a:gd name="connsiteY39309" fmla="*/ 2676340 h 4687251"/>
              <a:gd name="connsiteX39310" fmla="*/ 6285935 w 8079933"/>
              <a:gd name="connsiteY39310" fmla="*/ 2674500 h 4687251"/>
              <a:gd name="connsiteX39311" fmla="*/ 6279967 w 8079933"/>
              <a:gd name="connsiteY39311" fmla="*/ 2671036 h 4687251"/>
              <a:gd name="connsiteX39312" fmla="*/ 6279858 w 8079933"/>
              <a:gd name="connsiteY39312" fmla="*/ 2662807 h 4687251"/>
              <a:gd name="connsiteX39313" fmla="*/ 6278121 w 8079933"/>
              <a:gd name="connsiteY39313" fmla="*/ 2662590 h 4687251"/>
              <a:gd name="connsiteX39314" fmla="*/ 6276168 w 8079933"/>
              <a:gd name="connsiteY39314" fmla="*/ 2644834 h 4687251"/>
              <a:gd name="connsiteX39315" fmla="*/ 6273347 w 8079933"/>
              <a:gd name="connsiteY39315" fmla="*/ 2642885 h 4687251"/>
              <a:gd name="connsiteX39316" fmla="*/ 6272371 w 8079933"/>
              <a:gd name="connsiteY39316" fmla="*/ 2638446 h 4687251"/>
              <a:gd name="connsiteX39317" fmla="*/ 6274215 w 8079933"/>
              <a:gd name="connsiteY39317" fmla="*/ 2637688 h 4687251"/>
              <a:gd name="connsiteX39318" fmla="*/ 6274215 w 8079933"/>
              <a:gd name="connsiteY39318" fmla="*/ 2634765 h 4687251"/>
              <a:gd name="connsiteX39319" fmla="*/ 6271285 w 8079933"/>
              <a:gd name="connsiteY39319" fmla="*/ 2629243 h 4687251"/>
              <a:gd name="connsiteX39320" fmla="*/ 6272588 w 8079933"/>
              <a:gd name="connsiteY39320" fmla="*/ 2627077 h 4687251"/>
              <a:gd name="connsiteX39321" fmla="*/ 6272695 w 8079933"/>
              <a:gd name="connsiteY39321" fmla="*/ 2624371 h 4687251"/>
              <a:gd name="connsiteX39322" fmla="*/ 6271177 w 8079933"/>
              <a:gd name="connsiteY39322" fmla="*/ 2627186 h 4687251"/>
              <a:gd name="connsiteX39323" fmla="*/ 6267921 w 8079933"/>
              <a:gd name="connsiteY39323" fmla="*/ 2628485 h 4687251"/>
              <a:gd name="connsiteX39324" fmla="*/ 6263689 w 8079933"/>
              <a:gd name="connsiteY39324" fmla="*/ 2628485 h 4687251"/>
              <a:gd name="connsiteX39325" fmla="*/ 6262495 w 8079933"/>
              <a:gd name="connsiteY39325" fmla="*/ 2622747 h 4687251"/>
              <a:gd name="connsiteX39326" fmla="*/ 6260433 w 8079933"/>
              <a:gd name="connsiteY39326" fmla="*/ 2620148 h 4687251"/>
              <a:gd name="connsiteX39327" fmla="*/ 6255767 w 8079933"/>
              <a:gd name="connsiteY39327" fmla="*/ 2610945 h 4687251"/>
              <a:gd name="connsiteX39328" fmla="*/ 6254791 w 8079933"/>
              <a:gd name="connsiteY39328" fmla="*/ 2608455 h 4687251"/>
              <a:gd name="connsiteX39329" fmla="*/ 6252512 w 8079933"/>
              <a:gd name="connsiteY39329" fmla="*/ 2608238 h 4687251"/>
              <a:gd name="connsiteX39330" fmla="*/ 6252512 w 8079933"/>
              <a:gd name="connsiteY39330" fmla="*/ 2605531 h 4687251"/>
              <a:gd name="connsiteX39331" fmla="*/ 6248172 w 8079933"/>
              <a:gd name="connsiteY39331" fmla="*/ 2603041 h 4687251"/>
              <a:gd name="connsiteX39332" fmla="*/ 6250885 w 8079933"/>
              <a:gd name="connsiteY39332" fmla="*/ 2606073 h 4687251"/>
              <a:gd name="connsiteX39333" fmla="*/ 6250016 w 8079933"/>
              <a:gd name="connsiteY39333" fmla="*/ 2607697 h 4687251"/>
              <a:gd name="connsiteX39334" fmla="*/ 6249582 w 8079933"/>
              <a:gd name="connsiteY39334" fmla="*/ 2610404 h 4687251"/>
              <a:gd name="connsiteX39335" fmla="*/ 6252295 w 8079933"/>
              <a:gd name="connsiteY39335" fmla="*/ 2612461 h 4687251"/>
              <a:gd name="connsiteX39336" fmla="*/ 6251752 w 8079933"/>
              <a:gd name="connsiteY39336" fmla="*/ 2617333 h 4687251"/>
              <a:gd name="connsiteX39337" fmla="*/ 6249582 w 8079933"/>
              <a:gd name="connsiteY39337" fmla="*/ 2619606 h 4687251"/>
              <a:gd name="connsiteX39338" fmla="*/ 6250559 w 8079933"/>
              <a:gd name="connsiteY39338" fmla="*/ 2622530 h 4687251"/>
              <a:gd name="connsiteX39339" fmla="*/ 6244373 w 8079933"/>
              <a:gd name="connsiteY39339" fmla="*/ 2627618 h 4687251"/>
              <a:gd name="connsiteX39340" fmla="*/ 6240358 w 8079933"/>
              <a:gd name="connsiteY39340" fmla="*/ 2626861 h 4687251"/>
              <a:gd name="connsiteX39341" fmla="*/ 6237645 w 8079933"/>
              <a:gd name="connsiteY39341" fmla="*/ 2623396 h 4687251"/>
              <a:gd name="connsiteX39342" fmla="*/ 6236017 w 8079933"/>
              <a:gd name="connsiteY39342" fmla="*/ 2623396 h 4687251"/>
              <a:gd name="connsiteX39343" fmla="*/ 6237862 w 8079933"/>
              <a:gd name="connsiteY39343" fmla="*/ 2627186 h 4687251"/>
              <a:gd name="connsiteX39344" fmla="*/ 6237428 w 8079933"/>
              <a:gd name="connsiteY39344" fmla="*/ 2628810 h 4687251"/>
              <a:gd name="connsiteX39345" fmla="*/ 6241226 w 8079933"/>
              <a:gd name="connsiteY39345" fmla="*/ 2629892 h 4687251"/>
              <a:gd name="connsiteX39346" fmla="*/ 6236017 w 8079933"/>
              <a:gd name="connsiteY39346" fmla="*/ 2633032 h 4687251"/>
              <a:gd name="connsiteX39347" fmla="*/ 6232653 w 8079933"/>
              <a:gd name="connsiteY39347" fmla="*/ 2633032 h 4687251"/>
              <a:gd name="connsiteX39348" fmla="*/ 6230266 w 8079933"/>
              <a:gd name="connsiteY39348" fmla="*/ 2631408 h 4687251"/>
              <a:gd name="connsiteX39349" fmla="*/ 6228964 w 8079933"/>
              <a:gd name="connsiteY39349" fmla="*/ 2635522 h 4687251"/>
              <a:gd name="connsiteX39350" fmla="*/ 6219414 w 8079933"/>
              <a:gd name="connsiteY39350" fmla="*/ 2642018 h 4687251"/>
              <a:gd name="connsiteX39351" fmla="*/ 6214748 w 8079933"/>
              <a:gd name="connsiteY39351" fmla="*/ 2641477 h 4687251"/>
              <a:gd name="connsiteX39352" fmla="*/ 6213989 w 8079933"/>
              <a:gd name="connsiteY39352" fmla="*/ 2642560 h 4687251"/>
              <a:gd name="connsiteX39353" fmla="*/ 6211493 w 8079933"/>
              <a:gd name="connsiteY39353" fmla="*/ 2642560 h 4687251"/>
              <a:gd name="connsiteX39354" fmla="*/ 6211276 w 8079933"/>
              <a:gd name="connsiteY39354" fmla="*/ 2641261 h 4687251"/>
              <a:gd name="connsiteX39355" fmla="*/ 6210733 w 8079933"/>
              <a:gd name="connsiteY39355" fmla="*/ 2643643 h 4687251"/>
              <a:gd name="connsiteX39356" fmla="*/ 6208346 w 8079933"/>
              <a:gd name="connsiteY39356" fmla="*/ 2644184 h 4687251"/>
              <a:gd name="connsiteX39357" fmla="*/ 6205633 w 8079933"/>
              <a:gd name="connsiteY39357" fmla="*/ 2640720 h 4687251"/>
              <a:gd name="connsiteX39358" fmla="*/ 6199122 w 8079933"/>
              <a:gd name="connsiteY39358" fmla="*/ 2644184 h 4687251"/>
              <a:gd name="connsiteX39359" fmla="*/ 6198471 w 8079933"/>
              <a:gd name="connsiteY39359" fmla="*/ 2647432 h 4687251"/>
              <a:gd name="connsiteX39360" fmla="*/ 6195758 w 8079933"/>
              <a:gd name="connsiteY39360" fmla="*/ 2647540 h 4687251"/>
              <a:gd name="connsiteX39361" fmla="*/ 6195758 w 8079933"/>
              <a:gd name="connsiteY39361" fmla="*/ 2641153 h 4687251"/>
              <a:gd name="connsiteX39362" fmla="*/ 6202052 w 8079933"/>
              <a:gd name="connsiteY39362" fmla="*/ 2635089 h 4687251"/>
              <a:gd name="connsiteX39363" fmla="*/ 6202377 w 8079933"/>
              <a:gd name="connsiteY39363" fmla="*/ 2627402 h 4687251"/>
              <a:gd name="connsiteX39364" fmla="*/ 6199447 w 8079933"/>
              <a:gd name="connsiteY39364" fmla="*/ 2634440 h 4687251"/>
              <a:gd name="connsiteX39365" fmla="*/ 6194456 w 8079933"/>
              <a:gd name="connsiteY39365" fmla="*/ 2638771 h 4687251"/>
              <a:gd name="connsiteX39366" fmla="*/ 6190874 w 8079933"/>
              <a:gd name="connsiteY39366" fmla="*/ 2644509 h 4687251"/>
              <a:gd name="connsiteX39367" fmla="*/ 6190332 w 8079933"/>
              <a:gd name="connsiteY39367" fmla="*/ 2642344 h 4687251"/>
              <a:gd name="connsiteX39368" fmla="*/ 6190983 w 8079933"/>
              <a:gd name="connsiteY39368" fmla="*/ 2640611 h 4687251"/>
              <a:gd name="connsiteX39369" fmla="*/ 6189572 w 8079933"/>
              <a:gd name="connsiteY39369" fmla="*/ 2635522 h 4687251"/>
              <a:gd name="connsiteX39370" fmla="*/ 6193479 w 8079933"/>
              <a:gd name="connsiteY39370" fmla="*/ 2611811 h 4687251"/>
              <a:gd name="connsiteX39371" fmla="*/ 6198905 w 8079933"/>
              <a:gd name="connsiteY39371" fmla="*/ 2608455 h 4687251"/>
              <a:gd name="connsiteX39372" fmla="*/ 6196734 w 8079933"/>
              <a:gd name="connsiteY39372" fmla="*/ 2606289 h 4687251"/>
              <a:gd name="connsiteX39373" fmla="*/ 6192394 w 8079933"/>
              <a:gd name="connsiteY39373" fmla="*/ 2595787 h 4687251"/>
              <a:gd name="connsiteX39374" fmla="*/ 6191959 w 8079933"/>
              <a:gd name="connsiteY39374" fmla="*/ 2586476 h 4687251"/>
              <a:gd name="connsiteX39375" fmla="*/ 6189572 w 8079933"/>
              <a:gd name="connsiteY39375" fmla="*/ 2585284 h 4687251"/>
              <a:gd name="connsiteX39376" fmla="*/ 6188161 w 8079933"/>
              <a:gd name="connsiteY39376" fmla="*/ 2582794 h 4687251"/>
              <a:gd name="connsiteX39377" fmla="*/ 6189572 w 8079933"/>
              <a:gd name="connsiteY39377" fmla="*/ 2581929 h 4687251"/>
              <a:gd name="connsiteX39378" fmla="*/ 6186100 w 8079933"/>
              <a:gd name="connsiteY39378" fmla="*/ 2579221 h 4687251"/>
              <a:gd name="connsiteX39379" fmla="*/ 6184364 w 8079933"/>
              <a:gd name="connsiteY39379" fmla="*/ 2572401 h 4687251"/>
              <a:gd name="connsiteX39380" fmla="*/ 6181542 w 8079933"/>
              <a:gd name="connsiteY39380" fmla="*/ 2568719 h 4687251"/>
              <a:gd name="connsiteX39381" fmla="*/ 6179805 w 8079933"/>
              <a:gd name="connsiteY39381" fmla="*/ 2564930 h 4687251"/>
              <a:gd name="connsiteX39382" fmla="*/ 6179805 w 8079933"/>
              <a:gd name="connsiteY39382" fmla="*/ 2560815 h 4687251"/>
              <a:gd name="connsiteX39383" fmla="*/ 6174054 w 8079933"/>
              <a:gd name="connsiteY39383" fmla="*/ 2557243 h 4687251"/>
              <a:gd name="connsiteX39384" fmla="*/ 6176007 w 8079933"/>
              <a:gd name="connsiteY39384" fmla="*/ 2561141 h 4687251"/>
              <a:gd name="connsiteX39385" fmla="*/ 6177092 w 8079933"/>
              <a:gd name="connsiteY39385" fmla="*/ 2569478 h 4687251"/>
              <a:gd name="connsiteX39386" fmla="*/ 6168194 w 8079933"/>
              <a:gd name="connsiteY39386" fmla="*/ 2566987 h 4687251"/>
              <a:gd name="connsiteX39387" fmla="*/ 6164071 w 8079933"/>
              <a:gd name="connsiteY39387" fmla="*/ 2561898 h 4687251"/>
              <a:gd name="connsiteX39388" fmla="*/ 6163745 w 8079933"/>
              <a:gd name="connsiteY39388" fmla="*/ 2559192 h 4687251"/>
              <a:gd name="connsiteX39389" fmla="*/ 6159187 w 8079933"/>
              <a:gd name="connsiteY39389" fmla="*/ 2555186 h 4687251"/>
              <a:gd name="connsiteX39390" fmla="*/ 6158645 w 8079933"/>
              <a:gd name="connsiteY39390" fmla="*/ 2552695 h 4687251"/>
              <a:gd name="connsiteX39391" fmla="*/ 6162985 w 8079933"/>
              <a:gd name="connsiteY39391" fmla="*/ 2553020 h 4687251"/>
              <a:gd name="connsiteX39392" fmla="*/ 6164614 w 8079933"/>
              <a:gd name="connsiteY39392" fmla="*/ 2556593 h 4687251"/>
              <a:gd name="connsiteX39393" fmla="*/ 6168194 w 8079933"/>
              <a:gd name="connsiteY39393" fmla="*/ 2558434 h 4687251"/>
              <a:gd name="connsiteX39394" fmla="*/ 6169605 w 8079933"/>
              <a:gd name="connsiteY39394" fmla="*/ 2556809 h 4687251"/>
              <a:gd name="connsiteX39395" fmla="*/ 6168194 w 8079933"/>
              <a:gd name="connsiteY39395" fmla="*/ 2556160 h 4687251"/>
              <a:gd name="connsiteX39396" fmla="*/ 6164830 w 8079933"/>
              <a:gd name="connsiteY39396" fmla="*/ 2552803 h 4687251"/>
              <a:gd name="connsiteX39397" fmla="*/ 6168411 w 8079933"/>
              <a:gd name="connsiteY39397" fmla="*/ 2550746 h 4687251"/>
              <a:gd name="connsiteX39398" fmla="*/ 6171124 w 8079933"/>
              <a:gd name="connsiteY39398" fmla="*/ 2553453 h 4687251"/>
              <a:gd name="connsiteX39399" fmla="*/ 6174054 w 8079933"/>
              <a:gd name="connsiteY39399" fmla="*/ 2552370 h 4687251"/>
              <a:gd name="connsiteX39400" fmla="*/ 6173837 w 8079933"/>
              <a:gd name="connsiteY39400" fmla="*/ 2548364 h 4687251"/>
              <a:gd name="connsiteX39401" fmla="*/ 6169171 w 8079933"/>
              <a:gd name="connsiteY39401" fmla="*/ 2541435 h 4687251"/>
              <a:gd name="connsiteX39402" fmla="*/ 6161683 w 8079933"/>
              <a:gd name="connsiteY39402" fmla="*/ 2540028 h 4687251"/>
              <a:gd name="connsiteX39403" fmla="*/ 6159730 w 8079933"/>
              <a:gd name="connsiteY39403" fmla="*/ 2536996 h 4687251"/>
              <a:gd name="connsiteX39404" fmla="*/ 6155606 w 8079933"/>
              <a:gd name="connsiteY39404" fmla="*/ 2536238 h 4687251"/>
              <a:gd name="connsiteX39405" fmla="*/ 6154413 w 8079933"/>
              <a:gd name="connsiteY39405" fmla="*/ 2533207 h 4687251"/>
              <a:gd name="connsiteX39406" fmla="*/ 6153979 w 8079933"/>
              <a:gd name="connsiteY39406" fmla="*/ 2536238 h 4687251"/>
              <a:gd name="connsiteX39407" fmla="*/ 6149638 w 8079933"/>
              <a:gd name="connsiteY39407" fmla="*/ 2536780 h 4687251"/>
              <a:gd name="connsiteX39408" fmla="*/ 6149204 w 8079933"/>
              <a:gd name="connsiteY39408" fmla="*/ 2534831 h 4687251"/>
              <a:gd name="connsiteX39409" fmla="*/ 6152894 w 8079933"/>
              <a:gd name="connsiteY39409" fmla="*/ 2530608 h 4687251"/>
              <a:gd name="connsiteX39410" fmla="*/ 6148336 w 8079933"/>
              <a:gd name="connsiteY39410" fmla="*/ 2531041 h 4687251"/>
              <a:gd name="connsiteX39411" fmla="*/ 6144538 w 8079933"/>
              <a:gd name="connsiteY39411" fmla="*/ 2527901 h 4687251"/>
              <a:gd name="connsiteX39412" fmla="*/ 6144538 w 8079933"/>
              <a:gd name="connsiteY39412" fmla="*/ 2530175 h 4687251"/>
              <a:gd name="connsiteX39413" fmla="*/ 6146925 w 8079933"/>
              <a:gd name="connsiteY39413" fmla="*/ 2534289 h 4687251"/>
              <a:gd name="connsiteX39414" fmla="*/ 6136290 w 8079933"/>
              <a:gd name="connsiteY39414" fmla="*/ 2524762 h 4687251"/>
              <a:gd name="connsiteX39415" fmla="*/ 6134446 w 8079933"/>
              <a:gd name="connsiteY39415" fmla="*/ 2518482 h 4687251"/>
              <a:gd name="connsiteX39416" fmla="*/ 6132058 w 8079933"/>
              <a:gd name="connsiteY39416" fmla="*/ 2513501 h 4687251"/>
              <a:gd name="connsiteX39417" fmla="*/ 6131951 w 8079933"/>
              <a:gd name="connsiteY39417" fmla="*/ 2513609 h 4687251"/>
              <a:gd name="connsiteX39418" fmla="*/ 6131951 w 8079933"/>
              <a:gd name="connsiteY39418" fmla="*/ 2513609 h 4687251"/>
              <a:gd name="connsiteX39419" fmla="*/ 6131517 w 8079933"/>
              <a:gd name="connsiteY39419" fmla="*/ 2514150 h 4687251"/>
              <a:gd name="connsiteX39420" fmla="*/ 6132602 w 8079933"/>
              <a:gd name="connsiteY39420" fmla="*/ 2519997 h 4687251"/>
              <a:gd name="connsiteX39421" fmla="*/ 6131842 w 8079933"/>
              <a:gd name="connsiteY39421" fmla="*/ 2520430 h 4687251"/>
              <a:gd name="connsiteX39422" fmla="*/ 6128479 w 8079933"/>
              <a:gd name="connsiteY39422" fmla="*/ 2511985 h 4687251"/>
              <a:gd name="connsiteX39423" fmla="*/ 6124137 w 8079933"/>
              <a:gd name="connsiteY39423" fmla="*/ 2505813 h 4687251"/>
              <a:gd name="connsiteX39424" fmla="*/ 6122075 w 8079933"/>
              <a:gd name="connsiteY39424" fmla="*/ 2503215 h 4687251"/>
              <a:gd name="connsiteX39425" fmla="*/ 6123378 w 8079933"/>
              <a:gd name="connsiteY39425" fmla="*/ 2500400 h 4687251"/>
              <a:gd name="connsiteX39426" fmla="*/ 6123595 w 8079933"/>
              <a:gd name="connsiteY39426" fmla="*/ 2496503 h 4687251"/>
              <a:gd name="connsiteX39427" fmla="*/ 6122835 w 8079933"/>
              <a:gd name="connsiteY39427" fmla="*/ 2498560 h 4687251"/>
              <a:gd name="connsiteX39428" fmla="*/ 6119906 w 8079933"/>
              <a:gd name="connsiteY39428" fmla="*/ 2501266 h 4687251"/>
              <a:gd name="connsiteX39429" fmla="*/ 6119038 w 8079933"/>
              <a:gd name="connsiteY39429" fmla="*/ 2499750 h 4687251"/>
              <a:gd name="connsiteX39430" fmla="*/ 6120339 w 8079933"/>
              <a:gd name="connsiteY39430" fmla="*/ 2492713 h 4687251"/>
              <a:gd name="connsiteX39431" fmla="*/ 6118712 w 8079933"/>
              <a:gd name="connsiteY39431" fmla="*/ 2491630 h 4687251"/>
              <a:gd name="connsiteX39432" fmla="*/ 6119797 w 8079933"/>
              <a:gd name="connsiteY39432" fmla="*/ 2486217 h 4687251"/>
              <a:gd name="connsiteX39433" fmla="*/ 6119906 w 8079933"/>
              <a:gd name="connsiteY39433" fmla="*/ 2482968 h 4687251"/>
              <a:gd name="connsiteX39434" fmla="*/ 6116867 w 8079933"/>
              <a:gd name="connsiteY39434" fmla="*/ 2480911 h 4687251"/>
              <a:gd name="connsiteX39435" fmla="*/ 6109488 w 8079933"/>
              <a:gd name="connsiteY39435" fmla="*/ 2464454 h 4687251"/>
              <a:gd name="connsiteX39436" fmla="*/ 6107426 w 8079933"/>
              <a:gd name="connsiteY39436" fmla="*/ 2464454 h 4687251"/>
              <a:gd name="connsiteX39437" fmla="*/ 6107643 w 8079933"/>
              <a:gd name="connsiteY39437" fmla="*/ 2465862 h 4687251"/>
              <a:gd name="connsiteX39438" fmla="*/ 6106015 w 8079933"/>
              <a:gd name="connsiteY39438" fmla="*/ 2465212 h 4687251"/>
              <a:gd name="connsiteX39439" fmla="*/ 6101458 w 8079933"/>
              <a:gd name="connsiteY39439" fmla="*/ 2467919 h 4687251"/>
              <a:gd name="connsiteX39440" fmla="*/ 6092993 w 8079933"/>
              <a:gd name="connsiteY39440" fmla="*/ 2463913 h 4687251"/>
              <a:gd name="connsiteX39441" fmla="*/ 6092126 w 8079933"/>
              <a:gd name="connsiteY39441" fmla="*/ 2462289 h 4687251"/>
              <a:gd name="connsiteX39442" fmla="*/ 6089304 w 8079933"/>
              <a:gd name="connsiteY39442" fmla="*/ 2462505 h 4687251"/>
              <a:gd name="connsiteX39443" fmla="*/ 6085072 w 8079933"/>
              <a:gd name="connsiteY39443" fmla="*/ 2458499 h 4687251"/>
              <a:gd name="connsiteX39444" fmla="*/ 6083009 w 8079933"/>
              <a:gd name="connsiteY39444" fmla="*/ 2451461 h 4687251"/>
              <a:gd name="connsiteX39445" fmla="*/ 6083878 w 8079933"/>
              <a:gd name="connsiteY39445" fmla="*/ 2459799 h 4687251"/>
              <a:gd name="connsiteX39446" fmla="*/ 6087242 w 8079933"/>
              <a:gd name="connsiteY39446" fmla="*/ 2464671 h 4687251"/>
              <a:gd name="connsiteX39447" fmla="*/ 6086482 w 8079933"/>
              <a:gd name="connsiteY39447" fmla="*/ 2467161 h 4687251"/>
              <a:gd name="connsiteX39448" fmla="*/ 6081599 w 8079933"/>
              <a:gd name="connsiteY39448" fmla="*/ 2469001 h 4687251"/>
              <a:gd name="connsiteX39449" fmla="*/ 6084638 w 8079933"/>
              <a:gd name="connsiteY39449" fmla="*/ 2470193 h 4687251"/>
              <a:gd name="connsiteX39450" fmla="*/ 6087893 w 8079933"/>
              <a:gd name="connsiteY39450" fmla="*/ 2475498 h 4687251"/>
              <a:gd name="connsiteX39451" fmla="*/ 6087458 w 8079933"/>
              <a:gd name="connsiteY39451" fmla="*/ 2481885 h 4687251"/>
              <a:gd name="connsiteX39452" fmla="*/ 6082792 w 8079933"/>
              <a:gd name="connsiteY39452" fmla="*/ 2483726 h 4687251"/>
              <a:gd name="connsiteX39453" fmla="*/ 6078995 w 8079933"/>
              <a:gd name="connsiteY39453" fmla="*/ 2490872 h 4687251"/>
              <a:gd name="connsiteX39454" fmla="*/ 6075197 w 8079933"/>
              <a:gd name="connsiteY39454" fmla="*/ 2488274 h 4687251"/>
              <a:gd name="connsiteX39455" fmla="*/ 6077475 w 8079933"/>
              <a:gd name="connsiteY39455" fmla="*/ 2484160 h 4687251"/>
              <a:gd name="connsiteX39456" fmla="*/ 6079537 w 8079933"/>
              <a:gd name="connsiteY39456" fmla="*/ 2483293 h 4687251"/>
              <a:gd name="connsiteX39457" fmla="*/ 6080514 w 8079933"/>
              <a:gd name="connsiteY39457" fmla="*/ 2481128 h 4687251"/>
              <a:gd name="connsiteX39458" fmla="*/ 6077150 w 8079933"/>
              <a:gd name="connsiteY39458" fmla="*/ 2482752 h 4687251"/>
              <a:gd name="connsiteX39459" fmla="*/ 6074220 w 8079933"/>
              <a:gd name="connsiteY39459" fmla="*/ 2487624 h 4687251"/>
              <a:gd name="connsiteX39460" fmla="*/ 6071073 w 8079933"/>
              <a:gd name="connsiteY39460" fmla="*/ 2483185 h 4687251"/>
              <a:gd name="connsiteX39461" fmla="*/ 6073460 w 8079933"/>
              <a:gd name="connsiteY39461" fmla="*/ 2475173 h 4687251"/>
              <a:gd name="connsiteX39462" fmla="*/ 6073460 w 8079933"/>
              <a:gd name="connsiteY39462" fmla="*/ 2473657 h 4687251"/>
              <a:gd name="connsiteX39463" fmla="*/ 6071724 w 8079933"/>
              <a:gd name="connsiteY39463" fmla="*/ 2471600 h 4687251"/>
              <a:gd name="connsiteX39464" fmla="*/ 6072809 w 8079933"/>
              <a:gd name="connsiteY39464" fmla="*/ 2473765 h 4687251"/>
              <a:gd name="connsiteX39465" fmla="*/ 6070964 w 8079933"/>
              <a:gd name="connsiteY39465" fmla="*/ 2476797 h 4687251"/>
              <a:gd name="connsiteX39466" fmla="*/ 6070422 w 8079933"/>
              <a:gd name="connsiteY39466" fmla="*/ 2481669 h 4687251"/>
              <a:gd name="connsiteX39467" fmla="*/ 6069120 w 8079933"/>
              <a:gd name="connsiteY39467" fmla="*/ 2481777 h 4687251"/>
              <a:gd name="connsiteX39468" fmla="*/ 6071616 w 8079933"/>
              <a:gd name="connsiteY39468" fmla="*/ 2487407 h 4687251"/>
              <a:gd name="connsiteX39469" fmla="*/ 6071290 w 8079933"/>
              <a:gd name="connsiteY39469" fmla="*/ 2491630 h 4687251"/>
              <a:gd name="connsiteX39470" fmla="*/ 6068903 w 8079933"/>
              <a:gd name="connsiteY39470" fmla="*/ 2492929 h 4687251"/>
              <a:gd name="connsiteX39471" fmla="*/ 6068577 w 8079933"/>
              <a:gd name="connsiteY39471" fmla="*/ 2492280 h 4687251"/>
              <a:gd name="connsiteX39472" fmla="*/ 6065430 w 8079933"/>
              <a:gd name="connsiteY39472" fmla="*/ 2490223 h 4687251"/>
              <a:gd name="connsiteX39473" fmla="*/ 6063368 w 8079933"/>
              <a:gd name="connsiteY39473" fmla="*/ 2491089 h 4687251"/>
              <a:gd name="connsiteX39474" fmla="*/ 6062283 w 8079933"/>
              <a:gd name="connsiteY39474" fmla="*/ 2494554 h 4687251"/>
              <a:gd name="connsiteX39475" fmla="*/ 6059462 w 8079933"/>
              <a:gd name="connsiteY39475" fmla="*/ 2494554 h 4687251"/>
              <a:gd name="connsiteX39476" fmla="*/ 6058485 w 8079933"/>
              <a:gd name="connsiteY39476" fmla="*/ 2492388 h 4687251"/>
              <a:gd name="connsiteX39477" fmla="*/ 6056640 w 8079933"/>
              <a:gd name="connsiteY39477" fmla="*/ 2487732 h 4687251"/>
              <a:gd name="connsiteX39478" fmla="*/ 6054253 w 8079933"/>
              <a:gd name="connsiteY39478" fmla="*/ 2488490 h 4687251"/>
              <a:gd name="connsiteX39479" fmla="*/ 6053631 w 8079933"/>
              <a:gd name="connsiteY39479" fmla="*/ 2481466 h 4687251"/>
              <a:gd name="connsiteX39480" fmla="*/ 6054252 w 8079933"/>
              <a:gd name="connsiteY39480" fmla="*/ 2488489 h 4687251"/>
              <a:gd name="connsiteX39481" fmla="*/ 6053167 w 8079933"/>
              <a:gd name="connsiteY39481" fmla="*/ 2488923 h 4687251"/>
              <a:gd name="connsiteX39482" fmla="*/ 6055880 w 8079933"/>
              <a:gd name="connsiteY39482" fmla="*/ 2494336 h 4687251"/>
              <a:gd name="connsiteX39483" fmla="*/ 6053385 w 8079933"/>
              <a:gd name="connsiteY39483" fmla="*/ 2498667 h 4687251"/>
              <a:gd name="connsiteX39484" fmla="*/ 6049586 w 8079933"/>
              <a:gd name="connsiteY39484" fmla="*/ 2494661 h 4687251"/>
              <a:gd name="connsiteX39485" fmla="*/ 6049586 w 8079933"/>
              <a:gd name="connsiteY39485" fmla="*/ 2497260 h 4687251"/>
              <a:gd name="connsiteX39486" fmla="*/ 6046981 w 8079933"/>
              <a:gd name="connsiteY39486" fmla="*/ 2495852 h 4687251"/>
              <a:gd name="connsiteX39487" fmla="*/ 6045354 w 8079933"/>
              <a:gd name="connsiteY39487" fmla="*/ 2490439 h 4687251"/>
              <a:gd name="connsiteX39488" fmla="*/ 6044377 w 8079933"/>
              <a:gd name="connsiteY39488" fmla="*/ 2487732 h 4687251"/>
              <a:gd name="connsiteX39489" fmla="*/ 6043726 w 8079933"/>
              <a:gd name="connsiteY39489" fmla="*/ 2489680 h 4687251"/>
              <a:gd name="connsiteX39490" fmla="*/ 6043075 w 8079933"/>
              <a:gd name="connsiteY39490" fmla="*/ 2492496 h 4687251"/>
              <a:gd name="connsiteX39491" fmla="*/ 6042532 w 8079933"/>
              <a:gd name="connsiteY39491" fmla="*/ 2491305 h 4687251"/>
              <a:gd name="connsiteX39492" fmla="*/ 6041664 w 8079933"/>
              <a:gd name="connsiteY39492" fmla="*/ 2492929 h 4687251"/>
              <a:gd name="connsiteX39493" fmla="*/ 6037866 w 8079933"/>
              <a:gd name="connsiteY39493" fmla="*/ 2492929 h 4687251"/>
              <a:gd name="connsiteX39494" fmla="*/ 6037432 w 8079933"/>
              <a:gd name="connsiteY39494" fmla="*/ 2493686 h 4687251"/>
              <a:gd name="connsiteX39495" fmla="*/ 6033526 w 8079933"/>
              <a:gd name="connsiteY39495" fmla="*/ 2492387 h 4687251"/>
              <a:gd name="connsiteX39496" fmla="*/ 6032223 w 8079933"/>
              <a:gd name="connsiteY39496" fmla="*/ 2486432 h 4687251"/>
              <a:gd name="connsiteX39497" fmla="*/ 6033200 w 8079933"/>
              <a:gd name="connsiteY39497" fmla="*/ 2482751 h 4687251"/>
              <a:gd name="connsiteX39498" fmla="*/ 6029619 w 8079933"/>
              <a:gd name="connsiteY39498" fmla="*/ 2479611 h 4687251"/>
              <a:gd name="connsiteX39499" fmla="*/ 6025495 w 8079933"/>
              <a:gd name="connsiteY39499" fmla="*/ 2479611 h 4687251"/>
              <a:gd name="connsiteX39500" fmla="*/ 6025821 w 8079933"/>
              <a:gd name="connsiteY39500" fmla="*/ 2480911 h 4687251"/>
              <a:gd name="connsiteX39501" fmla="*/ 6028643 w 8079933"/>
              <a:gd name="connsiteY39501" fmla="*/ 2481668 h 4687251"/>
              <a:gd name="connsiteX39502" fmla="*/ 6030487 w 8079933"/>
              <a:gd name="connsiteY39502" fmla="*/ 2483834 h 4687251"/>
              <a:gd name="connsiteX39503" fmla="*/ 6029077 w 8079933"/>
              <a:gd name="connsiteY39503" fmla="*/ 2485241 h 4687251"/>
              <a:gd name="connsiteX39504" fmla="*/ 6027666 w 8079933"/>
              <a:gd name="connsiteY39504" fmla="*/ 2488598 h 4687251"/>
              <a:gd name="connsiteX39505" fmla="*/ 6027231 w 8079933"/>
              <a:gd name="connsiteY39505" fmla="*/ 2491954 h 4687251"/>
              <a:gd name="connsiteX39506" fmla="*/ 6023759 w 8079933"/>
              <a:gd name="connsiteY39506" fmla="*/ 2495960 h 4687251"/>
              <a:gd name="connsiteX39507" fmla="*/ 6008892 w 8079933"/>
              <a:gd name="connsiteY39507" fmla="*/ 2501374 h 4687251"/>
              <a:gd name="connsiteX39508" fmla="*/ 6006397 w 8079933"/>
              <a:gd name="connsiteY39508" fmla="*/ 2503539 h 4687251"/>
              <a:gd name="connsiteX39509" fmla="*/ 6005312 w 8079933"/>
              <a:gd name="connsiteY39509" fmla="*/ 2507112 h 4687251"/>
              <a:gd name="connsiteX39510" fmla="*/ 6003032 w 8079933"/>
              <a:gd name="connsiteY39510" fmla="*/ 2511768 h 4687251"/>
              <a:gd name="connsiteX39511" fmla="*/ 6003792 w 8079933"/>
              <a:gd name="connsiteY39511" fmla="*/ 2514691 h 4687251"/>
              <a:gd name="connsiteX39512" fmla="*/ 6006397 w 8079933"/>
              <a:gd name="connsiteY39512" fmla="*/ 2519672 h 4687251"/>
              <a:gd name="connsiteX39513" fmla="*/ 6006071 w 8079933"/>
              <a:gd name="connsiteY39513" fmla="*/ 2521188 h 4687251"/>
              <a:gd name="connsiteX39514" fmla="*/ 6007590 w 8079933"/>
              <a:gd name="connsiteY39514" fmla="*/ 2521945 h 4687251"/>
              <a:gd name="connsiteX39515" fmla="*/ 6002164 w 8079933"/>
              <a:gd name="connsiteY39515" fmla="*/ 2526601 h 4687251"/>
              <a:gd name="connsiteX39516" fmla="*/ 6000971 w 8079933"/>
              <a:gd name="connsiteY39516" fmla="*/ 2530931 h 4687251"/>
              <a:gd name="connsiteX39517" fmla="*/ 5998366 w 8079933"/>
              <a:gd name="connsiteY39517" fmla="*/ 2531148 h 4687251"/>
              <a:gd name="connsiteX39518" fmla="*/ 5999451 w 8079933"/>
              <a:gd name="connsiteY39518" fmla="*/ 2534180 h 4687251"/>
              <a:gd name="connsiteX39519" fmla="*/ 5990661 w 8079933"/>
              <a:gd name="connsiteY39519" fmla="*/ 2540351 h 4687251"/>
              <a:gd name="connsiteX39520" fmla="*/ 5990228 w 8079933"/>
              <a:gd name="connsiteY39520" fmla="*/ 2543383 h 4687251"/>
              <a:gd name="connsiteX39521" fmla="*/ 5977206 w 8079933"/>
              <a:gd name="connsiteY39521" fmla="*/ 2550096 h 4687251"/>
              <a:gd name="connsiteX39522" fmla="*/ 5975794 w 8079933"/>
              <a:gd name="connsiteY39522" fmla="*/ 2548255 h 4687251"/>
              <a:gd name="connsiteX39523" fmla="*/ 5975686 w 8079933"/>
              <a:gd name="connsiteY39523" fmla="*/ 2545873 h 4687251"/>
              <a:gd name="connsiteX39524" fmla="*/ 5974710 w 8079933"/>
              <a:gd name="connsiteY39524" fmla="*/ 2544682 h 4687251"/>
              <a:gd name="connsiteX39525" fmla="*/ 5972864 w 8079933"/>
              <a:gd name="connsiteY39525" fmla="*/ 2544682 h 4687251"/>
              <a:gd name="connsiteX39526" fmla="*/ 5968849 w 8079933"/>
              <a:gd name="connsiteY39526" fmla="*/ 2547930 h 4687251"/>
              <a:gd name="connsiteX39527" fmla="*/ 5966245 w 8079933"/>
              <a:gd name="connsiteY39527" fmla="*/ 2548255 h 4687251"/>
              <a:gd name="connsiteX39528" fmla="*/ 5965269 w 8079933"/>
              <a:gd name="connsiteY39528" fmla="*/ 2554643 h 4687251"/>
              <a:gd name="connsiteX39529" fmla="*/ 5969067 w 8079933"/>
              <a:gd name="connsiteY39529" fmla="*/ 2553127 h 4687251"/>
              <a:gd name="connsiteX39530" fmla="*/ 5970369 w 8079933"/>
              <a:gd name="connsiteY39530" fmla="*/ 2551503 h 4687251"/>
              <a:gd name="connsiteX39531" fmla="*/ 5972540 w 8079933"/>
              <a:gd name="connsiteY39531" fmla="*/ 2552477 h 4687251"/>
              <a:gd name="connsiteX39532" fmla="*/ 5956262 w 8079933"/>
              <a:gd name="connsiteY39532" fmla="*/ 2566986 h 4687251"/>
              <a:gd name="connsiteX39533" fmla="*/ 5952138 w 8079933"/>
              <a:gd name="connsiteY39533" fmla="*/ 2578246 h 4687251"/>
              <a:gd name="connsiteX39534" fmla="*/ 5930760 w 8079933"/>
              <a:gd name="connsiteY39534" fmla="*/ 2595461 h 4687251"/>
              <a:gd name="connsiteX39535" fmla="*/ 5927505 w 8079933"/>
              <a:gd name="connsiteY39535" fmla="*/ 2601524 h 4687251"/>
              <a:gd name="connsiteX39536" fmla="*/ 5922622 w 8079933"/>
              <a:gd name="connsiteY39536" fmla="*/ 2606505 h 4687251"/>
              <a:gd name="connsiteX39537" fmla="*/ 5913615 w 8079933"/>
              <a:gd name="connsiteY39537" fmla="*/ 2609536 h 4687251"/>
              <a:gd name="connsiteX39538" fmla="*/ 5906887 w 8079933"/>
              <a:gd name="connsiteY39538" fmla="*/ 2615166 h 4687251"/>
              <a:gd name="connsiteX39539" fmla="*/ 5906127 w 8079933"/>
              <a:gd name="connsiteY39539" fmla="*/ 2620146 h 4687251"/>
              <a:gd name="connsiteX39540" fmla="*/ 5907103 w 8079933"/>
              <a:gd name="connsiteY39540" fmla="*/ 2625777 h 4687251"/>
              <a:gd name="connsiteX39541" fmla="*/ 5903088 w 8079933"/>
              <a:gd name="connsiteY39541" fmla="*/ 2631515 h 4687251"/>
              <a:gd name="connsiteX39542" fmla="*/ 5897446 w 8079933"/>
              <a:gd name="connsiteY39542" fmla="*/ 2635088 h 4687251"/>
              <a:gd name="connsiteX39543" fmla="*/ 5886811 w 8079933"/>
              <a:gd name="connsiteY39543" fmla="*/ 2633464 h 4687251"/>
              <a:gd name="connsiteX39544" fmla="*/ 5882145 w 8079933"/>
              <a:gd name="connsiteY39544" fmla="*/ 2637470 h 4687251"/>
              <a:gd name="connsiteX39545" fmla="*/ 5882145 w 8079933"/>
              <a:gd name="connsiteY39545" fmla="*/ 2642558 h 4687251"/>
              <a:gd name="connsiteX39546" fmla="*/ 5875634 w 8079933"/>
              <a:gd name="connsiteY39546" fmla="*/ 2650895 h 4687251"/>
              <a:gd name="connsiteX39547" fmla="*/ 5871944 w 8079933"/>
              <a:gd name="connsiteY39547" fmla="*/ 2650462 h 4687251"/>
              <a:gd name="connsiteX39548" fmla="*/ 5869448 w 8079933"/>
              <a:gd name="connsiteY39548" fmla="*/ 2646889 h 4687251"/>
              <a:gd name="connsiteX39549" fmla="*/ 5867495 w 8079933"/>
              <a:gd name="connsiteY39549" fmla="*/ 2646889 h 4687251"/>
              <a:gd name="connsiteX39550" fmla="*/ 5859465 w 8079933"/>
              <a:gd name="connsiteY39550" fmla="*/ 2654793 h 4687251"/>
              <a:gd name="connsiteX39551" fmla="*/ 5857186 w 8079933"/>
              <a:gd name="connsiteY39551" fmla="*/ 2659124 h 4687251"/>
              <a:gd name="connsiteX39552" fmla="*/ 5857295 w 8079933"/>
              <a:gd name="connsiteY39552" fmla="*/ 2667569 h 4687251"/>
              <a:gd name="connsiteX39553" fmla="*/ 5861309 w 8079933"/>
              <a:gd name="connsiteY39553" fmla="*/ 2679370 h 4687251"/>
              <a:gd name="connsiteX39554" fmla="*/ 5857512 w 8079933"/>
              <a:gd name="connsiteY39554" fmla="*/ 2683701 h 4687251"/>
              <a:gd name="connsiteX39555" fmla="*/ 5858271 w 8079933"/>
              <a:gd name="connsiteY39555" fmla="*/ 2690198 h 4687251"/>
              <a:gd name="connsiteX39556" fmla="*/ 5858271 w 8079933"/>
              <a:gd name="connsiteY39556" fmla="*/ 2708604 h 4687251"/>
              <a:gd name="connsiteX39557" fmla="*/ 5864240 w 8079933"/>
              <a:gd name="connsiteY39557" fmla="*/ 2710553 h 4687251"/>
              <a:gd name="connsiteX39558" fmla="*/ 5865108 w 8079933"/>
              <a:gd name="connsiteY39558" fmla="*/ 2722354 h 4687251"/>
              <a:gd name="connsiteX39559" fmla="*/ 5859682 w 8079933"/>
              <a:gd name="connsiteY39559" fmla="*/ 2738053 h 4687251"/>
              <a:gd name="connsiteX39560" fmla="*/ 5853496 w 8079933"/>
              <a:gd name="connsiteY39560" fmla="*/ 2748988 h 4687251"/>
              <a:gd name="connsiteX39561" fmla="*/ 5853496 w 8079933"/>
              <a:gd name="connsiteY39561" fmla="*/ 2758191 h 4687251"/>
              <a:gd name="connsiteX39562" fmla="*/ 5855884 w 8079933"/>
              <a:gd name="connsiteY39562" fmla="*/ 2761873 h 4687251"/>
              <a:gd name="connsiteX39563" fmla="*/ 5857729 w 8079933"/>
              <a:gd name="connsiteY39563" fmla="*/ 2781686 h 4687251"/>
              <a:gd name="connsiteX39564" fmla="*/ 5857729 w 8079933"/>
              <a:gd name="connsiteY39564" fmla="*/ 2787100 h 4687251"/>
              <a:gd name="connsiteX39565" fmla="*/ 5853171 w 8079933"/>
              <a:gd name="connsiteY39565" fmla="*/ 2788832 h 4687251"/>
              <a:gd name="connsiteX39566" fmla="*/ 5850675 w 8079933"/>
              <a:gd name="connsiteY39566" fmla="*/ 2787641 h 4687251"/>
              <a:gd name="connsiteX39567" fmla="*/ 5844381 w 8079933"/>
              <a:gd name="connsiteY39567" fmla="*/ 2788615 h 4687251"/>
              <a:gd name="connsiteX39568" fmla="*/ 5841668 w 8079933"/>
              <a:gd name="connsiteY39568" fmla="*/ 2793379 h 4687251"/>
              <a:gd name="connsiteX39569" fmla="*/ 5842862 w 8079933"/>
              <a:gd name="connsiteY39569" fmla="*/ 2795328 h 4687251"/>
              <a:gd name="connsiteX39570" fmla="*/ 5836676 w 8079933"/>
              <a:gd name="connsiteY39570" fmla="*/ 2803448 h 4687251"/>
              <a:gd name="connsiteX39571" fmla="*/ 5834506 w 8079933"/>
              <a:gd name="connsiteY39571" fmla="*/ 2806156 h 4687251"/>
              <a:gd name="connsiteX39572" fmla="*/ 5835266 w 8079933"/>
              <a:gd name="connsiteY39572" fmla="*/ 2809295 h 4687251"/>
              <a:gd name="connsiteX39573" fmla="*/ 5843079 w 8079933"/>
              <a:gd name="connsiteY39573" fmla="*/ 2813193 h 4687251"/>
              <a:gd name="connsiteX39574" fmla="*/ 5843948 w 8079933"/>
              <a:gd name="connsiteY39574" fmla="*/ 2814601 h 4687251"/>
              <a:gd name="connsiteX39575" fmla="*/ 5844055 w 8079933"/>
              <a:gd name="connsiteY39575" fmla="*/ 2816333 h 4687251"/>
              <a:gd name="connsiteX39576" fmla="*/ 5843079 w 8079933"/>
              <a:gd name="connsiteY39576" fmla="*/ 2814168 h 4687251"/>
              <a:gd name="connsiteX39577" fmla="*/ 5839389 w 8079933"/>
              <a:gd name="connsiteY39577" fmla="*/ 2812760 h 4687251"/>
              <a:gd name="connsiteX39578" fmla="*/ 5829080 w 8079933"/>
              <a:gd name="connsiteY39578" fmla="*/ 2816333 h 4687251"/>
              <a:gd name="connsiteX39579" fmla="*/ 5827452 w 8079933"/>
              <a:gd name="connsiteY39579" fmla="*/ 2816117 h 4687251"/>
              <a:gd name="connsiteX39580" fmla="*/ 5819205 w 8079933"/>
              <a:gd name="connsiteY39580" fmla="*/ 2819797 h 4687251"/>
              <a:gd name="connsiteX39581" fmla="*/ 5816493 w 8079933"/>
              <a:gd name="connsiteY39581" fmla="*/ 2824020 h 4687251"/>
              <a:gd name="connsiteX39582" fmla="*/ 5816058 w 8079933"/>
              <a:gd name="connsiteY39582" fmla="*/ 2826619 h 4687251"/>
              <a:gd name="connsiteX39583" fmla="*/ 5814973 w 8079933"/>
              <a:gd name="connsiteY39583" fmla="*/ 2827701 h 4687251"/>
              <a:gd name="connsiteX39584" fmla="*/ 5816058 w 8079933"/>
              <a:gd name="connsiteY39584" fmla="*/ 2829433 h 4687251"/>
              <a:gd name="connsiteX39585" fmla="*/ 5813888 w 8079933"/>
              <a:gd name="connsiteY39585" fmla="*/ 2835821 h 4687251"/>
              <a:gd name="connsiteX39586" fmla="*/ 5804556 w 8079933"/>
              <a:gd name="connsiteY39586" fmla="*/ 2841560 h 4687251"/>
              <a:gd name="connsiteX39587" fmla="*/ 5796742 w 8079933"/>
              <a:gd name="connsiteY39587" fmla="*/ 2840802 h 4687251"/>
              <a:gd name="connsiteX39588" fmla="*/ 5789472 w 8079933"/>
              <a:gd name="connsiteY39588" fmla="*/ 2835821 h 4687251"/>
              <a:gd name="connsiteX39589" fmla="*/ 5782418 w 8079933"/>
              <a:gd name="connsiteY39589" fmla="*/ 2827485 h 4687251"/>
              <a:gd name="connsiteX39590" fmla="*/ 5773954 w 8079933"/>
              <a:gd name="connsiteY39590" fmla="*/ 2809836 h 4687251"/>
              <a:gd name="connsiteX39591" fmla="*/ 5773412 w 8079933"/>
              <a:gd name="connsiteY39591" fmla="*/ 2799876 h 4687251"/>
              <a:gd name="connsiteX39592" fmla="*/ 5770915 w 8079933"/>
              <a:gd name="connsiteY39592" fmla="*/ 2790889 h 4687251"/>
              <a:gd name="connsiteX39593" fmla="*/ 5765489 w 8079933"/>
              <a:gd name="connsiteY39593" fmla="*/ 2780928 h 4687251"/>
              <a:gd name="connsiteX39594" fmla="*/ 5765489 w 8079933"/>
              <a:gd name="connsiteY39594" fmla="*/ 2776489 h 4687251"/>
              <a:gd name="connsiteX39595" fmla="*/ 5763427 w 8079933"/>
              <a:gd name="connsiteY39595" fmla="*/ 2776273 h 4687251"/>
              <a:gd name="connsiteX39596" fmla="*/ 5761149 w 8079933"/>
              <a:gd name="connsiteY39596" fmla="*/ 2769560 h 4687251"/>
              <a:gd name="connsiteX39597" fmla="*/ 5758978 w 8079933"/>
              <a:gd name="connsiteY39597" fmla="*/ 2761440 h 4687251"/>
              <a:gd name="connsiteX39598" fmla="*/ 5751925 w 8079933"/>
              <a:gd name="connsiteY39598" fmla="*/ 2753320 h 4687251"/>
              <a:gd name="connsiteX39599" fmla="*/ 5747692 w 8079933"/>
              <a:gd name="connsiteY39599" fmla="*/ 2746714 h 4687251"/>
              <a:gd name="connsiteX39600" fmla="*/ 5745956 w 8079933"/>
              <a:gd name="connsiteY39600" fmla="*/ 2746498 h 4687251"/>
              <a:gd name="connsiteX39601" fmla="*/ 5739446 w 8079933"/>
              <a:gd name="connsiteY39601" fmla="*/ 2739569 h 4687251"/>
              <a:gd name="connsiteX39602" fmla="*/ 5736515 w 8079933"/>
              <a:gd name="connsiteY39602" fmla="*/ 2733506 h 4687251"/>
              <a:gd name="connsiteX39603" fmla="*/ 5734345 w 8079933"/>
              <a:gd name="connsiteY39603" fmla="*/ 2731449 h 4687251"/>
              <a:gd name="connsiteX39604" fmla="*/ 5733585 w 8079933"/>
              <a:gd name="connsiteY39604" fmla="*/ 2721596 h 4687251"/>
              <a:gd name="connsiteX39605" fmla="*/ 5730872 w 8079933"/>
              <a:gd name="connsiteY39605" fmla="*/ 2717482 h 4687251"/>
              <a:gd name="connsiteX39606" fmla="*/ 5726749 w 8079933"/>
              <a:gd name="connsiteY39606" fmla="*/ 2706547 h 4687251"/>
              <a:gd name="connsiteX39607" fmla="*/ 5725555 w 8079933"/>
              <a:gd name="connsiteY39607" fmla="*/ 2699184 h 4687251"/>
              <a:gd name="connsiteX39608" fmla="*/ 5722951 w 8079933"/>
              <a:gd name="connsiteY39608" fmla="*/ 2693987 h 4687251"/>
              <a:gd name="connsiteX39609" fmla="*/ 5720455 w 8079933"/>
              <a:gd name="connsiteY39609" fmla="*/ 2690198 h 4687251"/>
              <a:gd name="connsiteX39610" fmla="*/ 5719912 w 8079933"/>
              <a:gd name="connsiteY39610" fmla="*/ 2681536 h 4687251"/>
              <a:gd name="connsiteX39611" fmla="*/ 5718393 w 8079933"/>
              <a:gd name="connsiteY39611" fmla="*/ 2681103 h 4687251"/>
              <a:gd name="connsiteX39612" fmla="*/ 5712317 w 8079933"/>
              <a:gd name="connsiteY39612" fmla="*/ 2674066 h 4687251"/>
              <a:gd name="connsiteX39613" fmla="*/ 5712317 w 8079933"/>
              <a:gd name="connsiteY39613" fmla="*/ 2671358 h 4687251"/>
              <a:gd name="connsiteX39614" fmla="*/ 5710689 w 8079933"/>
              <a:gd name="connsiteY39614" fmla="*/ 2671034 h 4687251"/>
              <a:gd name="connsiteX39615" fmla="*/ 5705045 w 8079933"/>
              <a:gd name="connsiteY39615" fmla="*/ 2660964 h 4687251"/>
              <a:gd name="connsiteX39616" fmla="*/ 5704829 w 8079933"/>
              <a:gd name="connsiteY39616" fmla="*/ 2657825 h 4687251"/>
              <a:gd name="connsiteX39617" fmla="*/ 5701790 w 8079933"/>
              <a:gd name="connsiteY39617" fmla="*/ 2656092 h 4687251"/>
              <a:gd name="connsiteX39618" fmla="*/ 5699945 w 8079933"/>
              <a:gd name="connsiteY39618" fmla="*/ 2649055 h 4687251"/>
              <a:gd name="connsiteX39619" fmla="*/ 5696039 w 8079933"/>
              <a:gd name="connsiteY39619" fmla="*/ 2646456 h 4687251"/>
              <a:gd name="connsiteX39620" fmla="*/ 5692240 w 8079933"/>
              <a:gd name="connsiteY39620" fmla="*/ 2636279 h 4687251"/>
              <a:gd name="connsiteX39621" fmla="*/ 5692024 w 8079933"/>
              <a:gd name="connsiteY39621" fmla="*/ 2622854 h 4687251"/>
              <a:gd name="connsiteX39622" fmla="*/ 5681931 w 8079933"/>
              <a:gd name="connsiteY39622" fmla="*/ 2603256 h 4687251"/>
              <a:gd name="connsiteX39623" fmla="*/ 5681931 w 8079933"/>
              <a:gd name="connsiteY39623" fmla="*/ 2596760 h 4687251"/>
              <a:gd name="connsiteX39624" fmla="*/ 5677374 w 8079933"/>
              <a:gd name="connsiteY39624" fmla="*/ 2589831 h 4687251"/>
              <a:gd name="connsiteX39625" fmla="*/ 5682582 w 8079933"/>
              <a:gd name="connsiteY39625" fmla="*/ 2589506 h 4687251"/>
              <a:gd name="connsiteX39626" fmla="*/ 5675529 w 8079933"/>
              <a:gd name="connsiteY39626" fmla="*/ 2580520 h 4687251"/>
              <a:gd name="connsiteX39627" fmla="*/ 5675747 w 8079933"/>
              <a:gd name="connsiteY39627" fmla="*/ 2575431 h 4687251"/>
              <a:gd name="connsiteX39628" fmla="*/ 5679002 w 8079933"/>
              <a:gd name="connsiteY39628" fmla="*/ 2574673 h 4687251"/>
              <a:gd name="connsiteX39629" fmla="*/ 5676506 w 8079933"/>
              <a:gd name="connsiteY39629" fmla="*/ 2571208 h 4687251"/>
              <a:gd name="connsiteX39630" fmla="*/ 5676072 w 8079933"/>
              <a:gd name="connsiteY39630" fmla="*/ 2566986 h 4687251"/>
              <a:gd name="connsiteX39631" fmla="*/ 5668910 w 8079933"/>
              <a:gd name="connsiteY39631" fmla="*/ 2553993 h 4687251"/>
              <a:gd name="connsiteX39632" fmla="*/ 5667824 w 8079933"/>
              <a:gd name="connsiteY39632" fmla="*/ 2545765 h 4687251"/>
              <a:gd name="connsiteX39633" fmla="*/ 5672165 w 8079933"/>
              <a:gd name="connsiteY39633" fmla="*/ 2543708 h 4687251"/>
              <a:gd name="connsiteX39634" fmla="*/ 5668367 w 8079933"/>
              <a:gd name="connsiteY39634" fmla="*/ 2541433 h 4687251"/>
              <a:gd name="connsiteX39635" fmla="*/ 5668150 w 8079933"/>
              <a:gd name="connsiteY39635" fmla="*/ 2537320 h 4687251"/>
              <a:gd name="connsiteX39636" fmla="*/ 5670754 w 8079933"/>
              <a:gd name="connsiteY39636" fmla="*/ 2531906 h 4687251"/>
              <a:gd name="connsiteX39637" fmla="*/ 5670212 w 8079933"/>
              <a:gd name="connsiteY39637" fmla="*/ 2525085 h 4687251"/>
              <a:gd name="connsiteX39638" fmla="*/ 5667933 w 8079933"/>
              <a:gd name="connsiteY39638" fmla="*/ 2518156 h 4687251"/>
              <a:gd name="connsiteX39639" fmla="*/ 5665220 w 8079933"/>
              <a:gd name="connsiteY39639" fmla="*/ 2516423 h 4687251"/>
              <a:gd name="connsiteX39640" fmla="*/ 5663158 w 8079933"/>
              <a:gd name="connsiteY39640" fmla="*/ 2505163 h 4687251"/>
              <a:gd name="connsiteX39641" fmla="*/ 5668259 w 8079933"/>
              <a:gd name="connsiteY39641" fmla="*/ 2501915 h 4687251"/>
              <a:gd name="connsiteX39642" fmla="*/ 5670104 w 8079933"/>
              <a:gd name="connsiteY39642" fmla="*/ 2499317 h 4687251"/>
              <a:gd name="connsiteX39643" fmla="*/ 5674010 w 8079933"/>
              <a:gd name="connsiteY39643" fmla="*/ 2499317 h 4687251"/>
              <a:gd name="connsiteX39644" fmla="*/ 5669886 w 8079933"/>
              <a:gd name="connsiteY39644" fmla="*/ 2498342 h 4687251"/>
              <a:gd name="connsiteX39645" fmla="*/ 5664243 w 8079933"/>
              <a:gd name="connsiteY39645" fmla="*/ 2499208 h 4687251"/>
              <a:gd name="connsiteX39646" fmla="*/ 5661205 w 8079933"/>
              <a:gd name="connsiteY39646" fmla="*/ 2498992 h 4687251"/>
              <a:gd name="connsiteX39647" fmla="*/ 5661856 w 8079933"/>
              <a:gd name="connsiteY39647" fmla="*/ 2494444 h 4687251"/>
              <a:gd name="connsiteX39648" fmla="*/ 5659577 w 8079933"/>
              <a:gd name="connsiteY39648" fmla="*/ 2490546 h 4687251"/>
              <a:gd name="connsiteX39649" fmla="*/ 5660336 w 8079933"/>
              <a:gd name="connsiteY39649" fmla="*/ 2485891 h 4687251"/>
              <a:gd name="connsiteX39650" fmla="*/ 5661639 w 8079933"/>
              <a:gd name="connsiteY39650" fmla="*/ 2484917 h 4687251"/>
              <a:gd name="connsiteX39651" fmla="*/ 5664786 w 8079933"/>
              <a:gd name="connsiteY39651" fmla="*/ 2485566 h 4687251"/>
              <a:gd name="connsiteX39652" fmla="*/ 5668692 w 8079933"/>
              <a:gd name="connsiteY39652" fmla="*/ 2481668 h 4687251"/>
              <a:gd name="connsiteX39653" fmla="*/ 5670646 w 8079933"/>
              <a:gd name="connsiteY39653" fmla="*/ 2478637 h 4687251"/>
              <a:gd name="connsiteX39654" fmla="*/ 5666414 w 8079933"/>
              <a:gd name="connsiteY39654" fmla="*/ 2481127 h 4687251"/>
              <a:gd name="connsiteX39655" fmla="*/ 5663484 w 8079933"/>
              <a:gd name="connsiteY39655" fmla="*/ 2479828 h 4687251"/>
              <a:gd name="connsiteX39656" fmla="*/ 5657732 w 8079933"/>
              <a:gd name="connsiteY39656" fmla="*/ 2480586 h 4687251"/>
              <a:gd name="connsiteX39657" fmla="*/ 5655997 w 8079933"/>
              <a:gd name="connsiteY39657" fmla="*/ 2476688 h 4687251"/>
              <a:gd name="connsiteX39658" fmla="*/ 5655345 w 8079933"/>
              <a:gd name="connsiteY39658" fmla="*/ 2479611 h 4687251"/>
              <a:gd name="connsiteX39659" fmla="*/ 5655020 w 8079933"/>
              <a:gd name="connsiteY39659" fmla="*/ 2484484 h 4687251"/>
              <a:gd name="connsiteX39660" fmla="*/ 5651547 w 8079933"/>
              <a:gd name="connsiteY39660" fmla="*/ 2493578 h 4687251"/>
              <a:gd name="connsiteX39661" fmla="*/ 5655128 w 8079933"/>
              <a:gd name="connsiteY39661" fmla="*/ 2498017 h 4687251"/>
              <a:gd name="connsiteX39662" fmla="*/ 5654260 w 8079933"/>
              <a:gd name="connsiteY39662" fmla="*/ 2506462 h 4687251"/>
              <a:gd name="connsiteX39663" fmla="*/ 5650571 w 8079933"/>
              <a:gd name="connsiteY39663" fmla="*/ 2510252 h 4687251"/>
              <a:gd name="connsiteX39664" fmla="*/ 5650462 w 8079933"/>
              <a:gd name="connsiteY39664" fmla="*/ 2512850 h 4687251"/>
              <a:gd name="connsiteX39665" fmla="*/ 5642323 w 8079933"/>
              <a:gd name="connsiteY39665" fmla="*/ 2516965 h 4687251"/>
              <a:gd name="connsiteX39666" fmla="*/ 5629952 w 8079933"/>
              <a:gd name="connsiteY39666" fmla="*/ 2524652 h 4687251"/>
              <a:gd name="connsiteX39667" fmla="*/ 5624201 w 8079933"/>
              <a:gd name="connsiteY39667" fmla="*/ 2526601 h 4687251"/>
              <a:gd name="connsiteX39668" fmla="*/ 5615520 w 8079933"/>
              <a:gd name="connsiteY39668" fmla="*/ 2524760 h 4687251"/>
              <a:gd name="connsiteX39669" fmla="*/ 5597180 w 8079933"/>
              <a:gd name="connsiteY39669" fmla="*/ 2509927 h 4687251"/>
              <a:gd name="connsiteX39670" fmla="*/ 5589584 w 8079933"/>
              <a:gd name="connsiteY39670" fmla="*/ 2500074 h 4687251"/>
              <a:gd name="connsiteX39671" fmla="*/ 5589476 w 8079933"/>
              <a:gd name="connsiteY39671" fmla="*/ 2498342 h 4687251"/>
              <a:gd name="connsiteX39672" fmla="*/ 5587196 w 8079933"/>
              <a:gd name="connsiteY39672" fmla="*/ 2498559 h 4687251"/>
              <a:gd name="connsiteX39673" fmla="*/ 5584050 w 8079933"/>
              <a:gd name="connsiteY39673" fmla="*/ 2496827 h 4687251"/>
              <a:gd name="connsiteX39674" fmla="*/ 5573523 w 8079933"/>
              <a:gd name="connsiteY39674" fmla="*/ 2486324 h 4687251"/>
              <a:gd name="connsiteX39675" fmla="*/ 5572656 w 8079933"/>
              <a:gd name="connsiteY39675" fmla="*/ 2483076 h 4687251"/>
              <a:gd name="connsiteX39676" fmla="*/ 5573523 w 8079933"/>
              <a:gd name="connsiteY39676" fmla="*/ 2480478 h 4687251"/>
              <a:gd name="connsiteX39677" fmla="*/ 5576454 w 8079933"/>
              <a:gd name="connsiteY39677" fmla="*/ 2480153 h 4687251"/>
              <a:gd name="connsiteX39678" fmla="*/ 5577322 w 8079933"/>
              <a:gd name="connsiteY39678" fmla="*/ 2481668 h 4687251"/>
              <a:gd name="connsiteX39679" fmla="*/ 5580143 w 8079933"/>
              <a:gd name="connsiteY39679" fmla="*/ 2480803 h 4687251"/>
              <a:gd name="connsiteX39680" fmla="*/ 5580143 w 8079933"/>
              <a:gd name="connsiteY39680" fmla="*/ 2486107 h 4687251"/>
              <a:gd name="connsiteX39681" fmla="*/ 5584050 w 8079933"/>
              <a:gd name="connsiteY39681" fmla="*/ 2486541 h 4687251"/>
              <a:gd name="connsiteX39682" fmla="*/ 5586654 w 8079933"/>
              <a:gd name="connsiteY39682" fmla="*/ 2484267 h 4687251"/>
              <a:gd name="connsiteX39683" fmla="*/ 5588173 w 8079933"/>
              <a:gd name="connsiteY39683" fmla="*/ 2484050 h 4687251"/>
              <a:gd name="connsiteX39684" fmla="*/ 5590886 w 8079933"/>
              <a:gd name="connsiteY39684" fmla="*/ 2485674 h 4687251"/>
              <a:gd name="connsiteX39685" fmla="*/ 5591320 w 8079933"/>
              <a:gd name="connsiteY39685" fmla="*/ 2483834 h 4687251"/>
              <a:gd name="connsiteX39686" fmla="*/ 5601195 w 8079933"/>
              <a:gd name="connsiteY39686" fmla="*/ 2476146 h 4687251"/>
              <a:gd name="connsiteX39687" fmla="*/ 5604125 w 8079933"/>
              <a:gd name="connsiteY39687" fmla="*/ 2476038 h 4687251"/>
              <a:gd name="connsiteX39688" fmla="*/ 5608791 w 8079933"/>
              <a:gd name="connsiteY39688" fmla="*/ 2469001 h 4687251"/>
              <a:gd name="connsiteX39689" fmla="*/ 5610202 w 8079933"/>
              <a:gd name="connsiteY39689" fmla="*/ 2469326 h 4687251"/>
              <a:gd name="connsiteX39690" fmla="*/ 5612047 w 8079933"/>
              <a:gd name="connsiteY39690" fmla="*/ 2464670 h 4687251"/>
              <a:gd name="connsiteX39691" fmla="*/ 5607272 w 8079933"/>
              <a:gd name="connsiteY39691" fmla="*/ 2464345 h 4687251"/>
              <a:gd name="connsiteX39692" fmla="*/ 5605753 w 8079933"/>
              <a:gd name="connsiteY39692" fmla="*/ 2463587 h 4687251"/>
              <a:gd name="connsiteX39693" fmla="*/ 5606513 w 8079933"/>
              <a:gd name="connsiteY39693" fmla="*/ 2465103 h 4687251"/>
              <a:gd name="connsiteX39694" fmla="*/ 5606078 w 8079933"/>
              <a:gd name="connsiteY39694" fmla="*/ 2467160 h 4687251"/>
              <a:gd name="connsiteX39695" fmla="*/ 5596204 w 8079933"/>
              <a:gd name="connsiteY39695" fmla="*/ 2471383 h 4687251"/>
              <a:gd name="connsiteX39696" fmla="*/ 5590343 w 8079933"/>
              <a:gd name="connsiteY39696" fmla="*/ 2471383 h 4687251"/>
              <a:gd name="connsiteX39697" fmla="*/ 5585894 w 8079933"/>
              <a:gd name="connsiteY39697" fmla="*/ 2472899 h 4687251"/>
              <a:gd name="connsiteX39698" fmla="*/ 5570268 w 8079933"/>
              <a:gd name="connsiteY39698" fmla="*/ 2467485 h 4687251"/>
              <a:gd name="connsiteX39699" fmla="*/ 5562889 w 8079933"/>
              <a:gd name="connsiteY39699" fmla="*/ 2459798 h 4687251"/>
              <a:gd name="connsiteX39700" fmla="*/ 5559850 w 8079933"/>
              <a:gd name="connsiteY39700" fmla="*/ 2458282 h 4687251"/>
              <a:gd name="connsiteX39701" fmla="*/ 5560176 w 8079933"/>
              <a:gd name="connsiteY39701" fmla="*/ 2453410 h 4687251"/>
              <a:gd name="connsiteX39702" fmla="*/ 5564842 w 8079933"/>
              <a:gd name="connsiteY39702" fmla="*/ 2447347 h 4687251"/>
              <a:gd name="connsiteX39703" fmla="*/ 5570159 w 8079933"/>
              <a:gd name="connsiteY39703" fmla="*/ 2444424 h 4687251"/>
              <a:gd name="connsiteX39704" fmla="*/ 5563431 w 8079933"/>
              <a:gd name="connsiteY39704" fmla="*/ 2445506 h 4687251"/>
              <a:gd name="connsiteX39705" fmla="*/ 5556812 w 8079933"/>
              <a:gd name="connsiteY39705" fmla="*/ 2449728 h 4687251"/>
              <a:gd name="connsiteX39706" fmla="*/ 5556812 w 8079933"/>
              <a:gd name="connsiteY39706" fmla="*/ 2449729 h 4687251"/>
              <a:gd name="connsiteX39707" fmla="*/ 5552905 w 8079933"/>
              <a:gd name="connsiteY39707" fmla="*/ 2452219 h 4687251"/>
              <a:gd name="connsiteX39708" fmla="*/ 5553449 w 8079933"/>
              <a:gd name="connsiteY39708" fmla="*/ 2449296 h 4687251"/>
              <a:gd name="connsiteX39709" fmla="*/ 5544984 w 8079933"/>
              <a:gd name="connsiteY39709" fmla="*/ 2445182 h 4687251"/>
              <a:gd name="connsiteX39710" fmla="*/ 5538147 w 8079933"/>
              <a:gd name="connsiteY39710" fmla="*/ 2445290 h 4687251"/>
              <a:gd name="connsiteX39711" fmla="*/ 5533807 w 8079933"/>
              <a:gd name="connsiteY39711" fmla="*/ 2445723 h 4687251"/>
              <a:gd name="connsiteX39712" fmla="*/ 5532179 w 8079933"/>
              <a:gd name="connsiteY39712" fmla="*/ 2440634 h 4687251"/>
              <a:gd name="connsiteX39713" fmla="*/ 5530225 w 8079933"/>
              <a:gd name="connsiteY39713" fmla="*/ 2440634 h 4687251"/>
              <a:gd name="connsiteX39714" fmla="*/ 5528706 w 8079933"/>
              <a:gd name="connsiteY39714" fmla="*/ 2440093 h 4687251"/>
              <a:gd name="connsiteX39715" fmla="*/ 5530551 w 8079933"/>
              <a:gd name="connsiteY39715" fmla="*/ 2438794 h 4687251"/>
              <a:gd name="connsiteX39716" fmla="*/ 5530768 w 8079933"/>
              <a:gd name="connsiteY39716" fmla="*/ 2435545 h 4687251"/>
              <a:gd name="connsiteX39717" fmla="*/ 5529792 w 8079933"/>
              <a:gd name="connsiteY39717" fmla="*/ 2434679 h 4687251"/>
              <a:gd name="connsiteX39718" fmla="*/ 5528489 w 8079933"/>
              <a:gd name="connsiteY39718" fmla="*/ 2426234 h 4687251"/>
              <a:gd name="connsiteX39719" fmla="*/ 5523172 w 8079933"/>
              <a:gd name="connsiteY39719" fmla="*/ 2420171 h 4687251"/>
              <a:gd name="connsiteX39720" fmla="*/ 5523281 w 8079933"/>
              <a:gd name="connsiteY39720" fmla="*/ 2415299 h 4687251"/>
              <a:gd name="connsiteX39721" fmla="*/ 5516227 w 8079933"/>
              <a:gd name="connsiteY39721" fmla="*/ 2418439 h 4687251"/>
              <a:gd name="connsiteX39722" fmla="*/ 5512212 w 8079933"/>
              <a:gd name="connsiteY39722" fmla="*/ 2418439 h 4687251"/>
              <a:gd name="connsiteX39723" fmla="*/ 5512212 w 8079933"/>
              <a:gd name="connsiteY39723" fmla="*/ 2416706 h 4687251"/>
              <a:gd name="connsiteX39724" fmla="*/ 5513405 w 8079933"/>
              <a:gd name="connsiteY39724" fmla="*/ 2416165 h 4687251"/>
              <a:gd name="connsiteX39725" fmla="*/ 5512646 w 8079933"/>
              <a:gd name="connsiteY39725" fmla="*/ 2415407 h 4687251"/>
              <a:gd name="connsiteX39726" fmla="*/ 5513405 w 8079933"/>
              <a:gd name="connsiteY39726" fmla="*/ 2411509 h 4687251"/>
              <a:gd name="connsiteX39727" fmla="*/ 5511344 w 8079933"/>
              <a:gd name="connsiteY39727" fmla="*/ 2406204 h 4687251"/>
              <a:gd name="connsiteX39728" fmla="*/ 5506352 w 8079933"/>
              <a:gd name="connsiteY39728" fmla="*/ 2402198 h 4687251"/>
              <a:gd name="connsiteX39729" fmla="*/ 5499190 w 8079933"/>
              <a:gd name="connsiteY39729" fmla="*/ 2402415 h 4687251"/>
              <a:gd name="connsiteX39730" fmla="*/ 5493439 w 8079933"/>
              <a:gd name="connsiteY39730" fmla="*/ 2404580 h 4687251"/>
              <a:gd name="connsiteX39731" fmla="*/ 5486602 w 8079933"/>
              <a:gd name="connsiteY39731" fmla="*/ 2403606 h 4687251"/>
              <a:gd name="connsiteX39732" fmla="*/ 5484757 w 8079933"/>
              <a:gd name="connsiteY39732" fmla="*/ 2402198 h 4687251"/>
              <a:gd name="connsiteX39733" fmla="*/ 5483997 w 8079933"/>
              <a:gd name="connsiteY39733" fmla="*/ 2403931 h 4687251"/>
              <a:gd name="connsiteX39734" fmla="*/ 5480200 w 8079933"/>
              <a:gd name="connsiteY39734" fmla="*/ 2403931 h 4687251"/>
              <a:gd name="connsiteX39735" fmla="*/ 5476618 w 8079933"/>
              <a:gd name="connsiteY39735" fmla="*/ 2406313 h 4687251"/>
              <a:gd name="connsiteX39736" fmla="*/ 5472820 w 8079933"/>
              <a:gd name="connsiteY39736" fmla="*/ 2405230 h 4687251"/>
              <a:gd name="connsiteX39737" fmla="*/ 5466526 w 8079933"/>
              <a:gd name="connsiteY39737" fmla="*/ 2405230 h 4687251"/>
              <a:gd name="connsiteX39738" fmla="*/ 5461100 w 8079933"/>
              <a:gd name="connsiteY39738" fmla="*/ 2410427 h 4687251"/>
              <a:gd name="connsiteX39739" fmla="*/ 5457302 w 8079933"/>
              <a:gd name="connsiteY39739" fmla="*/ 2410427 h 4687251"/>
              <a:gd name="connsiteX39740" fmla="*/ 5454047 w 8079933"/>
              <a:gd name="connsiteY39740" fmla="*/ 2408153 h 4687251"/>
              <a:gd name="connsiteX39741" fmla="*/ 5450249 w 8079933"/>
              <a:gd name="connsiteY39741" fmla="*/ 2408153 h 4687251"/>
              <a:gd name="connsiteX39742" fmla="*/ 5448838 w 8079933"/>
              <a:gd name="connsiteY39742" fmla="*/ 2405446 h 4687251"/>
              <a:gd name="connsiteX39743" fmla="*/ 5446234 w 8079933"/>
              <a:gd name="connsiteY39743" fmla="*/ 2404905 h 4687251"/>
              <a:gd name="connsiteX39744" fmla="*/ 5445691 w 8079933"/>
              <a:gd name="connsiteY39744" fmla="*/ 2406854 h 4687251"/>
              <a:gd name="connsiteX39745" fmla="*/ 5442435 w 8079933"/>
              <a:gd name="connsiteY39745" fmla="*/ 2406854 h 4687251"/>
              <a:gd name="connsiteX39746" fmla="*/ 5437769 w 8079933"/>
              <a:gd name="connsiteY39746" fmla="*/ 2403822 h 4687251"/>
              <a:gd name="connsiteX39747" fmla="*/ 5435816 w 8079933"/>
              <a:gd name="connsiteY39747" fmla="*/ 2406313 h 4687251"/>
              <a:gd name="connsiteX39748" fmla="*/ 5435274 w 8079933"/>
              <a:gd name="connsiteY39748" fmla="*/ 2408911 h 4687251"/>
              <a:gd name="connsiteX39749" fmla="*/ 5432560 w 8079933"/>
              <a:gd name="connsiteY39749" fmla="*/ 2408911 h 4687251"/>
              <a:gd name="connsiteX39750" fmla="*/ 5429631 w 8079933"/>
              <a:gd name="connsiteY39750" fmla="*/ 2408478 h 4687251"/>
              <a:gd name="connsiteX39751" fmla="*/ 5425615 w 8079933"/>
              <a:gd name="connsiteY39751" fmla="*/ 2409560 h 4687251"/>
              <a:gd name="connsiteX39752" fmla="*/ 5423228 w 8079933"/>
              <a:gd name="connsiteY39752" fmla="*/ 2408911 h 4687251"/>
              <a:gd name="connsiteX39753" fmla="*/ 5418019 w 8079933"/>
              <a:gd name="connsiteY39753" fmla="*/ 2408478 h 4687251"/>
              <a:gd name="connsiteX39754" fmla="*/ 5414547 w 8079933"/>
              <a:gd name="connsiteY39754" fmla="*/ 2411401 h 4687251"/>
              <a:gd name="connsiteX39755" fmla="*/ 5412594 w 8079933"/>
              <a:gd name="connsiteY39755" fmla="*/ 2412051 h 4687251"/>
              <a:gd name="connsiteX39756" fmla="*/ 5412268 w 8079933"/>
              <a:gd name="connsiteY39756" fmla="*/ 2409994 h 4687251"/>
              <a:gd name="connsiteX39757" fmla="*/ 5406842 w 8079933"/>
              <a:gd name="connsiteY39757" fmla="*/ 2410319 h 4687251"/>
              <a:gd name="connsiteX39758" fmla="*/ 5399897 w 8079933"/>
              <a:gd name="connsiteY39758" fmla="*/ 2414433 h 4687251"/>
              <a:gd name="connsiteX39759" fmla="*/ 5397727 w 8079933"/>
              <a:gd name="connsiteY39759" fmla="*/ 2413566 h 4687251"/>
              <a:gd name="connsiteX39760" fmla="*/ 5397944 w 8079933"/>
              <a:gd name="connsiteY39760" fmla="*/ 2410102 h 4687251"/>
              <a:gd name="connsiteX39761" fmla="*/ 5395122 w 8079933"/>
              <a:gd name="connsiteY39761" fmla="*/ 2410102 h 4687251"/>
              <a:gd name="connsiteX39762" fmla="*/ 5395122 w 8079933"/>
              <a:gd name="connsiteY39762" fmla="*/ 2406313 h 4687251"/>
              <a:gd name="connsiteX39763" fmla="*/ 5396099 w 8079933"/>
              <a:gd name="connsiteY39763" fmla="*/ 2397868 h 4687251"/>
              <a:gd name="connsiteX39764" fmla="*/ 5393820 w 8079933"/>
              <a:gd name="connsiteY39764" fmla="*/ 2392021 h 4687251"/>
              <a:gd name="connsiteX39765" fmla="*/ 5397494 w 8079933"/>
              <a:gd name="connsiteY39765" fmla="*/ 2387062 h 4687251"/>
              <a:gd name="connsiteX39766" fmla="*/ 5393819 w 8079933"/>
              <a:gd name="connsiteY39766" fmla="*/ 2392022 h 4687251"/>
              <a:gd name="connsiteX39767" fmla="*/ 5396098 w 8079933"/>
              <a:gd name="connsiteY39767" fmla="*/ 2397868 h 4687251"/>
              <a:gd name="connsiteX39768" fmla="*/ 5395121 w 8079933"/>
              <a:gd name="connsiteY39768" fmla="*/ 2406314 h 4687251"/>
              <a:gd name="connsiteX39769" fmla="*/ 5395121 w 8079933"/>
              <a:gd name="connsiteY39769" fmla="*/ 2410103 h 4687251"/>
              <a:gd name="connsiteX39770" fmla="*/ 5393819 w 8079933"/>
              <a:gd name="connsiteY39770" fmla="*/ 2410103 h 4687251"/>
              <a:gd name="connsiteX39771" fmla="*/ 5392735 w 8079933"/>
              <a:gd name="connsiteY39771" fmla="*/ 2412052 h 4687251"/>
              <a:gd name="connsiteX39772" fmla="*/ 5389153 w 8079933"/>
              <a:gd name="connsiteY39772" fmla="*/ 2414109 h 4687251"/>
              <a:gd name="connsiteX39773" fmla="*/ 5381123 w 8079933"/>
              <a:gd name="connsiteY39773" fmla="*/ 2411186 h 4687251"/>
              <a:gd name="connsiteX39774" fmla="*/ 5375154 w 8079933"/>
              <a:gd name="connsiteY39774" fmla="*/ 2409020 h 4687251"/>
              <a:gd name="connsiteX39775" fmla="*/ 5372876 w 8079933"/>
              <a:gd name="connsiteY39775" fmla="*/ 2404906 h 4687251"/>
              <a:gd name="connsiteX39776" fmla="*/ 5369728 w 8079933"/>
              <a:gd name="connsiteY39776" fmla="*/ 2405447 h 4687251"/>
              <a:gd name="connsiteX39777" fmla="*/ 5368643 w 8079933"/>
              <a:gd name="connsiteY39777" fmla="*/ 2409562 h 4687251"/>
              <a:gd name="connsiteX39778" fmla="*/ 5367233 w 8079933"/>
              <a:gd name="connsiteY39778" fmla="*/ 2409778 h 4687251"/>
              <a:gd name="connsiteX39779" fmla="*/ 5363760 w 8079933"/>
              <a:gd name="connsiteY39779" fmla="*/ 2406855 h 4687251"/>
              <a:gd name="connsiteX39780" fmla="*/ 5361590 w 8079933"/>
              <a:gd name="connsiteY39780" fmla="*/ 2407613 h 4687251"/>
              <a:gd name="connsiteX39781" fmla="*/ 5357466 w 8079933"/>
              <a:gd name="connsiteY39781" fmla="*/ 2406206 h 4687251"/>
              <a:gd name="connsiteX39782" fmla="*/ 5346940 w 8079933"/>
              <a:gd name="connsiteY39782" fmla="*/ 2405772 h 4687251"/>
              <a:gd name="connsiteX39783" fmla="*/ 5339561 w 8079933"/>
              <a:gd name="connsiteY39783" fmla="*/ 2402524 h 4687251"/>
              <a:gd name="connsiteX39784" fmla="*/ 5326322 w 8079933"/>
              <a:gd name="connsiteY39784" fmla="*/ 2403498 h 4687251"/>
              <a:gd name="connsiteX39785" fmla="*/ 5320028 w 8079933"/>
              <a:gd name="connsiteY39785" fmla="*/ 2397544 h 4687251"/>
              <a:gd name="connsiteX39786" fmla="*/ 5318075 w 8079933"/>
              <a:gd name="connsiteY39786" fmla="*/ 2397327 h 4687251"/>
              <a:gd name="connsiteX39787" fmla="*/ 5312431 w 8079933"/>
              <a:gd name="connsiteY39787" fmla="*/ 2401983 h 4687251"/>
              <a:gd name="connsiteX39788" fmla="*/ 5307874 w 8079933"/>
              <a:gd name="connsiteY39788" fmla="*/ 2398518 h 4687251"/>
              <a:gd name="connsiteX39789" fmla="*/ 5302665 w 8079933"/>
              <a:gd name="connsiteY39789" fmla="*/ 2398735 h 4687251"/>
              <a:gd name="connsiteX39790" fmla="*/ 5289969 w 8079933"/>
              <a:gd name="connsiteY39790" fmla="*/ 2398951 h 4687251"/>
              <a:gd name="connsiteX39791" fmla="*/ 5289100 w 8079933"/>
              <a:gd name="connsiteY39791" fmla="*/ 2396461 h 4687251"/>
              <a:gd name="connsiteX39792" fmla="*/ 5286388 w 8079933"/>
              <a:gd name="connsiteY39792" fmla="*/ 2394621 h 4687251"/>
              <a:gd name="connsiteX39793" fmla="*/ 5286062 w 8079933"/>
              <a:gd name="connsiteY39793" fmla="*/ 2388233 h 4687251"/>
              <a:gd name="connsiteX39794" fmla="*/ 5281287 w 8079933"/>
              <a:gd name="connsiteY39794" fmla="*/ 2379246 h 4687251"/>
              <a:gd name="connsiteX39795" fmla="*/ 5278791 w 8079933"/>
              <a:gd name="connsiteY39795" fmla="*/ 2370584 h 4687251"/>
              <a:gd name="connsiteX39796" fmla="*/ 5274451 w 8079933"/>
              <a:gd name="connsiteY39796" fmla="*/ 2364521 h 4687251"/>
              <a:gd name="connsiteX39797" fmla="*/ 5273908 w 8079933"/>
              <a:gd name="connsiteY39797" fmla="*/ 2361923 h 4687251"/>
              <a:gd name="connsiteX39798" fmla="*/ 5271738 w 8079933"/>
              <a:gd name="connsiteY39798" fmla="*/ 2362139 h 4687251"/>
              <a:gd name="connsiteX39799" fmla="*/ 5271738 w 8079933"/>
              <a:gd name="connsiteY39799" fmla="*/ 2360515 h 4687251"/>
              <a:gd name="connsiteX39800" fmla="*/ 5263599 w 8079933"/>
              <a:gd name="connsiteY39800" fmla="*/ 2359432 h 4687251"/>
              <a:gd name="connsiteX39801" fmla="*/ 5258716 w 8079933"/>
              <a:gd name="connsiteY39801" fmla="*/ 2360840 h 4687251"/>
              <a:gd name="connsiteX39802" fmla="*/ 5252313 w 8079933"/>
              <a:gd name="connsiteY39802" fmla="*/ 2365604 h 4687251"/>
              <a:gd name="connsiteX39803" fmla="*/ 5247430 w 8079933"/>
              <a:gd name="connsiteY39803" fmla="*/ 2365712 h 4687251"/>
              <a:gd name="connsiteX39804" fmla="*/ 5246887 w 8079933"/>
              <a:gd name="connsiteY39804" fmla="*/ 2363547 h 4687251"/>
              <a:gd name="connsiteX39805" fmla="*/ 5246779 w 8079933"/>
              <a:gd name="connsiteY39805" fmla="*/ 2366254 h 4687251"/>
              <a:gd name="connsiteX39806" fmla="*/ 5236796 w 8079933"/>
              <a:gd name="connsiteY39806" fmla="*/ 2372425 h 4687251"/>
              <a:gd name="connsiteX39807" fmla="*/ 5228440 w 8079933"/>
              <a:gd name="connsiteY39807" fmla="*/ 2379246 h 4687251"/>
              <a:gd name="connsiteX39808" fmla="*/ 5219108 w 8079933"/>
              <a:gd name="connsiteY39808" fmla="*/ 2372966 h 4687251"/>
              <a:gd name="connsiteX39809" fmla="*/ 5211077 w 8079933"/>
              <a:gd name="connsiteY39809" fmla="*/ 2371017 h 4687251"/>
              <a:gd name="connsiteX39810" fmla="*/ 5205326 w 8079933"/>
              <a:gd name="connsiteY39810" fmla="*/ 2371884 h 4687251"/>
              <a:gd name="connsiteX39811" fmla="*/ 5202938 w 8079933"/>
              <a:gd name="connsiteY39811" fmla="*/ 2373183 h 4687251"/>
              <a:gd name="connsiteX39812" fmla="*/ 5194692 w 8079933"/>
              <a:gd name="connsiteY39812" fmla="*/ 2365712 h 4687251"/>
              <a:gd name="connsiteX39813" fmla="*/ 5190676 w 8079933"/>
              <a:gd name="connsiteY39813" fmla="*/ 2365171 h 4687251"/>
              <a:gd name="connsiteX39814" fmla="*/ 5186878 w 8079933"/>
              <a:gd name="connsiteY39814" fmla="*/ 2362681 h 4687251"/>
              <a:gd name="connsiteX39815" fmla="*/ 5181234 w 8079933"/>
              <a:gd name="connsiteY39815" fmla="*/ 2361382 h 4687251"/>
              <a:gd name="connsiteX39816" fmla="*/ 5174182 w 8079933"/>
              <a:gd name="connsiteY39816" fmla="*/ 2354019 h 4687251"/>
              <a:gd name="connsiteX39817" fmla="*/ 5177111 w 8079933"/>
              <a:gd name="connsiteY39817" fmla="*/ 2351529 h 4687251"/>
              <a:gd name="connsiteX39818" fmla="*/ 5176352 w 8079933"/>
              <a:gd name="connsiteY39818" fmla="*/ 2349364 h 4687251"/>
              <a:gd name="connsiteX39819" fmla="*/ 5171902 w 8079933"/>
              <a:gd name="connsiteY39819" fmla="*/ 2348930 h 4687251"/>
              <a:gd name="connsiteX39820" fmla="*/ 5170817 w 8079933"/>
              <a:gd name="connsiteY39820" fmla="*/ 2347307 h 4687251"/>
              <a:gd name="connsiteX39821" fmla="*/ 5163221 w 8079933"/>
              <a:gd name="connsiteY39821" fmla="*/ 2346981 h 4687251"/>
              <a:gd name="connsiteX39822" fmla="*/ 5160725 w 8079933"/>
              <a:gd name="connsiteY39822" fmla="*/ 2344275 h 4687251"/>
              <a:gd name="connsiteX39823" fmla="*/ 5154540 w 8079933"/>
              <a:gd name="connsiteY39823" fmla="*/ 2342326 h 4687251"/>
              <a:gd name="connsiteX39824" fmla="*/ 5145858 w 8079933"/>
              <a:gd name="connsiteY39824" fmla="*/ 2343192 h 4687251"/>
              <a:gd name="connsiteX39825" fmla="*/ 5140975 w 8079933"/>
              <a:gd name="connsiteY39825" fmla="*/ 2340269 h 4687251"/>
              <a:gd name="connsiteX39826" fmla="*/ 5133705 w 8079933"/>
              <a:gd name="connsiteY39826" fmla="*/ 2324244 h 4687251"/>
              <a:gd name="connsiteX39827" fmla="*/ 5132837 w 8079933"/>
              <a:gd name="connsiteY39827" fmla="*/ 2320455 h 4687251"/>
              <a:gd name="connsiteX39828" fmla="*/ 5130666 w 8079933"/>
              <a:gd name="connsiteY39828" fmla="*/ 2321213 h 4687251"/>
              <a:gd name="connsiteX39829" fmla="*/ 5126326 w 8079933"/>
              <a:gd name="connsiteY39829" fmla="*/ 2317532 h 4687251"/>
              <a:gd name="connsiteX39830" fmla="*/ 5127411 w 8079933"/>
              <a:gd name="connsiteY39830" fmla="*/ 2316341 h 4687251"/>
              <a:gd name="connsiteX39831" fmla="*/ 5129038 w 8079933"/>
              <a:gd name="connsiteY39831" fmla="*/ 2317424 h 4687251"/>
              <a:gd name="connsiteX39832" fmla="*/ 5130883 w 8079933"/>
              <a:gd name="connsiteY39832" fmla="*/ 2317424 h 4687251"/>
              <a:gd name="connsiteX39833" fmla="*/ 5128279 w 8079933"/>
              <a:gd name="connsiteY39833" fmla="*/ 2313093 h 4687251"/>
              <a:gd name="connsiteX39834" fmla="*/ 5124698 w 8079933"/>
              <a:gd name="connsiteY39834" fmla="*/ 2313634 h 4687251"/>
              <a:gd name="connsiteX39835" fmla="*/ 5122201 w 8079933"/>
              <a:gd name="connsiteY39835" fmla="*/ 2312010 h 4687251"/>
              <a:gd name="connsiteX39836" fmla="*/ 5121442 w 8079933"/>
              <a:gd name="connsiteY39836" fmla="*/ 2304540 h 4687251"/>
              <a:gd name="connsiteX39837" fmla="*/ 5112760 w 8079933"/>
              <a:gd name="connsiteY39837" fmla="*/ 2294145 h 4687251"/>
              <a:gd name="connsiteX39838" fmla="*/ 5112218 w 8079933"/>
              <a:gd name="connsiteY39838" fmla="*/ 2289598 h 4687251"/>
              <a:gd name="connsiteX39839" fmla="*/ 5107118 w 8079933"/>
              <a:gd name="connsiteY39839" fmla="*/ 2282885 h 4687251"/>
              <a:gd name="connsiteX39840" fmla="*/ 5104622 w 8079933"/>
              <a:gd name="connsiteY39840" fmla="*/ 2281694 h 4687251"/>
              <a:gd name="connsiteX39841" fmla="*/ 5097134 w 8079933"/>
              <a:gd name="connsiteY39841" fmla="*/ 2287757 h 4687251"/>
              <a:gd name="connsiteX39842" fmla="*/ 5094855 w 8079933"/>
              <a:gd name="connsiteY39842" fmla="*/ 2287649 h 4687251"/>
              <a:gd name="connsiteX39843" fmla="*/ 5092468 w 8079933"/>
              <a:gd name="connsiteY39843" fmla="*/ 2283318 h 4687251"/>
              <a:gd name="connsiteX39844" fmla="*/ 5090297 w 8079933"/>
              <a:gd name="connsiteY39844" fmla="*/ 2284184 h 4687251"/>
              <a:gd name="connsiteX39845" fmla="*/ 5084872 w 8079933"/>
              <a:gd name="connsiteY39845" fmla="*/ 2281694 h 4687251"/>
              <a:gd name="connsiteX39846" fmla="*/ 5085631 w 8079933"/>
              <a:gd name="connsiteY39846" fmla="*/ 2278987 h 4687251"/>
              <a:gd name="connsiteX39847" fmla="*/ 5086500 w 8079933"/>
              <a:gd name="connsiteY39847" fmla="*/ 2276281 h 4687251"/>
              <a:gd name="connsiteX39848" fmla="*/ 5085306 w 8079933"/>
              <a:gd name="connsiteY39848" fmla="*/ 2277688 h 4687251"/>
              <a:gd name="connsiteX39849" fmla="*/ 5082051 w 8079933"/>
              <a:gd name="connsiteY39849" fmla="*/ 2277904 h 4687251"/>
              <a:gd name="connsiteX39850" fmla="*/ 5079120 w 8079933"/>
              <a:gd name="connsiteY39850" fmla="*/ 2277472 h 4687251"/>
              <a:gd name="connsiteX39851" fmla="*/ 5082702 w 8079933"/>
              <a:gd name="connsiteY39851" fmla="*/ 2280395 h 4687251"/>
              <a:gd name="connsiteX39852" fmla="*/ 5082593 w 8079933"/>
              <a:gd name="connsiteY39852" fmla="*/ 2284942 h 4687251"/>
              <a:gd name="connsiteX39853" fmla="*/ 5079880 w 8079933"/>
              <a:gd name="connsiteY39853" fmla="*/ 2287216 h 4687251"/>
              <a:gd name="connsiteX39854" fmla="*/ 5076950 w 8079933"/>
              <a:gd name="connsiteY39854" fmla="*/ 2287432 h 4687251"/>
              <a:gd name="connsiteX39855" fmla="*/ 5073369 w 8079933"/>
              <a:gd name="connsiteY39855" fmla="*/ 2282777 h 4687251"/>
              <a:gd name="connsiteX39856" fmla="*/ 5073477 w 8079933"/>
              <a:gd name="connsiteY39856" fmla="*/ 2281261 h 4687251"/>
              <a:gd name="connsiteX39857" fmla="*/ 5071307 w 8079933"/>
              <a:gd name="connsiteY39857" fmla="*/ 2282235 h 4687251"/>
              <a:gd name="connsiteX39858" fmla="*/ 5069571 w 8079933"/>
              <a:gd name="connsiteY39858" fmla="*/ 2280720 h 4687251"/>
              <a:gd name="connsiteX39859" fmla="*/ 5066280 w 8079933"/>
              <a:gd name="connsiteY39859" fmla="*/ 2279393 h 4687251"/>
              <a:gd name="connsiteX39860" fmla="*/ 5069571 w 8079933"/>
              <a:gd name="connsiteY39860" fmla="*/ 2280720 h 4687251"/>
              <a:gd name="connsiteX39861" fmla="*/ 5071307 w 8079933"/>
              <a:gd name="connsiteY39861" fmla="*/ 2282236 h 4687251"/>
              <a:gd name="connsiteX39862" fmla="*/ 5068812 w 8079933"/>
              <a:gd name="connsiteY39862" fmla="*/ 2283318 h 4687251"/>
              <a:gd name="connsiteX39863" fmla="*/ 5066316 w 8079933"/>
              <a:gd name="connsiteY39863" fmla="*/ 2288839 h 4687251"/>
              <a:gd name="connsiteX39864" fmla="*/ 5066317 w 8079933"/>
              <a:gd name="connsiteY39864" fmla="*/ 2288840 h 4687251"/>
              <a:gd name="connsiteX39865" fmla="*/ 5065774 w 8079933"/>
              <a:gd name="connsiteY39865" fmla="*/ 2290139 h 4687251"/>
              <a:gd name="connsiteX39866" fmla="*/ 5068053 w 8079933"/>
              <a:gd name="connsiteY39866" fmla="*/ 2300750 h 4687251"/>
              <a:gd name="connsiteX39867" fmla="*/ 5054272 w 8079933"/>
              <a:gd name="connsiteY39867" fmla="*/ 2303456 h 4687251"/>
              <a:gd name="connsiteX39868" fmla="*/ 5063713 w 8079933"/>
              <a:gd name="connsiteY39868" fmla="*/ 2309628 h 4687251"/>
              <a:gd name="connsiteX39869" fmla="*/ 5064798 w 8079933"/>
              <a:gd name="connsiteY39869" fmla="*/ 2307462 h 4687251"/>
              <a:gd name="connsiteX39870" fmla="*/ 5066426 w 8079933"/>
              <a:gd name="connsiteY39870" fmla="*/ 2311035 h 4687251"/>
              <a:gd name="connsiteX39871" fmla="*/ 5066642 w 8079933"/>
              <a:gd name="connsiteY39871" fmla="*/ 2315041 h 4687251"/>
              <a:gd name="connsiteX39872" fmla="*/ 5069355 w 8079933"/>
              <a:gd name="connsiteY39872" fmla="*/ 2318073 h 4687251"/>
              <a:gd name="connsiteX39873" fmla="*/ 5068487 w 8079933"/>
              <a:gd name="connsiteY39873" fmla="*/ 2318073 h 4687251"/>
              <a:gd name="connsiteX39874" fmla="*/ 5067511 w 8079933"/>
              <a:gd name="connsiteY39874" fmla="*/ 2318615 h 4687251"/>
              <a:gd name="connsiteX39875" fmla="*/ 5070006 w 8079933"/>
              <a:gd name="connsiteY39875" fmla="*/ 2321755 h 4687251"/>
              <a:gd name="connsiteX39876" fmla="*/ 5070006 w 8079933"/>
              <a:gd name="connsiteY39876" fmla="*/ 2321755 h 4687251"/>
              <a:gd name="connsiteX39877" fmla="*/ 5071850 w 8079933"/>
              <a:gd name="connsiteY39877" fmla="*/ 2324027 h 4687251"/>
              <a:gd name="connsiteX39878" fmla="*/ 5073478 w 8079933"/>
              <a:gd name="connsiteY39878" fmla="*/ 2323162 h 4687251"/>
              <a:gd name="connsiteX39879" fmla="*/ 5073478 w 8079933"/>
              <a:gd name="connsiteY39879" fmla="*/ 2327168 h 4687251"/>
              <a:gd name="connsiteX39880" fmla="*/ 5076625 w 8079933"/>
              <a:gd name="connsiteY39880" fmla="*/ 2328791 h 4687251"/>
              <a:gd name="connsiteX39881" fmla="*/ 5079121 w 8079933"/>
              <a:gd name="connsiteY39881" fmla="*/ 2334530 h 4687251"/>
              <a:gd name="connsiteX39882" fmla="*/ 5083679 w 8079933"/>
              <a:gd name="connsiteY39882" fmla="*/ 2346656 h 4687251"/>
              <a:gd name="connsiteX39883" fmla="*/ 5091708 w 8079933"/>
              <a:gd name="connsiteY39883" fmla="*/ 2348605 h 4687251"/>
              <a:gd name="connsiteX39884" fmla="*/ 5095724 w 8079933"/>
              <a:gd name="connsiteY39884" fmla="*/ 2349363 h 4687251"/>
              <a:gd name="connsiteX39885" fmla="*/ 5097786 w 8079933"/>
              <a:gd name="connsiteY39885" fmla="*/ 2352178 h 4687251"/>
              <a:gd name="connsiteX39886" fmla="*/ 5095724 w 8079933"/>
              <a:gd name="connsiteY39886" fmla="*/ 2350987 h 4687251"/>
              <a:gd name="connsiteX39887" fmla="*/ 5094313 w 8079933"/>
              <a:gd name="connsiteY39887" fmla="*/ 2351312 h 4687251"/>
              <a:gd name="connsiteX39888" fmla="*/ 5093988 w 8079933"/>
              <a:gd name="connsiteY39888" fmla="*/ 2352935 h 4687251"/>
              <a:gd name="connsiteX39889" fmla="*/ 5097352 w 8079933"/>
              <a:gd name="connsiteY39889" fmla="*/ 2356725 h 4687251"/>
              <a:gd name="connsiteX39890" fmla="*/ 5100281 w 8079933"/>
              <a:gd name="connsiteY39890" fmla="*/ 2356942 h 4687251"/>
              <a:gd name="connsiteX39891" fmla="*/ 5107986 w 8079933"/>
              <a:gd name="connsiteY39891" fmla="*/ 2368094 h 4687251"/>
              <a:gd name="connsiteX39892" fmla="*/ 5110265 w 8079933"/>
              <a:gd name="connsiteY39892" fmla="*/ 2368094 h 4687251"/>
              <a:gd name="connsiteX39893" fmla="*/ 5113304 w 8079933"/>
              <a:gd name="connsiteY39893" fmla="*/ 2372749 h 4687251"/>
              <a:gd name="connsiteX39894" fmla="*/ 5113304 w 8079933"/>
              <a:gd name="connsiteY39894" fmla="*/ 2375456 h 4687251"/>
              <a:gd name="connsiteX39895" fmla="*/ 5117644 w 8079933"/>
              <a:gd name="connsiteY39895" fmla="*/ 2387041 h 4687251"/>
              <a:gd name="connsiteX39896" fmla="*/ 5117644 w 8079933"/>
              <a:gd name="connsiteY39896" fmla="*/ 2389747 h 4687251"/>
              <a:gd name="connsiteX39897" fmla="*/ 5114931 w 8079933"/>
              <a:gd name="connsiteY39897" fmla="*/ 2388990 h 4687251"/>
              <a:gd name="connsiteX39898" fmla="*/ 5117970 w 8079933"/>
              <a:gd name="connsiteY39898" fmla="*/ 2394836 h 4687251"/>
              <a:gd name="connsiteX39899" fmla="*/ 5130124 w 8079933"/>
              <a:gd name="connsiteY39899" fmla="*/ 2409994 h 4687251"/>
              <a:gd name="connsiteX39900" fmla="*/ 5131209 w 8079933"/>
              <a:gd name="connsiteY39900" fmla="*/ 2416057 h 4687251"/>
              <a:gd name="connsiteX39901" fmla="*/ 5135224 w 8079933"/>
              <a:gd name="connsiteY39901" fmla="*/ 2421687 h 4687251"/>
              <a:gd name="connsiteX39902" fmla="*/ 5136526 w 8079933"/>
              <a:gd name="connsiteY39902" fmla="*/ 2420822 h 4687251"/>
              <a:gd name="connsiteX39903" fmla="*/ 5136526 w 8079933"/>
              <a:gd name="connsiteY39903" fmla="*/ 2420822 h 4687251"/>
              <a:gd name="connsiteX39904" fmla="*/ 5137720 w 8079933"/>
              <a:gd name="connsiteY39904" fmla="*/ 2420063 h 4687251"/>
              <a:gd name="connsiteX39905" fmla="*/ 5137720 w 8079933"/>
              <a:gd name="connsiteY39905" fmla="*/ 2415192 h 4687251"/>
              <a:gd name="connsiteX39906" fmla="*/ 5136092 w 8079933"/>
              <a:gd name="connsiteY39906" fmla="*/ 2413243 h 4687251"/>
              <a:gd name="connsiteX39907" fmla="*/ 5135007 w 8079933"/>
              <a:gd name="connsiteY39907" fmla="*/ 2409778 h 4687251"/>
              <a:gd name="connsiteX39908" fmla="*/ 5135766 w 8079933"/>
              <a:gd name="connsiteY39908" fmla="*/ 2402524 h 4687251"/>
              <a:gd name="connsiteX39909" fmla="*/ 5137720 w 8079933"/>
              <a:gd name="connsiteY39909" fmla="*/ 2402524 h 4687251"/>
              <a:gd name="connsiteX39910" fmla="*/ 5138913 w 8079933"/>
              <a:gd name="connsiteY39910" fmla="*/ 2403498 h 4687251"/>
              <a:gd name="connsiteX39911" fmla="*/ 5137720 w 8079933"/>
              <a:gd name="connsiteY39911" fmla="*/ 2396245 h 4687251"/>
              <a:gd name="connsiteX39912" fmla="*/ 5138805 w 8079933"/>
              <a:gd name="connsiteY39912" fmla="*/ 2396245 h 4687251"/>
              <a:gd name="connsiteX39913" fmla="*/ 5137937 w 8079933"/>
              <a:gd name="connsiteY39913" fmla="*/ 2392455 h 4687251"/>
              <a:gd name="connsiteX39914" fmla="*/ 5139565 w 8079933"/>
              <a:gd name="connsiteY39914" fmla="*/ 2391156 h 4687251"/>
              <a:gd name="connsiteX39915" fmla="*/ 5139565 w 8079933"/>
              <a:gd name="connsiteY39915" fmla="*/ 2389207 h 4687251"/>
              <a:gd name="connsiteX39916" fmla="*/ 5141301 w 8079933"/>
              <a:gd name="connsiteY39916" fmla="*/ 2388990 h 4687251"/>
              <a:gd name="connsiteX39917" fmla="*/ 5142060 w 8079933"/>
              <a:gd name="connsiteY39917" fmla="*/ 2386825 h 4687251"/>
              <a:gd name="connsiteX39918" fmla="*/ 5143905 w 8079933"/>
              <a:gd name="connsiteY39918" fmla="*/ 2386825 h 4687251"/>
              <a:gd name="connsiteX39919" fmla="*/ 5148029 w 8079933"/>
              <a:gd name="connsiteY39919" fmla="*/ 2390073 h 4687251"/>
              <a:gd name="connsiteX39920" fmla="*/ 5148354 w 8079933"/>
              <a:gd name="connsiteY39920" fmla="*/ 2392672 h 4687251"/>
              <a:gd name="connsiteX39921" fmla="*/ 5150416 w 8079933"/>
              <a:gd name="connsiteY39921" fmla="*/ 2392672 h 4687251"/>
              <a:gd name="connsiteX39922" fmla="*/ 5151284 w 8079933"/>
              <a:gd name="connsiteY39922" fmla="*/ 2394187 h 4687251"/>
              <a:gd name="connsiteX39923" fmla="*/ 5149656 w 8079933"/>
              <a:gd name="connsiteY39923" fmla="*/ 2401983 h 4687251"/>
              <a:gd name="connsiteX39924" fmla="*/ 5148571 w 8079933"/>
              <a:gd name="connsiteY39924" fmla="*/ 2401983 h 4687251"/>
              <a:gd name="connsiteX39925" fmla="*/ 5149439 w 8079933"/>
              <a:gd name="connsiteY39925" fmla="*/ 2410103 h 4687251"/>
              <a:gd name="connsiteX39926" fmla="*/ 5151067 w 8079933"/>
              <a:gd name="connsiteY39926" fmla="*/ 2410103 h 4687251"/>
              <a:gd name="connsiteX39927" fmla="*/ 5153672 w 8079933"/>
              <a:gd name="connsiteY39927" fmla="*/ 2414867 h 4687251"/>
              <a:gd name="connsiteX39928" fmla="*/ 5151827 w 8079933"/>
              <a:gd name="connsiteY39928" fmla="*/ 2426560 h 4687251"/>
              <a:gd name="connsiteX39929" fmla="*/ 5149114 w 8079933"/>
              <a:gd name="connsiteY39929" fmla="*/ 2427101 h 4687251"/>
              <a:gd name="connsiteX39930" fmla="*/ 5149223 w 8079933"/>
              <a:gd name="connsiteY39930" fmla="*/ 2427210 h 4687251"/>
              <a:gd name="connsiteX39931" fmla="*/ 5149222 w 8079933"/>
              <a:gd name="connsiteY39931" fmla="*/ 2427210 h 4687251"/>
              <a:gd name="connsiteX39932" fmla="*/ 5149874 w 8079933"/>
              <a:gd name="connsiteY39932" fmla="*/ 2428400 h 4687251"/>
              <a:gd name="connsiteX39933" fmla="*/ 5153780 w 8079933"/>
              <a:gd name="connsiteY39933" fmla="*/ 2427967 h 4687251"/>
              <a:gd name="connsiteX39934" fmla="*/ 5151610 w 8079933"/>
              <a:gd name="connsiteY39934" fmla="*/ 2430674 h 4687251"/>
              <a:gd name="connsiteX39935" fmla="*/ 5151502 w 8079933"/>
              <a:gd name="connsiteY39935" fmla="*/ 2433056 h 4687251"/>
              <a:gd name="connsiteX39936" fmla="*/ 5153672 w 8079933"/>
              <a:gd name="connsiteY39936" fmla="*/ 2436846 h 4687251"/>
              <a:gd name="connsiteX39937" fmla="*/ 5154865 w 8079933"/>
              <a:gd name="connsiteY39937" fmla="*/ 2436304 h 4687251"/>
              <a:gd name="connsiteX39938" fmla="*/ 5155083 w 8079933"/>
              <a:gd name="connsiteY39938" fmla="*/ 2436412 h 4687251"/>
              <a:gd name="connsiteX39939" fmla="*/ 5155083 w 8079933"/>
              <a:gd name="connsiteY39939" fmla="*/ 2436412 h 4687251"/>
              <a:gd name="connsiteX39940" fmla="*/ 5156928 w 8079933"/>
              <a:gd name="connsiteY39940" fmla="*/ 2437602 h 4687251"/>
              <a:gd name="connsiteX39941" fmla="*/ 5158881 w 8079933"/>
              <a:gd name="connsiteY39941" fmla="*/ 2435437 h 4687251"/>
              <a:gd name="connsiteX39942" fmla="*/ 5160292 w 8079933"/>
              <a:gd name="connsiteY39942" fmla="*/ 2446265 h 4687251"/>
              <a:gd name="connsiteX39943" fmla="*/ 5164090 w 8079933"/>
              <a:gd name="connsiteY39943" fmla="*/ 2444532 h 4687251"/>
              <a:gd name="connsiteX39944" fmla="*/ 5167670 w 8079933"/>
              <a:gd name="connsiteY39944" fmla="*/ 2444965 h 4687251"/>
              <a:gd name="connsiteX39945" fmla="*/ 5171468 w 8079933"/>
              <a:gd name="connsiteY39945" fmla="*/ 2446047 h 4687251"/>
              <a:gd name="connsiteX39946" fmla="*/ 5181235 w 8079933"/>
              <a:gd name="connsiteY39946" fmla="*/ 2438469 h 4687251"/>
              <a:gd name="connsiteX39947" fmla="*/ 5189374 w 8079933"/>
              <a:gd name="connsiteY39947" fmla="*/ 2440310 h 4687251"/>
              <a:gd name="connsiteX39948" fmla="*/ 5192846 w 8079933"/>
              <a:gd name="connsiteY39948" fmla="*/ 2439551 h 4687251"/>
              <a:gd name="connsiteX39949" fmla="*/ 5194909 w 8079933"/>
              <a:gd name="connsiteY39949" fmla="*/ 2440634 h 4687251"/>
              <a:gd name="connsiteX39950" fmla="*/ 5199575 w 8079933"/>
              <a:gd name="connsiteY39950" fmla="*/ 2440310 h 4687251"/>
              <a:gd name="connsiteX39951" fmla="*/ 5201745 w 8079933"/>
              <a:gd name="connsiteY39951" fmla="*/ 2443016 h 4687251"/>
              <a:gd name="connsiteX39952" fmla="*/ 5206845 w 8079933"/>
              <a:gd name="connsiteY39952" fmla="*/ 2442475 h 4687251"/>
              <a:gd name="connsiteX39953" fmla="*/ 5213790 w 8079933"/>
              <a:gd name="connsiteY39953" fmla="*/ 2441176 h 4687251"/>
              <a:gd name="connsiteX39954" fmla="*/ 5214984 w 8079933"/>
              <a:gd name="connsiteY39954" fmla="*/ 2439010 h 4687251"/>
              <a:gd name="connsiteX39955" fmla="*/ 5216395 w 8079933"/>
              <a:gd name="connsiteY39955" fmla="*/ 2438685 h 4687251"/>
              <a:gd name="connsiteX39956" fmla="*/ 5216069 w 8079933"/>
              <a:gd name="connsiteY39956" fmla="*/ 2434896 h 4687251"/>
              <a:gd name="connsiteX39957" fmla="*/ 5219108 w 8079933"/>
              <a:gd name="connsiteY39957" fmla="*/ 2434896 h 4687251"/>
              <a:gd name="connsiteX39958" fmla="*/ 5221061 w 8079933"/>
              <a:gd name="connsiteY39958" fmla="*/ 2433380 h 4687251"/>
              <a:gd name="connsiteX39959" fmla="*/ 5223231 w 8079933"/>
              <a:gd name="connsiteY39959" fmla="*/ 2436412 h 4687251"/>
              <a:gd name="connsiteX39960" fmla="*/ 5229416 w 8079933"/>
              <a:gd name="connsiteY39960" fmla="*/ 2430024 h 4687251"/>
              <a:gd name="connsiteX39961" fmla="*/ 5228115 w 8079933"/>
              <a:gd name="connsiteY39961" fmla="*/ 2427100 h 4687251"/>
              <a:gd name="connsiteX39962" fmla="*/ 5226162 w 8079933"/>
              <a:gd name="connsiteY39962" fmla="*/ 2426343 h 4687251"/>
              <a:gd name="connsiteX39963" fmla="*/ 5228331 w 8079933"/>
              <a:gd name="connsiteY39963" fmla="*/ 2422878 h 4687251"/>
              <a:gd name="connsiteX39964" fmla="*/ 5242113 w 8079933"/>
              <a:gd name="connsiteY39964" fmla="*/ 2411185 h 4687251"/>
              <a:gd name="connsiteX39965" fmla="*/ 5242113 w 8079933"/>
              <a:gd name="connsiteY39965" fmla="*/ 2404688 h 4687251"/>
              <a:gd name="connsiteX39966" fmla="*/ 5256871 w 8079933"/>
              <a:gd name="connsiteY39966" fmla="*/ 2395811 h 4687251"/>
              <a:gd name="connsiteX39967" fmla="*/ 5258282 w 8079933"/>
              <a:gd name="connsiteY39967" fmla="*/ 2393429 h 4687251"/>
              <a:gd name="connsiteX39968" fmla="*/ 5258282 w 8079933"/>
              <a:gd name="connsiteY39968" fmla="*/ 2389964 h 4687251"/>
              <a:gd name="connsiteX39969" fmla="*/ 5258391 w 8079933"/>
              <a:gd name="connsiteY39969" fmla="*/ 2387907 h 4687251"/>
              <a:gd name="connsiteX39970" fmla="*/ 5259150 w 8079933"/>
              <a:gd name="connsiteY39970" fmla="*/ 2385633 h 4687251"/>
              <a:gd name="connsiteX39971" fmla="*/ 5260452 w 8079933"/>
              <a:gd name="connsiteY39971" fmla="*/ 2387149 h 4687251"/>
              <a:gd name="connsiteX39972" fmla="*/ 5261646 w 8079933"/>
              <a:gd name="connsiteY39972" fmla="*/ 2385633 h 4687251"/>
              <a:gd name="connsiteX39973" fmla="*/ 5262732 w 8079933"/>
              <a:gd name="connsiteY39973" fmla="*/ 2379137 h 4687251"/>
              <a:gd name="connsiteX39974" fmla="*/ 5264793 w 8079933"/>
              <a:gd name="connsiteY39974" fmla="*/ 2379354 h 4687251"/>
              <a:gd name="connsiteX39975" fmla="*/ 5266421 w 8079933"/>
              <a:gd name="connsiteY39975" fmla="*/ 2378921 h 4687251"/>
              <a:gd name="connsiteX39976" fmla="*/ 5267506 w 8079933"/>
              <a:gd name="connsiteY39976" fmla="*/ 2380653 h 4687251"/>
              <a:gd name="connsiteX39977" fmla="*/ 5266530 w 8079933"/>
              <a:gd name="connsiteY39977" fmla="*/ 2380545 h 4687251"/>
              <a:gd name="connsiteX39978" fmla="*/ 5265553 w 8079933"/>
              <a:gd name="connsiteY39978" fmla="*/ 2381303 h 4687251"/>
              <a:gd name="connsiteX39979" fmla="*/ 5266746 w 8079933"/>
              <a:gd name="connsiteY39979" fmla="*/ 2382710 h 4687251"/>
              <a:gd name="connsiteX39980" fmla="*/ 5265770 w 8079933"/>
              <a:gd name="connsiteY39980" fmla="*/ 2385417 h 4687251"/>
              <a:gd name="connsiteX39981" fmla="*/ 5266963 w 8079933"/>
              <a:gd name="connsiteY39981" fmla="*/ 2386067 h 4687251"/>
              <a:gd name="connsiteX39982" fmla="*/ 5266313 w 8079933"/>
              <a:gd name="connsiteY39982" fmla="*/ 2392779 h 4687251"/>
              <a:gd name="connsiteX39983" fmla="*/ 5264359 w 8079933"/>
              <a:gd name="connsiteY39983" fmla="*/ 2396569 h 4687251"/>
              <a:gd name="connsiteX39984" fmla="*/ 5264142 w 8079933"/>
              <a:gd name="connsiteY39984" fmla="*/ 2399492 h 4687251"/>
              <a:gd name="connsiteX39985" fmla="*/ 5264142 w 8079933"/>
              <a:gd name="connsiteY39985" fmla="*/ 2400250 h 4687251"/>
              <a:gd name="connsiteX39986" fmla="*/ 5265335 w 8079933"/>
              <a:gd name="connsiteY39986" fmla="*/ 2401332 h 4687251"/>
              <a:gd name="connsiteX39987" fmla="*/ 5267615 w 8079933"/>
              <a:gd name="connsiteY39987" fmla="*/ 2400574 h 4687251"/>
              <a:gd name="connsiteX39988" fmla="*/ 5268265 w 8079933"/>
              <a:gd name="connsiteY39988" fmla="*/ 2403823 h 4687251"/>
              <a:gd name="connsiteX39989" fmla="*/ 5268808 w 8079933"/>
              <a:gd name="connsiteY39989" fmla="*/ 2409778 h 4687251"/>
              <a:gd name="connsiteX39990" fmla="*/ 5264142 w 8079933"/>
              <a:gd name="connsiteY39990" fmla="*/ 2410427 h 4687251"/>
              <a:gd name="connsiteX39991" fmla="*/ 5263491 w 8079933"/>
              <a:gd name="connsiteY39991" fmla="*/ 2412441 h 4687251"/>
              <a:gd name="connsiteX39992" fmla="*/ 5264143 w 8079933"/>
              <a:gd name="connsiteY39992" fmla="*/ 2410427 h 4687251"/>
              <a:gd name="connsiteX39993" fmla="*/ 5268809 w 8079933"/>
              <a:gd name="connsiteY39993" fmla="*/ 2409778 h 4687251"/>
              <a:gd name="connsiteX39994" fmla="*/ 5270111 w 8079933"/>
              <a:gd name="connsiteY39994" fmla="*/ 2424070 h 4687251"/>
              <a:gd name="connsiteX39995" fmla="*/ 5278033 w 8079933"/>
              <a:gd name="connsiteY39995" fmla="*/ 2433706 h 4687251"/>
              <a:gd name="connsiteX39996" fmla="*/ 5278793 w 8079933"/>
              <a:gd name="connsiteY39996" fmla="*/ 2437062 h 4687251"/>
              <a:gd name="connsiteX39997" fmla="*/ 5292140 w 8079933"/>
              <a:gd name="connsiteY39997" fmla="*/ 2448214 h 4687251"/>
              <a:gd name="connsiteX39998" fmla="*/ 5298109 w 8079933"/>
              <a:gd name="connsiteY39998" fmla="*/ 2449838 h 4687251"/>
              <a:gd name="connsiteX39999" fmla="*/ 5301255 w 8079933"/>
              <a:gd name="connsiteY39999" fmla="*/ 2448430 h 4687251"/>
              <a:gd name="connsiteX40000" fmla="*/ 5305705 w 8079933"/>
              <a:gd name="connsiteY40000" fmla="*/ 2448214 h 4687251"/>
              <a:gd name="connsiteX40001" fmla="*/ 5316448 w 8079933"/>
              <a:gd name="connsiteY40001" fmla="*/ 2450163 h 4687251"/>
              <a:gd name="connsiteX40002" fmla="*/ 5322308 w 8079933"/>
              <a:gd name="connsiteY40002" fmla="*/ 2448972 h 4687251"/>
              <a:gd name="connsiteX40003" fmla="*/ 5325563 w 8079933"/>
              <a:gd name="connsiteY40003" fmla="*/ 2449080 h 4687251"/>
              <a:gd name="connsiteX40004" fmla="*/ 5332291 w 8079933"/>
              <a:gd name="connsiteY40004" fmla="*/ 2457958 h 4687251"/>
              <a:gd name="connsiteX40005" fmla="*/ 5334136 w 8079933"/>
              <a:gd name="connsiteY40005" fmla="*/ 2464130 h 4687251"/>
              <a:gd name="connsiteX40006" fmla="*/ 5338260 w 8079933"/>
              <a:gd name="connsiteY40006" fmla="*/ 2467919 h 4687251"/>
              <a:gd name="connsiteX40007" fmla="*/ 5340430 w 8079933"/>
              <a:gd name="connsiteY40007" fmla="*/ 2472250 h 4687251"/>
              <a:gd name="connsiteX40008" fmla="*/ 5349329 w 8079933"/>
              <a:gd name="connsiteY40008" fmla="*/ 2479396 h 4687251"/>
              <a:gd name="connsiteX40009" fmla="*/ 5353669 w 8079933"/>
              <a:gd name="connsiteY40009" fmla="*/ 2480154 h 4687251"/>
              <a:gd name="connsiteX40010" fmla="*/ 5355189 w 8079933"/>
              <a:gd name="connsiteY40010" fmla="*/ 2481886 h 4687251"/>
              <a:gd name="connsiteX40011" fmla="*/ 5354972 w 8079933"/>
              <a:gd name="connsiteY40011" fmla="*/ 2486542 h 4687251"/>
              <a:gd name="connsiteX40012" fmla="*/ 5352041 w 8079933"/>
              <a:gd name="connsiteY40012" fmla="*/ 2491738 h 4687251"/>
              <a:gd name="connsiteX40013" fmla="*/ 5352476 w 8079933"/>
              <a:gd name="connsiteY40013" fmla="*/ 2494770 h 4687251"/>
              <a:gd name="connsiteX40014" fmla="*/ 5351608 w 8079933"/>
              <a:gd name="connsiteY40014" fmla="*/ 2498343 h 4687251"/>
              <a:gd name="connsiteX40015" fmla="*/ 5342818 w 8079933"/>
              <a:gd name="connsiteY40015" fmla="*/ 2512418 h 4687251"/>
              <a:gd name="connsiteX40016" fmla="*/ 5336957 w 8079933"/>
              <a:gd name="connsiteY40016" fmla="*/ 2517615 h 4687251"/>
              <a:gd name="connsiteX40017" fmla="*/ 5334353 w 8079933"/>
              <a:gd name="connsiteY40017" fmla="*/ 2523245 h 4687251"/>
              <a:gd name="connsiteX40018" fmla="*/ 5331532 w 8079933"/>
              <a:gd name="connsiteY40018" fmla="*/ 2525627 h 4687251"/>
              <a:gd name="connsiteX40019" fmla="*/ 5328819 w 8079933"/>
              <a:gd name="connsiteY40019" fmla="*/ 2534722 h 4687251"/>
              <a:gd name="connsiteX40020" fmla="*/ 5326106 w 8079933"/>
              <a:gd name="connsiteY40020" fmla="*/ 2534505 h 4687251"/>
              <a:gd name="connsiteX40021" fmla="*/ 5323502 w 8079933"/>
              <a:gd name="connsiteY40021" fmla="*/ 2533098 h 4687251"/>
              <a:gd name="connsiteX40022" fmla="*/ 5324044 w 8079933"/>
              <a:gd name="connsiteY40022" fmla="*/ 2530499 h 4687251"/>
              <a:gd name="connsiteX40023" fmla="*/ 5325130 w 8079933"/>
              <a:gd name="connsiteY40023" fmla="*/ 2528117 h 4687251"/>
              <a:gd name="connsiteX40024" fmla="*/ 5322959 w 8079933"/>
              <a:gd name="connsiteY40024" fmla="*/ 2527360 h 4687251"/>
              <a:gd name="connsiteX40025" fmla="*/ 5320680 w 8079933"/>
              <a:gd name="connsiteY40025" fmla="*/ 2529200 h 4687251"/>
              <a:gd name="connsiteX40026" fmla="*/ 5317751 w 8079933"/>
              <a:gd name="connsiteY40026" fmla="*/ 2534505 h 4687251"/>
              <a:gd name="connsiteX40027" fmla="*/ 5316665 w 8079933"/>
              <a:gd name="connsiteY40027" fmla="*/ 2534722 h 4687251"/>
              <a:gd name="connsiteX40028" fmla="*/ 5318401 w 8079933"/>
              <a:gd name="connsiteY40028" fmla="*/ 2537754 h 4687251"/>
              <a:gd name="connsiteX40029" fmla="*/ 5315580 w 8079933"/>
              <a:gd name="connsiteY40029" fmla="*/ 2538511 h 4687251"/>
              <a:gd name="connsiteX40030" fmla="*/ 5311565 w 8079933"/>
              <a:gd name="connsiteY40030" fmla="*/ 2546199 h 4687251"/>
              <a:gd name="connsiteX40031" fmla="*/ 5311565 w 8079933"/>
              <a:gd name="connsiteY40031" fmla="*/ 2550313 h 4687251"/>
              <a:gd name="connsiteX40032" fmla="*/ 5310046 w 8079933"/>
              <a:gd name="connsiteY40032" fmla="*/ 2554102 h 4687251"/>
              <a:gd name="connsiteX40033" fmla="*/ 5311022 w 8079933"/>
              <a:gd name="connsiteY40033" fmla="*/ 2554427 h 4687251"/>
              <a:gd name="connsiteX40034" fmla="*/ 5313301 w 8079933"/>
              <a:gd name="connsiteY40034" fmla="*/ 2558758 h 4687251"/>
              <a:gd name="connsiteX40035" fmla="*/ 5311890 w 8079933"/>
              <a:gd name="connsiteY40035" fmla="*/ 2558974 h 4687251"/>
              <a:gd name="connsiteX40036" fmla="*/ 5314929 w 8079933"/>
              <a:gd name="connsiteY40036" fmla="*/ 2567528 h 4687251"/>
              <a:gd name="connsiteX40037" fmla="*/ 5316882 w 8079933"/>
              <a:gd name="connsiteY40037" fmla="*/ 2569368 h 4687251"/>
              <a:gd name="connsiteX40038" fmla="*/ 5316014 w 8079933"/>
              <a:gd name="connsiteY40038" fmla="*/ 2571750 h 4687251"/>
              <a:gd name="connsiteX40039" fmla="*/ 5304077 w 8079933"/>
              <a:gd name="connsiteY40039" fmla="*/ 2572725 h 4687251"/>
              <a:gd name="connsiteX40040" fmla="*/ 5301581 w 8079933"/>
              <a:gd name="connsiteY40040" fmla="*/ 2574349 h 4687251"/>
              <a:gd name="connsiteX40041" fmla="*/ 5298326 w 8079933"/>
              <a:gd name="connsiteY40041" fmla="*/ 2572833 h 4687251"/>
              <a:gd name="connsiteX40042" fmla="*/ 5292900 w 8079933"/>
              <a:gd name="connsiteY40042" fmla="*/ 2574241 h 4687251"/>
              <a:gd name="connsiteX40043" fmla="*/ 5284110 w 8079933"/>
              <a:gd name="connsiteY40043" fmla="*/ 2584851 h 4687251"/>
              <a:gd name="connsiteX40044" fmla="*/ 5284110 w 8079933"/>
              <a:gd name="connsiteY40044" fmla="*/ 2592214 h 4687251"/>
              <a:gd name="connsiteX40045" fmla="*/ 5281940 w 8079933"/>
              <a:gd name="connsiteY40045" fmla="*/ 2594163 h 4687251"/>
              <a:gd name="connsiteX40046" fmla="*/ 5277490 w 8079933"/>
              <a:gd name="connsiteY40046" fmla="*/ 2598818 h 4687251"/>
              <a:gd name="connsiteX40047" fmla="*/ 5274561 w 8079933"/>
              <a:gd name="connsiteY40047" fmla="*/ 2597627 h 4687251"/>
              <a:gd name="connsiteX40048" fmla="*/ 5268592 w 8079933"/>
              <a:gd name="connsiteY40048" fmla="*/ 2598602 h 4687251"/>
              <a:gd name="connsiteX40049" fmla="*/ 5260345 w 8079933"/>
              <a:gd name="connsiteY40049" fmla="*/ 2598385 h 4687251"/>
              <a:gd name="connsiteX40050" fmla="*/ 5258174 w 8079933"/>
              <a:gd name="connsiteY40050" fmla="*/ 2600659 h 4687251"/>
              <a:gd name="connsiteX40051" fmla="*/ 5254811 w 8079933"/>
              <a:gd name="connsiteY40051" fmla="*/ 2604015 h 4687251"/>
              <a:gd name="connsiteX40052" fmla="*/ 5255461 w 8079933"/>
              <a:gd name="connsiteY40052" fmla="*/ 2606289 h 4687251"/>
              <a:gd name="connsiteX40053" fmla="*/ 5255028 w 8079933"/>
              <a:gd name="connsiteY40053" fmla="*/ 2609320 h 4687251"/>
              <a:gd name="connsiteX40054" fmla="*/ 5257306 w 8079933"/>
              <a:gd name="connsiteY40054" fmla="*/ 2610512 h 4687251"/>
              <a:gd name="connsiteX40055" fmla="*/ 5256981 w 8079933"/>
              <a:gd name="connsiteY40055" fmla="*/ 2613326 h 4687251"/>
              <a:gd name="connsiteX40056" fmla="*/ 5255787 w 8079933"/>
              <a:gd name="connsiteY40056" fmla="*/ 2613651 h 4687251"/>
              <a:gd name="connsiteX40057" fmla="*/ 5256112 w 8079933"/>
              <a:gd name="connsiteY40057" fmla="*/ 2614626 h 4687251"/>
              <a:gd name="connsiteX40058" fmla="*/ 5250361 w 8079933"/>
              <a:gd name="connsiteY40058" fmla="*/ 2623179 h 4687251"/>
              <a:gd name="connsiteX40059" fmla="*/ 5247431 w 8079933"/>
              <a:gd name="connsiteY40059" fmla="*/ 2623395 h 4687251"/>
              <a:gd name="connsiteX40060" fmla="*/ 5243633 w 8079933"/>
              <a:gd name="connsiteY40060" fmla="*/ 2621122 h 4687251"/>
              <a:gd name="connsiteX40061" fmla="*/ 5239618 w 8079933"/>
              <a:gd name="connsiteY40061" fmla="*/ 2621879 h 4687251"/>
              <a:gd name="connsiteX40062" fmla="*/ 5234843 w 8079933"/>
              <a:gd name="connsiteY40062" fmla="*/ 2621555 h 4687251"/>
              <a:gd name="connsiteX40063" fmla="*/ 5226379 w 8079933"/>
              <a:gd name="connsiteY40063" fmla="*/ 2626102 h 4687251"/>
              <a:gd name="connsiteX40064" fmla="*/ 5221062 w 8079933"/>
              <a:gd name="connsiteY40064" fmla="*/ 2625994 h 4687251"/>
              <a:gd name="connsiteX40065" fmla="*/ 5218023 w 8079933"/>
              <a:gd name="connsiteY40065" fmla="*/ 2630975 h 4687251"/>
              <a:gd name="connsiteX40066" fmla="*/ 5213357 w 8079933"/>
              <a:gd name="connsiteY40066" fmla="*/ 2630975 h 4687251"/>
              <a:gd name="connsiteX40067" fmla="*/ 5212055 w 8079933"/>
              <a:gd name="connsiteY40067" fmla="*/ 2630108 h 4687251"/>
              <a:gd name="connsiteX40068" fmla="*/ 5208799 w 8079933"/>
              <a:gd name="connsiteY40068" fmla="*/ 2630866 h 4687251"/>
              <a:gd name="connsiteX40069" fmla="*/ 5203482 w 8079933"/>
              <a:gd name="connsiteY40069" fmla="*/ 2632273 h 4687251"/>
              <a:gd name="connsiteX40070" fmla="*/ 5194367 w 8079933"/>
              <a:gd name="connsiteY40070" fmla="*/ 2634222 h 4687251"/>
              <a:gd name="connsiteX40071" fmla="*/ 5186228 w 8079933"/>
              <a:gd name="connsiteY40071" fmla="*/ 2644183 h 4687251"/>
              <a:gd name="connsiteX40072" fmla="*/ 5185468 w 8079933"/>
              <a:gd name="connsiteY40072" fmla="*/ 2650138 h 4687251"/>
              <a:gd name="connsiteX40073" fmla="*/ 5187422 w 8079933"/>
              <a:gd name="connsiteY40073" fmla="*/ 2652087 h 4687251"/>
              <a:gd name="connsiteX40074" fmla="*/ 5186662 w 8079933"/>
              <a:gd name="connsiteY40074" fmla="*/ 2653495 h 4687251"/>
              <a:gd name="connsiteX40075" fmla="*/ 5187638 w 8079933"/>
              <a:gd name="connsiteY40075" fmla="*/ 2656201 h 4687251"/>
              <a:gd name="connsiteX40076" fmla="*/ 5177329 w 8079933"/>
              <a:gd name="connsiteY40076" fmla="*/ 2658367 h 4687251"/>
              <a:gd name="connsiteX40077" fmla="*/ 5172663 w 8079933"/>
              <a:gd name="connsiteY40077" fmla="*/ 2662806 h 4687251"/>
              <a:gd name="connsiteX40078" fmla="*/ 5163222 w 8079933"/>
              <a:gd name="connsiteY40078" fmla="*/ 2667461 h 4687251"/>
              <a:gd name="connsiteX40079" fmla="*/ 5148355 w 8079933"/>
              <a:gd name="connsiteY40079" fmla="*/ 2670168 h 4687251"/>
              <a:gd name="connsiteX40080" fmla="*/ 5146077 w 8079933"/>
              <a:gd name="connsiteY40080" fmla="*/ 2672658 h 4687251"/>
              <a:gd name="connsiteX40081" fmla="*/ 5119707 w 8079933"/>
              <a:gd name="connsiteY40081" fmla="*/ 2680454 h 4687251"/>
              <a:gd name="connsiteX40082" fmla="*/ 5117102 w 8079933"/>
              <a:gd name="connsiteY40082" fmla="*/ 2680129 h 4687251"/>
              <a:gd name="connsiteX40083" fmla="*/ 5112653 w 8079933"/>
              <a:gd name="connsiteY40083" fmla="*/ 2682403 h 4687251"/>
              <a:gd name="connsiteX40084" fmla="*/ 5107770 w 8079933"/>
              <a:gd name="connsiteY40084" fmla="*/ 2690415 h 4687251"/>
              <a:gd name="connsiteX40085" fmla="*/ 5100825 w 8079933"/>
              <a:gd name="connsiteY40085" fmla="*/ 2696262 h 4687251"/>
              <a:gd name="connsiteX40086" fmla="*/ 5097461 w 8079933"/>
              <a:gd name="connsiteY40086" fmla="*/ 2696262 h 4687251"/>
              <a:gd name="connsiteX40087" fmla="*/ 5096050 w 8079933"/>
              <a:gd name="connsiteY40087" fmla="*/ 2694854 h 4687251"/>
              <a:gd name="connsiteX40088" fmla="*/ 5093771 w 8079933"/>
              <a:gd name="connsiteY40088" fmla="*/ 2697019 h 4687251"/>
              <a:gd name="connsiteX40089" fmla="*/ 5090298 w 8079933"/>
              <a:gd name="connsiteY40089" fmla="*/ 2697669 h 4687251"/>
              <a:gd name="connsiteX40090" fmla="*/ 5087369 w 8079933"/>
              <a:gd name="connsiteY40090" fmla="*/ 2695395 h 4687251"/>
              <a:gd name="connsiteX40091" fmla="*/ 5083679 w 8079933"/>
              <a:gd name="connsiteY40091" fmla="*/ 2695287 h 4687251"/>
              <a:gd name="connsiteX40092" fmla="*/ 5075106 w 8079933"/>
              <a:gd name="connsiteY40092" fmla="*/ 2701891 h 4687251"/>
              <a:gd name="connsiteX40093" fmla="*/ 5074564 w 8079933"/>
              <a:gd name="connsiteY40093" fmla="*/ 2704815 h 4687251"/>
              <a:gd name="connsiteX40094" fmla="*/ 5071525 w 8079933"/>
              <a:gd name="connsiteY40094" fmla="*/ 2707305 h 4687251"/>
              <a:gd name="connsiteX40095" fmla="*/ 5062519 w 8079933"/>
              <a:gd name="connsiteY40095" fmla="*/ 2708172 h 4687251"/>
              <a:gd name="connsiteX40096" fmla="*/ 5051233 w 8079933"/>
              <a:gd name="connsiteY40096" fmla="*/ 2712502 h 4687251"/>
              <a:gd name="connsiteX40097" fmla="*/ 5046567 w 8079933"/>
              <a:gd name="connsiteY40097" fmla="*/ 2711527 h 4687251"/>
              <a:gd name="connsiteX40098" fmla="*/ 5045156 w 8079933"/>
              <a:gd name="connsiteY40098" fmla="*/ 2709687 h 4687251"/>
              <a:gd name="connsiteX40099" fmla="*/ 5038211 w 8079933"/>
              <a:gd name="connsiteY40099" fmla="*/ 2710011 h 4687251"/>
              <a:gd name="connsiteX40100" fmla="*/ 5037343 w 8079933"/>
              <a:gd name="connsiteY40100" fmla="*/ 2708604 h 4687251"/>
              <a:gd name="connsiteX40101" fmla="*/ 5033545 w 8079933"/>
              <a:gd name="connsiteY40101" fmla="*/ 2708388 h 4687251"/>
              <a:gd name="connsiteX40102" fmla="*/ 5030506 w 8079933"/>
              <a:gd name="connsiteY40102" fmla="*/ 2709362 h 4687251"/>
              <a:gd name="connsiteX40103" fmla="*/ 5024429 w 8079933"/>
              <a:gd name="connsiteY40103" fmla="*/ 2713152 h 4687251"/>
              <a:gd name="connsiteX40104" fmla="*/ 5021824 w 8079933"/>
              <a:gd name="connsiteY40104" fmla="*/ 2719431 h 4687251"/>
              <a:gd name="connsiteX40105" fmla="*/ 5019437 w 8079933"/>
              <a:gd name="connsiteY40105" fmla="*/ 2719756 h 4687251"/>
              <a:gd name="connsiteX40106" fmla="*/ 5014880 w 8079933"/>
              <a:gd name="connsiteY40106" fmla="*/ 2726036 h 4687251"/>
              <a:gd name="connsiteX40107" fmla="*/ 5010430 w 8079933"/>
              <a:gd name="connsiteY40107" fmla="*/ 2727876 h 4687251"/>
              <a:gd name="connsiteX40108" fmla="*/ 5007826 w 8079933"/>
              <a:gd name="connsiteY40108" fmla="*/ 2725386 h 4687251"/>
              <a:gd name="connsiteX40109" fmla="*/ 5003160 w 8079933"/>
              <a:gd name="connsiteY40109" fmla="*/ 2725386 h 4687251"/>
              <a:gd name="connsiteX40110" fmla="*/ 4998277 w 8079933"/>
              <a:gd name="connsiteY40110" fmla="*/ 2729501 h 4687251"/>
              <a:gd name="connsiteX40111" fmla="*/ 4994262 w 8079933"/>
              <a:gd name="connsiteY40111" fmla="*/ 2730475 h 4687251"/>
              <a:gd name="connsiteX40112" fmla="*/ 4987642 w 8079933"/>
              <a:gd name="connsiteY40112" fmla="*/ 2728309 h 4687251"/>
              <a:gd name="connsiteX40113" fmla="*/ 4986340 w 8079933"/>
              <a:gd name="connsiteY40113" fmla="*/ 2729825 h 4687251"/>
              <a:gd name="connsiteX40114" fmla="*/ 4981456 w 8079933"/>
              <a:gd name="connsiteY40114" fmla="*/ 2730583 h 4687251"/>
              <a:gd name="connsiteX40115" fmla="*/ 4979503 w 8079933"/>
              <a:gd name="connsiteY40115" fmla="*/ 2726578 h 4687251"/>
              <a:gd name="connsiteX40116" fmla="*/ 4978526 w 8079933"/>
              <a:gd name="connsiteY40116" fmla="*/ 2720623 h 4687251"/>
              <a:gd name="connsiteX40117" fmla="*/ 4973535 w 8079933"/>
              <a:gd name="connsiteY40117" fmla="*/ 2715209 h 4687251"/>
              <a:gd name="connsiteX40118" fmla="*/ 4970930 w 8079933"/>
              <a:gd name="connsiteY40118" fmla="*/ 2708821 h 4687251"/>
              <a:gd name="connsiteX40119" fmla="*/ 4973535 w 8079933"/>
              <a:gd name="connsiteY40119" fmla="*/ 2707088 h 4687251"/>
              <a:gd name="connsiteX40120" fmla="*/ 4973100 w 8079933"/>
              <a:gd name="connsiteY40120" fmla="*/ 2700484 h 4687251"/>
              <a:gd name="connsiteX40121" fmla="*/ 4966915 w 8079933"/>
              <a:gd name="connsiteY40121" fmla="*/ 2694854 h 4687251"/>
              <a:gd name="connsiteX40122" fmla="*/ 4963877 w 8079933"/>
              <a:gd name="connsiteY40122" fmla="*/ 2672658 h 4687251"/>
              <a:gd name="connsiteX40123" fmla="*/ 4958125 w 8079933"/>
              <a:gd name="connsiteY40123" fmla="*/ 2665296 h 4687251"/>
              <a:gd name="connsiteX40124" fmla="*/ 4957908 w 8079933"/>
              <a:gd name="connsiteY40124" fmla="*/ 2661723 h 4687251"/>
              <a:gd name="connsiteX40125" fmla="*/ 4955412 w 8079933"/>
              <a:gd name="connsiteY40125" fmla="*/ 2661723 h 4687251"/>
              <a:gd name="connsiteX40126" fmla="*/ 4953785 w 8079933"/>
              <a:gd name="connsiteY40126" fmla="*/ 2658258 h 4687251"/>
              <a:gd name="connsiteX40127" fmla="*/ 4957583 w 8079933"/>
              <a:gd name="connsiteY40127" fmla="*/ 2659341 h 4687251"/>
              <a:gd name="connsiteX40128" fmla="*/ 4957583 w 8079933"/>
              <a:gd name="connsiteY40128" fmla="*/ 2656742 h 4687251"/>
              <a:gd name="connsiteX40129" fmla="*/ 4960296 w 8079933"/>
              <a:gd name="connsiteY40129" fmla="*/ 2656742 h 4687251"/>
              <a:gd name="connsiteX40130" fmla="*/ 4960621 w 8079933"/>
              <a:gd name="connsiteY40130" fmla="*/ 2649597 h 4687251"/>
              <a:gd name="connsiteX40131" fmla="*/ 4958451 w 8079933"/>
              <a:gd name="connsiteY40131" fmla="*/ 2637471 h 4687251"/>
              <a:gd name="connsiteX40132" fmla="*/ 4956932 w 8079933"/>
              <a:gd name="connsiteY40132" fmla="*/ 2633140 h 4687251"/>
              <a:gd name="connsiteX40133" fmla="*/ 4960646 w 8079933"/>
              <a:gd name="connsiteY40133" fmla="*/ 2633425 h 4687251"/>
              <a:gd name="connsiteX40134" fmla="*/ 4956932 w 8079933"/>
              <a:gd name="connsiteY40134" fmla="*/ 2633140 h 4687251"/>
              <a:gd name="connsiteX40135" fmla="*/ 4952699 w 8079933"/>
              <a:gd name="connsiteY40135" fmla="*/ 2620905 h 4687251"/>
              <a:gd name="connsiteX40136" fmla="*/ 4945103 w 8079933"/>
              <a:gd name="connsiteY40136" fmla="*/ 2618740 h 4687251"/>
              <a:gd name="connsiteX40137" fmla="*/ 4943475 w 8079933"/>
              <a:gd name="connsiteY40137" fmla="*/ 2608454 h 4687251"/>
              <a:gd name="connsiteX40138" fmla="*/ 4940762 w 8079933"/>
              <a:gd name="connsiteY40138" fmla="*/ 2608454 h 4687251"/>
              <a:gd name="connsiteX40139" fmla="*/ 4922640 w 8079933"/>
              <a:gd name="connsiteY40139" fmla="*/ 2590265 h 4687251"/>
              <a:gd name="connsiteX40140" fmla="*/ 4922315 w 8079933"/>
              <a:gd name="connsiteY40140" fmla="*/ 2584093 h 4687251"/>
              <a:gd name="connsiteX40141" fmla="*/ 4917215 w 8079933"/>
              <a:gd name="connsiteY40141" fmla="*/ 2581061 h 4687251"/>
              <a:gd name="connsiteX40142" fmla="*/ 4911680 w 8079933"/>
              <a:gd name="connsiteY40142" fmla="*/ 2560490 h 4687251"/>
              <a:gd name="connsiteX40143" fmla="*/ 4908533 w 8079933"/>
              <a:gd name="connsiteY40143" fmla="*/ 2559191 h 4687251"/>
              <a:gd name="connsiteX40144" fmla="*/ 4909292 w 8079933"/>
              <a:gd name="connsiteY40144" fmla="*/ 2555726 h 4687251"/>
              <a:gd name="connsiteX40145" fmla="*/ 4903324 w 8079933"/>
              <a:gd name="connsiteY40145" fmla="*/ 2554643 h 4687251"/>
              <a:gd name="connsiteX40146" fmla="*/ 4903107 w 8079933"/>
              <a:gd name="connsiteY40146" fmla="*/ 2551071 h 4687251"/>
              <a:gd name="connsiteX40147" fmla="*/ 4896053 w 8079933"/>
              <a:gd name="connsiteY40147" fmla="*/ 2545116 h 4687251"/>
              <a:gd name="connsiteX40148" fmla="*/ 4893775 w 8079933"/>
              <a:gd name="connsiteY40148" fmla="*/ 2545116 h 4687251"/>
              <a:gd name="connsiteX40149" fmla="*/ 4890519 w 8079933"/>
              <a:gd name="connsiteY40149" fmla="*/ 2540461 h 4687251"/>
              <a:gd name="connsiteX40150" fmla="*/ 4885636 w 8079933"/>
              <a:gd name="connsiteY40150" fmla="*/ 2540027 h 4687251"/>
              <a:gd name="connsiteX40151" fmla="*/ 4881621 w 8079933"/>
              <a:gd name="connsiteY40151" fmla="*/ 2538295 h 4687251"/>
              <a:gd name="connsiteX40152" fmla="*/ 4869467 w 8079933"/>
              <a:gd name="connsiteY40152" fmla="*/ 2525411 h 4687251"/>
              <a:gd name="connsiteX40153" fmla="*/ 4868707 w 8079933"/>
              <a:gd name="connsiteY40153" fmla="*/ 2522055 h 4687251"/>
              <a:gd name="connsiteX40154" fmla="*/ 4864367 w 8079933"/>
              <a:gd name="connsiteY40154" fmla="*/ 2518265 h 4687251"/>
              <a:gd name="connsiteX40155" fmla="*/ 4863390 w 8079933"/>
              <a:gd name="connsiteY40155" fmla="*/ 2509170 h 4687251"/>
              <a:gd name="connsiteX40156" fmla="*/ 4861003 w 8079933"/>
              <a:gd name="connsiteY40156" fmla="*/ 2500508 h 4687251"/>
              <a:gd name="connsiteX40157" fmla="*/ 4859267 w 8079933"/>
              <a:gd name="connsiteY40157" fmla="*/ 2496719 h 4687251"/>
              <a:gd name="connsiteX40158" fmla="*/ 4861003 w 8079933"/>
              <a:gd name="connsiteY40158" fmla="*/ 2495095 h 4687251"/>
              <a:gd name="connsiteX40159" fmla="*/ 4862848 w 8079933"/>
              <a:gd name="connsiteY40159" fmla="*/ 2487299 h 4687251"/>
              <a:gd name="connsiteX40160" fmla="*/ 4861437 w 8079933"/>
              <a:gd name="connsiteY40160" fmla="*/ 2484701 h 4687251"/>
              <a:gd name="connsiteX40161" fmla="*/ 4859918 w 8079933"/>
              <a:gd name="connsiteY40161" fmla="*/ 2476364 h 4687251"/>
              <a:gd name="connsiteX40162" fmla="*/ 4855252 w 8079933"/>
              <a:gd name="connsiteY40162" fmla="*/ 2472250 h 4687251"/>
              <a:gd name="connsiteX40163" fmla="*/ 4853190 w 8079933"/>
              <a:gd name="connsiteY40163" fmla="*/ 2464130 h 4687251"/>
              <a:gd name="connsiteX40164" fmla="*/ 4850910 w 8079933"/>
              <a:gd name="connsiteY40164" fmla="*/ 2462072 h 4687251"/>
              <a:gd name="connsiteX40165" fmla="*/ 4850151 w 8079933"/>
              <a:gd name="connsiteY40165" fmla="*/ 2456117 h 4687251"/>
              <a:gd name="connsiteX40166" fmla="*/ 4848306 w 8079933"/>
              <a:gd name="connsiteY40166" fmla="*/ 2455793 h 4687251"/>
              <a:gd name="connsiteX40167" fmla="*/ 4846570 w 8079933"/>
              <a:gd name="connsiteY40167" fmla="*/ 2450595 h 4687251"/>
              <a:gd name="connsiteX40168" fmla="*/ 4840602 w 8079933"/>
              <a:gd name="connsiteY40168" fmla="*/ 2444424 h 4687251"/>
              <a:gd name="connsiteX40169" fmla="*/ 4833005 w 8079933"/>
              <a:gd name="connsiteY40169" fmla="*/ 2440960 h 4687251"/>
              <a:gd name="connsiteX40170" fmla="*/ 4827905 w 8079933"/>
              <a:gd name="connsiteY40170" fmla="*/ 2436846 h 4687251"/>
              <a:gd name="connsiteX40171" fmla="*/ 4824324 w 8079933"/>
              <a:gd name="connsiteY40171" fmla="*/ 2440418 h 4687251"/>
              <a:gd name="connsiteX40172" fmla="*/ 4821069 w 8079933"/>
              <a:gd name="connsiteY40172" fmla="*/ 2438469 h 4687251"/>
              <a:gd name="connsiteX40173" fmla="*/ 4820851 w 8079933"/>
              <a:gd name="connsiteY40173" fmla="*/ 2434464 h 4687251"/>
              <a:gd name="connsiteX40174" fmla="*/ 4815752 w 8079933"/>
              <a:gd name="connsiteY40174" fmla="*/ 2430891 h 4687251"/>
              <a:gd name="connsiteX40175" fmla="*/ 4815752 w 8079933"/>
              <a:gd name="connsiteY40175" fmla="*/ 2427426 h 4687251"/>
              <a:gd name="connsiteX40176" fmla="*/ 4817271 w 8079933"/>
              <a:gd name="connsiteY40176" fmla="*/ 2424394 h 4687251"/>
              <a:gd name="connsiteX40177" fmla="*/ 4815752 w 8079933"/>
              <a:gd name="connsiteY40177" fmla="*/ 2417140 h 4687251"/>
              <a:gd name="connsiteX40178" fmla="*/ 4812387 w 8079933"/>
              <a:gd name="connsiteY40178" fmla="*/ 2414867 h 4687251"/>
              <a:gd name="connsiteX40179" fmla="*/ 4808047 w 8079933"/>
              <a:gd name="connsiteY40179" fmla="*/ 2403498 h 4687251"/>
              <a:gd name="connsiteX40180" fmla="*/ 4802621 w 8079933"/>
              <a:gd name="connsiteY40180" fmla="*/ 2401116 h 4687251"/>
              <a:gd name="connsiteX40181" fmla="*/ 4800233 w 8079933"/>
              <a:gd name="connsiteY40181" fmla="*/ 2397868 h 4687251"/>
              <a:gd name="connsiteX40182" fmla="*/ 4799148 w 8079933"/>
              <a:gd name="connsiteY40182" fmla="*/ 2391913 h 4687251"/>
              <a:gd name="connsiteX40183" fmla="*/ 4795350 w 8079933"/>
              <a:gd name="connsiteY40183" fmla="*/ 2391155 h 4687251"/>
              <a:gd name="connsiteX40184" fmla="*/ 4793506 w 8079933"/>
              <a:gd name="connsiteY40184" fmla="*/ 2387041 h 4687251"/>
              <a:gd name="connsiteX40185" fmla="*/ 4793397 w 8079933"/>
              <a:gd name="connsiteY40185" fmla="*/ 2383251 h 4687251"/>
              <a:gd name="connsiteX40186" fmla="*/ 4786452 w 8079933"/>
              <a:gd name="connsiteY40186" fmla="*/ 2371450 h 4687251"/>
              <a:gd name="connsiteX40187" fmla="*/ 4783956 w 8079933"/>
              <a:gd name="connsiteY40187" fmla="*/ 2371341 h 4687251"/>
              <a:gd name="connsiteX40188" fmla="*/ 4778747 w 8079933"/>
              <a:gd name="connsiteY40188" fmla="*/ 2366686 h 4687251"/>
              <a:gd name="connsiteX40189" fmla="*/ 4777771 w 8079933"/>
              <a:gd name="connsiteY40189" fmla="*/ 2361706 h 4687251"/>
              <a:gd name="connsiteX40190" fmla="*/ 4775492 w 8079933"/>
              <a:gd name="connsiteY40190" fmla="*/ 2360731 h 4687251"/>
              <a:gd name="connsiteX40191" fmla="*/ 4774407 w 8079933"/>
              <a:gd name="connsiteY40191" fmla="*/ 2355643 h 4687251"/>
              <a:gd name="connsiteX40192" fmla="*/ 4763881 w 8079933"/>
              <a:gd name="connsiteY40192" fmla="*/ 2343949 h 4687251"/>
              <a:gd name="connsiteX40193" fmla="*/ 4765291 w 8079933"/>
              <a:gd name="connsiteY40193" fmla="*/ 2342975 h 4687251"/>
              <a:gd name="connsiteX40194" fmla="*/ 4759865 w 8079933"/>
              <a:gd name="connsiteY40194" fmla="*/ 2339943 h 4687251"/>
              <a:gd name="connsiteX40195" fmla="*/ 4756827 w 8079933"/>
              <a:gd name="connsiteY40195" fmla="*/ 2342109 h 4687251"/>
              <a:gd name="connsiteX40196" fmla="*/ 4755742 w 8079933"/>
              <a:gd name="connsiteY40196" fmla="*/ 2340268 h 4687251"/>
              <a:gd name="connsiteX40197" fmla="*/ 4752269 w 8079933"/>
              <a:gd name="connsiteY40197" fmla="*/ 2341567 h 4687251"/>
              <a:gd name="connsiteX40198" fmla="*/ 4751727 w 8079933"/>
              <a:gd name="connsiteY40198" fmla="*/ 2338968 h 4687251"/>
              <a:gd name="connsiteX40199" fmla="*/ 4754331 w 8079933"/>
              <a:gd name="connsiteY40199" fmla="*/ 2332148 h 4687251"/>
              <a:gd name="connsiteX40200" fmla="*/ 4753897 w 8079933"/>
              <a:gd name="connsiteY40200" fmla="*/ 2322078 h 4687251"/>
              <a:gd name="connsiteX40201" fmla="*/ 4754549 w 8079933"/>
              <a:gd name="connsiteY40201" fmla="*/ 2313309 h 4687251"/>
              <a:gd name="connsiteX40202" fmla="*/ 4762035 w 8079933"/>
              <a:gd name="connsiteY40202" fmla="*/ 2312984 h 4687251"/>
              <a:gd name="connsiteX40203" fmla="*/ 4754548 w 8079933"/>
              <a:gd name="connsiteY40203" fmla="*/ 2313309 h 4687251"/>
              <a:gd name="connsiteX40204" fmla="*/ 4754656 w 8079933"/>
              <a:gd name="connsiteY40204" fmla="*/ 2312335 h 4687251"/>
              <a:gd name="connsiteX40205" fmla="*/ 4756718 w 8079933"/>
              <a:gd name="connsiteY40205" fmla="*/ 2306380 h 4687251"/>
              <a:gd name="connsiteX40206" fmla="*/ 4756501 w 8079933"/>
              <a:gd name="connsiteY40206" fmla="*/ 2304106 h 4687251"/>
              <a:gd name="connsiteX40207" fmla="*/ 4756393 w 8079933"/>
              <a:gd name="connsiteY40207" fmla="*/ 2304323 h 4687251"/>
              <a:gd name="connsiteX40208" fmla="*/ 4756501 w 8079933"/>
              <a:gd name="connsiteY40208" fmla="*/ 2303673 h 4687251"/>
              <a:gd name="connsiteX40209" fmla="*/ 4756501 w 8079933"/>
              <a:gd name="connsiteY40209" fmla="*/ 2303673 h 4687251"/>
              <a:gd name="connsiteX40210" fmla="*/ 4756392 w 8079933"/>
              <a:gd name="connsiteY40210" fmla="*/ 2304323 h 4687251"/>
              <a:gd name="connsiteX40211" fmla="*/ 4753570 w 8079933"/>
              <a:gd name="connsiteY40211" fmla="*/ 2308762 h 4687251"/>
              <a:gd name="connsiteX40212" fmla="*/ 4753570 w 8079933"/>
              <a:gd name="connsiteY40212" fmla="*/ 2308761 h 4687251"/>
              <a:gd name="connsiteX40213" fmla="*/ 4752702 w 8079933"/>
              <a:gd name="connsiteY40213" fmla="*/ 2310169 h 4687251"/>
              <a:gd name="connsiteX40214" fmla="*/ 4749013 w 8079933"/>
              <a:gd name="connsiteY40214" fmla="*/ 2323378 h 4687251"/>
              <a:gd name="connsiteX40215" fmla="*/ 4748470 w 8079933"/>
              <a:gd name="connsiteY40215" fmla="*/ 2328359 h 4687251"/>
              <a:gd name="connsiteX40216" fmla="*/ 4745649 w 8079933"/>
              <a:gd name="connsiteY40216" fmla="*/ 2335612 h 4687251"/>
              <a:gd name="connsiteX40217" fmla="*/ 4747819 w 8079933"/>
              <a:gd name="connsiteY40217" fmla="*/ 2337778 h 4687251"/>
              <a:gd name="connsiteX40218" fmla="*/ 4745974 w 8079933"/>
              <a:gd name="connsiteY40218" fmla="*/ 2346223 h 4687251"/>
              <a:gd name="connsiteX40219" fmla="*/ 4742719 w 8079933"/>
              <a:gd name="connsiteY40219" fmla="*/ 2349363 h 4687251"/>
              <a:gd name="connsiteX40220" fmla="*/ 4741851 w 8079933"/>
              <a:gd name="connsiteY40220" fmla="*/ 2352178 h 4687251"/>
              <a:gd name="connsiteX40221" fmla="*/ 4741091 w 8079933"/>
              <a:gd name="connsiteY40221" fmla="*/ 2350771 h 4687251"/>
              <a:gd name="connsiteX40222" fmla="*/ 4734797 w 8079933"/>
              <a:gd name="connsiteY40222" fmla="*/ 2347306 h 4687251"/>
              <a:gd name="connsiteX40223" fmla="*/ 4723403 w 8079933"/>
              <a:gd name="connsiteY40223" fmla="*/ 2335288 h 4687251"/>
              <a:gd name="connsiteX40224" fmla="*/ 4721884 w 8079933"/>
              <a:gd name="connsiteY40224" fmla="*/ 2330740 h 4687251"/>
              <a:gd name="connsiteX40225" fmla="*/ 4715590 w 8079933"/>
              <a:gd name="connsiteY40225" fmla="*/ 2327817 h 4687251"/>
              <a:gd name="connsiteX40226" fmla="*/ 4713202 w 8079933"/>
              <a:gd name="connsiteY40226" fmla="*/ 2323161 h 4687251"/>
              <a:gd name="connsiteX40227" fmla="*/ 4713202 w 8079933"/>
              <a:gd name="connsiteY40227" fmla="*/ 2318506 h 4687251"/>
              <a:gd name="connsiteX40228" fmla="*/ 4703979 w 8079933"/>
              <a:gd name="connsiteY40228" fmla="*/ 2310710 h 4687251"/>
              <a:gd name="connsiteX40229" fmla="*/ 4703436 w 8079933"/>
              <a:gd name="connsiteY40229" fmla="*/ 2307679 h 4687251"/>
              <a:gd name="connsiteX40230" fmla="*/ 4701266 w 8079933"/>
              <a:gd name="connsiteY40230" fmla="*/ 2305080 h 4687251"/>
              <a:gd name="connsiteX40231" fmla="*/ 4699638 w 8079933"/>
              <a:gd name="connsiteY40231" fmla="*/ 2299017 h 4687251"/>
              <a:gd name="connsiteX40232" fmla="*/ 4697359 w 8079933"/>
              <a:gd name="connsiteY40232" fmla="*/ 2299017 h 4687251"/>
              <a:gd name="connsiteX40233" fmla="*/ 4696382 w 8079933"/>
              <a:gd name="connsiteY40233" fmla="*/ 2297502 h 4687251"/>
              <a:gd name="connsiteX40234" fmla="*/ 4695406 w 8079933"/>
              <a:gd name="connsiteY40234" fmla="*/ 2299125 h 4687251"/>
              <a:gd name="connsiteX40235" fmla="*/ 4695732 w 8079933"/>
              <a:gd name="connsiteY40235" fmla="*/ 2302373 h 4687251"/>
              <a:gd name="connsiteX40236" fmla="*/ 4695189 w 8079933"/>
              <a:gd name="connsiteY40236" fmla="*/ 2305622 h 4687251"/>
              <a:gd name="connsiteX40237" fmla="*/ 4700180 w 8079933"/>
              <a:gd name="connsiteY40237" fmla="*/ 2312118 h 4687251"/>
              <a:gd name="connsiteX40238" fmla="*/ 4700180 w 8079933"/>
              <a:gd name="connsiteY40238" fmla="*/ 2317531 h 4687251"/>
              <a:gd name="connsiteX40239" fmla="*/ 4709079 w 8079933"/>
              <a:gd name="connsiteY40239" fmla="*/ 2328034 h 4687251"/>
              <a:gd name="connsiteX40240" fmla="*/ 4710164 w 8079933"/>
              <a:gd name="connsiteY40240" fmla="*/ 2331823 h 4687251"/>
              <a:gd name="connsiteX40241" fmla="*/ 4724054 w 8079933"/>
              <a:gd name="connsiteY40241" fmla="*/ 2343516 h 4687251"/>
              <a:gd name="connsiteX40242" fmla="*/ 4726116 w 8079933"/>
              <a:gd name="connsiteY40242" fmla="*/ 2347306 h 4687251"/>
              <a:gd name="connsiteX40243" fmla="*/ 4725139 w 8079933"/>
              <a:gd name="connsiteY40243" fmla="*/ 2351095 h 4687251"/>
              <a:gd name="connsiteX40244" fmla="*/ 4725573 w 8079933"/>
              <a:gd name="connsiteY40244" fmla="*/ 2354560 h 4687251"/>
              <a:gd name="connsiteX40245" fmla="*/ 4733712 w 8079933"/>
              <a:gd name="connsiteY40245" fmla="*/ 2363330 h 4687251"/>
              <a:gd name="connsiteX40246" fmla="*/ 4733712 w 8079933"/>
              <a:gd name="connsiteY40246" fmla="*/ 2366145 h 4687251"/>
              <a:gd name="connsiteX40247" fmla="*/ 4736208 w 8079933"/>
              <a:gd name="connsiteY40247" fmla="*/ 2369177 h 4687251"/>
              <a:gd name="connsiteX40248" fmla="*/ 4737076 w 8079933"/>
              <a:gd name="connsiteY40248" fmla="*/ 2378379 h 4687251"/>
              <a:gd name="connsiteX40249" fmla="*/ 4739680 w 8079933"/>
              <a:gd name="connsiteY40249" fmla="*/ 2382277 h 4687251"/>
              <a:gd name="connsiteX40250" fmla="*/ 4739463 w 8079933"/>
              <a:gd name="connsiteY40250" fmla="*/ 2387366 h 4687251"/>
              <a:gd name="connsiteX40251" fmla="*/ 4754439 w 8079933"/>
              <a:gd name="connsiteY40251" fmla="*/ 2409345 h 4687251"/>
              <a:gd name="connsiteX40252" fmla="*/ 4755524 w 8079933"/>
              <a:gd name="connsiteY40252" fmla="*/ 2416058 h 4687251"/>
              <a:gd name="connsiteX40253" fmla="*/ 4759539 w 8079933"/>
              <a:gd name="connsiteY40253" fmla="*/ 2418656 h 4687251"/>
              <a:gd name="connsiteX40254" fmla="*/ 4769089 w 8079933"/>
              <a:gd name="connsiteY40254" fmla="*/ 2432515 h 4687251"/>
              <a:gd name="connsiteX40255" fmla="*/ 4771151 w 8079933"/>
              <a:gd name="connsiteY40255" fmla="*/ 2438903 h 4687251"/>
              <a:gd name="connsiteX40256" fmla="*/ 4773864 w 8079933"/>
              <a:gd name="connsiteY40256" fmla="*/ 2442151 h 4687251"/>
              <a:gd name="connsiteX40257" fmla="*/ 4774080 w 8079933"/>
              <a:gd name="connsiteY40257" fmla="*/ 2440527 h 4687251"/>
              <a:gd name="connsiteX40258" fmla="*/ 4775708 w 8079933"/>
              <a:gd name="connsiteY40258" fmla="*/ 2441718 h 4687251"/>
              <a:gd name="connsiteX40259" fmla="*/ 4779615 w 8079933"/>
              <a:gd name="connsiteY40259" fmla="*/ 2447673 h 4687251"/>
              <a:gd name="connsiteX40260" fmla="*/ 4781893 w 8079933"/>
              <a:gd name="connsiteY40260" fmla="*/ 2448106 h 4687251"/>
              <a:gd name="connsiteX40261" fmla="*/ 4784606 w 8079933"/>
              <a:gd name="connsiteY40261" fmla="*/ 2451029 h 4687251"/>
              <a:gd name="connsiteX40262" fmla="*/ 4777553 w 8079933"/>
              <a:gd name="connsiteY40262" fmla="*/ 2450596 h 4687251"/>
              <a:gd name="connsiteX40263" fmla="*/ 4775708 w 8079933"/>
              <a:gd name="connsiteY40263" fmla="*/ 2449080 h 4687251"/>
              <a:gd name="connsiteX40264" fmla="*/ 4775274 w 8079933"/>
              <a:gd name="connsiteY40264" fmla="*/ 2451245 h 4687251"/>
              <a:gd name="connsiteX40265" fmla="*/ 4776793 w 8079933"/>
              <a:gd name="connsiteY40265" fmla="*/ 2454386 h 4687251"/>
              <a:gd name="connsiteX40266" fmla="*/ 4777118 w 8079933"/>
              <a:gd name="connsiteY40266" fmla="*/ 2460340 h 4687251"/>
              <a:gd name="connsiteX40267" fmla="*/ 4776250 w 8079933"/>
              <a:gd name="connsiteY40267" fmla="*/ 2463588 h 4687251"/>
              <a:gd name="connsiteX40268" fmla="*/ 4779940 w 8079933"/>
              <a:gd name="connsiteY40268" fmla="*/ 2476039 h 4687251"/>
              <a:gd name="connsiteX40269" fmla="*/ 4787319 w 8079933"/>
              <a:gd name="connsiteY40269" fmla="*/ 2480804 h 4687251"/>
              <a:gd name="connsiteX40270" fmla="*/ 4791877 w 8079933"/>
              <a:gd name="connsiteY40270" fmla="*/ 2481020 h 4687251"/>
              <a:gd name="connsiteX40271" fmla="*/ 4794807 w 8079933"/>
              <a:gd name="connsiteY40271" fmla="*/ 2479612 h 4687251"/>
              <a:gd name="connsiteX40272" fmla="*/ 4797845 w 8079933"/>
              <a:gd name="connsiteY40272" fmla="*/ 2486000 h 4687251"/>
              <a:gd name="connsiteX40273" fmla="*/ 4802729 w 8079933"/>
              <a:gd name="connsiteY40273" fmla="*/ 2487408 h 4687251"/>
              <a:gd name="connsiteX40274" fmla="*/ 4804248 w 8079933"/>
              <a:gd name="connsiteY40274" fmla="*/ 2490331 h 4687251"/>
              <a:gd name="connsiteX40275" fmla="*/ 4809782 w 8079933"/>
              <a:gd name="connsiteY40275" fmla="*/ 2496069 h 4687251"/>
              <a:gd name="connsiteX40276" fmla="*/ 4814014 w 8079933"/>
              <a:gd name="connsiteY40276" fmla="*/ 2497694 h 4687251"/>
              <a:gd name="connsiteX40277" fmla="*/ 4813906 w 8079933"/>
              <a:gd name="connsiteY40277" fmla="*/ 2498127 h 4687251"/>
              <a:gd name="connsiteX40278" fmla="*/ 4813580 w 8079933"/>
              <a:gd name="connsiteY40278" fmla="*/ 2500183 h 4687251"/>
              <a:gd name="connsiteX40279" fmla="*/ 4813038 w 8079933"/>
              <a:gd name="connsiteY40279" fmla="*/ 2502348 h 4687251"/>
              <a:gd name="connsiteX40280" fmla="*/ 4814340 w 8079933"/>
              <a:gd name="connsiteY40280" fmla="*/ 2504081 h 4687251"/>
              <a:gd name="connsiteX40281" fmla="*/ 4813689 w 8079933"/>
              <a:gd name="connsiteY40281" fmla="*/ 2505380 h 4687251"/>
              <a:gd name="connsiteX40282" fmla="*/ 4814557 w 8079933"/>
              <a:gd name="connsiteY40282" fmla="*/ 2506463 h 4687251"/>
              <a:gd name="connsiteX40283" fmla="*/ 4814557 w 8079933"/>
              <a:gd name="connsiteY40283" fmla="*/ 2507437 h 4687251"/>
              <a:gd name="connsiteX40284" fmla="*/ 4815534 w 8079933"/>
              <a:gd name="connsiteY40284" fmla="*/ 2508844 h 4687251"/>
              <a:gd name="connsiteX40285" fmla="*/ 4817053 w 8079933"/>
              <a:gd name="connsiteY40285" fmla="*/ 2515450 h 4687251"/>
              <a:gd name="connsiteX40286" fmla="*/ 4821719 w 8079933"/>
              <a:gd name="connsiteY40286" fmla="*/ 2520863 h 4687251"/>
              <a:gd name="connsiteX40287" fmla="*/ 4821611 w 8079933"/>
              <a:gd name="connsiteY40287" fmla="*/ 2523244 h 4687251"/>
              <a:gd name="connsiteX40288" fmla="*/ 4820417 w 8079933"/>
              <a:gd name="connsiteY40288" fmla="*/ 2523244 h 4687251"/>
              <a:gd name="connsiteX40289" fmla="*/ 4819874 w 8079933"/>
              <a:gd name="connsiteY40289" fmla="*/ 2521729 h 4687251"/>
              <a:gd name="connsiteX40290" fmla="*/ 4817921 w 8079933"/>
              <a:gd name="connsiteY40290" fmla="*/ 2519347 h 4687251"/>
              <a:gd name="connsiteX40291" fmla="*/ 4817161 w 8079933"/>
              <a:gd name="connsiteY40291" fmla="*/ 2520213 h 4687251"/>
              <a:gd name="connsiteX40292" fmla="*/ 4817813 w 8079933"/>
              <a:gd name="connsiteY40292" fmla="*/ 2524544 h 4687251"/>
              <a:gd name="connsiteX40293" fmla="*/ 4823564 w 8079933"/>
              <a:gd name="connsiteY40293" fmla="*/ 2541650 h 4687251"/>
              <a:gd name="connsiteX40294" fmla="*/ 4824866 w 8079933"/>
              <a:gd name="connsiteY40294" fmla="*/ 2551070 h 4687251"/>
              <a:gd name="connsiteX40295" fmla="*/ 4823456 w 8079933"/>
              <a:gd name="connsiteY40295" fmla="*/ 2559948 h 4687251"/>
              <a:gd name="connsiteX40296" fmla="*/ 4826711 w 8079933"/>
              <a:gd name="connsiteY40296" fmla="*/ 2570126 h 4687251"/>
              <a:gd name="connsiteX40297" fmla="*/ 4830943 w 8079933"/>
              <a:gd name="connsiteY40297" fmla="*/ 2578247 h 4687251"/>
              <a:gd name="connsiteX40298" fmla="*/ 4834958 w 8079933"/>
              <a:gd name="connsiteY40298" fmla="*/ 2579221 h 4687251"/>
              <a:gd name="connsiteX40299" fmla="*/ 4845376 w 8079933"/>
              <a:gd name="connsiteY40299" fmla="*/ 2586258 h 4687251"/>
              <a:gd name="connsiteX40300" fmla="*/ 4845376 w 8079933"/>
              <a:gd name="connsiteY40300" fmla="*/ 2590806 h 4687251"/>
              <a:gd name="connsiteX40301" fmla="*/ 4850367 w 8079933"/>
              <a:gd name="connsiteY40301" fmla="*/ 2590914 h 4687251"/>
              <a:gd name="connsiteX40302" fmla="*/ 4855577 w 8079933"/>
              <a:gd name="connsiteY40302" fmla="*/ 2593621 h 4687251"/>
              <a:gd name="connsiteX40303" fmla="*/ 4855577 w 8079933"/>
              <a:gd name="connsiteY40303" fmla="*/ 2596869 h 4687251"/>
              <a:gd name="connsiteX40304" fmla="*/ 4857204 w 8079933"/>
              <a:gd name="connsiteY40304" fmla="*/ 2596869 h 4687251"/>
              <a:gd name="connsiteX40305" fmla="*/ 4854057 w 8079933"/>
              <a:gd name="connsiteY40305" fmla="*/ 2601741 h 4687251"/>
              <a:gd name="connsiteX40306" fmla="*/ 4850042 w 8079933"/>
              <a:gd name="connsiteY40306" fmla="*/ 2603798 h 4687251"/>
              <a:gd name="connsiteX40307" fmla="*/ 4850043 w 8079933"/>
              <a:gd name="connsiteY40307" fmla="*/ 2603798 h 4687251"/>
              <a:gd name="connsiteX40308" fmla="*/ 4854058 w 8079933"/>
              <a:gd name="connsiteY40308" fmla="*/ 2601741 h 4687251"/>
              <a:gd name="connsiteX40309" fmla="*/ 4857205 w 8079933"/>
              <a:gd name="connsiteY40309" fmla="*/ 2596869 h 4687251"/>
              <a:gd name="connsiteX40310" fmla="*/ 4857421 w 8079933"/>
              <a:gd name="connsiteY40310" fmla="*/ 2596869 h 4687251"/>
              <a:gd name="connsiteX40311" fmla="*/ 4862956 w 8079933"/>
              <a:gd name="connsiteY40311" fmla="*/ 2602824 h 4687251"/>
              <a:gd name="connsiteX40312" fmla="*/ 4872939 w 8079933"/>
              <a:gd name="connsiteY40312" fmla="*/ 2629025 h 4687251"/>
              <a:gd name="connsiteX40313" fmla="*/ 4876195 w 8079933"/>
              <a:gd name="connsiteY40313" fmla="*/ 2646132 h 4687251"/>
              <a:gd name="connsiteX40314" fmla="*/ 4878040 w 8079933"/>
              <a:gd name="connsiteY40314" fmla="*/ 2646673 h 4687251"/>
              <a:gd name="connsiteX40315" fmla="*/ 4879234 w 8079933"/>
              <a:gd name="connsiteY40315" fmla="*/ 2652953 h 4687251"/>
              <a:gd name="connsiteX40316" fmla="*/ 4879234 w 8079933"/>
              <a:gd name="connsiteY40316" fmla="*/ 2655118 h 4687251"/>
              <a:gd name="connsiteX40317" fmla="*/ 4882489 w 8079933"/>
              <a:gd name="connsiteY40317" fmla="*/ 2656201 h 4687251"/>
              <a:gd name="connsiteX40318" fmla="*/ 4884551 w 8079933"/>
              <a:gd name="connsiteY40318" fmla="*/ 2661290 h 4687251"/>
              <a:gd name="connsiteX40319" fmla="*/ 4885745 w 8079933"/>
              <a:gd name="connsiteY40319" fmla="*/ 2668652 h 4687251"/>
              <a:gd name="connsiteX40320" fmla="*/ 4889977 w 8079933"/>
              <a:gd name="connsiteY40320" fmla="*/ 2669735 h 4687251"/>
              <a:gd name="connsiteX40321" fmla="*/ 4889543 w 8079933"/>
              <a:gd name="connsiteY40321" fmla="*/ 2663130 h 4687251"/>
              <a:gd name="connsiteX40322" fmla="*/ 4888458 w 8079933"/>
              <a:gd name="connsiteY40322" fmla="*/ 2663238 h 4687251"/>
              <a:gd name="connsiteX40323" fmla="*/ 4888891 w 8079933"/>
              <a:gd name="connsiteY40323" fmla="*/ 2658366 h 4687251"/>
              <a:gd name="connsiteX40324" fmla="*/ 4890628 w 8079933"/>
              <a:gd name="connsiteY40324" fmla="*/ 2657717 h 4687251"/>
              <a:gd name="connsiteX40325" fmla="*/ 4894969 w 8079933"/>
              <a:gd name="connsiteY40325" fmla="*/ 2663780 h 4687251"/>
              <a:gd name="connsiteX40326" fmla="*/ 4893341 w 8079933"/>
              <a:gd name="connsiteY40326" fmla="*/ 2665621 h 4687251"/>
              <a:gd name="connsiteX40327" fmla="*/ 4897356 w 8079933"/>
              <a:gd name="connsiteY40327" fmla="*/ 2671684 h 4687251"/>
              <a:gd name="connsiteX40328" fmla="*/ 4900177 w 8079933"/>
              <a:gd name="connsiteY40328" fmla="*/ 2674391 h 4687251"/>
              <a:gd name="connsiteX40329" fmla="*/ 4902456 w 8079933"/>
              <a:gd name="connsiteY40329" fmla="*/ 2672875 h 4687251"/>
              <a:gd name="connsiteX40330" fmla="*/ 4906037 w 8079933"/>
              <a:gd name="connsiteY40330" fmla="*/ 2672333 h 4687251"/>
              <a:gd name="connsiteX40331" fmla="*/ 4907556 w 8079933"/>
              <a:gd name="connsiteY40331" fmla="*/ 2673308 h 4687251"/>
              <a:gd name="connsiteX40332" fmla="*/ 4910595 w 8079933"/>
              <a:gd name="connsiteY40332" fmla="*/ 2672225 h 4687251"/>
              <a:gd name="connsiteX40333" fmla="*/ 4915044 w 8079933"/>
              <a:gd name="connsiteY40333" fmla="*/ 2677097 h 4687251"/>
              <a:gd name="connsiteX40334" fmla="*/ 4917323 w 8079933"/>
              <a:gd name="connsiteY40334" fmla="*/ 2679913 h 4687251"/>
              <a:gd name="connsiteX40335" fmla="*/ 4923943 w 8079933"/>
              <a:gd name="connsiteY40335" fmla="*/ 2681429 h 4687251"/>
              <a:gd name="connsiteX40336" fmla="*/ 4925462 w 8079933"/>
              <a:gd name="connsiteY40336" fmla="*/ 2684027 h 4687251"/>
              <a:gd name="connsiteX40337" fmla="*/ 4933493 w 8079933"/>
              <a:gd name="connsiteY40337" fmla="*/ 2693013 h 4687251"/>
              <a:gd name="connsiteX40338" fmla="*/ 4936964 w 8079933"/>
              <a:gd name="connsiteY40338" fmla="*/ 2698968 h 4687251"/>
              <a:gd name="connsiteX40339" fmla="*/ 4941957 w 8079933"/>
              <a:gd name="connsiteY40339" fmla="*/ 2701025 h 4687251"/>
              <a:gd name="connsiteX40340" fmla="*/ 4945320 w 8079933"/>
              <a:gd name="connsiteY40340" fmla="*/ 2705356 h 4687251"/>
              <a:gd name="connsiteX40341" fmla="*/ 4947274 w 8079933"/>
              <a:gd name="connsiteY40341" fmla="*/ 2705356 h 4687251"/>
              <a:gd name="connsiteX40342" fmla="*/ 4947491 w 8079933"/>
              <a:gd name="connsiteY40342" fmla="*/ 2703840 h 4687251"/>
              <a:gd name="connsiteX40343" fmla="*/ 4949118 w 8079933"/>
              <a:gd name="connsiteY40343" fmla="*/ 2706114 h 4687251"/>
              <a:gd name="connsiteX40344" fmla="*/ 4953134 w 8079933"/>
              <a:gd name="connsiteY40344" fmla="*/ 2715967 h 4687251"/>
              <a:gd name="connsiteX40345" fmla="*/ 4956064 w 8079933"/>
              <a:gd name="connsiteY40345" fmla="*/ 2716833 h 4687251"/>
              <a:gd name="connsiteX40346" fmla="*/ 4959536 w 8079933"/>
              <a:gd name="connsiteY40346" fmla="*/ 2721272 h 4687251"/>
              <a:gd name="connsiteX40347" fmla="*/ 4958559 w 8079933"/>
              <a:gd name="connsiteY40347" fmla="*/ 2722679 h 4687251"/>
              <a:gd name="connsiteX40348" fmla="*/ 4960730 w 8079933"/>
              <a:gd name="connsiteY40348" fmla="*/ 2727335 h 4687251"/>
              <a:gd name="connsiteX40349" fmla="*/ 4963334 w 8079933"/>
              <a:gd name="connsiteY40349" fmla="*/ 2727335 h 4687251"/>
              <a:gd name="connsiteX40350" fmla="*/ 4965938 w 8079933"/>
              <a:gd name="connsiteY40350" fmla="*/ 2728743 h 4687251"/>
              <a:gd name="connsiteX40351" fmla="*/ 4967783 w 8079933"/>
              <a:gd name="connsiteY40351" fmla="*/ 2727010 h 4687251"/>
              <a:gd name="connsiteX40352" fmla="*/ 4968651 w 8079933"/>
              <a:gd name="connsiteY40352" fmla="*/ 2728310 h 4687251"/>
              <a:gd name="connsiteX40353" fmla="*/ 4969845 w 8079933"/>
              <a:gd name="connsiteY40353" fmla="*/ 2728959 h 4687251"/>
              <a:gd name="connsiteX40354" fmla="*/ 4969845 w 8079933"/>
              <a:gd name="connsiteY40354" fmla="*/ 2728960 h 4687251"/>
              <a:gd name="connsiteX40355" fmla="*/ 4969952 w 8079933"/>
              <a:gd name="connsiteY40355" fmla="*/ 2728960 h 4687251"/>
              <a:gd name="connsiteX40356" fmla="*/ 4969844 w 8079933"/>
              <a:gd name="connsiteY40356" fmla="*/ 2730801 h 4687251"/>
              <a:gd name="connsiteX40357" fmla="*/ 4975378 w 8079933"/>
              <a:gd name="connsiteY40357" fmla="*/ 2736106 h 4687251"/>
              <a:gd name="connsiteX40358" fmla="*/ 4976898 w 8079933"/>
              <a:gd name="connsiteY40358" fmla="*/ 2736106 h 4687251"/>
              <a:gd name="connsiteX40359" fmla="*/ 4976138 w 8079933"/>
              <a:gd name="connsiteY40359" fmla="*/ 2738380 h 4687251"/>
              <a:gd name="connsiteX40360" fmla="*/ 4977006 w 8079933"/>
              <a:gd name="connsiteY40360" fmla="*/ 2745742 h 4687251"/>
              <a:gd name="connsiteX40361" fmla="*/ 4974619 w 8079933"/>
              <a:gd name="connsiteY40361" fmla="*/ 2746716 h 4687251"/>
              <a:gd name="connsiteX40362" fmla="*/ 4970169 w 8079933"/>
              <a:gd name="connsiteY40362" fmla="*/ 2751697 h 4687251"/>
              <a:gd name="connsiteX40363" fmla="*/ 4966806 w 8079933"/>
              <a:gd name="connsiteY40363" fmla="*/ 2751805 h 4687251"/>
              <a:gd name="connsiteX40364" fmla="*/ 4964418 w 8079933"/>
              <a:gd name="connsiteY40364" fmla="*/ 2755378 h 4687251"/>
              <a:gd name="connsiteX40365" fmla="*/ 4959210 w 8079933"/>
              <a:gd name="connsiteY40365" fmla="*/ 2755378 h 4687251"/>
              <a:gd name="connsiteX40366" fmla="*/ 4961814 w 8079933"/>
              <a:gd name="connsiteY40366" fmla="*/ 2758626 h 4687251"/>
              <a:gd name="connsiteX40367" fmla="*/ 4963441 w 8079933"/>
              <a:gd name="connsiteY40367" fmla="*/ 2758951 h 4687251"/>
              <a:gd name="connsiteX40368" fmla="*/ 4967131 w 8079933"/>
              <a:gd name="connsiteY40368" fmla="*/ 2757543 h 4687251"/>
              <a:gd name="connsiteX40369" fmla="*/ 4973425 w 8079933"/>
              <a:gd name="connsiteY40369" fmla="*/ 2757435 h 4687251"/>
              <a:gd name="connsiteX40370" fmla="*/ 4974185 w 8079933"/>
              <a:gd name="connsiteY40370" fmla="*/ 2759059 h 4687251"/>
              <a:gd name="connsiteX40371" fmla="*/ 4968650 w 8079933"/>
              <a:gd name="connsiteY40371" fmla="*/ 2769345 h 4687251"/>
              <a:gd name="connsiteX40372" fmla="*/ 4968000 w 8079933"/>
              <a:gd name="connsiteY40372" fmla="*/ 2770318 h 4687251"/>
              <a:gd name="connsiteX40373" fmla="*/ 4968001 w 8079933"/>
              <a:gd name="connsiteY40373" fmla="*/ 2770318 h 4687251"/>
              <a:gd name="connsiteX40374" fmla="*/ 4968651 w 8079933"/>
              <a:gd name="connsiteY40374" fmla="*/ 2769345 h 4687251"/>
              <a:gd name="connsiteX40375" fmla="*/ 4974185 w 8079933"/>
              <a:gd name="connsiteY40375" fmla="*/ 2759059 h 4687251"/>
              <a:gd name="connsiteX40376" fmla="*/ 4975596 w 8079933"/>
              <a:gd name="connsiteY40376" fmla="*/ 2762090 h 4687251"/>
              <a:gd name="connsiteX40377" fmla="*/ 4977223 w 8079933"/>
              <a:gd name="connsiteY40377" fmla="*/ 2762307 h 4687251"/>
              <a:gd name="connsiteX40378" fmla="*/ 4991657 w 8079933"/>
              <a:gd name="connsiteY40378" fmla="*/ 2778331 h 4687251"/>
              <a:gd name="connsiteX40379" fmla="*/ 4993393 w 8079933"/>
              <a:gd name="connsiteY40379" fmla="*/ 2781904 h 4687251"/>
              <a:gd name="connsiteX40380" fmla="*/ 4995780 w 8079933"/>
              <a:gd name="connsiteY40380" fmla="*/ 2782553 h 4687251"/>
              <a:gd name="connsiteX40381" fmla="*/ 5001748 w 8079933"/>
              <a:gd name="connsiteY40381" fmla="*/ 2787859 h 4687251"/>
              <a:gd name="connsiteX40382" fmla="*/ 5007609 w 8079933"/>
              <a:gd name="connsiteY40382" fmla="*/ 2789375 h 4687251"/>
              <a:gd name="connsiteX40383" fmla="*/ 5014553 w 8079933"/>
              <a:gd name="connsiteY40383" fmla="*/ 2788400 h 4687251"/>
              <a:gd name="connsiteX40384" fmla="*/ 5016723 w 8079933"/>
              <a:gd name="connsiteY40384" fmla="*/ 2785802 h 4687251"/>
              <a:gd name="connsiteX40385" fmla="*/ 5022909 w 8079933"/>
              <a:gd name="connsiteY40385" fmla="*/ 2782012 h 4687251"/>
              <a:gd name="connsiteX40386" fmla="*/ 5026816 w 8079933"/>
              <a:gd name="connsiteY40386" fmla="*/ 2781904 h 4687251"/>
              <a:gd name="connsiteX40387" fmla="*/ 5034846 w 8079933"/>
              <a:gd name="connsiteY40387" fmla="*/ 2775624 h 4687251"/>
              <a:gd name="connsiteX40388" fmla="*/ 5037125 w 8079933"/>
              <a:gd name="connsiteY40388" fmla="*/ 2775516 h 4687251"/>
              <a:gd name="connsiteX40389" fmla="*/ 5038536 w 8079933"/>
              <a:gd name="connsiteY40389" fmla="*/ 2776816 h 4687251"/>
              <a:gd name="connsiteX40390" fmla="*/ 5045047 w 8079933"/>
              <a:gd name="connsiteY40390" fmla="*/ 2776490 h 4687251"/>
              <a:gd name="connsiteX40391" fmla="*/ 5047325 w 8079933"/>
              <a:gd name="connsiteY40391" fmla="*/ 2775733 h 4687251"/>
              <a:gd name="connsiteX40392" fmla="*/ 5052100 w 8079933"/>
              <a:gd name="connsiteY40392" fmla="*/ 2778006 h 4687251"/>
              <a:gd name="connsiteX40393" fmla="*/ 5059045 w 8079933"/>
              <a:gd name="connsiteY40393" fmla="*/ 2777249 h 4687251"/>
              <a:gd name="connsiteX40394" fmla="*/ 5073587 w 8079933"/>
              <a:gd name="connsiteY40394" fmla="*/ 2768153 h 4687251"/>
              <a:gd name="connsiteX40395" fmla="*/ 5078253 w 8079933"/>
              <a:gd name="connsiteY40395" fmla="*/ 2767288 h 4687251"/>
              <a:gd name="connsiteX40396" fmla="*/ 5082919 w 8079933"/>
              <a:gd name="connsiteY40396" fmla="*/ 2769345 h 4687251"/>
              <a:gd name="connsiteX40397" fmla="*/ 5086609 w 8079933"/>
              <a:gd name="connsiteY40397" fmla="*/ 2768153 h 4687251"/>
              <a:gd name="connsiteX40398" fmla="*/ 5093011 w 8079933"/>
              <a:gd name="connsiteY40398" fmla="*/ 2768478 h 4687251"/>
              <a:gd name="connsiteX40399" fmla="*/ 5099739 w 8079933"/>
              <a:gd name="connsiteY40399" fmla="*/ 2765122 h 4687251"/>
              <a:gd name="connsiteX40400" fmla="*/ 5107227 w 8079933"/>
              <a:gd name="connsiteY40400" fmla="*/ 2764581 h 4687251"/>
              <a:gd name="connsiteX40401" fmla="*/ 5109505 w 8079933"/>
              <a:gd name="connsiteY40401" fmla="*/ 2765988 h 4687251"/>
              <a:gd name="connsiteX40402" fmla="*/ 5112001 w 8079933"/>
              <a:gd name="connsiteY40402" fmla="*/ 2765988 h 4687251"/>
              <a:gd name="connsiteX40403" fmla="*/ 5123612 w 8079933"/>
              <a:gd name="connsiteY40403" fmla="*/ 2763823 h 4687251"/>
              <a:gd name="connsiteX40404" fmla="*/ 5128062 w 8079933"/>
              <a:gd name="connsiteY40404" fmla="*/ 2760250 h 4687251"/>
              <a:gd name="connsiteX40405" fmla="*/ 5135115 w 8079933"/>
              <a:gd name="connsiteY40405" fmla="*/ 2759276 h 4687251"/>
              <a:gd name="connsiteX40406" fmla="*/ 5137068 w 8079933"/>
              <a:gd name="connsiteY40406" fmla="*/ 2761116 h 4687251"/>
              <a:gd name="connsiteX40407" fmla="*/ 5137720 w 8079933"/>
              <a:gd name="connsiteY40407" fmla="*/ 2759167 h 4687251"/>
              <a:gd name="connsiteX40408" fmla="*/ 5145099 w 8079933"/>
              <a:gd name="connsiteY40408" fmla="*/ 2758192 h 4687251"/>
              <a:gd name="connsiteX40409" fmla="*/ 5149331 w 8079933"/>
              <a:gd name="connsiteY40409" fmla="*/ 2753970 h 4687251"/>
              <a:gd name="connsiteX40410" fmla="*/ 5150199 w 8079933"/>
              <a:gd name="connsiteY40410" fmla="*/ 2754620 h 4687251"/>
              <a:gd name="connsiteX40411" fmla="*/ 5152043 w 8079933"/>
              <a:gd name="connsiteY40411" fmla="*/ 2751155 h 4687251"/>
              <a:gd name="connsiteX40412" fmla="*/ 5151393 w 8079933"/>
              <a:gd name="connsiteY40412" fmla="*/ 2750614 h 4687251"/>
              <a:gd name="connsiteX40413" fmla="*/ 5154323 w 8079933"/>
              <a:gd name="connsiteY40413" fmla="*/ 2747799 h 4687251"/>
              <a:gd name="connsiteX40414" fmla="*/ 5156385 w 8079933"/>
              <a:gd name="connsiteY40414" fmla="*/ 2748015 h 4687251"/>
              <a:gd name="connsiteX40415" fmla="*/ 5156059 w 8079933"/>
              <a:gd name="connsiteY40415" fmla="*/ 2746933 h 4687251"/>
              <a:gd name="connsiteX40416" fmla="*/ 5158989 w 8079933"/>
              <a:gd name="connsiteY40416" fmla="*/ 2748990 h 4687251"/>
              <a:gd name="connsiteX40417" fmla="*/ 5165066 w 8079933"/>
              <a:gd name="connsiteY40417" fmla="*/ 2751047 h 4687251"/>
              <a:gd name="connsiteX40418" fmla="*/ 5167887 w 8079933"/>
              <a:gd name="connsiteY40418" fmla="*/ 2750831 h 4687251"/>
              <a:gd name="connsiteX40419" fmla="*/ 5168972 w 8079933"/>
              <a:gd name="connsiteY40419" fmla="*/ 2751480 h 4687251"/>
              <a:gd name="connsiteX40420" fmla="*/ 5166477 w 8079933"/>
              <a:gd name="connsiteY40420" fmla="*/ 2755161 h 4687251"/>
              <a:gd name="connsiteX40421" fmla="*/ 5164957 w 8079933"/>
              <a:gd name="connsiteY40421" fmla="*/ 2758951 h 4687251"/>
              <a:gd name="connsiteX40422" fmla="*/ 5164632 w 8079933"/>
              <a:gd name="connsiteY40422" fmla="*/ 2762849 h 4687251"/>
              <a:gd name="connsiteX40423" fmla="*/ 5163221 w 8079933"/>
              <a:gd name="connsiteY40423" fmla="*/ 2765230 h 4687251"/>
              <a:gd name="connsiteX40424" fmla="*/ 5164415 w 8079933"/>
              <a:gd name="connsiteY40424" fmla="*/ 2767288 h 4687251"/>
              <a:gd name="connsiteX40425" fmla="*/ 5167562 w 8079933"/>
              <a:gd name="connsiteY40425" fmla="*/ 2767396 h 4687251"/>
              <a:gd name="connsiteX40426" fmla="*/ 5167779 w 8079933"/>
              <a:gd name="connsiteY40426" fmla="*/ 2768804 h 4687251"/>
              <a:gd name="connsiteX40427" fmla="*/ 5165282 w 8079933"/>
              <a:gd name="connsiteY40427" fmla="*/ 2770969 h 4687251"/>
              <a:gd name="connsiteX40428" fmla="*/ 5163113 w 8079933"/>
              <a:gd name="connsiteY40428" fmla="*/ 2775949 h 4687251"/>
              <a:gd name="connsiteX40429" fmla="*/ 5165282 w 8079933"/>
              <a:gd name="connsiteY40429" fmla="*/ 2778873 h 4687251"/>
              <a:gd name="connsiteX40430" fmla="*/ 5166042 w 8079933"/>
              <a:gd name="connsiteY40430" fmla="*/ 2782770 h 4687251"/>
              <a:gd name="connsiteX40431" fmla="*/ 5164306 w 8079933"/>
              <a:gd name="connsiteY40431" fmla="*/ 2786559 h 4687251"/>
              <a:gd name="connsiteX40432" fmla="*/ 5167454 w 8079933"/>
              <a:gd name="connsiteY40432" fmla="*/ 2786126 h 4687251"/>
              <a:gd name="connsiteX40433" fmla="*/ 5167127 w 8079933"/>
              <a:gd name="connsiteY40433" fmla="*/ 2785044 h 4687251"/>
              <a:gd name="connsiteX40434" fmla="*/ 5168647 w 8079933"/>
              <a:gd name="connsiteY40434" fmla="*/ 2785369 h 4687251"/>
              <a:gd name="connsiteX40435" fmla="*/ 5170057 w 8079933"/>
              <a:gd name="connsiteY40435" fmla="*/ 2788184 h 4687251"/>
              <a:gd name="connsiteX40436" fmla="*/ 5168430 w 8079933"/>
              <a:gd name="connsiteY40436" fmla="*/ 2789050 h 4687251"/>
              <a:gd name="connsiteX40437" fmla="*/ 5167995 w 8079933"/>
              <a:gd name="connsiteY40437" fmla="*/ 2788075 h 4687251"/>
              <a:gd name="connsiteX40438" fmla="*/ 5164957 w 8079933"/>
              <a:gd name="connsiteY40438" fmla="*/ 2788184 h 4687251"/>
              <a:gd name="connsiteX40439" fmla="*/ 5162787 w 8079933"/>
              <a:gd name="connsiteY40439" fmla="*/ 2788725 h 4687251"/>
              <a:gd name="connsiteX40440" fmla="*/ 5159314 w 8079933"/>
              <a:gd name="connsiteY40440" fmla="*/ 2794680 h 4687251"/>
              <a:gd name="connsiteX40441" fmla="*/ 5161268 w 8079933"/>
              <a:gd name="connsiteY40441" fmla="*/ 2797820 h 4687251"/>
              <a:gd name="connsiteX40442" fmla="*/ 5160291 w 8079933"/>
              <a:gd name="connsiteY40442" fmla="*/ 2803450 h 4687251"/>
              <a:gd name="connsiteX40443" fmla="*/ 5158772 w 8079933"/>
              <a:gd name="connsiteY40443" fmla="*/ 2806048 h 4687251"/>
              <a:gd name="connsiteX40444" fmla="*/ 5159206 w 8079933"/>
              <a:gd name="connsiteY40444" fmla="*/ 2812220 h 4687251"/>
              <a:gd name="connsiteX40445" fmla="*/ 5150959 w 8079933"/>
              <a:gd name="connsiteY40445" fmla="*/ 2823696 h 4687251"/>
              <a:gd name="connsiteX40446" fmla="*/ 5145207 w 8079933"/>
              <a:gd name="connsiteY40446" fmla="*/ 2835606 h 4687251"/>
              <a:gd name="connsiteX40447" fmla="*/ 5141843 w 8079933"/>
              <a:gd name="connsiteY40447" fmla="*/ 2839829 h 4687251"/>
              <a:gd name="connsiteX40448" fmla="*/ 5139890 w 8079933"/>
              <a:gd name="connsiteY40448" fmla="*/ 2839504 h 4687251"/>
              <a:gd name="connsiteX40449" fmla="*/ 5134682 w 8079933"/>
              <a:gd name="connsiteY40449" fmla="*/ 2845242 h 4687251"/>
              <a:gd name="connsiteX40450" fmla="*/ 5134247 w 8079933"/>
              <a:gd name="connsiteY40450" fmla="*/ 2847840 h 4687251"/>
              <a:gd name="connsiteX40451" fmla="*/ 5136635 w 8079933"/>
              <a:gd name="connsiteY40451" fmla="*/ 2851305 h 4687251"/>
              <a:gd name="connsiteX40452" fmla="*/ 5133596 w 8079933"/>
              <a:gd name="connsiteY40452" fmla="*/ 2854012 h 4687251"/>
              <a:gd name="connsiteX40453" fmla="*/ 5120031 w 8079933"/>
              <a:gd name="connsiteY40453" fmla="*/ 2879780 h 4687251"/>
              <a:gd name="connsiteX40454" fmla="*/ 5119489 w 8079933"/>
              <a:gd name="connsiteY40454" fmla="*/ 2887360 h 4687251"/>
              <a:gd name="connsiteX40455" fmla="*/ 5110699 w 8079933"/>
              <a:gd name="connsiteY40455" fmla="*/ 2899486 h 4687251"/>
              <a:gd name="connsiteX40456" fmla="*/ 5110373 w 8079933"/>
              <a:gd name="connsiteY40456" fmla="*/ 2903492 h 4687251"/>
              <a:gd name="connsiteX40457" fmla="*/ 5094096 w 8079933"/>
              <a:gd name="connsiteY40457" fmla="*/ 2925471 h 4687251"/>
              <a:gd name="connsiteX40458" fmla="*/ 5092468 w 8079933"/>
              <a:gd name="connsiteY40458" fmla="*/ 2930559 h 4687251"/>
              <a:gd name="connsiteX40459" fmla="*/ 5085306 w 8079933"/>
              <a:gd name="connsiteY40459" fmla="*/ 2937922 h 4687251"/>
              <a:gd name="connsiteX40460" fmla="*/ 5072610 w 8079933"/>
              <a:gd name="connsiteY40460" fmla="*/ 2953296 h 4687251"/>
              <a:gd name="connsiteX40461" fmla="*/ 5046023 w 8079933"/>
              <a:gd name="connsiteY40461" fmla="*/ 2976683 h 4687251"/>
              <a:gd name="connsiteX40462" fmla="*/ 5034629 w 8079933"/>
              <a:gd name="connsiteY40462" fmla="*/ 2986426 h 4687251"/>
              <a:gd name="connsiteX40463" fmla="*/ 5026707 w 8079933"/>
              <a:gd name="connsiteY40463" fmla="*/ 2987942 h 4687251"/>
              <a:gd name="connsiteX40464" fmla="*/ 5019980 w 8079933"/>
              <a:gd name="connsiteY40464" fmla="*/ 2992599 h 4687251"/>
              <a:gd name="connsiteX40465" fmla="*/ 5011515 w 8079933"/>
              <a:gd name="connsiteY40465" fmla="*/ 2999095 h 4687251"/>
              <a:gd name="connsiteX40466" fmla="*/ 4995238 w 8079933"/>
              <a:gd name="connsiteY40466" fmla="*/ 3016201 h 4687251"/>
              <a:gd name="connsiteX40467" fmla="*/ 4991548 w 8079933"/>
              <a:gd name="connsiteY40467" fmla="*/ 3017284 h 4687251"/>
              <a:gd name="connsiteX40468" fmla="*/ 4978200 w 8079933"/>
              <a:gd name="connsiteY40468" fmla="*/ 3032117 h 4687251"/>
              <a:gd name="connsiteX40469" fmla="*/ 4975813 w 8079933"/>
              <a:gd name="connsiteY40469" fmla="*/ 3032984 h 4687251"/>
              <a:gd name="connsiteX40470" fmla="*/ 4973860 w 8079933"/>
              <a:gd name="connsiteY40470" fmla="*/ 3036664 h 4687251"/>
              <a:gd name="connsiteX40471" fmla="*/ 4968977 w 8079933"/>
              <a:gd name="connsiteY40471" fmla="*/ 3038072 h 4687251"/>
              <a:gd name="connsiteX40472" fmla="*/ 4963876 w 8079933"/>
              <a:gd name="connsiteY40472" fmla="*/ 3042944 h 4687251"/>
              <a:gd name="connsiteX40473" fmla="*/ 4961706 w 8079933"/>
              <a:gd name="connsiteY40473" fmla="*/ 3048033 h 4687251"/>
              <a:gd name="connsiteX40474" fmla="*/ 4941956 w 8079933"/>
              <a:gd name="connsiteY40474" fmla="*/ 3069795 h 4687251"/>
              <a:gd name="connsiteX40475" fmla="*/ 4941739 w 8079933"/>
              <a:gd name="connsiteY40475" fmla="*/ 3070877 h 4687251"/>
              <a:gd name="connsiteX40476" fmla="*/ 4941739 w 8079933"/>
              <a:gd name="connsiteY40476" fmla="*/ 3070878 h 4687251"/>
              <a:gd name="connsiteX40477" fmla="*/ 4941413 w 8079933"/>
              <a:gd name="connsiteY40477" fmla="*/ 3072394 h 4687251"/>
              <a:gd name="connsiteX40478" fmla="*/ 4933491 w 8079933"/>
              <a:gd name="connsiteY40478" fmla="*/ 3081921 h 4687251"/>
              <a:gd name="connsiteX40479" fmla="*/ 4931647 w 8079933"/>
              <a:gd name="connsiteY40479" fmla="*/ 3082571 h 4687251"/>
              <a:gd name="connsiteX40480" fmla="*/ 4928825 w 8079933"/>
              <a:gd name="connsiteY40480" fmla="*/ 3085602 h 4687251"/>
              <a:gd name="connsiteX40481" fmla="*/ 4930236 w 8079933"/>
              <a:gd name="connsiteY40481" fmla="*/ 3087984 h 4687251"/>
              <a:gd name="connsiteX40482" fmla="*/ 4922097 w 8079933"/>
              <a:gd name="connsiteY40482" fmla="*/ 3090800 h 4687251"/>
              <a:gd name="connsiteX40483" fmla="*/ 4917757 w 8079933"/>
              <a:gd name="connsiteY40483" fmla="*/ 3096863 h 4687251"/>
              <a:gd name="connsiteX40484" fmla="*/ 4910703 w 8079933"/>
              <a:gd name="connsiteY40484" fmla="*/ 3096863 h 4687251"/>
              <a:gd name="connsiteX40485" fmla="*/ 4907773 w 8079933"/>
              <a:gd name="connsiteY40485" fmla="*/ 3097837 h 4687251"/>
              <a:gd name="connsiteX40486" fmla="*/ 4907231 w 8079933"/>
              <a:gd name="connsiteY40486" fmla="*/ 3099570 h 4687251"/>
              <a:gd name="connsiteX40487" fmla="*/ 4903866 w 8079933"/>
              <a:gd name="connsiteY40487" fmla="*/ 3103467 h 4687251"/>
              <a:gd name="connsiteX40488" fmla="*/ 4903650 w 8079933"/>
              <a:gd name="connsiteY40488" fmla="*/ 3106390 h 4687251"/>
              <a:gd name="connsiteX40489" fmla="*/ 4905168 w 8079933"/>
              <a:gd name="connsiteY40489" fmla="*/ 3107582 h 4687251"/>
              <a:gd name="connsiteX40490" fmla="*/ 4901262 w 8079933"/>
              <a:gd name="connsiteY40490" fmla="*/ 3113645 h 4687251"/>
              <a:gd name="connsiteX40491" fmla="*/ 4897355 w 8079933"/>
              <a:gd name="connsiteY40491" fmla="*/ 3118408 h 4687251"/>
              <a:gd name="connsiteX40492" fmla="*/ 4897355 w 8079933"/>
              <a:gd name="connsiteY40492" fmla="*/ 3123822 h 4687251"/>
              <a:gd name="connsiteX40493" fmla="*/ 4893883 w 8079933"/>
              <a:gd name="connsiteY40493" fmla="*/ 3131401 h 4687251"/>
              <a:gd name="connsiteX40494" fmla="*/ 4885201 w 8079933"/>
              <a:gd name="connsiteY40494" fmla="*/ 3143961 h 4687251"/>
              <a:gd name="connsiteX40495" fmla="*/ 4880101 w 8079933"/>
              <a:gd name="connsiteY40495" fmla="*/ 3146018 h 4687251"/>
              <a:gd name="connsiteX40496" fmla="*/ 4878040 w 8079933"/>
              <a:gd name="connsiteY40496" fmla="*/ 3146018 h 4687251"/>
              <a:gd name="connsiteX40497" fmla="*/ 4848306 w 8079933"/>
              <a:gd name="connsiteY40497" fmla="*/ 3125122 h 4687251"/>
              <a:gd name="connsiteX40498" fmla="*/ 4848307 w 8079933"/>
              <a:gd name="connsiteY40498" fmla="*/ 3125122 h 4687251"/>
              <a:gd name="connsiteX40499" fmla="*/ 4878040 w 8079933"/>
              <a:gd name="connsiteY40499" fmla="*/ 3146018 h 4687251"/>
              <a:gd name="connsiteX40500" fmla="*/ 4877172 w 8079933"/>
              <a:gd name="connsiteY40500" fmla="*/ 3146018 h 4687251"/>
              <a:gd name="connsiteX40501" fmla="*/ 4878365 w 8079933"/>
              <a:gd name="connsiteY40501" fmla="*/ 3147318 h 4687251"/>
              <a:gd name="connsiteX40502" fmla="*/ 4878799 w 8079933"/>
              <a:gd name="connsiteY40502" fmla="*/ 3150999 h 4687251"/>
              <a:gd name="connsiteX40503" fmla="*/ 4877172 w 8079933"/>
              <a:gd name="connsiteY40503" fmla="*/ 3153381 h 4687251"/>
              <a:gd name="connsiteX40504" fmla="*/ 4872071 w 8079933"/>
              <a:gd name="connsiteY40504" fmla="*/ 3169188 h 4687251"/>
              <a:gd name="connsiteX40505" fmla="*/ 4868057 w 8079933"/>
              <a:gd name="connsiteY40505" fmla="*/ 3179149 h 4687251"/>
              <a:gd name="connsiteX40506" fmla="*/ 4868382 w 8079933"/>
              <a:gd name="connsiteY40506" fmla="*/ 3184671 h 4687251"/>
              <a:gd name="connsiteX40507" fmla="*/ 4875110 w 8079933"/>
              <a:gd name="connsiteY40507" fmla="*/ 3190518 h 4687251"/>
              <a:gd name="connsiteX40508" fmla="*/ 4880102 w 8079933"/>
              <a:gd name="connsiteY40508" fmla="*/ 3196148 h 4687251"/>
              <a:gd name="connsiteX40509" fmla="*/ 4883249 w 8079933"/>
              <a:gd name="connsiteY40509" fmla="*/ 3195715 h 4687251"/>
              <a:gd name="connsiteX40510" fmla="*/ 4886504 w 8079933"/>
              <a:gd name="connsiteY40510" fmla="*/ 3204593 h 4687251"/>
              <a:gd name="connsiteX40511" fmla="*/ 4885094 w 8079933"/>
              <a:gd name="connsiteY40511" fmla="*/ 3207300 h 4687251"/>
              <a:gd name="connsiteX40512" fmla="*/ 4883140 w 8079933"/>
              <a:gd name="connsiteY40512" fmla="*/ 3206758 h 4687251"/>
              <a:gd name="connsiteX40513" fmla="*/ 4880210 w 8079933"/>
              <a:gd name="connsiteY40513" fmla="*/ 3208599 h 4687251"/>
              <a:gd name="connsiteX40514" fmla="*/ 4878799 w 8079933"/>
              <a:gd name="connsiteY40514" fmla="*/ 3214338 h 4687251"/>
              <a:gd name="connsiteX40515" fmla="*/ 4879234 w 8079933"/>
              <a:gd name="connsiteY40515" fmla="*/ 3223215 h 4687251"/>
              <a:gd name="connsiteX40516" fmla="*/ 4882815 w 8079933"/>
              <a:gd name="connsiteY40516" fmla="*/ 3226680 h 4687251"/>
              <a:gd name="connsiteX40517" fmla="*/ 4882164 w 8079933"/>
              <a:gd name="connsiteY40517" fmla="*/ 3232311 h 4687251"/>
              <a:gd name="connsiteX40518" fmla="*/ 4879017 w 8079933"/>
              <a:gd name="connsiteY40518" fmla="*/ 3234909 h 4687251"/>
              <a:gd name="connsiteX40519" fmla="*/ 4879776 w 8079933"/>
              <a:gd name="connsiteY40519" fmla="*/ 3240214 h 4687251"/>
              <a:gd name="connsiteX40520" fmla="*/ 4882381 w 8079933"/>
              <a:gd name="connsiteY40520" fmla="*/ 3246602 h 4687251"/>
              <a:gd name="connsiteX40521" fmla="*/ 4881078 w 8079933"/>
              <a:gd name="connsiteY40521" fmla="*/ 3246927 h 4687251"/>
              <a:gd name="connsiteX40522" fmla="*/ 4882489 w 8079933"/>
              <a:gd name="connsiteY40522" fmla="*/ 3249850 h 4687251"/>
              <a:gd name="connsiteX40523" fmla="*/ 4883465 w 8079933"/>
              <a:gd name="connsiteY40523" fmla="*/ 3254505 h 4687251"/>
              <a:gd name="connsiteX40524" fmla="*/ 4886287 w 8079933"/>
              <a:gd name="connsiteY40524" fmla="*/ 3256888 h 4687251"/>
              <a:gd name="connsiteX40525" fmla="*/ 4883900 w 8079933"/>
              <a:gd name="connsiteY40525" fmla="*/ 3260786 h 4687251"/>
              <a:gd name="connsiteX40526" fmla="*/ 4886178 w 8079933"/>
              <a:gd name="connsiteY40526" fmla="*/ 3263492 h 4687251"/>
              <a:gd name="connsiteX40527" fmla="*/ 4888566 w 8079933"/>
              <a:gd name="connsiteY40527" fmla="*/ 3270638 h 4687251"/>
              <a:gd name="connsiteX40528" fmla="*/ 4887807 w 8079933"/>
              <a:gd name="connsiteY40528" fmla="*/ 3274211 h 4687251"/>
              <a:gd name="connsiteX40529" fmla="*/ 4896271 w 8079933"/>
              <a:gd name="connsiteY40529" fmla="*/ 3282439 h 4687251"/>
              <a:gd name="connsiteX40530" fmla="*/ 4902456 w 8079933"/>
              <a:gd name="connsiteY40530" fmla="*/ 3283306 h 4687251"/>
              <a:gd name="connsiteX40531" fmla="*/ 4907665 w 8079933"/>
              <a:gd name="connsiteY40531" fmla="*/ 3287637 h 4687251"/>
              <a:gd name="connsiteX40532" fmla="*/ 4907665 w 8079933"/>
              <a:gd name="connsiteY40532" fmla="*/ 3290019 h 4687251"/>
              <a:gd name="connsiteX40533" fmla="*/ 4908315 w 8079933"/>
              <a:gd name="connsiteY40533" fmla="*/ 3290343 h 4687251"/>
              <a:gd name="connsiteX40534" fmla="*/ 4908316 w 8079933"/>
              <a:gd name="connsiteY40534" fmla="*/ 3290343 h 4687251"/>
              <a:gd name="connsiteX40535" fmla="*/ 4910052 w 8079933"/>
              <a:gd name="connsiteY40535" fmla="*/ 3291426 h 4687251"/>
              <a:gd name="connsiteX40536" fmla="*/ 4909075 w 8079933"/>
              <a:gd name="connsiteY40536" fmla="*/ 3297055 h 4687251"/>
              <a:gd name="connsiteX40537" fmla="*/ 4907881 w 8079933"/>
              <a:gd name="connsiteY40537" fmla="*/ 3299871 h 4687251"/>
              <a:gd name="connsiteX40538" fmla="*/ 4909075 w 8079933"/>
              <a:gd name="connsiteY40538" fmla="*/ 3300953 h 4687251"/>
              <a:gd name="connsiteX40539" fmla="*/ 4904192 w 8079933"/>
              <a:gd name="connsiteY40539" fmla="*/ 3307991 h 4687251"/>
              <a:gd name="connsiteX40540" fmla="*/ 4903649 w 8079933"/>
              <a:gd name="connsiteY40540" fmla="*/ 3310589 h 4687251"/>
              <a:gd name="connsiteX40541" fmla="*/ 4904626 w 8079933"/>
              <a:gd name="connsiteY40541" fmla="*/ 3312322 h 4687251"/>
              <a:gd name="connsiteX40542" fmla="*/ 4904951 w 8079933"/>
              <a:gd name="connsiteY40542" fmla="*/ 3313838 h 4687251"/>
              <a:gd name="connsiteX40543" fmla="*/ 4903106 w 8079933"/>
              <a:gd name="connsiteY40543" fmla="*/ 3315570 h 4687251"/>
              <a:gd name="connsiteX40544" fmla="*/ 4904192 w 8079933"/>
              <a:gd name="connsiteY40544" fmla="*/ 3324123 h 4687251"/>
              <a:gd name="connsiteX40545" fmla="*/ 4906905 w 8079933"/>
              <a:gd name="connsiteY40545" fmla="*/ 3329104 h 4687251"/>
              <a:gd name="connsiteX40546" fmla="*/ 4905494 w 8079933"/>
              <a:gd name="connsiteY40546" fmla="*/ 3330620 h 4687251"/>
              <a:gd name="connsiteX40547" fmla="*/ 4905494 w 8079933"/>
              <a:gd name="connsiteY40547" fmla="*/ 3336683 h 4687251"/>
              <a:gd name="connsiteX40548" fmla="*/ 4906905 w 8079933"/>
              <a:gd name="connsiteY40548" fmla="*/ 3338199 h 4687251"/>
              <a:gd name="connsiteX40549" fmla="*/ 4907013 w 8079933"/>
              <a:gd name="connsiteY40549" fmla="*/ 3344153 h 4687251"/>
              <a:gd name="connsiteX40550" fmla="*/ 4904517 w 8079933"/>
              <a:gd name="connsiteY40550" fmla="*/ 3346644 h 4687251"/>
              <a:gd name="connsiteX40551" fmla="*/ 4905386 w 8079933"/>
              <a:gd name="connsiteY40551" fmla="*/ 3352923 h 4687251"/>
              <a:gd name="connsiteX40552" fmla="*/ 4903649 w 8079933"/>
              <a:gd name="connsiteY40552" fmla="*/ 3364724 h 4687251"/>
              <a:gd name="connsiteX40553" fmla="*/ 4902673 w 8079933"/>
              <a:gd name="connsiteY40553" fmla="*/ 3364724 h 4687251"/>
              <a:gd name="connsiteX40554" fmla="*/ 4904083 w 8079933"/>
              <a:gd name="connsiteY40554" fmla="*/ 3366782 h 4687251"/>
              <a:gd name="connsiteX40555" fmla="*/ 4904083 w 8079933"/>
              <a:gd name="connsiteY40555" fmla="*/ 3377501 h 4687251"/>
              <a:gd name="connsiteX40556" fmla="*/ 4900502 w 8079933"/>
              <a:gd name="connsiteY40556" fmla="*/ 3378042 h 4687251"/>
              <a:gd name="connsiteX40557" fmla="*/ 4900394 w 8079933"/>
              <a:gd name="connsiteY40557" fmla="*/ 3379341 h 4687251"/>
              <a:gd name="connsiteX40558" fmla="*/ 4901588 w 8079933"/>
              <a:gd name="connsiteY40558" fmla="*/ 3381074 h 4687251"/>
              <a:gd name="connsiteX40559" fmla="*/ 4906362 w 8079933"/>
              <a:gd name="connsiteY40559" fmla="*/ 3381290 h 4687251"/>
              <a:gd name="connsiteX40560" fmla="*/ 4907664 w 8079933"/>
              <a:gd name="connsiteY40560" fmla="*/ 3382265 h 4687251"/>
              <a:gd name="connsiteX40561" fmla="*/ 4908749 w 8079933"/>
              <a:gd name="connsiteY40561" fmla="*/ 3391468 h 4687251"/>
              <a:gd name="connsiteX40562" fmla="*/ 4906362 w 8079933"/>
              <a:gd name="connsiteY40562" fmla="*/ 3395041 h 4687251"/>
              <a:gd name="connsiteX40563" fmla="*/ 4903758 w 8079933"/>
              <a:gd name="connsiteY40563" fmla="*/ 3396231 h 4687251"/>
              <a:gd name="connsiteX40564" fmla="*/ 4905386 w 8079933"/>
              <a:gd name="connsiteY40564" fmla="*/ 3398397 h 4687251"/>
              <a:gd name="connsiteX40565" fmla="*/ 4904626 w 8079933"/>
              <a:gd name="connsiteY40565" fmla="*/ 3400779 h 4687251"/>
              <a:gd name="connsiteX40566" fmla="*/ 4901479 w 8079933"/>
              <a:gd name="connsiteY40566" fmla="*/ 3400779 h 4687251"/>
              <a:gd name="connsiteX40567" fmla="*/ 4898115 w 8079933"/>
              <a:gd name="connsiteY40567" fmla="*/ 3404243 h 4687251"/>
              <a:gd name="connsiteX40568" fmla="*/ 4898983 w 8079933"/>
              <a:gd name="connsiteY40568" fmla="*/ 3405435 h 4687251"/>
              <a:gd name="connsiteX40569" fmla="*/ 4900068 w 8079933"/>
              <a:gd name="connsiteY40569" fmla="*/ 3404568 h 4687251"/>
              <a:gd name="connsiteX40570" fmla="*/ 4903106 w 8079933"/>
              <a:gd name="connsiteY40570" fmla="*/ 3404894 h 4687251"/>
              <a:gd name="connsiteX40571" fmla="*/ 4900936 w 8079933"/>
              <a:gd name="connsiteY40571" fmla="*/ 3408033 h 4687251"/>
              <a:gd name="connsiteX40572" fmla="*/ 4900394 w 8079933"/>
              <a:gd name="connsiteY40572" fmla="*/ 3412905 h 4687251"/>
              <a:gd name="connsiteX40573" fmla="*/ 4897355 w 8079933"/>
              <a:gd name="connsiteY40573" fmla="*/ 3413446 h 4687251"/>
              <a:gd name="connsiteX40574" fmla="*/ 4892147 w 8079933"/>
              <a:gd name="connsiteY40574" fmla="*/ 3420051 h 4687251"/>
              <a:gd name="connsiteX40575" fmla="*/ 4892147 w 8079933"/>
              <a:gd name="connsiteY40575" fmla="*/ 3422974 h 4687251"/>
              <a:gd name="connsiteX40576" fmla="*/ 4887372 w 8079933"/>
              <a:gd name="connsiteY40576" fmla="*/ 3429470 h 4687251"/>
              <a:gd name="connsiteX40577" fmla="*/ 4883465 w 8079933"/>
              <a:gd name="connsiteY40577" fmla="*/ 3430012 h 4687251"/>
              <a:gd name="connsiteX40578" fmla="*/ 4883791 w 8079933"/>
              <a:gd name="connsiteY40578" fmla="*/ 3434559 h 4687251"/>
              <a:gd name="connsiteX40579" fmla="*/ 4867839 w 8079933"/>
              <a:gd name="connsiteY40579" fmla="*/ 3443221 h 4687251"/>
              <a:gd name="connsiteX40580" fmla="*/ 4865560 w 8079933"/>
              <a:gd name="connsiteY40580" fmla="*/ 3443329 h 4687251"/>
              <a:gd name="connsiteX40581" fmla="*/ 4864258 w 8079933"/>
              <a:gd name="connsiteY40581" fmla="*/ 3446794 h 4687251"/>
              <a:gd name="connsiteX40582" fmla="*/ 4849066 w 8079933"/>
              <a:gd name="connsiteY40582" fmla="*/ 3454806 h 4687251"/>
              <a:gd name="connsiteX40583" fmla="*/ 4843206 w 8079933"/>
              <a:gd name="connsiteY40583" fmla="*/ 3454157 h 4687251"/>
              <a:gd name="connsiteX40584" fmla="*/ 4842880 w 8079933"/>
              <a:gd name="connsiteY40584" fmla="*/ 3455347 h 4687251"/>
              <a:gd name="connsiteX40585" fmla="*/ 4835935 w 8079933"/>
              <a:gd name="connsiteY40585" fmla="*/ 3458595 h 4687251"/>
              <a:gd name="connsiteX40586" fmla="*/ 4826277 w 8079933"/>
              <a:gd name="connsiteY40586" fmla="*/ 3464875 h 4687251"/>
              <a:gd name="connsiteX40587" fmla="*/ 4823998 w 8079933"/>
              <a:gd name="connsiteY40587" fmla="*/ 3463359 h 4687251"/>
              <a:gd name="connsiteX40588" fmla="*/ 4823890 w 8079933"/>
              <a:gd name="connsiteY40588" fmla="*/ 3466391 h 4687251"/>
              <a:gd name="connsiteX40589" fmla="*/ 4818030 w 8079933"/>
              <a:gd name="connsiteY40589" fmla="*/ 3473428 h 4687251"/>
              <a:gd name="connsiteX40590" fmla="*/ 4815100 w 8079933"/>
              <a:gd name="connsiteY40590" fmla="*/ 3474728 h 4687251"/>
              <a:gd name="connsiteX40591" fmla="*/ 4813364 w 8079933"/>
              <a:gd name="connsiteY40591" fmla="*/ 3470938 h 4687251"/>
              <a:gd name="connsiteX40592" fmla="*/ 4812387 w 8079933"/>
              <a:gd name="connsiteY40592" fmla="*/ 3477110 h 4687251"/>
              <a:gd name="connsiteX40593" fmla="*/ 4809565 w 8079933"/>
              <a:gd name="connsiteY40593" fmla="*/ 3477867 h 4687251"/>
              <a:gd name="connsiteX40594" fmla="*/ 4808697 w 8079933"/>
              <a:gd name="connsiteY40594" fmla="*/ 3481549 h 4687251"/>
              <a:gd name="connsiteX40595" fmla="*/ 4799039 w 8079933"/>
              <a:gd name="connsiteY40595" fmla="*/ 3487179 h 4687251"/>
              <a:gd name="connsiteX40596" fmla="*/ 4798930 w 8079933"/>
              <a:gd name="connsiteY40596" fmla="*/ 3489561 h 4687251"/>
              <a:gd name="connsiteX40597" fmla="*/ 4796326 w 8079933"/>
              <a:gd name="connsiteY40597" fmla="*/ 3491726 h 4687251"/>
              <a:gd name="connsiteX40598" fmla="*/ 4794156 w 8079933"/>
              <a:gd name="connsiteY40598" fmla="*/ 3492484 h 4687251"/>
              <a:gd name="connsiteX40599" fmla="*/ 4794373 w 8079933"/>
              <a:gd name="connsiteY40599" fmla="*/ 3495732 h 4687251"/>
              <a:gd name="connsiteX40600" fmla="*/ 4788839 w 8079933"/>
              <a:gd name="connsiteY40600" fmla="*/ 3495949 h 4687251"/>
              <a:gd name="connsiteX40601" fmla="*/ 4776034 w 8079933"/>
              <a:gd name="connsiteY40601" fmla="*/ 3504502 h 4687251"/>
              <a:gd name="connsiteX40602" fmla="*/ 4776685 w 8079933"/>
              <a:gd name="connsiteY40602" fmla="*/ 3509916 h 4687251"/>
              <a:gd name="connsiteX40603" fmla="*/ 4772561 w 8079933"/>
              <a:gd name="connsiteY40603" fmla="*/ 3512947 h 4687251"/>
              <a:gd name="connsiteX40604" fmla="*/ 4766809 w 8079933"/>
              <a:gd name="connsiteY40604" fmla="*/ 3512947 h 4687251"/>
              <a:gd name="connsiteX40605" fmla="*/ 4764423 w 8079933"/>
              <a:gd name="connsiteY40605" fmla="*/ 3516087 h 4687251"/>
              <a:gd name="connsiteX40606" fmla="*/ 4759865 w 8079933"/>
              <a:gd name="connsiteY40606" fmla="*/ 3513164 h 4687251"/>
              <a:gd name="connsiteX40607" fmla="*/ 4757369 w 8079933"/>
              <a:gd name="connsiteY40607" fmla="*/ 3513489 h 4687251"/>
              <a:gd name="connsiteX40608" fmla="*/ 4757369 w 8079933"/>
              <a:gd name="connsiteY40608" fmla="*/ 3515546 h 4687251"/>
              <a:gd name="connsiteX40609" fmla="*/ 4759756 w 8079933"/>
              <a:gd name="connsiteY40609" fmla="*/ 3518252 h 4687251"/>
              <a:gd name="connsiteX40610" fmla="*/ 4759539 w 8079933"/>
              <a:gd name="connsiteY40610" fmla="*/ 3522042 h 4687251"/>
              <a:gd name="connsiteX40611" fmla="*/ 4757803 w 8079933"/>
              <a:gd name="connsiteY40611" fmla="*/ 3524424 h 4687251"/>
              <a:gd name="connsiteX40612" fmla="*/ 4758454 w 8079933"/>
              <a:gd name="connsiteY40612" fmla="*/ 3527997 h 4687251"/>
              <a:gd name="connsiteX40613" fmla="*/ 4755958 w 8079933"/>
              <a:gd name="connsiteY40613" fmla="*/ 3531786 h 4687251"/>
              <a:gd name="connsiteX40614" fmla="*/ 4762795 w 8079933"/>
              <a:gd name="connsiteY40614" fmla="*/ 3540989 h 4687251"/>
              <a:gd name="connsiteX40615" fmla="*/ 4763012 w 8079933"/>
              <a:gd name="connsiteY40615" fmla="*/ 3544237 h 4687251"/>
              <a:gd name="connsiteX40616" fmla="*/ 4759865 w 8079933"/>
              <a:gd name="connsiteY40616" fmla="*/ 3546728 h 4687251"/>
              <a:gd name="connsiteX40617" fmla="*/ 4762252 w 8079933"/>
              <a:gd name="connsiteY40617" fmla="*/ 3547811 h 4687251"/>
              <a:gd name="connsiteX40618" fmla="*/ 4764748 w 8079933"/>
              <a:gd name="connsiteY40618" fmla="*/ 3552033 h 4687251"/>
              <a:gd name="connsiteX40619" fmla="*/ 4764965 w 8079933"/>
              <a:gd name="connsiteY40619" fmla="*/ 3557554 h 4687251"/>
              <a:gd name="connsiteX40620" fmla="*/ 4767786 w 8079933"/>
              <a:gd name="connsiteY40620" fmla="*/ 3562860 h 4687251"/>
              <a:gd name="connsiteX40621" fmla="*/ 4766593 w 8079933"/>
              <a:gd name="connsiteY40621" fmla="*/ 3577693 h 4687251"/>
              <a:gd name="connsiteX40622" fmla="*/ 4768003 w 8079933"/>
              <a:gd name="connsiteY40622" fmla="*/ 3582998 h 4687251"/>
              <a:gd name="connsiteX40623" fmla="*/ 4769740 w 8079933"/>
              <a:gd name="connsiteY40623" fmla="*/ 3582674 h 4687251"/>
              <a:gd name="connsiteX40624" fmla="*/ 4769740 w 8079933"/>
              <a:gd name="connsiteY40624" fmla="*/ 3578559 h 4687251"/>
              <a:gd name="connsiteX40625" fmla="*/ 4772453 w 8079933"/>
              <a:gd name="connsiteY40625" fmla="*/ 3572821 h 4687251"/>
              <a:gd name="connsiteX40626" fmla="*/ 4772778 w 8079933"/>
              <a:gd name="connsiteY40626" fmla="*/ 3577802 h 4687251"/>
              <a:gd name="connsiteX40627" fmla="*/ 4773972 w 8079933"/>
              <a:gd name="connsiteY40627" fmla="*/ 3577693 h 4687251"/>
              <a:gd name="connsiteX40628" fmla="*/ 4773646 w 8079933"/>
              <a:gd name="connsiteY40628" fmla="*/ 3584190 h 4687251"/>
              <a:gd name="connsiteX40629" fmla="*/ 4771693 w 8079933"/>
              <a:gd name="connsiteY40629" fmla="*/ 3586680 h 4687251"/>
              <a:gd name="connsiteX40630" fmla="*/ 4771259 w 8079933"/>
              <a:gd name="connsiteY40630" fmla="*/ 3593176 h 4687251"/>
              <a:gd name="connsiteX40631" fmla="*/ 4772344 w 8079933"/>
              <a:gd name="connsiteY40631" fmla="*/ 3594042 h 4687251"/>
              <a:gd name="connsiteX40632" fmla="*/ 4769522 w 8079933"/>
              <a:gd name="connsiteY40632" fmla="*/ 3601621 h 4687251"/>
              <a:gd name="connsiteX40633" fmla="*/ 4769522 w 8079933"/>
              <a:gd name="connsiteY40633" fmla="*/ 3605519 h 4687251"/>
              <a:gd name="connsiteX40634" fmla="*/ 4767353 w 8079933"/>
              <a:gd name="connsiteY40634" fmla="*/ 3608333 h 4687251"/>
              <a:gd name="connsiteX40635" fmla="*/ 4767027 w 8079933"/>
              <a:gd name="connsiteY40635" fmla="*/ 3613206 h 4687251"/>
              <a:gd name="connsiteX40636" fmla="*/ 4765725 w 8079933"/>
              <a:gd name="connsiteY40636" fmla="*/ 3613206 h 4687251"/>
              <a:gd name="connsiteX40637" fmla="*/ 4766593 w 8079933"/>
              <a:gd name="connsiteY40637" fmla="*/ 3617320 h 4687251"/>
              <a:gd name="connsiteX40638" fmla="*/ 4770174 w 8079933"/>
              <a:gd name="connsiteY40638" fmla="*/ 3615155 h 4687251"/>
              <a:gd name="connsiteX40639" fmla="*/ 4771042 w 8079933"/>
              <a:gd name="connsiteY40639" fmla="*/ 3617861 h 4687251"/>
              <a:gd name="connsiteX40640" fmla="*/ 4768003 w 8079933"/>
              <a:gd name="connsiteY40640" fmla="*/ 3622409 h 4687251"/>
              <a:gd name="connsiteX40641" fmla="*/ 4766593 w 8079933"/>
              <a:gd name="connsiteY40641" fmla="*/ 3628472 h 4687251"/>
              <a:gd name="connsiteX40642" fmla="*/ 4757912 w 8079933"/>
              <a:gd name="connsiteY40642" fmla="*/ 3637783 h 4687251"/>
              <a:gd name="connsiteX40643" fmla="*/ 4742393 w 8079933"/>
              <a:gd name="connsiteY40643" fmla="*/ 3644821 h 4687251"/>
              <a:gd name="connsiteX40644" fmla="*/ 4721341 w 8079933"/>
              <a:gd name="connsiteY40644" fmla="*/ 3648935 h 4687251"/>
              <a:gd name="connsiteX40645" fmla="*/ 4713311 w 8079933"/>
              <a:gd name="connsiteY40645" fmla="*/ 3656514 h 4687251"/>
              <a:gd name="connsiteX40646" fmla="*/ 4707234 w 8079933"/>
              <a:gd name="connsiteY40646" fmla="*/ 3658138 h 4687251"/>
              <a:gd name="connsiteX40647" fmla="*/ 4705389 w 8079933"/>
              <a:gd name="connsiteY40647" fmla="*/ 3660953 h 4687251"/>
              <a:gd name="connsiteX40648" fmla="*/ 4702351 w 8079933"/>
              <a:gd name="connsiteY40648" fmla="*/ 3663443 h 4687251"/>
              <a:gd name="connsiteX40649" fmla="*/ 4700615 w 8079933"/>
              <a:gd name="connsiteY40649" fmla="*/ 3669182 h 4687251"/>
              <a:gd name="connsiteX40650" fmla="*/ 4698119 w 8079933"/>
              <a:gd name="connsiteY40650" fmla="*/ 3669182 h 4687251"/>
              <a:gd name="connsiteX40651" fmla="*/ 4695949 w 8079933"/>
              <a:gd name="connsiteY40651" fmla="*/ 3670697 h 4687251"/>
              <a:gd name="connsiteX40652" fmla="*/ 4696925 w 8079933"/>
              <a:gd name="connsiteY40652" fmla="*/ 3671997 h 4687251"/>
              <a:gd name="connsiteX40653" fmla="*/ 4699204 w 8079933"/>
              <a:gd name="connsiteY40653" fmla="*/ 3676328 h 4687251"/>
              <a:gd name="connsiteX40654" fmla="*/ 4698987 w 8079933"/>
              <a:gd name="connsiteY40654" fmla="*/ 3680550 h 4687251"/>
              <a:gd name="connsiteX40655" fmla="*/ 4701157 w 8079933"/>
              <a:gd name="connsiteY40655" fmla="*/ 3677844 h 4687251"/>
              <a:gd name="connsiteX40656" fmla="*/ 4704630 w 8079933"/>
              <a:gd name="connsiteY40656" fmla="*/ 3678818 h 4687251"/>
              <a:gd name="connsiteX40657" fmla="*/ 4705606 w 8079933"/>
              <a:gd name="connsiteY40657" fmla="*/ 3674812 h 4687251"/>
              <a:gd name="connsiteX40658" fmla="*/ 4707234 w 8079933"/>
              <a:gd name="connsiteY40658" fmla="*/ 3674595 h 4687251"/>
              <a:gd name="connsiteX40659" fmla="*/ 4707343 w 8079933"/>
              <a:gd name="connsiteY40659" fmla="*/ 3676869 h 4687251"/>
              <a:gd name="connsiteX40660" fmla="*/ 4706366 w 8079933"/>
              <a:gd name="connsiteY40660" fmla="*/ 3683473 h 4687251"/>
              <a:gd name="connsiteX40661" fmla="*/ 4703979 w 8079933"/>
              <a:gd name="connsiteY40661" fmla="*/ 3687479 h 4687251"/>
              <a:gd name="connsiteX40662" fmla="*/ 4703870 w 8079933"/>
              <a:gd name="connsiteY40662" fmla="*/ 3691161 h 4687251"/>
              <a:gd name="connsiteX40663" fmla="*/ 4699095 w 8079933"/>
              <a:gd name="connsiteY40663" fmla="*/ 3691269 h 4687251"/>
              <a:gd name="connsiteX40664" fmla="*/ 4690851 w 8079933"/>
              <a:gd name="connsiteY40664" fmla="*/ 3689320 h 4687251"/>
              <a:gd name="connsiteX40665" fmla="*/ 4696491 w 8079933"/>
              <a:gd name="connsiteY40665" fmla="*/ 3692568 h 4687251"/>
              <a:gd name="connsiteX40666" fmla="*/ 4701266 w 8079933"/>
              <a:gd name="connsiteY40666" fmla="*/ 3692568 h 4687251"/>
              <a:gd name="connsiteX40667" fmla="*/ 4701266 w 8079933"/>
              <a:gd name="connsiteY40667" fmla="*/ 3693758 h 4687251"/>
              <a:gd name="connsiteX40668" fmla="*/ 4698336 w 8079933"/>
              <a:gd name="connsiteY40668" fmla="*/ 3697549 h 4687251"/>
              <a:gd name="connsiteX40669" fmla="*/ 4699747 w 8079933"/>
              <a:gd name="connsiteY40669" fmla="*/ 3697549 h 4687251"/>
              <a:gd name="connsiteX40670" fmla="*/ 4696818 w 8079933"/>
              <a:gd name="connsiteY40670" fmla="*/ 3706210 h 4687251"/>
              <a:gd name="connsiteX40671" fmla="*/ 4696058 w 8079933"/>
              <a:gd name="connsiteY40671" fmla="*/ 3713680 h 4687251"/>
              <a:gd name="connsiteX40672" fmla="*/ 4692476 w 8079933"/>
              <a:gd name="connsiteY40672" fmla="*/ 3720826 h 4687251"/>
              <a:gd name="connsiteX40673" fmla="*/ 4690089 w 8079933"/>
              <a:gd name="connsiteY40673" fmla="*/ 3730030 h 4687251"/>
              <a:gd name="connsiteX40674" fmla="*/ 4686617 w 8079933"/>
              <a:gd name="connsiteY40674" fmla="*/ 3734143 h 4687251"/>
              <a:gd name="connsiteX40675" fmla="*/ 4685532 w 8079933"/>
              <a:gd name="connsiteY40675" fmla="*/ 3738366 h 4687251"/>
              <a:gd name="connsiteX40676" fmla="*/ 4678912 w 8079933"/>
              <a:gd name="connsiteY40676" fmla="*/ 3746053 h 4687251"/>
              <a:gd name="connsiteX40677" fmla="*/ 4676850 w 8079933"/>
              <a:gd name="connsiteY40677" fmla="*/ 3746053 h 4687251"/>
              <a:gd name="connsiteX40678" fmla="*/ 4675440 w 8079933"/>
              <a:gd name="connsiteY40678" fmla="*/ 3748110 h 4687251"/>
              <a:gd name="connsiteX40679" fmla="*/ 4670556 w 8079933"/>
              <a:gd name="connsiteY40679" fmla="*/ 3750384 h 4687251"/>
              <a:gd name="connsiteX40680" fmla="*/ 4668277 w 8079933"/>
              <a:gd name="connsiteY40680" fmla="*/ 3753199 h 4687251"/>
              <a:gd name="connsiteX40681" fmla="*/ 4662526 w 8079933"/>
              <a:gd name="connsiteY40681" fmla="*/ 3756880 h 4687251"/>
              <a:gd name="connsiteX40682" fmla="*/ 4659596 w 8079933"/>
              <a:gd name="connsiteY40682" fmla="*/ 3762510 h 4687251"/>
              <a:gd name="connsiteX40683" fmla="*/ 4654930 w 8079933"/>
              <a:gd name="connsiteY40683" fmla="*/ 3767924 h 4687251"/>
              <a:gd name="connsiteX40684" fmla="*/ 4654930 w 8079933"/>
              <a:gd name="connsiteY40684" fmla="*/ 3770306 h 4687251"/>
              <a:gd name="connsiteX40685" fmla="*/ 4652217 w 8079933"/>
              <a:gd name="connsiteY40685" fmla="*/ 3775395 h 4687251"/>
              <a:gd name="connsiteX40686" fmla="*/ 4647659 w 8079933"/>
              <a:gd name="connsiteY40686" fmla="*/ 3775395 h 4687251"/>
              <a:gd name="connsiteX40687" fmla="*/ 4644078 w 8079933"/>
              <a:gd name="connsiteY40687" fmla="*/ 3782432 h 4687251"/>
              <a:gd name="connsiteX40688" fmla="*/ 4634094 w 8079933"/>
              <a:gd name="connsiteY40688" fmla="*/ 3798997 h 4687251"/>
              <a:gd name="connsiteX40689" fmla="*/ 4626499 w 8079933"/>
              <a:gd name="connsiteY40689" fmla="*/ 3806252 h 4687251"/>
              <a:gd name="connsiteX40690" fmla="*/ 4625196 w 8079933"/>
              <a:gd name="connsiteY40690" fmla="*/ 3812856 h 4687251"/>
              <a:gd name="connsiteX40691" fmla="*/ 4620747 w 8079933"/>
              <a:gd name="connsiteY40691" fmla="*/ 3814805 h 4687251"/>
              <a:gd name="connsiteX40692" fmla="*/ 4616514 w 8079933"/>
              <a:gd name="connsiteY40692" fmla="*/ 3819785 h 4687251"/>
              <a:gd name="connsiteX40693" fmla="*/ 4614128 w 8079933"/>
              <a:gd name="connsiteY40693" fmla="*/ 3819785 h 4687251"/>
              <a:gd name="connsiteX40694" fmla="*/ 4613042 w 8079933"/>
              <a:gd name="connsiteY40694" fmla="*/ 3821734 h 4687251"/>
              <a:gd name="connsiteX40695" fmla="*/ 4588083 w 8079933"/>
              <a:gd name="connsiteY40695" fmla="*/ 3846312 h 4687251"/>
              <a:gd name="connsiteX40696" fmla="*/ 4585045 w 8079933"/>
              <a:gd name="connsiteY40696" fmla="*/ 3846312 h 4687251"/>
              <a:gd name="connsiteX40697" fmla="*/ 4585045 w 8079933"/>
              <a:gd name="connsiteY40697" fmla="*/ 3847611 h 4687251"/>
              <a:gd name="connsiteX40698" fmla="*/ 4581030 w 8079933"/>
              <a:gd name="connsiteY40698" fmla="*/ 3852158 h 4687251"/>
              <a:gd name="connsiteX40699" fmla="*/ 4564644 w 8079933"/>
              <a:gd name="connsiteY40699" fmla="*/ 3862985 h 4687251"/>
              <a:gd name="connsiteX40700" fmla="*/ 4561171 w 8079933"/>
              <a:gd name="connsiteY40700" fmla="*/ 3866883 h 4687251"/>
              <a:gd name="connsiteX40701" fmla="*/ 4555420 w 8079933"/>
              <a:gd name="connsiteY40701" fmla="*/ 3868615 h 4687251"/>
              <a:gd name="connsiteX40702" fmla="*/ 4555420 w 8079933"/>
              <a:gd name="connsiteY40702" fmla="*/ 3870131 h 4687251"/>
              <a:gd name="connsiteX40703" fmla="*/ 4546305 w 8079933"/>
              <a:gd name="connsiteY40703" fmla="*/ 3872513 h 4687251"/>
              <a:gd name="connsiteX40704" fmla="*/ 4541096 w 8079933"/>
              <a:gd name="connsiteY40704" fmla="*/ 3875761 h 4687251"/>
              <a:gd name="connsiteX40705" fmla="*/ 4535670 w 8079933"/>
              <a:gd name="connsiteY40705" fmla="*/ 3875761 h 4687251"/>
              <a:gd name="connsiteX40706" fmla="*/ 4533065 w 8079933"/>
              <a:gd name="connsiteY40706" fmla="*/ 3873812 h 4687251"/>
              <a:gd name="connsiteX40707" fmla="*/ 4525795 w 8079933"/>
              <a:gd name="connsiteY40707" fmla="*/ 3873812 h 4687251"/>
              <a:gd name="connsiteX40708" fmla="*/ 4519718 w 8079933"/>
              <a:gd name="connsiteY40708" fmla="*/ 3875652 h 4687251"/>
              <a:gd name="connsiteX40709" fmla="*/ 4517222 w 8079933"/>
              <a:gd name="connsiteY40709" fmla="*/ 3879984 h 4687251"/>
              <a:gd name="connsiteX40710" fmla="*/ 4520803 w 8079933"/>
              <a:gd name="connsiteY40710" fmla="*/ 3883015 h 4687251"/>
              <a:gd name="connsiteX40711" fmla="*/ 4520803 w 8079933"/>
              <a:gd name="connsiteY40711" fmla="*/ 3884314 h 4687251"/>
              <a:gd name="connsiteX40712" fmla="*/ 4512447 w 8079933"/>
              <a:gd name="connsiteY40712" fmla="*/ 3884314 h 4687251"/>
              <a:gd name="connsiteX40713" fmla="*/ 4507564 w 8079933"/>
              <a:gd name="connsiteY40713" fmla="*/ 3881824 h 4687251"/>
              <a:gd name="connsiteX40714" fmla="*/ 4503657 w 8079933"/>
              <a:gd name="connsiteY40714" fmla="*/ 3881824 h 4687251"/>
              <a:gd name="connsiteX40715" fmla="*/ 4500293 w 8079933"/>
              <a:gd name="connsiteY40715" fmla="*/ 3885180 h 4687251"/>
              <a:gd name="connsiteX40716" fmla="*/ 4501704 w 8079933"/>
              <a:gd name="connsiteY40716" fmla="*/ 3888212 h 4687251"/>
              <a:gd name="connsiteX40717" fmla="*/ 4500185 w 8079933"/>
              <a:gd name="connsiteY40717" fmla="*/ 3889728 h 4687251"/>
              <a:gd name="connsiteX40718" fmla="*/ 4488682 w 8079933"/>
              <a:gd name="connsiteY40718" fmla="*/ 3887237 h 4687251"/>
              <a:gd name="connsiteX40719" fmla="*/ 4485427 w 8079933"/>
              <a:gd name="connsiteY40719" fmla="*/ 3884747 h 4687251"/>
              <a:gd name="connsiteX40720" fmla="*/ 4474575 w 8079933"/>
              <a:gd name="connsiteY40720" fmla="*/ 3881933 h 4687251"/>
              <a:gd name="connsiteX40721" fmla="*/ 4467304 w 8079933"/>
              <a:gd name="connsiteY40721" fmla="*/ 3883340 h 4687251"/>
              <a:gd name="connsiteX40722" fmla="*/ 4467304 w 8079933"/>
              <a:gd name="connsiteY40722" fmla="*/ 3883123 h 4687251"/>
              <a:gd name="connsiteX40723" fmla="*/ 4463506 w 8079933"/>
              <a:gd name="connsiteY40723" fmla="*/ 3884531 h 4687251"/>
              <a:gd name="connsiteX40724" fmla="*/ 4457863 w 8079933"/>
              <a:gd name="connsiteY40724" fmla="*/ 3881500 h 4687251"/>
              <a:gd name="connsiteX40725" fmla="*/ 4445059 w 8079933"/>
              <a:gd name="connsiteY40725" fmla="*/ 3881500 h 4687251"/>
              <a:gd name="connsiteX40726" fmla="*/ 4441261 w 8079933"/>
              <a:gd name="connsiteY40726" fmla="*/ 3883231 h 4687251"/>
              <a:gd name="connsiteX40727" fmla="*/ 4440067 w 8079933"/>
              <a:gd name="connsiteY40727" fmla="*/ 3887129 h 4687251"/>
              <a:gd name="connsiteX40728" fmla="*/ 4437571 w 8079933"/>
              <a:gd name="connsiteY40728" fmla="*/ 3885939 h 4687251"/>
              <a:gd name="connsiteX40729" fmla="*/ 4434641 w 8079933"/>
              <a:gd name="connsiteY40729" fmla="*/ 3886804 h 4687251"/>
              <a:gd name="connsiteX40730" fmla="*/ 4432037 w 8079933"/>
              <a:gd name="connsiteY40730" fmla="*/ 3888971 h 4687251"/>
              <a:gd name="connsiteX40731" fmla="*/ 4430625 w 8079933"/>
              <a:gd name="connsiteY40731" fmla="*/ 3890919 h 4687251"/>
              <a:gd name="connsiteX40732" fmla="*/ 4424983 w 8079933"/>
              <a:gd name="connsiteY40732" fmla="*/ 3890919 h 4687251"/>
              <a:gd name="connsiteX40733" fmla="*/ 4421293 w 8079933"/>
              <a:gd name="connsiteY40733" fmla="*/ 3892543 h 4687251"/>
              <a:gd name="connsiteX40734" fmla="*/ 4414240 w 8079933"/>
              <a:gd name="connsiteY40734" fmla="*/ 3890053 h 4687251"/>
              <a:gd name="connsiteX40735" fmla="*/ 4408271 w 8079933"/>
              <a:gd name="connsiteY40735" fmla="*/ 3890053 h 4687251"/>
              <a:gd name="connsiteX40736" fmla="*/ 4407078 w 8079933"/>
              <a:gd name="connsiteY40736" fmla="*/ 3891785 h 4687251"/>
              <a:gd name="connsiteX40737" fmla="*/ 4401326 w 8079933"/>
              <a:gd name="connsiteY40737" fmla="*/ 3890486 h 4687251"/>
              <a:gd name="connsiteX40738" fmla="*/ 4396226 w 8079933"/>
              <a:gd name="connsiteY40738" fmla="*/ 3896333 h 4687251"/>
              <a:gd name="connsiteX40739" fmla="*/ 4391886 w 8079933"/>
              <a:gd name="connsiteY40739" fmla="*/ 3897091 h 4687251"/>
              <a:gd name="connsiteX40740" fmla="*/ 4390366 w 8079933"/>
              <a:gd name="connsiteY40740" fmla="*/ 3900555 h 4687251"/>
              <a:gd name="connsiteX40741" fmla="*/ 4387871 w 8079933"/>
              <a:gd name="connsiteY40741" fmla="*/ 3899689 h 4687251"/>
              <a:gd name="connsiteX40742" fmla="*/ 4385591 w 8079933"/>
              <a:gd name="connsiteY40742" fmla="*/ 3900771 h 4687251"/>
              <a:gd name="connsiteX40743" fmla="*/ 4373655 w 8079933"/>
              <a:gd name="connsiteY40743" fmla="*/ 3895142 h 4687251"/>
              <a:gd name="connsiteX40744" fmla="*/ 4371267 w 8079933"/>
              <a:gd name="connsiteY40744" fmla="*/ 3896549 h 4687251"/>
              <a:gd name="connsiteX40745" fmla="*/ 4371267 w 8079933"/>
              <a:gd name="connsiteY40745" fmla="*/ 3890811 h 4687251"/>
              <a:gd name="connsiteX40746" fmla="*/ 4366709 w 8079933"/>
              <a:gd name="connsiteY40746" fmla="*/ 3888537 h 4687251"/>
              <a:gd name="connsiteX40747" fmla="*/ 4363237 w 8079933"/>
              <a:gd name="connsiteY40747" fmla="*/ 3890269 h 4687251"/>
              <a:gd name="connsiteX40748" fmla="*/ 4360958 w 8079933"/>
              <a:gd name="connsiteY40748" fmla="*/ 3889295 h 4687251"/>
              <a:gd name="connsiteX40749" fmla="*/ 4362911 w 8079933"/>
              <a:gd name="connsiteY40749" fmla="*/ 3887671 h 4687251"/>
              <a:gd name="connsiteX40750" fmla="*/ 4361609 w 8079933"/>
              <a:gd name="connsiteY40750" fmla="*/ 3882690 h 4687251"/>
              <a:gd name="connsiteX40751" fmla="*/ 4356075 w 8079933"/>
              <a:gd name="connsiteY40751" fmla="*/ 3881715 h 4687251"/>
              <a:gd name="connsiteX40752" fmla="*/ 4352060 w 8079933"/>
              <a:gd name="connsiteY40752" fmla="*/ 3885289 h 4687251"/>
              <a:gd name="connsiteX40753" fmla="*/ 4352060 w 8079933"/>
              <a:gd name="connsiteY40753" fmla="*/ 3889728 h 4687251"/>
              <a:gd name="connsiteX40754" fmla="*/ 4349021 w 8079933"/>
              <a:gd name="connsiteY40754" fmla="*/ 3887455 h 4687251"/>
              <a:gd name="connsiteX40755" fmla="*/ 4349021 w 8079933"/>
              <a:gd name="connsiteY40755" fmla="*/ 3882582 h 4687251"/>
              <a:gd name="connsiteX40756" fmla="*/ 4350757 w 8079933"/>
              <a:gd name="connsiteY40756" fmla="*/ 3878468 h 4687251"/>
              <a:gd name="connsiteX40757" fmla="*/ 4349672 w 8079933"/>
              <a:gd name="connsiteY40757" fmla="*/ 3872513 h 4687251"/>
              <a:gd name="connsiteX40758" fmla="*/ 4352928 w 8079933"/>
              <a:gd name="connsiteY40758" fmla="*/ 3867208 h 4687251"/>
              <a:gd name="connsiteX40759" fmla="*/ 4348696 w 8079933"/>
              <a:gd name="connsiteY40759" fmla="*/ 3859521 h 4687251"/>
              <a:gd name="connsiteX40760" fmla="*/ 4344464 w 8079933"/>
              <a:gd name="connsiteY40760" fmla="*/ 3855731 h 4687251"/>
              <a:gd name="connsiteX40761" fmla="*/ 4340883 w 8079933"/>
              <a:gd name="connsiteY40761" fmla="*/ 3849560 h 4687251"/>
              <a:gd name="connsiteX40762" fmla="*/ 4340883 w 8079933"/>
              <a:gd name="connsiteY40762" fmla="*/ 3843388 h 4687251"/>
              <a:gd name="connsiteX40763" fmla="*/ 4343378 w 8079933"/>
              <a:gd name="connsiteY40763" fmla="*/ 3841006 h 4687251"/>
              <a:gd name="connsiteX40764" fmla="*/ 4345766 w 8079933"/>
              <a:gd name="connsiteY40764" fmla="*/ 3843388 h 4687251"/>
              <a:gd name="connsiteX40765" fmla="*/ 4347936 w 8079933"/>
              <a:gd name="connsiteY40765" fmla="*/ 3843388 h 4687251"/>
              <a:gd name="connsiteX40766" fmla="*/ 4350757 w 8079933"/>
              <a:gd name="connsiteY40766" fmla="*/ 3840357 h 4687251"/>
              <a:gd name="connsiteX40767" fmla="*/ 4352169 w 8079933"/>
              <a:gd name="connsiteY40767" fmla="*/ 3832994 h 4687251"/>
              <a:gd name="connsiteX40768" fmla="*/ 4349564 w 8079933"/>
              <a:gd name="connsiteY40768" fmla="*/ 3824982 h 4687251"/>
              <a:gd name="connsiteX40769" fmla="*/ 4349564 w 8079933"/>
              <a:gd name="connsiteY40769" fmla="*/ 3821409 h 4687251"/>
              <a:gd name="connsiteX40770" fmla="*/ 4342728 w 8079933"/>
              <a:gd name="connsiteY40770" fmla="*/ 3810582 h 4687251"/>
              <a:gd name="connsiteX40771" fmla="*/ 4342728 w 8079933"/>
              <a:gd name="connsiteY40771" fmla="*/ 3805385 h 4687251"/>
              <a:gd name="connsiteX40772" fmla="*/ 4335999 w 8079933"/>
              <a:gd name="connsiteY40772" fmla="*/ 3796724 h 4687251"/>
              <a:gd name="connsiteX40773" fmla="*/ 4332960 w 8079933"/>
              <a:gd name="connsiteY40773" fmla="*/ 3782865 h 4687251"/>
              <a:gd name="connsiteX40774" fmla="*/ 4327861 w 8079933"/>
              <a:gd name="connsiteY40774" fmla="*/ 3769656 h 4687251"/>
              <a:gd name="connsiteX40775" fmla="*/ 4327861 w 8079933"/>
              <a:gd name="connsiteY40775" fmla="*/ 3762943 h 4687251"/>
              <a:gd name="connsiteX40776" fmla="*/ 4322760 w 8079933"/>
              <a:gd name="connsiteY40776" fmla="*/ 3748327 h 4687251"/>
              <a:gd name="connsiteX40777" fmla="*/ 4314947 w 8079933"/>
              <a:gd name="connsiteY40777" fmla="*/ 3742696 h 4687251"/>
              <a:gd name="connsiteX40778" fmla="*/ 4313704 w 8079933"/>
              <a:gd name="connsiteY40778" fmla="*/ 3735256 h 4687251"/>
              <a:gd name="connsiteX40779" fmla="*/ 4307784 w 8079933"/>
              <a:gd name="connsiteY40779" fmla="*/ 3731003 h 4687251"/>
              <a:gd name="connsiteX40780" fmla="*/ 4306483 w 8079933"/>
              <a:gd name="connsiteY40780" fmla="*/ 3727755 h 4687251"/>
              <a:gd name="connsiteX40781" fmla="*/ 4300731 w 8079933"/>
              <a:gd name="connsiteY40781" fmla="*/ 3722016 h 4687251"/>
              <a:gd name="connsiteX40782" fmla="*/ 4294980 w 8079933"/>
              <a:gd name="connsiteY40782" fmla="*/ 3710648 h 4687251"/>
              <a:gd name="connsiteX40783" fmla="*/ 4290531 w 8079933"/>
              <a:gd name="connsiteY40783" fmla="*/ 3704693 h 4687251"/>
              <a:gd name="connsiteX40784" fmla="*/ 4290096 w 8079933"/>
              <a:gd name="connsiteY40784" fmla="*/ 3695382 h 4687251"/>
              <a:gd name="connsiteX40785" fmla="*/ 4286407 w 8079933"/>
              <a:gd name="connsiteY40785" fmla="*/ 3691268 h 4687251"/>
              <a:gd name="connsiteX40786" fmla="*/ 4286407 w 8079933"/>
              <a:gd name="connsiteY40786" fmla="*/ 3686396 h 4687251"/>
              <a:gd name="connsiteX40787" fmla="*/ 4288903 w 8079933"/>
              <a:gd name="connsiteY40787" fmla="*/ 3684447 h 4687251"/>
              <a:gd name="connsiteX40788" fmla="*/ 4286732 w 8079933"/>
              <a:gd name="connsiteY40788" fmla="*/ 3680224 h 4687251"/>
              <a:gd name="connsiteX40789" fmla="*/ 4283477 w 8079933"/>
              <a:gd name="connsiteY40789" fmla="*/ 3678492 h 4687251"/>
              <a:gd name="connsiteX40790" fmla="*/ 4281741 w 8079933"/>
              <a:gd name="connsiteY40790" fmla="*/ 3666041 h 4687251"/>
              <a:gd name="connsiteX40791" fmla="*/ 4278811 w 8079933"/>
              <a:gd name="connsiteY40791" fmla="*/ 3662359 h 4687251"/>
              <a:gd name="connsiteX40792" fmla="*/ 4282283 w 8079933"/>
              <a:gd name="connsiteY40792" fmla="*/ 3660194 h 4687251"/>
              <a:gd name="connsiteX40793" fmla="*/ 4280113 w 8079933"/>
              <a:gd name="connsiteY40793" fmla="*/ 3653373 h 4687251"/>
              <a:gd name="connsiteX40794" fmla="*/ 4280873 w 8079933"/>
              <a:gd name="connsiteY40794" fmla="*/ 3643304 h 4687251"/>
              <a:gd name="connsiteX40795" fmla="*/ 4273710 w 8079933"/>
              <a:gd name="connsiteY40795" fmla="*/ 3624573 h 4687251"/>
              <a:gd name="connsiteX40796" fmla="*/ 4273059 w 8079933"/>
              <a:gd name="connsiteY40796" fmla="*/ 3606059 h 4687251"/>
              <a:gd name="connsiteX40797" fmla="*/ 4269587 w 8079933"/>
              <a:gd name="connsiteY40797" fmla="*/ 3593824 h 4687251"/>
              <a:gd name="connsiteX40798" fmla="*/ 4272734 w 8079933"/>
              <a:gd name="connsiteY40798" fmla="*/ 3592525 h 4687251"/>
              <a:gd name="connsiteX40799" fmla="*/ 4272734 w 8079933"/>
              <a:gd name="connsiteY40799" fmla="*/ 3582672 h 4687251"/>
              <a:gd name="connsiteX40800" fmla="*/ 4260037 w 8079933"/>
              <a:gd name="connsiteY40800" fmla="*/ 3564375 h 4687251"/>
              <a:gd name="connsiteX40801" fmla="*/ 4260037 w 8079933"/>
              <a:gd name="connsiteY40801" fmla="*/ 3557770 h 4687251"/>
              <a:gd name="connsiteX40802" fmla="*/ 4248101 w 8079933"/>
              <a:gd name="connsiteY40802" fmla="*/ 3540772 h 4687251"/>
              <a:gd name="connsiteX40803" fmla="*/ 4246256 w 8079933"/>
              <a:gd name="connsiteY40803" fmla="*/ 3530161 h 4687251"/>
              <a:gd name="connsiteX40804" fmla="*/ 4234427 w 8079933"/>
              <a:gd name="connsiteY40804" fmla="*/ 3503635 h 4687251"/>
              <a:gd name="connsiteX40805" fmla="*/ 4226831 w 8079933"/>
              <a:gd name="connsiteY40805" fmla="*/ 3490643 h 4687251"/>
              <a:gd name="connsiteX40806" fmla="*/ 4212724 w 8079933"/>
              <a:gd name="connsiteY40806" fmla="*/ 3476135 h 4687251"/>
              <a:gd name="connsiteX40807" fmla="*/ 4211422 w 8079933"/>
              <a:gd name="connsiteY40807" fmla="*/ 3455888 h 4687251"/>
              <a:gd name="connsiteX40808" fmla="*/ 4211423 w 8079933"/>
              <a:gd name="connsiteY40808" fmla="*/ 3455888 h 4687251"/>
              <a:gd name="connsiteX40809" fmla="*/ 4211314 w 8079933"/>
              <a:gd name="connsiteY40809" fmla="*/ 3453398 h 4687251"/>
              <a:gd name="connsiteX40810" fmla="*/ 4212291 w 8079933"/>
              <a:gd name="connsiteY40810" fmla="*/ 3445820 h 4687251"/>
              <a:gd name="connsiteX40811" fmla="*/ 4211965 w 8079933"/>
              <a:gd name="connsiteY40811" fmla="*/ 3434235 h 4687251"/>
              <a:gd name="connsiteX40812" fmla="*/ 4213050 w 8079933"/>
              <a:gd name="connsiteY40812" fmla="*/ 3426656 h 4687251"/>
              <a:gd name="connsiteX40813" fmla="*/ 4213050 w 8079933"/>
              <a:gd name="connsiteY40813" fmla="*/ 3417994 h 4687251"/>
              <a:gd name="connsiteX40814" fmla="*/ 4219561 w 8079933"/>
              <a:gd name="connsiteY40814" fmla="*/ 3410090 h 4687251"/>
              <a:gd name="connsiteX40815" fmla="*/ 4221080 w 8079933"/>
              <a:gd name="connsiteY40815" fmla="*/ 3400996 h 4687251"/>
              <a:gd name="connsiteX40816" fmla="*/ 4226832 w 8079933"/>
              <a:gd name="connsiteY40816" fmla="*/ 3393417 h 4687251"/>
              <a:gd name="connsiteX40817" fmla="*/ 4226832 w 8079933"/>
              <a:gd name="connsiteY40817" fmla="*/ 3374252 h 4687251"/>
              <a:gd name="connsiteX40818" fmla="*/ 4229002 w 8079933"/>
              <a:gd name="connsiteY40818" fmla="*/ 3372413 h 4687251"/>
              <a:gd name="connsiteX40819" fmla="*/ 4229328 w 8079933"/>
              <a:gd name="connsiteY40819" fmla="*/ 3364509 h 4687251"/>
              <a:gd name="connsiteX40820" fmla="*/ 4242350 w 8079933"/>
              <a:gd name="connsiteY40820" fmla="*/ 3352923 h 4687251"/>
              <a:gd name="connsiteX40821" fmla="*/ 4242784 w 8079933"/>
              <a:gd name="connsiteY40821" fmla="*/ 3347185 h 4687251"/>
              <a:gd name="connsiteX40822" fmla="*/ 4253310 w 8079933"/>
              <a:gd name="connsiteY40822" fmla="*/ 3339173 h 4687251"/>
              <a:gd name="connsiteX40823" fmla="*/ 4256131 w 8079933"/>
              <a:gd name="connsiteY40823" fmla="*/ 3339173 h 4687251"/>
              <a:gd name="connsiteX40824" fmla="*/ 4265572 w 8079933"/>
              <a:gd name="connsiteY40824" fmla="*/ 3321525 h 4687251"/>
              <a:gd name="connsiteX40825" fmla="*/ 4265572 w 8079933"/>
              <a:gd name="connsiteY40825" fmla="*/ 3300520 h 4687251"/>
              <a:gd name="connsiteX40826" fmla="*/ 4262642 w 8079933"/>
              <a:gd name="connsiteY40826" fmla="*/ 3296948 h 4687251"/>
              <a:gd name="connsiteX40827" fmla="*/ 4263077 w 8079933"/>
              <a:gd name="connsiteY40827" fmla="*/ 3292942 h 4687251"/>
              <a:gd name="connsiteX40828" fmla="*/ 4253961 w 8079933"/>
              <a:gd name="connsiteY40828" fmla="*/ 3278108 h 4687251"/>
              <a:gd name="connsiteX40829" fmla="*/ 4253961 w 8079933"/>
              <a:gd name="connsiteY40829" fmla="*/ 3271937 h 4687251"/>
              <a:gd name="connsiteX40830" fmla="*/ 4250379 w 8079933"/>
              <a:gd name="connsiteY40830" fmla="*/ 3266199 h 4687251"/>
              <a:gd name="connsiteX40831" fmla="*/ 4250379 w 8079933"/>
              <a:gd name="connsiteY40831" fmla="*/ 3257537 h 4687251"/>
              <a:gd name="connsiteX40832" fmla="*/ 4246040 w 8079933"/>
              <a:gd name="connsiteY40832" fmla="*/ 3255372 h 4687251"/>
              <a:gd name="connsiteX40833" fmla="*/ 4253636 w 8079933"/>
              <a:gd name="connsiteY40833" fmla="*/ 3245627 h 4687251"/>
              <a:gd name="connsiteX40834" fmla="*/ 4254720 w 8079933"/>
              <a:gd name="connsiteY40834" fmla="*/ 3236208 h 4687251"/>
              <a:gd name="connsiteX40835" fmla="*/ 4247450 w 8079933"/>
              <a:gd name="connsiteY40835" fmla="*/ 3226139 h 4687251"/>
              <a:gd name="connsiteX40836" fmla="*/ 4247016 w 8079933"/>
              <a:gd name="connsiteY40836" fmla="*/ 3207516 h 4687251"/>
              <a:gd name="connsiteX40837" fmla="*/ 4233777 w 8079933"/>
              <a:gd name="connsiteY40837" fmla="*/ 3192683 h 4687251"/>
              <a:gd name="connsiteX40838" fmla="*/ 4233777 w 8079933"/>
              <a:gd name="connsiteY40838" fmla="*/ 3189219 h 4687251"/>
              <a:gd name="connsiteX40839" fmla="*/ 4231281 w 8079933"/>
              <a:gd name="connsiteY40839" fmla="*/ 3186187 h 4687251"/>
              <a:gd name="connsiteX40840" fmla="*/ 4238117 w 8079933"/>
              <a:gd name="connsiteY40840" fmla="*/ 3182397 h 4687251"/>
              <a:gd name="connsiteX40841" fmla="*/ 4238552 w 8079933"/>
              <a:gd name="connsiteY40841" fmla="*/ 3182397 h 4687251"/>
              <a:gd name="connsiteX40842" fmla="*/ 4238986 w 8079933"/>
              <a:gd name="connsiteY40842" fmla="*/ 3182181 h 4687251"/>
              <a:gd name="connsiteX40843" fmla="*/ 4239854 w 8079933"/>
              <a:gd name="connsiteY40843" fmla="*/ 3181098 h 4687251"/>
              <a:gd name="connsiteX40844" fmla="*/ 4241699 w 8079933"/>
              <a:gd name="connsiteY40844" fmla="*/ 3181098 h 4687251"/>
              <a:gd name="connsiteX40845" fmla="*/ 4243218 w 8079933"/>
              <a:gd name="connsiteY40845" fmla="*/ 3180340 h 4687251"/>
              <a:gd name="connsiteX40846" fmla="*/ 4247341 w 8079933"/>
              <a:gd name="connsiteY40846" fmla="*/ 3179149 h 4687251"/>
              <a:gd name="connsiteX40847" fmla="*/ 4251139 w 8079933"/>
              <a:gd name="connsiteY40847" fmla="*/ 3178283 h 4687251"/>
              <a:gd name="connsiteX40848" fmla="*/ 4254720 w 8079933"/>
              <a:gd name="connsiteY40848" fmla="*/ 3178716 h 4687251"/>
              <a:gd name="connsiteX40849" fmla="*/ 4258084 w 8079933"/>
              <a:gd name="connsiteY40849" fmla="*/ 3179040 h 4687251"/>
              <a:gd name="connsiteX40850" fmla="*/ 4262859 w 8079933"/>
              <a:gd name="connsiteY40850" fmla="*/ 3179040 h 4687251"/>
              <a:gd name="connsiteX40851" fmla="*/ 4268393 w 8079933"/>
              <a:gd name="connsiteY40851" fmla="*/ 3178825 h 4687251"/>
              <a:gd name="connsiteX40852" fmla="*/ 4275447 w 8079933"/>
              <a:gd name="connsiteY40852" fmla="*/ 3178499 h 4687251"/>
              <a:gd name="connsiteX40853" fmla="*/ 4279245 w 8079933"/>
              <a:gd name="connsiteY40853" fmla="*/ 3178825 h 4687251"/>
              <a:gd name="connsiteX40854" fmla="*/ 4286841 w 8079933"/>
              <a:gd name="connsiteY40854" fmla="*/ 3179149 h 4687251"/>
              <a:gd name="connsiteX40855" fmla="*/ 4295089 w 8079933"/>
              <a:gd name="connsiteY40855" fmla="*/ 3178499 h 4687251"/>
              <a:gd name="connsiteX40856" fmla="*/ 4312017 w 8079933"/>
              <a:gd name="connsiteY40856" fmla="*/ 3178499 h 4687251"/>
              <a:gd name="connsiteX40857" fmla="*/ 4336976 w 8079933"/>
              <a:gd name="connsiteY40857" fmla="*/ 3178607 h 4687251"/>
              <a:gd name="connsiteX40858" fmla="*/ 4336976 w 8079933"/>
              <a:gd name="connsiteY40858" fmla="*/ 3178607 h 4687251"/>
              <a:gd name="connsiteX40859" fmla="*/ 4312016 w 8079933"/>
              <a:gd name="connsiteY40859" fmla="*/ 3178498 h 4687251"/>
              <a:gd name="connsiteX40860" fmla="*/ 4295088 w 8079933"/>
              <a:gd name="connsiteY40860" fmla="*/ 3178498 h 4687251"/>
              <a:gd name="connsiteX40861" fmla="*/ 4286841 w 8079933"/>
              <a:gd name="connsiteY40861" fmla="*/ 3179148 h 4687251"/>
              <a:gd name="connsiteX40862" fmla="*/ 4279244 w 8079933"/>
              <a:gd name="connsiteY40862" fmla="*/ 3178824 h 4687251"/>
              <a:gd name="connsiteX40863" fmla="*/ 4275446 w 8079933"/>
              <a:gd name="connsiteY40863" fmla="*/ 3178498 h 4687251"/>
              <a:gd name="connsiteX40864" fmla="*/ 4268393 w 8079933"/>
              <a:gd name="connsiteY40864" fmla="*/ 3178824 h 4687251"/>
              <a:gd name="connsiteX40865" fmla="*/ 4262859 w 8079933"/>
              <a:gd name="connsiteY40865" fmla="*/ 3179039 h 4687251"/>
              <a:gd name="connsiteX40866" fmla="*/ 4258084 w 8079933"/>
              <a:gd name="connsiteY40866" fmla="*/ 3179039 h 4687251"/>
              <a:gd name="connsiteX40867" fmla="*/ 4254720 w 8079933"/>
              <a:gd name="connsiteY40867" fmla="*/ 3178715 h 4687251"/>
              <a:gd name="connsiteX40868" fmla="*/ 4251139 w 8079933"/>
              <a:gd name="connsiteY40868" fmla="*/ 3178282 h 4687251"/>
              <a:gd name="connsiteX40869" fmla="*/ 4247340 w 8079933"/>
              <a:gd name="connsiteY40869" fmla="*/ 3179148 h 4687251"/>
              <a:gd name="connsiteX40870" fmla="*/ 4243217 w 8079933"/>
              <a:gd name="connsiteY40870" fmla="*/ 3180339 h 4687251"/>
              <a:gd name="connsiteX40871" fmla="*/ 4241698 w 8079933"/>
              <a:gd name="connsiteY40871" fmla="*/ 3181097 h 4687251"/>
              <a:gd name="connsiteX40872" fmla="*/ 4239853 w 8079933"/>
              <a:gd name="connsiteY40872" fmla="*/ 3181097 h 4687251"/>
              <a:gd name="connsiteX40873" fmla="*/ 4238985 w 8079933"/>
              <a:gd name="connsiteY40873" fmla="*/ 3182180 h 4687251"/>
              <a:gd name="connsiteX40874" fmla="*/ 4238551 w 8079933"/>
              <a:gd name="connsiteY40874" fmla="*/ 3182396 h 4687251"/>
              <a:gd name="connsiteX40875" fmla="*/ 4238117 w 8079933"/>
              <a:gd name="connsiteY40875" fmla="*/ 3182396 h 4687251"/>
              <a:gd name="connsiteX40876" fmla="*/ 4235295 w 8079933"/>
              <a:gd name="connsiteY40876" fmla="*/ 3180231 h 4687251"/>
              <a:gd name="connsiteX40877" fmla="*/ 4228350 w 8079933"/>
              <a:gd name="connsiteY40877" fmla="*/ 3180122 h 4687251"/>
              <a:gd name="connsiteX40878" fmla="*/ 4227157 w 8079933"/>
              <a:gd name="connsiteY40878" fmla="*/ 3177309 h 4687251"/>
              <a:gd name="connsiteX40879" fmla="*/ 4227157 w 8079933"/>
              <a:gd name="connsiteY40879" fmla="*/ 3177309 h 4687251"/>
              <a:gd name="connsiteX40880" fmla="*/ 4225855 w 8079933"/>
              <a:gd name="connsiteY40880" fmla="*/ 3174494 h 4687251"/>
              <a:gd name="connsiteX40881" fmla="*/ 4228567 w 8079933"/>
              <a:gd name="connsiteY40881" fmla="*/ 3169406 h 4687251"/>
              <a:gd name="connsiteX40882" fmla="*/ 4226940 w 8079933"/>
              <a:gd name="connsiteY40882" fmla="*/ 3162584 h 4687251"/>
              <a:gd name="connsiteX40883" fmla="*/ 4224010 w 8079933"/>
              <a:gd name="connsiteY40883" fmla="*/ 3159445 h 4687251"/>
              <a:gd name="connsiteX40884" fmla="*/ 4226397 w 8079933"/>
              <a:gd name="connsiteY40884" fmla="*/ 3158037 h 4687251"/>
              <a:gd name="connsiteX40885" fmla="*/ 4228676 w 8079933"/>
              <a:gd name="connsiteY40885" fmla="*/ 3152406 h 4687251"/>
              <a:gd name="connsiteX40886" fmla="*/ 4230303 w 8079933"/>
              <a:gd name="connsiteY40886" fmla="*/ 3152406 h 4687251"/>
              <a:gd name="connsiteX40887" fmla="*/ 4234101 w 8079933"/>
              <a:gd name="connsiteY40887" fmla="*/ 3150349 h 4687251"/>
              <a:gd name="connsiteX40888" fmla="*/ 4235121 w 8079933"/>
              <a:gd name="connsiteY40888" fmla="*/ 3147297 h 4687251"/>
              <a:gd name="connsiteX40889" fmla="*/ 4234101 w 8079933"/>
              <a:gd name="connsiteY40889" fmla="*/ 3150348 h 4687251"/>
              <a:gd name="connsiteX40890" fmla="*/ 4230303 w 8079933"/>
              <a:gd name="connsiteY40890" fmla="*/ 3152405 h 4687251"/>
              <a:gd name="connsiteX40891" fmla="*/ 4228675 w 8079933"/>
              <a:gd name="connsiteY40891" fmla="*/ 3152405 h 4687251"/>
              <a:gd name="connsiteX40892" fmla="*/ 4226397 w 8079933"/>
              <a:gd name="connsiteY40892" fmla="*/ 3158036 h 4687251"/>
              <a:gd name="connsiteX40893" fmla="*/ 4224009 w 8079933"/>
              <a:gd name="connsiteY40893" fmla="*/ 3159443 h 4687251"/>
              <a:gd name="connsiteX40894" fmla="*/ 4221296 w 8079933"/>
              <a:gd name="connsiteY40894" fmla="*/ 3156412 h 4687251"/>
              <a:gd name="connsiteX40895" fmla="*/ 4221513 w 8079933"/>
              <a:gd name="connsiteY40895" fmla="*/ 3151756 h 4687251"/>
              <a:gd name="connsiteX40896" fmla="*/ 4217715 w 8079933"/>
              <a:gd name="connsiteY40896" fmla="*/ 3147642 h 4687251"/>
              <a:gd name="connsiteX40897" fmla="*/ 4217498 w 8079933"/>
              <a:gd name="connsiteY40897" fmla="*/ 3143311 h 4687251"/>
              <a:gd name="connsiteX40898" fmla="*/ 4210336 w 8079933"/>
              <a:gd name="connsiteY40898" fmla="*/ 3138763 h 4687251"/>
              <a:gd name="connsiteX40899" fmla="*/ 4208600 w 8079933"/>
              <a:gd name="connsiteY40899" fmla="*/ 3135732 h 4687251"/>
              <a:gd name="connsiteX40900" fmla="*/ 4203934 w 8079933"/>
              <a:gd name="connsiteY40900" fmla="*/ 3131076 h 4687251"/>
              <a:gd name="connsiteX40901" fmla="*/ 4207406 w 8079933"/>
              <a:gd name="connsiteY40901" fmla="*/ 3126204 h 4687251"/>
              <a:gd name="connsiteX40902" fmla="*/ 4207841 w 8079933"/>
              <a:gd name="connsiteY40902" fmla="*/ 3122956 h 4687251"/>
              <a:gd name="connsiteX40903" fmla="*/ 4210119 w 8079933"/>
              <a:gd name="connsiteY40903" fmla="*/ 3121873 h 4687251"/>
              <a:gd name="connsiteX40904" fmla="*/ 4214460 w 8079933"/>
              <a:gd name="connsiteY40904" fmla="*/ 3121657 h 4687251"/>
              <a:gd name="connsiteX40905" fmla="*/ 4210119 w 8079933"/>
              <a:gd name="connsiteY40905" fmla="*/ 3121873 h 4687251"/>
              <a:gd name="connsiteX40906" fmla="*/ 4207840 w 8079933"/>
              <a:gd name="connsiteY40906" fmla="*/ 3122956 h 4687251"/>
              <a:gd name="connsiteX40907" fmla="*/ 4207406 w 8079933"/>
              <a:gd name="connsiteY40907" fmla="*/ 3126204 h 4687251"/>
              <a:gd name="connsiteX40908" fmla="*/ 4203933 w 8079933"/>
              <a:gd name="connsiteY40908" fmla="*/ 3131076 h 4687251"/>
              <a:gd name="connsiteX40909" fmla="*/ 4202848 w 8079933"/>
              <a:gd name="connsiteY40909" fmla="*/ 3130102 h 4687251"/>
              <a:gd name="connsiteX40910" fmla="*/ 4198725 w 8079933"/>
              <a:gd name="connsiteY40910" fmla="*/ 3128478 h 4687251"/>
              <a:gd name="connsiteX40911" fmla="*/ 4197966 w 8079933"/>
              <a:gd name="connsiteY40911" fmla="*/ 3124471 h 4687251"/>
              <a:gd name="connsiteX40912" fmla="*/ 4189284 w 8079933"/>
              <a:gd name="connsiteY40912" fmla="*/ 3120358 h 4687251"/>
              <a:gd name="connsiteX40913" fmla="*/ 4187113 w 8079933"/>
              <a:gd name="connsiteY40913" fmla="*/ 3115161 h 4687251"/>
              <a:gd name="connsiteX40914" fmla="*/ 4176262 w 8079933"/>
              <a:gd name="connsiteY40914" fmla="*/ 3106499 h 4687251"/>
              <a:gd name="connsiteX40915" fmla="*/ 4169751 w 8079933"/>
              <a:gd name="connsiteY40915" fmla="*/ 3099569 h 4687251"/>
              <a:gd name="connsiteX40916" fmla="*/ 4171596 w 8079933"/>
              <a:gd name="connsiteY40916" fmla="*/ 3098379 h 4687251"/>
              <a:gd name="connsiteX40917" fmla="*/ 4165410 w 8079933"/>
              <a:gd name="connsiteY40917" fmla="*/ 3093290 h 4687251"/>
              <a:gd name="connsiteX40918" fmla="*/ 4162915 w 8079933"/>
              <a:gd name="connsiteY40918" fmla="*/ 3087660 h 4687251"/>
              <a:gd name="connsiteX40919" fmla="*/ 4159334 w 8079933"/>
              <a:gd name="connsiteY40919" fmla="*/ 3084087 h 4687251"/>
              <a:gd name="connsiteX40920" fmla="*/ 4159334 w 8079933"/>
              <a:gd name="connsiteY40920" fmla="*/ 3076941 h 4687251"/>
              <a:gd name="connsiteX40921" fmla="*/ 4154993 w 8079933"/>
              <a:gd name="connsiteY40921" fmla="*/ 3071311 h 4687251"/>
              <a:gd name="connsiteX40922" fmla="*/ 4154993 w 8079933"/>
              <a:gd name="connsiteY40922" fmla="*/ 3067522 h 4687251"/>
              <a:gd name="connsiteX40923" fmla="*/ 4152171 w 8079933"/>
              <a:gd name="connsiteY40923" fmla="*/ 3065356 h 4687251"/>
              <a:gd name="connsiteX40924" fmla="*/ 4147180 w 8079933"/>
              <a:gd name="connsiteY40924" fmla="*/ 3054854 h 4687251"/>
              <a:gd name="connsiteX40925" fmla="*/ 4147505 w 8079933"/>
              <a:gd name="connsiteY40925" fmla="*/ 3052364 h 4687251"/>
              <a:gd name="connsiteX40926" fmla="*/ 4153365 w 8079933"/>
              <a:gd name="connsiteY40926" fmla="*/ 3054313 h 4687251"/>
              <a:gd name="connsiteX40927" fmla="*/ 4157814 w 8079933"/>
              <a:gd name="connsiteY40927" fmla="*/ 3050523 h 4687251"/>
              <a:gd name="connsiteX40928" fmla="*/ 4158899 w 8079933"/>
              <a:gd name="connsiteY40928" fmla="*/ 3037314 h 4687251"/>
              <a:gd name="connsiteX40929" fmla="*/ 4159659 w 8079933"/>
              <a:gd name="connsiteY40929" fmla="*/ 3030710 h 4687251"/>
              <a:gd name="connsiteX40930" fmla="*/ 4162372 w 8079933"/>
              <a:gd name="connsiteY40930" fmla="*/ 3033417 h 4687251"/>
              <a:gd name="connsiteX40931" fmla="*/ 4172898 w 8079933"/>
              <a:gd name="connsiteY40931" fmla="*/ 3030818 h 4687251"/>
              <a:gd name="connsiteX40932" fmla="*/ 4165410 w 8079933"/>
              <a:gd name="connsiteY40932" fmla="*/ 3029085 h 4687251"/>
              <a:gd name="connsiteX40933" fmla="*/ 4160744 w 8079933"/>
              <a:gd name="connsiteY40933" fmla="*/ 3021507 h 4687251"/>
              <a:gd name="connsiteX40934" fmla="*/ 4165845 w 8079933"/>
              <a:gd name="connsiteY40934" fmla="*/ 3020749 h 4687251"/>
              <a:gd name="connsiteX40935" fmla="*/ 4166062 w 8079933"/>
              <a:gd name="connsiteY40935" fmla="*/ 3015119 h 4687251"/>
              <a:gd name="connsiteX40936" fmla="*/ 4168991 w 8079933"/>
              <a:gd name="connsiteY40936" fmla="*/ 3015660 h 4687251"/>
              <a:gd name="connsiteX40937" fmla="*/ 4170686 w 8079933"/>
              <a:gd name="connsiteY40937" fmla="*/ 3014470 h 4687251"/>
              <a:gd name="connsiteX40938" fmla="*/ 4168991 w 8079933"/>
              <a:gd name="connsiteY40938" fmla="*/ 3015660 h 4687251"/>
              <a:gd name="connsiteX40939" fmla="*/ 4166062 w 8079933"/>
              <a:gd name="connsiteY40939" fmla="*/ 3015119 h 4687251"/>
              <a:gd name="connsiteX40940" fmla="*/ 4166170 w 8079933"/>
              <a:gd name="connsiteY40940" fmla="*/ 3013711 h 4687251"/>
              <a:gd name="connsiteX40941" fmla="*/ 4160202 w 8079933"/>
              <a:gd name="connsiteY40941" fmla="*/ 3010680 h 4687251"/>
              <a:gd name="connsiteX40942" fmla="*/ 4166170 w 8079933"/>
              <a:gd name="connsiteY40942" fmla="*/ 2999311 h 4687251"/>
              <a:gd name="connsiteX40943" fmla="*/ 4173766 w 8079933"/>
              <a:gd name="connsiteY40943" fmla="*/ 2990758 h 4687251"/>
              <a:gd name="connsiteX40944" fmla="*/ 4171922 w 8079933"/>
              <a:gd name="connsiteY40944" fmla="*/ 2986644 h 4687251"/>
              <a:gd name="connsiteX40945" fmla="*/ 4172898 w 8079933"/>
              <a:gd name="connsiteY40945" fmla="*/ 2985670 h 4687251"/>
              <a:gd name="connsiteX40946" fmla="*/ 4174172 w 8079933"/>
              <a:gd name="connsiteY40946" fmla="*/ 2985443 h 4687251"/>
              <a:gd name="connsiteX40947" fmla="*/ 4172899 w 8079933"/>
              <a:gd name="connsiteY40947" fmla="*/ 2985669 h 4687251"/>
              <a:gd name="connsiteX40948" fmla="*/ 4176697 w 8079933"/>
              <a:gd name="connsiteY40948" fmla="*/ 2981989 h 4687251"/>
              <a:gd name="connsiteX40949" fmla="*/ 4173224 w 8079933"/>
              <a:gd name="connsiteY40949" fmla="*/ 2978307 h 4687251"/>
              <a:gd name="connsiteX40950" fmla="*/ 4176479 w 8079933"/>
              <a:gd name="connsiteY40950" fmla="*/ 2970079 h 4687251"/>
              <a:gd name="connsiteX40951" fmla="*/ 4175611 w 8079933"/>
              <a:gd name="connsiteY40951" fmla="*/ 2960875 h 4687251"/>
              <a:gd name="connsiteX40952" fmla="*/ 4171163 w 8079933"/>
              <a:gd name="connsiteY40952" fmla="*/ 2954704 h 4687251"/>
              <a:gd name="connsiteX40953" fmla="*/ 4171163 w 8079933"/>
              <a:gd name="connsiteY40953" fmla="*/ 2947991 h 4687251"/>
              <a:gd name="connsiteX40954" fmla="*/ 4172899 w 8079933"/>
              <a:gd name="connsiteY40954" fmla="*/ 2944959 h 4687251"/>
              <a:gd name="connsiteX40955" fmla="*/ 4169209 w 8079933"/>
              <a:gd name="connsiteY40955" fmla="*/ 2939221 h 4687251"/>
              <a:gd name="connsiteX40956" fmla="*/ 4162155 w 8079933"/>
              <a:gd name="connsiteY40956" fmla="*/ 2942253 h 4687251"/>
              <a:gd name="connsiteX40957" fmla="*/ 4159985 w 8079933"/>
              <a:gd name="connsiteY40957" fmla="*/ 2939763 h 4687251"/>
              <a:gd name="connsiteX40958" fmla="*/ 4155861 w 8079933"/>
              <a:gd name="connsiteY40958" fmla="*/ 2939221 h 4687251"/>
              <a:gd name="connsiteX40959" fmla="*/ 4152931 w 8079933"/>
              <a:gd name="connsiteY40959" fmla="*/ 2924605 h 4687251"/>
              <a:gd name="connsiteX40960" fmla="*/ 4149133 w 8079933"/>
              <a:gd name="connsiteY40960" fmla="*/ 2926554 h 4687251"/>
              <a:gd name="connsiteX40961" fmla="*/ 4145878 w 8079933"/>
              <a:gd name="connsiteY40961" fmla="*/ 2925038 h 4687251"/>
              <a:gd name="connsiteX40962" fmla="*/ 4145910 w 8079933"/>
              <a:gd name="connsiteY40962" fmla="*/ 2924589 h 4687251"/>
              <a:gd name="connsiteX40963" fmla="*/ 4145878 w 8079933"/>
              <a:gd name="connsiteY40963" fmla="*/ 2925037 h 4687251"/>
              <a:gd name="connsiteX40964" fmla="*/ 4145770 w 8079933"/>
              <a:gd name="connsiteY40964" fmla="*/ 2924929 h 4687251"/>
              <a:gd name="connsiteX40965" fmla="*/ 4143925 w 8079933"/>
              <a:gd name="connsiteY40965" fmla="*/ 2926012 h 4687251"/>
              <a:gd name="connsiteX40966" fmla="*/ 4139584 w 8079933"/>
              <a:gd name="connsiteY40966" fmla="*/ 2921464 h 4687251"/>
              <a:gd name="connsiteX40967" fmla="*/ 4137197 w 8079933"/>
              <a:gd name="connsiteY40967" fmla="*/ 2928177 h 4687251"/>
              <a:gd name="connsiteX40968" fmla="*/ 4131119 w 8079933"/>
              <a:gd name="connsiteY40968" fmla="*/ 2929476 h 4687251"/>
              <a:gd name="connsiteX40969" fmla="*/ 4127430 w 8079933"/>
              <a:gd name="connsiteY40969" fmla="*/ 2927852 h 4687251"/>
              <a:gd name="connsiteX40970" fmla="*/ 4116470 w 8079933"/>
              <a:gd name="connsiteY40970" fmla="*/ 2931750 h 4687251"/>
              <a:gd name="connsiteX40971" fmla="*/ 4112997 w 8079933"/>
              <a:gd name="connsiteY40971" fmla="*/ 2930342 h 4687251"/>
              <a:gd name="connsiteX40972" fmla="*/ 4108331 w 8079933"/>
              <a:gd name="connsiteY40972" fmla="*/ 2933266 h 4687251"/>
              <a:gd name="connsiteX40973" fmla="*/ 4085109 w 8079933"/>
              <a:gd name="connsiteY40973" fmla="*/ 2934565 h 4687251"/>
              <a:gd name="connsiteX40974" fmla="*/ 4076427 w 8079933"/>
              <a:gd name="connsiteY40974" fmla="*/ 2932075 h 4687251"/>
              <a:gd name="connsiteX40975" fmla="*/ 4070351 w 8079933"/>
              <a:gd name="connsiteY40975" fmla="*/ 2926553 h 4687251"/>
              <a:gd name="connsiteX40976" fmla="*/ 4067529 w 8079933"/>
              <a:gd name="connsiteY40976" fmla="*/ 2918325 h 4687251"/>
              <a:gd name="connsiteX40977" fmla="*/ 4064382 w 8079933"/>
              <a:gd name="connsiteY40977" fmla="*/ 2916592 h 4687251"/>
              <a:gd name="connsiteX40978" fmla="*/ 4064490 w 8079933"/>
              <a:gd name="connsiteY40978" fmla="*/ 2909122 h 4687251"/>
              <a:gd name="connsiteX40979" fmla="*/ 4058522 w 8079933"/>
              <a:gd name="connsiteY40979" fmla="*/ 2897536 h 4687251"/>
              <a:gd name="connsiteX40980" fmla="*/ 4048756 w 8079933"/>
              <a:gd name="connsiteY40980" fmla="*/ 2888008 h 4687251"/>
              <a:gd name="connsiteX40981" fmla="*/ 4031284 w 8079933"/>
              <a:gd name="connsiteY40981" fmla="*/ 2878697 h 4687251"/>
              <a:gd name="connsiteX40982" fmla="*/ 4023688 w 8079933"/>
              <a:gd name="connsiteY40982" fmla="*/ 2881838 h 4687251"/>
              <a:gd name="connsiteX40983" fmla="*/ 4014356 w 8079933"/>
              <a:gd name="connsiteY40983" fmla="*/ 2879888 h 4687251"/>
              <a:gd name="connsiteX40984" fmla="*/ 4013379 w 8079933"/>
              <a:gd name="connsiteY40984" fmla="*/ 2875124 h 4687251"/>
              <a:gd name="connsiteX40985" fmla="*/ 4014356 w 8079933"/>
              <a:gd name="connsiteY40985" fmla="*/ 2863106 h 4687251"/>
              <a:gd name="connsiteX40986" fmla="*/ 4013705 w 8079933"/>
              <a:gd name="connsiteY40986" fmla="*/ 2859209 h 4687251"/>
              <a:gd name="connsiteX40987" fmla="*/ 4013922 w 8079933"/>
              <a:gd name="connsiteY40987" fmla="*/ 2855744 h 4687251"/>
              <a:gd name="connsiteX40988" fmla="*/ 4012837 w 8079933"/>
              <a:gd name="connsiteY40988" fmla="*/ 2845567 h 4687251"/>
              <a:gd name="connsiteX40989" fmla="*/ 4013705 w 8079933"/>
              <a:gd name="connsiteY40989" fmla="*/ 2841994 h 4687251"/>
              <a:gd name="connsiteX40990" fmla="*/ 4013488 w 8079933"/>
              <a:gd name="connsiteY40990" fmla="*/ 2839287 h 4687251"/>
              <a:gd name="connsiteX40991" fmla="*/ 4012511 w 8079933"/>
              <a:gd name="connsiteY40991" fmla="*/ 2837663 h 4687251"/>
              <a:gd name="connsiteX40992" fmla="*/ 4013163 w 8079933"/>
              <a:gd name="connsiteY40992" fmla="*/ 2835822 h 4687251"/>
              <a:gd name="connsiteX40993" fmla="*/ 4012511 w 8079933"/>
              <a:gd name="connsiteY40993" fmla="*/ 2831816 h 4687251"/>
              <a:gd name="connsiteX40994" fmla="*/ 4012186 w 8079933"/>
              <a:gd name="connsiteY40994" fmla="*/ 2830084 h 4687251"/>
              <a:gd name="connsiteX40995" fmla="*/ 4012619 w 8079933"/>
              <a:gd name="connsiteY40995" fmla="*/ 2824887 h 4687251"/>
              <a:gd name="connsiteX40996" fmla="*/ 4013163 w 8079933"/>
              <a:gd name="connsiteY40996" fmla="*/ 2821422 h 4687251"/>
              <a:gd name="connsiteX40997" fmla="*/ 4012837 w 8079933"/>
              <a:gd name="connsiteY40997" fmla="*/ 2817092 h 4687251"/>
              <a:gd name="connsiteX40998" fmla="*/ 4014200 w 8079933"/>
              <a:gd name="connsiteY40998" fmla="*/ 2815010 h 4687251"/>
              <a:gd name="connsiteX40999" fmla="*/ 4012836 w 8079933"/>
              <a:gd name="connsiteY40999" fmla="*/ 2817092 h 4687251"/>
              <a:gd name="connsiteX41000" fmla="*/ 4013162 w 8079933"/>
              <a:gd name="connsiteY41000" fmla="*/ 2821423 h 4687251"/>
              <a:gd name="connsiteX41001" fmla="*/ 4012619 w 8079933"/>
              <a:gd name="connsiteY41001" fmla="*/ 2824887 h 4687251"/>
              <a:gd name="connsiteX41002" fmla="*/ 4012185 w 8079933"/>
              <a:gd name="connsiteY41002" fmla="*/ 2830085 h 4687251"/>
              <a:gd name="connsiteX41003" fmla="*/ 4012511 w 8079933"/>
              <a:gd name="connsiteY41003" fmla="*/ 2831816 h 4687251"/>
              <a:gd name="connsiteX41004" fmla="*/ 4013162 w 8079933"/>
              <a:gd name="connsiteY41004" fmla="*/ 2835823 h 4687251"/>
              <a:gd name="connsiteX41005" fmla="*/ 4012511 w 8079933"/>
              <a:gd name="connsiteY41005" fmla="*/ 2837663 h 4687251"/>
              <a:gd name="connsiteX41006" fmla="*/ 4013487 w 8079933"/>
              <a:gd name="connsiteY41006" fmla="*/ 2839287 h 4687251"/>
              <a:gd name="connsiteX41007" fmla="*/ 4013704 w 8079933"/>
              <a:gd name="connsiteY41007" fmla="*/ 2841994 h 4687251"/>
              <a:gd name="connsiteX41008" fmla="*/ 4012836 w 8079933"/>
              <a:gd name="connsiteY41008" fmla="*/ 2845567 h 4687251"/>
              <a:gd name="connsiteX41009" fmla="*/ 4013922 w 8079933"/>
              <a:gd name="connsiteY41009" fmla="*/ 2855744 h 4687251"/>
              <a:gd name="connsiteX41010" fmla="*/ 4013704 w 8079933"/>
              <a:gd name="connsiteY41010" fmla="*/ 2859209 h 4687251"/>
              <a:gd name="connsiteX41011" fmla="*/ 4014355 w 8079933"/>
              <a:gd name="connsiteY41011" fmla="*/ 2863107 h 4687251"/>
              <a:gd name="connsiteX41012" fmla="*/ 4013379 w 8079933"/>
              <a:gd name="connsiteY41012" fmla="*/ 2875125 h 4687251"/>
              <a:gd name="connsiteX41013" fmla="*/ 4014355 w 8079933"/>
              <a:gd name="connsiteY41013" fmla="*/ 2879889 h 4687251"/>
              <a:gd name="connsiteX41014" fmla="*/ 4013379 w 8079933"/>
              <a:gd name="connsiteY41014" fmla="*/ 2879672 h 4687251"/>
              <a:gd name="connsiteX41015" fmla="*/ 3996884 w 8079933"/>
              <a:gd name="connsiteY41015" fmla="*/ 2885194 h 4687251"/>
              <a:gd name="connsiteX41016" fmla="*/ 3988311 w 8079933"/>
              <a:gd name="connsiteY41016" fmla="*/ 2884111 h 4687251"/>
              <a:gd name="connsiteX41017" fmla="*/ 3989179 w 8079933"/>
              <a:gd name="connsiteY41017" fmla="*/ 2879564 h 4687251"/>
              <a:gd name="connsiteX41018" fmla="*/ 3985924 w 8079933"/>
              <a:gd name="connsiteY41018" fmla="*/ 2874042 h 4687251"/>
              <a:gd name="connsiteX41019" fmla="*/ 3985707 w 8079933"/>
              <a:gd name="connsiteY41019" fmla="*/ 2867438 h 4687251"/>
              <a:gd name="connsiteX41020" fmla="*/ 3984080 w 8079933"/>
              <a:gd name="connsiteY41020" fmla="*/ 2861483 h 4687251"/>
              <a:gd name="connsiteX41021" fmla="*/ 3984730 w 8079933"/>
              <a:gd name="connsiteY41021" fmla="*/ 2832791 h 4687251"/>
              <a:gd name="connsiteX41022" fmla="*/ 3985056 w 8079933"/>
              <a:gd name="connsiteY41022" fmla="*/ 2828677 h 4687251"/>
              <a:gd name="connsiteX41023" fmla="*/ 3987552 w 8079933"/>
              <a:gd name="connsiteY41023" fmla="*/ 2825537 h 4687251"/>
              <a:gd name="connsiteX41024" fmla="*/ 3987552 w 8079933"/>
              <a:gd name="connsiteY41024" fmla="*/ 2819799 h 4687251"/>
              <a:gd name="connsiteX41025" fmla="*/ 3987551 w 8079933"/>
              <a:gd name="connsiteY41025" fmla="*/ 2819798 h 4687251"/>
              <a:gd name="connsiteX41026" fmla="*/ 3987551 w 8079933"/>
              <a:gd name="connsiteY41026" fmla="*/ 2825537 h 4687251"/>
              <a:gd name="connsiteX41027" fmla="*/ 3985055 w 8079933"/>
              <a:gd name="connsiteY41027" fmla="*/ 2828677 h 4687251"/>
              <a:gd name="connsiteX41028" fmla="*/ 3984730 w 8079933"/>
              <a:gd name="connsiteY41028" fmla="*/ 2832791 h 4687251"/>
              <a:gd name="connsiteX41029" fmla="*/ 3984079 w 8079933"/>
              <a:gd name="connsiteY41029" fmla="*/ 2861483 h 4687251"/>
              <a:gd name="connsiteX41030" fmla="*/ 3985707 w 8079933"/>
              <a:gd name="connsiteY41030" fmla="*/ 2867438 h 4687251"/>
              <a:gd name="connsiteX41031" fmla="*/ 3985923 w 8079933"/>
              <a:gd name="connsiteY41031" fmla="*/ 2874042 h 4687251"/>
              <a:gd name="connsiteX41032" fmla="*/ 3989179 w 8079933"/>
              <a:gd name="connsiteY41032" fmla="*/ 2879564 h 4687251"/>
              <a:gd name="connsiteX41033" fmla="*/ 3988311 w 8079933"/>
              <a:gd name="connsiteY41033" fmla="*/ 2884112 h 4687251"/>
              <a:gd name="connsiteX41034" fmla="*/ 3985815 w 8079933"/>
              <a:gd name="connsiteY41034" fmla="*/ 2883787 h 4687251"/>
              <a:gd name="connsiteX41035" fmla="*/ 3973010 w 8079933"/>
              <a:gd name="connsiteY41035" fmla="*/ 2891690 h 4687251"/>
              <a:gd name="connsiteX41036" fmla="*/ 3970948 w 8079933"/>
              <a:gd name="connsiteY41036" fmla="*/ 2892015 h 4687251"/>
              <a:gd name="connsiteX41037" fmla="*/ 3970948 w 8079933"/>
              <a:gd name="connsiteY41037" fmla="*/ 2892015 h 4687251"/>
              <a:gd name="connsiteX41038" fmla="*/ 3958036 w 8079933"/>
              <a:gd name="connsiteY41038" fmla="*/ 2893747 h 4687251"/>
              <a:gd name="connsiteX41039" fmla="*/ 3946641 w 8079933"/>
              <a:gd name="connsiteY41039" fmla="*/ 2899161 h 4687251"/>
              <a:gd name="connsiteX41040" fmla="*/ 3934162 w 8079933"/>
              <a:gd name="connsiteY41040" fmla="*/ 2909663 h 4687251"/>
              <a:gd name="connsiteX41041" fmla="*/ 3919621 w 8079933"/>
              <a:gd name="connsiteY41041" fmla="*/ 2910855 h 4687251"/>
              <a:gd name="connsiteX41042" fmla="*/ 3899002 w 8079933"/>
              <a:gd name="connsiteY41042" fmla="*/ 2920815 h 4687251"/>
              <a:gd name="connsiteX41043" fmla="*/ 3889670 w 8079933"/>
              <a:gd name="connsiteY41043" fmla="*/ 2916593 h 4687251"/>
              <a:gd name="connsiteX41044" fmla="*/ 3876756 w 8079933"/>
              <a:gd name="connsiteY41044" fmla="*/ 2914861 h 4687251"/>
              <a:gd name="connsiteX41045" fmla="*/ 3875563 w 8079933"/>
              <a:gd name="connsiteY41045" fmla="*/ 2912587 h 4687251"/>
              <a:gd name="connsiteX41046" fmla="*/ 3875563 w 8079933"/>
              <a:gd name="connsiteY41046" fmla="*/ 2912586 h 4687251"/>
              <a:gd name="connsiteX41047" fmla="*/ 3872090 w 8079933"/>
              <a:gd name="connsiteY41047" fmla="*/ 2906415 h 4687251"/>
              <a:gd name="connsiteX41048" fmla="*/ 3867533 w 8079933"/>
              <a:gd name="connsiteY41048" fmla="*/ 2907498 h 4687251"/>
              <a:gd name="connsiteX41049" fmla="*/ 3866447 w 8079933"/>
              <a:gd name="connsiteY41049" fmla="*/ 2913344 h 4687251"/>
              <a:gd name="connsiteX41050" fmla="*/ 3855488 w 8079933"/>
              <a:gd name="connsiteY41050" fmla="*/ 2908148 h 4687251"/>
              <a:gd name="connsiteX41051" fmla="*/ 3843550 w 8079933"/>
              <a:gd name="connsiteY41051" fmla="*/ 2911937 h 4687251"/>
              <a:gd name="connsiteX41052" fmla="*/ 3811863 w 8079933"/>
              <a:gd name="connsiteY41052" fmla="*/ 2912154 h 4687251"/>
              <a:gd name="connsiteX41053" fmla="*/ 3802857 w 8079933"/>
              <a:gd name="connsiteY41053" fmla="*/ 2913344 h 4687251"/>
              <a:gd name="connsiteX41054" fmla="*/ 3802640 w 8079933"/>
              <a:gd name="connsiteY41054" fmla="*/ 2915727 h 4687251"/>
              <a:gd name="connsiteX41055" fmla="*/ 3786145 w 8079933"/>
              <a:gd name="connsiteY41055" fmla="*/ 2921898 h 4687251"/>
              <a:gd name="connsiteX41056" fmla="*/ 3784409 w 8079933"/>
              <a:gd name="connsiteY41056" fmla="*/ 2924172 h 4687251"/>
              <a:gd name="connsiteX41057" fmla="*/ 3779091 w 8079933"/>
              <a:gd name="connsiteY41057" fmla="*/ 2924172 h 4687251"/>
              <a:gd name="connsiteX41058" fmla="*/ 3770844 w 8079933"/>
              <a:gd name="connsiteY41058" fmla="*/ 2931426 h 4687251"/>
              <a:gd name="connsiteX41059" fmla="*/ 3768565 w 8079933"/>
              <a:gd name="connsiteY41059" fmla="*/ 2930560 h 4687251"/>
              <a:gd name="connsiteX41060" fmla="*/ 3768348 w 8079933"/>
              <a:gd name="connsiteY41060" fmla="*/ 2924930 h 4687251"/>
              <a:gd name="connsiteX41061" fmla="*/ 3766070 w 8079933"/>
              <a:gd name="connsiteY41061" fmla="*/ 2921140 h 4687251"/>
              <a:gd name="connsiteX41062" fmla="*/ 3768131 w 8079933"/>
              <a:gd name="connsiteY41062" fmla="*/ 2915619 h 4687251"/>
              <a:gd name="connsiteX41063" fmla="*/ 3766503 w 8079933"/>
              <a:gd name="connsiteY41063" fmla="*/ 2911937 h 4687251"/>
              <a:gd name="connsiteX41064" fmla="*/ 3767697 w 8079933"/>
              <a:gd name="connsiteY41064" fmla="*/ 2907823 h 4687251"/>
              <a:gd name="connsiteX41065" fmla="*/ 3769759 w 8079933"/>
              <a:gd name="connsiteY41065" fmla="*/ 2904792 h 4687251"/>
              <a:gd name="connsiteX41066" fmla="*/ 3768131 w 8079933"/>
              <a:gd name="connsiteY41066" fmla="*/ 2901868 h 4687251"/>
              <a:gd name="connsiteX41067" fmla="*/ 3771387 w 8079933"/>
              <a:gd name="connsiteY41067" fmla="*/ 2899270 h 4687251"/>
              <a:gd name="connsiteX41068" fmla="*/ 3769976 w 8079933"/>
              <a:gd name="connsiteY41068" fmla="*/ 2894505 h 4687251"/>
              <a:gd name="connsiteX41069" fmla="*/ 3766720 w 8079933"/>
              <a:gd name="connsiteY41069" fmla="*/ 2894289 h 4687251"/>
              <a:gd name="connsiteX41070" fmla="*/ 3763357 w 8079933"/>
              <a:gd name="connsiteY41070" fmla="*/ 2892015 h 4687251"/>
              <a:gd name="connsiteX41071" fmla="*/ 3761729 w 8079933"/>
              <a:gd name="connsiteY41071" fmla="*/ 2887143 h 4687251"/>
              <a:gd name="connsiteX41072" fmla="*/ 3758691 w 8079933"/>
              <a:gd name="connsiteY41072" fmla="*/ 2885844 h 4687251"/>
              <a:gd name="connsiteX41073" fmla="*/ 3757563 w 8079933"/>
              <a:gd name="connsiteY41073" fmla="*/ 2886094 h 4687251"/>
              <a:gd name="connsiteX41074" fmla="*/ 3758690 w 8079933"/>
              <a:gd name="connsiteY41074" fmla="*/ 2885844 h 4687251"/>
              <a:gd name="connsiteX41075" fmla="*/ 3761728 w 8079933"/>
              <a:gd name="connsiteY41075" fmla="*/ 2887144 h 4687251"/>
              <a:gd name="connsiteX41076" fmla="*/ 3763356 w 8079933"/>
              <a:gd name="connsiteY41076" fmla="*/ 2892015 h 4687251"/>
              <a:gd name="connsiteX41077" fmla="*/ 3766720 w 8079933"/>
              <a:gd name="connsiteY41077" fmla="*/ 2894289 h 4687251"/>
              <a:gd name="connsiteX41078" fmla="*/ 3769975 w 8079933"/>
              <a:gd name="connsiteY41078" fmla="*/ 2894506 h 4687251"/>
              <a:gd name="connsiteX41079" fmla="*/ 3771386 w 8079933"/>
              <a:gd name="connsiteY41079" fmla="*/ 2899270 h 4687251"/>
              <a:gd name="connsiteX41080" fmla="*/ 3768130 w 8079933"/>
              <a:gd name="connsiteY41080" fmla="*/ 2901868 h 4687251"/>
              <a:gd name="connsiteX41081" fmla="*/ 3769759 w 8079933"/>
              <a:gd name="connsiteY41081" fmla="*/ 2904792 h 4687251"/>
              <a:gd name="connsiteX41082" fmla="*/ 3767697 w 8079933"/>
              <a:gd name="connsiteY41082" fmla="*/ 2907823 h 4687251"/>
              <a:gd name="connsiteX41083" fmla="*/ 3766503 w 8079933"/>
              <a:gd name="connsiteY41083" fmla="*/ 2911937 h 4687251"/>
              <a:gd name="connsiteX41084" fmla="*/ 3768130 w 8079933"/>
              <a:gd name="connsiteY41084" fmla="*/ 2915619 h 4687251"/>
              <a:gd name="connsiteX41085" fmla="*/ 3766069 w 8079933"/>
              <a:gd name="connsiteY41085" fmla="*/ 2921140 h 4687251"/>
              <a:gd name="connsiteX41086" fmla="*/ 3768347 w 8079933"/>
              <a:gd name="connsiteY41086" fmla="*/ 2924930 h 4687251"/>
              <a:gd name="connsiteX41087" fmla="*/ 3768565 w 8079933"/>
              <a:gd name="connsiteY41087" fmla="*/ 2930560 h 4687251"/>
              <a:gd name="connsiteX41088" fmla="*/ 3744909 w 8079933"/>
              <a:gd name="connsiteY41088" fmla="*/ 2922007 h 4687251"/>
              <a:gd name="connsiteX41089" fmla="*/ 3726678 w 8079933"/>
              <a:gd name="connsiteY41089" fmla="*/ 2908473 h 4687251"/>
              <a:gd name="connsiteX41090" fmla="*/ 3721578 w 8079933"/>
              <a:gd name="connsiteY41090" fmla="*/ 2907931 h 4687251"/>
              <a:gd name="connsiteX41091" fmla="*/ 3706819 w 8079933"/>
              <a:gd name="connsiteY41091" fmla="*/ 2893207 h 4687251"/>
              <a:gd name="connsiteX41092" fmla="*/ 3705734 w 8079933"/>
              <a:gd name="connsiteY41092" fmla="*/ 2892448 h 4687251"/>
              <a:gd name="connsiteX41093" fmla="*/ 3696836 w 8079933"/>
              <a:gd name="connsiteY41093" fmla="*/ 2886493 h 4687251"/>
              <a:gd name="connsiteX41094" fmla="*/ 3693255 w 8079933"/>
              <a:gd name="connsiteY41094" fmla="*/ 2886277 h 4687251"/>
              <a:gd name="connsiteX41095" fmla="*/ 3687069 w 8079933"/>
              <a:gd name="connsiteY41095" fmla="*/ 2877616 h 4687251"/>
              <a:gd name="connsiteX41096" fmla="*/ 3683054 w 8079933"/>
              <a:gd name="connsiteY41096" fmla="*/ 2875883 h 4687251"/>
              <a:gd name="connsiteX41097" fmla="*/ 3684899 w 8079933"/>
              <a:gd name="connsiteY41097" fmla="*/ 2872418 h 4687251"/>
              <a:gd name="connsiteX41098" fmla="*/ 3684139 w 8079933"/>
              <a:gd name="connsiteY41098" fmla="*/ 2871985 h 4687251"/>
              <a:gd name="connsiteX41099" fmla="*/ 3681318 w 8079933"/>
              <a:gd name="connsiteY41099" fmla="*/ 2870469 h 4687251"/>
              <a:gd name="connsiteX41100" fmla="*/ 3675133 w 8079933"/>
              <a:gd name="connsiteY41100" fmla="*/ 2870469 h 4687251"/>
              <a:gd name="connsiteX41101" fmla="*/ 3675133 w 8079933"/>
              <a:gd name="connsiteY41101" fmla="*/ 2870470 h 4687251"/>
              <a:gd name="connsiteX41102" fmla="*/ 3672203 w 8079933"/>
              <a:gd name="connsiteY41102" fmla="*/ 2870470 h 4687251"/>
              <a:gd name="connsiteX41103" fmla="*/ 3659507 w 8079933"/>
              <a:gd name="connsiteY41103" fmla="*/ 2863865 h 4687251"/>
              <a:gd name="connsiteX41104" fmla="*/ 3654082 w 8079933"/>
              <a:gd name="connsiteY41104" fmla="*/ 2862458 h 4687251"/>
              <a:gd name="connsiteX41105" fmla="*/ 3655383 w 8079933"/>
              <a:gd name="connsiteY41105" fmla="*/ 2859643 h 4687251"/>
              <a:gd name="connsiteX41106" fmla="*/ 3652020 w 8079933"/>
              <a:gd name="connsiteY41106" fmla="*/ 2855745 h 4687251"/>
              <a:gd name="connsiteX41107" fmla="*/ 3648981 w 8079933"/>
              <a:gd name="connsiteY41107" fmla="*/ 2852821 h 4687251"/>
              <a:gd name="connsiteX41108" fmla="*/ 3650934 w 8079933"/>
              <a:gd name="connsiteY41108" fmla="*/ 2848707 h 4687251"/>
              <a:gd name="connsiteX41109" fmla="*/ 3650825 w 8079933"/>
              <a:gd name="connsiteY41109" fmla="*/ 2847625 h 4687251"/>
              <a:gd name="connsiteX41110" fmla="*/ 3646051 w 8079933"/>
              <a:gd name="connsiteY41110" fmla="*/ 2849465 h 4687251"/>
              <a:gd name="connsiteX41111" fmla="*/ 3640734 w 8079933"/>
              <a:gd name="connsiteY41111" fmla="*/ 2843727 h 4687251"/>
              <a:gd name="connsiteX41112" fmla="*/ 3640734 w 8079933"/>
              <a:gd name="connsiteY41112" fmla="*/ 2838313 h 4687251"/>
              <a:gd name="connsiteX41113" fmla="*/ 3638238 w 8079933"/>
              <a:gd name="connsiteY41113" fmla="*/ 2830735 h 4687251"/>
              <a:gd name="connsiteX41114" fmla="*/ 3633680 w 8079933"/>
              <a:gd name="connsiteY41114" fmla="*/ 2829976 h 4687251"/>
              <a:gd name="connsiteX41115" fmla="*/ 3631944 w 8079933"/>
              <a:gd name="connsiteY41115" fmla="*/ 2826187 h 4687251"/>
              <a:gd name="connsiteX41116" fmla="*/ 3635199 w 8079933"/>
              <a:gd name="connsiteY41116" fmla="*/ 2820124 h 4687251"/>
              <a:gd name="connsiteX41117" fmla="*/ 3631727 w 8079933"/>
              <a:gd name="connsiteY41117" fmla="*/ 2818283 h 4687251"/>
              <a:gd name="connsiteX41118" fmla="*/ 3632052 w 8079933"/>
              <a:gd name="connsiteY41118" fmla="*/ 2814710 h 4687251"/>
              <a:gd name="connsiteX41119" fmla="*/ 3634657 w 8079933"/>
              <a:gd name="connsiteY41119" fmla="*/ 2810162 h 4687251"/>
              <a:gd name="connsiteX41120" fmla="*/ 3634331 w 8079933"/>
              <a:gd name="connsiteY41120" fmla="*/ 2809947 h 4687251"/>
              <a:gd name="connsiteX41121" fmla="*/ 3638130 w 8079933"/>
              <a:gd name="connsiteY41121" fmla="*/ 2809621 h 4687251"/>
              <a:gd name="connsiteX41122" fmla="*/ 3645509 w 8079933"/>
              <a:gd name="connsiteY41122" fmla="*/ 2805832 h 4687251"/>
              <a:gd name="connsiteX41123" fmla="*/ 3645509 w 8079933"/>
              <a:gd name="connsiteY41123" fmla="*/ 2802584 h 4687251"/>
              <a:gd name="connsiteX41124" fmla="*/ 3652128 w 8079933"/>
              <a:gd name="connsiteY41124" fmla="*/ 2796845 h 4687251"/>
              <a:gd name="connsiteX41125" fmla="*/ 3655818 w 8079933"/>
              <a:gd name="connsiteY41125" fmla="*/ 2792731 h 4687251"/>
              <a:gd name="connsiteX41126" fmla="*/ 3662003 w 8079933"/>
              <a:gd name="connsiteY41126" fmla="*/ 2790133 h 4687251"/>
              <a:gd name="connsiteX41127" fmla="*/ 3682187 w 8079933"/>
              <a:gd name="connsiteY41127" fmla="*/ 2790133 h 4687251"/>
              <a:gd name="connsiteX41128" fmla="*/ 3682187 w 8079933"/>
              <a:gd name="connsiteY41128" fmla="*/ 2790132 h 4687251"/>
              <a:gd name="connsiteX41129" fmla="*/ 3662002 w 8079933"/>
              <a:gd name="connsiteY41129" fmla="*/ 2790132 h 4687251"/>
              <a:gd name="connsiteX41130" fmla="*/ 3655817 w 8079933"/>
              <a:gd name="connsiteY41130" fmla="*/ 2792731 h 4687251"/>
              <a:gd name="connsiteX41131" fmla="*/ 3652127 w 8079933"/>
              <a:gd name="connsiteY41131" fmla="*/ 2796845 h 4687251"/>
              <a:gd name="connsiteX41132" fmla="*/ 3645508 w 8079933"/>
              <a:gd name="connsiteY41132" fmla="*/ 2802583 h 4687251"/>
              <a:gd name="connsiteX41133" fmla="*/ 3645508 w 8079933"/>
              <a:gd name="connsiteY41133" fmla="*/ 2805831 h 4687251"/>
              <a:gd name="connsiteX41134" fmla="*/ 3638129 w 8079933"/>
              <a:gd name="connsiteY41134" fmla="*/ 2809621 h 4687251"/>
              <a:gd name="connsiteX41135" fmla="*/ 3634331 w 8079933"/>
              <a:gd name="connsiteY41135" fmla="*/ 2809946 h 4687251"/>
              <a:gd name="connsiteX41136" fmla="*/ 3630858 w 8079933"/>
              <a:gd name="connsiteY41136" fmla="*/ 2807131 h 4687251"/>
              <a:gd name="connsiteX41137" fmla="*/ 3624347 w 8079933"/>
              <a:gd name="connsiteY41137" fmla="*/ 2803666 h 4687251"/>
              <a:gd name="connsiteX41138" fmla="*/ 3622502 w 8079933"/>
              <a:gd name="connsiteY41138" fmla="*/ 2796412 h 4687251"/>
              <a:gd name="connsiteX41139" fmla="*/ 3617402 w 8079933"/>
              <a:gd name="connsiteY41139" fmla="*/ 2796304 h 4687251"/>
              <a:gd name="connsiteX41140" fmla="*/ 3615232 w 8079933"/>
              <a:gd name="connsiteY41140" fmla="*/ 2794138 h 4687251"/>
              <a:gd name="connsiteX41141" fmla="*/ 3615449 w 8079933"/>
              <a:gd name="connsiteY41141" fmla="*/ 2790349 h 4687251"/>
              <a:gd name="connsiteX41142" fmla="*/ 3617294 w 8079933"/>
              <a:gd name="connsiteY41142" fmla="*/ 2788508 h 4687251"/>
              <a:gd name="connsiteX41143" fmla="*/ 3613279 w 8079933"/>
              <a:gd name="connsiteY41143" fmla="*/ 2786668 h 4687251"/>
              <a:gd name="connsiteX41144" fmla="*/ 3611108 w 8079933"/>
              <a:gd name="connsiteY41144" fmla="*/ 2789808 h 4687251"/>
              <a:gd name="connsiteX41145" fmla="*/ 3607527 w 8079933"/>
              <a:gd name="connsiteY41145" fmla="*/ 2788400 h 4687251"/>
              <a:gd name="connsiteX41146" fmla="*/ 3602102 w 8079933"/>
              <a:gd name="connsiteY41146" fmla="*/ 2787967 h 4687251"/>
              <a:gd name="connsiteX41147" fmla="*/ 3596676 w 8079933"/>
              <a:gd name="connsiteY41147" fmla="*/ 2780604 h 4687251"/>
              <a:gd name="connsiteX41148" fmla="*/ 3598846 w 8079933"/>
              <a:gd name="connsiteY41148" fmla="*/ 2771727 h 4687251"/>
              <a:gd name="connsiteX41149" fmla="*/ 3595048 w 8079933"/>
              <a:gd name="connsiteY41149" fmla="*/ 2767612 h 4687251"/>
              <a:gd name="connsiteX41150" fmla="*/ 3594614 w 8079933"/>
              <a:gd name="connsiteY41150" fmla="*/ 2767721 h 4687251"/>
              <a:gd name="connsiteX41151" fmla="*/ 3594614 w 8079933"/>
              <a:gd name="connsiteY41151" fmla="*/ 2767720 h 4687251"/>
              <a:gd name="connsiteX41152" fmla="*/ 3588862 w 8079933"/>
              <a:gd name="connsiteY41152" fmla="*/ 2769344 h 4687251"/>
              <a:gd name="connsiteX41153" fmla="*/ 3587777 w 8079933"/>
              <a:gd name="connsiteY41153" fmla="*/ 2767937 h 4687251"/>
              <a:gd name="connsiteX41154" fmla="*/ 3588103 w 8079933"/>
              <a:gd name="connsiteY41154" fmla="*/ 2763931 h 4687251"/>
              <a:gd name="connsiteX41155" fmla="*/ 3578011 w 8079933"/>
              <a:gd name="connsiteY41155" fmla="*/ 2765014 h 4687251"/>
              <a:gd name="connsiteX41156" fmla="*/ 3583654 w 8079933"/>
              <a:gd name="connsiteY41156" fmla="*/ 2758950 h 4687251"/>
              <a:gd name="connsiteX41157" fmla="*/ 3580941 w 8079933"/>
              <a:gd name="connsiteY41157" fmla="*/ 2758734 h 4687251"/>
              <a:gd name="connsiteX41158" fmla="*/ 3582351 w 8079933"/>
              <a:gd name="connsiteY41158" fmla="*/ 2756569 h 4687251"/>
              <a:gd name="connsiteX41159" fmla="*/ 3580182 w 8079933"/>
              <a:gd name="connsiteY41159" fmla="*/ 2754187 h 4687251"/>
              <a:gd name="connsiteX41160" fmla="*/ 3576166 w 8079933"/>
              <a:gd name="connsiteY41160" fmla="*/ 2753753 h 4687251"/>
              <a:gd name="connsiteX41161" fmla="*/ 3574755 w 8079933"/>
              <a:gd name="connsiteY41161" fmla="*/ 2751696 h 4687251"/>
              <a:gd name="connsiteX41162" fmla="*/ 3586692 w 8079933"/>
              <a:gd name="connsiteY41162" fmla="*/ 2751479 h 4687251"/>
              <a:gd name="connsiteX41163" fmla="*/ 3588646 w 8079933"/>
              <a:gd name="connsiteY41163" fmla="*/ 2750072 h 4687251"/>
              <a:gd name="connsiteX41164" fmla="*/ 3582135 w 8079933"/>
              <a:gd name="connsiteY41164" fmla="*/ 2746499 h 4687251"/>
              <a:gd name="connsiteX41165" fmla="*/ 3576383 w 8079933"/>
              <a:gd name="connsiteY41165" fmla="*/ 2747690 h 4687251"/>
              <a:gd name="connsiteX41166" fmla="*/ 3570197 w 8079933"/>
              <a:gd name="connsiteY41166" fmla="*/ 2749964 h 4687251"/>
              <a:gd name="connsiteX41167" fmla="*/ 3567484 w 8079933"/>
              <a:gd name="connsiteY41167" fmla="*/ 2749422 h 4687251"/>
              <a:gd name="connsiteX41168" fmla="*/ 3566291 w 8079933"/>
              <a:gd name="connsiteY41168" fmla="*/ 2746824 h 4687251"/>
              <a:gd name="connsiteX41169" fmla="*/ 3561408 w 8079933"/>
              <a:gd name="connsiteY41169" fmla="*/ 2746499 h 4687251"/>
              <a:gd name="connsiteX41170" fmla="*/ 3557067 w 8079933"/>
              <a:gd name="connsiteY41170" fmla="*/ 2742169 h 4687251"/>
              <a:gd name="connsiteX41171" fmla="*/ 3561408 w 8079933"/>
              <a:gd name="connsiteY41171" fmla="*/ 2738920 h 4687251"/>
              <a:gd name="connsiteX41172" fmla="*/ 3558152 w 8079933"/>
              <a:gd name="connsiteY41172" fmla="*/ 2738595 h 4687251"/>
              <a:gd name="connsiteX41173" fmla="*/ 3550122 w 8079933"/>
              <a:gd name="connsiteY41173" fmla="*/ 2738163 h 4687251"/>
              <a:gd name="connsiteX41174" fmla="*/ 3548169 w 8079933"/>
              <a:gd name="connsiteY41174" fmla="*/ 2734589 h 4687251"/>
              <a:gd name="connsiteX41175" fmla="*/ 3548169 w 8079933"/>
              <a:gd name="connsiteY41175" fmla="*/ 2734481 h 4687251"/>
              <a:gd name="connsiteX41176" fmla="*/ 3554029 w 8079933"/>
              <a:gd name="connsiteY41176" fmla="*/ 2736322 h 4687251"/>
              <a:gd name="connsiteX41177" fmla="*/ 3554029 w 8079933"/>
              <a:gd name="connsiteY41177" fmla="*/ 2736322 h 4687251"/>
              <a:gd name="connsiteX41178" fmla="*/ 3548169 w 8079933"/>
              <a:gd name="connsiteY41178" fmla="*/ 2734481 h 4687251"/>
              <a:gd name="connsiteX41179" fmla="*/ 3548386 w 8079933"/>
              <a:gd name="connsiteY41179" fmla="*/ 2729826 h 4687251"/>
              <a:gd name="connsiteX41180" fmla="*/ 3546541 w 8079933"/>
              <a:gd name="connsiteY41180" fmla="*/ 2728310 h 4687251"/>
              <a:gd name="connsiteX41181" fmla="*/ 3550556 w 8079933"/>
              <a:gd name="connsiteY41181" fmla="*/ 2729393 h 4687251"/>
              <a:gd name="connsiteX41182" fmla="*/ 3553052 w 8079933"/>
              <a:gd name="connsiteY41182" fmla="*/ 2730259 h 4687251"/>
              <a:gd name="connsiteX41183" fmla="*/ 3558261 w 8079933"/>
              <a:gd name="connsiteY41183" fmla="*/ 2727010 h 4687251"/>
              <a:gd name="connsiteX41184" fmla="*/ 3550122 w 8079933"/>
              <a:gd name="connsiteY41184" fmla="*/ 2724087 h 4687251"/>
              <a:gd name="connsiteX41185" fmla="*/ 3544696 w 8079933"/>
              <a:gd name="connsiteY41185" fmla="*/ 2727010 h 4687251"/>
              <a:gd name="connsiteX41186" fmla="*/ 3543503 w 8079933"/>
              <a:gd name="connsiteY41186" fmla="*/ 2725170 h 4687251"/>
              <a:gd name="connsiteX41187" fmla="*/ 3545781 w 8079933"/>
              <a:gd name="connsiteY41187" fmla="*/ 2722679 h 4687251"/>
              <a:gd name="connsiteX41188" fmla="*/ 3545781 w 8079933"/>
              <a:gd name="connsiteY41188" fmla="*/ 2717266 h 4687251"/>
              <a:gd name="connsiteX41189" fmla="*/ 3548278 w 8079933"/>
              <a:gd name="connsiteY41189" fmla="*/ 2714776 h 4687251"/>
              <a:gd name="connsiteX41190" fmla="*/ 3562927 w 8079933"/>
              <a:gd name="connsiteY41190" fmla="*/ 2714776 h 4687251"/>
              <a:gd name="connsiteX41191" fmla="*/ 3567051 w 8079933"/>
              <a:gd name="connsiteY41191" fmla="*/ 2710120 h 4687251"/>
              <a:gd name="connsiteX41192" fmla="*/ 3571500 w 8079933"/>
              <a:gd name="connsiteY41192" fmla="*/ 2708930 h 4687251"/>
              <a:gd name="connsiteX41193" fmla="*/ 3576709 w 8079933"/>
              <a:gd name="connsiteY41193" fmla="*/ 2705465 h 4687251"/>
              <a:gd name="connsiteX41194" fmla="*/ 3577143 w 8079933"/>
              <a:gd name="connsiteY41194" fmla="*/ 2705577 h 4687251"/>
              <a:gd name="connsiteX41195" fmla="*/ 3576708 w 8079933"/>
              <a:gd name="connsiteY41195" fmla="*/ 2705464 h 4687251"/>
              <a:gd name="connsiteX41196" fmla="*/ 3571499 w 8079933"/>
              <a:gd name="connsiteY41196" fmla="*/ 2708929 h 4687251"/>
              <a:gd name="connsiteX41197" fmla="*/ 3567050 w 8079933"/>
              <a:gd name="connsiteY41197" fmla="*/ 2710120 h 4687251"/>
              <a:gd name="connsiteX41198" fmla="*/ 3562926 w 8079933"/>
              <a:gd name="connsiteY41198" fmla="*/ 2714776 h 4687251"/>
              <a:gd name="connsiteX41199" fmla="*/ 3548276 w 8079933"/>
              <a:gd name="connsiteY41199" fmla="*/ 2714776 h 4687251"/>
              <a:gd name="connsiteX41200" fmla="*/ 3545781 w 8079933"/>
              <a:gd name="connsiteY41200" fmla="*/ 2717266 h 4687251"/>
              <a:gd name="connsiteX41201" fmla="*/ 3545781 w 8079933"/>
              <a:gd name="connsiteY41201" fmla="*/ 2715425 h 4687251"/>
              <a:gd name="connsiteX41202" fmla="*/ 3543068 w 8079933"/>
              <a:gd name="connsiteY41202" fmla="*/ 2712069 h 4687251"/>
              <a:gd name="connsiteX41203" fmla="*/ 3547300 w 8079933"/>
              <a:gd name="connsiteY41203" fmla="*/ 2707847 h 4687251"/>
              <a:gd name="connsiteX41204" fmla="*/ 3552183 w 8079933"/>
              <a:gd name="connsiteY41204" fmla="*/ 2714018 h 4687251"/>
              <a:gd name="connsiteX41205" fmla="*/ 3558694 w 8079933"/>
              <a:gd name="connsiteY41205" fmla="*/ 2713801 h 4687251"/>
              <a:gd name="connsiteX41206" fmla="*/ 3562275 w 8079933"/>
              <a:gd name="connsiteY41206" fmla="*/ 2710445 h 4687251"/>
              <a:gd name="connsiteX41207" fmla="*/ 3556849 w 8079933"/>
              <a:gd name="connsiteY41207" fmla="*/ 2711852 h 4687251"/>
              <a:gd name="connsiteX41208" fmla="*/ 3550664 w 8079933"/>
              <a:gd name="connsiteY41208" fmla="*/ 2708821 h 4687251"/>
              <a:gd name="connsiteX41209" fmla="*/ 3549579 w 8079933"/>
              <a:gd name="connsiteY41209" fmla="*/ 2705140 h 4687251"/>
              <a:gd name="connsiteX41210" fmla="*/ 3549579 w 8079933"/>
              <a:gd name="connsiteY41210" fmla="*/ 2705140 h 4687251"/>
              <a:gd name="connsiteX41211" fmla="*/ 3548929 w 8079933"/>
              <a:gd name="connsiteY41211" fmla="*/ 2703191 h 4687251"/>
              <a:gd name="connsiteX41212" fmla="*/ 3552184 w 8079933"/>
              <a:gd name="connsiteY41212" fmla="*/ 2700809 h 4687251"/>
              <a:gd name="connsiteX41213" fmla="*/ 3546216 w 8079933"/>
              <a:gd name="connsiteY41213" fmla="*/ 2697020 h 4687251"/>
              <a:gd name="connsiteX41214" fmla="*/ 3548169 w 8079933"/>
              <a:gd name="connsiteY41214" fmla="*/ 2696695 h 4687251"/>
              <a:gd name="connsiteX41215" fmla="*/ 3548169 w 8079933"/>
              <a:gd name="connsiteY41215" fmla="*/ 2691823 h 4687251"/>
              <a:gd name="connsiteX41216" fmla="*/ 3543720 w 8079933"/>
              <a:gd name="connsiteY41216" fmla="*/ 2691065 h 4687251"/>
              <a:gd name="connsiteX41217" fmla="*/ 3538402 w 8079933"/>
              <a:gd name="connsiteY41217" fmla="*/ 2681862 h 4687251"/>
              <a:gd name="connsiteX41218" fmla="*/ 3530264 w 8079933"/>
              <a:gd name="connsiteY41218" fmla="*/ 2675366 h 4687251"/>
              <a:gd name="connsiteX41219" fmla="*/ 3545239 w 8079933"/>
              <a:gd name="connsiteY41219" fmla="*/ 2661723 h 4687251"/>
              <a:gd name="connsiteX41220" fmla="*/ 3551424 w 8079933"/>
              <a:gd name="connsiteY41220" fmla="*/ 2650464 h 4687251"/>
              <a:gd name="connsiteX41221" fmla="*/ 3552510 w 8079933"/>
              <a:gd name="connsiteY41221" fmla="*/ 2642668 h 4687251"/>
              <a:gd name="connsiteX41222" fmla="*/ 3556525 w 8079933"/>
              <a:gd name="connsiteY41222" fmla="*/ 2639637 h 4687251"/>
              <a:gd name="connsiteX41223" fmla="*/ 3559997 w 8079933"/>
              <a:gd name="connsiteY41223" fmla="*/ 2639637 h 4687251"/>
              <a:gd name="connsiteX41224" fmla="*/ 3564772 w 8079933"/>
              <a:gd name="connsiteY41224" fmla="*/ 2634981 h 4687251"/>
              <a:gd name="connsiteX41225" fmla="*/ 3577685 w 8079933"/>
              <a:gd name="connsiteY41225" fmla="*/ 2632924 h 4687251"/>
              <a:gd name="connsiteX41226" fmla="*/ 3590056 w 8079933"/>
              <a:gd name="connsiteY41226" fmla="*/ 2628160 h 4687251"/>
              <a:gd name="connsiteX41227" fmla="*/ 3590056 w 8079933"/>
              <a:gd name="connsiteY41227" fmla="*/ 2628160 h 4687251"/>
              <a:gd name="connsiteX41228" fmla="*/ 3577685 w 8079933"/>
              <a:gd name="connsiteY41228" fmla="*/ 2632923 h 4687251"/>
              <a:gd name="connsiteX41229" fmla="*/ 3564772 w 8079933"/>
              <a:gd name="connsiteY41229" fmla="*/ 2634981 h 4687251"/>
              <a:gd name="connsiteX41230" fmla="*/ 3559997 w 8079933"/>
              <a:gd name="connsiteY41230" fmla="*/ 2639636 h 4687251"/>
              <a:gd name="connsiteX41231" fmla="*/ 3556524 w 8079933"/>
              <a:gd name="connsiteY41231" fmla="*/ 2639636 h 4687251"/>
              <a:gd name="connsiteX41232" fmla="*/ 3552509 w 8079933"/>
              <a:gd name="connsiteY41232" fmla="*/ 2642668 h 4687251"/>
              <a:gd name="connsiteX41233" fmla="*/ 3553811 w 8079933"/>
              <a:gd name="connsiteY41233" fmla="*/ 2633032 h 4687251"/>
              <a:gd name="connsiteX41234" fmla="*/ 3557609 w 8079933"/>
              <a:gd name="connsiteY41234" fmla="*/ 2618199 h 4687251"/>
              <a:gd name="connsiteX41235" fmla="*/ 3563361 w 8079933"/>
              <a:gd name="connsiteY41235" fmla="*/ 2610079 h 4687251"/>
              <a:gd name="connsiteX41236" fmla="*/ 3564988 w 8079933"/>
              <a:gd name="connsiteY41236" fmla="*/ 2592971 h 4687251"/>
              <a:gd name="connsiteX41237" fmla="*/ 3560322 w 8079933"/>
              <a:gd name="connsiteY41237" fmla="*/ 2568178 h 4687251"/>
              <a:gd name="connsiteX41238" fmla="*/ 3553378 w 8079933"/>
              <a:gd name="connsiteY41238" fmla="*/ 2557675 h 4687251"/>
              <a:gd name="connsiteX41239" fmla="*/ 3556091 w 8079933"/>
              <a:gd name="connsiteY41239" fmla="*/ 2555727 h 4687251"/>
              <a:gd name="connsiteX41240" fmla="*/ 3559346 w 8079933"/>
              <a:gd name="connsiteY41240" fmla="*/ 2555727 h 4687251"/>
              <a:gd name="connsiteX41241" fmla="*/ 3560974 w 8079933"/>
              <a:gd name="connsiteY41241" fmla="*/ 2547606 h 4687251"/>
              <a:gd name="connsiteX41242" fmla="*/ 3559237 w 8079933"/>
              <a:gd name="connsiteY41242" fmla="*/ 2542518 h 4687251"/>
              <a:gd name="connsiteX41243" fmla="*/ 3562275 w 8079933"/>
              <a:gd name="connsiteY41243" fmla="*/ 2539486 h 4687251"/>
              <a:gd name="connsiteX41244" fmla="*/ 3555439 w 8079933"/>
              <a:gd name="connsiteY41244" fmla="*/ 2529200 h 4687251"/>
              <a:gd name="connsiteX41245" fmla="*/ 3552509 w 8079933"/>
              <a:gd name="connsiteY41245" fmla="*/ 2531582 h 4687251"/>
              <a:gd name="connsiteX41246" fmla="*/ 3550556 w 8079933"/>
              <a:gd name="connsiteY41246" fmla="*/ 2530500 h 4687251"/>
              <a:gd name="connsiteX41247" fmla="*/ 3548494 w 8079933"/>
              <a:gd name="connsiteY41247" fmla="*/ 2524761 h 4687251"/>
              <a:gd name="connsiteX41248" fmla="*/ 3543285 w 8079933"/>
              <a:gd name="connsiteY41248" fmla="*/ 2530608 h 4687251"/>
              <a:gd name="connsiteX41249" fmla="*/ 3542960 w 8079933"/>
              <a:gd name="connsiteY41249" fmla="*/ 2521405 h 4687251"/>
              <a:gd name="connsiteX41250" fmla="*/ 3545239 w 8079933"/>
              <a:gd name="connsiteY41250" fmla="*/ 2516207 h 4687251"/>
              <a:gd name="connsiteX41251" fmla="*/ 3545239 w 8079933"/>
              <a:gd name="connsiteY41251" fmla="*/ 2515233 h 4687251"/>
              <a:gd name="connsiteX41252" fmla="*/ 3640950 w 8079933"/>
              <a:gd name="connsiteY41252" fmla="*/ 2514367 h 4687251"/>
              <a:gd name="connsiteX41253" fmla="*/ 3640950 w 8079933"/>
              <a:gd name="connsiteY41253" fmla="*/ 2514366 h 4687251"/>
              <a:gd name="connsiteX41254" fmla="*/ 3545238 w 8079933"/>
              <a:gd name="connsiteY41254" fmla="*/ 2515233 h 4687251"/>
              <a:gd name="connsiteX41255" fmla="*/ 3544696 w 8079933"/>
              <a:gd name="connsiteY41255" fmla="*/ 2507329 h 4687251"/>
              <a:gd name="connsiteX41256" fmla="*/ 3547300 w 8079933"/>
              <a:gd name="connsiteY41256" fmla="*/ 2502349 h 4687251"/>
              <a:gd name="connsiteX41257" fmla="*/ 3546866 w 8079933"/>
              <a:gd name="connsiteY41257" fmla="*/ 2496394 h 4687251"/>
              <a:gd name="connsiteX41258" fmla="*/ 3550339 w 8079933"/>
              <a:gd name="connsiteY41258" fmla="*/ 2492712 h 4687251"/>
              <a:gd name="connsiteX41259" fmla="*/ 3553269 w 8079933"/>
              <a:gd name="connsiteY41259" fmla="*/ 2492063 h 4687251"/>
              <a:gd name="connsiteX41260" fmla="*/ 3560865 w 8079933"/>
              <a:gd name="connsiteY41260" fmla="*/ 2478204 h 4687251"/>
              <a:gd name="connsiteX41261" fmla="*/ 3564988 w 8079933"/>
              <a:gd name="connsiteY41261" fmla="*/ 2476580 h 4687251"/>
              <a:gd name="connsiteX41262" fmla="*/ 3562058 w 8079933"/>
              <a:gd name="connsiteY41262" fmla="*/ 2474415 h 4687251"/>
              <a:gd name="connsiteX41263" fmla="*/ 3562493 w 8079933"/>
              <a:gd name="connsiteY41263" fmla="*/ 2472033 h 4687251"/>
              <a:gd name="connsiteX41264" fmla="*/ 3572042 w 8079933"/>
              <a:gd name="connsiteY41264" fmla="*/ 2459365 h 4687251"/>
              <a:gd name="connsiteX41265" fmla="*/ 3571499 w 8079933"/>
              <a:gd name="connsiteY41265" fmla="*/ 2455792 h 4687251"/>
              <a:gd name="connsiteX41266" fmla="*/ 3577468 w 8079933"/>
              <a:gd name="connsiteY41266" fmla="*/ 2442800 h 4687251"/>
              <a:gd name="connsiteX41267" fmla="*/ 3580940 w 8079933"/>
              <a:gd name="connsiteY41267" fmla="*/ 2440959 h 4687251"/>
              <a:gd name="connsiteX41268" fmla="*/ 3592117 w 8079933"/>
              <a:gd name="connsiteY41268" fmla="*/ 2430565 h 4687251"/>
              <a:gd name="connsiteX41269" fmla="*/ 3592986 w 8079933"/>
              <a:gd name="connsiteY41269" fmla="*/ 2423636 h 4687251"/>
              <a:gd name="connsiteX41270" fmla="*/ 3607636 w 8079933"/>
              <a:gd name="connsiteY41270" fmla="*/ 2402415 h 4687251"/>
              <a:gd name="connsiteX41271" fmla="*/ 3605682 w 8079933"/>
              <a:gd name="connsiteY41271" fmla="*/ 2396244 h 4687251"/>
              <a:gd name="connsiteX41272" fmla="*/ 3612193 w 8079933"/>
              <a:gd name="connsiteY41272" fmla="*/ 2392455 h 4687251"/>
              <a:gd name="connsiteX41273" fmla="*/ 3613821 w 8079933"/>
              <a:gd name="connsiteY41273" fmla="*/ 2387690 h 4687251"/>
              <a:gd name="connsiteX41274" fmla="*/ 3630424 w 8079933"/>
              <a:gd name="connsiteY41274" fmla="*/ 2379137 h 4687251"/>
              <a:gd name="connsiteX41275" fmla="*/ 3634765 w 8079933"/>
              <a:gd name="connsiteY41275" fmla="*/ 2378921 h 4687251"/>
              <a:gd name="connsiteX41276" fmla="*/ 3634765 w 8079933"/>
              <a:gd name="connsiteY41276" fmla="*/ 2369501 h 4687251"/>
              <a:gd name="connsiteX41277" fmla="*/ 3644097 w 8079933"/>
              <a:gd name="connsiteY41277" fmla="*/ 2356617 h 4687251"/>
              <a:gd name="connsiteX41278" fmla="*/ 3644097 w 8079933"/>
              <a:gd name="connsiteY41278" fmla="*/ 2356617 h 4687251"/>
              <a:gd name="connsiteX41279" fmla="*/ 3649848 w 8079933"/>
              <a:gd name="connsiteY41279" fmla="*/ 2348605 h 4687251"/>
              <a:gd name="connsiteX41280" fmla="*/ 3673179 w 8079933"/>
              <a:gd name="connsiteY41280" fmla="*/ 2344274 h 4687251"/>
              <a:gd name="connsiteX41281" fmla="*/ 3689782 w 8079933"/>
              <a:gd name="connsiteY41281" fmla="*/ 2329333 h 4687251"/>
              <a:gd name="connsiteX41282" fmla="*/ 3697378 w 8079933"/>
              <a:gd name="connsiteY41282" fmla="*/ 2328575 h 4687251"/>
              <a:gd name="connsiteX41283" fmla="*/ 3704215 w 8079933"/>
              <a:gd name="connsiteY41283" fmla="*/ 2321213 h 4687251"/>
              <a:gd name="connsiteX41284" fmla="*/ 3705843 w 8079933"/>
              <a:gd name="connsiteY41284" fmla="*/ 2314500 h 4687251"/>
              <a:gd name="connsiteX41285" fmla="*/ 3720927 w 8079933"/>
              <a:gd name="connsiteY41285" fmla="*/ 2297501 h 4687251"/>
              <a:gd name="connsiteX41286" fmla="*/ 3722554 w 8079933"/>
              <a:gd name="connsiteY41286" fmla="*/ 2290681 h 4687251"/>
              <a:gd name="connsiteX41287" fmla="*/ 3719841 w 8079933"/>
              <a:gd name="connsiteY41287" fmla="*/ 2287216 h 4687251"/>
              <a:gd name="connsiteX41288" fmla="*/ 3717779 w 8079933"/>
              <a:gd name="connsiteY41288" fmla="*/ 2285267 h 4687251"/>
              <a:gd name="connsiteX41289" fmla="*/ 3720927 w 8079933"/>
              <a:gd name="connsiteY41289" fmla="*/ 2276389 h 4687251"/>
              <a:gd name="connsiteX41290" fmla="*/ 3716911 w 8079933"/>
              <a:gd name="connsiteY41290" fmla="*/ 2268485 h 4687251"/>
              <a:gd name="connsiteX41291" fmla="*/ 3717237 w 8079933"/>
              <a:gd name="connsiteY41291" fmla="*/ 2263179 h 4687251"/>
              <a:gd name="connsiteX41292" fmla="*/ 3723422 w 8079933"/>
              <a:gd name="connsiteY41292" fmla="*/ 2250620 h 4687251"/>
              <a:gd name="connsiteX41293" fmla="*/ 3732972 w 8079933"/>
              <a:gd name="connsiteY41293" fmla="*/ 2241959 h 4687251"/>
              <a:gd name="connsiteX41294" fmla="*/ 3733623 w 8079933"/>
              <a:gd name="connsiteY41294" fmla="*/ 2236220 h 4687251"/>
              <a:gd name="connsiteX41295" fmla="*/ 3729825 w 8079933"/>
              <a:gd name="connsiteY41295" fmla="*/ 2227884 h 4687251"/>
              <a:gd name="connsiteX41296" fmla="*/ 3740785 w 8079933"/>
              <a:gd name="connsiteY41296" fmla="*/ 2220088 h 4687251"/>
              <a:gd name="connsiteX41297" fmla="*/ 3744149 w 8079933"/>
              <a:gd name="connsiteY41297" fmla="*/ 2214999 h 4687251"/>
              <a:gd name="connsiteX41298" fmla="*/ 3750009 w 8079933"/>
              <a:gd name="connsiteY41298" fmla="*/ 2213050 h 4687251"/>
              <a:gd name="connsiteX41299" fmla="*/ 3759450 w 8079933"/>
              <a:gd name="connsiteY41299" fmla="*/ 2206770 h 4687251"/>
              <a:gd name="connsiteX41300" fmla="*/ 3761946 w 8079933"/>
              <a:gd name="connsiteY41300" fmla="*/ 2206662 h 4687251"/>
              <a:gd name="connsiteX41301" fmla="*/ 3768565 w 8079933"/>
              <a:gd name="connsiteY41301" fmla="*/ 2199625 h 4687251"/>
              <a:gd name="connsiteX41302" fmla="*/ 3777355 w 8079933"/>
              <a:gd name="connsiteY41302" fmla="*/ 2196701 h 4687251"/>
              <a:gd name="connsiteX41303" fmla="*/ 3782672 w 8079933"/>
              <a:gd name="connsiteY41303" fmla="*/ 2193020 h 4687251"/>
              <a:gd name="connsiteX41304" fmla="*/ 3785168 w 8079933"/>
              <a:gd name="connsiteY41304" fmla="*/ 2192803 h 4687251"/>
              <a:gd name="connsiteX41305" fmla="*/ 3796020 w 8079933"/>
              <a:gd name="connsiteY41305" fmla="*/ 2182735 h 4687251"/>
              <a:gd name="connsiteX41306" fmla="*/ 3799167 w 8079933"/>
              <a:gd name="connsiteY41306" fmla="*/ 2176563 h 4687251"/>
              <a:gd name="connsiteX41307" fmla="*/ 3800252 w 8079933"/>
              <a:gd name="connsiteY41307" fmla="*/ 2166711 h 4687251"/>
              <a:gd name="connsiteX41308" fmla="*/ 3805461 w 8079933"/>
              <a:gd name="connsiteY41308" fmla="*/ 2159997 h 4687251"/>
              <a:gd name="connsiteX41309" fmla="*/ 3806438 w 8079933"/>
              <a:gd name="connsiteY41309" fmla="*/ 2147005 h 4687251"/>
              <a:gd name="connsiteX41310" fmla="*/ 3810995 w 8079933"/>
              <a:gd name="connsiteY41310" fmla="*/ 2142024 h 4687251"/>
              <a:gd name="connsiteX41311" fmla="*/ 3814793 w 8079933"/>
              <a:gd name="connsiteY41311" fmla="*/ 2142350 h 4687251"/>
              <a:gd name="connsiteX41312" fmla="*/ 3816747 w 8079933"/>
              <a:gd name="connsiteY41312" fmla="*/ 2140509 h 4687251"/>
              <a:gd name="connsiteX41313" fmla="*/ 3821413 w 8079933"/>
              <a:gd name="connsiteY41313" fmla="*/ 2138885 h 4687251"/>
              <a:gd name="connsiteX41314" fmla="*/ 3822824 w 8079933"/>
              <a:gd name="connsiteY41314" fmla="*/ 2140726 h 4687251"/>
              <a:gd name="connsiteX41315" fmla="*/ 3821956 w 8079933"/>
              <a:gd name="connsiteY41315" fmla="*/ 2142024 h 4687251"/>
              <a:gd name="connsiteX41316" fmla="*/ 3821956 w 8079933"/>
              <a:gd name="connsiteY41316" fmla="*/ 2144732 h 4687251"/>
              <a:gd name="connsiteX41317" fmla="*/ 3823040 w 8079933"/>
              <a:gd name="connsiteY41317" fmla="*/ 2148521 h 4687251"/>
              <a:gd name="connsiteX41318" fmla="*/ 3825645 w 8079933"/>
              <a:gd name="connsiteY41318" fmla="*/ 2150470 h 4687251"/>
              <a:gd name="connsiteX41319" fmla="*/ 3832156 w 8079933"/>
              <a:gd name="connsiteY41319" fmla="*/ 2157507 h 4687251"/>
              <a:gd name="connsiteX41320" fmla="*/ 3837474 w 8079933"/>
              <a:gd name="connsiteY41320" fmla="*/ 2158590 h 4687251"/>
              <a:gd name="connsiteX41321" fmla="*/ 3844635 w 8079933"/>
              <a:gd name="connsiteY41321" fmla="*/ 2157507 h 4687251"/>
              <a:gd name="connsiteX41322" fmla="*/ 3849627 w 8079933"/>
              <a:gd name="connsiteY41322" fmla="*/ 2154909 h 4687251"/>
              <a:gd name="connsiteX41323" fmla="*/ 3853642 w 8079933"/>
              <a:gd name="connsiteY41323" fmla="*/ 2155234 h 4687251"/>
              <a:gd name="connsiteX41324" fmla="*/ 3861347 w 8079933"/>
              <a:gd name="connsiteY41324" fmla="*/ 2157291 h 4687251"/>
              <a:gd name="connsiteX41325" fmla="*/ 3868943 w 8079933"/>
              <a:gd name="connsiteY41325" fmla="*/ 2155775 h 4687251"/>
              <a:gd name="connsiteX41326" fmla="*/ 3873176 w 8079933"/>
              <a:gd name="connsiteY41326" fmla="*/ 2151119 h 4687251"/>
              <a:gd name="connsiteX41327" fmla="*/ 3873393 w 8079933"/>
              <a:gd name="connsiteY41327" fmla="*/ 2151119 h 4687251"/>
              <a:gd name="connsiteX41328" fmla="*/ 3875020 w 8079933"/>
              <a:gd name="connsiteY41328" fmla="*/ 2151661 h 4687251"/>
              <a:gd name="connsiteX41329" fmla="*/ 3876322 w 8079933"/>
              <a:gd name="connsiteY41329" fmla="*/ 2156208 h 4687251"/>
              <a:gd name="connsiteX41330" fmla="*/ 3879360 w 8079933"/>
              <a:gd name="connsiteY41330" fmla="*/ 2159240 h 4687251"/>
              <a:gd name="connsiteX41331" fmla="*/ 3892926 w 8079933"/>
              <a:gd name="connsiteY41331" fmla="*/ 2160322 h 4687251"/>
              <a:gd name="connsiteX41332" fmla="*/ 3896289 w 8079933"/>
              <a:gd name="connsiteY41332" fmla="*/ 2160215 h 4687251"/>
              <a:gd name="connsiteX41333" fmla="*/ 3897917 w 8079933"/>
              <a:gd name="connsiteY41333" fmla="*/ 2162596 h 4687251"/>
              <a:gd name="connsiteX41334" fmla="*/ 3899111 w 8079933"/>
              <a:gd name="connsiteY41334" fmla="*/ 2165519 h 4687251"/>
              <a:gd name="connsiteX41335" fmla="*/ 3901932 w 8079933"/>
              <a:gd name="connsiteY41335" fmla="*/ 2168984 h 4687251"/>
              <a:gd name="connsiteX41336" fmla="*/ 3902475 w 8079933"/>
              <a:gd name="connsiteY41336" fmla="*/ 2173315 h 4687251"/>
              <a:gd name="connsiteX41337" fmla="*/ 3901933 w 8079933"/>
              <a:gd name="connsiteY41337" fmla="*/ 2168984 h 4687251"/>
              <a:gd name="connsiteX41338" fmla="*/ 3899111 w 8079933"/>
              <a:gd name="connsiteY41338" fmla="*/ 2165519 h 4687251"/>
              <a:gd name="connsiteX41339" fmla="*/ 3897918 w 8079933"/>
              <a:gd name="connsiteY41339" fmla="*/ 2162596 h 4687251"/>
              <a:gd name="connsiteX41340" fmla="*/ 3896289 w 8079933"/>
              <a:gd name="connsiteY41340" fmla="*/ 2160214 h 4687251"/>
              <a:gd name="connsiteX41341" fmla="*/ 3902692 w 8079933"/>
              <a:gd name="connsiteY41341" fmla="*/ 2159890 h 4687251"/>
              <a:gd name="connsiteX41342" fmla="*/ 3909963 w 8079933"/>
              <a:gd name="connsiteY41342" fmla="*/ 2157508 h 4687251"/>
              <a:gd name="connsiteX41343" fmla="*/ 3914629 w 8079933"/>
              <a:gd name="connsiteY41343" fmla="*/ 2152527 h 4687251"/>
              <a:gd name="connsiteX41344" fmla="*/ 3915389 w 8079933"/>
              <a:gd name="connsiteY41344" fmla="*/ 2149712 h 4687251"/>
              <a:gd name="connsiteX41345" fmla="*/ 3918427 w 8079933"/>
              <a:gd name="connsiteY41345" fmla="*/ 2147005 h 4687251"/>
              <a:gd name="connsiteX41346" fmla="*/ 3924070 w 8079933"/>
              <a:gd name="connsiteY41346" fmla="*/ 2144082 h 4687251"/>
              <a:gd name="connsiteX41347" fmla="*/ 3930798 w 8079933"/>
              <a:gd name="connsiteY41347" fmla="*/ 2143649 h 4687251"/>
              <a:gd name="connsiteX41348" fmla="*/ 3932209 w 8079933"/>
              <a:gd name="connsiteY41348" fmla="*/ 2141808 h 4687251"/>
              <a:gd name="connsiteX41349" fmla="*/ 3934704 w 8079933"/>
              <a:gd name="connsiteY41349" fmla="*/ 2139968 h 4687251"/>
              <a:gd name="connsiteX41350" fmla="*/ 3938177 w 8079933"/>
              <a:gd name="connsiteY41350" fmla="*/ 2139860 h 4687251"/>
              <a:gd name="connsiteX41351" fmla="*/ 3939697 w 8079933"/>
              <a:gd name="connsiteY41351" fmla="*/ 2141376 h 4687251"/>
              <a:gd name="connsiteX41352" fmla="*/ 3942301 w 8079933"/>
              <a:gd name="connsiteY41352" fmla="*/ 2141376 h 4687251"/>
              <a:gd name="connsiteX41353" fmla="*/ 3945231 w 8079933"/>
              <a:gd name="connsiteY41353" fmla="*/ 2137478 h 4687251"/>
              <a:gd name="connsiteX41354" fmla="*/ 3945557 w 8079933"/>
              <a:gd name="connsiteY41354" fmla="*/ 2133796 h 4687251"/>
              <a:gd name="connsiteX41355" fmla="*/ 3951199 w 8079933"/>
              <a:gd name="connsiteY41355" fmla="*/ 2130223 h 4687251"/>
              <a:gd name="connsiteX41356" fmla="*/ 3954563 w 8079933"/>
              <a:gd name="connsiteY41356" fmla="*/ 2130223 h 4687251"/>
              <a:gd name="connsiteX41357" fmla="*/ 3961292 w 8079933"/>
              <a:gd name="connsiteY41357" fmla="*/ 2129249 h 4687251"/>
              <a:gd name="connsiteX41358" fmla="*/ 3972902 w 8079933"/>
              <a:gd name="connsiteY41358" fmla="*/ 2120371 h 4687251"/>
              <a:gd name="connsiteX41359" fmla="*/ 3978112 w 8079933"/>
              <a:gd name="connsiteY41359" fmla="*/ 2121129 h 4687251"/>
              <a:gd name="connsiteX41360" fmla="*/ 3987335 w 8079933"/>
              <a:gd name="connsiteY41360" fmla="*/ 2120695 h 4687251"/>
              <a:gd name="connsiteX41361" fmla="*/ 3992327 w 8079933"/>
              <a:gd name="connsiteY41361" fmla="*/ 2118964 h 4687251"/>
              <a:gd name="connsiteX41362" fmla="*/ 3997971 w 8079933"/>
              <a:gd name="connsiteY41362" fmla="*/ 2121995 h 4687251"/>
              <a:gd name="connsiteX41363" fmla="*/ 4001551 w 8079933"/>
              <a:gd name="connsiteY41363" fmla="*/ 2122211 h 4687251"/>
              <a:gd name="connsiteX41364" fmla="*/ 4007737 w 8079933"/>
              <a:gd name="connsiteY41364" fmla="*/ 2116256 h 4687251"/>
              <a:gd name="connsiteX41365" fmla="*/ 4012294 w 8079933"/>
              <a:gd name="connsiteY41365" fmla="*/ 2118097 h 4687251"/>
              <a:gd name="connsiteX41366" fmla="*/ 4017286 w 8079933"/>
              <a:gd name="connsiteY41366" fmla="*/ 2118097 h 4687251"/>
              <a:gd name="connsiteX41367" fmla="*/ 4019674 w 8079933"/>
              <a:gd name="connsiteY41367" fmla="*/ 2113225 h 4687251"/>
              <a:gd name="connsiteX41368" fmla="*/ 4022712 w 8079933"/>
              <a:gd name="connsiteY41368" fmla="*/ 2112467 h 4687251"/>
              <a:gd name="connsiteX41369" fmla="*/ 4027161 w 8079933"/>
              <a:gd name="connsiteY41369" fmla="*/ 2113875 h 4687251"/>
              <a:gd name="connsiteX41370" fmla="*/ 4029440 w 8079933"/>
              <a:gd name="connsiteY41370" fmla="*/ 2113333 h 4687251"/>
              <a:gd name="connsiteX41371" fmla="*/ 4034541 w 8079933"/>
              <a:gd name="connsiteY41371" fmla="*/ 2114091 h 4687251"/>
              <a:gd name="connsiteX41372" fmla="*/ 4040834 w 8079933"/>
              <a:gd name="connsiteY41372" fmla="*/ 2113009 h 4687251"/>
              <a:gd name="connsiteX41373" fmla="*/ 4043764 w 8079933"/>
              <a:gd name="connsiteY41373" fmla="*/ 2113875 h 4687251"/>
              <a:gd name="connsiteX41374" fmla="*/ 4050275 w 8079933"/>
              <a:gd name="connsiteY41374" fmla="*/ 2114307 h 4687251"/>
              <a:gd name="connsiteX41375" fmla="*/ 4053314 w 8079933"/>
              <a:gd name="connsiteY41375" fmla="*/ 2119180 h 4687251"/>
              <a:gd name="connsiteX41376" fmla="*/ 4058740 w 8079933"/>
              <a:gd name="connsiteY41376" fmla="*/ 2119180 h 4687251"/>
              <a:gd name="connsiteX41377" fmla="*/ 4063623 w 8079933"/>
              <a:gd name="connsiteY41377" fmla="*/ 2115390 h 4687251"/>
              <a:gd name="connsiteX41378" fmla="*/ 4067421 w 8079933"/>
              <a:gd name="connsiteY41378" fmla="*/ 2115390 h 4687251"/>
              <a:gd name="connsiteX41379" fmla="*/ 4070567 w 8079933"/>
              <a:gd name="connsiteY41379" fmla="*/ 2116581 h 4687251"/>
              <a:gd name="connsiteX41380" fmla="*/ 4072629 w 8079933"/>
              <a:gd name="connsiteY41380" fmla="*/ 2113009 h 4687251"/>
              <a:gd name="connsiteX41381" fmla="*/ 4077513 w 8079933"/>
              <a:gd name="connsiteY41381" fmla="*/ 2112142 h 4687251"/>
              <a:gd name="connsiteX41382" fmla="*/ 4077947 w 8079933"/>
              <a:gd name="connsiteY41382" fmla="*/ 2108786 h 4687251"/>
              <a:gd name="connsiteX41383" fmla="*/ 4083590 w 8079933"/>
              <a:gd name="connsiteY41383" fmla="*/ 2107595 h 4687251"/>
              <a:gd name="connsiteX41384" fmla="*/ 4086954 w 8079933"/>
              <a:gd name="connsiteY41384" fmla="*/ 2110085 h 4687251"/>
              <a:gd name="connsiteX41385" fmla="*/ 4087496 w 8079933"/>
              <a:gd name="connsiteY41385" fmla="*/ 2113875 h 4687251"/>
              <a:gd name="connsiteX41386" fmla="*/ 4095636 w 8079933"/>
              <a:gd name="connsiteY41386" fmla="*/ 2114849 h 4687251"/>
              <a:gd name="connsiteX41387" fmla="*/ 4099867 w 8079933"/>
              <a:gd name="connsiteY41387" fmla="*/ 2110843 h 4687251"/>
              <a:gd name="connsiteX41388" fmla="*/ 4099976 w 8079933"/>
              <a:gd name="connsiteY41388" fmla="*/ 2108353 h 4687251"/>
              <a:gd name="connsiteX41389" fmla="*/ 4106487 w 8079933"/>
              <a:gd name="connsiteY41389" fmla="*/ 2110626 h 4687251"/>
              <a:gd name="connsiteX41390" fmla="*/ 4111696 w 8079933"/>
              <a:gd name="connsiteY41390" fmla="*/ 2115174 h 4687251"/>
              <a:gd name="connsiteX41391" fmla="*/ 4121896 w 8079933"/>
              <a:gd name="connsiteY41391" fmla="*/ 2112250 h 4687251"/>
              <a:gd name="connsiteX41392" fmla="*/ 4125478 w 8079933"/>
              <a:gd name="connsiteY41392" fmla="*/ 2113009 h 4687251"/>
              <a:gd name="connsiteX41393" fmla="*/ 4132206 w 8079933"/>
              <a:gd name="connsiteY41393" fmla="*/ 2111709 h 4687251"/>
              <a:gd name="connsiteX41394" fmla="*/ 4133398 w 8079933"/>
              <a:gd name="connsiteY41394" fmla="*/ 2113224 h 4687251"/>
              <a:gd name="connsiteX41395" fmla="*/ 4139584 w 8079933"/>
              <a:gd name="connsiteY41395" fmla="*/ 2107811 h 4687251"/>
              <a:gd name="connsiteX41396" fmla="*/ 4148265 w 8079933"/>
              <a:gd name="connsiteY41396" fmla="*/ 2103480 h 4687251"/>
              <a:gd name="connsiteX41397" fmla="*/ 4154559 w 8079933"/>
              <a:gd name="connsiteY41397" fmla="*/ 2102181 h 4687251"/>
              <a:gd name="connsiteX41398" fmla="*/ 4157164 w 8079933"/>
              <a:gd name="connsiteY41398" fmla="*/ 2105537 h 4687251"/>
              <a:gd name="connsiteX41399" fmla="*/ 4157380 w 8079933"/>
              <a:gd name="connsiteY41399" fmla="*/ 2102506 h 4687251"/>
              <a:gd name="connsiteX41400" fmla="*/ 4162589 w 8079933"/>
              <a:gd name="connsiteY41400" fmla="*/ 2101423 h 4687251"/>
              <a:gd name="connsiteX41401" fmla="*/ 4165628 w 8079933"/>
              <a:gd name="connsiteY41401" fmla="*/ 2104129 h 4687251"/>
              <a:gd name="connsiteX41402" fmla="*/ 4165085 w 8079933"/>
              <a:gd name="connsiteY41402" fmla="*/ 2108352 h 4687251"/>
              <a:gd name="connsiteX41403" fmla="*/ 4167473 w 8079933"/>
              <a:gd name="connsiteY41403" fmla="*/ 2109218 h 4687251"/>
              <a:gd name="connsiteX41404" fmla="*/ 4171053 w 8079933"/>
              <a:gd name="connsiteY41404" fmla="*/ 2117339 h 4687251"/>
              <a:gd name="connsiteX41405" fmla="*/ 4173441 w 8079933"/>
              <a:gd name="connsiteY41405" fmla="*/ 2118746 h 4687251"/>
              <a:gd name="connsiteX41406" fmla="*/ 4176263 w 8079933"/>
              <a:gd name="connsiteY41406" fmla="*/ 2115715 h 4687251"/>
              <a:gd name="connsiteX41407" fmla="*/ 4184835 w 8079933"/>
              <a:gd name="connsiteY41407" fmla="*/ 2107919 h 4687251"/>
              <a:gd name="connsiteX41408" fmla="*/ 4187005 w 8079933"/>
              <a:gd name="connsiteY41408" fmla="*/ 2109543 h 4687251"/>
              <a:gd name="connsiteX41409" fmla="*/ 4187005 w 8079933"/>
              <a:gd name="connsiteY41409" fmla="*/ 2114307 h 4687251"/>
              <a:gd name="connsiteX41410" fmla="*/ 4182230 w 8079933"/>
              <a:gd name="connsiteY41410" fmla="*/ 2121345 h 4687251"/>
              <a:gd name="connsiteX41411" fmla="*/ 4181905 w 8079933"/>
              <a:gd name="connsiteY41411" fmla="*/ 2125567 h 4687251"/>
              <a:gd name="connsiteX41412" fmla="*/ 4176154 w 8079933"/>
              <a:gd name="connsiteY41412" fmla="*/ 2129573 h 4687251"/>
              <a:gd name="connsiteX41413" fmla="*/ 4175069 w 8079933"/>
              <a:gd name="connsiteY41413" fmla="*/ 2135961 h 4687251"/>
              <a:gd name="connsiteX41414" fmla="*/ 4180820 w 8079933"/>
              <a:gd name="connsiteY41414" fmla="*/ 2143649 h 4687251"/>
              <a:gd name="connsiteX41415" fmla="*/ 4187874 w 8079933"/>
              <a:gd name="connsiteY41415" fmla="*/ 2146355 h 4687251"/>
              <a:gd name="connsiteX41416" fmla="*/ 4187656 w 8079933"/>
              <a:gd name="connsiteY41416" fmla="*/ 2154151 h 4687251"/>
              <a:gd name="connsiteX41417" fmla="*/ 4189501 w 8079933"/>
              <a:gd name="connsiteY41417" fmla="*/ 2155342 h 4687251"/>
              <a:gd name="connsiteX41418" fmla="*/ 4190369 w 8079933"/>
              <a:gd name="connsiteY41418" fmla="*/ 2158806 h 4687251"/>
              <a:gd name="connsiteX41419" fmla="*/ 4187874 w 8079933"/>
              <a:gd name="connsiteY41419" fmla="*/ 2161513 h 4687251"/>
              <a:gd name="connsiteX41420" fmla="*/ 4189827 w 8079933"/>
              <a:gd name="connsiteY41420" fmla="*/ 2164220 h 4687251"/>
              <a:gd name="connsiteX41421" fmla="*/ 4188091 w 8079933"/>
              <a:gd name="connsiteY41421" fmla="*/ 2166385 h 4687251"/>
              <a:gd name="connsiteX41422" fmla="*/ 4181145 w 8079933"/>
              <a:gd name="connsiteY41422" fmla="*/ 2173314 h 4687251"/>
              <a:gd name="connsiteX41423" fmla="*/ 4169209 w 8079933"/>
              <a:gd name="connsiteY41423" fmla="*/ 2181543 h 4687251"/>
              <a:gd name="connsiteX41424" fmla="*/ 4166930 w 8079933"/>
              <a:gd name="connsiteY41424" fmla="*/ 2188581 h 4687251"/>
              <a:gd name="connsiteX41425" fmla="*/ 4170728 w 8079933"/>
              <a:gd name="connsiteY41425" fmla="*/ 2195510 h 4687251"/>
              <a:gd name="connsiteX41426" fmla="*/ 4178324 w 8079933"/>
              <a:gd name="connsiteY41426" fmla="*/ 2200707 h 4687251"/>
              <a:gd name="connsiteX41427" fmla="*/ 4181797 w 8079933"/>
              <a:gd name="connsiteY41427" fmla="*/ 2199949 h 4687251"/>
              <a:gd name="connsiteX41428" fmla="*/ 4182774 w 8079933"/>
              <a:gd name="connsiteY41428" fmla="*/ 2203630 h 4687251"/>
              <a:gd name="connsiteX41429" fmla="*/ 4186029 w 8079933"/>
              <a:gd name="connsiteY41429" fmla="*/ 2205038 h 4687251"/>
              <a:gd name="connsiteX41430" fmla="*/ 4187874 w 8079933"/>
              <a:gd name="connsiteY41430" fmla="*/ 2203630 h 4687251"/>
              <a:gd name="connsiteX41431" fmla="*/ 4187548 w 8079933"/>
              <a:gd name="connsiteY41431" fmla="*/ 2201789 h 4687251"/>
              <a:gd name="connsiteX41432" fmla="*/ 4188959 w 8079933"/>
              <a:gd name="connsiteY41432" fmla="*/ 2200707 h 4687251"/>
              <a:gd name="connsiteX41433" fmla="*/ 4192540 w 8079933"/>
              <a:gd name="connsiteY41433" fmla="*/ 2202656 h 4687251"/>
              <a:gd name="connsiteX41434" fmla="*/ 4192757 w 8079933"/>
              <a:gd name="connsiteY41434" fmla="*/ 2206120 h 4687251"/>
              <a:gd name="connsiteX41435" fmla="*/ 4193516 w 8079933"/>
              <a:gd name="connsiteY41435" fmla="*/ 2208611 h 4687251"/>
              <a:gd name="connsiteX41436" fmla="*/ 4200570 w 8079933"/>
              <a:gd name="connsiteY41436" fmla="*/ 2212942 h 4687251"/>
              <a:gd name="connsiteX41437" fmla="*/ 4203392 w 8079933"/>
              <a:gd name="connsiteY41437" fmla="*/ 2213483 h 4687251"/>
              <a:gd name="connsiteX41438" fmla="*/ 4202523 w 8079933"/>
              <a:gd name="connsiteY41438" fmla="*/ 2215540 h 4687251"/>
              <a:gd name="connsiteX41439" fmla="*/ 4203373 w 8079933"/>
              <a:gd name="connsiteY41439" fmla="*/ 2220344 h 4687251"/>
              <a:gd name="connsiteX41440" fmla="*/ 4202524 w 8079933"/>
              <a:gd name="connsiteY41440" fmla="*/ 2215540 h 4687251"/>
              <a:gd name="connsiteX41441" fmla="*/ 4203392 w 8079933"/>
              <a:gd name="connsiteY41441" fmla="*/ 2213483 h 4687251"/>
              <a:gd name="connsiteX41442" fmla="*/ 4208817 w 8079933"/>
              <a:gd name="connsiteY41442" fmla="*/ 2214565 h 4687251"/>
              <a:gd name="connsiteX41443" fmla="*/ 4213375 w 8079933"/>
              <a:gd name="connsiteY41443" fmla="*/ 2218897 h 4687251"/>
              <a:gd name="connsiteX41444" fmla="*/ 4225095 w 8079933"/>
              <a:gd name="connsiteY41444" fmla="*/ 2221495 h 4687251"/>
              <a:gd name="connsiteX41445" fmla="*/ 4241915 w 8079933"/>
              <a:gd name="connsiteY41445" fmla="*/ 2218355 h 4687251"/>
              <a:gd name="connsiteX41446" fmla="*/ 4249403 w 8079933"/>
              <a:gd name="connsiteY41446" fmla="*/ 2221278 h 4687251"/>
              <a:gd name="connsiteX41447" fmla="*/ 4262533 w 8079933"/>
              <a:gd name="connsiteY41447" fmla="*/ 2221603 h 4687251"/>
              <a:gd name="connsiteX41448" fmla="*/ 4270672 w 8079933"/>
              <a:gd name="connsiteY41448" fmla="*/ 2226908 h 4687251"/>
              <a:gd name="connsiteX41449" fmla="*/ 4286082 w 8079933"/>
              <a:gd name="connsiteY41449" fmla="*/ 2229074 h 4687251"/>
              <a:gd name="connsiteX41450" fmla="*/ 4292050 w 8079933"/>
              <a:gd name="connsiteY41450" fmla="*/ 2236978 h 4687251"/>
              <a:gd name="connsiteX41451" fmla="*/ 4291833 w 8079933"/>
              <a:gd name="connsiteY41451" fmla="*/ 2244340 h 4687251"/>
              <a:gd name="connsiteX41452" fmla="*/ 4299321 w 8079933"/>
              <a:gd name="connsiteY41452" fmla="*/ 2258632 h 4687251"/>
              <a:gd name="connsiteX41453" fmla="*/ 4307242 w 8079933"/>
              <a:gd name="connsiteY41453" fmla="*/ 2262529 h 4687251"/>
              <a:gd name="connsiteX41454" fmla="*/ 4316466 w 8079933"/>
              <a:gd name="connsiteY41454" fmla="*/ 2262529 h 4687251"/>
              <a:gd name="connsiteX41455" fmla="*/ 4318962 w 8079933"/>
              <a:gd name="connsiteY41455" fmla="*/ 2261122 h 4687251"/>
              <a:gd name="connsiteX41456" fmla="*/ 4326775 w 8079933"/>
              <a:gd name="connsiteY41456" fmla="*/ 2262096 h 4687251"/>
              <a:gd name="connsiteX41457" fmla="*/ 4344464 w 8079933"/>
              <a:gd name="connsiteY41457" fmla="*/ 2269458 h 4687251"/>
              <a:gd name="connsiteX41458" fmla="*/ 4355641 w 8079933"/>
              <a:gd name="connsiteY41458" fmla="*/ 2275089 h 4687251"/>
              <a:gd name="connsiteX41459" fmla="*/ 4362803 w 8079933"/>
              <a:gd name="connsiteY41459" fmla="*/ 2280935 h 4687251"/>
              <a:gd name="connsiteX41460" fmla="*/ 4371918 w 8079933"/>
              <a:gd name="connsiteY41460" fmla="*/ 2288514 h 4687251"/>
              <a:gd name="connsiteX41461" fmla="*/ 4382444 w 8079933"/>
              <a:gd name="connsiteY41461" fmla="*/ 2292629 h 4687251"/>
              <a:gd name="connsiteX41462" fmla="*/ 4387436 w 8079933"/>
              <a:gd name="connsiteY41462" fmla="*/ 2290788 h 4687251"/>
              <a:gd name="connsiteX41463" fmla="*/ 4395574 w 8079933"/>
              <a:gd name="connsiteY41463" fmla="*/ 2283967 h 4687251"/>
              <a:gd name="connsiteX41464" fmla="*/ 4396334 w 8079933"/>
              <a:gd name="connsiteY41464" fmla="*/ 2281694 h 4687251"/>
              <a:gd name="connsiteX41465" fmla="*/ 4402520 w 8079933"/>
              <a:gd name="connsiteY41465" fmla="*/ 2275413 h 4687251"/>
              <a:gd name="connsiteX41466" fmla="*/ 4404582 w 8079933"/>
              <a:gd name="connsiteY41466" fmla="*/ 2270000 h 4687251"/>
              <a:gd name="connsiteX41467" fmla="*/ 4401652 w 8079933"/>
              <a:gd name="connsiteY41467" fmla="*/ 2260472 h 4687251"/>
              <a:gd name="connsiteX41468" fmla="*/ 4397311 w 8079933"/>
              <a:gd name="connsiteY41468" fmla="*/ 2253760 h 4687251"/>
              <a:gd name="connsiteX41469" fmla="*/ 4398071 w 8079933"/>
              <a:gd name="connsiteY41469" fmla="*/ 2241525 h 4687251"/>
              <a:gd name="connsiteX41470" fmla="*/ 4401109 w 8079933"/>
              <a:gd name="connsiteY41470" fmla="*/ 2239143 h 4687251"/>
              <a:gd name="connsiteX41471" fmla="*/ 4402520 w 8079933"/>
              <a:gd name="connsiteY41471" fmla="*/ 2232646 h 4687251"/>
              <a:gd name="connsiteX41472" fmla="*/ 4408380 w 8079933"/>
              <a:gd name="connsiteY41472" fmla="*/ 2227017 h 4687251"/>
              <a:gd name="connsiteX41473" fmla="*/ 4418472 w 8079933"/>
              <a:gd name="connsiteY41473" fmla="*/ 2222144 h 4687251"/>
              <a:gd name="connsiteX41474" fmla="*/ 4430191 w 8079933"/>
              <a:gd name="connsiteY41474" fmla="*/ 2221062 h 4687251"/>
              <a:gd name="connsiteX41475" fmla="*/ 4437679 w 8079933"/>
              <a:gd name="connsiteY41475" fmla="*/ 2217272 h 4687251"/>
              <a:gd name="connsiteX41476" fmla="*/ 4439416 w 8079933"/>
              <a:gd name="connsiteY41476" fmla="*/ 2217272 h 4687251"/>
              <a:gd name="connsiteX41477" fmla="*/ 4444516 w 8079933"/>
              <a:gd name="connsiteY41477" fmla="*/ 2219871 h 4687251"/>
              <a:gd name="connsiteX41478" fmla="*/ 4447011 w 8079933"/>
              <a:gd name="connsiteY41478" fmla="*/ 2217597 h 4687251"/>
              <a:gd name="connsiteX41479" fmla="*/ 4449073 w 8079933"/>
              <a:gd name="connsiteY41479" fmla="*/ 2218788 h 4687251"/>
              <a:gd name="connsiteX41480" fmla="*/ 4457321 w 8079933"/>
              <a:gd name="connsiteY41480" fmla="*/ 2220954 h 4687251"/>
              <a:gd name="connsiteX41481" fmla="*/ 4462638 w 8079933"/>
              <a:gd name="connsiteY41481" fmla="*/ 2220954 h 4687251"/>
              <a:gd name="connsiteX41482" fmla="*/ 4472730 w 8079933"/>
              <a:gd name="connsiteY41482" fmla="*/ 2226475 h 4687251"/>
              <a:gd name="connsiteX41483" fmla="*/ 4472947 w 8079933"/>
              <a:gd name="connsiteY41483" fmla="*/ 2229399 h 4687251"/>
              <a:gd name="connsiteX41484" fmla="*/ 4471102 w 8079933"/>
              <a:gd name="connsiteY41484" fmla="*/ 2230048 h 4687251"/>
              <a:gd name="connsiteX41485" fmla="*/ 4472947 w 8079933"/>
              <a:gd name="connsiteY41485" fmla="*/ 2232863 h 4687251"/>
              <a:gd name="connsiteX41486" fmla="*/ 4481412 w 8079933"/>
              <a:gd name="connsiteY41486" fmla="*/ 2235137 h 4687251"/>
              <a:gd name="connsiteX41487" fmla="*/ 4487705 w 8079933"/>
              <a:gd name="connsiteY41487" fmla="*/ 2235678 h 4687251"/>
              <a:gd name="connsiteX41488" fmla="*/ 4490961 w 8079933"/>
              <a:gd name="connsiteY41488" fmla="*/ 2238601 h 4687251"/>
              <a:gd name="connsiteX41489" fmla="*/ 4507130 w 8079933"/>
              <a:gd name="connsiteY41489" fmla="*/ 2240550 h 4687251"/>
              <a:gd name="connsiteX41490" fmla="*/ 4511471 w 8079933"/>
              <a:gd name="connsiteY41490" fmla="*/ 2239901 h 4687251"/>
              <a:gd name="connsiteX41491" fmla="*/ 4515811 w 8079933"/>
              <a:gd name="connsiteY41491" fmla="*/ 2240550 h 4687251"/>
              <a:gd name="connsiteX41492" fmla="*/ 4519176 w 8079933"/>
              <a:gd name="connsiteY41492" fmla="*/ 2244340 h 4687251"/>
              <a:gd name="connsiteX41493" fmla="*/ 4521345 w 8079933"/>
              <a:gd name="connsiteY41493" fmla="*/ 2251052 h 4687251"/>
              <a:gd name="connsiteX41494" fmla="*/ 4519826 w 8079933"/>
              <a:gd name="connsiteY41494" fmla="*/ 2254950 h 4687251"/>
              <a:gd name="connsiteX41495" fmla="*/ 4517764 w 8079933"/>
              <a:gd name="connsiteY41495" fmla="*/ 2265019 h 4687251"/>
              <a:gd name="connsiteX41496" fmla="*/ 4517764 w 8079933"/>
              <a:gd name="connsiteY41496" fmla="*/ 2265020 h 4687251"/>
              <a:gd name="connsiteX41497" fmla="*/ 4519826 w 8079933"/>
              <a:gd name="connsiteY41497" fmla="*/ 2254951 h 4687251"/>
              <a:gd name="connsiteX41498" fmla="*/ 4521345 w 8079933"/>
              <a:gd name="connsiteY41498" fmla="*/ 2251053 h 4687251"/>
              <a:gd name="connsiteX41499" fmla="*/ 4523733 w 8079933"/>
              <a:gd name="connsiteY41499" fmla="*/ 2250295 h 4687251"/>
              <a:gd name="connsiteX41500" fmla="*/ 4535669 w 8079933"/>
              <a:gd name="connsiteY41500" fmla="*/ 2249754 h 4687251"/>
              <a:gd name="connsiteX41501" fmla="*/ 4544893 w 8079933"/>
              <a:gd name="connsiteY41501" fmla="*/ 2252786 h 4687251"/>
              <a:gd name="connsiteX41502" fmla="*/ 4563558 w 8079933"/>
              <a:gd name="connsiteY41502" fmla="*/ 2254301 h 4687251"/>
              <a:gd name="connsiteX41503" fmla="*/ 4571263 w 8079933"/>
              <a:gd name="connsiteY41503" fmla="*/ 2255925 h 4687251"/>
              <a:gd name="connsiteX41504" fmla="*/ 4577991 w 8079933"/>
              <a:gd name="connsiteY41504" fmla="*/ 2260581 h 4687251"/>
              <a:gd name="connsiteX41505" fmla="*/ 4580812 w 8079933"/>
              <a:gd name="connsiteY41505" fmla="*/ 2258849 h 4687251"/>
              <a:gd name="connsiteX41506" fmla="*/ 4583634 w 8079933"/>
              <a:gd name="connsiteY41506" fmla="*/ 2258849 h 4687251"/>
              <a:gd name="connsiteX41507" fmla="*/ 4590470 w 8079933"/>
              <a:gd name="connsiteY41507" fmla="*/ 2263180 h 4687251"/>
              <a:gd name="connsiteX41508" fmla="*/ 4598609 w 8079933"/>
              <a:gd name="connsiteY41508" fmla="*/ 2262530 h 4687251"/>
              <a:gd name="connsiteX41509" fmla="*/ 4604252 w 8079933"/>
              <a:gd name="connsiteY41509" fmla="*/ 2263180 h 4687251"/>
              <a:gd name="connsiteX41510" fmla="*/ 4612934 w 8079933"/>
              <a:gd name="connsiteY41510" fmla="*/ 2268593 h 4687251"/>
              <a:gd name="connsiteX41511" fmla="*/ 4620855 w 8079933"/>
              <a:gd name="connsiteY41511" fmla="*/ 2268593 h 4687251"/>
              <a:gd name="connsiteX41512" fmla="*/ 4621723 w 8079933"/>
              <a:gd name="connsiteY41512" fmla="*/ 2266319 h 4687251"/>
              <a:gd name="connsiteX41513" fmla="*/ 4626823 w 8079933"/>
              <a:gd name="connsiteY41513" fmla="*/ 2261556 h 4687251"/>
              <a:gd name="connsiteX41514" fmla="*/ 4633009 w 8079933"/>
              <a:gd name="connsiteY41514" fmla="*/ 2259498 h 4687251"/>
              <a:gd name="connsiteX41515" fmla="*/ 4636047 w 8079933"/>
              <a:gd name="connsiteY41515" fmla="*/ 2257874 h 4687251"/>
              <a:gd name="connsiteX41516" fmla="*/ 4642450 w 8079933"/>
              <a:gd name="connsiteY41516" fmla="*/ 2254409 h 4687251"/>
              <a:gd name="connsiteX41517" fmla="*/ 4645271 w 8079933"/>
              <a:gd name="connsiteY41517" fmla="*/ 2252352 h 4687251"/>
              <a:gd name="connsiteX41518" fmla="*/ 4651999 w 8079933"/>
              <a:gd name="connsiteY41518" fmla="*/ 2252136 h 4687251"/>
              <a:gd name="connsiteX41519" fmla="*/ 4656882 w 8079933"/>
              <a:gd name="connsiteY41519" fmla="*/ 2251595 h 4687251"/>
              <a:gd name="connsiteX41520" fmla="*/ 4653084 w 8079933"/>
              <a:gd name="connsiteY41520" fmla="*/ 2253111 h 4687251"/>
              <a:gd name="connsiteX41521" fmla="*/ 4648418 w 8079933"/>
              <a:gd name="connsiteY41521" fmla="*/ 2253760 h 4687251"/>
              <a:gd name="connsiteX41522" fmla="*/ 4648309 w 8079933"/>
              <a:gd name="connsiteY41522" fmla="*/ 2254843 h 4687251"/>
              <a:gd name="connsiteX41523" fmla="*/ 4649937 w 8079933"/>
              <a:gd name="connsiteY41523" fmla="*/ 2256466 h 4687251"/>
              <a:gd name="connsiteX41524" fmla="*/ 4655255 w 8079933"/>
              <a:gd name="connsiteY41524" fmla="*/ 2254301 h 4687251"/>
              <a:gd name="connsiteX41525" fmla="*/ 4659704 w 8079933"/>
              <a:gd name="connsiteY41525" fmla="*/ 2254843 h 4687251"/>
              <a:gd name="connsiteX41526" fmla="*/ 4664261 w 8079933"/>
              <a:gd name="connsiteY41526" fmla="*/ 2254301 h 4687251"/>
              <a:gd name="connsiteX41527" fmla="*/ 4663502 w 8079933"/>
              <a:gd name="connsiteY41527" fmla="*/ 2252678 h 4687251"/>
              <a:gd name="connsiteX41528" fmla="*/ 4660138 w 8079933"/>
              <a:gd name="connsiteY41528" fmla="*/ 2251919 h 4687251"/>
              <a:gd name="connsiteX41529" fmla="*/ 4661331 w 8079933"/>
              <a:gd name="connsiteY41529" fmla="*/ 2250512 h 4687251"/>
              <a:gd name="connsiteX41530" fmla="*/ 4669470 w 8079933"/>
              <a:gd name="connsiteY41530" fmla="*/ 2252678 h 4687251"/>
              <a:gd name="connsiteX41531" fmla="*/ 4674354 w 8079933"/>
              <a:gd name="connsiteY41531" fmla="*/ 2254301 h 4687251"/>
              <a:gd name="connsiteX41532" fmla="*/ 4678368 w 8079933"/>
              <a:gd name="connsiteY41532" fmla="*/ 2253760 h 4687251"/>
              <a:gd name="connsiteX41533" fmla="*/ 4680322 w 8079933"/>
              <a:gd name="connsiteY41533" fmla="*/ 2255709 h 4687251"/>
              <a:gd name="connsiteX41534" fmla="*/ 4677935 w 8079933"/>
              <a:gd name="connsiteY41534" fmla="*/ 2256792 h 4687251"/>
              <a:gd name="connsiteX41535" fmla="*/ 4679128 w 8079933"/>
              <a:gd name="connsiteY41535" fmla="*/ 2260906 h 4687251"/>
              <a:gd name="connsiteX41536" fmla="*/ 4684012 w 8079933"/>
              <a:gd name="connsiteY41536" fmla="*/ 2263613 h 4687251"/>
              <a:gd name="connsiteX41537" fmla="*/ 4687267 w 8079933"/>
              <a:gd name="connsiteY41537" fmla="*/ 2268593 h 4687251"/>
              <a:gd name="connsiteX41538" fmla="*/ 4687376 w 8079933"/>
              <a:gd name="connsiteY41538" fmla="*/ 2265453 h 4687251"/>
              <a:gd name="connsiteX41539" fmla="*/ 4684120 w 8079933"/>
              <a:gd name="connsiteY41539" fmla="*/ 2260581 h 4687251"/>
              <a:gd name="connsiteX41540" fmla="*/ 4685205 w 8079933"/>
              <a:gd name="connsiteY41540" fmla="*/ 2256466 h 4687251"/>
              <a:gd name="connsiteX41541" fmla="*/ 4693887 w 8079933"/>
              <a:gd name="connsiteY41541" fmla="*/ 2262638 h 4687251"/>
              <a:gd name="connsiteX41542" fmla="*/ 4705932 w 8079933"/>
              <a:gd name="connsiteY41542" fmla="*/ 2259390 h 4687251"/>
              <a:gd name="connsiteX41543" fmla="*/ 4721124 w 8079933"/>
              <a:gd name="connsiteY41543" fmla="*/ 2261880 h 4687251"/>
              <a:gd name="connsiteX41544" fmla="*/ 4727636 w 8079933"/>
              <a:gd name="connsiteY41544" fmla="*/ 2259390 h 4687251"/>
              <a:gd name="connsiteX41545" fmla="*/ 4730674 w 8079933"/>
              <a:gd name="connsiteY41545" fmla="*/ 2255276 h 4687251"/>
              <a:gd name="connsiteX41546" fmla="*/ 4732482 w 8079933"/>
              <a:gd name="connsiteY41546" fmla="*/ 2256070 h 4687251"/>
              <a:gd name="connsiteX41547" fmla="*/ 4730674 w 8079933"/>
              <a:gd name="connsiteY41547" fmla="*/ 2255275 h 4687251"/>
              <a:gd name="connsiteX41548" fmla="*/ 4738162 w 8079933"/>
              <a:gd name="connsiteY41548" fmla="*/ 2245315 h 4687251"/>
              <a:gd name="connsiteX41549" fmla="*/ 4744998 w 8079933"/>
              <a:gd name="connsiteY41549" fmla="*/ 2231565 h 4687251"/>
              <a:gd name="connsiteX41550" fmla="*/ 4746843 w 8079933"/>
              <a:gd name="connsiteY41550" fmla="*/ 2214241 h 4687251"/>
              <a:gd name="connsiteX41551" fmla="*/ 4751942 w 8079933"/>
              <a:gd name="connsiteY41551" fmla="*/ 2208503 h 4687251"/>
              <a:gd name="connsiteX41552" fmla="*/ 4754764 w 8079933"/>
              <a:gd name="connsiteY41552" fmla="*/ 2209044 h 4687251"/>
              <a:gd name="connsiteX41553" fmla="*/ 4762360 w 8079933"/>
              <a:gd name="connsiteY41553" fmla="*/ 2208936 h 4687251"/>
              <a:gd name="connsiteX41554" fmla="*/ 4762360 w 8079933"/>
              <a:gd name="connsiteY41554" fmla="*/ 2208936 h 4687251"/>
              <a:gd name="connsiteX41555" fmla="*/ 4754766 w 8079933"/>
              <a:gd name="connsiteY41555" fmla="*/ 2209044 h 4687251"/>
              <a:gd name="connsiteX41556" fmla="*/ 4751944 w 8079933"/>
              <a:gd name="connsiteY41556" fmla="*/ 2208503 h 4687251"/>
              <a:gd name="connsiteX41557" fmla="*/ 4752595 w 8079933"/>
              <a:gd name="connsiteY41557" fmla="*/ 2207745 h 4687251"/>
              <a:gd name="connsiteX41558" fmla="*/ 4752595 w 8079933"/>
              <a:gd name="connsiteY41558" fmla="*/ 2201248 h 4687251"/>
              <a:gd name="connsiteX41559" fmla="*/ 4756935 w 8079933"/>
              <a:gd name="connsiteY41559" fmla="*/ 2195077 h 4687251"/>
              <a:gd name="connsiteX41560" fmla="*/ 4760951 w 8079933"/>
              <a:gd name="connsiteY41560" fmla="*/ 2188905 h 4687251"/>
              <a:gd name="connsiteX41561" fmla="*/ 4762036 w 8079933"/>
              <a:gd name="connsiteY41561" fmla="*/ 2171907 h 4687251"/>
              <a:gd name="connsiteX41562" fmla="*/ 4765292 w 8079933"/>
              <a:gd name="connsiteY41562" fmla="*/ 2171257 h 4687251"/>
              <a:gd name="connsiteX41563" fmla="*/ 4765400 w 8079933"/>
              <a:gd name="connsiteY41563" fmla="*/ 2169958 h 4687251"/>
              <a:gd name="connsiteX41564" fmla="*/ 4765399 w 8079933"/>
              <a:gd name="connsiteY41564" fmla="*/ 2169958 h 4687251"/>
              <a:gd name="connsiteX41565" fmla="*/ 4766051 w 8079933"/>
              <a:gd name="connsiteY41565" fmla="*/ 2160755 h 4687251"/>
              <a:gd name="connsiteX41566" fmla="*/ 4767135 w 8079933"/>
              <a:gd name="connsiteY41566" fmla="*/ 2155666 h 4687251"/>
              <a:gd name="connsiteX41567" fmla="*/ 4765507 w 8079933"/>
              <a:gd name="connsiteY41567" fmla="*/ 2149495 h 4687251"/>
              <a:gd name="connsiteX41568" fmla="*/ 4761601 w 8079933"/>
              <a:gd name="connsiteY41568" fmla="*/ 2141483 h 4687251"/>
              <a:gd name="connsiteX41569" fmla="*/ 4760516 w 8079933"/>
              <a:gd name="connsiteY41569" fmla="*/ 2134336 h 4687251"/>
              <a:gd name="connsiteX41570" fmla="*/ 4763771 w 8079933"/>
              <a:gd name="connsiteY41570" fmla="*/ 2133038 h 4687251"/>
              <a:gd name="connsiteX41571" fmla="*/ 4763879 w 8079933"/>
              <a:gd name="connsiteY41571" fmla="*/ 2132497 h 4687251"/>
              <a:gd name="connsiteX41572" fmla="*/ 4763881 w 8079933"/>
              <a:gd name="connsiteY41572" fmla="*/ 2132497 h 4687251"/>
              <a:gd name="connsiteX41573" fmla="*/ 4764749 w 8079933"/>
              <a:gd name="connsiteY41573" fmla="*/ 2129249 h 4687251"/>
              <a:gd name="connsiteX41574" fmla="*/ 4760516 w 8079933"/>
              <a:gd name="connsiteY41574" fmla="*/ 2124161 h 4687251"/>
              <a:gd name="connsiteX41575" fmla="*/ 4760299 w 8079933"/>
              <a:gd name="connsiteY41575" fmla="*/ 2121887 h 4687251"/>
              <a:gd name="connsiteX41576" fmla="*/ 4764966 w 8079933"/>
              <a:gd name="connsiteY41576" fmla="*/ 2118098 h 4687251"/>
              <a:gd name="connsiteX41577" fmla="*/ 4768655 w 8079933"/>
              <a:gd name="connsiteY41577" fmla="*/ 2112251 h 4687251"/>
              <a:gd name="connsiteX41578" fmla="*/ 4768112 w 8079933"/>
              <a:gd name="connsiteY41578" fmla="*/ 2108786 h 4687251"/>
              <a:gd name="connsiteX41579" fmla="*/ 4764097 w 8079933"/>
              <a:gd name="connsiteY41579" fmla="*/ 2107596 h 4687251"/>
              <a:gd name="connsiteX41580" fmla="*/ 4758888 w 8079933"/>
              <a:gd name="connsiteY41580" fmla="*/ 2111385 h 4687251"/>
              <a:gd name="connsiteX41581" fmla="*/ 4758346 w 8079933"/>
              <a:gd name="connsiteY41581" fmla="*/ 2113551 h 4687251"/>
              <a:gd name="connsiteX41582" fmla="*/ 4750858 w 8079933"/>
              <a:gd name="connsiteY41582" fmla="*/ 2114958 h 4687251"/>
              <a:gd name="connsiteX41583" fmla="*/ 4744890 w 8079933"/>
              <a:gd name="connsiteY41583" fmla="*/ 2112251 h 4687251"/>
              <a:gd name="connsiteX41584" fmla="*/ 4735123 w 8079933"/>
              <a:gd name="connsiteY41584" fmla="*/ 2108786 h 4687251"/>
              <a:gd name="connsiteX41585" fmla="*/ 4732627 w 8079933"/>
              <a:gd name="connsiteY41585" fmla="*/ 2109436 h 4687251"/>
              <a:gd name="connsiteX41586" fmla="*/ 4722318 w 8079933"/>
              <a:gd name="connsiteY41586" fmla="*/ 2121129 h 4687251"/>
              <a:gd name="connsiteX41587" fmla="*/ 4721233 w 8079933"/>
              <a:gd name="connsiteY41587" fmla="*/ 2125135 h 4687251"/>
              <a:gd name="connsiteX41588" fmla="*/ 4718195 w 8079933"/>
              <a:gd name="connsiteY41588" fmla="*/ 2127192 h 4687251"/>
              <a:gd name="connsiteX41589" fmla="*/ 4717110 w 8079933"/>
              <a:gd name="connsiteY41589" fmla="*/ 2126218 h 4687251"/>
              <a:gd name="connsiteX41590" fmla="*/ 4714939 w 8079933"/>
              <a:gd name="connsiteY41590" fmla="*/ 2126218 h 4687251"/>
              <a:gd name="connsiteX41591" fmla="*/ 4708429 w 8079933"/>
              <a:gd name="connsiteY41591" fmla="*/ 2128925 h 4687251"/>
              <a:gd name="connsiteX41592" fmla="*/ 4686725 w 8079933"/>
              <a:gd name="connsiteY41592" fmla="*/ 2131631 h 4687251"/>
              <a:gd name="connsiteX41593" fmla="*/ 4680214 w 8079933"/>
              <a:gd name="connsiteY41593" fmla="*/ 2127409 h 4687251"/>
              <a:gd name="connsiteX41594" fmla="*/ 4672618 w 8079933"/>
              <a:gd name="connsiteY41594" fmla="*/ 2117340 h 4687251"/>
              <a:gd name="connsiteX41595" fmla="*/ 4668386 w 8079933"/>
              <a:gd name="connsiteY41595" fmla="*/ 2117340 h 4687251"/>
              <a:gd name="connsiteX41596" fmla="*/ 4656883 w 8079933"/>
              <a:gd name="connsiteY41596" fmla="*/ 2111385 h 4687251"/>
              <a:gd name="connsiteX41597" fmla="*/ 4648093 w 8079933"/>
              <a:gd name="connsiteY41597" fmla="*/ 2110627 h 4687251"/>
              <a:gd name="connsiteX41598" fmla="*/ 4638001 w 8079933"/>
              <a:gd name="connsiteY41598" fmla="*/ 2111602 h 4687251"/>
              <a:gd name="connsiteX41599" fmla="*/ 4638978 w 8079933"/>
              <a:gd name="connsiteY41599" fmla="*/ 2116798 h 4687251"/>
              <a:gd name="connsiteX41600" fmla="*/ 4638001 w 8079933"/>
              <a:gd name="connsiteY41600" fmla="*/ 2119722 h 4687251"/>
              <a:gd name="connsiteX41601" fmla="*/ 4638543 w 8079933"/>
              <a:gd name="connsiteY41601" fmla="*/ 2125243 h 4687251"/>
              <a:gd name="connsiteX41602" fmla="*/ 4635722 w 8079933"/>
              <a:gd name="connsiteY41602" fmla="*/ 2126868 h 4687251"/>
              <a:gd name="connsiteX41603" fmla="*/ 4631490 w 8079933"/>
              <a:gd name="connsiteY41603" fmla="*/ 2124702 h 4687251"/>
              <a:gd name="connsiteX41604" fmla="*/ 4628777 w 8079933"/>
              <a:gd name="connsiteY41604" fmla="*/ 2127084 h 4687251"/>
              <a:gd name="connsiteX41605" fmla="*/ 4624111 w 8079933"/>
              <a:gd name="connsiteY41605" fmla="*/ 2127084 h 4687251"/>
              <a:gd name="connsiteX41606" fmla="*/ 4621398 w 8079933"/>
              <a:gd name="connsiteY41606" fmla="*/ 2129249 h 4687251"/>
              <a:gd name="connsiteX41607" fmla="*/ 4615647 w 8079933"/>
              <a:gd name="connsiteY41607" fmla="*/ 2130116 h 4687251"/>
              <a:gd name="connsiteX41608" fmla="*/ 4610221 w 8079933"/>
              <a:gd name="connsiteY41608" fmla="*/ 2127951 h 4687251"/>
              <a:gd name="connsiteX41609" fmla="*/ 4608376 w 8079933"/>
              <a:gd name="connsiteY41609" fmla="*/ 2128925 h 4687251"/>
              <a:gd name="connsiteX41610" fmla="*/ 4603276 w 8079933"/>
              <a:gd name="connsiteY41610" fmla="*/ 2124702 h 4687251"/>
              <a:gd name="connsiteX41611" fmla="*/ 4602733 w 8079933"/>
              <a:gd name="connsiteY41611" fmla="*/ 2121454 h 4687251"/>
              <a:gd name="connsiteX41612" fmla="*/ 4600563 w 8079933"/>
              <a:gd name="connsiteY41612" fmla="*/ 2118206 h 4687251"/>
              <a:gd name="connsiteX41613" fmla="*/ 4602408 w 8079933"/>
              <a:gd name="connsiteY41613" fmla="*/ 2117340 h 4687251"/>
              <a:gd name="connsiteX41614" fmla="*/ 4602950 w 8079933"/>
              <a:gd name="connsiteY41614" fmla="*/ 2114849 h 4687251"/>
              <a:gd name="connsiteX41615" fmla="*/ 4599369 w 8079933"/>
              <a:gd name="connsiteY41615" fmla="*/ 2114308 h 4687251"/>
              <a:gd name="connsiteX41616" fmla="*/ 4597199 w 8079933"/>
              <a:gd name="connsiteY41616" fmla="*/ 2117340 h 4687251"/>
              <a:gd name="connsiteX41617" fmla="*/ 4592641 w 8079933"/>
              <a:gd name="connsiteY41617" fmla="*/ 2114633 h 4687251"/>
              <a:gd name="connsiteX41618" fmla="*/ 4589602 w 8079933"/>
              <a:gd name="connsiteY41618" fmla="*/ 2114633 h 4687251"/>
              <a:gd name="connsiteX41619" fmla="*/ 4587215 w 8079933"/>
              <a:gd name="connsiteY41619" fmla="*/ 2111710 h 4687251"/>
              <a:gd name="connsiteX41620" fmla="*/ 4583743 w 8079933"/>
              <a:gd name="connsiteY41620" fmla="*/ 2111926 h 4687251"/>
              <a:gd name="connsiteX41621" fmla="*/ 4580487 w 8079933"/>
              <a:gd name="connsiteY41621" fmla="*/ 2115932 h 4687251"/>
              <a:gd name="connsiteX41622" fmla="*/ 4577774 w 8079933"/>
              <a:gd name="connsiteY41622" fmla="*/ 2119288 h 4687251"/>
              <a:gd name="connsiteX41623" fmla="*/ 4576363 w 8079933"/>
              <a:gd name="connsiteY41623" fmla="*/ 2118098 h 4687251"/>
              <a:gd name="connsiteX41624" fmla="*/ 4576363 w 8079933"/>
              <a:gd name="connsiteY41624" fmla="*/ 2114633 h 4687251"/>
              <a:gd name="connsiteX41625" fmla="*/ 4573759 w 8079933"/>
              <a:gd name="connsiteY41625" fmla="*/ 2115932 h 4687251"/>
              <a:gd name="connsiteX41626" fmla="*/ 4568442 w 8079933"/>
              <a:gd name="connsiteY41626" fmla="*/ 2115932 h 4687251"/>
              <a:gd name="connsiteX41627" fmla="*/ 4564535 w 8079933"/>
              <a:gd name="connsiteY41627" fmla="*/ 2117231 h 4687251"/>
              <a:gd name="connsiteX41628" fmla="*/ 4561605 w 8079933"/>
              <a:gd name="connsiteY41628" fmla="*/ 2116474 h 4687251"/>
              <a:gd name="connsiteX41629" fmla="*/ 4563450 w 8079933"/>
              <a:gd name="connsiteY41629" fmla="*/ 2113767 h 4687251"/>
              <a:gd name="connsiteX41630" fmla="*/ 4571154 w 8079933"/>
              <a:gd name="connsiteY41630" fmla="*/ 2114092 h 4687251"/>
              <a:gd name="connsiteX41631" fmla="*/ 4576363 w 8079933"/>
              <a:gd name="connsiteY41631" fmla="*/ 2111818 h 4687251"/>
              <a:gd name="connsiteX41632" fmla="*/ 4578751 w 8079933"/>
              <a:gd name="connsiteY41632" fmla="*/ 2109436 h 4687251"/>
              <a:gd name="connsiteX41633" fmla="*/ 4579402 w 8079933"/>
              <a:gd name="connsiteY41633" fmla="*/ 2107379 h 4687251"/>
              <a:gd name="connsiteX41634" fmla="*/ 4569309 w 8079933"/>
              <a:gd name="connsiteY41634" fmla="*/ 2107379 h 4687251"/>
              <a:gd name="connsiteX41635" fmla="*/ 4562039 w 8079933"/>
              <a:gd name="connsiteY41635" fmla="*/ 2109219 h 4687251"/>
              <a:gd name="connsiteX41636" fmla="*/ 4559000 w 8079933"/>
              <a:gd name="connsiteY41636" fmla="*/ 2107920 h 4687251"/>
              <a:gd name="connsiteX41637" fmla="*/ 4559869 w 8079933"/>
              <a:gd name="connsiteY41637" fmla="*/ 2105213 h 4687251"/>
              <a:gd name="connsiteX41638" fmla="*/ 4563667 w 8079933"/>
              <a:gd name="connsiteY41638" fmla="*/ 2106296 h 4687251"/>
              <a:gd name="connsiteX41639" fmla="*/ 4565838 w 8079933"/>
              <a:gd name="connsiteY41639" fmla="*/ 2102507 h 4687251"/>
              <a:gd name="connsiteX41640" fmla="*/ 4559869 w 8079933"/>
              <a:gd name="connsiteY41640" fmla="*/ 2096768 h 4687251"/>
              <a:gd name="connsiteX41641" fmla="*/ 4556830 w 8079933"/>
              <a:gd name="connsiteY41641" fmla="*/ 2096552 h 4687251"/>
              <a:gd name="connsiteX41642" fmla="*/ 4556613 w 8079933"/>
              <a:gd name="connsiteY41642" fmla="*/ 2093737 h 4687251"/>
              <a:gd name="connsiteX41643" fmla="*/ 4553575 w 8079933"/>
              <a:gd name="connsiteY41643" fmla="*/ 2090813 h 4687251"/>
              <a:gd name="connsiteX41644" fmla="*/ 4557373 w 8079933"/>
              <a:gd name="connsiteY41644" fmla="*/ 2087024 h 4687251"/>
              <a:gd name="connsiteX41645" fmla="*/ 4555853 w 8079933"/>
              <a:gd name="connsiteY41645" fmla="*/ 2081394 h 4687251"/>
              <a:gd name="connsiteX41646" fmla="*/ 4550536 w 8079933"/>
              <a:gd name="connsiteY41646" fmla="*/ 2078146 h 4687251"/>
              <a:gd name="connsiteX41647" fmla="*/ 4546847 w 8079933"/>
              <a:gd name="connsiteY41647" fmla="*/ 2078903 h 4687251"/>
              <a:gd name="connsiteX41648" fmla="*/ 4542181 w 8079933"/>
              <a:gd name="connsiteY41648" fmla="*/ 2074898 h 4687251"/>
              <a:gd name="connsiteX41649" fmla="*/ 4541313 w 8079933"/>
              <a:gd name="connsiteY41649" fmla="*/ 2076955 h 4687251"/>
              <a:gd name="connsiteX41650" fmla="*/ 4537297 w 8079933"/>
              <a:gd name="connsiteY41650" fmla="*/ 2074356 h 4687251"/>
              <a:gd name="connsiteX41651" fmla="*/ 4536538 w 8079933"/>
              <a:gd name="connsiteY41651" fmla="*/ 2071000 h 4687251"/>
              <a:gd name="connsiteX41652" fmla="*/ 4538600 w 8079933"/>
              <a:gd name="connsiteY41652" fmla="*/ 2068618 h 4687251"/>
              <a:gd name="connsiteX41653" fmla="*/ 4536972 w 8079933"/>
              <a:gd name="connsiteY41653" fmla="*/ 2064179 h 4687251"/>
              <a:gd name="connsiteX41654" fmla="*/ 4537840 w 8079933"/>
              <a:gd name="connsiteY41654" fmla="*/ 2060281 h 4687251"/>
              <a:gd name="connsiteX41655" fmla="*/ 4539576 w 8079933"/>
              <a:gd name="connsiteY41655" fmla="*/ 2061148 h 4687251"/>
              <a:gd name="connsiteX41656" fmla="*/ 4542181 w 8079933"/>
              <a:gd name="connsiteY41656" fmla="*/ 2067427 h 4687251"/>
              <a:gd name="connsiteX41657" fmla="*/ 4544785 w 8079933"/>
              <a:gd name="connsiteY41657" fmla="*/ 2067427 h 4687251"/>
              <a:gd name="connsiteX41658" fmla="*/ 4546847 w 8079933"/>
              <a:gd name="connsiteY41658" fmla="*/ 2063313 h 4687251"/>
              <a:gd name="connsiteX41659" fmla="*/ 4550211 w 8079933"/>
              <a:gd name="connsiteY41659" fmla="*/ 2061039 h 4687251"/>
              <a:gd name="connsiteX41660" fmla="*/ 4546847 w 8079933"/>
              <a:gd name="connsiteY41660" fmla="*/ 2060715 h 4687251"/>
              <a:gd name="connsiteX41661" fmla="*/ 4544785 w 8079933"/>
              <a:gd name="connsiteY41661" fmla="*/ 2059307 h 4687251"/>
              <a:gd name="connsiteX41662" fmla="*/ 4550754 w 8079933"/>
              <a:gd name="connsiteY41662" fmla="*/ 2055626 h 4687251"/>
              <a:gd name="connsiteX41663" fmla="*/ 4553575 w 8079933"/>
              <a:gd name="connsiteY41663" fmla="*/ 2052594 h 4687251"/>
              <a:gd name="connsiteX41664" fmla="*/ 4553249 w 8079933"/>
              <a:gd name="connsiteY41664" fmla="*/ 2050212 h 4687251"/>
              <a:gd name="connsiteX41665" fmla="*/ 4548909 w 8079933"/>
              <a:gd name="connsiteY41665" fmla="*/ 2053027 h 4687251"/>
              <a:gd name="connsiteX41666" fmla="*/ 4547389 w 8079933"/>
              <a:gd name="connsiteY41666" fmla="*/ 2051944 h 4687251"/>
              <a:gd name="connsiteX41667" fmla="*/ 4547823 w 8079933"/>
              <a:gd name="connsiteY41667" fmla="*/ 2049779 h 4687251"/>
              <a:gd name="connsiteX41668" fmla="*/ 4547932 w 8079933"/>
              <a:gd name="connsiteY41668" fmla="*/ 2046964 h 4687251"/>
              <a:gd name="connsiteX41669" fmla="*/ 4545653 w 8079933"/>
              <a:gd name="connsiteY41669" fmla="*/ 2043174 h 4687251"/>
              <a:gd name="connsiteX41670" fmla="*/ 4544893 w 8079933"/>
              <a:gd name="connsiteY41670" fmla="*/ 2039601 h 4687251"/>
              <a:gd name="connsiteX41671" fmla="*/ 4550536 w 8079933"/>
              <a:gd name="connsiteY41671" fmla="*/ 2034297 h 4687251"/>
              <a:gd name="connsiteX41672" fmla="*/ 4544676 w 8079933"/>
              <a:gd name="connsiteY41672" fmla="*/ 2034188 h 4687251"/>
              <a:gd name="connsiteX41673" fmla="*/ 4540010 w 8079933"/>
              <a:gd name="connsiteY41673" fmla="*/ 2035271 h 4687251"/>
              <a:gd name="connsiteX41674" fmla="*/ 4538165 w 8079933"/>
              <a:gd name="connsiteY41674" fmla="*/ 2034513 h 4687251"/>
              <a:gd name="connsiteX41675" fmla="*/ 4531871 w 8079933"/>
              <a:gd name="connsiteY41675" fmla="*/ 2036678 h 4687251"/>
              <a:gd name="connsiteX41676" fmla="*/ 4530244 w 8079933"/>
              <a:gd name="connsiteY41676" fmla="*/ 2033755 h 4687251"/>
              <a:gd name="connsiteX41677" fmla="*/ 4531871 w 8079933"/>
              <a:gd name="connsiteY41677" fmla="*/ 2031806 h 4687251"/>
              <a:gd name="connsiteX41678" fmla="*/ 4532089 w 8079933"/>
              <a:gd name="connsiteY41678" fmla="*/ 2026934 h 4687251"/>
              <a:gd name="connsiteX41679" fmla="*/ 4530244 w 8079933"/>
              <a:gd name="connsiteY41679" fmla="*/ 2023902 h 4687251"/>
              <a:gd name="connsiteX41680" fmla="*/ 4532089 w 8079933"/>
              <a:gd name="connsiteY41680" fmla="*/ 2019679 h 4687251"/>
              <a:gd name="connsiteX41681" fmla="*/ 4533716 w 8079933"/>
              <a:gd name="connsiteY41681" fmla="*/ 2015349 h 4687251"/>
              <a:gd name="connsiteX41682" fmla="*/ 4544568 w 8079933"/>
              <a:gd name="connsiteY41682" fmla="*/ 2007120 h 4687251"/>
              <a:gd name="connsiteX41683" fmla="*/ 4550102 w 8079933"/>
              <a:gd name="connsiteY41683" fmla="*/ 2007120 h 4687251"/>
              <a:gd name="connsiteX41684" fmla="*/ 4555853 w 8079933"/>
              <a:gd name="connsiteY41684" fmla="*/ 2011559 h 4687251"/>
              <a:gd name="connsiteX41685" fmla="*/ 4559869 w 8079933"/>
              <a:gd name="connsiteY41685" fmla="*/ 2011776 h 4687251"/>
              <a:gd name="connsiteX41686" fmla="*/ 4564101 w 8079933"/>
              <a:gd name="connsiteY41686" fmla="*/ 2007120 h 4687251"/>
              <a:gd name="connsiteX41687" fmla="*/ 4567139 w 8079933"/>
              <a:gd name="connsiteY41687" fmla="*/ 2006904 h 4687251"/>
              <a:gd name="connsiteX41688" fmla="*/ 4569852 w 8079933"/>
              <a:gd name="connsiteY41688" fmla="*/ 2010910 h 4687251"/>
              <a:gd name="connsiteX41689" fmla="*/ 4575495 w 8079933"/>
              <a:gd name="connsiteY41689" fmla="*/ 2008311 h 4687251"/>
              <a:gd name="connsiteX41690" fmla="*/ 4580162 w 8079933"/>
              <a:gd name="connsiteY41690" fmla="*/ 2010910 h 4687251"/>
              <a:gd name="connsiteX41691" fmla="*/ 4591230 w 8079933"/>
              <a:gd name="connsiteY41691" fmla="*/ 2010693 h 4687251"/>
              <a:gd name="connsiteX41692" fmla="*/ 4594811 w 8079933"/>
              <a:gd name="connsiteY41692" fmla="*/ 2009394 h 4687251"/>
              <a:gd name="connsiteX41693" fmla="*/ 4592967 w 8079933"/>
              <a:gd name="connsiteY41693" fmla="*/ 2006687 h 4687251"/>
              <a:gd name="connsiteX41694" fmla="*/ 4588517 w 8079933"/>
              <a:gd name="connsiteY41694" fmla="*/ 2008203 h 4687251"/>
              <a:gd name="connsiteX41695" fmla="*/ 4586889 w 8079933"/>
              <a:gd name="connsiteY41695" fmla="*/ 2005821 h 4687251"/>
              <a:gd name="connsiteX41696" fmla="*/ 4589928 w 8079933"/>
              <a:gd name="connsiteY41696" fmla="*/ 2001815 h 4687251"/>
              <a:gd name="connsiteX41697" fmla="*/ 4598392 w 8079933"/>
              <a:gd name="connsiteY41697" fmla="*/ 1999325 h 4687251"/>
              <a:gd name="connsiteX41698" fmla="*/ 4608159 w 8079933"/>
              <a:gd name="connsiteY41698" fmla="*/ 1999108 h 4687251"/>
              <a:gd name="connsiteX41699" fmla="*/ 4609135 w 8079933"/>
              <a:gd name="connsiteY41699" fmla="*/ 1996618 h 4687251"/>
              <a:gd name="connsiteX41700" fmla="*/ 4603493 w 8079933"/>
              <a:gd name="connsiteY41700" fmla="*/ 1995752 h 4687251"/>
              <a:gd name="connsiteX41701" fmla="*/ 4596765 w 8079933"/>
              <a:gd name="connsiteY41701" fmla="*/ 1995535 h 4687251"/>
              <a:gd name="connsiteX41702" fmla="*/ 4592424 w 8079933"/>
              <a:gd name="connsiteY41702" fmla="*/ 1988281 h 4687251"/>
              <a:gd name="connsiteX41703" fmla="*/ 4593509 w 8079933"/>
              <a:gd name="connsiteY41703" fmla="*/ 1985033 h 4687251"/>
              <a:gd name="connsiteX41704" fmla="*/ 4599478 w 8079933"/>
              <a:gd name="connsiteY41704" fmla="*/ 1983409 h 4687251"/>
              <a:gd name="connsiteX41705" fmla="*/ 4603167 w 8079933"/>
              <a:gd name="connsiteY41705" fmla="*/ 1984708 h 4687251"/>
              <a:gd name="connsiteX41706" fmla="*/ 4610329 w 8079933"/>
              <a:gd name="connsiteY41706" fmla="*/ 1982868 h 4687251"/>
              <a:gd name="connsiteX41707" fmla="*/ 4615647 w 8079933"/>
              <a:gd name="connsiteY41707" fmla="*/ 1983951 h 4687251"/>
              <a:gd name="connsiteX41708" fmla="*/ 4618468 w 8079933"/>
              <a:gd name="connsiteY41708" fmla="*/ 1981785 h 4687251"/>
              <a:gd name="connsiteX41709" fmla="*/ 4622483 w 8079933"/>
              <a:gd name="connsiteY41709" fmla="*/ 1981785 h 4687251"/>
              <a:gd name="connsiteX41710" fmla="*/ 4635180 w 8079933"/>
              <a:gd name="connsiteY41710" fmla="*/ 1986441 h 4687251"/>
              <a:gd name="connsiteX41711" fmla="*/ 4643644 w 8079933"/>
              <a:gd name="connsiteY41711" fmla="*/ 1986008 h 4687251"/>
              <a:gd name="connsiteX41712" fmla="*/ 4643210 w 8079933"/>
              <a:gd name="connsiteY41712" fmla="*/ 1983409 h 4687251"/>
              <a:gd name="connsiteX41713" fmla="*/ 4645489 w 8079933"/>
              <a:gd name="connsiteY41713" fmla="*/ 1982002 h 4687251"/>
              <a:gd name="connsiteX41714" fmla="*/ 4647767 w 8079933"/>
              <a:gd name="connsiteY41714" fmla="*/ 1976263 h 4687251"/>
              <a:gd name="connsiteX41715" fmla="*/ 4649937 w 8079933"/>
              <a:gd name="connsiteY41715" fmla="*/ 1974964 h 4687251"/>
              <a:gd name="connsiteX41716" fmla="*/ 4653953 w 8079933"/>
              <a:gd name="connsiteY41716" fmla="*/ 1970849 h 4687251"/>
              <a:gd name="connsiteX41717" fmla="*/ 4658076 w 8079933"/>
              <a:gd name="connsiteY41717" fmla="*/ 1969767 h 4687251"/>
              <a:gd name="connsiteX41718" fmla="*/ 4660681 w 8079933"/>
              <a:gd name="connsiteY41718" fmla="*/ 1966302 h 4687251"/>
              <a:gd name="connsiteX41719" fmla="*/ 4669470 w 8079933"/>
              <a:gd name="connsiteY41719" fmla="*/ 1964678 h 4687251"/>
              <a:gd name="connsiteX41720" fmla="*/ 4674571 w 8079933"/>
              <a:gd name="connsiteY41720" fmla="*/ 1964137 h 4687251"/>
              <a:gd name="connsiteX41721" fmla="*/ 4685639 w 8079933"/>
              <a:gd name="connsiteY41721" fmla="*/ 1959265 h 4687251"/>
              <a:gd name="connsiteX41722" fmla="*/ 4691391 w 8079933"/>
              <a:gd name="connsiteY41722" fmla="*/ 1957965 h 4687251"/>
              <a:gd name="connsiteX41723" fmla="*/ 4703111 w 8079933"/>
              <a:gd name="connsiteY41723" fmla="*/ 1958507 h 4687251"/>
              <a:gd name="connsiteX41724" fmla="*/ 4707885 w 8079933"/>
              <a:gd name="connsiteY41724" fmla="*/ 1957316 h 4687251"/>
              <a:gd name="connsiteX41725" fmla="*/ 4711467 w 8079933"/>
              <a:gd name="connsiteY41725" fmla="*/ 1958507 h 4687251"/>
              <a:gd name="connsiteX41726" fmla="*/ 4719063 w 8079933"/>
              <a:gd name="connsiteY41726" fmla="*/ 1958507 h 4687251"/>
              <a:gd name="connsiteX41727" fmla="*/ 4724814 w 8079933"/>
              <a:gd name="connsiteY41727" fmla="*/ 1955692 h 4687251"/>
              <a:gd name="connsiteX41728" fmla="*/ 4726334 w 8079933"/>
              <a:gd name="connsiteY41728" fmla="*/ 1956233 h 4687251"/>
              <a:gd name="connsiteX41729" fmla="*/ 4726984 w 8079933"/>
              <a:gd name="connsiteY41729" fmla="*/ 1960888 h 4687251"/>
              <a:gd name="connsiteX41730" fmla="*/ 4735666 w 8079933"/>
              <a:gd name="connsiteY41730" fmla="*/ 1968792 h 4687251"/>
              <a:gd name="connsiteX41731" fmla="*/ 4737836 w 8079933"/>
              <a:gd name="connsiteY41731" fmla="*/ 1967385 h 4687251"/>
              <a:gd name="connsiteX41732" fmla="*/ 4739898 w 8079933"/>
              <a:gd name="connsiteY41732" fmla="*/ 1968251 h 4687251"/>
              <a:gd name="connsiteX41733" fmla="*/ 4745649 w 8079933"/>
              <a:gd name="connsiteY41733" fmla="*/ 1962513 h 4687251"/>
              <a:gd name="connsiteX41734" fmla="*/ 4748362 w 8079933"/>
              <a:gd name="connsiteY41734" fmla="*/ 1961972 h 4687251"/>
              <a:gd name="connsiteX41735" fmla="*/ 4752160 w 8079933"/>
              <a:gd name="connsiteY41735" fmla="*/ 1965220 h 4687251"/>
              <a:gd name="connsiteX41736" fmla="*/ 4753245 w 8079933"/>
              <a:gd name="connsiteY41736" fmla="*/ 1970958 h 4687251"/>
              <a:gd name="connsiteX41737" fmla="*/ 4757369 w 8079933"/>
              <a:gd name="connsiteY41737" fmla="*/ 1976588 h 4687251"/>
              <a:gd name="connsiteX41738" fmla="*/ 4761384 w 8079933"/>
              <a:gd name="connsiteY41738" fmla="*/ 1977454 h 4687251"/>
              <a:gd name="connsiteX41739" fmla="*/ 4763554 w 8079933"/>
              <a:gd name="connsiteY41739" fmla="*/ 1974423 h 4687251"/>
              <a:gd name="connsiteX41740" fmla="*/ 4766051 w 8079933"/>
              <a:gd name="connsiteY41740" fmla="*/ 1974423 h 4687251"/>
              <a:gd name="connsiteX41741" fmla="*/ 4774406 w 8079933"/>
              <a:gd name="connsiteY41741" fmla="*/ 1980053 h 4687251"/>
              <a:gd name="connsiteX41742" fmla="*/ 4779073 w 8079933"/>
              <a:gd name="connsiteY41742" fmla="*/ 1980702 h 4687251"/>
              <a:gd name="connsiteX41743" fmla="*/ 4788297 w 8079933"/>
              <a:gd name="connsiteY41743" fmla="*/ 1985249 h 4687251"/>
              <a:gd name="connsiteX41744" fmla="*/ 4791226 w 8079933"/>
              <a:gd name="connsiteY41744" fmla="*/ 1983300 h 4687251"/>
              <a:gd name="connsiteX41745" fmla="*/ 4796652 w 8079933"/>
              <a:gd name="connsiteY41745" fmla="*/ 1987090 h 4687251"/>
              <a:gd name="connsiteX41746" fmla="*/ 4804791 w 8079933"/>
              <a:gd name="connsiteY41746" fmla="*/ 1988714 h 4687251"/>
              <a:gd name="connsiteX41747" fmla="*/ 4814883 w 8079933"/>
              <a:gd name="connsiteY41747" fmla="*/ 1984492 h 4687251"/>
              <a:gd name="connsiteX41748" fmla="*/ 4823564 w 8079933"/>
              <a:gd name="connsiteY41748" fmla="*/ 1983951 h 4687251"/>
              <a:gd name="connsiteX41749" fmla="*/ 4828339 w 8079933"/>
              <a:gd name="connsiteY41749" fmla="*/ 1982543 h 4687251"/>
              <a:gd name="connsiteX41750" fmla="*/ 4829750 w 8079933"/>
              <a:gd name="connsiteY41750" fmla="*/ 1983409 h 4687251"/>
              <a:gd name="connsiteX41751" fmla="*/ 4833114 w 8079933"/>
              <a:gd name="connsiteY41751" fmla="*/ 1983409 h 4687251"/>
              <a:gd name="connsiteX41752" fmla="*/ 4836044 w 8079933"/>
              <a:gd name="connsiteY41752" fmla="*/ 1985249 h 4687251"/>
              <a:gd name="connsiteX41753" fmla="*/ 4845810 w 8079933"/>
              <a:gd name="connsiteY41753" fmla="*/ 1987415 h 4687251"/>
              <a:gd name="connsiteX41754" fmla="*/ 4848740 w 8079933"/>
              <a:gd name="connsiteY41754" fmla="*/ 1985033 h 4687251"/>
              <a:gd name="connsiteX41755" fmla="*/ 4856119 w 8079933"/>
              <a:gd name="connsiteY41755" fmla="*/ 1984492 h 4687251"/>
              <a:gd name="connsiteX41756" fmla="*/ 4857530 w 8079933"/>
              <a:gd name="connsiteY41756" fmla="*/ 1980919 h 4687251"/>
              <a:gd name="connsiteX41757" fmla="*/ 4865560 w 8079933"/>
              <a:gd name="connsiteY41757" fmla="*/ 1976913 h 4687251"/>
              <a:gd name="connsiteX41758" fmla="*/ 4871529 w 8079933"/>
              <a:gd name="connsiteY41758" fmla="*/ 1973340 h 4687251"/>
              <a:gd name="connsiteX41759" fmla="*/ 4874459 w 8079933"/>
              <a:gd name="connsiteY41759" fmla="*/ 1967169 h 4687251"/>
              <a:gd name="connsiteX41760" fmla="*/ 4875544 w 8079933"/>
              <a:gd name="connsiteY41760" fmla="*/ 1965653 h 4687251"/>
              <a:gd name="connsiteX41761" fmla="*/ 4878447 w 8079933"/>
              <a:gd name="connsiteY41761" fmla="*/ 1965975 h 4687251"/>
              <a:gd name="connsiteX41762" fmla="*/ 4878366 w 8079933"/>
              <a:gd name="connsiteY41762" fmla="*/ 1965652 h 4687251"/>
              <a:gd name="connsiteX41763" fmla="*/ 4875436 w 8079933"/>
              <a:gd name="connsiteY41763" fmla="*/ 1965652 h 4687251"/>
              <a:gd name="connsiteX41764" fmla="*/ 4876087 w 8079933"/>
              <a:gd name="connsiteY41764" fmla="*/ 1964677 h 4687251"/>
              <a:gd name="connsiteX41765" fmla="*/ 4876087 w 8079933"/>
              <a:gd name="connsiteY41765" fmla="*/ 1963920 h 4687251"/>
              <a:gd name="connsiteX41766" fmla="*/ 4906580 w 8079933"/>
              <a:gd name="connsiteY41766" fmla="*/ 1958506 h 4687251"/>
              <a:gd name="connsiteX41767" fmla="*/ 4905820 w 8079933"/>
              <a:gd name="connsiteY41767" fmla="*/ 1952118 h 4687251"/>
              <a:gd name="connsiteX41768" fmla="*/ 4931101 w 8079933"/>
              <a:gd name="connsiteY41768" fmla="*/ 1951202 h 4687251"/>
              <a:gd name="connsiteX41769" fmla="*/ 4929694 w 8079933"/>
              <a:gd name="connsiteY41769" fmla="*/ 1950387 h 4687251"/>
              <a:gd name="connsiteX41770" fmla="*/ 4902781 w 8079933"/>
              <a:gd name="connsiteY41770" fmla="*/ 1951361 h 4687251"/>
              <a:gd name="connsiteX41771" fmla="*/ 4903541 w 8079933"/>
              <a:gd name="connsiteY41771" fmla="*/ 1957749 h 4687251"/>
              <a:gd name="connsiteX41772" fmla="*/ 4873048 w 8079933"/>
              <a:gd name="connsiteY41772" fmla="*/ 1963163 h 4687251"/>
              <a:gd name="connsiteX41773" fmla="*/ 4872180 w 8079933"/>
              <a:gd name="connsiteY41773" fmla="*/ 1959698 h 4687251"/>
              <a:gd name="connsiteX41774" fmla="*/ 4873807 w 8079933"/>
              <a:gd name="connsiteY41774" fmla="*/ 1956991 h 4687251"/>
              <a:gd name="connsiteX41775" fmla="*/ 4869684 w 8079933"/>
              <a:gd name="connsiteY41775" fmla="*/ 1949412 h 4687251"/>
              <a:gd name="connsiteX41776" fmla="*/ 4868382 w 8079933"/>
              <a:gd name="connsiteY41776" fmla="*/ 1939451 h 4687251"/>
              <a:gd name="connsiteX41777" fmla="*/ 4865452 w 8079933"/>
              <a:gd name="connsiteY41777" fmla="*/ 1935879 h 4687251"/>
              <a:gd name="connsiteX41778" fmla="*/ 4860351 w 8079933"/>
              <a:gd name="connsiteY41778" fmla="*/ 1927975 h 4687251"/>
              <a:gd name="connsiteX41779" fmla="*/ 4854600 w 8079933"/>
              <a:gd name="connsiteY41779" fmla="*/ 1927217 h 4687251"/>
              <a:gd name="connsiteX41780" fmla="*/ 4854600 w 8079933"/>
              <a:gd name="connsiteY41780" fmla="*/ 1924185 h 4687251"/>
              <a:gd name="connsiteX41781" fmla="*/ 4848414 w 8079933"/>
              <a:gd name="connsiteY41781" fmla="*/ 1918988 h 4687251"/>
              <a:gd name="connsiteX41782" fmla="*/ 4845919 w 8079933"/>
              <a:gd name="connsiteY41782" fmla="*/ 1920612 h 4687251"/>
              <a:gd name="connsiteX41783" fmla="*/ 4843531 w 8079933"/>
              <a:gd name="connsiteY41783" fmla="*/ 1919314 h 4687251"/>
              <a:gd name="connsiteX41784" fmla="*/ 4838865 w 8079933"/>
              <a:gd name="connsiteY41784" fmla="*/ 1918555 h 4687251"/>
              <a:gd name="connsiteX41785" fmla="*/ 4835067 w 8079933"/>
              <a:gd name="connsiteY41785" fmla="*/ 1912926 h 4687251"/>
              <a:gd name="connsiteX41786" fmla="*/ 4832571 w 8079933"/>
              <a:gd name="connsiteY41786" fmla="*/ 1912926 h 4687251"/>
              <a:gd name="connsiteX41787" fmla="*/ 4828014 w 8079933"/>
              <a:gd name="connsiteY41787" fmla="*/ 1911084 h 4687251"/>
              <a:gd name="connsiteX41788" fmla="*/ 4826603 w 8079933"/>
              <a:gd name="connsiteY41788" fmla="*/ 1907837 h 4687251"/>
              <a:gd name="connsiteX41789" fmla="*/ 4822805 w 8079933"/>
              <a:gd name="connsiteY41789" fmla="*/ 1907837 h 4687251"/>
              <a:gd name="connsiteX41790" fmla="*/ 4819006 w 8079933"/>
              <a:gd name="connsiteY41790" fmla="*/ 1904588 h 4687251"/>
              <a:gd name="connsiteX41791" fmla="*/ 4817596 w 8079933"/>
              <a:gd name="connsiteY41791" fmla="*/ 1901665 h 4687251"/>
              <a:gd name="connsiteX41792" fmla="*/ 4813255 w 8079933"/>
              <a:gd name="connsiteY41792" fmla="*/ 1900257 h 4687251"/>
              <a:gd name="connsiteX41793" fmla="*/ 4810108 w 8079933"/>
              <a:gd name="connsiteY41793" fmla="*/ 1894519 h 4687251"/>
              <a:gd name="connsiteX41794" fmla="*/ 4794699 w 8079933"/>
              <a:gd name="connsiteY41794" fmla="*/ 1883692 h 4687251"/>
              <a:gd name="connsiteX41795" fmla="*/ 4788405 w 8079933"/>
              <a:gd name="connsiteY41795" fmla="*/ 1882068 h 4687251"/>
              <a:gd name="connsiteX41796" fmla="*/ 4779181 w 8079933"/>
              <a:gd name="connsiteY41796" fmla="*/ 1876438 h 4687251"/>
              <a:gd name="connsiteX41797" fmla="*/ 4770283 w 8079933"/>
              <a:gd name="connsiteY41797" fmla="*/ 1877196 h 4687251"/>
              <a:gd name="connsiteX41798" fmla="*/ 4765074 w 8079933"/>
              <a:gd name="connsiteY41798" fmla="*/ 1871782 h 4687251"/>
              <a:gd name="connsiteX41799" fmla="*/ 4765074 w 8079933"/>
              <a:gd name="connsiteY41799" fmla="*/ 1868209 h 4687251"/>
              <a:gd name="connsiteX41800" fmla="*/ 4758563 w 8079933"/>
              <a:gd name="connsiteY41800" fmla="*/ 1862796 h 4687251"/>
              <a:gd name="connsiteX41801" fmla="*/ 4755850 w 8079933"/>
              <a:gd name="connsiteY41801" fmla="*/ 1862796 h 4687251"/>
              <a:gd name="connsiteX41802" fmla="*/ 4750207 w 8079933"/>
              <a:gd name="connsiteY41802" fmla="*/ 1862038 h 4687251"/>
              <a:gd name="connsiteX41803" fmla="*/ 4753462 w 8079933"/>
              <a:gd name="connsiteY41803" fmla="*/ 1859331 h 4687251"/>
              <a:gd name="connsiteX41804" fmla="*/ 4757044 w 8079933"/>
              <a:gd name="connsiteY41804" fmla="*/ 1857707 h 4687251"/>
              <a:gd name="connsiteX41805" fmla="*/ 4755199 w 8079933"/>
              <a:gd name="connsiteY41805" fmla="*/ 1854242 h 4687251"/>
              <a:gd name="connsiteX41806" fmla="*/ 4755199 w 8079933"/>
              <a:gd name="connsiteY41806" fmla="*/ 1852078 h 4687251"/>
              <a:gd name="connsiteX41807" fmla="*/ 4760408 w 8079933"/>
              <a:gd name="connsiteY41807" fmla="*/ 1853376 h 4687251"/>
              <a:gd name="connsiteX41808" fmla="*/ 4764206 w 8079933"/>
              <a:gd name="connsiteY41808" fmla="*/ 1856300 h 4687251"/>
              <a:gd name="connsiteX41809" fmla="*/ 4765291 w 8079933"/>
              <a:gd name="connsiteY41809" fmla="*/ 1855542 h 4687251"/>
              <a:gd name="connsiteX41810" fmla="*/ 4769957 w 8079933"/>
              <a:gd name="connsiteY41810" fmla="*/ 1856300 h 4687251"/>
              <a:gd name="connsiteX41811" fmla="*/ 4771042 w 8079933"/>
              <a:gd name="connsiteY41811" fmla="*/ 1849478 h 4687251"/>
              <a:gd name="connsiteX41812" fmla="*/ 4768655 w 8079933"/>
              <a:gd name="connsiteY41812" fmla="*/ 1847854 h 4687251"/>
              <a:gd name="connsiteX41813" fmla="*/ 4768655 w 8079933"/>
              <a:gd name="connsiteY41813" fmla="*/ 1843524 h 4687251"/>
              <a:gd name="connsiteX41814" fmla="*/ 4773755 w 8079933"/>
              <a:gd name="connsiteY41814" fmla="*/ 1838435 h 4687251"/>
              <a:gd name="connsiteX41815" fmla="*/ 4773755 w 8079933"/>
              <a:gd name="connsiteY41815" fmla="*/ 1836595 h 4687251"/>
              <a:gd name="connsiteX41816" fmla="*/ 4775709 w 8079933"/>
              <a:gd name="connsiteY41816" fmla="*/ 1834754 h 4687251"/>
              <a:gd name="connsiteX41817" fmla="*/ 4778964 w 8079933"/>
              <a:gd name="connsiteY41817" fmla="*/ 1834754 h 4687251"/>
              <a:gd name="connsiteX41818" fmla="*/ 4780917 w 8079933"/>
              <a:gd name="connsiteY41818" fmla="*/ 1831830 h 4687251"/>
              <a:gd name="connsiteX41819" fmla="*/ 4783956 w 8079933"/>
              <a:gd name="connsiteY41819" fmla="*/ 1831073 h 4687251"/>
              <a:gd name="connsiteX41820" fmla="*/ 4783956 w 8079933"/>
              <a:gd name="connsiteY41820" fmla="*/ 1829124 h 4687251"/>
              <a:gd name="connsiteX41821" fmla="*/ 4779072 w 8079933"/>
              <a:gd name="connsiteY41821" fmla="*/ 1827717 h 4687251"/>
              <a:gd name="connsiteX41822" fmla="*/ 4777770 w 8079933"/>
              <a:gd name="connsiteY41822" fmla="*/ 1825226 h 4687251"/>
              <a:gd name="connsiteX41823" fmla="*/ 4775274 w 8079933"/>
              <a:gd name="connsiteY41823" fmla="*/ 1827391 h 4687251"/>
              <a:gd name="connsiteX41824" fmla="*/ 4771802 w 8079933"/>
              <a:gd name="connsiteY41824" fmla="*/ 1823927 h 4687251"/>
              <a:gd name="connsiteX41825" fmla="*/ 4768546 w 8079933"/>
              <a:gd name="connsiteY41825" fmla="*/ 1816889 h 4687251"/>
              <a:gd name="connsiteX41826" fmla="*/ 4776685 w 8079933"/>
              <a:gd name="connsiteY41826" fmla="*/ 1815807 h 4687251"/>
              <a:gd name="connsiteX41827" fmla="*/ 4782545 w 8079933"/>
              <a:gd name="connsiteY41827" fmla="*/ 1816889 h 4687251"/>
              <a:gd name="connsiteX41828" fmla="*/ 4785583 w 8079933"/>
              <a:gd name="connsiteY41828" fmla="*/ 1813425 h 4687251"/>
              <a:gd name="connsiteX41829" fmla="*/ 4782545 w 8079933"/>
              <a:gd name="connsiteY41829" fmla="*/ 1813425 h 4687251"/>
              <a:gd name="connsiteX41830" fmla="*/ 4780158 w 8079933"/>
              <a:gd name="connsiteY41830" fmla="*/ 1811151 h 4687251"/>
              <a:gd name="connsiteX41831" fmla="*/ 4785366 w 8079933"/>
              <a:gd name="connsiteY41831" fmla="*/ 1807578 h 4687251"/>
              <a:gd name="connsiteX41832" fmla="*/ 4797846 w 8079933"/>
              <a:gd name="connsiteY41832" fmla="*/ 1800865 h 4687251"/>
              <a:gd name="connsiteX41833" fmla="*/ 4799148 w 8079933"/>
              <a:gd name="connsiteY41833" fmla="*/ 1797292 h 4687251"/>
              <a:gd name="connsiteX41834" fmla="*/ 4797737 w 8079933"/>
              <a:gd name="connsiteY41834" fmla="*/ 1794802 h 4687251"/>
              <a:gd name="connsiteX41835" fmla="*/ 4791443 w 8079933"/>
              <a:gd name="connsiteY41835" fmla="*/ 1795668 h 4687251"/>
              <a:gd name="connsiteX41836" fmla="*/ 4786234 w 8079933"/>
              <a:gd name="connsiteY41836" fmla="*/ 1799241 h 4687251"/>
              <a:gd name="connsiteX41837" fmla="*/ 4782892 w 8079933"/>
              <a:gd name="connsiteY41837" fmla="*/ 1798648 h 4687251"/>
              <a:gd name="connsiteX41838" fmla="*/ 4782871 w 8079933"/>
              <a:gd name="connsiteY41838" fmla="*/ 1798808 h 4687251"/>
              <a:gd name="connsiteX41839" fmla="*/ 4782871 w 8079933"/>
              <a:gd name="connsiteY41839" fmla="*/ 1799241 h 4687251"/>
              <a:gd name="connsiteX41840" fmla="*/ 4778313 w 8079933"/>
              <a:gd name="connsiteY41840" fmla="*/ 1800865 h 4687251"/>
              <a:gd name="connsiteX41841" fmla="*/ 4777879 w 8079933"/>
              <a:gd name="connsiteY41841" fmla="*/ 1798266 h 4687251"/>
              <a:gd name="connsiteX41842" fmla="*/ 4775274 w 8079933"/>
              <a:gd name="connsiteY41842" fmla="*/ 1797942 h 4687251"/>
              <a:gd name="connsiteX41843" fmla="*/ 4769306 w 8079933"/>
              <a:gd name="connsiteY41843" fmla="*/ 1800432 h 4687251"/>
              <a:gd name="connsiteX41844" fmla="*/ 4763338 w 8079933"/>
              <a:gd name="connsiteY41844" fmla="*/ 1799891 h 4687251"/>
              <a:gd name="connsiteX41845" fmla="*/ 4760299 w 8079933"/>
              <a:gd name="connsiteY41845" fmla="*/ 1802272 h 4687251"/>
              <a:gd name="connsiteX41846" fmla="*/ 4758346 w 8079933"/>
              <a:gd name="connsiteY41846" fmla="*/ 1806387 h 4687251"/>
              <a:gd name="connsiteX41847" fmla="*/ 4753029 w 8079933"/>
              <a:gd name="connsiteY41847" fmla="*/ 1806820 h 4687251"/>
              <a:gd name="connsiteX41848" fmla="*/ 4750533 w 8079933"/>
              <a:gd name="connsiteY41848" fmla="*/ 1810393 h 4687251"/>
              <a:gd name="connsiteX41849" fmla="*/ 4745433 w 8079933"/>
              <a:gd name="connsiteY41849" fmla="*/ 1815807 h 4687251"/>
              <a:gd name="connsiteX41850" fmla="*/ 4743697 w 8079933"/>
              <a:gd name="connsiteY41850" fmla="*/ 1815265 h 4687251"/>
              <a:gd name="connsiteX41851" fmla="*/ 4738813 w 8079933"/>
              <a:gd name="connsiteY41851" fmla="*/ 1815807 h 4687251"/>
              <a:gd name="connsiteX41852" fmla="*/ 4734798 w 8079933"/>
              <a:gd name="connsiteY41852" fmla="*/ 1818838 h 4687251"/>
              <a:gd name="connsiteX41853" fmla="*/ 4728504 w 8079933"/>
              <a:gd name="connsiteY41853" fmla="*/ 1817430 h 4687251"/>
              <a:gd name="connsiteX41854" fmla="*/ 4723621 w 8079933"/>
              <a:gd name="connsiteY41854" fmla="*/ 1820462 h 4687251"/>
              <a:gd name="connsiteX41855" fmla="*/ 4720474 w 8079933"/>
              <a:gd name="connsiteY41855" fmla="*/ 1819920 h 4687251"/>
              <a:gd name="connsiteX41856" fmla="*/ 4717435 w 8079933"/>
              <a:gd name="connsiteY41856" fmla="*/ 1814724 h 4687251"/>
              <a:gd name="connsiteX41857" fmla="*/ 4715265 w 8079933"/>
              <a:gd name="connsiteY41857" fmla="*/ 1814940 h 4687251"/>
              <a:gd name="connsiteX41858" fmla="*/ 4716676 w 8079933"/>
              <a:gd name="connsiteY41858" fmla="*/ 1817755 h 4687251"/>
              <a:gd name="connsiteX41859" fmla="*/ 4719389 w 8079933"/>
              <a:gd name="connsiteY41859" fmla="*/ 1821220 h 4687251"/>
              <a:gd name="connsiteX41860" fmla="*/ 4718303 w 8079933"/>
              <a:gd name="connsiteY41860" fmla="*/ 1824252 h 4687251"/>
              <a:gd name="connsiteX41861" fmla="*/ 4713203 w 8079933"/>
              <a:gd name="connsiteY41861" fmla="*/ 1831505 h 4687251"/>
              <a:gd name="connsiteX41862" fmla="*/ 4710382 w 8079933"/>
              <a:gd name="connsiteY41862" fmla="*/ 1833130 h 4687251"/>
              <a:gd name="connsiteX41863" fmla="*/ 4709296 w 8079933"/>
              <a:gd name="connsiteY41863" fmla="*/ 1830964 h 4687251"/>
              <a:gd name="connsiteX41864" fmla="*/ 4711141 w 8079933"/>
              <a:gd name="connsiteY41864" fmla="*/ 1829881 h 4687251"/>
              <a:gd name="connsiteX41865" fmla="*/ 4715808 w 8079933"/>
              <a:gd name="connsiteY41865" fmla="*/ 1824252 h 4687251"/>
              <a:gd name="connsiteX41866" fmla="*/ 4715048 w 8079933"/>
              <a:gd name="connsiteY41866" fmla="*/ 1822303 h 4687251"/>
              <a:gd name="connsiteX41867" fmla="*/ 4712552 w 8079933"/>
              <a:gd name="connsiteY41867" fmla="*/ 1820678 h 4687251"/>
              <a:gd name="connsiteX41868" fmla="*/ 4711684 w 8079933"/>
              <a:gd name="connsiteY41868" fmla="*/ 1823385 h 4687251"/>
              <a:gd name="connsiteX41869" fmla="*/ 4704413 w 8079933"/>
              <a:gd name="connsiteY41869" fmla="*/ 1830964 h 4687251"/>
              <a:gd name="connsiteX41870" fmla="*/ 4700073 w 8079933"/>
              <a:gd name="connsiteY41870" fmla="*/ 1831722 h 4687251"/>
              <a:gd name="connsiteX41871" fmla="*/ 4699313 w 8079933"/>
              <a:gd name="connsiteY41871" fmla="*/ 1834537 h 4687251"/>
              <a:gd name="connsiteX41872" fmla="*/ 4694321 w 8079933"/>
              <a:gd name="connsiteY41872" fmla="*/ 1834537 h 4687251"/>
              <a:gd name="connsiteX41873" fmla="*/ 4690849 w 8079933"/>
              <a:gd name="connsiteY41873" fmla="*/ 1832047 h 4687251"/>
              <a:gd name="connsiteX41874" fmla="*/ 4687919 w 8079933"/>
              <a:gd name="connsiteY41874" fmla="*/ 1834754 h 4687251"/>
              <a:gd name="connsiteX41875" fmla="*/ 4682710 w 8079933"/>
              <a:gd name="connsiteY41875" fmla="*/ 1833887 h 4687251"/>
              <a:gd name="connsiteX41876" fmla="*/ 4681950 w 8079933"/>
              <a:gd name="connsiteY41876" fmla="*/ 1835836 h 4687251"/>
              <a:gd name="connsiteX41877" fmla="*/ 4685098 w 8079933"/>
              <a:gd name="connsiteY41877" fmla="*/ 1837785 h 4687251"/>
              <a:gd name="connsiteX41878" fmla="*/ 4692694 w 8079933"/>
              <a:gd name="connsiteY41878" fmla="*/ 1837244 h 4687251"/>
              <a:gd name="connsiteX41879" fmla="*/ 4695515 w 8079933"/>
              <a:gd name="connsiteY41879" fmla="*/ 1840709 h 4687251"/>
              <a:gd name="connsiteX41880" fmla="*/ 4698445 w 8079933"/>
              <a:gd name="connsiteY41880" fmla="*/ 1842874 h 4687251"/>
              <a:gd name="connsiteX41881" fmla="*/ 4701158 w 8079933"/>
              <a:gd name="connsiteY41881" fmla="*/ 1841466 h 4687251"/>
              <a:gd name="connsiteX41882" fmla="*/ 4702785 w 8079933"/>
              <a:gd name="connsiteY41882" fmla="*/ 1843740 h 4687251"/>
              <a:gd name="connsiteX41883" fmla="*/ 4700398 w 8079933"/>
              <a:gd name="connsiteY41883" fmla="*/ 1846664 h 4687251"/>
              <a:gd name="connsiteX41884" fmla="*/ 4700615 w 8079933"/>
              <a:gd name="connsiteY41884" fmla="*/ 1848829 h 4687251"/>
              <a:gd name="connsiteX41885" fmla="*/ 4702785 w 8079933"/>
              <a:gd name="connsiteY41885" fmla="*/ 1847421 h 4687251"/>
              <a:gd name="connsiteX41886" fmla="*/ 4704956 w 8079933"/>
              <a:gd name="connsiteY41886" fmla="*/ 1847421 h 4687251"/>
              <a:gd name="connsiteX41887" fmla="*/ 4704196 w 8079933"/>
              <a:gd name="connsiteY41887" fmla="*/ 1851211 h 4687251"/>
              <a:gd name="connsiteX41888" fmla="*/ 4707126 w 8079933"/>
              <a:gd name="connsiteY41888" fmla="*/ 1848504 h 4687251"/>
              <a:gd name="connsiteX41889" fmla="*/ 4709622 w 8079933"/>
              <a:gd name="connsiteY41889" fmla="*/ 1850128 h 4687251"/>
              <a:gd name="connsiteX41890" fmla="*/ 4710708 w 8079933"/>
              <a:gd name="connsiteY41890" fmla="*/ 1855542 h 4687251"/>
              <a:gd name="connsiteX41891" fmla="*/ 4713421 w 8079933"/>
              <a:gd name="connsiteY41891" fmla="*/ 1858356 h 4687251"/>
              <a:gd name="connsiteX41892" fmla="*/ 4718846 w 8079933"/>
              <a:gd name="connsiteY41892" fmla="*/ 1859980 h 4687251"/>
              <a:gd name="connsiteX41893" fmla="*/ 4721234 w 8079933"/>
              <a:gd name="connsiteY41893" fmla="*/ 1858789 h 4687251"/>
              <a:gd name="connsiteX41894" fmla="*/ 4713203 w 8079933"/>
              <a:gd name="connsiteY41894" fmla="*/ 1851211 h 4687251"/>
              <a:gd name="connsiteX41895" fmla="*/ 4704956 w 8079933"/>
              <a:gd name="connsiteY41895" fmla="*/ 1841033 h 4687251"/>
              <a:gd name="connsiteX41896" fmla="*/ 4702569 w 8079933"/>
              <a:gd name="connsiteY41896" fmla="*/ 1834970 h 4687251"/>
              <a:gd name="connsiteX41897" fmla="*/ 4704630 w 8079933"/>
              <a:gd name="connsiteY41897" fmla="*/ 1833671 h 4687251"/>
              <a:gd name="connsiteX41898" fmla="*/ 4708211 w 8079933"/>
              <a:gd name="connsiteY41898" fmla="*/ 1838760 h 4687251"/>
              <a:gd name="connsiteX41899" fmla="*/ 4710056 w 8079933"/>
              <a:gd name="connsiteY41899" fmla="*/ 1845039 h 4687251"/>
              <a:gd name="connsiteX41900" fmla="*/ 4721559 w 8079933"/>
              <a:gd name="connsiteY41900" fmla="*/ 1857707 h 4687251"/>
              <a:gd name="connsiteX41901" fmla="*/ 4724272 w 8079933"/>
              <a:gd name="connsiteY41901" fmla="*/ 1858789 h 4687251"/>
              <a:gd name="connsiteX41902" fmla="*/ 4728287 w 8079933"/>
              <a:gd name="connsiteY41902" fmla="*/ 1854567 h 4687251"/>
              <a:gd name="connsiteX41903" fmla="*/ 4731000 w 8079933"/>
              <a:gd name="connsiteY41903" fmla="*/ 1854458 h 4687251"/>
              <a:gd name="connsiteX41904" fmla="*/ 4735449 w 8079933"/>
              <a:gd name="connsiteY41904" fmla="*/ 1857274 h 4687251"/>
              <a:gd name="connsiteX41905" fmla="*/ 4737294 w 8079933"/>
              <a:gd name="connsiteY41905" fmla="*/ 1852401 h 4687251"/>
              <a:gd name="connsiteX41906" fmla="*/ 4744890 w 8079933"/>
              <a:gd name="connsiteY41906" fmla="*/ 1851535 h 4687251"/>
              <a:gd name="connsiteX41907" fmla="*/ 4751184 w 8079933"/>
              <a:gd name="connsiteY41907" fmla="*/ 1851860 h 4687251"/>
              <a:gd name="connsiteX41908" fmla="*/ 4749448 w 8079933"/>
              <a:gd name="connsiteY41908" fmla="*/ 1855000 h 4687251"/>
              <a:gd name="connsiteX41909" fmla="*/ 4747060 w 8079933"/>
              <a:gd name="connsiteY41909" fmla="*/ 1856949 h 4687251"/>
              <a:gd name="connsiteX41910" fmla="*/ 4749231 w 8079933"/>
              <a:gd name="connsiteY41910" fmla="*/ 1861280 h 4687251"/>
              <a:gd name="connsiteX41911" fmla="*/ 4746410 w 8079933"/>
              <a:gd name="connsiteY41911" fmla="*/ 1864744 h 4687251"/>
              <a:gd name="connsiteX41912" fmla="*/ 4738162 w 8079933"/>
              <a:gd name="connsiteY41912" fmla="*/ 1865394 h 4687251"/>
              <a:gd name="connsiteX41913" fmla="*/ 4728829 w 8079933"/>
              <a:gd name="connsiteY41913" fmla="*/ 1863770 h 4687251"/>
              <a:gd name="connsiteX41914" fmla="*/ 4723187 w 8079933"/>
              <a:gd name="connsiteY41914" fmla="*/ 1866910 h 4687251"/>
              <a:gd name="connsiteX41915" fmla="*/ 4719063 w 8079933"/>
              <a:gd name="connsiteY41915" fmla="*/ 1872649 h 4687251"/>
              <a:gd name="connsiteX41916" fmla="*/ 4711467 w 8079933"/>
              <a:gd name="connsiteY41916" fmla="*/ 1872432 h 4687251"/>
              <a:gd name="connsiteX41917" fmla="*/ 4700398 w 8079933"/>
              <a:gd name="connsiteY41917" fmla="*/ 1880768 h 4687251"/>
              <a:gd name="connsiteX41918" fmla="*/ 4692151 w 8079933"/>
              <a:gd name="connsiteY41918" fmla="*/ 1884558 h 4687251"/>
              <a:gd name="connsiteX41919" fmla="*/ 4683470 w 8079933"/>
              <a:gd name="connsiteY41919" fmla="*/ 1884233 h 4687251"/>
              <a:gd name="connsiteX41920" fmla="*/ 4679237 w 8079933"/>
              <a:gd name="connsiteY41920" fmla="*/ 1880985 h 4687251"/>
              <a:gd name="connsiteX41921" fmla="*/ 4680540 w 8079933"/>
              <a:gd name="connsiteY41921" fmla="*/ 1879145 h 4687251"/>
              <a:gd name="connsiteX41922" fmla="*/ 4683470 w 8079933"/>
              <a:gd name="connsiteY41922" fmla="*/ 1870483 h 4687251"/>
              <a:gd name="connsiteX41923" fmla="*/ 4683035 w 8079933"/>
              <a:gd name="connsiteY41923" fmla="*/ 1867018 h 4687251"/>
              <a:gd name="connsiteX41924" fmla="*/ 4675439 w 8079933"/>
              <a:gd name="connsiteY41924" fmla="*/ 1861064 h 4687251"/>
              <a:gd name="connsiteX41925" fmla="*/ 4672726 w 8079933"/>
              <a:gd name="connsiteY41925" fmla="*/ 1861496 h 4687251"/>
              <a:gd name="connsiteX41926" fmla="*/ 4667518 w 8079933"/>
              <a:gd name="connsiteY41926" fmla="*/ 1858898 h 4687251"/>
              <a:gd name="connsiteX41927" fmla="*/ 4664262 w 8079933"/>
              <a:gd name="connsiteY41927" fmla="*/ 1861605 h 4687251"/>
              <a:gd name="connsiteX41928" fmla="*/ 4660139 w 8079933"/>
              <a:gd name="connsiteY41928" fmla="*/ 1859872 h 4687251"/>
              <a:gd name="connsiteX41929" fmla="*/ 4664913 w 8079933"/>
              <a:gd name="connsiteY41929" fmla="*/ 1852401 h 4687251"/>
              <a:gd name="connsiteX41930" fmla="*/ 4673486 w 8079933"/>
              <a:gd name="connsiteY41930" fmla="*/ 1847421 h 4687251"/>
              <a:gd name="connsiteX41931" fmla="*/ 4680540 w 8079933"/>
              <a:gd name="connsiteY41931" fmla="*/ 1846122 h 4687251"/>
              <a:gd name="connsiteX41932" fmla="*/ 4682493 w 8079933"/>
              <a:gd name="connsiteY41932" fmla="*/ 1844823 h 4687251"/>
              <a:gd name="connsiteX41933" fmla="*/ 4679780 w 8079933"/>
              <a:gd name="connsiteY41933" fmla="*/ 1841575 h 4687251"/>
              <a:gd name="connsiteX41934" fmla="*/ 4678695 w 8079933"/>
              <a:gd name="connsiteY41934" fmla="*/ 1835620 h 4687251"/>
              <a:gd name="connsiteX41935" fmla="*/ 4676524 w 8079933"/>
              <a:gd name="connsiteY41935" fmla="*/ 1834645 h 4687251"/>
              <a:gd name="connsiteX41936" fmla="*/ 4674680 w 8079933"/>
              <a:gd name="connsiteY41936" fmla="*/ 1838001 h 4687251"/>
              <a:gd name="connsiteX41937" fmla="*/ 4670882 w 8079933"/>
              <a:gd name="connsiteY41937" fmla="*/ 1835836 h 4687251"/>
              <a:gd name="connsiteX41938" fmla="*/ 4665456 w 8079933"/>
              <a:gd name="connsiteY41938" fmla="*/ 1833562 h 4687251"/>
              <a:gd name="connsiteX41939" fmla="*/ 4659705 w 8079933"/>
              <a:gd name="connsiteY41939" fmla="*/ 1834537 h 4687251"/>
              <a:gd name="connsiteX41940" fmla="*/ 4654713 w 8079933"/>
              <a:gd name="connsiteY41940" fmla="*/ 1837136 h 4687251"/>
              <a:gd name="connsiteX41941" fmla="*/ 4650372 w 8079933"/>
              <a:gd name="connsiteY41941" fmla="*/ 1834645 h 4687251"/>
              <a:gd name="connsiteX41942" fmla="*/ 4647008 w 8079933"/>
              <a:gd name="connsiteY41942" fmla="*/ 1834321 h 4687251"/>
              <a:gd name="connsiteX41943" fmla="*/ 4643535 w 8079933"/>
              <a:gd name="connsiteY41943" fmla="*/ 1831289 h 4687251"/>
              <a:gd name="connsiteX41944" fmla="*/ 4646140 w 8079933"/>
              <a:gd name="connsiteY41944" fmla="*/ 1829665 h 4687251"/>
              <a:gd name="connsiteX41945" fmla="*/ 4647116 w 8079933"/>
              <a:gd name="connsiteY41945" fmla="*/ 1827824 h 4687251"/>
              <a:gd name="connsiteX41946" fmla="*/ 4640063 w 8079933"/>
              <a:gd name="connsiteY41946" fmla="*/ 1825550 h 4687251"/>
              <a:gd name="connsiteX41947" fmla="*/ 4631382 w 8079933"/>
              <a:gd name="connsiteY41947" fmla="*/ 1825550 h 4687251"/>
              <a:gd name="connsiteX41948" fmla="*/ 4629320 w 8079933"/>
              <a:gd name="connsiteY41948" fmla="*/ 1822519 h 4687251"/>
              <a:gd name="connsiteX41949" fmla="*/ 4634637 w 8079933"/>
              <a:gd name="connsiteY41949" fmla="*/ 1822519 h 4687251"/>
              <a:gd name="connsiteX41950" fmla="*/ 4642993 w 8079933"/>
              <a:gd name="connsiteY41950" fmla="*/ 1821436 h 4687251"/>
              <a:gd name="connsiteX41951" fmla="*/ 4647333 w 8079933"/>
              <a:gd name="connsiteY41951" fmla="*/ 1822844 h 4687251"/>
              <a:gd name="connsiteX41952" fmla="*/ 4650372 w 8079933"/>
              <a:gd name="connsiteY41952" fmla="*/ 1821220 h 4687251"/>
              <a:gd name="connsiteX41953" fmla="*/ 4655364 w 8079933"/>
              <a:gd name="connsiteY41953" fmla="*/ 1818188 h 4687251"/>
              <a:gd name="connsiteX41954" fmla="*/ 4648201 w 8079933"/>
              <a:gd name="connsiteY41954" fmla="*/ 1819920 h 4687251"/>
              <a:gd name="connsiteX41955" fmla="*/ 4644512 w 8079933"/>
              <a:gd name="connsiteY41955" fmla="*/ 1818730 h 4687251"/>
              <a:gd name="connsiteX41956" fmla="*/ 4641691 w 8079933"/>
              <a:gd name="connsiteY41956" fmla="*/ 1816564 h 4687251"/>
              <a:gd name="connsiteX41957" fmla="*/ 4640063 w 8079933"/>
              <a:gd name="connsiteY41957" fmla="*/ 1813857 h 4687251"/>
              <a:gd name="connsiteX41958" fmla="*/ 4638001 w 8079933"/>
              <a:gd name="connsiteY41958" fmla="*/ 1817105 h 4687251"/>
              <a:gd name="connsiteX41959" fmla="*/ 4636048 w 8079933"/>
              <a:gd name="connsiteY41959" fmla="*/ 1819812 h 4687251"/>
              <a:gd name="connsiteX41960" fmla="*/ 4631708 w 8079933"/>
              <a:gd name="connsiteY41960" fmla="*/ 1819812 h 4687251"/>
              <a:gd name="connsiteX41961" fmla="*/ 4631816 w 8079933"/>
              <a:gd name="connsiteY41961" fmla="*/ 1818513 h 4687251"/>
              <a:gd name="connsiteX41962" fmla="*/ 4629211 w 8079933"/>
              <a:gd name="connsiteY41962" fmla="*/ 1816022 h 4687251"/>
              <a:gd name="connsiteX41963" fmla="*/ 4624437 w 8079933"/>
              <a:gd name="connsiteY41963" fmla="*/ 1821977 h 4687251"/>
              <a:gd name="connsiteX41964" fmla="*/ 4618902 w 8079933"/>
              <a:gd name="connsiteY41964" fmla="*/ 1822303 h 4687251"/>
              <a:gd name="connsiteX41965" fmla="*/ 4615430 w 8079933"/>
              <a:gd name="connsiteY41965" fmla="*/ 1825009 h 4687251"/>
              <a:gd name="connsiteX41966" fmla="*/ 4615430 w 8079933"/>
              <a:gd name="connsiteY41966" fmla="*/ 1830964 h 4687251"/>
              <a:gd name="connsiteX41967" fmla="*/ 4610546 w 8079933"/>
              <a:gd name="connsiteY41967" fmla="*/ 1837244 h 4687251"/>
              <a:gd name="connsiteX41968" fmla="*/ 4608051 w 8079933"/>
              <a:gd name="connsiteY41968" fmla="*/ 1837244 h 4687251"/>
              <a:gd name="connsiteX41969" fmla="*/ 4609461 w 8079933"/>
              <a:gd name="connsiteY41969" fmla="*/ 1840383 h 4687251"/>
              <a:gd name="connsiteX41970" fmla="*/ 4600455 w 8079933"/>
              <a:gd name="connsiteY41970" fmla="*/ 1851211 h 4687251"/>
              <a:gd name="connsiteX41971" fmla="*/ 4597307 w 8079933"/>
              <a:gd name="connsiteY41971" fmla="*/ 1851211 h 4687251"/>
              <a:gd name="connsiteX41972" fmla="*/ 4595354 w 8079933"/>
              <a:gd name="connsiteY41972" fmla="*/ 1848071 h 4687251"/>
              <a:gd name="connsiteX41973" fmla="*/ 4595138 w 8079933"/>
              <a:gd name="connsiteY41973" fmla="*/ 1851535 h 4687251"/>
              <a:gd name="connsiteX41974" fmla="*/ 4594594 w 8079933"/>
              <a:gd name="connsiteY41974" fmla="*/ 1854458 h 4687251"/>
              <a:gd name="connsiteX41975" fmla="*/ 4596982 w 8079933"/>
              <a:gd name="connsiteY41975" fmla="*/ 1857274 h 4687251"/>
              <a:gd name="connsiteX41976" fmla="*/ 4596114 w 8079933"/>
              <a:gd name="connsiteY41976" fmla="*/ 1861496 h 4687251"/>
              <a:gd name="connsiteX41977" fmla="*/ 4596006 w 8079933"/>
              <a:gd name="connsiteY41977" fmla="*/ 1861496 h 4687251"/>
              <a:gd name="connsiteX41978" fmla="*/ 4596005 w 8079933"/>
              <a:gd name="connsiteY41978" fmla="*/ 1861495 h 4687251"/>
              <a:gd name="connsiteX41979" fmla="*/ 4593509 w 8079933"/>
              <a:gd name="connsiteY41979" fmla="*/ 1863985 h 4687251"/>
              <a:gd name="connsiteX41980" fmla="*/ 4596113 w 8079933"/>
              <a:gd name="connsiteY41980" fmla="*/ 1865934 h 4687251"/>
              <a:gd name="connsiteX41981" fmla="*/ 4596113 w 8079933"/>
              <a:gd name="connsiteY41981" fmla="*/ 1869616 h 4687251"/>
              <a:gd name="connsiteX41982" fmla="*/ 4592641 w 8079933"/>
              <a:gd name="connsiteY41982" fmla="*/ 1875679 h 4687251"/>
              <a:gd name="connsiteX41983" fmla="*/ 4587540 w 8079933"/>
              <a:gd name="connsiteY41983" fmla="*/ 1876761 h 4687251"/>
              <a:gd name="connsiteX41984" fmla="*/ 4579293 w 8079933"/>
              <a:gd name="connsiteY41984" fmla="*/ 1877303 h 4687251"/>
              <a:gd name="connsiteX41985" fmla="*/ 4577991 w 8079933"/>
              <a:gd name="connsiteY41985" fmla="*/ 1882391 h 4687251"/>
              <a:gd name="connsiteX41986" fmla="*/ 4574952 w 8079933"/>
              <a:gd name="connsiteY41986" fmla="*/ 1885640 h 4687251"/>
              <a:gd name="connsiteX41987" fmla="*/ 4576906 w 8079933"/>
              <a:gd name="connsiteY41987" fmla="*/ 1889104 h 4687251"/>
              <a:gd name="connsiteX41988" fmla="*/ 4576580 w 8079933"/>
              <a:gd name="connsiteY41988" fmla="*/ 1896142 h 4687251"/>
              <a:gd name="connsiteX41989" fmla="*/ 4573976 w 8079933"/>
              <a:gd name="connsiteY41989" fmla="*/ 1900473 h 4687251"/>
              <a:gd name="connsiteX41990" fmla="*/ 4575712 w 8079933"/>
              <a:gd name="connsiteY41990" fmla="*/ 1906211 h 4687251"/>
              <a:gd name="connsiteX41991" fmla="*/ 4575713 w 8079933"/>
              <a:gd name="connsiteY41991" fmla="*/ 1906211 h 4687251"/>
              <a:gd name="connsiteX41992" fmla="*/ 4576038 w 8079933"/>
              <a:gd name="connsiteY41992" fmla="*/ 1907294 h 4687251"/>
              <a:gd name="connsiteX41993" fmla="*/ 4575062 w 8079933"/>
              <a:gd name="connsiteY41993" fmla="*/ 1916280 h 4687251"/>
              <a:gd name="connsiteX41994" fmla="*/ 4572023 w 8079933"/>
              <a:gd name="connsiteY41994" fmla="*/ 1919204 h 4687251"/>
              <a:gd name="connsiteX41995" fmla="*/ 4567683 w 8079933"/>
              <a:gd name="connsiteY41995" fmla="*/ 1918662 h 4687251"/>
              <a:gd name="connsiteX41996" fmla="*/ 4561172 w 8079933"/>
              <a:gd name="connsiteY41996" fmla="*/ 1924400 h 4687251"/>
              <a:gd name="connsiteX41997" fmla="*/ 4562257 w 8079933"/>
              <a:gd name="connsiteY41997" fmla="*/ 1934903 h 4687251"/>
              <a:gd name="connsiteX41998" fmla="*/ 4560629 w 8079933"/>
              <a:gd name="connsiteY41998" fmla="*/ 1939559 h 4687251"/>
              <a:gd name="connsiteX41999" fmla="*/ 4553901 w 8079933"/>
              <a:gd name="connsiteY41999" fmla="*/ 1944647 h 4687251"/>
              <a:gd name="connsiteX42000" fmla="*/ 4554878 w 8079933"/>
              <a:gd name="connsiteY42000" fmla="*/ 1947137 h 4687251"/>
              <a:gd name="connsiteX42001" fmla="*/ 4558784 w 8079933"/>
              <a:gd name="connsiteY42001" fmla="*/ 1947679 h 4687251"/>
              <a:gd name="connsiteX42002" fmla="*/ 4563559 w 8079933"/>
              <a:gd name="connsiteY42002" fmla="*/ 1954608 h 4687251"/>
              <a:gd name="connsiteX42003" fmla="*/ 4567140 w 8079933"/>
              <a:gd name="connsiteY42003" fmla="*/ 1960347 h 4687251"/>
              <a:gd name="connsiteX42004" fmla="*/ 4567140 w 8079933"/>
              <a:gd name="connsiteY42004" fmla="*/ 1960671 h 4687251"/>
              <a:gd name="connsiteX42005" fmla="*/ 4567899 w 8079933"/>
              <a:gd name="connsiteY42005" fmla="*/ 1969224 h 4687251"/>
              <a:gd name="connsiteX42006" fmla="*/ 4575061 w 8079933"/>
              <a:gd name="connsiteY42006" fmla="*/ 1975504 h 4687251"/>
              <a:gd name="connsiteX42007" fmla="*/ 4580270 w 8079933"/>
              <a:gd name="connsiteY42007" fmla="*/ 1976262 h 4687251"/>
              <a:gd name="connsiteX42008" fmla="*/ 4585805 w 8079933"/>
              <a:gd name="connsiteY42008" fmla="*/ 1981783 h 4687251"/>
              <a:gd name="connsiteX42009" fmla="*/ 4590688 w 8079933"/>
              <a:gd name="connsiteY42009" fmla="*/ 1984490 h 4687251"/>
              <a:gd name="connsiteX42010" fmla="*/ 4590688 w 8079933"/>
              <a:gd name="connsiteY42010" fmla="*/ 1987522 h 4687251"/>
              <a:gd name="connsiteX42011" fmla="*/ 4586455 w 8079933"/>
              <a:gd name="connsiteY42011" fmla="*/ 1991744 h 4687251"/>
              <a:gd name="connsiteX42012" fmla="*/ 4580487 w 8079933"/>
              <a:gd name="connsiteY42012" fmla="*/ 1991203 h 4687251"/>
              <a:gd name="connsiteX42013" fmla="*/ 4577232 w 8079933"/>
              <a:gd name="connsiteY42013" fmla="*/ 1989363 h 4687251"/>
              <a:gd name="connsiteX42014" fmla="*/ 4571806 w 8079933"/>
              <a:gd name="connsiteY42014" fmla="*/ 1989363 h 4687251"/>
              <a:gd name="connsiteX42015" fmla="*/ 4569635 w 8079933"/>
              <a:gd name="connsiteY42015" fmla="*/ 1991420 h 4687251"/>
              <a:gd name="connsiteX42016" fmla="*/ 4561497 w 8079933"/>
              <a:gd name="connsiteY42016" fmla="*/ 1991203 h 4687251"/>
              <a:gd name="connsiteX42017" fmla="*/ 4556614 w 8079933"/>
              <a:gd name="connsiteY42017" fmla="*/ 1993152 h 4687251"/>
              <a:gd name="connsiteX42018" fmla="*/ 4554118 w 8079933"/>
              <a:gd name="connsiteY42018" fmla="*/ 1999648 h 4687251"/>
              <a:gd name="connsiteX42019" fmla="*/ 4541638 w 8079933"/>
              <a:gd name="connsiteY42019" fmla="*/ 2006036 h 4687251"/>
              <a:gd name="connsiteX42020" fmla="*/ 4531655 w 8079933"/>
              <a:gd name="connsiteY42020" fmla="*/ 2014481 h 4687251"/>
              <a:gd name="connsiteX42021" fmla="*/ 4531329 w 8079933"/>
              <a:gd name="connsiteY42021" fmla="*/ 2011233 h 4687251"/>
              <a:gd name="connsiteX42022" fmla="*/ 4533716 w 8079933"/>
              <a:gd name="connsiteY42022" fmla="*/ 2004195 h 4687251"/>
              <a:gd name="connsiteX42023" fmla="*/ 4536429 w 8079933"/>
              <a:gd name="connsiteY42023" fmla="*/ 2003979 h 4687251"/>
              <a:gd name="connsiteX42024" fmla="*/ 4541096 w 8079933"/>
              <a:gd name="connsiteY42024" fmla="*/ 2000948 h 4687251"/>
              <a:gd name="connsiteX42025" fmla="*/ 4536538 w 8079933"/>
              <a:gd name="connsiteY42025" fmla="*/ 2001489 h 4687251"/>
              <a:gd name="connsiteX42026" fmla="*/ 4533716 w 8079933"/>
              <a:gd name="connsiteY42026" fmla="*/ 2000622 h 4687251"/>
              <a:gd name="connsiteX42027" fmla="*/ 4531003 w 8079933"/>
              <a:gd name="connsiteY42027" fmla="*/ 2001272 h 4687251"/>
              <a:gd name="connsiteX42028" fmla="*/ 4527205 w 8079933"/>
              <a:gd name="connsiteY42028" fmla="*/ 1998999 h 4687251"/>
              <a:gd name="connsiteX42029" fmla="*/ 4525144 w 8079933"/>
              <a:gd name="connsiteY42029" fmla="*/ 1994776 h 4687251"/>
              <a:gd name="connsiteX42030" fmla="*/ 4524927 w 8079933"/>
              <a:gd name="connsiteY42030" fmla="*/ 1994776 h 4687251"/>
              <a:gd name="connsiteX42031" fmla="*/ 4530135 w 8079933"/>
              <a:gd name="connsiteY42031" fmla="*/ 1993477 h 4687251"/>
              <a:gd name="connsiteX42032" fmla="*/ 4532848 w 8079933"/>
              <a:gd name="connsiteY42032" fmla="*/ 1987955 h 4687251"/>
              <a:gd name="connsiteX42033" fmla="*/ 4531871 w 8079933"/>
              <a:gd name="connsiteY42033" fmla="*/ 1982758 h 4687251"/>
              <a:gd name="connsiteX42034" fmla="*/ 4538057 w 8079933"/>
              <a:gd name="connsiteY42034" fmla="*/ 1978969 h 4687251"/>
              <a:gd name="connsiteX42035" fmla="*/ 4538383 w 8079933"/>
              <a:gd name="connsiteY42035" fmla="*/ 1973122 h 4687251"/>
              <a:gd name="connsiteX42036" fmla="*/ 4538382 w 8079933"/>
              <a:gd name="connsiteY42036" fmla="*/ 1973122 h 4687251"/>
              <a:gd name="connsiteX42037" fmla="*/ 4538056 w 8079933"/>
              <a:gd name="connsiteY42037" fmla="*/ 1978968 h 4687251"/>
              <a:gd name="connsiteX42038" fmla="*/ 4531871 w 8079933"/>
              <a:gd name="connsiteY42038" fmla="*/ 1982758 h 4687251"/>
              <a:gd name="connsiteX42039" fmla="*/ 4532848 w 8079933"/>
              <a:gd name="connsiteY42039" fmla="*/ 1987954 h 4687251"/>
              <a:gd name="connsiteX42040" fmla="*/ 4530135 w 8079933"/>
              <a:gd name="connsiteY42040" fmla="*/ 1993476 h 4687251"/>
              <a:gd name="connsiteX42041" fmla="*/ 4524926 w 8079933"/>
              <a:gd name="connsiteY42041" fmla="*/ 1994776 h 4687251"/>
              <a:gd name="connsiteX42042" fmla="*/ 4517547 w 8079933"/>
              <a:gd name="connsiteY42042" fmla="*/ 1992827 h 4687251"/>
              <a:gd name="connsiteX42043" fmla="*/ 4507780 w 8079933"/>
              <a:gd name="connsiteY42043" fmla="*/ 1992827 h 4687251"/>
              <a:gd name="connsiteX42044" fmla="*/ 4504525 w 8079933"/>
              <a:gd name="connsiteY42044" fmla="*/ 1989038 h 4687251"/>
              <a:gd name="connsiteX42045" fmla="*/ 4502572 w 8079933"/>
              <a:gd name="connsiteY42045" fmla="*/ 1989038 h 4687251"/>
              <a:gd name="connsiteX42046" fmla="*/ 4502354 w 8079933"/>
              <a:gd name="connsiteY42046" fmla="*/ 1991419 h 4687251"/>
              <a:gd name="connsiteX42047" fmla="*/ 4498014 w 8079933"/>
              <a:gd name="connsiteY42047" fmla="*/ 1995858 h 4687251"/>
              <a:gd name="connsiteX42048" fmla="*/ 4494108 w 8079933"/>
              <a:gd name="connsiteY42048" fmla="*/ 1995534 h 4687251"/>
              <a:gd name="connsiteX42049" fmla="*/ 4488790 w 8079933"/>
              <a:gd name="connsiteY42049" fmla="*/ 1991528 h 4687251"/>
              <a:gd name="connsiteX42050" fmla="*/ 4485426 w 8079933"/>
              <a:gd name="connsiteY42050" fmla="*/ 1992827 h 4687251"/>
              <a:gd name="connsiteX42051" fmla="*/ 4483581 w 8079933"/>
              <a:gd name="connsiteY42051" fmla="*/ 1999107 h 4687251"/>
              <a:gd name="connsiteX42052" fmla="*/ 4479783 w 8079933"/>
              <a:gd name="connsiteY42052" fmla="*/ 2001272 h 4687251"/>
              <a:gd name="connsiteX42053" fmla="*/ 4475117 w 8079933"/>
              <a:gd name="connsiteY42053" fmla="*/ 1999864 h 4687251"/>
              <a:gd name="connsiteX42054" fmla="*/ 4472513 w 8079933"/>
              <a:gd name="connsiteY42054" fmla="*/ 2002788 h 4687251"/>
              <a:gd name="connsiteX42055" fmla="*/ 4476853 w 8079933"/>
              <a:gd name="connsiteY42055" fmla="*/ 2007768 h 4687251"/>
              <a:gd name="connsiteX42056" fmla="*/ 4482171 w 8079933"/>
              <a:gd name="connsiteY42056" fmla="*/ 2008526 h 4687251"/>
              <a:gd name="connsiteX42057" fmla="*/ 4487162 w 8079933"/>
              <a:gd name="connsiteY42057" fmla="*/ 2013182 h 4687251"/>
              <a:gd name="connsiteX42058" fmla="*/ 4485752 w 8079933"/>
              <a:gd name="connsiteY42058" fmla="*/ 2014806 h 4687251"/>
              <a:gd name="connsiteX42059" fmla="*/ 4482496 w 8079933"/>
              <a:gd name="connsiteY42059" fmla="*/ 2011558 h 4687251"/>
              <a:gd name="connsiteX42060" fmla="*/ 4473598 w 8079933"/>
              <a:gd name="connsiteY42060" fmla="*/ 2011233 h 4687251"/>
              <a:gd name="connsiteX42061" fmla="*/ 4473490 w 8079933"/>
              <a:gd name="connsiteY42061" fmla="*/ 2013940 h 4687251"/>
              <a:gd name="connsiteX42062" fmla="*/ 4476745 w 8079933"/>
              <a:gd name="connsiteY42062" fmla="*/ 2015239 h 4687251"/>
              <a:gd name="connsiteX42063" fmla="*/ 4480326 w 8079933"/>
              <a:gd name="connsiteY42063" fmla="*/ 2017946 h 4687251"/>
              <a:gd name="connsiteX42064" fmla="*/ 4478481 w 8079933"/>
              <a:gd name="connsiteY42064" fmla="*/ 2020978 h 4687251"/>
              <a:gd name="connsiteX42065" fmla="*/ 4475226 w 8079933"/>
              <a:gd name="connsiteY42065" fmla="*/ 2019678 h 4687251"/>
              <a:gd name="connsiteX42066" fmla="*/ 4471428 w 8079933"/>
              <a:gd name="connsiteY42066" fmla="*/ 2014481 h 4687251"/>
              <a:gd name="connsiteX42067" fmla="*/ 4466544 w 8079933"/>
              <a:gd name="connsiteY42067" fmla="*/ 2012857 h 4687251"/>
              <a:gd name="connsiteX42068" fmla="*/ 4465894 w 8079933"/>
              <a:gd name="connsiteY42068" fmla="*/ 2016105 h 4687251"/>
              <a:gd name="connsiteX42069" fmla="*/ 4467847 w 8079933"/>
              <a:gd name="connsiteY42069" fmla="*/ 2019678 h 4687251"/>
              <a:gd name="connsiteX42070" fmla="*/ 4471645 w 8079933"/>
              <a:gd name="connsiteY42070" fmla="*/ 2022276 h 4687251"/>
              <a:gd name="connsiteX42071" fmla="*/ 4466436 w 8079933"/>
              <a:gd name="connsiteY42071" fmla="*/ 2022385 h 4687251"/>
              <a:gd name="connsiteX42072" fmla="*/ 4461661 w 8079933"/>
              <a:gd name="connsiteY42072" fmla="*/ 2018595 h 4687251"/>
              <a:gd name="connsiteX42073" fmla="*/ 4461010 w 8079933"/>
              <a:gd name="connsiteY42073" fmla="*/ 2012857 h 4687251"/>
              <a:gd name="connsiteX42074" fmla="*/ 4453523 w 8079933"/>
              <a:gd name="connsiteY42074" fmla="*/ 2009392 h 4687251"/>
              <a:gd name="connsiteX42075" fmla="*/ 4452980 w 8079933"/>
              <a:gd name="connsiteY42075" fmla="*/ 2006902 h 4687251"/>
              <a:gd name="connsiteX42076" fmla="*/ 4455693 w 8079933"/>
              <a:gd name="connsiteY42076" fmla="*/ 2006902 h 4687251"/>
              <a:gd name="connsiteX42077" fmla="*/ 4455042 w 8079933"/>
              <a:gd name="connsiteY42077" fmla="*/ 2002246 h 4687251"/>
              <a:gd name="connsiteX42078" fmla="*/ 4449182 w 8079933"/>
              <a:gd name="connsiteY42078" fmla="*/ 2003437 h 4687251"/>
              <a:gd name="connsiteX42079" fmla="*/ 4446144 w 8079933"/>
              <a:gd name="connsiteY42079" fmla="*/ 2008309 h 4687251"/>
              <a:gd name="connsiteX42080" fmla="*/ 4447012 w 8079933"/>
              <a:gd name="connsiteY42080" fmla="*/ 2017729 h 4687251"/>
              <a:gd name="connsiteX42081" fmla="*/ 4445058 w 8079933"/>
              <a:gd name="connsiteY42081" fmla="*/ 2020219 h 4687251"/>
              <a:gd name="connsiteX42082" fmla="*/ 4450701 w 8079933"/>
              <a:gd name="connsiteY42082" fmla="*/ 2024984 h 4687251"/>
              <a:gd name="connsiteX42083" fmla="*/ 4451352 w 8079933"/>
              <a:gd name="connsiteY42083" fmla="*/ 2028231 h 4687251"/>
              <a:gd name="connsiteX42084" fmla="*/ 4454499 w 8079933"/>
              <a:gd name="connsiteY42084" fmla="*/ 2030505 h 4687251"/>
              <a:gd name="connsiteX42085" fmla="*/ 4461661 w 8079933"/>
              <a:gd name="connsiteY42085" fmla="*/ 2039383 h 4687251"/>
              <a:gd name="connsiteX42086" fmla="*/ 4464808 w 8079933"/>
              <a:gd name="connsiteY42086" fmla="*/ 2043173 h 4687251"/>
              <a:gd name="connsiteX42087" fmla="*/ 4463289 w 8079933"/>
              <a:gd name="connsiteY42087" fmla="*/ 2048694 h 4687251"/>
              <a:gd name="connsiteX42088" fmla="*/ 4460684 w 8079933"/>
              <a:gd name="connsiteY42088" fmla="*/ 2049344 h 4687251"/>
              <a:gd name="connsiteX42089" fmla="*/ 4460251 w 8079933"/>
              <a:gd name="connsiteY42089" fmla="*/ 2046854 h 4687251"/>
              <a:gd name="connsiteX42090" fmla="*/ 4461444 w 8079933"/>
              <a:gd name="connsiteY42090" fmla="*/ 2044255 h 4687251"/>
              <a:gd name="connsiteX42091" fmla="*/ 4458514 w 8079933"/>
              <a:gd name="connsiteY42091" fmla="*/ 2041874 h 4687251"/>
              <a:gd name="connsiteX42092" fmla="*/ 4454825 w 8079933"/>
              <a:gd name="connsiteY42092" fmla="*/ 2040466 h 4687251"/>
              <a:gd name="connsiteX42093" fmla="*/ 4455042 w 8079933"/>
              <a:gd name="connsiteY42093" fmla="*/ 2043173 h 4687251"/>
              <a:gd name="connsiteX42094" fmla="*/ 4452437 w 8079933"/>
              <a:gd name="connsiteY42094" fmla="*/ 2046421 h 4687251"/>
              <a:gd name="connsiteX42095" fmla="*/ 4457212 w 8079933"/>
              <a:gd name="connsiteY42095" fmla="*/ 2047720 h 4687251"/>
              <a:gd name="connsiteX42096" fmla="*/ 4457321 w 8079933"/>
              <a:gd name="connsiteY42096" fmla="*/ 2050210 h 4687251"/>
              <a:gd name="connsiteX42097" fmla="*/ 4454499 w 8079933"/>
              <a:gd name="connsiteY42097" fmla="*/ 2053675 h 4687251"/>
              <a:gd name="connsiteX42098" fmla="*/ 4449399 w 8079933"/>
              <a:gd name="connsiteY42098" fmla="*/ 2054325 h 4687251"/>
              <a:gd name="connsiteX42099" fmla="*/ 4454065 w 8079933"/>
              <a:gd name="connsiteY42099" fmla="*/ 2058547 h 4687251"/>
              <a:gd name="connsiteX42100" fmla="*/ 4458840 w 8079933"/>
              <a:gd name="connsiteY42100" fmla="*/ 2059088 h 4687251"/>
              <a:gd name="connsiteX42101" fmla="*/ 4460793 w 8079933"/>
              <a:gd name="connsiteY42101" fmla="*/ 2061579 h 4687251"/>
              <a:gd name="connsiteX42102" fmla="*/ 4463831 w 8079933"/>
              <a:gd name="connsiteY42102" fmla="*/ 2061362 h 4687251"/>
              <a:gd name="connsiteX42103" fmla="*/ 4465459 w 8079933"/>
              <a:gd name="connsiteY42103" fmla="*/ 2064069 h 4687251"/>
              <a:gd name="connsiteX42104" fmla="*/ 4468932 w 8079933"/>
              <a:gd name="connsiteY42104" fmla="*/ 2064935 h 4687251"/>
              <a:gd name="connsiteX42105" fmla="*/ 4480001 w 8079933"/>
              <a:gd name="connsiteY42105" fmla="*/ 2071865 h 4687251"/>
              <a:gd name="connsiteX42106" fmla="*/ 4481628 w 8079933"/>
              <a:gd name="connsiteY42106" fmla="*/ 2074896 h 4687251"/>
              <a:gd name="connsiteX42107" fmla="*/ 4480543 w 8079933"/>
              <a:gd name="connsiteY42107" fmla="*/ 2080310 h 4687251"/>
              <a:gd name="connsiteX42108" fmla="*/ 4484449 w 8079933"/>
              <a:gd name="connsiteY42108" fmla="*/ 2086156 h 4687251"/>
              <a:gd name="connsiteX42109" fmla="*/ 4483256 w 8079933"/>
              <a:gd name="connsiteY42109" fmla="*/ 2088863 h 4687251"/>
              <a:gd name="connsiteX42110" fmla="*/ 4478698 w 8079933"/>
              <a:gd name="connsiteY42110" fmla="*/ 2088322 h 4687251"/>
              <a:gd name="connsiteX42111" fmla="*/ 4477939 w 8079933"/>
              <a:gd name="connsiteY42111" fmla="*/ 2086265 h 4687251"/>
              <a:gd name="connsiteX42112" fmla="*/ 4471428 w 8079933"/>
              <a:gd name="connsiteY42112" fmla="*/ 2081826 h 4687251"/>
              <a:gd name="connsiteX42113" fmla="*/ 4468932 w 8079933"/>
              <a:gd name="connsiteY42113" fmla="*/ 2083991 h 4687251"/>
              <a:gd name="connsiteX42114" fmla="*/ 4464808 w 8079933"/>
              <a:gd name="connsiteY42114" fmla="*/ 2083774 h 4687251"/>
              <a:gd name="connsiteX42115" fmla="*/ 4460251 w 8079933"/>
              <a:gd name="connsiteY42115" fmla="*/ 2085723 h 4687251"/>
              <a:gd name="connsiteX42116" fmla="*/ 4464917 w 8079933"/>
              <a:gd name="connsiteY42116" fmla="*/ 2089404 h 4687251"/>
              <a:gd name="connsiteX42117" fmla="*/ 4464591 w 8079933"/>
              <a:gd name="connsiteY42117" fmla="*/ 2091678 h 4687251"/>
              <a:gd name="connsiteX42118" fmla="*/ 4468606 w 8079933"/>
              <a:gd name="connsiteY42118" fmla="*/ 2094277 h 4687251"/>
              <a:gd name="connsiteX42119" fmla="*/ 4470451 w 8079933"/>
              <a:gd name="connsiteY42119" fmla="*/ 2094710 h 4687251"/>
              <a:gd name="connsiteX42120" fmla="*/ 4470885 w 8079933"/>
              <a:gd name="connsiteY42120" fmla="*/ 2096767 h 4687251"/>
              <a:gd name="connsiteX42121" fmla="*/ 4473055 w 8079933"/>
              <a:gd name="connsiteY42121" fmla="*/ 2098391 h 4687251"/>
              <a:gd name="connsiteX42122" fmla="*/ 4472947 w 8079933"/>
              <a:gd name="connsiteY42122" fmla="*/ 2100232 h 4687251"/>
              <a:gd name="connsiteX42123" fmla="*/ 4467521 w 8079933"/>
              <a:gd name="connsiteY42123" fmla="*/ 2098391 h 4687251"/>
              <a:gd name="connsiteX42124" fmla="*/ 4464808 w 8079933"/>
              <a:gd name="connsiteY42124" fmla="*/ 2101314 h 4687251"/>
              <a:gd name="connsiteX42125" fmla="*/ 4463181 w 8079933"/>
              <a:gd name="connsiteY42125" fmla="*/ 2099473 h 4687251"/>
              <a:gd name="connsiteX42126" fmla="*/ 4464808 w 8079933"/>
              <a:gd name="connsiteY42126" fmla="*/ 2097524 h 4687251"/>
              <a:gd name="connsiteX42127" fmla="*/ 4459491 w 8079933"/>
              <a:gd name="connsiteY42127" fmla="*/ 2094818 h 4687251"/>
              <a:gd name="connsiteX42128" fmla="*/ 4456670 w 8079933"/>
              <a:gd name="connsiteY42128" fmla="*/ 2095142 h 4687251"/>
              <a:gd name="connsiteX42129" fmla="*/ 4456453 w 8079933"/>
              <a:gd name="connsiteY42129" fmla="*/ 2096983 h 4687251"/>
              <a:gd name="connsiteX42130" fmla="*/ 4459383 w 8079933"/>
              <a:gd name="connsiteY42130" fmla="*/ 2101422 h 4687251"/>
              <a:gd name="connsiteX42131" fmla="*/ 4462638 w 8079933"/>
              <a:gd name="connsiteY42131" fmla="*/ 2109218 h 4687251"/>
              <a:gd name="connsiteX42132" fmla="*/ 4465134 w 8079933"/>
              <a:gd name="connsiteY42132" fmla="*/ 2113873 h 4687251"/>
              <a:gd name="connsiteX42133" fmla="*/ 4464374 w 8079933"/>
              <a:gd name="connsiteY42133" fmla="*/ 2117122 h 4687251"/>
              <a:gd name="connsiteX42134" fmla="*/ 4467304 w 8079933"/>
              <a:gd name="connsiteY42134" fmla="*/ 2121993 h 4687251"/>
              <a:gd name="connsiteX42135" fmla="*/ 4460251 w 8079933"/>
              <a:gd name="connsiteY42135" fmla="*/ 2117338 h 4687251"/>
              <a:gd name="connsiteX42136" fmla="*/ 4458406 w 8079933"/>
              <a:gd name="connsiteY42136" fmla="*/ 2113007 h 4687251"/>
              <a:gd name="connsiteX42137" fmla="*/ 4454499 w 8079933"/>
              <a:gd name="connsiteY42137" fmla="*/ 2113007 h 4687251"/>
              <a:gd name="connsiteX42138" fmla="*/ 4452112 w 8079933"/>
              <a:gd name="connsiteY42138" fmla="*/ 2118421 h 4687251"/>
              <a:gd name="connsiteX42139" fmla="*/ 4452112 w 8079933"/>
              <a:gd name="connsiteY42139" fmla="*/ 2125134 h 4687251"/>
              <a:gd name="connsiteX42140" fmla="*/ 4449399 w 8079933"/>
              <a:gd name="connsiteY42140" fmla="*/ 2121885 h 4687251"/>
              <a:gd name="connsiteX42141" fmla="*/ 4450267 w 8079933"/>
              <a:gd name="connsiteY42141" fmla="*/ 2117879 h 4687251"/>
              <a:gd name="connsiteX42142" fmla="*/ 4448856 w 8079933"/>
              <a:gd name="connsiteY42142" fmla="*/ 2114414 h 4687251"/>
              <a:gd name="connsiteX42143" fmla="*/ 4442563 w 8079933"/>
              <a:gd name="connsiteY42143" fmla="*/ 2111708 h 4687251"/>
              <a:gd name="connsiteX42144" fmla="*/ 4440934 w 8079933"/>
              <a:gd name="connsiteY42144" fmla="*/ 2106511 h 4687251"/>
              <a:gd name="connsiteX42145" fmla="*/ 4439090 w 8079933"/>
              <a:gd name="connsiteY42145" fmla="*/ 2110625 h 4687251"/>
              <a:gd name="connsiteX42146" fmla="*/ 4440175 w 8079933"/>
              <a:gd name="connsiteY42146" fmla="*/ 2113007 h 4687251"/>
              <a:gd name="connsiteX42147" fmla="*/ 4438873 w 8079933"/>
              <a:gd name="connsiteY42147" fmla="*/ 2116038 h 4687251"/>
              <a:gd name="connsiteX42148" fmla="*/ 4436052 w 8079933"/>
              <a:gd name="connsiteY42148" fmla="*/ 2112791 h 4687251"/>
              <a:gd name="connsiteX42149" fmla="*/ 4431711 w 8079933"/>
              <a:gd name="connsiteY42149" fmla="*/ 2107269 h 4687251"/>
              <a:gd name="connsiteX42150" fmla="*/ 4431277 w 8079933"/>
              <a:gd name="connsiteY42150" fmla="*/ 2102722 h 4687251"/>
              <a:gd name="connsiteX42151" fmla="*/ 4433339 w 8079933"/>
              <a:gd name="connsiteY42151" fmla="*/ 2100340 h 4687251"/>
              <a:gd name="connsiteX42152" fmla="*/ 4432796 w 8079933"/>
              <a:gd name="connsiteY42152" fmla="*/ 2096983 h 4687251"/>
              <a:gd name="connsiteX42153" fmla="*/ 4427695 w 8079933"/>
              <a:gd name="connsiteY42153" fmla="*/ 2092219 h 4687251"/>
              <a:gd name="connsiteX42154" fmla="*/ 4422487 w 8079933"/>
              <a:gd name="connsiteY42154" fmla="*/ 2089729 h 4687251"/>
              <a:gd name="connsiteX42155" fmla="*/ 4417387 w 8079933"/>
              <a:gd name="connsiteY42155" fmla="*/ 2083991 h 4687251"/>
              <a:gd name="connsiteX42156" fmla="*/ 4419014 w 8079933"/>
              <a:gd name="connsiteY42156" fmla="*/ 2079768 h 4687251"/>
              <a:gd name="connsiteX42157" fmla="*/ 4421510 w 8079933"/>
              <a:gd name="connsiteY42157" fmla="*/ 2079118 h 4687251"/>
              <a:gd name="connsiteX42158" fmla="*/ 4424982 w 8079933"/>
              <a:gd name="connsiteY42158" fmla="*/ 2074788 h 4687251"/>
              <a:gd name="connsiteX42159" fmla="*/ 4429107 w 8079933"/>
              <a:gd name="connsiteY42159" fmla="*/ 2076737 h 4687251"/>
              <a:gd name="connsiteX42160" fmla="*/ 4433121 w 8079933"/>
              <a:gd name="connsiteY42160" fmla="*/ 2074355 h 4687251"/>
              <a:gd name="connsiteX42161" fmla="*/ 4437245 w 8079933"/>
              <a:gd name="connsiteY42161" fmla="*/ 2072947 h 4687251"/>
              <a:gd name="connsiteX42162" fmla="*/ 4446686 w 8079933"/>
              <a:gd name="connsiteY42162" fmla="*/ 2079118 h 4687251"/>
              <a:gd name="connsiteX42163" fmla="*/ 4451027 w 8079933"/>
              <a:gd name="connsiteY42163" fmla="*/ 2080201 h 4687251"/>
              <a:gd name="connsiteX42164" fmla="*/ 4454282 w 8079933"/>
              <a:gd name="connsiteY42164" fmla="*/ 2082800 h 4687251"/>
              <a:gd name="connsiteX42165" fmla="*/ 4457538 w 8079933"/>
              <a:gd name="connsiteY42165" fmla="*/ 2079660 h 4687251"/>
              <a:gd name="connsiteX42166" fmla="*/ 4461119 w 8079933"/>
              <a:gd name="connsiteY42166" fmla="*/ 2077494 h 4687251"/>
              <a:gd name="connsiteX42167" fmla="*/ 4456127 w 8079933"/>
              <a:gd name="connsiteY42167" fmla="*/ 2076520 h 4687251"/>
              <a:gd name="connsiteX42168" fmla="*/ 4453523 w 8079933"/>
              <a:gd name="connsiteY42168" fmla="*/ 2074571 h 4687251"/>
              <a:gd name="connsiteX42169" fmla="*/ 4450484 w 8079933"/>
              <a:gd name="connsiteY42169" fmla="*/ 2074788 h 4687251"/>
              <a:gd name="connsiteX42170" fmla="*/ 4449724 w 8079933"/>
              <a:gd name="connsiteY42170" fmla="*/ 2071539 h 4687251"/>
              <a:gd name="connsiteX42171" fmla="*/ 4445926 w 8079933"/>
              <a:gd name="connsiteY42171" fmla="*/ 2073272 h 4687251"/>
              <a:gd name="connsiteX42172" fmla="*/ 4439633 w 8079933"/>
              <a:gd name="connsiteY42172" fmla="*/ 2069482 h 4687251"/>
              <a:gd name="connsiteX42173" fmla="*/ 4435617 w 8079933"/>
              <a:gd name="connsiteY42173" fmla="*/ 2069157 h 4687251"/>
              <a:gd name="connsiteX42174" fmla="*/ 4433339 w 8079933"/>
              <a:gd name="connsiteY42174" fmla="*/ 2072730 h 4687251"/>
              <a:gd name="connsiteX42175" fmla="*/ 4427695 w 8079933"/>
              <a:gd name="connsiteY42175" fmla="*/ 2072081 h 4687251"/>
              <a:gd name="connsiteX42176" fmla="*/ 4424114 w 8079933"/>
              <a:gd name="connsiteY42176" fmla="*/ 2067534 h 4687251"/>
              <a:gd name="connsiteX42177" fmla="*/ 4420100 w 8079933"/>
              <a:gd name="connsiteY42177" fmla="*/ 2072406 h 4687251"/>
              <a:gd name="connsiteX42178" fmla="*/ 4417061 w 8079933"/>
              <a:gd name="connsiteY42178" fmla="*/ 2071106 h 4687251"/>
              <a:gd name="connsiteX42179" fmla="*/ 4415433 w 8079933"/>
              <a:gd name="connsiteY42179" fmla="*/ 2064610 h 4687251"/>
              <a:gd name="connsiteX42180" fmla="*/ 4408705 w 8079933"/>
              <a:gd name="connsiteY42180" fmla="*/ 2055299 h 4687251"/>
              <a:gd name="connsiteX42181" fmla="*/ 4409248 w 8079933"/>
              <a:gd name="connsiteY42181" fmla="*/ 2053133 h 4687251"/>
              <a:gd name="connsiteX42182" fmla="*/ 4406861 w 8079933"/>
              <a:gd name="connsiteY42182" fmla="*/ 2052592 h 4687251"/>
              <a:gd name="connsiteX42183" fmla="*/ 4401977 w 8079933"/>
              <a:gd name="connsiteY42183" fmla="*/ 2045447 h 4687251"/>
              <a:gd name="connsiteX42184" fmla="*/ 4393296 w 8079933"/>
              <a:gd name="connsiteY42184" fmla="*/ 2038951 h 4687251"/>
              <a:gd name="connsiteX42185" fmla="*/ 4392970 w 8079933"/>
              <a:gd name="connsiteY42185" fmla="*/ 2032129 h 4687251"/>
              <a:gd name="connsiteX42186" fmla="*/ 4392429 w 8079933"/>
              <a:gd name="connsiteY42186" fmla="*/ 2031697 h 4687251"/>
              <a:gd name="connsiteX42187" fmla="*/ 4392428 w 8079933"/>
              <a:gd name="connsiteY42187" fmla="*/ 2031698 h 4687251"/>
              <a:gd name="connsiteX42188" fmla="*/ 4388196 w 8079933"/>
              <a:gd name="connsiteY42188" fmla="*/ 2028882 h 4687251"/>
              <a:gd name="connsiteX42189" fmla="*/ 4383855 w 8079933"/>
              <a:gd name="connsiteY42189" fmla="*/ 2017622 h 4687251"/>
              <a:gd name="connsiteX42190" fmla="*/ 4375174 w 8079933"/>
              <a:gd name="connsiteY42190" fmla="*/ 2017298 h 4687251"/>
              <a:gd name="connsiteX42191" fmla="*/ 4372678 w 8079933"/>
              <a:gd name="connsiteY42191" fmla="*/ 2014374 h 4687251"/>
              <a:gd name="connsiteX42192" fmla="*/ 4374414 w 8079933"/>
              <a:gd name="connsiteY42192" fmla="*/ 2008961 h 4687251"/>
              <a:gd name="connsiteX42193" fmla="*/ 4371919 w 8079933"/>
              <a:gd name="connsiteY42193" fmla="*/ 2004629 h 4687251"/>
              <a:gd name="connsiteX42194" fmla="*/ 4371919 w 8079933"/>
              <a:gd name="connsiteY42194" fmla="*/ 1998891 h 4687251"/>
              <a:gd name="connsiteX42195" fmla="*/ 4374089 w 8079933"/>
              <a:gd name="connsiteY42195" fmla="*/ 1993803 h 4687251"/>
              <a:gd name="connsiteX42196" fmla="*/ 4371159 w 8079933"/>
              <a:gd name="connsiteY42196" fmla="*/ 1986224 h 4687251"/>
              <a:gd name="connsiteX42197" fmla="*/ 4373329 w 8079933"/>
              <a:gd name="connsiteY42197" fmla="*/ 1975721 h 4687251"/>
              <a:gd name="connsiteX42198" fmla="*/ 4375500 w 8079933"/>
              <a:gd name="connsiteY42198" fmla="*/ 1974639 h 4687251"/>
              <a:gd name="connsiteX42199" fmla="*/ 4376259 w 8079933"/>
              <a:gd name="connsiteY42199" fmla="*/ 1970958 h 4687251"/>
              <a:gd name="connsiteX42200" fmla="*/ 4369206 w 8079933"/>
              <a:gd name="connsiteY42200" fmla="*/ 1967493 h 4687251"/>
              <a:gd name="connsiteX42201" fmla="*/ 4363997 w 8079933"/>
              <a:gd name="connsiteY42201" fmla="*/ 1964895 h 4687251"/>
              <a:gd name="connsiteX42202" fmla="*/ 4363237 w 8079933"/>
              <a:gd name="connsiteY42202" fmla="*/ 1961213 h 4687251"/>
              <a:gd name="connsiteX42203" fmla="*/ 4354231 w 8079933"/>
              <a:gd name="connsiteY42203" fmla="*/ 1950062 h 4687251"/>
              <a:gd name="connsiteX42204" fmla="*/ 4349564 w 8079933"/>
              <a:gd name="connsiteY42204" fmla="*/ 1948113 h 4687251"/>
              <a:gd name="connsiteX42205" fmla="*/ 4347937 w 8079933"/>
              <a:gd name="connsiteY42205" fmla="*/ 1945947 h 4687251"/>
              <a:gd name="connsiteX42206" fmla="*/ 4350215 w 8079933"/>
              <a:gd name="connsiteY42206" fmla="*/ 1944648 h 4687251"/>
              <a:gd name="connsiteX42207" fmla="*/ 4353037 w 8079933"/>
              <a:gd name="connsiteY42207" fmla="*/ 1939559 h 4687251"/>
              <a:gd name="connsiteX42208" fmla="*/ 4353145 w 8079933"/>
              <a:gd name="connsiteY42208" fmla="*/ 1933171 h 4687251"/>
              <a:gd name="connsiteX42209" fmla="*/ 4355099 w 8079933"/>
              <a:gd name="connsiteY42209" fmla="*/ 1928299 h 4687251"/>
              <a:gd name="connsiteX42210" fmla="*/ 4358463 w 8079933"/>
              <a:gd name="connsiteY42210" fmla="*/ 1927974 h 4687251"/>
              <a:gd name="connsiteX42211" fmla="*/ 4362153 w 8079933"/>
              <a:gd name="connsiteY42211" fmla="*/ 1926134 h 4687251"/>
              <a:gd name="connsiteX42212" fmla="*/ 4360524 w 8079933"/>
              <a:gd name="connsiteY42212" fmla="*/ 1922669 h 4687251"/>
              <a:gd name="connsiteX42213" fmla="*/ 4362152 w 8079933"/>
              <a:gd name="connsiteY42213" fmla="*/ 1926133 h 4687251"/>
              <a:gd name="connsiteX42214" fmla="*/ 4358462 w 8079933"/>
              <a:gd name="connsiteY42214" fmla="*/ 1927973 h 4687251"/>
              <a:gd name="connsiteX42215" fmla="*/ 4355098 w 8079933"/>
              <a:gd name="connsiteY42215" fmla="*/ 1928298 h 4687251"/>
              <a:gd name="connsiteX42216" fmla="*/ 4353145 w 8079933"/>
              <a:gd name="connsiteY42216" fmla="*/ 1933171 h 4687251"/>
              <a:gd name="connsiteX42217" fmla="*/ 4353037 w 8079933"/>
              <a:gd name="connsiteY42217" fmla="*/ 1939559 h 4687251"/>
              <a:gd name="connsiteX42218" fmla="*/ 4350215 w 8079933"/>
              <a:gd name="connsiteY42218" fmla="*/ 1944647 h 4687251"/>
              <a:gd name="connsiteX42219" fmla="*/ 4347936 w 8079933"/>
              <a:gd name="connsiteY42219" fmla="*/ 1945947 h 4687251"/>
              <a:gd name="connsiteX42220" fmla="*/ 4342836 w 8079933"/>
              <a:gd name="connsiteY42220" fmla="*/ 1939017 h 4687251"/>
              <a:gd name="connsiteX42221" fmla="*/ 4340339 w 8079933"/>
              <a:gd name="connsiteY42221" fmla="*/ 1940316 h 4687251"/>
              <a:gd name="connsiteX42222" fmla="*/ 4331333 w 8079933"/>
              <a:gd name="connsiteY42222" fmla="*/ 1938800 h 4687251"/>
              <a:gd name="connsiteX42223" fmla="*/ 4328403 w 8079933"/>
              <a:gd name="connsiteY42223" fmla="*/ 1938151 h 4687251"/>
              <a:gd name="connsiteX42224" fmla="*/ 4328294 w 8079933"/>
              <a:gd name="connsiteY42224" fmla="*/ 1938151 h 4687251"/>
              <a:gd name="connsiteX42225" fmla="*/ 4328294 w 8079933"/>
              <a:gd name="connsiteY42225" fmla="*/ 1938151 h 4687251"/>
              <a:gd name="connsiteX42226" fmla="*/ 4328294 w 8079933"/>
              <a:gd name="connsiteY42226" fmla="*/ 1938151 h 4687251"/>
              <a:gd name="connsiteX42227" fmla="*/ 4328303 w 8079933"/>
              <a:gd name="connsiteY42227" fmla="*/ 1938129 h 4687251"/>
              <a:gd name="connsiteX42228" fmla="*/ 4328303 w 8079933"/>
              <a:gd name="connsiteY42228" fmla="*/ 1938129 h 4687251"/>
              <a:gd name="connsiteX42229" fmla="*/ 4329437 w 8079933"/>
              <a:gd name="connsiteY42229" fmla="*/ 1935442 h 4687251"/>
              <a:gd name="connsiteX42230" fmla="*/ 4328303 w 8079933"/>
              <a:gd name="connsiteY42230" fmla="*/ 1938129 h 4687251"/>
              <a:gd name="connsiteX42231" fmla="*/ 4323411 w 8079933"/>
              <a:gd name="connsiteY42231" fmla="*/ 1937068 h 4687251"/>
              <a:gd name="connsiteX42232" fmla="*/ 4320481 w 8079933"/>
              <a:gd name="connsiteY42232" fmla="*/ 1933387 h 4687251"/>
              <a:gd name="connsiteX42233" fmla="*/ 4325907 w 8079933"/>
              <a:gd name="connsiteY42233" fmla="*/ 1936310 h 4687251"/>
              <a:gd name="connsiteX42234" fmla="*/ 4329163 w 8079933"/>
              <a:gd name="connsiteY42234" fmla="*/ 1935985 h 4687251"/>
              <a:gd name="connsiteX42235" fmla="*/ 4317551 w 8079933"/>
              <a:gd name="connsiteY42235" fmla="*/ 1924075 h 4687251"/>
              <a:gd name="connsiteX42236" fmla="*/ 4311799 w 8079933"/>
              <a:gd name="connsiteY42236" fmla="*/ 1921152 h 4687251"/>
              <a:gd name="connsiteX42237" fmla="*/ 4301274 w 8079933"/>
              <a:gd name="connsiteY42237" fmla="*/ 1920286 h 4687251"/>
              <a:gd name="connsiteX42238" fmla="*/ 4295848 w 8079933"/>
              <a:gd name="connsiteY42238" fmla="*/ 1921369 h 4687251"/>
              <a:gd name="connsiteX42239" fmla="*/ 4293352 w 8079933"/>
              <a:gd name="connsiteY42239" fmla="*/ 1918445 h 4687251"/>
              <a:gd name="connsiteX42240" fmla="*/ 4291507 w 8079933"/>
              <a:gd name="connsiteY42240" fmla="*/ 1914331 h 4687251"/>
              <a:gd name="connsiteX42241" fmla="*/ 4286298 w 8079933"/>
              <a:gd name="connsiteY42241" fmla="*/ 1912490 h 4687251"/>
              <a:gd name="connsiteX42242" fmla="*/ 4280981 w 8079933"/>
              <a:gd name="connsiteY42242" fmla="*/ 1907510 h 4687251"/>
              <a:gd name="connsiteX42243" fmla="*/ 4275772 w 8079933"/>
              <a:gd name="connsiteY42243" fmla="*/ 1907510 h 4687251"/>
              <a:gd name="connsiteX42244" fmla="*/ 4273602 w 8079933"/>
              <a:gd name="connsiteY42244" fmla="*/ 1903287 h 4687251"/>
              <a:gd name="connsiteX42245" fmla="*/ 4275446 w 8079933"/>
              <a:gd name="connsiteY42245" fmla="*/ 1899390 h 4687251"/>
              <a:gd name="connsiteX42246" fmla="*/ 4279570 w 8079933"/>
              <a:gd name="connsiteY42246" fmla="*/ 1898848 h 4687251"/>
              <a:gd name="connsiteX42247" fmla="*/ 4283151 w 8079933"/>
              <a:gd name="connsiteY42247" fmla="*/ 1900039 h 4687251"/>
              <a:gd name="connsiteX42248" fmla="*/ 4279028 w 8079933"/>
              <a:gd name="connsiteY42248" fmla="*/ 1895600 h 4687251"/>
              <a:gd name="connsiteX42249" fmla="*/ 4277183 w 8079933"/>
              <a:gd name="connsiteY42249" fmla="*/ 1895167 h 4687251"/>
              <a:gd name="connsiteX42250" fmla="*/ 4270021 w 8079933"/>
              <a:gd name="connsiteY42250" fmla="*/ 1888562 h 4687251"/>
              <a:gd name="connsiteX42251" fmla="*/ 4266549 w 8079933"/>
              <a:gd name="connsiteY42251" fmla="*/ 1881850 h 4687251"/>
              <a:gd name="connsiteX42252" fmla="*/ 4265137 w 8079933"/>
              <a:gd name="connsiteY42252" fmla="*/ 1874813 h 4687251"/>
              <a:gd name="connsiteX42253" fmla="*/ 4260471 w 8079933"/>
              <a:gd name="connsiteY42253" fmla="*/ 1871023 h 4687251"/>
              <a:gd name="connsiteX42254" fmla="*/ 4259169 w 8079933"/>
              <a:gd name="connsiteY42254" fmla="*/ 1866368 h 4687251"/>
              <a:gd name="connsiteX42255" fmla="*/ 4253310 w 8079933"/>
              <a:gd name="connsiteY42255" fmla="*/ 1866475 h 4687251"/>
              <a:gd name="connsiteX42256" fmla="*/ 4249728 w 8079933"/>
              <a:gd name="connsiteY42256" fmla="*/ 1870698 h 4687251"/>
              <a:gd name="connsiteX42257" fmla="*/ 4248860 w 8079933"/>
              <a:gd name="connsiteY42257" fmla="*/ 1875678 h 4687251"/>
              <a:gd name="connsiteX42258" fmla="*/ 4243000 w 8079933"/>
              <a:gd name="connsiteY42258" fmla="*/ 1885098 h 4687251"/>
              <a:gd name="connsiteX42259" fmla="*/ 4240830 w 8079933"/>
              <a:gd name="connsiteY42259" fmla="*/ 1883258 h 4687251"/>
              <a:gd name="connsiteX42260" fmla="*/ 4241372 w 8079933"/>
              <a:gd name="connsiteY42260" fmla="*/ 1881525 h 4687251"/>
              <a:gd name="connsiteX42261" fmla="*/ 4236055 w 8079933"/>
              <a:gd name="connsiteY42261" fmla="*/ 1876436 h 4687251"/>
              <a:gd name="connsiteX42262" fmla="*/ 4234536 w 8079933"/>
              <a:gd name="connsiteY42262" fmla="*/ 1867017 h 4687251"/>
              <a:gd name="connsiteX42263" fmla="*/ 4234536 w 8079933"/>
              <a:gd name="connsiteY42263" fmla="*/ 1866477 h 4687251"/>
              <a:gd name="connsiteX42264" fmla="*/ 4234536 w 8079933"/>
              <a:gd name="connsiteY42264" fmla="*/ 1866475 h 4687251"/>
              <a:gd name="connsiteX42265" fmla="*/ 4234753 w 8079933"/>
              <a:gd name="connsiteY42265" fmla="*/ 1862146 h 4687251"/>
              <a:gd name="connsiteX42266" fmla="*/ 4238768 w 8079933"/>
              <a:gd name="connsiteY42266" fmla="*/ 1861063 h 4687251"/>
              <a:gd name="connsiteX42267" fmla="*/ 4238877 w 8079933"/>
              <a:gd name="connsiteY42267" fmla="*/ 1857814 h 4687251"/>
              <a:gd name="connsiteX42268" fmla="*/ 4234210 w 8079933"/>
              <a:gd name="connsiteY42268" fmla="*/ 1855649 h 4687251"/>
              <a:gd name="connsiteX42269" fmla="*/ 4233776 w 8079933"/>
              <a:gd name="connsiteY42269" fmla="*/ 1855541 h 4687251"/>
              <a:gd name="connsiteX42270" fmla="*/ 4232583 w 8079933"/>
              <a:gd name="connsiteY42270" fmla="*/ 1847421 h 4687251"/>
              <a:gd name="connsiteX42271" fmla="*/ 4232582 w 8079933"/>
              <a:gd name="connsiteY42271" fmla="*/ 1847421 h 4687251"/>
              <a:gd name="connsiteX42272" fmla="*/ 4233776 w 8079933"/>
              <a:gd name="connsiteY42272" fmla="*/ 1855542 h 4687251"/>
              <a:gd name="connsiteX42273" fmla="*/ 4228351 w 8079933"/>
              <a:gd name="connsiteY42273" fmla="*/ 1854242 h 4687251"/>
              <a:gd name="connsiteX42274" fmla="*/ 4225095 w 8079933"/>
              <a:gd name="connsiteY42274" fmla="*/ 1855866 h 4687251"/>
              <a:gd name="connsiteX42275" fmla="*/ 4221731 w 8079933"/>
              <a:gd name="connsiteY42275" fmla="*/ 1859331 h 4687251"/>
              <a:gd name="connsiteX42276" fmla="*/ 4216413 w 8079933"/>
              <a:gd name="connsiteY42276" fmla="*/ 1859331 h 4687251"/>
              <a:gd name="connsiteX42277" fmla="*/ 4211531 w 8079933"/>
              <a:gd name="connsiteY42277" fmla="*/ 1863662 h 4687251"/>
              <a:gd name="connsiteX42278" fmla="*/ 4206321 w 8079933"/>
              <a:gd name="connsiteY42278" fmla="*/ 1864311 h 4687251"/>
              <a:gd name="connsiteX42279" fmla="*/ 4204477 w 8079933"/>
              <a:gd name="connsiteY42279" fmla="*/ 1867993 h 4687251"/>
              <a:gd name="connsiteX42280" fmla="*/ 4207081 w 8079933"/>
              <a:gd name="connsiteY42280" fmla="*/ 1872973 h 4687251"/>
              <a:gd name="connsiteX42281" fmla="*/ 4210337 w 8079933"/>
              <a:gd name="connsiteY42281" fmla="*/ 1877196 h 4687251"/>
              <a:gd name="connsiteX42282" fmla="*/ 4206647 w 8079933"/>
              <a:gd name="connsiteY42282" fmla="*/ 1882609 h 4687251"/>
              <a:gd name="connsiteX42283" fmla="*/ 4204477 w 8079933"/>
              <a:gd name="connsiteY42283" fmla="*/ 1884342 h 4687251"/>
              <a:gd name="connsiteX42284" fmla="*/ 4207190 w 8079933"/>
              <a:gd name="connsiteY42284" fmla="*/ 1890297 h 4687251"/>
              <a:gd name="connsiteX42285" fmla="*/ 4207949 w 8079933"/>
              <a:gd name="connsiteY42285" fmla="*/ 1897226 h 4687251"/>
              <a:gd name="connsiteX42286" fmla="*/ 4210445 w 8079933"/>
              <a:gd name="connsiteY42286" fmla="*/ 1900799 h 4687251"/>
              <a:gd name="connsiteX42287" fmla="*/ 4220971 w 8079933"/>
              <a:gd name="connsiteY42287" fmla="*/ 1906429 h 4687251"/>
              <a:gd name="connsiteX42288" fmla="*/ 4226723 w 8079933"/>
              <a:gd name="connsiteY42288" fmla="*/ 1909460 h 4687251"/>
              <a:gd name="connsiteX42289" fmla="*/ 4229652 w 8079933"/>
              <a:gd name="connsiteY42289" fmla="*/ 1913466 h 4687251"/>
              <a:gd name="connsiteX42290" fmla="*/ 4245171 w 8079933"/>
              <a:gd name="connsiteY42290" fmla="*/ 1929166 h 4687251"/>
              <a:gd name="connsiteX42291" fmla="*/ 4245604 w 8079933"/>
              <a:gd name="connsiteY42291" fmla="*/ 1933280 h 4687251"/>
              <a:gd name="connsiteX42292" fmla="*/ 4247558 w 8079933"/>
              <a:gd name="connsiteY42292" fmla="*/ 1934363 h 4687251"/>
              <a:gd name="connsiteX42293" fmla="*/ 4247775 w 8079933"/>
              <a:gd name="connsiteY42293" fmla="*/ 1939235 h 4687251"/>
              <a:gd name="connsiteX42294" fmla="*/ 4251030 w 8079933"/>
              <a:gd name="connsiteY42294" fmla="*/ 1943890 h 4687251"/>
              <a:gd name="connsiteX42295" fmla="*/ 4255371 w 8079933"/>
              <a:gd name="connsiteY42295" fmla="*/ 1948329 h 4687251"/>
              <a:gd name="connsiteX42296" fmla="*/ 4258735 w 8079933"/>
              <a:gd name="connsiteY42296" fmla="*/ 1953635 h 4687251"/>
              <a:gd name="connsiteX42297" fmla="*/ 4265789 w 8079933"/>
              <a:gd name="connsiteY42297" fmla="*/ 1959049 h 4687251"/>
              <a:gd name="connsiteX42298" fmla="*/ 4269153 w 8079933"/>
              <a:gd name="connsiteY42298" fmla="*/ 1962513 h 4687251"/>
              <a:gd name="connsiteX42299" fmla="*/ 4273602 w 8079933"/>
              <a:gd name="connsiteY42299" fmla="*/ 1963379 h 4687251"/>
              <a:gd name="connsiteX42300" fmla="*/ 4276640 w 8079933"/>
              <a:gd name="connsiteY42300" fmla="*/ 1965220 h 4687251"/>
              <a:gd name="connsiteX42301" fmla="*/ 4285756 w 8079933"/>
              <a:gd name="connsiteY42301" fmla="*/ 1965220 h 4687251"/>
              <a:gd name="connsiteX42302" fmla="*/ 4289554 w 8079933"/>
              <a:gd name="connsiteY42302" fmla="*/ 1966302 h 4687251"/>
              <a:gd name="connsiteX42303" fmla="*/ 4295305 w 8079933"/>
              <a:gd name="connsiteY42303" fmla="*/ 1965437 h 4687251"/>
              <a:gd name="connsiteX42304" fmla="*/ 4299429 w 8079933"/>
              <a:gd name="connsiteY42304" fmla="*/ 1967602 h 4687251"/>
              <a:gd name="connsiteX42305" fmla="*/ 4298560 w 8079933"/>
              <a:gd name="connsiteY42305" fmla="*/ 1970850 h 4687251"/>
              <a:gd name="connsiteX42306" fmla="*/ 4292592 w 8079933"/>
              <a:gd name="connsiteY42306" fmla="*/ 1974965 h 4687251"/>
              <a:gd name="connsiteX42307" fmla="*/ 4292375 w 8079933"/>
              <a:gd name="connsiteY42307" fmla="*/ 1977130 h 4687251"/>
              <a:gd name="connsiteX42308" fmla="*/ 4294762 w 8079933"/>
              <a:gd name="connsiteY42308" fmla="*/ 1980920 h 4687251"/>
              <a:gd name="connsiteX42309" fmla="*/ 4299646 w 8079933"/>
              <a:gd name="connsiteY42309" fmla="*/ 1980920 h 4687251"/>
              <a:gd name="connsiteX42310" fmla="*/ 4308652 w 8079933"/>
              <a:gd name="connsiteY42310" fmla="*/ 1983085 h 4687251"/>
              <a:gd name="connsiteX42311" fmla="*/ 4327534 w 8079933"/>
              <a:gd name="connsiteY42311" fmla="*/ 1993153 h 4687251"/>
              <a:gd name="connsiteX42312" fmla="*/ 4334805 w 8079933"/>
              <a:gd name="connsiteY42312" fmla="*/ 1998675 h 4687251"/>
              <a:gd name="connsiteX42313" fmla="*/ 4339580 w 8079933"/>
              <a:gd name="connsiteY42313" fmla="*/ 2003656 h 4687251"/>
              <a:gd name="connsiteX42314" fmla="*/ 4347393 w 8079933"/>
              <a:gd name="connsiteY42314" fmla="*/ 2005605 h 4687251"/>
              <a:gd name="connsiteX42315" fmla="*/ 4351408 w 8079933"/>
              <a:gd name="connsiteY42315" fmla="*/ 2008420 h 4687251"/>
              <a:gd name="connsiteX42316" fmla="*/ 4353144 w 8079933"/>
              <a:gd name="connsiteY42316" fmla="*/ 2011559 h 4687251"/>
              <a:gd name="connsiteX42317" fmla="*/ 4352493 w 8079933"/>
              <a:gd name="connsiteY42317" fmla="*/ 2017732 h 4687251"/>
              <a:gd name="connsiteX42318" fmla="*/ 4350432 w 8079933"/>
              <a:gd name="connsiteY42318" fmla="*/ 2020655 h 4687251"/>
              <a:gd name="connsiteX42319" fmla="*/ 4350974 w 8079933"/>
              <a:gd name="connsiteY42319" fmla="*/ 2024552 h 4687251"/>
              <a:gd name="connsiteX42320" fmla="*/ 4349672 w 8079933"/>
              <a:gd name="connsiteY42320" fmla="*/ 2025526 h 4687251"/>
              <a:gd name="connsiteX42321" fmla="*/ 4349564 w 8079933"/>
              <a:gd name="connsiteY42321" fmla="*/ 2026934 h 4687251"/>
              <a:gd name="connsiteX42322" fmla="*/ 4345331 w 8079933"/>
              <a:gd name="connsiteY42322" fmla="*/ 2025202 h 4687251"/>
              <a:gd name="connsiteX42323" fmla="*/ 4341967 w 8079933"/>
              <a:gd name="connsiteY42323" fmla="*/ 2020979 h 4687251"/>
              <a:gd name="connsiteX42324" fmla="*/ 4340014 w 8079933"/>
              <a:gd name="connsiteY42324" fmla="*/ 2016648 h 4687251"/>
              <a:gd name="connsiteX42325" fmla="*/ 4340556 w 8079933"/>
              <a:gd name="connsiteY42325" fmla="*/ 2013075 h 4687251"/>
              <a:gd name="connsiteX42326" fmla="*/ 4337952 w 8079933"/>
              <a:gd name="connsiteY42326" fmla="*/ 2011559 h 4687251"/>
              <a:gd name="connsiteX42327" fmla="*/ 4330573 w 8079933"/>
              <a:gd name="connsiteY42327" fmla="*/ 2011451 h 4687251"/>
              <a:gd name="connsiteX42328" fmla="*/ 4329162 w 8079933"/>
              <a:gd name="connsiteY42328" fmla="*/ 2009286 h 4687251"/>
              <a:gd name="connsiteX42329" fmla="*/ 4324279 w 8079933"/>
              <a:gd name="connsiteY42329" fmla="*/ 2006904 h 4687251"/>
              <a:gd name="connsiteX42330" fmla="*/ 4321023 w 8079933"/>
              <a:gd name="connsiteY42330" fmla="*/ 2007337 h 4687251"/>
              <a:gd name="connsiteX42331" fmla="*/ 4318853 w 8079933"/>
              <a:gd name="connsiteY42331" fmla="*/ 2008745 h 4687251"/>
              <a:gd name="connsiteX42332" fmla="*/ 4317225 w 8079933"/>
              <a:gd name="connsiteY42332" fmla="*/ 2014483 h 4687251"/>
              <a:gd name="connsiteX42333" fmla="*/ 4314512 w 8079933"/>
              <a:gd name="connsiteY42333" fmla="*/ 2017406 h 4687251"/>
              <a:gd name="connsiteX42334" fmla="*/ 4314730 w 8079933"/>
              <a:gd name="connsiteY42334" fmla="*/ 2020438 h 4687251"/>
              <a:gd name="connsiteX42335" fmla="*/ 4313970 w 8079933"/>
              <a:gd name="connsiteY42335" fmla="*/ 2024011 h 4687251"/>
              <a:gd name="connsiteX42336" fmla="*/ 4310497 w 8079933"/>
              <a:gd name="connsiteY42336" fmla="*/ 2026393 h 4687251"/>
              <a:gd name="connsiteX42337" fmla="*/ 4310497 w 8079933"/>
              <a:gd name="connsiteY42337" fmla="*/ 2029966 h 4687251"/>
              <a:gd name="connsiteX42338" fmla="*/ 4312125 w 8079933"/>
              <a:gd name="connsiteY42338" fmla="*/ 2032348 h 4687251"/>
              <a:gd name="connsiteX42339" fmla="*/ 4315923 w 8079933"/>
              <a:gd name="connsiteY42339" fmla="*/ 2032889 h 4687251"/>
              <a:gd name="connsiteX42340" fmla="*/ 4322651 w 8079933"/>
              <a:gd name="connsiteY42340" fmla="*/ 2039169 h 4687251"/>
              <a:gd name="connsiteX42341" fmla="*/ 4323953 w 8079933"/>
              <a:gd name="connsiteY42341" fmla="*/ 2041875 h 4687251"/>
              <a:gd name="connsiteX42342" fmla="*/ 4323194 w 8079933"/>
              <a:gd name="connsiteY42342" fmla="*/ 2048047 h 4687251"/>
              <a:gd name="connsiteX42343" fmla="*/ 4324388 w 8079933"/>
              <a:gd name="connsiteY42343" fmla="*/ 2050213 h 4687251"/>
              <a:gd name="connsiteX42344" fmla="*/ 4322760 w 8079933"/>
              <a:gd name="connsiteY42344" fmla="*/ 2053677 h 4687251"/>
              <a:gd name="connsiteX42345" fmla="*/ 4318636 w 8079933"/>
              <a:gd name="connsiteY42345" fmla="*/ 2054760 h 4687251"/>
              <a:gd name="connsiteX42346" fmla="*/ 4314730 w 8079933"/>
              <a:gd name="connsiteY42346" fmla="*/ 2058874 h 4687251"/>
              <a:gd name="connsiteX42347" fmla="*/ 4314078 w 8079933"/>
              <a:gd name="connsiteY42347" fmla="*/ 2069918 h 4687251"/>
              <a:gd name="connsiteX42348" fmla="*/ 4307568 w 8079933"/>
              <a:gd name="connsiteY42348" fmla="*/ 2075115 h 4687251"/>
              <a:gd name="connsiteX42349" fmla="*/ 4306699 w 8079933"/>
              <a:gd name="connsiteY42349" fmla="*/ 2080203 h 4687251"/>
              <a:gd name="connsiteX42350" fmla="*/ 4303227 w 8079933"/>
              <a:gd name="connsiteY42350" fmla="*/ 2084859 h 4687251"/>
              <a:gd name="connsiteX42351" fmla="*/ 4296390 w 8079933"/>
              <a:gd name="connsiteY42351" fmla="*/ 2085401 h 4687251"/>
              <a:gd name="connsiteX42352" fmla="*/ 4291182 w 8079933"/>
              <a:gd name="connsiteY42352" fmla="*/ 2080203 h 4687251"/>
              <a:gd name="connsiteX42353" fmla="*/ 4290964 w 8079933"/>
              <a:gd name="connsiteY42353" fmla="*/ 2076522 h 4687251"/>
              <a:gd name="connsiteX42354" fmla="*/ 4292158 w 8079933"/>
              <a:gd name="connsiteY42354" fmla="*/ 2074681 h 4687251"/>
              <a:gd name="connsiteX42355" fmla="*/ 4294980 w 8079933"/>
              <a:gd name="connsiteY42355" fmla="*/ 2073166 h 4687251"/>
              <a:gd name="connsiteX42356" fmla="*/ 4297801 w 8079933"/>
              <a:gd name="connsiteY42356" fmla="*/ 2069918 h 4687251"/>
              <a:gd name="connsiteX42357" fmla="*/ 4298452 w 8079933"/>
              <a:gd name="connsiteY42357" fmla="*/ 2065370 h 4687251"/>
              <a:gd name="connsiteX42358" fmla="*/ 4297801 w 8079933"/>
              <a:gd name="connsiteY42358" fmla="*/ 2060607 h 4687251"/>
              <a:gd name="connsiteX42359" fmla="*/ 4299211 w 8079933"/>
              <a:gd name="connsiteY42359" fmla="*/ 2059848 h 4687251"/>
              <a:gd name="connsiteX42360" fmla="*/ 4301165 w 8079933"/>
              <a:gd name="connsiteY42360" fmla="*/ 2059740 h 4687251"/>
              <a:gd name="connsiteX42361" fmla="*/ 4303661 w 8079933"/>
              <a:gd name="connsiteY42361" fmla="*/ 2056709 h 4687251"/>
              <a:gd name="connsiteX42362" fmla="*/ 4303770 w 8079933"/>
              <a:gd name="connsiteY42362" fmla="*/ 2052378 h 4687251"/>
              <a:gd name="connsiteX42363" fmla="*/ 4301165 w 8079933"/>
              <a:gd name="connsiteY42363" fmla="*/ 2048372 h 4687251"/>
              <a:gd name="connsiteX42364" fmla="*/ 4299103 w 8079933"/>
              <a:gd name="connsiteY42364" fmla="*/ 2039927 h 4687251"/>
              <a:gd name="connsiteX42365" fmla="*/ 4296607 w 8079933"/>
              <a:gd name="connsiteY42365" fmla="*/ 2036679 h 4687251"/>
              <a:gd name="connsiteX42366" fmla="*/ 4295522 w 8079933"/>
              <a:gd name="connsiteY42366" fmla="*/ 2029424 h 4687251"/>
              <a:gd name="connsiteX42367" fmla="*/ 4293352 w 8079933"/>
              <a:gd name="connsiteY42367" fmla="*/ 2021846 h 4687251"/>
              <a:gd name="connsiteX42368" fmla="*/ 4289879 w 8079933"/>
              <a:gd name="connsiteY42368" fmla="*/ 2019680 h 4687251"/>
              <a:gd name="connsiteX42369" fmla="*/ 4287166 w 8079933"/>
              <a:gd name="connsiteY42369" fmla="*/ 2021304 h 4687251"/>
              <a:gd name="connsiteX42370" fmla="*/ 4280981 w 8079933"/>
              <a:gd name="connsiteY42370" fmla="*/ 2019897 h 4687251"/>
              <a:gd name="connsiteX42371" fmla="*/ 4279028 w 8079933"/>
              <a:gd name="connsiteY42371" fmla="*/ 2015891 h 4687251"/>
              <a:gd name="connsiteX42372" fmla="*/ 4274144 w 8079933"/>
              <a:gd name="connsiteY42372" fmla="*/ 2015566 h 4687251"/>
              <a:gd name="connsiteX42373" fmla="*/ 4271757 w 8079933"/>
              <a:gd name="connsiteY42373" fmla="*/ 2013184 h 4687251"/>
              <a:gd name="connsiteX42374" fmla="*/ 4272842 w 8079933"/>
              <a:gd name="connsiteY42374" fmla="*/ 2011235 h 4687251"/>
              <a:gd name="connsiteX42375" fmla="*/ 4273385 w 8079933"/>
              <a:gd name="connsiteY42375" fmla="*/ 2006579 h 4687251"/>
              <a:gd name="connsiteX42376" fmla="*/ 4270346 w 8079933"/>
              <a:gd name="connsiteY42376" fmla="*/ 2002573 h 4687251"/>
              <a:gd name="connsiteX42377" fmla="*/ 4266006 w 8079933"/>
              <a:gd name="connsiteY42377" fmla="*/ 2002249 h 4687251"/>
              <a:gd name="connsiteX42378" fmla="*/ 4261882 w 8079933"/>
              <a:gd name="connsiteY42378" fmla="*/ 2002357 h 4687251"/>
              <a:gd name="connsiteX42379" fmla="*/ 4262208 w 8079933"/>
              <a:gd name="connsiteY42379" fmla="*/ 1999108 h 4687251"/>
              <a:gd name="connsiteX42380" fmla="*/ 4258192 w 8079933"/>
              <a:gd name="connsiteY42380" fmla="*/ 1997701 h 4687251"/>
              <a:gd name="connsiteX42381" fmla="*/ 4255480 w 8079933"/>
              <a:gd name="connsiteY42381" fmla="*/ 1998784 h 4687251"/>
              <a:gd name="connsiteX42382" fmla="*/ 4252441 w 8079933"/>
              <a:gd name="connsiteY42382" fmla="*/ 1996835 h 4687251"/>
              <a:gd name="connsiteX42383" fmla="*/ 4247341 w 8079933"/>
              <a:gd name="connsiteY42383" fmla="*/ 1987416 h 4687251"/>
              <a:gd name="connsiteX42384" fmla="*/ 4242675 w 8079933"/>
              <a:gd name="connsiteY42384" fmla="*/ 1987090 h 4687251"/>
              <a:gd name="connsiteX42385" fmla="*/ 4237791 w 8079933"/>
              <a:gd name="connsiteY42385" fmla="*/ 1985033 h 4687251"/>
              <a:gd name="connsiteX42386" fmla="*/ 4234753 w 8079933"/>
              <a:gd name="connsiteY42386" fmla="*/ 1987957 h 4687251"/>
              <a:gd name="connsiteX42387" fmla="*/ 4230412 w 8079933"/>
              <a:gd name="connsiteY42387" fmla="*/ 1987957 h 4687251"/>
              <a:gd name="connsiteX42388" fmla="*/ 4229436 w 8079933"/>
              <a:gd name="connsiteY42388" fmla="*/ 1983951 h 4687251"/>
              <a:gd name="connsiteX42389" fmla="*/ 4225529 w 8079933"/>
              <a:gd name="connsiteY42389" fmla="*/ 1981244 h 4687251"/>
              <a:gd name="connsiteX42390" fmla="*/ 4220971 w 8079933"/>
              <a:gd name="connsiteY42390" fmla="*/ 1980594 h 4687251"/>
              <a:gd name="connsiteX42391" fmla="*/ 4211531 w 8079933"/>
              <a:gd name="connsiteY42391" fmla="*/ 1973557 h 4687251"/>
              <a:gd name="connsiteX42392" fmla="*/ 4201764 w 8079933"/>
              <a:gd name="connsiteY42392" fmla="*/ 1961106 h 4687251"/>
              <a:gd name="connsiteX42393" fmla="*/ 4198725 w 8079933"/>
              <a:gd name="connsiteY42393" fmla="*/ 1960023 h 4687251"/>
              <a:gd name="connsiteX42394" fmla="*/ 4197857 w 8079933"/>
              <a:gd name="connsiteY42394" fmla="*/ 1956233 h 4687251"/>
              <a:gd name="connsiteX42395" fmla="*/ 4193517 w 8079933"/>
              <a:gd name="connsiteY42395" fmla="*/ 1950386 h 4687251"/>
              <a:gd name="connsiteX42396" fmla="*/ 4186571 w 8079933"/>
              <a:gd name="connsiteY42396" fmla="*/ 1950278 h 4687251"/>
              <a:gd name="connsiteX42397" fmla="*/ 4185921 w 8079933"/>
              <a:gd name="connsiteY42397" fmla="*/ 1945947 h 4687251"/>
              <a:gd name="connsiteX42398" fmla="*/ 4179410 w 8079933"/>
              <a:gd name="connsiteY42398" fmla="*/ 1939776 h 4687251"/>
              <a:gd name="connsiteX42399" fmla="*/ 4175720 w 8079933"/>
              <a:gd name="connsiteY42399" fmla="*/ 1935229 h 4687251"/>
              <a:gd name="connsiteX42400" fmla="*/ 4170186 w 8079933"/>
              <a:gd name="connsiteY42400" fmla="*/ 1932522 h 4687251"/>
              <a:gd name="connsiteX42401" fmla="*/ 4170294 w 8079933"/>
              <a:gd name="connsiteY42401" fmla="*/ 1925917 h 4687251"/>
              <a:gd name="connsiteX42402" fmla="*/ 4166604 w 8079933"/>
              <a:gd name="connsiteY42402" fmla="*/ 1923535 h 4687251"/>
              <a:gd name="connsiteX42403" fmla="*/ 4166388 w 8079933"/>
              <a:gd name="connsiteY42403" fmla="*/ 1919421 h 4687251"/>
              <a:gd name="connsiteX42404" fmla="*/ 4162047 w 8079933"/>
              <a:gd name="connsiteY42404" fmla="*/ 1912384 h 4687251"/>
              <a:gd name="connsiteX42405" fmla="*/ 4160093 w 8079933"/>
              <a:gd name="connsiteY42405" fmla="*/ 1908703 h 4687251"/>
              <a:gd name="connsiteX42406" fmla="*/ 4158791 w 8079933"/>
              <a:gd name="connsiteY42406" fmla="*/ 1906104 h 4687251"/>
              <a:gd name="connsiteX42407" fmla="*/ 4156730 w 8079933"/>
              <a:gd name="connsiteY42407" fmla="*/ 1902315 h 4687251"/>
              <a:gd name="connsiteX42408" fmla="*/ 4149676 w 8079933"/>
              <a:gd name="connsiteY42408" fmla="*/ 1900258 h 4687251"/>
              <a:gd name="connsiteX42409" fmla="*/ 4145010 w 8079933"/>
              <a:gd name="connsiteY42409" fmla="*/ 1897226 h 4687251"/>
              <a:gd name="connsiteX42410" fmla="*/ 4129058 w 8079933"/>
              <a:gd name="connsiteY42410" fmla="*/ 1893003 h 4687251"/>
              <a:gd name="connsiteX42411" fmla="*/ 4116795 w 8079933"/>
              <a:gd name="connsiteY42411" fmla="*/ 1899933 h 4687251"/>
              <a:gd name="connsiteX42412" fmla="*/ 4116687 w 8079933"/>
              <a:gd name="connsiteY42412" fmla="*/ 1903831 h 4687251"/>
              <a:gd name="connsiteX42413" fmla="*/ 4112454 w 8079933"/>
              <a:gd name="connsiteY42413" fmla="*/ 1909135 h 4687251"/>
              <a:gd name="connsiteX42414" fmla="*/ 4101060 w 8079933"/>
              <a:gd name="connsiteY42414" fmla="*/ 1911084 h 4687251"/>
              <a:gd name="connsiteX42415" fmla="*/ 4101060 w 8079933"/>
              <a:gd name="connsiteY42415" fmla="*/ 1911084 h 4687251"/>
              <a:gd name="connsiteX42416" fmla="*/ 4100193 w 8079933"/>
              <a:gd name="connsiteY42416" fmla="*/ 1911301 h 4687251"/>
              <a:gd name="connsiteX42417" fmla="*/ 4085109 w 8079933"/>
              <a:gd name="connsiteY42417" fmla="*/ 1922452 h 4687251"/>
              <a:gd name="connsiteX42418" fmla="*/ 4080985 w 8079933"/>
              <a:gd name="connsiteY42418" fmla="*/ 1927649 h 4687251"/>
              <a:gd name="connsiteX42419" fmla="*/ 4081853 w 8079933"/>
              <a:gd name="connsiteY42419" fmla="*/ 1930031 h 4687251"/>
              <a:gd name="connsiteX42420" fmla="*/ 4077404 w 8079933"/>
              <a:gd name="connsiteY42420" fmla="*/ 1933821 h 4687251"/>
              <a:gd name="connsiteX42421" fmla="*/ 4066661 w 8079933"/>
              <a:gd name="connsiteY42421" fmla="*/ 1933279 h 4687251"/>
              <a:gd name="connsiteX42422" fmla="*/ 4062755 w 8079933"/>
              <a:gd name="connsiteY42422" fmla="*/ 1929815 h 4687251"/>
              <a:gd name="connsiteX42423" fmla="*/ 4048321 w 8079933"/>
              <a:gd name="connsiteY42423" fmla="*/ 1920828 h 4687251"/>
              <a:gd name="connsiteX42424" fmla="*/ 4044849 w 8079933"/>
              <a:gd name="connsiteY42424" fmla="*/ 1921153 h 4687251"/>
              <a:gd name="connsiteX42425" fmla="*/ 4041160 w 8079933"/>
              <a:gd name="connsiteY42425" fmla="*/ 1924077 h 4687251"/>
              <a:gd name="connsiteX42426" fmla="*/ 4037253 w 8079933"/>
              <a:gd name="connsiteY42426" fmla="*/ 1924077 h 4687251"/>
              <a:gd name="connsiteX42427" fmla="*/ 4031393 w 8079933"/>
              <a:gd name="connsiteY42427" fmla="*/ 1920612 h 4687251"/>
              <a:gd name="connsiteX42428" fmla="*/ 4025967 w 8079933"/>
              <a:gd name="connsiteY42428" fmla="*/ 1919854 h 4687251"/>
              <a:gd name="connsiteX42429" fmla="*/ 4023255 w 8079933"/>
              <a:gd name="connsiteY42429" fmla="*/ 1917905 h 4687251"/>
              <a:gd name="connsiteX42430" fmla="*/ 4020541 w 8079933"/>
              <a:gd name="connsiteY42430" fmla="*/ 1918122 h 4687251"/>
              <a:gd name="connsiteX42431" fmla="*/ 4012294 w 8079933"/>
              <a:gd name="connsiteY42431" fmla="*/ 1927000 h 4687251"/>
              <a:gd name="connsiteX42432" fmla="*/ 4006868 w 8079933"/>
              <a:gd name="connsiteY42432" fmla="*/ 1931872 h 4687251"/>
              <a:gd name="connsiteX42433" fmla="*/ 4006326 w 8079933"/>
              <a:gd name="connsiteY42433" fmla="*/ 1935769 h 4687251"/>
              <a:gd name="connsiteX42434" fmla="*/ 4004481 w 8079933"/>
              <a:gd name="connsiteY42434" fmla="*/ 1943890 h 4687251"/>
              <a:gd name="connsiteX42435" fmla="*/ 4006326 w 8079933"/>
              <a:gd name="connsiteY42435" fmla="*/ 1950819 h 4687251"/>
              <a:gd name="connsiteX42436" fmla="*/ 4006543 w 8079933"/>
              <a:gd name="connsiteY42436" fmla="*/ 1953093 h 4687251"/>
              <a:gd name="connsiteX42437" fmla="*/ 4006108 w 8079933"/>
              <a:gd name="connsiteY42437" fmla="*/ 1952932 h 4687251"/>
              <a:gd name="connsiteX42438" fmla="*/ 4006108 w 8079933"/>
              <a:gd name="connsiteY42438" fmla="*/ 1955149 h 4687251"/>
              <a:gd name="connsiteX42439" fmla="*/ 4002310 w 8079933"/>
              <a:gd name="connsiteY42439" fmla="*/ 1957640 h 4687251"/>
              <a:gd name="connsiteX42440" fmla="*/ 4003613 w 8079933"/>
              <a:gd name="connsiteY42440" fmla="*/ 1965218 h 4687251"/>
              <a:gd name="connsiteX42441" fmla="*/ 4002962 w 8079933"/>
              <a:gd name="connsiteY42441" fmla="*/ 1971065 h 4687251"/>
              <a:gd name="connsiteX42442" fmla="*/ 4000574 w 8079933"/>
              <a:gd name="connsiteY42442" fmla="*/ 1975612 h 4687251"/>
              <a:gd name="connsiteX42443" fmla="*/ 3991567 w 8079933"/>
              <a:gd name="connsiteY42443" fmla="*/ 1981026 h 4687251"/>
              <a:gd name="connsiteX42444" fmla="*/ 3987553 w 8079933"/>
              <a:gd name="connsiteY42444" fmla="*/ 1986114 h 4687251"/>
              <a:gd name="connsiteX42445" fmla="*/ 3979956 w 8079933"/>
              <a:gd name="connsiteY42445" fmla="*/ 1989146 h 4687251"/>
              <a:gd name="connsiteX42446" fmla="*/ 3970733 w 8079933"/>
              <a:gd name="connsiteY42446" fmla="*/ 1989146 h 4687251"/>
              <a:gd name="connsiteX42447" fmla="*/ 3964763 w 8079933"/>
              <a:gd name="connsiteY42447" fmla="*/ 1993369 h 4687251"/>
              <a:gd name="connsiteX42448" fmla="*/ 3959338 w 8079933"/>
              <a:gd name="connsiteY42448" fmla="*/ 1996292 h 4687251"/>
              <a:gd name="connsiteX42449" fmla="*/ 3961834 w 8079933"/>
              <a:gd name="connsiteY42449" fmla="*/ 1998457 h 4687251"/>
              <a:gd name="connsiteX42450" fmla="*/ 3960640 w 8079933"/>
              <a:gd name="connsiteY42450" fmla="*/ 2004087 h 4687251"/>
              <a:gd name="connsiteX42451" fmla="*/ 3957276 w 8079933"/>
              <a:gd name="connsiteY42451" fmla="*/ 2006144 h 4687251"/>
              <a:gd name="connsiteX42452" fmla="*/ 3957276 w 8079933"/>
              <a:gd name="connsiteY42452" fmla="*/ 2005603 h 4687251"/>
              <a:gd name="connsiteX42453" fmla="*/ 3958144 w 8079933"/>
              <a:gd name="connsiteY42453" fmla="*/ 2004845 h 4687251"/>
              <a:gd name="connsiteX42454" fmla="*/ 3955649 w 8079933"/>
              <a:gd name="connsiteY42454" fmla="*/ 2003979 h 4687251"/>
              <a:gd name="connsiteX42455" fmla="*/ 3948811 w 8079933"/>
              <a:gd name="connsiteY42455" fmla="*/ 2015672 h 4687251"/>
              <a:gd name="connsiteX42456" fmla="*/ 3943928 w 8079933"/>
              <a:gd name="connsiteY42456" fmla="*/ 2018054 h 4687251"/>
              <a:gd name="connsiteX42457" fmla="*/ 3934704 w 8079933"/>
              <a:gd name="connsiteY42457" fmla="*/ 2033429 h 4687251"/>
              <a:gd name="connsiteX42458" fmla="*/ 3931991 w 8079933"/>
              <a:gd name="connsiteY42458" fmla="*/ 2036893 h 4687251"/>
              <a:gd name="connsiteX42459" fmla="*/ 3936007 w 8079933"/>
              <a:gd name="connsiteY42459" fmla="*/ 2043715 h 4687251"/>
              <a:gd name="connsiteX42460" fmla="*/ 3937092 w 8079933"/>
              <a:gd name="connsiteY42460" fmla="*/ 2048370 h 4687251"/>
              <a:gd name="connsiteX42461" fmla="*/ 3940673 w 8079933"/>
              <a:gd name="connsiteY42461" fmla="*/ 2050319 h 4687251"/>
              <a:gd name="connsiteX42462" fmla="*/ 3946641 w 8079933"/>
              <a:gd name="connsiteY42462" fmla="*/ 2058439 h 4687251"/>
              <a:gd name="connsiteX42463" fmla="*/ 3941433 w 8079933"/>
              <a:gd name="connsiteY42463" fmla="*/ 2063528 h 4687251"/>
              <a:gd name="connsiteX42464" fmla="*/ 3933511 w 8079933"/>
              <a:gd name="connsiteY42464" fmla="*/ 2065476 h 4687251"/>
              <a:gd name="connsiteX42465" fmla="*/ 3933511 w 8079933"/>
              <a:gd name="connsiteY42465" fmla="*/ 2071107 h 4687251"/>
              <a:gd name="connsiteX42466" fmla="*/ 3925915 w 8079933"/>
              <a:gd name="connsiteY42466" fmla="*/ 2081933 h 4687251"/>
              <a:gd name="connsiteX42467" fmla="*/ 3925046 w 8079933"/>
              <a:gd name="connsiteY42467" fmla="*/ 2088971 h 4687251"/>
              <a:gd name="connsiteX42468" fmla="*/ 3927000 w 8079933"/>
              <a:gd name="connsiteY42468" fmla="*/ 2090920 h 4687251"/>
              <a:gd name="connsiteX42469" fmla="*/ 3925046 w 8079933"/>
              <a:gd name="connsiteY42469" fmla="*/ 2093951 h 4687251"/>
              <a:gd name="connsiteX42470" fmla="*/ 3916907 w 8079933"/>
              <a:gd name="connsiteY42470" fmla="*/ 2093951 h 4687251"/>
              <a:gd name="connsiteX42471" fmla="*/ 3902475 w 8079933"/>
              <a:gd name="connsiteY42471" fmla="*/ 2100772 h 4687251"/>
              <a:gd name="connsiteX42472" fmla="*/ 3902475 w 8079933"/>
              <a:gd name="connsiteY42472" fmla="*/ 2105645 h 4687251"/>
              <a:gd name="connsiteX42473" fmla="*/ 3896832 w 8079933"/>
              <a:gd name="connsiteY42473" fmla="*/ 2114632 h 4687251"/>
              <a:gd name="connsiteX42474" fmla="*/ 3891732 w 8079933"/>
              <a:gd name="connsiteY42474" fmla="*/ 2112250 h 4687251"/>
              <a:gd name="connsiteX42475" fmla="*/ 3887175 w 8079933"/>
              <a:gd name="connsiteY42475" fmla="*/ 2108243 h 4687251"/>
              <a:gd name="connsiteX42476" fmla="*/ 3884787 w 8079933"/>
              <a:gd name="connsiteY42476" fmla="*/ 2112357 h 4687251"/>
              <a:gd name="connsiteX42477" fmla="*/ 3880989 w 8079933"/>
              <a:gd name="connsiteY42477" fmla="*/ 2115606 h 4687251"/>
              <a:gd name="connsiteX42478" fmla="*/ 3876974 w 8079933"/>
              <a:gd name="connsiteY42478" fmla="*/ 2112575 h 4687251"/>
              <a:gd name="connsiteX42479" fmla="*/ 3872850 w 8079933"/>
              <a:gd name="connsiteY42479" fmla="*/ 2112575 h 4687251"/>
              <a:gd name="connsiteX42480" fmla="*/ 3871223 w 8079933"/>
              <a:gd name="connsiteY42480" fmla="*/ 2114523 h 4687251"/>
              <a:gd name="connsiteX42481" fmla="*/ 3864711 w 8079933"/>
              <a:gd name="connsiteY42481" fmla="*/ 2113765 h 4687251"/>
              <a:gd name="connsiteX42482" fmla="*/ 3854944 w 8079933"/>
              <a:gd name="connsiteY42482" fmla="*/ 2111059 h 4687251"/>
              <a:gd name="connsiteX42483" fmla="*/ 3851038 w 8079933"/>
              <a:gd name="connsiteY42483" fmla="*/ 2113224 h 4687251"/>
              <a:gd name="connsiteX42484" fmla="*/ 3842465 w 8079933"/>
              <a:gd name="connsiteY42484" fmla="*/ 2114306 h 4687251"/>
              <a:gd name="connsiteX42485" fmla="*/ 3834978 w 8079933"/>
              <a:gd name="connsiteY42485" fmla="*/ 2121777 h 4687251"/>
              <a:gd name="connsiteX42486" fmla="*/ 3826079 w 8079933"/>
              <a:gd name="connsiteY42486" fmla="*/ 2122860 h 4687251"/>
              <a:gd name="connsiteX42487" fmla="*/ 3822715 w 8079933"/>
              <a:gd name="connsiteY42487" fmla="*/ 2125783 h 4687251"/>
              <a:gd name="connsiteX42488" fmla="*/ 3822715 w 8079933"/>
              <a:gd name="connsiteY42488" fmla="*/ 2129681 h 4687251"/>
              <a:gd name="connsiteX42489" fmla="*/ 3815662 w 8079933"/>
              <a:gd name="connsiteY42489" fmla="*/ 2133471 h 4687251"/>
              <a:gd name="connsiteX42490" fmla="*/ 3807957 w 8079933"/>
              <a:gd name="connsiteY42490" fmla="*/ 2132171 h 4687251"/>
              <a:gd name="connsiteX42491" fmla="*/ 3800035 w 8079933"/>
              <a:gd name="connsiteY42491" fmla="*/ 2124375 h 4687251"/>
              <a:gd name="connsiteX42492" fmla="*/ 3795477 w 8079933"/>
              <a:gd name="connsiteY42492" fmla="*/ 2113549 h 4687251"/>
              <a:gd name="connsiteX42493" fmla="*/ 3796454 w 8079933"/>
              <a:gd name="connsiteY42493" fmla="*/ 2112033 h 4687251"/>
              <a:gd name="connsiteX42494" fmla="*/ 3786688 w 8079933"/>
              <a:gd name="connsiteY42494" fmla="*/ 2102722 h 4687251"/>
              <a:gd name="connsiteX42495" fmla="*/ 3779634 w 8079933"/>
              <a:gd name="connsiteY42495" fmla="*/ 2101855 h 4687251"/>
              <a:gd name="connsiteX42496" fmla="*/ 3775834 w 8079933"/>
              <a:gd name="connsiteY42496" fmla="*/ 2100802 h 4687251"/>
              <a:gd name="connsiteX42497" fmla="*/ 3775837 w 8079933"/>
              <a:gd name="connsiteY42497" fmla="*/ 2100990 h 4687251"/>
              <a:gd name="connsiteX42498" fmla="*/ 3775728 w 8079933"/>
              <a:gd name="connsiteY42498" fmla="*/ 2100881 h 4687251"/>
              <a:gd name="connsiteX42499" fmla="*/ 3774643 w 8079933"/>
              <a:gd name="connsiteY42499" fmla="*/ 2102938 h 4687251"/>
              <a:gd name="connsiteX42500" fmla="*/ 3768349 w 8079933"/>
              <a:gd name="connsiteY42500" fmla="*/ 2103480 h 4687251"/>
              <a:gd name="connsiteX42501" fmla="*/ 3761296 w 8079933"/>
              <a:gd name="connsiteY42501" fmla="*/ 2107378 h 4687251"/>
              <a:gd name="connsiteX42502" fmla="*/ 3756738 w 8079933"/>
              <a:gd name="connsiteY42502" fmla="*/ 2104670 h 4687251"/>
              <a:gd name="connsiteX42503" fmla="*/ 3746754 w 8079933"/>
              <a:gd name="connsiteY42503" fmla="*/ 2100773 h 4687251"/>
              <a:gd name="connsiteX42504" fmla="*/ 3739701 w 8079933"/>
              <a:gd name="connsiteY42504" fmla="*/ 2105537 h 4687251"/>
              <a:gd name="connsiteX42505" fmla="*/ 3737964 w 8079933"/>
              <a:gd name="connsiteY42505" fmla="*/ 2104129 h 4687251"/>
              <a:gd name="connsiteX42506" fmla="*/ 3739701 w 8079933"/>
              <a:gd name="connsiteY42506" fmla="*/ 2101423 h 4687251"/>
              <a:gd name="connsiteX42507" fmla="*/ 3742088 w 8079933"/>
              <a:gd name="connsiteY42507" fmla="*/ 2092436 h 4687251"/>
              <a:gd name="connsiteX42508" fmla="*/ 3741763 w 8079933"/>
              <a:gd name="connsiteY42508" fmla="*/ 2079768 h 4687251"/>
              <a:gd name="connsiteX42509" fmla="*/ 3744041 w 8079933"/>
              <a:gd name="connsiteY42509" fmla="*/ 2074246 h 4687251"/>
              <a:gd name="connsiteX42510" fmla="*/ 3742414 w 8079933"/>
              <a:gd name="connsiteY42510" fmla="*/ 2067859 h 4687251"/>
              <a:gd name="connsiteX42511" fmla="*/ 3745018 w 8079933"/>
              <a:gd name="connsiteY42511" fmla="*/ 2064611 h 4687251"/>
              <a:gd name="connsiteX42512" fmla="*/ 3738833 w 8079933"/>
              <a:gd name="connsiteY42512" fmla="*/ 2064503 h 4687251"/>
              <a:gd name="connsiteX42513" fmla="*/ 3735251 w 8079933"/>
              <a:gd name="connsiteY42513" fmla="*/ 2067859 h 4687251"/>
              <a:gd name="connsiteX42514" fmla="*/ 3733082 w 8079933"/>
              <a:gd name="connsiteY42514" fmla="*/ 2065585 h 4687251"/>
              <a:gd name="connsiteX42515" fmla="*/ 3733407 w 8079933"/>
              <a:gd name="connsiteY42515" fmla="*/ 2060497 h 4687251"/>
              <a:gd name="connsiteX42516" fmla="*/ 3740461 w 8079933"/>
              <a:gd name="connsiteY42516" fmla="*/ 2057032 h 4687251"/>
              <a:gd name="connsiteX42517" fmla="*/ 3739158 w 8079933"/>
              <a:gd name="connsiteY42517" fmla="*/ 2054542 h 4687251"/>
              <a:gd name="connsiteX42518" fmla="*/ 3739918 w 8079933"/>
              <a:gd name="connsiteY42518" fmla="*/ 2051510 h 4687251"/>
              <a:gd name="connsiteX42519" fmla="*/ 3735035 w 8079933"/>
              <a:gd name="connsiteY42519" fmla="*/ 2054542 h 4687251"/>
              <a:gd name="connsiteX42520" fmla="*/ 3732647 w 8079933"/>
              <a:gd name="connsiteY42520" fmla="*/ 2057898 h 4687251"/>
              <a:gd name="connsiteX42521" fmla="*/ 3727764 w 8079933"/>
              <a:gd name="connsiteY42521" fmla="*/ 2057898 h 4687251"/>
              <a:gd name="connsiteX42522" fmla="*/ 3727547 w 8079933"/>
              <a:gd name="connsiteY42522" fmla="*/ 2054542 h 4687251"/>
              <a:gd name="connsiteX42523" fmla="*/ 3730910 w 8079933"/>
              <a:gd name="connsiteY42523" fmla="*/ 2040683 h 4687251"/>
              <a:gd name="connsiteX42524" fmla="*/ 3737205 w 8079933"/>
              <a:gd name="connsiteY42524" fmla="*/ 2031588 h 4687251"/>
              <a:gd name="connsiteX42525" fmla="*/ 3737205 w 8079933"/>
              <a:gd name="connsiteY42525" fmla="*/ 2027041 h 4687251"/>
              <a:gd name="connsiteX42526" fmla="*/ 3742631 w 8079933"/>
              <a:gd name="connsiteY42526" fmla="*/ 2019353 h 4687251"/>
              <a:gd name="connsiteX42527" fmla="*/ 3742956 w 8079933"/>
              <a:gd name="connsiteY42527" fmla="*/ 2011559 h 4687251"/>
              <a:gd name="connsiteX42528" fmla="*/ 3745886 w 8079933"/>
              <a:gd name="connsiteY42528" fmla="*/ 2005387 h 4687251"/>
              <a:gd name="connsiteX42529" fmla="*/ 3748382 w 8079933"/>
              <a:gd name="connsiteY42529" fmla="*/ 2002031 h 4687251"/>
              <a:gd name="connsiteX42530" fmla="*/ 3745018 w 8079933"/>
              <a:gd name="connsiteY42530" fmla="*/ 1998025 h 4687251"/>
              <a:gd name="connsiteX42531" fmla="*/ 3746754 w 8079933"/>
              <a:gd name="connsiteY42531" fmla="*/ 1991420 h 4687251"/>
              <a:gd name="connsiteX42532" fmla="*/ 3745886 w 8079933"/>
              <a:gd name="connsiteY42532" fmla="*/ 1989038 h 4687251"/>
              <a:gd name="connsiteX42533" fmla="*/ 3747514 w 8079933"/>
              <a:gd name="connsiteY42533" fmla="*/ 1973988 h 4687251"/>
              <a:gd name="connsiteX42534" fmla="*/ 3743933 w 8079933"/>
              <a:gd name="connsiteY42534" fmla="*/ 1965976 h 4687251"/>
              <a:gd name="connsiteX42535" fmla="*/ 3743499 w 8079933"/>
              <a:gd name="connsiteY42535" fmla="*/ 1960996 h 4687251"/>
              <a:gd name="connsiteX42536" fmla="*/ 3754025 w 8079933"/>
              <a:gd name="connsiteY42536" fmla="*/ 1959264 h 4687251"/>
              <a:gd name="connsiteX42537" fmla="*/ 3757987 w 8079933"/>
              <a:gd name="connsiteY42537" fmla="*/ 1960332 h 4687251"/>
              <a:gd name="connsiteX42538" fmla="*/ 3758039 w 8079933"/>
              <a:gd name="connsiteY42538" fmla="*/ 1959913 h 4687251"/>
              <a:gd name="connsiteX42539" fmla="*/ 3754025 w 8079933"/>
              <a:gd name="connsiteY42539" fmla="*/ 1958830 h 4687251"/>
              <a:gd name="connsiteX42540" fmla="*/ 3743172 w 8079933"/>
              <a:gd name="connsiteY42540" fmla="*/ 1960455 h 4687251"/>
              <a:gd name="connsiteX42541" fmla="*/ 3743172 w 8079933"/>
              <a:gd name="connsiteY42541" fmla="*/ 1959155 h 4687251"/>
              <a:gd name="connsiteX42542" fmla="*/ 3748815 w 8079933"/>
              <a:gd name="connsiteY42542" fmla="*/ 1954283 h 4687251"/>
              <a:gd name="connsiteX42543" fmla="*/ 3744800 w 8079933"/>
              <a:gd name="connsiteY42543" fmla="*/ 1953525 h 4687251"/>
              <a:gd name="connsiteX42544" fmla="*/ 3747513 w 8079933"/>
              <a:gd name="connsiteY42544" fmla="*/ 1950602 h 4687251"/>
              <a:gd name="connsiteX42545" fmla="*/ 3745668 w 8079933"/>
              <a:gd name="connsiteY42545" fmla="*/ 1948761 h 4687251"/>
              <a:gd name="connsiteX42546" fmla="*/ 3746753 w 8079933"/>
              <a:gd name="connsiteY42546" fmla="*/ 1943673 h 4687251"/>
              <a:gd name="connsiteX42547" fmla="*/ 3742955 w 8079933"/>
              <a:gd name="connsiteY42547" fmla="*/ 1947245 h 4687251"/>
              <a:gd name="connsiteX42548" fmla="*/ 3741111 w 8079933"/>
              <a:gd name="connsiteY42548" fmla="*/ 1946488 h 4687251"/>
              <a:gd name="connsiteX42549" fmla="*/ 3742413 w 8079933"/>
              <a:gd name="connsiteY42549" fmla="*/ 1939774 h 4687251"/>
              <a:gd name="connsiteX42550" fmla="*/ 3740459 w 8079933"/>
              <a:gd name="connsiteY42550" fmla="*/ 1938909 h 4687251"/>
              <a:gd name="connsiteX42551" fmla="*/ 3740459 w 8079933"/>
              <a:gd name="connsiteY42551" fmla="*/ 1936202 h 4687251"/>
              <a:gd name="connsiteX42552" fmla="*/ 3737421 w 8079933"/>
              <a:gd name="connsiteY42552" fmla="*/ 1937284 h 4687251"/>
              <a:gd name="connsiteX42553" fmla="*/ 3735251 w 8079933"/>
              <a:gd name="connsiteY42553" fmla="*/ 1932196 h 4687251"/>
              <a:gd name="connsiteX42554" fmla="*/ 3737746 w 8079933"/>
              <a:gd name="connsiteY42554" fmla="*/ 1926999 h 4687251"/>
              <a:gd name="connsiteX42555" fmla="*/ 3746753 w 8079933"/>
              <a:gd name="connsiteY42555" fmla="*/ 1923751 h 4687251"/>
              <a:gd name="connsiteX42556" fmla="*/ 3749792 w 8079933"/>
              <a:gd name="connsiteY42556" fmla="*/ 1925159 h 4687251"/>
              <a:gd name="connsiteX42557" fmla="*/ 3757388 w 8079933"/>
              <a:gd name="connsiteY42557" fmla="*/ 1924292 h 4687251"/>
              <a:gd name="connsiteX42558" fmla="*/ 3760969 w 8079933"/>
              <a:gd name="connsiteY42558" fmla="*/ 1921586 h 4687251"/>
              <a:gd name="connsiteX42559" fmla="*/ 3758039 w 8079933"/>
              <a:gd name="connsiteY42559" fmla="*/ 1919637 h 4687251"/>
              <a:gd name="connsiteX42560" fmla="*/ 3757497 w 8079933"/>
              <a:gd name="connsiteY42560" fmla="*/ 1916388 h 4687251"/>
              <a:gd name="connsiteX42561" fmla="*/ 3766178 w 8079933"/>
              <a:gd name="connsiteY42561" fmla="*/ 1911516 h 4687251"/>
              <a:gd name="connsiteX42562" fmla="*/ 3767480 w 8079933"/>
              <a:gd name="connsiteY42562" fmla="*/ 1913140 h 4687251"/>
              <a:gd name="connsiteX42563" fmla="*/ 3771061 w 8079933"/>
              <a:gd name="connsiteY42563" fmla="*/ 1910650 h 4687251"/>
              <a:gd name="connsiteX42564" fmla="*/ 3777030 w 8079933"/>
              <a:gd name="connsiteY42564" fmla="*/ 1911949 h 4687251"/>
              <a:gd name="connsiteX42565" fmla="*/ 3782130 w 8079933"/>
              <a:gd name="connsiteY42565" fmla="*/ 1918229 h 4687251"/>
              <a:gd name="connsiteX42566" fmla="*/ 3786470 w 8079933"/>
              <a:gd name="connsiteY42566" fmla="*/ 1914656 h 4687251"/>
              <a:gd name="connsiteX42567" fmla="*/ 3792548 w 8079933"/>
              <a:gd name="connsiteY42567" fmla="*/ 1914656 h 4687251"/>
              <a:gd name="connsiteX42568" fmla="*/ 3798190 w 8079933"/>
              <a:gd name="connsiteY42568" fmla="*/ 1917038 h 4687251"/>
              <a:gd name="connsiteX42569" fmla="*/ 3804376 w 8079933"/>
              <a:gd name="connsiteY42569" fmla="*/ 1914548 h 4687251"/>
              <a:gd name="connsiteX42570" fmla="*/ 3811972 w 8079933"/>
              <a:gd name="connsiteY42570" fmla="*/ 1912382 h 4687251"/>
              <a:gd name="connsiteX42571" fmla="*/ 3813600 w 8079933"/>
              <a:gd name="connsiteY42571" fmla="*/ 1914548 h 4687251"/>
              <a:gd name="connsiteX42572" fmla="*/ 3819786 w 8079933"/>
              <a:gd name="connsiteY42572" fmla="*/ 1918013 h 4687251"/>
              <a:gd name="connsiteX42573" fmla="*/ 3836823 w 8079933"/>
              <a:gd name="connsiteY42573" fmla="*/ 1920719 h 4687251"/>
              <a:gd name="connsiteX42574" fmla="*/ 3844635 w 8079933"/>
              <a:gd name="connsiteY42574" fmla="*/ 1922560 h 4687251"/>
              <a:gd name="connsiteX42575" fmla="*/ 3856247 w 8079933"/>
              <a:gd name="connsiteY42575" fmla="*/ 1917688 h 4687251"/>
              <a:gd name="connsiteX42576" fmla="*/ 3864928 w 8079933"/>
              <a:gd name="connsiteY42576" fmla="*/ 1918445 h 4687251"/>
              <a:gd name="connsiteX42577" fmla="*/ 3866556 w 8079933"/>
              <a:gd name="connsiteY42577" fmla="*/ 1922235 h 4687251"/>
              <a:gd name="connsiteX42578" fmla="*/ 3875021 w 8079933"/>
              <a:gd name="connsiteY42578" fmla="*/ 1923859 h 4687251"/>
              <a:gd name="connsiteX42579" fmla="*/ 3879361 w 8079933"/>
              <a:gd name="connsiteY42579" fmla="*/ 1919528 h 4687251"/>
              <a:gd name="connsiteX42580" fmla="*/ 3883485 w 8079933"/>
              <a:gd name="connsiteY42580" fmla="*/ 1919528 h 4687251"/>
              <a:gd name="connsiteX42581" fmla="*/ 3896181 w 8079933"/>
              <a:gd name="connsiteY42581" fmla="*/ 1926890 h 4687251"/>
              <a:gd name="connsiteX42582" fmla="*/ 3898568 w 8079933"/>
              <a:gd name="connsiteY42582" fmla="*/ 1923426 h 4687251"/>
              <a:gd name="connsiteX42583" fmla="*/ 3902041 w 8079933"/>
              <a:gd name="connsiteY42583" fmla="*/ 1923426 h 4687251"/>
              <a:gd name="connsiteX42584" fmla="*/ 3903625 w 8079933"/>
              <a:gd name="connsiteY42584" fmla="*/ 1922511 h 4687251"/>
              <a:gd name="connsiteX42585" fmla="*/ 3903126 w 8079933"/>
              <a:gd name="connsiteY42585" fmla="*/ 1922236 h 4687251"/>
              <a:gd name="connsiteX42586" fmla="*/ 3908660 w 8079933"/>
              <a:gd name="connsiteY42586" fmla="*/ 1918987 h 4687251"/>
              <a:gd name="connsiteX42587" fmla="*/ 3913001 w 8079933"/>
              <a:gd name="connsiteY42587" fmla="*/ 1904912 h 4687251"/>
              <a:gd name="connsiteX42588" fmla="*/ 3914195 w 8079933"/>
              <a:gd name="connsiteY42588" fmla="*/ 1888672 h 4687251"/>
              <a:gd name="connsiteX42589" fmla="*/ 3917342 w 8079933"/>
              <a:gd name="connsiteY42589" fmla="*/ 1886398 h 4687251"/>
              <a:gd name="connsiteX42590" fmla="*/ 3913544 w 8079933"/>
              <a:gd name="connsiteY42590" fmla="*/ 1883800 h 4687251"/>
              <a:gd name="connsiteX42591" fmla="*/ 3913326 w 8079933"/>
              <a:gd name="connsiteY42591" fmla="*/ 1875138 h 4687251"/>
              <a:gd name="connsiteX42592" fmla="*/ 3915714 w 8079933"/>
              <a:gd name="connsiteY42592" fmla="*/ 1863228 h 4687251"/>
              <a:gd name="connsiteX42593" fmla="*/ 3918101 w 8079933"/>
              <a:gd name="connsiteY42593" fmla="*/ 1861604 h 4687251"/>
              <a:gd name="connsiteX42594" fmla="*/ 3922876 w 8079933"/>
              <a:gd name="connsiteY42594" fmla="*/ 1864202 h 4687251"/>
              <a:gd name="connsiteX42595" fmla="*/ 3924504 w 8079933"/>
              <a:gd name="connsiteY42595" fmla="*/ 1869941 h 4687251"/>
              <a:gd name="connsiteX42596" fmla="*/ 3930689 w 8079933"/>
              <a:gd name="connsiteY42596" fmla="*/ 1875896 h 4687251"/>
              <a:gd name="connsiteX42597" fmla="*/ 3925047 w 8079933"/>
              <a:gd name="connsiteY42597" fmla="*/ 1862362 h 4687251"/>
              <a:gd name="connsiteX42598" fmla="*/ 3917884 w 8079933"/>
              <a:gd name="connsiteY42598" fmla="*/ 1856732 h 4687251"/>
              <a:gd name="connsiteX42599" fmla="*/ 3913869 w 8079933"/>
              <a:gd name="connsiteY42599" fmla="*/ 1855866 h 4687251"/>
              <a:gd name="connsiteX42600" fmla="*/ 3914954 w 8079933"/>
              <a:gd name="connsiteY42600" fmla="*/ 1851751 h 4687251"/>
              <a:gd name="connsiteX42601" fmla="*/ 3916039 w 8079933"/>
              <a:gd name="connsiteY42601" fmla="*/ 1851210 h 4687251"/>
              <a:gd name="connsiteX42602" fmla="*/ 3917884 w 8079933"/>
              <a:gd name="connsiteY42602" fmla="*/ 1846447 h 4687251"/>
              <a:gd name="connsiteX42603" fmla="*/ 3915714 w 8079933"/>
              <a:gd name="connsiteY42603" fmla="*/ 1843090 h 4687251"/>
              <a:gd name="connsiteX42604" fmla="*/ 3915931 w 8079933"/>
              <a:gd name="connsiteY42604" fmla="*/ 1838867 h 4687251"/>
              <a:gd name="connsiteX42605" fmla="*/ 3910288 w 8079933"/>
              <a:gd name="connsiteY42605" fmla="*/ 1835619 h 4687251"/>
              <a:gd name="connsiteX42606" fmla="*/ 3904537 w 8079933"/>
              <a:gd name="connsiteY42606" fmla="*/ 1834753 h 4687251"/>
              <a:gd name="connsiteX42607" fmla="*/ 3898460 w 8079933"/>
              <a:gd name="connsiteY42607" fmla="*/ 1827390 h 4687251"/>
              <a:gd name="connsiteX42608" fmla="*/ 3894553 w 8079933"/>
              <a:gd name="connsiteY42608" fmla="*/ 1826849 h 4687251"/>
              <a:gd name="connsiteX42609" fmla="*/ 3893685 w 8079933"/>
              <a:gd name="connsiteY42609" fmla="*/ 1823709 h 4687251"/>
              <a:gd name="connsiteX42610" fmla="*/ 3895747 w 8079933"/>
              <a:gd name="connsiteY42610" fmla="*/ 1819812 h 4687251"/>
              <a:gd name="connsiteX42611" fmla="*/ 3894879 w 8079933"/>
              <a:gd name="connsiteY42611" fmla="*/ 1815048 h 4687251"/>
              <a:gd name="connsiteX42612" fmla="*/ 3892383 w 8079933"/>
              <a:gd name="connsiteY42612" fmla="*/ 1813965 h 4687251"/>
              <a:gd name="connsiteX42613" fmla="*/ 3895096 w 8079933"/>
              <a:gd name="connsiteY42613" fmla="*/ 1810176 h 4687251"/>
              <a:gd name="connsiteX42614" fmla="*/ 3899437 w 8079933"/>
              <a:gd name="connsiteY42614" fmla="*/ 1810068 h 4687251"/>
              <a:gd name="connsiteX42615" fmla="*/ 3903235 w 8079933"/>
              <a:gd name="connsiteY42615" fmla="*/ 1812233 h 4687251"/>
              <a:gd name="connsiteX42616" fmla="*/ 3900087 w 8079933"/>
              <a:gd name="connsiteY42616" fmla="*/ 1808010 h 4687251"/>
              <a:gd name="connsiteX42617" fmla="*/ 3895312 w 8079933"/>
              <a:gd name="connsiteY42617" fmla="*/ 1807469 h 4687251"/>
              <a:gd name="connsiteX42618" fmla="*/ 3890755 w 8079933"/>
              <a:gd name="connsiteY42618" fmla="*/ 1810392 h 4687251"/>
              <a:gd name="connsiteX42619" fmla="*/ 3887825 w 8079933"/>
              <a:gd name="connsiteY42619" fmla="*/ 1810176 h 4687251"/>
              <a:gd name="connsiteX42620" fmla="*/ 3885655 w 8079933"/>
              <a:gd name="connsiteY42620" fmla="*/ 1806819 h 4687251"/>
              <a:gd name="connsiteX42621" fmla="*/ 3887500 w 8079933"/>
              <a:gd name="connsiteY42621" fmla="*/ 1802055 h 4687251"/>
              <a:gd name="connsiteX42622" fmla="*/ 3885112 w 8079933"/>
              <a:gd name="connsiteY42622" fmla="*/ 1799782 h 4687251"/>
              <a:gd name="connsiteX42623" fmla="*/ 3881206 w 8079933"/>
              <a:gd name="connsiteY42623" fmla="*/ 1802055 h 4687251"/>
              <a:gd name="connsiteX42624" fmla="*/ 3879904 w 8079933"/>
              <a:gd name="connsiteY42624" fmla="*/ 1800431 h 4687251"/>
              <a:gd name="connsiteX42625" fmla="*/ 3880772 w 8079933"/>
              <a:gd name="connsiteY42625" fmla="*/ 1797725 h 4687251"/>
              <a:gd name="connsiteX42626" fmla="*/ 3878384 w 8079933"/>
              <a:gd name="connsiteY42626" fmla="*/ 1797184 h 4687251"/>
              <a:gd name="connsiteX42627" fmla="*/ 3874694 w 8079933"/>
              <a:gd name="connsiteY42627" fmla="*/ 1800648 h 4687251"/>
              <a:gd name="connsiteX42628" fmla="*/ 3869378 w 8079933"/>
              <a:gd name="connsiteY42628" fmla="*/ 1797184 h 4687251"/>
              <a:gd name="connsiteX42629" fmla="*/ 3866339 w 8079933"/>
              <a:gd name="connsiteY42629" fmla="*/ 1797184 h 4687251"/>
              <a:gd name="connsiteX42630" fmla="*/ 3864711 w 8079933"/>
              <a:gd name="connsiteY42630" fmla="*/ 1794476 h 4687251"/>
              <a:gd name="connsiteX42631" fmla="*/ 3857115 w 8079933"/>
              <a:gd name="connsiteY42631" fmla="*/ 1791445 h 4687251"/>
              <a:gd name="connsiteX42632" fmla="*/ 3854185 w 8079933"/>
              <a:gd name="connsiteY42632" fmla="*/ 1791986 h 4687251"/>
              <a:gd name="connsiteX42633" fmla="*/ 3850821 w 8079933"/>
              <a:gd name="connsiteY42633" fmla="*/ 1791120 h 4687251"/>
              <a:gd name="connsiteX42634" fmla="*/ 3845938 w 8079933"/>
              <a:gd name="connsiteY42634" fmla="*/ 1794368 h 4687251"/>
              <a:gd name="connsiteX42635" fmla="*/ 3846372 w 8079933"/>
              <a:gd name="connsiteY42635" fmla="*/ 1791445 h 4687251"/>
              <a:gd name="connsiteX42636" fmla="*/ 3844635 w 8079933"/>
              <a:gd name="connsiteY42636" fmla="*/ 1786356 h 4687251"/>
              <a:gd name="connsiteX42637" fmla="*/ 3840404 w 8079933"/>
              <a:gd name="connsiteY42637" fmla="*/ 1786356 h 4687251"/>
              <a:gd name="connsiteX42638" fmla="*/ 3840295 w 8079933"/>
              <a:gd name="connsiteY42638" fmla="*/ 1785165 h 4687251"/>
              <a:gd name="connsiteX42639" fmla="*/ 3844635 w 8079933"/>
              <a:gd name="connsiteY42639" fmla="*/ 1783541 h 4687251"/>
              <a:gd name="connsiteX42640" fmla="*/ 3847348 w 8079933"/>
              <a:gd name="connsiteY42640" fmla="*/ 1782458 h 4687251"/>
              <a:gd name="connsiteX42641" fmla="*/ 3846589 w 8079933"/>
              <a:gd name="connsiteY42641" fmla="*/ 1779319 h 4687251"/>
              <a:gd name="connsiteX42642" fmla="*/ 3843659 w 8079933"/>
              <a:gd name="connsiteY42642" fmla="*/ 1778236 h 4687251"/>
              <a:gd name="connsiteX42643" fmla="*/ 3842248 w 8079933"/>
              <a:gd name="connsiteY42643" fmla="*/ 1781701 h 4687251"/>
              <a:gd name="connsiteX42644" fmla="*/ 3840621 w 8079933"/>
              <a:gd name="connsiteY42644" fmla="*/ 1777153 h 4687251"/>
              <a:gd name="connsiteX42645" fmla="*/ 3843334 w 8079933"/>
              <a:gd name="connsiteY42645" fmla="*/ 1776828 h 4687251"/>
              <a:gd name="connsiteX42646" fmla="*/ 3847891 w 8079933"/>
              <a:gd name="connsiteY42646" fmla="*/ 1777695 h 4687251"/>
              <a:gd name="connsiteX42647" fmla="*/ 3846806 w 8079933"/>
              <a:gd name="connsiteY42647" fmla="*/ 1776070 h 4687251"/>
              <a:gd name="connsiteX42648" fmla="*/ 3842682 w 8079933"/>
              <a:gd name="connsiteY42648" fmla="*/ 1774879 h 4687251"/>
              <a:gd name="connsiteX42649" fmla="*/ 3838450 w 8079933"/>
              <a:gd name="connsiteY42649" fmla="*/ 1776287 h 4687251"/>
              <a:gd name="connsiteX42650" fmla="*/ 3836714 w 8079933"/>
              <a:gd name="connsiteY42650" fmla="*/ 1773256 h 4687251"/>
              <a:gd name="connsiteX42651" fmla="*/ 3839969 w 8079933"/>
              <a:gd name="connsiteY42651" fmla="*/ 1769466 h 4687251"/>
              <a:gd name="connsiteX42652" fmla="*/ 3847131 w 8079933"/>
              <a:gd name="connsiteY42652" fmla="*/ 1768925 h 4687251"/>
              <a:gd name="connsiteX42653" fmla="*/ 3850278 w 8079933"/>
              <a:gd name="connsiteY42653" fmla="*/ 1765785 h 4687251"/>
              <a:gd name="connsiteX42654" fmla="*/ 3855053 w 8079933"/>
              <a:gd name="connsiteY42654" fmla="*/ 1765243 h 4687251"/>
              <a:gd name="connsiteX42655" fmla="*/ 3857441 w 8079933"/>
              <a:gd name="connsiteY42655" fmla="*/ 1766868 h 4687251"/>
              <a:gd name="connsiteX42656" fmla="*/ 3860154 w 8079933"/>
              <a:gd name="connsiteY42656" fmla="*/ 1764377 h 4687251"/>
              <a:gd name="connsiteX42657" fmla="*/ 3862541 w 8079933"/>
              <a:gd name="connsiteY42657" fmla="*/ 1765676 h 4687251"/>
              <a:gd name="connsiteX42658" fmla="*/ 3866990 w 8079933"/>
              <a:gd name="connsiteY42658" fmla="*/ 1761454 h 4687251"/>
              <a:gd name="connsiteX42659" fmla="*/ 3872633 w 8079933"/>
              <a:gd name="connsiteY42659" fmla="*/ 1760263 h 4687251"/>
              <a:gd name="connsiteX42660" fmla="*/ 3876431 w 8079933"/>
              <a:gd name="connsiteY42660" fmla="*/ 1761454 h 4687251"/>
              <a:gd name="connsiteX42661" fmla="*/ 3883159 w 8079933"/>
              <a:gd name="connsiteY42661" fmla="*/ 1770332 h 4687251"/>
              <a:gd name="connsiteX42662" fmla="*/ 3888368 w 8079933"/>
              <a:gd name="connsiteY42662" fmla="*/ 1766001 h 4687251"/>
              <a:gd name="connsiteX42663" fmla="*/ 3889996 w 8079933"/>
              <a:gd name="connsiteY42663" fmla="*/ 1767625 h 4687251"/>
              <a:gd name="connsiteX42664" fmla="*/ 3894227 w 8079933"/>
              <a:gd name="connsiteY42664" fmla="*/ 1766542 h 4687251"/>
              <a:gd name="connsiteX42665" fmla="*/ 3897592 w 8079933"/>
              <a:gd name="connsiteY42665" fmla="*/ 1767409 h 4687251"/>
              <a:gd name="connsiteX42666" fmla="*/ 3901173 w 8079933"/>
              <a:gd name="connsiteY42666" fmla="*/ 1766218 h 4687251"/>
              <a:gd name="connsiteX42667" fmla="*/ 3909528 w 8079933"/>
              <a:gd name="connsiteY42667" fmla="*/ 1767301 h 4687251"/>
              <a:gd name="connsiteX42668" fmla="*/ 3908986 w 8079933"/>
              <a:gd name="connsiteY42668" fmla="*/ 1763078 h 4687251"/>
              <a:gd name="connsiteX42669" fmla="*/ 3906490 w 8079933"/>
              <a:gd name="connsiteY42669" fmla="*/ 1759830 h 4687251"/>
              <a:gd name="connsiteX42670" fmla="*/ 3907358 w 8079933"/>
              <a:gd name="connsiteY42670" fmla="*/ 1756257 h 4687251"/>
              <a:gd name="connsiteX42671" fmla="*/ 3906273 w 8079933"/>
              <a:gd name="connsiteY42671" fmla="*/ 1752684 h 4687251"/>
              <a:gd name="connsiteX42672" fmla="*/ 3907792 w 8079933"/>
              <a:gd name="connsiteY42672" fmla="*/ 1750302 h 4687251"/>
              <a:gd name="connsiteX42673" fmla="*/ 3899762 w 8079933"/>
              <a:gd name="connsiteY42673" fmla="*/ 1742940 h 4687251"/>
              <a:gd name="connsiteX42674" fmla="*/ 3900630 w 8079933"/>
              <a:gd name="connsiteY42674" fmla="*/ 1740557 h 4687251"/>
              <a:gd name="connsiteX42675" fmla="*/ 3899111 w 8079933"/>
              <a:gd name="connsiteY42675" fmla="*/ 1735144 h 4687251"/>
              <a:gd name="connsiteX42676" fmla="*/ 3901607 w 8079933"/>
              <a:gd name="connsiteY42676" fmla="*/ 1736226 h 4687251"/>
              <a:gd name="connsiteX42677" fmla="*/ 3907250 w 8079933"/>
              <a:gd name="connsiteY42677" fmla="*/ 1736444 h 4687251"/>
              <a:gd name="connsiteX42678" fmla="*/ 3911156 w 8079933"/>
              <a:gd name="connsiteY42678" fmla="*/ 1734928 h 4687251"/>
              <a:gd name="connsiteX42679" fmla="*/ 3914954 w 8079933"/>
              <a:gd name="connsiteY42679" fmla="*/ 1736768 h 4687251"/>
              <a:gd name="connsiteX42680" fmla="*/ 3913544 w 8079933"/>
              <a:gd name="connsiteY42680" fmla="*/ 1740557 h 4687251"/>
              <a:gd name="connsiteX42681" fmla="*/ 3916582 w 8079933"/>
              <a:gd name="connsiteY42681" fmla="*/ 1742940 h 4687251"/>
              <a:gd name="connsiteX42682" fmla="*/ 3918101 w 8079933"/>
              <a:gd name="connsiteY42682" fmla="*/ 1746187 h 4687251"/>
              <a:gd name="connsiteX42683" fmla="*/ 3921465 w 8079933"/>
              <a:gd name="connsiteY42683" fmla="*/ 1744130 h 4687251"/>
              <a:gd name="connsiteX42684" fmla="*/ 3925589 w 8079933"/>
              <a:gd name="connsiteY42684" fmla="*/ 1746296 h 4687251"/>
              <a:gd name="connsiteX42685" fmla="*/ 3935030 w 8079933"/>
              <a:gd name="connsiteY42685" fmla="*/ 1747595 h 4687251"/>
              <a:gd name="connsiteX42686" fmla="*/ 3941867 w 8079933"/>
              <a:gd name="connsiteY42686" fmla="*/ 1746187 h 4687251"/>
              <a:gd name="connsiteX42687" fmla="*/ 3947509 w 8079933"/>
              <a:gd name="connsiteY42687" fmla="*/ 1742181 h 4687251"/>
              <a:gd name="connsiteX42688" fmla="*/ 3943386 w 8079933"/>
              <a:gd name="connsiteY42688" fmla="*/ 1740774 h 4687251"/>
              <a:gd name="connsiteX42689" fmla="*/ 3941758 w 8079933"/>
              <a:gd name="connsiteY42689" fmla="*/ 1737851 h 4687251"/>
              <a:gd name="connsiteX42690" fmla="*/ 3943928 w 8079933"/>
              <a:gd name="connsiteY42690" fmla="*/ 1733736 h 4687251"/>
              <a:gd name="connsiteX42691" fmla="*/ 3952935 w 8079933"/>
              <a:gd name="connsiteY42691" fmla="*/ 1728864 h 4687251"/>
              <a:gd name="connsiteX42692" fmla="*/ 3957276 w 8079933"/>
              <a:gd name="connsiteY42692" fmla="*/ 1730271 h 4687251"/>
              <a:gd name="connsiteX42693" fmla="*/ 3961291 w 8079933"/>
              <a:gd name="connsiteY42693" fmla="*/ 1730055 h 4687251"/>
              <a:gd name="connsiteX42694" fmla="*/ 3968887 w 8079933"/>
              <a:gd name="connsiteY42694" fmla="*/ 1727890 h 4687251"/>
              <a:gd name="connsiteX42695" fmla="*/ 3968887 w 8079933"/>
              <a:gd name="connsiteY42695" fmla="*/ 1725075 h 4687251"/>
              <a:gd name="connsiteX42696" fmla="*/ 3975724 w 8079933"/>
              <a:gd name="connsiteY42696" fmla="*/ 1718362 h 4687251"/>
              <a:gd name="connsiteX42697" fmla="*/ 3977134 w 8079933"/>
              <a:gd name="connsiteY42697" fmla="*/ 1709484 h 4687251"/>
              <a:gd name="connsiteX42698" fmla="*/ 3976049 w 8079933"/>
              <a:gd name="connsiteY42698" fmla="*/ 1703962 h 4687251"/>
              <a:gd name="connsiteX42699" fmla="*/ 3977785 w 8079933"/>
              <a:gd name="connsiteY42699" fmla="*/ 1699198 h 4687251"/>
              <a:gd name="connsiteX42700" fmla="*/ 3984622 w 8079933"/>
              <a:gd name="connsiteY42700" fmla="*/ 1695300 h 4687251"/>
              <a:gd name="connsiteX42701" fmla="*/ 3986576 w 8079933"/>
              <a:gd name="connsiteY42701" fmla="*/ 1696924 h 4687251"/>
              <a:gd name="connsiteX42702" fmla="*/ 3995040 w 8079933"/>
              <a:gd name="connsiteY42702" fmla="*/ 1694001 h 4687251"/>
              <a:gd name="connsiteX42703" fmla="*/ 3995799 w 8079933"/>
              <a:gd name="connsiteY42703" fmla="*/ 1692702 h 4687251"/>
              <a:gd name="connsiteX42704" fmla="*/ 3995799 w 8079933"/>
              <a:gd name="connsiteY42704" fmla="*/ 1692702 h 4687251"/>
              <a:gd name="connsiteX42705" fmla="*/ 3999054 w 8079933"/>
              <a:gd name="connsiteY42705" fmla="*/ 1686747 h 4687251"/>
              <a:gd name="connsiteX42706" fmla="*/ 4003937 w 8079933"/>
              <a:gd name="connsiteY42706" fmla="*/ 1682958 h 4687251"/>
              <a:gd name="connsiteX42707" fmla="*/ 4005750 w 8079933"/>
              <a:gd name="connsiteY42707" fmla="*/ 1683826 h 4687251"/>
              <a:gd name="connsiteX42708" fmla="*/ 4003938 w 8079933"/>
              <a:gd name="connsiteY42708" fmla="*/ 1682958 h 4687251"/>
              <a:gd name="connsiteX42709" fmla="*/ 4004155 w 8079933"/>
              <a:gd name="connsiteY42709" fmla="*/ 1682850 h 4687251"/>
              <a:gd name="connsiteX42710" fmla="*/ 4008278 w 8079933"/>
              <a:gd name="connsiteY42710" fmla="*/ 1682850 h 4687251"/>
              <a:gd name="connsiteX42711" fmla="*/ 4014789 w 8079933"/>
              <a:gd name="connsiteY42711" fmla="*/ 1685015 h 4687251"/>
              <a:gd name="connsiteX42712" fmla="*/ 4017502 w 8079933"/>
              <a:gd name="connsiteY42712" fmla="*/ 1684798 h 4687251"/>
              <a:gd name="connsiteX42713" fmla="*/ 4021843 w 8079933"/>
              <a:gd name="connsiteY42713" fmla="*/ 1686423 h 4687251"/>
              <a:gd name="connsiteX42714" fmla="*/ 4017286 w 8079933"/>
              <a:gd name="connsiteY42714" fmla="*/ 1683391 h 4687251"/>
              <a:gd name="connsiteX42715" fmla="*/ 4016092 w 8079933"/>
              <a:gd name="connsiteY42715" fmla="*/ 1683933 h 4687251"/>
              <a:gd name="connsiteX42716" fmla="*/ 4012619 w 8079933"/>
              <a:gd name="connsiteY42716" fmla="*/ 1680684 h 4687251"/>
              <a:gd name="connsiteX42717" fmla="*/ 4008821 w 8079933"/>
              <a:gd name="connsiteY42717" fmla="*/ 1680251 h 4687251"/>
              <a:gd name="connsiteX42718" fmla="*/ 4007410 w 8079933"/>
              <a:gd name="connsiteY42718" fmla="*/ 1678086 h 4687251"/>
              <a:gd name="connsiteX42719" fmla="*/ 4011317 w 8079933"/>
              <a:gd name="connsiteY42719" fmla="*/ 1676462 h 4687251"/>
              <a:gd name="connsiteX42720" fmla="*/ 4015549 w 8079933"/>
              <a:gd name="connsiteY42720" fmla="*/ 1678519 h 4687251"/>
              <a:gd name="connsiteX42721" fmla="*/ 4019455 w 8079933"/>
              <a:gd name="connsiteY42721" fmla="*/ 1682633 h 4687251"/>
              <a:gd name="connsiteX42722" fmla="*/ 4023796 w 8079933"/>
              <a:gd name="connsiteY42722" fmla="*/ 1682417 h 4687251"/>
              <a:gd name="connsiteX42723" fmla="*/ 4023688 w 8079933"/>
              <a:gd name="connsiteY42723" fmla="*/ 1680143 h 4687251"/>
              <a:gd name="connsiteX42724" fmla="*/ 4020975 w 8079933"/>
              <a:gd name="connsiteY42724" fmla="*/ 1679710 h 4687251"/>
              <a:gd name="connsiteX42725" fmla="*/ 4018804 w 8079933"/>
              <a:gd name="connsiteY42725" fmla="*/ 1677003 h 4687251"/>
              <a:gd name="connsiteX42726" fmla="*/ 4020432 w 8079933"/>
              <a:gd name="connsiteY42726" fmla="*/ 1675596 h 4687251"/>
              <a:gd name="connsiteX42727" fmla="*/ 4022928 w 8079933"/>
              <a:gd name="connsiteY42727" fmla="*/ 1673430 h 4687251"/>
              <a:gd name="connsiteX42728" fmla="*/ 4028354 w 8079933"/>
              <a:gd name="connsiteY42728" fmla="*/ 1673430 h 4687251"/>
              <a:gd name="connsiteX42729" fmla="*/ 4023470 w 8079933"/>
              <a:gd name="connsiteY42729" fmla="*/ 1672023 h 4687251"/>
              <a:gd name="connsiteX42730" fmla="*/ 4018045 w 8079933"/>
              <a:gd name="connsiteY42730" fmla="*/ 1667150 h 4687251"/>
              <a:gd name="connsiteX42731" fmla="*/ 4017828 w 8079933"/>
              <a:gd name="connsiteY42731" fmla="*/ 1663470 h 4687251"/>
              <a:gd name="connsiteX42732" fmla="*/ 4021517 w 8079933"/>
              <a:gd name="connsiteY42732" fmla="*/ 1660762 h 4687251"/>
              <a:gd name="connsiteX42733" fmla="*/ 4023145 w 8079933"/>
              <a:gd name="connsiteY42733" fmla="*/ 1657948 h 4687251"/>
              <a:gd name="connsiteX42734" fmla="*/ 4025098 w 8079933"/>
              <a:gd name="connsiteY42734" fmla="*/ 1653725 h 4687251"/>
              <a:gd name="connsiteX42735" fmla="*/ 4026183 w 8079933"/>
              <a:gd name="connsiteY42735" fmla="*/ 1648744 h 4687251"/>
              <a:gd name="connsiteX42736" fmla="*/ 4024773 w 8079933"/>
              <a:gd name="connsiteY42736" fmla="*/ 1643115 h 4687251"/>
              <a:gd name="connsiteX42737" fmla="*/ 4029439 w 8079933"/>
              <a:gd name="connsiteY42737" fmla="*/ 1639542 h 4687251"/>
              <a:gd name="connsiteX42738" fmla="*/ 4029656 w 8079933"/>
              <a:gd name="connsiteY42738" fmla="*/ 1633695 h 4687251"/>
              <a:gd name="connsiteX42739" fmla="*/ 4034756 w 8079933"/>
              <a:gd name="connsiteY42739" fmla="*/ 1631746 h 4687251"/>
              <a:gd name="connsiteX42740" fmla="*/ 4036492 w 8079933"/>
              <a:gd name="connsiteY42740" fmla="*/ 1633046 h 4687251"/>
              <a:gd name="connsiteX42741" fmla="*/ 4045173 w 8079933"/>
              <a:gd name="connsiteY42741" fmla="*/ 1628282 h 4687251"/>
              <a:gd name="connsiteX42742" fmla="*/ 4050599 w 8079933"/>
              <a:gd name="connsiteY42742" fmla="*/ 1622327 h 4687251"/>
              <a:gd name="connsiteX42743" fmla="*/ 4056459 w 8079933"/>
              <a:gd name="connsiteY42743" fmla="*/ 1622218 h 4687251"/>
              <a:gd name="connsiteX42744" fmla="*/ 4058955 w 8079933"/>
              <a:gd name="connsiteY42744" fmla="*/ 1620594 h 4687251"/>
              <a:gd name="connsiteX42745" fmla="*/ 4062862 w 8079933"/>
              <a:gd name="connsiteY42745" fmla="*/ 1622218 h 4687251"/>
              <a:gd name="connsiteX42746" fmla="*/ 4067094 w 8079933"/>
              <a:gd name="connsiteY42746" fmla="*/ 1618538 h 4687251"/>
              <a:gd name="connsiteX42747" fmla="*/ 4074148 w 8079933"/>
              <a:gd name="connsiteY42747" fmla="*/ 1617455 h 4687251"/>
              <a:gd name="connsiteX42748" fmla="*/ 4080875 w 8079933"/>
              <a:gd name="connsiteY42748" fmla="*/ 1620920 h 4687251"/>
              <a:gd name="connsiteX42749" fmla="*/ 4084457 w 8079933"/>
              <a:gd name="connsiteY42749" fmla="*/ 1624167 h 4687251"/>
              <a:gd name="connsiteX42750" fmla="*/ 4089014 w 8079933"/>
              <a:gd name="connsiteY42750" fmla="*/ 1625683 h 4687251"/>
              <a:gd name="connsiteX42751" fmla="*/ 4088906 w 8079933"/>
              <a:gd name="connsiteY42751" fmla="*/ 1626658 h 4687251"/>
              <a:gd name="connsiteX42752" fmla="*/ 4088907 w 8079933"/>
              <a:gd name="connsiteY42752" fmla="*/ 1626656 h 4687251"/>
              <a:gd name="connsiteX42753" fmla="*/ 4089015 w 8079933"/>
              <a:gd name="connsiteY42753" fmla="*/ 1625682 h 4687251"/>
              <a:gd name="connsiteX42754" fmla="*/ 4089450 w 8079933"/>
              <a:gd name="connsiteY42754" fmla="*/ 1625790 h 4687251"/>
              <a:gd name="connsiteX42755" fmla="*/ 4088365 w 8079933"/>
              <a:gd name="connsiteY42755" fmla="*/ 1621243 h 4687251"/>
              <a:gd name="connsiteX42756" fmla="*/ 4083156 w 8079933"/>
              <a:gd name="connsiteY42756" fmla="*/ 1620377 h 4687251"/>
              <a:gd name="connsiteX42757" fmla="*/ 4080986 w 8079933"/>
              <a:gd name="connsiteY42757" fmla="*/ 1616262 h 4687251"/>
              <a:gd name="connsiteX42758" fmla="*/ 4081854 w 8079933"/>
              <a:gd name="connsiteY42758" fmla="*/ 1611499 h 4687251"/>
              <a:gd name="connsiteX42759" fmla="*/ 4092597 w 8079933"/>
              <a:gd name="connsiteY42759" fmla="*/ 1608683 h 4687251"/>
              <a:gd name="connsiteX42760" fmla="*/ 4095635 w 8079933"/>
              <a:gd name="connsiteY42760" fmla="*/ 1607168 h 4687251"/>
              <a:gd name="connsiteX42761" fmla="*/ 4100844 w 8079933"/>
              <a:gd name="connsiteY42761" fmla="*/ 1610957 h 4687251"/>
              <a:gd name="connsiteX42762" fmla="*/ 4100844 w 8079933"/>
              <a:gd name="connsiteY42762" fmla="*/ 1616371 h 4687251"/>
              <a:gd name="connsiteX42763" fmla="*/ 4104859 w 8079933"/>
              <a:gd name="connsiteY42763" fmla="*/ 1621134 h 4687251"/>
              <a:gd name="connsiteX42764" fmla="*/ 4107247 w 8079933"/>
              <a:gd name="connsiteY42764" fmla="*/ 1618536 h 4687251"/>
              <a:gd name="connsiteX42765" fmla="*/ 4105076 w 8079933"/>
              <a:gd name="connsiteY42765" fmla="*/ 1614422 h 4687251"/>
              <a:gd name="connsiteX42766" fmla="*/ 4105076 w 8079933"/>
              <a:gd name="connsiteY42766" fmla="*/ 1610957 h 4687251"/>
              <a:gd name="connsiteX42767" fmla="*/ 4107247 w 8079933"/>
              <a:gd name="connsiteY42767" fmla="*/ 1610091 h 4687251"/>
              <a:gd name="connsiteX42768" fmla="*/ 4110719 w 8079933"/>
              <a:gd name="connsiteY42768" fmla="*/ 1613122 h 4687251"/>
              <a:gd name="connsiteX42769" fmla="*/ 4110285 w 8079933"/>
              <a:gd name="connsiteY42769" fmla="*/ 1618536 h 4687251"/>
              <a:gd name="connsiteX42770" fmla="*/ 4115494 w 8079933"/>
              <a:gd name="connsiteY42770" fmla="*/ 1624491 h 4687251"/>
              <a:gd name="connsiteX42771" fmla="*/ 4113432 w 8079933"/>
              <a:gd name="connsiteY42771" fmla="*/ 1620052 h 4687251"/>
              <a:gd name="connsiteX42772" fmla="*/ 4113215 w 8079933"/>
              <a:gd name="connsiteY42772" fmla="*/ 1613122 h 4687251"/>
              <a:gd name="connsiteX42773" fmla="*/ 4112238 w 8079933"/>
              <a:gd name="connsiteY42773" fmla="*/ 1609225 h 4687251"/>
              <a:gd name="connsiteX42774" fmla="*/ 4115168 w 8079933"/>
              <a:gd name="connsiteY42774" fmla="*/ 1604461 h 4687251"/>
              <a:gd name="connsiteX42775" fmla="*/ 4118966 w 8079933"/>
              <a:gd name="connsiteY42775" fmla="*/ 1603811 h 4687251"/>
              <a:gd name="connsiteX42776" fmla="*/ 4122764 w 8079933"/>
              <a:gd name="connsiteY42776" fmla="*/ 1605760 h 4687251"/>
              <a:gd name="connsiteX42777" fmla="*/ 4127865 w 8079933"/>
              <a:gd name="connsiteY42777" fmla="*/ 1603811 h 4687251"/>
              <a:gd name="connsiteX42778" fmla="*/ 4135352 w 8079933"/>
              <a:gd name="connsiteY42778" fmla="*/ 1612040 h 4687251"/>
              <a:gd name="connsiteX42779" fmla="*/ 4145770 w 8079933"/>
              <a:gd name="connsiteY42779" fmla="*/ 1614097 h 4687251"/>
              <a:gd name="connsiteX42780" fmla="*/ 4135895 w 8079933"/>
              <a:gd name="connsiteY42780" fmla="*/ 1609983 h 4687251"/>
              <a:gd name="connsiteX42781" fmla="*/ 4128407 w 8079933"/>
              <a:gd name="connsiteY42781" fmla="*/ 1602187 h 4687251"/>
              <a:gd name="connsiteX42782" fmla="*/ 4122547 w 8079933"/>
              <a:gd name="connsiteY42782" fmla="*/ 1601754 h 4687251"/>
              <a:gd name="connsiteX42783" fmla="*/ 4119400 w 8079933"/>
              <a:gd name="connsiteY42783" fmla="*/ 1599805 h 4687251"/>
              <a:gd name="connsiteX42784" fmla="*/ 4119400 w 8079933"/>
              <a:gd name="connsiteY42784" fmla="*/ 1596340 h 4687251"/>
              <a:gd name="connsiteX42785" fmla="*/ 4123090 w 8079933"/>
              <a:gd name="connsiteY42785" fmla="*/ 1593526 h 4687251"/>
              <a:gd name="connsiteX42786" fmla="*/ 4118749 w 8079933"/>
              <a:gd name="connsiteY42786" fmla="*/ 1590818 h 4687251"/>
              <a:gd name="connsiteX42787" fmla="*/ 4118749 w 8079933"/>
              <a:gd name="connsiteY42787" fmla="*/ 1585189 h 4687251"/>
              <a:gd name="connsiteX42788" fmla="*/ 4114626 w 8079933"/>
              <a:gd name="connsiteY42788" fmla="*/ 1587030 h 4687251"/>
              <a:gd name="connsiteX42789" fmla="*/ 4114408 w 8079933"/>
              <a:gd name="connsiteY42789" fmla="*/ 1582807 h 4687251"/>
              <a:gd name="connsiteX42790" fmla="*/ 4118424 w 8079933"/>
              <a:gd name="connsiteY42790" fmla="*/ 1582807 h 4687251"/>
              <a:gd name="connsiteX42791" fmla="*/ 4122764 w 8079933"/>
              <a:gd name="connsiteY42791" fmla="*/ 1581183 h 4687251"/>
              <a:gd name="connsiteX42792" fmla="*/ 4117556 w 8079933"/>
              <a:gd name="connsiteY42792" fmla="*/ 1576310 h 4687251"/>
              <a:gd name="connsiteX42793" fmla="*/ 4117881 w 8079933"/>
              <a:gd name="connsiteY42793" fmla="*/ 1572954 h 4687251"/>
              <a:gd name="connsiteX42794" fmla="*/ 4115385 w 8079933"/>
              <a:gd name="connsiteY42794" fmla="*/ 1572737 h 4687251"/>
              <a:gd name="connsiteX42795" fmla="*/ 4112130 w 8079933"/>
              <a:gd name="connsiteY42795" fmla="*/ 1570572 h 4687251"/>
              <a:gd name="connsiteX42796" fmla="*/ 4112455 w 8079933"/>
              <a:gd name="connsiteY42796" fmla="*/ 1566566 h 4687251"/>
              <a:gd name="connsiteX42797" fmla="*/ 4112238 w 8079933"/>
              <a:gd name="connsiteY42797" fmla="*/ 1565592 h 4687251"/>
              <a:gd name="connsiteX42798" fmla="*/ 4112237 w 8079933"/>
              <a:gd name="connsiteY42798" fmla="*/ 1565592 h 4687251"/>
              <a:gd name="connsiteX42799" fmla="*/ 4111152 w 8079933"/>
              <a:gd name="connsiteY42799" fmla="*/ 1561911 h 4687251"/>
              <a:gd name="connsiteX42800" fmla="*/ 4113214 w 8079933"/>
              <a:gd name="connsiteY42800" fmla="*/ 1560611 h 4687251"/>
              <a:gd name="connsiteX42801" fmla="*/ 4112129 w 8079933"/>
              <a:gd name="connsiteY42801" fmla="*/ 1553466 h 4687251"/>
              <a:gd name="connsiteX42802" fmla="*/ 4106703 w 8079933"/>
              <a:gd name="connsiteY42802" fmla="*/ 1548593 h 4687251"/>
              <a:gd name="connsiteX42803" fmla="*/ 4102688 w 8079933"/>
              <a:gd name="connsiteY42803" fmla="*/ 1550759 h 4687251"/>
              <a:gd name="connsiteX42804" fmla="*/ 4099975 w 8079933"/>
              <a:gd name="connsiteY42804" fmla="*/ 1548593 h 4687251"/>
              <a:gd name="connsiteX42805" fmla="*/ 4102688 w 8079933"/>
              <a:gd name="connsiteY42805" fmla="*/ 1541664 h 4687251"/>
              <a:gd name="connsiteX42806" fmla="*/ 4109199 w 8079933"/>
              <a:gd name="connsiteY42806" fmla="*/ 1538632 h 4687251"/>
              <a:gd name="connsiteX42807" fmla="*/ 4106486 w 8079933"/>
              <a:gd name="connsiteY42807" fmla="*/ 1535926 h 4687251"/>
              <a:gd name="connsiteX42808" fmla="*/ 4106486 w 8079933"/>
              <a:gd name="connsiteY42808" fmla="*/ 1530512 h 4687251"/>
              <a:gd name="connsiteX42809" fmla="*/ 4103230 w 8079933"/>
              <a:gd name="connsiteY42809" fmla="*/ 1528671 h 4687251"/>
              <a:gd name="connsiteX42810" fmla="*/ 4102362 w 8079933"/>
              <a:gd name="connsiteY42810" fmla="*/ 1522716 h 4687251"/>
              <a:gd name="connsiteX42811" fmla="*/ 4104315 w 8079933"/>
              <a:gd name="connsiteY42811" fmla="*/ 1522175 h 4687251"/>
              <a:gd name="connsiteX42812" fmla="*/ 4107354 w 8079933"/>
              <a:gd name="connsiteY42812" fmla="*/ 1524557 h 4687251"/>
              <a:gd name="connsiteX42813" fmla="*/ 4107354 w 8079933"/>
              <a:gd name="connsiteY42813" fmla="*/ 1520010 h 4687251"/>
              <a:gd name="connsiteX42814" fmla="*/ 4102362 w 8079933"/>
              <a:gd name="connsiteY42814" fmla="*/ 1516220 h 4687251"/>
              <a:gd name="connsiteX42815" fmla="*/ 4105618 w 8079933"/>
              <a:gd name="connsiteY42815" fmla="*/ 1512864 h 4687251"/>
              <a:gd name="connsiteX42816" fmla="*/ 4108331 w 8079933"/>
              <a:gd name="connsiteY42816" fmla="*/ 1514271 h 4687251"/>
              <a:gd name="connsiteX42817" fmla="*/ 4112237 w 8079933"/>
              <a:gd name="connsiteY42817" fmla="*/ 1514271 h 4687251"/>
              <a:gd name="connsiteX42818" fmla="*/ 4114950 w 8079933"/>
              <a:gd name="connsiteY42818" fmla="*/ 1517303 h 4687251"/>
              <a:gd name="connsiteX42819" fmla="*/ 4119508 w 8079933"/>
              <a:gd name="connsiteY42819" fmla="*/ 1514055 h 4687251"/>
              <a:gd name="connsiteX42820" fmla="*/ 4117337 w 8079933"/>
              <a:gd name="connsiteY42820" fmla="*/ 1511024 h 4687251"/>
              <a:gd name="connsiteX42821" fmla="*/ 4121135 w 8079933"/>
              <a:gd name="connsiteY42821" fmla="*/ 1505826 h 4687251"/>
              <a:gd name="connsiteX42822" fmla="*/ 4122438 w 8079933"/>
              <a:gd name="connsiteY42822" fmla="*/ 1505826 h 4687251"/>
              <a:gd name="connsiteX42823" fmla="*/ 4124933 w 8079933"/>
              <a:gd name="connsiteY42823" fmla="*/ 1510265 h 4687251"/>
              <a:gd name="connsiteX42824" fmla="*/ 4122438 w 8079933"/>
              <a:gd name="connsiteY42824" fmla="*/ 1512973 h 4687251"/>
              <a:gd name="connsiteX42825" fmla="*/ 4123089 w 8079933"/>
              <a:gd name="connsiteY42825" fmla="*/ 1515138 h 4687251"/>
              <a:gd name="connsiteX42826" fmla="*/ 4127104 w 8079933"/>
              <a:gd name="connsiteY42826" fmla="*/ 1514271 h 4687251"/>
              <a:gd name="connsiteX42827" fmla="*/ 4130684 w 8079933"/>
              <a:gd name="connsiteY42827" fmla="*/ 1515787 h 4687251"/>
              <a:gd name="connsiteX42828" fmla="*/ 4131119 w 8079933"/>
              <a:gd name="connsiteY42828" fmla="*/ 1514271 h 4687251"/>
              <a:gd name="connsiteX42829" fmla="*/ 4127321 w 8079933"/>
              <a:gd name="connsiteY42829" fmla="*/ 1509616 h 4687251"/>
              <a:gd name="connsiteX42830" fmla="*/ 4128406 w 8079933"/>
              <a:gd name="connsiteY42830" fmla="*/ 1507775 h 4687251"/>
              <a:gd name="connsiteX42831" fmla="*/ 4124391 w 8079933"/>
              <a:gd name="connsiteY42831" fmla="*/ 1502362 h 4687251"/>
              <a:gd name="connsiteX42832" fmla="*/ 4126236 w 8079933"/>
              <a:gd name="connsiteY42832" fmla="*/ 1500738 h 4687251"/>
              <a:gd name="connsiteX42833" fmla="*/ 4130034 w 8079933"/>
              <a:gd name="connsiteY42833" fmla="*/ 1501279 h 4687251"/>
              <a:gd name="connsiteX42834" fmla="*/ 4133397 w 8079933"/>
              <a:gd name="connsiteY42834" fmla="*/ 1499655 h 4687251"/>
              <a:gd name="connsiteX42835" fmla="*/ 4140560 w 8079933"/>
              <a:gd name="connsiteY42835" fmla="*/ 1499114 h 4687251"/>
              <a:gd name="connsiteX42836" fmla="*/ 4145009 w 8079933"/>
              <a:gd name="connsiteY42836" fmla="*/ 1502145 h 4687251"/>
              <a:gd name="connsiteX42837" fmla="*/ 4145009 w 8079933"/>
              <a:gd name="connsiteY42837" fmla="*/ 1507018 h 4687251"/>
              <a:gd name="connsiteX42838" fmla="*/ 4143056 w 8079933"/>
              <a:gd name="connsiteY42838" fmla="*/ 1509616 h 4687251"/>
              <a:gd name="connsiteX42839" fmla="*/ 4145335 w 8079933"/>
              <a:gd name="connsiteY42839" fmla="*/ 1510157 h 4687251"/>
              <a:gd name="connsiteX42840" fmla="*/ 4147939 w 8079933"/>
              <a:gd name="connsiteY42840" fmla="*/ 1513947 h 4687251"/>
              <a:gd name="connsiteX42841" fmla="*/ 4150652 w 8079933"/>
              <a:gd name="connsiteY42841" fmla="*/ 1516762 h 4687251"/>
              <a:gd name="connsiteX42842" fmla="*/ 4156186 w 8079933"/>
              <a:gd name="connsiteY42842" fmla="*/ 1516979 h 4687251"/>
              <a:gd name="connsiteX42843" fmla="*/ 4158573 w 8079933"/>
              <a:gd name="connsiteY42843" fmla="*/ 1515138 h 4687251"/>
              <a:gd name="connsiteX42844" fmla="*/ 4162805 w 8079933"/>
              <a:gd name="connsiteY42844" fmla="*/ 1519685 h 4687251"/>
              <a:gd name="connsiteX42845" fmla="*/ 4161287 w 8079933"/>
              <a:gd name="connsiteY42845" fmla="*/ 1523691 h 4687251"/>
              <a:gd name="connsiteX42846" fmla="*/ 4159659 w 8079933"/>
              <a:gd name="connsiteY42846" fmla="*/ 1525965 h 4687251"/>
              <a:gd name="connsiteX42847" fmla="*/ 4157814 w 8079933"/>
              <a:gd name="connsiteY42847" fmla="*/ 1525315 h 4687251"/>
              <a:gd name="connsiteX42848" fmla="*/ 4156186 w 8079933"/>
              <a:gd name="connsiteY42848" fmla="*/ 1526506 h 4687251"/>
              <a:gd name="connsiteX42849" fmla="*/ 4153364 w 8079933"/>
              <a:gd name="connsiteY42849" fmla="*/ 1523258 h 4687251"/>
              <a:gd name="connsiteX42850" fmla="*/ 4149133 w 8079933"/>
              <a:gd name="connsiteY42850" fmla="*/ 1523908 h 4687251"/>
              <a:gd name="connsiteX42851" fmla="*/ 4146311 w 8079933"/>
              <a:gd name="connsiteY42851" fmla="*/ 1526722 h 4687251"/>
              <a:gd name="connsiteX42852" fmla="*/ 4148481 w 8079933"/>
              <a:gd name="connsiteY42852" fmla="*/ 1531054 h 4687251"/>
              <a:gd name="connsiteX42853" fmla="*/ 4148698 w 8079933"/>
              <a:gd name="connsiteY42853" fmla="*/ 1537550 h 4687251"/>
              <a:gd name="connsiteX42854" fmla="*/ 4143707 w 8079933"/>
              <a:gd name="connsiteY42854" fmla="*/ 1539391 h 4687251"/>
              <a:gd name="connsiteX42855" fmla="*/ 4141754 w 8079933"/>
              <a:gd name="connsiteY42855" fmla="*/ 1538091 h 4687251"/>
              <a:gd name="connsiteX42856" fmla="*/ 4138281 w 8079933"/>
              <a:gd name="connsiteY42856" fmla="*/ 1541881 h 4687251"/>
              <a:gd name="connsiteX42857" fmla="*/ 4140343 w 8079933"/>
              <a:gd name="connsiteY42857" fmla="*/ 1543505 h 4687251"/>
              <a:gd name="connsiteX42858" fmla="*/ 4131119 w 8079933"/>
              <a:gd name="connsiteY42858" fmla="*/ 1548160 h 4687251"/>
              <a:gd name="connsiteX42859" fmla="*/ 4130902 w 8079933"/>
              <a:gd name="connsiteY42859" fmla="*/ 1551409 h 4687251"/>
              <a:gd name="connsiteX42860" fmla="*/ 4133289 w 8079933"/>
              <a:gd name="connsiteY42860" fmla="*/ 1552491 h 4687251"/>
              <a:gd name="connsiteX42861" fmla="*/ 4132855 w 8079933"/>
              <a:gd name="connsiteY42861" fmla="*/ 1556172 h 4687251"/>
              <a:gd name="connsiteX42862" fmla="*/ 4130142 w 8079933"/>
              <a:gd name="connsiteY42862" fmla="*/ 1558446 h 4687251"/>
              <a:gd name="connsiteX42863" fmla="*/ 4130034 w 8079933"/>
              <a:gd name="connsiteY42863" fmla="*/ 1561694 h 4687251"/>
              <a:gd name="connsiteX42864" fmla="*/ 4131770 w 8079933"/>
              <a:gd name="connsiteY42864" fmla="*/ 1561694 h 4687251"/>
              <a:gd name="connsiteX42865" fmla="*/ 4135134 w 8079933"/>
              <a:gd name="connsiteY42865" fmla="*/ 1564942 h 4687251"/>
              <a:gd name="connsiteX42866" fmla="*/ 4133832 w 8079933"/>
              <a:gd name="connsiteY42866" fmla="*/ 1567866 h 4687251"/>
              <a:gd name="connsiteX42867" fmla="*/ 4134049 w 8079933"/>
              <a:gd name="connsiteY42867" fmla="*/ 1568190 h 4687251"/>
              <a:gd name="connsiteX42868" fmla="*/ 4134050 w 8079933"/>
              <a:gd name="connsiteY42868" fmla="*/ 1568190 h 4687251"/>
              <a:gd name="connsiteX42869" fmla="*/ 4138716 w 8079933"/>
              <a:gd name="connsiteY42869" fmla="*/ 1573062 h 4687251"/>
              <a:gd name="connsiteX42870" fmla="*/ 4143382 w 8079933"/>
              <a:gd name="connsiteY42870" fmla="*/ 1573604 h 4687251"/>
              <a:gd name="connsiteX42871" fmla="*/ 4140887 w 8079933"/>
              <a:gd name="connsiteY42871" fmla="*/ 1579017 h 4687251"/>
              <a:gd name="connsiteX42872" fmla="*/ 4138499 w 8079933"/>
              <a:gd name="connsiteY42872" fmla="*/ 1581399 h 4687251"/>
              <a:gd name="connsiteX42873" fmla="*/ 4139801 w 8079933"/>
              <a:gd name="connsiteY42873" fmla="*/ 1584106 h 4687251"/>
              <a:gd name="connsiteX42874" fmla="*/ 4143599 w 8079933"/>
              <a:gd name="connsiteY42874" fmla="*/ 1585189 h 4687251"/>
              <a:gd name="connsiteX42875" fmla="*/ 4145010 w 8079933"/>
              <a:gd name="connsiteY42875" fmla="*/ 1589195 h 4687251"/>
              <a:gd name="connsiteX42876" fmla="*/ 4148700 w 8079933"/>
              <a:gd name="connsiteY42876" fmla="*/ 1586488 h 4687251"/>
              <a:gd name="connsiteX42877" fmla="*/ 4150002 w 8079933"/>
              <a:gd name="connsiteY42877" fmla="*/ 1583998 h 4687251"/>
              <a:gd name="connsiteX42878" fmla="*/ 4152173 w 8079933"/>
              <a:gd name="connsiteY42878" fmla="*/ 1582590 h 4687251"/>
              <a:gd name="connsiteX42879" fmla="*/ 4154017 w 8079933"/>
              <a:gd name="connsiteY42879" fmla="*/ 1585081 h 4687251"/>
              <a:gd name="connsiteX42880" fmla="*/ 4160094 w 8079933"/>
              <a:gd name="connsiteY42880" fmla="*/ 1589411 h 4687251"/>
              <a:gd name="connsiteX42881" fmla="*/ 4161288 w 8079933"/>
              <a:gd name="connsiteY42881" fmla="*/ 1587787 h 4687251"/>
              <a:gd name="connsiteX42882" fmla="*/ 4165086 w 8079933"/>
              <a:gd name="connsiteY42882" fmla="*/ 1584755 h 4687251"/>
              <a:gd name="connsiteX42883" fmla="*/ 4167039 w 8079933"/>
              <a:gd name="connsiteY42883" fmla="*/ 1585838 h 4687251"/>
              <a:gd name="connsiteX42884" fmla="*/ 4167148 w 8079933"/>
              <a:gd name="connsiteY42884" fmla="*/ 1589844 h 4687251"/>
              <a:gd name="connsiteX42885" fmla="*/ 4163892 w 8079933"/>
              <a:gd name="connsiteY42885" fmla="*/ 1593634 h 4687251"/>
              <a:gd name="connsiteX42886" fmla="*/ 4161071 w 8079933"/>
              <a:gd name="connsiteY42886" fmla="*/ 1593201 h 4687251"/>
              <a:gd name="connsiteX42887" fmla="*/ 4156839 w 8079933"/>
              <a:gd name="connsiteY42887" fmla="*/ 1596124 h 4687251"/>
              <a:gd name="connsiteX42888" fmla="*/ 4162915 w 8079933"/>
              <a:gd name="connsiteY42888" fmla="*/ 1597965 h 4687251"/>
              <a:gd name="connsiteX42889" fmla="*/ 4164977 w 8079933"/>
              <a:gd name="connsiteY42889" fmla="*/ 1596882 h 4687251"/>
              <a:gd name="connsiteX42890" fmla="*/ 4169318 w 8079933"/>
              <a:gd name="connsiteY42890" fmla="*/ 1597315 h 4687251"/>
              <a:gd name="connsiteX42891" fmla="*/ 4170837 w 8079933"/>
              <a:gd name="connsiteY42891" fmla="*/ 1600022 h 4687251"/>
              <a:gd name="connsiteX42892" fmla="*/ 4175829 w 8079933"/>
              <a:gd name="connsiteY42892" fmla="*/ 1599481 h 4687251"/>
              <a:gd name="connsiteX42893" fmla="*/ 4176697 w 8079933"/>
              <a:gd name="connsiteY42893" fmla="*/ 1596124 h 4687251"/>
              <a:gd name="connsiteX42894" fmla="*/ 4179953 w 8079933"/>
              <a:gd name="connsiteY42894" fmla="*/ 1591577 h 4687251"/>
              <a:gd name="connsiteX42895" fmla="*/ 4188742 w 8079933"/>
              <a:gd name="connsiteY42895" fmla="*/ 1590169 h 4687251"/>
              <a:gd name="connsiteX42896" fmla="*/ 4188960 w 8079933"/>
              <a:gd name="connsiteY42896" fmla="*/ 1588004 h 4687251"/>
              <a:gd name="connsiteX42897" fmla="*/ 4193734 w 8079933"/>
              <a:gd name="connsiteY42897" fmla="*/ 1585622 h 4687251"/>
              <a:gd name="connsiteX42898" fmla="*/ 4194277 w 8079933"/>
              <a:gd name="connsiteY42898" fmla="*/ 1583132 h 4687251"/>
              <a:gd name="connsiteX42899" fmla="*/ 4196447 w 8079933"/>
              <a:gd name="connsiteY42899" fmla="*/ 1582049 h 4687251"/>
              <a:gd name="connsiteX42900" fmla="*/ 4202632 w 8079933"/>
              <a:gd name="connsiteY42900" fmla="*/ 1582698 h 4687251"/>
              <a:gd name="connsiteX42901" fmla="*/ 4197641 w 8079933"/>
              <a:gd name="connsiteY42901" fmla="*/ 1584647 h 4687251"/>
              <a:gd name="connsiteX42902" fmla="*/ 4195904 w 8079933"/>
              <a:gd name="connsiteY42902" fmla="*/ 1586596 h 4687251"/>
              <a:gd name="connsiteX42903" fmla="*/ 4195036 w 8079933"/>
              <a:gd name="connsiteY42903" fmla="*/ 1585946 h 4687251"/>
              <a:gd name="connsiteX42904" fmla="*/ 4192541 w 8079933"/>
              <a:gd name="connsiteY42904" fmla="*/ 1588437 h 4687251"/>
              <a:gd name="connsiteX42905" fmla="*/ 4194385 w 8079933"/>
              <a:gd name="connsiteY42905" fmla="*/ 1590277 h 4687251"/>
              <a:gd name="connsiteX42906" fmla="*/ 4199269 w 8079933"/>
              <a:gd name="connsiteY42906" fmla="*/ 1586812 h 4687251"/>
              <a:gd name="connsiteX42907" fmla="*/ 4204477 w 8079933"/>
              <a:gd name="connsiteY42907" fmla="*/ 1586271 h 4687251"/>
              <a:gd name="connsiteX42908" fmla="*/ 4206648 w 8079933"/>
              <a:gd name="connsiteY42908" fmla="*/ 1585189 h 4687251"/>
              <a:gd name="connsiteX42909" fmla="*/ 4208275 w 8079933"/>
              <a:gd name="connsiteY42909" fmla="*/ 1587679 h 4687251"/>
              <a:gd name="connsiteX42910" fmla="*/ 4212508 w 8079933"/>
              <a:gd name="connsiteY42910" fmla="*/ 1588437 h 4687251"/>
              <a:gd name="connsiteX42911" fmla="*/ 4218476 w 8079933"/>
              <a:gd name="connsiteY42911" fmla="*/ 1594392 h 4687251"/>
              <a:gd name="connsiteX42912" fmla="*/ 4223359 w 8079933"/>
              <a:gd name="connsiteY42912" fmla="*/ 1593526 h 4687251"/>
              <a:gd name="connsiteX42913" fmla="*/ 4226072 w 8079933"/>
              <a:gd name="connsiteY42913" fmla="*/ 1597640 h 4687251"/>
              <a:gd name="connsiteX42914" fmla="*/ 4225095 w 8079933"/>
              <a:gd name="connsiteY42914" fmla="*/ 1602187 h 4687251"/>
              <a:gd name="connsiteX42915" fmla="*/ 4229436 w 8079933"/>
              <a:gd name="connsiteY42915" fmla="*/ 1605544 h 4687251"/>
              <a:gd name="connsiteX42916" fmla="*/ 4233451 w 8079933"/>
              <a:gd name="connsiteY42916" fmla="*/ 1605003 h 4687251"/>
              <a:gd name="connsiteX42917" fmla="*/ 4236381 w 8079933"/>
              <a:gd name="connsiteY42917" fmla="*/ 1607601 h 4687251"/>
              <a:gd name="connsiteX42918" fmla="*/ 4240722 w 8079933"/>
              <a:gd name="connsiteY42918" fmla="*/ 1607384 h 4687251"/>
              <a:gd name="connsiteX42919" fmla="*/ 4240722 w 8079933"/>
              <a:gd name="connsiteY42919" fmla="*/ 1607385 h 4687251"/>
              <a:gd name="connsiteX42920" fmla="*/ 4243000 w 8079933"/>
              <a:gd name="connsiteY42920" fmla="*/ 1607168 h 4687251"/>
              <a:gd name="connsiteX42921" fmla="*/ 4242674 w 8079933"/>
              <a:gd name="connsiteY42921" fmla="*/ 1604894 h 4687251"/>
              <a:gd name="connsiteX42922" fmla="*/ 4244302 w 8079933"/>
              <a:gd name="connsiteY42922" fmla="*/ 1603920 h 4687251"/>
              <a:gd name="connsiteX42923" fmla="*/ 4246147 w 8079933"/>
              <a:gd name="connsiteY42923" fmla="*/ 1598182 h 4687251"/>
              <a:gd name="connsiteX42924" fmla="*/ 4248860 w 8079933"/>
              <a:gd name="connsiteY42924" fmla="*/ 1592443 h 4687251"/>
              <a:gd name="connsiteX42925" fmla="*/ 4256456 w 8079933"/>
              <a:gd name="connsiteY42925" fmla="*/ 1591902 h 4687251"/>
              <a:gd name="connsiteX42926" fmla="*/ 4267633 w 8079933"/>
              <a:gd name="connsiteY42926" fmla="*/ 1585731 h 4687251"/>
              <a:gd name="connsiteX42927" fmla="*/ 4275012 w 8079933"/>
              <a:gd name="connsiteY42927" fmla="*/ 1585514 h 4687251"/>
              <a:gd name="connsiteX42928" fmla="*/ 4275012 w 8079933"/>
              <a:gd name="connsiteY42928" fmla="*/ 1581725 h 4687251"/>
              <a:gd name="connsiteX42929" fmla="*/ 4279353 w 8079933"/>
              <a:gd name="connsiteY42929" fmla="*/ 1576853 h 4687251"/>
              <a:gd name="connsiteX42930" fmla="*/ 4286298 w 8079933"/>
              <a:gd name="connsiteY42930" fmla="*/ 1576745 h 4687251"/>
              <a:gd name="connsiteX42931" fmla="*/ 4290639 w 8079933"/>
              <a:gd name="connsiteY42931" fmla="*/ 1570790 h 4687251"/>
              <a:gd name="connsiteX42932" fmla="*/ 4297692 w 8079933"/>
              <a:gd name="connsiteY42932" fmla="*/ 1568083 h 4687251"/>
              <a:gd name="connsiteX42933" fmla="*/ 4304529 w 8079933"/>
              <a:gd name="connsiteY42933" fmla="*/ 1568624 h 4687251"/>
              <a:gd name="connsiteX42934" fmla="*/ 4313970 w 8079933"/>
              <a:gd name="connsiteY42934" fmla="*/ 1563752 h 4687251"/>
              <a:gd name="connsiteX42935" fmla="*/ 4326015 w 8079933"/>
              <a:gd name="connsiteY42935" fmla="*/ 1566784 h 4687251"/>
              <a:gd name="connsiteX42936" fmla="*/ 4332743 w 8079933"/>
              <a:gd name="connsiteY42936" fmla="*/ 1570031 h 4687251"/>
              <a:gd name="connsiteX42937" fmla="*/ 4332526 w 8079933"/>
              <a:gd name="connsiteY42937" fmla="*/ 1571656 h 4687251"/>
              <a:gd name="connsiteX42938" fmla="*/ 4330030 w 8079933"/>
              <a:gd name="connsiteY42938" fmla="*/ 1570031 h 4687251"/>
              <a:gd name="connsiteX42939" fmla="*/ 4324604 w 8079933"/>
              <a:gd name="connsiteY42939" fmla="*/ 1569274 h 4687251"/>
              <a:gd name="connsiteX42940" fmla="*/ 4322977 w 8079933"/>
              <a:gd name="connsiteY42940" fmla="*/ 1573280 h 4687251"/>
              <a:gd name="connsiteX42941" fmla="*/ 4325147 w 8079933"/>
              <a:gd name="connsiteY42941" fmla="*/ 1578910 h 4687251"/>
              <a:gd name="connsiteX42942" fmla="*/ 4335456 w 8079933"/>
              <a:gd name="connsiteY42942" fmla="*/ 1581725 h 4687251"/>
              <a:gd name="connsiteX42943" fmla="*/ 4344354 w 8079933"/>
              <a:gd name="connsiteY42943" fmla="*/ 1577611 h 4687251"/>
              <a:gd name="connsiteX42944" fmla="*/ 4349346 w 8079933"/>
              <a:gd name="connsiteY42944" fmla="*/ 1572522 h 4687251"/>
              <a:gd name="connsiteX42945" fmla="*/ 4351517 w 8079933"/>
              <a:gd name="connsiteY42945" fmla="*/ 1572413 h 4687251"/>
              <a:gd name="connsiteX42946" fmla="*/ 4345223 w 8079933"/>
              <a:gd name="connsiteY42946" fmla="*/ 1578910 h 4687251"/>
              <a:gd name="connsiteX42947" fmla="*/ 4338386 w 8079933"/>
              <a:gd name="connsiteY42947" fmla="*/ 1582699 h 4687251"/>
              <a:gd name="connsiteX42948" fmla="*/ 4340123 w 8079933"/>
              <a:gd name="connsiteY42948" fmla="*/ 1584323 h 4687251"/>
              <a:gd name="connsiteX42949" fmla="*/ 4347067 w 8079933"/>
              <a:gd name="connsiteY42949" fmla="*/ 1582699 h 4687251"/>
              <a:gd name="connsiteX42950" fmla="*/ 4355206 w 8079933"/>
              <a:gd name="connsiteY42950" fmla="*/ 1575445 h 4687251"/>
              <a:gd name="connsiteX42951" fmla="*/ 4357919 w 8079933"/>
              <a:gd name="connsiteY42951" fmla="*/ 1574362 h 4687251"/>
              <a:gd name="connsiteX42952" fmla="*/ 4388304 w 8079933"/>
              <a:gd name="connsiteY42952" fmla="*/ 1576095 h 4687251"/>
              <a:gd name="connsiteX42953" fmla="*/ 4415107 w 8079933"/>
              <a:gd name="connsiteY42953" fmla="*/ 1573496 h 4687251"/>
              <a:gd name="connsiteX42954" fmla="*/ 4414348 w 8079933"/>
              <a:gd name="connsiteY42954" fmla="*/ 1565051 h 4687251"/>
              <a:gd name="connsiteX42955" fmla="*/ 4417061 w 8079933"/>
              <a:gd name="connsiteY42955" fmla="*/ 1561370 h 4687251"/>
              <a:gd name="connsiteX42956" fmla="*/ 4414673 w 8079933"/>
              <a:gd name="connsiteY42956" fmla="*/ 1558772 h 4687251"/>
              <a:gd name="connsiteX42957" fmla="*/ 4411743 w 8079933"/>
              <a:gd name="connsiteY42957" fmla="*/ 1558013 h 4687251"/>
              <a:gd name="connsiteX42958" fmla="*/ 4410875 w 8079933"/>
              <a:gd name="connsiteY42958" fmla="*/ 1553358 h 4687251"/>
              <a:gd name="connsiteX42959" fmla="*/ 4407620 w 8079933"/>
              <a:gd name="connsiteY42959" fmla="*/ 1551625 h 4687251"/>
              <a:gd name="connsiteX42960" fmla="*/ 4398829 w 8079933"/>
              <a:gd name="connsiteY42960" fmla="*/ 1553791 h 4687251"/>
              <a:gd name="connsiteX42961" fmla="*/ 4392645 w 8079933"/>
              <a:gd name="connsiteY42961" fmla="*/ 1550651 h 4687251"/>
              <a:gd name="connsiteX42962" fmla="*/ 4386025 w 8079933"/>
              <a:gd name="connsiteY42962" fmla="*/ 1541664 h 4687251"/>
              <a:gd name="connsiteX42963" fmla="*/ 4377886 w 8079933"/>
              <a:gd name="connsiteY42963" fmla="*/ 1543505 h 4687251"/>
              <a:gd name="connsiteX42964" fmla="*/ 4376693 w 8079933"/>
              <a:gd name="connsiteY42964" fmla="*/ 1542856 h 4687251"/>
              <a:gd name="connsiteX42965" fmla="*/ 4378646 w 8079933"/>
              <a:gd name="connsiteY42965" fmla="*/ 1539391 h 4687251"/>
              <a:gd name="connsiteX42966" fmla="*/ 4377018 w 8079933"/>
              <a:gd name="connsiteY42966" fmla="*/ 1533436 h 4687251"/>
              <a:gd name="connsiteX42967" fmla="*/ 4376584 w 8079933"/>
              <a:gd name="connsiteY42967" fmla="*/ 1526290 h 4687251"/>
              <a:gd name="connsiteX42968" fmla="*/ 4376585 w 8079933"/>
              <a:gd name="connsiteY42968" fmla="*/ 1526290 h 4687251"/>
              <a:gd name="connsiteX42969" fmla="*/ 4376477 w 8079933"/>
              <a:gd name="connsiteY42969" fmla="*/ 1525424 h 4687251"/>
              <a:gd name="connsiteX42970" fmla="*/ 4373764 w 8079933"/>
              <a:gd name="connsiteY42970" fmla="*/ 1522718 h 4687251"/>
              <a:gd name="connsiteX42971" fmla="*/ 4371051 w 8079933"/>
              <a:gd name="connsiteY42971" fmla="*/ 1511349 h 4687251"/>
              <a:gd name="connsiteX42972" fmla="*/ 4374523 w 8079933"/>
              <a:gd name="connsiteY42972" fmla="*/ 1508101 h 4687251"/>
              <a:gd name="connsiteX42973" fmla="*/ 4374198 w 8079933"/>
              <a:gd name="connsiteY42973" fmla="*/ 1503662 h 4687251"/>
              <a:gd name="connsiteX42974" fmla="*/ 4374741 w 8079933"/>
              <a:gd name="connsiteY42974" fmla="*/ 1498898 h 4687251"/>
              <a:gd name="connsiteX42975" fmla="*/ 4381034 w 8079933"/>
              <a:gd name="connsiteY42975" fmla="*/ 1491535 h 4687251"/>
              <a:gd name="connsiteX42976" fmla="*/ 4380817 w 8079933"/>
              <a:gd name="connsiteY42976" fmla="*/ 1483307 h 4687251"/>
              <a:gd name="connsiteX42977" fmla="*/ 4382879 w 8079933"/>
              <a:gd name="connsiteY42977" fmla="*/ 1483957 h 4687251"/>
              <a:gd name="connsiteX42978" fmla="*/ 4382337 w 8079933"/>
              <a:gd name="connsiteY42978" fmla="*/ 1479084 h 4687251"/>
              <a:gd name="connsiteX42979" fmla="*/ 4385918 w 8079933"/>
              <a:gd name="connsiteY42979" fmla="*/ 1473671 h 4687251"/>
              <a:gd name="connsiteX42980" fmla="*/ 4390801 w 8079933"/>
              <a:gd name="connsiteY42980" fmla="*/ 1473346 h 4687251"/>
              <a:gd name="connsiteX42981" fmla="*/ 4393188 w 8079933"/>
              <a:gd name="connsiteY42981" fmla="*/ 1471180 h 4687251"/>
              <a:gd name="connsiteX42982" fmla="*/ 4399808 w 8079933"/>
              <a:gd name="connsiteY42982" fmla="*/ 1469557 h 4687251"/>
              <a:gd name="connsiteX42983" fmla="*/ 4404040 w 8079933"/>
              <a:gd name="connsiteY42983" fmla="*/ 1465333 h 4687251"/>
              <a:gd name="connsiteX42984" fmla="*/ 4405993 w 8079933"/>
              <a:gd name="connsiteY42984" fmla="*/ 1465225 h 4687251"/>
              <a:gd name="connsiteX42985" fmla="*/ 4406318 w 8079933"/>
              <a:gd name="connsiteY42985" fmla="*/ 1472263 h 4687251"/>
              <a:gd name="connsiteX42986" fmla="*/ 4417496 w 8079933"/>
              <a:gd name="connsiteY42986" fmla="*/ 1484173 h 4687251"/>
              <a:gd name="connsiteX42987" fmla="*/ 4418256 w 8079933"/>
              <a:gd name="connsiteY42987" fmla="*/ 1488287 h 4687251"/>
              <a:gd name="connsiteX42988" fmla="*/ 4423899 w 8079933"/>
              <a:gd name="connsiteY42988" fmla="*/ 1493701 h 4687251"/>
              <a:gd name="connsiteX42989" fmla="*/ 4429541 w 8079933"/>
              <a:gd name="connsiteY42989" fmla="*/ 1493701 h 4687251"/>
              <a:gd name="connsiteX42990" fmla="*/ 4437138 w 8079933"/>
              <a:gd name="connsiteY42990" fmla="*/ 1485581 h 4687251"/>
              <a:gd name="connsiteX42991" fmla="*/ 4439851 w 8079933"/>
              <a:gd name="connsiteY42991" fmla="*/ 1477243 h 4687251"/>
              <a:gd name="connsiteX42992" fmla="*/ 4437680 w 8079933"/>
              <a:gd name="connsiteY42992" fmla="*/ 1466849 h 4687251"/>
              <a:gd name="connsiteX42993" fmla="*/ 4437680 w 8079933"/>
              <a:gd name="connsiteY42993" fmla="*/ 1460894 h 4687251"/>
              <a:gd name="connsiteX42994" fmla="*/ 4440176 w 8079933"/>
              <a:gd name="connsiteY42994" fmla="*/ 1459920 h 4687251"/>
              <a:gd name="connsiteX42995" fmla="*/ 4447555 w 8079933"/>
              <a:gd name="connsiteY42995" fmla="*/ 1455590 h 4687251"/>
              <a:gd name="connsiteX42996" fmla="*/ 4453306 w 8079933"/>
              <a:gd name="connsiteY42996" fmla="*/ 1454182 h 4687251"/>
              <a:gd name="connsiteX42997" fmla="*/ 4453305 w 8079933"/>
              <a:gd name="connsiteY42997" fmla="*/ 1454181 h 4687251"/>
              <a:gd name="connsiteX42998" fmla="*/ 4447554 w 8079933"/>
              <a:gd name="connsiteY42998" fmla="*/ 1455589 h 4687251"/>
              <a:gd name="connsiteX42999" fmla="*/ 4440174 w 8079933"/>
              <a:gd name="connsiteY42999" fmla="*/ 1459920 h 4687251"/>
              <a:gd name="connsiteX43000" fmla="*/ 4437679 w 8079933"/>
              <a:gd name="connsiteY43000" fmla="*/ 1460894 h 4687251"/>
              <a:gd name="connsiteX43001" fmla="*/ 4437679 w 8079933"/>
              <a:gd name="connsiteY43001" fmla="*/ 1458187 h 4687251"/>
              <a:gd name="connsiteX43002" fmla="*/ 4440174 w 8079933"/>
              <a:gd name="connsiteY43002" fmla="*/ 1445736 h 4687251"/>
              <a:gd name="connsiteX43003" fmla="*/ 4438329 w 8079933"/>
              <a:gd name="connsiteY43003" fmla="*/ 1442271 h 4687251"/>
              <a:gd name="connsiteX43004" fmla="*/ 4433663 w 8079933"/>
              <a:gd name="connsiteY43004" fmla="*/ 1446061 h 4687251"/>
              <a:gd name="connsiteX43005" fmla="*/ 4433338 w 8079933"/>
              <a:gd name="connsiteY43005" fmla="*/ 1450067 h 4687251"/>
              <a:gd name="connsiteX43006" fmla="*/ 4430950 w 8079933"/>
              <a:gd name="connsiteY43006" fmla="*/ 1450608 h 4687251"/>
              <a:gd name="connsiteX43007" fmla="*/ 4424222 w 8079933"/>
              <a:gd name="connsiteY43007" fmla="*/ 1444437 h 4687251"/>
              <a:gd name="connsiteX43008" fmla="*/ 4420316 w 8079933"/>
              <a:gd name="connsiteY43008" fmla="*/ 1438265 h 4687251"/>
              <a:gd name="connsiteX43009" fmla="*/ 4419882 w 8079933"/>
              <a:gd name="connsiteY43009" fmla="*/ 1432202 h 4687251"/>
              <a:gd name="connsiteX43010" fmla="*/ 4423354 w 8079933"/>
              <a:gd name="connsiteY43010" fmla="*/ 1431769 h 4687251"/>
              <a:gd name="connsiteX43011" fmla="*/ 4425525 w 8079933"/>
              <a:gd name="connsiteY43011" fmla="*/ 1428413 h 4687251"/>
              <a:gd name="connsiteX43012" fmla="*/ 4421184 w 8079933"/>
              <a:gd name="connsiteY43012" fmla="*/ 1427980 h 4687251"/>
              <a:gd name="connsiteX43013" fmla="*/ 4419556 w 8079933"/>
              <a:gd name="connsiteY43013" fmla="*/ 1429279 h 4687251"/>
              <a:gd name="connsiteX43014" fmla="*/ 4416518 w 8079933"/>
              <a:gd name="connsiteY43014" fmla="*/ 1428738 h 4687251"/>
              <a:gd name="connsiteX43015" fmla="*/ 4416301 w 8079933"/>
              <a:gd name="connsiteY43015" fmla="*/ 1413580 h 4687251"/>
              <a:gd name="connsiteX43016" fmla="*/ 4419014 w 8079933"/>
              <a:gd name="connsiteY43016" fmla="*/ 1409033 h 4687251"/>
              <a:gd name="connsiteX43017" fmla="*/ 4426610 w 8079933"/>
              <a:gd name="connsiteY43017" fmla="*/ 1405784 h 4687251"/>
              <a:gd name="connsiteX43018" fmla="*/ 4429649 w 8079933"/>
              <a:gd name="connsiteY43018" fmla="*/ 1406543 h 4687251"/>
              <a:gd name="connsiteX43019" fmla="*/ 4430408 w 8079933"/>
              <a:gd name="connsiteY43019" fmla="*/ 1402537 h 4687251"/>
              <a:gd name="connsiteX43020" fmla="*/ 4435075 w 8079933"/>
              <a:gd name="connsiteY43020" fmla="*/ 1401129 h 4687251"/>
              <a:gd name="connsiteX43021" fmla="*/ 4439415 w 8079933"/>
              <a:gd name="connsiteY43021" fmla="*/ 1401670 h 4687251"/>
              <a:gd name="connsiteX43022" fmla="*/ 4440717 w 8079933"/>
              <a:gd name="connsiteY43022" fmla="*/ 1397015 h 4687251"/>
              <a:gd name="connsiteX43023" fmla="*/ 4442345 w 8079933"/>
              <a:gd name="connsiteY43023" fmla="*/ 1399180 h 4687251"/>
              <a:gd name="connsiteX43024" fmla="*/ 4450809 w 8079933"/>
              <a:gd name="connsiteY43024" fmla="*/ 1399505 h 4687251"/>
              <a:gd name="connsiteX43025" fmla="*/ 4452980 w 8079933"/>
              <a:gd name="connsiteY43025" fmla="*/ 1400913 h 4687251"/>
              <a:gd name="connsiteX43026" fmla="*/ 4457320 w 8079933"/>
              <a:gd name="connsiteY43026" fmla="*/ 1398098 h 4687251"/>
              <a:gd name="connsiteX43027" fmla="*/ 4454607 w 8079933"/>
              <a:gd name="connsiteY43027" fmla="*/ 1395715 h 4687251"/>
              <a:gd name="connsiteX43028" fmla="*/ 4454607 w 8079933"/>
              <a:gd name="connsiteY43028" fmla="*/ 1393766 h 4687251"/>
              <a:gd name="connsiteX43029" fmla="*/ 4457754 w 8079933"/>
              <a:gd name="connsiteY43029" fmla="*/ 1394308 h 4687251"/>
              <a:gd name="connsiteX43030" fmla="*/ 4458080 w 8079933"/>
              <a:gd name="connsiteY43030" fmla="*/ 1391060 h 4687251"/>
              <a:gd name="connsiteX43031" fmla="*/ 4462963 w 8079933"/>
              <a:gd name="connsiteY43031" fmla="*/ 1395391 h 4687251"/>
              <a:gd name="connsiteX43032" fmla="*/ 4466979 w 8079933"/>
              <a:gd name="connsiteY43032" fmla="*/ 1394308 h 4687251"/>
              <a:gd name="connsiteX43033" fmla="*/ 4471645 w 8079933"/>
              <a:gd name="connsiteY43033" fmla="*/ 1396690 h 4687251"/>
              <a:gd name="connsiteX43034" fmla="*/ 4480543 w 8079933"/>
              <a:gd name="connsiteY43034" fmla="*/ 1396474 h 4687251"/>
              <a:gd name="connsiteX43035" fmla="*/ 4489007 w 8079933"/>
              <a:gd name="connsiteY43035" fmla="*/ 1401887 h 4687251"/>
              <a:gd name="connsiteX43036" fmla="*/ 4508156 w 8079933"/>
              <a:gd name="connsiteY43036" fmla="*/ 1402427 h 4687251"/>
              <a:gd name="connsiteX43037" fmla="*/ 4506370 w 8079933"/>
              <a:gd name="connsiteY43037" fmla="*/ 1399398 h 4687251"/>
              <a:gd name="connsiteX43038" fmla="*/ 4507890 w 8079933"/>
              <a:gd name="connsiteY43038" fmla="*/ 1394200 h 4687251"/>
              <a:gd name="connsiteX43039" fmla="*/ 4505719 w 8079933"/>
              <a:gd name="connsiteY43039" fmla="*/ 1390627 h 4687251"/>
              <a:gd name="connsiteX43040" fmla="*/ 4505719 w 8079933"/>
              <a:gd name="connsiteY43040" fmla="*/ 1387921 h 4687251"/>
              <a:gd name="connsiteX43041" fmla="*/ 4507890 w 8079933"/>
              <a:gd name="connsiteY43041" fmla="*/ 1387163 h 4687251"/>
              <a:gd name="connsiteX43042" fmla="*/ 4509843 w 8079933"/>
              <a:gd name="connsiteY43042" fmla="*/ 1391169 h 4687251"/>
              <a:gd name="connsiteX43043" fmla="*/ 4514183 w 8079933"/>
              <a:gd name="connsiteY43043" fmla="*/ 1389761 h 4687251"/>
              <a:gd name="connsiteX43044" fmla="*/ 4514183 w 8079933"/>
              <a:gd name="connsiteY43044" fmla="*/ 1385106 h 4687251"/>
              <a:gd name="connsiteX43045" fmla="*/ 4516896 w 8079933"/>
              <a:gd name="connsiteY43045" fmla="*/ 1382941 h 4687251"/>
              <a:gd name="connsiteX43046" fmla="*/ 4521562 w 8079933"/>
              <a:gd name="connsiteY43046" fmla="*/ 1385864 h 4687251"/>
              <a:gd name="connsiteX43047" fmla="*/ 4527314 w 8079933"/>
              <a:gd name="connsiteY43047" fmla="*/ 1381533 h 4687251"/>
              <a:gd name="connsiteX43048" fmla="*/ 4528616 w 8079933"/>
              <a:gd name="connsiteY43048" fmla="*/ 1377419 h 4687251"/>
              <a:gd name="connsiteX43049" fmla="*/ 4531546 w 8079933"/>
              <a:gd name="connsiteY43049" fmla="*/ 1376336 h 4687251"/>
              <a:gd name="connsiteX43050" fmla="*/ 4538599 w 8079933"/>
              <a:gd name="connsiteY43050" fmla="*/ 1378718 h 4687251"/>
              <a:gd name="connsiteX43051" fmla="*/ 4541530 w 8079933"/>
              <a:gd name="connsiteY43051" fmla="*/ 1375145 h 4687251"/>
              <a:gd name="connsiteX43052" fmla="*/ 4537406 w 8079933"/>
              <a:gd name="connsiteY43052" fmla="*/ 1369190 h 4687251"/>
              <a:gd name="connsiteX43053" fmla="*/ 4533608 w 8079933"/>
              <a:gd name="connsiteY43053" fmla="*/ 1369190 h 4687251"/>
              <a:gd name="connsiteX43054" fmla="*/ 4531438 w 8079933"/>
              <a:gd name="connsiteY43054" fmla="*/ 1370056 h 4687251"/>
              <a:gd name="connsiteX43055" fmla="*/ 4526012 w 8079933"/>
              <a:gd name="connsiteY43055" fmla="*/ 1370056 h 4687251"/>
              <a:gd name="connsiteX43056" fmla="*/ 4522973 w 8079933"/>
              <a:gd name="connsiteY43056" fmla="*/ 1365509 h 4687251"/>
              <a:gd name="connsiteX43057" fmla="*/ 4517331 w 8079933"/>
              <a:gd name="connsiteY43057" fmla="*/ 1365509 h 4687251"/>
              <a:gd name="connsiteX43058" fmla="*/ 4511687 w 8079933"/>
              <a:gd name="connsiteY43058" fmla="*/ 1359337 h 4687251"/>
              <a:gd name="connsiteX43059" fmla="*/ 4512556 w 8079933"/>
              <a:gd name="connsiteY43059" fmla="*/ 1356306 h 4687251"/>
              <a:gd name="connsiteX43060" fmla="*/ 4517764 w 8079933"/>
              <a:gd name="connsiteY43060" fmla="*/ 1360637 h 4687251"/>
              <a:gd name="connsiteX43061" fmla="*/ 4517764 w 8079933"/>
              <a:gd name="connsiteY43061" fmla="*/ 1353924 h 4687251"/>
              <a:gd name="connsiteX43062" fmla="*/ 4516137 w 8079933"/>
              <a:gd name="connsiteY43062" fmla="*/ 1350892 h 4687251"/>
              <a:gd name="connsiteX43063" fmla="*/ 4519609 w 8079933"/>
              <a:gd name="connsiteY43063" fmla="*/ 1347969 h 4687251"/>
              <a:gd name="connsiteX43064" fmla="*/ 4514400 w 8079933"/>
              <a:gd name="connsiteY43064" fmla="*/ 1348835 h 4687251"/>
              <a:gd name="connsiteX43065" fmla="*/ 4507672 w 8079933"/>
              <a:gd name="connsiteY43065" fmla="*/ 1352408 h 4687251"/>
              <a:gd name="connsiteX43066" fmla="*/ 4506587 w 8079933"/>
              <a:gd name="connsiteY43066" fmla="*/ 1353707 h 4687251"/>
              <a:gd name="connsiteX43067" fmla="*/ 4506408 w 8079933"/>
              <a:gd name="connsiteY43067" fmla="*/ 1352346 h 4687251"/>
              <a:gd name="connsiteX43068" fmla="*/ 4507022 w 8079933"/>
              <a:gd name="connsiteY43068" fmla="*/ 1357170 h 4687251"/>
              <a:gd name="connsiteX43069" fmla="*/ 4505177 w 8079933"/>
              <a:gd name="connsiteY43069" fmla="*/ 1361177 h 4687251"/>
              <a:gd name="connsiteX43070" fmla="*/ 4500510 w 8079933"/>
              <a:gd name="connsiteY43070" fmla="*/ 1359877 h 4687251"/>
              <a:gd name="connsiteX43071" fmla="*/ 4499751 w 8079933"/>
              <a:gd name="connsiteY43071" fmla="*/ 1356954 h 4687251"/>
              <a:gd name="connsiteX43072" fmla="*/ 4496496 w 8079933"/>
              <a:gd name="connsiteY43072" fmla="*/ 1355872 h 4687251"/>
              <a:gd name="connsiteX43073" fmla="*/ 4494326 w 8079933"/>
              <a:gd name="connsiteY43073" fmla="*/ 1357170 h 4687251"/>
              <a:gd name="connsiteX43074" fmla="*/ 4496279 w 8079933"/>
              <a:gd name="connsiteY43074" fmla="*/ 1359119 h 4687251"/>
              <a:gd name="connsiteX43075" fmla="*/ 4496279 w 8079933"/>
              <a:gd name="connsiteY43075" fmla="*/ 1361609 h 4687251"/>
              <a:gd name="connsiteX43076" fmla="*/ 4488900 w 8079933"/>
              <a:gd name="connsiteY43076" fmla="*/ 1362692 h 4687251"/>
              <a:gd name="connsiteX43077" fmla="*/ 4485427 w 8079933"/>
              <a:gd name="connsiteY43077" fmla="*/ 1359661 h 4687251"/>
              <a:gd name="connsiteX43078" fmla="*/ 4479242 w 8079933"/>
              <a:gd name="connsiteY43078" fmla="*/ 1360960 h 4687251"/>
              <a:gd name="connsiteX43079" fmla="*/ 4476203 w 8079933"/>
              <a:gd name="connsiteY43079" fmla="*/ 1363883 h 4687251"/>
              <a:gd name="connsiteX43080" fmla="*/ 4475118 w 8079933"/>
              <a:gd name="connsiteY43080" fmla="*/ 1361393 h 4687251"/>
              <a:gd name="connsiteX43081" fmla="*/ 4472405 w 8079933"/>
              <a:gd name="connsiteY43081" fmla="*/ 1360635 h 4687251"/>
              <a:gd name="connsiteX43082" fmla="*/ 4472405 w 8079933"/>
              <a:gd name="connsiteY43082" fmla="*/ 1363883 h 4687251"/>
              <a:gd name="connsiteX43083" fmla="*/ 4469366 w 8079933"/>
              <a:gd name="connsiteY43083" fmla="*/ 1364966 h 4687251"/>
              <a:gd name="connsiteX43084" fmla="*/ 4466979 w 8079933"/>
              <a:gd name="connsiteY43084" fmla="*/ 1359769 h 4687251"/>
              <a:gd name="connsiteX43085" fmla="*/ 4465894 w 8079933"/>
              <a:gd name="connsiteY43085" fmla="*/ 1363234 h 4687251"/>
              <a:gd name="connsiteX43086" fmla="*/ 4463181 w 8079933"/>
              <a:gd name="connsiteY43086" fmla="*/ 1363234 h 4687251"/>
              <a:gd name="connsiteX43087" fmla="*/ 4460794 w 8079933"/>
              <a:gd name="connsiteY43087" fmla="*/ 1358578 h 4687251"/>
              <a:gd name="connsiteX43088" fmla="*/ 4458840 w 8079933"/>
              <a:gd name="connsiteY43088" fmla="*/ 1360527 h 4687251"/>
              <a:gd name="connsiteX43089" fmla="*/ 4460794 w 8079933"/>
              <a:gd name="connsiteY43089" fmla="*/ 1365399 h 4687251"/>
              <a:gd name="connsiteX43090" fmla="*/ 4458624 w 8079933"/>
              <a:gd name="connsiteY43090" fmla="*/ 1364858 h 4687251"/>
              <a:gd name="connsiteX43091" fmla="*/ 4456127 w 8079933"/>
              <a:gd name="connsiteY43091" fmla="*/ 1370596 h 4687251"/>
              <a:gd name="connsiteX43092" fmla="*/ 4453631 w 8079933"/>
              <a:gd name="connsiteY43092" fmla="*/ 1369513 h 4687251"/>
              <a:gd name="connsiteX43093" fmla="*/ 4455585 w 8079933"/>
              <a:gd name="connsiteY43093" fmla="*/ 1365508 h 4687251"/>
              <a:gd name="connsiteX43094" fmla="*/ 4454717 w 8079933"/>
              <a:gd name="connsiteY43094" fmla="*/ 1363558 h 4687251"/>
              <a:gd name="connsiteX43095" fmla="*/ 4450919 w 8079933"/>
              <a:gd name="connsiteY43095" fmla="*/ 1369297 h 4687251"/>
              <a:gd name="connsiteX43096" fmla="*/ 4446795 w 8079933"/>
              <a:gd name="connsiteY43096" fmla="*/ 1370055 h 4687251"/>
              <a:gd name="connsiteX43097" fmla="*/ 4440610 w 8079933"/>
              <a:gd name="connsiteY43097" fmla="*/ 1368214 h 4687251"/>
              <a:gd name="connsiteX43098" fmla="*/ 4440067 w 8079933"/>
              <a:gd name="connsiteY43098" fmla="*/ 1370705 h 4687251"/>
              <a:gd name="connsiteX43099" fmla="*/ 4430626 w 8079933"/>
              <a:gd name="connsiteY43099" fmla="*/ 1376876 h 4687251"/>
              <a:gd name="connsiteX43100" fmla="*/ 4426285 w 8079933"/>
              <a:gd name="connsiteY43100" fmla="*/ 1376876 h 4687251"/>
              <a:gd name="connsiteX43101" fmla="*/ 4418472 w 8079933"/>
              <a:gd name="connsiteY43101" fmla="*/ 1382506 h 4687251"/>
              <a:gd name="connsiteX43102" fmla="*/ 4415000 w 8079933"/>
              <a:gd name="connsiteY43102" fmla="*/ 1382506 h 4687251"/>
              <a:gd name="connsiteX43103" fmla="*/ 4410876 w 8079933"/>
              <a:gd name="connsiteY43103" fmla="*/ 1384347 h 4687251"/>
              <a:gd name="connsiteX43104" fmla="*/ 4410333 w 8079933"/>
              <a:gd name="connsiteY43104" fmla="*/ 1381315 h 4687251"/>
              <a:gd name="connsiteX43105" fmla="*/ 4407403 w 8079933"/>
              <a:gd name="connsiteY43105" fmla="*/ 1382723 h 4687251"/>
              <a:gd name="connsiteX43106" fmla="*/ 4404908 w 8079933"/>
              <a:gd name="connsiteY43106" fmla="*/ 1389760 h 4687251"/>
              <a:gd name="connsiteX43107" fmla="*/ 4403280 w 8079933"/>
              <a:gd name="connsiteY43107" fmla="*/ 1388894 h 4687251"/>
              <a:gd name="connsiteX43108" fmla="*/ 4404908 w 8079933"/>
              <a:gd name="connsiteY43108" fmla="*/ 1384022 h 4687251"/>
              <a:gd name="connsiteX43109" fmla="*/ 4403605 w 8079933"/>
              <a:gd name="connsiteY43109" fmla="*/ 1381098 h 4687251"/>
              <a:gd name="connsiteX43110" fmla="*/ 4397637 w 8079933"/>
              <a:gd name="connsiteY43110" fmla="*/ 1372653 h 4687251"/>
              <a:gd name="connsiteX43111" fmla="*/ 4400567 w 8079933"/>
              <a:gd name="connsiteY43111" fmla="*/ 1368647 h 4687251"/>
              <a:gd name="connsiteX43112" fmla="*/ 4400567 w 8079933"/>
              <a:gd name="connsiteY43112" fmla="*/ 1365399 h 4687251"/>
              <a:gd name="connsiteX43113" fmla="*/ 4394816 w 8079933"/>
              <a:gd name="connsiteY43113" fmla="*/ 1369405 h 4687251"/>
              <a:gd name="connsiteX43114" fmla="*/ 4392319 w 8079933"/>
              <a:gd name="connsiteY43114" fmla="*/ 1369405 h 4687251"/>
              <a:gd name="connsiteX43115" fmla="*/ 4394164 w 8079933"/>
              <a:gd name="connsiteY43115" fmla="*/ 1365940 h 4687251"/>
              <a:gd name="connsiteX43116" fmla="*/ 4392211 w 8079933"/>
              <a:gd name="connsiteY43116" fmla="*/ 1365074 h 4687251"/>
              <a:gd name="connsiteX43117" fmla="*/ 4385375 w 8079933"/>
              <a:gd name="connsiteY43117" fmla="*/ 1365833 h 4687251"/>
              <a:gd name="connsiteX43118" fmla="*/ 4382119 w 8079933"/>
              <a:gd name="connsiteY43118" fmla="*/ 1362909 h 4687251"/>
              <a:gd name="connsiteX43119" fmla="*/ 4378864 w 8079933"/>
              <a:gd name="connsiteY43119" fmla="*/ 1363451 h 4687251"/>
              <a:gd name="connsiteX43120" fmla="*/ 4373438 w 8079933"/>
              <a:gd name="connsiteY43120" fmla="*/ 1357712 h 4687251"/>
              <a:gd name="connsiteX43121" fmla="*/ 4372353 w 8079933"/>
              <a:gd name="connsiteY43121" fmla="*/ 1360635 h 4687251"/>
              <a:gd name="connsiteX43122" fmla="*/ 4369965 w 8079933"/>
              <a:gd name="connsiteY43122" fmla="*/ 1358795 h 4687251"/>
              <a:gd name="connsiteX43123" fmla="*/ 4363672 w 8079933"/>
              <a:gd name="connsiteY43123" fmla="*/ 1361718 h 4687251"/>
              <a:gd name="connsiteX43124" fmla="*/ 4361827 w 8079933"/>
              <a:gd name="connsiteY43124" fmla="*/ 1359228 h 4687251"/>
              <a:gd name="connsiteX43125" fmla="*/ 4361827 w 8079933"/>
              <a:gd name="connsiteY43125" fmla="*/ 1355655 h 4687251"/>
              <a:gd name="connsiteX43126" fmla="*/ 4364322 w 8079933"/>
              <a:gd name="connsiteY43126" fmla="*/ 1350458 h 4687251"/>
              <a:gd name="connsiteX43127" fmla="*/ 4361610 w 8079933"/>
              <a:gd name="connsiteY43127" fmla="*/ 1346993 h 4687251"/>
              <a:gd name="connsiteX43128" fmla="*/ 4361610 w 8079933"/>
              <a:gd name="connsiteY43128" fmla="*/ 1337249 h 4687251"/>
              <a:gd name="connsiteX43129" fmla="*/ 4363237 w 8079933"/>
              <a:gd name="connsiteY43129" fmla="*/ 1334326 h 4687251"/>
              <a:gd name="connsiteX43130" fmla="*/ 4362477 w 8079933"/>
              <a:gd name="connsiteY43130" fmla="*/ 1326964 h 4687251"/>
              <a:gd name="connsiteX43131" fmla="*/ 4365950 w 8079933"/>
              <a:gd name="connsiteY43131" fmla="*/ 1325556 h 4687251"/>
              <a:gd name="connsiteX43132" fmla="*/ 4362369 w 8079933"/>
              <a:gd name="connsiteY43132" fmla="*/ 1319926 h 4687251"/>
              <a:gd name="connsiteX43133" fmla="*/ 4363997 w 8079933"/>
              <a:gd name="connsiteY43133" fmla="*/ 1317003 h 4687251"/>
              <a:gd name="connsiteX43134" fmla="*/ 4361610 w 8079933"/>
              <a:gd name="connsiteY43134" fmla="*/ 1315054 h 4687251"/>
              <a:gd name="connsiteX43135" fmla="*/ 4356943 w 8079933"/>
              <a:gd name="connsiteY43135" fmla="*/ 1307366 h 4687251"/>
              <a:gd name="connsiteX43136" fmla="*/ 4357920 w 8079933"/>
              <a:gd name="connsiteY43136" fmla="*/ 1305309 h 4687251"/>
              <a:gd name="connsiteX43137" fmla="*/ 4356293 w 8079933"/>
              <a:gd name="connsiteY43137" fmla="*/ 1300762 h 4687251"/>
              <a:gd name="connsiteX43138" fmla="*/ 4357594 w 8079933"/>
              <a:gd name="connsiteY43138" fmla="*/ 1298271 h 4687251"/>
              <a:gd name="connsiteX43139" fmla="*/ 4358462 w 8079933"/>
              <a:gd name="connsiteY43139" fmla="*/ 1293183 h 4687251"/>
              <a:gd name="connsiteX43140" fmla="*/ 4355967 w 8079933"/>
              <a:gd name="connsiteY43140" fmla="*/ 1290476 h 4687251"/>
              <a:gd name="connsiteX43141" fmla="*/ 4352928 w 8079933"/>
              <a:gd name="connsiteY43141" fmla="*/ 1291884 h 4687251"/>
              <a:gd name="connsiteX43142" fmla="*/ 4352060 w 8079933"/>
              <a:gd name="connsiteY43142" fmla="*/ 1288743 h 4687251"/>
              <a:gd name="connsiteX43143" fmla="*/ 4353471 w 8079933"/>
              <a:gd name="connsiteY43143" fmla="*/ 1284088 h 4687251"/>
              <a:gd name="connsiteX43144" fmla="*/ 4352168 w 8079933"/>
              <a:gd name="connsiteY43144" fmla="*/ 1283114 h 4687251"/>
              <a:gd name="connsiteX43145" fmla="*/ 4350324 w 8079933"/>
              <a:gd name="connsiteY43145" fmla="*/ 1278349 h 4687251"/>
              <a:gd name="connsiteX43146" fmla="*/ 4352711 w 8079933"/>
              <a:gd name="connsiteY43146" fmla="*/ 1274344 h 4687251"/>
              <a:gd name="connsiteX43147" fmla="*/ 4354990 w 8079933"/>
              <a:gd name="connsiteY43147" fmla="*/ 1273802 h 4687251"/>
              <a:gd name="connsiteX43148" fmla="*/ 4356835 w 8079933"/>
              <a:gd name="connsiteY43148" fmla="*/ 1269363 h 4687251"/>
              <a:gd name="connsiteX43149" fmla="*/ 4354990 w 8079933"/>
              <a:gd name="connsiteY43149" fmla="*/ 1264816 h 4687251"/>
              <a:gd name="connsiteX43150" fmla="*/ 4357703 w 8079933"/>
              <a:gd name="connsiteY43150" fmla="*/ 1262543 h 4687251"/>
              <a:gd name="connsiteX43151" fmla="*/ 4356509 w 8079933"/>
              <a:gd name="connsiteY43151" fmla="*/ 1258212 h 4687251"/>
              <a:gd name="connsiteX43152" fmla="*/ 4359765 w 8079933"/>
              <a:gd name="connsiteY43152" fmla="*/ 1257021 h 4687251"/>
              <a:gd name="connsiteX43153" fmla="*/ 4362912 w 8079933"/>
              <a:gd name="connsiteY43153" fmla="*/ 1257995 h 4687251"/>
              <a:gd name="connsiteX43154" fmla="*/ 4363454 w 8079933"/>
              <a:gd name="connsiteY43154" fmla="*/ 1259727 h 4687251"/>
              <a:gd name="connsiteX43155" fmla="*/ 4365733 w 8079933"/>
              <a:gd name="connsiteY43155" fmla="*/ 1261351 h 4687251"/>
              <a:gd name="connsiteX43156" fmla="*/ 4369965 w 8079933"/>
              <a:gd name="connsiteY43156" fmla="*/ 1258645 h 4687251"/>
              <a:gd name="connsiteX43157" fmla="*/ 4371268 w 8079933"/>
              <a:gd name="connsiteY43157" fmla="*/ 1255938 h 4687251"/>
              <a:gd name="connsiteX43158" fmla="*/ 4374198 w 8079933"/>
              <a:gd name="connsiteY43158" fmla="*/ 1252906 h 4687251"/>
              <a:gd name="connsiteX43159" fmla="*/ 4374198 w 8079933"/>
              <a:gd name="connsiteY43159" fmla="*/ 1250633 h 4687251"/>
              <a:gd name="connsiteX43160" fmla="*/ 4370942 w 8079933"/>
              <a:gd name="connsiteY43160" fmla="*/ 1247384 h 4687251"/>
              <a:gd name="connsiteX43161" fmla="*/ 4372245 w 8079933"/>
              <a:gd name="connsiteY43161" fmla="*/ 1245544 h 4687251"/>
              <a:gd name="connsiteX43162" fmla="*/ 4375499 w 8079933"/>
              <a:gd name="connsiteY43162" fmla="*/ 1246951 h 4687251"/>
              <a:gd name="connsiteX43163" fmla="*/ 4374740 w 8079933"/>
              <a:gd name="connsiteY43163" fmla="*/ 1244678 h 4687251"/>
              <a:gd name="connsiteX43164" fmla="*/ 4376585 w 8079933"/>
              <a:gd name="connsiteY43164" fmla="*/ 1239589 h 4687251"/>
              <a:gd name="connsiteX43165" fmla="*/ 4379840 w 8079933"/>
              <a:gd name="connsiteY43165" fmla="*/ 1238398 h 4687251"/>
              <a:gd name="connsiteX43166" fmla="*/ 4381468 w 8079933"/>
              <a:gd name="connsiteY43166" fmla="*/ 1240564 h 4687251"/>
              <a:gd name="connsiteX43167" fmla="*/ 4387220 w 8079933"/>
              <a:gd name="connsiteY43167" fmla="*/ 1242404 h 4687251"/>
              <a:gd name="connsiteX43168" fmla="*/ 4383964 w 8079933"/>
              <a:gd name="connsiteY43168" fmla="*/ 1240022 h 4687251"/>
              <a:gd name="connsiteX43169" fmla="*/ 4382662 w 8079933"/>
              <a:gd name="connsiteY43169" fmla="*/ 1234067 h 4687251"/>
              <a:gd name="connsiteX43170" fmla="*/ 4385592 w 8079933"/>
              <a:gd name="connsiteY43170" fmla="*/ 1230061 h 4687251"/>
              <a:gd name="connsiteX43171" fmla="*/ 4390475 w 8079933"/>
              <a:gd name="connsiteY43171" fmla="*/ 1230061 h 4687251"/>
              <a:gd name="connsiteX43172" fmla="*/ 4391560 w 8079933"/>
              <a:gd name="connsiteY43172" fmla="*/ 1226272 h 4687251"/>
              <a:gd name="connsiteX43173" fmla="*/ 4389933 w 8079933"/>
              <a:gd name="connsiteY43173" fmla="*/ 1221616 h 4687251"/>
              <a:gd name="connsiteX43174" fmla="*/ 4392103 w 8079933"/>
              <a:gd name="connsiteY43174" fmla="*/ 1221616 h 4687251"/>
              <a:gd name="connsiteX43175" fmla="*/ 4393405 w 8079933"/>
              <a:gd name="connsiteY43175" fmla="*/ 1223998 h 4687251"/>
              <a:gd name="connsiteX43176" fmla="*/ 4395250 w 8079933"/>
              <a:gd name="connsiteY43176" fmla="*/ 1223456 h 4687251"/>
              <a:gd name="connsiteX43177" fmla="*/ 4396335 w 8079933"/>
              <a:gd name="connsiteY43177" fmla="*/ 1215661 h 4687251"/>
              <a:gd name="connsiteX43178" fmla="*/ 4403714 w 8079933"/>
              <a:gd name="connsiteY43178" fmla="*/ 1207866 h 4687251"/>
              <a:gd name="connsiteX43179" fmla="*/ 4405667 w 8079933"/>
              <a:gd name="connsiteY43179" fmla="*/ 1206458 h 4687251"/>
              <a:gd name="connsiteX43180" fmla="*/ 4405667 w 8079933"/>
              <a:gd name="connsiteY43180" fmla="*/ 1203210 h 4687251"/>
              <a:gd name="connsiteX43181" fmla="*/ 4410008 w 8079933"/>
              <a:gd name="connsiteY43181" fmla="*/ 1198663 h 4687251"/>
              <a:gd name="connsiteX43182" fmla="*/ 4410008 w 8079933"/>
              <a:gd name="connsiteY43182" fmla="*/ 1194874 h 4687251"/>
              <a:gd name="connsiteX43183" fmla="*/ 4416302 w 8079933"/>
              <a:gd name="connsiteY43183" fmla="*/ 1190759 h 4687251"/>
              <a:gd name="connsiteX43184" fmla="*/ 4422270 w 8079933"/>
              <a:gd name="connsiteY43184" fmla="*/ 1190759 h 4687251"/>
              <a:gd name="connsiteX43185" fmla="*/ 4429541 w 8079933"/>
              <a:gd name="connsiteY43185" fmla="*/ 1194765 h 4687251"/>
              <a:gd name="connsiteX43186" fmla="*/ 4429541 w 8079933"/>
              <a:gd name="connsiteY43186" fmla="*/ 1191842 h 4687251"/>
              <a:gd name="connsiteX43187" fmla="*/ 4423355 w 8079933"/>
              <a:gd name="connsiteY43187" fmla="*/ 1186753 h 4687251"/>
              <a:gd name="connsiteX43188" fmla="*/ 4425309 w 8079933"/>
              <a:gd name="connsiteY43188" fmla="*/ 1185995 h 4687251"/>
              <a:gd name="connsiteX43189" fmla="*/ 4430518 w 8079933"/>
              <a:gd name="connsiteY43189" fmla="*/ 1187078 h 4687251"/>
              <a:gd name="connsiteX43190" fmla="*/ 4423247 w 8079933"/>
              <a:gd name="connsiteY43190" fmla="*/ 1180365 h 4687251"/>
              <a:gd name="connsiteX43191" fmla="*/ 4424875 w 8079933"/>
              <a:gd name="connsiteY43191" fmla="*/ 1178958 h 4687251"/>
              <a:gd name="connsiteX43192" fmla="*/ 4424875 w 8079933"/>
              <a:gd name="connsiteY43192" fmla="*/ 1171703 h 4687251"/>
              <a:gd name="connsiteX43193" fmla="*/ 4422487 w 8079933"/>
              <a:gd name="connsiteY43193" fmla="*/ 1168455 h 4687251"/>
              <a:gd name="connsiteX43194" fmla="*/ 4425960 w 8079933"/>
              <a:gd name="connsiteY43194" fmla="*/ 1166832 h 4687251"/>
              <a:gd name="connsiteX43195" fmla="*/ 4419774 w 8079933"/>
              <a:gd name="connsiteY43195" fmla="*/ 1160877 h 4687251"/>
              <a:gd name="connsiteX43196" fmla="*/ 4410768 w 8079933"/>
              <a:gd name="connsiteY43196" fmla="*/ 1160877 h 4687251"/>
              <a:gd name="connsiteX43197" fmla="*/ 4406427 w 8079933"/>
              <a:gd name="connsiteY43197" fmla="*/ 1156329 h 4687251"/>
              <a:gd name="connsiteX43198" fmla="*/ 4401869 w 8079933"/>
              <a:gd name="connsiteY43198" fmla="*/ 1156329 h 4687251"/>
              <a:gd name="connsiteX43199" fmla="*/ 4400242 w 8079933"/>
              <a:gd name="connsiteY43199" fmla="*/ 1154597 h 4687251"/>
              <a:gd name="connsiteX43200" fmla="*/ 4400242 w 8079933"/>
              <a:gd name="connsiteY43200" fmla="*/ 1152287 h 4687251"/>
              <a:gd name="connsiteX43201" fmla="*/ 4400240 w 8079933"/>
              <a:gd name="connsiteY43201" fmla="*/ 1152324 h 4687251"/>
              <a:gd name="connsiteX43202" fmla="*/ 4400023 w 8079933"/>
              <a:gd name="connsiteY43202" fmla="*/ 1152107 h 4687251"/>
              <a:gd name="connsiteX43203" fmla="*/ 4396985 w 8079933"/>
              <a:gd name="connsiteY43203" fmla="*/ 1154273 h 4687251"/>
              <a:gd name="connsiteX43204" fmla="*/ 4392427 w 8079933"/>
              <a:gd name="connsiteY43204" fmla="*/ 1153948 h 4687251"/>
              <a:gd name="connsiteX43205" fmla="*/ 4389714 w 8079933"/>
              <a:gd name="connsiteY43205" fmla="*/ 1150699 h 4687251"/>
              <a:gd name="connsiteX43206" fmla="*/ 4384071 w 8079933"/>
              <a:gd name="connsiteY43206" fmla="*/ 1154273 h 4687251"/>
              <a:gd name="connsiteX43207" fmla="*/ 4380273 w 8079933"/>
              <a:gd name="connsiteY43207" fmla="*/ 1152107 h 4687251"/>
              <a:gd name="connsiteX43208" fmla="*/ 4378320 w 8079933"/>
              <a:gd name="connsiteY43208" fmla="*/ 1156113 h 4687251"/>
              <a:gd name="connsiteX43209" fmla="*/ 4374305 w 8079933"/>
              <a:gd name="connsiteY43209" fmla="*/ 1154489 h 4687251"/>
              <a:gd name="connsiteX43210" fmla="*/ 4372569 w 8079933"/>
              <a:gd name="connsiteY43210" fmla="*/ 1150483 h 4687251"/>
              <a:gd name="connsiteX43211" fmla="*/ 4368771 w 8079933"/>
              <a:gd name="connsiteY43211" fmla="*/ 1155247 h 4687251"/>
              <a:gd name="connsiteX43212" fmla="*/ 4365841 w 8079933"/>
              <a:gd name="connsiteY43212" fmla="*/ 1149942 h 4687251"/>
              <a:gd name="connsiteX43213" fmla="*/ 4363345 w 8079933"/>
              <a:gd name="connsiteY43213" fmla="*/ 1151891 h 4687251"/>
              <a:gd name="connsiteX43214" fmla="*/ 4362802 w 8079933"/>
              <a:gd name="connsiteY43214" fmla="*/ 1156546 h 4687251"/>
              <a:gd name="connsiteX43215" fmla="*/ 4361175 w 8079933"/>
              <a:gd name="connsiteY43215" fmla="*/ 1160336 h 4687251"/>
              <a:gd name="connsiteX43216" fmla="*/ 4357593 w 8079933"/>
              <a:gd name="connsiteY43216" fmla="*/ 1161093 h 4687251"/>
              <a:gd name="connsiteX43217" fmla="*/ 4355532 w 8079933"/>
              <a:gd name="connsiteY43217" fmla="*/ 1158495 h 4687251"/>
              <a:gd name="connsiteX43218" fmla="*/ 4352276 w 8079933"/>
              <a:gd name="connsiteY43218" fmla="*/ 1157413 h 4687251"/>
              <a:gd name="connsiteX43219" fmla="*/ 4355315 w 8079933"/>
              <a:gd name="connsiteY43219" fmla="*/ 1163151 h 4687251"/>
              <a:gd name="connsiteX43220" fmla="*/ 4358462 w 8079933"/>
              <a:gd name="connsiteY43220" fmla="*/ 1165316 h 4687251"/>
              <a:gd name="connsiteX43221" fmla="*/ 4354447 w 8079933"/>
              <a:gd name="connsiteY43221" fmla="*/ 1168889 h 4687251"/>
              <a:gd name="connsiteX43222" fmla="*/ 4350431 w 8079933"/>
              <a:gd name="connsiteY43222" fmla="*/ 1168672 h 4687251"/>
              <a:gd name="connsiteX43223" fmla="*/ 4346850 w 8079933"/>
              <a:gd name="connsiteY43223" fmla="*/ 1170621 h 4687251"/>
              <a:gd name="connsiteX43224" fmla="*/ 4351191 w 8079933"/>
              <a:gd name="connsiteY43224" fmla="*/ 1172679 h 4687251"/>
              <a:gd name="connsiteX43225" fmla="*/ 4350974 w 8079933"/>
              <a:gd name="connsiteY43225" fmla="*/ 1175385 h 4687251"/>
              <a:gd name="connsiteX43226" fmla="*/ 4349129 w 8079933"/>
              <a:gd name="connsiteY43226" fmla="*/ 1175927 h 4687251"/>
              <a:gd name="connsiteX43227" fmla="*/ 4348153 w 8079933"/>
              <a:gd name="connsiteY43227" fmla="*/ 1174303 h 4687251"/>
              <a:gd name="connsiteX43228" fmla="*/ 4345331 w 8079933"/>
              <a:gd name="connsiteY43228" fmla="*/ 1172895 h 4687251"/>
              <a:gd name="connsiteX43229" fmla="*/ 4343812 w 8079933"/>
              <a:gd name="connsiteY43229" fmla="*/ 1174627 h 4687251"/>
              <a:gd name="connsiteX43230" fmla="*/ 4345874 w 8079933"/>
              <a:gd name="connsiteY43230" fmla="*/ 1177984 h 4687251"/>
              <a:gd name="connsiteX43231" fmla="*/ 4348695 w 8079933"/>
              <a:gd name="connsiteY43231" fmla="*/ 1178092 h 4687251"/>
              <a:gd name="connsiteX43232" fmla="*/ 4350974 w 8079933"/>
              <a:gd name="connsiteY43232" fmla="*/ 1181015 h 4687251"/>
              <a:gd name="connsiteX43233" fmla="*/ 4349563 w 8079933"/>
              <a:gd name="connsiteY43233" fmla="*/ 1183723 h 4687251"/>
              <a:gd name="connsiteX43234" fmla="*/ 4346633 w 8079933"/>
              <a:gd name="connsiteY43234" fmla="*/ 1192059 h 4687251"/>
              <a:gd name="connsiteX43235" fmla="*/ 4347718 w 8079933"/>
              <a:gd name="connsiteY43235" fmla="*/ 1195415 h 4687251"/>
              <a:gd name="connsiteX43236" fmla="*/ 4341967 w 8079933"/>
              <a:gd name="connsiteY43236" fmla="*/ 1196498 h 4687251"/>
              <a:gd name="connsiteX43237" fmla="*/ 4346633 w 8079933"/>
              <a:gd name="connsiteY43237" fmla="*/ 1200180 h 4687251"/>
              <a:gd name="connsiteX43238" fmla="*/ 4350431 w 8079933"/>
              <a:gd name="connsiteY43238" fmla="*/ 1200829 h 4687251"/>
              <a:gd name="connsiteX43239" fmla="*/ 4351951 w 8079933"/>
              <a:gd name="connsiteY43239" fmla="*/ 1203860 h 4687251"/>
              <a:gd name="connsiteX43240" fmla="*/ 4349021 w 8079933"/>
              <a:gd name="connsiteY43240" fmla="*/ 1204943 h 4687251"/>
              <a:gd name="connsiteX43241" fmla="*/ 4351734 w 8079933"/>
              <a:gd name="connsiteY43241" fmla="*/ 1208733 h 4687251"/>
              <a:gd name="connsiteX43242" fmla="*/ 4355206 w 8079933"/>
              <a:gd name="connsiteY43242" fmla="*/ 1208733 h 4687251"/>
              <a:gd name="connsiteX43243" fmla="*/ 4350431 w 8079933"/>
              <a:gd name="connsiteY43243" fmla="*/ 1214688 h 4687251"/>
              <a:gd name="connsiteX43244" fmla="*/ 4347393 w 8079933"/>
              <a:gd name="connsiteY43244" fmla="*/ 1214904 h 4687251"/>
              <a:gd name="connsiteX43245" fmla="*/ 4343920 w 8079933"/>
              <a:gd name="connsiteY43245" fmla="*/ 1219127 h 4687251"/>
              <a:gd name="connsiteX43246" fmla="*/ 4344680 w 8079933"/>
              <a:gd name="connsiteY43246" fmla="*/ 1226814 h 4687251"/>
              <a:gd name="connsiteX43247" fmla="*/ 4340013 w 8079933"/>
              <a:gd name="connsiteY43247" fmla="*/ 1234826 h 4687251"/>
              <a:gd name="connsiteX43248" fmla="*/ 4336867 w 8079933"/>
              <a:gd name="connsiteY43248" fmla="*/ 1234609 h 4687251"/>
              <a:gd name="connsiteX43249" fmla="*/ 4331984 w 8079933"/>
              <a:gd name="connsiteY43249" fmla="*/ 1239265 h 4687251"/>
              <a:gd name="connsiteX43250" fmla="*/ 4329487 w 8079933"/>
              <a:gd name="connsiteY43250" fmla="*/ 1236017 h 4687251"/>
              <a:gd name="connsiteX43251" fmla="*/ 4328728 w 8079933"/>
              <a:gd name="connsiteY43251" fmla="*/ 1240239 h 4687251"/>
              <a:gd name="connsiteX43252" fmla="*/ 4330573 w 8079933"/>
              <a:gd name="connsiteY43252" fmla="*/ 1244462 h 4687251"/>
              <a:gd name="connsiteX43253" fmla="*/ 4324821 w 8079933"/>
              <a:gd name="connsiteY43253" fmla="*/ 1247818 h 4687251"/>
              <a:gd name="connsiteX43254" fmla="*/ 4322434 w 8079933"/>
              <a:gd name="connsiteY43254" fmla="*/ 1252582 h 4687251"/>
              <a:gd name="connsiteX43255" fmla="*/ 4319504 w 8079933"/>
              <a:gd name="connsiteY43255" fmla="*/ 1252474 h 4687251"/>
              <a:gd name="connsiteX43256" fmla="*/ 4318962 w 8079933"/>
              <a:gd name="connsiteY43256" fmla="*/ 1249010 h 4687251"/>
              <a:gd name="connsiteX43257" fmla="*/ 4315381 w 8079933"/>
              <a:gd name="connsiteY43257" fmla="*/ 1249010 h 4687251"/>
              <a:gd name="connsiteX43258" fmla="*/ 4313210 w 8079933"/>
              <a:gd name="connsiteY43258" fmla="*/ 1253881 h 4687251"/>
              <a:gd name="connsiteX43259" fmla="*/ 4313210 w 8079933"/>
              <a:gd name="connsiteY43259" fmla="*/ 1259295 h 4687251"/>
              <a:gd name="connsiteX43260" fmla="*/ 4309954 w 8079933"/>
              <a:gd name="connsiteY43260" fmla="*/ 1262218 h 4687251"/>
              <a:gd name="connsiteX43261" fmla="*/ 4308001 w 8079933"/>
              <a:gd name="connsiteY43261" fmla="*/ 1259079 h 4687251"/>
              <a:gd name="connsiteX43262" fmla="*/ 4305939 w 8079933"/>
              <a:gd name="connsiteY43262" fmla="*/ 1259079 h 4687251"/>
              <a:gd name="connsiteX43263" fmla="*/ 4304746 w 8079933"/>
              <a:gd name="connsiteY43263" fmla="*/ 1264167 h 4687251"/>
              <a:gd name="connsiteX43264" fmla="*/ 4302576 w 8079933"/>
              <a:gd name="connsiteY43264" fmla="*/ 1264708 h 4687251"/>
              <a:gd name="connsiteX43265" fmla="*/ 4300513 w 8079933"/>
              <a:gd name="connsiteY43265" fmla="*/ 1262218 h 4687251"/>
              <a:gd name="connsiteX43266" fmla="*/ 4297258 w 8079933"/>
              <a:gd name="connsiteY43266" fmla="*/ 1265467 h 4687251"/>
              <a:gd name="connsiteX43267" fmla="*/ 4295847 w 8079933"/>
              <a:gd name="connsiteY43267" fmla="*/ 1269473 h 4687251"/>
              <a:gd name="connsiteX43268" fmla="*/ 4299103 w 8079933"/>
              <a:gd name="connsiteY43268" fmla="*/ 1270122 h 4687251"/>
              <a:gd name="connsiteX43269" fmla="*/ 4298777 w 8079933"/>
              <a:gd name="connsiteY43269" fmla="*/ 1272829 h 4687251"/>
              <a:gd name="connsiteX43270" fmla="*/ 4292267 w 8079933"/>
              <a:gd name="connsiteY43270" fmla="*/ 1278459 h 4687251"/>
              <a:gd name="connsiteX43271" fmla="*/ 4288034 w 8079933"/>
              <a:gd name="connsiteY43271" fmla="*/ 1277376 h 4687251"/>
              <a:gd name="connsiteX43272" fmla="*/ 4286841 w 8079933"/>
              <a:gd name="connsiteY43272" fmla="*/ 1279867 h 4687251"/>
              <a:gd name="connsiteX43273" fmla="*/ 4288794 w 8079933"/>
              <a:gd name="connsiteY43273" fmla="*/ 1283981 h 4687251"/>
              <a:gd name="connsiteX43274" fmla="*/ 4284887 w 8079933"/>
              <a:gd name="connsiteY43274" fmla="*/ 1289719 h 4687251"/>
              <a:gd name="connsiteX43275" fmla="*/ 4277942 w 8079933"/>
              <a:gd name="connsiteY43275" fmla="*/ 1290910 h 4687251"/>
              <a:gd name="connsiteX43276" fmla="*/ 4274144 w 8079933"/>
              <a:gd name="connsiteY43276" fmla="*/ 1289611 h 4687251"/>
              <a:gd name="connsiteX43277" fmla="*/ 4279678 w 8079933"/>
              <a:gd name="connsiteY43277" fmla="*/ 1296540 h 4687251"/>
              <a:gd name="connsiteX43278" fmla="*/ 4280330 w 8079933"/>
              <a:gd name="connsiteY43278" fmla="*/ 1302495 h 4687251"/>
              <a:gd name="connsiteX43279" fmla="*/ 4279027 w 8079933"/>
              <a:gd name="connsiteY43279" fmla="*/ 1304227 h 4687251"/>
              <a:gd name="connsiteX43280" fmla="*/ 4279895 w 8079933"/>
              <a:gd name="connsiteY43280" fmla="*/ 1309640 h 4687251"/>
              <a:gd name="connsiteX43281" fmla="*/ 4278702 w 8079933"/>
              <a:gd name="connsiteY43281" fmla="*/ 1316678 h 4687251"/>
              <a:gd name="connsiteX43282" fmla="*/ 4282283 w 8079933"/>
              <a:gd name="connsiteY43282" fmla="*/ 1320468 h 4687251"/>
              <a:gd name="connsiteX43283" fmla="*/ 4281740 w 8079933"/>
              <a:gd name="connsiteY43283" fmla="*/ 1325123 h 4687251"/>
              <a:gd name="connsiteX43284" fmla="*/ 4278702 w 8079933"/>
              <a:gd name="connsiteY43284" fmla="*/ 1322417 h 4687251"/>
              <a:gd name="connsiteX43285" fmla="*/ 4277617 w 8079933"/>
              <a:gd name="connsiteY43285" fmla="*/ 1323932 h 4687251"/>
              <a:gd name="connsiteX43286" fmla="*/ 4279027 w 8079933"/>
              <a:gd name="connsiteY43286" fmla="*/ 1330970 h 4687251"/>
              <a:gd name="connsiteX43287" fmla="*/ 4275447 w 8079933"/>
              <a:gd name="connsiteY43287" fmla="*/ 1335409 h 4687251"/>
              <a:gd name="connsiteX43288" fmla="*/ 4279027 w 8079933"/>
              <a:gd name="connsiteY43288" fmla="*/ 1336925 h 4687251"/>
              <a:gd name="connsiteX43289" fmla="*/ 4279027 w 8079933"/>
              <a:gd name="connsiteY43289" fmla="*/ 1339740 h 4687251"/>
              <a:gd name="connsiteX43290" fmla="*/ 4276857 w 8079933"/>
              <a:gd name="connsiteY43290" fmla="*/ 1341039 h 4687251"/>
              <a:gd name="connsiteX43291" fmla="*/ 4279353 w 8079933"/>
              <a:gd name="connsiteY43291" fmla="*/ 1346236 h 4687251"/>
              <a:gd name="connsiteX43292" fmla="*/ 4276097 w 8079933"/>
              <a:gd name="connsiteY43292" fmla="*/ 1350458 h 4687251"/>
              <a:gd name="connsiteX43293" fmla="*/ 4278810 w 8079933"/>
              <a:gd name="connsiteY43293" fmla="*/ 1353274 h 4687251"/>
              <a:gd name="connsiteX43294" fmla="*/ 4281198 w 8079933"/>
              <a:gd name="connsiteY43294" fmla="*/ 1356955 h 4687251"/>
              <a:gd name="connsiteX43295" fmla="*/ 4284453 w 8079933"/>
              <a:gd name="connsiteY43295" fmla="*/ 1357605 h 4687251"/>
              <a:gd name="connsiteX43296" fmla="*/ 4284453 w 8079933"/>
              <a:gd name="connsiteY43296" fmla="*/ 1362152 h 4687251"/>
              <a:gd name="connsiteX43297" fmla="*/ 4286841 w 8079933"/>
              <a:gd name="connsiteY43297" fmla="*/ 1360745 h 4687251"/>
              <a:gd name="connsiteX43298" fmla="*/ 4289336 w 8079933"/>
              <a:gd name="connsiteY43298" fmla="*/ 1365075 h 4687251"/>
              <a:gd name="connsiteX43299" fmla="*/ 4293460 w 8079933"/>
              <a:gd name="connsiteY43299" fmla="*/ 1359986 h 4687251"/>
              <a:gd name="connsiteX43300" fmla="*/ 4296716 w 8079933"/>
              <a:gd name="connsiteY43300" fmla="*/ 1362693 h 4687251"/>
              <a:gd name="connsiteX43301" fmla="*/ 4297801 w 8079933"/>
              <a:gd name="connsiteY43301" fmla="*/ 1366807 h 4687251"/>
              <a:gd name="connsiteX43302" fmla="*/ 4306374 w 8079933"/>
              <a:gd name="connsiteY43302" fmla="*/ 1373304 h 4687251"/>
              <a:gd name="connsiteX43303" fmla="*/ 4305071 w 8079933"/>
              <a:gd name="connsiteY43303" fmla="*/ 1376011 h 4687251"/>
              <a:gd name="connsiteX43304" fmla="*/ 4312125 w 8079933"/>
              <a:gd name="connsiteY43304" fmla="*/ 1380233 h 4687251"/>
              <a:gd name="connsiteX43305" fmla="*/ 4312125 w 8079933"/>
              <a:gd name="connsiteY43305" fmla="*/ 1383806 h 4687251"/>
              <a:gd name="connsiteX43306" fmla="*/ 4316791 w 8079933"/>
              <a:gd name="connsiteY43306" fmla="*/ 1388353 h 4687251"/>
              <a:gd name="connsiteX43307" fmla="*/ 4313752 w 8079933"/>
              <a:gd name="connsiteY43307" fmla="*/ 1395608 h 4687251"/>
              <a:gd name="connsiteX43308" fmla="*/ 4307784 w 8079933"/>
              <a:gd name="connsiteY43308" fmla="*/ 1401996 h 4687251"/>
              <a:gd name="connsiteX43309" fmla="*/ 4306156 w 8079933"/>
              <a:gd name="connsiteY43309" fmla="*/ 1406868 h 4687251"/>
              <a:gd name="connsiteX43310" fmla="*/ 4299645 w 8079933"/>
              <a:gd name="connsiteY43310" fmla="*/ 1408492 h 4687251"/>
              <a:gd name="connsiteX43311" fmla="*/ 4295739 w 8079933"/>
              <a:gd name="connsiteY43311" fmla="*/ 1406326 h 4687251"/>
              <a:gd name="connsiteX43312" fmla="*/ 4296173 w 8079933"/>
              <a:gd name="connsiteY43312" fmla="*/ 1403294 h 4687251"/>
              <a:gd name="connsiteX43313" fmla="*/ 4290747 w 8079933"/>
              <a:gd name="connsiteY43313" fmla="*/ 1401346 h 4687251"/>
              <a:gd name="connsiteX43314" fmla="*/ 4288468 w 8079933"/>
              <a:gd name="connsiteY43314" fmla="*/ 1398964 h 4687251"/>
              <a:gd name="connsiteX43315" fmla="*/ 4288251 w 8079933"/>
              <a:gd name="connsiteY43315" fmla="*/ 1401887 h 4687251"/>
              <a:gd name="connsiteX43316" fmla="*/ 4285321 w 8079933"/>
              <a:gd name="connsiteY43316" fmla="*/ 1401996 h 4687251"/>
              <a:gd name="connsiteX43317" fmla="*/ 4283368 w 8079933"/>
              <a:gd name="connsiteY43317" fmla="*/ 1399830 h 4687251"/>
              <a:gd name="connsiteX43318" fmla="*/ 4279245 w 8079933"/>
              <a:gd name="connsiteY43318" fmla="*/ 1398964 h 4687251"/>
              <a:gd name="connsiteX43319" fmla="*/ 4277617 w 8079933"/>
              <a:gd name="connsiteY43319" fmla="*/ 1401996 h 4687251"/>
              <a:gd name="connsiteX43320" fmla="*/ 4273927 w 8079933"/>
              <a:gd name="connsiteY43320" fmla="*/ 1403078 h 4687251"/>
              <a:gd name="connsiteX43321" fmla="*/ 4271974 w 8079933"/>
              <a:gd name="connsiteY43321" fmla="*/ 1401129 h 4687251"/>
              <a:gd name="connsiteX43322" fmla="*/ 4268501 w 8079933"/>
              <a:gd name="connsiteY43322" fmla="*/ 1405677 h 4687251"/>
              <a:gd name="connsiteX43323" fmla="*/ 4264594 w 8079933"/>
              <a:gd name="connsiteY43323" fmla="*/ 1403620 h 4687251"/>
              <a:gd name="connsiteX43324" fmla="*/ 4261122 w 8079933"/>
              <a:gd name="connsiteY43324" fmla="*/ 1405135 h 4687251"/>
              <a:gd name="connsiteX43325" fmla="*/ 4261340 w 8079933"/>
              <a:gd name="connsiteY43325" fmla="*/ 1406868 h 4687251"/>
              <a:gd name="connsiteX43326" fmla="*/ 4268501 w 8079933"/>
              <a:gd name="connsiteY43326" fmla="*/ 1407625 h 4687251"/>
              <a:gd name="connsiteX43327" fmla="*/ 4270346 w 8079933"/>
              <a:gd name="connsiteY43327" fmla="*/ 1409033 h 4687251"/>
              <a:gd name="connsiteX43328" fmla="*/ 4270889 w 8079933"/>
              <a:gd name="connsiteY43328" fmla="*/ 1406759 h 4687251"/>
              <a:gd name="connsiteX43329" fmla="*/ 4277183 w 8079933"/>
              <a:gd name="connsiteY43329" fmla="*/ 1406543 h 4687251"/>
              <a:gd name="connsiteX43330" fmla="*/ 4280330 w 8079933"/>
              <a:gd name="connsiteY43330" fmla="*/ 1408492 h 4687251"/>
              <a:gd name="connsiteX43331" fmla="*/ 4285321 w 8079933"/>
              <a:gd name="connsiteY43331" fmla="*/ 1409466 h 4687251"/>
              <a:gd name="connsiteX43332" fmla="*/ 4288468 w 8079933"/>
              <a:gd name="connsiteY43332" fmla="*/ 1413580 h 4687251"/>
              <a:gd name="connsiteX43333" fmla="*/ 4292267 w 8079933"/>
              <a:gd name="connsiteY43333" fmla="*/ 1411415 h 4687251"/>
              <a:gd name="connsiteX43334" fmla="*/ 4294545 w 8079933"/>
              <a:gd name="connsiteY43334" fmla="*/ 1412498 h 4687251"/>
              <a:gd name="connsiteX43335" fmla="*/ 4298777 w 8079933"/>
              <a:gd name="connsiteY43335" fmla="*/ 1410224 h 4687251"/>
              <a:gd name="connsiteX43336" fmla="*/ 4304529 w 8079933"/>
              <a:gd name="connsiteY43336" fmla="*/ 1411740 h 4687251"/>
              <a:gd name="connsiteX43337" fmla="*/ 4307459 w 8079933"/>
              <a:gd name="connsiteY43337" fmla="*/ 1414338 h 4687251"/>
              <a:gd name="connsiteX43338" fmla="*/ 4308001 w 8079933"/>
              <a:gd name="connsiteY43338" fmla="*/ 1418777 h 4687251"/>
              <a:gd name="connsiteX43339" fmla="*/ 4304746 w 8079933"/>
              <a:gd name="connsiteY43339" fmla="*/ 1421484 h 4687251"/>
              <a:gd name="connsiteX43340" fmla="*/ 4301490 w 8079933"/>
              <a:gd name="connsiteY43340" fmla="*/ 1421484 h 4687251"/>
              <a:gd name="connsiteX43341" fmla="*/ 4297258 w 8079933"/>
              <a:gd name="connsiteY43341" fmla="*/ 1427872 h 4687251"/>
              <a:gd name="connsiteX43342" fmla="*/ 4294545 w 8079933"/>
              <a:gd name="connsiteY43342" fmla="*/ 1427655 h 4687251"/>
              <a:gd name="connsiteX43343" fmla="*/ 4295522 w 8079933"/>
              <a:gd name="connsiteY43343" fmla="*/ 1423325 h 4687251"/>
              <a:gd name="connsiteX43344" fmla="*/ 4293894 w 8079933"/>
              <a:gd name="connsiteY43344" fmla="*/ 1421159 h 4687251"/>
              <a:gd name="connsiteX43345" fmla="*/ 4292049 w 8079933"/>
              <a:gd name="connsiteY43345" fmla="*/ 1423650 h 4687251"/>
              <a:gd name="connsiteX43346" fmla="*/ 4292809 w 8079933"/>
              <a:gd name="connsiteY43346" fmla="*/ 1426789 h 4687251"/>
              <a:gd name="connsiteX43347" fmla="*/ 4289554 w 8079933"/>
              <a:gd name="connsiteY43347" fmla="*/ 1427114 h 4687251"/>
              <a:gd name="connsiteX43348" fmla="*/ 4286298 w 8079933"/>
              <a:gd name="connsiteY43348" fmla="*/ 1430687 h 4687251"/>
              <a:gd name="connsiteX43349" fmla="*/ 4285756 w 8079933"/>
              <a:gd name="connsiteY43349" fmla="*/ 1435559 h 4687251"/>
              <a:gd name="connsiteX43350" fmla="*/ 4281740 w 8079933"/>
              <a:gd name="connsiteY43350" fmla="*/ 1432528 h 4687251"/>
              <a:gd name="connsiteX43351" fmla="*/ 4281958 w 8079933"/>
              <a:gd name="connsiteY43351" fmla="*/ 1435559 h 4687251"/>
              <a:gd name="connsiteX43352" fmla="*/ 4279245 w 8079933"/>
              <a:gd name="connsiteY43352" fmla="*/ 1438158 h 4687251"/>
              <a:gd name="connsiteX43353" fmla="*/ 4278485 w 8079933"/>
              <a:gd name="connsiteY43353" fmla="*/ 1437075 h 4687251"/>
              <a:gd name="connsiteX43354" fmla="*/ 4275989 w 8079933"/>
              <a:gd name="connsiteY43354" fmla="*/ 1437075 h 4687251"/>
              <a:gd name="connsiteX43355" fmla="*/ 4273276 w 8079933"/>
              <a:gd name="connsiteY43355" fmla="*/ 1440323 h 4687251"/>
              <a:gd name="connsiteX43356" fmla="*/ 4277183 w 8079933"/>
              <a:gd name="connsiteY43356" fmla="*/ 1440865 h 4687251"/>
              <a:gd name="connsiteX43357" fmla="*/ 4281958 w 8079933"/>
              <a:gd name="connsiteY43357" fmla="*/ 1445737 h 4687251"/>
              <a:gd name="connsiteX43358" fmla="*/ 4273059 w 8079933"/>
              <a:gd name="connsiteY43358" fmla="*/ 1446061 h 4687251"/>
              <a:gd name="connsiteX43359" fmla="*/ 4280113 w 8079933"/>
              <a:gd name="connsiteY43359" fmla="*/ 1448552 h 4687251"/>
              <a:gd name="connsiteX43360" fmla="*/ 4280438 w 8079933"/>
              <a:gd name="connsiteY43360" fmla="*/ 1451475 h 4687251"/>
              <a:gd name="connsiteX43361" fmla="*/ 4277942 w 8079933"/>
              <a:gd name="connsiteY43361" fmla="*/ 1456889 h 4687251"/>
              <a:gd name="connsiteX43362" fmla="*/ 4283043 w 8079933"/>
              <a:gd name="connsiteY43362" fmla="*/ 1461544 h 4687251"/>
              <a:gd name="connsiteX43363" fmla="*/ 4277400 w 8079933"/>
              <a:gd name="connsiteY43363" fmla="*/ 1462627 h 4687251"/>
              <a:gd name="connsiteX43364" fmla="*/ 4272191 w 8079933"/>
              <a:gd name="connsiteY43364" fmla="*/ 1460678 h 4687251"/>
              <a:gd name="connsiteX43365" fmla="*/ 4275012 w 8079933"/>
              <a:gd name="connsiteY43365" fmla="*/ 1465226 h 4687251"/>
              <a:gd name="connsiteX43366" fmla="*/ 4272734 w 8079933"/>
              <a:gd name="connsiteY43366" fmla="*/ 1469340 h 4687251"/>
              <a:gd name="connsiteX43367" fmla="*/ 4277942 w 8079933"/>
              <a:gd name="connsiteY43367" fmla="*/ 1472587 h 4687251"/>
              <a:gd name="connsiteX43368" fmla="*/ 4273819 w 8079933"/>
              <a:gd name="connsiteY43368" fmla="*/ 1476377 h 4687251"/>
              <a:gd name="connsiteX43369" fmla="*/ 4277617 w 8079933"/>
              <a:gd name="connsiteY43369" fmla="*/ 1481250 h 4687251"/>
              <a:gd name="connsiteX43370" fmla="*/ 4273602 w 8079933"/>
              <a:gd name="connsiteY43370" fmla="*/ 1485797 h 4687251"/>
              <a:gd name="connsiteX43371" fmla="*/ 4273059 w 8079933"/>
              <a:gd name="connsiteY43371" fmla="*/ 1490669 h 4687251"/>
              <a:gd name="connsiteX43372" fmla="*/ 4277183 w 8079933"/>
              <a:gd name="connsiteY43372" fmla="*/ 1494242 h 4687251"/>
              <a:gd name="connsiteX43373" fmla="*/ 4275012 w 8079933"/>
              <a:gd name="connsiteY43373" fmla="*/ 1498031 h 4687251"/>
              <a:gd name="connsiteX43374" fmla="*/ 4274144 w 8079933"/>
              <a:gd name="connsiteY43374" fmla="*/ 1509725 h 4687251"/>
              <a:gd name="connsiteX43375" fmla="*/ 4270346 w 8079933"/>
              <a:gd name="connsiteY43375" fmla="*/ 1513731 h 4687251"/>
              <a:gd name="connsiteX43376" fmla="*/ 4268719 w 8079933"/>
              <a:gd name="connsiteY43376" fmla="*/ 1523150 h 4687251"/>
              <a:gd name="connsiteX43377" fmla="*/ 4263510 w 8079933"/>
              <a:gd name="connsiteY43377" fmla="*/ 1529430 h 4687251"/>
              <a:gd name="connsiteX43378" fmla="*/ 4260905 w 8079933"/>
              <a:gd name="connsiteY43378" fmla="*/ 1526182 h 4687251"/>
              <a:gd name="connsiteX43379" fmla="*/ 4256565 w 8079933"/>
              <a:gd name="connsiteY43379" fmla="*/ 1524233 h 4687251"/>
              <a:gd name="connsiteX43380" fmla="*/ 4251356 w 8079933"/>
              <a:gd name="connsiteY43380" fmla="*/ 1527048 h 4687251"/>
              <a:gd name="connsiteX43381" fmla="*/ 4242675 w 8079933"/>
              <a:gd name="connsiteY43381" fmla="*/ 1525641 h 4687251"/>
              <a:gd name="connsiteX43382" fmla="*/ 4241372 w 8079933"/>
              <a:gd name="connsiteY43382" fmla="*/ 1522176 h 4687251"/>
              <a:gd name="connsiteX43383" fmla="*/ 4239745 w 8079933"/>
              <a:gd name="connsiteY43383" fmla="*/ 1529754 h 4687251"/>
              <a:gd name="connsiteX43384" fmla="*/ 4232365 w 8079933"/>
              <a:gd name="connsiteY43384" fmla="*/ 1530729 h 4687251"/>
              <a:gd name="connsiteX43385" fmla="*/ 4229110 w 8079933"/>
              <a:gd name="connsiteY43385" fmla="*/ 1538416 h 4687251"/>
              <a:gd name="connsiteX43386" fmla="*/ 4231823 w 8079933"/>
              <a:gd name="connsiteY43386" fmla="*/ 1540798 h 4687251"/>
              <a:gd name="connsiteX43387" fmla="*/ 4232149 w 8079933"/>
              <a:gd name="connsiteY43387" fmla="*/ 1544588 h 4687251"/>
              <a:gd name="connsiteX43388" fmla="*/ 4227483 w 8079933"/>
              <a:gd name="connsiteY43388" fmla="*/ 1548919 h 4687251"/>
              <a:gd name="connsiteX43389" fmla="*/ 4221514 w 8079933"/>
              <a:gd name="connsiteY43389" fmla="*/ 1546753 h 4687251"/>
              <a:gd name="connsiteX43390" fmla="*/ 4209360 w 8079933"/>
              <a:gd name="connsiteY43390" fmla="*/ 1550002 h 4687251"/>
              <a:gd name="connsiteX43391" fmla="*/ 4204694 w 8079933"/>
              <a:gd name="connsiteY43391" fmla="*/ 1550002 h 4687251"/>
              <a:gd name="connsiteX43392" fmla="*/ 4202198 w 8079933"/>
              <a:gd name="connsiteY43392" fmla="*/ 1547619 h 4687251"/>
              <a:gd name="connsiteX43393" fmla="*/ 4204911 w 8079933"/>
              <a:gd name="connsiteY43393" fmla="*/ 1543288 h 4687251"/>
              <a:gd name="connsiteX43394" fmla="*/ 4202740 w 8079933"/>
              <a:gd name="connsiteY43394" fmla="*/ 1532137 h 4687251"/>
              <a:gd name="connsiteX43395" fmla="*/ 4197857 w 8079933"/>
              <a:gd name="connsiteY43395" fmla="*/ 1530729 h 4687251"/>
              <a:gd name="connsiteX43396" fmla="*/ 4197097 w 8079933"/>
              <a:gd name="connsiteY43396" fmla="*/ 1526398 h 4687251"/>
              <a:gd name="connsiteX43397" fmla="*/ 4193842 w 8079933"/>
              <a:gd name="connsiteY43397" fmla="*/ 1524341 h 4687251"/>
              <a:gd name="connsiteX43398" fmla="*/ 4194710 w 8079933"/>
              <a:gd name="connsiteY43398" fmla="*/ 1521851 h 4687251"/>
              <a:gd name="connsiteX43399" fmla="*/ 4200678 w 8079933"/>
              <a:gd name="connsiteY43399" fmla="*/ 1521093 h 4687251"/>
              <a:gd name="connsiteX43400" fmla="*/ 4204151 w 8079933"/>
              <a:gd name="connsiteY43400" fmla="*/ 1514597 h 4687251"/>
              <a:gd name="connsiteX43401" fmla="*/ 4202740 w 8079933"/>
              <a:gd name="connsiteY43401" fmla="*/ 1508858 h 4687251"/>
              <a:gd name="connsiteX43402" fmla="*/ 4197640 w 8079933"/>
              <a:gd name="connsiteY43402" fmla="*/ 1511782 h 4687251"/>
              <a:gd name="connsiteX43403" fmla="*/ 4193082 w 8079933"/>
              <a:gd name="connsiteY43403" fmla="*/ 1507235 h 4687251"/>
              <a:gd name="connsiteX43404" fmla="*/ 4191889 w 8079933"/>
              <a:gd name="connsiteY43404" fmla="*/ 1502687 h 4687251"/>
              <a:gd name="connsiteX43405" fmla="*/ 4187006 w 8079933"/>
              <a:gd name="connsiteY43405" fmla="*/ 1500738 h 4687251"/>
              <a:gd name="connsiteX43406" fmla="*/ 4186463 w 8079933"/>
              <a:gd name="connsiteY43406" fmla="*/ 1494025 h 4687251"/>
              <a:gd name="connsiteX43407" fmla="*/ 4182122 w 8079933"/>
              <a:gd name="connsiteY43407" fmla="*/ 1485256 h 4687251"/>
              <a:gd name="connsiteX43408" fmla="*/ 4179952 w 8079933"/>
              <a:gd name="connsiteY43408" fmla="*/ 1483415 h 4687251"/>
              <a:gd name="connsiteX43409" fmla="*/ 4177565 w 8079933"/>
              <a:gd name="connsiteY43409" fmla="*/ 1477244 h 4687251"/>
              <a:gd name="connsiteX43410" fmla="*/ 4173549 w 8079933"/>
              <a:gd name="connsiteY43410" fmla="*/ 1476269 h 4687251"/>
              <a:gd name="connsiteX43411" fmla="*/ 4170837 w 8079933"/>
              <a:gd name="connsiteY43411" fmla="*/ 1472371 h 4687251"/>
              <a:gd name="connsiteX43412" fmla="*/ 4173115 w 8079933"/>
              <a:gd name="connsiteY43412" fmla="*/ 1470097 h 4687251"/>
              <a:gd name="connsiteX43413" fmla="*/ 4173658 w 8079933"/>
              <a:gd name="connsiteY43413" fmla="*/ 1464901 h 4687251"/>
              <a:gd name="connsiteX43414" fmla="*/ 4172247 w 8079933"/>
              <a:gd name="connsiteY43414" fmla="*/ 1461220 h 4687251"/>
              <a:gd name="connsiteX43415" fmla="*/ 4173115 w 8079933"/>
              <a:gd name="connsiteY43415" fmla="*/ 1457430 h 4687251"/>
              <a:gd name="connsiteX43416" fmla="*/ 4177890 w 8079933"/>
              <a:gd name="connsiteY43416" fmla="*/ 1453532 h 4687251"/>
              <a:gd name="connsiteX43417" fmla="*/ 4176588 w 8079933"/>
              <a:gd name="connsiteY43417" fmla="*/ 1450934 h 4687251"/>
              <a:gd name="connsiteX43418" fmla="*/ 4172573 w 8079933"/>
              <a:gd name="connsiteY43418" fmla="*/ 1448660 h 4687251"/>
              <a:gd name="connsiteX43419" fmla="*/ 4173658 w 8079933"/>
              <a:gd name="connsiteY43419" fmla="*/ 1446278 h 4687251"/>
              <a:gd name="connsiteX43420" fmla="*/ 4171379 w 8079933"/>
              <a:gd name="connsiteY43420" fmla="*/ 1446170 h 4687251"/>
              <a:gd name="connsiteX43421" fmla="*/ 4170837 w 8079933"/>
              <a:gd name="connsiteY43421" fmla="*/ 1449851 h 4687251"/>
              <a:gd name="connsiteX43422" fmla="*/ 4174092 w 8079933"/>
              <a:gd name="connsiteY43422" fmla="*/ 1453316 h 4687251"/>
              <a:gd name="connsiteX43423" fmla="*/ 4168775 w 8079933"/>
              <a:gd name="connsiteY43423" fmla="*/ 1455589 h 4687251"/>
              <a:gd name="connsiteX43424" fmla="*/ 4169534 w 8079933"/>
              <a:gd name="connsiteY43424" fmla="*/ 1450501 h 4687251"/>
              <a:gd name="connsiteX43425" fmla="*/ 4168232 w 8079933"/>
              <a:gd name="connsiteY43425" fmla="*/ 1448768 h 4687251"/>
              <a:gd name="connsiteX43426" fmla="*/ 4164868 w 8079933"/>
              <a:gd name="connsiteY43426" fmla="*/ 1446928 h 4687251"/>
              <a:gd name="connsiteX43427" fmla="*/ 4164435 w 8079933"/>
              <a:gd name="connsiteY43427" fmla="*/ 1439240 h 4687251"/>
              <a:gd name="connsiteX43428" fmla="*/ 4162481 w 8079933"/>
              <a:gd name="connsiteY43428" fmla="*/ 1436426 h 4687251"/>
              <a:gd name="connsiteX43429" fmla="*/ 4161613 w 8079933"/>
              <a:gd name="connsiteY43429" fmla="*/ 1426140 h 4687251"/>
              <a:gd name="connsiteX43430" fmla="*/ 4165303 w 8079933"/>
              <a:gd name="connsiteY43430" fmla="*/ 1423975 h 4687251"/>
              <a:gd name="connsiteX43431" fmla="*/ 4165736 w 8079933"/>
              <a:gd name="connsiteY43431" fmla="*/ 1423541 h 4687251"/>
              <a:gd name="connsiteX43432" fmla="*/ 4168666 w 8079933"/>
              <a:gd name="connsiteY43432" fmla="*/ 1425490 h 4687251"/>
              <a:gd name="connsiteX43433" fmla="*/ 4171379 w 8079933"/>
              <a:gd name="connsiteY43433" fmla="*/ 1430363 h 4687251"/>
              <a:gd name="connsiteX43434" fmla="*/ 4173984 w 8079933"/>
              <a:gd name="connsiteY43434" fmla="*/ 1425490 h 4687251"/>
              <a:gd name="connsiteX43435" fmla="*/ 4173984 w 8079933"/>
              <a:gd name="connsiteY43435" fmla="*/ 1425489 h 4687251"/>
              <a:gd name="connsiteX43436" fmla="*/ 4171379 w 8079933"/>
              <a:gd name="connsiteY43436" fmla="*/ 1430362 h 4687251"/>
              <a:gd name="connsiteX43437" fmla="*/ 4168666 w 8079933"/>
              <a:gd name="connsiteY43437" fmla="*/ 1425489 h 4687251"/>
              <a:gd name="connsiteX43438" fmla="*/ 4165736 w 8079933"/>
              <a:gd name="connsiteY43438" fmla="*/ 1423540 h 4687251"/>
              <a:gd name="connsiteX43439" fmla="*/ 4167147 w 8079933"/>
              <a:gd name="connsiteY43439" fmla="*/ 1421700 h 4687251"/>
              <a:gd name="connsiteX43440" fmla="*/ 4164760 w 8079933"/>
              <a:gd name="connsiteY43440" fmla="*/ 1419642 h 4687251"/>
              <a:gd name="connsiteX43441" fmla="*/ 4159117 w 8079933"/>
              <a:gd name="connsiteY43441" fmla="*/ 1420184 h 4687251"/>
              <a:gd name="connsiteX43442" fmla="*/ 4154125 w 8079933"/>
              <a:gd name="connsiteY43442" fmla="*/ 1415095 h 4687251"/>
              <a:gd name="connsiteX43443" fmla="*/ 4153365 w 8079933"/>
              <a:gd name="connsiteY43443" fmla="*/ 1411956 h 4687251"/>
              <a:gd name="connsiteX43444" fmla="*/ 4150652 w 8079933"/>
              <a:gd name="connsiteY43444" fmla="*/ 1407624 h 4687251"/>
              <a:gd name="connsiteX43445" fmla="*/ 4151629 w 8079933"/>
              <a:gd name="connsiteY43445" fmla="*/ 1403727 h 4687251"/>
              <a:gd name="connsiteX43446" fmla="*/ 4150761 w 8079933"/>
              <a:gd name="connsiteY43446" fmla="*/ 1398097 h 4687251"/>
              <a:gd name="connsiteX43447" fmla="*/ 4153474 w 8079933"/>
              <a:gd name="connsiteY43447" fmla="*/ 1393766 h 4687251"/>
              <a:gd name="connsiteX43448" fmla="*/ 4150110 w 8079933"/>
              <a:gd name="connsiteY43448" fmla="*/ 1390410 h 4687251"/>
              <a:gd name="connsiteX43449" fmla="*/ 4146529 w 8079933"/>
              <a:gd name="connsiteY43449" fmla="*/ 1393116 h 4687251"/>
              <a:gd name="connsiteX43450" fmla="*/ 4146311 w 8079933"/>
              <a:gd name="connsiteY43450" fmla="*/ 1397556 h 4687251"/>
              <a:gd name="connsiteX43451" fmla="*/ 4148808 w 8079933"/>
              <a:gd name="connsiteY43451" fmla="*/ 1400371 h 4687251"/>
              <a:gd name="connsiteX43452" fmla="*/ 4146963 w 8079933"/>
              <a:gd name="connsiteY43452" fmla="*/ 1402536 h 4687251"/>
              <a:gd name="connsiteX43453" fmla="*/ 4144684 w 8079933"/>
              <a:gd name="connsiteY43453" fmla="*/ 1402752 h 4687251"/>
              <a:gd name="connsiteX43454" fmla="*/ 4144250 w 8079933"/>
              <a:gd name="connsiteY43454" fmla="*/ 1404810 h 4687251"/>
              <a:gd name="connsiteX43455" fmla="*/ 4142080 w 8079933"/>
              <a:gd name="connsiteY43455" fmla="*/ 1406217 h 4687251"/>
              <a:gd name="connsiteX43456" fmla="*/ 4143707 w 8079933"/>
              <a:gd name="connsiteY43456" fmla="*/ 1408924 h 4687251"/>
              <a:gd name="connsiteX43457" fmla="*/ 4146855 w 8079933"/>
              <a:gd name="connsiteY43457" fmla="*/ 1410223 h 4687251"/>
              <a:gd name="connsiteX43458" fmla="*/ 4148374 w 8079933"/>
              <a:gd name="connsiteY43458" fmla="*/ 1414771 h 4687251"/>
              <a:gd name="connsiteX43459" fmla="*/ 4146746 w 8079933"/>
              <a:gd name="connsiteY43459" fmla="*/ 1419968 h 4687251"/>
              <a:gd name="connsiteX43460" fmla="*/ 4140886 w 8079933"/>
              <a:gd name="connsiteY43460" fmla="*/ 1425489 h 4687251"/>
              <a:gd name="connsiteX43461" fmla="*/ 4140669 w 8079933"/>
              <a:gd name="connsiteY43461" fmla="*/ 1423757 h 4687251"/>
              <a:gd name="connsiteX43462" fmla="*/ 4136762 w 8079933"/>
              <a:gd name="connsiteY43462" fmla="*/ 1420401 h 4687251"/>
              <a:gd name="connsiteX43463" fmla="*/ 4135134 w 8079933"/>
              <a:gd name="connsiteY43463" fmla="*/ 1423324 h 4687251"/>
              <a:gd name="connsiteX43464" fmla="*/ 4137197 w 8079933"/>
              <a:gd name="connsiteY43464" fmla="*/ 1424948 h 4687251"/>
              <a:gd name="connsiteX43465" fmla="*/ 4138390 w 8079933"/>
              <a:gd name="connsiteY43465" fmla="*/ 1427546 h 4687251"/>
              <a:gd name="connsiteX43466" fmla="*/ 4133832 w 8079933"/>
              <a:gd name="connsiteY43466" fmla="*/ 1429603 h 4687251"/>
              <a:gd name="connsiteX43467" fmla="*/ 4131662 w 8079933"/>
              <a:gd name="connsiteY43467" fmla="*/ 1426789 h 4687251"/>
              <a:gd name="connsiteX43468" fmla="*/ 4132313 w 8079933"/>
              <a:gd name="connsiteY43468" fmla="*/ 1424190 h 4687251"/>
              <a:gd name="connsiteX43469" fmla="*/ 4129383 w 8079933"/>
              <a:gd name="connsiteY43469" fmla="*/ 1423757 h 4687251"/>
              <a:gd name="connsiteX43470" fmla="*/ 4127756 w 8079933"/>
              <a:gd name="connsiteY43470" fmla="*/ 1421917 h 4687251"/>
              <a:gd name="connsiteX43471" fmla="*/ 4126019 w 8079933"/>
              <a:gd name="connsiteY43471" fmla="*/ 1415312 h 4687251"/>
              <a:gd name="connsiteX43472" fmla="*/ 4121461 w 8079933"/>
              <a:gd name="connsiteY43472" fmla="*/ 1410332 h 4687251"/>
              <a:gd name="connsiteX43473" fmla="*/ 4119074 w 8079933"/>
              <a:gd name="connsiteY43473" fmla="*/ 1408924 h 4687251"/>
              <a:gd name="connsiteX43474" fmla="*/ 4118965 w 8079933"/>
              <a:gd name="connsiteY43474" fmla="*/ 1412822 h 4687251"/>
              <a:gd name="connsiteX43475" fmla="*/ 4122981 w 8079933"/>
              <a:gd name="connsiteY43475" fmla="*/ 1415854 h 4687251"/>
              <a:gd name="connsiteX43476" fmla="*/ 4126345 w 8079933"/>
              <a:gd name="connsiteY43476" fmla="*/ 1420293 h 4687251"/>
              <a:gd name="connsiteX43477" fmla="*/ 4125043 w 8079933"/>
              <a:gd name="connsiteY43477" fmla="*/ 1423432 h 4687251"/>
              <a:gd name="connsiteX43478" fmla="*/ 4128732 w 8079933"/>
              <a:gd name="connsiteY43478" fmla="*/ 1428196 h 4687251"/>
              <a:gd name="connsiteX43479" fmla="*/ 4127756 w 8079933"/>
              <a:gd name="connsiteY43479" fmla="*/ 1431119 h 4687251"/>
              <a:gd name="connsiteX43480" fmla="*/ 4123849 w 8079933"/>
              <a:gd name="connsiteY43480" fmla="*/ 1431877 h 4687251"/>
              <a:gd name="connsiteX43481" fmla="*/ 4120159 w 8079933"/>
              <a:gd name="connsiteY43481" fmla="*/ 1434260 h 4687251"/>
              <a:gd name="connsiteX43482" fmla="*/ 4120702 w 8079933"/>
              <a:gd name="connsiteY43482" fmla="*/ 1437507 h 4687251"/>
              <a:gd name="connsiteX43483" fmla="*/ 4117664 w 8079933"/>
              <a:gd name="connsiteY43483" fmla="*/ 1439564 h 4687251"/>
              <a:gd name="connsiteX43484" fmla="*/ 4119074 w 8079933"/>
              <a:gd name="connsiteY43484" fmla="*/ 1441297 h 4687251"/>
              <a:gd name="connsiteX43485" fmla="*/ 4113974 w 8079933"/>
              <a:gd name="connsiteY43485" fmla="*/ 1446278 h 4687251"/>
              <a:gd name="connsiteX43486" fmla="*/ 4107680 w 8079933"/>
              <a:gd name="connsiteY43486" fmla="*/ 1442380 h 4687251"/>
              <a:gd name="connsiteX43487" fmla="*/ 4111261 w 8079933"/>
              <a:gd name="connsiteY43487" fmla="*/ 1446819 h 4687251"/>
              <a:gd name="connsiteX43488" fmla="*/ 4111695 w 8079933"/>
              <a:gd name="connsiteY43488" fmla="*/ 1449742 h 4687251"/>
              <a:gd name="connsiteX43489" fmla="*/ 4103448 w 8079933"/>
              <a:gd name="connsiteY43489" fmla="*/ 1457970 h 4687251"/>
              <a:gd name="connsiteX43490" fmla="*/ 4100518 w 8079933"/>
              <a:gd name="connsiteY43490" fmla="*/ 1457754 h 4687251"/>
              <a:gd name="connsiteX43491" fmla="*/ 4099324 w 8079933"/>
              <a:gd name="connsiteY43491" fmla="*/ 1454290 h 4687251"/>
              <a:gd name="connsiteX43492" fmla="*/ 4098347 w 8079933"/>
              <a:gd name="connsiteY43492" fmla="*/ 1454073 h 4687251"/>
              <a:gd name="connsiteX43493" fmla="*/ 4096286 w 8079933"/>
              <a:gd name="connsiteY43493" fmla="*/ 1456238 h 4687251"/>
              <a:gd name="connsiteX43494" fmla="*/ 4094115 w 8079933"/>
              <a:gd name="connsiteY43494" fmla="*/ 1456780 h 4687251"/>
              <a:gd name="connsiteX43495" fmla="*/ 4089232 w 8079933"/>
              <a:gd name="connsiteY43495" fmla="*/ 1461543 h 4687251"/>
              <a:gd name="connsiteX43496" fmla="*/ 4085108 w 8079933"/>
              <a:gd name="connsiteY43496" fmla="*/ 1463384 h 4687251"/>
              <a:gd name="connsiteX43497" fmla="*/ 4083263 w 8079933"/>
              <a:gd name="connsiteY43497" fmla="*/ 1462410 h 4687251"/>
              <a:gd name="connsiteX43498" fmla="*/ 4081093 w 8079933"/>
              <a:gd name="connsiteY43498" fmla="*/ 1465117 h 4687251"/>
              <a:gd name="connsiteX43499" fmla="*/ 4076319 w 8079933"/>
              <a:gd name="connsiteY43499" fmla="*/ 1459162 h 4687251"/>
              <a:gd name="connsiteX43500" fmla="*/ 4076861 w 8079933"/>
              <a:gd name="connsiteY43500" fmla="*/ 1457862 h 4687251"/>
              <a:gd name="connsiteX43501" fmla="*/ 4073823 w 8079933"/>
              <a:gd name="connsiteY43501" fmla="*/ 1455372 h 4687251"/>
              <a:gd name="connsiteX43502" fmla="*/ 4071001 w 8079933"/>
              <a:gd name="connsiteY43502" fmla="*/ 1455480 h 4687251"/>
              <a:gd name="connsiteX43503" fmla="*/ 4072412 w 8079933"/>
              <a:gd name="connsiteY43503" fmla="*/ 1460027 h 4687251"/>
              <a:gd name="connsiteX43504" fmla="*/ 4069264 w 8079933"/>
              <a:gd name="connsiteY43504" fmla="*/ 1461652 h 4687251"/>
              <a:gd name="connsiteX43505" fmla="*/ 4065793 w 8079933"/>
              <a:gd name="connsiteY43505" fmla="*/ 1458295 h 4687251"/>
              <a:gd name="connsiteX43506" fmla="*/ 4067963 w 8079933"/>
              <a:gd name="connsiteY43506" fmla="*/ 1457213 h 4687251"/>
              <a:gd name="connsiteX43507" fmla="*/ 4066878 w 8079933"/>
              <a:gd name="connsiteY43507" fmla="*/ 1454398 h 4687251"/>
              <a:gd name="connsiteX43508" fmla="*/ 4057871 w 8079933"/>
              <a:gd name="connsiteY43508" fmla="*/ 1450933 h 4687251"/>
              <a:gd name="connsiteX43509" fmla="*/ 4051359 w 8079933"/>
              <a:gd name="connsiteY43509" fmla="*/ 1445411 h 4687251"/>
              <a:gd name="connsiteX43510" fmla="*/ 4046477 w 8079933"/>
              <a:gd name="connsiteY43510" fmla="*/ 1444437 h 4687251"/>
              <a:gd name="connsiteX43511" fmla="*/ 4040508 w 8079933"/>
              <a:gd name="connsiteY43511" fmla="*/ 1434368 h 4687251"/>
              <a:gd name="connsiteX43512" fmla="*/ 4043004 w 8079933"/>
              <a:gd name="connsiteY43512" fmla="*/ 1431661 h 4687251"/>
              <a:gd name="connsiteX43513" fmla="*/ 4043004 w 8079933"/>
              <a:gd name="connsiteY43513" fmla="*/ 1427980 h 4687251"/>
              <a:gd name="connsiteX43514" fmla="*/ 4046585 w 8079933"/>
              <a:gd name="connsiteY43514" fmla="*/ 1427872 h 4687251"/>
              <a:gd name="connsiteX43515" fmla="*/ 4049298 w 8079933"/>
              <a:gd name="connsiteY43515" fmla="*/ 1430037 h 4687251"/>
              <a:gd name="connsiteX43516" fmla="*/ 4052228 w 8079933"/>
              <a:gd name="connsiteY43516" fmla="*/ 1428954 h 4687251"/>
              <a:gd name="connsiteX43517" fmla="*/ 4060692 w 8079933"/>
              <a:gd name="connsiteY43517" fmla="*/ 1435017 h 4687251"/>
              <a:gd name="connsiteX43518" fmla="*/ 4061235 w 8079933"/>
              <a:gd name="connsiteY43518" fmla="*/ 1433393 h 4687251"/>
              <a:gd name="connsiteX43519" fmla="*/ 4058739 w 8079933"/>
              <a:gd name="connsiteY43519" fmla="*/ 1429495 h 4687251"/>
              <a:gd name="connsiteX43520" fmla="*/ 4061126 w 8079933"/>
              <a:gd name="connsiteY43520" fmla="*/ 1427655 h 4687251"/>
              <a:gd name="connsiteX43521" fmla="*/ 4066010 w 8079933"/>
              <a:gd name="connsiteY43521" fmla="*/ 1427330 h 4687251"/>
              <a:gd name="connsiteX43522" fmla="*/ 4063622 w 8079933"/>
              <a:gd name="connsiteY43522" fmla="*/ 1424082 h 4687251"/>
              <a:gd name="connsiteX43523" fmla="*/ 4057871 w 8079933"/>
              <a:gd name="connsiteY43523" fmla="*/ 1425706 h 4687251"/>
              <a:gd name="connsiteX43524" fmla="*/ 4055700 w 8079933"/>
              <a:gd name="connsiteY43524" fmla="*/ 1428196 h 4687251"/>
              <a:gd name="connsiteX43525" fmla="*/ 4052987 w 8079933"/>
              <a:gd name="connsiteY43525" fmla="*/ 1421483 h 4687251"/>
              <a:gd name="connsiteX43526" fmla="*/ 4056026 w 8079933"/>
              <a:gd name="connsiteY43526" fmla="*/ 1419318 h 4687251"/>
              <a:gd name="connsiteX43527" fmla="*/ 4057111 w 8079933"/>
              <a:gd name="connsiteY43527" fmla="*/ 1415420 h 4687251"/>
              <a:gd name="connsiteX43528" fmla="*/ 4054181 w 8079933"/>
              <a:gd name="connsiteY43528" fmla="*/ 1412281 h 4687251"/>
              <a:gd name="connsiteX43529" fmla="*/ 4056569 w 8079933"/>
              <a:gd name="connsiteY43529" fmla="*/ 1410873 h 4687251"/>
              <a:gd name="connsiteX43530" fmla="*/ 4051468 w 8079933"/>
              <a:gd name="connsiteY43530" fmla="*/ 1407083 h 4687251"/>
              <a:gd name="connsiteX43531" fmla="*/ 4049515 w 8079933"/>
              <a:gd name="connsiteY43531" fmla="*/ 1411631 h 4687251"/>
              <a:gd name="connsiteX43532" fmla="*/ 4050383 w 8079933"/>
              <a:gd name="connsiteY43532" fmla="*/ 1413579 h 4687251"/>
              <a:gd name="connsiteX43533" fmla="*/ 4047019 w 8079933"/>
              <a:gd name="connsiteY43533" fmla="*/ 1415204 h 4687251"/>
              <a:gd name="connsiteX43534" fmla="*/ 4045392 w 8079933"/>
              <a:gd name="connsiteY43534" fmla="*/ 1413796 h 4687251"/>
              <a:gd name="connsiteX43535" fmla="*/ 4044089 w 8079933"/>
              <a:gd name="connsiteY43535" fmla="*/ 1417585 h 4687251"/>
              <a:gd name="connsiteX43536" fmla="*/ 4037795 w 8079933"/>
              <a:gd name="connsiteY43536" fmla="*/ 1410873 h 4687251"/>
              <a:gd name="connsiteX43537" fmla="*/ 4036167 w 8079933"/>
              <a:gd name="connsiteY43537" fmla="*/ 1406542 h 4687251"/>
              <a:gd name="connsiteX43538" fmla="*/ 4040291 w 8079933"/>
              <a:gd name="connsiteY43538" fmla="*/ 1400912 h 4687251"/>
              <a:gd name="connsiteX43539" fmla="*/ 4043438 w 8079933"/>
              <a:gd name="connsiteY43539" fmla="*/ 1398963 h 4687251"/>
              <a:gd name="connsiteX43540" fmla="*/ 4044415 w 8079933"/>
              <a:gd name="connsiteY43540" fmla="*/ 1403619 h 4687251"/>
              <a:gd name="connsiteX43541" fmla="*/ 4045392 w 8079933"/>
              <a:gd name="connsiteY43541" fmla="*/ 1399721 h 4687251"/>
              <a:gd name="connsiteX43542" fmla="*/ 4047670 w 8079933"/>
              <a:gd name="connsiteY43542" fmla="*/ 1398638 h 4687251"/>
              <a:gd name="connsiteX43543" fmla="*/ 4052771 w 8079933"/>
              <a:gd name="connsiteY43543" fmla="*/ 1401995 h 4687251"/>
              <a:gd name="connsiteX43544" fmla="*/ 4053096 w 8079933"/>
              <a:gd name="connsiteY43544" fmla="*/ 1398746 h 4687251"/>
              <a:gd name="connsiteX43545" fmla="*/ 4054724 w 8079933"/>
              <a:gd name="connsiteY43545" fmla="*/ 1396040 h 4687251"/>
              <a:gd name="connsiteX43546" fmla="*/ 4059498 w 8079933"/>
              <a:gd name="connsiteY43546" fmla="*/ 1395715 h 4687251"/>
              <a:gd name="connsiteX43547" fmla="*/ 4057871 w 8079933"/>
              <a:gd name="connsiteY43547" fmla="*/ 1393008 h 4687251"/>
              <a:gd name="connsiteX43548" fmla="*/ 4051359 w 8079933"/>
              <a:gd name="connsiteY43548" fmla="*/ 1393008 h 4687251"/>
              <a:gd name="connsiteX43549" fmla="*/ 4048973 w 8079933"/>
              <a:gd name="connsiteY43549" fmla="*/ 1391926 h 4687251"/>
              <a:gd name="connsiteX43550" fmla="*/ 4050383 w 8079933"/>
              <a:gd name="connsiteY43550" fmla="*/ 1388677 h 4687251"/>
              <a:gd name="connsiteX43551" fmla="*/ 4053530 w 8079933"/>
              <a:gd name="connsiteY43551" fmla="*/ 1388677 h 4687251"/>
              <a:gd name="connsiteX43552" fmla="*/ 4057328 w 8079933"/>
              <a:gd name="connsiteY43552" fmla="*/ 1383589 h 4687251"/>
              <a:gd name="connsiteX43553" fmla="*/ 4052987 w 8079933"/>
              <a:gd name="connsiteY43553" fmla="*/ 1381965 h 4687251"/>
              <a:gd name="connsiteX43554" fmla="*/ 4055484 w 8079933"/>
              <a:gd name="connsiteY43554" fmla="*/ 1381098 h 4687251"/>
              <a:gd name="connsiteX43555" fmla="*/ 4058522 w 8079933"/>
              <a:gd name="connsiteY43555" fmla="*/ 1375577 h 4687251"/>
              <a:gd name="connsiteX43556" fmla="*/ 4061126 w 8079933"/>
              <a:gd name="connsiteY43556" fmla="*/ 1375685 h 4687251"/>
              <a:gd name="connsiteX43557" fmla="*/ 4061777 w 8079933"/>
              <a:gd name="connsiteY43557" fmla="*/ 1380773 h 4687251"/>
              <a:gd name="connsiteX43558" fmla="*/ 4065250 w 8079933"/>
              <a:gd name="connsiteY43558" fmla="*/ 1383589 h 4687251"/>
              <a:gd name="connsiteX43559" fmla="*/ 4063839 w 8079933"/>
              <a:gd name="connsiteY43559" fmla="*/ 1380232 h 4687251"/>
              <a:gd name="connsiteX43560" fmla="*/ 4063839 w 8079933"/>
              <a:gd name="connsiteY43560" fmla="*/ 1374602 h 4687251"/>
              <a:gd name="connsiteX43561" fmla="*/ 4068288 w 8079933"/>
              <a:gd name="connsiteY43561" fmla="*/ 1371138 h 4687251"/>
              <a:gd name="connsiteX43562" fmla="*/ 4070893 w 8079933"/>
              <a:gd name="connsiteY43562" fmla="*/ 1369622 h 4687251"/>
              <a:gd name="connsiteX43563" fmla="*/ 4067311 w 8079933"/>
              <a:gd name="connsiteY43563" fmla="*/ 1370596 h 4687251"/>
              <a:gd name="connsiteX43564" fmla="*/ 4062862 w 8079933"/>
              <a:gd name="connsiteY43564" fmla="*/ 1370271 h 4687251"/>
              <a:gd name="connsiteX43565" fmla="*/ 4054181 w 8079933"/>
              <a:gd name="connsiteY43565" fmla="*/ 1373844 h 4687251"/>
              <a:gd name="connsiteX43566" fmla="*/ 4053530 w 8079933"/>
              <a:gd name="connsiteY43566" fmla="*/ 1378608 h 4687251"/>
              <a:gd name="connsiteX43567" fmla="*/ 4050274 w 8079933"/>
              <a:gd name="connsiteY43567" fmla="*/ 1380449 h 4687251"/>
              <a:gd name="connsiteX43568" fmla="*/ 4046585 w 8079933"/>
              <a:gd name="connsiteY43568" fmla="*/ 1385971 h 4687251"/>
              <a:gd name="connsiteX43569" fmla="*/ 4045174 w 8079933"/>
              <a:gd name="connsiteY43569" fmla="*/ 1385863 h 4687251"/>
              <a:gd name="connsiteX43570" fmla="*/ 4046802 w 8079933"/>
              <a:gd name="connsiteY43570" fmla="*/ 1381315 h 4687251"/>
              <a:gd name="connsiteX43571" fmla="*/ 4044306 w 8079933"/>
              <a:gd name="connsiteY43571" fmla="*/ 1377526 h 4687251"/>
              <a:gd name="connsiteX43572" fmla="*/ 4046151 w 8079933"/>
              <a:gd name="connsiteY43572" fmla="*/ 1374602 h 4687251"/>
              <a:gd name="connsiteX43573" fmla="*/ 4042679 w 8079933"/>
              <a:gd name="connsiteY43573" fmla="*/ 1374061 h 4687251"/>
              <a:gd name="connsiteX43574" fmla="*/ 4041702 w 8079933"/>
              <a:gd name="connsiteY43574" fmla="*/ 1372437 h 4687251"/>
              <a:gd name="connsiteX43575" fmla="*/ 4047345 w 8079933"/>
              <a:gd name="connsiteY43575" fmla="*/ 1369405 h 4687251"/>
              <a:gd name="connsiteX43576" fmla="*/ 4046802 w 8079933"/>
              <a:gd name="connsiteY43576" fmla="*/ 1365616 h 4687251"/>
              <a:gd name="connsiteX43577" fmla="*/ 4048755 w 8079933"/>
              <a:gd name="connsiteY43577" fmla="*/ 1363559 h 4687251"/>
              <a:gd name="connsiteX43578" fmla="*/ 4044089 w 8079933"/>
              <a:gd name="connsiteY43578" fmla="*/ 1361610 h 4687251"/>
              <a:gd name="connsiteX43579" fmla="*/ 4037469 w 8079933"/>
              <a:gd name="connsiteY43579" fmla="*/ 1368973 h 4687251"/>
              <a:gd name="connsiteX43580" fmla="*/ 4034757 w 8079933"/>
              <a:gd name="connsiteY43580" fmla="*/ 1366698 h 4687251"/>
              <a:gd name="connsiteX43581" fmla="*/ 4033238 w 8079933"/>
              <a:gd name="connsiteY43581" fmla="*/ 1361502 h 4687251"/>
              <a:gd name="connsiteX43582" fmla="*/ 4036493 w 8079933"/>
              <a:gd name="connsiteY43582" fmla="*/ 1363342 h 4687251"/>
              <a:gd name="connsiteX43583" fmla="*/ 4038446 w 8079933"/>
              <a:gd name="connsiteY43583" fmla="*/ 1361718 h 4687251"/>
              <a:gd name="connsiteX43584" fmla="*/ 4038012 w 8079933"/>
              <a:gd name="connsiteY43584" fmla="*/ 1357820 h 4687251"/>
              <a:gd name="connsiteX43585" fmla="*/ 4041159 w 8079933"/>
              <a:gd name="connsiteY43585" fmla="*/ 1354572 h 4687251"/>
              <a:gd name="connsiteX43586" fmla="*/ 4038446 w 8079933"/>
              <a:gd name="connsiteY43586" fmla="*/ 1354464 h 4687251"/>
              <a:gd name="connsiteX43587" fmla="*/ 4036493 w 8079933"/>
              <a:gd name="connsiteY43587" fmla="*/ 1356737 h 4687251"/>
              <a:gd name="connsiteX43588" fmla="*/ 4033129 w 8079933"/>
              <a:gd name="connsiteY43588" fmla="*/ 1357496 h 4687251"/>
              <a:gd name="connsiteX43589" fmla="*/ 4030958 w 8079933"/>
              <a:gd name="connsiteY43589" fmla="*/ 1355655 h 4687251"/>
              <a:gd name="connsiteX43590" fmla="*/ 4032153 w 8079933"/>
              <a:gd name="connsiteY43590" fmla="*/ 1353273 h 4687251"/>
              <a:gd name="connsiteX43591" fmla="*/ 4030199 w 8079933"/>
              <a:gd name="connsiteY43591" fmla="*/ 1348834 h 4687251"/>
              <a:gd name="connsiteX43592" fmla="*/ 4031501 w 8079933"/>
              <a:gd name="connsiteY43592" fmla="*/ 1348400 h 4687251"/>
              <a:gd name="connsiteX43593" fmla="*/ 4034865 w 8079933"/>
              <a:gd name="connsiteY43593" fmla="*/ 1350675 h 4687251"/>
              <a:gd name="connsiteX43594" fmla="*/ 4037795 w 8079933"/>
              <a:gd name="connsiteY43594" fmla="*/ 1350675 h 4687251"/>
              <a:gd name="connsiteX43595" fmla="*/ 4043655 w 8079933"/>
              <a:gd name="connsiteY43595" fmla="*/ 1347751 h 4687251"/>
              <a:gd name="connsiteX43596" fmla="*/ 4046585 w 8079933"/>
              <a:gd name="connsiteY43596" fmla="*/ 1348726 h 4687251"/>
              <a:gd name="connsiteX43597" fmla="*/ 4051794 w 8079933"/>
              <a:gd name="connsiteY43597" fmla="*/ 1347751 h 4687251"/>
              <a:gd name="connsiteX43598" fmla="*/ 4055809 w 8079933"/>
              <a:gd name="connsiteY43598" fmla="*/ 1348726 h 4687251"/>
              <a:gd name="connsiteX43599" fmla="*/ 4059173 w 8079933"/>
              <a:gd name="connsiteY43599" fmla="*/ 1353057 h 4687251"/>
              <a:gd name="connsiteX43600" fmla="*/ 4059932 w 8079933"/>
              <a:gd name="connsiteY43600" fmla="*/ 1350458 h 4687251"/>
              <a:gd name="connsiteX43601" fmla="*/ 4064707 w 8079933"/>
              <a:gd name="connsiteY43601" fmla="*/ 1345694 h 4687251"/>
              <a:gd name="connsiteX43602" fmla="*/ 4069156 w 8079933"/>
              <a:gd name="connsiteY43602" fmla="*/ 1346343 h 4687251"/>
              <a:gd name="connsiteX43603" fmla="*/ 4069808 w 8079933"/>
              <a:gd name="connsiteY43603" fmla="*/ 1350675 h 4687251"/>
              <a:gd name="connsiteX43604" fmla="*/ 4067095 w 8079933"/>
              <a:gd name="connsiteY43604" fmla="*/ 1352840 h 4687251"/>
              <a:gd name="connsiteX43605" fmla="*/ 4067311 w 8079933"/>
              <a:gd name="connsiteY43605" fmla="*/ 1355006 h 4687251"/>
              <a:gd name="connsiteX43606" fmla="*/ 4072737 w 8079933"/>
              <a:gd name="connsiteY43606" fmla="*/ 1354789 h 4687251"/>
              <a:gd name="connsiteX43607" fmla="*/ 4074799 w 8079933"/>
              <a:gd name="connsiteY43607" fmla="*/ 1351216 h 4687251"/>
              <a:gd name="connsiteX43608" fmla="*/ 4073171 w 8079933"/>
              <a:gd name="connsiteY43608" fmla="*/ 1349808 h 4687251"/>
              <a:gd name="connsiteX43609" fmla="*/ 4076210 w 8079933"/>
              <a:gd name="connsiteY43609" fmla="*/ 1347426 h 4687251"/>
              <a:gd name="connsiteX43610" fmla="*/ 4082504 w 8079933"/>
              <a:gd name="connsiteY43610" fmla="*/ 1345910 h 4687251"/>
              <a:gd name="connsiteX43611" fmla="*/ 4085325 w 8079933"/>
              <a:gd name="connsiteY43611" fmla="*/ 1342337 h 4687251"/>
              <a:gd name="connsiteX43612" fmla="*/ 4081636 w 8079933"/>
              <a:gd name="connsiteY43612" fmla="*/ 1338007 h 4687251"/>
              <a:gd name="connsiteX43613" fmla="*/ 4082504 w 8079933"/>
              <a:gd name="connsiteY43613" fmla="*/ 1334109 h 4687251"/>
              <a:gd name="connsiteX43614" fmla="*/ 4079032 w 8079933"/>
              <a:gd name="connsiteY43614" fmla="*/ 1339198 h 4687251"/>
              <a:gd name="connsiteX43615" fmla="*/ 4080009 w 8079933"/>
              <a:gd name="connsiteY43615" fmla="*/ 1341796 h 4687251"/>
              <a:gd name="connsiteX43616" fmla="*/ 4077837 w 8079933"/>
              <a:gd name="connsiteY43616" fmla="*/ 1343962 h 4687251"/>
              <a:gd name="connsiteX43617" fmla="*/ 4073280 w 8079933"/>
              <a:gd name="connsiteY43617" fmla="*/ 1342771 h 4687251"/>
              <a:gd name="connsiteX43618" fmla="*/ 4075776 w 8079933"/>
              <a:gd name="connsiteY43618" fmla="*/ 1340822 h 4687251"/>
              <a:gd name="connsiteX43619" fmla="*/ 4076752 w 8079933"/>
              <a:gd name="connsiteY43619" fmla="*/ 1338873 h 4687251"/>
              <a:gd name="connsiteX43620" fmla="*/ 4074365 w 8079933"/>
              <a:gd name="connsiteY43620" fmla="*/ 1338223 h 4687251"/>
              <a:gd name="connsiteX43621" fmla="*/ 4069264 w 8079933"/>
              <a:gd name="connsiteY43621" fmla="*/ 1342013 h 4687251"/>
              <a:gd name="connsiteX43622" fmla="*/ 4065793 w 8079933"/>
              <a:gd name="connsiteY43622" fmla="*/ 1342013 h 4687251"/>
              <a:gd name="connsiteX43623" fmla="*/ 4064598 w 8079933"/>
              <a:gd name="connsiteY43623" fmla="*/ 1339414 h 4687251"/>
              <a:gd name="connsiteX43624" fmla="*/ 4061344 w 8079933"/>
              <a:gd name="connsiteY43624" fmla="*/ 1340280 h 4687251"/>
              <a:gd name="connsiteX43625" fmla="*/ 4061235 w 8079933"/>
              <a:gd name="connsiteY43625" fmla="*/ 1343420 h 4687251"/>
              <a:gd name="connsiteX43626" fmla="*/ 4057979 w 8079933"/>
              <a:gd name="connsiteY43626" fmla="*/ 1345586 h 4687251"/>
              <a:gd name="connsiteX43627" fmla="*/ 4056243 w 8079933"/>
              <a:gd name="connsiteY43627" fmla="*/ 1344286 h 4687251"/>
              <a:gd name="connsiteX43628" fmla="*/ 4051251 w 8079933"/>
              <a:gd name="connsiteY43628" fmla="*/ 1342987 h 4687251"/>
              <a:gd name="connsiteX43629" fmla="*/ 4044089 w 8079933"/>
              <a:gd name="connsiteY43629" fmla="*/ 1343962 h 4687251"/>
              <a:gd name="connsiteX43630" fmla="*/ 4041267 w 8079933"/>
              <a:gd name="connsiteY43630" fmla="*/ 1346127 h 4687251"/>
              <a:gd name="connsiteX43631" fmla="*/ 4035842 w 8079933"/>
              <a:gd name="connsiteY43631" fmla="*/ 1346343 h 4687251"/>
              <a:gd name="connsiteX43632" fmla="*/ 4034214 w 8079933"/>
              <a:gd name="connsiteY43632" fmla="*/ 1343637 h 4687251"/>
              <a:gd name="connsiteX43633" fmla="*/ 4032044 w 8079933"/>
              <a:gd name="connsiteY43633" fmla="*/ 1342121 h 4687251"/>
              <a:gd name="connsiteX43634" fmla="*/ 4031501 w 8079933"/>
              <a:gd name="connsiteY43634" fmla="*/ 1339955 h 4687251"/>
              <a:gd name="connsiteX43635" fmla="*/ 4033454 w 8079933"/>
              <a:gd name="connsiteY43635" fmla="*/ 1339414 h 4687251"/>
              <a:gd name="connsiteX43636" fmla="*/ 4037469 w 8079933"/>
              <a:gd name="connsiteY43636" fmla="*/ 1337141 h 4687251"/>
              <a:gd name="connsiteX43637" fmla="*/ 4034865 w 8079933"/>
              <a:gd name="connsiteY43637" fmla="*/ 1337141 h 4687251"/>
              <a:gd name="connsiteX43638" fmla="*/ 4031393 w 8079933"/>
              <a:gd name="connsiteY43638" fmla="*/ 1335625 h 4687251"/>
              <a:gd name="connsiteX43639" fmla="*/ 4031609 w 8079933"/>
              <a:gd name="connsiteY43639" fmla="*/ 1334218 h 4687251"/>
              <a:gd name="connsiteX43640" fmla="*/ 4033563 w 8079933"/>
              <a:gd name="connsiteY43640" fmla="*/ 1334759 h 4687251"/>
              <a:gd name="connsiteX43641" fmla="*/ 4035407 w 8079933"/>
              <a:gd name="connsiteY43641" fmla="*/ 1333784 h 4687251"/>
              <a:gd name="connsiteX43642" fmla="*/ 4042135 w 8079933"/>
              <a:gd name="connsiteY43642" fmla="*/ 1333784 h 4687251"/>
              <a:gd name="connsiteX43643" fmla="*/ 4046802 w 8079933"/>
              <a:gd name="connsiteY43643" fmla="*/ 1330536 h 4687251"/>
              <a:gd name="connsiteX43644" fmla="*/ 4040508 w 8079933"/>
              <a:gd name="connsiteY43644" fmla="*/ 1330536 h 4687251"/>
              <a:gd name="connsiteX43645" fmla="*/ 4037904 w 8079933"/>
              <a:gd name="connsiteY43645" fmla="*/ 1332269 h 4687251"/>
              <a:gd name="connsiteX43646" fmla="*/ 4034106 w 8079933"/>
              <a:gd name="connsiteY43646" fmla="*/ 1331510 h 4687251"/>
              <a:gd name="connsiteX43647" fmla="*/ 4037035 w 8079933"/>
              <a:gd name="connsiteY43647" fmla="*/ 1328263 h 4687251"/>
              <a:gd name="connsiteX43648" fmla="*/ 4029331 w 8079933"/>
              <a:gd name="connsiteY43648" fmla="*/ 1324798 h 4687251"/>
              <a:gd name="connsiteX43649" fmla="*/ 4029656 w 8079933"/>
              <a:gd name="connsiteY43649" fmla="*/ 1322849 h 4687251"/>
              <a:gd name="connsiteX43650" fmla="*/ 4034757 w 8079933"/>
              <a:gd name="connsiteY43650" fmla="*/ 1322091 h 4687251"/>
              <a:gd name="connsiteX43651" fmla="*/ 4038338 w 8079933"/>
              <a:gd name="connsiteY43651" fmla="*/ 1319059 h 4687251"/>
              <a:gd name="connsiteX43652" fmla="*/ 4040508 w 8079933"/>
              <a:gd name="connsiteY43652" fmla="*/ 1319925 h 4687251"/>
              <a:gd name="connsiteX43653" fmla="*/ 4045174 w 8079933"/>
              <a:gd name="connsiteY43653" fmla="*/ 1318627 h 4687251"/>
              <a:gd name="connsiteX43654" fmla="*/ 4052553 w 8079933"/>
              <a:gd name="connsiteY43654" fmla="*/ 1322416 h 4687251"/>
              <a:gd name="connsiteX43655" fmla="*/ 4054941 w 8079933"/>
              <a:gd name="connsiteY43655" fmla="*/ 1321225 h 4687251"/>
              <a:gd name="connsiteX43656" fmla="*/ 4061126 w 8079933"/>
              <a:gd name="connsiteY43656" fmla="*/ 1322091 h 4687251"/>
              <a:gd name="connsiteX43657" fmla="*/ 4065575 w 8079933"/>
              <a:gd name="connsiteY43657" fmla="*/ 1317543 h 4687251"/>
              <a:gd name="connsiteX43658" fmla="*/ 4062212 w 8079933"/>
              <a:gd name="connsiteY43658" fmla="*/ 1317543 h 4687251"/>
              <a:gd name="connsiteX43659" fmla="*/ 4060041 w 8079933"/>
              <a:gd name="connsiteY43659" fmla="*/ 1319168 h 4687251"/>
              <a:gd name="connsiteX43660" fmla="*/ 4053096 w 8079933"/>
              <a:gd name="connsiteY43660" fmla="*/ 1319168 h 4687251"/>
              <a:gd name="connsiteX43661" fmla="*/ 4048646 w 8079933"/>
              <a:gd name="connsiteY43661" fmla="*/ 1316353 h 4687251"/>
              <a:gd name="connsiteX43662" fmla="*/ 4041593 w 8079933"/>
              <a:gd name="connsiteY43662" fmla="*/ 1314837 h 4687251"/>
              <a:gd name="connsiteX43663" fmla="*/ 4036276 w 8079933"/>
              <a:gd name="connsiteY43663" fmla="*/ 1316461 h 4687251"/>
              <a:gd name="connsiteX43664" fmla="*/ 4034322 w 8079933"/>
              <a:gd name="connsiteY43664" fmla="*/ 1314512 h 4687251"/>
              <a:gd name="connsiteX43665" fmla="*/ 4036276 w 8079933"/>
              <a:gd name="connsiteY43665" fmla="*/ 1311805 h 4687251"/>
              <a:gd name="connsiteX43666" fmla="*/ 4031826 w 8079933"/>
              <a:gd name="connsiteY43666" fmla="*/ 1307691 h 4687251"/>
              <a:gd name="connsiteX43667" fmla="*/ 4031284 w 8079933"/>
              <a:gd name="connsiteY43667" fmla="*/ 1305092 h 4687251"/>
              <a:gd name="connsiteX43668" fmla="*/ 4033454 w 8079933"/>
              <a:gd name="connsiteY43668" fmla="*/ 1304443 h 4687251"/>
              <a:gd name="connsiteX43669" fmla="*/ 4037469 w 8079933"/>
              <a:gd name="connsiteY43669" fmla="*/ 1308016 h 4687251"/>
              <a:gd name="connsiteX43670" fmla="*/ 4038664 w 8079933"/>
              <a:gd name="connsiteY43670" fmla="*/ 1312347 h 4687251"/>
              <a:gd name="connsiteX43671" fmla="*/ 4041593 w 8079933"/>
              <a:gd name="connsiteY43671" fmla="*/ 1310398 h 4687251"/>
              <a:gd name="connsiteX43672" fmla="*/ 4039423 w 8079933"/>
              <a:gd name="connsiteY43672" fmla="*/ 1305851 h 4687251"/>
              <a:gd name="connsiteX43673" fmla="*/ 4046260 w 8079933"/>
              <a:gd name="connsiteY43673" fmla="*/ 1306067 h 4687251"/>
              <a:gd name="connsiteX43674" fmla="*/ 4047561 w 8079933"/>
              <a:gd name="connsiteY43674" fmla="*/ 1310506 h 4687251"/>
              <a:gd name="connsiteX43675" fmla="*/ 4050058 w 8079933"/>
              <a:gd name="connsiteY43675" fmla="*/ 1309423 h 4687251"/>
              <a:gd name="connsiteX43676" fmla="*/ 4053747 w 8079933"/>
              <a:gd name="connsiteY43676" fmla="*/ 1309099 h 4687251"/>
              <a:gd name="connsiteX43677" fmla="*/ 4049190 w 8079933"/>
              <a:gd name="connsiteY43677" fmla="*/ 1306067 h 4687251"/>
              <a:gd name="connsiteX43678" fmla="*/ 4053747 w 8079933"/>
              <a:gd name="connsiteY43678" fmla="*/ 1301303 h 4687251"/>
              <a:gd name="connsiteX43679" fmla="*/ 4058956 w 8079933"/>
              <a:gd name="connsiteY43679" fmla="*/ 1304660 h 4687251"/>
              <a:gd name="connsiteX43680" fmla="*/ 4059607 w 8079933"/>
              <a:gd name="connsiteY43680" fmla="*/ 1302278 h 4687251"/>
              <a:gd name="connsiteX43681" fmla="*/ 4057979 w 8079933"/>
              <a:gd name="connsiteY43681" fmla="*/ 1299246 h 4687251"/>
              <a:gd name="connsiteX43682" fmla="*/ 4062320 w 8079933"/>
              <a:gd name="connsiteY43682" fmla="*/ 1298488 h 4687251"/>
              <a:gd name="connsiteX43683" fmla="*/ 4066335 w 8079933"/>
              <a:gd name="connsiteY43683" fmla="*/ 1299896 h 4687251"/>
              <a:gd name="connsiteX43684" fmla="*/ 4066552 w 8079933"/>
              <a:gd name="connsiteY43684" fmla="*/ 1306067 h 4687251"/>
              <a:gd name="connsiteX43685" fmla="*/ 4067963 w 8079933"/>
              <a:gd name="connsiteY43685" fmla="*/ 1307908 h 4687251"/>
              <a:gd name="connsiteX43686" fmla="*/ 4071435 w 8079933"/>
              <a:gd name="connsiteY43686" fmla="*/ 1306067 h 4687251"/>
              <a:gd name="connsiteX43687" fmla="*/ 4069373 w 8079933"/>
              <a:gd name="connsiteY43687" fmla="*/ 1302927 h 4687251"/>
              <a:gd name="connsiteX43688" fmla="*/ 4071001 w 8079933"/>
              <a:gd name="connsiteY43688" fmla="*/ 1299246 h 4687251"/>
              <a:gd name="connsiteX43689" fmla="*/ 4065250 w 8079933"/>
              <a:gd name="connsiteY43689" fmla="*/ 1296106 h 4687251"/>
              <a:gd name="connsiteX43690" fmla="*/ 4060584 w 8079933"/>
              <a:gd name="connsiteY43690" fmla="*/ 1293074 h 4687251"/>
              <a:gd name="connsiteX43691" fmla="*/ 4053096 w 8079933"/>
              <a:gd name="connsiteY43691" fmla="*/ 1291992 h 4687251"/>
              <a:gd name="connsiteX43692" fmla="*/ 4052011 w 8079933"/>
              <a:gd name="connsiteY43692" fmla="*/ 1290151 h 4687251"/>
              <a:gd name="connsiteX43693" fmla="*/ 4055700 w 8079933"/>
              <a:gd name="connsiteY43693" fmla="*/ 1287986 h 4687251"/>
              <a:gd name="connsiteX43694" fmla="*/ 4057654 w 8079933"/>
              <a:gd name="connsiteY43694" fmla="*/ 1289285 h 4687251"/>
              <a:gd name="connsiteX43695" fmla="*/ 4060584 w 8079933"/>
              <a:gd name="connsiteY43695" fmla="*/ 1287445 h 4687251"/>
              <a:gd name="connsiteX43696" fmla="*/ 4063948 w 8079933"/>
              <a:gd name="connsiteY43696" fmla="*/ 1290476 h 4687251"/>
              <a:gd name="connsiteX43697" fmla="*/ 4066335 w 8079933"/>
              <a:gd name="connsiteY43697" fmla="*/ 1288527 h 4687251"/>
              <a:gd name="connsiteX43698" fmla="*/ 4068288 w 8079933"/>
              <a:gd name="connsiteY43698" fmla="*/ 1288527 h 4687251"/>
              <a:gd name="connsiteX43699" fmla="*/ 4072303 w 8079933"/>
              <a:gd name="connsiteY43699" fmla="*/ 1293724 h 4687251"/>
              <a:gd name="connsiteX43700" fmla="*/ 4076970 w 8079933"/>
              <a:gd name="connsiteY43700" fmla="*/ 1295023 h 4687251"/>
              <a:gd name="connsiteX43701" fmla="*/ 4079682 w 8079933"/>
              <a:gd name="connsiteY43701" fmla="*/ 1291125 h 4687251"/>
              <a:gd name="connsiteX43702" fmla="*/ 4086628 w 8079933"/>
              <a:gd name="connsiteY43702" fmla="*/ 1288202 h 4687251"/>
              <a:gd name="connsiteX43703" fmla="*/ 4088038 w 8079933"/>
              <a:gd name="connsiteY43703" fmla="*/ 1285712 h 4687251"/>
              <a:gd name="connsiteX43704" fmla="*/ 4085325 w 8079933"/>
              <a:gd name="connsiteY43704" fmla="*/ 1285712 h 4687251"/>
              <a:gd name="connsiteX43705" fmla="*/ 4079357 w 8079933"/>
              <a:gd name="connsiteY43705" fmla="*/ 1288527 h 4687251"/>
              <a:gd name="connsiteX43706" fmla="*/ 4077512 w 8079933"/>
              <a:gd name="connsiteY43706" fmla="*/ 1287445 h 4687251"/>
              <a:gd name="connsiteX43707" fmla="*/ 4080985 w 8079933"/>
              <a:gd name="connsiteY43707" fmla="*/ 1285062 h 4687251"/>
              <a:gd name="connsiteX43708" fmla="*/ 4079682 w 8079933"/>
              <a:gd name="connsiteY43708" fmla="*/ 1283547 h 4687251"/>
              <a:gd name="connsiteX43709" fmla="*/ 4071978 w 8079933"/>
              <a:gd name="connsiteY43709" fmla="*/ 1285821 h 4687251"/>
              <a:gd name="connsiteX43710" fmla="*/ 4068288 w 8079933"/>
              <a:gd name="connsiteY43710" fmla="*/ 1282031 h 4687251"/>
              <a:gd name="connsiteX43711" fmla="*/ 4070893 w 8079933"/>
              <a:gd name="connsiteY43711" fmla="*/ 1279649 h 4687251"/>
              <a:gd name="connsiteX43712" fmla="*/ 4070133 w 8079933"/>
              <a:gd name="connsiteY43712" fmla="*/ 1276076 h 4687251"/>
              <a:gd name="connsiteX43713" fmla="*/ 4071978 w 8079933"/>
              <a:gd name="connsiteY43713" fmla="*/ 1273911 h 4687251"/>
              <a:gd name="connsiteX43714" fmla="*/ 4074257 w 8079933"/>
              <a:gd name="connsiteY43714" fmla="*/ 1275860 h 4687251"/>
              <a:gd name="connsiteX43715" fmla="*/ 4079032 w 8079933"/>
              <a:gd name="connsiteY43715" fmla="*/ 1275860 h 4687251"/>
              <a:gd name="connsiteX43716" fmla="*/ 4082830 w 8079933"/>
              <a:gd name="connsiteY43716" fmla="*/ 1278783 h 4687251"/>
              <a:gd name="connsiteX43717" fmla="*/ 4085651 w 8079933"/>
              <a:gd name="connsiteY43717" fmla="*/ 1276942 h 4687251"/>
              <a:gd name="connsiteX43718" fmla="*/ 4091836 w 8079933"/>
              <a:gd name="connsiteY43718" fmla="*/ 1283872 h 4687251"/>
              <a:gd name="connsiteX43719" fmla="*/ 4098347 w 8079933"/>
              <a:gd name="connsiteY43719" fmla="*/ 1286362 h 4687251"/>
              <a:gd name="connsiteX43720" fmla="*/ 4102363 w 8079933"/>
              <a:gd name="connsiteY43720" fmla="*/ 1286254 h 4687251"/>
              <a:gd name="connsiteX43721" fmla="*/ 4100300 w 8079933"/>
              <a:gd name="connsiteY43721" fmla="*/ 1283980 h 4687251"/>
              <a:gd name="connsiteX43722" fmla="*/ 4096502 w 8079933"/>
              <a:gd name="connsiteY43722" fmla="*/ 1283547 h 4687251"/>
              <a:gd name="connsiteX43723" fmla="*/ 4092162 w 8079933"/>
              <a:gd name="connsiteY43723" fmla="*/ 1280190 h 4687251"/>
              <a:gd name="connsiteX43724" fmla="*/ 4088038 w 8079933"/>
              <a:gd name="connsiteY43724" fmla="*/ 1274668 h 4687251"/>
              <a:gd name="connsiteX43725" fmla="*/ 4088798 w 8079933"/>
              <a:gd name="connsiteY43725" fmla="*/ 1271095 h 4687251"/>
              <a:gd name="connsiteX43726" fmla="*/ 4090426 w 8079933"/>
              <a:gd name="connsiteY43726" fmla="*/ 1270879 h 4687251"/>
              <a:gd name="connsiteX43727" fmla="*/ 4091294 w 8079933"/>
              <a:gd name="connsiteY43727" fmla="*/ 1273694 h 4687251"/>
              <a:gd name="connsiteX43728" fmla="*/ 4095417 w 8079933"/>
              <a:gd name="connsiteY43728" fmla="*/ 1277376 h 4687251"/>
              <a:gd name="connsiteX43729" fmla="*/ 4099650 w 8079933"/>
              <a:gd name="connsiteY43729" fmla="*/ 1277376 h 4687251"/>
              <a:gd name="connsiteX43730" fmla="*/ 4100518 w 8079933"/>
              <a:gd name="connsiteY43730" fmla="*/ 1280623 h 4687251"/>
              <a:gd name="connsiteX43731" fmla="*/ 4105943 w 8079933"/>
              <a:gd name="connsiteY43731" fmla="*/ 1282248 h 4687251"/>
              <a:gd name="connsiteX43732" fmla="*/ 4106161 w 8079933"/>
              <a:gd name="connsiteY43732" fmla="*/ 1279325 h 4687251"/>
              <a:gd name="connsiteX43733" fmla="*/ 4103448 w 8079933"/>
              <a:gd name="connsiteY43733" fmla="*/ 1278242 h 4687251"/>
              <a:gd name="connsiteX43734" fmla="*/ 4104641 w 8079933"/>
              <a:gd name="connsiteY43734" fmla="*/ 1274993 h 4687251"/>
              <a:gd name="connsiteX43735" fmla="*/ 4098564 w 8079933"/>
              <a:gd name="connsiteY43735" fmla="*/ 1274993 h 4687251"/>
              <a:gd name="connsiteX43736" fmla="*/ 4093247 w 8079933"/>
              <a:gd name="connsiteY43736" fmla="*/ 1271962 h 4687251"/>
              <a:gd name="connsiteX43737" fmla="*/ 4093789 w 8079933"/>
              <a:gd name="connsiteY43737" fmla="*/ 1269797 h 4687251"/>
              <a:gd name="connsiteX43738" fmla="*/ 4097045 w 8079933"/>
              <a:gd name="connsiteY43738" fmla="*/ 1269797 h 4687251"/>
              <a:gd name="connsiteX43739" fmla="*/ 4099215 w 8079933"/>
              <a:gd name="connsiteY43739" fmla="*/ 1271962 h 4687251"/>
              <a:gd name="connsiteX43740" fmla="*/ 4101386 w 8079933"/>
              <a:gd name="connsiteY43740" fmla="*/ 1269255 h 4687251"/>
              <a:gd name="connsiteX43741" fmla="*/ 4106269 w 8079933"/>
              <a:gd name="connsiteY43741" fmla="*/ 1266115 h 4687251"/>
              <a:gd name="connsiteX43742" fmla="*/ 4105075 w 8079933"/>
              <a:gd name="connsiteY43742" fmla="*/ 1264924 h 4687251"/>
              <a:gd name="connsiteX43743" fmla="*/ 4102688 w 8079933"/>
              <a:gd name="connsiteY43743" fmla="*/ 1266007 h 4687251"/>
              <a:gd name="connsiteX43744" fmla="*/ 4100192 w 8079933"/>
              <a:gd name="connsiteY43744" fmla="*/ 1265466 h 4687251"/>
              <a:gd name="connsiteX43745" fmla="*/ 4104641 w 8079933"/>
              <a:gd name="connsiteY43745" fmla="*/ 1261243 h 4687251"/>
              <a:gd name="connsiteX43746" fmla="*/ 4108114 w 8079933"/>
              <a:gd name="connsiteY43746" fmla="*/ 1260810 h 4687251"/>
              <a:gd name="connsiteX43747" fmla="*/ 4112129 w 8079933"/>
              <a:gd name="connsiteY43747" fmla="*/ 1262542 h 4687251"/>
              <a:gd name="connsiteX43748" fmla="*/ 4118097 w 8079933"/>
              <a:gd name="connsiteY43748" fmla="*/ 1257129 h 4687251"/>
              <a:gd name="connsiteX43749" fmla="*/ 4112238 w 8079933"/>
              <a:gd name="connsiteY43749" fmla="*/ 1257129 h 4687251"/>
              <a:gd name="connsiteX43750" fmla="*/ 4112238 w 8079933"/>
              <a:gd name="connsiteY43750" fmla="*/ 1254964 h 4687251"/>
              <a:gd name="connsiteX43751" fmla="*/ 4116795 w 8079933"/>
              <a:gd name="connsiteY43751" fmla="*/ 1254422 h 4687251"/>
              <a:gd name="connsiteX43752" fmla="*/ 4118640 w 8079933"/>
              <a:gd name="connsiteY43752" fmla="*/ 1251174 h 4687251"/>
              <a:gd name="connsiteX43753" fmla="*/ 4121895 w 8079933"/>
              <a:gd name="connsiteY43753" fmla="*/ 1251174 h 4687251"/>
              <a:gd name="connsiteX43754" fmla="*/ 4125151 w 8079933"/>
              <a:gd name="connsiteY43754" fmla="*/ 1255938 h 4687251"/>
              <a:gd name="connsiteX43755" fmla="*/ 4125151 w 8079933"/>
              <a:gd name="connsiteY43755" fmla="*/ 1260160 h 4687251"/>
              <a:gd name="connsiteX43756" fmla="*/ 4127973 w 8079933"/>
              <a:gd name="connsiteY43756" fmla="*/ 1263950 h 4687251"/>
              <a:gd name="connsiteX43757" fmla="*/ 4126019 w 8079933"/>
              <a:gd name="connsiteY43757" fmla="*/ 1265466 h 4687251"/>
              <a:gd name="connsiteX43758" fmla="*/ 4123306 w 8079933"/>
              <a:gd name="connsiteY43758" fmla="*/ 1268497 h 4687251"/>
              <a:gd name="connsiteX43759" fmla="*/ 4126996 w 8079933"/>
              <a:gd name="connsiteY43759" fmla="*/ 1266548 h 4687251"/>
              <a:gd name="connsiteX43760" fmla="*/ 4130686 w 8079933"/>
              <a:gd name="connsiteY43760" fmla="*/ 1264383 h 4687251"/>
              <a:gd name="connsiteX43761" fmla="*/ 4130903 w 8079933"/>
              <a:gd name="connsiteY43761" fmla="*/ 1260377 h 4687251"/>
              <a:gd name="connsiteX43762" fmla="*/ 4133832 w 8079933"/>
              <a:gd name="connsiteY43762" fmla="*/ 1257995 h 4687251"/>
              <a:gd name="connsiteX43763" fmla="*/ 4138716 w 8079933"/>
              <a:gd name="connsiteY43763" fmla="*/ 1257887 h 4687251"/>
              <a:gd name="connsiteX43764" fmla="*/ 4142080 w 8079933"/>
              <a:gd name="connsiteY43764" fmla="*/ 1261243 h 4687251"/>
              <a:gd name="connsiteX43765" fmla="*/ 4146311 w 8079933"/>
              <a:gd name="connsiteY43765" fmla="*/ 1261676 h 4687251"/>
              <a:gd name="connsiteX43766" fmla="*/ 4146095 w 8079933"/>
              <a:gd name="connsiteY43766" fmla="*/ 1257345 h 4687251"/>
              <a:gd name="connsiteX43767" fmla="*/ 4148482 w 8079933"/>
              <a:gd name="connsiteY43767" fmla="*/ 1254205 h 4687251"/>
              <a:gd name="connsiteX43768" fmla="*/ 4144250 w 8079933"/>
              <a:gd name="connsiteY43768" fmla="*/ 1252040 h 4687251"/>
              <a:gd name="connsiteX43769" fmla="*/ 4150977 w 8079933"/>
              <a:gd name="connsiteY43769" fmla="*/ 1245111 h 4687251"/>
              <a:gd name="connsiteX43770" fmla="*/ 4154450 w 8079933"/>
              <a:gd name="connsiteY43770" fmla="*/ 1244677 h 4687251"/>
              <a:gd name="connsiteX43771" fmla="*/ 4156621 w 8079933"/>
              <a:gd name="connsiteY43771" fmla="*/ 1241754 h 4687251"/>
              <a:gd name="connsiteX43772" fmla="*/ 4150110 w 8079933"/>
              <a:gd name="connsiteY43772" fmla="*/ 1239805 h 4687251"/>
              <a:gd name="connsiteX43773" fmla="*/ 4150218 w 8079933"/>
              <a:gd name="connsiteY43773" fmla="*/ 1236774 h 4687251"/>
              <a:gd name="connsiteX43774" fmla="*/ 4156947 w 8079933"/>
              <a:gd name="connsiteY43774" fmla="*/ 1232443 h 4687251"/>
              <a:gd name="connsiteX43775" fmla="*/ 4154450 w 8079933"/>
              <a:gd name="connsiteY43775" fmla="*/ 1232659 h 4687251"/>
              <a:gd name="connsiteX43776" fmla="*/ 4150218 w 8079933"/>
              <a:gd name="connsiteY43776" fmla="*/ 1231902 h 4687251"/>
              <a:gd name="connsiteX43777" fmla="*/ 4148048 w 8079933"/>
              <a:gd name="connsiteY43777" fmla="*/ 1233850 h 4687251"/>
              <a:gd name="connsiteX43778" fmla="*/ 4146420 w 8079933"/>
              <a:gd name="connsiteY43778" fmla="*/ 1234283 h 4687251"/>
              <a:gd name="connsiteX43779" fmla="*/ 4145552 w 8079933"/>
              <a:gd name="connsiteY43779" fmla="*/ 1239264 h 4687251"/>
              <a:gd name="connsiteX43780" fmla="*/ 4142297 w 8079933"/>
              <a:gd name="connsiteY43780" fmla="*/ 1243595 h 4687251"/>
              <a:gd name="connsiteX43781" fmla="*/ 4146095 w 8079933"/>
              <a:gd name="connsiteY43781" fmla="*/ 1242512 h 4687251"/>
              <a:gd name="connsiteX43782" fmla="*/ 4146095 w 8079933"/>
              <a:gd name="connsiteY43782" fmla="*/ 1245760 h 4687251"/>
              <a:gd name="connsiteX43783" fmla="*/ 4138824 w 8079933"/>
              <a:gd name="connsiteY43783" fmla="*/ 1252798 h 4687251"/>
              <a:gd name="connsiteX43784" fmla="*/ 4133398 w 8079933"/>
              <a:gd name="connsiteY43784" fmla="*/ 1253556 h 4687251"/>
              <a:gd name="connsiteX43785" fmla="*/ 4128406 w 8079933"/>
              <a:gd name="connsiteY43785" fmla="*/ 1256479 h 4687251"/>
              <a:gd name="connsiteX43786" fmla="*/ 4125693 w 8079933"/>
              <a:gd name="connsiteY43786" fmla="*/ 1252798 h 4687251"/>
              <a:gd name="connsiteX43787" fmla="*/ 4126019 w 8079933"/>
              <a:gd name="connsiteY43787" fmla="*/ 1248142 h 4687251"/>
              <a:gd name="connsiteX43788" fmla="*/ 4129058 w 8079933"/>
              <a:gd name="connsiteY43788" fmla="*/ 1246843 h 4687251"/>
              <a:gd name="connsiteX43789" fmla="*/ 4129491 w 8079933"/>
              <a:gd name="connsiteY43789" fmla="*/ 1244136 h 4687251"/>
              <a:gd name="connsiteX43790" fmla="*/ 4126996 w 8079933"/>
              <a:gd name="connsiteY43790" fmla="*/ 1243920 h 4687251"/>
              <a:gd name="connsiteX43791" fmla="*/ 4122221 w 8079933"/>
              <a:gd name="connsiteY43791" fmla="*/ 1247060 h 4687251"/>
              <a:gd name="connsiteX43792" fmla="*/ 4120919 w 8079933"/>
              <a:gd name="connsiteY43792" fmla="*/ 1245219 h 4687251"/>
              <a:gd name="connsiteX43793" fmla="*/ 4125151 w 8079933"/>
              <a:gd name="connsiteY43793" fmla="*/ 1241213 h 4687251"/>
              <a:gd name="connsiteX43794" fmla="*/ 4128190 w 8079933"/>
              <a:gd name="connsiteY43794" fmla="*/ 1238723 h 4687251"/>
              <a:gd name="connsiteX43795" fmla="*/ 4128949 w 8079933"/>
              <a:gd name="connsiteY43795" fmla="*/ 1233850 h 4687251"/>
              <a:gd name="connsiteX43796" fmla="*/ 4128406 w 8079933"/>
              <a:gd name="connsiteY43796" fmla="*/ 1232226 h 4687251"/>
              <a:gd name="connsiteX43797" fmla="*/ 4132531 w 8079933"/>
              <a:gd name="connsiteY43797" fmla="*/ 1229520 h 4687251"/>
              <a:gd name="connsiteX43798" fmla="*/ 4132204 w 8079933"/>
              <a:gd name="connsiteY43798" fmla="*/ 1224648 h 4687251"/>
              <a:gd name="connsiteX43799" fmla="*/ 4134484 w 8079933"/>
              <a:gd name="connsiteY43799" fmla="*/ 1223457 h 4687251"/>
              <a:gd name="connsiteX43800" fmla="*/ 4139909 w 8079933"/>
              <a:gd name="connsiteY43800" fmla="*/ 1223457 h 4687251"/>
              <a:gd name="connsiteX43801" fmla="*/ 4138716 w 8079933"/>
              <a:gd name="connsiteY43801" fmla="*/ 1221075 h 4687251"/>
              <a:gd name="connsiteX43802" fmla="*/ 4139258 w 8079933"/>
              <a:gd name="connsiteY43802" fmla="*/ 1218368 h 4687251"/>
              <a:gd name="connsiteX43803" fmla="*/ 4141429 w 8079933"/>
              <a:gd name="connsiteY43803" fmla="*/ 1216310 h 4687251"/>
              <a:gd name="connsiteX43804" fmla="*/ 4140343 w 8079933"/>
              <a:gd name="connsiteY43804" fmla="*/ 1213604 h 4687251"/>
              <a:gd name="connsiteX43805" fmla="*/ 4143382 w 8079933"/>
              <a:gd name="connsiteY43805" fmla="*/ 1213604 h 4687251"/>
              <a:gd name="connsiteX43806" fmla="*/ 4144793 w 8079933"/>
              <a:gd name="connsiteY43806" fmla="*/ 1211438 h 4687251"/>
              <a:gd name="connsiteX43807" fmla="*/ 4147180 w 8079933"/>
              <a:gd name="connsiteY43807" fmla="*/ 1212954 h 4687251"/>
              <a:gd name="connsiteX43808" fmla="*/ 4147939 w 8079933"/>
              <a:gd name="connsiteY43808" fmla="*/ 1216528 h 4687251"/>
              <a:gd name="connsiteX43809" fmla="*/ 4151521 w 8079933"/>
              <a:gd name="connsiteY43809" fmla="*/ 1216310 h 4687251"/>
              <a:gd name="connsiteX43810" fmla="*/ 4153365 w 8079933"/>
              <a:gd name="connsiteY43810" fmla="*/ 1212413 h 4687251"/>
              <a:gd name="connsiteX43811" fmla="*/ 4156947 w 8079933"/>
              <a:gd name="connsiteY43811" fmla="*/ 1210573 h 4687251"/>
              <a:gd name="connsiteX43812" fmla="*/ 4152281 w 8079933"/>
              <a:gd name="connsiteY43812" fmla="*/ 1209165 h 4687251"/>
              <a:gd name="connsiteX43813" fmla="*/ 4151954 w 8079933"/>
              <a:gd name="connsiteY43813" fmla="*/ 1207324 h 4687251"/>
              <a:gd name="connsiteX43814" fmla="*/ 4154559 w 8079933"/>
              <a:gd name="connsiteY43814" fmla="*/ 1203535 h 4687251"/>
              <a:gd name="connsiteX43815" fmla="*/ 4160527 w 8079933"/>
              <a:gd name="connsiteY43815" fmla="*/ 1202993 h 4687251"/>
              <a:gd name="connsiteX43816" fmla="*/ 4161613 w 8079933"/>
              <a:gd name="connsiteY43816" fmla="*/ 1201045 h 4687251"/>
              <a:gd name="connsiteX43817" fmla="*/ 4158357 w 8079933"/>
              <a:gd name="connsiteY43817" fmla="*/ 1199420 h 4687251"/>
              <a:gd name="connsiteX43818" fmla="*/ 4161504 w 8079933"/>
              <a:gd name="connsiteY43818" fmla="*/ 1196714 h 4687251"/>
              <a:gd name="connsiteX43819" fmla="*/ 4165302 w 8079933"/>
              <a:gd name="connsiteY43819" fmla="*/ 1195090 h 4687251"/>
              <a:gd name="connsiteX43820" fmla="*/ 4165411 w 8079933"/>
              <a:gd name="connsiteY43820" fmla="*/ 1192924 h 4687251"/>
              <a:gd name="connsiteX43821" fmla="*/ 4168341 w 8079933"/>
              <a:gd name="connsiteY43821" fmla="*/ 1191625 h 4687251"/>
              <a:gd name="connsiteX43822" fmla="*/ 4171813 w 8079933"/>
              <a:gd name="connsiteY43822" fmla="*/ 1191625 h 4687251"/>
              <a:gd name="connsiteX43823" fmla="*/ 4175720 w 8079933"/>
              <a:gd name="connsiteY43823" fmla="*/ 1187294 h 4687251"/>
              <a:gd name="connsiteX43824" fmla="*/ 4178650 w 8079933"/>
              <a:gd name="connsiteY43824" fmla="*/ 1186753 h 4687251"/>
              <a:gd name="connsiteX43825" fmla="*/ 4180603 w 8079933"/>
              <a:gd name="connsiteY43825" fmla="*/ 1181339 h 4687251"/>
              <a:gd name="connsiteX43826" fmla="*/ 4178541 w 8079933"/>
              <a:gd name="connsiteY43826" fmla="*/ 1181339 h 4687251"/>
              <a:gd name="connsiteX43827" fmla="*/ 4176479 w 8079933"/>
              <a:gd name="connsiteY43827" fmla="*/ 1184912 h 4687251"/>
              <a:gd name="connsiteX43828" fmla="*/ 4173767 w 8079933"/>
              <a:gd name="connsiteY43828" fmla="*/ 1185129 h 4687251"/>
              <a:gd name="connsiteX43829" fmla="*/ 4172030 w 8079933"/>
              <a:gd name="connsiteY43829" fmla="*/ 1181123 h 4687251"/>
              <a:gd name="connsiteX43830" fmla="*/ 4172139 w 8079933"/>
              <a:gd name="connsiteY43830" fmla="*/ 1177008 h 4687251"/>
              <a:gd name="connsiteX43831" fmla="*/ 4170728 w 8079933"/>
              <a:gd name="connsiteY43831" fmla="*/ 1176684 h 4687251"/>
              <a:gd name="connsiteX43832" fmla="*/ 4170836 w 8079933"/>
              <a:gd name="connsiteY43832" fmla="*/ 1172894 h 4687251"/>
              <a:gd name="connsiteX43833" fmla="*/ 4173115 w 8079933"/>
              <a:gd name="connsiteY43833" fmla="*/ 1171595 h 4687251"/>
              <a:gd name="connsiteX43834" fmla="*/ 4178324 w 8079933"/>
              <a:gd name="connsiteY43834" fmla="*/ 1175059 h 4687251"/>
              <a:gd name="connsiteX43835" fmla="*/ 4178650 w 8079933"/>
              <a:gd name="connsiteY43835" fmla="*/ 1172461 h 4687251"/>
              <a:gd name="connsiteX43836" fmla="*/ 4177890 w 8079933"/>
              <a:gd name="connsiteY43836" fmla="*/ 1170512 h 4687251"/>
              <a:gd name="connsiteX43837" fmla="*/ 4173984 w 8079933"/>
              <a:gd name="connsiteY43837" fmla="*/ 1169429 h 4687251"/>
              <a:gd name="connsiteX43838" fmla="*/ 4173767 w 8079933"/>
              <a:gd name="connsiteY43838" fmla="*/ 1165640 h 4687251"/>
              <a:gd name="connsiteX43839" fmla="*/ 4175394 w 8079933"/>
              <a:gd name="connsiteY43839" fmla="*/ 1164341 h 4687251"/>
              <a:gd name="connsiteX43840" fmla="*/ 4177890 w 8079933"/>
              <a:gd name="connsiteY43840" fmla="*/ 1166723 h 4687251"/>
              <a:gd name="connsiteX43841" fmla="*/ 4179952 w 8079933"/>
              <a:gd name="connsiteY43841" fmla="*/ 1166723 h 4687251"/>
              <a:gd name="connsiteX43842" fmla="*/ 4179410 w 8079933"/>
              <a:gd name="connsiteY43842" fmla="*/ 1163692 h 4687251"/>
              <a:gd name="connsiteX43843" fmla="*/ 4177239 w 8079933"/>
              <a:gd name="connsiteY43843" fmla="*/ 1161201 h 4687251"/>
              <a:gd name="connsiteX43844" fmla="*/ 4178541 w 8079933"/>
              <a:gd name="connsiteY43844" fmla="*/ 1160443 h 4687251"/>
              <a:gd name="connsiteX43845" fmla="*/ 4178324 w 8079933"/>
              <a:gd name="connsiteY43845" fmla="*/ 1157303 h 4687251"/>
              <a:gd name="connsiteX43846" fmla="*/ 4180495 w 8079933"/>
              <a:gd name="connsiteY43846" fmla="*/ 1154596 h 4687251"/>
              <a:gd name="connsiteX43847" fmla="*/ 4182665 w 8079933"/>
              <a:gd name="connsiteY43847" fmla="*/ 1154596 h 4687251"/>
              <a:gd name="connsiteX43848" fmla="*/ 4185378 w 8079933"/>
              <a:gd name="connsiteY43848" fmla="*/ 1157520 h 4687251"/>
              <a:gd name="connsiteX43849" fmla="*/ 4185486 w 8079933"/>
              <a:gd name="connsiteY43849" fmla="*/ 1153947 h 4687251"/>
              <a:gd name="connsiteX43850" fmla="*/ 4183208 w 8079933"/>
              <a:gd name="connsiteY43850" fmla="*/ 1151782 h 4687251"/>
              <a:gd name="connsiteX43851" fmla="*/ 4182773 w 8079933"/>
              <a:gd name="connsiteY43851" fmla="*/ 1148641 h 4687251"/>
              <a:gd name="connsiteX43852" fmla="*/ 4178107 w 8079933"/>
              <a:gd name="connsiteY43852" fmla="*/ 1148533 h 4687251"/>
              <a:gd name="connsiteX43853" fmla="*/ 4176697 w 8079933"/>
              <a:gd name="connsiteY43853" fmla="*/ 1147017 h 4687251"/>
              <a:gd name="connsiteX43854" fmla="*/ 4181145 w 8079933"/>
              <a:gd name="connsiteY43854" fmla="*/ 1142903 h 4687251"/>
              <a:gd name="connsiteX43855" fmla="*/ 4187656 w 8079933"/>
              <a:gd name="connsiteY43855" fmla="*/ 1142795 h 4687251"/>
              <a:gd name="connsiteX43856" fmla="*/ 4189501 w 8079933"/>
              <a:gd name="connsiteY43856" fmla="*/ 1144527 h 4687251"/>
              <a:gd name="connsiteX43857" fmla="*/ 4193517 w 8079933"/>
              <a:gd name="connsiteY43857" fmla="*/ 1144527 h 4687251"/>
              <a:gd name="connsiteX43858" fmla="*/ 4193517 w 8079933"/>
              <a:gd name="connsiteY43858" fmla="*/ 1142362 h 4687251"/>
              <a:gd name="connsiteX43859" fmla="*/ 4196338 w 8079933"/>
              <a:gd name="connsiteY43859" fmla="*/ 1139655 h 4687251"/>
              <a:gd name="connsiteX43860" fmla="*/ 4192757 w 8079933"/>
              <a:gd name="connsiteY43860" fmla="*/ 1141280 h 4687251"/>
              <a:gd name="connsiteX43861" fmla="*/ 4190261 w 8079933"/>
              <a:gd name="connsiteY43861" fmla="*/ 1140521 h 4687251"/>
              <a:gd name="connsiteX43862" fmla="*/ 4189284 w 8079933"/>
              <a:gd name="connsiteY43862" fmla="*/ 1137706 h 4687251"/>
              <a:gd name="connsiteX43863" fmla="*/ 4182990 w 8079933"/>
              <a:gd name="connsiteY43863" fmla="*/ 1135541 h 4687251"/>
              <a:gd name="connsiteX43864" fmla="*/ 4180495 w 8079933"/>
              <a:gd name="connsiteY43864" fmla="*/ 1134458 h 4687251"/>
              <a:gd name="connsiteX43865" fmla="*/ 4181905 w 8079933"/>
              <a:gd name="connsiteY43865" fmla="*/ 1131860 h 4687251"/>
              <a:gd name="connsiteX43866" fmla="*/ 4181905 w 8079933"/>
              <a:gd name="connsiteY43866" fmla="*/ 1129261 h 4687251"/>
              <a:gd name="connsiteX43867" fmla="*/ 4183533 w 8079933"/>
              <a:gd name="connsiteY43867" fmla="*/ 1130777 h 4687251"/>
              <a:gd name="connsiteX43868" fmla="*/ 4186463 w 8079933"/>
              <a:gd name="connsiteY43868" fmla="*/ 1130344 h 4687251"/>
              <a:gd name="connsiteX43869" fmla="*/ 4188959 w 8079933"/>
              <a:gd name="connsiteY43869" fmla="*/ 1128720 h 4687251"/>
              <a:gd name="connsiteX43870" fmla="*/ 4186463 w 8079933"/>
              <a:gd name="connsiteY43870" fmla="*/ 1128720 h 4687251"/>
              <a:gd name="connsiteX43871" fmla="*/ 4185920 w 8079933"/>
              <a:gd name="connsiteY43871" fmla="*/ 1126013 h 4687251"/>
              <a:gd name="connsiteX43872" fmla="*/ 4187874 w 8079933"/>
              <a:gd name="connsiteY43872" fmla="*/ 1124281 h 4687251"/>
              <a:gd name="connsiteX43873" fmla="*/ 4184835 w 8079933"/>
              <a:gd name="connsiteY43873" fmla="*/ 1121791 h 4687251"/>
              <a:gd name="connsiteX43874" fmla="*/ 4186246 w 8079933"/>
              <a:gd name="connsiteY43874" fmla="*/ 1120383 h 4687251"/>
              <a:gd name="connsiteX43875" fmla="*/ 4186788 w 8079933"/>
              <a:gd name="connsiteY43875" fmla="*/ 1121574 h 4687251"/>
              <a:gd name="connsiteX43876" fmla="*/ 4191129 w 8079933"/>
              <a:gd name="connsiteY43876" fmla="*/ 1122332 h 4687251"/>
              <a:gd name="connsiteX43877" fmla="*/ 4192214 w 8079933"/>
              <a:gd name="connsiteY43877" fmla="*/ 1120599 h 4687251"/>
              <a:gd name="connsiteX43878" fmla="*/ 4189284 w 8079933"/>
              <a:gd name="connsiteY43878" fmla="*/ 1117893 h 4687251"/>
              <a:gd name="connsiteX43879" fmla="*/ 4190587 w 8079933"/>
              <a:gd name="connsiteY43879" fmla="*/ 1116702 h 4687251"/>
              <a:gd name="connsiteX43880" fmla="*/ 4192431 w 8079933"/>
              <a:gd name="connsiteY43880" fmla="*/ 1117676 h 4687251"/>
              <a:gd name="connsiteX43881" fmla="*/ 4195579 w 8079933"/>
              <a:gd name="connsiteY43881" fmla="*/ 1116485 h 4687251"/>
              <a:gd name="connsiteX43882" fmla="*/ 4192866 w 8079933"/>
              <a:gd name="connsiteY43882" fmla="*/ 1113129 h 4687251"/>
              <a:gd name="connsiteX43883" fmla="*/ 4189284 w 8079933"/>
              <a:gd name="connsiteY43883" fmla="*/ 1111613 h 4687251"/>
              <a:gd name="connsiteX43884" fmla="*/ 4189827 w 8079933"/>
              <a:gd name="connsiteY43884" fmla="*/ 1109340 h 4687251"/>
              <a:gd name="connsiteX43885" fmla="*/ 4193082 w 8079933"/>
              <a:gd name="connsiteY43885" fmla="*/ 1109123 h 4687251"/>
              <a:gd name="connsiteX43886" fmla="*/ 4198942 w 8079933"/>
              <a:gd name="connsiteY43886" fmla="*/ 1106091 h 4687251"/>
              <a:gd name="connsiteX43887" fmla="*/ 4200570 w 8079933"/>
              <a:gd name="connsiteY43887" fmla="*/ 1107607 h 4687251"/>
              <a:gd name="connsiteX43888" fmla="*/ 4204368 w 8079933"/>
              <a:gd name="connsiteY43888" fmla="*/ 1105550 h 4687251"/>
              <a:gd name="connsiteX43889" fmla="*/ 4204368 w 8079933"/>
              <a:gd name="connsiteY43889" fmla="*/ 1101977 h 4687251"/>
              <a:gd name="connsiteX43890" fmla="*/ 4210987 w 8079933"/>
              <a:gd name="connsiteY43890" fmla="*/ 1100895 h 4687251"/>
              <a:gd name="connsiteX43891" fmla="*/ 4213375 w 8079933"/>
              <a:gd name="connsiteY43891" fmla="*/ 1099487 h 4687251"/>
              <a:gd name="connsiteX43892" fmla="*/ 4218258 w 8079933"/>
              <a:gd name="connsiteY43892" fmla="*/ 1099487 h 4687251"/>
              <a:gd name="connsiteX43893" fmla="*/ 4224444 w 8079933"/>
              <a:gd name="connsiteY43893" fmla="*/ 1103385 h 4687251"/>
              <a:gd name="connsiteX43894" fmla="*/ 4224444 w 8079933"/>
              <a:gd name="connsiteY43894" fmla="*/ 1100678 h 4687251"/>
              <a:gd name="connsiteX43895" fmla="*/ 4221514 w 8079933"/>
              <a:gd name="connsiteY43895" fmla="*/ 1099054 h 4687251"/>
              <a:gd name="connsiteX43896" fmla="*/ 4220211 w 8079933"/>
              <a:gd name="connsiteY43896" fmla="*/ 1095264 h 4687251"/>
              <a:gd name="connsiteX43897" fmla="*/ 4216305 w 8079933"/>
              <a:gd name="connsiteY43897" fmla="*/ 1096564 h 4687251"/>
              <a:gd name="connsiteX43898" fmla="*/ 4213700 w 8079933"/>
              <a:gd name="connsiteY43898" fmla="*/ 1094073 h 4687251"/>
              <a:gd name="connsiteX43899" fmla="*/ 4209903 w 8079933"/>
              <a:gd name="connsiteY43899" fmla="*/ 1096564 h 4687251"/>
              <a:gd name="connsiteX43900" fmla="*/ 4205453 w 8079933"/>
              <a:gd name="connsiteY43900" fmla="*/ 1094507 h 4687251"/>
              <a:gd name="connsiteX43901" fmla="*/ 4205453 w 8079933"/>
              <a:gd name="connsiteY43901" fmla="*/ 1091691 h 4687251"/>
              <a:gd name="connsiteX43902" fmla="*/ 4209577 w 8079933"/>
              <a:gd name="connsiteY43902" fmla="*/ 1088660 h 4687251"/>
              <a:gd name="connsiteX43903" fmla="*/ 4213917 w 8079933"/>
              <a:gd name="connsiteY43903" fmla="*/ 1088227 h 4687251"/>
              <a:gd name="connsiteX43904" fmla="*/ 4210662 w 8079933"/>
              <a:gd name="connsiteY43904" fmla="*/ 1085736 h 4687251"/>
              <a:gd name="connsiteX43905" fmla="*/ 4213592 w 8079933"/>
              <a:gd name="connsiteY43905" fmla="*/ 1082705 h 4687251"/>
              <a:gd name="connsiteX43906" fmla="*/ 4215762 w 8079933"/>
              <a:gd name="connsiteY43906" fmla="*/ 1082272 h 4687251"/>
              <a:gd name="connsiteX43907" fmla="*/ 4219343 w 8079933"/>
              <a:gd name="connsiteY43907" fmla="*/ 1086928 h 4687251"/>
              <a:gd name="connsiteX43908" fmla="*/ 4222273 w 8079933"/>
              <a:gd name="connsiteY43908" fmla="*/ 1086603 h 4687251"/>
              <a:gd name="connsiteX43909" fmla="*/ 4225638 w 8079933"/>
              <a:gd name="connsiteY43909" fmla="*/ 1089309 h 4687251"/>
              <a:gd name="connsiteX43910" fmla="*/ 4225855 w 8079933"/>
              <a:gd name="connsiteY43910" fmla="*/ 1085736 h 4687251"/>
              <a:gd name="connsiteX43911" fmla="*/ 4220754 w 8079933"/>
              <a:gd name="connsiteY43911" fmla="*/ 1082705 h 4687251"/>
              <a:gd name="connsiteX43912" fmla="*/ 4218475 w 8079933"/>
              <a:gd name="connsiteY43912" fmla="*/ 1079240 h 4687251"/>
              <a:gd name="connsiteX43913" fmla="*/ 4219343 w 8079933"/>
              <a:gd name="connsiteY43913" fmla="*/ 1074585 h 4687251"/>
              <a:gd name="connsiteX43914" fmla="*/ 4225638 w 8079933"/>
              <a:gd name="connsiteY43914" fmla="*/ 1073826 h 4687251"/>
              <a:gd name="connsiteX43915" fmla="*/ 4223576 w 8079933"/>
              <a:gd name="connsiteY43915" fmla="*/ 1070795 h 4687251"/>
              <a:gd name="connsiteX43916" fmla="*/ 4219669 w 8079933"/>
              <a:gd name="connsiteY43916" fmla="*/ 1070579 h 4687251"/>
              <a:gd name="connsiteX43917" fmla="*/ 4215329 w 8079933"/>
              <a:gd name="connsiteY43917" fmla="*/ 1075559 h 4687251"/>
              <a:gd name="connsiteX43918" fmla="*/ 4211964 w 8079933"/>
              <a:gd name="connsiteY43918" fmla="*/ 1076317 h 4687251"/>
              <a:gd name="connsiteX43919" fmla="*/ 4214785 w 8079933"/>
              <a:gd name="connsiteY43919" fmla="*/ 1072419 h 4687251"/>
              <a:gd name="connsiteX43920" fmla="*/ 4211964 w 8079933"/>
              <a:gd name="connsiteY43920" fmla="*/ 1069712 h 4687251"/>
              <a:gd name="connsiteX43921" fmla="*/ 4213700 w 8079933"/>
              <a:gd name="connsiteY43921" fmla="*/ 1065273 h 4687251"/>
              <a:gd name="connsiteX43922" fmla="*/ 4217173 w 8079933"/>
              <a:gd name="connsiteY43922" fmla="*/ 1065165 h 4687251"/>
              <a:gd name="connsiteX43923" fmla="*/ 4219018 w 8079933"/>
              <a:gd name="connsiteY43923" fmla="*/ 1066789 h 4687251"/>
              <a:gd name="connsiteX43924" fmla="*/ 4227699 w 8079933"/>
              <a:gd name="connsiteY43924" fmla="*/ 1065490 h 4687251"/>
              <a:gd name="connsiteX43925" fmla="*/ 4229978 w 8079933"/>
              <a:gd name="connsiteY43925" fmla="*/ 1061917 h 4687251"/>
              <a:gd name="connsiteX43926" fmla="*/ 4225855 w 8079933"/>
              <a:gd name="connsiteY43926" fmla="*/ 1059426 h 4687251"/>
              <a:gd name="connsiteX43927" fmla="*/ 4220754 w 8079933"/>
              <a:gd name="connsiteY43927" fmla="*/ 1059535 h 4687251"/>
              <a:gd name="connsiteX43928" fmla="*/ 4217498 w 8079933"/>
              <a:gd name="connsiteY43928" fmla="*/ 1056179 h 4687251"/>
              <a:gd name="connsiteX43929" fmla="*/ 4221297 w 8079933"/>
              <a:gd name="connsiteY43929" fmla="*/ 1051956 h 4687251"/>
              <a:gd name="connsiteX43930" fmla="*/ 4224010 w 8079933"/>
              <a:gd name="connsiteY43930" fmla="*/ 1052281 h 4687251"/>
              <a:gd name="connsiteX43931" fmla="*/ 4222816 w 8079933"/>
              <a:gd name="connsiteY43931" fmla="*/ 1054338 h 4687251"/>
              <a:gd name="connsiteX43932" fmla="*/ 4224444 w 8079933"/>
              <a:gd name="connsiteY43932" fmla="*/ 1057045 h 4687251"/>
              <a:gd name="connsiteX43933" fmla="*/ 4227808 w 8079933"/>
              <a:gd name="connsiteY43933" fmla="*/ 1056179 h 4687251"/>
              <a:gd name="connsiteX43934" fmla="*/ 4231064 w 8079933"/>
              <a:gd name="connsiteY43934" fmla="*/ 1052714 h 4687251"/>
              <a:gd name="connsiteX43935" fmla="*/ 4234319 w 8079933"/>
              <a:gd name="connsiteY43935" fmla="*/ 1056936 h 4687251"/>
              <a:gd name="connsiteX43936" fmla="*/ 4234210 w 8079933"/>
              <a:gd name="connsiteY43936" fmla="*/ 1061159 h 4687251"/>
              <a:gd name="connsiteX43937" fmla="*/ 4236163 w 8079933"/>
              <a:gd name="connsiteY43937" fmla="*/ 1064516 h 4687251"/>
              <a:gd name="connsiteX43938" fmla="*/ 4237032 w 8079933"/>
              <a:gd name="connsiteY43938" fmla="*/ 1062025 h 4687251"/>
              <a:gd name="connsiteX43939" fmla="*/ 4236381 w 8079933"/>
              <a:gd name="connsiteY43939" fmla="*/ 1058669 h 4687251"/>
              <a:gd name="connsiteX43940" fmla="*/ 4237791 w 8079933"/>
              <a:gd name="connsiteY43940" fmla="*/ 1055962 h 4687251"/>
              <a:gd name="connsiteX43941" fmla="*/ 4239962 w 8079933"/>
              <a:gd name="connsiteY43941" fmla="*/ 1055854 h 4687251"/>
              <a:gd name="connsiteX43942" fmla="*/ 4238551 w 8079933"/>
              <a:gd name="connsiteY43942" fmla="*/ 1052173 h 4687251"/>
              <a:gd name="connsiteX43943" fmla="*/ 4234970 w 8079933"/>
              <a:gd name="connsiteY43943" fmla="*/ 1049574 h 4687251"/>
              <a:gd name="connsiteX43944" fmla="*/ 4237574 w 8079933"/>
              <a:gd name="connsiteY43944" fmla="*/ 1049249 h 4687251"/>
              <a:gd name="connsiteX43945" fmla="*/ 4241155 w 8079933"/>
              <a:gd name="connsiteY43945" fmla="*/ 1051306 h 4687251"/>
              <a:gd name="connsiteX43946" fmla="*/ 4242566 w 8079933"/>
              <a:gd name="connsiteY43946" fmla="*/ 1048600 h 4687251"/>
              <a:gd name="connsiteX43947" fmla="*/ 4241047 w 8079933"/>
              <a:gd name="connsiteY43947" fmla="*/ 1046975 h 4687251"/>
              <a:gd name="connsiteX43948" fmla="*/ 4245821 w 8079933"/>
              <a:gd name="connsiteY43948" fmla="*/ 1046975 h 4687251"/>
              <a:gd name="connsiteX43949" fmla="*/ 4247558 w 8079933"/>
              <a:gd name="connsiteY43949" fmla="*/ 1049033 h 4687251"/>
              <a:gd name="connsiteX43950" fmla="*/ 4251464 w 8079933"/>
              <a:gd name="connsiteY43950" fmla="*/ 1048058 h 4687251"/>
              <a:gd name="connsiteX43951" fmla="*/ 4252007 w 8079933"/>
              <a:gd name="connsiteY43951" fmla="*/ 1051198 h 4687251"/>
              <a:gd name="connsiteX43952" fmla="*/ 4253852 w 8079933"/>
              <a:gd name="connsiteY43952" fmla="*/ 1053472 h 4687251"/>
              <a:gd name="connsiteX43953" fmla="*/ 4254937 w 8079933"/>
              <a:gd name="connsiteY43953" fmla="*/ 1052173 h 4687251"/>
              <a:gd name="connsiteX43954" fmla="*/ 4255805 w 8079933"/>
              <a:gd name="connsiteY43954" fmla="*/ 1045785 h 4687251"/>
              <a:gd name="connsiteX43955" fmla="*/ 4258843 w 8079933"/>
              <a:gd name="connsiteY43955" fmla="*/ 1042320 h 4687251"/>
              <a:gd name="connsiteX43956" fmla="*/ 4258735 w 8079933"/>
              <a:gd name="connsiteY43956" fmla="*/ 1039288 h 4687251"/>
              <a:gd name="connsiteX43957" fmla="*/ 4256130 w 8079933"/>
              <a:gd name="connsiteY43957" fmla="*/ 1039397 h 4687251"/>
              <a:gd name="connsiteX43958" fmla="*/ 4251790 w 8079933"/>
              <a:gd name="connsiteY43958" fmla="*/ 1041562 h 4687251"/>
              <a:gd name="connsiteX43959" fmla="*/ 4249294 w 8079933"/>
              <a:gd name="connsiteY43959" fmla="*/ 1040046 h 4687251"/>
              <a:gd name="connsiteX43960" fmla="*/ 4238985 w 8079933"/>
              <a:gd name="connsiteY43960" fmla="*/ 1042969 h 4687251"/>
              <a:gd name="connsiteX43961" fmla="*/ 4235078 w 8079933"/>
              <a:gd name="connsiteY43961" fmla="*/ 1041671 h 4687251"/>
              <a:gd name="connsiteX43962" fmla="*/ 4237466 w 8079933"/>
              <a:gd name="connsiteY43962" fmla="*/ 1037339 h 4687251"/>
              <a:gd name="connsiteX43963" fmla="*/ 4242132 w 8079933"/>
              <a:gd name="connsiteY43963" fmla="*/ 1036906 h 4687251"/>
              <a:gd name="connsiteX43964" fmla="*/ 4243543 w 8079933"/>
              <a:gd name="connsiteY43964" fmla="*/ 1035499 h 4687251"/>
              <a:gd name="connsiteX43965" fmla="*/ 4242349 w 8079933"/>
              <a:gd name="connsiteY43965" fmla="*/ 1033225 h 4687251"/>
              <a:gd name="connsiteX43966" fmla="*/ 4245388 w 8079933"/>
              <a:gd name="connsiteY43966" fmla="*/ 1029328 h 4687251"/>
              <a:gd name="connsiteX43967" fmla="*/ 4248860 w 8079933"/>
              <a:gd name="connsiteY43967" fmla="*/ 1028353 h 4687251"/>
              <a:gd name="connsiteX43968" fmla="*/ 4250814 w 8079933"/>
              <a:gd name="connsiteY43968" fmla="*/ 1030843 h 4687251"/>
              <a:gd name="connsiteX43969" fmla="*/ 4253635 w 8079933"/>
              <a:gd name="connsiteY43969" fmla="*/ 1030194 h 4687251"/>
              <a:gd name="connsiteX43970" fmla="*/ 4252332 w 8079933"/>
              <a:gd name="connsiteY43970" fmla="*/ 1029111 h 4687251"/>
              <a:gd name="connsiteX43971" fmla="*/ 4252441 w 8079933"/>
              <a:gd name="connsiteY43971" fmla="*/ 1026729 h 4687251"/>
              <a:gd name="connsiteX43972" fmla="*/ 4255805 w 8079933"/>
              <a:gd name="connsiteY43972" fmla="*/ 1026512 h 4687251"/>
              <a:gd name="connsiteX43973" fmla="*/ 4257650 w 8079933"/>
              <a:gd name="connsiteY43973" fmla="*/ 1024347 h 4687251"/>
              <a:gd name="connsiteX43974" fmla="*/ 4255045 w 8079933"/>
              <a:gd name="connsiteY43974" fmla="*/ 1022506 h 4687251"/>
              <a:gd name="connsiteX43975" fmla="*/ 4257867 w 8079933"/>
              <a:gd name="connsiteY43975" fmla="*/ 1020666 h 4687251"/>
              <a:gd name="connsiteX43976" fmla="*/ 4261665 w 8079933"/>
              <a:gd name="connsiteY43976" fmla="*/ 1020233 h 4687251"/>
              <a:gd name="connsiteX43977" fmla="*/ 4258735 w 8079933"/>
              <a:gd name="connsiteY43977" fmla="*/ 1016660 h 4687251"/>
              <a:gd name="connsiteX43978" fmla="*/ 4255697 w 8079933"/>
              <a:gd name="connsiteY43978" fmla="*/ 1017093 h 4687251"/>
              <a:gd name="connsiteX43979" fmla="*/ 4254612 w 8079933"/>
              <a:gd name="connsiteY43979" fmla="*/ 1016551 h 4687251"/>
              <a:gd name="connsiteX43980" fmla="*/ 4259060 w 8079933"/>
              <a:gd name="connsiteY43980" fmla="*/ 1011247 h 4687251"/>
              <a:gd name="connsiteX43981" fmla="*/ 4262425 w 8079933"/>
              <a:gd name="connsiteY43981" fmla="*/ 1010164 h 4687251"/>
              <a:gd name="connsiteX43982" fmla="*/ 4266223 w 8079933"/>
              <a:gd name="connsiteY43982" fmla="*/ 1012112 h 4687251"/>
              <a:gd name="connsiteX43983" fmla="*/ 4266982 w 8079933"/>
              <a:gd name="connsiteY43983" fmla="*/ 1006807 h 4687251"/>
              <a:gd name="connsiteX43984" fmla="*/ 4264812 w 8079933"/>
              <a:gd name="connsiteY43984" fmla="*/ 1004100 h 4687251"/>
              <a:gd name="connsiteX43985" fmla="*/ 4265897 w 8079933"/>
              <a:gd name="connsiteY43985" fmla="*/ 998145 h 4687251"/>
              <a:gd name="connsiteX43986" fmla="*/ 4268610 w 8079933"/>
              <a:gd name="connsiteY43986" fmla="*/ 996088 h 4687251"/>
              <a:gd name="connsiteX43987" fmla="*/ 4269587 w 8079933"/>
              <a:gd name="connsiteY43987" fmla="*/ 999770 h 4687251"/>
              <a:gd name="connsiteX43988" fmla="*/ 4271432 w 8079933"/>
              <a:gd name="connsiteY43988" fmla="*/ 1000853 h 4687251"/>
              <a:gd name="connsiteX43989" fmla="*/ 4271974 w 8079933"/>
              <a:gd name="connsiteY43989" fmla="*/ 1006374 h 4687251"/>
              <a:gd name="connsiteX43990" fmla="*/ 4276532 w 8079933"/>
              <a:gd name="connsiteY43990" fmla="*/ 1009622 h 4687251"/>
              <a:gd name="connsiteX43991" fmla="*/ 4273819 w 8079933"/>
              <a:gd name="connsiteY43991" fmla="*/ 1005075 h 4687251"/>
              <a:gd name="connsiteX43992" fmla="*/ 4277943 w 8079933"/>
              <a:gd name="connsiteY43992" fmla="*/ 1003776 h 4687251"/>
              <a:gd name="connsiteX43993" fmla="*/ 4281958 w 8079933"/>
              <a:gd name="connsiteY43993" fmla="*/ 1004317 h 4687251"/>
              <a:gd name="connsiteX43994" fmla="*/ 4280438 w 8079933"/>
              <a:gd name="connsiteY43994" fmla="*/ 1002584 h 4687251"/>
              <a:gd name="connsiteX43995" fmla="*/ 4277617 w 8079933"/>
              <a:gd name="connsiteY43995" fmla="*/ 1002151 h 4687251"/>
              <a:gd name="connsiteX43996" fmla="*/ 4271432 w 8079933"/>
              <a:gd name="connsiteY43996" fmla="*/ 997496 h 4687251"/>
              <a:gd name="connsiteX43997" fmla="*/ 4272191 w 8079933"/>
              <a:gd name="connsiteY43997" fmla="*/ 994464 h 4687251"/>
              <a:gd name="connsiteX43998" fmla="*/ 4278377 w 8079933"/>
              <a:gd name="connsiteY43998" fmla="*/ 992407 h 4687251"/>
              <a:gd name="connsiteX43999" fmla="*/ 4279787 w 8079933"/>
              <a:gd name="connsiteY43999" fmla="*/ 993274 h 4687251"/>
              <a:gd name="connsiteX44000" fmla="*/ 4282934 w 8079933"/>
              <a:gd name="connsiteY44000" fmla="*/ 1001719 h 4687251"/>
              <a:gd name="connsiteX44001" fmla="*/ 4287817 w 8079933"/>
              <a:gd name="connsiteY44001" fmla="*/ 1003776 h 4687251"/>
              <a:gd name="connsiteX44002" fmla="*/ 4289879 w 8079933"/>
              <a:gd name="connsiteY44002" fmla="*/ 1010272 h 4687251"/>
              <a:gd name="connsiteX44003" fmla="*/ 4292484 w 8079933"/>
              <a:gd name="connsiteY44003" fmla="*/ 1005183 h 4687251"/>
              <a:gd name="connsiteX44004" fmla="*/ 4290639 w 8079933"/>
              <a:gd name="connsiteY44004" fmla="*/ 1001935 h 4687251"/>
              <a:gd name="connsiteX44005" fmla="*/ 4284128 w 8079933"/>
              <a:gd name="connsiteY44005" fmla="*/ 997280 h 4687251"/>
              <a:gd name="connsiteX44006" fmla="*/ 4284453 w 8079933"/>
              <a:gd name="connsiteY44006" fmla="*/ 993165 h 4687251"/>
              <a:gd name="connsiteX44007" fmla="*/ 4282391 w 8079933"/>
              <a:gd name="connsiteY44007" fmla="*/ 988510 h 4687251"/>
              <a:gd name="connsiteX44008" fmla="*/ 4285539 w 8079933"/>
              <a:gd name="connsiteY44008" fmla="*/ 982555 h 4687251"/>
              <a:gd name="connsiteX44009" fmla="*/ 4290096 w 8079933"/>
              <a:gd name="connsiteY44009" fmla="*/ 979631 h 4687251"/>
              <a:gd name="connsiteX44010" fmla="*/ 4292484 w 8079933"/>
              <a:gd name="connsiteY44010" fmla="*/ 980172 h 4687251"/>
              <a:gd name="connsiteX44011" fmla="*/ 4294220 w 8079933"/>
              <a:gd name="connsiteY44011" fmla="*/ 986669 h 4687251"/>
              <a:gd name="connsiteX44012" fmla="*/ 4291941 w 8079933"/>
              <a:gd name="connsiteY44012" fmla="*/ 991541 h 4687251"/>
              <a:gd name="connsiteX44013" fmla="*/ 4292484 w 8079933"/>
              <a:gd name="connsiteY44013" fmla="*/ 996088 h 4687251"/>
              <a:gd name="connsiteX44014" fmla="*/ 4296173 w 8079933"/>
              <a:gd name="connsiteY44014" fmla="*/ 991433 h 4687251"/>
              <a:gd name="connsiteX44015" fmla="*/ 4295305 w 8079933"/>
              <a:gd name="connsiteY44015" fmla="*/ 989051 h 4687251"/>
              <a:gd name="connsiteX44016" fmla="*/ 4295413 w 8079933"/>
              <a:gd name="connsiteY44016" fmla="*/ 983313 h 4687251"/>
              <a:gd name="connsiteX44017" fmla="*/ 4300839 w 8079933"/>
              <a:gd name="connsiteY44017" fmla="*/ 974651 h 4687251"/>
              <a:gd name="connsiteX44018" fmla="*/ 4304204 w 8079933"/>
              <a:gd name="connsiteY44018" fmla="*/ 972486 h 4687251"/>
              <a:gd name="connsiteX44019" fmla="*/ 4306916 w 8079933"/>
              <a:gd name="connsiteY44019" fmla="*/ 985911 h 4687251"/>
              <a:gd name="connsiteX44020" fmla="*/ 4303552 w 8079933"/>
              <a:gd name="connsiteY44020" fmla="*/ 992624 h 4687251"/>
              <a:gd name="connsiteX44021" fmla="*/ 4304746 w 8079933"/>
              <a:gd name="connsiteY44021" fmla="*/ 995872 h 4687251"/>
              <a:gd name="connsiteX44022" fmla="*/ 4301165 w 8079933"/>
              <a:gd name="connsiteY44022" fmla="*/ 998470 h 4687251"/>
              <a:gd name="connsiteX44023" fmla="*/ 4301273 w 8079933"/>
              <a:gd name="connsiteY44023" fmla="*/ 1000961 h 4687251"/>
              <a:gd name="connsiteX44024" fmla="*/ 4306483 w 8079933"/>
              <a:gd name="connsiteY44024" fmla="*/ 996847 h 4687251"/>
              <a:gd name="connsiteX44025" fmla="*/ 4307568 w 8079933"/>
              <a:gd name="connsiteY44025" fmla="*/ 993165 h 4687251"/>
              <a:gd name="connsiteX44026" fmla="*/ 4310823 w 8079933"/>
              <a:gd name="connsiteY44026" fmla="*/ 988401 h 4687251"/>
              <a:gd name="connsiteX44027" fmla="*/ 4312885 w 8079933"/>
              <a:gd name="connsiteY44027" fmla="*/ 990459 h 4687251"/>
              <a:gd name="connsiteX44028" fmla="*/ 4316683 w 8079933"/>
              <a:gd name="connsiteY44028" fmla="*/ 991000 h 4687251"/>
              <a:gd name="connsiteX44029" fmla="*/ 4314621 w 8079933"/>
              <a:gd name="connsiteY44029" fmla="*/ 986669 h 4687251"/>
              <a:gd name="connsiteX44030" fmla="*/ 4309629 w 8079933"/>
              <a:gd name="connsiteY44030" fmla="*/ 984395 h 4687251"/>
              <a:gd name="connsiteX44031" fmla="*/ 4309412 w 8079933"/>
              <a:gd name="connsiteY44031" fmla="*/ 980606 h 4687251"/>
              <a:gd name="connsiteX44032" fmla="*/ 4313536 w 8079933"/>
              <a:gd name="connsiteY44032" fmla="*/ 977033 h 4687251"/>
              <a:gd name="connsiteX44033" fmla="*/ 4313645 w 8079933"/>
              <a:gd name="connsiteY44033" fmla="*/ 974543 h 4687251"/>
              <a:gd name="connsiteX44034" fmla="*/ 4317117 w 8079933"/>
              <a:gd name="connsiteY44034" fmla="*/ 971619 h 4687251"/>
              <a:gd name="connsiteX44035" fmla="*/ 4317985 w 8079933"/>
              <a:gd name="connsiteY44035" fmla="*/ 977249 h 4687251"/>
              <a:gd name="connsiteX44036" fmla="*/ 4321458 w 8079933"/>
              <a:gd name="connsiteY44036" fmla="*/ 974326 h 4687251"/>
              <a:gd name="connsiteX44037" fmla="*/ 4322760 w 8079933"/>
              <a:gd name="connsiteY44037" fmla="*/ 970320 h 4687251"/>
              <a:gd name="connsiteX44038" fmla="*/ 4325148 w 8079933"/>
              <a:gd name="connsiteY44038" fmla="*/ 973243 h 4687251"/>
              <a:gd name="connsiteX44039" fmla="*/ 4329271 w 8079933"/>
              <a:gd name="connsiteY44039" fmla="*/ 974976 h 4687251"/>
              <a:gd name="connsiteX44040" fmla="*/ 4332527 w 8079933"/>
              <a:gd name="connsiteY44040" fmla="*/ 980281 h 4687251"/>
              <a:gd name="connsiteX44041" fmla="*/ 4335673 w 8079933"/>
              <a:gd name="connsiteY44041" fmla="*/ 982555 h 4687251"/>
              <a:gd name="connsiteX44042" fmla="*/ 4336107 w 8079933"/>
              <a:gd name="connsiteY44042" fmla="*/ 979307 h 4687251"/>
              <a:gd name="connsiteX44043" fmla="*/ 4332527 w 8079933"/>
              <a:gd name="connsiteY44043" fmla="*/ 974435 h 4687251"/>
              <a:gd name="connsiteX44044" fmla="*/ 4332309 w 8079933"/>
              <a:gd name="connsiteY44044" fmla="*/ 970320 h 4687251"/>
              <a:gd name="connsiteX44045" fmla="*/ 4334697 w 8079933"/>
              <a:gd name="connsiteY44045" fmla="*/ 965881 h 4687251"/>
              <a:gd name="connsiteX44046" fmla="*/ 4329271 w 8079933"/>
              <a:gd name="connsiteY44046" fmla="*/ 965448 h 4687251"/>
              <a:gd name="connsiteX44047" fmla="*/ 4327209 w 8079933"/>
              <a:gd name="connsiteY44047" fmla="*/ 963066 h 4687251"/>
              <a:gd name="connsiteX44048" fmla="*/ 4323520 w 8079933"/>
              <a:gd name="connsiteY44048" fmla="*/ 963174 h 4687251"/>
              <a:gd name="connsiteX44049" fmla="*/ 4318311 w 8079933"/>
              <a:gd name="connsiteY44049" fmla="*/ 957003 h 4687251"/>
              <a:gd name="connsiteX44050" fmla="*/ 4318528 w 8079933"/>
              <a:gd name="connsiteY44050" fmla="*/ 955054 h 4687251"/>
              <a:gd name="connsiteX44051" fmla="*/ 4322868 w 8079933"/>
              <a:gd name="connsiteY44051" fmla="*/ 954080 h 4687251"/>
              <a:gd name="connsiteX44052" fmla="*/ 4326558 w 8079933"/>
              <a:gd name="connsiteY44052" fmla="*/ 950723 h 4687251"/>
              <a:gd name="connsiteX44053" fmla="*/ 4328186 w 8079933"/>
              <a:gd name="connsiteY44053" fmla="*/ 953863 h 4687251"/>
              <a:gd name="connsiteX44054" fmla="*/ 4330573 w 8079933"/>
              <a:gd name="connsiteY44054" fmla="*/ 950940 h 4687251"/>
              <a:gd name="connsiteX44055" fmla="*/ 4332743 w 8079933"/>
              <a:gd name="connsiteY44055" fmla="*/ 951048 h 4687251"/>
              <a:gd name="connsiteX44056" fmla="*/ 4340014 w 8079933"/>
              <a:gd name="connsiteY44056" fmla="*/ 956786 h 4687251"/>
              <a:gd name="connsiteX44057" fmla="*/ 4345331 w 8079933"/>
              <a:gd name="connsiteY44057" fmla="*/ 957111 h 4687251"/>
              <a:gd name="connsiteX44058" fmla="*/ 4349347 w 8079933"/>
              <a:gd name="connsiteY44058" fmla="*/ 956678 h 4687251"/>
              <a:gd name="connsiteX44059" fmla="*/ 4353036 w 8079933"/>
              <a:gd name="connsiteY44059" fmla="*/ 958627 h 4687251"/>
              <a:gd name="connsiteX44060" fmla="*/ 4350432 w 8079933"/>
              <a:gd name="connsiteY44060" fmla="*/ 961550 h 4687251"/>
              <a:gd name="connsiteX44061" fmla="*/ 4353253 w 8079933"/>
              <a:gd name="connsiteY44061" fmla="*/ 962308 h 4687251"/>
              <a:gd name="connsiteX44062" fmla="*/ 4354772 w 8079933"/>
              <a:gd name="connsiteY44062" fmla="*/ 968588 h 4687251"/>
              <a:gd name="connsiteX44063" fmla="*/ 4360632 w 8079933"/>
              <a:gd name="connsiteY44063" fmla="*/ 969129 h 4687251"/>
              <a:gd name="connsiteX44064" fmla="*/ 4362586 w 8079933"/>
              <a:gd name="connsiteY44064" fmla="*/ 967072 h 4687251"/>
              <a:gd name="connsiteX44065" fmla="*/ 4360958 w 8079933"/>
              <a:gd name="connsiteY44065" fmla="*/ 965340 h 4687251"/>
              <a:gd name="connsiteX44066" fmla="*/ 4357377 w 8079933"/>
              <a:gd name="connsiteY44066" fmla="*/ 963607 h 4687251"/>
              <a:gd name="connsiteX44067" fmla="*/ 4360090 w 8079933"/>
              <a:gd name="connsiteY44067" fmla="*/ 960901 h 4687251"/>
              <a:gd name="connsiteX44068" fmla="*/ 4356508 w 8079933"/>
              <a:gd name="connsiteY44068" fmla="*/ 957111 h 4687251"/>
              <a:gd name="connsiteX44069" fmla="*/ 4357485 w 8079933"/>
              <a:gd name="connsiteY44069" fmla="*/ 953646 h 4687251"/>
              <a:gd name="connsiteX44070" fmla="*/ 4361934 w 8079933"/>
              <a:gd name="connsiteY44070" fmla="*/ 950723 h 4687251"/>
              <a:gd name="connsiteX44071" fmla="*/ 4359981 w 8079933"/>
              <a:gd name="connsiteY44071" fmla="*/ 949424 h 4687251"/>
              <a:gd name="connsiteX44072" fmla="*/ 4359981 w 8079933"/>
              <a:gd name="connsiteY44072" fmla="*/ 947583 h 4687251"/>
              <a:gd name="connsiteX44073" fmla="*/ 4363128 w 8079933"/>
              <a:gd name="connsiteY44073" fmla="*/ 946284 h 4687251"/>
              <a:gd name="connsiteX44074" fmla="*/ 4365624 w 8079933"/>
              <a:gd name="connsiteY44074" fmla="*/ 941303 h 4687251"/>
              <a:gd name="connsiteX44075" fmla="*/ 4367794 w 8079933"/>
              <a:gd name="connsiteY44075" fmla="*/ 941087 h 4687251"/>
              <a:gd name="connsiteX44076" fmla="*/ 4372027 w 8079933"/>
              <a:gd name="connsiteY44076" fmla="*/ 943902 h 4687251"/>
              <a:gd name="connsiteX44077" fmla="*/ 4373545 w 8079933"/>
              <a:gd name="connsiteY44077" fmla="*/ 942386 h 4687251"/>
              <a:gd name="connsiteX44078" fmla="*/ 4372135 w 8079933"/>
              <a:gd name="connsiteY44078" fmla="*/ 940546 h 4687251"/>
              <a:gd name="connsiteX44079" fmla="*/ 4372460 w 8079933"/>
              <a:gd name="connsiteY44079" fmla="*/ 938056 h 4687251"/>
              <a:gd name="connsiteX44080" fmla="*/ 4375282 w 8079933"/>
              <a:gd name="connsiteY44080" fmla="*/ 935457 h 4687251"/>
              <a:gd name="connsiteX44081" fmla="*/ 4377670 w 8079933"/>
              <a:gd name="connsiteY44081" fmla="*/ 937839 h 4687251"/>
              <a:gd name="connsiteX44082" fmla="*/ 4378971 w 8079933"/>
              <a:gd name="connsiteY44082" fmla="*/ 936431 h 4687251"/>
              <a:gd name="connsiteX44083" fmla="*/ 4377670 w 8079933"/>
              <a:gd name="connsiteY44083" fmla="*/ 932425 h 4687251"/>
              <a:gd name="connsiteX44084" fmla="*/ 4372244 w 8079933"/>
              <a:gd name="connsiteY44084" fmla="*/ 928744 h 4687251"/>
              <a:gd name="connsiteX44085" fmla="*/ 4371592 w 8079933"/>
              <a:gd name="connsiteY44085" fmla="*/ 927012 h 4687251"/>
              <a:gd name="connsiteX44086" fmla="*/ 4373654 w 8079933"/>
              <a:gd name="connsiteY44086" fmla="*/ 925063 h 4687251"/>
              <a:gd name="connsiteX44087" fmla="*/ 4376258 w 8079933"/>
              <a:gd name="connsiteY44087" fmla="*/ 926579 h 4687251"/>
              <a:gd name="connsiteX44088" fmla="*/ 4378211 w 8079933"/>
              <a:gd name="connsiteY44088" fmla="*/ 928961 h 4687251"/>
              <a:gd name="connsiteX44089" fmla="*/ 4379623 w 8079933"/>
              <a:gd name="connsiteY44089" fmla="*/ 926146 h 4687251"/>
              <a:gd name="connsiteX44090" fmla="*/ 4379080 w 8079933"/>
              <a:gd name="connsiteY44090" fmla="*/ 920407 h 4687251"/>
              <a:gd name="connsiteX44091" fmla="*/ 4381901 w 8079933"/>
              <a:gd name="connsiteY44091" fmla="*/ 918891 h 4687251"/>
              <a:gd name="connsiteX44092" fmla="*/ 4385808 w 8079933"/>
              <a:gd name="connsiteY44092" fmla="*/ 919650 h 4687251"/>
              <a:gd name="connsiteX44093" fmla="*/ 4388955 w 8079933"/>
              <a:gd name="connsiteY44093" fmla="*/ 922789 h 4687251"/>
              <a:gd name="connsiteX44094" fmla="*/ 4389063 w 8079933"/>
              <a:gd name="connsiteY44094" fmla="*/ 926903 h 4687251"/>
              <a:gd name="connsiteX44095" fmla="*/ 4391777 w 8079933"/>
              <a:gd name="connsiteY44095" fmla="*/ 923872 h 4687251"/>
              <a:gd name="connsiteX44096" fmla="*/ 4391125 w 8079933"/>
              <a:gd name="connsiteY44096" fmla="*/ 919650 h 4687251"/>
              <a:gd name="connsiteX44097" fmla="*/ 4393078 w 8079933"/>
              <a:gd name="connsiteY44097" fmla="*/ 919000 h 4687251"/>
              <a:gd name="connsiteX44098" fmla="*/ 4396876 w 8079933"/>
              <a:gd name="connsiteY44098" fmla="*/ 922897 h 4687251"/>
              <a:gd name="connsiteX44099" fmla="*/ 4400566 w 8079933"/>
              <a:gd name="connsiteY44099" fmla="*/ 923222 h 4687251"/>
              <a:gd name="connsiteX44100" fmla="*/ 4401001 w 8079933"/>
              <a:gd name="connsiteY44100" fmla="*/ 925821 h 4687251"/>
              <a:gd name="connsiteX44101" fmla="*/ 4399915 w 8079933"/>
              <a:gd name="connsiteY44101" fmla="*/ 926579 h 4687251"/>
              <a:gd name="connsiteX44102" fmla="*/ 4398721 w 8079933"/>
              <a:gd name="connsiteY44102" fmla="*/ 931234 h 4687251"/>
              <a:gd name="connsiteX44103" fmla="*/ 4391777 w 8079933"/>
              <a:gd name="connsiteY44103" fmla="*/ 938922 h 4687251"/>
              <a:gd name="connsiteX44104" fmla="*/ 4393730 w 8079933"/>
              <a:gd name="connsiteY44104" fmla="*/ 943036 h 4687251"/>
              <a:gd name="connsiteX44105" fmla="*/ 4392102 w 8079933"/>
              <a:gd name="connsiteY44105" fmla="*/ 946176 h 4687251"/>
              <a:gd name="connsiteX44106" fmla="*/ 4392862 w 8079933"/>
              <a:gd name="connsiteY44106" fmla="*/ 950290 h 4687251"/>
              <a:gd name="connsiteX44107" fmla="*/ 4388955 w 8079933"/>
              <a:gd name="connsiteY44107" fmla="*/ 956570 h 4687251"/>
              <a:gd name="connsiteX44108" fmla="*/ 4390365 w 8079933"/>
              <a:gd name="connsiteY44108" fmla="*/ 959601 h 4687251"/>
              <a:gd name="connsiteX44109" fmla="*/ 4390365 w 8079933"/>
              <a:gd name="connsiteY44109" fmla="*/ 963715 h 4687251"/>
              <a:gd name="connsiteX44110" fmla="*/ 4393513 w 8079933"/>
              <a:gd name="connsiteY44110" fmla="*/ 962308 h 4687251"/>
              <a:gd name="connsiteX44111" fmla="*/ 4399698 w 8079933"/>
              <a:gd name="connsiteY44111" fmla="*/ 955487 h 4687251"/>
              <a:gd name="connsiteX44112" fmla="*/ 4400349 w 8079933"/>
              <a:gd name="connsiteY44112" fmla="*/ 950723 h 4687251"/>
              <a:gd name="connsiteX44113" fmla="*/ 4399047 w 8079933"/>
              <a:gd name="connsiteY44113" fmla="*/ 948233 h 4687251"/>
              <a:gd name="connsiteX44114" fmla="*/ 4400458 w 8079933"/>
              <a:gd name="connsiteY44114" fmla="*/ 942386 h 4687251"/>
              <a:gd name="connsiteX44115" fmla="*/ 4406535 w 8079933"/>
              <a:gd name="connsiteY44115" fmla="*/ 934158 h 4687251"/>
              <a:gd name="connsiteX44116" fmla="*/ 4406643 w 8079933"/>
              <a:gd name="connsiteY44116" fmla="*/ 928636 h 4687251"/>
              <a:gd name="connsiteX44117" fmla="*/ 4412612 w 8079933"/>
              <a:gd name="connsiteY44117" fmla="*/ 918783 h 4687251"/>
              <a:gd name="connsiteX44118" fmla="*/ 4414890 w 8079933"/>
              <a:gd name="connsiteY44118" fmla="*/ 918675 h 4687251"/>
              <a:gd name="connsiteX44119" fmla="*/ 4416301 w 8079933"/>
              <a:gd name="connsiteY44119" fmla="*/ 921057 h 4687251"/>
              <a:gd name="connsiteX44120" fmla="*/ 4416301 w 8079933"/>
              <a:gd name="connsiteY44120" fmla="*/ 928203 h 4687251"/>
              <a:gd name="connsiteX44121" fmla="*/ 4413588 w 8079933"/>
              <a:gd name="connsiteY44121" fmla="*/ 930909 h 4687251"/>
              <a:gd name="connsiteX44122" fmla="*/ 4413154 w 8079933"/>
              <a:gd name="connsiteY44122" fmla="*/ 933075 h 4687251"/>
              <a:gd name="connsiteX44123" fmla="*/ 4416953 w 8079933"/>
              <a:gd name="connsiteY44123" fmla="*/ 934483 h 4687251"/>
              <a:gd name="connsiteX44124" fmla="*/ 4413046 w 8079933"/>
              <a:gd name="connsiteY44124" fmla="*/ 942819 h 4687251"/>
              <a:gd name="connsiteX44125" fmla="*/ 4413372 w 8079933"/>
              <a:gd name="connsiteY44125" fmla="*/ 947367 h 4687251"/>
              <a:gd name="connsiteX44126" fmla="*/ 4416410 w 8079933"/>
              <a:gd name="connsiteY44126" fmla="*/ 945201 h 4687251"/>
              <a:gd name="connsiteX44127" fmla="*/ 4417061 w 8079933"/>
              <a:gd name="connsiteY44127" fmla="*/ 943360 h 4687251"/>
              <a:gd name="connsiteX44128" fmla="*/ 4419882 w 8079933"/>
              <a:gd name="connsiteY44128" fmla="*/ 941195 h 4687251"/>
              <a:gd name="connsiteX44129" fmla="*/ 4422921 w 8079933"/>
              <a:gd name="connsiteY44129" fmla="*/ 943360 h 4687251"/>
              <a:gd name="connsiteX44130" fmla="*/ 4424223 w 8079933"/>
              <a:gd name="connsiteY44130" fmla="*/ 941845 h 4687251"/>
              <a:gd name="connsiteX44131" fmla="*/ 4422704 w 8079933"/>
              <a:gd name="connsiteY44131" fmla="*/ 937189 h 4687251"/>
              <a:gd name="connsiteX44132" fmla="*/ 4425417 w 8079933"/>
              <a:gd name="connsiteY44132" fmla="*/ 935457 h 4687251"/>
              <a:gd name="connsiteX44133" fmla="*/ 4424549 w 8079933"/>
              <a:gd name="connsiteY44133" fmla="*/ 934050 h 4687251"/>
              <a:gd name="connsiteX44134" fmla="*/ 4424549 w 8079933"/>
              <a:gd name="connsiteY44134" fmla="*/ 930909 h 4687251"/>
              <a:gd name="connsiteX44135" fmla="*/ 4427370 w 8079933"/>
              <a:gd name="connsiteY44135" fmla="*/ 929393 h 4687251"/>
              <a:gd name="connsiteX44136" fmla="*/ 4427370 w 8079933"/>
              <a:gd name="connsiteY44136" fmla="*/ 926146 h 4687251"/>
              <a:gd name="connsiteX44137" fmla="*/ 4430192 w 8079933"/>
              <a:gd name="connsiteY44137" fmla="*/ 924846 h 4687251"/>
              <a:gd name="connsiteX44138" fmla="*/ 4430625 w 8079933"/>
              <a:gd name="connsiteY44138" fmla="*/ 922897 h 4687251"/>
              <a:gd name="connsiteX44139" fmla="*/ 4428889 w 8079933"/>
              <a:gd name="connsiteY44139" fmla="*/ 921273 h 4687251"/>
              <a:gd name="connsiteX44140" fmla="*/ 4425308 w 8079933"/>
              <a:gd name="connsiteY44140" fmla="*/ 921165 h 4687251"/>
              <a:gd name="connsiteX44141" fmla="*/ 4424223 w 8079933"/>
              <a:gd name="connsiteY44141" fmla="*/ 919433 h 4687251"/>
              <a:gd name="connsiteX44142" fmla="*/ 4425417 w 8079933"/>
              <a:gd name="connsiteY44142" fmla="*/ 915427 h 4687251"/>
              <a:gd name="connsiteX44143" fmla="*/ 4427912 w 8079933"/>
              <a:gd name="connsiteY44143" fmla="*/ 913153 h 4687251"/>
              <a:gd name="connsiteX44144" fmla="*/ 4431277 w 8079933"/>
              <a:gd name="connsiteY44144" fmla="*/ 917917 h 4687251"/>
              <a:gd name="connsiteX44145" fmla="*/ 4433338 w 8079933"/>
              <a:gd name="connsiteY44145" fmla="*/ 917917 h 4687251"/>
              <a:gd name="connsiteX44146" fmla="*/ 4435183 w 8079933"/>
              <a:gd name="connsiteY44146" fmla="*/ 915319 h 4687251"/>
              <a:gd name="connsiteX44147" fmla="*/ 4432362 w 8079933"/>
              <a:gd name="connsiteY44147" fmla="*/ 911746 h 4687251"/>
              <a:gd name="connsiteX44148" fmla="*/ 4432253 w 8079933"/>
              <a:gd name="connsiteY44148" fmla="*/ 909581 h 4687251"/>
              <a:gd name="connsiteX44149" fmla="*/ 4435617 w 8079933"/>
              <a:gd name="connsiteY44149" fmla="*/ 906332 h 4687251"/>
              <a:gd name="connsiteX44150" fmla="*/ 4438330 w 8079933"/>
              <a:gd name="connsiteY44150" fmla="*/ 908606 h 4687251"/>
              <a:gd name="connsiteX44151" fmla="*/ 4440934 w 8079933"/>
              <a:gd name="connsiteY44151" fmla="*/ 908930 h 4687251"/>
              <a:gd name="connsiteX44152" fmla="*/ 4443973 w 8079933"/>
              <a:gd name="connsiteY44152" fmla="*/ 906224 h 4687251"/>
              <a:gd name="connsiteX44153" fmla="*/ 4445167 w 8079933"/>
              <a:gd name="connsiteY44153" fmla="*/ 909364 h 4687251"/>
              <a:gd name="connsiteX44154" fmla="*/ 4444299 w 8079933"/>
              <a:gd name="connsiteY44154" fmla="*/ 912828 h 4687251"/>
              <a:gd name="connsiteX44155" fmla="*/ 4446469 w 8079933"/>
              <a:gd name="connsiteY44155" fmla="*/ 914236 h 4687251"/>
              <a:gd name="connsiteX44156" fmla="*/ 4451135 w 8079933"/>
              <a:gd name="connsiteY44156" fmla="*/ 913045 h 4687251"/>
              <a:gd name="connsiteX44157" fmla="*/ 4451895 w 8079933"/>
              <a:gd name="connsiteY44157" fmla="*/ 916077 h 4687251"/>
              <a:gd name="connsiteX44158" fmla="*/ 4449073 w 8079933"/>
              <a:gd name="connsiteY44158" fmla="*/ 923548 h 4687251"/>
              <a:gd name="connsiteX44159" fmla="*/ 4443973 w 8079933"/>
              <a:gd name="connsiteY44159" fmla="*/ 923548 h 4687251"/>
              <a:gd name="connsiteX44160" fmla="*/ 4442563 w 8079933"/>
              <a:gd name="connsiteY44160" fmla="*/ 922140 h 4687251"/>
              <a:gd name="connsiteX44161" fmla="*/ 4439198 w 8079933"/>
              <a:gd name="connsiteY44161" fmla="*/ 923222 h 4687251"/>
              <a:gd name="connsiteX44162" fmla="*/ 4439958 w 8079933"/>
              <a:gd name="connsiteY44162" fmla="*/ 925063 h 4687251"/>
              <a:gd name="connsiteX44163" fmla="*/ 4444081 w 8079933"/>
              <a:gd name="connsiteY44163" fmla="*/ 926038 h 4687251"/>
              <a:gd name="connsiteX44164" fmla="*/ 4443864 w 8079933"/>
              <a:gd name="connsiteY44164" fmla="*/ 927986 h 4687251"/>
              <a:gd name="connsiteX44165" fmla="*/ 4440826 w 8079933"/>
              <a:gd name="connsiteY44165" fmla="*/ 930477 h 4687251"/>
              <a:gd name="connsiteX44166" fmla="*/ 4440175 w 8079933"/>
              <a:gd name="connsiteY44166" fmla="*/ 932534 h 4687251"/>
              <a:gd name="connsiteX44167" fmla="*/ 4442888 w 8079933"/>
              <a:gd name="connsiteY44167" fmla="*/ 933400 h 4687251"/>
              <a:gd name="connsiteX44168" fmla="*/ 4447554 w 8079933"/>
              <a:gd name="connsiteY44168" fmla="*/ 929827 h 4687251"/>
              <a:gd name="connsiteX44169" fmla="*/ 4449290 w 8079933"/>
              <a:gd name="connsiteY44169" fmla="*/ 929611 h 4687251"/>
              <a:gd name="connsiteX44170" fmla="*/ 4449833 w 8079933"/>
              <a:gd name="connsiteY44170" fmla="*/ 931884 h 4687251"/>
              <a:gd name="connsiteX44171" fmla="*/ 4447662 w 8079933"/>
              <a:gd name="connsiteY44171" fmla="*/ 936323 h 4687251"/>
              <a:gd name="connsiteX44172" fmla="*/ 4444081 w 8079933"/>
              <a:gd name="connsiteY44172" fmla="*/ 937297 h 4687251"/>
              <a:gd name="connsiteX44173" fmla="*/ 4439632 w 8079933"/>
              <a:gd name="connsiteY44173" fmla="*/ 943577 h 4687251"/>
              <a:gd name="connsiteX44174" fmla="*/ 4445384 w 8079933"/>
              <a:gd name="connsiteY44174" fmla="*/ 940979 h 4687251"/>
              <a:gd name="connsiteX44175" fmla="*/ 4449290 w 8079933"/>
              <a:gd name="connsiteY44175" fmla="*/ 941628 h 4687251"/>
              <a:gd name="connsiteX44176" fmla="*/ 4449942 w 8079933"/>
              <a:gd name="connsiteY44176" fmla="*/ 940113 h 4687251"/>
              <a:gd name="connsiteX44177" fmla="*/ 4452871 w 8079933"/>
              <a:gd name="connsiteY44177" fmla="*/ 940437 h 4687251"/>
              <a:gd name="connsiteX44178" fmla="*/ 4454825 w 8079933"/>
              <a:gd name="connsiteY44178" fmla="*/ 944552 h 4687251"/>
              <a:gd name="connsiteX44179" fmla="*/ 4457321 w 8079933"/>
              <a:gd name="connsiteY44179" fmla="*/ 942278 h 4687251"/>
              <a:gd name="connsiteX44180" fmla="*/ 4457646 w 8079933"/>
              <a:gd name="connsiteY44180" fmla="*/ 939354 h 4687251"/>
              <a:gd name="connsiteX44181" fmla="*/ 4454933 w 8079933"/>
              <a:gd name="connsiteY44181" fmla="*/ 932534 h 4687251"/>
              <a:gd name="connsiteX44182" fmla="*/ 4455258 w 8079933"/>
              <a:gd name="connsiteY44182" fmla="*/ 930260 h 4687251"/>
              <a:gd name="connsiteX44183" fmla="*/ 4458514 w 8079933"/>
              <a:gd name="connsiteY44183" fmla="*/ 928961 h 4687251"/>
              <a:gd name="connsiteX44184" fmla="*/ 4459165 w 8079933"/>
              <a:gd name="connsiteY44184" fmla="*/ 922356 h 4687251"/>
              <a:gd name="connsiteX44185" fmla="*/ 4461987 w 8079933"/>
              <a:gd name="connsiteY44185" fmla="*/ 920732 h 4687251"/>
              <a:gd name="connsiteX44186" fmla="*/ 4466436 w 8079933"/>
              <a:gd name="connsiteY44186" fmla="*/ 920840 h 4687251"/>
              <a:gd name="connsiteX44187" fmla="*/ 4470994 w 8079933"/>
              <a:gd name="connsiteY44187" fmla="*/ 923548 h 4687251"/>
              <a:gd name="connsiteX44188" fmla="*/ 4470994 w 8079933"/>
              <a:gd name="connsiteY44188" fmla="*/ 926362 h 4687251"/>
              <a:gd name="connsiteX44189" fmla="*/ 4467955 w 8079933"/>
              <a:gd name="connsiteY44189" fmla="*/ 928528 h 4687251"/>
              <a:gd name="connsiteX44190" fmla="*/ 4468715 w 8079933"/>
              <a:gd name="connsiteY44190" fmla="*/ 930909 h 4687251"/>
              <a:gd name="connsiteX44191" fmla="*/ 4470885 w 8079933"/>
              <a:gd name="connsiteY44191" fmla="*/ 931126 h 4687251"/>
              <a:gd name="connsiteX44192" fmla="*/ 4472730 w 8079933"/>
              <a:gd name="connsiteY44192" fmla="*/ 928311 h 4687251"/>
              <a:gd name="connsiteX44193" fmla="*/ 4474791 w 8079933"/>
              <a:gd name="connsiteY44193" fmla="*/ 927986 h 4687251"/>
              <a:gd name="connsiteX44194" fmla="*/ 4474358 w 8079933"/>
              <a:gd name="connsiteY44194" fmla="*/ 931776 h 4687251"/>
              <a:gd name="connsiteX44195" fmla="*/ 4476094 w 8079933"/>
              <a:gd name="connsiteY44195" fmla="*/ 931776 h 4687251"/>
              <a:gd name="connsiteX44196" fmla="*/ 4479241 w 8079933"/>
              <a:gd name="connsiteY44196" fmla="*/ 926470 h 4687251"/>
              <a:gd name="connsiteX44197" fmla="*/ 4482496 w 8079933"/>
              <a:gd name="connsiteY44197" fmla="*/ 926254 h 4687251"/>
              <a:gd name="connsiteX44198" fmla="*/ 4483473 w 8079933"/>
              <a:gd name="connsiteY44198" fmla="*/ 927554 h 4687251"/>
              <a:gd name="connsiteX44199" fmla="*/ 4488030 w 8079933"/>
              <a:gd name="connsiteY44199" fmla="*/ 929285 h 4687251"/>
              <a:gd name="connsiteX44200" fmla="*/ 4487380 w 8079933"/>
              <a:gd name="connsiteY44200" fmla="*/ 932534 h 4687251"/>
              <a:gd name="connsiteX44201" fmla="*/ 4483582 w 8079933"/>
              <a:gd name="connsiteY44201" fmla="*/ 935024 h 4687251"/>
              <a:gd name="connsiteX44202" fmla="*/ 4484341 w 8079933"/>
              <a:gd name="connsiteY44202" fmla="*/ 936648 h 4687251"/>
              <a:gd name="connsiteX44203" fmla="*/ 4486728 w 8079933"/>
              <a:gd name="connsiteY44203" fmla="*/ 936648 h 4687251"/>
              <a:gd name="connsiteX44204" fmla="*/ 4490527 w 8079933"/>
              <a:gd name="connsiteY44204" fmla="*/ 932425 h 4687251"/>
              <a:gd name="connsiteX44205" fmla="*/ 4493782 w 8079933"/>
              <a:gd name="connsiteY44205" fmla="*/ 932425 h 4687251"/>
              <a:gd name="connsiteX44206" fmla="*/ 4499534 w 8079933"/>
              <a:gd name="connsiteY44206" fmla="*/ 937297 h 4687251"/>
              <a:gd name="connsiteX44207" fmla="*/ 4503766 w 8079933"/>
              <a:gd name="connsiteY44207" fmla="*/ 936540 h 4687251"/>
              <a:gd name="connsiteX44208" fmla="*/ 4507021 w 8079933"/>
              <a:gd name="connsiteY44208" fmla="*/ 937622 h 4687251"/>
              <a:gd name="connsiteX44209" fmla="*/ 4507998 w 8079933"/>
              <a:gd name="connsiteY44209" fmla="*/ 939463 h 4687251"/>
              <a:gd name="connsiteX44210" fmla="*/ 4510819 w 8079933"/>
              <a:gd name="connsiteY44210" fmla="*/ 940437 h 4687251"/>
              <a:gd name="connsiteX44211" fmla="*/ 4510819 w 8079933"/>
              <a:gd name="connsiteY44211" fmla="*/ 941845 h 4687251"/>
              <a:gd name="connsiteX44212" fmla="*/ 4507021 w 8079933"/>
              <a:gd name="connsiteY44212" fmla="*/ 945093 h 4687251"/>
              <a:gd name="connsiteX44213" fmla="*/ 4498014 w 8079933"/>
              <a:gd name="connsiteY44213" fmla="*/ 947367 h 4687251"/>
              <a:gd name="connsiteX44214" fmla="*/ 4493782 w 8079933"/>
              <a:gd name="connsiteY44214" fmla="*/ 955920 h 4687251"/>
              <a:gd name="connsiteX44215" fmla="*/ 4487162 w 8079933"/>
              <a:gd name="connsiteY44215" fmla="*/ 958086 h 4687251"/>
              <a:gd name="connsiteX44216" fmla="*/ 4477830 w 8079933"/>
              <a:gd name="connsiteY44216" fmla="*/ 956895 h 4687251"/>
              <a:gd name="connsiteX44217" fmla="*/ 4472947 w 8079933"/>
              <a:gd name="connsiteY44217" fmla="*/ 955920 h 4687251"/>
              <a:gd name="connsiteX44218" fmla="*/ 4467087 w 8079933"/>
              <a:gd name="connsiteY44218" fmla="*/ 956678 h 4687251"/>
              <a:gd name="connsiteX44219" fmla="*/ 4460033 w 8079933"/>
              <a:gd name="connsiteY44219" fmla="*/ 954837 h 4687251"/>
              <a:gd name="connsiteX44220" fmla="*/ 4459057 w 8079933"/>
              <a:gd name="connsiteY44220" fmla="*/ 955703 h 4687251"/>
              <a:gd name="connsiteX44221" fmla="*/ 4461878 w 8079933"/>
              <a:gd name="connsiteY44221" fmla="*/ 959385 h 4687251"/>
              <a:gd name="connsiteX44222" fmla="*/ 4467521 w 8079933"/>
              <a:gd name="connsiteY44222" fmla="*/ 960034 h 4687251"/>
              <a:gd name="connsiteX44223" fmla="*/ 4470885 w 8079933"/>
              <a:gd name="connsiteY44223" fmla="*/ 961442 h 4687251"/>
              <a:gd name="connsiteX44224" fmla="*/ 4474900 w 8079933"/>
              <a:gd name="connsiteY44224" fmla="*/ 960901 h 4687251"/>
              <a:gd name="connsiteX44225" fmla="*/ 4476745 w 8079933"/>
              <a:gd name="connsiteY44225" fmla="*/ 961983 h 4687251"/>
              <a:gd name="connsiteX44226" fmla="*/ 4478698 w 8079933"/>
              <a:gd name="connsiteY44226" fmla="*/ 967180 h 4687251"/>
              <a:gd name="connsiteX44227" fmla="*/ 4480434 w 8079933"/>
              <a:gd name="connsiteY44227" fmla="*/ 967505 h 4687251"/>
              <a:gd name="connsiteX44228" fmla="*/ 4481628 w 8079933"/>
              <a:gd name="connsiteY44228" fmla="*/ 972594 h 4687251"/>
              <a:gd name="connsiteX44229" fmla="*/ 4482822 w 8079933"/>
              <a:gd name="connsiteY44229" fmla="*/ 976384 h 4687251"/>
              <a:gd name="connsiteX44230" fmla="*/ 4484015 w 8079933"/>
              <a:gd name="connsiteY44230" fmla="*/ 973785 h 4687251"/>
              <a:gd name="connsiteX44231" fmla="*/ 4487488 w 8079933"/>
              <a:gd name="connsiteY44231" fmla="*/ 971511 h 4687251"/>
              <a:gd name="connsiteX44232" fmla="*/ 4489550 w 8079933"/>
              <a:gd name="connsiteY44232" fmla="*/ 974868 h 4687251"/>
              <a:gd name="connsiteX44233" fmla="*/ 4491287 w 8079933"/>
              <a:gd name="connsiteY44233" fmla="*/ 975950 h 4687251"/>
              <a:gd name="connsiteX44234" fmla="*/ 4491937 w 8079933"/>
              <a:gd name="connsiteY44234" fmla="*/ 970862 h 4687251"/>
              <a:gd name="connsiteX44235" fmla="*/ 4491395 w 8079933"/>
              <a:gd name="connsiteY44235" fmla="*/ 968263 h 4687251"/>
              <a:gd name="connsiteX44236" fmla="*/ 4494000 w 8079933"/>
              <a:gd name="connsiteY44236" fmla="*/ 968371 h 4687251"/>
              <a:gd name="connsiteX44237" fmla="*/ 4495193 w 8079933"/>
              <a:gd name="connsiteY44237" fmla="*/ 971078 h 4687251"/>
              <a:gd name="connsiteX44238" fmla="*/ 4497038 w 8079933"/>
              <a:gd name="connsiteY44238" fmla="*/ 972919 h 4687251"/>
              <a:gd name="connsiteX44239" fmla="*/ 4497254 w 8079933"/>
              <a:gd name="connsiteY44239" fmla="*/ 970212 h 4687251"/>
              <a:gd name="connsiteX44240" fmla="*/ 4498882 w 8079933"/>
              <a:gd name="connsiteY44240" fmla="*/ 969237 h 4687251"/>
              <a:gd name="connsiteX44241" fmla="*/ 4500727 w 8079933"/>
              <a:gd name="connsiteY44241" fmla="*/ 969237 h 4687251"/>
              <a:gd name="connsiteX44242" fmla="*/ 4504200 w 8079933"/>
              <a:gd name="connsiteY44242" fmla="*/ 971944 h 4687251"/>
              <a:gd name="connsiteX44243" fmla="*/ 4504417 w 8079933"/>
              <a:gd name="connsiteY44243" fmla="*/ 971962 h 4687251"/>
              <a:gd name="connsiteX44244" fmla="*/ 4504417 w 8079933"/>
              <a:gd name="connsiteY44244" fmla="*/ 971837 h 4687251"/>
              <a:gd name="connsiteX44245" fmla="*/ 4509517 w 8079933"/>
              <a:gd name="connsiteY44245" fmla="*/ 972487 h 4687251"/>
              <a:gd name="connsiteX44246" fmla="*/ 4511471 w 8079933"/>
              <a:gd name="connsiteY44246" fmla="*/ 974327 h 4687251"/>
              <a:gd name="connsiteX44247" fmla="*/ 4511471 w 8079933"/>
              <a:gd name="connsiteY44247" fmla="*/ 978983 h 4687251"/>
              <a:gd name="connsiteX44248" fmla="*/ 4513532 w 8079933"/>
              <a:gd name="connsiteY44248" fmla="*/ 982015 h 4687251"/>
              <a:gd name="connsiteX44249" fmla="*/ 4514183 w 8079933"/>
              <a:gd name="connsiteY44249" fmla="*/ 976060 h 4687251"/>
              <a:gd name="connsiteX44250" fmla="*/ 4516137 w 8079933"/>
              <a:gd name="connsiteY44250" fmla="*/ 972920 h 4687251"/>
              <a:gd name="connsiteX44251" fmla="*/ 4519284 w 8079933"/>
              <a:gd name="connsiteY44251" fmla="*/ 972920 h 4687251"/>
              <a:gd name="connsiteX44252" fmla="*/ 4521345 w 8079933"/>
              <a:gd name="connsiteY44252" fmla="*/ 971837 h 4687251"/>
              <a:gd name="connsiteX44253" fmla="*/ 4517331 w 8079933"/>
              <a:gd name="connsiteY44253" fmla="*/ 969022 h 4687251"/>
              <a:gd name="connsiteX44254" fmla="*/ 4517331 w 8079933"/>
              <a:gd name="connsiteY44254" fmla="*/ 967181 h 4687251"/>
              <a:gd name="connsiteX44255" fmla="*/ 4520044 w 8079933"/>
              <a:gd name="connsiteY44255" fmla="*/ 967181 h 4687251"/>
              <a:gd name="connsiteX44256" fmla="*/ 4522973 w 8079933"/>
              <a:gd name="connsiteY44256" fmla="*/ 966532 h 4687251"/>
              <a:gd name="connsiteX44257" fmla="*/ 4522973 w 8079933"/>
              <a:gd name="connsiteY44257" fmla="*/ 964691 h 4687251"/>
              <a:gd name="connsiteX44258" fmla="*/ 4521562 w 8079933"/>
              <a:gd name="connsiteY44258" fmla="*/ 964691 h 4687251"/>
              <a:gd name="connsiteX44259" fmla="*/ 4519935 w 8079933"/>
              <a:gd name="connsiteY44259" fmla="*/ 961985 h 4687251"/>
              <a:gd name="connsiteX44260" fmla="*/ 4520912 w 8079933"/>
              <a:gd name="connsiteY44260" fmla="*/ 960469 h 4687251"/>
              <a:gd name="connsiteX44261" fmla="*/ 4525469 w 8079933"/>
              <a:gd name="connsiteY44261" fmla="*/ 960469 h 4687251"/>
              <a:gd name="connsiteX44262" fmla="*/ 4530244 w 8079933"/>
              <a:gd name="connsiteY44262" fmla="*/ 962742 h 4687251"/>
              <a:gd name="connsiteX44263" fmla="*/ 4532739 w 8079933"/>
              <a:gd name="connsiteY44263" fmla="*/ 966207 h 4687251"/>
              <a:gd name="connsiteX44264" fmla="*/ 4535236 w 8079933"/>
              <a:gd name="connsiteY44264" fmla="*/ 968372 h 4687251"/>
              <a:gd name="connsiteX44265" fmla="*/ 4537081 w 8079933"/>
              <a:gd name="connsiteY44265" fmla="*/ 966532 h 4687251"/>
              <a:gd name="connsiteX44266" fmla="*/ 4540662 w 8079933"/>
              <a:gd name="connsiteY44266" fmla="*/ 968048 h 4687251"/>
              <a:gd name="connsiteX44267" fmla="*/ 4541855 w 8079933"/>
              <a:gd name="connsiteY44267" fmla="*/ 969672 h 4687251"/>
              <a:gd name="connsiteX44268" fmla="*/ 4544785 w 8079933"/>
              <a:gd name="connsiteY44268" fmla="*/ 971512 h 4687251"/>
              <a:gd name="connsiteX44269" fmla="*/ 4544785 w 8079933"/>
              <a:gd name="connsiteY44269" fmla="*/ 974003 h 4687251"/>
              <a:gd name="connsiteX44270" fmla="*/ 4540662 w 8079933"/>
              <a:gd name="connsiteY44270" fmla="*/ 977250 h 4687251"/>
              <a:gd name="connsiteX44271" fmla="*/ 4537081 w 8079933"/>
              <a:gd name="connsiteY44271" fmla="*/ 975627 h 4687251"/>
              <a:gd name="connsiteX44272" fmla="*/ 4531438 w 8079933"/>
              <a:gd name="connsiteY44272" fmla="*/ 976385 h 4687251"/>
              <a:gd name="connsiteX44273" fmla="*/ 4527857 w 8079933"/>
              <a:gd name="connsiteY44273" fmla="*/ 972703 h 4687251"/>
              <a:gd name="connsiteX44274" fmla="*/ 4527857 w 8079933"/>
              <a:gd name="connsiteY44274" fmla="*/ 969780 h 4687251"/>
              <a:gd name="connsiteX44275" fmla="*/ 4525360 w 8079933"/>
              <a:gd name="connsiteY44275" fmla="*/ 973136 h 4687251"/>
              <a:gd name="connsiteX44276" fmla="*/ 4525360 w 8079933"/>
              <a:gd name="connsiteY44276" fmla="*/ 978333 h 4687251"/>
              <a:gd name="connsiteX44277" fmla="*/ 4526663 w 8079933"/>
              <a:gd name="connsiteY44277" fmla="*/ 982556 h 4687251"/>
              <a:gd name="connsiteX44278" fmla="*/ 4529918 w 8079933"/>
              <a:gd name="connsiteY44278" fmla="*/ 979416 h 4687251"/>
              <a:gd name="connsiteX44279" fmla="*/ 4531763 w 8079933"/>
              <a:gd name="connsiteY44279" fmla="*/ 980823 h 4687251"/>
              <a:gd name="connsiteX44280" fmla="*/ 4532957 w 8079933"/>
              <a:gd name="connsiteY44280" fmla="*/ 985046 h 4687251"/>
              <a:gd name="connsiteX44281" fmla="*/ 4536755 w 8079933"/>
              <a:gd name="connsiteY44281" fmla="*/ 981798 h 4687251"/>
              <a:gd name="connsiteX44282" fmla="*/ 4540662 w 8079933"/>
              <a:gd name="connsiteY44282" fmla="*/ 983097 h 4687251"/>
              <a:gd name="connsiteX44283" fmla="*/ 4540662 w 8079933"/>
              <a:gd name="connsiteY44283" fmla="*/ 986562 h 4687251"/>
              <a:gd name="connsiteX44284" fmla="*/ 4541963 w 8079933"/>
              <a:gd name="connsiteY44284" fmla="*/ 986562 h 4687251"/>
              <a:gd name="connsiteX44285" fmla="*/ 4544134 w 8079933"/>
              <a:gd name="connsiteY44285" fmla="*/ 983638 h 4687251"/>
              <a:gd name="connsiteX44286" fmla="*/ 4545436 w 8079933"/>
              <a:gd name="connsiteY44286" fmla="*/ 985046 h 4687251"/>
              <a:gd name="connsiteX44287" fmla="*/ 4545436 w 8079933"/>
              <a:gd name="connsiteY44287" fmla="*/ 986887 h 4687251"/>
              <a:gd name="connsiteX44288" fmla="*/ 4545436 w 8079933"/>
              <a:gd name="connsiteY44288" fmla="*/ 989919 h 4687251"/>
              <a:gd name="connsiteX44289" fmla="*/ 4549451 w 8079933"/>
              <a:gd name="connsiteY44289" fmla="*/ 984830 h 4687251"/>
              <a:gd name="connsiteX44290" fmla="*/ 4551621 w 8079933"/>
              <a:gd name="connsiteY44290" fmla="*/ 982664 h 4687251"/>
              <a:gd name="connsiteX44291" fmla="*/ 4553575 w 8079933"/>
              <a:gd name="connsiteY44291" fmla="*/ 983747 h 4687251"/>
              <a:gd name="connsiteX44292" fmla="*/ 4552273 w 8079933"/>
              <a:gd name="connsiteY44292" fmla="*/ 985587 h 4687251"/>
              <a:gd name="connsiteX44293" fmla="*/ 4551404 w 8079933"/>
              <a:gd name="connsiteY44293" fmla="*/ 988294 h 4687251"/>
              <a:gd name="connsiteX44294" fmla="*/ 4554986 w 8079933"/>
              <a:gd name="connsiteY44294" fmla="*/ 988294 h 4687251"/>
              <a:gd name="connsiteX44295" fmla="*/ 4556614 w 8079933"/>
              <a:gd name="connsiteY44295" fmla="*/ 990243 h 4687251"/>
              <a:gd name="connsiteX44296" fmla="*/ 4553683 w 8079933"/>
              <a:gd name="connsiteY44296" fmla="*/ 992084 h 4687251"/>
              <a:gd name="connsiteX44297" fmla="*/ 4550753 w 8079933"/>
              <a:gd name="connsiteY44297" fmla="*/ 996631 h 4687251"/>
              <a:gd name="connsiteX44298" fmla="*/ 4555854 w 8079933"/>
              <a:gd name="connsiteY44298" fmla="*/ 996631 h 4687251"/>
              <a:gd name="connsiteX44299" fmla="*/ 4558892 w 8079933"/>
              <a:gd name="connsiteY44299" fmla="*/ 990893 h 4687251"/>
              <a:gd name="connsiteX44300" fmla="*/ 4558024 w 8079933"/>
              <a:gd name="connsiteY44300" fmla="*/ 987861 h 4687251"/>
              <a:gd name="connsiteX44301" fmla="*/ 4559869 w 8079933"/>
              <a:gd name="connsiteY44301" fmla="*/ 986021 h 4687251"/>
              <a:gd name="connsiteX44302" fmla="*/ 4564752 w 8079933"/>
              <a:gd name="connsiteY44302" fmla="*/ 985479 h 4687251"/>
              <a:gd name="connsiteX44303" fmla="*/ 4568008 w 8079933"/>
              <a:gd name="connsiteY44303" fmla="*/ 987861 h 4687251"/>
              <a:gd name="connsiteX44304" fmla="*/ 4568767 w 8079933"/>
              <a:gd name="connsiteY44304" fmla="*/ 985695 h 4687251"/>
              <a:gd name="connsiteX44305" fmla="*/ 4566271 w 8079933"/>
              <a:gd name="connsiteY44305" fmla="*/ 982231 h 4687251"/>
              <a:gd name="connsiteX44306" fmla="*/ 4566271 w 8079933"/>
              <a:gd name="connsiteY44306" fmla="*/ 980932 h 4687251"/>
              <a:gd name="connsiteX44307" fmla="*/ 4570829 w 8079933"/>
              <a:gd name="connsiteY44307" fmla="*/ 982881 h 4687251"/>
              <a:gd name="connsiteX44308" fmla="*/ 4573867 w 8079933"/>
              <a:gd name="connsiteY44308" fmla="*/ 986995 h 4687251"/>
              <a:gd name="connsiteX44309" fmla="*/ 4580704 w 8079933"/>
              <a:gd name="connsiteY44309" fmla="*/ 986995 h 4687251"/>
              <a:gd name="connsiteX44310" fmla="*/ 4585370 w 8079933"/>
              <a:gd name="connsiteY44310" fmla="*/ 988836 h 4687251"/>
              <a:gd name="connsiteX44311" fmla="*/ 4588951 w 8079933"/>
              <a:gd name="connsiteY44311" fmla="*/ 986887 h 4687251"/>
              <a:gd name="connsiteX44312" fmla="*/ 4588951 w 8079933"/>
              <a:gd name="connsiteY44312" fmla="*/ 984505 h 4687251"/>
              <a:gd name="connsiteX44313" fmla="*/ 4594703 w 8079933"/>
              <a:gd name="connsiteY44313" fmla="*/ 985804 h 4687251"/>
              <a:gd name="connsiteX44314" fmla="*/ 4599803 w 8079933"/>
              <a:gd name="connsiteY44314" fmla="*/ 988836 h 4687251"/>
              <a:gd name="connsiteX44315" fmla="*/ 4600562 w 8079933"/>
              <a:gd name="connsiteY44315" fmla="*/ 986887 h 4687251"/>
              <a:gd name="connsiteX44316" fmla="*/ 4606205 w 8079933"/>
              <a:gd name="connsiteY44316" fmla="*/ 989268 h 4687251"/>
              <a:gd name="connsiteX44317" fmla="*/ 4630622 w 8079933"/>
              <a:gd name="connsiteY44317" fmla="*/ 1002261 h 4687251"/>
              <a:gd name="connsiteX44318" fmla="*/ 4647116 w 8079933"/>
              <a:gd name="connsiteY44318" fmla="*/ 1013088 h 4687251"/>
              <a:gd name="connsiteX44319" fmla="*/ 4650589 w 8079933"/>
              <a:gd name="connsiteY44319" fmla="*/ 1017094 h 4687251"/>
              <a:gd name="connsiteX44320" fmla="*/ 4655147 w 8079933"/>
              <a:gd name="connsiteY44320" fmla="*/ 1018502 h 4687251"/>
              <a:gd name="connsiteX44321" fmla="*/ 4660789 w 8079933"/>
              <a:gd name="connsiteY44321" fmla="*/ 1026839 h 4687251"/>
              <a:gd name="connsiteX44322" fmla="*/ 4664370 w 8079933"/>
              <a:gd name="connsiteY44322" fmla="*/ 1027705 h 4687251"/>
              <a:gd name="connsiteX44323" fmla="*/ 4663502 w 8079933"/>
              <a:gd name="connsiteY44323" fmla="*/ 1024998 h 4687251"/>
              <a:gd name="connsiteX44324" fmla="*/ 4663502 w 8079933"/>
              <a:gd name="connsiteY44324" fmla="*/ 1023807 h 4687251"/>
              <a:gd name="connsiteX44325" fmla="*/ 4665890 w 8079933"/>
              <a:gd name="connsiteY44325" fmla="*/ 1023807 h 4687251"/>
              <a:gd name="connsiteX44326" fmla="*/ 4672726 w 8079933"/>
              <a:gd name="connsiteY44326" fmla="*/ 1030086 h 4687251"/>
              <a:gd name="connsiteX44327" fmla="*/ 4676524 w 8079933"/>
              <a:gd name="connsiteY44327" fmla="*/ 1030086 h 4687251"/>
              <a:gd name="connsiteX44328" fmla="*/ 4682493 w 8079933"/>
              <a:gd name="connsiteY44328" fmla="*/ 1035500 h 4687251"/>
              <a:gd name="connsiteX44329" fmla="*/ 4685965 w 8079933"/>
              <a:gd name="connsiteY44329" fmla="*/ 1034092 h 4687251"/>
              <a:gd name="connsiteX44330" fmla="*/ 4682167 w 8079933"/>
              <a:gd name="connsiteY44330" fmla="*/ 1028463 h 4687251"/>
              <a:gd name="connsiteX44331" fmla="*/ 4681082 w 8079933"/>
              <a:gd name="connsiteY44331" fmla="*/ 1026080 h 4687251"/>
              <a:gd name="connsiteX44332" fmla="*/ 4683578 w 8079933"/>
              <a:gd name="connsiteY44332" fmla="*/ 1026080 h 4687251"/>
              <a:gd name="connsiteX44333" fmla="*/ 4688678 w 8079933"/>
              <a:gd name="connsiteY44333" fmla="*/ 1031169 h 4687251"/>
              <a:gd name="connsiteX44334" fmla="*/ 4688678 w 8079933"/>
              <a:gd name="connsiteY44334" fmla="*/ 1035717 h 4687251"/>
              <a:gd name="connsiteX44335" fmla="*/ 4698227 w 8079933"/>
              <a:gd name="connsiteY44335" fmla="*/ 1042429 h 4687251"/>
              <a:gd name="connsiteX44336" fmla="*/ 4698227 w 8079933"/>
              <a:gd name="connsiteY44336" fmla="*/ 1045461 h 4687251"/>
              <a:gd name="connsiteX44337" fmla="*/ 4703653 w 8079933"/>
              <a:gd name="connsiteY44337" fmla="*/ 1047951 h 4687251"/>
              <a:gd name="connsiteX44338" fmla="*/ 4704738 w 8079933"/>
              <a:gd name="connsiteY44338" fmla="*/ 1045786 h 4687251"/>
              <a:gd name="connsiteX44339" fmla="*/ 4708862 w 8079933"/>
              <a:gd name="connsiteY44339" fmla="*/ 1046652 h 4687251"/>
              <a:gd name="connsiteX44340" fmla="*/ 4714071 w 8079933"/>
              <a:gd name="connsiteY44340" fmla="*/ 1050658 h 4687251"/>
              <a:gd name="connsiteX44341" fmla="*/ 4715699 w 8079933"/>
              <a:gd name="connsiteY44341" fmla="*/ 1056613 h 4687251"/>
              <a:gd name="connsiteX44342" fmla="*/ 4718628 w 8079933"/>
              <a:gd name="connsiteY44342" fmla="*/ 1058453 h 4687251"/>
              <a:gd name="connsiteX44343" fmla="*/ 4722427 w 8079933"/>
              <a:gd name="connsiteY44343" fmla="*/ 1064408 h 4687251"/>
              <a:gd name="connsiteX44344" fmla="*/ 4724272 w 8079933"/>
              <a:gd name="connsiteY44344" fmla="*/ 1064408 h 4687251"/>
              <a:gd name="connsiteX44345" fmla="*/ 4726116 w 8079933"/>
              <a:gd name="connsiteY44345" fmla="*/ 1066249 h 4687251"/>
              <a:gd name="connsiteX44346" fmla="*/ 4726116 w 8079933"/>
              <a:gd name="connsiteY44346" fmla="*/ 1072204 h 4687251"/>
              <a:gd name="connsiteX44347" fmla="*/ 4726116 w 8079933"/>
              <a:gd name="connsiteY44347" fmla="*/ 1077834 h 4687251"/>
              <a:gd name="connsiteX44348" fmla="*/ 4725031 w 8079933"/>
              <a:gd name="connsiteY44348" fmla="*/ 1084871 h 4687251"/>
              <a:gd name="connsiteX44349" fmla="*/ 4723403 w 8079933"/>
              <a:gd name="connsiteY44349" fmla="*/ 1088445 h 4687251"/>
              <a:gd name="connsiteX44350" fmla="*/ 4723403 w 8079933"/>
              <a:gd name="connsiteY44350" fmla="*/ 1091693 h 4687251"/>
              <a:gd name="connsiteX44351" fmla="*/ 4718195 w 8079933"/>
              <a:gd name="connsiteY44351" fmla="*/ 1098405 h 4687251"/>
              <a:gd name="connsiteX44352" fmla="*/ 4717327 w 8079933"/>
              <a:gd name="connsiteY44352" fmla="*/ 1101653 h 4687251"/>
              <a:gd name="connsiteX44353" fmla="*/ 4708320 w 8079933"/>
              <a:gd name="connsiteY44353" fmla="*/ 1113888 h 4687251"/>
              <a:gd name="connsiteX44354" fmla="*/ 4701808 w 8079933"/>
              <a:gd name="connsiteY44354" fmla="*/ 1117353 h 4687251"/>
              <a:gd name="connsiteX44355" fmla="*/ 4693996 w 8079933"/>
              <a:gd name="connsiteY44355" fmla="*/ 1118760 h 4687251"/>
              <a:gd name="connsiteX44356" fmla="*/ 4690523 w 8079933"/>
              <a:gd name="connsiteY44356" fmla="*/ 1121467 h 4687251"/>
              <a:gd name="connsiteX44357" fmla="*/ 4683470 w 8079933"/>
              <a:gd name="connsiteY44357" fmla="*/ 1121467 h 4687251"/>
              <a:gd name="connsiteX44358" fmla="*/ 4682058 w 8079933"/>
              <a:gd name="connsiteY44358" fmla="*/ 1123416 h 4687251"/>
              <a:gd name="connsiteX44359" fmla="*/ 4671207 w 8079933"/>
              <a:gd name="connsiteY44359" fmla="*/ 1124715 h 4687251"/>
              <a:gd name="connsiteX44360" fmla="*/ 4657317 w 8079933"/>
              <a:gd name="connsiteY44360" fmla="*/ 1123958 h 4687251"/>
              <a:gd name="connsiteX44361" fmla="*/ 4649504 w 8079933"/>
              <a:gd name="connsiteY44361" fmla="*/ 1121683 h 4687251"/>
              <a:gd name="connsiteX44362" fmla="*/ 4643861 w 8079933"/>
              <a:gd name="connsiteY44362" fmla="*/ 1117677 h 4687251"/>
              <a:gd name="connsiteX44363" fmla="*/ 4640388 w 8079933"/>
              <a:gd name="connsiteY44363" fmla="*/ 1120168 h 4687251"/>
              <a:gd name="connsiteX44364" fmla="*/ 4636373 w 8079933"/>
              <a:gd name="connsiteY44364" fmla="*/ 1118977 h 4687251"/>
              <a:gd name="connsiteX44365" fmla="*/ 4629754 w 8079933"/>
              <a:gd name="connsiteY44365" fmla="*/ 1118977 h 4687251"/>
              <a:gd name="connsiteX44366" fmla="*/ 4628886 w 8079933"/>
              <a:gd name="connsiteY44366" fmla="*/ 1116595 h 4687251"/>
              <a:gd name="connsiteX44367" fmla="*/ 4624870 w 8079933"/>
              <a:gd name="connsiteY44367" fmla="*/ 1115295 h 4687251"/>
              <a:gd name="connsiteX44368" fmla="*/ 4621289 w 8079933"/>
              <a:gd name="connsiteY44368" fmla="*/ 1117786 h 4687251"/>
              <a:gd name="connsiteX44369" fmla="*/ 4615321 w 8079933"/>
              <a:gd name="connsiteY44369" fmla="*/ 1112048 h 4687251"/>
              <a:gd name="connsiteX44370" fmla="*/ 4615321 w 8079933"/>
              <a:gd name="connsiteY44370" fmla="*/ 1109124 h 4687251"/>
              <a:gd name="connsiteX44371" fmla="*/ 4610655 w 8079933"/>
              <a:gd name="connsiteY44371" fmla="*/ 1109882 h 4687251"/>
              <a:gd name="connsiteX44372" fmla="*/ 4606531 w 8079933"/>
              <a:gd name="connsiteY44372" fmla="*/ 1109882 h 4687251"/>
              <a:gd name="connsiteX44373" fmla="*/ 4608484 w 8079933"/>
              <a:gd name="connsiteY44373" fmla="*/ 1108799 h 4687251"/>
              <a:gd name="connsiteX44374" fmla="*/ 4600888 w 8079933"/>
              <a:gd name="connsiteY44374" fmla="*/ 1108799 h 4687251"/>
              <a:gd name="connsiteX44375" fmla="*/ 4598718 w 8079933"/>
              <a:gd name="connsiteY44375" fmla="*/ 1111181 h 4687251"/>
              <a:gd name="connsiteX44376" fmla="*/ 4594052 w 8079933"/>
              <a:gd name="connsiteY44376" fmla="*/ 1111181 h 4687251"/>
              <a:gd name="connsiteX44377" fmla="*/ 4594052 w 8079933"/>
              <a:gd name="connsiteY44377" fmla="*/ 1108475 h 4687251"/>
              <a:gd name="connsiteX44378" fmla="*/ 4592207 w 8079933"/>
              <a:gd name="connsiteY44378" fmla="*/ 1107067 h 4687251"/>
              <a:gd name="connsiteX44379" fmla="*/ 4595137 w 8079933"/>
              <a:gd name="connsiteY44379" fmla="*/ 1105118 h 4687251"/>
              <a:gd name="connsiteX44380" fmla="*/ 4592098 w 8079933"/>
              <a:gd name="connsiteY44380" fmla="*/ 1101653 h 4687251"/>
              <a:gd name="connsiteX44381" fmla="*/ 4591230 w 8079933"/>
              <a:gd name="connsiteY44381" fmla="*/ 1103603 h 4687251"/>
              <a:gd name="connsiteX44382" fmla="*/ 4583417 w 8079933"/>
              <a:gd name="connsiteY44382" fmla="*/ 1103603 h 4687251"/>
              <a:gd name="connsiteX44383" fmla="*/ 4578534 w 8079933"/>
              <a:gd name="connsiteY44383" fmla="*/ 1100138 h 4687251"/>
              <a:gd name="connsiteX44384" fmla="*/ 4577666 w 8079933"/>
              <a:gd name="connsiteY44384" fmla="*/ 1101762 h 4687251"/>
              <a:gd name="connsiteX44385" fmla="*/ 4574410 w 8079933"/>
              <a:gd name="connsiteY44385" fmla="*/ 1101762 h 4687251"/>
              <a:gd name="connsiteX44386" fmla="*/ 4564101 w 8079933"/>
              <a:gd name="connsiteY44386" fmla="*/ 1093316 h 4687251"/>
              <a:gd name="connsiteX44387" fmla="*/ 4563233 w 8079933"/>
              <a:gd name="connsiteY44387" fmla="*/ 1088769 h 4687251"/>
              <a:gd name="connsiteX44388" fmla="*/ 4557047 w 8079933"/>
              <a:gd name="connsiteY44388" fmla="*/ 1088228 h 4687251"/>
              <a:gd name="connsiteX44389" fmla="*/ 4555746 w 8079933"/>
              <a:gd name="connsiteY44389" fmla="*/ 1086820 h 4687251"/>
              <a:gd name="connsiteX44390" fmla="*/ 4551404 w 8079933"/>
              <a:gd name="connsiteY44390" fmla="*/ 1086820 h 4687251"/>
              <a:gd name="connsiteX44391" fmla="*/ 4550320 w 8079933"/>
              <a:gd name="connsiteY44391" fmla="*/ 1088228 h 4687251"/>
              <a:gd name="connsiteX44392" fmla="*/ 4555419 w 8079933"/>
              <a:gd name="connsiteY44392" fmla="*/ 1091693 h 4687251"/>
              <a:gd name="connsiteX44393" fmla="*/ 4556505 w 8079933"/>
              <a:gd name="connsiteY44393" fmla="*/ 1098514 h 4687251"/>
              <a:gd name="connsiteX44394" fmla="*/ 4562148 w 8079933"/>
              <a:gd name="connsiteY44394" fmla="*/ 1102087 h 4687251"/>
              <a:gd name="connsiteX44395" fmla="*/ 4563450 w 8079933"/>
              <a:gd name="connsiteY44395" fmla="*/ 1105660 h 4687251"/>
              <a:gd name="connsiteX44396" fmla="*/ 4570503 w 8079933"/>
              <a:gd name="connsiteY44396" fmla="*/ 1107283 h 4687251"/>
              <a:gd name="connsiteX44397" fmla="*/ 4571914 w 8079933"/>
              <a:gd name="connsiteY44397" fmla="*/ 1108908 h 4687251"/>
              <a:gd name="connsiteX44398" fmla="*/ 4567248 w 8079933"/>
              <a:gd name="connsiteY44398" fmla="*/ 1111289 h 4687251"/>
              <a:gd name="connsiteX44399" fmla="*/ 4565078 w 8079933"/>
              <a:gd name="connsiteY44399" fmla="*/ 1114213 h 4687251"/>
              <a:gd name="connsiteX44400" fmla="*/ 4566163 w 8079933"/>
              <a:gd name="connsiteY44400" fmla="*/ 1115512 h 4687251"/>
              <a:gd name="connsiteX44401" fmla="*/ 4573976 w 8079933"/>
              <a:gd name="connsiteY44401" fmla="*/ 1113563 h 4687251"/>
              <a:gd name="connsiteX44402" fmla="*/ 4577232 w 8079933"/>
              <a:gd name="connsiteY44402" fmla="*/ 1111398 h 4687251"/>
              <a:gd name="connsiteX44403" fmla="*/ 4580487 w 8079933"/>
              <a:gd name="connsiteY44403" fmla="*/ 1113780 h 4687251"/>
              <a:gd name="connsiteX44404" fmla="*/ 4577014 w 8079933"/>
              <a:gd name="connsiteY44404" fmla="*/ 1115187 h 4687251"/>
              <a:gd name="connsiteX44405" fmla="*/ 4577014 w 8079933"/>
              <a:gd name="connsiteY44405" fmla="*/ 1116595 h 4687251"/>
              <a:gd name="connsiteX44406" fmla="*/ 4582223 w 8079933"/>
              <a:gd name="connsiteY44406" fmla="*/ 1117136 h 4687251"/>
              <a:gd name="connsiteX44407" fmla="*/ 4580921 w 8079933"/>
              <a:gd name="connsiteY44407" fmla="*/ 1120709 h 4687251"/>
              <a:gd name="connsiteX44408" fmla="*/ 4576255 w 8079933"/>
              <a:gd name="connsiteY44408" fmla="*/ 1121467 h 4687251"/>
              <a:gd name="connsiteX44409" fmla="*/ 4574301 w 8079933"/>
              <a:gd name="connsiteY44409" fmla="*/ 1124174 h 4687251"/>
              <a:gd name="connsiteX44410" fmla="*/ 4579944 w 8079933"/>
              <a:gd name="connsiteY44410" fmla="*/ 1125040 h 4687251"/>
              <a:gd name="connsiteX44411" fmla="*/ 4581898 w 8079933"/>
              <a:gd name="connsiteY44411" fmla="*/ 1123632 h 4687251"/>
              <a:gd name="connsiteX44412" fmla="*/ 4585696 w 8079933"/>
              <a:gd name="connsiteY44412" fmla="*/ 1123632 h 4687251"/>
              <a:gd name="connsiteX44413" fmla="*/ 4588083 w 8079933"/>
              <a:gd name="connsiteY44413" fmla="*/ 1126122 h 4687251"/>
              <a:gd name="connsiteX44414" fmla="*/ 4591013 w 8079933"/>
              <a:gd name="connsiteY44414" fmla="*/ 1123958 h 4687251"/>
              <a:gd name="connsiteX44415" fmla="*/ 4601865 w 8079933"/>
              <a:gd name="connsiteY44415" fmla="*/ 1128505 h 4687251"/>
              <a:gd name="connsiteX44416" fmla="*/ 4607073 w 8079933"/>
              <a:gd name="connsiteY44416" fmla="*/ 1135759 h 4687251"/>
              <a:gd name="connsiteX44417" fmla="*/ 4609570 w 8079933"/>
              <a:gd name="connsiteY44417" fmla="*/ 1136300 h 4687251"/>
              <a:gd name="connsiteX44418" fmla="*/ 4607942 w 8079933"/>
              <a:gd name="connsiteY44418" fmla="*/ 1139223 h 4687251"/>
              <a:gd name="connsiteX44419" fmla="*/ 4607942 w 8079933"/>
              <a:gd name="connsiteY44419" fmla="*/ 1142472 h 4687251"/>
              <a:gd name="connsiteX44420" fmla="*/ 4609570 w 8079933"/>
              <a:gd name="connsiteY44420" fmla="*/ 1143013 h 4687251"/>
              <a:gd name="connsiteX44421" fmla="*/ 4609570 w 8079933"/>
              <a:gd name="connsiteY44421" fmla="*/ 1147668 h 4687251"/>
              <a:gd name="connsiteX44422" fmla="*/ 4608810 w 8079933"/>
              <a:gd name="connsiteY44422" fmla="*/ 1155248 h 4687251"/>
              <a:gd name="connsiteX44423" fmla="*/ 4605229 w 8079933"/>
              <a:gd name="connsiteY44423" fmla="*/ 1156546 h 4687251"/>
              <a:gd name="connsiteX44424" fmla="*/ 4604361 w 8079933"/>
              <a:gd name="connsiteY44424" fmla="*/ 1160661 h 4687251"/>
              <a:gd name="connsiteX44425" fmla="*/ 4608159 w 8079933"/>
              <a:gd name="connsiteY44425" fmla="*/ 1161744 h 4687251"/>
              <a:gd name="connsiteX44426" fmla="*/ 4608159 w 8079933"/>
              <a:gd name="connsiteY44426" fmla="*/ 1167157 h 4687251"/>
              <a:gd name="connsiteX44427" fmla="*/ 4614670 w 8079933"/>
              <a:gd name="connsiteY44427" fmla="*/ 1173437 h 4687251"/>
              <a:gd name="connsiteX44428" fmla="*/ 4614670 w 8079933"/>
              <a:gd name="connsiteY44428" fmla="*/ 1177443 h 4687251"/>
              <a:gd name="connsiteX44429" fmla="*/ 4619336 w 8079933"/>
              <a:gd name="connsiteY44429" fmla="*/ 1180907 h 4687251"/>
              <a:gd name="connsiteX44430" fmla="*/ 4619336 w 8079933"/>
              <a:gd name="connsiteY44430" fmla="*/ 1185455 h 4687251"/>
              <a:gd name="connsiteX44431" fmla="*/ 4620204 w 8079933"/>
              <a:gd name="connsiteY44431" fmla="*/ 1190977 h 4687251"/>
              <a:gd name="connsiteX44432" fmla="*/ 4618250 w 8079933"/>
              <a:gd name="connsiteY44432" fmla="*/ 1194766 h 4687251"/>
              <a:gd name="connsiteX44433" fmla="*/ 4620530 w 8079933"/>
              <a:gd name="connsiteY44433" fmla="*/ 1197148 h 4687251"/>
              <a:gd name="connsiteX44434" fmla="*/ 4622700 w 8079933"/>
              <a:gd name="connsiteY44434" fmla="*/ 1201046 h 4687251"/>
              <a:gd name="connsiteX44435" fmla="*/ 4632249 w 8079933"/>
              <a:gd name="connsiteY44435" fmla="*/ 1204511 h 4687251"/>
              <a:gd name="connsiteX44436" fmla="*/ 4636699 w 8079933"/>
              <a:gd name="connsiteY44436" fmla="*/ 1200937 h 4687251"/>
              <a:gd name="connsiteX44437" fmla="*/ 4638543 w 8079933"/>
              <a:gd name="connsiteY44437" fmla="*/ 1200937 h 4687251"/>
              <a:gd name="connsiteX44438" fmla="*/ 4641799 w 8079933"/>
              <a:gd name="connsiteY44438" fmla="*/ 1205377 h 4687251"/>
              <a:gd name="connsiteX44439" fmla="*/ 4645923 w 8079933"/>
              <a:gd name="connsiteY44439" fmla="*/ 1207975 h 4687251"/>
              <a:gd name="connsiteX44440" fmla="*/ 4645923 w 8079933"/>
              <a:gd name="connsiteY44440" fmla="*/ 1213822 h 4687251"/>
              <a:gd name="connsiteX44441" fmla="*/ 4648093 w 8079933"/>
              <a:gd name="connsiteY44441" fmla="*/ 1215555 h 4687251"/>
              <a:gd name="connsiteX44442" fmla="*/ 4655580 w 8079933"/>
              <a:gd name="connsiteY44442" fmla="*/ 1215555 h 4687251"/>
              <a:gd name="connsiteX44443" fmla="*/ 4658619 w 8079933"/>
              <a:gd name="connsiteY44443" fmla="*/ 1218153 h 4687251"/>
              <a:gd name="connsiteX44444" fmla="*/ 4665456 w 8079933"/>
              <a:gd name="connsiteY44444" fmla="*/ 1218153 h 4687251"/>
              <a:gd name="connsiteX44445" fmla="*/ 4669688 w 8079933"/>
              <a:gd name="connsiteY44445" fmla="*/ 1222159 h 4687251"/>
              <a:gd name="connsiteX44446" fmla="*/ 4672292 w 8079933"/>
              <a:gd name="connsiteY44446" fmla="*/ 1222159 h 4687251"/>
              <a:gd name="connsiteX44447" fmla="*/ 4677392 w 8079933"/>
              <a:gd name="connsiteY44447" fmla="*/ 1216529 h 4687251"/>
              <a:gd name="connsiteX44448" fmla="*/ 4681407 w 8079933"/>
              <a:gd name="connsiteY44448" fmla="*/ 1216529 h 4687251"/>
              <a:gd name="connsiteX44449" fmla="*/ 4684338 w 8079933"/>
              <a:gd name="connsiteY44449" fmla="*/ 1215229 h 4687251"/>
              <a:gd name="connsiteX44450" fmla="*/ 4684338 w 8079933"/>
              <a:gd name="connsiteY44450" fmla="*/ 1207759 h 4687251"/>
              <a:gd name="connsiteX44451" fmla="*/ 4680757 w 8079933"/>
              <a:gd name="connsiteY44451" fmla="*/ 1204619 h 4687251"/>
              <a:gd name="connsiteX44452" fmla="*/ 4682384 w 8079933"/>
              <a:gd name="connsiteY44452" fmla="*/ 1202237 h 4687251"/>
              <a:gd name="connsiteX44453" fmla="*/ 4682384 w 8079933"/>
              <a:gd name="connsiteY44453" fmla="*/ 1200396 h 4687251"/>
              <a:gd name="connsiteX44454" fmla="*/ 4677067 w 8079933"/>
              <a:gd name="connsiteY44454" fmla="*/ 1198339 h 4687251"/>
              <a:gd name="connsiteX44455" fmla="*/ 4676524 w 8079933"/>
              <a:gd name="connsiteY44455" fmla="*/ 1194550 h 4687251"/>
              <a:gd name="connsiteX44456" fmla="*/ 4672726 w 8079933"/>
              <a:gd name="connsiteY44456" fmla="*/ 1197257 h 4687251"/>
              <a:gd name="connsiteX44457" fmla="*/ 4670013 w 8079933"/>
              <a:gd name="connsiteY44457" fmla="*/ 1197257 h 4687251"/>
              <a:gd name="connsiteX44458" fmla="*/ 4665456 w 8079933"/>
              <a:gd name="connsiteY44458" fmla="*/ 1199205 h 4687251"/>
              <a:gd name="connsiteX44459" fmla="*/ 4659704 w 8079933"/>
              <a:gd name="connsiteY44459" fmla="*/ 1196282 h 4687251"/>
              <a:gd name="connsiteX44460" fmla="*/ 4655580 w 8079933"/>
              <a:gd name="connsiteY44460" fmla="*/ 1190652 h 4687251"/>
              <a:gd name="connsiteX44461" fmla="*/ 4649069 w 8079933"/>
              <a:gd name="connsiteY44461" fmla="*/ 1187621 h 4687251"/>
              <a:gd name="connsiteX44462" fmla="*/ 4647768 w 8079933"/>
              <a:gd name="connsiteY44462" fmla="*/ 1182423 h 4687251"/>
              <a:gd name="connsiteX44463" fmla="*/ 4644295 w 8079933"/>
              <a:gd name="connsiteY44463" fmla="*/ 1175927 h 4687251"/>
              <a:gd name="connsiteX44464" fmla="*/ 4648961 w 8079933"/>
              <a:gd name="connsiteY44464" fmla="*/ 1175927 h 4687251"/>
              <a:gd name="connsiteX44465" fmla="*/ 4651999 w 8079933"/>
              <a:gd name="connsiteY44465" fmla="*/ 1172896 h 4687251"/>
              <a:gd name="connsiteX44466" fmla="*/ 4650372 w 8079933"/>
              <a:gd name="connsiteY44466" fmla="*/ 1170405 h 4687251"/>
              <a:gd name="connsiteX44467" fmla="*/ 4651457 w 8079933"/>
              <a:gd name="connsiteY44467" fmla="*/ 1167699 h 4687251"/>
              <a:gd name="connsiteX44468" fmla="*/ 4650046 w 8079933"/>
              <a:gd name="connsiteY44468" fmla="*/ 1164667 h 4687251"/>
              <a:gd name="connsiteX44469" fmla="*/ 4651131 w 8079933"/>
              <a:gd name="connsiteY44469" fmla="*/ 1161635 h 4687251"/>
              <a:gd name="connsiteX44470" fmla="*/ 4656557 w 8079933"/>
              <a:gd name="connsiteY44470" fmla="*/ 1161635 h 4687251"/>
              <a:gd name="connsiteX44471" fmla="*/ 4661983 w 8079933"/>
              <a:gd name="connsiteY44471" fmla="*/ 1165209 h 4687251"/>
              <a:gd name="connsiteX44472" fmla="*/ 4668711 w 8079933"/>
              <a:gd name="connsiteY44472" fmla="*/ 1166508 h 4687251"/>
              <a:gd name="connsiteX44473" fmla="*/ 4671966 w 8079933"/>
              <a:gd name="connsiteY44473" fmla="*/ 1171596 h 4687251"/>
              <a:gd name="connsiteX44474" fmla="*/ 4676307 w 8079933"/>
              <a:gd name="connsiteY44474" fmla="*/ 1175170 h 4687251"/>
              <a:gd name="connsiteX44475" fmla="*/ 4684663 w 8079933"/>
              <a:gd name="connsiteY44475" fmla="*/ 1175170 h 4687251"/>
              <a:gd name="connsiteX44476" fmla="*/ 4686291 w 8079933"/>
              <a:gd name="connsiteY44476" fmla="*/ 1178201 h 4687251"/>
              <a:gd name="connsiteX44477" fmla="*/ 4691499 w 8079933"/>
              <a:gd name="connsiteY44477" fmla="*/ 1178201 h 4687251"/>
              <a:gd name="connsiteX44478" fmla="*/ 4706692 w 8079933"/>
              <a:gd name="connsiteY44478" fmla="*/ 1185455 h 4687251"/>
              <a:gd name="connsiteX44479" fmla="*/ 4712986 w 8079933"/>
              <a:gd name="connsiteY44479" fmla="*/ 1191627 h 4687251"/>
              <a:gd name="connsiteX44480" fmla="*/ 4715482 w 8079933"/>
              <a:gd name="connsiteY44480" fmla="*/ 1187621 h 4687251"/>
              <a:gd name="connsiteX44481" fmla="*/ 4719605 w 8079933"/>
              <a:gd name="connsiteY44481" fmla="*/ 1184156 h 4687251"/>
              <a:gd name="connsiteX44482" fmla="*/ 4719605 w 8079933"/>
              <a:gd name="connsiteY44482" fmla="*/ 1179067 h 4687251"/>
              <a:gd name="connsiteX44483" fmla="*/ 4723187 w 8079933"/>
              <a:gd name="connsiteY44483" fmla="*/ 1179067 h 4687251"/>
              <a:gd name="connsiteX44484" fmla="*/ 4726768 w 8079933"/>
              <a:gd name="connsiteY44484" fmla="*/ 1174953 h 4687251"/>
              <a:gd name="connsiteX44485" fmla="*/ 4720473 w 8079933"/>
              <a:gd name="connsiteY44485" fmla="*/ 1165533 h 4687251"/>
              <a:gd name="connsiteX44486" fmla="*/ 4709622 w 8079933"/>
              <a:gd name="connsiteY44486" fmla="*/ 1154706 h 4687251"/>
              <a:gd name="connsiteX44487" fmla="*/ 4707126 w 8079933"/>
              <a:gd name="connsiteY44487" fmla="*/ 1147668 h 4687251"/>
              <a:gd name="connsiteX44488" fmla="*/ 4707126 w 8079933"/>
              <a:gd name="connsiteY44488" fmla="*/ 1143554 h 4687251"/>
              <a:gd name="connsiteX44489" fmla="*/ 4713637 w 8079933"/>
              <a:gd name="connsiteY44489" fmla="*/ 1138358 h 4687251"/>
              <a:gd name="connsiteX44490" fmla="*/ 4718846 w 8079933"/>
              <a:gd name="connsiteY44490" fmla="*/ 1131320 h 4687251"/>
              <a:gd name="connsiteX44491" fmla="*/ 4720256 w 8079933"/>
              <a:gd name="connsiteY44491" fmla="*/ 1125148 h 4687251"/>
              <a:gd name="connsiteX44492" fmla="*/ 4724272 w 8079933"/>
              <a:gd name="connsiteY44492" fmla="*/ 1121359 h 4687251"/>
              <a:gd name="connsiteX44493" fmla="*/ 4729914 w 8079933"/>
              <a:gd name="connsiteY44493" fmla="*/ 1120276 h 4687251"/>
              <a:gd name="connsiteX44494" fmla="*/ 4737728 w 8079933"/>
              <a:gd name="connsiteY44494" fmla="*/ 1113997 h 4687251"/>
              <a:gd name="connsiteX44495" fmla="*/ 4743153 w 8079933"/>
              <a:gd name="connsiteY44495" fmla="*/ 1102412 h 4687251"/>
              <a:gd name="connsiteX44496" fmla="*/ 4746409 w 8079933"/>
              <a:gd name="connsiteY44496" fmla="*/ 1099921 h 4687251"/>
              <a:gd name="connsiteX44497" fmla="*/ 4752377 w 8079933"/>
              <a:gd name="connsiteY44497" fmla="*/ 1100787 h 4687251"/>
              <a:gd name="connsiteX44498" fmla="*/ 4757044 w 8079933"/>
              <a:gd name="connsiteY44498" fmla="*/ 1104577 h 4687251"/>
              <a:gd name="connsiteX44499" fmla="*/ 4763880 w 8079933"/>
              <a:gd name="connsiteY44499" fmla="*/ 1103710 h 4687251"/>
              <a:gd name="connsiteX44500" fmla="*/ 4771259 w 8079933"/>
              <a:gd name="connsiteY44500" fmla="*/ 1104577 h 4687251"/>
              <a:gd name="connsiteX44501" fmla="*/ 4773755 w 8079933"/>
              <a:gd name="connsiteY44501" fmla="*/ 1107825 h 4687251"/>
              <a:gd name="connsiteX44502" fmla="*/ 4772996 w 8079933"/>
              <a:gd name="connsiteY44502" fmla="*/ 1112914 h 4687251"/>
              <a:gd name="connsiteX44503" fmla="*/ 4778747 w 8079933"/>
              <a:gd name="connsiteY44503" fmla="*/ 1107500 h 4687251"/>
              <a:gd name="connsiteX44504" fmla="*/ 4784715 w 8079933"/>
              <a:gd name="connsiteY44504" fmla="*/ 1112048 h 4687251"/>
              <a:gd name="connsiteX44505" fmla="*/ 4786560 w 8079933"/>
              <a:gd name="connsiteY44505" fmla="*/ 1118003 h 4687251"/>
              <a:gd name="connsiteX44506" fmla="*/ 4789599 w 8079933"/>
              <a:gd name="connsiteY44506" fmla="*/ 1120709 h 4687251"/>
              <a:gd name="connsiteX44507" fmla="*/ 4788839 w 8079933"/>
              <a:gd name="connsiteY44507" fmla="*/ 1112048 h 4687251"/>
              <a:gd name="connsiteX44508" fmla="*/ 4785583 w 8079933"/>
              <a:gd name="connsiteY44508" fmla="*/ 1105767 h 4687251"/>
              <a:gd name="connsiteX44509" fmla="*/ 4787537 w 8079933"/>
              <a:gd name="connsiteY44509" fmla="*/ 1103061 h 4687251"/>
              <a:gd name="connsiteX44510" fmla="*/ 4787537 w 8079933"/>
              <a:gd name="connsiteY44510" fmla="*/ 1092234 h 4687251"/>
              <a:gd name="connsiteX44511" fmla="*/ 4789164 w 8079933"/>
              <a:gd name="connsiteY44511" fmla="*/ 1088769 h 4687251"/>
              <a:gd name="connsiteX44512" fmla="*/ 4786994 w 8079933"/>
              <a:gd name="connsiteY44512" fmla="*/ 1087145 h 4687251"/>
              <a:gd name="connsiteX44513" fmla="*/ 4786994 w 8079933"/>
              <a:gd name="connsiteY44513" fmla="*/ 1084438 h 4687251"/>
              <a:gd name="connsiteX44514" fmla="*/ 4787862 w 8079933"/>
              <a:gd name="connsiteY44514" fmla="*/ 1082057 h 4687251"/>
              <a:gd name="connsiteX44515" fmla="*/ 4786994 w 8079933"/>
              <a:gd name="connsiteY44515" fmla="*/ 1078808 h 4687251"/>
              <a:gd name="connsiteX44516" fmla="*/ 4787862 w 8079933"/>
              <a:gd name="connsiteY44516" fmla="*/ 1076426 h 4687251"/>
              <a:gd name="connsiteX44517" fmla="*/ 4784389 w 8079933"/>
              <a:gd name="connsiteY44517" fmla="*/ 1072637 h 4687251"/>
              <a:gd name="connsiteX44518" fmla="*/ 4779181 w 8079933"/>
              <a:gd name="connsiteY44518" fmla="*/ 1069606 h 4687251"/>
              <a:gd name="connsiteX44519" fmla="*/ 4772127 w 8079933"/>
              <a:gd name="connsiteY44519" fmla="*/ 1069606 h 4687251"/>
              <a:gd name="connsiteX44520" fmla="*/ 4770174 w 8079933"/>
              <a:gd name="connsiteY44520" fmla="*/ 1063651 h 4687251"/>
              <a:gd name="connsiteX44521" fmla="*/ 4772019 w 8079933"/>
              <a:gd name="connsiteY44521" fmla="*/ 1057479 h 4687251"/>
              <a:gd name="connsiteX44522" fmla="*/ 4772019 w 8079933"/>
              <a:gd name="connsiteY44522" fmla="*/ 1046652 h 4687251"/>
              <a:gd name="connsiteX44523" fmla="*/ 4773864 w 8079933"/>
              <a:gd name="connsiteY44523" fmla="*/ 1045245 h 4687251"/>
              <a:gd name="connsiteX44524" fmla="*/ 4772779 w 8079933"/>
              <a:gd name="connsiteY44524" fmla="*/ 1041780 h 4687251"/>
              <a:gd name="connsiteX44525" fmla="*/ 4772779 w 8079933"/>
              <a:gd name="connsiteY44525" fmla="*/ 1037233 h 4687251"/>
              <a:gd name="connsiteX44526" fmla="*/ 4774732 w 8079933"/>
              <a:gd name="connsiteY44526" fmla="*/ 1035608 h 4687251"/>
              <a:gd name="connsiteX44527" fmla="*/ 4772236 w 8079933"/>
              <a:gd name="connsiteY44527" fmla="*/ 1032360 h 4687251"/>
              <a:gd name="connsiteX44528" fmla="*/ 4772236 w 8079933"/>
              <a:gd name="connsiteY44528" fmla="*/ 1026947 h 4687251"/>
              <a:gd name="connsiteX44529" fmla="*/ 4768655 w 8079933"/>
              <a:gd name="connsiteY44529" fmla="*/ 1016878 h 4687251"/>
              <a:gd name="connsiteX44530" fmla="*/ 4761818 w 8079933"/>
              <a:gd name="connsiteY44530" fmla="*/ 1012005 h 4687251"/>
              <a:gd name="connsiteX44531" fmla="*/ 4750099 w 8079933"/>
              <a:gd name="connsiteY44531" fmla="*/ 1002478 h 4687251"/>
              <a:gd name="connsiteX44532" fmla="*/ 4750099 w 8079933"/>
              <a:gd name="connsiteY44532" fmla="*/ 999988 h 4687251"/>
              <a:gd name="connsiteX44533" fmla="*/ 4755524 w 8079933"/>
              <a:gd name="connsiteY44533" fmla="*/ 999988 h 4687251"/>
              <a:gd name="connsiteX44534" fmla="*/ 4765291 w 8079933"/>
              <a:gd name="connsiteY44534" fmla="*/ 1006484 h 4687251"/>
              <a:gd name="connsiteX44535" fmla="*/ 4771042 w 8079933"/>
              <a:gd name="connsiteY44535" fmla="*/ 1006484 h 4687251"/>
              <a:gd name="connsiteX44536" fmla="*/ 4774840 w 8079933"/>
              <a:gd name="connsiteY44536" fmla="*/ 1004535 h 4687251"/>
              <a:gd name="connsiteX44537" fmla="*/ 4783739 w 8079933"/>
              <a:gd name="connsiteY44537" fmla="*/ 1003777 h 4687251"/>
              <a:gd name="connsiteX44538" fmla="*/ 4796543 w 8079933"/>
              <a:gd name="connsiteY44538" fmla="*/ 1005076 h 4687251"/>
              <a:gd name="connsiteX44539" fmla="*/ 4802512 w 8079933"/>
              <a:gd name="connsiteY44539" fmla="*/ 1008866 h 4687251"/>
              <a:gd name="connsiteX44540" fmla="*/ 4802512 w 8079933"/>
              <a:gd name="connsiteY44540" fmla="*/ 1013196 h 4687251"/>
              <a:gd name="connsiteX44541" fmla="*/ 4807613 w 8079933"/>
              <a:gd name="connsiteY44541" fmla="*/ 1019151 h 4687251"/>
              <a:gd name="connsiteX44542" fmla="*/ 4813039 w 8079933"/>
              <a:gd name="connsiteY44542" fmla="*/ 1019909 h 4687251"/>
              <a:gd name="connsiteX44543" fmla="*/ 4813907 w 8079933"/>
              <a:gd name="connsiteY44543" fmla="*/ 1023699 h 4687251"/>
              <a:gd name="connsiteX44544" fmla="*/ 4820634 w 8079933"/>
              <a:gd name="connsiteY44544" fmla="*/ 1032144 h 4687251"/>
              <a:gd name="connsiteX44545" fmla="*/ 4819766 w 8079933"/>
              <a:gd name="connsiteY44545" fmla="*/ 1035717 h 4687251"/>
              <a:gd name="connsiteX44546" fmla="*/ 4811302 w 8079933"/>
              <a:gd name="connsiteY44546" fmla="*/ 1035717 h 4687251"/>
              <a:gd name="connsiteX44547" fmla="*/ 4809132 w 8079933"/>
              <a:gd name="connsiteY44547" fmla="*/ 1038965 h 4687251"/>
              <a:gd name="connsiteX44548" fmla="*/ 4801753 w 8079933"/>
              <a:gd name="connsiteY44548" fmla="*/ 1038965 h 4687251"/>
              <a:gd name="connsiteX44549" fmla="*/ 4799365 w 8079933"/>
              <a:gd name="connsiteY44549" fmla="*/ 1041455 h 4687251"/>
              <a:gd name="connsiteX44550" fmla="*/ 4800125 w 8079933"/>
              <a:gd name="connsiteY44550" fmla="*/ 1044162 h 4687251"/>
              <a:gd name="connsiteX44551" fmla="*/ 4798172 w 8079933"/>
              <a:gd name="connsiteY44551" fmla="*/ 1047627 h 4687251"/>
              <a:gd name="connsiteX44552" fmla="*/ 4795675 w 8079933"/>
              <a:gd name="connsiteY44552" fmla="*/ 1046219 h 4687251"/>
              <a:gd name="connsiteX44553" fmla="*/ 4794374 w 8079933"/>
              <a:gd name="connsiteY44553" fmla="*/ 1048925 h 4687251"/>
              <a:gd name="connsiteX44554" fmla="*/ 4794374 w 8079933"/>
              <a:gd name="connsiteY44554" fmla="*/ 1055963 h 4687251"/>
              <a:gd name="connsiteX44555" fmla="*/ 4797846 w 8079933"/>
              <a:gd name="connsiteY44555" fmla="*/ 1057804 h 4687251"/>
              <a:gd name="connsiteX44556" fmla="*/ 4807829 w 8079933"/>
              <a:gd name="connsiteY44556" fmla="*/ 1066141 h 4687251"/>
              <a:gd name="connsiteX44557" fmla="*/ 4817379 w 8079933"/>
              <a:gd name="connsiteY44557" fmla="*/ 1078592 h 4687251"/>
              <a:gd name="connsiteX44558" fmla="*/ 4822479 w 8079933"/>
              <a:gd name="connsiteY44558" fmla="*/ 1078592 h 4687251"/>
              <a:gd name="connsiteX44559" fmla="*/ 4828773 w 8079933"/>
              <a:gd name="connsiteY44559" fmla="*/ 1074045 h 4687251"/>
              <a:gd name="connsiteX44560" fmla="*/ 4831703 w 8079933"/>
              <a:gd name="connsiteY44560" fmla="*/ 1079242 h 4687251"/>
              <a:gd name="connsiteX44561" fmla="*/ 4833873 w 8079933"/>
              <a:gd name="connsiteY44561" fmla="*/ 1076318 h 4687251"/>
              <a:gd name="connsiteX44562" fmla="*/ 4838973 w 8079933"/>
              <a:gd name="connsiteY44562" fmla="*/ 1076318 h 4687251"/>
              <a:gd name="connsiteX44563" fmla="*/ 4840276 w 8079933"/>
              <a:gd name="connsiteY44563" fmla="*/ 1073828 h 4687251"/>
              <a:gd name="connsiteX44564" fmla="*/ 4848741 w 8079933"/>
              <a:gd name="connsiteY44564" fmla="*/ 1070039 h 4687251"/>
              <a:gd name="connsiteX44565" fmla="*/ 4850368 w 8079933"/>
              <a:gd name="connsiteY44565" fmla="*/ 1064950 h 4687251"/>
              <a:gd name="connsiteX44566" fmla="*/ 4848197 w 8079933"/>
              <a:gd name="connsiteY44566" fmla="*/ 1057696 h 4687251"/>
              <a:gd name="connsiteX44567" fmla="*/ 4851236 w 8079933"/>
              <a:gd name="connsiteY44567" fmla="*/ 1052282 h 4687251"/>
              <a:gd name="connsiteX44568" fmla="*/ 4851236 w 8079933"/>
              <a:gd name="connsiteY44568" fmla="*/ 1047951 h 4687251"/>
              <a:gd name="connsiteX44569" fmla="*/ 4847655 w 8079933"/>
              <a:gd name="connsiteY44569" fmla="*/ 1043404 h 4687251"/>
              <a:gd name="connsiteX44570" fmla="*/ 4850150 w 8079933"/>
              <a:gd name="connsiteY44570" fmla="*/ 1041563 h 4687251"/>
              <a:gd name="connsiteX44571" fmla="*/ 4862956 w 8079933"/>
              <a:gd name="connsiteY44571" fmla="*/ 1039939 h 4687251"/>
              <a:gd name="connsiteX44572" fmla="*/ 4864909 w 8079933"/>
              <a:gd name="connsiteY44572" fmla="*/ 1037233 h 4687251"/>
              <a:gd name="connsiteX44573" fmla="*/ 4872722 w 8079933"/>
              <a:gd name="connsiteY44573" fmla="*/ 1040156 h 4687251"/>
              <a:gd name="connsiteX44574" fmla="*/ 4871637 w 8079933"/>
              <a:gd name="connsiteY44574" fmla="*/ 1036583 h 4687251"/>
              <a:gd name="connsiteX44575" fmla="*/ 4865343 w 8079933"/>
              <a:gd name="connsiteY44575" fmla="*/ 1031927 h 4687251"/>
              <a:gd name="connsiteX44576" fmla="*/ 4863389 w 8079933"/>
              <a:gd name="connsiteY44576" fmla="*/ 1027272 h 4687251"/>
              <a:gd name="connsiteX44577" fmla="*/ 4865669 w 8079933"/>
              <a:gd name="connsiteY44577" fmla="*/ 1027272 h 4687251"/>
              <a:gd name="connsiteX44578" fmla="*/ 4869250 w 8079933"/>
              <a:gd name="connsiteY44578" fmla="*/ 1030737 h 4687251"/>
              <a:gd name="connsiteX44579" fmla="*/ 4873265 w 8079933"/>
              <a:gd name="connsiteY44579" fmla="*/ 1028570 h 4687251"/>
              <a:gd name="connsiteX44580" fmla="*/ 4882163 w 8079933"/>
              <a:gd name="connsiteY44580" fmla="*/ 1017744 h 4687251"/>
              <a:gd name="connsiteX44581" fmla="*/ 4884876 w 8079933"/>
              <a:gd name="connsiteY44581" fmla="*/ 1016986 h 4687251"/>
              <a:gd name="connsiteX44582" fmla="*/ 4894643 w 8079933"/>
              <a:gd name="connsiteY44582" fmla="*/ 1005076 h 4687251"/>
              <a:gd name="connsiteX44583" fmla="*/ 4894643 w 8079933"/>
              <a:gd name="connsiteY44583" fmla="*/ 1002370 h 4687251"/>
              <a:gd name="connsiteX44584" fmla="*/ 4897464 w 8079933"/>
              <a:gd name="connsiteY44584" fmla="*/ 1000854 h 4687251"/>
              <a:gd name="connsiteX44585" fmla="*/ 4902673 w 8079933"/>
              <a:gd name="connsiteY44585" fmla="*/ 1001828 h 4687251"/>
              <a:gd name="connsiteX44586" fmla="*/ 4909184 w 8079933"/>
              <a:gd name="connsiteY44586" fmla="*/ 998797 h 4687251"/>
              <a:gd name="connsiteX44587" fmla="*/ 4910377 w 8079933"/>
              <a:gd name="connsiteY44587" fmla="*/ 995765 h 4687251"/>
              <a:gd name="connsiteX44588" fmla="*/ 4919710 w 8079933"/>
              <a:gd name="connsiteY44588" fmla="*/ 992842 h 4687251"/>
              <a:gd name="connsiteX44589" fmla="*/ 4919710 w 8079933"/>
              <a:gd name="connsiteY44589" fmla="*/ 996415 h 4687251"/>
              <a:gd name="connsiteX44590" fmla="*/ 4921446 w 8079933"/>
              <a:gd name="connsiteY44590" fmla="*/ 996415 h 4687251"/>
              <a:gd name="connsiteX44591" fmla="*/ 4922315 w 8079933"/>
              <a:gd name="connsiteY44591" fmla="*/ 1000096 h 4687251"/>
              <a:gd name="connsiteX44592" fmla="*/ 4920578 w 8079933"/>
              <a:gd name="connsiteY44592" fmla="*/ 1002911 h 4687251"/>
              <a:gd name="connsiteX44593" fmla="*/ 4923183 w 8079933"/>
              <a:gd name="connsiteY44593" fmla="*/ 1004751 h 4687251"/>
              <a:gd name="connsiteX44594" fmla="*/ 4928717 w 8079933"/>
              <a:gd name="connsiteY44594" fmla="*/ 999338 h 4687251"/>
              <a:gd name="connsiteX44595" fmla="*/ 4928717 w 8079933"/>
              <a:gd name="connsiteY44595" fmla="*/ 995873 h 4687251"/>
              <a:gd name="connsiteX44596" fmla="*/ 4925896 w 8079933"/>
              <a:gd name="connsiteY44596" fmla="*/ 994574 h 4687251"/>
              <a:gd name="connsiteX44597" fmla="*/ 4922315 w 8079933"/>
              <a:gd name="connsiteY44597" fmla="*/ 990893 h 4687251"/>
              <a:gd name="connsiteX44598" fmla="*/ 4922315 w 8079933"/>
              <a:gd name="connsiteY44598" fmla="*/ 988727 h 4687251"/>
              <a:gd name="connsiteX44599" fmla="*/ 4931104 w 8079933"/>
              <a:gd name="connsiteY44599" fmla="*/ 980066 h 4687251"/>
              <a:gd name="connsiteX44600" fmla="*/ 4932623 w 8079933"/>
              <a:gd name="connsiteY44600" fmla="*/ 980066 h 4687251"/>
              <a:gd name="connsiteX44601" fmla="*/ 4933383 w 8079933"/>
              <a:gd name="connsiteY44601" fmla="*/ 983097 h 4687251"/>
              <a:gd name="connsiteX44602" fmla="*/ 4931755 w 8079933"/>
              <a:gd name="connsiteY44602" fmla="*/ 984072 h 4687251"/>
              <a:gd name="connsiteX44603" fmla="*/ 4930127 w 8079933"/>
              <a:gd name="connsiteY44603" fmla="*/ 986345 h 4687251"/>
              <a:gd name="connsiteX44604" fmla="*/ 4934577 w 8079933"/>
              <a:gd name="connsiteY44604" fmla="*/ 991217 h 4687251"/>
              <a:gd name="connsiteX44605" fmla="*/ 4937507 w 8079933"/>
              <a:gd name="connsiteY44605" fmla="*/ 990352 h 4687251"/>
              <a:gd name="connsiteX44606" fmla="*/ 4940111 w 8079933"/>
              <a:gd name="connsiteY44606" fmla="*/ 986887 h 4687251"/>
              <a:gd name="connsiteX44607" fmla="*/ 4938375 w 8079933"/>
              <a:gd name="connsiteY44607" fmla="*/ 984072 h 4687251"/>
              <a:gd name="connsiteX44608" fmla="*/ 4936964 w 8079933"/>
              <a:gd name="connsiteY44608" fmla="*/ 979632 h 4687251"/>
              <a:gd name="connsiteX44609" fmla="*/ 4935228 w 8079933"/>
              <a:gd name="connsiteY44609" fmla="*/ 977467 h 4687251"/>
              <a:gd name="connsiteX44610" fmla="*/ 4939026 w 8079933"/>
              <a:gd name="connsiteY44610" fmla="*/ 974436 h 4687251"/>
              <a:gd name="connsiteX44611" fmla="*/ 4951614 w 8079933"/>
              <a:gd name="connsiteY44611" fmla="*/ 969022 h 4687251"/>
              <a:gd name="connsiteX44612" fmla="*/ 4960186 w 8079933"/>
              <a:gd name="connsiteY44612" fmla="*/ 967723 h 4687251"/>
              <a:gd name="connsiteX44613" fmla="*/ 4961054 w 8079933"/>
              <a:gd name="connsiteY44613" fmla="*/ 969672 h 4687251"/>
              <a:gd name="connsiteX44614" fmla="*/ 4956280 w 8079933"/>
              <a:gd name="connsiteY44614" fmla="*/ 972054 h 4687251"/>
              <a:gd name="connsiteX44615" fmla="*/ 4952699 w 8079933"/>
              <a:gd name="connsiteY44615" fmla="*/ 972054 h 4687251"/>
              <a:gd name="connsiteX44616" fmla="*/ 4943801 w 8079933"/>
              <a:gd name="connsiteY44616" fmla="*/ 976168 h 4687251"/>
              <a:gd name="connsiteX44617" fmla="*/ 4945429 w 8079933"/>
              <a:gd name="connsiteY44617" fmla="*/ 978442 h 4687251"/>
              <a:gd name="connsiteX44618" fmla="*/ 4948684 w 8079933"/>
              <a:gd name="connsiteY44618" fmla="*/ 979199 h 4687251"/>
              <a:gd name="connsiteX44619" fmla="*/ 4951397 w 8079933"/>
              <a:gd name="connsiteY44619" fmla="*/ 977792 h 4687251"/>
              <a:gd name="connsiteX44620" fmla="*/ 4956931 w 8079933"/>
              <a:gd name="connsiteY44620" fmla="*/ 982881 h 4687251"/>
              <a:gd name="connsiteX44621" fmla="*/ 4953893 w 8079933"/>
              <a:gd name="connsiteY44621" fmla="*/ 984613 h 4687251"/>
              <a:gd name="connsiteX44622" fmla="*/ 4952808 w 8079933"/>
              <a:gd name="connsiteY44622" fmla="*/ 986454 h 4687251"/>
              <a:gd name="connsiteX44623" fmla="*/ 4956063 w 8079933"/>
              <a:gd name="connsiteY44623" fmla="*/ 991542 h 4687251"/>
              <a:gd name="connsiteX44624" fmla="*/ 4954110 w 8079933"/>
              <a:gd name="connsiteY44624" fmla="*/ 995007 h 4687251"/>
              <a:gd name="connsiteX44625" fmla="*/ 4949335 w 8079933"/>
              <a:gd name="connsiteY44625" fmla="*/ 995007 h 4687251"/>
              <a:gd name="connsiteX44626" fmla="*/ 4944452 w 8079933"/>
              <a:gd name="connsiteY44626" fmla="*/ 999662 h 4687251"/>
              <a:gd name="connsiteX44627" fmla="*/ 4945429 w 8079933"/>
              <a:gd name="connsiteY44627" fmla="*/ 1003560 h 4687251"/>
              <a:gd name="connsiteX44628" fmla="*/ 4949444 w 8079933"/>
              <a:gd name="connsiteY44628" fmla="*/ 1004427 h 4687251"/>
              <a:gd name="connsiteX44629" fmla="*/ 4952590 w 8079933"/>
              <a:gd name="connsiteY44629" fmla="*/ 1003560 h 4687251"/>
              <a:gd name="connsiteX44630" fmla="*/ 4955738 w 8079933"/>
              <a:gd name="connsiteY44630" fmla="*/ 1003560 h 4687251"/>
              <a:gd name="connsiteX44631" fmla="*/ 4959101 w 8079933"/>
              <a:gd name="connsiteY44631" fmla="*/ 1001395 h 4687251"/>
              <a:gd name="connsiteX44632" fmla="*/ 4964093 w 8079933"/>
              <a:gd name="connsiteY44632" fmla="*/ 1003344 h 4687251"/>
              <a:gd name="connsiteX44633" fmla="*/ 4964093 w 8079933"/>
              <a:gd name="connsiteY44633" fmla="*/ 1008974 h 4687251"/>
              <a:gd name="connsiteX44634" fmla="*/ 4966480 w 8079933"/>
              <a:gd name="connsiteY44634" fmla="*/ 1003127 h 4687251"/>
              <a:gd name="connsiteX44635" fmla="*/ 4971472 w 8079933"/>
              <a:gd name="connsiteY44635" fmla="*/ 997389 h 4687251"/>
              <a:gd name="connsiteX44636" fmla="*/ 4973860 w 8079933"/>
              <a:gd name="connsiteY44636" fmla="*/ 997389 h 4687251"/>
              <a:gd name="connsiteX44637" fmla="*/ 4975921 w 8079933"/>
              <a:gd name="connsiteY44637" fmla="*/ 1000637 h 4687251"/>
              <a:gd name="connsiteX44638" fmla="*/ 4979828 w 8079933"/>
              <a:gd name="connsiteY44638" fmla="*/ 1003560 h 4687251"/>
              <a:gd name="connsiteX44639" fmla="*/ 4981347 w 8079933"/>
              <a:gd name="connsiteY44639" fmla="*/ 1001611 h 4687251"/>
              <a:gd name="connsiteX44640" fmla="*/ 4980371 w 8079933"/>
              <a:gd name="connsiteY44640" fmla="*/ 998797 h 4687251"/>
              <a:gd name="connsiteX44641" fmla="*/ 4981564 w 8079933"/>
              <a:gd name="connsiteY44641" fmla="*/ 995873 h 4687251"/>
              <a:gd name="connsiteX44642" fmla="*/ 4978092 w 8079933"/>
              <a:gd name="connsiteY44642" fmla="*/ 993383 h 4687251"/>
              <a:gd name="connsiteX44643" fmla="*/ 4978092 w 8079933"/>
              <a:gd name="connsiteY44643" fmla="*/ 991217 h 4687251"/>
              <a:gd name="connsiteX44644" fmla="*/ 4982107 w 8079933"/>
              <a:gd name="connsiteY44644" fmla="*/ 986778 h 4687251"/>
              <a:gd name="connsiteX44645" fmla="*/ 4986991 w 8079933"/>
              <a:gd name="connsiteY44645" fmla="*/ 986021 h 4687251"/>
              <a:gd name="connsiteX44646" fmla="*/ 4988401 w 8079933"/>
              <a:gd name="connsiteY44646" fmla="*/ 983531 h 4687251"/>
              <a:gd name="connsiteX44647" fmla="*/ 4994695 w 8079933"/>
              <a:gd name="connsiteY44647" fmla="*/ 979524 h 4687251"/>
              <a:gd name="connsiteX44648" fmla="*/ 4997516 w 8079933"/>
              <a:gd name="connsiteY44648" fmla="*/ 981690 h 4687251"/>
              <a:gd name="connsiteX44649" fmla="*/ 5000663 w 8079933"/>
              <a:gd name="connsiteY44649" fmla="*/ 981690 h 4687251"/>
              <a:gd name="connsiteX44650" fmla="*/ 5002834 w 8079933"/>
              <a:gd name="connsiteY44650" fmla="*/ 980499 h 4687251"/>
              <a:gd name="connsiteX44651" fmla="*/ 5006306 w 8079933"/>
              <a:gd name="connsiteY44651" fmla="*/ 981798 h 4687251"/>
              <a:gd name="connsiteX44652" fmla="*/ 5017158 w 8079933"/>
              <a:gd name="connsiteY44652" fmla="*/ 981798 h 4687251"/>
              <a:gd name="connsiteX44653" fmla="*/ 5020848 w 8079933"/>
              <a:gd name="connsiteY44653" fmla="*/ 979091 h 4687251"/>
              <a:gd name="connsiteX44654" fmla="*/ 5020848 w 8079933"/>
              <a:gd name="connsiteY44654" fmla="*/ 976060 h 4687251"/>
              <a:gd name="connsiteX44655" fmla="*/ 5023344 w 8079933"/>
              <a:gd name="connsiteY44655" fmla="*/ 973244 h 4687251"/>
              <a:gd name="connsiteX44656" fmla="*/ 5029312 w 8079933"/>
              <a:gd name="connsiteY44656" fmla="*/ 973244 h 4687251"/>
              <a:gd name="connsiteX44657" fmla="*/ 5029312 w 8079933"/>
              <a:gd name="connsiteY44657" fmla="*/ 970646 h 4687251"/>
              <a:gd name="connsiteX44658" fmla="*/ 5033761 w 8079933"/>
              <a:gd name="connsiteY44658" fmla="*/ 966748 h 4687251"/>
              <a:gd name="connsiteX44659" fmla="*/ 5037451 w 8079933"/>
              <a:gd name="connsiteY44659" fmla="*/ 965991 h 4687251"/>
              <a:gd name="connsiteX44660" fmla="*/ 5043744 w 8079933"/>
              <a:gd name="connsiteY44660" fmla="*/ 959819 h 4687251"/>
              <a:gd name="connsiteX44661" fmla="*/ 5046240 w 8079933"/>
              <a:gd name="connsiteY44661" fmla="*/ 959819 h 4687251"/>
              <a:gd name="connsiteX44662" fmla="*/ 5049822 w 8079933"/>
              <a:gd name="connsiteY44662" fmla="*/ 957979 h 4687251"/>
              <a:gd name="connsiteX44663" fmla="*/ 5050690 w 8079933"/>
              <a:gd name="connsiteY44663" fmla="*/ 959603 h 4687251"/>
              <a:gd name="connsiteX44664" fmla="*/ 5047109 w 8079933"/>
              <a:gd name="connsiteY44664" fmla="*/ 963717 h 4687251"/>
              <a:gd name="connsiteX44665" fmla="*/ 5050798 w 8079933"/>
              <a:gd name="connsiteY44665" fmla="*/ 965124 h 4687251"/>
              <a:gd name="connsiteX44666" fmla="*/ 5055573 w 8079933"/>
              <a:gd name="connsiteY44666" fmla="*/ 969780 h 4687251"/>
              <a:gd name="connsiteX44667" fmla="*/ 5055573 w 8079933"/>
              <a:gd name="connsiteY44667" fmla="*/ 972378 h 4687251"/>
              <a:gd name="connsiteX44668" fmla="*/ 5051666 w 8079933"/>
              <a:gd name="connsiteY44668" fmla="*/ 975952 h 4687251"/>
              <a:gd name="connsiteX44669" fmla="*/ 5053945 w 8079933"/>
              <a:gd name="connsiteY44669" fmla="*/ 980715 h 4687251"/>
              <a:gd name="connsiteX44670" fmla="*/ 5052968 w 8079933"/>
              <a:gd name="connsiteY44670" fmla="*/ 984397 h 4687251"/>
              <a:gd name="connsiteX44671" fmla="*/ 5055790 w 8079933"/>
              <a:gd name="connsiteY44671" fmla="*/ 987861 h 4687251"/>
              <a:gd name="connsiteX44672" fmla="*/ 5067835 w 8079933"/>
              <a:gd name="connsiteY44672" fmla="*/ 987861 h 4687251"/>
              <a:gd name="connsiteX44673" fmla="*/ 5070331 w 8079933"/>
              <a:gd name="connsiteY44673" fmla="*/ 985046 h 4687251"/>
              <a:gd name="connsiteX44674" fmla="*/ 5070331 w 8079933"/>
              <a:gd name="connsiteY44674" fmla="*/ 982123 h 4687251"/>
              <a:gd name="connsiteX44675" fmla="*/ 5068487 w 8079933"/>
              <a:gd name="connsiteY44675" fmla="*/ 980391 h 4687251"/>
              <a:gd name="connsiteX44676" fmla="*/ 5063386 w 8079933"/>
              <a:gd name="connsiteY44676" fmla="*/ 974327 h 4687251"/>
              <a:gd name="connsiteX44677" fmla="*/ 5063386 w 8079933"/>
              <a:gd name="connsiteY44677" fmla="*/ 971621 h 4687251"/>
              <a:gd name="connsiteX44678" fmla="*/ 5066750 w 8079933"/>
              <a:gd name="connsiteY44678" fmla="*/ 968914 h 4687251"/>
              <a:gd name="connsiteX44679" fmla="*/ 5073261 w 8079933"/>
              <a:gd name="connsiteY44679" fmla="*/ 971837 h 4687251"/>
              <a:gd name="connsiteX44680" fmla="*/ 5077819 w 8079933"/>
              <a:gd name="connsiteY44680" fmla="*/ 968805 h 4687251"/>
              <a:gd name="connsiteX44681" fmla="*/ 5079772 w 8079933"/>
              <a:gd name="connsiteY44681" fmla="*/ 960902 h 4687251"/>
              <a:gd name="connsiteX44682" fmla="*/ 5083353 w 8079933"/>
              <a:gd name="connsiteY44682" fmla="*/ 960902 h 4687251"/>
              <a:gd name="connsiteX44683" fmla="*/ 5085523 w 8079933"/>
              <a:gd name="connsiteY44683" fmla="*/ 962850 h 4687251"/>
              <a:gd name="connsiteX44684" fmla="*/ 5091818 w 8079933"/>
              <a:gd name="connsiteY44684" fmla="*/ 963933 h 4687251"/>
              <a:gd name="connsiteX44685" fmla="*/ 5085307 w 8079933"/>
              <a:gd name="connsiteY44685" fmla="*/ 956896 h 4687251"/>
              <a:gd name="connsiteX44686" fmla="*/ 5079881 w 8079933"/>
              <a:gd name="connsiteY44686" fmla="*/ 955488 h 4687251"/>
              <a:gd name="connsiteX44687" fmla="*/ 5079881 w 8079933"/>
              <a:gd name="connsiteY44687" fmla="*/ 951157 h 4687251"/>
              <a:gd name="connsiteX44688" fmla="*/ 5075866 w 8079933"/>
              <a:gd name="connsiteY44688" fmla="*/ 943362 h 4687251"/>
              <a:gd name="connsiteX44689" fmla="*/ 5072935 w 8079933"/>
              <a:gd name="connsiteY44689" fmla="*/ 943362 h 4687251"/>
              <a:gd name="connsiteX44690" fmla="*/ 5072067 w 8079933"/>
              <a:gd name="connsiteY44690" fmla="*/ 947476 h 4687251"/>
              <a:gd name="connsiteX44691" fmla="*/ 5069680 w 8079933"/>
              <a:gd name="connsiteY44691" fmla="*/ 943470 h 4687251"/>
              <a:gd name="connsiteX44692" fmla="*/ 5067184 w 8079933"/>
              <a:gd name="connsiteY44692" fmla="*/ 934809 h 4687251"/>
              <a:gd name="connsiteX44693" fmla="*/ 5063929 w 8079933"/>
              <a:gd name="connsiteY44693" fmla="*/ 932968 h 4687251"/>
              <a:gd name="connsiteX44694" fmla="*/ 5060456 w 8079933"/>
              <a:gd name="connsiteY44694" fmla="*/ 927554 h 4687251"/>
              <a:gd name="connsiteX44695" fmla="*/ 5060456 w 8079933"/>
              <a:gd name="connsiteY44695" fmla="*/ 926147 h 4687251"/>
              <a:gd name="connsiteX44696" fmla="*/ 5065557 w 8079933"/>
              <a:gd name="connsiteY44696" fmla="*/ 924307 h 4687251"/>
              <a:gd name="connsiteX44697" fmla="*/ 5065557 w 8079933"/>
              <a:gd name="connsiteY44697" fmla="*/ 920300 h 4687251"/>
              <a:gd name="connsiteX44698" fmla="*/ 5063277 w 8079933"/>
              <a:gd name="connsiteY44698" fmla="*/ 915212 h 4687251"/>
              <a:gd name="connsiteX44699" fmla="*/ 5066099 w 8079933"/>
              <a:gd name="connsiteY44699" fmla="*/ 912504 h 4687251"/>
              <a:gd name="connsiteX44700" fmla="*/ 5070114 w 8079933"/>
              <a:gd name="connsiteY44700" fmla="*/ 913371 h 4687251"/>
              <a:gd name="connsiteX44701" fmla="*/ 5072067 w 8079933"/>
              <a:gd name="connsiteY44701" fmla="*/ 912288 h 4687251"/>
              <a:gd name="connsiteX44702" fmla="*/ 5076083 w 8079933"/>
              <a:gd name="connsiteY44702" fmla="*/ 914995 h 4687251"/>
              <a:gd name="connsiteX44703" fmla="*/ 5080749 w 8079933"/>
              <a:gd name="connsiteY44703" fmla="*/ 914237 h 4687251"/>
              <a:gd name="connsiteX44704" fmla="*/ 5085307 w 8079933"/>
              <a:gd name="connsiteY44704" fmla="*/ 915645 h 4687251"/>
              <a:gd name="connsiteX44705" fmla="*/ 5103429 w 8079933"/>
              <a:gd name="connsiteY44705" fmla="*/ 913155 h 4687251"/>
              <a:gd name="connsiteX44706" fmla="*/ 5126434 w 8079933"/>
              <a:gd name="connsiteY44706" fmla="*/ 914454 h 4687251"/>
              <a:gd name="connsiteX44707" fmla="*/ 5133271 w 8079933"/>
              <a:gd name="connsiteY44707" fmla="*/ 919109 h 4687251"/>
              <a:gd name="connsiteX44708" fmla="*/ 5148463 w 8079933"/>
              <a:gd name="connsiteY44708" fmla="*/ 924739 h 4687251"/>
              <a:gd name="connsiteX44709" fmla="*/ 5149765 w 8079933"/>
              <a:gd name="connsiteY44709" fmla="*/ 927987 h 4687251"/>
              <a:gd name="connsiteX44710" fmla="*/ 5148138 w 8079933"/>
              <a:gd name="connsiteY44710" fmla="*/ 930477 h 4687251"/>
              <a:gd name="connsiteX44711" fmla="*/ 5150525 w 8079933"/>
              <a:gd name="connsiteY44711" fmla="*/ 935675 h 4687251"/>
              <a:gd name="connsiteX44712" fmla="*/ 5155083 w 8079933"/>
              <a:gd name="connsiteY44712" fmla="*/ 931669 h 4687251"/>
              <a:gd name="connsiteX44713" fmla="*/ 5161919 w 8079933"/>
              <a:gd name="connsiteY44713" fmla="*/ 929179 h 4687251"/>
              <a:gd name="connsiteX44714" fmla="*/ 5165934 w 8079933"/>
              <a:gd name="connsiteY44714" fmla="*/ 932752 h 4687251"/>
              <a:gd name="connsiteX44715" fmla="*/ 5169515 w 8079933"/>
              <a:gd name="connsiteY44715" fmla="*/ 932752 h 4687251"/>
              <a:gd name="connsiteX44716" fmla="*/ 5170383 w 8079933"/>
              <a:gd name="connsiteY44716" fmla="*/ 937299 h 4687251"/>
              <a:gd name="connsiteX44717" fmla="*/ 5178306 w 8079933"/>
              <a:gd name="connsiteY44717" fmla="*/ 938381 h 4687251"/>
              <a:gd name="connsiteX44718" fmla="*/ 5191545 w 8079933"/>
              <a:gd name="connsiteY44718" fmla="*/ 945960 h 4687251"/>
              <a:gd name="connsiteX44719" fmla="*/ 5204241 w 8079933"/>
              <a:gd name="connsiteY44719" fmla="*/ 947043 h 4687251"/>
              <a:gd name="connsiteX44720" fmla="*/ 5209341 w 8079933"/>
              <a:gd name="connsiteY44720" fmla="*/ 951157 h 4687251"/>
              <a:gd name="connsiteX44721" fmla="*/ 5212379 w 8079933"/>
              <a:gd name="connsiteY44721" fmla="*/ 957870 h 4687251"/>
              <a:gd name="connsiteX44722" fmla="*/ 5219759 w 8079933"/>
              <a:gd name="connsiteY44722" fmla="*/ 959277 h 4687251"/>
              <a:gd name="connsiteX44723" fmla="*/ 5226270 w 8079933"/>
              <a:gd name="connsiteY44723" fmla="*/ 964150 h 4687251"/>
              <a:gd name="connsiteX44724" fmla="*/ 5231913 w 8079933"/>
              <a:gd name="connsiteY44724" fmla="*/ 974977 h 4687251"/>
              <a:gd name="connsiteX44725" fmla="*/ 5237013 w 8079933"/>
              <a:gd name="connsiteY44725" fmla="*/ 976060 h 4687251"/>
              <a:gd name="connsiteX44726" fmla="*/ 5237013 w 8079933"/>
              <a:gd name="connsiteY44726" fmla="*/ 973028 h 4687251"/>
              <a:gd name="connsiteX44727" fmla="*/ 5235711 w 8079933"/>
              <a:gd name="connsiteY44727" fmla="*/ 966315 h 4687251"/>
              <a:gd name="connsiteX44728" fmla="*/ 5238641 w 8079933"/>
              <a:gd name="connsiteY44728" fmla="*/ 966315 h 4687251"/>
              <a:gd name="connsiteX44729" fmla="*/ 5239726 w 8079933"/>
              <a:gd name="connsiteY44729" fmla="*/ 963825 h 4687251"/>
              <a:gd name="connsiteX44730" fmla="*/ 5236470 w 8079933"/>
              <a:gd name="connsiteY44730" fmla="*/ 958736 h 4687251"/>
              <a:gd name="connsiteX44731" fmla="*/ 5237881 w 8079933"/>
              <a:gd name="connsiteY44731" fmla="*/ 955488 h 4687251"/>
              <a:gd name="connsiteX44732" fmla="*/ 5237881 w 8079933"/>
              <a:gd name="connsiteY44732" fmla="*/ 942712 h 4687251"/>
              <a:gd name="connsiteX44733" fmla="*/ 5242222 w 8079933"/>
              <a:gd name="connsiteY44733" fmla="*/ 939247 h 4687251"/>
              <a:gd name="connsiteX44734" fmla="*/ 5237881 w 8079933"/>
              <a:gd name="connsiteY44734" fmla="*/ 939247 h 4687251"/>
              <a:gd name="connsiteX44735" fmla="*/ 5237122 w 8079933"/>
              <a:gd name="connsiteY44735" fmla="*/ 937299 h 4687251"/>
              <a:gd name="connsiteX44736" fmla="*/ 5232564 w 8079933"/>
              <a:gd name="connsiteY44736" fmla="*/ 937299 h 4687251"/>
              <a:gd name="connsiteX44737" fmla="*/ 5228983 w 8079933"/>
              <a:gd name="connsiteY44737" fmla="*/ 939681 h 4687251"/>
              <a:gd name="connsiteX44738" fmla="*/ 5224100 w 8079933"/>
              <a:gd name="connsiteY44738" fmla="*/ 938273 h 4687251"/>
              <a:gd name="connsiteX44739" fmla="*/ 5214333 w 8079933"/>
              <a:gd name="connsiteY44739" fmla="*/ 926689 h 4687251"/>
              <a:gd name="connsiteX44740" fmla="*/ 5211620 w 8079933"/>
              <a:gd name="connsiteY44740" fmla="*/ 926147 h 4687251"/>
              <a:gd name="connsiteX44741" fmla="*/ 5208039 w 8079933"/>
              <a:gd name="connsiteY44741" fmla="*/ 921600 h 4687251"/>
              <a:gd name="connsiteX44742" fmla="*/ 5208039 w 8079933"/>
              <a:gd name="connsiteY44742" fmla="*/ 913155 h 4687251"/>
              <a:gd name="connsiteX44743" fmla="*/ 5205543 w 8079933"/>
              <a:gd name="connsiteY44743" fmla="*/ 910773 h 4687251"/>
              <a:gd name="connsiteX44744" fmla="*/ 5200985 w 8079933"/>
              <a:gd name="connsiteY44744" fmla="*/ 917052 h 4687251"/>
              <a:gd name="connsiteX44745" fmla="*/ 5195885 w 8079933"/>
              <a:gd name="connsiteY44745" fmla="*/ 913587 h 4687251"/>
              <a:gd name="connsiteX44746" fmla="*/ 5190242 w 8079933"/>
              <a:gd name="connsiteY44746" fmla="*/ 913587 h 4687251"/>
              <a:gd name="connsiteX44747" fmla="*/ 5185901 w 8079933"/>
              <a:gd name="connsiteY44747" fmla="*/ 910664 h 4687251"/>
              <a:gd name="connsiteX44748" fmla="*/ 5183623 w 8079933"/>
              <a:gd name="connsiteY44748" fmla="*/ 914454 h 4687251"/>
              <a:gd name="connsiteX44749" fmla="*/ 5181995 w 8079933"/>
              <a:gd name="connsiteY44749" fmla="*/ 906334 h 4687251"/>
              <a:gd name="connsiteX44750" fmla="*/ 5178414 w 8079933"/>
              <a:gd name="connsiteY44750" fmla="*/ 903085 h 4687251"/>
              <a:gd name="connsiteX44751" fmla="*/ 5174399 w 8079933"/>
              <a:gd name="connsiteY44751" fmla="*/ 892258 h 4687251"/>
              <a:gd name="connsiteX44752" fmla="*/ 5174399 w 8079933"/>
              <a:gd name="connsiteY44752" fmla="*/ 888685 h 4687251"/>
              <a:gd name="connsiteX44753" fmla="*/ 5177654 w 8079933"/>
              <a:gd name="connsiteY44753" fmla="*/ 891175 h 4687251"/>
              <a:gd name="connsiteX44754" fmla="*/ 5181452 w 8079933"/>
              <a:gd name="connsiteY44754" fmla="*/ 887711 h 4687251"/>
              <a:gd name="connsiteX44755" fmla="*/ 5181452 w 8079933"/>
              <a:gd name="connsiteY44755" fmla="*/ 882298 h 4687251"/>
              <a:gd name="connsiteX44756" fmla="*/ 5174181 w 8079933"/>
              <a:gd name="connsiteY44756" fmla="*/ 877100 h 4687251"/>
              <a:gd name="connsiteX44757" fmla="*/ 5174181 w 8079933"/>
              <a:gd name="connsiteY44757" fmla="*/ 871145 h 4687251"/>
              <a:gd name="connsiteX44758" fmla="*/ 5177654 w 8079933"/>
              <a:gd name="connsiteY44758" fmla="*/ 866598 h 4687251"/>
              <a:gd name="connsiteX44759" fmla="*/ 5181127 w 8079933"/>
              <a:gd name="connsiteY44759" fmla="*/ 867465 h 4687251"/>
              <a:gd name="connsiteX44760" fmla="*/ 5176786 w 8079933"/>
              <a:gd name="connsiteY44760" fmla="*/ 863458 h 4687251"/>
              <a:gd name="connsiteX44761" fmla="*/ 5171360 w 8079933"/>
              <a:gd name="connsiteY44761" fmla="*/ 863458 h 4687251"/>
              <a:gd name="connsiteX44762" fmla="*/ 5167888 w 8079933"/>
              <a:gd name="connsiteY44762" fmla="*/ 854796 h 4687251"/>
              <a:gd name="connsiteX44763" fmla="*/ 5164632 w 8079933"/>
              <a:gd name="connsiteY44763" fmla="*/ 851765 h 4687251"/>
              <a:gd name="connsiteX44764" fmla="*/ 5160834 w 8079933"/>
              <a:gd name="connsiteY44764" fmla="*/ 854688 h 4687251"/>
              <a:gd name="connsiteX44765" fmla="*/ 5155083 w 8079933"/>
              <a:gd name="connsiteY44765" fmla="*/ 849274 h 4687251"/>
              <a:gd name="connsiteX44766" fmla="*/ 5155843 w 8079933"/>
              <a:gd name="connsiteY44766" fmla="*/ 841371 h 4687251"/>
              <a:gd name="connsiteX44767" fmla="*/ 5158555 w 8079933"/>
              <a:gd name="connsiteY44767" fmla="*/ 837257 h 4687251"/>
              <a:gd name="connsiteX44768" fmla="*/ 5155516 w 8079933"/>
              <a:gd name="connsiteY44768" fmla="*/ 832601 h 4687251"/>
              <a:gd name="connsiteX44769" fmla="*/ 5154648 w 8079933"/>
              <a:gd name="connsiteY44769" fmla="*/ 828595 h 4687251"/>
              <a:gd name="connsiteX44770" fmla="*/ 5157904 w 8079933"/>
              <a:gd name="connsiteY44770" fmla="*/ 826430 h 4687251"/>
              <a:gd name="connsiteX44771" fmla="*/ 5166260 w 8079933"/>
              <a:gd name="connsiteY44771" fmla="*/ 813437 h 4687251"/>
              <a:gd name="connsiteX44772" fmla="*/ 5171468 w 8079933"/>
              <a:gd name="connsiteY44772" fmla="*/ 809864 h 4687251"/>
              <a:gd name="connsiteX44773" fmla="*/ 5172880 w 8079933"/>
              <a:gd name="connsiteY44773" fmla="*/ 806941 h 4687251"/>
              <a:gd name="connsiteX44774" fmla="*/ 5170709 w 8079933"/>
              <a:gd name="connsiteY44774" fmla="*/ 800986 h 4687251"/>
              <a:gd name="connsiteX44775" fmla="*/ 5170709 w 8079933"/>
              <a:gd name="connsiteY44775" fmla="*/ 796438 h 4687251"/>
              <a:gd name="connsiteX44776" fmla="*/ 5173964 w 8079933"/>
              <a:gd name="connsiteY44776" fmla="*/ 790483 h 4687251"/>
              <a:gd name="connsiteX44777" fmla="*/ 5170383 w 8079933"/>
              <a:gd name="connsiteY44777" fmla="*/ 784854 h 4687251"/>
              <a:gd name="connsiteX44778" fmla="*/ 5170383 w 8079933"/>
              <a:gd name="connsiteY44778" fmla="*/ 777599 h 4687251"/>
              <a:gd name="connsiteX44779" fmla="*/ 5172228 w 8079933"/>
              <a:gd name="connsiteY44779" fmla="*/ 773810 h 4687251"/>
              <a:gd name="connsiteX44780" fmla="*/ 5170600 w 8079933"/>
              <a:gd name="connsiteY44780" fmla="*/ 770238 h 4687251"/>
              <a:gd name="connsiteX44781" fmla="*/ 5170600 w 8079933"/>
              <a:gd name="connsiteY44781" fmla="*/ 764607 h 4687251"/>
              <a:gd name="connsiteX44782" fmla="*/ 5167670 w 8079933"/>
              <a:gd name="connsiteY44782" fmla="*/ 761684 h 4687251"/>
              <a:gd name="connsiteX44783" fmla="*/ 5170058 w 8079933"/>
              <a:gd name="connsiteY44783" fmla="*/ 752806 h 4687251"/>
              <a:gd name="connsiteX44784" fmla="*/ 5171686 w 8079933"/>
              <a:gd name="connsiteY44784" fmla="*/ 750965 h 4687251"/>
              <a:gd name="connsiteX44785" fmla="*/ 5167562 w 8079933"/>
              <a:gd name="connsiteY44785" fmla="*/ 745551 h 4687251"/>
              <a:gd name="connsiteX44786" fmla="*/ 5168973 w 8079933"/>
              <a:gd name="connsiteY44786" fmla="*/ 737432 h 4687251"/>
              <a:gd name="connsiteX44787" fmla="*/ 5168213 w 8079933"/>
              <a:gd name="connsiteY44787" fmla="*/ 727471 h 4687251"/>
              <a:gd name="connsiteX44788" fmla="*/ 5172011 w 8079933"/>
              <a:gd name="connsiteY44788" fmla="*/ 726388 h 4687251"/>
              <a:gd name="connsiteX44789" fmla="*/ 5175918 w 8079933"/>
              <a:gd name="connsiteY44789" fmla="*/ 728337 h 4687251"/>
              <a:gd name="connsiteX44790" fmla="*/ 5174290 w 8079933"/>
              <a:gd name="connsiteY44790" fmla="*/ 730502 h 4687251"/>
              <a:gd name="connsiteX44791" fmla="*/ 5175918 w 8079933"/>
              <a:gd name="connsiteY44791" fmla="*/ 732451 h 4687251"/>
              <a:gd name="connsiteX44792" fmla="*/ 5181344 w 8079933"/>
              <a:gd name="connsiteY44792" fmla="*/ 730069 h 4687251"/>
              <a:gd name="connsiteX44793" fmla="*/ 5188072 w 8079933"/>
              <a:gd name="connsiteY44793" fmla="*/ 730069 h 4687251"/>
              <a:gd name="connsiteX44794" fmla="*/ 5194041 w 8079933"/>
              <a:gd name="connsiteY44794" fmla="*/ 727037 h 4687251"/>
              <a:gd name="connsiteX44795" fmla="*/ 5198164 w 8079933"/>
              <a:gd name="connsiteY44795" fmla="*/ 727037 h 4687251"/>
              <a:gd name="connsiteX44796" fmla="*/ 5202287 w 8079933"/>
              <a:gd name="connsiteY44796" fmla="*/ 728986 h 4687251"/>
              <a:gd name="connsiteX44797" fmla="*/ 5205000 w 8079933"/>
              <a:gd name="connsiteY44797" fmla="*/ 726604 h 4687251"/>
              <a:gd name="connsiteX44798" fmla="*/ 5210643 w 8079933"/>
              <a:gd name="connsiteY44798" fmla="*/ 726604 h 4687251"/>
              <a:gd name="connsiteX44799" fmla="*/ 5224968 w 8079933"/>
              <a:gd name="connsiteY44799" fmla="*/ 732343 h 4687251"/>
              <a:gd name="connsiteX44800" fmla="*/ 5231696 w 8079933"/>
              <a:gd name="connsiteY44800" fmla="*/ 732343 h 4687251"/>
              <a:gd name="connsiteX44801" fmla="*/ 5236579 w 8079933"/>
              <a:gd name="connsiteY44801" fmla="*/ 733426 h 4687251"/>
              <a:gd name="connsiteX44802" fmla="*/ 5238424 w 8079933"/>
              <a:gd name="connsiteY44802" fmla="*/ 737756 h 4687251"/>
              <a:gd name="connsiteX44803" fmla="*/ 5234626 w 8079933"/>
              <a:gd name="connsiteY44803" fmla="*/ 739380 h 4687251"/>
              <a:gd name="connsiteX44804" fmla="*/ 5237664 w 8079933"/>
              <a:gd name="connsiteY44804" fmla="*/ 744794 h 4687251"/>
              <a:gd name="connsiteX44805" fmla="*/ 5237664 w 8079933"/>
              <a:gd name="connsiteY44805" fmla="*/ 750532 h 4687251"/>
              <a:gd name="connsiteX44806" fmla="*/ 5240160 w 8079933"/>
              <a:gd name="connsiteY44806" fmla="*/ 753239 h 4687251"/>
              <a:gd name="connsiteX44807" fmla="*/ 5240160 w 8079933"/>
              <a:gd name="connsiteY44807" fmla="*/ 761684 h 4687251"/>
              <a:gd name="connsiteX44808" fmla="*/ 5243198 w 8079933"/>
              <a:gd name="connsiteY44808" fmla="*/ 769046 h 4687251"/>
              <a:gd name="connsiteX44809" fmla="*/ 5241028 w 8079933"/>
              <a:gd name="connsiteY44809" fmla="*/ 782038 h 4687251"/>
              <a:gd name="connsiteX44810" fmla="*/ 5243524 w 8079933"/>
              <a:gd name="connsiteY44810" fmla="*/ 785828 h 4687251"/>
              <a:gd name="connsiteX44811" fmla="*/ 5242439 w 8079933"/>
              <a:gd name="connsiteY44811" fmla="*/ 789076 h 4687251"/>
              <a:gd name="connsiteX44812" fmla="*/ 5244609 w 8079933"/>
              <a:gd name="connsiteY44812" fmla="*/ 793082 h 4687251"/>
              <a:gd name="connsiteX44813" fmla="*/ 5243307 w 8079933"/>
              <a:gd name="connsiteY44813" fmla="*/ 797630 h 4687251"/>
              <a:gd name="connsiteX44814" fmla="*/ 5240377 w 8079933"/>
              <a:gd name="connsiteY44814" fmla="*/ 799254 h 4687251"/>
              <a:gd name="connsiteX44815" fmla="*/ 5242222 w 8079933"/>
              <a:gd name="connsiteY44815" fmla="*/ 804884 h 4687251"/>
              <a:gd name="connsiteX44816" fmla="*/ 5247322 w 8079933"/>
              <a:gd name="connsiteY44816" fmla="*/ 809540 h 4687251"/>
              <a:gd name="connsiteX44817" fmla="*/ 5250578 w 8079933"/>
              <a:gd name="connsiteY44817" fmla="*/ 815711 h 4687251"/>
              <a:gd name="connsiteX44818" fmla="*/ 5256221 w 8079933"/>
              <a:gd name="connsiteY44818" fmla="*/ 817335 h 4687251"/>
              <a:gd name="connsiteX44819" fmla="*/ 5256221 w 8079933"/>
              <a:gd name="connsiteY44819" fmla="*/ 818634 h 4687251"/>
              <a:gd name="connsiteX44820" fmla="*/ 5259802 w 8079933"/>
              <a:gd name="connsiteY44820" fmla="*/ 817227 h 4687251"/>
              <a:gd name="connsiteX44821" fmla="*/ 5262297 w 8079933"/>
              <a:gd name="connsiteY44821" fmla="*/ 819284 h 4687251"/>
              <a:gd name="connsiteX44822" fmla="*/ 5264142 w 8079933"/>
              <a:gd name="connsiteY44822" fmla="*/ 827513 h 4687251"/>
              <a:gd name="connsiteX44823" fmla="*/ 5269893 w 8079933"/>
              <a:gd name="connsiteY44823" fmla="*/ 831519 h 4687251"/>
              <a:gd name="connsiteX44824" fmla="*/ 5272932 w 8079933"/>
              <a:gd name="connsiteY44824" fmla="*/ 836390 h 4687251"/>
              <a:gd name="connsiteX44825" fmla="*/ 5274777 w 8079933"/>
              <a:gd name="connsiteY44825" fmla="*/ 851007 h 4687251"/>
              <a:gd name="connsiteX44826" fmla="*/ 5278792 w 8079933"/>
              <a:gd name="connsiteY44826" fmla="*/ 855121 h 4687251"/>
              <a:gd name="connsiteX44827" fmla="*/ 5278792 w 8079933"/>
              <a:gd name="connsiteY44827" fmla="*/ 858370 h 4687251"/>
              <a:gd name="connsiteX44828" fmla="*/ 5277381 w 8079933"/>
              <a:gd name="connsiteY44828" fmla="*/ 861834 h 4687251"/>
              <a:gd name="connsiteX44829" fmla="*/ 5282481 w 8079933"/>
              <a:gd name="connsiteY44829" fmla="*/ 867465 h 4687251"/>
              <a:gd name="connsiteX44830" fmla="*/ 5282481 w 8079933"/>
              <a:gd name="connsiteY44830" fmla="*/ 874718 h 4687251"/>
              <a:gd name="connsiteX44831" fmla="*/ 5289861 w 8079933"/>
              <a:gd name="connsiteY44831" fmla="*/ 885545 h 4687251"/>
              <a:gd name="connsiteX44832" fmla="*/ 5288016 w 8079933"/>
              <a:gd name="connsiteY44832" fmla="*/ 891826 h 4687251"/>
              <a:gd name="connsiteX44833" fmla="*/ 5290946 w 8079933"/>
              <a:gd name="connsiteY44833" fmla="*/ 897022 h 4687251"/>
              <a:gd name="connsiteX44834" fmla="*/ 5296046 w 8079933"/>
              <a:gd name="connsiteY44834" fmla="*/ 900053 h 4687251"/>
              <a:gd name="connsiteX44835" fmla="*/ 5293550 w 8079933"/>
              <a:gd name="connsiteY44835" fmla="*/ 904168 h 4687251"/>
              <a:gd name="connsiteX44836" fmla="*/ 5296263 w 8079933"/>
              <a:gd name="connsiteY44836" fmla="*/ 906658 h 4687251"/>
              <a:gd name="connsiteX44837" fmla="*/ 5298216 w 8079933"/>
              <a:gd name="connsiteY44837" fmla="*/ 916728 h 4687251"/>
              <a:gd name="connsiteX44838" fmla="*/ 5307766 w 8079933"/>
              <a:gd name="connsiteY44838" fmla="*/ 928962 h 4687251"/>
              <a:gd name="connsiteX44839" fmla="*/ 5315362 w 8079933"/>
              <a:gd name="connsiteY44839" fmla="*/ 931452 h 4687251"/>
              <a:gd name="connsiteX44840" fmla="*/ 5318617 w 8079933"/>
              <a:gd name="connsiteY44840" fmla="*/ 935458 h 4687251"/>
              <a:gd name="connsiteX44841" fmla="*/ 5322090 w 8079933"/>
              <a:gd name="connsiteY44841" fmla="*/ 936216 h 4687251"/>
              <a:gd name="connsiteX44842" fmla="*/ 5329361 w 8079933"/>
              <a:gd name="connsiteY44842" fmla="*/ 943254 h 4687251"/>
              <a:gd name="connsiteX44843" fmla="*/ 5329361 w 8079933"/>
              <a:gd name="connsiteY44843" fmla="*/ 947043 h 4687251"/>
              <a:gd name="connsiteX44844" fmla="*/ 5326973 w 8079933"/>
              <a:gd name="connsiteY44844" fmla="*/ 946177 h 4687251"/>
              <a:gd name="connsiteX44845" fmla="*/ 5326973 w 8079933"/>
              <a:gd name="connsiteY44845" fmla="*/ 951374 h 4687251"/>
              <a:gd name="connsiteX44846" fmla="*/ 5325671 w 8079933"/>
              <a:gd name="connsiteY44846" fmla="*/ 957870 h 4687251"/>
              <a:gd name="connsiteX44847" fmla="*/ 5328709 w 8079933"/>
              <a:gd name="connsiteY44847" fmla="*/ 966856 h 4687251"/>
              <a:gd name="connsiteX44848" fmla="*/ 5334135 w 8079933"/>
              <a:gd name="connsiteY44848" fmla="*/ 972270 h 4687251"/>
              <a:gd name="connsiteX44849" fmla="*/ 5334895 w 8079933"/>
              <a:gd name="connsiteY44849" fmla="*/ 979632 h 4687251"/>
              <a:gd name="connsiteX44850" fmla="*/ 5330554 w 8079933"/>
              <a:gd name="connsiteY44850" fmla="*/ 983422 h 4687251"/>
              <a:gd name="connsiteX44851" fmla="*/ 5330554 w 8079933"/>
              <a:gd name="connsiteY44851" fmla="*/ 985804 h 4687251"/>
              <a:gd name="connsiteX44852" fmla="*/ 5327299 w 8079933"/>
              <a:gd name="connsiteY44852" fmla="*/ 989810 h 4687251"/>
              <a:gd name="connsiteX44853" fmla="*/ 5329252 w 8079933"/>
              <a:gd name="connsiteY44853" fmla="*/ 992517 h 4687251"/>
              <a:gd name="connsiteX44854" fmla="*/ 5329252 w 8079933"/>
              <a:gd name="connsiteY44854" fmla="*/ 1002803 h 4687251"/>
              <a:gd name="connsiteX44855" fmla="*/ 5324043 w 8079933"/>
              <a:gd name="connsiteY44855" fmla="*/ 1005509 h 4687251"/>
              <a:gd name="connsiteX44856" fmla="*/ 5325128 w 8079933"/>
              <a:gd name="connsiteY44856" fmla="*/ 1007458 h 4687251"/>
              <a:gd name="connsiteX44857" fmla="*/ 5328709 w 8079933"/>
              <a:gd name="connsiteY44857" fmla="*/ 1006592 h 4687251"/>
              <a:gd name="connsiteX44858" fmla="*/ 5329469 w 8079933"/>
              <a:gd name="connsiteY44858" fmla="*/ 1009299 h 4687251"/>
              <a:gd name="connsiteX44859" fmla="*/ 5323827 w 8079933"/>
              <a:gd name="connsiteY44859" fmla="*/ 1012547 h 4687251"/>
              <a:gd name="connsiteX44860" fmla="*/ 5323827 w 8079933"/>
              <a:gd name="connsiteY44860" fmla="*/ 1022507 h 4687251"/>
              <a:gd name="connsiteX44861" fmla="*/ 5321656 w 8079933"/>
              <a:gd name="connsiteY44861" fmla="*/ 1025539 h 4687251"/>
              <a:gd name="connsiteX44862" fmla="*/ 5315688 w 8079933"/>
              <a:gd name="connsiteY44862" fmla="*/ 1022616 h 4687251"/>
              <a:gd name="connsiteX44863" fmla="*/ 5315688 w 8079933"/>
              <a:gd name="connsiteY44863" fmla="*/ 1025864 h 4687251"/>
              <a:gd name="connsiteX44864" fmla="*/ 5320570 w 8079933"/>
              <a:gd name="connsiteY44864" fmla="*/ 1031278 h 4687251"/>
              <a:gd name="connsiteX44865" fmla="*/ 5320570 w 8079933"/>
              <a:gd name="connsiteY44865" fmla="*/ 1034851 h 4687251"/>
              <a:gd name="connsiteX44866" fmla="*/ 5315470 w 8079933"/>
              <a:gd name="connsiteY44866" fmla="*/ 1037233 h 4687251"/>
              <a:gd name="connsiteX44867" fmla="*/ 5311889 w 8079933"/>
              <a:gd name="connsiteY44867" fmla="*/ 1041888 h 4687251"/>
              <a:gd name="connsiteX44868" fmla="*/ 5302991 w 8079933"/>
              <a:gd name="connsiteY44868" fmla="*/ 1042429 h 4687251"/>
              <a:gd name="connsiteX44869" fmla="*/ 5298433 w 8079933"/>
              <a:gd name="connsiteY44869" fmla="*/ 1038640 h 4687251"/>
              <a:gd name="connsiteX44870" fmla="*/ 5305704 w 8079933"/>
              <a:gd name="connsiteY44870" fmla="*/ 1034634 h 4687251"/>
              <a:gd name="connsiteX44871" fmla="*/ 5305704 w 8079933"/>
              <a:gd name="connsiteY44871" fmla="*/ 1031061 h 4687251"/>
              <a:gd name="connsiteX44872" fmla="*/ 5301363 w 8079933"/>
              <a:gd name="connsiteY44872" fmla="*/ 1031061 h 4687251"/>
              <a:gd name="connsiteX44873" fmla="*/ 5300170 w 8079933"/>
              <a:gd name="connsiteY44873" fmla="*/ 1034092 h 4687251"/>
              <a:gd name="connsiteX44874" fmla="*/ 5296697 w 8079933"/>
              <a:gd name="connsiteY44874" fmla="*/ 1034092 h 4687251"/>
              <a:gd name="connsiteX44875" fmla="*/ 5285845 w 8079933"/>
              <a:gd name="connsiteY44875" fmla="*/ 1027921 h 4687251"/>
              <a:gd name="connsiteX44876" fmla="*/ 5283458 w 8079933"/>
              <a:gd name="connsiteY44876" fmla="*/ 1030953 h 4687251"/>
              <a:gd name="connsiteX44877" fmla="*/ 5269893 w 8079933"/>
              <a:gd name="connsiteY44877" fmla="*/ 1032794 h 4687251"/>
              <a:gd name="connsiteX44878" fmla="*/ 5262840 w 8079933"/>
              <a:gd name="connsiteY44878" fmla="*/ 1033335 h 4687251"/>
              <a:gd name="connsiteX44879" fmla="*/ 5259367 w 8079933"/>
              <a:gd name="connsiteY44879" fmla="*/ 1039614 h 4687251"/>
              <a:gd name="connsiteX44880" fmla="*/ 5262623 w 8079933"/>
              <a:gd name="connsiteY44880" fmla="*/ 1040156 h 4687251"/>
              <a:gd name="connsiteX44881" fmla="*/ 5264250 w 8079933"/>
              <a:gd name="connsiteY44881" fmla="*/ 1041996 h 4687251"/>
              <a:gd name="connsiteX44882" fmla="*/ 5266963 w 8079933"/>
              <a:gd name="connsiteY44882" fmla="*/ 1037449 h 4687251"/>
              <a:gd name="connsiteX44883" fmla="*/ 5274342 w 8079933"/>
              <a:gd name="connsiteY44883" fmla="*/ 1036041 h 4687251"/>
              <a:gd name="connsiteX44884" fmla="*/ 5276513 w 8079933"/>
              <a:gd name="connsiteY44884" fmla="*/ 1040698 h 4687251"/>
              <a:gd name="connsiteX44885" fmla="*/ 5282807 w 8079933"/>
              <a:gd name="connsiteY44885" fmla="*/ 1046652 h 4687251"/>
              <a:gd name="connsiteX44886" fmla="*/ 5300495 w 8079933"/>
              <a:gd name="connsiteY44886" fmla="*/ 1049575 h 4687251"/>
              <a:gd name="connsiteX44887" fmla="*/ 5308091 w 8079933"/>
              <a:gd name="connsiteY44887" fmla="*/ 1051741 h 4687251"/>
              <a:gd name="connsiteX44888" fmla="*/ 5316990 w 8079933"/>
              <a:gd name="connsiteY44888" fmla="*/ 1050333 h 4687251"/>
              <a:gd name="connsiteX44889" fmla="*/ 5325345 w 8079933"/>
              <a:gd name="connsiteY44889" fmla="*/ 1050333 h 4687251"/>
              <a:gd name="connsiteX44890" fmla="*/ 5326973 w 8079933"/>
              <a:gd name="connsiteY44890" fmla="*/ 1052824 h 4687251"/>
              <a:gd name="connsiteX44891" fmla="*/ 5336197 w 8079933"/>
              <a:gd name="connsiteY44891" fmla="*/ 1054772 h 4687251"/>
              <a:gd name="connsiteX44892" fmla="*/ 5343468 w 8079933"/>
              <a:gd name="connsiteY44892" fmla="*/ 1050658 h 4687251"/>
              <a:gd name="connsiteX44893" fmla="*/ 5343468 w 8079933"/>
              <a:gd name="connsiteY44893" fmla="*/ 1046002 h 4687251"/>
              <a:gd name="connsiteX44894" fmla="*/ 5340538 w 8079933"/>
              <a:gd name="connsiteY44894" fmla="*/ 1042537 h 4687251"/>
              <a:gd name="connsiteX44895" fmla="*/ 5340538 w 8079933"/>
              <a:gd name="connsiteY44895" fmla="*/ 1036583 h 4687251"/>
              <a:gd name="connsiteX44896" fmla="*/ 5343576 w 8079933"/>
              <a:gd name="connsiteY44896" fmla="*/ 1032469 h 4687251"/>
              <a:gd name="connsiteX44897" fmla="*/ 5348134 w 8079933"/>
              <a:gd name="connsiteY44897" fmla="*/ 1030303 h 4687251"/>
              <a:gd name="connsiteX44898" fmla="*/ 5348134 w 8079933"/>
              <a:gd name="connsiteY44898" fmla="*/ 1026839 h 4687251"/>
              <a:gd name="connsiteX44899" fmla="*/ 5354863 w 8079933"/>
              <a:gd name="connsiteY44899" fmla="*/ 1020125 h 4687251"/>
              <a:gd name="connsiteX44900" fmla="*/ 5354863 w 8079933"/>
              <a:gd name="connsiteY44900" fmla="*/ 1015795 h 4687251"/>
              <a:gd name="connsiteX44901" fmla="*/ 5358985 w 8079933"/>
              <a:gd name="connsiteY44901" fmla="*/ 1004968 h 4687251"/>
              <a:gd name="connsiteX44902" fmla="*/ 5354863 w 8079933"/>
              <a:gd name="connsiteY44902" fmla="*/ 997931 h 4687251"/>
              <a:gd name="connsiteX44903" fmla="*/ 5356164 w 8079933"/>
              <a:gd name="connsiteY44903" fmla="*/ 990026 h 4687251"/>
              <a:gd name="connsiteX44904" fmla="*/ 5363543 w 8079933"/>
              <a:gd name="connsiteY44904" fmla="*/ 977034 h 4687251"/>
              <a:gd name="connsiteX44905" fmla="*/ 5364303 w 8079933"/>
              <a:gd name="connsiteY44905" fmla="*/ 972703 h 4687251"/>
              <a:gd name="connsiteX44906" fmla="*/ 5357032 w 8079933"/>
              <a:gd name="connsiteY44906" fmla="*/ 955163 h 4687251"/>
              <a:gd name="connsiteX44907" fmla="*/ 5347049 w 8079933"/>
              <a:gd name="connsiteY44907" fmla="*/ 949425 h 4687251"/>
              <a:gd name="connsiteX44908" fmla="*/ 5344119 w 8079933"/>
              <a:gd name="connsiteY44908" fmla="*/ 945311 h 4687251"/>
              <a:gd name="connsiteX44909" fmla="*/ 5343360 w 8079933"/>
              <a:gd name="connsiteY44909" fmla="*/ 931561 h 4687251"/>
              <a:gd name="connsiteX44910" fmla="*/ 5350738 w 8079933"/>
              <a:gd name="connsiteY44910" fmla="*/ 925822 h 4687251"/>
              <a:gd name="connsiteX44911" fmla="*/ 5354536 w 8079933"/>
              <a:gd name="connsiteY44911" fmla="*/ 920192 h 4687251"/>
              <a:gd name="connsiteX44912" fmla="*/ 5360830 w 8079933"/>
              <a:gd name="connsiteY44912" fmla="*/ 919326 h 4687251"/>
              <a:gd name="connsiteX44913" fmla="*/ 5370597 w 8079933"/>
              <a:gd name="connsiteY44913" fmla="*/ 909906 h 4687251"/>
              <a:gd name="connsiteX44914" fmla="*/ 5377108 w 8079933"/>
              <a:gd name="connsiteY44914" fmla="*/ 909906 h 4687251"/>
              <a:gd name="connsiteX44915" fmla="*/ 5384704 w 8079933"/>
              <a:gd name="connsiteY44915" fmla="*/ 917269 h 4687251"/>
              <a:gd name="connsiteX44916" fmla="*/ 5384704 w 8079933"/>
              <a:gd name="connsiteY44916" fmla="*/ 923765 h 4687251"/>
              <a:gd name="connsiteX44917" fmla="*/ 5392517 w 8079933"/>
              <a:gd name="connsiteY44917" fmla="*/ 927554 h 4687251"/>
              <a:gd name="connsiteX44918" fmla="*/ 5394362 w 8079933"/>
              <a:gd name="connsiteY44918" fmla="*/ 930911 h 4687251"/>
              <a:gd name="connsiteX44919" fmla="*/ 5396532 w 8079933"/>
              <a:gd name="connsiteY44919" fmla="*/ 930911 h 4687251"/>
              <a:gd name="connsiteX44920" fmla="*/ 5402501 w 8079933"/>
              <a:gd name="connsiteY44920" fmla="*/ 938273 h 4687251"/>
              <a:gd name="connsiteX44921" fmla="*/ 5401633 w 8079933"/>
              <a:gd name="connsiteY44921" fmla="*/ 944012 h 4687251"/>
              <a:gd name="connsiteX44922" fmla="*/ 5405756 w 8079933"/>
              <a:gd name="connsiteY44922" fmla="*/ 946718 h 4687251"/>
              <a:gd name="connsiteX44923" fmla="*/ 5407058 w 8079933"/>
              <a:gd name="connsiteY44923" fmla="*/ 952132 h 4687251"/>
              <a:gd name="connsiteX44924" fmla="*/ 5411507 w 8079933"/>
              <a:gd name="connsiteY44924" fmla="*/ 957762 h 4687251"/>
              <a:gd name="connsiteX44925" fmla="*/ 5412376 w 8079933"/>
              <a:gd name="connsiteY44925" fmla="*/ 963717 h 4687251"/>
              <a:gd name="connsiteX44926" fmla="*/ 5409989 w 8079933"/>
              <a:gd name="connsiteY44926" fmla="*/ 965882 h 4687251"/>
              <a:gd name="connsiteX44927" fmla="*/ 5413569 w 8079933"/>
              <a:gd name="connsiteY44927" fmla="*/ 971296 h 4687251"/>
              <a:gd name="connsiteX44928" fmla="*/ 5419321 w 8079933"/>
              <a:gd name="connsiteY44928" fmla="*/ 971296 h 4687251"/>
              <a:gd name="connsiteX44929" fmla="*/ 5425614 w 8079933"/>
              <a:gd name="connsiteY44929" fmla="*/ 975843 h 4687251"/>
              <a:gd name="connsiteX44930" fmla="*/ 5432126 w 8079933"/>
              <a:gd name="connsiteY44930" fmla="*/ 974436 h 4687251"/>
              <a:gd name="connsiteX44931" fmla="*/ 5436141 w 8079933"/>
              <a:gd name="connsiteY44931" fmla="*/ 973136 h 4687251"/>
              <a:gd name="connsiteX44932" fmla="*/ 5443411 w 8079933"/>
              <a:gd name="connsiteY44932" fmla="*/ 972378 h 4687251"/>
              <a:gd name="connsiteX44933" fmla="*/ 5445040 w 8079933"/>
              <a:gd name="connsiteY44933" fmla="*/ 969672 h 4687251"/>
              <a:gd name="connsiteX44934" fmla="*/ 5447753 w 8079933"/>
              <a:gd name="connsiteY44934" fmla="*/ 968048 h 4687251"/>
              <a:gd name="connsiteX44935" fmla="*/ 5444496 w 8079933"/>
              <a:gd name="connsiteY44935" fmla="*/ 966748 h 4687251"/>
              <a:gd name="connsiteX44936" fmla="*/ 5439830 w 8079933"/>
              <a:gd name="connsiteY44936" fmla="*/ 968048 h 4687251"/>
              <a:gd name="connsiteX44937" fmla="*/ 5438203 w 8079933"/>
              <a:gd name="connsiteY44937" fmla="*/ 964475 h 4687251"/>
              <a:gd name="connsiteX44938" fmla="*/ 5434622 w 8079933"/>
              <a:gd name="connsiteY44938" fmla="*/ 970646 h 4687251"/>
              <a:gd name="connsiteX44939" fmla="*/ 5427785 w 8079933"/>
              <a:gd name="connsiteY44939" fmla="*/ 970646 h 4687251"/>
              <a:gd name="connsiteX44940" fmla="*/ 5424746 w 8079933"/>
              <a:gd name="connsiteY44940" fmla="*/ 966315 h 4687251"/>
              <a:gd name="connsiteX44941" fmla="*/ 5419321 w 8079933"/>
              <a:gd name="connsiteY44941" fmla="*/ 966315 h 4687251"/>
              <a:gd name="connsiteX44942" fmla="*/ 5416391 w 8079933"/>
              <a:gd name="connsiteY44942" fmla="*/ 961985 h 4687251"/>
              <a:gd name="connsiteX44943" fmla="*/ 5418018 w 8079933"/>
              <a:gd name="connsiteY44943" fmla="*/ 957979 h 4687251"/>
              <a:gd name="connsiteX44944" fmla="*/ 5415089 w 8079933"/>
              <a:gd name="connsiteY44944" fmla="*/ 956138 h 4687251"/>
              <a:gd name="connsiteX44945" fmla="*/ 5411616 w 8079933"/>
              <a:gd name="connsiteY44945" fmla="*/ 949317 h 4687251"/>
              <a:gd name="connsiteX44946" fmla="*/ 5411616 w 8079933"/>
              <a:gd name="connsiteY44946" fmla="*/ 941413 h 4687251"/>
              <a:gd name="connsiteX44947" fmla="*/ 5416282 w 8079933"/>
              <a:gd name="connsiteY44947" fmla="*/ 940114 h 4687251"/>
              <a:gd name="connsiteX44948" fmla="*/ 5420080 w 8079933"/>
              <a:gd name="connsiteY44948" fmla="*/ 936865 h 4687251"/>
              <a:gd name="connsiteX44949" fmla="*/ 5416608 w 8079933"/>
              <a:gd name="connsiteY44949" fmla="*/ 934159 h 4687251"/>
              <a:gd name="connsiteX44950" fmla="*/ 5415523 w 8079933"/>
              <a:gd name="connsiteY44950" fmla="*/ 930369 h 4687251"/>
              <a:gd name="connsiteX44951" fmla="*/ 5414112 w 8079933"/>
              <a:gd name="connsiteY44951" fmla="*/ 929503 h 4687251"/>
              <a:gd name="connsiteX44952" fmla="*/ 5412485 w 8079933"/>
              <a:gd name="connsiteY44952" fmla="*/ 925714 h 4687251"/>
              <a:gd name="connsiteX44953" fmla="*/ 5405214 w 8079933"/>
              <a:gd name="connsiteY44953" fmla="*/ 921600 h 4687251"/>
              <a:gd name="connsiteX44954" fmla="*/ 5405214 w 8079933"/>
              <a:gd name="connsiteY44954" fmla="*/ 917810 h 4687251"/>
              <a:gd name="connsiteX44955" fmla="*/ 5399788 w 8079933"/>
              <a:gd name="connsiteY44955" fmla="*/ 910556 h 4687251"/>
              <a:gd name="connsiteX44956" fmla="*/ 5391649 w 8079933"/>
              <a:gd name="connsiteY44956" fmla="*/ 910556 h 4687251"/>
              <a:gd name="connsiteX44957" fmla="*/ 5380798 w 8079933"/>
              <a:gd name="connsiteY44957" fmla="*/ 905900 h 4687251"/>
              <a:gd name="connsiteX44958" fmla="*/ 5377868 w 8079933"/>
              <a:gd name="connsiteY44958" fmla="*/ 900487 h 4687251"/>
              <a:gd name="connsiteX44959" fmla="*/ 5372767 w 8079933"/>
              <a:gd name="connsiteY44959" fmla="*/ 902328 h 4687251"/>
              <a:gd name="connsiteX44960" fmla="*/ 5364086 w 8079933"/>
              <a:gd name="connsiteY44960" fmla="*/ 897239 h 4687251"/>
              <a:gd name="connsiteX44961" fmla="*/ 5359962 w 8079933"/>
              <a:gd name="connsiteY44961" fmla="*/ 898646 h 4687251"/>
              <a:gd name="connsiteX44962" fmla="*/ 5353994 w 8079933"/>
              <a:gd name="connsiteY44962" fmla="*/ 896806 h 4687251"/>
              <a:gd name="connsiteX44963" fmla="*/ 5348243 w 8079933"/>
              <a:gd name="connsiteY44963" fmla="*/ 902761 h 4687251"/>
              <a:gd name="connsiteX44964" fmla="*/ 5346614 w 8079933"/>
              <a:gd name="connsiteY44964" fmla="*/ 909257 h 4687251"/>
              <a:gd name="connsiteX44965" fmla="*/ 5343360 w 8079933"/>
              <a:gd name="connsiteY44965" fmla="*/ 911963 h 4687251"/>
              <a:gd name="connsiteX44966" fmla="*/ 5334895 w 8079933"/>
              <a:gd name="connsiteY44966" fmla="*/ 909257 h 4687251"/>
              <a:gd name="connsiteX44967" fmla="*/ 5327841 w 8079933"/>
              <a:gd name="connsiteY44967" fmla="*/ 913587 h 4687251"/>
              <a:gd name="connsiteX44968" fmla="*/ 5321114 w 8079933"/>
              <a:gd name="connsiteY44968" fmla="*/ 911639 h 4687251"/>
              <a:gd name="connsiteX44969" fmla="*/ 5318617 w 8079933"/>
              <a:gd name="connsiteY44969" fmla="*/ 908391 h 4687251"/>
              <a:gd name="connsiteX44970" fmla="*/ 5319377 w 8079933"/>
              <a:gd name="connsiteY44970" fmla="*/ 902219 h 4687251"/>
              <a:gd name="connsiteX44971" fmla="*/ 5318617 w 8079933"/>
              <a:gd name="connsiteY44971" fmla="*/ 897130 h 4687251"/>
              <a:gd name="connsiteX44972" fmla="*/ 5309611 w 8079933"/>
              <a:gd name="connsiteY44972" fmla="*/ 887711 h 4687251"/>
              <a:gd name="connsiteX44973" fmla="*/ 5306681 w 8079933"/>
              <a:gd name="connsiteY44973" fmla="*/ 882080 h 4687251"/>
              <a:gd name="connsiteX44974" fmla="*/ 5307549 w 8079933"/>
              <a:gd name="connsiteY44974" fmla="*/ 871254 h 4687251"/>
              <a:gd name="connsiteX44975" fmla="*/ 5302123 w 8079933"/>
              <a:gd name="connsiteY44975" fmla="*/ 862809 h 4687251"/>
              <a:gd name="connsiteX44976" fmla="*/ 5303425 w 8079933"/>
              <a:gd name="connsiteY44976" fmla="*/ 856854 h 4687251"/>
              <a:gd name="connsiteX44977" fmla="*/ 5304836 w 8079933"/>
              <a:gd name="connsiteY44977" fmla="*/ 841371 h 4687251"/>
              <a:gd name="connsiteX44978" fmla="*/ 5300495 w 8079933"/>
              <a:gd name="connsiteY44978" fmla="*/ 831627 h 4687251"/>
              <a:gd name="connsiteX44979" fmla="*/ 5295286 w 8079933"/>
              <a:gd name="connsiteY44979" fmla="*/ 825997 h 4687251"/>
              <a:gd name="connsiteX44980" fmla="*/ 5289101 w 8079933"/>
              <a:gd name="connsiteY44980" fmla="*/ 825997 h 4687251"/>
              <a:gd name="connsiteX44981" fmla="*/ 5286713 w 8079933"/>
              <a:gd name="connsiteY44981" fmla="*/ 819284 h 4687251"/>
              <a:gd name="connsiteX44982" fmla="*/ 5275862 w 8079933"/>
              <a:gd name="connsiteY44982" fmla="*/ 809864 h 4687251"/>
              <a:gd name="connsiteX44983" fmla="*/ 5266855 w 8079933"/>
              <a:gd name="connsiteY44983" fmla="*/ 804776 h 4687251"/>
              <a:gd name="connsiteX44984" fmla="*/ 5266855 w 8079933"/>
              <a:gd name="connsiteY44984" fmla="*/ 798821 h 4687251"/>
              <a:gd name="connsiteX44985" fmla="*/ 5270111 w 8079933"/>
              <a:gd name="connsiteY44985" fmla="*/ 789618 h 4687251"/>
              <a:gd name="connsiteX44986" fmla="*/ 5268700 w 8079933"/>
              <a:gd name="connsiteY44986" fmla="*/ 782256 h 4687251"/>
              <a:gd name="connsiteX44987" fmla="*/ 5265119 w 8079933"/>
              <a:gd name="connsiteY44987" fmla="*/ 778791 h 4687251"/>
              <a:gd name="connsiteX44988" fmla="*/ 5265119 w 8079933"/>
              <a:gd name="connsiteY44988" fmla="*/ 776084 h 4687251"/>
              <a:gd name="connsiteX44989" fmla="*/ 5270219 w 8079933"/>
              <a:gd name="connsiteY44989" fmla="*/ 770995 h 4687251"/>
              <a:gd name="connsiteX44990" fmla="*/ 5278140 w 8079933"/>
              <a:gd name="connsiteY44990" fmla="*/ 761792 h 4687251"/>
              <a:gd name="connsiteX44991" fmla="*/ 5280637 w 8079933"/>
              <a:gd name="connsiteY44991" fmla="*/ 750965 h 4687251"/>
              <a:gd name="connsiteX44992" fmla="*/ 5277598 w 8079933"/>
              <a:gd name="connsiteY44992" fmla="*/ 738189 h 4687251"/>
              <a:gd name="connsiteX44993" fmla="*/ 5267506 w 8079933"/>
              <a:gd name="connsiteY44993" fmla="*/ 718917 h 4687251"/>
              <a:gd name="connsiteX44994" fmla="*/ 5270545 w 8079933"/>
              <a:gd name="connsiteY44994" fmla="*/ 717076 h 4687251"/>
              <a:gd name="connsiteX44995" fmla="*/ 5277381 w 8079933"/>
              <a:gd name="connsiteY44995" fmla="*/ 721949 h 4687251"/>
              <a:gd name="connsiteX44996" fmla="*/ 5278466 w 8079933"/>
              <a:gd name="connsiteY44996" fmla="*/ 728228 h 4687251"/>
              <a:gd name="connsiteX44997" fmla="*/ 5281722 w 8079933"/>
              <a:gd name="connsiteY44997" fmla="*/ 729094 h 4687251"/>
              <a:gd name="connsiteX44998" fmla="*/ 5283892 w 8079933"/>
              <a:gd name="connsiteY44998" fmla="*/ 731584 h 4687251"/>
              <a:gd name="connsiteX44999" fmla="*/ 5283892 w 8079933"/>
              <a:gd name="connsiteY44999" fmla="*/ 739163 h 4687251"/>
              <a:gd name="connsiteX45000" fmla="*/ 5289101 w 8079933"/>
              <a:gd name="connsiteY45000" fmla="*/ 744252 h 4687251"/>
              <a:gd name="connsiteX45001" fmla="*/ 5289101 w 8079933"/>
              <a:gd name="connsiteY45001" fmla="*/ 755079 h 4687251"/>
              <a:gd name="connsiteX45002" fmla="*/ 5292899 w 8079933"/>
              <a:gd name="connsiteY45002" fmla="*/ 761575 h 4687251"/>
              <a:gd name="connsiteX45003" fmla="*/ 5290729 w 8079933"/>
              <a:gd name="connsiteY45003" fmla="*/ 767530 h 4687251"/>
              <a:gd name="connsiteX45004" fmla="*/ 5293550 w 8079933"/>
              <a:gd name="connsiteY45004" fmla="*/ 772728 h 4687251"/>
              <a:gd name="connsiteX45005" fmla="*/ 5300820 w 8079933"/>
              <a:gd name="connsiteY45005" fmla="*/ 779007 h 4687251"/>
              <a:gd name="connsiteX45006" fmla="*/ 5300820 w 8079933"/>
              <a:gd name="connsiteY45006" fmla="*/ 783013 h 4687251"/>
              <a:gd name="connsiteX45007" fmla="*/ 5304945 w 8079933"/>
              <a:gd name="connsiteY45007" fmla="*/ 786478 h 4687251"/>
              <a:gd name="connsiteX45008" fmla="*/ 5304945 w 8079933"/>
              <a:gd name="connsiteY45008" fmla="*/ 789942 h 4687251"/>
              <a:gd name="connsiteX45009" fmla="*/ 5300820 w 8079933"/>
              <a:gd name="connsiteY45009" fmla="*/ 792866 h 4687251"/>
              <a:gd name="connsiteX45010" fmla="*/ 5303208 w 8079933"/>
              <a:gd name="connsiteY45010" fmla="*/ 796656 h 4687251"/>
              <a:gd name="connsiteX45011" fmla="*/ 5308959 w 8079933"/>
              <a:gd name="connsiteY45011" fmla="*/ 795573 h 4687251"/>
              <a:gd name="connsiteX45012" fmla="*/ 5315470 w 8079933"/>
              <a:gd name="connsiteY45012" fmla="*/ 799687 h 4687251"/>
              <a:gd name="connsiteX45013" fmla="*/ 5323935 w 8079933"/>
              <a:gd name="connsiteY45013" fmla="*/ 799687 h 4687251"/>
              <a:gd name="connsiteX45014" fmla="*/ 5328493 w 8079933"/>
              <a:gd name="connsiteY45014" fmla="*/ 797738 h 4687251"/>
              <a:gd name="connsiteX45015" fmla="*/ 5332833 w 8079933"/>
              <a:gd name="connsiteY45015" fmla="*/ 800769 h 4687251"/>
              <a:gd name="connsiteX45016" fmla="*/ 5334461 w 8079933"/>
              <a:gd name="connsiteY45016" fmla="*/ 804559 h 4687251"/>
              <a:gd name="connsiteX45017" fmla="*/ 5338802 w 8079933"/>
              <a:gd name="connsiteY45017" fmla="*/ 799362 h 4687251"/>
              <a:gd name="connsiteX45018" fmla="*/ 5344228 w 8079933"/>
              <a:gd name="connsiteY45018" fmla="*/ 799362 h 4687251"/>
              <a:gd name="connsiteX45019" fmla="*/ 5348785 w 8079933"/>
              <a:gd name="connsiteY45019" fmla="*/ 796980 h 4687251"/>
              <a:gd name="connsiteX45020" fmla="*/ 5352909 w 8079933"/>
              <a:gd name="connsiteY45020" fmla="*/ 798063 h 4687251"/>
              <a:gd name="connsiteX45021" fmla="*/ 5359420 w 8079933"/>
              <a:gd name="connsiteY45021" fmla="*/ 805317 h 4687251"/>
              <a:gd name="connsiteX45022" fmla="*/ 5363978 w 8079933"/>
              <a:gd name="connsiteY45022" fmla="*/ 805858 h 4687251"/>
              <a:gd name="connsiteX45023" fmla="*/ 5370271 w 8079933"/>
              <a:gd name="connsiteY45023" fmla="*/ 809431 h 4687251"/>
              <a:gd name="connsiteX45024" fmla="*/ 5380255 w 8079933"/>
              <a:gd name="connsiteY45024" fmla="*/ 807807 h 4687251"/>
              <a:gd name="connsiteX45025" fmla="*/ 5383728 w 8079933"/>
              <a:gd name="connsiteY45025" fmla="*/ 803260 h 4687251"/>
              <a:gd name="connsiteX45026" fmla="*/ 5379604 w 8079933"/>
              <a:gd name="connsiteY45026" fmla="*/ 806183 h 4687251"/>
              <a:gd name="connsiteX45027" fmla="*/ 5369837 w 8079933"/>
              <a:gd name="connsiteY45027" fmla="*/ 805317 h 4687251"/>
              <a:gd name="connsiteX45028" fmla="*/ 5368535 w 8079933"/>
              <a:gd name="connsiteY45028" fmla="*/ 800662 h 4687251"/>
              <a:gd name="connsiteX45029" fmla="*/ 5365497 w 8079933"/>
              <a:gd name="connsiteY45029" fmla="*/ 799579 h 4687251"/>
              <a:gd name="connsiteX45030" fmla="*/ 5362784 w 8079933"/>
              <a:gd name="connsiteY45030" fmla="*/ 792541 h 4687251"/>
              <a:gd name="connsiteX45031" fmla="*/ 5354645 w 8079933"/>
              <a:gd name="connsiteY45031" fmla="*/ 792541 h 4687251"/>
              <a:gd name="connsiteX45032" fmla="*/ 5353777 w 8079933"/>
              <a:gd name="connsiteY45032" fmla="*/ 788752 h 4687251"/>
              <a:gd name="connsiteX45033" fmla="*/ 5351606 w 8079933"/>
              <a:gd name="connsiteY45033" fmla="*/ 788752 h 4687251"/>
              <a:gd name="connsiteX45034" fmla="*/ 5348676 w 8079933"/>
              <a:gd name="connsiteY45034" fmla="*/ 791999 h 4687251"/>
              <a:gd name="connsiteX45035" fmla="*/ 5336957 w 8079933"/>
              <a:gd name="connsiteY45035" fmla="*/ 791134 h 4687251"/>
              <a:gd name="connsiteX45036" fmla="*/ 5332508 w 8079933"/>
              <a:gd name="connsiteY45036" fmla="*/ 787560 h 4687251"/>
              <a:gd name="connsiteX45037" fmla="*/ 5324586 w 8079933"/>
              <a:gd name="connsiteY45037" fmla="*/ 787560 h 4687251"/>
              <a:gd name="connsiteX45038" fmla="*/ 5316230 w 8079933"/>
              <a:gd name="connsiteY45038" fmla="*/ 780306 h 4687251"/>
              <a:gd name="connsiteX45039" fmla="*/ 5314385 w 8079933"/>
              <a:gd name="connsiteY45039" fmla="*/ 774352 h 4687251"/>
              <a:gd name="connsiteX45040" fmla="*/ 5311456 w 8079933"/>
              <a:gd name="connsiteY45040" fmla="*/ 774352 h 4687251"/>
              <a:gd name="connsiteX45041" fmla="*/ 5304185 w 8079933"/>
              <a:gd name="connsiteY45041" fmla="*/ 763524 h 4687251"/>
              <a:gd name="connsiteX45042" fmla="*/ 5307658 w 8079933"/>
              <a:gd name="connsiteY45042" fmla="*/ 762225 h 4687251"/>
              <a:gd name="connsiteX45043" fmla="*/ 5309828 w 8079933"/>
              <a:gd name="connsiteY45043" fmla="*/ 759518 h 4687251"/>
              <a:gd name="connsiteX45044" fmla="*/ 5316556 w 8079933"/>
              <a:gd name="connsiteY45044" fmla="*/ 754646 h 4687251"/>
              <a:gd name="connsiteX45045" fmla="*/ 5319485 w 8079933"/>
              <a:gd name="connsiteY45045" fmla="*/ 754646 h 4687251"/>
              <a:gd name="connsiteX45046" fmla="*/ 5325996 w 8079933"/>
              <a:gd name="connsiteY45046" fmla="*/ 762225 h 4687251"/>
              <a:gd name="connsiteX45047" fmla="*/ 5336848 w 8079933"/>
              <a:gd name="connsiteY45047" fmla="*/ 766773 h 4687251"/>
              <a:gd name="connsiteX45048" fmla="*/ 5343576 w 8079933"/>
              <a:gd name="connsiteY45048" fmla="*/ 765365 h 4687251"/>
              <a:gd name="connsiteX45049" fmla="*/ 5348785 w 8079933"/>
              <a:gd name="connsiteY45049" fmla="*/ 755838 h 4687251"/>
              <a:gd name="connsiteX45050" fmla="*/ 5344445 w 8079933"/>
              <a:gd name="connsiteY45050" fmla="*/ 747175 h 4687251"/>
              <a:gd name="connsiteX45051" fmla="*/ 5335546 w 8079933"/>
              <a:gd name="connsiteY45051" fmla="*/ 745010 h 4687251"/>
              <a:gd name="connsiteX45052" fmla="*/ 5327624 w 8079933"/>
              <a:gd name="connsiteY45052" fmla="*/ 750099 h 4687251"/>
              <a:gd name="connsiteX45053" fmla="*/ 5324586 w 8079933"/>
              <a:gd name="connsiteY45053" fmla="*/ 746634 h 4687251"/>
              <a:gd name="connsiteX45054" fmla="*/ 5325780 w 8079933"/>
              <a:gd name="connsiteY45054" fmla="*/ 743711 h 4687251"/>
              <a:gd name="connsiteX45055" fmla="*/ 5328167 w 8079933"/>
              <a:gd name="connsiteY45055" fmla="*/ 745335 h 4687251"/>
              <a:gd name="connsiteX45056" fmla="*/ 5330880 w 8079933"/>
              <a:gd name="connsiteY45056" fmla="*/ 743494 h 4687251"/>
              <a:gd name="connsiteX45057" fmla="*/ 5331422 w 8079933"/>
              <a:gd name="connsiteY45057" fmla="*/ 738081 h 4687251"/>
              <a:gd name="connsiteX45058" fmla="*/ 5337174 w 8079933"/>
              <a:gd name="connsiteY45058" fmla="*/ 729094 h 4687251"/>
              <a:gd name="connsiteX45059" fmla="*/ 5342600 w 8079933"/>
              <a:gd name="connsiteY45059" fmla="*/ 725846 h 4687251"/>
              <a:gd name="connsiteX45060" fmla="*/ 5347266 w 8079933"/>
              <a:gd name="connsiteY45060" fmla="*/ 728012 h 4687251"/>
              <a:gd name="connsiteX45061" fmla="*/ 5363869 w 8079933"/>
              <a:gd name="connsiteY45061" fmla="*/ 728012 h 4687251"/>
              <a:gd name="connsiteX45062" fmla="*/ 5369620 w 8079933"/>
              <a:gd name="connsiteY45062" fmla="*/ 734183 h 4687251"/>
              <a:gd name="connsiteX45063" fmla="*/ 5375589 w 8079933"/>
              <a:gd name="connsiteY45063" fmla="*/ 738189 h 4687251"/>
              <a:gd name="connsiteX45064" fmla="*/ 5389479 w 8079933"/>
              <a:gd name="connsiteY45064" fmla="*/ 739813 h 4687251"/>
              <a:gd name="connsiteX45065" fmla="*/ 5390564 w 8079933"/>
              <a:gd name="connsiteY45065" fmla="*/ 744469 h 4687251"/>
              <a:gd name="connsiteX45066" fmla="*/ 5395990 w 8079933"/>
              <a:gd name="connsiteY45066" fmla="*/ 747392 h 4687251"/>
              <a:gd name="connsiteX45067" fmla="*/ 5405973 w 8079933"/>
              <a:gd name="connsiteY45067" fmla="*/ 757461 h 4687251"/>
              <a:gd name="connsiteX45068" fmla="*/ 5412810 w 8079933"/>
              <a:gd name="connsiteY45068" fmla="*/ 757461 h 4687251"/>
              <a:gd name="connsiteX45069" fmla="*/ 5425506 w 8079933"/>
              <a:gd name="connsiteY45069" fmla="*/ 755620 h 4687251"/>
              <a:gd name="connsiteX45070" fmla="*/ 5435598 w 8079933"/>
              <a:gd name="connsiteY45070" fmla="*/ 749449 h 4687251"/>
              <a:gd name="connsiteX45071" fmla="*/ 5439180 w 8079933"/>
              <a:gd name="connsiteY45071" fmla="*/ 753022 h 4687251"/>
              <a:gd name="connsiteX45072" fmla="*/ 5441133 w 8079933"/>
              <a:gd name="connsiteY45072" fmla="*/ 752481 h 4687251"/>
              <a:gd name="connsiteX45073" fmla="*/ 5446776 w 8079933"/>
              <a:gd name="connsiteY45073" fmla="*/ 753022 h 4687251"/>
              <a:gd name="connsiteX45074" fmla="*/ 5445473 w 8079933"/>
              <a:gd name="connsiteY45074" fmla="*/ 761467 h 4687251"/>
              <a:gd name="connsiteX45075" fmla="*/ 5446342 w 8079933"/>
              <a:gd name="connsiteY45075" fmla="*/ 766123 h 4687251"/>
              <a:gd name="connsiteX45076" fmla="*/ 5446342 w 8079933"/>
              <a:gd name="connsiteY45076" fmla="*/ 769696 h 4687251"/>
              <a:gd name="connsiteX45077" fmla="*/ 5439288 w 8079933"/>
              <a:gd name="connsiteY45077" fmla="*/ 773810 h 4687251"/>
              <a:gd name="connsiteX45078" fmla="*/ 5439288 w 8079933"/>
              <a:gd name="connsiteY45078" fmla="*/ 780090 h 4687251"/>
              <a:gd name="connsiteX45079" fmla="*/ 5442327 w 8079933"/>
              <a:gd name="connsiteY45079" fmla="*/ 785503 h 4687251"/>
              <a:gd name="connsiteX45080" fmla="*/ 5442327 w 8079933"/>
              <a:gd name="connsiteY45080" fmla="*/ 793407 h 4687251"/>
              <a:gd name="connsiteX45081" fmla="*/ 5450031 w 8079933"/>
              <a:gd name="connsiteY45081" fmla="*/ 799579 h 4687251"/>
              <a:gd name="connsiteX45082" fmla="*/ 5450573 w 8079933"/>
              <a:gd name="connsiteY45082" fmla="*/ 804992 h 4687251"/>
              <a:gd name="connsiteX45083" fmla="*/ 5447318 w 8079933"/>
              <a:gd name="connsiteY45083" fmla="*/ 809107 h 4687251"/>
              <a:gd name="connsiteX45084" fmla="*/ 5449489 w 8079933"/>
              <a:gd name="connsiteY45084" fmla="*/ 824048 h 4687251"/>
              <a:gd name="connsiteX45085" fmla="*/ 5452528 w 8079933"/>
              <a:gd name="connsiteY45085" fmla="*/ 824048 h 4687251"/>
              <a:gd name="connsiteX45086" fmla="*/ 5453937 w 8079933"/>
              <a:gd name="connsiteY45086" fmla="*/ 819176 h 4687251"/>
              <a:gd name="connsiteX45087" fmla="*/ 5452528 w 8079933"/>
              <a:gd name="connsiteY45087" fmla="*/ 815927 h 4687251"/>
              <a:gd name="connsiteX45088" fmla="*/ 5455457 w 8079933"/>
              <a:gd name="connsiteY45088" fmla="*/ 812354 h 4687251"/>
              <a:gd name="connsiteX45089" fmla="*/ 5454697 w 8079933"/>
              <a:gd name="connsiteY45089" fmla="*/ 806399 h 4687251"/>
              <a:gd name="connsiteX45090" fmla="*/ 5458278 w 8079933"/>
              <a:gd name="connsiteY45090" fmla="*/ 804992 h 4687251"/>
              <a:gd name="connsiteX45091" fmla="*/ 5460991 w 8079933"/>
              <a:gd name="connsiteY45091" fmla="*/ 797413 h 4687251"/>
              <a:gd name="connsiteX45092" fmla="*/ 5464789 w 8079933"/>
              <a:gd name="connsiteY45092" fmla="*/ 800120 h 4687251"/>
              <a:gd name="connsiteX45093" fmla="*/ 5467719 w 8079933"/>
              <a:gd name="connsiteY45093" fmla="*/ 808456 h 4687251"/>
              <a:gd name="connsiteX45094" fmla="*/ 5468479 w 8079933"/>
              <a:gd name="connsiteY45094" fmla="*/ 819284 h 4687251"/>
              <a:gd name="connsiteX45095" fmla="*/ 5469889 w 8079933"/>
              <a:gd name="connsiteY45095" fmla="*/ 822749 h 4687251"/>
              <a:gd name="connsiteX45096" fmla="*/ 5466634 w 8079933"/>
              <a:gd name="connsiteY45096" fmla="*/ 824914 h 4687251"/>
              <a:gd name="connsiteX45097" fmla="*/ 5466634 w 8079933"/>
              <a:gd name="connsiteY45097" fmla="*/ 830544 h 4687251"/>
              <a:gd name="connsiteX45098" fmla="*/ 5464464 w 8079933"/>
              <a:gd name="connsiteY45098" fmla="*/ 832384 h 4687251"/>
              <a:gd name="connsiteX45099" fmla="*/ 5473145 w 8079933"/>
              <a:gd name="connsiteY45099" fmla="*/ 838123 h 4687251"/>
              <a:gd name="connsiteX45100" fmla="*/ 5480741 w 8079933"/>
              <a:gd name="connsiteY45100" fmla="*/ 838123 h 4687251"/>
              <a:gd name="connsiteX45101" fmla="*/ 5488229 w 8079933"/>
              <a:gd name="connsiteY45101" fmla="*/ 839964 h 4687251"/>
              <a:gd name="connsiteX45102" fmla="*/ 5492787 w 8079933"/>
              <a:gd name="connsiteY45102" fmla="*/ 846135 h 4687251"/>
              <a:gd name="connsiteX45103" fmla="*/ 5492787 w 8079933"/>
              <a:gd name="connsiteY45103" fmla="*/ 851224 h 4687251"/>
              <a:gd name="connsiteX45104" fmla="*/ 5497995 w 8079933"/>
              <a:gd name="connsiteY45104" fmla="*/ 855229 h 4687251"/>
              <a:gd name="connsiteX45105" fmla="*/ 5507762 w 8079933"/>
              <a:gd name="connsiteY45105" fmla="*/ 855229 h 4687251"/>
              <a:gd name="connsiteX45106" fmla="*/ 5517420 w 8079933"/>
              <a:gd name="connsiteY45106" fmla="*/ 865190 h 4687251"/>
              <a:gd name="connsiteX45107" fmla="*/ 5516443 w 8079933"/>
              <a:gd name="connsiteY45107" fmla="*/ 861726 h 4687251"/>
              <a:gd name="connsiteX45108" fmla="*/ 5516443 w 8079933"/>
              <a:gd name="connsiteY45108" fmla="*/ 855013 h 4687251"/>
              <a:gd name="connsiteX45109" fmla="*/ 5523714 w 8079933"/>
              <a:gd name="connsiteY45109" fmla="*/ 847434 h 4687251"/>
              <a:gd name="connsiteX45110" fmla="*/ 5528923 w 8079933"/>
              <a:gd name="connsiteY45110" fmla="*/ 847434 h 4687251"/>
              <a:gd name="connsiteX45111" fmla="*/ 5539232 w 8079933"/>
              <a:gd name="connsiteY45111" fmla="*/ 855555 h 4687251"/>
              <a:gd name="connsiteX45112" fmla="*/ 5546502 w 8079933"/>
              <a:gd name="connsiteY45112" fmla="*/ 855555 h 4687251"/>
              <a:gd name="connsiteX45113" fmla="*/ 5550300 w 8079933"/>
              <a:gd name="connsiteY45113" fmla="*/ 860210 h 4687251"/>
              <a:gd name="connsiteX45114" fmla="*/ 5552688 w 8079933"/>
              <a:gd name="connsiteY45114" fmla="*/ 869088 h 4687251"/>
              <a:gd name="connsiteX45115" fmla="*/ 5551602 w 8079933"/>
              <a:gd name="connsiteY45115" fmla="*/ 859561 h 4687251"/>
              <a:gd name="connsiteX45116" fmla="*/ 5548673 w 8079933"/>
              <a:gd name="connsiteY45116" fmla="*/ 853389 h 4687251"/>
              <a:gd name="connsiteX45117" fmla="*/ 5544332 w 8079933"/>
              <a:gd name="connsiteY45117" fmla="*/ 853389 h 4687251"/>
              <a:gd name="connsiteX45118" fmla="*/ 5537822 w 8079933"/>
              <a:gd name="connsiteY45118" fmla="*/ 851007 h 4687251"/>
              <a:gd name="connsiteX45119" fmla="*/ 5528705 w 8079933"/>
              <a:gd name="connsiteY45119" fmla="*/ 845052 h 4687251"/>
              <a:gd name="connsiteX45120" fmla="*/ 5521002 w 8079933"/>
              <a:gd name="connsiteY45120" fmla="*/ 846460 h 4687251"/>
              <a:gd name="connsiteX45121" fmla="*/ 5513188 w 8079933"/>
              <a:gd name="connsiteY45121" fmla="*/ 852631 h 4687251"/>
              <a:gd name="connsiteX45122" fmla="*/ 5509607 w 8079933"/>
              <a:gd name="connsiteY45122" fmla="*/ 851332 h 4687251"/>
              <a:gd name="connsiteX45123" fmla="*/ 5508739 w 8079933"/>
              <a:gd name="connsiteY45123" fmla="*/ 852198 h 4687251"/>
              <a:gd name="connsiteX45124" fmla="*/ 5500492 w 8079933"/>
              <a:gd name="connsiteY45124" fmla="*/ 848733 h 4687251"/>
              <a:gd name="connsiteX45125" fmla="*/ 5491593 w 8079933"/>
              <a:gd name="connsiteY45125" fmla="*/ 839205 h 4687251"/>
              <a:gd name="connsiteX45126" fmla="*/ 5486927 w 8079933"/>
              <a:gd name="connsiteY45126" fmla="*/ 835741 h 4687251"/>
              <a:gd name="connsiteX45127" fmla="*/ 5478788 w 8079933"/>
              <a:gd name="connsiteY45127" fmla="*/ 834983 h 4687251"/>
              <a:gd name="connsiteX45128" fmla="*/ 5474231 w 8079933"/>
              <a:gd name="connsiteY45128" fmla="*/ 827945 h 4687251"/>
              <a:gd name="connsiteX45129" fmla="*/ 5478028 w 8079933"/>
              <a:gd name="connsiteY45129" fmla="*/ 829353 h 4687251"/>
              <a:gd name="connsiteX45130" fmla="*/ 5480959 w 8079933"/>
              <a:gd name="connsiteY45130" fmla="*/ 828811 h 4687251"/>
              <a:gd name="connsiteX45131" fmla="*/ 5486385 w 8079933"/>
              <a:gd name="connsiteY45131" fmla="*/ 817985 h 4687251"/>
              <a:gd name="connsiteX45132" fmla="*/ 5484539 w 8079933"/>
              <a:gd name="connsiteY45132" fmla="*/ 813113 h 4687251"/>
              <a:gd name="connsiteX45133" fmla="*/ 5478028 w 8079933"/>
              <a:gd name="connsiteY45133" fmla="*/ 807374 h 4687251"/>
              <a:gd name="connsiteX45134" fmla="*/ 5475098 w 8079933"/>
              <a:gd name="connsiteY45134" fmla="*/ 796547 h 4687251"/>
              <a:gd name="connsiteX45135" fmla="*/ 5467502 w 8079933"/>
              <a:gd name="connsiteY45135" fmla="*/ 785720 h 4687251"/>
              <a:gd name="connsiteX45136" fmla="*/ 5462836 w 8079933"/>
              <a:gd name="connsiteY45136" fmla="*/ 782472 h 4687251"/>
              <a:gd name="connsiteX45137" fmla="*/ 5457627 w 8079933"/>
              <a:gd name="connsiteY45137" fmla="*/ 775975 h 4687251"/>
              <a:gd name="connsiteX45138" fmla="*/ 5459255 w 8079933"/>
              <a:gd name="connsiteY45138" fmla="*/ 770238 h 4687251"/>
              <a:gd name="connsiteX45139" fmla="*/ 5457627 w 8079933"/>
              <a:gd name="connsiteY45139" fmla="*/ 765148 h 4687251"/>
              <a:gd name="connsiteX45140" fmla="*/ 5458930 w 8079933"/>
              <a:gd name="connsiteY45140" fmla="*/ 752697 h 4687251"/>
              <a:gd name="connsiteX45141" fmla="*/ 5454046 w 8079933"/>
              <a:gd name="connsiteY45141" fmla="*/ 746959 h 4687251"/>
              <a:gd name="connsiteX45142" fmla="*/ 5450791 w 8079933"/>
              <a:gd name="connsiteY45142" fmla="*/ 746959 h 4687251"/>
              <a:gd name="connsiteX45143" fmla="*/ 5442434 w 8079933"/>
              <a:gd name="connsiteY45143" fmla="*/ 741546 h 4687251"/>
              <a:gd name="connsiteX45144" fmla="*/ 5429956 w 8079933"/>
              <a:gd name="connsiteY45144" fmla="*/ 741546 h 4687251"/>
              <a:gd name="connsiteX45145" fmla="*/ 5426157 w 8079933"/>
              <a:gd name="connsiteY45145" fmla="*/ 734833 h 4687251"/>
              <a:gd name="connsiteX45146" fmla="*/ 5418887 w 8079933"/>
              <a:gd name="connsiteY45146" fmla="*/ 731043 h 4687251"/>
              <a:gd name="connsiteX45147" fmla="*/ 5418887 w 8079933"/>
              <a:gd name="connsiteY45147" fmla="*/ 724872 h 4687251"/>
              <a:gd name="connsiteX45148" fmla="*/ 5416716 w 8079933"/>
              <a:gd name="connsiteY45148" fmla="*/ 720866 h 4687251"/>
              <a:gd name="connsiteX45149" fmla="*/ 5416716 w 8079933"/>
              <a:gd name="connsiteY45149" fmla="*/ 717293 h 4687251"/>
              <a:gd name="connsiteX45150" fmla="*/ 5410965 w 8079933"/>
              <a:gd name="connsiteY45150" fmla="*/ 720866 h 4687251"/>
              <a:gd name="connsiteX45151" fmla="*/ 5394470 w 8079933"/>
              <a:gd name="connsiteY45151" fmla="*/ 720108 h 4687251"/>
              <a:gd name="connsiteX45152" fmla="*/ 5388827 w 8079933"/>
              <a:gd name="connsiteY45152" fmla="*/ 720649 h 4687251"/>
              <a:gd name="connsiteX45153" fmla="*/ 5381992 w 8079933"/>
              <a:gd name="connsiteY45153" fmla="*/ 716102 h 4687251"/>
              <a:gd name="connsiteX45154" fmla="*/ 5381123 w 8079933"/>
              <a:gd name="connsiteY45154" fmla="*/ 709606 h 4687251"/>
              <a:gd name="connsiteX45155" fmla="*/ 5378953 w 8079933"/>
              <a:gd name="connsiteY45155" fmla="*/ 709606 h 4687251"/>
              <a:gd name="connsiteX45156" fmla="*/ 5376999 w 8079933"/>
              <a:gd name="connsiteY45156" fmla="*/ 705600 h 4687251"/>
              <a:gd name="connsiteX45157" fmla="*/ 5376999 w 8079933"/>
              <a:gd name="connsiteY45157" fmla="*/ 697155 h 4687251"/>
              <a:gd name="connsiteX45158" fmla="*/ 5370814 w 8079933"/>
              <a:gd name="connsiteY45158" fmla="*/ 686327 h 4687251"/>
              <a:gd name="connsiteX45159" fmla="*/ 5362349 w 8079933"/>
              <a:gd name="connsiteY45159" fmla="*/ 681239 h 4687251"/>
              <a:gd name="connsiteX45160" fmla="*/ 5364195 w 8079933"/>
              <a:gd name="connsiteY45160" fmla="*/ 677666 h 4687251"/>
              <a:gd name="connsiteX45161" fmla="*/ 5363109 w 8079933"/>
              <a:gd name="connsiteY45161" fmla="*/ 674743 h 4687251"/>
              <a:gd name="connsiteX45162" fmla="*/ 5359312 w 8079933"/>
              <a:gd name="connsiteY45162" fmla="*/ 674743 h 4687251"/>
              <a:gd name="connsiteX45163" fmla="*/ 5356381 w 8079933"/>
              <a:gd name="connsiteY45163" fmla="*/ 671711 h 4687251"/>
              <a:gd name="connsiteX45164" fmla="*/ 5357792 w 8079933"/>
              <a:gd name="connsiteY45164" fmla="*/ 666839 h 4687251"/>
              <a:gd name="connsiteX45165" fmla="*/ 5357792 w 8079933"/>
              <a:gd name="connsiteY45165" fmla="*/ 661642 h 4687251"/>
              <a:gd name="connsiteX45166" fmla="*/ 5352150 w 8079933"/>
              <a:gd name="connsiteY45166" fmla="*/ 657311 h 4687251"/>
              <a:gd name="connsiteX45167" fmla="*/ 5355730 w 8079933"/>
              <a:gd name="connsiteY45167" fmla="*/ 654388 h 4687251"/>
              <a:gd name="connsiteX45168" fmla="*/ 5362458 w 8079933"/>
              <a:gd name="connsiteY45168" fmla="*/ 654388 h 4687251"/>
              <a:gd name="connsiteX45169" fmla="*/ 5368427 w 8079933"/>
              <a:gd name="connsiteY45169" fmla="*/ 648433 h 4687251"/>
              <a:gd name="connsiteX45170" fmla="*/ 5374178 w 8079933"/>
              <a:gd name="connsiteY45170" fmla="*/ 648433 h 4687251"/>
              <a:gd name="connsiteX45171" fmla="*/ 5387200 w 8079933"/>
              <a:gd name="connsiteY45171" fmla="*/ 645509 h 4687251"/>
              <a:gd name="connsiteX45172" fmla="*/ 5405431 w 8079933"/>
              <a:gd name="connsiteY45172" fmla="*/ 638797 h 4687251"/>
              <a:gd name="connsiteX45173" fmla="*/ 5412267 w 8079933"/>
              <a:gd name="connsiteY45173" fmla="*/ 632842 h 4687251"/>
              <a:gd name="connsiteX45174" fmla="*/ 5418018 w 8079933"/>
              <a:gd name="connsiteY45174" fmla="*/ 631543 h 4687251"/>
              <a:gd name="connsiteX45175" fmla="*/ 5422685 w 8079933"/>
              <a:gd name="connsiteY45175" fmla="*/ 633383 h 4687251"/>
              <a:gd name="connsiteX45176" fmla="*/ 5428436 w 8079933"/>
              <a:gd name="connsiteY45176" fmla="*/ 631001 h 4687251"/>
              <a:gd name="connsiteX45177" fmla="*/ 5430932 w 8079933"/>
              <a:gd name="connsiteY45177" fmla="*/ 625263 h 4687251"/>
              <a:gd name="connsiteX45178" fmla="*/ 5439614 w 8079933"/>
              <a:gd name="connsiteY45178" fmla="*/ 622015 h 4687251"/>
              <a:gd name="connsiteX45179" fmla="*/ 5456217 w 8079933"/>
              <a:gd name="connsiteY45179" fmla="*/ 614977 h 4687251"/>
              <a:gd name="connsiteX45180" fmla="*/ 5457844 w 8079933"/>
              <a:gd name="connsiteY45180" fmla="*/ 616926 h 4687251"/>
              <a:gd name="connsiteX45181" fmla="*/ 5455132 w 8079933"/>
              <a:gd name="connsiteY45181" fmla="*/ 622015 h 4687251"/>
              <a:gd name="connsiteX45182" fmla="*/ 5455132 w 8079933"/>
              <a:gd name="connsiteY45182" fmla="*/ 625587 h 4687251"/>
              <a:gd name="connsiteX45183" fmla="*/ 5451551 w 8079933"/>
              <a:gd name="connsiteY45183" fmla="*/ 628078 h 4687251"/>
              <a:gd name="connsiteX45184" fmla="*/ 5446993 w 8079933"/>
              <a:gd name="connsiteY45184" fmla="*/ 637823 h 4687251"/>
              <a:gd name="connsiteX45185" fmla="*/ 5446993 w 8079933"/>
              <a:gd name="connsiteY45185" fmla="*/ 643019 h 4687251"/>
              <a:gd name="connsiteX45186" fmla="*/ 5456976 w 8079933"/>
              <a:gd name="connsiteY45186" fmla="*/ 650923 h 4687251"/>
              <a:gd name="connsiteX45187" fmla="*/ 5465875 w 8079933"/>
              <a:gd name="connsiteY45187" fmla="*/ 650923 h 4687251"/>
              <a:gd name="connsiteX45188" fmla="*/ 5460666 w 8079933"/>
              <a:gd name="connsiteY45188" fmla="*/ 648541 h 4687251"/>
              <a:gd name="connsiteX45189" fmla="*/ 5452310 w 8079933"/>
              <a:gd name="connsiteY45189" fmla="*/ 640205 h 4687251"/>
              <a:gd name="connsiteX45190" fmla="*/ 5452310 w 8079933"/>
              <a:gd name="connsiteY45190" fmla="*/ 636956 h 4687251"/>
              <a:gd name="connsiteX45191" fmla="*/ 5456108 w 8079933"/>
              <a:gd name="connsiteY45191" fmla="*/ 631759 h 4687251"/>
              <a:gd name="connsiteX45192" fmla="*/ 5465657 w 8079933"/>
              <a:gd name="connsiteY45192" fmla="*/ 626021 h 4687251"/>
              <a:gd name="connsiteX45193" fmla="*/ 5469130 w 8079933"/>
              <a:gd name="connsiteY45193" fmla="*/ 617360 h 4687251"/>
              <a:gd name="connsiteX45194" fmla="*/ 5465657 w 8079933"/>
              <a:gd name="connsiteY45194" fmla="*/ 610538 h 4687251"/>
              <a:gd name="connsiteX45195" fmla="*/ 5459907 w 8079933"/>
              <a:gd name="connsiteY45195" fmla="*/ 610538 h 4687251"/>
              <a:gd name="connsiteX45196" fmla="*/ 5453070 w 8079933"/>
              <a:gd name="connsiteY45196" fmla="*/ 605883 h 4687251"/>
              <a:gd name="connsiteX45197" fmla="*/ 5454481 w 8079933"/>
              <a:gd name="connsiteY45197" fmla="*/ 601768 h 4687251"/>
              <a:gd name="connsiteX45198" fmla="*/ 5447101 w 8079933"/>
              <a:gd name="connsiteY45198" fmla="*/ 601768 h 4687251"/>
              <a:gd name="connsiteX45199" fmla="*/ 5444714 w 8079933"/>
              <a:gd name="connsiteY45199" fmla="*/ 604692 h 4687251"/>
              <a:gd name="connsiteX45200" fmla="*/ 5441784 w 8079933"/>
              <a:gd name="connsiteY45200" fmla="*/ 602310 h 4687251"/>
              <a:gd name="connsiteX45201" fmla="*/ 5439397 w 8079933"/>
              <a:gd name="connsiteY45201" fmla="*/ 595814 h 4687251"/>
              <a:gd name="connsiteX45202" fmla="*/ 5431475 w 8079933"/>
              <a:gd name="connsiteY45202" fmla="*/ 595814 h 4687251"/>
              <a:gd name="connsiteX45203" fmla="*/ 5427676 w 8079933"/>
              <a:gd name="connsiteY45203" fmla="*/ 597438 h 4687251"/>
              <a:gd name="connsiteX45204" fmla="*/ 5422034 w 8079933"/>
              <a:gd name="connsiteY45204" fmla="*/ 590725 h 4687251"/>
              <a:gd name="connsiteX45205" fmla="*/ 5424421 w 8079933"/>
              <a:gd name="connsiteY45205" fmla="*/ 589101 h 4687251"/>
              <a:gd name="connsiteX45206" fmla="*/ 5425181 w 8079933"/>
              <a:gd name="connsiteY45206" fmla="*/ 585311 h 4687251"/>
              <a:gd name="connsiteX45207" fmla="*/ 5427894 w 8079933"/>
              <a:gd name="connsiteY45207" fmla="*/ 583904 h 4687251"/>
              <a:gd name="connsiteX45208" fmla="*/ 5432451 w 8079933"/>
              <a:gd name="connsiteY45208" fmla="*/ 588018 h 4687251"/>
              <a:gd name="connsiteX45209" fmla="*/ 5438203 w 8079933"/>
              <a:gd name="connsiteY45209" fmla="*/ 588018 h 4687251"/>
              <a:gd name="connsiteX45210" fmla="*/ 5443086 w 8079933"/>
              <a:gd name="connsiteY45210" fmla="*/ 585528 h 4687251"/>
              <a:gd name="connsiteX45211" fmla="*/ 5441241 w 8079933"/>
              <a:gd name="connsiteY45211" fmla="*/ 582604 h 4687251"/>
              <a:gd name="connsiteX45212" fmla="*/ 5438745 w 8079933"/>
              <a:gd name="connsiteY45212" fmla="*/ 583904 h 4687251"/>
              <a:gd name="connsiteX45213" fmla="*/ 5434188 w 8079933"/>
              <a:gd name="connsiteY45213" fmla="*/ 585203 h 4687251"/>
              <a:gd name="connsiteX45214" fmla="*/ 5429521 w 8079933"/>
              <a:gd name="connsiteY45214" fmla="*/ 581630 h 4687251"/>
              <a:gd name="connsiteX45215" fmla="*/ 5428653 w 8079933"/>
              <a:gd name="connsiteY45215" fmla="*/ 577083 h 4687251"/>
              <a:gd name="connsiteX45216" fmla="*/ 5423228 w 8079933"/>
              <a:gd name="connsiteY45216" fmla="*/ 576324 h 4687251"/>
              <a:gd name="connsiteX45217" fmla="*/ 5415632 w 8079933"/>
              <a:gd name="connsiteY45217" fmla="*/ 573943 h 4687251"/>
              <a:gd name="connsiteX45218" fmla="*/ 5410965 w 8079933"/>
              <a:gd name="connsiteY45218" fmla="*/ 576108 h 4687251"/>
              <a:gd name="connsiteX45219" fmla="*/ 5407926 w 8079933"/>
              <a:gd name="connsiteY45219" fmla="*/ 571236 h 4687251"/>
              <a:gd name="connsiteX45220" fmla="*/ 5410639 w 8079933"/>
              <a:gd name="connsiteY45220" fmla="*/ 568204 h 4687251"/>
              <a:gd name="connsiteX45221" fmla="*/ 5410639 w 8079933"/>
              <a:gd name="connsiteY45221" fmla="*/ 563873 h 4687251"/>
              <a:gd name="connsiteX45222" fmla="*/ 5407601 w 8079933"/>
              <a:gd name="connsiteY45222" fmla="*/ 560951 h 4687251"/>
              <a:gd name="connsiteX45223" fmla="*/ 5408686 w 8079933"/>
              <a:gd name="connsiteY45223" fmla="*/ 559110 h 4687251"/>
              <a:gd name="connsiteX45224" fmla="*/ 5412159 w 8079933"/>
              <a:gd name="connsiteY45224" fmla="*/ 559867 h 4687251"/>
              <a:gd name="connsiteX45225" fmla="*/ 5417259 w 8079933"/>
              <a:gd name="connsiteY45225" fmla="*/ 566905 h 4687251"/>
              <a:gd name="connsiteX45226" fmla="*/ 5421600 w 8079933"/>
              <a:gd name="connsiteY45226" fmla="*/ 565606 h 4687251"/>
              <a:gd name="connsiteX45227" fmla="*/ 5426808 w 8079933"/>
              <a:gd name="connsiteY45227" fmla="*/ 572969 h 4687251"/>
              <a:gd name="connsiteX45228" fmla="*/ 5427568 w 8079933"/>
              <a:gd name="connsiteY45228" fmla="*/ 568421 h 4687251"/>
              <a:gd name="connsiteX45229" fmla="*/ 5426700 w 8079933"/>
              <a:gd name="connsiteY45229" fmla="*/ 564957 h 4687251"/>
              <a:gd name="connsiteX45230" fmla="*/ 5431040 w 8079933"/>
              <a:gd name="connsiteY45230" fmla="*/ 561925 h 4687251"/>
              <a:gd name="connsiteX45231" fmla="*/ 5431909 w 8079933"/>
              <a:gd name="connsiteY45231" fmla="*/ 552397 h 4687251"/>
              <a:gd name="connsiteX45232" fmla="*/ 5428327 w 8079933"/>
              <a:gd name="connsiteY45232" fmla="*/ 549474 h 4687251"/>
              <a:gd name="connsiteX45233" fmla="*/ 5429413 w 8079933"/>
              <a:gd name="connsiteY45233" fmla="*/ 547633 h 4687251"/>
              <a:gd name="connsiteX45234" fmla="*/ 5434296 w 8079933"/>
              <a:gd name="connsiteY45234" fmla="*/ 548500 h 4687251"/>
              <a:gd name="connsiteX45235" fmla="*/ 5436792 w 8079933"/>
              <a:gd name="connsiteY45235" fmla="*/ 544926 h 4687251"/>
              <a:gd name="connsiteX45236" fmla="*/ 5425940 w 8079933"/>
              <a:gd name="connsiteY45236" fmla="*/ 542220 h 4687251"/>
              <a:gd name="connsiteX45237" fmla="*/ 5423553 w 8079933"/>
              <a:gd name="connsiteY45237" fmla="*/ 545468 h 4687251"/>
              <a:gd name="connsiteX45238" fmla="*/ 5419972 w 8079933"/>
              <a:gd name="connsiteY45238" fmla="*/ 545468 h 4687251"/>
              <a:gd name="connsiteX45239" fmla="*/ 5419972 w 8079933"/>
              <a:gd name="connsiteY45239" fmla="*/ 540812 h 4687251"/>
              <a:gd name="connsiteX45240" fmla="*/ 5424530 w 8079933"/>
              <a:gd name="connsiteY45240" fmla="*/ 537023 h 4687251"/>
              <a:gd name="connsiteX45241" fmla="*/ 5432669 w 8079933"/>
              <a:gd name="connsiteY45241" fmla="*/ 537023 h 4687251"/>
              <a:gd name="connsiteX45242" fmla="*/ 5438637 w 8079933"/>
              <a:gd name="connsiteY45242" fmla="*/ 535074 h 4687251"/>
              <a:gd name="connsiteX45243" fmla="*/ 5437877 w 8079933"/>
              <a:gd name="connsiteY45243" fmla="*/ 530743 h 4687251"/>
              <a:gd name="connsiteX45244" fmla="*/ 5442543 w 8079933"/>
              <a:gd name="connsiteY45244" fmla="*/ 525546 h 4687251"/>
              <a:gd name="connsiteX45245" fmla="*/ 5442543 w 8079933"/>
              <a:gd name="connsiteY45245" fmla="*/ 520998 h 4687251"/>
              <a:gd name="connsiteX45246" fmla="*/ 5444171 w 8079933"/>
              <a:gd name="connsiteY45246" fmla="*/ 519158 h 4687251"/>
              <a:gd name="connsiteX45247" fmla="*/ 5443411 w 8079933"/>
              <a:gd name="connsiteY45247" fmla="*/ 516776 h 4687251"/>
              <a:gd name="connsiteX45248" fmla="*/ 5447969 w 8079933"/>
              <a:gd name="connsiteY45248" fmla="*/ 510280 h 4687251"/>
              <a:gd name="connsiteX45249" fmla="*/ 5449815 w 8079933"/>
              <a:gd name="connsiteY45249" fmla="*/ 510280 h 4687251"/>
              <a:gd name="connsiteX45250" fmla="*/ 5451984 w 8079933"/>
              <a:gd name="connsiteY45250" fmla="*/ 513528 h 4687251"/>
              <a:gd name="connsiteX45251" fmla="*/ 5454481 w 8079933"/>
              <a:gd name="connsiteY45251" fmla="*/ 512229 h 4687251"/>
              <a:gd name="connsiteX45252" fmla="*/ 5455891 w 8079933"/>
              <a:gd name="connsiteY45252" fmla="*/ 507898 h 4687251"/>
              <a:gd name="connsiteX45253" fmla="*/ 5457844 w 8079933"/>
              <a:gd name="connsiteY45253" fmla="*/ 507898 h 4687251"/>
              <a:gd name="connsiteX45254" fmla="*/ 5454914 w 8079933"/>
              <a:gd name="connsiteY45254" fmla="*/ 503784 h 4687251"/>
              <a:gd name="connsiteX45255" fmla="*/ 5456759 w 8079933"/>
              <a:gd name="connsiteY45255" fmla="*/ 501077 h 4687251"/>
              <a:gd name="connsiteX45256" fmla="*/ 5462944 w 8079933"/>
              <a:gd name="connsiteY45256" fmla="*/ 499127 h 4687251"/>
              <a:gd name="connsiteX45257" fmla="*/ 5465657 w 8079933"/>
              <a:gd name="connsiteY45257" fmla="*/ 497829 h 4687251"/>
              <a:gd name="connsiteX45258" fmla="*/ 5466959 w 8079933"/>
              <a:gd name="connsiteY45258" fmla="*/ 493498 h 4687251"/>
              <a:gd name="connsiteX45259" fmla="*/ 5469456 w 8079933"/>
              <a:gd name="connsiteY45259" fmla="*/ 492956 h 4687251"/>
              <a:gd name="connsiteX45260" fmla="*/ 5473796 w 8079933"/>
              <a:gd name="connsiteY45260" fmla="*/ 494797 h 4687251"/>
              <a:gd name="connsiteX45261" fmla="*/ 5481935 w 8079933"/>
              <a:gd name="connsiteY45261" fmla="*/ 492956 h 4687251"/>
              <a:gd name="connsiteX45262" fmla="*/ 5480090 w 8079933"/>
              <a:gd name="connsiteY45262" fmla="*/ 490033 h 4687251"/>
              <a:gd name="connsiteX45263" fmla="*/ 5480850 w 8079933"/>
              <a:gd name="connsiteY45263" fmla="*/ 486244 h 4687251"/>
              <a:gd name="connsiteX45264" fmla="*/ 5491702 w 8079933"/>
              <a:gd name="connsiteY45264" fmla="*/ 484620 h 4687251"/>
              <a:gd name="connsiteX45265" fmla="*/ 5497561 w 8079933"/>
              <a:gd name="connsiteY45265" fmla="*/ 481155 h 4687251"/>
              <a:gd name="connsiteX45266" fmla="*/ 5499949 w 8079933"/>
              <a:gd name="connsiteY45266" fmla="*/ 476066 h 4687251"/>
              <a:gd name="connsiteX45267" fmla="*/ 5513296 w 8079933"/>
              <a:gd name="connsiteY45267" fmla="*/ 470436 h 4687251"/>
              <a:gd name="connsiteX45268" fmla="*/ 5514381 w 8079933"/>
              <a:gd name="connsiteY45268" fmla="*/ 465781 h 4687251"/>
              <a:gd name="connsiteX45269" fmla="*/ 5511452 w 8079933"/>
              <a:gd name="connsiteY45269" fmla="*/ 465023 h 4687251"/>
              <a:gd name="connsiteX45270" fmla="*/ 5503313 w 8079933"/>
              <a:gd name="connsiteY45270" fmla="*/ 470111 h 4687251"/>
              <a:gd name="connsiteX45271" fmla="*/ 5500600 w 8079933"/>
              <a:gd name="connsiteY45271" fmla="*/ 467405 h 4687251"/>
              <a:gd name="connsiteX45272" fmla="*/ 5495174 w 8079933"/>
              <a:gd name="connsiteY45272" fmla="*/ 472818 h 4687251"/>
              <a:gd name="connsiteX45273" fmla="*/ 5492244 w 8079933"/>
              <a:gd name="connsiteY45273" fmla="*/ 469895 h 4687251"/>
              <a:gd name="connsiteX45274" fmla="*/ 5492244 w 8079933"/>
              <a:gd name="connsiteY45274" fmla="*/ 459068 h 4687251"/>
              <a:gd name="connsiteX45275" fmla="*/ 5494957 w 8079933"/>
              <a:gd name="connsiteY45275" fmla="*/ 457227 h 4687251"/>
              <a:gd name="connsiteX45276" fmla="*/ 5496910 w 8079933"/>
              <a:gd name="connsiteY45276" fmla="*/ 452896 h 4687251"/>
              <a:gd name="connsiteX45277" fmla="*/ 5498755 w 8079933"/>
              <a:gd name="connsiteY45277" fmla="*/ 453654 h 4687251"/>
              <a:gd name="connsiteX45278" fmla="*/ 5499515 w 8079933"/>
              <a:gd name="connsiteY45278" fmla="*/ 456036 h 4687251"/>
              <a:gd name="connsiteX45279" fmla="*/ 5501143 w 8079933"/>
              <a:gd name="connsiteY45279" fmla="*/ 456902 h 4687251"/>
              <a:gd name="connsiteX45280" fmla="*/ 5504723 w 8079933"/>
              <a:gd name="connsiteY45280" fmla="*/ 453330 h 4687251"/>
              <a:gd name="connsiteX45281" fmla="*/ 5499298 w 8079933"/>
              <a:gd name="connsiteY45281" fmla="*/ 448241 h 4687251"/>
              <a:gd name="connsiteX45282" fmla="*/ 5505482 w 8079933"/>
              <a:gd name="connsiteY45282" fmla="*/ 447375 h 4687251"/>
              <a:gd name="connsiteX45283" fmla="*/ 5509607 w 8079933"/>
              <a:gd name="connsiteY45283" fmla="*/ 450081 h 4687251"/>
              <a:gd name="connsiteX45284" fmla="*/ 5513730 w 8079933"/>
              <a:gd name="connsiteY45284" fmla="*/ 450948 h 4687251"/>
              <a:gd name="connsiteX45285" fmla="*/ 5520566 w 8079933"/>
              <a:gd name="connsiteY45285" fmla="*/ 445859 h 4687251"/>
              <a:gd name="connsiteX45286" fmla="*/ 5525233 w 8079933"/>
              <a:gd name="connsiteY45286" fmla="*/ 447483 h 4687251"/>
              <a:gd name="connsiteX45287" fmla="*/ 5537930 w 8079933"/>
              <a:gd name="connsiteY45287" fmla="*/ 442935 h 4687251"/>
              <a:gd name="connsiteX45288" fmla="*/ 5543138 w 8079933"/>
              <a:gd name="connsiteY45288" fmla="*/ 443801 h 4687251"/>
              <a:gd name="connsiteX45289" fmla="*/ 5545092 w 8079933"/>
              <a:gd name="connsiteY45289" fmla="*/ 447591 h 4687251"/>
              <a:gd name="connsiteX45290" fmla="*/ 5540208 w 8079933"/>
              <a:gd name="connsiteY45290" fmla="*/ 458418 h 4687251"/>
              <a:gd name="connsiteX45291" fmla="*/ 5540208 w 8079933"/>
              <a:gd name="connsiteY45291" fmla="*/ 461342 h 4687251"/>
              <a:gd name="connsiteX45292" fmla="*/ 5545309 w 8079933"/>
              <a:gd name="connsiteY45292" fmla="*/ 464915 h 4687251"/>
              <a:gd name="connsiteX45293" fmla="*/ 5547154 w 8079933"/>
              <a:gd name="connsiteY45293" fmla="*/ 458093 h 4687251"/>
              <a:gd name="connsiteX45294" fmla="*/ 5551494 w 8079933"/>
              <a:gd name="connsiteY45294" fmla="*/ 450839 h 4687251"/>
              <a:gd name="connsiteX45295" fmla="*/ 5550409 w 8079933"/>
              <a:gd name="connsiteY45295" fmla="*/ 446291 h 4687251"/>
              <a:gd name="connsiteX45296" fmla="*/ 5551494 w 8079933"/>
              <a:gd name="connsiteY45296" fmla="*/ 444343 h 4687251"/>
              <a:gd name="connsiteX45297" fmla="*/ 5555292 w 8079933"/>
              <a:gd name="connsiteY45297" fmla="*/ 448891 h 4687251"/>
              <a:gd name="connsiteX45298" fmla="*/ 5556160 w 8079933"/>
              <a:gd name="connsiteY45298" fmla="*/ 456252 h 4687251"/>
              <a:gd name="connsiteX45299" fmla="*/ 5560176 w 8079933"/>
              <a:gd name="connsiteY45299" fmla="*/ 456252 h 4687251"/>
              <a:gd name="connsiteX45300" fmla="*/ 5562020 w 8079933"/>
              <a:gd name="connsiteY45300" fmla="*/ 451056 h 4687251"/>
              <a:gd name="connsiteX45301" fmla="*/ 5560176 w 8079933"/>
              <a:gd name="connsiteY45301" fmla="*/ 445967 h 4687251"/>
              <a:gd name="connsiteX45302" fmla="*/ 5563648 w 8079933"/>
              <a:gd name="connsiteY45302" fmla="*/ 443260 h 4687251"/>
              <a:gd name="connsiteX45303" fmla="*/ 5565601 w 8079933"/>
              <a:gd name="connsiteY45303" fmla="*/ 443260 h 4687251"/>
              <a:gd name="connsiteX45304" fmla="*/ 5566470 w 8079933"/>
              <a:gd name="connsiteY45304" fmla="*/ 448349 h 4687251"/>
              <a:gd name="connsiteX45305" fmla="*/ 5573523 w 8079933"/>
              <a:gd name="connsiteY45305" fmla="*/ 443152 h 4687251"/>
              <a:gd name="connsiteX45306" fmla="*/ 5574392 w 8079933"/>
              <a:gd name="connsiteY45306" fmla="*/ 440228 h 4687251"/>
              <a:gd name="connsiteX45307" fmla="*/ 5571136 w 8079933"/>
              <a:gd name="connsiteY45307" fmla="*/ 436222 h 4687251"/>
              <a:gd name="connsiteX45308" fmla="*/ 5576345 w 8079933"/>
              <a:gd name="connsiteY45308" fmla="*/ 436222 h 4687251"/>
              <a:gd name="connsiteX45309" fmla="*/ 5579058 w 8079933"/>
              <a:gd name="connsiteY45309" fmla="*/ 433300 h 4687251"/>
              <a:gd name="connsiteX45310" fmla="*/ 5573956 w 8079933"/>
              <a:gd name="connsiteY45310" fmla="*/ 431459 h 4687251"/>
              <a:gd name="connsiteX45311" fmla="*/ 5579382 w 8079933"/>
              <a:gd name="connsiteY45311" fmla="*/ 426261 h 4687251"/>
              <a:gd name="connsiteX45312" fmla="*/ 5585568 w 8079933"/>
              <a:gd name="connsiteY45312" fmla="*/ 426261 h 4687251"/>
              <a:gd name="connsiteX45313" fmla="*/ 5590017 w 8079933"/>
              <a:gd name="connsiteY45313" fmla="*/ 423555 h 4687251"/>
              <a:gd name="connsiteX45314" fmla="*/ 5592730 w 8079933"/>
              <a:gd name="connsiteY45314" fmla="*/ 424638 h 4687251"/>
              <a:gd name="connsiteX45315" fmla="*/ 5592730 w 8079933"/>
              <a:gd name="connsiteY45315" fmla="*/ 427669 h 4687251"/>
              <a:gd name="connsiteX45316" fmla="*/ 5594575 w 8079933"/>
              <a:gd name="connsiteY45316" fmla="*/ 428968 h 4687251"/>
              <a:gd name="connsiteX45317" fmla="*/ 5601954 w 8079933"/>
              <a:gd name="connsiteY45317" fmla="*/ 429510 h 4687251"/>
              <a:gd name="connsiteX45318" fmla="*/ 5601954 w 8079933"/>
              <a:gd name="connsiteY45318" fmla="*/ 436222 h 4687251"/>
              <a:gd name="connsiteX45319" fmla="*/ 5604667 w 8079933"/>
              <a:gd name="connsiteY45319" fmla="*/ 439146 h 4687251"/>
              <a:gd name="connsiteX45320" fmla="*/ 5600652 w 8079933"/>
              <a:gd name="connsiteY45320" fmla="*/ 449973 h 4687251"/>
              <a:gd name="connsiteX45321" fmla="*/ 5607380 w 8079933"/>
              <a:gd name="connsiteY45321" fmla="*/ 446725 h 4687251"/>
              <a:gd name="connsiteX45322" fmla="*/ 5612046 w 8079933"/>
              <a:gd name="connsiteY45322" fmla="*/ 436764 h 4687251"/>
              <a:gd name="connsiteX45323" fmla="*/ 5606620 w 8079933"/>
              <a:gd name="connsiteY45323" fmla="*/ 427020 h 4687251"/>
              <a:gd name="connsiteX45324" fmla="*/ 5600435 w 8079933"/>
              <a:gd name="connsiteY45324" fmla="*/ 423230 h 4687251"/>
              <a:gd name="connsiteX45325" fmla="*/ 5595878 w 8079933"/>
              <a:gd name="connsiteY45325" fmla="*/ 416951 h 4687251"/>
              <a:gd name="connsiteX45326" fmla="*/ 5590777 w 8079933"/>
              <a:gd name="connsiteY45326" fmla="*/ 420198 h 4687251"/>
              <a:gd name="connsiteX45327" fmla="*/ 5587847 w 8079933"/>
              <a:gd name="connsiteY45327" fmla="*/ 418033 h 4687251"/>
              <a:gd name="connsiteX45328" fmla="*/ 5582204 w 8079933"/>
              <a:gd name="connsiteY45328" fmla="*/ 419116 h 4687251"/>
              <a:gd name="connsiteX45329" fmla="*/ 5581119 w 8079933"/>
              <a:gd name="connsiteY45329" fmla="*/ 415110 h 4687251"/>
              <a:gd name="connsiteX45330" fmla="*/ 5576236 w 8079933"/>
              <a:gd name="connsiteY45330" fmla="*/ 413486 h 4687251"/>
              <a:gd name="connsiteX45331" fmla="*/ 5575368 w 8079933"/>
              <a:gd name="connsiteY45331" fmla="*/ 411645 h 4687251"/>
              <a:gd name="connsiteX45332" fmla="*/ 5578840 w 8079933"/>
              <a:gd name="connsiteY45332" fmla="*/ 407856 h 4687251"/>
              <a:gd name="connsiteX45333" fmla="*/ 5588607 w 8079933"/>
              <a:gd name="connsiteY45333" fmla="*/ 407856 h 4687251"/>
              <a:gd name="connsiteX45334" fmla="*/ 5591862 w 8079933"/>
              <a:gd name="connsiteY45334" fmla="*/ 404283 h 4687251"/>
              <a:gd name="connsiteX45335" fmla="*/ 5596203 w 8079933"/>
              <a:gd name="connsiteY45335" fmla="*/ 404283 h 4687251"/>
              <a:gd name="connsiteX45336" fmla="*/ 5600870 w 8079933"/>
              <a:gd name="connsiteY45336" fmla="*/ 405366 h 4687251"/>
              <a:gd name="connsiteX45337" fmla="*/ 5605536 w 8079933"/>
              <a:gd name="connsiteY45337" fmla="*/ 403416 h 4687251"/>
              <a:gd name="connsiteX45338" fmla="*/ 5608791 w 8079933"/>
              <a:gd name="connsiteY45338" fmla="*/ 405582 h 4687251"/>
              <a:gd name="connsiteX45339" fmla="*/ 5619643 w 8079933"/>
              <a:gd name="connsiteY45339" fmla="*/ 401034 h 4687251"/>
              <a:gd name="connsiteX45340" fmla="*/ 5625394 w 8079933"/>
              <a:gd name="connsiteY45340" fmla="*/ 403958 h 4687251"/>
              <a:gd name="connsiteX45341" fmla="*/ 5629083 w 8079933"/>
              <a:gd name="connsiteY45341" fmla="*/ 403416 h 4687251"/>
              <a:gd name="connsiteX45342" fmla="*/ 5633207 w 8079933"/>
              <a:gd name="connsiteY45342" fmla="*/ 404283 h 4687251"/>
              <a:gd name="connsiteX45343" fmla="*/ 5637222 w 8079933"/>
              <a:gd name="connsiteY45343" fmla="*/ 401359 h 4687251"/>
              <a:gd name="connsiteX45344" fmla="*/ 5635378 w 8079933"/>
              <a:gd name="connsiteY45344" fmla="*/ 398436 h 4687251"/>
              <a:gd name="connsiteX45345" fmla="*/ 5627782 w 8079933"/>
              <a:gd name="connsiteY45345" fmla="*/ 398436 h 4687251"/>
              <a:gd name="connsiteX45346" fmla="*/ 5620402 w 8079933"/>
              <a:gd name="connsiteY45346" fmla="*/ 395404 h 4687251"/>
              <a:gd name="connsiteX45347" fmla="*/ 5614434 w 8079933"/>
              <a:gd name="connsiteY45347" fmla="*/ 397787 h 4687251"/>
              <a:gd name="connsiteX45348" fmla="*/ 5605753 w 8079933"/>
              <a:gd name="connsiteY45348" fmla="*/ 397028 h 4687251"/>
              <a:gd name="connsiteX45349" fmla="*/ 5605753 w 8079933"/>
              <a:gd name="connsiteY45349" fmla="*/ 391940 h 4687251"/>
              <a:gd name="connsiteX45350" fmla="*/ 5603582 w 8079933"/>
              <a:gd name="connsiteY45350" fmla="*/ 386202 h 4687251"/>
              <a:gd name="connsiteX45351" fmla="*/ 5610419 w 8079933"/>
              <a:gd name="connsiteY45351" fmla="*/ 381655 h 4687251"/>
              <a:gd name="connsiteX45352" fmla="*/ 5603907 w 8079933"/>
              <a:gd name="connsiteY45352" fmla="*/ 380247 h 4687251"/>
              <a:gd name="connsiteX45353" fmla="*/ 5598482 w 8079933"/>
              <a:gd name="connsiteY45353" fmla="*/ 373209 h 4687251"/>
              <a:gd name="connsiteX45354" fmla="*/ 5593815 w 8079933"/>
              <a:gd name="connsiteY45354" fmla="*/ 373209 h 4687251"/>
              <a:gd name="connsiteX45355" fmla="*/ 5589258 w 8079933"/>
              <a:gd name="connsiteY45355" fmla="*/ 367471 h 4687251"/>
              <a:gd name="connsiteX45356" fmla="*/ 5588499 w 8079933"/>
              <a:gd name="connsiteY45356" fmla="*/ 361733 h 4687251"/>
              <a:gd name="connsiteX45357" fmla="*/ 5592839 w 8079933"/>
              <a:gd name="connsiteY45357" fmla="*/ 361733 h 4687251"/>
              <a:gd name="connsiteX45358" fmla="*/ 5592839 w 8079933"/>
              <a:gd name="connsiteY45358" fmla="*/ 356103 h 4687251"/>
              <a:gd name="connsiteX45359" fmla="*/ 5587087 w 8079933"/>
              <a:gd name="connsiteY45359" fmla="*/ 350906 h 4687251"/>
              <a:gd name="connsiteX45360" fmla="*/ 5587847 w 8079933"/>
              <a:gd name="connsiteY45360" fmla="*/ 329251 h 4687251"/>
              <a:gd name="connsiteX45361" fmla="*/ 5592947 w 8079933"/>
              <a:gd name="connsiteY45361" fmla="*/ 323297 h 4687251"/>
              <a:gd name="connsiteX45362" fmla="*/ 5591102 w 8079933"/>
              <a:gd name="connsiteY45362" fmla="*/ 317558 h 4687251"/>
              <a:gd name="connsiteX45363" fmla="*/ 5592188 w 8079933"/>
              <a:gd name="connsiteY45363" fmla="*/ 309654 h 4687251"/>
              <a:gd name="connsiteX45364" fmla="*/ 5596746 w 8079933"/>
              <a:gd name="connsiteY45364" fmla="*/ 305107 h 4687251"/>
              <a:gd name="connsiteX45365" fmla="*/ 5593707 w 8079933"/>
              <a:gd name="connsiteY45365" fmla="*/ 300235 h 4687251"/>
              <a:gd name="connsiteX45366" fmla="*/ 5598048 w 8079933"/>
              <a:gd name="connsiteY45366" fmla="*/ 298935 h 4687251"/>
              <a:gd name="connsiteX45367" fmla="*/ 5599133 w 8079933"/>
              <a:gd name="connsiteY45367" fmla="*/ 294929 h 4687251"/>
              <a:gd name="connsiteX45368" fmla="*/ 4790359 w 8079933"/>
              <a:gd name="connsiteY45368" fmla="*/ 289083 h 4687251"/>
              <a:gd name="connsiteX45369" fmla="*/ 4795785 w 8079933"/>
              <a:gd name="connsiteY45369" fmla="*/ 293738 h 4687251"/>
              <a:gd name="connsiteX45370" fmla="*/ 4804683 w 8079933"/>
              <a:gd name="connsiteY45370" fmla="*/ 299045 h 4687251"/>
              <a:gd name="connsiteX45371" fmla="*/ 4808481 w 8079933"/>
              <a:gd name="connsiteY45371" fmla="*/ 297853 h 4687251"/>
              <a:gd name="connsiteX45372" fmla="*/ 4812062 w 8079933"/>
              <a:gd name="connsiteY45372" fmla="*/ 299152 h 4687251"/>
              <a:gd name="connsiteX45373" fmla="*/ 4811086 w 8079933"/>
              <a:gd name="connsiteY45373" fmla="*/ 301101 h 4687251"/>
              <a:gd name="connsiteX45374" fmla="*/ 4808156 w 8079933"/>
              <a:gd name="connsiteY45374" fmla="*/ 301425 h 4687251"/>
              <a:gd name="connsiteX45375" fmla="*/ 4801970 w 8079933"/>
              <a:gd name="connsiteY45375" fmla="*/ 304892 h 4687251"/>
              <a:gd name="connsiteX45376" fmla="*/ 4801102 w 8079933"/>
              <a:gd name="connsiteY45376" fmla="*/ 307922 h 4687251"/>
              <a:gd name="connsiteX45377" fmla="*/ 4799148 w 8079933"/>
              <a:gd name="connsiteY45377" fmla="*/ 312795 h 4687251"/>
              <a:gd name="connsiteX45378" fmla="*/ 4795785 w 8079933"/>
              <a:gd name="connsiteY45378" fmla="*/ 314852 h 4687251"/>
              <a:gd name="connsiteX45379" fmla="*/ 4795785 w 8079933"/>
              <a:gd name="connsiteY45379" fmla="*/ 317125 h 4687251"/>
              <a:gd name="connsiteX45380" fmla="*/ 4799040 w 8079933"/>
              <a:gd name="connsiteY45380" fmla="*/ 319941 h 4687251"/>
              <a:gd name="connsiteX45381" fmla="*/ 4798823 w 8079933"/>
              <a:gd name="connsiteY45381" fmla="*/ 322539 h 4687251"/>
              <a:gd name="connsiteX45382" fmla="*/ 4795025 w 8079933"/>
              <a:gd name="connsiteY45382" fmla="*/ 322864 h 4687251"/>
              <a:gd name="connsiteX45383" fmla="*/ 4789708 w 8079933"/>
              <a:gd name="connsiteY45383" fmla="*/ 319941 h 4687251"/>
              <a:gd name="connsiteX45384" fmla="*/ 4786452 w 8079933"/>
              <a:gd name="connsiteY45384" fmla="*/ 312253 h 4687251"/>
              <a:gd name="connsiteX45385" fmla="*/ 4786669 w 8079933"/>
              <a:gd name="connsiteY45385" fmla="*/ 305540 h 4687251"/>
              <a:gd name="connsiteX45386" fmla="*/ 4781461 w 8079933"/>
              <a:gd name="connsiteY45386" fmla="*/ 295796 h 4687251"/>
              <a:gd name="connsiteX45387" fmla="*/ 4781786 w 8079933"/>
              <a:gd name="connsiteY45387" fmla="*/ 291574 h 4687251"/>
              <a:gd name="connsiteX45388" fmla="*/ 4783197 w 8079933"/>
              <a:gd name="connsiteY45388" fmla="*/ 292007 h 4687251"/>
              <a:gd name="connsiteX45389" fmla="*/ 4787429 w 8079933"/>
              <a:gd name="connsiteY45389" fmla="*/ 290816 h 4687251"/>
              <a:gd name="connsiteX45390" fmla="*/ 2047926 w 8079933"/>
              <a:gd name="connsiteY45390" fmla="*/ 286700 h 4687251"/>
              <a:gd name="connsiteX45391" fmla="*/ 2054654 w 8079933"/>
              <a:gd name="connsiteY45391" fmla="*/ 289732 h 4687251"/>
              <a:gd name="connsiteX45392" fmla="*/ 2058127 w 8079933"/>
              <a:gd name="connsiteY45392" fmla="*/ 289082 h 4687251"/>
              <a:gd name="connsiteX45393" fmla="*/ 2061274 w 8079933"/>
              <a:gd name="connsiteY45393" fmla="*/ 290490 h 4687251"/>
              <a:gd name="connsiteX45394" fmla="*/ 2061925 w 8079933"/>
              <a:gd name="connsiteY45394" fmla="*/ 293630 h 4687251"/>
              <a:gd name="connsiteX45395" fmla="*/ 2063770 w 8079933"/>
              <a:gd name="connsiteY45395" fmla="*/ 296012 h 4687251"/>
              <a:gd name="connsiteX45396" fmla="*/ 2061057 w 8079933"/>
              <a:gd name="connsiteY45396" fmla="*/ 299585 h 4687251"/>
              <a:gd name="connsiteX45397" fmla="*/ 2056716 w 8079933"/>
              <a:gd name="connsiteY45397" fmla="*/ 301859 h 4687251"/>
              <a:gd name="connsiteX45398" fmla="*/ 2052918 w 8079933"/>
              <a:gd name="connsiteY45398" fmla="*/ 300018 h 4687251"/>
              <a:gd name="connsiteX45399" fmla="*/ 2049554 w 8079933"/>
              <a:gd name="connsiteY45399" fmla="*/ 300018 h 4687251"/>
              <a:gd name="connsiteX45400" fmla="*/ 2047817 w 8079933"/>
              <a:gd name="connsiteY45400" fmla="*/ 295470 h 4687251"/>
              <a:gd name="connsiteX45401" fmla="*/ 2044671 w 8079933"/>
              <a:gd name="connsiteY45401" fmla="*/ 291897 h 4687251"/>
              <a:gd name="connsiteX45402" fmla="*/ 2041849 w 8079933"/>
              <a:gd name="connsiteY45402" fmla="*/ 290923 h 4687251"/>
              <a:gd name="connsiteX45403" fmla="*/ 2041849 w 8079933"/>
              <a:gd name="connsiteY45403" fmla="*/ 289624 h 4687251"/>
              <a:gd name="connsiteX45404" fmla="*/ 2045539 w 8079933"/>
              <a:gd name="connsiteY45404" fmla="*/ 288758 h 4687251"/>
              <a:gd name="connsiteX45405" fmla="*/ 4618793 w 8079933"/>
              <a:gd name="connsiteY45405" fmla="*/ 285402 h 4687251"/>
              <a:gd name="connsiteX45406" fmla="*/ 4629320 w 8079933"/>
              <a:gd name="connsiteY45406" fmla="*/ 287135 h 4687251"/>
              <a:gd name="connsiteX45407" fmla="*/ 4641583 w 8079933"/>
              <a:gd name="connsiteY45407" fmla="*/ 294497 h 4687251"/>
              <a:gd name="connsiteX45408" fmla="*/ 4647008 w 8079933"/>
              <a:gd name="connsiteY45408" fmla="*/ 295797 h 4687251"/>
              <a:gd name="connsiteX45409" fmla="*/ 4649938 w 8079933"/>
              <a:gd name="connsiteY45409" fmla="*/ 299045 h 4687251"/>
              <a:gd name="connsiteX45410" fmla="*/ 4647442 w 8079933"/>
              <a:gd name="connsiteY45410" fmla="*/ 300451 h 4687251"/>
              <a:gd name="connsiteX45411" fmla="*/ 4646574 w 8079933"/>
              <a:gd name="connsiteY45411" fmla="*/ 302076 h 4687251"/>
              <a:gd name="connsiteX45412" fmla="*/ 4641148 w 8079933"/>
              <a:gd name="connsiteY45412" fmla="*/ 302833 h 4687251"/>
              <a:gd name="connsiteX45413" fmla="*/ 4635831 w 8079933"/>
              <a:gd name="connsiteY45413" fmla="*/ 300451 h 4687251"/>
              <a:gd name="connsiteX45414" fmla="*/ 4633227 w 8079933"/>
              <a:gd name="connsiteY45414" fmla="*/ 295363 h 4687251"/>
              <a:gd name="connsiteX45415" fmla="*/ 4630188 w 8079933"/>
              <a:gd name="connsiteY45415" fmla="*/ 294063 h 4687251"/>
              <a:gd name="connsiteX45416" fmla="*/ 4627366 w 8079933"/>
              <a:gd name="connsiteY45416" fmla="*/ 296772 h 4687251"/>
              <a:gd name="connsiteX45417" fmla="*/ 4620530 w 8079933"/>
              <a:gd name="connsiteY45417" fmla="*/ 297528 h 4687251"/>
              <a:gd name="connsiteX45418" fmla="*/ 4616732 w 8079933"/>
              <a:gd name="connsiteY45418" fmla="*/ 302293 h 4687251"/>
              <a:gd name="connsiteX45419" fmla="*/ 4611740 w 8079933"/>
              <a:gd name="connsiteY45419" fmla="*/ 306732 h 4687251"/>
              <a:gd name="connsiteX45420" fmla="*/ 4613802 w 8079933"/>
              <a:gd name="connsiteY45420" fmla="*/ 311387 h 4687251"/>
              <a:gd name="connsiteX45421" fmla="*/ 4616515 w 8079933"/>
              <a:gd name="connsiteY45421" fmla="*/ 312469 h 4687251"/>
              <a:gd name="connsiteX45422" fmla="*/ 4619119 w 8079933"/>
              <a:gd name="connsiteY45422" fmla="*/ 315502 h 4687251"/>
              <a:gd name="connsiteX45423" fmla="*/ 4619879 w 8079933"/>
              <a:gd name="connsiteY45423" fmla="*/ 322431 h 4687251"/>
              <a:gd name="connsiteX45424" fmla="*/ 4622917 w 8079933"/>
              <a:gd name="connsiteY45424" fmla="*/ 327520 h 4687251"/>
              <a:gd name="connsiteX45425" fmla="*/ 4622049 w 8079933"/>
              <a:gd name="connsiteY45425" fmla="*/ 330768 h 4687251"/>
              <a:gd name="connsiteX45426" fmla="*/ 4618142 w 8079933"/>
              <a:gd name="connsiteY45426" fmla="*/ 328278 h 4687251"/>
              <a:gd name="connsiteX45427" fmla="*/ 4615647 w 8079933"/>
              <a:gd name="connsiteY45427" fmla="*/ 321132 h 4687251"/>
              <a:gd name="connsiteX45428" fmla="*/ 4612608 w 8079933"/>
              <a:gd name="connsiteY45428" fmla="*/ 317883 h 4687251"/>
              <a:gd name="connsiteX45429" fmla="*/ 4609787 w 8079933"/>
              <a:gd name="connsiteY45429" fmla="*/ 320483 h 4687251"/>
              <a:gd name="connsiteX45430" fmla="*/ 4609787 w 8079933"/>
              <a:gd name="connsiteY45430" fmla="*/ 323081 h 4687251"/>
              <a:gd name="connsiteX45431" fmla="*/ 4607724 w 8079933"/>
              <a:gd name="connsiteY45431" fmla="*/ 326654 h 4687251"/>
              <a:gd name="connsiteX45432" fmla="*/ 4605012 w 8079933"/>
              <a:gd name="connsiteY45432" fmla="*/ 325138 h 4687251"/>
              <a:gd name="connsiteX45433" fmla="*/ 4602733 w 8079933"/>
              <a:gd name="connsiteY45433" fmla="*/ 321998 h 4687251"/>
              <a:gd name="connsiteX45434" fmla="*/ 4598392 w 8079933"/>
              <a:gd name="connsiteY45434" fmla="*/ 318750 h 4687251"/>
              <a:gd name="connsiteX45435" fmla="*/ 4592641 w 8079933"/>
              <a:gd name="connsiteY45435" fmla="*/ 322214 h 4687251"/>
              <a:gd name="connsiteX45436" fmla="*/ 4588951 w 8079933"/>
              <a:gd name="connsiteY45436" fmla="*/ 319618 h 4687251"/>
              <a:gd name="connsiteX45437" fmla="*/ 4588626 w 8079933"/>
              <a:gd name="connsiteY45437" fmla="*/ 307273 h 4687251"/>
              <a:gd name="connsiteX45438" fmla="*/ 4594486 w 8079933"/>
              <a:gd name="connsiteY45438" fmla="*/ 302076 h 4687251"/>
              <a:gd name="connsiteX45439" fmla="*/ 4599803 w 8079933"/>
              <a:gd name="connsiteY45439" fmla="*/ 300560 h 4687251"/>
              <a:gd name="connsiteX45440" fmla="*/ 4603167 w 8079933"/>
              <a:gd name="connsiteY45440" fmla="*/ 293846 h 4687251"/>
              <a:gd name="connsiteX45441" fmla="*/ 4612066 w 8079933"/>
              <a:gd name="connsiteY45441" fmla="*/ 285944 h 4687251"/>
              <a:gd name="connsiteX45442" fmla="*/ 2294257 w 8079933"/>
              <a:gd name="connsiteY45442" fmla="*/ 284643 h 4687251"/>
              <a:gd name="connsiteX45443" fmla="*/ 2300660 w 8079933"/>
              <a:gd name="connsiteY45443" fmla="*/ 286484 h 4687251"/>
              <a:gd name="connsiteX45444" fmla="*/ 2307713 w 8079933"/>
              <a:gd name="connsiteY45444" fmla="*/ 294929 h 4687251"/>
              <a:gd name="connsiteX45445" fmla="*/ 2307171 w 8079933"/>
              <a:gd name="connsiteY45445" fmla="*/ 299368 h 4687251"/>
              <a:gd name="connsiteX45446" fmla="*/ 2307930 w 8079933"/>
              <a:gd name="connsiteY45446" fmla="*/ 307163 h 4687251"/>
              <a:gd name="connsiteX45447" fmla="*/ 2304675 w 8079933"/>
              <a:gd name="connsiteY45447" fmla="*/ 307812 h 4687251"/>
              <a:gd name="connsiteX45448" fmla="*/ 2299792 w 8079933"/>
              <a:gd name="connsiteY45448" fmla="*/ 304890 h 4687251"/>
              <a:gd name="connsiteX45449" fmla="*/ 2295451 w 8079933"/>
              <a:gd name="connsiteY45449" fmla="*/ 306621 h 4687251"/>
              <a:gd name="connsiteX45450" fmla="*/ 2292196 w 8079933"/>
              <a:gd name="connsiteY45450" fmla="*/ 306621 h 4687251"/>
              <a:gd name="connsiteX45451" fmla="*/ 2288723 w 8079933"/>
              <a:gd name="connsiteY45451" fmla="*/ 300775 h 4687251"/>
              <a:gd name="connsiteX45452" fmla="*/ 2283298 w 8079933"/>
              <a:gd name="connsiteY45452" fmla="*/ 296445 h 4687251"/>
              <a:gd name="connsiteX45453" fmla="*/ 2283949 w 8079933"/>
              <a:gd name="connsiteY45453" fmla="*/ 290165 h 4687251"/>
              <a:gd name="connsiteX45454" fmla="*/ 2286011 w 8079933"/>
              <a:gd name="connsiteY45454" fmla="*/ 285509 h 4687251"/>
              <a:gd name="connsiteX45455" fmla="*/ 2590075 w 8079933"/>
              <a:gd name="connsiteY45455" fmla="*/ 279989 h 4687251"/>
              <a:gd name="connsiteX45456" fmla="*/ 2594307 w 8079933"/>
              <a:gd name="connsiteY45456" fmla="*/ 281829 h 4687251"/>
              <a:gd name="connsiteX45457" fmla="*/ 2599190 w 8079933"/>
              <a:gd name="connsiteY45457" fmla="*/ 286268 h 4687251"/>
              <a:gd name="connsiteX45458" fmla="*/ 2597562 w 8079933"/>
              <a:gd name="connsiteY45458" fmla="*/ 289409 h 4687251"/>
              <a:gd name="connsiteX45459" fmla="*/ 2591160 w 8079933"/>
              <a:gd name="connsiteY45459" fmla="*/ 289193 h 4687251"/>
              <a:gd name="connsiteX45460" fmla="*/ 2587470 w 8079933"/>
              <a:gd name="connsiteY45460" fmla="*/ 293090 h 4687251"/>
              <a:gd name="connsiteX45461" fmla="*/ 2581068 w 8079933"/>
              <a:gd name="connsiteY45461" fmla="*/ 293848 h 4687251"/>
              <a:gd name="connsiteX45462" fmla="*/ 2577487 w 8079933"/>
              <a:gd name="connsiteY45462" fmla="*/ 292765 h 4687251"/>
              <a:gd name="connsiteX45463" fmla="*/ 2576619 w 8079933"/>
              <a:gd name="connsiteY45463" fmla="*/ 290383 h 4687251"/>
              <a:gd name="connsiteX45464" fmla="*/ 2582370 w 8079933"/>
              <a:gd name="connsiteY45464" fmla="*/ 282803 h 4687251"/>
              <a:gd name="connsiteX45465" fmla="*/ 2585408 w 8079933"/>
              <a:gd name="connsiteY45465" fmla="*/ 282803 h 4687251"/>
              <a:gd name="connsiteX45466" fmla="*/ 4784715 w 8079933"/>
              <a:gd name="connsiteY45466" fmla="*/ 277498 h 4687251"/>
              <a:gd name="connsiteX45467" fmla="*/ 4786994 w 8079933"/>
              <a:gd name="connsiteY45467" fmla="*/ 279989 h 4687251"/>
              <a:gd name="connsiteX45468" fmla="*/ 4786451 w 8079933"/>
              <a:gd name="connsiteY45468" fmla="*/ 282912 h 4687251"/>
              <a:gd name="connsiteX45469" fmla="*/ 4782762 w 8079933"/>
              <a:gd name="connsiteY45469" fmla="*/ 285402 h 4687251"/>
              <a:gd name="connsiteX45470" fmla="*/ 4779398 w 8079933"/>
              <a:gd name="connsiteY45470" fmla="*/ 284753 h 4687251"/>
              <a:gd name="connsiteX45471" fmla="*/ 4775926 w 8079933"/>
              <a:gd name="connsiteY45471" fmla="*/ 281288 h 4687251"/>
              <a:gd name="connsiteX45472" fmla="*/ 4779724 w 8079933"/>
              <a:gd name="connsiteY45472" fmla="*/ 281288 h 4687251"/>
              <a:gd name="connsiteX45473" fmla="*/ 4782003 w 8079933"/>
              <a:gd name="connsiteY45473" fmla="*/ 278364 h 4687251"/>
              <a:gd name="connsiteX45474" fmla="*/ 2233598 w 8079933"/>
              <a:gd name="connsiteY45474" fmla="*/ 277065 h 4687251"/>
              <a:gd name="connsiteX45475" fmla="*/ 2237071 w 8079933"/>
              <a:gd name="connsiteY45475" fmla="*/ 279771 h 4687251"/>
              <a:gd name="connsiteX45476" fmla="*/ 2237939 w 8079933"/>
              <a:gd name="connsiteY45476" fmla="*/ 286160 h 4687251"/>
              <a:gd name="connsiteX45477" fmla="*/ 2239350 w 8079933"/>
              <a:gd name="connsiteY45477" fmla="*/ 289083 h 4687251"/>
              <a:gd name="connsiteX45478" fmla="*/ 2235552 w 8079933"/>
              <a:gd name="connsiteY45478" fmla="*/ 298178 h 4687251"/>
              <a:gd name="connsiteX45479" fmla="*/ 2236203 w 8079933"/>
              <a:gd name="connsiteY45479" fmla="*/ 302183 h 4687251"/>
              <a:gd name="connsiteX45480" fmla="*/ 2233164 w 8079933"/>
              <a:gd name="connsiteY45480" fmla="*/ 307273 h 4687251"/>
              <a:gd name="connsiteX45481" fmla="*/ 2235552 w 8079933"/>
              <a:gd name="connsiteY45481" fmla="*/ 310412 h 4687251"/>
              <a:gd name="connsiteX45482" fmla="*/ 2231971 w 8079933"/>
              <a:gd name="connsiteY45482" fmla="*/ 321889 h 4687251"/>
              <a:gd name="connsiteX45483" fmla="*/ 2226219 w 8079933"/>
              <a:gd name="connsiteY45483" fmla="*/ 325029 h 4687251"/>
              <a:gd name="connsiteX45484" fmla="*/ 2220576 w 8079933"/>
              <a:gd name="connsiteY45484" fmla="*/ 324162 h 4687251"/>
              <a:gd name="connsiteX45485" fmla="*/ 2217429 w 8079933"/>
              <a:gd name="connsiteY45485" fmla="*/ 317775 h 4687251"/>
              <a:gd name="connsiteX45486" fmla="*/ 2219491 w 8079933"/>
              <a:gd name="connsiteY45486" fmla="*/ 313444 h 4687251"/>
              <a:gd name="connsiteX45487" fmla="*/ 2220902 w 8079933"/>
              <a:gd name="connsiteY45487" fmla="*/ 307164 h 4687251"/>
              <a:gd name="connsiteX45488" fmla="*/ 2221119 w 8079933"/>
              <a:gd name="connsiteY45488" fmla="*/ 302292 h 4687251"/>
              <a:gd name="connsiteX45489" fmla="*/ 2226219 w 8079933"/>
              <a:gd name="connsiteY45489" fmla="*/ 298394 h 4687251"/>
              <a:gd name="connsiteX45490" fmla="*/ 2226436 w 8079933"/>
              <a:gd name="connsiteY45490" fmla="*/ 295254 h 4687251"/>
              <a:gd name="connsiteX45491" fmla="*/ 2227738 w 8079933"/>
              <a:gd name="connsiteY45491" fmla="*/ 293738 h 4687251"/>
              <a:gd name="connsiteX45492" fmla="*/ 2227738 w 8079933"/>
              <a:gd name="connsiteY45492" fmla="*/ 290600 h 4687251"/>
              <a:gd name="connsiteX45493" fmla="*/ 2231211 w 8079933"/>
              <a:gd name="connsiteY45493" fmla="*/ 283886 h 4687251"/>
              <a:gd name="connsiteX45494" fmla="*/ 2231211 w 8079933"/>
              <a:gd name="connsiteY45494" fmla="*/ 279231 h 4687251"/>
              <a:gd name="connsiteX45495" fmla="*/ 4758130 w 8079933"/>
              <a:gd name="connsiteY45495" fmla="*/ 273493 h 4687251"/>
              <a:gd name="connsiteX45496" fmla="*/ 4761711 w 8079933"/>
              <a:gd name="connsiteY45496" fmla="*/ 274467 h 4687251"/>
              <a:gd name="connsiteX45497" fmla="*/ 4763881 w 8079933"/>
              <a:gd name="connsiteY45497" fmla="*/ 277066 h 4687251"/>
              <a:gd name="connsiteX45498" fmla="*/ 4768222 w 8079933"/>
              <a:gd name="connsiteY45498" fmla="*/ 278797 h 4687251"/>
              <a:gd name="connsiteX45499" fmla="*/ 4768222 w 8079933"/>
              <a:gd name="connsiteY45499" fmla="*/ 282478 h 4687251"/>
              <a:gd name="connsiteX45500" fmla="*/ 4765943 w 8079933"/>
              <a:gd name="connsiteY45500" fmla="*/ 284645 h 4687251"/>
              <a:gd name="connsiteX45501" fmla="*/ 4760843 w 8079933"/>
              <a:gd name="connsiteY45501" fmla="*/ 284645 h 4687251"/>
              <a:gd name="connsiteX45502" fmla="*/ 4757804 w 8079933"/>
              <a:gd name="connsiteY45502" fmla="*/ 283345 h 4687251"/>
              <a:gd name="connsiteX45503" fmla="*/ 4755200 w 8079933"/>
              <a:gd name="connsiteY45503" fmla="*/ 286592 h 4687251"/>
              <a:gd name="connsiteX45504" fmla="*/ 4751727 w 8079933"/>
              <a:gd name="connsiteY45504" fmla="*/ 286810 h 4687251"/>
              <a:gd name="connsiteX45505" fmla="*/ 4749123 w 8079933"/>
              <a:gd name="connsiteY45505" fmla="*/ 284969 h 4687251"/>
              <a:gd name="connsiteX45506" fmla="*/ 4748689 w 8079933"/>
              <a:gd name="connsiteY45506" fmla="*/ 279880 h 4687251"/>
              <a:gd name="connsiteX45507" fmla="*/ 4752704 w 8079933"/>
              <a:gd name="connsiteY45507" fmla="*/ 275009 h 4687251"/>
              <a:gd name="connsiteX45508" fmla="*/ 2078962 w 8079933"/>
              <a:gd name="connsiteY45508" fmla="*/ 271109 h 4687251"/>
              <a:gd name="connsiteX45509" fmla="*/ 2076683 w 8079933"/>
              <a:gd name="connsiteY45509" fmla="*/ 274574 h 4687251"/>
              <a:gd name="connsiteX45510" fmla="*/ 2073861 w 8079933"/>
              <a:gd name="connsiteY45510" fmla="*/ 275873 h 4687251"/>
              <a:gd name="connsiteX45511" fmla="*/ 2071908 w 8079933"/>
              <a:gd name="connsiteY45511" fmla="*/ 274574 h 4687251"/>
              <a:gd name="connsiteX45512" fmla="*/ 2073427 w 8079933"/>
              <a:gd name="connsiteY45512" fmla="*/ 271651 h 4687251"/>
              <a:gd name="connsiteX45513" fmla="*/ 4739138 w 8079933"/>
              <a:gd name="connsiteY45513" fmla="*/ 268514 h 4687251"/>
              <a:gd name="connsiteX45514" fmla="*/ 4741416 w 8079933"/>
              <a:gd name="connsiteY45514" fmla="*/ 273060 h 4687251"/>
              <a:gd name="connsiteX45515" fmla="*/ 4743912 w 8079933"/>
              <a:gd name="connsiteY45515" fmla="*/ 273060 h 4687251"/>
              <a:gd name="connsiteX45516" fmla="*/ 4745106 w 8079933"/>
              <a:gd name="connsiteY45516" fmla="*/ 271760 h 4687251"/>
              <a:gd name="connsiteX45517" fmla="*/ 4747710 w 8079933"/>
              <a:gd name="connsiteY45517" fmla="*/ 272519 h 4687251"/>
              <a:gd name="connsiteX45518" fmla="*/ 4748795 w 8079933"/>
              <a:gd name="connsiteY45518" fmla="*/ 275009 h 4687251"/>
              <a:gd name="connsiteX45519" fmla="*/ 4747601 w 8079933"/>
              <a:gd name="connsiteY45519" fmla="*/ 277714 h 4687251"/>
              <a:gd name="connsiteX45520" fmla="*/ 4737727 w 8079933"/>
              <a:gd name="connsiteY45520" fmla="*/ 281938 h 4687251"/>
              <a:gd name="connsiteX45521" fmla="*/ 4734905 w 8079933"/>
              <a:gd name="connsiteY45521" fmla="*/ 280422 h 4687251"/>
              <a:gd name="connsiteX45522" fmla="*/ 4732084 w 8079933"/>
              <a:gd name="connsiteY45522" fmla="*/ 278473 h 4687251"/>
              <a:gd name="connsiteX45523" fmla="*/ 4727092 w 8079933"/>
              <a:gd name="connsiteY45523" fmla="*/ 278473 h 4687251"/>
              <a:gd name="connsiteX45524" fmla="*/ 4723946 w 8079933"/>
              <a:gd name="connsiteY45524" fmla="*/ 274792 h 4687251"/>
              <a:gd name="connsiteX45525" fmla="*/ 4723946 w 8079933"/>
              <a:gd name="connsiteY45525" fmla="*/ 272519 h 4687251"/>
              <a:gd name="connsiteX45526" fmla="*/ 4726659 w 8079933"/>
              <a:gd name="connsiteY45526" fmla="*/ 270895 h 4687251"/>
              <a:gd name="connsiteX45527" fmla="*/ 4731650 w 8079933"/>
              <a:gd name="connsiteY45527" fmla="*/ 269378 h 4687251"/>
              <a:gd name="connsiteX45528" fmla="*/ 4737184 w 8079933"/>
              <a:gd name="connsiteY45528" fmla="*/ 270029 h 4687251"/>
              <a:gd name="connsiteX45529" fmla="*/ 2318784 w 8079933"/>
              <a:gd name="connsiteY45529" fmla="*/ 267753 h 4687251"/>
              <a:gd name="connsiteX45530" fmla="*/ 2320086 w 8079933"/>
              <a:gd name="connsiteY45530" fmla="*/ 269161 h 4687251"/>
              <a:gd name="connsiteX45531" fmla="*/ 2318784 w 8079933"/>
              <a:gd name="connsiteY45531" fmla="*/ 272517 h 4687251"/>
              <a:gd name="connsiteX45532" fmla="*/ 2316504 w 8079933"/>
              <a:gd name="connsiteY45532" fmla="*/ 272625 h 4687251"/>
              <a:gd name="connsiteX45533" fmla="*/ 2315311 w 8079933"/>
              <a:gd name="connsiteY45533" fmla="*/ 271327 h 4687251"/>
              <a:gd name="connsiteX45534" fmla="*/ 2316179 w 8079933"/>
              <a:gd name="connsiteY45534" fmla="*/ 269378 h 4687251"/>
              <a:gd name="connsiteX45535" fmla="*/ 4674138 w 8079933"/>
              <a:gd name="connsiteY45535" fmla="*/ 267538 h 4687251"/>
              <a:gd name="connsiteX45536" fmla="*/ 4674789 w 8079933"/>
              <a:gd name="connsiteY45536" fmla="*/ 269270 h 4687251"/>
              <a:gd name="connsiteX45537" fmla="*/ 4674246 w 8079933"/>
              <a:gd name="connsiteY45537" fmla="*/ 275117 h 4687251"/>
              <a:gd name="connsiteX45538" fmla="*/ 4672184 w 8079933"/>
              <a:gd name="connsiteY45538" fmla="*/ 280747 h 4687251"/>
              <a:gd name="connsiteX45539" fmla="*/ 4668820 w 8079933"/>
              <a:gd name="connsiteY45539" fmla="*/ 283777 h 4687251"/>
              <a:gd name="connsiteX45540" fmla="*/ 4667627 w 8079933"/>
              <a:gd name="connsiteY45540" fmla="*/ 288217 h 4687251"/>
              <a:gd name="connsiteX45541" fmla="*/ 4667952 w 8079933"/>
              <a:gd name="connsiteY45541" fmla="*/ 290599 h 4687251"/>
              <a:gd name="connsiteX45542" fmla="*/ 4670448 w 8079933"/>
              <a:gd name="connsiteY45542" fmla="*/ 289192 h 4687251"/>
              <a:gd name="connsiteX45543" fmla="*/ 4673595 w 8079933"/>
              <a:gd name="connsiteY45543" fmla="*/ 284319 h 4687251"/>
              <a:gd name="connsiteX45544" fmla="*/ 4678804 w 8079933"/>
              <a:gd name="connsiteY45544" fmla="*/ 281722 h 4687251"/>
              <a:gd name="connsiteX45545" fmla="*/ 4680865 w 8079933"/>
              <a:gd name="connsiteY45545" fmla="*/ 282046 h 4687251"/>
              <a:gd name="connsiteX45546" fmla="*/ 4681951 w 8079933"/>
              <a:gd name="connsiteY45546" fmla="*/ 286269 h 4687251"/>
              <a:gd name="connsiteX45547" fmla="*/ 4686617 w 8079933"/>
              <a:gd name="connsiteY45547" fmla="*/ 289409 h 4687251"/>
              <a:gd name="connsiteX45548" fmla="*/ 4686943 w 8079933"/>
              <a:gd name="connsiteY45548" fmla="*/ 291683 h 4687251"/>
              <a:gd name="connsiteX45549" fmla="*/ 4689547 w 8079933"/>
              <a:gd name="connsiteY45549" fmla="*/ 296446 h 4687251"/>
              <a:gd name="connsiteX45550" fmla="*/ 4689113 w 8079933"/>
              <a:gd name="connsiteY45550" fmla="*/ 298286 h 4687251"/>
              <a:gd name="connsiteX45551" fmla="*/ 4685858 w 8079933"/>
              <a:gd name="connsiteY45551" fmla="*/ 300451 h 4687251"/>
              <a:gd name="connsiteX45552" fmla="*/ 4681517 w 8079933"/>
              <a:gd name="connsiteY45552" fmla="*/ 305107 h 4687251"/>
              <a:gd name="connsiteX45553" fmla="*/ 4678479 w 8079933"/>
              <a:gd name="connsiteY45553" fmla="*/ 306190 h 4687251"/>
              <a:gd name="connsiteX45554" fmla="*/ 4675874 w 8079933"/>
              <a:gd name="connsiteY45554" fmla="*/ 305433 h 4687251"/>
              <a:gd name="connsiteX45555" fmla="*/ 4675114 w 8079933"/>
              <a:gd name="connsiteY45555" fmla="*/ 303700 h 4687251"/>
              <a:gd name="connsiteX45556" fmla="*/ 4672619 w 8079933"/>
              <a:gd name="connsiteY45556" fmla="*/ 303267 h 4687251"/>
              <a:gd name="connsiteX45557" fmla="*/ 4670665 w 8079933"/>
              <a:gd name="connsiteY45557" fmla="*/ 304998 h 4687251"/>
              <a:gd name="connsiteX45558" fmla="*/ 4670556 w 8079933"/>
              <a:gd name="connsiteY45558" fmla="*/ 309980 h 4687251"/>
              <a:gd name="connsiteX45559" fmla="*/ 4671533 w 8079933"/>
              <a:gd name="connsiteY45559" fmla="*/ 311387 h 4687251"/>
              <a:gd name="connsiteX45560" fmla="*/ 4674355 w 8079933"/>
              <a:gd name="connsiteY45560" fmla="*/ 311605 h 4687251"/>
              <a:gd name="connsiteX45561" fmla="*/ 4675874 w 8079933"/>
              <a:gd name="connsiteY45561" fmla="*/ 314636 h 4687251"/>
              <a:gd name="connsiteX45562" fmla="*/ 4677285 w 8079933"/>
              <a:gd name="connsiteY45562" fmla="*/ 315935 h 4687251"/>
              <a:gd name="connsiteX45563" fmla="*/ 4677285 w 8079933"/>
              <a:gd name="connsiteY45563" fmla="*/ 317883 h 4687251"/>
              <a:gd name="connsiteX45564" fmla="*/ 4675440 w 8079933"/>
              <a:gd name="connsiteY45564" fmla="*/ 319074 h 4687251"/>
              <a:gd name="connsiteX45565" fmla="*/ 4668278 w 8079933"/>
              <a:gd name="connsiteY45565" fmla="*/ 320698 h 4687251"/>
              <a:gd name="connsiteX45566" fmla="*/ 4664263 w 8079933"/>
              <a:gd name="connsiteY45566" fmla="*/ 320373 h 4687251"/>
              <a:gd name="connsiteX45567" fmla="*/ 4659379 w 8079933"/>
              <a:gd name="connsiteY45567" fmla="*/ 322646 h 4687251"/>
              <a:gd name="connsiteX45568" fmla="*/ 4660030 w 8079933"/>
              <a:gd name="connsiteY45568" fmla="*/ 324596 h 4687251"/>
              <a:gd name="connsiteX45569" fmla="*/ 4663828 w 8079933"/>
              <a:gd name="connsiteY45569" fmla="*/ 328386 h 4687251"/>
              <a:gd name="connsiteX45570" fmla="*/ 4664696 w 8079933"/>
              <a:gd name="connsiteY45570" fmla="*/ 334773 h 4687251"/>
              <a:gd name="connsiteX45571" fmla="*/ 4663612 w 8079933"/>
              <a:gd name="connsiteY45571" fmla="*/ 341161 h 4687251"/>
              <a:gd name="connsiteX45572" fmla="*/ 4660247 w 8079933"/>
              <a:gd name="connsiteY45572" fmla="*/ 343111 h 4687251"/>
              <a:gd name="connsiteX45573" fmla="*/ 4658186 w 8079933"/>
              <a:gd name="connsiteY45573" fmla="*/ 341594 h 4687251"/>
              <a:gd name="connsiteX45574" fmla="*/ 4657317 w 8079933"/>
              <a:gd name="connsiteY45574" fmla="*/ 343760 h 4687251"/>
              <a:gd name="connsiteX45575" fmla="*/ 4657643 w 8079933"/>
              <a:gd name="connsiteY45575" fmla="*/ 347224 h 4687251"/>
              <a:gd name="connsiteX45576" fmla="*/ 4655364 w 8079933"/>
              <a:gd name="connsiteY45576" fmla="*/ 351121 h 4687251"/>
              <a:gd name="connsiteX45577" fmla="*/ 4652651 w 8079933"/>
              <a:gd name="connsiteY45577" fmla="*/ 352963 h 4687251"/>
              <a:gd name="connsiteX45578" fmla="*/ 4650481 w 8079933"/>
              <a:gd name="connsiteY45578" fmla="*/ 352855 h 4687251"/>
              <a:gd name="connsiteX45579" fmla="*/ 4650156 w 8079933"/>
              <a:gd name="connsiteY45579" fmla="*/ 343868 h 4687251"/>
              <a:gd name="connsiteX45580" fmla="*/ 4646575 w 8079933"/>
              <a:gd name="connsiteY45580" fmla="*/ 339755 h 4687251"/>
              <a:gd name="connsiteX45581" fmla="*/ 4643970 w 8079933"/>
              <a:gd name="connsiteY45581" fmla="*/ 339755 h 4687251"/>
              <a:gd name="connsiteX45582" fmla="*/ 4643645 w 8079933"/>
              <a:gd name="connsiteY45582" fmla="*/ 344734 h 4687251"/>
              <a:gd name="connsiteX45583" fmla="*/ 4641583 w 8079933"/>
              <a:gd name="connsiteY45583" fmla="*/ 348199 h 4687251"/>
              <a:gd name="connsiteX45584" fmla="*/ 4637567 w 8079933"/>
              <a:gd name="connsiteY45584" fmla="*/ 347984 h 4687251"/>
              <a:gd name="connsiteX45585" fmla="*/ 4634312 w 8079933"/>
              <a:gd name="connsiteY45585" fmla="*/ 349498 h 4687251"/>
              <a:gd name="connsiteX45586" fmla="*/ 4633118 w 8079933"/>
              <a:gd name="connsiteY45586" fmla="*/ 346791 h 4687251"/>
              <a:gd name="connsiteX45587" fmla="*/ 4634095 w 8079933"/>
              <a:gd name="connsiteY45587" fmla="*/ 344086 h 4687251"/>
              <a:gd name="connsiteX45588" fmla="*/ 4631816 w 8079933"/>
              <a:gd name="connsiteY45588" fmla="*/ 340296 h 4687251"/>
              <a:gd name="connsiteX45589" fmla="*/ 4630188 w 8079933"/>
              <a:gd name="connsiteY45589" fmla="*/ 328711 h 4687251"/>
              <a:gd name="connsiteX45590" fmla="*/ 4634312 w 8079933"/>
              <a:gd name="connsiteY45590" fmla="*/ 325353 h 4687251"/>
              <a:gd name="connsiteX45591" fmla="*/ 4639847 w 8079933"/>
              <a:gd name="connsiteY45591" fmla="*/ 325353 h 4687251"/>
              <a:gd name="connsiteX45592" fmla="*/ 4642885 w 8079933"/>
              <a:gd name="connsiteY45592" fmla="*/ 323731 h 4687251"/>
              <a:gd name="connsiteX45593" fmla="*/ 4641040 w 8079933"/>
              <a:gd name="connsiteY45593" fmla="*/ 321998 h 4687251"/>
              <a:gd name="connsiteX45594" fmla="*/ 4637025 w 8079933"/>
              <a:gd name="connsiteY45594" fmla="*/ 321347 h 4687251"/>
              <a:gd name="connsiteX45595" fmla="*/ 4636049 w 8079933"/>
              <a:gd name="connsiteY45595" fmla="*/ 315827 h 4687251"/>
              <a:gd name="connsiteX45596" fmla="*/ 4632250 w 8079933"/>
              <a:gd name="connsiteY45596" fmla="*/ 313227 h 4687251"/>
              <a:gd name="connsiteX45597" fmla="*/ 4628995 w 8079933"/>
              <a:gd name="connsiteY45597" fmla="*/ 316368 h 4687251"/>
              <a:gd name="connsiteX45598" fmla="*/ 4624980 w 8079933"/>
              <a:gd name="connsiteY45598" fmla="*/ 315502 h 4687251"/>
              <a:gd name="connsiteX45599" fmla="*/ 4625197 w 8079933"/>
              <a:gd name="connsiteY45599" fmla="*/ 311605 h 4687251"/>
              <a:gd name="connsiteX45600" fmla="*/ 4626173 w 8079933"/>
              <a:gd name="connsiteY45600" fmla="*/ 309113 h 4687251"/>
              <a:gd name="connsiteX45601" fmla="*/ 4626390 w 8079933"/>
              <a:gd name="connsiteY45601" fmla="*/ 305864 h 4687251"/>
              <a:gd name="connsiteX45602" fmla="*/ 4628778 w 8079933"/>
              <a:gd name="connsiteY45602" fmla="*/ 303809 h 4687251"/>
              <a:gd name="connsiteX45603" fmla="*/ 4631165 w 8079933"/>
              <a:gd name="connsiteY45603" fmla="*/ 306623 h 4687251"/>
              <a:gd name="connsiteX45604" fmla="*/ 4636157 w 8079933"/>
              <a:gd name="connsiteY45604" fmla="*/ 308789 h 4687251"/>
              <a:gd name="connsiteX45605" fmla="*/ 4639955 w 8079933"/>
              <a:gd name="connsiteY45605" fmla="*/ 308139 h 4687251"/>
              <a:gd name="connsiteX45606" fmla="*/ 4644513 w 8079933"/>
              <a:gd name="connsiteY45606" fmla="*/ 310305 h 4687251"/>
              <a:gd name="connsiteX45607" fmla="*/ 4648419 w 8079933"/>
              <a:gd name="connsiteY45607" fmla="*/ 307922 h 4687251"/>
              <a:gd name="connsiteX45608" fmla="*/ 4651892 w 8079933"/>
              <a:gd name="connsiteY45608" fmla="*/ 302941 h 4687251"/>
              <a:gd name="connsiteX45609" fmla="*/ 4655364 w 8079933"/>
              <a:gd name="connsiteY45609" fmla="*/ 302076 h 4687251"/>
              <a:gd name="connsiteX45610" fmla="*/ 4656992 w 8079933"/>
              <a:gd name="connsiteY45610" fmla="*/ 298827 h 4687251"/>
              <a:gd name="connsiteX45611" fmla="*/ 4656341 w 8079933"/>
              <a:gd name="connsiteY45611" fmla="*/ 293739 h 4687251"/>
              <a:gd name="connsiteX45612" fmla="*/ 4659814 w 8079933"/>
              <a:gd name="connsiteY45612" fmla="*/ 290383 h 4687251"/>
              <a:gd name="connsiteX45613" fmla="*/ 4663395 w 8079933"/>
              <a:gd name="connsiteY45613" fmla="*/ 289083 h 4687251"/>
              <a:gd name="connsiteX45614" fmla="*/ 4663612 w 8079933"/>
              <a:gd name="connsiteY45614" fmla="*/ 286161 h 4687251"/>
              <a:gd name="connsiteX45615" fmla="*/ 4661333 w 8079933"/>
              <a:gd name="connsiteY45615" fmla="*/ 285185 h 4687251"/>
              <a:gd name="connsiteX45616" fmla="*/ 4657643 w 8079933"/>
              <a:gd name="connsiteY45616" fmla="*/ 285944 h 4687251"/>
              <a:gd name="connsiteX45617" fmla="*/ 4656015 w 8079933"/>
              <a:gd name="connsiteY45617" fmla="*/ 284645 h 4687251"/>
              <a:gd name="connsiteX45618" fmla="*/ 4656015 w 8079933"/>
              <a:gd name="connsiteY45618" fmla="*/ 280313 h 4687251"/>
              <a:gd name="connsiteX45619" fmla="*/ 4659814 w 8079933"/>
              <a:gd name="connsiteY45619" fmla="*/ 278797 h 4687251"/>
              <a:gd name="connsiteX45620" fmla="*/ 4662092 w 8079933"/>
              <a:gd name="connsiteY45620" fmla="*/ 273060 h 4687251"/>
              <a:gd name="connsiteX45621" fmla="*/ 4663720 w 8079933"/>
              <a:gd name="connsiteY45621" fmla="*/ 271110 h 4687251"/>
              <a:gd name="connsiteX45622" fmla="*/ 4664913 w 8079933"/>
              <a:gd name="connsiteY45622" fmla="*/ 273601 h 4687251"/>
              <a:gd name="connsiteX45623" fmla="*/ 4663937 w 8079933"/>
              <a:gd name="connsiteY45623" fmla="*/ 278256 h 4687251"/>
              <a:gd name="connsiteX45624" fmla="*/ 4664371 w 8079933"/>
              <a:gd name="connsiteY45624" fmla="*/ 280421 h 4687251"/>
              <a:gd name="connsiteX45625" fmla="*/ 4665999 w 8079933"/>
              <a:gd name="connsiteY45625" fmla="*/ 279880 h 4687251"/>
              <a:gd name="connsiteX45626" fmla="*/ 4668820 w 8079933"/>
              <a:gd name="connsiteY45626" fmla="*/ 273384 h 4687251"/>
              <a:gd name="connsiteX45627" fmla="*/ 3671009 w 8079933"/>
              <a:gd name="connsiteY45627" fmla="*/ 261257 h 4687251"/>
              <a:gd name="connsiteX45628" fmla="*/ 3672637 w 8079933"/>
              <a:gd name="connsiteY45628" fmla="*/ 263207 h 4687251"/>
              <a:gd name="connsiteX45629" fmla="*/ 3672637 w 8079933"/>
              <a:gd name="connsiteY45629" fmla="*/ 271218 h 4687251"/>
              <a:gd name="connsiteX45630" fmla="*/ 3671552 w 8079933"/>
              <a:gd name="connsiteY45630" fmla="*/ 274575 h 4687251"/>
              <a:gd name="connsiteX45631" fmla="*/ 3669598 w 8079933"/>
              <a:gd name="connsiteY45631" fmla="*/ 273925 h 4687251"/>
              <a:gd name="connsiteX45632" fmla="*/ 3667103 w 8079933"/>
              <a:gd name="connsiteY45632" fmla="*/ 268078 h 4687251"/>
              <a:gd name="connsiteX45633" fmla="*/ 3668188 w 8079933"/>
              <a:gd name="connsiteY45633" fmla="*/ 263531 h 4687251"/>
              <a:gd name="connsiteX45634" fmla="*/ 2300878 w 8079933"/>
              <a:gd name="connsiteY45634" fmla="*/ 256275 h 4687251"/>
              <a:gd name="connsiteX45635" fmla="*/ 2305001 w 8079933"/>
              <a:gd name="connsiteY45635" fmla="*/ 256384 h 4687251"/>
              <a:gd name="connsiteX45636" fmla="*/ 2302180 w 8079933"/>
              <a:gd name="connsiteY45636" fmla="*/ 258332 h 4687251"/>
              <a:gd name="connsiteX45637" fmla="*/ 2301312 w 8079933"/>
              <a:gd name="connsiteY45637" fmla="*/ 261364 h 4687251"/>
              <a:gd name="connsiteX45638" fmla="*/ 2296320 w 8079933"/>
              <a:gd name="connsiteY45638" fmla="*/ 264505 h 4687251"/>
              <a:gd name="connsiteX45639" fmla="*/ 2293933 w 8079933"/>
              <a:gd name="connsiteY45639" fmla="*/ 263855 h 4687251"/>
              <a:gd name="connsiteX45640" fmla="*/ 2294801 w 8079933"/>
              <a:gd name="connsiteY45640" fmla="*/ 259308 h 4687251"/>
              <a:gd name="connsiteX45641" fmla="*/ 4781894 w 8079933"/>
              <a:gd name="connsiteY45641" fmla="*/ 250756 h 4687251"/>
              <a:gd name="connsiteX45642" fmla="*/ 4783955 w 8079933"/>
              <a:gd name="connsiteY45642" fmla="*/ 251188 h 4687251"/>
              <a:gd name="connsiteX45643" fmla="*/ 4786451 w 8079933"/>
              <a:gd name="connsiteY45643" fmla="*/ 255194 h 4687251"/>
              <a:gd name="connsiteX45644" fmla="*/ 4786994 w 8079933"/>
              <a:gd name="connsiteY45644" fmla="*/ 258443 h 4687251"/>
              <a:gd name="connsiteX45645" fmla="*/ 4785150 w 8079933"/>
              <a:gd name="connsiteY45645" fmla="*/ 259633 h 4687251"/>
              <a:gd name="connsiteX45646" fmla="*/ 4784498 w 8079933"/>
              <a:gd name="connsiteY45646" fmla="*/ 262882 h 4687251"/>
              <a:gd name="connsiteX45647" fmla="*/ 4782110 w 8079933"/>
              <a:gd name="connsiteY45647" fmla="*/ 264722 h 4687251"/>
              <a:gd name="connsiteX45648" fmla="*/ 4777879 w 8079933"/>
              <a:gd name="connsiteY45648" fmla="*/ 264722 h 4687251"/>
              <a:gd name="connsiteX45649" fmla="*/ 4776034 w 8079933"/>
              <a:gd name="connsiteY45649" fmla="*/ 263314 h 4687251"/>
              <a:gd name="connsiteX45650" fmla="*/ 4776143 w 8079933"/>
              <a:gd name="connsiteY45650" fmla="*/ 260067 h 4687251"/>
              <a:gd name="connsiteX45651" fmla="*/ 4777879 w 8079933"/>
              <a:gd name="connsiteY45651" fmla="*/ 258118 h 4687251"/>
              <a:gd name="connsiteX45652" fmla="*/ 4779506 w 8079933"/>
              <a:gd name="connsiteY45652" fmla="*/ 252813 h 4687251"/>
              <a:gd name="connsiteX45653" fmla="*/ 4725139 w 8079933"/>
              <a:gd name="connsiteY45653" fmla="*/ 249456 h 4687251"/>
              <a:gd name="connsiteX45654" fmla="*/ 4736316 w 8079933"/>
              <a:gd name="connsiteY45654" fmla="*/ 249674 h 4687251"/>
              <a:gd name="connsiteX45655" fmla="*/ 4740223 w 8079933"/>
              <a:gd name="connsiteY45655" fmla="*/ 251730 h 4687251"/>
              <a:gd name="connsiteX45656" fmla="*/ 4746300 w 8079933"/>
              <a:gd name="connsiteY45656" fmla="*/ 251514 h 4687251"/>
              <a:gd name="connsiteX45657" fmla="*/ 4749230 w 8079933"/>
              <a:gd name="connsiteY45657" fmla="*/ 253788 h 4687251"/>
              <a:gd name="connsiteX45658" fmla="*/ 4751617 w 8079933"/>
              <a:gd name="connsiteY45658" fmla="*/ 254004 h 4687251"/>
              <a:gd name="connsiteX45659" fmla="*/ 4758996 w 8079933"/>
              <a:gd name="connsiteY45659" fmla="*/ 259525 h 4687251"/>
              <a:gd name="connsiteX45660" fmla="*/ 4766484 w 8079933"/>
              <a:gd name="connsiteY45660" fmla="*/ 261908 h 4687251"/>
              <a:gd name="connsiteX45661" fmla="*/ 4770607 w 8079933"/>
              <a:gd name="connsiteY45661" fmla="*/ 261908 h 4687251"/>
              <a:gd name="connsiteX45662" fmla="*/ 4773863 w 8079933"/>
              <a:gd name="connsiteY45662" fmla="*/ 266563 h 4687251"/>
              <a:gd name="connsiteX45663" fmla="*/ 4772778 w 8079933"/>
              <a:gd name="connsiteY45663" fmla="*/ 273168 h 4687251"/>
              <a:gd name="connsiteX45664" fmla="*/ 4770607 w 8079933"/>
              <a:gd name="connsiteY45664" fmla="*/ 274467 h 4687251"/>
              <a:gd name="connsiteX45665" fmla="*/ 4765941 w 8079933"/>
              <a:gd name="connsiteY45665" fmla="*/ 272843 h 4687251"/>
              <a:gd name="connsiteX45666" fmla="*/ 4759756 w 8079933"/>
              <a:gd name="connsiteY45666" fmla="*/ 270136 h 4687251"/>
              <a:gd name="connsiteX45667" fmla="*/ 4754221 w 8079933"/>
              <a:gd name="connsiteY45667" fmla="*/ 271219 h 4687251"/>
              <a:gd name="connsiteX45668" fmla="*/ 4748470 w 8079933"/>
              <a:gd name="connsiteY45668" fmla="*/ 269810 h 4687251"/>
              <a:gd name="connsiteX45669" fmla="*/ 4745974 w 8079933"/>
              <a:gd name="connsiteY45669" fmla="*/ 264614 h 4687251"/>
              <a:gd name="connsiteX45670" fmla="*/ 4743370 w 8079933"/>
              <a:gd name="connsiteY45670" fmla="*/ 265697 h 4687251"/>
              <a:gd name="connsiteX45671" fmla="*/ 4740766 w 8079933"/>
              <a:gd name="connsiteY45671" fmla="*/ 265480 h 4687251"/>
              <a:gd name="connsiteX45672" fmla="*/ 4738921 w 8079933"/>
              <a:gd name="connsiteY45672" fmla="*/ 261366 h 4687251"/>
              <a:gd name="connsiteX45673" fmla="*/ 4735123 w 8079933"/>
              <a:gd name="connsiteY45673" fmla="*/ 257901 h 4687251"/>
              <a:gd name="connsiteX45674" fmla="*/ 4732844 w 8079933"/>
              <a:gd name="connsiteY45674" fmla="*/ 258226 h 4687251"/>
              <a:gd name="connsiteX45675" fmla="*/ 4730240 w 8079933"/>
              <a:gd name="connsiteY45675" fmla="*/ 261582 h 4687251"/>
              <a:gd name="connsiteX45676" fmla="*/ 4723512 w 8079933"/>
              <a:gd name="connsiteY45676" fmla="*/ 259092 h 4687251"/>
              <a:gd name="connsiteX45677" fmla="*/ 4720473 w 8079933"/>
              <a:gd name="connsiteY45677" fmla="*/ 257252 h 4687251"/>
              <a:gd name="connsiteX45678" fmla="*/ 4721016 w 8079933"/>
              <a:gd name="connsiteY45678" fmla="*/ 255194 h 4687251"/>
              <a:gd name="connsiteX45679" fmla="*/ 4719931 w 8079933"/>
              <a:gd name="connsiteY45679" fmla="*/ 251081 h 4687251"/>
              <a:gd name="connsiteX45680" fmla="*/ 4665238 w 8079933"/>
              <a:gd name="connsiteY45680" fmla="*/ 248266 h 4687251"/>
              <a:gd name="connsiteX45681" fmla="*/ 4667191 w 8079933"/>
              <a:gd name="connsiteY45681" fmla="*/ 248266 h 4687251"/>
              <a:gd name="connsiteX45682" fmla="*/ 4667191 w 8079933"/>
              <a:gd name="connsiteY45682" fmla="*/ 252705 h 4687251"/>
              <a:gd name="connsiteX45683" fmla="*/ 4669362 w 8079933"/>
              <a:gd name="connsiteY45683" fmla="*/ 255412 h 4687251"/>
              <a:gd name="connsiteX45684" fmla="*/ 4668386 w 8079933"/>
              <a:gd name="connsiteY45684" fmla="*/ 258876 h 4687251"/>
              <a:gd name="connsiteX45685" fmla="*/ 4662200 w 8079933"/>
              <a:gd name="connsiteY45685" fmla="*/ 258876 h 4687251"/>
              <a:gd name="connsiteX45686" fmla="*/ 4661115 w 8079933"/>
              <a:gd name="connsiteY45686" fmla="*/ 257578 h 4687251"/>
              <a:gd name="connsiteX45687" fmla="*/ 4662092 w 8079933"/>
              <a:gd name="connsiteY45687" fmla="*/ 252271 h 4687251"/>
              <a:gd name="connsiteX45688" fmla="*/ 5635919 w 8079933"/>
              <a:gd name="connsiteY45688" fmla="*/ 245018 h 4687251"/>
              <a:gd name="connsiteX45689" fmla="*/ 5639174 w 8079933"/>
              <a:gd name="connsiteY45689" fmla="*/ 245884 h 4687251"/>
              <a:gd name="connsiteX45690" fmla="*/ 5641020 w 8079933"/>
              <a:gd name="connsiteY45690" fmla="*/ 251405 h 4687251"/>
              <a:gd name="connsiteX45691" fmla="*/ 5638415 w 8079933"/>
              <a:gd name="connsiteY45691" fmla="*/ 256060 h 4687251"/>
              <a:gd name="connsiteX45692" fmla="*/ 5635160 w 8079933"/>
              <a:gd name="connsiteY45692" fmla="*/ 253138 h 4687251"/>
              <a:gd name="connsiteX45693" fmla="*/ 5632664 w 8079933"/>
              <a:gd name="connsiteY45693" fmla="*/ 256060 h 4687251"/>
              <a:gd name="connsiteX45694" fmla="*/ 5626262 w 8079933"/>
              <a:gd name="connsiteY45694" fmla="*/ 256927 h 4687251"/>
              <a:gd name="connsiteX45695" fmla="*/ 5619208 w 8079933"/>
              <a:gd name="connsiteY45695" fmla="*/ 256385 h 4687251"/>
              <a:gd name="connsiteX45696" fmla="*/ 5618991 w 8079933"/>
              <a:gd name="connsiteY45696" fmla="*/ 253678 h 4687251"/>
              <a:gd name="connsiteX45697" fmla="*/ 5621270 w 8079933"/>
              <a:gd name="connsiteY45697" fmla="*/ 250214 h 4687251"/>
              <a:gd name="connsiteX45698" fmla="*/ 5627456 w 8079933"/>
              <a:gd name="connsiteY45698" fmla="*/ 250864 h 4687251"/>
              <a:gd name="connsiteX45699" fmla="*/ 5630168 w 8079933"/>
              <a:gd name="connsiteY45699" fmla="*/ 246209 h 4687251"/>
              <a:gd name="connsiteX45700" fmla="*/ 5634292 w 8079933"/>
              <a:gd name="connsiteY45700" fmla="*/ 246425 h 4687251"/>
              <a:gd name="connsiteX45701" fmla="*/ 3666778 w 8079933"/>
              <a:gd name="connsiteY45701" fmla="*/ 245017 h 4687251"/>
              <a:gd name="connsiteX45702" fmla="*/ 3668731 w 8079933"/>
              <a:gd name="connsiteY45702" fmla="*/ 247074 h 4687251"/>
              <a:gd name="connsiteX45703" fmla="*/ 3668405 w 8079933"/>
              <a:gd name="connsiteY45703" fmla="*/ 251512 h 4687251"/>
              <a:gd name="connsiteX45704" fmla="*/ 3667103 w 8079933"/>
              <a:gd name="connsiteY45704" fmla="*/ 253137 h 4687251"/>
              <a:gd name="connsiteX45705" fmla="*/ 3666560 w 8079933"/>
              <a:gd name="connsiteY45705" fmla="*/ 258550 h 4687251"/>
              <a:gd name="connsiteX45706" fmla="*/ 3662979 w 8079933"/>
              <a:gd name="connsiteY45706" fmla="*/ 261798 h 4687251"/>
              <a:gd name="connsiteX45707" fmla="*/ 3661460 w 8079933"/>
              <a:gd name="connsiteY45707" fmla="*/ 260174 h 4687251"/>
              <a:gd name="connsiteX45708" fmla="*/ 3661677 w 8079933"/>
              <a:gd name="connsiteY45708" fmla="*/ 254652 h 4687251"/>
              <a:gd name="connsiteX45709" fmla="*/ 3660592 w 8079933"/>
              <a:gd name="connsiteY45709" fmla="*/ 251080 h 4687251"/>
              <a:gd name="connsiteX45710" fmla="*/ 3663522 w 8079933"/>
              <a:gd name="connsiteY45710" fmla="*/ 246099 h 4687251"/>
              <a:gd name="connsiteX45711" fmla="*/ 2402124 w 8079933"/>
              <a:gd name="connsiteY45711" fmla="*/ 242851 h 4687251"/>
              <a:gd name="connsiteX45712" fmla="*/ 2406790 w 8079933"/>
              <a:gd name="connsiteY45712" fmla="*/ 242959 h 4687251"/>
              <a:gd name="connsiteX45713" fmla="*/ 2412650 w 8079933"/>
              <a:gd name="connsiteY45713" fmla="*/ 250429 h 4687251"/>
              <a:gd name="connsiteX45714" fmla="*/ 2414712 w 8079933"/>
              <a:gd name="connsiteY45714" fmla="*/ 255734 h 4687251"/>
              <a:gd name="connsiteX45715" fmla="*/ 2414170 w 8079933"/>
              <a:gd name="connsiteY45715" fmla="*/ 259308 h 4687251"/>
              <a:gd name="connsiteX45716" fmla="*/ 2415580 w 8079933"/>
              <a:gd name="connsiteY45716" fmla="*/ 262448 h 4687251"/>
              <a:gd name="connsiteX45717" fmla="*/ 2418293 w 8079933"/>
              <a:gd name="connsiteY45717" fmla="*/ 263422 h 4687251"/>
              <a:gd name="connsiteX45718" fmla="*/ 2418618 w 8079933"/>
              <a:gd name="connsiteY45718" fmla="*/ 268619 h 4687251"/>
              <a:gd name="connsiteX45719" fmla="*/ 2421440 w 8079933"/>
              <a:gd name="connsiteY45719" fmla="*/ 270026 h 4687251"/>
              <a:gd name="connsiteX45720" fmla="*/ 2421766 w 8079933"/>
              <a:gd name="connsiteY45720" fmla="*/ 272625 h 4687251"/>
              <a:gd name="connsiteX45721" fmla="*/ 2424044 w 8079933"/>
              <a:gd name="connsiteY45721" fmla="*/ 277930 h 4687251"/>
              <a:gd name="connsiteX45722" fmla="*/ 2428710 w 8079933"/>
              <a:gd name="connsiteY45722" fmla="*/ 278363 h 4687251"/>
              <a:gd name="connsiteX45723" fmla="*/ 2428710 w 8079933"/>
              <a:gd name="connsiteY45723" fmla="*/ 280638 h 4687251"/>
              <a:gd name="connsiteX45724" fmla="*/ 2430772 w 8079933"/>
              <a:gd name="connsiteY45724" fmla="*/ 284752 h 4687251"/>
              <a:gd name="connsiteX45725" fmla="*/ 2432834 w 8079933"/>
              <a:gd name="connsiteY45725" fmla="*/ 293846 h 4687251"/>
              <a:gd name="connsiteX45726" fmla="*/ 2427951 w 8079933"/>
              <a:gd name="connsiteY45726" fmla="*/ 297528 h 4687251"/>
              <a:gd name="connsiteX45727" fmla="*/ 2425238 w 8079933"/>
              <a:gd name="connsiteY45727" fmla="*/ 300235 h 4687251"/>
              <a:gd name="connsiteX45728" fmla="*/ 2420898 w 8079933"/>
              <a:gd name="connsiteY45728" fmla="*/ 300018 h 4687251"/>
              <a:gd name="connsiteX45729" fmla="*/ 2418185 w 8079933"/>
              <a:gd name="connsiteY45729" fmla="*/ 301425 h 4687251"/>
              <a:gd name="connsiteX45730" fmla="*/ 2420246 w 8079933"/>
              <a:gd name="connsiteY45730" fmla="*/ 303483 h 4687251"/>
              <a:gd name="connsiteX45731" fmla="*/ 2422851 w 8079933"/>
              <a:gd name="connsiteY45731" fmla="*/ 303699 h 4687251"/>
              <a:gd name="connsiteX45732" fmla="*/ 2424044 w 8079933"/>
              <a:gd name="connsiteY45732" fmla="*/ 311061 h 4687251"/>
              <a:gd name="connsiteX45733" fmla="*/ 2423176 w 8079933"/>
              <a:gd name="connsiteY45733" fmla="*/ 315501 h 4687251"/>
              <a:gd name="connsiteX45734" fmla="*/ 2414929 w 8079933"/>
              <a:gd name="connsiteY45734" fmla="*/ 321022 h 4687251"/>
              <a:gd name="connsiteX45735" fmla="*/ 2412433 w 8079933"/>
              <a:gd name="connsiteY45735" fmla="*/ 323513 h 4687251"/>
              <a:gd name="connsiteX45736" fmla="*/ 2409503 w 8079933"/>
              <a:gd name="connsiteY45736" fmla="*/ 322971 h 4687251"/>
              <a:gd name="connsiteX45737" fmla="*/ 2409177 w 8079933"/>
              <a:gd name="connsiteY45737" fmla="*/ 319183 h 4687251"/>
              <a:gd name="connsiteX45738" fmla="*/ 2407007 w 8079933"/>
              <a:gd name="connsiteY45738" fmla="*/ 317450 h 4687251"/>
              <a:gd name="connsiteX45739" fmla="*/ 2401473 w 8079933"/>
              <a:gd name="connsiteY45739" fmla="*/ 321348 h 4687251"/>
              <a:gd name="connsiteX45740" fmla="*/ 2397675 w 8079933"/>
              <a:gd name="connsiteY45740" fmla="*/ 319615 h 4687251"/>
              <a:gd name="connsiteX45741" fmla="*/ 2390947 w 8079933"/>
              <a:gd name="connsiteY45741" fmla="*/ 321781 h 4687251"/>
              <a:gd name="connsiteX45742" fmla="*/ 2387474 w 8079933"/>
              <a:gd name="connsiteY45742" fmla="*/ 321348 h 4687251"/>
              <a:gd name="connsiteX45743" fmla="*/ 2386824 w 8079933"/>
              <a:gd name="connsiteY45743" fmla="*/ 316043 h 4687251"/>
              <a:gd name="connsiteX45744" fmla="*/ 2383026 w 8079933"/>
              <a:gd name="connsiteY45744" fmla="*/ 315718 h 4687251"/>
              <a:gd name="connsiteX45745" fmla="*/ 2382158 w 8079933"/>
              <a:gd name="connsiteY45745" fmla="*/ 318965 h 4687251"/>
              <a:gd name="connsiteX45746" fmla="*/ 2377274 w 8079933"/>
              <a:gd name="connsiteY45746" fmla="*/ 320698 h 4687251"/>
              <a:gd name="connsiteX45747" fmla="*/ 2377165 w 8079933"/>
              <a:gd name="connsiteY45747" fmla="*/ 315501 h 4687251"/>
              <a:gd name="connsiteX45748" fmla="*/ 2379878 w 8079933"/>
              <a:gd name="connsiteY45748" fmla="*/ 311928 h 4687251"/>
              <a:gd name="connsiteX45749" fmla="*/ 2377491 w 8079933"/>
              <a:gd name="connsiteY45749" fmla="*/ 309330 h 4687251"/>
              <a:gd name="connsiteX45750" fmla="*/ 2377165 w 8079933"/>
              <a:gd name="connsiteY45750" fmla="*/ 303916 h 4687251"/>
              <a:gd name="connsiteX45751" fmla="*/ 2372825 w 8079933"/>
              <a:gd name="connsiteY45751" fmla="*/ 301317 h 4687251"/>
              <a:gd name="connsiteX45752" fmla="*/ 2374452 w 8079933"/>
              <a:gd name="connsiteY45752" fmla="*/ 298178 h 4687251"/>
              <a:gd name="connsiteX45753" fmla="*/ 2375972 w 8079933"/>
              <a:gd name="connsiteY45753" fmla="*/ 294712 h 4687251"/>
              <a:gd name="connsiteX45754" fmla="*/ 2381506 w 8079933"/>
              <a:gd name="connsiteY45754" fmla="*/ 295471 h 4687251"/>
              <a:gd name="connsiteX45755" fmla="*/ 2386281 w 8079933"/>
              <a:gd name="connsiteY45755" fmla="*/ 299368 h 4687251"/>
              <a:gd name="connsiteX45756" fmla="*/ 2388126 w 8079933"/>
              <a:gd name="connsiteY45756" fmla="*/ 299585 h 4687251"/>
              <a:gd name="connsiteX45757" fmla="*/ 2388668 w 8079933"/>
              <a:gd name="connsiteY45757" fmla="*/ 295579 h 4687251"/>
              <a:gd name="connsiteX45758" fmla="*/ 2383893 w 8079933"/>
              <a:gd name="connsiteY45758" fmla="*/ 288432 h 4687251"/>
              <a:gd name="connsiteX45759" fmla="*/ 2379227 w 8079933"/>
              <a:gd name="connsiteY45759" fmla="*/ 285618 h 4687251"/>
              <a:gd name="connsiteX45760" fmla="*/ 2378359 w 8079933"/>
              <a:gd name="connsiteY45760" fmla="*/ 283020 h 4687251"/>
              <a:gd name="connsiteX45761" fmla="*/ 2383026 w 8079933"/>
              <a:gd name="connsiteY45761" fmla="*/ 282911 h 4687251"/>
              <a:gd name="connsiteX45762" fmla="*/ 2380204 w 8079933"/>
              <a:gd name="connsiteY45762" fmla="*/ 278255 h 4687251"/>
              <a:gd name="connsiteX45763" fmla="*/ 2383242 w 8079933"/>
              <a:gd name="connsiteY45763" fmla="*/ 273817 h 4687251"/>
              <a:gd name="connsiteX45764" fmla="*/ 2383568 w 8079933"/>
              <a:gd name="connsiteY45764" fmla="*/ 266237 h 4687251"/>
              <a:gd name="connsiteX45765" fmla="*/ 2386064 w 8079933"/>
              <a:gd name="connsiteY45765" fmla="*/ 259849 h 4687251"/>
              <a:gd name="connsiteX45766" fmla="*/ 2389428 w 8079933"/>
              <a:gd name="connsiteY45766" fmla="*/ 260174 h 4687251"/>
              <a:gd name="connsiteX45767" fmla="*/ 2392683 w 8079933"/>
              <a:gd name="connsiteY45767" fmla="*/ 257900 h 4687251"/>
              <a:gd name="connsiteX45768" fmla="*/ 2393226 w 8079933"/>
              <a:gd name="connsiteY45768" fmla="*/ 251079 h 4687251"/>
              <a:gd name="connsiteX45769" fmla="*/ 2396265 w 8079933"/>
              <a:gd name="connsiteY45769" fmla="*/ 247830 h 4687251"/>
              <a:gd name="connsiteX45770" fmla="*/ 4747168 w 8079933"/>
              <a:gd name="connsiteY45770" fmla="*/ 240688 h 4687251"/>
              <a:gd name="connsiteX45771" fmla="*/ 4753571 w 8079933"/>
              <a:gd name="connsiteY45771" fmla="*/ 241120 h 4687251"/>
              <a:gd name="connsiteX45772" fmla="*/ 4761276 w 8079933"/>
              <a:gd name="connsiteY45772" fmla="*/ 244694 h 4687251"/>
              <a:gd name="connsiteX45773" fmla="*/ 4768329 w 8079933"/>
              <a:gd name="connsiteY45773" fmla="*/ 251081 h 4687251"/>
              <a:gd name="connsiteX45774" fmla="*/ 4771150 w 8079933"/>
              <a:gd name="connsiteY45774" fmla="*/ 251081 h 4687251"/>
              <a:gd name="connsiteX45775" fmla="*/ 4774080 w 8079933"/>
              <a:gd name="connsiteY45775" fmla="*/ 248483 h 4687251"/>
              <a:gd name="connsiteX45776" fmla="*/ 4775274 w 8079933"/>
              <a:gd name="connsiteY45776" fmla="*/ 249999 h 4687251"/>
              <a:gd name="connsiteX45777" fmla="*/ 4774189 w 8079933"/>
              <a:gd name="connsiteY45777" fmla="*/ 253463 h 4687251"/>
              <a:gd name="connsiteX45778" fmla="*/ 4772778 w 8079933"/>
              <a:gd name="connsiteY45778" fmla="*/ 258984 h 4687251"/>
              <a:gd name="connsiteX45779" fmla="*/ 4769414 w 8079933"/>
              <a:gd name="connsiteY45779" fmla="*/ 260718 h 4687251"/>
              <a:gd name="connsiteX45780" fmla="*/ 4765725 w 8079933"/>
              <a:gd name="connsiteY45780" fmla="*/ 255736 h 4687251"/>
              <a:gd name="connsiteX45781" fmla="*/ 4756501 w 8079933"/>
              <a:gd name="connsiteY45781" fmla="*/ 249024 h 4687251"/>
              <a:gd name="connsiteX45782" fmla="*/ 4748688 w 8079933"/>
              <a:gd name="connsiteY45782" fmla="*/ 245885 h 4687251"/>
              <a:gd name="connsiteX45783" fmla="*/ 4744022 w 8079933"/>
              <a:gd name="connsiteY45783" fmla="*/ 245885 h 4687251"/>
              <a:gd name="connsiteX45784" fmla="*/ 4741309 w 8079933"/>
              <a:gd name="connsiteY45784" fmla="*/ 244044 h 4687251"/>
              <a:gd name="connsiteX45785" fmla="*/ 4742502 w 8079933"/>
              <a:gd name="connsiteY45785" fmla="*/ 242312 h 4687251"/>
              <a:gd name="connsiteX45786" fmla="*/ 5618123 w 8079933"/>
              <a:gd name="connsiteY45786" fmla="*/ 240036 h 4687251"/>
              <a:gd name="connsiteX45787" fmla="*/ 5619317 w 8079933"/>
              <a:gd name="connsiteY45787" fmla="*/ 242851 h 4687251"/>
              <a:gd name="connsiteX45788" fmla="*/ 5616929 w 8079933"/>
              <a:gd name="connsiteY45788" fmla="*/ 243611 h 4687251"/>
              <a:gd name="connsiteX45789" fmla="*/ 5615194 w 8079933"/>
              <a:gd name="connsiteY45789" fmla="*/ 246100 h 4687251"/>
              <a:gd name="connsiteX45790" fmla="*/ 5617147 w 8079933"/>
              <a:gd name="connsiteY45790" fmla="*/ 247399 h 4687251"/>
              <a:gd name="connsiteX45791" fmla="*/ 5616929 w 8079933"/>
              <a:gd name="connsiteY45791" fmla="*/ 249674 h 4687251"/>
              <a:gd name="connsiteX45792" fmla="*/ 5613023 w 8079933"/>
              <a:gd name="connsiteY45792" fmla="*/ 253246 h 4687251"/>
              <a:gd name="connsiteX45793" fmla="*/ 5610419 w 8079933"/>
              <a:gd name="connsiteY45793" fmla="*/ 254112 h 4687251"/>
              <a:gd name="connsiteX45794" fmla="*/ 5608031 w 8079933"/>
              <a:gd name="connsiteY45794" fmla="*/ 252271 h 4687251"/>
              <a:gd name="connsiteX45795" fmla="*/ 5608899 w 8079933"/>
              <a:gd name="connsiteY45795" fmla="*/ 248481 h 4687251"/>
              <a:gd name="connsiteX45796" fmla="*/ 5611612 w 8079933"/>
              <a:gd name="connsiteY45796" fmla="*/ 247616 h 4687251"/>
              <a:gd name="connsiteX45797" fmla="*/ 5611070 w 8079933"/>
              <a:gd name="connsiteY45797" fmla="*/ 245018 h 4687251"/>
              <a:gd name="connsiteX45798" fmla="*/ 5614543 w 8079933"/>
              <a:gd name="connsiteY45798" fmla="*/ 240577 h 4687251"/>
              <a:gd name="connsiteX45799" fmla="*/ 4834308 w 8079933"/>
              <a:gd name="connsiteY45799" fmla="*/ 238629 h 4687251"/>
              <a:gd name="connsiteX45800" fmla="*/ 4836912 w 8079933"/>
              <a:gd name="connsiteY45800" fmla="*/ 244692 h 4687251"/>
              <a:gd name="connsiteX45801" fmla="*/ 4841361 w 8079933"/>
              <a:gd name="connsiteY45801" fmla="*/ 247399 h 4687251"/>
              <a:gd name="connsiteX45802" fmla="*/ 4845593 w 8079933"/>
              <a:gd name="connsiteY45802" fmla="*/ 252596 h 4687251"/>
              <a:gd name="connsiteX45803" fmla="*/ 4845593 w 8079933"/>
              <a:gd name="connsiteY45803" fmla="*/ 255735 h 4687251"/>
              <a:gd name="connsiteX45804" fmla="*/ 4841252 w 8079933"/>
              <a:gd name="connsiteY45804" fmla="*/ 258226 h 4687251"/>
              <a:gd name="connsiteX45805" fmla="*/ 4835718 w 8079933"/>
              <a:gd name="connsiteY45805" fmla="*/ 258443 h 4687251"/>
              <a:gd name="connsiteX45806" fmla="*/ 4831703 w 8079933"/>
              <a:gd name="connsiteY45806" fmla="*/ 261150 h 4687251"/>
              <a:gd name="connsiteX45807" fmla="*/ 4831268 w 8079933"/>
              <a:gd name="connsiteY45807" fmla="*/ 264506 h 4687251"/>
              <a:gd name="connsiteX45808" fmla="*/ 4834199 w 8079933"/>
              <a:gd name="connsiteY45808" fmla="*/ 270354 h 4687251"/>
              <a:gd name="connsiteX45809" fmla="*/ 4839299 w 8079933"/>
              <a:gd name="connsiteY45809" fmla="*/ 272410 h 4687251"/>
              <a:gd name="connsiteX45810" fmla="*/ 4842229 w 8079933"/>
              <a:gd name="connsiteY45810" fmla="*/ 276957 h 4687251"/>
              <a:gd name="connsiteX45811" fmla="*/ 4846027 w 8079933"/>
              <a:gd name="connsiteY45811" fmla="*/ 280638 h 4687251"/>
              <a:gd name="connsiteX45812" fmla="*/ 4846353 w 8079933"/>
              <a:gd name="connsiteY45812" fmla="*/ 283886 h 4687251"/>
              <a:gd name="connsiteX45813" fmla="*/ 4839299 w 8079933"/>
              <a:gd name="connsiteY45813" fmla="*/ 285293 h 4687251"/>
              <a:gd name="connsiteX45814" fmla="*/ 4834850 w 8079933"/>
              <a:gd name="connsiteY45814" fmla="*/ 288325 h 4687251"/>
              <a:gd name="connsiteX45815" fmla="*/ 4828990 w 8079933"/>
              <a:gd name="connsiteY45815" fmla="*/ 288866 h 4687251"/>
              <a:gd name="connsiteX45816" fmla="*/ 4821394 w 8079933"/>
              <a:gd name="connsiteY45816" fmla="*/ 291790 h 4687251"/>
              <a:gd name="connsiteX45817" fmla="*/ 4816945 w 8079933"/>
              <a:gd name="connsiteY45817" fmla="*/ 292007 h 4687251"/>
              <a:gd name="connsiteX45818" fmla="*/ 4811084 w 8079933"/>
              <a:gd name="connsiteY45818" fmla="*/ 283886 h 4687251"/>
              <a:gd name="connsiteX45819" fmla="*/ 4808154 w 8079933"/>
              <a:gd name="connsiteY45819" fmla="*/ 276632 h 4687251"/>
              <a:gd name="connsiteX45820" fmla="*/ 4808480 w 8079933"/>
              <a:gd name="connsiteY45820" fmla="*/ 263424 h 4687251"/>
              <a:gd name="connsiteX45821" fmla="*/ 4806744 w 8079933"/>
              <a:gd name="connsiteY45821" fmla="*/ 258226 h 4687251"/>
              <a:gd name="connsiteX45822" fmla="*/ 4806744 w 8079933"/>
              <a:gd name="connsiteY45822" fmla="*/ 254112 h 4687251"/>
              <a:gd name="connsiteX45823" fmla="*/ 4809890 w 8079933"/>
              <a:gd name="connsiteY45823" fmla="*/ 252596 h 4687251"/>
              <a:gd name="connsiteX45824" fmla="*/ 4812820 w 8079933"/>
              <a:gd name="connsiteY45824" fmla="*/ 255194 h 4687251"/>
              <a:gd name="connsiteX45825" fmla="*/ 4817270 w 8079933"/>
              <a:gd name="connsiteY45825" fmla="*/ 254978 h 4687251"/>
              <a:gd name="connsiteX45826" fmla="*/ 4823781 w 8079933"/>
              <a:gd name="connsiteY45826" fmla="*/ 249456 h 4687251"/>
              <a:gd name="connsiteX45827" fmla="*/ 4827145 w 8079933"/>
              <a:gd name="connsiteY45827" fmla="*/ 249132 h 4687251"/>
              <a:gd name="connsiteX45828" fmla="*/ 4828447 w 8079933"/>
              <a:gd name="connsiteY45828" fmla="*/ 250539 h 4687251"/>
              <a:gd name="connsiteX45829" fmla="*/ 4832788 w 8079933"/>
              <a:gd name="connsiteY45829" fmla="*/ 247075 h 4687251"/>
              <a:gd name="connsiteX45830" fmla="*/ 4832788 w 8079933"/>
              <a:gd name="connsiteY45830" fmla="*/ 241770 h 4687251"/>
              <a:gd name="connsiteX45831" fmla="*/ 2941017 w 8079933"/>
              <a:gd name="connsiteY45831" fmla="*/ 237980 h 4687251"/>
              <a:gd name="connsiteX45832" fmla="*/ 2944381 w 8079933"/>
              <a:gd name="connsiteY45832" fmla="*/ 241335 h 4687251"/>
              <a:gd name="connsiteX45833" fmla="*/ 2943839 w 8079933"/>
              <a:gd name="connsiteY45833" fmla="*/ 246315 h 4687251"/>
              <a:gd name="connsiteX45834" fmla="*/ 2940040 w 8079933"/>
              <a:gd name="connsiteY45834" fmla="*/ 244583 h 4687251"/>
              <a:gd name="connsiteX45835" fmla="*/ 2939389 w 8079933"/>
              <a:gd name="connsiteY45835" fmla="*/ 241119 h 4687251"/>
              <a:gd name="connsiteX45836" fmla="*/ 2936785 w 8079933"/>
              <a:gd name="connsiteY45836" fmla="*/ 238736 h 4687251"/>
              <a:gd name="connsiteX45837" fmla="*/ 3686311 w 8079933"/>
              <a:gd name="connsiteY45837" fmla="*/ 236897 h 4687251"/>
              <a:gd name="connsiteX45838" fmla="*/ 3687070 w 8079933"/>
              <a:gd name="connsiteY45838" fmla="*/ 241444 h 4687251"/>
              <a:gd name="connsiteX45839" fmla="*/ 3686311 w 8079933"/>
              <a:gd name="connsiteY45839" fmla="*/ 244151 h 4687251"/>
              <a:gd name="connsiteX45840" fmla="*/ 3687070 w 8079933"/>
              <a:gd name="connsiteY45840" fmla="*/ 251730 h 4687251"/>
              <a:gd name="connsiteX45841" fmla="*/ 3686202 w 8079933"/>
              <a:gd name="connsiteY45841" fmla="*/ 256710 h 4687251"/>
              <a:gd name="connsiteX45842" fmla="*/ 3683923 w 8079933"/>
              <a:gd name="connsiteY45842" fmla="*/ 258552 h 4687251"/>
              <a:gd name="connsiteX45843" fmla="*/ 3681536 w 8079933"/>
              <a:gd name="connsiteY45843" fmla="*/ 251730 h 4687251"/>
              <a:gd name="connsiteX45844" fmla="*/ 3683272 w 8079933"/>
              <a:gd name="connsiteY45844" fmla="*/ 247399 h 4687251"/>
              <a:gd name="connsiteX45845" fmla="*/ 3683163 w 8079933"/>
              <a:gd name="connsiteY45845" fmla="*/ 243176 h 4687251"/>
              <a:gd name="connsiteX45846" fmla="*/ 3682078 w 8079933"/>
              <a:gd name="connsiteY45846" fmla="*/ 241553 h 4687251"/>
              <a:gd name="connsiteX45847" fmla="*/ 3682513 w 8079933"/>
              <a:gd name="connsiteY45847" fmla="*/ 238629 h 4687251"/>
              <a:gd name="connsiteX45848" fmla="*/ 4768872 w 8079933"/>
              <a:gd name="connsiteY45848" fmla="*/ 234516 h 4687251"/>
              <a:gd name="connsiteX45849" fmla="*/ 4770717 w 8079933"/>
              <a:gd name="connsiteY45849" fmla="*/ 234516 h 4687251"/>
              <a:gd name="connsiteX45850" fmla="*/ 4772453 w 8079933"/>
              <a:gd name="connsiteY45850" fmla="*/ 237981 h 4687251"/>
              <a:gd name="connsiteX45851" fmla="*/ 4777879 w 8079933"/>
              <a:gd name="connsiteY45851" fmla="*/ 237765 h 4687251"/>
              <a:gd name="connsiteX45852" fmla="*/ 4781243 w 8079933"/>
              <a:gd name="connsiteY45852" fmla="*/ 240688 h 4687251"/>
              <a:gd name="connsiteX45853" fmla="*/ 4780809 w 8079933"/>
              <a:gd name="connsiteY45853" fmla="*/ 245235 h 4687251"/>
              <a:gd name="connsiteX45854" fmla="*/ 4776143 w 8079933"/>
              <a:gd name="connsiteY45854" fmla="*/ 246534 h 4687251"/>
              <a:gd name="connsiteX45855" fmla="*/ 4768872 w 8079933"/>
              <a:gd name="connsiteY45855" fmla="*/ 242095 h 4687251"/>
              <a:gd name="connsiteX45856" fmla="*/ 4767136 w 8079933"/>
              <a:gd name="connsiteY45856" fmla="*/ 237656 h 4687251"/>
              <a:gd name="connsiteX45857" fmla="*/ 6190549 w 8079933"/>
              <a:gd name="connsiteY45857" fmla="*/ 233218 h 4687251"/>
              <a:gd name="connsiteX45858" fmla="*/ 6193262 w 8079933"/>
              <a:gd name="connsiteY45858" fmla="*/ 234191 h 4687251"/>
              <a:gd name="connsiteX45859" fmla="*/ 6197385 w 8079933"/>
              <a:gd name="connsiteY45859" fmla="*/ 237439 h 4687251"/>
              <a:gd name="connsiteX45860" fmla="*/ 6201401 w 8079933"/>
              <a:gd name="connsiteY45860" fmla="*/ 243611 h 4687251"/>
              <a:gd name="connsiteX45861" fmla="*/ 6209865 w 8079933"/>
              <a:gd name="connsiteY45861" fmla="*/ 244368 h 4687251"/>
              <a:gd name="connsiteX45862" fmla="*/ 6213989 w 8079933"/>
              <a:gd name="connsiteY45862" fmla="*/ 247399 h 4687251"/>
              <a:gd name="connsiteX45863" fmla="*/ 6215182 w 8079933"/>
              <a:gd name="connsiteY45863" fmla="*/ 253246 h 4687251"/>
              <a:gd name="connsiteX45864" fmla="*/ 6220174 w 8079933"/>
              <a:gd name="connsiteY45864" fmla="*/ 264831 h 4687251"/>
              <a:gd name="connsiteX45865" fmla="*/ 6220500 w 8079933"/>
              <a:gd name="connsiteY45865" fmla="*/ 270354 h 4687251"/>
              <a:gd name="connsiteX45866" fmla="*/ 6217787 w 8079933"/>
              <a:gd name="connsiteY45866" fmla="*/ 272193 h 4687251"/>
              <a:gd name="connsiteX45867" fmla="*/ 6213229 w 8079933"/>
              <a:gd name="connsiteY45867" fmla="*/ 269920 h 4687251"/>
              <a:gd name="connsiteX45868" fmla="*/ 6209539 w 8079933"/>
              <a:gd name="connsiteY45868" fmla="*/ 260175 h 4687251"/>
              <a:gd name="connsiteX45869" fmla="*/ 6202811 w 8079933"/>
              <a:gd name="connsiteY45869" fmla="*/ 250324 h 4687251"/>
              <a:gd name="connsiteX45870" fmla="*/ 6196084 w 8079933"/>
              <a:gd name="connsiteY45870" fmla="*/ 244043 h 4687251"/>
              <a:gd name="connsiteX45871" fmla="*/ 6191526 w 8079933"/>
              <a:gd name="connsiteY45871" fmla="*/ 237006 h 4687251"/>
              <a:gd name="connsiteX45872" fmla="*/ 4817813 w 8079933"/>
              <a:gd name="connsiteY45872" fmla="*/ 229969 h 4687251"/>
              <a:gd name="connsiteX45873" fmla="*/ 4822154 w 8079933"/>
              <a:gd name="connsiteY45873" fmla="*/ 230401 h 4687251"/>
              <a:gd name="connsiteX45874" fmla="*/ 4824216 w 8079933"/>
              <a:gd name="connsiteY45874" fmla="*/ 233975 h 4687251"/>
              <a:gd name="connsiteX45875" fmla="*/ 4827688 w 8079933"/>
              <a:gd name="connsiteY45875" fmla="*/ 236573 h 4687251"/>
              <a:gd name="connsiteX45876" fmla="*/ 4827580 w 8079933"/>
              <a:gd name="connsiteY45876" fmla="*/ 238847 h 4687251"/>
              <a:gd name="connsiteX45877" fmla="*/ 4825084 w 8079933"/>
              <a:gd name="connsiteY45877" fmla="*/ 241012 h 4687251"/>
              <a:gd name="connsiteX45878" fmla="*/ 4822588 w 8079933"/>
              <a:gd name="connsiteY45878" fmla="*/ 246751 h 4687251"/>
              <a:gd name="connsiteX45879" fmla="*/ 4817379 w 8079933"/>
              <a:gd name="connsiteY45879" fmla="*/ 248699 h 4687251"/>
              <a:gd name="connsiteX45880" fmla="*/ 4812387 w 8079933"/>
              <a:gd name="connsiteY45880" fmla="*/ 247508 h 4687251"/>
              <a:gd name="connsiteX45881" fmla="*/ 4804357 w 8079933"/>
              <a:gd name="connsiteY45881" fmla="*/ 241878 h 4687251"/>
              <a:gd name="connsiteX45882" fmla="*/ 4803489 w 8079933"/>
              <a:gd name="connsiteY45882" fmla="*/ 239171 h 4687251"/>
              <a:gd name="connsiteX45883" fmla="*/ 4805225 w 8079933"/>
              <a:gd name="connsiteY45883" fmla="*/ 235923 h 4687251"/>
              <a:gd name="connsiteX45884" fmla="*/ 4811410 w 8079933"/>
              <a:gd name="connsiteY45884" fmla="*/ 232134 h 4687251"/>
              <a:gd name="connsiteX45885" fmla="*/ 4759864 w 8079933"/>
              <a:gd name="connsiteY45885" fmla="*/ 226829 h 4687251"/>
              <a:gd name="connsiteX45886" fmla="*/ 4763879 w 8079933"/>
              <a:gd name="connsiteY45886" fmla="*/ 230943 h 4687251"/>
              <a:gd name="connsiteX45887" fmla="*/ 4762685 w 8079933"/>
              <a:gd name="connsiteY45887" fmla="*/ 233325 h 4687251"/>
              <a:gd name="connsiteX45888" fmla="*/ 4761926 w 8079933"/>
              <a:gd name="connsiteY45888" fmla="*/ 237439 h 4687251"/>
              <a:gd name="connsiteX45889" fmla="*/ 4757368 w 8079933"/>
              <a:gd name="connsiteY45889" fmla="*/ 237114 h 4687251"/>
              <a:gd name="connsiteX45890" fmla="*/ 4754872 w 8079933"/>
              <a:gd name="connsiteY45890" fmla="*/ 239064 h 4687251"/>
              <a:gd name="connsiteX45891" fmla="*/ 4751617 w 8079933"/>
              <a:gd name="connsiteY45891" fmla="*/ 237331 h 4687251"/>
              <a:gd name="connsiteX45892" fmla="*/ 4754221 w 8079933"/>
              <a:gd name="connsiteY45892" fmla="*/ 233218 h 4687251"/>
              <a:gd name="connsiteX45893" fmla="*/ 4758670 w 8079933"/>
              <a:gd name="connsiteY45893" fmla="*/ 230077 h 4687251"/>
              <a:gd name="connsiteX45894" fmla="*/ 2049444 w 8079933"/>
              <a:gd name="connsiteY45894" fmla="*/ 225960 h 4687251"/>
              <a:gd name="connsiteX45895" fmla="*/ 2051831 w 8079933"/>
              <a:gd name="connsiteY45895" fmla="*/ 227152 h 4687251"/>
              <a:gd name="connsiteX45896" fmla="*/ 2052916 w 8079933"/>
              <a:gd name="connsiteY45896" fmla="*/ 232997 h 4687251"/>
              <a:gd name="connsiteX45897" fmla="*/ 2053893 w 8079933"/>
              <a:gd name="connsiteY45897" fmla="*/ 235272 h 4687251"/>
              <a:gd name="connsiteX45898" fmla="*/ 2052374 w 8079933"/>
              <a:gd name="connsiteY45898" fmla="*/ 237653 h 4687251"/>
              <a:gd name="connsiteX45899" fmla="*/ 2053242 w 8079933"/>
              <a:gd name="connsiteY45899" fmla="*/ 247181 h 4687251"/>
              <a:gd name="connsiteX45900" fmla="*/ 2054110 w 8079933"/>
              <a:gd name="connsiteY45900" fmla="*/ 250863 h 4687251"/>
              <a:gd name="connsiteX45901" fmla="*/ 2050095 w 8079933"/>
              <a:gd name="connsiteY45901" fmla="*/ 256060 h 4687251"/>
              <a:gd name="connsiteX45902" fmla="*/ 2047056 w 8079933"/>
              <a:gd name="connsiteY45902" fmla="*/ 256601 h 4687251"/>
              <a:gd name="connsiteX45903" fmla="*/ 2044127 w 8079933"/>
              <a:gd name="connsiteY45903" fmla="*/ 255085 h 4687251"/>
              <a:gd name="connsiteX45904" fmla="*/ 2039352 w 8079933"/>
              <a:gd name="connsiteY45904" fmla="*/ 257576 h 4687251"/>
              <a:gd name="connsiteX45905" fmla="*/ 2034686 w 8079933"/>
              <a:gd name="connsiteY45905" fmla="*/ 257900 h 4687251"/>
              <a:gd name="connsiteX45906" fmla="*/ 2029694 w 8079933"/>
              <a:gd name="connsiteY45906" fmla="*/ 262448 h 4687251"/>
              <a:gd name="connsiteX45907" fmla="*/ 2029477 w 8079933"/>
              <a:gd name="connsiteY45907" fmla="*/ 265479 h 4687251"/>
              <a:gd name="connsiteX45908" fmla="*/ 2033926 w 8079933"/>
              <a:gd name="connsiteY45908" fmla="*/ 272625 h 4687251"/>
              <a:gd name="connsiteX45909" fmla="*/ 2034252 w 8079933"/>
              <a:gd name="connsiteY45909" fmla="*/ 275656 h 4687251"/>
              <a:gd name="connsiteX45910" fmla="*/ 2032624 w 8079933"/>
              <a:gd name="connsiteY45910" fmla="*/ 277713 h 4687251"/>
              <a:gd name="connsiteX45911" fmla="*/ 2028934 w 8079933"/>
              <a:gd name="connsiteY45911" fmla="*/ 276847 h 4687251"/>
              <a:gd name="connsiteX45912" fmla="*/ 2024811 w 8079933"/>
              <a:gd name="connsiteY45912" fmla="*/ 271325 h 4687251"/>
              <a:gd name="connsiteX45913" fmla="*/ 2024160 w 8079933"/>
              <a:gd name="connsiteY45913" fmla="*/ 273275 h 4687251"/>
              <a:gd name="connsiteX45914" fmla="*/ 2023943 w 8079933"/>
              <a:gd name="connsiteY45914" fmla="*/ 277931 h 4687251"/>
              <a:gd name="connsiteX45915" fmla="*/ 2019710 w 8079933"/>
              <a:gd name="connsiteY45915" fmla="*/ 284968 h 4687251"/>
              <a:gd name="connsiteX45916" fmla="*/ 2017432 w 8079933"/>
              <a:gd name="connsiteY45916" fmla="*/ 292980 h 4687251"/>
              <a:gd name="connsiteX45917" fmla="*/ 2014610 w 8079933"/>
              <a:gd name="connsiteY45917" fmla="*/ 297094 h 4687251"/>
              <a:gd name="connsiteX45918" fmla="*/ 2007231 w 8079933"/>
              <a:gd name="connsiteY45918" fmla="*/ 297202 h 4687251"/>
              <a:gd name="connsiteX45919" fmla="*/ 2004410 w 8079933"/>
              <a:gd name="connsiteY45919" fmla="*/ 300017 h 4687251"/>
              <a:gd name="connsiteX45920" fmla="*/ 1999852 w 8079933"/>
              <a:gd name="connsiteY45920" fmla="*/ 300017 h 4687251"/>
              <a:gd name="connsiteX45921" fmla="*/ 1997573 w 8079933"/>
              <a:gd name="connsiteY45921" fmla="*/ 297528 h 4687251"/>
              <a:gd name="connsiteX45922" fmla="*/ 1995403 w 8079933"/>
              <a:gd name="connsiteY45922" fmla="*/ 298935 h 4687251"/>
              <a:gd name="connsiteX45923" fmla="*/ 1991713 w 8079933"/>
              <a:gd name="connsiteY45923" fmla="*/ 298935 h 4687251"/>
              <a:gd name="connsiteX45924" fmla="*/ 1989326 w 8079933"/>
              <a:gd name="connsiteY45924" fmla="*/ 303049 h 4687251"/>
              <a:gd name="connsiteX45925" fmla="*/ 1985745 w 8079933"/>
              <a:gd name="connsiteY45925" fmla="*/ 305972 h 4687251"/>
              <a:gd name="connsiteX45926" fmla="*/ 1986287 w 8079933"/>
              <a:gd name="connsiteY45926" fmla="*/ 310628 h 4687251"/>
              <a:gd name="connsiteX45927" fmla="*/ 1985093 w 8079933"/>
              <a:gd name="connsiteY45927" fmla="*/ 314526 h 4687251"/>
              <a:gd name="connsiteX45928" fmla="*/ 1980427 w 8079933"/>
              <a:gd name="connsiteY45928" fmla="*/ 316800 h 4687251"/>
              <a:gd name="connsiteX45929" fmla="*/ 1977932 w 8079933"/>
              <a:gd name="connsiteY45929" fmla="*/ 319614 h 4687251"/>
              <a:gd name="connsiteX45930" fmla="*/ 1973591 w 8079933"/>
              <a:gd name="connsiteY45930" fmla="*/ 317774 h 4687251"/>
              <a:gd name="connsiteX45931" fmla="*/ 1969793 w 8079933"/>
              <a:gd name="connsiteY45931" fmla="*/ 316692 h 4687251"/>
              <a:gd name="connsiteX45932" fmla="*/ 1970661 w 8079933"/>
              <a:gd name="connsiteY45932" fmla="*/ 312577 h 4687251"/>
              <a:gd name="connsiteX45933" fmla="*/ 1968600 w 8079933"/>
              <a:gd name="connsiteY45933" fmla="*/ 308679 h 4687251"/>
              <a:gd name="connsiteX45934" fmla="*/ 1968491 w 8079933"/>
              <a:gd name="connsiteY45934" fmla="*/ 305755 h 4687251"/>
              <a:gd name="connsiteX45935" fmla="*/ 1974784 w 8079933"/>
              <a:gd name="connsiteY45935" fmla="*/ 296770 h 4687251"/>
              <a:gd name="connsiteX45936" fmla="*/ 1978366 w 8079933"/>
              <a:gd name="connsiteY45936" fmla="*/ 294604 h 4687251"/>
              <a:gd name="connsiteX45937" fmla="*/ 1979017 w 8079933"/>
              <a:gd name="connsiteY45937" fmla="*/ 292330 h 4687251"/>
              <a:gd name="connsiteX45938" fmla="*/ 1982055 w 8079933"/>
              <a:gd name="connsiteY45938" fmla="*/ 289298 h 4687251"/>
              <a:gd name="connsiteX45939" fmla="*/ 1983140 w 8079933"/>
              <a:gd name="connsiteY45939" fmla="*/ 283993 h 4687251"/>
              <a:gd name="connsiteX45940" fmla="*/ 1989109 w 8079933"/>
              <a:gd name="connsiteY45940" fmla="*/ 277605 h 4687251"/>
              <a:gd name="connsiteX45941" fmla="*/ 1991279 w 8079933"/>
              <a:gd name="connsiteY45941" fmla="*/ 269268 h 4687251"/>
              <a:gd name="connsiteX45942" fmla="*/ 1989109 w 8079933"/>
              <a:gd name="connsiteY45942" fmla="*/ 267645 h 4687251"/>
              <a:gd name="connsiteX45943" fmla="*/ 1985093 w 8079933"/>
              <a:gd name="connsiteY45943" fmla="*/ 271542 h 4687251"/>
              <a:gd name="connsiteX45944" fmla="*/ 1982055 w 8079933"/>
              <a:gd name="connsiteY45944" fmla="*/ 269052 h 4687251"/>
              <a:gd name="connsiteX45945" fmla="*/ 1979559 w 8079933"/>
              <a:gd name="connsiteY45945" fmla="*/ 270893 h 4687251"/>
              <a:gd name="connsiteX45946" fmla="*/ 1975002 w 8079933"/>
              <a:gd name="connsiteY45946" fmla="*/ 271542 h 4687251"/>
              <a:gd name="connsiteX45947" fmla="*/ 1974568 w 8079933"/>
              <a:gd name="connsiteY45947" fmla="*/ 275982 h 4687251"/>
              <a:gd name="connsiteX45948" fmla="*/ 1971963 w 8079933"/>
              <a:gd name="connsiteY45948" fmla="*/ 282261 h 4687251"/>
              <a:gd name="connsiteX45949" fmla="*/ 1963825 w 8079933"/>
              <a:gd name="connsiteY45949" fmla="*/ 287458 h 4687251"/>
              <a:gd name="connsiteX45950" fmla="*/ 1961003 w 8079933"/>
              <a:gd name="connsiteY45950" fmla="*/ 282695 h 4687251"/>
              <a:gd name="connsiteX45951" fmla="*/ 1958941 w 8079933"/>
              <a:gd name="connsiteY45951" fmla="*/ 286809 h 4687251"/>
              <a:gd name="connsiteX45952" fmla="*/ 1959809 w 8079933"/>
              <a:gd name="connsiteY45952" fmla="*/ 291464 h 4687251"/>
              <a:gd name="connsiteX45953" fmla="*/ 1958724 w 8079933"/>
              <a:gd name="connsiteY45953" fmla="*/ 296553 h 4687251"/>
              <a:gd name="connsiteX45954" fmla="*/ 1953624 w 8079933"/>
              <a:gd name="connsiteY45954" fmla="*/ 303157 h 4687251"/>
              <a:gd name="connsiteX45955" fmla="*/ 1950151 w 8079933"/>
              <a:gd name="connsiteY45955" fmla="*/ 304239 h 4687251"/>
              <a:gd name="connsiteX45956" fmla="*/ 1948958 w 8079933"/>
              <a:gd name="connsiteY45956" fmla="*/ 306514 h 4687251"/>
              <a:gd name="connsiteX45957" fmla="*/ 1948741 w 8079933"/>
              <a:gd name="connsiteY45957" fmla="*/ 311494 h 4687251"/>
              <a:gd name="connsiteX45958" fmla="*/ 1944292 w 8079933"/>
              <a:gd name="connsiteY45958" fmla="*/ 316474 h 4687251"/>
              <a:gd name="connsiteX45959" fmla="*/ 1942230 w 8079933"/>
              <a:gd name="connsiteY45959" fmla="*/ 316474 h 4687251"/>
              <a:gd name="connsiteX45960" fmla="*/ 1940385 w 8079933"/>
              <a:gd name="connsiteY45960" fmla="*/ 311927 h 4687251"/>
              <a:gd name="connsiteX45961" fmla="*/ 1941687 w 8079933"/>
              <a:gd name="connsiteY45961" fmla="*/ 306296 h 4687251"/>
              <a:gd name="connsiteX45962" fmla="*/ 1940819 w 8079933"/>
              <a:gd name="connsiteY45962" fmla="*/ 303266 h 4687251"/>
              <a:gd name="connsiteX45963" fmla="*/ 1942121 w 8079933"/>
              <a:gd name="connsiteY45963" fmla="*/ 299151 h 4687251"/>
              <a:gd name="connsiteX45964" fmla="*/ 1940385 w 8079933"/>
              <a:gd name="connsiteY45964" fmla="*/ 297743 h 4687251"/>
              <a:gd name="connsiteX45965" fmla="*/ 1938323 w 8079933"/>
              <a:gd name="connsiteY45965" fmla="*/ 299368 h 4687251"/>
              <a:gd name="connsiteX45966" fmla="*/ 1937889 w 8079933"/>
              <a:gd name="connsiteY45966" fmla="*/ 305107 h 4687251"/>
              <a:gd name="connsiteX45967" fmla="*/ 1934851 w 8079933"/>
              <a:gd name="connsiteY45967" fmla="*/ 309004 h 4687251"/>
              <a:gd name="connsiteX45968" fmla="*/ 1932029 w 8079933"/>
              <a:gd name="connsiteY45968" fmla="*/ 309112 h 4687251"/>
              <a:gd name="connsiteX45969" fmla="*/ 1932355 w 8079933"/>
              <a:gd name="connsiteY45969" fmla="*/ 314417 h 4687251"/>
              <a:gd name="connsiteX45970" fmla="*/ 1929425 w 8079933"/>
              <a:gd name="connsiteY45970" fmla="*/ 318749 h 4687251"/>
              <a:gd name="connsiteX45971" fmla="*/ 1926495 w 8079933"/>
              <a:gd name="connsiteY45971" fmla="*/ 318315 h 4687251"/>
              <a:gd name="connsiteX45972" fmla="*/ 1923457 w 8079933"/>
              <a:gd name="connsiteY45972" fmla="*/ 322321 h 4687251"/>
              <a:gd name="connsiteX45973" fmla="*/ 1915643 w 8079933"/>
              <a:gd name="connsiteY45973" fmla="*/ 326977 h 4687251"/>
              <a:gd name="connsiteX45974" fmla="*/ 1914016 w 8079933"/>
              <a:gd name="connsiteY45974" fmla="*/ 326761 h 4687251"/>
              <a:gd name="connsiteX45975" fmla="*/ 1913690 w 8079933"/>
              <a:gd name="connsiteY45975" fmla="*/ 323296 h 4687251"/>
              <a:gd name="connsiteX45976" fmla="*/ 1910651 w 8079933"/>
              <a:gd name="connsiteY45976" fmla="*/ 322863 h 4687251"/>
              <a:gd name="connsiteX45977" fmla="*/ 1908264 w 8079933"/>
              <a:gd name="connsiteY45977" fmla="*/ 325461 h 4687251"/>
              <a:gd name="connsiteX45978" fmla="*/ 1906202 w 8079933"/>
              <a:gd name="connsiteY45978" fmla="*/ 322538 h 4687251"/>
              <a:gd name="connsiteX45979" fmla="*/ 1907830 w 8079933"/>
              <a:gd name="connsiteY45979" fmla="*/ 318532 h 4687251"/>
              <a:gd name="connsiteX45980" fmla="*/ 1910868 w 8079933"/>
              <a:gd name="connsiteY45980" fmla="*/ 315825 h 4687251"/>
              <a:gd name="connsiteX45981" fmla="*/ 1909023 w 8079933"/>
              <a:gd name="connsiteY45981" fmla="*/ 312252 h 4687251"/>
              <a:gd name="connsiteX45982" fmla="*/ 1911845 w 8079933"/>
              <a:gd name="connsiteY45982" fmla="*/ 306514 h 4687251"/>
              <a:gd name="connsiteX45983" fmla="*/ 1916186 w 8079933"/>
              <a:gd name="connsiteY45983" fmla="*/ 303915 h 4687251"/>
              <a:gd name="connsiteX45984" fmla="*/ 1916403 w 8079933"/>
              <a:gd name="connsiteY45984" fmla="*/ 300233 h 4687251"/>
              <a:gd name="connsiteX45985" fmla="*/ 1913907 w 8079933"/>
              <a:gd name="connsiteY45985" fmla="*/ 299151 h 4687251"/>
              <a:gd name="connsiteX45986" fmla="*/ 1908481 w 8079933"/>
              <a:gd name="connsiteY45986" fmla="*/ 301641 h 4687251"/>
              <a:gd name="connsiteX45987" fmla="*/ 1905877 w 8079933"/>
              <a:gd name="connsiteY45987" fmla="*/ 302074 h 4687251"/>
              <a:gd name="connsiteX45988" fmla="*/ 1903815 w 8079933"/>
              <a:gd name="connsiteY45988" fmla="*/ 308354 h 4687251"/>
              <a:gd name="connsiteX45989" fmla="*/ 1902621 w 8079933"/>
              <a:gd name="connsiteY45989" fmla="*/ 309004 h 4687251"/>
              <a:gd name="connsiteX45990" fmla="*/ 1902295 w 8079933"/>
              <a:gd name="connsiteY45990" fmla="*/ 313660 h 4687251"/>
              <a:gd name="connsiteX45991" fmla="*/ 1900234 w 8079933"/>
              <a:gd name="connsiteY45991" fmla="*/ 315500 h 4687251"/>
              <a:gd name="connsiteX45992" fmla="*/ 1896002 w 8079933"/>
              <a:gd name="connsiteY45992" fmla="*/ 313443 h 4687251"/>
              <a:gd name="connsiteX45993" fmla="*/ 1895567 w 8079933"/>
              <a:gd name="connsiteY45993" fmla="*/ 308463 h 4687251"/>
              <a:gd name="connsiteX45994" fmla="*/ 1892204 w 8079933"/>
              <a:gd name="connsiteY45994" fmla="*/ 302616 h 4687251"/>
              <a:gd name="connsiteX45995" fmla="*/ 1887863 w 8079933"/>
              <a:gd name="connsiteY45995" fmla="*/ 300233 h 4687251"/>
              <a:gd name="connsiteX45996" fmla="*/ 1884390 w 8079933"/>
              <a:gd name="connsiteY45996" fmla="*/ 301425 h 4687251"/>
              <a:gd name="connsiteX45997" fmla="*/ 1882545 w 8079933"/>
              <a:gd name="connsiteY45997" fmla="*/ 305432 h 4687251"/>
              <a:gd name="connsiteX45998" fmla="*/ 1877662 w 8079933"/>
              <a:gd name="connsiteY45998" fmla="*/ 306296 h 4687251"/>
              <a:gd name="connsiteX45999" fmla="*/ 1872671 w 8079933"/>
              <a:gd name="connsiteY45999" fmla="*/ 304673 h 4687251"/>
              <a:gd name="connsiteX46000" fmla="*/ 1872671 w 8079933"/>
              <a:gd name="connsiteY46000" fmla="*/ 302508 h 4687251"/>
              <a:gd name="connsiteX46001" fmla="*/ 1879399 w 8079933"/>
              <a:gd name="connsiteY46001" fmla="*/ 300017 h 4687251"/>
              <a:gd name="connsiteX46002" fmla="*/ 1880592 w 8079933"/>
              <a:gd name="connsiteY46002" fmla="*/ 296986 h 4687251"/>
              <a:gd name="connsiteX46003" fmla="*/ 1877662 w 8079933"/>
              <a:gd name="connsiteY46003" fmla="*/ 294280 h 4687251"/>
              <a:gd name="connsiteX46004" fmla="*/ 1878856 w 8079933"/>
              <a:gd name="connsiteY46004" fmla="*/ 292005 h 4687251"/>
              <a:gd name="connsiteX46005" fmla="*/ 1882654 w 8079933"/>
              <a:gd name="connsiteY46005" fmla="*/ 291464 h 4687251"/>
              <a:gd name="connsiteX46006" fmla="*/ 1880809 w 8079933"/>
              <a:gd name="connsiteY46006" fmla="*/ 289407 h 4687251"/>
              <a:gd name="connsiteX46007" fmla="*/ 1876361 w 8079933"/>
              <a:gd name="connsiteY46007" fmla="*/ 289623 h 4687251"/>
              <a:gd name="connsiteX46008" fmla="*/ 1878856 w 8079933"/>
              <a:gd name="connsiteY46008" fmla="*/ 284643 h 4687251"/>
              <a:gd name="connsiteX46009" fmla="*/ 1885258 w 8079933"/>
              <a:gd name="connsiteY46009" fmla="*/ 283019 h 4687251"/>
              <a:gd name="connsiteX46010" fmla="*/ 1889056 w 8079933"/>
              <a:gd name="connsiteY46010" fmla="*/ 282910 h 4687251"/>
              <a:gd name="connsiteX46011" fmla="*/ 1893723 w 8079933"/>
              <a:gd name="connsiteY46011" fmla="*/ 275656 h 4687251"/>
              <a:gd name="connsiteX46012" fmla="*/ 1904792 w 8079933"/>
              <a:gd name="connsiteY46012" fmla="*/ 273817 h 4687251"/>
              <a:gd name="connsiteX46013" fmla="*/ 1909241 w 8079933"/>
              <a:gd name="connsiteY46013" fmla="*/ 271542 h 4687251"/>
              <a:gd name="connsiteX46014" fmla="*/ 1914666 w 8079933"/>
              <a:gd name="connsiteY46014" fmla="*/ 273382 h 4687251"/>
              <a:gd name="connsiteX46015" fmla="*/ 1919875 w 8079933"/>
              <a:gd name="connsiteY46015" fmla="*/ 270352 h 4687251"/>
              <a:gd name="connsiteX46016" fmla="*/ 1927797 w 8079933"/>
              <a:gd name="connsiteY46016" fmla="*/ 264180 h 4687251"/>
              <a:gd name="connsiteX46017" fmla="*/ 1931053 w 8079933"/>
              <a:gd name="connsiteY46017" fmla="*/ 264180 h 4687251"/>
              <a:gd name="connsiteX46018" fmla="*/ 1933548 w 8079933"/>
              <a:gd name="connsiteY46018" fmla="*/ 262123 h 4687251"/>
              <a:gd name="connsiteX46019" fmla="*/ 1938106 w 8079933"/>
              <a:gd name="connsiteY46019" fmla="*/ 262989 h 4687251"/>
              <a:gd name="connsiteX46020" fmla="*/ 1940385 w 8079933"/>
              <a:gd name="connsiteY46020" fmla="*/ 261257 h 4687251"/>
              <a:gd name="connsiteX46021" fmla="*/ 1948306 w 8079933"/>
              <a:gd name="connsiteY46021" fmla="*/ 261257 h 4687251"/>
              <a:gd name="connsiteX46022" fmla="*/ 1948958 w 8079933"/>
              <a:gd name="connsiteY46022" fmla="*/ 258117 h 4687251"/>
              <a:gd name="connsiteX46023" fmla="*/ 1952864 w 8079933"/>
              <a:gd name="connsiteY46023" fmla="*/ 255085 h 4687251"/>
              <a:gd name="connsiteX46024" fmla="*/ 1956988 w 8079933"/>
              <a:gd name="connsiteY46024" fmla="*/ 254219 h 4687251"/>
              <a:gd name="connsiteX46025" fmla="*/ 1962957 w 8079933"/>
              <a:gd name="connsiteY46025" fmla="*/ 249888 h 4687251"/>
              <a:gd name="connsiteX46026" fmla="*/ 1966971 w 8079933"/>
              <a:gd name="connsiteY46026" fmla="*/ 249564 h 4687251"/>
              <a:gd name="connsiteX46027" fmla="*/ 1970336 w 8079933"/>
              <a:gd name="connsiteY46027" fmla="*/ 246640 h 4687251"/>
              <a:gd name="connsiteX46028" fmla="*/ 1981730 w 8079933"/>
              <a:gd name="connsiteY46028" fmla="*/ 237870 h 4687251"/>
              <a:gd name="connsiteX46029" fmla="*/ 1984551 w 8079933"/>
              <a:gd name="connsiteY46029" fmla="*/ 237870 h 4687251"/>
              <a:gd name="connsiteX46030" fmla="*/ 1986396 w 8079933"/>
              <a:gd name="connsiteY46030" fmla="*/ 238736 h 4687251"/>
              <a:gd name="connsiteX46031" fmla="*/ 1988783 w 8079933"/>
              <a:gd name="connsiteY46031" fmla="*/ 235813 h 4687251"/>
              <a:gd name="connsiteX46032" fmla="*/ 1990194 w 8079933"/>
              <a:gd name="connsiteY46032" fmla="*/ 231158 h 4687251"/>
              <a:gd name="connsiteX46033" fmla="*/ 1995511 w 8079933"/>
              <a:gd name="connsiteY46033" fmla="*/ 228559 h 4687251"/>
              <a:gd name="connsiteX46034" fmla="*/ 2005820 w 8079933"/>
              <a:gd name="connsiteY46034" fmla="*/ 229642 h 4687251"/>
              <a:gd name="connsiteX46035" fmla="*/ 2008968 w 8079933"/>
              <a:gd name="connsiteY46035" fmla="*/ 228884 h 4687251"/>
              <a:gd name="connsiteX46036" fmla="*/ 2013959 w 8079933"/>
              <a:gd name="connsiteY46036" fmla="*/ 230940 h 4687251"/>
              <a:gd name="connsiteX46037" fmla="*/ 2019277 w 8079933"/>
              <a:gd name="connsiteY46037" fmla="*/ 231158 h 4687251"/>
              <a:gd name="connsiteX46038" fmla="*/ 2021012 w 8079933"/>
              <a:gd name="connsiteY46038" fmla="*/ 229101 h 4687251"/>
              <a:gd name="connsiteX46039" fmla="*/ 2023400 w 8079933"/>
              <a:gd name="connsiteY46039" fmla="*/ 229101 h 4687251"/>
              <a:gd name="connsiteX46040" fmla="*/ 2027958 w 8079933"/>
              <a:gd name="connsiteY46040" fmla="*/ 233864 h 4687251"/>
              <a:gd name="connsiteX46041" fmla="*/ 2028826 w 8079933"/>
              <a:gd name="connsiteY46041" fmla="*/ 240794 h 4687251"/>
              <a:gd name="connsiteX46042" fmla="*/ 2031213 w 8079933"/>
              <a:gd name="connsiteY46042" fmla="*/ 244041 h 4687251"/>
              <a:gd name="connsiteX46043" fmla="*/ 2032733 w 8079933"/>
              <a:gd name="connsiteY46043" fmla="*/ 242093 h 4687251"/>
              <a:gd name="connsiteX46044" fmla="*/ 2033384 w 8079933"/>
              <a:gd name="connsiteY46044" fmla="*/ 239169 h 4687251"/>
              <a:gd name="connsiteX46045" fmla="*/ 2034794 w 8079933"/>
              <a:gd name="connsiteY46045" fmla="*/ 239061 h 4687251"/>
              <a:gd name="connsiteX46046" fmla="*/ 2036205 w 8079933"/>
              <a:gd name="connsiteY46046" fmla="*/ 243500 h 4687251"/>
              <a:gd name="connsiteX46047" fmla="*/ 2040329 w 8079933"/>
              <a:gd name="connsiteY46047" fmla="*/ 242634 h 4687251"/>
              <a:gd name="connsiteX46048" fmla="*/ 2039460 w 8079933"/>
              <a:gd name="connsiteY46048" fmla="*/ 239711 h 4687251"/>
              <a:gd name="connsiteX46049" fmla="*/ 2040003 w 8079933"/>
              <a:gd name="connsiteY46049" fmla="*/ 236462 h 4687251"/>
              <a:gd name="connsiteX46050" fmla="*/ 2040329 w 8079933"/>
              <a:gd name="connsiteY46050" fmla="*/ 230291 h 4687251"/>
              <a:gd name="connsiteX46051" fmla="*/ 2045863 w 8079933"/>
              <a:gd name="connsiteY46051" fmla="*/ 227693 h 4687251"/>
              <a:gd name="connsiteX46052" fmla="*/ 2133762 w 8079933"/>
              <a:gd name="connsiteY46052" fmla="*/ 225853 h 4687251"/>
              <a:gd name="connsiteX46053" fmla="*/ 2136259 w 8079933"/>
              <a:gd name="connsiteY46053" fmla="*/ 227694 h 4687251"/>
              <a:gd name="connsiteX46054" fmla="*/ 2140599 w 8079933"/>
              <a:gd name="connsiteY46054" fmla="*/ 227694 h 4687251"/>
              <a:gd name="connsiteX46055" fmla="*/ 2144072 w 8079933"/>
              <a:gd name="connsiteY46055" fmla="*/ 229427 h 4687251"/>
              <a:gd name="connsiteX46056" fmla="*/ 2149171 w 8079933"/>
              <a:gd name="connsiteY46056" fmla="*/ 229427 h 4687251"/>
              <a:gd name="connsiteX46057" fmla="*/ 2151993 w 8079933"/>
              <a:gd name="connsiteY46057" fmla="*/ 228344 h 4687251"/>
              <a:gd name="connsiteX46058" fmla="*/ 2159264 w 8079933"/>
              <a:gd name="connsiteY46058" fmla="*/ 229968 h 4687251"/>
              <a:gd name="connsiteX46059" fmla="*/ 2159698 w 8079933"/>
              <a:gd name="connsiteY46059" fmla="*/ 231700 h 4687251"/>
              <a:gd name="connsiteX46060" fmla="*/ 2166643 w 8079933"/>
              <a:gd name="connsiteY46060" fmla="*/ 231267 h 4687251"/>
              <a:gd name="connsiteX46061" fmla="*/ 2171960 w 8079933"/>
              <a:gd name="connsiteY46061" fmla="*/ 232674 h 4687251"/>
              <a:gd name="connsiteX46062" fmla="*/ 2173479 w 8079933"/>
              <a:gd name="connsiteY46062" fmla="*/ 234623 h 4687251"/>
              <a:gd name="connsiteX46063" fmla="*/ 2179339 w 8079933"/>
              <a:gd name="connsiteY46063" fmla="*/ 235490 h 4687251"/>
              <a:gd name="connsiteX46064" fmla="*/ 2180533 w 8079933"/>
              <a:gd name="connsiteY46064" fmla="*/ 237655 h 4687251"/>
              <a:gd name="connsiteX46065" fmla="*/ 2176084 w 8079933"/>
              <a:gd name="connsiteY46065" fmla="*/ 245559 h 4687251"/>
              <a:gd name="connsiteX46066" fmla="*/ 2172286 w 8079933"/>
              <a:gd name="connsiteY46066" fmla="*/ 244584 h 4687251"/>
              <a:gd name="connsiteX46067" fmla="*/ 2160783 w 8079933"/>
              <a:gd name="connsiteY46067" fmla="*/ 248374 h 4687251"/>
              <a:gd name="connsiteX46068" fmla="*/ 2156442 w 8079933"/>
              <a:gd name="connsiteY46068" fmla="*/ 248698 h 4687251"/>
              <a:gd name="connsiteX46069" fmla="*/ 2150799 w 8079933"/>
              <a:gd name="connsiteY46069" fmla="*/ 254005 h 4687251"/>
              <a:gd name="connsiteX46070" fmla="*/ 2150799 w 8079933"/>
              <a:gd name="connsiteY46070" fmla="*/ 256710 h 4687251"/>
              <a:gd name="connsiteX46071" fmla="*/ 2155900 w 8079933"/>
              <a:gd name="connsiteY46071" fmla="*/ 257144 h 4687251"/>
              <a:gd name="connsiteX46072" fmla="*/ 2157636 w 8079933"/>
              <a:gd name="connsiteY46072" fmla="*/ 256278 h 4687251"/>
              <a:gd name="connsiteX46073" fmla="*/ 2158504 w 8079933"/>
              <a:gd name="connsiteY46073" fmla="*/ 259852 h 4687251"/>
              <a:gd name="connsiteX46074" fmla="*/ 2152644 w 8079933"/>
              <a:gd name="connsiteY46074" fmla="*/ 266888 h 4687251"/>
              <a:gd name="connsiteX46075" fmla="*/ 2151125 w 8079933"/>
              <a:gd name="connsiteY46075" fmla="*/ 270137 h 4687251"/>
              <a:gd name="connsiteX46076" fmla="*/ 2147001 w 8079933"/>
              <a:gd name="connsiteY46076" fmla="*/ 271219 h 4687251"/>
              <a:gd name="connsiteX46077" fmla="*/ 2147110 w 8079933"/>
              <a:gd name="connsiteY46077" fmla="*/ 273818 h 4687251"/>
              <a:gd name="connsiteX46078" fmla="*/ 2144180 w 8079933"/>
              <a:gd name="connsiteY46078" fmla="*/ 277716 h 4687251"/>
              <a:gd name="connsiteX46079" fmla="*/ 2139405 w 8079933"/>
              <a:gd name="connsiteY46079" fmla="*/ 277716 h 4687251"/>
              <a:gd name="connsiteX46080" fmla="*/ 2134414 w 8079933"/>
              <a:gd name="connsiteY46080" fmla="*/ 280098 h 4687251"/>
              <a:gd name="connsiteX46081" fmla="*/ 2128879 w 8079933"/>
              <a:gd name="connsiteY46081" fmla="*/ 280098 h 4687251"/>
              <a:gd name="connsiteX46082" fmla="*/ 2124213 w 8079933"/>
              <a:gd name="connsiteY46082" fmla="*/ 276525 h 4687251"/>
              <a:gd name="connsiteX46083" fmla="*/ 2121500 w 8079933"/>
              <a:gd name="connsiteY46083" fmla="*/ 277933 h 4687251"/>
              <a:gd name="connsiteX46084" fmla="*/ 2116617 w 8079933"/>
              <a:gd name="connsiteY46084" fmla="*/ 277066 h 4687251"/>
              <a:gd name="connsiteX46085" fmla="*/ 2111516 w 8079933"/>
              <a:gd name="connsiteY46085" fmla="*/ 277391 h 4687251"/>
              <a:gd name="connsiteX46086" fmla="*/ 2110106 w 8079933"/>
              <a:gd name="connsiteY46086" fmla="*/ 275550 h 4687251"/>
              <a:gd name="connsiteX46087" fmla="*/ 2112819 w 8079933"/>
              <a:gd name="connsiteY46087" fmla="*/ 272410 h 4687251"/>
              <a:gd name="connsiteX46088" fmla="*/ 2109455 w 8079933"/>
              <a:gd name="connsiteY46088" fmla="*/ 266564 h 4687251"/>
              <a:gd name="connsiteX46089" fmla="*/ 2104788 w 8079933"/>
              <a:gd name="connsiteY46089" fmla="*/ 263315 h 4687251"/>
              <a:gd name="connsiteX46090" fmla="*/ 2101642 w 8079933"/>
              <a:gd name="connsiteY46090" fmla="*/ 262774 h 4687251"/>
              <a:gd name="connsiteX46091" fmla="*/ 2100773 w 8079933"/>
              <a:gd name="connsiteY46091" fmla="*/ 256927 h 4687251"/>
              <a:gd name="connsiteX46092" fmla="*/ 2099580 w 8079933"/>
              <a:gd name="connsiteY46092" fmla="*/ 251731 h 4687251"/>
              <a:gd name="connsiteX46093" fmla="*/ 2103595 w 8079933"/>
              <a:gd name="connsiteY46093" fmla="*/ 247183 h 4687251"/>
              <a:gd name="connsiteX46094" fmla="*/ 2103920 w 8079933"/>
              <a:gd name="connsiteY46094" fmla="*/ 243719 h 4687251"/>
              <a:gd name="connsiteX46095" fmla="*/ 2109021 w 8079933"/>
              <a:gd name="connsiteY46095" fmla="*/ 238521 h 4687251"/>
              <a:gd name="connsiteX46096" fmla="*/ 2109455 w 8079933"/>
              <a:gd name="connsiteY46096" fmla="*/ 233432 h 4687251"/>
              <a:gd name="connsiteX46097" fmla="*/ 2114772 w 8079933"/>
              <a:gd name="connsiteY46097" fmla="*/ 231267 h 4687251"/>
              <a:gd name="connsiteX46098" fmla="*/ 2118679 w 8079933"/>
              <a:gd name="connsiteY46098" fmla="*/ 228235 h 4687251"/>
              <a:gd name="connsiteX46099" fmla="*/ 2122368 w 8079933"/>
              <a:gd name="connsiteY46099" fmla="*/ 228235 h 4687251"/>
              <a:gd name="connsiteX46100" fmla="*/ 4756718 w 8079933"/>
              <a:gd name="connsiteY46100" fmla="*/ 216217 h 4687251"/>
              <a:gd name="connsiteX46101" fmla="*/ 4760299 w 8079933"/>
              <a:gd name="connsiteY46101" fmla="*/ 218167 h 4687251"/>
              <a:gd name="connsiteX46102" fmla="*/ 4760299 w 8079933"/>
              <a:gd name="connsiteY46102" fmla="*/ 220007 h 4687251"/>
              <a:gd name="connsiteX46103" fmla="*/ 4756175 w 8079933"/>
              <a:gd name="connsiteY46103" fmla="*/ 223579 h 4687251"/>
              <a:gd name="connsiteX46104" fmla="*/ 4753245 w 8079933"/>
              <a:gd name="connsiteY46104" fmla="*/ 229751 h 4687251"/>
              <a:gd name="connsiteX46105" fmla="*/ 4748471 w 8079933"/>
              <a:gd name="connsiteY46105" fmla="*/ 237006 h 4687251"/>
              <a:gd name="connsiteX46106" fmla="*/ 4742068 w 8079933"/>
              <a:gd name="connsiteY46106" fmla="*/ 238522 h 4687251"/>
              <a:gd name="connsiteX46107" fmla="*/ 4737185 w 8079933"/>
              <a:gd name="connsiteY46107" fmla="*/ 242636 h 4687251"/>
              <a:gd name="connsiteX46108" fmla="*/ 4732193 w 8079933"/>
              <a:gd name="connsiteY46108" fmla="*/ 242852 h 4687251"/>
              <a:gd name="connsiteX46109" fmla="*/ 4730457 w 8079933"/>
              <a:gd name="connsiteY46109" fmla="*/ 240146 h 4687251"/>
              <a:gd name="connsiteX46110" fmla="*/ 4731867 w 8079933"/>
              <a:gd name="connsiteY46110" fmla="*/ 237547 h 4687251"/>
              <a:gd name="connsiteX46111" fmla="*/ 4739790 w 8079933"/>
              <a:gd name="connsiteY46111" fmla="*/ 234407 h 4687251"/>
              <a:gd name="connsiteX46112" fmla="*/ 4745432 w 8079933"/>
              <a:gd name="connsiteY46112" fmla="*/ 233541 h 4687251"/>
              <a:gd name="connsiteX46113" fmla="*/ 4744238 w 8079933"/>
              <a:gd name="connsiteY46113" fmla="*/ 231810 h 4687251"/>
              <a:gd name="connsiteX46114" fmla="*/ 4742502 w 8079933"/>
              <a:gd name="connsiteY46114" fmla="*/ 225963 h 4687251"/>
              <a:gd name="connsiteX46115" fmla="*/ 4738921 w 8079933"/>
              <a:gd name="connsiteY46115" fmla="*/ 225963 h 4687251"/>
              <a:gd name="connsiteX46116" fmla="*/ 4737402 w 8079933"/>
              <a:gd name="connsiteY46116" fmla="*/ 224987 h 4687251"/>
              <a:gd name="connsiteX46117" fmla="*/ 4739681 w 8079933"/>
              <a:gd name="connsiteY46117" fmla="*/ 221414 h 4687251"/>
              <a:gd name="connsiteX46118" fmla="*/ 4740875 w 8079933"/>
              <a:gd name="connsiteY46118" fmla="*/ 217408 h 4687251"/>
              <a:gd name="connsiteX46119" fmla="*/ 4746518 w 8079933"/>
              <a:gd name="connsiteY46119" fmla="*/ 217408 h 4687251"/>
              <a:gd name="connsiteX46120" fmla="*/ 4751184 w 8079933"/>
              <a:gd name="connsiteY46120" fmla="*/ 219683 h 4687251"/>
              <a:gd name="connsiteX46121" fmla="*/ 3274272 w 8079933"/>
              <a:gd name="connsiteY46121" fmla="*/ 214593 h 4687251"/>
              <a:gd name="connsiteX46122" fmla="*/ 3277311 w 8079933"/>
              <a:gd name="connsiteY46122" fmla="*/ 215567 h 4687251"/>
              <a:gd name="connsiteX46123" fmla="*/ 3280566 w 8079933"/>
              <a:gd name="connsiteY46123" fmla="*/ 219682 h 4687251"/>
              <a:gd name="connsiteX46124" fmla="*/ 3281109 w 8079933"/>
              <a:gd name="connsiteY46124" fmla="*/ 230401 h 4687251"/>
              <a:gd name="connsiteX46125" fmla="*/ 3278396 w 8079933"/>
              <a:gd name="connsiteY46125" fmla="*/ 232891 h 4687251"/>
              <a:gd name="connsiteX46126" fmla="*/ 3271234 w 8079933"/>
              <a:gd name="connsiteY46126" fmla="*/ 227802 h 4687251"/>
              <a:gd name="connsiteX46127" fmla="*/ 3271885 w 8079933"/>
              <a:gd name="connsiteY46127" fmla="*/ 223038 h 4687251"/>
              <a:gd name="connsiteX46128" fmla="*/ 3271017 w 8079933"/>
              <a:gd name="connsiteY46128" fmla="*/ 219899 h 4687251"/>
              <a:gd name="connsiteX46129" fmla="*/ 3271451 w 8079933"/>
              <a:gd name="connsiteY46129" fmla="*/ 215676 h 4687251"/>
              <a:gd name="connsiteX46130" fmla="*/ 2098712 w 8079933"/>
              <a:gd name="connsiteY46130" fmla="*/ 210153 h 4687251"/>
              <a:gd name="connsiteX46131" fmla="*/ 2102510 w 8079933"/>
              <a:gd name="connsiteY46131" fmla="*/ 212211 h 4687251"/>
              <a:gd name="connsiteX46132" fmla="*/ 2105331 w 8079933"/>
              <a:gd name="connsiteY46132" fmla="*/ 212102 h 4687251"/>
              <a:gd name="connsiteX46133" fmla="*/ 2109237 w 8079933"/>
              <a:gd name="connsiteY46133" fmla="*/ 210694 h 4687251"/>
              <a:gd name="connsiteX46134" fmla="*/ 2107718 w 8079933"/>
              <a:gd name="connsiteY46134" fmla="*/ 216866 h 4687251"/>
              <a:gd name="connsiteX46135" fmla="*/ 2108043 w 8079933"/>
              <a:gd name="connsiteY46135" fmla="*/ 220439 h 4687251"/>
              <a:gd name="connsiteX46136" fmla="*/ 2107175 w 8079933"/>
              <a:gd name="connsiteY46136" fmla="*/ 223795 h 4687251"/>
              <a:gd name="connsiteX46137" fmla="*/ 2106958 w 8079933"/>
              <a:gd name="connsiteY46137" fmla="*/ 229425 h 4687251"/>
              <a:gd name="connsiteX46138" fmla="*/ 2103160 w 8079933"/>
              <a:gd name="connsiteY46138" fmla="*/ 234623 h 4687251"/>
              <a:gd name="connsiteX46139" fmla="*/ 2096975 w 8079933"/>
              <a:gd name="connsiteY46139" fmla="*/ 236463 h 4687251"/>
              <a:gd name="connsiteX46140" fmla="*/ 2093720 w 8079933"/>
              <a:gd name="connsiteY46140" fmla="*/ 234730 h 4687251"/>
              <a:gd name="connsiteX46141" fmla="*/ 2090139 w 8079933"/>
              <a:gd name="connsiteY46141" fmla="*/ 227910 h 4687251"/>
              <a:gd name="connsiteX46142" fmla="*/ 2091116 w 8079933"/>
              <a:gd name="connsiteY46142" fmla="*/ 223037 h 4687251"/>
              <a:gd name="connsiteX46143" fmla="*/ 2091007 w 8079933"/>
              <a:gd name="connsiteY46143" fmla="*/ 217516 h 4687251"/>
              <a:gd name="connsiteX46144" fmla="*/ 2092743 w 8079933"/>
              <a:gd name="connsiteY46144" fmla="*/ 213293 h 4687251"/>
              <a:gd name="connsiteX46145" fmla="*/ 2095673 w 8079933"/>
              <a:gd name="connsiteY46145" fmla="*/ 212968 h 4687251"/>
              <a:gd name="connsiteX46146" fmla="*/ 4771477 w 8079933"/>
              <a:gd name="connsiteY46146" fmla="*/ 203116 h 4687251"/>
              <a:gd name="connsiteX46147" fmla="*/ 4774406 w 8079933"/>
              <a:gd name="connsiteY46147" fmla="*/ 205173 h 4687251"/>
              <a:gd name="connsiteX46148" fmla="*/ 4775600 w 8079933"/>
              <a:gd name="connsiteY46148" fmla="*/ 208205 h 4687251"/>
              <a:gd name="connsiteX46149" fmla="*/ 4774624 w 8079933"/>
              <a:gd name="connsiteY46149" fmla="*/ 211453 h 4687251"/>
              <a:gd name="connsiteX46150" fmla="*/ 4771260 w 8079933"/>
              <a:gd name="connsiteY46150" fmla="*/ 213078 h 4687251"/>
              <a:gd name="connsiteX46151" fmla="*/ 4767679 w 8079933"/>
              <a:gd name="connsiteY46151" fmla="*/ 212102 h 4687251"/>
              <a:gd name="connsiteX46152" fmla="*/ 4766811 w 8079933"/>
              <a:gd name="connsiteY46152" fmla="*/ 206582 h 4687251"/>
              <a:gd name="connsiteX46153" fmla="*/ 4768873 w 8079933"/>
              <a:gd name="connsiteY46153" fmla="*/ 203549 h 4687251"/>
              <a:gd name="connsiteX46154" fmla="*/ 4747495 w 8079933"/>
              <a:gd name="connsiteY46154" fmla="*/ 199326 h 4687251"/>
              <a:gd name="connsiteX46155" fmla="*/ 4750967 w 8079933"/>
              <a:gd name="connsiteY46155" fmla="*/ 199759 h 4687251"/>
              <a:gd name="connsiteX46156" fmla="*/ 4753897 w 8079933"/>
              <a:gd name="connsiteY46156" fmla="*/ 201925 h 4687251"/>
              <a:gd name="connsiteX46157" fmla="*/ 4758454 w 8079933"/>
              <a:gd name="connsiteY46157" fmla="*/ 201925 h 4687251"/>
              <a:gd name="connsiteX46158" fmla="*/ 4760516 w 8079933"/>
              <a:gd name="connsiteY46158" fmla="*/ 201384 h 4687251"/>
              <a:gd name="connsiteX46159" fmla="*/ 4762687 w 8079933"/>
              <a:gd name="connsiteY46159" fmla="*/ 203008 h 4687251"/>
              <a:gd name="connsiteX46160" fmla="*/ 4761276 w 8079933"/>
              <a:gd name="connsiteY46160" fmla="*/ 205714 h 4687251"/>
              <a:gd name="connsiteX46161" fmla="*/ 4758780 w 8079933"/>
              <a:gd name="connsiteY46161" fmla="*/ 207338 h 4687251"/>
              <a:gd name="connsiteX46162" fmla="*/ 4756610 w 8079933"/>
              <a:gd name="connsiteY46162" fmla="*/ 211127 h 4687251"/>
              <a:gd name="connsiteX46163" fmla="*/ 4753789 w 8079933"/>
              <a:gd name="connsiteY46163" fmla="*/ 213509 h 4687251"/>
              <a:gd name="connsiteX46164" fmla="*/ 4750967 w 8079933"/>
              <a:gd name="connsiteY46164" fmla="*/ 213184 h 4687251"/>
              <a:gd name="connsiteX46165" fmla="*/ 4748688 w 8079933"/>
              <a:gd name="connsiteY46165" fmla="*/ 210370 h 4687251"/>
              <a:gd name="connsiteX46166" fmla="*/ 4744131 w 8079933"/>
              <a:gd name="connsiteY46166" fmla="*/ 212968 h 4687251"/>
              <a:gd name="connsiteX46167" fmla="*/ 4740007 w 8079933"/>
              <a:gd name="connsiteY46167" fmla="*/ 211127 h 4687251"/>
              <a:gd name="connsiteX46168" fmla="*/ 4738597 w 8079933"/>
              <a:gd name="connsiteY46168" fmla="*/ 208420 h 4687251"/>
              <a:gd name="connsiteX46169" fmla="*/ 4738922 w 8079933"/>
              <a:gd name="connsiteY46169" fmla="*/ 205714 h 4687251"/>
              <a:gd name="connsiteX46170" fmla="*/ 4743480 w 8079933"/>
              <a:gd name="connsiteY46170" fmla="*/ 201817 h 4687251"/>
              <a:gd name="connsiteX46171" fmla="*/ 3273513 w 8079933"/>
              <a:gd name="connsiteY46171" fmla="*/ 195972 h 4687251"/>
              <a:gd name="connsiteX46172" fmla="*/ 3275683 w 8079933"/>
              <a:gd name="connsiteY46172" fmla="*/ 197595 h 4687251"/>
              <a:gd name="connsiteX46173" fmla="*/ 3275792 w 8079933"/>
              <a:gd name="connsiteY46173" fmla="*/ 201168 h 4687251"/>
              <a:gd name="connsiteX46174" fmla="*/ 3279047 w 8079933"/>
              <a:gd name="connsiteY46174" fmla="*/ 203117 h 4687251"/>
              <a:gd name="connsiteX46175" fmla="*/ 3279590 w 8079933"/>
              <a:gd name="connsiteY46175" fmla="*/ 207339 h 4687251"/>
              <a:gd name="connsiteX46176" fmla="*/ 3278070 w 8079933"/>
              <a:gd name="connsiteY46176" fmla="*/ 209722 h 4687251"/>
              <a:gd name="connsiteX46177" fmla="*/ 3271668 w 8079933"/>
              <a:gd name="connsiteY46177" fmla="*/ 210263 h 4687251"/>
              <a:gd name="connsiteX46178" fmla="*/ 3269931 w 8079933"/>
              <a:gd name="connsiteY46178" fmla="*/ 209505 h 4687251"/>
              <a:gd name="connsiteX46179" fmla="*/ 3267110 w 8079933"/>
              <a:gd name="connsiteY46179" fmla="*/ 204741 h 4687251"/>
              <a:gd name="connsiteX46180" fmla="*/ 3266785 w 8079933"/>
              <a:gd name="connsiteY46180" fmla="*/ 201493 h 4687251"/>
              <a:gd name="connsiteX46181" fmla="*/ 3269172 w 8079933"/>
              <a:gd name="connsiteY46181" fmla="*/ 196945 h 4687251"/>
              <a:gd name="connsiteX46182" fmla="*/ 4852972 w 8079933"/>
              <a:gd name="connsiteY46182" fmla="*/ 194672 h 4687251"/>
              <a:gd name="connsiteX46183" fmla="*/ 4856229 w 8079933"/>
              <a:gd name="connsiteY46183" fmla="*/ 196404 h 4687251"/>
              <a:gd name="connsiteX46184" fmla="*/ 4860569 w 8079933"/>
              <a:gd name="connsiteY46184" fmla="*/ 197594 h 4687251"/>
              <a:gd name="connsiteX46185" fmla="*/ 4862196 w 8079933"/>
              <a:gd name="connsiteY46185" fmla="*/ 202250 h 4687251"/>
              <a:gd name="connsiteX46186" fmla="*/ 4861871 w 8079933"/>
              <a:gd name="connsiteY46186" fmla="*/ 209938 h 4687251"/>
              <a:gd name="connsiteX46187" fmla="*/ 4863282 w 8079933"/>
              <a:gd name="connsiteY46187" fmla="*/ 212320 h 4687251"/>
              <a:gd name="connsiteX46188" fmla="*/ 4867405 w 8079933"/>
              <a:gd name="connsiteY46188" fmla="*/ 214052 h 4687251"/>
              <a:gd name="connsiteX46189" fmla="*/ 4872939 w 8079933"/>
              <a:gd name="connsiteY46189" fmla="*/ 219790 h 4687251"/>
              <a:gd name="connsiteX46190" fmla="*/ 4875978 w 8079933"/>
              <a:gd name="connsiteY46190" fmla="*/ 219790 h 4687251"/>
              <a:gd name="connsiteX46191" fmla="*/ 4875978 w 8079933"/>
              <a:gd name="connsiteY46191" fmla="*/ 222389 h 4687251"/>
              <a:gd name="connsiteX46192" fmla="*/ 4868491 w 8079933"/>
              <a:gd name="connsiteY46192" fmla="*/ 226828 h 4687251"/>
              <a:gd name="connsiteX46193" fmla="*/ 4861003 w 8079933"/>
              <a:gd name="connsiteY46193" fmla="*/ 229859 h 4687251"/>
              <a:gd name="connsiteX46194" fmla="*/ 4859483 w 8079933"/>
              <a:gd name="connsiteY46194" fmla="*/ 233216 h 4687251"/>
              <a:gd name="connsiteX46195" fmla="*/ 4860895 w 8079933"/>
              <a:gd name="connsiteY46195" fmla="*/ 237438 h 4687251"/>
              <a:gd name="connsiteX46196" fmla="*/ 4860243 w 8079933"/>
              <a:gd name="connsiteY46196" fmla="*/ 243177 h 4687251"/>
              <a:gd name="connsiteX46197" fmla="*/ 4856770 w 8079933"/>
              <a:gd name="connsiteY46197" fmla="*/ 248266 h 4687251"/>
              <a:gd name="connsiteX46198" fmla="*/ 4852756 w 8079933"/>
              <a:gd name="connsiteY46198" fmla="*/ 245559 h 4687251"/>
              <a:gd name="connsiteX46199" fmla="*/ 4852213 w 8079933"/>
              <a:gd name="connsiteY46199" fmla="*/ 241985 h 4687251"/>
              <a:gd name="connsiteX46200" fmla="*/ 4849174 w 8079933"/>
              <a:gd name="connsiteY46200" fmla="*/ 238630 h 4687251"/>
              <a:gd name="connsiteX46201" fmla="*/ 4844291 w 8079933"/>
              <a:gd name="connsiteY46201" fmla="*/ 239170 h 4687251"/>
              <a:gd name="connsiteX46202" fmla="*/ 4840385 w 8079933"/>
              <a:gd name="connsiteY46202" fmla="*/ 235381 h 4687251"/>
              <a:gd name="connsiteX46203" fmla="*/ 4840168 w 8079933"/>
              <a:gd name="connsiteY46203" fmla="*/ 232024 h 4687251"/>
              <a:gd name="connsiteX46204" fmla="*/ 4842121 w 8079933"/>
              <a:gd name="connsiteY46204" fmla="*/ 228344 h 4687251"/>
              <a:gd name="connsiteX46205" fmla="*/ 4839517 w 8079933"/>
              <a:gd name="connsiteY46205" fmla="*/ 221955 h 4687251"/>
              <a:gd name="connsiteX46206" fmla="*/ 4838323 w 8079933"/>
              <a:gd name="connsiteY46206" fmla="*/ 216326 h 4687251"/>
              <a:gd name="connsiteX46207" fmla="*/ 4839842 w 8079933"/>
              <a:gd name="connsiteY46207" fmla="*/ 209938 h 4687251"/>
              <a:gd name="connsiteX46208" fmla="*/ 4843966 w 8079933"/>
              <a:gd name="connsiteY46208" fmla="*/ 207231 h 4687251"/>
              <a:gd name="connsiteX46209" fmla="*/ 4848306 w 8079933"/>
              <a:gd name="connsiteY46209" fmla="*/ 201492 h 4687251"/>
              <a:gd name="connsiteX46210" fmla="*/ 4848306 w 8079933"/>
              <a:gd name="connsiteY46210" fmla="*/ 198569 h 4687251"/>
              <a:gd name="connsiteX46211" fmla="*/ 4849717 w 8079933"/>
              <a:gd name="connsiteY46211" fmla="*/ 195213 h 4687251"/>
              <a:gd name="connsiteX46212" fmla="*/ 5325020 w 8079933"/>
              <a:gd name="connsiteY46212" fmla="*/ 191316 h 4687251"/>
              <a:gd name="connsiteX46213" fmla="*/ 5333484 w 8079933"/>
              <a:gd name="connsiteY46213" fmla="*/ 192616 h 4687251"/>
              <a:gd name="connsiteX46214" fmla="*/ 5343576 w 8079933"/>
              <a:gd name="connsiteY46214" fmla="*/ 198029 h 4687251"/>
              <a:gd name="connsiteX46215" fmla="*/ 5344553 w 8079933"/>
              <a:gd name="connsiteY46215" fmla="*/ 201276 h 4687251"/>
              <a:gd name="connsiteX46216" fmla="*/ 5341840 w 8079933"/>
              <a:gd name="connsiteY46216" fmla="*/ 208316 h 4687251"/>
              <a:gd name="connsiteX46217" fmla="*/ 5339778 w 8079933"/>
              <a:gd name="connsiteY46217" fmla="*/ 214919 h 4687251"/>
              <a:gd name="connsiteX46218" fmla="*/ 5336414 w 8079933"/>
              <a:gd name="connsiteY46218" fmla="*/ 216760 h 4687251"/>
              <a:gd name="connsiteX46219" fmla="*/ 5330989 w 8079933"/>
              <a:gd name="connsiteY46219" fmla="*/ 221416 h 4687251"/>
              <a:gd name="connsiteX46220" fmla="*/ 5326322 w 8079933"/>
              <a:gd name="connsiteY46220" fmla="*/ 224988 h 4687251"/>
              <a:gd name="connsiteX46221" fmla="*/ 5321330 w 8079933"/>
              <a:gd name="connsiteY46221" fmla="*/ 224555 h 4687251"/>
              <a:gd name="connsiteX46222" fmla="*/ 5316881 w 8079933"/>
              <a:gd name="connsiteY46222" fmla="*/ 221957 h 4687251"/>
              <a:gd name="connsiteX46223" fmla="*/ 5316555 w 8079933"/>
              <a:gd name="connsiteY46223" fmla="*/ 219899 h 4687251"/>
              <a:gd name="connsiteX46224" fmla="*/ 5322198 w 8079933"/>
              <a:gd name="connsiteY46224" fmla="*/ 219791 h 4687251"/>
              <a:gd name="connsiteX46225" fmla="*/ 5328926 w 8079933"/>
              <a:gd name="connsiteY46225" fmla="*/ 217950 h 4687251"/>
              <a:gd name="connsiteX46226" fmla="*/ 5330989 w 8079933"/>
              <a:gd name="connsiteY46226" fmla="*/ 216434 h 4687251"/>
              <a:gd name="connsiteX46227" fmla="*/ 5327733 w 8079933"/>
              <a:gd name="connsiteY46227" fmla="*/ 215352 h 4687251"/>
              <a:gd name="connsiteX46228" fmla="*/ 5318943 w 8079933"/>
              <a:gd name="connsiteY46228" fmla="*/ 215570 h 4687251"/>
              <a:gd name="connsiteX46229" fmla="*/ 5312866 w 8079933"/>
              <a:gd name="connsiteY46229" fmla="*/ 213405 h 4687251"/>
              <a:gd name="connsiteX46230" fmla="*/ 5309936 w 8079933"/>
              <a:gd name="connsiteY46230" fmla="*/ 208748 h 4687251"/>
              <a:gd name="connsiteX46231" fmla="*/ 5304836 w 8079933"/>
              <a:gd name="connsiteY46231" fmla="*/ 206366 h 4687251"/>
              <a:gd name="connsiteX46232" fmla="*/ 5302448 w 8079933"/>
              <a:gd name="connsiteY46232" fmla="*/ 202359 h 4687251"/>
              <a:gd name="connsiteX46233" fmla="*/ 5296480 w 8079933"/>
              <a:gd name="connsiteY46233" fmla="*/ 201061 h 4687251"/>
              <a:gd name="connsiteX46234" fmla="*/ 5294744 w 8079933"/>
              <a:gd name="connsiteY46234" fmla="*/ 197920 h 4687251"/>
              <a:gd name="connsiteX46235" fmla="*/ 5296046 w 8079933"/>
              <a:gd name="connsiteY46235" fmla="*/ 196621 h 4687251"/>
              <a:gd name="connsiteX46236" fmla="*/ 5301906 w 8079933"/>
              <a:gd name="connsiteY46236" fmla="*/ 196514 h 4687251"/>
              <a:gd name="connsiteX46237" fmla="*/ 5306138 w 8079933"/>
              <a:gd name="connsiteY46237" fmla="*/ 193049 h 4687251"/>
              <a:gd name="connsiteX46238" fmla="*/ 5309176 w 8079933"/>
              <a:gd name="connsiteY46238" fmla="*/ 193049 h 4687251"/>
              <a:gd name="connsiteX46239" fmla="*/ 5313517 w 8079933"/>
              <a:gd name="connsiteY46239" fmla="*/ 194781 h 4687251"/>
              <a:gd name="connsiteX46240" fmla="*/ 5317749 w 8079933"/>
              <a:gd name="connsiteY46240" fmla="*/ 192724 h 4687251"/>
              <a:gd name="connsiteX46241" fmla="*/ 4756827 w 8079933"/>
              <a:gd name="connsiteY46241" fmla="*/ 190882 h 4687251"/>
              <a:gd name="connsiteX46242" fmla="*/ 4757912 w 8079933"/>
              <a:gd name="connsiteY46242" fmla="*/ 193806 h 4687251"/>
              <a:gd name="connsiteX46243" fmla="*/ 4755307 w 8079933"/>
              <a:gd name="connsiteY46243" fmla="*/ 195972 h 4687251"/>
              <a:gd name="connsiteX46244" fmla="*/ 4754874 w 8079933"/>
              <a:gd name="connsiteY46244" fmla="*/ 192614 h 4687251"/>
              <a:gd name="connsiteX46245" fmla="*/ 5496586 w 8079933"/>
              <a:gd name="connsiteY46245" fmla="*/ 188392 h 4687251"/>
              <a:gd name="connsiteX46246" fmla="*/ 5499841 w 8079933"/>
              <a:gd name="connsiteY46246" fmla="*/ 188392 h 4687251"/>
              <a:gd name="connsiteX46247" fmla="*/ 5506027 w 8079933"/>
              <a:gd name="connsiteY46247" fmla="*/ 191316 h 4687251"/>
              <a:gd name="connsiteX46248" fmla="*/ 5510693 w 8079933"/>
              <a:gd name="connsiteY46248" fmla="*/ 192398 h 4687251"/>
              <a:gd name="connsiteX46249" fmla="*/ 5515468 w 8079933"/>
              <a:gd name="connsiteY46249" fmla="*/ 194455 h 4687251"/>
              <a:gd name="connsiteX46250" fmla="*/ 5516336 w 8079933"/>
              <a:gd name="connsiteY46250" fmla="*/ 210047 h 4687251"/>
              <a:gd name="connsiteX46251" fmla="*/ 5518181 w 8079933"/>
              <a:gd name="connsiteY46251" fmla="*/ 213295 h 4687251"/>
              <a:gd name="connsiteX46252" fmla="*/ 5520785 w 8079933"/>
              <a:gd name="connsiteY46252" fmla="*/ 213295 h 4687251"/>
              <a:gd name="connsiteX46253" fmla="*/ 5520785 w 8079933"/>
              <a:gd name="connsiteY46253" fmla="*/ 208855 h 4687251"/>
              <a:gd name="connsiteX46254" fmla="*/ 5524040 w 8079933"/>
              <a:gd name="connsiteY46254" fmla="*/ 206257 h 4687251"/>
              <a:gd name="connsiteX46255" fmla="*/ 5524040 w 8079933"/>
              <a:gd name="connsiteY46255" fmla="*/ 203117 h 4687251"/>
              <a:gd name="connsiteX46256" fmla="*/ 5520567 w 8079933"/>
              <a:gd name="connsiteY46256" fmla="*/ 199004 h 4687251"/>
              <a:gd name="connsiteX46257" fmla="*/ 5520567 w 8079933"/>
              <a:gd name="connsiteY46257" fmla="*/ 196621 h 4687251"/>
              <a:gd name="connsiteX46258" fmla="*/ 5523280 w 8079933"/>
              <a:gd name="connsiteY46258" fmla="*/ 198570 h 4687251"/>
              <a:gd name="connsiteX46259" fmla="*/ 5528055 w 8079933"/>
              <a:gd name="connsiteY46259" fmla="*/ 204525 h 4687251"/>
              <a:gd name="connsiteX46260" fmla="*/ 5530334 w 8079933"/>
              <a:gd name="connsiteY46260" fmla="*/ 204525 h 4687251"/>
              <a:gd name="connsiteX46261" fmla="*/ 5531202 w 8079933"/>
              <a:gd name="connsiteY46261" fmla="*/ 200194 h 4687251"/>
              <a:gd name="connsiteX46262" fmla="*/ 5534241 w 8079933"/>
              <a:gd name="connsiteY46262" fmla="*/ 200194 h 4687251"/>
              <a:gd name="connsiteX46263" fmla="*/ 5537822 w 8079933"/>
              <a:gd name="connsiteY46263" fmla="*/ 204308 h 4687251"/>
              <a:gd name="connsiteX46264" fmla="*/ 5539016 w 8079933"/>
              <a:gd name="connsiteY46264" fmla="*/ 207774 h 4687251"/>
              <a:gd name="connsiteX46265" fmla="*/ 5542488 w 8079933"/>
              <a:gd name="connsiteY46265" fmla="*/ 208964 h 4687251"/>
              <a:gd name="connsiteX46266" fmla="*/ 5543682 w 8079933"/>
              <a:gd name="connsiteY46266" fmla="*/ 206907 h 4687251"/>
              <a:gd name="connsiteX46267" fmla="*/ 5546286 w 8079933"/>
              <a:gd name="connsiteY46267" fmla="*/ 207557 h 4687251"/>
              <a:gd name="connsiteX46268" fmla="*/ 5552147 w 8079933"/>
              <a:gd name="connsiteY46268" fmla="*/ 213186 h 4687251"/>
              <a:gd name="connsiteX46269" fmla="*/ 5557789 w 8079933"/>
              <a:gd name="connsiteY46269" fmla="*/ 215460 h 4687251"/>
              <a:gd name="connsiteX46270" fmla="*/ 5561370 w 8079933"/>
              <a:gd name="connsiteY46270" fmla="*/ 217735 h 4687251"/>
              <a:gd name="connsiteX46271" fmla="*/ 5563432 w 8079933"/>
              <a:gd name="connsiteY46271" fmla="*/ 216327 h 4687251"/>
              <a:gd name="connsiteX46272" fmla="*/ 5568098 w 8079933"/>
              <a:gd name="connsiteY46272" fmla="*/ 216327 h 4687251"/>
              <a:gd name="connsiteX46273" fmla="*/ 5575694 w 8079933"/>
              <a:gd name="connsiteY46273" fmla="*/ 221306 h 4687251"/>
              <a:gd name="connsiteX46274" fmla="*/ 5575694 w 8079933"/>
              <a:gd name="connsiteY46274" fmla="*/ 225638 h 4687251"/>
              <a:gd name="connsiteX46275" fmla="*/ 5578408 w 8079933"/>
              <a:gd name="connsiteY46275" fmla="*/ 231376 h 4687251"/>
              <a:gd name="connsiteX46276" fmla="*/ 5584592 w 8079933"/>
              <a:gd name="connsiteY46276" fmla="*/ 238739 h 4687251"/>
              <a:gd name="connsiteX46277" fmla="*/ 5586004 w 8079933"/>
              <a:gd name="connsiteY46277" fmla="*/ 243935 h 4687251"/>
              <a:gd name="connsiteX46278" fmla="*/ 5581880 w 8079933"/>
              <a:gd name="connsiteY46278" fmla="*/ 253247 h 4687251"/>
              <a:gd name="connsiteX46279" fmla="*/ 5578625 w 8079933"/>
              <a:gd name="connsiteY46279" fmla="*/ 255521 h 4687251"/>
              <a:gd name="connsiteX46280" fmla="*/ 5577430 w 8079933"/>
              <a:gd name="connsiteY46280" fmla="*/ 259527 h 4687251"/>
              <a:gd name="connsiteX46281" fmla="*/ 5569726 w 8079933"/>
              <a:gd name="connsiteY46281" fmla="*/ 265698 h 4687251"/>
              <a:gd name="connsiteX46282" fmla="*/ 5564409 w 8079933"/>
              <a:gd name="connsiteY46282" fmla="*/ 267538 h 4687251"/>
              <a:gd name="connsiteX46283" fmla="*/ 5562347 w 8079933"/>
              <a:gd name="connsiteY46283" fmla="*/ 271112 h 4687251"/>
              <a:gd name="connsiteX46284" fmla="*/ 5560068 w 8079933"/>
              <a:gd name="connsiteY46284" fmla="*/ 275551 h 4687251"/>
              <a:gd name="connsiteX46285" fmla="*/ 5556595 w 8079933"/>
              <a:gd name="connsiteY46285" fmla="*/ 275551 h 4687251"/>
              <a:gd name="connsiteX46286" fmla="*/ 5553883 w 8079933"/>
              <a:gd name="connsiteY46286" fmla="*/ 273169 h 4687251"/>
              <a:gd name="connsiteX46287" fmla="*/ 5549867 w 8079933"/>
              <a:gd name="connsiteY46287" fmla="*/ 273818 h 4687251"/>
              <a:gd name="connsiteX46288" fmla="*/ 5539016 w 8079933"/>
              <a:gd name="connsiteY46288" fmla="*/ 280856 h 4687251"/>
              <a:gd name="connsiteX46289" fmla="*/ 5538364 w 8079933"/>
              <a:gd name="connsiteY46289" fmla="*/ 284753 h 4687251"/>
              <a:gd name="connsiteX46290" fmla="*/ 5539233 w 8079933"/>
              <a:gd name="connsiteY46290" fmla="*/ 287677 h 4687251"/>
              <a:gd name="connsiteX46291" fmla="*/ 5535651 w 8079933"/>
              <a:gd name="connsiteY46291" fmla="*/ 289735 h 4687251"/>
              <a:gd name="connsiteX46292" fmla="*/ 5530551 w 8079933"/>
              <a:gd name="connsiteY46292" fmla="*/ 296987 h 4687251"/>
              <a:gd name="connsiteX46293" fmla="*/ 5527404 w 8079933"/>
              <a:gd name="connsiteY46293" fmla="*/ 303376 h 4687251"/>
              <a:gd name="connsiteX46294" fmla="*/ 5521219 w 8079933"/>
              <a:gd name="connsiteY46294" fmla="*/ 305435 h 4687251"/>
              <a:gd name="connsiteX46295" fmla="*/ 5518289 w 8079933"/>
              <a:gd name="connsiteY46295" fmla="*/ 302725 h 4687251"/>
              <a:gd name="connsiteX46296" fmla="*/ 5518289 w 8079933"/>
              <a:gd name="connsiteY46296" fmla="*/ 298070 h 4687251"/>
              <a:gd name="connsiteX46297" fmla="*/ 5514165 w 8079933"/>
              <a:gd name="connsiteY46297" fmla="*/ 294281 h 4687251"/>
              <a:gd name="connsiteX46298" fmla="*/ 5511561 w 8079933"/>
              <a:gd name="connsiteY46298" fmla="*/ 286919 h 4687251"/>
              <a:gd name="connsiteX46299" fmla="*/ 5508414 w 8079933"/>
              <a:gd name="connsiteY46299" fmla="*/ 279881 h 4687251"/>
              <a:gd name="connsiteX46300" fmla="*/ 5510151 w 8079933"/>
              <a:gd name="connsiteY46300" fmla="*/ 277282 h 4687251"/>
              <a:gd name="connsiteX46301" fmla="*/ 5509499 w 8079933"/>
              <a:gd name="connsiteY46301" fmla="*/ 272844 h 4687251"/>
              <a:gd name="connsiteX46302" fmla="*/ 5506895 w 8079933"/>
              <a:gd name="connsiteY46302" fmla="*/ 270786 h 4687251"/>
              <a:gd name="connsiteX46303" fmla="*/ 5506895 w 8079933"/>
              <a:gd name="connsiteY46303" fmla="*/ 264940 h 4687251"/>
              <a:gd name="connsiteX46304" fmla="*/ 5505159 w 8079933"/>
              <a:gd name="connsiteY46304" fmla="*/ 258769 h 4687251"/>
              <a:gd name="connsiteX46305" fmla="*/ 5501034 w 8079933"/>
              <a:gd name="connsiteY46305" fmla="*/ 250324 h 4687251"/>
              <a:gd name="connsiteX46306" fmla="*/ 5503422 w 8079933"/>
              <a:gd name="connsiteY46306" fmla="*/ 242203 h 4687251"/>
              <a:gd name="connsiteX46307" fmla="*/ 5507872 w 8079933"/>
              <a:gd name="connsiteY46307" fmla="*/ 241336 h 4687251"/>
              <a:gd name="connsiteX46308" fmla="*/ 5510802 w 8079933"/>
              <a:gd name="connsiteY46308" fmla="*/ 238630 h 4687251"/>
              <a:gd name="connsiteX46309" fmla="*/ 5506461 w 8079933"/>
              <a:gd name="connsiteY46309" fmla="*/ 238630 h 4687251"/>
              <a:gd name="connsiteX46310" fmla="*/ 5502879 w 8079933"/>
              <a:gd name="connsiteY46310" fmla="*/ 235058 h 4687251"/>
              <a:gd name="connsiteX46311" fmla="*/ 5497671 w 8079933"/>
              <a:gd name="connsiteY46311" fmla="*/ 223039 h 4687251"/>
              <a:gd name="connsiteX46312" fmla="*/ 5498539 w 8079933"/>
              <a:gd name="connsiteY46312" fmla="*/ 219141 h 4687251"/>
              <a:gd name="connsiteX46313" fmla="*/ 5496586 w 8079933"/>
              <a:gd name="connsiteY46313" fmla="*/ 216435 h 4687251"/>
              <a:gd name="connsiteX46314" fmla="*/ 5493005 w 8079933"/>
              <a:gd name="connsiteY46314" fmla="*/ 215570 h 4687251"/>
              <a:gd name="connsiteX46315" fmla="*/ 5490617 w 8079933"/>
              <a:gd name="connsiteY46315" fmla="*/ 212970 h 4687251"/>
              <a:gd name="connsiteX46316" fmla="*/ 5490617 w 8079933"/>
              <a:gd name="connsiteY46316" fmla="*/ 208098 h 4687251"/>
              <a:gd name="connsiteX46317" fmla="*/ 5492028 w 8079933"/>
              <a:gd name="connsiteY46317" fmla="*/ 206691 h 4687251"/>
              <a:gd name="connsiteX46318" fmla="*/ 5491377 w 8079933"/>
              <a:gd name="connsiteY46318" fmla="*/ 203876 h 4687251"/>
              <a:gd name="connsiteX46319" fmla="*/ 5490509 w 8079933"/>
              <a:gd name="connsiteY46319" fmla="*/ 200627 h 4687251"/>
              <a:gd name="connsiteX46320" fmla="*/ 5492462 w 8079933"/>
              <a:gd name="connsiteY46320" fmla="*/ 200627 h 4687251"/>
              <a:gd name="connsiteX46321" fmla="*/ 5495718 w 8079933"/>
              <a:gd name="connsiteY46321" fmla="*/ 203226 h 4687251"/>
              <a:gd name="connsiteX46322" fmla="*/ 5497454 w 8079933"/>
              <a:gd name="connsiteY46322" fmla="*/ 206149 h 4687251"/>
              <a:gd name="connsiteX46323" fmla="*/ 5501252 w 8079933"/>
              <a:gd name="connsiteY46323" fmla="*/ 206149 h 4687251"/>
              <a:gd name="connsiteX46324" fmla="*/ 5503314 w 8079933"/>
              <a:gd name="connsiteY46324" fmla="*/ 204092 h 4687251"/>
              <a:gd name="connsiteX46325" fmla="*/ 5499841 w 8079933"/>
              <a:gd name="connsiteY46325" fmla="*/ 199761 h 4687251"/>
              <a:gd name="connsiteX46326" fmla="*/ 5494958 w 8079933"/>
              <a:gd name="connsiteY46326" fmla="*/ 196621 h 4687251"/>
              <a:gd name="connsiteX46327" fmla="*/ 5493873 w 8079933"/>
              <a:gd name="connsiteY46327" fmla="*/ 192182 h 4687251"/>
              <a:gd name="connsiteX46328" fmla="*/ 5087586 w 8079933"/>
              <a:gd name="connsiteY46328" fmla="*/ 184818 h 4687251"/>
              <a:gd name="connsiteX46329" fmla="*/ 5095508 w 8079933"/>
              <a:gd name="connsiteY46329" fmla="*/ 184818 h 4687251"/>
              <a:gd name="connsiteX46330" fmla="*/ 5102127 w 8079933"/>
              <a:gd name="connsiteY46330" fmla="*/ 186552 h 4687251"/>
              <a:gd name="connsiteX46331" fmla="*/ 5104189 w 8079933"/>
              <a:gd name="connsiteY46331" fmla="*/ 191315 h 4687251"/>
              <a:gd name="connsiteX46332" fmla="*/ 5101476 w 8079933"/>
              <a:gd name="connsiteY46332" fmla="*/ 194996 h 4687251"/>
              <a:gd name="connsiteX46333" fmla="*/ 5095508 w 8079933"/>
              <a:gd name="connsiteY46333" fmla="*/ 196838 h 4687251"/>
              <a:gd name="connsiteX46334" fmla="*/ 5086609 w 8079933"/>
              <a:gd name="connsiteY46334" fmla="*/ 196838 h 4687251"/>
              <a:gd name="connsiteX46335" fmla="*/ 5083245 w 8079933"/>
              <a:gd name="connsiteY46335" fmla="*/ 195429 h 4687251"/>
              <a:gd name="connsiteX46336" fmla="*/ 5081509 w 8079933"/>
              <a:gd name="connsiteY46336" fmla="*/ 193372 h 4687251"/>
              <a:gd name="connsiteX46337" fmla="*/ 5081509 w 8079933"/>
              <a:gd name="connsiteY46337" fmla="*/ 189908 h 4687251"/>
              <a:gd name="connsiteX46338" fmla="*/ 6482241 w 8079933"/>
              <a:gd name="connsiteY46338" fmla="*/ 182330 h 4687251"/>
              <a:gd name="connsiteX46339" fmla="*/ 6484629 w 8079933"/>
              <a:gd name="connsiteY46339" fmla="*/ 185036 h 4687251"/>
              <a:gd name="connsiteX46340" fmla="*/ 6484303 w 8079933"/>
              <a:gd name="connsiteY46340" fmla="*/ 187743 h 4687251"/>
              <a:gd name="connsiteX46341" fmla="*/ 6485713 w 8079933"/>
              <a:gd name="connsiteY46341" fmla="*/ 191424 h 4687251"/>
              <a:gd name="connsiteX46342" fmla="*/ 6488969 w 8079933"/>
              <a:gd name="connsiteY46342" fmla="*/ 190882 h 4687251"/>
              <a:gd name="connsiteX46343" fmla="*/ 6493092 w 8079933"/>
              <a:gd name="connsiteY46343" fmla="*/ 192616 h 4687251"/>
              <a:gd name="connsiteX46344" fmla="*/ 6494938 w 8079933"/>
              <a:gd name="connsiteY46344" fmla="*/ 199327 h 4687251"/>
              <a:gd name="connsiteX46345" fmla="*/ 6491356 w 8079933"/>
              <a:gd name="connsiteY46345" fmla="*/ 204525 h 4687251"/>
              <a:gd name="connsiteX46346" fmla="*/ 6489512 w 8079933"/>
              <a:gd name="connsiteY46346" fmla="*/ 210696 h 4687251"/>
              <a:gd name="connsiteX46347" fmla="*/ 6480179 w 8079933"/>
              <a:gd name="connsiteY46347" fmla="*/ 216542 h 4687251"/>
              <a:gd name="connsiteX46348" fmla="*/ 6475839 w 8079933"/>
              <a:gd name="connsiteY46348" fmla="*/ 218274 h 4687251"/>
              <a:gd name="connsiteX46349" fmla="*/ 6468785 w 8079933"/>
              <a:gd name="connsiteY46349" fmla="*/ 216002 h 4687251"/>
              <a:gd name="connsiteX46350" fmla="*/ 6462600 w 8079933"/>
              <a:gd name="connsiteY46350" fmla="*/ 218058 h 4687251"/>
              <a:gd name="connsiteX46351" fmla="*/ 6454461 w 8079933"/>
              <a:gd name="connsiteY46351" fmla="*/ 217733 h 4687251"/>
              <a:gd name="connsiteX46352" fmla="*/ 6445997 w 8079933"/>
              <a:gd name="connsiteY46352" fmla="*/ 213727 h 4687251"/>
              <a:gd name="connsiteX46353" fmla="*/ 6433843 w 8079933"/>
              <a:gd name="connsiteY46353" fmla="*/ 212537 h 4687251"/>
              <a:gd name="connsiteX46354" fmla="*/ 6417457 w 8079933"/>
              <a:gd name="connsiteY46354" fmla="*/ 206907 h 4687251"/>
              <a:gd name="connsiteX46355" fmla="*/ 6415069 w 8079933"/>
              <a:gd name="connsiteY46355" fmla="*/ 202252 h 4687251"/>
              <a:gd name="connsiteX46356" fmla="*/ 6406714 w 8079933"/>
              <a:gd name="connsiteY46356" fmla="*/ 191534 h 4687251"/>
              <a:gd name="connsiteX46357" fmla="*/ 6404652 w 8079933"/>
              <a:gd name="connsiteY46357" fmla="*/ 182761 h 4687251"/>
              <a:gd name="connsiteX46358" fmla="*/ 6408667 w 8079933"/>
              <a:gd name="connsiteY46358" fmla="*/ 183521 h 4687251"/>
              <a:gd name="connsiteX46359" fmla="*/ 6409210 w 8079933"/>
              <a:gd name="connsiteY46359" fmla="*/ 186769 h 4687251"/>
              <a:gd name="connsiteX46360" fmla="*/ 6412465 w 8079933"/>
              <a:gd name="connsiteY46360" fmla="*/ 190016 h 4687251"/>
              <a:gd name="connsiteX46361" fmla="*/ 6421255 w 8079933"/>
              <a:gd name="connsiteY46361" fmla="*/ 192074 h 4687251"/>
              <a:gd name="connsiteX46362" fmla="*/ 6424511 w 8079933"/>
              <a:gd name="connsiteY46362" fmla="*/ 188608 h 4687251"/>
              <a:gd name="connsiteX46363" fmla="*/ 6424511 w 8079933"/>
              <a:gd name="connsiteY46363" fmla="*/ 184711 h 4687251"/>
              <a:gd name="connsiteX46364" fmla="*/ 6428200 w 8079933"/>
              <a:gd name="connsiteY46364" fmla="*/ 186119 h 4687251"/>
              <a:gd name="connsiteX46365" fmla="*/ 6435905 w 8079933"/>
              <a:gd name="connsiteY46365" fmla="*/ 186119 h 4687251"/>
              <a:gd name="connsiteX46366" fmla="*/ 6441222 w 8079933"/>
              <a:gd name="connsiteY46366" fmla="*/ 184819 h 4687251"/>
              <a:gd name="connsiteX46367" fmla="*/ 6444477 w 8079933"/>
              <a:gd name="connsiteY46367" fmla="*/ 184711 h 4687251"/>
              <a:gd name="connsiteX46368" fmla="*/ 6445671 w 8079933"/>
              <a:gd name="connsiteY46368" fmla="*/ 188608 h 4687251"/>
              <a:gd name="connsiteX46369" fmla="*/ 6447407 w 8079933"/>
              <a:gd name="connsiteY46369" fmla="*/ 191424 h 4687251"/>
              <a:gd name="connsiteX46370" fmla="*/ 6452291 w 8079933"/>
              <a:gd name="connsiteY46370" fmla="*/ 190234 h 4687251"/>
              <a:gd name="connsiteX46371" fmla="*/ 6459452 w 8079933"/>
              <a:gd name="connsiteY46371" fmla="*/ 185036 h 4687251"/>
              <a:gd name="connsiteX46372" fmla="*/ 6471064 w 8079933"/>
              <a:gd name="connsiteY46372" fmla="*/ 182761 h 4687251"/>
              <a:gd name="connsiteX46373" fmla="*/ 6478334 w 8079933"/>
              <a:gd name="connsiteY46373" fmla="*/ 184711 h 4687251"/>
              <a:gd name="connsiteX46374" fmla="*/ 6330645 w 8079933"/>
              <a:gd name="connsiteY46374" fmla="*/ 182113 h 4687251"/>
              <a:gd name="connsiteX46375" fmla="*/ 6335637 w 8079933"/>
              <a:gd name="connsiteY46375" fmla="*/ 182761 h 4687251"/>
              <a:gd name="connsiteX46376" fmla="*/ 6347140 w 8079933"/>
              <a:gd name="connsiteY46376" fmla="*/ 188607 h 4687251"/>
              <a:gd name="connsiteX46377" fmla="*/ 6352674 w 8079933"/>
              <a:gd name="connsiteY46377" fmla="*/ 189148 h 4687251"/>
              <a:gd name="connsiteX46378" fmla="*/ 6356797 w 8079933"/>
              <a:gd name="connsiteY46378" fmla="*/ 188174 h 4687251"/>
              <a:gd name="connsiteX46379" fmla="*/ 6368192 w 8079933"/>
              <a:gd name="connsiteY46379" fmla="*/ 189473 h 4687251"/>
              <a:gd name="connsiteX46380" fmla="*/ 6380237 w 8079933"/>
              <a:gd name="connsiteY46380" fmla="*/ 193154 h 4687251"/>
              <a:gd name="connsiteX46381" fmla="*/ 6380454 w 8079933"/>
              <a:gd name="connsiteY46381" fmla="*/ 195537 h 4687251"/>
              <a:gd name="connsiteX46382" fmla="*/ 6375028 w 8079933"/>
              <a:gd name="connsiteY46382" fmla="*/ 196945 h 4687251"/>
              <a:gd name="connsiteX46383" fmla="*/ 6371990 w 8079933"/>
              <a:gd name="connsiteY46383" fmla="*/ 200301 h 4687251"/>
              <a:gd name="connsiteX46384" fmla="*/ 6371990 w 8079933"/>
              <a:gd name="connsiteY46384" fmla="*/ 205172 h 4687251"/>
              <a:gd name="connsiteX46385" fmla="*/ 6376765 w 8079933"/>
              <a:gd name="connsiteY46385" fmla="*/ 210695 h 4687251"/>
              <a:gd name="connsiteX46386" fmla="*/ 6382516 w 8079933"/>
              <a:gd name="connsiteY46386" fmla="*/ 212211 h 4687251"/>
              <a:gd name="connsiteX46387" fmla="*/ 6382625 w 8079933"/>
              <a:gd name="connsiteY46387" fmla="*/ 218166 h 4687251"/>
              <a:gd name="connsiteX46388" fmla="*/ 6383602 w 8079933"/>
              <a:gd name="connsiteY46388" fmla="*/ 221846 h 4687251"/>
              <a:gd name="connsiteX46389" fmla="*/ 6381213 w 8079933"/>
              <a:gd name="connsiteY46389" fmla="*/ 225962 h 4687251"/>
              <a:gd name="connsiteX46390" fmla="*/ 6380129 w 8079933"/>
              <a:gd name="connsiteY46390" fmla="*/ 232349 h 4687251"/>
              <a:gd name="connsiteX46391" fmla="*/ 6376005 w 8079933"/>
              <a:gd name="connsiteY46391" fmla="*/ 236247 h 4687251"/>
              <a:gd name="connsiteX46392" fmla="*/ 6374377 w 8079933"/>
              <a:gd name="connsiteY46392" fmla="*/ 239495 h 4687251"/>
              <a:gd name="connsiteX46393" fmla="*/ 6369819 w 8079933"/>
              <a:gd name="connsiteY46393" fmla="*/ 235920 h 4687251"/>
              <a:gd name="connsiteX46394" fmla="*/ 6367215 w 8079933"/>
              <a:gd name="connsiteY46394" fmla="*/ 236247 h 4687251"/>
              <a:gd name="connsiteX46395" fmla="*/ 6362007 w 8079933"/>
              <a:gd name="connsiteY46395" fmla="*/ 239927 h 4687251"/>
              <a:gd name="connsiteX46396" fmla="*/ 6357014 w 8079933"/>
              <a:gd name="connsiteY46396" fmla="*/ 240144 h 4687251"/>
              <a:gd name="connsiteX46397" fmla="*/ 6346380 w 8079933"/>
              <a:gd name="connsiteY46397" fmla="*/ 234948 h 4687251"/>
              <a:gd name="connsiteX46398" fmla="*/ 6340628 w 8079933"/>
              <a:gd name="connsiteY46398" fmla="*/ 229858 h 4687251"/>
              <a:gd name="connsiteX46399" fmla="*/ 6329993 w 8079933"/>
              <a:gd name="connsiteY46399" fmla="*/ 220980 h 4687251"/>
              <a:gd name="connsiteX46400" fmla="*/ 6328366 w 8079933"/>
              <a:gd name="connsiteY46400" fmla="*/ 214484 h 4687251"/>
              <a:gd name="connsiteX46401" fmla="*/ 6329776 w 8079933"/>
              <a:gd name="connsiteY46401" fmla="*/ 210261 h 4687251"/>
              <a:gd name="connsiteX46402" fmla="*/ 6330211 w 8079933"/>
              <a:gd name="connsiteY46402" fmla="*/ 205823 h 4687251"/>
              <a:gd name="connsiteX46403" fmla="*/ 6331405 w 8079933"/>
              <a:gd name="connsiteY46403" fmla="*/ 203331 h 4687251"/>
              <a:gd name="connsiteX46404" fmla="*/ 6328908 w 8079933"/>
              <a:gd name="connsiteY46404" fmla="*/ 199110 h 4687251"/>
              <a:gd name="connsiteX46405" fmla="*/ 6326195 w 8079933"/>
              <a:gd name="connsiteY46405" fmla="*/ 197487 h 4687251"/>
              <a:gd name="connsiteX46406" fmla="*/ 6325327 w 8079933"/>
              <a:gd name="connsiteY46406" fmla="*/ 192722 h 4687251"/>
              <a:gd name="connsiteX46407" fmla="*/ 6322397 w 8079933"/>
              <a:gd name="connsiteY46407" fmla="*/ 191315 h 4687251"/>
              <a:gd name="connsiteX46408" fmla="*/ 6319251 w 8079933"/>
              <a:gd name="connsiteY46408" fmla="*/ 187309 h 4687251"/>
              <a:gd name="connsiteX46409" fmla="*/ 6315995 w 8079933"/>
              <a:gd name="connsiteY46409" fmla="*/ 182544 h 4687251"/>
              <a:gd name="connsiteX46410" fmla="*/ 6323049 w 8079933"/>
              <a:gd name="connsiteY46410" fmla="*/ 182436 h 4687251"/>
              <a:gd name="connsiteX46411" fmla="*/ 2204841 w 8079933"/>
              <a:gd name="connsiteY46411" fmla="*/ 182003 h 4687251"/>
              <a:gd name="connsiteX46412" fmla="*/ 2208314 w 8079933"/>
              <a:gd name="connsiteY46412" fmla="*/ 183303 h 4687251"/>
              <a:gd name="connsiteX46413" fmla="*/ 2207988 w 8079933"/>
              <a:gd name="connsiteY46413" fmla="*/ 186659 h 4687251"/>
              <a:gd name="connsiteX46414" fmla="*/ 2210701 w 8079933"/>
              <a:gd name="connsiteY46414" fmla="*/ 191964 h 4687251"/>
              <a:gd name="connsiteX46415" fmla="*/ 2210701 w 8079933"/>
              <a:gd name="connsiteY46415" fmla="*/ 195754 h 4687251"/>
              <a:gd name="connsiteX46416" fmla="*/ 2206794 w 8079933"/>
              <a:gd name="connsiteY46416" fmla="*/ 201926 h 4687251"/>
              <a:gd name="connsiteX46417" fmla="*/ 2209725 w 8079933"/>
              <a:gd name="connsiteY46417" fmla="*/ 208421 h 4687251"/>
              <a:gd name="connsiteX46418" fmla="*/ 2206035 w 8079933"/>
              <a:gd name="connsiteY46418" fmla="*/ 218058 h 4687251"/>
              <a:gd name="connsiteX46419" fmla="*/ 2200718 w 8079933"/>
              <a:gd name="connsiteY46419" fmla="*/ 220872 h 4687251"/>
              <a:gd name="connsiteX46420" fmla="*/ 2196376 w 8079933"/>
              <a:gd name="connsiteY46420" fmla="*/ 225312 h 4687251"/>
              <a:gd name="connsiteX46421" fmla="*/ 2192470 w 8079933"/>
              <a:gd name="connsiteY46421" fmla="*/ 224445 h 4687251"/>
              <a:gd name="connsiteX46422" fmla="*/ 2188130 w 8079933"/>
              <a:gd name="connsiteY46422" fmla="*/ 224662 h 4687251"/>
              <a:gd name="connsiteX46423" fmla="*/ 2186067 w 8079933"/>
              <a:gd name="connsiteY46423" fmla="*/ 221522 h 4687251"/>
              <a:gd name="connsiteX46424" fmla="*/ 2181293 w 8079933"/>
              <a:gd name="connsiteY46424" fmla="*/ 222930 h 4687251"/>
              <a:gd name="connsiteX46425" fmla="*/ 2175216 w 8079933"/>
              <a:gd name="connsiteY46425" fmla="*/ 216217 h 4687251"/>
              <a:gd name="connsiteX46426" fmla="*/ 2175541 w 8079933"/>
              <a:gd name="connsiteY46426" fmla="*/ 210479 h 4687251"/>
              <a:gd name="connsiteX46427" fmla="*/ 2171960 w 8079933"/>
              <a:gd name="connsiteY46427" fmla="*/ 205173 h 4687251"/>
              <a:gd name="connsiteX46428" fmla="*/ 2169899 w 8079933"/>
              <a:gd name="connsiteY46428" fmla="*/ 207447 h 4687251"/>
              <a:gd name="connsiteX46429" fmla="*/ 2170115 w 8079933"/>
              <a:gd name="connsiteY46429" fmla="*/ 211236 h 4687251"/>
              <a:gd name="connsiteX46430" fmla="*/ 2166101 w 8079933"/>
              <a:gd name="connsiteY46430" fmla="*/ 214593 h 4687251"/>
              <a:gd name="connsiteX46431" fmla="*/ 2162628 w 8079933"/>
              <a:gd name="connsiteY46431" fmla="*/ 210370 h 4687251"/>
              <a:gd name="connsiteX46432" fmla="*/ 2161434 w 8079933"/>
              <a:gd name="connsiteY46432" fmla="*/ 205173 h 4687251"/>
              <a:gd name="connsiteX46433" fmla="*/ 2163822 w 8079933"/>
              <a:gd name="connsiteY46433" fmla="*/ 202250 h 4687251"/>
              <a:gd name="connsiteX46434" fmla="*/ 2160566 w 8079933"/>
              <a:gd name="connsiteY46434" fmla="*/ 199543 h 4687251"/>
              <a:gd name="connsiteX46435" fmla="*/ 2156335 w 8079933"/>
              <a:gd name="connsiteY46435" fmla="*/ 200193 h 4687251"/>
              <a:gd name="connsiteX46436" fmla="*/ 2153404 w 8079933"/>
              <a:gd name="connsiteY46436" fmla="*/ 199001 h 4687251"/>
              <a:gd name="connsiteX46437" fmla="*/ 2150257 w 8079933"/>
              <a:gd name="connsiteY46437" fmla="*/ 200409 h 4687251"/>
              <a:gd name="connsiteX46438" fmla="*/ 2145049 w 8079933"/>
              <a:gd name="connsiteY46438" fmla="*/ 199868 h 4687251"/>
              <a:gd name="connsiteX46439" fmla="*/ 2140599 w 8079933"/>
              <a:gd name="connsiteY46439" fmla="*/ 201275 h 4687251"/>
              <a:gd name="connsiteX46440" fmla="*/ 2140491 w 8079933"/>
              <a:gd name="connsiteY46440" fmla="*/ 197161 h 4687251"/>
              <a:gd name="connsiteX46441" fmla="*/ 2144614 w 8079933"/>
              <a:gd name="connsiteY46441" fmla="*/ 192613 h 4687251"/>
              <a:gd name="connsiteX46442" fmla="*/ 2145591 w 8079933"/>
              <a:gd name="connsiteY46442" fmla="*/ 189366 h 4687251"/>
              <a:gd name="connsiteX46443" fmla="*/ 2150800 w 8079933"/>
              <a:gd name="connsiteY46443" fmla="*/ 189040 h 4687251"/>
              <a:gd name="connsiteX46444" fmla="*/ 2155792 w 8079933"/>
              <a:gd name="connsiteY46444" fmla="*/ 189040 h 4687251"/>
              <a:gd name="connsiteX46445" fmla="*/ 2169573 w 8079933"/>
              <a:gd name="connsiteY46445" fmla="*/ 185035 h 4687251"/>
              <a:gd name="connsiteX46446" fmla="*/ 2173805 w 8079933"/>
              <a:gd name="connsiteY46446" fmla="*/ 185901 h 4687251"/>
              <a:gd name="connsiteX46447" fmla="*/ 2178146 w 8079933"/>
              <a:gd name="connsiteY46447" fmla="*/ 188824 h 4687251"/>
              <a:gd name="connsiteX46448" fmla="*/ 2180968 w 8079933"/>
              <a:gd name="connsiteY46448" fmla="*/ 188391 h 4687251"/>
              <a:gd name="connsiteX46449" fmla="*/ 2186394 w 8079933"/>
              <a:gd name="connsiteY46449" fmla="*/ 188175 h 4687251"/>
              <a:gd name="connsiteX46450" fmla="*/ 2192253 w 8079933"/>
              <a:gd name="connsiteY46450" fmla="*/ 183844 h 4687251"/>
              <a:gd name="connsiteX46451" fmla="*/ 2200066 w 8079933"/>
              <a:gd name="connsiteY46451" fmla="*/ 183519 h 4687251"/>
              <a:gd name="connsiteX46452" fmla="*/ 2202454 w 8079933"/>
              <a:gd name="connsiteY46452" fmla="*/ 184277 h 4687251"/>
              <a:gd name="connsiteX46453" fmla="*/ 6278772 w 8079933"/>
              <a:gd name="connsiteY46453" fmla="*/ 176483 h 4687251"/>
              <a:gd name="connsiteX46454" fmla="*/ 6283764 w 8079933"/>
              <a:gd name="connsiteY46454" fmla="*/ 178322 h 4687251"/>
              <a:gd name="connsiteX46455" fmla="*/ 6288865 w 8079933"/>
              <a:gd name="connsiteY46455" fmla="*/ 178322 h 4687251"/>
              <a:gd name="connsiteX46456" fmla="*/ 6293205 w 8079933"/>
              <a:gd name="connsiteY46456" fmla="*/ 182330 h 4687251"/>
              <a:gd name="connsiteX46457" fmla="*/ 6298957 w 8079933"/>
              <a:gd name="connsiteY46457" fmla="*/ 183629 h 4687251"/>
              <a:gd name="connsiteX46458" fmla="*/ 6307638 w 8079933"/>
              <a:gd name="connsiteY46458" fmla="*/ 183521 h 4687251"/>
              <a:gd name="connsiteX46459" fmla="*/ 6311653 w 8079933"/>
              <a:gd name="connsiteY46459" fmla="*/ 186227 h 4687251"/>
              <a:gd name="connsiteX46460" fmla="*/ 6313932 w 8079933"/>
              <a:gd name="connsiteY46460" fmla="*/ 187743 h 4687251"/>
              <a:gd name="connsiteX46461" fmla="*/ 6314149 w 8079933"/>
              <a:gd name="connsiteY46461" fmla="*/ 191207 h 4687251"/>
              <a:gd name="connsiteX46462" fmla="*/ 6312629 w 8079933"/>
              <a:gd name="connsiteY46462" fmla="*/ 192291 h 4687251"/>
              <a:gd name="connsiteX46463" fmla="*/ 6310025 w 8079933"/>
              <a:gd name="connsiteY46463" fmla="*/ 194348 h 4687251"/>
              <a:gd name="connsiteX46464" fmla="*/ 6312413 w 8079933"/>
              <a:gd name="connsiteY46464" fmla="*/ 197595 h 4687251"/>
              <a:gd name="connsiteX46465" fmla="*/ 6309699 w 8079933"/>
              <a:gd name="connsiteY46465" fmla="*/ 198786 h 4687251"/>
              <a:gd name="connsiteX46466" fmla="*/ 6309699 w 8079933"/>
              <a:gd name="connsiteY46466" fmla="*/ 201059 h 4687251"/>
              <a:gd name="connsiteX46467" fmla="*/ 6314800 w 8079933"/>
              <a:gd name="connsiteY46467" fmla="*/ 203658 h 4687251"/>
              <a:gd name="connsiteX46468" fmla="*/ 6315885 w 8079933"/>
              <a:gd name="connsiteY46468" fmla="*/ 208640 h 4687251"/>
              <a:gd name="connsiteX46469" fmla="*/ 6319466 w 8079933"/>
              <a:gd name="connsiteY46469" fmla="*/ 212861 h 4687251"/>
              <a:gd name="connsiteX46470" fmla="*/ 6320334 w 8079933"/>
              <a:gd name="connsiteY46470" fmla="*/ 216542 h 4687251"/>
              <a:gd name="connsiteX46471" fmla="*/ 6322396 w 8079933"/>
              <a:gd name="connsiteY46471" fmla="*/ 224445 h 4687251"/>
              <a:gd name="connsiteX46472" fmla="*/ 6326086 w 8079933"/>
              <a:gd name="connsiteY46472" fmla="*/ 226612 h 4687251"/>
              <a:gd name="connsiteX46473" fmla="*/ 6333573 w 8079933"/>
              <a:gd name="connsiteY46473" fmla="*/ 233865 h 4687251"/>
              <a:gd name="connsiteX46474" fmla="*/ 6334441 w 8079933"/>
              <a:gd name="connsiteY46474" fmla="*/ 236247 h 4687251"/>
              <a:gd name="connsiteX46475" fmla="*/ 6340302 w 8079933"/>
              <a:gd name="connsiteY46475" fmla="*/ 236789 h 4687251"/>
              <a:gd name="connsiteX46476" fmla="*/ 6342797 w 8079933"/>
              <a:gd name="connsiteY46476" fmla="*/ 240037 h 4687251"/>
              <a:gd name="connsiteX46477" fmla="*/ 6350936 w 8079933"/>
              <a:gd name="connsiteY46477" fmla="*/ 242095 h 4687251"/>
              <a:gd name="connsiteX46478" fmla="*/ 6357339 w 8079933"/>
              <a:gd name="connsiteY46478" fmla="*/ 246208 h 4687251"/>
              <a:gd name="connsiteX46479" fmla="*/ 6364718 w 8079933"/>
              <a:gd name="connsiteY46479" fmla="*/ 242961 h 4687251"/>
              <a:gd name="connsiteX46480" fmla="*/ 6370903 w 8079933"/>
              <a:gd name="connsiteY46480" fmla="*/ 242419 h 4687251"/>
              <a:gd name="connsiteX46481" fmla="*/ 6373182 w 8079933"/>
              <a:gd name="connsiteY46481" fmla="*/ 244368 h 4687251"/>
              <a:gd name="connsiteX46482" fmla="*/ 6369384 w 8079933"/>
              <a:gd name="connsiteY46482" fmla="*/ 248481 h 4687251"/>
              <a:gd name="connsiteX46483" fmla="*/ 6362113 w 8079933"/>
              <a:gd name="connsiteY46483" fmla="*/ 252271 h 4687251"/>
              <a:gd name="connsiteX46484" fmla="*/ 6362005 w 8079933"/>
              <a:gd name="connsiteY46484" fmla="*/ 256385 h 4687251"/>
              <a:gd name="connsiteX46485" fmla="*/ 6358206 w 8079933"/>
              <a:gd name="connsiteY46485" fmla="*/ 258443 h 4687251"/>
              <a:gd name="connsiteX46486" fmla="*/ 6354517 w 8079933"/>
              <a:gd name="connsiteY46486" fmla="*/ 256385 h 4687251"/>
              <a:gd name="connsiteX46487" fmla="*/ 6349743 w 8079933"/>
              <a:gd name="connsiteY46487" fmla="*/ 255736 h 4687251"/>
              <a:gd name="connsiteX46488" fmla="*/ 6351696 w 8079933"/>
              <a:gd name="connsiteY46488" fmla="*/ 252271 h 4687251"/>
              <a:gd name="connsiteX46489" fmla="*/ 6349634 w 8079933"/>
              <a:gd name="connsiteY46489" fmla="*/ 251081 h 4687251"/>
              <a:gd name="connsiteX46490" fmla="*/ 6345293 w 8079933"/>
              <a:gd name="connsiteY46490" fmla="*/ 254330 h 4687251"/>
              <a:gd name="connsiteX46491" fmla="*/ 6339542 w 8079933"/>
              <a:gd name="connsiteY46491" fmla="*/ 255303 h 4687251"/>
              <a:gd name="connsiteX46492" fmla="*/ 6331620 w 8079933"/>
              <a:gd name="connsiteY46492" fmla="*/ 263424 h 4687251"/>
              <a:gd name="connsiteX46493" fmla="*/ 6327171 w 8079933"/>
              <a:gd name="connsiteY46493" fmla="*/ 272410 h 4687251"/>
              <a:gd name="connsiteX46494" fmla="*/ 6323047 w 8079933"/>
              <a:gd name="connsiteY46494" fmla="*/ 278797 h 4687251"/>
              <a:gd name="connsiteX46495" fmla="*/ 6319249 w 8079933"/>
              <a:gd name="connsiteY46495" fmla="*/ 279339 h 4687251"/>
              <a:gd name="connsiteX46496" fmla="*/ 6319466 w 8079933"/>
              <a:gd name="connsiteY46496" fmla="*/ 277174 h 4687251"/>
              <a:gd name="connsiteX46497" fmla="*/ 6317621 w 8079933"/>
              <a:gd name="connsiteY46497" fmla="*/ 273818 h 4687251"/>
              <a:gd name="connsiteX46498" fmla="*/ 6312955 w 8079933"/>
              <a:gd name="connsiteY46498" fmla="*/ 272193 h 4687251"/>
              <a:gd name="connsiteX46499" fmla="*/ 6311002 w 8079933"/>
              <a:gd name="connsiteY46499" fmla="*/ 269270 h 4687251"/>
              <a:gd name="connsiteX46500" fmla="*/ 6308398 w 8079933"/>
              <a:gd name="connsiteY46500" fmla="*/ 267538 h 4687251"/>
              <a:gd name="connsiteX46501" fmla="*/ 6307312 w 8079933"/>
              <a:gd name="connsiteY46501" fmla="*/ 270027 h 4687251"/>
              <a:gd name="connsiteX46502" fmla="*/ 6307746 w 8079933"/>
              <a:gd name="connsiteY46502" fmla="*/ 273493 h 4687251"/>
              <a:gd name="connsiteX46503" fmla="*/ 6310568 w 8079933"/>
              <a:gd name="connsiteY46503" fmla="*/ 275766 h 4687251"/>
              <a:gd name="connsiteX46504" fmla="*/ 6313715 w 8079933"/>
              <a:gd name="connsiteY46504" fmla="*/ 275334 h 4687251"/>
              <a:gd name="connsiteX46505" fmla="*/ 6313389 w 8079933"/>
              <a:gd name="connsiteY46505" fmla="*/ 279232 h 4687251"/>
              <a:gd name="connsiteX46506" fmla="*/ 6316102 w 8079933"/>
              <a:gd name="connsiteY46506" fmla="*/ 284753 h 4687251"/>
              <a:gd name="connsiteX46507" fmla="*/ 6316102 w 8079933"/>
              <a:gd name="connsiteY46507" fmla="*/ 289083 h 4687251"/>
              <a:gd name="connsiteX46508" fmla="*/ 6314040 w 8079933"/>
              <a:gd name="connsiteY46508" fmla="*/ 293305 h 4687251"/>
              <a:gd name="connsiteX46509" fmla="*/ 6309808 w 8079933"/>
              <a:gd name="connsiteY46509" fmla="*/ 294172 h 4687251"/>
              <a:gd name="connsiteX46510" fmla="*/ 6305142 w 8079933"/>
              <a:gd name="connsiteY46510" fmla="*/ 291249 h 4687251"/>
              <a:gd name="connsiteX46511" fmla="*/ 6298957 w 8079933"/>
              <a:gd name="connsiteY46511" fmla="*/ 290816 h 4687251"/>
              <a:gd name="connsiteX46512" fmla="*/ 6291685 w 8079933"/>
              <a:gd name="connsiteY46512" fmla="*/ 293305 h 4687251"/>
              <a:gd name="connsiteX46513" fmla="*/ 6285175 w 8079933"/>
              <a:gd name="connsiteY46513" fmla="*/ 293524 h 4687251"/>
              <a:gd name="connsiteX46514" fmla="*/ 6280617 w 8079933"/>
              <a:gd name="connsiteY46514" fmla="*/ 289409 h 4687251"/>
              <a:gd name="connsiteX46515" fmla="*/ 6279098 w 8079933"/>
              <a:gd name="connsiteY46515" fmla="*/ 284753 h 4687251"/>
              <a:gd name="connsiteX46516" fmla="*/ 6274757 w 8079933"/>
              <a:gd name="connsiteY46516" fmla="*/ 281829 h 4687251"/>
              <a:gd name="connsiteX46517" fmla="*/ 6270634 w 8079933"/>
              <a:gd name="connsiteY46517" fmla="*/ 278582 h 4687251"/>
              <a:gd name="connsiteX46518" fmla="*/ 6263797 w 8079933"/>
              <a:gd name="connsiteY46518" fmla="*/ 279232 h 4687251"/>
              <a:gd name="connsiteX46519" fmla="*/ 6255984 w 8079933"/>
              <a:gd name="connsiteY46519" fmla="*/ 276198 h 4687251"/>
              <a:gd name="connsiteX46520" fmla="*/ 6241660 w 8079933"/>
              <a:gd name="connsiteY46520" fmla="*/ 266563 h 4687251"/>
              <a:gd name="connsiteX46521" fmla="*/ 6239924 w 8079933"/>
              <a:gd name="connsiteY46521" fmla="*/ 262232 h 4687251"/>
              <a:gd name="connsiteX46522" fmla="*/ 6241334 w 8079933"/>
              <a:gd name="connsiteY46522" fmla="*/ 259633 h 4687251"/>
              <a:gd name="connsiteX46523" fmla="*/ 6244806 w 8079933"/>
              <a:gd name="connsiteY46523" fmla="*/ 259633 h 4687251"/>
              <a:gd name="connsiteX46524" fmla="*/ 6246326 w 8079933"/>
              <a:gd name="connsiteY46524" fmla="*/ 260717 h 4687251"/>
              <a:gd name="connsiteX46525" fmla="*/ 6249581 w 8079933"/>
              <a:gd name="connsiteY46525" fmla="*/ 258226 h 4687251"/>
              <a:gd name="connsiteX46526" fmla="*/ 6247736 w 8079933"/>
              <a:gd name="connsiteY46526" fmla="*/ 255736 h 4687251"/>
              <a:gd name="connsiteX46527" fmla="*/ 6244481 w 8079933"/>
              <a:gd name="connsiteY46527" fmla="*/ 255196 h 4687251"/>
              <a:gd name="connsiteX46528" fmla="*/ 6242202 w 8079933"/>
              <a:gd name="connsiteY46528" fmla="*/ 256385 h 4687251"/>
              <a:gd name="connsiteX46529" fmla="*/ 6239924 w 8079933"/>
              <a:gd name="connsiteY46529" fmla="*/ 254112 h 4687251"/>
              <a:gd name="connsiteX46530" fmla="*/ 6241008 w 8079933"/>
              <a:gd name="connsiteY46530" fmla="*/ 252271 h 4687251"/>
              <a:gd name="connsiteX46531" fmla="*/ 6239272 w 8079933"/>
              <a:gd name="connsiteY46531" fmla="*/ 249456 h 4687251"/>
              <a:gd name="connsiteX46532" fmla="*/ 6233847 w 8079933"/>
              <a:gd name="connsiteY46532" fmla="*/ 247832 h 4687251"/>
              <a:gd name="connsiteX46533" fmla="*/ 6231025 w 8079933"/>
              <a:gd name="connsiteY46533" fmla="*/ 245234 h 4687251"/>
              <a:gd name="connsiteX46534" fmla="*/ 6231242 w 8079933"/>
              <a:gd name="connsiteY46534" fmla="*/ 242095 h 4687251"/>
              <a:gd name="connsiteX46535" fmla="*/ 6229072 w 8079933"/>
              <a:gd name="connsiteY46535" fmla="*/ 237765 h 4687251"/>
              <a:gd name="connsiteX46536" fmla="*/ 6225491 w 8079933"/>
              <a:gd name="connsiteY46536" fmla="*/ 236789 h 4687251"/>
              <a:gd name="connsiteX46537" fmla="*/ 6224623 w 8079933"/>
              <a:gd name="connsiteY46537" fmla="*/ 232024 h 4687251"/>
              <a:gd name="connsiteX46538" fmla="*/ 6227770 w 8079933"/>
              <a:gd name="connsiteY46538" fmla="*/ 231483 h 4687251"/>
              <a:gd name="connsiteX46539" fmla="*/ 6229614 w 8079933"/>
              <a:gd name="connsiteY46539" fmla="*/ 229751 h 4687251"/>
              <a:gd name="connsiteX46540" fmla="*/ 6226359 w 8079933"/>
              <a:gd name="connsiteY46540" fmla="*/ 227152 h 4687251"/>
              <a:gd name="connsiteX46541" fmla="*/ 6223320 w 8079933"/>
              <a:gd name="connsiteY46541" fmla="*/ 226829 h 4687251"/>
              <a:gd name="connsiteX46542" fmla="*/ 6217352 w 8079933"/>
              <a:gd name="connsiteY46542" fmla="*/ 218600 h 4687251"/>
              <a:gd name="connsiteX46543" fmla="*/ 6217895 w 8079933"/>
              <a:gd name="connsiteY46543" fmla="*/ 215677 h 4687251"/>
              <a:gd name="connsiteX46544" fmla="*/ 6223320 w 8079933"/>
              <a:gd name="connsiteY46544" fmla="*/ 211345 h 4687251"/>
              <a:gd name="connsiteX46545" fmla="*/ 6224948 w 8079933"/>
              <a:gd name="connsiteY46545" fmla="*/ 205715 h 4687251"/>
              <a:gd name="connsiteX46546" fmla="*/ 6224514 w 8079933"/>
              <a:gd name="connsiteY46546" fmla="*/ 199111 h 4687251"/>
              <a:gd name="connsiteX46547" fmla="*/ 6226033 w 8079933"/>
              <a:gd name="connsiteY46547" fmla="*/ 197812 h 4687251"/>
              <a:gd name="connsiteX46548" fmla="*/ 6225708 w 8079933"/>
              <a:gd name="connsiteY46548" fmla="*/ 190666 h 4687251"/>
              <a:gd name="connsiteX46549" fmla="*/ 6229506 w 8079933"/>
              <a:gd name="connsiteY46549" fmla="*/ 187634 h 4687251"/>
              <a:gd name="connsiteX46550" fmla="*/ 6234823 w 8079933"/>
              <a:gd name="connsiteY46550" fmla="*/ 185578 h 4687251"/>
              <a:gd name="connsiteX46551" fmla="*/ 6236885 w 8079933"/>
              <a:gd name="connsiteY46551" fmla="*/ 189908 h 4687251"/>
              <a:gd name="connsiteX46552" fmla="*/ 6239598 w 8079933"/>
              <a:gd name="connsiteY46552" fmla="*/ 191531 h 4687251"/>
              <a:gd name="connsiteX46553" fmla="*/ 6246543 w 8079933"/>
              <a:gd name="connsiteY46553" fmla="*/ 192291 h 4687251"/>
              <a:gd name="connsiteX46554" fmla="*/ 6251535 w 8079933"/>
              <a:gd name="connsiteY46554" fmla="*/ 196729 h 4687251"/>
              <a:gd name="connsiteX46555" fmla="*/ 6256309 w 8079933"/>
              <a:gd name="connsiteY46555" fmla="*/ 197380 h 4687251"/>
              <a:gd name="connsiteX46556" fmla="*/ 6257937 w 8079933"/>
              <a:gd name="connsiteY46556" fmla="*/ 201168 h 4687251"/>
              <a:gd name="connsiteX46557" fmla="*/ 6258263 w 8079933"/>
              <a:gd name="connsiteY46557" fmla="*/ 206149 h 4687251"/>
              <a:gd name="connsiteX46558" fmla="*/ 6262712 w 8079933"/>
              <a:gd name="connsiteY46558" fmla="*/ 207232 h 4687251"/>
              <a:gd name="connsiteX46559" fmla="*/ 6264556 w 8079933"/>
              <a:gd name="connsiteY46559" fmla="*/ 208747 h 4687251"/>
              <a:gd name="connsiteX46560" fmla="*/ 6267053 w 8079933"/>
              <a:gd name="connsiteY46560" fmla="*/ 207232 h 4687251"/>
              <a:gd name="connsiteX46561" fmla="*/ 6271828 w 8079933"/>
              <a:gd name="connsiteY46561" fmla="*/ 206040 h 4687251"/>
              <a:gd name="connsiteX46562" fmla="*/ 6275517 w 8079933"/>
              <a:gd name="connsiteY46562" fmla="*/ 208098 h 4687251"/>
              <a:gd name="connsiteX46563" fmla="*/ 6277904 w 8079933"/>
              <a:gd name="connsiteY46563" fmla="*/ 214918 h 4687251"/>
              <a:gd name="connsiteX46564" fmla="*/ 6283222 w 8079933"/>
              <a:gd name="connsiteY46564" fmla="*/ 220657 h 4687251"/>
              <a:gd name="connsiteX46565" fmla="*/ 6288756 w 8079933"/>
              <a:gd name="connsiteY46565" fmla="*/ 219791 h 4687251"/>
              <a:gd name="connsiteX46566" fmla="*/ 6290926 w 8079933"/>
              <a:gd name="connsiteY46566" fmla="*/ 218058 h 4687251"/>
              <a:gd name="connsiteX46567" fmla="*/ 6289407 w 8079933"/>
              <a:gd name="connsiteY46567" fmla="*/ 214918 h 4687251"/>
              <a:gd name="connsiteX46568" fmla="*/ 6281811 w 8079933"/>
              <a:gd name="connsiteY46568" fmla="*/ 207339 h 4687251"/>
              <a:gd name="connsiteX46569" fmla="*/ 6280291 w 8079933"/>
              <a:gd name="connsiteY46569" fmla="*/ 200735 h 4687251"/>
              <a:gd name="connsiteX46570" fmla="*/ 6277578 w 8079933"/>
              <a:gd name="connsiteY46570" fmla="*/ 195647 h 4687251"/>
              <a:gd name="connsiteX46571" fmla="*/ 6276385 w 8079933"/>
              <a:gd name="connsiteY46571" fmla="*/ 190341 h 4687251"/>
              <a:gd name="connsiteX46572" fmla="*/ 6278989 w 8079933"/>
              <a:gd name="connsiteY46572" fmla="*/ 186769 h 4687251"/>
              <a:gd name="connsiteX46573" fmla="*/ 6282896 w 8079933"/>
              <a:gd name="connsiteY46573" fmla="*/ 186769 h 4687251"/>
              <a:gd name="connsiteX46574" fmla="*/ 6284415 w 8079933"/>
              <a:gd name="connsiteY46574" fmla="*/ 187743 h 4687251"/>
              <a:gd name="connsiteX46575" fmla="*/ 6290275 w 8079933"/>
              <a:gd name="connsiteY46575" fmla="*/ 187743 h 4687251"/>
              <a:gd name="connsiteX46576" fmla="*/ 6288213 w 8079933"/>
              <a:gd name="connsiteY46576" fmla="*/ 185252 h 4687251"/>
              <a:gd name="connsiteX46577" fmla="*/ 6284415 w 8079933"/>
              <a:gd name="connsiteY46577" fmla="*/ 184170 h 4687251"/>
              <a:gd name="connsiteX46578" fmla="*/ 6277254 w 8079933"/>
              <a:gd name="connsiteY46578" fmla="*/ 177783 h 4687251"/>
              <a:gd name="connsiteX46579" fmla="*/ 4822698 w 8079933"/>
              <a:gd name="connsiteY46579" fmla="*/ 174534 h 4687251"/>
              <a:gd name="connsiteX46580" fmla="*/ 4826061 w 8079933"/>
              <a:gd name="connsiteY46580" fmla="*/ 174750 h 4687251"/>
              <a:gd name="connsiteX46581" fmla="*/ 4827689 w 8079933"/>
              <a:gd name="connsiteY46581" fmla="*/ 176483 h 4687251"/>
              <a:gd name="connsiteX46582" fmla="*/ 4831595 w 8079933"/>
              <a:gd name="connsiteY46582" fmla="*/ 176807 h 4687251"/>
              <a:gd name="connsiteX46583" fmla="*/ 4832030 w 8079933"/>
              <a:gd name="connsiteY46583" fmla="*/ 179948 h 4687251"/>
              <a:gd name="connsiteX46584" fmla="*/ 4827906 w 8079933"/>
              <a:gd name="connsiteY46584" fmla="*/ 183845 h 4687251"/>
              <a:gd name="connsiteX46585" fmla="*/ 4824867 w 8079933"/>
              <a:gd name="connsiteY46585" fmla="*/ 184170 h 4687251"/>
              <a:gd name="connsiteX46586" fmla="*/ 4821721 w 8079933"/>
              <a:gd name="connsiteY46586" fmla="*/ 182329 h 4687251"/>
              <a:gd name="connsiteX46587" fmla="*/ 4814775 w 8079933"/>
              <a:gd name="connsiteY46587" fmla="*/ 181789 h 4687251"/>
              <a:gd name="connsiteX46588" fmla="*/ 4813365 w 8079933"/>
              <a:gd name="connsiteY46588" fmla="*/ 179839 h 4687251"/>
              <a:gd name="connsiteX46589" fmla="*/ 4815752 w 8079933"/>
              <a:gd name="connsiteY46589" fmla="*/ 178322 h 4687251"/>
              <a:gd name="connsiteX46590" fmla="*/ 4818900 w 8079933"/>
              <a:gd name="connsiteY46590" fmla="*/ 178214 h 4687251"/>
              <a:gd name="connsiteX46591" fmla="*/ 4757586 w 8079933"/>
              <a:gd name="connsiteY46591" fmla="*/ 170852 h 4687251"/>
              <a:gd name="connsiteX46592" fmla="*/ 4760624 w 8079933"/>
              <a:gd name="connsiteY46592" fmla="*/ 172693 h 4687251"/>
              <a:gd name="connsiteX46593" fmla="*/ 4761709 w 8079933"/>
              <a:gd name="connsiteY46593" fmla="*/ 177997 h 4687251"/>
              <a:gd name="connsiteX46594" fmla="*/ 4763120 w 8079933"/>
              <a:gd name="connsiteY46594" fmla="*/ 180488 h 4687251"/>
              <a:gd name="connsiteX46595" fmla="*/ 4760949 w 8079933"/>
              <a:gd name="connsiteY46595" fmla="*/ 182003 h 4687251"/>
              <a:gd name="connsiteX46596" fmla="*/ 4759540 w 8079933"/>
              <a:gd name="connsiteY46596" fmla="*/ 183952 h 4687251"/>
              <a:gd name="connsiteX46597" fmla="*/ 4755198 w 8079933"/>
              <a:gd name="connsiteY46597" fmla="*/ 183952 h 4687251"/>
              <a:gd name="connsiteX46598" fmla="*/ 4750641 w 8079933"/>
              <a:gd name="connsiteY46598" fmla="*/ 187633 h 4687251"/>
              <a:gd name="connsiteX46599" fmla="*/ 4747929 w 8079933"/>
              <a:gd name="connsiteY46599" fmla="*/ 184494 h 4687251"/>
              <a:gd name="connsiteX46600" fmla="*/ 4746734 w 8079933"/>
              <a:gd name="connsiteY46600" fmla="*/ 180704 h 4687251"/>
              <a:gd name="connsiteX46601" fmla="*/ 4744239 w 8079933"/>
              <a:gd name="connsiteY46601" fmla="*/ 178646 h 4687251"/>
              <a:gd name="connsiteX46602" fmla="*/ 4744239 w 8079933"/>
              <a:gd name="connsiteY46602" fmla="*/ 176914 h 4687251"/>
              <a:gd name="connsiteX46603" fmla="*/ 4748362 w 8079933"/>
              <a:gd name="connsiteY46603" fmla="*/ 174533 h 4687251"/>
              <a:gd name="connsiteX46604" fmla="*/ 4754439 w 8079933"/>
              <a:gd name="connsiteY46604" fmla="*/ 173016 h 4687251"/>
              <a:gd name="connsiteX46605" fmla="*/ 2316830 w 8079933"/>
              <a:gd name="connsiteY46605" fmla="*/ 164897 h 4687251"/>
              <a:gd name="connsiteX46606" fmla="*/ 2317915 w 8079933"/>
              <a:gd name="connsiteY46606" fmla="*/ 166846 h 4687251"/>
              <a:gd name="connsiteX46607" fmla="*/ 2318567 w 8079933"/>
              <a:gd name="connsiteY46607" fmla="*/ 173884 h 4687251"/>
              <a:gd name="connsiteX46608" fmla="*/ 2321822 w 8079933"/>
              <a:gd name="connsiteY46608" fmla="*/ 174967 h 4687251"/>
              <a:gd name="connsiteX46609" fmla="*/ 2327899 w 8079933"/>
              <a:gd name="connsiteY46609" fmla="*/ 169769 h 4687251"/>
              <a:gd name="connsiteX46610" fmla="*/ 2333542 w 8079933"/>
              <a:gd name="connsiteY46610" fmla="*/ 171501 h 4687251"/>
              <a:gd name="connsiteX46611" fmla="*/ 2337665 w 8079933"/>
              <a:gd name="connsiteY46611" fmla="*/ 169769 h 4687251"/>
              <a:gd name="connsiteX46612" fmla="*/ 2343742 w 8079933"/>
              <a:gd name="connsiteY46612" fmla="*/ 173234 h 4687251"/>
              <a:gd name="connsiteX46613" fmla="*/ 2345153 w 8079933"/>
              <a:gd name="connsiteY46613" fmla="*/ 177132 h 4687251"/>
              <a:gd name="connsiteX46614" fmla="*/ 2348083 w 8079933"/>
              <a:gd name="connsiteY46614" fmla="*/ 180055 h 4687251"/>
              <a:gd name="connsiteX46615" fmla="*/ 2349603 w 8079933"/>
              <a:gd name="connsiteY46615" fmla="*/ 184927 h 4687251"/>
              <a:gd name="connsiteX46616" fmla="*/ 2347649 w 8079933"/>
              <a:gd name="connsiteY46616" fmla="*/ 193156 h 4687251"/>
              <a:gd name="connsiteX46617" fmla="*/ 2347649 w 8079933"/>
              <a:gd name="connsiteY46617" fmla="*/ 199544 h 4687251"/>
              <a:gd name="connsiteX46618" fmla="*/ 2344936 w 8079933"/>
              <a:gd name="connsiteY46618" fmla="*/ 202901 h 4687251"/>
              <a:gd name="connsiteX46619" fmla="*/ 2340161 w 8079933"/>
              <a:gd name="connsiteY46619" fmla="*/ 205715 h 4687251"/>
              <a:gd name="connsiteX46620" fmla="*/ 2341030 w 8079933"/>
              <a:gd name="connsiteY46620" fmla="*/ 210046 h 4687251"/>
              <a:gd name="connsiteX46621" fmla="*/ 2344393 w 8079933"/>
              <a:gd name="connsiteY46621" fmla="*/ 210370 h 4687251"/>
              <a:gd name="connsiteX46622" fmla="*/ 2348083 w 8079933"/>
              <a:gd name="connsiteY46622" fmla="*/ 206581 h 4687251"/>
              <a:gd name="connsiteX46623" fmla="*/ 2348951 w 8079933"/>
              <a:gd name="connsiteY46623" fmla="*/ 202792 h 4687251"/>
              <a:gd name="connsiteX46624" fmla="*/ 2355787 w 8079933"/>
              <a:gd name="connsiteY46624" fmla="*/ 201601 h 4687251"/>
              <a:gd name="connsiteX46625" fmla="*/ 2361539 w 8079933"/>
              <a:gd name="connsiteY46625" fmla="*/ 197811 h 4687251"/>
              <a:gd name="connsiteX46626" fmla="*/ 2364795 w 8079933"/>
              <a:gd name="connsiteY46626" fmla="*/ 197595 h 4687251"/>
              <a:gd name="connsiteX46627" fmla="*/ 2369026 w 8079933"/>
              <a:gd name="connsiteY46627" fmla="*/ 202251 h 4687251"/>
              <a:gd name="connsiteX46628" fmla="*/ 2367833 w 8079933"/>
              <a:gd name="connsiteY46628" fmla="*/ 206256 h 4687251"/>
              <a:gd name="connsiteX46629" fmla="*/ 2367833 w 8079933"/>
              <a:gd name="connsiteY46629" fmla="*/ 212103 h 4687251"/>
              <a:gd name="connsiteX46630" fmla="*/ 2370438 w 8079933"/>
              <a:gd name="connsiteY46630" fmla="*/ 215351 h 4687251"/>
              <a:gd name="connsiteX46631" fmla="*/ 2370221 w 8079933"/>
              <a:gd name="connsiteY46631" fmla="*/ 217950 h 4687251"/>
              <a:gd name="connsiteX46632" fmla="*/ 2363384 w 8079933"/>
              <a:gd name="connsiteY46632" fmla="*/ 221847 h 4687251"/>
              <a:gd name="connsiteX46633" fmla="*/ 2361322 w 8079933"/>
              <a:gd name="connsiteY46633" fmla="*/ 225421 h 4687251"/>
              <a:gd name="connsiteX46634" fmla="*/ 2362841 w 8079933"/>
              <a:gd name="connsiteY46634" fmla="*/ 228019 h 4687251"/>
              <a:gd name="connsiteX46635" fmla="*/ 2367833 w 8079933"/>
              <a:gd name="connsiteY46635" fmla="*/ 228019 h 4687251"/>
              <a:gd name="connsiteX46636" fmla="*/ 2372174 w 8079933"/>
              <a:gd name="connsiteY46636" fmla="*/ 229968 h 4687251"/>
              <a:gd name="connsiteX46637" fmla="*/ 2374887 w 8079933"/>
              <a:gd name="connsiteY46637" fmla="*/ 229751 h 4687251"/>
              <a:gd name="connsiteX46638" fmla="*/ 2376080 w 8079933"/>
              <a:gd name="connsiteY46638" fmla="*/ 235490 h 4687251"/>
              <a:gd name="connsiteX46639" fmla="*/ 2377708 w 8079933"/>
              <a:gd name="connsiteY46639" fmla="*/ 239604 h 4687251"/>
              <a:gd name="connsiteX46640" fmla="*/ 2377491 w 8079933"/>
              <a:gd name="connsiteY46640" fmla="*/ 242635 h 4687251"/>
              <a:gd name="connsiteX46641" fmla="*/ 2373367 w 8079933"/>
              <a:gd name="connsiteY46641" fmla="*/ 245884 h 4687251"/>
              <a:gd name="connsiteX46642" fmla="*/ 2373693 w 8079933"/>
              <a:gd name="connsiteY46642" fmla="*/ 249565 h 4687251"/>
              <a:gd name="connsiteX46643" fmla="*/ 2372716 w 8079933"/>
              <a:gd name="connsiteY46643" fmla="*/ 256061 h 4687251"/>
              <a:gd name="connsiteX46644" fmla="*/ 2367182 w 8079933"/>
              <a:gd name="connsiteY46644" fmla="*/ 259851 h 4687251"/>
              <a:gd name="connsiteX46645" fmla="*/ 2363601 w 8079933"/>
              <a:gd name="connsiteY46645" fmla="*/ 263640 h 4687251"/>
              <a:gd name="connsiteX46646" fmla="*/ 2360237 w 8079933"/>
              <a:gd name="connsiteY46646" fmla="*/ 264181 h 4687251"/>
              <a:gd name="connsiteX46647" fmla="*/ 2357199 w 8079933"/>
              <a:gd name="connsiteY46647" fmla="*/ 270352 h 4687251"/>
              <a:gd name="connsiteX46648" fmla="*/ 2354377 w 8079933"/>
              <a:gd name="connsiteY46648" fmla="*/ 272951 h 4687251"/>
              <a:gd name="connsiteX46649" fmla="*/ 2354377 w 8079933"/>
              <a:gd name="connsiteY46649" fmla="*/ 275549 h 4687251"/>
              <a:gd name="connsiteX46650" fmla="*/ 2356873 w 8079933"/>
              <a:gd name="connsiteY46650" fmla="*/ 277390 h 4687251"/>
              <a:gd name="connsiteX46651" fmla="*/ 2353400 w 8079933"/>
              <a:gd name="connsiteY46651" fmla="*/ 283453 h 4687251"/>
              <a:gd name="connsiteX46652" fmla="*/ 2351447 w 8079933"/>
              <a:gd name="connsiteY46652" fmla="*/ 290816 h 4687251"/>
              <a:gd name="connsiteX46653" fmla="*/ 2351121 w 8079933"/>
              <a:gd name="connsiteY46653" fmla="*/ 296662 h 4687251"/>
              <a:gd name="connsiteX46654" fmla="*/ 2347215 w 8079933"/>
              <a:gd name="connsiteY46654" fmla="*/ 301751 h 4687251"/>
              <a:gd name="connsiteX46655" fmla="*/ 2343525 w 8079933"/>
              <a:gd name="connsiteY46655" fmla="*/ 304241 h 4687251"/>
              <a:gd name="connsiteX46656" fmla="*/ 2343525 w 8079933"/>
              <a:gd name="connsiteY46656" fmla="*/ 306732 h 4687251"/>
              <a:gd name="connsiteX46657" fmla="*/ 2336364 w 8079933"/>
              <a:gd name="connsiteY46657" fmla="*/ 311604 h 4687251"/>
              <a:gd name="connsiteX46658" fmla="*/ 2333216 w 8079933"/>
              <a:gd name="connsiteY46658" fmla="*/ 311604 h 4687251"/>
              <a:gd name="connsiteX46659" fmla="*/ 2330829 w 8079933"/>
              <a:gd name="connsiteY46659" fmla="*/ 309546 h 4687251"/>
              <a:gd name="connsiteX46660" fmla="*/ 2326488 w 8079933"/>
              <a:gd name="connsiteY46660" fmla="*/ 310087 h 4687251"/>
              <a:gd name="connsiteX46661" fmla="*/ 2323883 w 8079933"/>
              <a:gd name="connsiteY46661" fmla="*/ 310196 h 4687251"/>
              <a:gd name="connsiteX46662" fmla="*/ 2321388 w 8079933"/>
              <a:gd name="connsiteY46662" fmla="*/ 305865 h 4687251"/>
              <a:gd name="connsiteX46663" fmla="*/ 2318892 w 8079933"/>
              <a:gd name="connsiteY46663" fmla="*/ 298828 h 4687251"/>
              <a:gd name="connsiteX46664" fmla="*/ 2327031 w 8079933"/>
              <a:gd name="connsiteY46664" fmla="*/ 284103 h 4687251"/>
              <a:gd name="connsiteX46665" fmla="*/ 2327031 w 8079933"/>
              <a:gd name="connsiteY46665" fmla="*/ 278797 h 4687251"/>
              <a:gd name="connsiteX46666" fmla="*/ 2328767 w 8079933"/>
              <a:gd name="connsiteY46666" fmla="*/ 275657 h 4687251"/>
              <a:gd name="connsiteX46667" fmla="*/ 2326705 w 8079933"/>
              <a:gd name="connsiteY46667" fmla="*/ 273601 h 4687251"/>
              <a:gd name="connsiteX46668" fmla="*/ 2323558 w 8079933"/>
              <a:gd name="connsiteY46668" fmla="*/ 273601 h 4687251"/>
              <a:gd name="connsiteX46669" fmla="*/ 2320520 w 8079933"/>
              <a:gd name="connsiteY46669" fmla="*/ 266022 h 4687251"/>
              <a:gd name="connsiteX46670" fmla="*/ 2315528 w 8079933"/>
              <a:gd name="connsiteY46670" fmla="*/ 261908 h 4687251"/>
              <a:gd name="connsiteX46671" fmla="*/ 2308583 w 8079933"/>
              <a:gd name="connsiteY46671" fmla="*/ 262773 h 4687251"/>
              <a:gd name="connsiteX46672" fmla="*/ 2307932 w 8079933"/>
              <a:gd name="connsiteY46672" fmla="*/ 257902 h 4687251"/>
              <a:gd name="connsiteX46673" fmla="*/ 2309451 w 8079933"/>
              <a:gd name="connsiteY46673" fmla="*/ 255412 h 4687251"/>
              <a:gd name="connsiteX46674" fmla="*/ 2313574 w 8079933"/>
              <a:gd name="connsiteY46674" fmla="*/ 254329 h 4687251"/>
              <a:gd name="connsiteX46675" fmla="*/ 2313900 w 8079933"/>
              <a:gd name="connsiteY46675" fmla="*/ 250756 h 4687251"/>
              <a:gd name="connsiteX46676" fmla="*/ 2306521 w 8079933"/>
              <a:gd name="connsiteY46676" fmla="*/ 252596 h 4687251"/>
              <a:gd name="connsiteX46677" fmla="*/ 2305110 w 8079933"/>
              <a:gd name="connsiteY46677" fmla="*/ 250864 h 4687251"/>
              <a:gd name="connsiteX46678" fmla="*/ 2297731 w 8079933"/>
              <a:gd name="connsiteY46678" fmla="*/ 251080 h 4687251"/>
              <a:gd name="connsiteX46679" fmla="*/ 2290352 w 8079933"/>
              <a:gd name="connsiteY46679" fmla="*/ 248481 h 4687251"/>
              <a:gd name="connsiteX46680" fmla="*/ 2286337 w 8079933"/>
              <a:gd name="connsiteY46680" fmla="*/ 248698 h 4687251"/>
              <a:gd name="connsiteX46681" fmla="*/ 2282865 w 8079933"/>
              <a:gd name="connsiteY46681" fmla="*/ 252163 h 4687251"/>
              <a:gd name="connsiteX46682" fmla="*/ 2279283 w 8079933"/>
              <a:gd name="connsiteY46682" fmla="*/ 250431 h 4687251"/>
              <a:gd name="connsiteX46683" fmla="*/ 2279283 w 8079933"/>
              <a:gd name="connsiteY46683" fmla="*/ 245884 h 4687251"/>
              <a:gd name="connsiteX46684" fmla="*/ 2275377 w 8079933"/>
              <a:gd name="connsiteY46684" fmla="*/ 239928 h 4687251"/>
              <a:gd name="connsiteX46685" fmla="*/ 2280152 w 8079933"/>
              <a:gd name="connsiteY46685" fmla="*/ 231809 h 4687251"/>
              <a:gd name="connsiteX46686" fmla="*/ 2280152 w 8079933"/>
              <a:gd name="connsiteY46686" fmla="*/ 229102 h 4687251"/>
              <a:gd name="connsiteX46687" fmla="*/ 2289484 w 8079933"/>
              <a:gd name="connsiteY46687" fmla="*/ 224662 h 4687251"/>
              <a:gd name="connsiteX46688" fmla="*/ 2293282 w 8079933"/>
              <a:gd name="connsiteY46688" fmla="*/ 230076 h 4687251"/>
              <a:gd name="connsiteX46689" fmla="*/ 2297406 w 8079933"/>
              <a:gd name="connsiteY46689" fmla="*/ 232134 h 4687251"/>
              <a:gd name="connsiteX46690" fmla="*/ 2299793 w 8079933"/>
              <a:gd name="connsiteY46690" fmla="*/ 238521 h 4687251"/>
              <a:gd name="connsiteX46691" fmla="*/ 2301855 w 8079933"/>
              <a:gd name="connsiteY46691" fmla="*/ 238521 h 4687251"/>
              <a:gd name="connsiteX46692" fmla="*/ 2309126 w 8079933"/>
              <a:gd name="connsiteY46692" fmla="*/ 231809 h 4687251"/>
              <a:gd name="connsiteX46693" fmla="*/ 2309126 w 8079933"/>
              <a:gd name="connsiteY46693" fmla="*/ 228776 h 4687251"/>
              <a:gd name="connsiteX46694" fmla="*/ 2304133 w 8079933"/>
              <a:gd name="connsiteY46694" fmla="*/ 227153 h 4687251"/>
              <a:gd name="connsiteX46695" fmla="*/ 2304460 w 8079933"/>
              <a:gd name="connsiteY46695" fmla="*/ 224230 h 4687251"/>
              <a:gd name="connsiteX46696" fmla="*/ 2308258 w 8079933"/>
              <a:gd name="connsiteY46696" fmla="*/ 225421 h 4687251"/>
              <a:gd name="connsiteX46697" fmla="*/ 2314986 w 8079933"/>
              <a:gd name="connsiteY46697" fmla="*/ 223039 h 4687251"/>
              <a:gd name="connsiteX46698" fmla="*/ 2319977 w 8079933"/>
              <a:gd name="connsiteY46698" fmla="*/ 219466 h 4687251"/>
              <a:gd name="connsiteX46699" fmla="*/ 2316179 w 8079933"/>
              <a:gd name="connsiteY46699" fmla="*/ 217192 h 4687251"/>
              <a:gd name="connsiteX46700" fmla="*/ 2309776 w 8079933"/>
              <a:gd name="connsiteY46700" fmla="*/ 218599 h 4687251"/>
              <a:gd name="connsiteX46701" fmla="*/ 2307932 w 8079933"/>
              <a:gd name="connsiteY46701" fmla="*/ 215677 h 4687251"/>
              <a:gd name="connsiteX46702" fmla="*/ 2309451 w 8079933"/>
              <a:gd name="connsiteY46702" fmla="*/ 211562 h 4687251"/>
              <a:gd name="connsiteX46703" fmla="*/ 2315094 w 8079933"/>
              <a:gd name="connsiteY46703" fmla="*/ 206907 h 4687251"/>
              <a:gd name="connsiteX46704" fmla="*/ 2317915 w 8079933"/>
              <a:gd name="connsiteY46704" fmla="*/ 206690 h 4687251"/>
              <a:gd name="connsiteX46705" fmla="*/ 2319652 w 8079933"/>
              <a:gd name="connsiteY46705" fmla="*/ 201601 h 4687251"/>
              <a:gd name="connsiteX46706" fmla="*/ 2316830 w 8079933"/>
              <a:gd name="connsiteY46706" fmla="*/ 197811 h 4687251"/>
              <a:gd name="connsiteX46707" fmla="*/ 2313466 w 8079933"/>
              <a:gd name="connsiteY46707" fmla="*/ 199652 h 4687251"/>
              <a:gd name="connsiteX46708" fmla="*/ 2311187 w 8079933"/>
              <a:gd name="connsiteY46708" fmla="*/ 199652 h 4687251"/>
              <a:gd name="connsiteX46709" fmla="*/ 2304676 w 8079933"/>
              <a:gd name="connsiteY46709" fmla="*/ 205391 h 4687251"/>
              <a:gd name="connsiteX46710" fmla="*/ 2298057 w 8079933"/>
              <a:gd name="connsiteY46710" fmla="*/ 208422 h 4687251"/>
              <a:gd name="connsiteX46711" fmla="*/ 2297189 w 8079933"/>
              <a:gd name="connsiteY46711" fmla="*/ 206581 h 4687251"/>
              <a:gd name="connsiteX46712" fmla="*/ 2301529 w 8079933"/>
              <a:gd name="connsiteY46712" fmla="*/ 199544 h 4687251"/>
              <a:gd name="connsiteX46713" fmla="*/ 2307932 w 8079933"/>
              <a:gd name="connsiteY46713" fmla="*/ 196729 h 4687251"/>
              <a:gd name="connsiteX46714" fmla="*/ 2313249 w 8079933"/>
              <a:gd name="connsiteY46714" fmla="*/ 191640 h 4687251"/>
              <a:gd name="connsiteX46715" fmla="*/ 2311838 w 8079933"/>
              <a:gd name="connsiteY46715" fmla="*/ 189583 h 4687251"/>
              <a:gd name="connsiteX46716" fmla="*/ 2306304 w 8079933"/>
              <a:gd name="connsiteY46716" fmla="*/ 190774 h 4687251"/>
              <a:gd name="connsiteX46717" fmla="*/ 2304133 w 8079933"/>
              <a:gd name="connsiteY46717" fmla="*/ 192615 h 4687251"/>
              <a:gd name="connsiteX46718" fmla="*/ 2300335 w 8079933"/>
              <a:gd name="connsiteY46718" fmla="*/ 190016 h 4687251"/>
              <a:gd name="connsiteX46719" fmla="*/ 2300119 w 8079933"/>
              <a:gd name="connsiteY46719" fmla="*/ 186118 h 4687251"/>
              <a:gd name="connsiteX46720" fmla="*/ 2305002 w 8079933"/>
              <a:gd name="connsiteY46720" fmla="*/ 179947 h 4687251"/>
              <a:gd name="connsiteX46721" fmla="*/ 2306630 w 8079933"/>
              <a:gd name="connsiteY46721" fmla="*/ 174967 h 4687251"/>
              <a:gd name="connsiteX46722" fmla="*/ 2311730 w 8079933"/>
              <a:gd name="connsiteY46722" fmla="*/ 172151 h 4687251"/>
              <a:gd name="connsiteX46723" fmla="*/ 2312924 w 8079933"/>
              <a:gd name="connsiteY46723" fmla="*/ 168362 h 4687251"/>
              <a:gd name="connsiteX46724" fmla="*/ 3203953 w 8079933"/>
              <a:gd name="connsiteY46724" fmla="*/ 161108 h 4687251"/>
              <a:gd name="connsiteX46725" fmla="*/ 3204930 w 8079933"/>
              <a:gd name="connsiteY46725" fmla="*/ 163381 h 4687251"/>
              <a:gd name="connsiteX46726" fmla="*/ 3204930 w 8079933"/>
              <a:gd name="connsiteY46726" fmla="*/ 166846 h 4687251"/>
              <a:gd name="connsiteX46727" fmla="*/ 3206232 w 8079933"/>
              <a:gd name="connsiteY46727" fmla="*/ 168253 h 4687251"/>
              <a:gd name="connsiteX46728" fmla="*/ 3205038 w 8079933"/>
              <a:gd name="connsiteY46728" fmla="*/ 170311 h 4687251"/>
              <a:gd name="connsiteX46729" fmla="*/ 3201675 w 8079933"/>
              <a:gd name="connsiteY46729" fmla="*/ 166087 h 4687251"/>
              <a:gd name="connsiteX46730" fmla="*/ 3201892 w 8079933"/>
              <a:gd name="connsiteY46730" fmla="*/ 162516 h 4687251"/>
              <a:gd name="connsiteX46731" fmla="*/ 5383076 w 8079933"/>
              <a:gd name="connsiteY46731" fmla="*/ 155693 h 4687251"/>
              <a:gd name="connsiteX46732" fmla="*/ 5392300 w 8079933"/>
              <a:gd name="connsiteY46732" fmla="*/ 156559 h 4687251"/>
              <a:gd name="connsiteX46733" fmla="*/ 5398594 w 8079933"/>
              <a:gd name="connsiteY46733" fmla="*/ 161108 h 4687251"/>
              <a:gd name="connsiteX46734" fmla="*/ 5406732 w 8079933"/>
              <a:gd name="connsiteY46734" fmla="*/ 171934 h 4687251"/>
              <a:gd name="connsiteX46735" fmla="*/ 5408795 w 8079933"/>
              <a:gd name="connsiteY46735" fmla="*/ 176590 h 4687251"/>
              <a:gd name="connsiteX46736" fmla="*/ 5406191 w 8079933"/>
              <a:gd name="connsiteY46736" fmla="*/ 184168 h 4687251"/>
              <a:gd name="connsiteX46737" fmla="*/ 5408686 w 8079933"/>
              <a:gd name="connsiteY46737" fmla="*/ 186227 h 4687251"/>
              <a:gd name="connsiteX46738" fmla="*/ 5407276 w 8079933"/>
              <a:gd name="connsiteY46738" fmla="*/ 190558 h 4687251"/>
              <a:gd name="connsiteX46739" fmla="*/ 5404779 w 8079933"/>
              <a:gd name="connsiteY46739" fmla="*/ 194455 h 4687251"/>
              <a:gd name="connsiteX46740" fmla="*/ 5405539 w 8079933"/>
              <a:gd name="connsiteY46740" fmla="*/ 198136 h 4687251"/>
              <a:gd name="connsiteX46741" fmla="*/ 5407927 w 8079933"/>
              <a:gd name="connsiteY46741" fmla="*/ 196187 h 4687251"/>
              <a:gd name="connsiteX46742" fmla="*/ 5410857 w 8079933"/>
              <a:gd name="connsiteY46742" fmla="*/ 189907 h 4687251"/>
              <a:gd name="connsiteX46743" fmla="*/ 5411833 w 8079933"/>
              <a:gd name="connsiteY46743" fmla="*/ 184060 h 4687251"/>
              <a:gd name="connsiteX46744" fmla="*/ 5412050 w 8079933"/>
              <a:gd name="connsiteY46744" fmla="*/ 179838 h 4687251"/>
              <a:gd name="connsiteX46745" fmla="*/ 5414004 w 8079933"/>
              <a:gd name="connsiteY46745" fmla="*/ 176049 h 4687251"/>
              <a:gd name="connsiteX46746" fmla="*/ 5413461 w 8079933"/>
              <a:gd name="connsiteY46746" fmla="*/ 173018 h 4687251"/>
              <a:gd name="connsiteX46747" fmla="*/ 5407276 w 8079933"/>
              <a:gd name="connsiteY46747" fmla="*/ 165764 h 4687251"/>
              <a:gd name="connsiteX46748" fmla="*/ 5406407 w 8079933"/>
              <a:gd name="connsiteY46748" fmla="*/ 162515 h 4687251"/>
              <a:gd name="connsiteX46749" fmla="*/ 5407276 w 8079933"/>
              <a:gd name="connsiteY46749" fmla="*/ 159375 h 4687251"/>
              <a:gd name="connsiteX46750" fmla="*/ 5415305 w 8079933"/>
              <a:gd name="connsiteY46750" fmla="*/ 158184 h 4687251"/>
              <a:gd name="connsiteX46751" fmla="*/ 5424529 w 8079933"/>
              <a:gd name="connsiteY46751" fmla="*/ 159267 h 4687251"/>
              <a:gd name="connsiteX46752" fmla="*/ 5439180 w 8079933"/>
              <a:gd name="connsiteY46752" fmla="*/ 171609 h 4687251"/>
              <a:gd name="connsiteX46753" fmla="*/ 5441567 w 8079933"/>
              <a:gd name="connsiteY46753" fmla="*/ 172151 h 4687251"/>
              <a:gd name="connsiteX46754" fmla="*/ 5444171 w 8079933"/>
              <a:gd name="connsiteY46754" fmla="*/ 173992 h 4687251"/>
              <a:gd name="connsiteX46755" fmla="*/ 5444496 w 8079933"/>
              <a:gd name="connsiteY46755" fmla="*/ 179513 h 4687251"/>
              <a:gd name="connsiteX46756" fmla="*/ 5448403 w 8079933"/>
              <a:gd name="connsiteY46756" fmla="*/ 182113 h 4687251"/>
              <a:gd name="connsiteX46757" fmla="*/ 5449597 w 8079933"/>
              <a:gd name="connsiteY46757" fmla="*/ 188608 h 4687251"/>
              <a:gd name="connsiteX46758" fmla="*/ 5449597 w 8079933"/>
              <a:gd name="connsiteY46758" fmla="*/ 194995 h 4687251"/>
              <a:gd name="connsiteX46759" fmla="*/ 5456759 w 8079933"/>
              <a:gd name="connsiteY46759" fmla="*/ 202250 h 4687251"/>
              <a:gd name="connsiteX46760" fmla="*/ 5461860 w 8079933"/>
              <a:gd name="connsiteY46760" fmla="*/ 209286 h 4687251"/>
              <a:gd name="connsiteX46761" fmla="*/ 5461534 w 8079933"/>
              <a:gd name="connsiteY46761" fmla="*/ 211994 h 4687251"/>
              <a:gd name="connsiteX46762" fmla="*/ 5457085 w 8079933"/>
              <a:gd name="connsiteY46762" fmla="*/ 212211 h 4687251"/>
              <a:gd name="connsiteX46763" fmla="*/ 5453938 w 8079933"/>
              <a:gd name="connsiteY46763" fmla="*/ 210154 h 4687251"/>
              <a:gd name="connsiteX46764" fmla="*/ 5451116 w 8079933"/>
              <a:gd name="connsiteY46764" fmla="*/ 210263 h 4687251"/>
              <a:gd name="connsiteX46765" fmla="*/ 5451875 w 8079933"/>
              <a:gd name="connsiteY46765" fmla="*/ 216001 h 4687251"/>
              <a:gd name="connsiteX46766" fmla="*/ 5457193 w 8079933"/>
              <a:gd name="connsiteY46766" fmla="*/ 219573 h 4687251"/>
              <a:gd name="connsiteX46767" fmla="*/ 5463596 w 8079933"/>
              <a:gd name="connsiteY46767" fmla="*/ 220656 h 4687251"/>
              <a:gd name="connsiteX46768" fmla="*/ 5469239 w 8079933"/>
              <a:gd name="connsiteY46768" fmla="*/ 226828 h 4687251"/>
              <a:gd name="connsiteX46769" fmla="*/ 5472711 w 8079933"/>
              <a:gd name="connsiteY46769" fmla="*/ 227909 h 4687251"/>
              <a:gd name="connsiteX46770" fmla="*/ 5478571 w 8079933"/>
              <a:gd name="connsiteY46770" fmla="*/ 234407 h 4687251"/>
              <a:gd name="connsiteX46771" fmla="*/ 5478571 w 8079933"/>
              <a:gd name="connsiteY46771" fmla="*/ 238306 h 4687251"/>
              <a:gd name="connsiteX46772" fmla="*/ 5472928 w 8079933"/>
              <a:gd name="connsiteY46772" fmla="*/ 245883 h 4687251"/>
              <a:gd name="connsiteX46773" fmla="*/ 5465983 w 8079933"/>
              <a:gd name="connsiteY46773" fmla="*/ 247832 h 4687251"/>
              <a:gd name="connsiteX46774" fmla="*/ 5460340 w 8079933"/>
              <a:gd name="connsiteY46774" fmla="*/ 253246 h 4687251"/>
              <a:gd name="connsiteX46775" fmla="*/ 5455891 w 8079933"/>
              <a:gd name="connsiteY46775" fmla="*/ 256712 h 4687251"/>
              <a:gd name="connsiteX46776" fmla="*/ 5451550 w 8079933"/>
              <a:gd name="connsiteY46776" fmla="*/ 257252 h 4687251"/>
              <a:gd name="connsiteX46777" fmla="*/ 5446667 w 8079933"/>
              <a:gd name="connsiteY46777" fmla="*/ 253246 h 4687251"/>
              <a:gd name="connsiteX46778" fmla="*/ 5443737 w 8079933"/>
              <a:gd name="connsiteY46778" fmla="*/ 250539 h 4687251"/>
              <a:gd name="connsiteX46779" fmla="*/ 5439288 w 8079933"/>
              <a:gd name="connsiteY46779" fmla="*/ 251081 h 4687251"/>
              <a:gd name="connsiteX46780" fmla="*/ 5435490 w 8079933"/>
              <a:gd name="connsiteY46780" fmla="*/ 249674 h 4687251"/>
              <a:gd name="connsiteX46781" fmla="*/ 5430715 w 8079933"/>
              <a:gd name="connsiteY46781" fmla="*/ 251081 h 4687251"/>
              <a:gd name="connsiteX46782" fmla="*/ 5419104 w 8079933"/>
              <a:gd name="connsiteY46782" fmla="*/ 250213 h 4687251"/>
              <a:gd name="connsiteX46783" fmla="*/ 5413135 w 8079933"/>
              <a:gd name="connsiteY46783" fmla="*/ 246751 h 4687251"/>
              <a:gd name="connsiteX46784" fmla="*/ 5410205 w 8079933"/>
              <a:gd name="connsiteY46784" fmla="*/ 244476 h 4687251"/>
              <a:gd name="connsiteX46785" fmla="*/ 5403586 w 8079933"/>
              <a:gd name="connsiteY46785" fmla="*/ 246751 h 4687251"/>
              <a:gd name="connsiteX46786" fmla="*/ 5397943 w 8079933"/>
              <a:gd name="connsiteY46786" fmla="*/ 249674 h 4687251"/>
              <a:gd name="connsiteX46787" fmla="*/ 5393602 w 8079933"/>
              <a:gd name="connsiteY46787" fmla="*/ 248483 h 4687251"/>
              <a:gd name="connsiteX46788" fmla="*/ 5388502 w 8079933"/>
              <a:gd name="connsiteY46788" fmla="*/ 245234 h 4687251"/>
              <a:gd name="connsiteX46789" fmla="*/ 5382642 w 8079933"/>
              <a:gd name="connsiteY46789" fmla="*/ 244476 h 4687251"/>
              <a:gd name="connsiteX46790" fmla="*/ 5379278 w 8079933"/>
              <a:gd name="connsiteY46790" fmla="*/ 241119 h 4687251"/>
              <a:gd name="connsiteX46791" fmla="*/ 5376240 w 8079933"/>
              <a:gd name="connsiteY46791" fmla="*/ 232024 h 4687251"/>
              <a:gd name="connsiteX46792" fmla="*/ 5372767 w 8079933"/>
              <a:gd name="connsiteY46792" fmla="*/ 227369 h 4687251"/>
              <a:gd name="connsiteX46793" fmla="*/ 5369621 w 8079933"/>
              <a:gd name="connsiteY46793" fmla="*/ 226828 h 4687251"/>
              <a:gd name="connsiteX46794" fmla="*/ 5365605 w 8079933"/>
              <a:gd name="connsiteY46794" fmla="*/ 229101 h 4687251"/>
              <a:gd name="connsiteX46795" fmla="*/ 5361373 w 8079933"/>
              <a:gd name="connsiteY46795" fmla="*/ 225744 h 4687251"/>
              <a:gd name="connsiteX46796" fmla="*/ 5357467 w 8079933"/>
              <a:gd name="connsiteY46796" fmla="*/ 223905 h 4687251"/>
              <a:gd name="connsiteX46797" fmla="*/ 5356273 w 8079933"/>
              <a:gd name="connsiteY46797" fmla="*/ 226288 h 4687251"/>
              <a:gd name="connsiteX46798" fmla="*/ 5357467 w 8079933"/>
              <a:gd name="connsiteY46798" fmla="*/ 229751 h 4687251"/>
              <a:gd name="connsiteX46799" fmla="*/ 5354862 w 8079933"/>
              <a:gd name="connsiteY46799" fmla="*/ 230726 h 4687251"/>
              <a:gd name="connsiteX46800" fmla="*/ 5353125 w 8079933"/>
              <a:gd name="connsiteY46800" fmla="*/ 228885 h 4687251"/>
              <a:gd name="connsiteX46801" fmla="*/ 5348134 w 8079933"/>
              <a:gd name="connsiteY46801" fmla="*/ 225744 h 4687251"/>
              <a:gd name="connsiteX46802" fmla="*/ 5349002 w 8079933"/>
              <a:gd name="connsiteY46802" fmla="*/ 223362 h 4687251"/>
              <a:gd name="connsiteX46803" fmla="*/ 5354320 w 8079933"/>
              <a:gd name="connsiteY46803" fmla="*/ 219898 h 4687251"/>
              <a:gd name="connsiteX46804" fmla="*/ 5355188 w 8079933"/>
              <a:gd name="connsiteY46804" fmla="*/ 216866 h 4687251"/>
              <a:gd name="connsiteX46805" fmla="*/ 5353343 w 8079933"/>
              <a:gd name="connsiteY46805" fmla="*/ 209396 h 4687251"/>
              <a:gd name="connsiteX46806" fmla="*/ 5354537 w 8079933"/>
              <a:gd name="connsiteY46806" fmla="*/ 204956 h 4687251"/>
              <a:gd name="connsiteX46807" fmla="*/ 5360180 w 8079933"/>
              <a:gd name="connsiteY46807" fmla="*/ 199977 h 4687251"/>
              <a:gd name="connsiteX46808" fmla="*/ 5358335 w 8079933"/>
              <a:gd name="connsiteY46808" fmla="*/ 196945 h 4687251"/>
              <a:gd name="connsiteX46809" fmla="*/ 5355188 w 8079933"/>
              <a:gd name="connsiteY46809" fmla="*/ 196945 h 4687251"/>
              <a:gd name="connsiteX46810" fmla="*/ 5350521 w 8079933"/>
              <a:gd name="connsiteY46810" fmla="*/ 194132 h 4687251"/>
              <a:gd name="connsiteX46811" fmla="*/ 5350087 w 8079933"/>
              <a:gd name="connsiteY46811" fmla="*/ 190232 h 4687251"/>
              <a:gd name="connsiteX46812" fmla="*/ 5352475 w 8079933"/>
              <a:gd name="connsiteY46812" fmla="*/ 182761 h 4687251"/>
              <a:gd name="connsiteX46813" fmla="*/ 5356598 w 8079933"/>
              <a:gd name="connsiteY46813" fmla="*/ 179082 h 4687251"/>
              <a:gd name="connsiteX46814" fmla="*/ 5363001 w 8079933"/>
              <a:gd name="connsiteY46814" fmla="*/ 177455 h 4687251"/>
              <a:gd name="connsiteX46815" fmla="*/ 5363435 w 8079933"/>
              <a:gd name="connsiteY46815" fmla="*/ 173669 h 4687251"/>
              <a:gd name="connsiteX46816" fmla="*/ 5365605 w 8079933"/>
              <a:gd name="connsiteY46816" fmla="*/ 170311 h 4687251"/>
              <a:gd name="connsiteX46817" fmla="*/ 5371574 w 8079933"/>
              <a:gd name="connsiteY46817" fmla="*/ 167820 h 4687251"/>
              <a:gd name="connsiteX46818" fmla="*/ 5379278 w 8079933"/>
              <a:gd name="connsiteY46818" fmla="*/ 162732 h 4687251"/>
              <a:gd name="connsiteX46819" fmla="*/ 5381232 w 8079933"/>
              <a:gd name="connsiteY46819" fmla="*/ 156994 h 4687251"/>
              <a:gd name="connsiteX46820" fmla="*/ 3263420 w 8079933"/>
              <a:gd name="connsiteY46820" fmla="*/ 148007 h 4687251"/>
              <a:gd name="connsiteX46821" fmla="*/ 3266784 w 8079933"/>
              <a:gd name="connsiteY46821" fmla="*/ 151363 h 4687251"/>
              <a:gd name="connsiteX46822" fmla="*/ 3268628 w 8079933"/>
              <a:gd name="connsiteY46822" fmla="*/ 156885 h 4687251"/>
              <a:gd name="connsiteX46823" fmla="*/ 3271124 w 8079933"/>
              <a:gd name="connsiteY46823" fmla="*/ 161215 h 4687251"/>
              <a:gd name="connsiteX46824" fmla="*/ 3270148 w 8079933"/>
              <a:gd name="connsiteY46824" fmla="*/ 164464 h 4687251"/>
              <a:gd name="connsiteX46825" fmla="*/ 3267218 w 8079933"/>
              <a:gd name="connsiteY46825" fmla="*/ 165438 h 4687251"/>
              <a:gd name="connsiteX46826" fmla="*/ 3265047 w 8079933"/>
              <a:gd name="connsiteY46826" fmla="*/ 164680 h 4687251"/>
              <a:gd name="connsiteX46827" fmla="*/ 3262877 w 8079933"/>
              <a:gd name="connsiteY46827" fmla="*/ 161974 h 4687251"/>
              <a:gd name="connsiteX46828" fmla="*/ 3262769 w 8079933"/>
              <a:gd name="connsiteY46828" fmla="*/ 156127 h 4687251"/>
              <a:gd name="connsiteX46829" fmla="*/ 3260490 w 8079933"/>
              <a:gd name="connsiteY46829" fmla="*/ 152446 h 4687251"/>
              <a:gd name="connsiteX46830" fmla="*/ 3260924 w 8079933"/>
              <a:gd name="connsiteY46830" fmla="*/ 148439 h 4687251"/>
              <a:gd name="connsiteX46831" fmla="*/ 3191908 w 8079933"/>
              <a:gd name="connsiteY46831" fmla="*/ 147789 h 4687251"/>
              <a:gd name="connsiteX46832" fmla="*/ 3193319 w 8079933"/>
              <a:gd name="connsiteY46832" fmla="*/ 151038 h 4687251"/>
              <a:gd name="connsiteX46833" fmla="*/ 3193319 w 8079933"/>
              <a:gd name="connsiteY46833" fmla="*/ 158292 h 4687251"/>
              <a:gd name="connsiteX46834" fmla="*/ 3195706 w 8079933"/>
              <a:gd name="connsiteY46834" fmla="*/ 163273 h 4687251"/>
              <a:gd name="connsiteX46835" fmla="*/ 3195055 w 8079933"/>
              <a:gd name="connsiteY46835" fmla="*/ 170418 h 4687251"/>
              <a:gd name="connsiteX46836" fmla="*/ 3192776 w 8079933"/>
              <a:gd name="connsiteY46836" fmla="*/ 177131 h 4687251"/>
              <a:gd name="connsiteX46837" fmla="*/ 3193102 w 8079933"/>
              <a:gd name="connsiteY46837" fmla="*/ 184926 h 4687251"/>
              <a:gd name="connsiteX46838" fmla="*/ 3198636 w 8079933"/>
              <a:gd name="connsiteY46838" fmla="*/ 190773 h 4687251"/>
              <a:gd name="connsiteX46839" fmla="*/ 3199179 w 8079933"/>
              <a:gd name="connsiteY46839" fmla="*/ 196404 h 4687251"/>
              <a:gd name="connsiteX46840" fmla="*/ 3197226 w 8079933"/>
              <a:gd name="connsiteY46840" fmla="*/ 201600 h 4687251"/>
              <a:gd name="connsiteX46841" fmla="*/ 3195055 w 8079933"/>
              <a:gd name="connsiteY46841" fmla="*/ 199651 h 4687251"/>
              <a:gd name="connsiteX46842" fmla="*/ 3190931 w 8079933"/>
              <a:gd name="connsiteY46842" fmla="*/ 192181 h 4687251"/>
              <a:gd name="connsiteX46843" fmla="*/ 3189847 w 8079933"/>
              <a:gd name="connsiteY46843" fmla="*/ 184926 h 4687251"/>
              <a:gd name="connsiteX46844" fmla="*/ 3184855 w 8079933"/>
              <a:gd name="connsiteY46844" fmla="*/ 174749 h 4687251"/>
              <a:gd name="connsiteX46845" fmla="*/ 3184855 w 8079933"/>
              <a:gd name="connsiteY46845" fmla="*/ 168902 h 4687251"/>
              <a:gd name="connsiteX46846" fmla="*/ 3187134 w 8079933"/>
              <a:gd name="connsiteY46846" fmla="*/ 164463 h 4687251"/>
              <a:gd name="connsiteX46847" fmla="*/ 3186917 w 8079933"/>
              <a:gd name="connsiteY46847" fmla="*/ 152446 h 4687251"/>
              <a:gd name="connsiteX46848" fmla="*/ 2448028 w 8079933"/>
              <a:gd name="connsiteY46848" fmla="*/ 142267 h 4687251"/>
              <a:gd name="connsiteX46849" fmla="*/ 2445965 w 8079933"/>
              <a:gd name="connsiteY46849" fmla="*/ 147031 h 4687251"/>
              <a:gd name="connsiteX46850" fmla="*/ 2449546 w 8079933"/>
              <a:gd name="connsiteY46850" fmla="*/ 148330 h 4687251"/>
              <a:gd name="connsiteX46851" fmla="*/ 2455189 w 8079933"/>
              <a:gd name="connsiteY46851" fmla="*/ 148655 h 4687251"/>
              <a:gd name="connsiteX46852" fmla="*/ 2456492 w 8079933"/>
              <a:gd name="connsiteY46852" fmla="*/ 151903 h 4687251"/>
              <a:gd name="connsiteX46853" fmla="*/ 2453562 w 8079933"/>
              <a:gd name="connsiteY46853" fmla="*/ 158183 h 4687251"/>
              <a:gd name="connsiteX46854" fmla="*/ 2447593 w 8079933"/>
              <a:gd name="connsiteY46854" fmla="*/ 162731 h 4687251"/>
              <a:gd name="connsiteX46855" fmla="*/ 2447160 w 8079933"/>
              <a:gd name="connsiteY46855" fmla="*/ 166196 h 4687251"/>
              <a:gd name="connsiteX46856" fmla="*/ 2444120 w 8079933"/>
              <a:gd name="connsiteY46856" fmla="*/ 172800 h 4687251"/>
              <a:gd name="connsiteX46857" fmla="*/ 2439021 w 8079933"/>
              <a:gd name="connsiteY46857" fmla="*/ 177889 h 4687251"/>
              <a:gd name="connsiteX46858" fmla="*/ 2437609 w 8079933"/>
              <a:gd name="connsiteY46858" fmla="*/ 174099 h 4687251"/>
              <a:gd name="connsiteX46859" fmla="*/ 2435439 w 8079933"/>
              <a:gd name="connsiteY46859" fmla="*/ 171934 h 4687251"/>
              <a:gd name="connsiteX46860" fmla="*/ 2435548 w 8079933"/>
              <a:gd name="connsiteY46860" fmla="*/ 168253 h 4687251"/>
              <a:gd name="connsiteX46861" fmla="*/ 2439780 w 8079933"/>
              <a:gd name="connsiteY46861" fmla="*/ 164247 h 4687251"/>
              <a:gd name="connsiteX46862" fmla="*/ 2439780 w 8079933"/>
              <a:gd name="connsiteY46862" fmla="*/ 159916 h 4687251"/>
              <a:gd name="connsiteX46863" fmla="*/ 2435548 w 8079933"/>
              <a:gd name="connsiteY46863" fmla="*/ 161431 h 4687251"/>
              <a:gd name="connsiteX46864" fmla="*/ 2429797 w 8079933"/>
              <a:gd name="connsiteY46864" fmla="*/ 159700 h 4687251"/>
              <a:gd name="connsiteX46865" fmla="*/ 2429688 w 8079933"/>
              <a:gd name="connsiteY46865" fmla="*/ 156018 h 4687251"/>
              <a:gd name="connsiteX46866" fmla="*/ 2432510 w 8079933"/>
              <a:gd name="connsiteY46866" fmla="*/ 153311 h 4687251"/>
              <a:gd name="connsiteX46867" fmla="*/ 2433378 w 8079933"/>
              <a:gd name="connsiteY46867" fmla="*/ 149630 h 4687251"/>
              <a:gd name="connsiteX46868" fmla="*/ 2440431 w 8079933"/>
              <a:gd name="connsiteY46868" fmla="*/ 147465 h 4687251"/>
              <a:gd name="connsiteX46869" fmla="*/ 2446183 w 8079933"/>
              <a:gd name="connsiteY46869" fmla="*/ 142484 h 4687251"/>
              <a:gd name="connsiteX46870" fmla="*/ 2525182 w 8079933"/>
              <a:gd name="connsiteY46870" fmla="*/ 126352 h 4687251"/>
              <a:gd name="connsiteX46871" fmla="*/ 2528112 w 8079933"/>
              <a:gd name="connsiteY46871" fmla="*/ 126352 h 4687251"/>
              <a:gd name="connsiteX46872" fmla="*/ 2530065 w 8079933"/>
              <a:gd name="connsiteY46872" fmla="*/ 127652 h 4687251"/>
              <a:gd name="connsiteX46873" fmla="*/ 2533863 w 8079933"/>
              <a:gd name="connsiteY46873" fmla="*/ 127652 h 4687251"/>
              <a:gd name="connsiteX46874" fmla="*/ 2534297 w 8079933"/>
              <a:gd name="connsiteY46874" fmla="*/ 131767 h 4687251"/>
              <a:gd name="connsiteX46875" fmla="*/ 2531801 w 8079933"/>
              <a:gd name="connsiteY46875" fmla="*/ 131983 h 4687251"/>
              <a:gd name="connsiteX46876" fmla="*/ 2529739 w 8079933"/>
              <a:gd name="connsiteY46876" fmla="*/ 130467 h 4687251"/>
              <a:gd name="connsiteX46877" fmla="*/ 2525073 w 8079933"/>
              <a:gd name="connsiteY46877" fmla="*/ 129601 h 4687251"/>
              <a:gd name="connsiteX46878" fmla="*/ 2523663 w 8079933"/>
              <a:gd name="connsiteY46878" fmla="*/ 127544 h 4687251"/>
              <a:gd name="connsiteX46879" fmla="*/ 3304006 w 8079933"/>
              <a:gd name="connsiteY46879" fmla="*/ 119964 h 4687251"/>
              <a:gd name="connsiteX46880" fmla="*/ 3307804 w 8079933"/>
              <a:gd name="connsiteY46880" fmla="*/ 122886 h 4687251"/>
              <a:gd name="connsiteX46881" fmla="*/ 3307479 w 8079933"/>
              <a:gd name="connsiteY46881" fmla="*/ 128625 h 4687251"/>
              <a:gd name="connsiteX46882" fmla="*/ 3305417 w 8079933"/>
              <a:gd name="connsiteY46882" fmla="*/ 127975 h 4687251"/>
              <a:gd name="connsiteX46883" fmla="*/ 3302487 w 8079933"/>
              <a:gd name="connsiteY46883" fmla="*/ 121047 h 4687251"/>
              <a:gd name="connsiteX46884" fmla="*/ 3282846 w 8079933"/>
              <a:gd name="connsiteY46884" fmla="*/ 114984 h 4687251"/>
              <a:gd name="connsiteX46885" fmla="*/ 3285776 w 8079933"/>
              <a:gd name="connsiteY46885" fmla="*/ 116716 h 4687251"/>
              <a:gd name="connsiteX46886" fmla="*/ 3286209 w 8079933"/>
              <a:gd name="connsiteY46886" fmla="*/ 120614 h 4687251"/>
              <a:gd name="connsiteX46887" fmla="*/ 3288706 w 8079933"/>
              <a:gd name="connsiteY46887" fmla="*/ 121480 h 4687251"/>
              <a:gd name="connsiteX46888" fmla="*/ 3291310 w 8079933"/>
              <a:gd name="connsiteY46888" fmla="*/ 123970 h 4687251"/>
              <a:gd name="connsiteX46889" fmla="*/ 3291310 w 8079933"/>
              <a:gd name="connsiteY46889" fmla="*/ 126352 h 4687251"/>
              <a:gd name="connsiteX46890" fmla="*/ 3287729 w 8079933"/>
              <a:gd name="connsiteY46890" fmla="*/ 126135 h 4687251"/>
              <a:gd name="connsiteX46891" fmla="*/ 3285776 w 8079933"/>
              <a:gd name="connsiteY46891" fmla="*/ 124187 h 4687251"/>
              <a:gd name="connsiteX46892" fmla="*/ 3280133 w 8079933"/>
              <a:gd name="connsiteY46892" fmla="*/ 123538 h 4687251"/>
              <a:gd name="connsiteX46893" fmla="*/ 3279265 w 8079933"/>
              <a:gd name="connsiteY46893" fmla="*/ 120181 h 4687251"/>
              <a:gd name="connsiteX46894" fmla="*/ 3279482 w 8079933"/>
              <a:gd name="connsiteY46894" fmla="*/ 117907 h 4687251"/>
              <a:gd name="connsiteX46895" fmla="*/ 5245912 w 8079933"/>
              <a:gd name="connsiteY46895" fmla="*/ 110113 h 4687251"/>
              <a:gd name="connsiteX46896" fmla="*/ 5251664 w 8079933"/>
              <a:gd name="connsiteY46896" fmla="*/ 111628 h 4687251"/>
              <a:gd name="connsiteX46897" fmla="*/ 5249602 w 8079933"/>
              <a:gd name="connsiteY46897" fmla="*/ 114660 h 4687251"/>
              <a:gd name="connsiteX46898" fmla="*/ 5249059 w 8079933"/>
              <a:gd name="connsiteY46898" fmla="*/ 117908 h 4687251"/>
              <a:gd name="connsiteX46899" fmla="*/ 5244935 w 8079933"/>
              <a:gd name="connsiteY46899" fmla="*/ 121807 h 4687251"/>
              <a:gd name="connsiteX46900" fmla="*/ 5239183 w 8079933"/>
              <a:gd name="connsiteY46900" fmla="*/ 122996 h 4687251"/>
              <a:gd name="connsiteX46901" fmla="*/ 5234408 w 8079933"/>
              <a:gd name="connsiteY46901" fmla="*/ 121807 h 4687251"/>
              <a:gd name="connsiteX46902" fmla="*/ 5231804 w 8079933"/>
              <a:gd name="connsiteY46902" fmla="*/ 119532 h 4687251"/>
              <a:gd name="connsiteX46903" fmla="*/ 5236254 w 8079933"/>
              <a:gd name="connsiteY46903" fmla="*/ 114769 h 4687251"/>
              <a:gd name="connsiteX46904" fmla="*/ 5238967 w 8079933"/>
              <a:gd name="connsiteY46904" fmla="*/ 110653 h 4687251"/>
              <a:gd name="connsiteX46905" fmla="*/ 3314640 w 8079933"/>
              <a:gd name="connsiteY46905" fmla="*/ 108595 h 4687251"/>
              <a:gd name="connsiteX46906" fmla="*/ 3317679 w 8079933"/>
              <a:gd name="connsiteY46906" fmla="*/ 109137 h 4687251"/>
              <a:gd name="connsiteX46907" fmla="*/ 3321694 w 8079933"/>
              <a:gd name="connsiteY46907" fmla="*/ 114984 h 4687251"/>
              <a:gd name="connsiteX46908" fmla="*/ 3324841 w 8079933"/>
              <a:gd name="connsiteY46908" fmla="*/ 115525 h 4687251"/>
              <a:gd name="connsiteX46909" fmla="*/ 3325058 w 8079933"/>
              <a:gd name="connsiteY46909" fmla="*/ 118665 h 4687251"/>
              <a:gd name="connsiteX46910" fmla="*/ 3323756 w 8079933"/>
              <a:gd name="connsiteY46910" fmla="*/ 119964 h 4687251"/>
              <a:gd name="connsiteX46911" fmla="*/ 3323647 w 8079933"/>
              <a:gd name="connsiteY46911" fmla="*/ 125053 h 4687251"/>
              <a:gd name="connsiteX46912" fmla="*/ 3322019 w 8079933"/>
              <a:gd name="connsiteY46912" fmla="*/ 130360 h 4687251"/>
              <a:gd name="connsiteX46913" fmla="*/ 3318221 w 8079933"/>
              <a:gd name="connsiteY46913" fmla="*/ 129384 h 4687251"/>
              <a:gd name="connsiteX46914" fmla="*/ 3312687 w 8079933"/>
              <a:gd name="connsiteY46914" fmla="*/ 123537 h 4687251"/>
              <a:gd name="connsiteX46915" fmla="*/ 3308563 w 8079933"/>
              <a:gd name="connsiteY46915" fmla="*/ 121588 h 4687251"/>
              <a:gd name="connsiteX46916" fmla="*/ 3307044 w 8079933"/>
              <a:gd name="connsiteY46916" fmla="*/ 117257 h 4687251"/>
              <a:gd name="connsiteX46917" fmla="*/ 3309757 w 8079933"/>
              <a:gd name="connsiteY46917" fmla="*/ 116824 h 4687251"/>
              <a:gd name="connsiteX46918" fmla="*/ 3312253 w 8079933"/>
              <a:gd name="connsiteY46918" fmla="*/ 119747 h 4687251"/>
              <a:gd name="connsiteX46919" fmla="*/ 3314206 w 8079933"/>
              <a:gd name="connsiteY46919" fmla="*/ 117365 h 4687251"/>
              <a:gd name="connsiteX46920" fmla="*/ 3313121 w 8079933"/>
              <a:gd name="connsiteY46920" fmla="*/ 115092 h 4687251"/>
              <a:gd name="connsiteX46921" fmla="*/ 3312470 w 8079933"/>
              <a:gd name="connsiteY46921" fmla="*/ 110870 h 4687251"/>
              <a:gd name="connsiteX46922" fmla="*/ 3379750 w 8079933"/>
              <a:gd name="connsiteY46922" fmla="*/ 97228 h 4687251"/>
              <a:gd name="connsiteX46923" fmla="*/ 3383114 w 8079933"/>
              <a:gd name="connsiteY46923" fmla="*/ 99392 h 4687251"/>
              <a:gd name="connsiteX46924" fmla="*/ 3383222 w 8079933"/>
              <a:gd name="connsiteY46924" fmla="*/ 101558 h 4687251"/>
              <a:gd name="connsiteX46925" fmla="*/ 3380943 w 8079933"/>
              <a:gd name="connsiteY46925" fmla="*/ 102533 h 4687251"/>
              <a:gd name="connsiteX46926" fmla="*/ 3378773 w 8079933"/>
              <a:gd name="connsiteY46926" fmla="*/ 101450 h 4687251"/>
              <a:gd name="connsiteX46927" fmla="*/ 3378665 w 8079933"/>
              <a:gd name="connsiteY46927" fmla="*/ 98527 h 4687251"/>
              <a:gd name="connsiteX46928" fmla="*/ 3414801 w 8079933"/>
              <a:gd name="connsiteY46928" fmla="*/ 87591 h 4687251"/>
              <a:gd name="connsiteX46929" fmla="*/ 3417731 w 8079933"/>
              <a:gd name="connsiteY46929" fmla="*/ 87591 h 4687251"/>
              <a:gd name="connsiteX46930" fmla="*/ 3417731 w 8079933"/>
              <a:gd name="connsiteY46930" fmla="*/ 91381 h 4687251"/>
              <a:gd name="connsiteX46931" fmla="*/ 3415343 w 8079933"/>
              <a:gd name="connsiteY46931" fmla="*/ 94739 h 4687251"/>
              <a:gd name="connsiteX46932" fmla="*/ 3412088 w 8079933"/>
              <a:gd name="connsiteY46932" fmla="*/ 94846 h 4687251"/>
              <a:gd name="connsiteX46933" fmla="*/ 3411003 w 8079933"/>
              <a:gd name="connsiteY46933" fmla="*/ 93114 h 4687251"/>
              <a:gd name="connsiteX46934" fmla="*/ 3411112 w 8079933"/>
              <a:gd name="connsiteY46934" fmla="*/ 89974 h 4687251"/>
              <a:gd name="connsiteX46935" fmla="*/ 6362004 w 8079933"/>
              <a:gd name="connsiteY46935" fmla="*/ 85535 h 4687251"/>
              <a:gd name="connsiteX46936" fmla="*/ 6363523 w 8079933"/>
              <a:gd name="connsiteY46936" fmla="*/ 86836 h 4687251"/>
              <a:gd name="connsiteX46937" fmla="*/ 6363849 w 8079933"/>
              <a:gd name="connsiteY46937" fmla="*/ 90950 h 4687251"/>
              <a:gd name="connsiteX46938" fmla="*/ 6365369 w 8079933"/>
              <a:gd name="connsiteY46938" fmla="*/ 92898 h 4687251"/>
              <a:gd name="connsiteX46939" fmla="*/ 6361679 w 8079933"/>
              <a:gd name="connsiteY46939" fmla="*/ 95497 h 4687251"/>
              <a:gd name="connsiteX46940" fmla="*/ 6358641 w 8079933"/>
              <a:gd name="connsiteY46940" fmla="*/ 99070 h 4687251"/>
              <a:gd name="connsiteX46941" fmla="*/ 6353215 w 8079933"/>
              <a:gd name="connsiteY46941" fmla="*/ 101127 h 4687251"/>
              <a:gd name="connsiteX46942" fmla="*/ 6355385 w 8079933"/>
              <a:gd name="connsiteY46942" fmla="*/ 92032 h 4687251"/>
              <a:gd name="connsiteX46943" fmla="*/ 3393750 w 8079933"/>
              <a:gd name="connsiteY46943" fmla="*/ 84992 h 4687251"/>
              <a:gd name="connsiteX46944" fmla="*/ 3396138 w 8079933"/>
              <a:gd name="connsiteY46944" fmla="*/ 87591 h 4687251"/>
              <a:gd name="connsiteX46945" fmla="*/ 3396897 w 8079933"/>
              <a:gd name="connsiteY46945" fmla="*/ 91272 h 4687251"/>
              <a:gd name="connsiteX46946" fmla="*/ 3403300 w 8079933"/>
              <a:gd name="connsiteY46946" fmla="*/ 97119 h 4687251"/>
              <a:gd name="connsiteX46947" fmla="*/ 3400912 w 8079933"/>
              <a:gd name="connsiteY46947" fmla="*/ 98634 h 4687251"/>
              <a:gd name="connsiteX46948" fmla="*/ 3398416 w 8079933"/>
              <a:gd name="connsiteY46948" fmla="*/ 101991 h 4687251"/>
              <a:gd name="connsiteX46949" fmla="*/ 3395270 w 8079933"/>
              <a:gd name="connsiteY46949" fmla="*/ 102099 h 4687251"/>
              <a:gd name="connsiteX46950" fmla="*/ 3394075 w 8079933"/>
              <a:gd name="connsiteY46950" fmla="*/ 98851 h 4687251"/>
              <a:gd name="connsiteX46951" fmla="*/ 3391145 w 8079933"/>
              <a:gd name="connsiteY46951" fmla="*/ 93762 h 4687251"/>
              <a:gd name="connsiteX46952" fmla="*/ 3389952 w 8079933"/>
              <a:gd name="connsiteY46952" fmla="*/ 91164 h 4687251"/>
              <a:gd name="connsiteX46953" fmla="*/ 3391362 w 8079933"/>
              <a:gd name="connsiteY46953" fmla="*/ 90081 h 4687251"/>
              <a:gd name="connsiteX46954" fmla="*/ 3392230 w 8079933"/>
              <a:gd name="connsiteY46954" fmla="*/ 86725 h 4687251"/>
              <a:gd name="connsiteX46955" fmla="*/ 5299953 w 8079933"/>
              <a:gd name="connsiteY46955" fmla="*/ 84453 h 4687251"/>
              <a:gd name="connsiteX46956" fmla="*/ 5303316 w 8079933"/>
              <a:gd name="connsiteY46956" fmla="*/ 84777 h 4687251"/>
              <a:gd name="connsiteX46957" fmla="*/ 5311239 w 8079933"/>
              <a:gd name="connsiteY46957" fmla="*/ 88783 h 4687251"/>
              <a:gd name="connsiteX46958" fmla="*/ 5318292 w 8079933"/>
              <a:gd name="connsiteY46958" fmla="*/ 94305 h 4687251"/>
              <a:gd name="connsiteX46959" fmla="*/ 5327950 w 8079933"/>
              <a:gd name="connsiteY46959" fmla="*/ 105999 h 4687251"/>
              <a:gd name="connsiteX46960" fmla="*/ 5334244 w 8079933"/>
              <a:gd name="connsiteY46960" fmla="*/ 110438 h 4687251"/>
              <a:gd name="connsiteX46961" fmla="*/ 5343143 w 8079933"/>
              <a:gd name="connsiteY46961" fmla="*/ 113144 h 4687251"/>
              <a:gd name="connsiteX46962" fmla="*/ 5355079 w 8079933"/>
              <a:gd name="connsiteY46962" fmla="*/ 113036 h 4687251"/>
              <a:gd name="connsiteX46963" fmla="*/ 5357250 w 8079933"/>
              <a:gd name="connsiteY46963" fmla="*/ 114335 h 4687251"/>
              <a:gd name="connsiteX46964" fmla="*/ 5357141 w 8079933"/>
              <a:gd name="connsiteY46964" fmla="*/ 118341 h 4687251"/>
              <a:gd name="connsiteX46965" fmla="*/ 5354537 w 8079933"/>
              <a:gd name="connsiteY46965" fmla="*/ 123321 h 4687251"/>
              <a:gd name="connsiteX46966" fmla="*/ 5354211 w 8079933"/>
              <a:gd name="connsiteY46966" fmla="*/ 128519 h 4687251"/>
              <a:gd name="connsiteX46967" fmla="*/ 5358443 w 8079933"/>
              <a:gd name="connsiteY46967" fmla="*/ 136205 h 4687251"/>
              <a:gd name="connsiteX46968" fmla="*/ 5365714 w 8079933"/>
              <a:gd name="connsiteY46968" fmla="*/ 143135 h 4687251"/>
              <a:gd name="connsiteX46969" fmla="*/ 5373852 w 8079933"/>
              <a:gd name="connsiteY46969" fmla="*/ 147573 h 4687251"/>
              <a:gd name="connsiteX46970" fmla="*/ 5374287 w 8079933"/>
              <a:gd name="connsiteY46970" fmla="*/ 152553 h 4687251"/>
              <a:gd name="connsiteX46971" fmla="*/ 5372116 w 8079933"/>
              <a:gd name="connsiteY46971" fmla="*/ 156669 h 4687251"/>
              <a:gd name="connsiteX46972" fmla="*/ 5365714 w 8079933"/>
              <a:gd name="connsiteY46972" fmla="*/ 160241 h 4687251"/>
              <a:gd name="connsiteX46973" fmla="*/ 5356382 w 8079933"/>
              <a:gd name="connsiteY46973" fmla="*/ 166955 h 4687251"/>
              <a:gd name="connsiteX46974" fmla="*/ 5350521 w 8079933"/>
              <a:gd name="connsiteY46974" fmla="*/ 172693 h 4687251"/>
              <a:gd name="connsiteX46975" fmla="*/ 5350087 w 8079933"/>
              <a:gd name="connsiteY46975" fmla="*/ 177348 h 4687251"/>
              <a:gd name="connsiteX46976" fmla="*/ 5346723 w 8079933"/>
              <a:gd name="connsiteY46976" fmla="*/ 182113 h 4687251"/>
              <a:gd name="connsiteX46977" fmla="*/ 5338693 w 8079933"/>
              <a:gd name="connsiteY46977" fmla="*/ 186768 h 4687251"/>
              <a:gd name="connsiteX46978" fmla="*/ 5333267 w 8079933"/>
              <a:gd name="connsiteY46978" fmla="*/ 187526 h 4687251"/>
              <a:gd name="connsiteX46979" fmla="*/ 5327299 w 8079933"/>
              <a:gd name="connsiteY46979" fmla="*/ 186552 h 4687251"/>
              <a:gd name="connsiteX46980" fmla="*/ 5321005 w 8079933"/>
              <a:gd name="connsiteY46980" fmla="*/ 182870 h 4687251"/>
              <a:gd name="connsiteX46981" fmla="*/ 5317099 w 8079933"/>
              <a:gd name="connsiteY46981" fmla="*/ 182113 h 4687251"/>
              <a:gd name="connsiteX46982" fmla="*/ 5314820 w 8079933"/>
              <a:gd name="connsiteY46982" fmla="*/ 184494 h 4687251"/>
              <a:gd name="connsiteX46983" fmla="*/ 5311022 w 8079933"/>
              <a:gd name="connsiteY46983" fmla="*/ 184494 h 4687251"/>
              <a:gd name="connsiteX46984" fmla="*/ 5303968 w 8079933"/>
              <a:gd name="connsiteY46984" fmla="*/ 179406 h 4687251"/>
              <a:gd name="connsiteX46985" fmla="*/ 5302666 w 8079933"/>
              <a:gd name="connsiteY46985" fmla="*/ 174750 h 4687251"/>
              <a:gd name="connsiteX46986" fmla="*/ 5300604 w 8079933"/>
              <a:gd name="connsiteY46986" fmla="*/ 173127 h 4687251"/>
              <a:gd name="connsiteX46987" fmla="*/ 5294310 w 8079933"/>
              <a:gd name="connsiteY46987" fmla="*/ 175507 h 4687251"/>
              <a:gd name="connsiteX46988" fmla="*/ 5291489 w 8079933"/>
              <a:gd name="connsiteY46988" fmla="*/ 180272 h 4687251"/>
              <a:gd name="connsiteX46989" fmla="*/ 5289101 w 8079933"/>
              <a:gd name="connsiteY46989" fmla="*/ 181138 h 4687251"/>
              <a:gd name="connsiteX46990" fmla="*/ 5287690 w 8079933"/>
              <a:gd name="connsiteY46990" fmla="*/ 177781 h 4687251"/>
              <a:gd name="connsiteX46991" fmla="*/ 5289209 w 8079933"/>
              <a:gd name="connsiteY46991" fmla="*/ 173668 h 4687251"/>
              <a:gd name="connsiteX46992" fmla="*/ 5291597 w 8079933"/>
              <a:gd name="connsiteY46992" fmla="*/ 168578 h 4687251"/>
              <a:gd name="connsiteX46993" fmla="*/ 5293225 w 8079933"/>
              <a:gd name="connsiteY46993" fmla="*/ 155478 h 4687251"/>
              <a:gd name="connsiteX46994" fmla="*/ 5292574 w 8079933"/>
              <a:gd name="connsiteY46994" fmla="*/ 150822 h 4687251"/>
              <a:gd name="connsiteX46995" fmla="*/ 5288341 w 8079933"/>
              <a:gd name="connsiteY46995" fmla="*/ 148223 h 4687251"/>
              <a:gd name="connsiteX46996" fmla="*/ 5285086 w 8079933"/>
              <a:gd name="connsiteY46996" fmla="*/ 143460 h 4687251"/>
              <a:gd name="connsiteX46997" fmla="*/ 5284218 w 8079933"/>
              <a:gd name="connsiteY46997" fmla="*/ 124513 h 4687251"/>
              <a:gd name="connsiteX46998" fmla="*/ 5285086 w 8079933"/>
              <a:gd name="connsiteY46998" fmla="*/ 119640 h 4687251"/>
              <a:gd name="connsiteX46999" fmla="*/ 5290077 w 8079933"/>
              <a:gd name="connsiteY46999" fmla="*/ 113469 h 4687251"/>
              <a:gd name="connsiteX47000" fmla="*/ 5294310 w 8079933"/>
              <a:gd name="connsiteY47000" fmla="*/ 106323 h 4687251"/>
              <a:gd name="connsiteX47001" fmla="*/ 5298325 w 8079933"/>
              <a:gd name="connsiteY47001" fmla="*/ 100585 h 4687251"/>
              <a:gd name="connsiteX47002" fmla="*/ 5298434 w 8079933"/>
              <a:gd name="connsiteY47002" fmla="*/ 94197 h 4687251"/>
              <a:gd name="connsiteX47003" fmla="*/ 5297457 w 8079933"/>
              <a:gd name="connsiteY47003" fmla="*/ 90515 h 4687251"/>
              <a:gd name="connsiteX47004" fmla="*/ 5298542 w 8079933"/>
              <a:gd name="connsiteY47004" fmla="*/ 86618 h 4687251"/>
              <a:gd name="connsiteX47005" fmla="*/ 3409917 w 8079933"/>
              <a:gd name="connsiteY47005" fmla="*/ 76439 h 4687251"/>
              <a:gd name="connsiteX47006" fmla="*/ 3412522 w 8079933"/>
              <a:gd name="connsiteY47006" fmla="*/ 76439 h 4687251"/>
              <a:gd name="connsiteX47007" fmla="*/ 3414366 w 8079933"/>
              <a:gd name="connsiteY47007" fmla="*/ 79254 h 4687251"/>
              <a:gd name="connsiteX47008" fmla="*/ 3413390 w 8079933"/>
              <a:gd name="connsiteY47008" fmla="*/ 83477 h 4687251"/>
              <a:gd name="connsiteX47009" fmla="*/ 3411979 w 8079933"/>
              <a:gd name="connsiteY47009" fmla="*/ 85100 h 4687251"/>
              <a:gd name="connsiteX47010" fmla="*/ 3410352 w 8079933"/>
              <a:gd name="connsiteY47010" fmla="*/ 84560 h 4687251"/>
              <a:gd name="connsiteX47011" fmla="*/ 3408507 w 8079933"/>
              <a:gd name="connsiteY47011" fmla="*/ 80337 h 4687251"/>
              <a:gd name="connsiteX47012" fmla="*/ 2566637 w 8079933"/>
              <a:gd name="connsiteY47012" fmla="*/ 73841 h 4687251"/>
              <a:gd name="connsiteX47013" fmla="*/ 2573040 w 8079933"/>
              <a:gd name="connsiteY47013" fmla="*/ 79579 h 4687251"/>
              <a:gd name="connsiteX47014" fmla="*/ 2574775 w 8079933"/>
              <a:gd name="connsiteY47014" fmla="*/ 78712 h 4687251"/>
              <a:gd name="connsiteX47015" fmla="*/ 2574775 w 8079933"/>
              <a:gd name="connsiteY47015" fmla="*/ 75898 h 4687251"/>
              <a:gd name="connsiteX47016" fmla="*/ 2576838 w 8079933"/>
              <a:gd name="connsiteY47016" fmla="*/ 74165 h 4687251"/>
              <a:gd name="connsiteX47017" fmla="*/ 2583566 w 8079933"/>
              <a:gd name="connsiteY47017" fmla="*/ 77305 h 4687251"/>
              <a:gd name="connsiteX47018" fmla="*/ 2584976 w 8079933"/>
              <a:gd name="connsiteY47018" fmla="*/ 81420 h 4687251"/>
              <a:gd name="connsiteX47019" fmla="*/ 2592030 w 8079933"/>
              <a:gd name="connsiteY47019" fmla="*/ 86399 h 4687251"/>
              <a:gd name="connsiteX47020" fmla="*/ 2593223 w 8079933"/>
              <a:gd name="connsiteY47020" fmla="*/ 91381 h 4687251"/>
              <a:gd name="connsiteX47021" fmla="*/ 2597347 w 8079933"/>
              <a:gd name="connsiteY47021" fmla="*/ 96577 h 4687251"/>
              <a:gd name="connsiteX47022" fmla="*/ 2597021 w 8079933"/>
              <a:gd name="connsiteY47022" fmla="*/ 102857 h 4687251"/>
              <a:gd name="connsiteX47023" fmla="*/ 2593223 w 8079933"/>
              <a:gd name="connsiteY47023" fmla="*/ 110436 h 4687251"/>
              <a:gd name="connsiteX47024" fmla="*/ 2593766 w 8079933"/>
              <a:gd name="connsiteY47024" fmla="*/ 116174 h 4687251"/>
              <a:gd name="connsiteX47025" fmla="*/ 2593006 w 8079933"/>
              <a:gd name="connsiteY47025" fmla="*/ 123862 h 4687251"/>
              <a:gd name="connsiteX47026" fmla="*/ 2590510 w 8079933"/>
              <a:gd name="connsiteY47026" fmla="*/ 129491 h 4687251"/>
              <a:gd name="connsiteX47027" fmla="*/ 2590836 w 8079933"/>
              <a:gd name="connsiteY47027" fmla="*/ 136854 h 4687251"/>
              <a:gd name="connsiteX47028" fmla="*/ 2589751 w 8079933"/>
              <a:gd name="connsiteY47028" fmla="*/ 146923 h 4687251"/>
              <a:gd name="connsiteX47029" fmla="*/ 2592355 w 8079933"/>
              <a:gd name="connsiteY47029" fmla="*/ 153311 h 4687251"/>
              <a:gd name="connsiteX47030" fmla="*/ 2591704 w 8079933"/>
              <a:gd name="connsiteY47030" fmla="*/ 160349 h 4687251"/>
              <a:gd name="connsiteX47031" fmla="*/ 2593223 w 8079933"/>
              <a:gd name="connsiteY47031" fmla="*/ 161648 h 4687251"/>
              <a:gd name="connsiteX47032" fmla="*/ 2594200 w 8079933"/>
              <a:gd name="connsiteY47032" fmla="*/ 164354 h 4687251"/>
              <a:gd name="connsiteX47033" fmla="*/ 2596479 w 8079933"/>
              <a:gd name="connsiteY47033" fmla="*/ 160132 h 4687251"/>
              <a:gd name="connsiteX47034" fmla="*/ 2601688 w 8079933"/>
              <a:gd name="connsiteY47034" fmla="*/ 158508 h 4687251"/>
              <a:gd name="connsiteX47035" fmla="*/ 2605920 w 8079933"/>
              <a:gd name="connsiteY47035" fmla="*/ 158508 h 4687251"/>
              <a:gd name="connsiteX47036" fmla="*/ 2608742 w 8079933"/>
              <a:gd name="connsiteY47036" fmla="*/ 163488 h 4687251"/>
              <a:gd name="connsiteX47037" fmla="*/ 2610369 w 8079933"/>
              <a:gd name="connsiteY47037" fmla="*/ 169335 h 4687251"/>
              <a:gd name="connsiteX47038" fmla="*/ 2607330 w 8079933"/>
              <a:gd name="connsiteY47038" fmla="*/ 171176 h 4687251"/>
              <a:gd name="connsiteX47039" fmla="*/ 2605269 w 8079933"/>
              <a:gd name="connsiteY47039" fmla="*/ 169551 h 4687251"/>
              <a:gd name="connsiteX47040" fmla="*/ 2604509 w 8079933"/>
              <a:gd name="connsiteY47040" fmla="*/ 172150 h 4687251"/>
              <a:gd name="connsiteX47041" fmla="*/ 2606029 w 8079933"/>
              <a:gd name="connsiteY47041" fmla="*/ 176480 h 4687251"/>
              <a:gd name="connsiteX47042" fmla="*/ 2601471 w 8079933"/>
              <a:gd name="connsiteY47042" fmla="*/ 184709 h 4687251"/>
              <a:gd name="connsiteX47043" fmla="*/ 2601579 w 8079933"/>
              <a:gd name="connsiteY47043" fmla="*/ 188932 h 4687251"/>
              <a:gd name="connsiteX47044" fmla="*/ 2603207 w 8079933"/>
              <a:gd name="connsiteY47044" fmla="*/ 190990 h 4687251"/>
              <a:gd name="connsiteX47045" fmla="*/ 2603099 w 8079933"/>
              <a:gd name="connsiteY47045" fmla="*/ 193588 h 4687251"/>
              <a:gd name="connsiteX47046" fmla="*/ 2604401 w 8079933"/>
              <a:gd name="connsiteY47046" fmla="*/ 194561 h 4687251"/>
              <a:gd name="connsiteX47047" fmla="*/ 2606788 w 8079933"/>
              <a:gd name="connsiteY47047" fmla="*/ 192722 h 4687251"/>
              <a:gd name="connsiteX47048" fmla="*/ 2610044 w 8079933"/>
              <a:gd name="connsiteY47048" fmla="*/ 188607 h 4687251"/>
              <a:gd name="connsiteX47049" fmla="*/ 2607439 w 8079933"/>
              <a:gd name="connsiteY47049" fmla="*/ 185575 h 4687251"/>
              <a:gd name="connsiteX47050" fmla="*/ 2608525 w 8079933"/>
              <a:gd name="connsiteY47050" fmla="*/ 180379 h 4687251"/>
              <a:gd name="connsiteX47051" fmla="*/ 2613733 w 8079933"/>
              <a:gd name="connsiteY47051" fmla="*/ 170092 h 4687251"/>
              <a:gd name="connsiteX47052" fmla="*/ 2617857 w 8079933"/>
              <a:gd name="connsiteY47052" fmla="*/ 168144 h 4687251"/>
              <a:gd name="connsiteX47053" fmla="*/ 2622089 w 8079933"/>
              <a:gd name="connsiteY47053" fmla="*/ 169443 h 4687251"/>
              <a:gd name="connsiteX47054" fmla="*/ 2621980 w 8079933"/>
              <a:gd name="connsiteY47054" fmla="*/ 173232 h 4687251"/>
              <a:gd name="connsiteX47055" fmla="*/ 2623283 w 8079933"/>
              <a:gd name="connsiteY47055" fmla="*/ 174965 h 4687251"/>
              <a:gd name="connsiteX47056" fmla="*/ 2623391 w 8079933"/>
              <a:gd name="connsiteY47056" fmla="*/ 180486 h 4687251"/>
              <a:gd name="connsiteX47057" fmla="*/ 2618834 w 8079933"/>
              <a:gd name="connsiteY47057" fmla="*/ 185143 h 4687251"/>
              <a:gd name="connsiteX47058" fmla="*/ 2619051 w 8079933"/>
              <a:gd name="connsiteY47058" fmla="*/ 190123 h 4687251"/>
              <a:gd name="connsiteX47059" fmla="*/ 2616989 w 8079933"/>
              <a:gd name="connsiteY47059" fmla="*/ 193263 h 4687251"/>
              <a:gd name="connsiteX47060" fmla="*/ 2613625 w 8079933"/>
              <a:gd name="connsiteY47060" fmla="*/ 192938 h 4687251"/>
              <a:gd name="connsiteX47061" fmla="*/ 2610803 w 8079933"/>
              <a:gd name="connsiteY47061" fmla="*/ 194453 h 4687251"/>
              <a:gd name="connsiteX47062" fmla="*/ 2609067 w 8079933"/>
              <a:gd name="connsiteY47062" fmla="*/ 197161 h 4687251"/>
              <a:gd name="connsiteX47063" fmla="*/ 2610803 w 8079933"/>
              <a:gd name="connsiteY47063" fmla="*/ 199543 h 4687251"/>
              <a:gd name="connsiteX47064" fmla="*/ 2613300 w 8079933"/>
              <a:gd name="connsiteY47064" fmla="*/ 197810 h 4687251"/>
              <a:gd name="connsiteX47065" fmla="*/ 2617097 w 8079933"/>
              <a:gd name="connsiteY47065" fmla="*/ 196836 h 4687251"/>
              <a:gd name="connsiteX47066" fmla="*/ 2618725 w 8079933"/>
              <a:gd name="connsiteY47066" fmla="*/ 198134 h 4687251"/>
              <a:gd name="connsiteX47067" fmla="*/ 2616446 w 8079933"/>
              <a:gd name="connsiteY47067" fmla="*/ 205930 h 4687251"/>
              <a:gd name="connsiteX47068" fmla="*/ 2611237 w 8079933"/>
              <a:gd name="connsiteY47068" fmla="*/ 215241 h 4687251"/>
              <a:gd name="connsiteX47069" fmla="*/ 2608742 w 8079933"/>
              <a:gd name="connsiteY47069" fmla="*/ 217190 h 4687251"/>
              <a:gd name="connsiteX47070" fmla="*/ 2600928 w 8079933"/>
              <a:gd name="connsiteY47070" fmla="*/ 225744 h 4687251"/>
              <a:gd name="connsiteX47071" fmla="*/ 2595936 w 8079933"/>
              <a:gd name="connsiteY47071" fmla="*/ 226610 h 4687251"/>
              <a:gd name="connsiteX47072" fmla="*/ 2584759 w 8079933"/>
              <a:gd name="connsiteY47072" fmla="*/ 231699 h 4687251"/>
              <a:gd name="connsiteX47073" fmla="*/ 2583349 w 8079933"/>
              <a:gd name="connsiteY47073" fmla="*/ 233972 h 4687251"/>
              <a:gd name="connsiteX47074" fmla="*/ 2586821 w 8079933"/>
              <a:gd name="connsiteY47074" fmla="*/ 234622 h 4687251"/>
              <a:gd name="connsiteX47075" fmla="*/ 2590836 w 8079933"/>
              <a:gd name="connsiteY47075" fmla="*/ 231915 h 4687251"/>
              <a:gd name="connsiteX47076" fmla="*/ 2595068 w 8079933"/>
              <a:gd name="connsiteY47076" fmla="*/ 231699 h 4687251"/>
              <a:gd name="connsiteX47077" fmla="*/ 2597998 w 8079933"/>
              <a:gd name="connsiteY47077" fmla="*/ 233864 h 4687251"/>
              <a:gd name="connsiteX47078" fmla="*/ 2598975 w 8079933"/>
              <a:gd name="connsiteY47078" fmla="*/ 230832 h 4687251"/>
              <a:gd name="connsiteX47079" fmla="*/ 2601471 w 8079933"/>
              <a:gd name="connsiteY47079" fmla="*/ 229208 h 4687251"/>
              <a:gd name="connsiteX47080" fmla="*/ 2603750 w 8079933"/>
              <a:gd name="connsiteY47080" fmla="*/ 229534 h 4687251"/>
              <a:gd name="connsiteX47081" fmla="*/ 2604726 w 8079933"/>
              <a:gd name="connsiteY47081" fmla="*/ 232998 h 4687251"/>
              <a:gd name="connsiteX47082" fmla="*/ 2610044 w 8079933"/>
              <a:gd name="connsiteY47082" fmla="*/ 237870 h 4687251"/>
              <a:gd name="connsiteX47083" fmla="*/ 2609501 w 8079933"/>
              <a:gd name="connsiteY47083" fmla="*/ 241551 h 4687251"/>
              <a:gd name="connsiteX47084" fmla="*/ 2604726 w 8079933"/>
              <a:gd name="connsiteY47084" fmla="*/ 244475 h 4687251"/>
              <a:gd name="connsiteX47085" fmla="*/ 2601037 w 8079933"/>
              <a:gd name="connsiteY47085" fmla="*/ 249022 h 4687251"/>
              <a:gd name="connsiteX47086" fmla="*/ 2601037 w 8079933"/>
              <a:gd name="connsiteY47086" fmla="*/ 252162 h 4687251"/>
              <a:gd name="connsiteX47087" fmla="*/ 2603641 w 8079933"/>
              <a:gd name="connsiteY47087" fmla="*/ 252162 h 4687251"/>
              <a:gd name="connsiteX47088" fmla="*/ 2609501 w 8079933"/>
              <a:gd name="connsiteY47088" fmla="*/ 245774 h 4687251"/>
              <a:gd name="connsiteX47089" fmla="*/ 2612431 w 8079933"/>
              <a:gd name="connsiteY47089" fmla="*/ 238953 h 4687251"/>
              <a:gd name="connsiteX47090" fmla="*/ 2614168 w 8079933"/>
              <a:gd name="connsiteY47090" fmla="*/ 238736 h 4687251"/>
              <a:gd name="connsiteX47091" fmla="*/ 2614493 w 8079933"/>
              <a:gd name="connsiteY47091" fmla="*/ 249997 h 4687251"/>
              <a:gd name="connsiteX47092" fmla="*/ 2612540 w 8079933"/>
              <a:gd name="connsiteY47092" fmla="*/ 255952 h 4687251"/>
              <a:gd name="connsiteX47093" fmla="*/ 2615578 w 8079933"/>
              <a:gd name="connsiteY47093" fmla="*/ 259199 h 4687251"/>
              <a:gd name="connsiteX47094" fmla="*/ 2614818 w 8079933"/>
              <a:gd name="connsiteY47094" fmla="*/ 262664 h 4687251"/>
              <a:gd name="connsiteX47095" fmla="*/ 2614818 w 8079933"/>
              <a:gd name="connsiteY47095" fmla="*/ 265696 h 4687251"/>
              <a:gd name="connsiteX47096" fmla="*/ 2612865 w 8079933"/>
              <a:gd name="connsiteY47096" fmla="*/ 269918 h 4687251"/>
              <a:gd name="connsiteX47097" fmla="*/ 2608307 w 8079933"/>
              <a:gd name="connsiteY47097" fmla="*/ 271650 h 4687251"/>
              <a:gd name="connsiteX47098" fmla="*/ 2604944 w 8079933"/>
              <a:gd name="connsiteY47098" fmla="*/ 275006 h 4687251"/>
              <a:gd name="connsiteX47099" fmla="*/ 2600819 w 8079933"/>
              <a:gd name="connsiteY47099" fmla="*/ 275331 h 4687251"/>
              <a:gd name="connsiteX47100" fmla="*/ 2593006 w 8079933"/>
              <a:gd name="connsiteY47100" fmla="*/ 277930 h 4687251"/>
              <a:gd name="connsiteX47101" fmla="*/ 2586279 w 8079933"/>
              <a:gd name="connsiteY47101" fmla="*/ 277064 h 4687251"/>
              <a:gd name="connsiteX47102" fmla="*/ 2581829 w 8079933"/>
              <a:gd name="connsiteY47102" fmla="*/ 277172 h 4687251"/>
              <a:gd name="connsiteX47103" fmla="*/ 2576838 w 8079933"/>
              <a:gd name="connsiteY47103" fmla="*/ 283885 h 4687251"/>
              <a:gd name="connsiteX47104" fmla="*/ 2573040 w 8079933"/>
              <a:gd name="connsiteY47104" fmla="*/ 285509 h 4687251"/>
              <a:gd name="connsiteX47105" fmla="*/ 2573040 w 8079933"/>
              <a:gd name="connsiteY47105" fmla="*/ 279770 h 4687251"/>
              <a:gd name="connsiteX47106" fmla="*/ 2574450 w 8079933"/>
              <a:gd name="connsiteY47106" fmla="*/ 278256 h 4687251"/>
              <a:gd name="connsiteX47107" fmla="*/ 2573907 w 8079933"/>
              <a:gd name="connsiteY47107" fmla="*/ 275331 h 4687251"/>
              <a:gd name="connsiteX47108" fmla="*/ 2570869 w 8079933"/>
              <a:gd name="connsiteY47108" fmla="*/ 276523 h 4687251"/>
              <a:gd name="connsiteX47109" fmla="*/ 2567831 w 8079933"/>
              <a:gd name="connsiteY47109" fmla="*/ 281286 h 4687251"/>
              <a:gd name="connsiteX47110" fmla="*/ 2567722 w 8079933"/>
              <a:gd name="connsiteY47110" fmla="*/ 287349 h 4687251"/>
              <a:gd name="connsiteX47111" fmla="*/ 2564792 w 8079933"/>
              <a:gd name="connsiteY47111" fmla="*/ 292656 h 4687251"/>
              <a:gd name="connsiteX47112" fmla="*/ 2555676 w 8079933"/>
              <a:gd name="connsiteY47112" fmla="*/ 300233 h 4687251"/>
              <a:gd name="connsiteX47113" fmla="*/ 2552095 w 8079933"/>
              <a:gd name="connsiteY47113" fmla="*/ 308029 h 4687251"/>
              <a:gd name="connsiteX47114" fmla="*/ 2549491 w 8079933"/>
              <a:gd name="connsiteY47114" fmla="*/ 310736 h 4687251"/>
              <a:gd name="connsiteX47115" fmla="*/ 2547864 w 8079933"/>
              <a:gd name="connsiteY47115" fmla="*/ 305214 h 4687251"/>
              <a:gd name="connsiteX47116" fmla="*/ 2545801 w 8079933"/>
              <a:gd name="connsiteY47116" fmla="*/ 301100 h 4687251"/>
              <a:gd name="connsiteX47117" fmla="*/ 2546669 w 8079933"/>
              <a:gd name="connsiteY47117" fmla="*/ 294279 h 4687251"/>
              <a:gd name="connsiteX47118" fmla="*/ 2550793 w 8079933"/>
              <a:gd name="connsiteY47118" fmla="*/ 288866 h 4687251"/>
              <a:gd name="connsiteX47119" fmla="*/ 2554157 w 8079933"/>
              <a:gd name="connsiteY47119" fmla="*/ 281178 h 4687251"/>
              <a:gd name="connsiteX47120" fmla="*/ 2557413 w 8079933"/>
              <a:gd name="connsiteY47120" fmla="*/ 279988 h 4687251"/>
              <a:gd name="connsiteX47121" fmla="*/ 2556545 w 8079933"/>
              <a:gd name="connsiteY47121" fmla="*/ 277605 h 4687251"/>
              <a:gd name="connsiteX47122" fmla="*/ 2556870 w 8079933"/>
              <a:gd name="connsiteY47122" fmla="*/ 273275 h 4687251"/>
              <a:gd name="connsiteX47123" fmla="*/ 2554592 w 8079933"/>
              <a:gd name="connsiteY47123" fmla="*/ 277064 h 4687251"/>
              <a:gd name="connsiteX47124" fmla="*/ 2549925 w 8079933"/>
              <a:gd name="connsiteY47124" fmla="*/ 278580 h 4687251"/>
              <a:gd name="connsiteX47125" fmla="*/ 2547864 w 8079933"/>
              <a:gd name="connsiteY47125" fmla="*/ 286484 h 4687251"/>
              <a:gd name="connsiteX47126" fmla="*/ 2541895 w 8079933"/>
              <a:gd name="connsiteY47126" fmla="*/ 291356 h 4687251"/>
              <a:gd name="connsiteX47127" fmla="*/ 2541895 w 8079933"/>
              <a:gd name="connsiteY47127" fmla="*/ 295795 h 4687251"/>
              <a:gd name="connsiteX47128" fmla="*/ 2543414 w 8079933"/>
              <a:gd name="connsiteY47128" fmla="*/ 298393 h 4687251"/>
              <a:gd name="connsiteX47129" fmla="*/ 2543414 w 8079933"/>
              <a:gd name="connsiteY47129" fmla="*/ 304890 h 4687251"/>
              <a:gd name="connsiteX47130" fmla="*/ 2538314 w 8079933"/>
              <a:gd name="connsiteY47130" fmla="*/ 306946 h 4687251"/>
              <a:gd name="connsiteX47131" fmla="*/ 2538314 w 8079933"/>
              <a:gd name="connsiteY47131" fmla="*/ 308354 h 4687251"/>
              <a:gd name="connsiteX47132" fmla="*/ 2542871 w 8079933"/>
              <a:gd name="connsiteY47132" fmla="*/ 309329 h 4687251"/>
              <a:gd name="connsiteX47133" fmla="*/ 2543414 w 8079933"/>
              <a:gd name="connsiteY47133" fmla="*/ 314200 h 4687251"/>
              <a:gd name="connsiteX47134" fmla="*/ 2539290 w 8079933"/>
              <a:gd name="connsiteY47134" fmla="*/ 317125 h 4687251"/>
              <a:gd name="connsiteX47135" fmla="*/ 2534298 w 8079933"/>
              <a:gd name="connsiteY47135" fmla="*/ 321888 h 4687251"/>
              <a:gd name="connsiteX47136" fmla="*/ 2530284 w 8079933"/>
              <a:gd name="connsiteY47136" fmla="*/ 321022 h 4687251"/>
              <a:gd name="connsiteX47137" fmla="*/ 2530284 w 8079933"/>
              <a:gd name="connsiteY47137" fmla="*/ 318098 h 4687251"/>
              <a:gd name="connsiteX47138" fmla="*/ 2532562 w 8079933"/>
              <a:gd name="connsiteY47138" fmla="*/ 312468 h 4687251"/>
              <a:gd name="connsiteX47139" fmla="*/ 2531694 w 8079933"/>
              <a:gd name="connsiteY47139" fmla="*/ 308462 h 4687251"/>
              <a:gd name="connsiteX47140" fmla="*/ 2528981 w 8079933"/>
              <a:gd name="connsiteY47140" fmla="*/ 310195 h 4687251"/>
              <a:gd name="connsiteX47141" fmla="*/ 2525509 w 8079933"/>
              <a:gd name="connsiteY47141" fmla="*/ 322104 h 4687251"/>
              <a:gd name="connsiteX47142" fmla="*/ 2517913 w 8079933"/>
              <a:gd name="connsiteY47142" fmla="*/ 330008 h 4687251"/>
              <a:gd name="connsiteX47143" fmla="*/ 2515200 w 8079933"/>
              <a:gd name="connsiteY47143" fmla="*/ 335096 h 4687251"/>
              <a:gd name="connsiteX47144" fmla="*/ 2512052 w 8079933"/>
              <a:gd name="connsiteY47144" fmla="*/ 337912 h 4687251"/>
              <a:gd name="connsiteX47145" fmla="*/ 2510859 w 8079933"/>
              <a:gd name="connsiteY47145" fmla="*/ 336180 h 4687251"/>
              <a:gd name="connsiteX47146" fmla="*/ 2511510 w 8079933"/>
              <a:gd name="connsiteY47146" fmla="*/ 333257 h 4687251"/>
              <a:gd name="connsiteX47147" fmla="*/ 2509339 w 8079933"/>
              <a:gd name="connsiteY47147" fmla="*/ 328601 h 4687251"/>
              <a:gd name="connsiteX47148" fmla="*/ 2511184 w 8079933"/>
              <a:gd name="connsiteY47148" fmla="*/ 319831 h 4687251"/>
              <a:gd name="connsiteX47149" fmla="*/ 2509774 w 8079933"/>
              <a:gd name="connsiteY47149" fmla="*/ 315933 h 4687251"/>
              <a:gd name="connsiteX47150" fmla="*/ 2511076 w 8079933"/>
              <a:gd name="connsiteY47150" fmla="*/ 309329 h 4687251"/>
              <a:gd name="connsiteX47151" fmla="*/ 2516502 w 8079933"/>
              <a:gd name="connsiteY47151" fmla="*/ 300233 h 4687251"/>
              <a:gd name="connsiteX47152" fmla="*/ 2516502 w 8079933"/>
              <a:gd name="connsiteY47152" fmla="*/ 294062 h 4687251"/>
              <a:gd name="connsiteX47153" fmla="*/ 2514332 w 8079933"/>
              <a:gd name="connsiteY47153" fmla="*/ 299260 h 4687251"/>
              <a:gd name="connsiteX47154" fmla="*/ 2509014 w 8079933"/>
              <a:gd name="connsiteY47154" fmla="*/ 304565 h 4687251"/>
              <a:gd name="connsiteX47155" fmla="*/ 2507061 w 8079933"/>
              <a:gd name="connsiteY47155" fmla="*/ 311061 h 4687251"/>
              <a:gd name="connsiteX47156" fmla="*/ 2507603 w 8079933"/>
              <a:gd name="connsiteY47156" fmla="*/ 320913 h 4687251"/>
              <a:gd name="connsiteX47157" fmla="*/ 2503480 w 8079933"/>
              <a:gd name="connsiteY47157" fmla="*/ 332173 h 4687251"/>
              <a:gd name="connsiteX47158" fmla="*/ 2501526 w 8079933"/>
              <a:gd name="connsiteY47158" fmla="*/ 333473 h 4687251"/>
              <a:gd name="connsiteX47159" fmla="*/ 2500550 w 8079933"/>
              <a:gd name="connsiteY47159" fmla="*/ 328492 h 4687251"/>
              <a:gd name="connsiteX47160" fmla="*/ 2501743 w 8079933"/>
              <a:gd name="connsiteY47160" fmla="*/ 324270 h 4687251"/>
              <a:gd name="connsiteX47161" fmla="*/ 2500550 w 8079933"/>
              <a:gd name="connsiteY47161" fmla="*/ 320155 h 4687251"/>
              <a:gd name="connsiteX47162" fmla="*/ 2493930 w 8079933"/>
              <a:gd name="connsiteY47162" fmla="*/ 319614 h 4687251"/>
              <a:gd name="connsiteX47163" fmla="*/ 2495015 w 8079933"/>
              <a:gd name="connsiteY47163" fmla="*/ 323837 h 4687251"/>
              <a:gd name="connsiteX47164" fmla="*/ 2493062 w 8079933"/>
              <a:gd name="connsiteY47164" fmla="*/ 328275 h 4687251"/>
              <a:gd name="connsiteX47165" fmla="*/ 2488830 w 8079933"/>
              <a:gd name="connsiteY47165" fmla="*/ 330008 h 4687251"/>
              <a:gd name="connsiteX47166" fmla="*/ 2479172 w 8079933"/>
              <a:gd name="connsiteY47166" fmla="*/ 323296 h 4687251"/>
              <a:gd name="connsiteX47167" fmla="*/ 2472769 w 8079933"/>
              <a:gd name="connsiteY47167" fmla="*/ 321239 h 4687251"/>
              <a:gd name="connsiteX47168" fmla="*/ 2472769 w 8079933"/>
              <a:gd name="connsiteY47168" fmla="*/ 314200 h 4687251"/>
              <a:gd name="connsiteX47169" fmla="*/ 2469188 w 8079933"/>
              <a:gd name="connsiteY47169" fmla="*/ 313011 h 4687251"/>
              <a:gd name="connsiteX47170" fmla="*/ 2466258 w 8079933"/>
              <a:gd name="connsiteY47170" fmla="*/ 315500 h 4687251"/>
              <a:gd name="connsiteX47171" fmla="*/ 2465933 w 8079933"/>
              <a:gd name="connsiteY47171" fmla="*/ 304890 h 4687251"/>
              <a:gd name="connsiteX47172" fmla="*/ 2467994 w 8079933"/>
              <a:gd name="connsiteY47172" fmla="*/ 301641 h 4687251"/>
              <a:gd name="connsiteX47173" fmla="*/ 2464848 w 8079933"/>
              <a:gd name="connsiteY47173" fmla="*/ 303374 h 4687251"/>
              <a:gd name="connsiteX47174" fmla="*/ 2463003 w 8079933"/>
              <a:gd name="connsiteY47174" fmla="*/ 300450 h 4687251"/>
              <a:gd name="connsiteX47175" fmla="*/ 2463654 w 8079933"/>
              <a:gd name="connsiteY47175" fmla="*/ 292005 h 4687251"/>
              <a:gd name="connsiteX47176" fmla="*/ 2469839 w 8079933"/>
              <a:gd name="connsiteY47176" fmla="*/ 291140 h 4687251"/>
              <a:gd name="connsiteX47177" fmla="*/ 2473854 w 8079933"/>
              <a:gd name="connsiteY47177" fmla="*/ 295578 h 4687251"/>
              <a:gd name="connsiteX47178" fmla="*/ 2476350 w 8079933"/>
              <a:gd name="connsiteY47178" fmla="*/ 293737 h 4687251"/>
              <a:gd name="connsiteX47179" fmla="*/ 2480148 w 8079933"/>
              <a:gd name="connsiteY47179" fmla="*/ 292872 h 4687251"/>
              <a:gd name="connsiteX47180" fmla="*/ 2476784 w 8079933"/>
              <a:gd name="connsiteY47180" fmla="*/ 291789 h 4687251"/>
              <a:gd name="connsiteX47181" fmla="*/ 2473529 w 8079933"/>
              <a:gd name="connsiteY47181" fmla="*/ 286484 h 4687251"/>
              <a:gd name="connsiteX47182" fmla="*/ 2470707 w 8079933"/>
              <a:gd name="connsiteY47182" fmla="*/ 286158 h 4687251"/>
              <a:gd name="connsiteX47183" fmla="*/ 2469188 w 8079933"/>
              <a:gd name="connsiteY47183" fmla="*/ 287999 h 4687251"/>
              <a:gd name="connsiteX47184" fmla="*/ 2465716 w 8079933"/>
              <a:gd name="connsiteY47184" fmla="*/ 287025 h 4687251"/>
              <a:gd name="connsiteX47185" fmla="*/ 2465065 w 8079933"/>
              <a:gd name="connsiteY47185" fmla="*/ 280962 h 4687251"/>
              <a:gd name="connsiteX47186" fmla="*/ 2467778 w 8079933"/>
              <a:gd name="connsiteY47186" fmla="*/ 270460 h 4687251"/>
              <a:gd name="connsiteX47187" fmla="*/ 2470707 w 8079933"/>
              <a:gd name="connsiteY47187" fmla="*/ 270893 h 4687251"/>
              <a:gd name="connsiteX47188" fmla="*/ 2473529 w 8079933"/>
              <a:gd name="connsiteY47188" fmla="*/ 278364 h 4687251"/>
              <a:gd name="connsiteX47189" fmla="*/ 2475157 w 8079933"/>
              <a:gd name="connsiteY47189" fmla="*/ 276198 h 4687251"/>
              <a:gd name="connsiteX47190" fmla="*/ 2475374 w 8079933"/>
              <a:gd name="connsiteY47190" fmla="*/ 270893 h 4687251"/>
              <a:gd name="connsiteX47191" fmla="*/ 2470056 w 8079933"/>
              <a:gd name="connsiteY47191" fmla="*/ 266020 h 4687251"/>
              <a:gd name="connsiteX47192" fmla="*/ 2471359 w 8079933"/>
              <a:gd name="connsiteY47192" fmla="*/ 257575 h 4687251"/>
              <a:gd name="connsiteX47193" fmla="*/ 2474614 w 8079933"/>
              <a:gd name="connsiteY47193" fmla="*/ 254869 h 4687251"/>
              <a:gd name="connsiteX47194" fmla="*/ 2481885 w 8079933"/>
              <a:gd name="connsiteY47194" fmla="*/ 254544 h 4687251"/>
              <a:gd name="connsiteX47195" fmla="*/ 2485140 w 8079933"/>
              <a:gd name="connsiteY47195" fmla="*/ 251079 h 4687251"/>
              <a:gd name="connsiteX47196" fmla="*/ 2487962 w 8079933"/>
              <a:gd name="connsiteY47196" fmla="*/ 249022 h 4687251"/>
              <a:gd name="connsiteX47197" fmla="*/ 2494473 w 8079933"/>
              <a:gd name="connsiteY47197" fmla="*/ 254869 h 4687251"/>
              <a:gd name="connsiteX47198" fmla="*/ 2499139 w 8079933"/>
              <a:gd name="connsiteY47198" fmla="*/ 256384 h 4687251"/>
              <a:gd name="connsiteX47199" fmla="*/ 2501852 w 8079933"/>
              <a:gd name="connsiteY47199" fmla="*/ 259849 h 4687251"/>
              <a:gd name="connsiteX47200" fmla="*/ 2508254 w 8079933"/>
              <a:gd name="connsiteY47200" fmla="*/ 260174 h 4687251"/>
              <a:gd name="connsiteX47201" fmla="*/ 2517587 w 8079933"/>
              <a:gd name="connsiteY47201" fmla="*/ 261364 h 4687251"/>
              <a:gd name="connsiteX47202" fmla="*/ 2520734 w 8079933"/>
              <a:gd name="connsiteY47202" fmla="*/ 262989 h 4687251"/>
              <a:gd name="connsiteX47203" fmla="*/ 2531043 w 8079933"/>
              <a:gd name="connsiteY47203" fmla="*/ 261040 h 4687251"/>
              <a:gd name="connsiteX47204" fmla="*/ 2527787 w 8079933"/>
              <a:gd name="connsiteY47204" fmla="*/ 258874 h 4687251"/>
              <a:gd name="connsiteX47205" fmla="*/ 2518238 w 8079933"/>
              <a:gd name="connsiteY47205" fmla="*/ 258874 h 4687251"/>
              <a:gd name="connsiteX47206" fmla="*/ 2508797 w 8079933"/>
              <a:gd name="connsiteY47206" fmla="*/ 257575 h 4687251"/>
              <a:gd name="connsiteX47207" fmla="*/ 2502611 w 8079933"/>
              <a:gd name="connsiteY47207" fmla="*/ 254652 h 4687251"/>
              <a:gd name="connsiteX47208" fmla="*/ 2502937 w 8079933"/>
              <a:gd name="connsiteY47208" fmla="*/ 251945 h 4687251"/>
              <a:gd name="connsiteX47209" fmla="*/ 2508797 w 8079933"/>
              <a:gd name="connsiteY47209" fmla="*/ 249671 h 4687251"/>
              <a:gd name="connsiteX47210" fmla="*/ 2515308 w 8079933"/>
              <a:gd name="connsiteY47210" fmla="*/ 254002 h 4687251"/>
              <a:gd name="connsiteX47211" fmla="*/ 2520191 w 8079933"/>
              <a:gd name="connsiteY47211" fmla="*/ 253461 h 4687251"/>
              <a:gd name="connsiteX47212" fmla="*/ 2529958 w 8079933"/>
              <a:gd name="connsiteY47212" fmla="*/ 253895 h 4687251"/>
              <a:gd name="connsiteX47213" fmla="*/ 2528547 w 8079933"/>
              <a:gd name="connsiteY47213" fmla="*/ 251729 h 4687251"/>
              <a:gd name="connsiteX47214" fmla="*/ 2517262 w 8079933"/>
              <a:gd name="connsiteY47214" fmla="*/ 249022 h 4687251"/>
              <a:gd name="connsiteX47215" fmla="*/ 2511727 w 8079933"/>
              <a:gd name="connsiteY47215" fmla="*/ 245124 h 4687251"/>
              <a:gd name="connsiteX47216" fmla="*/ 2506518 w 8079933"/>
              <a:gd name="connsiteY47216" fmla="*/ 246316 h 4687251"/>
              <a:gd name="connsiteX47217" fmla="*/ 2502937 w 8079933"/>
              <a:gd name="connsiteY47217" fmla="*/ 245774 h 4687251"/>
              <a:gd name="connsiteX47218" fmla="*/ 2502937 w 8079933"/>
              <a:gd name="connsiteY47218" fmla="*/ 241768 h 4687251"/>
              <a:gd name="connsiteX47219" fmla="*/ 2507278 w 8079933"/>
              <a:gd name="connsiteY47219" fmla="*/ 241443 h 4687251"/>
              <a:gd name="connsiteX47220" fmla="*/ 2505541 w 8079933"/>
              <a:gd name="connsiteY47220" fmla="*/ 238736 h 4687251"/>
              <a:gd name="connsiteX47221" fmla="*/ 2498813 w 8079933"/>
              <a:gd name="connsiteY47221" fmla="*/ 238844 h 4687251"/>
              <a:gd name="connsiteX47222" fmla="*/ 2495884 w 8079933"/>
              <a:gd name="connsiteY47222" fmla="*/ 237545 h 4687251"/>
              <a:gd name="connsiteX47223" fmla="*/ 2498271 w 8079933"/>
              <a:gd name="connsiteY47223" fmla="*/ 234946 h 4687251"/>
              <a:gd name="connsiteX47224" fmla="*/ 2498162 w 8079933"/>
              <a:gd name="connsiteY47224" fmla="*/ 232132 h 4687251"/>
              <a:gd name="connsiteX47225" fmla="*/ 2493605 w 8079933"/>
              <a:gd name="connsiteY47225" fmla="*/ 235488 h 4687251"/>
              <a:gd name="connsiteX47226" fmla="*/ 2490892 w 8079933"/>
              <a:gd name="connsiteY47226" fmla="*/ 235271 h 4687251"/>
              <a:gd name="connsiteX47227" fmla="*/ 2486876 w 8079933"/>
              <a:gd name="connsiteY47227" fmla="*/ 239061 h 4687251"/>
              <a:gd name="connsiteX47228" fmla="*/ 2483404 w 8079933"/>
              <a:gd name="connsiteY47228" fmla="*/ 239061 h 4687251"/>
              <a:gd name="connsiteX47229" fmla="*/ 2481559 w 8079933"/>
              <a:gd name="connsiteY47229" fmla="*/ 236788 h 4687251"/>
              <a:gd name="connsiteX47230" fmla="*/ 2484163 w 8079933"/>
              <a:gd name="connsiteY47230" fmla="*/ 232024 h 4687251"/>
              <a:gd name="connsiteX47231" fmla="*/ 2488396 w 8079933"/>
              <a:gd name="connsiteY47231" fmla="*/ 231807 h 4687251"/>
              <a:gd name="connsiteX47232" fmla="*/ 2489156 w 8079933"/>
              <a:gd name="connsiteY47232" fmla="*/ 227909 h 4687251"/>
              <a:gd name="connsiteX47233" fmla="*/ 2486876 w 8079933"/>
              <a:gd name="connsiteY47233" fmla="*/ 225419 h 4687251"/>
              <a:gd name="connsiteX47234" fmla="*/ 2482970 w 8079933"/>
              <a:gd name="connsiteY47234" fmla="*/ 229642 h 4687251"/>
              <a:gd name="connsiteX47235" fmla="*/ 2477110 w 8079933"/>
              <a:gd name="connsiteY47235" fmla="*/ 229208 h 4687251"/>
              <a:gd name="connsiteX47236" fmla="*/ 2473963 w 8079933"/>
              <a:gd name="connsiteY47236" fmla="*/ 231157 h 4687251"/>
              <a:gd name="connsiteX47237" fmla="*/ 2471359 w 8079933"/>
              <a:gd name="connsiteY47237" fmla="*/ 228776 h 4687251"/>
              <a:gd name="connsiteX47238" fmla="*/ 2471792 w 8079933"/>
              <a:gd name="connsiteY47238" fmla="*/ 224986 h 4687251"/>
              <a:gd name="connsiteX47239" fmla="*/ 2474505 w 8079933"/>
              <a:gd name="connsiteY47239" fmla="*/ 223795 h 4687251"/>
              <a:gd name="connsiteX47240" fmla="*/ 2475157 w 8079933"/>
              <a:gd name="connsiteY47240" fmla="*/ 221196 h 4687251"/>
              <a:gd name="connsiteX47241" fmla="*/ 2472552 w 8079933"/>
              <a:gd name="connsiteY47241" fmla="*/ 217948 h 4687251"/>
              <a:gd name="connsiteX47242" fmla="*/ 2473312 w 8079933"/>
              <a:gd name="connsiteY47242" fmla="*/ 214267 h 4687251"/>
              <a:gd name="connsiteX47243" fmla="*/ 2479497 w 8079933"/>
              <a:gd name="connsiteY47243" fmla="*/ 206038 h 4687251"/>
              <a:gd name="connsiteX47244" fmla="*/ 2483946 w 8079933"/>
              <a:gd name="connsiteY47244" fmla="*/ 205714 h 4687251"/>
              <a:gd name="connsiteX47245" fmla="*/ 2486443 w 8079933"/>
              <a:gd name="connsiteY47245" fmla="*/ 206904 h 4687251"/>
              <a:gd name="connsiteX47246" fmla="*/ 2493605 w 8079933"/>
              <a:gd name="connsiteY47246" fmla="*/ 206688 h 4687251"/>
              <a:gd name="connsiteX47247" fmla="*/ 2498597 w 8079933"/>
              <a:gd name="connsiteY47247" fmla="*/ 208420 h 4687251"/>
              <a:gd name="connsiteX47248" fmla="*/ 2501852 w 8079933"/>
              <a:gd name="connsiteY47248" fmla="*/ 206580 h 4687251"/>
              <a:gd name="connsiteX47249" fmla="*/ 2501852 w 8079933"/>
              <a:gd name="connsiteY47249" fmla="*/ 204522 h 4687251"/>
              <a:gd name="connsiteX47250" fmla="*/ 2497620 w 8079933"/>
              <a:gd name="connsiteY47250" fmla="*/ 205930 h 4687251"/>
              <a:gd name="connsiteX47251" fmla="*/ 2493496 w 8079933"/>
              <a:gd name="connsiteY47251" fmla="*/ 203657 h 4687251"/>
              <a:gd name="connsiteX47252" fmla="*/ 2486226 w 8079933"/>
              <a:gd name="connsiteY47252" fmla="*/ 203115 h 4687251"/>
              <a:gd name="connsiteX47253" fmla="*/ 2483078 w 8079933"/>
              <a:gd name="connsiteY47253" fmla="*/ 200408 h 4687251"/>
              <a:gd name="connsiteX47254" fmla="*/ 2482970 w 8079933"/>
              <a:gd name="connsiteY47254" fmla="*/ 190231 h 4687251"/>
              <a:gd name="connsiteX47255" fmla="*/ 2485683 w 8079933"/>
              <a:gd name="connsiteY47255" fmla="*/ 188715 h 4687251"/>
              <a:gd name="connsiteX47256" fmla="*/ 2485683 w 8079933"/>
              <a:gd name="connsiteY47256" fmla="*/ 182327 h 4687251"/>
              <a:gd name="connsiteX47257" fmla="*/ 2488613 w 8079933"/>
              <a:gd name="connsiteY47257" fmla="*/ 183843 h 4687251"/>
              <a:gd name="connsiteX47258" fmla="*/ 2492302 w 8079933"/>
              <a:gd name="connsiteY47258" fmla="*/ 181677 h 4687251"/>
              <a:gd name="connsiteX47259" fmla="*/ 2490024 w 8079933"/>
              <a:gd name="connsiteY47259" fmla="*/ 174423 h 4687251"/>
              <a:gd name="connsiteX47260" fmla="*/ 2492302 w 8079933"/>
              <a:gd name="connsiteY47260" fmla="*/ 171825 h 4687251"/>
              <a:gd name="connsiteX47261" fmla="*/ 2491543 w 8079933"/>
              <a:gd name="connsiteY47261" fmla="*/ 169551 h 4687251"/>
              <a:gd name="connsiteX47262" fmla="*/ 2493605 w 8079933"/>
              <a:gd name="connsiteY47262" fmla="*/ 164463 h 4687251"/>
              <a:gd name="connsiteX47263" fmla="*/ 2495341 w 8079933"/>
              <a:gd name="connsiteY47263" fmla="*/ 164463 h 4687251"/>
              <a:gd name="connsiteX47264" fmla="*/ 2496860 w 8079933"/>
              <a:gd name="connsiteY47264" fmla="*/ 167061 h 4687251"/>
              <a:gd name="connsiteX47265" fmla="*/ 2500333 w 8079933"/>
              <a:gd name="connsiteY47265" fmla="*/ 168360 h 4687251"/>
              <a:gd name="connsiteX47266" fmla="*/ 2504782 w 8079933"/>
              <a:gd name="connsiteY47266" fmla="*/ 174965 h 4687251"/>
              <a:gd name="connsiteX47267" fmla="*/ 2517913 w 8079933"/>
              <a:gd name="connsiteY47267" fmla="*/ 177672 h 4687251"/>
              <a:gd name="connsiteX47268" fmla="*/ 2524098 w 8079933"/>
              <a:gd name="connsiteY47268" fmla="*/ 182869 h 4687251"/>
              <a:gd name="connsiteX47269" fmla="*/ 2526919 w 8079933"/>
              <a:gd name="connsiteY47269" fmla="*/ 182111 h 4687251"/>
              <a:gd name="connsiteX47270" fmla="*/ 2528547 w 8079933"/>
              <a:gd name="connsiteY47270" fmla="*/ 174965 h 4687251"/>
              <a:gd name="connsiteX47271" fmla="*/ 2532562 w 8079933"/>
              <a:gd name="connsiteY47271" fmla="*/ 172041 h 4687251"/>
              <a:gd name="connsiteX47272" fmla="*/ 2532020 w 8079933"/>
              <a:gd name="connsiteY47272" fmla="*/ 168794 h 4687251"/>
              <a:gd name="connsiteX47273" fmla="*/ 2529632 w 8079933"/>
              <a:gd name="connsiteY47273" fmla="*/ 168577 h 4687251"/>
              <a:gd name="connsiteX47274" fmla="*/ 2527028 w 8079933"/>
              <a:gd name="connsiteY47274" fmla="*/ 171608 h 4687251"/>
              <a:gd name="connsiteX47275" fmla="*/ 2520734 w 8079933"/>
              <a:gd name="connsiteY47275" fmla="*/ 171825 h 4687251"/>
              <a:gd name="connsiteX47276" fmla="*/ 2516610 w 8079933"/>
              <a:gd name="connsiteY47276" fmla="*/ 169010 h 4687251"/>
              <a:gd name="connsiteX47277" fmla="*/ 2514657 w 8079933"/>
              <a:gd name="connsiteY47277" fmla="*/ 165221 h 4687251"/>
              <a:gd name="connsiteX47278" fmla="*/ 2508797 w 8079933"/>
              <a:gd name="connsiteY47278" fmla="*/ 161756 h 4687251"/>
              <a:gd name="connsiteX47279" fmla="*/ 2514332 w 8079933"/>
              <a:gd name="connsiteY47279" fmla="*/ 161864 h 4687251"/>
              <a:gd name="connsiteX47280" fmla="*/ 2515850 w 8079933"/>
              <a:gd name="connsiteY47280" fmla="*/ 161215 h 4687251"/>
              <a:gd name="connsiteX47281" fmla="*/ 2513789 w 8079933"/>
              <a:gd name="connsiteY47281" fmla="*/ 158725 h 4687251"/>
              <a:gd name="connsiteX47282" fmla="*/ 2508037 w 8079933"/>
              <a:gd name="connsiteY47282" fmla="*/ 157858 h 4687251"/>
              <a:gd name="connsiteX47283" fmla="*/ 2504348 w 8079933"/>
              <a:gd name="connsiteY47283" fmla="*/ 155043 h 4687251"/>
              <a:gd name="connsiteX47284" fmla="*/ 2502286 w 8079933"/>
              <a:gd name="connsiteY47284" fmla="*/ 148980 h 4687251"/>
              <a:gd name="connsiteX47285" fmla="*/ 2503263 w 8079933"/>
              <a:gd name="connsiteY47285" fmla="*/ 143891 h 4687251"/>
              <a:gd name="connsiteX47286" fmla="*/ 2500658 w 8079933"/>
              <a:gd name="connsiteY47286" fmla="*/ 137828 h 4687251"/>
              <a:gd name="connsiteX47287" fmla="*/ 2501960 w 8079933"/>
              <a:gd name="connsiteY47287" fmla="*/ 135338 h 4687251"/>
              <a:gd name="connsiteX47288" fmla="*/ 2504999 w 8079933"/>
              <a:gd name="connsiteY47288" fmla="*/ 135988 h 4687251"/>
              <a:gd name="connsiteX47289" fmla="*/ 2508254 w 8079933"/>
              <a:gd name="connsiteY47289" fmla="*/ 139777 h 4687251"/>
              <a:gd name="connsiteX47290" fmla="*/ 2509991 w 8079933"/>
              <a:gd name="connsiteY47290" fmla="*/ 139235 h 4687251"/>
              <a:gd name="connsiteX47291" fmla="*/ 2515308 w 8079933"/>
              <a:gd name="connsiteY47291" fmla="*/ 141076 h 4687251"/>
              <a:gd name="connsiteX47292" fmla="*/ 2518781 w 8079933"/>
              <a:gd name="connsiteY47292" fmla="*/ 143458 h 4687251"/>
              <a:gd name="connsiteX47293" fmla="*/ 2518781 w 8079933"/>
              <a:gd name="connsiteY47293" fmla="*/ 146598 h 4687251"/>
              <a:gd name="connsiteX47294" fmla="*/ 2520843 w 8079933"/>
              <a:gd name="connsiteY47294" fmla="*/ 148114 h 4687251"/>
              <a:gd name="connsiteX47295" fmla="*/ 2522904 w 8079933"/>
              <a:gd name="connsiteY47295" fmla="*/ 144109 h 4687251"/>
              <a:gd name="connsiteX47296" fmla="*/ 2520300 w 8079933"/>
              <a:gd name="connsiteY47296" fmla="*/ 139886 h 4687251"/>
              <a:gd name="connsiteX47297" fmla="*/ 2520843 w 8079933"/>
              <a:gd name="connsiteY47297" fmla="*/ 135554 h 4687251"/>
              <a:gd name="connsiteX47298" fmla="*/ 2525292 w 8079933"/>
              <a:gd name="connsiteY47298" fmla="*/ 133172 h 4687251"/>
              <a:gd name="connsiteX47299" fmla="*/ 2528547 w 8079933"/>
              <a:gd name="connsiteY47299" fmla="*/ 133821 h 4687251"/>
              <a:gd name="connsiteX47300" fmla="*/ 2533647 w 8079933"/>
              <a:gd name="connsiteY47300" fmla="*/ 137503 h 4687251"/>
              <a:gd name="connsiteX47301" fmla="*/ 2538314 w 8079933"/>
              <a:gd name="connsiteY47301" fmla="*/ 138153 h 4687251"/>
              <a:gd name="connsiteX47302" fmla="*/ 2541678 w 8079933"/>
              <a:gd name="connsiteY47302" fmla="*/ 140860 h 4687251"/>
              <a:gd name="connsiteX47303" fmla="*/ 2544825 w 8079933"/>
              <a:gd name="connsiteY47303" fmla="*/ 141076 h 4687251"/>
              <a:gd name="connsiteX47304" fmla="*/ 2544933 w 8079933"/>
              <a:gd name="connsiteY47304" fmla="*/ 137828 h 4687251"/>
              <a:gd name="connsiteX47305" fmla="*/ 2542329 w 8079933"/>
              <a:gd name="connsiteY47305" fmla="*/ 135229 h 4687251"/>
              <a:gd name="connsiteX47306" fmla="*/ 2543306 w 8079933"/>
              <a:gd name="connsiteY47306" fmla="*/ 131440 h 4687251"/>
              <a:gd name="connsiteX47307" fmla="*/ 2546887 w 8079933"/>
              <a:gd name="connsiteY47307" fmla="*/ 131765 h 4687251"/>
              <a:gd name="connsiteX47308" fmla="*/ 2546887 w 8079933"/>
              <a:gd name="connsiteY47308" fmla="*/ 129383 h 4687251"/>
              <a:gd name="connsiteX47309" fmla="*/ 2541569 w 8079933"/>
              <a:gd name="connsiteY47309" fmla="*/ 126243 h 4687251"/>
              <a:gd name="connsiteX47310" fmla="*/ 2540267 w 8079933"/>
              <a:gd name="connsiteY47310" fmla="*/ 120830 h 4687251"/>
              <a:gd name="connsiteX47311" fmla="*/ 2536360 w 8079933"/>
              <a:gd name="connsiteY47311" fmla="*/ 119422 h 4687251"/>
              <a:gd name="connsiteX47312" fmla="*/ 2535818 w 8079933"/>
              <a:gd name="connsiteY47312" fmla="*/ 116499 h 4687251"/>
              <a:gd name="connsiteX47313" fmla="*/ 2539073 w 8079933"/>
              <a:gd name="connsiteY47313" fmla="*/ 113576 h 4687251"/>
              <a:gd name="connsiteX47314" fmla="*/ 2541353 w 8079933"/>
              <a:gd name="connsiteY47314" fmla="*/ 107187 h 4687251"/>
              <a:gd name="connsiteX47315" fmla="*/ 2548406 w 8079933"/>
              <a:gd name="connsiteY47315" fmla="*/ 103615 h 4687251"/>
              <a:gd name="connsiteX47316" fmla="*/ 2554917 w 8079933"/>
              <a:gd name="connsiteY47316" fmla="*/ 110436 h 4687251"/>
              <a:gd name="connsiteX47317" fmla="*/ 2558715 w 8079933"/>
              <a:gd name="connsiteY47317" fmla="*/ 109136 h 4687251"/>
              <a:gd name="connsiteX47318" fmla="*/ 2562513 w 8079933"/>
              <a:gd name="connsiteY47318" fmla="*/ 105456 h 4687251"/>
              <a:gd name="connsiteX47319" fmla="*/ 2559258 w 8079933"/>
              <a:gd name="connsiteY47319" fmla="*/ 105022 h 4687251"/>
              <a:gd name="connsiteX47320" fmla="*/ 2556870 w 8079933"/>
              <a:gd name="connsiteY47320" fmla="*/ 100799 h 4687251"/>
              <a:gd name="connsiteX47321" fmla="*/ 2561645 w 8079933"/>
              <a:gd name="connsiteY47321" fmla="*/ 101883 h 4687251"/>
              <a:gd name="connsiteX47322" fmla="*/ 2565986 w 8079933"/>
              <a:gd name="connsiteY47322" fmla="*/ 101341 h 4687251"/>
              <a:gd name="connsiteX47323" fmla="*/ 2570652 w 8079933"/>
              <a:gd name="connsiteY47323" fmla="*/ 105130 h 4687251"/>
              <a:gd name="connsiteX47324" fmla="*/ 2574233 w 8079933"/>
              <a:gd name="connsiteY47324" fmla="*/ 105130 h 4687251"/>
              <a:gd name="connsiteX47325" fmla="*/ 2581504 w 8079933"/>
              <a:gd name="connsiteY47325" fmla="*/ 98093 h 4687251"/>
              <a:gd name="connsiteX47326" fmla="*/ 2581721 w 8079933"/>
              <a:gd name="connsiteY47326" fmla="*/ 94952 h 4687251"/>
              <a:gd name="connsiteX47327" fmla="*/ 2577706 w 8079933"/>
              <a:gd name="connsiteY47327" fmla="*/ 94303 h 4687251"/>
              <a:gd name="connsiteX47328" fmla="*/ 2575970 w 8079933"/>
              <a:gd name="connsiteY47328" fmla="*/ 90514 h 4687251"/>
              <a:gd name="connsiteX47329" fmla="*/ 2570327 w 8079933"/>
              <a:gd name="connsiteY47329" fmla="*/ 87807 h 4687251"/>
              <a:gd name="connsiteX47330" fmla="*/ 2566202 w 8079933"/>
              <a:gd name="connsiteY47330" fmla="*/ 89106 h 4687251"/>
              <a:gd name="connsiteX47331" fmla="*/ 2560994 w 8079933"/>
              <a:gd name="connsiteY47331" fmla="*/ 89323 h 4687251"/>
              <a:gd name="connsiteX47332" fmla="*/ 2558064 w 8079933"/>
              <a:gd name="connsiteY47332" fmla="*/ 86183 h 4687251"/>
              <a:gd name="connsiteX47333" fmla="*/ 2561319 w 8079933"/>
              <a:gd name="connsiteY47333" fmla="*/ 79903 h 4687251"/>
              <a:gd name="connsiteX47334" fmla="*/ 2561536 w 8079933"/>
              <a:gd name="connsiteY47334" fmla="*/ 74924 h 4687251"/>
              <a:gd name="connsiteX47335" fmla="*/ 3453868 w 8079933"/>
              <a:gd name="connsiteY47335" fmla="*/ 68318 h 4687251"/>
              <a:gd name="connsiteX47336" fmla="*/ 3459185 w 8079933"/>
              <a:gd name="connsiteY47336" fmla="*/ 69619 h 4687251"/>
              <a:gd name="connsiteX47337" fmla="*/ 3466781 w 8079933"/>
              <a:gd name="connsiteY47337" fmla="*/ 68968 h 4687251"/>
              <a:gd name="connsiteX47338" fmla="*/ 3470362 w 8079933"/>
              <a:gd name="connsiteY47338" fmla="*/ 70808 h 4687251"/>
              <a:gd name="connsiteX47339" fmla="*/ 3471339 w 8079933"/>
              <a:gd name="connsiteY47339" fmla="*/ 72324 h 4687251"/>
              <a:gd name="connsiteX47340" fmla="*/ 3473292 w 8079933"/>
              <a:gd name="connsiteY47340" fmla="*/ 72324 h 4687251"/>
              <a:gd name="connsiteX47341" fmla="*/ 3476222 w 8079933"/>
              <a:gd name="connsiteY47341" fmla="*/ 70159 h 4687251"/>
              <a:gd name="connsiteX47342" fmla="*/ 3480671 w 8079933"/>
              <a:gd name="connsiteY47342" fmla="*/ 72000 h 4687251"/>
              <a:gd name="connsiteX47343" fmla="*/ 3489136 w 8079933"/>
              <a:gd name="connsiteY47343" fmla="*/ 72000 h 4687251"/>
              <a:gd name="connsiteX47344" fmla="*/ 3491414 w 8079933"/>
              <a:gd name="connsiteY47344" fmla="*/ 74057 h 4687251"/>
              <a:gd name="connsiteX47345" fmla="*/ 3494345 w 8079933"/>
              <a:gd name="connsiteY47345" fmla="*/ 74057 h 4687251"/>
              <a:gd name="connsiteX47346" fmla="*/ 3497491 w 8079933"/>
              <a:gd name="connsiteY47346" fmla="*/ 72758 h 4687251"/>
              <a:gd name="connsiteX47347" fmla="*/ 3500096 w 8079933"/>
              <a:gd name="connsiteY47347" fmla="*/ 74706 h 4687251"/>
              <a:gd name="connsiteX47348" fmla="*/ 3501398 w 8079933"/>
              <a:gd name="connsiteY47348" fmla="*/ 77522 h 4687251"/>
              <a:gd name="connsiteX47349" fmla="*/ 3507801 w 8079933"/>
              <a:gd name="connsiteY47349" fmla="*/ 81961 h 4687251"/>
              <a:gd name="connsiteX47350" fmla="*/ 3510514 w 8079933"/>
              <a:gd name="connsiteY47350" fmla="*/ 80770 h 4687251"/>
              <a:gd name="connsiteX47351" fmla="*/ 3510514 w 8079933"/>
              <a:gd name="connsiteY47351" fmla="*/ 79254 h 4687251"/>
              <a:gd name="connsiteX47352" fmla="*/ 3512901 w 8079933"/>
              <a:gd name="connsiteY47352" fmla="*/ 79254 h 4687251"/>
              <a:gd name="connsiteX47353" fmla="*/ 3520388 w 8079933"/>
              <a:gd name="connsiteY47353" fmla="*/ 84018 h 4687251"/>
              <a:gd name="connsiteX47354" fmla="*/ 3523318 w 8079933"/>
              <a:gd name="connsiteY47354" fmla="*/ 84018 h 4687251"/>
              <a:gd name="connsiteX47355" fmla="*/ 3528419 w 8079933"/>
              <a:gd name="connsiteY47355" fmla="*/ 88890 h 4687251"/>
              <a:gd name="connsiteX47356" fmla="*/ 3537751 w 8079933"/>
              <a:gd name="connsiteY47356" fmla="*/ 89540 h 4687251"/>
              <a:gd name="connsiteX47357" fmla="*/ 3540356 w 8079933"/>
              <a:gd name="connsiteY47357" fmla="*/ 91163 h 4687251"/>
              <a:gd name="connsiteX47358" fmla="*/ 3545564 w 8079933"/>
              <a:gd name="connsiteY47358" fmla="*/ 90081 h 4687251"/>
              <a:gd name="connsiteX47359" fmla="*/ 3547192 w 8079933"/>
              <a:gd name="connsiteY47359" fmla="*/ 91705 h 4687251"/>
              <a:gd name="connsiteX47360" fmla="*/ 3549037 w 8079933"/>
              <a:gd name="connsiteY47360" fmla="*/ 94195 h 4687251"/>
              <a:gd name="connsiteX47361" fmla="*/ 3553595 w 8079933"/>
              <a:gd name="connsiteY47361" fmla="*/ 92679 h 4687251"/>
              <a:gd name="connsiteX47362" fmla="*/ 3557501 w 8079933"/>
              <a:gd name="connsiteY47362" fmla="*/ 93545 h 4687251"/>
              <a:gd name="connsiteX47363" fmla="*/ 3561083 w 8079933"/>
              <a:gd name="connsiteY47363" fmla="*/ 97010 h 4687251"/>
              <a:gd name="connsiteX47364" fmla="*/ 3568570 w 8079933"/>
              <a:gd name="connsiteY47364" fmla="*/ 99176 h 4687251"/>
              <a:gd name="connsiteX47365" fmla="*/ 3573453 w 8079933"/>
              <a:gd name="connsiteY47365" fmla="*/ 102748 h 4687251"/>
              <a:gd name="connsiteX47366" fmla="*/ 3575515 w 8079933"/>
              <a:gd name="connsiteY47366" fmla="*/ 107187 h 4687251"/>
              <a:gd name="connsiteX47367" fmla="*/ 3579096 w 8079933"/>
              <a:gd name="connsiteY47367" fmla="*/ 109136 h 4687251"/>
              <a:gd name="connsiteX47368" fmla="*/ 3585716 w 8079933"/>
              <a:gd name="connsiteY47368" fmla="*/ 113359 h 4687251"/>
              <a:gd name="connsiteX47369" fmla="*/ 3585716 w 8079933"/>
              <a:gd name="connsiteY47369" fmla="*/ 115957 h 4687251"/>
              <a:gd name="connsiteX47370" fmla="*/ 3583111 w 8079933"/>
              <a:gd name="connsiteY47370" fmla="*/ 119639 h 4687251"/>
              <a:gd name="connsiteX47371" fmla="*/ 3579096 w 8079933"/>
              <a:gd name="connsiteY47371" fmla="*/ 119639 h 4687251"/>
              <a:gd name="connsiteX47372" fmla="*/ 3575190 w 8079933"/>
              <a:gd name="connsiteY47372" fmla="*/ 118882 h 4687251"/>
              <a:gd name="connsiteX47373" fmla="*/ 3572042 w 8079933"/>
              <a:gd name="connsiteY47373" fmla="*/ 120830 h 4687251"/>
              <a:gd name="connsiteX47374" fmla="*/ 3569438 w 8079933"/>
              <a:gd name="connsiteY47374" fmla="*/ 123645 h 4687251"/>
              <a:gd name="connsiteX47375" fmla="*/ 3565206 w 8079933"/>
              <a:gd name="connsiteY47375" fmla="*/ 123645 h 4687251"/>
              <a:gd name="connsiteX47376" fmla="*/ 3563578 w 8079933"/>
              <a:gd name="connsiteY47376" fmla="*/ 123645 h 4687251"/>
              <a:gd name="connsiteX47377" fmla="*/ 3559129 w 8079933"/>
              <a:gd name="connsiteY47377" fmla="*/ 124945 h 4687251"/>
              <a:gd name="connsiteX47378" fmla="*/ 3554028 w 8079933"/>
              <a:gd name="connsiteY47378" fmla="*/ 124945 h 4687251"/>
              <a:gd name="connsiteX47379" fmla="*/ 3544913 w 8079933"/>
              <a:gd name="connsiteY47379" fmla="*/ 120613 h 4687251"/>
              <a:gd name="connsiteX47380" fmla="*/ 3540464 w 8079933"/>
              <a:gd name="connsiteY47380" fmla="*/ 119206 h 4687251"/>
              <a:gd name="connsiteX47381" fmla="*/ 3537643 w 8079933"/>
              <a:gd name="connsiteY47381" fmla="*/ 119206 h 4687251"/>
              <a:gd name="connsiteX47382" fmla="*/ 3533627 w 8079933"/>
              <a:gd name="connsiteY47382" fmla="*/ 117474 h 4687251"/>
              <a:gd name="connsiteX47383" fmla="*/ 3528419 w 8079933"/>
              <a:gd name="connsiteY47383" fmla="*/ 117474 h 4687251"/>
              <a:gd name="connsiteX47384" fmla="*/ 3526031 w 8079933"/>
              <a:gd name="connsiteY47384" fmla="*/ 119422 h 4687251"/>
              <a:gd name="connsiteX47385" fmla="*/ 3521908 w 8079933"/>
              <a:gd name="connsiteY47385" fmla="*/ 119422 h 4687251"/>
              <a:gd name="connsiteX47386" fmla="*/ 3520280 w 8079933"/>
              <a:gd name="connsiteY47386" fmla="*/ 117689 h 4687251"/>
              <a:gd name="connsiteX47387" fmla="*/ 3515397 w 8079933"/>
              <a:gd name="connsiteY47387" fmla="*/ 117689 h 4687251"/>
              <a:gd name="connsiteX47388" fmla="*/ 3508343 w 8079933"/>
              <a:gd name="connsiteY47388" fmla="*/ 121154 h 4687251"/>
              <a:gd name="connsiteX47389" fmla="*/ 3505088 w 8079933"/>
              <a:gd name="connsiteY47389" fmla="*/ 122454 h 4687251"/>
              <a:gd name="connsiteX47390" fmla="*/ 3501073 w 8079933"/>
              <a:gd name="connsiteY47390" fmla="*/ 120938 h 4687251"/>
              <a:gd name="connsiteX47391" fmla="*/ 3497383 w 8079933"/>
              <a:gd name="connsiteY47391" fmla="*/ 120938 h 4687251"/>
              <a:gd name="connsiteX47392" fmla="*/ 3491740 w 8079933"/>
              <a:gd name="connsiteY47392" fmla="*/ 123536 h 4687251"/>
              <a:gd name="connsiteX47393" fmla="*/ 3485229 w 8079933"/>
              <a:gd name="connsiteY47393" fmla="*/ 123536 h 4687251"/>
              <a:gd name="connsiteX47394" fmla="*/ 3482625 w 8079933"/>
              <a:gd name="connsiteY47394" fmla="*/ 120180 h 4687251"/>
              <a:gd name="connsiteX47395" fmla="*/ 3482625 w 8079933"/>
              <a:gd name="connsiteY47395" fmla="*/ 115524 h 4687251"/>
              <a:gd name="connsiteX47396" fmla="*/ 3487942 w 8079933"/>
              <a:gd name="connsiteY47396" fmla="*/ 113901 h 4687251"/>
              <a:gd name="connsiteX47397" fmla="*/ 3490221 w 8079933"/>
              <a:gd name="connsiteY47397" fmla="*/ 113901 h 4687251"/>
              <a:gd name="connsiteX47398" fmla="*/ 3491089 w 8079933"/>
              <a:gd name="connsiteY47398" fmla="*/ 111302 h 4687251"/>
              <a:gd name="connsiteX47399" fmla="*/ 3489679 w 8079933"/>
              <a:gd name="connsiteY47399" fmla="*/ 109677 h 4687251"/>
              <a:gd name="connsiteX47400" fmla="*/ 3486206 w 8079933"/>
              <a:gd name="connsiteY47400" fmla="*/ 109677 h 4687251"/>
              <a:gd name="connsiteX47401" fmla="*/ 3482625 w 8079933"/>
              <a:gd name="connsiteY47401" fmla="*/ 110544 h 4687251"/>
              <a:gd name="connsiteX47402" fmla="*/ 3478393 w 8079933"/>
              <a:gd name="connsiteY47402" fmla="*/ 114225 h 4687251"/>
              <a:gd name="connsiteX47403" fmla="*/ 3478393 w 8079933"/>
              <a:gd name="connsiteY47403" fmla="*/ 118231 h 4687251"/>
              <a:gd name="connsiteX47404" fmla="*/ 3481105 w 8079933"/>
              <a:gd name="connsiteY47404" fmla="*/ 121804 h 4687251"/>
              <a:gd name="connsiteX47405" fmla="*/ 3483818 w 8079933"/>
              <a:gd name="connsiteY47405" fmla="*/ 121804 h 4687251"/>
              <a:gd name="connsiteX47406" fmla="*/ 3482733 w 8079933"/>
              <a:gd name="connsiteY47406" fmla="*/ 124619 h 4687251"/>
              <a:gd name="connsiteX47407" fmla="*/ 3479478 w 8079933"/>
              <a:gd name="connsiteY47407" fmla="*/ 127001 h 4687251"/>
              <a:gd name="connsiteX47408" fmla="*/ 3476982 w 8079933"/>
              <a:gd name="connsiteY47408" fmla="*/ 127001 h 4687251"/>
              <a:gd name="connsiteX47409" fmla="*/ 3473400 w 8079933"/>
              <a:gd name="connsiteY47409" fmla="*/ 127001 h 4687251"/>
              <a:gd name="connsiteX47410" fmla="*/ 3468192 w 8079933"/>
              <a:gd name="connsiteY47410" fmla="*/ 127001 h 4687251"/>
              <a:gd name="connsiteX47411" fmla="*/ 3466781 w 8079933"/>
              <a:gd name="connsiteY47411" fmla="*/ 128409 h 4687251"/>
              <a:gd name="connsiteX47412" fmla="*/ 3462006 w 8079933"/>
              <a:gd name="connsiteY47412" fmla="*/ 128409 h 4687251"/>
              <a:gd name="connsiteX47413" fmla="*/ 3457015 w 8079933"/>
              <a:gd name="connsiteY47413" fmla="*/ 127001 h 4687251"/>
              <a:gd name="connsiteX47414" fmla="*/ 3450937 w 8079933"/>
              <a:gd name="connsiteY47414" fmla="*/ 127001 h 4687251"/>
              <a:gd name="connsiteX47415" fmla="*/ 3444969 w 8079933"/>
              <a:gd name="connsiteY47415" fmla="*/ 130032 h 4687251"/>
              <a:gd name="connsiteX47416" fmla="*/ 3436180 w 8079933"/>
              <a:gd name="connsiteY47416" fmla="*/ 135554 h 4687251"/>
              <a:gd name="connsiteX47417" fmla="*/ 3435420 w 8079933"/>
              <a:gd name="connsiteY47417" fmla="*/ 139128 h 4687251"/>
              <a:gd name="connsiteX47418" fmla="*/ 3435420 w 8079933"/>
              <a:gd name="connsiteY47418" fmla="*/ 145299 h 4687251"/>
              <a:gd name="connsiteX47419" fmla="*/ 3433467 w 8079933"/>
              <a:gd name="connsiteY47419" fmla="*/ 148872 h 4687251"/>
              <a:gd name="connsiteX47420" fmla="*/ 3433467 w 8079933"/>
              <a:gd name="connsiteY47420" fmla="*/ 151579 h 4687251"/>
              <a:gd name="connsiteX47421" fmla="*/ 3434769 w 8079933"/>
              <a:gd name="connsiteY47421" fmla="*/ 153203 h 4687251"/>
              <a:gd name="connsiteX47422" fmla="*/ 3438350 w 8079933"/>
              <a:gd name="connsiteY47422" fmla="*/ 151903 h 4687251"/>
              <a:gd name="connsiteX47423" fmla="*/ 3438350 w 8079933"/>
              <a:gd name="connsiteY47423" fmla="*/ 147464 h 4687251"/>
              <a:gd name="connsiteX47424" fmla="*/ 3439435 w 8079933"/>
              <a:gd name="connsiteY47424" fmla="*/ 144758 h 4687251"/>
              <a:gd name="connsiteX47425" fmla="*/ 3439435 w 8079933"/>
              <a:gd name="connsiteY47425" fmla="*/ 142918 h 4687251"/>
              <a:gd name="connsiteX47426" fmla="*/ 3441823 w 8079933"/>
              <a:gd name="connsiteY47426" fmla="*/ 140860 h 4687251"/>
              <a:gd name="connsiteX47427" fmla="*/ 3446706 w 8079933"/>
              <a:gd name="connsiteY47427" fmla="*/ 140860 h 4687251"/>
              <a:gd name="connsiteX47428" fmla="*/ 3449635 w 8079933"/>
              <a:gd name="connsiteY47428" fmla="*/ 140318 h 4687251"/>
              <a:gd name="connsiteX47429" fmla="*/ 3450504 w 8079933"/>
              <a:gd name="connsiteY47429" fmla="*/ 141835 h 4687251"/>
              <a:gd name="connsiteX47430" fmla="*/ 3449419 w 8079933"/>
              <a:gd name="connsiteY47430" fmla="*/ 144866 h 4687251"/>
              <a:gd name="connsiteX47431" fmla="*/ 3447682 w 8079933"/>
              <a:gd name="connsiteY47431" fmla="*/ 148872 h 4687251"/>
              <a:gd name="connsiteX47432" fmla="*/ 3447682 w 8079933"/>
              <a:gd name="connsiteY47432" fmla="*/ 150496 h 4687251"/>
              <a:gd name="connsiteX47433" fmla="*/ 3449093 w 8079933"/>
              <a:gd name="connsiteY47433" fmla="*/ 150496 h 4687251"/>
              <a:gd name="connsiteX47434" fmla="*/ 3451372 w 8079933"/>
              <a:gd name="connsiteY47434" fmla="*/ 147573 h 4687251"/>
              <a:gd name="connsiteX47435" fmla="*/ 3453000 w 8079933"/>
              <a:gd name="connsiteY47435" fmla="*/ 140752 h 4687251"/>
              <a:gd name="connsiteX47436" fmla="*/ 3456147 w 8079933"/>
              <a:gd name="connsiteY47436" fmla="*/ 136312 h 4687251"/>
              <a:gd name="connsiteX47437" fmla="*/ 3461138 w 8079933"/>
              <a:gd name="connsiteY47437" fmla="*/ 133713 h 4687251"/>
              <a:gd name="connsiteX47438" fmla="*/ 3464068 w 8079933"/>
              <a:gd name="connsiteY47438" fmla="*/ 133713 h 4687251"/>
              <a:gd name="connsiteX47439" fmla="*/ 3469928 w 8079933"/>
              <a:gd name="connsiteY47439" fmla="*/ 133713 h 4687251"/>
              <a:gd name="connsiteX47440" fmla="*/ 3474160 w 8079933"/>
              <a:gd name="connsiteY47440" fmla="*/ 133713 h 4687251"/>
              <a:gd name="connsiteX47441" fmla="*/ 3477525 w 8079933"/>
              <a:gd name="connsiteY47441" fmla="*/ 132523 h 4687251"/>
              <a:gd name="connsiteX47442" fmla="*/ 3479261 w 8079933"/>
              <a:gd name="connsiteY47442" fmla="*/ 133172 h 4687251"/>
              <a:gd name="connsiteX47443" fmla="*/ 3480671 w 8079933"/>
              <a:gd name="connsiteY47443" fmla="*/ 136096 h 4687251"/>
              <a:gd name="connsiteX47444" fmla="*/ 3483384 w 8079933"/>
              <a:gd name="connsiteY47444" fmla="*/ 141942 h 4687251"/>
              <a:gd name="connsiteX47445" fmla="*/ 3485446 w 8079933"/>
              <a:gd name="connsiteY47445" fmla="*/ 143458 h 4687251"/>
              <a:gd name="connsiteX47446" fmla="*/ 3487291 w 8079933"/>
              <a:gd name="connsiteY47446" fmla="*/ 143458 h 4687251"/>
              <a:gd name="connsiteX47447" fmla="*/ 3487291 w 8079933"/>
              <a:gd name="connsiteY47447" fmla="*/ 140643 h 4687251"/>
              <a:gd name="connsiteX47448" fmla="*/ 3485772 w 8079933"/>
              <a:gd name="connsiteY47448" fmla="*/ 134905 h 4687251"/>
              <a:gd name="connsiteX47449" fmla="*/ 3487291 w 8079933"/>
              <a:gd name="connsiteY47449" fmla="*/ 133713 h 4687251"/>
              <a:gd name="connsiteX47450" fmla="*/ 3492500 w 8079933"/>
              <a:gd name="connsiteY47450" fmla="*/ 132848 h 4687251"/>
              <a:gd name="connsiteX47451" fmla="*/ 3496406 w 8079933"/>
              <a:gd name="connsiteY47451" fmla="*/ 133606 h 4687251"/>
              <a:gd name="connsiteX47452" fmla="*/ 3502049 w 8079933"/>
              <a:gd name="connsiteY47452" fmla="*/ 132523 h 4687251"/>
              <a:gd name="connsiteX47453" fmla="*/ 3507909 w 8079933"/>
              <a:gd name="connsiteY47453" fmla="*/ 131982 h 4687251"/>
              <a:gd name="connsiteX47454" fmla="*/ 3514637 w 8079933"/>
              <a:gd name="connsiteY47454" fmla="*/ 129491 h 4687251"/>
              <a:gd name="connsiteX47455" fmla="*/ 3519195 w 8079933"/>
              <a:gd name="connsiteY47455" fmla="*/ 127975 h 4687251"/>
              <a:gd name="connsiteX47456" fmla="*/ 3527659 w 8079933"/>
              <a:gd name="connsiteY47456" fmla="*/ 127218 h 4687251"/>
              <a:gd name="connsiteX47457" fmla="*/ 3534062 w 8079933"/>
              <a:gd name="connsiteY47457" fmla="*/ 128517 h 4687251"/>
              <a:gd name="connsiteX47458" fmla="*/ 3538836 w 8079933"/>
              <a:gd name="connsiteY47458" fmla="*/ 131223 h 4687251"/>
              <a:gd name="connsiteX47459" fmla="*/ 3543068 w 8079933"/>
              <a:gd name="connsiteY47459" fmla="*/ 132307 h 4687251"/>
              <a:gd name="connsiteX47460" fmla="*/ 3546324 w 8079933"/>
              <a:gd name="connsiteY47460" fmla="*/ 134038 h 4687251"/>
              <a:gd name="connsiteX47461" fmla="*/ 3550773 w 8079933"/>
              <a:gd name="connsiteY47461" fmla="*/ 135121 h 4687251"/>
              <a:gd name="connsiteX47462" fmla="*/ 3554245 w 8079933"/>
              <a:gd name="connsiteY47462" fmla="*/ 137720 h 4687251"/>
              <a:gd name="connsiteX47463" fmla="*/ 3557067 w 8079933"/>
              <a:gd name="connsiteY47463" fmla="*/ 138803 h 4687251"/>
              <a:gd name="connsiteX47464" fmla="*/ 3559780 w 8079933"/>
              <a:gd name="connsiteY47464" fmla="*/ 137503 h 4687251"/>
              <a:gd name="connsiteX47465" fmla="*/ 3563361 w 8079933"/>
              <a:gd name="connsiteY47465" fmla="*/ 136638 h 4687251"/>
              <a:gd name="connsiteX47466" fmla="*/ 3565423 w 8079933"/>
              <a:gd name="connsiteY47466" fmla="*/ 137828 h 4687251"/>
              <a:gd name="connsiteX47467" fmla="*/ 3567051 w 8079933"/>
              <a:gd name="connsiteY47467" fmla="*/ 140318 h 4687251"/>
              <a:gd name="connsiteX47468" fmla="*/ 3569329 w 8079933"/>
              <a:gd name="connsiteY47468" fmla="*/ 140318 h 4687251"/>
              <a:gd name="connsiteX47469" fmla="*/ 3573345 w 8079933"/>
              <a:gd name="connsiteY47469" fmla="*/ 136854 h 4687251"/>
              <a:gd name="connsiteX47470" fmla="*/ 3576383 w 8079933"/>
              <a:gd name="connsiteY47470" fmla="*/ 136854 h 4687251"/>
              <a:gd name="connsiteX47471" fmla="*/ 3580615 w 8079933"/>
              <a:gd name="connsiteY47471" fmla="*/ 136854 h 4687251"/>
              <a:gd name="connsiteX47472" fmla="*/ 3586909 w 8079933"/>
              <a:gd name="connsiteY47472" fmla="*/ 133389 h 4687251"/>
              <a:gd name="connsiteX47473" fmla="*/ 3590382 w 8079933"/>
              <a:gd name="connsiteY47473" fmla="*/ 129816 h 4687251"/>
              <a:gd name="connsiteX47474" fmla="*/ 3592878 w 8079933"/>
              <a:gd name="connsiteY47474" fmla="*/ 129167 h 4687251"/>
              <a:gd name="connsiteX47475" fmla="*/ 3594831 w 8079933"/>
              <a:gd name="connsiteY47475" fmla="*/ 130249 h 4687251"/>
              <a:gd name="connsiteX47476" fmla="*/ 3597978 w 8079933"/>
              <a:gd name="connsiteY47476" fmla="*/ 134147 h 4687251"/>
              <a:gd name="connsiteX47477" fmla="*/ 3601993 w 8079933"/>
              <a:gd name="connsiteY47477" fmla="*/ 136854 h 4687251"/>
              <a:gd name="connsiteX47478" fmla="*/ 3601993 w 8079933"/>
              <a:gd name="connsiteY47478" fmla="*/ 138261 h 4687251"/>
              <a:gd name="connsiteX47479" fmla="*/ 3599823 w 8079933"/>
              <a:gd name="connsiteY47479" fmla="*/ 140752 h 4687251"/>
              <a:gd name="connsiteX47480" fmla="*/ 3599823 w 8079933"/>
              <a:gd name="connsiteY47480" fmla="*/ 142918 h 4687251"/>
              <a:gd name="connsiteX47481" fmla="*/ 3602101 w 8079933"/>
              <a:gd name="connsiteY47481" fmla="*/ 144432 h 4687251"/>
              <a:gd name="connsiteX47482" fmla="*/ 3603187 w 8079933"/>
              <a:gd name="connsiteY47482" fmla="*/ 146273 h 4687251"/>
              <a:gd name="connsiteX47483" fmla="*/ 3603187 w 8079933"/>
              <a:gd name="connsiteY47483" fmla="*/ 149305 h 4687251"/>
              <a:gd name="connsiteX47484" fmla="*/ 3596784 w 8079933"/>
              <a:gd name="connsiteY47484" fmla="*/ 154827 h 4687251"/>
              <a:gd name="connsiteX47485" fmla="*/ 3589839 w 8079933"/>
              <a:gd name="connsiteY47485" fmla="*/ 156885 h 4687251"/>
              <a:gd name="connsiteX47486" fmla="*/ 3586258 w 8079933"/>
              <a:gd name="connsiteY47486" fmla="*/ 155801 h 4687251"/>
              <a:gd name="connsiteX47487" fmla="*/ 3582351 w 8079933"/>
              <a:gd name="connsiteY47487" fmla="*/ 153528 h 4687251"/>
              <a:gd name="connsiteX47488" fmla="*/ 3579747 w 8079933"/>
              <a:gd name="connsiteY47488" fmla="*/ 150713 h 4687251"/>
              <a:gd name="connsiteX47489" fmla="*/ 3578228 w 8079933"/>
              <a:gd name="connsiteY47489" fmla="*/ 152011 h 4687251"/>
              <a:gd name="connsiteX47490" fmla="*/ 3578228 w 8079933"/>
              <a:gd name="connsiteY47490" fmla="*/ 155043 h 4687251"/>
              <a:gd name="connsiteX47491" fmla="*/ 3582243 w 8079933"/>
              <a:gd name="connsiteY47491" fmla="*/ 158616 h 4687251"/>
              <a:gd name="connsiteX47492" fmla="*/ 3582243 w 8079933"/>
              <a:gd name="connsiteY47492" fmla="*/ 160457 h 4687251"/>
              <a:gd name="connsiteX47493" fmla="*/ 3581592 w 8079933"/>
              <a:gd name="connsiteY47493" fmla="*/ 161540 h 4687251"/>
              <a:gd name="connsiteX47494" fmla="*/ 3577143 w 8079933"/>
              <a:gd name="connsiteY47494" fmla="*/ 160024 h 4687251"/>
              <a:gd name="connsiteX47495" fmla="*/ 3574647 w 8079933"/>
              <a:gd name="connsiteY47495" fmla="*/ 157425 h 4687251"/>
              <a:gd name="connsiteX47496" fmla="*/ 3572151 w 8079933"/>
              <a:gd name="connsiteY47496" fmla="*/ 157425 h 4687251"/>
              <a:gd name="connsiteX47497" fmla="*/ 3572151 w 8079933"/>
              <a:gd name="connsiteY47497" fmla="*/ 160132 h 4687251"/>
              <a:gd name="connsiteX47498" fmla="*/ 3573995 w 8079933"/>
              <a:gd name="connsiteY47498" fmla="*/ 162947 h 4687251"/>
              <a:gd name="connsiteX47499" fmla="*/ 3577468 w 8079933"/>
              <a:gd name="connsiteY47499" fmla="*/ 164354 h 4687251"/>
              <a:gd name="connsiteX47500" fmla="*/ 3582135 w 8079933"/>
              <a:gd name="connsiteY47500" fmla="*/ 164354 h 4687251"/>
              <a:gd name="connsiteX47501" fmla="*/ 3587017 w 8079933"/>
              <a:gd name="connsiteY47501" fmla="*/ 166519 h 4687251"/>
              <a:gd name="connsiteX47502" fmla="*/ 3590599 w 8079933"/>
              <a:gd name="connsiteY47502" fmla="*/ 165871 h 4687251"/>
              <a:gd name="connsiteX47503" fmla="*/ 3597544 w 8079933"/>
              <a:gd name="connsiteY47503" fmla="*/ 162514 h 4687251"/>
              <a:gd name="connsiteX47504" fmla="*/ 3600148 w 8079933"/>
              <a:gd name="connsiteY47504" fmla="*/ 162514 h 4687251"/>
              <a:gd name="connsiteX47505" fmla="*/ 3601993 w 8079933"/>
              <a:gd name="connsiteY47505" fmla="*/ 164354 h 4687251"/>
              <a:gd name="connsiteX47506" fmla="*/ 3601993 w 8079933"/>
              <a:gd name="connsiteY47506" fmla="*/ 162514 h 4687251"/>
              <a:gd name="connsiteX47507" fmla="*/ 3601993 w 8079933"/>
              <a:gd name="connsiteY47507" fmla="*/ 159374 h 4687251"/>
              <a:gd name="connsiteX47508" fmla="*/ 3605682 w 8079933"/>
              <a:gd name="connsiteY47508" fmla="*/ 158725 h 4687251"/>
              <a:gd name="connsiteX47509" fmla="*/ 3615558 w 8079933"/>
              <a:gd name="connsiteY47509" fmla="*/ 158725 h 4687251"/>
              <a:gd name="connsiteX47510" fmla="*/ 3617945 w 8079933"/>
              <a:gd name="connsiteY47510" fmla="*/ 160348 h 4687251"/>
              <a:gd name="connsiteX47511" fmla="*/ 3618596 w 8079933"/>
              <a:gd name="connsiteY47511" fmla="*/ 163056 h 4687251"/>
              <a:gd name="connsiteX47512" fmla="*/ 3620874 w 8079933"/>
              <a:gd name="connsiteY47512" fmla="*/ 164462 h 4687251"/>
              <a:gd name="connsiteX47513" fmla="*/ 3623587 w 8079933"/>
              <a:gd name="connsiteY47513" fmla="*/ 163705 h 4687251"/>
              <a:gd name="connsiteX47514" fmla="*/ 3624781 w 8079933"/>
              <a:gd name="connsiteY47514" fmla="*/ 162297 h 4687251"/>
              <a:gd name="connsiteX47515" fmla="*/ 3627060 w 8079933"/>
              <a:gd name="connsiteY47515" fmla="*/ 163272 h 4687251"/>
              <a:gd name="connsiteX47516" fmla="*/ 3628145 w 8079933"/>
              <a:gd name="connsiteY47516" fmla="*/ 166412 h 4687251"/>
              <a:gd name="connsiteX47517" fmla="*/ 3630967 w 8079933"/>
              <a:gd name="connsiteY47517" fmla="*/ 169227 h 4687251"/>
              <a:gd name="connsiteX47518" fmla="*/ 3637478 w 8079933"/>
              <a:gd name="connsiteY47518" fmla="*/ 170309 h 4687251"/>
              <a:gd name="connsiteX47519" fmla="*/ 3639974 w 8079933"/>
              <a:gd name="connsiteY47519" fmla="*/ 172583 h 4687251"/>
              <a:gd name="connsiteX47520" fmla="*/ 3640625 w 8079933"/>
              <a:gd name="connsiteY47520" fmla="*/ 175290 h 4687251"/>
              <a:gd name="connsiteX47521" fmla="*/ 3645183 w 8079933"/>
              <a:gd name="connsiteY47521" fmla="*/ 179188 h 4687251"/>
              <a:gd name="connsiteX47522" fmla="*/ 3650825 w 8079933"/>
              <a:gd name="connsiteY47522" fmla="*/ 181462 h 4687251"/>
              <a:gd name="connsiteX47523" fmla="*/ 3655383 w 8079933"/>
              <a:gd name="connsiteY47523" fmla="*/ 185143 h 4687251"/>
              <a:gd name="connsiteX47524" fmla="*/ 3656035 w 8079933"/>
              <a:gd name="connsiteY47524" fmla="*/ 187308 h 4687251"/>
              <a:gd name="connsiteX47525" fmla="*/ 3656035 w 8079933"/>
              <a:gd name="connsiteY47525" fmla="*/ 191747 h 4687251"/>
              <a:gd name="connsiteX47526" fmla="*/ 3654081 w 8079933"/>
              <a:gd name="connsiteY47526" fmla="*/ 193046 h 4687251"/>
              <a:gd name="connsiteX47527" fmla="*/ 3653430 w 8079933"/>
              <a:gd name="connsiteY47527" fmla="*/ 195537 h 4687251"/>
              <a:gd name="connsiteX47528" fmla="*/ 3653430 w 8079933"/>
              <a:gd name="connsiteY47528" fmla="*/ 198676 h 4687251"/>
              <a:gd name="connsiteX47529" fmla="*/ 3650717 w 8079933"/>
              <a:gd name="connsiteY47529" fmla="*/ 200192 h 4687251"/>
              <a:gd name="connsiteX47530" fmla="*/ 3646267 w 8079933"/>
              <a:gd name="connsiteY47530" fmla="*/ 203549 h 4687251"/>
              <a:gd name="connsiteX47531" fmla="*/ 3642796 w 8079933"/>
              <a:gd name="connsiteY47531" fmla="*/ 204522 h 4687251"/>
              <a:gd name="connsiteX47532" fmla="*/ 3640842 w 8079933"/>
              <a:gd name="connsiteY47532" fmla="*/ 203657 h 4687251"/>
              <a:gd name="connsiteX47533" fmla="*/ 3639214 w 8079933"/>
              <a:gd name="connsiteY47533" fmla="*/ 204522 h 4687251"/>
              <a:gd name="connsiteX47534" fmla="*/ 3639214 w 8079933"/>
              <a:gd name="connsiteY47534" fmla="*/ 206905 h 4687251"/>
              <a:gd name="connsiteX47535" fmla="*/ 3637803 w 8079933"/>
              <a:gd name="connsiteY47535" fmla="*/ 208637 h 4687251"/>
              <a:gd name="connsiteX47536" fmla="*/ 3633788 w 8079933"/>
              <a:gd name="connsiteY47536" fmla="*/ 211235 h 4687251"/>
              <a:gd name="connsiteX47537" fmla="*/ 3625541 w 8079933"/>
              <a:gd name="connsiteY47537" fmla="*/ 214700 h 4687251"/>
              <a:gd name="connsiteX47538" fmla="*/ 3619464 w 8079933"/>
              <a:gd name="connsiteY47538" fmla="*/ 214700 h 4687251"/>
              <a:gd name="connsiteX47539" fmla="*/ 3617620 w 8079933"/>
              <a:gd name="connsiteY47539" fmla="*/ 215566 h 4687251"/>
              <a:gd name="connsiteX47540" fmla="*/ 3614038 w 8079933"/>
              <a:gd name="connsiteY47540" fmla="*/ 215566 h 4687251"/>
              <a:gd name="connsiteX47541" fmla="*/ 3611651 w 8079933"/>
              <a:gd name="connsiteY47541" fmla="*/ 212860 h 4687251"/>
              <a:gd name="connsiteX47542" fmla="*/ 3609806 w 8079933"/>
              <a:gd name="connsiteY47542" fmla="*/ 211127 h 4687251"/>
              <a:gd name="connsiteX47543" fmla="*/ 3608287 w 8079933"/>
              <a:gd name="connsiteY47543" fmla="*/ 211777 h 4687251"/>
              <a:gd name="connsiteX47544" fmla="*/ 3608287 w 8079933"/>
              <a:gd name="connsiteY47544" fmla="*/ 214267 h 4687251"/>
              <a:gd name="connsiteX47545" fmla="*/ 3610674 w 8079933"/>
              <a:gd name="connsiteY47545" fmla="*/ 215674 h 4687251"/>
              <a:gd name="connsiteX47546" fmla="*/ 3610674 w 8079933"/>
              <a:gd name="connsiteY47546" fmla="*/ 217407 h 4687251"/>
              <a:gd name="connsiteX47547" fmla="*/ 3606334 w 8079933"/>
              <a:gd name="connsiteY47547" fmla="*/ 217407 h 4687251"/>
              <a:gd name="connsiteX47548" fmla="*/ 3602101 w 8079933"/>
              <a:gd name="connsiteY47548" fmla="*/ 216216 h 4687251"/>
              <a:gd name="connsiteX47549" fmla="*/ 3598412 w 8079933"/>
              <a:gd name="connsiteY47549" fmla="*/ 218382 h 4687251"/>
              <a:gd name="connsiteX47550" fmla="*/ 3596458 w 8079933"/>
              <a:gd name="connsiteY47550" fmla="*/ 218382 h 4687251"/>
              <a:gd name="connsiteX47551" fmla="*/ 3593528 w 8079933"/>
              <a:gd name="connsiteY47551" fmla="*/ 216433 h 4687251"/>
              <a:gd name="connsiteX47552" fmla="*/ 3588862 w 8079933"/>
              <a:gd name="connsiteY47552" fmla="*/ 216433 h 4687251"/>
              <a:gd name="connsiteX47553" fmla="*/ 3585716 w 8079933"/>
              <a:gd name="connsiteY47553" fmla="*/ 218814 h 4687251"/>
              <a:gd name="connsiteX47554" fmla="*/ 3579638 w 8079933"/>
              <a:gd name="connsiteY47554" fmla="*/ 221413 h 4687251"/>
              <a:gd name="connsiteX47555" fmla="*/ 3576058 w 8079933"/>
              <a:gd name="connsiteY47555" fmla="*/ 221413 h 4687251"/>
              <a:gd name="connsiteX47556" fmla="*/ 3573778 w 8079933"/>
              <a:gd name="connsiteY47556" fmla="*/ 219897 h 4687251"/>
              <a:gd name="connsiteX47557" fmla="*/ 3570197 w 8079933"/>
              <a:gd name="connsiteY47557" fmla="*/ 219897 h 4687251"/>
              <a:gd name="connsiteX47558" fmla="*/ 3566399 w 8079933"/>
              <a:gd name="connsiteY47558" fmla="*/ 218489 h 4687251"/>
              <a:gd name="connsiteX47559" fmla="*/ 3563252 w 8079933"/>
              <a:gd name="connsiteY47559" fmla="*/ 218489 h 4687251"/>
              <a:gd name="connsiteX47560" fmla="*/ 3561299 w 8079933"/>
              <a:gd name="connsiteY47560" fmla="*/ 220114 h 4687251"/>
              <a:gd name="connsiteX47561" fmla="*/ 3556416 w 8079933"/>
              <a:gd name="connsiteY47561" fmla="*/ 221088 h 4687251"/>
              <a:gd name="connsiteX47562" fmla="*/ 3553269 w 8079933"/>
              <a:gd name="connsiteY47562" fmla="*/ 220005 h 4687251"/>
              <a:gd name="connsiteX47563" fmla="*/ 3547626 w 8079933"/>
              <a:gd name="connsiteY47563" fmla="*/ 215892 h 4687251"/>
              <a:gd name="connsiteX47564" fmla="*/ 3545347 w 8079933"/>
              <a:gd name="connsiteY47564" fmla="*/ 215892 h 4687251"/>
              <a:gd name="connsiteX47565" fmla="*/ 3544045 w 8079933"/>
              <a:gd name="connsiteY47565" fmla="*/ 215025 h 4687251"/>
              <a:gd name="connsiteX47566" fmla="*/ 3537534 w 8079933"/>
              <a:gd name="connsiteY47566" fmla="*/ 215025 h 4687251"/>
              <a:gd name="connsiteX47567" fmla="*/ 3533953 w 8079933"/>
              <a:gd name="connsiteY47567" fmla="*/ 213292 h 4687251"/>
              <a:gd name="connsiteX47568" fmla="*/ 3531132 w 8079933"/>
              <a:gd name="connsiteY47568" fmla="*/ 212643 h 4687251"/>
              <a:gd name="connsiteX47569" fmla="*/ 3526574 w 8079933"/>
              <a:gd name="connsiteY47569" fmla="*/ 213727 h 4687251"/>
              <a:gd name="connsiteX47570" fmla="*/ 3522559 w 8079933"/>
              <a:gd name="connsiteY47570" fmla="*/ 213727 h 4687251"/>
              <a:gd name="connsiteX47571" fmla="*/ 3518327 w 8079933"/>
              <a:gd name="connsiteY47571" fmla="*/ 212211 h 4687251"/>
              <a:gd name="connsiteX47572" fmla="*/ 3515180 w 8079933"/>
              <a:gd name="connsiteY47572" fmla="*/ 212968 h 4687251"/>
              <a:gd name="connsiteX47573" fmla="*/ 3511816 w 8079933"/>
              <a:gd name="connsiteY47573" fmla="*/ 217731 h 4687251"/>
              <a:gd name="connsiteX47574" fmla="*/ 3508126 w 8079933"/>
              <a:gd name="connsiteY47574" fmla="*/ 218814 h 4687251"/>
              <a:gd name="connsiteX47575" fmla="*/ 3502917 w 8079933"/>
              <a:gd name="connsiteY47575" fmla="*/ 218165 h 4687251"/>
              <a:gd name="connsiteX47576" fmla="*/ 3498902 w 8079933"/>
              <a:gd name="connsiteY47576" fmla="*/ 220439 h 4687251"/>
              <a:gd name="connsiteX47577" fmla="*/ 3498251 w 8079933"/>
              <a:gd name="connsiteY47577" fmla="*/ 221846 h 4687251"/>
              <a:gd name="connsiteX47578" fmla="*/ 3496731 w 8079933"/>
              <a:gd name="connsiteY47578" fmla="*/ 221846 h 4687251"/>
              <a:gd name="connsiteX47579" fmla="*/ 3496707 w 8079933"/>
              <a:gd name="connsiteY47579" fmla="*/ 221728 h 4687251"/>
              <a:gd name="connsiteX47580" fmla="*/ 3496840 w 8079933"/>
              <a:gd name="connsiteY47580" fmla="*/ 221413 h 4687251"/>
              <a:gd name="connsiteX47581" fmla="*/ 3496479 w 8079933"/>
              <a:gd name="connsiteY47581" fmla="*/ 220620 h 4687251"/>
              <a:gd name="connsiteX47582" fmla="*/ 3495863 w 8079933"/>
              <a:gd name="connsiteY47582" fmla="*/ 217623 h 4687251"/>
              <a:gd name="connsiteX47583" fmla="*/ 3493477 w 8079933"/>
              <a:gd name="connsiteY47583" fmla="*/ 216433 h 4687251"/>
              <a:gd name="connsiteX47584" fmla="*/ 3492065 w 8079933"/>
              <a:gd name="connsiteY47584" fmla="*/ 216433 h 4687251"/>
              <a:gd name="connsiteX47585" fmla="*/ 3490546 w 8079933"/>
              <a:gd name="connsiteY47585" fmla="*/ 215566 h 4687251"/>
              <a:gd name="connsiteX47586" fmla="*/ 3487183 w 8079933"/>
              <a:gd name="connsiteY47586" fmla="*/ 215566 h 4687251"/>
              <a:gd name="connsiteX47587" fmla="*/ 3487183 w 8079933"/>
              <a:gd name="connsiteY47587" fmla="*/ 217298 h 4687251"/>
              <a:gd name="connsiteX47588" fmla="*/ 3488702 w 8079933"/>
              <a:gd name="connsiteY47588" fmla="*/ 217298 h 4687251"/>
              <a:gd name="connsiteX47589" fmla="*/ 3493585 w 8079933"/>
              <a:gd name="connsiteY47589" fmla="*/ 217298 h 4687251"/>
              <a:gd name="connsiteX47590" fmla="*/ 3495755 w 8079933"/>
              <a:gd name="connsiteY47590" fmla="*/ 219031 h 4687251"/>
              <a:gd name="connsiteX47591" fmla="*/ 3496479 w 8079933"/>
              <a:gd name="connsiteY47591" fmla="*/ 220620 h 4687251"/>
              <a:gd name="connsiteX47592" fmla="*/ 3496707 w 8079933"/>
              <a:gd name="connsiteY47592" fmla="*/ 221728 h 4687251"/>
              <a:gd name="connsiteX47593" fmla="*/ 3495647 w 8079933"/>
              <a:gd name="connsiteY47593" fmla="*/ 224229 h 4687251"/>
              <a:gd name="connsiteX47594" fmla="*/ 3492500 w 8079933"/>
              <a:gd name="connsiteY47594" fmla="*/ 226069 h 4687251"/>
              <a:gd name="connsiteX47595" fmla="*/ 3490221 w 8079933"/>
              <a:gd name="connsiteY47595" fmla="*/ 226069 h 4687251"/>
              <a:gd name="connsiteX47596" fmla="*/ 3486639 w 8079933"/>
              <a:gd name="connsiteY47596" fmla="*/ 226069 h 4687251"/>
              <a:gd name="connsiteX47597" fmla="*/ 3483059 w 8079933"/>
              <a:gd name="connsiteY47597" fmla="*/ 228235 h 4687251"/>
              <a:gd name="connsiteX47598" fmla="*/ 3478393 w 8079933"/>
              <a:gd name="connsiteY47598" fmla="*/ 230183 h 4687251"/>
              <a:gd name="connsiteX47599" fmla="*/ 3471773 w 8079933"/>
              <a:gd name="connsiteY47599" fmla="*/ 230833 h 4687251"/>
              <a:gd name="connsiteX47600" fmla="*/ 3468409 w 8079933"/>
              <a:gd name="connsiteY47600" fmla="*/ 232349 h 4687251"/>
              <a:gd name="connsiteX47601" fmla="*/ 3466673 w 8079933"/>
              <a:gd name="connsiteY47601" fmla="*/ 234730 h 4687251"/>
              <a:gd name="connsiteX47602" fmla="*/ 3463309 w 8079933"/>
              <a:gd name="connsiteY47602" fmla="*/ 235488 h 4687251"/>
              <a:gd name="connsiteX47603" fmla="*/ 3458968 w 8079933"/>
              <a:gd name="connsiteY47603" fmla="*/ 235488 h 4687251"/>
              <a:gd name="connsiteX47604" fmla="*/ 3454085 w 8079933"/>
              <a:gd name="connsiteY47604" fmla="*/ 238087 h 4687251"/>
              <a:gd name="connsiteX47605" fmla="*/ 3450721 w 8079933"/>
              <a:gd name="connsiteY47605" fmla="*/ 238087 h 4687251"/>
              <a:gd name="connsiteX47606" fmla="*/ 3448442 w 8079933"/>
              <a:gd name="connsiteY47606" fmla="*/ 240902 h 4687251"/>
              <a:gd name="connsiteX47607" fmla="*/ 3448442 w 8079933"/>
              <a:gd name="connsiteY47607" fmla="*/ 244583 h 4687251"/>
              <a:gd name="connsiteX47608" fmla="*/ 3450829 w 8079933"/>
              <a:gd name="connsiteY47608" fmla="*/ 246965 h 4687251"/>
              <a:gd name="connsiteX47609" fmla="*/ 3451481 w 8079933"/>
              <a:gd name="connsiteY47609" fmla="*/ 249887 h 4687251"/>
              <a:gd name="connsiteX47610" fmla="*/ 3451481 w 8079933"/>
              <a:gd name="connsiteY47610" fmla="*/ 253569 h 4687251"/>
              <a:gd name="connsiteX47611" fmla="*/ 3453325 w 8079933"/>
              <a:gd name="connsiteY47611" fmla="*/ 256709 h 4687251"/>
              <a:gd name="connsiteX47612" fmla="*/ 3455821 w 8079933"/>
              <a:gd name="connsiteY47612" fmla="*/ 256709 h 4687251"/>
              <a:gd name="connsiteX47613" fmla="*/ 3457775 w 8079933"/>
              <a:gd name="connsiteY47613" fmla="*/ 254002 h 4687251"/>
              <a:gd name="connsiteX47614" fmla="*/ 3457775 w 8079933"/>
              <a:gd name="connsiteY47614" fmla="*/ 250538 h 4687251"/>
              <a:gd name="connsiteX47615" fmla="*/ 3460813 w 8079933"/>
              <a:gd name="connsiteY47615" fmla="*/ 247723 h 4687251"/>
              <a:gd name="connsiteX47616" fmla="*/ 3464828 w 8079933"/>
              <a:gd name="connsiteY47616" fmla="*/ 246965 h 4687251"/>
              <a:gd name="connsiteX47617" fmla="*/ 3468084 w 8079933"/>
              <a:gd name="connsiteY47617" fmla="*/ 245017 h 4687251"/>
              <a:gd name="connsiteX47618" fmla="*/ 3472207 w 8079933"/>
              <a:gd name="connsiteY47618" fmla="*/ 244366 h 4687251"/>
              <a:gd name="connsiteX47619" fmla="*/ 3476222 w 8079933"/>
              <a:gd name="connsiteY47619" fmla="*/ 244366 h 4687251"/>
              <a:gd name="connsiteX47620" fmla="*/ 3478066 w 8079933"/>
              <a:gd name="connsiteY47620" fmla="*/ 242092 h 4687251"/>
              <a:gd name="connsiteX47621" fmla="*/ 3480888 w 8079933"/>
              <a:gd name="connsiteY47621" fmla="*/ 239277 h 4687251"/>
              <a:gd name="connsiteX47622" fmla="*/ 3486965 w 8079933"/>
              <a:gd name="connsiteY47622" fmla="*/ 237653 h 4687251"/>
              <a:gd name="connsiteX47623" fmla="*/ 3496623 w 8079933"/>
              <a:gd name="connsiteY47623" fmla="*/ 234081 h 4687251"/>
              <a:gd name="connsiteX47624" fmla="*/ 3499770 w 8079933"/>
              <a:gd name="connsiteY47624" fmla="*/ 234081 h 4687251"/>
              <a:gd name="connsiteX47625" fmla="*/ 3499770 w 8079933"/>
              <a:gd name="connsiteY47625" fmla="*/ 235163 h 4687251"/>
              <a:gd name="connsiteX47626" fmla="*/ 3499119 w 8079933"/>
              <a:gd name="connsiteY47626" fmla="*/ 238412 h 4687251"/>
              <a:gd name="connsiteX47627" fmla="*/ 3500313 w 8079933"/>
              <a:gd name="connsiteY47627" fmla="*/ 238412 h 4687251"/>
              <a:gd name="connsiteX47628" fmla="*/ 3503677 w 8079933"/>
              <a:gd name="connsiteY47628" fmla="*/ 235705 h 4687251"/>
              <a:gd name="connsiteX47629" fmla="*/ 3503677 w 8079933"/>
              <a:gd name="connsiteY47629" fmla="*/ 231915 h 4687251"/>
              <a:gd name="connsiteX47630" fmla="*/ 3506390 w 8079933"/>
              <a:gd name="connsiteY47630" fmla="*/ 227368 h 4687251"/>
              <a:gd name="connsiteX47631" fmla="*/ 3509102 w 8079933"/>
              <a:gd name="connsiteY47631" fmla="*/ 227368 h 4687251"/>
              <a:gd name="connsiteX47632" fmla="*/ 3513552 w 8079933"/>
              <a:gd name="connsiteY47632" fmla="*/ 228126 h 4687251"/>
              <a:gd name="connsiteX47633" fmla="*/ 3516265 w 8079933"/>
              <a:gd name="connsiteY47633" fmla="*/ 228992 h 4687251"/>
              <a:gd name="connsiteX47634" fmla="*/ 3521365 w 8079933"/>
              <a:gd name="connsiteY47634" fmla="*/ 227909 h 4687251"/>
              <a:gd name="connsiteX47635" fmla="*/ 3527442 w 8079933"/>
              <a:gd name="connsiteY47635" fmla="*/ 227909 h 4687251"/>
              <a:gd name="connsiteX47636" fmla="*/ 3531674 w 8079933"/>
              <a:gd name="connsiteY47636" fmla="*/ 230183 h 4687251"/>
              <a:gd name="connsiteX47637" fmla="*/ 3536992 w 8079933"/>
              <a:gd name="connsiteY47637" fmla="*/ 230941 h 4687251"/>
              <a:gd name="connsiteX47638" fmla="*/ 3547843 w 8079933"/>
              <a:gd name="connsiteY47638" fmla="*/ 229749 h 4687251"/>
              <a:gd name="connsiteX47639" fmla="*/ 3551424 w 8079933"/>
              <a:gd name="connsiteY47639" fmla="*/ 230616 h 4687251"/>
              <a:gd name="connsiteX47640" fmla="*/ 3556199 w 8079933"/>
              <a:gd name="connsiteY47640" fmla="*/ 232890 h 4687251"/>
              <a:gd name="connsiteX47641" fmla="*/ 3563578 w 8079933"/>
              <a:gd name="connsiteY47641" fmla="*/ 234623 h 4687251"/>
              <a:gd name="connsiteX47642" fmla="*/ 3572477 w 8079933"/>
              <a:gd name="connsiteY47642" fmla="*/ 234623 h 4687251"/>
              <a:gd name="connsiteX47643" fmla="*/ 3576383 w 8079933"/>
              <a:gd name="connsiteY47643" fmla="*/ 234623 h 4687251"/>
              <a:gd name="connsiteX47644" fmla="*/ 3576383 w 8079933"/>
              <a:gd name="connsiteY47644" fmla="*/ 237004 h 4687251"/>
              <a:gd name="connsiteX47645" fmla="*/ 3578011 w 8079933"/>
              <a:gd name="connsiteY47645" fmla="*/ 238737 h 4687251"/>
              <a:gd name="connsiteX47646" fmla="*/ 3577360 w 8079933"/>
              <a:gd name="connsiteY47646" fmla="*/ 241226 h 4687251"/>
              <a:gd name="connsiteX47647" fmla="*/ 3574213 w 8079933"/>
              <a:gd name="connsiteY47647" fmla="*/ 243500 h 4687251"/>
              <a:gd name="connsiteX47648" fmla="*/ 3573562 w 8079933"/>
              <a:gd name="connsiteY47648" fmla="*/ 247073 h 4687251"/>
              <a:gd name="connsiteX47649" fmla="*/ 3570957 w 8079933"/>
              <a:gd name="connsiteY47649" fmla="*/ 251837 h 4687251"/>
              <a:gd name="connsiteX47650" fmla="*/ 3568244 w 8079933"/>
              <a:gd name="connsiteY47650" fmla="*/ 252920 h 4687251"/>
              <a:gd name="connsiteX47651" fmla="*/ 3556850 w 8079933"/>
              <a:gd name="connsiteY47651" fmla="*/ 254436 h 4687251"/>
              <a:gd name="connsiteX47652" fmla="*/ 3551533 w 8079933"/>
              <a:gd name="connsiteY47652" fmla="*/ 256601 h 4687251"/>
              <a:gd name="connsiteX47653" fmla="*/ 3549362 w 8079933"/>
              <a:gd name="connsiteY47653" fmla="*/ 256601 h 4687251"/>
              <a:gd name="connsiteX47654" fmla="*/ 3547518 w 8079933"/>
              <a:gd name="connsiteY47654" fmla="*/ 255627 h 4687251"/>
              <a:gd name="connsiteX47655" fmla="*/ 3546432 w 8079933"/>
              <a:gd name="connsiteY47655" fmla="*/ 255627 h 4687251"/>
              <a:gd name="connsiteX47656" fmla="*/ 3545131 w 8079933"/>
              <a:gd name="connsiteY47656" fmla="*/ 259091 h 4687251"/>
              <a:gd name="connsiteX47657" fmla="*/ 3545131 w 8079933"/>
              <a:gd name="connsiteY47657" fmla="*/ 262123 h 4687251"/>
              <a:gd name="connsiteX47658" fmla="*/ 3544045 w 8079933"/>
              <a:gd name="connsiteY47658" fmla="*/ 265696 h 4687251"/>
              <a:gd name="connsiteX47659" fmla="*/ 3544045 w 8079933"/>
              <a:gd name="connsiteY47659" fmla="*/ 268403 h 4687251"/>
              <a:gd name="connsiteX47660" fmla="*/ 3545890 w 8079933"/>
              <a:gd name="connsiteY47660" fmla="*/ 269053 h 4687251"/>
              <a:gd name="connsiteX47661" fmla="*/ 3551099 w 8079933"/>
              <a:gd name="connsiteY47661" fmla="*/ 267103 h 4687251"/>
              <a:gd name="connsiteX47662" fmla="*/ 3557718 w 8079933"/>
              <a:gd name="connsiteY47662" fmla="*/ 265587 h 4687251"/>
              <a:gd name="connsiteX47663" fmla="*/ 3562167 w 8079933"/>
              <a:gd name="connsiteY47663" fmla="*/ 263530 h 4687251"/>
              <a:gd name="connsiteX47664" fmla="*/ 3570415 w 8079933"/>
              <a:gd name="connsiteY47664" fmla="*/ 263530 h 4687251"/>
              <a:gd name="connsiteX47665" fmla="*/ 3578445 w 8079933"/>
              <a:gd name="connsiteY47665" fmla="*/ 266237 h 4687251"/>
              <a:gd name="connsiteX47666" fmla="*/ 3581158 w 8079933"/>
              <a:gd name="connsiteY47666" fmla="*/ 266237 h 4687251"/>
              <a:gd name="connsiteX47667" fmla="*/ 3584739 w 8079933"/>
              <a:gd name="connsiteY47667" fmla="*/ 268511 h 4687251"/>
              <a:gd name="connsiteX47668" fmla="*/ 3586584 w 8079933"/>
              <a:gd name="connsiteY47668" fmla="*/ 266995 h 4687251"/>
              <a:gd name="connsiteX47669" fmla="*/ 3588429 w 8079933"/>
              <a:gd name="connsiteY47669" fmla="*/ 264613 h 4687251"/>
              <a:gd name="connsiteX47670" fmla="*/ 3589730 w 8079933"/>
              <a:gd name="connsiteY47670" fmla="*/ 264613 h 4687251"/>
              <a:gd name="connsiteX47671" fmla="*/ 3592443 w 8079933"/>
              <a:gd name="connsiteY47671" fmla="*/ 265371 h 4687251"/>
              <a:gd name="connsiteX47672" fmla="*/ 3594831 w 8079933"/>
              <a:gd name="connsiteY47672" fmla="*/ 267428 h 4687251"/>
              <a:gd name="connsiteX47673" fmla="*/ 3598955 w 8079933"/>
              <a:gd name="connsiteY47673" fmla="*/ 262231 h 4687251"/>
              <a:gd name="connsiteX47674" fmla="*/ 3600800 w 8079933"/>
              <a:gd name="connsiteY47674" fmla="*/ 255627 h 4687251"/>
              <a:gd name="connsiteX47675" fmla="*/ 3600800 w 8079933"/>
              <a:gd name="connsiteY47675" fmla="*/ 249022 h 4687251"/>
              <a:gd name="connsiteX47676" fmla="*/ 3602101 w 8079933"/>
              <a:gd name="connsiteY47676" fmla="*/ 246424 h 4687251"/>
              <a:gd name="connsiteX47677" fmla="*/ 3601233 w 8079933"/>
              <a:gd name="connsiteY47677" fmla="*/ 244475 h 4687251"/>
              <a:gd name="connsiteX47678" fmla="*/ 3601884 w 8079933"/>
              <a:gd name="connsiteY47678" fmla="*/ 240902 h 4687251"/>
              <a:gd name="connsiteX47679" fmla="*/ 3605357 w 8079933"/>
              <a:gd name="connsiteY47679" fmla="*/ 238737 h 4687251"/>
              <a:gd name="connsiteX47680" fmla="*/ 3610566 w 8079933"/>
              <a:gd name="connsiteY47680" fmla="*/ 238737 h 4687251"/>
              <a:gd name="connsiteX47681" fmla="*/ 3615992 w 8079933"/>
              <a:gd name="connsiteY47681" fmla="*/ 240361 h 4687251"/>
              <a:gd name="connsiteX47682" fmla="*/ 3622069 w 8079933"/>
              <a:gd name="connsiteY47682" fmla="*/ 240361 h 4687251"/>
              <a:gd name="connsiteX47683" fmla="*/ 3627169 w 8079933"/>
              <a:gd name="connsiteY47683" fmla="*/ 239277 h 4687251"/>
              <a:gd name="connsiteX47684" fmla="*/ 3630316 w 8079933"/>
              <a:gd name="connsiteY47684" fmla="*/ 240143 h 4687251"/>
              <a:gd name="connsiteX47685" fmla="*/ 3631292 w 8079933"/>
              <a:gd name="connsiteY47685" fmla="*/ 244583 h 4687251"/>
              <a:gd name="connsiteX47686" fmla="*/ 3631292 w 8079933"/>
              <a:gd name="connsiteY47686" fmla="*/ 252486 h 4687251"/>
              <a:gd name="connsiteX47687" fmla="*/ 3631292 w 8079933"/>
              <a:gd name="connsiteY47687" fmla="*/ 258117 h 4687251"/>
              <a:gd name="connsiteX47688" fmla="*/ 3627060 w 8079933"/>
              <a:gd name="connsiteY47688" fmla="*/ 263422 h 4687251"/>
              <a:gd name="connsiteX47689" fmla="*/ 3623479 w 8079933"/>
              <a:gd name="connsiteY47689" fmla="*/ 270893 h 4687251"/>
              <a:gd name="connsiteX47690" fmla="*/ 3622503 w 8079933"/>
              <a:gd name="connsiteY47690" fmla="*/ 276523 h 4687251"/>
              <a:gd name="connsiteX47691" fmla="*/ 3620441 w 8079933"/>
              <a:gd name="connsiteY47691" fmla="*/ 280637 h 4687251"/>
              <a:gd name="connsiteX47692" fmla="*/ 3606985 w 8079933"/>
              <a:gd name="connsiteY47692" fmla="*/ 292655 h 4687251"/>
              <a:gd name="connsiteX47693" fmla="*/ 3604272 w 8079933"/>
              <a:gd name="connsiteY47693" fmla="*/ 292655 h 4687251"/>
              <a:gd name="connsiteX47694" fmla="*/ 3603078 w 8079933"/>
              <a:gd name="connsiteY47694" fmla="*/ 291789 h 4687251"/>
              <a:gd name="connsiteX47695" fmla="*/ 3599280 w 8079933"/>
              <a:gd name="connsiteY47695" fmla="*/ 293305 h 4687251"/>
              <a:gd name="connsiteX47696" fmla="*/ 3596350 w 8079933"/>
              <a:gd name="connsiteY47696" fmla="*/ 296552 h 4687251"/>
              <a:gd name="connsiteX47697" fmla="*/ 3593420 w 8079933"/>
              <a:gd name="connsiteY47697" fmla="*/ 295146 h 4687251"/>
              <a:gd name="connsiteX47698" fmla="*/ 3591683 w 8079933"/>
              <a:gd name="connsiteY47698" fmla="*/ 295795 h 4687251"/>
              <a:gd name="connsiteX47699" fmla="*/ 3588429 w 8079933"/>
              <a:gd name="connsiteY47699" fmla="*/ 300992 h 4687251"/>
              <a:gd name="connsiteX47700" fmla="*/ 3588429 w 8079933"/>
              <a:gd name="connsiteY47700" fmla="*/ 304240 h 4687251"/>
              <a:gd name="connsiteX47701" fmla="*/ 3584522 w 8079933"/>
              <a:gd name="connsiteY47701" fmla="*/ 306081 h 4687251"/>
              <a:gd name="connsiteX47702" fmla="*/ 3581592 w 8079933"/>
              <a:gd name="connsiteY47702" fmla="*/ 309546 h 4687251"/>
              <a:gd name="connsiteX47703" fmla="*/ 3578988 w 8079933"/>
              <a:gd name="connsiteY47703" fmla="*/ 308895 h 4687251"/>
              <a:gd name="connsiteX47704" fmla="*/ 3578119 w 8079933"/>
              <a:gd name="connsiteY47704" fmla="*/ 307380 h 4687251"/>
              <a:gd name="connsiteX47705" fmla="*/ 3576709 w 8079933"/>
              <a:gd name="connsiteY47705" fmla="*/ 309654 h 4687251"/>
              <a:gd name="connsiteX47706" fmla="*/ 3577360 w 8079933"/>
              <a:gd name="connsiteY47706" fmla="*/ 312577 h 4687251"/>
              <a:gd name="connsiteX47707" fmla="*/ 3575623 w 8079933"/>
              <a:gd name="connsiteY47707" fmla="*/ 316042 h 4687251"/>
              <a:gd name="connsiteX47708" fmla="*/ 3571500 w 8079933"/>
              <a:gd name="connsiteY47708" fmla="*/ 322104 h 4687251"/>
              <a:gd name="connsiteX47709" fmla="*/ 3567376 w 8079933"/>
              <a:gd name="connsiteY47709" fmla="*/ 324486 h 4687251"/>
              <a:gd name="connsiteX47710" fmla="*/ 3565640 w 8079933"/>
              <a:gd name="connsiteY47710" fmla="*/ 327626 h 4687251"/>
              <a:gd name="connsiteX47711" fmla="*/ 3559238 w 8079933"/>
              <a:gd name="connsiteY47711" fmla="*/ 333148 h 4687251"/>
              <a:gd name="connsiteX47712" fmla="*/ 3554572 w 8079933"/>
              <a:gd name="connsiteY47712" fmla="*/ 337479 h 4687251"/>
              <a:gd name="connsiteX47713" fmla="*/ 3551099 w 8079933"/>
              <a:gd name="connsiteY47713" fmla="*/ 338346 h 4687251"/>
              <a:gd name="connsiteX47714" fmla="*/ 3545239 w 8079933"/>
              <a:gd name="connsiteY47714" fmla="*/ 342784 h 4687251"/>
              <a:gd name="connsiteX47715" fmla="*/ 3544262 w 8079933"/>
              <a:gd name="connsiteY47715" fmla="*/ 345058 h 4687251"/>
              <a:gd name="connsiteX47716" fmla="*/ 3540464 w 8079933"/>
              <a:gd name="connsiteY47716" fmla="*/ 345058 h 4687251"/>
              <a:gd name="connsiteX47717" fmla="*/ 3540464 w 8079933"/>
              <a:gd name="connsiteY47717" fmla="*/ 349172 h 4687251"/>
              <a:gd name="connsiteX47718" fmla="*/ 3540464 w 8079933"/>
              <a:gd name="connsiteY47718" fmla="*/ 353070 h 4687251"/>
              <a:gd name="connsiteX47719" fmla="*/ 3538402 w 8079933"/>
              <a:gd name="connsiteY47719" fmla="*/ 358268 h 4687251"/>
              <a:gd name="connsiteX47720" fmla="*/ 3539488 w 8079933"/>
              <a:gd name="connsiteY47720" fmla="*/ 360541 h 4687251"/>
              <a:gd name="connsiteX47721" fmla="*/ 3540898 w 8079933"/>
              <a:gd name="connsiteY47721" fmla="*/ 358159 h 4687251"/>
              <a:gd name="connsiteX47722" fmla="*/ 3541766 w 8079933"/>
              <a:gd name="connsiteY47722" fmla="*/ 354694 h 4687251"/>
              <a:gd name="connsiteX47723" fmla="*/ 3546215 w 8079933"/>
              <a:gd name="connsiteY47723" fmla="*/ 349497 h 4687251"/>
              <a:gd name="connsiteX47724" fmla="*/ 3549471 w 8079933"/>
              <a:gd name="connsiteY47724" fmla="*/ 344517 h 4687251"/>
              <a:gd name="connsiteX47725" fmla="*/ 3554137 w 8079933"/>
              <a:gd name="connsiteY47725" fmla="*/ 341377 h 4687251"/>
              <a:gd name="connsiteX47726" fmla="*/ 3555657 w 8079933"/>
              <a:gd name="connsiteY47726" fmla="*/ 341377 h 4687251"/>
              <a:gd name="connsiteX47727" fmla="*/ 3556850 w 8079933"/>
              <a:gd name="connsiteY47727" fmla="*/ 343218 h 4687251"/>
              <a:gd name="connsiteX47728" fmla="*/ 3560648 w 8079933"/>
              <a:gd name="connsiteY47728" fmla="*/ 338778 h 4687251"/>
              <a:gd name="connsiteX47729" fmla="*/ 3568896 w 8079933"/>
              <a:gd name="connsiteY47729" fmla="*/ 332390 h 4687251"/>
              <a:gd name="connsiteX47730" fmla="*/ 3571500 w 8079933"/>
              <a:gd name="connsiteY47730" fmla="*/ 331741 h 4687251"/>
              <a:gd name="connsiteX47731" fmla="*/ 3572151 w 8079933"/>
              <a:gd name="connsiteY47731" fmla="*/ 327735 h 4687251"/>
              <a:gd name="connsiteX47732" fmla="*/ 3580290 w 8079933"/>
              <a:gd name="connsiteY47732" fmla="*/ 321239 h 4687251"/>
              <a:gd name="connsiteX47733" fmla="*/ 3587017 w 8079933"/>
              <a:gd name="connsiteY47733" fmla="*/ 315608 h 4687251"/>
              <a:gd name="connsiteX47734" fmla="*/ 3590490 w 8079933"/>
              <a:gd name="connsiteY47734" fmla="*/ 313876 h 4687251"/>
              <a:gd name="connsiteX47735" fmla="*/ 3593203 w 8079933"/>
              <a:gd name="connsiteY47735" fmla="*/ 314525 h 4687251"/>
              <a:gd name="connsiteX47736" fmla="*/ 3597544 w 8079933"/>
              <a:gd name="connsiteY47736" fmla="*/ 314525 h 4687251"/>
              <a:gd name="connsiteX47737" fmla="*/ 3600474 w 8079933"/>
              <a:gd name="connsiteY47737" fmla="*/ 311927 h 4687251"/>
              <a:gd name="connsiteX47738" fmla="*/ 3600474 w 8079933"/>
              <a:gd name="connsiteY47738" fmla="*/ 309654 h 4687251"/>
              <a:gd name="connsiteX47739" fmla="*/ 3605249 w 8079933"/>
              <a:gd name="connsiteY47739" fmla="*/ 309654 h 4687251"/>
              <a:gd name="connsiteX47740" fmla="*/ 3611760 w 8079933"/>
              <a:gd name="connsiteY47740" fmla="*/ 309654 h 4687251"/>
              <a:gd name="connsiteX47741" fmla="*/ 3618162 w 8079933"/>
              <a:gd name="connsiteY47741" fmla="*/ 306189 h 4687251"/>
              <a:gd name="connsiteX47742" fmla="*/ 3622286 w 8079933"/>
              <a:gd name="connsiteY47742" fmla="*/ 301858 h 4687251"/>
              <a:gd name="connsiteX47743" fmla="*/ 3626300 w 8079933"/>
              <a:gd name="connsiteY47743" fmla="*/ 301858 h 4687251"/>
              <a:gd name="connsiteX47744" fmla="*/ 3630207 w 8079933"/>
              <a:gd name="connsiteY47744" fmla="*/ 298935 h 4687251"/>
              <a:gd name="connsiteX47745" fmla="*/ 3632812 w 8079933"/>
              <a:gd name="connsiteY47745" fmla="*/ 296552 h 4687251"/>
              <a:gd name="connsiteX47746" fmla="*/ 3636067 w 8079933"/>
              <a:gd name="connsiteY47746" fmla="*/ 296552 h 4687251"/>
              <a:gd name="connsiteX47747" fmla="*/ 3639323 w 8079933"/>
              <a:gd name="connsiteY47747" fmla="*/ 293088 h 4687251"/>
              <a:gd name="connsiteX47748" fmla="*/ 3645725 w 8079933"/>
              <a:gd name="connsiteY47748" fmla="*/ 287024 h 4687251"/>
              <a:gd name="connsiteX47749" fmla="*/ 3647244 w 8079933"/>
              <a:gd name="connsiteY47749" fmla="*/ 282261 h 4687251"/>
              <a:gd name="connsiteX47750" fmla="*/ 3647244 w 8079933"/>
              <a:gd name="connsiteY47750" fmla="*/ 279121 h 4687251"/>
              <a:gd name="connsiteX47751" fmla="*/ 3649957 w 8079933"/>
              <a:gd name="connsiteY47751" fmla="*/ 275982 h 4687251"/>
              <a:gd name="connsiteX47752" fmla="*/ 3651477 w 8079933"/>
              <a:gd name="connsiteY47752" fmla="*/ 273599 h 4687251"/>
              <a:gd name="connsiteX47753" fmla="*/ 3653864 w 8079933"/>
              <a:gd name="connsiteY47753" fmla="*/ 272084 h 4687251"/>
              <a:gd name="connsiteX47754" fmla="*/ 3653864 w 8079933"/>
              <a:gd name="connsiteY47754" fmla="*/ 274899 h 4687251"/>
              <a:gd name="connsiteX47755" fmla="*/ 3655709 w 8079933"/>
              <a:gd name="connsiteY47755" fmla="*/ 278147 h 4687251"/>
              <a:gd name="connsiteX47756" fmla="*/ 3655709 w 8079933"/>
              <a:gd name="connsiteY47756" fmla="*/ 281396 h 4687251"/>
              <a:gd name="connsiteX47757" fmla="*/ 3654732 w 8079933"/>
              <a:gd name="connsiteY47757" fmla="*/ 284643 h 4687251"/>
              <a:gd name="connsiteX47758" fmla="*/ 3656576 w 8079933"/>
              <a:gd name="connsiteY47758" fmla="*/ 287675 h 4687251"/>
              <a:gd name="connsiteX47759" fmla="*/ 3657444 w 8079933"/>
              <a:gd name="connsiteY47759" fmla="*/ 292871 h 4687251"/>
              <a:gd name="connsiteX47760" fmla="*/ 3656360 w 8079933"/>
              <a:gd name="connsiteY47760" fmla="*/ 294929 h 4687251"/>
              <a:gd name="connsiteX47761" fmla="*/ 3656360 w 8079933"/>
              <a:gd name="connsiteY47761" fmla="*/ 297853 h 4687251"/>
              <a:gd name="connsiteX47762" fmla="*/ 3657771 w 8079933"/>
              <a:gd name="connsiteY47762" fmla="*/ 295470 h 4687251"/>
              <a:gd name="connsiteX47763" fmla="*/ 3659181 w 8079933"/>
              <a:gd name="connsiteY47763" fmla="*/ 291572 h 4687251"/>
              <a:gd name="connsiteX47764" fmla="*/ 3661026 w 8079933"/>
              <a:gd name="connsiteY47764" fmla="*/ 288324 h 4687251"/>
              <a:gd name="connsiteX47765" fmla="*/ 3659941 w 8079933"/>
              <a:gd name="connsiteY47765" fmla="*/ 286809 h 4687251"/>
              <a:gd name="connsiteX47766" fmla="*/ 3659941 w 8079933"/>
              <a:gd name="connsiteY47766" fmla="*/ 282911 h 4687251"/>
              <a:gd name="connsiteX47767" fmla="*/ 3661786 w 8079933"/>
              <a:gd name="connsiteY47767" fmla="*/ 280854 h 4687251"/>
              <a:gd name="connsiteX47768" fmla="*/ 3663739 w 8079933"/>
              <a:gd name="connsiteY47768" fmla="*/ 281936 h 4687251"/>
              <a:gd name="connsiteX47769" fmla="*/ 3663739 w 8079933"/>
              <a:gd name="connsiteY47769" fmla="*/ 285185 h 4687251"/>
              <a:gd name="connsiteX47770" fmla="*/ 3666343 w 8079933"/>
              <a:gd name="connsiteY47770" fmla="*/ 287891 h 4687251"/>
              <a:gd name="connsiteX47771" fmla="*/ 3670467 w 8079933"/>
              <a:gd name="connsiteY47771" fmla="*/ 287891 h 4687251"/>
              <a:gd name="connsiteX47772" fmla="*/ 3675133 w 8079933"/>
              <a:gd name="connsiteY47772" fmla="*/ 285834 h 4687251"/>
              <a:gd name="connsiteX47773" fmla="*/ 3676218 w 8079933"/>
              <a:gd name="connsiteY47773" fmla="*/ 283127 h 4687251"/>
              <a:gd name="connsiteX47774" fmla="*/ 3674808 w 8079933"/>
              <a:gd name="connsiteY47774" fmla="*/ 281179 h 4687251"/>
              <a:gd name="connsiteX47775" fmla="*/ 3674808 w 8079933"/>
              <a:gd name="connsiteY47775" fmla="*/ 278797 h 4687251"/>
              <a:gd name="connsiteX47776" fmla="*/ 3677195 w 8079933"/>
              <a:gd name="connsiteY47776" fmla="*/ 278797 h 4687251"/>
              <a:gd name="connsiteX47777" fmla="*/ 3678931 w 8079933"/>
              <a:gd name="connsiteY47777" fmla="*/ 275656 h 4687251"/>
              <a:gd name="connsiteX47778" fmla="*/ 3678931 w 8079933"/>
              <a:gd name="connsiteY47778" fmla="*/ 271001 h 4687251"/>
              <a:gd name="connsiteX47779" fmla="*/ 3678280 w 8079933"/>
              <a:gd name="connsiteY47779" fmla="*/ 267428 h 4687251"/>
              <a:gd name="connsiteX47780" fmla="*/ 3679691 w 8079933"/>
              <a:gd name="connsiteY47780" fmla="*/ 264613 h 4687251"/>
              <a:gd name="connsiteX47781" fmla="*/ 3682404 w 8079933"/>
              <a:gd name="connsiteY47781" fmla="*/ 263855 h 4687251"/>
              <a:gd name="connsiteX47782" fmla="*/ 3683489 w 8079933"/>
              <a:gd name="connsiteY47782" fmla="*/ 265804 h 4687251"/>
              <a:gd name="connsiteX47783" fmla="*/ 3687830 w 8079933"/>
              <a:gd name="connsiteY47783" fmla="*/ 267861 h 4687251"/>
              <a:gd name="connsiteX47784" fmla="*/ 3692496 w 8079933"/>
              <a:gd name="connsiteY47784" fmla="*/ 265912 h 4687251"/>
              <a:gd name="connsiteX47785" fmla="*/ 3694774 w 8079933"/>
              <a:gd name="connsiteY47785" fmla="*/ 263206 h 4687251"/>
              <a:gd name="connsiteX47786" fmla="*/ 3701178 w 8079933"/>
              <a:gd name="connsiteY47786" fmla="*/ 261040 h 4687251"/>
              <a:gd name="connsiteX47787" fmla="*/ 3706820 w 8079933"/>
              <a:gd name="connsiteY47787" fmla="*/ 261040 h 4687251"/>
              <a:gd name="connsiteX47788" fmla="*/ 3709533 w 8079933"/>
              <a:gd name="connsiteY47788" fmla="*/ 260066 h 4687251"/>
              <a:gd name="connsiteX47789" fmla="*/ 3715176 w 8079933"/>
              <a:gd name="connsiteY47789" fmla="*/ 261474 h 4687251"/>
              <a:gd name="connsiteX47790" fmla="*/ 3721361 w 8079933"/>
              <a:gd name="connsiteY47790" fmla="*/ 264505 h 4687251"/>
              <a:gd name="connsiteX47791" fmla="*/ 3727981 w 8079933"/>
              <a:gd name="connsiteY47791" fmla="*/ 266670 h 4687251"/>
              <a:gd name="connsiteX47792" fmla="*/ 3732864 w 8079933"/>
              <a:gd name="connsiteY47792" fmla="*/ 266670 h 4687251"/>
              <a:gd name="connsiteX47793" fmla="*/ 3736879 w 8079933"/>
              <a:gd name="connsiteY47793" fmla="*/ 268618 h 4687251"/>
              <a:gd name="connsiteX47794" fmla="*/ 3739592 w 8079933"/>
              <a:gd name="connsiteY47794" fmla="*/ 271651 h 4687251"/>
              <a:gd name="connsiteX47795" fmla="*/ 3742197 w 8079933"/>
              <a:gd name="connsiteY47795" fmla="*/ 271651 h 4687251"/>
              <a:gd name="connsiteX47796" fmla="*/ 3746863 w 8079933"/>
              <a:gd name="connsiteY47796" fmla="*/ 273708 h 4687251"/>
              <a:gd name="connsiteX47797" fmla="*/ 3748599 w 8079933"/>
              <a:gd name="connsiteY47797" fmla="*/ 277389 h 4687251"/>
              <a:gd name="connsiteX47798" fmla="*/ 3748599 w 8079933"/>
              <a:gd name="connsiteY47798" fmla="*/ 279879 h 4687251"/>
              <a:gd name="connsiteX47799" fmla="*/ 3755544 w 8079933"/>
              <a:gd name="connsiteY47799" fmla="*/ 285726 h 4687251"/>
              <a:gd name="connsiteX47800" fmla="*/ 3756738 w 8079933"/>
              <a:gd name="connsiteY47800" fmla="*/ 288541 h 4687251"/>
              <a:gd name="connsiteX47801" fmla="*/ 3759993 w 8079933"/>
              <a:gd name="connsiteY47801" fmla="*/ 291789 h 4687251"/>
              <a:gd name="connsiteX47802" fmla="*/ 3762055 w 8079933"/>
              <a:gd name="connsiteY47802" fmla="*/ 298502 h 4687251"/>
              <a:gd name="connsiteX47803" fmla="*/ 3762055 w 8079933"/>
              <a:gd name="connsiteY47803" fmla="*/ 303590 h 4687251"/>
              <a:gd name="connsiteX47804" fmla="*/ 3760210 w 8079933"/>
              <a:gd name="connsiteY47804" fmla="*/ 306621 h 4687251"/>
              <a:gd name="connsiteX47805" fmla="*/ 3755653 w 8079933"/>
              <a:gd name="connsiteY47805" fmla="*/ 308354 h 4687251"/>
              <a:gd name="connsiteX47806" fmla="*/ 3751746 w 8079933"/>
              <a:gd name="connsiteY47806" fmla="*/ 311385 h 4687251"/>
              <a:gd name="connsiteX47807" fmla="*/ 3750443 w 8079933"/>
              <a:gd name="connsiteY47807" fmla="*/ 313660 h 4687251"/>
              <a:gd name="connsiteX47808" fmla="*/ 3747731 w 8079933"/>
              <a:gd name="connsiteY47808" fmla="*/ 314742 h 4687251"/>
              <a:gd name="connsiteX47809" fmla="*/ 3743716 w 8079933"/>
              <a:gd name="connsiteY47809" fmla="*/ 317558 h 4687251"/>
              <a:gd name="connsiteX47810" fmla="*/ 3738832 w 8079933"/>
              <a:gd name="connsiteY47810" fmla="*/ 324379 h 4687251"/>
              <a:gd name="connsiteX47811" fmla="*/ 3736554 w 8079933"/>
              <a:gd name="connsiteY47811" fmla="*/ 327626 h 4687251"/>
              <a:gd name="connsiteX47812" fmla="*/ 3734709 w 8079933"/>
              <a:gd name="connsiteY47812" fmla="*/ 328385 h 4687251"/>
              <a:gd name="connsiteX47813" fmla="*/ 3731345 w 8079933"/>
              <a:gd name="connsiteY47813" fmla="*/ 327301 h 4687251"/>
              <a:gd name="connsiteX47814" fmla="*/ 3724834 w 8079933"/>
              <a:gd name="connsiteY47814" fmla="*/ 323295 h 4687251"/>
              <a:gd name="connsiteX47815" fmla="*/ 3722229 w 8079933"/>
              <a:gd name="connsiteY47815" fmla="*/ 323295 h 4687251"/>
              <a:gd name="connsiteX47816" fmla="*/ 3718866 w 8079933"/>
              <a:gd name="connsiteY47816" fmla="*/ 325894 h 4687251"/>
              <a:gd name="connsiteX47817" fmla="*/ 3716478 w 8079933"/>
              <a:gd name="connsiteY47817" fmla="*/ 330008 h 4687251"/>
              <a:gd name="connsiteX47818" fmla="*/ 3716478 w 8079933"/>
              <a:gd name="connsiteY47818" fmla="*/ 331849 h 4687251"/>
              <a:gd name="connsiteX47819" fmla="*/ 3717998 w 8079933"/>
              <a:gd name="connsiteY47819" fmla="*/ 333148 h 4687251"/>
              <a:gd name="connsiteX47820" fmla="*/ 3717998 w 8079933"/>
              <a:gd name="connsiteY47820" fmla="*/ 335639 h 4687251"/>
              <a:gd name="connsiteX47821" fmla="*/ 3720602 w 8079933"/>
              <a:gd name="connsiteY47821" fmla="*/ 339320 h 4687251"/>
              <a:gd name="connsiteX47822" fmla="*/ 3722229 w 8079933"/>
              <a:gd name="connsiteY47822" fmla="*/ 340619 h 4687251"/>
              <a:gd name="connsiteX47823" fmla="*/ 3722229 w 8079933"/>
              <a:gd name="connsiteY47823" fmla="*/ 343325 h 4687251"/>
              <a:gd name="connsiteX47824" fmla="*/ 3720711 w 8079933"/>
              <a:gd name="connsiteY47824" fmla="*/ 346141 h 4687251"/>
              <a:gd name="connsiteX47825" fmla="*/ 3717238 w 8079933"/>
              <a:gd name="connsiteY47825" fmla="*/ 346141 h 4687251"/>
              <a:gd name="connsiteX47826" fmla="*/ 3714416 w 8079933"/>
              <a:gd name="connsiteY47826" fmla="*/ 346141 h 4687251"/>
              <a:gd name="connsiteX47827" fmla="*/ 3707254 w 8079933"/>
              <a:gd name="connsiteY47827" fmla="*/ 349821 h 4687251"/>
              <a:gd name="connsiteX47828" fmla="*/ 3702914 w 8079933"/>
              <a:gd name="connsiteY47828" fmla="*/ 353070 h 4687251"/>
              <a:gd name="connsiteX47829" fmla="*/ 3699007 w 8079933"/>
              <a:gd name="connsiteY47829" fmla="*/ 353070 h 4687251"/>
              <a:gd name="connsiteX47830" fmla="*/ 3695860 w 8079933"/>
              <a:gd name="connsiteY47830" fmla="*/ 353070 h 4687251"/>
              <a:gd name="connsiteX47831" fmla="*/ 3693147 w 8079933"/>
              <a:gd name="connsiteY47831" fmla="*/ 351121 h 4687251"/>
              <a:gd name="connsiteX47832" fmla="*/ 3689348 w 8079933"/>
              <a:gd name="connsiteY47832" fmla="*/ 349605 h 4687251"/>
              <a:gd name="connsiteX47833" fmla="*/ 3685334 w 8079933"/>
              <a:gd name="connsiteY47833" fmla="*/ 349605 h 4687251"/>
              <a:gd name="connsiteX47834" fmla="*/ 3683381 w 8079933"/>
              <a:gd name="connsiteY47834" fmla="*/ 348306 h 4687251"/>
              <a:gd name="connsiteX47835" fmla="*/ 3680668 w 8079933"/>
              <a:gd name="connsiteY47835" fmla="*/ 347656 h 4687251"/>
              <a:gd name="connsiteX47836" fmla="*/ 3680016 w 8079933"/>
              <a:gd name="connsiteY47836" fmla="*/ 346682 h 4687251"/>
              <a:gd name="connsiteX47837" fmla="*/ 3677846 w 8079933"/>
              <a:gd name="connsiteY47837" fmla="*/ 346682 h 4687251"/>
              <a:gd name="connsiteX47838" fmla="*/ 3676327 w 8079933"/>
              <a:gd name="connsiteY47838" fmla="*/ 347332 h 4687251"/>
              <a:gd name="connsiteX47839" fmla="*/ 3675459 w 8079933"/>
              <a:gd name="connsiteY47839" fmla="*/ 349281 h 4687251"/>
              <a:gd name="connsiteX47840" fmla="*/ 3673614 w 8079933"/>
              <a:gd name="connsiteY47840" fmla="*/ 349281 h 4687251"/>
              <a:gd name="connsiteX47841" fmla="*/ 3670793 w 8079933"/>
              <a:gd name="connsiteY47841" fmla="*/ 348739 h 4687251"/>
              <a:gd name="connsiteX47842" fmla="*/ 3669165 w 8079933"/>
              <a:gd name="connsiteY47842" fmla="*/ 349713 h 4687251"/>
              <a:gd name="connsiteX47843" fmla="*/ 3667103 w 8079933"/>
              <a:gd name="connsiteY47843" fmla="*/ 352312 h 4687251"/>
              <a:gd name="connsiteX47844" fmla="*/ 3665584 w 8079933"/>
              <a:gd name="connsiteY47844" fmla="*/ 352312 h 4687251"/>
              <a:gd name="connsiteX47845" fmla="*/ 3663196 w 8079933"/>
              <a:gd name="connsiteY47845" fmla="*/ 352312 h 4687251"/>
              <a:gd name="connsiteX47846" fmla="*/ 3660809 w 8079933"/>
              <a:gd name="connsiteY47846" fmla="*/ 353936 h 4687251"/>
              <a:gd name="connsiteX47847" fmla="*/ 3658460 w 8079933"/>
              <a:gd name="connsiteY47847" fmla="*/ 354752 h 4687251"/>
              <a:gd name="connsiteX47848" fmla="*/ 3656794 w 8079933"/>
              <a:gd name="connsiteY47848" fmla="*/ 353828 h 4687251"/>
              <a:gd name="connsiteX47849" fmla="*/ 3653484 w 8079933"/>
              <a:gd name="connsiteY47849" fmla="*/ 353828 h 4687251"/>
              <a:gd name="connsiteX47850" fmla="*/ 3650500 w 8079933"/>
              <a:gd name="connsiteY47850" fmla="*/ 352637 h 4687251"/>
              <a:gd name="connsiteX47851" fmla="*/ 3645400 w 8079933"/>
              <a:gd name="connsiteY47851" fmla="*/ 353719 h 4687251"/>
              <a:gd name="connsiteX47852" fmla="*/ 3641384 w 8079933"/>
              <a:gd name="connsiteY47852" fmla="*/ 354586 h 4687251"/>
              <a:gd name="connsiteX47853" fmla="*/ 3637370 w 8079933"/>
              <a:gd name="connsiteY47853" fmla="*/ 353719 h 4687251"/>
              <a:gd name="connsiteX47854" fmla="*/ 3633463 w 8079933"/>
              <a:gd name="connsiteY47854" fmla="*/ 353719 h 4687251"/>
              <a:gd name="connsiteX47855" fmla="*/ 3637478 w 8079933"/>
              <a:gd name="connsiteY47855" fmla="*/ 355344 h 4687251"/>
              <a:gd name="connsiteX47856" fmla="*/ 3640951 w 8079933"/>
              <a:gd name="connsiteY47856" fmla="*/ 355344 h 4687251"/>
              <a:gd name="connsiteX47857" fmla="*/ 3650283 w 8079933"/>
              <a:gd name="connsiteY47857" fmla="*/ 355344 h 4687251"/>
              <a:gd name="connsiteX47858" fmla="*/ 3653213 w 8079933"/>
              <a:gd name="connsiteY47858" fmla="*/ 353828 h 4687251"/>
              <a:gd name="connsiteX47859" fmla="*/ 3653484 w 8079933"/>
              <a:gd name="connsiteY47859" fmla="*/ 353828 h 4687251"/>
              <a:gd name="connsiteX47860" fmla="*/ 3654298 w 8079933"/>
              <a:gd name="connsiteY47860" fmla="*/ 354152 h 4687251"/>
              <a:gd name="connsiteX47861" fmla="*/ 3658313 w 8079933"/>
              <a:gd name="connsiteY47861" fmla="*/ 354802 h 4687251"/>
              <a:gd name="connsiteX47862" fmla="*/ 3658460 w 8079933"/>
              <a:gd name="connsiteY47862" fmla="*/ 354752 h 4687251"/>
              <a:gd name="connsiteX47863" fmla="*/ 3660701 w 8079933"/>
              <a:gd name="connsiteY47863" fmla="*/ 355994 h 4687251"/>
              <a:gd name="connsiteX47864" fmla="*/ 3666018 w 8079933"/>
              <a:gd name="connsiteY47864" fmla="*/ 357184 h 4687251"/>
              <a:gd name="connsiteX47865" fmla="*/ 3675676 w 8079933"/>
              <a:gd name="connsiteY47865" fmla="*/ 357184 h 4687251"/>
              <a:gd name="connsiteX47866" fmla="*/ 3678931 w 8079933"/>
              <a:gd name="connsiteY47866" fmla="*/ 359891 h 4687251"/>
              <a:gd name="connsiteX47867" fmla="*/ 3680776 w 8079933"/>
              <a:gd name="connsiteY47867" fmla="*/ 359891 h 4687251"/>
              <a:gd name="connsiteX47868" fmla="*/ 3683489 w 8079933"/>
              <a:gd name="connsiteY47868" fmla="*/ 357076 h 4687251"/>
              <a:gd name="connsiteX47869" fmla="*/ 3687179 w 8079933"/>
              <a:gd name="connsiteY47869" fmla="*/ 357076 h 4687251"/>
              <a:gd name="connsiteX47870" fmla="*/ 3689783 w 8079933"/>
              <a:gd name="connsiteY47870" fmla="*/ 358159 h 4687251"/>
              <a:gd name="connsiteX47871" fmla="*/ 3691411 w 8079933"/>
              <a:gd name="connsiteY47871" fmla="*/ 360649 h 4687251"/>
              <a:gd name="connsiteX47872" fmla="*/ 3695752 w 8079933"/>
              <a:gd name="connsiteY47872" fmla="*/ 362057 h 4687251"/>
              <a:gd name="connsiteX47873" fmla="*/ 3698030 w 8079933"/>
              <a:gd name="connsiteY47873" fmla="*/ 365196 h 4687251"/>
              <a:gd name="connsiteX47874" fmla="*/ 3698030 w 8079933"/>
              <a:gd name="connsiteY47874" fmla="*/ 368337 h 4687251"/>
              <a:gd name="connsiteX47875" fmla="*/ 3694449 w 8079933"/>
              <a:gd name="connsiteY47875" fmla="*/ 371909 h 4687251"/>
              <a:gd name="connsiteX47876" fmla="*/ 3690760 w 8079933"/>
              <a:gd name="connsiteY47876" fmla="*/ 372559 h 4687251"/>
              <a:gd name="connsiteX47877" fmla="*/ 3688915 w 8079933"/>
              <a:gd name="connsiteY47877" fmla="*/ 372559 h 4687251"/>
              <a:gd name="connsiteX47878" fmla="*/ 3689892 w 8079933"/>
              <a:gd name="connsiteY47878" fmla="*/ 374832 h 4687251"/>
              <a:gd name="connsiteX47879" fmla="*/ 3689892 w 8079933"/>
              <a:gd name="connsiteY47879" fmla="*/ 378405 h 4687251"/>
              <a:gd name="connsiteX47880" fmla="*/ 3685876 w 8079933"/>
              <a:gd name="connsiteY47880" fmla="*/ 380896 h 4687251"/>
              <a:gd name="connsiteX47881" fmla="*/ 3677195 w 8079933"/>
              <a:gd name="connsiteY47881" fmla="*/ 383169 h 4687251"/>
              <a:gd name="connsiteX47882" fmla="*/ 3673180 w 8079933"/>
              <a:gd name="connsiteY47882" fmla="*/ 382194 h 4687251"/>
              <a:gd name="connsiteX47883" fmla="*/ 3668730 w 8079933"/>
              <a:gd name="connsiteY47883" fmla="*/ 383495 h 4687251"/>
              <a:gd name="connsiteX47884" fmla="*/ 3660158 w 8079933"/>
              <a:gd name="connsiteY47884" fmla="*/ 383495 h 4687251"/>
              <a:gd name="connsiteX47885" fmla="*/ 3657336 w 8079933"/>
              <a:gd name="connsiteY47885" fmla="*/ 380788 h 4687251"/>
              <a:gd name="connsiteX47886" fmla="*/ 3648112 w 8079933"/>
              <a:gd name="connsiteY47886" fmla="*/ 373749 h 4687251"/>
              <a:gd name="connsiteX47887" fmla="*/ 3642144 w 8079933"/>
              <a:gd name="connsiteY47887" fmla="*/ 373100 h 4687251"/>
              <a:gd name="connsiteX47888" fmla="*/ 3638671 w 8079933"/>
              <a:gd name="connsiteY47888" fmla="*/ 373100 h 4687251"/>
              <a:gd name="connsiteX47889" fmla="*/ 3634657 w 8079933"/>
              <a:gd name="connsiteY47889" fmla="*/ 376240 h 4687251"/>
              <a:gd name="connsiteX47890" fmla="*/ 3631727 w 8079933"/>
              <a:gd name="connsiteY47890" fmla="*/ 381979 h 4687251"/>
              <a:gd name="connsiteX47891" fmla="*/ 3626952 w 8079933"/>
              <a:gd name="connsiteY47891" fmla="*/ 384794 h 4687251"/>
              <a:gd name="connsiteX47892" fmla="*/ 3624999 w 8079933"/>
              <a:gd name="connsiteY47892" fmla="*/ 387284 h 4687251"/>
              <a:gd name="connsiteX47893" fmla="*/ 3621743 w 8079933"/>
              <a:gd name="connsiteY47893" fmla="*/ 387933 h 4687251"/>
              <a:gd name="connsiteX47894" fmla="*/ 3624131 w 8079933"/>
              <a:gd name="connsiteY47894" fmla="*/ 389232 h 4687251"/>
              <a:gd name="connsiteX47895" fmla="*/ 3627386 w 8079933"/>
              <a:gd name="connsiteY47895" fmla="*/ 389232 h 4687251"/>
              <a:gd name="connsiteX47896" fmla="*/ 3628362 w 8079933"/>
              <a:gd name="connsiteY47896" fmla="*/ 391722 h 4687251"/>
              <a:gd name="connsiteX47897" fmla="*/ 3628362 w 8079933"/>
              <a:gd name="connsiteY47897" fmla="*/ 395620 h 4687251"/>
              <a:gd name="connsiteX47898" fmla="*/ 3626626 w 8079933"/>
              <a:gd name="connsiteY47898" fmla="*/ 397028 h 4687251"/>
              <a:gd name="connsiteX47899" fmla="*/ 3623587 w 8079933"/>
              <a:gd name="connsiteY47899" fmla="*/ 397028 h 4687251"/>
              <a:gd name="connsiteX47900" fmla="*/ 3623587 w 8079933"/>
              <a:gd name="connsiteY47900" fmla="*/ 400384 h 4687251"/>
              <a:gd name="connsiteX47901" fmla="*/ 3625432 w 8079933"/>
              <a:gd name="connsiteY47901" fmla="*/ 402766 h 4687251"/>
              <a:gd name="connsiteX47902" fmla="*/ 3629665 w 8079933"/>
              <a:gd name="connsiteY47902" fmla="*/ 404498 h 4687251"/>
              <a:gd name="connsiteX47903" fmla="*/ 3632052 w 8079933"/>
              <a:gd name="connsiteY47903" fmla="*/ 403741 h 4687251"/>
              <a:gd name="connsiteX47904" fmla="*/ 3633246 w 8079933"/>
              <a:gd name="connsiteY47904" fmla="*/ 401467 h 4687251"/>
              <a:gd name="connsiteX47905" fmla="*/ 3638129 w 8079933"/>
              <a:gd name="connsiteY47905" fmla="*/ 398761 h 4687251"/>
              <a:gd name="connsiteX47906" fmla="*/ 3641276 w 8079933"/>
              <a:gd name="connsiteY47906" fmla="*/ 394754 h 4687251"/>
              <a:gd name="connsiteX47907" fmla="*/ 3646593 w 8079933"/>
              <a:gd name="connsiteY47907" fmla="*/ 392372 h 4687251"/>
              <a:gd name="connsiteX47908" fmla="*/ 3653430 w 8079933"/>
              <a:gd name="connsiteY47908" fmla="*/ 390531 h 4687251"/>
              <a:gd name="connsiteX47909" fmla="*/ 3659616 w 8079933"/>
              <a:gd name="connsiteY47909" fmla="*/ 388474 h 4687251"/>
              <a:gd name="connsiteX47910" fmla="*/ 3663196 w 8079933"/>
              <a:gd name="connsiteY47910" fmla="*/ 387825 h 4687251"/>
              <a:gd name="connsiteX47911" fmla="*/ 3665258 w 8079933"/>
              <a:gd name="connsiteY47911" fmla="*/ 389557 h 4687251"/>
              <a:gd name="connsiteX47912" fmla="*/ 3667212 w 8079933"/>
              <a:gd name="connsiteY47912" fmla="*/ 391181 h 4687251"/>
              <a:gd name="connsiteX47913" fmla="*/ 3671660 w 8079933"/>
              <a:gd name="connsiteY47913" fmla="*/ 392372 h 4687251"/>
              <a:gd name="connsiteX47914" fmla="*/ 3674591 w 8079933"/>
              <a:gd name="connsiteY47914" fmla="*/ 394863 h 4687251"/>
              <a:gd name="connsiteX47915" fmla="*/ 3675133 w 8079933"/>
              <a:gd name="connsiteY47915" fmla="*/ 396702 h 4687251"/>
              <a:gd name="connsiteX47916" fmla="*/ 3673723 w 8079933"/>
              <a:gd name="connsiteY47916" fmla="*/ 398219 h 4687251"/>
              <a:gd name="connsiteX47917" fmla="*/ 3668405 w 8079933"/>
              <a:gd name="connsiteY47917" fmla="*/ 402874 h 4687251"/>
              <a:gd name="connsiteX47918" fmla="*/ 3665801 w 8079933"/>
              <a:gd name="connsiteY47918" fmla="*/ 408396 h 4687251"/>
              <a:gd name="connsiteX47919" fmla="*/ 3662437 w 8079933"/>
              <a:gd name="connsiteY47919" fmla="*/ 412077 h 4687251"/>
              <a:gd name="connsiteX47920" fmla="*/ 3660809 w 8079933"/>
              <a:gd name="connsiteY47920" fmla="*/ 416084 h 4687251"/>
              <a:gd name="connsiteX47921" fmla="*/ 3654081 w 8079933"/>
              <a:gd name="connsiteY47921" fmla="*/ 421172 h 4687251"/>
              <a:gd name="connsiteX47922" fmla="*/ 3650283 w 8079933"/>
              <a:gd name="connsiteY47922" fmla="*/ 427344 h 4687251"/>
              <a:gd name="connsiteX47923" fmla="*/ 3642687 w 8079933"/>
              <a:gd name="connsiteY47923" fmla="*/ 438170 h 4687251"/>
              <a:gd name="connsiteX47924" fmla="*/ 3639539 w 8079933"/>
              <a:gd name="connsiteY47924" fmla="*/ 443151 h 4687251"/>
              <a:gd name="connsiteX47925" fmla="*/ 3636285 w 8079933"/>
              <a:gd name="connsiteY47925" fmla="*/ 446291 h 4687251"/>
              <a:gd name="connsiteX47926" fmla="*/ 3636285 w 8079933"/>
              <a:gd name="connsiteY47926" fmla="*/ 452462 h 4687251"/>
              <a:gd name="connsiteX47927" fmla="*/ 3634765 w 8079933"/>
              <a:gd name="connsiteY47927" fmla="*/ 457443 h 4687251"/>
              <a:gd name="connsiteX47928" fmla="*/ 3634765 w 8079933"/>
              <a:gd name="connsiteY47928" fmla="*/ 460475 h 4687251"/>
              <a:gd name="connsiteX47929" fmla="*/ 3631618 w 8079933"/>
              <a:gd name="connsiteY47929" fmla="*/ 463939 h 4687251"/>
              <a:gd name="connsiteX47930" fmla="*/ 3631618 w 8079933"/>
              <a:gd name="connsiteY47930" fmla="*/ 470111 h 4687251"/>
              <a:gd name="connsiteX47931" fmla="*/ 3629556 w 8079933"/>
              <a:gd name="connsiteY47931" fmla="*/ 476823 h 4687251"/>
              <a:gd name="connsiteX47932" fmla="*/ 3627277 w 8079933"/>
              <a:gd name="connsiteY47932" fmla="*/ 485052 h 4687251"/>
              <a:gd name="connsiteX47933" fmla="*/ 3629339 w 8079933"/>
              <a:gd name="connsiteY47933" fmla="*/ 488083 h 4687251"/>
              <a:gd name="connsiteX47934" fmla="*/ 3629990 w 8079933"/>
              <a:gd name="connsiteY47934" fmla="*/ 492847 h 4687251"/>
              <a:gd name="connsiteX47935" fmla="*/ 3628797 w 8079933"/>
              <a:gd name="connsiteY47935" fmla="*/ 499561 h 4687251"/>
              <a:gd name="connsiteX47936" fmla="*/ 3625324 w 8079933"/>
              <a:gd name="connsiteY47936" fmla="*/ 501942 h 4687251"/>
              <a:gd name="connsiteX47937" fmla="*/ 3622611 w 8079933"/>
              <a:gd name="connsiteY47937" fmla="*/ 504866 h 4687251"/>
              <a:gd name="connsiteX47938" fmla="*/ 3623696 w 8079933"/>
              <a:gd name="connsiteY47938" fmla="*/ 510279 h 4687251"/>
              <a:gd name="connsiteX47939" fmla="*/ 3622937 w 8079933"/>
              <a:gd name="connsiteY47939" fmla="*/ 512769 h 4687251"/>
              <a:gd name="connsiteX47940" fmla="*/ 3620549 w 8079933"/>
              <a:gd name="connsiteY47940" fmla="*/ 516125 h 4687251"/>
              <a:gd name="connsiteX47941" fmla="*/ 3619898 w 8079933"/>
              <a:gd name="connsiteY47941" fmla="*/ 521647 h 4687251"/>
              <a:gd name="connsiteX47942" fmla="*/ 3618053 w 8079933"/>
              <a:gd name="connsiteY47942" fmla="*/ 526952 h 4687251"/>
              <a:gd name="connsiteX47943" fmla="*/ 3614038 w 8079933"/>
              <a:gd name="connsiteY47943" fmla="*/ 530417 h 4687251"/>
              <a:gd name="connsiteX47944" fmla="*/ 3610892 w 8079933"/>
              <a:gd name="connsiteY47944" fmla="*/ 529768 h 4687251"/>
              <a:gd name="connsiteX47945" fmla="*/ 3609915 w 8079933"/>
              <a:gd name="connsiteY47945" fmla="*/ 526952 h 4687251"/>
              <a:gd name="connsiteX47946" fmla="*/ 3609915 w 8079933"/>
              <a:gd name="connsiteY47946" fmla="*/ 523812 h 4687251"/>
              <a:gd name="connsiteX47947" fmla="*/ 3607094 w 8079933"/>
              <a:gd name="connsiteY47947" fmla="*/ 521864 h 4687251"/>
              <a:gd name="connsiteX47948" fmla="*/ 3605249 w 8079933"/>
              <a:gd name="connsiteY47948" fmla="*/ 521864 h 4687251"/>
              <a:gd name="connsiteX47949" fmla="*/ 3608721 w 8079933"/>
              <a:gd name="connsiteY47949" fmla="*/ 519482 h 4687251"/>
              <a:gd name="connsiteX47950" fmla="*/ 3606985 w 8079933"/>
              <a:gd name="connsiteY47950" fmla="*/ 517425 h 4687251"/>
              <a:gd name="connsiteX47951" fmla="*/ 3604055 w 8079933"/>
              <a:gd name="connsiteY47951" fmla="*/ 516342 h 4687251"/>
              <a:gd name="connsiteX47952" fmla="*/ 3601776 w 8079933"/>
              <a:gd name="connsiteY47952" fmla="*/ 517750 h 4687251"/>
              <a:gd name="connsiteX47953" fmla="*/ 3599171 w 8079933"/>
              <a:gd name="connsiteY47953" fmla="*/ 517750 h 4687251"/>
              <a:gd name="connsiteX47954" fmla="*/ 3597327 w 8079933"/>
              <a:gd name="connsiteY47954" fmla="*/ 519699 h 4687251"/>
              <a:gd name="connsiteX47955" fmla="*/ 3597327 w 8079933"/>
              <a:gd name="connsiteY47955" fmla="*/ 521647 h 4687251"/>
              <a:gd name="connsiteX47956" fmla="*/ 3598846 w 8079933"/>
              <a:gd name="connsiteY47956" fmla="*/ 522730 h 4687251"/>
              <a:gd name="connsiteX47957" fmla="*/ 3598846 w 8079933"/>
              <a:gd name="connsiteY47957" fmla="*/ 525329 h 4687251"/>
              <a:gd name="connsiteX47958" fmla="*/ 3596893 w 8079933"/>
              <a:gd name="connsiteY47958" fmla="*/ 526952 h 4687251"/>
              <a:gd name="connsiteX47959" fmla="*/ 3596893 w 8079933"/>
              <a:gd name="connsiteY47959" fmla="*/ 528684 h 4687251"/>
              <a:gd name="connsiteX47960" fmla="*/ 3599606 w 8079933"/>
              <a:gd name="connsiteY47960" fmla="*/ 531392 h 4687251"/>
              <a:gd name="connsiteX47961" fmla="*/ 3602753 w 8079933"/>
              <a:gd name="connsiteY47961" fmla="*/ 532799 h 4687251"/>
              <a:gd name="connsiteX47962" fmla="*/ 3605249 w 8079933"/>
              <a:gd name="connsiteY47962" fmla="*/ 536047 h 4687251"/>
              <a:gd name="connsiteX47963" fmla="*/ 3607635 w 8079933"/>
              <a:gd name="connsiteY47963" fmla="*/ 538970 h 4687251"/>
              <a:gd name="connsiteX47964" fmla="*/ 3609047 w 8079933"/>
              <a:gd name="connsiteY47964" fmla="*/ 544384 h 4687251"/>
              <a:gd name="connsiteX47965" fmla="*/ 3613387 w 8079933"/>
              <a:gd name="connsiteY47965" fmla="*/ 545900 h 4687251"/>
              <a:gd name="connsiteX47966" fmla="*/ 3617185 w 8079933"/>
              <a:gd name="connsiteY47966" fmla="*/ 547740 h 4687251"/>
              <a:gd name="connsiteX47967" fmla="*/ 3621960 w 8079933"/>
              <a:gd name="connsiteY47967" fmla="*/ 552180 h 4687251"/>
              <a:gd name="connsiteX47968" fmla="*/ 3624131 w 8079933"/>
              <a:gd name="connsiteY47968" fmla="*/ 558027 h 4687251"/>
              <a:gd name="connsiteX47969" fmla="*/ 3622503 w 8079933"/>
              <a:gd name="connsiteY47969" fmla="*/ 560516 h 4687251"/>
              <a:gd name="connsiteX47970" fmla="*/ 3619790 w 8079933"/>
              <a:gd name="connsiteY47970" fmla="*/ 561166 h 4687251"/>
              <a:gd name="connsiteX47971" fmla="*/ 3616208 w 8079933"/>
              <a:gd name="connsiteY47971" fmla="*/ 558784 h 4687251"/>
              <a:gd name="connsiteX47972" fmla="*/ 3611217 w 8079933"/>
              <a:gd name="connsiteY47972" fmla="*/ 553587 h 4687251"/>
              <a:gd name="connsiteX47973" fmla="*/ 3610566 w 8079933"/>
              <a:gd name="connsiteY47973" fmla="*/ 551097 h 4687251"/>
              <a:gd name="connsiteX47974" fmla="*/ 3607962 w 8079933"/>
              <a:gd name="connsiteY47974" fmla="*/ 550230 h 4687251"/>
              <a:gd name="connsiteX47975" fmla="*/ 3606442 w 8079933"/>
              <a:gd name="connsiteY47975" fmla="*/ 548715 h 4687251"/>
              <a:gd name="connsiteX47976" fmla="*/ 3604597 w 8079933"/>
              <a:gd name="connsiteY47976" fmla="*/ 550230 h 4687251"/>
              <a:gd name="connsiteX47977" fmla="*/ 3603838 w 8079933"/>
              <a:gd name="connsiteY47977" fmla="*/ 552071 h 4687251"/>
              <a:gd name="connsiteX47978" fmla="*/ 3604814 w 8079933"/>
              <a:gd name="connsiteY47978" fmla="*/ 555211 h 4687251"/>
              <a:gd name="connsiteX47979" fmla="*/ 3606876 w 8079933"/>
              <a:gd name="connsiteY47979" fmla="*/ 558351 h 4687251"/>
              <a:gd name="connsiteX47980" fmla="*/ 3606876 w 8079933"/>
              <a:gd name="connsiteY47980" fmla="*/ 560516 h 4687251"/>
              <a:gd name="connsiteX47981" fmla="*/ 3603621 w 8079933"/>
              <a:gd name="connsiteY47981" fmla="*/ 559867 h 4687251"/>
              <a:gd name="connsiteX47982" fmla="*/ 3602536 w 8079933"/>
              <a:gd name="connsiteY47982" fmla="*/ 559217 h 4687251"/>
              <a:gd name="connsiteX47983" fmla="*/ 3601451 w 8079933"/>
              <a:gd name="connsiteY47983" fmla="*/ 560733 h 4687251"/>
              <a:gd name="connsiteX47984" fmla="*/ 3602753 w 8079933"/>
              <a:gd name="connsiteY47984" fmla="*/ 562573 h 4687251"/>
              <a:gd name="connsiteX47985" fmla="*/ 3605899 w 8079933"/>
              <a:gd name="connsiteY47985" fmla="*/ 564631 h 4687251"/>
              <a:gd name="connsiteX47986" fmla="*/ 3605899 w 8079933"/>
              <a:gd name="connsiteY47986" fmla="*/ 566147 h 4687251"/>
              <a:gd name="connsiteX47987" fmla="*/ 3604163 w 8079933"/>
              <a:gd name="connsiteY47987" fmla="*/ 567121 h 4687251"/>
              <a:gd name="connsiteX47988" fmla="*/ 3605682 w 8079933"/>
              <a:gd name="connsiteY47988" fmla="*/ 568745 h 4687251"/>
              <a:gd name="connsiteX47989" fmla="*/ 3608504 w 8079933"/>
              <a:gd name="connsiteY47989" fmla="*/ 568745 h 4687251"/>
              <a:gd name="connsiteX47990" fmla="*/ 3612845 w 8079933"/>
              <a:gd name="connsiteY47990" fmla="*/ 570261 h 4687251"/>
              <a:gd name="connsiteX47991" fmla="*/ 3613713 w 8079933"/>
              <a:gd name="connsiteY47991" fmla="*/ 572210 h 4687251"/>
              <a:gd name="connsiteX47992" fmla="*/ 3613713 w 8079933"/>
              <a:gd name="connsiteY47992" fmla="*/ 575674 h 4687251"/>
              <a:gd name="connsiteX47993" fmla="*/ 3613062 w 8079933"/>
              <a:gd name="connsiteY47993" fmla="*/ 577406 h 4687251"/>
              <a:gd name="connsiteX47994" fmla="*/ 3614798 w 8079933"/>
              <a:gd name="connsiteY47994" fmla="*/ 579030 h 4687251"/>
              <a:gd name="connsiteX47995" fmla="*/ 3617511 w 8079933"/>
              <a:gd name="connsiteY47995" fmla="*/ 577948 h 4687251"/>
              <a:gd name="connsiteX47996" fmla="*/ 3621743 w 8079933"/>
              <a:gd name="connsiteY47996" fmla="*/ 573400 h 4687251"/>
              <a:gd name="connsiteX47997" fmla="*/ 3623696 w 8079933"/>
              <a:gd name="connsiteY47997" fmla="*/ 570261 h 4687251"/>
              <a:gd name="connsiteX47998" fmla="*/ 3626735 w 8079933"/>
              <a:gd name="connsiteY47998" fmla="*/ 569719 h 4687251"/>
              <a:gd name="connsiteX47999" fmla="*/ 3626735 w 8079933"/>
              <a:gd name="connsiteY47999" fmla="*/ 571559 h 4687251"/>
              <a:gd name="connsiteX48000" fmla="*/ 3628037 w 8079933"/>
              <a:gd name="connsiteY48000" fmla="*/ 573509 h 4687251"/>
              <a:gd name="connsiteX48001" fmla="*/ 3629882 w 8079933"/>
              <a:gd name="connsiteY48001" fmla="*/ 573509 h 4687251"/>
              <a:gd name="connsiteX48002" fmla="*/ 3632595 w 8079933"/>
              <a:gd name="connsiteY48002" fmla="*/ 575782 h 4687251"/>
              <a:gd name="connsiteX48003" fmla="*/ 3636285 w 8079933"/>
              <a:gd name="connsiteY48003" fmla="*/ 577406 h 4687251"/>
              <a:gd name="connsiteX48004" fmla="*/ 3637478 w 8079933"/>
              <a:gd name="connsiteY48004" fmla="*/ 581196 h 4687251"/>
              <a:gd name="connsiteX48005" fmla="*/ 3637478 w 8079933"/>
              <a:gd name="connsiteY48005" fmla="*/ 584444 h 4687251"/>
              <a:gd name="connsiteX48006" fmla="*/ 3635958 w 8079933"/>
              <a:gd name="connsiteY48006" fmla="*/ 586285 h 4687251"/>
              <a:gd name="connsiteX48007" fmla="*/ 3635416 w 8079933"/>
              <a:gd name="connsiteY48007" fmla="*/ 592565 h 4687251"/>
              <a:gd name="connsiteX48008" fmla="*/ 3634223 w 8079933"/>
              <a:gd name="connsiteY48008" fmla="*/ 598087 h 4687251"/>
              <a:gd name="connsiteX48009" fmla="*/ 3634223 w 8079933"/>
              <a:gd name="connsiteY48009" fmla="*/ 600360 h 4687251"/>
              <a:gd name="connsiteX48010" fmla="*/ 3632378 w 8079933"/>
              <a:gd name="connsiteY48010" fmla="*/ 606532 h 4687251"/>
              <a:gd name="connsiteX48011" fmla="*/ 3630099 w 8079933"/>
              <a:gd name="connsiteY48011" fmla="*/ 609455 h 4687251"/>
              <a:gd name="connsiteX48012" fmla="*/ 3629448 w 8079933"/>
              <a:gd name="connsiteY48012" fmla="*/ 613569 h 4687251"/>
              <a:gd name="connsiteX48013" fmla="*/ 3628471 w 8079933"/>
              <a:gd name="connsiteY48013" fmla="*/ 615626 h 4687251"/>
              <a:gd name="connsiteX48014" fmla="*/ 3626952 w 8079933"/>
              <a:gd name="connsiteY48014" fmla="*/ 614543 h 4687251"/>
              <a:gd name="connsiteX48015" fmla="*/ 3624673 w 8079933"/>
              <a:gd name="connsiteY48015" fmla="*/ 610970 h 4687251"/>
              <a:gd name="connsiteX48016" fmla="*/ 3619790 w 8079933"/>
              <a:gd name="connsiteY48016" fmla="*/ 609238 h 4687251"/>
              <a:gd name="connsiteX48017" fmla="*/ 3617511 w 8079933"/>
              <a:gd name="connsiteY48017" fmla="*/ 606207 h 4687251"/>
              <a:gd name="connsiteX48018" fmla="*/ 3615340 w 8079933"/>
              <a:gd name="connsiteY48018" fmla="*/ 605449 h 4687251"/>
              <a:gd name="connsiteX48019" fmla="*/ 3613821 w 8079933"/>
              <a:gd name="connsiteY48019" fmla="*/ 606098 h 4687251"/>
              <a:gd name="connsiteX48020" fmla="*/ 3610132 w 8079933"/>
              <a:gd name="connsiteY48020" fmla="*/ 605232 h 4687251"/>
              <a:gd name="connsiteX48021" fmla="*/ 3609264 w 8079933"/>
              <a:gd name="connsiteY48021" fmla="*/ 603283 h 4687251"/>
              <a:gd name="connsiteX48022" fmla="*/ 3610023 w 8079933"/>
              <a:gd name="connsiteY48022" fmla="*/ 600143 h 4687251"/>
              <a:gd name="connsiteX48023" fmla="*/ 3607527 w 8079933"/>
              <a:gd name="connsiteY48023" fmla="*/ 597112 h 4687251"/>
              <a:gd name="connsiteX48024" fmla="*/ 3605357 w 8079933"/>
              <a:gd name="connsiteY48024" fmla="*/ 596463 h 4687251"/>
              <a:gd name="connsiteX48025" fmla="*/ 3603621 w 8079933"/>
              <a:gd name="connsiteY48025" fmla="*/ 597545 h 4687251"/>
              <a:gd name="connsiteX48026" fmla="*/ 3601342 w 8079933"/>
              <a:gd name="connsiteY48026" fmla="*/ 596679 h 4687251"/>
              <a:gd name="connsiteX48027" fmla="*/ 3598303 w 8079933"/>
              <a:gd name="connsiteY48027" fmla="*/ 593322 h 4687251"/>
              <a:gd name="connsiteX48028" fmla="*/ 3593963 w 8079933"/>
              <a:gd name="connsiteY48028" fmla="*/ 593322 h 4687251"/>
              <a:gd name="connsiteX48029" fmla="*/ 3590599 w 8079933"/>
              <a:gd name="connsiteY48029" fmla="*/ 594730 h 4687251"/>
              <a:gd name="connsiteX48030" fmla="*/ 3591792 w 8079933"/>
              <a:gd name="connsiteY48030" fmla="*/ 596245 h 4687251"/>
              <a:gd name="connsiteX48031" fmla="*/ 3591792 w 8079933"/>
              <a:gd name="connsiteY48031" fmla="*/ 598628 h 4687251"/>
              <a:gd name="connsiteX48032" fmla="*/ 3589514 w 8079933"/>
              <a:gd name="connsiteY48032" fmla="*/ 598628 h 4687251"/>
              <a:gd name="connsiteX48033" fmla="*/ 3587669 w 8079933"/>
              <a:gd name="connsiteY48033" fmla="*/ 597545 h 4687251"/>
              <a:gd name="connsiteX48034" fmla="*/ 3583219 w 8079933"/>
              <a:gd name="connsiteY48034" fmla="*/ 597545 h 4687251"/>
              <a:gd name="connsiteX48035" fmla="*/ 3580181 w 8079933"/>
              <a:gd name="connsiteY48035" fmla="*/ 598736 h 4687251"/>
              <a:gd name="connsiteX48036" fmla="*/ 3581266 w 8079933"/>
              <a:gd name="connsiteY48036" fmla="*/ 599818 h 4687251"/>
              <a:gd name="connsiteX48037" fmla="*/ 3584413 w 8079933"/>
              <a:gd name="connsiteY48037" fmla="*/ 599818 h 4687251"/>
              <a:gd name="connsiteX48038" fmla="*/ 3588429 w 8079933"/>
              <a:gd name="connsiteY48038" fmla="*/ 600901 h 4687251"/>
              <a:gd name="connsiteX48039" fmla="*/ 3589622 w 8079933"/>
              <a:gd name="connsiteY48039" fmla="*/ 602309 h 4687251"/>
              <a:gd name="connsiteX48040" fmla="*/ 3589622 w 8079933"/>
              <a:gd name="connsiteY48040" fmla="*/ 603716 h 4687251"/>
              <a:gd name="connsiteX48041" fmla="*/ 3586476 w 8079933"/>
              <a:gd name="connsiteY48041" fmla="*/ 604691 h 4687251"/>
              <a:gd name="connsiteX48042" fmla="*/ 3580832 w 8079933"/>
              <a:gd name="connsiteY48042" fmla="*/ 609779 h 4687251"/>
              <a:gd name="connsiteX48043" fmla="*/ 3577251 w 8079933"/>
              <a:gd name="connsiteY48043" fmla="*/ 612595 h 4687251"/>
              <a:gd name="connsiteX48044" fmla="*/ 3574647 w 8079933"/>
              <a:gd name="connsiteY48044" fmla="*/ 612053 h 4687251"/>
              <a:gd name="connsiteX48045" fmla="*/ 3573019 w 8079933"/>
              <a:gd name="connsiteY48045" fmla="*/ 609671 h 4687251"/>
              <a:gd name="connsiteX48046" fmla="*/ 3573019 w 8079933"/>
              <a:gd name="connsiteY48046" fmla="*/ 606640 h 4687251"/>
              <a:gd name="connsiteX48047" fmla="*/ 3571934 w 8079933"/>
              <a:gd name="connsiteY48047" fmla="*/ 605449 h 4687251"/>
              <a:gd name="connsiteX48048" fmla="*/ 3569438 w 8079933"/>
              <a:gd name="connsiteY48048" fmla="*/ 606532 h 4687251"/>
              <a:gd name="connsiteX48049" fmla="*/ 3569438 w 8079933"/>
              <a:gd name="connsiteY48049" fmla="*/ 609779 h 4687251"/>
              <a:gd name="connsiteX48050" fmla="*/ 3570415 w 8079933"/>
              <a:gd name="connsiteY48050" fmla="*/ 612595 h 4687251"/>
              <a:gd name="connsiteX48051" fmla="*/ 3568787 w 8079933"/>
              <a:gd name="connsiteY48051" fmla="*/ 614652 h 4687251"/>
              <a:gd name="connsiteX48052" fmla="*/ 3569980 w 8079933"/>
              <a:gd name="connsiteY48052" fmla="*/ 616708 h 4687251"/>
              <a:gd name="connsiteX48053" fmla="*/ 3570524 w 8079933"/>
              <a:gd name="connsiteY48053" fmla="*/ 619415 h 4687251"/>
              <a:gd name="connsiteX48054" fmla="*/ 3568896 w 8079933"/>
              <a:gd name="connsiteY48054" fmla="*/ 621581 h 4687251"/>
              <a:gd name="connsiteX48055" fmla="*/ 3570306 w 8079933"/>
              <a:gd name="connsiteY48055" fmla="*/ 623097 h 4687251"/>
              <a:gd name="connsiteX48056" fmla="*/ 3570306 w 8079933"/>
              <a:gd name="connsiteY48056" fmla="*/ 625696 h 4687251"/>
              <a:gd name="connsiteX48057" fmla="*/ 3568570 w 8079933"/>
              <a:gd name="connsiteY48057" fmla="*/ 626670 h 4687251"/>
              <a:gd name="connsiteX48058" fmla="*/ 3564012 w 8079933"/>
              <a:gd name="connsiteY48058" fmla="*/ 625154 h 4687251"/>
              <a:gd name="connsiteX48059" fmla="*/ 3561516 w 8079933"/>
              <a:gd name="connsiteY48059" fmla="*/ 625154 h 4687251"/>
              <a:gd name="connsiteX48060" fmla="*/ 3560323 w 8079933"/>
              <a:gd name="connsiteY48060" fmla="*/ 627428 h 4687251"/>
              <a:gd name="connsiteX48061" fmla="*/ 3563144 w 8079933"/>
              <a:gd name="connsiteY48061" fmla="*/ 629377 h 4687251"/>
              <a:gd name="connsiteX48062" fmla="*/ 3565965 w 8079933"/>
              <a:gd name="connsiteY48062" fmla="*/ 629377 h 4687251"/>
              <a:gd name="connsiteX48063" fmla="*/ 3571934 w 8079933"/>
              <a:gd name="connsiteY48063" fmla="*/ 629377 h 4687251"/>
              <a:gd name="connsiteX48064" fmla="*/ 3572693 w 8079933"/>
              <a:gd name="connsiteY48064" fmla="*/ 631001 h 4687251"/>
              <a:gd name="connsiteX48065" fmla="*/ 3572693 w 8079933"/>
              <a:gd name="connsiteY48065" fmla="*/ 634032 h 4687251"/>
              <a:gd name="connsiteX48066" fmla="*/ 3572693 w 8079933"/>
              <a:gd name="connsiteY48066" fmla="*/ 638254 h 4687251"/>
              <a:gd name="connsiteX48067" fmla="*/ 3573995 w 8079933"/>
              <a:gd name="connsiteY48067" fmla="*/ 638254 h 4687251"/>
              <a:gd name="connsiteX48068" fmla="*/ 3575515 w 8079933"/>
              <a:gd name="connsiteY48068" fmla="*/ 636089 h 4687251"/>
              <a:gd name="connsiteX48069" fmla="*/ 3580290 w 8079933"/>
              <a:gd name="connsiteY48069" fmla="*/ 635223 h 4687251"/>
              <a:gd name="connsiteX48070" fmla="*/ 3584739 w 8079933"/>
              <a:gd name="connsiteY48070" fmla="*/ 637064 h 4687251"/>
              <a:gd name="connsiteX48071" fmla="*/ 3586801 w 8079933"/>
              <a:gd name="connsiteY48071" fmla="*/ 638904 h 4687251"/>
              <a:gd name="connsiteX48072" fmla="*/ 3591901 w 8079933"/>
              <a:gd name="connsiteY48072" fmla="*/ 638904 h 4687251"/>
              <a:gd name="connsiteX48073" fmla="*/ 3595482 w 8079933"/>
              <a:gd name="connsiteY48073" fmla="*/ 639878 h 4687251"/>
              <a:gd name="connsiteX48074" fmla="*/ 3598195 w 8079933"/>
              <a:gd name="connsiteY48074" fmla="*/ 638904 h 4687251"/>
              <a:gd name="connsiteX48075" fmla="*/ 3600148 w 8079933"/>
              <a:gd name="connsiteY48075" fmla="*/ 637389 h 4687251"/>
              <a:gd name="connsiteX48076" fmla="*/ 3601884 w 8079933"/>
              <a:gd name="connsiteY48076" fmla="*/ 638254 h 4687251"/>
              <a:gd name="connsiteX48077" fmla="*/ 3601884 w 8079933"/>
              <a:gd name="connsiteY48077" fmla="*/ 640854 h 4687251"/>
              <a:gd name="connsiteX48078" fmla="*/ 3601884 w 8079933"/>
              <a:gd name="connsiteY48078" fmla="*/ 645292 h 4687251"/>
              <a:gd name="connsiteX48079" fmla="*/ 3601884 w 8079933"/>
              <a:gd name="connsiteY48079" fmla="*/ 647890 h 4687251"/>
              <a:gd name="connsiteX48080" fmla="*/ 3600908 w 8079933"/>
              <a:gd name="connsiteY48080" fmla="*/ 649406 h 4687251"/>
              <a:gd name="connsiteX48081" fmla="*/ 3598303 w 8079933"/>
              <a:gd name="connsiteY48081" fmla="*/ 650813 h 4687251"/>
              <a:gd name="connsiteX48082" fmla="*/ 3596350 w 8079933"/>
              <a:gd name="connsiteY48082" fmla="*/ 649406 h 4687251"/>
              <a:gd name="connsiteX48083" fmla="*/ 3593203 w 8079933"/>
              <a:gd name="connsiteY48083" fmla="*/ 648323 h 4687251"/>
              <a:gd name="connsiteX48084" fmla="*/ 3590165 w 8079933"/>
              <a:gd name="connsiteY48084" fmla="*/ 649839 h 4687251"/>
              <a:gd name="connsiteX48085" fmla="*/ 3587561 w 8079933"/>
              <a:gd name="connsiteY48085" fmla="*/ 650813 h 4687251"/>
              <a:gd name="connsiteX48086" fmla="*/ 3585281 w 8079933"/>
              <a:gd name="connsiteY48086" fmla="*/ 648864 h 4687251"/>
              <a:gd name="connsiteX48087" fmla="*/ 3579096 w 8079933"/>
              <a:gd name="connsiteY48087" fmla="*/ 649731 h 4687251"/>
              <a:gd name="connsiteX48088" fmla="*/ 3573995 w 8079933"/>
              <a:gd name="connsiteY48088" fmla="*/ 650813 h 4687251"/>
              <a:gd name="connsiteX48089" fmla="*/ 3571500 w 8079933"/>
              <a:gd name="connsiteY48089" fmla="*/ 650164 h 4687251"/>
              <a:gd name="connsiteX48090" fmla="*/ 3570524 w 8079933"/>
              <a:gd name="connsiteY48090" fmla="*/ 648431 h 4687251"/>
              <a:gd name="connsiteX48091" fmla="*/ 3569764 w 8079933"/>
              <a:gd name="connsiteY48091" fmla="*/ 650597 h 4687251"/>
              <a:gd name="connsiteX48092" fmla="*/ 3570740 w 8079933"/>
              <a:gd name="connsiteY48092" fmla="*/ 651680 h 4687251"/>
              <a:gd name="connsiteX48093" fmla="*/ 3571717 w 8079933"/>
              <a:gd name="connsiteY48093" fmla="*/ 653520 h 4687251"/>
              <a:gd name="connsiteX48094" fmla="*/ 3574430 w 8079933"/>
              <a:gd name="connsiteY48094" fmla="*/ 653520 h 4687251"/>
              <a:gd name="connsiteX48095" fmla="*/ 3577902 w 8079933"/>
              <a:gd name="connsiteY48095" fmla="*/ 652546 h 4687251"/>
              <a:gd name="connsiteX48096" fmla="*/ 3585499 w 8079933"/>
              <a:gd name="connsiteY48096" fmla="*/ 652546 h 4687251"/>
              <a:gd name="connsiteX48097" fmla="*/ 3588645 w 8079933"/>
              <a:gd name="connsiteY48097" fmla="*/ 654386 h 4687251"/>
              <a:gd name="connsiteX48098" fmla="*/ 3591142 w 8079933"/>
              <a:gd name="connsiteY48098" fmla="*/ 657093 h 4687251"/>
              <a:gd name="connsiteX48099" fmla="*/ 3593746 w 8079933"/>
              <a:gd name="connsiteY48099" fmla="*/ 657093 h 4687251"/>
              <a:gd name="connsiteX48100" fmla="*/ 3597001 w 8079933"/>
              <a:gd name="connsiteY48100" fmla="*/ 658176 h 4687251"/>
              <a:gd name="connsiteX48101" fmla="*/ 3599497 w 8079933"/>
              <a:gd name="connsiteY48101" fmla="*/ 660882 h 4687251"/>
              <a:gd name="connsiteX48102" fmla="*/ 3601993 w 8079933"/>
              <a:gd name="connsiteY48102" fmla="*/ 664888 h 4687251"/>
              <a:gd name="connsiteX48103" fmla="*/ 3605574 w 8079933"/>
              <a:gd name="connsiteY48103" fmla="*/ 668461 h 4687251"/>
              <a:gd name="connsiteX48104" fmla="*/ 3606334 w 8079933"/>
              <a:gd name="connsiteY48104" fmla="*/ 670519 h 4687251"/>
              <a:gd name="connsiteX48105" fmla="*/ 3605249 w 8079933"/>
              <a:gd name="connsiteY48105" fmla="*/ 670519 h 4687251"/>
              <a:gd name="connsiteX48106" fmla="*/ 3602427 w 8079933"/>
              <a:gd name="connsiteY48106" fmla="*/ 669761 h 4687251"/>
              <a:gd name="connsiteX48107" fmla="*/ 3600800 w 8079933"/>
              <a:gd name="connsiteY48107" fmla="*/ 668678 h 4687251"/>
              <a:gd name="connsiteX48108" fmla="*/ 3600800 w 8079933"/>
              <a:gd name="connsiteY48108" fmla="*/ 670194 h 4687251"/>
              <a:gd name="connsiteX48109" fmla="*/ 3600800 w 8079933"/>
              <a:gd name="connsiteY48109" fmla="*/ 672576 h 4687251"/>
              <a:gd name="connsiteX48110" fmla="*/ 3602644 w 8079933"/>
              <a:gd name="connsiteY48110" fmla="*/ 676149 h 4687251"/>
              <a:gd name="connsiteX48111" fmla="*/ 3602644 w 8079933"/>
              <a:gd name="connsiteY48111" fmla="*/ 681670 h 4687251"/>
              <a:gd name="connsiteX48112" fmla="*/ 3602644 w 8079933"/>
              <a:gd name="connsiteY48112" fmla="*/ 683727 h 4687251"/>
              <a:gd name="connsiteX48113" fmla="*/ 3603621 w 8079933"/>
              <a:gd name="connsiteY48113" fmla="*/ 687842 h 4687251"/>
              <a:gd name="connsiteX48114" fmla="*/ 3602969 w 8079933"/>
              <a:gd name="connsiteY48114" fmla="*/ 690441 h 4687251"/>
              <a:gd name="connsiteX48115" fmla="*/ 3601559 w 8079933"/>
              <a:gd name="connsiteY48115" fmla="*/ 693039 h 4687251"/>
              <a:gd name="connsiteX48116" fmla="*/ 3599063 w 8079933"/>
              <a:gd name="connsiteY48116" fmla="*/ 700726 h 4687251"/>
              <a:gd name="connsiteX48117" fmla="*/ 3596350 w 8079933"/>
              <a:gd name="connsiteY48117" fmla="*/ 703541 h 4687251"/>
              <a:gd name="connsiteX48118" fmla="*/ 3593854 w 8079933"/>
              <a:gd name="connsiteY48118" fmla="*/ 703541 h 4687251"/>
              <a:gd name="connsiteX48119" fmla="*/ 3591575 w 8079933"/>
              <a:gd name="connsiteY48119" fmla="*/ 701592 h 4687251"/>
              <a:gd name="connsiteX48120" fmla="*/ 3589622 w 8079933"/>
              <a:gd name="connsiteY48120" fmla="*/ 697802 h 4687251"/>
              <a:gd name="connsiteX48121" fmla="*/ 3592443 w 8079933"/>
              <a:gd name="connsiteY48121" fmla="*/ 695312 h 4687251"/>
              <a:gd name="connsiteX48122" fmla="*/ 3591467 w 8079933"/>
              <a:gd name="connsiteY48122" fmla="*/ 693147 h 4687251"/>
              <a:gd name="connsiteX48123" fmla="*/ 3588971 w 8079933"/>
              <a:gd name="connsiteY48123" fmla="*/ 692498 h 4687251"/>
              <a:gd name="connsiteX48124" fmla="*/ 3587126 w 8079933"/>
              <a:gd name="connsiteY48124" fmla="*/ 693580 h 4687251"/>
              <a:gd name="connsiteX48125" fmla="*/ 3584413 w 8079933"/>
              <a:gd name="connsiteY48125" fmla="*/ 692931 h 4687251"/>
              <a:gd name="connsiteX48126" fmla="*/ 3579096 w 8079933"/>
              <a:gd name="connsiteY48126" fmla="*/ 686651 h 4687251"/>
              <a:gd name="connsiteX48127" fmla="*/ 3574647 w 8079933"/>
              <a:gd name="connsiteY48127" fmla="*/ 683403 h 4687251"/>
              <a:gd name="connsiteX48128" fmla="*/ 3570632 w 8079933"/>
              <a:gd name="connsiteY48128" fmla="*/ 679722 h 4687251"/>
              <a:gd name="connsiteX48129" fmla="*/ 3570632 w 8079933"/>
              <a:gd name="connsiteY48129" fmla="*/ 677123 h 4687251"/>
              <a:gd name="connsiteX48130" fmla="*/ 3569004 w 8079933"/>
              <a:gd name="connsiteY48130" fmla="*/ 673333 h 4687251"/>
              <a:gd name="connsiteX48131" fmla="*/ 3563578 w 8079933"/>
              <a:gd name="connsiteY48131" fmla="*/ 667271 h 4687251"/>
              <a:gd name="connsiteX48132" fmla="*/ 3561299 w 8079933"/>
              <a:gd name="connsiteY48132" fmla="*/ 665863 h 4687251"/>
              <a:gd name="connsiteX48133" fmla="*/ 3560431 w 8079933"/>
              <a:gd name="connsiteY48133" fmla="*/ 665863 h 4687251"/>
              <a:gd name="connsiteX48134" fmla="*/ 3560431 w 8079933"/>
              <a:gd name="connsiteY48134" fmla="*/ 667379 h 4687251"/>
              <a:gd name="connsiteX48135" fmla="*/ 3561516 w 8079933"/>
              <a:gd name="connsiteY48135" fmla="*/ 669219 h 4687251"/>
              <a:gd name="connsiteX48136" fmla="*/ 3565531 w 8079933"/>
              <a:gd name="connsiteY48136" fmla="*/ 673659 h 4687251"/>
              <a:gd name="connsiteX48137" fmla="*/ 3565531 w 8079933"/>
              <a:gd name="connsiteY48137" fmla="*/ 676149 h 4687251"/>
              <a:gd name="connsiteX48138" fmla="*/ 3564338 w 8079933"/>
              <a:gd name="connsiteY48138" fmla="*/ 677990 h 4687251"/>
              <a:gd name="connsiteX48139" fmla="*/ 3558803 w 8079933"/>
              <a:gd name="connsiteY48139" fmla="*/ 677990 h 4687251"/>
              <a:gd name="connsiteX48140" fmla="*/ 3555982 w 8079933"/>
              <a:gd name="connsiteY48140" fmla="*/ 675607 h 4687251"/>
              <a:gd name="connsiteX48141" fmla="*/ 3553703 w 8079933"/>
              <a:gd name="connsiteY48141" fmla="*/ 671384 h 4687251"/>
              <a:gd name="connsiteX48142" fmla="*/ 3551750 w 8079933"/>
              <a:gd name="connsiteY48142" fmla="*/ 668894 h 4687251"/>
              <a:gd name="connsiteX48143" fmla="*/ 3551750 w 8079933"/>
              <a:gd name="connsiteY48143" fmla="*/ 671602 h 4687251"/>
              <a:gd name="connsiteX48144" fmla="*/ 3551750 w 8079933"/>
              <a:gd name="connsiteY48144" fmla="*/ 674416 h 4687251"/>
              <a:gd name="connsiteX48145" fmla="*/ 3555440 w 8079933"/>
              <a:gd name="connsiteY48145" fmla="*/ 678855 h 4687251"/>
              <a:gd name="connsiteX48146" fmla="*/ 3562384 w 8079933"/>
              <a:gd name="connsiteY48146" fmla="*/ 681670 h 4687251"/>
              <a:gd name="connsiteX48147" fmla="*/ 3568461 w 8079933"/>
              <a:gd name="connsiteY48147" fmla="*/ 681670 h 4687251"/>
              <a:gd name="connsiteX48148" fmla="*/ 3574972 w 8079933"/>
              <a:gd name="connsiteY48148" fmla="*/ 686651 h 4687251"/>
              <a:gd name="connsiteX48149" fmla="*/ 3583545 w 8079933"/>
              <a:gd name="connsiteY48149" fmla="*/ 695529 h 4687251"/>
              <a:gd name="connsiteX48150" fmla="*/ 3584522 w 8079933"/>
              <a:gd name="connsiteY48150" fmla="*/ 698128 h 4687251"/>
              <a:gd name="connsiteX48151" fmla="*/ 3583219 w 8079933"/>
              <a:gd name="connsiteY48151" fmla="*/ 700293 h 4687251"/>
              <a:gd name="connsiteX48152" fmla="*/ 3581158 w 8079933"/>
              <a:gd name="connsiteY48152" fmla="*/ 700293 h 4687251"/>
              <a:gd name="connsiteX48153" fmla="*/ 3578445 w 8079933"/>
              <a:gd name="connsiteY48153" fmla="*/ 698453 h 4687251"/>
              <a:gd name="connsiteX48154" fmla="*/ 3574322 w 8079933"/>
              <a:gd name="connsiteY48154" fmla="*/ 698453 h 4687251"/>
              <a:gd name="connsiteX48155" fmla="*/ 3571392 w 8079933"/>
              <a:gd name="connsiteY48155" fmla="*/ 699968 h 4687251"/>
              <a:gd name="connsiteX48156" fmla="*/ 3567159 w 8079933"/>
              <a:gd name="connsiteY48156" fmla="*/ 704083 h 4687251"/>
              <a:gd name="connsiteX48157" fmla="*/ 3564229 w 8079933"/>
              <a:gd name="connsiteY48157" fmla="*/ 704083 h 4687251"/>
              <a:gd name="connsiteX48158" fmla="*/ 3560648 w 8079933"/>
              <a:gd name="connsiteY48158" fmla="*/ 702459 h 4687251"/>
              <a:gd name="connsiteX48159" fmla="*/ 3559454 w 8079933"/>
              <a:gd name="connsiteY48159" fmla="*/ 699427 h 4687251"/>
              <a:gd name="connsiteX48160" fmla="*/ 3560323 w 8079933"/>
              <a:gd name="connsiteY48160" fmla="*/ 697694 h 4687251"/>
              <a:gd name="connsiteX48161" fmla="*/ 3559454 w 8079933"/>
              <a:gd name="connsiteY48161" fmla="*/ 695963 h 4687251"/>
              <a:gd name="connsiteX48162" fmla="*/ 3556308 w 8079933"/>
              <a:gd name="connsiteY48162" fmla="*/ 693688 h 4687251"/>
              <a:gd name="connsiteX48163" fmla="*/ 3556308 w 8079933"/>
              <a:gd name="connsiteY48163" fmla="*/ 696504 h 4687251"/>
              <a:gd name="connsiteX48164" fmla="*/ 3557718 w 8079933"/>
              <a:gd name="connsiteY48164" fmla="*/ 698886 h 4687251"/>
              <a:gd name="connsiteX48165" fmla="*/ 3558586 w 8079933"/>
              <a:gd name="connsiteY48165" fmla="*/ 703541 h 4687251"/>
              <a:gd name="connsiteX48166" fmla="*/ 3559888 w 8079933"/>
              <a:gd name="connsiteY48166" fmla="*/ 706248 h 4687251"/>
              <a:gd name="connsiteX48167" fmla="*/ 3564121 w 8079933"/>
              <a:gd name="connsiteY48167" fmla="*/ 707114 h 4687251"/>
              <a:gd name="connsiteX48168" fmla="*/ 3568787 w 8079933"/>
              <a:gd name="connsiteY48168" fmla="*/ 706140 h 4687251"/>
              <a:gd name="connsiteX48169" fmla="*/ 3572693 w 8079933"/>
              <a:gd name="connsiteY48169" fmla="*/ 701376 h 4687251"/>
              <a:gd name="connsiteX48170" fmla="*/ 3575190 w 8079933"/>
              <a:gd name="connsiteY48170" fmla="*/ 701376 h 4687251"/>
              <a:gd name="connsiteX48171" fmla="*/ 3580724 w 8079933"/>
              <a:gd name="connsiteY48171" fmla="*/ 704083 h 4687251"/>
              <a:gd name="connsiteX48172" fmla="*/ 3580724 w 8079933"/>
              <a:gd name="connsiteY48172" fmla="*/ 707222 h 4687251"/>
              <a:gd name="connsiteX48173" fmla="*/ 3579747 w 8079933"/>
              <a:gd name="connsiteY48173" fmla="*/ 708630 h 4687251"/>
              <a:gd name="connsiteX48174" fmla="*/ 3578662 w 8079933"/>
              <a:gd name="connsiteY48174" fmla="*/ 716534 h 4687251"/>
              <a:gd name="connsiteX48175" fmla="*/ 3576926 w 8079933"/>
              <a:gd name="connsiteY48175" fmla="*/ 719240 h 4687251"/>
              <a:gd name="connsiteX48176" fmla="*/ 3574647 w 8079933"/>
              <a:gd name="connsiteY48176" fmla="*/ 719240 h 4687251"/>
              <a:gd name="connsiteX48177" fmla="*/ 3574647 w 8079933"/>
              <a:gd name="connsiteY48177" fmla="*/ 721189 h 4687251"/>
              <a:gd name="connsiteX48178" fmla="*/ 3576600 w 8079933"/>
              <a:gd name="connsiteY48178" fmla="*/ 723030 h 4687251"/>
              <a:gd name="connsiteX48179" fmla="*/ 3578988 w 8079933"/>
              <a:gd name="connsiteY48179" fmla="*/ 721514 h 4687251"/>
              <a:gd name="connsiteX48180" fmla="*/ 3583979 w 8079933"/>
              <a:gd name="connsiteY48180" fmla="*/ 722597 h 4687251"/>
              <a:gd name="connsiteX48181" fmla="*/ 3587561 w 8079933"/>
              <a:gd name="connsiteY48181" fmla="*/ 726820 h 4687251"/>
              <a:gd name="connsiteX48182" fmla="*/ 3592878 w 8079933"/>
              <a:gd name="connsiteY48182" fmla="*/ 729526 h 4687251"/>
              <a:gd name="connsiteX48183" fmla="*/ 3594397 w 8079933"/>
              <a:gd name="connsiteY48183" fmla="*/ 727794 h 4687251"/>
              <a:gd name="connsiteX48184" fmla="*/ 3597544 w 8079933"/>
              <a:gd name="connsiteY48184" fmla="*/ 725953 h 4687251"/>
              <a:gd name="connsiteX48185" fmla="*/ 3601884 w 8079933"/>
              <a:gd name="connsiteY48185" fmla="*/ 726494 h 4687251"/>
              <a:gd name="connsiteX48186" fmla="*/ 3601884 w 8079933"/>
              <a:gd name="connsiteY48186" fmla="*/ 728335 h 4687251"/>
              <a:gd name="connsiteX48187" fmla="*/ 3600256 w 8079933"/>
              <a:gd name="connsiteY48187" fmla="*/ 731042 h 4687251"/>
              <a:gd name="connsiteX48188" fmla="*/ 3600908 w 8079933"/>
              <a:gd name="connsiteY48188" fmla="*/ 734832 h 4687251"/>
              <a:gd name="connsiteX48189" fmla="*/ 3602861 w 8079933"/>
              <a:gd name="connsiteY48189" fmla="*/ 737538 h 4687251"/>
              <a:gd name="connsiteX48190" fmla="*/ 3601233 w 8079933"/>
              <a:gd name="connsiteY48190" fmla="*/ 741436 h 4687251"/>
              <a:gd name="connsiteX48191" fmla="*/ 3597001 w 8079933"/>
              <a:gd name="connsiteY48191" fmla="*/ 748148 h 4687251"/>
              <a:gd name="connsiteX48192" fmla="*/ 3591683 w 8079933"/>
              <a:gd name="connsiteY48192" fmla="*/ 750964 h 4687251"/>
              <a:gd name="connsiteX48193" fmla="*/ 3589405 w 8079933"/>
              <a:gd name="connsiteY48193" fmla="*/ 750097 h 4687251"/>
              <a:gd name="connsiteX48194" fmla="*/ 3588754 w 8079933"/>
              <a:gd name="connsiteY48194" fmla="*/ 747174 h 4687251"/>
              <a:gd name="connsiteX48195" fmla="*/ 3586149 w 8079933"/>
              <a:gd name="connsiteY48195" fmla="*/ 745442 h 4687251"/>
              <a:gd name="connsiteX48196" fmla="*/ 3584630 w 8079933"/>
              <a:gd name="connsiteY48196" fmla="*/ 741977 h 4687251"/>
              <a:gd name="connsiteX48197" fmla="*/ 3584630 w 8079933"/>
              <a:gd name="connsiteY48197" fmla="*/ 738512 h 4687251"/>
              <a:gd name="connsiteX48198" fmla="*/ 3579422 w 8079933"/>
              <a:gd name="connsiteY48198" fmla="*/ 734723 h 4687251"/>
              <a:gd name="connsiteX48199" fmla="*/ 3575515 w 8079933"/>
              <a:gd name="connsiteY48199" fmla="*/ 733532 h 4687251"/>
              <a:gd name="connsiteX48200" fmla="*/ 3571825 w 8079933"/>
              <a:gd name="connsiteY48200" fmla="*/ 731042 h 4687251"/>
              <a:gd name="connsiteX48201" fmla="*/ 3568570 w 8079933"/>
              <a:gd name="connsiteY48201" fmla="*/ 730501 h 4687251"/>
              <a:gd name="connsiteX48202" fmla="*/ 3565423 w 8079933"/>
              <a:gd name="connsiteY48202" fmla="*/ 732558 h 4687251"/>
              <a:gd name="connsiteX48203" fmla="*/ 3562276 w 8079933"/>
              <a:gd name="connsiteY48203" fmla="*/ 732558 h 4687251"/>
              <a:gd name="connsiteX48204" fmla="*/ 3560539 w 8079933"/>
              <a:gd name="connsiteY48204" fmla="*/ 731150 h 4687251"/>
              <a:gd name="connsiteX48205" fmla="*/ 3558912 w 8079933"/>
              <a:gd name="connsiteY48205" fmla="*/ 727902 h 4687251"/>
              <a:gd name="connsiteX48206" fmla="*/ 3556525 w 8079933"/>
              <a:gd name="connsiteY48206" fmla="*/ 725195 h 4687251"/>
              <a:gd name="connsiteX48207" fmla="*/ 3554897 w 8079933"/>
              <a:gd name="connsiteY48207" fmla="*/ 725195 h 4687251"/>
              <a:gd name="connsiteX48208" fmla="*/ 3554897 w 8079933"/>
              <a:gd name="connsiteY48208" fmla="*/ 727036 h 4687251"/>
              <a:gd name="connsiteX48209" fmla="*/ 3556308 w 8079933"/>
              <a:gd name="connsiteY48209" fmla="*/ 729743 h 4687251"/>
              <a:gd name="connsiteX48210" fmla="*/ 3556308 w 8079933"/>
              <a:gd name="connsiteY48210" fmla="*/ 734723 h 4687251"/>
              <a:gd name="connsiteX48211" fmla="*/ 3554788 w 8079933"/>
              <a:gd name="connsiteY48211" fmla="*/ 737863 h 4687251"/>
              <a:gd name="connsiteX48212" fmla="*/ 3552075 w 8079933"/>
              <a:gd name="connsiteY48212" fmla="*/ 739487 h 4687251"/>
              <a:gd name="connsiteX48213" fmla="*/ 3548602 w 8079933"/>
              <a:gd name="connsiteY48213" fmla="*/ 739487 h 4687251"/>
              <a:gd name="connsiteX48214" fmla="*/ 3546541 w 8079933"/>
              <a:gd name="connsiteY48214" fmla="*/ 740678 h 4687251"/>
              <a:gd name="connsiteX48215" fmla="*/ 3549037 w 8079933"/>
              <a:gd name="connsiteY48215" fmla="*/ 741544 h 4687251"/>
              <a:gd name="connsiteX48216" fmla="*/ 3550556 w 8079933"/>
              <a:gd name="connsiteY48216" fmla="*/ 743493 h 4687251"/>
              <a:gd name="connsiteX48217" fmla="*/ 3550556 w 8079933"/>
              <a:gd name="connsiteY48217" fmla="*/ 746200 h 4687251"/>
              <a:gd name="connsiteX48218" fmla="*/ 3546975 w 8079933"/>
              <a:gd name="connsiteY48218" fmla="*/ 751180 h 4687251"/>
              <a:gd name="connsiteX48219" fmla="*/ 3544587 w 8079933"/>
              <a:gd name="connsiteY48219" fmla="*/ 752587 h 4687251"/>
              <a:gd name="connsiteX48220" fmla="*/ 3544587 w 8079933"/>
              <a:gd name="connsiteY48220" fmla="*/ 753887 h 4687251"/>
              <a:gd name="connsiteX48221" fmla="*/ 3545673 w 8079933"/>
              <a:gd name="connsiteY48221" fmla="*/ 755728 h 4687251"/>
              <a:gd name="connsiteX48222" fmla="*/ 3547952 w 8079933"/>
              <a:gd name="connsiteY48222" fmla="*/ 757244 h 4687251"/>
              <a:gd name="connsiteX48223" fmla="*/ 3549471 w 8079933"/>
              <a:gd name="connsiteY48223" fmla="*/ 762224 h 4687251"/>
              <a:gd name="connsiteX48224" fmla="*/ 3552075 w 8079933"/>
              <a:gd name="connsiteY48224" fmla="*/ 763523 h 4687251"/>
              <a:gd name="connsiteX48225" fmla="*/ 3553052 w 8079933"/>
              <a:gd name="connsiteY48225" fmla="*/ 768070 h 4687251"/>
              <a:gd name="connsiteX48226" fmla="*/ 3551967 w 8079933"/>
              <a:gd name="connsiteY48226" fmla="*/ 773484 h 4687251"/>
              <a:gd name="connsiteX48227" fmla="*/ 3552618 w 8079933"/>
              <a:gd name="connsiteY48227" fmla="*/ 775216 h 4687251"/>
              <a:gd name="connsiteX48228" fmla="*/ 3554028 w 8079933"/>
              <a:gd name="connsiteY48228" fmla="*/ 771427 h 4687251"/>
              <a:gd name="connsiteX48229" fmla="*/ 3555657 w 8079933"/>
              <a:gd name="connsiteY48229" fmla="*/ 768612 h 4687251"/>
              <a:gd name="connsiteX48230" fmla="*/ 3555657 w 8079933"/>
              <a:gd name="connsiteY48230" fmla="*/ 765364 h 4687251"/>
              <a:gd name="connsiteX48231" fmla="*/ 3554028 w 8079933"/>
              <a:gd name="connsiteY48231" fmla="*/ 763848 h 4687251"/>
              <a:gd name="connsiteX48232" fmla="*/ 3554028 w 8079933"/>
              <a:gd name="connsiteY48232" fmla="*/ 759625 h 4687251"/>
              <a:gd name="connsiteX48233" fmla="*/ 3555548 w 8079933"/>
              <a:gd name="connsiteY48233" fmla="*/ 756377 h 4687251"/>
              <a:gd name="connsiteX48234" fmla="*/ 3557067 w 8079933"/>
              <a:gd name="connsiteY48234" fmla="*/ 756377 h 4687251"/>
              <a:gd name="connsiteX48235" fmla="*/ 3558478 w 8079933"/>
              <a:gd name="connsiteY48235" fmla="*/ 759301 h 4687251"/>
              <a:gd name="connsiteX48236" fmla="*/ 3560648 w 8079933"/>
              <a:gd name="connsiteY48236" fmla="*/ 761141 h 4687251"/>
              <a:gd name="connsiteX48237" fmla="*/ 3562493 w 8079933"/>
              <a:gd name="connsiteY48237" fmla="*/ 764281 h 4687251"/>
              <a:gd name="connsiteX48238" fmla="*/ 3565640 w 8079933"/>
              <a:gd name="connsiteY48238" fmla="*/ 766663 h 4687251"/>
              <a:gd name="connsiteX48239" fmla="*/ 3567159 w 8079933"/>
              <a:gd name="connsiteY48239" fmla="*/ 765580 h 4687251"/>
              <a:gd name="connsiteX48240" fmla="*/ 3569112 w 8079933"/>
              <a:gd name="connsiteY48240" fmla="*/ 765580 h 4687251"/>
              <a:gd name="connsiteX48241" fmla="*/ 3570632 w 8079933"/>
              <a:gd name="connsiteY48241" fmla="*/ 766771 h 4687251"/>
              <a:gd name="connsiteX48242" fmla="*/ 3571934 w 8079933"/>
              <a:gd name="connsiteY48242" fmla="*/ 765364 h 4687251"/>
              <a:gd name="connsiteX48243" fmla="*/ 3575840 w 8079933"/>
              <a:gd name="connsiteY48243" fmla="*/ 763956 h 4687251"/>
              <a:gd name="connsiteX48244" fmla="*/ 3579096 w 8079933"/>
              <a:gd name="connsiteY48244" fmla="*/ 764606 h 4687251"/>
              <a:gd name="connsiteX48245" fmla="*/ 3580181 w 8079933"/>
              <a:gd name="connsiteY48245" fmla="*/ 766554 h 4687251"/>
              <a:gd name="connsiteX48246" fmla="*/ 3580181 w 8079933"/>
              <a:gd name="connsiteY48246" fmla="*/ 769695 h 4687251"/>
              <a:gd name="connsiteX48247" fmla="*/ 3577034 w 8079933"/>
              <a:gd name="connsiteY48247" fmla="*/ 775216 h 4687251"/>
              <a:gd name="connsiteX48248" fmla="*/ 3575298 w 8079933"/>
              <a:gd name="connsiteY48248" fmla="*/ 778464 h 4687251"/>
              <a:gd name="connsiteX48249" fmla="*/ 3575298 w 8079933"/>
              <a:gd name="connsiteY48249" fmla="*/ 782795 h 4687251"/>
              <a:gd name="connsiteX48250" fmla="*/ 3574647 w 8079933"/>
              <a:gd name="connsiteY48250" fmla="*/ 788317 h 4687251"/>
              <a:gd name="connsiteX48251" fmla="*/ 3573453 w 8079933"/>
              <a:gd name="connsiteY48251" fmla="*/ 789941 h 4687251"/>
              <a:gd name="connsiteX48252" fmla="*/ 3569221 w 8079933"/>
              <a:gd name="connsiteY48252" fmla="*/ 789941 h 4687251"/>
              <a:gd name="connsiteX48253" fmla="*/ 3564772 w 8079933"/>
              <a:gd name="connsiteY48253" fmla="*/ 791240 h 4687251"/>
              <a:gd name="connsiteX48254" fmla="*/ 3561408 w 8079933"/>
              <a:gd name="connsiteY48254" fmla="*/ 790374 h 4687251"/>
              <a:gd name="connsiteX48255" fmla="*/ 3558586 w 8079933"/>
              <a:gd name="connsiteY48255" fmla="*/ 789075 h 4687251"/>
              <a:gd name="connsiteX48256" fmla="*/ 3556090 w 8079933"/>
              <a:gd name="connsiteY48256" fmla="*/ 789075 h 4687251"/>
              <a:gd name="connsiteX48257" fmla="*/ 3553269 w 8079933"/>
              <a:gd name="connsiteY48257" fmla="*/ 791132 h 4687251"/>
              <a:gd name="connsiteX48258" fmla="*/ 3553269 w 8079933"/>
              <a:gd name="connsiteY48258" fmla="*/ 793947 h 4687251"/>
              <a:gd name="connsiteX48259" fmla="*/ 3550990 w 8079933"/>
              <a:gd name="connsiteY48259" fmla="*/ 795896 h 4687251"/>
              <a:gd name="connsiteX48260" fmla="*/ 3547952 w 8079933"/>
              <a:gd name="connsiteY48260" fmla="*/ 795896 h 4687251"/>
              <a:gd name="connsiteX48261" fmla="*/ 3545999 w 8079933"/>
              <a:gd name="connsiteY48261" fmla="*/ 795896 h 4687251"/>
              <a:gd name="connsiteX48262" fmla="*/ 3544045 w 8079933"/>
              <a:gd name="connsiteY48262" fmla="*/ 799036 h 4687251"/>
              <a:gd name="connsiteX48263" fmla="*/ 3543394 w 8079933"/>
              <a:gd name="connsiteY48263" fmla="*/ 800985 h 4687251"/>
              <a:gd name="connsiteX48264" fmla="*/ 3540247 w 8079933"/>
              <a:gd name="connsiteY48264" fmla="*/ 801743 h 4687251"/>
              <a:gd name="connsiteX48265" fmla="*/ 3537751 w 8079933"/>
              <a:gd name="connsiteY48265" fmla="*/ 801093 h 4687251"/>
              <a:gd name="connsiteX48266" fmla="*/ 3533845 w 8079933"/>
              <a:gd name="connsiteY48266" fmla="*/ 798278 h 4687251"/>
              <a:gd name="connsiteX48267" fmla="*/ 3527334 w 8079933"/>
              <a:gd name="connsiteY48267" fmla="*/ 794597 h 4687251"/>
              <a:gd name="connsiteX48268" fmla="*/ 3523318 w 8079933"/>
              <a:gd name="connsiteY48268" fmla="*/ 790374 h 4687251"/>
              <a:gd name="connsiteX48269" fmla="*/ 3513769 w 8079933"/>
              <a:gd name="connsiteY48269" fmla="*/ 781388 h 4687251"/>
              <a:gd name="connsiteX48270" fmla="*/ 3512141 w 8079933"/>
              <a:gd name="connsiteY48270" fmla="*/ 777707 h 4687251"/>
              <a:gd name="connsiteX48271" fmla="*/ 3512141 w 8079933"/>
              <a:gd name="connsiteY48271" fmla="*/ 775108 h 4687251"/>
              <a:gd name="connsiteX48272" fmla="*/ 3513660 w 8079933"/>
              <a:gd name="connsiteY48272" fmla="*/ 773701 h 4687251"/>
              <a:gd name="connsiteX48273" fmla="*/ 3516156 w 8079933"/>
              <a:gd name="connsiteY48273" fmla="*/ 773701 h 4687251"/>
              <a:gd name="connsiteX48274" fmla="*/ 3517242 w 8079933"/>
              <a:gd name="connsiteY48274" fmla="*/ 774675 h 4687251"/>
              <a:gd name="connsiteX48275" fmla="*/ 3519629 w 8079933"/>
              <a:gd name="connsiteY48275" fmla="*/ 776082 h 4687251"/>
              <a:gd name="connsiteX48276" fmla="*/ 3527767 w 8079933"/>
              <a:gd name="connsiteY48276" fmla="*/ 779980 h 4687251"/>
              <a:gd name="connsiteX48277" fmla="*/ 3532217 w 8079933"/>
              <a:gd name="connsiteY48277" fmla="*/ 783986 h 4687251"/>
              <a:gd name="connsiteX48278" fmla="*/ 3533736 w 8079933"/>
              <a:gd name="connsiteY48278" fmla="*/ 783336 h 4687251"/>
              <a:gd name="connsiteX48279" fmla="*/ 3539921 w 8079933"/>
              <a:gd name="connsiteY48279" fmla="*/ 782254 h 4687251"/>
              <a:gd name="connsiteX48280" fmla="*/ 3539921 w 8079933"/>
              <a:gd name="connsiteY48280" fmla="*/ 780197 h 4687251"/>
              <a:gd name="connsiteX48281" fmla="*/ 3538076 w 8079933"/>
              <a:gd name="connsiteY48281" fmla="*/ 778681 h 4687251"/>
              <a:gd name="connsiteX48282" fmla="*/ 3536123 w 8079933"/>
              <a:gd name="connsiteY48282" fmla="*/ 778681 h 4687251"/>
              <a:gd name="connsiteX48283" fmla="*/ 3533845 w 8079933"/>
              <a:gd name="connsiteY48283" fmla="*/ 780089 h 4687251"/>
              <a:gd name="connsiteX48284" fmla="*/ 3530047 w 8079933"/>
              <a:gd name="connsiteY48284" fmla="*/ 778573 h 4687251"/>
              <a:gd name="connsiteX48285" fmla="*/ 3523101 w 8079933"/>
              <a:gd name="connsiteY48285" fmla="*/ 773701 h 4687251"/>
              <a:gd name="connsiteX48286" fmla="*/ 3515505 w 8079933"/>
              <a:gd name="connsiteY48286" fmla="*/ 770560 h 4687251"/>
              <a:gd name="connsiteX48287" fmla="*/ 3512792 w 8079933"/>
              <a:gd name="connsiteY48287" fmla="*/ 770560 h 4687251"/>
              <a:gd name="connsiteX48288" fmla="*/ 3511707 w 8079933"/>
              <a:gd name="connsiteY48288" fmla="*/ 768720 h 4687251"/>
              <a:gd name="connsiteX48289" fmla="*/ 3511707 w 8079933"/>
              <a:gd name="connsiteY48289" fmla="*/ 766013 h 4687251"/>
              <a:gd name="connsiteX48290" fmla="*/ 3509754 w 8079933"/>
              <a:gd name="connsiteY48290" fmla="*/ 765147 h 4687251"/>
              <a:gd name="connsiteX48291" fmla="*/ 3507801 w 8079933"/>
              <a:gd name="connsiteY48291" fmla="*/ 765147 h 4687251"/>
              <a:gd name="connsiteX48292" fmla="*/ 3505848 w 8079933"/>
              <a:gd name="connsiteY48292" fmla="*/ 767421 h 4687251"/>
              <a:gd name="connsiteX48293" fmla="*/ 3505848 w 8079933"/>
              <a:gd name="connsiteY48293" fmla="*/ 771427 h 4687251"/>
              <a:gd name="connsiteX48294" fmla="*/ 3504979 w 8079933"/>
              <a:gd name="connsiteY48294" fmla="*/ 778573 h 4687251"/>
              <a:gd name="connsiteX48295" fmla="*/ 3504979 w 8079933"/>
              <a:gd name="connsiteY48295" fmla="*/ 781713 h 4687251"/>
              <a:gd name="connsiteX48296" fmla="*/ 3504219 w 8079933"/>
              <a:gd name="connsiteY48296" fmla="*/ 783553 h 4687251"/>
              <a:gd name="connsiteX48297" fmla="*/ 3503135 w 8079933"/>
              <a:gd name="connsiteY48297" fmla="*/ 782687 h 4687251"/>
              <a:gd name="connsiteX48298" fmla="*/ 3495538 w 8079933"/>
              <a:gd name="connsiteY48298" fmla="*/ 774025 h 4687251"/>
              <a:gd name="connsiteX48299" fmla="*/ 3490764 w 8079933"/>
              <a:gd name="connsiteY48299" fmla="*/ 765689 h 4687251"/>
              <a:gd name="connsiteX48300" fmla="*/ 3488811 w 8079933"/>
              <a:gd name="connsiteY48300" fmla="*/ 763090 h 4687251"/>
              <a:gd name="connsiteX48301" fmla="*/ 3488811 w 8079933"/>
              <a:gd name="connsiteY48301" fmla="*/ 760924 h 4687251"/>
              <a:gd name="connsiteX48302" fmla="*/ 3487183 w 8079933"/>
              <a:gd name="connsiteY48302" fmla="*/ 759084 h 4687251"/>
              <a:gd name="connsiteX48303" fmla="*/ 3485446 w 8079933"/>
              <a:gd name="connsiteY48303" fmla="*/ 759084 h 4687251"/>
              <a:gd name="connsiteX48304" fmla="*/ 3484795 w 8079933"/>
              <a:gd name="connsiteY48304" fmla="*/ 760275 h 4687251"/>
              <a:gd name="connsiteX48305" fmla="*/ 3484795 w 8079933"/>
              <a:gd name="connsiteY48305" fmla="*/ 762548 h 4687251"/>
              <a:gd name="connsiteX48306" fmla="*/ 3488376 w 8079933"/>
              <a:gd name="connsiteY48306" fmla="*/ 764822 h 4687251"/>
              <a:gd name="connsiteX48307" fmla="*/ 3493477 w 8079933"/>
              <a:gd name="connsiteY48307" fmla="*/ 773592 h 4687251"/>
              <a:gd name="connsiteX48308" fmla="*/ 3493477 w 8079933"/>
              <a:gd name="connsiteY48308" fmla="*/ 775974 h 4687251"/>
              <a:gd name="connsiteX48309" fmla="*/ 3496515 w 8079933"/>
              <a:gd name="connsiteY48309" fmla="*/ 780305 h 4687251"/>
              <a:gd name="connsiteX48310" fmla="*/ 3497600 w 8079933"/>
              <a:gd name="connsiteY48310" fmla="*/ 782579 h 4687251"/>
              <a:gd name="connsiteX48311" fmla="*/ 3497600 w 8079933"/>
              <a:gd name="connsiteY48311" fmla="*/ 785069 h 4687251"/>
              <a:gd name="connsiteX48312" fmla="*/ 3495213 w 8079933"/>
              <a:gd name="connsiteY48312" fmla="*/ 785069 h 4687251"/>
              <a:gd name="connsiteX48313" fmla="*/ 3491632 w 8079933"/>
              <a:gd name="connsiteY48313" fmla="*/ 786585 h 4687251"/>
              <a:gd name="connsiteX48314" fmla="*/ 3488811 w 8079933"/>
              <a:gd name="connsiteY48314" fmla="*/ 789075 h 4687251"/>
              <a:gd name="connsiteX48315" fmla="*/ 3486965 w 8079933"/>
              <a:gd name="connsiteY48315" fmla="*/ 791565 h 4687251"/>
              <a:gd name="connsiteX48316" fmla="*/ 3483384 w 8079933"/>
              <a:gd name="connsiteY48316" fmla="*/ 792540 h 4687251"/>
              <a:gd name="connsiteX48317" fmla="*/ 3480563 w 8079933"/>
              <a:gd name="connsiteY48317" fmla="*/ 794488 h 4687251"/>
              <a:gd name="connsiteX48318" fmla="*/ 3476657 w 8079933"/>
              <a:gd name="connsiteY48318" fmla="*/ 795680 h 4687251"/>
              <a:gd name="connsiteX48319" fmla="*/ 3473184 w 8079933"/>
              <a:gd name="connsiteY48319" fmla="*/ 795680 h 4687251"/>
              <a:gd name="connsiteX48320" fmla="*/ 3470146 w 8079933"/>
              <a:gd name="connsiteY48320" fmla="*/ 792540 h 4687251"/>
              <a:gd name="connsiteX48321" fmla="*/ 3467975 w 8079933"/>
              <a:gd name="connsiteY48321" fmla="*/ 792540 h 4687251"/>
              <a:gd name="connsiteX48322" fmla="*/ 3465479 w 8079933"/>
              <a:gd name="connsiteY48322" fmla="*/ 791240 h 4687251"/>
              <a:gd name="connsiteX48323" fmla="*/ 3464611 w 8079933"/>
              <a:gd name="connsiteY48323" fmla="*/ 789291 h 4687251"/>
              <a:gd name="connsiteX48324" fmla="*/ 3459511 w 8079933"/>
              <a:gd name="connsiteY48324" fmla="*/ 785285 h 4687251"/>
              <a:gd name="connsiteX48325" fmla="*/ 3456689 w 8079933"/>
              <a:gd name="connsiteY48325" fmla="*/ 783553 h 4687251"/>
              <a:gd name="connsiteX48326" fmla="*/ 3456689 w 8079933"/>
              <a:gd name="connsiteY48326" fmla="*/ 781063 h 4687251"/>
              <a:gd name="connsiteX48327" fmla="*/ 3455821 w 8079933"/>
              <a:gd name="connsiteY48327" fmla="*/ 778681 h 4687251"/>
              <a:gd name="connsiteX48328" fmla="*/ 3454194 w 8079933"/>
              <a:gd name="connsiteY48328" fmla="*/ 777923 h 4687251"/>
              <a:gd name="connsiteX48329" fmla="*/ 3453325 w 8079933"/>
              <a:gd name="connsiteY48329" fmla="*/ 779114 h 4687251"/>
              <a:gd name="connsiteX48330" fmla="*/ 3453325 w 8079933"/>
              <a:gd name="connsiteY48330" fmla="*/ 782903 h 4687251"/>
              <a:gd name="connsiteX48331" fmla="*/ 3454953 w 8079933"/>
              <a:gd name="connsiteY48331" fmla="*/ 785827 h 4687251"/>
              <a:gd name="connsiteX48332" fmla="*/ 3458860 w 8079933"/>
              <a:gd name="connsiteY48332" fmla="*/ 787884 h 4687251"/>
              <a:gd name="connsiteX48333" fmla="*/ 3462983 w 8079933"/>
              <a:gd name="connsiteY48333" fmla="*/ 791240 h 4687251"/>
              <a:gd name="connsiteX48334" fmla="*/ 3465479 w 8079933"/>
              <a:gd name="connsiteY48334" fmla="*/ 795246 h 4687251"/>
              <a:gd name="connsiteX48335" fmla="*/ 3465479 w 8079933"/>
              <a:gd name="connsiteY48335" fmla="*/ 797411 h 4687251"/>
              <a:gd name="connsiteX48336" fmla="*/ 3462983 w 8079933"/>
              <a:gd name="connsiteY48336" fmla="*/ 799144 h 4687251"/>
              <a:gd name="connsiteX48337" fmla="*/ 3455930 w 8079933"/>
              <a:gd name="connsiteY48337" fmla="*/ 799144 h 4687251"/>
              <a:gd name="connsiteX48338" fmla="*/ 3450937 w 8079933"/>
              <a:gd name="connsiteY48338" fmla="*/ 798278 h 4687251"/>
              <a:gd name="connsiteX48339" fmla="*/ 3447140 w 8079933"/>
              <a:gd name="connsiteY48339" fmla="*/ 799469 h 4687251"/>
              <a:gd name="connsiteX48340" fmla="*/ 3444427 w 8079933"/>
              <a:gd name="connsiteY48340" fmla="*/ 801851 h 4687251"/>
              <a:gd name="connsiteX48341" fmla="*/ 3445403 w 8079933"/>
              <a:gd name="connsiteY48341" fmla="*/ 803475 h 4687251"/>
              <a:gd name="connsiteX48342" fmla="*/ 3446922 w 8079933"/>
              <a:gd name="connsiteY48342" fmla="*/ 803475 h 4687251"/>
              <a:gd name="connsiteX48343" fmla="*/ 3448550 w 8079933"/>
              <a:gd name="connsiteY48343" fmla="*/ 805965 h 4687251"/>
              <a:gd name="connsiteX48344" fmla="*/ 3450395 w 8079933"/>
              <a:gd name="connsiteY48344" fmla="*/ 806831 h 4687251"/>
              <a:gd name="connsiteX48345" fmla="*/ 3451589 w 8079933"/>
              <a:gd name="connsiteY48345" fmla="*/ 804666 h 4687251"/>
              <a:gd name="connsiteX48346" fmla="*/ 3452349 w 8079933"/>
              <a:gd name="connsiteY48346" fmla="*/ 801959 h 4687251"/>
              <a:gd name="connsiteX48347" fmla="*/ 3456580 w 8079933"/>
              <a:gd name="connsiteY48347" fmla="*/ 801959 h 4687251"/>
              <a:gd name="connsiteX48348" fmla="*/ 3459945 w 8079933"/>
              <a:gd name="connsiteY48348" fmla="*/ 803042 h 4687251"/>
              <a:gd name="connsiteX48349" fmla="*/ 3463309 w 8079933"/>
              <a:gd name="connsiteY48349" fmla="*/ 804341 h 4687251"/>
              <a:gd name="connsiteX48350" fmla="*/ 3466347 w 8079933"/>
              <a:gd name="connsiteY48350" fmla="*/ 802609 h 4687251"/>
              <a:gd name="connsiteX48351" fmla="*/ 3466889 w 8079933"/>
              <a:gd name="connsiteY48351" fmla="*/ 799902 h 4687251"/>
              <a:gd name="connsiteX48352" fmla="*/ 3469711 w 8079933"/>
              <a:gd name="connsiteY48352" fmla="*/ 799036 h 4687251"/>
              <a:gd name="connsiteX48353" fmla="*/ 3474052 w 8079933"/>
              <a:gd name="connsiteY48353" fmla="*/ 799577 h 4687251"/>
              <a:gd name="connsiteX48354" fmla="*/ 3478284 w 8079933"/>
              <a:gd name="connsiteY48354" fmla="*/ 799577 h 4687251"/>
              <a:gd name="connsiteX48355" fmla="*/ 3480020 w 8079933"/>
              <a:gd name="connsiteY48355" fmla="*/ 801201 h 4687251"/>
              <a:gd name="connsiteX48356" fmla="*/ 3483059 w 8079933"/>
              <a:gd name="connsiteY48356" fmla="*/ 803150 h 4687251"/>
              <a:gd name="connsiteX48357" fmla="*/ 3488267 w 8079933"/>
              <a:gd name="connsiteY48357" fmla="*/ 804341 h 4687251"/>
              <a:gd name="connsiteX48358" fmla="*/ 3491414 w 8079933"/>
              <a:gd name="connsiteY48358" fmla="*/ 806290 h 4687251"/>
              <a:gd name="connsiteX48359" fmla="*/ 3492500 w 8079933"/>
              <a:gd name="connsiteY48359" fmla="*/ 809321 h 4687251"/>
              <a:gd name="connsiteX48360" fmla="*/ 3491523 w 8079933"/>
              <a:gd name="connsiteY48360" fmla="*/ 811920 h 4687251"/>
              <a:gd name="connsiteX48361" fmla="*/ 3489461 w 8079933"/>
              <a:gd name="connsiteY48361" fmla="*/ 812461 h 4687251"/>
              <a:gd name="connsiteX48362" fmla="*/ 3487183 w 8079933"/>
              <a:gd name="connsiteY48362" fmla="*/ 815601 h 4687251"/>
              <a:gd name="connsiteX48363" fmla="*/ 3483167 w 8079933"/>
              <a:gd name="connsiteY48363" fmla="*/ 815601 h 4687251"/>
              <a:gd name="connsiteX48364" fmla="*/ 3479912 w 8079933"/>
              <a:gd name="connsiteY48364" fmla="*/ 815601 h 4687251"/>
              <a:gd name="connsiteX48365" fmla="*/ 3475897 w 8079933"/>
              <a:gd name="connsiteY48365" fmla="*/ 818741 h 4687251"/>
              <a:gd name="connsiteX48366" fmla="*/ 3472641 w 8079933"/>
              <a:gd name="connsiteY48366" fmla="*/ 820257 h 4687251"/>
              <a:gd name="connsiteX48367" fmla="*/ 3469060 w 8079933"/>
              <a:gd name="connsiteY48367" fmla="*/ 819607 h 4687251"/>
              <a:gd name="connsiteX48368" fmla="*/ 3464828 w 8079933"/>
              <a:gd name="connsiteY48368" fmla="*/ 815168 h 4687251"/>
              <a:gd name="connsiteX48369" fmla="*/ 3462332 w 8079933"/>
              <a:gd name="connsiteY48369" fmla="*/ 813977 h 4687251"/>
              <a:gd name="connsiteX48370" fmla="*/ 3460161 w 8079933"/>
              <a:gd name="connsiteY48370" fmla="*/ 813977 h 4687251"/>
              <a:gd name="connsiteX48371" fmla="*/ 3458208 w 8079933"/>
              <a:gd name="connsiteY48371" fmla="*/ 816143 h 4687251"/>
              <a:gd name="connsiteX48372" fmla="*/ 3455495 w 8079933"/>
              <a:gd name="connsiteY48372" fmla="*/ 816143 h 4687251"/>
              <a:gd name="connsiteX48373" fmla="*/ 3454194 w 8079933"/>
              <a:gd name="connsiteY48373" fmla="*/ 815384 h 4687251"/>
              <a:gd name="connsiteX48374" fmla="*/ 3451806 w 8079933"/>
              <a:gd name="connsiteY48374" fmla="*/ 815384 h 4687251"/>
              <a:gd name="connsiteX48375" fmla="*/ 3451806 w 8079933"/>
              <a:gd name="connsiteY48375" fmla="*/ 816900 h 4687251"/>
              <a:gd name="connsiteX48376" fmla="*/ 3454410 w 8079933"/>
              <a:gd name="connsiteY48376" fmla="*/ 816900 h 4687251"/>
              <a:gd name="connsiteX48377" fmla="*/ 3458751 w 8079933"/>
              <a:gd name="connsiteY48377" fmla="*/ 816900 h 4687251"/>
              <a:gd name="connsiteX48378" fmla="*/ 3460813 w 8079933"/>
              <a:gd name="connsiteY48378" fmla="*/ 815709 h 4687251"/>
              <a:gd name="connsiteX48379" fmla="*/ 3463309 w 8079933"/>
              <a:gd name="connsiteY48379" fmla="*/ 816467 h 4687251"/>
              <a:gd name="connsiteX48380" fmla="*/ 3464394 w 8079933"/>
              <a:gd name="connsiteY48380" fmla="*/ 818308 h 4687251"/>
              <a:gd name="connsiteX48381" fmla="*/ 3463200 w 8079933"/>
              <a:gd name="connsiteY48381" fmla="*/ 820149 h 4687251"/>
              <a:gd name="connsiteX48382" fmla="*/ 3459076 w 8079933"/>
              <a:gd name="connsiteY48382" fmla="*/ 820906 h 4687251"/>
              <a:gd name="connsiteX48383" fmla="*/ 3454844 w 8079933"/>
              <a:gd name="connsiteY48383" fmla="*/ 822964 h 4687251"/>
              <a:gd name="connsiteX48384" fmla="*/ 3454085 w 8079933"/>
              <a:gd name="connsiteY48384" fmla="*/ 824371 h 4687251"/>
              <a:gd name="connsiteX48385" fmla="*/ 3456038 w 8079933"/>
              <a:gd name="connsiteY48385" fmla="*/ 824371 h 4687251"/>
              <a:gd name="connsiteX48386" fmla="*/ 3458317 w 8079933"/>
              <a:gd name="connsiteY48386" fmla="*/ 822964 h 4687251"/>
              <a:gd name="connsiteX48387" fmla="*/ 3463526 w 8079933"/>
              <a:gd name="connsiteY48387" fmla="*/ 821664 h 4687251"/>
              <a:gd name="connsiteX48388" fmla="*/ 3465371 w 8079933"/>
              <a:gd name="connsiteY48388" fmla="*/ 821664 h 4687251"/>
              <a:gd name="connsiteX48389" fmla="*/ 3466673 w 8079933"/>
              <a:gd name="connsiteY48389" fmla="*/ 823721 h 4687251"/>
              <a:gd name="connsiteX48390" fmla="*/ 3466673 w 8079933"/>
              <a:gd name="connsiteY48390" fmla="*/ 826645 h 4687251"/>
              <a:gd name="connsiteX48391" fmla="*/ 3467758 w 8079933"/>
              <a:gd name="connsiteY48391" fmla="*/ 826645 h 4687251"/>
              <a:gd name="connsiteX48392" fmla="*/ 3470254 w 8079933"/>
              <a:gd name="connsiteY48392" fmla="*/ 822964 h 4687251"/>
              <a:gd name="connsiteX48393" fmla="*/ 3473400 w 8079933"/>
              <a:gd name="connsiteY48393" fmla="*/ 822314 h 4687251"/>
              <a:gd name="connsiteX48394" fmla="*/ 3475463 w 8079933"/>
              <a:gd name="connsiteY48394" fmla="*/ 822314 h 4687251"/>
              <a:gd name="connsiteX48395" fmla="*/ 3479478 w 8079933"/>
              <a:gd name="connsiteY48395" fmla="*/ 818849 h 4687251"/>
              <a:gd name="connsiteX48396" fmla="*/ 3481105 w 8079933"/>
              <a:gd name="connsiteY48396" fmla="*/ 818849 h 4687251"/>
              <a:gd name="connsiteX48397" fmla="*/ 3483167 w 8079933"/>
              <a:gd name="connsiteY48397" fmla="*/ 819932 h 4687251"/>
              <a:gd name="connsiteX48398" fmla="*/ 3488919 w 8079933"/>
              <a:gd name="connsiteY48398" fmla="*/ 824047 h 4687251"/>
              <a:gd name="connsiteX48399" fmla="*/ 3490980 w 8079933"/>
              <a:gd name="connsiteY48399" fmla="*/ 824047 h 4687251"/>
              <a:gd name="connsiteX48400" fmla="*/ 3492391 w 8079933"/>
              <a:gd name="connsiteY48400" fmla="*/ 824804 h 4687251"/>
              <a:gd name="connsiteX48401" fmla="*/ 3493042 w 8079933"/>
              <a:gd name="connsiteY48401" fmla="*/ 827944 h 4687251"/>
              <a:gd name="connsiteX48402" fmla="*/ 3492065 w 8079933"/>
              <a:gd name="connsiteY48402" fmla="*/ 835198 h 4687251"/>
              <a:gd name="connsiteX48403" fmla="*/ 3489570 w 8079933"/>
              <a:gd name="connsiteY48403" fmla="*/ 838014 h 4687251"/>
              <a:gd name="connsiteX48404" fmla="*/ 3484686 w 8079933"/>
              <a:gd name="connsiteY48404" fmla="*/ 838771 h 4687251"/>
              <a:gd name="connsiteX48405" fmla="*/ 3480780 w 8079933"/>
              <a:gd name="connsiteY48405" fmla="*/ 838771 h 4687251"/>
              <a:gd name="connsiteX48406" fmla="*/ 3477416 w 8079933"/>
              <a:gd name="connsiteY48406" fmla="*/ 837255 h 4687251"/>
              <a:gd name="connsiteX48407" fmla="*/ 3469602 w 8079933"/>
              <a:gd name="connsiteY48407" fmla="*/ 837255 h 4687251"/>
              <a:gd name="connsiteX48408" fmla="*/ 3467866 w 8079933"/>
              <a:gd name="connsiteY48408" fmla="*/ 836606 h 4687251"/>
              <a:gd name="connsiteX48409" fmla="*/ 3464611 w 8079933"/>
              <a:gd name="connsiteY48409" fmla="*/ 839529 h 4687251"/>
              <a:gd name="connsiteX48410" fmla="*/ 3466021 w 8079933"/>
              <a:gd name="connsiteY48410" fmla="*/ 840287 h 4687251"/>
              <a:gd name="connsiteX48411" fmla="*/ 3470579 w 8079933"/>
              <a:gd name="connsiteY48411" fmla="*/ 839204 h 4687251"/>
              <a:gd name="connsiteX48412" fmla="*/ 3475245 w 8079933"/>
              <a:gd name="connsiteY48412" fmla="*/ 839204 h 4687251"/>
              <a:gd name="connsiteX48413" fmla="*/ 3481865 w 8079933"/>
              <a:gd name="connsiteY48413" fmla="*/ 841478 h 4687251"/>
              <a:gd name="connsiteX48414" fmla="*/ 3482950 w 8079933"/>
              <a:gd name="connsiteY48414" fmla="*/ 844293 h 4687251"/>
              <a:gd name="connsiteX48415" fmla="*/ 3482950 w 8079933"/>
              <a:gd name="connsiteY48415" fmla="*/ 846459 h 4687251"/>
              <a:gd name="connsiteX48416" fmla="*/ 3486531 w 8079933"/>
              <a:gd name="connsiteY48416" fmla="*/ 842453 h 4687251"/>
              <a:gd name="connsiteX48417" fmla="*/ 3490546 w 8079933"/>
              <a:gd name="connsiteY48417" fmla="*/ 841586 h 4687251"/>
              <a:gd name="connsiteX48418" fmla="*/ 3494995 w 8079933"/>
              <a:gd name="connsiteY48418" fmla="*/ 841586 h 4687251"/>
              <a:gd name="connsiteX48419" fmla="*/ 3499119 w 8079933"/>
              <a:gd name="connsiteY48419" fmla="*/ 843860 h 4687251"/>
              <a:gd name="connsiteX48420" fmla="*/ 3500422 w 8079933"/>
              <a:gd name="connsiteY48420" fmla="*/ 845809 h 4687251"/>
              <a:gd name="connsiteX48421" fmla="*/ 3507584 w 8079933"/>
              <a:gd name="connsiteY48421" fmla="*/ 851331 h 4687251"/>
              <a:gd name="connsiteX48422" fmla="*/ 3508561 w 8079933"/>
              <a:gd name="connsiteY48422" fmla="*/ 853063 h 4687251"/>
              <a:gd name="connsiteX48423" fmla="*/ 3508561 w 8079933"/>
              <a:gd name="connsiteY48423" fmla="*/ 855228 h 4687251"/>
              <a:gd name="connsiteX48424" fmla="*/ 3511165 w 8079933"/>
              <a:gd name="connsiteY48424" fmla="*/ 855228 h 4687251"/>
              <a:gd name="connsiteX48425" fmla="*/ 3512684 w 8079933"/>
              <a:gd name="connsiteY48425" fmla="*/ 856636 h 4687251"/>
              <a:gd name="connsiteX48426" fmla="*/ 3514420 w 8079933"/>
              <a:gd name="connsiteY48426" fmla="*/ 856636 h 4687251"/>
              <a:gd name="connsiteX48427" fmla="*/ 3517784 w 8079933"/>
              <a:gd name="connsiteY48427" fmla="*/ 859884 h 4687251"/>
              <a:gd name="connsiteX48428" fmla="*/ 3520280 w 8079933"/>
              <a:gd name="connsiteY48428" fmla="*/ 860967 h 4687251"/>
              <a:gd name="connsiteX48429" fmla="*/ 3521365 w 8079933"/>
              <a:gd name="connsiteY48429" fmla="*/ 863890 h 4687251"/>
              <a:gd name="connsiteX48430" fmla="*/ 3523318 w 8079933"/>
              <a:gd name="connsiteY48430" fmla="*/ 866055 h 4687251"/>
              <a:gd name="connsiteX48431" fmla="*/ 3525054 w 8079933"/>
              <a:gd name="connsiteY48431" fmla="*/ 866055 h 4687251"/>
              <a:gd name="connsiteX48432" fmla="*/ 3526574 w 8079933"/>
              <a:gd name="connsiteY48432" fmla="*/ 868545 h 4687251"/>
              <a:gd name="connsiteX48433" fmla="*/ 3528527 w 8079933"/>
              <a:gd name="connsiteY48433" fmla="*/ 870278 h 4687251"/>
              <a:gd name="connsiteX48434" fmla="*/ 3528527 w 8079933"/>
              <a:gd name="connsiteY48434" fmla="*/ 871577 h 4687251"/>
              <a:gd name="connsiteX48435" fmla="*/ 3526466 w 8079933"/>
              <a:gd name="connsiteY48435" fmla="*/ 876233 h 4687251"/>
              <a:gd name="connsiteX48436" fmla="*/ 3523861 w 8079933"/>
              <a:gd name="connsiteY48436" fmla="*/ 877857 h 4687251"/>
              <a:gd name="connsiteX48437" fmla="*/ 3522016 w 8079933"/>
              <a:gd name="connsiteY48437" fmla="*/ 880780 h 4687251"/>
              <a:gd name="connsiteX48438" fmla="*/ 3521148 w 8079933"/>
              <a:gd name="connsiteY48438" fmla="*/ 883920 h 4687251"/>
              <a:gd name="connsiteX48439" fmla="*/ 3521148 w 8079933"/>
              <a:gd name="connsiteY48439" fmla="*/ 885003 h 4687251"/>
              <a:gd name="connsiteX48440" fmla="*/ 3524295 w 8079933"/>
              <a:gd name="connsiteY48440" fmla="*/ 881538 h 4687251"/>
              <a:gd name="connsiteX48441" fmla="*/ 3528093 w 8079933"/>
              <a:gd name="connsiteY48441" fmla="*/ 878398 h 4687251"/>
              <a:gd name="connsiteX48442" fmla="*/ 3530589 w 8079933"/>
              <a:gd name="connsiteY48442" fmla="*/ 877316 h 4687251"/>
              <a:gd name="connsiteX48443" fmla="*/ 3531891 w 8079933"/>
              <a:gd name="connsiteY48443" fmla="*/ 877965 h 4687251"/>
              <a:gd name="connsiteX48444" fmla="*/ 3530481 w 8079933"/>
              <a:gd name="connsiteY48444" fmla="*/ 880563 h 4687251"/>
              <a:gd name="connsiteX48445" fmla="*/ 3529070 w 8079933"/>
              <a:gd name="connsiteY48445" fmla="*/ 884461 h 4687251"/>
              <a:gd name="connsiteX48446" fmla="*/ 3530481 w 8079933"/>
              <a:gd name="connsiteY48446" fmla="*/ 883271 h 4687251"/>
              <a:gd name="connsiteX48447" fmla="*/ 3531674 w 8079933"/>
              <a:gd name="connsiteY48447" fmla="*/ 880889 h 4687251"/>
              <a:gd name="connsiteX48448" fmla="*/ 3533302 w 8079933"/>
              <a:gd name="connsiteY48448" fmla="*/ 878940 h 4687251"/>
              <a:gd name="connsiteX48449" fmla="*/ 3536123 w 8079933"/>
              <a:gd name="connsiteY48449" fmla="*/ 878940 h 4687251"/>
              <a:gd name="connsiteX48450" fmla="*/ 3538402 w 8079933"/>
              <a:gd name="connsiteY48450" fmla="*/ 881213 h 4687251"/>
              <a:gd name="connsiteX48451" fmla="*/ 3536883 w 8079933"/>
              <a:gd name="connsiteY48451" fmla="*/ 884245 h 4687251"/>
              <a:gd name="connsiteX48452" fmla="*/ 3532651 w 8079933"/>
              <a:gd name="connsiteY48452" fmla="*/ 886410 h 4687251"/>
              <a:gd name="connsiteX48453" fmla="*/ 3529179 w 8079933"/>
              <a:gd name="connsiteY48453" fmla="*/ 889334 h 4687251"/>
              <a:gd name="connsiteX48454" fmla="*/ 3528093 w 8079933"/>
              <a:gd name="connsiteY48454" fmla="*/ 892365 h 4687251"/>
              <a:gd name="connsiteX48455" fmla="*/ 3528093 w 8079933"/>
              <a:gd name="connsiteY48455" fmla="*/ 895071 h 4687251"/>
              <a:gd name="connsiteX48456" fmla="*/ 3529179 w 8079933"/>
              <a:gd name="connsiteY48456" fmla="*/ 896696 h 4687251"/>
              <a:gd name="connsiteX48457" fmla="*/ 3529179 w 8079933"/>
              <a:gd name="connsiteY48457" fmla="*/ 899077 h 4687251"/>
              <a:gd name="connsiteX48458" fmla="*/ 3527984 w 8079933"/>
              <a:gd name="connsiteY48458" fmla="*/ 904167 h 4687251"/>
              <a:gd name="connsiteX48459" fmla="*/ 3527984 w 8079933"/>
              <a:gd name="connsiteY48459" fmla="*/ 905791 h 4687251"/>
              <a:gd name="connsiteX48460" fmla="*/ 3530047 w 8079933"/>
              <a:gd name="connsiteY48460" fmla="*/ 905141 h 4687251"/>
              <a:gd name="connsiteX48461" fmla="*/ 3531023 w 8079933"/>
              <a:gd name="connsiteY48461" fmla="*/ 899295 h 4687251"/>
              <a:gd name="connsiteX48462" fmla="*/ 3534170 w 8079933"/>
              <a:gd name="connsiteY48462" fmla="*/ 894422 h 4687251"/>
              <a:gd name="connsiteX48463" fmla="*/ 3537751 w 8079933"/>
              <a:gd name="connsiteY48463" fmla="*/ 892473 h 4687251"/>
              <a:gd name="connsiteX48464" fmla="*/ 3539488 w 8079933"/>
              <a:gd name="connsiteY48464" fmla="*/ 892473 h 4687251"/>
              <a:gd name="connsiteX48465" fmla="*/ 3539488 w 8079933"/>
              <a:gd name="connsiteY48465" fmla="*/ 894314 h 4687251"/>
              <a:gd name="connsiteX48466" fmla="*/ 3537208 w 8079933"/>
              <a:gd name="connsiteY48466" fmla="*/ 898536 h 4687251"/>
              <a:gd name="connsiteX48467" fmla="*/ 3535581 w 8079933"/>
              <a:gd name="connsiteY48467" fmla="*/ 902109 h 4687251"/>
              <a:gd name="connsiteX48468" fmla="*/ 3536232 w 8079933"/>
              <a:gd name="connsiteY48468" fmla="*/ 903950 h 4687251"/>
              <a:gd name="connsiteX48469" fmla="*/ 3538620 w 8079933"/>
              <a:gd name="connsiteY48469" fmla="*/ 902867 h 4687251"/>
              <a:gd name="connsiteX48470" fmla="*/ 3540030 w 8079933"/>
              <a:gd name="connsiteY48470" fmla="*/ 904599 h 4687251"/>
              <a:gd name="connsiteX48471" fmla="*/ 3540030 w 8079933"/>
              <a:gd name="connsiteY48471" fmla="*/ 908930 h 4687251"/>
              <a:gd name="connsiteX48472" fmla="*/ 3537968 w 8079933"/>
              <a:gd name="connsiteY48472" fmla="*/ 910987 h 4687251"/>
              <a:gd name="connsiteX48473" fmla="*/ 3533845 w 8079933"/>
              <a:gd name="connsiteY48473" fmla="*/ 911637 h 4687251"/>
              <a:gd name="connsiteX48474" fmla="*/ 3532759 w 8079933"/>
              <a:gd name="connsiteY48474" fmla="*/ 913586 h 4687251"/>
              <a:gd name="connsiteX48475" fmla="*/ 3532759 w 8079933"/>
              <a:gd name="connsiteY48475" fmla="*/ 915535 h 4687251"/>
              <a:gd name="connsiteX48476" fmla="*/ 3537425 w 8079933"/>
              <a:gd name="connsiteY48476" fmla="*/ 913803 h 4687251"/>
              <a:gd name="connsiteX48477" fmla="*/ 3538511 w 8079933"/>
              <a:gd name="connsiteY48477" fmla="*/ 915210 h 4687251"/>
              <a:gd name="connsiteX48478" fmla="*/ 3537860 w 8079933"/>
              <a:gd name="connsiteY48478" fmla="*/ 917592 h 4687251"/>
              <a:gd name="connsiteX48479" fmla="*/ 3536558 w 8079933"/>
              <a:gd name="connsiteY48479" fmla="*/ 920299 h 4687251"/>
              <a:gd name="connsiteX48480" fmla="*/ 3538511 w 8079933"/>
              <a:gd name="connsiteY48480" fmla="*/ 920299 h 4687251"/>
              <a:gd name="connsiteX48481" fmla="*/ 3540030 w 8079933"/>
              <a:gd name="connsiteY48481" fmla="*/ 922789 h 4687251"/>
              <a:gd name="connsiteX48482" fmla="*/ 3539161 w 8079933"/>
              <a:gd name="connsiteY48482" fmla="*/ 924521 h 4687251"/>
              <a:gd name="connsiteX48483" fmla="*/ 3539161 w 8079933"/>
              <a:gd name="connsiteY48483" fmla="*/ 929069 h 4687251"/>
              <a:gd name="connsiteX48484" fmla="*/ 3538076 w 8079933"/>
              <a:gd name="connsiteY48484" fmla="*/ 931776 h 4687251"/>
              <a:gd name="connsiteX48485" fmla="*/ 3538076 w 8079933"/>
              <a:gd name="connsiteY48485" fmla="*/ 939138 h 4687251"/>
              <a:gd name="connsiteX48486" fmla="*/ 3538728 w 8079933"/>
              <a:gd name="connsiteY48486" fmla="*/ 942277 h 4687251"/>
              <a:gd name="connsiteX48487" fmla="*/ 3538728 w 8079933"/>
              <a:gd name="connsiteY48487" fmla="*/ 945526 h 4687251"/>
              <a:gd name="connsiteX48488" fmla="*/ 3536449 w 8079933"/>
              <a:gd name="connsiteY48488" fmla="*/ 947150 h 4687251"/>
              <a:gd name="connsiteX48489" fmla="*/ 3533845 w 8079933"/>
              <a:gd name="connsiteY48489" fmla="*/ 947150 h 4687251"/>
              <a:gd name="connsiteX48490" fmla="*/ 3532217 w 8079933"/>
              <a:gd name="connsiteY48490" fmla="*/ 947150 h 4687251"/>
              <a:gd name="connsiteX48491" fmla="*/ 3531240 w 8079933"/>
              <a:gd name="connsiteY48491" fmla="*/ 945850 h 4687251"/>
              <a:gd name="connsiteX48492" fmla="*/ 3532325 w 8079933"/>
              <a:gd name="connsiteY48492" fmla="*/ 943577 h 4687251"/>
              <a:gd name="connsiteX48493" fmla="*/ 3531132 w 8079933"/>
              <a:gd name="connsiteY48493" fmla="*/ 941411 h 4687251"/>
              <a:gd name="connsiteX48494" fmla="*/ 3529070 w 8079933"/>
              <a:gd name="connsiteY48494" fmla="*/ 939896 h 4687251"/>
              <a:gd name="connsiteX48495" fmla="*/ 3526357 w 8079933"/>
              <a:gd name="connsiteY48495" fmla="*/ 940978 h 4687251"/>
              <a:gd name="connsiteX48496" fmla="*/ 3524729 w 8079933"/>
              <a:gd name="connsiteY48496" fmla="*/ 942494 h 4687251"/>
              <a:gd name="connsiteX48497" fmla="*/ 3522450 w 8079933"/>
              <a:gd name="connsiteY48497" fmla="*/ 941520 h 4687251"/>
              <a:gd name="connsiteX48498" fmla="*/ 3522450 w 8079933"/>
              <a:gd name="connsiteY48498" fmla="*/ 938488 h 4687251"/>
              <a:gd name="connsiteX48499" fmla="*/ 3524512 w 8079933"/>
              <a:gd name="connsiteY48499" fmla="*/ 934807 h 4687251"/>
              <a:gd name="connsiteX48500" fmla="*/ 3522884 w 8079933"/>
              <a:gd name="connsiteY48500" fmla="*/ 930476 h 4687251"/>
              <a:gd name="connsiteX48501" fmla="*/ 3522884 w 8079933"/>
              <a:gd name="connsiteY48501" fmla="*/ 927120 h 4687251"/>
              <a:gd name="connsiteX48502" fmla="*/ 3523969 w 8079933"/>
              <a:gd name="connsiteY48502" fmla="*/ 923547 h 4687251"/>
              <a:gd name="connsiteX48503" fmla="*/ 3522559 w 8079933"/>
              <a:gd name="connsiteY48503" fmla="*/ 921598 h 4687251"/>
              <a:gd name="connsiteX48504" fmla="*/ 3521148 w 8079933"/>
              <a:gd name="connsiteY48504" fmla="*/ 921598 h 4687251"/>
              <a:gd name="connsiteX48505" fmla="*/ 3519955 w 8079933"/>
              <a:gd name="connsiteY48505" fmla="*/ 924305 h 4687251"/>
              <a:gd name="connsiteX48506" fmla="*/ 3518978 w 8079933"/>
              <a:gd name="connsiteY48506" fmla="*/ 928852 h 4687251"/>
              <a:gd name="connsiteX48507" fmla="*/ 3518978 w 8079933"/>
              <a:gd name="connsiteY48507" fmla="*/ 934807 h 4687251"/>
              <a:gd name="connsiteX48508" fmla="*/ 3518978 w 8079933"/>
              <a:gd name="connsiteY48508" fmla="*/ 940221 h 4687251"/>
              <a:gd name="connsiteX48509" fmla="*/ 3518978 w 8079933"/>
              <a:gd name="connsiteY48509" fmla="*/ 943036 h 4687251"/>
              <a:gd name="connsiteX48510" fmla="*/ 3517458 w 8079933"/>
              <a:gd name="connsiteY48510" fmla="*/ 944119 h 4687251"/>
              <a:gd name="connsiteX48511" fmla="*/ 3514637 w 8079933"/>
              <a:gd name="connsiteY48511" fmla="*/ 944119 h 4687251"/>
              <a:gd name="connsiteX48512" fmla="*/ 3511599 w 8079933"/>
              <a:gd name="connsiteY48512" fmla="*/ 944768 h 4687251"/>
              <a:gd name="connsiteX48513" fmla="*/ 3508561 w 8079933"/>
              <a:gd name="connsiteY48513" fmla="*/ 945850 h 4687251"/>
              <a:gd name="connsiteX48514" fmla="*/ 3506064 w 8079933"/>
              <a:gd name="connsiteY48514" fmla="*/ 943469 h 4687251"/>
              <a:gd name="connsiteX48515" fmla="*/ 3500422 w 8079933"/>
              <a:gd name="connsiteY48515" fmla="*/ 939030 h 4687251"/>
              <a:gd name="connsiteX48516" fmla="*/ 3496731 w 8079933"/>
              <a:gd name="connsiteY48516" fmla="*/ 931992 h 4687251"/>
              <a:gd name="connsiteX48517" fmla="*/ 3493585 w 8079933"/>
              <a:gd name="connsiteY48517" fmla="*/ 928419 h 4687251"/>
              <a:gd name="connsiteX48518" fmla="*/ 3491414 w 8079933"/>
              <a:gd name="connsiteY48518" fmla="*/ 925821 h 4687251"/>
              <a:gd name="connsiteX48519" fmla="*/ 3490221 w 8079933"/>
              <a:gd name="connsiteY48519" fmla="*/ 918025 h 4687251"/>
              <a:gd name="connsiteX48520" fmla="*/ 3488051 w 8079933"/>
              <a:gd name="connsiteY48520" fmla="*/ 914236 h 4687251"/>
              <a:gd name="connsiteX48521" fmla="*/ 3485446 w 8079933"/>
              <a:gd name="connsiteY48521" fmla="*/ 911096 h 4687251"/>
              <a:gd name="connsiteX48522" fmla="*/ 3484578 w 8079933"/>
              <a:gd name="connsiteY48522" fmla="*/ 905683 h 4687251"/>
              <a:gd name="connsiteX48523" fmla="*/ 3485338 w 8079933"/>
              <a:gd name="connsiteY48523" fmla="*/ 901026 h 4687251"/>
              <a:gd name="connsiteX48524" fmla="*/ 3486965 w 8079933"/>
              <a:gd name="connsiteY48524" fmla="*/ 897887 h 4687251"/>
              <a:gd name="connsiteX48525" fmla="*/ 3485772 w 8079933"/>
              <a:gd name="connsiteY48525" fmla="*/ 895613 h 4687251"/>
              <a:gd name="connsiteX48526" fmla="*/ 3484361 w 8079933"/>
              <a:gd name="connsiteY48526" fmla="*/ 895613 h 4687251"/>
              <a:gd name="connsiteX48527" fmla="*/ 3479695 w 8079933"/>
              <a:gd name="connsiteY48527" fmla="*/ 896804 h 4687251"/>
              <a:gd name="connsiteX48528" fmla="*/ 3478175 w 8079933"/>
              <a:gd name="connsiteY48528" fmla="*/ 898645 h 4687251"/>
              <a:gd name="connsiteX48529" fmla="*/ 3475028 w 8079933"/>
              <a:gd name="connsiteY48529" fmla="*/ 896263 h 4687251"/>
              <a:gd name="connsiteX48530" fmla="*/ 3467215 w 8079933"/>
              <a:gd name="connsiteY48530" fmla="*/ 886085 h 4687251"/>
              <a:gd name="connsiteX48531" fmla="*/ 3467215 w 8079933"/>
              <a:gd name="connsiteY48531" fmla="*/ 882512 h 4687251"/>
              <a:gd name="connsiteX48532" fmla="*/ 3465479 w 8079933"/>
              <a:gd name="connsiteY48532" fmla="*/ 880672 h 4687251"/>
              <a:gd name="connsiteX48533" fmla="*/ 3462549 w 8079933"/>
              <a:gd name="connsiteY48533" fmla="*/ 882187 h 4687251"/>
              <a:gd name="connsiteX48534" fmla="*/ 3458100 w 8079933"/>
              <a:gd name="connsiteY48534" fmla="*/ 882837 h 4687251"/>
              <a:gd name="connsiteX48535" fmla="*/ 3454302 w 8079933"/>
              <a:gd name="connsiteY48535" fmla="*/ 881104 h 4687251"/>
              <a:gd name="connsiteX48536" fmla="*/ 3452566 w 8079933"/>
              <a:gd name="connsiteY48536" fmla="*/ 882187 h 4687251"/>
              <a:gd name="connsiteX48537" fmla="*/ 3449853 w 8079933"/>
              <a:gd name="connsiteY48537" fmla="*/ 883595 h 4687251"/>
              <a:gd name="connsiteX48538" fmla="*/ 3447791 w 8079933"/>
              <a:gd name="connsiteY48538" fmla="*/ 882404 h 4687251"/>
              <a:gd name="connsiteX48539" fmla="*/ 3444644 w 8079933"/>
              <a:gd name="connsiteY48539" fmla="*/ 878831 h 4687251"/>
              <a:gd name="connsiteX48540" fmla="*/ 3444644 w 8079933"/>
              <a:gd name="connsiteY48540" fmla="*/ 876557 h 4687251"/>
              <a:gd name="connsiteX48541" fmla="*/ 3439110 w 8079933"/>
              <a:gd name="connsiteY48541" fmla="*/ 871577 h 4687251"/>
              <a:gd name="connsiteX48542" fmla="*/ 3439110 w 8079933"/>
              <a:gd name="connsiteY48542" fmla="*/ 869195 h 4687251"/>
              <a:gd name="connsiteX48543" fmla="*/ 3437048 w 8079933"/>
              <a:gd name="connsiteY48543" fmla="*/ 866596 h 4687251"/>
              <a:gd name="connsiteX48544" fmla="*/ 3435529 w 8079933"/>
              <a:gd name="connsiteY48544" fmla="*/ 861400 h 4687251"/>
              <a:gd name="connsiteX48545" fmla="*/ 3433250 w 8079933"/>
              <a:gd name="connsiteY48545" fmla="*/ 858693 h 4687251"/>
              <a:gd name="connsiteX48546" fmla="*/ 3431839 w 8079933"/>
              <a:gd name="connsiteY48546" fmla="*/ 860967 h 4687251"/>
              <a:gd name="connsiteX48547" fmla="*/ 3431839 w 8079933"/>
              <a:gd name="connsiteY48547" fmla="*/ 864973 h 4687251"/>
              <a:gd name="connsiteX48548" fmla="*/ 3431839 w 8079933"/>
              <a:gd name="connsiteY48548" fmla="*/ 866813 h 4687251"/>
              <a:gd name="connsiteX48549" fmla="*/ 3427389 w 8079933"/>
              <a:gd name="connsiteY48549" fmla="*/ 869087 h 4687251"/>
              <a:gd name="connsiteX48550" fmla="*/ 3425871 w 8079933"/>
              <a:gd name="connsiteY48550" fmla="*/ 870602 h 4687251"/>
              <a:gd name="connsiteX48551" fmla="*/ 3429994 w 8079933"/>
              <a:gd name="connsiteY48551" fmla="*/ 870602 h 4687251"/>
              <a:gd name="connsiteX48552" fmla="*/ 3432382 w 8079933"/>
              <a:gd name="connsiteY48552" fmla="*/ 872118 h 4687251"/>
              <a:gd name="connsiteX48553" fmla="*/ 3435312 w 8079933"/>
              <a:gd name="connsiteY48553" fmla="*/ 876449 h 4687251"/>
              <a:gd name="connsiteX48554" fmla="*/ 3437698 w 8079933"/>
              <a:gd name="connsiteY48554" fmla="*/ 880022 h 4687251"/>
              <a:gd name="connsiteX48555" fmla="*/ 3436614 w 8079933"/>
              <a:gd name="connsiteY48555" fmla="*/ 882079 h 4687251"/>
              <a:gd name="connsiteX48556" fmla="*/ 3431622 w 8079933"/>
              <a:gd name="connsiteY48556" fmla="*/ 882079 h 4687251"/>
              <a:gd name="connsiteX48557" fmla="*/ 3429343 w 8079933"/>
              <a:gd name="connsiteY48557" fmla="*/ 884136 h 4687251"/>
              <a:gd name="connsiteX48558" fmla="*/ 3426088 w 8079933"/>
              <a:gd name="connsiteY48558" fmla="*/ 885977 h 4687251"/>
              <a:gd name="connsiteX48559" fmla="*/ 3423375 w 8079933"/>
              <a:gd name="connsiteY48559" fmla="*/ 883595 h 4687251"/>
              <a:gd name="connsiteX48560" fmla="*/ 3423375 w 8079933"/>
              <a:gd name="connsiteY48560" fmla="*/ 886302 h 4687251"/>
              <a:gd name="connsiteX48561" fmla="*/ 3426304 w 8079933"/>
              <a:gd name="connsiteY48561" fmla="*/ 888359 h 4687251"/>
              <a:gd name="connsiteX48562" fmla="*/ 3429451 w 8079933"/>
              <a:gd name="connsiteY48562" fmla="*/ 888359 h 4687251"/>
              <a:gd name="connsiteX48563" fmla="*/ 3433901 w 8079933"/>
              <a:gd name="connsiteY48563" fmla="*/ 884569 h 4687251"/>
              <a:gd name="connsiteX48564" fmla="*/ 3436614 w 8079933"/>
              <a:gd name="connsiteY48564" fmla="*/ 884569 h 4687251"/>
              <a:gd name="connsiteX48565" fmla="*/ 3441496 w 8079933"/>
              <a:gd name="connsiteY48565" fmla="*/ 882729 h 4687251"/>
              <a:gd name="connsiteX48566" fmla="*/ 3442691 w 8079933"/>
              <a:gd name="connsiteY48566" fmla="*/ 884245 h 4687251"/>
              <a:gd name="connsiteX48567" fmla="*/ 3442691 w 8079933"/>
              <a:gd name="connsiteY48567" fmla="*/ 886843 h 4687251"/>
              <a:gd name="connsiteX48568" fmla="*/ 3444427 w 8079933"/>
              <a:gd name="connsiteY48568" fmla="*/ 888900 h 4687251"/>
              <a:gd name="connsiteX48569" fmla="*/ 3449202 w 8079933"/>
              <a:gd name="connsiteY48569" fmla="*/ 886626 h 4687251"/>
              <a:gd name="connsiteX48570" fmla="*/ 3451046 w 8079933"/>
              <a:gd name="connsiteY48570" fmla="*/ 886626 h 4687251"/>
              <a:gd name="connsiteX48571" fmla="*/ 3461898 w 8079933"/>
              <a:gd name="connsiteY48571" fmla="*/ 889875 h 4687251"/>
              <a:gd name="connsiteX48572" fmla="*/ 3466021 w 8079933"/>
              <a:gd name="connsiteY48572" fmla="*/ 891932 h 4687251"/>
              <a:gd name="connsiteX48573" fmla="*/ 3468300 w 8079933"/>
              <a:gd name="connsiteY48573" fmla="*/ 891932 h 4687251"/>
              <a:gd name="connsiteX48574" fmla="*/ 3469494 w 8079933"/>
              <a:gd name="connsiteY48574" fmla="*/ 895180 h 4687251"/>
              <a:gd name="connsiteX48575" fmla="*/ 3471773 w 8079933"/>
              <a:gd name="connsiteY48575" fmla="*/ 900052 h 4687251"/>
              <a:gd name="connsiteX48576" fmla="*/ 3469928 w 8079933"/>
              <a:gd name="connsiteY48576" fmla="*/ 904058 h 4687251"/>
              <a:gd name="connsiteX48577" fmla="*/ 3466781 w 8079933"/>
              <a:gd name="connsiteY48577" fmla="*/ 905358 h 4687251"/>
              <a:gd name="connsiteX48578" fmla="*/ 3464286 w 8079933"/>
              <a:gd name="connsiteY48578" fmla="*/ 908173 h 4687251"/>
              <a:gd name="connsiteX48579" fmla="*/ 3461464 w 8079933"/>
              <a:gd name="connsiteY48579" fmla="*/ 909580 h 4687251"/>
              <a:gd name="connsiteX48580" fmla="*/ 3458100 w 8079933"/>
              <a:gd name="connsiteY48580" fmla="*/ 909580 h 4687251"/>
              <a:gd name="connsiteX48581" fmla="*/ 3446489 w 8079933"/>
              <a:gd name="connsiteY48581" fmla="*/ 915318 h 4687251"/>
              <a:gd name="connsiteX48582" fmla="*/ 3440520 w 8079933"/>
              <a:gd name="connsiteY48582" fmla="*/ 915318 h 4687251"/>
              <a:gd name="connsiteX48583" fmla="*/ 3436397 w 8079933"/>
              <a:gd name="connsiteY48583" fmla="*/ 916834 h 4687251"/>
              <a:gd name="connsiteX48584" fmla="*/ 3433467 w 8079933"/>
              <a:gd name="connsiteY48584" fmla="*/ 914777 h 4687251"/>
              <a:gd name="connsiteX48585" fmla="*/ 3430970 w 8079933"/>
              <a:gd name="connsiteY48585" fmla="*/ 910446 h 4687251"/>
              <a:gd name="connsiteX48586" fmla="*/ 3430970 w 8079933"/>
              <a:gd name="connsiteY48586" fmla="*/ 907522 h 4687251"/>
              <a:gd name="connsiteX48587" fmla="*/ 3429451 w 8079933"/>
              <a:gd name="connsiteY48587" fmla="*/ 905683 h 4687251"/>
              <a:gd name="connsiteX48588" fmla="*/ 3426847 w 8079933"/>
              <a:gd name="connsiteY48588" fmla="*/ 904708 h 4687251"/>
              <a:gd name="connsiteX48589" fmla="*/ 3426847 w 8079933"/>
              <a:gd name="connsiteY48589" fmla="*/ 909147 h 4687251"/>
              <a:gd name="connsiteX48590" fmla="*/ 3428149 w 8079933"/>
              <a:gd name="connsiteY48590" fmla="*/ 910663 h 4687251"/>
              <a:gd name="connsiteX48591" fmla="*/ 3428801 w 8079933"/>
              <a:gd name="connsiteY48591" fmla="*/ 913044 h 4687251"/>
              <a:gd name="connsiteX48592" fmla="*/ 3427389 w 8079933"/>
              <a:gd name="connsiteY48592" fmla="*/ 914344 h 4687251"/>
              <a:gd name="connsiteX48593" fmla="*/ 3423809 w 8079933"/>
              <a:gd name="connsiteY48593" fmla="*/ 913586 h 4687251"/>
              <a:gd name="connsiteX48594" fmla="*/ 3423809 w 8079933"/>
              <a:gd name="connsiteY48594" fmla="*/ 912503 h 4687251"/>
              <a:gd name="connsiteX48595" fmla="*/ 3422181 w 8079933"/>
              <a:gd name="connsiteY48595" fmla="*/ 912503 h 4687251"/>
              <a:gd name="connsiteX48596" fmla="*/ 3418817 w 8079933"/>
              <a:gd name="connsiteY48596" fmla="*/ 914669 h 4687251"/>
              <a:gd name="connsiteX48597" fmla="*/ 3419793 w 8079933"/>
              <a:gd name="connsiteY48597" fmla="*/ 916185 h 4687251"/>
              <a:gd name="connsiteX48598" fmla="*/ 3423591 w 8079933"/>
              <a:gd name="connsiteY48598" fmla="*/ 917159 h 4687251"/>
              <a:gd name="connsiteX48599" fmla="*/ 3425544 w 8079933"/>
              <a:gd name="connsiteY48599" fmla="*/ 919216 h 4687251"/>
              <a:gd name="connsiteX48600" fmla="*/ 3426196 w 8079933"/>
              <a:gd name="connsiteY48600" fmla="*/ 921815 h 4687251"/>
              <a:gd name="connsiteX48601" fmla="*/ 3424134 w 8079933"/>
              <a:gd name="connsiteY48601" fmla="*/ 924521 h 4687251"/>
              <a:gd name="connsiteX48602" fmla="*/ 3422181 w 8079933"/>
              <a:gd name="connsiteY48602" fmla="*/ 925712 h 4687251"/>
              <a:gd name="connsiteX48603" fmla="*/ 3419360 w 8079933"/>
              <a:gd name="connsiteY48603" fmla="*/ 925712 h 4687251"/>
              <a:gd name="connsiteX48604" fmla="*/ 3418057 w 8079933"/>
              <a:gd name="connsiteY48604" fmla="*/ 927553 h 4687251"/>
              <a:gd name="connsiteX48605" fmla="*/ 3418057 w 8079933"/>
              <a:gd name="connsiteY48605" fmla="*/ 932425 h 4687251"/>
              <a:gd name="connsiteX48606" fmla="*/ 3415127 w 8079933"/>
              <a:gd name="connsiteY48606" fmla="*/ 934482 h 4687251"/>
              <a:gd name="connsiteX48607" fmla="*/ 3406880 w 8079933"/>
              <a:gd name="connsiteY48607" fmla="*/ 938272 h 4687251"/>
              <a:gd name="connsiteX48608" fmla="*/ 3402865 w 8079933"/>
              <a:gd name="connsiteY48608" fmla="*/ 938272 h 4687251"/>
              <a:gd name="connsiteX48609" fmla="*/ 3400152 w 8079933"/>
              <a:gd name="connsiteY48609" fmla="*/ 938272 h 4687251"/>
              <a:gd name="connsiteX48610" fmla="*/ 3396354 w 8079933"/>
              <a:gd name="connsiteY48610" fmla="*/ 941953 h 4687251"/>
              <a:gd name="connsiteX48611" fmla="*/ 3394835 w 8079933"/>
              <a:gd name="connsiteY48611" fmla="*/ 944876 h 4687251"/>
              <a:gd name="connsiteX48612" fmla="*/ 3395920 w 8079933"/>
              <a:gd name="connsiteY48612" fmla="*/ 946067 h 4687251"/>
              <a:gd name="connsiteX48613" fmla="*/ 3403733 w 8079933"/>
              <a:gd name="connsiteY48613" fmla="*/ 942277 h 4687251"/>
              <a:gd name="connsiteX48614" fmla="*/ 3409159 w 8079933"/>
              <a:gd name="connsiteY48614" fmla="*/ 942277 h 4687251"/>
              <a:gd name="connsiteX48615" fmla="*/ 3412957 w 8079933"/>
              <a:gd name="connsiteY48615" fmla="*/ 940978 h 4687251"/>
              <a:gd name="connsiteX48616" fmla="*/ 3415344 w 8079933"/>
              <a:gd name="connsiteY48616" fmla="*/ 942062 h 4687251"/>
              <a:gd name="connsiteX48617" fmla="*/ 3416864 w 8079933"/>
              <a:gd name="connsiteY48617" fmla="*/ 944010 h 4687251"/>
              <a:gd name="connsiteX48618" fmla="*/ 3421964 w 8079933"/>
              <a:gd name="connsiteY48618" fmla="*/ 945093 h 4687251"/>
              <a:gd name="connsiteX48619" fmla="*/ 3425871 w 8079933"/>
              <a:gd name="connsiteY48619" fmla="*/ 945093 h 4687251"/>
              <a:gd name="connsiteX48620" fmla="*/ 3430537 w 8079933"/>
              <a:gd name="connsiteY48620" fmla="*/ 943577 h 4687251"/>
              <a:gd name="connsiteX48621" fmla="*/ 3437590 w 8079933"/>
              <a:gd name="connsiteY48621" fmla="*/ 943577 h 4687251"/>
              <a:gd name="connsiteX48622" fmla="*/ 3440955 w 8079933"/>
              <a:gd name="connsiteY48622" fmla="*/ 945093 h 4687251"/>
              <a:gd name="connsiteX48623" fmla="*/ 3444969 w 8079933"/>
              <a:gd name="connsiteY48623" fmla="*/ 944227 h 4687251"/>
              <a:gd name="connsiteX48624" fmla="*/ 3446922 w 8079933"/>
              <a:gd name="connsiteY48624" fmla="*/ 944227 h 4687251"/>
              <a:gd name="connsiteX48625" fmla="*/ 3448225 w 8079933"/>
              <a:gd name="connsiteY48625" fmla="*/ 945850 h 4687251"/>
              <a:gd name="connsiteX48626" fmla="*/ 3450395 w 8079933"/>
              <a:gd name="connsiteY48626" fmla="*/ 945850 h 4687251"/>
              <a:gd name="connsiteX48627" fmla="*/ 3451589 w 8079933"/>
              <a:gd name="connsiteY48627" fmla="*/ 948124 h 4687251"/>
              <a:gd name="connsiteX48628" fmla="*/ 3450178 w 8079933"/>
              <a:gd name="connsiteY48628" fmla="*/ 950290 h 4687251"/>
              <a:gd name="connsiteX48629" fmla="*/ 3446271 w 8079933"/>
              <a:gd name="connsiteY48629" fmla="*/ 951372 h 4687251"/>
              <a:gd name="connsiteX48630" fmla="*/ 3441496 w 8079933"/>
              <a:gd name="connsiteY48630" fmla="*/ 950073 h 4687251"/>
              <a:gd name="connsiteX48631" fmla="*/ 3437698 w 8079933"/>
              <a:gd name="connsiteY48631" fmla="*/ 950073 h 4687251"/>
              <a:gd name="connsiteX48632" fmla="*/ 3434226 w 8079933"/>
              <a:gd name="connsiteY48632" fmla="*/ 953321 h 4687251"/>
              <a:gd name="connsiteX48633" fmla="*/ 3428692 w 8079933"/>
              <a:gd name="connsiteY48633" fmla="*/ 953862 h 4687251"/>
              <a:gd name="connsiteX48634" fmla="*/ 3425003 w 8079933"/>
              <a:gd name="connsiteY48634" fmla="*/ 955811 h 4687251"/>
              <a:gd name="connsiteX48635" fmla="*/ 3421855 w 8079933"/>
              <a:gd name="connsiteY48635" fmla="*/ 954621 h 4687251"/>
              <a:gd name="connsiteX48636" fmla="*/ 3419251 w 8079933"/>
              <a:gd name="connsiteY48636" fmla="*/ 952239 h 4687251"/>
              <a:gd name="connsiteX48637" fmla="*/ 3414910 w 8079933"/>
              <a:gd name="connsiteY48637" fmla="*/ 952239 h 4687251"/>
              <a:gd name="connsiteX48638" fmla="*/ 3412305 w 8079933"/>
              <a:gd name="connsiteY48638" fmla="*/ 955054 h 4687251"/>
              <a:gd name="connsiteX48639" fmla="*/ 3414151 w 8079933"/>
              <a:gd name="connsiteY48639" fmla="*/ 956894 h 4687251"/>
              <a:gd name="connsiteX48640" fmla="*/ 3416647 w 8079933"/>
              <a:gd name="connsiteY48640" fmla="*/ 955811 h 4687251"/>
              <a:gd name="connsiteX48641" fmla="*/ 3419577 w 8079933"/>
              <a:gd name="connsiteY48641" fmla="*/ 957327 h 4687251"/>
              <a:gd name="connsiteX48642" fmla="*/ 3427389 w 8079933"/>
              <a:gd name="connsiteY48642" fmla="*/ 957327 h 4687251"/>
              <a:gd name="connsiteX48643" fmla="*/ 3429451 w 8079933"/>
              <a:gd name="connsiteY48643" fmla="*/ 958843 h 4687251"/>
              <a:gd name="connsiteX48644" fmla="*/ 3431622 w 8079933"/>
              <a:gd name="connsiteY48644" fmla="*/ 961550 h 4687251"/>
              <a:gd name="connsiteX48645" fmla="*/ 3433250 w 8079933"/>
              <a:gd name="connsiteY48645" fmla="*/ 958410 h 4687251"/>
              <a:gd name="connsiteX48646" fmla="*/ 3439218 w 8079933"/>
              <a:gd name="connsiteY48646" fmla="*/ 953105 h 4687251"/>
              <a:gd name="connsiteX48647" fmla="*/ 3442582 w 8079933"/>
              <a:gd name="connsiteY48647" fmla="*/ 953105 h 4687251"/>
              <a:gd name="connsiteX48648" fmla="*/ 3445512 w 8079933"/>
              <a:gd name="connsiteY48648" fmla="*/ 951697 h 4687251"/>
              <a:gd name="connsiteX48649" fmla="*/ 3448225 w 8079933"/>
              <a:gd name="connsiteY48649" fmla="*/ 952780 h 4687251"/>
              <a:gd name="connsiteX48650" fmla="*/ 3450178 w 8079933"/>
              <a:gd name="connsiteY48650" fmla="*/ 954296 h 4687251"/>
              <a:gd name="connsiteX48651" fmla="*/ 3452891 w 8079933"/>
              <a:gd name="connsiteY48651" fmla="*/ 953213 h 4687251"/>
              <a:gd name="connsiteX48652" fmla="*/ 3459402 w 8079933"/>
              <a:gd name="connsiteY48652" fmla="*/ 953213 h 4687251"/>
              <a:gd name="connsiteX48653" fmla="*/ 3462549 w 8079933"/>
              <a:gd name="connsiteY48653" fmla="*/ 951481 h 4687251"/>
              <a:gd name="connsiteX48654" fmla="*/ 3469060 w 8079933"/>
              <a:gd name="connsiteY48654" fmla="*/ 946717 h 4687251"/>
              <a:gd name="connsiteX48655" fmla="*/ 3471339 w 8079933"/>
              <a:gd name="connsiteY48655" fmla="*/ 944552 h 4687251"/>
              <a:gd name="connsiteX48656" fmla="*/ 3471339 w 8079933"/>
              <a:gd name="connsiteY48656" fmla="*/ 945959 h 4687251"/>
              <a:gd name="connsiteX48657" fmla="*/ 3470688 w 8079933"/>
              <a:gd name="connsiteY48657" fmla="*/ 948341 h 4687251"/>
              <a:gd name="connsiteX48658" fmla="*/ 3471773 w 8079933"/>
              <a:gd name="connsiteY48658" fmla="*/ 949207 h 4687251"/>
              <a:gd name="connsiteX48659" fmla="*/ 3475137 w 8079933"/>
              <a:gd name="connsiteY48659" fmla="*/ 947366 h 4687251"/>
              <a:gd name="connsiteX48660" fmla="*/ 3476765 w 8079933"/>
              <a:gd name="connsiteY48660" fmla="*/ 947366 h 4687251"/>
              <a:gd name="connsiteX48661" fmla="*/ 3478393 w 8079933"/>
              <a:gd name="connsiteY48661" fmla="*/ 949423 h 4687251"/>
              <a:gd name="connsiteX48662" fmla="*/ 3484578 w 8079933"/>
              <a:gd name="connsiteY48662" fmla="*/ 954404 h 4687251"/>
              <a:gd name="connsiteX48663" fmla="*/ 3491306 w 8079933"/>
              <a:gd name="connsiteY48663" fmla="*/ 955378 h 4687251"/>
              <a:gd name="connsiteX48664" fmla="*/ 3496623 w 8079933"/>
              <a:gd name="connsiteY48664" fmla="*/ 957868 h 4687251"/>
              <a:gd name="connsiteX48665" fmla="*/ 3502591 w 8079933"/>
              <a:gd name="connsiteY48665" fmla="*/ 959276 h 4687251"/>
              <a:gd name="connsiteX48666" fmla="*/ 3505956 w 8079933"/>
              <a:gd name="connsiteY48666" fmla="*/ 959276 h 4687251"/>
              <a:gd name="connsiteX48667" fmla="*/ 3512467 w 8079933"/>
              <a:gd name="connsiteY48667" fmla="*/ 959276 h 4687251"/>
              <a:gd name="connsiteX48668" fmla="*/ 3514095 w 8079933"/>
              <a:gd name="connsiteY48668" fmla="*/ 960250 h 4687251"/>
              <a:gd name="connsiteX48669" fmla="*/ 3519629 w 8079933"/>
              <a:gd name="connsiteY48669" fmla="*/ 960250 h 4687251"/>
              <a:gd name="connsiteX48670" fmla="*/ 3525597 w 8079933"/>
              <a:gd name="connsiteY48670" fmla="*/ 958193 h 4687251"/>
              <a:gd name="connsiteX48671" fmla="*/ 3525597 w 8079933"/>
              <a:gd name="connsiteY48671" fmla="*/ 959384 h 4687251"/>
              <a:gd name="connsiteX48672" fmla="*/ 3523318 w 8079933"/>
              <a:gd name="connsiteY48672" fmla="*/ 963499 h 4687251"/>
              <a:gd name="connsiteX48673" fmla="*/ 3518869 w 8079933"/>
              <a:gd name="connsiteY48673" fmla="*/ 966313 h 4687251"/>
              <a:gd name="connsiteX48674" fmla="*/ 3513877 w 8079933"/>
              <a:gd name="connsiteY48674" fmla="*/ 967180 h 4687251"/>
              <a:gd name="connsiteX48675" fmla="*/ 3511816 w 8079933"/>
              <a:gd name="connsiteY48675" fmla="*/ 966422 h 4687251"/>
              <a:gd name="connsiteX48676" fmla="*/ 3508234 w 8079933"/>
              <a:gd name="connsiteY48676" fmla="*/ 969021 h 4687251"/>
              <a:gd name="connsiteX48677" fmla="*/ 3508234 w 8079933"/>
              <a:gd name="connsiteY48677" fmla="*/ 970970 h 4687251"/>
              <a:gd name="connsiteX48678" fmla="*/ 3510622 w 8079933"/>
              <a:gd name="connsiteY48678" fmla="*/ 972702 h 4687251"/>
              <a:gd name="connsiteX48679" fmla="*/ 3510622 w 8079933"/>
              <a:gd name="connsiteY48679" fmla="*/ 974867 h 4687251"/>
              <a:gd name="connsiteX48680" fmla="*/ 3509102 w 8079933"/>
              <a:gd name="connsiteY48680" fmla="*/ 975950 h 4687251"/>
              <a:gd name="connsiteX48681" fmla="*/ 3506824 w 8079933"/>
              <a:gd name="connsiteY48681" fmla="*/ 975300 h 4687251"/>
              <a:gd name="connsiteX48682" fmla="*/ 3505088 w 8079933"/>
              <a:gd name="connsiteY48682" fmla="*/ 973460 h 4687251"/>
              <a:gd name="connsiteX48683" fmla="*/ 3503135 w 8079933"/>
              <a:gd name="connsiteY48683" fmla="*/ 972702 h 4687251"/>
              <a:gd name="connsiteX48684" fmla="*/ 3502049 w 8079933"/>
              <a:gd name="connsiteY48684" fmla="*/ 975300 h 4687251"/>
              <a:gd name="connsiteX48685" fmla="*/ 3501398 w 8079933"/>
              <a:gd name="connsiteY48685" fmla="*/ 977249 h 4687251"/>
              <a:gd name="connsiteX48686" fmla="*/ 3499336 w 8079933"/>
              <a:gd name="connsiteY48686" fmla="*/ 975841 h 4687251"/>
              <a:gd name="connsiteX48687" fmla="*/ 3494995 w 8079933"/>
              <a:gd name="connsiteY48687" fmla="*/ 975841 h 4687251"/>
              <a:gd name="connsiteX48688" fmla="*/ 3494127 w 8079933"/>
              <a:gd name="connsiteY48688" fmla="*/ 977033 h 4687251"/>
              <a:gd name="connsiteX48689" fmla="*/ 3494127 w 8079933"/>
              <a:gd name="connsiteY48689" fmla="*/ 979306 h 4687251"/>
              <a:gd name="connsiteX48690" fmla="*/ 3495430 w 8079933"/>
              <a:gd name="connsiteY48690" fmla="*/ 980280 h 4687251"/>
              <a:gd name="connsiteX48691" fmla="*/ 3495430 w 8079933"/>
              <a:gd name="connsiteY48691" fmla="*/ 983096 h 4687251"/>
              <a:gd name="connsiteX48692" fmla="*/ 3492934 w 8079933"/>
              <a:gd name="connsiteY48692" fmla="*/ 984936 h 4687251"/>
              <a:gd name="connsiteX48693" fmla="*/ 3489787 w 8079933"/>
              <a:gd name="connsiteY48693" fmla="*/ 985911 h 4687251"/>
              <a:gd name="connsiteX48694" fmla="*/ 3488051 w 8079933"/>
              <a:gd name="connsiteY48694" fmla="*/ 984286 h 4687251"/>
              <a:gd name="connsiteX48695" fmla="*/ 3486423 w 8079933"/>
              <a:gd name="connsiteY48695" fmla="*/ 982988 h 4687251"/>
              <a:gd name="connsiteX48696" fmla="*/ 3485338 w 8079933"/>
              <a:gd name="connsiteY48696" fmla="*/ 984178 h 4687251"/>
              <a:gd name="connsiteX48697" fmla="*/ 3485989 w 8079933"/>
              <a:gd name="connsiteY48697" fmla="*/ 986344 h 4687251"/>
              <a:gd name="connsiteX48698" fmla="*/ 3485989 w 8079933"/>
              <a:gd name="connsiteY48698" fmla="*/ 989700 h 4687251"/>
              <a:gd name="connsiteX48699" fmla="*/ 3483384 w 8079933"/>
              <a:gd name="connsiteY48699" fmla="*/ 989700 h 4687251"/>
              <a:gd name="connsiteX48700" fmla="*/ 3481431 w 8079933"/>
              <a:gd name="connsiteY48700" fmla="*/ 990674 h 4687251"/>
              <a:gd name="connsiteX48701" fmla="*/ 3479152 w 8079933"/>
              <a:gd name="connsiteY48701" fmla="*/ 992949 h 4687251"/>
              <a:gd name="connsiteX48702" fmla="*/ 3476005 w 8079933"/>
              <a:gd name="connsiteY48702" fmla="*/ 991433 h 4687251"/>
              <a:gd name="connsiteX48703" fmla="*/ 3475354 w 8079933"/>
              <a:gd name="connsiteY48703" fmla="*/ 989592 h 4687251"/>
              <a:gd name="connsiteX48704" fmla="*/ 3473509 w 8079933"/>
              <a:gd name="connsiteY48704" fmla="*/ 989592 h 4687251"/>
              <a:gd name="connsiteX48705" fmla="*/ 3473509 w 8079933"/>
              <a:gd name="connsiteY48705" fmla="*/ 992949 h 4687251"/>
              <a:gd name="connsiteX48706" fmla="*/ 3474486 w 8079933"/>
              <a:gd name="connsiteY48706" fmla="*/ 996088 h 4687251"/>
              <a:gd name="connsiteX48707" fmla="*/ 3472207 w 8079933"/>
              <a:gd name="connsiteY48707" fmla="*/ 999878 h 4687251"/>
              <a:gd name="connsiteX48708" fmla="*/ 3469386 w 8079933"/>
              <a:gd name="connsiteY48708" fmla="*/ 998362 h 4687251"/>
              <a:gd name="connsiteX48709" fmla="*/ 3468518 w 8079933"/>
              <a:gd name="connsiteY48709" fmla="*/ 995980 h 4687251"/>
              <a:gd name="connsiteX48710" fmla="*/ 3465696 w 8079933"/>
              <a:gd name="connsiteY48710" fmla="*/ 997279 h 4687251"/>
              <a:gd name="connsiteX48711" fmla="*/ 3465696 w 8079933"/>
              <a:gd name="connsiteY48711" fmla="*/ 999228 h 4687251"/>
              <a:gd name="connsiteX48712" fmla="*/ 3467541 w 8079933"/>
              <a:gd name="connsiteY48712" fmla="*/ 1000744 h 4687251"/>
              <a:gd name="connsiteX48713" fmla="*/ 3467541 w 8079933"/>
              <a:gd name="connsiteY48713" fmla="*/ 1003775 h 4687251"/>
              <a:gd name="connsiteX48714" fmla="*/ 3462766 w 8079933"/>
              <a:gd name="connsiteY48714" fmla="*/ 1006915 h 4687251"/>
              <a:gd name="connsiteX48715" fmla="*/ 3460921 w 8079933"/>
              <a:gd name="connsiteY48715" fmla="*/ 1006266 h 4687251"/>
              <a:gd name="connsiteX48716" fmla="*/ 3459836 w 8079933"/>
              <a:gd name="connsiteY48716" fmla="*/ 1004100 h 4687251"/>
              <a:gd name="connsiteX48717" fmla="*/ 3457015 w 8079933"/>
              <a:gd name="connsiteY48717" fmla="*/ 1002476 h 4687251"/>
              <a:gd name="connsiteX48718" fmla="*/ 3451263 w 8079933"/>
              <a:gd name="connsiteY48718" fmla="*/ 1003559 h 4687251"/>
              <a:gd name="connsiteX48719" fmla="*/ 3451263 w 8079933"/>
              <a:gd name="connsiteY48719" fmla="*/ 1005833 h 4687251"/>
              <a:gd name="connsiteX48720" fmla="*/ 3452891 w 8079933"/>
              <a:gd name="connsiteY48720" fmla="*/ 1009080 h 4687251"/>
              <a:gd name="connsiteX48721" fmla="*/ 3452891 w 8079933"/>
              <a:gd name="connsiteY48721" fmla="*/ 1011246 h 4687251"/>
              <a:gd name="connsiteX48722" fmla="*/ 3450612 w 8079933"/>
              <a:gd name="connsiteY48722" fmla="*/ 1012653 h 4687251"/>
              <a:gd name="connsiteX48723" fmla="*/ 3446489 w 8079933"/>
              <a:gd name="connsiteY48723" fmla="*/ 1013736 h 4687251"/>
              <a:gd name="connsiteX48724" fmla="*/ 3445186 w 8079933"/>
              <a:gd name="connsiteY48724" fmla="*/ 1015685 h 4687251"/>
              <a:gd name="connsiteX48725" fmla="*/ 3440520 w 8079933"/>
              <a:gd name="connsiteY48725" fmla="*/ 1015685 h 4687251"/>
              <a:gd name="connsiteX48726" fmla="*/ 3437807 w 8079933"/>
              <a:gd name="connsiteY48726" fmla="*/ 1018392 h 4687251"/>
              <a:gd name="connsiteX48727" fmla="*/ 3436397 w 8079933"/>
              <a:gd name="connsiteY48727" fmla="*/ 1021532 h 4687251"/>
              <a:gd name="connsiteX48728" fmla="*/ 3434552 w 8079933"/>
              <a:gd name="connsiteY48728" fmla="*/ 1021532 h 4687251"/>
              <a:gd name="connsiteX48729" fmla="*/ 3433032 w 8079933"/>
              <a:gd name="connsiteY48729" fmla="*/ 1018825 h 4687251"/>
              <a:gd name="connsiteX48730" fmla="*/ 3430319 w 8079933"/>
              <a:gd name="connsiteY48730" fmla="*/ 1018825 h 4687251"/>
              <a:gd name="connsiteX48731" fmla="*/ 3426196 w 8079933"/>
              <a:gd name="connsiteY48731" fmla="*/ 1021316 h 4687251"/>
              <a:gd name="connsiteX48732" fmla="*/ 3422832 w 8079933"/>
              <a:gd name="connsiteY48732" fmla="*/ 1021316 h 4687251"/>
              <a:gd name="connsiteX48733" fmla="*/ 3421096 w 8079933"/>
              <a:gd name="connsiteY48733" fmla="*/ 1022398 h 4687251"/>
              <a:gd name="connsiteX48734" fmla="*/ 3419577 w 8079933"/>
              <a:gd name="connsiteY48734" fmla="*/ 1025213 h 4687251"/>
              <a:gd name="connsiteX48735" fmla="*/ 3416864 w 8079933"/>
              <a:gd name="connsiteY48735" fmla="*/ 1025213 h 4687251"/>
              <a:gd name="connsiteX48736" fmla="*/ 3414367 w 8079933"/>
              <a:gd name="connsiteY48736" fmla="*/ 1024130 h 4687251"/>
              <a:gd name="connsiteX48737" fmla="*/ 3413174 w 8079933"/>
              <a:gd name="connsiteY48737" fmla="*/ 1022398 h 4687251"/>
              <a:gd name="connsiteX48738" fmla="*/ 3411764 w 8079933"/>
              <a:gd name="connsiteY48738" fmla="*/ 1022398 h 4687251"/>
              <a:gd name="connsiteX48739" fmla="*/ 3409376 w 8079933"/>
              <a:gd name="connsiteY48739" fmla="*/ 1026945 h 4687251"/>
              <a:gd name="connsiteX48740" fmla="*/ 3407748 w 8079933"/>
              <a:gd name="connsiteY48740" fmla="*/ 1025863 h 4687251"/>
              <a:gd name="connsiteX48741" fmla="*/ 3405578 w 8079933"/>
              <a:gd name="connsiteY48741" fmla="*/ 1022723 h 4687251"/>
              <a:gd name="connsiteX48742" fmla="*/ 3404167 w 8079933"/>
              <a:gd name="connsiteY48742" fmla="*/ 1022723 h 4687251"/>
              <a:gd name="connsiteX48743" fmla="*/ 3403191 w 8079933"/>
              <a:gd name="connsiteY48743" fmla="*/ 1026079 h 4687251"/>
              <a:gd name="connsiteX48744" fmla="*/ 3401128 w 8079933"/>
              <a:gd name="connsiteY48744" fmla="*/ 1028136 h 4687251"/>
              <a:gd name="connsiteX48745" fmla="*/ 3398850 w 8079933"/>
              <a:gd name="connsiteY48745" fmla="*/ 1026837 h 4687251"/>
              <a:gd name="connsiteX48746" fmla="*/ 3398850 w 8079933"/>
              <a:gd name="connsiteY48746" fmla="*/ 1024996 h 4687251"/>
              <a:gd name="connsiteX48747" fmla="*/ 3397439 w 8079933"/>
              <a:gd name="connsiteY48747" fmla="*/ 1024996 h 4687251"/>
              <a:gd name="connsiteX48748" fmla="*/ 3397439 w 8079933"/>
              <a:gd name="connsiteY48748" fmla="*/ 1028894 h 4687251"/>
              <a:gd name="connsiteX48749" fmla="*/ 3395920 w 8079933"/>
              <a:gd name="connsiteY48749" fmla="*/ 1029761 h 4687251"/>
              <a:gd name="connsiteX48750" fmla="*/ 3392339 w 8079933"/>
              <a:gd name="connsiteY48750" fmla="*/ 1029761 h 4687251"/>
              <a:gd name="connsiteX48751" fmla="*/ 3389734 w 8079933"/>
              <a:gd name="connsiteY48751" fmla="*/ 1030518 h 4687251"/>
              <a:gd name="connsiteX48752" fmla="*/ 3389734 w 8079933"/>
              <a:gd name="connsiteY48752" fmla="*/ 1032684 h 4687251"/>
              <a:gd name="connsiteX48753" fmla="*/ 3389083 w 8079933"/>
              <a:gd name="connsiteY48753" fmla="*/ 1034849 h 4687251"/>
              <a:gd name="connsiteX48754" fmla="*/ 3386153 w 8079933"/>
              <a:gd name="connsiteY48754" fmla="*/ 1034849 h 4687251"/>
              <a:gd name="connsiteX48755" fmla="*/ 3384960 w 8079933"/>
              <a:gd name="connsiteY48755" fmla="*/ 1033767 h 4687251"/>
              <a:gd name="connsiteX48756" fmla="*/ 3383006 w 8079933"/>
              <a:gd name="connsiteY48756" fmla="*/ 1033767 h 4687251"/>
              <a:gd name="connsiteX48757" fmla="*/ 3383006 w 8079933"/>
              <a:gd name="connsiteY48757" fmla="*/ 1036148 h 4687251"/>
              <a:gd name="connsiteX48758" fmla="*/ 3381270 w 8079933"/>
              <a:gd name="connsiteY48758" fmla="*/ 1036148 h 4687251"/>
              <a:gd name="connsiteX48759" fmla="*/ 3380076 w 8079933"/>
              <a:gd name="connsiteY48759" fmla="*/ 1034632 h 4687251"/>
              <a:gd name="connsiteX48760" fmla="*/ 3378774 w 8079933"/>
              <a:gd name="connsiteY48760" fmla="*/ 1034632 h 4687251"/>
              <a:gd name="connsiteX48761" fmla="*/ 3378774 w 8079933"/>
              <a:gd name="connsiteY48761" fmla="*/ 1038639 h 4687251"/>
              <a:gd name="connsiteX48762" fmla="*/ 3376279 w 8079933"/>
              <a:gd name="connsiteY48762" fmla="*/ 1039504 h 4687251"/>
              <a:gd name="connsiteX48763" fmla="*/ 3374542 w 8079933"/>
              <a:gd name="connsiteY48763" fmla="*/ 1041453 h 4687251"/>
              <a:gd name="connsiteX48764" fmla="*/ 3372263 w 8079933"/>
              <a:gd name="connsiteY48764" fmla="*/ 1041453 h 4687251"/>
              <a:gd name="connsiteX48765" fmla="*/ 3371069 w 8079933"/>
              <a:gd name="connsiteY48765" fmla="*/ 1039071 h 4687251"/>
              <a:gd name="connsiteX48766" fmla="*/ 3366403 w 8079933"/>
              <a:gd name="connsiteY48766" fmla="*/ 1033658 h 4687251"/>
              <a:gd name="connsiteX48767" fmla="*/ 3364558 w 8079933"/>
              <a:gd name="connsiteY48767" fmla="*/ 1032792 h 4687251"/>
              <a:gd name="connsiteX48768" fmla="*/ 3362063 w 8079933"/>
              <a:gd name="connsiteY48768" fmla="*/ 1033983 h 4687251"/>
              <a:gd name="connsiteX48769" fmla="*/ 3362063 w 8079933"/>
              <a:gd name="connsiteY48769" fmla="*/ 1035715 h 4687251"/>
              <a:gd name="connsiteX48770" fmla="*/ 3360001 w 8079933"/>
              <a:gd name="connsiteY48770" fmla="*/ 1035715 h 4687251"/>
              <a:gd name="connsiteX48771" fmla="*/ 3359133 w 8079933"/>
              <a:gd name="connsiteY48771" fmla="*/ 1038747 h 4687251"/>
              <a:gd name="connsiteX48772" fmla="*/ 3356094 w 8079933"/>
              <a:gd name="connsiteY48772" fmla="*/ 1040912 h 4687251"/>
              <a:gd name="connsiteX48773" fmla="*/ 3353490 w 8079933"/>
              <a:gd name="connsiteY48773" fmla="*/ 1040912 h 4687251"/>
              <a:gd name="connsiteX48774" fmla="*/ 3352079 w 8079933"/>
              <a:gd name="connsiteY48774" fmla="*/ 1039830 h 4687251"/>
              <a:gd name="connsiteX48775" fmla="*/ 3350451 w 8079933"/>
              <a:gd name="connsiteY48775" fmla="*/ 1042320 h 4687251"/>
              <a:gd name="connsiteX48776" fmla="*/ 3346653 w 8079933"/>
              <a:gd name="connsiteY48776" fmla="*/ 1042320 h 4687251"/>
              <a:gd name="connsiteX48777" fmla="*/ 3343072 w 8079933"/>
              <a:gd name="connsiteY48777" fmla="*/ 1042320 h 4687251"/>
              <a:gd name="connsiteX48778" fmla="*/ 3340902 w 8079933"/>
              <a:gd name="connsiteY48778" fmla="*/ 1039288 h 4687251"/>
              <a:gd name="connsiteX48779" fmla="*/ 3338840 w 8079933"/>
              <a:gd name="connsiteY48779" fmla="*/ 1039288 h 4687251"/>
              <a:gd name="connsiteX48780" fmla="*/ 3337429 w 8079933"/>
              <a:gd name="connsiteY48780" fmla="*/ 1041778 h 4687251"/>
              <a:gd name="connsiteX48781" fmla="*/ 3337429 w 8079933"/>
              <a:gd name="connsiteY48781" fmla="*/ 1043619 h 4687251"/>
              <a:gd name="connsiteX48782" fmla="*/ 3334934 w 8079933"/>
              <a:gd name="connsiteY48782" fmla="*/ 1043619 h 4687251"/>
              <a:gd name="connsiteX48783" fmla="*/ 3331569 w 8079933"/>
              <a:gd name="connsiteY48783" fmla="*/ 1041453 h 4687251"/>
              <a:gd name="connsiteX48784" fmla="*/ 3330051 w 8079933"/>
              <a:gd name="connsiteY48784" fmla="*/ 1037772 h 4687251"/>
              <a:gd name="connsiteX48785" fmla="*/ 3331136 w 8079933"/>
              <a:gd name="connsiteY48785" fmla="*/ 1034416 h 4687251"/>
              <a:gd name="connsiteX48786" fmla="*/ 3329182 w 8079933"/>
              <a:gd name="connsiteY48786" fmla="*/ 1032684 h 4687251"/>
              <a:gd name="connsiteX48787" fmla="*/ 3326686 w 8079933"/>
              <a:gd name="connsiteY48787" fmla="*/ 1031926 h 4687251"/>
              <a:gd name="connsiteX48788" fmla="*/ 3324408 w 8079933"/>
              <a:gd name="connsiteY48788" fmla="*/ 1027379 h 4687251"/>
              <a:gd name="connsiteX48789" fmla="*/ 3324408 w 8079933"/>
              <a:gd name="connsiteY48789" fmla="*/ 1024022 h 4687251"/>
              <a:gd name="connsiteX48790" fmla="*/ 3322454 w 8079933"/>
              <a:gd name="connsiteY48790" fmla="*/ 1020882 h 4687251"/>
              <a:gd name="connsiteX48791" fmla="*/ 3321043 w 8079933"/>
              <a:gd name="connsiteY48791" fmla="*/ 1016443 h 4687251"/>
              <a:gd name="connsiteX48792" fmla="*/ 3319415 w 8079933"/>
              <a:gd name="connsiteY48792" fmla="*/ 1014927 h 4687251"/>
              <a:gd name="connsiteX48793" fmla="*/ 3317354 w 8079933"/>
              <a:gd name="connsiteY48793" fmla="*/ 1014927 h 4687251"/>
              <a:gd name="connsiteX48794" fmla="*/ 3317354 w 8079933"/>
              <a:gd name="connsiteY48794" fmla="*/ 1018500 h 4687251"/>
              <a:gd name="connsiteX48795" fmla="*/ 3318439 w 8079933"/>
              <a:gd name="connsiteY48795" fmla="*/ 1020449 h 4687251"/>
              <a:gd name="connsiteX48796" fmla="*/ 3319958 w 8079933"/>
              <a:gd name="connsiteY48796" fmla="*/ 1024347 h 4687251"/>
              <a:gd name="connsiteX48797" fmla="*/ 3322128 w 8079933"/>
              <a:gd name="connsiteY48797" fmla="*/ 1026296 h 4687251"/>
              <a:gd name="connsiteX48798" fmla="*/ 3323322 w 8079933"/>
              <a:gd name="connsiteY48798" fmla="*/ 1029327 h 4687251"/>
              <a:gd name="connsiteX48799" fmla="*/ 3323322 w 8079933"/>
              <a:gd name="connsiteY48799" fmla="*/ 1033767 h 4687251"/>
              <a:gd name="connsiteX48800" fmla="*/ 3322020 w 8079933"/>
              <a:gd name="connsiteY48800" fmla="*/ 1036906 h 4687251"/>
              <a:gd name="connsiteX48801" fmla="*/ 3323105 w 8079933"/>
              <a:gd name="connsiteY48801" fmla="*/ 1037772 h 4687251"/>
              <a:gd name="connsiteX48802" fmla="*/ 3325601 w 8079933"/>
              <a:gd name="connsiteY48802" fmla="*/ 1037772 h 4687251"/>
              <a:gd name="connsiteX48803" fmla="*/ 3326578 w 8079933"/>
              <a:gd name="connsiteY48803" fmla="*/ 1042753 h 4687251"/>
              <a:gd name="connsiteX48804" fmla="*/ 3325601 w 8079933"/>
              <a:gd name="connsiteY48804" fmla="*/ 1048491 h 4687251"/>
              <a:gd name="connsiteX48805" fmla="*/ 3323213 w 8079933"/>
              <a:gd name="connsiteY48805" fmla="*/ 1051523 h 4687251"/>
              <a:gd name="connsiteX48806" fmla="*/ 3320392 w 8079933"/>
              <a:gd name="connsiteY48806" fmla="*/ 1052714 h 4687251"/>
              <a:gd name="connsiteX48807" fmla="*/ 3319090 w 8079933"/>
              <a:gd name="connsiteY48807" fmla="*/ 1051198 h 4687251"/>
              <a:gd name="connsiteX48808" fmla="*/ 3317245 w 8079933"/>
              <a:gd name="connsiteY48808" fmla="*/ 1051198 h 4687251"/>
              <a:gd name="connsiteX48809" fmla="*/ 3313773 w 8079933"/>
              <a:gd name="connsiteY48809" fmla="*/ 1052930 h 4687251"/>
              <a:gd name="connsiteX48810" fmla="*/ 3310409 w 8079933"/>
              <a:gd name="connsiteY48810" fmla="*/ 1057369 h 4687251"/>
              <a:gd name="connsiteX48811" fmla="*/ 3308564 w 8079933"/>
              <a:gd name="connsiteY48811" fmla="*/ 1058236 h 4687251"/>
              <a:gd name="connsiteX48812" fmla="*/ 3305417 w 8079933"/>
              <a:gd name="connsiteY48812" fmla="*/ 1058236 h 4687251"/>
              <a:gd name="connsiteX48813" fmla="*/ 3304332 w 8079933"/>
              <a:gd name="connsiteY48813" fmla="*/ 1059859 h 4687251"/>
              <a:gd name="connsiteX48814" fmla="*/ 3304332 w 8079933"/>
              <a:gd name="connsiteY48814" fmla="*/ 1060942 h 4687251"/>
              <a:gd name="connsiteX48815" fmla="*/ 3304332 w 8079933"/>
              <a:gd name="connsiteY48815" fmla="*/ 1063649 h 4687251"/>
              <a:gd name="connsiteX48816" fmla="*/ 3301402 w 8079933"/>
              <a:gd name="connsiteY48816" fmla="*/ 1065489 h 4687251"/>
              <a:gd name="connsiteX48817" fmla="*/ 3298363 w 8079933"/>
              <a:gd name="connsiteY48817" fmla="*/ 1065489 h 4687251"/>
              <a:gd name="connsiteX48818" fmla="*/ 3297712 w 8079933"/>
              <a:gd name="connsiteY48818" fmla="*/ 1068305 h 4687251"/>
              <a:gd name="connsiteX48819" fmla="*/ 3297712 w 8079933"/>
              <a:gd name="connsiteY48819" fmla="*/ 1069821 h 4687251"/>
              <a:gd name="connsiteX48820" fmla="*/ 3297712 w 8079933"/>
              <a:gd name="connsiteY48820" fmla="*/ 1072311 h 4687251"/>
              <a:gd name="connsiteX48821" fmla="*/ 3295325 w 8079933"/>
              <a:gd name="connsiteY48821" fmla="*/ 1069821 h 4687251"/>
              <a:gd name="connsiteX48822" fmla="*/ 3293154 w 8079933"/>
              <a:gd name="connsiteY48822" fmla="*/ 1069171 h 4687251"/>
              <a:gd name="connsiteX48823" fmla="*/ 3294999 w 8079933"/>
              <a:gd name="connsiteY48823" fmla="*/ 1071336 h 4687251"/>
              <a:gd name="connsiteX48824" fmla="*/ 3295650 w 8079933"/>
              <a:gd name="connsiteY48824" fmla="*/ 1073177 h 4687251"/>
              <a:gd name="connsiteX48825" fmla="*/ 3294782 w 8079933"/>
              <a:gd name="connsiteY48825" fmla="*/ 1076100 h 4687251"/>
              <a:gd name="connsiteX48826" fmla="*/ 3293046 w 8079933"/>
              <a:gd name="connsiteY48826" fmla="*/ 1076100 h 4687251"/>
              <a:gd name="connsiteX48827" fmla="*/ 3291093 w 8079933"/>
              <a:gd name="connsiteY48827" fmla="*/ 1075017 h 4687251"/>
              <a:gd name="connsiteX48828" fmla="*/ 3288814 w 8079933"/>
              <a:gd name="connsiteY48828" fmla="*/ 1074152 h 4687251"/>
              <a:gd name="connsiteX48829" fmla="*/ 3288814 w 8079933"/>
              <a:gd name="connsiteY48829" fmla="*/ 1075234 h 4687251"/>
              <a:gd name="connsiteX48830" fmla="*/ 3289574 w 8079933"/>
              <a:gd name="connsiteY48830" fmla="*/ 1077075 h 4687251"/>
              <a:gd name="connsiteX48831" fmla="*/ 3290333 w 8079933"/>
              <a:gd name="connsiteY48831" fmla="*/ 1079348 h 4687251"/>
              <a:gd name="connsiteX48832" fmla="*/ 3288271 w 8079933"/>
              <a:gd name="connsiteY48832" fmla="*/ 1082055 h 4687251"/>
              <a:gd name="connsiteX48833" fmla="*/ 3284473 w 8079933"/>
              <a:gd name="connsiteY48833" fmla="*/ 1083246 h 4687251"/>
              <a:gd name="connsiteX48834" fmla="*/ 3279156 w 8079933"/>
              <a:gd name="connsiteY48834" fmla="*/ 1088984 h 4687251"/>
              <a:gd name="connsiteX48835" fmla="*/ 3279156 w 8079933"/>
              <a:gd name="connsiteY48835" fmla="*/ 1092016 h 4687251"/>
              <a:gd name="connsiteX48836" fmla="*/ 3279807 w 8079933"/>
              <a:gd name="connsiteY48836" fmla="*/ 1095156 h 4687251"/>
              <a:gd name="connsiteX48837" fmla="*/ 3278614 w 8079933"/>
              <a:gd name="connsiteY48837" fmla="*/ 1098513 h 4687251"/>
              <a:gd name="connsiteX48838" fmla="*/ 3275358 w 8079933"/>
              <a:gd name="connsiteY48838" fmla="*/ 1102518 h 4687251"/>
              <a:gd name="connsiteX48839" fmla="*/ 3272971 w 8079933"/>
              <a:gd name="connsiteY48839" fmla="*/ 1104034 h 4687251"/>
              <a:gd name="connsiteX48840" fmla="*/ 3271777 w 8079933"/>
              <a:gd name="connsiteY48840" fmla="*/ 1103060 h 4687251"/>
              <a:gd name="connsiteX48841" fmla="*/ 3270691 w 8079933"/>
              <a:gd name="connsiteY48841" fmla="*/ 1101219 h 4687251"/>
              <a:gd name="connsiteX48842" fmla="*/ 3271559 w 8079933"/>
              <a:gd name="connsiteY48842" fmla="*/ 1099270 h 4687251"/>
              <a:gd name="connsiteX48843" fmla="*/ 3269498 w 8079933"/>
              <a:gd name="connsiteY48843" fmla="*/ 1100352 h 4687251"/>
              <a:gd name="connsiteX48844" fmla="*/ 3267979 w 8079933"/>
              <a:gd name="connsiteY48844" fmla="*/ 1102193 h 4687251"/>
              <a:gd name="connsiteX48845" fmla="*/ 3267436 w 8079933"/>
              <a:gd name="connsiteY48845" fmla="*/ 1105442 h 4687251"/>
              <a:gd name="connsiteX48846" fmla="*/ 3267436 w 8079933"/>
              <a:gd name="connsiteY48846" fmla="*/ 1106740 h 4687251"/>
              <a:gd name="connsiteX48847" fmla="*/ 3266676 w 8079933"/>
              <a:gd name="connsiteY48847" fmla="*/ 1108256 h 4687251"/>
              <a:gd name="connsiteX48848" fmla="*/ 3260708 w 8079933"/>
              <a:gd name="connsiteY48848" fmla="*/ 1113778 h 4687251"/>
              <a:gd name="connsiteX48849" fmla="*/ 3258320 w 8079933"/>
              <a:gd name="connsiteY48849" fmla="*/ 1114970 h 4687251"/>
              <a:gd name="connsiteX48850" fmla="*/ 3257019 w 8079933"/>
              <a:gd name="connsiteY48850" fmla="*/ 1114103 h 4687251"/>
              <a:gd name="connsiteX48851" fmla="*/ 3257019 w 8079933"/>
              <a:gd name="connsiteY48851" fmla="*/ 1111396 h 4687251"/>
              <a:gd name="connsiteX48852" fmla="*/ 3255607 w 8079933"/>
              <a:gd name="connsiteY48852" fmla="*/ 1109664 h 4687251"/>
              <a:gd name="connsiteX48853" fmla="*/ 3253546 w 8079933"/>
              <a:gd name="connsiteY48853" fmla="*/ 1109664 h 4687251"/>
              <a:gd name="connsiteX48854" fmla="*/ 3253546 w 8079933"/>
              <a:gd name="connsiteY48854" fmla="*/ 1112479 h 4687251"/>
              <a:gd name="connsiteX48855" fmla="*/ 3251701 w 8079933"/>
              <a:gd name="connsiteY48855" fmla="*/ 1112479 h 4687251"/>
              <a:gd name="connsiteX48856" fmla="*/ 3247252 w 8079933"/>
              <a:gd name="connsiteY48856" fmla="*/ 1110205 h 4687251"/>
              <a:gd name="connsiteX48857" fmla="*/ 3245841 w 8079933"/>
              <a:gd name="connsiteY48857" fmla="*/ 1108040 h 4687251"/>
              <a:gd name="connsiteX48858" fmla="*/ 3243997 w 8079933"/>
              <a:gd name="connsiteY48858" fmla="*/ 1108040 h 4687251"/>
              <a:gd name="connsiteX48859" fmla="*/ 3243020 w 8079933"/>
              <a:gd name="connsiteY48859" fmla="*/ 1108797 h 4687251"/>
              <a:gd name="connsiteX48860" fmla="*/ 3244648 w 8079933"/>
              <a:gd name="connsiteY48860" fmla="*/ 1111288 h 4687251"/>
              <a:gd name="connsiteX48861" fmla="*/ 3246601 w 8079933"/>
              <a:gd name="connsiteY48861" fmla="*/ 1112262 h 4687251"/>
              <a:gd name="connsiteX48862" fmla="*/ 3248663 w 8079933"/>
              <a:gd name="connsiteY48862" fmla="*/ 1115835 h 4687251"/>
              <a:gd name="connsiteX48863" fmla="*/ 3248663 w 8079933"/>
              <a:gd name="connsiteY48863" fmla="*/ 1118867 h 4687251"/>
              <a:gd name="connsiteX48864" fmla="*/ 3246384 w 8079933"/>
              <a:gd name="connsiteY48864" fmla="*/ 1120383 h 4687251"/>
              <a:gd name="connsiteX48865" fmla="*/ 3244539 w 8079933"/>
              <a:gd name="connsiteY48865" fmla="*/ 1120383 h 4687251"/>
              <a:gd name="connsiteX48866" fmla="*/ 3238462 w 8079933"/>
              <a:gd name="connsiteY48866" fmla="*/ 1124280 h 4687251"/>
              <a:gd name="connsiteX48867" fmla="*/ 3234881 w 8079933"/>
              <a:gd name="connsiteY48867" fmla="*/ 1128178 h 4687251"/>
              <a:gd name="connsiteX48868" fmla="*/ 3231626 w 8079933"/>
              <a:gd name="connsiteY48868" fmla="*/ 1128178 h 4687251"/>
              <a:gd name="connsiteX48869" fmla="*/ 3229238 w 8079933"/>
              <a:gd name="connsiteY48869" fmla="*/ 1126554 h 4687251"/>
              <a:gd name="connsiteX48870" fmla="*/ 3229238 w 8079933"/>
              <a:gd name="connsiteY48870" fmla="*/ 1124280 h 4687251"/>
              <a:gd name="connsiteX48871" fmla="*/ 3230106 w 8079933"/>
              <a:gd name="connsiteY48871" fmla="*/ 1122115 h 4687251"/>
              <a:gd name="connsiteX48872" fmla="*/ 3228804 w 8079933"/>
              <a:gd name="connsiteY48872" fmla="*/ 1121141 h 4687251"/>
              <a:gd name="connsiteX48873" fmla="*/ 3227285 w 8079933"/>
              <a:gd name="connsiteY48873" fmla="*/ 1121141 h 4687251"/>
              <a:gd name="connsiteX48874" fmla="*/ 3225875 w 8079933"/>
              <a:gd name="connsiteY48874" fmla="*/ 1123847 h 4687251"/>
              <a:gd name="connsiteX48875" fmla="*/ 3225875 w 8079933"/>
              <a:gd name="connsiteY48875" fmla="*/ 1126013 h 4687251"/>
              <a:gd name="connsiteX48876" fmla="*/ 3225223 w 8079933"/>
              <a:gd name="connsiteY48876" fmla="*/ 1128286 h 4687251"/>
              <a:gd name="connsiteX48877" fmla="*/ 3222510 w 8079933"/>
              <a:gd name="connsiteY48877" fmla="*/ 1128286 h 4687251"/>
              <a:gd name="connsiteX48878" fmla="*/ 3218929 w 8079933"/>
              <a:gd name="connsiteY48878" fmla="*/ 1130019 h 4687251"/>
              <a:gd name="connsiteX48879" fmla="*/ 3215674 w 8079933"/>
              <a:gd name="connsiteY48879" fmla="*/ 1128828 h 4687251"/>
              <a:gd name="connsiteX48880" fmla="*/ 3213503 w 8079933"/>
              <a:gd name="connsiteY48880" fmla="*/ 1124713 h 4687251"/>
              <a:gd name="connsiteX48881" fmla="*/ 3213503 w 8079933"/>
              <a:gd name="connsiteY48881" fmla="*/ 1122007 h 4687251"/>
              <a:gd name="connsiteX48882" fmla="*/ 3214806 w 8079933"/>
              <a:gd name="connsiteY48882" fmla="*/ 1118867 h 4687251"/>
              <a:gd name="connsiteX48883" fmla="*/ 3213721 w 8079933"/>
              <a:gd name="connsiteY48883" fmla="*/ 1116593 h 4687251"/>
              <a:gd name="connsiteX48884" fmla="*/ 3212527 w 8079933"/>
              <a:gd name="connsiteY48884" fmla="*/ 1116593 h 4687251"/>
              <a:gd name="connsiteX48885" fmla="*/ 3211659 w 8079933"/>
              <a:gd name="connsiteY48885" fmla="*/ 1121357 h 4687251"/>
              <a:gd name="connsiteX48886" fmla="*/ 3210573 w 8079933"/>
              <a:gd name="connsiteY48886" fmla="*/ 1125038 h 4687251"/>
              <a:gd name="connsiteX48887" fmla="*/ 3210573 w 8079933"/>
              <a:gd name="connsiteY48887" fmla="*/ 1127529 h 4687251"/>
              <a:gd name="connsiteX48888" fmla="*/ 3209488 w 8079933"/>
              <a:gd name="connsiteY48888" fmla="*/ 1130235 h 4687251"/>
              <a:gd name="connsiteX48889" fmla="*/ 3207643 w 8079933"/>
              <a:gd name="connsiteY48889" fmla="*/ 1129261 h 4687251"/>
              <a:gd name="connsiteX48890" fmla="*/ 3202326 w 8079933"/>
              <a:gd name="connsiteY48890" fmla="*/ 1122873 h 4687251"/>
              <a:gd name="connsiteX48891" fmla="*/ 3202326 w 8079933"/>
              <a:gd name="connsiteY48891" fmla="*/ 1119409 h 4687251"/>
              <a:gd name="connsiteX48892" fmla="*/ 3204171 w 8079933"/>
              <a:gd name="connsiteY48892" fmla="*/ 1114861 h 4687251"/>
              <a:gd name="connsiteX48893" fmla="*/ 3207318 w 8079933"/>
              <a:gd name="connsiteY48893" fmla="*/ 1112154 h 4687251"/>
              <a:gd name="connsiteX48894" fmla="*/ 3210031 w 8079933"/>
              <a:gd name="connsiteY48894" fmla="*/ 1110097 h 4687251"/>
              <a:gd name="connsiteX48895" fmla="*/ 3208186 w 8079933"/>
              <a:gd name="connsiteY48895" fmla="*/ 1108581 h 4687251"/>
              <a:gd name="connsiteX48896" fmla="*/ 3204388 w 8079933"/>
              <a:gd name="connsiteY48896" fmla="*/ 1107715 h 4687251"/>
              <a:gd name="connsiteX48897" fmla="*/ 3201783 w 8079933"/>
              <a:gd name="connsiteY48897" fmla="*/ 1104576 h 4687251"/>
              <a:gd name="connsiteX48898" fmla="*/ 3201783 w 8079933"/>
              <a:gd name="connsiteY48898" fmla="*/ 1103384 h 4687251"/>
              <a:gd name="connsiteX48899" fmla="*/ 3200698 w 8079933"/>
              <a:gd name="connsiteY48899" fmla="*/ 1102843 h 4687251"/>
              <a:gd name="connsiteX48900" fmla="*/ 3198528 w 8079933"/>
              <a:gd name="connsiteY48900" fmla="*/ 1103709 h 4687251"/>
              <a:gd name="connsiteX48901" fmla="*/ 3196901 w 8079933"/>
              <a:gd name="connsiteY48901" fmla="*/ 1106307 h 4687251"/>
              <a:gd name="connsiteX48902" fmla="*/ 3196901 w 8079933"/>
              <a:gd name="connsiteY48902" fmla="*/ 1108256 h 4687251"/>
              <a:gd name="connsiteX48903" fmla="*/ 3199830 w 8079933"/>
              <a:gd name="connsiteY48903" fmla="*/ 1111396 h 4687251"/>
              <a:gd name="connsiteX48904" fmla="*/ 3199070 w 8079933"/>
              <a:gd name="connsiteY48904" fmla="*/ 1113887 h 4687251"/>
              <a:gd name="connsiteX48905" fmla="*/ 3197226 w 8079933"/>
              <a:gd name="connsiteY48905" fmla="*/ 1116810 h 4687251"/>
              <a:gd name="connsiteX48906" fmla="*/ 3196466 w 8079933"/>
              <a:gd name="connsiteY48906" fmla="*/ 1120058 h 4687251"/>
              <a:gd name="connsiteX48907" fmla="*/ 3193103 w 8079933"/>
              <a:gd name="connsiteY48907" fmla="*/ 1123523 h 4687251"/>
              <a:gd name="connsiteX48908" fmla="*/ 3190932 w 8079933"/>
              <a:gd name="connsiteY48908" fmla="*/ 1123523 h 4687251"/>
              <a:gd name="connsiteX48909" fmla="*/ 3190281 w 8079933"/>
              <a:gd name="connsiteY48909" fmla="*/ 1119625 h 4687251"/>
              <a:gd name="connsiteX48910" fmla="*/ 3188762 w 8079933"/>
              <a:gd name="connsiteY48910" fmla="*/ 1118650 h 4687251"/>
              <a:gd name="connsiteX48911" fmla="*/ 3186591 w 8079933"/>
              <a:gd name="connsiteY48911" fmla="*/ 1121032 h 4687251"/>
              <a:gd name="connsiteX48912" fmla="*/ 3187242 w 8079933"/>
              <a:gd name="connsiteY48912" fmla="*/ 1123847 h 4687251"/>
              <a:gd name="connsiteX48913" fmla="*/ 3189630 w 8079933"/>
              <a:gd name="connsiteY48913" fmla="*/ 1128828 h 4687251"/>
              <a:gd name="connsiteX48914" fmla="*/ 3191909 w 8079933"/>
              <a:gd name="connsiteY48914" fmla="*/ 1131751 h 4687251"/>
              <a:gd name="connsiteX48915" fmla="*/ 3191909 w 8079933"/>
              <a:gd name="connsiteY48915" fmla="*/ 1133592 h 4687251"/>
              <a:gd name="connsiteX48916" fmla="*/ 3190498 w 8079933"/>
              <a:gd name="connsiteY48916" fmla="*/ 1134241 h 4687251"/>
              <a:gd name="connsiteX48917" fmla="*/ 3189521 w 8079933"/>
              <a:gd name="connsiteY48917" fmla="*/ 1137056 h 4687251"/>
              <a:gd name="connsiteX48918" fmla="*/ 3186374 w 8079933"/>
              <a:gd name="connsiteY48918" fmla="*/ 1139114 h 4687251"/>
              <a:gd name="connsiteX48919" fmla="*/ 3183118 w 8079933"/>
              <a:gd name="connsiteY48919" fmla="*/ 1139114 h 4687251"/>
              <a:gd name="connsiteX48920" fmla="*/ 3181382 w 8079933"/>
              <a:gd name="connsiteY48920" fmla="*/ 1137273 h 4687251"/>
              <a:gd name="connsiteX48921" fmla="*/ 3179537 w 8079933"/>
              <a:gd name="connsiteY48921" fmla="*/ 1138031 h 4687251"/>
              <a:gd name="connsiteX48922" fmla="*/ 3177584 w 8079933"/>
              <a:gd name="connsiteY48922" fmla="*/ 1140521 h 4687251"/>
              <a:gd name="connsiteX48923" fmla="*/ 3173894 w 8079933"/>
              <a:gd name="connsiteY48923" fmla="*/ 1142145 h 4687251"/>
              <a:gd name="connsiteX48924" fmla="*/ 3172376 w 8079933"/>
              <a:gd name="connsiteY48924" fmla="*/ 1140629 h 4687251"/>
              <a:gd name="connsiteX48925" fmla="*/ 3170856 w 8079933"/>
              <a:gd name="connsiteY48925" fmla="*/ 1136623 h 4687251"/>
              <a:gd name="connsiteX48926" fmla="*/ 3169554 w 8079933"/>
              <a:gd name="connsiteY48926" fmla="*/ 1134133 h 4687251"/>
              <a:gd name="connsiteX48927" fmla="*/ 3168143 w 8079933"/>
              <a:gd name="connsiteY48927" fmla="*/ 1134133 h 4687251"/>
              <a:gd name="connsiteX48928" fmla="*/ 3168143 w 8079933"/>
              <a:gd name="connsiteY48928" fmla="*/ 1136190 h 4687251"/>
              <a:gd name="connsiteX48929" fmla="*/ 3168143 w 8079933"/>
              <a:gd name="connsiteY48929" fmla="*/ 1138356 h 4687251"/>
              <a:gd name="connsiteX48930" fmla="*/ 3165865 w 8079933"/>
              <a:gd name="connsiteY48930" fmla="*/ 1140954 h 4687251"/>
              <a:gd name="connsiteX48931" fmla="*/ 3162935 w 8079933"/>
              <a:gd name="connsiteY48931" fmla="*/ 1140954 h 4687251"/>
              <a:gd name="connsiteX48932" fmla="*/ 3161307 w 8079933"/>
              <a:gd name="connsiteY48932" fmla="*/ 1137382 h 4687251"/>
              <a:gd name="connsiteX48933" fmla="*/ 3159787 w 8079933"/>
              <a:gd name="connsiteY48933" fmla="*/ 1134891 h 4687251"/>
              <a:gd name="connsiteX48934" fmla="*/ 3158268 w 8079933"/>
              <a:gd name="connsiteY48934" fmla="*/ 1135541 h 4687251"/>
              <a:gd name="connsiteX48935" fmla="*/ 3157074 w 8079933"/>
              <a:gd name="connsiteY48935" fmla="*/ 1137490 h 4687251"/>
              <a:gd name="connsiteX48936" fmla="*/ 3154796 w 8079933"/>
              <a:gd name="connsiteY48936" fmla="*/ 1137490 h 4687251"/>
              <a:gd name="connsiteX48937" fmla="*/ 3152951 w 8079933"/>
              <a:gd name="connsiteY48937" fmla="*/ 1139005 h 4687251"/>
              <a:gd name="connsiteX48938" fmla="*/ 3152951 w 8079933"/>
              <a:gd name="connsiteY48938" fmla="*/ 1140737 h 4687251"/>
              <a:gd name="connsiteX48939" fmla="*/ 3154036 w 8079933"/>
              <a:gd name="connsiteY48939" fmla="*/ 1144094 h 4687251"/>
              <a:gd name="connsiteX48940" fmla="*/ 3154036 w 8079933"/>
              <a:gd name="connsiteY48940" fmla="*/ 1152431 h 4687251"/>
              <a:gd name="connsiteX48941" fmla="*/ 3151758 w 8079933"/>
              <a:gd name="connsiteY48941" fmla="*/ 1157736 h 4687251"/>
              <a:gd name="connsiteX48942" fmla="*/ 3147416 w 8079933"/>
              <a:gd name="connsiteY48942" fmla="*/ 1162825 h 4687251"/>
              <a:gd name="connsiteX48943" fmla="*/ 3144595 w 8079933"/>
              <a:gd name="connsiteY48943" fmla="*/ 1162825 h 4687251"/>
              <a:gd name="connsiteX48944" fmla="*/ 3142750 w 8079933"/>
              <a:gd name="connsiteY48944" fmla="*/ 1161309 h 4687251"/>
              <a:gd name="connsiteX48945" fmla="*/ 3141231 w 8079933"/>
              <a:gd name="connsiteY48945" fmla="*/ 1156329 h 4687251"/>
              <a:gd name="connsiteX48946" fmla="*/ 3138844 w 8079933"/>
              <a:gd name="connsiteY48946" fmla="*/ 1155029 h 4687251"/>
              <a:gd name="connsiteX48947" fmla="*/ 3136782 w 8079933"/>
              <a:gd name="connsiteY48947" fmla="*/ 1156112 h 4687251"/>
              <a:gd name="connsiteX48948" fmla="*/ 3136782 w 8079933"/>
              <a:gd name="connsiteY48948" fmla="*/ 1158169 h 4687251"/>
              <a:gd name="connsiteX48949" fmla="*/ 3132984 w 8079933"/>
              <a:gd name="connsiteY48949" fmla="*/ 1156653 h 4687251"/>
              <a:gd name="connsiteX48950" fmla="*/ 3131899 w 8079933"/>
              <a:gd name="connsiteY48950" fmla="*/ 1153947 h 4687251"/>
              <a:gd name="connsiteX48951" fmla="*/ 3130380 w 8079933"/>
              <a:gd name="connsiteY48951" fmla="*/ 1153188 h 4687251"/>
              <a:gd name="connsiteX48952" fmla="*/ 3129728 w 8079933"/>
              <a:gd name="connsiteY48952" fmla="*/ 1155137 h 4687251"/>
              <a:gd name="connsiteX48953" fmla="*/ 3129728 w 8079933"/>
              <a:gd name="connsiteY48953" fmla="*/ 1156978 h 4687251"/>
              <a:gd name="connsiteX48954" fmla="*/ 3130922 w 8079933"/>
              <a:gd name="connsiteY48954" fmla="*/ 1160984 h 4687251"/>
              <a:gd name="connsiteX48955" fmla="*/ 3129078 w 8079933"/>
              <a:gd name="connsiteY48955" fmla="*/ 1163258 h 4687251"/>
              <a:gd name="connsiteX48956" fmla="*/ 3129078 w 8079933"/>
              <a:gd name="connsiteY48956" fmla="*/ 1165207 h 4687251"/>
              <a:gd name="connsiteX48957" fmla="*/ 3130271 w 8079933"/>
              <a:gd name="connsiteY48957" fmla="*/ 1168455 h 4687251"/>
              <a:gd name="connsiteX48958" fmla="*/ 3132767 w 8079933"/>
              <a:gd name="connsiteY48958" fmla="*/ 1170729 h 4687251"/>
              <a:gd name="connsiteX48959" fmla="*/ 3134178 w 8079933"/>
              <a:gd name="connsiteY48959" fmla="*/ 1175600 h 4687251"/>
              <a:gd name="connsiteX48960" fmla="*/ 3135154 w 8079933"/>
              <a:gd name="connsiteY48960" fmla="*/ 1182205 h 4687251"/>
              <a:gd name="connsiteX48961" fmla="*/ 3134178 w 8079933"/>
              <a:gd name="connsiteY48961" fmla="*/ 1186103 h 4687251"/>
              <a:gd name="connsiteX48962" fmla="*/ 3131031 w 8079933"/>
              <a:gd name="connsiteY48962" fmla="*/ 1184046 h 4687251"/>
              <a:gd name="connsiteX48963" fmla="*/ 3129186 w 8079933"/>
              <a:gd name="connsiteY48963" fmla="*/ 1184046 h 4687251"/>
              <a:gd name="connsiteX48964" fmla="*/ 3127992 w 8079933"/>
              <a:gd name="connsiteY48964" fmla="*/ 1186428 h 4687251"/>
              <a:gd name="connsiteX48965" fmla="*/ 3124303 w 8079933"/>
              <a:gd name="connsiteY48965" fmla="*/ 1186428 h 4687251"/>
              <a:gd name="connsiteX48966" fmla="*/ 3119745 w 8079933"/>
              <a:gd name="connsiteY48966" fmla="*/ 1185237 h 4687251"/>
              <a:gd name="connsiteX48967" fmla="*/ 3115513 w 8079933"/>
              <a:gd name="connsiteY48967" fmla="*/ 1185237 h 4687251"/>
              <a:gd name="connsiteX48968" fmla="*/ 3113668 w 8079933"/>
              <a:gd name="connsiteY48968" fmla="*/ 1187510 h 4687251"/>
              <a:gd name="connsiteX48969" fmla="*/ 3114644 w 8079933"/>
              <a:gd name="connsiteY48969" fmla="*/ 1189026 h 4687251"/>
              <a:gd name="connsiteX48970" fmla="*/ 3119854 w 8079933"/>
              <a:gd name="connsiteY48970" fmla="*/ 1192166 h 4687251"/>
              <a:gd name="connsiteX48971" fmla="*/ 3123435 w 8079933"/>
              <a:gd name="connsiteY48971" fmla="*/ 1192166 h 4687251"/>
              <a:gd name="connsiteX48972" fmla="*/ 3125930 w 8079933"/>
              <a:gd name="connsiteY48972" fmla="*/ 1194115 h 4687251"/>
              <a:gd name="connsiteX48973" fmla="*/ 3127558 w 8079933"/>
              <a:gd name="connsiteY48973" fmla="*/ 1195739 h 4687251"/>
              <a:gd name="connsiteX48974" fmla="*/ 3129403 w 8079933"/>
              <a:gd name="connsiteY48974" fmla="*/ 1194873 h 4687251"/>
              <a:gd name="connsiteX48975" fmla="*/ 3132008 w 8079933"/>
              <a:gd name="connsiteY48975" fmla="*/ 1194873 h 4687251"/>
              <a:gd name="connsiteX48976" fmla="*/ 3132008 w 8079933"/>
              <a:gd name="connsiteY48976" fmla="*/ 1196930 h 4687251"/>
              <a:gd name="connsiteX48977" fmla="*/ 3130922 w 8079933"/>
              <a:gd name="connsiteY48977" fmla="*/ 1200287 h 4687251"/>
              <a:gd name="connsiteX48978" fmla="*/ 3128535 w 8079933"/>
              <a:gd name="connsiteY48978" fmla="*/ 1200287 h 4687251"/>
              <a:gd name="connsiteX48979" fmla="*/ 3126147 w 8079933"/>
              <a:gd name="connsiteY48979" fmla="*/ 1200287 h 4687251"/>
              <a:gd name="connsiteX48980" fmla="*/ 3126147 w 8079933"/>
              <a:gd name="connsiteY48980" fmla="*/ 1201694 h 4687251"/>
              <a:gd name="connsiteX48981" fmla="*/ 3128210 w 8079933"/>
              <a:gd name="connsiteY48981" fmla="*/ 1202777 h 4687251"/>
              <a:gd name="connsiteX48982" fmla="*/ 3129295 w 8079933"/>
              <a:gd name="connsiteY48982" fmla="*/ 1205159 h 4687251"/>
              <a:gd name="connsiteX48983" fmla="*/ 3129295 w 8079933"/>
              <a:gd name="connsiteY48983" fmla="*/ 1207432 h 4687251"/>
              <a:gd name="connsiteX48984" fmla="*/ 3128426 w 8079933"/>
              <a:gd name="connsiteY48984" fmla="*/ 1209056 h 4687251"/>
              <a:gd name="connsiteX48985" fmla="*/ 3126690 w 8079933"/>
              <a:gd name="connsiteY48985" fmla="*/ 1209814 h 4687251"/>
              <a:gd name="connsiteX48986" fmla="*/ 3123869 w 8079933"/>
              <a:gd name="connsiteY48986" fmla="*/ 1208732 h 4687251"/>
              <a:gd name="connsiteX48987" fmla="*/ 3120722 w 8079933"/>
              <a:gd name="connsiteY48987" fmla="*/ 1204401 h 4687251"/>
              <a:gd name="connsiteX48988" fmla="*/ 3118443 w 8079933"/>
              <a:gd name="connsiteY48988" fmla="*/ 1204401 h 4687251"/>
              <a:gd name="connsiteX48989" fmla="*/ 3116489 w 8079933"/>
              <a:gd name="connsiteY48989" fmla="*/ 1203426 h 4687251"/>
              <a:gd name="connsiteX48990" fmla="*/ 3113668 w 8079933"/>
              <a:gd name="connsiteY48990" fmla="*/ 1200503 h 4687251"/>
              <a:gd name="connsiteX48991" fmla="*/ 3109870 w 8079933"/>
              <a:gd name="connsiteY48991" fmla="*/ 1200503 h 4687251"/>
              <a:gd name="connsiteX48992" fmla="*/ 3108893 w 8079933"/>
              <a:gd name="connsiteY48992" fmla="*/ 1202019 h 4687251"/>
              <a:gd name="connsiteX48993" fmla="*/ 3108242 w 8079933"/>
              <a:gd name="connsiteY48993" fmla="*/ 1204401 h 4687251"/>
              <a:gd name="connsiteX48994" fmla="*/ 3112040 w 8079933"/>
              <a:gd name="connsiteY48994" fmla="*/ 1204942 h 4687251"/>
              <a:gd name="connsiteX48995" fmla="*/ 3114102 w 8079933"/>
              <a:gd name="connsiteY48995" fmla="*/ 1204942 h 4687251"/>
              <a:gd name="connsiteX48996" fmla="*/ 3118443 w 8079933"/>
              <a:gd name="connsiteY48996" fmla="*/ 1207541 h 4687251"/>
              <a:gd name="connsiteX48997" fmla="*/ 3121807 w 8079933"/>
              <a:gd name="connsiteY48997" fmla="*/ 1209598 h 4687251"/>
              <a:gd name="connsiteX48998" fmla="*/ 3124737 w 8079933"/>
              <a:gd name="connsiteY48998" fmla="*/ 1210789 h 4687251"/>
              <a:gd name="connsiteX48999" fmla="*/ 3125605 w 8079933"/>
              <a:gd name="connsiteY48999" fmla="*/ 1212088 h 4687251"/>
              <a:gd name="connsiteX49000" fmla="*/ 3124303 w 8079933"/>
              <a:gd name="connsiteY49000" fmla="*/ 1215661 h 4687251"/>
              <a:gd name="connsiteX49001" fmla="*/ 3120722 w 8079933"/>
              <a:gd name="connsiteY49001" fmla="*/ 1217177 h 4687251"/>
              <a:gd name="connsiteX49002" fmla="*/ 3117792 w 8079933"/>
              <a:gd name="connsiteY49002" fmla="*/ 1217177 h 4687251"/>
              <a:gd name="connsiteX49003" fmla="*/ 3115947 w 8079933"/>
              <a:gd name="connsiteY49003" fmla="*/ 1218585 h 4687251"/>
              <a:gd name="connsiteX49004" fmla="*/ 3113126 w 8079933"/>
              <a:gd name="connsiteY49004" fmla="*/ 1218585 h 4687251"/>
              <a:gd name="connsiteX49005" fmla="*/ 3108242 w 8079933"/>
              <a:gd name="connsiteY49005" fmla="*/ 1214361 h 4687251"/>
              <a:gd name="connsiteX49006" fmla="*/ 3106723 w 8079933"/>
              <a:gd name="connsiteY49006" fmla="*/ 1212088 h 4687251"/>
              <a:gd name="connsiteX49007" fmla="*/ 3104336 w 8079933"/>
              <a:gd name="connsiteY49007" fmla="*/ 1212088 h 4687251"/>
              <a:gd name="connsiteX49008" fmla="*/ 3102925 w 8079933"/>
              <a:gd name="connsiteY49008" fmla="*/ 1213712 h 4687251"/>
              <a:gd name="connsiteX49009" fmla="*/ 3101189 w 8079933"/>
              <a:gd name="connsiteY49009" fmla="*/ 1215661 h 4687251"/>
              <a:gd name="connsiteX49010" fmla="*/ 3101189 w 8079933"/>
              <a:gd name="connsiteY49010" fmla="*/ 1219342 h 4687251"/>
              <a:gd name="connsiteX49011" fmla="*/ 3104118 w 8079933"/>
              <a:gd name="connsiteY49011" fmla="*/ 1221940 h 4687251"/>
              <a:gd name="connsiteX49012" fmla="*/ 3107745 w 8079933"/>
              <a:gd name="connsiteY49012" fmla="*/ 1223876 h 4687251"/>
              <a:gd name="connsiteX49013" fmla="*/ 3104987 w 8079933"/>
              <a:gd name="connsiteY49013" fmla="*/ 1220967 h 4687251"/>
              <a:gd name="connsiteX49014" fmla="*/ 3105096 w 8079933"/>
              <a:gd name="connsiteY49014" fmla="*/ 1219451 h 4687251"/>
              <a:gd name="connsiteX49015" fmla="*/ 3106832 w 8079933"/>
              <a:gd name="connsiteY49015" fmla="*/ 1219451 h 4687251"/>
              <a:gd name="connsiteX49016" fmla="*/ 3108893 w 8079933"/>
              <a:gd name="connsiteY49016" fmla="*/ 1222266 h 4687251"/>
              <a:gd name="connsiteX49017" fmla="*/ 3113994 w 8079933"/>
              <a:gd name="connsiteY49017" fmla="*/ 1224215 h 4687251"/>
              <a:gd name="connsiteX49018" fmla="*/ 3115730 w 8079933"/>
              <a:gd name="connsiteY49018" fmla="*/ 1227463 h 4687251"/>
              <a:gd name="connsiteX49019" fmla="*/ 3114211 w 8079933"/>
              <a:gd name="connsiteY49019" fmla="*/ 1228547 h 4687251"/>
              <a:gd name="connsiteX49020" fmla="*/ 3113451 w 8079933"/>
              <a:gd name="connsiteY49020" fmla="*/ 1227463 h 4687251"/>
              <a:gd name="connsiteX49021" fmla="*/ 3109107 w 8079933"/>
              <a:gd name="connsiteY49021" fmla="*/ 1225145 h 4687251"/>
              <a:gd name="connsiteX49022" fmla="*/ 3109762 w 8079933"/>
              <a:gd name="connsiteY49022" fmla="*/ 1226596 h 4687251"/>
              <a:gd name="connsiteX49023" fmla="*/ 3109762 w 8079933"/>
              <a:gd name="connsiteY49023" fmla="*/ 1228762 h 4687251"/>
              <a:gd name="connsiteX49024" fmla="*/ 3108459 w 8079933"/>
              <a:gd name="connsiteY49024" fmla="*/ 1230277 h 4687251"/>
              <a:gd name="connsiteX49025" fmla="*/ 3105529 w 8079933"/>
              <a:gd name="connsiteY49025" fmla="*/ 1227354 h 4687251"/>
              <a:gd name="connsiteX49026" fmla="*/ 3102817 w 8079933"/>
              <a:gd name="connsiteY49026" fmla="*/ 1226705 h 4687251"/>
              <a:gd name="connsiteX49027" fmla="*/ 3098801 w 8079933"/>
              <a:gd name="connsiteY49027" fmla="*/ 1224214 h 4687251"/>
              <a:gd name="connsiteX49028" fmla="*/ 3096631 w 8079933"/>
              <a:gd name="connsiteY49028" fmla="*/ 1221616 h 4687251"/>
              <a:gd name="connsiteX49029" fmla="*/ 3095438 w 8079933"/>
              <a:gd name="connsiteY49029" fmla="*/ 1221616 h 4687251"/>
              <a:gd name="connsiteX49030" fmla="*/ 3096197 w 8079933"/>
              <a:gd name="connsiteY49030" fmla="*/ 1225622 h 4687251"/>
              <a:gd name="connsiteX49031" fmla="*/ 3099344 w 8079933"/>
              <a:gd name="connsiteY49031" fmla="*/ 1228112 h 4687251"/>
              <a:gd name="connsiteX49032" fmla="*/ 3104227 w 8079933"/>
              <a:gd name="connsiteY49032" fmla="*/ 1230494 h 4687251"/>
              <a:gd name="connsiteX49033" fmla="*/ 3105095 w 8079933"/>
              <a:gd name="connsiteY49033" fmla="*/ 1232334 h 4687251"/>
              <a:gd name="connsiteX49034" fmla="*/ 3105095 w 8079933"/>
              <a:gd name="connsiteY49034" fmla="*/ 1234175 h 4687251"/>
              <a:gd name="connsiteX49035" fmla="*/ 3103359 w 8079933"/>
              <a:gd name="connsiteY49035" fmla="*/ 1235366 h 4687251"/>
              <a:gd name="connsiteX49036" fmla="*/ 3098476 w 8079933"/>
              <a:gd name="connsiteY49036" fmla="*/ 1235366 h 4687251"/>
              <a:gd name="connsiteX49037" fmla="*/ 3096088 w 8079933"/>
              <a:gd name="connsiteY49037" fmla="*/ 1232659 h 4687251"/>
              <a:gd name="connsiteX49038" fmla="*/ 3096088 w 8079933"/>
              <a:gd name="connsiteY49038" fmla="*/ 1229628 h 4687251"/>
              <a:gd name="connsiteX49039" fmla="*/ 3093810 w 8079933"/>
              <a:gd name="connsiteY49039" fmla="*/ 1227571 h 4687251"/>
              <a:gd name="connsiteX49040" fmla="*/ 3092399 w 8079933"/>
              <a:gd name="connsiteY49040" fmla="*/ 1227571 h 4687251"/>
              <a:gd name="connsiteX49041" fmla="*/ 3090445 w 8079933"/>
              <a:gd name="connsiteY49041" fmla="*/ 1229736 h 4687251"/>
              <a:gd name="connsiteX49042" fmla="*/ 3090445 w 8079933"/>
              <a:gd name="connsiteY49042" fmla="*/ 1231793 h 4687251"/>
              <a:gd name="connsiteX49043" fmla="*/ 3092507 w 8079933"/>
              <a:gd name="connsiteY49043" fmla="*/ 1234391 h 4687251"/>
              <a:gd name="connsiteX49044" fmla="*/ 3092507 w 8079933"/>
              <a:gd name="connsiteY49044" fmla="*/ 1237099 h 4687251"/>
              <a:gd name="connsiteX49045" fmla="*/ 3092507 w 8079933"/>
              <a:gd name="connsiteY49045" fmla="*/ 1238073 h 4687251"/>
              <a:gd name="connsiteX49046" fmla="*/ 3093810 w 8079933"/>
              <a:gd name="connsiteY49046" fmla="*/ 1239156 h 4687251"/>
              <a:gd name="connsiteX49047" fmla="*/ 3100429 w 8079933"/>
              <a:gd name="connsiteY49047" fmla="*/ 1239156 h 4687251"/>
              <a:gd name="connsiteX49048" fmla="*/ 3103359 w 8079933"/>
              <a:gd name="connsiteY49048" fmla="*/ 1240238 h 4687251"/>
              <a:gd name="connsiteX49049" fmla="*/ 3104227 w 8079933"/>
              <a:gd name="connsiteY49049" fmla="*/ 1242836 h 4687251"/>
              <a:gd name="connsiteX49050" fmla="*/ 3103142 w 8079933"/>
              <a:gd name="connsiteY49050" fmla="*/ 1243703 h 4687251"/>
              <a:gd name="connsiteX49051" fmla="*/ 3101189 w 8079933"/>
              <a:gd name="connsiteY49051" fmla="*/ 1245760 h 4687251"/>
              <a:gd name="connsiteX49052" fmla="*/ 3099669 w 8079933"/>
              <a:gd name="connsiteY49052" fmla="*/ 1247817 h 4687251"/>
              <a:gd name="connsiteX49053" fmla="*/ 3097065 w 8079933"/>
              <a:gd name="connsiteY49053" fmla="*/ 1247817 h 4687251"/>
              <a:gd name="connsiteX49054" fmla="*/ 3094678 w 8079933"/>
              <a:gd name="connsiteY49054" fmla="*/ 1246193 h 4687251"/>
              <a:gd name="connsiteX49055" fmla="*/ 3092181 w 8079933"/>
              <a:gd name="connsiteY49055" fmla="*/ 1246193 h 4687251"/>
              <a:gd name="connsiteX49056" fmla="*/ 3087841 w 8079933"/>
              <a:gd name="connsiteY49056" fmla="*/ 1244461 h 4687251"/>
              <a:gd name="connsiteX49057" fmla="*/ 3087841 w 8079933"/>
              <a:gd name="connsiteY49057" fmla="*/ 1242187 h 4687251"/>
              <a:gd name="connsiteX49058" fmla="*/ 3087841 w 8079933"/>
              <a:gd name="connsiteY49058" fmla="*/ 1240888 h 4687251"/>
              <a:gd name="connsiteX49059" fmla="*/ 3085345 w 8079933"/>
              <a:gd name="connsiteY49059" fmla="*/ 1239372 h 4687251"/>
              <a:gd name="connsiteX49060" fmla="*/ 3084043 w 8079933"/>
              <a:gd name="connsiteY49060" fmla="*/ 1239372 h 4687251"/>
              <a:gd name="connsiteX49061" fmla="*/ 3084043 w 8079933"/>
              <a:gd name="connsiteY49061" fmla="*/ 1242945 h 4687251"/>
              <a:gd name="connsiteX49062" fmla="*/ 3083175 w 8079933"/>
              <a:gd name="connsiteY49062" fmla="*/ 1245327 h 4687251"/>
              <a:gd name="connsiteX49063" fmla="*/ 3081222 w 8079933"/>
              <a:gd name="connsiteY49063" fmla="*/ 1248250 h 4687251"/>
              <a:gd name="connsiteX49064" fmla="*/ 3077424 w 8079933"/>
              <a:gd name="connsiteY49064" fmla="*/ 1248250 h 4687251"/>
              <a:gd name="connsiteX49065" fmla="*/ 3075253 w 8079933"/>
              <a:gd name="connsiteY49065" fmla="*/ 1246518 h 4687251"/>
              <a:gd name="connsiteX49066" fmla="*/ 3072866 w 8079933"/>
              <a:gd name="connsiteY49066" fmla="*/ 1245003 h 4687251"/>
              <a:gd name="connsiteX49067" fmla="*/ 3070587 w 8079933"/>
              <a:gd name="connsiteY49067" fmla="*/ 1245003 h 4687251"/>
              <a:gd name="connsiteX49068" fmla="*/ 3070587 w 8079933"/>
              <a:gd name="connsiteY49068" fmla="*/ 1247493 h 4687251"/>
              <a:gd name="connsiteX49069" fmla="*/ 3072432 w 8079933"/>
              <a:gd name="connsiteY49069" fmla="*/ 1249008 h 4687251"/>
              <a:gd name="connsiteX49070" fmla="*/ 3079268 w 8079933"/>
              <a:gd name="connsiteY49070" fmla="*/ 1252040 h 4687251"/>
              <a:gd name="connsiteX49071" fmla="*/ 3084694 w 8079933"/>
              <a:gd name="connsiteY49071" fmla="*/ 1253339 h 4687251"/>
              <a:gd name="connsiteX49072" fmla="*/ 3086865 w 8079933"/>
              <a:gd name="connsiteY49072" fmla="*/ 1257345 h 4687251"/>
              <a:gd name="connsiteX49073" fmla="*/ 3088384 w 8079933"/>
              <a:gd name="connsiteY49073" fmla="*/ 1262758 h 4687251"/>
              <a:gd name="connsiteX49074" fmla="*/ 3086973 w 8079933"/>
              <a:gd name="connsiteY49074" fmla="*/ 1263408 h 4687251"/>
              <a:gd name="connsiteX49075" fmla="*/ 3083935 w 8079933"/>
              <a:gd name="connsiteY49075" fmla="*/ 1263408 h 4687251"/>
              <a:gd name="connsiteX49076" fmla="*/ 3080896 w 8079933"/>
              <a:gd name="connsiteY49076" fmla="*/ 1260485 h 4687251"/>
              <a:gd name="connsiteX49077" fmla="*/ 3075579 w 8079933"/>
              <a:gd name="connsiteY49077" fmla="*/ 1256262 h 4687251"/>
              <a:gd name="connsiteX49078" fmla="*/ 3073191 w 8079933"/>
              <a:gd name="connsiteY49078" fmla="*/ 1254855 h 4687251"/>
              <a:gd name="connsiteX49079" fmla="*/ 3070478 w 8079933"/>
              <a:gd name="connsiteY49079" fmla="*/ 1254855 h 4687251"/>
              <a:gd name="connsiteX49080" fmla="*/ 3070478 w 8079933"/>
              <a:gd name="connsiteY49080" fmla="*/ 1256262 h 4687251"/>
              <a:gd name="connsiteX49081" fmla="*/ 3072758 w 8079933"/>
              <a:gd name="connsiteY49081" fmla="*/ 1258211 h 4687251"/>
              <a:gd name="connsiteX49082" fmla="*/ 3076664 w 8079933"/>
              <a:gd name="connsiteY49082" fmla="*/ 1259294 h 4687251"/>
              <a:gd name="connsiteX49083" fmla="*/ 3081764 w 8079933"/>
              <a:gd name="connsiteY49083" fmla="*/ 1263732 h 4687251"/>
              <a:gd name="connsiteX49084" fmla="*/ 3084694 w 8079933"/>
              <a:gd name="connsiteY49084" fmla="*/ 1267522 h 4687251"/>
              <a:gd name="connsiteX49085" fmla="*/ 3084694 w 8079933"/>
              <a:gd name="connsiteY49085" fmla="*/ 1269905 h 4687251"/>
              <a:gd name="connsiteX49086" fmla="*/ 3083609 w 8079933"/>
              <a:gd name="connsiteY49086" fmla="*/ 1274019 h 4687251"/>
              <a:gd name="connsiteX49087" fmla="*/ 3084694 w 8079933"/>
              <a:gd name="connsiteY49087" fmla="*/ 1275968 h 4687251"/>
              <a:gd name="connsiteX49088" fmla="*/ 3084694 w 8079933"/>
              <a:gd name="connsiteY49088" fmla="*/ 1277808 h 4687251"/>
              <a:gd name="connsiteX49089" fmla="*/ 3082415 w 8079933"/>
              <a:gd name="connsiteY49089" fmla="*/ 1279866 h 4687251"/>
              <a:gd name="connsiteX49090" fmla="*/ 3082415 w 8079933"/>
              <a:gd name="connsiteY49090" fmla="*/ 1281923 h 4687251"/>
              <a:gd name="connsiteX49091" fmla="*/ 3081113 w 8079933"/>
              <a:gd name="connsiteY49091" fmla="*/ 1285604 h 4687251"/>
              <a:gd name="connsiteX49092" fmla="*/ 3077315 w 8079933"/>
              <a:gd name="connsiteY49092" fmla="*/ 1285604 h 4687251"/>
              <a:gd name="connsiteX49093" fmla="*/ 3074711 w 8079933"/>
              <a:gd name="connsiteY49093" fmla="*/ 1283980 h 4687251"/>
              <a:gd name="connsiteX49094" fmla="*/ 3071129 w 8079933"/>
              <a:gd name="connsiteY49094" fmla="*/ 1283980 h 4687251"/>
              <a:gd name="connsiteX49095" fmla="*/ 3068416 w 8079933"/>
              <a:gd name="connsiteY49095" fmla="*/ 1282031 h 4687251"/>
              <a:gd name="connsiteX49096" fmla="*/ 3066355 w 8079933"/>
              <a:gd name="connsiteY49096" fmla="*/ 1282031 h 4687251"/>
              <a:gd name="connsiteX49097" fmla="*/ 3067440 w 8079933"/>
              <a:gd name="connsiteY49097" fmla="*/ 1283980 h 4687251"/>
              <a:gd name="connsiteX49098" fmla="*/ 3071021 w 8079933"/>
              <a:gd name="connsiteY49098" fmla="*/ 1286036 h 4687251"/>
              <a:gd name="connsiteX49099" fmla="*/ 3075687 w 8079933"/>
              <a:gd name="connsiteY49099" fmla="*/ 1286795 h 4687251"/>
              <a:gd name="connsiteX49100" fmla="*/ 3075687 w 8079933"/>
              <a:gd name="connsiteY49100" fmla="*/ 1287878 h 4687251"/>
              <a:gd name="connsiteX49101" fmla="*/ 3072974 w 8079933"/>
              <a:gd name="connsiteY49101" fmla="*/ 1291558 h 4687251"/>
              <a:gd name="connsiteX49102" fmla="*/ 3070261 w 8079933"/>
              <a:gd name="connsiteY49102" fmla="*/ 1290909 h 4687251"/>
              <a:gd name="connsiteX49103" fmla="*/ 3068742 w 8079933"/>
              <a:gd name="connsiteY49103" fmla="*/ 1289176 h 4687251"/>
              <a:gd name="connsiteX49104" fmla="*/ 3067115 w 8079933"/>
              <a:gd name="connsiteY49104" fmla="*/ 1289826 h 4687251"/>
              <a:gd name="connsiteX49105" fmla="*/ 3067115 w 8079933"/>
              <a:gd name="connsiteY49105" fmla="*/ 1291125 h 4687251"/>
              <a:gd name="connsiteX49106" fmla="*/ 3070370 w 8079933"/>
              <a:gd name="connsiteY49106" fmla="*/ 1292858 h 4687251"/>
              <a:gd name="connsiteX49107" fmla="*/ 3071998 w 8079933"/>
              <a:gd name="connsiteY49107" fmla="*/ 1293940 h 4687251"/>
              <a:gd name="connsiteX49108" fmla="*/ 3071998 w 8079933"/>
              <a:gd name="connsiteY49108" fmla="*/ 1296106 h 4687251"/>
              <a:gd name="connsiteX49109" fmla="*/ 3069827 w 8079933"/>
              <a:gd name="connsiteY49109" fmla="*/ 1298488 h 4687251"/>
              <a:gd name="connsiteX49110" fmla="*/ 3066680 w 8079933"/>
              <a:gd name="connsiteY49110" fmla="*/ 1299896 h 4687251"/>
              <a:gd name="connsiteX49111" fmla="*/ 3065270 w 8079933"/>
              <a:gd name="connsiteY49111" fmla="*/ 1297946 h 4687251"/>
              <a:gd name="connsiteX49112" fmla="*/ 3063099 w 8079933"/>
              <a:gd name="connsiteY49112" fmla="*/ 1296647 h 4687251"/>
              <a:gd name="connsiteX49113" fmla="*/ 3060495 w 8079933"/>
              <a:gd name="connsiteY49113" fmla="*/ 1296647 h 4687251"/>
              <a:gd name="connsiteX49114" fmla="*/ 3061363 w 8079933"/>
              <a:gd name="connsiteY49114" fmla="*/ 1298813 h 4687251"/>
              <a:gd name="connsiteX49115" fmla="*/ 3064293 w 8079933"/>
              <a:gd name="connsiteY49115" fmla="*/ 1300112 h 4687251"/>
              <a:gd name="connsiteX49116" fmla="*/ 3067332 w 8079933"/>
              <a:gd name="connsiteY49116" fmla="*/ 1302169 h 4687251"/>
              <a:gd name="connsiteX49117" fmla="*/ 3067332 w 8079933"/>
              <a:gd name="connsiteY49117" fmla="*/ 1305633 h 4687251"/>
              <a:gd name="connsiteX49118" fmla="*/ 3064510 w 8079933"/>
              <a:gd name="connsiteY49118" fmla="*/ 1307474 h 4687251"/>
              <a:gd name="connsiteX49119" fmla="*/ 3058433 w 8079933"/>
              <a:gd name="connsiteY49119" fmla="*/ 1307474 h 4687251"/>
              <a:gd name="connsiteX49120" fmla="*/ 3055611 w 8079933"/>
              <a:gd name="connsiteY49120" fmla="*/ 1305959 h 4687251"/>
              <a:gd name="connsiteX49121" fmla="*/ 3053875 w 8079933"/>
              <a:gd name="connsiteY49121" fmla="*/ 1305959 h 4687251"/>
              <a:gd name="connsiteX49122" fmla="*/ 3053875 w 8079933"/>
              <a:gd name="connsiteY49122" fmla="*/ 1307149 h 4687251"/>
              <a:gd name="connsiteX49123" fmla="*/ 3057456 w 8079933"/>
              <a:gd name="connsiteY49123" fmla="*/ 1308774 h 4687251"/>
              <a:gd name="connsiteX49124" fmla="*/ 3065487 w 8079933"/>
              <a:gd name="connsiteY49124" fmla="*/ 1309531 h 4687251"/>
              <a:gd name="connsiteX49125" fmla="*/ 3069285 w 8079933"/>
              <a:gd name="connsiteY49125" fmla="*/ 1311047 h 4687251"/>
              <a:gd name="connsiteX49126" fmla="*/ 3070261 w 8079933"/>
              <a:gd name="connsiteY49126" fmla="*/ 1313213 h 4687251"/>
              <a:gd name="connsiteX49127" fmla="*/ 3069719 w 8079933"/>
              <a:gd name="connsiteY49127" fmla="*/ 1314837 h 4687251"/>
              <a:gd name="connsiteX49128" fmla="*/ 3066029 w 8079933"/>
              <a:gd name="connsiteY49128" fmla="*/ 1316461 h 4687251"/>
              <a:gd name="connsiteX49129" fmla="*/ 3059952 w 8079933"/>
              <a:gd name="connsiteY49129" fmla="*/ 1317652 h 4687251"/>
              <a:gd name="connsiteX49130" fmla="*/ 3055503 w 8079933"/>
              <a:gd name="connsiteY49130" fmla="*/ 1316461 h 4687251"/>
              <a:gd name="connsiteX49131" fmla="*/ 3051813 w 8079933"/>
              <a:gd name="connsiteY49131" fmla="*/ 1314945 h 4687251"/>
              <a:gd name="connsiteX49132" fmla="*/ 3050837 w 8079933"/>
              <a:gd name="connsiteY49132" fmla="*/ 1315703 h 4687251"/>
              <a:gd name="connsiteX49133" fmla="*/ 3052573 w 8079933"/>
              <a:gd name="connsiteY49133" fmla="*/ 1318301 h 4687251"/>
              <a:gd name="connsiteX49134" fmla="*/ 3057348 w 8079933"/>
              <a:gd name="connsiteY49134" fmla="*/ 1319276 h 4687251"/>
              <a:gd name="connsiteX49135" fmla="*/ 3058216 w 8079933"/>
              <a:gd name="connsiteY49135" fmla="*/ 1320683 h 4687251"/>
              <a:gd name="connsiteX49136" fmla="*/ 3057674 w 8079933"/>
              <a:gd name="connsiteY49136" fmla="*/ 1321658 h 4687251"/>
              <a:gd name="connsiteX49137" fmla="*/ 3055829 w 8079933"/>
              <a:gd name="connsiteY49137" fmla="*/ 1321658 h 4687251"/>
              <a:gd name="connsiteX49138" fmla="*/ 3055829 w 8079933"/>
              <a:gd name="connsiteY49138" fmla="*/ 1322524 h 4687251"/>
              <a:gd name="connsiteX49139" fmla="*/ 3059518 w 8079933"/>
              <a:gd name="connsiteY49139" fmla="*/ 1323606 h 4687251"/>
              <a:gd name="connsiteX49140" fmla="*/ 3063208 w 8079933"/>
              <a:gd name="connsiteY49140" fmla="*/ 1325231 h 4687251"/>
              <a:gd name="connsiteX49141" fmla="*/ 3063208 w 8079933"/>
              <a:gd name="connsiteY49141" fmla="*/ 1326747 h 4687251"/>
              <a:gd name="connsiteX49142" fmla="*/ 3060386 w 8079933"/>
              <a:gd name="connsiteY49142" fmla="*/ 1328478 h 4687251"/>
              <a:gd name="connsiteX49143" fmla="*/ 3057022 w 8079933"/>
              <a:gd name="connsiteY49143" fmla="*/ 1328478 h 4687251"/>
              <a:gd name="connsiteX49144" fmla="*/ 3054961 w 8079933"/>
              <a:gd name="connsiteY49144" fmla="*/ 1328478 h 4687251"/>
              <a:gd name="connsiteX49145" fmla="*/ 3054961 w 8079933"/>
              <a:gd name="connsiteY49145" fmla="*/ 1330211 h 4687251"/>
              <a:gd name="connsiteX49146" fmla="*/ 3057456 w 8079933"/>
              <a:gd name="connsiteY49146" fmla="*/ 1331186 h 4687251"/>
              <a:gd name="connsiteX49147" fmla="*/ 3061689 w 8079933"/>
              <a:gd name="connsiteY49147" fmla="*/ 1331186 h 4687251"/>
              <a:gd name="connsiteX49148" fmla="*/ 3064727 w 8079933"/>
              <a:gd name="connsiteY49148" fmla="*/ 1331727 h 4687251"/>
              <a:gd name="connsiteX49149" fmla="*/ 3063967 w 8079933"/>
              <a:gd name="connsiteY49149" fmla="*/ 1333459 h 4687251"/>
              <a:gd name="connsiteX49150" fmla="*/ 3060929 w 8079933"/>
              <a:gd name="connsiteY49150" fmla="*/ 1335625 h 4687251"/>
              <a:gd name="connsiteX49151" fmla="*/ 3056697 w 8079933"/>
              <a:gd name="connsiteY49151" fmla="*/ 1337357 h 4687251"/>
              <a:gd name="connsiteX49152" fmla="*/ 3053984 w 8079933"/>
              <a:gd name="connsiteY49152" fmla="*/ 1337357 h 4687251"/>
              <a:gd name="connsiteX49153" fmla="*/ 3050945 w 8079933"/>
              <a:gd name="connsiteY49153" fmla="*/ 1335083 h 4687251"/>
              <a:gd name="connsiteX49154" fmla="*/ 3047365 w 8079933"/>
              <a:gd name="connsiteY49154" fmla="*/ 1331727 h 4687251"/>
              <a:gd name="connsiteX49155" fmla="*/ 3046279 w 8079933"/>
              <a:gd name="connsiteY49155" fmla="*/ 1329453 h 4687251"/>
              <a:gd name="connsiteX49156" fmla="*/ 3044869 w 8079933"/>
              <a:gd name="connsiteY49156" fmla="*/ 1329453 h 4687251"/>
              <a:gd name="connsiteX49157" fmla="*/ 3043132 w 8079933"/>
              <a:gd name="connsiteY49157" fmla="*/ 1330427 h 4687251"/>
              <a:gd name="connsiteX49158" fmla="*/ 3039443 w 8079933"/>
              <a:gd name="connsiteY49158" fmla="*/ 1329561 h 4687251"/>
              <a:gd name="connsiteX49159" fmla="*/ 3038249 w 8079933"/>
              <a:gd name="connsiteY49159" fmla="*/ 1330644 h 4687251"/>
              <a:gd name="connsiteX49160" fmla="*/ 3039443 w 8079933"/>
              <a:gd name="connsiteY49160" fmla="*/ 1332484 h 4687251"/>
              <a:gd name="connsiteX49161" fmla="*/ 3046822 w 8079933"/>
              <a:gd name="connsiteY49161" fmla="*/ 1335733 h 4687251"/>
              <a:gd name="connsiteX49162" fmla="*/ 3050837 w 8079933"/>
              <a:gd name="connsiteY49162" fmla="*/ 1338331 h 4687251"/>
              <a:gd name="connsiteX49163" fmla="*/ 3050837 w 8079933"/>
              <a:gd name="connsiteY49163" fmla="*/ 1340388 h 4687251"/>
              <a:gd name="connsiteX49164" fmla="*/ 3049318 w 8079933"/>
              <a:gd name="connsiteY49164" fmla="*/ 1341904 h 4687251"/>
              <a:gd name="connsiteX49165" fmla="*/ 3049318 w 8079933"/>
              <a:gd name="connsiteY49165" fmla="*/ 1343853 h 4687251"/>
              <a:gd name="connsiteX49166" fmla="*/ 3050837 w 8079933"/>
              <a:gd name="connsiteY49166" fmla="*/ 1343095 h 4687251"/>
              <a:gd name="connsiteX49167" fmla="*/ 3053984 w 8079933"/>
              <a:gd name="connsiteY49167" fmla="*/ 1343095 h 4687251"/>
              <a:gd name="connsiteX49168" fmla="*/ 3055286 w 8079933"/>
              <a:gd name="connsiteY49168" fmla="*/ 1344178 h 4687251"/>
              <a:gd name="connsiteX49169" fmla="*/ 3057239 w 8079933"/>
              <a:gd name="connsiteY49169" fmla="*/ 1345044 h 4687251"/>
              <a:gd name="connsiteX49170" fmla="*/ 3057239 w 8079933"/>
              <a:gd name="connsiteY49170" fmla="*/ 1346668 h 4687251"/>
              <a:gd name="connsiteX49171" fmla="*/ 3054961 w 8079933"/>
              <a:gd name="connsiteY49171" fmla="*/ 1347318 h 4687251"/>
              <a:gd name="connsiteX49172" fmla="*/ 3052248 w 8079933"/>
              <a:gd name="connsiteY49172" fmla="*/ 1349483 h 4687251"/>
              <a:gd name="connsiteX49173" fmla="*/ 3052248 w 8079933"/>
              <a:gd name="connsiteY49173" fmla="*/ 1351108 h 4687251"/>
              <a:gd name="connsiteX49174" fmla="*/ 3050837 w 8079933"/>
              <a:gd name="connsiteY49174" fmla="*/ 1351108 h 4687251"/>
              <a:gd name="connsiteX49175" fmla="*/ 3039985 w 8079933"/>
              <a:gd name="connsiteY49175" fmla="*/ 1345477 h 4687251"/>
              <a:gd name="connsiteX49176" fmla="*/ 3033908 w 8079933"/>
              <a:gd name="connsiteY49176" fmla="*/ 1345477 h 4687251"/>
              <a:gd name="connsiteX49177" fmla="*/ 3033908 w 8079933"/>
              <a:gd name="connsiteY49177" fmla="*/ 1343637 h 4687251"/>
              <a:gd name="connsiteX49178" fmla="*/ 3034559 w 8079933"/>
              <a:gd name="connsiteY49178" fmla="*/ 1339847 h 4687251"/>
              <a:gd name="connsiteX49179" fmla="*/ 3035970 w 8079933"/>
              <a:gd name="connsiteY49179" fmla="*/ 1339847 h 4687251"/>
              <a:gd name="connsiteX49180" fmla="*/ 3035970 w 8079933"/>
              <a:gd name="connsiteY49180" fmla="*/ 1337790 h 4687251"/>
              <a:gd name="connsiteX49181" fmla="*/ 3033908 w 8079933"/>
              <a:gd name="connsiteY49181" fmla="*/ 1337790 h 4687251"/>
              <a:gd name="connsiteX49182" fmla="*/ 3031738 w 8079933"/>
              <a:gd name="connsiteY49182" fmla="*/ 1340497 h 4687251"/>
              <a:gd name="connsiteX49183" fmla="*/ 3030002 w 8079933"/>
              <a:gd name="connsiteY49183" fmla="*/ 1340497 h 4687251"/>
              <a:gd name="connsiteX49184" fmla="*/ 3030002 w 8079933"/>
              <a:gd name="connsiteY49184" fmla="*/ 1346668 h 4687251"/>
              <a:gd name="connsiteX49185" fmla="*/ 3026855 w 8079933"/>
              <a:gd name="connsiteY49185" fmla="*/ 1345153 h 4687251"/>
              <a:gd name="connsiteX49186" fmla="*/ 3024033 w 8079933"/>
              <a:gd name="connsiteY49186" fmla="*/ 1345153 h 4687251"/>
              <a:gd name="connsiteX49187" fmla="*/ 3023165 w 8079933"/>
              <a:gd name="connsiteY49187" fmla="*/ 1347426 h 4687251"/>
              <a:gd name="connsiteX49188" fmla="*/ 3023165 w 8079933"/>
              <a:gd name="connsiteY49188" fmla="*/ 1350782 h 4687251"/>
              <a:gd name="connsiteX49189" fmla="*/ 3021429 w 8079933"/>
              <a:gd name="connsiteY49189" fmla="*/ 1352624 h 4687251"/>
              <a:gd name="connsiteX49190" fmla="*/ 3018933 w 8079933"/>
              <a:gd name="connsiteY49190" fmla="*/ 1351432 h 4687251"/>
              <a:gd name="connsiteX49191" fmla="*/ 3020236 w 8079933"/>
              <a:gd name="connsiteY49191" fmla="*/ 1347210 h 4687251"/>
              <a:gd name="connsiteX49192" fmla="*/ 3021863 w 8079933"/>
              <a:gd name="connsiteY49192" fmla="*/ 1344286 h 4687251"/>
              <a:gd name="connsiteX49193" fmla="*/ 3021863 w 8079933"/>
              <a:gd name="connsiteY49193" fmla="*/ 1340714 h 4687251"/>
              <a:gd name="connsiteX49194" fmla="*/ 3026312 w 8079933"/>
              <a:gd name="connsiteY49194" fmla="*/ 1334542 h 4687251"/>
              <a:gd name="connsiteX49195" fmla="*/ 3025552 w 8079933"/>
              <a:gd name="connsiteY49195" fmla="*/ 1333567 h 4687251"/>
              <a:gd name="connsiteX49196" fmla="*/ 3022405 w 8079933"/>
              <a:gd name="connsiteY49196" fmla="*/ 1335733 h 4687251"/>
              <a:gd name="connsiteX49197" fmla="*/ 3019259 w 8079933"/>
              <a:gd name="connsiteY49197" fmla="*/ 1343961 h 4687251"/>
              <a:gd name="connsiteX49198" fmla="*/ 3015352 w 8079933"/>
              <a:gd name="connsiteY49198" fmla="*/ 1347210 h 4687251"/>
              <a:gd name="connsiteX49199" fmla="*/ 3013833 w 8079933"/>
              <a:gd name="connsiteY49199" fmla="*/ 1346235 h 4687251"/>
              <a:gd name="connsiteX49200" fmla="*/ 3013833 w 8079933"/>
              <a:gd name="connsiteY49200" fmla="*/ 1343095 h 4687251"/>
              <a:gd name="connsiteX49201" fmla="*/ 3018173 w 8079933"/>
              <a:gd name="connsiteY49201" fmla="*/ 1339522 h 4687251"/>
              <a:gd name="connsiteX49202" fmla="*/ 3018933 w 8079933"/>
              <a:gd name="connsiteY49202" fmla="*/ 1334867 h 4687251"/>
              <a:gd name="connsiteX49203" fmla="*/ 3021646 w 8079933"/>
              <a:gd name="connsiteY49203" fmla="*/ 1330427 h 4687251"/>
              <a:gd name="connsiteX49204" fmla="*/ 3018716 w 8079933"/>
              <a:gd name="connsiteY49204" fmla="*/ 1331294 h 4687251"/>
              <a:gd name="connsiteX49205" fmla="*/ 3016763 w 8079933"/>
              <a:gd name="connsiteY49205" fmla="*/ 1331294 h 4687251"/>
              <a:gd name="connsiteX49206" fmla="*/ 3014918 w 8079933"/>
              <a:gd name="connsiteY49206" fmla="*/ 1334975 h 4687251"/>
              <a:gd name="connsiteX49207" fmla="*/ 3011554 w 8079933"/>
              <a:gd name="connsiteY49207" fmla="*/ 1335841 h 4687251"/>
              <a:gd name="connsiteX49208" fmla="*/ 3010686 w 8079933"/>
              <a:gd name="connsiteY49208" fmla="*/ 1334325 h 4687251"/>
              <a:gd name="connsiteX49209" fmla="*/ 3011988 w 8079933"/>
              <a:gd name="connsiteY49209" fmla="*/ 1330752 h 4687251"/>
              <a:gd name="connsiteX49210" fmla="*/ 3015135 w 8079933"/>
              <a:gd name="connsiteY49210" fmla="*/ 1327829 h 4687251"/>
              <a:gd name="connsiteX49211" fmla="*/ 3014158 w 8079933"/>
              <a:gd name="connsiteY49211" fmla="*/ 1326747 h 4687251"/>
              <a:gd name="connsiteX49212" fmla="*/ 3011988 w 8079933"/>
              <a:gd name="connsiteY49212" fmla="*/ 1326747 h 4687251"/>
              <a:gd name="connsiteX49213" fmla="*/ 3010468 w 8079933"/>
              <a:gd name="connsiteY49213" fmla="*/ 1329237 h 4687251"/>
              <a:gd name="connsiteX49214" fmla="*/ 3007755 w 8079933"/>
              <a:gd name="connsiteY49214" fmla="*/ 1330969 h 4687251"/>
              <a:gd name="connsiteX49215" fmla="*/ 3006671 w 8079933"/>
              <a:gd name="connsiteY49215" fmla="*/ 1334000 h 4687251"/>
              <a:gd name="connsiteX49216" fmla="*/ 3005152 w 8079933"/>
              <a:gd name="connsiteY49216" fmla="*/ 1329886 h 4687251"/>
              <a:gd name="connsiteX49217" fmla="*/ 3005152 w 8079933"/>
              <a:gd name="connsiteY49217" fmla="*/ 1328370 h 4687251"/>
              <a:gd name="connsiteX49218" fmla="*/ 3004066 w 8079933"/>
              <a:gd name="connsiteY49218" fmla="*/ 1328370 h 4687251"/>
              <a:gd name="connsiteX49219" fmla="*/ 3001571 w 8079933"/>
              <a:gd name="connsiteY49219" fmla="*/ 1330752 h 4687251"/>
              <a:gd name="connsiteX49220" fmla="*/ 2999726 w 8079933"/>
              <a:gd name="connsiteY49220" fmla="*/ 1330752 h 4687251"/>
              <a:gd name="connsiteX49221" fmla="*/ 3000377 w 8079933"/>
              <a:gd name="connsiteY49221" fmla="*/ 1328695 h 4687251"/>
              <a:gd name="connsiteX49222" fmla="*/ 3006996 w 8079933"/>
              <a:gd name="connsiteY49222" fmla="*/ 1323931 h 4687251"/>
              <a:gd name="connsiteX49223" fmla="*/ 3006996 w 8079933"/>
              <a:gd name="connsiteY49223" fmla="*/ 1319925 h 4687251"/>
              <a:gd name="connsiteX49224" fmla="*/ 3009926 w 8079933"/>
              <a:gd name="connsiteY49224" fmla="*/ 1318951 h 4687251"/>
              <a:gd name="connsiteX49225" fmla="*/ 3014701 w 8079933"/>
              <a:gd name="connsiteY49225" fmla="*/ 1315161 h 4687251"/>
              <a:gd name="connsiteX49226" fmla="*/ 3014050 w 8079933"/>
              <a:gd name="connsiteY49226" fmla="*/ 1314079 h 4687251"/>
              <a:gd name="connsiteX49227" fmla="*/ 3009058 w 8079933"/>
              <a:gd name="connsiteY49227" fmla="*/ 1317543 h 4687251"/>
              <a:gd name="connsiteX49228" fmla="*/ 3005043 w 8079933"/>
              <a:gd name="connsiteY49228" fmla="*/ 1318951 h 4687251"/>
              <a:gd name="connsiteX49229" fmla="*/ 3004066 w 8079933"/>
              <a:gd name="connsiteY49229" fmla="*/ 1317868 h 4687251"/>
              <a:gd name="connsiteX49230" fmla="*/ 3005368 w 8079933"/>
              <a:gd name="connsiteY49230" fmla="*/ 1316677 h 4687251"/>
              <a:gd name="connsiteX49231" fmla="*/ 3009275 w 8079933"/>
              <a:gd name="connsiteY49231" fmla="*/ 1315594 h 4687251"/>
              <a:gd name="connsiteX49232" fmla="*/ 3012965 w 8079933"/>
              <a:gd name="connsiteY49232" fmla="*/ 1312671 h 4687251"/>
              <a:gd name="connsiteX49233" fmla="*/ 3016654 w 8079933"/>
              <a:gd name="connsiteY49233" fmla="*/ 1310506 h 4687251"/>
              <a:gd name="connsiteX49234" fmla="*/ 3019909 w 8079933"/>
              <a:gd name="connsiteY49234" fmla="*/ 1309423 h 4687251"/>
              <a:gd name="connsiteX49235" fmla="*/ 3019909 w 8079933"/>
              <a:gd name="connsiteY49235" fmla="*/ 1305525 h 4687251"/>
              <a:gd name="connsiteX49236" fmla="*/ 3018391 w 8079933"/>
              <a:gd name="connsiteY49236" fmla="*/ 1302494 h 4687251"/>
              <a:gd name="connsiteX49237" fmla="*/ 3016437 w 8079933"/>
              <a:gd name="connsiteY49237" fmla="*/ 1302494 h 4687251"/>
              <a:gd name="connsiteX49238" fmla="*/ 3011988 w 8079933"/>
              <a:gd name="connsiteY49238" fmla="*/ 1308557 h 4687251"/>
              <a:gd name="connsiteX49239" fmla="*/ 3004826 w 8079933"/>
              <a:gd name="connsiteY49239" fmla="*/ 1313104 h 4687251"/>
              <a:gd name="connsiteX49240" fmla="*/ 2999726 w 8079933"/>
              <a:gd name="connsiteY49240" fmla="*/ 1314729 h 4687251"/>
              <a:gd name="connsiteX49241" fmla="*/ 2999074 w 8079933"/>
              <a:gd name="connsiteY49241" fmla="*/ 1313104 h 4687251"/>
              <a:gd name="connsiteX49242" fmla="*/ 3001353 w 8079933"/>
              <a:gd name="connsiteY49242" fmla="*/ 1311372 h 4687251"/>
              <a:gd name="connsiteX49243" fmla="*/ 3004066 w 8079933"/>
              <a:gd name="connsiteY49243" fmla="*/ 1310506 h 4687251"/>
              <a:gd name="connsiteX49244" fmla="*/ 3007647 w 8079933"/>
              <a:gd name="connsiteY49244" fmla="*/ 1307041 h 4687251"/>
              <a:gd name="connsiteX49245" fmla="*/ 3007647 w 8079933"/>
              <a:gd name="connsiteY49245" fmla="*/ 1302494 h 4687251"/>
              <a:gd name="connsiteX49246" fmla="*/ 3005694 w 8079933"/>
              <a:gd name="connsiteY49246" fmla="*/ 1298813 h 4687251"/>
              <a:gd name="connsiteX49247" fmla="*/ 3003524 w 8079933"/>
              <a:gd name="connsiteY49247" fmla="*/ 1297730 h 4687251"/>
              <a:gd name="connsiteX49248" fmla="*/ 3001353 w 8079933"/>
              <a:gd name="connsiteY49248" fmla="*/ 1299029 h 4687251"/>
              <a:gd name="connsiteX49249" fmla="*/ 3001353 w 8079933"/>
              <a:gd name="connsiteY49249" fmla="*/ 1301627 h 4687251"/>
              <a:gd name="connsiteX49250" fmla="*/ 3003089 w 8079933"/>
              <a:gd name="connsiteY49250" fmla="*/ 1303576 h 4687251"/>
              <a:gd name="connsiteX49251" fmla="*/ 3003089 w 8079933"/>
              <a:gd name="connsiteY49251" fmla="*/ 1305742 h 4687251"/>
              <a:gd name="connsiteX49252" fmla="*/ 3000485 w 8079933"/>
              <a:gd name="connsiteY49252" fmla="*/ 1308016 h 4687251"/>
              <a:gd name="connsiteX49253" fmla="*/ 2997446 w 8079933"/>
              <a:gd name="connsiteY49253" fmla="*/ 1306608 h 4687251"/>
              <a:gd name="connsiteX49254" fmla="*/ 2994300 w 8079933"/>
              <a:gd name="connsiteY49254" fmla="*/ 1307366 h 4687251"/>
              <a:gd name="connsiteX49255" fmla="*/ 2991044 w 8079933"/>
              <a:gd name="connsiteY49255" fmla="*/ 1307366 h 4687251"/>
              <a:gd name="connsiteX49256" fmla="*/ 2988440 w 8079933"/>
              <a:gd name="connsiteY49256" fmla="*/ 1308990 h 4687251"/>
              <a:gd name="connsiteX49257" fmla="*/ 2986595 w 8079933"/>
              <a:gd name="connsiteY49257" fmla="*/ 1312347 h 4687251"/>
              <a:gd name="connsiteX49258" fmla="*/ 2984316 w 8079933"/>
              <a:gd name="connsiteY49258" fmla="*/ 1313213 h 4687251"/>
              <a:gd name="connsiteX49259" fmla="*/ 2981603 w 8079933"/>
              <a:gd name="connsiteY49259" fmla="*/ 1312454 h 4687251"/>
              <a:gd name="connsiteX49260" fmla="*/ 2979541 w 8079933"/>
              <a:gd name="connsiteY49260" fmla="*/ 1310506 h 4687251"/>
              <a:gd name="connsiteX49261" fmla="*/ 2975960 w 8079933"/>
              <a:gd name="connsiteY49261" fmla="*/ 1311047 h 4687251"/>
              <a:gd name="connsiteX49262" fmla="*/ 2973248 w 8079933"/>
              <a:gd name="connsiteY49262" fmla="*/ 1313646 h 4687251"/>
              <a:gd name="connsiteX49263" fmla="*/ 2970535 w 8079933"/>
              <a:gd name="connsiteY49263" fmla="*/ 1312130 h 4687251"/>
              <a:gd name="connsiteX49264" fmla="*/ 2968364 w 8079933"/>
              <a:gd name="connsiteY49264" fmla="*/ 1313321 h 4687251"/>
              <a:gd name="connsiteX49265" fmla="*/ 2968364 w 8079933"/>
              <a:gd name="connsiteY49265" fmla="*/ 1315270 h 4687251"/>
              <a:gd name="connsiteX49266" fmla="*/ 2969450 w 8079933"/>
              <a:gd name="connsiteY49266" fmla="*/ 1317327 h 4687251"/>
              <a:gd name="connsiteX49267" fmla="*/ 2967605 w 8079933"/>
              <a:gd name="connsiteY49267" fmla="*/ 1318410 h 4687251"/>
              <a:gd name="connsiteX49268" fmla="*/ 2960768 w 8079933"/>
              <a:gd name="connsiteY49268" fmla="*/ 1316894 h 4687251"/>
              <a:gd name="connsiteX49269" fmla="*/ 2960117 w 8079933"/>
              <a:gd name="connsiteY49269" fmla="*/ 1314511 h 4687251"/>
              <a:gd name="connsiteX49270" fmla="*/ 2962179 w 8079933"/>
              <a:gd name="connsiteY49270" fmla="*/ 1311480 h 4687251"/>
              <a:gd name="connsiteX49271" fmla="*/ 2965760 w 8079933"/>
              <a:gd name="connsiteY49271" fmla="*/ 1311480 h 4687251"/>
              <a:gd name="connsiteX49272" fmla="*/ 2968364 w 8079933"/>
              <a:gd name="connsiteY49272" fmla="*/ 1309098 h 4687251"/>
              <a:gd name="connsiteX49273" fmla="*/ 2968364 w 8079933"/>
              <a:gd name="connsiteY49273" fmla="*/ 1307691 h 4687251"/>
              <a:gd name="connsiteX49274" fmla="*/ 2964675 w 8079933"/>
              <a:gd name="connsiteY49274" fmla="*/ 1305959 h 4687251"/>
              <a:gd name="connsiteX49275" fmla="*/ 2964675 w 8079933"/>
              <a:gd name="connsiteY49275" fmla="*/ 1301303 h 4687251"/>
              <a:gd name="connsiteX49276" fmla="*/ 2961203 w 8079933"/>
              <a:gd name="connsiteY49276" fmla="*/ 1298488 h 4687251"/>
              <a:gd name="connsiteX49277" fmla="*/ 2960117 w 8079933"/>
              <a:gd name="connsiteY49277" fmla="*/ 1297080 h 4687251"/>
              <a:gd name="connsiteX49278" fmla="*/ 2957621 w 8079933"/>
              <a:gd name="connsiteY49278" fmla="*/ 1298055 h 4687251"/>
              <a:gd name="connsiteX49279" fmla="*/ 2951870 w 8079933"/>
              <a:gd name="connsiteY49279" fmla="*/ 1302386 h 4687251"/>
              <a:gd name="connsiteX49280" fmla="*/ 2948505 w 8079933"/>
              <a:gd name="connsiteY49280" fmla="*/ 1300978 h 4687251"/>
              <a:gd name="connsiteX49281" fmla="*/ 2947529 w 8079933"/>
              <a:gd name="connsiteY49281" fmla="*/ 1297730 h 4687251"/>
              <a:gd name="connsiteX49282" fmla="*/ 2951110 w 8079933"/>
              <a:gd name="connsiteY49282" fmla="*/ 1294590 h 4687251"/>
              <a:gd name="connsiteX49283" fmla="*/ 2949591 w 8079933"/>
              <a:gd name="connsiteY49283" fmla="*/ 1292641 h 4687251"/>
              <a:gd name="connsiteX49284" fmla="*/ 2946444 w 8079933"/>
              <a:gd name="connsiteY49284" fmla="*/ 1292641 h 4687251"/>
              <a:gd name="connsiteX49285" fmla="*/ 2946444 w 8079933"/>
              <a:gd name="connsiteY49285" fmla="*/ 1291125 h 4687251"/>
              <a:gd name="connsiteX49286" fmla="*/ 2951435 w 8079933"/>
              <a:gd name="connsiteY49286" fmla="*/ 1288743 h 4687251"/>
              <a:gd name="connsiteX49287" fmla="*/ 2954583 w 8079933"/>
              <a:gd name="connsiteY49287" fmla="*/ 1288743 h 4687251"/>
              <a:gd name="connsiteX49288" fmla="*/ 2956102 w 8079933"/>
              <a:gd name="connsiteY49288" fmla="*/ 1286903 h 4687251"/>
              <a:gd name="connsiteX49289" fmla="*/ 2955125 w 8079933"/>
              <a:gd name="connsiteY49289" fmla="*/ 1284629 h 4687251"/>
              <a:gd name="connsiteX49290" fmla="*/ 2952304 w 8079933"/>
              <a:gd name="connsiteY49290" fmla="*/ 1284629 h 4687251"/>
              <a:gd name="connsiteX49291" fmla="*/ 2947855 w 8079933"/>
              <a:gd name="connsiteY49291" fmla="*/ 1286036 h 4687251"/>
              <a:gd name="connsiteX49292" fmla="*/ 2944599 w 8079933"/>
              <a:gd name="connsiteY49292" fmla="*/ 1288419 h 4687251"/>
              <a:gd name="connsiteX49293" fmla="*/ 2939065 w 8079933"/>
              <a:gd name="connsiteY49293" fmla="*/ 1289935 h 4687251"/>
              <a:gd name="connsiteX49294" fmla="*/ 2935809 w 8079933"/>
              <a:gd name="connsiteY49294" fmla="*/ 1287769 h 4687251"/>
              <a:gd name="connsiteX49295" fmla="*/ 2936460 w 8079933"/>
              <a:gd name="connsiteY49295" fmla="*/ 1285495 h 4687251"/>
              <a:gd name="connsiteX49296" fmla="*/ 2940041 w 8079933"/>
              <a:gd name="connsiteY49296" fmla="*/ 1284413 h 4687251"/>
              <a:gd name="connsiteX49297" fmla="*/ 2942429 w 8079933"/>
              <a:gd name="connsiteY49297" fmla="*/ 1282464 h 4687251"/>
              <a:gd name="connsiteX49298" fmla="*/ 2942429 w 8079933"/>
              <a:gd name="connsiteY49298" fmla="*/ 1278566 h 4687251"/>
              <a:gd name="connsiteX49299" fmla="*/ 2947529 w 8079933"/>
              <a:gd name="connsiteY49299" fmla="*/ 1276401 h 4687251"/>
              <a:gd name="connsiteX49300" fmla="*/ 2949373 w 8079933"/>
              <a:gd name="connsiteY49300" fmla="*/ 1274452 h 4687251"/>
              <a:gd name="connsiteX49301" fmla="*/ 2948505 w 8079933"/>
              <a:gd name="connsiteY49301" fmla="*/ 1273153 h 4687251"/>
              <a:gd name="connsiteX49302" fmla="*/ 2944057 w 8079933"/>
              <a:gd name="connsiteY49302" fmla="*/ 1272178 h 4687251"/>
              <a:gd name="connsiteX49303" fmla="*/ 2941561 w 8079933"/>
              <a:gd name="connsiteY49303" fmla="*/ 1274235 h 4687251"/>
              <a:gd name="connsiteX49304" fmla="*/ 2938088 w 8079933"/>
              <a:gd name="connsiteY49304" fmla="*/ 1275860 h 4687251"/>
              <a:gd name="connsiteX49305" fmla="*/ 2935375 w 8079933"/>
              <a:gd name="connsiteY49305" fmla="*/ 1273478 h 4687251"/>
              <a:gd name="connsiteX49306" fmla="*/ 2937437 w 8079933"/>
              <a:gd name="connsiteY49306" fmla="*/ 1271095 h 4687251"/>
              <a:gd name="connsiteX49307" fmla="*/ 2940476 w 8079933"/>
              <a:gd name="connsiteY49307" fmla="*/ 1270446 h 4687251"/>
              <a:gd name="connsiteX49308" fmla="*/ 2943297 w 8079933"/>
              <a:gd name="connsiteY49308" fmla="*/ 1270446 h 4687251"/>
              <a:gd name="connsiteX49309" fmla="*/ 2945142 w 8079933"/>
              <a:gd name="connsiteY49309" fmla="*/ 1268064 h 4687251"/>
              <a:gd name="connsiteX49310" fmla="*/ 2948180 w 8079933"/>
              <a:gd name="connsiteY49310" fmla="*/ 1265790 h 4687251"/>
              <a:gd name="connsiteX49311" fmla="*/ 2947529 w 8079933"/>
              <a:gd name="connsiteY49311" fmla="*/ 1263517 h 4687251"/>
              <a:gd name="connsiteX49312" fmla="*/ 2949265 w 8079933"/>
              <a:gd name="connsiteY49312" fmla="*/ 1261351 h 4687251"/>
              <a:gd name="connsiteX49313" fmla="*/ 2947746 w 8079933"/>
              <a:gd name="connsiteY49313" fmla="*/ 1259944 h 4687251"/>
              <a:gd name="connsiteX49314" fmla="*/ 2941994 w 8079933"/>
              <a:gd name="connsiteY49314" fmla="*/ 1262001 h 4687251"/>
              <a:gd name="connsiteX49315" fmla="*/ 2940692 w 8079933"/>
              <a:gd name="connsiteY49315" fmla="*/ 1263950 h 4687251"/>
              <a:gd name="connsiteX49316" fmla="*/ 2938848 w 8079933"/>
              <a:gd name="connsiteY49316" fmla="*/ 1266007 h 4687251"/>
              <a:gd name="connsiteX49317" fmla="*/ 2934616 w 8079933"/>
              <a:gd name="connsiteY49317" fmla="*/ 1266007 h 4687251"/>
              <a:gd name="connsiteX49318" fmla="*/ 2936026 w 8079933"/>
              <a:gd name="connsiteY49318" fmla="*/ 1264058 h 4687251"/>
              <a:gd name="connsiteX49319" fmla="*/ 2939173 w 8079933"/>
              <a:gd name="connsiteY49319" fmla="*/ 1262217 h 4687251"/>
              <a:gd name="connsiteX49320" fmla="*/ 2939824 w 8079933"/>
              <a:gd name="connsiteY49320" fmla="*/ 1259186 h 4687251"/>
              <a:gd name="connsiteX49321" fmla="*/ 2937979 w 8079933"/>
              <a:gd name="connsiteY49321" fmla="*/ 1257454 h 4687251"/>
              <a:gd name="connsiteX49322" fmla="*/ 2940367 w 8079933"/>
              <a:gd name="connsiteY49322" fmla="*/ 1255612 h 4687251"/>
              <a:gd name="connsiteX49323" fmla="*/ 2940367 w 8079933"/>
              <a:gd name="connsiteY49323" fmla="*/ 1253664 h 4687251"/>
              <a:gd name="connsiteX49324" fmla="*/ 2938414 w 8079933"/>
              <a:gd name="connsiteY49324" fmla="*/ 1252473 h 4687251"/>
              <a:gd name="connsiteX49325" fmla="*/ 2934941 w 8079933"/>
              <a:gd name="connsiteY49325" fmla="*/ 1252473 h 4687251"/>
              <a:gd name="connsiteX49326" fmla="*/ 2934941 w 8079933"/>
              <a:gd name="connsiteY49326" fmla="*/ 1251390 h 4687251"/>
              <a:gd name="connsiteX49327" fmla="*/ 2936678 w 8079933"/>
              <a:gd name="connsiteY49327" fmla="*/ 1249441 h 4687251"/>
              <a:gd name="connsiteX49328" fmla="*/ 2936026 w 8079933"/>
              <a:gd name="connsiteY49328" fmla="*/ 1246301 h 4687251"/>
              <a:gd name="connsiteX49329" fmla="*/ 2933205 w 8079933"/>
              <a:gd name="connsiteY49329" fmla="*/ 1245544 h 4687251"/>
              <a:gd name="connsiteX49330" fmla="*/ 2931577 w 8079933"/>
              <a:gd name="connsiteY49330" fmla="*/ 1247060 h 4687251"/>
              <a:gd name="connsiteX49331" fmla="*/ 2927996 w 8079933"/>
              <a:gd name="connsiteY49331" fmla="*/ 1247060 h 4687251"/>
              <a:gd name="connsiteX49332" fmla="*/ 2927996 w 8079933"/>
              <a:gd name="connsiteY49332" fmla="*/ 1245652 h 4687251"/>
              <a:gd name="connsiteX49333" fmla="*/ 2930167 w 8079933"/>
              <a:gd name="connsiteY49333" fmla="*/ 1242079 h 4687251"/>
              <a:gd name="connsiteX49334" fmla="*/ 2932662 w 8079933"/>
              <a:gd name="connsiteY49334" fmla="*/ 1239264 h 4687251"/>
              <a:gd name="connsiteX49335" fmla="*/ 2934181 w 8079933"/>
              <a:gd name="connsiteY49335" fmla="*/ 1239264 h 4687251"/>
              <a:gd name="connsiteX49336" fmla="*/ 2938414 w 8079933"/>
              <a:gd name="connsiteY49336" fmla="*/ 1233959 h 4687251"/>
              <a:gd name="connsiteX49337" fmla="*/ 2936243 w 8079933"/>
              <a:gd name="connsiteY49337" fmla="*/ 1231685 h 4687251"/>
              <a:gd name="connsiteX49338" fmla="*/ 2936894 w 8079933"/>
              <a:gd name="connsiteY49338" fmla="*/ 1229303 h 4687251"/>
              <a:gd name="connsiteX49339" fmla="*/ 2938414 w 8079933"/>
              <a:gd name="connsiteY49339" fmla="*/ 1227138 h 4687251"/>
              <a:gd name="connsiteX49340" fmla="*/ 2936786 w 8079933"/>
              <a:gd name="connsiteY49340" fmla="*/ 1225730 h 4687251"/>
              <a:gd name="connsiteX49341" fmla="*/ 2935266 w 8079933"/>
              <a:gd name="connsiteY49341" fmla="*/ 1226488 h 4687251"/>
              <a:gd name="connsiteX49342" fmla="*/ 2934507 w 8079933"/>
              <a:gd name="connsiteY49342" fmla="*/ 1228437 h 4687251"/>
              <a:gd name="connsiteX49343" fmla="*/ 2932445 w 8079933"/>
              <a:gd name="connsiteY49343" fmla="*/ 1225189 h 4687251"/>
              <a:gd name="connsiteX49344" fmla="*/ 2929299 w 8079933"/>
              <a:gd name="connsiteY49344" fmla="*/ 1225189 h 4687251"/>
              <a:gd name="connsiteX49345" fmla="*/ 2928213 w 8079933"/>
              <a:gd name="connsiteY49345" fmla="*/ 1226705 h 4687251"/>
              <a:gd name="connsiteX49346" fmla="*/ 2926368 w 8079933"/>
              <a:gd name="connsiteY49346" fmla="*/ 1226705 h 4687251"/>
              <a:gd name="connsiteX49347" fmla="*/ 2924415 w 8079933"/>
              <a:gd name="connsiteY49347" fmla="*/ 1222049 h 4687251"/>
              <a:gd name="connsiteX49348" fmla="*/ 2925283 w 8079933"/>
              <a:gd name="connsiteY49348" fmla="*/ 1219559 h 4687251"/>
              <a:gd name="connsiteX49349" fmla="*/ 2931468 w 8079933"/>
              <a:gd name="connsiteY49349" fmla="*/ 1217393 h 4687251"/>
              <a:gd name="connsiteX49350" fmla="*/ 2931468 w 8079933"/>
              <a:gd name="connsiteY49350" fmla="*/ 1215769 h 4687251"/>
              <a:gd name="connsiteX49351" fmla="*/ 2927996 w 8079933"/>
              <a:gd name="connsiteY49351" fmla="*/ 1213928 h 4687251"/>
              <a:gd name="connsiteX49352" fmla="*/ 2924524 w 8079933"/>
              <a:gd name="connsiteY49352" fmla="*/ 1213928 h 4687251"/>
              <a:gd name="connsiteX49353" fmla="*/ 2920942 w 8079933"/>
              <a:gd name="connsiteY49353" fmla="*/ 1215986 h 4687251"/>
              <a:gd name="connsiteX49354" fmla="*/ 2918555 w 8079933"/>
              <a:gd name="connsiteY49354" fmla="*/ 1215986 h 4687251"/>
              <a:gd name="connsiteX49355" fmla="*/ 2917145 w 8079933"/>
              <a:gd name="connsiteY49355" fmla="*/ 1213712 h 4687251"/>
              <a:gd name="connsiteX49356" fmla="*/ 2918121 w 8079933"/>
              <a:gd name="connsiteY49356" fmla="*/ 1211114 h 4687251"/>
              <a:gd name="connsiteX49357" fmla="*/ 2921376 w 8079933"/>
              <a:gd name="connsiteY49357" fmla="*/ 1210139 h 4687251"/>
              <a:gd name="connsiteX49358" fmla="*/ 2925066 w 8079933"/>
              <a:gd name="connsiteY49358" fmla="*/ 1211222 h 4687251"/>
              <a:gd name="connsiteX49359" fmla="*/ 2931035 w 8079933"/>
              <a:gd name="connsiteY49359" fmla="*/ 1210139 h 4687251"/>
              <a:gd name="connsiteX49360" fmla="*/ 2932880 w 8079933"/>
              <a:gd name="connsiteY49360" fmla="*/ 1208298 h 4687251"/>
              <a:gd name="connsiteX49361" fmla="*/ 2930817 w 8079933"/>
              <a:gd name="connsiteY49361" fmla="*/ 1208298 h 4687251"/>
              <a:gd name="connsiteX49362" fmla="*/ 2928647 w 8079933"/>
              <a:gd name="connsiteY49362" fmla="*/ 1207216 h 4687251"/>
              <a:gd name="connsiteX49363" fmla="*/ 2923330 w 8079933"/>
              <a:gd name="connsiteY49363" fmla="*/ 1207216 h 4687251"/>
              <a:gd name="connsiteX49364" fmla="*/ 2921376 w 8079933"/>
              <a:gd name="connsiteY49364" fmla="*/ 1208515 h 4687251"/>
              <a:gd name="connsiteX49365" fmla="*/ 2918881 w 8079933"/>
              <a:gd name="connsiteY49365" fmla="*/ 1208515 h 4687251"/>
              <a:gd name="connsiteX49366" fmla="*/ 2916276 w 8079933"/>
              <a:gd name="connsiteY49366" fmla="*/ 1206241 h 4687251"/>
              <a:gd name="connsiteX49367" fmla="*/ 2920834 w 8079933"/>
              <a:gd name="connsiteY49367" fmla="*/ 1203318 h 4687251"/>
              <a:gd name="connsiteX49368" fmla="*/ 2926477 w 8079933"/>
              <a:gd name="connsiteY49368" fmla="*/ 1203318 h 4687251"/>
              <a:gd name="connsiteX49369" fmla="*/ 2928539 w 8079933"/>
              <a:gd name="connsiteY49369" fmla="*/ 1202127 h 4687251"/>
              <a:gd name="connsiteX49370" fmla="*/ 2926694 w 8079933"/>
              <a:gd name="connsiteY49370" fmla="*/ 1201369 h 4687251"/>
              <a:gd name="connsiteX49371" fmla="*/ 2923764 w 8079933"/>
              <a:gd name="connsiteY49371" fmla="*/ 1201369 h 4687251"/>
              <a:gd name="connsiteX49372" fmla="*/ 2921051 w 8079933"/>
              <a:gd name="connsiteY49372" fmla="*/ 1199204 h 4687251"/>
              <a:gd name="connsiteX49373" fmla="*/ 2922679 w 8079933"/>
              <a:gd name="connsiteY49373" fmla="*/ 1199204 h 4687251"/>
              <a:gd name="connsiteX49374" fmla="*/ 2925934 w 8079933"/>
              <a:gd name="connsiteY49374" fmla="*/ 1199853 h 4687251"/>
              <a:gd name="connsiteX49375" fmla="*/ 2928105 w 8079933"/>
              <a:gd name="connsiteY49375" fmla="*/ 1200936 h 4687251"/>
              <a:gd name="connsiteX49376" fmla="*/ 2933205 w 8079933"/>
              <a:gd name="connsiteY49376" fmla="*/ 1198771 h 4687251"/>
              <a:gd name="connsiteX49377" fmla="*/ 2935375 w 8079933"/>
              <a:gd name="connsiteY49377" fmla="*/ 1196822 h 4687251"/>
              <a:gd name="connsiteX49378" fmla="*/ 2934290 w 8079933"/>
              <a:gd name="connsiteY49378" fmla="*/ 1195631 h 4687251"/>
              <a:gd name="connsiteX49379" fmla="*/ 2932012 w 8079933"/>
              <a:gd name="connsiteY49379" fmla="*/ 1196281 h 4687251"/>
              <a:gd name="connsiteX49380" fmla="*/ 2929299 w 8079933"/>
              <a:gd name="connsiteY49380" fmla="*/ 1197363 h 4687251"/>
              <a:gd name="connsiteX49381" fmla="*/ 2926586 w 8079933"/>
              <a:gd name="connsiteY49381" fmla="*/ 1197363 h 4687251"/>
              <a:gd name="connsiteX49382" fmla="*/ 2924741 w 8079933"/>
              <a:gd name="connsiteY49382" fmla="*/ 1196388 h 4687251"/>
              <a:gd name="connsiteX49383" fmla="*/ 2921051 w 8079933"/>
              <a:gd name="connsiteY49383" fmla="*/ 1196388 h 4687251"/>
              <a:gd name="connsiteX49384" fmla="*/ 2919532 w 8079933"/>
              <a:gd name="connsiteY49384" fmla="*/ 1199096 h 4687251"/>
              <a:gd name="connsiteX49385" fmla="*/ 2916928 w 8079933"/>
              <a:gd name="connsiteY49385" fmla="*/ 1200720 h 4687251"/>
              <a:gd name="connsiteX49386" fmla="*/ 2913672 w 8079933"/>
              <a:gd name="connsiteY49386" fmla="*/ 1198338 h 4687251"/>
              <a:gd name="connsiteX49387" fmla="*/ 2913021 w 8079933"/>
              <a:gd name="connsiteY49387" fmla="*/ 1195522 h 4687251"/>
              <a:gd name="connsiteX49388" fmla="*/ 2915408 w 8079933"/>
              <a:gd name="connsiteY49388" fmla="*/ 1192058 h 4687251"/>
              <a:gd name="connsiteX49389" fmla="*/ 2920183 w 8079933"/>
              <a:gd name="connsiteY49389" fmla="*/ 1192058 h 4687251"/>
              <a:gd name="connsiteX49390" fmla="*/ 2923981 w 8079933"/>
              <a:gd name="connsiteY49390" fmla="*/ 1189676 h 4687251"/>
              <a:gd name="connsiteX49391" fmla="*/ 2922896 w 8079933"/>
              <a:gd name="connsiteY49391" fmla="*/ 1188810 h 4687251"/>
              <a:gd name="connsiteX49392" fmla="*/ 2918446 w 8079933"/>
              <a:gd name="connsiteY49392" fmla="*/ 1189567 h 4687251"/>
              <a:gd name="connsiteX49393" fmla="*/ 2914323 w 8079933"/>
              <a:gd name="connsiteY49393" fmla="*/ 1188918 h 4687251"/>
              <a:gd name="connsiteX49394" fmla="*/ 2913347 w 8079933"/>
              <a:gd name="connsiteY49394" fmla="*/ 1185561 h 4687251"/>
              <a:gd name="connsiteX49395" fmla="*/ 2914432 w 8079933"/>
              <a:gd name="connsiteY49395" fmla="*/ 1182314 h 4687251"/>
              <a:gd name="connsiteX49396" fmla="*/ 2918446 w 8079933"/>
              <a:gd name="connsiteY49396" fmla="*/ 1181339 h 4687251"/>
              <a:gd name="connsiteX49397" fmla="*/ 2927562 w 8079933"/>
              <a:gd name="connsiteY49397" fmla="*/ 1181339 h 4687251"/>
              <a:gd name="connsiteX49398" fmla="*/ 2932771 w 8079933"/>
              <a:gd name="connsiteY49398" fmla="*/ 1179823 h 4687251"/>
              <a:gd name="connsiteX49399" fmla="*/ 2938522 w 8079933"/>
              <a:gd name="connsiteY49399" fmla="*/ 1179823 h 4687251"/>
              <a:gd name="connsiteX49400" fmla="*/ 2942103 w 8079933"/>
              <a:gd name="connsiteY49400" fmla="*/ 1176900 h 4687251"/>
              <a:gd name="connsiteX49401" fmla="*/ 2942754 w 8079933"/>
              <a:gd name="connsiteY49401" fmla="*/ 1175817 h 4687251"/>
              <a:gd name="connsiteX49402" fmla="*/ 2938956 w 8079933"/>
              <a:gd name="connsiteY49402" fmla="*/ 1175817 h 4687251"/>
              <a:gd name="connsiteX49403" fmla="*/ 2935375 w 8079933"/>
              <a:gd name="connsiteY49403" fmla="*/ 1174735 h 4687251"/>
              <a:gd name="connsiteX49404" fmla="*/ 2931252 w 8079933"/>
              <a:gd name="connsiteY49404" fmla="*/ 1177333 h 4687251"/>
              <a:gd name="connsiteX49405" fmla="*/ 2924632 w 8079933"/>
              <a:gd name="connsiteY49405" fmla="*/ 1178416 h 4687251"/>
              <a:gd name="connsiteX49406" fmla="*/ 2921268 w 8079933"/>
              <a:gd name="connsiteY49406" fmla="*/ 1179823 h 4687251"/>
              <a:gd name="connsiteX49407" fmla="*/ 2917145 w 8079933"/>
              <a:gd name="connsiteY49407" fmla="*/ 1179823 h 4687251"/>
              <a:gd name="connsiteX49408" fmla="*/ 2915083 w 8079933"/>
              <a:gd name="connsiteY49408" fmla="*/ 1178308 h 4687251"/>
              <a:gd name="connsiteX49409" fmla="*/ 2915951 w 8079933"/>
              <a:gd name="connsiteY49409" fmla="*/ 1177225 h 4687251"/>
              <a:gd name="connsiteX49410" fmla="*/ 2923547 w 8079933"/>
              <a:gd name="connsiteY49410" fmla="*/ 1177225 h 4687251"/>
              <a:gd name="connsiteX49411" fmla="*/ 2926911 w 8079933"/>
              <a:gd name="connsiteY49411" fmla="*/ 1175276 h 4687251"/>
              <a:gd name="connsiteX49412" fmla="*/ 2931035 w 8079933"/>
              <a:gd name="connsiteY49412" fmla="*/ 1169537 h 4687251"/>
              <a:gd name="connsiteX49413" fmla="*/ 2934833 w 8079933"/>
              <a:gd name="connsiteY49413" fmla="*/ 1169537 h 4687251"/>
              <a:gd name="connsiteX49414" fmla="*/ 2936569 w 8079933"/>
              <a:gd name="connsiteY49414" fmla="*/ 1170404 h 4687251"/>
              <a:gd name="connsiteX49415" fmla="*/ 2940041 w 8079933"/>
              <a:gd name="connsiteY49415" fmla="*/ 1173110 h 4687251"/>
              <a:gd name="connsiteX49416" fmla="*/ 2943406 w 8079933"/>
              <a:gd name="connsiteY49416" fmla="*/ 1173110 h 4687251"/>
              <a:gd name="connsiteX49417" fmla="*/ 2944382 w 8079933"/>
              <a:gd name="connsiteY49417" fmla="*/ 1171378 h 4687251"/>
              <a:gd name="connsiteX49418" fmla="*/ 2942320 w 8079933"/>
              <a:gd name="connsiteY49418" fmla="*/ 1170729 h 4687251"/>
              <a:gd name="connsiteX49419" fmla="*/ 2938631 w 8079933"/>
              <a:gd name="connsiteY49419" fmla="*/ 1166614 h 4687251"/>
              <a:gd name="connsiteX49420" fmla="*/ 2936678 w 8079933"/>
              <a:gd name="connsiteY49420" fmla="*/ 1166614 h 4687251"/>
              <a:gd name="connsiteX49421" fmla="*/ 2934833 w 8079933"/>
              <a:gd name="connsiteY49421" fmla="*/ 1164774 h 4687251"/>
              <a:gd name="connsiteX49422" fmla="*/ 2935483 w 8079933"/>
              <a:gd name="connsiteY49422" fmla="*/ 1162933 h 4687251"/>
              <a:gd name="connsiteX49423" fmla="*/ 2938305 w 8079933"/>
              <a:gd name="connsiteY49423" fmla="*/ 1162933 h 4687251"/>
              <a:gd name="connsiteX49424" fmla="*/ 2939933 w 8079933"/>
              <a:gd name="connsiteY49424" fmla="*/ 1161417 h 4687251"/>
              <a:gd name="connsiteX49425" fmla="*/ 2941669 w 8079933"/>
              <a:gd name="connsiteY49425" fmla="*/ 1161417 h 4687251"/>
              <a:gd name="connsiteX49426" fmla="*/ 2943622 w 8079933"/>
              <a:gd name="connsiteY49426" fmla="*/ 1164665 h 4687251"/>
              <a:gd name="connsiteX49427" fmla="*/ 2947529 w 8079933"/>
              <a:gd name="connsiteY49427" fmla="*/ 1169213 h 4687251"/>
              <a:gd name="connsiteX49428" fmla="*/ 2950242 w 8079933"/>
              <a:gd name="connsiteY49428" fmla="*/ 1170729 h 4687251"/>
              <a:gd name="connsiteX49429" fmla="*/ 2951544 w 8079933"/>
              <a:gd name="connsiteY49429" fmla="*/ 1170187 h 4687251"/>
              <a:gd name="connsiteX49430" fmla="*/ 2949700 w 8079933"/>
              <a:gd name="connsiteY49430" fmla="*/ 1166506 h 4687251"/>
              <a:gd name="connsiteX49431" fmla="*/ 2947420 w 8079933"/>
              <a:gd name="connsiteY49431" fmla="*/ 1164990 h 4687251"/>
              <a:gd name="connsiteX49432" fmla="*/ 2947420 w 8079933"/>
              <a:gd name="connsiteY49432" fmla="*/ 1157412 h 4687251"/>
              <a:gd name="connsiteX49433" fmla="*/ 2950350 w 8079933"/>
              <a:gd name="connsiteY49433" fmla="*/ 1154596 h 4687251"/>
              <a:gd name="connsiteX49434" fmla="*/ 2950350 w 8079933"/>
              <a:gd name="connsiteY49434" fmla="*/ 1153080 h 4687251"/>
              <a:gd name="connsiteX49435" fmla="*/ 2947529 w 8079933"/>
              <a:gd name="connsiteY49435" fmla="*/ 1153080 h 4687251"/>
              <a:gd name="connsiteX49436" fmla="*/ 2945033 w 8079933"/>
              <a:gd name="connsiteY49436" fmla="*/ 1155570 h 4687251"/>
              <a:gd name="connsiteX49437" fmla="*/ 2942863 w 8079933"/>
              <a:gd name="connsiteY49437" fmla="*/ 1155570 h 4687251"/>
              <a:gd name="connsiteX49438" fmla="*/ 2940476 w 8079933"/>
              <a:gd name="connsiteY49438" fmla="*/ 1152431 h 4687251"/>
              <a:gd name="connsiteX49439" fmla="*/ 2939390 w 8079933"/>
              <a:gd name="connsiteY49439" fmla="*/ 1154380 h 4687251"/>
              <a:gd name="connsiteX49440" fmla="*/ 2933965 w 8079933"/>
              <a:gd name="connsiteY49440" fmla="*/ 1159902 h 4687251"/>
              <a:gd name="connsiteX49441" fmla="*/ 2930600 w 8079933"/>
              <a:gd name="connsiteY49441" fmla="*/ 1161309 h 4687251"/>
              <a:gd name="connsiteX49442" fmla="*/ 2929190 w 8079933"/>
              <a:gd name="connsiteY49442" fmla="*/ 1160226 h 4687251"/>
              <a:gd name="connsiteX49443" fmla="*/ 2929190 w 8079933"/>
              <a:gd name="connsiteY49443" fmla="*/ 1157953 h 4687251"/>
              <a:gd name="connsiteX49444" fmla="*/ 2931360 w 8079933"/>
              <a:gd name="connsiteY49444" fmla="*/ 1156220 h 4687251"/>
              <a:gd name="connsiteX49445" fmla="*/ 2931360 w 8079933"/>
              <a:gd name="connsiteY49445" fmla="*/ 1155570 h 4687251"/>
              <a:gd name="connsiteX49446" fmla="*/ 2928539 w 8079933"/>
              <a:gd name="connsiteY49446" fmla="*/ 1156978 h 4687251"/>
              <a:gd name="connsiteX49447" fmla="*/ 2926260 w 8079933"/>
              <a:gd name="connsiteY49447" fmla="*/ 1160118 h 4687251"/>
              <a:gd name="connsiteX49448" fmla="*/ 2924524 w 8079933"/>
              <a:gd name="connsiteY49448" fmla="*/ 1160118 h 4687251"/>
              <a:gd name="connsiteX49449" fmla="*/ 2919206 w 8079933"/>
              <a:gd name="connsiteY49449" fmla="*/ 1165098 h 4687251"/>
              <a:gd name="connsiteX49450" fmla="*/ 2916819 w 8079933"/>
              <a:gd name="connsiteY49450" fmla="*/ 1165964 h 4687251"/>
              <a:gd name="connsiteX49451" fmla="*/ 2913238 w 8079933"/>
              <a:gd name="connsiteY49451" fmla="*/ 1172353 h 4687251"/>
              <a:gd name="connsiteX49452" fmla="*/ 2911502 w 8079933"/>
              <a:gd name="connsiteY49452" fmla="*/ 1172353 h 4687251"/>
              <a:gd name="connsiteX49453" fmla="*/ 2910090 w 8079933"/>
              <a:gd name="connsiteY49453" fmla="*/ 1166939 h 4687251"/>
              <a:gd name="connsiteX49454" fmla="*/ 2910742 w 8079933"/>
              <a:gd name="connsiteY49454" fmla="*/ 1162717 h 4687251"/>
              <a:gd name="connsiteX49455" fmla="*/ 2912587 w 8079933"/>
              <a:gd name="connsiteY49455" fmla="*/ 1160335 h 4687251"/>
              <a:gd name="connsiteX49456" fmla="*/ 2909765 w 8079933"/>
              <a:gd name="connsiteY49456" fmla="*/ 1157736 h 4687251"/>
              <a:gd name="connsiteX49457" fmla="*/ 2910416 w 8079933"/>
              <a:gd name="connsiteY49457" fmla="*/ 1154488 h 4687251"/>
              <a:gd name="connsiteX49458" fmla="*/ 2910416 w 8079933"/>
              <a:gd name="connsiteY49458" fmla="*/ 1151781 h 4687251"/>
              <a:gd name="connsiteX49459" fmla="*/ 2913780 w 8079933"/>
              <a:gd name="connsiteY49459" fmla="*/ 1150157 h 4687251"/>
              <a:gd name="connsiteX49460" fmla="*/ 2920400 w 8079933"/>
              <a:gd name="connsiteY49460" fmla="*/ 1147884 h 4687251"/>
              <a:gd name="connsiteX49461" fmla="*/ 2923547 w 8079933"/>
              <a:gd name="connsiteY49461" fmla="*/ 1147884 h 4687251"/>
              <a:gd name="connsiteX49462" fmla="*/ 2927345 w 8079933"/>
              <a:gd name="connsiteY49462" fmla="*/ 1144311 h 4687251"/>
              <a:gd name="connsiteX49463" fmla="*/ 2928755 w 8079933"/>
              <a:gd name="connsiteY49463" fmla="*/ 1143445 h 4687251"/>
              <a:gd name="connsiteX49464" fmla="*/ 2927128 w 8079933"/>
              <a:gd name="connsiteY49464" fmla="*/ 1141496 h 4687251"/>
              <a:gd name="connsiteX49465" fmla="*/ 2924632 w 8079933"/>
              <a:gd name="connsiteY49465" fmla="*/ 1141496 h 4687251"/>
              <a:gd name="connsiteX49466" fmla="*/ 2922244 w 8079933"/>
              <a:gd name="connsiteY49466" fmla="*/ 1143661 h 4687251"/>
              <a:gd name="connsiteX49467" fmla="*/ 2919532 w 8079933"/>
              <a:gd name="connsiteY49467" fmla="*/ 1142904 h 4687251"/>
              <a:gd name="connsiteX49468" fmla="*/ 2918338 w 8079933"/>
              <a:gd name="connsiteY49468" fmla="*/ 1145827 h 4687251"/>
              <a:gd name="connsiteX49469" fmla="*/ 2915625 w 8079933"/>
              <a:gd name="connsiteY49469" fmla="*/ 1147775 h 4687251"/>
              <a:gd name="connsiteX49470" fmla="*/ 2912261 w 8079933"/>
              <a:gd name="connsiteY49470" fmla="*/ 1147775 h 4687251"/>
              <a:gd name="connsiteX49471" fmla="*/ 2910308 w 8079933"/>
              <a:gd name="connsiteY49471" fmla="*/ 1144635 h 4687251"/>
              <a:gd name="connsiteX49472" fmla="*/ 2910308 w 8079933"/>
              <a:gd name="connsiteY49472" fmla="*/ 1138464 h 4687251"/>
              <a:gd name="connsiteX49473" fmla="*/ 2913238 w 8079933"/>
              <a:gd name="connsiteY49473" fmla="*/ 1136298 h 4687251"/>
              <a:gd name="connsiteX49474" fmla="*/ 2913238 w 8079933"/>
              <a:gd name="connsiteY49474" fmla="*/ 1133158 h 4687251"/>
              <a:gd name="connsiteX49475" fmla="*/ 2911719 w 8079933"/>
              <a:gd name="connsiteY49475" fmla="*/ 1129152 h 4687251"/>
              <a:gd name="connsiteX49476" fmla="*/ 2910308 w 8079933"/>
              <a:gd name="connsiteY49476" fmla="*/ 1129152 h 4687251"/>
              <a:gd name="connsiteX49477" fmla="*/ 2908029 w 8079933"/>
              <a:gd name="connsiteY49477" fmla="*/ 1131643 h 4687251"/>
              <a:gd name="connsiteX49478" fmla="*/ 2905424 w 8079933"/>
              <a:gd name="connsiteY49478" fmla="*/ 1131643 h 4687251"/>
              <a:gd name="connsiteX49479" fmla="*/ 2904774 w 8079933"/>
              <a:gd name="connsiteY49479" fmla="*/ 1128828 h 4687251"/>
              <a:gd name="connsiteX49480" fmla="*/ 2907703 w 8079933"/>
              <a:gd name="connsiteY49480" fmla="*/ 1125905 h 4687251"/>
              <a:gd name="connsiteX49481" fmla="*/ 2912370 w 8079933"/>
              <a:gd name="connsiteY49481" fmla="*/ 1125905 h 4687251"/>
              <a:gd name="connsiteX49482" fmla="*/ 2915191 w 8079933"/>
              <a:gd name="connsiteY49482" fmla="*/ 1123415 h 4687251"/>
              <a:gd name="connsiteX49483" fmla="*/ 2920834 w 8079933"/>
              <a:gd name="connsiteY49483" fmla="*/ 1122223 h 4687251"/>
              <a:gd name="connsiteX49484" fmla="*/ 2923113 w 8079933"/>
              <a:gd name="connsiteY49484" fmla="*/ 1119950 h 4687251"/>
              <a:gd name="connsiteX49485" fmla="*/ 2925717 w 8079933"/>
              <a:gd name="connsiteY49485" fmla="*/ 1118867 h 4687251"/>
              <a:gd name="connsiteX49486" fmla="*/ 2926802 w 8079933"/>
              <a:gd name="connsiteY49486" fmla="*/ 1114753 h 4687251"/>
              <a:gd name="connsiteX49487" fmla="*/ 2928539 w 8079933"/>
              <a:gd name="connsiteY49487" fmla="*/ 1114103 h 4687251"/>
              <a:gd name="connsiteX49488" fmla="*/ 2930058 w 8079933"/>
              <a:gd name="connsiteY49488" fmla="*/ 1115835 h 4687251"/>
              <a:gd name="connsiteX49489" fmla="*/ 2931903 w 8079933"/>
              <a:gd name="connsiteY49489" fmla="*/ 1113887 h 4687251"/>
              <a:gd name="connsiteX49490" fmla="*/ 2939499 w 8079933"/>
              <a:gd name="connsiteY49490" fmla="*/ 1113887 h 4687251"/>
              <a:gd name="connsiteX49491" fmla="*/ 2941561 w 8079933"/>
              <a:gd name="connsiteY49491" fmla="*/ 1115403 h 4687251"/>
              <a:gd name="connsiteX49492" fmla="*/ 2944816 w 8079933"/>
              <a:gd name="connsiteY49492" fmla="*/ 1115403 h 4687251"/>
              <a:gd name="connsiteX49493" fmla="*/ 2943731 w 8079933"/>
              <a:gd name="connsiteY49493" fmla="*/ 1112804 h 4687251"/>
              <a:gd name="connsiteX49494" fmla="*/ 2939716 w 8079933"/>
              <a:gd name="connsiteY49494" fmla="*/ 1111721 h 4687251"/>
              <a:gd name="connsiteX49495" fmla="*/ 2938631 w 8079933"/>
              <a:gd name="connsiteY49495" fmla="*/ 1108797 h 4687251"/>
              <a:gd name="connsiteX49496" fmla="*/ 2936135 w 8079933"/>
              <a:gd name="connsiteY49496" fmla="*/ 1108797 h 4687251"/>
              <a:gd name="connsiteX49497" fmla="*/ 2927019 w 8079933"/>
              <a:gd name="connsiteY49497" fmla="*/ 1113778 h 4687251"/>
              <a:gd name="connsiteX49498" fmla="*/ 2924307 w 8079933"/>
              <a:gd name="connsiteY49498" fmla="*/ 1113778 h 4687251"/>
              <a:gd name="connsiteX49499" fmla="*/ 2922027 w 8079933"/>
              <a:gd name="connsiteY49499" fmla="*/ 1115403 h 4687251"/>
              <a:gd name="connsiteX49500" fmla="*/ 2921051 w 8079933"/>
              <a:gd name="connsiteY49500" fmla="*/ 1118867 h 4687251"/>
              <a:gd name="connsiteX49501" fmla="*/ 2918555 w 8079933"/>
              <a:gd name="connsiteY49501" fmla="*/ 1120599 h 4687251"/>
              <a:gd name="connsiteX49502" fmla="*/ 2914540 w 8079933"/>
              <a:gd name="connsiteY49502" fmla="*/ 1121574 h 4687251"/>
              <a:gd name="connsiteX49503" fmla="*/ 2911502 w 8079933"/>
              <a:gd name="connsiteY49503" fmla="*/ 1125147 h 4687251"/>
              <a:gd name="connsiteX49504" fmla="*/ 2909657 w 8079933"/>
              <a:gd name="connsiteY49504" fmla="*/ 1125147 h 4687251"/>
              <a:gd name="connsiteX49505" fmla="*/ 2908572 w 8079933"/>
              <a:gd name="connsiteY49505" fmla="*/ 1123198 h 4687251"/>
              <a:gd name="connsiteX49506" fmla="*/ 2909331 w 8079933"/>
              <a:gd name="connsiteY49506" fmla="*/ 1120707 h 4687251"/>
              <a:gd name="connsiteX49507" fmla="*/ 2906401 w 8079933"/>
              <a:gd name="connsiteY49507" fmla="*/ 1120058 h 4687251"/>
              <a:gd name="connsiteX49508" fmla="*/ 2906401 w 8079933"/>
              <a:gd name="connsiteY49508" fmla="*/ 1118217 h 4687251"/>
              <a:gd name="connsiteX49509" fmla="*/ 2909331 w 8079933"/>
              <a:gd name="connsiteY49509" fmla="*/ 1114861 h 4687251"/>
              <a:gd name="connsiteX49510" fmla="*/ 2905424 w 8079933"/>
              <a:gd name="connsiteY49510" fmla="*/ 1112479 h 4687251"/>
              <a:gd name="connsiteX49511" fmla="*/ 2903471 w 8079933"/>
              <a:gd name="connsiteY49511" fmla="*/ 1112479 h 4687251"/>
              <a:gd name="connsiteX49512" fmla="*/ 2900108 w 8079933"/>
              <a:gd name="connsiteY49512" fmla="*/ 1109989 h 4687251"/>
              <a:gd name="connsiteX49513" fmla="*/ 2900758 w 8079933"/>
              <a:gd name="connsiteY49513" fmla="*/ 1108581 h 4687251"/>
              <a:gd name="connsiteX49514" fmla="*/ 2906293 w 8079933"/>
              <a:gd name="connsiteY49514" fmla="*/ 1106307 h 4687251"/>
              <a:gd name="connsiteX49515" fmla="*/ 2908789 w 8079933"/>
              <a:gd name="connsiteY49515" fmla="*/ 1103601 h 4687251"/>
              <a:gd name="connsiteX49516" fmla="*/ 2911067 w 8079933"/>
              <a:gd name="connsiteY49516" fmla="*/ 1102951 h 4687251"/>
              <a:gd name="connsiteX49517" fmla="*/ 2912695 w 8079933"/>
              <a:gd name="connsiteY49517" fmla="*/ 1104791 h 4687251"/>
              <a:gd name="connsiteX49518" fmla="*/ 2916601 w 8079933"/>
              <a:gd name="connsiteY49518" fmla="*/ 1104791 h 4687251"/>
              <a:gd name="connsiteX49519" fmla="*/ 2920291 w 8079933"/>
              <a:gd name="connsiteY49519" fmla="*/ 1103384 h 4687251"/>
              <a:gd name="connsiteX49520" fmla="*/ 2923873 w 8079933"/>
              <a:gd name="connsiteY49520" fmla="*/ 1100570 h 4687251"/>
              <a:gd name="connsiteX49521" fmla="*/ 2927019 w 8079933"/>
              <a:gd name="connsiteY49521" fmla="*/ 1100570 h 4687251"/>
              <a:gd name="connsiteX49522" fmla="*/ 2928105 w 8079933"/>
              <a:gd name="connsiteY49522" fmla="*/ 1097862 h 4687251"/>
              <a:gd name="connsiteX49523" fmla="*/ 2927128 w 8079933"/>
              <a:gd name="connsiteY49523" fmla="*/ 1096671 h 4687251"/>
              <a:gd name="connsiteX49524" fmla="*/ 2923873 w 8079933"/>
              <a:gd name="connsiteY49524" fmla="*/ 1096671 h 4687251"/>
              <a:gd name="connsiteX49525" fmla="*/ 2919423 w 8079933"/>
              <a:gd name="connsiteY49525" fmla="*/ 1099487 h 4687251"/>
              <a:gd name="connsiteX49526" fmla="*/ 2916276 w 8079933"/>
              <a:gd name="connsiteY49526" fmla="*/ 1101760 h 4687251"/>
              <a:gd name="connsiteX49527" fmla="*/ 2914323 w 8079933"/>
              <a:gd name="connsiteY49527" fmla="*/ 1101760 h 4687251"/>
              <a:gd name="connsiteX49528" fmla="*/ 2911285 w 8079933"/>
              <a:gd name="connsiteY49528" fmla="*/ 1098513 h 4687251"/>
              <a:gd name="connsiteX49529" fmla="*/ 2909440 w 8079933"/>
              <a:gd name="connsiteY49529" fmla="*/ 1098513 h 4687251"/>
              <a:gd name="connsiteX49530" fmla="*/ 2907487 w 8079933"/>
              <a:gd name="connsiteY49530" fmla="*/ 1100786 h 4687251"/>
              <a:gd name="connsiteX49531" fmla="*/ 2904556 w 8079933"/>
              <a:gd name="connsiteY49531" fmla="*/ 1102951 h 4687251"/>
              <a:gd name="connsiteX49532" fmla="*/ 2904556 w 8079933"/>
              <a:gd name="connsiteY49532" fmla="*/ 1101003 h 4687251"/>
              <a:gd name="connsiteX49533" fmla="*/ 2902061 w 8079933"/>
              <a:gd name="connsiteY49533" fmla="*/ 1100352 h 4687251"/>
              <a:gd name="connsiteX49534" fmla="*/ 2899999 w 8079933"/>
              <a:gd name="connsiteY49534" fmla="*/ 1101219 h 4687251"/>
              <a:gd name="connsiteX49535" fmla="*/ 2896743 w 8079933"/>
              <a:gd name="connsiteY49535" fmla="*/ 1101219 h 4687251"/>
              <a:gd name="connsiteX49536" fmla="*/ 2897828 w 8079933"/>
              <a:gd name="connsiteY49536" fmla="*/ 1099595 h 4687251"/>
              <a:gd name="connsiteX49537" fmla="*/ 2900649 w 8079933"/>
              <a:gd name="connsiteY49537" fmla="*/ 1098729 h 4687251"/>
              <a:gd name="connsiteX49538" fmla="*/ 2907161 w 8079933"/>
              <a:gd name="connsiteY49538" fmla="*/ 1096455 h 4687251"/>
              <a:gd name="connsiteX49539" fmla="*/ 2913672 w 8079933"/>
              <a:gd name="connsiteY49539" fmla="*/ 1092449 h 4687251"/>
              <a:gd name="connsiteX49540" fmla="*/ 2917036 w 8079933"/>
              <a:gd name="connsiteY49540" fmla="*/ 1091150 h 4687251"/>
              <a:gd name="connsiteX49541" fmla="*/ 2923873 w 8079933"/>
              <a:gd name="connsiteY49541" fmla="*/ 1089850 h 4687251"/>
              <a:gd name="connsiteX49542" fmla="*/ 2927454 w 8079933"/>
              <a:gd name="connsiteY49542" fmla="*/ 1085520 h 4687251"/>
              <a:gd name="connsiteX49543" fmla="*/ 2935158 w 8079933"/>
              <a:gd name="connsiteY49543" fmla="*/ 1077183 h 4687251"/>
              <a:gd name="connsiteX49544" fmla="*/ 2942646 w 8079933"/>
              <a:gd name="connsiteY49544" fmla="*/ 1073502 h 4687251"/>
              <a:gd name="connsiteX49545" fmla="*/ 2948723 w 8079933"/>
              <a:gd name="connsiteY49545" fmla="*/ 1071336 h 4687251"/>
              <a:gd name="connsiteX49546" fmla="*/ 2952086 w 8079933"/>
              <a:gd name="connsiteY49546" fmla="*/ 1071336 h 4687251"/>
              <a:gd name="connsiteX49547" fmla="*/ 2954040 w 8079933"/>
              <a:gd name="connsiteY49547" fmla="*/ 1069821 h 4687251"/>
              <a:gd name="connsiteX49548" fmla="*/ 2954040 w 8079933"/>
              <a:gd name="connsiteY49548" fmla="*/ 1068088 h 4687251"/>
              <a:gd name="connsiteX49549" fmla="*/ 2950785 w 8079933"/>
              <a:gd name="connsiteY49549" fmla="*/ 1067005 h 4687251"/>
              <a:gd name="connsiteX49550" fmla="*/ 2945142 w 8079933"/>
              <a:gd name="connsiteY49550" fmla="*/ 1068630 h 4687251"/>
              <a:gd name="connsiteX49551" fmla="*/ 2933096 w 8079933"/>
              <a:gd name="connsiteY49551" fmla="*/ 1074368 h 4687251"/>
              <a:gd name="connsiteX49552" fmla="*/ 2927779 w 8079933"/>
              <a:gd name="connsiteY49552" fmla="*/ 1079781 h 4687251"/>
              <a:gd name="connsiteX49553" fmla="*/ 2924089 w 8079933"/>
              <a:gd name="connsiteY49553" fmla="*/ 1085303 h 4687251"/>
              <a:gd name="connsiteX49554" fmla="*/ 2919640 w 8079933"/>
              <a:gd name="connsiteY49554" fmla="*/ 1087469 h 4687251"/>
              <a:gd name="connsiteX49555" fmla="*/ 2911719 w 8079933"/>
              <a:gd name="connsiteY49555" fmla="*/ 1089309 h 4687251"/>
              <a:gd name="connsiteX49556" fmla="*/ 2909223 w 8079933"/>
              <a:gd name="connsiteY49556" fmla="*/ 1090933 h 4687251"/>
              <a:gd name="connsiteX49557" fmla="*/ 2899890 w 8079933"/>
              <a:gd name="connsiteY49557" fmla="*/ 1094939 h 4687251"/>
              <a:gd name="connsiteX49558" fmla="*/ 2896526 w 8079933"/>
              <a:gd name="connsiteY49558" fmla="*/ 1094939 h 4687251"/>
              <a:gd name="connsiteX49559" fmla="*/ 2895767 w 8079933"/>
              <a:gd name="connsiteY49559" fmla="*/ 1092774 h 4687251"/>
              <a:gd name="connsiteX49560" fmla="*/ 2897178 w 8079933"/>
              <a:gd name="connsiteY49560" fmla="*/ 1090824 h 4687251"/>
              <a:gd name="connsiteX49561" fmla="*/ 2897178 w 8079933"/>
              <a:gd name="connsiteY49561" fmla="*/ 1082597 h 4687251"/>
              <a:gd name="connsiteX49562" fmla="*/ 2899781 w 8079933"/>
              <a:gd name="connsiteY49562" fmla="*/ 1079456 h 4687251"/>
              <a:gd name="connsiteX49563" fmla="*/ 2902169 w 8079933"/>
              <a:gd name="connsiteY49563" fmla="*/ 1079456 h 4687251"/>
              <a:gd name="connsiteX49564" fmla="*/ 2905859 w 8079933"/>
              <a:gd name="connsiteY49564" fmla="*/ 1081838 h 4687251"/>
              <a:gd name="connsiteX49565" fmla="*/ 2908572 w 8079933"/>
              <a:gd name="connsiteY49565" fmla="*/ 1080972 h 4687251"/>
              <a:gd name="connsiteX49566" fmla="*/ 2913889 w 8079933"/>
              <a:gd name="connsiteY49566" fmla="*/ 1080972 h 4687251"/>
              <a:gd name="connsiteX49567" fmla="*/ 2918121 w 8079933"/>
              <a:gd name="connsiteY49567" fmla="*/ 1080972 h 4687251"/>
              <a:gd name="connsiteX49568" fmla="*/ 2916928 w 8079933"/>
              <a:gd name="connsiteY49568" fmla="*/ 1079240 h 4687251"/>
              <a:gd name="connsiteX49569" fmla="*/ 2913780 w 8079933"/>
              <a:gd name="connsiteY49569" fmla="*/ 1077291 h 4687251"/>
              <a:gd name="connsiteX49570" fmla="*/ 2909657 w 8079933"/>
              <a:gd name="connsiteY49570" fmla="*/ 1077291 h 4687251"/>
              <a:gd name="connsiteX49571" fmla="*/ 2906944 w 8079933"/>
              <a:gd name="connsiteY49571" fmla="*/ 1078807 h 4687251"/>
              <a:gd name="connsiteX49572" fmla="*/ 2904231 w 8079933"/>
              <a:gd name="connsiteY49572" fmla="*/ 1078266 h 4687251"/>
              <a:gd name="connsiteX49573" fmla="*/ 2902929 w 8079933"/>
              <a:gd name="connsiteY49573" fmla="*/ 1075017 h 4687251"/>
              <a:gd name="connsiteX49574" fmla="*/ 2902929 w 8079933"/>
              <a:gd name="connsiteY49574" fmla="*/ 1072852 h 4687251"/>
              <a:gd name="connsiteX49575" fmla="*/ 2907161 w 8079933"/>
              <a:gd name="connsiteY49575" fmla="*/ 1072202 h 4687251"/>
              <a:gd name="connsiteX49576" fmla="*/ 2911285 w 8079933"/>
              <a:gd name="connsiteY49576" fmla="*/ 1074693 h 4687251"/>
              <a:gd name="connsiteX49577" fmla="*/ 2914865 w 8079933"/>
              <a:gd name="connsiteY49577" fmla="*/ 1074693 h 4687251"/>
              <a:gd name="connsiteX49578" fmla="*/ 2919423 w 8079933"/>
              <a:gd name="connsiteY49578" fmla="*/ 1072852 h 4687251"/>
              <a:gd name="connsiteX49579" fmla="*/ 2918772 w 8079933"/>
              <a:gd name="connsiteY49579" fmla="*/ 1071444 h 4687251"/>
              <a:gd name="connsiteX49580" fmla="*/ 2915625 w 8079933"/>
              <a:gd name="connsiteY49580" fmla="*/ 1070362 h 4687251"/>
              <a:gd name="connsiteX49581" fmla="*/ 2913997 w 8079933"/>
              <a:gd name="connsiteY49581" fmla="*/ 1070362 h 4687251"/>
              <a:gd name="connsiteX49582" fmla="*/ 2912695 w 8079933"/>
              <a:gd name="connsiteY49582" fmla="*/ 1069387 h 4687251"/>
              <a:gd name="connsiteX49583" fmla="*/ 2912695 w 8079933"/>
              <a:gd name="connsiteY49583" fmla="*/ 1067114 h 4687251"/>
              <a:gd name="connsiteX49584" fmla="*/ 2916710 w 8079933"/>
              <a:gd name="connsiteY49584" fmla="*/ 1065922 h 4687251"/>
              <a:gd name="connsiteX49585" fmla="*/ 2918121 w 8079933"/>
              <a:gd name="connsiteY49585" fmla="*/ 1066789 h 4687251"/>
              <a:gd name="connsiteX49586" fmla="*/ 2919640 w 8079933"/>
              <a:gd name="connsiteY49586" fmla="*/ 1065814 h 4687251"/>
              <a:gd name="connsiteX49587" fmla="*/ 2923221 w 8079933"/>
              <a:gd name="connsiteY49587" fmla="*/ 1067222 h 4687251"/>
              <a:gd name="connsiteX49588" fmla="*/ 2925066 w 8079933"/>
              <a:gd name="connsiteY49588" fmla="*/ 1066139 h 4687251"/>
              <a:gd name="connsiteX49589" fmla="*/ 2924307 w 8079933"/>
              <a:gd name="connsiteY49589" fmla="*/ 1062999 h 4687251"/>
              <a:gd name="connsiteX49590" fmla="*/ 2924307 w 8079933"/>
              <a:gd name="connsiteY49590" fmla="*/ 1060185 h 4687251"/>
              <a:gd name="connsiteX49591" fmla="*/ 2923547 w 8079933"/>
              <a:gd name="connsiteY49591" fmla="*/ 1059318 h 4687251"/>
              <a:gd name="connsiteX49592" fmla="*/ 2920834 w 8079933"/>
              <a:gd name="connsiteY49592" fmla="*/ 1059318 h 4687251"/>
              <a:gd name="connsiteX49593" fmla="*/ 2919206 w 8079933"/>
              <a:gd name="connsiteY49593" fmla="*/ 1060834 h 4687251"/>
              <a:gd name="connsiteX49594" fmla="*/ 2915625 w 8079933"/>
              <a:gd name="connsiteY49594" fmla="*/ 1060834 h 4687251"/>
              <a:gd name="connsiteX49595" fmla="*/ 2904774 w 8079933"/>
              <a:gd name="connsiteY49595" fmla="*/ 1057586 h 4687251"/>
              <a:gd name="connsiteX49596" fmla="*/ 2900324 w 8079933"/>
              <a:gd name="connsiteY49596" fmla="*/ 1057586 h 4687251"/>
              <a:gd name="connsiteX49597" fmla="*/ 2898046 w 8079933"/>
              <a:gd name="connsiteY49597" fmla="*/ 1055637 h 4687251"/>
              <a:gd name="connsiteX49598" fmla="*/ 2898046 w 8079933"/>
              <a:gd name="connsiteY49598" fmla="*/ 1054121 h 4687251"/>
              <a:gd name="connsiteX49599" fmla="*/ 2902603 w 8079933"/>
              <a:gd name="connsiteY49599" fmla="*/ 1054121 h 4687251"/>
              <a:gd name="connsiteX49600" fmla="*/ 2905642 w 8079933"/>
              <a:gd name="connsiteY49600" fmla="*/ 1055096 h 4687251"/>
              <a:gd name="connsiteX49601" fmla="*/ 2907487 w 8079933"/>
              <a:gd name="connsiteY49601" fmla="*/ 1054013 h 4687251"/>
              <a:gd name="connsiteX49602" fmla="*/ 2906184 w 8079933"/>
              <a:gd name="connsiteY49602" fmla="*/ 1052930 h 4687251"/>
              <a:gd name="connsiteX49603" fmla="*/ 2902386 w 8079933"/>
              <a:gd name="connsiteY49603" fmla="*/ 1052930 h 4687251"/>
              <a:gd name="connsiteX49604" fmla="*/ 2900867 w 8079933"/>
              <a:gd name="connsiteY49604" fmla="*/ 1051414 h 4687251"/>
              <a:gd name="connsiteX49605" fmla="*/ 2900867 w 8079933"/>
              <a:gd name="connsiteY49605" fmla="*/ 1049141 h 4687251"/>
              <a:gd name="connsiteX49606" fmla="*/ 2907378 w 8079933"/>
              <a:gd name="connsiteY49606" fmla="*/ 1049141 h 4687251"/>
              <a:gd name="connsiteX49607" fmla="*/ 2908789 w 8079933"/>
              <a:gd name="connsiteY49607" fmla="*/ 1047734 h 4687251"/>
              <a:gd name="connsiteX49608" fmla="*/ 2913455 w 8079933"/>
              <a:gd name="connsiteY49608" fmla="*/ 1047734 h 4687251"/>
              <a:gd name="connsiteX49609" fmla="*/ 2928864 w 8079933"/>
              <a:gd name="connsiteY49609" fmla="*/ 1048599 h 4687251"/>
              <a:gd name="connsiteX49610" fmla="*/ 2932012 w 8079933"/>
              <a:gd name="connsiteY49610" fmla="*/ 1047625 h 4687251"/>
              <a:gd name="connsiteX49611" fmla="*/ 2937654 w 8079933"/>
              <a:gd name="connsiteY49611" fmla="*/ 1048383 h 4687251"/>
              <a:gd name="connsiteX49612" fmla="*/ 2939933 w 8079933"/>
              <a:gd name="connsiteY49612" fmla="*/ 1047516 h 4687251"/>
              <a:gd name="connsiteX49613" fmla="*/ 2939933 w 8079933"/>
              <a:gd name="connsiteY49613" fmla="*/ 1045568 h 4687251"/>
              <a:gd name="connsiteX49614" fmla="*/ 2934181 w 8079933"/>
              <a:gd name="connsiteY49614" fmla="*/ 1043186 h 4687251"/>
              <a:gd name="connsiteX49615" fmla="*/ 2927237 w 8079933"/>
              <a:gd name="connsiteY49615" fmla="*/ 1043186 h 4687251"/>
              <a:gd name="connsiteX49616" fmla="*/ 2919098 w 8079933"/>
              <a:gd name="connsiteY49616" fmla="*/ 1045135 h 4687251"/>
              <a:gd name="connsiteX49617" fmla="*/ 2914540 w 8079933"/>
              <a:gd name="connsiteY49617" fmla="*/ 1045135 h 4687251"/>
              <a:gd name="connsiteX49618" fmla="*/ 2913563 w 8079933"/>
              <a:gd name="connsiteY49618" fmla="*/ 1044052 h 4687251"/>
              <a:gd name="connsiteX49619" fmla="*/ 2911067 w 8079933"/>
              <a:gd name="connsiteY49619" fmla="*/ 1043403 h 4687251"/>
              <a:gd name="connsiteX49620" fmla="*/ 2906293 w 8079933"/>
              <a:gd name="connsiteY49620" fmla="*/ 1044593 h 4687251"/>
              <a:gd name="connsiteX49621" fmla="*/ 2903146 w 8079933"/>
              <a:gd name="connsiteY49621" fmla="*/ 1046867 h 4687251"/>
              <a:gd name="connsiteX49622" fmla="*/ 2902061 w 8079933"/>
              <a:gd name="connsiteY49622" fmla="*/ 1046001 h 4687251"/>
              <a:gd name="connsiteX49623" fmla="*/ 2902061 w 8079933"/>
              <a:gd name="connsiteY49623" fmla="*/ 1042645 h 4687251"/>
              <a:gd name="connsiteX49624" fmla="*/ 2904556 w 8079933"/>
              <a:gd name="connsiteY49624" fmla="*/ 1038747 h 4687251"/>
              <a:gd name="connsiteX49625" fmla="*/ 2908572 w 8079933"/>
              <a:gd name="connsiteY49625" fmla="*/ 1036798 h 4687251"/>
              <a:gd name="connsiteX49626" fmla="*/ 2911719 w 8079933"/>
              <a:gd name="connsiteY49626" fmla="*/ 1034632 h 4687251"/>
              <a:gd name="connsiteX49627" fmla="*/ 2916168 w 8079933"/>
              <a:gd name="connsiteY49627" fmla="*/ 1032575 h 4687251"/>
              <a:gd name="connsiteX49628" fmla="*/ 2917904 w 8079933"/>
              <a:gd name="connsiteY49628" fmla="*/ 1028678 h 4687251"/>
              <a:gd name="connsiteX49629" fmla="*/ 2921919 w 8079933"/>
              <a:gd name="connsiteY49629" fmla="*/ 1025863 h 4687251"/>
              <a:gd name="connsiteX49630" fmla="*/ 2924307 w 8079933"/>
              <a:gd name="connsiteY49630" fmla="*/ 1025863 h 4687251"/>
              <a:gd name="connsiteX49631" fmla="*/ 2925500 w 8079933"/>
              <a:gd name="connsiteY49631" fmla="*/ 1027379 h 4687251"/>
              <a:gd name="connsiteX49632" fmla="*/ 2929515 w 8079933"/>
              <a:gd name="connsiteY49632" fmla="*/ 1027379 h 4687251"/>
              <a:gd name="connsiteX49633" fmla="*/ 2932337 w 8079933"/>
              <a:gd name="connsiteY49633" fmla="*/ 1026296 h 4687251"/>
              <a:gd name="connsiteX49634" fmla="*/ 2935050 w 8079933"/>
              <a:gd name="connsiteY49634" fmla="*/ 1026296 h 4687251"/>
              <a:gd name="connsiteX49635" fmla="*/ 2936243 w 8079933"/>
              <a:gd name="connsiteY49635" fmla="*/ 1027595 h 4687251"/>
              <a:gd name="connsiteX49636" fmla="*/ 2941235 w 8079933"/>
              <a:gd name="connsiteY49636" fmla="*/ 1029436 h 4687251"/>
              <a:gd name="connsiteX49637" fmla="*/ 2945576 w 8079933"/>
              <a:gd name="connsiteY49637" fmla="*/ 1033550 h 4687251"/>
              <a:gd name="connsiteX49638" fmla="*/ 2949917 w 8079933"/>
              <a:gd name="connsiteY49638" fmla="*/ 1033550 h 4687251"/>
              <a:gd name="connsiteX49639" fmla="*/ 2954691 w 8079933"/>
              <a:gd name="connsiteY49639" fmla="*/ 1035390 h 4687251"/>
              <a:gd name="connsiteX49640" fmla="*/ 2959574 w 8079933"/>
              <a:gd name="connsiteY49640" fmla="*/ 1040479 h 4687251"/>
              <a:gd name="connsiteX49641" fmla="*/ 2964457 w 8079933"/>
              <a:gd name="connsiteY49641" fmla="*/ 1043186 h 4687251"/>
              <a:gd name="connsiteX49642" fmla="*/ 2970969 w 8079933"/>
              <a:gd name="connsiteY49642" fmla="*/ 1045351 h 4687251"/>
              <a:gd name="connsiteX49643" fmla="*/ 2973682 w 8079933"/>
              <a:gd name="connsiteY49643" fmla="*/ 1043835 h 4687251"/>
              <a:gd name="connsiteX49644" fmla="*/ 2975852 w 8079933"/>
              <a:gd name="connsiteY49644" fmla="*/ 1043835 h 4687251"/>
              <a:gd name="connsiteX49645" fmla="*/ 2976720 w 8079933"/>
              <a:gd name="connsiteY49645" fmla="*/ 1042645 h 4687251"/>
              <a:gd name="connsiteX49646" fmla="*/ 2975960 w 8079933"/>
              <a:gd name="connsiteY49646" fmla="*/ 1040371 h 4687251"/>
              <a:gd name="connsiteX49647" fmla="*/ 2971945 w 8079933"/>
              <a:gd name="connsiteY49647" fmla="*/ 1041237 h 4687251"/>
              <a:gd name="connsiteX49648" fmla="*/ 2970426 w 8079933"/>
              <a:gd name="connsiteY49648" fmla="*/ 1042753 h 4687251"/>
              <a:gd name="connsiteX49649" fmla="*/ 2967062 w 8079933"/>
              <a:gd name="connsiteY49649" fmla="*/ 1042103 h 4687251"/>
              <a:gd name="connsiteX49650" fmla="*/ 2961853 w 8079933"/>
              <a:gd name="connsiteY49650" fmla="*/ 1038639 h 4687251"/>
              <a:gd name="connsiteX49651" fmla="*/ 2957404 w 8079933"/>
              <a:gd name="connsiteY49651" fmla="*/ 1032251 h 4687251"/>
              <a:gd name="connsiteX49652" fmla="*/ 2957404 w 8079933"/>
              <a:gd name="connsiteY49652" fmla="*/ 1030410 h 4687251"/>
              <a:gd name="connsiteX49653" fmla="*/ 2959791 w 8079933"/>
              <a:gd name="connsiteY49653" fmla="*/ 1030410 h 4687251"/>
              <a:gd name="connsiteX49654" fmla="*/ 2966737 w 8079933"/>
              <a:gd name="connsiteY49654" fmla="*/ 1030410 h 4687251"/>
              <a:gd name="connsiteX49655" fmla="*/ 2972813 w 8079933"/>
              <a:gd name="connsiteY49655" fmla="*/ 1028028 h 4687251"/>
              <a:gd name="connsiteX49656" fmla="*/ 2974984 w 8079933"/>
              <a:gd name="connsiteY49656" fmla="*/ 1025646 h 4687251"/>
              <a:gd name="connsiteX49657" fmla="*/ 2973898 w 8079933"/>
              <a:gd name="connsiteY49657" fmla="*/ 1023373 h 4687251"/>
              <a:gd name="connsiteX49658" fmla="*/ 2968256 w 8079933"/>
              <a:gd name="connsiteY49658" fmla="*/ 1022073 h 4687251"/>
              <a:gd name="connsiteX49659" fmla="*/ 2965977 w 8079933"/>
              <a:gd name="connsiteY49659" fmla="*/ 1022723 h 4687251"/>
              <a:gd name="connsiteX49660" fmla="*/ 2965977 w 8079933"/>
              <a:gd name="connsiteY49660" fmla="*/ 1024563 h 4687251"/>
              <a:gd name="connsiteX49661" fmla="*/ 2967387 w 8079933"/>
              <a:gd name="connsiteY49661" fmla="*/ 1026296 h 4687251"/>
              <a:gd name="connsiteX49662" fmla="*/ 2966085 w 8079933"/>
              <a:gd name="connsiteY49662" fmla="*/ 1026945 h 4687251"/>
              <a:gd name="connsiteX49663" fmla="*/ 2960009 w 8079933"/>
              <a:gd name="connsiteY49663" fmla="*/ 1026945 h 4687251"/>
              <a:gd name="connsiteX49664" fmla="*/ 2957296 w 8079933"/>
              <a:gd name="connsiteY49664" fmla="*/ 1025213 h 4687251"/>
              <a:gd name="connsiteX49665" fmla="*/ 2956536 w 8079933"/>
              <a:gd name="connsiteY49665" fmla="*/ 1022073 h 4687251"/>
              <a:gd name="connsiteX49666" fmla="*/ 2959032 w 8079933"/>
              <a:gd name="connsiteY49666" fmla="*/ 1021099 h 4687251"/>
              <a:gd name="connsiteX49667" fmla="*/ 2961311 w 8079933"/>
              <a:gd name="connsiteY49667" fmla="*/ 1021099 h 4687251"/>
              <a:gd name="connsiteX49668" fmla="*/ 2962396 w 8079933"/>
              <a:gd name="connsiteY49668" fmla="*/ 1019258 h 4687251"/>
              <a:gd name="connsiteX49669" fmla="*/ 2960443 w 8079933"/>
              <a:gd name="connsiteY49669" fmla="*/ 1016659 h 4687251"/>
              <a:gd name="connsiteX49670" fmla="*/ 2957838 w 8079933"/>
              <a:gd name="connsiteY49670" fmla="*/ 1016659 h 4687251"/>
              <a:gd name="connsiteX49671" fmla="*/ 2956861 w 8079933"/>
              <a:gd name="connsiteY49671" fmla="*/ 1017634 h 4687251"/>
              <a:gd name="connsiteX49672" fmla="*/ 2954257 w 8079933"/>
              <a:gd name="connsiteY49672" fmla="*/ 1017634 h 4687251"/>
              <a:gd name="connsiteX49673" fmla="*/ 2952086 w 8079933"/>
              <a:gd name="connsiteY49673" fmla="*/ 1017634 h 4687251"/>
              <a:gd name="connsiteX49674" fmla="*/ 2952086 w 8079933"/>
              <a:gd name="connsiteY49674" fmla="*/ 1019474 h 4687251"/>
              <a:gd name="connsiteX49675" fmla="*/ 2953172 w 8079933"/>
              <a:gd name="connsiteY49675" fmla="*/ 1021965 h 4687251"/>
              <a:gd name="connsiteX49676" fmla="*/ 2953172 w 8079933"/>
              <a:gd name="connsiteY49676" fmla="*/ 1025105 h 4687251"/>
              <a:gd name="connsiteX49677" fmla="*/ 2950459 w 8079933"/>
              <a:gd name="connsiteY49677" fmla="*/ 1027920 h 4687251"/>
              <a:gd name="connsiteX49678" fmla="*/ 2946987 w 8079933"/>
              <a:gd name="connsiteY49678" fmla="*/ 1029869 h 4687251"/>
              <a:gd name="connsiteX49679" fmla="*/ 2944599 w 8079933"/>
              <a:gd name="connsiteY49679" fmla="*/ 1028786 h 4687251"/>
              <a:gd name="connsiteX49680" fmla="*/ 2940041 w 8079933"/>
              <a:gd name="connsiteY49680" fmla="*/ 1023373 h 4687251"/>
              <a:gd name="connsiteX49681" fmla="*/ 2936569 w 8079933"/>
              <a:gd name="connsiteY49681" fmla="*/ 1023373 h 4687251"/>
              <a:gd name="connsiteX49682" fmla="*/ 2934181 w 8079933"/>
              <a:gd name="connsiteY49682" fmla="*/ 1021857 h 4687251"/>
              <a:gd name="connsiteX49683" fmla="*/ 2934181 w 8079933"/>
              <a:gd name="connsiteY49683" fmla="*/ 1019583 h 4687251"/>
              <a:gd name="connsiteX49684" fmla="*/ 2932662 w 8079933"/>
              <a:gd name="connsiteY49684" fmla="*/ 1019583 h 4687251"/>
              <a:gd name="connsiteX49685" fmla="*/ 2930817 w 8079933"/>
              <a:gd name="connsiteY49685" fmla="*/ 1021640 h 4687251"/>
              <a:gd name="connsiteX49686" fmla="*/ 2925066 w 8079933"/>
              <a:gd name="connsiteY49686" fmla="*/ 1022506 h 4687251"/>
              <a:gd name="connsiteX49687" fmla="*/ 2921485 w 8079933"/>
              <a:gd name="connsiteY49687" fmla="*/ 1022506 h 4687251"/>
              <a:gd name="connsiteX49688" fmla="*/ 2918338 w 8079933"/>
              <a:gd name="connsiteY49688" fmla="*/ 1024996 h 4687251"/>
              <a:gd name="connsiteX49689" fmla="*/ 2913889 w 8079933"/>
              <a:gd name="connsiteY49689" fmla="*/ 1029110 h 4687251"/>
              <a:gd name="connsiteX49690" fmla="*/ 2910634 w 8079933"/>
              <a:gd name="connsiteY49690" fmla="*/ 1030194 h 4687251"/>
              <a:gd name="connsiteX49691" fmla="*/ 2909006 w 8079933"/>
              <a:gd name="connsiteY49691" fmla="*/ 1029219 h 4687251"/>
              <a:gd name="connsiteX49692" fmla="*/ 2909006 w 8079933"/>
              <a:gd name="connsiteY49692" fmla="*/ 1027270 h 4687251"/>
              <a:gd name="connsiteX49693" fmla="*/ 2914215 w 8079933"/>
              <a:gd name="connsiteY49693" fmla="*/ 1020882 h 4687251"/>
              <a:gd name="connsiteX49694" fmla="*/ 2916385 w 8079933"/>
              <a:gd name="connsiteY49694" fmla="*/ 1020124 h 4687251"/>
              <a:gd name="connsiteX49695" fmla="*/ 2918013 w 8079933"/>
              <a:gd name="connsiteY49695" fmla="*/ 1018284 h 4687251"/>
              <a:gd name="connsiteX49696" fmla="*/ 2918013 w 8079933"/>
              <a:gd name="connsiteY49696" fmla="*/ 1016443 h 4687251"/>
              <a:gd name="connsiteX49697" fmla="*/ 2919423 w 8079933"/>
              <a:gd name="connsiteY49697" fmla="*/ 1016443 h 4687251"/>
              <a:gd name="connsiteX49698" fmla="*/ 2922027 w 8079933"/>
              <a:gd name="connsiteY49698" fmla="*/ 1014169 h 4687251"/>
              <a:gd name="connsiteX49699" fmla="*/ 2922027 w 8079933"/>
              <a:gd name="connsiteY49699" fmla="*/ 1013195 h 4687251"/>
              <a:gd name="connsiteX49700" fmla="*/ 2923547 w 8079933"/>
              <a:gd name="connsiteY49700" fmla="*/ 1010380 h 4687251"/>
              <a:gd name="connsiteX49701" fmla="*/ 2925392 w 8079933"/>
              <a:gd name="connsiteY49701" fmla="*/ 1010380 h 4687251"/>
              <a:gd name="connsiteX49702" fmla="*/ 2928973 w 8079933"/>
              <a:gd name="connsiteY49702" fmla="*/ 1013086 h 4687251"/>
              <a:gd name="connsiteX49703" fmla="*/ 2933530 w 8079933"/>
              <a:gd name="connsiteY49703" fmla="*/ 1015035 h 4687251"/>
              <a:gd name="connsiteX49704" fmla="*/ 2940258 w 8079933"/>
              <a:gd name="connsiteY49704" fmla="*/ 1015035 h 4687251"/>
              <a:gd name="connsiteX49705" fmla="*/ 2939607 w 8079933"/>
              <a:gd name="connsiteY49705" fmla="*/ 1013412 h 4687251"/>
              <a:gd name="connsiteX49706" fmla="*/ 2936569 w 8079933"/>
              <a:gd name="connsiteY49706" fmla="*/ 1012653 h 4687251"/>
              <a:gd name="connsiteX49707" fmla="*/ 2934290 w 8079933"/>
              <a:gd name="connsiteY49707" fmla="*/ 1012653 h 4687251"/>
              <a:gd name="connsiteX49708" fmla="*/ 2931685 w 8079933"/>
              <a:gd name="connsiteY49708" fmla="*/ 1010705 h 4687251"/>
              <a:gd name="connsiteX49709" fmla="*/ 2925717 w 8079933"/>
              <a:gd name="connsiteY49709" fmla="*/ 1005400 h 4687251"/>
              <a:gd name="connsiteX49710" fmla="*/ 2924741 w 8079933"/>
              <a:gd name="connsiteY49710" fmla="*/ 1001935 h 4687251"/>
              <a:gd name="connsiteX49711" fmla="*/ 2922027 w 8079933"/>
              <a:gd name="connsiteY49711" fmla="*/ 1000744 h 4687251"/>
              <a:gd name="connsiteX49712" fmla="*/ 2921376 w 8079933"/>
              <a:gd name="connsiteY49712" fmla="*/ 998795 h 4687251"/>
              <a:gd name="connsiteX49713" fmla="*/ 2923330 w 8079933"/>
              <a:gd name="connsiteY49713" fmla="*/ 997821 h 4687251"/>
              <a:gd name="connsiteX49714" fmla="*/ 2928647 w 8079933"/>
              <a:gd name="connsiteY49714" fmla="*/ 999445 h 4687251"/>
              <a:gd name="connsiteX49715" fmla="*/ 2932988 w 8079933"/>
              <a:gd name="connsiteY49715" fmla="*/ 1005291 h 4687251"/>
              <a:gd name="connsiteX49716" fmla="*/ 2937437 w 8079933"/>
              <a:gd name="connsiteY49716" fmla="*/ 1009189 h 4687251"/>
              <a:gd name="connsiteX49717" fmla="*/ 2938088 w 8079933"/>
              <a:gd name="connsiteY49717" fmla="*/ 1007998 h 4687251"/>
              <a:gd name="connsiteX49718" fmla="*/ 2936569 w 8079933"/>
              <a:gd name="connsiteY49718" fmla="*/ 1004966 h 4687251"/>
              <a:gd name="connsiteX49719" fmla="*/ 2935483 w 8079933"/>
              <a:gd name="connsiteY49719" fmla="*/ 1000960 h 4687251"/>
              <a:gd name="connsiteX49720" fmla="*/ 2936894 w 8079933"/>
              <a:gd name="connsiteY49720" fmla="*/ 1000960 h 4687251"/>
              <a:gd name="connsiteX49721" fmla="*/ 2939390 w 8079933"/>
              <a:gd name="connsiteY49721" fmla="*/ 1003884 h 4687251"/>
              <a:gd name="connsiteX49722" fmla="*/ 2940584 w 8079933"/>
              <a:gd name="connsiteY49722" fmla="*/ 1006807 h 4687251"/>
              <a:gd name="connsiteX49723" fmla="*/ 2948832 w 8079933"/>
              <a:gd name="connsiteY49723" fmla="*/ 1011679 h 4687251"/>
              <a:gd name="connsiteX49724" fmla="*/ 2951978 w 8079933"/>
              <a:gd name="connsiteY49724" fmla="*/ 1011029 h 4687251"/>
              <a:gd name="connsiteX49725" fmla="*/ 2953823 w 8079933"/>
              <a:gd name="connsiteY49725" fmla="*/ 1009947 h 4687251"/>
              <a:gd name="connsiteX49726" fmla="*/ 2958272 w 8079933"/>
              <a:gd name="connsiteY49726" fmla="*/ 1009947 h 4687251"/>
              <a:gd name="connsiteX49727" fmla="*/ 2960443 w 8079933"/>
              <a:gd name="connsiteY49727" fmla="*/ 1012112 h 4687251"/>
              <a:gd name="connsiteX49728" fmla="*/ 2965325 w 8079933"/>
              <a:gd name="connsiteY49728" fmla="*/ 1015143 h 4687251"/>
              <a:gd name="connsiteX49729" fmla="*/ 2969341 w 8079933"/>
              <a:gd name="connsiteY49729" fmla="*/ 1016985 h 4687251"/>
              <a:gd name="connsiteX49730" fmla="*/ 2970100 w 8079933"/>
              <a:gd name="connsiteY49730" fmla="*/ 1018067 h 4687251"/>
              <a:gd name="connsiteX49731" fmla="*/ 2973464 w 8079933"/>
              <a:gd name="connsiteY49731" fmla="*/ 1018067 h 4687251"/>
              <a:gd name="connsiteX49732" fmla="*/ 2973464 w 8079933"/>
              <a:gd name="connsiteY49732" fmla="*/ 1016551 h 4687251"/>
              <a:gd name="connsiteX49733" fmla="*/ 2969558 w 8079933"/>
              <a:gd name="connsiteY49733" fmla="*/ 1012870 h 4687251"/>
              <a:gd name="connsiteX49734" fmla="*/ 2960009 w 8079933"/>
              <a:gd name="connsiteY49734" fmla="*/ 1005183 h 4687251"/>
              <a:gd name="connsiteX49735" fmla="*/ 2959032 w 8079933"/>
              <a:gd name="connsiteY49735" fmla="*/ 1003018 h 4687251"/>
              <a:gd name="connsiteX49736" fmla="*/ 2959032 w 8079933"/>
              <a:gd name="connsiteY49736" fmla="*/ 1001285 h 4687251"/>
              <a:gd name="connsiteX49737" fmla="*/ 2964566 w 8079933"/>
              <a:gd name="connsiteY49737" fmla="*/ 999337 h 4687251"/>
              <a:gd name="connsiteX49738" fmla="*/ 2964566 w 8079933"/>
              <a:gd name="connsiteY49738" fmla="*/ 996629 h 4687251"/>
              <a:gd name="connsiteX49739" fmla="*/ 2966085 w 8079933"/>
              <a:gd name="connsiteY49739" fmla="*/ 993490 h 4687251"/>
              <a:gd name="connsiteX49740" fmla="*/ 2967930 w 8079933"/>
              <a:gd name="connsiteY49740" fmla="*/ 992515 h 4687251"/>
              <a:gd name="connsiteX49741" fmla="*/ 2967930 w 8079933"/>
              <a:gd name="connsiteY49741" fmla="*/ 990241 h 4687251"/>
              <a:gd name="connsiteX49742" fmla="*/ 2964783 w 8079933"/>
              <a:gd name="connsiteY49742" fmla="*/ 990241 h 4687251"/>
              <a:gd name="connsiteX49743" fmla="*/ 2961744 w 8079933"/>
              <a:gd name="connsiteY49743" fmla="*/ 991433 h 4687251"/>
              <a:gd name="connsiteX49744" fmla="*/ 2956102 w 8079933"/>
              <a:gd name="connsiteY49744" fmla="*/ 991433 h 4687251"/>
              <a:gd name="connsiteX49745" fmla="*/ 2954474 w 8079933"/>
              <a:gd name="connsiteY49745" fmla="*/ 993273 h 4687251"/>
              <a:gd name="connsiteX49746" fmla="*/ 2955559 w 8079933"/>
              <a:gd name="connsiteY49746" fmla="*/ 994681 h 4687251"/>
              <a:gd name="connsiteX49747" fmla="*/ 2959032 w 8079933"/>
              <a:gd name="connsiteY49747" fmla="*/ 997388 h 4687251"/>
              <a:gd name="connsiteX49748" fmla="*/ 2957512 w 8079933"/>
              <a:gd name="connsiteY49748" fmla="*/ 998903 h 4687251"/>
              <a:gd name="connsiteX49749" fmla="*/ 2952086 w 8079933"/>
              <a:gd name="connsiteY49749" fmla="*/ 998903 h 4687251"/>
              <a:gd name="connsiteX49750" fmla="*/ 2950242 w 8079933"/>
              <a:gd name="connsiteY49750" fmla="*/ 999661 h 4687251"/>
              <a:gd name="connsiteX49751" fmla="*/ 2946660 w 8079933"/>
              <a:gd name="connsiteY49751" fmla="*/ 998795 h 4687251"/>
              <a:gd name="connsiteX49752" fmla="*/ 2942429 w 8079933"/>
              <a:gd name="connsiteY49752" fmla="*/ 999986 h 4687251"/>
              <a:gd name="connsiteX49753" fmla="*/ 2940258 w 8079933"/>
              <a:gd name="connsiteY49753" fmla="*/ 996955 h 4687251"/>
              <a:gd name="connsiteX49754" fmla="*/ 2936678 w 8079933"/>
              <a:gd name="connsiteY49754" fmla="*/ 995439 h 4687251"/>
              <a:gd name="connsiteX49755" fmla="*/ 2935809 w 8079933"/>
              <a:gd name="connsiteY49755" fmla="*/ 993490 h 4687251"/>
              <a:gd name="connsiteX49756" fmla="*/ 2938196 w 8079933"/>
              <a:gd name="connsiteY49756" fmla="*/ 991974 h 4687251"/>
              <a:gd name="connsiteX49757" fmla="*/ 2940041 w 8079933"/>
              <a:gd name="connsiteY49757" fmla="*/ 990133 h 4687251"/>
              <a:gd name="connsiteX49758" fmla="*/ 2937871 w 8079933"/>
              <a:gd name="connsiteY49758" fmla="*/ 990133 h 4687251"/>
              <a:gd name="connsiteX49759" fmla="*/ 2933313 w 8079933"/>
              <a:gd name="connsiteY49759" fmla="*/ 991108 h 4687251"/>
              <a:gd name="connsiteX49760" fmla="*/ 2932337 w 8079933"/>
              <a:gd name="connsiteY49760" fmla="*/ 990133 h 4687251"/>
              <a:gd name="connsiteX49761" fmla="*/ 2938088 w 8079933"/>
              <a:gd name="connsiteY49761" fmla="*/ 988618 h 4687251"/>
              <a:gd name="connsiteX49762" fmla="*/ 2944382 w 8079933"/>
              <a:gd name="connsiteY49762" fmla="*/ 985802 h 4687251"/>
              <a:gd name="connsiteX49763" fmla="*/ 2947095 w 8079933"/>
              <a:gd name="connsiteY49763" fmla="*/ 984286 h 4687251"/>
              <a:gd name="connsiteX49764" fmla="*/ 2952412 w 8079933"/>
              <a:gd name="connsiteY49764" fmla="*/ 984286 h 4687251"/>
              <a:gd name="connsiteX49765" fmla="*/ 2953931 w 8079933"/>
              <a:gd name="connsiteY49765" fmla="*/ 985478 h 4687251"/>
              <a:gd name="connsiteX49766" fmla="*/ 2957946 w 8079933"/>
              <a:gd name="connsiteY49766" fmla="*/ 984828 h 4687251"/>
              <a:gd name="connsiteX49767" fmla="*/ 2962071 w 8079933"/>
              <a:gd name="connsiteY49767" fmla="*/ 984828 h 4687251"/>
              <a:gd name="connsiteX49768" fmla="*/ 2967279 w 8079933"/>
              <a:gd name="connsiteY49768" fmla="*/ 985478 h 4687251"/>
              <a:gd name="connsiteX49769" fmla="*/ 2967279 w 8079933"/>
              <a:gd name="connsiteY49769" fmla="*/ 982988 h 4687251"/>
              <a:gd name="connsiteX49770" fmla="*/ 2969667 w 8079933"/>
              <a:gd name="connsiteY49770" fmla="*/ 981796 h 4687251"/>
              <a:gd name="connsiteX49771" fmla="*/ 2971403 w 8079933"/>
              <a:gd name="connsiteY49771" fmla="*/ 979848 h 4687251"/>
              <a:gd name="connsiteX49772" fmla="*/ 2974441 w 8079933"/>
              <a:gd name="connsiteY49772" fmla="*/ 977899 h 4687251"/>
              <a:gd name="connsiteX49773" fmla="*/ 2975743 w 8079933"/>
              <a:gd name="connsiteY49773" fmla="*/ 975517 h 4687251"/>
              <a:gd name="connsiteX49774" fmla="*/ 2974658 w 8079933"/>
              <a:gd name="connsiteY49774" fmla="*/ 975517 h 4687251"/>
              <a:gd name="connsiteX49775" fmla="*/ 2971077 w 8079933"/>
              <a:gd name="connsiteY49775" fmla="*/ 978115 h 4687251"/>
              <a:gd name="connsiteX49776" fmla="*/ 2969015 w 8079933"/>
              <a:gd name="connsiteY49776" fmla="*/ 978115 h 4687251"/>
              <a:gd name="connsiteX49777" fmla="*/ 2967930 w 8079933"/>
              <a:gd name="connsiteY49777" fmla="*/ 976166 h 4687251"/>
              <a:gd name="connsiteX49778" fmla="*/ 2970209 w 8079933"/>
              <a:gd name="connsiteY49778" fmla="*/ 972485 h 4687251"/>
              <a:gd name="connsiteX49779" fmla="*/ 2972922 w 8079933"/>
              <a:gd name="connsiteY49779" fmla="*/ 963607 h 4687251"/>
              <a:gd name="connsiteX49780" fmla="*/ 2972922 w 8079933"/>
              <a:gd name="connsiteY49780" fmla="*/ 959384 h 4687251"/>
              <a:gd name="connsiteX49781" fmla="*/ 2974767 w 8079933"/>
              <a:gd name="connsiteY49781" fmla="*/ 958518 h 4687251"/>
              <a:gd name="connsiteX49782" fmla="*/ 2976286 w 8079933"/>
              <a:gd name="connsiteY49782" fmla="*/ 959601 h 4687251"/>
              <a:gd name="connsiteX49783" fmla="*/ 2978564 w 8079933"/>
              <a:gd name="connsiteY49783" fmla="*/ 963932 h 4687251"/>
              <a:gd name="connsiteX49784" fmla="*/ 2977588 w 8079933"/>
              <a:gd name="connsiteY49784" fmla="*/ 965339 h 4687251"/>
              <a:gd name="connsiteX49785" fmla="*/ 2977588 w 8079933"/>
              <a:gd name="connsiteY49785" fmla="*/ 967505 h 4687251"/>
              <a:gd name="connsiteX49786" fmla="*/ 2981495 w 8079933"/>
              <a:gd name="connsiteY49786" fmla="*/ 968263 h 4687251"/>
              <a:gd name="connsiteX49787" fmla="*/ 2984534 w 8079933"/>
              <a:gd name="connsiteY49787" fmla="*/ 968263 h 4687251"/>
              <a:gd name="connsiteX49788" fmla="*/ 2986269 w 8079933"/>
              <a:gd name="connsiteY49788" fmla="*/ 970103 h 4687251"/>
              <a:gd name="connsiteX49789" fmla="*/ 2988982 w 8079933"/>
              <a:gd name="connsiteY49789" fmla="*/ 970103 h 4687251"/>
              <a:gd name="connsiteX49790" fmla="*/ 2989634 w 8079933"/>
              <a:gd name="connsiteY49790" fmla="*/ 969021 h 4687251"/>
              <a:gd name="connsiteX49791" fmla="*/ 2991587 w 8079933"/>
              <a:gd name="connsiteY49791" fmla="*/ 969778 h 4687251"/>
              <a:gd name="connsiteX49792" fmla="*/ 2993757 w 8079933"/>
              <a:gd name="connsiteY49792" fmla="*/ 969778 h 4687251"/>
              <a:gd name="connsiteX49793" fmla="*/ 2993757 w 8079933"/>
              <a:gd name="connsiteY49793" fmla="*/ 967180 h 4687251"/>
              <a:gd name="connsiteX49794" fmla="*/ 2991044 w 8079933"/>
              <a:gd name="connsiteY49794" fmla="*/ 965556 h 4687251"/>
              <a:gd name="connsiteX49795" fmla="*/ 2985184 w 8079933"/>
              <a:gd name="connsiteY49795" fmla="*/ 965556 h 4687251"/>
              <a:gd name="connsiteX49796" fmla="*/ 2985184 w 8079933"/>
              <a:gd name="connsiteY49796" fmla="*/ 964148 h 4687251"/>
              <a:gd name="connsiteX49797" fmla="*/ 2988874 w 8079933"/>
              <a:gd name="connsiteY49797" fmla="*/ 963499 h 4687251"/>
              <a:gd name="connsiteX49798" fmla="*/ 2993540 w 8079933"/>
              <a:gd name="connsiteY49798" fmla="*/ 962633 h 4687251"/>
              <a:gd name="connsiteX49799" fmla="*/ 2993540 w 8079933"/>
              <a:gd name="connsiteY49799" fmla="*/ 960792 h 4687251"/>
              <a:gd name="connsiteX49800" fmla="*/ 2991370 w 8079933"/>
              <a:gd name="connsiteY49800" fmla="*/ 959601 h 4687251"/>
              <a:gd name="connsiteX49801" fmla="*/ 2988982 w 8079933"/>
              <a:gd name="connsiteY49801" fmla="*/ 959601 h 4687251"/>
              <a:gd name="connsiteX49802" fmla="*/ 2987789 w 8079933"/>
              <a:gd name="connsiteY49802" fmla="*/ 957436 h 4687251"/>
              <a:gd name="connsiteX49803" fmla="*/ 2986269 w 8079933"/>
              <a:gd name="connsiteY49803" fmla="*/ 956678 h 4687251"/>
              <a:gd name="connsiteX49804" fmla="*/ 2984425 w 8079933"/>
              <a:gd name="connsiteY49804" fmla="*/ 957868 h 4687251"/>
              <a:gd name="connsiteX49805" fmla="*/ 2982254 w 8079933"/>
              <a:gd name="connsiteY49805" fmla="*/ 957868 h 4687251"/>
              <a:gd name="connsiteX49806" fmla="*/ 2978456 w 8079933"/>
              <a:gd name="connsiteY49806" fmla="*/ 957219 h 4687251"/>
              <a:gd name="connsiteX49807" fmla="*/ 2978456 w 8079933"/>
              <a:gd name="connsiteY49807" fmla="*/ 955162 h 4687251"/>
              <a:gd name="connsiteX49808" fmla="*/ 2980518 w 8079933"/>
              <a:gd name="connsiteY49808" fmla="*/ 952672 h 4687251"/>
              <a:gd name="connsiteX49809" fmla="*/ 2982689 w 8079933"/>
              <a:gd name="connsiteY49809" fmla="*/ 952672 h 4687251"/>
              <a:gd name="connsiteX49810" fmla="*/ 2986161 w 8079933"/>
              <a:gd name="connsiteY49810" fmla="*/ 947475 h 4687251"/>
              <a:gd name="connsiteX49811" fmla="*/ 2988657 w 8079933"/>
              <a:gd name="connsiteY49811" fmla="*/ 945526 h 4687251"/>
              <a:gd name="connsiteX49812" fmla="*/ 2989742 w 8079933"/>
              <a:gd name="connsiteY49812" fmla="*/ 946176 h 4687251"/>
              <a:gd name="connsiteX49813" fmla="*/ 2992455 w 8079933"/>
              <a:gd name="connsiteY49813" fmla="*/ 945526 h 4687251"/>
              <a:gd name="connsiteX49814" fmla="*/ 2995276 w 8079933"/>
              <a:gd name="connsiteY49814" fmla="*/ 945526 h 4687251"/>
              <a:gd name="connsiteX49815" fmla="*/ 2994625 w 8079933"/>
              <a:gd name="connsiteY49815" fmla="*/ 943360 h 4687251"/>
              <a:gd name="connsiteX49816" fmla="*/ 2991912 w 8079933"/>
              <a:gd name="connsiteY49816" fmla="*/ 942386 h 4687251"/>
              <a:gd name="connsiteX49817" fmla="*/ 2988006 w 8079933"/>
              <a:gd name="connsiteY49817" fmla="*/ 942386 h 4687251"/>
              <a:gd name="connsiteX49818" fmla="*/ 2986812 w 8079933"/>
              <a:gd name="connsiteY49818" fmla="*/ 940978 h 4687251"/>
              <a:gd name="connsiteX49819" fmla="*/ 2988332 w 8079933"/>
              <a:gd name="connsiteY49819" fmla="*/ 939246 h 4687251"/>
              <a:gd name="connsiteX49820" fmla="*/ 2992780 w 8079933"/>
              <a:gd name="connsiteY49820" fmla="*/ 937297 h 4687251"/>
              <a:gd name="connsiteX49821" fmla="*/ 2994842 w 8079933"/>
              <a:gd name="connsiteY49821" fmla="*/ 934807 h 4687251"/>
              <a:gd name="connsiteX49822" fmla="*/ 2998098 w 8079933"/>
              <a:gd name="connsiteY49822" fmla="*/ 933616 h 4687251"/>
              <a:gd name="connsiteX49823" fmla="*/ 2998098 w 8079933"/>
              <a:gd name="connsiteY49823" fmla="*/ 932101 h 4687251"/>
              <a:gd name="connsiteX49824" fmla="*/ 3001136 w 8079933"/>
              <a:gd name="connsiteY49824" fmla="*/ 930260 h 4687251"/>
              <a:gd name="connsiteX49825" fmla="*/ 2998858 w 8079933"/>
              <a:gd name="connsiteY49825" fmla="*/ 927553 h 4687251"/>
              <a:gd name="connsiteX49826" fmla="*/ 2996145 w 8079933"/>
              <a:gd name="connsiteY49826" fmla="*/ 927553 h 4687251"/>
              <a:gd name="connsiteX49827" fmla="*/ 2996145 w 8079933"/>
              <a:gd name="connsiteY49827" fmla="*/ 924413 h 4687251"/>
              <a:gd name="connsiteX49828" fmla="*/ 2999291 w 8079933"/>
              <a:gd name="connsiteY49828" fmla="*/ 923330 h 4687251"/>
              <a:gd name="connsiteX49829" fmla="*/ 3002439 w 8079933"/>
              <a:gd name="connsiteY49829" fmla="*/ 923330 h 4687251"/>
              <a:gd name="connsiteX49830" fmla="*/ 3002439 w 8079933"/>
              <a:gd name="connsiteY49830" fmla="*/ 920082 h 4687251"/>
              <a:gd name="connsiteX49831" fmla="*/ 3000051 w 8079933"/>
              <a:gd name="connsiteY49831" fmla="*/ 918999 h 4687251"/>
              <a:gd name="connsiteX49832" fmla="*/ 2995928 w 8079933"/>
              <a:gd name="connsiteY49832" fmla="*/ 918999 h 4687251"/>
              <a:gd name="connsiteX49833" fmla="*/ 2992129 w 8079933"/>
              <a:gd name="connsiteY49833" fmla="*/ 921923 h 4687251"/>
              <a:gd name="connsiteX49834" fmla="*/ 2988006 w 8079933"/>
              <a:gd name="connsiteY49834" fmla="*/ 921923 h 4687251"/>
              <a:gd name="connsiteX49835" fmla="*/ 2985402 w 8079933"/>
              <a:gd name="connsiteY49835" fmla="*/ 919216 h 4687251"/>
              <a:gd name="connsiteX49836" fmla="*/ 2982797 w 8079933"/>
              <a:gd name="connsiteY49836" fmla="*/ 920732 h 4687251"/>
              <a:gd name="connsiteX49837" fmla="*/ 2978999 w 8079933"/>
              <a:gd name="connsiteY49837" fmla="*/ 920732 h 4687251"/>
              <a:gd name="connsiteX49838" fmla="*/ 2976720 w 8079933"/>
              <a:gd name="connsiteY49838" fmla="*/ 918134 h 4687251"/>
              <a:gd name="connsiteX49839" fmla="*/ 2974441 w 8079933"/>
              <a:gd name="connsiteY49839" fmla="*/ 919216 h 4687251"/>
              <a:gd name="connsiteX49840" fmla="*/ 2970643 w 8079933"/>
              <a:gd name="connsiteY49840" fmla="*/ 918566 h 4687251"/>
              <a:gd name="connsiteX49841" fmla="*/ 2967713 w 8079933"/>
              <a:gd name="connsiteY49841" fmla="*/ 915102 h 4687251"/>
              <a:gd name="connsiteX49842" fmla="*/ 2963916 w 8079933"/>
              <a:gd name="connsiteY49842" fmla="*/ 915102 h 4687251"/>
              <a:gd name="connsiteX49843" fmla="*/ 2961203 w 8079933"/>
              <a:gd name="connsiteY49843" fmla="*/ 913586 h 4687251"/>
              <a:gd name="connsiteX49844" fmla="*/ 2961203 w 8079933"/>
              <a:gd name="connsiteY49844" fmla="*/ 911312 h 4687251"/>
              <a:gd name="connsiteX49845" fmla="*/ 2959466 w 8079933"/>
              <a:gd name="connsiteY49845" fmla="*/ 906873 h 4687251"/>
              <a:gd name="connsiteX49846" fmla="*/ 2954257 w 8079933"/>
              <a:gd name="connsiteY49846" fmla="*/ 903625 h 4687251"/>
              <a:gd name="connsiteX49847" fmla="*/ 2945793 w 8079933"/>
              <a:gd name="connsiteY49847" fmla="*/ 899836 h 4687251"/>
              <a:gd name="connsiteX49848" fmla="*/ 2939282 w 8079933"/>
              <a:gd name="connsiteY49848" fmla="*/ 897562 h 4687251"/>
              <a:gd name="connsiteX49849" fmla="*/ 2934833 w 8079933"/>
              <a:gd name="connsiteY49849" fmla="*/ 893123 h 4687251"/>
              <a:gd name="connsiteX49850" fmla="*/ 2934833 w 8079933"/>
              <a:gd name="connsiteY49850" fmla="*/ 890416 h 4687251"/>
              <a:gd name="connsiteX49851" fmla="*/ 2932880 w 8079933"/>
              <a:gd name="connsiteY49851" fmla="*/ 884894 h 4687251"/>
              <a:gd name="connsiteX49852" fmla="*/ 2930167 w 8079933"/>
              <a:gd name="connsiteY49852" fmla="*/ 881322 h 4687251"/>
              <a:gd name="connsiteX49853" fmla="*/ 2927887 w 8079933"/>
              <a:gd name="connsiteY49853" fmla="*/ 879373 h 4687251"/>
              <a:gd name="connsiteX49854" fmla="*/ 2927887 w 8079933"/>
              <a:gd name="connsiteY49854" fmla="*/ 876990 h 4687251"/>
              <a:gd name="connsiteX49855" fmla="*/ 2932988 w 8079933"/>
              <a:gd name="connsiteY49855" fmla="*/ 872659 h 4687251"/>
              <a:gd name="connsiteX49856" fmla="*/ 2937437 w 8079933"/>
              <a:gd name="connsiteY49856" fmla="*/ 872659 h 4687251"/>
              <a:gd name="connsiteX49857" fmla="*/ 2939607 w 8079933"/>
              <a:gd name="connsiteY49857" fmla="*/ 871577 h 4687251"/>
              <a:gd name="connsiteX49858" fmla="*/ 2942538 w 8079933"/>
              <a:gd name="connsiteY49858" fmla="*/ 872768 h 4687251"/>
              <a:gd name="connsiteX49859" fmla="*/ 2946878 w 8079933"/>
              <a:gd name="connsiteY49859" fmla="*/ 872768 h 4687251"/>
              <a:gd name="connsiteX49860" fmla="*/ 2951110 w 8079933"/>
              <a:gd name="connsiteY49860" fmla="*/ 876557 h 4687251"/>
              <a:gd name="connsiteX49861" fmla="*/ 2955885 w 8079933"/>
              <a:gd name="connsiteY49861" fmla="*/ 877316 h 4687251"/>
              <a:gd name="connsiteX49862" fmla="*/ 2959032 w 8079933"/>
              <a:gd name="connsiteY49862" fmla="*/ 877316 h 4687251"/>
              <a:gd name="connsiteX49863" fmla="*/ 2960876 w 8079933"/>
              <a:gd name="connsiteY49863" fmla="*/ 878831 h 4687251"/>
              <a:gd name="connsiteX49864" fmla="*/ 2965217 w 8079933"/>
              <a:gd name="connsiteY49864" fmla="*/ 878831 h 4687251"/>
              <a:gd name="connsiteX49865" fmla="*/ 2969015 w 8079933"/>
              <a:gd name="connsiteY49865" fmla="*/ 880347 h 4687251"/>
              <a:gd name="connsiteX49866" fmla="*/ 2971728 w 8079933"/>
              <a:gd name="connsiteY49866" fmla="*/ 881971 h 4687251"/>
              <a:gd name="connsiteX49867" fmla="*/ 2974767 w 8079933"/>
              <a:gd name="connsiteY49867" fmla="*/ 882620 h 4687251"/>
              <a:gd name="connsiteX49868" fmla="*/ 2977046 w 8079933"/>
              <a:gd name="connsiteY49868" fmla="*/ 885544 h 4687251"/>
              <a:gd name="connsiteX49869" fmla="*/ 2979867 w 8079933"/>
              <a:gd name="connsiteY49869" fmla="*/ 894639 h 4687251"/>
              <a:gd name="connsiteX49870" fmla="*/ 2983122 w 8079933"/>
              <a:gd name="connsiteY49870" fmla="*/ 898536 h 4687251"/>
              <a:gd name="connsiteX49871" fmla="*/ 2987355 w 8079933"/>
              <a:gd name="connsiteY49871" fmla="*/ 901351 h 4687251"/>
              <a:gd name="connsiteX49872" fmla="*/ 2990936 w 8079933"/>
              <a:gd name="connsiteY49872" fmla="*/ 904491 h 4687251"/>
              <a:gd name="connsiteX49873" fmla="*/ 2995385 w 8079933"/>
              <a:gd name="connsiteY49873" fmla="*/ 906224 h 4687251"/>
              <a:gd name="connsiteX49874" fmla="*/ 2997664 w 8079933"/>
              <a:gd name="connsiteY49874" fmla="*/ 905249 h 4687251"/>
              <a:gd name="connsiteX49875" fmla="*/ 3000051 w 8079933"/>
              <a:gd name="connsiteY49875" fmla="*/ 901676 h 4687251"/>
              <a:gd name="connsiteX49876" fmla="*/ 2998858 w 8079933"/>
              <a:gd name="connsiteY49876" fmla="*/ 900702 h 4687251"/>
              <a:gd name="connsiteX49877" fmla="*/ 2996361 w 8079933"/>
              <a:gd name="connsiteY49877" fmla="*/ 902001 h 4687251"/>
              <a:gd name="connsiteX49878" fmla="*/ 2994300 w 8079933"/>
              <a:gd name="connsiteY49878" fmla="*/ 902001 h 4687251"/>
              <a:gd name="connsiteX49879" fmla="*/ 2991587 w 8079933"/>
              <a:gd name="connsiteY49879" fmla="*/ 899728 h 4687251"/>
              <a:gd name="connsiteX49880" fmla="*/ 2986812 w 8079933"/>
              <a:gd name="connsiteY49880" fmla="*/ 894097 h 4687251"/>
              <a:gd name="connsiteX49881" fmla="*/ 2986812 w 8079933"/>
              <a:gd name="connsiteY49881" fmla="*/ 892148 h 4687251"/>
              <a:gd name="connsiteX49882" fmla="*/ 2987789 w 8079933"/>
              <a:gd name="connsiteY49882" fmla="*/ 892148 h 4687251"/>
              <a:gd name="connsiteX49883" fmla="*/ 2992129 w 8079933"/>
              <a:gd name="connsiteY49883" fmla="*/ 896479 h 4687251"/>
              <a:gd name="connsiteX49884" fmla="*/ 2994408 w 8079933"/>
              <a:gd name="connsiteY49884" fmla="*/ 896479 h 4687251"/>
              <a:gd name="connsiteX49885" fmla="*/ 2994408 w 8079933"/>
              <a:gd name="connsiteY49885" fmla="*/ 894530 h 4687251"/>
              <a:gd name="connsiteX49886" fmla="*/ 2997121 w 8079933"/>
              <a:gd name="connsiteY49886" fmla="*/ 894530 h 4687251"/>
              <a:gd name="connsiteX49887" fmla="*/ 2997121 w 8079933"/>
              <a:gd name="connsiteY49887" fmla="*/ 892581 h 4687251"/>
              <a:gd name="connsiteX49888" fmla="*/ 2991261 w 8079933"/>
              <a:gd name="connsiteY49888" fmla="*/ 888684 h 4687251"/>
              <a:gd name="connsiteX49889" fmla="*/ 2985944 w 8079933"/>
              <a:gd name="connsiteY49889" fmla="*/ 884245 h 4687251"/>
              <a:gd name="connsiteX49890" fmla="*/ 2984642 w 8079933"/>
              <a:gd name="connsiteY49890" fmla="*/ 881322 h 4687251"/>
              <a:gd name="connsiteX49891" fmla="*/ 2985402 w 8079933"/>
              <a:gd name="connsiteY49891" fmla="*/ 879589 h 4687251"/>
              <a:gd name="connsiteX49892" fmla="*/ 2986921 w 8079933"/>
              <a:gd name="connsiteY49892" fmla="*/ 879589 h 4687251"/>
              <a:gd name="connsiteX49893" fmla="*/ 2989959 w 8079933"/>
              <a:gd name="connsiteY49893" fmla="*/ 883703 h 4687251"/>
              <a:gd name="connsiteX49894" fmla="*/ 2992672 w 8079933"/>
              <a:gd name="connsiteY49894" fmla="*/ 883703 h 4687251"/>
              <a:gd name="connsiteX49895" fmla="*/ 2990719 w 8079933"/>
              <a:gd name="connsiteY49895" fmla="*/ 879373 h 4687251"/>
              <a:gd name="connsiteX49896" fmla="*/ 2985944 w 8079933"/>
              <a:gd name="connsiteY49896" fmla="*/ 874500 h 4687251"/>
              <a:gd name="connsiteX49897" fmla="*/ 2981929 w 8079933"/>
              <a:gd name="connsiteY49897" fmla="*/ 871577 h 4687251"/>
              <a:gd name="connsiteX49898" fmla="*/ 2980735 w 8079933"/>
              <a:gd name="connsiteY49898" fmla="*/ 868762 h 4687251"/>
              <a:gd name="connsiteX49899" fmla="*/ 2981712 w 8079933"/>
              <a:gd name="connsiteY49899" fmla="*/ 867138 h 4687251"/>
              <a:gd name="connsiteX49900" fmla="*/ 2986269 w 8079933"/>
              <a:gd name="connsiteY49900" fmla="*/ 868870 h 4687251"/>
              <a:gd name="connsiteX49901" fmla="*/ 2995168 w 8079933"/>
              <a:gd name="connsiteY49901" fmla="*/ 871794 h 4687251"/>
              <a:gd name="connsiteX49902" fmla="*/ 2997773 w 8079933"/>
              <a:gd name="connsiteY49902" fmla="*/ 870711 h 4687251"/>
              <a:gd name="connsiteX49903" fmla="*/ 2997773 w 8079933"/>
              <a:gd name="connsiteY49903" fmla="*/ 868004 h 4687251"/>
              <a:gd name="connsiteX49904" fmla="*/ 2994191 w 8079933"/>
              <a:gd name="connsiteY49904" fmla="*/ 863457 h 4687251"/>
              <a:gd name="connsiteX49905" fmla="*/ 2992129 w 8079933"/>
              <a:gd name="connsiteY49905" fmla="*/ 863457 h 4687251"/>
              <a:gd name="connsiteX49906" fmla="*/ 2989200 w 8079933"/>
              <a:gd name="connsiteY49906" fmla="*/ 865081 h 4687251"/>
              <a:gd name="connsiteX49907" fmla="*/ 2985944 w 8079933"/>
              <a:gd name="connsiteY49907" fmla="*/ 865081 h 4687251"/>
              <a:gd name="connsiteX49908" fmla="*/ 2981386 w 8079933"/>
              <a:gd name="connsiteY49908" fmla="*/ 865081 h 4687251"/>
              <a:gd name="connsiteX49909" fmla="*/ 2980409 w 8079933"/>
              <a:gd name="connsiteY49909" fmla="*/ 862916 h 4687251"/>
              <a:gd name="connsiteX49910" fmla="*/ 2981929 w 8079933"/>
              <a:gd name="connsiteY49910" fmla="*/ 860642 h 4687251"/>
              <a:gd name="connsiteX49911" fmla="*/ 2987246 w 8079933"/>
              <a:gd name="connsiteY49911" fmla="*/ 857935 h 4687251"/>
              <a:gd name="connsiteX49912" fmla="*/ 2989200 w 8079933"/>
              <a:gd name="connsiteY49912" fmla="*/ 858585 h 4687251"/>
              <a:gd name="connsiteX49913" fmla="*/ 2992672 w 8079933"/>
              <a:gd name="connsiteY49913" fmla="*/ 860750 h 4687251"/>
              <a:gd name="connsiteX49914" fmla="*/ 2993323 w 8079933"/>
              <a:gd name="connsiteY49914" fmla="*/ 858801 h 4687251"/>
              <a:gd name="connsiteX49915" fmla="*/ 2993323 w 8079933"/>
              <a:gd name="connsiteY49915" fmla="*/ 856311 h 4687251"/>
              <a:gd name="connsiteX49916" fmla="*/ 2990610 w 8079933"/>
              <a:gd name="connsiteY49916" fmla="*/ 853063 h 4687251"/>
              <a:gd name="connsiteX49917" fmla="*/ 2988765 w 8079933"/>
              <a:gd name="connsiteY49917" fmla="*/ 853063 h 4687251"/>
              <a:gd name="connsiteX49918" fmla="*/ 2987355 w 8079933"/>
              <a:gd name="connsiteY49918" fmla="*/ 854471 h 4687251"/>
              <a:gd name="connsiteX49919" fmla="*/ 2984316 w 8079933"/>
              <a:gd name="connsiteY49919" fmla="*/ 854471 h 4687251"/>
              <a:gd name="connsiteX49920" fmla="*/ 2982471 w 8079933"/>
              <a:gd name="connsiteY49920" fmla="*/ 855986 h 4687251"/>
              <a:gd name="connsiteX49921" fmla="*/ 2976069 w 8079933"/>
              <a:gd name="connsiteY49921" fmla="*/ 861291 h 4687251"/>
              <a:gd name="connsiteX49922" fmla="*/ 2974007 w 8079933"/>
              <a:gd name="connsiteY49922" fmla="*/ 861291 h 4687251"/>
              <a:gd name="connsiteX49923" fmla="*/ 2974007 w 8079933"/>
              <a:gd name="connsiteY49923" fmla="*/ 859343 h 4687251"/>
              <a:gd name="connsiteX49924" fmla="*/ 2976611 w 8079933"/>
              <a:gd name="connsiteY49924" fmla="*/ 857177 h 4687251"/>
              <a:gd name="connsiteX49925" fmla="*/ 2977914 w 8079933"/>
              <a:gd name="connsiteY49925" fmla="*/ 853821 h 4687251"/>
              <a:gd name="connsiteX49926" fmla="*/ 2980627 w 8079933"/>
              <a:gd name="connsiteY49926" fmla="*/ 850031 h 4687251"/>
              <a:gd name="connsiteX49927" fmla="*/ 2982689 w 8079933"/>
              <a:gd name="connsiteY49927" fmla="*/ 850031 h 4687251"/>
              <a:gd name="connsiteX49928" fmla="*/ 2985402 w 8079933"/>
              <a:gd name="connsiteY49928" fmla="*/ 850031 h 4687251"/>
              <a:gd name="connsiteX49929" fmla="*/ 2988548 w 8079933"/>
              <a:gd name="connsiteY49929" fmla="*/ 847541 h 4687251"/>
              <a:gd name="connsiteX49930" fmla="*/ 2991695 w 8079933"/>
              <a:gd name="connsiteY49930" fmla="*/ 846892 h 4687251"/>
              <a:gd name="connsiteX49931" fmla="*/ 2993215 w 8079933"/>
              <a:gd name="connsiteY49931" fmla="*/ 845267 h 4687251"/>
              <a:gd name="connsiteX49932" fmla="*/ 2992238 w 8079933"/>
              <a:gd name="connsiteY49932" fmla="*/ 844401 h 4687251"/>
              <a:gd name="connsiteX49933" fmla="*/ 2986703 w 8079933"/>
              <a:gd name="connsiteY49933" fmla="*/ 844401 h 4687251"/>
              <a:gd name="connsiteX49934" fmla="*/ 2983448 w 8079933"/>
              <a:gd name="connsiteY49934" fmla="*/ 847000 h 4687251"/>
              <a:gd name="connsiteX49935" fmla="*/ 2980844 w 8079933"/>
              <a:gd name="connsiteY49935" fmla="*/ 847649 h 4687251"/>
              <a:gd name="connsiteX49936" fmla="*/ 2978239 w 8079933"/>
              <a:gd name="connsiteY49936" fmla="*/ 846783 h 4687251"/>
              <a:gd name="connsiteX49937" fmla="*/ 2973030 w 8079933"/>
              <a:gd name="connsiteY49937" fmla="*/ 847433 h 4687251"/>
              <a:gd name="connsiteX49938" fmla="*/ 2971511 w 8079933"/>
              <a:gd name="connsiteY49938" fmla="*/ 846350 h 4687251"/>
              <a:gd name="connsiteX49939" fmla="*/ 2971511 w 8079933"/>
              <a:gd name="connsiteY49939" fmla="*/ 843643 h 4687251"/>
              <a:gd name="connsiteX49940" fmla="*/ 2974116 w 8079933"/>
              <a:gd name="connsiteY49940" fmla="*/ 841911 h 4687251"/>
              <a:gd name="connsiteX49941" fmla="*/ 2976937 w 8079933"/>
              <a:gd name="connsiteY49941" fmla="*/ 839529 h 4687251"/>
              <a:gd name="connsiteX49942" fmla="*/ 2982797 w 8079933"/>
              <a:gd name="connsiteY49942" fmla="*/ 839529 h 4687251"/>
              <a:gd name="connsiteX49943" fmla="*/ 2990502 w 8079933"/>
              <a:gd name="connsiteY49943" fmla="*/ 837688 h 4687251"/>
              <a:gd name="connsiteX49944" fmla="*/ 2995819 w 8079933"/>
              <a:gd name="connsiteY49944" fmla="*/ 834765 h 4687251"/>
              <a:gd name="connsiteX49945" fmla="*/ 2995819 w 8079933"/>
              <a:gd name="connsiteY49945" fmla="*/ 832816 h 4687251"/>
              <a:gd name="connsiteX49946" fmla="*/ 2994300 w 8079933"/>
              <a:gd name="connsiteY49946" fmla="*/ 831842 h 4687251"/>
              <a:gd name="connsiteX49947" fmla="*/ 2992455 w 8079933"/>
              <a:gd name="connsiteY49947" fmla="*/ 831842 h 4687251"/>
              <a:gd name="connsiteX49948" fmla="*/ 2988982 w 8079933"/>
              <a:gd name="connsiteY49948" fmla="*/ 834007 h 4687251"/>
              <a:gd name="connsiteX49949" fmla="*/ 2984967 w 8079933"/>
              <a:gd name="connsiteY49949" fmla="*/ 835415 h 4687251"/>
              <a:gd name="connsiteX49950" fmla="*/ 2982037 w 8079933"/>
              <a:gd name="connsiteY49950" fmla="*/ 834441 h 4687251"/>
              <a:gd name="connsiteX49951" fmla="*/ 2980084 w 8079933"/>
              <a:gd name="connsiteY49951" fmla="*/ 831409 h 4687251"/>
              <a:gd name="connsiteX49952" fmla="*/ 2978131 w 8079933"/>
              <a:gd name="connsiteY49952" fmla="*/ 830326 h 4687251"/>
              <a:gd name="connsiteX49953" fmla="*/ 2974550 w 8079933"/>
              <a:gd name="connsiteY49953" fmla="*/ 830326 h 4687251"/>
              <a:gd name="connsiteX49954" fmla="*/ 2972813 w 8079933"/>
              <a:gd name="connsiteY49954" fmla="*/ 829243 h 4687251"/>
              <a:gd name="connsiteX49955" fmla="*/ 2972813 w 8079933"/>
              <a:gd name="connsiteY49955" fmla="*/ 827511 h 4687251"/>
              <a:gd name="connsiteX49956" fmla="*/ 2975960 w 8079933"/>
              <a:gd name="connsiteY49956" fmla="*/ 824588 h 4687251"/>
              <a:gd name="connsiteX49957" fmla="*/ 2977914 w 8079933"/>
              <a:gd name="connsiteY49957" fmla="*/ 819499 h 4687251"/>
              <a:gd name="connsiteX49958" fmla="*/ 2980084 w 8079933"/>
              <a:gd name="connsiteY49958" fmla="*/ 817550 h 4687251"/>
              <a:gd name="connsiteX49959" fmla="*/ 2983448 w 8079933"/>
              <a:gd name="connsiteY49959" fmla="*/ 815709 h 4687251"/>
              <a:gd name="connsiteX49960" fmla="*/ 2983448 w 8079933"/>
              <a:gd name="connsiteY49960" fmla="*/ 814410 h 4687251"/>
              <a:gd name="connsiteX49961" fmla="*/ 2981712 w 8079933"/>
              <a:gd name="connsiteY49961" fmla="*/ 814410 h 4687251"/>
              <a:gd name="connsiteX49962" fmla="*/ 2977805 w 8079933"/>
              <a:gd name="connsiteY49962" fmla="*/ 816035 h 4687251"/>
              <a:gd name="connsiteX49963" fmla="*/ 2973573 w 8079933"/>
              <a:gd name="connsiteY49963" fmla="*/ 821772 h 4687251"/>
              <a:gd name="connsiteX49964" fmla="*/ 2973573 w 8079933"/>
              <a:gd name="connsiteY49964" fmla="*/ 823829 h 4687251"/>
              <a:gd name="connsiteX49965" fmla="*/ 2969992 w 8079933"/>
              <a:gd name="connsiteY49965" fmla="*/ 826212 h 4687251"/>
              <a:gd name="connsiteX49966" fmla="*/ 2968907 w 8079933"/>
              <a:gd name="connsiteY49966" fmla="*/ 827511 h 4687251"/>
              <a:gd name="connsiteX49967" fmla="*/ 2967062 w 8079933"/>
              <a:gd name="connsiteY49967" fmla="*/ 827511 h 4687251"/>
              <a:gd name="connsiteX49968" fmla="*/ 2967062 w 8079933"/>
              <a:gd name="connsiteY49968" fmla="*/ 823721 h 4687251"/>
              <a:gd name="connsiteX49969" fmla="*/ 2968256 w 8079933"/>
              <a:gd name="connsiteY49969" fmla="*/ 818092 h 4687251"/>
              <a:gd name="connsiteX49970" fmla="*/ 2968256 w 8079933"/>
              <a:gd name="connsiteY49970" fmla="*/ 812461 h 4687251"/>
              <a:gd name="connsiteX49971" fmla="*/ 2965977 w 8079933"/>
              <a:gd name="connsiteY49971" fmla="*/ 807589 h 4687251"/>
              <a:gd name="connsiteX49972" fmla="*/ 2965325 w 8079933"/>
              <a:gd name="connsiteY49972" fmla="*/ 802825 h 4687251"/>
              <a:gd name="connsiteX49973" fmla="*/ 2966845 w 8079933"/>
              <a:gd name="connsiteY49973" fmla="*/ 799252 h 4687251"/>
              <a:gd name="connsiteX49974" fmla="*/ 2966845 w 8079933"/>
              <a:gd name="connsiteY49974" fmla="*/ 795788 h 4687251"/>
              <a:gd name="connsiteX49975" fmla="*/ 2965651 w 8079933"/>
              <a:gd name="connsiteY49975" fmla="*/ 795788 h 4687251"/>
              <a:gd name="connsiteX49976" fmla="*/ 2964783 w 8079933"/>
              <a:gd name="connsiteY49976" fmla="*/ 797629 h 4687251"/>
              <a:gd name="connsiteX49977" fmla="*/ 2963264 w 8079933"/>
              <a:gd name="connsiteY49977" fmla="*/ 805856 h 4687251"/>
              <a:gd name="connsiteX49978" fmla="*/ 2964675 w 8079933"/>
              <a:gd name="connsiteY49978" fmla="*/ 809430 h 4687251"/>
              <a:gd name="connsiteX49979" fmla="*/ 2966302 w 8079933"/>
              <a:gd name="connsiteY49979" fmla="*/ 813652 h 4687251"/>
              <a:gd name="connsiteX49980" fmla="*/ 2966302 w 8079933"/>
              <a:gd name="connsiteY49980" fmla="*/ 818092 h 4687251"/>
              <a:gd name="connsiteX49981" fmla="*/ 2966302 w 8079933"/>
              <a:gd name="connsiteY49981" fmla="*/ 824696 h 4687251"/>
              <a:gd name="connsiteX49982" fmla="*/ 2964566 w 8079933"/>
              <a:gd name="connsiteY49982" fmla="*/ 827727 h 4687251"/>
              <a:gd name="connsiteX49983" fmla="*/ 2962396 w 8079933"/>
              <a:gd name="connsiteY49983" fmla="*/ 827727 h 4687251"/>
              <a:gd name="connsiteX49984" fmla="*/ 2959683 w 8079933"/>
              <a:gd name="connsiteY49984" fmla="*/ 825021 h 4687251"/>
              <a:gd name="connsiteX49985" fmla="*/ 2957730 w 8079933"/>
              <a:gd name="connsiteY49985" fmla="*/ 822098 h 4687251"/>
              <a:gd name="connsiteX49986" fmla="*/ 2957078 w 8079933"/>
              <a:gd name="connsiteY49986" fmla="*/ 828486 h 4687251"/>
              <a:gd name="connsiteX49987" fmla="*/ 2957078 w 8079933"/>
              <a:gd name="connsiteY49987" fmla="*/ 830218 h 4687251"/>
              <a:gd name="connsiteX49988" fmla="*/ 2955017 w 8079933"/>
              <a:gd name="connsiteY49988" fmla="*/ 830218 h 4687251"/>
              <a:gd name="connsiteX49989" fmla="*/ 2952738 w 8079933"/>
              <a:gd name="connsiteY49989" fmla="*/ 830218 h 4687251"/>
              <a:gd name="connsiteX49990" fmla="*/ 2954799 w 8079933"/>
              <a:gd name="connsiteY49990" fmla="*/ 831842 h 4687251"/>
              <a:gd name="connsiteX49991" fmla="*/ 2955668 w 8079933"/>
              <a:gd name="connsiteY49991" fmla="*/ 834873 h 4687251"/>
              <a:gd name="connsiteX49992" fmla="*/ 2954583 w 8079933"/>
              <a:gd name="connsiteY49992" fmla="*/ 838879 h 4687251"/>
              <a:gd name="connsiteX49993" fmla="*/ 2952630 w 8079933"/>
              <a:gd name="connsiteY49993" fmla="*/ 841586 h 4687251"/>
              <a:gd name="connsiteX49994" fmla="*/ 2948832 w 8079933"/>
              <a:gd name="connsiteY49994" fmla="*/ 842235 h 4687251"/>
              <a:gd name="connsiteX49995" fmla="*/ 2946769 w 8079933"/>
              <a:gd name="connsiteY49995" fmla="*/ 842235 h 4687251"/>
              <a:gd name="connsiteX49996" fmla="*/ 2945467 w 8079933"/>
              <a:gd name="connsiteY49996" fmla="*/ 843643 h 4687251"/>
              <a:gd name="connsiteX49997" fmla="*/ 2942212 w 8079933"/>
              <a:gd name="connsiteY49997" fmla="*/ 846025 h 4687251"/>
              <a:gd name="connsiteX49998" fmla="*/ 2936243 w 8079933"/>
              <a:gd name="connsiteY49998" fmla="*/ 846025 h 4687251"/>
              <a:gd name="connsiteX49999" fmla="*/ 2933965 w 8079933"/>
              <a:gd name="connsiteY49999" fmla="*/ 843751 h 4687251"/>
              <a:gd name="connsiteX50000" fmla="*/ 2933965 w 8079933"/>
              <a:gd name="connsiteY50000" fmla="*/ 840504 h 4687251"/>
              <a:gd name="connsiteX50001" fmla="*/ 2932880 w 8079933"/>
              <a:gd name="connsiteY50001" fmla="*/ 838014 h 4687251"/>
              <a:gd name="connsiteX50002" fmla="*/ 2931035 w 8079933"/>
              <a:gd name="connsiteY50002" fmla="*/ 836281 h 4687251"/>
              <a:gd name="connsiteX50003" fmla="*/ 2928973 w 8079933"/>
              <a:gd name="connsiteY50003" fmla="*/ 836281 h 4687251"/>
              <a:gd name="connsiteX50004" fmla="*/ 2928213 w 8079933"/>
              <a:gd name="connsiteY50004" fmla="*/ 839204 h 4687251"/>
              <a:gd name="connsiteX50005" fmla="*/ 2926802 w 8079933"/>
              <a:gd name="connsiteY50005" fmla="*/ 839204 h 4687251"/>
              <a:gd name="connsiteX50006" fmla="*/ 2925174 w 8079933"/>
              <a:gd name="connsiteY50006" fmla="*/ 833574 h 4687251"/>
              <a:gd name="connsiteX50007" fmla="*/ 2926260 w 8079933"/>
              <a:gd name="connsiteY50007" fmla="*/ 830110 h 4687251"/>
              <a:gd name="connsiteX50008" fmla="*/ 2925283 w 8079933"/>
              <a:gd name="connsiteY50008" fmla="*/ 827619 h 4687251"/>
              <a:gd name="connsiteX50009" fmla="*/ 2923764 w 8079933"/>
              <a:gd name="connsiteY50009" fmla="*/ 826104 h 4687251"/>
              <a:gd name="connsiteX50010" fmla="*/ 2923764 w 8079933"/>
              <a:gd name="connsiteY50010" fmla="*/ 823505 h 4687251"/>
              <a:gd name="connsiteX50011" fmla="*/ 2928213 w 8079933"/>
              <a:gd name="connsiteY50011" fmla="*/ 820906 h 4687251"/>
              <a:gd name="connsiteX50012" fmla="*/ 2932120 w 8079933"/>
              <a:gd name="connsiteY50012" fmla="*/ 820906 h 4687251"/>
              <a:gd name="connsiteX50013" fmla="*/ 2933530 w 8079933"/>
              <a:gd name="connsiteY50013" fmla="*/ 821989 h 4687251"/>
              <a:gd name="connsiteX50014" fmla="*/ 2935701 w 8079933"/>
              <a:gd name="connsiteY50014" fmla="*/ 818416 h 4687251"/>
              <a:gd name="connsiteX50015" fmla="*/ 2938088 w 8079933"/>
              <a:gd name="connsiteY50015" fmla="*/ 817442 h 4687251"/>
              <a:gd name="connsiteX50016" fmla="*/ 2944925 w 8079933"/>
              <a:gd name="connsiteY50016" fmla="*/ 816684 h 4687251"/>
              <a:gd name="connsiteX50017" fmla="*/ 2947204 w 8079933"/>
              <a:gd name="connsiteY50017" fmla="*/ 817333 h 4687251"/>
              <a:gd name="connsiteX50018" fmla="*/ 2952521 w 8079933"/>
              <a:gd name="connsiteY50018" fmla="*/ 811595 h 4687251"/>
              <a:gd name="connsiteX50019" fmla="*/ 2956319 w 8079933"/>
              <a:gd name="connsiteY50019" fmla="*/ 804882 h 4687251"/>
              <a:gd name="connsiteX50020" fmla="*/ 2956319 w 8079933"/>
              <a:gd name="connsiteY50020" fmla="*/ 802933 h 4687251"/>
              <a:gd name="connsiteX50021" fmla="*/ 2955125 w 8079933"/>
              <a:gd name="connsiteY50021" fmla="*/ 802933 h 4687251"/>
              <a:gd name="connsiteX50022" fmla="*/ 2952630 w 8079933"/>
              <a:gd name="connsiteY50022" fmla="*/ 804666 h 4687251"/>
              <a:gd name="connsiteX50023" fmla="*/ 2950350 w 8079933"/>
              <a:gd name="connsiteY50023" fmla="*/ 808672 h 4687251"/>
              <a:gd name="connsiteX50024" fmla="*/ 2946552 w 8079933"/>
              <a:gd name="connsiteY50024" fmla="*/ 813111 h 4687251"/>
              <a:gd name="connsiteX50025" fmla="*/ 2941669 w 8079933"/>
              <a:gd name="connsiteY50025" fmla="*/ 814627 h 4687251"/>
              <a:gd name="connsiteX50026" fmla="*/ 2936135 w 8079933"/>
              <a:gd name="connsiteY50026" fmla="*/ 813436 h 4687251"/>
              <a:gd name="connsiteX50027" fmla="*/ 2932880 w 8079933"/>
              <a:gd name="connsiteY50027" fmla="*/ 810513 h 4687251"/>
              <a:gd name="connsiteX50028" fmla="*/ 2932880 w 8079933"/>
              <a:gd name="connsiteY50028" fmla="*/ 807914 h 4687251"/>
              <a:gd name="connsiteX50029" fmla="*/ 2937003 w 8079933"/>
              <a:gd name="connsiteY50029" fmla="*/ 805532 h 4687251"/>
              <a:gd name="connsiteX50030" fmla="*/ 2941886 w 8079933"/>
              <a:gd name="connsiteY50030" fmla="*/ 801093 h 4687251"/>
              <a:gd name="connsiteX50031" fmla="*/ 2945033 w 8079933"/>
              <a:gd name="connsiteY50031" fmla="*/ 801093 h 4687251"/>
              <a:gd name="connsiteX50032" fmla="*/ 2945901 w 8079933"/>
              <a:gd name="connsiteY50032" fmla="*/ 799577 h 4687251"/>
              <a:gd name="connsiteX50033" fmla="*/ 2945901 w 8079933"/>
              <a:gd name="connsiteY50033" fmla="*/ 796654 h 4687251"/>
              <a:gd name="connsiteX50034" fmla="*/ 2946987 w 8079933"/>
              <a:gd name="connsiteY50034" fmla="*/ 795138 h 4687251"/>
              <a:gd name="connsiteX50035" fmla="*/ 2949373 w 8079933"/>
              <a:gd name="connsiteY50035" fmla="*/ 795138 h 4687251"/>
              <a:gd name="connsiteX50036" fmla="*/ 2951218 w 8079933"/>
              <a:gd name="connsiteY50036" fmla="*/ 793514 h 4687251"/>
              <a:gd name="connsiteX50037" fmla="*/ 2949917 w 8079933"/>
              <a:gd name="connsiteY50037" fmla="*/ 792107 h 4687251"/>
              <a:gd name="connsiteX50038" fmla="*/ 2949917 w 8079933"/>
              <a:gd name="connsiteY50038" fmla="*/ 790158 h 4687251"/>
              <a:gd name="connsiteX50039" fmla="*/ 2948940 w 8079933"/>
              <a:gd name="connsiteY50039" fmla="*/ 789183 h 4687251"/>
              <a:gd name="connsiteX50040" fmla="*/ 2947529 w 8079933"/>
              <a:gd name="connsiteY50040" fmla="*/ 789833 h 4687251"/>
              <a:gd name="connsiteX50041" fmla="*/ 2945359 w 8079933"/>
              <a:gd name="connsiteY50041" fmla="*/ 791782 h 4687251"/>
              <a:gd name="connsiteX50042" fmla="*/ 2939065 w 8079933"/>
              <a:gd name="connsiteY50042" fmla="*/ 791024 h 4687251"/>
              <a:gd name="connsiteX50043" fmla="*/ 2937328 w 8079933"/>
              <a:gd name="connsiteY50043" fmla="*/ 791024 h 4687251"/>
              <a:gd name="connsiteX50044" fmla="*/ 2936243 w 8079933"/>
              <a:gd name="connsiteY50044" fmla="*/ 789508 h 4687251"/>
              <a:gd name="connsiteX50045" fmla="*/ 2937328 w 8079933"/>
              <a:gd name="connsiteY50045" fmla="*/ 786693 h 4687251"/>
              <a:gd name="connsiteX50046" fmla="*/ 2942212 w 8079933"/>
              <a:gd name="connsiteY50046" fmla="*/ 783662 h 4687251"/>
              <a:gd name="connsiteX50047" fmla="*/ 2944599 w 8079933"/>
              <a:gd name="connsiteY50047" fmla="*/ 783662 h 4687251"/>
              <a:gd name="connsiteX50048" fmla="*/ 2947312 w 8079933"/>
              <a:gd name="connsiteY50048" fmla="*/ 785935 h 4687251"/>
              <a:gd name="connsiteX50049" fmla="*/ 2950350 w 8079933"/>
              <a:gd name="connsiteY50049" fmla="*/ 785935 h 4687251"/>
              <a:gd name="connsiteX50050" fmla="*/ 2954908 w 8079933"/>
              <a:gd name="connsiteY50050" fmla="*/ 783986 h 4687251"/>
              <a:gd name="connsiteX50051" fmla="*/ 2957730 w 8079933"/>
              <a:gd name="connsiteY50051" fmla="*/ 777598 h 4687251"/>
              <a:gd name="connsiteX50052" fmla="*/ 2955993 w 8079933"/>
              <a:gd name="connsiteY50052" fmla="*/ 775541 h 4687251"/>
              <a:gd name="connsiteX50053" fmla="*/ 2956536 w 8079933"/>
              <a:gd name="connsiteY50053" fmla="*/ 772185 h 4687251"/>
              <a:gd name="connsiteX50054" fmla="*/ 2961203 w 8079933"/>
              <a:gd name="connsiteY50054" fmla="*/ 767746 h 4687251"/>
              <a:gd name="connsiteX50055" fmla="*/ 2959791 w 8079933"/>
              <a:gd name="connsiteY50055" fmla="*/ 762873 h 4687251"/>
              <a:gd name="connsiteX50056" fmla="*/ 2959791 w 8079933"/>
              <a:gd name="connsiteY50056" fmla="*/ 758001 h 4687251"/>
              <a:gd name="connsiteX50057" fmla="*/ 2958923 w 8079933"/>
              <a:gd name="connsiteY50057" fmla="*/ 755836 h 4687251"/>
              <a:gd name="connsiteX50058" fmla="*/ 2956102 w 8079933"/>
              <a:gd name="connsiteY50058" fmla="*/ 754753 h 4687251"/>
              <a:gd name="connsiteX50059" fmla="*/ 2953715 w 8079933"/>
              <a:gd name="connsiteY50059" fmla="*/ 754753 h 4687251"/>
              <a:gd name="connsiteX50060" fmla="*/ 2951327 w 8079933"/>
              <a:gd name="connsiteY50060" fmla="*/ 752155 h 4687251"/>
              <a:gd name="connsiteX50061" fmla="*/ 2947964 w 8079933"/>
              <a:gd name="connsiteY50061" fmla="*/ 752155 h 4687251"/>
              <a:gd name="connsiteX50062" fmla="*/ 2945142 w 8079933"/>
              <a:gd name="connsiteY50062" fmla="*/ 751072 h 4687251"/>
              <a:gd name="connsiteX50063" fmla="*/ 2945142 w 8079933"/>
              <a:gd name="connsiteY50063" fmla="*/ 749015 h 4687251"/>
              <a:gd name="connsiteX50064" fmla="*/ 2947095 w 8079933"/>
              <a:gd name="connsiteY50064" fmla="*/ 748257 h 4687251"/>
              <a:gd name="connsiteX50065" fmla="*/ 2950676 w 8079933"/>
              <a:gd name="connsiteY50065" fmla="*/ 748907 h 4687251"/>
              <a:gd name="connsiteX50066" fmla="*/ 2952630 w 8079933"/>
              <a:gd name="connsiteY50066" fmla="*/ 747607 h 4687251"/>
              <a:gd name="connsiteX50067" fmla="*/ 2955668 w 8079933"/>
              <a:gd name="connsiteY50067" fmla="*/ 744467 h 4687251"/>
              <a:gd name="connsiteX50068" fmla="*/ 2955668 w 8079933"/>
              <a:gd name="connsiteY50068" fmla="*/ 741111 h 4687251"/>
              <a:gd name="connsiteX50069" fmla="*/ 2958164 w 8079933"/>
              <a:gd name="connsiteY50069" fmla="*/ 738404 h 4687251"/>
              <a:gd name="connsiteX50070" fmla="*/ 2958164 w 8079933"/>
              <a:gd name="connsiteY50070" fmla="*/ 735697 h 4687251"/>
              <a:gd name="connsiteX50071" fmla="*/ 2956428 w 8079933"/>
              <a:gd name="connsiteY50071" fmla="*/ 733749 h 4687251"/>
              <a:gd name="connsiteX50072" fmla="*/ 2953389 w 8079933"/>
              <a:gd name="connsiteY50072" fmla="*/ 733749 h 4687251"/>
              <a:gd name="connsiteX50073" fmla="*/ 2952086 w 8079933"/>
              <a:gd name="connsiteY50073" fmla="*/ 731800 h 4687251"/>
              <a:gd name="connsiteX50074" fmla="*/ 2951435 w 8079933"/>
              <a:gd name="connsiteY50074" fmla="*/ 728877 h 4687251"/>
              <a:gd name="connsiteX50075" fmla="*/ 2953823 w 8079933"/>
              <a:gd name="connsiteY50075" fmla="*/ 726928 h 4687251"/>
              <a:gd name="connsiteX50076" fmla="*/ 2954691 w 8079933"/>
              <a:gd name="connsiteY50076" fmla="*/ 726928 h 4687251"/>
              <a:gd name="connsiteX50077" fmla="*/ 2954691 w 8079933"/>
              <a:gd name="connsiteY50077" fmla="*/ 724979 h 4687251"/>
              <a:gd name="connsiteX50078" fmla="*/ 2952086 w 8079933"/>
              <a:gd name="connsiteY50078" fmla="*/ 720973 h 4687251"/>
              <a:gd name="connsiteX50079" fmla="*/ 2951110 w 8079933"/>
              <a:gd name="connsiteY50079" fmla="*/ 715993 h 4687251"/>
              <a:gd name="connsiteX50080" fmla="*/ 2952955 w 8079933"/>
              <a:gd name="connsiteY50080" fmla="*/ 715126 h 4687251"/>
              <a:gd name="connsiteX50081" fmla="*/ 2955125 w 8079933"/>
              <a:gd name="connsiteY50081" fmla="*/ 717833 h 4687251"/>
              <a:gd name="connsiteX50082" fmla="*/ 2955125 w 8079933"/>
              <a:gd name="connsiteY50082" fmla="*/ 716426 h 4687251"/>
              <a:gd name="connsiteX50083" fmla="*/ 2953823 w 8079933"/>
              <a:gd name="connsiteY50083" fmla="*/ 713610 h 4687251"/>
              <a:gd name="connsiteX50084" fmla="*/ 2953823 w 8079933"/>
              <a:gd name="connsiteY50084" fmla="*/ 711337 h 4687251"/>
              <a:gd name="connsiteX50085" fmla="*/ 2955885 w 8079933"/>
              <a:gd name="connsiteY50085" fmla="*/ 707222 h 4687251"/>
              <a:gd name="connsiteX50086" fmla="*/ 2955017 w 8079933"/>
              <a:gd name="connsiteY50086" fmla="*/ 702892 h 4687251"/>
              <a:gd name="connsiteX50087" fmla="*/ 2952846 w 8079933"/>
              <a:gd name="connsiteY50087" fmla="*/ 699102 h 4687251"/>
              <a:gd name="connsiteX50088" fmla="*/ 2952846 w 8079933"/>
              <a:gd name="connsiteY50088" fmla="*/ 696395 h 4687251"/>
              <a:gd name="connsiteX50089" fmla="*/ 2951761 w 8079933"/>
              <a:gd name="connsiteY50089" fmla="*/ 693580 h 4687251"/>
              <a:gd name="connsiteX50090" fmla="*/ 2953280 w 8079933"/>
              <a:gd name="connsiteY50090" fmla="*/ 690982 h 4687251"/>
              <a:gd name="connsiteX50091" fmla="*/ 2954799 w 8079933"/>
              <a:gd name="connsiteY50091" fmla="*/ 685785 h 4687251"/>
              <a:gd name="connsiteX50092" fmla="*/ 2953063 w 8079933"/>
              <a:gd name="connsiteY50092" fmla="*/ 685785 h 4687251"/>
              <a:gd name="connsiteX50093" fmla="*/ 2950785 w 8079933"/>
              <a:gd name="connsiteY50093" fmla="*/ 685785 h 4687251"/>
              <a:gd name="connsiteX50094" fmla="*/ 2946660 w 8079933"/>
              <a:gd name="connsiteY50094" fmla="*/ 689790 h 4687251"/>
              <a:gd name="connsiteX50095" fmla="*/ 2944165 w 8079933"/>
              <a:gd name="connsiteY50095" fmla="*/ 689790 h 4687251"/>
              <a:gd name="connsiteX50096" fmla="*/ 2942212 w 8079933"/>
              <a:gd name="connsiteY50096" fmla="*/ 691632 h 4687251"/>
              <a:gd name="connsiteX50097" fmla="*/ 2939933 w 8079933"/>
              <a:gd name="connsiteY50097" fmla="*/ 692606 h 4687251"/>
              <a:gd name="connsiteX50098" fmla="*/ 2937871 w 8079933"/>
              <a:gd name="connsiteY50098" fmla="*/ 691523 h 4687251"/>
              <a:gd name="connsiteX50099" fmla="*/ 2939282 w 8079933"/>
              <a:gd name="connsiteY50099" fmla="*/ 689466 h 4687251"/>
              <a:gd name="connsiteX50100" fmla="*/ 2943514 w 8079933"/>
              <a:gd name="connsiteY50100" fmla="*/ 686326 h 4687251"/>
              <a:gd name="connsiteX50101" fmla="*/ 2945901 w 8079933"/>
              <a:gd name="connsiteY50101" fmla="*/ 686326 h 4687251"/>
              <a:gd name="connsiteX50102" fmla="*/ 2948289 w 8079933"/>
              <a:gd name="connsiteY50102" fmla="*/ 683294 h 4687251"/>
              <a:gd name="connsiteX50103" fmla="*/ 2949373 w 8079933"/>
              <a:gd name="connsiteY50103" fmla="*/ 679614 h 4687251"/>
              <a:gd name="connsiteX50104" fmla="*/ 2952955 w 8079933"/>
              <a:gd name="connsiteY50104" fmla="*/ 676690 h 4687251"/>
              <a:gd name="connsiteX50105" fmla="*/ 2956753 w 8079933"/>
              <a:gd name="connsiteY50105" fmla="*/ 675174 h 4687251"/>
              <a:gd name="connsiteX50106" fmla="*/ 2958055 w 8079933"/>
              <a:gd name="connsiteY50106" fmla="*/ 671926 h 4687251"/>
              <a:gd name="connsiteX50107" fmla="*/ 2958055 w 8079933"/>
              <a:gd name="connsiteY50107" fmla="*/ 668786 h 4687251"/>
              <a:gd name="connsiteX50108" fmla="*/ 2955885 w 8079933"/>
              <a:gd name="connsiteY50108" fmla="*/ 666080 h 4687251"/>
              <a:gd name="connsiteX50109" fmla="*/ 2953063 w 8079933"/>
              <a:gd name="connsiteY50109" fmla="*/ 662290 h 4687251"/>
              <a:gd name="connsiteX50110" fmla="*/ 2951978 w 8079933"/>
              <a:gd name="connsiteY50110" fmla="*/ 658501 h 4687251"/>
              <a:gd name="connsiteX50111" fmla="*/ 2950893 w 8079933"/>
              <a:gd name="connsiteY50111" fmla="*/ 657526 h 4687251"/>
              <a:gd name="connsiteX50112" fmla="*/ 2945467 w 8079933"/>
              <a:gd name="connsiteY50112" fmla="*/ 657526 h 4687251"/>
              <a:gd name="connsiteX50113" fmla="*/ 2942971 w 8079933"/>
              <a:gd name="connsiteY50113" fmla="*/ 654278 h 4687251"/>
              <a:gd name="connsiteX50114" fmla="*/ 2942971 w 8079933"/>
              <a:gd name="connsiteY50114" fmla="*/ 650921 h 4687251"/>
              <a:gd name="connsiteX50115" fmla="*/ 2944382 w 8079933"/>
              <a:gd name="connsiteY50115" fmla="*/ 649298 h 4687251"/>
              <a:gd name="connsiteX50116" fmla="*/ 2943406 w 8079933"/>
              <a:gd name="connsiteY50116" fmla="*/ 647241 h 4687251"/>
              <a:gd name="connsiteX50117" fmla="*/ 2943406 w 8079933"/>
              <a:gd name="connsiteY50117" fmla="*/ 642910 h 4687251"/>
              <a:gd name="connsiteX50118" fmla="*/ 2941561 w 8079933"/>
              <a:gd name="connsiteY50118" fmla="*/ 639229 h 4687251"/>
              <a:gd name="connsiteX50119" fmla="*/ 2933422 w 8079933"/>
              <a:gd name="connsiteY50119" fmla="*/ 632408 h 4687251"/>
              <a:gd name="connsiteX50120" fmla="*/ 2933422 w 8079933"/>
              <a:gd name="connsiteY50120" fmla="*/ 630783 h 4687251"/>
              <a:gd name="connsiteX50121" fmla="*/ 2931577 w 8079933"/>
              <a:gd name="connsiteY50121" fmla="*/ 627644 h 4687251"/>
              <a:gd name="connsiteX50122" fmla="*/ 2929732 w 8079933"/>
              <a:gd name="connsiteY50122" fmla="*/ 625803 h 4687251"/>
              <a:gd name="connsiteX50123" fmla="*/ 2929732 w 8079933"/>
              <a:gd name="connsiteY50123" fmla="*/ 623854 h 4687251"/>
              <a:gd name="connsiteX50124" fmla="*/ 2931252 w 8079933"/>
              <a:gd name="connsiteY50124" fmla="*/ 622989 h 4687251"/>
              <a:gd name="connsiteX50125" fmla="*/ 2936026 w 8079933"/>
              <a:gd name="connsiteY50125" fmla="*/ 618874 h 4687251"/>
              <a:gd name="connsiteX50126" fmla="*/ 2938739 w 8079933"/>
              <a:gd name="connsiteY50126" fmla="*/ 617358 h 4687251"/>
              <a:gd name="connsiteX50127" fmla="*/ 2940150 w 8079933"/>
              <a:gd name="connsiteY50127" fmla="*/ 614760 h 4687251"/>
              <a:gd name="connsiteX50128" fmla="*/ 2939065 w 8079933"/>
              <a:gd name="connsiteY50128" fmla="*/ 613569 h 4687251"/>
              <a:gd name="connsiteX50129" fmla="*/ 2935266 w 8079933"/>
              <a:gd name="connsiteY50129" fmla="*/ 613569 h 4687251"/>
              <a:gd name="connsiteX50130" fmla="*/ 2935266 w 8079933"/>
              <a:gd name="connsiteY50130" fmla="*/ 611945 h 4687251"/>
              <a:gd name="connsiteX50131" fmla="*/ 2937979 w 8079933"/>
              <a:gd name="connsiteY50131" fmla="*/ 609779 h 4687251"/>
              <a:gd name="connsiteX50132" fmla="*/ 2940150 w 8079933"/>
              <a:gd name="connsiteY50132" fmla="*/ 605341 h 4687251"/>
              <a:gd name="connsiteX50133" fmla="*/ 2941658 w 8079933"/>
              <a:gd name="connsiteY50133" fmla="*/ 603621 h 4687251"/>
              <a:gd name="connsiteX50134" fmla="*/ 2942429 w 8079933"/>
              <a:gd name="connsiteY50134" fmla="*/ 604582 h 4687251"/>
              <a:gd name="connsiteX50135" fmla="*/ 2942429 w 8079933"/>
              <a:gd name="connsiteY50135" fmla="*/ 602742 h 4687251"/>
              <a:gd name="connsiteX50136" fmla="*/ 2941658 w 8079933"/>
              <a:gd name="connsiteY50136" fmla="*/ 603621 h 4687251"/>
              <a:gd name="connsiteX50137" fmla="*/ 2941561 w 8079933"/>
              <a:gd name="connsiteY50137" fmla="*/ 603499 h 4687251"/>
              <a:gd name="connsiteX50138" fmla="*/ 2943080 w 8079933"/>
              <a:gd name="connsiteY50138" fmla="*/ 600468 h 4687251"/>
              <a:gd name="connsiteX50139" fmla="*/ 2941126 w 8079933"/>
              <a:gd name="connsiteY50139" fmla="*/ 598195 h 4687251"/>
              <a:gd name="connsiteX50140" fmla="*/ 2938848 w 8079933"/>
              <a:gd name="connsiteY50140" fmla="*/ 597437 h 4687251"/>
              <a:gd name="connsiteX50141" fmla="*/ 2935158 w 8079933"/>
              <a:gd name="connsiteY50141" fmla="*/ 592889 h 4687251"/>
              <a:gd name="connsiteX50142" fmla="*/ 2929949 w 8079933"/>
              <a:gd name="connsiteY50142" fmla="*/ 588884 h 4687251"/>
              <a:gd name="connsiteX50143" fmla="*/ 2928539 w 8079933"/>
              <a:gd name="connsiteY50143" fmla="*/ 585310 h 4687251"/>
              <a:gd name="connsiteX50144" fmla="*/ 2926368 w 8079933"/>
              <a:gd name="connsiteY50144" fmla="*/ 583902 h 4687251"/>
              <a:gd name="connsiteX50145" fmla="*/ 2924632 w 8079933"/>
              <a:gd name="connsiteY50145" fmla="*/ 583902 h 4687251"/>
              <a:gd name="connsiteX50146" fmla="*/ 2924632 w 8079933"/>
              <a:gd name="connsiteY50146" fmla="*/ 586068 h 4687251"/>
              <a:gd name="connsiteX50147" fmla="*/ 2922679 w 8079933"/>
              <a:gd name="connsiteY50147" fmla="*/ 586068 h 4687251"/>
              <a:gd name="connsiteX50148" fmla="*/ 2921485 w 8079933"/>
              <a:gd name="connsiteY50148" fmla="*/ 584985 h 4687251"/>
              <a:gd name="connsiteX50149" fmla="*/ 2920617 w 8079933"/>
              <a:gd name="connsiteY50149" fmla="*/ 581413 h 4687251"/>
              <a:gd name="connsiteX50150" fmla="*/ 2918121 w 8079933"/>
              <a:gd name="connsiteY50150" fmla="*/ 579138 h 4687251"/>
              <a:gd name="connsiteX50151" fmla="*/ 2914865 w 8079933"/>
              <a:gd name="connsiteY50151" fmla="*/ 576865 h 4687251"/>
              <a:gd name="connsiteX50152" fmla="*/ 2912587 w 8079933"/>
              <a:gd name="connsiteY50152" fmla="*/ 574050 h 4687251"/>
              <a:gd name="connsiteX50153" fmla="*/ 2910634 w 8079933"/>
              <a:gd name="connsiteY50153" fmla="*/ 573292 h 4687251"/>
              <a:gd name="connsiteX50154" fmla="*/ 2909548 w 8079933"/>
              <a:gd name="connsiteY50154" fmla="*/ 574375 h 4687251"/>
              <a:gd name="connsiteX50155" fmla="*/ 2907595 w 8079933"/>
              <a:gd name="connsiteY50155" fmla="*/ 574375 h 4687251"/>
              <a:gd name="connsiteX50156" fmla="*/ 2907595 w 8079933"/>
              <a:gd name="connsiteY50156" fmla="*/ 572859 h 4687251"/>
              <a:gd name="connsiteX50157" fmla="*/ 2908463 w 8079933"/>
              <a:gd name="connsiteY50157" fmla="*/ 568745 h 4687251"/>
              <a:gd name="connsiteX50158" fmla="*/ 2902929 w 8079933"/>
              <a:gd name="connsiteY50158" fmla="*/ 564414 h 4687251"/>
              <a:gd name="connsiteX50159" fmla="*/ 2898588 w 8079933"/>
              <a:gd name="connsiteY50159" fmla="*/ 559975 h 4687251"/>
              <a:gd name="connsiteX50160" fmla="*/ 2896851 w 8079933"/>
              <a:gd name="connsiteY50160" fmla="*/ 559975 h 4687251"/>
              <a:gd name="connsiteX50161" fmla="*/ 2894464 w 8079933"/>
              <a:gd name="connsiteY50161" fmla="*/ 562573 h 4687251"/>
              <a:gd name="connsiteX50162" fmla="*/ 2890667 w 8079933"/>
              <a:gd name="connsiteY50162" fmla="*/ 561058 h 4687251"/>
              <a:gd name="connsiteX50163" fmla="*/ 2884156 w 8079933"/>
              <a:gd name="connsiteY50163" fmla="*/ 555428 h 4687251"/>
              <a:gd name="connsiteX50164" fmla="*/ 2878838 w 8079933"/>
              <a:gd name="connsiteY50164" fmla="*/ 553695 h 4687251"/>
              <a:gd name="connsiteX50165" fmla="*/ 2875583 w 8079933"/>
              <a:gd name="connsiteY50165" fmla="*/ 550230 h 4687251"/>
              <a:gd name="connsiteX50166" fmla="*/ 2871459 w 8079933"/>
              <a:gd name="connsiteY50166" fmla="*/ 548715 h 4687251"/>
              <a:gd name="connsiteX50167" fmla="*/ 2866467 w 8079933"/>
              <a:gd name="connsiteY50167" fmla="*/ 549365 h 4687251"/>
              <a:gd name="connsiteX50168" fmla="*/ 2863320 w 8079933"/>
              <a:gd name="connsiteY50168" fmla="*/ 552288 h 4687251"/>
              <a:gd name="connsiteX50169" fmla="*/ 2860716 w 8079933"/>
              <a:gd name="connsiteY50169" fmla="*/ 557052 h 4687251"/>
              <a:gd name="connsiteX50170" fmla="*/ 2856375 w 8079933"/>
              <a:gd name="connsiteY50170" fmla="*/ 560192 h 4687251"/>
              <a:gd name="connsiteX50171" fmla="*/ 2854530 w 8079933"/>
              <a:gd name="connsiteY50171" fmla="*/ 562573 h 4687251"/>
              <a:gd name="connsiteX50172" fmla="*/ 2854530 w 8079933"/>
              <a:gd name="connsiteY50172" fmla="*/ 558243 h 4687251"/>
              <a:gd name="connsiteX50173" fmla="*/ 2856809 w 8079933"/>
              <a:gd name="connsiteY50173" fmla="*/ 554236 h 4687251"/>
              <a:gd name="connsiteX50174" fmla="*/ 2856809 w 8079933"/>
              <a:gd name="connsiteY50174" fmla="*/ 549906 h 4687251"/>
              <a:gd name="connsiteX50175" fmla="*/ 2855398 w 8079933"/>
              <a:gd name="connsiteY50175" fmla="*/ 548390 h 4687251"/>
              <a:gd name="connsiteX50176" fmla="*/ 2850949 w 8079933"/>
              <a:gd name="connsiteY50176" fmla="*/ 548390 h 4687251"/>
              <a:gd name="connsiteX50177" fmla="*/ 2848562 w 8079933"/>
              <a:gd name="connsiteY50177" fmla="*/ 551530 h 4687251"/>
              <a:gd name="connsiteX50178" fmla="*/ 2848562 w 8079933"/>
              <a:gd name="connsiteY50178" fmla="*/ 554453 h 4687251"/>
              <a:gd name="connsiteX50179" fmla="*/ 2845306 w 8079933"/>
              <a:gd name="connsiteY50179" fmla="*/ 556510 h 4687251"/>
              <a:gd name="connsiteX50180" fmla="*/ 2842919 w 8079933"/>
              <a:gd name="connsiteY50180" fmla="*/ 554995 h 4687251"/>
              <a:gd name="connsiteX50181" fmla="*/ 2840206 w 8079933"/>
              <a:gd name="connsiteY50181" fmla="*/ 549148 h 4687251"/>
              <a:gd name="connsiteX50182" fmla="*/ 2837493 w 8079933"/>
              <a:gd name="connsiteY50182" fmla="*/ 548065 h 4687251"/>
              <a:gd name="connsiteX50183" fmla="*/ 2836842 w 8079933"/>
              <a:gd name="connsiteY50183" fmla="*/ 550988 h 4687251"/>
              <a:gd name="connsiteX50184" fmla="*/ 2834563 w 8079933"/>
              <a:gd name="connsiteY50184" fmla="*/ 559109 h 4687251"/>
              <a:gd name="connsiteX50185" fmla="*/ 2832827 w 8079933"/>
              <a:gd name="connsiteY50185" fmla="*/ 560300 h 4687251"/>
              <a:gd name="connsiteX50186" fmla="*/ 2829572 w 8079933"/>
              <a:gd name="connsiteY50186" fmla="*/ 559109 h 4687251"/>
              <a:gd name="connsiteX50187" fmla="*/ 2829572 w 8079933"/>
              <a:gd name="connsiteY50187" fmla="*/ 554453 h 4687251"/>
              <a:gd name="connsiteX50188" fmla="*/ 2831634 w 8079933"/>
              <a:gd name="connsiteY50188" fmla="*/ 550123 h 4687251"/>
              <a:gd name="connsiteX50189" fmla="*/ 2835215 w 8079933"/>
              <a:gd name="connsiteY50189" fmla="*/ 547416 h 4687251"/>
              <a:gd name="connsiteX50190" fmla="*/ 2834347 w 8079933"/>
              <a:gd name="connsiteY50190" fmla="*/ 545467 h 4687251"/>
              <a:gd name="connsiteX50191" fmla="*/ 2831199 w 8079933"/>
              <a:gd name="connsiteY50191" fmla="*/ 545467 h 4687251"/>
              <a:gd name="connsiteX50192" fmla="*/ 2829789 w 8079933"/>
              <a:gd name="connsiteY50192" fmla="*/ 544059 h 4687251"/>
              <a:gd name="connsiteX50193" fmla="*/ 2825339 w 8079933"/>
              <a:gd name="connsiteY50193" fmla="*/ 546983 h 4687251"/>
              <a:gd name="connsiteX50194" fmla="*/ 2822084 w 8079933"/>
              <a:gd name="connsiteY50194" fmla="*/ 546983 h 4687251"/>
              <a:gd name="connsiteX50195" fmla="*/ 2820890 w 8079933"/>
              <a:gd name="connsiteY50195" fmla="*/ 549581 h 4687251"/>
              <a:gd name="connsiteX50196" fmla="*/ 2819480 w 8079933"/>
              <a:gd name="connsiteY50196" fmla="*/ 550664 h 4687251"/>
              <a:gd name="connsiteX50197" fmla="*/ 2818611 w 8079933"/>
              <a:gd name="connsiteY50197" fmla="*/ 548282 h 4687251"/>
              <a:gd name="connsiteX50198" fmla="*/ 2818611 w 8079933"/>
              <a:gd name="connsiteY50198" fmla="*/ 545575 h 4687251"/>
              <a:gd name="connsiteX50199" fmla="*/ 2816875 w 8079933"/>
              <a:gd name="connsiteY50199" fmla="*/ 541135 h 4687251"/>
              <a:gd name="connsiteX50200" fmla="*/ 2815790 w 8079933"/>
              <a:gd name="connsiteY50200" fmla="*/ 537238 h 4687251"/>
              <a:gd name="connsiteX50201" fmla="*/ 2814270 w 8079933"/>
              <a:gd name="connsiteY50201" fmla="*/ 537238 h 4687251"/>
              <a:gd name="connsiteX50202" fmla="*/ 2811992 w 8079933"/>
              <a:gd name="connsiteY50202" fmla="*/ 538104 h 4687251"/>
              <a:gd name="connsiteX50203" fmla="*/ 2811992 w 8079933"/>
              <a:gd name="connsiteY50203" fmla="*/ 541028 h 4687251"/>
              <a:gd name="connsiteX50204" fmla="*/ 2810798 w 8079933"/>
              <a:gd name="connsiteY50204" fmla="*/ 545792 h 4687251"/>
              <a:gd name="connsiteX50205" fmla="*/ 2808736 w 8079933"/>
              <a:gd name="connsiteY50205" fmla="*/ 547633 h 4687251"/>
              <a:gd name="connsiteX50206" fmla="*/ 2808736 w 8079933"/>
              <a:gd name="connsiteY50206" fmla="*/ 551097 h 4687251"/>
              <a:gd name="connsiteX50207" fmla="*/ 2809604 w 8079933"/>
              <a:gd name="connsiteY50207" fmla="*/ 557485 h 4687251"/>
              <a:gd name="connsiteX50208" fmla="*/ 2809604 w 8079933"/>
              <a:gd name="connsiteY50208" fmla="*/ 560408 h 4687251"/>
              <a:gd name="connsiteX50209" fmla="*/ 2808519 w 8079933"/>
              <a:gd name="connsiteY50209" fmla="*/ 561924 h 4687251"/>
              <a:gd name="connsiteX50210" fmla="*/ 2805047 w 8079933"/>
              <a:gd name="connsiteY50210" fmla="*/ 559867 h 4687251"/>
              <a:gd name="connsiteX50211" fmla="*/ 2801031 w 8079933"/>
              <a:gd name="connsiteY50211" fmla="*/ 555752 h 4687251"/>
              <a:gd name="connsiteX50212" fmla="*/ 2796257 w 8079933"/>
              <a:gd name="connsiteY50212" fmla="*/ 553695 h 4687251"/>
              <a:gd name="connsiteX50213" fmla="*/ 2791807 w 8079933"/>
              <a:gd name="connsiteY50213" fmla="*/ 550447 h 4687251"/>
              <a:gd name="connsiteX50214" fmla="*/ 2788009 w 8079933"/>
              <a:gd name="connsiteY50214" fmla="*/ 546333 h 4687251"/>
              <a:gd name="connsiteX50215" fmla="*/ 2785079 w 8079933"/>
              <a:gd name="connsiteY50215" fmla="*/ 544601 h 4687251"/>
              <a:gd name="connsiteX50216" fmla="*/ 2785079 w 8079933"/>
              <a:gd name="connsiteY50216" fmla="*/ 543410 h 4687251"/>
              <a:gd name="connsiteX50217" fmla="*/ 2786924 w 8079933"/>
              <a:gd name="connsiteY50217" fmla="*/ 542002 h 4687251"/>
              <a:gd name="connsiteX50218" fmla="*/ 2781933 w 8079933"/>
              <a:gd name="connsiteY50218" fmla="*/ 540269 h 4687251"/>
              <a:gd name="connsiteX50219" fmla="*/ 2778677 w 8079933"/>
              <a:gd name="connsiteY50219" fmla="*/ 533016 h 4687251"/>
              <a:gd name="connsiteX50220" fmla="*/ 2776290 w 8079933"/>
              <a:gd name="connsiteY50220" fmla="*/ 529768 h 4687251"/>
              <a:gd name="connsiteX50221" fmla="*/ 2772492 w 8079933"/>
              <a:gd name="connsiteY50221" fmla="*/ 525437 h 4687251"/>
              <a:gd name="connsiteX50222" fmla="*/ 2772492 w 8079933"/>
              <a:gd name="connsiteY50222" fmla="*/ 520240 h 4687251"/>
              <a:gd name="connsiteX50223" fmla="*/ 2774553 w 8079933"/>
              <a:gd name="connsiteY50223" fmla="*/ 517641 h 4687251"/>
              <a:gd name="connsiteX50224" fmla="*/ 2780956 w 8079933"/>
              <a:gd name="connsiteY50224" fmla="*/ 517641 h 4687251"/>
              <a:gd name="connsiteX50225" fmla="*/ 2783561 w 8079933"/>
              <a:gd name="connsiteY50225" fmla="*/ 514935 h 4687251"/>
              <a:gd name="connsiteX50226" fmla="*/ 2787359 w 8079933"/>
              <a:gd name="connsiteY50226" fmla="*/ 513852 h 4687251"/>
              <a:gd name="connsiteX50227" fmla="*/ 2793544 w 8079933"/>
              <a:gd name="connsiteY50227" fmla="*/ 513852 h 4687251"/>
              <a:gd name="connsiteX50228" fmla="*/ 2795064 w 8079933"/>
              <a:gd name="connsiteY50228" fmla="*/ 515367 h 4687251"/>
              <a:gd name="connsiteX50229" fmla="*/ 2798210 w 8079933"/>
              <a:gd name="connsiteY50229" fmla="*/ 513094 h 4687251"/>
              <a:gd name="connsiteX50230" fmla="*/ 2800163 w 8079933"/>
              <a:gd name="connsiteY50230" fmla="*/ 510171 h 4687251"/>
              <a:gd name="connsiteX50231" fmla="*/ 2800163 w 8079933"/>
              <a:gd name="connsiteY50231" fmla="*/ 507897 h 4687251"/>
              <a:gd name="connsiteX50232" fmla="*/ 2795389 w 8079933"/>
              <a:gd name="connsiteY50232" fmla="*/ 507897 h 4687251"/>
              <a:gd name="connsiteX50233" fmla="*/ 2789204 w 8079933"/>
              <a:gd name="connsiteY50233" fmla="*/ 504649 h 4687251"/>
              <a:gd name="connsiteX50234" fmla="*/ 2786924 w 8079933"/>
              <a:gd name="connsiteY50234" fmla="*/ 504649 h 4687251"/>
              <a:gd name="connsiteX50235" fmla="*/ 2785188 w 8079933"/>
              <a:gd name="connsiteY50235" fmla="*/ 506923 h 4687251"/>
              <a:gd name="connsiteX50236" fmla="*/ 2778135 w 8079933"/>
              <a:gd name="connsiteY50236" fmla="*/ 500101 h 4687251"/>
              <a:gd name="connsiteX50237" fmla="*/ 2777483 w 8079933"/>
              <a:gd name="connsiteY50237" fmla="*/ 493930 h 4687251"/>
              <a:gd name="connsiteX50238" fmla="*/ 2780196 w 8079933"/>
              <a:gd name="connsiteY50238" fmla="*/ 491548 h 4687251"/>
              <a:gd name="connsiteX50239" fmla="*/ 2783669 w 8079933"/>
              <a:gd name="connsiteY50239" fmla="*/ 489707 h 4687251"/>
              <a:gd name="connsiteX50240" fmla="*/ 2785622 w 8079933"/>
              <a:gd name="connsiteY50240" fmla="*/ 484186 h 4687251"/>
              <a:gd name="connsiteX50241" fmla="*/ 2787467 w 8079933"/>
              <a:gd name="connsiteY50241" fmla="*/ 481803 h 4687251"/>
              <a:gd name="connsiteX50242" fmla="*/ 2784320 w 8079933"/>
              <a:gd name="connsiteY50242" fmla="*/ 481803 h 4687251"/>
              <a:gd name="connsiteX50243" fmla="*/ 2782041 w 8079933"/>
              <a:gd name="connsiteY50243" fmla="*/ 483320 h 4687251"/>
              <a:gd name="connsiteX50244" fmla="*/ 2779112 w 8079933"/>
              <a:gd name="connsiteY50244" fmla="*/ 488841 h 4687251"/>
              <a:gd name="connsiteX50245" fmla="*/ 2776507 w 8079933"/>
              <a:gd name="connsiteY50245" fmla="*/ 488841 h 4687251"/>
              <a:gd name="connsiteX50246" fmla="*/ 2774662 w 8079933"/>
              <a:gd name="connsiteY50246" fmla="*/ 490249 h 4687251"/>
              <a:gd name="connsiteX50247" fmla="*/ 2771949 w 8079933"/>
              <a:gd name="connsiteY50247" fmla="*/ 493496 h 4687251"/>
              <a:gd name="connsiteX50248" fmla="*/ 2766957 w 8079933"/>
              <a:gd name="connsiteY50248" fmla="*/ 491440 h 4687251"/>
              <a:gd name="connsiteX50249" fmla="*/ 2765546 w 8079933"/>
              <a:gd name="connsiteY50249" fmla="*/ 487109 h 4687251"/>
              <a:gd name="connsiteX50250" fmla="*/ 2766741 w 8079933"/>
              <a:gd name="connsiteY50250" fmla="*/ 483536 h 4687251"/>
              <a:gd name="connsiteX50251" fmla="*/ 2769670 w 8079933"/>
              <a:gd name="connsiteY50251" fmla="*/ 481587 h 4687251"/>
              <a:gd name="connsiteX50252" fmla="*/ 2768259 w 8079933"/>
              <a:gd name="connsiteY50252" fmla="*/ 480071 h 4687251"/>
              <a:gd name="connsiteX50253" fmla="*/ 2765655 w 8079933"/>
              <a:gd name="connsiteY50253" fmla="*/ 480071 h 4687251"/>
              <a:gd name="connsiteX50254" fmla="*/ 2763919 w 8079933"/>
              <a:gd name="connsiteY50254" fmla="*/ 481046 h 4687251"/>
              <a:gd name="connsiteX50255" fmla="*/ 2763919 w 8079933"/>
              <a:gd name="connsiteY50255" fmla="*/ 474225 h 4687251"/>
              <a:gd name="connsiteX50256" fmla="*/ 2765764 w 8079933"/>
              <a:gd name="connsiteY50256" fmla="*/ 471301 h 4687251"/>
              <a:gd name="connsiteX50257" fmla="*/ 2767609 w 8079933"/>
              <a:gd name="connsiteY50257" fmla="*/ 471301 h 4687251"/>
              <a:gd name="connsiteX50258" fmla="*/ 2769345 w 8079933"/>
              <a:gd name="connsiteY50258" fmla="*/ 469244 h 4687251"/>
              <a:gd name="connsiteX50259" fmla="*/ 2772492 w 8079933"/>
              <a:gd name="connsiteY50259" fmla="*/ 469244 h 4687251"/>
              <a:gd name="connsiteX50260" fmla="*/ 2774879 w 8079933"/>
              <a:gd name="connsiteY50260" fmla="*/ 471301 h 4687251"/>
              <a:gd name="connsiteX50261" fmla="*/ 2774879 w 8079933"/>
              <a:gd name="connsiteY50261" fmla="*/ 465996 h 4687251"/>
              <a:gd name="connsiteX50262" fmla="*/ 2782801 w 8079933"/>
              <a:gd name="connsiteY50262" fmla="*/ 463073 h 4687251"/>
              <a:gd name="connsiteX50263" fmla="*/ 2790722 w 8079933"/>
              <a:gd name="connsiteY50263" fmla="*/ 464914 h 4687251"/>
              <a:gd name="connsiteX50264" fmla="*/ 2796040 w 8079933"/>
              <a:gd name="connsiteY50264" fmla="*/ 468703 h 4687251"/>
              <a:gd name="connsiteX50265" fmla="*/ 2804504 w 8079933"/>
              <a:gd name="connsiteY50265" fmla="*/ 468703 h 4687251"/>
              <a:gd name="connsiteX50266" fmla="*/ 2812751 w 8079933"/>
              <a:gd name="connsiteY50266" fmla="*/ 472817 h 4687251"/>
              <a:gd name="connsiteX50267" fmla="*/ 2819480 w 8079933"/>
              <a:gd name="connsiteY50267" fmla="*/ 472817 h 4687251"/>
              <a:gd name="connsiteX50268" fmla="*/ 2822952 w 8079933"/>
              <a:gd name="connsiteY50268" fmla="*/ 474550 h 4687251"/>
              <a:gd name="connsiteX50269" fmla="*/ 2831525 w 8079933"/>
              <a:gd name="connsiteY50269" fmla="*/ 479530 h 4687251"/>
              <a:gd name="connsiteX50270" fmla="*/ 2835215 w 8079933"/>
              <a:gd name="connsiteY50270" fmla="*/ 479530 h 4687251"/>
              <a:gd name="connsiteX50271" fmla="*/ 2837818 w 8079933"/>
              <a:gd name="connsiteY50271" fmla="*/ 479530 h 4687251"/>
              <a:gd name="connsiteX50272" fmla="*/ 2843353 w 8079933"/>
              <a:gd name="connsiteY50272" fmla="*/ 477473 h 4687251"/>
              <a:gd name="connsiteX50273" fmla="*/ 2839555 w 8079933"/>
              <a:gd name="connsiteY50273" fmla="*/ 476607 h 4687251"/>
              <a:gd name="connsiteX50274" fmla="*/ 2835431 w 8079933"/>
              <a:gd name="connsiteY50274" fmla="*/ 476607 h 4687251"/>
              <a:gd name="connsiteX50275" fmla="*/ 2828052 w 8079933"/>
              <a:gd name="connsiteY50275" fmla="*/ 473142 h 4687251"/>
              <a:gd name="connsiteX50276" fmla="*/ 2821975 w 8079933"/>
              <a:gd name="connsiteY50276" fmla="*/ 468378 h 4687251"/>
              <a:gd name="connsiteX50277" fmla="*/ 2816983 w 8079933"/>
              <a:gd name="connsiteY50277" fmla="*/ 467728 h 4687251"/>
              <a:gd name="connsiteX50278" fmla="*/ 2810256 w 8079933"/>
              <a:gd name="connsiteY50278" fmla="*/ 466754 h 4687251"/>
              <a:gd name="connsiteX50279" fmla="*/ 2805806 w 8079933"/>
              <a:gd name="connsiteY50279" fmla="*/ 463181 h 4687251"/>
              <a:gd name="connsiteX50280" fmla="*/ 2805806 w 8079933"/>
              <a:gd name="connsiteY50280" fmla="*/ 460907 h 4687251"/>
              <a:gd name="connsiteX50281" fmla="*/ 2814270 w 8079933"/>
              <a:gd name="connsiteY50281" fmla="*/ 459067 h 4687251"/>
              <a:gd name="connsiteX50282" fmla="*/ 2820456 w 8079933"/>
              <a:gd name="connsiteY50282" fmla="*/ 459716 h 4687251"/>
              <a:gd name="connsiteX50283" fmla="*/ 2830222 w 8079933"/>
              <a:gd name="connsiteY50283" fmla="*/ 459716 h 4687251"/>
              <a:gd name="connsiteX50284" fmla="*/ 2837601 w 8079933"/>
              <a:gd name="connsiteY50284" fmla="*/ 462640 h 4687251"/>
              <a:gd name="connsiteX50285" fmla="*/ 2840857 w 8079933"/>
              <a:gd name="connsiteY50285" fmla="*/ 466213 h 4687251"/>
              <a:gd name="connsiteX50286" fmla="*/ 2843679 w 8079933"/>
              <a:gd name="connsiteY50286" fmla="*/ 467187 h 4687251"/>
              <a:gd name="connsiteX50287" fmla="*/ 2845198 w 8079933"/>
              <a:gd name="connsiteY50287" fmla="*/ 468703 h 4687251"/>
              <a:gd name="connsiteX50288" fmla="*/ 2848887 w 8079933"/>
              <a:gd name="connsiteY50288" fmla="*/ 470761 h 4687251"/>
              <a:gd name="connsiteX50289" fmla="*/ 2848887 w 8079933"/>
              <a:gd name="connsiteY50289" fmla="*/ 468378 h 4687251"/>
              <a:gd name="connsiteX50290" fmla="*/ 2847477 w 8079933"/>
              <a:gd name="connsiteY50290" fmla="*/ 466321 h 4687251"/>
              <a:gd name="connsiteX50291" fmla="*/ 2847477 w 8079933"/>
              <a:gd name="connsiteY50291" fmla="*/ 463073 h 4687251"/>
              <a:gd name="connsiteX50292" fmla="*/ 2852794 w 8079933"/>
              <a:gd name="connsiteY50292" fmla="*/ 459608 h 4687251"/>
              <a:gd name="connsiteX50293" fmla="*/ 2854421 w 8079933"/>
              <a:gd name="connsiteY50293" fmla="*/ 459608 h 4687251"/>
              <a:gd name="connsiteX50294" fmla="*/ 2853770 w 8079933"/>
              <a:gd name="connsiteY50294" fmla="*/ 453004 h 4687251"/>
              <a:gd name="connsiteX50295" fmla="*/ 2851058 w 8079933"/>
              <a:gd name="connsiteY50295" fmla="*/ 451921 h 4687251"/>
              <a:gd name="connsiteX50296" fmla="*/ 2848779 w 8079933"/>
              <a:gd name="connsiteY50296" fmla="*/ 451921 h 4687251"/>
              <a:gd name="connsiteX50297" fmla="*/ 2846826 w 8079933"/>
              <a:gd name="connsiteY50297" fmla="*/ 450081 h 4687251"/>
              <a:gd name="connsiteX50298" fmla="*/ 2846826 w 8079933"/>
              <a:gd name="connsiteY50298" fmla="*/ 447049 h 4687251"/>
              <a:gd name="connsiteX50299" fmla="*/ 2843679 w 8079933"/>
              <a:gd name="connsiteY50299" fmla="*/ 445966 h 4687251"/>
              <a:gd name="connsiteX50300" fmla="*/ 2841074 w 8079933"/>
              <a:gd name="connsiteY50300" fmla="*/ 446616 h 4687251"/>
              <a:gd name="connsiteX50301" fmla="*/ 2836842 w 8079933"/>
              <a:gd name="connsiteY50301" fmla="*/ 449972 h 4687251"/>
              <a:gd name="connsiteX50302" fmla="*/ 2831959 w 8079933"/>
              <a:gd name="connsiteY50302" fmla="*/ 449972 h 4687251"/>
              <a:gd name="connsiteX50303" fmla="*/ 2824906 w 8079933"/>
              <a:gd name="connsiteY50303" fmla="*/ 448565 h 4687251"/>
              <a:gd name="connsiteX50304" fmla="*/ 2820890 w 8079933"/>
              <a:gd name="connsiteY50304" fmla="*/ 446291 h 4687251"/>
              <a:gd name="connsiteX50305" fmla="*/ 2820890 w 8079933"/>
              <a:gd name="connsiteY50305" fmla="*/ 444342 h 4687251"/>
              <a:gd name="connsiteX50306" fmla="*/ 2819805 w 8079933"/>
              <a:gd name="connsiteY50306" fmla="*/ 443043 h 4687251"/>
              <a:gd name="connsiteX50307" fmla="*/ 2816332 w 8079933"/>
              <a:gd name="connsiteY50307" fmla="*/ 438279 h 4687251"/>
              <a:gd name="connsiteX50308" fmla="*/ 2814054 w 8079933"/>
              <a:gd name="connsiteY50308" fmla="*/ 438279 h 4687251"/>
              <a:gd name="connsiteX50309" fmla="*/ 2812751 w 8079933"/>
              <a:gd name="connsiteY50309" fmla="*/ 439795 h 4687251"/>
              <a:gd name="connsiteX50310" fmla="*/ 2813511 w 8079933"/>
              <a:gd name="connsiteY50310" fmla="*/ 441744 h 4687251"/>
              <a:gd name="connsiteX50311" fmla="*/ 2815682 w 8079933"/>
              <a:gd name="connsiteY50311" fmla="*/ 443909 h 4687251"/>
              <a:gd name="connsiteX50312" fmla="*/ 2814705 w 8079933"/>
              <a:gd name="connsiteY50312" fmla="*/ 449106 h 4687251"/>
              <a:gd name="connsiteX50313" fmla="*/ 2812969 w 8079933"/>
              <a:gd name="connsiteY50313" fmla="*/ 451271 h 4687251"/>
              <a:gd name="connsiteX50314" fmla="*/ 2806349 w 8079933"/>
              <a:gd name="connsiteY50314" fmla="*/ 451271 h 4687251"/>
              <a:gd name="connsiteX50315" fmla="*/ 2800706 w 8079933"/>
              <a:gd name="connsiteY50315" fmla="*/ 449431 h 4687251"/>
              <a:gd name="connsiteX50316" fmla="*/ 2793110 w 8079933"/>
              <a:gd name="connsiteY50316" fmla="*/ 441852 h 4687251"/>
              <a:gd name="connsiteX50317" fmla="*/ 2793978 w 8079933"/>
              <a:gd name="connsiteY50317" fmla="*/ 440120 h 4687251"/>
              <a:gd name="connsiteX50318" fmla="*/ 2798861 w 8079933"/>
              <a:gd name="connsiteY50318" fmla="*/ 438170 h 4687251"/>
              <a:gd name="connsiteX50319" fmla="*/ 2806457 w 8079933"/>
              <a:gd name="connsiteY50319" fmla="*/ 434923 h 4687251"/>
              <a:gd name="connsiteX50320" fmla="*/ 2806457 w 8079933"/>
              <a:gd name="connsiteY50320" fmla="*/ 433406 h 4687251"/>
              <a:gd name="connsiteX50321" fmla="*/ 2804612 w 8079933"/>
              <a:gd name="connsiteY50321" fmla="*/ 432649 h 4687251"/>
              <a:gd name="connsiteX50322" fmla="*/ 2798970 w 8079933"/>
              <a:gd name="connsiteY50322" fmla="*/ 434489 h 4687251"/>
              <a:gd name="connsiteX50323" fmla="*/ 2795389 w 8079933"/>
              <a:gd name="connsiteY50323" fmla="*/ 436547 h 4687251"/>
              <a:gd name="connsiteX50324" fmla="*/ 2791265 w 8079933"/>
              <a:gd name="connsiteY50324" fmla="*/ 435247 h 4687251"/>
              <a:gd name="connsiteX50325" fmla="*/ 2790397 w 8079933"/>
              <a:gd name="connsiteY50325" fmla="*/ 432216 h 4687251"/>
              <a:gd name="connsiteX50326" fmla="*/ 2791916 w 8079933"/>
              <a:gd name="connsiteY50326" fmla="*/ 430375 h 4687251"/>
              <a:gd name="connsiteX50327" fmla="*/ 2796474 w 8079933"/>
              <a:gd name="connsiteY50327" fmla="*/ 428859 h 4687251"/>
              <a:gd name="connsiteX50328" fmla="*/ 2800489 w 8079933"/>
              <a:gd name="connsiteY50328" fmla="*/ 426369 h 4687251"/>
              <a:gd name="connsiteX50329" fmla="*/ 2803528 w 8079933"/>
              <a:gd name="connsiteY50329" fmla="*/ 421172 h 4687251"/>
              <a:gd name="connsiteX50330" fmla="*/ 2802768 w 8079933"/>
              <a:gd name="connsiteY50330" fmla="*/ 418574 h 4687251"/>
              <a:gd name="connsiteX50331" fmla="*/ 2800272 w 8079933"/>
              <a:gd name="connsiteY50331" fmla="*/ 417600 h 4687251"/>
              <a:gd name="connsiteX50332" fmla="*/ 2798970 w 8079933"/>
              <a:gd name="connsiteY50332" fmla="*/ 418682 h 4687251"/>
              <a:gd name="connsiteX50333" fmla="*/ 2796908 w 8079933"/>
              <a:gd name="connsiteY50333" fmla="*/ 422147 h 4687251"/>
              <a:gd name="connsiteX50334" fmla="*/ 2792350 w 8079933"/>
              <a:gd name="connsiteY50334" fmla="*/ 425287 h 4687251"/>
              <a:gd name="connsiteX50335" fmla="*/ 2786816 w 8079933"/>
              <a:gd name="connsiteY50335" fmla="*/ 426261 h 4687251"/>
              <a:gd name="connsiteX50336" fmla="*/ 2782909 w 8079933"/>
              <a:gd name="connsiteY50336" fmla="*/ 425612 h 4687251"/>
              <a:gd name="connsiteX50337" fmla="*/ 2781065 w 8079933"/>
              <a:gd name="connsiteY50337" fmla="*/ 422471 h 4687251"/>
              <a:gd name="connsiteX50338" fmla="*/ 2782041 w 8079933"/>
              <a:gd name="connsiteY50338" fmla="*/ 419873 h 4687251"/>
              <a:gd name="connsiteX50339" fmla="*/ 2784537 w 8079933"/>
              <a:gd name="connsiteY50339" fmla="*/ 417600 h 4687251"/>
              <a:gd name="connsiteX50340" fmla="*/ 2786707 w 8079933"/>
              <a:gd name="connsiteY50340" fmla="*/ 415759 h 4687251"/>
              <a:gd name="connsiteX50341" fmla="*/ 2785514 w 8079933"/>
              <a:gd name="connsiteY50341" fmla="*/ 413918 h 4687251"/>
              <a:gd name="connsiteX50342" fmla="*/ 2783669 w 8079933"/>
              <a:gd name="connsiteY50342" fmla="*/ 412835 h 4687251"/>
              <a:gd name="connsiteX50343" fmla="*/ 2779762 w 8079933"/>
              <a:gd name="connsiteY50343" fmla="*/ 412835 h 4687251"/>
              <a:gd name="connsiteX50344" fmla="*/ 2777700 w 8079933"/>
              <a:gd name="connsiteY50344" fmla="*/ 410887 h 4687251"/>
              <a:gd name="connsiteX50345" fmla="*/ 2773143 w 8079933"/>
              <a:gd name="connsiteY50345" fmla="*/ 401467 h 4687251"/>
              <a:gd name="connsiteX50346" fmla="*/ 2770430 w 8079933"/>
              <a:gd name="connsiteY50346" fmla="*/ 398868 h 4687251"/>
              <a:gd name="connsiteX50347" fmla="*/ 2766198 w 8079933"/>
              <a:gd name="connsiteY50347" fmla="*/ 396702 h 4687251"/>
              <a:gd name="connsiteX50348" fmla="*/ 2764461 w 8079933"/>
              <a:gd name="connsiteY50348" fmla="*/ 394105 h 4687251"/>
              <a:gd name="connsiteX50349" fmla="*/ 2767282 w 8079933"/>
              <a:gd name="connsiteY50349" fmla="*/ 393130 h 4687251"/>
              <a:gd name="connsiteX50350" fmla="*/ 2771407 w 8079933"/>
              <a:gd name="connsiteY50350" fmla="*/ 390856 h 4687251"/>
              <a:gd name="connsiteX50351" fmla="*/ 2773794 w 8079933"/>
              <a:gd name="connsiteY50351" fmla="*/ 387717 h 4687251"/>
              <a:gd name="connsiteX50352" fmla="*/ 2775205 w 8079933"/>
              <a:gd name="connsiteY50352" fmla="*/ 386201 h 4687251"/>
              <a:gd name="connsiteX50353" fmla="*/ 2776507 w 8079933"/>
              <a:gd name="connsiteY50353" fmla="*/ 387176 h 4687251"/>
              <a:gd name="connsiteX50354" fmla="*/ 2779328 w 8079933"/>
              <a:gd name="connsiteY50354" fmla="*/ 387176 h 4687251"/>
              <a:gd name="connsiteX50355" fmla="*/ 2779328 w 8079933"/>
              <a:gd name="connsiteY50355" fmla="*/ 385010 h 4687251"/>
              <a:gd name="connsiteX50356" fmla="*/ 2776724 w 8079933"/>
              <a:gd name="connsiteY50356" fmla="*/ 383711 h 4687251"/>
              <a:gd name="connsiteX50357" fmla="*/ 2772926 w 8079933"/>
              <a:gd name="connsiteY50357" fmla="*/ 383711 h 4687251"/>
              <a:gd name="connsiteX50358" fmla="*/ 2771298 w 8079933"/>
              <a:gd name="connsiteY50358" fmla="*/ 380896 h 4687251"/>
              <a:gd name="connsiteX50359" fmla="*/ 2772817 w 8079933"/>
              <a:gd name="connsiteY50359" fmla="*/ 379055 h 4687251"/>
              <a:gd name="connsiteX50360" fmla="*/ 2776724 w 8079933"/>
              <a:gd name="connsiteY50360" fmla="*/ 379055 h 4687251"/>
              <a:gd name="connsiteX50361" fmla="*/ 2784103 w 8079933"/>
              <a:gd name="connsiteY50361" fmla="*/ 376131 h 4687251"/>
              <a:gd name="connsiteX50362" fmla="*/ 2784103 w 8079933"/>
              <a:gd name="connsiteY50362" fmla="*/ 373749 h 4687251"/>
              <a:gd name="connsiteX50363" fmla="*/ 2784103 w 8079933"/>
              <a:gd name="connsiteY50363" fmla="*/ 371151 h 4687251"/>
              <a:gd name="connsiteX50364" fmla="*/ 2787792 w 8079933"/>
              <a:gd name="connsiteY50364" fmla="*/ 370068 h 4687251"/>
              <a:gd name="connsiteX50365" fmla="*/ 2790505 w 8079933"/>
              <a:gd name="connsiteY50365" fmla="*/ 368227 h 4687251"/>
              <a:gd name="connsiteX50366" fmla="*/ 2793652 w 8079933"/>
              <a:gd name="connsiteY50366" fmla="*/ 368227 h 4687251"/>
              <a:gd name="connsiteX50367" fmla="*/ 2795714 w 8079933"/>
              <a:gd name="connsiteY50367" fmla="*/ 369094 h 4687251"/>
              <a:gd name="connsiteX50368" fmla="*/ 2799186 w 8079933"/>
              <a:gd name="connsiteY50368" fmla="*/ 369094 h 4687251"/>
              <a:gd name="connsiteX50369" fmla="*/ 2802334 w 8079933"/>
              <a:gd name="connsiteY50369" fmla="*/ 367145 h 4687251"/>
              <a:gd name="connsiteX50370" fmla="*/ 2805047 w 8079933"/>
              <a:gd name="connsiteY50370" fmla="*/ 367145 h 4687251"/>
              <a:gd name="connsiteX50371" fmla="*/ 2808302 w 8079933"/>
              <a:gd name="connsiteY50371" fmla="*/ 368011 h 4687251"/>
              <a:gd name="connsiteX50372" fmla="*/ 2808302 w 8079933"/>
              <a:gd name="connsiteY50372" fmla="*/ 369528 h 4687251"/>
              <a:gd name="connsiteX50373" fmla="*/ 2809822 w 8079933"/>
              <a:gd name="connsiteY50373" fmla="*/ 370176 h 4687251"/>
              <a:gd name="connsiteX50374" fmla="*/ 2812969 w 8079933"/>
              <a:gd name="connsiteY50374" fmla="*/ 369528 h 4687251"/>
              <a:gd name="connsiteX50375" fmla="*/ 2814379 w 8079933"/>
              <a:gd name="connsiteY50375" fmla="*/ 366929 h 4687251"/>
              <a:gd name="connsiteX50376" fmla="*/ 2817526 w 8079933"/>
              <a:gd name="connsiteY50376" fmla="*/ 364872 h 4687251"/>
              <a:gd name="connsiteX50377" fmla="*/ 2820039 w 8079933"/>
              <a:gd name="connsiteY50377" fmla="*/ 365391 h 4687251"/>
              <a:gd name="connsiteX50378" fmla="*/ 2819805 w 8079933"/>
              <a:gd name="connsiteY50378" fmla="*/ 365521 h 4687251"/>
              <a:gd name="connsiteX50379" fmla="*/ 2820673 w 8079933"/>
              <a:gd name="connsiteY50379" fmla="*/ 365521 h 4687251"/>
              <a:gd name="connsiteX50380" fmla="*/ 2820039 w 8079933"/>
              <a:gd name="connsiteY50380" fmla="*/ 365391 h 4687251"/>
              <a:gd name="connsiteX50381" fmla="*/ 2822518 w 8079933"/>
              <a:gd name="connsiteY50381" fmla="*/ 364005 h 4687251"/>
              <a:gd name="connsiteX50382" fmla="*/ 2827835 w 8079933"/>
              <a:gd name="connsiteY50382" fmla="*/ 364005 h 4687251"/>
              <a:gd name="connsiteX50383" fmla="*/ 2845524 w 8079933"/>
              <a:gd name="connsiteY50383" fmla="*/ 359350 h 4687251"/>
              <a:gd name="connsiteX50384" fmla="*/ 2849213 w 8079933"/>
              <a:gd name="connsiteY50384" fmla="*/ 359350 h 4687251"/>
              <a:gd name="connsiteX50385" fmla="*/ 2850624 w 8079933"/>
              <a:gd name="connsiteY50385" fmla="*/ 361407 h 4687251"/>
              <a:gd name="connsiteX50386" fmla="*/ 2851926 w 8079933"/>
              <a:gd name="connsiteY50386" fmla="*/ 358917 h 4687251"/>
              <a:gd name="connsiteX50387" fmla="*/ 2849972 w 8079933"/>
              <a:gd name="connsiteY50387" fmla="*/ 356751 h 4687251"/>
              <a:gd name="connsiteX50388" fmla="*/ 2851383 w 8079933"/>
              <a:gd name="connsiteY50388" fmla="*/ 354044 h 4687251"/>
              <a:gd name="connsiteX50389" fmla="*/ 2857460 w 8079933"/>
              <a:gd name="connsiteY50389" fmla="*/ 351121 h 4687251"/>
              <a:gd name="connsiteX50390" fmla="*/ 2864839 w 8079933"/>
              <a:gd name="connsiteY50390" fmla="*/ 351121 h 4687251"/>
              <a:gd name="connsiteX50391" fmla="*/ 2869722 w 8079933"/>
              <a:gd name="connsiteY50391" fmla="*/ 350254 h 4687251"/>
              <a:gd name="connsiteX50392" fmla="*/ 2872435 w 8079933"/>
              <a:gd name="connsiteY50392" fmla="*/ 351771 h 4687251"/>
              <a:gd name="connsiteX50393" fmla="*/ 2876777 w 8079933"/>
              <a:gd name="connsiteY50393" fmla="*/ 352637 h 4687251"/>
              <a:gd name="connsiteX50394" fmla="*/ 2881008 w 8079933"/>
              <a:gd name="connsiteY50394" fmla="*/ 350039 h 4687251"/>
              <a:gd name="connsiteX50395" fmla="*/ 2886217 w 8079933"/>
              <a:gd name="connsiteY50395" fmla="*/ 349281 h 4687251"/>
              <a:gd name="connsiteX50396" fmla="*/ 2891969 w 8079933"/>
              <a:gd name="connsiteY50396" fmla="*/ 350363 h 4687251"/>
              <a:gd name="connsiteX50397" fmla="*/ 2893596 w 8079933"/>
              <a:gd name="connsiteY50397" fmla="*/ 352637 h 4687251"/>
              <a:gd name="connsiteX50398" fmla="*/ 2897720 w 8079933"/>
              <a:gd name="connsiteY50398" fmla="*/ 353287 h 4687251"/>
              <a:gd name="connsiteX50399" fmla="*/ 2899999 w 8079933"/>
              <a:gd name="connsiteY50399" fmla="*/ 355127 h 4687251"/>
              <a:gd name="connsiteX50400" fmla="*/ 2904882 w 8079933"/>
              <a:gd name="connsiteY50400" fmla="*/ 358483 h 4687251"/>
              <a:gd name="connsiteX50401" fmla="*/ 2908463 w 8079933"/>
              <a:gd name="connsiteY50401" fmla="*/ 358483 h 4687251"/>
              <a:gd name="connsiteX50402" fmla="*/ 2911285 w 8079933"/>
              <a:gd name="connsiteY50402" fmla="*/ 357292 h 4687251"/>
              <a:gd name="connsiteX50403" fmla="*/ 2911285 w 8079933"/>
              <a:gd name="connsiteY50403" fmla="*/ 355560 h 4687251"/>
              <a:gd name="connsiteX50404" fmla="*/ 2915300 w 8079933"/>
              <a:gd name="connsiteY50404" fmla="*/ 351446 h 4687251"/>
              <a:gd name="connsiteX50405" fmla="*/ 2918338 w 8079933"/>
              <a:gd name="connsiteY50405" fmla="*/ 346574 h 4687251"/>
              <a:gd name="connsiteX50406" fmla="*/ 2922136 w 8079933"/>
              <a:gd name="connsiteY50406" fmla="*/ 341052 h 4687251"/>
              <a:gd name="connsiteX50407" fmla="*/ 2927670 w 8079933"/>
              <a:gd name="connsiteY50407" fmla="*/ 339211 h 4687251"/>
              <a:gd name="connsiteX50408" fmla="*/ 2929407 w 8079933"/>
              <a:gd name="connsiteY50408" fmla="*/ 336072 h 4687251"/>
              <a:gd name="connsiteX50409" fmla="*/ 2933530 w 8079933"/>
              <a:gd name="connsiteY50409" fmla="*/ 329575 h 4687251"/>
              <a:gd name="connsiteX50410" fmla="*/ 2937328 w 8079933"/>
              <a:gd name="connsiteY50410" fmla="*/ 328492 h 4687251"/>
              <a:gd name="connsiteX50411" fmla="*/ 2938848 w 8079933"/>
              <a:gd name="connsiteY50411" fmla="*/ 323837 h 4687251"/>
              <a:gd name="connsiteX50412" fmla="*/ 2935592 w 8079933"/>
              <a:gd name="connsiteY50412" fmla="*/ 322104 h 4687251"/>
              <a:gd name="connsiteX50413" fmla="*/ 2935592 w 8079933"/>
              <a:gd name="connsiteY50413" fmla="*/ 318099 h 4687251"/>
              <a:gd name="connsiteX50414" fmla="*/ 2939173 w 8079933"/>
              <a:gd name="connsiteY50414" fmla="*/ 313660 h 4687251"/>
              <a:gd name="connsiteX50415" fmla="*/ 2943514 w 8079933"/>
              <a:gd name="connsiteY50415" fmla="*/ 313660 h 4687251"/>
              <a:gd name="connsiteX50416" fmla="*/ 2949157 w 8079933"/>
              <a:gd name="connsiteY50416" fmla="*/ 313660 h 4687251"/>
              <a:gd name="connsiteX50417" fmla="*/ 2954148 w 8079933"/>
              <a:gd name="connsiteY50417" fmla="*/ 310412 h 4687251"/>
              <a:gd name="connsiteX50418" fmla="*/ 2955342 w 8079933"/>
              <a:gd name="connsiteY50418" fmla="*/ 306946 h 4687251"/>
              <a:gd name="connsiteX50419" fmla="*/ 2954148 w 8079933"/>
              <a:gd name="connsiteY50419" fmla="*/ 305756 h 4687251"/>
              <a:gd name="connsiteX50420" fmla="*/ 2948940 w 8079933"/>
              <a:gd name="connsiteY50420" fmla="*/ 305756 h 4687251"/>
              <a:gd name="connsiteX50421" fmla="*/ 2945033 w 8079933"/>
              <a:gd name="connsiteY50421" fmla="*/ 303049 h 4687251"/>
              <a:gd name="connsiteX50422" fmla="*/ 2945033 w 8079933"/>
              <a:gd name="connsiteY50422" fmla="*/ 300451 h 4687251"/>
              <a:gd name="connsiteX50423" fmla="*/ 2945901 w 8079933"/>
              <a:gd name="connsiteY50423" fmla="*/ 297853 h 4687251"/>
              <a:gd name="connsiteX50424" fmla="*/ 2949808 w 8079933"/>
              <a:gd name="connsiteY50424" fmla="*/ 296769 h 4687251"/>
              <a:gd name="connsiteX50425" fmla="*/ 2955885 w 8079933"/>
              <a:gd name="connsiteY50425" fmla="*/ 297960 h 4687251"/>
              <a:gd name="connsiteX50426" fmla="*/ 2960659 w 8079933"/>
              <a:gd name="connsiteY50426" fmla="*/ 295037 h 4687251"/>
              <a:gd name="connsiteX50427" fmla="*/ 2966519 w 8079933"/>
              <a:gd name="connsiteY50427" fmla="*/ 292655 h 4687251"/>
              <a:gd name="connsiteX50428" fmla="*/ 2967170 w 8079933"/>
              <a:gd name="connsiteY50428" fmla="*/ 290057 h 4687251"/>
              <a:gd name="connsiteX50429" fmla="*/ 2966302 w 8079933"/>
              <a:gd name="connsiteY50429" fmla="*/ 289082 h 4687251"/>
              <a:gd name="connsiteX50430" fmla="*/ 2966302 w 8079933"/>
              <a:gd name="connsiteY50430" fmla="*/ 284751 h 4687251"/>
              <a:gd name="connsiteX50431" fmla="*/ 2964783 w 8079933"/>
              <a:gd name="connsiteY50431" fmla="*/ 284751 h 4687251"/>
              <a:gd name="connsiteX50432" fmla="*/ 2961636 w 8079933"/>
              <a:gd name="connsiteY50432" fmla="*/ 287458 h 4687251"/>
              <a:gd name="connsiteX50433" fmla="*/ 2961636 w 8079933"/>
              <a:gd name="connsiteY50433" fmla="*/ 291572 h 4687251"/>
              <a:gd name="connsiteX50434" fmla="*/ 2959032 w 8079933"/>
              <a:gd name="connsiteY50434" fmla="*/ 292980 h 4687251"/>
              <a:gd name="connsiteX50435" fmla="*/ 2951761 w 8079933"/>
              <a:gd name="connsiteY50435" fmla="*/ 292980 h 4687251"/>
              <a:gd name="connsiteX50436" fmla="*/ 2947855 w 8079933"/>
              <a:gd name="connsiteY50436" fmla="*/ 291465 h 4687251"/>
              <a:gd name="connsiteX50437" fmla="*/ 2945576 w 8079933"/>
              <a:gd name="connsiteY50437" fmla="*/ 291465 h 4687251"/>
              <a:gd name="connsiteX50438" fmla="*/ 2941126 w 8079933"/>
              <a:gd name="connsiteY50438" fmla="*/ 295037 h 4687251"/>
              <a:gd name="connsiteX50439" fmla="*/ 2937546 w 8079933"/>
              <a:gd name="connsiteY50439" fmla="*/ 295037 h 4687251"/>
              <a:gd name="connsiteX50440" fmla="*/ 2936026 w 8079933"/>
              <a:gd name="connsiteY50440" fmla="*/ 292330 h 4687251"/>
              <a:gd name="connsiteX50441" fmla="*/ 2931685 w 8079933"/>
              <a:gd name="connsiteY50441" fmla="*/ 289082 h 4687251"/>
              <a:gd name="connsiteX50442" fmla="*/ 2929081 w 8079933"/>
              <a:gd name="connsiteY50442" fmla="*/ 289082 h 4687251"/>
              <a:gd name="connsiteX50443" fmla="*/ 2926694 w 8079933"/>
              <a:gd name="connsiteY50443" fmla="*/ 291356 h 4687251"/>
              <a:gd name="connsiteX50444" fmla="*/ 2924415 w 8079933"/>
              <a:gd name="connsiteY50444" fmla="*/ 291356 h 4687251"/>
              <a:gd name="connsiteX50445" fmla="*/ 2921702 w 8079933"/>
              <a:gd name="connsiteY50445" fmla="*/ 289407 h 4687251"/>
              <a:gd name="connsiteX50446" fmla="*/ 2918989 w 8079933"/>
              <a:gd name="connsiteY50446" fmla="*/ 289407 h 4687251"/>
              <a:gd name="connsiteX50447" fmla="*/ 2916928 w 8079933"/>
              <a:gd name="connsiteY50447" fmla="*/ 288757 h 4687251"/>
              <a:gd name="connsiteX50448" fmla="*/ 2916928 w 8079933"/>
              <a:gd name="connsiteY50448" fmla="*/ 283127 h 4687251"/>
              <a:gd name="connsiteX50449" fmla="*/ 2916928 w 8079933"/>
              <a:gd name="connsiteY50449" fmla="*/ 280420 h 4687251"/>
              <a:gd name="connsiteX50450" fmla="*/ 2915733 w 8079933"/>
              <a:gd name="connsiteY50450" fmla="*/ 279555 h 4687251"/>
              <a:gd name="connsiteX50451" fmla="*/ 2915733 w 8079933"/>
              <a:gd name="connsiteY50451" fmla="*/ 276956 h 4687251"/>
              <a:gd name="connsiteX50452" fmla="*/ 2916710 w 8079933"/>
              <a:gd name="connsiteY50452" fmla="*/ 274032 h 4687251"/>
              <a:gd name="connsiteX50453" fmla="*/ 2919966 w 8079933"/>
              <a:gd name="connsiteY50453" fmla="*/ 272516 h 4687251"/>
              <a:gd name="connsiteX50454" fmla="*/ 2922571 w 8079933"/>
              <a:gd name="connsiteY50454" fmla="*/ 269268 h 4687251"/>
              <a:gd name="connsiteX50455" fmla="*/ 2924307 w 8079933"/>
              <a:gd name="connsiteY50455" fmla="*/ 266888 h 4687251"/>
              <a:gd name="connsiteX50456" fmla="*/ 2926694 w 8079933"/>
              <a:gd name="connsiteY50456" fmla="*/ 265804 h 4687251"/>
              <a:gd name="connsiteX50457" fmla="*/ 2927345 w 8079933"/>
              <a:gd name="connsiteY50457" fmla="*/ 263314 h 4687251"/>
              <a:gd name="connsiteX50458" fmla="*/ 2925717 w 8079933"/>
              <a:gd name="connsiteY50458" fmla="*/ 261474 h 4687251"/>
              <a:gd name="connsiteX50459" fmla="*/ 2925717 w 8079933"/>
              <a:gd name="connsiteY50459" fmla="*/ 258658 h 4687251"/>
              <a:gd name="connsiteX50460" fmla="*/ 2927237 w 8079933"/>
              <a:gd name="connsiteY50460" fmla="*/ 256709 h 4687251"/>
              <a:gd name="connsiteX50461" fmla="*/ 2930709 w 8079933"/>
              <a:gd name="connsiteY50461" fmla="*/ 256709 h 4687251"/>
              <a:gd name="connsiteX50462" fmla="*/ 2935050 w 8079933"/>
              <a:gd name="connsiteY50462" fmla="*/ 254544 h 4687251"/>
              <a:gd name="connsiteX50463" fmla="*/ 2937546 w 8079933"/>
              <a:gd name="connsiteY50463" fmla="*/ 252271 h 4687251"/>
              <a:gd name="connsiteX50464" fmla="*/ 2937546 w 8079933"/>
              <a:gd name="connsiteY50464" fmla="*/ 249563 h 4687251"/>
              <a:gd name="connsiteX50465" fmla="*/ 2944816 w 8079933"/>
              <a:gd name="connsiteY50465" fmla="*/ 247182 h 4687251"/>
              <a:gd name="connsiteX50466" fmla="*/ 2947312 w 8079933"/>
              <a:gd name="connsiteY50466" fmla="*/ 243825 h 4687251"/>
              <a:gd name="connsiteX50467" fmla="*/ 2950459 w 8079933"/>
              <a:gd name="connsiteY50467" fmla="*/ 242309 h 4687251"/>
              <a:gd name="connsiteX50468" fmla="*/ 2957296 w 8079933"/>
              <a:gd name="connsiteY50468" fmla="*/ 242309 h 4687251"/>
              <a:gd name="connsiteX50469" fmla="*/ 2960226 w 8079933"/>
              <a:gd name="connsiteY50469" fmla="*/ 241335 h 4687251"/>
              <a:gd name="connsiteX50470" fmla="*/ 2959358 w 8079933"/>
              <a:gd name="connsiteY50470" fmla="*/ 240252 h 4687251"/>
              <a:gd name="connsiteX50471" fmla="*/ 2956644 w 8079933"/>
              <a:gd name="connsiteY50471" fmla="*/ 239277 h 4687251"/>
              <a:gd name="connsiteX50472" fmla="*/ 2956644 w 8079933"/>
              <a:gd name="connsiteY50472" fmla="*/ 236896 h 4687251"/>
              <a:gd name="connsiteX50473" fmla="*/ 2959141 w 8079933"/>
              <a:gd name="connsiteY50473" fmla="*/ 235921 h 4687251"/>
              <a:gd name="connsiteX50474" fmla="*/ 2963589 w 8079933"/>
              <a:gd name="connsiteY50474" fmla="*/ 235921 h 4687251"/>
              <a:gd name="connsiteX50475" fmla="*/ 2964241 w 8079933"/>
              <a:gd name="connsiteY50475" fmla="*/ 237762 h 4687251"/>
              <a:gd name="connsiteX50476" fmla="*/ 2966194 w 8079933"/>
              <a:gd name="connsiteY50476" fmla="*/ 237004 h 4687251"/>
              <a:gd name="connsiteX50477" fmla="*/ 2971620 w 8079933"/>
              <a:gd name="connsiteY50477" fmla="*/ 230941 h 4687251"/>
              <a:gd name="connsiteX50478" fmla="*/ 2971620 w 8079933"/>
              <a:gd name="connsiteY50478" fmla="*/ 227909 h 4687251"/>
              <a:gd name="connsiteX50479" fmla="*/ 2973139 w 8079933"/>
              <a:gd name="connsiteY50479" fmla="*/ 224229 h 4687251"/>
              <a:gd name="connsiteX50480" fmla="*/ 2977805 w 8079933"/>
              <a:gd name="connsiteY50480" fmla="*/ 221305 h 4687251"/>
              <a:gd name="connsiteX50481" fmla="*/ 2981386 w 8079933"/>
              <a:gd name="connsiteY50481" fmla="*/ 220330 h 4687251"/>
              <a:gd name="connsiteX50482" fmla="*/ 2984642 w 8079933"/>
              <a:gd name="connsiteY50482" fmla="*/ 216433 h 4687251"/>
              <a:gd name="connsiteX50483" fmla="*/ 2987897 w 8079933"/>
              <a:gd name="connsiteY50483" fmla="*/ 216433 h 4687251"/>
              <a:gd name="connsiteX50484" fmla="*/ 2990176 w 8079933"/>
              <a:gd name="connsiteY50484" fmla="*/ 215350 h 4687251"/>
              <a:gd name="connsiteX50485" fmla="*/ 2991587 w 8079933"/>
              <a:gd name="connsiteY50485" fmla="*/ 216866 h 4687251"/>
              <a:gd name="connsiteX50486" fmla="*/ 2992780 w 8079933"/>
              <a:gd name="connsiteY50486" fmla="*/ 221630 h 4687251"/>
              <a:gd name="connsiteX50487" fmla="*/ 2992780 w 8079933"/>
              <a:gd name="connsiteY50487" fmla="*/ 229858 h 4687251"/>
              <a:gd name="connsiteX50488" fmla="*/ 2994083 w 8079933"/>
              <a:gd name="connsiteY50488" fmla="*/ 233323 h 4687251"/>
              <a:gd name="connsiteX50489" fmla="*/ 2994083 w 8079933"/>
              <a:gd name="connsiteY50489" fmla="*/ 239819 h 4687251"/>
              <a:gd name="connsiteX50490" fmla="*/ 2992998 w 8079933"/>
              <a:gd name="connsiteY50490" fmla="*/ 248914 h 4687251"/>
              <a:gd name="connsiteX50491" fmla="*/ 2994842 w 8079933"/>
              <a:gd name="connsiteY50491" fmla="*/ 248914 h 4687251"/>
              <a:gd name="connsiteX50492" fmla="*/ 2996687 w 8079933"/>
              <a:gd name="connsiteY50492" fmla="*/ 245990 h 4687251"/>
              <a:gd name="connsiteX50493" fmla="*/ 2997664 w 8079933"/>
              <a:gd name="connsiteY50493" fmla="*/ 238412 h 4687251"/>
              <a:gd name="connsiteX50494" fmla="*/ 2995819 w 8079933"/>
              <a:gd name="connsiteY50494" fmla="*/ 231698 h 4687251"/>
              <a:gd name="connsiteX50495" fmla="*/ 2995819 w 8079933"/>
              <a:gd name="connsiteY50495" fmla="*/ 227368 h 4687251"/>
              <a:gd name="connsiteX50496" fmla="*/ 2996579 w 8079933"/>
              <a:gd name="connsiteY50496" fmla="*/ 224012 h 4687251"/>
              <a:gd name="connsiteX50497" fmla="*/ 2996579 w 8079933"/>
              <a:gd name="connsiteY50497" fmla="*/ 217949 h 4687251"/>
              <a:gd name="connsiteX50498" fmla="*/ 2999074 w 8079933"/>
              <a:gd name="connsiteY50498" fmla="*/ 216433 h 4687251"/>
              <a:gd name="connsiteX50499" fmla="*/ 3001787 w 8079933"/>
              <a:gd name="connsiteY50499" fmla="*/ 216433 h 4687251"/>
              <a:gd name="connsiteX50500" fmla="*/ 3002872 w 8079933"/>
              <a:gd name="connsiteY50500" fmla="*/ 214267 h 4687251"/>
              <a:gd name="connsiteX50501" fmla="*/ 3005152 w 8079933"/>
              <a:gd name="connsiteY50501" fmla="*/ 212426 h 4687251"/>
              <a:gd name="connsiteX50502" fmla="*/ 3006996 w 8079933"/>
              <a:gd name="connsiteY50502" fmla="*/ 212426 h 4687251"/>
              <a:gd name="connsiteX50503" fmla="*/ 3007647 w 8079933"/>
              <a:gd name="connsiteY50503" fmla="*/ 215350 h 4687251"/>
              <a:gd name="connsiteX50504" fmla="*/ 3009058 w 8079933"/>
              <a:gd name="connsiteY50504" fmla="*/ 217407 h 4687251"/>
              <a:gd name="connsiteX50505" fmla="*/ 3011120 w 8079933"/>
              <a:gd name="connsiteY50505" fmla="*/ 217407 h 4687251"/>
              <a:gd name="connsiteX50506" fmla="*/ 3012856 w 8079933"/>
              <a:gd name="connsiteY50506" fmla="*/ 218706 h 4687251"/>
              <a:gd name="connsiteX50507" fmla="*/ 3012856 w 8079933"/>
              <a:gd name="connsiteY50507" fmla="*/ 221955 h 4687251"/>
              <a:gd name="connsiteX50508" fmla="*/ 3013833 w 8079933"/>
              <a:gd name="connsiteY50508" fmla="*/ 224445 h 4687251"/>
              <a:gd name="connsiteX50509" fmla="*/ 3017631 w 8079933"/>
              <a:gd name="connsiteY50509" fmla="*/ 226610 h 4687251"/>
              <a:gd name="connsiteX50510" fmla="*/ 3024576 w 8079933"/>
              <a:gd name="connsiteY50510" fmla="*/ 225852 h 4687251"/>
              <a:gd name="connsiteX50511" fmla="*/ 3026095 w 8079933"/>
              <a:gd name="connsiteY50511" fmla="*/ 224769 h 4687251"/>
              <a:gd name="connsiteX50512" fmla="*/ 3029677 w 8079933"/>
              <a:gd name="connsiteY50512" fmla="*/ 224769 h 4687251"/>
              <a:gd name="connsiteX50513" fmla="*/ 3030327 w 8079933"/>
              <a:gd name="connsiteY50513" fmla="*/ 222280 h 4687251"/>
              <a:gd name="connsiteX50514" fmla="*/ 3029025 w 8079933"/>
              <a:gd name="connsiteY50514" fmla="*/ 219465 h 4687251"/>
              <a:gd name="connsiteX50515" fmla="*/ 3030327 w 8079933"/>
              <a:gd name="connsiteY50515" fmla="*/ 216758 h 4687251"/>
              <a:gd name="connsiteX50516" fmla="*/ 3032606 w 8079933"/>
              <a:gd name="connsiteY50516" fmla="*/ 214916 h 4687251"/>
              <a:gd name="connsiteX50517" fmla="*/ 3033583 w 8079933"/>
              <a:gd name="connsiteY50517" fmla="*/ 210478 h 4687251"/>
              <a:gd name="connsiteX50518" fmla="*/ 3034668 w 8079933"/>
              <a:gd name="connsiteY50518" fmla="*/ 208854 h 4687251"/>
              <a:gd name="connsiteX50519" fmla="*/ 3039009 w 8079933"/>
              <a:gd name="connsiteY50519" fmla="*/ 208854 h 4687251"/>
              <a:gd name="connsiteX50520" fmla="*/ 3045520 w 8079933"/>
              <a:gd name="connsiteY50520" fmla="*/ 205064 h 4687251"/>
              <a:gd name="connsiteX50521" fmla="*/ 3047690 w 8079933"/>
              <a:gd name="connsiteY50521" fmla="*/ 201166 h 4687251"/>
              <a:gd name="connsiteX50522" fmla="*/ 3047690 w 8079933"/>
              <a:gd name="connsiteY50522" fmla="*/ 195429 h 4687251"/>
              <a:gd name="connsiteX50523" fmla="*/ 3045302 w 8079933"/>
              <a:gd name="connsiteY50523" fmla="*/ 194561 h 4687251"/>
              <a:gd name="connsiteX50524" fmla="*/ 3043458 w 8079933"/>
              <a:gd name="connsiteY50524" fmla="*/ 194561 h 4687251"/>
              <a:gd name="connsiteX50525" fmla="*/ 3042807 w 8079933"/>
              <a:gd name="connsiteY50525" fmla="*/ 192722 h 4687251"/>
              <a:gd name="connsiteX50526" fmla="*/ 3043566 w 8079933"/>
              <a:gd name="connsiteY50526" fmla="*/ 190340 h 4687251"/>
              <a:gd name="connsiteX50527" fmla="*/ 3046930 w 8079933"/>
              <a:gd name="connsiteY50527" fmla="*/ 186117 h 4687251"/>
              <a:gd name="connsiteX50528" fmla="*/ 3047582 w 8079933"/>
              <a:gd name="connsiteY50528" fmla="*/ 181136 h 4687251"/>
              <a:gd name="connsiteX50529" fmla="*/ 3046822 w 8079933"/>
              <a:gd name="connsiteY50529" fmla="*/ 177239 h 4687251"/>
              <a:gd name="connsiteX50530" fmla="*/ 3048341 w 8079933"/>
              <a:gd name="connsiteY50530" fmla="*/ 171500 h 4687251"/>
              <a:gd name="connsiteX50531" fmla="*/ 3051380 w 8079933"/>
              <a:gd name="connsiteY50531" fmla="*/ 168901 h 4687251"/>
              <a:gd name="connsiteX50532" fmla="*/ 3057782 w 8079933"/>
              <a:gd name="connsiteY50532" fmla="*/ 167603 h 4687251"/>
              <a:gd name="connsiteX50533" fmla="*/ 3063425 w 8079933"/>
              <a:gd name="connsiteY50533" fmla="*/ 164788 h 4687251"/>
              <a:gd name="connsiteX50534" fmla="*/ 3069068 w 8079933"/>
              <a:gd name="connsiteY50534" fmla="*/ 162838 h 4687251"/>
              <a:gd name="connsiteX50535" fmla="*/ 3070804 w 8079933"/>
              <a:gd name="connsiteY50535" fmla="*/ 163921 h 4687251"/>
              <a:gd name="connsiteX50536" fmla="*/ 3071455 w 8079933"/>
              <a:gd name="connsiteY50536" fmla="*/ 166519 h 4687251"/>
              <a:gd name="connsiteX50537" fmla="*/ 3071455 w 8079933"/>
              <a:gd name="connsiteY50537" fmla="*/ 170526 h 4687251"/>
              <a:gd name="connsiteX50538" fmla="*/ 3076229 w 8079933"/>
              <a:gd name="connsiteY50538" fmla="*/ 177022 h 4687251"/>
              <a:gd name="connsiteX50539" fmla="*/ 3076229 w 8079933"/>
              <a:gd name="connsiteY50539" fmla="*/ 181028 h 4687251"/>
              <a:gd name="connsiteX50540" fmla="*/ 3075470 w 8079933"/>
              <a:gd name="connsiteY50540" fmla="*/ 189473 h 4687251"/>
              <a:gd name="connsiteX50541" fmla="*/ 3075470 w 8079933"/>
              <a:gd name="connsiteY50541" fmla="*/ 198351 h 4687251"/>
              <a:gd name="connsiteX50542" fmla="*/ 3077966 w 8079933"/>
              <a:gd name="connsiteY50542" fmla="*/ 200192 h 4687251"/>
              <a:gd name="connsiteX50543" fmla="*/ 3083609 w 8079933"/>
              <a:gd name="connsiteY50543" fmla="*/ 205930 h 4687251"/>
              <a:gd name="connsiteX50544" fmla="*/ 3085888 w 8079933"/>
              <a:gd name="connsiteY50544" fmla="*/ 210045 h 4687251"/>
              <a:gd name="connsiteX50545" fmla="*/ 3088058 w 8079933"/>
              <a:gd name="connsiteY50545" fmla="*/ 211884 h 4687251"/>
              <a:gd name="connsiteX50546" fmla="*/ 3088926 w 8079933"/>
              <a:gd name="connsiteY50546" fmla="*/ 210370 h 4687251"/>
              <a:gd name="connsiteX50547" fmla="*/ 3087841 w 8079933"/>
              <a:gd name="connsiteY50547" fmla="*/ 202141 h 4687251"/>
              <a:gd name="connsiteX50548" fmla="*/ 3087841 w 8079933"/>
              <a:gd name="connsiteY50548" fmla="*/ 197811 h 4687251"/>
              <a:gd name="connsiteX50549" fmla="*/ 3082415 w 8079933"/>
              <a:gd name="connsiteY50549" fmla="*/ 190015 h 4687251"/>
              <a:gd name="connsiteX50550" fmla="*/ 3081764 w 8079933"/>
              <a:gd name="connsiteY50550" fmla="*/ 183519 h 4687251"/>
              <a:gd name="connsiteX50551" fmla="*/ 3084477 w 8079933"/>
              <a:gd name="connsiteY50551" fmla="*/ 177022 h 4687251"/>
              <a:gd name="connsiteX50552" fmla="*/ 3085128 w 8079933"/>
              <a:gd name="connsiteY50552" fmla="*/ 173233 h 4687251"/>
              <a:gd name="connsiteX50553" fmla="*/ 3083826 w 8079933"/>
              <a:gd name="connsiteY50553" fmla="*/ 171068 h 4687251"/>
              <a:gd name="connsiteX50554" fmla="*/ 3081872 w 8079933"/>
              <a:gd name="connsiteY50554" fmla="*/ 166845 h 4687251"/>
              <a:gd name="connsiteX50555" fmla="*/ 3081872 w 8079933"/>
              <a:gd name="connsiteY50555" fmla="*/ 163164 h 4687251"/>
              <a:gd name="connsiteX50556" fmla="*/ 3079919 w 8079933"/>
              <a:gd name="connsiteY50556" fmla="*/ 159916 h 4687251"/>
              <a:gd name="connsiteX50557" fmla="*/ 3081004 w 8079933"/>
              <a:gd name="connsiteY50557" fmla="*/ 157642 h 4687251"/>
              <a:gd name="connsiteX50558" fmla="*/ 3085345 w 8079933"/>
              <a:gd name="connsiteY50558" fmla="*/ 154285 h 4687251"/>
              <a:gd name="connsiteX50559" fmla="*/ 3089903 w 8079933"/>
              <a:gd name="connsiteY50559" fmla="*/ 154285 h 4687251"/>
              <a:gd name="connsiteX50560" fmla="*/ 3093050 w 8079933"/>
              <a:gd name="connsiteY50560" fmla="*/ 155368 h 4687251"/>
              <a:gd name="connsiteX50561" fmla="*/ 3096523 w 8079933"/>
              <a:gd name="connsiteY50561" fmla="*/ 153853 h 4687251"/>
              <a:gd name="connsiteX50562" fmla="*/ 3100104 w 8079933"/>
              <a:gd name="connsiteY50562" fmla="*/ 153853 h 4687251"/>
              <a:gd name="connsiteX50563" fmla="*/ 3106289 w 8079933"/>
              <a:gd name="connsiteY50563" fmla="*/ 155801 h 4687251"/>
              <a:gd name="connsiteX50564" fmla="*/ 3116164 w 8079933"/>
              <a:gd name="connsiteY50564" fmla="*/ 155801 h 4687251"/>
              <a:gd name="connsiteX50565" fmla="*/ 3124845 w 8079933"/>
              <a:gd name="connsiteY50565" fmla="*/ 152228 h 4687251"/>
              <a:gd name="connsiteX50566" fmla="*/ 3133744 w 8079933"/>
              <a:gd name="connsiteY50566" fmla="*/ 152228 h 4687251"/>
              <a:gd name="connsiteX50567" fmla="*/ 3136456 w 8079933"/>
              <a:gd name="connsiteY50567" fmla="*/ 154827 h 4687251"/>
              <a:gd name="connsiteX50568" fmla="*/ 3137324 w 8079933"/>
              <a:gd name="connsiteY50568" fmla="*/ 159158 h 4687251"/>
              <a:gd name="connsiteX50569" fmla="*/ 3137324 w 8079933"/>
              <a:gd name="connsiteY50569" fmla="*/ 163056 h 4687251"/>
              <a:gd name="connsiteX50570" fmla="*/ 3137324 w 8079933"/>
              <a:gd name="connsiteY50570" fmla="*/ 164788 h 4687251"/>
              <a:gd name="connsiteX50571" fmla="*/ 3141231 w 8079933"/>
              <a:gd name="connsiteY50571" fmla="*/ 164788 h 4687251"/>
              <a:gd name="connsiteX50572" fmla="*/ 3143294 w 8079933"/>
              <a:gd name="connsiteY50572" fmla="*/ 160998 h 4687251"/>
              <a:gd name="connsiteX50573" fmla="*/ 3140906 w 8079933"/>
              <a:gd name="connsiteY50573" fmla="*/ 158291 h 4687251"/>
              <a:gd name="connsiteX50574" fmla="*/ 3140906 w 8079933"/>
              <a:gd name="connsiteY50574" fmla="*/ 154177 h 4687251"/>
              <a:gd name="connsiteX50575" fmla="*/ 3147416 w 8079933"/>
              <a:gd name="connsiteY50575" fmla="*/ 148654 h 4687251"/>
              <a:gd name="connsiteX50576" fmla="*/ 3150998 w 8079933"/>
              <a:gd name="connsiteY50576" fmla="*/ 150171 h 4687251"/>
              <a:gd name="connsiteX50577" fmla="*/ 3154145 w 8079933"/>
              <a:gd name="connsiteY50577" fmla="*/ 153095 h 4687251"/>
              <a:gd name="connsiteX50578" fmla="*/ 3155230 w 8079933"/>
              <a:gd name="connsiteY50578" fmla="*/ 158725 h 4687251"/>
              <a:gd name="connsiteX50579" fmla="*/ 3157509 w 8079933"/>
              <a:gd name="connsiteY50579" fmla="*/ 160998 h 4687251"/>
              <a:gd name="connsiteX50580" fmla="*/ 3158377 w 8079933"/>
              <a:gd name="connsiteY50580" fmla="*/ 157425 h 4687251"/>
              <a:gd name="connsiteX50581" fmla="*/ 3158377 w 8079933"/>
              <a:gd name="connsiteY50581" fmla="*/ 151037 h 4687251"/>
              <a:gd name="connsiteX50582" fmla="*/ 3154904 w 8079933"/>
              <a:gd name="connsiteY50582" fmla="*/ 147897 h 4687251"/>
              <a:gd name="connsiteX50583" fmla="*/ 3153819 w 8079933"/>
              <a:gd name="connsiteY50583" fmla="*/ 144758 h 4687251"/>
              <a:gd name="connsiteX50584" fmla="*/ 3155555 w 8079933"/>
              <a:gd name="connsiteY50584" fmla="*/ 143242 h 4687251"/>
              <a:gd name="connsiteX50585" fmla="*/ 3159354 w 8079933"/>
              <a:gd name="connsiteY50585" fmla="*/ 143891 h 4687251"/>
              <a:gd name="connsiteX50586" fmla="*/ 3163477 w 8079933"/>
              <a:gd name="connsiteY50586" fmla="*/ 145623 h 4687251"/>
              <a:gd name="connsiteX50587" fmla="*/ 3167384 w 8079933"/>
              <a:gd name="connsiteY50587" fmla="*/ 142918 h 4687251"/>
              <a:gd name="connsiteX50588" fmla="*/ 3171725 w 8079933"/>
              <a:gd name="connsiteY50588" fmla="*/ 141942 h 4687251"/>
              <a:gd name="connsiteX50589" fmla="*/ 3178561 w 8079933"/>
              <a:gd name="connsiteY50589" fmla="*/ 142809 h 4687251"/>
              <a:gd name="connsiteX50590" fmla="*/ 3179755 w 8079933"/>
              <a:gd name="connsiteY50590" fmla="*/ 145732 h 4687251"/>
              <a:gd name="connsiteX50591" fmla="*/ 3179104 w 8079933"/>
              <a:gd name="connsiteY50591" fmla="*/ 156558 h 4687251"/>
              <a:gd name="connsiteX50592" fmla="*/ 3177042 w 8079933"/>
              <a:gd name="connsiteY50592" fmla="*/ 162947 h 4687251"/>
              <a:gd name="connsiteX50593" fmla="*/ 3177042 w 8079933"/>
              <a:gd name="connsiteY50593" fmla="*/ 167278 h 4687251"/>
              <a:gd name="connsiteX50594" fmla="*/ 3173786 w 8079933"/>
              <a:gd name="connsiteY50594" fmla="*/ 174857 h 4687251"/>
              <a:gd name="connsiteX50595" fmla="*/ 3171725 w 8079933"/>
              <a:gd name="connsiteY50595" fmla="*/ 179297 h 4687251"/>
              <a:gd name="connsiteX50596" fmla="*/ 3171725 w 8079933"/>
              <a:gd name="connsiteY50596" fmla="*/ 182544 h 4687251"/>
              <a:gd name="connsiteX50597" fmla="*/ 3170314 w 8079933"/>
              <a:gd name="connsiteY50597" fmla="*/ 185684 h 4687251"/>
              <a:gd name="connsiteX50598" fmla="*/ 3167166 w 8079933"/>
              <a:gd name="connsiteY50598" fmla="*/ 186766 h 4687251"/>
              <a:gd name="connsiteX50599" fmla="*/ 3165756 w 8079933"/>
              <a:gd name="connsiteY50599" fmla="*/ 189040 h 4687251"/>
              <a:gd name="connsiteX50600" fmla="*/ 3168360 w 8079933"/>
              <a:gd name="connsiteY50600" fmla="*/ 191314 h 4687251"/>
              <a:gd name="connsiteX50601" fmla="*/ 3168360 w 8079933"/>
              <a:gd name="connsiteY50601" fmla="*/ 193912 h 4687251"/>
              <a:gd name="connsiteX50602" fmla="*/ 3166841 w 8079933"/>
              <a:gd name="connsiteY50602" fmla="*/ 197702 h 4687251"/>
              <a:gd name="connsiteX50603" fmla="*/ 3163260 w 8079933"/>
              <a:gd name="connsiteY50603" fmla="*/ 201275 h 4687251"/>
              <a:gd name="connsiteX50604" fmla="*/ 3160981 w 8079933"/>
              <a:gd name="connsiteY50604" fmla="*/ 206797 h 4687251"/>
              <a:gd name="connsiteX50605" fmla="*/ 3156641 w 8079933"/>
              <a:gd name="connsiteY50605" fmla="*/ 209286 h 4687251"/>
              <a:gd name="connsiteX50606" fmla="*/ 3155013 w 8079933"/>
              <a:gd name="connsiteY50606" fmla="*/ 211777 h 4687251"/>
              <a:gd name="connsiteX50607" fmla="*/ 3154253 w 8079933"/>
              <a:gd name="connsiteY50607" fmla="*/ 216433 h 4687251"/>
              <a:gd name="connsiteX50608" fmla="*/ 3151540 w 8079933"/>
              <a:gd name="connsiteY50608" fmla="*/ 220980 h 4687251"/>
              <a:gd name="connsiteX50609" fmla="*/ 3150455 w 8079933"/>
              <a:gd name="connsiteY50609" fmla="*/ 225419 h 4687251"/>
              <a:gd name="connsiteX50610" fmla="*/ 3151323 w 8079933"/>
              <a:gd name="connsiteY50610" fmla="*/ 227044 h 4687251"/>
              <a:gd name="connsiteX50611" fmla="*/ 3154036 w 8079933"/>
              <a:gd name="connsiteY50611" fmla="*/ 227044 h 4687251"/>
              <a:gd name="connsiteX50612" fmla="*/ 3157400 w 8079933"/>
              <a:gd name="connsiteY50612" fmla="*/ 221846 h 4687251"/>
              <a:gd name="connsiteX50613" fmla="*/ 3159896 w 8079933"/>
              <a:gd name="connsiteY50613" fmla="*/ 219680 h 4687251"/>
              <a:gd name="connsiteX50614" fmla="*/ 3159896 w 8079933"/>
              <a:gd name="connsiteY50614" fmla="*/ 217082 h 4687251"/>
              <a:gd name="connsiteX50615" fmla="*/ 3163477 w 8079933"/>
              <a:gd name="connsiteY50615" fmla="*/ 213401 h 4687251"/>
              <a:gd name="connsiteX50616" fmla="*/ 3167818 w 8079933"/>
              <a:gd name="connsiteY50616" fmla="*/ 206905 h 4687251"/>
              <a:gd name="connsiteX50617" fmla="*/ 3169771 w 8079933"/>
              <a:gd name="connsiteY50617" fmla="*/ 202899 h 4687251"/>
              <a:gd name="connsiteX50618" fmla="*/ 3172593 w 8079933"/>
              <a:gd name="connsiteY50618" fmla="*/ 201708 h 4687251"/>
              <a:gd name="connsiteX50619" fmla="*/ 3174654 w 8079933"/>
              <a:gd name="connsiteY50619" fmla="*/ 199867 h 4687251"/>
              <a:gd name="connsiteX50620" fmla="*/ 3176174 w 8079933"/>
              <a:gd name="connsiteY50620" fmla="*/ 196619 h 4687251"/>
              <a:gd name="connsiteX50621" fmla="*/ 3176174 w 8079933"/>
              <a:gd name="connsiteY50621" fmla="*/ 193372 h 4687251"/>
              <a:gd name="connsiteX50622" fmla="*/ 3178778 w 8079933"/>
              <a:gd name="connsiteY50622" fmla="*/ 191314 h 4687251"/>
              <a:gd name="connsiteX50623" fmla="*/ 3181057 w 8079933"/>
              <a:gd name="connsiteY50623" fmla="*/ 187849 h 4687251"/>
              <a:gd name="connsiteX50624" fmla="*/ 3183987 w 8079933"/>
              <a:gd name="connsiteY50624" fmla="*/ 184817 h 4687251"/>
              <a:gd name="connsiteX50625" fmla="*/ 3185615 w 8079933"/>
              <a:gd name="connsiteY50625" fmla="*/ 188066 h 4687251"/>
              <a:gd name="connsiteX50626" fmla="*/ 3185615 w 8079933"/>
              <a:gd name="connsiteY50626" fmla="*/ 191747 h 4687251"/>
              <a:gd name="connsiteX50627" fmla="*/ 3188328 w 8079933"/>
              <a:gd name="connsiteY50627" fmla="*/ 194670 h 4687251"/>
              <a:gd name="connsiteX50628" fmla="*/ 3189630 w 8079933"/>
              <a:gd name="connsiteY50628" fmla="*/ 198459 h 4687251"/>
              <a:gd name="connsiteX50629" fmla="*/ 3190606 w 8079933"/>
              <a:gd name="connsiteY50629" fmla="*/ 204090 h 4687251"/>
              <a:gd name="connsiteX50630" fmla="*/ 3194296 w 8079933"/>
              <a:gd name="connsiteY50630" fmla="*/ 208962 h 4687251"/>
              <a:gd name="connsiteX50631" fmla="*/ 3194296 w 8079933"/>
              <a:gd name="connsiteY50631" fmla="*/ 215133 h 4687251"/>
              <a:gd name="connsiteX50632" fmla="*/ 3196792 w 8079933"/>
              <a:gd name="connsiteY50632" fmla="*/ 217082 h 4687251"/>
              <a:gd name="connsiteX50633" fmla="*/ 3199939 w 8079933"/>
              <a:gd name="connsiteY50633" fmla="*/ 217082 h 4687251"/>
              <a:gd name="connsiteX50634" fmla="*/ 3201458 w 8079933"/>
              <a:gd name="connsiteY50634" fmla="*/ 218489 h 4687251"/>
              <a:gd name="connsiteX50635" fmla="*/ 3203411 w 8079933"/>
              <a:gd name="connsiteY50635" fmla="*/ 218489 h 4687251"/>
              <a:gd name="connsiteX50636" fmla="*/ 3204171 w 8079933"/>
              <a:gd name="connsiteY50636" fmla="*/ 216866 h 4687251"/>
              <a:gd name="connsiteX50637" fmla="*/ 3205256 w 8079933"/>
              <a:gd name="connsiteY50637" fmla="*/ 214809 h 4687251"/>
              <a:gd name="connsiteX50638" fmla="*/ 3205256 w 8079933"/>
              <a:gd name="connsiteY50638" fmla="*/ 212535 h 4687251"/>
              <a:gd name="connsiteX50639" fmla="*/ 3202109 w 8079933"/>
              <a:gd name="connsiteY50639" fmla="*/ 209719 h 4687251"/>
              <a:gd name="connsiteX50640" fmla="*/ 3201241 w 8079933"/>
              <a:gd name="connsiteY50640" fmla="*/ 206580 h 4687251"/>
              <a:gd name="connsiteX50641" fmla="*/ 3202001 w 8079933"/>
              <a:gd name="connsiteY50641" fmla="*/ 205497 h 4687251"/>
              <a:gd name="connsiteX50642" fmla="*/ 3204171 w 8079933"/>
              <a:gd name="connsiteY50642" fmla="*/ 205497 h 4687251"/>
              <a:gd name="connsiteX50643" fmla="*/ 3207427 w 8079933"/>
              <a:gd name="connsiteY50643" fmla="*/ 208312 h 4687251"/>
              <a:gd name="connsiteX50644" fmla="*/ 3212418 w 8079933"/>
              <a:gd name="connsiteY50644" fmla="*/ 208962 h 4687251"/>
              <a:gd name="connsiteX50645" fmla="*/ 3215239 w 8079933"/>
              <a:gd name="connsiteY50645" fmla="*/ 210370 h 4687251"/>
              <a:gd name="connsiteX50646" fmla="*/ 3215891 w 8079933"/>
              <a:gd name="connsiteY50646" fmla="*/ 211777 h 4687251"/>
              <a:gd name="connsiteX50647" fmla="*/ 3219363 w 8079933"/>
              <a:gd name="connsiteY50647" fmla="*/ 212535 h 4687251"/>
              <a:gd name="connsiteX50648" fmla="*/ 3221208 w 8079933"/>
              <a:gd name="connsiteY50648" fmla="*/ 210586 h 4687251"/>
              <a:gd name="connsiteX50649" fmla="*/ 3222836 w 8079933"/>
              <a:gd name="connsiteY50649" fmla="*/ 211235 h 4687251"/>
              <a:gd name="connsiteX50650" fmla="*/ 3224463 w 8079933"/>
              <a:gd name="connsiteY50650" fmla="*/ 212968 h 4687251"/>
              <a:gd name="connsiteX50651" fmla="*/ 3226417 w 8079933"/>
              <a:gd name="connsiteY50651" fmla="*/ 211777 h 4687251"/>
              <a:gd name="connsiteX50652" fmla="*/ 3226417 w 8079933"/>
              <a:gd name="connsiteY50652" fmla="*/ 203549 h 4687251"/>
              <a:gd name="connsiteX50653" fmla="*/ 3225548 w 8079933"/>
              <a:gd name="connsiteY50653" fmla="*/ 199542 h 4687251"/>
              <a:gd name="connsiteX50654" fmla="*/ 3227285 w 8079933"/>
              <a:gd name="connsiteY50654" fmla="*/ 193046 h 4687251"/>
              <a:gd name="connsiteX50655" fmla="*/ 3228153 w 8079933"/>
              <a:gd name="connsiteY50655" fmla="*/ 186442 h 4687251"/>
              <a:gd name="connsiteX50656" fmla="*/ 3225983 w 8079933"/>
              <a:gd name="connsiteY50656" fmla="*/ 183735 h 4687251"/>
              <a:gd name="connsiteX50657" fmla="*/ 3224572 w 8079933"/>
              <a:gd name="connsiteY50657" fmla="*/ 177455 h 4687251"/>
              <a:gd name="connsiteX50658" fmla="*/ 3224572 w 8079933"/>
              <a:gd name="connsiteY50658" fmla="*/ 172150 h 4687251"/>
              <a:gd name="connsiteX50659" fmla="*/ 3228153 w 8079933"/>
              <a:gd name="connsiteY50659" fmla="*/ 163705 h 4687251"/>
              <a:gd name="connsiteX50660" fmla="*/ 3228804 w 8079933"/>
              <a:gd name="connsiteY50660" fmla="*/ 160673 h 4687251"/>
              <a:gd name="connsiteX50661" fmla="*/ 3227828 w 8079933"/>
              <a:gd name="connsiteY50661" fmla="*/ 157966 h 4687251"/>
              <a:gd name="connsiteX50662" fmla="*/ 3229021 w 8079933"/>
              <a:gd name="connsiteY50662" fmla="*/ 155692 h 4687251"/>
              <a:gd name="connsiteX50663" fmla="*/ 3229021 w 8079933"/>
              <a:gd name="connsiteY50663" fmla="*/ 149738 h 4687251"/>
              <a:gd name="connsiteX50664" fmla="*/ 3231626 w 8079933"/>
              <a:gd name="connsiteY50664" fmla="*/ 147356 h 4687251"/>
              <a:gd name="connsiteX50665" fmla="*/ 3235532 w 8079933"/>
              <a:gd name="connsiteY50665" fmla="*/ 146707 h 4687251"/>
              <a:gd name="connsiteX50666" fmla="*/ 3238245 w 8079933"/>
              <a:gd name="connsiteY50666" fmla="*/ 148872 h 4687251"/>
              <a:gd name="connsiteX50667" fmla="*/ 3242152 w 8079933"/>
              <a:gd name="connsiteY50667" fmla="*/ 149521 h 4687251"/>
              <a:gd name="connsiteX50668" fmla="*/ 3245298 w 8079933"/>
              <a:gd name="connsiteY50668" fmla="*/ 150496 h 4687251"/>
              <a:gd name="connsiteX50669" fmla="*/ 3246601 w 8079933"/>
              <a:gd name="connsiteY50669" fmla="*/ 153528 h 4687251"/>
              <a:gd name="connsiteX50670" fmla="*/ 3250073 w 8079933"/>
              <a:gd name="connsiteY50670" fmla="*/ 155476 h 4687251"/>
              <a:gd name="connsiteX50671" fmla="*/ 3252244 w 8079933"/>
              <a:gd name="connsiteY50671" fmla="*/ 159699 h 4687251"/>
              <a:gd name="connsiteX50672" fmla="*/ 3256151 w 8079933"/>
              <a:gd name="connsiteY50672" fmla="*/ 169119 h 4687251"/>
              <a:gd name="connsiteX50673" fmla="*/ 3256151 w 8079933"/>
              <a:gd name="connsiteY50673" fmla="*/ 173449 h 4687251"/>
              <a:gd name="connsiteX50674" fmla="*/ 3260600 w 8079933"/>
              <a:gd name="connsiteY50674" fmla="*/ 180379 h 4687251"/>
              <a:gd name="connsiteX50675" fmla="*/ 3263313 w 8079933"/>
              <a:gd name="connsiteY50675" fmla="*/ 185684 h 4687251"/>
              <a:gd name="connsiteX50676" fmla="*/ 3264181 w 8079933"/>
              <a:gd name="connsiteY50676" fmla="*/ 196511 h 4687251"/>
              <a:gd name="connsiteX50677" fmla="*/ 3263530 w 8079933"/>
              <a:gd name="connsiteY50677" fmla="*/ 198784 h 4687251"/>
              <a:gd name="connsiteX50678" fmla="*/ 3261142 w 8079933"/>
              <a:gd name="connsiteY50678" fmla="*/ 201383 h 4687251"/>
              <a:gd name="connsiteX50679" fmla="*/ 3261142 w 8079933"/>
              <a:gd name="connsiteY50679" fmla="*/ 205064 h 4687251"/>
              <a:gd name="connsiteX50680" fmla="*/ 3262010 w 8079933"/>
              <a:gd name="connsiteY50680" fmla="*/ 209937 h 4687251"/>
              <a:gd name="connsiteX50681" fmla="*/ 3264289 w 8079933"/>
              <a:gd name="connsiteY50681" fmla="*/ 212101 h 4687251"/>
              <a:gd name="connsiteX50682" fmla="*/ 3267328 w 8079933"/>
              <a:gd name="connsiteY50682" fmla="*/ 219897 h 4687251"/>
              <a:gd name="connsiteX50683" fmla="*/ 3266459 w 8079933"/>
              <a:gd name="connsiteY50683" fmla="*/ 225094 h 4687251"/>
              <a:gd name="connsiteX50684" fmla="*/ 3266459 w 8079933"/>
              <a:gd name="connsiteY50684" fmla="*/ 229317 h 4687251"/>
              <a:gd name="connsiteX50685" fmla="*/ 3268413 w 8079933"/>
              <a:gd name="connsiteY50685" fmla="*/ 232781 h 4687251"/>
              <a:gd name="connsiteX50686" fmla="*/ 3272428 w 8079933"/>
              <a:gd name="connsiteY50686" fmla="*/ 232781 h 4687251"/>
              <a:gd name="connsiteX50687" fmla="*/ 3277529 w 8079933"/>
              <a:gd name="connsiteY50687" fmla="*/ 236571 h 4687251"/>
              <a:gd name="connsiteX50688" fmla="*/ 3281327 w 8079933"/>
              <a:gd name="connsiteY50688" fmla="*/ 236571 h 4687251"/>
              <a:gd name="connsiteX50689" fmla="*/ 3286427 w 8079933"/>
              <a:gd name="connsiteY50689" fmla="*/ 234623 h 4687251"/>
              <a:gd name="connsiteX50690" fmla="*/ 3289899 w 8079933"/>
              <a:gd name="connsiteY50690" fmla="*/ 228451 h 4687251"/>
              <a:gd name="connsiteX50691" fmla="*/ 3291961 w 8079933"/>
              <a:gd name="connsiteY50691" fmla="*/ 226069 h 4687251"/>
              <a:gd name="connsiteX50692" fmla="*/ 3292721 w 8079933"/>
              <a:gd name="connsiteY50692" fmla="*/ 226935 h 4687251"/>
              <a:gd name="connsiteX50693" fmla="*/ 3292721 w 8079933"/>
              <a:gd name="connsiteY50693" fmla="*/ 230941 h 4687251"/>
              <a:gd name="connsiteX50694" fmla="*/ 3293697 w 8079933"/>
              <a:gd name="connsiteY50694" fmla="*/ 233323 h 4687251"/>
              <a:gd name="connsiteX50695" fmla="*/ 3295650 w 8079933"/>
              <a:gd name="connsiteY50695" fmla="*/ 233323 h 4687251"/>
              <a:gd name="connsiteX50696" fmla="*/ 3298363 w 8079933"/>
              <a:gd name="connsiteY50696" fmla="*/ 232132 h 4687251"/>
              <a:gd name="connsiteX50697" fmla="*/ 3301510 w 8079933"/>
              <a:gd name="connsiteY50697" fmla="*/ 233647 h 4687251"/>
              <a:gd name="connsiteX50698" fmla="*/ 3302813 w 8079933"/>
              <a:gd name="connsiteY50698" fmla="*/ 236030 h 4687251"/>
              <a:gd name="connsiteX50699" fmla="*/ 3302813 w 8079933"/>
              <a:gd name="connsiteY50699" fmla="*/ 239169 h 4687251"/>
              <a:gd name="connsiteX50700" fmla="*/ 3304766 w 8079933"/>
              <a:gd name="connsiteY50700" fmla="*/ 241768 h 4687251"/>
              <a:gd name="connsiteX50701" fmla="*/ 3308130 w 8079933"/>
              <a:gd name="connsiteY50701" fmla="*/ 241768 h 4687251"/>
              <a:gd name="connsiteX50702" fmla="*/ 3310734 w 8079933"/>
              <a:gd name="connsiteY50702" fmla="*/ 242851 h 4687251"/>
              <a:gd name="connsiteX50703" fmla="*/ 3315509 w 8079933"/>
              <a:gd name="connsiteY50703" fmla="*/ 242851 h 4687251"/>
              <a:gd name="connsiteX50704" fmla="*/ 3316702 w 8079933"/>
              <a:gd name="connsiteY50704" fmla="*/ 241443 h 4687251"/>
              <a:gd name="connsiteX50705" fmla="*/ 3315184 w 8079933"/>
              <a:gd name="connsiteY50705" fmla="*/ 240361 h 4687251"/>
              <a:gd name="connsiteX50706" fmla="*/ 3310734 w 8079933"/>
              <a:gd name="connsiteY50706" fmla="*/ 237762 h 4687251"/>
              <a:gd name="connsiteX50707" fmla="*/ 3309215 w 8079933"/>
              <a:gd name="connsiteY50707" fmla="*/ 234623 h 4687251"/>
              <a:gd name="connsiteX50708" fmla="*/ 3309215 w 8079933"/>
              <a:gd name="connsiteY50708" fmla="*/ 230616 h 4687251"/>
              <a:gd name="connsiteX50709" fmla="*/ 3306068 w 8079933"/>
              <a:gd name="connsiteY50709" fmla="*/ 230616 h 4687251"/>
              <a:gd name="connsiteX50710" fmla="*/ 3304332 w 8079933"/>
              <a:gd name="connsiteY50710" fmla="*/ 228667 h 4687251"/>
              <a:gd name="connsiteX50711" fmla="*/ 3304332 w 8079933"/>
              <a:gd name="connsiteY50711" fmla="*/ 224012 h 4687251"/>
              <a:gd name="connsiteX50712" fmla="*/ 3302270 w 8079933"/>
              <a:gd name="connsiteY50712" fmla="*/ 220439 h 4687251"/>
              <a:gd name="connsiteX50713" fmla="*/ 3297387 w 8079933"/>
              <a:gd name="connsiteY50713" fmla="*/ 216541 h 4687251"/>
              <a:gd name="connsiteX50714" fmla="*/ 3297387 w 8079933"/>
              <a:gd name="connsiteY50714" fmla="*/ 213727 h 4687251"/>
              <a:gd name="connsiteX50715" fmla="*/ 3295867 w 8079933"/>
              <a:gd name="connsiteY50715" fmla="*/ 207771 h 4687251"/>
              <a:gd name="connsiteX50716" fmla="*/ 3293154 w 8079933"/>
              <a:gd name="connsiteY50716" fmla="*/ 203765 h 4687251"/>
              <a:gd name="connsiteX50717" fmla="*/ 3293154 w 8079933"/>
              <a:gd name="connsiteY50717" fmla="*/ 200949 h 4687251"/>
              <a:gd name="connsiteX50718" fmla="*/ 3294240 w 8079933"/>
              <a:gd name="connsiteY50718" fmla="*/ 194778 h 4687251"/>
              <a:gd name="connsiteX50719" fmla="*/ 3293154 w 8079933"/>
              <a:gd name="connsiteY50719" fmla="*/ 190555 h 4687251"/>
              <a:gd name="connsiteX50720" fmla="*/ 3289682 w 8079933"/>
              <a:gd name="connsiteY50720" fmla="*/ 184493 h 4687251"/>
              <a:gd name="connsiteX50721" fmla="*/ 3289682 w 8079933"/>
              <a:gd name="connsiteY50721" fmla="*/ 180271 h 4687251"/>
              <a:gd name="connsiteX50722" fmla="*/ 3290550 w 8079933"/>
              <a:gd name="connsiteY50722" fmla="*/ 178213 h 4687251"/>
              <a:gd name="connsiteX50723" fmla="*/ 3289248 w 8079933"/>
              <a:gd name="connsiteY50723" fmla="*/ 172042 h 4687251"/>
              <a:gd name="connsiteX50724" fmla="*/ 3287729 w 8079933"/>
              <a:gd name="connsiteY50724" fmla="*/ 169768 h 4687251"/>
              <a:gd name="connsiteX50725" fmla="*/ 3288380 w 8079933"/>
              <a:gd name="connsiteY50725" fmla="*/ 164788 h 4687251"/>
              <a:gd name="connsiteX50726" fmla="*/ 3285775 w 8079933"/>
              <a:gd name="connsiteY50726" fmla="*/ 158725 h 4687251"/>
              <a:gd name="connsiteX50727" fmla="*/ 3283496 w 8079933"/>
              <a:gd name="connsiteY50727" fmla="*/ 154069 h 4687251"/>
              <a:gd name="connsiteX50728" fmla="*/ 3285341 w 8079933"/>
              <a:gd name="connsiteY50728" fmla="*/ 150496 h 4687251"/>
              <a:gd name="connsiteX50729" fmla="*/ 3283063 w 8079933"/>
              <a:gd name="connsiteY50729" fmla="*/ 145515 h 4687251"/>
              <a:gd name="connsiteX50730" fmla="*/ 3283063 w 8079933"/>
              <a:gd name="connsiteY50730" fmla="*/ 140860 h 4687251"/>
              <a:gd name="connsiteX50731" fmla="*/ 3284799 w 8079933"/>
              <a:gd name="connsiteY50731" fmla="*/ 138586 h 4687251"/>
              <a:gd name="connsiteX50732" fmla="*/ 3292721 w 8079933"/>
              <a:gd name="connsiteY50732" fmla="*/ 139993 h 4687251"/>
              <a:gd name="connsiteX50733" fmla="*/ 3294457 w 8079933"/>
              <a:gd name="connsiteY50733" fmla="*/ 143133 h 4687251"/>
              <a:gd name="connsiteX50734" fmla="*/ 3296735 w 8079933"/>
              <a:gd name="connsiteY50734" fmla="*/ 143133 h 4687251"/>
              <a:gd name="connsiteX50735" fmla="*/ 3298472 w 8079933"/>
              <a:gd name="connsiteY50735" fmla="*/ 140752 h 4687251"/>
              <a:gd name="connsiteX50736" fmla="*/ 3300751 w 8079933"/>
              <a:gd name="connsiteY50736" fmla="*/ 140752 h 4687251"/>
              <a:gd name="connsiteX50737" fmla="*/ 3308130 w 8079933"/>
              <a:gd name="connsiteY50737" fmla="*/ 149196 h 4687251"/>
              <a:gd name="connsiteX50738" fmla="*/ 3314641 w 8079933"/>
              <a:gd name="connsiteY50738" fmla="*/ 152661 h 4687251"/>
              <a:gd name="connsiteX50739" fmla="*/ 3317245 w 8079933"/>
              <a:gd name="connsiteY50739" fmla="*/ 150820 h 4687251"/>
              <a:gd name="connsiteX50740" fmla="*/ 3317245 w 8079933"/>
              <a:gd name="connsiteY50740" fmla="*/ 146057 h 4687251"/>
              <a:gd name="connsiteX50741" fmla="*/ 3315184 w 8079933"/>
              <a:gd name="connsiteY50741" fmla="*/ 144000 h 4687251"/>
              <a:gd name="connsiteX50742" fmla="*/ 3317462 w 8079933"/>
              <a:gd name="connsiteY50742" fmla="*/ 136963 h 4687251"/>
              <a:gd name="connsiteX50743" fmla="*/ 3320067 w 8079933"/>
              <a:gd name="connsiteY50743" fmla="*/ 136963 h 4687251"/>
              <a:gd name="connsiteX50744" fmla="*/ 3323865 w 8079933"/>
              <a:gd name="connsiteY50744" fmla="*/ 138369 h 4687251"/>
              <a:gd name="connsiteX50745" fmla="*/ 3329074 w 8079933"/>
              <a:gd name="connsiteY50745" fmla="*/ 137287 h 4687251"/>
              <a:gd name="connsiteX50746" fmla="*/ 3333197 w 8079933"/>
              <a:gd name="connsiteY50746" fmla="*/ 134689 h 4687251"/>
              <a:gd name="connsiteX50747" fmla="*/ 3337647 w 8079933"/>
              <a:gd name="connsiteY50747" fmla="*/ 135663 h 4687251"/>
              <a:gd name="connsiteX50748" fmla="*/ 3340902 w 8079933"/>
              <a:gd name="connsiteY50748" fmla="*/ 138044 h 4687251"/>
              <a:gd name="connsiteX50749" fmla="*/ 3344483 w 8079933"/>
              <a:gd name="connsiteY50749" fmla="*/ 139020 h 4687251"/>
              <a:gd name="connsiteX50750" fmla="*/ 3346762 w 8079933"/>
              <a:gd name="connsiteY50750" fmla="*/ 141076 h 4687251"/>
              <a:gd name="connsiteX50751" fmla="*/ 3349149 w 8079933"/>
              <a:gd name="connsiteY50751" fmla="*/ 147897 h 4687251"/>
              <a:gd name="connsiteX50752" fmla="*/ 3349149 w 8079933"/>
              <a:gd name="connsiteY50752" fmla="*/ 150820 h 4687251"/>
              <a:gd name="connsiteX50753" fmla="*/ 3353490 w 8079933"/>
              <a:gd name="connsiteY50753" fmla="*/ 155584 h 4687251"/>
              <a:gd name="connsiteX50754" fmla="*/ 3353490 w 8079933"/>
              <a:gd name="connsiteY50754" fmla="*/ 160024 h 4687251"/>
              <a:gd name="connsiteX50755" fmla="*/ 3351754 w 8079933"/>
              <a:gd name="connsiteY50755" fmla="*/ 163813 h 4687251"/>
              <a:gd name="connsiteX50756" fmla="*/ 3354358 w 8079933"/>
              <a:gd name="connsiteY50756" fmla="*/ 172583 h 4687251"/>
              <a:gd name="connsiteX50757" fmla="*/ 3354358 w 8079933"/>
              <a:gd name="connsiteY50757" fmla="*/ 177780 h 4687251"/>
              <a:gd name="connsiteX50758" fmla="*/ 3355769 w 8079933"/>
              <a:gd name="connsiteY50758" fmla="*/ 180920 h 4687251"/>
              <a:gd name="connsiteX50759" fmla="*/ 3359350 w 8079933"/>
              <a:gd name="connsiteY50759" fmla="*/ 183301 h 4687251"/>
              <a:gd name="connsiteX50760" fmla="*/ 3365535 w 8079933"/>
              <a:gd name="connsiteY50760" fmla="*/ 183301 h 4687251"/>
              <a:gd name="connsiteX50761" fmla="*/ 3371504 w 8079933"/>
              <a:gd name="connsiteY50761" fmla="*/ 186874 h 4687251"/>
              <a:gd name="connsiteX50762" fmla="*/ 3377038 w 8079933"/>
              <a:gd name="connsiteY50762" fmla="*/ 190989 h 4687251"/>
              <a:gd name="connsiteX50763" fmla="*/ 3375844 w 8079933"/>
              <a:gd name="connsiteY50763" fmla="*/ 187524 h 4687251"/>
              <a:gd name="connsiteX50764" fmla="*/ 3375844 w 8079933"/>
              <a:gd name="connsiteY50764" fmla="*/ 185792 h 4687251"/>
              <a:gd name="connsiteX50765" fmla="*/ 3370636 w 8079933"/>
              <a:gd name="connsiteY50765" fmla="*/ 182869 h 4687251"/>
              <a:gd name="connsiteX50766" fmla="*/ 3367922 w 8079933"/>
              <a:gd name="connsiteY50766" fmla="*/ 179404 h 4687251"/>
              <a:gd name="connsiteX50767" fmla="*/ 3364341 w 8079933"/>
              <a:gd name="connsiteY50767" fmla="*/ 179404 h 4687251"/>
              <a:gd name="connsiteX50768" fmla="*/ 3359675 w 8079933"/>
              <a:gd name="connsiteY50768" fmla="*/ 176481 h 4687251"/>
              <a:gd name="connsiteX50769" fmla="*/ 3359024 w 8079933"/>
              <a:gd name="connsiteY50769" fmla="*/ 173557 h 4687251"/>
              <a:gd name="connsiteX50770" fmla="*/ 3359024 w 8079933"/>
              <a:gd name="connsiteY50770" fmla="*/ 168252 h 4687251"/>
              <a:gd name="connsiteX50771" fmla="*/ 3356094 w 8079933"/>
              <a:gd name="connsiteY50771" fmla="*/ 163488 h 4687251"/>
              <a:gd name="connsiteX50772" fmla="*/ 3356094 w 8079933"/>
              <a:gd name="connsiteY50772" fmla="*/ 160240 h 4687251"/>
              <a:gd name="connsiteX50773" fmla="*/ 3358373 w 8079933"/>
              <a:gd name="connsiteY50773" fmla="*/ 153744 h 4687251"/>
              <a:gd name="connsiteX50774" fmla="*/ 3357722 w 8079933"/>
              <a:gd name="connsiteY50774" fmla="*/ 148764 h 4687251"/>
              <a:gd name="connsiteX50775" fmla="*/ 3357722 w 8079933"/>
              <a:gd name="connsiteY50775" fmla="*/ 145515 h 4687251"/>
              <a:gd name="connsiteX50776" fmla="*/ 3358698 w 8079933"/>
              <a:gd name="connsiteY50776" fmla="*/ 143458 h 4687251"/>
              <a:gd name="connsiteX50777" fmla="*/ 3356420 w 8079933"/>
              <a:gd name="connsiteY50777" fmla="*/ 140210 h 4687251"/>
              <a:gd name="connsiteX50778" fmla="*/ 3352405 w 8079933"/>
              <a:gd name="connsiteY50778" fmla="*/ 138369 h 4687251"/>
              <a:gd name="connsiteX50779" fmla="*/ 3347196 w 8079933"/>
              <a:gd name="connsiteY50779" fmla="*/ 131440 h 4687251"/>
              <a:gd name="connsiteX50780" fmla="*/ 3344266 w 8079933"/>
              <a:gd name="connsiteY50780" fmla="*/ 131440 h 4687251"/>
              <a:gd name="connsiteX50781" fmla="*/ 3339817 w 8079933"/>
              <a:gd name="connsiteY50781" fmla="*/ 131440 h 4687251"/>
              <a:gd name="connsiteX50782" fmla="*/ 3336236 w 8079933"/>
              <a:gd name="connsiteY50782" fmla="*/ 133389 h 4687251"/>
              <a:gd name="connsiteX50783" fmla="*/ 3333306 w 8079933"/>
              <a:gd name="connsiteY50783" fmla="*/ 134255 h 4687251"/>
              <a:gd name="connsiteX50784" fmla="*/ 3328314 w 8079933"/>
              <a:gd name="connsiteY50784" fmla="*/ 131007 h 4687251"/>
              <a:gd name="connsiteX50785" fmla="*/ 3328314 w 8079933"/>
              <a:gd name="connsiteY50785" fmla="*/ 125485 h 4687251"/>
              <a:gd name="connsiteX50786" fmla="*/ 3330592 w 8079933"/>
              <a:gd name="connsiteY50786" fmla="*/ 120505 h 4687251"/>
              <a:gd name="connsiteX50787" fmla="*/ 3334391 w 8079933"/>
              <a:gd name="connsiteY50787" fmla="*/ 120505 h 4687251"/>
              <a:gd name="connsiteX50788" fmla="*/ 3334391 w 8079933"/>
              <a:gd name="connsiteY50788" fmla="*/ 118231 h 4687251"/>
              <a:gd name="connsiteX50789" fmla="*/ 3327988 w 8079933"/>
              <a:gd name="connsiteY50789" fmla="*/ 113467 h 4687251"/>
              <a:gd name="connsiteX50790" fmla="*/ 3327012 w 8079933"/>
              <a:gd name="connsiteY50790" fmla="*/ 108487 h 4687251"/>
              <a:gd name="connsiteX50791" fmla="*/ 3327988 w 8079933"/>
              <a:gd name="connsiteY50791" fmla="*/ 104698 h 4687251"/>
              <a:gd name="connsiteX50792" fmla="*/ 3329074 w 8079933"/>
              <a:gd name="connsiteY50792" fmla="*/ 100908 h 4687251"/>
              <a:gd name="connsiteX50793" fmla="*/ 3331136 w 8079933"/>
              <a:gd name="connsiteY50793" fmla="*/ 100908 h 4687251"/>
              <a:gd name="connsiteX50794" fmla="*/ 3334717 w 8079933"/>
              <a:gd name="connsiteY50794" fmla="*/ 104373 h 4687251"/>
              <a:gd name="connsiteX50795" fmla="*/ 3337321 w 8079933"/>
              <a:gd name="connsiteY50795" fmla="*/ 109136 h 4687251"/>
              <a:gd name="connsiteX50796" fmla="*/ 3338840 w 8079933"/>
              <a:gd name="connsiteY50796" fmla="*/ 109136 h 4687251"/>
              <a:gd name="connsiteX50797" fmla="*/ 3343290 w 8079933"/>
              <a:gd name="connsiteY50797" fmla="*/ 102207 h 4687251"/>
              <a:gd name="connsiteX50798" fmla="*/ 3346870 w 8079933"/>
              <a:gd name="connsiteY50798" fmla="*/ 100800 h 4687251"/>
              <a:gd name="connsiteX50799" fmla="*/ 3351319 w 8079933"/>
              <a:gd name="connsiteY50799" fmla="*/ 98526 h 4687251"/>
              <a:gd name="connsiteX50800" fmla="*/ 3352405 w 8079933"/>
              <a:gd name="connsiteY50800" fmla="*/ 95494 h 4687251"/>
              <a:gd name="connsiteX50801" fmla="*/ 3356420 w 8079933"/>
              <a:gd name="connsiteY50801" fmla="*/ 91055 h 4687251"/>
              <a:gd name="connsiteX50802" fmla="*/ 3361086 w 8079933"/>
              <a:gd name="connsiteY50802" fmla="*/ 90406 h 4687251"/>
              <a:gd name="connsiteX50803" fmla="*/ 3357614 w 8079933"/>
              <a:gd name="connsiteY50803" fmla="*/ 93113 h 4687251"/>
              <a:gd name="connsiteX50804" fmla="*/ 3356420 w 8079933"/>
              <a:gd name="connsiteY50804" fmla="*/ 96360 h 4687251"/>
              <a:gd name="connsiteX50805" fmla="*/ 3357288 w 8079933"/>
              <a:gd name="connsiteY50805" fmla="*/ 97876 h 4687251"/>
              <a:gd name="connsiteX50806" fmla="*/ 3360869 w 8079933"/>
              <a:gd name="connsiteY50806" fmla="*/ 96036 h 4687251"/>
              <a:gd name="connsiteX50807" fmla="*/ 3365209 w 8079933"/>
              <a:gd name="connsiteY50807" fmla="*/ 96036 h 4687251"/>
              <a:gd name="connsiteX50808" fmla="*/ 3366729 w 8079933"/>
              <a:gd name="connsiteY50808" fmla="*/ 97876 h 4687251"/>
              <a:gd name="connsiteX50809" fmla="*/ 3367380 w 8079933"/>
              <a:gd name="connsiteY50809" fmla="*/ 101449 h 4687251"/>
              <a:gd name="connsiteX50810" fmla="*/ 3370527 w 8079933"/>
              <a:gd name="connsiteY50810" fmla="*/ 103831 h 4687251"/>
              <a:gd name="connsiteX50811" fmla="*/ 3370527 w 8079933"/>
              <a:gd name="connsiteY50811" fmla="*/ 106214 h 4687251"/>
              <a:gd name="connsiteX50812" fmla="*/ 3368248 w 8079933"/>
              <a:gd name="connsiteY50812" fmla="*/ 109677 h 4687251"/>
              <a:gd name="connsiteX50813" fmla="*/ 3369984 w 8079933"/>
              <a:gd name="connsiteY50813" fmla="*/ 112601 h 4687251"/>
              <a:gd name="connsiteX50814" fmla="*/ 3371937 w 8079933"/>
              <a:gd name="connsiteY50814" fmla="*/ 109461 h 4687251"/>
              <a:gd name="connsiteX50815" fmla="*/ 3375194 w 8079933"/>
              <a:gd name="connsiteY50815" fmla="*/ 104156 h 4687251"/>
              <a:gd name="connsiteX50816" fmla="*/ 3379968 w 8079933"/>
              <a:gd name="connsiteY50816" fmla="*/ 106214 h 4687251"/>
              <a:gd name="connsiteX50817" fmla="*/ 3383549 w 8079933"/>
              <a:gd name="connsiteY50817" fmla="*/ 110111 h 4687251"/>
              <a:gd name="connsiteX50818" fmla="*/ 3383549 w 8079933"/>
              <a:gd name="connsiteY50818" fmla="*/ 113575 h 4687251"/>
              <a:gd name="connsiteX50819" fmla="*/ 3386696 w 8079933"/>
              <a:gd name="connsiteY50819" fmla="*/ 119639 h 4687251"/>
              <a:gd name="connsiteX50820" fmla="*/ 3388433 w 8079933"/>
              <a:gd name="connsiteY50820" fmla="*/ 125485 h 4687251"/>
              <a:gd name="connsiteX50821" fmla="*/ 3388433 w 8079933"/>
              <a:gd name="connsiteY50821" fmla="*/ 132198 h 4687251"/>
              <a:gd name="connsiteX50822" fmla="*/ 3391362 w 8079933"/>
              <a:gd name="connsiteY50822" fmla="*/ 128734 h 4687251"/>
              <a:gd name="connsiteX50823" fmla="*/ 3391362 w 8079933"/>
              <a:gd name="connsiteY50823" fmla="*/ 122887 h 4687251"/>
              <a:gd name="connsiteX50824" fmla="*/ 3389518 w 8079933"/>
              <a:gd name="connsiteY50824" fmla="*/ 119422 h 4687251"/>
              <a:gd name="connsiteX50825" fmla="*/ 3388107 w 8079933"/>
              <a:gd name="connsiteY50825" fmla="*/ 116715 h 4687251"/>
              <a:gd name="connsiteX50826" fmla="*/ 3388107 w 8079933"/>
              <a:gd name="connsiteY50826" fmla="*/ 112277 h 4687251"/>
              <a:gd name="connsiteX50827" fmla="*/ 3387021 w 8079933"/>
              <a:gd name="connsiteY50827" fmla="*/ 110220 h 4687251"/>
              <a:gd name="connsiteX50828" fmla="*/ 3388107 w 8079933"/>
              <a:gd name="connsiteY50828" fmla="*/ 108487 h 4687251"/>
              <a:gd name="connsiteX50829" fmla="*/ 3390819 w 8079933"/>
              <a:gd name="connsiteY50829" fmla="*/ 110760 h 4687251"/>
              <a:gd name="connsiteX50830" fmla="*/ 3397873 w 8079933"/>
              <a:gd name="connsiteY50830" fmla="*/ 116283 h 4687251"/>
              <a:gd name="connsiteX50831" fmla="*/ 3402539 w 8079933"/>
              <a:gd name="connsiteY50831" fmla="*/ 123536 h 4687251"/>
              <a:gd name="connsiteX50832" fmla="*/ 3408183 w 8079933"/>
              <a:gd name="connsiteY50832" fmla="*/ 126461 h 4687251"/>
              <a:gd name="connsiteX50833" fmla="*/ 3413608 w 8079933"/>
              <a:gd name="connsiteY50833" fmla="*/ 127434 h 4687251"/>
              <a:gd name="connsiteX50834" fmla="*/ 3413608 w 8079933"/>
              <a:gd name="connsiteY50834" fmla="*/ 125702 h 4687251"/>
              <a:gd name="connsiteX50835" fmla="*/ 3410896 w 8079933"/>
              <a:gd name="connsiteY50835" fmla="*/ 123320 h 4687251"/>
              <a:gd name="connsiteX50836" fmla="*/ 3405578 w 8079933"/>
              <a:gd name="connsiteY50836" fmla="*/ 121154 h 4687251"/>
              <a:gd name="connsiteX50837" fmla="*/ 3401888 w 8079933"/>
              <a:gd name="connsiteY50837" fmla="*/ 114550 h 4687251"/>
              <a:gd name="connsiteX50838" fmla="*/ 3401020 w 8079933"/>
              <a:gd name="connsiteY50838" fmla="*/ 108271 h 4687251"/>
              <a:gd name="connsiteX50839" fmla="*/ 3402323 w 8079933"/>
              <a:gd name="connsiteY50839" fmla="*/ 101991 h 4687251"/>
              <a:gd name="connsiteX50840" fmla="*/ 3406771 w 8079933"/>
              <a:gd name="connsiteY50840" fmla="*/ 101991 h 4687251"/>
              <a:gd name="connsiteX50841" fmla="*/ 3411221 w 8079933"/>
              <a:gd name="connsiteY50841" fmla="*/ 101991 h 4687251"/>
              <a:gd name="connsiteX50842" fmla="*/ 3417515 w 8079933"/>
              <a:gd name="connsiteY50842" fmla="*/ 105672 h 4687251"/>
              <a:gd name="connsiteX50843" fmla="*/ 3422290 w 8079933"/>
              <a:gd name="connsiteY50843" fmla="*/ 105672 h 4687251"/>
              <a:gd name="connsiteX50844" fmla="*/ 3424026 w 8079933"/>
              <a:gd name="connsiteY50844" fmla="*/ 103723 h 4687251"/>
              <a:gd name="connsiteX50845" fmla="*/ 3422506 w 8079933"/>
              <a:gd name="connsiteY50845" fmla="*/ 101341 h 4687251"/>
              <a:gd name="connsiteX50846" fmla="*/ 3419360 w 8079933"/>
              <a:gd name="connsiteY50846" fmla="*/ 100258 h 4687251"/>
              <a:gd name="connsiteX50847" fmla="*/ 3419360 w 8079933"/>
              <a:gd name="connsiteY50847" fmla="*/ 97876 h 4687251"/>
              <a:gd name="connsiteX50848" fmla="*/ 3423375 w 8079933"/>
              <a:gd name="connsiteY50848" fmla="*/ 92679 h 4687251"/>
              <a:gd name="connsiteX50849" fmla="*/ 3426956 w 8079933"/>
              <a:gd name="connsiteY50849" fmla="*/ 89540 h 4687251"/>
              <a:gd name="connsiteX50850" fmla="*/ 3425653 w 8079933"/>
              <a:gd name="connsiteY50850" fmla="*/ 87482 h 4687251"/>
              <a:gd name="connsiteX50851" fmla="*/ 3423917 w 8079933"/>
              <a:gd name="connsiteY50851" fmla="*/ 84667 h 4687251"/>
              <a:gd name="connsiteX50852" fmla="*/ 3425219 w 8079933"/>
              <a:gd name="connsiteY50852" fmla="*/ 80337 h 4687251"/>
              <a:gd name="connsiteX50853" fmla="*/ 3428041 w 8079933"/>
              <a:gd name="connsiteY50853" fmla="*/ 79688 h 4687251"/>
              <a:gd name="connsiteX50854" fmla="*/ 3431079 w 8079933"/>
              <a:gd name="connsiteY50854" fmla="*/ 80662 h 4687251"/>
              <a:gd name="connsiteX50855" fmla="*/ 3433141 w 8079933"/>
              <a:gd name="connsiteY50855" fmla="*/ 78063 h 4687251"/>
              <a:gd name="connsiteX50856" fmla="*/ 3434009 w 8079933"/>
              <a:gd name="connsiteY50856" fmla="*/ 73407 h 4687251"/>
              <a:gd name="connsiteX50857" fmla="*/ 3435529 w 8079933"/>
              <a:gd name="connsiteY50857" fmla="*/ 71567 h 4687251"/>
              <a:gd name="connsiteX50858" fmla="*/ 3438242 w 8079933"/>
              <a:gd name="connsiteY50858" fmla="*/ 72433 h 4687251"/>
              <a:gd name="connsiteX50859" fmla="*/ 3440195 w 8079933"/>
              <a:gd name="connsiteY50859" fmla="*/ 74166 h 4687251"/>
              <a:gd name="connsiteX50860" fmla="*/ 3441931 w 8079933"/>
              <a:gd name="connsiteY50860" fmla="*/ 74166 h 4687251"/>
              <a:gd name="connsiteX50861" fmla="*/ 3444101 w 8079933"/>
              <a:gd name="connsiteY50861" fmla="*/ 77522 h 4687251"/>
              <a:gd name="connsiteX50862" fmla="*/ 3445621 w 8079933"/>
              <a:gd name="connsiteY50862" fmla="*/ 82935 h 4687251"/>
              <a:gd name="connsiteX50863" fmla="*/ 3448008 w 8079933"/>
              <a:gd name="connsiteY50863" fmla="*/ 84667 h 4687251"/>
              <a:gd name="connsiteX50864" fmla="*/ 3450504 w 8079933"/>
              <a:gd name="connsiteY50864" fmla="*/ 83043 h 4687251"/>
              <a:gd name="connsiteX50865" fmla="*/ 3450504 w 8079933"/>
              <a:gd name="connsiteY50865" fmla="*/ 78063 h 4687251"/>
              <a:gd name="connsiteX50866" fmla="*/ 3448984 w 8079933"/>
              <a:gd name="connsiteY50866" fmla="*/ 74166 h 4687251"/>
              <a:gd name="connsiteX50867" fmla="*/ 3448984 w 8079933"/>
              <a:gd name="connsiteY50867" fmla="*/ 71025 h 4687251"/>
              <a:gd name="connsiteX50868" fmla="*/ 3450829 w 8079933"/>
              <a:gd name="connsiteY50868" fmla="*/ 68968 h 4687251"/>
              <a:gd name="connsiteX50869" fmla="*/ 2941342 w 8079933"/>
              <a:gd name="connsiteY50869" fmla="*/ 4872 h 4687251"/>
              <a:gd name="connsiteX50870" fmla="*/ 2943621 w 8079933"/>
              <a:gd name="connsiteY50870" fmla="*/ 8986 h 4687251"/>
              <a:gd name="connsiteX50871" fmla="*/ 2939389 w 8079933"/>
              <a:gd name="connsiteY50871" fmla="*/ 10610 h 4687251"/>
              <a:gd name="connsiteX50872" fmla="*/ 2936677 w 8079933"/>
              <a:gd name="connsiteY50872" fmla="*/ 9311 h 4687251"/>
              <a:gd name="connsiteX50873" fmla="*/ 2938522 w 8079933"/>
              <a:gd name="connsiteY50873" fmla="*/ 5197 h 4687251"/>
              <a:gd name="connsiteX50874" fmla="*/ 2891317 w 8079933"/>
              <a:gd name="connsiteY50874" fmla="*/ 0 h 4687251"/>
              <a:gd name="connsiteX50875" fmla="*/ 2894573 w 8079933"/>
              <a:gd name="connsiteY50875" fmla="*/ 2274 h 4687251"/>
              <a:gd name="connsiteX50876" fmla="*/ 2897936 w 8079933"/>
              <a:gd name="connsiteY50876" fmla="*/ 2382 h 4687251"/>
              <a:gd name="connsiteX50877" fmla="*/ 2902386 w 8079933"/>
              <a:gd name="connsiteY50877" fmla="*/ 4006 h 4687251"/>
              <a:gd name="connsiteX50878" fmla="*/ 2908245 w 8079933"/>
              <a:gd name="connsiteY50878" fmla="*/ 1516 h 4687251"/>
              <a:gd name="connsiteX50879" fmla="*/ 2913780 w 8079933"/>
              <a:gd name="connsiteY50879" fmla="*/ 3031 h 4687251"/>
              <a:gd name="connsiteX50880" fmla="*/ 2915733 w 8079933"/>
              <a:gd name="connsiteY50880" fmla="*/ 6821 h 4687251"/>
              <a:gd name="connsiteX50881" fmla="*/ 2921810 w 8079933"/>
              <a:gd name="connsiteY50881" fmla="*/ 8878 h 4687251"/>
              <a:gd name="connsiteX50882" fmla="*/ 2927562 w 8079933"/>
              <a:gd name="connsiteY50882" fmla="*/ 6929 h 4687251"/>
              <a:gd name="connsiteX50883" fmla="*/ 2933313 w 8079933"/>
              <a:gd name="connsiteY50883" fmla="*/ 11044 h 4687251"/>
              <a:gd name="connsiteX50884" fmla="*/ 2934507 w 8079933"/>
              <a:gd name="connsiteY50884" fmla="*/ 14833 h 4687251"/>
              <a:gd name="connsiteX50885" fmla="*/ 2936351 w 8079933"/>
              <a:gd name="connsiteY50885" fmla="*/ 17215 h 4687251"/>
              <a:gd name="connsiteX50886" fmla="*/ 2937003 w 8079933"/>
              <a:gd name="connsiteY50886" fmla="*/ 23061 h 4687251"/>
              <a:gd name="connsiteX50887" fmla="*/ 2934507 w 8079933"/>
              <a:gd name="connsiteY50887" fmla="*/ 28583 h 4687251"/>
              <a:gd name="connsiteX50888" fmla="*/ 2935591 w 8079933"/>
              <a:gd name="connsiteY50888" fmla="*/ 31182 h 4687251"/>
              <a:gd name="connsiteX50889" fmla="*/ 2939390 w 8079933"/>
              <a:gd name="connsiteY50889" fmla="*/ 30316 h 4687251"/>
              <a:gd name="connsiteX50890" fmla="*/ 2944599 w 8079933"/>
              <a:gd name="connsiteY50890" fmla="*/ 24361 h 4687251"/>
              <a:gd name="connsiteX50891" fmla="*/ 2951869 w 8079933"/>
              <a:gd name="connsiteY50891" fmla="*/ 19164 h 4687251"/>
              <a:gd name="connsiteX50892" fmla="*/ 2955016 w 8079933"/>
              <a:gd name="connsiteY50892" fmla="*/ 15267 h 4687251"/>
              <a:gd name="connsiteX50893" fmla="*/ 2959682 w 8079933"/>
              <a:gd name="connsiteY50893" fmla="*/ 15049 h 4687251"/>
              <a:gd name="connsiteX50894" fmla="*/ 2965217 w 8079933"/>
              <a:gd name="connsiteY50894" fmla="*/ 18298 h 4687251"/>
              <a:gd name="connsiteX50895" fmla="*/ 2971185 w 8079933"/>
              <a:gd name="connsiteY50895" fmla="*/ 18514 h 4687251"/>
              <a:gd name="connsiteX50896" fmla="*/ 2970534 w 8079933"/>
              <a:gd name="connsiteY50896" fmla="*/ 21655 h 4687251"/>
              <a:gd name="connsiteX50897" fmla="*/ 2965325 w 8079933"/>
              <a:gd name="connsiteY50897" fmla="*/ 26743 h 4687251"/>
              <a:gd name="connsiteX50898" fmla="*/ 2968147 w 8079933"/>
              <a:gd name="connsiteY50898" fmla="*/ 31182 h 4687251"/>
              <a:gd name="connsiteX50899" fmla="*/ 2970317 w 8079933"/>
              <a:gd name="connsiteY50899" fmla="*/ 29883 h 4687251"/>
              <a:gd name="connsiteX50900" fmla="*/ 2971511 w 8079933"/>
              <a:gd name="connsiteY50900" fmla="*/ 25552 h 4687251"/>
              <a:gd name="connsiteX50901" fmla="*/ 2976719 w 8079933"/>
              <a:gd name="connsiteY50901" fmla="*/ 21655 h 4687251"/>
              <a:gd name="connsiteX50902" fmla="*/ 2981386 w 8079933"/>
              <a:gd name="connsiteY50902" fmla="*/ 19814 h 4687251"/>
              <a:gd name="connsiteX50903" fmla="*/ 2988765 w 8079933"/>
              <a:gd name="connsiteY50903" fmla="*/ 23170 h 4687251"/>
              <a:gd name="connsiteX50904" fmla="*/ 2997772 w 8079933"/>
              <a:gd name="connsiteY50904" fmla="*/ 24902 h 4687251"/>
              <a:gd name="connsiteX50905" fmla="*/ 3000702 w 8079933"/>
              <a:gd name="connsiteY50905" fmla="*/ 28150 h 4687251"/>
              <a:gd name="connsiteX50906" fmla="*/ 2998314 w 8079933"/>
              <a:gd name="connsiteY50906" fmla="*/ 30641 h 4687251"/>
              <a:gd name="connsiteX50907" fmla="*/ 2995819 w 8079933"/>
              <a:gd name="connsiteY50907" fmla="*/ 31073 h 4687251"/>
              <a:gd name="connsiteX50908" fmla="*/ 2997229 w 8079933"/>
              <a:gd name="connsiteY50908" fmla="*/ 34646 h 4687251"/>
              <a:gd name="connsiteX50909" fmla="*/ 2993756 w 8079933"/>
              <a:gd name="connsiteY50909" fmla="*/ 37570 h 4687251"/>
              <a:gd name="connsiteX50910" fmla="*/ 2996144 w 8079933"/>
              <a:gd name="connsiteY50910" fmla="*/ 40710 h 4687251"/>
              <a:gd name="connsiteX50911" fmla="*/ 2999183 w 8079933"/>
              <a:gd name="connsiteY50911" fmla="*/ 38220 h 4687251"/>
              <a:gd name="connsiteX50912" fmla="*/ 3003632 w 8079933"/>
              <a:gd name="connsiteY50912" fmla="*/ 36271 h 4687251"/>
              <a:gd name="connsiteX50913" fmla="*/ 3004500 w 8079933"/>
              <a:gd name="connsiteY50913" fmla="*/ 41359 h 4687251"/>
              <a:gd name="connsiteX50914" fmla="*/ 3007430 w 8079933"/>
              <a:gd name="connsiteY50914" fmla="*/ 42550 h 4687251"/>
              <a:gd name="connsiteX50915" fmla="*/ 3010143 w 8079933"/>
              <a:gd name="connsiteY50915" fmla="*/ 38652 h 4687251"/>
              <a:gd name="connsiteX50916" fmla="*/ 3017413 w 8079933"/>
              <a:gd name="connsiteY50916" fmla="*/ 37570 h 4687251"/>
              <a:gd name="connsiteX50917" fmla="*/ 3017739 w 8079933"/>
              <a:gd name="connsiteY50917" fmla="*/ 41251 h 4687251"/>
              <a:gd name="connsiteX50918" fmla="*/ 3015135 w 8079933"/>
              <a:gd name="connsiteY50918" fmla="*/ 44066 h 4687251"/>
              <a:gd name="connsiteX50919" fmla="*/ 3016220 w 8079933"/>
              <a:gd name="connsiteY50919" fmla="*/ 47747 h 4687251"/>
              <a:gd name="connsiteX50920" fmla="*/ 3019475 w 8079933"/>
              <a:gd name="connsiteY50920" fmla="*/ 48613 h 4687251"/>
              <a:gd name="connsiteX50921" fmla="*/ 3021320 w 8079933"/>
              <a:gd name="connsiteY50921" fmla="*/ 46340 h 4687251"/>
              <a:gd name="connsiteX50922" fmla="*/ 3025443 w 8079933"/>
              <a:gd name="connsiteY50922" fmla="*/ 43633 h 4687251"/>
              <a:gd name="connsiteX50923" fmla="*/ 3027505 w 8079933"/>
              <a:gd name="connsiteY50923" fmla="*/ 43633 h 4687251"/>
              <a:gd name="connsiteX50924" fmla="*/ 3029241 w 8079933"/>
              <a:gd name="connsiteY50924" fmla="*/ 47422 h 4687251"/>
              <a:gd name="connsiteX50925" fmla="*/ 3037489 w 8079933"/>
              <a:gd name="connsiteY50925" fmla="*/ 52295 h 4687251"/>
              <a:gd name="connsiteX50926" fmla="*/ 3042155 w 8079933"/>
              <a:gd name="connsiteY50926" fmla="*/ 52295 h 4687251"/>
              <a:gd name="connsiteX50927" fmla="*/ 3043566 w 8079933"/>
              <a:gd name="connsiteY50927" fmla="*/ 54461 h 4687251"/>
              <a:gd name="connsiteX50928" fmla="*/ 3041179 w 8079933"/>
              <a:gd name="connsiteY50928" fmla="*/ 57275 h 4687251"/>
              <a:gd name="connsiteX50929" fmla="*/ 3032172 w 8079933"/>
              <a:gd name="connsiteY50929" fmla="*/ 61064 h 4687251"/>
              <a:gd name="connsiteX50930" fmla="*/ 3027614 w 8079933"/>
              <a:gd name="connsiteY50930" fmla="*/ 66912 h 4687251"/>
              <a:gd name="connsiteX50931" fmla="*/ 3022079 w 8079933"/>
              <a:gd name="connsiteY50931" fmla="*/ 67669 h 4687251"/>
              <a:gd name="connsiteX50932" fmla="*/ 3015460 w 8079933"/>
              <a:gd name="connsiteY50932" fmla="*/ 71242 h 4687251"/>
              <a:gd name="connsiteX50933" fmla="*/ 3011879 w 8079933"/>
              <a:gd name="connsiteY50933" fmla="*/ 71458 h 4687251"/>
              <a:gd name="connsiteX50934" fmla="*/ 3008081 w 8079933"/>
              <a:gd name="connsiteY50934" fmla="*/ 69726 h 4687251"/>
              <a:gd name="connsiteX50935" fmla="*/ 3006019 w 8079933"/>
              <a:gd name="connsiteY50935" fmla="*/ 72433 h 4687251"/>
              <a:gd name="connsiteX50936" fmla="*/ 2999074 w 8079933"/>
              <a:gd name="connsiteY50936" fmla="*/ 74491 h 4687251"/>
              <a:gd name="connsiteX50937" fmla="*/ 3009166 w 8079933"/>
              <a:gd name="connsiteY50937" fmla="*/ 73949 h 4687251"/>
              <a:gd name="connsiteX50938" fmla="*/ 3018499 w 8079933"/>
              <a:gd name="connsiteY50938" fmla="*/ 75248 h 4687251"/>
              <a:gd name="connsiteX50939" fmla="*/ 3022079 w 8079933"/>
              <a:gd name="connsiteY50939" fmla="*/ 77305 h 4687251"/>
              <a:gd name="connsiteX50940" fmla="*/ 3025552 w 8079933"/>
              <a:gd name="connsiteY50940" fmla="*/ 77305 h 4687251"/>
              <a:gd name="connsiteX50941" fmla="*/ 3028265 w 8079933"/>
              <a:gd name="connsiteY50941" fmla="*/ 73083 h 4687251"/>
              <a:gd name="connsiteX50942" fmla="*/ 3030544 w 8079933"/>
              <a:gd name="connsiteY50942" fmla="*/ 71350 h 4687251"/>
              <a:gd name="connsiteX50943" fmla="*/ 3035427 w 8079933"/>
              <a:gd name="connsiteY50943" fmla="*/ 71458 h 4687251"/>
              <a:gd name="connsiteX50944" fmla="*/ 3038031 w 8079933"/>
              <a:gd name="connsiteY50944" fmla="*/ 66803 h 4687251"/>
              <a:gd name="connsiteX50945" fmla="*/ 3044651 w 8079933"/>
              <a:gd name="connsiteY50945" fmla="*/ 63446 h 4687251"/>
              <a:gd name="connsiteX50946" fmla="*/ 3050077 w 8079933"/>
              <a:gd name="connsiteY50946" fmla="*/ 63014 h 4687251"/>
              <a:gd name="connsiteX50947" fmla="*/ 3051271 w 8079933"/>
              <a:gd name="connsiteY50947" fmla="*/ 66586 h 4687251"/>
              <a:gd name="connsiteX50948" fmla="*/ 3048775 w 8079933"/>
              <a:gd name="connsiteY50948" fmla="*/ 71783 h 4687251"/>
              <a:gd name="connsiteX50949" fmla="*/ 3050728 w 8079933"/>
              <a:gd name="connsiteY50949" fmla="*/ 74274 h 4687251"/>
              <a:gd name="connsiteX50950" fmla="*/ 3052898 w 8079933"/>
              <a:gd name="connsiteY50950" fmla="*/ 73083 h 4687251"/>
              <a:gd name="connsiteX50951" fmla="*/ 3055394 w 8079933"/>
              <a:gd name="connsiteY50951" fmla="*/ 67886 h 4687251"/>
              <a:gd name="connsiteX50952" fmla="*/ 3060169 w 8079933"/>
              <a:gd name="connsiteY50952" fmla="*/ 64421 h 4687251"/>
              <a:gd name="connsiteX50953" fmla="*/ 3062122 w 8079933"/>
              <a:gd name="connsiteY50953" fmla="*/ 66370 h 4687251"/>
              <a:gd name="connsiteX50954" fmla="*/ 3059735 w 8079933"/>
              <a:gd name="connsiteY50954" fmla="*/ 70593 h 4687251"/>
              <a:gd name="connsiteX50955" fmla="*/ 3059626 w 8079933"/>
              <a:gd name="connsiteY50955" fmla="*/ 73083 h 4687251"/>
              <a:gd name="connsiteX50956" fmla="*/ 3057239 w 8079933"/>
              <a:gd name="connsiteY50956" fmla="*/ 76222 h 4687251"/>
              <a:gd name="connsiteX50957" fmla="*/ 3059192 w 8079933"/>
              <a:gd name="connsiteY50957" fmla="*/ 78605 h 4687251"/>
              <a:gd name="connsiteX50958" fmla="*/ 3062665 w 8079933"/>
              <a:gd name="connsiteY50958" fmla="*/ 77305 h 4687251"/>
              <a:gd name="connsiteX50959" fmla="*/ 3065160 w 8079933"/>
              <a:gd name="connsiteY50959" fmla="*/ 74923 h 4687251"/>
              <a:gd name="connsiteX50960" fmla="*/ 3065920 w 8079933"/>
              <a:gd name="connsiteY50960" fmla="*/ 70809 h 4687251"/>
              <a:gd name="connsiteX50961" fmla="*/ 3071238 w 8079933"/>
              <a:gd name="connsiteY50961" fmla="*/ 69618 h 4687251"/>
              <a:gd name="connsiteX50962" fmla="*/ 3075144 w 8079933"/>
              <a:gd name="connsiteY50962" fmla="*/ 70809 h 4687251"/>
              <a:gd name="connsiteX50963" fmla="*/ 3072540 w 8079933"/>
              <a:gd name="connsiteY50963" fmla="*/ 80770 h 4687251"/>
              <a:gd name="connsiteX50964" fmla="*/ 3069393 w 8079933"/>
              <a:gd name="connsiteY50964" fmla="*/ 82503 h 4687251"/>
              <a:gd name="connsiteX50965" fmla="*/ 3071455 w 8079933"/>
              <a:gd name="connsiteY50965" fmla="*/ 83801 h 4687251"/>
              <a:gd name="connsiteX50966" fmla="*/ 3073083 w 8079933"/>
              <a:gd name="connsiteY50966" fmla="*/ 88890 h 4687251"/>
              <a:gd name="connsiteX50967" fmla="*/ 3072323 w 8079933"/>
              <a:gd name="connsiteY50967" fmla="*/ 95170 h 4687251"/>
              <a:gd name="connsiteX50968" fmla="*/ 3068308 w 8079933"/>
              <a:gd name="connsiteY50968" fmla="*/ 97876 h 4687251"/>
              <a:gd name="connsiteX50969" fmla="*/ 3067114 w 8079933"/>
              <a:gd name="connsiteY50969" fmla="*/ 101449 h 4687251"/>
              <a:gd name="connsiteX50970" fmla="*/ 3061580 w 8079933"/>
              <a:gd name="connsiteY50970" fmla="*/ 109029 h 4687251"/>
              <a:gd name="connsiteX50971" fmla="*/ 3063424 w 8079933"/>
              <a:gd name="connsiteY50971" fmla="*/ 110761 h 4687251"/>
              <a:gd name="connsiteX50972" fmla="*/ 3066680 w 8079933"/>
              <a:gd name="connsiteY50972" fmla="*/ 109461 h 4687251"/>
              <a:gd name="connsiteX50973" fmla="*/ 3069610 w 8079933"/>
              <a:gd name="connsiteY50973" fmla="*/ 104806 h 4687251"/>
              <a:gd name="connsiteX50974" fmla="*/ 3073951 w 8079933"/>
              <a:gd name="connsiteY50974" fmla="*/ 104589 h 4687251"/>
              <a:gd name="connsiteX50975" fmla="*/ 3074927 w 8079933"/>
              <a:gd name="connsiteY50975" fmla="*/ 103399 h 4687251"/>
              <a:gd name="connsiteX50976" fmla="*/ 3078291 w 8079933"/>
              <a:gd name="connsiteY50976" fmla="*/ 103399 h 4687251"/>
              <a:gd name="connsiteX50977" fmla="*/ 3084042 w 8079933"/>
              <a:gd name="connsiteY50977" fmla="*/ 107080 h 4687251"/>
              <a:gd name="connsiteX50978" fmla="*/ 3086430 w 8079933"/>
              <a:gd name="connsiteY50978" fmla="*/ 112601 h 4687251"/>
              <a:gd name="connsiteX50979" fmla="*/ 3087081 w 8079933"/>
              <a:gd name="connsiteY50979" fmla="*/ 119856 h 4687251"/>
              <a:gd name="connsiteX50980" fmla="*/ 3085345 w 8079933"/>
              <a:gd name="connsiteY50980" fmla="*/ 131007 h 4687251"/>
              <a:gd name="connsiteX50981" fmla="*/ 3079594 w 8079933"/>
              <a:gd name="connsiteY50981" fmla="*/ 141618 h 4687251"/>
              <a:gd name="connsiteX50982" fmla="*/ 3070586 w 8079933"/>
              <a:gd name="connsiteY50982" fmla="*/ 146598 h 4687251"/>
              <a:gd name="connsiteX50983" fmla="*/ 3068416 w 8079933"/>
              <a:gd name="connsiteY50983" fmla="*/ 148764 h 4687251"/>
              <a:gd name="connsiteX50984" fmla="*/ 3063750 w 8079933"/>
              <a:gd name="connsiteY50984" fmla="*/ 147681 h 4687251"/>
              <a:gd name="connsiteX50985" fmla="*/ 3059517 w 8079933"/>
              <a:gd name="connsiteY50985" fmla="*/ 149196 h 4687251"/>
              <a:gd name="connsiteX50986" fmla="*/ 3059626 w 8079933"/>
              <a:gd name="connsiteY50986" fmla="*/ 151688 h 4687251"/>
              <a:gd name="connsiteX50987" fmla="*/ 3056696 w 8079933"/>
              <a:gd name="connsiteY50987" fmla="*/ 154286 h 4687251"/>
              <a:gd name="connsiteX50988" fmla="*/ 3042264 w 8079933"/>
              <a:gd name="connsiteY50988" fmla="*/ 161323 h 4687251"/>
              <a:gd name="connsiteX50989" fmla="*/ 3036838 w 8079933"/>
              <a:gd name="connsiteY50989" fmla="*/ 165221 h 4687251"/>
              <a:gd name="connsiteX50990" fmla="*/ 3032172 w 8079933"/>
              <a:gd name="connsiteY50990" fmla="*/ 166304 h 4687251"/>
              <a:gd name="connsiteX50991" fmla="*/ 3025660 w 8079933"/>
              <a:gd name="connsiteY50991" fmla="*/ 168902 h 4687251"/>
              <a:gd name="connsiteX50992" fmla="*/ 3018716 w 8079933"/>
              <a:gd name="connsiteY50992" fmla="*/ 169010 h 4687251"/>
              <a:gd name="connsiteX50993" fmla="*/ 3015351 w 8079933"/>
              <a:gd name="connsiteY50993" fmla="*/ 165653 h 4687251"/>
              <a:gd name="connsiteX50994" fmla="*/ 3013181 w 8079933"/>
              <a:gd name="connsiteY50994" fmla="*/ 170418 h 4687251"/>
              <a:gd name="connsiteX50995" fmla="*/ 3010685 w 8079933"/>
              <a:gd name="connsiteY50995" fmla="*/ 171825 h 4687251"/>
              <a:gd name="connsiteX50996" fmla="*/ 3005260 w 8079933"/>
              <a:gd name="connsiteY50996" fmla="*/ 167819 h 4687251"/>
              <a:gd name="connsiteX50997" fmla="*/ 2999834 w 8079933"/>
              <a:gd name="connsiteY50997" fmla="*/ 165329 h 4687251"/>
              <a:gd name="connsiteX50998" fmla="*/ 2992455 w 8079933"/>
              <a:gd name="connsiteY50998" fmla="*/ 163922 h 4687251"/>
              <a:gd name="connsiteX50999" fmla="*/ 2992455 w 8079933"/>
              <a:gd name="connsiteY50999" fmla="*/ 167278 h 4687251"/>
              <a:gd name="connsiteX51000" fmla="*/ 2998097 w 8079933"/>
              <a:gd name="connsiteY51000" fmla="*/ 168469 h 4687251"/>
              <a:gd name="connsiteX51001" fmla="*/ 3001244 w 8079933"/>
              <a:gd name="connsiteY51001" fmla="*/ 170093 h 4687251"/>
              <a:gd name="connsiteX51002" fmla="*/ 2997555 w 8079933"/>
              <a:gd name="connsiteY51002" fmla="*/ 172150 h 4687251"/>
              <a:gd name="connsiteX51003" fmla="*/ 2991261 w 8079933"/>
              <a:gd name="connsiteY51003" fmla="*/ 170634 h 4687251"/>
              <a:gd name="connsiteX51004" fmla="*/ 2988005 w 8079933"/>
              <a:gd name="connsiteY51004" fmla="*/ 171176 h 4687251"/>
              <a:gd name="connsiteX51005" fmla="*/ 2984967 w 8079933"/>
              <a:gd name="connsiteY51005" fmla="*/ 168794 h 4687251"/>
              <a:gd name="connsiteX51006" fmla="*/ 2976177 w 8079933"/>
              <a:gd name="connsiteY51006" fmla="*/ 168253 h 4687251"/>
              <a:gd name="connsiteX51007" fmla="*/ 2973573 w 8079933"/>
              <a:gd name="connsiteY51007" fmla="*/ 165545 h 4687251"/>
              <a:gd name="connsiteX51008" fmla="*/ 2970752 w 8079933"/>
              <a:gd name="connsiteY51008" fmla="*/ 167061 h 4687251"/>
              <a:gd name="connsiteX51009" fmla="*/ 2968147 w 8079933"/>
              <a:gd name="connsiteY51009" fmla="*/ 167278 h 4687251"/>
              <a:gd name="connsiteX51010" fmla="*/ 2960984 w 8079933"/>
              <a:gd name="connsiteY51010" fmla="*/ 158616 h 4687251"/>
              <a:gd name="connsiteX51011" fmla="*/ 2956210 w 8079933"/>
              <a:gd name="connsiteY51011" fmla="*/ 153636 h 4687251"/>
              <a:gd name="connsiteX51012" fmla="*/ 2957186 w 8079933"/>
              <a:gd name="connsiteY51012" fmla="*/ 158941 h 4687251"/>
              <a:gd name="connsiteX51013" fmla="*/ 2962287 w 8079933"/>
              <a:gd name="connsiteY51013" fmla="*/ 163922 h 4687251"/>
              <a:gd name="connsiteX51014" fmla="*/ 2963155 w 8079933"/>
              <a:gd name="connsiteY51014" fmla="*/ 166953 h 4687251"/>
              <a:gd name="connsiteX51015" fmla="*/ 2958923 w 8079933"/>
              <a:gd name="connsiteY51015" fmla="*/ 167278 h 4687251"/>
              <a:gd name="connsiteX51016" fmla="*/ 2952195 w 8079933"/>
              <a:gd name="connsiteY51016" fmla="*/ 164679 h 4687251"/>
              <a:gd name="connsiteX51017" fmla="*/ 2954800 w 8079933"/>
              <a:gd name="connsiteY51017" fmla="*/ 168577 h 4687251"/>
              <a:gd name="connsiteX51018" fmla="*/ 2970317 w 8079933"/>
              <a:gd name="connsiteY51018" fmla="*/ 170959 h 4687251"/>
              <a:gd name="connsiteX51019" fmla="*/ 2979649 w 8079933"/>
              <a:gd name="connsiteY51019" fmla="*/ 172908 h 4687251"/>
              <a:gd name="connsiteX51020" fmla="*/ 2982362 w 8079933"/>
              <a:gd name="connsiteY51020" fmla="*/ 175723 h 4687251"/>
              <a:gd name="connsiteX51021" fmla="*/ 2979324 w 8079933"/>
              <a:gd name="connsiteY51021" fmla="*/ 178538 h 4687251"/>
              <a:gd name="connsiteX51022" fmla="*/ 2958163 w 8079933"/>
              <a:gd name="connsiteY51022" fmla="*/ 186875 h 4687251"/>
              <a:gd name="connsiteX51023" fmla="*/ 2944924 w 8079933"/>
              <a:gd name="connsiteY51023" fmla="*/ 189040 h 4687251"/>
              <a:gd name="connsiteX51024" fmla="*/ 2939498 w 8079933"/>
              <a:gd name="connsiteY51024" fmla="*/ 188932 h 4687251"/>
              <a:gd name="connsiteX51025" fmla="*/ 2932228 w 8079933"/>
              <a:gd name="connsiteY51025" fmla="*/ 190665 h 4687251"/>
              <a:gd name="connsiteX51026" fmla="*/ 2926042 w 8079933"/>
              <a:gd name="connsiteY51026" fmla="*/ 189690 h 4687251"/>
              <a:gd name="connsiteX51027" fmla="*/ 2925065 w 8079933"/>
              <a:gd name="connsiteY51027" fmla="*/ 186767 h 4687251"/>
              <a:gd name="connsiteX51028" fmla="*/ 2920508 w 8079933"/>
              <a:gd name="connsiteY51028" fmla="*/ 188607 h 4687251"/>
              <a:gd name="connsiteX51029" fmla="*/ 2917036 w 8079933"/>
              <a:gd name="connsiteY51029" fmla="*/ 187633 h 4687251"/>
              <a:gd name="connsiteX51030" fmla="*/ 2912261 w 8079933"/>
              <a:gd name="connsiteY51030" fmla="*/ 188499 h 4687251"/>
              <a:gd name="connsiteX51031" fmla="*/ 2909873 w 8079933"/>
              <a:gd name="connsiteY51031" fmla="*/ 192830 h 4687251"/>
              <a:gd name="connsiteX51032" fmla="*/ 2914539 w 8079933"/>
              <a:gd name="connsiteY51032" fmla="*/ 192397 h 4687251"/>
              <a:gd name="connsiteX51033" fmla="*/ 2915408 w 8079933"/>
              <a:gd name="connsiteY51033" fmla="*/ 196944 h 4687251"/>
              <a:gd name="connsiteX51034" fmla="*/ 2922136 w 8079933"/>
              <a:gd name="connsiteY51034" fmla="*/ 193155 h 4687251"/>
              <a:gd name="connsiteX51035" fmla="*/ 2935483 w 8079933"/>
              <a:gd name="connsiteY51035" fmla="*/ 193155 h 4687251"/>
              <a:gd name="connsiteX51036" fmla="*/ 2941561 w 8079933"/>
              <a:gd name="connsiteY51036" fmla="*/ 194238 h 4687251"/>
              <a:gd name="connsiteX51037" fmla="*/ 2959357 w 8079933"/>
              <a:gd name="connsiteY51037" fmla="*/ 192830 h 4687251"/>
              <a:gd name="connsiteX51038" fmla="*/ 2971402 w 8079933"/>
              <a:gd name="connsiteY51038" fmla="*/ 190881 h 4687251"/>
              <a:gd name="connsiteX51039" fmla="*/ 2978999 w 8079933"/>
              <a:gd name="connsiteY51039" fmla="*/ 183302 h 4687251"/>
              <a:gd name="connsiteX51040" fmla="*/ 2984207 w 8079933"/>
              <a:gd name="connsiteY51040" fmla="*/ 183085 h 4687251"/>
              <a:gd name="connsiteX51041" fmla="*/ 2988005 w 8079933"/>
              <a:gd name="connsiteY51041" fmla="*/ 184493 h 4687251"/>
              <a:gd name="connsiteX51042" fmla="*/ 2993539 w 8079933"/>
              <a:gd name="connsiteY51042" fmla="*/ 183410 h 4687251"/>
              <a:gd name="connsiteX51043" fmla="*/ 3001136 w 8079933"/>
              <a:gd name="connsiteY51043" fmla="*/ 183518 h 4687251"/>
              <a:gd name="connsiteX51044" fmla="*/ 2998206 w 8079933"/>
              <a:gd name="connsiteY51044" fmla="*/ 190231 h 4687251"/>
              <a:gd name="connsiteX51045" fmla="*/ 2994624 w 8079933"/>
              <a:gd name="connsiteY51045" fmla="*/ 197052 h 4687251"/>
              <a:gd name="connsiteX51046" fmla="*/ 2986486 w 8079933"/>
              <a:gd name="connsiteY51046" fmla="*/ 201166 h 4687251"/>
              <a:gd name="connsiteX51047" fmla="*/ 2983990 w 8079933"/>
              <a:gd name="connsiteY51047" fmla="*/ 203116 h 4687251"/>
              <a:gd name="connsiteX51048" fmla="*/ 2974766 w 8079933"/>
              <a:gd name="connsiteY51048" fmla="*/ 204848 h 4687251"/>
              <a:gd name="connsiteX51049" fmla="*/ 2971077 w 8079933"/>
              <a:gd name="connsiteY51049" fmla="*/ 209936 h 4687251"/>
              <a:gd name="connsiteX51050" fmla="*/ 2967604 w 8079933"/>
              <a:gd name="connsiteY51050" fmla="*/ 210478 h 4687251"/>
              <a:gd name="connsiteX51051" fmla="*/ 2962179 w 8079933"/>
              <a:gd name="connsiteY51051" fmla="*/ 215675 h 4687251"/>
              <a:gd name="connsiteX51052" fmla="*/ 2954800 w 8079933"/>
              <a:gd name="connsiteY51052" fmla="*/ 219031 h 4687251"/>
              <a:gd name="connsiteX51053" fmla="*/ 2949916 w 8079933"/>
              <a:gd name="connsiteY51053" fmla="*/ 219465 h 4687251"/>
              <a:gd name="connsiteX51054" fmla="*/ 2946552 w 8079933"/>
              <a:gd name="connsiteY51054" fmla="*/ 220872 h 4687251"/>
              <a:gd name="connsiteX51055" fmla="*/ 2941452 w 8079933"/>
              <a:gd name="connsiteY51055" fmla="*/ 220005 h 4687251"/>
              <a:gd name="connsiteX51056" fmla="*/ 2936786 w 8079933"/>
              <a:gd name="connsiteY51056" fmla="*/ 224228 h 4687251"/>
              <a:gd name="connsiteX51057" fmla="*/ 2927995 w 8079933"/>
              <a:gd name="connsiteY51057" fmla="*/ 226069 h 4687251"/>
              <a:gd name="connsiteX51058" fmla="*/ 2925065 w 8079933"/>
              <a:gd name="connsiteY51058" fmla="*/ 230941 h 4687251"/>
              <a:gd name="connsiteX51059" fmla="*/ 2915516 w 8079933"/>
              <a:gd name="connsiteY51059" fmla="*/ 232673 h 4687251"/>
              <a:gd name="connsiteX51060" fmla="*/ 2911393 w 8079933"/>
              <a:gd name="connsiteY51060" fmla="*/ 234948 h 4687251"/>
              <a:gd name="connsiteX51061" fmla="*/ 2907920 w 8079933"/>
              <a:gd name="connsiteY51061" fmla="*/ 233972 h 4687251"/>
              <a:gd name="connsiteX51062" fmla="*/ 2903905 w 8079933"/>
              <a:gd name="connsiteY51062" fmla="*/ 237762 h 4687251"/>
              <a:gd name="connsiteX51063" fmla="*/ 2899890 w 8079933"/>
              <a:gd name="connsiteY51063" fmla="*/ 237329 h 4687251"/>
              <a:gd name="connsiteX51064" fmla="*/ 2898154 w 8079933"/>
              <a:gd name="connsiteY51064" fmla="*/ 239278 h 4687251"/>
              <a:gd name="connsiteX51065" fmla="*/ 2898371 w 8079933"/>
              <a:gd name="connsiteY51065" fmla="*/ 244475 h 4687251"/>
              <a:gd name="connsiteX51066" fmla="*/ 2893596 w 8079933"/>
              <a:gd name="connsiteY51066" fmla="*/ 248264 h 4687251"/>
              <a:gd name="connsiteX51067" fmla="*/ 2890775 w 8079933"/>
              <a:gd name="connsiteY51067" fmla="*/ 252270 h 4687251"/>
              <a:gd name="connsiteX51068" fmla="*/ 2879489 w 8079933"/>
              <a:gd name="connsiteY51068" fmla="*/ 252486 h 4687251"/>
              <a:gd name="connsiteX51069" fmla="*/ 2876341 w 8079933"/>
              <a:gd name="connsiteY51069" fmla="*/ 254868 h 4687251"/>
              <a:gd name="connsiteX51070" fmla="*/ 2872761 w 8079933"/>
              <a:gd name="connsiteY51070" fmla="*/ 253678 h 4687251"/>
              <a:gd name="connsiteX51071" fmla="*/ 2871893 w 8079933"/>
              <a:gd name="connsiteY51071" fmla="*/ 250863 h 4687251"/>
              <a:gd name="connsiteX51072" fmla="*/ 2873955 w 8079933"/>
              <a:gd name="connsiteY51072" fmla="*/ 247831 h 4687251"/>
              <a:gd name="connsiteX51073" fmla="*/ 2873955 w 8079933"/>
              <a:gd name="connsiteY51073" fmla="*/ 243717 h 4687251"/>
              <a:gd name="connsiteX51074" fmla="*/ 2870807 w 8079933"/>
              <a:gd name="connsiteY51074" fmla="*/ 241119 h 4687251"/>
              <a:gd name="connsiteX51075" fmla="*/ 2871675 w 8079933"/>
              <a:gd name="connsiteY51075" fmla="*/ 247615 h 4687251"/>
              <a:gd name="connsiteX51076" fmla="*/ 2869397 w 8079933"/>
              <a:gd name="connsiteY51076" fmla="*/ 250105 h 4687251"/>
              <a:gd name="connsiteX51077" fmla="*/ 2867769 w 8079933"/>
              <a:gd name="connsiteY51077" fmla="*/ 253678 h 4687251"/>
              <a:gd name="connsiteX51078" fmla="*/ 2873195 w 8079933"/>
              <a:gd name="connsiteY51078" fmla="*/ 257142 h 4687251"/>
              <a:gd name="connsiteX51079" fmla="*/ 2874388 w 8079933"/>
              <a:gd name="connsiteY51079" fmla="*/ 260715 h 4687251"/>
              <a:gd name="connsiteX51080" fmla="*/ 2869614 w 8079933"/>
              <a:gd name="connsiteY51080" fmla="*/ 265696 h 4687251"/>
              <a:gd name="connsiteX51081" fmla="*/ 2867443 w 8079933"/>
              <a:gd name="connsiteY51081" fmla="*/ 266129 h 4687251"/>
              <a:gd name="connsiteX51082" fmla="*/ 2862560 w 8079933"/>
              <a:gd name="connsiteY51082" fmla="*/ 262664 h 4687251"/>
              <a:gd name="connsiteX51083" fmla="*/ 2859521 w 8079933"/>
              <a:gd name="connsiteY51083" fmla="*/ 264505 h 4687251"/>
              <a:gd name="connsiteX51084" fmla="*/ 2851275 w 8079933"/>
              <a:gd name="connsiteY51084" fmla="*/ 261690 h 4687251"/>
              <a:gd name="connsiteX51085" fmla="*/ 2848562 w 8079933"/>
              <a:gd name="connsiteY51085" fmla="*/ 263639 h 4687251"/>
              <a:gd name="connsiteX51086" fmla="*/ 2845414 w 8079933"/>
              <a:gd name="connsiteY51086" fmla="*/ 263964 h 4687251"/>
              <a:gd name="connsiteX51087" fmla="*/ 2844872 w 8079933"/>
              <a:gd name="connsiteY51087" fmla="*/ 259850 h 4687251"/>
              <a:gd name="connsiteX51088" fmla="*/ 2842919 w 8079933"/>
              <a:gd name="connsiteY51088" fmla="*/ 258225 h 4687251"/>
              <a:gd name="connsiteX51089" fmla="*/ 2841074 w 8079933"/>
              <a:gd name="connsiteY51089" fmla="*/ 262448 h 4687251"/>
              <a:gd name="connsiteX51090" fmla="*/ 2836950 w 8079933"/>
              <a:gd name="connsiteY51090" fmla="*/ 262772 h 4687251"/>
              <a:gd name="connsiteX51091" fmla="*/ 2836082 w 8079933"/>
              <a:gd name="connsiteY51091" fmla="*/ 265370 h 4687251"/>
              <a:gd name="connsiteX51092" fmla="*/ 2845197 w 8079933"/>
              <a:gd name="connsiteY51092" fmla="*/ 267319 h 4687251"/>
              <a:gd name="connsiteX51093" fmla="*/ 2857785 w 8079933"/>
              <a:gd name="connsiteY51093" fmla="*/ 267537 h 4687251"/>
              <a:gd name="connsiteX51094" fmla="*/ 2860607 w 8079933"/>
              <a:gd name="connsiteY51094" fmla="*/ 271325 h 4687251"/>
              <a:gd name="connsiteX51095" fmla="*/ 2859630 w 8079933"/>
              <a:gd name="connsiteY51095" fmla="*/ 275440 h 4687251"/>
              <a:gd name="connsiteX51096" fmla="*/ 2854855 w 8079933"/>
              <a:gd name="connsiteY51096" fmla="*/ 278363 h 4687251"/>
              <a:gd name="connsiteX51097" fmla="*/ 2848670 w 8079933"/>
              <a:gd name="connsiteY51097" fmla="*/ 277281 h 4687251"/>
              <a:gd name="connsiteX51098" fmla="*/ 2842376 w 8079933"/>
              <a:gd name="connsiteY51098" fmla="*/ 278797 h 4687251"/>
              <a:gd name="connsiteX51099" fmla="*/ 2840639 w 8079933"/>
              <a:gd name="connsiteY51099" fmla="*/ 280529 h 4687251"/>
              <a:gd name="connsiteX51100" fmla="*/ 2842810 w 8079933"/>
              <a:gd name="connsiteY51100" fmla="*/ 282370 h 4687251"/>
              <a:gd name="connsiteX51101" fmla="*/ 2845089 w 8079933"/>
              <a:gd name="connsiteY51101" fmla="*/ 281070 h 4687251"/>
              <a:gd name="connsiteX51102" fmla="*/ 2848344 w 8079933"/>
              <a:gd name="connsiteY51102" fmla="*/ 283127 h 4687251"/>
              <a:gd name="connsiteX51103" fmla="*/ 2847802 w 8079933"/>
              <a:gd name="connsiteY51103" fmla="*/ 286917 h 4687251"/>
              <a:gd name="connsiteX51104" fmla="*/ 2840097 w 8079933"/>
              <a:gd name="connsiteY51104" fmla="*/ 294279 h 4687251"/>
              <a:gd name="connsiteX51105" fmla="*/ 2833478 w 8079933"/>
              <a:gd name="connsiteY51105" fmla="*/ 293846 h 4687251"/>
              <a:gd name="connsiteX51106" fmla="*/ 2821649 w 8079933"/>
              <a:gd name="connsiteY51106" fmla="*/ 293629 h 4687251"/>
              <a:gd name="connsiteX51107" fmla="*/ 2820021 w 8079933"/>
              <a:gd name="connsiteY51107" fmla="*/ 291139 h 4687251"/>
              <a:gd name="connsiteX51108" fmla="*/ 2815138 w 8079933"/>
              <a:gd name="connsiteY51108" fmla="*/ 290598 h 4687251"/>
              <a:gd name="connsiteX51109" fmla="*/ 2813619 w 8079933"/>
              <a:gd name="connsiteY51109" fmla="*/ 288216 h 4687251"/>
              <a:gd name="connsiteX51110" fmla="*/ 2812968 w 8079933"/>
              <a:gd name="connsiteY51110" fmla="*/ 280312 h 4687251"/>
              <a:gd name="connsiteX51111" fmla="*/ 2806349 w 8079933"/>
              <a:gd name="connsiteY51111" fmla="*/ 279121 h 4687251"/>
              <a:gd name="connsiteX51112" fmla="*/ 2804287 w 8079933"/>
              <a:gd name="connsiteY51112" fmla="*/ 276847 h 4687251"/>
              <a:gd name="connsiteX51113" fmla="*/ 2804612 w 8079933"/>
              <a:gd name="connsiteY51113" fmla="*/ 272517 h 4687251"/>
              <a:gd name="connsiteX51114" fmla="*/ 2801574 w 8079933"/>
              <a:gd name="connsiteY51114" fmla="*/ 269919 h 4687251"/>
              <a:gd name="connsiteX51115" fmla="*/ 2798861 w 8079933"/>
              <a:gd name="connsiteY51115" fmla="*/ 271217 h 4687251"/>
              <a:gd name="connsiteX51116" fmla="*/ 2795605 w 8079933"/>
              <a:gd name="connsiteY51116" fmla="*/ 270027 h 4687251"/>
              <a:gd name="connsiteX51117" fmla="*/ 2787901 w 8079933"/>
              <a:gd name="connsiteY51117" fmla="*/ 271001 h 4687251"/>
              <a:gd name="connsiteX51118" fmla="*/ 2787467 w 8079933"/>
              <a:gd name="connsiteY51118" fmla="*/ 273383 h 4687251"/>
              <a:gd name="connsiteX51119" fmla="*/ 2790505 w 8079933"/>
              <a:gd name="connsiteY51119" fmla="*/ 275007 h 4687251"/>
              <a:gd name="connsiteX51120" fmla="*/ 2792133 w 8079933"/>
              <a:gd name="connsiteY51120" fmla="*/ 273708 h 4687251"/>
              <a:gd name="connsiteX51121" fmla="*/ 2795931 w 8079933"/>
              <a:gd name="connsiteY51121" fmla="*/ 274141 h 4687251"/>
              <a:gd name="connsiteX51122" fmla="*/ 2806349 w 8079933"/>
              <a:gd name="connsiteY51122" fmla="*/ 284318 h 4687251"/>
              <a:gd name="connsiteX51123" fmla="*/ 2806023 w 8079933"/>
              <a:gd name="connsiteY51123" fmla="*/ 297635 h 4687251"/>
              <a:gd name="connsiteX51124" fmla="*/ 2804395 w 8079933"/>
              <a:gd name="connsiteY51124" fmla="*/ 299909 h 4687251"/>
              <a:gd name="connsiteX51125" fmla="*/ 2799295 w 8079933"/>
              <a:gd name="connsiteY51125" fmla="*/ 299259 h 4687251"/>
              <a:gd name="connsiteX51126" fmla="*/ 2795063 w 8079933"/>
              <a:gd name="connsiteY51126" fmla="*/ 295362 h 4687251"/>
              <a:gd name="connsiteX51127" fmla="*/ 2792350 w 8079933"/>
              <a:gd name="connsiteY51127" fmla="*/ 295795 h 4687251"/>
              <a:gd name="connsiteX51128" fmla="*/ 2792133 w 8079933"/>
              <a:gd name="connsiteY51128" fmla="*/ 299584 h 4687251"/>
              <a:gd name="connsiteX51129" fmla="*/ 2790288 w 8079933"/>
              <a:gd name="connsiteY51129" fmla="*/ 300992 h 4687251"/>
              <a:gd name="connsiteX51130" fmla="*/ 2785839 w 8079933"/>
              <a:gd name="connsiteY51130" fmla="*/ 296337 h 4687251"/>
              <a:gd name="connsiteX51131" fmla="*/ 2781932 w 8079933"/>
              <a:gd name="connsiteY51131" fmla="*/ 296661 h 4687251"/>
              <a:gd name="connsiteX51132" fmla="*/ 2778676 w 8079933"/>
              <a:gd name="connsiteY51132" fmla="*/ 300451 h 4687251"/>
              <a:gd name="connsiteX51133" fmla="*/ 2776506 w 8079933"/>
              <a:gd name="connsiteY51133" fmla="*/ 300017 h 4687251"/>
              <a:gd name="connsiteX51134" fmla="*/ 2774336 w 8079933"/>
              <a:gd name="connsiteY51134" fmla="*/ 297094 h 4687251"/>
              <a:gd name="connsiteX51135" fmla="*/ 2769453 w 8079933"/>
              <a:gd name="connsiteY51135" fmla="*/ 295795 h 4687251"/>
              <a:gd name="connsiteX51136" fmla="*/ 2766414 w 8079933"/>
              <a:gd name="connsiteY51136" fmla="*/ 290814 h 4687251"/>
              <a:gd name="connsiteX51137" fmla="*/ 2763810 w 8079933"/>
              <a:gd name="connsiteY51137" fmla="*/ 292439 h 4687251"/>
              <a:gd name="connsiteX51138" fmla="*/ 2762616 w 8079933"/>
              <a:gd name="connsiteY51138" fmla="*/ 287350 h 4687251"/>
              <a:gd name="connsiteX51139" fmla="*/ 2760120 w 8079933"/>
              <a:gd name="connsiteY51139" fmla="*/ 285726 h 4687251"/>
              <a:gd name="connsiteX51140" fmla="*/ 2753067 w 8079933"/>
              <a:gd name="connsiteY51140" fmla="*/ 285076 h 4687251"/>
              <a:gd name="connsiteX51141" fmla="*/ 2750354 w 8079933"/>
              <a:gd name="connsiteY51141" fmla="*/ 281178 h 4687251"/>
              <a:gd name="connsiteX51142" fmla="*/ 2748617 w 8079933"/>
              <a:gd name="connsiteY51142" fmla="*/ 282802 h 4687251"/>
              <a:gd name="connsiteX51143" fmla="*/ 2749160 w 8079933"/>
              <a:gd name="connsiteY51143" fmla="*/ 286159 h 4687251"/>
              <a:gd name="connsiteX51144" fmla="*/ 2753610 w 8079933"/>
              <a:gd name="connsiteY51144" fmla="*/ 289082 h 4687251"/>
              <a:gd name="connsiteX51145" fmla="*/ 2759469 w 8079933"/>
              <a:gd name="connsiteY51145" fmla="*/ 290490 h 4687251"/>
              <a:gd name="connsiteX51146" fmla="*/ 2764787 w 8079933"/>
              <a:gd name="connsiteY51146" fmla="*/ 299368 h 4687251"/>
              <a:gd name="connsiteX51147" fmla="*/ 2762833 w 8079933"/>
              <a:gd name="connsiteY51147" fmla="*/ 301858 h 4687251"/>
              <a:gd name="connsiteX51148" fmla="*/ 2749920 w 8079933"/>
              <a:gd name="connsiteY51148" fmla="*/ 299043 h 4687251"/>
              <a:gd name="connsiteX51149" fmla="*/ 2746339 w 8079933"/>
              <a:gd name="connsiteY51149" fmla="*/ 296012 h 4687251"/>
              <a:gd name="connsiteX51150" fmla="*/ 2746013 w 8079933"/>
              <a:gd name="connsiteY51150" fmla="*/ 291139 h 4687251"/>
              <a:gd name="connsiteX51151" fmla="*/ 2742866 w 8079933"/>
              <a:gd name="connsiteY51151" fmla="*/ 287892 h 4687251"/>
              <a:gd name="connsiteX51152" fmla="*/ 2741238 w 8079933"/>
              <a:gd name="connsiteY51152" fmla="*/ 290273 h 4687251"/>
              <a:gd name="connsiteX51153" fmla="*/ 2742215 w 8079933"/>
              <a:gd name="connsiteY51153" fmla="*/ 292439 h 4687251"/>
              <a:gd name="connsiteX51154" fmla="*/ 2740696 w 8079933"/>
              <a:gd name="connsiteY51154" fmla="*/ 295686 h 4687251"/>
              <a:gd name="connsiteX51155" fmla="*/ 2736463 w 8079933"/>
              <a:gd name="connsiteY51155" fmla="*/ 294496 h 4687251"/>
              <a:gd name="connsiteX51156" fmla="*/ 2733968 w 8079933"/>
              <a:gd name="connsiteY51156" fmla="*/ 291680 h 4687251"/>
              <a:gd name="connsiteX51157" fmla="*/ 2729736 w 8079933"/>
              <a:gd name="connsiteY51157" fmla="*/ 292872 h 4687251"/>
              <a:gd name="connsiteX51158" fmla="*/ 2730170 w 8079933"/>
              <a:gd name="connsiteY51158" fmla="*/ 295903 h 4687251"/>
              <a:gd name="connsiteX51159" fmla="*/ 2736572 w 8079933"/>
              <a:gd name="connsiteY51159" fmla="*/ 298393 h 4687251"/>
              <a:gd name="connsiteX51160" fmla="*/ 2736355 w 8079933"/>
              <a:gd name="connsiteY51160" fmla="*/ 302616 h 4687251"/>
              <a:gd name="connsiteX51161" fmla="*/ 2739068 w 8079933"/>
              <a:gd name="connsiteY51161" fmla="*/ 302616 h 4687251"/>
              <a:gd name="connsiteX51162" fmla="*/ 2741021 w 8079933"/>
              <a:gd name="connsiteY51162" fmla="*/ 300992 h 4687251"/>
              <a:gd name="connsiteX51163" fmla="*/ 2744602 w 8079933"/>
              <a:gd name="connsiteY51163" fmla="*/ 300992 h 4687251"/>
              <a:gd name="connsiteX51164" fmla="*/ 2748292 w 8079933"/>
              <a:gd name="connsiteY51164" fmla="*/ 304457 h 4687251"/>
              <a:gd name="connsiteX51165" fmla="*/ 2753392 w 8079933"/>
              <a:gd name="connsiteY51165" fmla="*/ 306297 h 4687251"/>
              <a:gd name="connsiteX51166" fmla="*/ 2757625 w 8079933"/>
              <a:gd name="connsiteY51166" fmla="*/ 310304 h 4687251"/>
              <a:gd name="connsiteX51167" fmla="*/ 2760338 w 8079933"/>
              <a:gd name="connsiteY51167" fmla="*/ 310304 h 4687251"/>
              <a:gd name="connsiteX51168" fmla="*/ 2764244 w 8079933"/>
              <a:gd name="connsiteY51168" fmla="*/ 309112 h 4687251"/>
              <a:gd name="connsiteX51169" fmla="*/ 2777483 w 8079933"/>
              <a:gd name="connsiteY51169" fmla="*/ 312035 h 4687251"/>
              <a:gd name="connsiteX51170" fmla="*/ 2780088 w 8079933"/>
              <a:gd name="connsiteY51170" fmla="*/ 314850 h 4687251"/>
              <a:gd name="connsiteX51171" fmla="*/ 2775747 w 8079933"/>
              <a:gd name="connsiteY51171" fmla="*/ 317990 h 4687251"/>
              <a:gd name="connsiteX51172" fmla="*/ 2777158 w 8079933"/>
              <a:gd name="connsiteY51172" fmla="*/ 320481 h 4687251"/>
              <a:gd name="connsiteX51173" fmla="*/ 2776615 w 8079933"/>
              <a:gd name="connsiteY51173" fmla="*/ 324811 h 4687251"/>
              <a:gd name="connsiteX51174" fmla="*/ 2777700 w 8079933"/>
              <a:gd name="connsiteY51174" fmla="*/ 329359 h 4687251"/>
              <a:gd name="connsiteX51175" fmla="*/ 2774445 w 8079933"/>
              <a:gd name="connsiteY51175" fmla="*/ 332390 h 4687251"/>
              <a:gd name="connsiteX51176" fmla="*/ 2772492 w 8079933"/>
              <a:gd name="connsiteY51176" fmla="*/ 331957 h 4687251"/>
              <a:gd name="connsiteX51177" fmla="*/ 2769344 w 8079933"/>
              <a:gd name="connsiteY51177" fmla="*/ 328926 h 4687251"/>
              <a:gd name="connsiteX51178" fmla="*/ 2762942 w 8079933"/>
              <a:gd name="connsiteY51178" fmla="*/ 327193 h 4687251"/>
              <a:gd name="connsiteX51179" fmla="*/ 2756756 w 8079933"/>
              <a:gd name="connsiteY51179" fmla="*/ 322321 h 4687251"/>
              <a:gd name="connsiteX51180" fmla="*/ 2755128 w 8079933"/>
              <a:gd name="connsiteY51180" fmla="*/ 319181 h 4687251"/>
              <a:gd name="connsiteX51181" fmla="*/ 2755888 w 8079933"/>
              <a:gd name="connsiteY51181" fmla="*/ 313226 h 4687251"/>
              <a:gd name="connsiteX51182" fmla="*/ 2753392 w 8079933"/>
              <a:gd name="connsiteY51182" fmla="*/ 309112 h 4687251"/>
              <a:gd name="connsiteX51183" fmla="*/ 2746231 w 8079933"/>
              <a:gd name="connsiteY51183" fmla="*/ 308896 h 4687251"/>
              <a:gd name="connsiteX51184" fmla="*/ 2735595 w 8079933"/>
              <a:gd name="connsiteY51184" fmla="*/ 307272 h 4687251"/>
              <a:gd name="connsiteX51185" fmla="*/ 2731689 w 8079933"/>
              <a:gd name="connsiteY51185" fmla="*/ 304349 h 4687251"/>
              <a:gd name="connsiteX51186" fmla="*/ 2727131 w 8079933"/>
              <a:gd name="connsiteY51186" fmla="*/ 304998 h 4687251"/>
              <a:gd name="connsiteX51187" fmla="*/ 2726372 w 8079933"/>
              <a:gd name="connsiteY51187" fmla="*/ 307163 h 4687251"/>
              <a:gd name="connsiteX51188" fmla="*/ 2732557 w 8079933"/>
              <a:gd name="connsiteY51188" fmla="*/ 309545 h 4687251"/>
              <a:gd name="connsiteX51189" fmla="*/ 2741998 w 8079933"/>
              <a:gd name="connsiteY51189" fmla="*/ 310304 h 4687251"/>
              <a:gd name="connsiteX51190" fmla="*/ 2751873 w 8079933"/>
              <a:gd name="connsiteY51190" fmla="*/ 313984 h 4687251"/>
              <a:gd name="connsiteX51191" fmla="*/ 2751656 w 8079933"/>
              <a:gd name="connsiteY51191" fmla="*/ 319073 h 4687251"/>
              <a:gd name="connsiteX51192" fmla="*/ 2749920 w 8079933"/>
              <a:gd name="connsiteY51192" fmla="*/ 319614 h 4687251"/>
              <a:gd name="connsiteX51193" fmla="*/ 2744819 w 8079933"/>
              <a:gd name="connsiteY51193" fmla="*/ 316041 h 4687251"/>
              <a:gd name="connsiteX51194" fmla="*/ 2736030 w 8079933"/>
              <a:gd name="connsiteY51194" fmla="*/ 315825 h 4687251"/>
              <a:gd name="connsiteX51195" fmla="*/ 2728867 w 8079933"/>
              <a:gd name="connsiteY51195" fmla="*/ 317774 h 4687251"/>
              <a:gd name="connsiteX51196" fmla="*/ 2728976 w 8079933"/>
              <a:gd name="connsiteY51196" fmla="*/ 315176 h 4687251"/>
              <a:gd name="connsiteX51197" fmla="*/ 2726372 w 8079933"/>
              <a:gd name="connsiteY51197" fmla="*/ 312360 h 4687251"/>
              <a:gd name="connsiteX51198" fmla="*/ 2718341 w 8079933"/>
              <a:gd name="connsiteY51198" fmla="*/ 311169 h 4687251"/>
              <a:gd name="connsiteX51199" fmla="*/ 2714543 w 8079933"/>
              <a:gd name="connsiteY51199" fmla="*/ 309004 h 4687251"/>
              <a:gd name="connsiteX51200" fmla="*/ 2715412 w 8079933"/>
              <a:gd name="connsiteY51200" fmla="*/ 311494 h 4687251"/>
              <a:gd name="connsiteX51201" fmla="*/ 2724201 w 8079933"/>
              <a:gd name="connsiteY51201" fmla="*/ 315500 h 4687251"/>
              <a:gd name="connsiteX51202" fmla="*/ 2723008 w 8079933"/>
              <a:gd name="connsiteY51202" fmla="*/ 317666 h 4687251"/>
              <a:gd name="connsiteX51203" fmla="*/ 2723008 w 8079933"/>
              <a:gd name="connsiteY51203" fmla="*/ 321022 h 4687251"/>
              <a:gd name="connsiteX51204" fmla="*/ 2726914 w 8079933"/>
              <a:gd name="connsiteY51204" fmla="*/ 321239 h 4687251"/>
              <a:gd name="connsiteX51205" fmla="*/ 2727999 w 8079933"/>
              <a:gd name="connsiteY51205" fmla="*/ 320481 h 4687251"/>
              <a:gd name="connsiteX51206" fmla="*/ 2729736 w 8079933"/>
              <a:gd name="connsiteY51206" fmla="*/ 321671 h 4687251"/>
              <a:gd name="connsiteX51207" fmla="*/ 2733534 w 8079933"/>
              <a:gd name="connsiteY51207" fmla="*/ 320264 h 4687251"/>
              <a:gd name="connsiteX51208" fmla="*/ 2734727 w 8079933"/>
              <a:gd name="connsiteY51208" fmla="*/ 319073 h 4687251"/>
              <a:gd name="connsiteX51209" fmla="*/ 2737223 w 8079933"/>
              <a:gd name="connsiteY51209" fmla="*/ 320264 h 4687251"/>
              <a:gd name="connsiteX51210" fmla="*/ 2741456 w 8079933"/>
              <a:gd name="connsiteY51210" fmla="*/ 319831 h 4687251"/>
              <a:gd name="connsiteX51211" fmla="*/ 2744819 w 8079933"/>
              <a:gd name="connsiteY51211" fmla="*/ 321130 h 4687251"/>
              <a:gd name="connsiteX51212" fmla="*/ 2751765 w 8079933"/>
              <a:gd name="connsiteY51212" fmla="*/ 327518 h 4687251"/>
              <a:gd name="connsiteX51213" fmla="*/ 2751547 w 8079933"/>
              <a:gd name="connsiteY51213" fmla="*/ 329792 h 4687251"/>
              <a:gd name="connsiteX51214" fmla="*/ 2745688 w 8079933"/>
              <a:gd name="connsiteY51214" fmla="*/ 330117 h 4687251"/>
              <a:gd name="connsiteX51215" fmla="*/ 2740805 w 8079933"/>
              <a:gd name="connsiteY51215" fmla="*/ 332282 h 4687251"/>
              <a:gd name="connsiteX51216" fmla="*/ 2740045 w 8079933"/>
              <a:gd name="connsiteY51216" fmla="*/ 334881 h 4687251"/>
              <a:gd name="connsiteX51217" fmla="*/ 2744494 w 8079933"/>
              <a:gd name="connsiteY51217" fmla="*/ 333581 h 4687251"/>
              <a:gd name="connsiteX51218" fmla="*/ 2748835 w 8079933"/>
              <a:gd name="connsiteY51218" fmla="*/ 333581 h 4687251"/>
              <a:gd name="connsiteX51219" fmla="*/ 2752850 w 8079933"/>
              <a:gd name="connsiteY51219" fmla="*/ 332824 h 4687251"/>
              <a:gd name="connsiteX51220" fmla="*/ 2757190 w 8079933"/>
              <a:gd name="connsiteY51220" fmla="*/ 337046 h 4687251"/>
              <a:gd name="connsiteX51221" fmla="*/ 2761423 w 8079933"/>
              <a:gd name="connsiteY51221" fmla="*/ 339536 h 4687251"/>
              <a:gd name="connsiteX51222" fmla="*/ 2761531 w 8079933"/>
              <a:gd name="connsiteY51222" fmla="*/ 343759 h 4687251"/>
              <a:gd name="connsiteX51223" fmla="*/ 2755888 w 8079933"/>
              <a:gd name="connsiteY51223" fmla="*/ 352637 h 4687251"/>
              <a:gd name="connsiteX51224" fmla="*/ 2754043 w 8079933"/>
              <a:gd name="connsiteY51224" fmla="*/ 359891 h 4687251"/>
              <a:gd name="connsiteX51225" fmla="*/ 2751873 w 8079933"/>
              <a:gd name="connsiteY51225" fmla="*/ 360432 h 4687251"/>
              <a:gd name="connsiteX51226" fmla="*/ 2745254 w 8079933"/>
              <a:gd name="connsiteY51226" fmla="*/ 365521 h 4687251"/>
              <a:gd name="connsiteX51227" fmla="*/ 2742106 w 8079933"/>
              <a:gd name="connsiteY51227" fmla="*/ 363789 h 4687251"/>
              <a:gd name="connsiteX51228" fmla="*/ 2738092 w 8079933"/>
              <a:gd name="connsiteY51228" fmla="*/ 363897 h 4687251"/>
              <a:gd name="connsiteX51229" fmla="*/ 2734510 w 8079933"/>
              <a:gd name="connsiteY51229" fmla="*/ 362057 h 4687251"/>
              <a:gd name="connsiteX51230" fmla="*/ 2733860 w 8079933"/>
              <a:gd name="connsiteY51230" fmla="*/ 359566 h 4687251"/>
              <a:gd name="connsiteX51231" fmla="*/ 2730279 w 8079933"/>
              <a:gd name="connsiteY51231" fmla="*/ 357509 h 4687251"/>
              <a:gd name="connsiteX51232" fmla="*/ 2724744 w 8079933"/>
              <a:gd name="connsiteY51232" fmla="*/ 357293 h 4687251"/>
              <a:gd name="connsiteX51233" fmla="*/ 2725395 w 8079933"/>
              <a:gd name="connsiteY51233" fmla="*/ 359566 h 4687251"/>
              <a:gd name="connsiteX51234" fmla="*/ 2730604 w 8079933"/>
              <a:gd name="connsiteY51234" fmla="*/ 361732 h 4687251"/>
              <a:gd name="connsiteX51235" fmla="*/ 2731255 w 8079933"/>
              <a:gd name="connsiteY51235" fmla="*/ 364114 h 4687251"/>
              <a:gd name="connsiteX51236" fmla="*/ 2734619 w 8079933"/>
              <a:gd name="connsiteY51236" fmla="*/ 364979 h 4687251"/>
              <a:gd name="connsiteX51237" fmla="*/ 2740588 w 8079933"/>
              <a:gd name="connsiteY51237" fmla="*/ 368769 h 4687251"/>
              <a:gd name="connsiteX51238" fmla="*/ 2741456 w 8079933"/>
              <a:gd name="connsiteY51238" fmla="*/ 374832 h 4687251"/>
              <a:gd name="connsiteX51239" fmla="*/ 2739502 w 8079933"/>
              <a:gd name="connsiteY51239" fmla="*/ 377539 h 4687251"/>
              <a:gd name="connsiteX51240" fmla="*/ 2735595 w 8079933"/>
              <a:gd name="connsiteY51240" fmla="*/ 378297 h 4687251"/>
              <a:gd name="connsiteX51241" fmla="*/ 2730495 w 8079933"/>
              <a:gd name="connsiteY51241" fmla="*/ 382844 h 4687251"/>
              <a:gd name="connsiteX51242" fmla="*/ 2727457 w 8079933"/>
              <a:gd name="connsiteY51242" fmla="*/ 383603 h 4687251"/>
              <a:gd name="connsiteX51243" fmla="*/ 2720078 w 8079933"/>
              <a:gd name="connsiteY51243" fmla="*/ 377214 h 4687251"/>
              <a:gd name="connsiteX51244" fmla="*/ 2715845 w 8079933"/>
              <a:gd name="connsiteY51244" fmla="*/ 378622 h 4687251"/>
              <a:gd name="connsiteX51245" fmla="*/ 2713567 w 8079933"/>
              <a:gd name="connsiteY51245" fmla="*/ 376023 h 4687251"/>
              <a:gd name="connsiteX51246" fmla="*/ 2708901 w 8079933"/>
              <a:gd name="connsiteY51246" fmla="*/ 375590 h 4687251"/>
              <a:gd name="connsiteX51247" fmla="*/ 2705862 w 8079933"/>
              <a:gd name="connsiteY51247" fmla="*/ 377322 h 4687251"/>
              <a:gd name="connsiteX51248" fmla="*/ 2706839 w 8079933"/>
              <a:gd name="connsiteY51248" fmla="*/ 380571 h 4687251"/>
              <a:gd name="connsiteX51249" fmla="*/ 2721054 w 8079933"/>
              <a:gd name="connsiteY51249" fmla="*/ 388150 h 4687251"/>
              <a:gd name="connsiteX51250" fmla="*/ 2726481 w 8079933"/>
              <a:gd name="connsiteY51250" fmla="*/ 388691 h 4687251"/>
              <a:gd name="connsiteX51251" fmla="*/ 2726481 w 8079933"/>
              <a:gd name="connsiteY51251" fmla="*/ 391614 h 4687251"/>
              <a:gd name="connsiteX51252" fmla="*/ 2722574 w 8079933"/>
              <a:gd name="connsiteY51252" fmla="*/ 393455 h 4687251"/>
              <a:gd name="connsiteX51253" fmla="*/ 2718667 w 8079933"/>
              <a:gd name="connsiteY51253" fmla="*/ 397894 h 4687251"/>
              <a:gd name="connsiteX51254" fmla="*/ 2714543 w 8079933"/>
              <a:gd name="connsiteY51254" fmla="*/ 398868 h 4687251"/>
              <a:gd name="connsiteX51255" fmla="*/ 2710745 w 8079933"/>
              <a:gd name="connsiteY51255" fmla="*/ 394646 h 4687251"/>
              <a:gd name="connsiteX51256" fmla="*/ 2707164 w 8079933"/>
              <a:gd name="connsiteY51256" fmla="*/ 394862 h 4687251"/>
              <a:gd name="connsiteX51257" fmla="*/ 2702715 w 8079933"/>
              <a:gd name="connsiteY51257" fmla="*/ 398219 h 4687251"/>
              <a:gd name="connsiteX51258" fmla="*/ 2695445 w 8079933"/>
              <a:gd name="connsiteY51258" fmla="*/ 397894 h 4687251"/>
              <a:gd name="connsiteX51259" fmla="*/ 2692406 w 8079933"/>
              <a:gd name="connsiteY51259" fmla="*/ 394429 h 4687251"/>
              <a:gd name="connsiteX51260" fmla="*/ 2682748 w 8079933"/>
              <a:gd name="connsiteY51260" fmla="*/ 392156 h 4687251"/>
              <a:gd name="connsiteX51261" fmla="*/ 2676671 w 8079933"/>
              <a:gd name="connsiteY51261" fmla="*/ 393780 h 4687251"/>
              <a:gd name="connsiteX51262" fmla="*/ 2675477 w 8079933"/>
              <a:gd name="connsiteY51262" fmla="*/ 402441 h 4687251"/>
              <a:gd name="connsiteX51263" fmla="*/ 2670920 w 8079933"/>
              <a:gd name="connsiteY51263" fmla="*/ 406772 h 4687251"/>
              <a:gd name="connsiteX51264" fmla="*/ 2675260 w 8079933"/>
              <a:gd name="connsiteY51264" fmla="*/ 406555 h 4687251"/>
              <a:gd name="connsiteX51265" fmla="*/ 2676671 w 8079933"/>
              <a:gd name="connsiteY51265" fmla="*/ 407854 h 4687251"/>
              <a:gd name="connsiteX51266" fmla="*/ 2676888 w 8079933"/>
              <a:gd name="connsiteY51266" fmla="*/ 412619 h 4687251"/>
              <a:gd name="connsiteX51267" fmla="*/ 2670052 w 8079933"/>
              <a:gd name="connsiteY51267" fmla="*/ 416300 h 4687251"/>
              <a:gd name="connsiteX51268" fmla="*/ 2669834 w 8079933"/>
              <a:gd name="connsiteY51268" fmla="*/ 421388 h 4687251"/>
              <a:gd name="connsiteX51269" fmla="*/ 2664300 w 8079933"/>
              <a:gd name="connsiteY51269" fmla="*/ 424420 h 4687251"/>
              <a:gd name="connsiteX51270" fmla="*/ 2662238 w 8079933"/>
              <a:gd name="connsiteY51270" fmla="*/ 422472 h 4687251"/>
              <a:gd name="connsiteX51271" fmla="*/ 2660936 w 8079933"/>
              <a:gd name="connsiteY51271" fmla="*/ 423987 h 4687251"/>
              <a:gd name="connsiteX51272" fmla="*/ 2660176 w 8079933"/>
              <a:gd name="connsiteY51272" fmla="*/ 427235 h 4687251"/>
              <a:gd name="connsiteX51273" fmla="*/ 2655510 w 8079933"/>
              <a:gd name="connsiteY51273" fmla="*/ 429184 h 4687251"/>
              <a:gd name="connsiteX51274" fmla="*/ 2652146 w 8079933"/>
              <a:gd name="connsiteY51274" fmla="*/ 428210 h 4687251"/>
              <a:gd name="connsiteX51275" fmla="*/ 2654317 w 8079933"/>
              <a:gd name="connsiteY51275" fmla="*/ 425611 h 4687251"/>
              <a:gd name="connsiteX51276" fmla="*/ 2652038 w 8079933"/>
              <a:gd name="connsiteY51276" fmla="*/ 425611 h 4687251"/>
              <a:gd name="connsiteX51277" fmla="*/ 2649216 w 8079933"/>
              <a:gd name="connsiteY51277" fmla="*/ 428210 h 4687251"/>
              <a:gd name="connsiteX51278" fmla="*/ 2645961 w 8079933"/>
              <a:gd name="connsiteY51278" fmla="*/ 434706 h 4687251"/>
              <a:gd name="connsiteX51279" fmla="*/ 2643465 w 8079933"/>
              <a:gd name="connsiteY51279" fmla="*/ 436329 h 4687251"/>
              <a:gd name="connsiteX51280" fmla="*/ 2632396 w 8079933"/>
              <a:gd name="connsiteY51280" fmla="*/ 430375 h 4687251"/>
              <a:gd name="connsiteX51281" fmla="*/ 2625994 w 8079933"/>
              <a:gd name="connsiteY51281" fmla="*/ 430267 h 4687251"/>
              <a:gd name="connsiteX51282" fmla="*/ 2625126 w 8079933"/>
              <a:gd name="connsiteY51282" fmla="*/ 432107 h 4687251"/>
              <a:gd name="connsiteX51283" fmla="*/ 2619157 w 8079933"/>
              <a:gd name="connsiteY51283" fmla="*/ 430916 h 4687251"/>
              <a:gd name="connsiteX51284" fmla="*/ 2609065 w 8079933"/>
              <a:gd name="connsiteY51284" fmla="*/ 418790 h 4687251"/>
              <a:gd name="connsiteX51285" fmla="*/ 2606895 w 8079933"/>
              <a:gd name="connsiteY51285" fmla="*/ 408396 h 4687251"/>
              <a:gd name="connsiteX51286" fmla="*/ 2609499 w 8079933"/>
              <a:gd name="connsiteY51286" fmla="*/ 406447 h 4687251"/>
              <a:gd name="connsiteX51287" fmla="*/ 2610259 w 8079933"/>
              <a:gd name="connsiteY51287" fmla="*/ 402550 h 4687251"/>
              <a:gd name="connsiteX51288" fmla="*/ 2608848 w 8079933"/>
              <a:gd name="connsiteY51288" fmla="*/ 399734 h 4687251"/>
              <a:gd name="connsiteX51289" fmla="*/ 2609282 w 8079933"/>
              <a:gd name="connsiteY51289" fmla="*/ 396595 h 4687251"/>
              <a:gd name="connsiteX51290" fmla="*/ 2604833 w 8079933"/>
              <a:gd name="connsiteY51290" fmla="*/ 401900 h 4687251"/>
              <a:gd name="connsiteX51291" fmla="*/ 2604941 w 8079933"/>
              <a:gd name="connsiteY51291" fmla="*/ 405148 h 4687251"/>
              <a:gd name="connsiteX51292" fmla="*/ 2602988 w 8079933"/>
              <a:gd name="connsiteY51292" fmla="*/ 411969 h 4687251"/>
              <a:gd name="connsiteX51293" fmla="*/ 2600818 w 8079933"/>
              <a:gd name="connsiteY51293" fmla="*/ 415650 h 4687251"/>
              <a:gd name="connsiteX51294" fmla="*/ 2604724 w 8079933"/>
              <a:gd name="connsiteY51294" fmla="*/ 420739 h 4687251"/>
              <a:gd name="connsiteX51295" fmla="*/ 2603965 w 8079933"/>
              <a:gd name="connsiteY51295" fmla="*/ 423229 h 4687251"/>
              <a:gd name="connsiteX51296" fmla="*/ 2601469 w 8079933"/>
              <a:gd name="connsiteY51296" fmla="*/ 422580 h 4687251"/>
              <a:gd name="connsiteX51297" fmla="*/ 2594958 w 8079933"/>
              <a:gd name="connsiteY51297" fmla="*/ 423554 h 4687251"/>
              <a:gd name="connsiteX51298" fmla="*/ 2593873 w 8079933"/>
              <a:gd name="connsiteY51298" fmla="*/ 422796 h 4687251"/>
              <a:gd name="connsiteX51299" fmla="*/ 2589424 w 8079933"/>
              <a:gd name="connsiteY51299" fmla="*/ 423554 h 4687251"/>
              <a:gd name="connsiteX51300" fmla="*/ 2593547 w 8079933"/>
              <a:gd name="connsiteY51300" fmla="*/ 427127 h 4687251"/>
              <a:gd name="connsiteX51301" fmla="*/ 2591160 w 8079933"/>
              <a:gd name="connsiteY51301" fmla="*/ 434489 h 4687251"/>
              <a:gd name="connsiteX51302" fmla="*/ 2594524 w 8079933"/>
              <a:gd name="connsiteY51302" fmla="*/ 434489 h 4687251"/>
              <a:gd name="connsiteX51303" fmla="*/ 2599841 w 8079933"/>
              <a:gd name="connsiteY51303" fmla="*/ 428101 h 4687251"/>
              <a:gd name="connsiteX51304" fmla="*/ 2602446 w 8079933"/>
              <a:gd name="connsiteY51304" fmla="*/ 428210 h 4687251"/>
              <a:gd name="connsiteX51305" fmla="*/ 2604508 w 8079933"/>
              <a:gd name="connsiteY51305" fmla="*/ 426261 h 4687251"/>
              <a:gd name="connsiteX51306" fmla="*/ 2607763 w 8079933"/>
              <a:gd name="connsiteY51306" fmla="*/ 425070 h 4687251"/>
              <a:gd name="connsiteX51307" fmla="*/ 2613189 w 8079933"/>
              <a:gd name="connsiteY51307" fmla="*/ 428968 h 4687251"/>
              <a:gd name="connsiteX51308" fmla="*/ 2616662 w 8079933"/>
              <a:gd name="connsiteY51308" fmla="*/ 434273 h 4687251"/>
              <a:gd name="connsiteX51309" fmla="*/ 2614600 w 8079933"/>
              <a:gd name="connsiteY51309" fmla="*/ 439145 h 4687251"/>
              <a:gd name="connsiteX51310" fmla="*/ 2620025 w 8079933"/>
              <a:gd name="connsiteY51310" fmla="*/ 435139 h 4687251"/>
              <a:gd name="connsiteX51311" fmla="*/ 2628707 w 8079933"/>
              <a:gd name="connsiteY51311" fmla="*/ 432865 h 4687251"/>
              <a:gd name="connsiteX51312" fmla="*/ 2634567 w 8079933"/>
              <a:gd name="connsiteY51312" fmla="*/ 435680 h 4687251"/>
              <a:gd name="connsiteX51313" fmla="*/ 2635543 w 8079933"/>
              <a:gd name="connsiteY51313" fmla="*/ 440335 h 4687251"/>
              <a:gd name="connsiteX51314" fmla="*/ 2633156 w 8079933"/>
              <a:gd name="connsiteY51314" fmla="*/ 443151 h 4687251"/>
              <a:gd name="connsiteX51315" fmla="*/ 2630226 w 8079933"/>
              <a:gd name="connsiteY51315" fmla="*/ 450838 h 4687251"/>
              <a:gd name="connsiteX51316" fmla="*/ 2627621 w 8079933"/>
              <a:gd name="connsiteY51316" fmla="*/ 451488 h 4687251"/>
              <a:gd name="connsiteX51317" fmla="*/ 2626211 w 8079933"/>
              <a:gd name="connsiteY51317" fmla="*/ 454736 h 4687251"/>
              <a:gd name="connsiteX51318" fmla="*/ 2627621 w 8079933"/>
              <a:gd name="connsiteY51318" fmla="*/ 456143 h 4687251"/>
              <a:gd name="connsiteX51319" fmla="*/ 2631962 w 8079933"/>
              <a:gd name="connsiteY51319" fmla="*/ 455710 h 4687251"/>
              <a:gd name="connsiteX51320" fmla="*/ 2631311 w 8079933"/>
              <a:gd name="connsiteY51320" fmla="*/ 459067 h 4687251"/>
              <a:gd name="connsiteX51321" fmla="*/ 2627404 w 8079933"/>
              <a:gd name="connsiteY51321" fmla="*/ 463398 h 4687251"/>
              <a:gd name="connsiteX51322" fmla="*/ 2631854 w 8079933"/>
              <a:gd name="connsiteY51322" fmla="*/ 463073 h 4687251"/>
              <a:gd name="connsiteX51323" fmla="*/ 2634024 w 8079933"/>
              <a:gd name="connsiteY51323" fmla="*/ 459933 h 4687251"/>
              <a:gd name="connsiteX51324" fmla="*/ 2639884 w 8079933"/>
              <a:gd name="connsiteY51324" fmla="*/ 456576 h 4687251"/>
              <a:gd name="connsiteX51325" fmla="*/ 2643031 w 8079933"/>
              <a:gd name="connsiteY51325" fmla="*/ 456360 h 4687251"/>
              <a:gd name="connsiteX51326" fmla="*/ 2645201 w 8079933"/>
              <a:gd name="connsiteY51326" fmla="*/ 455277 h 4687251"/>
              <a:gd name="connsiteX51327" fmla="*/ 2647697 w 8079933"/>
              <a:gd name="connsiteY51327" fmla="*/ 456576 h 4687251"/>
              <a:gd name="connsiteX51328" fmla="*/ 2646612 w 8079933"/>
              <a:gd name="connsiteY51328" fmla="*/ 461232 h 4687251"/>
              <a:gd name="connsiteX51329" fmla="*/ 2647914 w 8079933"/>
              <a:gd name="connsiteY51329" fmla="*/ 464372 h 4687251"/>
              <a:gd name="connsiteX51330" fmla="*/ 2646178 w 8079933"/>
              <a:gd name="connsiteY51330" fmla="*/ 472276 h 4687251"/>
              <a:gd name="connsiteX51331" fmla="*/ 2641078 w 8079933"/>
              <a:gd name="connsiteY51331" fmla="*/ 481696 h 4687251"/>
              <a:gd name="connsiteX51332" fmla="*/ 2636520 w 8079933"/>
              <a:gd name="connsiteY51332" fmla="*/ 481804 h 4687251"/>
              <a:gd name="connsiteX51333" fmla="*/ 2631745 w 8079933"/>
              <a:gd name="connsiteY51333" fmla="*/ 484835 h 4687251"/>
              <a:gd name="connsiteX51334" fmla="*/ 2628816 w 8079933"/>
              <a:gd name="connsiteY51334" fmla="*/ 489924 h 4687251"/>
              <a:gd name="connsiteX51335" fmla="*/ 2624366 w 8079933"/>
              <a:gd name="connsiteY51335" fmla="*/ 493281 h 4687251"/>
              <a:gd name="connsiteX51336" fmla="*/ 2622738 w 8079933"/>
              <a:gd name="connsiteY51336" fmla="*/ 491765 h 4687251"/>
              <a:gd name="connsiteX51337" fmla="*/ 2624366 w 8079933"/>
              <a:gd name="connsiteY51337" fmla="*/ 486351 h 4687251"/>
              <a:gd name="connsiteX51338" fmla="*/ 2625126 w 8079933"/>
              <a:gd name="connsiteY51338" fmla="*/ 480720 h 4687251"/>
              <a:gd name="connsiteX51339" fmla="*/ 2623932 w 8079933"/>
              <a:gd name="connsiteY51339" fmla="*/ 479638 h 4687251"/>
              <a:gd name="connsiteX51340" fmla="*/ 2620568 w 8079933"/>
              <a:gd name="connsiteY51340" fmla="*/ 481804 h 4687251"/>
              <a:gd name="connsiteX51341" fmla="*/ 2617204 w 8079933"/>
              <a:gd name="connsiteY51341" fmla="*/ 488191 h 4687251"/>
              <a:gd name="connsiteX51342" fmla="*/ 2613189 w 8079933"/>
              <a:gd name="connsiteY51342" fmla="*/ 489275 h 4687251"/>
              <a:gd name="connsiteX51343" fmla="*/ 2606678 w 8079933"/>
              <a:gd name="connsiteY51343" fmla="*/ 495338 h 4687251"/>
              <a:gd name="connsiteX51344" fmla="*/ 2604724 w 8079933"/>
              <a:gd name="connsiteY51344" fmla="*/ 493930 h 4687251"/>
              <a:gd name="connsiteX51345" fmla="*/ 2600167 w 8079933"/>
              <a:gd name="connsiteY51345" fmla="*/ 493822 h 4687251"/>
              <a:gd name="connsiteX51346" fmla="*/ 2592679 w 8079933"/>
              <a:gd name="connsiteY51346" fmla="*/ 499668 h 4687251"/>
              <a:gd name="connsiteX51347" fmla="*/ 2590509 w 8079933"/>
              <a:gd name="connsiteY51347" fmla="*/ 498477 h 4687251"/>
              <a:gd name="connsiteX51348" fmla="*/ 2586277 w 8079933"/>
              <a:gd name="connsiteY51348" fmla="*/ 500318 h 4687251"/>
              <a:gd name="connsiteX51349" fmla="*/ 2581610 w 8079933"/>
              <a:gd name="connsiteY51349" fmla="*/ 500101 h 4687251"/>
              <a:gd name="connsiteX51350" fmla="*/ 2580091 w 8079933"/>
              <a:gd name="connsiteY51350" fmla="*/ 496745 h 4687251"/>
              <a:gd name="connsiteX51351" fmla="*/ 2578030 w 8079933"/>
              <a:gd name="connsiteY51351" fmla="*/ 495229 h 4687251"/>
              <a:gd name="connsiteX51352" fmla="*/ 2582153 w 8079933"/>
              <a:gd name="connsiteY51352" fmla="*/ 492089 h 4687251"/>
              <a:gd name="connsiteX51353" fmla="*/ 2585300 w 8079933"/>
              <a:gd name="connsiteY51353" fmla="*/ 487650 h 4687251"/>
              <a:gd name="connsiteX51354" fmla="*/ 2585409 w 8079933"/>
              <a:gd name="connsiteY51354" fmla="*/ 483861 h 4687251"/>
              <a:gd name="connsiteX51355" fmla="*/ 2580417 w 8079933"/>
              <a:gd name="connsiteY51355" fmla="*/ 476714 h 4687251"/>
              <a:gd name="connsiteX51356" fmla="*/ 2577270 w 8079933"/>
              <a:gd name="connsiteY51356" fmla="*/ 479855 h 4687251"/>
              <a:gd name="connsiteX51357" fmla="*/ 2570651 w 8079933"/>
              <a:gd name="connsiteY51357" fmla="*/ 477364 h 4687251"/>
              <a:gd name="connsiteX51358" fmla="*/ 2569782 w 8079933"/>
              <a:gd name="connsiteY51358" fmla="*/ 474441 h 4687251"/>
              <a:gd name="connsiteX51359" fmla="*/ 2572278 w 8079933"/>
              <a:gd name="connsiteY51359" fmla="*/ 468811 h 4687251"/>
              <a:gd name="connsiteX51360" fmla="*/ 2575750 w 8079933"/>
              <a:gd name="connsiteY51360" fmla="*/ 467837 h 4687251"/>
              <a:gd name="connsiteX51361" fmla="*/ 2572929 w 8079933"/>
              <a:gd name="connsiteY51361" fmla="*/ 466429 h 4687251"/>
              <a:gd name="connsiteX51362" fmla="*/ 2569565 w 8079933"/>
              <a:gd name="connsiteY51362" fmla="*/ 465455 h 4687251"/>
              <a:gd name="connsiteX51363" fmla="*/ 2566852 w 8079933"/>
              <a:gd name="connsiteY51363" fmla="*/ 458959 h 4687251"/>
              <a:gd name="connsiteX51364" fmla="*/ 2568263 w 8079933"/>
              <a:gd name="connsiteY51364" fmla="*/ 455169 h 4687251"/>
              <a:gd name="connsiteX51365" fmla="*/ 2568480 w 8079933"/>
              <a:gd name="connsiteY51365" fmla="*/ 450838 h 4687251"/>
              <a:gd name="connsiteX51366" fmla="*/ 2566418 w 8079933"/>
              <a:gd name="connsiteY51366" fmla="*/ 447049 h 4687251"/>
              <a:gd name="connsiteX51367" fmla="*/ 2566418 w 8079933"/>
              <a:gd name="connsiteY51367" fmla="*/ 452137 h 4687251"/>
              <a:gd name="connsiteX51368" fmla="*/ 2563055 w 8079933"/>
              <a:gd name="connsiteY51368" fmla="*/ 459716 h 4687251"/>
              <a:gd name="connsiteX51369" fmla="*/ 2566961 w 8079933"/>
              <a:gd name="connsiteY51369" fmla="*/ 466753 h 4687251"/>
              <a:gd name="connsiteX51370" fmla="*/ 2567503 w 8079933"/>
              <a:gd name="connsiteY51370" fmla="*/ 470110 h 4687251"/>
              <a:gd name="connsiteX51371" fmla="*/ 2565008 w 8079933"/>
              <a:gd name="connsiteY51371" fmla="*/ 472709 h 4687251"/>
              <a:gd name="connsiteX51372" fmla="*/ 2564791 w 8079933"/>
              <a:gd name="connsiteY51372" fmla="*/ 477906 h 4687251"/>
              <a:gd name="connsiteX51373" fmla="*/ 2561752 w 8079933"/>
              <a:gd name="connsiteY51373" fmla="*/ 479855 h 4687251"/>
              <a:gd name="connsiteX51374" fmla="*/ 2557954 w 8079933"/>
              <a:gd name="connsiteY51374" fmla="*/ 478230 h 4687251"/>
              <a:gd name="connsiteX51375" fmla="*/ 2553939 w 8079933"/>
              <a:gd name="connsiteY51375" fmla="*/ 479422 h 4687251"/>
              <a:gd name="connsiteX51376" fmla="*/ 2550575 w 8079933"/>
              <a:gd name="connsiteY51376" fmla="*/ 476065 h 4687251"/>
              <a:gd name="connsiteX51377" fmla="*/ 2550032 w 8079933"/>
              <a:gd name="connsiteY51377" fmla="*/ 473034 h 4687251"/>
              <a:gd name="connsiteX51378" fmla="*/ 2553287 w 8079933"/>
              <a:gd name="connsiteY51378" fmla="*/ 464480 h 4687251"/>
              <a:gd name="connsiteX51379" fmla="*/ 2551660 w 8079933"/>
              <a:gd name="connsiteY51379" fmla="*/ 460149 h 4687251"/>
              <a:gd name="connsiteX51380" fmla="*/ 2552528 w 8079933"/>
              <a:gd name="connsiteY51380" fmla="*/ 455818 h 4687251"/>
              <a:gd name="connsiteX51381" fmla="*/ 2557085 w 8079933"/>
              <a:gd name="connsiteY51381" fmla="*/ 451055 h 4687251"/>
              <a:gd name="connsiteX51382" fmla="*/ 2552094 w 8079933"/>
              <a:gd name="connsiteY51382" fmla="*/ 452029 h 4687251"/>
              <a:gd name="connsiteX51383" fmla="*/ 2548730 w 8079933"/>
              <a:gd name="connsiteY51383" fmla="*/ 455818 h 4687251"/>
              <a:gd name="connsiteX51384" fmla="*/ 2547753 w 8079933"/>
              <a:gd name="connsiteY51384" fmla="*/ 461557 h 4687251"/>
              <a:gd name="connsiteX51385" fmla="*/ 2549598 w 8079933"/>
              <a:gd name="connsiteY51385" fmla="*/ 466104 h 4687251"/>
              <a:gd name="connsiteX51386" fmla="*/ 2545583 w 8079933"/>
              <a:gd name="connsiteY51386" fmla="*/ 473358 h 4687251"/>
              <a:gd name="connsiteX51387" fmla="*/ 2541568 w 8079933"/>
              <a:gd name="connsiteY51387" fmla="*/ 474657 h 4687251"/>
              <a:gd name="connsiteX51388" fmla="*/ 2537227 w 8079933"/>
              <a:gd name="connsiteY51388" fmla="*/ 472059 h 4687251"/>
              <a:gd name="connsiteX51389" fmla="*/ 2537444 w 8079933"/>
              <a:gd name="connsiteY51389" fmla="*/ 468053 h 4687251"/>
              <a:gd name="connsiteX51390" fmla="*/ 2535817 w 8079933"/>
              <a:gd name="connsiteY51390" fmla="*/ 466213 h 4687251"/>
              <a:gd name="connsiteX51391" fmla="*/ 2536142 w 8079933"/>
              <a:gd name="connsiteY51391" fmla="*/ 462965 h 4687251"/>
              <a:gd name="connsiteX51392" fmla="*/ 2538204 w 8079933"/>
              <a:gd name="connsiteY51392" fmla="*/ 459175 h 4687251"/>
              <a:gd name="connsiteX51393" fmla="*/ 2539072 w 8079933"/>
              <a:gd name="connsiteY51393" fmla="*/ 456576 h 4687251"/>
              <a:gd name="connsiteX51394" fmla="*/ 2537770 w 8079933"/>
              <a:gd name="connsiteY51394" fmla="*/ 451596 h 4687251"/>
              <a:gd name="connsiteX51395" fmla="*/ 2536142 w 8079933"/>
              <a:gd name="connsiteY51395" fmla="*/ 451163 h 4687251"/>
              <a:gd name="connsiteX51396" fmla="*/ 2535165 w 8079933"/>
              <a:gd name="connsiteY51396" fmla="*/ 453328 h 4687251"/>
              <a:gd name="connsiteX51397" fmla="*/ 2534406 w 8079933"/>
              <a:gd name="connsiteY51397" fmla="*/ 458417 h 4687251"/>
              <a:gd name="connsiteX51398" fmla="*/ 2531584 w 8079933"/>
              <a:gd name="connsiteY51398" fmla="*/ 461016 h 4687251"/>
              <a:gd name="connsiteX51399" fmla="*/ 2531476 w 8079933"/>
              <a:gd name="connsiteY51399" fmla="*/ 464480 h 4687251"/>
              <a:gd name="connsiteX51400" fmla="*/ 2530065 w 8079933"/>
              <a:gd name="connsiteY51400" fmla="*/ 466429 h 4687251"/>
              <a:gd name="connsiteX51401" fmla="*/ 2526267 w 8079933"/>
              <a:gd name="connsiteY51401" fmla="*/ 466645 h 4687251"/>
              <a:gd name="connsiteX51402" fmla="*/ 2525399 w 8079933"/>
              <a:gd name="connsiteY51402" fmla="*/ 468053 h 4687251"/>
              <a:gd name="connsiteX51403" fmla="*/ 2522252 w 8079933"/>
              <a:gd name="connsiteY51403" fmla="*/ 468486 h 4687251"/>
              <a:gd name="connsiteX51404" fmla="*/ 2521275 w 8079933"/>
              <a:gd name="connsiteY51404" fmla="*/ 466104 h 4687251"/>
              <a:gd name="connsiteX51405" fmla="*/ 2521384 w 8079933"/>
              <a:gd name="connsiteY51405" fmla="*/ 462206 h 4687251"/>
              <a:gd name="connsiteX51406" fmla="*/ 2519647 w 8079933"/>
              <a:gd name="connsiteY51406" fmla="*/ 456143 h 4687251"/>
              <a:gd name="connsiteX51407" fmla="*/ 2518454 w 8079933"/>
              <a:gd name="connsiteY51407" fmla="*/ 454844 h 4687251"/>
              <a:gd name="connsiteX51408" fmla="*/ 2516935 w 8079933"/>
              <a:gd name="connsiteY51408" fmla="*/ 456252 h 4687251"/>
              <a:gd name="connsiteX51409" fmla="*/ 2515090 w 8079933"/>
              <a:gd name="connsiteY51409" fmla="*/ 461882 h 4687251"/>
              <a:gd name="connsiteX51410" fmla="*/ 2516392 w 8079933"/>
              <a:gd name="connsiteY51410" fmla="*/ 469677 h 4687251"/>
              <a:gd name="connsiteX51411" fmla="*/ 2519647 w 8079933"/>
              <a:gd name="connsiteY51411" fmla="*/ 475091 h 4687251"/>
              <a:gd name="connsiteX51412" fmla="*/ 2518345 w 8079933"/>
              <a:gd name="connsiteY51412" fmla="*/ 478555 h 4687251"/>
              <a:gd name="connsiteX51413" fmla="*/ 2516284 w 8079933"/>
              <a:gd name="connsiteY51413" fmla="*/ 478772 h 4687251"/>
              <a:gd name="connsiteX51414" fmla="*/ 2512811 w 8079933"/>
              <a:gd name="connsiteY51414" fmla="*/ 477256 h 4687251"/>
              <a:gd name="connsiteX51415" fmla="*/ 2503913 w 8079933"/>
              <a:gd name="connsiteY51415" fmla="*/ 476931 h 4687251"/>
              <a:gd name="connsiteX51416" fmla="*/ 2503478 w 8079933"/>
              <a:gd name="connsiteY51416" fmla="*/ 473142 h 4687251"/>
              <a:gd name="connsiteX51417" fmla="*/ 2501308 w 8079933"/>
              <a:gd name="connsiteY51417" fmla="*/ 472709 h 4687251"/>
              <a:gd name="connsiteX51418" fmla="*/ 2494363 w 8079933"/>
              <a:gd name="connsiteY51418" fmla="*/ 468053 h 4687251"/>
              <a:gd name="connsiteX51419" fmla="*/ 2491324 w 8079933"/>
              <a:gd name="connsiteY51419" fmla="*/ 468269 h 4687251"/>
              <a:gd name="connsiteX51420" fmla="*/ 2490456 w 8079933"/>
              <a:gd name="connsiteY51420" fmla="*/ 466645 h 4687251"/>
              <a:gd name="connsiteX51421" fmla="*/ 2488503 w 8079933"/>
              <a:gd name="connsiteY51421" fmla="*/ 465130 h 4687251"/>
              <a:gd name="connsiteX51422" fmla="*/ 2486008 w 8079933"/>
              <a:gd name="connsiteY51422" fmla="*/ 465130 h 4687251"/>
              <a:gd name="connsiteX51423" fmla="*/ 2485465 w 8079933"/>
              <a:gd name="connsiteY51423" fmla="*/ 462639 h 4687251"/>
              <a:gd name="connsiteX51424" fmla="*/ 2487961 w 8079933"/>
              <a:gd name="connsiteY51424" fmla="*/ 458851 h 4687251"/>
              <a:gd name="connsiteX51425" fmla="*/ 2490023 w 8079933"/>
              <a:gd name="connsiteY51425" fmla="*/ 458525 h 4687251"/>
              <a:gd name="connsiteX51426" fmla="*/ 2492301 w 8079933"/>
              <a:gd name="connsiteY51426" fmla="*/ 454519 h 4687251"/>
              <a:gd name="connsiteX51427" fmla="*/ 2492084 w 8079933"/>
              <a:gd name="connsiteY51427" fmla="*/ 451272 h 4687251"/>
              <a:gd name="connsiteX51428" fmla="*/ 2488720 w 8079933"/>
              <a:gd name="connsiteY51428" fmla="*/ 445100 h 4687251"/>
              <a:gd name="connsiteX51429" fmla="*/ 2486876 w 8079933"/>
              <a:gd name="connsiteY51429" fmla="*/ 443584 h 4687251"/>
              <a:gd name="connsiteX51430" fmla="*/ 2486984 w 8079933"/>
              <a:gd name="connsiteY51430" fmla="*/ 447157 h 4687251"/>
              <a:gd name="connsiteX51431" fmla="*/ 2489046 w 8079933"/>
              <a:gd name="connsiteY51431" fmla="*/ 449106 h 4687251"/>
              <a:gd name="connsiteX51432" fmla="*/ 2489371 w 8079933"/>
              <a:gd name="connsiteY51432" fmla="*/ 452896 h 4687251"/>
              <a:gd name="connsiteX51433" fmla="*/ 2487961 w 8079933"/>
              <a:gd name="connsiteY51433" fmla="*/ 455386 h 4687251"/>
              <a:gd name="connsiteX51434" fmla="*/ 2484163 w 8079933"/>
              <a:gd name="connsiteY51434" fmla="*/ 455277 h 4687251"/>
              <a:gd name="connsiteX51435" fmla="*/ 2482860 w 8079933"/>
              <a:gd name="connsiteY51435" fmla="*/ 456685 h 4687251"/>
              <a:gd name="connsiteX51436" fmla="*/ 2483512 w 8079933"/>
              <a:gd name="connsiteY51436" fmla="*/ 457551 h 4687251"/>
              <a:gd name="connsiteX51437" fmla="*/ 2484054 w 8079933"/>
              <a:gd name="connsiteY51437" fmla="*/ 460690 h 4687251"/>
              <a:gd name="connsiteX51438" fmla="*/ 2481233 w 8079933"/>
              <a:gd name="connsiteY51438" fmla="*/ 463722 h 4687251"/>
              <a:gd name="connsiteX51439" fmla="*/ 2478954 w 8079933"/>
              <a:gd name="connsiteY51439" fmla="*/ 463289 h 4687251"/>
              <a:gd name="connsiteX51440" fmla="*/ 2475915 w 8079933"/>
              <a:gd name="connsiteY51440" fmla="*/ 458309 h 4687251"/>
              <a:gd name="connsiteX51441" fmla="*/ 2476024 w 8079933"/>
              <a:gd name="connsiteY51441" fmla="*/ 455494 h 4687251"/>
              <a:gd name="connsiteX51442" fmla="*/ 2475047 w 8079933"/>
              <a:gd name="connsiteY51442" fmla="*/ 452570 h 4687251"/>
              <a:gd name="connsiteX51443" fmla="*/ 2477435 w 8079933"/>
              <a:gd name="connsiteY51443" fmla="*/ 446832 h 4687251"/>
              <a:gd name="connsiteX51444" fmla="*/ 2476675 w 8079933"/>
              <a:gd name="connsiteY51444" fmla="*/ 444775 h 4687251"/>
              <a:gd name="connsiteX51445" fmla="*/ 2477000 w 8079933"/>
              <a:gd name="connsiteY51445" fmla="*/ 441743 h 4687251"/>
              <a:gd name="connsiteX51446" fmla="*/ 2474830 w 8079933"/>
              <a:gd name="connsiteY51446" fmla="*/ 443909 h 4687251"/>
              <a:gd name="connsiteX51447" fmla="*/ 2473636 w 8079933"/>
              <a:gd name="connsiteY51447" fmla="*/ 447915 h 4687251"/>
              <a:gd name="connsiteX51448" fmla="*/ 2471358 w 8079933"/>
              <a:gd name="connsiteY51448" fmla="*/ 451812 h 4687251"/>
              <a:gd name="connsiteX51449" fmla="*/ 2471900 w 8079933"/>
              <a:gd name="connsiteY51449" fmla="*/ 453653 h 4687251"/>
              <a:gd name="connsiteX51450" fmla="*/ 2471249 w 8079933"/>
              <a:gd name="connsiteY51450" fmla="*/ 457443 h 4687251"/>
              <a:gd name="connsiteX51451" fmla="*/ 2466474 w 8079933"/>
              <a:gd name="connsiteY51451" fmla="*/ 457118 h 4687251"/>
              <a:gd name="connsiteX51452" fmla="*/ 2463653 w 8079933"/>
              <a:gd name="connsiteY51452" fmla="*/ 454736 h 4687251"/>
              <a:gd name="connsiteX51453" fmla="*/ 2460940 w 8079933"/>
              <a:gd name="connsiteY51453" fmla="*/ 454519 h 4687251"/>
              <a:gd name="connsiteX51454" fmla="*/ 2459747 w 8079933"/>
              <a:gd name="connsiteY51454" fmla="*/ 452354 h 4687251"/>
              <a:gd name="connsiteX51455" fmla="*/ 2461700 w 8079933"/>
              <a:gd name="connsiteY51455" fmla="*/ 448456 h 4687251"/>
              <a:gd name="connsiteX51456" fmla="*/ 2462242 w 8079933"/>
              <a:gd name="connsiteY51456" fmla="*/ 442935 h 4687251"/>
              <a:gd name="connsiteX51457" fmla="*/ 2463653 w 8079933"/>
              <a:gd name="connsiteY51457" fmla="*/ 441202 h 4687251"/>
              <a:gd name="connsiteX51458" fmla="*/ 2463761 w 8079933"/>
              <a:gd name="connsiteY51458" fmla="*/ 436980 h 4687251"/>
              <a:gd name="connsiteX51459" fmla="*/ 2468645 w 8079933"/>
              <a:gd name="connsiteY51459" fmla="*/ 427668 h 4687251"/>
              <a:gd name="connsiteX51460" fmla="*/ 2465606 w 8079933"/>
              <a:gd name="connsiteY51460" fmla="*/ 429509 h 4687251"/>
              <a:gd name="connsiteX51461" fmla="*/ 2462242 w 8079933"/>
              <a:gd name="connsiteY51461" fmla="*/ 430916 h 4687251"/>
              <a:gd name="connsiteX51462" fmla="*/ 2460180 w 8079933"/>
              <a:gd name="connsiteY51462" fmla="*/ 440227 h 4687251"/>
              <a:gd name="connsiteX51463" fmla="*/ 2459855 w 8079933"/>
              <a:gd name="connsiteY51463" fmla="*/ 446724 h 4687251"/>
              <a:gd name="connsiteX51464" fmla="*/ 2456708 w 8079933"/>
              <a:gd name="connsiteY51464" fmla="*/ 450296 h 4687251"/>
              <a:gd name="connsiteX51465" fmla="*/ 2455081 w 8079933"/>
              <a:gd name="connsiteY51465" fmla="*/ 448998 h 4687251"/>
              <a:gd name="connsiteX51466" fmla="*/ 2457467 w 8079933"/>
              <a:gd name="connsiteY51466" fmla="*/ 444667 h 4687251"/>
              <a:gd name="connsiteX51467" fmla="*/ 2457793 w 8079933"/>
              <a:gd name="connsiteY51467" fmla="*/ 443476 h 4687251"/>
              <a:gd name="connsiteX51468" fmla="*/ 2456382 w 8079933"/>
              <a:gd name="connsiteY51468" fmla="*/ 443043 h 4687251"/>
              <a:gd name="connsiteX51469" fmla="*/ 2453561 w 8079933"/>
              <a:gd name="connsiteY51469" fmla="*/ 449431 h 4687251"/>
              <a:gd name="connsiteX51470" fmla="*/ 2448243 w 8079933"/>
              <a:gd name="connsiteY51470" fmla="*/ 449431 h 4687251"/>
              <a:gd name="connsiteX51471" fmla="*/ 2446941 w 8079933"/>
              <a:gd name="connsiteY51471" fmla="*/ 446399 h 4687251"/>
              <a:gd name="connsiteX51472" fmla="*/ 2447050 w 8079933"/>
              <a:gd name="connsiteY51472" fmla="*/ 440661 h 4687251"/>
              <a:gd name="connsiteX51473" fmla="*/ 2445748 w 8079933"/>
              <a:gd name="connsiteY51473" fmla="*/ 438062 h 4687251"/>
              <a:gd name="connsiteX51474" fmla="*/ 2446616 w 8079933"/>
              <a:gd name="connsiteY51474" fmla="*/ 434814 h 4687251"/>
              <a:gd name="connsiteX51475" fmla="*/ 2451933 w 8079933"/>
              <a:gd name="connsiteY51475" fmla="*/ 431458 h 4687251"/>
              <a:gd name="connsiteX51476" fmla="*/ 2453127 w 8079933"/>
              <a:gd name="connsiteY51476" fmla="*/ 428101 h 4687251"/>
              <a:gd name="connsiteX51477" fmla="*/ 2452693 w 8079933"/>
              <a:gd name="connsiteY51477" fmla="*/ 425719 h 4687251"/>
              <a:gd name="connsiteX51478" fmla="*/ 2454212 w 8079933"/>
              <a:gd name="connsiteY51478" fmla="*/ 421930 h 4687251"/>
              <a:gd name="connsiteX51479" fmla="*/ 2457576 w 8079933"/>
              <a:gd name="connsiteY51479" fmla="*/ 418574 h 4687251"/>
              <a:gd name="connsiteX51480" fmla="*/ 2460940 w 8079933"/>
              <a:gd name="connsiteY51480" fmla="*/ 417815 h 4687251"/>
              <a:gd name="connsiteX51481" fmla="*/ 2463327 w 8079933"/>
              <a:gd name="connsiteY51481" fmla="*/ 415975 h 4687251"/>
              <a:gd name="connsiteX51482" fmla="*/ 2469947 w 8079933"/>
              <a:gd name="connsiteY51482" fmla="*/ 415542 h 4687251"/>
              <a:gd name="connsiteX51483" fmla="*/ 2472443 w 8079933"/>
              <a:gd name="connsiteY51483" fmla="*/ 412294 h 4687251"/>
              <a:gd name="connsiteX51484" fmla="*/ 2476675 w 8079933"/>
              <a:gd name="connsiteY51484" fmla="*/ 410778 h 4687251"/>
              <a:gd name="connsiteX51485" fmla="*/ 2479713 w 8079933"/>
              <a:gd name="connsiteY51485" fmla="*/ 409803 h 4687251"/>
              <a:gd name="connsiteX51486" fmla="*/ 2479822 w 8079933"/>
              <a:gd name="connsiteY51486" fmla="*/ 406989 h 4687251"/>
              <a:gd name="connsiteX51487" fmla="*/ 2481884 w 8079933"/>
              <a:gd name="connsiteY51487" fmla="*/ 405040 h 4687251"/>
              <a:gd name="connsiteX51488" fmla="*/ 2486008 w 8079933"/>
              <a:gd name="connsiteY51488" fmla="*/ 404931 h 4687251"/>
              <a:gd name="connsiteX51489" fmla="*/ 2492193 w 8079933"/>
              <a:gd name="connsiteY51489" fmla="*/ 407530 h 4687251"/>
              <a:gd name="connsiteX51490" fmla="*/ 2499789 w 8079933"/>
              <a:gd name="connsiteY51490" fmla="*/ 407854 h 4687251"/>
              <a:gd name="connsiteX51491" fmla="*/ 2502828 w 8079933"/>
              <a:gd name="connsiteY51491" fmla="*/ 405906 h 4687251"/>
              <a:gd name="connsiteX51492" fmla="*/ 2506517 w 8079933"/>
              <a:gd name="connsiteY51492" fmla="*/ 406989 h 4687251"/>
              <a:gd name="connsiteX51493" fmla="*/ 2508362 w 8079933"/>
              <a:gd name="connsiteY51493" fmla="*/ 411536 h 4687251"/>
              <a:gd name="connsiteX51494" fmla="*/ 2511834 w 8079933"/>
              <a:gd name="connsiteY51494" fmla="*/ 411319 h 4687251"/>
              <a:gd name="connsiteX51495" fmla="*/ 2512269 w 8079933"/>
              <a:gd name="connsiteY51495" fmla="*/ 408613 h 4687251"/>
              <a:gd name="connsiteX51496" fmla="*/ 2515090 w 8079933"/>
              <a:gd name="connsiteY51496" fmla="*/ 408288 h 4687251"/>
              <a:gd name="connsiteX51497" fmla="*/ 2519647 w 8079933"/>
              <a:gd name="connsiteY51497" fmla="*/ 411969 h 4687251"/>
              <a:gd name="connsiteX51498" fmla="*/ 2521710 w 8079933"/>
              <a:gd name="connsiteY51498" fmla="*/ 410778 h 4687251"/>
              <a:gd name="connsiteX51499" fmla="*/ 2525941 w 8079933"/>
              <a:gd name="connsiteY51499" fmla="*/ 411211 h 4687251"/>
              <a:gd name="connsiteX51500" fmla="*/ 2528003 w 8079933"/>
              <a:gd name="connsiteY51500" fmla="*/ 409046 h 4687251"/>
              <a:gd name="connsiteX51501" fmla="*/ 2526050 w 8079933"/>
              <a:gd name="connsiteY51501" fmla="*/ 407422 h 4687251"/>
              <a:gd name="connsiteX51502" fmla="*/ 2522578 w 8079933"/>
              <a:gd name="connsiteY51502" fmla="*/ 408180 h 4687251"/>
              <a:gd name="connsiteX51503" fmla="*/ 2519756 w 8079933"/>
              <a:gd name="connsiteY51503" fmla="*/ 405256 h 4687251"/>
              <a:gd name="connsiteX51504" fmla="*/ 2517369 w 8079933"/>
              <a:gd name="connsiteY51504" fmla="*/ 405040 h 4687251"/>
              <a:gd name="connsiteX51505" fmla="*/ 2517803 w 8079933"/>
              <a:gd name="connsiteY51505" fmla="*/ 403308 h 4687251"/>
              <a:gd name="connsiteX51506" fmla="*/ 2520842 w 8079933"/>
              <a:gd name="connsiteY51506" fmla="*/ 401142 h 4687251"/>
              <a:gd name="connsiteX51507" fmla="*/ 2521167 w 8079933"/>
              <a:gd name="connsiteY51507" fmla="*/ 398760 h 4687251"/>
              <a:gd name="connsiteX51508" fmla="*/ 2517477 w 8079933"/>
              <a:gd name="connsiteY51508" fmla="*/ 397244 h 4687251"/>
              <a:gd name="connsiteX51509" fmla="*/ 2518237 w 8079933"/>
              <a:gd name="connsiteY51509" fmla="*/ 396054 h 4687251"/>
              <a:gd name="connsiteX51510" fmla="*/ 2522903 w 8079933"/>
              <a:gd name="connsiteY51510" fmla="*/ 396270 h 4687251"/>
              <a:gd name="connsiteX51511" fmla="*/ 2523880 w 8079933"/>
              <a:gd name="connsiteY51511" fmla="*/ 394862 h 4687251"/>
              <a:gd name="connsiteX51512" fmla="*/ 2518779 w 8079933"/>
              <a:gd name="connsiteY51512" fmla="*/ 393022 h 4687251"/>
              <a:gd name="connsiteX51513" fmla="*/ 2517694 w 8079933"/>
              <a:gd name="connsiteY51513" fmla="*/ 394429 h 4687251"/>
              <a:gd name="connsiteX51514" fmla="*/ 2514439 w 8079933"/>
              <a:gd name="connsiteY51514" fmla="*/ 394862 h 4687251"/>
              <a:gd name="connsiteX51515" fmla="*/ 2511617 w 8079933"/>
              <a:gd name="connsiteY51515" fmla="*/ 390856 h 4687251"/>
              <a:gd name="connsiteX51516" fmla="*/ 2512486 w 8079933"/>
              <a:gd name="connsiteY51516" fmla="*/ 388150 h 4687251"/>
              <a:gd name="connsiteX51517" fmla="*/ 2516609 w 8079933"/>
              <a:gd name="connsiteY51517" fmla="*/ 384901 h 4687251"/>
              <a:gd name="connsiteX51518" fmla="*/ 2516717 w 8079933"/>
              <a:gd name="connsiteY51518" fmla="*/ 382303 h 4687251"/>
              <a:gd name="connsiteX51519" fmla="*/ 2514656 w 8079933"/>
              <a:gd name="connsiteY51519" fmla="*/ 382195 h 4687251"/>
              <a:gd name="connsiteX51520" fmla="*/ 2512919 w 8079933"/>
              <a:gd name="connsiteY51520" fmla="*/ 378730 h 4687251"/>
              <a:gd name="connsiteX51521" fmla="*/ 2513137 w 8079933"/>
              <a:gd name="connsiteY51521" fmla="*/ 370718 h 4687251"/>
              <a:gd name="connsiteX51522" fmla="*/ 2514439 w 8079933"/>
              <a:gd name="connsiteY51522" fmla="*/ 369094 h 4687251"/>
              <a:gd name="connsiteX51523" fmla="*/ 2513354 w 8079933"/>
              <a:gd name="connsiteY51523" fmla="*/ 364979 h 4687251"/>
              <a:gd name="connsiteX51524" fmla="*/ 2513896 w 8079933"/>
              <a:gd name="connsiteY51524" fmla="*/ 360757 h 4687251"/>
              <a:gd name="connsiteX51525" fmla="*/ 2517585 w 8079933"/>
              <a:gd name="connsiteY51525" fmla="*/ 360432 h 4687251"/>
              <a:gd name="connsiteX51526" fmla="*/ 2521710 w 8079933"/>
              <a:gd name="connsiteY51526" fmla="*/ 359025 h 4687251"/>
              <a:gd name="connsiteX51527" fmla="*/ 2526918 w 8079933"/>
              <a:gd name="connsiteY51527" fmla="*/ 359242 h 4687251"/>
              <a:gd name="connsiteX51528" fmla="*/ 2530174 w 8079933"/>
              <a:gd name="connsiteY51528" fmla="*/ 358483 h 4687251"/>
              <a:gd name="connsiteX51529" fmla="*/ 2534949 w 8079933"/>
              <a:gd name="connsiteY51529" fmla="*/ 360216 h 4687251"/>
              <a:gd name="connsiteX51530" fmla="*/ 2538963 w 8079933"/>
              <a:gd name="connsiteY51530" fmla="*/ 360216 h 4687251"/>
              <a:gd name="connsiteX51531" fmla="*/ 2543630 w 8079933"/>
              <a:gd name="connsiteY51531" fmla="*/ 366279 h 4687251"/>
              <a:gd name="connsiteX51532" fmla="*/ 2545800 w 8079933"/>
              <a:gd name="connsiteY51532" fmla="*/ 375699 h 4687251"/>
              <a:gd name="connsiteX51533" fmla="*/ 2546017 w 8079933"/>
              <a:gd name="connsiteY51533" fmla="*/ 389124 h 4687251"/>
              <a:gd name="connsiteX51534" fmla="*/ 2544064 w 8079933"/>
              <a:gd name="connsiteY51534" fmla="*/ 395295 h 4687251"/>
              <a:gd name="connsiteX51535" fmla="*/ 2546126 w 8079933"/>
              <a:gd name="connsiteY51535" fmla="*/ 397352 h 4687251"/>
              <a:gd name="connsiteX51536" fmla="*/ 2549164 w 8079933"/>
              <a:gd name="connsiteY51536" fmla="*/ 395837 h 4687251"/>
              <a:gd name="connsiteX51537" fmla="*/ 2557737 w 8079933"/>
              <a:gd name="connsiteY51537" fmla="*/ 400492 h 4687251"/>
              <a:gd name="connsiteX51538" fmla="*/ 2560884 w 8079933"/>
              <a:gd name="connsiteY51538" fmla="*/ 406123 h 4687251"/>
              <a:gd name="connsiteX51539" fmla="*/ 2563705 w 8079933"/>
              <a:gd name="connsiteY51539" fmla="*/ 406989 h 4687251"/>
              <a:gd name="connsiteX51540" fmla="*/ 2563705 w 8079933"/>
              <a:gd name="connsiteY51540" fmla="*/ 403849 h 4687251"/>
              <a:gd name="connsiteX51541" fmla="*/ 2573580 w 8079933"/>
              <a:gd name="connsiteY51541" fmla="*/ 403741 h 4687251"/>
              <a:gd name="connsiteX51542" fmla="*/ 2579766 w 8079933"/>
              <a:gd name="connsiteY51542" fmla="*/ 409371 h 4687251"/>
              <a:gd name="connsiteX51543" fmla="*/ 2582045 w 8079933"/>
              <a:gd name="connsiteY51543" fmla="*/ 407530 h 4687251"/>
              <a:gd name="connsiteX51544" fmla="*/ 2579223 w 8079933"/>
              <a:gd name="connsiteY51544" fmla="*/ 404715 h 4687251"/>
              <a:gd name="connsiteX51545" fmla="*/ 2582913 w 8079933"/>
              <a:gd name="connsiteY51545" fmla="*/ 401683 h 4687251"/>
              <a:gd name="connsiteX51546" fmla="*/ 2589966 w 8079933"/>
              <a:gd name="connsiteY51546" fmla="*/ 398436 h 4687251"/>
              <a:gd name="connsiteX51547" fmla="*/ 2594741 w 8079933"/>
              <a:gd name="connsiteY51547" fmla="*/ 391506 h 4687251"/>
              <a:gd name="connsiteX51548" fmla="*/ 2603748 w 8079933"/>
              <a:gd name="connsiteY51548" fmla="*/ 385984 h 4687251"/>
              <a:gd name="connsiteX51549" fmla="*/ 2611670 w 8079933"/>
              <a:gd name="connsiteY51549" fmla="*/ 377647 h 4687251"/>
              <a:gd name="connsiteX51550" fmla="*/ 2611995 w 8079933"/>
              <a:gd name="connsiteY51550" fmla="*/ 373100 h 4687251"/>
              <a:gd name="connsiteX51551" fmla="*/ 2615250 w 8079933"/>
              <a:gd name="connsiteY51551" fmla="*/ 370393 h 4687251"/>
              <a:gd name="connsiteX51552" fmla="*/ 2611778 w 8079933"/>
              <a:gd name="connsiteY51552" fmla="*/ 370177 h 4687251"/>
              <a:gd name="connsiteX51553" fmla="*/ 2608848 w 8079933"/>
              <a:gd name="connsiteY51553" fmla="*/ 373100 h 4687251"/>
              <a:gd name="connsiteX51554" fmla="*/ 2608523 w 8079933"/>
              <a:gd name="connsiteY51554" fmla="*/ 376890 h 4687251"/>
              <a:gd name="connsiteX51555" fmla="*/ 2600818 w 8079933"/>
              <a:gd name="connsiteY51555" fmla="*/ 385009 h 4687251"/>
              <a:gd name="connsiteX51556" fmla="*/ 2595609 w 8079933"/>
              <a:gd name="connsiteY51556" fmla="*/ 388150 h 4687251"/>
              <a:gd name="connsiteX51557" fmla="*/ 2595609 w 8079933"/>
              <a:gd name="connsiteY51557" fmla="*/ 389666 h 4687251"/>
              <a:gd name="connsiteX51558" fmla="*/ 2588447 w 8079933"/>
              <a:gd name="connsiteY51558" fmla="*/ 395837 h 4687251"/>
              <a:gd name="connsiteX51559" fmla="*/ 2580417 w 8079933"/>
              <a:gd name="connsiteY51559" fmla="*/ 398868 h 4687251"/>
              <a:gd name="connsiteX51560" fmla="*/ 2577704 w 8079933"/>
              <a:gd name="connsiteY51560" fmla="*/ 396920 h 4687251"/>
              <a:gd name="connsiteX51561" fmla="*/ 2574991 w 8079933"/>
              <a:gd name="connsiteY51561" fmla="*/ 396703 h 4687251"/>
              <a:gd name="connsiteX51562" fmla="*/ 2574449 w 8079933"/>
              <a:gd name="connsiteY51562" fmla="*/ 398111 h 4687251"/>
              <a:gd name="connsiteX51563" fmla="*/ 2569023 w 8079933"/>
              <a:gd name="connsiteY51563" fmla="*/ 398111 h 4687251"/>
              <a:gd name="connsiteX51564" fmla="*/ 2562620 w 8079933"/>
              <a:gd name="connsiteY51564" fmla="*/ 394538 h 4687251"/>
              <a:gd name="connsiteX51565" fmla="*/ 2563055 w 8079933"/>
              <a:gd name="connsiteY51565" fmla="*/ 391614 h 4687251"/>
              <a:gd name="connsiteX51566" fmla="*/ 2566852 w 8079933"/>
              <a:gd name="connsiteY51566" fmla="*/ 388475 h 4687251"/>
              <a:gd name="connsiteX51567" fmla="*/ 2571193 w 8079933"/>
              <a:gd name="connsiteY51567" fmla="*/ 385551 h 4687251"/>
              <a:gd name="connsiteX51568" fmla="*/ 2571736 w 8079933"/>
              <a:gd name="connsiteY51568" fmla="*/ 381220 h 4687251"/>
              <a:gd name="connsiteX51569" fmla="*/ 2566526 w 8079933"/>
              <a:gd name="connsiteY51569" fmla="*/ 385118 h 4687251"/>
              <a:gd name="connsiteX51570" fmla="*/ 2564682 w 8079933"/>
              <a:gd name="connsiteY51570" fmla="*/ 388150 h 4687251"/>
              <a:gd name="connsiteX51571" fmla="*/ 2560884 w 8079933"/>
              <a:gd name="connsiteY51571" fmla="*/ 387933 h 4687251"/>
              <a:gd name="connsiteX51572" fmla="*/ 2557954 w 8079933"/>
              <a:gd name="connsiteY51572" fmla="*/ 382303 h 4687251"/>
              <a:gd name="connsiteX51573" fmla="*/ 2557954 w 8079933"/>
              <a:gd name="connsiteY51573" fmla="*/ 380138 h 4687251"/>
              <a:gd name="connsiteX51574" fmla="*/ 2560992 w 8079933"/>
              <a:gd name="connsiteY51574" fmla="*/ 379705 h 4687251"/>
              <a:gd name="connsiteX51575" fmla="*/ 2565008 w 8079933"/>
              <a:gd name="connsiteY51575" fmla="*/ 377647 h 4687251"/>
              <a:gd name="connsiteX51576" fmla="*/ 2565550 w 8079933"/>
              <a:gd name="connsiteY51576" fmla="*/ 376023 h 4687251"/>
              <a:gd name="connsiteX51577" fmla="*/ 2561426 w 8079933"/>
              <a:gd name="connsiteY51577" fmla="*/ 375915 h 4687251"/>
              <a:gd name="connsiteX51578" fmla="*/ 2561426 w 8079933"/>
              <a:gd name="connsiteY51578" fmla="*/ 373750 h 4687251"/>
              <a:gd name="connsiteX51579" fmla="*/ 2563923 w 8079933"/>
              <a:gd name="connsiteY51579" fmla="*/ 371909 h 4687251"/>
              <a:gd name="connsiteX51580" fmla="*/ 2567286 w 8079933"/>
              <a:gd name="connsiteY51580" fmla="*/ 373317 h 4687251"/>
              <a:gd name="connsiteX51581" fmla="*/ 2570651 w 8079933"/>
              <a:gd name="connsiteY51581" fmla="*/ 372992 h 4687251"/>
              <a:gd name="connsiteX51582" fmla="*/ 2571084 w 8079933"/>
              <a:gd name="connsiteY51582" fmla="*/ 370177 h 4687251"/>
              <a:gd name="connsiteX51583" fmla="*/ 2567178 w 8079933"/>
              <a:gd name="connsiteY51583" fmla="*/ 370177 h 4687251"/>
              <a:gd name="connsiteX51584" fmla="*/ 2564465 w 8079933"/>
              <a:gd name="connsiteY51584" fmla="*/ 368444 h 4687251"/>
              <a:gd name="connsiteX51585" fmla="*/ 2562620 w 8079933"/>
              <a:gd name="connsiteY51585" fmla="*/ 370934 h 4687251"/>
              <a:gd name="connsiteX51586" fmla="*/ 2558930 w 8079933"/>
              <a:gd name="connsiteY51586" fmla="*/ 370610 h 4687251"/>
              <a:gd name="connsiteX51587" fmla="*/ 2557194 w 8079933"/>
              <a:gd name="connsiteY51587" fmla="*/ 367145 h 4687251"/>
              <a:gd name="connsiteX51588" fmla="*/ 2558713 w 8079933"/>
              <a:gd name="connsiteY51588" fmla="*/ 364546 h 4687251"/>
              <a:gd name="connsiteX51589" fmla="*/ 2562620 w 8079933"/>
              <a:gd name="connsiteY51589" fmla="*/ 363572 h 4687251"/>
              <a:gd name="connsiteX51590" fmla="*/ 2565658 w 8079933"/>
              <a:gd name="connsiteY51590" fmla="*/ 361407 h 4687251"/>
              <a:gd name="connsiteX51591" fmla="*/ 2570433 w 8079933"/>
              <a:gd name="connsiteY51591" fmla="*/ 361840 h 4687251"/>
              <a:gd name="connsiteX51592" fmla="*/ 2575317 w 8079933"/>
              <a:gd name="connsiteY51592" fmla="*/ 363680 h 4687251"/>
              <a:gd name="connsiteX51593" fmla="*/ 2578898 w 8079933"/>
              <a:gd name="connsiteY51593" fmla="*/ 361407 h 4687251"/>
              <a:gd name="connsiteX51594" fmla="*/ 2573580 w 8079933"/>
              <a:gd name="connsiteY51594" fmla="*/ 361407 h 4687251"/>
              <a:gd name="connsiteX51595" fmla="*/ 2572712 w 8079933"/>
              <a:gd name="connsiteY51595" fmla="*/ 358916 h 4687251"/>
              <a:gd name="connsiteX51596" fmla="*/ 2576836 w 8079933"/>
              <a:gd name="connsiteY51596" fmla="*/ 354585 h 4687251"/>
              <a:gd name="connsiteX51597" fmla="*/ 2580308 w 8079933"/>
              <a:gd name="connsiteY51597" fmla="*/ 354369 h 4687251"/>
              <a:gd name="connsiteX51598" fmla="*/ 2581828 w 8079933"/>
              <a:gd name="connsiteY51598" fmla="*/ 352312 h 4687251"/>
              <a:gd name="connsiteX51599" fmla="*/ 2578247 w 8079933"/>
              <a:gd name="connsiteY51599" fmla="*/ 352312 h 4687251"/>
              <a:gd name="connsiteX51600" fmla="*/ 2578030 w 8079933"/>
              <a:gd name="connsiteY51600" fmla="*/ 349930 h 4687251"/>
              <a:gd name="connsiteX51601" fmla="*/ 2580960 w 8079933"/>
              <a:gd name="connsiteY51601" fmla="*/ 345491 h 4687251"/>
              <a:gd name="connsiteX51602" fmla="*/ 2585083 w 8079933"/>
              <a:gd name="connsiteY51602" fmla="*/ 344733 h 4687251"/>
              <a:gd name="connsiteX51603" fmla="*/ 2583238 w 8079933"/>
              <a:gd name="connsiteY51603" fmla="*/ 340944 h 4687251"/>
              <a:gd name="connsiteX51604" fmla="*/ 2589098 w 8079933"/>
              <a:gd name="connsiteY51604" fmla="*/ 332173 h 4687251"/>
              <a:gd name="connsiteX51605" fmla="*/ 2593005 w 8079933"/>
              <a:gd name="connsiteY51605" fmla="*/ 329792 h 4687251"/>
              <a:gd name="connsiteX51606" fmla="*/ 2594090 w 8079933"/>
              <a:gd name="connsiteY51606" fmla="*/ 326761 h 4687251"/>
              <a:gd name="connsiteX51607" fmla="*/ 2589966 w 8079933"/>
              <a:gd name="connsiteY51607" fmla="*/ 327410 h 4687251"/>
              <a:gd name="connsiteX51608" fmla="*/ 2583346 w 8079933"/>
              <a:gd name="connsiteY51608" fmla="*/ 335530 h 4687251"/>
              <a:gd name="connsiteX51609" fmla="*/ 2578247 w 8079933"/>
              <a:gd name="connsiteY51609" fmla="*/ 345275 h 4687251"/>
              <a:gd name="connsiteX51610" fmla="*/ 2571193 w 8079933"/>
              <a:gd name="connsiteY51610" fmla="*/ 350904 h 4687251"/>
              <a:gd name="connsiteX51611" fmla="*/ 2565441 w 8079933"/>
              <a:gd name="connsiteY51611" fmla="*/ 356751 h 4687251"/>
              <a:gd name="connsiteX51612" fmla="*/ 2561643 w 8079933"/>
              <a:gd name="connsiteY51612" fmla="*/ 355561 h 4687251"/>
              <a:gd name="connsiteX51613" fmla="*/ 2554590 w 8079933"/>
              <a:gd name="connsiteY51613" fmla="*/ 355777 h 4687251"/>
              <a:gd name="connsiteX51614" fmla="*/ 2554481 w 8079933"/>
              <a:gd name="connsiteY51614" fmla="*/ 352637 h 4687251"/>
              <a:gd name="connsiteX51615" fmla="*/ 2558062 w 8079933"/>
              <a:gd name="connsiteY51615" fmla="*/ 347548 h 4687251"/>
              <a:gd name="connsiteX51616" fmla="*/ 2563055 w 8079933"/>
              <a:gd name="connsiteY51616" fmla="*/ 345275 h 4687251"/>
              <a:gd name="connsiteX51617" fmla="*/ 2563055 w 8079933"/>
              <a:gd name="connsiteY51617" fmla="*/ 340618 h 4687251"/>
              <a:gd name="connsiteX51618" fmla="*/ 2556000 w 8079933"/>
              <a:gd name="connsiteY51618" fmla="*/ 345816 h 4687251"/>
              <a:gd name="connsiteX51619" fmla="*/ 2549815 w 8079933"/>
              <a:gd name="connsiteY51619" fmla="*/ 345166 h 4687251"/>
              <a:gd name="connsiteX51620" fmla="*/ 2549924 w 8079933"/>
              <a:gd name="connsiteY51620" fmla="*/ 348522 h 4687251"/>
              <a:gd name="connsiteX51621" fmla="*/ 2546017 w 8079933"/>
              <a:gd name="connsiteY51621" fmla="*/ 351338 h 4687251"/>
              <a:gd name="connsiteX51622" fmla="*/ 2539615 w 8079933"/>
              <a:gd name="connsiteY51622" fmla="*/ 350796 h 4687251"/>
              <a:gd name="connsiteX51623" fmla="*/ 2533646 w 8079933"/>
              <a:gd name="connsiteY51623" fmla="*/ 345275 h 4687251"/>
              <a:gd name="connsiteX51624" fmla="*/ 2536685 w 8079933"/>
              <a:gd name="connsiteY51624" fmla="*/ 342893 h 4687251"/>
              <a:gd name="connsiteX51625" fmla="*/ 2541025 w 8079933"/>
              <a:gd name="connsiteY51625" fmla="*/ 342351 h 4687251"/>
              <a:gd name="connsiteX51626" fmla="*/ 2539506 w 8079933"/>
              <a:gd name="connsiteY51626" fmla="*/ 339969 h 4687251"/>
              <a:gd name="connsiteX51627" fmla="*/ 2536685 w 8079933"/>
              <a:gd name="connsiteY51627" fmla="*/ 339753 h 4687251"/>
              <a:gd name="connsiteX51628" fmla="*/ 2537553 w 8079933"/>
              <a:gd name="connsiteY51628" fmla="*/ 334664 h 4687251"/>
              <a:gd name="connsiteX51629" fmla="*/ 2543304 w 8079933"/>
              <a:gd name="connsiteY51629" fmla="*/ 330008 h 4687251"/>
              <a:gd name="connsiteX51630" fmla="*/ 2543955 w 8079933"/>
              <a:gd name="connsiteY51630" fmla="*/ 326327 h 4687251"/>
              <a:gd name="connsiteX51631" fmla="*/ 2549164 w 8079933"/>
              <a:gd name="connsiteY51631" fmla="*/ 324270 h 4687251"/>
              <a:gd name="connsiteX51632" fmla="*/ 2553396 w 8079933"/>
              <a:gd name="connsiteY51632" fmla="*/ 321239 h 4687251"/>
              <a:gd name="connsiteX51633" fmla="*/ 2558280 w 8079933"/>
              <a:gd name="connsiteY51633" fmla="*/ 320589 h 4687251"/>
              <a:gd name="connsiteX51634" fmla="*/ 2558605 w 8079933"/>
              <a:gd name="connsiteY51634" fmla="*/ 314850 h 4687251"/>
              <a:gd name="connsiteX51635" fmla="*/ 2561860 w 8079933"/>
              <a:gd name="connsiteY51635" fmla="*/ 308679 h 4687251"/>
              <a:gd name="connsiteX51636" fmla="*/ 2568371 w 8079933"/>
              <a:gd name="connsiteY51636" fmla="*/ 300775 h 4687251"/>
              <a:gd name="connsiteX51637" fmla="*/ 2572169 w 8079933"/>
              <a:gd name="connsiteY51637" fmla="*/ 302183 h 4687251"/>
              <a:gd name="connsiteX51638" fmla="*/ 2581502 w 8079933"/>
              <a:gd name="connsiteY51638" fmla="*/ 300017 h 4687251"/>
              <a:gd name="connsiteX51639" fmla="*/ 2588339 w 8079933"/>
              <a:gd name="connsiteY51639" fmla="*/ 301749 h 4687251"/>
              <a:gd name="connsiteX51640" fmla="*/ 2592028 w 8079933"/>
              <a:gd name="connsiteY51640" fmla="*/ 299693 h 4687251"/>
              <a:gd name="connsiteX51641" fmla="*/ 2595826 w 8079933"/>
              <a:gd name="connsiteY51641" fmla="*/ 299909 h 4687251"/>
              <a:gd name="connsiteX51642" fmla="*/ 2600601 w 8079933"/>
              <a:gd name="connsiteY51642" fmla="*/ 296661 h 4687251"/>
              <a:gd name="connsiteX51643" fmla="*/ 2604291 w 8079933"/>
              <a:gd name="connsiteY51643" fmla="*/ 296120 h 4687251"/>
              <a:gd name="connsiteX51644" fmla="*/ 2604941 w 8079933"/>
              <a:gd name="connsiteY51644" fmla="*/ 297852 h 4687251"/>
              <a:gd name="connsiteX51645" fmla="*/ 2610802 w 8079933"/>
              <a:gd name="connsiteY51645" fmla="*/ 304023 h 4687251"/>
              <a:gd name="connsiteX51646" fmla="*/ 2613840 w 8079933"/>
              <a:gd name="connsiteY51646" fmla="*/ 304240 h 4687251"/>
              <a:gd name="connsiteX51647" fmla="*/ 2624366 w 8079933"/>
              <a:gd name="connsiteY51647" fmla="*/ 311278 h 4687251"/>
              <a:gd name="connsiteX51648" fmla="*/ 2626103 w 8079933"/>
              <a:gd name="connsiteY51648" fmla="*/ 315067 h 4687251"/>
              <a:gd name="connsiteX51649" fmla="*/ 2628816 w 8079933"/>
              <a:gd name="connsiteY51649" fmla="*/ 318965 h 4687251"/>
              <a:gd name="connsiteX51650" fmla="*/ 2631637 w 8079933"/>
              <a:gd name="connsiteY51650" fmla="*/ 318857 h 4687251"/>
              <a:gd name="connsiteX51651" fmla="*/ 2638039 w 8079933"/>
              <a:gd name="connsiteY51651" fmla="*/ 328601 h 4687251"/>
              <a:gd name="connsiteX51652" fmla="*/ 2637822 w 8079933"/>
              <a:gd name="connsiteY51652" fmla="*/ 321780 h 4687251"/>
              <a:gd name="connsiteX51653" fmla="*/ 2642488 w 8079933"/>
              <a:gd name="connsiteY51653" fmla="*/ 321347 h 4687251"/>
              <a:gd name="connsiteX51654" fmla="*/ 2641620 w 8079933"/>
              <a:gd name="connsiteY51654" fmla="*/ 318315 h 4687251"/>
              <a:gd name="connsiteX51655" fmla="*/ 2635977 w 8079933"/>
              <a:gd name="connsiteY51655" fmla="*/ 317774 h 4687251"/>
              <a:gd name="connsiteX51656" fmla="*/ 2633699 w 8079933"/>
              <a:gd name="connsiteY51656" fmla="*/ 316908 h 4687251"/>
              <a:gd name="connsiteX51657" fmla="*/ 2633590 w 8079933"/>
              <a:gd name="connsiteY51657" fmla="*/ 313010 h 4687251"/>
              <a:gd name="connsiteX51658" fmla="*/ 2638039 w 8079933"/>
              <a:gd name="connsiteY51658" fmla="*/ 311386 h 4687251"/>
              <a:gd name="connsiteX51659" fmla="*/ 2648023 w 8079933"/>
              <a:gd name="connsiteY51659" fmla="*/ 311386 h 4687251"/>
              <a:gd name="connsiteX51660" fmla="*/ 2652689 w 8079933"/>
              <a:gd name="connsiteY51660" fmla="*/ 313768 h 4687251"/>
              <a:gd name="connsiteX51661" fmla="*/ 2654208 w 8079933"/>
              <a:gd name="connsiteY51661" fmla="*/ 311819 h 4687251"/>
              <a:gd name="connsiteX51662" fmla="*/ 2654534 w 8079933"/>
              <a:gd name="connsiteY51662" fmla="*/ 306297 h 4687251"/>
              <a:gd name="connsiteX51663" fmla="*/ 2656921 w 8079933"/>
              <a:gd name="connsiteY51663" fmla="*/ 301641 h 4687251"/>
              <a:gd name="connsiteX51664" fmla="*/ 2656595 w 8079933"/>
              <a:gd name="connsiteY51664" fmla="*/ 298393 h 4687251"/>
              <a:gd name="connsiteX51665" fmla="*/ 2653882 w 8079933"/>
              <a:gd name="connsiteY51665" fmla="*/ 299584 h 4687251"/>
              <a:gd name="connsiteX51666" fmla="*/ 2653123 w 8079933"/>
              <a:gd name="connsiteY51666" fmla="*/ 303374 h 4687251"/>
              <a:gd name="connsiteX51667" fmla="*/ 2648348 w 8079933"/>
              <a:gd name="connsiteY51667" fmla="*/ 306622 h 4687251"/>
              <a:gd name="connsiteX51668" fmla="*/ 2644876 w 8079933"/>
              <a:gd name="connsiteY51668" fmla="*/ 309870 h 4687251"/>
              <a:gd name="connsiteX51669" fmla="*/ 2635977 w 8079933"/>
              <a:gd name="connsiteY51669" fmla="*/ 306622 h 4687251"/>
              <a:gd name="connsiteX51670" fmla="*/ 2628816 w 8079933"/>
              <a:gd name="connsiteY51670" fmla="*/ 306406 h 4687251"/>
              <a:gd name="connsiteX51671" fmla="*/ 2625994 w 8079933"/>
              <a:gd name="connsiteY51671" fmla="*/ 302833 h 4687251"/>
              <a:gd name="connsiteX51672" fmla="*/ 2622304 w 8079933"/>
              <a:gd name="connsiteY51672" fmla="*/ 300775 h 4687251"/>
              <a:gd name="connsiteX51673" fmla="*/ 2615250 w 8079933"/>
              <a:gd name="connsiteY51673" fmla="*/ 301641 h 4687251"/>
              <a:gd name="connsiteX51674" fmla="*/ 2609607 w 8079933"/>
              <a:gd name="connsiteY51674" fmla="*/ 290923 h 4687251"/>
              <a:gd name="connsiteX51675" fmla="*/ 2609391 w 8079933"/>
              <a:gd name="connsiteY51675" fmla="*/ 282911 h 4687251"/>
              <a:gd name="connsiteX51676" fmla="*/ 2611995 w 8079933"/>
              <a:gd name="connsiteY51676" fmla="*/ 280529 h 4687251"/>
              <a:gd name="connsiteX51677" fmla="*/ 2616770 w 8079933"/>
              <a:gd name="connsiteY51677" fmla="*/ 283019 h 4687251"/>
              <a:gd name="connsiteX51678" fmla="*/ 2617855 w 8079933"/>
              <a:gd name="connsiteY51678" fmla="*/ 287674 h 4687251"/>
              <a:gd name="connsiteX51679" fmla="*/ 2619917 w 8079933"/>
              <a:gd name="connsiteY51679" fmla="*/ 290923 h 4687251"/>
              <a:gd name="connsiteX51680" fmla="*/ 2623173 w 8079933"/>
              <a:gd name="connsiteY51680" fmla="*/ 285509 h 4687251"/>
              <a:gd name="connsiteX51681" fmla="*/ 2624691 w 8079933"/>
              <a:gd name="connsiteY51681" fmla="*/ 279121 h 4687251"/>
              <a:gd name="connsiteX51682" fmla="*/ 2621328 w 8079933"/>
              <a:gd name="connsiteY51682" fmla="*/ 279988 h 4687251"/>
              <a:gd name="connsiteX51683" fmla="*/ 2619700 w 8079933"/>
              <a:gd name="connsiteY51683" fmla="*/ 278580 h 4687251"/>
              <a:gd name="connsiteX51684" fmla="*/ 2619375 w 8079933"/>
              <a:gd name="connsiteY51684" fmla="*/ 273817 h 4687251"/>
              <a:gd name="connsiteX51685" fmla="*/ 2623389 w 8079933"/>
              <a:gd name="connsiteY51685" fmla="*/ 266237 h 4687251"/>
              <a:gd name="connsiteX51686" fmla="*/ 2623173 w 8079933"/>
              <a:gd name="connsiteY51686" fmla="*/ 259850 h 4687251"/>
              <a:gd name="connsiteX51687" fmla="*/ 2626428 w 8079933"/>
              <a:gd name="connsiteY51687" fmla="*/ 252595 h 4687251"/>
              <a:gd name="connsiteX51688" fmla="*/ 2625126 w 8079933"/>
              <a:gd name="connsiteY51688" fmla="*/ 239927 h 4687251"/>
              <a:gd name="connsiteX51689" fmla="*/ 2622846 w 8079933"/>
              <a:gd name="connsiteY51689" fmla="*/ 233215 h 4687251"/>
              <a:gd name="connsiteX51690" fmla="*/ 2620243 w 8079933"/>
              <a:gd name="connsiteY51690" fmla="*/ 230941 h 4687251"/>
              <a:gd name="connsiteX51691" fmla="*/ 2618289 w 8079933"/>
              <a:gd name="connsiteY51691" fmla="*/ 226069 h 4687251"/>
              <a:gd name="connsiteX51692" fmla="*/ 2619157 w 8079933"/>
              <a:gd name="connsiteY51692" fmla="*/ 222495 h 4687251"/>
              <a:gd name="connsiteX51693" fmla="*/ 2621979 w 8079933"/>
              <a:gd name="connsiteY51693" fmla="*/ 221413 h 4687251"/>
              <a:gd name="connsiteX51694" fmla="*/ 2624475 w 8079933"/>
              <a:gd name="connsiteY51694" fmla="*/ 220222 h 4687251"/>
              <a:gd name="connsiteX51695" fmla="*/ 2627079 w 8079933"/>
              <a:gd name="connsiteY51695" fmla="*/ 222821 h 4687251"/>
              <a:gd name="connsiteX51696" fmla="*/ 2630769 w 8079933"/>
              <a:gd name="connsiteY51696" fmla="*/ 223687 h 4687251"/>
              <a:gd name="connsiteX51697" fmla="*/ 2633590 w 8079933"/>
              <a:gd name="connsiteY51697" fmla="*/ 228992 h 4687251"/>
              <a:gd name="connsiteX51698" fmla="*/ 2635218 w 8079933"/>
              <a:gd name="connsiteY51698" fmla="*/ 228342 h 4687251"/>
              <a:gd name="connsiteX51699" fmla="*/ 2635109 w 8079933"/>
              <a:gd name="connsiteY51699" fmla="*/ 224661 h 4687251"/>
              <a:gd name="connsiteX51700" fmla="*/ 2632722 w 8079933"/>
              <a:gd name="connsiteY51700" fmla="*/ 219031 h 4687251"/>
              <a:gd name="connsiteX51701" fmla="*/ 2627730 w 8079933"/>
              <a:gd name="connsiteY51701" fmla="*/ 217515 h 4687251"/>
              <a:gd name="connsiteX51702" fmla="*/ 2624800 w 8079933"/>
              <a:gd name="connsiteY51702" fmla="*/ 215025 h 4687251"/>
              <a:gd name="connsiteX51703" fmla="*/ 2624583 w 8079933"/>
              <a:gd name="connsiteY51703" fmla="*/ 210695 h 4687251"/>
              <a:gd name="connsiteX51704" fmla="*/ 2626319 w 8079933"/>
              <a:gd name="connsiteY51704" fmla="*/ 205172 h 4687251"/>
              <a:gd name="connsiteX51705" fmla="*/ 2641078 w 8079933"/>
              <a:gd name="connsiteY51705" fmla="*/ 189040 h 4687251"/>
              <a:gd name="connsiteX51706" fmla="*/ 2647806 w 8079933"/>
              <a:gd name="connsiteY51706" fmla="*/ 187524 h 4687251"/>
              <a:gd name="connsiteX51707" fmla="*/ 2652255 w 8079933"/>
              <a:gd name="connsiteY51707" fmla="*/ 189365 h 4687251"/>
              <a:gd name="connsiteX51708" fmla="*/ 2653991 w 8079933"/>
              <a:gd name="connsiteY51708" fmla="*/ 193804 h 4687251"/>
              <a:gd name="connsiteX51709" fmla="*/ 2659525 w 8079933"/>
              <a:gd name="connsiteY51709" fmla="*/ 198135 h 4687251"/>
              <a:gd name="connsiteX51710" fmla="*/ 2663649 w 8079933"/>
              <a:gd name="connsiteY51710" fmla="*/ 198135 h 4687251"/>
              <a:gd name="connsiteX51711" fmla="*/ 2673958 w 8079933"/>
              <a:gd name="connsiteY51711" fmla="*/ 205064 h 4687251"/>
              <a:gd name="connsiteX51712" fmla="*/ 2673958 w 8079933"/>
              <a:gd name="connsiteY51712" fmla="*/ 210153 h 4687251"/>
              <a:gd name="connsiteX51713" fmla="*/ 2679493 w 8079933"/>
              <a:gd name="connsiteY51713" fmla="*/ 216541 h 4687251"/>
              <a:gd name="connsiteX51714" fmla="*/ 2682097 w 8079933"/>
              <a:gd name="connsiteY51714" fmla="*/ 228018 h 4687251"/>
              <a:gd name="connsiteX51715" fmla="*/ 2681446 w 8079933"/>
              <a:gd name="connsiteY51715" fmla="*/ 236462 h 4687251"/>
              <a:gd name="connsiteX51716" fmla="*/ 2682423 w 8079933"/>
              <a:gd name="connsiteY51716" fmla="*/ 244583 h 4687251"/>
              <a:gd name="connsiteX51717" fmla="*/ 2685895 w 8079933"/>
              <a:gd name="connsiteY51717" fmla="*/ 249239 h 4687251"/>
              <a:gd name="connsiteX51718" fmla="*/ 2687414 w 8079933"/>
              <a:gd name="connsiteY51718" fmla="*/ 246748 h 4687251"/>
              <a:gd name="connsiteX51719" fmla="*/ 2689367 w 8079933"/>
              <a:gd name="connsiteY51719" fmla="*/ 246423 h 4687251"/>
              <a:gd name="connsiteX51720" fmla="*/ 2693817 w 8079933"/>
              <a:gd name="connsiteY51720" fmla="*/ 250538 h 4687251"/>
              <a:gd name="connsiteX51721" fmla="*/ 2694685 w 8079933"/>
              <a:gd name="connsiteY51721" fmla="*/ 254868 h 4687251"/>
              <a:gd name="connsiteX51722" fmla="*/ 2695878 w 8079933"/>
              <a:gd name="connsiteY51722" fmla="*/ 251729 h 4687251"/>
              <a:gd name="connsiteX51723" fmla="*/ 2699134 w 8079933"/>
              <a:gd name="connsiteY51723" fmla="*/ 249888 h 4687251"/>
              <a:gd name="connsiteX51724" fmla="*/ 2704343 w 8079933"/>
              <a:gd name="connsiteY51724" fmla="*/ 250429 h 4687251"/>
              <a:gd name="connsiteX51725" fmla="*/ 2700545 w 8079933"/>
              <a:gd name="connsiteY51725" fmla="*/ 248048 h 4687251"/>
              <a:gd name="connsiteX51726" fmla="*/ 2694685 w 8079933"/>
              <a:gd name="connsiteY51726" fmla="*/ 247182 h 4687251"/>
              <a:gd name="connsiteX51727" fmla="*/ 2691429 w 8079933"/>
              <a:gd name="connsiteY51727" fmla="*/ 242850 h 4687251"/>
              <a:gd name="connsiteX51728" fmla="*/ 2687957 w 8079933"/>
              <a:gd name="connsiteY51728" fmla="*/ 240577 h 4687251"/>
              <a:gd name="connsiteX51729" fmla="*/ 2687848 w 8079933"/>
              <a:gd name="connsiteY51729" fmla="*/ 237870 h 4687251"/>
              <a:gd name="connsiteX51730" fmla="*/ 2692406 w 8079933"/>
              <a:gd name="connsiteY51730" fmla="*/ 232890 h 4687251"/>
              <a:gd name="connsiteX51731" fmla="*/ 2691972 w 8079933"/>
              <a:gd name="connsiteY51731" fmla="*/ 229750 h 4687251"/>
              <a:gd name="connsiteX51732" fmla="*/ 2691429 w 8079933"/>
              <a:gd name="connsiteY51732" fmla="*/ 212752 h 4687251"/>
              <a:gd name="connsiteX51733" fmla="*/ 2689910 w 8079933"/>
              <a:gd name="connsiteY51733" fmla="*/ 208096 h 4687251"/>
              <a:gd name="connsiteX51734" fmla="*/ 2691429 w 8079933"/>
              <a:gd name="connsiteY51734" fmla="*/ 202791 h 4687251"/>
              <a:gd name="connsiteX51735" fmla="*/ 2700328 w 8079933"/>
              <a:gd name="connsiteY51735" fmla="*/ 202249 h 4687251"/>
              <a:gd name="connsiteX51736" fmla="*/ 2703475 w 8079933"/>
              <a:gd name="connsiteY51736" fmla="*/ 204306 h 4687251"/>
              <a:gd name="connsiteX51737" fmla="*/ 2710311 w 8079933"/>
              <a:gd name="connsiteY51737" fmla="*/ 206147 h 4687251"/>
              <a:gd name="connsiteX51738" fmla="*/ 2717040 w 8079933"/>
              <a:gd name="connsiteY51738" fmla="*/ 206689 h 4687251"/>
              <a:gd name="connsiteX51739" fmla="*/ 2724636 w 8079933"/>
              <a:gd name="connsiteY51739" fmla="*/ 209395 h 4687251"/>
              <a:gd name="connsiteX51740" fmla="*/ 2733642 w 8079933"/>
              <a:gd name="connsiteY51740" fmla="*/ 209179 h 4687251"/>
              <a:gd name="connsiteX51741" fmla="*/ 2741021 w 8079933"/>
              <a:gd name="connsiteY51741" fmla="*/ 205714 h 4687251"/>
              <a:gd name="connsiteX51742" fmla="*/ 2745362 w 8079933"/>
              <a:gd name="connsiteY51742" fmla="*/ 206363 h 4687251"/>
              <a:gd name="connsiteX51743" fmla="*/ 2749811 w 8079933"/>
              <a:gd name="connsiteY51743" fmla="*/ 210153 h 4687251"/>
              <a:gd name="connsiteX51744" fmla="*/ 2759253 w 8079933"/>
              <a:gd name="connsiteY51744" fmla="*/ 211127 h 4687251"/>
              <a:gd name="connsiteX51745" fmla="*/ 2763701 w 8079933"/>
              <a:gd name="connsiteY51745" fmla="*/ 214051 h 4687251"/>
              <a:gd name="connsiteX51746" fmla="*/ 2768694 w 8079933"/>
              <a:gd name="connsiteY51746" fmla="*/ 212535 h 4687251"/>
              <a:gd name="connsiteX51747" fmla="*/ 2768585 w 8079933"/>
              <a:gd name="connsiteY51747" fmla="*/ 210153 h 4687251"/>
              <a:gd name="connsiteX51748" fmla="*/ 2764353 w 8079933"/>
              <a:gd name="connsiteY51748" fmla="*/ 207230 h 4687251"/>
              <a:gd name="connsiteX51749" fmla="*/ 2757950 w 8079933"/>
              <a:gd name="connsiteY51749" fmla="*/ 207230 h 4687251"/>
              <a:gd name="connsiteX51750" fmla="*/ 2750679 w 8079933"/>
              <a:gd name="connsiteY51750" fmla="*/ 205714 h 4687251"/>
              <a:gd name="connsiteX51751" fmla="*/ 2748726 w 8079933"/>
              <a:gd name="connsiteY51751" fmla="*/ 203007 h 4687251"/>
              <a:gd name="connsiteX51752" fmla="*/ 2749485 w 8079933"/>
              <a:gd name="connsiteY51752" fmla="*/ 201491 h 4687251"/>
              <a:gd name="connsiteX51753" fmla="*/ 2753067 w 8079933"/>
              <a:gd name="connsiteY51753" fmla="*/ 201383 h 4687251"/>
              <a:gd name="connsiteX51754" fmla="*/ 2760012 w 8079933"/>
              <a:gd name="connsiteY51754" fmla="*/ 198676 h 4687251"/>
              <a:gd name="connsiteX51755" fmla="*/ 2776398 w 8079933"/>
              <a:gd name="connsiteY51755" fmla="*/ 196944 h 4687251"/>
              <a:gd name="connsiteX51756" fmla="*/ 2787358 w 8079933"/>
              <a:gd name="connsiteY51756" fmla="*/ 196077 h 4687251"/>
              <a:gd name="connsiteX51757" fmla="*/ 2796148 w 8079933"/>
              <a:gd name="connsiteY51757" fmla="*/ 199218 h 4687251"/>
              <a:gd name="connsiteX51758" fmla="*/ 2801574 w 8079933"/>
              <a:gd name="connsiteY51758" fmla="*/ 203657 h 4687251"/>
              <a:gd name="connsiteX51759" fmla="*/ 2805480 w 8079933"/>
              <a:gd name="connsiteY51759" fmla="*/ 201600 h 4687251"/>
              <a:gd name="connsiteX51760" fmla="*/ 2811340 w 8079933"/>
              <a:gd name="connsiteY51760" fmla="*/ 200409 h 4687251"/>
              <a:gd name="connsiteX51761" fmla="*/ 2808410 w 8079933"/>
              <a:gd name="connsiteY51761" fmla="*/ 197485 h 4687251"/>
              <a:gd name="connsiteX51762" fmla="*/ 2805806 w 8079933"/>
              <a:gd name="connsiteY51762" fmla="*/ 197594 h 4687251"/>
              <a:gd name="connsiteX51763" fmla="*/ 2801682 w 8079933"/>
              <a:gd name="connsiteY51763" fmla="*/ 195536 h 4687251"/>
              <a:gd name="connsiteX51764" fmla="*/ 2801791 w 8079933"/>
              <a:gd name="connsiteY51764" fmla="*/ 192938 h 4687251"/>
              <a:gd name="connsiteX51765" fmla="*/ 2797233 w 8079933"/>
              <a:gd name="connsiteY51765" fmla="*/ 190231 h 4687251"/>
              <a:gd name="connsiteX51766" fmla="*/ 2791374 w 8079933"/>
              <a:gd name="connsiteY51766" fmla="*/ 190015 h 4687251"/>
              <a:gd name="connsiteX51767" fmla="*/ 2788226 w 8079933"/>
              <a:gd name="connsiteY51767" fmla="*/ 187957 h 4687251"/>
              <a:gd name="connsiteX51768" fmla="*/ 2775855 w 8079933"/>
              <a:gd name="connsiteY51768" fmla="*/ 189257 h 4687251"/>
              <a:gd name="connsiteX51769" fmla="*/ 2775638 w 8079933"/>
              <a:gd name="connsiteY51769" fmla="*/ 187308 h 4687251"/>
              <a:gd name="connsiteX51770" fmla="*/ 2778026 w 8079933"/>
              <a:gd name="connsiteY51770" fmla="*/ 185034 h 4687251"/>
              <a:gd name="connsiteX51771" fmla="*/ 2780956 w 8079933"/>
              <a:gd name="connsiteY51771" fmla="*/ 178755 h 4687251"/>
              <a:gd name="connsiteX51772" fmla="*/ 2786381 w 8079933"/>
              <a:gd name="connsiteY51772" fmla="*/ 177997 h 4687251"/>
              <a:gd name="connsiteX51773" fmla="*/ 2791374 w 8079933"/>
              <a:gd name="connsiteY51773" fmla="*/ 173774 h 4687251"/>
              <a:gd name="connsiteX51774" fmla="*/ 2793760 w 8079933"/>
              <a:gd name="connsiteY51774" fmla="*/ 167494 h 4687251"/>
              <a:gd name="connsiteX51775" fmla="*/ 2806349 w 8079933"/>
              <a:gd name="connsiteY51775" fmla="*/ 160024 h 4687251"/>
              <a:gd name="connsiteX51776" fmla="*/ 2813402 w 8079933"/>
              <a:gd name="connsiteY51776" fmla="*/ 159590 h 4687251"/>
              <a:gd name="connsiteX51777" fmla="*/ 2824796 w 8079933"/>
              <a:gd name="connsiteY51777" fmla="*/ 154177 h 4687251"/>
              <a:gd name="connsiteX51778" fmla="*/ 2824905 w 8079933"/>
              <a:gd name="connsiteY51778" fmla="*/ 151254 h 4687251"/>
              <a:gd name="connsiteX51779" fmla="*/ 2811340 w 8079933"/>
              <a:gd name="connsiteY51779" fmla="*/ 156667 h 4687251"/>
              <a:gd name="connsiteX51780" fmla="*/ 2802333 w 8079933"/>
              <a:gd name="connsiteY51780" fmla="*/ 157533 h 4687251"/>
              <a:gd name="connsiteX51781" fmla="*/ 2789637 w 8079933"/>
              <a:gd name="connsiteY51781" fmla="*/ 167061 h 4687251"/>
              <a:gd name="connsiteX51782" fmla="*/ 2789420 w 8079933"/>
              <a:gd name="connsiteY51782" fmla="*/ 172042 h 4687251"/>
              <a:gd name="connsiteX51783" fmla="*/ 2787032 w 8079933"/>
              <a:gd name="connsiteY51783" fmla="*/ 172042 h 4687251"/>
              <a:gd name="connsiteX51784" fmla="*/ 2785296 w 8079933"/>
              <a:gd name="connsiteY51784" fmla="*/ 167169 h 4687251"/>
              <a:gd name="connsiteX51785" fmla="*/ 2783451 w 8079933"/>
              <a:gd name="connsiteY51785" fmla="*/ 166845 h 4687251"/>
              <a:gd name="connsiteX51786" fmla="*/ 2780304 w 8079933"/>
              <a:gd name="connsiteY51786" fmla="*/ 171500 h 4687251"/>
              <a:gd name="connsiteX51787" fmla="*/ 2775964 w 8079933"/>
              <a:gd name="connsiteY51787" fmla="*/ 172042 h 4687251"/>
              <a:gd name="connsiteX51788" fmla="*/ 2769779 w 8079933"/>
              <a:gd name="connsiteY51788" fmla="*/ 179404 h 4687251"/>
              <a:gd name="connsiteX51789" fmla="*/ 2772383 w 8079933"/>
              <a:gd name="connsiteY51789" fmla="*/ 179620 h 4687251"/>
              <a:gd name="connsiteX51790" fmla="*/ 2773251 w 8079933"/>
              <a:gd name="connsiteY51790" fmla="*/ 181786 h 4687251"/>
              <a:gd name="connsiteX51791" fmla="*/ 2764678 w 8079933"/>
              <a:gd name="connsiteY51791" fmla="*/ 188391 h 4687251"/>
              <a:gd name="connsiteX51792" fmla="*/ 2759686 w 8079933"/>
              <a:gd name="connsiteY51792" fmla="*/ 189257 h 4687251"/>
              <a:gd name="connsiteX51793" fmla="*/ 2742541 w 8079933"/>
              <a:gd name="connsiteY51793" fmla="*/ 196077 h 4687251"/>
              <a:gd name="connsiteX51794" fmla="*/ 2737440 w 8079933"/>
              <a:gd name="connsiteY51794" fmla="*/ 197160 h 4687251"/>
              <a:gd name="connsiteX51795" fmla="*/ 2732883 w 8079933"/>
              <a:gd name="connsiteY51795" fmla="*/ 196294 h 4687251"/>
              <a:gd name="connsiteX51796" fmla="*/ 2718993 w 8079933"/>
              <a:gd name="connsiteY51796" fmla="*/ 196619 h 4687251"/>
              <a:gd name="connsiteX51797" fmla="*/ 2712807 w 8079933"/>
              <a:gd name="connsiteY51797" fmla="*/ 190448 h 4687251"/>
              <a:gd name="connsiteX51798" fmla="*/ 2706079 w 8079933"/>
              <a:gd name="connsiteY51798" fmla="*/ 191206 h 4687251"/>
              <a:gd name="connsiteX51799" fmla="*/ 2702281 w 8079933"/>
              <a:gd name="connsiteY51799" fmla="*/ 190557 h 4687251"/>
              <a:gd name="connsiteX51800" fmla="*/ 2701738 w 8079933"/>
              <a:gd name="connsiteY51800" fmla="*/ 186659 h 4687251"/>
              <a:gd name="connsiteX51801" fmla="*/ 2708141 w 8079933"/>
              <a:gd name="connsiteY51801" fmla="*/ 180812 h 4687251"/>
              <a:gd name="connsiteX51802" fmla="*/ 2714327 w 8079933"/>
              <a:gd name="connsiteY51802" fmla="*/ 180595 h 4687251"/>
              <a:gd name="connsiteX51803" fmla="*/ 2718450 w 8079933"/>
              <a:gd name="connsiteY51803" fmla="*/ 178863 h 4687251"/>
              <a:gd name="connsiteX51804" fmla="*/ 2727131 w 8079933"/>
              <a:gd name="connsiteY51804" fmla="*/ 177888 h 4687251"/>
              <a:gd name="connsiteX51805" fmla="*/ 2731255 w 8079933"/>
              <a:gd name="connsiteY51805" fmla="*/ 173774 h 4687251"/>
              <a:gd name="connsiteX51806" fmla="*/ 2727782 w 8079933"/>
              <a:gd name="connsiteY51806" fmla="*/ 173449 h 4687251"/>
              <a:gd name="connsiteX51807" fmla="*/ 2721923 w 8079933"/>
              <a:gd name="connsiteY51807" fmla="*/ 175614 h 4687251"/>
              <a:gd name="connsiteX51808" fmla="*/ 2716605 w 8079933"/>
              <a:gd name="connsiteY51808" fmla="*/ 174965 h 4687251"/>
              <a:gd name="connsiteX51809" fmla="*/ 2710202 w 8079933"/>
              <a:gd name="connsiteY51809" fmla="*/ 177455 h 4687251"/>
              <a:gd name="connsiteX51810" fmla="*/ 2705754 w 8079933"/>
              <a:gd name="connsiteY51810" fmla="*/ 176264 h 4687251"/>
              <a:gd name="connsiteX51811" fmla="*/ 2705754 w 8079933"/>
              <a:gd name="connsiteY51811" fmla="*/ 172367 h 4687251"/>
              <a:gd name="connsiteX51812" fmla="*/ 2711397 w 8079933"/>
              <a:gd name="connsiteY51812" fmla="*/ 169443 h 4687251"/>
              <a:gd name="connsiteX51813" fmla="*/ 2707272 w 8079933"/>
              <a:gd name="connsiteY51813" fmla="*/ 168902 h 4687251"/>
              <a:gd name="connsiteX51814" fmla="*/ 2699676 w 8079933"/>
              <a:gd name="connsiteY51814" fmla="*/ 170959 h 4687251"/>
              <a:gd name="connsiteX51815" fmla="*/ 2699025 w 8079933"/>
              <a:gd name="connsiteY51815" fmla="*/ 177888 h 4687251"/>
              <a:gd name="connsiteX51816" fmla="*/ 2692080 w 8079933"/>
              <a:gd name="connsiteY51816" fmla="*/ 184709 h 4687251"/>
              <a:gd name="connsiteX51817" fmla="*/ 2684701 w 8079933"/>
              <a:gd name="connsiteY51817" fmla="*/ 185034 h 4687251"/>
              <a:gd name="connsiteX51818" fmla="*/ 2674392 w 8079933"/>
              <a:gd name="connsiteY51818" fmla="*/ 181786 h 4687251"/>
              <a:gd name="connsiteX51819" fmla="*/ 2665168 w 8079933"/>
              <a:gd name="connsiteY51819" fmla="*/ 181461 h 4687251"/>
              <a:gd name="connsiteX51820" fmla="*/ 2661045 w 8079933"/>
              <a:gd name="connsiteY51820" fmla="*/ 176806 h 4687251"/>
              <a:gd name="connsiteX51821" fmla="*/ 2661153 w 8079933"/>
              <a:gd name="connsiteY51821" fmla="*/ 173991 h 4687251"/>
              <a:gd name="connsiteX51822" fmla="*/ 2655510 w 8079933"/>
              <a:gd name="connsiteY51822" fmla="*/ 173666 h 4687251"/>
              <a:gd name="connsiteX51823" fmla="*/ 2650410 w 8079933"/>
              <a:gd name="connsiteY51823" fmla="*/ 169551 h 4687251"/>
              <a:gd name="connsiteX51824" fmla="*/ 2650844 w 8079933"/>
              <a:gd name="connsiteY51824" fmla="*/ 166953 h 4687251"/>
              <a:gd name="connsiteX51825" fmla="*/ 2654859 w 8079933"/>
              <a:gd name="connsiteY51825" fmla="*/ 163705 h 4687251"/>
              <a:gd name="connsiteX51826" fmla="*/ 2658115 w 8079933"/>
              <a:gd name="connsiteY51826" fmla="*/ 157967 h 4687251"/>
              <a:gd name="connsiteX51827" fmla="*/ 2665277 w 8079933"/>
              <a:gd name="connsiteY51827" fmla="*/ 153853 h 4687251"/>
              <a:gd name="connsiteX51828" fmla="*/ 2669617 w 8079933"/>
              <a:gd name="connsiteY51828" fmla="*/ 148439 h 4687251"/>
              <a:gd name="connsiteX51829" fmla="*/ 2676237 w 8079933"/>
              <a:gd name="connsiteY51829" fmla="*/ 144758 h 4687251"/>
              <a:gd name="connsiteX51830" fmla="*/ 2678950 w 8079933"/>
              <a:gd name="connsiteY51830" fmla="*/ 141618 h 4687251"/>
              <a:gd name="connsiteX51831" fmla="*/ 2683833 w 8079933"/>
              <a:gd name="connsiteY51831" fmla="*/ 142917 h 4687251"/>
              <a:gd name="connsiteX51832" fmla="*/ 2693491 w 8079933"/>
              <a:gd name="connsiteY51832" fmla="*/ 143675 h 4687251"/>
              <a:gd name="connsiteX51833" fmla="*/ 2696421 w 8079933"/>
              <a:gd name="connsiteY51833" fmla="*/ 142051 h 4687251"/>
              <a:gd name="connsiteX51834" fmla="*/ 2701088 w 8079933"/>
              <a:gd name="connsiteY51834" fmla="*/ 142376 h 4687251"/>
              <a:gd name="connsiteX51835" fmla="*/ 2709877 w 8079933"/>
              <a:gd name="connsiteY51835" fmla="*/ 147464 h 4687251"/>
              <a:gd name="connsiteX51836" fmla="*/ 2718016 w 8079933"/>
              <a:gd name="connsiteY51836" fmla="*/ 147681 h 4687251"/>
              <a:gd name="connsiteX51837" fmla="*/ 2722248 w 8079933"/>
              <a:gd name="connsiteY51837" fmla="*/ 149088 h 4687251"/>
              <a:gd name="connsiteX51838" fmla="*/ 2729953 w 8079933"/>
              <a:gd name="connsiteY51838" fmla="*/ 148114 h 4687251"/>
              <a:gd name="connsiteX51839" fmla="*/ 2731038 w 8079933"/>
              <a:gd name="connsiteY51839" fmla="*/ 146706 h 4687251"/>
              <a:gd name="connsiteX51840" fmla="*/ 2727566 w 8079933"/>
              <a:gd name="connsiteY51840" fmla="*/ 144433 h 4687251"/>
              <a:gd name="connsiteX51841" fmla="*/ 2718341 w 8079933"/>
              <a:gd name="connsiteY51841" fmla="*/ 145082 h 4687251"/>
              <a:gd name="connsiteX51842" fmla="*/ 2708358 w 8079933"/>
              <a:gd name="connsiteY51842" fmla="*/ 143133 h 4687251"/>
              <a:gd name="connsiteX51843" fmla="*/ 2702281 w 8079933"/>
              <a:gd name="connsiteY51843" fmla="*/ 139561 h 4687251"/>
              <a:gd name="connsiteX51844" fmla="*/ 2695987 w 8079933"/>
              <a:gd name="connsiteY51844" fmla="*/ 139344 h 4687251"/>
              <a:gd name="connsiteX51845" fmla="*/ 2686872 w 8079933"/>
              <a:gd name="connsiteY51845" fmla="*/ 140319 h 4687251"/>
              <a:gd name="connsiteX51846" fmla="*/ 2676671 w 8079933"/>
              <a:gd name="connsiteY51846" fmla="*/ 138153 h 4687251"/>
              <a:gd name="connsiteX51847" fmla="*/ 2673958 w 8079933"/>
              <a:gd name="connsiteY51847" fmla="*/ 137937 h 4687251"/>
              <a:gd name="connsiteX51848" fmla="*/ 2671571 w 8079933"/>
              <a:gd name="connsiteY51848" fmla="*/ 141076 h 4687251"/>
              <a:gd name="connsiteX51849" fmla="*/ 2666579 w 8079933"/>
              <a:gd name="connsiteY51849" fmla="*/ 146382 h 4687251"/>
              <a:gd name="connsiteX51850" fmla="*/ 2658440 w 8079933"/>
              <a:gd name="connsiteY51850" fmla="*/ 151470 h 4687251"/>
              <a:gd name="connsiteX51851" fmla="*/ 2649542 w 8079933"/>
              <a:gd name="connsiteY51851" fmla="*/ 155584 h 4687251"/>
              <a:gd name="connsiteX51852" fmla="*/ 2644008 w 8079933"/>
              <a:gd name="connsiteY51852" fmla="*/ 162947 h 4687251"/>
              <a:gd name="connsiteX51853" fmla="*/ 2642163 w 8079933"/>
              <a:gd name="connsiteY51853" fmla="*/ 163813 h 4687251"/>
              <a:gd name="connsiteX51854" fmla="*/ 2638148 w 8079933"/>
              <a:gd name="connsiteY51854" fmla="*/ 162081 h 4687251"/>
              <a:gd name="connsiteX51855" fmla="*/ 2631854 w 8079933"/>
              <a:gd name="connsiteY51855" fmla="*/ 153636 h 4687251"/>
              <a:gd name="connsiteX51856" fmla="*/ 2628816 w 8079933"/>
              <a:gd name="connsiteY51856" fmla="*/ 152878 h 4687251"/>
              <a:gd name="connsiteX51857" fmla="*/ 2626103 w 8079933"/>
              <a:gd name="connsiteY51857" fmla="*/ 150280 h 4687251"/>
              <a:gd name="connsiteX51858" fmla="*/ 2624258 w 8079933"/>
              <a:gd name="connsiteY51858" fmla="*/ 144324 h 4687251"/>
              <a:gd name="connsiteX51859" fmla="*/ 2624041 w 8079933"/>
              <a:gd name="connsiteY51859" fmla="*/ 137504 h 4687251"/>
              <a:gd name="connsiteX51860" fmla="*/ 2621653 w 8079933"/>
              <a:gd name="connsiteY51860" fmla="*/ 134797 h 4687251"/>
              <a:gd name="connsiteX51861" fmla="*/ 2621111 w 8079933"/>
              <a:gd name="connsiteY51861" fmla="*/ 128517 h 4687251"/>
              <a:gd name="connsiteX51862" fmla="*/ 2623064 w 8079933"/>
              <a:gd name="connsiteY51862" fmla="*/ 126568 h 4687251"/>
              <a:gd name="connsiteX51863" fmla="*/ 2627621 w 8079933"/>
              <a:gd name="connsiteY51863" fmla="*/ 127651 h 4687251"/>
              <a:gd name="connsiteX51864" fmla="*/ 2632505 w 8079933"/>
              <a:gd name="connsiteY51864" fmla="*/ 126568 h 4687251"/>
              <a:gd name="connsiteX51865" fmla="*/ 2635435 w 8079933"/>
              <a:gd name="connsiteY51865" fmla="*/ 128625 h 4687251"/>
              <a:gd name="connsiteX51866" fmla="*/ 2649542 w 8079933"/>
              <a:gd name="connsiteY51866" fmla="*/ 128409 h 4687251"/>
              <a:gd name="connsiteX51867" fmla="*/ 2656704 w 8079933"/>
              <a:gd name="connsiteY51867" fmla="*/ 133281 h 4687251"/>
              <a:gd name="connsiteX51868" fmla="*/ 2660936 w 8079933"/>
              <a:gd name="connsiteY51868" fmla="*/ 133389 h 4687251"/>
              <a:gd name="connsiteX51869" fmla="*/ 2663432 w 8079933"/>
              <a:gd name="connsiteY51869" fmla="*/ 135013 h 4687251"/>
              <a:gd name="connsiteX51870" fmla="*/ 2667772 w 8079933"/>
              <a:gd name="connsiteY51870" fmla="*/ 135339 h 4687251"/>
              <a:gd name="connsiteX51871" fmla="*/ 2673524 w 8079933"/>
              <a:gd name="connsiteY51871" fmla="*/ 132415 h 4687251"/>
              <a:gd name="connsiteX51872" fmla="*/ 2679384 w 8079933"/>
              <a:gd name="connsiteY51872" fmla="*/ 134255 h 4687251"/>
              <a:gd name="connsiteX51873" fmla="*/ 2680795 w 8079933"/>
              <a:gd name="connsiteY51873" fmla="*/ 132848 h 4687251"/>
              <a:gd name="connsiteX51874" fmla="*/ 2685461 w 8079933"/>
              <a:gd name="connsiteY51874" fmla="*/ 131657 h 4687251"/>
              <a:gd name="connsiteX51875" fmla="*/ 2688174 w 8079933"/>
              <a:gd name="connsiteY51875" fmla="*/ 129708 h 4687251"/>
              <a:gd name="connsiteX51876" fmla="*/ 2697832 w 8079933"/>
              <a:gd name="connsiteY51876" fmla="*/ 127543 h 4687251"/>
              <a:gd name="connsiteX51877" fmla="*/ 2706730 w 8079933"/>
              <a:gd name="connsiteY51877" fmla="*/ 126027 h 4687251"/>
              <a:gd name="connsiteX51878" fmla="*/ 2707924 w 8079933"/>
              <a:gd name="connsiteY51878" fmla="*/ 123320 h 4687251"/>
              <a:gd name="connsiteX51879" fmla="*/ 2707599 w 8079933"/>
              <a:gd name="connsiteY51879" fmla="*/ 120397 h 4687251"/>
              <a:gd name="connsiteX51880" fmla="*/ 2704777 w 8079933"/>
              <a:gd name="connsiteY51880" fmla="*/ 121372 h 4687251"/>
              <a:gd name="connsiteX51881" fmla="*/ 2702173 w 8079933"/>
              <a:gd name="connsiteY51881" fmla="*/ 122129 h 4687251"/>
              <a:gd name="connsiteX51882" fmla="*/ 2698917 w 8079933"/>
              <a:gd name="connsiteY51882" fmla="*/ 124078 h 4687251"/>
              <a:gd name="connsiteX51883" fmla="*/ 2692949 w 8079933"/>
              <a:gd name="connsiteY51883" fmla="*/ 125486 h 4687251"/>
              <a:gd name="connsiteX51884" fmla="*/ 2683291 w 8079933"/>
              <a:gd name="connsiteY51884" fmla="*/ 124836 h 4687251"/>
              <a:gd name="connsiteX51885" fmla="*/ 2676020 w 8079933"/>
              <a:gd name="connsiteY51885" fmla="*/ 129275 h 4687251"/>
              <a:gd name="connsiteX51886" fmla="*/ 2672656 w 8079933"/>
              <a:gd name="connsiteY51886" fmla="*/ 129925 h 4687251"/>
              <a:gd name="connsiteX51887" fmla="*/ 2666145 w 8079933"/>
              <a:gd name="connsiteY51887" fmla="*/ 128842 h 4687251"/>
              <a:gd name="connsiteX51888" fmla="*/ 2663758 w 8079933"/>
              <a:gd name="connsiteY51888" fmla="*/ 130033 h 4687251"/>
              <a:gd name="connsiteX51889" fmla="*/ 2659634 w 8079933"/>
              <a:gd name="connsiteY51889" fmla="*/ 129925 h 4687251"/>
              <a:gd name="connsiteX51890" fmla="*/ 2654208 w 8079933"/>
              <a:gd name="connsiteY51890" fmla="*/ 125052 h 4687251"/>
              <a:gd name="connsiteX51891" fmla="*/ 2650844 w 8079933"/>
              <a:gd name="connsiteY51891" fmla="*/ 124944 h 4687251"/>
              <a:gd name="connsiteX51892" fmla="*/ 2648674 w 8079933"/>
              <a:gd name="connsiteY51892" fmla="*/ 123537 h 4687251"/>
              <a:gd name="connsiteX51893" fmla="*/ 2643140 w 8079933"/>
              <a:gd name="connsiteY51893" fmla="*/ 123754 h 4687251"/>
              <a:gd name="connsiteX51894" fmla="*/ 2635543 w 8079933"/>
              <a:gd name="connsiteY51894" fmla="*/ 119639 h 4687251"/>
              <a:gd name="connsiteX51895" fmla="*/ 2630117 w 8079933"/>
              <a:gd name="connsiteY51895" fmla="*/ 122021 h 4687251"/>
              <a:gd name="connsiteX51896" fmla="*/ 2625234 w 8079933"/>
              <a:gd name="connsiteY51896" fmla="*/ 119422 h 4687251"/>
              <a:gd name="connsiteX51897" fmla="*/ 2623823 w 8079933"/>
              <a:gd name="connsiteY51897" fmla="*/ 116066 h 4687251"/>
              <a:gd name="connsiteX51898" fmla="*/ 2626103 w 8079933"/>
              <a:gd name="connsiteY51898" fmla="*/ 113792 h 4687251"/>
              <a:gd name="connsiteX51899" fmla="*/ 2625994 w 8079933"/>
              <a:gd name="connsiteY51899" fmla="*/ 107837 h 4687251"/>
              <a:gd name="connsiteX51900" fmla="*/ 2629466 w 8079933"/>
              <a:gd name="connsiteY51900" fmla="*/ 105347 h 4687251"/>
              <a:gd name="connsiteX51901" fmla="*/ 2632071 w 8079933"/>
              <a:gd name="connsiteY51901" fmla="*/ 105455 h 4687251"/>
              <a:gd name="connsiteX51902" fmla="*/ 2635327 w 8079933"/>
              <a:gd name="connsiteY51902" fmla="*/ 109353 h 4687251"/>
              <a:gd name="connsiteX51903" fmla="*/ 2642488 w 8079933"/>
              <a:gd name="connsiteY51903" fmla="*/ 108921 h 4687251"/>
              <a:gd name="connsiteX51904" fmla="*/ 2645418 w 8079933"/>
              <a:gd name="connsiteY51904" fmla="*/ 107621 h 4687251"/>
              <a:gd name="connsiteX51905" fmla="*/ 2641295 w 8079933"/>
              <a:gd name="connsiteY51905" fmla="*/ 104481 h 4687251"/>
              <a:gd name="connsiteX51906" fmla="*/ 2637280 w 8079933"/>
              <a:gd name="connsiteY51906" fmla="*/ 104264 h 4687251"/>
              <a:gd name="connsiteX51907" fmla="*/ 2633915 w 8079933"/>
              <a:gd name="connsiteY51907" fmla="*/ 100150 h 4687251"/>
              <a:gd name="connsiteX51908" fmla="*/ 2635327 w 8079933"/>
              <a:gd name="connsiteY51908" fmla="*/ 97985 h 4687251"/>
              <a:gd name="connsiteX51909" fmla="*/ 2641946 w 8079933"/>
              <a:gd name="connsiteY51909" fmla="*/ 98093 h 4687251"/>
              <a:gd name="connsiteX51910" fmla="*/ 2648131 w 8079933"/>
              <a:gd name="connsiteY51910" fmla="*/ 92896 h 4687251"/>
              <a:gd name="connsiteX51911" fmla="*/ 2656270 w 8079933"/>
              <a:gd name="connsiteY51911" fmla="*/ 93004 h 4687251"/>
              <a:gd name="connsiteX51912" fmla="*/ 2659634 w 8079933"/>
              <a:gd name="connsiteY51912" fmla="*/ 90081 h 4687251"/>
              <a:gd name="connsiteX51913" fmla="*/ 2664300 w 8079933"/>
              <a:gd name="connsiteY51913" fmla="*/ 89864 h 4687251"/>
              <a:gd name="connsiteX51914" fmla="*/ 2667230 w 8079933"/>
              <a:gd name="connsiteY51914" fmla="*/ 91488 h 4687251"/>
              <a:gd name="connsiteX51915" fmla="*/ 2671245 w 8079933"/>
              <a:gd name="connsiteY51915" fmla="*/ 90623 h 4687251"/>
              <a:gd name="connsiteX51916" fmla="*/ 2671354 w 8079933"/>
              <a:gd name="connsiteY51916" fmla="*/ 87807 h 4687251"/>
              <a:gd name="connsiteX51917" fmla="*/ 2668858 w 8079933"/>
              <a:gd name="connsiteY51917" fmla="*/ 85750 h 4687251"/>
              <a:gd name="connsiteX51918" fmla="*/ 2658766 w 8079933"/>
              <a:gd name="connsiteY51918" fmla="*/ 87266 h 4687251"/>
              <a:gd name="connsiteX51919" fmla="*/ 2650519 w 8079933"/>
              <a:gd name="connsiteY51919" fmla="*/ 88024 h 4687251"/>
              <a:gd name="connsiteX51920" fmla="*/ 2644116 w 8079933"/>
              <a:gd name="connsiteY51920" fmla="*/ 90514 h 4687251"/>
              <a:gd name="connsiteX51921" fmla="*/ 2639667 w 8079933"/>
              <a:gd name="connsiteY51921" fmla="*/ 91164 h 4687251"/>
              <a:gd name="connsiteX51922" fmla="*/ 2636737 w 8079933"/>
              <a:gd name="connsiteY51922" fmla="*/ 94304 h 4687251"/>
              <a:gd name="connsiteX51923" fmla="*/ 2632722 w 8079933"/>
              <a:gd name="connsiteY51923" fmla="*/ 94195 h 4687251"/>
              <a:gd name="connsiteX51924" fmla="*/ 2632830 w 8079933"/>
              <a:gd name="connsiteY51924" fmla="*/ 90731 h 4687251"/>
              <a:gd name="connsiteX51925" fmla="*/ 2631637 w 8079933"/>
              <a:gd name="connsiteY51925" fmla="*/ 86075 h 4687251"/>
              <a:gd name="connsiteX51926" fmla="*/ 2637280 w 8079933"/>
              <a:gd name="connsiteY51926" fmla="*/ 83801 h 4687251"/>
              <a:gd name="connsiteX51927" fmla="*/ 2644224 w 8079933"/>
              <a:gd name="connsiteY51927" fmla="*/ 78388 h 4687251"/>
              <a:gd name="connsiteX51928" fmla="*/ 2651604 w 8079933"/>
              <a:gd name="connsiteY51928" fmla="*/ 77846 h 4687251"/>
              <a:gd name="connsiteX51929" fmla="*/ 2655402 w 8079933"/>
              <a:gd name="connsiteY51929" fmla="*/ 75897 h 4687251"/>
              <a:gd name="connsiteX51930" fmla="*/ 2650302 w 8079933"/>
              <a:gd name="connsiteY51930" fmla="*/ 75681 h 4687251"/>
              <a:gd name="connsiteX51931" fmla="*/ 2648131 w 8079933"/>
              <a:gd name="connsiteY51931" fmla="*/ 73407 h 4687251"/>
              <a:gd name="connsiteX51932" fmla="*/ 2648891 w 8079933"/>
              <a:gd name="connsiteY51932" fmla="*/ 66803 h 4687251"/>
              <a:gd name="connsiteX51933" fmla="*/ 2646721 w 8079933"/>
              <a:gd name="connsiteY51933" fmla="*/ 67777 h 4687251"/>
              <a:gd name="connsiteX51934" fmla="*/ 2645744 w 8079933"/>
              <a:gd name="connsiteY51934" fmla="*/ 72433 h 4687251"/>
              <a:gd name="connsiteX51935" fmla="*/ 2643248 w 8079933"/>
              <a:gd name="connsiteY51935" fmla="*/ 73949 h 4687251"/>
              <a:gd name="connsiteX51936" fmla="*/ 2641837 w 8079933"/>
              <a:gd name="connsiteY51936" fmla="*/ 69402 h 4687251"/>
              <a:gd name="connsiteX51937" fmla="*/ 2639125 w 8079933"/>
              <a:gd name="connsiteY51937" fmla="*/ 69834 h 4687251"/>
              <a:gd name="connsiteX51938" fmla="*/ 2636954 w 8079933"/>
              <a:gd name="connsiteY51938" fmla="*/ 72217 h 4687251"/>
              <a:gd name="connsiteX51939" fmla="*/ 2632071 w 8079933"/>
              <a:gd name="connsiteY51939" fmla="*/ 72758 h 4687251"/>
              <a:gd name="connsiteX51940" fmla="*/ 2631962 w 8079933"/>
              <a:gd name="connsiteY51940" fmla="*/ 76764 h 4687251"/>
              <a:gd name="connsiteX51941" fmla="*/ 2630226 w 8079933"/>
              <a:gd name="connsiteY51941" fmla="*/ 79687 h 4687251"/>
              <a:gd name="connsiteX51942" fmla="*/ 2624041 w 8079933"/>
              <a:gd name="connsiteY51942" fmla="*/ 81419 h 4687251"/>
              <a:gd name="connsiteX51943" fmla="*/ 2623498 w 8079933"/>
              <a:gd name="connsiteY51943" fmla="*/ 76981 h 4687251"/>
              <a:gd name="connsiteX51944" fmla="*/ 2624041 w 8079933"/>
              <a:gd name="connsiteY51944" fmla="*/ 72000 h 4687251"/>
              <a:gd name="connsiteX51945" fmla="*/ 2622087 w 8079933"/>
              <a:gd name="connsiteY51945" fmla="*/ 71458 h 4687251"/>
              <a:gd name="connsiteX51946" fmla="*/ 2621002 w 8079933"/>
              <a:gd name="connsiteY51946" fmla="*/ 67236 h 4687251"/>
              <a:gd name="connsiteX51947" fmla="*/ 2622413 w 8079933"/>
              <a:gd name="connsiteY51947" fmla="*/ 65828 h 4687251"/>
              <a:gd name="connsiteX51948" fmla="*/ 2625886 w 8079933"/>
              <a:gd name="connsiteY51948" fmla="*/ 67561 h 4687251"/>
              <a:gd name="connsiteX51949" fmla="*/ 2626536 w 8079933"/>
              <a:gd name="connsiteY51949" fmla="*/ 62039 h 4687251"/>
              <a:gd name="connsiteX51950" fmla="*/ 2630443 w 8079933"/>
              <a:gd name="connsiteY51950" fmla="*/ 60199 h 4687251"/>
              <a:gd name="connsiteX51951" fmla="*/ 2635977 w 8079933"/>
              <a:gd name="connsiteY51951" fmla="*/ 60415 h 4687251"/>
              <a:gd name="connsiteX51952" fmla="*/ 2638148 w 8079933"/>
              <a:gd name="connsiteY51952" fmla="*/ 55976 h 4687251"/>
              <a:gd name="connsiteX51953" fmla="*/ 2644008 w 8079933"/>
              <a:gd name="connsiteY51953" fmla="*/ 53161 h 4687251"/>
              <a:gd name="connsiteX51954" fmla="*/ 2647806 w 8079933"/>
              <a:gd name="connsiteY51954" fmla="*/ 53810 h 4687251"/>
              <a:gd name="connsiteX51955" fmla="*/ 2654968 w 8079933"/>
              <a:gd name="connsiteY51955" fmla="*/ 50021 h 4687251"/>
              <a:gd name="connsiteX51956" fmla="*/ 2664843 w 8079933"/>
              <a:gd name="connsiteY51956" fmla="*/ 49371 h 4687251"/>
              <a:gd name="connsiteX51957" fmla="*/ 2667230 w 8079933"/>
              <a:gd name="connsiteY51957" fmla="*/ 47422 h 4687251"/>
              <a:gd name="connsiteX51958" fmla="*/ 2670920 w 8079933"/>
              <a:gd name="connsiteY51958" fmla="*/ 48830 h 4687251"/>
              <a:gd name="connsiteX51959" fmla="*/ 2671462 w 8079933"/>
              <a:gd name="connsiteY51959" fmla="*/ 52187 h 4687251"/>
              <a:gd name="connsiteX51960" fmla="*/ 2669726 w 8079933"/>
              <a:gd name="connsiteY51960" fmla="*/ 54677 h 4687251"/>
              <a:gd name="connsiteX51961" fmla="*/ 2669401 w 8079933"/>
              <a:gd name="connsiteY51961" fmla="*/ 65828 h 4687251"/>
              <a:gd name="connsiteX51962" fmla="*/ 2672765 w 8079933"/>
              <a:gd name="connsiteY51962" fmla="*/ 64746 h 4687251"/>
              <a:gd name="connsiteX51963" fmla="*/ 2675043 w 8079933"/>
              <a:gd name="connsiteY51963" fmla="*/ 57708 h 4687251"/>
              <a:gd name="connsiteX51964" fmla="*/ 2678190 w 8079933"/>
              <a:gd name="connsiteY51964" fmla="*/ 54893 h 4687251"/>
              <a:gd name="connsiteX51965" fmla="*/ 2679710 w 8079933"/>
              <a:gd name="connsiteY51965" fmla="*/ 57167 h 4687251"/>
              <a:gd name="connsiteX51966" fmla="*/ 2678190 w 8079933"/>
              <a:gd name="connsiteY51966" fmla="*/ 59116 h 4687251"/>
              <a:gd name="connsiteX51967" fmla="*/ 2678733 w 8079933"/>
              <a:gd name="connsiteY51967" fmla="*/ 62580 h 4687251"/>
              <a:gd name="connsiteX51968" fmla="*/ 2681554 w 8079933"/>
              <a:gd name="connsiteY51968" fmla="*/ 60740 h 4687251"/>
              <a:gd name="connsiteX51969" fmla="*/ 2681554 w 8079933"/>
              <a:gd name="connsiteY51969" fmla="*/ 56950 h 4687251"/>
              <a:gd name="connsiteX51970" fmla="*/ 2682965 w 8079933"/>
              <a:gd name="connsiteY51970" fmla="*/ 54677 h 4687251"/>
              <a:gd name="connsiteX51971" fmla="*/ 2682314 w 8079933"/>
              <a:gd name="connsiteY51971" fmla="*/ 51320 h 4687251"/>
              <a:gd name="connsiteX51972" fmla="*/ 2683291 w 8079933"/>
              <a:gd name="connsiteY51972" fmla="*/ 45690 h 4687251"/>
              <a:gd name="connsiteX51973" fmla="*/ 2686221 w 8079933"/>
              <a:gd name="connsiteY51973" fmla="*/ 45149 h 4687251"/>
              <a:gd name="connsiteX51974" fmla="*/ 2692297 w 8079933"/>
              <a:gd name="connsiteY51974" fmla="*/ 39736 h 4687251"/>
              <a:gd name="connsiteX51975" fmla="*/ 2694685 w 8079933"/>
              <a:gd name="connsiteY51975" fmla="*/ 40277 h 4687251"/>
              <a:gd name="connsiteX51976" fmla="*/ 2695227 w 8079933"/>
              <a:gd name="connsiteY51976" fmla="*/ 44391 h 4687251"/>
              <a:gd name="connsiteX51977" fmla="*/ 2695227 w 8079933"/>
              <a:gd name="connsiteY51977" fmla="*/ 50129 h 4687251"/>
              <a:gd name="connsiteX51978" fmla="*/ 2699460 w 8079933"/>
              <a:gd name="connsiteY51978" fmla="*/ 52511 h 4687251"/>
              <a:gd name="connsiteX51979" fmla="*/ 2700436 w 8079933"/>
              <a:gd name="connsiteY51979" fmla="*/ 58575 h 4687251"/>
              <a:gd name="connsiteX51980" fmla="*/ 2699243 w 8079933"/>
              <a:gd name="connsiteY51980" fmla="*/ 62148 h 4687251"/>
              <a:gd name="connsiteX51981" fmla="*/ 2700870 w 8079933"/>
              <a:gd name="connsiteY51981" fmla="*/ 65720 h 4687251"/>
              <a:gd name="connsiteX51982" fmla="*/ 2700219 w 8079933"/>
              <a:gd name="connsiteY51982" fmla="*/ 69402 h 4687251"/>
              <a:gd name="connsiteX51983" fmla="*/ 2703475 w 8079933"/>
              <a:gd name="connsiteY51983" fmla="*/ 71892 h 4687251"/>
              <a:gd name="connsiteX51984" fmla="*/ 2705428 w 8079933"/>
              <a:gd name="connsiteY51984" fmla="*/ 70268 h 4687251"/>
              <a:gd name="connsiteX51985" fmla="*/ 2703475 w 8079933"/>
              <a:gd name="connsiteY51985" fmla="*/ 66912 h 4687251"/>
              <a:gd name="connsiteX51986" fmla="*/ 2703149 w 8079933"/>
              <a:gd name="connsiteY51986" fmla="*/ 61389 h 4687251"/>
              <a:gd name="connsiteX51987" fmla="*/ 2706079 w 8079933"/>
              <a:gd name="connsiteY51987" fmla="*/ 59982 h 4687251"/>
              <a:gd name="connsiteX51988" fmla="*/ 2710962 w 8079933"/>
              <a:gd name="connsiteY51988" fmla="*/ 52295 h 4687251"/>
              <a:gd name="connsiteX51989" fmla="*/ 2713567 w 8079933"/>
              <a:gd name="connsiteY51989" fmla="*/ 52295 h 4687251"/>
              <a:gd name="connsiteX51990" fmla="*/ 2717690 w 8079933"/>
              <a:gd name="connsiteY51990" fmla="*/ 58683 h 4687251"/>
              <a:gd name="connsiteX51991" fmla="*/ 2717908 w 8079933"/>
              <a:gd name="connsiteY51991" fmla="*/ 64638 h 4687251"/>
              <a:gd name="connsiteX51992" fmla="*/ 2716605 w 8079933"/>
              <a:gd name="connsiteY51992" fmla="*/ 69402 h 4687251"/>
              <a:gd name="connsiteX51993" fmla="*/ 2719101 w 8079933"/>
              <a:gd name="connsiteY51993" fmla="*/ 71892 h 4687251"/>
              <a:gd name="connsiteX51994" fmla="*/ 2720186 w 8079933"/>
              <a:gd name="connsiteY51994" fmla="*/ 75248 h 4687251"/>
              <a:gd name="connsiteX51995" fmla="*/ 2722465 w 8079933"/>
              <a:gd name="connsiteY51995" fmla="*/ 72325 h 4687251"/>
              <a:gd name="connsiteX51996" fmla="*/ 2722140 w 8079933"/>
              <a:gd name="connsiteY51996" fmla="*/ 65936 h 4687251"/>
              <a:gd name="connsiteX51997" fmla="*/ 2725069 w 8079933"/>
              <a:gd name="connsiteY51997" fmla="*/ 65504 h 4687251"/>
              <a:gd name="connsiteX51998" fmla="*/ 2727782 w 8079933"/>
              <a:gd name="connsiteY51998" fmla="*/ 63446 h 4687251"/>
              <a:gd name="connsiteX51999" fmla="*/ 2728867 w 8079933"/>
              <a:gd name="connsiteY51999" fmla="*/ 66370 h 4687251"/>
              <a:gd name="connsiteX52000" fmla="*/ 2727349 w 8079933"/>
              <a:gd name="connsiteY52000" fmla="*/ 68102 h 4687251"/>
              <a:gd name="connsiteX52001" fmla="*/ 2727891 w 8079933"/>
              <a:gd name="connsiteY52001" fmla="*/ 72433 h 4687251"/>
              <a:gd name="connsiteX52002" fmla="*/ 2730061 w 8079933"/>
              <a:gd name="connsiteY52002" fmla="*/ 74923 h 4687251"/>
              <a:gd name="connsiteX52003" fmla="*/ 2733534 w 8079933"/>
              <a:gd name="connsiteY52003" fmla="*/ 70376 h 4687251"/>
              <a:gd name="connsiteX52004" fmla="*/ 2735704 w 8079933"/>
              <a:gd name="connsiteY52004" fmla="*/ 70268 h 4687251"/>
              <a:gd name="connsiteX52005" fmla="*/ 2735053 w 8079933"/>
              <a:gd name="connsiteY52005" fmla="*/ 75573 h 4687251"/>
              <a:gd name="connsiteX52006" fmla="*/ 2737549 w 8079933"/>
              <a:gd name="connsiteY52006" fmla="*/ 72758 h 4687251"/>
              <a:gd name="connsiteX52007" fmla="*/ 2737332 w 8079933"/>
              <a:gd name="connsiteY52007" fmla="*/ 67236 h 4687251"/>
              <a:gd name="connsiteX52008" fmla="*/ 2733317 w 8079933"/>
              <a:gd name="connsiteY52008" fmla="*/ 60523 h 4687251"/>
              <a:gd name="connsiteX52009" fmla="*/ 2731038 w 8079933"/>
              <a:gd name="connsiteY52009" fmla="*/ 60632 h 4687251"/>
              <a:gd name="connsiteX52010" fmla="*/ 2728759 w 8079933"/>
              <a:gd name="connsiteY52010" fmla="*/ 57059 h 4687251"/>
              <a:gd name="connsiteX52011" fmla="*/ 2728542 w 8079933"/>
              <a:gd name="connsiteY52011" fmla="*/ 52079 h 4687251"/>
              <a:gd name="connsiteX52012" fmla="*/ 2725612 w 8079933"/>
              <a:gd name="connsiteY52012" fmla="*/ 48613 h 4687251"/>
              <a:gd name="connsiteX52013" fmla="*/ 2723442 w 8079933"/>
              <a:gd name="connsiteY52013" fmla="*/ 44391 h 4687251"/>
              <a:gd name="connsiteX52014" fmla="*/ 2721054 w 8079933"/>
              <a:gd name="connsiteY52014" fmla="*/ 42009 h 4687251"/>
              <a:gd name="connsiteX52015" fmla="*/ 2722140 w 8079933"/>
              <a:gd name="connsiteY52015" fmla="*/ 36704 h 4687251"/>
              <a:gd name="connsiteX52016" fmla="*/ 2726806 w 8079933"/>
              <a:gd name="connsiteY52016" fmla="*/ 37028 h 4687251"/>
              <a:gd name="connsiteX52017" fmla="*/ 2730170 w 8079933"/>
              <a:gd name="connsiteY52017" fmla="*/ 40060 h 4687251"/>
              <a:gd name="connsiteX52018" fmla="*/ 2735270 w 8079933"/>
              <a:gd name="connsiteY52018" fmla="*/ 38436 h 4687251"/>
              <a:gd name="connsiteX52019" fmla="*/ 2739285 w 8079933"/>
              <a:gd name="connsiteY52019" fmla="*/ 39844 h 4687251"/>
              <a:gd name="connsiteX52020" fmla="*/ 2741130 w 8079933"/>
              <a:gd name="connsiteY52020" fmla="*/ 37461 h 4687251"/>
              <a:gd name="connsiteX52021" fmla="*/ 2741564 w 8079933"/>
              <a:gd name="connsiteY52021" fmla="*/ 28908 h 4687251"/>
              <a:gd name="connsiteX52022" fmla="*/ 2738092 w 8079933"/>
              <a:gd name="connsiteY52022" fmla="*/ 25335 h 4687251"/>
              <a:gd name="connsiteX52023" fmla="*/ 2739611 w 8079933"/>
              <a:gd name="connsiteY52023" fmla="*/ 21113 h 4687251"/>
              <a:gd name="connsiteX52024" fmla="*/ 2745471 w 8079933"/>
              <a:gd name="connsiteY52024" fmla="*/ 19597 h 4687251"/>
              <a:gd name="connsiteX52025" fmla="*/ 2747207 w 8079933"/>
              <a:gd name="connsiteY52025" fmla="*/ 20896 h 4687251"/>
              <a:gd name="connsiteX52026" fmla="*/ 2755780 w 8079933"/>
              <a:gd name="connsiteY52026" fmla="*/ 22087 h 4687251"/>
              <a:gd name="connsiteX52027" fmla="*/ 2759469 w 8079933"/>
              <a:gd name="connsiteY52027" fmla="*/ 24685 h 4687251"/>
              <a:gd name="connsiteX52028" fmla="*/ 2759035 w 8079933"/>
              <a:gd name="connsiteY52028" fmla="*/ 28150 h 4687251"/>
              <a:gd name="connsiteX52029" fmla="*/ 2755671 w 8079933"/>
              <a:gd name="connsiteY52029" fmla="*/ 31398 h 4687251"/>
              <a:gd name="connsiteX52030" fmla="*/ 2756756 w 8079933"/>
              <a:gd name="connsiteY52030" fmla="*/ 33997 h 4687251"/>
              <a:gd name="connsiteX52031" fmla="*/ 2765546 w 8079933"/>
              <a:gd name="connsiteY52031" fmla="*/ 37137 h 4687251"/>
              <a:gd name="connsiteX52032" fmla="*/ 2765763 w 8079933"/>
              <a:gd name="connsiteY52032" fmla="*/ 40060 h 4687251"/>
              <a:gd name="connsiteX52033" fmla="*/ 2764353 w 8079933"/>
              <a:gd name="connsiteY52033" fmla="*/ 46556 h 4687251"/>
              <a:gd name="connsiteX52034" fmla="*/ 2765221 w 8079933"/>
              <a:gd name="connsiteY52034" fmla="*/ 56842 h 4687251"/>
              <a:gd name="connsiteX52035" fmla="*/ 2769127 w 8079933"/>
              <a:gd name="connsiteY52035" fmla="*/ 55435 h 4687251"/>
              <a:gd name="connsiteX52036" fmla="*/ 2771840 w 8079933"/>
              <a:gd name="connsiteY52036" fmla="*/ 49804 h 4687251"/>
              <a:gd name="connsiteX52037" fmla="*/ 2773685 w 8079933"/>
              <a:gd name="connsiteY52037" fmla="*/ 49913 h 4687251"/>
              <a:gd name="connsiteX52038" fmla="*/ 2774010 w 8079933"/>
              <a:gd name="connsiteY52038" fmla="*/ 54135 h 4687251"/>
              <a:gd name="connsiteX52039" fmla="*/ 2775855 w 8079933"/>
              <a:gd name="connsiteY52039" fmla="*/ 56842 h 4687251"/>
              <a:gd name="connsiteX52040" fmla="*/ 2779653 w 8079933"/>
              <a:gd name="connsiteY52040" fmla="*/ 54677 h 4687251"/>
              <a:gd name="connsiteX52041" fmla="*/ 2781715 w 8079933"/>
              <a:gd name="connsiteY52041" fmla="*/ 51103 h 4687251"/>
              <a:gd name="connsiteX52042" fmla="*/ 2786707 w 8079933"/>
              <a:gd name="connsiteY52042" fmla="*/ 48830 h 4687251"/>
              <a:gd name="connsiteX52043" fmla="*/ 2788009 w 8079933"/>
              <a:gd name="connsiteY52043" fmla="*/ 46232 h 4687251"/>
              <a:gd name="connsiteX52044" fmla="*/ 2784971 w 8079933"/>
              <a:gd name="connsiteY52044" fmla="*/ 37353 h 4687251"/>
              <a:gd name="connsiteX52045" fmla="*/ 2787792 w 8079933"/>
              <a:gd name="connsiteY52045" fmla="*/ 33889 h 4687251"/>
              <a:gd name="connsiteX52046" fmla="*/ 2791265 w 8079933"/>
              <a:gd name="connsiteY52046" fmla="*/ 33781 h 4687251"/>
              <a:gd name="connsiteX52047" fmla="*/ 2793327 w 8079933"/>
              <a:gd name="connsiteY52047" fmla="*/ 35404 h 4687251"/>
              <a:gd name="connsiteX52048" fmla="*/ 2801357 w 8079933"/>
              <a:gd name="connsiteY52048" fmla="*/ 36271 h 4687251"/>
              <a:gd name="connsiteX52049" fmla="*/ 2801031 w 8079933"/>
              <a:gd name="connsiteY52049" fmla="*/ 32806 h 4687251"/>
              <a:gd name="connsiteX52050" fmla="*/ 2793435 w 8079933"/>
              <a:gd name="connsiteY52050" fmla="*/ 27392 h 4687251"/>
              <a:gd name="connsiteX52051" fmla="*/ 2792133 w 8079933"/>
              <a:gd name="connsiteY52051" fmla="*/ 21329 h 4687251"/>
              <a:gd name="connsiteX52052" fmla="*/ 2793652 w 8079933"/>
              <a:gd name="connsiteY52052" fmla="*/ 18947 h 4687251"/>
              <a:gd name="connsiteX52053" fmla="*/ 2794955 w 8079933"/>
              <a:gd name="connsiteY52053" fmla="*/ 14184 h 4687251"/>
              <a:gd name="connsiteX52054" fmla="*/ 2797993 w 8079933"/>
              <a:gd name="connsiteY52054" fmla="*/ 13859 h 4687251"/>
              <a:gd name="connsiteX52055" fmla="*/ 2806999 w 8079933"/>
              <a:gd name="connsiteY52055" fmla="*/ 18839 h 4687251"/>
              <a:gd name="connsiteX52056" fmla="*/ 2807976 w 8079933"/>
              <a:gd name="connsiteY52056" fmla="*/ 25877 h 4687251"/>
              <a:gd name="connsiteX52057" fmla="*/ 2809170 w 8079933"/>
              <a:gd name="connsiteY52057" fmla="*/ 30749 h 4687251"/>
              <a:gd name="connsiteX52058" fmla="*/ 2808627 w 8079933"/>
              <a:gd name="connsiteY52058" fmla="*/ 36596 h 4687251"/>
              <a:gd name="connsiteX52059" fmla="*/ 2810906 w 8079933"/>
              <a:gd name="connsiteY52059" fmla="*/ 40060 h 4687251"/>
              <a:gd name="connsiteX52060" fmla="*/ 2812208 w 8079933"/>
              <a:gd name="connsiteY52060" fmla="*/ 46340 h 4687251"/>
              <a:gd name="connsiteX52061" fmla="*/ 2814378 w 8079933"/>
              <a:gd name="connsiteY52061" fmla="*/ 50346 h 4687251"/>
              <a:gd name="connsiteX52062" fmla="*/ 2816441 w 8079933"/>
              <a:gd name="connsiteY52062" fmla="*/ 48505 h 4687251"/>
              <a:gd name="connsiteX52063" fmla="*/ 2816658 w 8079933"/>
              <a:gd name="connsiteY52063" fmla="*/ 42983 h 4687251"/>
              <a:gd name="connsiteX52064" fmla="*/ 2815790 w 8079933"/>
              <a:gd name="connsiteY52064" fmla="*/ 39194 h 4687251"/>
              <a:gd name="connsiteX52065" fmla="*/ 2815247 w 8079933"/>
              <a:gd name="connsiteY52065" fmla="*/ 33130 h 4687251"/>
              <a:gd name="connsiteX52066" fmla="*/ 2812751 w 8079933"/>
              <a:gd name="connsiteY52066" fmla="*/ 26201 h 4687251"/>
              <a:gd name="connsiteX52067" fmla="*/ 2813728 w 8079933"/>
              <a:gd name="connsiteY52067" fmla="*/ 18081 h 4687251"/>
              <a:gd name="connsiteX52068" fmla="*/ 2813077 w 8079933"/>
              <a:gd name="connsiteY52068" fmla="*/ 9528 h 4687251"/>
              <a:gd name="connsiteX52069" fmla="*/ 2814705 w 8079933"/>
              <a:gd name="connsiteY52069" fmla="*/ 4439 h 4687251"/>
              <a:gd name="connsiteX52070" fmla="*/ 2817851 w 8079933"/>
              <a:gd name="connsiteY52070" fmla="*/ 4764 h 4687251"/>
              <a:gd name="connsiteX52071" fmla="*/ 2822409 w 8079933"/>
              <a:gd name="connsiteY52071" fmla="*/ 8986 h 4687251"/>
              <a:gd name="connsiteX52072" fmla="*/ 2825447 w 8079933"/>
              <a:gd name="connsiteY52072" fmla="*/ 8878 h 4687251"/>
              <a:gd name="connsiteX52073" fmla="*/ 2827184 w 8079933"/>
              <a:gd name="connsiteY52073" fmla="*/ 10394 h 4687251"/>
              <a:gd name="connsiteX52074" fmla="*/ 2827400 w 8079933"/>
              <a:gd name="connsiteY52074" fmla="*/ 17106 h 4687251"/>
              <a:gd name="connsiteX52075" fmla="*/ 2830113 w 8079933"/>
              <a:gd name="connsiteY52075" fmla="*/ 21979 h 4687251"/>
              <a:gd name="connsiteX52076" fmla="*/ 2829354 w 8079933"/>
              <a:gd name="connsiteY52076" fmla="*/ 27718 h 4687251"/>
              <a:gd name="connsiteX52077" fmla="*/ 2830113 w 8079933"/>
              <a:gd name="connsiteY52077" fmla="*/ 35296 h 4687251"/>
              <a:gd name="connsiteX52078" fmla="*/ 2832392 w 8079933"/>
              <a:gd name="connsiteY52078" fmla="*/ 36271 h 4687251"/>
              <a:gd name="connsiteX52079" fmla="*/ 2832175 w 8079933"/>
              <a:gd name="connsiteY52079" fmla="*/ 32265 h 4687251"/>
              <a:gd name="connsiteX52080" fmla="*/ 2833912 w 8079933"/>
              <a:gd name="connsiteY52080" fmla="*/ 29016 h 4687251"/>
              <a:gd name="connsiteX52081" fmla="*/ 2835648 w 8079933"/>
              <a:gd name="connsiteY52081" fmla="*/ 28692 h 4687251"/>
              <a:gd name="connsiteX52082" fmla="*/ 2844004 w 8079933"/>
              <a:gd name="connsiteY52082" fmla="*/ 38328 h 4687251"/>
              <a:gd name="connsiteX52083" fmla="*/ 2844872 w 8079933"/>
              <a:gd name="connsiteY52083" fmla="*/ 36704 h 4687251"/>
              <a:gd name="connsiteX52084" fmla="*/ 2848670 w 8079933"/>
              <a:gd name="connsiteY52084" fmla="*/ 35622 h 4687251"/>
              <a:gd name="connsiteX52085" fmla="*/ 2848887 w 8079933"/>
              <a:gd name="connsiteY52085" fmla="*/ 33455 h 4687251"/>
              <a:gd name="connsiteX52086" fmla="*/ 2845523 w 8079933"/>
              <a:gd name="connsiteY52086" fmla="*/ 32589 h 4687251"/>
              <a:gd name="connsiteX52087" fmla="*/ 2841508 w 8079933"/>
              <a:gd name="connsiteY52087" fmla="*/ 27392 h 4687251"/>
              <a:gd name="connsiteX52088" fmla="*/ 2842810 w 8079933"/>
              <a:gd name="connsiteY52088" fmla="*/ 25661 h 4687251"/>
              <a:gd name="connsiteX52089" fmla="*/ 2843352 w 8079933"/>
              <a:gd name="connsiteY52089" fmla="*/ 22845 h 4687251"/>
              <a:gd name="connsiteX52090" fmla="*/ 2837927 w 8079933"/>
              <a:gd name="connsiteY52090" fmla="*/ 18298 h 4687251"/>
              <a:gd name="connsiteX52091" fmla="*/ 2836408 w 8079933"/>
              <a:gd name="connsiteY52091" fmla="*/ 14833 h 4687251"/>
              <a:gd name="connsiteX52092" fmla="*/ 2837710 w 8079933"/>
              <a:gd name="connsiteY52092" fmla="*/ 12884 h 4687251"/>
              <a:gd name="connsiteX52093" fmla="*/ 2843136 w 8079933"/>
              <a:gd name="connsiteY52093" fmla="*/ 12451 h 4687251"/>
              <a:gd name="connsiteX52094" fmla="*/ 2840748 w 8079933"/>
              <a:gd name="connsiteY52094" fmla="*/ 10178 h 4687251"/>
              <a:gd name="connsiteX52095" fmla="*/ 2837059 w 8079933"/>
              <a:gd name="connsiteY52095" fmla="*/ 9528 h 4687251"/>
              <a:gd name="connsiteX52096" fmla="*/ 2834237 w 8079933"/>
              <a:gd name="connsiteY52096" fmla="*/ 5847 h 4687251"/>
              <a:gd name="connsiteX52097" fmla="*/ 2836950 w 8079933"/>
              <a:gd name="connsiteY52097" fmla="*/ 4439 h 4687251"/>
              <a:gd name="connsiteX52098" fmla="*/ 2841074 w 8079933"/>
              <a:gd name="connsiteY52098" fmla="*/ 4439 h 4687251"/>
              <a:gd name="connsiteX52099" fmla="*/ 2846065 w 8079933"/>
              <a:gd name="connsiteY52099" fmla="*/ 109 h 4687251"/>
              <a:gd name="connsiteX52100" fmla="*/ 2856158 w 8079933"/>
              <a:gd name="connsiteY52100" fmla="*/ 1732 h 4687251"/>
              <a:gd name="connsiteX52101" fmla="*/ 2858003 w 8079933"/>
              <a:gd name="connsiteY52101" fmla="*/ 4223 h 4687251"/>
              <a:gd name="connsiteX52102" fmla="*/ 2857894 w 8079933"/>
              <a:gd name="connsiteY52102" fmla="*/ 9312 h 4687251"/>
              <a:gd name="connsiteX52103" fmla="*/ 2855181 w 8079933"/>
              <a:gd name="connsiteY52103" fmla="*/ 13642 h 4687251"/>
              <a:gd name="connsiteX52104" fmla="*/ 2856375 w 8079933"/>
              <a:gd name="connsiteY52104" fmla="*/ 15916 h 4687251"/>
              <a:gd name="connsiteX52105" fmla="*/ 2859521 w 8079933"/>
              <a:gd name="connsiteY52105" fmla="*/ 15591 h 4687251"/>
              <a:gd name="connsiteX52106" fmla="*/ 2862886 w 8079933"/>
              <a:gd name="connsiteY52106" fmla="*/ 9636 h 4687251"/>
              <a:gd name="connsiteX52107" fmla="*/ 2865164 w 8079933"/>
              <a:gd name="connsiteY52107" fmla="*/ 7904 h 4687251"/>
              <a:gd name="connsiteX52108" fmla="*/ 2866901 w 8079933"/>
              <a:gd name="connsiteY52108" fmla="*/ 10502 h 4687251"/>
              <a:gd name="connsiteX52109" fmla="*/ 2864730 w 8079933"/>
              <a:gd name="connsiteY52109" fmla="*/ 17432 h 4687251"/>
              <a:gd name="connsiteX52110" fmla="*/ 2867226 w 8079933"/>
              <a:gd name="connsiteY52110" fmla="*/ 18947 h 4687251"/>
              <a:gd name="connsiteX52111" fmla="*/ 2870156 w 8079933"/>
              <a:gd name="connsiteY52111" fmla="*/ 18406 h 4687251"/>
              <a:gd name="connsiteX52112" fmla="*/ 2871025 w 8079933"/>
              <a:gd name="connsiteY52112" fmla="*/ 16132 h 4687251"/>
              <a:gd name="connsiteX52113" fmla="*/ 2876993 w 8079933"/>
              <a:gd name="connsiteY52113" fmla="*/ 10502 h 4687251"/>
              <a:gd name="connsiteX52114" fmla="*/ 2878838 w 8079933"/>
              <a:gd name="connsiteY52114" fmla="*/ 12776 h 4687251"/>
              <a:gd name="connsiteX52115" fmla="*/ 2878186 w 8079933"/>
              <a:gd name="connsiteY52115" fmla="*/ 18406 h 4687251"/>
              <a:gd name="connsiteX52116" fmla="*/ 2876125 w 8079933"/>
              <a:gd name="connsiteY52116" fmla="*/ 22304 h 4687251"/>
              <a:gd name="connsiteX52117" fmla="*/ 2877753 w 8079933"/>
              <a:gd name="connsiteY52117" fmla="*/ 30208 h 4687251"/>
              <a:gd name="connsiteX52118" fmla="*/ 2875148 w 8079933"/>
              <a:gd name="connsiteY52118" fmla="*/ 33672 h 4687251"/>
              <a:gd name="connsiteX52119" fmla="*/ 2877318 w 8079933"/>
              <a:gd name="connsiteY52119" fmla="*/ 35730 h 4687251"/>
              <a:gd name="connsiteX52120" fmla="*/ 2882527 w 8079933"/>
              <a:gd name="connsiteY52120" fmla="*/ 34646 h 4687251"/>
              <a:gd name="connsiteX52121" fmla="*/ 2885674 w 8079933"/>
              <a:gd name="connsiteY52121" fmla="*/ 35512 h 4687251"/>
              <a:gd name="connsiteX52122" fmla="*/ 2887736 w 8079933"/>
              <a:gd name="connsiteY52122" fmla="*/ 33672 h 4687251"/>
              <a:gd name="connsiteX52123" fmla="*/ 2887953 w 8079933"/>
              <a:gd name="connsiteY52123" fmla="*/ 26743 h 4687251"/>
              <a:gd name="connsiteX52124" fmla="*/ 2890775 w 8079933"/>
              <a:gd name="connsiteY52124" fmla="*/ 18514 h 4687251"/>
              <a:gd name="connsiteX52125" fmla="*/ 2887085 w 8079933"/>
              <a:gd name="connsiteY52125" fmla="*/ 8120 h 4687251"/>
              <a:gd name="connsiteX52126" fmla="*/ 2888062 w 8079933"/>
              <a:gd name="connsiteY52126" fmla="*/ 1732 h 468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 ang="0">
                <a:pos x="connsiteX20061" y="connsiteY20061"/>
              </a:cxn>
              <a:cxn ang="0">
                <a:pos x="connsiteX20062" y="connsiteY20062"/>
              </a:cxn>
              <a:cxn ang="0">
                <a:pos x="connsiteX20063" y="connsiteY20063"/>
              </a:cxn>
              <a:cxn ang="0">
                <a:pos x="connsiteX20064" y="connsiteY20064"/>
              </a:cxn>
              <a:cxn ang="0">
                <a:pos x="connsiteX20065" y="connsiteY20065"/>
              </a:cxn>
              <a:cxn ang="0">
                <a:pos x="connsiteX20066" y="connsiteY20066"/>
              </a:cxn>
              <a:cxn ang="0">
                <a:pos x="connsiteX20067" y="connsiteY20067"/>
              </a:cxn>
              <a:cxn ang="0">
                <a:pos x="connsiteX20068" y="connsiteY20068"/>
              </a:cxn>
              <a:cxn ang="0">
                <a:pos x="connsiteX20069" y="connsiteY20069"/>
              </a:cxn>
              <a:cxn ang="0">
                <a:pos x="connsiteX20070" y="connsiteY20070"/>
              </a:cxn>
              <a:cxn ang="0">
                <a:pos x="connsiteX20071" y="connsiteY20071"/>
              </a:cxn>
              <a:cxn ang="0">
                <a:pos x="connsiteX20072" y="connsiteY20072"/>
              </a:cxn>
              <a:cxn ang="0">
                <a:pos x="connsiteX20073" y="connsiteY20073"/>
              </a:cxn>
              <a:cxn ang="0">
                <a:pos x="connsiteX20074" y="connsiteY20074"/>
              </a:cxn>
              <a:cxn ang="0">
                <a:pos x="connsiteX20075" y="connsiteY20075"/>
              </a:cxn>
              <a:cxn ang="0">
                <a:pos x="connsiteX20076" y="connsiteY20076"/>
              </a:cxn>
              <a:cxn ang="0">
                <a:pos x="connsiteX20077" y="connsiteY20077"/>
              </a:cxn>
              <a:cxn ang="0">
                <a:pos x="connsiteX20078" y="connsiteY20078"/>
              </a:cxn>
              <a:cxn ang="0">
                <a:pos x="connsiteX20079" y="connsiteY20079"/>
              </a:cxn>
              <a:cxn ang="0">
                <a:pos x="connsiteX20080" y="connsiteY20080"/>
              </a:cxn>
              <a:cxn ang="0">
                <a:pos x="connsiteX20081" y="connsiteY20081"/>
              </a:cxn>
              <a:cxn ang="0">
                <a:pos x="connsiteX20082" y="connsiteY20082"/>
              </a:cxn>
              <a:cxn ang="0">
                <a:pos x="connsiteX20083" y="connsiteY20083"/>
              </a:cxn>
              <a:cxn ang="0">
                <a:pos x="connsiteX20084" y="connsiteY20084"/>
              </a:cxn>
              <a:cxn ang="0">
                <a:pos x="connsiteX20085" y="connsiteY20085"/>
              </a:cxn>
              <a:cxn ang="0">
                <a:pos x="connsiteX20086" y="connsiteY20086"/>
              </a:cxn>
              <a:cxn ang="0">
                <a:pos x="connsiteX20087" y="connsiteY20087"/>
              </a:cxn>
              <a:cxn ang="0">
                <a:pos x="connsiteX20088" y="connsiteY20088"/>
              </a:cxn>
              <a:cxn ang="0">
                <a:pos x="connsiteX20089" y="connsiteY20089"/>
              </a:cxn>
              <a:cxn ang="0">
                <a:pos x="connsiteX20090" y="connsiteY20090"/>
              </a:cxn>
              <a:cxn ang="0">
                <a:pos x="connsiteX20091" y="connsiteY20091"/>
              </a:cxn>
              <a:cxn ang="0">
                <a:pos x="connsiteX20092" y="connsiteY20092"/>
              </a:cxn>
              <a:cxn ang="0">
                <a:pos x="connsiteX20093" y="connsiteY20093"/>
              </a:cxn>
              <a:cxn ang="0">
                <a:pos x="connsiteX20094" y="connsiteY20094"/>
              </a:cxn>
              <a:cxn ang="0">
                <a:pos x="connsiteX20095" y="connsiteY20095"/>
              </a:cxn>
              <a:cxn ang="0">
                <a:pos x="connsiteX20096" y="connsiteY20096"/>
              </a:cxn>
              <a:cxn ang="0">
                <a:pos x="connsiteX20097" y="connsiteY20097"/>
              </a:cxn>
              <a:cxn ang="0">
                <a:pos x="connsiteX20098" y="connsiteY20098"/>
              </a:cxn>
              <a:cxn ang="0">
                <a:pos x="connsiteX20099" y="connsiteY20099"/>
              </a:cxn>
              <a:cxn ang="0">
                <a:pos x="connsiteX20100" y="connsiteY20100"/>
              </a:cxn>
              <a:cxn ang="0">
                <a:pos x="connsiteX20101" y="connsiteY20101"/>
              </a:cxn>
              <a:cxn ang="0">
                <a:pos x="connsiteX20102" y="connsiteY20102"/>
              </a:cxn>
              <a:cxn ang="0">
                <a:pos x="connsiteX20103" y="connsiteY20103"/>
              </a:cxn>
              <a:cxn ang="0">
                <a:pos x="connsiteX20104" y="connsiteY20104"/>
              </a:cxn>
              <a:cxn ang="0">
                <a:pos x="connsiteX20105" y="connsiteY20105"/>
              </a:cxn>
              <a:cxn ang="0">
                <a:pos x="connsiteX20106" y="connsiteY20106"/>
              </a:cxn>
              <a:cxn ang="0">
                <a:pos x="connsiteX20107" y="connsiteY20107"/>
              </a:cxn>
              <a:cxn ang="0">
                <a:pos x="connsiteX20108" y="connsiteY20108"/>
              </a:cxn>
              <a:cxn ang="0">
                <a:pos x="connsiteX20109" y="connsiteY20109"/>
              </a:cxn>
              <a:cxn ang="0">
                <a:pos x="connsiteX20110" y="connsiteY20110"/>
              </a:cxn>
              <a:cxn ang="0">
                <a:pos x="connsiteX20111" y="connsiteY20111"/>
              </a:cxn>
              <a:cxn ang="0">
                <a:pos x="connsiteX20112" y="connsiteY20112"/>
              </a:cxn>
              <a:cxn ang="0">
                <a:pos x="connsiteX20113" y="connsiteY20113"/>
              </a:cxn>
              <a:cxn ang="0">
                <a:pos x="connsiteX20114" y="connsiteY20114"/>
              </a:cxn>
              <a:cxn ang="0">
                <a:pos x="connsiteX20115" y="connsiteY20115"/>
              </a:cxn>
              <a:cxn ang="0">
                <a:pos x="connsiteX20116" y="connsiteY20116"/>
              </a:cxn>
              <a:cxn ang="0">
                <a:pos x="connsiteX20117" y="connsiteY20117"/>
              </a:cxn>
              <a:cxn ang="0">
                <a:pos x="connsiteX20118" y="connsiteY20118"/>
              </a:cxn>
              <a:cxn ang="0">
                <a:pos x="connsiteX20119" y="connsiteY20119"/>
              </a:cxn>
              <a:cxn ang="0">
                <a:pos x="connsiteX20120" y="connsiteY20120"/>
              </a:cxn>
              <a:cxn ang="0">
                <a:pos x="connsiteX20121" y="connsiteY20121"/>
              </a:cxn>
              <a:cxn ang="0">
                <a:pos x="connsiteX20122" y="connsiteY20122"/>
              </a:cxn>
              <a:cxn ang="0">
                <a:pos x="connsiteX20123" y="connsiteY20123"/>
              </a:cxn>
              <a:cxn ang="0">
                <a:pos x="connsiteX20124" y="connsiteY20124"/>
              </a:cxn>
              <a:cxn ang="0">
                <a:pos x="connsiteX20125" y="connsiteY20125"/>
              </a:cxn>
              <a:cxn ang="0">
                <a:pos x="connsiteX20126" y="connsiteY20126"/>
              </a:cxn>
              <a:cxn ang="0">
                <a:pos x="connsiteX20127" y="connsiteY20127"/>
              </a:cxn>
              <a:cxn ang="0">
                <a:pos x="connsiteX20128" y="connsiteY20128"/>
              </a:cxn>
              <a:cxn ang="0">
                <a:pos x="connsiteX20129" y="connsiteY20129"/>
              </a:cxn>
              <a:cxn ang="0">
                <a:pos x="connsiteX20130" y="connsiteY20130"/>
              </a:cxn>
              <a:cxn ang="0">
                <a:pos x="connsiteX20131" y="connsiteY20131"/>
              </a:cxn>
              <a:cxn ang="0">
                <a:pos x="connsiteX20132" y="connsiteY20132"/>
              </a:cxn>
              <a:cxn ang="0">
                <a:pos x="connsiteX20133" y="connsiteY20133"/>
              </a:cxn>
              <a:cxn ang="0">
                <a:pos x="connsiteX20134" y="connsiteY20134"/>
              </a:cxn>
              <a:cxn ang="0">
                <a:pos x="connsiteX20135" y="connsiteY20135"/>
              </a:cxn>
              <a:cxn ang="0">
                <a:pos x="connsiteX20136" y="connsiteY20136"/>
              </a:cxn>
              <a:cxn ang="0">
                <a:pos x="connsiteX20137" y="connsiteY20137"/>
              </a:cxn>
              <a:cxn ang="0">
                <a:pos x="connsiteX20138" y="connsiteY20138"/>
              </a:cxn>
              <a:cxn ang="0">
                <a:pos x="connsiteX20139" y="connsiteY20139"/>
              </a:cxn>
              <a:cxn ang="0">
                <a:pos x="connsiteX20140" y="connsiteY20140"/>
              </a:cxn>
              <a:cxn ang="0">
                <a:pos x="connsiteX20141" y="connsiteY20141"/>
              </a:cxn>
              <a:cxn ang="0">
                <a:pos x="connsiteX20142" y="connsiteY20142"/>
              </a:cxn>
              <a:cxn ang="0">
                <a:pos x="connsiteX20143" y="connsiteY20143"/>
              </a:cxn>
              <a:cxn ang="0">
                <a:pos x="connsiteX20144" y="connsiteY20144"/>
              </a:cxn>
              <a:cxn ang="0">
                <a:pos x="connsiteX20145" y="connsiteY20145"/>
              </a:cxn>
              <a:cxn ang="0">
                <a:pos x="connsiteX20146" y="connsiteY20146"/>
              </a:cxn>
              <a:cxn ang="0">
                <a:pos x="connsiteX20147" y="connsiteY20147"/>
              </a:cxn>
              <a:cxn ang="0">
                <a:pos x="connsiteX20148" y="connsiteY20148"/>
              </a:cxn>
              <a:cxn ang="0">
                <a:pos x="connsiteX20149" y="connsiteY20149"/>
              </a:cxn>
              <a:cxn ang="0">
                <a:pos x="connsiteX20150" y="connsiteY20150"/>
              </a:cxn>
              <a:cxn ang="0">
                <a:pos x="connsiteX20151" y="connsiteY20151"/>
              </a:cxn>
              <a:cxn ang="0">
                <a:pos x="connsiteX20152" y="connsiteY20152"/>
              </a:cxn>
              <a:cxn ang="0">
                <a:pos x="connsiteX20153" y="connsiteY20153"/>
              </a:cxn>
              <a:cxn ang="0">
                <a:pos x="connsiteX20154" y="connsiteY20154"/>
              </a:cxn>
              <a:cxn ang="0">
                <a:pos x="connsiteX20155" y="connsiteY20155"/>
              </a:cxn>
              <a:cxn ang="0">
                <a:pos x="connsiteX20156" y="connsiteY20156"/>
              </a:cxn>
              <a:cxn ang="0">
                <a:pos x="connsiteX20157" y="connsiteY20157"/>
              </a:cxn>
              <a:cxn ang="0">
                <a:pos x="connsiteX20158" y="connsiteY20158"/>
              </a:cxn>
              <a:cxn ang="0">
                <a:pos x="connsiteX20159" y="connsiteY20159"/>
              </a:cxn>
              <a:cxn ang="0">
                <a:pos x="connsiteX20160" y="connsiteY20160"/>
              </a:cxn>
              <a:cxn ang="0">
                <a:pos x="connsiteX20161" y="connsiteY20161"/>
              </a:cxn>
              <a:cxn ang="0">
                <a:pos x="connsiteX20162" y="connsiteY20162"/>
              </a:cxn>
              <a:cxn ang="0">
                <a:pos x="connsiteX20163" y="connsiteY20163"/>
              </a:cxn>
              <a:cxn ang="0">
                <a:pos x="connsiteX20164" y="connsiteY20164"/>
              </a:cxn>
              <a:cxn ang="0">
                <a:pos x="connsiteX20165" y="connsiteY20165"/>
              </a:cxn>
              <a:cxn ang="0">
                <a:pos x="connsiteX20166" y="connsiteY20166"/>
              </a:cxn>
              <a:cxn ang="0">
                <a:pos x="connsiteX20167" y="connsiteY20167"/>
              </a:cxn>
              <a:cxn ang="0">
                <a:pos x="connsiteX20168" y="connsiteY20168"/>
              </a:cxn>
              <a:cxn ang="0">
                <a:pos x="connsiteX20169" y="connsiteY20169"/>
              </a:cxn>
              <a:cxn ang="0">
                <a:pos x="connsiteX20170" y="connsiteY20170"/>
              </a:cxn>
              <a:cxn ang="0">
                <a:pos x="connsiteX20171" y="connsiteY20171"/>
              </a:cxn>
              <a:cxn ang="0">
                <a:pos x="connsiteX20172" y="connsiteY20172"/>
              </a:cxn>
              <a:cxn ang="0">
                <a:pos x="connsiteX20173" y="connsiteY20173"/>
              </a:cxn>
              <a:cxn ang="0">
                <a:pos x="connsiteX20174" y="connsiteY20174"/>
              </a:cxn>
              <a:cxn ang="0">
                <a:pos x="connsiteX20175" y="connsiteY20175"/>
              </a:cxn>
              <a:cxn ang="0">
                <a:pos x="connsiteX20176" y="connsiteY20176"/>
              </a:cxn>
              <a:cxn ang="0">
                <a:pos x="connsiteX20177" y="connsiteY20177"/>
              </a:cxn>
              <a:cxn ang="0">
                <a:pos x="connsiteX20178" y="connsiteY20178"/>
              </a:cxn>
              <a:cxn ang="0">
                <a:pos x="connsiteX20179" y="connsiteY20179"/>
              </a:cxn>
              <a:cxn ang="0">
                <a:pos x="connsiteX20180" y="connsiteY20180"/>
              </a:cxn>
              <a:cxn ang="0">
                <a:pos x="connsiteX20181" y="connsiteY20181"/>
              </a:cxn>
              <a:cxn ang="0">
                <a:pos x="connsiteX20182" y="connsiteY20182"/>
              </a:cxn>
              <a:cxn ang="0">
                <a:pos x="connsiteX20183" y="connsiteY20183"/>
              </a:cxn>
              <a:cxn ang="0">
                <a:pos x="connsiteX20184" y="connsiteY20184"/>
              </a:cxn>
              <a:cxn ang="0">
                <a:pos x="connsiteX20185" y="connsiteY20185"/>
              </a:cxn>
              <a:cxn ang="0">
                <a:pos x="connsiteX20186" y="connsiteY20186"/>
              </a:cxn>
              <a:cxn ang="0">
                <a:pos x="connsiteX20187" y="connsiteY20187"/>
              </a:cxn>
              <a:cxn ang="0">
                <a:pos x="connsiteX20188" y="connsiteY20188"/>
              </a:cxn>
              <a:cxn ang="0">
                <a:pos x="connsiteX20189" y="connsiteY20189"/>
              </a:cxn>
              <a:cxn ang="0">
                <a:pos x="connsiteX20190" y="connsiteY20190"/>
              </a:cxn>
              <a:cxn ang="0">
                <a:pos x="connsiteX20191" y="connsiteY20191"/>
              </a:cxn>
              <a:cxn ang="0">
                <a:pos x="connsiteX20192" y="connsiteY20192"/>
              </a:cxn>
              <a:cxn ang="0">
                <a:pos x="connsiteX20193" y="connsiteY20193"/>
              </a:cxn>
              <a:cxn ang="0">
                <a:pos x="connsiteX20194" y="connsiteY20194"/>
              </a:cxn>
              <a:cxn ang="0">
                <a:pos x="connsiteX20195" y="connsiteY20195"/>
              </a:cxn>
              <a:cxn ang="0">
                <a:pos x="connsiteX20196" y="connsiteY20196"/>
              </a:cxn>
              <a:cxn ang="0">
                <a:pos x="connsiteX20197" y="connsiteY20197"/>
              </a:cxn>
              <a:cxn ang="0">
                <a:pos x="connsiteX20198" y="connsiteY20198"/>
              </a:cxn>
              <a:cxn ang="0">
                <a:pos x="connsiteX20199" y="connsiteY20199"/>
              </a:cxn>
              <a:cxn ang="0">
                <a:pos x="connsiteX20200" y="connsiteY20200"/>
              </a:cxn>
              <a:cxn ang="0">
                <a:pos x="connsiteX20201" y="connsiteY20201"/>
              </a:cxn>
              <a:cxn ang="0">
                <a:pos x="connsiteX20202" y="connsiteY20202"/>
              </a:cxn>
              <a:cxn ang="0">
                <a:pos x="connsiteX20203" y="connsiteY20203"/>
              </a:cxn>
              <a:cxn ang="0">
                <a:pos x="connsiteX20204" y="connsiteY20204"/>
              </a:cxn>
              <a:cxn ang="0">
                <a:pos x="connsiteX20205" y="connsiteY20205"/>
              </a:cxn>
              <a:cxn ang="0">
                <a:pos x="connsiteX20206" y="connsiteY20206"/>
              </a:cxn>
              <a:cxn ang="0">
                <a:pos x="connsiteX20207" y="connsiteY20207"/>
              </a:cxn>
              <a:cxn ang="0">
                <a:pos x="connsiteX20208" y="connsiteY20208"/>
              </a:cxn>
              <a:cxn ang="0">
                <a:pos x="connsiteX20209" y="connsiteY20209"/>
              </a:cxn>
              <a:cxn ang="0">
                <a:pos x="connsiteX20210" y="connsiteY20210"/>
              </a:cxn>
              <a:cxn ang="0">
                <a:pos x="connsiteX20211" y="connsiteY20211"/>
              </a:cxn>
              <a:cxn ang="0">
                <a:pos x="connsiteX20212" y="connsiteY20212"/>
              </a:cxn>
              <a:cxn ang="0">
                <a:pos x="connsiteX20213" y="connsiteY20213"/>
              </a:cxn>
              <a:cxn ang="0">
                <a:pos x="connsiteX20214" y="connsiteY20214"/>
              </a:cxn>
              <a:cxn ang="0">
                <a:pos x="connsiteX20215" y="connsiteY20215"/>
              </a:cxn>
              <a:cxn ang="0">
                <a:pos x="connsiteX20216" y="connsiteY20216"/>
              </a:cxn>
              <a:cxn ang="0">
                <a:pos x="connsiteX20217" y="connsiteY20217"/>
              </a:cxn>
              <a:cxn ang="0">
                <a:pos x="connsiteX20218" y="connsiteY20218"/>
              </a:cxn>
              <a:cxn ang="0">
                <a:pos x="connsiteX20219" y="connsiteY20219"/>
              </a:cxn>
              <a:cxn ang="0">
                <a:pos x="connsiteX20220" y="connsiteY20220"/>
              </a:cxn>
              <a:cxn ang="0">
                <a:pos x="connsiteX20221" y="connsiteY20221"/>
              </a:cxn>
              <a:cxn ang="0">
                <a:pos x="connsiteX20222" y="connsiteY20222"/>
              </a:cxn>
              <a:cxn ang="0">
                <a:pos x="connsiteX20223" y="connsiteY20223"/>
              </a:cxn>
              <a:cxn ang="0">
                <a:pos x="connsiteX20224" y="connsiteY20224"/>
              </a:cxn>
              <a:cxn ang="0">
                <a:pos x="connsiteX20225" y="connsiteY20225"/>
              </a:cxn>
              <a:cxn ang="0">
                <a:pos x="connsiteX20226" y="connsiteY20226"/>
              </a:cxn>
              <a:cxn ang="0">
                <a:pos x="connsiteX20227" y="connsiteY20227"/>
              </a:cxn>
              <a:cxn ang="0">
                <a:pos x="connsiteX20228" y="connsiteY20228"/>
              </a:cxn>
              <a:cxn ang="0">
                <a:pos x="connsiteX20229" y="connsiteY20229"/>
              </a:cxn>
              <a:cxn ang="0">
                <a:pos x="connsiteX20230" y="connsiteY20230"/>
              </a:cxn>
              <a:cxn ang="0">
                <a:pos x="connsiteX20231" y="connsiteY20231"/>
              </a:cxn>
              <a:cxn ang="0">
                <a:pos x="connsiteX20232" y="connsiteY20232"/>
              </a:cxn>
              <a:cxn ang="0">
                <a:pos x="connsiteX20233" y="connsiteY20233"/>
              </a:cxn>
              <a:cxn ang="0">
                <a:pos x="connsiteX20234" y="connsiteY20234"/>
              </a:cxn>
              <a:cxn ang="0">
                <a:pos x="connsiteX20235" y="connsiteY20235"/>
              </a:cxn>
              <a:cxn ang="0">
                <a:pos x="connsiteX20236" y="connsiteY20236"/>
              </a:cxn>
              <a:cxn ang="0">
                <a:pos x="connsiteX20237" y="connsiteY20237"/>
              </a:cxn>
              <a:cxn ang="0">
                <a:pos x="connsiteX20238" y="connsiteY20238"/>
              </a:cxn>
              <a:cxn ang="0">
                <a:pos x="connsiteX20239" y="connsiteY20239"/>
              </a:cxn>
              <a:cxn ang="0">
                <a:pos x="connsiteX20240" y="connsiteY20240"/>
              </a:cxn>
              <a:cxn ang="0">
                <a:pos x="connsiteX20241" y="connsiteY20241"/>
              </a:cxn>
              <a:cxn ang="0">
                <a:pos x="connsiteX20242" y="connsiteY20242"/>
              </a:cxn>
              <a:cxn ang="0">
                <a:pos x="connsiteX20243" y="connsiteY20243"/>
              </a:cxn>
              <a:cxn ang="0">
                <a:pos x="connsiteX20244" y="connsiteY20244"/>
              </a:cxn>
              <a:cxn ang="0">
                <a:pos x="connsiteX20245" y="connsiteY20245"/>
              </a:cxn>
              <a:cxn ang="0">
                <a:pos x="connsiteX20246" y="connsiteY20246"/>
              </a:cxn>
              <a:cxn ang="0">
                <a:pos x="connsiteX20247" y="connsiteY20247"/>
              </a:cxn>
              <a:cxn ang="0">
                <a:pos x="connsiteX20248" y="connsiteY20248"/>
              </a:cxn>
              <a:cxn ang="0">
                <a:pos x="connsiteX20249" y="connsiteY20249"/>
              </a:cxn>
              <a:cxn ang="0">
                <a:pos x="connsiteX20250" y="connsiteY20250"/>
              </a:cxn>
              <a:cxn ang="0">
                <a:pos x="connsiteX20251" y="connsiteY20251"/>
              </a:cxn>
              <a:cxn ang="0">
                <a:pos x="connsiteX20252" y="connsiteY20252"/>
              </a:cxn>
              <a:cxn ang="0">
                <a:pos x="connsiteX20253" y="connsiteY20253"/>
              </a:cxn>
              <a:cxn ang="0">
                <a:pos x="connsiteX20254" y="connsiteY20254"/>
              </a:cxn>
              <a:cxn ang="0">
                <a:pos x="connsiteX20255" y="connsiteY20255"/>
              </a:cxn>
              <a:cxn ang="0">
                <a:pos x="connsiteX20256" y="connsiteY20256"/>
              </a:cxn>
              <a:cxn ang="0">
                <a:pos x="connsiteX20257" y="connsiteY20257"/>
              </a:cxn>
              <a:cxn ang="0">
                <a:pos x="connsiteX20258" y="connsiteY20258"/>
              </a:cxn>
              <a:cxn ang="0">
                <a:pos x="connsiteX20259" y="connsiteY20259"/>
              </a:cxn>
              <a:cxn ang="0">
                <a:pos x="connsiteX20260" y="connsiteY20260"/>
              </a:cxn>
              <a:cxn ang="0">
                <a:pos x="connsiteX20261" y="connsiteY20261"/>
              </a:cxn>
              <a:cxn ang="0">
                <a:pos x="connsiteX20262" y="connsiteY20262"/>
              </a:cxn>
              <a:cxn ang="0">
                <a:pos x="connsiteX20263" y="connsiteY20263"/>
              </a:cxn>
              <a:cxn ang="0">
                <a:pos x="connsiteX20264" y="connsiteY20264"/>
              </a:cxn>
              <a:cxn ang="0">
                <a:pos x="connsiteX20265" y="connsiteY20265"/>
              </a:cxn>
              <a:cxn ang="0">
                <a:pos x="connsiteX20266" y="connsiteY20266"/>
              </a:cxn>
              <a:cxn ang="0">
                <a:pos x="connsiteX20267" y="connsiteY20267"/>
              </a:cxn>
              <a:cxn ang="0">
                <a:pos x="connsiteX20268" y="connsiteY20268"/>
              </a:cxn>
              <a:cxn ang="0">
                <a:pos x="connsiteX20269" y="connsiteY20269"/>
              </a:cxn>
              <a:cxn ang="0">
                <a:pos x="connsiteX20270" y="connsiteY20270"/>
              </a:cxn>
              <a:cxn ang="0">
                <a:pos x="connsiteX20271" y="connsiteY20271"/>
              </a:cxn>
              <a:cxn ang="0">
                <a:pos x="connsiteX20272" y="connsiteY20272"/>
              </a:cxn>
              <a:cxn ang="0">
                <a:pos x="connsiteX20273" y="connsiteY20273"/>
              </a:cxn>
              <a:cxn ang="0">
                <a:pos x="connsiteX20274" y="connsiteY20274"/>
              </a:cxn>
              <a:cxn ang="0">
                <a:pos x="connsiteX20275" y="connsiteY20275"/>
              </a:cxn>
              <a:cxn ang="0">
                <a:pos x="connsiteX20276" y="connsiteY20276"/>
              </a:cxn>
              <a:cxn ang="0">
                <a:pos x="connsiteX20277" y="connsiteY20277"/>
              </a:cxn>
              <a:cxn ang="0">
                <a:pos x="connsiteX20278" y="connsiteY20278"/>
              </a:cxn>
              <a:cxn ang="0">
                <a:pos x="connsiteX20279" y="connsiteY20279"/>
              </a:cxn>
              <a:cxn ang="0">
                <a:pos x="connsiteX20280" y="connsiteY20280"/>
              </a:cxn>
              <a:cxn ang="0">
                <a:pos x="connsiteX20281" y="connsiteY20281"/>
              </a:cxn>
              <a:cxn ang="0">
                <a:pos x="connsiteX20282" y="connsiteY20282"/>
              </a:cxn>
              <a:cxn ang="0">
                <a:pos x="connsiteX20283" y="connsiteY20283"/>
              </a:cxn>
              <a:cxn ang="0">
                <a:pos x="connsiteX20284" y="connsiteY20284"/>
              </a:cxn>
              <a:cxn ang="0">
                <a:pos x="connsiteX20285" y="connsiteY20285"/>
              </a:cxn>
              <a:cxn ang="0">
                <a:pos x="connsiteX20286" y="connsiteY20286"/>
              </a:cxn>
              <a:cxn ang="0">
                <a:pos x="connsiteX20287" y="connsiteY20287"/>
              </a:cxn>
              <a:cxn ang="0">
                <a:pos x="connsiteX20288" y="connsiteY20288"/>
              </a:cxn>
              <a:cxn ang="0">
                <a:pos x="connsiteX20289" y="connsiteY20289"/>
              </a:cxn>
              <a:cxn ang="0">
                <a:pos x="connsiteX20290" y="connsiteY20290"/>
              </a:cxn>
              <a:cxn ang="0">
                <a:pos x="connsiteX20291" y="connsiteY20291"/>
              </a:cxn>
              <a:cxn ang="0">
                <a:pos x="connsiteX20292" y="connsiteY20292"/>
              </a:cxn>
              <a:cxn ang="0">
                <a:pos x="connsiteX20293" y="connsiteY20293"/>
              </a:cxn>
              <a:cxn ang="0">
                <a:pos x="connsiteX20294" y="connsiteY20294"/>
              </a:cxn>
              <a:cxn ang="0">
                <a:pos x="connsiteX20295" y="connsiteY20295"/>
              </a:cxn>
              <a:cxn ang="0">
                <a:pos x="connsiteX20296" y="connsiteY20296"/>
              </a:cxn>
              <a:cxn ang="0">
                <a:pos x="connsiteX20297" y="connsiteY20297"/>
              </a:cxn>
              <a:cxn ang="0">
                <a:pos x="connsiteX20298" y="connsiteY20298"/>
              </a:cxn>
              <a:cxn ang="0">
                <a:pos x="connsiteX20299" y="connsiteY20299"/>
              </a:cxn>
              <a:cxn ang="0">
                <a:pos x="connsiteX20300" y="connsiteY20300"/>
              </a:cxn>
              <a:cxn ang="0">
                <a:pos x="connsiteX20301" y="connsiteY20301"/>
              </a:cxn>
              <a:cxn ang="0">
                <a:pos x="connsiteX20302" y="connsiteY20302"/>
              </a:cxn>
              <a:cxn ang="0">
                <a:pos x="connsiteX20303" y="connsiteY20303"/>
              </a:cxn>
              <a:cxn ang="0">
                <a:pos x="connsiteX20304" y="connsiteY20304"/>
              </a:cxn>
              <a:cxn ang="0">
                <a:pos x="connsiteX20305" y="connsiteY20305"/>
              </a:cxn>
              <a:cxn ang="0">
                <a:pos x="connsiteX20306" y="connsiteY20306"/>
              </a:cxn>
              <a:cxn ang="0">
                <a:pos x="connsiteX20307" y="connsiteY20307"/>
              </a:cxn>
              <a:cxn ang="0">
                <a:pos x="connsiteX20308" y="connsiteY20308"/>
              </a:cxn>
              <a:cxn ang="0">
                <a:pos x="connsiteX20309" y="connsiteY20309"/>
              </a:cxn>
              <a:cxn ang="0">
                <a:pos x="connsiteX20310" y="connsiteY20310"/>
              </a:cxn>
              <a:cxn ang="0">
                <a:pos x="connsiteX20311" y="connsiteY20311"/>
              </a:cxn>
              <a:cxn ang="0">
                <a:pos x="connsiteX20312" y="connsiteY20312"/>
              </a:cxn>
              <a:cxn ang="0">
                <a:pos x="connsiteX20313" y="connsiteY20313"/>
              </a:cxn>
              <a:cxn ang="0">
                <a:pos x="connsiteX20314" y="connsiteY20314"/>
              </a:cxn>
              <a:cxn ang="0">
                <a:pos x="connsiteX20315" y="connsiteY20315"/>
              </a:cxn>
              <a:cxn ang="0">
                <a:pos x="connsiteX20316" y="connsiteY20316"/>
              </a:cxn>
              <a:cxn ang="0">
                <a:pos x="connsiteX20317" y="connsiteY20317"/>
              </a:cxn>
              <a:cxn ang="0">
                <a:pos x="connsiteX20318" y="connsiteY20318"/>
              </a:cxn>
              <a:cxn ang="0">
                <a:pos x="connsiteX20319" y="connsiteY20319"/>
              </a:cxn>
              <a:cxn ang="0">
                <a:pos x="connsiteX20320" y="connsiteY20320"/>
              </a:cxn>
              <a:cxn ang="0">
                <a:pos x="connsiteX20321" y="connsiteY20321"/>
              </a:cxn>
              <a:cxn ang="0">
                <a:pos x="connsiteX20322" y="connsiteY20322"/>
              </a:cxn>
              <a:cxn ang="0">
                <a:pos x="connsiteX20323" y="connsiteY20323"/>
              </a:cxn>
              <a:cxn ang="0">
                <a:pos x="connsiteX20324" y="connsiteY20324"/>
              </a:cxn>
              <a:cxn ang="0">
                <a:pos x="connsiteX20325" y="connsiteY20325"/>
              </a:cxn>
              <a:cxn ang="0">
                <a:pos x="connsiteX20326" y="connsiteY20326"/>
              </a:cxn>
              <a:cxn ang="0">
                <a:pos x="connsiteX20327" y="connsiteY20327"/>
              </a:cxn>
              <a:cxn ang="0">
                <a:pos x="connsiteX20328" y="connsiteY20328"/>
              </a:cxn>
              <a:cxn ang="0">
                <a:pos x="connsiteX20329" y="connsiteY20329"/>
              </a:cxn>
              <a:cxn ang="0">
                <a:pos x="connsiteX20330" y="connsiteY20330"/>
              </a:cxn>
              <a:cxn ang="0">
                <a:pos x="connsiteX20331" y="connsiteY20331"/>
              </a:cxn>
              <a:cxn ang="0">
                <a:pos x="connsiteX20332" y="connsiteY20332"/>
              </a:cxn>
              <a:cxn ang="0">
                <a:pos x="connsiteX20333" y="connsiteY20333"/>
              </a:cxn>
              <a:cxn ang="0">
                <a:pos x="connsiteX20334" y="connsiteY20334"/>
              </a:cxn>
              <a:cxn ang="0">
                <a:pos x="connsiteX20335" y="connsiteY20335"/>
              </a:cxn>
              <a:cxn ang="0">
                <a:pos x="connsiteX20336" y="connsiteY20336"/>
              </a:cxn>
              <a:cxn ang="0">
                <a:pos x="connsiteX20337" y="connsiteY20337"/>
              </a:cxn>
              <a:cxn ang="0">
                <a:pos x="connsiteX20338" y="connsiteY20338"/>
              </a:cxn>
              <a:cxn ang="0">
                <a:pos x="connsiteX20339" y="connsiteY20339"/>
              </a:cxn>
              <a:cxn ang="0">
                <a:pos x="connsiteX20340" y="connsiteY20340"/>
              </a:cxn>
              <a:cxn ang="0">
                <a:pos x="connsiteX20341" y="connsiteY20341"/>
              </a:cxn>
              <a:cxn ang="0">
                <a:pos x="connsiteX20342" y="connsiteY20342"/>
              </a:cxn>
              <a:cxn ang="0">
                <a:pos x="connsiteX20343" y="connsiteY20343"/>
              </a:cxn>
              <a:cxn ang="0">
                <a:pos x="connsiteX20344" y="connsiteY20344"/>
              </a:cxn>
              <a:cxn ang="0">
                <a:pos x="connsiteX20345" y="connsiteY20345"/>
              </a:cxn>
              <a:cxn ang="0">
                <a:pos x="connsiteX20346" y="connsiteY20346"/>
              </a:cxn>
              <a:cxn ang="0">
                <a:pos x="connsiteX20347" y="connsiteY20347"/>
              </a:cxn>
              <a:cxn ang="0">
                <a:pos x="connsiteX20348" y="connsiteY20348"/>
              </a:cxn>
              <a:cxn ang="0">
                <a:pos x="connsiteX20349" y="connsiteY20349"/>
              </a:cxn>
              <a:cxn ang="0">
                <a:pos x="connsiteX20350" y="connsiteY20350"/>
              </a:cxn>
              <a:cxn ang="0">
                <a:pos x="connsiteX20351" y="connsiteY20351"/>
              </a:cxn>
              <a:cxn ang="0">
                <a:pos x="connsiteX20352" y="connsiteY20352"/>
              </a:cxn>
              <a:cxn ang="0">
                <a:pos x="connsiteX20353" y="connsiteY20353"/>
              </a:cxn>
              <a:cxn ang="0">
                <a:pos x="connsiteX20354" y="connsiteY20354"/>
              </a:cxn>
              <a:cxn ang="0">
                <a:pos x="connsiteX20355" y="connsiteY20355"/>
              </a:cxn>
              <a:cxn ang="0">
                <a:pos x="connsiteX20356" y="connsiteY20356"/>
              </a:cxn>
              <a:cxn ang="0">
                <a:pos x="connsiteX20357" y="connsiteY20357"/>
              </a:cxn>
              <a:cxn ang="0">
                <a:pos x="connsiteX20358" y="connsiteY20358"/>
              </a:cxn>
              <a:cxn ang="0">
                <a:pos x="connsiteX20359" y="connsiteY20359"/>
              </a:cxn>
              <a:cxn ang="0">
                <a:pos x="connsiteX20360" y="connsiteY20360"/>
              </a:cxn>
              <a:cxn ang="0">
                <a:pos x="connsiteX20361" y="connsiteY20361"/>
              </a:cxn>
              <a:cxn ang="0">
                <a:pos x="connsiteX20362" y="connsiteY20362"/>
              </a:cxn>
              <a:cxn ang="0">
                <a:pos x="connsiteX20363" y="connsiteY20363"/>
              </a:cxn>
              <a:cxn ang="0">
                <a:pos x="connsiteX20364" y="connsiteY20364"/>
              </a:cxn>
              <a:cxn ang="0">
                <a:pos x="connsiteX20365" y="connsiteY20365"/>
              </a:cxn>
              <a:cxn ang="0">
                <a:pos x="connsiteX20366" y="connsiteY20366"/>
              </a:cxn>
              <a:cxn ang="0">
                <a:pos x="connsiteX20367" y="connsiteY20367"/>
              </a:cxn>
              <a:cxn ang="0">
                <a:pos x="connsiteX20368" y="connsiteY20368"/>
              </a:cxn>
              <a:cxn ang="0">
                <a:pos x="connsiteX20369" y="connsiteY20369"/>
              </a:cxn>
              <a:cxn ang="0">
                <a:pos x="connsiteX20370" y="connsiteY20370"/>
              </a:cxn>
              <a:cxn ang="0">
                <a:pos x="connsiteX20371" y="connsiteY20371"/>
              </a:cxn>
              <a:cxn ang="0">
                <a:pos x="connsiteX20372" y="connsiteY20372"/>
              </a:cxn>
              <a:cxn ang="0">
                <a:pos x="connsiteX20373" y="connsiteY20373"/>
              </a:cxn>
              <a:cxn ang="0">
                <a:pos x="connsiteX20374" y="connsiteY20374"/>
              </a:cxn>
              <a:cxn ang="0">
                <a:pos x="connsiteX20375" y="connsiteY20375"/>
              </a:cxn>
              <a:cxn ang="0">
                <a:pos x="connsiteX20376" y="connsiteY20376"/>
              </a:cxn>
              <a:cxn ang="0">
                <a:pos x="connsiteX20377" y="connsiteY20377"/>
              </a:cxn>
              <a:cxn ang="0">
                <a:pos x="connsiteX20378" y="connsiteY20378"/>
              </a:cxn>
              <a:cxn ang="0">
                <a:pos x="connsiteX20379" y="connsiteY20379"/>
              </a:cxn>
              <a:cxn ang="0">
                <a:pos x="connsiteX20380" y="connsiteY20380"/>
              </a:cxn>
              <a:cxn ang="0">
                <a:pos x="connsiteX20381" y="connsiteY20381"/>
              </a:cxn>
              <a:cxn ang="0">
                <a:pos x="connsiteX20382" y="connsiteY20382"/>
              </a:cxn>
              <a:cxn ang="0">
                <a:pos x="connsiteX20383" y="connsiteY20383"/>
              </a:cxn>
              <a:cxn ang="0">
                <a:pos x="connsiteX20384" y="connsiteY20384"/>
              </a:cxn>
              <a:cxn ang="0">
                <a:pos x="connsiteX20385" y="connsiteY20385"/>
              </a:cxn>
              <a:cxn ang="0">
                <a:pos x="connsiteX20386" y="connsiteY20386"/>
              </a:cxn>
              <a:cxn ang="0">
                <a:pos x="connsiteX20387" y="connsiteY20387"/>
              </a:cxn>
              <a:cxn ang="0">
                <a:pos x="connsiteX20388" y="connsiteY20388"/>
              </a:cxn>
              <a:cxn ang="0">
                <a:pos x="connsiteX20389" y="connsiteY20389"/>
              </a:cxn>
              <a:cxn ang="0">
                <a:pos x="connsiteX20390" y="connsiteY20390"/>
              </a:cxn>
              <a:cxn ang="0">
                <a:pos x="connsiteX20391" y="connsiteY20391"/>
              </a:cxn>
              <a:cxn ang="0">
                <a:pos x="connsiteX20392" y="connsiteY20392"/>
              </a:cxn>
              <a:cxn ang="0">
                <a:pos x="connsiteX20393" y="connsiteY20393"/>
              </a:cxn>
              <a:cxn ang="0">
                <a:pos x="connsiteX20394" y="connsiteY20394"/>
              </a:cxn>
              <a:cxn ang="0">
                <a:pos x="connsiteX20395" y="connsiteY20395"/>
              </a:cxn>
              <a:cxn ang="0">
                <a:pos x="connsiteX20396" y="connsiteY20396"/>
              </a:cxn>
              <a:cxn ang="0">
                <a:pos x="connsiteX20397" y="connsiteY20397"/>
              </a:cxn>
              <a:cxn ang="0">
                <a:pos x="connsiteX20398" y="connsiteY20398"/>
              </a:cxn>
              <a:cxn ang="0">
                <a:pos x="connsiteX20399" y="connsiteY20399"/>
              </a:cxn>
              <a:cxn ang="0">
                <a:pos x="connsiteX20400" y="connsiteY20400"/>
              </a:cxn>
              <a:cxn ang="0">
                <a:pos x="connsiteX20401" y="connsiteY20401"/>
              </a:cxn>
              <a:cxn ang="0">
                <a:pos x="connsiteX20402" y="connsiteY20402"/>
              </a:cxn>
              <a:cxn ang="0">
                <a:pos x="connsiteX20403" y="connsiteY20403"/>
              </a:cxn>
              <a:cxn ang="0">
                <a:pos x="connsiteX20404" y="connsiteY20404"/>
              </a:cxn>
              <a:cxn ang="0">
                <a:pos x="connsiteX20405" y="connsiteY20405"/>
              </a:cxn>
              <a:cxn ang="0">
                <a:pos x="connsiteX20406" y="connsiteY20406"/>
              </a:cxn>
              <a:cxn ang="0">
                <a:pos x="connsiteX20407" y="connsiteY20407"/>
              </a:cxn>
              <a:cxn ang="0">
                <a:pos x="connsiteX20408" y="connsiteY20408"/>
              </a:cxn>
              <a:cxn ang="0">
                <a:pos x="connsiteX20409" y="connsiteY20409"/>
              </a:cxn>
              <a:cxn ang="0">
                <a:pos x="connsiteX20410" y="connsiteY20410"/>
              </a:cxn>
              <a:cxn ang="0">
                <a:pos x="connsiteX20411" y="connsiteY20411"/>
              </a:cxn>
              <a:cxn ang="0">
                <a:pos x="connsiteX20412" y="connsiteY20412"/>
              </a:cxn>
              <a:cxn ang="0">
                <a:pos x="connsiteX20413" y="connsiteY20413"/>
              </a:cxn>
              <a:cxn ang="0">
                <a:pos x="connsiteX20414" y="connsiteY20414"/>
              </a:cxn>
              <a:cxn ang="0">
                <a:pos x="connsiteX20415" y="connsiteY20415"/>
              </a:cxn>
              <a:cxn ang="0">
                <a:pos x="connsiteX20416" y="connsiteY20416"/>
              </a:cxn>
              <a:cxn ang="0">
                <a:pos x="connsiteX20417" y="connsiteY20417"/>
              </a:cxn>
              <a:cxn ang="0">
                <a:pos x="connsiteX20418" y="connsiteY20418"/>
              </a:cxn>
              <a:cxn ang="0">
                <a:pos x="connsiteX20419" y="connsiteY20419"/>
              </a:cxn>
              <a:cxn ang="0">
                <a:pos x="connsiteX20420" y="connsiteY20420"/>
              </a:cxn>
              <a:cxn ang="0">
                <a:pos x="connsiteX20421" y="connsiteY20421"/>
              </a:cxn>
              <a:cxn ang="0">
                <a:pos x="connsiteX20422" y="connsiteY20422"/>
              </a:cxn>
              <a:cxn ang="0">
                <a:pos x="connsiteX20423" y="connsiteY20423"/>
              </a:cxn>
              <a:cxn ang="0">
                <a:pos x="connsiteX20424" y="connsiteY20424"/>
              </a:cxn>
              <a:cxn ang="0">
                <a:pos x="connsiteX20425" y="connsiteY20425"/>
              </a:cxn>
              <a:cxn ang="0">
                <a:pos x="connsiteX20426" y="connsiteY20426"/>
              </a:cxn>
              <a:cxn ang="0">
                <a:pos x="connsiteX20427" y="connsiteY20427"/>
              </a:cxn>
              <a:cxn ang="0">
                <a:pos x="connsiteX20428" y="connsiteY20428"/>
              </a:cxn>
              <a:cxn ang="0">
                <a:pos x="connsiteX20429" y="connsiteY20429"/>
              </a:cxn>
              <a:cxn ang="0">
                <a:pos x="connsiteX20430" y="connsiteY20430"/>
              </a:cxn>
              <a:cxn ang="0">
                <a:pos x="connsiteX20431" y="connsiteY20431"/>
              </a:cxn>
              <a:cxn ang="0">
                <a:pos x="connsiteX20432" y="connsiteY20432"/>
              </a:cxn>
              <a:cxn ang="0">
                <a:pos x="connsiteX20433" y="connsiteY20433"/>
              </a:cxn>
              <a:cxn ang="0">
                <a:pos x="connsiteX20434" y="connsiteY20434"/>
              </a:cxn>
              <a:cxn ang="0">
                <a:pos x="connsiteX20435" y="connsiteY20435"/>
              </a:cxn>
              <a:cxn ang="0">
                <a:pos x="connsiteX20436" y="connsiteY20436"/>
              </a:cxn>
              <a:cxn ang="0">
                <a:pos x="connsiteX20437" y="connsiteY20437"/>
              </a:cxn>
              <a:cxn ang="0">
                <a:pos x="connsiteX20438" y="connsiteY20438"/>
              </a:cxn>
              <a:cxn ang="0">
                <a:pos x="connsiteX20439" y="connsiteY20439"/>
              </a:cxn>
              <a:cxn ang="0">
                <a:pos x="connsiteX20440" y="connsiteY20440"/>
              </a:cxn>
              <a:cxn ang="0">
                <a:pos x="connsiteX20441" y="connsiteY20441"/>
              </a:cxn>
              <a:cxn ang="0">
                <a:pos x="connsiteX20442" y="connsiteY20442"/>
              </a:cxn>
              <a:cxn ang="0">
                <a:pos x="connsiteX20443" y="connsiteY20443"/>
              </a:cxn>
              <a:cxn ang="0">
                <a:pos x="connsiteX20444" y="connsiteY20444"/>
              </a:cxn>
              <a:cxn ang="0">
                <a:pos x="connsiteX20445" y="connsiteY20445"/>
              </a:cxn>
              <a:cxn ang="0">
                <a:pos x="connsiteX20446" y="connsiteY20446"/>
              </a:cxn>
              <a:cxn ang="0">
                <a:pos x="connsiteX20447" y="connsiteY20447"/>
              </a:cxn>
              <a:cxn ang="0">
                <a:pos x="connsiteX20448" y="connsiteY20448"/>
              </a:cxn>
              <a:cxn ang="0">
                <a:pos x="connsiteX20449" y="connsiteY20449"/>
              </a:cxn>
              <a:cxn ang="0">
                <a:pos x="connsiteX20450" y="connsiteY20450"/>
              </a:cxn>
              <a:cxn ang="0">
                <a:pos x="connsiteX20451" y="connsiteY20451"/>
              </a:cxn>
              <a:cxn ang="0">
                <a:pos x="connsiteX20452" y="connsiteY20452"/>
              </a:cxn>
              <a:cxn ang="0">
                <a:pos x="connsiteX20453" y="connsiteY20453"/>
              </a:cxn>
              <a:cxn ang="0">
                <a:pos x="connsiteX20454" y="connsiteY20454"/>
              </a:cxn>
              <a:cxn ang="0">
                <a:pos x="connsiteX20455" y="connsiteY20455"/>
              </a:cxn>
              <a:cxn ang="0">
                <a:pos x="connsiteX20456" y="connsiteY20456"/>
              </a:cxn>
              <a:cxn ang="0">
                <a:pos x="connsiteX20457" y="connsiteY20457"/>
              </a:cxn>
              <a:cxn ang="0">
                <a:pos x="connsiteX20458" y="connsiteY20458"/>
              </a:cxn>
              <a:cxn ang="0">
                <a:pos x="connsiteX20459" y="connsiteY20459"/>
              </a:cxn>
              <a:cxn ang="0">
                <a:pos x="connsiteX20460" y="connsiteY20460"/>
              </a:cxn>
              <a:cxn ang="0">
                <a:pos x="connsiteX20461" y="connsiteY20461"/>
              </a:cxn>
              <a:cxn ang="0">
                <a:pos x="connsiteX20462" y="connsiteY20462"/>
              </a:cxn>
              <a:cxn ang="0">
                <a:pos x="connsiteX20463" y="connsiteY20463"/>
              </a:cxn>
              <a:cxn ang="0">
                <a:pos x="connsiteX20464" y="connsiteY20464"/>
              </a:cxn>
              <a:cxn ang="0">
                <a:pos x="connsiteX20465" y="connsiteY20465"/>
              </a:cxn>
              <a:cxn ang="0">
                <a:pos x="connsiteX20466" y="connsiteY20466"/>
              </a:cxn>
              <a:cxn ang="0">
                <a:pos x="connsiteX20467" y="connsiteY20467"/>
              </a:cxn>
              <a:cxn ang="0">
                <a:pos x="connsiteX20468" y="connsiteY20468"/>
              </a:cxn>
              <a:cxn ang="0">
                <a:pos x="connsiteX20469" y="connsiteY20469"/>
              </a:cxn>
              <a:cxn ang="0">
                <a:pos x="connsiteX20470" y="connsiteY20470"/>
              </a:cxn>
              <a:cxn ang="0">
                <a:pos x="connsiteX20471" y="connsiteY20471"/>
              </a:cxn>
              <a:cxn ang="0">
                <a:pos x="connsiteX20472" y="connsiteY20472"/>
              </a:cxn>
              <a:cxn ang="0">
                <a:pos x="connsiteX20473" y="connsiteY20473"/>
              </a:cxn>
              <a:cxn ang="0">
                <a:pos x="connsiteX20474" y="connsiteY20474"/>
              </a:cxn>
              <a:cxn ang="0">
                <a:pos x="connsiteX20475" y="connsiteY20475"/>
              </a:cxn>
              <a:cxn ang="0">
                <a:pos x="connsiteX20476" y="connsiteY20476"/>
              </a:cxn>
              <a:cxn ang="0">
                <a:pos x="connsiteX20477" y="connsiteY20477"/>
              </a:cxn>
              <a:cxn ang="0">
                <a:pos x="connsiteX20478" y="connsiteY20478"/>
              </a:cxn>
              <a:cxn ang="0">
                <a:pos x="connsiteX20479" y="connsiteY20479"/>
              </a:cxn>
              <a:cxn ang="0">
                <a:pos x="connsiteX20480" y="connsiteY20480"/>
              </a:cxn>
              <a:cxn ang="0">
                <a:pos x="connsiteX20481" y="connsiteY20481"/>
              </a:cxn>
              <a:cxn ang="0">
                <a:pos x="connsiteX20482" y="connsiteY20482"/>
              </a:cxn>
              <a:cxn ang="0">
                <a:pos x="connsiteX20483" y="connsiteY20483"/>
              </a:cxn>
              <a:cxn ang="0">
                <a:pos x="connsiteX20484" y="connsiteY20484"/>
              </a:cxn>
              <a:cxn ang="0">
                <a:pos x="connsiteX20485" y="connsiteY20485"/>
              </a:cxn>
              <a:cxn ang="0">
                <a:pos x="connsiteX20486" y="connsiteY20486"/>
              </a:cxn>
              <a:cxn ang="0">
                <a:pos x="connsiteX20487" y="connsiteY20487"/>
              </a:cxn>
              <a:cxn ang="0">
                <a:pos x="connsiteX20488" y="connsiteY20488"/>
              </a:cxn>
              <a:cxn ang="0">
                <a:pos x="connsiteX20489" y="connsiteY20489"/>
              </a:cxn>
              <a:cxn ang="0">
                <a:pos x="connsiteX20490" y="connsiteY20490"/>
              </a:cxn>
              <a:cxn ang="0">
                <a:pos x="connsiteX20491" y="connsiteY20491"/>
              </a:cxn>
              <a:cxn ang="0">
                <a:pos x="connsiteX20492" y="connsiteY20492"/>
              </a:cxn>
              <a:cxn ang="0">
                <a:pos x="connsiteX20493" y="connsiteY20493"/>
              </a:cxn>
              <a:cxn ang="0">
                <a:pos x="connsiteX20494" y="connsiteY20494"/>
              </a:cxn>
              <a:cxn ang="0">
                <a:pos x="connsiteX20495" y="connsiteY20495"/>
              </a:cxn>
              <a:cxn ang="0">
                <a:pos x="connsiteX20496" y="connsiteY20496"/>
              </a:cxn>
              <a:cxn ang="0">
                <a:pos x="connsiteX20497" y="connsiteY20497"/>
              </a:cxn>
              <a:cxn ang="0">
                <a:pos x="connsiteX20498" y="connsiteY20498"/>
              </a:cxn>
              <a:cxn ang="0">
                <a:pos x="connsiteX20499" y="connsiteY20499"/>
              </a:cxn>
              <a:cxn ang="0">
                <a:pos x="connsiteX20500" y="connsiteY20500"/>
              </a:cxn>
              <a:cxn ang="0">
                <a:pos x="connsiteX20501" y="connsiteY20501"/>
              </a:cxn>
              <a:cxn ang="0">
                <a:pos x="connsiteX20502" y="connsiteY20502"/>
              </a:cxn>
              <a:cxn ang="0">
                <a:pos x="connsiteX20503" y="connsiteY20503"/>
              </a:cxn>
              <a:cxn ang="0">
                <a:pos x="connsiteX20504" y="connsiteY20504"/>
              </a:cxn>
              <a:cxn ang="0">
                <a:pos x="connsiteX20505" y="connsiteY20505"/>
              </a:cxn>
              <a:cxn ang="0">
                <a:pos x="connsiteX20506" y="connsiteY20506"/>
              </a:cxn>
              <a:cxn ang="0">
                <a:pos x="connsiteX20507" y="connsiteY20507"/>
              </a:cxn>
              <a:cxn ang="0">
                <a:pos x="connsiteX20508" y="connsiteY20508"/>
              </a:cxn>
              <a:cxn ang="0">
                <a:pos x="connsiteX20509" y="connsiteY20509"/>
              </a:cxn>
              <a:cxn ang="0">
                <a:pos x="connsiteX20510" y="connsiteY20510"/>
              </a:cxn>
              <a:cxn ang="0">
                <a:pos x="connsiteX20511" y="connsiteY20511"/>
              </a:cxn>
              <a:cxn ang="0">
                <a:pos x="connsiteX20512" y="connsiteY20512"/>
              </a:cxn>
              <a:cxn ang="0">
                <a:pos x="connsiteX20513" y="connsiteY20513"/>
              </a:cxn>
              <a:cxn ang="0">
                <a:pos x="connsiteX20514" y="connsiteY20514"/>
              </a:cxn>
              <a:cxn ang="0">
                <a:pos x="connsiteX20515" y="connsiteY20515"/>
              </a:cxn>
              <a:cxn ang="0">
                <a:pos x="connsiteX20516" y="connsiteY20516"/>
              </a:cxn>
              <a:cxn ang="0">
                <a:pos x="connsiteX20517" y="connsiteY20517"/>
              </a:cxn>
              <a:cxn ang="0">
                <a:pos x="connsiteX20518" y="connsiteY20518"/>
              </a:cxn>
              <a:cxn ang="0">
                <a:pos x="connsiteX20519" y="connsiteY20519"/>
              </a:cxn>
              <a:cxn ang="0">
                <a:pos x="connsiteX20520" y="connsiteY20520"/>
              </a:cxn>
              <a:cxn ang="0">
                <a:pos x="connsiteX20521" y="connsiteY20521"/>
              </a:cxn>
              <a:cxn ang="0">
                <a:pos x="connsiteX20522" y="connsiteY20522"/>
              </a:cxn>
              <a:cxn ang="0">
                <a:pos x="connsiteX20523" y="connsiteY20523"/>
              </a:cxn>
              <a:cxn ang="0">
                <a:pos x="connsiteX20524" y="connsiteY20524"/>
              </a:cxn>
              <a:cxn ang="0">
                <a:pos x="connsiteX20525" y="connsiteY20525"/>
              </a:cxn>
              <a:cxn ang="0">
                <a:pos x="connsiteX20526" y="connsiteY20526"/>
              </a:cxn>
              <a:cxn ang="0">
                <a:pos x="connsiteX20527" y="connsiteY20527"/>
              </a:cxn>
              <a:cxn ang="0">
                <a:pos x="connsiteX20528" y="connsiteY20528"/>
              </a:cxn>
              <a:cxn ang="0">
                <a:pos x="connsiteX20529" y="connsiteY20529"/>
              </a:cxn>
              <a:cxn ang="0">
                <a:pos x="connsiteX20530" y="connsiteY20530"/>
              </a:cxn>
              <a:cxn ang="0">
                <a:pos x="connsiteX20531" y="connsiteY20531"/>
              </a:cxn>
              <a:cxn ang="0">
                <a:pos x="connsiteX20532" y="connsiteY20532"/>
              </a:cxn>
              <a:cxn ang="0">
                <a:pos x="connsiteX20533" y="connsiteY20533"/>
              </a:cxn>
              <a:cxn ang="0">
                <a:pos x="connsiteX20534" y="connsiteY20534"/>
              </a:cxn>
              <a:cxn ang="0">
                <a:pos x="connsiteX20535" y="connsiteY20535"/>
              </a:cxn>
              <a:cxn ang="0">
                <a:pos x="connsiteX20536" y="connsiteY20536"/>
              </a:cxn>
              <a:cxn ang="0">
                <a:pos x="connsiteX20537" y="connsiteY20537"/>
              </a:cxn>
              <a:cxn ang="0">
                <a:pos x="connsiteX20538" y="connsiteY20538"/>
              </a:cxn>
              <a:cxn ang="0">
                <a:pos x="connsiteX20539" y="connsiteY20539"/>
              </a:cxn>
              <a:cxn ang="0">
                <a:pos x="connsiteX20540" y="connsiteY20540"/>
              </a:cxn>
              <a:cxn ang="0">
                <a:pos x="connsiteX20541" y="connsiteY20541"/>
              </a:cxn>
              <a:cxn ang="0">
                <a:pos x="connsiteX20542" y="connsiteY20542"/>
              </a:cxn>
              <a:cxn ang="0">
                <a:pos x="connsiteX20543" y="connsiteY20543"/>
              </a:cxn>
              <a:cxn ang="0">
                <a:pos x="connsiteX20544" y="connsiteY20544"/>
              </a:cxn>
              <a:cxn ang="0">
                <a:pos x="connsiteX20545" y="connsiteY20545"/>
              </a:cxn>
              <a:cxn ang="0">
                <a:pos x="connsiteX20546" y="connsiteY20546"/>
              </a:cxn>
              <a:cxn ang="0">
                <a:pos x="connsiteX20547" y="connsiteY20547"/>
              </a:cxn>
              <a:cxn ang="0">
                <a:pos x="connsiteX20548" y="connsiteY20548"/>
              </a:cxn>
              <a:cxn ang="0">
                <a:pos x="connsiteX20549" y="connsiteY20549"/>
              </a:cxn>
              <a:cxn ang="0">
                <a:pos x="connsiteX20550" y="connsiteY20550"/>
              </a:cxn>
              <a:cxn ang="0">
                <a:pos x="connsiteX20551" y="connsiteY20551"/>
              </a:cxn>
              <a:cxn ang="0">
                <a:pos x="connsiteX20552" y="connsiteY20552"/>
              </a:cxn>
              <a:cxn ang="0">
                <a:pos x="connsiteX20553" y="connsiteY20553"/>
              </a:cxn>
              <a:cxn ang="0">
                <a:pos x="connsiteX20554" y="connsiteY20554"/>
              </a:cxn>
              <a:cxn ang="0">
                <a:pos x="connsiteX20555" y="connsiteY20555"/>
              </a:cxn>
              <a:cxn ang="0">
                <a:pos x="connsiteX20556" y="connsiteY20556"/>
              </a:cxn>
              <a:cxn ang="0">
                <a:pos x="connsiteX20557" y="connsiteY20557"/>
              </a:cxn>
              <a:cxn ang="0">
                <a:pos x="connsiteX20558" y="connsiteY20558"/>
              </a:cxn>
              <a:cxn ang="0">
                <a:pos x="connsiteX20559" y="connsiteY20559"/>
              </a:cxn>
              <a:cxn ang="0">
                <a:pos x="connsiteX20560" y="connsiteY20560"/>
              </a:cxn>
              <a:cxn ang="0">
                <a:pos x="connsiteX20561" y="connsiteY20561"/>
              </a:cxn>
              <a:cxn ang="0">
                <a:pos x="connsiteX20562" y="connsiteY20562"/>
              </a:cxn>
              <a:cxn ang="0">
                <a:pos x="connsiteX20563" y="connsiteY20563"/>
              </a:cxn>
              <a:cxn ang="0">
                <a:pos x="connsiteX20564" y="connsiteY20564"/>
              </a:cxn>
              <a:cxn ang="0">
                <a:pos x="connsiteX20565" y="connsiteY20565"/>
              </a:cxn>
              <a:cxn ang="0">
                <a:pos x="connsiteX20566" y="connsiteY20566"/>
              </a:cxn>
              <a:cxn ang="0">
                <a:pos x="connsiteX20567" y="connsiteY20567"/>
              </a:cxn>
              <a:cxn ang="0">
                <a:pos x="connsiteX20568" y="connsiteY20568"/>
              </a:cxn>
              <a:cxn ang="0">
                <a:pos x="connsiteX20569" y="connsiteY20569"/>
              </a:cxn>
              <a:cxn ang="0">
                <a:pos x="connsiteX20570" y="connsiteY20570"/>
              </a:cxn>
              <a:cxn ang="0">
                <a:pos x="connsiteX20571" y="connsiteY20571"/>
              </a:cxn>
              <a:cxn ang="0">
                <a:pos x="connsiteX20572" y="connsiteY20572"/>
              </a:cxn>
              <a:cxn ang="0">
                <a:pos x="connsiteX20573" y="connsiteY20573"/>
              </a:cxn>
              <a:cxn ang="0">
                <a:pos x="connsiteX20574" y="connsiteY20574"/>
              </a:cxn>
              <a:cxn ang="0">
                <a:pos x="connsiteX20575" y="connsiteY20575"/>
              </a:cxn>
              <a:cxn ang="0">
                <a:pos x="connsiteX20576" y="connsiteY20576"/>
              </a:cxn>
              <a:cxn ang="0">
                <a:pos x="connsiteX20577" y="connsiteY20577"/>
              </a:cxn>
              <a:cxn ang="0">
                <a:pos x="connsiteX20578" y="connsiteY20578"/>
              </a:cxn>
              <a:cxn ang="0">
                <a:pos x="connsiteX20579" y="connsiteY20579"/>
              </a:cxn>
              <a:cxn ang="0">
                <a:pos x="connsiteX20580" y="connsiteY20580"/>
              </a:cxn>
              <a:cxn ang="0">
                <a:pos x="connsiteX20581" y="connsiteY20581"/>
              </a:cxn>
              <a:cxn ang="0">
                <a:pos x="connsiteX20582" y="connsiteY20582"/>
              </a:cxn>
              <a:cxn ang="0">
                <a:pos x="connsiteX20583" y="connsiteY20583"/>
              </a:cxn>
              <a:cxn ang="0">
                <a:pos x="connsiteX20584" y="connsiteY20584"/>
              </a:cxn>
              <a:cxn ang="0">
                <a:pos x="connsiteX20585" y="connsiteY20585"/>
              </a:cxn>
              <a:cxn ang="0">
                <a:pos x="connsiteX20586" y="connsiteY20586"/>
              </a:cxn>
              <a:cxn ang="0">
                <a:pos x="connsiteX20587" y="connsiteY20587"/>
              </a:cxn>
              <a:cxn ang="0">
                <a:pos x="connsiteX20588" y="connsiteY20588"/>
              </a:cxn>
              <a:cxn ang="0">
                <a:pos x="connsiteX20589" y="connsiteY20589"/>
              </a:cxn>
              <a:cxn ang="0">
                <a:pos x="connsiteX20590" y="connsiteY20590"/>
              </a:cxn>
              <a:cxn ang="0">
                <a:pos x="connsiteX20591" y="connsiteY20591"/>
              </a:cxn>
              <a:cxn ang="0">
                <a:pos x="connsiteX20592" y="connsiteY20592"/>
              </a:cxn>
              <a:cxn ang="0">
                <a:pos x="connsiteX20593" y="connsiteY20593"/>
              </a:cxn>
              <a:cxn ang="0">
                <a:pos x="connsiteX20594" y="connsiteY20594"/>
              </a:cxn>
              <a:cxn ang="0">
                <a:pos x="connsiteX20595" y="connsiteY20595"/>
              </a:cxn>
              <a:cxn ang="0">
                <a:pos x="connsiteX20596" y="connsiteY20596"/>
              </a:cxn>
              <a:cxn ang="0">
                <a:pos x="connsiteX20597" y="connsiteY20597"/>
              </a:cxn>
              <a:cxn ang="0">
                <a:pos x="connsiteX20598" y="connsiteY20598"/>
              </a:cxn>
              <a:cxn ang="0">
                <a:pos x="connsiteX20599" y="connsiteY20599"/>
              </a:cxn>
              <a:cxn ang="0">
                <a:pos x="connsiteX20600" y="connsiteY20600"/>
              </a:cxn>
              <a:cxn ang="0">
                <a:pos x="connsiteX20601" y="connsiteY20601"/>
              </a:cxn>
              <a:cxn ang="0">
                <a:pos x="connsiteX20602" y="connsiteY20602"/>
              </a:cxn>
              <a:cxn ang="0">
                <a:pos x="connsiteX20603" y="connsiteY20603"/>
              </a:cxn>
              <a:cxn ang="0">
                <a:pos x="connsiteX20604" y="connsiteY20604"/>
              </a:cxn>
              <a:cxn ang="0">
                <a:pos x="connsiteX20605" y="connsiteY20605"/>
              </a:cxn>
              <a:cxn ang="0">
                <a:pos x="connsiteX20606" y="connsiteY20606"/>
              </a:cxn>
              <a:cxn ang="0">
                <a:pos x="connsiteX20607" y="connsiteY20607"/>
              </a:cxn>
              <a:cxn ang="0">
                <a:pos x="connsiteX20608" y="connsiteY20608"/>
              </a:cxn>
              <a:cxn ang="0">
                <a:pos x="connsiteX20609" y="connsiteY20609"/>
              </a:cxn>
              <a:cxn ang="0">
                <a:pos x="connsiteX20610" y="connsiteY20610"/>
              </a:cxn>
              <a:cxn ang="0">
                <a:pos x="connsiteX20611" y="connsiteY20611"/>
              </a:cxn>
              <a:cxn ang="0">
                <a:pos x="connsiteX20612" y="connsiteY20612"/>
              </a:cxn>
              <a:cxn ang="0">
                <a:pos x="connsiteX20613" y="connsiteY20613"/>
              </a:cxn>
              <a:cxn ang="0">
                <a:pos x="connsiteX20614" y="connsiteY20614"/>
              </a:cxn>
              <a:cxn ang="0">
                <a:pos x="connsiteX20615" y="connsiteY20615"/>
              </a:cxn>
              <a:cxn ang="0">
                <a:pos x="connsiteX20616" y="connsiteY20616"/>
              </a:cxn>
              <a:cxn ang="0">
                <a:pos x="connsiteX20617" y="connsiteY20617"/>
              </a:cxn>
              <a:cxn ang="0">
                <a:pos x="connsiteX20618" y="connsiteY20618"/>
              </a:cxn>
              <a:cxn ang="0">
                <a:pos x="connsiteX20619" y="connsiteY20619"/>
              </a:cxn>
              <a:cxn ang="0">
                <a:pos x="connsiteX20620" y="connsiteY20620"/>
              </a:cxn>
              <a:cxn ang="0">
                <a:pos x="connsiteX20621" y="connsiteY20621"/>
              </a:cxn>
              <a:cxn ang="0">
                <a:pos x="connsiteX20622" y="connsiteY20622"/>
              </a:cxn>
              <a:cxn ang="0">
                <a:pos x="connsiteX20623" y="connsiteY20623"/>
              </a:cxn>
              <a:cxn ang="0">
                <a:pos x="connsiteX20624" y="connsiteY20624"/>
              </a:cxn>
              <a:cxn ang="0">
                <a:pos x="connsiteX20625" y="connsiteY20625"/>
              </a:cxn>
              <a:cxn ang="0">
                <a:pos x="connsiteX20626" y="connsiteY20626"/>
              </a:cxn>
              <a:cxn ang="0">
                <a:pos x="connsiteX20627" y="connsiteY20627"/>
              </a:cxn>
              <a:cxn ang="0">
                <a:pos x="connsiteX20628" y="connsiteY20628"/>
              </a:cxn>
              <a:cxn ang="0">
                <a:pos x="connsiteX20629" y="connsiteY20629"/>
              </a:cxn>
              <a:cxn ang="0">
                <a:pos x="connsiteX20630" y="connsiteY20630"/>
              </a:cxn>
              <a:cxn ang="0">
                <a:pos x="connsiteX20631" y="connsiteY20631"/>
              </a:cxn>
              <a:cxn ang="0">
                <a:pos x="connsiteX20632" y="connsiteY20632"/>
              </a:cxn>
              <a:cxn ang="0">
                <a:pos x="connsiteX20633" y="connsiteY20633"/>
              </a:cxn>
              <a:cxn ang="0">
                <a:pos x="connsiteX20634" y="connsiteY20634"/>
              </a:cxn>
              <a:cxn ang="0">
                <a:pos x="connsiteX20635" y="connsiteY20635"/>
              </a:cxn>
              <a:cxn ang="0">
                <a:pos x="connsiteX20636" y="connsiteY20636"/>
              </a:cxn>
              <a:cxn ang="0">
                <a:pos x="connsiteX20637" y="connsiteY20637"/>
              </a:cxn>
              <a:cxn ang="0">
                <a:pos x="connsiteX20638" y="connsiteY20638"/>
              </a:cxn>
              <a:cxn ang="0">
                <a:pos x="connsiteX20639" y="connsiteY20639"/>
              </a:cxn>
              <a:cxn ang="0">
                <a:pos x="connsiteX20640" y="connsiteY20640"/>
              </a:cxn>
              <a:cxn ang="0">
                <a:pos x="connsiteX20641" y="connsiteY20641"/>
              </a:cxn>
              <a:cxn ang="0">
                <a:pos x="connsiteX20642" y="connsiteY20642"/>
              </a:cxn>
              <a:cxn ang="0">
                <a:pos x="connsiteX20643" y="connsiteY20643"/>
              </a:cxn>
              <a:cxn ang="0">
                <a:pos x="connsiteX20644" y="connsiteY20644"/>
              </a:cxn>
              <a:cxn ang="0">
                <a:pos x="connsiteX20645" y="connsiteY20645"/>
              </a:cxn>
              <a:cxn ang="0">
                <a:pos x="connsiteX20646" y="connsiteY20646"/>
              </a:cxn>
              <a:cxn ang="0">
                <a:pos x="connsiteX20647" y="connsiteY20647"/>
              </a:cxn>
              <a:cxn ang="0">
                <a:pos x="connsiteX20648" y="connsiteY20648"/>
              </a:cxn>
              <a:cxn ang="0">
                <a:pos x="connsiteX20649" y="connsiteY20649"/>
              </a:cxn>
              <a:cxn ang="0">
                <a:pos x="connsiteX20650" y="connsiteY20650"/>
              </a:cxn>
              <a:cxn ang="0">
                <a:pos x="connsiteX20651" y="connsiteY20651"/>
              </a:cxn>
              <a:cxn ang="0">
                <a:pos x="connsiteX20652" y="connsiteY20652"/>
              </a:cxn>
              <a:cxn ang="0">
                <a:pos x="connsiteX20653" y="connsiteY20653"/>
              </a:cxn>
              <a:cxn ang="0">
                <a:pos x="connsiteX20654" y="connsiteY20654"/>
              </a:cxn>
              <a:cxn ang="0">
                <a:pos x="connsiteX20655" y="connsiteY20655"/>
              </a:cxn>
              <a:cxn ang="0">
                <a:pos x="connsiteX20656" y="connsiteY20656"/>
              </a:cxn>
              <a:cxn ang="0">
                <a:pos x="connsiteX20657" y="connsiteY20657"/>
              </a:cxn>
              <a:cxn ang="0">
                <a:pos x="connsiteX20658" y="connsiteY20658"/>
              </a:cxn>
              <a:cxn ang="0">
                <a:pos x="connsiteX20659" y="connsiteY20659"/>
              </a:cxn>
              <a:cxn ang="0">
                <a:pos x="connsiteX20660" y="connsiteY20660"/>
              </a:cxn>
              <a:cxn ang="0">
                <a:pos x="connsiteX20661" y="connsiteY20661"/>
              </a:cxn>
              <a:cxn ang="0">
                <a:pos x="connsiteX20662" y="connsiteY20662"/>
              </a:cxn>
              <a:cxn ang="0">
                <a:pos x="connsiteX20663" y="connsiteY20663"/>
              </a:cxn>
              <a:cxn ang="0">
                <a:pos x="connsiteX20664" y="connsiteY20664"/>
              </a:cxn>
              <a:cxn ang="0">
                <a:pos x="connsiteX20665" y="connsiteY20665"/>
              </a:cxn>
              <a:cxn ang="0">
                <a:pos x="connsiteX20666" y="connsiteY20666"/>
              </a:cxn>
              <a:cxn ang="0">
                <a:pos x="connsiteX20667" y="connsiteY20667"/>
              </a:cxn>
              <a:cxn ang="0">
                <a:pos x="connsiteX20668" y="connsiteY20668"/>
              </a:cxn>
              <a:cxn ang="0">
                <a:pos x="connsiteX20669" y="connsiteY20669"/>
              </a:cxn>
              <a:cxn ang="0">
                <a:pos x="connsiteX20670" y="connsiteY20670"/>
              </a:cxn>
              <a:cxn ang="0">
                <a:pos x="connsiteX20671" y="connsiteY20671"/>
              </a:cxn>
              <a:cxn ang="0">
                <a:pos x="connsiteX20672" y="connsiteY20672"/>
              </a:cxn>
              <a:cxn ang="0">
                <a:pos x="connsiteX20673" y="connsiteY20673"/>
              </a:cxn>
              <a:cxn ang="0">
                <a:pos x="connsiteX20674" y="connsiteY20674"/>
              </a:cxn>
              <a:cxn ang="0">
                <a:pos x="connsiteX20675" y="connsiteY20675"/>
              </a:cxn>
              <a:cxn ang="0">
                <a:pos x="connsiteX20676" y="connsiteY20676"/>
              </a:cxn>
              <a:cxn ang="0">
                <a:pos x="connsiteX20677" y="connsiteY20677"/>
              </a:cxn>
              <a:cxn ang="0">
                <a:pos x="connsiteX20678" y="connsiteY20678"/>
              </a:cxn>
              <a:cxn ang="0">
                <a:pos x="connsiteX20679" y="connsiteY20679"/>
              </a:cxn>
              <a:cxn ang="0">
                <a:pos x="connsiteX20680" y="connsiteY20680"/>
              </a:cxn>
              <a:cxn ang="0">
                <a:pos x="connsiteX20681" y="connsiteY20681"/>
              </a:cxn>
              <a:cxn ang="0">
                <a:pos x="connsiteX20682" y="connsiteY20682"/>
              </a:cxn>
              <a:cxn ang="0">
                <a:pos x="connsiteX20683" y="connsiteY20683"/>
              </a:cxn>
              <a:cxn ang="0">
                <a:pos x="connsiteX20684" y="connsiteY20684"/>
              </a:cxn>
              <a:cxn ang="0">
                <a:pos x="connsiteX20685" y="connsiteY20685"/>
              </a:cxn>
              <a:cxn ang="0">
                <a:pos x="connsiteX20686" y="connsiteY20686"/>
              </a:cxn>
              <a:cxn ang="0">
                <a:pos x="connsiteX20687" y="connsiteY20687"/>
              </a:cxn>
              <a:cxn ang="0">
                <a:pos x="connsiteX20688" y="connsiteY20688"/>
              </a:cxn>
              <a:cxn ang="0">
                <a:pos x="connsiteX20689" y="connsiteY20689"/>
              </a:cxn>
              <a:cxn ang="0">
                <a:pos x="connsiteX20690" y="connsiteY20690"/>
              </a:cxn>
              <a:cxn ang="0">
                <a:pos x="connsiteX20691" y="connsiteY20691"/>
              </a:cxn>
              <a:cxn ang="0">
                <a:pos x="connsiteX20692" y="connsiteY20692"/>
              </a:cxn>
              <a:cxn ang="0">
                <a:pos x="connsiteX20693" y="connsiteY20693"/>
              </a:cxn>
              <a:cxn ang="0">
                <a:pos x="connsiteX20694" y="connsiteY20694"/>
              </a:cxn>
              <a:cxn ang="0">
                <a:pos x="connsiteX20695" y="connsiteY20695"/>
              </a:cxn>
              <a:cxn ang="0">
                <a:pos x="connsiteX20696" y="connsiteY20696"/>
              </a:cxn>
              <a:cxn ang="0">
                <a:pos x="connsiteX20697" y="connsiteY20697"/>
              </a:cxn>
              <a:cxn ang="0">
                <a:pos x="connsiteX20698" y="connsiteY20698"/>
              </a:cxn>
              <a:cxn ang="0">
                <a:pos x="connsiteX20699" y="connsiteY20699"/>
              </a:cxn>
              <a:cxn ang="0">
                <a:pos x="connsiteX20700" y="connsiteY20700"/>
              </a:cxn>
              <a:cxn ang="0">
                <a:pos x="connsiteX20701" y="connsiteY20701"/>
              </a:cxn>
              <a:cxn ang="0">
                <a:pos x="connsiteX20702" y="connsiteY20702"/>
              </a:cxn>
              <a:cxn ang="0">
                <a:pos x="connsiteX20703" y="connsiteY20703"/>
              </a:cxn>
              <a:cxn ang="0">
                <a:pos x="connsiteX20704" y="connsiteY20704"/>
              </a:cxn>
              <a:cxn ang="0">
                <a:pos x="connsiteX20705" y="connsiteY20705"/>
              </a:cxn>
              <a:cxn ang="0">
                <a:pos x="connsiteX20706" y="connsiteY20706"/>
              </a:cxn>
              <a:cxn ang="0">
                <a:pos x="connsiteX20707" y="connsiteY20707"/>
              </a:cxn>
              <a:cxn ang="0">
                <a:pos x="connsiteX20708" y="connsiteY20708"/>
              </a:cxn>
              <a:cxn ang="0">
                <a:pos x="connsiteX20709" y="connsiteY20709"/>
              </a:cxn>
              <a:cxn ang="0">
                <a:pos x="connsiteX20710" y="connsiteY20710"/>
              </a:cxn>
              <a:cxn ang="0">
                <a:pos x="connsiteX20711" y="connsiteY20711"/>
              </a:cxn>
              <a:cxn ang="0">
                <a:pos x="connsiteX20712" y="connsiteY20712"/>
              </a:cxn>
              <a:cxn ang="0">
                <a:pos x="connsiteX20713" y="connsiteY20713"/>
              </a:cxn>
              <a:cxn ang="0">
                <a:pos x="connsiteX20714" y="connsiteY20714"/>
              </a:cxn>
              <a:cxn ang="0">
                <a:pos x="connsiteX20715" y="connsiteY20715"/>
              </a:cxn>
              <a:cxn ang="0">
                <a:pos x="connsiteX20716" y="connsiteY20716"/>
              </a:cxn>
              <a:cxn ang="0">
                <a:pos x="connsiteX20717" y="connsiteY20717"/>
              </a:cxn>
              <a:cxn ang="0">
                <a:pos x="connsiteX20718" y="connsiteY20718"/>
              </a:cxn>
              <a:cxn ang="0">
                <a:pos x="connsiteX20719" y="connsiteY20719"/>
              </a:cxn>
              <a:cxn ang="0">
                <a:pos x="connsiteX20720" y="connsiteY20720"/>
              </a:cxn>
              <a:cxn ang="0">
                <a:pos x="connsiteX20721" y="connsiteY20721"/>
              </a:cxn>
              <a:cxn ang="0">
                <a:pos x="connsiteX20722" y="connsiteY20722"/>
              </a:cxn>
              <a:cxn ang="0">
                <a:pos x="connsiteX20723" y="connsiteY20723"/>
              </a:cxn>
              <a:cxn ang="0">
                <a:pos x="connsiteX20724" y="connsiteY20724"/>
              </a:cxn>
              <a:cxn ang="0">
                <a:pos x="connsiteX20725" y="connsiteY20725"/>
              </a:cxn>
              <a:cxn ang="0">
                <a:pos x="connsiteX20726" y="connsiteY20726"/>
              </a:cxn>
              <a:cxn ang="0">
                <a:pos x="connsiteX20727" y="connsiteY20727"/>
              </a:cxn>
              <a:cxn ang="0">
                <a:pos x="connsiteX20728" y="connsiteY20728"/>
              </a:cxn>
              <a:cxn ang="0">
                <a:pos x="connsiteX20729" y="connsiteY20729"/>
              </a:cxn>
              <a:cxn ang="0">
                <a:pos x="connsiteX20730" y="connsiteY20730"/>
              </a:cxn>
              <a:cxn ang="0">
                <a:pos x="connsiteX20731" y="connsiteY20731"/>
              </a:cxn>
              <a:cxn ang="0">
                <a:pos x="connsiteX20732" y="connsiteY20732"/>
              </a:cxn>
              <a:cxn ang="0">
                <a:pos x="connsiteX20733" y="connsiteY20733"/>
              </a:cxn>
              <a:cxn ang="0">
                <a:pos x="connsiteX20734" y="connsiteY20734"/>
              </a:cxn>
              <a:cxn ang="0">
                <a:pos x="connsiteX20735" y="connsiteY20735"/>
              </a:cxn>
              <a:cxn ang="0">
                <a:pos x="connsiteX20736" y="connsiteY20736"/>
              </a:cxn>
              <a:cxn ang="0">
                <a:pos x="connsiteX20737" y="connsiteY20737"/>
              </a:cxn>
              <a:cxn ang="0">
                <a:pos x="connsiteX20738" y="connsiteY20738"/>
              </a:cxn>
              <a:cxn ang="0">
                <a:pos x="connsiteX20739" y="connsiteY20739"/>
              </a:cxn>
              <a:cxn ang="0">
                <a:pos x="connsiteX20740" y="connsiteY20740"/>
              </a:cxn>
              <a:cxn ang="0">
                <a:pos x="connsiteX20741" y="connsiteY20741"/>
              </a:cxn>
              <a:cxn ang="0">
                <a:pos x="connsiteX20742" y="connsiteY20742"/>
              </a:cxn>
              <a:cxn ang="0">
                <a:pos x="connsiteX20743" y="connsiteY20743"/>
              </a:cxn>
              <a:cxn ang="0">
                <a:pos x="connsiteX20744" y="connsiteY20744"/>
              </a:cxn>
              <a:cxn ang="0">
                <a:pos x="connsiteX20745" y="connsiteY20745"/>
              </a:cxn>
              <a:cxn ang="0">
                <a:pos x="connsiteX20746" y="connsiteY20746"/>
              </a:cxn>
              <a:cxn ang="0">
                <a:pos x="connsiteX20747" y="connsiteY20747"/>
              </a:cxn>
              <a:cxn ang="0">
                <a:pos x="connsiteX20748" y="connsiteY20748"/>
              </a:cxn>
              <a:cxn ang="0">
                <a:pos x="connsiteX20749" y="connsiteY20749"/>
              </a:cxn>
              <a:cxn ang="0">
                <a:pos x="connsiteX20750" y="connsiteY20750"/>
              </a:cxn>
              <a:cxn ang="0">
                <a:pos x="connsiteX20751" y="connsiteY20751"/>
              </a:cxn>
              <a:cxn ang="0">
                <a:pos x="connsiteX20752" y="connsiteY20752"/>
              </a:cxn>
              <a:cxn ang="0">
                <a:pos x="connsiteX20753" y="connsiteY20753"/>
              </a:cxn>
              <a:cxn ang="0">
                <a:pos x="connsiteX20754" y="connsiteY20754"/>
              </a:cxn>
              <a:cxn ang="0">
                <a:pos x="connsiteX20755" y="connsiteY20755"/>
              </a:cxn>
              <a:cxn ang="0">
                <a:pos x="connsiteX20756" y="connsiteY20756"/>
              </a:cxn>
              <a:cxn ang="0">
                <a:pos x="connsiteX20757" y="connsiteY20757"/>
              </a:cxn>
              <a:cxn ang="0">
                <a:pos x="connsiteX20758" y="connsiteY20758"/>
              </a:cxn>
              <a:cxn ang="0">
                <a:pos x="connsiteX20759" y="connsiteY20759"/>
              </a:cxn>
              <a:cxn ang="0">
                <a:pos x="connsiteX20760" y="connsiteY20760"/>
              </a:cxn>
              <a:cxn ang="0">
                <a:pos x="connsiteX20761" y="connsiteY20761"/>
              </a:cxn>
              <a:cxn ang="0">
                <a:pos x="connsiteX20762" y="connsiteY20762"/>
              </a:cxn>
              <a:cxn ang="0">
                <a:pos x="connsiteX20763" y="connsiteY20763"/>
              </a:cxn>
              <a:cxn ang="0">
                <a:pos x="connsiteX20764" y="connsiteY20764"/>
              </a:cxn>
              <a:cxn ang="0">
                <a:pos x="connsiteX20765" y="connsiteY20765"/>
              </a:cxn>
              <a:cxn ang="0">
                <a:pos x="connsiteX20766" y="connsiteY20766"/>
              </a:cxn>
              <a:cxn ang="0">
                <a:pos x="connsiteX20767" y="connsiteY20767"/>
              </a:cxn>
              <a:cxn ang="0">
                <a:pos x="connsiteX20768" y="connsiteY20768"/>
              </a:cxn>
              <a:cxn ang="0">
                <a:pos x="connsiteX20769" y="connsiteY20769"/>
              </a:cxn>
              <a:cxn ang="0">
                <a:pos x="connsiteX20770" y="connsiteY20770"/>
              </a:cxn>
              <a:cxn ang="0">
                <a:pos x="connsiteX20771" y="connsiteY20771"/>
              </a:cxn>
              <a:cxn ang="0">
                <a:pos x="connsiteX20772" y="connsiteY20772"/>
              </a:cxn>
              <a:cxn ang="0">
                <a:pos x="connsiteX20773" y="connsiteY20773"/>
              </a:cxn>
              <a:cxn ang="0">
                <a:pos x="connsiteX20774" y="connsiteY20774"/>
              </a:cxn>
              <a:cxn ang="0">
                <a:pos x="connsiteX20775" y="connsiteY20775"/>
              </a:cxn>
              <a:cxn ang="0">
                <a:pos x="connsiteX20776" y="connsiteY20776"/>
              </a:cxn>
              <a:cxn ang="0">
                <a:pos x="connsiteX20777" y="connsiteY20777"/>
              </a:cxn>
              <a:cxn ang="0">
                <a:pos x="connsiteX20778" y="connsiteY20778"/>
              </a:cxn>
              <a:cxn ang="0">
                <a:pos x="connsiteX20779" y="connsiteY20779"/>
              </a:cxn>
              <a:cxn ang="0">
                <a:pos x="connsiteX20780" y="connsiteY20780"/>
              </a:cxn>
              <a:cxn ang="0">
                <a:pos x="connsiteX20781" y="connsiteY20781"/>
              </a:cxn>
              <a:cxn ang="0">
                <a:pos x="connsiteX20782" y="connsiteY20782"/>
              </a:cxn>
              <a:cxn ang="0">
                <a:pos x="connsiteX20783" y="connsiteY20783"/>
              </a:cxn>
              <a:cxn ang="0">
                <a:pos x="connsiteX20784" y="connsiteY20784"/>
              </a:cxn>
              <a:cxn ang="0">
                <a:pos x="connsiteX20785" y="connsiteY20785"/>
              </a:cxn>
              <a:cxn ang="0">
                <a:pos x="connsiteX20786" y="connsiteY20786"/>
              </a:cxn>
              <a:cxn ang="0">
                <a:pos x="connsiteX20787" y="connsiteY20787"/>
              </a:cxn>
              <a:cxn ang="0">
                <a:pos x="connsiteX20788" y="connsiteY20788"/>
              </a:cxn>
              <a:cxn ang="0">
                <a:pos x="connsiteX20789" y="connsiteY20789"/>
              </a:cxn>
              <a:cxn ang="0">
                <a:pos x="connsiteX20790" y="connsiteY20790"/>
              </a:cxn>
              <a:cxn ang="0">
                <a:pos x="connsiteX20791" y="connsiteY20791"/>
              </a:cxn>
              <a:cxn ang="0">
                <a:pos x="connsiteX20792" y="connsiteY20792"/>
              </a:cxn>
              <a:cxn ang="0">
                <a:pos x="connsiteX20793" y="connsiteY20793"/>
              </a:cxn>
              <a:cxn ang="0">
                <a:pos x="connsiteX20794" y="connsiteY20794"/>
              </a:cxn>
              <a:cxn ang="0">
                <a:pos x="connsiteX20795" y="connsiteY20795"/>
              </a:cxn>
              <a:cxn ang="0">
                <a:pos x="connsiteX20796" y="connsiteY20796"/>
              </a:cxn>
              <a:cxn ang="0">
                <a:pos x="connsiteX20797" y="connsiteY20797"/>
              </a:cxn>
              <a:cxn ang="0">
                <a:pos x="connsiteX20798" y="connsiteY20798"/>
              </a:cxn>
              <a:cxn ang="0">
                <a:pos x="connsiteX20799" y="connsiteY20799"/>
              </a:cxn>
              <a:cxn ang="0">
                <a:pos x="connsiteX20800" y="connsiteY20800"/>
              </a:cxn>
              <a:cxn ang="0">
                <a:pos x="connsiteX20801" y="connsiteY20801"/>
              </a:cxn>
              <a:cxn ang="0">
                <a:pos x="connsiteX20802" y="connsiteY20802"/>
              </a:cxn>
              <a:cxn ang="0">
                <a:pos x="connsiteX20803" y="connsiteY20803"/>
              </a:cxn>
              <a:cxn ang="0">
                <a:pos x="connsiteX20804" y="connsiteY20804"/>
              </a:cxn>
              <a:cxn ang="0">
                <a:pos x="connsiteX20805" y="connsiteY20805"/>
              </a:cxn>
              <a:cxn ang="0">
                <a:pos x="connsiteX20806" y="connsiteY20806"/>
              </a:cxn>
              <a:cxn ang="0">
                <a:pos x="connsiteX20807" y="connsiteY20807"/>
              </a:cxn>
              <a:cxn ang="0">
                <a:pos x="connsiteX20808" y="connsiteY20808"/>
              </a:cxn>
              <a:cxn ang="0">
                <a:pos x="connsiteX20809" y="connsiteY20809"/>
              </a:cxn>
              <a:cxn ang="0">
                <a:pos x="connsiteX20810" y="connsiteY20810"/>
              </a:cxn>
              <a:cxn ang="0">
                <a:pos x="connsiteX20811" y="connsiteY20811"/>
              </a:cxn>
              <a:cxn ang="0">
                <a:pos x="connsiteX20812" y="connsiteY20812"/>
              </a:cxn>
              <a:cxn ang="0">
                <a:pos x="connsiteX20813" y="connsiteY20813"/>
              </a:cxn>
              <a:cxn ang="0">
                <a:pos x="connsiteX20814" y="connsiteY20814"/>
              </a:cxn>
              <a:cxn ang="0">
                <a:pos x="connsiteX20815" y="connsiteY20815"/>
              </a:cxn>
              <a:cxn ang="0">
                <a:pos x="connsiteX20816" y="connsiteY20816"/>
              </a:cxn>
              <a:cxn ang="0">
                <a:pos x="connsiteX20817" y="connsiteY20817"/>
              </a:cxn>
              <a:cxn ang="0">
                <a:pos x="connsiteX20818" y="connsiteY20818"/>
              </a:cxn>
              <a:cxn ang="0">
                <a:pos x="connsiteX20819" y="connsiteY20819"/>
              </a:cxn>
              <a:cxn ang="0">
                <a:pos x="connsiteX20820" y="connsiteY20820"/>
              </a:cxn>
              <a:cxn ang="0">
                <a:pos x="connsiteX20821" y="connsiteY20821"/>
              </a:cxn>
              <a:cxn ang="0">
                <a:pos x="connsiteX20822" y="connsiteY20822"/>
              </a:cxn>
              <a:cxn ang="0">
                <a:pos x="connsiteX20823" y="connsiteY20823"/>
              </a:cxn>
              <a:cxn ang="0">
                <a:pos x="connsiteX20824" y="connsiteY20824"/>
              </a:cxn>
              <a:cxn ang="0">
                <a:pos x="connsiteX20825" y="connsiteY20825"/>
              </a:cxn>
              <a:cxn ang="0">
                <a:pos x="connsiteX20826" y="connsiteY20826"/>
              </a:cxn>
              <a:cxn ang="0">
                <a:pos x="connsiteX20827" y="connsiteY20827"/>
              </a:cxn>
              <a:cxn ang="0">
                <a:pos x="connsiteX20828" y="connsiteY20828"/>
              </a:cxn>
              <a:cxn ang="0">
                <a:pos x="connsiteX20829" y="connsiteY20829"/>
              </a:cxn>
              <a:cxn ang="0">
                <a:pos x="connsiteX20830" y="connsiteY20830"/>
              </a:cxn>
              <a:cxn ang="0">
                <a:pos x="connsiteX20831" y="connsiteY20831"/>
              </a:cxn>
              <a:cxn ang="0">
                <a:pos x="connsiteX20832" y="connsiteY20832"/>
              </a:cxn>
              <a:cxn ang="0">
                <a:pos x="connsiteX20833" y="connsiteY20833"/>
              </a:cxn>
              <a:cxn ang="0">
                <a:pos x="connsiteX20834" y="connsiteY20834"/>
              </a:cxn>
              <a:cxn ang="0">
                <a:pos x="connsiteX20835" y="connsiteY20835"/>
              </a:cxn>
              <a:cxn ang="0">
                <a:pos x="connsiteX20836" y="connsiteY20836"/>
              </a:cxn>
              <a:cxn ang="0">
                <a:pos x="connsiteX20837" y="connsiteY20837"/>
              </a:cxn>
              <a:cxn ang="0">
                <a:pos x="connsiteX20838" y="connsiteY20838"/>
              </a:cxn>
              <a:cxn ang="0">
                <a:pos x="connsiteX20839" y="connsiteY20839"/>
              </a:cxn>
              <a:cxn ang="0">
                <a:pos x="connsiteX20840" y="connsiteY20840"/>
              </a:cxn>
              <a:cxn ang="0">
                <a:pos x="connsiteX20841" y="connsiteY20841"/>
              </a:cxn>
              <a:cxn ang="0">
                <a:pos x="connsiteX20842" y="connsiteY20842"/>
              </a:cxn>
              <a:cxn ang="0">
                <a:pos x="connsiteX20843" y="connsiteY20843"/>
              </a:cxn>
              <a:cxn ang="0">
                <a:pos x="connsiteX20844" y="connsiteY20844"/>
              </a:cxn>
              <a:cxn ang="0">
                <a:pos x="connsiteX20845" y="connsiteY20845"/>
              </a:cxn>
              <a:cxn ang="0">
                <a:pos x="connsiteX20846" y="connsiteY20846"/>
              </a:cxn>
              <a:cxn ang="0">
                <a:pos x="connsiteX20847" y="connsiteY20847"/>
              </a:cxn>
              <a:cxn ang="0">
                <a:pos x="connsiteX20848" y="connsiteY20848"/>
              </a:cxn>
              <a:cxn ang="0">
                <a:pos x="connsiteX20849" y="connsiteY20849"/>
              </a:cxn>
              <a:cxn ang="0">
                <a:pos x="connsiteX20850" y="connsiteY20850"/>
              </a:cxn>
              <a:cxn ang="0">
                <a:pos x="connsiteX20851" y="connsiteY20851"/>
              </a:cxn>
              <a:cxn ang="0">
                <a:pos x="connsiteX20852" y="connsiteY20852"/>
              </a:cxn>
              <a:cxn ang="0">
                <a:pos x="connsiteX20853" y="connsiteY20853"/>
              </a:cxn>
              <a:cxn ang="0">
                <a:pos x="connsiteX20854" y="connsiteY20854"/>
              </a:cxn>
              <a:cxn ang="0">
                <a:pos x="connsiteX20855" y="connsiteY20855"/>
              </a:cxn>
              <a:cxn ang="0">
                <a:pos x="connsiteX20856" y="connsiteY20856"/>
              </a:cxn>
              <a:cxn ang="0">
                <a:pos x="connsiteX20857" y="connsiteY20857"/>
              </a:cxn>
              <a:cxn ang="0">
                <a:pos x="connsiteX20858" y="connsiteY20858"/>
              </a:cxn>
              <a:cxn ang="0">
                <a:pos x="connsiteX20859" y="connsiteY20859"/>
              </a:cxn>
              <a:cxn ang="0">
                <a:pos x="connsiteX20860" y="connsiteY20860"/>
              </a:cxn>
              <a:cxn ang="0">
                <a:pos x="connsiteX20861" y="connsiteY20861"/>
              </a:cxn>
              <a:cxn ang="0">
                <a:pos x="connsiteX20862" y="connsiteY20862"/>
              </a:cxn>
              <a:cxn ang="0">
                <a:pos x="connsiteX20863" y="connsiteY20863"/>
              </a:cxn>
              <a:cxn ang="0">
                <a:pos x="connsiteX20864" y="connsiteY20864"/>
              </a:cxn>
              <a:cxn ang="0">
                <a:pos x="connsiteX20865" y="connsiteY20865"/>
              </a:cxn>
              <a:cxn ang="0">
                <a:pos x="connsiteX20866" y="connsiteY20866"/>
              </a:cxn>
              <a:cxn ang="0">
                <a:pos x="connsiteX20867" y="connsiteY20867"/>
              </a:cxn>
              <a:cxn ang="0">
                <a:pos x="connsiteX20868" y="connsiteY20868"/>
              </a:cxn>
              <a:cxn ang="0">
                <a:pos x="connsiteX20869" y="connsiteY20869"/>
              </a:cxn>
              <a:cxn ang="0">
                <a:pos x="connsiteX20870" y="connsiteY20870"/>
              </a:cxn>
              <a:cxn ang="0">
                <a:pos x="connsiteX20871" y="connsiteY20871"/>
              </a:cxn>
              <a:cxn ang="0">
                <a:pos x="connsiteX20872" y="connsiteY20872"/>
              </a:cxn>
              <a:cxn ang="0">
                <a:pos x="connsiteX20873" y="connsiteY20873"/>
              </a:cxn>
              <a:cxn ang="0">
                <a:pos x="connsiteX20874" y="connsiteY20874"/>
              </a:cxn>
              <a:cxn ang="0">
                <a:pos x="connsiteX20875" y="connsiteY20875"/>
              </a:cxn>
              <a:cxn ang="0">
                <a:pos x="connsiteX20876" y="connsiteY20876"/>
              </a:cxn>
              <a:cxn ang="0">
                <a:pos x="connsiteX20877" y="connsiteY20877"/>
              </a:cxn>
              <a:cxn ang="0">
                <a:pos x="connsiteX20878" y="connsiteY20878"/>
              </a:cxn>
              <a:cxn ang="0">
                <a:pos x="connsiteX20879" y="connsiteY20879"/>
              </a:cxn>
              <a:cxn ang="0">
                <a:pos x="connsiteX20880" y="connsiteY20880"/>
              </a:cxn>
              <a:cxn ang="0">
                <a:pos x="connsiteX20881" y="connsiteY20881"/>
              </a:cxn>
              <a:cxn ang="0">
                <a:pos x="connsiteX20882" y="connsiteY20882"/>
              </a:cxn>
              <a:cxn ang="0">
                <a:pos x="connsiteX20883" y="connsiteY20883"/>
              </a:cxn>
              <a:cxn ang="0">
                <a:pos x="connsiteX20884" y="connsiteY20884"/>
              </a:cxn>
              <a:cxn ang="0">
                <a:pos x="connsiteX20885" y="connsiteY20885"/>
              </a:cxn>
              <a:cxn ang="0">
                <a:pos x="connsiteX20886" y="connsiteY20886"/>
              </a:cxn>
              <a:cxn ang="0">
                <a:pos x="connsiteX20887" y="connsiteY20887"/>
              </a:cxn>
              <a:cxn ang="0">
                <a:pos x="connsiteX20888" y="connsiteY20888"/>
              </a:cxn>
              <a:cxn ang="0">
                <a:pos x="connsiteX20889" y="connsiteY20889"/>
              </a:cxn>
              <a:cxn ang="0">
                <a:pos x="connsiteX20890" y="connsiteY20890"/>
              </a:cxn>
              <a:cxn ang="0">
                <a:pos x="connsiteX20891" y="connsiteY20891"/>
              </a:cxn>
              <a:cxn ang="0">
                <a:pos x="connsiteX20892" y="connsiteY20892"/>
              </a:cxn>
              <a:cxn ang="0">
                <a:pos x="connsiteX20893" y="connsiteY20893"/>
              </a:cxn>
              <a:cxn ang="0">
                <a:pos x="connsiteX20894" y="connsiteY20894"/>
              </a:cxn>
              <a:cxn ang="0">
                <a:pos x="connsiteX20895" y="connsiteY20895"/>
              </a:cxn>
              <a:cxn ang="0">
                <a:pos x="connsiteX20896" y="connsiteY20896"/>
              </a:cxn>
              <a:cxn ang="0">
                <a:pos x="connsiteX20897" y="connsiteY20897"/>
              </a:cxn>
              <a:cxn ang="0">
                <a:pos x="connsiteX20898" y="connsiteY20898"/>
              </a:cxn>
              <a:cxn ang="0">
                <a:pos x="connsiteX20899" y="connsiteY20899"/>
              </a:cxn>
              <a:cxn ang="0">
                <a:pos x="connsiteX20900" y="connsiteY20900"/>
              </a:cxn>
              <a:cxn ang="0">
                <a:pos x="connsiteX20901" y="connsiteY20901"/>
              </a:cxn>
              <a:cxn ang="0">
                <a:pos x="connsiteX20902" y="connsiteY20902"/>
              </a:cxn>
              <a:cxn ang="0">
                <a:pos x="connsiteX20903" y="connsiteY20903"/>
              </a:cxn>
              <a:cxn ang="0">
                <a:pos x="connsiteX20904" y="connsiteY20904"/>
              </a:cxn>
              <a:cxn ang="0">
                <a:pos x="connsiteX20905" y="connsiteY20905"/>
              </a:cxn>
              <a:cxn ang="0">
                <a:pos x="connsiteX20906" y="connsiteY20906"/>
              </a:cxn>
              <a:cxn ang="0">
                <a:pos x="connsiteX20907" y="connsiteY20907"/>
              </a:cxn>
              <a:cxn ang="0">
                <a:pos x="connsiteX20908" y="connsiteY20908"/>
              </a:cxn>
              <a:cxn ang="0">
                <a:pos x="connsiteX20909" y="connsiteY20909"/>
              </a:cxn>
              <a:cxn ang="0">
                <a:pos x="connsiteX20910" y="connsiteY20910"/>
              </a:cxn>
              <a:cxn ang="0">
                <a:pos x="connsiteX20911" y="connsiteY20911"/>
              </a:cxn>
              <a:cxn ang="0">
                <a:pos x="connsiteX20912" y="connsiteY20912"/>
              </a:cxn>
              <a:cxn ang="0">
                <a:pos x="connsiteX20913" y="connsiteY20913"/>
              </a:cxn>
              <a:cxn ang="0">
                <a:pos x="connsiteX20914" y="connsiteY20914"/>
              </a:cxn>
              <a:cxn ang="0">
                <a:pos x="connsiteX20915" y="connsiteY20915"/>
              </a:cxn>
              <a:cxn ang="0">
                <a:pos x="connsiteX20916" y="connsiteY20916"/>
              </a:cxn>
              <a:cxn ang="0">
                <a:pos x="connsiteX20917" y="connsiteY20917"/>
              </a:cxn>
              <a:cxn ang="0">
                <a:pos x="connsiteX20918" y="connsiteY20918"/>
              </a:cxn>
              <a:cxn ang="0">
                <a:pos x="connsiteX20919" y="connsiteY20919"/>
              </a:cxn>
              <a:cxn ang="0">
                <a:pos x="connsiteX20920" y="connsiteY20920"/>
              </a:cxn>
              <a:cxn ang="0">
                <a:pos x="connsiteX20921" y="connsiteY20921"/>
              </a:cxn>
              <a:cxn ang="0">
                <a:pos x="connsiteX20922" y="connsiteY20922"/>
              </a:cxn>
              <a:cxn ang="0">
                <a:pos x="connsiteX20923" y="connsiteY20923"/>
              </a:cxn>
              <a:cxn ang="0">
                <a:pos x="connsiteX20924" y="connsiteY20924"/>
              </a:cxn>
              <a:cxn ang="0">
                <a:pos x="connsiteX20925" y="connsiteY20925"/>
              </a:cxn>
              <a:cxn ang="0">
                <a:pos x="connsiteX20926" y="connsiteY20926"/>
              </a:cxn>
              <a:cxn ang="0">
                <a:pos x="connsiteX20927" y="connsiteY20927"/>
              </a:cxn>
              <a:cxn ang="0">
                <a:pos x="connsiteX20928" y="connsiteY20928"/>
              </a:cxn>
              <a:cxn ang="0">
                <a:pos x="connsiteX20929" y="connsiteY20929"/>
              </a:cxn>
              <a:cxn ang="0">
                <a:pos x="connsiteX20930" y="connsiteY20930"/>
              </a:cxn>
              <a:cxn ang="0">
                <a:pos x="connsiteX20931" y="connsiteY20931"/>
              </a:cxn>
              <a:cxn ang="0">
                <a:pos x="connsiteX20932" y="connsiteY20932"/>
              </a:cxn>
              <a:cxn ang="0">
                <a:pos x="connsiteX20933" y="connsiteY20933"/>
              </a:cxn>
              <a:cxn ang="0">
                <a:pos x="connsiteX20934" y="connsiteY20934"/>
              </a:cxn>
              <a:cxn ang="0">
                <a:pos x="connsiteX20935" y="connsiteY20935"/>
              </a:cxn>
              <a:cxn ang="0">
                <a:pos x="connsiteX20936" y="connsiteY20936"/>
              </a:cxn>
              <a:cxn ang="0">
                <a:pos x="connsiteX20937" y="connsiteY20937"/>
              </a:cxn>
              <a:cxn ang="0">
                <a:pos x="connsiteX20938" y="connsiteY20938"/>
              </a:cxn>
              <a:cxn ang="0">
                <a:pos x="connsiteX20939" y="connsiteY20939"/>
              </a:cxn>
              <a:cxn ang="0">
                <a:pos x="connsiteX20940" y="connsiteY20940"/>
              </a:cxn>
              <a:cxn ang="0">
                <a:pos x="connsiteX20941" y="connsiteY20941"/>
              </a:cxn>
              <a:cxn ang="0">
                <a:pos x="connsiteX20942" y="connsiteY20942"/>
              </a:cxn>
              <a:cxn ang="0">
                <a:pos x="connsiteX20943" y="connsiteY20943"/>
              </a:cxn>
              <a:cxn ang="0">
                <a:pos x="connsiteX20944" y="connsiteY20944"/>
              </a:cxn>
              <a:cxn ang="0">
                <a:pos x="connsiteX20945" y="connsiteY20945"/>
              </a:cxn>
              <a:cxn ang="0">
                <a:pos x="connsiteX20946" y="connsiteY20946"/>
              </a:cxn>
              <a:cxn ang="0">
                <a:pos x="connsiteX20947" y="connsiteY20947"/>
              </a:cxn>
              <a:cxn ang="0">
                <a:pos x="connsiteX20948" y="connsiteY20948"/>
              </a:cxn>
              <a:cxn ang="0">
                <a:pos x="connsiteX20949" y="connsiteY20949"/>
              </a:cxn>
              <a:cxn ang="0">
                <a:pos x="connsiteX20950" y="connsiteY20950"/>
              </a:cxn>
              <a:cxn ang="0">
                <a:pos x="connsiteX20951" y="connsiteY20951"/>
              </a:cxn>
              <a:cxn ang="0">
                <a:pos x="connsiteX20952" y="connsiteY20952"/>
              </a:cxn>
              <a:cxn ang="0">
                <a:pos x="connsiteX20953" y="connsiteY20953"/>
              </a:cxn>
              <a:cxn ang="0">
                <a:pos x="connsiteX20954" y="connsiteY20954"/>
              </a:cxn>
              <a:cxn ang="0">
                <a:pos x="connsiteX20955" y="connsiteY20955"/>
              </a:cxn>
              <a:cxn ang="0">
                <a:pos x="connsiteX20956" y="connsiteY20956"/>
              </a:cxn>
              <a:cxn ang="0">
                <a:pos x="connsiteX20957" y="connsiteY20957"/>
              </a:cxn>
              <a:cxn ang="0">
                <a:pos x="connsiteX20958" y="connsiteY20958"/>
              </a:cxn>
              <a:cxn ang="0">
                <a:pos x="connsiteX20959" y="connsiteY20959"/>
              </a:cxn>
              <a:cxn ang="0">
                <a:pos x="connsiteX20960" y="connsiteY20960"/>
              </a:cxn>
              <a:cxn ang="0">
                <a:pos x="connsiteX20961" y="connsiteY20961"/>
              </a:cxn>
              <a:cxn ang="0">
                <a:pos x="connsiteX20962" y="connsiteY20962"/>
              </a:cxn>
              <a:cxn ang="0">
                <a:pos x="connsiteX20963" y="connsiteY20963"/>
              </a:cxn>
              <a:cxn ang="0">
                <a:pos x="connsiteX20964" y="connsiteY20964"/>
              </a:cxn>
              <a:cxn ang="0">
                <a:pos x="connsiteX20965" y="connsiteY20965"/>
              </a:cxn>
              <a:cxn ang="0">
                <a:pos x="connsiteX20966" y="connsiteY20966"/>
              </a:cxn>
              <a:cxn ang="0">
                <a:pos x="connsiteX20967" y="connsiteY20967"/>
              </a:cxn>
              <a:cxn ang="0">
                <a:pos x="connsiteX20968" y="connsiteY20968"/>
              </a:cxn>
              <a:cxn ang="0">
                <a:pos x="connsiteX20969" y="connsiteY20969"/>
              </a:cxn>
              <a:cxn ang="0">
                <a:pos x="connsiteX20970" y="connsiteY20970"/>
              </a:cxn>
              <a:cxn ang="0">
                <a:pos x="connsiteX20971" y="connsiteY20971"/>
              </a:cxn>
              <a:cxn ang="0">
                <a:pos x="connsiteX20972" y="connsiteY20972"/>
              </a:cxn>
              <a:cxn ang="0">
                <a:pos x="connsiteX20973" y="connsiteY20973"/>
              </a:cxn>
              <a:cxn ang="0">
                <a:pos x="connsiteX20974" y="connsiteY20974"/>
              </a:cxn>
              <a:cxn ang="0">
                <a:pos x="connsiteX20975" y="connsiteY20975"/>
              </a:cxn>
              <a:cxn ang="0">
                <a:pos x="connsiteX20976" y="connsiteY20976"/>
              </a:cxn>
              <a:cxn ang="0">
                <a:pos x="connsiteX20977" y="connsiteY20977"/>
              </a:cxn>
              <a:cxn ang="0">
                <a:pos x="connsiteX20978" y="connsiteY20978"/>
              </a:cxn>
              <a:cxn ang="0">
                <a:pos x="connsiteX20979" y="connsiteY20979"/>
              </a:cxn>
              <a:cxn ang="0">
                <a:pos x="connsiteX20980" y="connsiteY20980"/>
              </a:cxn>
              <a:cxn ang="0">
                <a:pos x="connsiteX20981" y="connsiteY20981"/>
              </a:cxn>
              <a:cxn ang="0">
                <a:pos x="connsiteX20982" y="connsiteY20982"/>
              </a:cxn>
              <a:cxn ang="0">
                <a:pos x="connsiteX20983" y="connsiteY20983"/>
              </a:cxn>
              <a:cxn ang="0">
                <a:pos x="connsiteX20984" y="connsiteY20984"/>
              </a:cxn>
              <a:cxn ang="0">
                <a:pos x="connsiteX20985" y="connsiteY20985"/>
              </a:cxn>
              <a:cxn ang="0">
                <a:pos x="connsiteX20986" y="connsiteY20986"/>
              </a:cxn>
              <a:cxn ang="0">
                <a:pos x="connsiteX20987" y="connsiteY20987"/>
              </a:cxn>
              <a:cxn ang="0">
                <a:pos x="connsiteX20988" y="connsiteY20988"/>
              </a:cxn>
              <a:cxn ang="0">
                <a:pos x="connsiteX20989" y="connsiteY20989"/>
              </a:cxn>
              <a:cxn ang="0">
                <a:pos x="connsiteX20990" y="connsiteY20990"/>
              </a:cxn>
              <a:cxn ang="0">
                <a:pos x="connsiteX20991" y="connsiteY20991"/>
              </a:cxn>
              <a:cxn ang="0">
                <a:pos x="connsiteX20992" y="connsiteY20992"/>
              </a:cxn>
              <a:cxn ang="0">
                <a:pos x="connsiteX20993" y="connsiteY20993"/>
              </a:cxn>
              <a:cxn ang="0">
                <a:pos x="connsiteX20994" y="connsiteY20994"/>
              </a:cxn>
              <a:cxn ang="0">
                <a:pos x="connsiteX20995" y="connsiteY20995"/>
              </a:cxn>
              <a:cxn ang="0">
                <a:pos x="connsiteX20996" y="connsiteY20996"/>
              </a:cxn>
              <a:cxn ang="0">
                <a:pos x="connsiteX20997" y="connsiteY20997"/>
              </a:cxn>
              <a:cxn ang="0">
                <a:pos x="connsiteX20998" y="connsiteY20998"/>
              </a:cxn>
              <a:cxn ang="0">
                <a:pos x="connsiteX20999" y="connsiteY20999"/>
              </a:cxn>
              <a:cxn ang="0">
                <a:pos x="connsiteX21000" y="connsiteY21000"/>
              </a:cxn>
              <a:cxn ang="0">
                <a:pos x="connsiteX21001" y="connsiteY21001"/>
              </a:cxn>
              <a:cxn ang="0">
                <a:pos x="connsiteX21002" y="connsiteY21002"/>
              </a:cxn>
              <a:cxn ang="0">
                <a:pos x="connsiteX21003" y="connsiteY21003"/>
              </a:cxn>
              <a:cxn ang="0">
                <a:pos x="connsiteX21004" y="connsiteY21004"/>
              </a:cxn>
              <a:cxn ang="0">
                <a:pos x="connsiteX21005" y="connsiteY21005"/>
              </a:cxn>
              <a:cxn ang="0">
                <a:pos x="connsiteX21006" y="connsiteY21006"/>
              </a:cxn>
              <a:cxn ang="0">
                <a:pos x="connsiteX21007" y="connsiteY21007"/>
              </a:cxn>
              <a:cxn ang="0">
                <a:pos x="connsiteX21008" y="connsiteY21008"/>
              </a:cxn>
              <a:cxn ang="0">
                <a:pos x="connsiteX21009" y="connsiteY21009"/>
              </a:cxn>
              <a:cxn ang="0">
                <a:pos x="connsiteX21010" y="connsiteY21010"/>
              </a:cxn>
              <a:cxn ang="0">
                <a:pos x="connsiteX21011" y="connsiteY21011"/>
              </a:cxn>
              <a:cxn ang="0">
                <a:pos x="connsiteX21012" y="connsiteY21012"/>
              </a:cxn>
              <a:cxn ang="0">
                <a:pos x="connsiteX21013" y="connsiteY21013"/>
              </a:cxn>
              <a:cxn ang="0">
                <a:pos x="connsiteX21014" y="connsiteY21014"/>
              </a:cxn>
              <a:cxn ang="0">
                <a:pos x="connsiteX21015" y="connsiteY21015"/>
              </a:cxn>
              <a:cxn ang="0">
                <a:pos x="connsiteX21016" y="connsiteY21016"/>
              </a:cxn>
              <a:cxn ang="0">
                <a:pos x="connsiteX21017" y="connsiteY21017"/>
              </a:cxn>
              <a:cxn ang="0">
                <a:pos x="connsiteX21018" y="connsiteY21018"/>
              </a:cxn>
              <a:cxn ang="0">
                <a:pos x="connsiteX21019" y="connsiteY21019"/>
              </a:cxn>
              <a:cxn ang="0">
                <a:pos x="connsiteX21020" y="connsiteY21020"/>
              </a:cxn>
              <a:cxn ang="0">
                <a:pos x="connsiteX21021" y="connsiteY21021"/>
              </a:cxn>
              <a:cxn ang="0">
                <a:pos x="connsiteX21022" y="connsiteY21022"/>
              </a:cxn>
              <a:cxn ang="0">
                <a:pos x="connsiteX21023" y="connsiteY21023"/>
              </a:cxn>
              <a:cxn ang="0">
                <a:pos x="connsiteX21024" y="connsiteY21024"/>
              </a:cxn>
              <a:cxn ang="0">
                <a:pos x="connsiteX21025" y="connsiteY21025"/>
              </a:cxn>
              <a:cxn ang="0">
                <a:pos x="connsiteX21026" y="connsiteY21026"/>
              </a:cxn>
              <a:cxn ang="0">
                <a:pos x="connsiteX21027" y="connsiteY21027"/>
              </a:cxn>
              <a:cxn ang="0">
                <a:pos x="connsiteX21028" y="connsiteY21028"/>
              </a:cxn>
              <a:cxn ang="0">
                <a:pos x="connsiteX21029" y="connsiteY21029"/>
              </a:cxn>
              <a:cxn ang="0">
                <a:pos x="connsiteX21030" y="connsiteY21030"/>
              </a:cxn>
              <a:cxn ang="0">
                <a:pos x="connsiteX21031" y="connsiteY21031"/>
              </a:cxn>
              <a:cxn ang="0">
                <a:pos x="connsiteX21032" y="connsiteY21032"/>
              </a:cxn>
              <a:cxn ang="0">
                <a:pos x="connsiteX21033" y="connsiteY21033"/>
              </a:cxn>
              <a:cxn ang="0">
                <a:pos x="connsiteX21034" y="connsiteY21034"/>
              </a:cxn>
              <a:cxn ang="0">
                <a:pos x="connsiteX21035" y="connsiteY21035"/>
              </a:cxn>
              <a:cxn ang="0">
                <a:pos x="connsiteX21036" y="connsiteY21036"/>
              </a:cxn>
              <a:cxn ang="0">
                <a:pos x="connsiteX21037" y="connsiteY21037"/>
              </a:cxn>
              <a:cxn ang="0">
                <a:pos x="connsiteX21038" y="connsiteY21038"/>
              </a:cxn>
              <a:cxn ang="0">
                <a:pos x="connsiteX21039" y="connsiteY21039"/>
              </a:cxn>
              <a:cxn ang="0">
                <a:pos x="connsiteX21040" y="connsiteY21040"/>
              </a:cxn>
              <a:cxn ang="0">
                <a:pos x="connsiteX21041" y="connsiteY21041"/>
              </a:cxn>
              <a:cxn ang="0">
                <a:pos x="connsiteX21042" y="connsiteY21042"/>
              </a:cxn>
              <a:cxn ang="0">
                <a:pos x="connsiteX21043" y="connsiteY21043"/>
              </a:cxn>
              <a:cxn ang="0">
                <a:pos x="connsiteX21044" y="connsiteY21044"/>
              </a:cxn>
              <a:cxn ang="0">
                <a:pos x="connsiteX21045" y="connsiteY21045"/>
              </a:cxn>
              <a:cxn ang="0">
                <a:pos x="connsiteX21046" y="connsiteY21046"/>
              </a:cxn>
              <a:cxn ang="0">
                <a:pos x="connsiteX21047" y="connsiteY21047"/>
              </a:cxn>
              <a:cxn ang="0">
                <a:pos x="connsiteX21048" y="connsiteY21048"/>
              </a:cxn>
              <a:cxn ang="0">
                <a:pos x="connsiteX21049" y="connsiteY21049"/>
              </a:cxn>
              <a:cxn ang="0">
                <a:pos x="connsiteX21050" y="connsiteY21050"/>
              </a:cxn>
              <a:cxn ang="0">
                <a:pos x="connsiteX21051" y="connsiteY21051"/>
              </a:cxn>
              <a:cxn ang="0">
                <a:pos x="connsiteX21052" y="connsiteY21052"/>
              </a:cxn>
              <a:cxn ang="0">
                <a:pos x="connsiteX21053" y="connsiteY21053"/>
              </a:cxn>
              <a:cxn ang="0">
                <a:pos x="connsiteX21054" y="connsiteY21054"/>
              </a:cxn>
              <a:cxn ang="0">
                <a:pos x="connsiteX21055" y="connsiteY21055"/>
              </a:cxn>
              <a:cxn ang="0">
                <a:pos x="connsiteX21056" y="connsiteY21056"/>
              </a:cxn>
              <a:cxn ang="0">
                <a:pos x="connsiteX21057" y="connsiteY21057"/>
              </a:cxn>
              <a:cxn ang="0">
                <a:pos x="connsiteX21058" y="connsiteY21058"/>
              </a:cxn>
              <a:cxn ang="0">
                <a:pos x="connsiteX21059" y="connsiteY21059"/>
              </a:cxn>
              <a:cxn ang="0">
                <a:pos x="connsiteX21060" y="connsiteY21060"/>
              </a:cxn>
              <a:cxn ang="0">
                <a:pos x="connsiteX21061" y="connsiteY21061"/>
              </a:cxn>
              <a:cxn ang="0">
                <a:pos x="connsiteX21062" y="connsiteY21062"/>
              </a:cxn>
              <a:cxn ang="0">
                <a:pos x="connsiteX21063" y="connsiteY21063"/>
              </a:cxn>
              <a:cxn ang="0">
                <a:pos x="connsiteX21064" y="connsiteY21064"/>
              </a:cxn>
              <a:cxn ang="0">
                <a:pos x="connsiteX21065" y="connsiteY21065"/>
              </a:cxn>
              <a:cxn ang="0">
                <a:pos x="connsiteX21066" y="connsiteY21066"/>
              </a:cxn>
              <a:cxn ang="0">
                <a:pos x="connsiteX21067" y="connsiteY21067"/>
              </a:cxn>
              <a:cxn ang="0">
                <a:pos x="connsiteX21068" y="connsiteY21068"/>
              </a:cxn>
              <a:cxn ang="0">
                <a:pos x="connsiteX21069" y="connsiteY21069"/>
              </a:cxn>
              <a:cxn ang="0">
                <a:pos x="connsiteX21070" y="connsiteY21070"/>
              </a:cxn>
              <a:cxn ang="0">
                <a:pos x="connsiteX21071" y="connsiteY21071"/>
              </a:cxn>
              <a:cxn ang="0">
                <a:pos x="connsiteX21072" y="connsiteY21072"/>
              </a:cxn>
              <a:cxn ang="0">
                <a:pos x="connsiteX21073" y="connsiteY21073"/>
              </a:cxn>
              <a:cxn ang="0">
                <a:pos x="connsiteX21074" y="connsiteY21074"/>
              </a:cxn>
              <a:cxn ang="0">
                <a:pos x="connsiteX21075" y="connsiteY21075"/>
              </a:cxn>
              <a:cxn ang="0">
                <a:pos x="connsiteX21076" y="connsiteY21076"/>
              </a:cxn>
              <a:cxn ang="0">
                <a:pos x="connsiteX21077" y="connsiteY21077"/>
              </a:cxn>
              <a:cxn ang="0">
                <a:pos x="connsiteX21078" y="connsiteY21078"/>
              </a:cxn>
              <a:cxn ang="0">
                <a:pos x="connsiteX21079" y="connsiteY21079"/>
              </a:cxn>
              <a:cxn ang="0">
                <a:pos x="connsiteX21080" y="connsiteY21080"/>
              </a:cxn>
              <a:cxn ang="0">
                <a:pos x="connsiteX21081" y="connsiteY21081"/>
              </a:cxn>
              <a:cxn ang="0">
                <a:pos x="connsiteX21082" y="connsiteY21082"/>
              </a:cxn>
              <a:cxn ang="0">
                <a:pos x="connsiteX21083" y="connsiteY21083"/>
              </a:cxn>
              <a:cxn ang="0">
                <a:pos x="connsiteX21084" y="connsiteY21084"/>
              </a:cxn>
              <a:cxn ang="0">
                <a:pos x="connsiteX21085" y="connsiteY21085"/>
              </a:cxn>
              <a:cxn ang="0">
                <a:pos x="connsiteX21086" y="connsiteY21086"/>
              </a:cxn>
              <a:cxn ang="0">
                <a:pos x="connsiteX21087" y="connsiteY21087"/>
              </a:cxn>
              <a:cxn ang="0">
                <a:pos x="connsiteX21088" y="connsiteY21088"/>
              </a:cxn>
              <a:cxn ang="0">
                <a:pos x="connsiteX21089" y="connsiteY21089"/>
              </a:cxn>
              <a:cxn ang="0">
                <a:pos x="connsiteX21090" y="connsiteY21090"/>
              </a:cxn>
              <a:cxn ang="0">
                <a:pos x="connsiteX21091" y="connsiteY21091"/>
              </a:cxn>
              <a:cxn ang="0">
                <a:pos x="connsiteX21092" y="connsiteY21092"/>
              </a:cxn>
              <a:cxn ang="0">
                <a:pos x="connsiteX21093" y="connsiteY21093"/>
              </a:cxn>
              <a:cxn ang="0">
                <a:pos x="connsiteX21094" y="connsiteY21094"/>
              </a:cxn>
              <a:cxn ang="0">
                <a:pos x="connsiteX21095" y="connsiteY21095"/>
              </a:cxn>
              <a:cxn ang="0">
                <a:pos x="connsiteX21096" y="connsiteY21096"/>
              </a:cxn>
              <a:cxn ang="0">
                <a:pos x="connsiteX21097" y="connsiteY21097"/>
              </a:cxn>
              <a:cxn ang="0">
                <a:pos x="connsiteX21098" y="connsiteY21098"/>
              </a:cxn>
              <a:cxn ang="0">
                <a:pos x="connsiteX21099" y="connsiteY21099"/>
              </a:cxn>
              <a:cxn ang="0">
                <a:pos x="connsiteX21100" y="connsiteY21100"/>
              </a:cxn>
              <a:cxn ang="0">
                <a:pos x="connsiteX21101" y="connsiteY21101"/>
              </a:cxn>
              <a:cxn ang="0">
                <a:pos x="connsiteX21102" y="connsiteY21102"/>
              </a:cxn>
              <a:cxn ang="0">
                <a:pos x="connsiteX21103" y="connsiteY21103"/>
              </a:cxn>
              <a:cxn ang="0">
                <a:pos x="connsiteX21104" y="connsiteY21104"/>
              </a:cxn>
              <a:cxn ang="0">
                <a:pos x="connsiteX21105" y="connsiteY21105"/>
              </a:cxn>
              <a:cxn ang="0">
                <a:pos x="connsiteX21106" y="connsiteY21106"/>
              </a:cxn>
              <a:cxn ang="0">
                <a:pos x="connsiteX21107" y="connsiteY21107"/>
              </a:cxn>
              <a:cxn ang="0">
                <a:pos x="connsiteX21108" y="connsiteY21108"/>
              </a:cxn>
              <a:cxn ang="0">
                <a:pos x="connsiteX21109" y="connsiteY21109"/>
              </a:cxn>
              <a:cxn ang="0">
                <a:pos x="connsiteX21110" y="connsiteY21110"/>
              </a:cxn>
              <a:cxn ang="0">
                <a:pos x="connsiteX21111" y="connsiteY21111"/>
              </a:cxn>
              <a:cxn ang="0">
                <a:pos x="connsiteX21112" y="connsiteY21112"/>
              </a:cxn>
              <a:cxn ang="0">
                <a:pos x="connsiteX21113" y="connsiteY21113"/>
              </a:cxn>
              <a:cxn ang="0">
                <a:pos x="connsiteX21114" y="connsiteY21114"/>
              </a:cxn>
              <a:cxn ang="0">
                <a:pos x="connsiteX21115" y="connsiteY21115"/>
              </a:cxn>
              <a:cxn ang="0">
                <a:pos x="connsiteX21116" y="connsiteY21116"/>
              </a:cxn>
              <a:cxn ang="0">
                <a:pos x="connsiteX21117" y="connsiteY21117"/>
              </a:cxn>
              <a:cxn ang="0">
                <a:pos x="connsiteX21118" y="connsiteY21118"/>
              </a:cxn>
              <a:cxn ang="0">
                <a:pos x="connsiteX21119" y="connsiteY21119"/>
              </a:cxn>
              <a:cxn ang="0">
                <a:pos x="connsiteX21120" y="connsiteY21120"/>
              </a:cxn>
              <a:cxn ang="0">
                <a:pos x="connsiteX21121" y="connsiteY21121"/>
              </a:cxn>
              <a:cxn ang="0">
                <a:pos x="connsiteX21122" y="connsiteY21122"/>
              </a:cxn>
              <a:cxn ang="0">
                <a:pos x="connsiteX21123" y="connsiteY21123"/>
              </a:cxn>
              <a:cxn ang="0">
                <a:pos x="connsiteX21124" y="connsiteY21124"/>
              </a:cxn>
              <a:cxn ang="0">
                <a:pos x="connsiteX21125" y="connsiteY21125"/>
              </a:cxn>
              <a:cxn ang="0">
                <a:pos x="connsiteX21126" y="connsiteY21126"/>
              </a:cxn>
              <a:cxn ang="0">
                <a:pos x="connsiteX21127" y="connsiteY21127"/>
              </a:cxn>
              <a:cxn ang="0">
                <a:pos x="connsiteX21128" y="connsiteY21128"/>
              </a:cxn>
              <a:cxn ang="0">
                <a:pos x="connsiteX21129" y="connsiteY21129"/>
              </a:cxn>
              <a:cxn ang="0">
                <a:pos x="connsiteX21130" y="connsiteY21130"/>
              </a:cxn>
              <a:cxn ang="0">
                <a:pos x="connsiteX21131" y="connsiteY21131"/>
              </a:cxn>
              <a:cxn ang="0">
                <a:pos x="connsiteX21132" y="connsiteY21132"/>
              </a:cxn>
              <a:cxn ang="0">
                <a:pos x="connsiteX21133" y="connsiteY21133"/>
              </a:cxn>
              <a:cxn ang="0">
                <a:pos x="connsiteX21134" y="connsiteY21134"/>
              </a:cxn>
              <a:cxn ang="0">
                <a:pos x="connsiteX21135" y="connsiteY21135"/>
              </a:cxn>
              <a:cxn ang="0">
                <a:pos x="connsiteX21136" y="connsiteY21136"/>
              </a:cxn>
              <a:cxn ang="0">
                <a:pos x="connsiteX21137" y="connsiteY21137"/>
              </a:cxn>
              <a:cxn ang="0">
                <a:pos x="connsiteX21138" y="connsiteY21138"/>
              </a:cxn>
              <a:cxn ang="0">
                <a:pos x="connsiteX21139" y="connsiteY21139"/>
              </a:cxn>
              <a:cxn ang="0">
                <a:pos x="connsiteX21140" y="connsiteY21140"/>
              </a:cxn>
              <a:cxn ang="0">
                <a:pos x="connsiteX21141" y="connsiteY21141"/>
              </a:cxn>
              <a:cxn ang="0">
                <a:pos x="connsiteX21142" y="connsiteY21142"/>
              </a:cxn>
              <a:cxn ang="0">
                <a:pos x="connsiteX21143" y="connsiteY21143"/>
              </a:cxn>
              <a:cxn ang="0">
                <a:pos x="connsiteX21144" y="connsiteY21144"/>
              </a:cxn>
              <a:cxn ang="0">
                <a:pos x="connsiteX21145" y="connsiteY21145"/>
              </a:cxn>
              <a:cxn ang="0">
                <a:pos x="connsiteX21146" y="connsiteY21146"/>
              </a:cxn>
              <a:cxn ang="0">
                <a:pos x="connsiteX21147" y="connsiteY21147"/>
              </a:cxn>
              <a:cxn ang="0">
                <a:pos x="connsiteX21148" y="connsiteY21148"/>
              </a:cxn>
              <a:cxn ang="0">
                <a:pos x="connsiteX21149" y="connsiteY21149"/>
              </a:cxn>
              <a:cxn ang="0">
                <a:pos x="connsiteX21150" y="connsiteY21150"/>
              </a:cxn>
              <a:cxn ang="0">
                <a:pos x="connsiteX21151" y="connsiteY21151"/>
              </a:cxn>
              <a:cxn ang="0">
                <a:pos x="connsiteX21152" y="connsiteY21152"/>
              </a:cxn>
              <a:cxn ang="0">
                <a:pos x="connsiteX21153" y="connsiteY21153"/>
              </a:cxn>
              <a:cxn ang="0">
                <a:pos x="connsiteX21154" y="connsiteY21154"/>
              </a:cxn>
              <a:cxn ang="0">
                <a:pos x="connsiteX21155" y="connsiteY21155"/>
              </a:cxn>
              <a:cxn ang="0">
                <a:pos x="connsiteX21156" y="connsiteY21156"/>
              </a:cxn>
              <a:cxn ang="0">
                <a:pos x="connsiteX21157" y="connsiteY21157"/>
              </a:cxn>
              <a:cxn ang="0">
                <a:pos x="connsiteX21158" y="connsiteY21158"/>
              </a:cxn>
              <a:cxn ang="0">
                <a:pos x="connsiteX21159" y="connsiteY21159"/>
              </a:cxn>
              <a:cxn ang="0">
                <a:pos x="connsiteX21160" y="connsiteY21160"/>
              </a:cxn>
              <a:cxn ang="0">
                <a:pos x="connsiteX21161" y="connsiteY21161"/>
              </a:cxn>
              <a:cxn ang="0">
                <a:pos x="connsiteX21162" y="connsiteY21162"/>
              </a:cxn>
              <a:cxn ang="0">
                <a:pos x="connsiteX21163" y="connsiteY21163"/>
              </a:cxn>
              <a:cxn ang="0">
                <a:pos x="connsiteX21164" y="connsiteY21164"/>
              </a:cxn>
              <a:cxn ang="0">
                <a:pos x="connsiteX21165" y="connsiteY21165"/>
              </a:cxn>
              <a:cxn ang="0">
                <a:pos x="connsiteX21166" y="connsiteY21166"/>
              </a:cxn>
              <a:cxn ang="0">
                <a:pos x="connsiteX21167" y="connsiteY21167"/>
              </a:cxn>
              <a:cxn ang="0">
                <a:pos x="connsiteX21168" y="connsiteY21168"/>
              </a:cxn>
              <a:cxn ang="0">
                <a:pos x="connsiteX21169" y="connsiteY21169"/>
              </a:cxn>
              <a:cxn ang="0">
                <a:pos x="connsiteX21170" y="connsiteY21170"/>
              </a:cxn>
              <a:cxn ang="0">
                <a:pos x="connsiteX21171" y="connsiteY21171"/>
              </a:cxn>
              <a:cxn ang="0">
                <a:pos x="connsiteX21172" y="connsiteY21172"/>
              </a:cxn>
              <a:cxn ang="0">
                <a:pos x="connsiteX21173" y="connsiteY21173"/>
              </a:cxn>
              <a:cxn ang="0">
                <a:pos x="connsiteX21174" y="connsiteY21174"/>
              </a:cxn>
              <a:cxn ang="0">
                <a:pos x="connsiteX21175" y="connsiteY21175"/>
              </a:cxn>
              <a:cxn ang="0">
                <a:pos x="connsiteX21176" y="connsiteY21176"/>
              </a:cxn>
              <a:cxn ang="0">
                <a:pos x="connsiteX21177" y="connsiteY21177"/>
              </a:cxn>
              <a:cxn ang="0">
                <a:pos x="connsiteX21178" y="connsiteY21178"/>
              </a:cxn>
              <a:cxn ang="0">
                <a:pos x="connsiteX21179" y="connsiteY21179"/>
              </a:cxn>
              <a:cxn ang="0">
                <a:pos x="connsiteX21180" y="connsiteY21180"/>
              </a:cxn>
              <a:cxn ang="0">
                <a:pos x="connsiteX21181" y="connsiteY21181"/>
              </a:cxn>
              <a:cxn ang="0">
                <a:pos x="connsiteX21182" y="connsiteY21182"/>
              </a:cxn>
              <a:cxn ang="0">
                <a:pos x="connsiteX21183" y="connsiteY21183"/>
              </a:cxn>
              <a:cxn ang="0">
                <a:pos x="connsiteX21184" y="connsiteY21184"/>
              </a:cxn>
              <a:cxn ang="0">
                <a:pos x="connsiteX21185" y="connsiteY21185"/>
              </a:cxn>
              <a:cxn ang="0">
                <a:pos x="connsiteX21186" y="connsiteY21186"/>
              </a:cxn>
              <a:cxn ang="0">
                <a:pos x="connsiteX21187" y="connsiteY21187"/>
              </a:cxn>
              <a:cxn ang="0">
                <a:pos x="connsiteX21188" y="connsiteY21188"/>
              </a:cxn>
              <a:cxn ang="0">
                <a:pos x="connsiteX21189" y="connsiteY21189"/>
              </a:cxn>
              <a:cxn ang="0">
                <a:pos x="connsiteX21190" y="connsiteY21190"/>
              </a:cxn>
              <a:cxn ang="0">
                <a:pos x="connsiteX21191" y="connsiteY21191"/>
              </a:cxn>
              <a:cxn ang="0">
                <a:pos x="connsiteX21192" y="connsiteY21192"/>
              </a:cxn>
              <a:cxn ang="0">
                <a:pos x="connsiteX21193" y="connsiteY21193"/>
              </a:cxn>
              <a:cxn ang="0">
                <a:pos x="connsiteX21194" y="connsiteY21194"/>
              </a:cxn>
              <a:cxn ang="0">
                <a:pos x="connsiteX21195" y="connsiteY21195"/>
              </a:cxn>
              <a:cxn ang="0">
                <a:pos x="connsiteX21196" y="connsiteY21196"/>
              </a:cxn>
              <a:cxn ang="0">
                <a:pos x="connsiteX21197" y="connsiteY21197"/>
              </a:cxn>
              <a:cxn ang="0">
                <a:pos x="connsiteX21198" y="connsiteY21198"/>
              </a:cxn>
              <a:cxn ang="0">
                <a:pos x="connsiteX21199" y="connsiteY21199"/>
              </a:cxn>
              <a:cxn ang="0">
                <a:pos x="connsiteX21200" y="connsiteY21200"/>
              </a:cxn>
              <a:cxn ang="0">
                <a:pos x="connsiteX21201" y="connsiteY21201"/>
              </a:cxn>
              <a:cxn ang="0">
                <a:pos x="connsiteX21202" y="connsiteY21202"/>
              </a:cxn>
              <a:cxn ang="0">
                <a:pos x="connsiteX21203" y="connsiteY21203"/>
              </a:cxn>
              <a:cxn ang="0">
                <a:pos x="connsiteX21204" y="connsiteY21204"/>
              </a:cxn>
              <a:cxn ang="0">
                <a:pos x="connsiteX21205" y="connsiteY21205"/>
              </a:cxn>
              <a:cxn ang="0">
                <a:pos x="connsiteX21206" y="connsiteY21206"/>
              </a:cxn>
              <a:cxn ang="0">
                <a:pos x="connsiteX21207" y="connsiteY21207"/>
              </a:cxn>
              <a:cxn ang="0">
                <a:pos x="connsiteX21208" y="connsiteY21208"/>
              </a:cxn>
              <a:cxn ang="0">
                <a:pos x="connsiteX21209" y="connsiteY21209"/>
              </a:cxn>
              <a:cxn ang="0">
                <a:pos x="connsiteX21210" y="connsiteY21210"/>
              </a:cxn>
              <a:cxn ang="0">
                <a:pos x="connsiteX21211" y="connsiteY21211"/>
              </a:cxn>
              <a:cxn ang="0">
                <a:pos x="connsiteX21212" y="connsiteY21212"/>
              </a:cxn>
              <a:cxn ang="0">
                <a:pos x="connsiteX21213" y="connsiteY21213"/>
              </a:cxn>
              <a:cxn ang="0">
                <a:pos x="connsiteX21214" y="connsiteY21214"/>
              </a:cxn>
              <a:cxn ang="0">
                <a:pos x="connsiteX21215" y="connsiteY21215"/>
              </a:cxn>
              <a:cxn ang="0">
                <a:pos x="connsiteX21216" y="connsiteY21216"/>
              </a:cxn>
              <a:cxn ang="0">
                <a:pos x="connsiteX21217" y="connsiteY21217"/>
              </a:cxn>
              <a:cxn ang="0">
                <a:pos x="connsiteX21218" y="connsiteY21218"/>
              </a:cxn>
              <a:cxn ang="0">
                <a:pos x="connsiteX21219" y="connsiteY21219"/>
              </a:cxn>
              <a:cxn ang="0">
                <a:pos x="connsiteX21220" y="connsiteY21220"/>
              </a:cxn>
              <a:cxn ang="0">
                <a:pos x="connsiteX21221" y="connsiteY21221"/>
              </a:cxn>
              <a:cxn ang="0">
                <a:pos x="connsiteX21222" y="connsiteY21222"/>
              </a:cxn>
              <a:cxn ang="0">
                <a:pos x="connsiteX21223" y="connsiteY21223"/>
              </a:cxn>
              <a:cxn ang="0">
                <a:pos x="connsiteX21224" y="connsiteY21224"/>
              </a:cxn>
              <a:cxn ang="0">
                <a:pos x="connsiteX21225" y="connsiteY21225"/>
              </a:cxn>
              <a:cxn ang="0">
                <a:pos x="connsiteX21226" y="connsiteY21226"/>
              </a:cxn>
              <a:cxn ang="0">
                <a:pos x="connsiteX21227" y="connsiteY21227"/>
              </a:cxn>
              <a:cxn ang="0">
                <a:pos x="connsiteX21228" y="connsiteY21228"/>
              </a:cxn>
              <a:cxn ang="0">
                <a:pos x="connsiteX21229" y="connsiteY21229"/>
              </a:cxn>
              <a:cxn ang="0">
                <a:pos x="connsiteX21230" y="connsiteY21230"/>
              </a:cxn>
              <a:cxn ang="0">
                <a:pos x="connsiteX21231" y="connsiteY21231"/>
              </a:cxn>
              <a:cxn ang="0">
                <a:pos x="connsiteX21232" y="connsiteY21232"/>
              </a:cxn>
              <a:cxn ang="0">
                <a:pos x="connsiteX21233" y="connsiteY21233"/>
              </a:cxn>
              <a:cxn ang="0">
                <a:pos x="connsiteX21234" y="connsiteY21234"/>
              </a:cxn>
              <a:cxn ang="0">
                <a:pos x="connsiteX21235" y="connsiteY21235"/>
              </a:cxn>
              <a:cxn ang="0">
                <a:pos x="connsiteX21236" y="connsiteY21236"/>
              </a:cxn>
              <a:cxn ang="0">
                <a:pos x="connsiteX21237" y="connsiteY21237"/>
              </a:cxn>
              <a:cxn ang="0">
                <a:pos x="connsiteX21238" y="connsiteY21238"/>
              </a:cxn>
              <a:cxn ang="0">
                <a:pos x="connsiteX21239" y="connsiteY21239"/>
              </a:cxn>
              <a:cxn ang="0">
                <a:pos x="connsiteX21240" y="connsiteY21240"/>
              </a:cxn>
              <a:cxn ang="0">
                <a:pos x="connsiteX21241" y="connsiteY21241"/>
              </a:cxn>
              <a:cxn ang="0">
                <a:pos x="connsiteX21242" y="connsiteY21242"/>
              </a:cxn>
              <a:cxn ang="0">
                <a:pos x="connsiteX21243" y="connsiteY21243"/>
              </a:cxn>
              <a:cxn ang="0">
                <a:pos x="connsiteX21244" y="connsiteY21244"/>
              </a:cxn>
              <a:cxn ang="0">
                <a:pos x="connsiteX21245" y="connsiteY21245"/>
              </a:cxn>
              <a:cxn ang="0">
                <a:pos x="connsiteX21246" y="connsiteY21246"/>
              </a:cxn>
              <a:cxn ang="0">
                <a:pos x="connsiteX21247" y="connsiteY21247"/>
              </a:cxn>
              <a:cxn ang="0">
                <a:pos x="connsiteX21248" y="connsiteY21248"/>
              </a:cxn>
              <a:cxn ang="0">
                <a:pos x="connsiteX21249" y="connsiteY21249"/>
              </a:cxn>
              <a:cxn ang="0">
                <a:pos x="connsiteX21250" y="connsiteY21250"/>
              </a:cxn>
              <a:cxn ang="0">
                <a:pos x="connsiteX21251" y="connsiteY21251"/>
              </a:cxn>
              <a:cxn ang="0">
                <a:pos x="connsiteX21252" y="connsiteY21252"/>
              </a:cxn>
              <a:cxn ang="0">
                <a:pos x="connsiteX21253" y="connsiteY21253"/>
              </a:cxn>
              <a:cxn ang="0">
                <a:pos x="connsiteX21254" y="connsiteY21254"/>
              </a:cxn>
              <a:cxn ang="0">
                <a:pos x="connsiteX21255" y="connsiteY21255"/>
              </a:cxn>
              <a:cxn ang="0">
                <a:pos x="connsiteX21256" y="connsiteY21256"/>
              </a:cxn>
              <a:cxn ang="0">
                <a:pos x="connsiteX21257" y="connsiteY21257"/>
              </a:cxn>
              <a:cxn ang="0">
                <a:pos x="connsiteX21258" y="connsiteY21258"/>
              </a:cxn>
              <a:cxn ang="0">
                <a:pos x="connsiteX21259" y="connsiteY21259"/>
              </a:cxn>
              <a:cxn ang="0">
                <a:pos x="connsiteX21260" y="connsiteY21260"/>
              </a:cxn>
              <a:cxn ang="0">
                <a:pos x="connsiteX21261" y="connsiteY21261"/>
              </a:cxn>
              <a:cxn ang="0">
                <a:pos x="connsiteX21262" y="connsiteY21262"/>
              </a:cxn>
              <a:cxn ang="0">
                <a:pos x="connsiteX21263" y="connsiteY21263"/>
              </a:cxn>
              <a:cxn ang="0">
                <a:pos x="connsiteX21264" y="connsiteY21264"/>
              </a:cxn>
              <a:cxn ang="0">
                <a:pos x="connsiteX21265" y="connsiteY21265"/>
              </a:cxn>
              <a:cxn ang="0">
                <a:pos x="connsiteX21266" y="connsiteY21266"/>
              </a:cxn>
              <a:cxn ang="0">
                <a:pos x="connsiteX21267" y="connsiteY21267"/>
              </a:cxn>
              <a:cxn ang="0">
                <a:pos x="connsiteX21268" y="connsiteY21268"/>
              </a:cxn>
              <a:cxn ang="0">
                <a:pos x="connsiteX21269" y="connsiteY21269"/>
              </a:cxn>
              <a:cxn ang="0">
                <a:pos x="connsiteX21270" y="connsiteY21270"/>
              </a:cxn>
              <a:cxn ang="0">
                <a:pos x="connsiteX21271" y="connsiteY21271"/>
              </a:cxn>
              <a:cxn ang="0">
                <a:pos x="connsiteX21272" y="connsiteY21272"/>
              </a:cxn>
              <a:cxn ang="0">
                <a:pos x="connsiteX21273" y="connsiteY21273"/>
              </a:cxn>
              <a:cxn ang="0">
                <a:pos x="connsiteX21274" y="connsiteY21274"/>
              </a:cxn>
              <a:cxn ang="0">
                <a:pos x="connsiteX21275" y="connsiteY21275"/>
              </a:cxn>
              <a:cxn ang="0">
                <a:pos x="connsiteX21276" y="connsiteY21276"/>
              </a:cxn>
              <a:cxn ang="0">
                <a:pos x="connsiteX21277" y="connsiteY21277"/>
              </a:cxn>
              <a:cxn ang="0">
                <a:pos x="connsiteX21278" y="connsiteY21278"/>
              </a:cxn>
              <a:cxn ang="0">
                <a:pos x="connsiteX21279" y="connsiteY21279"/>
              </a:cxn>
              <a:cxn ang="0">
                <a:pos x="connsiteX21280" y="connsiteY21280"/>
              </a:cxn>
              <a:cxn ang="0">
                <a:pos x="connsiteX21281" y="connsiteY21281"/>
              </a:cxn>
              <a:cxn ang="0">
                <a:pos x="connsiteX21282" y="connsiteY21282"/>
              </a:cxn>
              <a:cxn ang="0">
                <a:pos x="connsiteX21283" y="connsiteY21283"/>
              </a:cxn>
              <a:cxn ang="0">
                <a:pos x="connsiteX21284" y="connsiteY21284"/>
              </a:cxn>
              <a:cxn ang="0">
                <a:pos x="connsiteX21285" y="connsiteY21285"/>
              </a:cxn>
              <a:cxn ang="0">
                <a:pos x="connsiteX21286" y="connsiteY21286"/>
              </a:cxn>
              <a:cxn ang="0">
                <a:pos x="connsiteX21287" y="connsiteY21287"/>
              </a:cxn>
              <a:cxn ang="0">
                <a:pos x="connsiteX21288" y="connsiteY21288"/>
              </a:cxn>
              <a:cxn ang="0">
                <a:pos x="connsiteX21289" y="connsiteY21289"/>
              </a:cxn>
              <a:cxn ang="0">
                <a:pos x="connsiteX21290" y="connsiteY21290"/>
              </a:cxn>
              <a:cxn ang="0">
                <a:pos x="connsiteX21291" y="connsiteY21291"/>
              </a:cxn>
              <a:cxn ang="0">
                <a:pos x="connsiteX21292" y="connsiteY21292"/>
              </a:cxn>
              <a:cxn ang="0">
                <a:pos x="connsiteX21293" y="connsiteY21293"/>
              </a:cxn>
              <a:cxn ang="0">
                <a:pos x="connsiteX21294" y="connsiteY21294"/>
              </a:cxn>
              <a:cxn ang="0">
                <a:pos x="connsiteX21295" y="connsiteY21295"/>
              </a:cxn>
              <a:cxn ang="0">
                <a:pos x="connsiteX21296" y="connsiteY21296"/>
              </a:cxn>
              <a:cxn ang="0">
                <a:pos x="connsiteX21297" y="connsiteY21297"/>
              </a:cxn>
              <a:cxn ang="0">
                <a:pos x="connsiteX21298" y="connsiteY21298"/>
              </a:cxn>
              <a:cxn ang="0">
                <a:pos x="connsiteX21299" y="connsiteY21299"/>
              </a:cxn>
              <a:cxn ang="0">
                <a:pos x="connsiteX21300" y="connsiteY21300"/>
              </a:cxn>
              <a:cxn ang="0">
                <a:pos x="connsiteX21301" y="connsiteY21301"/>
              </a:cxn>
              <a:cxn ang="0">
                <a:pos x="connsiteX21302" y="connsiteY21302"/>
              </a:cxn>
              <a:cxn ang="0">
                <a:pos x="connsiteX21303" y="connsiteY21303"/>
              </a:cxn>
              <a:cxn ang="0">
                <a:pos x="connsiteX21304" y="connsiteY21304"/>
              </a:cxn>
              <a:cxn ang="0">
                <a:pos x="connsiteX21305" y="connsiteY21305"/>
              </a:cxn>
              <a:cxn ang="0">
                <a:pos x="connsiteX21306" y="connsiteY21306"/>
              </a:cxn>
              <a:cxn ang="0">
                <a:pos x="connsiteX21307" y="connsiteY21307"/>
              </a:cxn>
              <a:cxn ang="0">
                <a:pos x="connsiteX21308" y="connsiteY21308"/>
              </a:cxn>
              <a:cxn ang="0">
                <a:pos x="connsiteX21309" y="connsiteY21309"/>
              </a:cxn>
              <a:cxn ang="0">
                <a:pos x="connsiteX21310" y="connsiteY21310"/>
              </a:cxn>
              <a:cxn ang="0">
                <a:pos x="connsiteX21311" y="connsiteY21311"/>
              </a:cxn>
              <a:cxn ang="0">
                <a:pos x="connsiteX21312" y="connsiteY21312"/>
              </a:cxn>
              <a:cxn ang="0">
                <a:pos x="connsiteX21313" y="connsiteY21313"/>
              </a:cxn>
              <a:cxn ang="0">
                <a:pos x="connsiteX21314" y="connsiteY21314"/>
              </a:cxn>
              <a:cxn ang="0">
                <a:pos x="connsiteX21315" y="connsiteY21315"/>
              </a:cxn>
              <a:cxn ang="0">
                <a:pos x="connsiteX21316" y="connsiteY21316"/>
              </a:cxn>
              <a:cxn ang="0">
                <a:pos x="connsiteX21317" y="connsiteY21317"/>
              </a:cxn>
              <a:cxn ang="0">
                <a:pos x="connsiteX21318" y="connsiteY21318"/>
              </a:cxn>
              <a:cxn ang="0">
                <a:pos x="connsiteX21319" y="connsiteY21319"/>
              </a:cxn>
              <a:cxn ang="0">
                <a:pos x="connsiteX21320" y="connsiteY21320"/>
              </a:cxn>
              <a:cxn ang="0">
                <a:pos x="connsiteX21321" y="connsiteY21321"/>
              </a:cxn>
              <a:cxn ang="0">
                <a:pos x="connsiteX21322" y="connsiteY21322"/>
              </a:cxn>
              <a:cxn ang="0">
                <a:pos x="connsiteX21323" y="connsiteY21323"/>
              </a:cxn>
              <a:cxn ang="0">
                <a:pos x="connsiteX21324" y="connsiteY21324"/>
              </a:cxn>
              <a:cxn ang="0">
                <a:pos x="connsiteX21325" y="connsiteY21325"/>
              </a:cxn>
              <a:cxn ang="0">
                <a:pos x="connsiteX21326" y="connsiteY21326"/>
              </a:cxn>
              <a:cxn ang="0">
                <a:pos x="connsiteX21327" y="connsiteY21327"/>
              </a:cxn>
              <a:cxn ang="0">
                <a:pos x="connsiteX21328" y="connsiteY21328"/>
              </a:cxn>
              <a:cxn ang="0">
                <a:pos x="connsiteX21329" y="connsiteY21329"/>
              </a:cxn>
              <a:cxn ang="0">
                <a:pos x="connsiteX21330" y="connsiteY21330"/>
              </a:cxn>
              <a:cxn ang="0">
                <a:pos x="connsiteX21331" y="connsiteY21331"/>
              </a:cxn>
              <a:cxn ang="0">
                <a:pos x="connsiteX21332" y="connsiteY21332"/>
              </a:cxn>
              <a:cxn ang="0">
                <a:pos x="connsiteX21333" y="connsiteY21333"/>
              </a:cxn>
              <a:cxn ang="0">
                <a:pos x="connsiteX21334" y="connsiteY21334"/>
              </a:cxn>
              <a:cxn ang="0">
                <a:pos x="connsiteX21335" y="connsiteY21335"/>
              </a:cxn>
              <a:cxn ang="0">
                <a:pos x="connsiteX21336" y="connsiteY21336"/>
              </a:cxn>
              <a:cxn ang="0">
                <a:pos x="connsiteX21337" y="connsiteY21337"/>
              </a:cxn>
              <a:cxn ang="0">
                <a:pos x="connsiteX21338" y="connsiteY21338"/>
              </a:cxn>
              <a:cxn ang="0">
                <a:pos x="connsiteX21339" y="connsiteY21339"/>
              </a:cxn>
              <a:cxn ang="0">
                <a:pos x="connsiteX21340" y="connsiteY21340"/>
              </a:cxn>
              <a:cxn ang="0">
                <a:pos x="connsiteX21341" y="connsiteY21341"/>
              </a:cxn>
              <a:cxn ang="0">
                <a:pos x="connsiteX21342" y="connsiteY21342"/>
              </a:cxn>
              <a:cxn ang="0">
                <a:pos x="connsiteX21343" y="connsiteY21343"/>
              </a:cxn>
              <a:cxn ang="0">
                <a:pos x="connsiteX21344" y="connsiteY21344"/>
              </a:cxn>
              <a:cxn ang="0">
                <a:pos x="connsiteX21345" y="connsiteY21345"/>
              </a:cxn>
              <a:cxn ang="0">
                <a:pos x="connsiteX21346" y="connsiteY21346"/>
              </a:cxn>
              <a:cxn ang="0">
                <a:pos x="connsiteX21347" y="connsiteY21347"/>
              </a:cxn>
              <a:cxn ang="0">
                <a:pos x="connsiteX21348" y="connsiteY21348"/>
              </a:cxn>
              <a:cxn ang="0">
                <a:pos x="connsiteX21349" y="connsiteY21349"/>
              </a:cxn>
              <a:cxn ang="0">
                <a:pos x="connsiteX21350" y="connsiteY21350"/>
              </a:cxn>
              <a:cxn ang="0">
                <a:pos x="connsiteX21351" y="connsiteY21351"/>
              </a:cxn>
              <a:cxn ang="0">
                <a:pos x="connsiteX21352" y="connsiteY21352"/>
              </a:cxn>
              <a:cxn ang="0">
                <a:pos x="connsiteX21353" y="connsiteY21353"/>
              </a:cxn>
              <a:cxn ang="0">
                <a:pos x="connsiteX21354" y="connsiteY21354"/>
              </a:cxn>
              <a:cxn ang="0">
                <a:pos x="connsiteX21355" y="connsiteY21355"/>
              </a:cxn>
              <a:cxn ang="0">
                <a:pos x="connsiteX21356" y="connsiteY21356"/>
              </a:cxn>
              <a:cxn ang="0">
                <a:pos x="connsiteX21357" y="connsiteY21357"/>
              </a:cxn>
              <a:cxn ang="0">
                <a:pos x="connsiteX21358" y="connsiteY21358"/>
              </a:cxn>
              <a:cxn ang="0">
                <a:pos x="connsiteX21359" y="connsiteY21359"/>
              </a:cxn>
              <a:cxn ang="0">
                <a:pos x="connsiteX21360" y="connsiteY21360"/>
              </a:cxn>
              <a:cxn ang="0">
                <a:pos x="connsiteX21361" y="connsiteY21361"/>
              </a:cxn>
              <a:cxn ang="0">
                <a:pos x="connsiteX21362" y="connsiteY21362"/>
              </a:cxn>
              <a:cxn ang="0">
                <a:pos x="connsiteX21363" y="connsiteY21363"/>
              </a:cxn>
              <a:cxn ang="0">
                <a:pos x="connsiteX21364" y="connsiteY21364"/>
              </a:cxn>
              <a:cxn ang="0">
                <a:pos x="connsiteX21365" y="connsiteY21365"/>
              </a:cxn>
              <a:cxn ang="0">
                <a:pos x="connsiteX21366" y="connsiteY21366"/>
              </a:cxn>
              <a:cxn ang="0">
                <a:pos x="connsiteX21367" y="connsiteY21367"/>
              </a:cxn>
              <a:cxn ang="0">
                <a:pos x="connsiteX21368" y="connsiteY21368"/>
              </a:cxn>
              <a:cxn ang="0">
                <a:pos x="connsiteX21369" y="connsiteY21369"/>
              </a:cxn>
              <a:cxn ang="0">
                <a:pos x="connsiteX21370" y="connsiteY21370"/>
              </a:cxn>
              <a:cxn ang="0">
                <a:pos x="connsiteX21371" y="connsiteY21371"/>
              </a:cxn>
              <a:cxn ang="0">
                <a:pos x="connsiteX21372" y="connsiteY21372"/>
              </a:cxn>
              <a:cxn ang="0">
                <a:pos x="connsiteX21373" y="connsiteY21373"/>
              </a:cxn>
              <a:cxn ang="0">
                <a:pos x="connsiteX21374" y="connsiteY21374"/>
              </a:cxn>
              <a:cxn ang="0">
                <a:pos x="connsiteX21375" y="connsiteY21375"/>
              </a:cxn>
              <a:cxn ang="0">
                <a:pos x="connsiteX21376" y="connsiteY21376"/>
              </a:cxn>
              <a:cxn ang="0">
                <a:pos x="connsiteX21377" y="connsiteY21377"/>
              </a:cxn>
              <a:cxn ang="0">
                <a:pos x="connsiteX21378" y="connsiteY21378"/>
              </a:cxn>
              <a:cxn ang="0">
                <a:pos x="connsiteX21379" y="connsiteY21379"/>
              </a:cxn>
              <a:cxn ang="0">
                <a:pos x="connsiteX21380" y="connsiteY21380"/>
              </a:cxn>
              <a:cxn ang="0">
                <a:pos x="connsiteX21381" y="connsiteY21381"/>
              </a:cxn>
              <a:cxn ang="0">
                <a:pos x="connsiteX21382" y="connsiteY21382"/>
              </a:cxn>
              <a:cxn ang="0">
                <a:pos x="connsiteX21383" y="connsiteY21383"/>
              </a:cxn>
              <a:cxn ang="0">
                <a:pos x="connsiteX21384" y="connsiteY21384"/>
              </a:cxn>
              <a:cxn ang="0">
                <a:pos x="connsiteX21385" y="connsiteY21385"/>
              </a:cxn>
              <a:cxn ang="0">
                <a:pos x="connsiteX21386" y="connsiteY21386"/>
              </a:cxn>
              <a:cxn ang="0">
                <a:pos x="connsiteX21387" y="connsiteY21387"/>
              </a:cxn>
              <a:cxn ang="0">
                <a:pos x="connsiteX21388" y="connsiteY21388"/>
              </a:cxn>
              <a:cxn ang="0">
                <a:pos x="connsiteX21389" y="connsiteY21389"/>
              </a:cxn>
              <a:cxn ang="0">
                <a:pos x="connsiteX21390" y="connsiteY21390"/>
              </a:cxn>
              <a:cxn ang="0">
                <a:pos x="connsiteX21391" y="connsiteY21391"/>
              </a:cxn>
              <a:cxn ang="0">
                <a:pos x="connsiteX21392" y="connsiteY21392"/>
              </a:cxn>
              <a:cxn ang="0">
                <a:pos x="connsiteX21393" y="connsiteY21393"/>
              </a:cxn>
              <a:cxn ang="0">
                <a:pos x="connsiteX21394" y="connsiteY21394"/>
              </a:cxn>
              <a:cxn ang="0">
                <a:pos x="connsiteX21395" y="connsiteY21395"/>
              </a:cxn>
              <a:cxn ang="0">
                <a:pos x="connsiteX21396" y="connsiteY21396"/>
              </a:cxn>
              <a:cxn ang="0">
                <a:pos x="connsiteX21397" y="connsiteY21397"/>
              </a:cxn>
              <a:cxn ang="0">
                <a:pos x="connsiteX21398" y="connsiteY21398"/>
              </a:cxn>
              <a:cxn ang="0">
                <a:pos x="connsiteX21399" y="connsiteY21399"/>
              </a:cxn>
              <a:cxn ang="0">
                <a:pos x="connsiteX21400" y="connsiteY21400"/>
              </a:cxn>
              <a:cxn ang="0">
                <a:pos x="connsiteX21401" y="connsiteY21401"/>
              </a:cxn>
              <a:cxn ang="0">
                <a:pos x="connsiteX21402" y="connsiteY21402"/>
              </a:cxn>
              <a:cxn ang="0">
                <a:pos x="connsiteX21403" y="connsiteY21403"/>
              </a:cxn>
              <a:cxn ang="0">
                <a:pos x="connsiteX21404" y="connsiteY21404"/>
              </a:cxn>
              <a:cxn ang="0">
                <a:pos x="connsiteX21405" y="connsiteY21405"/>
              </a:cxn>
              <a:cxn ang="0">
                <a:pos x="connsiteX21406" y="connsiteY21406"/>
              </a:cxn>
              <a:cxn ang="0">
                <a:pos x="connsiteX21407" y="connsiteY21407"/>
              </a:cxn>
              <a:cxn ang="0">
                <a:pos x="connsiteX21408" y="connsiteY21408"/>
              </a:cxn>
              <a:cxn ang="0">
                <a:pos x="connsiteX21409" y="connsiteY21409"/>
              </a:cxn>
              <a:cxn ang="0">
                <a:pos x="connsiteX21410" y="connsiteY21410"/>
              </a:cxn>
              <a:cxn ang="0">
                <a:pos x="connsiteX21411" y="connsiteY21411"/>
              </a:cxn>
              <a:cxn ang="0">
                <a:pos x="connsiteX21412" y="connsiteY21412"/>
              </a:cxn>
              <a:cxn ang="0">
                <a:pos x="connsiteX21413" y="connsiteY21413"/>
              </a:cxn>
              <a:cxn ang="0">
                <a:pos x="connsiteX21414" y="connsiteY21414"/>
              </a:cxn>
              <a:cxn ang="0">
                <a:pos x="connsiteX21415" y="connsiteY21415"/>
              </a:cxn>
              <a:cxn ang="0">
                <a:pos x="connsiteX21416" y="connsiteY21416"/>
              </a:cxn>
              <a:cxn ang="0">
                <a:pos x="connsiteX21417" y="connsiteY21417"/>
              </a:cxn>
              <a:cxn ang="0">
                <a:pos x="connsiteX21418" y="connsiteY21418"/>
              </a:cxn>
              <a:cxn ang="0">
                <a:pos x="connsiteX21419" y="connsiteY21419"/>
              </a:cxn>
              <a:cxn ang="0">
                <a:pos x="connsiteX21420" y="connsiteY21420"/>
              </a:cxn>
              <a:cxn ang="0">
                <a:pos x="connsiteX21421" y="connsiteY21421"/>
              </a:cxn>
              <a:cxn ang="0">
                <a:pos x="connsiteX21422" y="connsiteY21422"/>
              </a:cxn>
              <a:cxn ang="0">
                <a:pos x="connsiteX21423" y="connsiteY21423"/>
              </a:cxn>
              <a:cxn ang="0">
                <a:pos x="connsiteX21424" y="connsiteY21424"/>
              </a:cxn>
              <a:cxn ang="0">
                <a:pos x="connsiteX21425" y="connsiteY21425"/>
              </a:cxn>
              <a:cxn ang="0">
                <a:pos x="connsiteX21426" y="connsiteY21426"/>
              </a:cxn>
              <a:cxn ang="0">
                <a:pos x="connsiteX21427" y="connsiteY21427"/>
              </a:cxn>
              <a:cxn ang="0">
                <a:pos x="connsiteX21428" y="connsiteY21428"/>
              </a:cxn>
              <a:cxn ang="0">
                <a:pos x="connsiteX21429" y="connsiteY21429"/>
              </a:cxn>
              <a:cxn ang="0">
                <a:pos x="connsiteX21430" y="connsiteY21430"/>
              </a:cxn>
              <a:cxn ang="0">
                <a:pos x="connsiteX21431" y="connsiteY21431"/>
              </a:cxn>
              <a:cxn ang="0">
                <a:pos x="connsiteX21432" y="connsiteY21432"/>
              </a:cxn>
              <a:cxn ang="0">
                <a:pos x="connsiteX21433" y="connsiteY21433"/>
              </a:cxn>
              <a:cxn ang="0">
                <a:pos x="connsiteX21434" y="connsiteY21434"/>
              </a:cxn>
              <a:cxn ang="0">
                <a:pos x="connsiteX21435" y="connsiteY21435"/>
              </a:cxn>
              <a:cxn ang="0">
                <a:pos x="connsiteX21436" y="connsiteY21436"/>
              </a:cxn>
              <a:cxn ang="0">
                <a:pos x="connsiteX21437" y="connsiteY21437"/>
              </a:cxn>
              <a:cxn ang="0">
                <a:pos x="connsiteX21438" y="connsiteY21438"/>
              </a:cxn>
              <a:cxn ang="0">
                <a:pos x="connsiteX21439" y="connsiteY21439"/>
              </a:cxn>
              <a:cxn ang="0">
                <a:pos x="connsiteX21440" y="connsiteY21440"/>
              </a:cxn>
              <a:cxn ang="0">
                <a:pos x="connsiteX21441" y="connsiteY21441"/>
              </a:cxn>
              <a:cxn ang="0">
                <a:pos x="connsiteX21442" y="connsiteY21442"/>
              </a:cxn>
              <a:cxn ang="0">
                <a:pos x="connsiteX21443" y="connsiteY21443"/>
              </a:cxn>
              <a:cxn ang="0">
                <a:pos x="connsiteX21444" y="connsiteY21444"/>
              </a:cxn>
              <a:cxn ang="0">
                <a:pos x="connsiteX21445" y="connsiteY21445"/>
              </a:cxn>
              <a:cxn ang="0">
                <a:pos x="connsiteX21446" y="connsiteY21446"/>
              </a:cxn>
              <a:cxn ang="0">
                <a:pos x="connsiteX21447" y="connsiteY21447"/>
              </a:cxn>
              <a:cxn ang="0">
                <a:pos x="connsiteX21448" y="connsiteY21448"/>
              </a:cxn>
              <a:cxn ang="0">
                <a:pos x="connsiteX21449" y="connsiteY21449"/>
              </a:cxn>
              <a:cxn ang="0">
                <a:pos x="connsiteX21450" y="connsiteY21450"/>
              </a:cxn>
              <a:cxn ang="0">
                <a:pos x="connsiteX21451" y="connsiteY21451"/>
              </a:cxn>
              <a:cxn ang="0">
                <a:pos x="connsiteX21452" y="connsiteY21452"/>
              </a:cxn>
              <a:cxn ang="0">
                <a:pos x="connsiteX21453" y="connsiteY21453"/>
              </a:cxn>
              <a:cxn ang="0">
                <a:pos x="connsiteX21454" y="connsiteY21454"/>
              </a:cxn>
              <a:cxn ang="0">
                <a:pos x="connsiteX21455" y="connsiteY21455"/>
              </a:cxn>
              <a:cxn ang="0">
                <a:pos x="connsiteX21456" y="connsiteY21456"/>
              </a:cxn>
              <a:cxn ang="0">
                <a:pos x="connsiteX21457" y="connsiteY21457"/>
              </a:cxn>
              <a:cxn ang="0">
                <a:pos x="connsiteX21458" y="connsiteY21458"/>
              </a:cxn>
              <a:cxn ang="0">
                <a:pos x="connsiteX21459" y="connsiteY21459"/>
              </a:cxn>
              <a:cxn ang="0">
                <a:pos x="connsiteX21460" y="connsiteY21460"/>
              </a:cxn>
              <a:cxn ang="0">
                <a:pos x="connsiteX21461" y="connsiteY21461"/>
              </a:cxn>
              <a:cxn ang="0">
                <a:pos x="connsiteX21462" y="connsiteY21462"/>
              </a:cxn>
              <a:cxn ang="0">
                <a:pos x="connsiteX21463" y="connsiteY21463"/>
              </a:cxn>
              <a:cxn ang="0">
                <a:pos x="connsiteX21464" y="connsiteY21464"/>
              </a:cxn>
              <a:cxn ang="0">
                <a:pos x="connsiteX21465" y="connsiteY21465"/>
              </a:cxn>
              <a:cxn ang="0">
                <a:pos x="connsiteX21466" y="connsiteY21466"/>
              </a:cxn>
              <a:cxn ang="0">
                <a:pos x="connsiteX21467" y="connsiteY21467"/>
              </a:cxn>
              <a:cxn ang="0">
                <a:pos x="connsiteX21468" y="connsiteY21468"/>
              </a:cxn>
              <a:cxn ang="0">
                <a:pos x="connsiteX21469" y="connsiteY21469"/>
              </a:cxn>
              <a:cxn ang="0">
                <a:pos x="connsiteX21470" y="connsiteY21470"/>
              </a:cxn>
              <a:cxn ang="0">
                <a:pos x="connsiteX21471" y="connsiteY21471"/>
              </a:cxn>
              <a:cxn ang="0">
                <a:pos x="connsiteX21472" y="connsiteY21472"/>
              </a:cxn>
              <a:cxn ang="0">
                <a:pos x="connsiteX21473" y="connsiteY21473"/>
              </a:cxn>
              <a:cxn ang="0">
                <a:pos x="connsiteX21474" y="connsiteY21474"/>
              </a:cxn>
              <a:cxn ang="0">
                <a:pos x="connsiteX21475" y="connsiteY21475"/>
              </a:cxn>
              <a:cxn ang="0">
                <a:pos x="connsiteX21476" y="connsiteY21476"/>
              </a:cxn>
              <a:cxn ang="0">
                <a:pos x="connsiteX21477" y="connsiteY21477"/>
              </a:cxn>
              <a:cxn ang="0">
                <a:pos x="connsiteX21478" y="connsiteY21478"/>
              </a:cxn>
              <a:cxn ang="0">
                <a:pos x="connsiteX21479" y="connsiteY21479"/>
              </a:cxn>
              <a:cxn ang="0">
                <a:pos x="connsiteX21480" y="connsiteY21480"/>
              </a:cxn>
              <a:cxn ang="0">
                <a:pos x="connsiteX21481" y="connsiteY21481"/>
              </a:cxn>
              <a:cxn ang="0">
                <a:pos x="connsiteX21482" y="connsiteY21482"/>
              </a:cxn>
              <a:cxn ang="0">
                <a:pos x="connsiteX21483" y="connsiteY21483"/>
              </a:cxn>
              <a:cxn ang="0">
                <a:pos x="connsiteX21484" y="connsiteY21484"/>
              </a:cxn>
              <a:cxn ang="0">
                <a:pos x="connsiteX21485" y="connsiteY21485"/>
              </a:cxn>
              <a:cxn ang="0">
                <a:pos x="connsiteX21486" y="connsiteY21486"/>
              </a:cxn>
              <a:cxn ang="0">
                <a:pos x="connsiteX21487" y="connsiteY21487"/>
              </a:cxn>
              <a:cxn ang="0">
                <a:pos x="connsiteX21488" y="connsiteY21488"/>
              </a:cxn>
              <a:cxn ang="0">
                <a:pos x="connsiteX21489" y="connsiteY21489"/>
              </a:cxn>
              <a:cxn ang="0">
                <a:pos x="connsiteX21490" y="connsiteY21490"/>
              </a:cxn>
              <a:cxn ang="0">
                <a:pos x="connsiteX21491" y="connsiteY21491"/>
              </a:cxn>
              <a:cxn ang="0">
                <a:pos x="connsiteX21492" y="connsiteY21492"/>
              </a:cxn>
              <a:cxn ang="0">
                <a:pos x="connsiteX21493" y="connsiteY21493"/>
              </a:cxn>
              <a:cxn ang="0">
                <a:pos x="connsiteX21494" y="connsiteY21494"/>
              </a:cxn>
              <a:cxn ang="0">
                <a:pos x="connsiteX21495" y="connsiteY21495"/>
              </a:cxn>
              <a:cxn ang="0">
                <a:pos x="connsiteX21496" y="connsiteY21496"/>
              </a:cxn>
              <a:cxn ang="0">
                <a:pos x="connsiteX21497" y="connsiteY21497"/>
              </a:cxn>
              <a:cxn ang="0">
                <a:pos x="connsiteX21498" y="connsiteY21498"/>
              </a:cxn>
              <a:cxn ang="0">
                <a:pos x="connsiteX21499" y="connsiteY21499"/>
              </a:cxn>
              <a:cxn ang="0">
                <a:pos x="connsiteX21500" y="connsiteY21500"/>
              </a:cxn>
              <a:cxn ang="0">
                <a:pos x="connsiteX21501" y="connsiteY21501"/>
              </a:cxn>
              <a:cxn ang="0">
                <a:pos x="connsiteX21502" y="connsiteY21502"/>
              </a:cxn>
              <a:cxn ang="0">
                <a:pos x="connsiteX21503" y="connsiteY21503"/>
              </a:cxn>
              <a:cxn ang="0">
                <a:pos x="connsiteX21504" y="connsiteY21504"/>
              </a:cxn>
              <a:cxn ang="0">
                <a:pos x="connsiteX21505" y="connsiteY21505"/>
              </a:cxn>
              <a:cxn ang="0">
                <a:pos x="connsiteX21506" y="connsiteY21506"/>
              </a:cxn>
              <a:cxn ang="0">
                <a:pos x="connsiteX21507" y="connsiteY21507"/>
              </a:cxn>
              <a:cxn ang="0">
                <a:pos x="connsiteX21508" y="connsiteY21508"/>
              </a:cxn>
              <a:cxn ang="0">
                <a:pos x="connsiteX21509" y="connsiteY21509"/>
              </a:cxn>
              <a:cxn ang="0">
                <a:pos x="connsiteX21510" y="connsiteY21510"/>
              </a:cxn>
              <a:cxn ang="0">
                <a:pos x="connsiteX21511" y="connsiteY21511"/>
              </a:cxn>
              <a:cxn ang="0">
                <a:pos x="connsiteX21512" y="connsiteY21512"/>
              </a:cxn>
              <a:cxn ang="0">
                <a:pos x="connsiteX21513" y="connsiteY21513"/>
              </a:cxn>
              <a:cxn ang="0">
                <a:pos x="connsiteX21514" y="connsiteY21514"/>
              </a:cxn>
              <a:cxn ang="0">
                <a:pos x="connsiteX21515" y="connsiteY21515"/>
              </a:cxn>
              <a:cxn ang="0">
                <a:pos x="connsiteX21516" y="connsiteY21516"/>
              </a:cxn>
              <a:cxn ang="0">
                <a:pos x="connsiteX21517" y="connsiteY21517"/>
              </a:cxn>
              <a:cxn ang="0">
                <a:pos x="connsiteX21518" y="connsiteY21518"/>
              </a:cxn>
              <a:cxn ang="0">
                <a:pos x="connsiteX21519" y="connsiteY21519"/>
              </a:cxn>
              <a:cxn ang="0">
                <a:pos x="connsiteX21520" y="connsiteY21520"/>
              </a:cxn>
              <a:cxn ang="0">
                <a:pos x="connsiteX21521" y="connsiteY21521"/>
              </a:cxn>
              <a:cxn ang="0">
                <a:pos x="connsiteX21522" y="connsiteY21522"/>
              </a:cxn>
              <a:cxn ang="0">
                <a:pos x="connsiteX21523" y="connsiteY21523"/>
              </a:cxn>
              <a:cxn ang="0">
                <a:pos x="connsiteX21524" y="connsiteY21524"/>
              </a:cxn>
              <a:cxn ang="0">
                <a:pos x="connsiteX21525" y="connsiteY21525"/>
              </a:cxn>
              <a:cxn ang="0">
                <a:pos x="connsiteX21526" y="connsiteY21526"/>
              </a:cxn>
              <a:cxn ang="0">
                <a:pos x="connsiteX21527" y="connsiteY21527"/>
              </a:cxn>
              <a:cxn ang="0">
                <a:pos x="connsiteX21528" y="connsiteY21528"/>
              </a:cxn>
              <a:cxn ang="0">
                <a:pos x="connsiteX21529" y="connsiteY21529"/>
              </a:cxn>
              <a:cxn ang="0">
                <a:pos x="connsiteX21530" y="connsiteY21530"/>
              </a:cxn>
              <a:cxn ang="0">
                <a:pos x="connsiteX21531" y="connsiteY21531"/>
              </a:cxn>
              <a:cxn ang="0">
                <a:pos x="connsiteX21532" y="connsiteY21532"/>
              </a:cxn>
              <a:cxn ang="0">
                <a:pos x="connsiteX21533" y="connsiteY21533"/>
              </a:cxn>
              <a:cxn ang="0">
                <a:pos x="connsiteX21534" y="connsiteY21534"/>
              </a:cxn>
              <a:cxn ang="0">
                <a:pos x="connsiteX21535" y="connsiteY21535"/>
              </a:cxn>
              <a:cxn ang="0">
                <a:pos x="connsiteX21536" y="connsiteY21536"/>
              </a:cxn>
              <a:cxn ang="0">
                <a:pos x="connsiteX21537" y="connsiteY21537"/>
              </a:cxn>
              <a:cxn ang="0">
                <a:pos x="connsiteX21538" y="connsiteY21538"/>
              </a:cxn>
              <a:cxn ang="0">
                <a:pos x="connsiteX21539" y="connsiteY21539"/>
              </a:cxn>
              <a:cxn ang="0">
                <a:pos x="connsiteX21540" y="connsiteY21540"/>
              </a:cxn>
              <a:cxn ang="0">
                <a:pos x="connsiteX21541" y="connsiteY21541"/>
              </a:cxn>
              <a:cxn ang="0">
                <a:pos x="connsiteX21542" y="connsiteY21542"/>
              </a:cxn>
              <a:cxn ang="0">
                <a:pos x="connsiteX21543" y="connsiteY21543"/>
              </a:cxn>
              <a:cxn ang="0">
                <a:pos x="connsiteX21544" y="connsiteY21544"/>
              </a:cxn>
              <a:cxn ang="0">
                <a:pos x="connsiteX21545" y="connsiteY21545"/>
              </a:cxn>
              <a:cxn ang="0">
                <a:pos x="connsiteX21546" y="connsiteY21546"/>
              </a:cxn>
              <a:cxn ang="0">
                <a:pos x="connsiteX21547" y="connsiteY21547"/>
              </a:cxn>
              <a:cxn ang="0">
                <a:pos x="connsiteX21548" y="connsiteY21548"/>
              </a:cxn>
              <a:cxn ang="0">
                <a:pos x="connsiteX21549" y="connsiteY21549"/>
              </a:cxn>
              <a:cxn ang="0">
                <a:pos x="connsiteX21550" y="connsiteY21550"/>
              </a:cxn>
              <a:cxn ang="0">
                <a:pos x="connsiteX21551" y="connsiteY21551"/>
              </a:cxn>
              <a:cxn ang="0">
                <a:pos x="connsiteX21552" y="connsiteY21552"/>
              </a:cxn>
              <a:cxn ang="0">
                <a:pos x="connsiteX21553" y="connsiteY21553"/>
              </a:cxn>
              <a:cxn ang="0">
                <a:pos x="connsiteX21554" y="connsiteY21554"/>
              </a:cxn>
              <a:cxn ang="0">
                <a:pos x="connsiteX21555" y="connsiteY21555"/>
              </a:cxn>
              <a:cxn ang="0">
                <a:pos x="connsiteX21556" y="connsiteY21556"/>
              </a:cxn>
              <a:cxn ang="0">
                <a:pos x="connsiteX21557" y="connsiteY21557"/>
              </a:cxn>
              <a:cxn ang="0">
                <a:pos x="connsiteX21558" y="connsiteY21558"/>
              </a:cxn>
              <a:cxn ang="0">
                <a:pos x="connsiteX21559" y="connsiteY21559"/>
              </a:cxn>
              <a:cxn ang="0">
                <a:pos x="connsiteX21560" y="connsiteY21560"/>
              </a:cxn>
              <a:cxn ang="0">
                <a:pos x="connsiteX21561" y="connsiteY21561"/>
              </a:cxn>
              <a:cxn ang="0">
                <a:pos x="connsiteX21562" y="connsiteY21562"/>
              </a:cxn>
              <a:cxn ang="0">
                <a:pos x="connsiteX21563" y="connsiteY21563"/>
              </a:cxn>
              <a:cxn ang="0">
                <a:pos x="connsiteX21564" y="connsiteY21564"/>
              </a:cxn>
              <a:cxn ang="0">
                <a:pos x="connsiteX21565" y="connsiteY21565"/>
              </a:cxn>
              <a:cxn ang="0">
                <a:pos x="connsiteX21566" y="connsiteY21566"/>
              </a:cxn>
              <a:cxn ang="0">
                <a:pos x="connsiteX21567" y="connsiteY21567"/>
              </a:cxn>
              <a:cxn ang="0">
                <a:pos x="connsiteX21568" y="connsiteY21568"/>
              </a:cxn>
              <a:cxn ang="0">
                <a:pos x="connsiteX21569" y="connsiteY21569"/>
              </a:cxn>
              <a:cxn ang="0">
                <a:pos x="connsiteX21570" y="connsiteY21570"/>
              </a:cxn>
              <a:cxn ang="0">
                <a:pos x="connsiteX21571" y="connsiteY21571"/>
              </a:cxn>
              <a:cxn ang="0">
                <a:pos x="connsiteX21572" y="connsiteY21572"/>
              </a:cxn>
              <a:cxn ang="0">
                <a:pos x="connsiteX21573" y="connsiteY21573"/>
              </a:cxn>
              <a:cxn ang="0">
                <a:pos x="connsiteX21574" y="connsiteY21574"/>
              </a:cxn>
              <a:cxn ang="0">
                <a:pos x="connsiteX21575" y="connsiteY21575"/>
              </a:cxn>
              <a:cxn ang="0">
                <a:pos x="connsiteX21576" y="connsiteY21576"/>
              </a:cxn>
              <a:cxn ang="0">
                <a:pos x="connsiteX21577" y="connsiteY21577"/>
              </a:cxn>
              <a:cxn ang="0">
                <a:pos x="connsiteX21578" y="connsiteY21578"/>
              </a:cxn>
              <a:cxn ang="0">
                <a:pos x="connsiteX21579" y="connsiteY21579"/>
              </a:cxn>
              <a:cxn ang="0">
                <a:pos x="connsiteX21580" y="connsiteY21580"/>
              </a:cxn>
              <a:cxn ang="0">
                <a:pos x="connsiteX21581" y="connsiteY21581"/>
              </a:cxn>
              <a:cxn ang="0">
                <a:pos x="connsiteX21582" y="connsiteY21582"/>
              </a:cxn>
              <a:cxn ang="0">
                <a:pos x="connsiteX21583" y="connsiteY21583"/>
              </a:cxn>
              <a:cxn ang="0">
                <a:pos x="connsiteX21584" y="connsiteY21584"/>
              </a:cxn>
              <a:cxn ang="0">
                <a:pos x="connsiteX21585" y="connsiteY21585"/>
              </a:cxn>
              <a:cxn ang="0">
                <a:pos x="connsiteX21586" y="connsiteY21586"/>
              </a:cxn>
              <a:cxn ang="0">
                <a:pos x="connsiteX21587" y="connsiteY21587"/>
              </a:cxn>
              <a:cxn ang="0">
                <a:pos x="connsiteX21588" y="connsiteY21588"/>
              </a:cxn>
              <a:cxn ang="0">
                <a:pos x="connsiteX21589" y="connsiteY21589"/>
              </a:cxn>
              <a:cxn ang="0">
                <a:pos x="connsiteX21590" y="connsiteY21590"/>
              </a:cxn>
              <a:cxn ang="0">
                <a:pos x="connsiteX21591" y="connsiteY21591"/>
              </a:cxn>
              <a:cxn ang="0">
                <a:pos x="connsiteX21592" y="connsiteY21592"/>
              </a:cxn>
              <a:cxn ang="0">
                <a:pos x="connsiteX21593" y="connsiteY21593"/>
              </a:cxn>
              <a:cxn ang="0">
                <a:pos x="connsiteX21594" y="connsiteY21594"/>
              </a:cxn>
              <a:cxn ang="0">
                <a:pos x="connsiteX21595" y="connsiteY21595"/>
              </a:cxn>
              <a:cxn ang="0">
                <a:pos x="connsiteX21596" y="connsiteY21596"/>
              </a:cxn>
              <a:cxn ang="0">
                <a:pos x="connsiteX21597" y="connsiteY21597"/>
              </a:cxn>
              <a:cxn ang="0">
                <a:pos x="connsiteX21598" y="connsiteY21598"/>
              </a:cxn>
              <a:cxn ang="0">
                <a:pos x="connsiteX21599" y="connsiteY21599"/>
              </a:cxn>
              <a:cxn ang="0">
                <a:pos x="connsiteX21600" y="connsiteY21600"/>
              </a:cxn>
              <a:cxn ang="0">
                <a:pos x="connsiteX21601" y="connsiteY21601"/>
              </a:cxn>
              <a:cxn ang="0">
                <a:pos x="connsiteX21602" y="connsiteY21602"/>
              </a:cxn>
              <a:cxn ang="0">
                <a:pos x="connsiteX21603" y="connsiteY21603"/>
              </a:cxn>
              <a:cxn ang="0">
                <a:pos x="connsiteX21604" y="connsiteY21604"/>
              </a:cxn>
              <a:cxn ang="0">
                <a:pos x="connsiteX21605" y="connsiteY21605"/>
              </a:cxn>
              <a:cxn ang="0">
                <a:pos x="connsiteX21606" y="connsiteY21606"/>
              </a:cxn>
              <a:cxn ang="0">
                <a:pos x="connsiteX21607" y="connsiteY21607"/>
              </a:cxn>
              <a:cxn ang="0">
                <a:pos x="connsiteX21608" y="connsiteY21608"/>
              </a:cxn>
              <a:cxn ang="0">
                <a:pos x="connsiteX21609" y="connsiteY21609"/>
              </a:cxn>
              <a:cxn ang="0">
                <a:pos x="connsiteX21610" y="connsiteY21610"/>
              </a:cxn>
              <a:cxn ang="0">
                <a:pos x="connsiteX21611" y="connsiteY21611"/>
              </a:cxn>
              <a:cxn ang="0">
                <a:pos x="connsiteX21612" y="connsiteY21612"/>
              </a:cxn>
              <a:cxn ang="0">
                <a:pos x="connsiteX21613" y="connsiteY21613"/>
              </a:cxn>
              <a:cxn ang="0">
                <a:pos x="connsiteX21614" y="connsiteY21614"/>
              </a:cxn>
              <a:cxn ang="0">
                <a:pos x="connsiteX21615" y="connsiteY21615"/>
              </a:cxn>
              <a:cxn ang="0">
                <a:pos x="connsiteX21616" y="connsiteY21616"/>
              </a:cxn>
              <a:cxn ang="0">
                <a:pos x="connsiteX21617" y="connsiteY21617"/>
              </a:cxn>
              <a:cxn ang="0">
                <a:pos x="connsiteX21618" y="connsiteY21618"/>
              </a:cxn>
              <a:cxn ang="0">
                <a:pos x="connsiteX21619" y="connsiteY21619"/>
              </a:cxn>
              <a:cxn ang="0">
                <a:pos x="connsiteX21620" y="connsiteY21620"/>
              </a:cxn>
              <a:cxn ang="0">
                <a:pos x="connsiteX21621" y="connsiteY21621"/>
              </a:cxn>
              <a:cxn ang="0">
                <a:pos x="connsiteX21622" y="connsiteY21622"/>
              </a:cxn>
              <a:cxn ang="0">
                <a:pos x="connsiteX21623" y="connsiteY21623"/>
              </a:cxn>
              <a:cxn ang="0">
                <a:pos x="connsiteX21624" y="connsiteY21624"/>
              </a:cxn>
              <a:cxn ang="0">
                <a:pos x="connsiteX21625" y="connsiteY21625"/>
              </a:cxn>
              <a:cxn ang="0">
                <a:pos x="connsiteX21626" y="connsiteY21626"/>
              </a:cxn>
              <a:cxn ang="0">
                <a:pos x="connsiteX21627" y="connsiteY21627"/>
              </a:cxn>
              <a:cxn ang="0">
                <a:pos x="connsiteX21628" y="connsiteY21628"/>
              </a:cxn>
              <a:cxn ang="0">
                <a:pos x="connsiteX21629" y="connsiteY21629"/>
              </a:cxn>
              <a:cxn ang="0">
                <a:pos x="connsiteX21630" y="connsiteY21630"/>
              </a:cxn>
              <a:cxn ang="0">
                <a:pos x="connsiteX21631" y="connsiteY21631"/>
              </a:cxn>
              <a:cxn ang="0">
                <a:pos x="connsiteX21632" y="connsiteY21632"/>
              </a:cxn>
              <a:cxn ang="0">
                <a:pos x="connsiteX21633" y="connsiteY21633"/>
              </a:cxn>
              <a:cxn ang="0">
                <a:pos x="connsiteX21634" y="connsiteY21634"/>
              </a:cxn>
              <a:cxn ang="0">
                <a:pos x="connsiteX21635" y="connsiteY21635"/>
              </a:cxn>
              <a:cxn ang="0">
                <a:pos x="connsiteX21636" y="connsiteY21636"/>
              </a:cxn>
              <a:cxn ang="0">
                <a:pos x="connsiteX21637" y="connsiteY21637"/>
              </a:cxn>
              <a:cxn ang="0">
                <a:pos x="connsiteX21638" y="connsiteY21638"/>
              </a:cxn>
              <a:cxn ang="0">
                <a:pos x="connsiteX21639" y="connsiteY21639"/>
              </a:cxn>
              <a:cxn ang="0">
                <a:pos x="connsiteX21640" y="connsiteY21640"/>
              </a:cxn>
              <a:cxn ang="0">
                <a:pos x="connsiteX21641" y="connsiteY21641"/>
              </a:cxn>
              <a:cxn ang="0">
                <a:pos x="connsiteX21642" y="connsiteY21642"/>
              </a:cxn>
              <a:cxn ang="0">
                <a:pos x="connsiteX21643" y="connsiteY21643"/>
              </a:cxn>
              <a:cxn ang="0">
                <a:pos x="connsiteX21644" y="connsiteY21644"/>
              </a:cxn>
              <a:cxn ang="0">
                <a:pos x="connsiteX21645" y="connsiteY21645"/>
              </a:cxn>
              <a:cxn ang="0">
                <a:pos x="connsiteX21646" y="connsiteY21646"/>
              </a:cxn>
              <a:cxn ang="0">
                <a:pos x="connsiteX21647" y="connsiteY21647"/>
              </a:cxn>
              <a:cxn ang="0">
                <a:pos x="connsiteX21648" y="connsiteY21648"/>
              </a:cxn>
              <a:cxn ang="0">
                <a:pos x="connsiteX21649" y="connsiteY21649"/>
              </a:cxn>
              <a:cxn ang="0">
                <a:pos x="connsiteX21650" y="connsiteY21650"/>
              </a:cxn>
              <a:cxn ang="0">
                <a:pos x="connsiteX21651" y="connsiteY21651"/>
              </a:cxn>
              <a:cxn ang="0">
                <a:pos x="connsiteX21652" y="connsiteY21652"/>
              </a:cxn>
              <a:cxn ang="0">
                <a:pos x="connsiteX21653" y="connsiteY21653"/>
              </a:cxn>
              <a:cxn ang="0">
                <a:pos x="connsiteX21654" y="connsiteY21654"/>
              </a:cxn>
              <a:cxn ang="0">
                <a:pos x="connsiteX21655" y="connsiteY21655"/>
              </a:cxn>
              <a:cxn ang="0">
                <a:pos x="connsiteX21656" y="connsiteY21656"/>
              </a:cxn>
              <a:cxn ang="0">
                <a:pos x="connsiteX21657" y="connsiteY21657"/>
              </a:cxn>
              <a:cxn ang="0">
                <a:pos x="connsiteX21658" y="connsiteY21658"/>
              </a:cxn>
              <a:cxn ang="0">
                <a:pos x="connsiteX21659" y="connsiteY21659"/>
              </a:cxn>
              <a:cxn ang="0">
                <a:pos x="connsiteX21660" y="connsiteY21660"/>
              </a:cxn>
              <a:cxn ang="0">
                <a:pos x="connsiteX21661" y="connsiteY21661"/>
              </a:cxn>
              <a:cxn ang="0">
                <a:pos x="connsiteX21662" y="connsiteY21662"/>
              </a:cxn>
              <a:cxn ang="0">
                <a:pos x="connsiteX21663" y="connsiteY21663"/>
              </a:cxn>
              <a:cxn ang="0">
                <a:pos x="connsiteX21664" y="connsiteY21664"/>
              </a:cxn>
              <a:cxn ang="0">
                <a:pos x="connsiteX21665" y="connsiteY21665"/>
              </a:cxn>
              <a:cxn ang="0">
                <a:pos x="connsiteX21666" y="connsiteY21666"/>
              </a:cxn>
              <a:cxn ang="0">
                <a:pos x="connsiteX21667" y="connsiteY21667"/>
              </a:cxn>
              <a:cxn ang="0">
                <a:pos x="connsiteX21668" y="connsiteY21668"/>
              </a:cxn>
              <a:cxn ang="0">
                <a:pos x="connsiteX21669" y="connsiteY21669"/>
              </a:cxn>
              <a:cxn ang="0">
                <a:pos x="connsiteX21670" y="connsiteY21670"/>
              </a:cxn>
              <a:cxn ang="0">
                <a:pos x="connsiteX21671" y="connsiteY21671"/>
              </a:cxn>
              <a:cxn ang="0">
                <a:pos x="connsiteX21672" y="connsiteY21672"/>
              </a:cxn>
              <a:cxn ang="0">
                <a:pos x="connsiteX21673" y="connsiteY21673"/>
              </a:cxn>
              <a:cxn ang="0">
                <a:pos x="connsiteX21674" y="connsiteY21674"/>
              </a:cxn>
              <a:cxn ang="0">
                <a:pos x="connsiteX21675" y="connsiteY21675"/>
              </a:cxn>
              <a:cxn ang="0">
                <a:pos x="connsiteX21676" y="connsiteY21676"/>
              </a:cxn>
              <a:cxn ang="0">
                <a:pos x="connsiteX21677" y="connsiteY21677"/>
              </a:cxn>
              <a:cxn ang="0">
                <a:pos x="connsiteX21678" y="connsiteY21678"/>
              </a:cxn>
              <a:cxn ang="0">
                <a:pos x="connsiteX21679" y="connsiteY21679"/>
              </a:cxn>
              <a:cxn ang="0">
                <a:pos x="connsiteX21680" y="connsiteY21680"/>
              </a:cxn>
              <a:cxn ang="0">
                <a:pos x="connsiteX21681" y="connsiteY21681"/>
              </a:cxn>
              <a:cxn ang="0">
                <a:pos x="connsiteX21682" y="connsiteY21682"/>
              </a:cxn>
              <a:cxn ang="0">
                <a:pos x="connsiteX21683" y="connsiteY21683"/>
              </a:cxn>
              <a:cxn ang="0">
                <a:pos x="connsiteX21684" y="connsiteY21684"/>
              </a:cxn>
              <a:cxn ang="0">
                <a:pos x="connsiteX21685" y="connsiteY21685"/>
              </a:cxn>
              <a:cxn ang="0">
                <a:pos x="connsiteX21686" y="connsiteY21686"/>
              </a:cxn>
              <a:cxn ang="0">
                <a:pos x="connsiteX21687" y="connsiteY21687"/>
              </a:cxn>
              <a:cxn ang="0">
                <a:pos x="connsiteX21688" y="connsiteY21688"/>
              </a:cxn>
              <a:cxn ang="0">
                <a:pos x="connsiteX21689" y="connsiteY21689"/>
              </a:cxn>
              <a:cxn ang="0">
                <a:pos x="connsiteX21690" y="connsiteY21690"/>
              </a:cxn>
              <a:cxn ang="0">
                <a:pos x="connsiteX21691" y="connsiteY21691"/>
              </a:cxn>
              <a:cxn ang="0">
                <a:pos x="connsiteX21692" y="connsiteY21692"/>
              </a:cxn>
              <a:cxn ang="0">
                <a:pos x="connsiteX21693" y="connsiteY21693"/>
              </a:cxn>
              <a:cxn ang="0">
                <a:pos x="connsiteX21694" y="connsiteY21694"/>
              </a:cxn>
              <a:cxn ang="0">
                <a:pos x="connsiteX21695" y="connsiteY21695"/>
              </a:cxn>
              <a:cxn ang="0">
                <a:pos x="connsiteX21696" y="connsiteY21696"/>
              </a:cxn>
              <a:cxn ang="0">
                <a:pos x="connsiteX21697" y="connsiteY21697"/>
              </a:cxn>
              <a:cxn ang="0">
                <a:pos x="connsiteX21698" y="connsiteY21698"/>
              </a:cxn>
              <a:cxn ang="0">
                <a:pos x="connsiteX21699" y="connsiteY21699"/>
              </a:cxn>
              <a:cxn ang="0">
                <a:pos x="connsiteX21700" y="connsiteY21700"/>
              </a:cxn>
              <a:cxn ang="0">
                <a:pos x="connsiteX21701" y="connsiteY21701"/>
              </a:cxn>
              <a:cxn ang="0">
                <a:pos x="connsiteX21702" y="connsiteY21702"/>
              </a:cxn>
              <a:cxn ang="0">
                <a:pos x="connsiteX21703" y="connsiteY21703"/>
              </a:cxn>
              <a:cxn ang="0">
                <a:pos x="connsiteX21704" y="connsiteY21704"/>
              </a:cxn>
              <a:cxn ang="0">
                <a:pos x="connsiteX21705" y="connsiteY21705"/>
              </a:cxn>
              <a:cxn ang="0">
                <a:pos x="connsiteX21706" y="connsiteY21706"/>
              </a:cxn>
              <a:cxn ang="0">
                <a:pos x="connsiteX21707" y="connsiteY21707"/>
              </a:cxn>
              <a:cxn ang="0">
                <a:pos x="connsiteX21708" y="connsiteY21708"/>
              </a:cxn>
              <a:cxn ang="0">
                <a:pos x="connsiteX21709" y="connsiteY21709"/>
              </a:cxn>
              <a:cxn ang="0">
                <a:pos x="connsiteX21710" y="connsiteY21710"/>
              </a:cxn>
              <a:cxn ang="0">
                <a:pos x="connsiteX21711" y="connsiteY21711"/>
              </a:cxn>
              <a:cxn ang="0">
                <a:pos x="connsiteX21712" y="connsiteY21712"/>
              </a:cxn>
              <a:cxn ang="0">
                <a:pos x="connsiteX21713" y="connsiteY21713"/>
              </a:cxn>
              <a:cxn ang="0">
                <a:pos x="connsiteX21714" y="connsiteY21714"/>
              </a:cxn>
              <a:cxn ang="0">
                <a:pos x="connsiteX21715" y="connsiteY21715"/>
              </a:cxn>
              <a:cxn ang="0">
                <a:pos x="connsiteX21716" y="connsiteY21716"/>
              </a:cxn>
              <a:cxn ang="0">
                <a:pos x="connsiteX21717" y="connsiteY21717"/>
              </a:cxn>
              <a:cxn ang="0">
                <a:pos x="connsiteX21718" y="connsiteY21718"/>
              </a:cxn>
              <a:cxn ang="0">
                <a:pos x="connsiteX21719" y="connsiteY21719"/>
              </a:cxn>
              <a:cxn ang="0">
                <a:pos x="connsiteX21720" y="connsiteY21720"/>
              </a:cxn>
              <a:cxn ang="0">
                <a:pos x="connsiteX21721" y="connsiteY21721"/>
              </a:cxn>
              <a:cxn ang="0">
                <a:pos x="connsiteX21722" y="connsiteY21722"/>
              </a:cxn>
              <a:cxn ang="0">
                <a:pos x="connsiteX21723" y="connsiteY21723"/>
              </a:cxn>
              <a:cxn ang="0">
                <a:pos x="connsiteX21724" y="connsiteY21724"/>
              </a:cxn>
              <a:cxn ang="0">
                <a:pos x="connsiteX21725" y="connsiteY21725"/>
              </a:cxn>
              <a:cxn ang="0">
                <a:pos x="connsiteX21726" y="connsiteY21726"/>
              </a:cxn>
              <a:cxn ang="0">
                <a:pos x="connsiteX21727" y="connsiteY21727"/>
              </a:cxn>
              <a:cxn ang="0">
                <a:pos x="connsiteX21728" y="connsiteY21728"/>
              </a:cxn>
              <a:cxn ang="0">
                <a:pos x="connsiteX21729" y="connsiteY21729"/>
              </a:cxn>
              <a:cxn ang="0">
                <a:pos x="connsiteX21730" y="connsiteY21730"/>
              </a:cxn>
              <a:cxn ang="0">
                <a:pos x="connsiteX21731" y="connsiteY21731"/>
              </a:cxn>
              <a:cxn ang="0">
                <a:pos x="connsiteX21732" y="connsiteY21732"/>
              </a:cxn>
              <a:cxn ang="0">
                <a:pos x="connsiteX21733" y="connsiteY21733"/>
              </a:cxn>
              <a:cxn ang="0">
                <a:pos x="connsiteX21734" y="connsiteY21734"/>
              </a:cxn>
              <a:cxn ang="0">
                <a:pos x="connsiteX21735" y="connsiteY21735"/>
              </a:cxn>
              <a:cxn ang="0">
                <a:pos x="connsiteX21736" y="connsiteY21736"/>
              </a:cxn>
              <a:cxn ang="0">
                <a:pos x="connsiteX21737" y="connsiteY21737"/>
              </a:cxn>
              <a:cxn ang="0">
                <a:pos x="connsiteX21738" y="connsiteY21738"/>
              </a:cxn>
              <a:cxn ang="0">
                <a:pos x="connsiteX21739" y="connsiteY21739"/>
              </a:cxn>
              <a:cxn ang="0">
                <a:pos x="connsiteX21740" y="connsiteY21740"/>
              </a:cxn>
              <a:cxn ang="0">
                <a:pos x="connsiteX21741" y="connsiteY21741"/>
              </a:cxn>
              <a:cxn ang="0">
                <a:pos x="connsiteX21742" y="connsiteY21742"/>
              </a:cxn>
              <a:cxn ang="0">
                <a:pos x="connsiteX21743" y="connsiteY21743"/>
              </a:cxn>
              <a:cxn ang="0">
                <a:pos x="connsiteX21744" y="connsiteY21744"/>
              </a:cxn>
              <a:cxn ang="0">
                <a:pos x="connsiteX21745" y="connsiteY21745"/>
              </a:cxn>
              <a:cxn ang="0">
                <a:pos x="connsiteX21746" y="connsiteY21746"/>
              </a:cxn>
              <a:cxn ang="0">
                <a:pos x="connsiteX21747" y="connsiteY21747"/>
              </a:cxn>
              <a:cxn ang="0">
                <a:pos x="connsiteX21748" y="connsiteY21748"/>
              </a:cxn>
              <a:cxn ang="0">
                <a:pos x="connsiteX21749" y="connsiteY21749"/>
              </a:cxn>
              <a:cxn ang="0">
                <a:pos x="connsiteX21750" y="connsiteY21750"/>
              </a:cxn>
              <a:cxn ang="0">
                <a:pos x="connsiteX21751" y="connsiteY21751"/>
              </a:cxn>
              <a:cxn ang="0">
                <a:pos x="connsiteX21752" y="connsiteY21752"/>
              </a:cxn>
              <a:cxn ang="0">
                <a:pos x="connsiteX21753" y="connsiteY21753"/>
              </a:cxn>
              <a:cxn ang="0">
                <a:pos x="connsiteX21754" y="connsiteY21754"/>
              </a:cxn>
              <a:cxn ang="0">
                <a:pos x="connsiteX21755" y="connsiteY21755"/>
              </a:cxn>
              <a:cxn ang="0">
                <a:pos x="connsiteX21756" y="connsiteY21756"/>
              </a:cxn>
              <a:cxn ang="0">
                <a:pos x="connsiteX21757" y="connsiteY21757"/>
              </a:cxn>
              <a:cxn ang="0">
                <a:pos x="connsiteX21758" y="connsiteY21758"/>
              </a:cxn>
              <a:cxn ang="0">
                <a:pos x="connsiteX21759" y="connsiteY21759"/>
              </a:cxn>
              <a:cxn ang="0">
                <a:pos x="connsiteX21760" y="connsiteY21760"/>
              </a:cxn>
              <a:cxn ang="0">
                <a:pos x="connsiteX21761" y="connsiteY21761"/>
              </a:cxn>
              <a:cxn ang="0">
                <a:pos x="connsiteX21762" y="connsiteY21762"/>
              </a:cxn>
              <a:cxn ang="0">
                <a:pos x="connsiteX21763" y="connsiteY21763"/>
              </a:cxn>
              <a:cxn ang="0">
                <a:pos x="connsiteX21764" y="connsiteY21764"/>
              </a:cxn>
              <a:cxn ang="0">
                <a:pos x="connsiteX21765" y="connsiteY21765"/>
              </a:cxn>
              <a:cxn ang="0">
                <a:pos x="connsiteX21766" y="connsiteY21766"/>
              </a:cxn>
              <a:cxn ang="0">
                <a:pos x="connsiteX21767" y="connsiteY21767"/>
              </a:cxn>
              <a:cxn ang="0">
                <a:pos x="connsiteX21768" y="connsiteY21768"/>
              </a:cxn>
              <a:cxn ang="0">
                <a:pos x="connsiteX21769" y="connsiteY21769"/>
              </a:cxn>
              <a:cxn ang="0">
                <a:pos x="connsiteX21770" y="connsiteY21770"/>
              </a:cxn>
              <a:cxn ang="0">
                <a:pos x="connsiteX21771" y="connsiteY21771"/>
              </a:cxn>
              <a:cxn ang="0">
                <a:pos x="connsiteX21772" y="connsiteY21772"/>
              </a:cxn>
              <a:cxn ang="0">
                <a:pos x="connsiteX21773" y="connsiteY21773"/>
              </a:cxn>
              <a:cxn ang="0">
                <a:pos x="connsiteX21774" y="connsiteY21774"/>
              </a:cxn>
              <a:cxn ang="0">
                <a:pos x="connsiteX21775" y="connsiteY21775"/>
              </a:cxn>
              <a:cxn ang="0">
                <a:pos x="connsiteX21776" y="connsiteY21776"/>
              </a:cxn>
              <a:cxn ang="0">
                <a:pos x="connsiteX21777" y="connsiteY21777"/>
              </a:cxn>
              <a:cxn ang="0">
                <a:pos x="connsiteX21778" y="connsiteY21778"/>
              </a:cxn>
              <a:cxn ang="0">
                <a:pos x="connsiteX21779" y="connsiteY21779"/>
              </a:cxn>
              <a:cxn ang="0">
                <a:pos x="connsiteX21780" y="connsiteY21780"/>
              </a:cxn>
              <a:cxn ang="0">
                <a:pos x="connsiteX21781" y="connsiteY21781"/>
              </a:cxn>
              <a:cxn ang="0">
                <a:pos x="connsiteX21782" y="connsiteY21782"/>
              </a:cxn>
              <a:cxn ang="0">
                <a:pos x="connsiteX21783" y="connsiteY21783"/>
              </a:cxn>
              <a:cxn ang="0">
                <a:pos x="connsiteX21784" y="connsiteY21784"/>
              </a:cxn>
              <a:cxn ang="0">
                <a:pos x="connsiteX21785" y="connsiteY21785"/>
              </a:cxn>
              <a:cxn ang="0">
                <a:pos x="connsiteX21786" y="connsiteY21786"/>
              </a:cxn>
              <a:cxn ang="0">
                <a:pos x="connsiteX21787" y="connsiteY21787"/>
              </a:cxn>
              <a:cxn ang="0">
                <a:pos x="connsiteX21788" y="connsiteY21788"/>
              </a:cxn>
              <a:cxn ang="0">
                <a:pos x="connsiteX21789" y="connsiteY21789"/>
              </a:cxn>
              <a:cxn ang="0">
                <a:pos x="connsiteX21790" y="connsiteY21790"/>
              </a:cxn>
              <a:cxn ang="0">
                <a:pos x="connsiteX21791" y="connsiteY21791"/>
              </a:cxn>
              <a:cxn ang="0">
                <a:pos x="connsiteX21792" y="connsiteY21792"/>
              </a:cxn>
              <a:cxn ang="0">
                <a:pos x="connsiteX21793" y="connsiteY21793"/>
              </a:cxn>
              <a:cxn ang="0">
                <a:pos x="connsiteX21794" y="connsiteY21794"/>
              </a:cxn>
              <a:cxn ang="0">
                <a:pos x="connsiteX21795" y="connsiteY21795"/>
              </a:cxn>
              <a:cxn ang="0">
                <a:pos x="connsiteX21796" y="connsiteY21796"/>
              </a:cxn>
              <a:cxn ang="0">
                <a:pos x="connsiteX21797" y="connsiteY21797"/>
              </a:cxn>
              <a:cxn ang="0">
                <a:pos x="connsiteX21798" y="connsiteY21798"/>
              </a:cxn>
              <a:cxn ang="0">
                <a:pos x="connsiteX21799" y="connsiteY21799"/>
              </a:cxn>
              <a:cxn ang="0">
                <a:pos x="connsiteX21800" y="connsiteY21800"/>
              </a:cxn>
              <a:cxn ang="0">
                <a:pos x="connsiteX21801" y="connsiteY21801"/>
              </a:cxn>
              <a:cxn ang="0">
                <a:pos x="connsiteX21802" y="connsiteY21802"/>
              </a:cxn>
              <a:cxn ang="0">
                <a:pos x="connsiteX21803" y="connsiteY21803"/>
              </a:cxn>
              <a:cxn ang="0">
                <a:pos x="connsiteX21804" y="connsiteY21804"/>
              </a:cxn>
              <a:cxn ang="0">
                <a:pos x="connsiteX21805" y="connsiteY21805"/>
              </a:cxn>
              <a:cxn ang="0">
                <a:pos x="connsiteX21806" y="connsiteY21806"/>
              </a:cxn>
              <a:cxn ang="0">
                <a:pos x="connsiteX21807" y="connsiteY21807"/>
              </a:cxn>
              <a:cxn ang="0">
                <a:pos x="connsiteX21808" y="connsiteY21808"/>
              </a:cxn>
              <a:cxn ang="0">
                <a:pos x="connsiteX21809" y="connsiteY21809"/>
              </a:cxn>
              <a:cxn ang="0">
                <a:pos x="connsiteX21810" y="connsiteY21810"/>
              </a:cxn>
              <a:cxn ang="0">
                <a:pos x="connsiteX21811" y="connsiteY21811"/>
              </a:cxn>
              <a:cxn ang="0">
                <a:pos x="connsiteX21812" y="connsiteY21812"/>
              </a:cxn>
              <a:cxn ang="0">
                <a:pos x="connsiteX21813" y="connsiteY21813"/>
              </a:cxn>
              <a:cxn ang="0">
                <a:pos x="connsiteX21814" y="connsiteY21814"/>
              </a:cxn>
              <a:cxn ang="0">
                <a:pos x="connsiteX21815" y="connsiteY21815"/>
              </a:cxn>
              <a:cxn ang="0">
                <a:pos x="connsiteX21816" y="connsiteY21816"/>
              </a:cxn>
              <a:cxn ang="0">
                <a:pos x="connsiteX21817" y="connsiteY21817"/>
              </a:cxn>
              <a:cxn ang="0">
                <a:pos x="connsiteX21818" y="connsiteY21818"/>
              </a:cxn>
              <a:cxn ang="0">
                <a:pos x="connsiteX21819" y="connsiteY21819"/>
              </a:cxn>
              <a:cxn ang="0">
                <a:pos x="connsiteX21820" y="connsiteY21820"/>
              </a:cxn>
              <a:cxn ang="0">
                <a:pos x="connsiteX21821" y="connsiteY21821"/>
              </a:cxn>
              <a:cxn ang="0">
                <a:pos x="connsiteX21822" y="connsiteY21822"/>
              </a:cxn>
              <a:cxn ang="0">
                <a:pos x="connsiteX21823" y="connsiteY21823"/>
              </a:cxn>
              <a:cxn ang="0">
                <a:pos x="connsiteX21824" y="connsiteY21824"/>
              </a:cxn>
              <a:cxn ang="0">
                <a:pos x="connsiteX21825" y="connsiteY21825"/>
              </a:cxn>
              <a:cxn ang="0">
                <a:pos x="connsiteX21826" y="connsiteY21826"/>
              </a:cxn>
              <a:cxn ang="0">
                <a:pos x="connsiteX21827" y="connsiteY21827"/>
              </a:cxn>
              <a:cxn ang="0">
                <a:pos x="connsiteX21828" y="connsiteY21828"/>
              </a:cxn>
              <a:cxn ang="0">
                <a:pos x="connsiteX21829" y="connsiteY21829"/>
              </a:cxn>
              <a:cxn ang="0">
                <a:pos x="connsiteX21830" y="connsiteY21830"/>
              </a:cxn>
              <a:cxn ang="0">
                <a:pos x="connsiteX21831" y="connsiteY21831"/>
              </a:cxn>
              <a:cxn ang="0">
                <a:pos x="connsiteX21832" y="connsiteY21832"/>
              </a:cxn>
              <a:cxn ang="0">
                <a:pos x="connsiteX21833" y="connsiteY21833"/>
              </a:cxn>
              <a:cxn ang="0">
                <a:pos x="connsiteX21834" y="connsiteY21834"/>
              </a:cxn>
              <a:cxn ang="0">
                <a:pos x="connsiteX21835" y="connsiteY21835"/>
              </a:cxn>
              <a:cxn ang="0">
                <a:pos x="connsiteX21836" y="connsiteY21836"/>
              </a:cxn>
              <a:cxn ang="0">
                <a:pos x="connsiteX21837" y="connsiteY21837"/>
              </a:cxn>
              <a:cxn ang="0">
                <a:pos x="connsiteX21838" y="connsiteY21838"/>
              </a:cxn>
              <a:cxn ang="0">
                <a:pos x="connsiteX21839" y="connsiteY21839"/>
              </a:cxn>
              <a:cxn ang="0">
                <a:pos x="connsiteX21840" y="connsiteY21840"/>
              </a:cxn>
              <a:cxn ang="0">
                <a:pos x="connsiteX21841" y="connsiteY21841"/>
              </a:cxn>
              <a:cxn ang="0">
                <a:pos x="connsiteX21842" y="connsiteY21842"/>
              </a:cxn>
              <a:cxn ang="0">
                <a:pos x="connsiteX21843" y="connsiteY21843"/>
              </a:cxn>
              <a:cxn ang="0">
                <a:pos x="connsiteX21844" y="connsiteY21844"/>
              </a:cxn>
              <a:cxn ang="0">
                <a:pos x="connsiteX21845" y="connsiteY21845"/>
              </a:cxn>
              <a:cxn ang="0">
                <a:pos x="connsiteX21846" y="connsiteY21846"/>
              </a:cxn>
              <a:cxn ang="0">
                <a:pos x="connsiteX21847" y="connsiteY21847"/>
              </a:cxn>
              <a:cxn ang="0">
                <a:pos x="connsiteX21848" y="connsiteY21848"/>
              </a:cxn>
              <a:cxn ang="0">
                <a:pos x="connsiteX21849" y="connsiteY21849"/>
              </a:cxn>
              <a:cxn ang="0">
                <a:pos x="connsiteX21850" y="connsiteY21850"/>
              </a:cxn>
              <a:cxn ang="0">
                <a:pos x="connsiteX21851" y="connsiteY21851"/>
              </a:cxn>
              <a:cxn ang="0">
                <a:pos x="connsiteX21852" y="connsiteY21852"/>
              </a:cxn>
              <a:cxn ang="0">
                <a:pos x="connsiteX21853" y="connsiteY21853"/>
              </a:cxn>
              <a:cxn ang="0">
                <a:pos x="connsiteX21854" y="connsiteY21854"/>
              </a:cxn>
              <a:cxn ang="0">
                <a:pos x="connsiteX21855" y="connsiteY21855"/>
              </a:cxn>
              <a:cxn ang="0">
                <a:pos x="connsiteX21856" y="connsiteY21856"/>
              </a:cxn>
              <a:cxn ang="0">
                <a:pos x="connsiteX21857" y="connsiteY21857"/>
              </a:cxn>
              <a:cxn ang="0">
                <a:pos x="connsiteX21858" y="connsiteY21858"/>
              </a:cxn>
              <a:cxn ang="0">
                <a:pos x="connsiteX21859" y="connsiteY21859"/>
              </a:cxn>
              <a:cxn ang="0">
                <a:pos x="connsiteX21860" y="connsiteY21860"/>
              </a:cxn>
              <a:cxn ang="0">
                <a:pos x="connsiteX21861" y="connsiteY21861"/>
              </a:cxn>
              <a:cxn ang="0">
                <a:pos x="connsiteX21862" y="connsiteY21862"/>
              </a:cxn>
              <a:cxn ang="0">
                <a:pos x="connsiteX21863" y="connsiteY21863"/>
              </a:cxn>
              <a:cxn ang="0">
                <a:pos x="connsiteX21864" y="connsiteY21864"/>
              </a:cxn>
              <a:cxn ang="0">
                <a:pos x="connsiteX21865" y="connsiteY21865"/>
              </a:cxn>
              <a:cxn ang="0">
                <a:pos x="connsiteX21866" y="connsiteY21866"/>
              </a:cxn>
              <a:cxn ang="0">
                <a:pos x="connsiteX21867" y="connsiteY21867"/>
              </a:cxn>
              <a:cxn ang="0">
                <a:pos x="connsiteX21868" y="connsiteY21868"/>
              </a:cxn>
              <a:cxn ang="0">
                <a:pos x="connsiteX21869" y="connsiteY21869"/>
              </a:cxn>
              <a:cxn ang="0">
                <a:pos x="connsiteX21870" y="connsiteY21870"/>
              </a:cxn>
              <a:cxn ang="0">
                <a:pos x="connsiteX21871" y="connsiteY21871"/>
              </a:cxn>
              <a:cxn ang="0">
                <a:pos x="connsiteX21872" y="connsiteY21872"/>
              </a:cxn>
              <a:cxn ang="0">
                <a:pos x="connsiteX21873" y="connsiteY21873"/>
              </a:cxn>
              <a:cxn ang="0">
                <a:pos x="connsiteX21874" y="connsiteY21874"/>
              </a:cxn>
              <a:cxn ang="0">
                <a:pos x="connsiteX21875" y="connsiteY21875"/>
              </a:cxn>
              <a:cxn ang="0">
                <a:pos x="connsiteX21876" y="connsiteY21876"/>
              </a:cxn>
              <a:cxn ang="0">
                <a:pos x="connsiteX21877" y="connsiteY21877"/>
              </a:cxn>
              <a:cxn ang="0">
                <a:pos x="connsiteX21878" y="connsiteY21878"/>
              </a:cxn>
              <a:cxn ang="0">
                <a:pos x="connsiteX21879" y="connsiteY21879"/>
              </a:cxn>
              <a:cxn ang="0">
                <a:pos x="connsiteX21880" y="connsiteY21880"/>
              </a:cxn>
              <a:cxn ang="0">
                <a:pos x="connsiteX21881" y="connsiteY21881"/>
              </a:cxn>
              <a:cxn ang="0">
                <a:pos x="connsiteX21882" y="connsiteY21882"/>
              </a:cxn>
              <a:cxn ang="0">
                <a:pos x="connsiteX21883" y="connsiteY21883"/>
              </a:cxn>
              <a:cxn ang="0">
                <a:pos x="connsiteX21884" y="connsiteY21884"/>
              </a:cxn>
              <a:cxn ang="0">
                <a:pos x="connsiteX21885" y="connsiteY21885"/>
              </a:cxn>
              <a:cxn ang="0">
                <a:pos x="connsiteX21886" y="connsiteY21886"/>
              </a:cxn>
              <a:cxn ang="0">
                <a:pos x="connsiteX21887" y="connsiteY21887"/>
              </a:cxn>
              <a:cxn ang="0">
                <a:pos x="connsiteX21888" y="connsiteY21888"/>
              </a:cxn>
              <a:cxn ang="0">
                <a:pos x="connsiteX21889" y="connsiteY21889"/>
              </a:cxn>
              <a:cxn ang="0">
                <a:pos x="connsiteX21890" y="connsiteY21890"/>
              </a:cxn>
              <a:cxn ang="0">
                <a:pos x="connsiteX21891" y="connsiteY21891"/>
              </a:cxn>
              <a:cxn ang="0">
                <a:pos x="connsiteX21892" y="connsiteY21892"/>
              </a:cxn>
              <a:cxn ang="0">
                <a:pos x="connsiteX21893" y="connsiteY21893"/>
              </a:cxn>
              <a:cxn ang="0">
                <a:pos x="connsiteX21894" y="connsiteY21894"/>
              </a:cxn>
              <a:cxn ang="0">
                <a:pos x="connsiteX21895" y="connsiteY21895"/>
              </a:cxn>
              <a:cxn ang="0">
                <a:pos x="connsiteX21896" y="connsiteY21896"/>
              </a:cxn>
              <a:cxn ang="0">
                <a:pos x="connsiteX21897" y="connsiteY21897"/>
              </a:cxn>
              <a:cxn ang="0">
                <a:pos x="connsiteX21898" y="connsiteY21898"/>
              </a:cxn>
              <a:cxn ang="0">
                <a:pos x="connsiteX21899" y="connsiteY21899"/>
              </a:cxn>
              <a:cxn ang="0">
                <a:pos x="connsiteX21900" y="connsiteY21900"/>
              </a:cxn>
              <a:cxn ang="0">
                <a:pos x="connsiteX21901" y="connsiteY21901"/>
              </a:cxn>
              <a:cxn ang="0">
                <a:pos x="connsiteX21902" y="connsiteY21902"/>
              </a:cxn>
              <a:cxn ang="0">
                <a:pos x="connsiteX21903" y="connsiteY21903"/>
              </a:cxn>
              <a:cxn ang="0">
                <a:pos x="connsiteX21904" y="connsiteY21904"/>
              </a:cxn>
              <a:cxn ang="0">
                <a:pos x="connsiteX21905" y="connsiteY21905"/>
              </a:cxn>
              <a:cxn ang="0">
                <a:pos x="connsiteX21906" y="connsiteY21906"/>
              </a:cxn>
              <a:cxn ang="0">
                <a:pos x="connsiteX21907" y="connsiteY21907"/>
              </a:cxn>
              <a:cxn ang="0">
                <a:pos x="connsiteX21908" y="connsiteY21908"/>
              </a:cxn>
              <a:cxn ang="0">
                <a:pos x="connsiteX21909" y="connsiteY21909"/>
              </a:cxn>
              <a:cxn ang="0">
                <a:pos x="connsiteX21910" y="connsiteY21910"/>
              </a:cxn>
              <a:cxn ang="0">
                <a:pos x="connsiteX21911" y="connsiteY21911"/>
              </a:cxn>
              <a:cxn ang="0">
                <a:pos x="connsiteX21912" y="connsiteY21912"/>
              </a:cxn>
              <a:cxn ang="0">
                <a:pos x="connsiteX21913" y="connsiteY21913"/>
              </a:cxn>
              <a:cxn ang="0">
                <a:pos x="connsiteX21914" y="connsiteY21914"/>
              </a:cxn>
              <a:cxn ang="0">
                <a:pos x="connsiteX21915" y="connsiteY21915"/>
              </a:cxn>
              <a:cxn ang="0">
                <a:pos x="connsiteX21916" y="connsiteY21916"/>
              </a:cxn>
              <a:cxn ang="0">
                <a:pos x="connsiteX21917" y="connsiteY21917"/>
              </a:cxn>
              <a:cxn ang="0">
                <a:pos x="connsiteX21918" y="connsiteY21918"/>
              </a:cxn>
              <a:cxn ang="0">
                <a:pos x="connsiteX21919" y="connsiteY21919"/>
              </a:cxn>
              <a:cxn ang="0">
                <a:pos x="connsiteX21920" y="connsiteY21920"/>
              </a:cxn>
              <a:cxn ang="0">
                <a:pos x="connsiteX21921" y="connsiteY21921"/>
              </a:cxn>
              <a:cxn ang="0">
                <a:pos x="connsiteX21922" y="connsiteY21922"/>
              </a:cxn>
              <a:cxn ang="0">
                <a:pos x="connsiteX21923" y="connsiteY21923"/>
              </a:cxn>
              <a:cxn ang="0">
                <a:pos x="connsiteX21924" y="connsiteY21924"/>
              </a:cxn>
              <a:cxn ang="0">
                <a:pos x="connsiteX21925" y="connsiteY21925"/>
              </a:cxn>
              <a:cxn ang="0">
                <a:pos x="connsiteX21926" y="connsiteY21926"/>
              </a:cxn>
              <a:cxn ang="0">
                <a:pos x="connsiteX21927" y="connsiteY21927"/>
              </a:cxn>
              <a:cxn ang="0">
                <a:pos x="connsiteX21928" y="connsiteY21928"/>
              </a:cxn>
              <a:cxn ang="0">
                <a:pos x="connsiteX21929" y="connsiteY21929"/>
              </a:cxn>
              <a:cxn ang="0">
                <a:pos x="connsiteX21930" y="connsiteY21930"/>
              </a:cxn>
              <a:cxn ang="0">
                <a:pos x="connsiteX21931" y="connsiteY21931"/>
              </a:cxn>
              <a:cxn ang="0">
                <a:pos x="connsiteX21932" y="connsiteY21932"/>
              </a:cxn>
              <a:cxn ang="0">
                <a:pos x="connsiteX21933" y="connsiteY21933"/>
              </a:cxn>
              <a:cxn ang="0">
                <a:pos x="connsiteX21934" y="connsiteY21934"/>
              </a:cxn>
              <a:cxn ang="0">
                <a:pos x="connsiteX21935" y="connsiteY21935"/>
              </a:cxn>
              <a:cxn ang="0">
                <a:pos x="connsiteX21936" y="connsiteY21936"/>
              </a:cxn>
              <a:cxn ang="0">
                <a:pos x="connsiteX21937" y="connsiteY21937"/>
              </a:cxn>
              <a:cxn ang="0">
                <a:pos x="connsiteX21938" y="connsiteY21938"/>
              </a:cxn>
              <a:cxn ang="0">
                <a:pos x="connsiteX21939" y="connsiteY21939"/>
              </a:cxn>
              <a:cxn ang="0">
                <a:pos x="connsiteX21940" y="connsiteY21940"/>
              </a:cxn>
              <a:cxn ang="0">
                <a:pos x="connsiteX21941" y="connsiteY21941"/>
              </a:cxn>
              <a:cxn ang="0">
                <a:pos x="connsiteX21942" y="connsiteY21942"/>
              </a:cxn>
              <a:cxn ang="0">
                <a:pos x="connsiteX21943" y="connsiteY21943"/>
              </a:cxn>
              <a:cxn ang="0">
                <a:pos x="connsiteX21944" y="connsiteY21944"/>
              </a:cxn>
              <a:cxn ang="0">
                <a:pos x="connsiteX21945" y="connsiteY21945"/>
              </a:cxn>
              <a:cxn ang="0">
                <a:pos x="connsiteX21946" y="connsiteY21946"/>
              </a:cxn>
              <a:cxn ang="0">
                <a:pos x="connsiteX21947" y="connsiteY21947"/>
              </a:cxn>
              <a:cxn ang="0">
                <a:pos x="connsiteX21948" y="connsiteY21948"/>
              </a:cxn>
              <a:cxn ang="0">
                <a:pos x="connsiteX21949" y="connsiteY21949"/>
              </a:cxn>
              <a:cxn ang="0">
                <a:pos x="connsiteX21950" y="connsiteY21950"/>
              </a:cxn>
              <a:cxn ang="0">
                <a:pos x="connsiteX21951" y="connsiteY21951"/>
              </a:cxn>
              <a:cxn ang="0">
                <a:pos x="connsiteX21952" y="connsiteY21952"/>
              </a:cxn>
              <a:cxn ang="0">
                <a:pos x="connsiteX21953" y="connsiteY21953"/>
              </a:cxn>
              <a:cxn ang="0">
                <a:pos x="connsiteX21954" y="connsiteY21954"/>
              </a:cxn>
              <a:cxn ang="0">
                <a:pos x="connsiteX21955" y="connsiteY21955"/>
              </a:cxn>
              <a:cxn ang="0">
                <a:pos x="connsiteX21956" y="connsiteY21956"/>
              </a:cxn>
              <a:cxn ang="0">
                <a:pos x="connsiteX21957" y="connsiteY21957"/>
              </a:cxn>
              <a:cxn ang="0">
                <a:pos x="connsiteX21958" y="connsiteY21958"/>
              </a:cxn>
              <a:cxn ang="0">
                <a:pos x="connsiteX21959" y="connsiteY21959"/>
              </a:cxn>
              <a:cxn ang="0">
                <a:pos x="connsiteX21960" y="connsiteY21960"/>
              </a:cxn>
              <a:cxn ang="0">
                <a:pos x="connsiteX21961" y="connsiteY21961"/>
              </a:cxn>
              <a:cxn ang="0">
                <a:pos x="connsiteX21962" y="connsiteY21962"/>
              </a:cxn>
              <a:cxn ang="0">
                <a:pos x="connsiteX21963" y="connsiteY21963"/>
              </a:cxn>
              <a:cxn ang="0">
                <a:pos x="connsiteX21964" y="connsiteY21964"/>
              </a:cxn>
              <a:cxn ang="0">
                <a:pos x="connsiteX21965" y="connsiteY21965"/>
              </a:cxn>
              <a:cxn ang="0">
                <a:pos x="connsiteX21966" y="connsiteY21966"/>
              </a:cxn>
              <a:cxn ang="0">
                <a:pos x="connsiteX21967" y="connsiteY21967"/>
              </a:cxn>
              <a:cxn ang="0">
                <a:pos x="connsiteX21968" y="connsiteY21968"/>
              </a:cxn>
              <a:cxn ang="0">
                <a:pos x="connsiteX21969" y="connsiteY21969"/>
              </a:cxn>
              <a:cxn ang="0">
                <a:pos x="connsiteX21970" y="connsiteY21970"/>
              </a:cxn>
              <a:cxn ang="0">
                <a:pos x="connsiteX21971" y="connsiteY21971"/>
              </a:cxn>
              <a:cxn ang="0">
                <a:pos x="connsiteX21972" y="connsiteY21972"/>
              </a:cxn>
              <a:cxn ang="0">
                <a:pos x="connsiteX21973" y="connsiteY21973"/>
              </a:cxn>
              <a:cxn ang="0">
                <a:pos x="connsiteX21974" y="connsiteY21974"/>
              </a:cxn>
              <a:cxn ang="0">
                <a:pos x="connsiteX21975" y="connsiteY21975"/>
              </a:cxn>
              <a:cxn ang="0">
                <a:pos x="connsiteX21976" y="connsiteY21976"/>
              </a:cxn>
              <a:cxn ang="0">
                <a:pos x="connsiteX21977" y="connsiteY21977"/>
              </a:cxn>
              <a:cxn ang="0">
                <a:pos x="connsiteX21978" y="connsiteY21978"/>
              </a:cxn>
              <a:cxn ang="0">
                <a:pos x="connsiteX21979" y="connsiteY21979"/>
              </a:cxn>
              <a:cxn ang="0">
                <a:pos x="connsiteX21980" y="connsiteY21980"/>
              </a:cxn>
              <a:cxn ang="0">
                <a:pos x="connsiteX21981" y="connsiteY21981"/>
              </a:cxn>
              <a:cxn ang="0">
                <a:pos x="connsiteX21982" y="connsiteY21982"/>
              </a:cxn>
              <a:cxn ang="0">
                <a:pos x="connsiteX21983" y="connsiteY21983"/>
              </a:cxn>
              <a:cxn ang="0">
                <a:pos x="connsiteX21984" y="connsiteY21984"/>
              </a:cxn>
              <a:cxn ang="0">
                <a:pos x="connsiteX21985" y="connsiteY21985"/>
              </a:cxn>
              <a:cxn ang="0">
                <a:pos x="connsiteX21986" y="connsiteY21986"/>
              </a:cxn>
              <a:cxn ang="0">
                <a:pos x="connsiteX21987" y="connsiteY21987"/>
              </a:cxn>
              <a:cxn ang="0">
                <a:pos x="connsiteX21988" y="connsiteY21988"/>
              </a:cxn>
              <a:cxn ang="0">
                <a:pos x="connsiteX21989" y="connsiteY21989"/>
              </a:cxn>
              <a:cxn ang="0">
                <a:pos x="connsiteX21990" y="connsiteY21990"/>
              </a:cxn>
              <a:cxn ang="0">
                <a:pos x="connsiteX21991" y="connsiteY21991"/>
              </a:cxn>
              <a:cxn ang="0">
                <a:pos x="connsiteX21992" y="connsiteY21992"/>
              </a:cxn>
              <a:cxn ang="0">
                <a:pos x="connsiteX21993" y="connsiteY21993"/>
              </a:cxn>
              <a:cxn ang="0">
                <a:pos x="connsiteX21994" y="connsiteY21994"/>
              </a:cxn>
              <a:cxn ang="0">
                <a:pos x="connsiteX21995" y="connsiteY21995"/>
              </a:cxn>
              <a:cxn ang="0">
                <a:pos x="connsiteX21996" y="connsiteY21996"/>
              </a:cxn>
              <a:cxn ang="0">
                <a:pos x="connsiteX21997" y="connsiteY21997"/>
              </a:cxn>
              <a:cxn ang="0">
                <a:pos x="connsiteX21998" y="connsiteY21998"/>
              </a:cxn>
              <a:cxn ang="0">
                <a:pos x="connsiteX21999" y="connsiteY21999"/>
              </a:cxn>
              <a:cxn ang="0">
                <a:pos x="connsiteX22000" y="connsiteY22000"/>
              </a:cxn>
              <a:cxn ang="0">
                <a:pos x="connsiteX22001" y="connsiteY22001"/>
              </a:cxn>
              <a:cxn ang="0">
                <a:pos x="connsiteX22002" y="connsiteY22002"/>
              </a:cxn>
              <a:cxn ang="0">
                <a:pos x="connsiteX22003" y="connsiteY22003"/>
              </a:cxn>
              <a:cxn ang="0">
                <a:pos x="connsiteX22004" y="connsiteY22004"/>
              </a:cxn>
              <a:cxn ang="0">
                <a:pos x="connsiteX22005" y="connsiteY22005"/>
              </a:cxn>
              <a:cxn ang="0">
                <a:pos x="connsiteX22006" y="connsiteY22006"/>
              </a:cxn>
              <a:cxn ang="0">
                <a:pos x="connsiteX22007" y="connsiteY22007"/>
              </a:cxn>
              <a:cxn ang="0">
                <a:pos x="connsiteX22008" y="connsiteY22008"/>
              </a:cxn>
              <a:cxn ang="0">
                <a:pos x="connsiteX22009" y="connsiteY22009"/>
              </a:cxn>
              <a:cxn ang="0">
                <a:pos x="connsiteX22010" y="connsiteY22010"/>
              </a:cxn>
              <a:cxn ang="0">
                <a:pos x="connsiteX22011" y="connsiteY22011"/>
              </a:cxn>
              <a:cxn ang="0">
                <a:pos x="connsiteX22012" y="connsiteY22012"/>
              </a:cxn>
              <a:cxn ang="0">
                <a:pos x="connsiteX22013" y="connsiteY22013"/>
              </a:cxn>
              <a:cxn ang="0">
                <a:pos x="connsiteX22014" y="connsiteY22014"/>
              </a:cxn>
              <a:cxn ang="0">
                <a:pos x="connsiteX22015" y="connsiteY22015"/>
              </a:cxn>
              <a:cxn ang="0">
                <a:pos x="connsiteX22016" y="connsiteY22016"/>
              </a:cxn>
              <a:cxn ang="0">
                <a:pos x="connsiteX22017" y="connsiteY22017"/>
              </a:cxn>
              <a:cxn ang="0">
                <a:pos x="connsiteX22018" y="connsiteY22018"/>
              </a:cxn>
              <a:cxn ang="0">
                <a:pos x="connsiteX22019" y="connsiteY22019"/>
              </a:cxn>
              <a:cxn ang="0">
                <a:pos x="connsiteX22020" y="connsiteY22020"/>
              </a:cxn>
              <a:cxn ang="0">
                <a:pos x="connsiteX22021" y="connsiteY22021"/>
              </a:cxn>
              <a:cxn ang="0">
                <a:pos x="connsiteX22022" y="connsiteY22022"/>
              </a:cxn>
              <a:cxn ang="0">
                <a:pos x="connsiteX22023" y="connsiteY22023"/>
              </a:cxn>
              <a:cxn ang="0">
                <a:pos x="connsiteX22024" y="connsiteY22024"/>
              </a:cxn>
              <a:cxn ang="0">
                <a:pos x="connsiteX22025" y="connsiteY22025"/>
              </a:cxn>
              <a:cxn ang="0">
                <a:pos x="connsiteX22026" y="connsiteY22026"/>
              </a:cxn>
              <a:cxn ang="0">
                <a:pos x="connsiteX22027" y="connsiteY22027"/>
              </a:cxn>
              <a:cxn ang="0">
                <a:pos x="connsiteX22028" y="connsiteY22028"/>
              </a:cxn>
              <a:cxn ang="0">
                <a:pos x="connsiteX22029" y="connsiteY22029"/>
              </a:cxn>
              <a:cxn ang="0">
                <a:pos x="connsiteX22030" y="connsiteY22030"/>
              </a:cxn>
              <a:cxn ang="0">
                <a:pos x="connsiteX22031" y="connsiteY22031"/>
              </a:cxn>
              <a:cxn ang="0">
                <a:pos x="connsiteX22032" y="connsiteY22032"/>
              </a:cxn>
              <a:cxn ang="0">
                <a:pos x="connsiteX22033" y="connsiteY22033"/>
              </a:cxn>
              <a:cxn ang="0">
                <a:pos x="connsiteX22034" y="connsiteY22034"/>
              </a:cxn>
              <a:cxn ang="0">
                <a:pos x="connsiteX22035" y="connsiteY22035"/>
              </a:cxn>
              <a:cxn ang="0">
                <a:pos x="connsiteX22036" y="connsiteY22036"/>
              </a:cxn>
              <a:cxn ang="0">
                <a:pos x="connsiteX22037" y="connsiteY22037"/>
              </a:cxn>
              <a:cxn ang="0">
                <a:pos x="connsiteX22038" y="connsiteY22038"/>
              </a:cxn>
              <a:cxn ang="0">
                <a:pos x="connsiteX22039" y="connsiteY22039"/>
              </a:cxn>
              <a:cxn ang="0">
                <a:pos x="connsiteX22040" y="connsiteY22040"/>
              </a:cxn>
              <a:cxn ang="0">
                <a:pos x="connsiteX22041" y="connsiteY22041"/>
              </a:cxn>
              <a:cxn ang="0">
                <a:pos x="connsiteX22042" y="connsiteY22042"/>
              </a:cxn>
              <a:cxn ang="0">
                <a:pos x="connsiteX22043" y="connsiteY22043"/>
              </a:cxn>
              <a:cxn ang="0">
                <a:pos x="connsiteX22044" y="connsiteY22044"/>
              </a:cxn>
              <a:cxn ang="0">
                <a:pos x="connsiteX22045" y="connsiteY22045"/>
              </a:cxn>
              <a:cxn ang="0">
                <a:pos x="connsiteX22046" y="connsiteY22046"/>
              </a:cxn>
              <a:cxn ang="0">
                <a:pos x="connsiteX22047" y="connsiteY22047"/>
              </a:cxn>
              <a:cxn ang="0">
                <a:pos x="connsiteX22048" y="connsiteY22048"/>
              </a:cxn>
              <a:cxn ang="0">
                <a:pos x="connsiteX22049" y="connsiteY22049"/>
              </a:cxn>
              <a:cxn ang="0">
                <a:pos x="connsiteX22050" y="connsiteY22050"/>
              </a:cxn>
              <a:cxn ang="0">
                <a:pos x="connsiteX22051" y="connsiteY22051"/>
              </a:cxn>
              <a:cxn ang="0">
                <a:pos x="connsiteX22052" y="connsiteY22052"/>
              </a:cxn>
              <a:cxn ang="0">
                <a:pos x="connsiteX22053" y="connsiteY22053"/>
              </a:cxn>
              <a:cxn ang="0">
                <a:pos x="connsiteX22054" y="connsiteY22054"/>
              </a:cxn>
              <a:cxn ang="0">
                <a:pos x="connsiteX22055" y="connsiteY22055"/>
              </a:cxn>
              <a:cxn ang="0">
                <a:pos x="connsiteX22056" y="connsiteY22056"/>
              </a:cxn>
              <a:cxn ang="0">
                <a:pos x="connsiteX22057" y="connsiteY22057"/>
              </a:cxn>
              <a:cxn ang="0">
                <a:pos x="connsiteX22058" y="connsiteY22058"/>
              </a:cxn>
              <a:cxn ang="0">
                <a:pos x="connsiteX22059" y="connsiteY22059"/>
              </a:cxn>
              <a:cxn ang="0">
                <a:pos x="connsiteX22060" y="connsiteY22060"/>
              </a:cxn>
              <a:cxn ang="0">
                <a:pos x="connsiteX22061" y="connsiteY22061"/>
              </a:cxn>
              <a:cxn ang="0">
                <a:pos x="connsiteX22062" y="connsiteY22062"/>
              </a:cxn>
              <a:cxn ang="0">
                <a:pos x="connsiteX22063" y="connsiteY22063"/>
              </a:cxn>
              <a:cxn ang="0">
                <a:pos x="connsiteX22064" y="connsiteY22064"/>
              </a:cxn>
              <a:cxn ang="0">
                <a:pos x="connsiteX22065" y="connsiteY22065"/>
              </a:cxn>
              <a:cxn ang="0">
                <a:pos x="connsiteX22066" y="connsiteY22066"/>
              </a:cxn>
              <a:cxn ang="0">
                <a:pos x="connsiteX22067" y="connsiteY22067"/>
              </a:cxn>
              <a:cxn ang="0">
                <a:pos x="connsiteX22068" y="connsiteY22068"/>
              </a:cxn>
              <a:cxn ang="0">
                <a:pos x="connsiteX22069" y="connsiteY22069"/>
              </a:cxn>
              <a:cxn ang="0">
                <a:pos x="connsiteX22070" y="connsiteY22070"/>
              </a:cxn>
              <a:cxn ang="0">
                <a:pos x="connsiteX22071" y="connsiteY22071"/>
              </a:cxn>
              <a:cxn ang="0">
                <a:pos x="connsiteX22072" y="connsiteY22072"/>
              </a:cxn>
              <a:cxn ang="0">
                <a:pos x="connsiteX22073" y="connsiteY22073"/>
              </a:cxn>
              <a:cxn ang="0">
                <a:pos x="connsiteX22074" y="connsiteY22074"/>
              </a:cxn>
              <a:cxn ang="0">
                <a:pos x="connsiteX22075" y="connsiteY22075"/>
              </a:cxn>
              <a:cxn ang="0">
                <a:pos x="connsiteX22076" y="connsiteY22076"/>
              </a:cxn>
              <a:cxn ang="0">
                <a:pos x="connsiteX22077" y="connsiteY22077"/>
              </a:cxn>
              <a:cxn ang="0">
                <a:pos x="connsiteX22078" y="connsiteY22078"/>
              </a:cxn>
              <a:cxn ang="0">
                <a:pos x="connsiteX22079" y="connsiteY22079"/>
              </a:cxn>
              <a:cxn ang="0">
                <a:pos x="connsiteX22080" y="connsiteY22080"/>
              </a:cxn>
              <a:cxn ang="0">
                <a:pos x="connsiteX22081" y="connsiteY22081"/>
              </a:cxn>
              <a:cxn ang="0">
                <a:pos x="connsiteX22082" y="connsiteY22082"/>
              </a:cxn>
              <a:cxn ang="0">
                <a:pos x="connsiteX22083" y="connsiteY22083"/>
              </a:cxn>
              <a:cxn ang="0">
                <a:pos x="connsiteX22084" y="connsiteY22084"/>
              </a:cxn>
              <a:cxn ang="0">
                <a:pos x="connsiteX22085" y="connsiteY22085"/>
              </a:cxn>
              <a:cxn ang="0">
                <a:pos x="connsiteX22086" y="connsiteY22086"/>
              </a:cxn>
              <a:cxn ang="0">
                <a:pos x="connsiteX22087" y="connsiteY22087"/>
              </a:cxn>
              <a:cxn ang="0">
                <a:pos x="connsiteX22088" y="connsiteY22088"/>
              </a:cxn>
              <a:cxn ang="0">
                <a:pos x="connsiteX22089" y="connsiteY22089"/>
              </a:cxn>
              <a:cxn ang="0">
                <a:pos x="connsiteX22090" y="connsiteY22090"/>
              </a:cxn>
              <a:cxn ang="0">
                <a:pos x="connsiteX22091" y="connsiteY22091"/>
              </a:cxn>
              <a:cxn ang="0">
                <a:pos x="connsiteX22092" y="connsiteY22092"/>
              </a:cxn>
              <a:cxn ang="0">
                <a:pos x="connsiteX22093" y="connsiteY22093"/>
              </a:cxn>
              <a:cxn ang="0">
                <a:pos x="connsiteX22094" y="connsiteY22094"/>
              </a:cxn>
              <a:cxn ang="0">
                <a:pos x="connsiteX22095" y="connsiteY22095"/>
              </a:cxn>
              <a:cxn ang="0">
                <a:pos x="connsiteX22096" y="connsiteY22096"/>
              </a:cxn>
              <a:cxn ang="0">
                <a:pos x="connsiteX22097" y="connsiteY22097"/>
              </a:cxn>
              <a:cxn ang="0">
                <a:pos x="connsiteX22098" y="connsiteY22098"/>
              </a:cxn>
              <a:cxn ang="0">
                <a:pos x="connsiteX22099" y="connsiteY22099"/>
              </a:cxn>
              <a:cxn ang="0">
                <a:pos x="connsiteX22100" y="connsiteY22100"/>
              </a:cxn>
              <a:cxn ang="0">
                <a:pos x="connsiteX22101" y="connsiteY22101"/>
              </a:cxn>
              <a:cxn ang="0">
                <a:pos x="connsiteX22102" y="connsiteY22102"/>
              </a:cxn>
              <a:cxn ang="0">
                <a:pos x="connsiteX22103" y="connsiteY22103"/>
              </a:cxn>
              <a:cxn ang="0">
                <a:pos x="connsiteX22104" y="connsiteY22104"/>
              </a:cxn>
              <a:cxn ang="0">
                <a:pos x="connsiteX22105" y="connsiteY22105"/>
              </a:cxn>
              <a:cxn ang="0">
                <a:pos x="connsiteX22106" y="connsiteY22106"/>
              </a:cxn>
              <a:cxn ang="0">
                <a:pos x="connsiteX22107" y="connsiteY22107"/>
              </a:cxn>
              <a:cxn ang="0">
                <a:pos x="connsiteX22108" y="connsiteY22108"/>
              </a:cxn>
              <a:cxn ang="0">
                <a:pos x="connsiteX22109" y="connsiteY22109"/>
              </a:cxn>
              <a:cxn ang="0">
                <a:pos x="connsiteX22110" y="connsiteY22110"/>
              </a:cxn>
              <a:cxn ang="0">
                <a:pos x="connsiteX22111" y="connsiteY22111"/>
              </a:cxn>
              <a:cxn ang="0">
                <a:pos x="connsiteX22112" y="connsiteY22112"/>
              </a:cxn>
              <a:cxn ang="0">
                <a:pos x="connsiteX22113" y="connsiteY22113"/>
              </a:cxn>
              <a:cxn ang="0">
                <a:pos x="connsiteX22114" y="connsiteY22114"/>
              </a:cxn>
              <a:cxn ang="0">
                <a:pos x="connsiteX22115" y="connsiteY22115"/>
              </a:cxn>
              <a:cxn ang="0">
                <a:pos x="connsiteX22116" y="connsiteY22116"/>
              </a:cxn>
              <a:cxn ang="0">
                <a:pos x="connsiteX22117" y="connsiteY22117"/>
              </a:cxn>
              <a:cxn ang="0">
                <a:pos x="connsiteX22118" y="connsiteY22118"/>
              </a:cxn>
              <a:cxn ang="0">
                <a:pos x="connsiteX22119" y="connsiteY22119"/>
              </a:cxn>
              <a:cxn ang="0">
                <a:pos x="connsiteX22120" y="connsiteY22120"/>
              </a:cxn>
              <a:cxn ang="0">
                <a:pos x="connsiteX22121" y="connsiteY22121"/>
              </a:cxn>
              <a:cxn ang="0">
                <a:pos x="connsiteX22122" y="connsiteY22122"/>
              </a:cxn>
              <a:cxn ang="0">
                <a:pos x="connsiteX22123" y="connsiteY22123"/>
              </a:cxn>
              <a:cxn ang="0">
                <a:pos x="connsiteX22124" y="connsiteY22124"/>
              </a:cxn>
              <a:cxn ang="0">
                <a:pos x="connsiteX22125" y="connsiteY22125"/>
              </a:cxn>
              <a:cxn ang="0">
                <a:pos x="connsiteX22126" y="connsiteY22126"/>
              </a:cxn>
              <a:cxn ang="0">
                <a:pos x="connsiteX22127" y="connsiteY22127"/>
              </a:cxn>
              <a:cxn ang="0">
                <a:pos x="connsiteX22128" y="connsiteY22128"/>
              </a:cxn>
              <a:cxn ang="0">
                <a:pos x="connsiteX22129" y="connsiteY22129"/>
              </a:cxn>
              <a:cxn ang="0">
                <a:pos x="connsiteX22130" y="connsiteY22130"/>
              </a:cxn>
              <a:cxn ang="0">
                <a:pos x="connsiteX22131" y="connsiteY22131"/>
              </a:cxn>
              <a:cxn ang="0">
                <a:pos x="connsiteX22132" y="connsiteY22132"/>
              </a:cxn>
              <a:cxn ang="0">
                <a:pos x="connsiteX22133" y="connsiteY22133"/>
              </a:cxn>
              <a:cxn ang="0">
                <a:pos x="connsiteX22134" y="connsiteY22134"/>
              </a:cxn>
              <a:cxn ang="0">
                <a:pos x="connsiteX22135" y="connsiteY22135"/>
              </a:cxn>
              <a:cxn ang="0">
                <a:pos x="connsiteX22136" y="connsiteY22136"/>
              </a:cxn>
              <a:cxn ang="0">
                <a:pos x="connsiteX22137" y="connsiteY22137"/>
              </a:cxn>
              <a:cxn ang="0">
                <a:pos x="connsiteX22138" y="connsiteY22138"/>
              </a:cxn>
              <a:cxn ang="0">
                <a:pos x="connsiteX22139" y="connsiteY22139"/>
              </a:cxn>
              <a:cxn ang="0">
                <a:pos x="connsiteX22140" y="connsiteY22140"/>
              </a:cxn>
              <a:cxn ang="0">
                <a:pos x="connsiteX22141" y="connsiteY22141"/>
              </a:cxn>
              <a:cxn ang="0">
                <a:pos x="connsiteX22142" y="connsiteY22142"/>
              </a:cxn>
              <a:cxn ang="0">
                <a:pos x="connsiteX22143" y="connsiteY22143"/>
              </a:cxn>
              <a:cxn ang="0">
                <a:pos x="connsiteX22144" y="connsiteY22144"/>
              </a:cxn>
              <a:cxn ang="0">
                <a:pos x="connsiteX22145" y="connsiteY22145"/>
              </a:cxn>
              <a:cxn ang="0">
                <a:pos x="connsiteX22146" y="connsiteY22146"/>
              </a:cxn>
              <a:cxn ang="0">
                <a:pos x="connsiteX22147" y="connsiteY22147"/>
              </a:cxn>
              <a:cxn ang="0">
                <a:pos x="connsiteX22148" y="connsiteY22148"/>
              </a:cxn>
              <a:cxn ang="0">
                <a:pos x="connsiteX22149" y="connsiteY22149"/>
              </a:cxn>
              <a:cxn ang="0">
                <a:pos x="connsiteX22150" y="connsiteY22150"/>
              </a:cxn>
              <a:cxn ang="0">
                <a:pos x="connsiteX22151" y="connsiteY22151"/>
              </a:cxn>
              <a:cxn ang="0">
                <a:pos x="connsiteX22152" y="connsiteY22152"/>
              </a:cxn>
              <a:cxn ang="0">
                <a:pos x="connsiteX22153" y="connsiteY22153"/>
              </a:cxn>
              <a:cxn ang="0">
                <a:pos x="connsiteX22154" y="connsiteY22154"/>
              </a:cxn>
              <a:cxn ang="0">
                <a:pos x="connsiteX22155" y="connsiteY22155"/>
              </a:cxn>
              <a:cxn ang="0">
                <a:pos x="connsiteX22156" y="connsiteY22156"/>
              </a:cxn>
              <a:cxn ang="0">
                <a:pos x="connsiteX22157" y="connsiteY22157"/>
              </a:cxn>
              <a:cxn ang="0">
                <a:pos x="connsiteX22158" y="connsiteY22158"/>
              </a:cxn>
              <a:cxn ang="0">
                <a:pos x="connsiteX22159" y="connsiteY22159"/>
              </a:cxn>
              <a:cxn ang="0">
                <a:pos x="connsiteX22160" y="connsiteY22160"/>
              </a:cxn>
              <a:cxn ang="0">
                <a:pos x="connsiteX22161" y="connsiteY22161"/>
              </a:cxn>
              <a:cxn ang="0">
                <a:pos x="connsiteX22162" y="connsiteY22162"/>
              </a:cxn>
              <a:cxn ang="0">
                <a:pos x="connsiteX22163" y="connsiteY22163"/>
              </a:cxn>
              <a:cxn ang="0">
                <a:pos x="connsiteX22164" y="connsiteY22164"/>
              </a:cxn>
              <a:cxn ang="0">
                <a:pos x="connsiteX22165" y="connsiteY22165"/>
              </a:cxn>
              <a:cxn ang="0">
                <a:pos x="connsiteX22166" y="connsiteY22166"/>
              </a:cxn>
              <a:cxn ang="0">
                <a:pos x="connsiteX22167" y="connsiteY22167"/>
              </a:cxn>
              <a:cxn ang="0">
                <a:pos x="connsiteX22168" y="connsiteY22168"/>
              </a:cxn>
              <a:cxn ang="0">
                <a:pos x="connsiteX22169" y="connsiteY22169"/>
              </a:cxn>
              <a:cxn ang="0">
                <a:pos x="connsiteX22170" y="connsiteY22170"/>
              </a:cxn>
              <a:cxn ang="0">
                <a:pos x="connsiteX22171" y="connsiteY22171"/>
              </a:cxn>
              <a:cxn ang="0">
                <a:pos x="connsiteX22172" y="connsiteY22172"/>
              </a:cxn>
              <a:cxn ang="0">
                <a:pos x="connsiteX22173" y="connsiteY22173"/>
              </a:cxn>
              <a:cxn ang="0">
                <a:pos x="connsiteX22174" y="connsiteY22174"/>
              </a:cxn>
              <a:cxn ang="0">
                <a:pos x="connsiteX22175" y="connsiteY22175"/>
              </a:cxn>
              <a:cxn ang="0">
                <a:pos x="connsiteX22176" y="connsiteY22176"/>
              </a:cxn>
              <a:cxn ang="0">
                <a:pos x="connsiteX22177" y="connsiteY22177"/>
              </a:cxn>
              <a:cxn ang="0">
                <a:pos x="connsiteX22178" y="connsiteY22178"/>
              </a:cxn>
              <a:cxn ang="0">
                <a:pos x="connsiteX22179" y="connsiteY22179"/>
              </a:cxn>
              <a:cxn ang="0">
                <a:pos x="connsiteX22180" y="connsiteY22180"/>
              </a:cxn>
              <a:cxn ang="0">
                <a:pos x="connsiteX22181" y="connsiteY22181"/>
              </a:cxn>
              <a:cxn ang="0">
                <a:pos x="connsiteX22182" y="connsiteY22182"/>
              </a:cxn>
              <a:cxn ang="0">
                <a:pos x="connsiteX22183" y="connsiteY22183"/>
              </a:cxn>
              <a:cxn ang="0">
                <a:pos x="connsiteX22184" y="connsiteY22184"/>
              </a:cxn>
              <a:cxn ang="0">
                <a:pos x="connsiteX22185" y="connsiteY22185"/>
              </a:cxn>
              <a:cxn ang="0">
                <a:pos x="connsiteX22186" y="connsiteY22186"/>
              </a:cxn>
              <a:cxn ang="0">
                <a:pos x="connsiteX22187" y="connsiteY22187"/>
              </a:cxn>
              <a:cxn ang="0">
                <a:pos x="connsiteX22188" y="connsiteY22188"/>
              </a:cxn>
              <a:cxn ang="0">
                <a:pos x="connsiteX22189" y="connsiteY22189"/>
              </a:cxn>
              <a:cxn ang="0">
                <a:pos x="connsiteX22190" y="connsiteY22190"/>
              </a:cxn>
              <a:cxn ang="0">
                <a:pos x="connsiteX22191" y="connsiteY22191"/>
              </a:cxn>
              <a:cxn ang="0">
                <a:pos x="connsiteX22192" y="connsiteY22192"/>
              </a:cxn>
              <a:cxn ang="0">
                <a:pos x="connsiteX22193" y="connsiteY22193"/>
              </a:cxn>
              <a:cxn ang="0">
                <a:pos x="connsiteX22194" y="connsiteY22194"/>
              </a:cxn>
              <a:cxn ang="0">
                <a:pos x="connsiteX22195" y="connsiteY22195"/>
              </a:cxn>
              <a:cxn ang="0">
                <a:pos x="connsiteX22196" y="connsiteY22196"/>
              </a:cxn>
              <a:cxn ang="0">
                <a:pos x="connsiteX22197" y="connsiteY22197"/>
              </a:cxn>
              <a:cxn ang="0">
                <a:pos x="connsiteX22198" y="connsiteY22198"/>
              </a:cxn>
              <a:cxn ang="0">
                <a:pos x="connsiteX22199" y="connsiteY22199"/>
              </a:cxn>
              <a:cxn ang="0">
                <a:pos x="connsiteX22200" y="connsiteY22200"/>
              </a:cxn>
              <a:cxn ang="0">
                <a:pos x="connsiteX22201" y="connsiteY22201"/>
              </a:cxn>
              <a:cxn ang="0">
                <a:pos x="connsiteX22202" y="connsiteY22202"/>
              </a:cxn>
              <a:cxn ang="0">
                <a:pos x="connsiteX22203" y="connsiteY22203"/>
              </a:cxn>
              <a:cxn ang="0">
                <a:pos x="connsiteX22204" y="connsiteY22204"/>
              </a:cxn>
              <a:cxn ang="0">
                <a:pos x="connsiteX22205" y="connsiteY22205"/>
              </a:cxn>
              <a:cxn ang="0">
                <a:pos x="connsiteX22206" y="connsiteY22206"/>
              </a:cxn>
              <a:cxn ang="0">
                <a:pos x="connsiteX22207" y="connsiteY22207"/>
              </a:cxn>
              <a:cxn ang="0">
                <a:pos x="connsiteX22208" y="connsiteY22208"/>
              </a:cxn>
              <a:cxn ang="0">
                <a:pos x="connsiteX22209" y="connsiteY22209"/>
              </a:cxn>
              <a:cxn ang="0">
                <a:pos x="connsiteX22210" y="connsiteY22210"/>
              </a:cxn>
              <a:cxn ang="0">
                <a:pos x="connsiteX22211" y="connsiteY22211"/>
              </a:cxn>
              <a:cxn ang="0">
                <a:pos x="connsiteX22212" y="connsiteY22212"/>
              </a:cxn>
              <a:cxn ang="0">
                <a:pos x="connsiteX22213" y="connsiteY22213"/>
              </a:cxn>
              <a:cxn ang="0">
                <a:pos x="connsiteX22214" y="connsiteY22214"/>
              </a:cxn>
              <a:cxn ang="0">
                <a:pos x="connsiteX22215" y="connsiteY22215"/>
              </a:cxn>
              <a:cxn ang="0">
                <a:pos x="connsiteX22216" y="connsiteY22216"/>
              </a:cxn>
              <a:cxn ang="0">
                <a:pos x="connsiteX22217" y="connsiteY22217"/>
              </a:cxn>
              <a:cxn ang="0">
                <a:pos x="connsiteX22218" y="connsiteY22218"/>
              </a:cxn>
              <a:cxn ang="0">
                <a:pos x="connsiteX22219" y="connsiteY22219"/>
              </a:cxn>
              <a:cxn ang="0">
                <a:pos x="connsiteX22220" y="connsiteY22220"/>
              </a:cxn>
              <a:cxn ang="0">
                <a:pos x="connsiteX22221" y="connsiteY22221"/>
              </a:cxn>
              <a:cxn ang="0">
                <a:pos x="connsiteX22222" y="connsiteY22222"/>
              </a:cxn>
              <a:cxn ang="0">
                <a:pos x="connsiteX22223" y="connsiteY22223"/>
              </a:cxn>
              <a:cxn ang="0">
                <a:pos x="connsiteX22224" y="connsiteY22224"/>
              </a:cxn>
              <a:cxn ang="0">
                <a:pos x="connsiteX22225" y="connsiteY22225"/>
              </a:cxn>
              <a:cxn ang="0">
                <a:pos x="connsiteX22226" y="connsiteY22226"/>
              </a:cxn>
              <a:cxn ang="0">
                <a:pos x="connsiteX22227" y="connsiteY22227"/>
              </a:cxn>
              <a:cxn ang="0">
                <a:pos x="connsiteX22228" y="connsiteY22228"/>
              </a:cxn>
              <a:cxn ang="0">
                <a:pos x="connsiteX22229" y="connsiteY22229"/>
              </a:cxn>
              <a:cxn ang="0">
                <a:pos x="connsiteX22230" y="connsiteY22230"/>
              </a:cxn>
              <a:cxn ang="0">
                <a:pos x="connsiteX22231" y="connsiteY22231"/>
              </a:cxn>
              <a:cxn ang="0">
                <a:pos x="connsiteX22232" y="connsiteY22232"/>
              </a:cxn>
              <a:cxn ang="0">
                <a:pos x="connsiteX22233" y="connsiteY22233"/>
              </a:cxn>
              <a:cxn ang="0">
                <a:pos x="connsiteX22234" y="connsiteY22234"/>
              </a:cxn>
              <a:cxn ang="0">
                <a:pos x="connsiteX22235" y="connsiteY22235"/>
              </a:cxn>
              <a:cxn ang="0">
                <a:pos x="connsiteX22236" y="connsiteY22236"/>
              </a:cxn>
              <a:cxn ang="0">
                <a:pos x="connsiteX22237" y="connsiteY22237"/>
              </a:cxn>
              <a:cxn ang="0">
                <a:pos x="connsiteX22238" y="connsiteY22238"/>
              </a:cxn>
              <a:cxn ang="0">
                <a:pos x="connsiteX22239" y="connsiteY22239"/>
              </a:cxn>
              <a:cxn ang="0">
                <a:pos x="connsiteX22240" y="connsiteY22240"/>
              </a:cxn>
              <a:cxn ang="0">
                <a:pos x="connsiteX22241" y="connsiteY22241"/>
              </a:cxn>
              <a:cxn ang="0">
                <a:pos x="connsiteX22242" y="connsiteY22242"/>
              </a:cxn>
              <a:cxn ang="0">
                <a:pos x="connsiteX22243" y="connsiteY22243"/>
              </a:cxn>
              <a:cxn ang="0">
                <a:pos x="connsiteX22244" y="connsiteY22244"/>
              </a:cxn>
              <a:cxn ang="0">
                <a:pos x="connsiteX22245" y="connsiteY22245"/>
              </a:cxn>
              <a:cxn ang="0">
                <a:pos x="connsiteX22246" y="connsiteY22246"/>
              </a:cxn>
              <a:cxn ang="0">
                <a:pos x="connsiteX22247" y="connsiteY22247"/>
              </a:cxn>
              <a:cxn ang="0">
                <a:pos x="connsiteX22248" y="connsiteY22248"/>
              </a:cxn>
              <a:cxn ang="0">
                <a:pos x="connsiteX22249" y="connsiteY22249"/>
              </a:cxn>
              <a:cxn ang="0">
                <a:pos x="connsiteX22250" y="connsiteY22250"/>
              </a:cxn>
              <a:cxn ang="0">
                <a:pos x="connsiteX22251" y="connsiteY22251"/>
              </a:cxn>
              <a:cxn ang="0">
                <a:pos x="connsiteX22252" y="connsiteY22252"/>
              </a:cxn>
              <a:cxn ang="0">
                <a:pos x="connsiteX22253" y="connsiteY22253"/>
              </a:cxn>
              <a:cxn ang="0">
                <a:pos x="connsiteX22254" y="connsiteY22254"/>
              </a:cxn>
              <a:cxn ang="0">
                <a:pos x="connsiteX22255" y="connsiteY22255"/>
              </a:cxn>
              <a:cxn ang="0">
                <a:pos x="connsiteX22256" y="connsiteY22256"/>
              </a:cxn>
              <a:cxn ang="0">
                <a:pos x="connsiteX22257" y="connsiteY22257"/>
              </a:cxn>
              <a:cxn ang="0">
                <a:pos x="connsiteX22258" y="connsiteY22258"/>
              </a:cxn>
              <a:cxn ang="0">
                <a:pos x="connsiteX22259" y="connsiteY22259"/>
              </a:cxn>
              <a:cxn ang="0">
                <a:pos x="connsiteX22260" y="connsiteY22260"/>
              </a:cxn>
              <a:cxn ang="0">
                <a:pos x="connsiteX22261" y="connsiteY22261"/>
              </a:cxn>
              <a:cxn ang="0">
                <a:pos x="connsiteX22262" y="connsiteY22262"/>
              </a:cxn>
              <a:cxn ang="0">
                <a:pos x="connsiteX22263" y="connsiteY22263"/>
              </a:cxn>
              <a:cxn ang="0">
                <a:pos x="connsiteX22264" y="connsiteY22264"/>
              </a:cxn>
              <a:cxn ang="0">
                <a:pos x="connsiteX22265" y="connsiteY22265"/>
              </a:cxn>
              <a:cxn ang="0">
                <a:pos x="connsiteX22266" y="connsiteY22266"/>
              </a:cxn>
              <a:cxn ang="0">
                <a:pos x="connsiteX22267" y="connsiteY22267"/>
              </a:cxn>
              <a:cxn ang="0">
                <a:pos x="connsiteX22268" y="connsiteY22268"/>
              </a:cxn>
              <a:cxn ang="0">
                <a:pos x="connsiteX22269" y="connsiteY22269"/>
              </a:cxn>
              <a:cxn ang="0">
                <a:pos x="connsiteX22270" y="connsiteY22270"/>
              </a:cxn>
              <a:cxn ang="0">
                <a:pos x="connsiteX22271" y="connsiteY22271"/>
              </a:cxn>
              <a:cxn ang="0">
                <a:pos x="connsiteX22272" y="connsiteY22272"/>
              </a:cxn>
              <a:cxn ang="0">
                <a:pos x="connsiteX22273" y="connsiteY22273"/>
              </a:cxn>
              <a:cxn ang="0">
                <a:pos x="connsiteX22274" y="connsiteY22274"/>
              </a:cxn>
              <a:cxn ang="0">
                <a:pos x="connsiteX22275" y="connsiteY22275"/>
              </a:cxn>
              <a:cxn ang="0">
                <a:pos x="connsiteX22276" y="connsiteY22276"/>
              </a:cxn>
              <a:cxn ang="0">
                <a:pos x="connsiteX22277" y="connsiteY22277"/>
              </a:cxn>
              <a:cxn ang="0">
                <a:pos x="connsiteX22278" y="connsiteY22278"/>
              </a:cxn>
              <a:cxn ang="0">
                <a:pos x="connsiteX22279" y="connsiteY22279"/>
              </a:cxn>
              <a:cxn ang="0">
                <a:pos x="connsiteX22280" y="connsiteY22280"/>
              </a:cxn>
              <a:cxn ang="0">
                <a:pos x="connsiteX22281" y="connsiteY22281"/>
              </a:cxn>
              <a:cxn ang="0">
                <a:pos x="connsiteX22282" y="connsiteY22282"/>
              </a:cxn>
              <a:cxn ang="0">
                <a:pos x="connsiteX22283" y="connsiteY22283"/>
              </a:cxn>
              <a:cxn ang="0">
                <a:pos x="connsiteX22284" y="connsiteY22284"/>
              </a:cxn>
              <a:cxn ang="0">
                <a:pos x="connsiteX22285" y="connsiteY22285"/>
              </a:cxn>
              <a:cxn ang="0">
                <a:pos x="connsiteX22286" y="connsiteY22286"/>
              </a:cxn>
              <a:cxn ang="0">
                <a:pos x="connsiteX22287" y="connsiteY22287"/>
              </a:cxn>
              <a:cxn ang="0">
                <a:pos x="connsiteX22288" y="connsiteY22288"/>
              </a:cxn>
              <a:cxn ang="0">
                <a:pos x="connsiteX22289" y="connsiteY22289"/>
              </a:cxn>
              <a:cxn ang="0">
                <a:pos x="connsiteX22290" y="connsiteY22290"/>
              </a:cxn>
              <a:cxn ang="0">
                <a:pos x="connsiteX22291" y="connsiteY22291"/>
              </a:cxn>
              <a:cxn ang="0">
                <a:pos x="connsiteX22292" y="connsiteY22292"/>
              </a:cxn>
              <a:cxn ang="0">
                <a:pos x="connsiteX22293" y="connsiteY22293"/>
              </a:cxn>
              <a:cxn ang="0">
                <a:pos x="connsiteX22294" y="connsiteY22294"/>
              </a:cxn>
              <a:cxn ang="0">
                <a:pos x="connsiteX22295" y="connsiteY22295"/>
              </a:cxn>
              <a:cxn ang="0">
                <a:pos x="connsiteX22296" y="connsiteY22296"/>
              </a:cxn>
              <a:cxn ang="0">
                <a:pos x="connsiteX22297" y="connsiteY22297"/>
              </a:cxn>
              <a:cxn ang="0">
                <a:pos x="connsiteX22298" y="connsiteY22298"/>
              </a:cxn>
              <a:cxn ang="0">
                <a:pos x="connsiteX22299" y="connsiteY22299"/>
              </a:cxn>
              <a:cxn ang="0">
                <a:pos x="connsiteX22300" y="connsiteY22300"/>
              </a:cxn>
              <a:cxn ang="0">
                <a:pos x="connsiteX22301" y="connsiteY22301"/>
              </a:cxn>
              <a:cxn ang="0">
                <a:pos x="connsiteX22302" y="connsiteY22302"/>
              </a:cxn>
              <a:cxn ang="0">
                <a:pos x="connsiteX22303" y="connsiteY22303"/>
              </a:cxn>
              <a:cxn ang="0">
                <a:pos x="connsiteX22304" y="connsiteY22304"/>
              </a:cxn>
              <a:cxn ang="0">
                <a:pos x="connsiteX22305" y="connsiteY22305"/>
              </a:cxn>
              <a:cxn ang="0">
                <a:pos x="connsiteX22306" y="connsiteY22306"/>
              </a:cxn>
              <a:cxn ang="0">
                <a:pos x="connsiteX22307" y="connsiteY22307"/>
              </a:cxn>
              <a:cxn ang="0">
                <a:pos x="connsiteX22308" y="connsiteY22308"/>
              </a:cxn>
              <a:cxn ang="0">
                <a:pos x="connsiteX22309" y="connsiteY22309"/>
              </a:cxn>
              <a:cxn ang="0">
                <a:pos x="connsiteX22310" y="connsiteY22310"/>
              </a:cxn>
              <a:cxn ang="0">
                <a:pos x="connsiteX22311" y="connsiteY22311"/>
              </a:cxn>
              <a:cxn ang="0">
                <a:pos x="connsiteX22312" y="connsiteY22312"/>
              </a:cxn>
              <a:cxn ang="0">
                <a:pos x="connsiteX22313" y="connsiteY22313"/>
              </a:cxn>
              <a:cxn ang="0">
                <a:pos x="connsiteX22314" y="connsiteY22314"/>
              </a:cxn>
              <a:cxn ang="0">
                <a:pos x="connsiteX22315" y="connsiteY22315"/>
              </a:cxn>
              <a:cxn ang="0">
                <a:pos x="connsiteX22316" y="connsiteY22316"/>
              </a:cxn>
              <a:cxn ang="0">
                <a:pos x="connsiteX22317" y="connsiteY22317"/>
              </a:cxn>
              <a:cxn ang="0">
                <a:pos x="connsiteX22318" y="connsiteY22318"/>
              </a:cxn>
              <a:cxn ang="0">
                <a:pos x="connsiteX22319" y="connsiteY22319"/>
              </a:cxn>
              <a:cxn ang="0">
                <a:pos x="connsiteX22320" y="connsiteY22320"/>
              </a:cxn>
              <a:cxn ang="0">
                <a:pos x="connsiteX22321" y="connsiteY22321"/>
              </a:cxn>
              <a:cxn ang="0">
                <a:pos x="connsiteX22322" y="connsiteY22322"/>
              </a:cxn>
              <a:cxn ang="0">
                <a:pos x="connsiteX22323" y="connsiteY22323"/>
              </a:cxn>
              <a:cxn ang="0">
                <a:pos x="connsiteX22324" y="connsiteY22324"/>
              </a:cxn>
              <a:cxn ang="0">
                <a:pos x="connsiteX22325" y="connsiteY22325"/>
              </a:cxn>
              <a:cxn ang="0">
                <a:pos x="connsiteX22326" y="connsiteY22326"/>
              </a:cxn>
              <a:cxn ang="0">
                <a:pos x="connsiteX22327" y="connsiteY22327"/>
              </a:cxn>
              <a:cxn ang="0">
                <a:pos x="connsiteX22328" y="connsiteY22328"/>
              </a:cxn>
              <a:cxn ang="0">
                <a:pos x="connsiteX22329" y="connsiteY22329"/>
              </a:cxn>
              <a:cxn ang="0">
                <a:pos x="connsiteX22330" y="connsiteY22330"/>
              </a:cxn>
              <a:cxn ang="0">
                <a:pos x="connsiteX22331" y="connsiteY22331"/>
              </a:cxn>
              <a:cxn ang="0">
                <a:pos x="connsiteX22332" y="connsiteY22332"/>
              </a:cxn>
              <a:cxn ang="0">
                <a:pos x="connsiteX22333" y="connsiteY22333"/>
              </a:cxn>
              <a:cxn ang="0">
                <a:pos x="connsiteX22334" y="connsiteY22334"/>
              </a:cxn>
              <a:cxn ang="0">
                <a:pos x="connsiteX22335" y="connsiteY22335"/>
              </a:cxn>
              <a:cxn ang="0">
                <a:pos x="connsiteX22336" y="connsiteY22336"/>
              </a:cxn>
              <a:cxn ang="0">
                <a:pos x="connsiteX22337" y="connsiteY22337"/>
              </a:cxn>
              <a:cxn ang="0">
                <a:pos x="connsiteX22338" y="connsiteY22338"/>
              </a:cxn>
              <a:cxn ang="0">
                <a:pos x="connsiteX22339" y="connsiteY22339"/>
              </a:cxn>
              <a:cxn ang="0">
                <a:pos x="connsiteX22340" y="connsiteY22340"/>
              </a:cxn>
              <a:cxn ang="0">
                <a:pos x="connsiteX22341" y="connsiteY22341"/>
              </a:cxn>
              <a:cxn ang="0">
                <a:pos x="connsiteX22342" y="connsiteY22342"/>
              </a:cxn>
              <a:cxn ang="0">
                <a:pos x="connsiteX22343" y="connsiteY22343"/>
              </a:cxn>
              <a:cxn ang="0">
                <a:pos x="connsiteX22344" y="connsiteY22344"/>
              </a:cxn>
              <a:cxn ang="0">
                <a:pos x="connsiteX22345" y="connsiteY22345"/>
              </a:cxn>
              <a:cxn ang="0">
                <a:pos x="connsiteX22346" y="connsiteY22346"/>
              </a:cxn>
              <a:cxn ang="0">
                <a:pos x="connsiteX22347" y="connsiteY22347"/>
              </a:cxn>
              <a:cxn ang="0">
                <a:pos x="connsiteX22348" y="connsiteY22348"/>
              </a:cxn>
              <a:cxn ang="0">
                <a:pos x="connsiteX22349" y="connsiteY22349"/>
              </a:cxn>
              <a:cxn ang="0">
                <a:pos x="connsiteX22350" y="connsiteY22350"/>
              </a:cxn>
              <a:cxn ang="0">
                <a:pos x="connsiteX22351" y="connsiteY22351"/>
              </a:cxn>
              <a:cxn ang="0">
                <a:pos x="connsiteX22352" y="connsiteY22352"/>
              </a:cxn>
              <a:cxn ang="0">
                <a:pos x="connsiteX22353" y="connsiteY22353"/>
              </a:cxn>
              <a:cxn ang="0">
                <a:pos x="connsiteX22354" y="connsiteY22354"/>
              </a:cxn>
              <a:cxn ang="0">
                <a:pos x="connsiteX22355" y="connsiteY22355"/>
              </a:cxn>
              <a:cxn ang="0">
                <a:pos x="connsiteX22356" y="connsiteY22356"/>
              </a:cxn>
              <a:cxn ang="0">
                <a:pos x="connsiteX22357" y="connsiteY22357"/>
              </a:cxn>
              <a:cxn ang="0">
                <a:pos x="connsiteX22358" y="connsiteY22358"/>
              </a:cxn>
              <a:cxn ang="0">
                <a:pos x="connsiteX22359" y="connsiteY22359"/>
              </a:cxn>
              <a:cxn ang="0">
                <a:pos x="connsiteX22360" y="connsiteY22360"/>
              </a:cxn>
              <a:cxn ang="0">
                <a:pos x="connsiteX22361" y="connsiteY22361"/>
              </a:cxn>
              <a:cxn ang="0">
                <a:pos x="connsiteX22362" y="connsiteY22362"/>
              </a:cxn>
              <a:cxn ang="0">
                <a:pos x="connsiteX22363" y="connsiteY22363"/>
              </a:cxn>
              <a:cxn ang="0">
                <a:pos x="connsiteX22364" y="connsiteY22364"/>
              </a:cxn>
              <a:cxn ang="0">
                <a:pos x="connsiteX22365" y="connsiteY22365"/>
              </a:cxn>
              <a:cxn ang="0">
                <a:pos x="connsiteX22366" y="connsiteY22366"/>
              </a:cxn>
              <a:cxn ang="0">
                <a:pos x="connsiteX22367" y="connsiteY22367"/>
              </a:cxn>
              <a:cxn ang="0">
                <a:pos x="connsiteX22368" y="connsiteY22368"/>
              </a:cxn>
              <a:cxn ang="0">
                <a:pos x="connsiteX22369" y="connsiteY22369"/>
              </a:cxn>
              <a:cxn ang="0">
                <a:pos x="connsiteX22370" y="connsiteY22370"/>
              </a:cxn>
              <a:cxn ang="0">
                <a:pos x="connsiteX22371" y="connsiteY22371"/>
              </a:cxn>
              <a:cxn ang="0">
                <a:pos x="connsiteX22372" y="connsiteY22372"/>
              </a:cxn>
              <a:cxn ang="0">
                <a:pos x="connsiteX22373" y="connsiteY22373"/>
              </a:cxn>
              <a:cxn ang="0">
                <a:pos x="connsiteX22374" y="connsiteY22374"/>
              </a:cxn>
              <a:cxn ang="0">
                <a:pos x="connsiteX22375" y="connsiteY22375"/>
              </a:cxn>
              <a:cxn ang="0">
                <a:pos x="connsiteX22376" y="connsiteY22376"/>
              </a:cxn>
              <a:cxn ang="0">
                <a:pos x="connsiteX22377" y="connsiteY22377"/>
              </a:cxn>
              <a:cxn ang="0">
                <a:pos x="connsiteX22378" y="connsiteY22378"/>
              </a:cxn>
              <a:cxn ang="0">
                <a:pos x="connsiteX22379" y="connsiteY22379"/>
              </a:cxn>
              <a:cxn ang="0">
                <a:pos x="connsiteX22380" y="connsiteY22380"/>
              </a:cxn>
              <a:cxn ang="0">
                <a:pos x="connsiteX22381" y="connsiteY22381"/>
              </a:cxn>
              <a:cxn ang="0">
                <a:pos x="connsiteX22382" y="connsiteY22382"/>
              </a:cxn>
              <a:cxn ang="0">
                <a:pos x="connsiteX22383" y="connsiteY22383"/>
              </a:cxn>
              <a:cxn ang="0">
                <a:pos x="connsiteX22384" y="connsiteY22384"/>
              </a:cxn>
              <a:cxn ang="0">
                <a:pos x="connsiteX22385" y="connsiteY22385"/>
              </a:cxn>
              <a:cxn ang="0">
                <a:pos x="connsiteX22386" y="connsiteY22386"/>
              </a:cxn>
              <a:cxn ang="0">
                <a:pos x="connsiteX22387" y="connsiteY22387"/>
              </a:cxn>
              <a:cxn ang="0">
                <a:pos x="connsiteX22388" y="connsiteY22388"/>
              </a:cxn>
              <a:cxn ang="0">
                <a:pos x="connsiteX22389" y="connsiteY22389"/>
              </a:cxn>
              <a:cxn ang="0">
                <a:pos x="connsiteX22390" y="connsiteY22390"/>
              </a:cxn>
              <a:cxn ang="0">
                <a:pos x="connsiteX22391" y="connsiteY22391"/>
              </a:cxn>
              <a:cxn ang="0">
                <a:pos x="connsiteX22392" y="connsiteY22392"/>
              </a:cxn>
              <a:cxn ang="0">
                <a:pos x="connsiteX22393" y="connsiteY22393"/>
              </a:cxn>
              <a:cxn ang="0">
                <a:pos x="connsiteX22394" y="connsiteY22394"/>
              </a:cxn>
              <a:cxn ang="0">
                <a:pos x="connsiteX22395" y="connsiteY22395"/>
              </a:cxn>
              <a:cxn ang="0">
                <a:pos x="connsiteX22396" y="connsiteY22396"/>
              </a:cxn>
              <a:cxn ang="0">
                <a:pos x="connsiteX22397" y="connsiteY22397"/>
              </a:cxn>
              <a:cxn ang="0">
                <a:pos x="connsiteX22398" y="connsiteY22398"/>
              </a:cxn>
              <a:cxn ang="0">
                <a:pos x="connsiteX22399" y="connsiteY22399"/>
              </a:cxn>
              <a:cxn ang="0">
                <a:pos x="connsiteX22400" y="connsiteY22400"/>
              </a:cxn>
              <a:cxn ang="0">
                <a:pos x="connsiteX22401" y="connsiteY22401"/>
              </a:cxn>
              <a:cxn ang="0">
                <a:pos x="connsiteX22402" y="connsiteY22402"/>
              </a:cxn>
              <a:cxn ang="0">
                <a:pos x="connsiteX22403" y="connsiteY22403"/>
              </a:cxn>
              <a:cxn ang="0">
                <a:pos x="connsiteX22404" y="connsiteY22404"/>
              </a:cxn>
              <a:cxn ang="0">
                <a:pos x="connsiteX22405" y="connsiteY22405"/>
              </a:cxn>
              <a:cxn ang="0">
                <a:pos x="connsiteX22406" y="connsiteY22406"/>
              </a:cxn>
              <a:cxn ang="0">
                <a:pos x="connsiteX22407" y="connsiteY22407"/>
              </a:cxn>
              <a:cxn ang="0">
                <a:pos x="connsiteX22408" y="connsiteY22408"/>
              </a:cxn>
              <a:cxn ang="0">
                <a:pos x="connsiteX22409" y="connsiteY22409"/>
              </a:cxn>
              <a:cxn ang="0">
                <a:pos x="connsiteX22410" y="connsiteY22410"/>
              </a:cxn>
              <a:cxn ang="0">
                <a:pos x="connsiteX22411" y="connsiteY22411"/>
              </a:cxn>
              <a:cxn ang="0">
                <a:pos x="connsiteX22412" y="connsiteY22412"/>
              </a:cxn>
              <a:cxn ang="0">
                <a:pos x="connsiteX22413" y="connsiteY22413"/>
              </a:cxn>
              <a:cxn ang="0">
                <a:pos x="connsiteX22414" y="connsiteY22414"/>
              </a:cxn>
              <a:cxn ang="0">
                <a:pos x="connsiteX22415" y="connsiteY22415"/>
              </a:cxn>
              <a:cxn ang="0">
                <a:pos x="connsiteX22416" y="connsiteY22416"/>
              </a:cxn>
              <a:cxn ang="0">
                <a:pos x="connsiteX22417" y="connsiteY22417"/>
              </a:cxn>
              <a:cxn ang="0">
                <a:pos x="connsiteX22418" y="connsiteY22418"/>
              </a:cxn>
              <a:cxn ang="0">
                <a:pos x="connsiteX22419" y="connsiteY22419"/>
              </a:cxn>
              <a:cxn ang="0">
                <a:pos x="connsiteX22420" y="connsiteY22420"/>
              </a:cxn>
              <a:cxn ang="0">
                <a:pos x="connsiteX22421" y="connsiteY22421"/>
              </a:cxn>
              <a:cxn ang="0">
                <a:pos x="connsiteX22422" y="connsiteY22422"/>
              </a:cxn>
              <a:cxn ang="0">
                <a:pos x="connsiteX22423" y="connsiteY22423"/>
              </a:cxn>
              <a:cxn ang="0">
                <a:pos x="connsiteX22424" y="connsiteY22424"/>
              </a:cxn>
              <a:cxn ang="0">
                <a:pos x="connsiteX22425" y="connsiteY22425"/>
              </a:cxn>
              <a:cxn ang="0">
                <a:pos x="connsiteX22426" y="connsiteY22426"/>
              </a:cxn>
              <a:cxn ang="0">
                <a:pos x="connsiteX22427" y="connsiteY22427"/>
              </a:cxn>
              <a:cxn ang="0">
                <a:pos x="connsiteX22428" y="connsiteY22428"/>
              </a:cxn>
              <a:cxn ang="0">
                <a:pos x="connsiteX22429" y="connsiteY22429"/>
              </a:cxn>
              <a:cxn ang="0">
                <a:pos x="connsiteX22430" y="connsiteY22430"/>
              </a:cxn>
              <a:cxn ang="0">
                <a:pos x="connsiteX22431" y="connsiteY22431"/>
              </a:cxn>
              <a:cxn ang="0">
                <a:pos x="connsiteX22432" y="connsiteY22432"/>
              </a:cxn>
              <a:cxn ang="0">
                <a:pos x="connsiteX22433" y="connsiteY22433"/>
              </a:cxn>
              <a:cxn ang="0">
                <a:pos x="connsiteX22434" y="connsiteY22434"/>
              </a:cxn>
              <a:cxn ang="0">
                <a:pos x="connsiteX22435" y="connsiteY22435"/>
              </a:cxn>
              <a:cxn ang="0">
                <a:pos x="connsiteX22436" y="connsiteY22436"/>
              </a:cxn>
              <a:cxn ang="0">
                <a:pos x="connsiteX22437" y="connsiteY22437"/>
              </a:cxn>
              <a:cxn ang="0">
                <a:pos x="connsiteX22438" y="connsiteY22438"/>
              </a:cxn>
              <a:cxn ang="0">
                <a:pos x="connsiteX22439" y="connsiteY22439"/>
              </a:cxn>
              <a:cxn ang="0">
                <a:pos x="connsiteX22440" y="connsiteY22440"/>
              </a:cxn>
              <a:cxn ang="0">
                <a:pos x="connsiteX22441" y="connsiteY22441"/>
              </a:cxn>
              <a:cxn ang="0">
                <a:pos x="connsiteX22442" y="connsiteY22442"/>
              </a:cxn>
              <a:cxn ang="0">
                <a:pos x="connsiteX22443" y="connsiteY22443"/>
              </a:cxn>
              <a:cxn ang="0">
                <a:pos x="connsiteX22444" y="connsiteY22444"/>
              </a:cxn>
              <a:cxn ang="0">
                <a:pos x="connsiteX22445" y="connsiteY22445"/>
              </a:cxn>
              <a:cxn ang="0">
                <a:pos x="connsiteX22446" y="connsiteY22446"/>
              </a:cxn>
              <a:cxn ang="0">
                <a:pos x="connsiteX22447" y="connsiteY22447"/>
              </a:cxn>
              <a:cxn ang="0">
                <a:pos x="connsiteX22448" y="connsiteY22448"/>
              </a:cxn>
              <a:cxn ang="0">
                <a:pos x="connsiteX22449" y="connsiteY22449"/>
              </a:cxn>
              <a:cxn ang="0">
                <a:pos x="connsiteX22450" y="connsiteY22450"/>
              </a:cxn>
              <a:cxn ang="0">
                <a:pos x="connsiteX22451" y="connsiteY22451"/>
              </a:cxn>
              <a:cxn ang="0">
                <a:pos x="connsiteX22452" y="connsiteY22452"/>
              </a:cxn>
              <a:cxn ang="0">
                <a:pos x="connsiteX22453" y="connsiteY22453"/>
              </a:cxn>
              <a:cxn ang="0">
                <a:pos x="connsiteX22454" y="connsiteY22454"/>
              </a:cxn>
              <a:cxn ang="0">
                <a:pos x="connsiteX22455" y="connsiteY22455"/>
              </a:cxn>
              <a:cxn ang="0">
                <a:pos x="connsiteX22456" y="connsiteY22456"/>
              </a:cxn>
              <a:cxn ang="0">
                <a:pos x="connsiteX22457" y="connsiteY22457"/>
              </a:cxn>
              <a:cxn ang="0">
                <a:pos x="connsiteX22458" y="connsiteY22458"/>
              </a:cxn>
              <a:cxn ang="0">
                <a:pos x="connsiteX22459" y="connsiteY22459"/>
              </a:cxn>
              <a:cxn ang="0">
                <a:pos x="connsiteX22460" y="connsiteY22460"/>
              </a:cxn>
              <a:cxn ang="0">
                <a:pos x="connsiteX22461" y="connsiteY22461"/>
              </a:cxn>
              <a:cxn ang="0">
                <a:pos x="connsiteX22462" y="connsiteY22462"/>
              </a:cxn>
              <a:cxn ang="0">
                <a:pos x="connsiteX22463" y="connsiteY22463"/>
              </a:cxn>
              <a:cxn ang="0">
                <a:pos x="connsiteX22464" y="connsiteY22464"/>
              </a:cxn>
              <a:cxn ang="0">
                <a:pos x="connsiteX22465" y="connsiteY22465"/>
              </a:cxn>
              <a:cxn ang="0">
                <a:pos x="connsiteX22466" y="connsiteY22466"/>
              </a:cxn>
              <a:cxn ang="0">
                <a:pos x="connsiteX22467" y="connsiteY22467"/>
              </a:cxn>
              <a:cxn ang="0">
                <a:pos x="connsiteX22468" y="connsiteY22468"/>
              </a:cxn>
              <a:cxn ang="0">
                <a:pos x="connsiteX22469" y="connsiteY22469"/>
              </a:cxn>
              <a:cxn ang="0">
                <a:pos x="connsiteX22470" y="connsiteY22470"/>
              </a:cxn>
              <a:cxn ang="0">
                <a:pos x="connsiteX22471" y="connsiteY22471"/>
              </a:cxn>
              <a:cxn ang="0">
                <a:pos x="connsiteX22472" y="connsiteY22472"/>
              </a:cxn>
              <a:cxn ang="0">
                <a:pos x="connsiteX22473" y="connsiteY22473"/>
              </a:cxn>
              <a:cxn ang="0">
                <a:pos x="connsiteX22474" y="connsiteY22474"/>
              </a:cxn>
              <a:cxn ang="0">
                <a:pos x="connsiteX22475" y="connsiteY22475"/>
              </a:cxn>
              <a:cxn ang="0">
                <a:pos x="connsiteX22476" y="connsiteY22476"/>
              </a:cxn>
              <a:cxn ang="0">
                <a:pos x="connsiteX22477" y="connsiteY22477"/>
              </a:cxn>
              <a:cxn ang="0">
                <a:pos x="connsiteX22478" y="connsiteY22478"/>
              </a:cxn>
              <a:cxn ang="0">
                <a:pos x="connsiteX22479" y="connsiteY22479"/>
              </a:cxn>
              <a:cxn ang="0">
                <a:pos x="connsiteX22480" y="connsiteY22480"/>
              </a:cxn>
              <a:cxn ang="0">
                <a:pos x="connsiteX22481" y="connsiteY22481"/>
              </a:cxn>
              <a:cxn ang="0">
                <a:pos x="connsiteX22482" y="connsiteY22482"/>
              </a:cxn>
              <a:cxn ang="0">
                <a:pos x="connsiteX22483" y="connsiteY22483"/>
              </a:cxn>
              <a:cxn ang="0">
                <a:pos x="connsiteX22484" y="connsiteY22484"/>
              </a:cxn>
              <a:cxn ang="0">
                <a:pos x="connsiteX22485" y="connsiteY22485"/>
              </a:cxn>
              <a:cxn ang="0">
                <a:pos x="connsiteX22486" y="connsiteY22486"/>
              </a:cxn>
              <a:cxn ang="0">
                <a:pos x="connsiteX22487" y="connsiteY22487"/>
              </a:cxn>
              <a:cxn ang="0">
                <a:pos x="connsiteX22488" y="connsiteY22488"/>
              </a:cxn>
              <a:cxn ang="0">
                <a:pos x="connsiteX22489" y="connsiteY22489"/>
              </a:cxn>
              <a:cxn ang="0">
                <a:pos x="connsiteX22490" y="connsiteY22490"/>
              </a:cxn>
              <a:cxn ang="0">
                <a:pos x="connsiteX22491" y="connsiteY22491"/>
              </a:cxn>
              <a:cxn ang="0">
                <a:pos x="connsiteX22492" y="connsiteY22492"/>
              </a:cxn>
              <a:cxn ang="0">
                <a:pos x="connsiteX22493" y="connsiteY22493"/>
              </a:cxn>
              <a:cxn ang="0">
                <a:pos x="connsiteX22494" y="connsiteY22494"/>
              </a:cxn>
              <a:cxn ang="0">
                <a:pos x="connsiteX22495" y="connsiteY22495"/>
              </a:cxn>
              <a:cxn ang="0">
                <a:pos x="connsiteX22496" y="connsiteY22496"/>
              </a:cxn>
              <a:cxn ang="0">
                <a:pos x="connsiteX22497" y="connsiteY22497"/>
              </a:cxn>
              <a:cxn ang="0">
                <a:pos x="connsiteX22498" y="connsiteY22498"/>
              </a:cxn>
              <a:cxn ang="0">
                <a:pos x="connsiteX22499" y="connsiteY22499"/>
              </a:cxn>
              <a:cxn ang="0">
                <a:pos x="connsiteX22500" y="connsiteY22500"/>
              </a:cxn>
              <a:cxn ang="0">
                <a:pos x="connsiteX22501" y="connsiteY22501"/>
              </a:cxn>
              <a:cxn ang="0">
                <a:pos x="connsiteX22502" y="connsiteY22502"/>
              </a:cxn>
              <a:cxn ang="0">
                <a:pos x="connsiteX22503" y="connsiteY22503"/>
              </a:cxn>
              <a:cxn ang="0">
                <a:pos x="connsiteX22504" y="connsiteY22504"/>
              </a:cxn>
              <a:cxn ang="0">
                <a:pos x="connsiteX22505" y="connsiteY22505"/>
              </a:cxn>
              <a:cxn ang="0">
                <a:pos x="connsiteX22506" y="connsiteY22506"/>
              </a:cxn>
              <a:cxn ang="0">
                <a:pos x="connsiteX22507" y="connsiteY22507"/>
              </a:cxn>
              <a:cxn ang="0">
                <a:pos x="connsiteX22508" y="connsiteY22508"/>
              </a:cxn>
              <a:cxn ang="0">
                <a:pos x="connsiteX22509" y="connsiteY22509"/>
              </a:cxn>
              <a:cxn ang="0">
                <a:pos x="connsiteX22510" y="connsiteY22510"/>
              </a:cxn>
              <a:cxn ang="0">
                <a:pos x="connsiteX22511" y="connsiteY22511"/>
              </a:cxn>
              <a:cxn ang="0">
                <a:pos x="connsiteX22512" y="connsiteY22512"/>
              </a:cxn>
              <a:cxn ang="0">
                <a:pos x="connsiteX22513" y="connsiteY22513"/>
              </a:cxn>
              <a:cxn ang="0">
                <a:pos x="connsiteX22514" y="connsiteY22514"/>
              </a:cxn>
              <a:cxn ang="0">
                <a:pos x="connsiteX22515" y="connsiteY22515"/>
              </a:cxn>
              <a:cxn ang="0">
                <a:pos x="connsiteX22516" y="connsiteY22516"/>
              </a:cxn>
              <a:cxn ang="0">
                <a:pos x="connsiteX22517" y="connsiteY22517"/>
              </a:cxn>
              <a:cxn ang="0">
                <a:pos x="connsiteX22518" y="connsiteY22518"/>
              </a:cxn>
              <a:cxn ang="0">
                <a:pos x="connsiteX22519" y="connsiteY22519"/>
              </a:cxn>
              <a:cxn ang="0">
                <a:pos x="connsiteX22520" y="connsiteY22520"/>
              </a:cxn>
              <a:cxn ang="0">
                <a:pos x="connsiteX22521" y="connsiteY22521"/>
              </a:cxn>
              <a:cxn ang="0">
                <a:pos x="connsiteX22522" y="connsiteY22522"/>
              </a:cxn>
              <a:cxn ang="0">
                <a:pos x="connsiteX22523" y="connsiteY22523"/>
              </a:cxn>
              <a:cxn ang="0">
                <a:pos x="connsiteX22524" y="connsiteY22524"/>
              </a:cxn>
              <a:cxn ang="0">
                <a:pos x="connsiteX22525" y="connsiteY22525"/>
              </a:cxn>
              <a:cxn ang="0">
                <a:pos x="connsiteX22526" y="connsiteY22526"/>
              </a:cxn>
              <a:cxn ang="0">
                <a:pos x="connsiteX22527" y="connsiteY22527"/>
              </a:cxn>
              <a:cxn ang="0">
                <a:pos x="connsiteX22528" y="connsiteY22528"/>
              </a:cxn>
              <a:cxn ang="0">
                <a:pos x="connsiteX22529" y="connsiteY22529"/>
              </a:cxn>
              <a:cxn ang="0">
                <a:pos x="connsiteX22530" y="connsiteY22530"/>
              </a:cxn>
              <a:cxn ang="0">
                <a:pos x="connsiteX22531" y="connsiteY22531"/>
              </a:cxn>
              <a:cxn ang="0">
                <a:pos x="connsiteX22532" y="connsiteY22532"/>
              </a:cxn>
              <a:cxn ang="0">
                <a:pos x="connsiteX22533" y="connsiteY22533"/>
              </a:cxn>
              <a:cxn ang="0">
                <a:pos x="connsiteX22534" y="connsiteY22534"/>
              </a:cxn>
              <a:cxn ang="0">
                <a:pos x="connsiteX22535" y="connsiteY22535"/>
              </a:cxn>
              <a:cxn ang="0">
                <a:pos x="connsiteX22536" y="connsiteY22536"/>
              </a:cxn>
              <a:cxn ang="0">
                <a:pos x="connsiteX22537" y="connsiteY22537"/>
              </a:cxn>
              <a:cxn ang="0">
                <a:pos x="connsiteX22538" y="connsiteY22538"/>
              </a:cxn>
              <a:cxn ang="0">
                <a:pos x="connsiteX22539" y="connsiteY22539"/>
              </a:cxn>
              <a:cxn ang="0">
                <a:pos x="connsiteX22540" y="connsiteY22540"/>
              </a:cxn>
              <a:cxn ang="0">
                <a:pos x="connsiteX22541" y="connsiteY22541"/>
              </a:cxn>
              <a:cxn ang="0">
                <a:pos x="connsiteX22542" y="connsiteY22542"/>
              </a:cxn>
              <a:cxn ang="0">
                <a:pos x="connsiteX22543" y="connsiteY22543"/>
              </a:cxn>
              <a:cxn ang="0">
                <a:pos x="connsiteX22544" y="connsiteY22544"/>
              </a:cxn>
              <a:cxn ang="0">
                <a:pos x="connsiteX22545" y="connsiteY22545"/>
              </a:cxn>
              <a:cxn ang="0">
                <a:pos x="connsiteX22546" y="connsiteY22546"/>
              </a:cxn>
              <a:cxn ang="0">
                <a:pos x="connsiteX22547" y="connsiteY22547"/>
              </a:cxn>
              <a:cxn ang="0">
                <a:pos x="connsiteX22548" y="connsiteY22548"/>
              </a:cxn>
              <a:cxn ang="0">
                <a:pos x="connsiteX22549" y="connsiteY22549"/>
              </a:cxn>
              <a:cxn ang="0">
                <a:pos x="connsiteX22550" y="connsiteY22550"/>
              </a:cxn>
              <a:cxn ang="0">
                <a:pos x="connsiteX22551" y="connsiteY22551"/>
              </a:cxn>
              <a:cxn ang="0">
                <a:pos x="connsiteX22552" y="connsiteY22552"/>
              </a:cxn>
              <a:cxn ang="0">
                <a:pos x="connsiteX22553" y="connsiteY22553"/>
              </a:cxn>
              <a:cxn ang="0">
                <a:pos x="connsiteX22554" y="connsiteY22554"/>
              </a:cxn>
              <a:cxn ang="0">
                <a:pos x="connsiteX22555" y="connsiteY22555"/>
              </a:cxn>
              <a:cxn ang="0">
                <a:pos x="connsiteX22556" y="connsiteY22556"/>
              </a:cxn>
              <a:cxn ang="0">
                <a:pos x="connsiteX22557" y="connsiteY22557"/>
              </a:cxn>
              <a:cxn ang="0">
                <a:pos x="connsiteX22558" y="connsiteY22558"/>
              </a:cxn>
              <a:cxn ang="0">
                <a:pos x="connsiteX22559" y="connsiteY22559"/>
              </a:cxn>
              <a:cxn ang="0">
                <a:pos x="connsiteX22560" y="connsiteY22560"/>
              </a:cxn>
              <a:cxn ang="0">
                <a:pos x="connsiteX22561" y="connsiteY22561"/>
              </a:cxn>
              <a:cxn ang="0">
                <a:pos x="connsiteX22562" y="connsiteY22562"/>
              </a:cxn>
              <a:cxn ang="0">
                <a:pos x="connsiteX22563" y="connsiteY22563"/>
              </a:cxn>
              <a:cxn ang="0">
                <a:pos x="connsiteX22564" y="connsiteY22564"/>
              </a:cxn>
              <a:cxn ang="0">
                <a:pos x="connsiteX22565" y="connsiteY22565"/>
              </a:cxn>
              <a:cxn ang="0">
                <a:pos x="connsiteX22566" y="connsiteY22566"/>
              </a:cxn>
              <a:cxn ang="0">
                <a:pos x="connsiteX22567" y="connsiteY22567"/>
              </a:cxn>
              <a:cxn ang="0">
                <a:pos x="connsiteX22568" y="connsiteY22568"/>
              </a:cxn>
              <a:cxn ang="0">
                <a:pos x="connsiteX22569" y="connsiteY22569"/>
              </a:cxn>
              <a:cxn ang="0">
                <a:pos x="connsiteX22570" y="connsiteY22570"/>
              </a:cxn>
              <a:cxn ang="0">
                <a:pos x="connsiteX22571" y="connsiteY22571"/>
              </a:cxn>
              <a:cxn ang="0">
                <a:pos x="connsiteX22572" y="connsiteY22572"/>
              </a:cxn>
              <a:cxn ang="0">
                <a:pos x="connsiteX22573" y="connsiteY22573"/>
              </a:cxn>
              <a:cxn ang="0">
                <a:pos x="connsiteX22574" y="connsiteY22574"/>
              </a:cxn>
              <a:cxn ang="0">
                <a:pos x="connsiteX22575" y="connsiteY22575"/>
              </a:cxn>
              <a:cxn ang="0">
                <a:pos x="connsiteX22576" y="connsiteY22576"/>
              </a:cxn>
              <a:cxn ang="0">
                <a:pos x="connsiteX22577" y="connsiteY22577"/>
              </a:cxn>
              <a:cxn ang="0">
                <a:pos x="connsiteX22578" y="connsiteY22578"/>
              </a:cxn>
              <a:cxn ang="0">
                <a:pos x="connsiteX22579" y="connsiteY22579"/>
              </a:cxn>
              <a:cxn ang="0">
                <a:pos x="connsiteX22580" y="connsiteY22580"/>
              </a:cxn>
              <a:cxn ang="0">
                <a:pos x="connsiteX22581" y="connsiteY22581"/>
              </a:cxn>
              <a:cxn ang="0">
                <a:pos x="connsiteX22582" y="connsiteY22582"/>
              </a:cxn>
              <a:cxn ang="0">
                <a:pos x="connsiteX22583" y="connsiteY22583"/>
              </a:cxn>
              <a:cxn ang="0">
                <a:pos x="connsiteX22584" y="connsiteY22584"/>
              </a:cxn>
              <a:cxn ang="0">
                <a:pos x="connsiteX22585" y="connsiteY22585"/>
              </a:cxn>
              <a:cxn ang="0">
                <a:pos x="connsiteX22586" y="connsiteY22586"/>
              </a:cxn>
              <a:cxn ang="0">
                <a:pos x="connsiteX22587" y="connsiteY22587"/>
              </a:cxn>
              <a:cxn ang="0">
                <a:pos x="connsiteX22588" y="connsiteY22588"/>
              </a:cxn>
              <a:cxn ang="0">
                <a:pos x="connsiteX22589" y="connsiteY22589"/>
              </a:cxn>
              <a:cxn ang="0">
                <a:pos x="connsiteX22590" y="connsiteY22590"/>
              </a:cxn>
              <a:cxn ang="0">
                <a:pos x="connsiteX22591" y="connsiteY22591"/>
              </a:cxn>
              <a:cxn ang="0">
                <a:pos x="connsiteX22592" y="connsiteY22592"/>
              </a:cxn>
              <a:cxn ang="0">
                <a:pos x="connsiteX22593" y="connsiteY22593"/>
              </a:cxn>
              <a:cxn ang="0">
                <a:pos x="connsiteX22594" y="connsiteY22594"/>
              </a:cxn>
              <a:cxn ang="0">
                <a:pos x="connsiteX22595" y="connsiteY22595"/>
              </a:cxn>
              <a:cxn ang="0">
                <a:pos x="connsiteX22596" y="connsiteY22596"/>
              </a:cxn>
              <a:cxn ang="0">
                <a:pos x="connsiteX22597" y="connsiteY22597"/>
              </a:cxn>
              <a:cxn ang="0">
                <a:pos x="connsiteX22598" y="connsiteY22598"/>
              </a:cxn>
              <a:cxn ang="0">
                <a:pos x="connsiteX22599" y="connsiteY22599"/>
              </a:cxn>
              <a:cxn ang="0">
                <a:pos x="connsiteX22600" y="connsiteY22600"/>
              </a:cxn>
              <a:cxn ang="0">
                <a:pos x="connsiteX22601" y="connsiteY22601"/>
              </a:cxn>
              <a:cxn ang="0">
                <a:pos x="connsiteX22602" y="connsiteY22602"/>
              </a:cxn>
              <a:cxn ang="0">
                <a:pos x="connsiteX22603" y="connsiteY22603"/>
              </a:cxn>
              <a:cxn ang="0">
                <a:pos x="connsiteX22604" y="connsiteY22604"/>
              </a:cxn>
              <a:cxn ang="0">
                <a:pos x="connsiteX22605" y="connsiteY22605"/>
              </a:cxn>
              <a:cxn ang="0">
                <a:pos x="connsiteX22606" y="connsiteY22606"/>
              </a:cxn>
              <a:cxn ang="0">
                <a:pos x="connsiteX22607" y="connsiteY22607"/>
              </a:cxn>
              <a:cxn ang="0">
                <a:pos x="connsiteX22608" y="connsiteY22608"/>
              </a:cxn>
              <a:cxn ang="0">
                <a:pos x="connsiteX22609" y="connsiteY22609"/>
              </a:cxn>
              <a:cxn ang="0">
                <a:pos x="connsiteX22610" y="connsiteY22610"/>
              </a:cxn>
              <a:cxn ang="0">
                <a:pos x="connsiteX22611" y="connsiteY22611"/>
              </a:cxn>
              <a:cxn ang="0">
                <a:pos x="connsiteX22612" y="connsiteY22612"/>
              </a:cxn>
              <a:cxn ang="0">
                <a:pos x="connsiteX22613" y="connsiteY22613"/>
              </a:cxn>
              <a:cxn ang="0">
                <a:pos x="connsiteX22614" y="connsiteY22614"/>
              </a:cxn>
              <a:cxn ang="0">
                <a:pos x="connsiteX22615" y="connsiteY22615"/>
              </a:cxn>
              <a:cxn ang="0">
                <a:pos x="connsiteX22616" y="connsiteY22616"/>
              </a:cxn>
              <a:cxn ang="0">
                <a:pos x="connsiteX22617" y="connsiteY22617"/>
              </a:cxn>
              <a:cxn ang="0">
                <a:pos x="connsiteX22618" y="connsiteY22618"/>
              </a:cxn>
              <a:cxn ang="0">
                <a:pos x="connsiteX22619" y="connsiteY22619"/>
              </a:cxn>
              <a:cxn ang="0">
                <a:pos x="connsiteX22620" y="connsiteY22620"/>
              </a:cxn>
              <a:cxn ang="0">
                <a:pos x="connsiteX22621" y="connsiteY22621"/>
              </a:cxn>
              <a:cxn ang="0">
                <a:pos x="connsiteX22622" y="connsiteY22622"/>
              </a:cxn>
              <a:cxn ang="0">
                <a:pos x="connsiteX22623" y="connsiteY22623"/>
              </a:cxn>
              <a:cxn ang="0">
                <a:pos x="connsiteX22624" y="connsiteY22624"/>
              </a:cxn>
              <a:cxn ang="0">
                <a:pos x="connsiteX22625" y="connsiteY22625"/>
              </a:cxn>
              <a:cxn ang="0">
                <a:pos x="connsiteX22626" y="connsiteY22626"/>
              </a:cxn>
              <a:cxn ang="0">
                <a:pos x="connsiteX22627" y="connsiteY22627"/>
              </a:cxn>
              <a:cxn ang="0">
                <a:pos x="connsiteX22628" y="connsiteY22628"/>
              </a:cxn>
              <a:cxn ang="0">
                <a:pos x="connsiteX22629" y="connsiteY22629"/>
              </a:cxn>
              <a:cxn ang="0">
                <a:pos x="connsiteX22630" y="connsiteY22630"/>
              </a:cxn>
              <a:cxn ang="0">
                <a:pos x="connsiteX22631" y="connsiteY22631"/>
              </a:cxn>
              <a:cxn ang="0">
                <a:pos x="connsiteX22632" y="connsiteY22632"/>
              </a:cxn>
              <a:cxn ang="0">
                <a:pos x="connsiteX22633" y="connsiteY22633"/>
              </a:cxn>
              <a:cxn ang="0">
                <a:pos x="connsiteX22634" y="connsiteY22634"/>
              </a:cxn>
              <a:cxn ang="0">
                <a:pos x="connsiteX22635" y="connsiteY22635"/>
              </a:cxn>
              <a:cxn ang="0">
                <a:pos x="connsiteX22636" y="connsiteY22636"/>
              </a:cxn>
              <a:cxn ang="0">
                <a:pos x="connsiteX22637" y="connsiteY22637"/>
              </a:cxn>
              <a:cxn ang="0">
                <a:pos x="connsiteX22638" y="connsiteY22638"/>
              </a:cxn>
              <a:cxn ang="0">
                <a:pos x="connsiteX22639" y="connsiteY22639"/>
              </a:cxn>
              <a:cxn ang="0">
                <a:pos x="connsiteX22640" y="connsiteY22640"/>
              </a:cxn>
              <a:cxn ang="0">
                <a:pos x="connsiteX22641" y="connsiteY22641"/>
              </a:cxn>
              <a:cxn ang="0">
                <a:pos x="connsiteX22642" y="connsiteY22642"/>
              </a:cxn>
              <a:cxn ang="0">
                <a:pos x="connsiteX22643" y="connsiteY22643"/>
              </a:cxn>
              <a:cxn ang="0">
                <a:pos x="connsiteX22644" y="connsiteY22644"/>
              </a:cxn>
              <a:cxn ang="0">
                <a:pos x="connsiteX22645" y="connsiteY22645"/>
              </a:cxn>
              <a:cxn ang="0">
                <a:pos x="connsiteX22646" y="connsiteY22646"/>
              </a:cxn>
              <a:cxn ang="0">
                <a:pos x="connsiteX22647" y="connsiteY22647"/>
              </a:cxn>
              <a:cxn ang="0">
                <a:pos x="connsiteX22648" y="connsiteY22648"/>
              </a:cxn>
              <a:cxn ang="0">
                <a:pos x="connsiteX22649" y="connsiteY22649"/>
              </a:cxn>
              <a:cxn ang="0">
                <a:pos x="connsiteX22650" y="connsiteY22650"/>
              </a:cxn>
              <a:cxn ang="0">
                <a:pos x="connsiteX22651" y="connsiteY22651"/>
              </a:cxn>
              <a:cxn ang="0">
                <a:pos x="connsiteX22652" y="connsiteY22652"/>
              </a:cxn>
              <a:cxn ang="0">
                <a:pos x="connsiteX22653" y="connsiteY22653"/>
              </a:cxn>
              <a:cxn ang="0">
                <a:pos x="connsiteX22654" y="connsiteY22654"/>
              </a:cxn>
              <a:cxn ang="0">
                <a:pos x="connsiteX22655" y="connsiteY22655"/>
              </a:cxn>
              <a:cxn ang="0">
                <a:pos x="connsiteX22656" y="connsiteY22656"/>
              </a:cxn>
              <a:cxn ang="0">
                <a:pos x="connsiteX22657" y="connsiteY22657"/>
              </a:cxn>
              <a:cxn ang="0">
                <a:pos x="connsiteX22658" y="connsiteY22658"/>
              </a:cxn>
              <a:cxn ang="0">
                <a:pos x="connsiteX22659" y="connsiteY22659"/>
              </a:cxn>
              <a:cxn ang="0">
                <a:pos x="connsiteX22660" y="connsiteY22660"/>
              </a:cxn>
              <a:cxn ang="0">
                <a:pos x="connsiteX22661" y="connsiteY22661"/>
              </a:cxn>
              <a:cxn ang="0">
                <a:pos x="connsiteX22662" y="connsiteY22662"/>
              </a:cxn>
              <a:cxn ang="0">
                <a:pos x="connsiteX22663" y="connsiteY22663"/>
              </a:cxn>
              <a:cxn ang="0">
                <a:pos x="connsiteX22664" y="connsiteY22664"/>
              </a:cxn>
              <a:cxn ang="0">
                <a:pos x="connsiteX22665" y="connsiteY22665"/>
              </a:cxn>
              <a:cxn ang="0">
                <a:pos x="connsiteX22666" y="connsiteY22666"/>
              </a:cxn>
              <a:cxn ang="0">
                <a:pos x="connsiteX22667" y="connsiteY22667"/>
              </a:cxn>
              <a:cxn ang="0">
                <a:pos x="connsiteX22668" y="connsiteY22668"/>
              </a:cxn>
              <a:cxn ang="0">
                <a:pos x="connsiteX22669" y="connsiteY22669"/>
              </a:cxn>
              <a:cxn ang="0">
                <a:pos x="connsiteX22670" y="connsiteY22670"/>
              </a:cxn>
              <a:cxn ang="0">
                <a:pos x="connsiteX22671" y="connsiteY22671"/>
              </a:cxn>
              <a:cxn ang="0">
                <a:pos x="connsiteX22672" y="connsiteY22672"/>
              </a:cxn>
              <a:cxn ang="0">
                <a:pos x="connsiteX22673" y="connsiteY22673"/>
              </a:cxn>
              <a:cxn ang="0">
                <a:pos x="connsiteX22674" y="connsiteY22674"/>
              </a:cxn>
              <a:cxn ang="0">
                <a:pos x="connsiteX22675" y="connsiteY22675"/>
              </a:cxn>
              <a:cxn ang="0">
                <a:pos x="connsiteX22676" y="connsiteY22676"/>
              </a:cxn>
              <a:cxn ang="0">
                <a:pos x="connsiteX22677" y="connsiteY22677"/>
              </a:cxn>
              <a:cxn ang="0">
                <a:pos x="connsiteX22678" y="connsiteY22678"/>
              </a:cxn>
              <a:cxn ang="0">
                <a:pos x="connsiteX22679" y="connsiteY22679"/>
              </a:cxn>
              <a:cxn ang="0">
                <a:pos x="connsiteX22680" y="connsiteY22680"/>
              </a:cxn>
              <a:cxn ang="0">
                <a:pos x="connsiteX22681" y="connsiteY22681"/>
              </a:cxn>
              <a:cxn ang="0">
                <a:pos x="connsiteX22682" y="connsiteY22682"/>
              </a:cxn>
              <a:cxn ang="0">
                <a:pos x="connsiteX22683" y="connsiteY22683"/>
              </a:cxn>
              <a:cxn ang="0">
                <a:pos x="connsiteX22684" y="connsiteY22684"/>
              </a:cxn>
              <a:cxn ang="0">
                <a:pos x="connsiteX22685" y="connsiteY22685"/>
              </a:cxn>
              <a:cxn ang="0">
                <a:pos x="connsiteX22686" y="connsiteY22686"/>
              </a:cxn>
              <a:cxn ang="0">
                <a:pos x="connsiteX22687" y="connsiteY22687"/>
              </a:cxn>
              <a:cxn ang="0">
                <a:pos x="connsiteX22688" y="connsiteY22688"/>
              </a:cxn>
              <a:cxn ang="0">
                <a:pos x="connsiteX22689" y="connsiteY22689"/>
              </a:cxn>
              <a:cxn ang="0">
                <a:pos x="connsiteX22690" y="connsiteY22690"/>
              </a:cxn>
              <a:cxn ang="0">
                <a:pos x="connsiteX22691" y="connsiteY22691"/>
              </a:cxn>
              <a:cxn ang="0">
                <a:pos x="connsiteX22692" y="connsiteY22692"/>
              </a:cxn>
              <a:cxn ang="0">
                <a:pos x="connsiteX22693" y="connsiteY22693"/>
              </a:cxn>
              <a:cxn ang="0">
                <a:pos x="connsiteX22694" y="connsiteY22694"/>
              </a:cxn>
              <a:cxn ang="0">
                <a:pos x="connsiteX22695" y="connsiteY22695"/>
              </a:cxn>
              <a:cxn ang="0">
                <a:pos x="connsiteX22696" y="connsiteY22696"/>
              </a:cxn>
              <a:cxn ang="0">
                <a:pos x="connsiteX22697" y="connsiteY22697"/>
              </a:cxn>
              <a:cxn ang="0">
                <a:pos x="connsiteX22698" y="connsiteY22698"/>
              </a:cxn>
              <a:cxn ang="0">
                <a:pos x="connsiteX22699" y="connsiteY22699"/>
              </a:cxn>
              <a:cxn ang="0">
                <a:pos x="connsiteX22700" y="connsiteY22700"/>
              </a:cxn>
              <a:cxn ang="0">
                <a:pos x="connsiteX22701" y="connsiteY22701"/>
              </a:cxn>
              <a:cxn ang="0">
                <a:pos x="connsiteX22702" y="connsiteY22702"/>
              </a:cxn>
              <a:cxn ang="0">
                <a:pos x="connsiteX22703" y="connsiteY22703"/>
              </a:cxn>
              <a:cxn ang="0">
                <a:pos x="connsiteX22704" y="connsiteY22704"/>
              </a:cxn>
              <a:cxn ang="0">
                <a:pos x="connsiteX22705" y="connsiteY22705"/>
              </a:cxn>
              <a:cxn ang="0">
                <a:pos x="connsiteX22706" y="connsiteY22706"/>
              </a:cxn>
              <a:cxn ang="0">
                <a:pos x="connsiteX22707" y="connsiteY22707"/>
              </a:cxn>
              <a:cxn ang="0">
                <a:pos x="connsiteX22708" y="connsiteY22708"/>
              </a:cxn>
              <a:cxn ang="0">
                <a:pos x="connsiteX22709" y="connsiteY22709"/>
              </a:cxn>
              <a:cxn ang="0">
                <a:pos x="connsiteX22710" y="connsiteY22710"/>
              </a:cxn>
              <a:cxn ang="0">
                <a:pos x="connsiteX22711" y="connsiteY22711"/>
              </a:cxn>
              <a:cxn ang="0">
                <a:pos x="connsiteX22712" y="connsiteY22712"/>
              </a:cxn>
              <a:cxn ang="0">
                <a:pos x="connsiteX22713" y="connsiteY22713"/>
              </a:cxn>
              <a:cxn ang="0">
                <a:pos x="connsiteX22714" y="connsiteY22714"/>
              </a:cxn>
              <a:cxn ang="0">
                <a:pos x="connsiteX22715" y="connsiteY22715"/>
              </a:cxn>
              <a:cxn ang="0">
                <a:pos x="connsiteX22716" y="connsiteY22716"/>
              </a:cxn>
              <a:cxn ang="0">
                <a:pos x="connsiteX22717" y="connsiteY22717"/>
              </a:cxn>
              <a:cxn ang="0">
                <a:pos x="connsiteX22718" y="connsiteY22718"/>
              </a:cxn>
              <a:cxn ang="0">
                <a:pos x="connsiteX22719" y="connsiteY22719"/>
              </a:cxn>
              <a:cxn ang="0">
                <a:pos x="connsiteX22720" y="connsiteY22720"/>
              </a:cxn>
              <a:cxn ang="0">
                <a:pos x="connsiteX22721" y="connsiteY22721"/>
              </a:cxn>
              <a:cxn ang="0">
                <a:pos x="connsiteX22722" y="connsiteY22722"/>
              </a:cxn>
              <a:cxn ang="0">
                <a:pos x="connsiteX22723" y="connsiteY22723"/>
              </a:cxn>
              <a:cxn ang="0">
                <a:pos x="connsiteX22724" y="connsiteY22724"/>
              </a:cxn>
              <a:cxn ang="0">
                <a:pos x="connsiteX22725" y="connsiteY22725"/>
              </a:cxn>
              <a:cxn ang="0">
                <a:pos x="connsiteX22726" y="connsiteY22726"/>
              </a:cxn>
              <a:cxn ang="0">
                <a:pos x="connsiteX22727" y="connsiteY22727"/>
              </a:cxn>
              <a:cxn ang="0">
                <a:pos x="connsiteX22728" y="connsiteY22728"/>
              </a:cxn>
              <a:cxn ang="0">
                <a:pos x="connsiteX22729" y="connsiteY22729"/>
              </a:cxn>
              <a:cxn ang="0">
                <a:pos x="connsiteX22730" y="connsiteY22730"/>
              </a:cxn>
              <a:cxn ang="0">
                <a:pos x="connsiteX22731" y="connsiteY22731"/>
              </a:cxn>
              <a:cxn ang="0">
                <a:pos x="connsiteX22732" y="connsiteY22732"/>
              </a:cxn>
              <a:cxn ang="0">
                <a:pos x="connsiteX22733" y="connsiteY22733"/>
              </a:cxn>
              <a:cxn ang="0">
                <a:pos x="connsiteX22734" y="connsiteY22734"/>
              </a:cxn>
              <a:cxn ang="0">
                <a:pos x="connsiteX22735" y="connsiteY22735"/>
              </a:cxn>
              <a:cxn ang="0">
                <a:pos x="connsiteX22736" y="connsiteY22736"/>
              </a:cxn>
              <a:cxn ang="0">
                <a:pos x="connsiteX22737" y="connsiteY22737"/>
              </a:cxn>
              <a:cxn ang="0">
                <a:pos x="connsiteX22738" y="connsiteY22738"/>
              </a:cxn>
              <a:cxn ang="0">
                <a:pos x="connsiteX22739" y="connsiteY22739"/>
              </a:cxn>
              <a:cxn ang="0">
                <a:pos x="connsiteX22740" y="connsiteY22740"/>
              </a:cxn>
              <a:cxn ang="0">
                <a:pos x="connsiteX22741" y="connsiteY22741"/>
              </a:cxn>
              <a:cxn ang="0">
                <a:pos x="connsiteX22742" y="connsiteY22742"/>
              </a:cxn>
              <a:cxn ang="0">
                <a:pos x="connsiteX22743" y="connsiteY22743"/>
              </a:cxn>
              <a:cxn ang="0">
                <a:pos x="connsiteX22744" y="connsiteY22744"/>
              </a:cxn>
              <a:cxn ang="0">
                <a:pos x="connsiteX22745" y="connsiteY22745"/>
              </a:cxn>
              <a:cxn ang="0">
                <a:pos x="connsiteX22746" y="connsiteY22746"/>
              </a:cxn>
              <a:cxn ang="0">
                <a:pos x="connsiteX22747" y="connsiteY22747"/>
              </a:cxn>
              <a:cxn ang="0">
                <a:pos x="connsiteX22748" y="connsiteY22748"/>
              </a:cxn>
              <a:cxn ang="0">
                <a:pos x="connsiteX22749" y="connsiteY22749"/>
              </a:cxn>
              <a:cxn ang="0">
                <a:pos x="connsiteX22750" y="connsiteY22750"/>
              </a:cxn>
              <a:cxn ang="0">
                <a:pos x="connsiteX22751" y="connsiteY22751"/>
              </a:cxn>
              <a:cxn ang="0">
                <a:pos x="connsiteX22752" y="connsiteY22752"/>
              </a:cxn>
              <a:cxn ang="0">
                <a:pos x="connsiteX22753" y="connsiteY22753"/>
              </a:cxn>
              <a:cxn ang="0">
                <a:pos x="connsiteX22754" y="connsiteY22754"/>
              </a:cxn>
              <a:cxn ang="0">
                <a:pos x="connsiteX22755" y="connsiteY22755"/>
              </a:cxn>
              <a:cxn ang="0">
                <a:pos x="connsiteX22756" y="connsiteY22756"/>
              </a:cxn>
              <a:cxn ang="0">
                <a:pos x="connsiteX22757" y="connsiteY22757"/>
              </a:cxn>
              <a:cxn ang="0">
                <a:pos x="connsiteX22758" y="connsiteY22758"/>
              </a:cxn>
              <a:cxn ang="0">
                <a:pos x="connsiteX22759" y="connsiteY22759"/>
              </a:cxn>
              <a:cxn ang="0">
                <a:pos x="connsiteX22760" y="connsiteY22760"/>
              </a:cxn>
              <a:cxn ang="0">
                <a:pos x="connsiteX22761" y="connsiteY22761"/>
              </a:cxn>
              <a:cxn ang="0">
                <a:pos x="connsiteX22762" y="connsiteY22762"/>
              </a:cxn>
              <a:cxn ang="0">
                <a:pos x="connsiteX22763" y="connsiteY22763"/>
              </a:cxn>
              <a:cxn ang="0">
                <a:pos x="connsiteX22764" y="connsiteY22764"/>
              </a:cxn>
              <a:cxn ang="0">
                <a:pos x="connsiteX22765" y="connsiteY22765"/>
              </a:cxn>
              <a:cxn ang="0">
                <a:pos x="connsiteX22766" y="connsiteY22766"/>
              </a:cxn>
              <a:cxn ang="0">
                <a:pos x="connsiteX22767" y="connsiteY22767"/>
              </a:cxn>
              <a:cxn ang="0">
                <a:pos x="connsiteX22768" y="connsiteY22768"/>
              </a:cxn>
              <a:cxn ang="0">
                <a:pos x="connsiteX22769" y="connsiteY22769"/>
              </a:cxn>
              <a:cxn ang="0">
                <a:pos x="connsiteX22770" y="connsiteY22770"/>
              </a:cxn>
              <a:cxn ang="0">
                <a:pos x="connsiteX22771" y="connsiteY22771"/>
              </a:cxn>
              <a:cxn ang="0">
                <a:pos x="connsiteX22772" y="connsiteY22772"/>
              </a:cxn>
              <a:cxn ang="0">
                <a:pos x="connsiteX22773" y="connsiteY22773"/>
              </a:cxn>
              <a:cxn ang="0">
                <a:pos x="connsiteX22774" y="connsiteY22774"/>
              </a:cxn>
              <a:cxn ang="0">
                <a:pos x="connsiteX22775" y="connsiteY22775"/>
              </a:cxn>
              <a:cxn ang="0">
                <a:pos x="connsiteX22776" y="connsiteY22776"/>
              </a:cxn>
              <a:cxn ang="0">
                <a:pos x="connsiteX22777" y="connsiteY22777"/>
              </a:cxn>
              <a:cxn ang="0">
                <a:pos x="connsiteX22778" y="connsiteY22778"/>
              </a:cxn>
              <a:cxn ang="0">
                <a:pos x="connsiteX22779" y="connsiteY22779"/>
              </a:cxn>
              <a:cxn ang="0">
                <a:pos x="connsiteX22780" y="connsiteY22780"/>
              </a:cxn>
              <a:cxn ang="0">
                <a:pos x="connsiteX22781" y="connsiteY22781"/>
              </a:cxn>
              <a:cxn ang="0">
                <a:pos x="connsiteX22782" y="connsiteY22782"/>
              </a:cxn>
              <a:cxn ang="0">
                <a:pos x="connsiteX22783" y="connsiteY22783"/>
              </a:cxn>
              <a:cxn ang="0">
                <a:pos x="connsiteX22784" y="connsiteY22784"/>
              </a:cxn>
              <a:cxn ang="0">
                <a:pos x="connsiteX22785" y="connsiteY22785"/>
              </a:cxn>
              <a:cxn ang="0">
                <a:pos x="connsiteX22786" y="connsiteY22786"/>
              </a:cxn>
              <a:cxn ang="0">
                <a:pos x="connsiteX22787" y="connsiteY22787"/>
              </a:cxn>
              <a:cxn ang="0">
                <a:pos x="connsiteX22788" y="connsiteY22788"/>
              </a:cxn>
              <a:cxn ang="0">
                <a:pos x="connsiteX22789" y="connsiteY22789"/>
              </a:cxn>
              <a:cxn ang="0">
                <a:pos x="connsiteX22790" y="connsiteY22790"/>
              </a:cxn>
              <a:cxn ang="0">
                <a:pos x="connsiteX22791" y="connsiteY22791"/>
              </a:cxn>
              <a:cxn ang="0">
                <a:pos x="connsiteX22792" y="connsiteY22792"/>
              </a:cxn>
              <a:cxn ang="0">
                <a:pos x="connsiteX22793" y="connsiteY22793"/>
              </a:cxn>
              <a:cxn ang="0">
                <a:pos x="connsiteX22794" y="connsiteY22794"/>
              </a:cxn>
              <a:cxn ang="0">
                <a:pos x="connsiteX22795" y="connsiteY22795"/>
              </a:cxn>
              <a:cxn ang="0">
                <a:pos x="connsiteX22796" y="connsiteY22796"/>
              </a:cxn>
              <a:cxn ang="0">
                <a:pos x="connsiteX22797" y="connsiteY22797"/>
              </a:cxn>
              <a:cxn ang="0">
                <a:pos x="connsiteX22798" y="connsiteY22798"/>
              </a:cxn>
              <a:cxn ang="0">
                <a:pos x="connsiteX22799" y="connsiteY22799"/>
              </a:cxn>
              <a:cxn ang="0">
                <a:pos x="connsiteX22800" y="connsiteY22800"/>
              </a:cxn>
              <a:cxn ang="0">
                <a:pos x="connsiteX22801" y="connsiteY22801"/>
              </a:cxn>
              <a:cxn ang="0">
                <a:pos x="connsiteX22802" y="connsiteY22802"/>
              </a:cxn>
              <a:cxn ang="0">
                <a:pos x="connsiteX22803" y="connsiteY22803"/>
              </a:cxn>
              <a:cxn ang="0">
                <a:pos x="connsiteX22804" y="connsiteY22804"/>
              </a:cxn>
              <a:cxn ang="0">
                <a:pos x="connsiteX22805" y="connsiteY22805"/>
              </a:cxn>
              <a:cxn ang="0">
                <a:pos x="connsiteX22806" y="connsiteY22806"/>
              </a:cxn>
              <a:cxn ang="0">
                <a:pos x="connsiteX22807" y="connsiteY22807"/>
              </a:cxn>
              <a:cxn ang="0">
                <a:pos x="connsiteX22808" y="connsiteY22808"/>
              </a:cxn>
              <a:cxn ang="0">
                <a:pos x="connsiteX22809" y="connsiteY22809"/>
              </a:cxn>
              <a:cxn ang="0">
                <a:pos x="connsiteX22810" y="connsiteY22810"/>
              </a:cxn>
              <a:cxn ang="0">
                <a:pos x="connsiteX22811" y="connsiteY22811"/>
              </a:cxn>
              <a:cxn ang="0">
                <a:pos x="connsiteX22812" y="connsiteY22812"/>
              </a:cxn>
              <a:cxn ang="0">
                <a:pos x="connsiteX22813" y="connsiteY22813"/>
              </a:cxn>
              <a:cxn ang="0">
                <a:pos x="connsiteX22814" y="connsiteY22814"/>
              </a:cxn>
              <a:cxn ang="0">
                <a:pos x="connsiteX22815" y="connsiteY22815"/>
              </a:cxn>
              <a:cxn ang="0">
                <a:pos x="connsiteX22816" y="connsiteY22816"/>
              </a:cxn>
              <a:cxn ang="0">
                <a:pos x="connsiteX22817" y="connsiteY22817"/>
              </a:cxn>
              <a:cxn ang="0">
                <a:pos x="connsiteX22818" y="connsiteY22818"/>
              </a:cxn>
              <a:cxn ang="0">
                <a:pos x="connsiteX22819" y="connsiteY22819"/>
              </a:cxn>
              <a:cxn ang="0">
                <a:pos x="connsiteX22820" y="connsiteY22820"/>
              </a:cxn>
              <a:cxn ang="0">
                <a:pos x="connsiteX22821" y="connsiteY22821"/>
              </a:cxn>
              <a:cxn ang="0">
                <a:pos x="connsiteX22822" y="connsiteY22822"/>
              </a:cxn>
              <a:cxn ang="0">
                <a:pos x="connsiteX22823" y="connsiteY22823"/>
              </a:cxn>
              <a:cxn ang="0">
                <a:pos x="connsiteX22824" y="connsiteY22824"/>
              </a:cxn>
              <a:cxn ang="0">
                <a:pos x="connsiteX22825" y="connsiteY22825"/>
              </a:cxn>
              <a:cxn ang="0">
                <a:pos x="connsiteX22826" y="connsiteY22826"/>
              </a:cxn>
              <a:cxn ang="0">
                <a:pos x="connsiteX22827" y="connsiteY22827"/>
              </a:cxn>
              <a:cxn ang="0">
                <a:pos x="connsiteX22828" y="connsiteY22828"/>
              </a:cxn>
              <a:cxn ang="0">
                <a:pos x="connsiteX22829" y="connsiteY22829"/>
              </a:cxn>
              <a:cxn ang="0">
                <a:pos x="connsiteX22830" y="connsiteY22830"/>
              </a:cxn>
              <a:cxn ang="0">
                <a:pos x="connsiteX22831" y="connsiteY22831"/>
              </a:cxn>
              <a:cxn ang="0">
                <a:pos x="connsiteX22832" y="connsiteY22832"/>
              </a:cxn>
              <a:cxn ang="0">
                <a:pos x="connsiteX22833" y="connsiteY22833"/>
              </a:cxn>
              <a:cxn ang="0">
                <a:pos x="connsiteX22834" y="connsiteY22834"/>
              </a:cxn>
              <a:cxn ang="0">
                <a:pos x="connsiteX22835" y="connsiteY22835"/>
              </a:cxn>
              <a:cxn ang="0">
                <a:pos x="connsiteX22836" y="connsiteY22836"/>
              </a:cxn>
              <a:cxn ang="0">
                <a:pos x="connsiteX22837" y="connsiteY22837"/>
              </a:cxn>
              <a:cxn ang="0">
                <a:pos x="connsiteX22838" y="connsiteY22838"/>
              </a:cxn>
              <a:cxn ang="0">
                <a:pos x="connsiteX22839" y="connsiteY22839"/>
              </a:cxn>
              <a:cxn ang="0">
                <a:pos x="connsiteX22840" y="connsiteY22840"/>
              </a:cxn>
              <a:cxn ang="0">
                <a:pos x="connsiteX22841" y="connsiteY22841"/>
              </a:cxn>
              <a:cxn ang="0">
                <a:pos x="connsiteX22842" y="connsiteY22842"/>
              </a:cxn>
              <a:cxn ang="0">
                <a:pos x="connsiteX22843" y="connsiteY22843"/>
              </a:cxn>
              <a:cxn ang="0">
                <a:pos x="connsiteX22844" y="connsiteY22844"/>
              </a:cxn>
              <a:cxn ang="0">
                <a:pos x="connsiteX22845" y="connsiteY22845"/>
              </a:cxn>
              <a:cxn ang="0">
                <a:pos x="connsiteX22846" y="connsiteY22846"/>
              </a:cxn>
              <a:cxn ang="0">
                <a:pos x="connsiteX22847" y="connsiteY22847"/>
              </a:cxn>
              <a:cxn ang="0">
                <a:pos x="connsiteX22848" y="connsiteY22848"/>
              </a:cxn>
              <a:cxn ang="0">
                <a:pos x="connsiteX22849" y="connsiteY22849"/>
              </a:cxn>
              <a:cxn ang="0">
                <a:pos x="connsiteX22850" y="connsiteY22850"/>
              </a:cxn>
              <a:cxn ang="0">
                <a:pos x="connsiteX22851" y="connsiteY22851"/>
              </a:cxn>
              <a:cxn ang="0">
                <a:pos x="connsiteX22852" y="connsiteY22852"/>
              </a:cxn>
              <a:cxn ang="0">
                <a:pos x="connsiteX22853" y="connsiteY22853"/>
              </a:cxn>
              <a:cxn ang="0">
                <a:pos x="connsiteX22854" y="connsiteY22854"/>
              </a:cxn>
              <a:cxn ang="0">
                <a:pos x="connsiteX22855" y="connsiteY22855"/>
              </a:cxn>
              <a:cxn ang="0">
                <a:pos x="connsiteX22856" y="connsiteY22856"/>
              </a:cxn>
              <a:cxn ang="0">
                <a:pos x="connsiteX22857" y="connsiteY22857"/>
              </a:cxn>
              <a:cxn ang="0">
                <a:pos x="connsiteX22858" y="connsiteY22858"/>
              </a:cxn>
              <a:cxn ang="0">
                <a:pos x="connsiteX22859" y="connsiteY22859"/>
              </a:cxn>
              <a:cxn ang="0">
                <a:pos x="connsiteX22860" y="connsiteY22860"/>
              </a:cxn>
              <a:cxn ang="0">
                <a:pos x="connsiteX22861" y="connsiteY22861"/>
              </a:cxn>
              <a:cxn ang="0">
                <a:pos x="connsiteX22862" y="connsiteY22862"/>
              </a:cxn>
              <a:cxn ang="0">
                <a:pos x="connsiteX22863" y="connsiteY22863"/>
              </a:cxn>
              <a:cxn ang="0">
                <a:pos x="connsiteX22864" y="connsiteY22864"/>
              </a:cxn>
              <a:cxn ang="0">
                <a:pos x="connsiteX22865" y="connsiteY22865"/>
              </a:cxn>
              <a:cxn ang="0">
                <a:pos x="connsiteX22866" y="connsiteY22866"/>
              </a:cxn>
              <a:cxn ang="0">
                <a:pos x="connsiteX22867" y="connsiteY22867"/>
              </a:cxn>
              <a:cxn ang="0">
                <a:pos x="connsiteX22868" y="connsiteY22868"/>
              </a:cxn>
              <a:cxn ang="0">
                <a:pos x="connsiteX22869" y="connsiteY22869"/>
              </a:cxn>
              <a:cxn ang="0">
                <a:pos x="connsiteX22870" y="connsiteY22870"/>
              </a:cxn>
              <a:cxn ang="0">
                <a:pos x="connsiteX22871" y="connsiteY22871"/>
              </a:cxn>
              <a:cxn ang="0">
                <a:pos x="connsiteX22872" y="connsiteY22872"/>
              </a:cxn>
              <a:cxn ang="0">
                <a:pos x="connsiteX22873" y="connsiteY22873"/>
              </a:cxn>
              <a:cxn ang="0">
                <a:pos x="connsiteX22874" y="connsiteY22874"/>
              </a:cxn>
              <a:cxn ang="0">
                <a:pos x="connsiteX22875" y="connsiteY22875"/>
              </a:cxn>
              <a:cxn ang="0">
                <a:pos x="connsiteX22876" y="connsiteY22876"/>
              </a:cxn>
              <a:cxn ang="0">
                <a:pos x="connsiteX22877" y="connsiteY22877"/>
              </a:cxn>
              <a:cxn ang="0">
                <a:pos x="connsiteX22878" y="connsiteY22878"/>
              </a:cxn>
              <a:cxn ang="0">
                <a:pos x="connsiteX22879" y="connsiteY22879"/>
              </a:cxn>
              <a:cxn ang="0">
                <a:pos x="connsiteX22880" y="connsiteY22880"/>
              </a:cxn>
              <a:cxn ang="0">
                <a:pos x="connsiteX22881" y="connsiteY22881"/>
              </a:cxn>
              <a:cxn ang="0">
                <a:pos x="connsiteX22882" y="connsiteY22882"/>
              </a:cxn>
              <a:cxn ang="0">
                <a:pos x="connsiteX22883" y="connsiteY22883"/>
              </a:cxn>
              <a:cxn ang="0">
                <a:pos x="connsiteX22884" y="connsiteY22884"/>
              </a:cxn>
              <a:cxn ang="0">
                <a:pos x="connsiteX22885" y="connsiteY22885"/>
              </a:cxn>
              <a:cxn ang="0">
                <a:pos x="connsiteX22886" y="connsiteY22886"/>
              </a:cxn>
              <a:cxn ang="0">
                <a:pos x="connsiteX22887" y="connsiteY22887"/>
              </a:cxn>
              <a:cxn ang="0">
                <a:pos x="connsiteX22888" y="connsiteY22888"/>
              </a:cxn>
              <a:cxn ang="0">
                <a:pos x="connsiteX22889" y="connsiteY22889"/>
              </a:cxn>
              <a:cxn ang="0">
                <a:pos x="connsiteX22890" y="connsiteY22890"/>
              </a:cxn>
              <a:cxn ang="0">
                <a:pos x="connsiteX22891" y="connsiteY22891"/>
              </a:cxn>
              <a:cxn ang="0">
                <a:pos x="connsiteX22892" y="connsiteY22892"/>
              </a:cxn>
              <a:cxn ang="0">
                <a:pos x="connsiteX22893" y="connsiteY22893"/>
              </a:cxn>
              <a:cxn ang="0">
                <a:pos x="connsiteX22894" y="connsiteY22894"/>
              </a:cxn>
              <a:cxn ang="0">
                <a:pos x="connsiteX22895" y="connsiteY22895"/>
              </a:cxn>
              <a:cxn ang="0">
                <a:pos x="connsiteX22896" y="connsiteY22896"/>
              </a:cxn>
              <a:cxn ang="0">
                <a:pos x="connsiteX22897" y="connsiteY22897"/>
              </a:cxn>
              <a:cxn ang="0">
                <a:pos x="connsiteX22898" y="connsiteY22898"/>
              </a:cxn>
              <a:cxn ang="0">
                <a:pos x="connsiteX22899" y="connsiteY22899"/>
              </a:cxn>
              <a:cxn ang="0">
                <a:pos x="connsiteX22900" y="connsiteY22900"/>
              </a:cxn>
              <a:cxn ang="0">
                <a:pos x="connsiteX22901" y="connsiteY22901"/>
              </a:cxn>
              <a:cxn ang="0">
                <a:pos x="connsiteX22902" y="connsiteY22902"/>
              </a:cxn>
              <a:cxn ang="0">
                <a:pos x="connsiteX22903" y="connsiteY22903"/>
              </a:cxn>
              <a:cxn ang="0">
                <a:pos x="connsiteX22904" y="connsiteY22904"/>
              </a:cxn>
              <a:cxn ang="0">
                <a:pos x="connsiteX22905" y="connsiteY22905"/>
              </a:cxn>
              <a:cxn ang="0">
                <a:pos x="connsiteX22906" y="connsiteY22906"/>
              </a:cxn>
              <a:cxn ang="0">
                <a:pos x="connsiteX22907" y="connsiteY22907"/>
              </a:cxn>
              <a:cxn ang="0">
                <a:pos x="connsiteX22908" y="connsiteY22908"/>
              </a:cxn>
              <a:cxn ang="0">
                <a:pos x="connsiteX22909" y="connsiteY22909"/>
              </a:cxn>
              <a:cxn ang="0">
                <a:pos x="connsiteX22910" y="connsiteY22910"/>
              </a:cxn>
              <a:cxn ang="0">
                <a:pos x="connsiteX22911" y="connsiteY22911"/>
              </a:cxn>
              <a:cxn ang="0">
                <a:pos x="connsiteX22912" y="connsiteY22912"/>
              </a:cxn>
              <a:cxn ang="0">
                <a:pos x="connsiteX22913" y="connsiteY22913"/>
              </a:cxn>
              <a:cxn ang="0">
                <a:pos x="connsiteX22914" y="connsiteY22914"/>
              </a:cxn>
              <a:cxn ang="0">
                <a:pos x="connsiteX22915" y="connsiteY22915"/>
              </a:cxn>
              <a:cxn ang="0">
                <a:pos x="connsiteX22916" y="connsiteY22916"/>
              </a:cxn>
              <a:cxn ang="0">
                <a:pos x="connsiteX22917" y="connsiteY22917"/>
              </a:cxn>
              <a:cxn ang="0">
                <a:pos x="connsiteX22918" y="connsiteY22918"/>
              </a:cxn>
              <a:cxn ang="0">
                <a:pos x="connsiteX22919" y="connsiteY22919"/>
              </a:cxn>
              <a:cxn ang="0">
                <a:pos x="connsiteX22920" y="connsiteY22920"/>
              </a:cxn>
              <a:cxn ang="0">
                <a:pos x="connsiteX22921" y="connsiteY22921"/>
              </a:cxn>
              <a:cxn ang="0">
                <a:pos x="connsiteX22922" y="connsiteY22922"/>
              </a:cxn>
              <a:cxn ang="0">
                <a:pos x="connsiteX22923" y="connsiteY22923"/>
              </a:cxn>
              <a:cxn ang="0">
                <a:pos x="connsiteX22924" y="connsiteY22924"/>
              </a:cxn>
              <a:cxn ang="0">
                <a:pos x="connsiteX22925" y="connsiteY22925"/>
              </a:cxn>
              <a:cxn ang="0">
                <a:pos x="connsiteX22926" y="connsiteY22926"/>
              </a:cxn>
              <a:cxn ang="0">
                <a:pos x="connsiteX22927" y="connsiteY22927"/>
              </a:cxn>
              <a:cxn ang="0">
                <a:pos x="connsiteX22928" y="connsiteY22928"/>
              </a:cxn>
              <a:cxn ang="0">
                <a:pos x="connsiteX22929" y="connsiteY22929"/>
              </a:cxn>
              <a:cxn ang="0">
                <a:pos x="connsiteX22930" y="connsiteY22930"/>
              </a:cxn>
              <a:cxn ang="0">
                <a:pos x="connsiteX22931" y="connsiteY22931"/>
              </a:cxn>
              <a:cxn ang="0">
                <a:pos x="connsiteX22932" y="connsiteY22932"/>
              </a:cxn>
              <a:cxn ang="0">
                <a:pos x="connsiteX22933" y="connsiteY22933"/>
              </a:cxn>
              <a:cxn ang="0">
                <a:pos x="connsiteX22934" y="connsiteY22934"/>
              </a:cxn>
              <a:cxn ang="0">
                <a:pos x="connsiteX22935" y="connsiteY22935"/>
              </a:cxn>
              <a:cxn ang="0">
                <a:pos x="connsiteX22936" y="connsiteY22936"/>
              </a:cxn>
              <a:cxn ang="0">
                <a:pos x="connsiteX22937" y="connsiteY22937"/>
              </a:cxn>
              <a:cxn ang="0">
                <a:pos x="connsiteX22938" y="connsiteY22938"/>
              </a:cxn>
              <a:cxn ang="0">
                <a:pos x="connsiteX22939" y="connsiteY22939"/>
              </a:cxn>
              <a:cxn ang="0">
                <a:pos x="connsiteX22940" y="connsiteY22940"/>
              </a:cxn>
              <a:cxn ang="0">
                <a:pos x="connsiteX22941" y="connsiteY22941"/>
              </a:cxn>
              <a:cxn ang="0">
                <a:pos x="connsiteX22942" y="connsiteY22942"/>
              </a:cxn>
              <a:cxn ang="0">
                <a:pos x="connsiteX22943" y="connsiteY22943"/>
              </a:cxn>
              <a:cxn ang="0">
                <a:pos x="connsiteX22944" y="connsiteY22944"/>
              </a:cxn>
              <a:cxn ang="0">
                <a:pos x="connsiteX22945" y="connsiteY22945"/>
              </a:cxn>
              <a:cxn ang="0">
                <a:pos x="connsiteX22946" y="connsiteY22946"/>
              </a:cxn>
              <a:cxn ang="0">
                <a:pos x="connsiteX22947" y="connsiteY22947"/>
              </a:cxn>
              <a:cxn ang="0">
                <a:pos x="connsiteX22948" y="connsiteY22948"/>
              </a:cxn>
              <a:cxn ang="0">
                <a:pos x="connsiteX22949" y="connsiteY22949"/>
              </a:cxn>
              <a:cxn ang="0">
                <a:pos x="connsiteX22950" y="connsiteY22950"/>
              </a:cxn>
              <a:cxn ang="0">
                <a:pos x="connsiteX22951" y="connsiteY22951"/>
              </a:cxn>
              <a:cxn ang="0">
                <a:pos x="connsiteX22952" y="connsiteY22952"/>
              </a:cxn>
              <a:cxn ang="0">
                <a:pos x="connsiteX22953" y="connsiteY22953"/>
              </a:cxn>
              <a:cxn ang="0">
                <a:pos x="connsiteX22954" y="connsiteY22954"/>
              </a:cxn>
              <a:cxn ang="0">
                <a:pos x="connsiteX22955" y="connsiteY22955"/>
              </a:cxn>
              <a:cxn ang="0">
                <a:pos x="connsiteX22956" y="connsiteY22956"/>
              </a:cxn>
              <a:cxn ang="0">
                <a:pos x="connsiteX22957" y="connsiteY22957"/>
              </a:cxn>
              <a:cxn ang="0">
                <a:pos x="connsiteX22958" y="connsiteY22958"/>
              </a:cxn>
              <a:cxn ang="0">
                <a:pos x="connsiteX22959" y="connsiteY22959"/>
              </a:cxn>
              <a:cxn ang="0">
                <a:pos x="connsiteX22960" y="connsiteY22960"/>
              </a:cxn>
              <a:cxn ang="0">
                <a:pos x="connsiteX22961" y="connsiteY22961"/>
              </a:cxn>
              <a:cxn ang="0">
                <a:pos x="connsiteX22962" y="connsiteY22962"/>
              </a:cxn>
              <a:cxn ang="0">
                <a:pos x="connsiteX22963" y="connsiteY22963"/>
              </a:cxn>
              <a:cxn ang="0">
                <a:pos x="connsiteX22964" y="connsiteY22964"/>
              </a:cxn>
              <a:cxn ang="0">
                <a:pos x="connsiteX22965" y="connsiteY22965"/>
              </a:cxn>
              <a:cxn ang="0">
                <a:pos x="connsiteX22966" y="connsiteY22966"/>
              </a:cxn>
              <a:cxn ang="0">
                <a:pos x="connsiteX22967" y="connsiteY22967"/>
              </a:cxn>
              <a:cxn ang="0">
                <a:pos x="connsiteX22968" y="connsiteY22968"/>
              </a:cxn>
              <a:cxn ang="0">
                <a:pos x="connsiteX22969" y="connsiteY22969"/>
              </a:cxn>
              <a:cxn ang="0">
                <a:pos x="connsiteX22970" y="connsiteY22970"/>
              </a:cxn>
              <a:cxn ang="0">
                <a:pos x="connsiteX22971" y="connsiteY22971"/>
              </a:cxn>
              <a:cxn ang="0">
                <a:pos x="connsiteX22972" y="connsiteY22972"/>
              </a:cxn>
              <a:cxn ang="0">
                <a:pos x="connsiteX22973" y="connsiteY22973"/>
              </a:cxn>
              <a:cxn ang="0">
                <a:pos x="connsiteX22974" y="connsiteY22974"/>
              </a:cxn>
              <a:cxn ang="0">
                <a:pos x="connsiteX22975" y="connsiteY22975"/>
              </a:cxn>
              <a:cxn ang="0">
                <a:pos x="connsiteX22976" y="connsiteY22976"/>
              </a:cxn>
              <a:cxn ang="0">
                <a:pos x="connsiteX22977" y="connsiteY22977"/>
              </a:cxn>
              <a:cxn ang="0">
                <a:pos x="connsiteX22978" y="connsiteY22978"/>
              </a:cxn>
              <a:cxn ang="0">
                <a:pos x="connsiteX22979" y="connsiteY22979"/>
              </a:cxn>
              <a:cxn ang="0">
                <a:pos x="connsiteX22980" y="connsiteY22980"/>
              </a:cxn>
              <a:cxn ang="0">
                <a:pos x="connsiteX22981" y="connsiteY22981"/>
              </a:cxn>
              <a:cxn ang="0">
                <a:pos x="connsiteX22982" y="connsiteY22982"/>
              </a:cxn>
              <a:cxn ang="0">
                <a:pos x="connsiteX22983" y="connsiteY22983"/>
              </a:cxn>
              <a:cxn ang="0">
                <a:pos x="connsiteX22984" y="connsiteY22984"/>
              </a:cxn>
              <a:cxn ang="0">
                <a:pos x="connsiteX22985" y="connsiteY22985"/>
              </a:cxn>
              <a:cxn ang="0">
                <a:pos x="connsiteX22986" y="connsiteY22986"/>
              </a:cxn>
              <a:cxn ang="0">
                <a:pos x="connsiteX22987" y="connsiteY22987"/>
              </a:cxn>
              <a:cxn ang="0">
                <a:pos x="connsiteX22988" y="connsiteY22988"/>
              </a:cxn>
              <a:cxn ang="0">
                <a:pos x="connsiteX22989" y="connsiteY22989"/>
              </a:cxn>
              <a:cxn ang="0">
                <a:pos x="connsiteX22990" y="connsiteY22990"/>
              </a:cxn>
              <a:cxn ang="0">
                <a:pos x="connsiteX22991" y="connsiteY22991"/>
              </a:cxn>
              <a:cxn ang="0">
                <a:pos x="connsiteX22992" y="connsiteY22992"/>
              </a:cxn>
              <a:cxn ang="0">
                <a:pos x="connsiteX22993" y="connsiteY22993"/>
              </a:cxn>
              <a:cxn ang="0">
                <a:pos x="connsiteX22994" y="connsiteY22994"/>
              </a:cxn>
              <a:cxn ang="0">
                <a:pos x="connsiteX22995" y="connsiteY22995"/>
              </a:cxn>
              <a:cxn ang="0">
                <a:pos x="connsiteX22996" y="connsiteY22996"/>
              </a:cxn>
              <a:cxn ang="0">
                <a:pos x="connsiteX22997" y="connsiteY22997"/>
              </a:cxn>
              <a:cxn ang="0">
                <a:pos x="connsiteX22998" y="connsiteY22998"/>
              </a:cxn>
              <a:cxn ang="0">
                <a:pos x="connsiteX22999" y="connsiteY22999"/>
              </a:cxn>
              <a:cxn ang="0">
                <a:pos x="connsiteX23000" y="connsiteY23000"/>
              </a:cxn>
              <a:cxn ang="0">
                <a:pos x="connsiteX23001" y="connsiteY23001"/>
              </a:cxn>
              <a:cxn ang="0">
                <a:pos x="connsiteX23002" y="connsiteY23002"/>
              </a:cxn>
              <a:cxn ang="0">
                <a:pos x="connsiteX23003" y="connsiteY23003"/>
              </a:cxn>
              <a:cxn ang="0">
                <a:pos x="connsiteX23004" y="connsiteY23004"/>
              </a:cxn>
              <a:cxn ang="0">
                <a:pos x="connsiteX23005" y="connsiteY23005"/>
              </a:cxn>
              <a:cxn ang="0">
                <a:pos x="connsiteX23006" y="connsiteY23006"/>
              </a:cxn>
              <a:cxn ang="0">
                <a:pos x="connsiteX23007" y="connsiteY23007"/>
              </a:cxn>
              <a:cxn ang="0">
                <a:pos x="connsiteX23008" y="connsiteY23008"/>
              </a:cxn>
              <a:cxn ang="0">
                <a:pos x="connsiteX23009" y="connsiteY23009"/>
              </a:cxn>
              <a:cxn ang="0">
                <a:pos x="connsiteX23010" y="connsiteY23010"/>
              </a:cxn>
              <a:cxn ang="0">
                <a:pos x="connsiteX23011" y="connsiteY23011"/>
              </a:cxn>
              <a:cxn ang="0">
                <a:pos x="connsiteX23012" y="connsiteY23012"/>
              </a:cxn>
              <a:cxn ang="0">
                <a:pos x="connsiteX23013" y="connsiteY23013"/>
              </a:cxn>
              <a:cxn ang="0">
                <a:pos x="connsiteX23014" y="connsiteY23014"/>
              </a:cxn>
              <a:cxn ang="0">
                <a:pos x="connsiteX23015" y="connsiteY23015"/>
              </a:cxn>
              <a:cxn ang="0">
                <a:pos x="connsiteX23016" y="connsiteY23016"/>
              </a:cxn>
              <a:cxn ang="0">
                <a:pos x="connsiteX23017" y="connsiteY23017"/>
              </a:cxn>
              <a:cxn ang="0">
                <a:pos x="connsiteX23018" y="connsiteY23018"/>
              </a:cxn>
              <a:cxn ang="0">
                <a:pos x="connsiteX23019" y="connsiteY23019"/>
              </a:cxn>
              <a:cxn ang="0">
                <a:pos x="connsiteX23020" y="connsiteY23020"/>
              </a:cxn>
              <a:cxn ang="0">
                <a:pos x="connsiteX23021" y="connsiteY23021"/>
              </a:cxn>
              <a:cxn ang="0">
                <a:pos x="connsiteX23022" y="connsiteY23022"/>
              </a:cxn>
              <a:cxn ang="0">
                <a:pos x="connsiteX23023" y="connsiteY23023"/>
              </a:cxn>
              <a:cxn ang="0">
                <a:pos x="connsiteX23024" y="connsiteY23024"/>
              </a:cxn>
              <a:cxn ang="0">
                <a:pos x="connsiteX23025" y="connsiteY23025"/>
              </a:cxn>
              <a:cxn ang="0">
                <a:pos x="connsiteX23026" y="connsiteY23026"/>
              </a:cxn>
              <a:cxn ang="0">
                <a:pos x="connsiteX23027" y="connsiteY23027"/>
              </a:cxn>
              <a:cxn ang="0">
                <a:pos x="connsiteX23028" y="connsiteY23028"/>
              </a:cxn>
              <a:cxn ang="0">
                <a:pos x="connsiteX23029" y="connsiteY23029"/>
              </a:cxn>
              <a:cxn ang="0">
                <a:pos x="connsiteX23030" y="connsiteY23030"/>
              </a:cxn>
              <a:cxn ang="0">
                <a:pos x="connsiteX23031" y="connsiteY23031"/>
              </a:cxn>
              <a:cxn ang="0">
                <a:pos x="connsiteX23032" y="connsiteY23032"/>
              </a:cxn>
              <a:cxn ang="0">
                <a:pos x="connsiteX23033" y="connsiteY23033"/>
              </a:cxn>
              <a:cxn ang="0">
                <a:pos x="connsiteX23034" y="connsiteY23034"/>
              </a:cxn>
              <a:cxn ang="0">
                <a:pos x="connsiteX23035" y="connsiteY23035"/>
              </a:cxn>
              <a:cxn ang="0">
                <a:pos x="connsiteX23036" y="connsiteY23036"/>
              </a:cxn>
              <a:cxn ang="0">
                <a:pos x="connsiteX23037" y="connsiteY23037"/>
              </a:cxn>
              <a:cxn ang="0">
                <a:pos x="connsiteX23038" y="connsiteY23038"/>
              </a:cxn>
              <a:cxn ang="0">
                <a:pos x="connsiteX23039" y="connsiteY23039"/>
              </a:cxn>
              <a:cxn ang="0">
                <a:pos x="connsiteX23040" y="connsiteY23040"/>
              </a:cxn>
              <a:cxn ang="0">
                <a:pos x="connsiteX23041" y="connsiteY23041"/>
              </a:cxn>
              <a:cxn ang="0">
                <a:pos x="connsiteX23042" y="connsiteY23042"/>
              </a:cxn>
              <a:cxn ang="0">
                <a:pos x="connsiteX23043" y="connsiteY23043"/>
              </a:cxn>
              <a:cxn ang="0">
                <a:pos x="connsiteX23044" y="connsiteY23044"/>
              </a:cxn>
              <a:cxn ang="0">
                <a:pos x="connsiteX23045" y="connsiteY23045"/>
              </a:cxn>
              <a:cxn ang="0">
                <a:pos x="connsiteX23046" y="connsiteY23046"/>
              </a:cxn>
              <a:cxn ang="0">
                <a:pos x="connsiteX23047" y="connsiteY23047"/>
              </a:cxn>
              <a:cxn ang="0">
                <a:pos x="connsiteX23048" y="connsiteY23048"/>
              </a:cxn>
              <a:cxn ang="0">
                <a:pos x="connsiteX23049" y="connsiteY23049"/>
              </a:cxn>
              <a:cxn ang="0">
                <a:pos x="connsiteX23050" y="connsiteY23050"/>
              </a:cxn>
              <a:cxn ang="0">
                <a:pos x="connsiteX23051" y="connsiteY23051"/>
              </a:cxn>
              <a:cxn ang="0">
                <a:pos x="connsiteX23052" y="connsiteY23052"/>
              </a:cxn>
              <a:cxn ang="0">
                <a:pos x="connsiteX23053" y="connsiteY23053"/>
              </a:cxn>
              <a:cxn ang="0">
                <a:pos x="connsiteX23054" y="connsiteY23054"/>
              </a:cxn>
              <a:cxn ang="0">
                <a:pos x="connsiteX23055" y="connsiteY23055"/>
              </a:cxn>
              <a:cxn ang="0">
                <a:pos x="connsiteX23056" y="connsiteY23056"/>
              </a:cxn>
              <a:cxn ang="0">
                <a:pos x="connsiteX23057" y="connsiteY23057"/>
              </a:cxn>
              <a:cxn ang="0">
                <a:pos x="connsiteX23058" y="connsiteY23058"/>
              </a:cxn>
              <a:cxn ang="0">
                <a:pos x="connsiteX23059" y="connsiteY23059"/>
              </a:cxn>
              <a:cxn ang="0">
                <a:pos x="connsiteX23060" y="connsiteY23060"/>
              </a:cxn>
              <a:cxn ang="0">
                <a:pos x="connsiteX23061" y="connsiteY23061"/>
              </a:cxn>
              <a:cxn ang="0">
                <a:pos x="connsiteX23062" y="connsiteY23062"/>
              </a:cxn>
              <a:cxn ang="0">
                <a:pos x="connsiteX23063" y="connsiteY23063"/>
              </a:cxn>
              <a:cxn ang="0">
                <a:pos x="connsiteX23064" y="connsiteY23064"/>
              </a:cxn>
              <a:cxn ang="0">
                <a:pos x="connsiteX23065" y="connsiteY23065"/>
              </a:cxn>
              <a:cxn ang="0">
                <a:pos x="connsiteX23066" y="connsiteY23066"/>
              </a:cxn>
              <a:cxn ang="0">
                <a:pos x="connsiteX23067" y="connsiteY23067"/>
              </a:cxn>
              <a:cxn ang="0">
                <a:pos x="connsiteX23068" y="connsiteY23068"/>
              </a:cxn>
              <a:cxn ang="0">
                <a:pos x="connsiteX23069" y="connsiteY23069"/>
              </a:cxn>
              <a:cxn ang="0">
                <a:pos x="connsiteX23070" y="connsiteY23070"/>
              </a:cxn>
              <a:cxn ang="0">
                <a:pos x="connsiteX23071" y="connsiteY23071"/>
              </a:cxn>
              <a:cxn ang="0">
                <a:pos x="connsiteX23072" y="connsiteY23072"/>
              </a:cxn>
              <a:cxn ang="0">
                <a:pos x="connsiteX23073" y="connsiteY23073"/>
              </a:cxn>
              <a:cxn ang="0">
                <a:pos x="connsiteX23074" y="connsiteY23074"/>
              </a:cxn>
              <a:cxn ang="0">
                <a:pos x="connsiteX23075" y="connsiteY23075"/>
              </a:cxn>
              <a:cxn ang="0">
                <a:pos x="connsiteX23076" y="connsiteY23076"/>
              </a:cxn>
              <a:cxn ang="0">
                <a:pos x="connsiteX23077" y="connsiteY23077"/>
              </a:cxn>
              <a:cxn ang="0">
                <a:pos x="connsiteX23078" y="connsiteY23078"/>
              </a:cxn>
              <a:cxn ang="0">
                <a:pos x="connsiteX23079" y="connsiteY23079"/>
              </a:cxn>
              <a:cxn ang="0">
                <a:pos x="connsiteX23080" y="connsiteY23080"/>
              </a:cxn>
              <a:cxn ang="0">
                <a:pos x="connsiteX23081" y="connsiteY23081"/>
              </a:cxn>
              <a:cxn ang="0">
                <a:pos x="connsiteX23082" y="connsiteY23082"/>
              </a:cxn>
              <a:cxn ang="0">
                <a:pos x="connsiteX23083" y="connsiteY23083"/>
              </a:cxn>
              <a:cxn ang="0">
                <a:pos x="connsiteX23084" y="connsiteY23084"/>
              </a:cxn>
              <a:cxn ang="0">
                <a:pos x="connsiteX23085" y="connsiteY23085"/>
              </a:cxn>
              <a:cxn ang="0">
                <a:pos x="connsiteX23086" y="connsiteY23086"/>
              </a:cxn>
              <a:cxn ang="0">
                <a:pos x="connsiteX23087" y="connsiteY23087"/>
              </a:cxn>
              <a:cxn ang="0">
                <a:pos x="connsiteX23088" y="connsiteY23088"/>
              </a:cxn>
              <a:cxn ang="0">
                <a:pos x="connsiteX23089" y="connsiteY23089"/>
              </a:cxn>
              <a:cxn ang="0">
                <a:pos x="connsiteX23090" y="connsiteY23090"/>
              </a:cxn>
              <a:cxn ang="0">
                <a:pos x="connsiteX23091" y="connsiteY23091"/>
              </a:cxn>
              <a:cxn ang="0">
                <a:pos x="connsiteX23092" y="connsiteY23092"/>
              </a:cxn>
              <a:cxn ang="0">
                <a:pos x="connsiteX23093" y="connsiteY23093"/>
              </a:cxn>
              <a:cxn ang="0">
                <a:pos x="connsiteX23094" y="connsiteY23094"/>
              </a:cxn>
              <a:cxn ang="0">
                <a:pos x="connsiteX23095" y="connsiteY23095"/>
              </a:cxn>
              <a:cxn ang="0">
                <a:pos x="connsiteX23096" y="connsiteY23096"/>
              </a:cxn>
              <a:cxn ang="0">
                <a:pos x="connsiteX23097" y="connsiteY23097"/>
              </a:cxn>
              <a:cxn ang="0">
                <a:pos x="connsiteX23098" y="connsiteY23098"/>
              </a:cxn>
              <a:cxn ang="0">
                <a:pos x="connsiteX23099" y="connsiteY23099"/>
              </a:cxn>
              <a:cxn ang="0">
                <a:pos x="connsiteX23100" y="connsiteY23100"/>
              </a:cxn>
              <a:cxn ang="0">
                <a:pos x="connsiteX23101" y="connsiteY23101"/>
              </a:cxn>
              <a:cxn ang="0">
                <a:pos x="connsiteX23102" y="connsiteY23102"/>
              </a:cxn>
              <a:cxn ang="0">
                <a:pos x="connsiteX23103" y="connsiteY23103"/>
              </a:cxn>
              <a:cxn ang="0">
                <a:pos x="connsiteX23104" y="connsiteY23104"/>
              </a:cxn>
              <a:cxn ang="0">
                <a:pos x="connsiteX23105" y="connsiteY23105"/>
              </a:cxn>
              <a:cxn ang="0">
                <a:pos x="connsiteX23106" y="connsiteY23106"/>
              </a:cxn>
              <a:cxn ang="0">
                <a:pos x="connsiteX23107" y="connsiteY23107"/>
              </a:cxn>
              <a:cxn ang="0">
                <a:pos x="connsiteX23108" y="connsiteY23108"/>
              </a:cxn>
              <a:cxn ang="0">
                <a:pos x="connsiteX23109" y="connsiteY23109"/>
              </a:cxn>
              <a:cxn ang="0">
                <a:pos x="connsiteX23110" y="connsiteY23110"/>
              </a:cxn>
              <a:cxn ang="0">
                <a:pos x="connsiteX23111" y="connsiteY23111"/>
              </a:cxn>
              <a:cxn ang="0">
                <a:pos x="connsiteX23112" y="connsiteY23112"/>
              </a:cxn>
              <a:cxn ang="0">
                <a:pos x="connsiteX23113" y="connsiteY23113"/>
              </a:cxn>
              <a:cxn ang="0">
                <a:pos x="connsiteX23114" y="connsiteY23114"/>
              </a:cxn>
              <a:cxn ang="0">
                <a:pos x="connsiteX23115" y="connsiteY23115"/>
              </a:cxn>
              <a:cxn ang="0">
                <a:pos x="connsiteX23116" y="connsiteY23116"/>
              </a:cxn>
              <a:cxn ang="0">
                <a:pos x="connsiteX23117" y="connsiteY23117"/>
              </a:cxn>
              <a:cxn ang="0">
                <a:pos x="connsiteX23118" y="connsiteY23118"/>
              </a:cxn>
              <a:cxn ang="0">
                <a:pos x="connsiteX23119" y="connsiteY23119"/>
              </a:cxn>
              <a:cxn ang="0">
                <a:pos x="connsiteX23120" y="connsiteY23120"/>
              </a:cxn>
              <a:cxn ang="0">
                <a:pos x="connsiteX23121" y="connsiteY23121"/>
              </a:cxn>
              <a:cxn ang="0">
                <a:pos x="connsiteX23122" y="connsiteY23122"/>
              </a:cxn>
              <a:cxn ang="0">
                <a:pos x="connsiteX23123" y="connsiteY23123"/>
              </a:cxn>
              <a:cxn ang="0">
                <a:pos x="connsiteX23124" y="connsiteY23124"/>
              </a:cxn>
              <a:cxn ang="0">
                <a:pos x="connsiteX23125" y="connsiteY23125"/>
              </a:cxn>
              <a:cxn ang="0">
                <a:pos x="connsiteX23126" y="connsiteY23126"/>
              </a:cxn>
              <a:cxn ang="0">
                <a:pos x="connsiteX23127" y="connsiteY23127"/>
              </a:cxn>
              <a:cxn ang="0">
                <a:pos x="connsiteX23128" y="connsiteY23128"/>
              </a:cxn>
              <a:cxn ang="0">
                <a:pos x="connsiteX23129" y="connsiteY23129"/>
              </a:cxn>
              <a:cxn ang="0">
                <a:pos x="connsiteX23130" y="connsiteY23130"/>
              </a:cxn>
              <a:cxn ang="0">
                <a:pos x="connsiteX23131" y="connsiteY23131"/>
              </a:cxn>
              <a:cxn ang="0">
                <a:pos x="connsiteX23132" y="connsiteY23132"/>
              </a:cxn>
              <a:cxn ang="0">
                <a:pos x="connsiteX23133" y="connsiteY23133"/>
              </a:cxn>
              <a:cxn ang="0">
                <a:pos x="connsiteX23134" y="connsiteY23134"/>
              </a:cxn>
              <a:cxn ang="0">
                <a:pos x="connsiteX23135" y="connsiteY23135"/>
              </a:cxn>
              <a:cxn ang="0">
                <a:pos x="connsiteX23136" y="connsiteY23136"/>
              </a:cxn>
              <a:cxn ang="0">
                <a:pos x="connsiteX23137" y="connsiteY23137"/>
              </a:cxn>
              <a:cxn ang="0">
                <a:pos x="connsiteX23138" y="connsiteY23138"/>
              </a:cxn>
              <a:cxn ang="0">
                <a:pos x="connsiteX23139" y="connsiteY23139"/>
              </a:cxn>
              <a:cxn ang="0">
                <a:pos x="connsiteX23140" y="connsiteY23140"/>
              </a:cxn>
              <a:cxn ang="0">
                <a:pos x="connsiteX23141" y="connsiteY23141"/>
              </a:cxn>
              <a:cxn ang="0">
                <a:pos x="connsiteX23142" y="connsiteY23142"/>
              </a:cxn>
              <a:cxn ang="0">
                <a:pos x="connsiteX23143" y="connsiteY23143"/>
              </a:cxn>
              <a:cxn ang="0">
                <a:pos x="connsiteX23144" y="connsiteY23144"/>
              </a:cxn>
              <a:cxn ang="0">
                <a:pos x="connsiteX23145" y="connsiteY23145"/>
              </a:cxn>
              <a:cxn ang="0">
                <a:pos x="connsiteX23146" y="connsiteY23146"/>
              </a:cxn>
              <a:cxn ang="0">
                <a:pos x="connsiteX23147" y="connsiteY23147"/>
              </a:cxn>
              <a:cxn ang="0">
                <a:pos x="connsiteX23148" y="connsiteY23148"/>
              </a:cxn>
              <a:cxn ang="0">
                <a:pos x="connsiteX23149" y="connsiteY23149"/>
              </a:cxn>
              <a:cxn ang="0">
                <a:pos x="connsiteX23150" y="connsiteY23150"/>
              </a:cxn>
              <a:cxn ang="0">
                <a:pos x="connsiteX23151" y="connsiteY23151"/>
              </a:cxn>
              <a:cxn ang="0">
                <a:pos x="connsiteX23152" y="connsiteY23152"/>
              </a:cxn>
              <a:cxn ang="0">
                <a:pos x="connsiteX23153" y="connsiteY23153"/>
              </a:cxn>
              <a:cxn ang="0">
                <a:pos x="connsiteX23154" y="connsiteY23154"/>
              </a:cxn>
              <a:cxn ang="0">
                <a:pos x="connsiteX23155" y="connsiteY23155"/>
              </a:cxn>
              <a:cxn ang="0">
                <a:pos x="connsiteX23156" y="connsiteY23156"/>
              </a:cxn>
              <a:cxn ang="0">
                <a:pos x="connsiteX23157" y="connsiteY23157"/>
              </a:cxn>
              <a:cxn ang="0">
                <a:pos x="connsiteX23158" y="connsiteY23158"/>
              </a:cxn>
              <a:cxn ang="0">
                <a:pos x="connsiteX23159" y="connsiteY23159"/>
              </a:cxn>
              <a:cxn ang="0">
                <a:pos x="connsiteX23160" y="connsiteY23160"/>
              </a:cxn>
              <a:cxn ang="0">
                <a:pos x="connsiteX23161" y="connsiteY23161"/>
              </a:cxn>
              <a:cxn ang="0">
                <a:pos x="connsiteX23162" y="connsiteY23162"/>
              </a:cxn>
              <a:cxn ang="0">
                <a:pos x="connsiteX23163" y="connsiteY23163"/>
              </a:cxn>
              <a:cxn ang="0">
                <a:pos x="connsiteX23164" y="connsiteY23164"/>
              </a:cxn>
              <a:cxn ang="0">
                <a:pos x="connsiteX23165" y="connsiteY23165"/>
              </a:cxn>
              <a:cxn ang="0">
                <a:pos x="connsiteX23166" y="connsiteY23166"/>
              </a:cxn>
              <a:cxn ang="0">
                <a:pos x="connsiteX23167" y="connsiteY23167"/>
              </a:cxn>
              <a:cxn ang="0">
                <a:pos x="connsiteX23168" y="connsiteY23168"/>
              </a:cxn>
              <a:cxn ang="0">
                <a:pos x="connsiteX23169" y="connsiteY23169"/>
              </a:cxn>
              <a:cxn ang="0">
                <a:pos x="connsiteX23170" y="connsiteY23170"/>
              </a:cxn>
              <a:cxn ang="0">
                <a:pos x="connsiteX23171" y="connsiteY23171"/>
              </a:cxn>
              <a:cxn ang="0">
                <a:pos x="connsiteX23172" y="connsiteY23172"/>
              </a:cxn>
              <a:cxn ang="0">
                <a:pos x="connsiteX23173" y="connsiteY23173"/>
              </a:cxn>
              <a:cxn ang="0">
                <a:pos x="connsiteX23174" y="connsiteY23174"/>
              </a:cxn>
              <a:cxn ang="0">
                <a:pos x="connsiteX23175" y="connsiteY23175"/>
              </a:cxn>
              <a:cxn ang="0">
                <a:pos x="connsiteX23176" y="connsiteY23176"/>
              </a:cxn>
              <a:cxn ang="0">
                <a:pos x="connsiteX23177" y="connsiteY23177"/>
              </a:cxn>
              <a:cxn ang="0">
                <a:pos x="connsiteX23178" y="connsiteY23178"/>
              </a:cxn>
              <a:cxn ang="0">
                <a:pos x="connsiteX23179" y="connsiteY23179"/>
              </a:cxn>
              <a:cxn ang="0">
                <a:pos x="connsiteX23180" y="connsiteY23180"/>
              </a:cxn>
              <a:cxn ang="0">
                <a:pos x="connsiteX23181" y="connsiteY23181"/>
              </a:cxn>
              <a:cxn ang="0">
                <a:pos x="connsiteX23182" y="connsiteY23182"/>
              </a:cxn>
              <a:cxn ang="0">
                <a:pos x="connsiteX23183" y="connsiteY23183"/>
              </a:cxn>
              <a:cxn ang="0">
                <a:pos x="connsiteX23184" y="connsiteY23184"/>
              </a:cxn>
              <a:cxn ang="0">
                <a:pos x="connsiteX23185" y="connsiteY23185"/>
              </a:cxn>
              <a:cxn ang="0">
                <a:pos x="connsiteX23186" y="connsiteY23186"/>
              </a:cxn>
              <a:cxn ang="0">
                <a:pos x="connsiteX23187" y="connsiteY23187"/>
              </a:cxn>
              <a:cxn ang="0">
                <a:pos x="connsiteX23188" y="connsiteY23188"/>
              </a:cxn>
              <a:cxn ang="0">
                <a:pos x="connsiteX23189" y="connsiteY23189"/>
              </a:cxn>
              <a:cxn ang="0">
                <a:pos x="connsiteX23190" y="connsiteY23190"/>
              </a:cxn>
              <a:cxn ang="0">
                <a:pos x="connsiteX23191" y="connsiteY23191"/>
              </a:cxn>
              <a:cxn ang="0">
                <a:pos x="connsiteX23192" y="connsiteY23192"/>
              </a:cxn>
              <a:cxn ang="0">
                <a:pos x="connsiteX23193" y="connsiteY23193"/>
              </a:cxn>
              <a:cxn ang="0">
                <a:pos x="connsiteX23194" y="connsiteY23194"/>
              </a:cxn>
              <a:cxn ang="0">
                <a:pos x="connsiteX23195" y="connsiteY23195"/>
              </a:cxn>
              <a:cxn ang="0">
                <a:pos x="connsiteX23196" y="connsiteY23196"/>
              </a:cxn>
              <a:cxn ang="0">
                <a:pos x="connsiteX23197" y="connsiteY23197"/>
              </a:cxn>
              <a:cxn ang="0">
                <a:pos x="connsiteX23198" y="connsiteY23198"/>
              </a:cxn>
              <a:cxn ang="0">
                <a:pos x="connsiteX23199" y="connsiteY23199"/>
              </a:cxn>
              <a:cxn ang="0">
                <a:pos x="connsiteX23200" y="connsiteY23200"/>
              </a:cxn>
              <a:cxn ang="0">
                <a:pos x="connsiteX23201" y="connsiteY23201"/>
              </a:cxn>
              <a:cxn ang="0">
                <a:pos x="connsiteX23202" y="connsiteY23202"/>
              </a:cxn>
              <a:cxn ang="0">
                <a:pos x="connsiteX23203" y="connsiteY23203"/>
              </a:cxn>
              <a:cxn ang="0">
                <a:pos x="connsiteX23204" y="connsiteY23204"/>
              </a:cxn>
              <a:cxn ang="0">
                <a:pos x="connsiteX23205" y="connsiteY23205"/>
              </a:cxn>
              <a:cxn ang="0">
                <a:pos x="connsiteX23206" y="connsiteY23206"/>
              </a:cxn>
              <a:cxn ang="0">
                <a:pos x="connsiteX23207" y="connsiteY23207"/>
              </a:cxn>
              <a:cxn ang="0">
                <a:pos x="connsiteX23208" y="connsiteY23208"/>
              </a:cxn>
              <a:cxn ang="0">
                <a:pos x="connsiteX23209" y="connsiteY23209"/>
              </a:cxn>
              <a:cxn ang="0">
                <a:pos x="connsiteX23210" y="connsiteY23210"/>
              </a:cxn>
              <a:cxn ang="0">
                <a:pos x="connsiteX23211" y="connsiteY23211"/>
              </a:cxn>
              <a:cxn ang="0">
                <a:pos x="connsiteX23212" y="connsiteY23212"/>
              </a:cxn>
              <a:cxn ang="0">
                <a:pos x="connsiteX23213" y="connsiteY23213"/>
              </a:cxn>
              <a:cxn ang="0">
                <a:pos x="connsiteX23214" y="connsiteY23214"/>
              </a:cxn>
              <a:cxn ang="0">
                <a:pos x="connsiteX23215" y="connsiteY23215"/>
              </a:cxn>
              <a:cxn ang="0">
                <a:pos x="connsiteX23216" y="connsiteY23216"/>
              </a:cxn>
              <a:cxn ang="0">
                <a:pos x="connsiteX23217" y="connsiteY23217"/>
              </a:cxn>
              <a:cxn ang="0">
                <a:pos x="connsiteX23218" y="connsiteY23218"/>
              </a:cxn>
              <a:cxn ang="0">
                <a:pos x="connsiteX23219" y="connsiteY23219"/>
              </a:cxn>
              <a:cxn ang="0">
                <a:pos x="connsiteX23220" y="connsiteY23220"/>
              </a:cxn>
              <a:cxn ang="0">
                <a:pos x="connsiteX23221" y="connsiteY23221"/>
              </a:cxn>
              <a:cxn ang="0">
                <a:pos x="connsiteX23222" y="connsiteY23222"/>
              </a:cxn>
              <a:cxn ang="0">
                <a:pos x="connsiteX23223" y="connsiteY23223"/>
              </a:cxn>
              <a:cxn ang="0">
                <a:pos x="connsiteX23224" y="connsiteY23224"/>
              </a:cxn>
              <a:cxn ang="0">
                <a:pos x="connsiteX23225" y="connsiteY23225"/>
              </a:cxn>
              <a:cxn ang="0">
                <a:pos x="connsiteX23226" y="connsiteY23226"/>
              </a:cxn>
              <a:cxn ang="0">
                <a:pos x="connsiteX23227" y="connsiteY23227"/>
              </a:cxn>
              <a:cxn ang="0">
                <a:pos x="connsiteX23228" y="connsiteY23228"/>
              </a:cxn>
              <a:cxn ang="0">
                <a:pos x="connsiteX23229" y="connsiteY23229"/>
              </a:cxn>
              <a:cxn ang="0">
                <a:pos x="connsiteX23230" y="connsiteY23230"/>
              </a:cxn>
              <a:cxn ang="0">
                <a:pos x="connsiteX23231" y="connsiteY23231"/>
              </a:cxn>
              <a:cxn ang="0">
                <a:pos x="connsiteX23232" y="connsiteY23232"/>
              </a:cxn>
              <a:cxn ang="0">
                <a:pos x="connsiteX23233" y="connsiteY23233"/>
              </a:cxn>
              <a:cxn ang="0">
                <a:pos x="connsiteX23234" y="connsiteY23234"/>
              </a:cxn>
              <a:cxn ang="0">
                <a:pos x="connsiteX23235" y="connsiteY23235"/>
              </a:cxn>
              <a:cxn ang="0">
                <a:pos x="connsiteX23236" y="connsiteY23236"/>
              </a:cxn>
              <a:cxn ang="0">
                <a:pos x="connsiteX23237" y="connsiteY23237"/>
              </a:cxn>
              <a:cxn ang="0">
                <a:pos x="connsiteX23238" y="connsiteY23238"/>
              </a:cxn>
              <a:cxn ang="0">
                <a:pos x="connsiteX23239" y="connsiteY23239"/>
              </a:cxn>
              <a:cxn ang="0">
                <a:pos x="connsiteX23240" y="connsiteY23240"/>
              </a:cxn>
              <a:cxn ang="0">
                <a:pos x="connsiteX23241" y="connsiteY23241"/>
              </a:cxn>
              <a:cxn ang="0">
                <a:pos x="connsiteX23242" y="connsiteY23242"/>
              </a:cxn>
              <a:cxn ang="0">
                <a:pos x="connsiteX23243" y="connsiteY23243"/>
              </a:cxn>
              <a:cxn ang="0">
                <a:pos x="connsiteX23244" y="connsiteY23244"/>
              </a:cxn>
              <a:cxn ang="0">
                <a:pos x="connsiteX23245" y="connsiteY23245"/>
              </a:cxn>
              <a:cxn ang="0">
                <a:pos x="connsiteX23246" y="connsiteY23246"/>
              </a:cxn>
              <a:cxn ang="0">
                <a:pos x="connsiteX23247" y="connsiteY23247"/>
              </a:cxn>
              <a:cxn ang="0">
                <a:pos x="connsiteX23248" y="connsiteY23248"/>
              </a:cxn>
              <a:cxn ang="0">
                <a:pos x="connsiteX23249" y="connsiteY23249"/>
              </a:cxn>
              <a:cxn ang="0">
                <a:pos x="connsiteX23250" y="connsiteY23250"/>
              </a:cxn>
              <a:cxn ang="0">
                <a:pos x="connsiteX23251" y="connsiteY23251"/>
              </a:cxn>
              <a:cxn ang="0">
                <a:pos x="connsiteX23252" y="connsiteY23252"/>
              </a:cxn>
              <a:cxn ang="0">
                <a:pos x="connsiteX23253" y="connsiteY23253"/>
              </a:cxn>
              <a:cxn ang="0">
                <a:pos x="connsiteX23254" y="connsiteY23254"/>
              </a:cxn>
              <a:cxn ang="0">
                <a:pos x="connsiteX23255" y="connsiteY23255"/>
              </a:cxn>
              <a:cxn ang="0">
                <a:pos x="connsiteX23256" y="connsiteY23256"/>
              </a:cxn>
              <a:cxn ang="0">
                <a:pos x="connsiteX23257" y="connsiteY23257"/>
              </a:cxn>
              <a:cxn ang="0">
                <a:pos x="connsiteX23258" y="connsiteY23258"/>
              </a:cxn>
              <a:cxn ang="0">
                <a:pos x="connsiteX23259" y="connsiteY23259"/>
              </a:cxn>
              <a:cxn ang="0">
                <a:pos x="connsiteX23260" y="connsiteY23260"/>
              </a:cxn>
              <a:cxn ang="0">
                <a:pos x="connsiteX23261" y="connsiteY23261"/>
              </a:cxn>
              <a:cxn ang="0">
                <a:pos x="connsiteX23262" y="connsiteY23262"/>
              </a:cxn>
              <a:cxn ang="0">
                <a:pos x="connsiteX23263" y="connsiteY23263"/>
              </a:cxn>
              <a:cxn ang="0">
                <a:pos x="connsiteX23264" y="connsiteY23264"/>
              </a:cxn>
              <a:cxn ang="0">
                <a:pos x="connsiteX23265" y="connsiteY23265"/>
              </a:cxn>
              <a:cxn ang="0">
                <a:pos x="connsiteX23266" y="connsiteY23266"/>
              </a:cxn>
              <a:cxn ang="0">
                <a:pos x="connsiteX23267" y="connsiteY23267"/>
              </a:cxn>
              <a:cxn ang="0">
                <a:pos x="connsiteX23268" y="connsiteY23268"/>
              </a:cxn>
              <a:cxn ang="0">
                <a:pos x="connsiteX23269" y="connsiteY23269"/>
              </a:cxn>
              <a:cxn ang="0">
                <a:pos x="connsiteX23270" y="connsiteY23270"/>
              </a:cxn>
              <a:cxn ang="0">
                <a:pos x="connsiteX23271" y="connsiteY23271"/>
              </a:cxn>
              <a:cxn ang="0">
                <a:pos x="connsiteX23272" y="connsiteY23272"/>
              </a:cxn>
              <a:cxn ang="0">
                <a:pos x="connsiteX23273" y="connsiteY23273"/>
              </a:cxn>
              <a:cxn ang="0">
                <a:pos x="connsiteX23274" y="connsiteY23274"/>
              </a:cxn>
              <a:cxn ang="0">
                <a:pos x="connsiteX23275" y="connsiteY23275"/>
              </a:cxn>
              <a:cxn ang="0">
                <a:pos x="connsiteX23276" y="connsiteY23276"/>
              </a:cxn>
              <a:cxn ang="0">
                <a:pos x="connsiteX23277" y="connsiteY23277"/>
              </a:cxn>
              <a:cxn ang="0">
                <a:pos x="connsiteX23278" y="connsiteY23278"/>
              </a:cxn>
              <a:cxn ang="0">
                <a:pos x="connsiteX23279" y="connsiteY23279"/>
              </a:cxn>
              <a:cxn ang="0">
                <a:pos x="connsiteX23280" y="connsiteY23280"/>
              </a:cxn>
              <a:cxn ang="0">
                <a:pos x="connsiteX23281" y="connsiteY23281"/>
              </a:cxn>
              <a:cxn ang="0">
                <a:pos x="connsiteX23282" y="connsiteY23282"/>
              </a:cxn>
              <a:cxn ang="0">
                <a:pos x="connsiteX23283" y="connsiteY23283"/>
              </a:cxn>
              <a:cxn ang="0">
                <a:pos x="connsiteX23284" y="connsiteY23284"/>
              </a:cxn>
              <a:cxn ang="0">
                <a:pos x="connsiteX23285" y="connsiteY23285"/>
              </a:cxn>
              <a:cxn ang="0">
                <a:pos x="connsiteX23286" y="connsiteY23286"/>
              </a:cxn>
              <a:cxn ang="0">
                <a:pos x="connsiteX23287" y="connsiteY23287"/>
              </a:cxn>
              <a:cxn ang="0">
                <a:pos x="connsiteX23288" y="connsiteY23288"/>
              </a:cxn>
              <a:cxn ang="0">
                <a:pos x="connsiteX23289" y="connsiteY23289"/>
              </a:cxn>
              <a:cxn ang="0">
                <a:pos x="connsiteX23290" y="connsiteY23290"/>
              </a:cxn>
              <a:cxn ang="0">
                <a:pos x="connsiteX23291" y="connsiteY23291"/>
              </a:cxn>
              <a:cxn ang="0">
                <a:pos x="connsiteX23292" y="connsiteY23292"/>
              </a:cxn>
              <a:cxn ang="0">
                <a:pos x="connsiteX23293" y="connsiteY23293"/>
              </a:cxn>
              <a:cxn ang="0">
                <a:pos x="connsiteX23294" y="connsiteY23294"/>
              </a:cxn>
              <a:cxn ang="0">
                <a:pos x="connsiteX23295" y="connsiteY23295"/>
              </a:cxn>
              <a:cxn ang="0">
                <a:pos x="connsiteX23296" y="connsiteY23296"/>
              </a:cxn>
              <a:cxn ang="0">
                <a:pos x="connsiteX23297" y="connsiteY23297"/>
              </a:cxn>
              <a:cxn ang="0">
                <a:pos x="connsiteX23298" y="connsiteY23298"/>
              </a:cxn>
              <a:cxn ang="0">
                <a:pos x="connsiteX23299" y="connsiteY23299"/>
              </a:cxn>
              <a:cxn ang="0">
                <a:pos x="connsiteX23300" y="connsiteY23300"/>
              </a:cxn>
              <a:cxn ang="0">
                <a:pos x="connsiteX23301" y="connsiteY23301"/>
              </a:cxn>
              <a:cxn ang="0">
                <a:pos x="connsiteX23302" y="connsiteY23302"/>
              </a:cxn>
              <a:cxn ang="0">
                <a:pos x="connsiteX23303" y="connsiteY23303"/>
              </a:cxn>
              <a:cxn ang="0">
                <a:pos x="connsiteX23304" y="connsiteY23304"/>
              </a:cxn>
              <a:cxn ang="0">
                <a:pos x="connsiteX23305" y="connsiteY23305"/>
              </a:cxn>
              <a:cxn ang="0">
                <a:pos x="connsiteX23306" y="connsiteY23306"/>
              </a:cxn>
              <a:cxn ang="0">
                <a:pos x="connsiteX23307" y="connsiteY23307"/>
              </a:cxn>
              <a:cxn ang="0">
                <a:pos x="connsiteX23308" y="connsiteY23308"/>
              </a:cxn>
              <a:cxn ang="0">
                <a:pos x="connsiteX23309" y="connsiteY23309"/>
              </a:cxn>
              <a:cxn ang="0">
                <a:pos x="connsiteX23310" y="connsiteY23310"/>
              </a:cxn>
              <a:cxn ang="0">
                <a:pos x="connsiteX23311" y="connsiteY23311"/>
              </a:cxn>
              <a:cxn ang="0">
                <a:pos x="connsiteX23312" y="connsiteY23312"/>
              </a:cxn>
              <a:cxn ang="0">
                <a:pos x="connsiteX23313" y="connsiteY23313"/>
              </a:cxn>
              <a:cxn ang="0">
                <a:pos x="connsiteX23314" y="connsiteY23314"/>
              </a:cxn>
              <a:cxn ang="0">
                <a:pos x="connsiteX23315" y="connsiteY23315"/>
              </a:cxn>
              <a:cxn ang="0">
                <a:pos x="connsiteX23316" y="connsiteY23316"/>
              </a:cxn>
              <a:cxn ang="0">
                <a:pos x="connsiteX23317" y="connsiteY23317"/>
              </a:cxn>
              <a:cxn ang="0">
                <a:pos x="connsiteX23318" y="connsiteY23318"/>
              </a:cxn>
              <a:cxn ang="0">
                <a:pos x="connsiteX23319" y="connsiteY23319"/>
              </a:cxn>
              <a:cxn ang="0">
                <a:pos x="connsiteX23320" y="connsiteY23320"/>
              </a:cxn>
              <a:cxn ang="0">
                <a:pos x="connsiteX23321" y="connsiteY23321"/>
              </a:cxn>
              <a:cxn ang="0">
                <a:pos x="connsiteX23322" y="connsiteY23322"/>
              </a:cxn>
              <a:cxn ang="0">
                <a:pos x="connsiteX23323" y="connsiteY23323"/>
              </a:cxn>
              <a:cxn ang="0">
                <a:pos x="connsiteX23324" y="connsiteY23324"/>
              </a:cxn>
              <a:cxn ang="0">
                <a:pos x="connsiteX23325" y="connsiteY23325"/>
              </a:cxn>
              <a:cxn ang="0">
                <a:pos x="connsiteX23326" y="connsiteY23326"/>
              </a:cxn>
              <a:cxn ang="0">
                <a:pos x="connsiteX23327" y="connsiteY23327"/>
              </a:cxn>
              <a:cxn ang="0">
                <a:pos x="connsiteX23328" y="connsiteY23328"/>
              </a:cxn>
              <a:cxn ang="0">
                <a:pos x="connsiteX23329" y="connsiteY23329"/>
              </a:cxn>
              <a:cxn ang="0">
                <a:pos x="connsiteX23330" y="connsiteY23330"/>
              </a:cxn>
              <a:cxn ang="0">
                <a:pos x="connsiteX23331" y="connsiteY23331"/>
              </a:cxn>
              <a:cxn ang="0">
                <a:pos x="connsiteX23332" y="connsiteY23332"/>
              </a:cxn>
              <a:cxn ang="0">
                <a:pos x="connsiteX23333" y="connsiteY23333"/>
              </a:cxn>
              <a:cxn ang="0">
                <a:pos x="connsiteX23334" y="connsiteY23334"/>
              </a:cxn>
              <a:cxn ang="0">
                <a:pos x="connsiteX23335" y="connsiteY23335"/>
              </a:cxn>
              <a:cxn ang="0">
                <a:pos x="connsiteX23336" y="connsiteY23336"/>
              </a:cxn>
              <a:cxn ang="0">
                <a:pos x="connsiteX23337" y="connsiteY23337"/>
              </a:cxn>
              <a:cxn ang="0">
                <a:pos x="connsiteX23338" y="connsiteY23338"/>
              </a:cxn>
              <a:cxn ang="0">
                <a:pos x="connsiteX23339" y="connsiteY23339"/>
              </a:cxn>
              <a:cxn ang="0">
                <a:pos x="connsiteX23340" y="connsiteY23340"/>
              </a:cxn>
              <a:cxn ang="0">
                <a:pos x="connsiteX23341" y="connsiteY23341"/>
              </a:cxn>
              <a:cxn ang="0">
                <a:pos x="connsiteX23342" y="connsiteY23342"/>
              </a:cxn>
              <a:cxn ang="0">
                <a:pos x="connsiteX23343" y="connsiteY23343"/>
              </a:cxn>
              <a:cxn ang="0">
                <a:pos x="connsiteX23344" y="connsiteY23344"/>
              </a:cxn>
              <a:cxn ang="0">
                <a:pos x="connsiteX23345" y="connsiteY23345"/>
              </a:cxn>
              <a:cxn ang="0">
                <a:pos x="connsiteX23346" y="connsiteY23346"/>
              </a:cxn>
              <a:cxn ang="0">
                <a:pos x="connsiteX23347" y="connsiteY23347"/>
              </a:cxn>
              <a:cxn ang="0">
                <a:pos x="connsiteX23348" y="connsiteY23348"/>
              </a:cxn>
              <a:cxn ang="0">
                <a:pos x="connsiteX23349" y="connsiteY23349"/>
              </a:cxn>
              <a:cxn ang="0">
                <a:pos x="connsiteX23350" y="connsiteY23350"/>
              </a:cxn>
              <a:cxn ang="0">
                <a:pos x="connsiteX23351" y="connsiteY23351"/>
              </a:cxn>
              <a:cxn ang="0">
                <a:pos x="connsiteX23352" y="connsiteY23352"/>
              </a:cxn>
              <a:cxn ang="0">
                <a:pos x="connsiteX23353" y="connsiteY23353"/>
              </a:cxn>
              <a:cxn ang="0">
                <a:pos x="connsiteX23354" y="connsiteY23354"/>
              </a:cxn>
              <a:cxn ang="0">
                <a:pos x="connsiteX23355" y="connsiteY23355"/>
              </a:cxn>
              <a:cxn ang="0">
                <a:pos x="connsiteX23356" y="connsiteY23356"/>
              </a:cxn>
              <a:cxn ang="0">
                <a:pos x="connsiteX23357" y="connsiteY23357"/>
              </a:cxn>
              <a:cxn ang="0">
                <a:pos x="connsiteX23358" y="connsiteY23358"/>
              </a:cxn>
              <a:cxn ang="0">
                <a:pos x="connsiteX23359" y="connsiteY23359"/>
              </a:cxn>
              <a:cxn ang="0">
                <a:pos x="connsiteX23360" y="connsiteY23360"/>
              </a:cxn>
              <a:cxn ang="0">
                <a:pos x="connsiteX23361" y="connsiteY23361"/>
              </a:cxn>
              <a:cxn ang="0">
                <a:pos x="connsiteX23362" y="connsiteY23362"/>
              </a:cxn>
              <a:cxn ang="0">
                <a:pos x="connsiteX23363" y="connsiteY23363"/>
              </a:cxn>
              <a:cxn ang="0">
                <a:pos x="connsiteX23364" y="connsiteY23364"/>
              </a:cxn>
              <a:cxn ang="0">
                <a:pos x="connsiteX23365" y="connsiteY23365"/>
              </a:cxn>
              <a:cxn ang="0">
                <a:pos x="connsiteX23366" y="connsiteY23366"/>
              </a:cxn>
              <a:cxn ang="0">
                <a:pos x="connsiteX23367" y="connsiteY23367"/>
              </a:cxn>
              <a:cxn ang="0">
                <a:pos x="connsiteX23368" y="connsiteY23368"/>
              </a:cxn>
              <a:cxn ang="0">
                <a:pos x="connsiteX23369" y="connsiteY23369"/>
              </a:cxn>
              <a:cxn ang="0">
                <a:pos x="connsiteX23370" y="connsiteY23370"/>
              </a:cxn>
              <a:cxn ang="0">
                <a:pos x="connsiteX23371" y="connsiteY23371"/>
              </a:cxn>
              <a:cxn ang="0">
                <a:pos x="connsiteX23372" y="connsiteY23372"/>
              </a:cxn>
              <a:cxn ang="0">
                <a:pos x="connsiteX23373" y="connsiteY23373"/>
              </a:cxn>
              <a:cxn ang="0">
                <a:pos x="connsiteX23374" y="connsiteY23374"/>
              </a:cxn>
              <a:cxn ang="0">
                <a:pos x="connsiteX23375" y="connsiteY23375"/>
              </a:cxn>
              <a:cxn ang="0">
                <a:pos x="connsiteX23376" y="connsiteY23376"/>
              </a:cxn>
              <a:cxn ang="0">
                <a:pos x="connsiteX23377" y="connsiteY23377"/>
              </a:cxn>
              <a:cxn ang="0">
                <a:pos x="connsiteX23378" y="connsiteY23378"/>
              </a:cxn>
              <a:cxn ang="0">
                <a:pos x="connsiteX23379" y="connsiteY23379"/>
              </a:cxn>
              <a:cxn ang="0">
                <a:pos x="connsiteX23380" y="connsiteY23380"/>
              </a:cxn>
              <a:cxn ang="0">
                <a:pos x="connsiteX23381" y="connsiteY23381"/>
              </a:cxn>
              <a:cxn ang="0">
                <a:pos x="connsiteX23382" y="connsiteY23382"/>
              </a:cxn>
              <a:cxn ang="0">
                <a:pos x="connsiteX23383" y="connsiteY23383"/>
              </a:cxn>
              <a:cxn ang="0">
                <a:pos x="connsiteX23384" y="connsiteY23384"/>
              </a:cxn>
              <a:cxn ang="0">
                <a:pos x="connsiteX23385" y="connsiteY23385"/>
              </a:cxn>
              <a:cxn ang="0">
                <a:pos x="connsiteX23386" y="connsiteY23386"/>
              </a:cxn>
              <a:cxn ang="0">
                <a:pos x="connsiteX23387" y="connsiteY23387"/>
              </a:cxn>
              <a:cxn ang="0">
                <a:pos x="connsiteX23388" y="connsiteY23388"/>
              </a:cxn>
              <a:cxn ang="0">
                <a:pos x="connsiteX23389" y="connsiteY23389"/>
              </a:cxn>
              <a:cxn ang="0">
                <a:pos x="connsiteX23390" y="connsiteY23390"/>
              </a:cxn>
              <a:cxn ang="0">
                <a:pos x="connsiteX23391" y="connsiteY23391"/>
              </a:cxn>
              <a:cxn ang="0">
                <a:pos x="connsiteX23392" y="connsiteY23392"/>
              </a:cxn>
              <a:cxn ang="0">
                <a:pos x="connsiteX23393" y="connsiteY23393"/>
              </a:cxn>
              <a:cxn ang="0">
                <a:pos x="connsiteX23394" y="connsiteY23394"/>
              </a:cxn>
              <a:cxn ang="0">
                <a:pos x="connsiteX23395" y="connsiteY23395"/>
              </a:cxn>
              <a:cxn ang="0">
                <a:pos x="connsiteX23396" y="connsiteY23396"/>
              </a:cxn>
              <a:cxn ang="0">
                <a:pos x="connsiteX23397" y="connsiteY23397"/>
              </a:cxn>
              <a:cxn ang="0">
                <a:pos x="connsiteX23398" y="connsiteY23398"/>
              </a:cxn>
              <a:cxn ang="0">
                <a:pos x="connsiteX23399" y="connsiteY23399"/>
              </a:cxn>
              <a:cxn ang="0">
                <a:pos x="connsiteX23400" y="connsiteY23400"/>
              </a:cxn>
              <a:cxn ang="0">
                <a:pos x="connsiteX23401" y="connsiteY23401"/>
              </a:cxn>
              <a:cxn ang="0">
                <a:pos x="connsiteX23402" y="connsiteY23402"/>
              </a:cxn>
              <a:cxn ang="0">
                <a:pos x="connsiteX23403" y="connsiteY23403"/>
              </a:cxn>
              <a:cxn ang="0">
                <a:pos x="connsiteX23404" y="connsiteY23404"/>
              </a:cxn>
              <a:cxn ang="0">
                <a:pos x="connsiteX23405" y="connsiteY23405"/>
              </a:cxn>
              <a:cxn ang="0">
                <a:pos x="connsiteX23406" y="connsiteY23406"/>
              </a:cxn>
              <a:cxn ang="0">
                <a:pos x="connsiteX23407" y="connsiteY23407"/>
              </a:cxn>
              <a:cxn ang="0">
                <a:pos x="connsiteX23408" y="connsiteY23408"/>
              </a:cxn>
              <a:cxn ang="0">
                <a:pos x="connsiteX23409" y="connsiteY23409"/>
              </a:cxn>
              <a:cxn ang="0">
                <a:pos x="connsiteX23410" y="connsiteY23410"/>
              </a:cxn>
              <a:cxn ang="0">
                <a:pos x="connsiteX23411" y="connsiteY23411"/>
              </a:cxn>
              <a:cxn ang="0">
                <a:pos x="connsiteX23412" y="connsiteY23412"/>
              </a:cxn>
              <a:cxn ang="0">
                <a:pos x="connsiteX23413" y="connsiteY23413"/>
              </a:cxn>
              <a:cxn ang="0">
                <a:pos x="connsiteX23414" y="connsiteY23414"/>
              </a:cxn>
              <a:cxn ang="0">
                <a:pos x="connsiteX23415" y="connsiteY23415"/>
              </a:cxn>
              <a:cxn ang="0">
                <a:pos x="connsiteX23416" y="connsiteY23416"/>
              </a:cxn>
              <a:cxn ang="0">
                <a:pos x="connsiteX23417" y="connsiteY23417"/>
              </a:cxn>
              <a:cxn ang="0">
                <a:pos x="connsiteX23418" y="connsiteY23418"/>
              </a:cxn>
              <a:cxn ang="0">
                <a:pos x="connsiteX23419" y="connsiteY23419"/>
              </a:cxn>
              <a:cxn ang="0">
                <a:pos x="connsiteX23420" y="connsiteY23420"/>
              </a:cxn>
              <a:cxn ang="0">
                <a:pos x="connsiteX23421" y="connsiteY23421"/>
              </a:cxn>
              <a:cxn ang="0">
                <a:pos x="connsiteX23422" y="connsiteY23422"/>
              </a:cxn>
              <a:cxn ang="0">
                <a:pos x="connsiteX23423" y="connsiteY23423"/>
              </a:cxn>
              <a:cxn ang="0">
                <a:pos x="connsiteX23424" y="connsiteY23424"/>
              </a:cxn>
              <a:cxn ang="0">
                <a:pos x="connsiteX23425" y="connsiteY23425"/>
              </a:cxn>
              <a:cxn ang="0">
                <a:pos x="connsiteX23426" y="connsiteY23426"/>
              </a:cxn>
              <a:cxn ang="0">
                <a:pos x="connsiteX23427" y="connsiteY23427"/>
              </a:cxn>
              <a:cxn ang="0">
                <a:pos x="connsiteX23428" y="connsiteY23428"/>
              </a:cxn>
              <a:cxn ang="0">
                <a:pos x="connsiteX23429" y="connsiteY23429"/>
              </a:cxn>
              <a:cxn ang="0">
                <a:pos x="connsiteX23430" y="connsiteY23430"/>
              </a:cxn>
              <a:cxn ang="0">
                <a:pos x="connsiteX23431" y="connsiteY23431"/>
              </a:cxn>
              <a:cxn ang="0">
                <a:pos x="connsiteX23432" y="connsiteY23432"/>
              </a:cxn>
              <a:cxn ang="0">
                <a:pos x="connsiteX23433" y="connsiteY23433"/>
              </a:cxn>
              <a:cxn ang="0">
                <a:pos x="connsiteX23434" y="connsiteY23434"/>
              </a:cxn>
              <a:cxn ang="0">
                <a:pos x="connsiteX23435" y="connsiteY23435"/>
              </a:cxn>
              <a:cxn ang="0">
                <a:pos x="connsiteX23436" y="connsiteY23436"/>
              </a:cxn>
              <a:cxn ang="0">
                <a:pos x="connsiteX23437" y="connsiteY23437"/>
              </a:cxn>
              <a:cxn ang="0">
                <a:pos x="connsiteX23438" y="connsiteY23438"/>
              </a:cxn>
              <a:cxn ang="0">
                <a:pos x="connsiteX23439" y="connsiteY23439"/>
              </a:cxn>
              <a:cxn ang="0">
                <a:pos x="connsiteX23440" y="connsiteY23440"/>
              </a:cxn>
              <a:cxn ang="0">
                <a:pos x="connsiteX23441" y="connsiteY23441"/>
              </a:cxn>
              <a:cxn ang="0">
                <a:pos x="connsiteX23442" y="connsiteY23442"/>
              </a:cxn>
              <a:cxn ang="0">
                <a:pos x="connsiteX23443" y="connsiteY23443"/>
              </a:cxn>
              <a:cxn ang="0">
                <a:pos x="connsiteX23444" y="connsiteY23444"/>
              </a:cxn>
              <a:cxn ang="0">
                <a:pos x="connsiteX23445" y="connsiteY23445"/>
              </a:cxn>
              <a:cxn ang="0">
                <a:pos x="connsiteX23446" y="connsiteY23446"/>
              </a:cxn>
              <a:cxn ang="0">
                <a:pos x="connsiteX23447" y="connsiteY23447"/>
              </a:cxn>
              <a:cxn ang="0">
                <a:pos x="connsiteX23448" y="connsiteY23448"/>
              </a:cxn>
              <a:cxn ang="0">
                <a:pos x="connsiteX23449" y="connsiteY23449"/>
              </a:cxn>
              <a:cxn ang="0">
                <a:pos x="connsiteX23450" y="connsiteY23450"/>
              </a:cxn>
              <a:cxn ang="0">
                <a:pos x="connsiteX23451" y="connsiteY23451"/>
              </a:cxn>
              <a:cxn ang="0">
                <a:pos x="connsiteX23452" y="connsiteY23452"/>
              </a:cxn>
              <a:cxn ang="0">
                <a:pos x="connsiteX23453" y="connsiteY23453"/>
              </a:cxn>
              <a:cxn ang="0">
                <a:pos x="connsiteX23454" y="connsiteY23454"/>
              </a:cxn>
              <a:cxn ang="0">
                <a:pos x="connsiteX23455" y="connsiteY23455"/>
              </a:cxn>
              <a:cxn ang="0">
                <a:pos x="connsiteX23456" y="connsiteY23456"/>
              </a:cxn>
              <a:cxn ang="0">
                <a:pos x="connsiteX23457" y="connsiteY23457"/>
              </a:cxn>
              <a:cxn ang="0">
                <a:pos x="connsiteX23458" y="connsiteY23458"/>
              </a:cxn>
              <a:cxn ang="0">
                <a:pos x="connsiteX23459" y="connsiteY23459"/>
              </a:cxn>
              <a:cxn ang="0">
                <a:pos x="connsiteX23460" y="connsiteY23460"/>
              </a:cxn>
              <a:cxn ang="0">
                <a:pos x="connsiteX23461" y="connsiteY23461"/>
              </a:cxn>
              <a:cxn ang="0">
                <a:pos x="connsiteX23462" y="connsiteY23462"/>
              </a:cxn>
              <a:cxn ang="0">
                <a:pos x="connsiteX23463" y="connsiteY23463"/>
              </a:cxn>
              <a:cxn ang="0">
                <a:pos x="connsiteX23464" y="connsiteY23464"/>
              </a:cxn>
              <a:cxn ang="0">
                <a:pos x="connsiteX23465" y="connsiteY23465"/>
              </a:cxn>
              <a:cxn ang="0">
                <a:pos x="connsiteX23466" y="connsiteY23466"/>
              </a:cxn>
              <a:cxn ang="0">
                <a:pos x="connsiteX23467" y="connsiteY23467"/>
              </a:cxn>
              <a:cxn ang="0">
                <a:pos x="connsiteX23468" y="connsiteY23468"/>
              </a:cxn>
              <a:cxn ang="0">
                <a:pos x="connsiteX23469" y="connsiteY23469"/>
              </a:cxn>
              <a:cxn ang="0">
                <a:pos x="connsiteX23470" y="connsiteY23470"/>
              </a:cxn>
              <a:cxn ang="0">
                <a:pos x="connsiteX23471" y="connsiteY23471"/>
              </a:cxn>
              <a:cxn ang="0">
                <a:pos x="connsiteX23472" y="connsiteY23472"/>
              </a:cxn>
              <a:cxn ang="0">
                <a:pos x="connsiteX23473" y="connsiteY23473"/>
              </a:cxn>
              <a:cxn ang="0">
                <a:pos x="connsiteX23474" y="connsiteY23474"/>
              </a:cxn>
              <a:cxn ang="0">
                <a:pos x="connsiteX23475" y="connsiteY23475"/>
              </a:cxn>
              <a:cxn ang="0">
                <a:pos x="connsiteX23476" y="connsiteY23476"/>
              </a:cxn>
              <a:cxn ang="0">
                <a:pos x="connsiteX23477" y="connsiteY23477"/>
              </a:cxn>
              <a:cxn ang="0">
                <a:pos x="connsiteX23478" y="connsiteY23478"/>
              </a:cxn>
              <a:cxn ang="0">
                <a:pos x="connsiteX23479" y="connsiteY23479"/>
              </a:cxn>
              <a:cxn ang="0">
                <a:pos x="connsiteX23480" y="connsiteY23480"/>
              </a:cxn>
              <a:cxn ang="0">
                <a:pos x="connsiteX23481" y="connsiteY23481"/>
              </a:cxn>
              <a:cxn ang="0">
                <a:pos x="connsiteX23482" y="connsiteY23482"/>
              </a:cxn>
              <a:cxn ang="0">
                <a:pos x="connsiteX23483" y="connsiteY23483"/>
              </a:cxn>
              <a:cxn ang="0">
                <a:pos x="connsiteX23484" y="connsiteY23484"/>
              </a:cxn>
              <a:cxn ang="0">
                <a:pos x="connsiteX23485" y="connsiteY23485"/>
              </a:cxn>
              <a:cxn ang="0">
                <a:pos x="connsiteX23486" y="connsiteY23486"/>
              </a:cxn>
              <a:cxn ang="0">
                <a:pos x="connsiteX23487" y="connsiteY23487"/>
              </a:cxn>
              <a:cxn ang="0">
                <a:pos x="connsiteX23488" y="connsiteY23488"/>
              </a:cxn>
              <a:cxn ang="0">
                <a:pos x="connsiteX23489" y="connsiteY23489"/>
              </a:cxn>
              <a:cxn ang="0">
                <a:pos x="connsiteX23490" y="connsiteY23490"/>
              </a:cxn>
              <a:cxn ang="0">
                <a:pos x="connsiteX23491" y="connsiteY23491"/>
              </a:cxn>
              <a:cxn ang="0">
                <a:pos x="connsiteX23492" y="connsiteY23492"/>
              </a:cxn>
              <a:cxn ang="0">
                <a:pos x="connsiteX23493" y="connsiteY23493"/>
              </a:cxn>
              <a:cxn ang="0">
                <a:pos x="connsiteX23494" y="connsiteY23494"/>
              </a:cxn>
              <a:cxn ang="0">
                <a:pos x="connsiteX23495" y="connsiteY23495"/>
              </a:cxn>
              <a:cxn ang="0">
                <a:pos x="connsiteX23496" y="connsiteY23496"/>
              </a:cxn>
              <a:cxn ang="0">
                <a:pos x="connsiteX23497" y="connsiteY23497"/>
              </a:cxn>
              <a:cxn ang="0">
                <a:pos x="connsiteX23498" y="connsiteY23498"/>
              </a:cxn>
              <a:cxn ang="0">
                <a:pos x="connsiteX23499" y="connsiteY23499"/>
              </a:cxn>
              <a:cxn ang="0">
                <a:pos x="connsiteX23500" y="connsiteY23500"/>
              </a:cxn>
              <a:cxn ang="0">
                <a:pos x="connsiteX23501" y="connsiteY23501"/>
              </a:cxn>
              <a:cxn ang="0">
                <a:pos x="connsiteX23502" y="connsiteY23502"/>
              </a:cxn>
              <a:cxn ang="0">
                <a:pos x="connsiteX23503" y="connsiteY23503"/>
              </a:cxn>
              <a:cxn ang="0">
                <a:pos x="connsiteX23504" y="connsiteY23504"/>
              </a:cxn>
              <a:cxn ang="0">
                <a:pos x="connsiteX23505" y="connsiteY23505"/>
              </a:cxn>
              <a:cxn ang="0">
                <a:pos x="connsiteX23506" y="connsiteY23506"/>
              </a:cxn>
              <a:cxn ang="0">
                <a:pos x="connsiteX23507" y="connsiteY23507"/>
              </a:cxn>
              <a:cxn ang="0">
                <a:pos x="connsiteX23508" y="connsiteY23508"/>
              </a:cxn>
              <a:cxn ang="0">
                <a:pos x="connsiteX23509" y="connsiteY23509"/>
              </a:cxn>
              <a:cxn ang="0">
                <a:pos x="connsiteX23510" y="connsiteY23510"/>
              </a:cxn>
              <a:cxn ang="0">
                <a:pos x="connsiteX23511" y="connsiteY23511"/>
              </a:cxn>
              <a:cxn ang="0">
                <a:pos x="connsiteX23512" y="connsiteY23512"/>
              </a:cxn>
              <a:cxn ang="0">
                <a:pos x="connsiteX23513" y="connsiteY23513"/>
              </a:cxn>
              <a:cxn ang="0">
                <a:pos x="connsiteX23514" y="connsiteY23514"/>
              </a:cxn>
              <a:cxn ang="0">
                <a:pos x="connsiteX23515" y="connsiteY23515"/>
              </a:cxn>
              <a:cxn ang="0">
                <a:pos x="connsiteX23516" y="connsiteY23516"/>
              </a:cxn>
              <a:cxn ang="0">
                <a:pos x="connsiteX23517" y="connsiteY23517"/>
              </a:cxn>
              <a:cxn ang="0">
                <a:pos x="connsiteX23518" y="connsiteY23518"/>
              </a:cxn>
              <a:cxn ang="0">
                <a:pos x="connsiteX23519" y="connsiteY23519"/>
              </a:cxn>
              <a:cxn ang="0">
                <a:pos x="connsiteX23520" y="connsiteY23520"/>
              </a:cxn>
              <a:cxn ang="0">
                <a:pos x="connsiteX23521" y="connsiteY23521"/>
              </a:cxn>
              <a:cxn ang="0">
                <a:pos x="connsiteX23522" y="connsiteY23522"/>
              </a:cxn>
              <a:cxn ang="0">
                <a:pos x="connsiteX23523" y="connsiteY23523"/>
              </a:cxn>
              <a:cxn ang="0">
                <a:pos x="connsiteX23524" y="connsiteY23524"/>
              </a:cxn>
              <a:cxn ang="0">
                <a:pos x="connsiteX23525" y="connsiteY23525"/>
              </a:cxn>
              <a:cxn ang="0">
                <a:pos x="connsiteX23526" y="connsiteY23526"/>
              </a:cxn>
              <a:cxn ang="0">
                <a:pos x="connsiteX23527" y="connsiteY23527"/>
              </a:cxn>
              <a:cxn ang="0">
                <a:pos x="connsiteX23528" y="connsiteY23528"/>
              </a:cxn>
              <a:cxn ang="0">
                <a:pos x="connsiteX23529" y="connsiteY23529"/>
              </a:cxn>
              <a:cxn ang="0">
                <a:pos x="connsiteX23530" y="connsiteY23530"/>
              </a:cxn>
              <a:cxn ang="0">
                <a:pos x="connsiteX23531" y="connsiteY23531"/>
              </a:cxn>
              <a:cxn ang="0">
                <a:pos x="connsiteX23532" y="connsiteY23532"/>
              </a:cxn>
              <a:cxn ang="0">
                <a:pos x="connsiteX23533" y="connsiteY23533"/>
              </a:cxn>
              <a:cxn ang="0">
                <a:pos x="connsiteX23534" y="connsiteY23534"/>
              </a:cxn>
              <a:cxn ang="0">
                <a:pos x="connsiteX23535" y="connsiteY23535"/>
              </a:cxn>
              <a:cxn ang="0">
                <a:pos x="connsiteX23536" y="connsiteY23536"/>
              </a:cxn>
              <a:cxn ang="0">
                <a:pos x="connsiteX23537" y="connsiteY23537"/>
              </a:cxn>
              <a:cxn ang="0">
                <a:pos x="connsiteX23538" y="connsiteY23538"/>
              </a:cxn>
              <a:cxn ang="0">
                <a:pos x="connsiteX23539" y="connsiteY23539"/>
              </a:cxn>
              <a:cxn ang="0">
                <a:pos x="connsiteX23540" y="connsiteY23540"/>
              </a:cxn>
              <a:cxn ang="0">
                <a:pos x="connsiteX23541" y="connsiteY23541"/>
              </a:cxn>
              <a:cxn ang="0">
                <a:pos x="connsiteX23542" y="connsiteY23542"/>
              </a:cxn>
              <a:cxn ang="0">
                <a:pos x="connsiteX23543" y="connsiteY23543"/>
              </a:cxn>
              <a:cxn ang="0">
                <a:pos x="connsiteX23544" y="connsiteY23544"/>
              </a:cxn>
              <a:cxn ang="0">
                <a:pos x="connsiteX23545" y="connsiteY23545"/>
              </a:cxn>
              <a:cxn ang="0">
                <a:pos x="connsiteX23546" y="connsiteY23546"/>
              </a:cxn>
              <a:cxn ang="0">
                <a:pos x="connsiteX23547" y="connsiteY23547"/>
              </a:cxn>
              <a:cxn ang="0">
                <a:pos x="connsiteX23548" y="connsiteY23548"/>
              </a:cxn>
              <a:cxn ang="0">
                <a:pos x="connsiteX23549" y="connsiteY23549"/>
              </a:cxn>
              <a:cxn ang="0">
                <a:pos x="connsiteX23550" y="connsiteY23550"/>
              </a:cxn>
              <a:cxn ang="0">
                <a:pos x="connsiteX23551" y="connsiteY23551"/>
              </a:cxn>
              <a:cxn ang="0">
                <a:pos x="connsiteX23552" y="connsiteY23552"/>
              </a:cxn>
              <a:cxn ang="0">
                <a:pos x="connsiteX23553" y="connsiteY23553"/>
              </a:cxn>
              <a:cxn ang="0">
                <a:pos x="connsiteX23554" y="connsiteY23554"/>
              </a:cxn>
              <a:cxn ang="0">
                <a:pos x="connsiteX23555" y="connsiteY23555"/>
              </a:cxn>
              <a:cxn ang="0">
                <a:pos x="connsiteX23556" y="connsiteY23556"/>
              </a:cxn>
              <a:cxn ang="0">
                <a:pos x="connsiteX23557" y="connsiteY23557"/>
              </a:cxn>
              <a:cxn ang="0">
                <a:pos x="connsiteX23558" y="connsiteY23558"/>
              </a:cxn>
              <a:cxn ang="0">
                <a:pos x="connsiteX23559" y="connsiteY23559"/>
              </a:cxn>
              <a:cxn ang="0">
                <a:pos x="connsiteX23560" y="connsiteY23560"/>
              </a:cxn>
              <a:cxn ang="0">
                <a:pos x="connsiteX23561" y="connsiteY23561"/>
              </a:cxn>
              <a:cxn ang="0">
                <a:pos x="connsiteX23562" y="connsiteY23562"/>
              </a:cxn>
              <a:cxn ang="0">
                <a:pos x="connsiteX23563" y="connsiteY23563"/>
              </a:cxn>
              <a:cxn ang="0">
                <a:pos x="connsiteX23564" y="connsiteY23564"/>
              </a:cxn>
              <a:cxn ang="0">
                <a:pos x="connsiteX23565" y="connsiteY23565"/>
              </a:cxn>
              <a:cxn ang="0">
                <a:pos x="connsiteX23566" y="connsiteY23566"/>
              </a:cxn>
              <a:cxn ang="0">
                <a:pos x="connsiteX23567" y="connsiteY23567"/>
              </a:cxn>
              <a:cxn ang="0">
                <a:pos x="connsiteX23568" y="connsiteY23568"/>
              </a:cxn>
              <a:cxn ang="0">
                <a:pos x="connsiteX23569" y="connsiteY23569"/>
              </a:cxn>
              <a:cxn ang="0">
                <a:pos x="connsiteX23570" y="connsiteY23570"/>
              </a:cxn>
              <a:cxn ang="0">
                <a:pos x="connsiteX23571" y="connsiteY23571"/>
              </a:cxn>
              <a:cxn ang="0">
                <a:pos x="connsiteX23572" y="connsiteY23572"/>
              </a:cxn>
              <a:cxn ang="0">
                <a:pos x="connsiteX23573" y="connsiteY23573"/>
              </a:cxn>
              <a:cxn ang="0">
                <a:pos x="connsiteX23574" y="connsiteY23574"/>
              </a:cxn>
              <a:cxn ang="0">
                <a:pos x="connsiteX23575" y="connsiteY23575"/>
              </a:cxn>
              <a:cxn ang="0">
                <a:pos x="connsiteX23576" y="connsiteY23576"/>
              </a:cxn>
              <a:cxn ang="0">
                <a:pos x="connsiteX23577" y="connsiteY23577"/>
              </a:cxn>
              <a:cxn ang="0">
                <a:pos x="connsiteX23578" y="connsiteY23578"/>
              </a:cxn>
              <a:cxn ang="0">
                <a:pos x="connsiteX23579" y="connsiteY23579"/>
              </a:cxn>
              <a:cxn ang="0">
                <a:pos x="connsiteX23580" y="connsiteY23580"/>
              </a:cxn>
              <a:cxn ang="0">
                <a:pos x="connsiteX23581" y="connsiteY23581"/>
              </a:cxn>
              <a:cxn ang="0">
                <a:pos x="connsiteX23582" y="connsiteY23582"/>
              </a:cxn>
              <a:cxn ang="0">
                <a:pos x="connsiteX23583" y="connsiteY23583"/>
              </a:cxn>
              <a:cxn ang="0">
                <a:pos x="connsiteX23584" y="connsiteY23584"/>
              </a:cxn>
              <a:cxn ang="0">
                <a:pos x="connsiteX23585" y="connsiteY23585"/>
              </a:cxn>
              <a:cxn ang="0">
                <a:pos x="connsiteX23586" y="connsiteY23586"/>
              </a:cxn>
              <a:cxn ang="0">
                <a:pos x="connsiteX23587" y="connsiteY23587"/>
              </a:cxn>
              <a:cxn ang="0">
                <a:pos x="connsiteX23588" y="connsiteY23588"/>
              </a:cxn>
              <a:cxn ang="0">
                <a:pos x="connsiteX23589" y="connsiteY23589"/>
              </a:cxn>
              <a:cxn ang="0">
                <a:pos x="connsiteX23590" y="connsiteY23590"/>
              </a:cxn>
              <a:cxn ang="0">
                <a:pos x="connsiteX23591" y="connsiteY23591"/>
              </a:cxn>
              <a:cxn ang="0">
                <a:pos x="connsiteX23592" y="connsiteY23592"/>
              </a:cxn>
              <a:cxn ang="0">
                <a:pos x="connsiteX23593" y="connsiteY23593"/>
              </a:cxn>
              <a:cxn ang="0">
                <a:pos x="connsiteX23594" y="connsiteY23594"/>
              </a:cxn>
              <a:cxn ang="0">
                <a:pos x="connsiteX23595" y="connsiteY23595"/>
              </a:cxn>
              <a:cxn ang="0">
                <a:pos x="connsiteX23596" y="connsiteY23596"/>
              </a:cxn>
              <a:cxn ang="0">
                <a:pos x="connsiteX23597" y="connsiteY23597"/>
              </a:cxn>
              <a:cxn ang="0">
                <a:pos x="connsiteX23598" y="connsiteY23598"/>
              </a:cxn>
              <a:cxn ang="0">
                <a:pos x="connsiteX23599" y="connsiteY23599"/>
              </a:cxn>
              <a:cxn ang="0">
                <a:pos x="connsiteX23600" y="connsiteY23600"/>
              </a:cxn>
              <a:cxn ang="0">
                <a:pos x="connsiteX23601" y="connsiteY23601"/>
              </a:cxn>
              <a:cxn ang="0">
                <a:pos x="connsiteX23602" y="connsiteY23602"/>
              </a:cxn>
              <a:cxn ang="0">
                <a:pos x="connsiteX23603" y="connsiteY23603"/>
              </a:cxn>
              <a:cxn ang="0">
                <a:pos x="connsiteX23604" y="connsiteY23604"/>
              </a:cxn>
              <a:cxn ang="0">
                <a:pos x="connsiteX23605" y="connsiteY23605"/>
              </a:cxn>
              <a:cxn ang="0">
                <a:pos x="connsiteX23606" y="connsiteY23606"/>
              </a:cxn>
              <a:cxn ang="0">
                <a:pos x="connsiteX23607" y="connsiteY23607"/>
              </a:cxn>
              <a:cxn ang="0">
                <a:pos x="connsiteX23608" y="connsiteY23608"/>
              </a:cxn>
              <a:cxn ang="0">
                <a:pos x="connsiteX23609" y="connsiteY23609"/>
              </a:cxn>
              <a:cxn ang="0">
                <a:pos x="connsiteX23610" y="connsiteY23610"/>
              </a:cxn>
              <a:cxn ang="0">
                <a:pos x="connsiteX23611" y="connsiteY23611"/>
              </a:cxn>
              <a:cxn ang="0">
                <a:pos x="connsiteX23612" y="connsiteY23612"/>
              </a:cxn>
              <a:cxn ang="0">
                <a:pos x="connsiteX23613" y="connsiteY23613"/>
              </a:cxn>
              <a:cxn ang="0">
                <a:pos x="connsiteX23614" y="connsiteY23614"/>
              </a:cxn>
              <a:cxn ang="0">
                <a:pos x="connsiteX23615" y="connsiteY23615"/>
              </a:cxn>
              <a:cxn ang="0">
                <a:pos x="connsiteX23616" y="connsiteY23616"/>
              </a:cxn>
              <a:cxn ang="0">
                <a:pos x="connsiteX23617" y="connsiteY23617"/>
              </a:cxn>
              <a:cxn ang="0">
                <a:pos x="connsiteX23618" y="connsiteY23618"/>
              </a:cxn>
              <a:cxn ang="0">
                <a:pos x="connsiteX23619" y="connsiteY23619"/>
              </a:cxn>
              <a:cxn ang="0">
                <a:pos x="connsiteX23620" y="connsiteY23620"/>
              </a:cxn>
              <a:cxn ang="0">
                <a:pos x="connsiteX23621" y="connsiteY23621"/>
              </a:cxn>
              <a:cxn ang="0">
                <a:pos x="connsiteX23622" y="connsiteY23622"/>
              </a:cxn>
              <a:cxn ang="0">
                <a:pos x="connsiteX23623" y="connsiteY23623"/>
              </a:cxn>
              <a:cxn ang="0">
                <a:pos x="connsiteX23624" y="connsiteY23624"/>
              </a:cxn>
              <a:cxn ang="0">
                <a:pos x="connsiteX23625" y="connsiteY23625"/>
              </a:cxn>
              <a:cxn ang="0">
                <a:pos x="connsiteX23626" y="connsiteY23626"/>
              </a:cxn>
              <a:cxn ang="0">
                <a:pos x="connsiteX23627" y="connsiteY23627"/>
              </a:cxn>
              <a:cxn ang="0">
                <a:pos x="connsiteX23628" y="connsiteY23628"/>
              </a:cxn>
              <a:cxn ang="0">
                <a:pos x="connsiteX23629" y="connsiteY23629"/>
              </a:cxn>
              <a:cxn ang="0">
                <a:pos x="connsiteX23630" y="connsiteY23630"/>
              </a:cxn>
              <a:cxn ang="0">
                <a:pos x="connsiteX23631" y="connsiteY23631"/>
              </a:cxn>
              <a:cxn ang="0">
                <a:pos x="connsiteX23632" y="connsiteY23632"/>
              </a:cxn>
              <a:cxn ang="0">
                <a:pos x="connsiteX23633" y="connsiteY23633"/>
              </a:cxn>
              <a:cxn ang="0">
                <a:pos x="connsiteX23634" y="connsiteY23634"/>
              </a:cxn>
              <a:cxn ang="0">
                <a:pos x="connsiteX23635" y="connsiteY23635"/>
              </a:cxn>
              <a:cxn ang="0">
                <a:pos x="connsiteX23636" y="connsiteY23636"/>
              </a:cxn>
              <a:cxn ang="0">
                <a:pos x="connsiteX23637" y="connsiteY23637"/>
              </a:cxn>
              <a:cxn ang="0">
                <a:pos x="connsiteX23638" y="connsiteY23638"/>
              </a:cxn>
              <a:cxn ang="0">
                <a:pos x="connsiteX23639" y="connsiteY23639"/>
              </a:cxn>
              <a:cxn ang="0">
                <a:pos x="connsiteX23640" y="connsiteY23640"/>
              </a:cxn>
              <a:cxn ang="0">
                <a:pos x="connsiteX23641" y="connsiteY23641"/>
              </a:cxn>
              <a:cxn ang="0">
                <a:pos x="connsiteX23642" y="connsiteY23642"/>
              </a:cxn>
              <a:cxn ang="0">
                <a:pos x="connsiteX23643" y="connsiteY23643"/>
              </a:cxn>
              <a:cxn ang="0">
                <a:pos x="connsiteX23644" y="connsiteY23644"/>
              </a:cxn>
              <a:cxn ang="0">
                <a:pos x="connsiteX23645" y="connsiteY23645"/>
              </a:cxn>
              <a:cxn ang="0">
                <a:pos x="connsiteX23646" y="connsiteY23646"/>
              </a:cxn>
              <a:cxn ang="0">
                <a:pos x="connsiteX23647" y="connsiteY23647"/>
              </a:cxn>
              <a:cxn ang="0">
                <a:pos x="connsiteX23648" y="connsiteY23648"/>
              </a:cxn>
              <a:cxn ang="0">
                <a:pos x="connsiteX23649" y="connsiteY23649"/>
              </a:cxn>
              <a:cxn ang="0">
                <a:pos x="connsiteX23650" y="connsiteY23650"/>
              </a:cxn>
              <a:cxn ang="0">
                <a:pos x="connsiteX23651" y="connsiteY23651"/>
              </a:cxn>
              <a:cxn ang="0">
                <a:pos x="connsiteX23652" y="connsiteY23652"/>
              </a:cxn>
              <a:cxn ang="0">
                <a:pos x="connsiteX23653" y="connsiteY23653"/>
              </a:cxn>
              <a:cxn ang="0">
                <a:pos x="connsiteX23654" y="connsiteY23654"/>
              </a:cxn>
              <a:cxn ang="0">
                <a:pos x="connsiteX23655" y="connsiteY23655"/>
              </a:cxn>
              <a:cxn ang="0">
                <a:pos x="connsiteX23656" y="connsiteY23656"/>
              </a:cxn>
              <a:cxn ang="0">
                <a:pos x="connsiteX23657" y="connsiteY23657"/>
              </a:cxn>
              <a:cxn ang="0">
                <a:pos x="connsiteX23658" y="connsiteY23658"/>
              </a:cxn>
              <a:cxn ang="0">
                <a:pos x="connsiteX23659" y="connsiteY23659"/>
              </a:cxn>
              <a:cxn ang="0">
                <a:pos x="connsiteX23660" y="connsiteY23660"/>
              </a:cxn>
              <a:cxn ang="0">
                <a:pos x="connsiteX23661" y="connsiteY23661"/>
              </a:cxn>
              <a:cxn ang="0">
                <a:pos x="connsiteX23662" y="connsiteY23662"/>
              </a:cxn>
              <a:cxn ang="0">
                <a:pos x="connsiteX23663" y="connsiteY23663"/>
              </a:cxn>
              <a:cxn ang="0">
                <a:pos x="connsiteX23664" y="connsiteY23664"/>
              </a:cxn>
              <a:cxn ang="0">
                <a:pos x="connsiteX23665" y="connsiteY23665"/>
              </a:cxn>
              <a:cxn ang="0">
                <a:pos x="connsiteX23666" y="connsiteY23666"/>
              </a:cxn>
              <a:cxn ang="0">
                <a:pos x="connsiteX23667" y="connsiteY23667"/>
              </a:cxn>
              <a:cxn ang="0">
                <a:pos x="connsiteX23668" y="connsiteY23668"/>
              </a:cxn>
              <a:cxn ang="0">
                <a:pos x="connsiteX23669" y="connsiteY23669"/>
              </a:cxn>
              <a:cxn ang="0">
                <a:pos x="connsiteX23670" y="connsiteY23670"/>
              </a:cxn>
              <a:cxn ang="0">
                <a:pos x="connsiteX23671" y="connsiteY23671"/>
              </a:cxn>
              <a:cxn ang="0">
                <a:pos x="connsiteX23672" y="connsiteY23672"/>
              </a:cxn>
              <a:cxn ang="0">
                <a:pos x="connsiteX23673" y="connsiteY23673"/>
              </a:cxn>
              <a:cxn ang="0">
                <a:pos x="connsiteX23674" y="connsiteY23674"/>
              </a:cxn>
              <a:cxn ang="0">
                <a:pos x="connsiteX23675" y="connsiteY23675"/>
              </a:cxn>
              <a:cxn ang="0">
                <a:pos x="connsiteX23676" y="connsiteY23676"/>
              </a:cxn>
              <a:cxn ang="0">
                <a:pos x="connsiteX23677" y="connsiteY23677"/>
              </a:cxn>
              <a:cxn ang="0">
                <a:pos x="connsiteX23678" y="connsiteY23678"/>
              </a:cxn>
              <a:cxn ang="0">
                <a:pos x="connsiteX23679" y="connsiteY23679"/>
              </a:cxn>
              <a:cxn ang="0">
                <a:pos x="connsiteX23680" y="connsiteY23680"/>
              </a:cxn>
              <a:cxn ang="0">
                <a:pos x="connsiteX23681" y="connsiteY23681"/>
              </a:cxn>
              <a:cxn ang="0">
                <a:pos x="connsiteX23682" y="connsiteY23682"/>
              </a:cxn>
              <a:cxn ang="0">
                <a:pos x="connsiteX23683" y="connsiteY23683"/>
              </a:cxn>
              <a:cxn ang="0">
                <a:pos x="connsiteX23684" y="connsiteY23684"/>
              </a:cxn>
              <a:cxn ang="0">
                <a:pos x="connsiteX23685" y="connsiteY23685"/>
              </a:cxn>
              <a:cxn ang="0">
                <a:pos x="connsiteX23686" y="connsiteY23686"/>
              </a:cxn>
              <a:cxn ang="0">
                <a:pos x="connsiteX23687" y="connsiteY23687"/>
              </a:cxn>
              <a:cxn ang="0">
                <a:pos x="connsiteX23688" y="connsiteY23688"/>
              </a:cxn>
              <a:cxn ang="0">
                <a:pos x="connsiteX23689" y="connsiteY23689"/>
              </a:cxn>
              <a:cxn ang="0">
                <a:pos x="connsiteX23690" y="connsiteY23690"/>
              </a:cxn>
              <a:cxn ang="0">
                <a:pos x="connsiteX23691" y="connsiteY23691"/>
              </a:cxn>
              <a:cxn ang="0">
                <a:pos x="connsiteX23692" y="connsiteY23692"/>
              </a:cxn>
              <a:cxn ang="0">
                <a:pos x="connsiteX23693" y="connsiteY23693"/>
              </a:cxn>
              <a:cxn ang="0">
                <a:pos x="connsiteX23694" y="connsiteY23694"/>
              </a:cxn>
              <a:cxn ang="0">
                <a:pos x="connsiteX23695" y="connsiteY23695"/>
              </a:cxn>
              <a:cxn ang="0">
                <a:pos x="connsiteX23696" y="connsiteY23696"/>
              </a:cxn>
              <a:cxn ang="0">
                <a:pos x="connsiteX23697" y="connsiteY23697"/>
              </a:cxn>
              <a:cxn ang="0">
                <a:pos x="connsiteX23698" y="connsiteY23698"/>
              </a:cxn>
              <a:cxn ang="0">
                <a:pos x="connsiteX23699" y="connsiteY23699"/>
              </a:cxn>
              <a:cxn ang="0">
                <a:pos x="connsiteX23700" y="connsiteY23700"/>
              </a:cxn>
              <a:cxn ang="0">
                <a:pos x="connsiteX23701" y="connsiteY23701"/>
              </a:cxn>
              <a:cxn ang="0">
                <a:pos x="connsiteX23702" y="connsiteY23702"/>
              </a:cxn>
              <a:cxn ang="0">
                <a:pos x="connsiteX23703" y="connsiteY23703"/>
              </a:cxn>
              <a:cxn ang="0">
                <a:pos x="connsiteX23704" y="connsiteY23704"/>
              </a:cxn>
              <a:cxn ang="0">
                <a:pos x="connsiteX23705" y="connsiteY23705"/>
              </a:cxn>
              <a:cxn ang="0">
                <a:pos x="connsiteX23706" y="connsiteY23706"/>
              </a:cxn>
              <a:cxn ang="0">
                <a:pos x="connsiteX23707" y="connsiteY23707"/>
              </a:cxn>
              <a:cxn ang="0">
                <a:pos x="connsiteX23708" y="connsiteY23708"/>
              </a:cxn>
              <a:cxn ang="0">
                <a:pos x="connsiteX23709" y="connsiteY23709"/>
              </a:cxn>
              <a:cxn ang="0">
                <a:pos x="connsiteX23710" y="connsiteY23710"/>
              </a:cxn>
              <a:cxn ang="0">
                <a:pos x="connsiteX23711" y="connsiteY23711"/>
              </a:cxn>
              <a:cxn ang="0">
                <a:pos x="connsiteX23712" y="connsiteY23712"/>
              </a:cxn>
              <a:cxn ang="0">
                <a:pos x="connsiteX23713" y="connsiteY23713"/>
              </a:cxn>
              <a:cxn ang="0">
                <a:pos x="connsiteX23714" y="connsiteY23714"/>
              </a:cxn>
              <a:cxn ang="0">
                <a:pos x="connsiteX23715" y="connsiteY23715"/>
              </a:cxn>
              <a:cxn ang="0">
                <a:pos x="connsiteX23716" y="connsiteY23716"/>
              </a:cxn>
              <a:cxn ang="0">
                <a:pos x="connsiteX23717" y="connsiteY23717"/>
              </a:cxn>
              <a:cxn ang="0">
                <a:pos x="connsiteX23718" y="connsiteY23718"/>
              </a:cxn>
              <a:cxn ang="0">
                <a:pos x="connsiteX23719" y="connsiteY23719"/>
              </a:cxn>
              <a:cxn ang="0">
                <a:pos x="connsiteX23720" y="connsiteY23720"/>
              </a:cxn>
              <a:cxn ang="0">
                <a:pos x="connsiteX23721" y="connsiteY23721"/>
              </a:cxn>
              <a:cxn ang="0">
                <a:pos x="connsiteX23722" y="connsiteY23722"/>
              </a:cxn>
              <a:cxn ang="0">
                <a:pos x="connsiteX23723" y="connsiteY23723"/>
              </a:cxn>
              <a:cxn ang="0">
                <a:pos x="connsiteX23724" y="connsiteY23724"/>
              </a:cxn>
              <a:cxn ang="0">
                <a:pos x="connsiteX23725" y="connsiteY23725"/>
              </a:cxn>
              <a:cxn ang="0">
                <a:pos x="connsiteX23726" y="connsiteY23726"/>
              </a:cxn>
              <a:cxn ang="0">
                <a:pos x="connsiteX23727" y="connsiteY23727"/>
              </a:cxn>
              <a:cxn ang="0">
                <a:pos x="connsiteX23728" y="connsiteY23728"/>
              </a:cxn>
              <a:cxn ang="0">
                <a:pos x="connsiteX23729" y="connsiteY23729"/>
              </a:cxn>
              <a:cxn ang="0">
                <a:pos x="connsiteX23730" y="connsiteY23730"/>
              </a:cxn>
              <a:cxn ang="0">
                <a:pos x="connsiteX23731" y="connsiteY23731"/>
              </a:cxn>
              <a:cxn ang="0">
                <a:pos x="connsiteX23732" y="connsiteY23732"/>
              </a:cxn>
              <a:cxn ang="0">
                <a:pos x="connsiteX23733" y="connsiteY23733"/>
              </a:cxn>
              <a:cxn ang="0">
                <a:pos x="connsiteX23734" y="connsiteY23734"/>
              </a:cxn>
              <a:cxn ang="0">
                <a:pos x="connsiteX23735" y="connsiteY23735"/>
              </a:cxn>
              <a:cxn ang="0">
                <a:pos x="connsiteX23736" y="connsiteY23736"/>
              </a:cxn>
              <a:cxn ang="0">
                <a:pos x="connsiteX23737" y="connsiteY23737"/>
              </a:cxn>
              <a:cxn ang="0">
                <a:pos x="connsiteX23738" y="connsiteY23738"/>
              </a:cxn>
              <a:cxn ang="0">
                <a:pos x="connsiteX23739" y="connsiteY23739"/>
              </a:cxn>
              <a:cxn ang="0">
                <a:pos x="connsiteX23740" y="connsiteY23740"/>
              </a:cxn>
              <a:cxn ang="0">
                <a:pos x="connsiteX23741" y="connsiteY23741"/>
              </a:cxn>
              <a:cxn ang="0">
                <a:pos x="connsiteX23742" y="connsiteY23742"/>
              </a:cxn>
              <a:cxn ang="0">
                <a:pos x="connsiteX23743" y="connsiteY23743"/>
              </a:cxn>
              <a:cxn ang="0">
                <a:pos x="connsiteX23744" y="connsiteY23744"/>
              </a:cxn>
              <a:cxn ang="0">
                <a:pos x="connsiteX23745" y="connsiteY23745"/>
              </a:cxn>
              <a:cxn ang="0">
                <a:pos x="connsiteX23746" y="connsiteY23746"/>
              </a:cxn>
              <a:cxn ang="0">
                <a:pos x="connsiteX23747" y="connsiteY23747"/>
              </a:cxn>
              <a:cxn ang="0">
                <a:pos x="connsiteX23748" y="connsiteY23748"/>
              </a:cxn>
              <a:cxn ang="0">
                <a:pos x="connsiteX23749" y="connsiteY23749"/>
              </a:cxn>
              <a:cxn ang="0">
                <a:pos x="connsiteX23750" y="connsiteY23750"/>
              </a:cxn>
              <a:cxn ang="0">
                <a:pos x="connsiteX23751" y="connsiteY23751"/>
              </a:cxn>
              <a:cxn ang="0">
                <a:pos x="connsiteX23752" y="connsiteY23752"/>
              </a:cxn>
              <a:cxn ang="0">
                <a:pos x="connsiteX23753" y="connsiteY23753"/>
              </a:cxn>
              <a:cxn ang="0">
                <a:pos x="connsiteX23754" y="connsiteY23754"/>
              </a:cxn>
              <a:cxn ang="0">
                <a:pos x="connsiteX23755" y="connsiteY23755"/>
              </a:cxn>
              <a:cxn ang="0">
                <a:pos x="connsiteX23756" y="connsiteY23756"/>
              </a:cxn>
              <a:cxn ang="0">
                <a:pos x="connsiteX23757" y="connsiteY23757"/>
              </a:cxn>
              <a:cxn ang="0">
                <a:pos x="connsiteX23758" y="connsiteY23758"/>
              </a:cxn>
              <a:cxn ang="0">
                <a:pos x="connsiteX23759" y="connsiteY23759"/>
              </a:cxn>
              <a:cxn ang="0">
                <a:pos x="connsiteX23760" y="connsiteY23760"/>
              </a:cxn>
              <a:cxn ang="0">
                <a:pos x="connsiteX23761" y="connsiteY23761"/>
              </a:cxn>
              <a:cxn ang="0">
                <a:pos x="connsiteX23762" y="connsiteY23762"/>
              </a:cxn>
              <a:cxn ang="0">
                <a:pos x="connsiteX23763" y="connsiteY23763"/>
              </a:cxn>
              <a:cxn ang="0">
                <a:pos x="connsiteX23764" y="connsiteY23764"/>
              </a:cxn>
              <a:cxn ang="0">
                <a:pos x="connsiteX23765" y="connsiteY23765"/>
              </a:cxn>
              <a:cxn ang="0">
                <a:pos x="connsiteX23766" y="connsiteY23766"/>
              </a:cxn>
              <a:cxn ang="0">
                <a:pos x="connsiteX23767" y="connsiteY23767"/>
              </a:cxn>
              <a:cxn ang="0">
                <a:pos x="connsiteX23768" y="connsiteY23768"/>
              </a:cxn>
              <a:cxn ang="0">
                <a:pos x="connsiteX23769" y="connsiteY23769"/>
              </a:cxn>
              <a:cxn ang="0">
                <a:pos x="connsiteX23770" y="connsiteY23770"/>
              </a:cxn>
              <a:cxn ang="0">
                <a:pos x="connsiteX23771" y="connsiteY23771"/>
              </a:cxn>
              <a:cxn ang="0">
                <a:pos x="connsiteX23772" y="connsiteY23772"/>
              </a:cxn>
              <a:cxn ang="0">
                <a:pos x="connsiteX23773" y="connsiteY23773"/>
              </a:cxn>
              <a:cxn ang="0">
                <a:pos x="connsiteX23774" y="connsiteY23774"/>
              </a:cxn>
              <a:cxn ang="0">
                <a:pos x="connsiteX23775" y="connsiteY23775"/>
              </a:cxn>
              <a:cxn ang="0">
                <a:pos x="connsiteX23776" y="connsiteY23776"/>
              </a:cxn>
              <a:cxn ang="0">
                <a:pos x="connsiteX23777" y="connsiteY23777"/>
              </a:cxn>
              <a:cxn ang="0">
                <a:pos x="connsiteX23778" y="connsiteY23778"/>
              </a:cxn>
              <a:cxn ang="0">
                <a:pos x="connsiteX23779" y="connsiteY23779"/>
              </a:cxn>
              <a:cxn ang="0">
                <a:pos x="connsiteX23780" y="connsiteY23780"/>
              </a:cxn>
              <a:cxn ang="0">
                <a:pos x="connsiteX23781" y="connsiteY23781"/>
              </a:cxn>
              <a:cxn ang="0">
                <a:pos x="connsiteX23782" y="connsiteY23782"/>
              </a:cxn>
              <a:cxn ang="0">
                <a:pos x="connsiteX23783" y="connsiteY23783"/>
              </a:cxn>
              <a:cxn ang="0">
                <a:pos x="connsiteX23784" y="connsiteY23784"/>
              </a:cxn>
              <a:cxn ang="0">
                <a:pos x="connsiteX23785" y="connsiteY23785"/>
              </a:cxn>
              <a:cxn ang="0">
                <a:pos x="connsiteX23786" y="connsiteY23786"/>
              </a:cxn>
              <a:cxn ang="0">
                <a:pos x="connsiteX23787" y="connsiteY23787"/>
              </a:cxn>
              <a:cxn ang="0">
                <a:pos x="connsiteX23788" y="connsiteY23788"/>
              </a:cxn>
              <a:cxn ang="0">
                <a:pos x="connsiteX23789" y="connsiteY23789"/>
              </a:cxn>
              <a:cxn ang="0">
                <a:pos x="connsiteX23790" y="connsiteY23790"/>
              </a:cxn>
              <a:cxn ang="0">
                <a:pos x="connsiteX23791" y="connsiteY23791"/>
              </a:cxn>
              <a:cxn ang="0">
                <a:pos x="connsiteX23792" y="connsiteY23792"/>
              </a:cxn>
              <a:cxn ang="0">
                <a:pos x="connsiteX23793" y="connsiteY23793"/>
              </a:cxn>
              <a:cxn ang="0">
                <a:pos x="connsiteX23794" y="connsiteY23794"/>
              </a:cxn>
              <a:cxn ang="0">
                <a:pos x="connsiteX23795" y="connsiteY23795"/>
              </a:cxn>
              <a:cxn ang="0">
                <a:pos x="connsiteX23796" y="connsiteY23796"/>
              </a:cxn>
              <a:cxn ang="0">
                <a:pos x="connsiteX23797" y="connsiteY23797"/>
              </a:cxn>
              <a:cxn ang="0">
                <a:pos x="connsiteX23798" y="connsiteY23798"/>
              </a:cxn>
              <a:cxn ang="0">
                <a:pos x="connsiteX23799" y="connsiteY23799"/>
              </a:cxn>
              <a:cxn ang="0">
                <a:pos x="connsiteX23800" y="connsiteY23800"/>
              </a:cxn>
              <a:cxn ang="0">
                <a:pos x="connsiteX23801" y="connsiteY23801"/>
              </a:cxn>
              <a:cxn ang="0">
                <a:pos x="connsiteX23802" y="connsiteY23802"/>
              </a:cxn>
              <a:cxn ang="0">
                <a:pos x="connsiteX23803" y="connsiteY23803"/>
              </a:cxn>
              <a:cxn ang="0">
                <a:pos x="connsiteX23804" y="connsiteY23804"/>
              </a:cxn>
              <a:cxn ang="0">
                <a:pos x="connsiteX23805" y="connsiteY23805"/>
              </a:cxn>
              <a:cxn ang="0">
                <a:pos x="connsiteX23806" y="connsiteY23806"/>
              </a:cxn>
              <a:cxn ang="0">
                <a:pos x="connsiteX23807" y="connsiteY23807"/>
              </a:cxn>
              <a:cxn ang="0">
                <a:pos x="connsiteX23808" y="connsiteY23808"/>
              </a:cxn>
              <a:cxn ang="0">
                <a:pos x="connsiteX23809" y="connsiteY23809"/>
              </a:cxn>
              <a:cxn ang="0">
                <a:pos x="connsiteX23810" y="connsiteY23810"/>
              </a:cxn>
              <a:cxn ang="0">
                <a:pos x="connsiteX23811" y="connsiteY23811"/>
              </a:cxn>
              <a:cxn ang="0">
                <a:pos x="connsiteX23812" y="connsiteY23812"/>
              </a:cxn>
              <a:cxn ang="0">
                <a:pos x="connsiteX23813" y="connsiteY23813"/>
              </a:cxn>
              <a:cxn ang="0">
                <a:pos x="connsiteX23814" y="connsiteY23814"/>
              </a:cxn>
              <a:cxn ang="0">
                <a:pos x="connsiteX23815" y="connsiteY23815"/>
              </a:cxn>
              <a:cxn ang="0">
                <a:pos x="connsiteX23816" y="connsiteY23816"/>
              </a:cxn>
              <a:cxn ang="0">
                <a:pos x="connsiteX23817" y="connsiteY23817"/>
              </a:cxn>
              <a:cxn ang="0">
                <a:pos x="connsiteX23818" y="connsiteY23818"/>
              </a:cxn>
              <a:cxn ang="0">
                <a:pos x="connsiteX23819" y="connsiteY23819"/>
              </a:cxn>
              <a:cxn ang="0">
                <a:pos x="connsiteX23820" y="connsiteY23820"/>
              </a:cxn>
              <a:cxn ang="0">
                <a:pos x="connsiteX23821" y="connsiteY23821"/>
              </a:cxn>
              <a:cxn ang="0">
                <a:pos x="connsiteX23822" y="connsiteY23822"/>
              </a:cxn>
              <a:cxn ang="0">
                <a:pos x="connsiteX23823" y="connsiteY23823"/>
              </a:cxn>
              <a:cxn ang="0">
                <a:pos x="connsiteX23824" y="connsiteY23824"/>
              </a:cxn>
              <a:cxn ang="0">
                <a:pos x="connsiteX23825" y="connsiteY23825"/>
              </a:cxn>
              <a:cxn ang="0">
                <a:pos x="connsiteX23826" y="connsiteY23826"/>
              </a:cxn>
              <a:cxn ang="0">
                <a:pos x="connsiteX23827" y="connsiteY23827"/>
              </a:cxn>
              <a:cxn ang="0">
                <a:pos x="connsiteX23828" y="connsiteY23828"/>
              </a:cxn>
              <a:cxn ang="0">
                <a:pos x="connsiteX23829" y="connsiteY23829"/>
              </a:cxn>
              <a:cxn ang="0">
                <a:pos x="connsiteX23830" y="connsiteY23830"/>
              </a:cxn>
              <a:cxn ang="0">
                <a:pos x="connsiteX23831" y="connsiteY23831"/>
              </a:cxn>
              <a:cxn ang="0">
                <a:pos x="connsiteX23832" y="connsiteY23832"/>
              </a:cxn>
              <a:cxn ang="0">
                <a:pos x="connsiteX23833" y="connsiteY23833"/>
              </a:cxn>
              <a:cxn ang="0">
                <a:pos x="connsiteX23834" y="connsiteY23834"/>
              </a:cxn>
              <a:cxn ang="0">
                <a:pos x="connsiteX23835" y="connsiteY23835"/>
              </a:cxn>
              <a:cxn ang="0">
                <a:pos x="connsiteX23836" y="connsiteY23836"/>
              </a:cxn>
              <a:cxn ang="0">
                <a:pos x="connsiteX23837" y="connsiteY23837"/>
              </a:cxn>
              <a:cxn ang="0">
                <a:pos x="connsiteX23838" y="connsiteY23838"/>
              </a:cxn>
              <a:cxn ang="0">
                <a:pos x="connsiteX23839" y="connsiteY23839"/>
              </a:cxn>
              <a:cxn ang="0">
                <a:pos x="connsiteX23840" y="connsiteY23840"/>
              </a:cxn>
              <a:cxn ang="0">
                <a:pos x="connsiteX23841" y="connsiteY23841"/>
              </a:cxn>
              <a:cxn ang="0">
                <a:pos x="connsiteX23842" y="connsiteY23842"/>
              </a:cxn>
              <a:cxn ang="0">
                <a:pos x="connsiteX23843" y="connsiteY23843"/>
              </a:cxn>
              <a:cxn ang="0">
                <a:pos x="connsiteX23844" y="connsiteY23844"/>
              </a:cxn>
              <a:cxn ang="0">
                <a:pos x="connsiteX23845" y="connsiteY23845"/>
              </a:cxn>
              <a:cxn ang="0">
                <a:pos x="connsiteX23846" y="connsiteY23846"/>
              </a:cxn>
              <a:cxn ang="0">
                <a:pos x="connsiteX23847" y="connsiteY23847"/>
              </a:cxn>
              <a:cxn ang="0">
                <a:pos x="connsiteX23848" y="connsiteY23848"/>
              </a:cxn>
              <a:cxn ang="0">
                <a:pos x="connsiteX23849" y="connsiteY23849"/>
              </a:cxn>
              <a:cxn ang="0">
                <a:pos x="connsiteX23850" y="connsiteY23850"/>
              </a:cxn>
              <a:cxn ang="0">
                <a:pos x="connsiteX23851" y="connsiteY23851"/>
              </a:cxn>
              <a:cxn ang="0">
                <a:pos x="connsiteX23852" y="connsiteY23852"/>
              </a:cxn>
              <a:cxn ang="0">
                <a:pos x="connsiteX23853" y="connsiteY23853"/>
              </a:cxn>
              <a:cxn ang="0">
                <a:pos x="connsiteX23854" y="connsiteY23854"/>
              </a:cxn>
              <a:cxn ang="0">
                <a:pos x="connsiteX23855" y="connsiteY23855"/>
              </a:cxn>
              <a:cxn ang="0">
                <a:pos x="connsiteX23856" y="connsiteY23856"/>
              </a:cxn>
              <a:cxn ang="0">
                <a:pos x="connsiteX23857" y="connsiteY23857"/>
              </a:cxn>
              <a:cxn ang="0">
                <a:pos x="connsiteX23858" y="connsiteY23858"/>
              </a:cxn>
              <a:cxn ang="0">
                <a:pos x="connsiteX23859" y="connsiteY23859"/>
              </a:cxn>
              <a:cxn ang="0">
                <a:pos x="connsiteX23860" y="connsiteY23860"/>
              </a:cxn>
              <a:cxn ang="0">
                <a:pos x="connsiteX23861" y="connsiteY23861"/>
              </a:cxn>
              <a:cxn ang="0">
                <a:pos x="connsiteX23862" y="connsiteY23862"/>
              </a:cxn>
              <a:cxn ang="0">
                <a:pos x="connsiteX23863" y="connsiteY23863"/>
              </a:cxn>
              <a:cxn ang="0">
                <a:pos x="connsiteX23864" y="connsiteY23864"/>
              </a:cxn>
              <a:cxn ang="0">
                <a:pos x="connsiteX23865" y="connsiteY23865"/>
              </a:cxn>
              <a:cxn ang="0">
                <a:pos x="connsiteX23866" y="connsiteY23866"/>
              </a:cxn>
              <a:cxn ang="0">
                <a:pos x="connsiteX23867" y="connsiteY23867"/>
              </a:cxn>
              <a:cxn ang="0">
                <a:pos x="connsiteX23868" y="connsiteY23868"/>
              </a:cxn>
              <a:cxn ang="0">
                <a:pos x="connsiteX23869" y="connsiteY23869"/>
              </a:cxn>
              <a:cxn ang="0">
                <a:pos x="connsiteX23870" y="connsiteY23870"/>
              </a:cxn>
              <a:cxn ang="0">
                <a:pos x="connsiteX23871" y="connsiteY23871"/>
              </a:cxn>
              <a:cxn ang="0">
                <a:pos x="connsiteX23872" y="connsiteY23872"/>
              </a:cxn>
              <a:cxn ang="0">
                <a:pos x="connsiteX23873" y="connsiteY23873"/>
              </a:cxn>
              <a:cxn ang="0">
                <a:pos x="connsiteX23874" y="connsiteY23874"/>
              </a:cxn>
              <a:cxn ang="0">
                <a:pos x="connsiteX23875" y="connsiteY23875"/>
              </a:cxn>
              <a:cxn ang="0">
                <a:pos x="connsiteX23876" y="connsiteY23876"/>
              </a:cxn>
              <a:cxn ang="0">
                <a:pos x="connsiteX23877" y="connsiteY23877"/>
              </a:cxn>
              <a:cxn ang="0">
                <a:pos x="connsiteX23878" y="connsiteY23878"/>
              </a:cxn>
              <a:cxn ang="0">
                <a:pos x="connsiteX23879" y="connsiteY23879"/>
              </a:cxn>
              <a:cxn ang="0">
                <a:pos x="connsiteX23880" y="connsiteY23880"/>
              </a:cxn>
              <a:cxn ang="0">
                <a:pos x="connsiteX23881" y="connsiteY23881"/>
              </a:cxn>
              <a:cxn ang="0">
                <a:pos x="connsiteX23882" y="connsiteY23882"/>
              </a:cxn>
              <a:cxn ang="0">
                <a:pos x="connsiteX23883" y="connsiteY23883"/>
              </a:cxn>
              <a:cxn ang="0">
                <a:pos x="connsiteX23884" y="connsiteY23884"/>
              </a:cxn>
              <a:cxn ang="0">
                <a:pos x="connsiteX23885" y="connsiteY23885"/>
              </a:cxn>
              <a:cxn ang="0">
                <a:pos x="connsiteX23886" y="connsiteY23886"/>
              </a:cxn>
              <a:cxn ang="0">
                <a:pos x="connsiteX23887" y="connsiteY23887"/>
              </a:cxn>
              <a:cxn ang="0">
                <a:pos x="connsiteX23888" y="connsiteY23888"/>
              </a:cxn>
              <a:cxn ang="0">
                <a:pos x="connsiteX23889" y="connsiteY23889"/>
              </a:cxn>
              <a:cxn ang="0">
                <a:pos x="connsiteX23890" y="connsiteY23890"/>
              </a:cxn>
              <a:cxn ang="0">
                <a:pos x="connsiteX23891" y="connsiteY23891"/>
              </a:cxn>
              <a:cxn ang="0">
                <a:pos x="connsiteX23892" y="connsiteY23892"/>
              </a:cxn>
              <a:cxn ang="0">
                <a:pos x="connsiteX23893" y="connsiteY23893"/>
              </a:cxn>
              <a:cxn ang="0">
                <a:pos x="connsiteX23894" y="connsiteY23894"/>
              </a:cxn>
              <a:cxn ang="0">
                <a:pos x="connsiteX23895" y="connsiteY23895"/>
              </a:cxn>
              <a:cxn ang="0">
                <a:pos x="connsiteX23896" y="connsiteY23896"/>
              </a:cxn>
              <a:cxn ang="0">
                <a:pos x="connsiteX23897" y="connsiteY23897"/>
              </a:cxn>
              <a:cxn ang="0">
                <a:pos x="connsiteX23898" y="connsiteY23898"/>
              </a:cxn>
              <a:cxn ang="0">
                <a:pos x="connsiteX23899" y="connsiteY23899"/>
              </a:cxn>
              <a:cxn ang="0">
                <a:pos x="connsiteX23900" y="connsiteY23900"/>
              </a:cxn>
              <a:cxn ang="0">
                <a:pos x="connsiteX23901" y="connsiteY23901"/>
              </a:cxn>
              <a:cxn ang="0">
                <a:pos x="connsiteX23902" y="connsiteY23902"/>
              </a:cxn>
              <a:cxn ang="0">
                <a:pos x="connsiteX23903" y="connsiteY23903"/>
              </a:cxn>
              <a:cxn ang="0">
                <a:pos x="connsiteX23904" y="connsiteY23904"/>
              </a:cxn>
              <a:cxn ang="0">
                <a:pos x="connsiteX23905" y="connsiteY23905"/>
              </a:cxn>
              <a:cxn ang="0">
                <a:pos x="connsiteX23906" y="connsiteY23906"/>
              </a:cxn>
              <a:cxn ang="0">
                <a:pos x="connsiteX23907" y="connsiteY23907"/>
              </a:cxn>
              <a:cxn ang="0">
                <a:pos x="connsiteX23908" y="connsiteY23908"/>
              </a:cxn>
              <a:cxn ang="0">
                <a:pos x="connsiteX23909" y="connsiteY23909"/>
              </a:cxn>
              <a:cxn ang="0">
                <a:pos x="connsiteX23910" y="connsiteY23910"/>
              </a:cxn>
              <a:cxn ang="0">
                <a:pos x="connsiteX23911" y="connsiteY23911"/>
              </a:cxn>
              <a:cxn ang="0">
                <a:pos x="connsiteX23912" y="connsiteY23912"/>
              </a:cxn>
              <a:cxn ang="0">
                <a:pos x="connsiteX23913" y="connsiteY23913"/>
              </a:cxn>
              <a:cxn ang="0">
                <a:pos x="connsiteX23914" y="connsiteY23914"/>
              </a:cxn>
              <a:cxn ang="0">
                <a:pos x="connsiteX23915" y="connsiteY23915"/>
              </a:cxn>
              <a:cxn ang="0">
                <a:pos x="connsiteX23916" y="connsiteY23916"/>
              </a:cxn>
              <a:cxn ang="0">
                <a:pos x="connsiteX23917" y="connsiteY23917"/>
              </a:cxn>
              <a:cxn ang="0">
                <a:pos x="connsiteX23918" y="connsiteY23918"/>
              </a:cxn>
              <a:cxn ang="0">
                <a:pos x="connsiteX23919" y="connsiteY23919"/>
              </a:cxn>
              <a:cxn ang="0">
                <a:pos x="connsiteX23920" y="connsiteY23920"/>
              </a:cxn>
              <a:cxn ang="0">
                <a:pos x="connsiteX23921" y="connsiteY23921"/>
              </a:cxn>
              <a:cxn ang="0">
                <a:pos x="connsiteX23922" y="connsiteY23922"/>
              </a:cxn>
              <a:cxn ang="0">
                <a:pos x="connsiteX23923" y="connsiteY23923"/>
              </a:cxn>
              <a:cxn ang="0">
                <a:pos x="connsiteX23924" y="connsiteY23924"/>
              </a:cxn>
              <a:cxn ang="0">
                <a:pos x="connsiteX23925" y="connsiteY23925"/>
              </a:cxn>
              <a:cxn ang="0">
                <a:pos x="connsiteX23926" y="connsiteY23926"/>
              </a:cxn>
              <a:cxn ang="0">
                <a:pos x="connsiteX23927" y="connsiteY23927"/>
              </a:cxn>
              <a:cxn ang="0">
                <a:pos x="connsiteX23928" y="connsiteY23928"/>
              </a:cxn>
              <a:cxn ang="0">
                <a:pos x="connsiteX23929" y="connsiteY23929"/>
              </a:cxn>
              <a:cxn ang="0">
                <a:pos x="connsiteX23930" y="connsiteY23930"/>
              </a:cxn>
              <a:cxn ang="0">
                <a:pos x="connsiteX23931" y="connsiteY23931"/>
              </a:cxn>
              <a:cxn ang="0">
                <a:pos x="connsiteX23932" y="connsiteY23932"/>
              </a:cxn>
              <a:cxn ang="0">
                <a:pos x="connsiteX23933" y="connsiteY23933"/>
              </a:cxn>
              <a:cxn ang="0">
                <a:pos x="connsiteX23934" y="connsiteY23934"/>
              </a:cxn>
              <a:cxn ang="0">
                <a:pos x="connsiteX23935" y="connsiteY23935"/>
              </a:cxn>
              <a:cxn ang="0">
                <a:pos x="connsiteX23936" y="connsiteY23936"/>
              </a:cxn>
              <a:cxn ang="0">
                <a:pos x="connsiteX23937" y="connsiteY23937"/>
              </a:cxn>
              <a:cxn ang="0">
                <a:pos x="connsiteX23938" y="connsiteY23938"/>
              </a:cxn>
              <a:cxn ang="0">
                <a:pos x="connsiteX23939" y="connsiteY23939"/>
              </a:cxn>
              <a:cxn ang="0">
                <a:pos x="connsiteX23940" y="connsiteY23940"/>
              </a:cxn>
              <a:cxn ang="0">
                <a:pos x="connsiteX23941" y="connsiteY23941"/>
              </a:cxn>
              <a:cxn ang="0">
                <a:pos x="connsiteX23942" y="connsiteY23942"/>
              </a:cxn>
              <a:cxn ang="0">
                <a:pos x="connsiteX23943" y="connsiteY23943"/>
              </a:cxn>
              <a:cxn ang="0">
                <a:pos x="connsiteX23944" y="connsiteY23944"/>
              </a:cxn>
              <a:cxn ang="0">
                <a:pos x="connsiteX23945" y="connsiteY23945"/>
              </a:cxn>
              <a:cxn ang="0">
                <a:pos x="connsiteX23946" y="connsiteY23946"/>
              </a:cxn>
              <a:cxn ang="0">
                <a:pos x="connsiteX23947" y="connsiteY23947"/>
              </a:cxn>
              <a:cxn ang="0">
                <a:pos x="connsiteX23948" y="connsiteY23948"/>
              </a:cxn>
              <a:cxn ang="0">
                <a:pos x="connsiteX23949" y="connsiteY23949"/>
              </a:cxn>
              <a:cxn ang="0">
                <a:pos x="connsiteX23950" y="connsiteY23950"/>
              </a:cxn>
              <a:cxn ang="0">
                <a:pos x="connsiteX23951" y="connsiteY23951"/>
              </a:cxn>
              <a:cxn ang="0">
                <a:pos x="connsiteX23952" y="connsiteY23952"/>
              </a:cxn>
              <a:cxn ang="0">
                <a:pos x="connsiteX23953" y="connsiteY23953"/>
              </a:cxn>
              <a:cxn ang="0">
                <a:pos x="connsiteX23954" y="connsiteY23954"/>
              </a:cxn>
              <a:cxn ang="0">
                <a:pos x="connsiteX23955" y="connsiteY23955"/>
              </a:cxn>
              <a:cxn ang="0">
                <a:pos x="connsiteX23956" y="connsiteY23956"/>
              </a:cxn>
              <a:cxn ang="0">
                <a:pos x="connsiteX23957" y="connsiteY23957"/>
              </a:cxn>
              <a:cxn ang="0">
                <a:pos x="connsiteX23958" y="connsiteY23958"/>
              </a:cxn>
              <a:cxn ang="0">
                <a:pos x="connsiteX23959" y="connsiteY23959"/>
              </a:cxn>
              <a:cxn ang="0">
                <a:pos x="connsiteX23960" y="connsiteY23960"/>
              </a:cxn>
              <a:cxn ang="0">
                <a:pos x="connsiteX23961" y="connsiteY23961"/>
              </a:cxn>
              <a:cxn ang="0">
                <a:pos x="connsiteX23962" y="connsiteY23962"/>
              </a:cxn>
              <a:cxn ang="0">
                <a:pos x="connsiteX23963" y="connsiteY23963"/>
              </a:cxn>
              <a:cxn ang="0">
                <a:pos x="connsiteX23964" y="connsiteY23964"/>
              </a:cxn>
              <a:cxn ang="0">
                <a:pos x="connsiteX23965" y="connsiteY23965"/>
              </a:cxn>
              <a:cxn ang="0">
                <a:pos x="connsiteX23966" y="connsiteY23966"/>
              </a:cxn>
              <a:cxn ang="0">
                <a:pos x="connsiteX23967" y="connsiteY23967"/>
              </a:cxn>
              <a:cxn ang="0">
                <a:pos x="connsiteX23968" y="connsiteY23968"/>
              </a:cxn>
              <a:cxn ang="0">
                <a:pos x="connsiteX23969" y="connsiteY23969"/>
              </a:cxn>
              <a:cxn ang="0">
                <a:pos x="connsiteX23970" y="connsiteY23970"/>
              </a:cxn>
              <a:cxn ang="0">
                <a:pos x="connsiteX23971" y="connsiteY23971"/>
              </a:cxn>
              <a:cxn ang="0">
                <a:pos x="connsiteX23972" y="connsiteY23972"/>
              </a:cxn>
              <a:cxn ang="0">
                <a:pos x="connsiteX23973" y="connsiteY23973"/>
              </a:cxn>
              <a:cxn ang="0">
                <a:pos x="connsiteX23974" y="connsiteY23974"/>
              </a:cxn>
              <a:cxn ang="0">
                <a:pos x="connsiteX23975" y="connsiteY23975"/>
              </a:cxn>
              <a:cxn ang="0">
                <a:pos x="connsiteX23976" y="connsiteY23976"/>
              </a:cxn>
              <a:cxn ang="0">
                <a:pos x="connsiteX23977" y="connsiteY23977"/>
              </a:cxn>
              <a:cxn ang="0">
                <a:pos x="connsiteX23978" y="connsiteY23978"/>
              </a:cxn>
              <a:cxn ang="0">
                <a:pos x="connsiteX23979" y="connsiteY23979"/>
              </a:cxn>
              <a:cxn ang="0">
                <a:pos x="connsiteX23980" y="connsiteY23980"/>
              </a:cxn>
              <a:cxn ang="0">
                <a:pos x="connsiteX23981" y="connsiteY23981"/>
              </a:cxn>
              <a:cxn ang="0">
                <a:pos x="connsiteX23982" y="connsiteY23982"/>
              </a:cxn>
              <a:cxn ang="0">
                <a:pos x="connsiteX23983" y="connsiteY23983"/>
              </a:cxn>
              <a:cxn ang="0">
                <a:pos x="connsiteX23984" y="connsiteY23984"/>
              </a:cxn>
              <a:cxn ang="0">
                <a:pos x="connsiteX23985" y="connsiteY23985"/>
              </a:cxn>
              <a:cxn ang="0">
                <a:pos x="connsiteX23986" y="connsiteY23986"/>
              </a:cxn>
              <a:cxn ang="0">
                <a:pos x="connsiteX23987" y="connsiteY23987"/>
              </a:cxn>
              <a:cxn ang="0">
                <a:pos x="connsiteX23988" y="connsiteY23988"/>
              </a:cxn>
              <a:cxn ang="0">
                <a:pos x="connsiteX23989" y="connsiteY23989"/>
              </a:cxn>
              <a:cxn ang="0">
                <a:pos x="connsiteX23990" y="connsiteY23990"/>
              </a:cxn>
              <a:cxn ang="0">
                <a:pos x="connsiteX23991" y="connsiteY23991"/>
              </a:cxn>
              <a:cxn ang="0">
                <a:pos x="connsiteX23992" y="connsiteY23992"/>
              </a:cxn>
              <a:cxn ang="0">
                <a:pos x="connsiteX23993" y="connsiteY23993"/>
              </a:cxn>
              <a:cxn ang="0">
                <a:pos x="connsiteX23994" y="connsiteY23994"/>
              </a:cxn>
              <a:cxn ang="0">
                <a:pos x="connsiteX23995" y="connsiteY23995"/>
              </a:cxn>
              <a:cxn ang="0">
                <a:pos x="connsiteX23996" y="connsiteY23996"/>
              </a:cxn>
              <a:cxn ang="0">
                <a:pos x="connsiteX23997" y="connsiteY23997"/>
              </a:cxn>
              <a:cxn ang="0">
                <a:pos x="connsiteX23998" y="connsiteY23998"/>
              </a:cxn>
              <a:cxn ang="0">
                <a:pos x="connsiteX23999" y="connsiteY23999"/>
              </a:cxn>
              <a:cxn ang="0">
                <a:pos x="connsiteX24000" y="connsiteY24000"/>
              </a:cxn>
              <a:cxn ang="0">
                <a:pos x="connsiteX24001" y="connsiteY24001"/>
              </a:cxn>
              <a:cxn ang="0">
                <a:pos x="connsiteX24002" y="connsiteY24002"/>
              </a:cxn>
              <a:cxn ang="0">
                <a:pos x="connsiteX24003" y="connsiteY24003"/>
              </a:cxn>
              <a:cxn ang="0">
                <a:pos x="connsiteX24004" y="connsiteY24004"/>
              </a:cxn>
              <a:cxn ang="0">
                <a:pos x="connsiteX24005" y="connsiteY24005"/>
              </a:cxn>
              <a:cxn ang="0">
                <a:pos x="connsiteX24006" y="connsiteY24006"/>
              </a:cxn>
              <a:cxn ang="0">
                <a:pos x="connsiteX24007" y="connsiteY24007"/>
              </a:cxn>
              <a:cxn ang="0">
                <a:pos x="connsiteX24008" y="connsiteY24008"/>
              </a:cxn>
              <a:cxn ang="0">
                <a:pos x="connsiteX24009" y="connsiteY24009"/>
              </a:cxn>
              <a:cxn ang="0">
                <a:pos x="connsiteX24010" y="connsiteY24010"/>
              </a:cxn>
              <a:cxn ang="0">
                <a:pos x="connsiteX24011" y="connsiteY24011"/>
              </a:cxn>
              <a:cxn ang="0">
                <a:pos x="connsiteX24012" y="connsiteY24012"/>
              </a:cxn>
              <a:cxn ang="0">
                <a:pos x="connsiteX24013" y="connsiteY24013"/>
              </a:cxn>
              <a:cxn ang="0">
                <a:pos x="connsiteX24014" y="connsiteY24014"/>
              </a:cxn>
              <a:cxn ang="0">
                <a:pos x="connsiteX24015" y="connsiteY24015"/>
              </a:cxn>
              <a:cxn ang="0">
                <a:pos x="connsiteX24016" y="connsiteY24016"/>
              </a:cxn>
              <a:cxn ang="0">
                <a:pos x="connsiteX24017" y="connsiteY24017"/>
              </a:cxn>
              <a:cxn ang="0">
                <a:pos x="connsiteX24018" y="connsiteY24018"/>
              </a:cxn>
              <a:cxn ang="0">
                <a:pos x="connsiteX24019" y="connsiteY24019"/>
              </a:cxn>
              <a:cxn ang="0">
                <a:pos x="connsiteX24020" y="connsiteY24020"/>
              </a:cxn>
              <a:cxn ang="0">
                <a:pos x="connsiteX24021" y="connsiteY24021"/>
              </a:cxn>
              <a:cxn ang="0">
                <a:pos x="connsiteX24022" y="connsiteY24022"/>
              </a:cxn>
              <a:cxn ang="0">
                <a:pos x="connsiteX24023" y="connsiteY24023"/>
              </a:cxn>
              <a:cxn ang="0">
                <a:pos x="connsiteX24024" y="connsiteY24024"/>
              </a:cxn>
              <a:cxn ang="0">
                <a:pos x="connsiteX24025" y="connsiteY24025"/>
              </a:cxn>
              <a:cxn ang="0">
                <a:pos x="connsiteX24026" y="connsiteY24026"/>
              </a:cxn>
              <a:cxn ang="0">
                <a:pos x="connsiteX24027" y="connsiteY24027"/>
              </a:cxn>
              <a:cxn ang="0">
                <a:pos x="connsiteX24028" y="connsiteY24028"/>
              </a:cxn>
              <a:cxn ang="0">
                <a:pos x="connsiteX24029" y="connsiteY24029"/>
              </a:cxn>
              <a:cxn ang="0">
                <a:pos x="connsiteX24030" y="connsiteY24030"/>
              </a:cxn>
              <a:cxn ang="0">
                <a:pos x="connsiteX24031" y="connsiteY24031"/>
              </a:cxn>
              <a:cxn ang="0">
                <a:pos x="connsiteX24032" y="connsiteY24032"/>
              </a:cxn>
              <a:cxn ang="0">
                <a:pos x="connsiteX24033" y="connsiteY24033"/>
              </a:cxn>
              <a:cxn ang="0">
                <a:pos x="connsiteX24034" y="connsiteY24034"/>
              </a:cxn>
              <a:cxn ang="0">
                <a:pos x="connsiteX24035" y="connsiteY24035"/>
              </a:cxn>
              <a:cxn ang="0">
                <a:pos x="connsiteX24036" y="connsiteY24036"/>
              </a:cxn>
              <a:cxn ang="0">
                <a:pos x="connsiteX24037" y="connsiteY24037"/>
              </a:cxn>
              <a:cxn ang="0">
                <a:pos x="connsiteX24038" y="connsiteY24038"/>
              </a:cxn>
              <a:cxn ang="0">
                <a:pos x="connsiteX24039" y="connsiteY24039"/>
              </a:cxn>
              <a:cxn ang="0">
                <a:pos x="connsiteX24040" y="connsiteY24040"/>
              </a:cxn>
              <a:cxn ang="0">
                <a:pos x="connsiteX24041" y="connsiteY24041"/>
              </a:cxn>
              <a:cxn ang="0">
                <a:pos x="connsiteX24042" y="connsiteY24042"/>
              </a:cxn>
              <a:cxn ang="0">
                <a:pos x="connsiteX24043" y="connsiteY24043"/>
              </a:cxn>
              <a:cxn ang="0">
                <a:pos x="connsiteX24044" y="connsiteY24044"/>
              </a:cxn>
              <a:cxn ang="0">
                <a:pos x="connsiteX24045" y="connsiteY24045"/>
              </a:cxn>
              <a:cxn ang="0">
                <a:pos x="connsiteX24046" y="connsiteY24046"/>
              </a:cxn>
              <a:cxn ang="0">
                <a:pos x="connsiteX24047" y="connsiteY24047"/>
              </a:cxn>
              <a:cxn ang="0">
                <a:pos x="connsiteX24048" y="connsiteY24048"/>
              </a:cxn>
              <a:cxn ang="0">
                <a:pos x="connsiteX24049" y="connsiteY24049"/>
              </a:cxn>
              <a:cxn ang="0">
                <a:pos x="connsiteX24050" y="connsiteY24050"/>
              </a:cxn>
              <a:cxn ang="0">
                <a:pos x="connsiteX24051" y="connsiteY24051"/>
              </a:cxn>
              <a:cxn ang="0">
                <a:pos x="connsiteX24052" y="connsiteY24052"/>
              </a:cxn>
              <a:cxn ang="0">
                <a:pos x="connsiteX24053" y="connsiteY24053"/>
              </a:cxn>
              <a:cxn ang="0">
                <a:pos x="connsiteX24054" y="connsiteY24054"/>
              </a:cxn>
              <a:cxn ang="0">
                <a:pos x="connsiteX24055" y="connsiteY24055"/>
              </a:cxn>
              <a:cxn ang="0">
                <a:pos x="connsiteX24056" y="connsiteY24056"/>
              </a:cxn>
              <a:cxn ang="0">
                <a:pos x="connsiteX24057" y="connsiteY24057"/>
              </a:cxn>
              <a:cxn ang="0">
                <a:pos x="connsiteX24058" y="connsiteY24058"/>
              </a:cxn>
              <a:cxn ang="0">
                <a:pos x="connsiteX24059" y="connsiteY24059"/>
              </a:cxn>
              <a:cxn ang="0">
                <a:pos x="connsiteX24060" y="connsiteY24060"/>
              </a:cxn>
              <a:cxn ang="0">
                <a:pos x="connsiteX24061" y="connsiteY24061"/>
              </a:cxn>
              <a:cxn ang="0">
                <a:pos x="connsiteX24062" y="connsiteY24062"/>
              </a:cxn>
              <a:cxn ang="0">
                <a:pos x="connsiteX24063" y="connsiteY24063"/>
              </a:cxn>
              <a:cxn ang="0">
                <a:pos x="connsiteX24064" y="connsiteY24064"/>
              </a:cxn>
              <a:cxn ang="0">
                <a:pos x="connsiteX24065" y="connsiteY24065"/>
              </a:cxn>
              <a:cxn ang="0">
                <a:pos x="connsiteX24066" y="connsiteY24066"/>
              </a:cxn>
              <a:cxn ang="0">
                <a:pos x="connsiteX24067" y="connsiteY24067"/>
              </a:cxn>
              <a:cxn ang="0">
                <a:pos x="connsiteX24068" y="connsiteY24068"/>
              </a:cxn>
              <a:cxn ang="0">
                <a:pos x="connsiteX24069" y="connsiteY24069"/>
              </a:cxn>
              <a:cxn ang="0">
                <a:pos x="connsiteX24070" y="connsiteY24070"/>
              </a:cxn>
              <a:cxn ang="0">
                <a:pos x="connsiteX24071" y="connsiteY24071"/>
              </a:cxn>
              <a:cxn ang="0">
                <a:pos x="connsiteX24072" y="connsiteY24072"/>
              </a:cxn>
              <a:cxn ang="0">
                <a:pos x="connsiteX24073" y="connsiteY24073"/>
              </a:cxn>
              <a:cxn ang="0">
                <a:pos x="connsiteX24074" y="connsiteY24074"/>
              </a:cxn>
              <a:cxn ang="0">
                <a:pos x="connsiteX24075" y="connsiteY24075"/>
              </a:cxn>
              <a:cxn ang="0">
                <a:pos x="connsiteX24076" y="connsiteY24076"/>
              </a:cxn>
              <a:cxn ang="0">
                <a:pos x="connsiteX24077" y="connsiteY24077"/>
              </a:cxn>
              <a:cxn ang="0">
                <a:pos x="connsiteX24078" y="connsiteY24078"/>
              </a:cxn>
              <a:cxn ang="0">
                <a:pos x="connsiteX24079" y="connsiteY24079"/>
              </a:cxn>
              <a:cxn ang="0">
                <a:pos x="connsiteX24080" y="connsiteY24080"/>
              </a:cxn>
              <a:cxn ang="0">
                <a:pos x="connsiteX24081" y="connsiteY24081"/>
              </a:cxn>
              <a:cxn ang="0">
                <a:pos x="connsiteX24082" y="connsiteY24082"/>
              </a:cxn>
              <a:cxn ang="0">
                <a:pos x="connsiteX24083" y="connsiteY24083"/>
              </a:cxn>
              <a:cxn ang="0">
                <a:pos x="connsiteX24084" y="connsiteY24084"/>
              </a:cxn>
              <a:cxn ang="0">
                <a:pos x="connsiteX24085" y="connsiteY24085"/>
              </a:cxn>
              <a:cxn ang="0">
                <a:pos x="connsiteX24086" y="connsiteY24086"/>
              </a:cxn>
              <a:cxn ang="0">
                <a:pos x="connsiteX24087" y="connsiteY24087"/>
              </a:cxn>
              <a:cxn ang="0">
                <a:pos x="connsiteX24088" y="connsiteY24088"/>
              </a:cxn>
              <a:cxn ang="0">
                <a:pos x="connsiteX24089" y="connsiteY24089"/>
              </a:cxn>
              <a:cxn ang="0">
                <a:pos x="connsiteX24090" y="connsiteY24090"/>
              </a:cxn>
              <a:cxn ang="0">
                <a:pos x="connsiteX24091" y="connsiteY24091"/>
              </a:cxn>
              <a:cxn ang="0">
                <a:pos x="connsiteX24092" y="connsiteY24092"/>
              </a:cxn>
              <a:cxn ang="0">
                <a:pos x="connsiteX24093" y="connsiteY24093"/>
              </a:cxn>
              <a:cxn ang="0">
                <a:pos x="connsiteX24094" y="connsiteY24094"/>
              </a:cxn>
              <a:cxn ang="0">
                <a:pos x="connsiteX24095" y="connsiteY24095"/>
              </a:cxn>
              <a:cxn ang="0">
                <a:pos x="connsiteX24096" y="connsiteY24096"/>
              </a:cxn>
              <a:cxn ang="0">
                <a:pos x="connsiteX24097" y="connsiteY24097"/>
              </a:cxn>
              <a:cxn ang="0">
                <a:pos x="connsiteX24098" y="connsiteY24098"/>
              </a:cxn>
              <a:cxn ang="0">
                <a:pos x="connsiteX24099" y="connsiteY24099"/>
              </a:cxn>
              <a:cxn ang="0">
                <a:pos x="connsiteX24100" y="connsiteY24100"/>
              </a:cxn>
              <a:cxn ang="0">
                <a:pos x="connsiteX24101" y="connsiteY24101"/>
              </a:cxn>
              <a:cxn ang="0">
                <a:pos x="connsiteX24102" y="connsiteY24102"/>
              </a:cxn>
              <a:cxn ang="0">
                <a:pos x="connsiteX24103" y="connsiteY24103"/>
              </a:cxn>
              <a:cxn ang="0">
                <a:pos x="connsiteX24104" y="connsiteY24104"/>
              </a:cxn>
              <a:cxn ang="0">
                <a:pos x="connsiteX24105" y="connsiteY24105"/>
              </a:cxn>
              <a:cxn ang="0">
                <a:pos x="connsiteX24106" y="connsiteY24106"/>
              </a:cxn>
              <a:cxn ang="0">
                <a:pos x="connsiteX24107" y="connsiteY24107"/>
              </a:cxn>
              <a:cxn ang="0">
                <a:pos x="connsiteX24108" y="connsiteY24108"/>
              </a:cxn>
              <a:cxn ang="0">
                <a:pos x="connsiteX24109" y="connsiteY24109"/>
              </a:cxn>
              <a:cxn ang="0">
                <a:pos x="connsiteX24110" y="connsiteY24110"/>
              </a:cxn>
              <a:cxn ang="0">
                <a:pos x="connsiteX24111" y="connsiteY24111"/>
              </a:cxn>
              <a:cxn ang="0">
                <a:pos x="connsiteX24112" y="connsiteY24112"/>
              </a:cxn>
              <a:cxn ang="0">
                <a:pos x="connsiteX24113" y="connsiteY24113"/>
              </a:cxn>
              <a:cxn ang="0">
                <a:pos x="connsiteX24114" y="connsiteY24114"/>
              </a:cxn>
              <a:cxn ang="0">
                <a:pos x="connsiteX24115" y="connsiteY24115"/>
              </a:cxn>
              <a:cxn ang="0">
                <a:pos x="connsiteX24116" y="connsiteY24116"/>
              </a:cxn>
              <a:cxn ang="0">
                <a:pos x="connsiteX24117" y="connsiteY24117"/>
              </a:cxn>
              <a:cxn ang="0">
                <a:pos x="connsiteX24118" y="connsiteY24118"/>
              </a:cxn>
              <a:cxn ang="0">
                <a:pos x="connsiteX24119" y="connsiteY24119"/>
              </a:cxn>
              <a:cxn ang="0">
                <a:pos x="connsiteX24120" y="connsiteY24120"/>
              </a:cxn>
              <a:cxn ang="0">
                <a:pos x="connsiteX24121" y="connsiteY24121"/>
              </a:cxn>
              <a:cxn ang="0">
                <a:pos x="connsiteX24122" y="connsiteY24122"/>
              </a:cxn>
              <a:cxn ang="0">
                <a:pos x="connsiteX24123" y="connsiteY24123"/>
              </a:cxn>
              <a:cxn ang="0">
                <a:pos x="connsiteX24124" y="connsiteY24124"/>
              </a:cxn>
              <a:cxn ang="0">
                <a:pos x="connsiteX24125" y="connsiteY24125"/>
              </a:cxn>
              <a:cxn ang="0">
                <a:pos x="connsiteX24126" y="connsiteY24126"/>
              </a:cxn>
              <a:cxn ang="0">
                <a:pos x="connsiteX24127" y="connsiteY24127"/>
              </a:cxn>
              <a:cxn ang="0">
                <a:pos x="connsiteX24128" y="connsiteY24128"/>
              </a:cxn>
              <a:cxn ang="0">
                <a:pos x="connsiteX24129" y="connsiteY24129"/>
              </a:cxn>
              <a:cxn ang="0">
                <a:pos x="connsiteX24130" y="connsiteY24130"/>
              </a:cxn>
              <a:cxn ang="0">
                <a:pos x="connsiteX24131" y="connsiteY24131"/>
              </a:cxn>
              <a:cxn ang="0">
                <a:pos x="connsiteX24132" y="connsiteY24132"/>
              </a:cxn>
              <a:cxn ang="0">
                <a:pos x="connsiteX24133" y="connsiteY24133"/>
              </a:cxn>
              <a:cxn ang="0">
                <a:pos x="connsiteX24134" y="connsiteY24134"/>
              </a:cxn>
              <a:cxn ang="0">
                <a:pos x="connsiteX24135" y="connsiteY24135"/>
              </a:cxn>
              <a:cxn ang="0">
                <a:pos x="connsiteX24136" y="connsiteY24136"/>
              </a:cxn>
              <a:cxn ang="0">
                <a:pos x="connsiteX24137" y="connsiteY24137"/>
              </a:cxn>
              <a:cxn ang="0">
                <a:pos x="connsiteX24138" y="connsiteY24138"/>
              </a:cxn>
              <a:cxn ang="0">
                <a:pos x="connsiteX24139" y="connsiteY24139"/>
              </a:cxn>
              <a:cxn ang="0">
                <a:pos x="connsiteX24140" y="connsiteY24140"/>
              </a:cxn>
              <a:cxn ang="0">
                <a:pos x="connsiteX24141" y="connsiteY24141"/>
              </a:cxn>
              <a:cxn ang="0">
                <a:pos x="connsiteX24142" y="connsiteY24142"/>
              </a:cxn>
              <a:cxn ang="0">
                <a:pos x="connsiteX24143" y="connsiteY24143"/>
              </a:cxn>
              <a:cxn ang="0">
                <a:pos x="connsiteX24144" y="connsiteY24144"/>
              </a:cxn>
              <a:cxn ang="0">
                <a:pos x="connsiteX24145" y="connsiteY24145"/>
              </a:cxn>
              <a:cxn ang="0">
                <a:pos x="connsiteX24146" y="connsiteY24146"/>
              </a:cxn>
              <a:cxn ang="0">
                <a:pos x="connsiteX24147" y="connsiteY24147"/>
              </a:cxn>
              <a:cxn ang="0">
                <a:pos x="connsiteX24148" y="connsiteY24148"/>
              </a:cxn>
              <a:cxn ang="0">
                <a:pos x="connsiteX24149" y="connsiteY24149"/>
              </a:cxn>
              <a:cxn ang="0">
                <a:pos x="connsiteX24150" y="connsiteY24150"/>
              </a:cxn>
              <a:cxn ang="0">
                <a:pos x="connsiteX24151" y="connsiteY24151"/>
              </a:cxn>
              <a:cxn ang="0">
                <a:pos x="connsiteX24152" y="connsiteY24152"/>
              </a:cxn>
              <a:cxn ang="0">
                <a:pos x="connsiteX24153" y="connsiteY24153"/>
              </a:cxn>
              <a:cxn ang="0">
                <a:pos x="connsiteX24154" y="connsiteY24154"/>
              </a:cxn>
              <a:cxn ang="0">
                <a:pos x="connsiteX24155" y="connsiteY24155"/>
              </a:cxn>
              <a:cxn ang="0">
                <a:pos x="connsiteX24156" y="connsiteY24156"/>
              </a:cxn>
              <a:cxn ang="0">
                <a:pos x="connsiteX24157" y="connsiteY24157"/>
              </a:cxn>
              <a:cxn ang="0">
                <a:pos x="connsiteX24158" y="connsiteY24158"/>
              </a:cxn>
              <a:cxn ang="0">
                <a:pos x="connsiteX24159" y="connsiteY24159"/>
              </a:cxn>
              <a:cxn ang="0">
                <a:pos x="connsiteX24160" y="connsiteY24160"/>
              </a:cxn>
              <a:cxn ang="0">
                <a:pos x="connsiteX24161" y="connsiteY24161"/>
              </a:cxn>
              <a:cxn ang="0">
                <a:pos x="connsiteX24162" y="connsiteY24162"/>
              </a:cxn>
              <a:cxn ang="0">
                <a:pos x="connsiteX24163" y="connsiteY24163"/>
              </a:cxn>
              <a:cxn ang="0">
                <a:pos x="connsiteX24164" y="connsiteY24164"/>
              </a:cxn>
              <a:cxn ang="0">
                <a:pos x="connsiteX24165" y="connsiteY24165"/>
              </a:cxn>
              <a:cxn ang="0">
                <a:pos x="connsiteX24166" y="connsiteY24166"/>
              </a:cxn>
              <a:cxn ang="0">
                <a:pos x="connsiteX24167" y="connsiteY24167"/>
              </a:cxn>
              <a:cxn ang="0">
                <a:pos x="connsiteX24168" y="connsiteY24168"/>
              </a:cxn>
              <a:cxn ang="0">
                <a:pos x="connsiteX24169" y="connsiteY24169"/>
              </a:cxn>
              <a:cxn ang="0">
                <a:pos x="connsiteX24170" y="connsiteY24170"/>
              </a:cxn>
              <a:cxn ang="0">
                <a:pos x="connsiteX24171" y="connsiteY24171"/>
              </a:cxn>
              <a:cxn ang="0">
                <a:pos x="connsiteX24172" y="connsiteY24172"/>
              </a:cxn>
              <a:cxn ang="0">
                <a:pos x="connsiteX24173" y="connsiteY24173"/>
              </a:cxn>
              <a:cxn ang="0">
                <a:pos x="connsiteX24174" y="connsiteY24174"/>
              </a:cxn>
              <a:cxn ang="0">
                <a:pos x="connsiteX24175" y="connsiteY24175"/>
              </a:cxn>
              <a:cxn ang="0">
                <a:pos x="connsiteX24176" y="connsiteY24176"/>
              </a:cxn>
              <a:cxn ang="0">
                <a:pos x="connsiteX24177" y="connsiteY24177"/>
              </a:cxn>
              <a:cxn ang="0">
                <a:pos x="connsiteX24178" y="connsiteY24178"/>
              </a:cxn>
              <a:cxn ang="0">
                <a:pos x="connsiteX24179" y="connsiteY24179"/>
              </a:cxn>
              <a:cxn ang="0">
                <a:pos x="connsiteX24180" y="connsiteY24180"/>
              </a:cxn>
              <a:cxn ang="0">
                <a:pos x="connsiteX24181" y="connsiteY24181"/>
              </a:cxn>
              <a:cxn ang="0">
                <a:pos x="connsiteX24182" y="connsiteY24182"/>
              </a:cxn>
              <a:cxn ang="0">
                <a:pos x="connsiteX24183" y="connsiteY24183"/>
              </a:cxn>
              <a:cxn ang="0">
                <a:pos x="connsiteX24184" y="connsiteY24184"/>
              </a:cxn>
              <a:cxn ang="0">
                <a:pos x="connsiteX24185" y="connsiteY24185"/>
              </a:cxn>
              <a:cxn ang="0">
                <a:pos x="connsiteX24186" y="connsiteY24186"/>
              </a:cxn>
              <a:cxn ang="0">
                <a:pos x="connsiteX24187" y="connsiteY24187"/>
              </a:cxn>
              <a:cxn ang="0">
                <a:pos x="connsiteX24188" y="connsiteY24188"/>
              </a:cxn>
              <a:cxn ang="0">
                <a:pos x="connsiteX24189" y="connsiteY24189"/>
              </a:cxn>
              <a:cxn ang="0">
                <a:pos x="connsiteX24190" y="connsiteY24190"/>
              </a:cxn>
              <a:cxn ang="0">
                <a:pos x="connsiteX24191" y="connsiteY24191"/>
              </a:cxn>
              <a:cxn ang="0">
                <a:pos x="connsiteX24192" y="connsiteY24192"/>
              </a:cxn>
              <a:cxn ang="0">
                <a:pos x="connsiteX24193" y="connsiteY24193"/>
              </a:cxn>
              <a:cxn ang="0">
                <a:pos x="connsiteX24194" y="connsiteY24194"/>
              </a:cxn>
              <a:cxn ang="0">
                <a:pos x="connsiteX24195" y="connsiteY24195"/>
              </a:cxn>
              <a:cxn ang="0">
                <a:pos x="connsiteX24196" y="connsiteY24196"/>
              </a:cxn>
              <a:cxn ang="0">
                <a:pos x="connsiteX24197" y="connsiteY24197"/>
              </a:cxn>
              <a:cxn ang="0">
                <a:pos x="connsiteX24198" y="connsiteY24198"/>
              </a:cxn>
              <a:cxn ang="0">
                <a:pos x="connsiteX24199" y="connsiteY24199"/>
              </a:cxn>
              <a:cxn ang="0">
                <a:pos x="connsiteX24200" y="connsiteY24200"/>
              </a:cxn>
              <a:cxn ang="0">
                <a:pos x="connsiteX24201" y="connsiteY24201"/>
              </a:cxn>
              <a:cxn ang="0">
                <a:pos x="connsiteX24202" y="connsiteY24202"/>
              </a:cxn>
              <a:cxn ang="0">
                <a:pos x="connsiteX24203" y="connsiteY24203"/>
              </a:cxn>
              <a:cxn ang="0">
                <a:pos x="connsiteX24204" y="connsiteY24204"/>
              </a:cxn>
              <a:cxn ang="0">
                <a:pos x="connsiteX24205" y="connsiteY24205"/>
              </a:cxn>
              <a:cxn ang="0">
                <a:pos x="connsiteX24206" y="connsiteY24206"/>
              </a:cxn>
              <a:cxn ang="0">
                <a:pos x="connsiteX24207" y="connsiteY24207"/>
              </a:cxn>
              <a:cxn ang="0">
                <a:pos x="connsiteX24208" y="connsiteY24208"/>
              </a:cxn>
              <a:cxn ang="0">
                <a:pos x="connsiteX24209" y="connsiteY24209"/>
              </a:cxn>
              <a:cxn ang="0">
                <a:pos x="connsiteX24210" y="connsiteY24210"/>
              </a:cxn>
              <a:cxn ang="0">
                <a:pos x="connsiteX24211" y="connsiteY24211"/>
              </a:cxn>
              <a:cxn ang="0">
                <a:pos x="connsiteX24212" y="connsiteY24212"/>
              </a:cxn>
              <a:cxn ang="0">
                <a:pos x="connsiteX24213" y="connsiteY24213"/>
              </a:cxn>
              <a:cxn ang="0">
                <a:pos x="connsiteX24214" y="connsiteY24214"/>
              </a:cxn>
              <a:cxn ang="0">
                <a:pos x="connsiteX24215" y="connsiteY24215"/>
              </a:cxn>
              <a:cxn ang="0">
                <a:pos x="connsiteX24216" y="connsiteY24216"/>
              </a:cxn>
              <a:cxn ang="0">
                <a:pos x="connsiteX24217" y="connsiteY24217"/>
              </a:cxn>
              <a:cxn ang="0">
                <a:pos x="connsiteX24218" y="connsiteY24218"/>
              </a:cxn>
              <a:cxn ang="0">
                <a:pos x="connsiteX24219" y="connsiteY24219"/>
              </a:cxn>
              <a:cxn ang="0">
                <a:pos x="connsiteX24220" y="connsiteY24220"/>
              </a:cxn>
              <a:cxn ang="0">
                <a:pos x="connsiteX24221" y="connsiteY24221"/>
              </a:cxn>
              <a:cxn ang="0">
                <a:pos x="connsiteX24222" y="connsiteY24222"/>
              </a:cxn>
              <a:cxn ang="0">
                <a:pos x="connsiteX24223" y="connsiteY24223"/>
              </a:cxn>
              <a:cxn ang="0">
                <a:pos x="connsiteX24224" y="connsiteY24224"/>
              </a:cxn>
              <a:cxn ang="0">
                <a:pos x="connsiteX24225" y="connsiteY24225"/>
              </a:cxn>
              <a:cxn ang="0">
                <a:pos x="connsiteX24226" y="connsiteY24226"/>
              </a:cxn>
              <a:cxn ang="0">
                <a:pos x="connsiteX24227" y="connsiteY24227"/>
              </a:cxn>
              <a:cxn ang="0">
                <a:pos x="connsiteX24228" y="connsiteY24228"/>
              </a:cxn>
              <a:cxn ang="0">
                <a:pos x="connsiteX24229" y="connsiteY24229"/>
              </a:cxn>
              <a:cxn ang="0">
                <a:pos x="connsiteX24230" y="connsiteY24230"/>
              </a:cxn>
              <a:cxn ang="0">
                <a:pos x="connsiteX24231" y="connsiteY24231"/>
              </a:cxn>
              <a:cxn ang="0">
                <a:pos x="connsiteX24232" y="connsiteY24232"/>
              </a:cxn>
              <a:cxn ang="0">
                <a:pos x="connsiteX24233" y="connsiteY24233"/>
              </a:cxn>
              <a:cxn ang="0">
                <a:pos x="connsiteX24234" y="connsiteY24234"/>
              </a:cxn>
              <a:cxn ang="0">
                <a:pos x="connsiteX24235" y="connsiteY24235"/>
              </a:cxn>
              <a:cxn ang="0">
                <a:pos x="connsiteX24236" y="connsiteY24236"/>
              </a:cxn>
              <a:cxn ang="0">
                <a:pos x="connsiteX24237" y="connsiteY24237"/>
              </a:cxn>
              <a:cxn ang="0">
                <a:pos x="connsiteX24238" y="connsiteY24238"/>
              </a:cxn>
              <a:cxn ang="0">
                <a:pos x="connsiteX24239" y="connsiteY24239"/>
              </a:cxn>
              <a:cxn ang="0">
                <a:pos x="connsiteX24240" y="connsiteY24240"/>
              </a:cxn>
              <a:cxn ang="0">
                <a:pos x="connsiteX24241" y="connsiteY24241"/>
              </a:cxn>
              <a:cxn ang="0">
                <a:pos x="connsiteX24242" y="connsiteY24242"/>
              </a:cxn>
              <a:cxn ang="0">
                <a:pos x="connsiteX24243" y="connsiteY24243"/>
              </a:cxn>
              <a:cxn ang="0">
                <a:pos x="connsiteX24244" y="connsiteY24244"/>
              </a:cxn>
              <a:cxn ang="0">
                <a:pos x="connsiteX24245" y="connsiteY24245"/>
              </a:cxn>
              <a:cxn ang="0">
                <a:pos x="connsiteX24246" y="connsiteY24246"/>
              </a:cxn>
              <a:cxn ang="0">
                <a:pos x="connsiteX24247" y="connsiteY24247"/>
              </a:cxn>
              <a:cxn ang="0">
                <a:pos x="connsiteX24248" y="connsiteY24248"/>
              </a:cxn>
              <a:cxn ang="0">
                <a:pos x="connsiteX24249" y="connsiteY24249"/>
              </a:cxn>
              <a:cxn ang="0">
                <a:pos x="connsiteX24250" y="connsiteY24250"/>
              </a:cxn>
              <a:cxn ang="0">
                <a:pos x="connsiteX24251" y="connsiteY24251"/>
              </a:cxn>
              <a:cxn ang="0">
                <a:pos x="connsiteX24252" y="connsiteY24252"/>
              </a:cxn>
              <a:cxn ang="0">
                <a:pos x="connsiteX24253" y="connsiteY24253"/>
              </a:cxn>
              <a:cxn ang="0">
                <a:pos x="connsiteX24254" y="connsiteY24254"/>
              </a:cxn>
              <a:cxn ang="0">
                <a:pos x="connsiteX24255" y="connsiteY24255"/>
              </a:cxn>
              <a:cxn ang="0">
                <a:pos x="connsiteX24256" y="connsiteY24256"/>
              </a:cxn>
              <a:cxn ang="0">
                <a:pos x="connsiteX24257" y="connsiteY24257"/>
              </a:cxn>
              <a:cxn ang="0">
                <a:pos x="connsiteX24258" y="connsiteY24258"/>
              </a:cxn>
              <a:cxn ang="0">
                <a:pos x="connsiteX24259" y="connsiteY24259"/>
              </a:cxn>
              <a:cxn ang="0">
                <a:pos x="connsiteX24260" y="connsiteY24260"/>
              </a:cxn>
              <a:cxn ang="0">
                <a:pos x="connsiteX24261" y="connsiteY24261"/>
              </a:cxn>
              <a:cxn ang="0">
                <a:pos x="connsiteX24262" y="connsiteY24262"/>
              </a:cxn>
              <a:cxn ang="0">
                <a:pos x="connsiteX24263" y="connsiteY24263"/>
              </a:cxn>
              <a:cxn ang="0">
                <a:pos x="connsiteX24264" y="connsiteY24264"/>
              </a:cxn>
              <a:cxn ang="0">
                <a:pos x="connsiteX24265" y="connsiteY24265"/>
              </a:cxn>
              <a:cxn ang="0">
                <a:pos x="connsiteX24266" y="connsiteY24266"/>
              </a:cxn>
              <a:cxn ang="0">
                <a:pos x="connsiteX24267" y="connsiteY24267"/>
              </a:cxn>
              <a:cxn ang="0">
                <a:pos x="connsiteX24268" y="connsiteY24268"/>
              </a:cxn>
              <a:cxn ang="0">
                <a:pos x="connsiteX24269" y="connsiteY24269"/>
              </a:cxn>
              <a:cxn ang="0">
                <a:pos x="connsiteX24270" y="connsiteY24270"/>
              </a:cxn>
              <a:cxn ang="0">
                <a:pos x="connsiteX24271" y="connsiteY24271"/>
              </a:cxn>
              <a:cxn ang="0">
                <a:pos x="connsiteX24272" y="connsiteY24272"/>
              </a:cxn>
              <a:cxn ang="0">
                <a:pos x="connsiteX24273" y="connsiteY24273"/>
              </a:cxn>
              <a:cxn ang="0">
                <a:pos x="connsiteX24274" y="connsiteY24274"/>
              </a:cxn>
              <a:cxn ang="0">
                <a:pos x="connsiteX24275" y="connsiteY24275"/>
              </a:cxn>
              <a:cxn ang="0">
                <a:pos x="connsiteX24276" y="connsiteY24276"/>
              </a:cxn>
              <a:cxn ang="0">
                <a:pos x="connsiteX24277" y="connsiteY24277"/>
              </a:cxn>
              <a:cxn ang="0">
                <a:pos x="connsiteX24278" y="connsiteY24278"/>
              </a:cxn>
              <a:cxn ang="0">
                <a:pos x="connsiteX24279" y="connsiteY24279"/>
              </a:cxn>
              <a:cxn ang="0">
                <a:pos x="connsiteX24280" y="connsiteY24280"/>
              </a:cxn>
              <a:cxn ang="0">
                <a:pos x="connsiteX24281" y="connsiteY24281"/>
              </a:cxn>
              <a:cxn ang="0">
                <a:pos x="connsiteX24282" y="connsiteY24282"/>
              </a:cxn>
              <a:cxn ang="0">
                <a:pos x="connsiteX24283" y="connsiteY24283"/>
              </a:cxn>
              <a:cxn ang="0">
                <a:pos x="connsiteX24284" y="connsiteY24284"/>
              </a:cxn>
              <a:cxn ang="0">
                <a:pos x="connsiteX24285" y="connsiteY24285"/>
              </a:cxn>
              <a:cxn ang="0">
                <a:pos x="connsiteX24286" y="connsiteY24286"/>
              </a:cxn>
              <a:cxn ang="0">
                <a:pos x="connsiteX24287" y="connsiteY24287"/>
              </a:cxn>
              <a:cxn ang="0">
                <a:pos x="connsiteX24288" y="connsiteY24288"/>
              </a:cxn>
              <a:cxn ang="0">
                <a:pos x="connsiteX24289" y="connsiteY24289"/>
              </a:cxn>
              <a:cxn ang="0">
                <a:pos x="connsiteX24290" y="connsiteY24290"/>
              </a:cxn>
              <a:cxn ang="0">
                <a:pos x="connsiteX24291" y="connsiteY24291"/>
              </a:cxn>
              <a:cxn ang="0">
                <a:pos x="connsiteX24292" y="connsiteY24292"/>
              </a:cxn>
              <a:cxn ang="0">
                <a:pos x="connsiteX24293" y="connsiteY24293"/>
              </a:cxn>
              <a:cxn ang="0">
                <a:pos x="connsiteX24294" y="connsiteY24294"/>
              </a:cxn>
              <a:cxn ang="0">
                <a:pos x="connsiteX24295" y="connsiteY24295"/>
              </a:cxn>
              <a:cxn ang="0">
                <a:pos x="connsiteX24296" y="connsiteY24296"/>
              </a:cxn>
              <a:cxn ang="0">
                <a:pos x="connsiteX24297" y="connsiteY24297"/>
              </a:cxn>
              <a:cxn ang="0">
                <a:pos x="connsiteX24298" y="connsiteY24298"/>
              </a:cxn>
              <a:cxn ang="0">
                <a:pos x="connsiteX24299" y="connsiteY24299"/>
              </a:cxn>
              <a:cxn ang="0">
                <a:pos x="connsiteX24300" y="connsiteY24300"/>
              </a:cxn>
              <a:cxn ang="0">
                <a:pos x="connsiteX24301" y="connsiteY24301"/>
              </a:cxn>
              <a:cxn ang="0">
                <a:pos x="connsiteX24302" y="connsiteY24302"/>
              </a:cxn>
              <a:cxn ang="0">
                <a:pos x="connsiteX24303" y="connsiteY24303"/>
              </a:cxn>
              <a:cxn ang="0">
                <a:pos x="connsiteX24304" y="connsiteY24304"/>
              </a:cxn>
              <a:cxn ang="0">
                <a:pos x="connsiteX24305" y="connsiteY24305"/>
              </a:cxn>
              <a:cxn ang="0">
                <a:pos x="connsiteX24306" y="connsiteY24306"/>
              </a:cxn>
              <a:cxn ang="0">
                <a:pos x="connsiteX24307" y="connsiteY24307"/>
              </a:cxn>
              <a:cxn ang="0">
                <a:pos x="connsiteX24308" y="connsiteY24308"/>
              </a:cxn>
              <a:cxn ang="0">
                <a:pos x="connsiteX24309" y="connsiteY24309"/>
              </a:cxn>
              <a:cxn ang="0">
                <a:pos x="connsiteX24310" y="connsiteY24310"/>
              </a:cxn>
              <a:cxn ang="0">
                <a:pos x="connsiteX24311" y="connsiteY24311"/>
              </a:cxn>
              <a:cxn ang="0">
                <a:pos x="connsiteX24312" y="connsiteY24312"/>
              </a:cxn>
              <a:cxn ang="0">
                <a:pos x="connsiteX24313" y="connsiteY24313"/>
              </a:cxn>
              <a:cxn ang="0">
                <a:pos x="connsiteX24314" y="connsiteY24314"/>
              </a:cxn>
              <a:cxn ang="0">
                <a:pos x="connsiteX24315" y="connsiteY24315"/>
              </a:cxn>
              <a:cxn ang="0">
                <a:pos x="connsiteX24316" y="connsiteY24316"/>
              </a:cxn>
              <a:cxn ang="0">
                <a:pos x="connsiteX24317" y="connsiteY24317"/>
              </a:cxn>
              <a:cxn ang="0">
                <a:pos x="connsiteX24318" y="connsiteY24318"/>
              </a:cxn>
              <a:cxn ang="0">
                <a:pos x="connsiteX24319" y="connsiteY24319"/>
              </a:cxn>
              <a:cxn ang="0">
                <a:pos x="connsiteX24320" y="connsiteY24320"/>
              </a:cxn>
              <a:cxn ang="0">
                <a:pos x="connsiteX24321" y="connsiteY24321"/>
              </a:cxn>
              <a:cxn ang="0">
                <a:pos x="connsiteX24322" y="connsiteY24322"/>
              </a:cxn>
              <a:cxn ang="0">
                <a:pos x="connsiteX24323" y="connsiteY24323"/>
              </a:cxn>
              <a:cxn ang="0">
                <a:pos x="connsiteX24324" y="connsiteY24324"/>
              </a:cxn>
              <a:cxn ang="0">
                <a:pos x="connsiteX24325" y="connsiteY24325"/>
              </a:cxn>
              <a:cxn ang="0">
                <a:pos x="connsiteX24326" y="connsiteY24326"/>
              </a:cxn>
              <a:cxn ang="0">
                <a:pos x="connsiteX24327" y="connsiteY24327"/>
              </a:cxn>
              <a:cxn ang="0">
                <a:pos x="connsiteX24328" y="connsiteY24328"/>
              </a:cxn>
              <a:cxn ang="0">
                <a:pos x="connsiteX24329" y="connsiteY24329"/>
              </a:cxn>
              <a:cxn ang="0">
                <a:pos x="connsiteX24330" y="connsiteY24330"/>
              </a:cxn>
              <a:cxn ang="0">
                <a:pos x="connsiteX24331" y="connsiteY24331"/>
              </a:cxn>
              <a:cxn ang="0">
                <a:pos x="connsiteX24332" y="connsiteY24332"/>
              </a:cxn>
              <a:cxn ang="0">
                <a:pos x="connsiteX24333" y="connsiteY24333"/>
              </a:cxn>
              <a:cxn ang="0">
                <a:pos x="connsiteX24334" y="connsiteY24334"/>
              </a:cxn>
              <a:cxn ang="0">
                <a:pos x="connsiteX24335" y="connsiteY24335"/>
              </a:cxn>
              <a:cxn ang="0">
                <a:pos x="connsiteX24336" y="connsiteY24336"/>
              </a:cxn>
              <a:cxn ang="0">
                <a:pos x="connsiteX24337" y="connsiteY24337"/>
              </a:cxn>
              <a:cxn ang="0">
                <a:pos x="connsiteX24338" y="connsiteY24338"/>
              </a:cxn>
              <a:cxn ang="0">
                <a:pos x="connsiteX24339" y="connsiteY24339"/>
              </a:cxn>
              <a:cxn ang="0">
                <a:pos x="connsiteX24340" y="connsiteY24340"/>
              </a:cxn>
              <a:cxn ang="0">
                <a:pos x="connsiteX24341" y="connsiteY24341"/>
              </a:cxn>
              <a:cxn ang="0">
                <a:pos x="connsiteX24342" y="connsiteY24342"/>
              </a:cxn>
              <a:cxn ang="0">
                <a:pos x="connsiteX24343" y="connsiteY24343"/>
              </a:cxn>
              <a:cxn ang="0">
                <a:pos x="connsiteX24344" y="connsiteY24344"/>
              </a:cxn>
              <a:cxn ang="0">
                <a:pos x="connsiteX24345" y="connsiteY24345"/>
              </a:cxn>
              <a:cxn ang="0">
                <a:pos x="connsiteX24346" y="connsiteY24346"/>
              </a:cxn>
              <a:cxn ang="0">
                <a:pos x="connsiteX24347" y="connsiteY24347"/>
              </a:cxn>
              <a:cxn ang="0">
                <a:pos x="connsiteX24348" y="connsiteY24348"/>
              </a:cxn>
              <a:cxn ang="0">
                <a:pos x="connsiteX24349" y="connsiteY24349"/>
              </a:cxn>
              <a:cxn ang="0">
                <a:pos x="connsiteX24350" y="connsiteY24350"/>
              </a:cxn>
              <a:cxn ang="0">
                <a:pos x="connsiteX24351" y="connsiteY24351"/>
              </a:cxn>
              <a:cxn ang="0">
                <a:pos x="connsiteX24352" y="connsiteY24352"/>
              </a:cxn>
              <a:cxn ang="0">
                <a:pos x="connsiteX24353" y="connsiteY24353"/>
              </a:cxn>
              <a:cxn ang="0">
                <a:pos x="connsiteX24354" y="connsiteY24354"/>
              </a:cxn>
              <a:cxn ang="0">
                <a:pos x="connsiteX24355" y="connsiteY24355"/>
              </a:cxn>
              <a:cxn ang="0">
                <a:pos x="connsiteX24356" y="connsiteY24356"/>
              </a:cxn>
              <a:cxn ang="0">
                <a:pos x="connsiteX24357" y="connsiteY24357"/>
              </a:cxn>
              <a:cxn ang="0">
                <a:pos x="connsiteX24358" y="connsiteY24358"/>
              </a:cxn>
              <a:cxn ang="0">
                <a:pos x="connsiteX24359" y="connsiteY24359"/>
              </a:cxn>
              <a:cxn ang="0">
                <a:pos x="connsiteX24360" y="connsiteY24360"/>
              </a:cxn>
              <a:cxn ang="0">
                <a:pos x="connsiteX24361" y="connsiteY24361"/>
              </a:cxn>
              <a:cxn ang="0">
                <a:pos x="connsiteX24362" y="connsiteY24362"/>
              </a:cxn>
              <a:cxn ang="0">
                <a:pos x="connsiteX24363" y="connsiteY24363"/>
              </a:cxn>
              <a:cxn ang="0">
                <a:pos x="connsiteX24364" y="connsiteY24364"/>
              </a:cxn>
              <a:cxn ang="0">
                <a:pos x="connsiteX24365" y="connsiteY24365"/>
              </a:cxn>
              <a:cxn ang="0">
                <a:pos x="connsiteX24366" y="connsiteY24366"/>
              </a:cxn>
              <a:cxn ang="0">
                <a:pos x="connsiteX24367" y="connsiteY24367"/>
              </a:cxn>
              <a:cxn ang="0">
                <a:pos x="connsiteX24368" y="connsiteY24368"/>
              </a:cxn>
              <a:cxn ang="0">
                <a:pos x="connsiteX24369" y="connsiteY24369"/>
              </a:cxn>
              <a:cxn ang="0">
                <a:pos x="connsiteX24370" y="connsiteY24370"/>
              </a:cxn>
              <a:cxn ang="0">
                <a:pos x="connsiteX24371" y="connsiteY24371"/>
              </a:cxn>
              <a:cxn ang="0">
                <a:pos x="connsiteX24372" y="connsiteY24372"/>
              </a:cxn>
              <a:cxn ang="0">
                <a:pos x="connsiteX24373" y="connsiteY24373"/>
              </a:cxn>
              <a:cxn ang="0">
                <a:pos x="connsiteX24374" y="connsiteY24374"/>
              </a:cxn>
              <a:cxn ang="0">
                <a:pos x="connsiteX24375" y="connsiteY24375"/>
              </a:cxn>
              <a:cxn ang="0">
                <a:pos x="connsiteX24376" y="connsiteY24376"/>
              </a:cxn>
              <a:cxn ang="0">
                <a:pos x="connsiteX24377" y="connsiteY24377"/>
              </a:cxn>
              <a:cxn ang="0">
                <a:pos x="connsiteX24378" y="connsiteY24378"/>
              </a:cxn>
              <a:cxn ang="0">
                <a:pos x="connsiteX24379" y="connsiteY24379"/>
              </a:cxn>
              <a:cxn ang="0">
                <a:pos x="connsiteX24380" y="connsiteY24380"/>
              </a:cxn>
              <a:cxn ang="0">
                <a:pos x="connsiteX24381" y="connsiteY24381"/>
              </a:cxn>
              <a:cxn ang="0">
                <a:pos x="connsiteX24382" y="connsiteY24382"/>
              </a:cxn>
              <a:cxn ang="0">
                <a:pos x="connsiteX24383" y="connsiteY24383"/>
              </a:cxn>
              <a:cxn ang="0">
                <a:pos x="connsiteX24384" y="connsiteY24384"/>
              </a:cxn>
              <a:cxn ang="0">
                <a:pos x="connsiteX24385" y="connsiteY24385"/>
              </a:cxn>
              <a:cxn ang="0">
                <a:pos x="connsiteX24386" y="connsiteY24386"/>
              </a:cxn>
              <a:cxn ang="0">
                <a:pos x="connsiteX24387" y="connsiteY24387"/>
              </a:cxn>
              <a:cxn ang="0">
                <a:pos x="connsiteX24388" y="connsiteY24388"/>
              </a:cxn>
              <a:cxn ang="0">
                <a:pos x="connsiteX24389" y="connsiteY24389"/>
              </a:cxn>
              <a:cxn ang="0">
                <a:pos x="connsiteX24390" y="connsiteY24390"/>
              </a:cxn>
              <a:cxn ang="0">
                <a:pos x="connsiteX24391" y="connsiteY24391"/>
              </a:cxn>
              <a:cxn ang="0">
                <a:pos x="connsiteX24392" y="connsiteY24392"/>
              </a:cxn>
              <a:cxn ang="0">
                <a:pos x="connsiteX24393" y="connsiteY24393"/>
              </a:cxn>
              <a:cxn ang="0">
                <a:pos x="connsiteX24394" y="connsiteY24394"/>
              </a:cxn>
              <a:cxn ang="0">
                <a:pos x="connsiteX24395" y="connsiteY24395"/>
              </a:cxn>
              <a:cxn ang="0">
                <a:pos x="connsiteX24396" y="connsiteY24396"/>
              </a:cxn>
              <a:cxn ang="0">
                <a:pos x="connsiteX24397" y="connsiteY24397"/>
              </a:cxn>
              <a:cxn ang="0">
                <a:pos x="connsiteX24398" y="connsiteY24398"/>
              </a:cxn>
              <a:cxn ang="0">
                <a:pos x="connsiteX24399" y="connsiteY24399"/>
              </a:cxn>
              <a:cxn ang="0">
                <a:pos x="connsiteX24400" y="connsiteY24400"/>
              </a:cxn>
              <a:cxn ang="0">
                <a:pos x="connsiteX24401" y="connsiteY24401"/>
              </a:cxn>
              <a:cxn ang="0">
                <a:pos x="connsiteX24402" y="connsiteY24402"/>
              </a:cxn>
              <a:cxn ang="0">
                <a:pos x="connsiteX24403" y="connsiteY24403"/>
              </a:cxn>
              <a:cxn ang="0">
                <a:pos x="connsiteX24404" y="connsiteY24404"/>
              </a:cxn>
              <a:cxn ang="0">
                <a:pos x="connsiteX24405" y="connsiteY24405"/>
              </a:cxn>
              <a:cxn ang="0">
                <a:pos x="connsiteX24406" y="connsiteY24406"/>
              </a:cxn>
              <a:cxn ang="0">
                <a:pos x="connsiteX24407" y="connsiteY24407"/>
              </a:cxn>
              <a:cxn ang="0">
                <a:pos x="connsiteX24408" y="connsiteY24408"/>
              </a:cxn>
              <a:cxn ang="0">
                <a:pos x="connsiteX24409" y="connsiteY24409"/>
              </a:cxn>
              <a:cxn ang="0">
                <a:pos x="connsiteX24410" y="connsiteY24410"/>
              </a:cxn>
              <a:cxn ang="0">
                <a:pos x="connsiteX24411" y="connsiteY24411"/>
              </a:cxn>
              <a:cxn ang="0">
                <a:pos x="connsiteX24412" y="connsiteY24412"/>
              </a:cxn>
              <a:cxn ang="0">
                <a:pos x="connsiteX24413" y="connsiteY24413"/>
              </a:cxn>
              <a:cxn ang="0">
                <a:pos x="connsiteX24414" y="connsiteY24414"/>
              </a:cxn>
              <a:cxn ang="0">
                <a:pos x="connsiteX24415" y="connsiteY24415"/>
              </a:cxn>
              <a:cxn ang="0">
                <a:pos x="connsiteX24416" y="connsiteY24416"/>
              </a:cxn>
              <a:cxn ang="0">
                <a:pos x="connsiteX24417" y="connsiteY24417"/>
              </a:cxn>
              <a:cxn ang="0">
                <a:pos x="connsiteX24418" y="connsiteY24418"/>
              </a:cxn>
              <a:cxn ang="0">
                <a:pos x="connsiteX24419" y="connsiteY24419"/>
              </a:cxn>
              <a:cxn ang="0">
                <a:pos x="connsiteX24420" y="connsiteY24420"/>
              </a:cxn>
              <a:cxn ang="0">
                <a:pos x="connsiteX24421" y="connsiteY24421"/>
              </a:cxn>
              <a:cxn ang="0">
                <a:pos x="connsiteX24422" y="connsiteY24422"/>
              </a:cxn>
              <a:cxn ang="0">
                <a:pos x="connsiteX24423" y="connsiteY24423"/>
              </a:cxn>
              <a:cxn ang="0">
                <a:pos x="connsiteX24424" y="connsiteY24424"/>
              </a:cxn>
              <a:cxn ang="0">
                <a:pos x="connsiteX24425" y="connsiteY24425"/>
              </a:cxn>
              <a:cxn ang="0">
                <a:pos x="connsiteX24426" y="connsiteY24426"/>
              </a:cxn>
              <a:cxn ang="0">
                <a:pos x="connsiteX24427" y="connsiteY24427"/>
              </a:cxn>
              <a:cxn ang="0">
                <a:pos x="connsiteX24428" y="connsiteY24428"/>
              </a:cxn>
              <a:cxn ang="0">
                <a:pos x="connsiteX24429" y="connsiteY24429"/>
              </a:cxn>
              <a:cxn ang="0">
                <a:pos x="connsiteX24430" y="connsiteY24430"/>
              </a:cxn>
              <a:cxn ang="0">
                <a:pos x="connsiteX24431" y="connsiteY24431"/>
              </a:cxn>
              <a:cxn ang="0">
                <a:pos x="connsiteX24432" y="connsiteY24432"/>
              </a:cxn>
              <a:cxn ang="0">
                <a:pos x="connsiteX24433" y="connsiteY24433"/>
              </a:cxn>
              <a:cxn ang="0">
                <a:pos x="connsiteX24434" y="connsiteY24434"/>
              </a:cxn>
              <a:cxn ang="0">
                <a:pos x="connsiteX24435" y="connsiteY24435"/>
              </a:cxn>
              <a:cxn ang="0">
                <a:pos x="connsiteX24436" y="connsiteY24436"/>
              </a:cxn>
              <a:cxn ang="0">
                <a:pos x="connsiteX24437" y="connsiteY24437"/>
              </a:cxn>
              <a:cxn ang="0">
                <a:pos x="connsiteX24438" y="connsiteY24438"/>
              </a:cxn>
              <a:cxn ang="0">
                <a:pos x="connsiteX24439" y="connsiteY24439"/>
              </a:cxn>
              <a:cxn ang="0">
                <a:pos x="connsiteX24440" y="connsiteY24440"/>
              </a:cxn>
              <a:cxn ang="0">
                <a:pos x="connsiteX24441" y="connsiteY24441"/>
              </a:cxn>
              <a:cxn ang="0">
                <a:pos x="connsiteX24442" y="connsiteY24442"/>
              </a:cxn>
              <a:cxn ang="0">
                <a:pos x="connsiteX24443" y="connsiteY24443"/>
              </a:cxn>
              <a:cxn ang="0">
                <a:pos x="connsiteX24444" y="connsiteY24444"/>
              </a:cxn>
              <a:cxn ang="0">
                <a:pos x="connsiteX24445" y="connsiteY24445"/>
              </a:cxn>
              <a:cxn ang="0">
                <a:pos x="connsiteX24446" y="connsiteY24446"/>
              </a:cxn>
              <a:cxn ang="0">
                <a:pos x="connsiteX24447" y="connsiteY24447"/>
              </a:cxn>
              <a:cxn ang="0">
                <a:pos x="connsiteX24448" y="connsiteY24448"/>
              </a:cxn>
              <a:cxn ang="0">
                <a:pos x="connsiteX24449" y="connsiteY24449"/>
              </a:cxn>
              <a:cxn ang="0">
                <a:pos x="connsiteX24450" y="connsiteY24450"/>
              </a:cxn>
              <a:cxn ang="0">
                <a:pos x="connsiteX24451" y="connsiteY24451"/>
              </a:cxn>
              <a:cxn ang="0">
                <a:pos x="connsiteX24452" y="connsiteY24452"/>
              </a:cxn>
              <a:cxn ang="0">
                <a:pos x="connsiteX24453" y="connsiteY24453"/>
              </a:cxn>
              <a:cxn ang="0">
                <a:pos x="connsiteX24454" y="connsiteY24454"/>
              </a:cxn>
              <a:cxn ang="0">
                <a:pos x="connsiteX24455" y="connsiteY24455"/>
              </a:cxn>
              <a:cxn ang="0">
                <a:pos x="connsiteX24456" y="connsiteY24456"/>
              </a:cxn>
              <a:cxn ang="0">
                <a:pos x="connsiteX24457" y="connsiteY24457"/>
              </a:cxn>
              <a:cxn ang="0">
                <a:pos x="connsiteX24458" y="connsiteY24458"/>
              </a:cxn>
              <a:cxn ang="0">
                <a:pos x="connsiteX24459" y="connsiteY24459"/>
              </a:cxn>
              <a:cxn ang="0">
                <a:pos x="connsiteX24460" y="connsiteY24460"/>
              </a:cxn>
              <a:cxn ang="0">
                <a:pos x="connsiteX24461" y="connsiteY24461"/>
              </a:cxn>
              <a:cxn ang="0">
                <a:pos x="connsiteX24462" y="connsiteY24462"/>
              </a:cxn>
              <a:cxn ang="0">
                <a:pos x="connsiteX24463" y="connsiteY24463"/>
              </a:cxn>
              <a:cxn ang="0">
                <a:pos x="connsiteX24464" y="connsiteY24464"/>
              </a:cxn>
              <a:cxn ang="0">
                <a:pos x="connsiteX24465" y="connsiteY24465"/>
              </a:cxn>
              <a:cxn ang="0">
                <a:pos x="connsiteX24466" y="connsiteY24466"/>
              </a:cxn>
              <a:cxn ang="0">
                <a:pos x="connsiteX24467" y="connsiteY24467"/>
              </a:cxn>
              <a:cxn ang="0">
                <a:pos x="connsiteX24468" y="connsiteY24468"/>
              </a:cxn>
              <a:cxn ang="0">
                <a:pos x="connsiteX24469" y="connsiteY24469"/>
              </a:cxn>
              <a:cxn ang="0">
                <a:pos x="connsiteX24470" y="connsiteY24470"/>
              </a:cxn>
              <a:cxn ang="0">
                <a:pos x="connsiteX24471" y="connsiteY24471"/>
              </a:cxn>
              <a:cxn ang="0">
                <a:pos x="connsiteX24472" y="connsiteY24472"/>
              </a:cxn>
              <a:cxn ang="0">
                <a:pos x="connsiteX24473" y="connsiteY24473"/>
              </a:cxn>
              <a:cxn ang="0">
                <a:pos x="connsiteX24474" y="connsiteY24474"/>
              </a:cxn>
              <a:cxn ang="0">
                <a:pos x="connsiteX24475" y="connsiteY24475"/>
              </a:cxn>
              <a:cxn ang="0">
                <a:pos x="connsiteX24476" y="connsiteY24476"/>
              </a:cxn>
              <a:cxn ang="0">
                <a:pos x="connsiteX24477" y="connsiteY24477"/>
              </a:cxn>
              <a:cxn ang="0">
                <a:pos x="connsiteX24478" y="connsiteY24478"/>
              </a:cxn>
              <a:cxn ang="0">
                <a:pos x="connsiteX24479" y="connsiteY24479"/>
              </a:cxn>
              <a:cxn ang="0">
                <a:pos x="connsiteX24480" y="connsiteY24480"/>
              </a:cxn>
              <a:cxn ang="0">
                <a:pos x="connsiteX24481" y="connsiteY24481"/>
              </a:cxn>
              <a:cxn ang="0">
                <a:pos x="connsiteX24482" y="connsiteY24482"/>
              </a:cxn>
              <a:cxn ang="0">
                <a:pos x="connsiteX24483" y="connsiteY24483"/>
              </a:cxn>
              <a:cxn ang="0">
                <a:pos x="connsiteX24484" y="connsiteY24484"/>
              </a:cxn>
              <a:cxn ang="0">
                <a:pos x="connsiteX24485" y="connsiteY24485"/>
              </a:cxn>
              <a:cxn ang="0">
                <a:pos x="connsiteX24486" y="connsiteY24486"/>
              </a:cxn>
              <a:cxn ang="0">
                <a:pos x="connsiteX24487" y="connsiteY24487"/>
              </a:cxn>
              <a:cxn ang="0">
                <a:pos x="connsiteX24488" y="connsiteY24488"/>
              </a:cxn>
              <a:cxn ang="0">
                <a:pos x="connsiteX24489" y="connsiteY24489"/>
              </a:cxn>
              <a:cxn ang="0">
                <a:pos x="connsiteX24490" y="connsiteY24490"/>
              </a:cxn>
              <a:cxn ang="0">
                <a:pos x="connsiteX24491" y="connsiteY24491"/>
              </a:cxn>
              <a:cxn ang="0">
                <a:pos x="connsiteX24492" y="connsiteY24492"/>
              </a:cxn>
              <a:cxn ang="0">
                <a:pos x="connsiteX24493" y="connsiteY24493"/>
              </a:cxn>
              <a:cxn ang="0">
                <a:pos x="connsiteX24494" y="connsiteY24494"/>
              </a:cxn>
              <a:cxn ang="0">
                <a:pos x="connsiteX24495" y="connsiteY24495"/>
              </a:cxn>
              <a:cxn ang="0">
                <a:pos x="connsiteX24496" y="connsiteY24496"/>
              </a:cxn>
              <a:cxn ang="0">
                <a:pos x="connsiteX24497" y="connsiteY24497"/>
              </a:cxn>
              <a:cxn ang="0">
                <a:pos x="connsiteX24498" y="connsiteY24498"/>
              </a:cxn>
              <a:cxn ang="0">
                <a:pos x="connsiteX24499" y="connsiteY24499"/>
              </a:cxn>
              <a:cxn ang="0">
                <a:pos x="connsiteX24500" y="connsiteY24500"/>
              </a:cxn>
              <a:cxn ang="0">
                <a:pos x="connsiteX24501" y="connsiteY24501"/>
              </a:cxn>
              <a:cxn ang="0">
                <a:pos x="connsiteX24502" y="connsiteY24502"/>
              </a:cxn>
              <a:cxn ang="0">
                <a:pos x="connsiteX24503" y="connsiteY24503"/>
              </a:cxn>
              <a:cxn ang="0">
                <a:pos x="connsiteX24504" y="connsiteY24504"/>
              </a:cxn>
              <a:cxn ang="0">
                <a:pos x="connsiteX24505" y="connsiteY24505"/>
              </a:cxn>
              <a:cxn ang="0">
                <a:pos x="connsiteX24506" y="connsiteY24506"/>
              </a:cxn>
              <a:cxn ang="0">
                <a:pos x="connsiteX24507" y="connsiteY24507"/>
              </a:cxn>
              <a:cxn ang="0">
                <a:pos x="connsiteX24508" y="connsiteY24508"/>
              </a:cxn>
              <a:cxn ang="0">
                <a:pos x="connsiteX24509" y="connsiteY24509"/>
              </a:cxn>
              <a:cxn ang="0">
                <a:pos x="connsiteX24510" y="connsiteY24510"/>
              </a:cxn>
              <a:cxn ang="0">
                <a:pos x="connsiteX24511" y="connsiteY24511"/>
              </a:cxn>
              <a:cxn ang="0">
                <a:pos x="connsiteX24512" y="connsiteY24512"/>
              </a:cxn>
              <a:cxn ang="0">
                <a:pos x="connsiteX24513" y="connsiteY24513"/>
              </a:cxn>
              <a:cxn ang="0">
                <a:pos x="connsiteX24514" y="connsiteY24514"/>
              </a:cxn>
              <a:cxn ang="0">
                <a:pos x="connsiteX24515" y="connsiteY24515"/>
              </a:cxn>
              <a:cxn ang="0">
                <a:pos x="connsiteX24516" y="connsiteY24516"/>
              </a:cxn>
              <a:cxn ang="0">
                <a:pos x="connsiteX24517" y="connsiteY24517"/>
              </a:cxn>
              <a:cxn ang="0">
                <a:pos x="connsiteX24518" y="connsiteY24518"/>
              </a:cxn>
              <a:cxn ang="0">
                <a:pos x="connsiteX24519" y="connsiteY24519"/>
              </a:cxn>
              <a:cxn ang="0">
                <a:pos x="connsiteX24520" y="connsiteY24520"/>
              </a:cxn>
              <a:cxn ang="0">
                <a:pos x="connsiteX24521" y="connsiteY24521"/>
              </a:cxn>
              <a:cxn ang="0">
                <a:pos x="connsiteX24522" y="connsiteY24522"/>
              </a:cxn>
              <a:cxn ang="0">
                <a:pos x="connsiteX24523" y="connsiteY24523"/>
              </a:cxn>
              <a:cxn ang="0">
                <a:pos x="connsiteX24524" y="connsiteY24524"/>
              </a:cxn>
              <a:cxn ang="0">
                <a:pos x="connsiteX24525" y="connsiteY24525"/>
              </a:cxn>
              <a:cxn ang="0">
                <a:pos x="connsiteX24526" y="connsiteY24526"/>
              </a:cxn>
              <a:cxn ang="0">
                <a:pos x="connsiteX24527" y="connsiteY24527"/>
              </a:cxn>
              <a:cxn ang="0">
                <a:pos x="connsiteX24528" y="connsiteY24528"/>
              </a:cxn>
              <a:cxn ang="0">
                <a:pos x="connsiteX24529" y="connsiteY24529"/>
              </a:cxn>
              <a:cxn ang="0">
                <a:pos x="connsiteX24530" y="connsiteY24530"/>
              </a:cxn>
              <a:cxn ang="0">
                <a:pos x="connsiteX24531" y="connsiteY24531"/>
              </a:cxn>
              <a:cxn ang="0">
                <a:pos x="connsiteX24532" y="connsiteY24532"/>
              </a:cxn>
              <a:cxn ang="0">
                <a:pos x="connsiteX24533" y="connsiteY24533"/>
              </a:cxn>
              <a:cxn ang="0">
                <a:pos x="connsiteX24534" y="connsiteY24534"/>
              </a:cxn>
              <a:cxn ang="0">
                <a:pos x="connsiteX24535" y="connsiteY24535"/>
              </a:cxn>
              <a:cxn ang="0">
                <a:pos x="connsiteX24536" y="connsiteY24536"/>
              </a:cxn>
              <a:cxn ang="0">
                <a:pos x="connsiteX24537" y="connsiteY24537"/>
              </a:cxn>
              <a:cxn ang="0">
                <a:pos x="connsiteX24538" y="connsiteY24538"/>
              </a:cxn>
              <a:cxn ang="0">
                <a:pos x="connsiteX24539" y="connsiteY24539"/>
              </a:cxn>
              <a:cxn ang="0">
                <a:pos x="connsiteX24540" y="connsiteY24540"/>
              </a:cxn>
              <a:cxn ang="0">
                <a:pos x="connsiteX24541" y="connsiteY24541"/>
              </a:cxn>
              <a:cxn ang="0">
                <a:pos x="connsiteX24542" y="connsiteY24542"/>
              </a:cxn>
              <a:cxn ang="0">
                <a:pos x="connsiteX24543" y="connsiteY24543"/>
              </a:cxn>
              <a:cxn ang="0">
                <a:pos x="connsiteX24544" y="connsiteY24544"/>
              </a:cxn>
              <a:cxn ang="0">
                <a:pos x="connsiteX24545" y="connsiteY24545"/>
              </a:cxn>
              <a:cxn ang="0">
                <a:pos x="connsiteX24546" y="connsiteY24546"/>
              </a:cxn>
              <a:cxn ang="0">
                <a:pos x="connsiteX24547" y="connsiteY24547"/>
              </a:cxn>
              <a:cxn ang="0">
                <a:pos x="connsiteX24548" y="connsiteY24548"/>
              </a:cxn>
              <a:cxn ang="0">
                <a:pos x="connsiteX24549" y="connsiteY24549"/>
              </a:cxn>
              <a:cxn ang="0">
                <a:pos x="connsiteX24550" y="connsiteY24550"/>
              </a:cxn>
              <a:cxn ang="0">
                <a:pos x="connsiteX24551" y="connsiteY24551"/>
              </a:cxn>
              <a:cxn ang="0">
                <a:pos x="connsiteX24552" y="connsiteY24552"/>
              </a:cxn>
              <a:cxn ang="0">
                <a:pos x="connsiteX24553" y="connsiteY24553"/>
              </a:cxn>
              <a:cxn ang="0">
                <a:pos x="connsiteX24554" y="connsiteY24554"/>
              </a:cxn>
              <a:cxn ang="0">
                <a:pos x="connsiteX24555" y="connsiteY24555"/>
              </a:cxn>
              <a:cxn ang="0">
                <a:pos x="connsiteX24556" y="connsiteY24556"/>
              </a:cxn>
              <a:cxn ang="0">
                <a:pos x="connsiteX24557" y="connsiteY24557"/>
              </a:cxn>
              <a:cxn ang="0">
                <a:pos x="connsiteX24558" y="connsiteY24558"/>
              </a:cxn>
              <a:cxn ang="0">
                <a:pos x="connsiteX24559" y="connsiteY24559"/>
              </a:cxn>
              <a:cxn ang="0">
                <a:pos x="connsiteX24560" y="connsiteY24560"/>
              </a:cxn>
              <a:cxn ang="0">
                <a:pos x="connsiteX24561" y="connsiteY24561"/>
              </a:cxn>
              <a:cxn ang="0">
                <a:pos x="connsiteX24562" y="connsiteY24562"/>
              </a:cxn>
              <a:cxn ang="0">
                <a:pos x="connsiteX24563" y="connsiteY24563"/>
              </a:cxn>
              <a:cxn ang="0">
                <a:pos x="connsiteX24564" y="connsiteY24564"/>
              </a:cxn>
              <a:cxn ang="0">
                <a:pos x="connsiteX24565" y="connsiteY24565"/>
              </a:cxn>
              <a:cxn ang="0">
                <a:pos x="connsiteX24566" y="connsiteY24566"/>
              </a:cxn>
              <a:cxn ang="0">
                <a:pos x="connsiteX24567" y="connsiteY24567"/>
              </a:cxn>
              <a:cxn ang="0">
                <a:pos x="connsiteX24568" y="connsiteY24568"/>
              </a:cxn>
              <a:cxn ang="0">
                <a:pos x="connsiteX24569" y="connsiteY24569"/>
              </a:cxn>
              <a:cxn ang="0">
                <a:pos x="connsiteX24570" y="connsiteY24570"/>
              </a:cxn>
              <a:cxn ang="0">
                <a:pos x="connsiteX24571" y="connsiteY24571"/>
              </a:cxn>
              <a:cxn ang="0">
                <a:pos x="connsiteX24572" y="connsiteY24572"/>
              </a:cxn>
              <a:cxn ang="0">
                <a:pos x="connsiteX24573" y="connsiteY24573"/>
              </a:cxn>
              <a:cxn ang="0">
                <a:pos x="connsiteX24574" y="connsiteY24574"/>
              </a:cxn>
              <a:cxn ang="0">
                <a:pos x="connsiteX24575" y="connsiteY24575"/>
              </a:cxn>
              <a:cxn ang="0">
                <a:pos x="connsiteX24576" y="connsiteY24576"/>
              </a:cxn>
              <a:cxn ang="0">
                <a:pos x="connsiteX24577" y="connsiteY24577"/>
              </a:cxn>
              <a:cxn ang="0">
                <a:pos x="connsiteX24578" y="connsiteY24578"/>
              </a:cxn>
              <a:cxn ang="0">
                <a:pos x="connsiteX24579" y="connsiteY24579"/>
              </a:cxn>
              <a:cxn ang="0">
                <a:pos x="connsiteX24580" y="connsiteY24580"/>
              </a:cxn>
              <a:cxn ang="0">
                <a:pos x="connsiteX24581" y="connsiteY24581"/>
              </a:cxn>
              <a:cxn ang="0">
                <a:pos x="connsiteX24582" y="connsiteY24582"/>
              </a:cxn>
              <a:cxn ang="0">
                <a:pos x="connsiteX24583" y="connsiteY24583"/>
              </a:cxn>
              <a:cxn ang="0">
                <a:pos x="connsiteX24584" y="connsiteY24584"/>
              </a:cxn>
              <a:cxn ang="0">
                <a:pos x="connsiteX24585" y="connsiteY24585"/>
              </a:cxn>
              <a:cxn ang="0">
                <a:pos x="connsiteX24586" y="connsiteY24586"/>
              </a:cxn>
              <a:cxn ang="0">
                <a:pos x="connsiteX24587" y="connsiteY24587"/>
              </a:cxn>
              <a:cxn ang="0">
                <a:pos x="connsiteX24588" y="connsiteY24588"/>
              </a:cxn>
              <a:cxn ang="0">
                <a:pos x="connsiteX24589" y="connsiteY24589"/>
              </a:cxn>
              <a:cxn ang="0">
                <a:pos x="connsiteX24590" y="connsiteY24590"/>
              </a:cxn>
              <a:cxn ang="0">
                <a:pos x="connsiteX24591" y="connsiteY24591"/>
              </a:cxn>
              <a:cxn ang="0">
                <a:pos x="connsiteX24592" y="connsiteY24592"/>
              </a:cxn>
              <a:cxn ang="0">
                <a:pos x="connsiteX24593" y="connsiteY24593"/>
              </a:cxn>
              <a:cxn ang="0">
                <a:pos x="connsiteX24594" y="connsiteY24594"/>
              </a:cxn>
              <a:cxn ang="0">
                <a:pos x="connsiteX24595" y="connsiteY24595"/>
              </a:cxn>
              <a:cxn ang="0">
                <a:pos x="connsiteX24596" y="connsiteY24596"/>
              </a:cxn>
              <a:cxn ang="0">
                <a:pos x="connsiteX24597" y="connsiteY24597"/>
              </a:cxn>
              <a:cxn ang="0">
                <a:pos x="connsiteX24598" y="connsiteY24598"/>
              </a:cxn>
              <a:cxn ang="0">
                <a:pos x="connsiteX24599" y="connsiteY24599"/>
              </a:cxn>
              <a:cxn ang="0">
                <a:pos x="connsiteX24600" y="connsiteY24600"/>
              </a:cxn>
              <a:cxn ang="0">
                <a:pos x="connsiteX24601" y="connsiteY24601"/>
              </a:cxn>
              <a:cxn ang="0">
                <a:pos x="connsiteX24602" y="connsiteY24602"/>
              </a:cxn>
              <a:cxn ang="0">
                <a:pos x="connsiteX24603" y="connsiteY24603"/>
              </a:cxn>
              <a:cxn ang="0">
                <a:pos x="connsiteX24604" y="connsiteY24604"/>
              </a:cxn>
              <a:cxn ang="0">
                <a:pos x="connsiteX24605" y="connsiteY24605"/>
              </a:cxn>
              <a:cxn ang="0">
                <a:pos x="connsiteX24606" y="connsiteY24606"/>
              </a:cxn>
              <a:cxn ang="0">
                <a:pos x="connsiteX24607" y="connsiteY24607"/>
              </a:cxn>
              <a:cxn ang="0">
                <a:pos x="connsiteX24608" y="connsiteY24608"/>
              </a:cxn>
              <a:cxn ang="0">
                <a:pos x="connsiteX24609" y="connsiteY24609"/>
              </a:cxn>
              <a:cxn ang="0">
                <a:pos x="connsiteX24610" y="connsiteY24610"/>
              </a:cxn>
              <a:cxn ang="0">
                <a:pos x="connsiteX24611" y="connsiteY24611"/>
              </a:cxn>
              <a:cxn ang="0">
                <a:pos x="connsiteX24612" y="connsiteY24612"/>
              </a:cxn>
              <a:cxn ang="0">
                <a:pos x="connsiteX24613" y="connsiteY24613"/>
              </a:cxn>
              <a:cxn ang="0">
                <a:pos x="connsiteX24614" y="connsiteY24614"/>
              </a:cxn>
              <a:cxn ang="0">
                <a:pos x="connsiteX24615" y="connsiteY24615"/>
              </a:cxn>
              <a:cxn ang="0">
                <a:pos x="connsiteX24616" y="connsiteY24616"/>
              </a:cxn>
              <a:cxn ang="0">
                <a:pos x="connsiteX24617" y="connsiteY24617"/>
              </a:cxn>
              <a:cxn ang="0">
                <a:pos x="connsiteX24618" y="connsiteY24618"/>
              </a:cxn>
              <a:cxn ang="0">
                <a:pos x="connsiteX24619" y="connsiteY24619"/>
              </a:cxn>
              <a:cxn ang="0">
                <a:pos x="connsiteX24620" y="connsiteY24620"/>
              </a:cxn>
              <a:cxn ang="0">
                <a:pos x="connsiteX24621" y="connsiteY24621"/>
              </a:cxn>
              <a:cxn ang="0">
                <a:pos x="connsiteX24622" y="connsiteY24622"/>
              </a:cxn>
              <a:cxn ang="0">
                <a:pos x="connsiteX24623" y="connsiteY24623"/>
              </a:cxn>
              <a:cxn ang="0">
                <a:pos x="connsiteX24624" y="connsiteY24624"/>
              </a:cxn>
              <a:cxn ang="0">
                <a:pos x="connsiteX24625" y="connsiteY24625"/>
              </a:cxn>
              <a:cxn ang="0">
                <a:pos x="connsiteX24626" y="connsiteY24626"/>
              </a:cxn>
              <a:cxn ang="0">
                <a:pos x="connsiteX24627" y="connsiteY24627"/>
              </a:cxn>
              <a:cxn ang="0">
                <a:pos x="connsiteX24628" y="connsiteY24628"/>
              </a:cxn>
              <a:cxn ang="0">
                <a:pos x="connsiteX24629" y="connsiteY24629"/>
              </a:cxn>
              <a:cxn ang="0">
                <a:pos x="connsiteX24630" y="connsiteY24630"/>
              </a:cxn>
              <a:cxn ang="0">
                <a:pos x="connsiteX24631" y="connsiteY24631"/>
              </a:cxn>
              <a:cxn ang="0">
                <a:pos x="connsiteX24632" y="connsiteY24632"/>
              </a:cxn>
              <a:cxn ang="0">
                <a:pos x="connsiteX24633" y="connsiteY24633"/>
              </a:cxn>
              <a:cxn ang="0">
                <a:pos x="connsiteX24634" y="connsiteY24634"/>
              </a:cxn>
              <a:cxn ang="0">
                <a:pos x="connsiteX24635" y="connsiteY24635"/>
              </a:cxn>
              <a:cxn ang="0">
                <a:pos x="connsiteX24636" y="connsiteY24636"/>
              </a:cxn>
              <a:cxn ang="0">
                <a:pos x="connsiteX24637" y="connsiteY24637"/>
              </a:cxn>
              <a:cxn ang="0">
                <a:pos x="connsiteX24638" y="connsiteY24638"/>
              </a:cxn>
              <a:cxn ang="0">
                <a:pos x="connsiteX24639" y="connsiteY24639"/>
              </a:cxn>
              <a:cxn ang="0">
                <a:pos x="connsiteX24640" y="connsiteY24640"/>
              </a:cxn>
              <a:cxn ang="0">
                <a:pos x="connsiteX24641" y="connsiteY24641"/>
              </a:cxn>
              <a:cxn ang="0">
                <a:pos x="connsiteX24642" y="connsiteY24642"/>
              </a:cxn>
              <a:cxn ang="0">
                <a:pos x="connsiteX24643" y="connsiteY24643"/>
              </a:cxn>
              <a:cxn ang="0">
                <a:pos x="connsiteX24644" y="connsiteY24644"/>
              </a:cxn>
              <a:cxn ang="0">
                <a:pos x="connsiteX24645" y="connsiteY24645"/>
              </a:cxn>
              <a:cxn ang="0">
                <a:pos x="connsiteX24646" y="connsiteY24646"/>
              </a:cxn>
              <a:cxn ang="0">
                <a:pos x="connsiteX24647" y="connsiteY24647"/>
              </a:cxn>
              <a:cxn ang="0">
                <a:pos x="connsiteX24648" y="connsiteY24648"/>
              </a:cxn>
              <a:cxn ang="0">
                <a:pos x="connsiteX24649" y="connsiteY24649"/>
              </a:cxn>
              <a:cxn ang="0">
                <a:pos x="connsiteX24650" y="connsiteY24650"/>
              </a:cxn>
              <a:cxn ang="0">
                <a:pos x="connsiteX24651" y="connsiteY24651"/>
              </a:cxn>
              <a:cxn ang="0">
                <a:pos x="connsiteX24652" y="connsiteY24652"/>
              </a:cxn>
              <a:cxn ang="0">
                <a:pos x="connsiteX24653" y="connsiteY24653"/>
              </a:cxn>
              <a:cxn ang="0">
                <a:pos x="connsiteX24654" y="connsiteY24654"/>
              </a:cxn>
              <a:cxn ang="0">
                <a:pos x="connsiteX24655" y="connsiteY24655"/>
              </a:cxn>
              <a:cxn ang="0">
                <a:pos x="connsiteX24656" y="connsiteY24656"/>
              </a:cxn>
              <a:cxn ang="0">
                <a:pos x="connsiteX24657" y="connsiteY24657"/>
              </a:cxn>
              <a:cxn ang="0">
                <a:pos x="connsiteX24658" y="connsiteY24658"/>
              </a:cxn>
              <a:cxn ang="0">
                <a:pos x="connsiteX24659" y="connsiteY24659"/>
              </a:cxn>
              <a:cxn ang="0">
                <a:pos x="connsiteX24660" y="connsiteY24660"/>
              </a:cxn>
              <a:cxn ang="0">
                <a:pos x="connsiteX24661" y="connsiteY24661"/>
              </a:cxn>
              <a:cxn ang="0">
                <a:pos x="connsiteX24662" y="connsiteY24662"/>
              </a:cxn>
              <a:cxn ang="0">
                <a:pos x="connsiteX24663" y="connsiteY24663"/>
              </a:cxn>
              <a:cxn ang="0">
                <a:pos x="connsiteX24664" y="connsiteY24664"/>
              </a:cxn>
              <a:cxn ang="0">
                <a:pos x="connsiteX24665" y="connsiteY24665"/>
              </a:cxn>
              <a:cxn ang="0">
                <a:pos x="connsiteX24666" y="connsiteY24666"/>
              </a:cxn>
              <a:cxn ang="0">
                <a:pos x="connsiteX24667" y="connsiteY24667"/>
              </a:cxn>
              <a:cxn ang="0">
                <a:pos x="connsiteX24668" y="connsiteY24668"/>
              </a:cxn>
              <a:cxn ang="0">
                <a:pos x="connsiteX24669" y="connsiteY24669"/>
              </a:cxn>
              <a:cxn ang="0">
                <a:pos x="connsiteX24670" y="connsiteY24670"/>
              </a:cxn>
              <a:cxn ang="0">
                <a:pos x="connsiteX24671" y="connsiteY24671"/>
              </a:cxn>
              <a:cxn ang="0">
                <a:pos x="connsiteX24672" y="connsiteY24672"/>
              </a:cxn>
              <a:cxn ang="0">
                <a:pos x="connsiteX24673" y="connsiteY24673"/>
              </a:cxn>
              <a:cxn ang="0">
                <a:pos x="connsiteX24674" y="connsiteY24674"/>
              </a:cxn>
              <a:cxn ang="0">
                <a:pos x="connsiteX24675" y="connsiteY24675"/>
              </a:cxn>
              <a:cxn ang="0">
                <a:pos x="connsiteX24676" y="connsiteY24676"/>
              </a:cxn>
              <a:cxn ang="0">
                <a:pos x="connsiteX24677" y="connsiteY24677"/>
              </a:cxn>
              <a:cxn ang="0">
                <a:pos x="connsiteX24678" y="connsiteY24678"/>
              </a:cxn>
              <a:cxn ang="0">
                <a:pos x="connsiteX24679" y="connsiteY24679"/>
              </a:cxn>
              <a:cxn ang="0">
                <a:pos x="connsiteX24680" y="connsiteY24680"/>
              </a:cxn>
              <a:cxn ang="0">
                <a:pos x="connsiteX24681" y="connsiteY24681"/>
              </a:cxn>
              <a:cxn ang="0">
                <a:pos x="connsiteX24682" y="connsiteY24682"/>
              </a:cxn>
              <a:cxn ang="0">
                <a:pos x="connsiteX24683" y="connsiteY24683"/>
              </a:cxn>
              <a:cxn ang="0">
                <a:pos x="connsiteX24684" y="connsiteY24684"/>
              </a:cxn>
              <a:cxn ang="0">
                <a:pos x="connsiteX24685" y="connsiteY24685"/>
              </a:cxn>
              <a:cxn ang="0">
                <a:pos x="connsiteX24686" y="connsiteY24686"/>
              </a:cxn>
              <a:cxn ang="0">
                <a:pos x="connsiteX24687" y="connsiteY24687"/>
              </a:cxn>
              <a:cxn ang="0">
                <a:pos x="connsiteX24688" y="connsiteY24688"/>
              </a:cxn>
              <a:cxn ang="0">
                <a:pos x="connsiteX24689" y="connsiteY24689"/>
              </a:cxn>
              <a:cxn ang="0">
                <a:pos x="connsiteX24690" y="connsiteY24690"/>
              </a:cxn>
              <a:cxn ang="0">
                <a:pos x="connsiteX24691" y="connsiteY24691"/>
              </a:cxn>
              <a:cxn ang="0">
                <a:pos x="connsiteX24692" y="connsiteY24692"/>
              </a:cxn>
              <a:cxn ang="0">
                <a:pos x="connsiteX24693" y="connsiteY24693"/>
              </a:cxn>
              <a:cxn ang="0">
                <a:pos x="connsiteX24694" y="connsiteY24694"/>
              </a:cxn>
              <a:cxn ang="0">
                <a:pos x="connsiteX24695" y="connsiteY24695"/>
              </a:cxn>
              <a:cxn ang="0">
                <a:pos x="connsiteX24696" y="connsiteY24696"/>
              </a:cxn>
              <a:cxn ang="0">
                <a:pos x="connsiteX24697" y="connsiteY24697"/>
              </a:cxn>
              <a:cxn ang="0">
                <a:pos x="connsiteX24698" y="connsiteY24698"/>
              </a:cxn>
              <a:cxn ang="0">
                <a:pos x="connsiteX24699" y="connsiteY24699"/>
              </a:cxn>
              <a:cxn ang="0">
                <a:pos x="connsiteX24700" y="connsiteY24700"/>
              </a:cxn>
              <a:cxn ang="0">
                <a:pos x="connsiteX24701" y="connsiteY24701"/>
              </a:cxn>
              <a:cxn ang="0">
                <a:pos x="connsiteX24702" y="connsiteY24702"/>
              </a:cxn>
              <a:cxn ang="0">
                <a:pos x="connsiteX24703" y="connsiteY24703"/>
              </a:cxn>
              <a:cxn ang="0">
                <a:pos x="connsiteX24704" y="connsiteY24704"/>
              </a:cxn>
              <a:cxn ang="0">
                <a:pos x="connsiteX24705" y="connsiteY24705"/>
              </a:cxn>
              <a:cxn ang="0">
                <a:pos x="connsiteX24706" y="connsiteY24706"/>
              </a:cxn>
              <a:cxn ang="0">
                <a:pos x="connsiteX24707" y="connsiteY24707"/>
              </a:cxn>
              <a:cxn ang="0">
                <a:pos x="connsiteX24708" y="connsiteY24708"/>
              </a:cxn>
              <a:cxn ang="0">
                <a:pos x="connsiteX24709" y="connsiteY24709"/>
              </a:cxn>
              <a:cxn ang="0">
                <a:pos x="connsiteX24710" y="connsiteY24710"/>
              </a:cxn>
              <a:cxn ang="0">
                <a:pos x="connsiteX24711" y="connsiteY24711"/>
              </a:cxn>
              <a:cxn ang="0">
                <a:pos x="connsiteX24712" y="connsiteY24712"/>
              </a:cxn>
              <a:cxn ang="0">
                <a:pos x="connsiteX24713" y="connsiteY24713"/>
              </a:cxn>
              <a:cxn ang="0">
                <a:pos x="connsiteX24714" y="connsiteY24714"/>
              </a:cxn>
              <a:cxn ang="0">
                <a:pos x="connsiteX24715" y="connsiteY24715"/>
              </a:cxn>
              <a:cxn ang="0">
                <a:pos x="connsiteX24716" y="connsiteY24716"/>
              </a:cxn>
              <a:cxn ang="0">
                <a:pos x="connsiteX24717" y="connsiteY24717"/>
              </a:cxn>
              <a:cxn ang="0">
                <a:pos x="connsiteX24718" y="connsiteY24718"/>
              </a:cxn>
              <a:cxn ang="0">
                <a:pos x="connsiteX24719" y="connsiteY24719"/>
              </a:cxn>
              <a:cxn ang="0">
                <a:pos x="connsiteX24720" y="connsiteY24720"/>
              </a:cxn>
              <a:cxn ang="0">
                <a:pos x="connsiteX24721" y="connsiteY24721"/>
              </a:cxn>
              <a:cxn ang="0">
                <a:pos x="connsiteX24722" y="connsiteY24722"/>
              </a:cxn>
              <a:cxn ang="0">
                <a:pos x="connsiteX24723" y="connsiteY24723"/>
              </a:cxn>
              <a:cxn ang="0">
                <a:pos x="connsiteX24724" y="connsiteY24724"/>
              </a:cxn>
              <a:cxn ang="0">
                <a:pos x="connsiteX24725" y="connsiteY24725"/>
              </a:cxn>
              <a:cxn ang="0">
                <a:pos x="connsiteX24726" y="connsiteY24726"/>
              </a:cxn>
              <a:cxn ang="0">
                <a:pos x="connsiteX24727" y="connsiteY24727"/>
              </a:cxn>
              <a:cxn ang="0">
                <a:pos x="connsiteX24728" y="connsiteY24728"/>
              </a:cxn>
              <a:cxn ang="0">
                <a:pos x="connsiteX24729" y="connsiteY24729"/>
              </a:cxn>
              <a:cxn ang="0">
                <a:pos x="connsiteX24730" y="connsiteY24730"/>
              </a:cxn>
              <a:cxn ang="0">
                <a:pos x="connsiteX24731" y="connsiteY24731"/>
              </a:cxn>
              <a:cxn ang="0">
                <a:pos x="connsiteX24732" y="connsiteY24732"/>
              </a:cxn>
              <a:cxn ang="0">
                <a:pos x="connsiteX24733" y="connsiteY24733"/>
              </a:cxn>
              <a:cxn ang="0">
                <a:pos x="connsiteX24734" y="connsiteY24734"/>
              </a:cxn>
              <a:cxn ang="0">
                <a:pos x="connsiteX24735" y="connsiteY24735"/>
              </a:cxn>
              <a:cxn ang="0">
                <a:pos x="connsiteX24736" y="connsiteY24736"/>
              </a:cxn>
              <a:cxn ang="0">
                <a:pos x="connsiteX24737" y="connsiteY24737"/>
              </a:cxn>
              <a:cxn ang="0">
                <a:pos x="connsiteX24738" y="connsiteY24738"/>
              </a:cxn>
              <a:cxn ang="0">
                <a:pos x="connsiteX24739" y="connsiteY24739"/>
              </a:cxn>
              <a:cxn ang="0">
                <a:pos x="connsiteX24740" y="connsiteY24740"/>
              </a:cxn>
              <a:cxn ang="0">
                <a:pos x="connsiteX24741" y="connsiteY24741"/>
              </a:cxn>
              <a:cxn ang="0">
                <a:pos x="connsiteX24742" y="connsiteY24742"/>
              </a:cxn>
              <a:cxn ang="0">
                <a:pos x="connsiteX24743" y="connsiteY24743"/>
              </a:cxn>
              <a:cxn ang="0">
                <a:pos x="connsiteX24744" y="connsiteY24744"/>
              </a:cxn>
              <a:cxn ang="0">
                <a:pos x="connsiteX24745" y="connsiteY24745"/>
              </a:cxn>
              <a:cxn ang="0">
                <a:pos x="connsiteX24746" y="connsiteY24746"/>
              </a:cxn>
              <a:cxn ang="0">
                <a:pos x="connsiteX24747" y="connsiteY24747"/>
              </a:cxn>
              <a:cxn ang="0">
                <a:pos x="connsiteX24748" y="connsiteY24748"/>
              </a:cxn>
              <a:cxn ang="0">
                <a:pos x="connsiteX24749" y="connsiteY24749"/>
              </a:cxn>
              <a:cxn ang="0">
                <a:pos x="connsiteX24750" y="connsiteY24750"/>
              </a:cxn>
              <a:cxn ang="0">
                <a:pos x="connsiteX24751" y="connsiteY24751"/>
              </a:cxn>
              <a:cxn ang="0">
                <a:pos x="connsiteX24752" y="connsiteY24752"/>
              </a:cxn>
              <a:cxn ang="0">
                <a:pos x="connsiteX24753" y="connsiteY24753"/>
              </a:cxn>
              <a:cxn ang="0">
                <a:pos x="connsiteX24754" y="connsiteY24754"/>
              </a:cxn>
              <a:cxn ang="0">
                <a:pos x="connsiteX24755" y="connsiteY24755"/>
              </a:cxn>
              <a:cxn ang="0">
                <a:pos x="connsiteX24756" y="connsiteY24756"/>
              </a:cxn>
              <a:cxn ang="0">
                <a:pos x="connsiteX24757" y="connsiteY24757"/>
              </a:cxn>
              <a:cxn ang="0">
                <a:pos x="connsiteX24758" y="connsiteY24758"/>
              </a:cxn>
              <a:cxn ang="0">
                <a:pos x="connsiteX24759" y="connsiteY24759"/>
              </a:cxn>
              <a:cxn ang="0">
                <a:pos x="connsiteX24760" y="connsiteY24760"/>
              </a:cxn>
              <a:cxn ang="0">
                <a:pos x="connsiteX24761" y="connsiteY24761"/>
              </a:cxn>
              <a:cxn ang="0">
                <a:pos x="connsiteX24762" y="connsiteY24762"/>
              </a:cxn>
              <a:cxn ang="0">
                <a:pos x="connsiteX24763" y="connsiteY24763"/>
              </a:cxn>
              <a:cxn ang="0">
                <a:pos x="connsiteX24764" y="connsiteY24764"/>
              </a:cxn>
              <a:cxn ang="0">
                <a:pos x="connsiteX24765" y="connsiteY24765"/>
              </a:cxn>
              <a:cxn ang="0">
                <a:pos x="connsiteX24766" y="connsiteY24766"/>
              </a:cxn>
              <a:cxn ang="0">
                <a:pos x="connsiteX24767" y="connsiteY24767"/>
              </a:cxn>
              <a:cxn ang="0">
                <a:pos x="connsiteX24768" y="connsiteY24768"/>
              </a:cxn>
              <a:cxn ang="0">
                <a:pos x="connsiteX24769" y="connsiteY24769"/>
              </a:cxn>
              <a:cxn ang="0">
                <a:pos x="connsiteX24770" y="connsiteY24770"/>
              </a:cxn>
              <a:cxn ang="0">
                <a:pos x="connsiteX24771" y="connsiteY24771"/>
              </a:cxn>
              <a:cxn ang="0">
                <a:pos x="connsiteX24772" y="connsiteY24772"/>
              </a:cxn>
              <a:cxn ang="0">
                <a:pos x="connsiteX24773" y="connsiteY24773"/>
              </a:cxn>
              <a:cxn ang="0">
                <a:pos x="connsiteX24774" y="connsiteY24774"/>
              </a:cxn>
              <a:cxn ang="0">
                <a:pos x="connsiteX24775" y="connsiteY24775"/>
              </a:cxn>
              <a:cxn ang="0">
                <a:pos x="connsiteX24776" y="connsiteY24776"/>
              </a:cxn>
              <a:cxn ang="0">
                <a:pos x="connsiteX24777" y="connsiteY24777"/>
              </a:cxn>
              <a:cxn ang="0">
                <a:pos x="connsiteX24778" y="connsiteY24778"/>
              </a:cxn>
              <a:cxn ang="0">
                <a:pos x="connsiteX24779" y="connsiteY24779"/>
              </a:cxn>
              <a:cxn ang="0">
                <a:pos x="connsiteX24780" y="connsiteY24780"/>
              </a:cxn>
              <a:cxn ang="0">
                <a:pos x="connsiteX24781" y="connsiteY24781"/>
              </a:cxn>
              <a:cxn ang="0">
                <a:pos x="connsiteX24782" y="connsiteY24782"/>
              </a:cxn>
              <a:cxn ang="0">
                <a:pos x="connsiteX24783" y="connsiteY24783"/>
              </a:cxn>
              <a:cxn ang="0">
                <a:pos x="connsiteX24784" y="connsiteY24784"/>
              </a:cxn>
              <a:cxn ang="0">
                <a:pos x="connsiteX24785" y="connsiteY24785"/>
              </a:cxn>
              <a:cxn ang="0">
                <a:pos x="connsiteX24786" y="connsiteY24786"/>
              </a:cxn>
              <a:cxn ang="0">
                <a:pos x="connsiteX24787" y="connsiteY24787"/>
              </a:cxn>
              <a:cxn ang="0">
                <a:pos x="connsiteX24788" y="connsiteY24788"/>
              </a:cxn>
              <a:cxn ang="0">
                <a:pos x="connsiteX24789" y="connsiteY24789"/>
              </a:cxn>
              <a:cxn ang="0">
                <a:pos x="connsiteX24790" y="connsiteY24790"/>
              </a:cxn>
              <a:cxn ang="0">
                <a:pos x="connsiteX24791" y="connsiteY24791"/>
              </a:cxn>
              <a:cxn ang="0">
                <a:pos x="connsiteX24792" y="connsiteY24792"/>
              </a:cxn>
              <a:cxn ang="0">
                <a:pos x="connsiteX24793" y="connsiteY24793"/>
              </a:cxn>
              <a:cxn ang="0">
                <a:pos x="connsiteX24794" y="connsiteY24794"/>
              </a:cxn>
              <a:cxn ang="0">
                <a:pos x="connsiteX24795" y="connsiteY24795"/>
              </a:cxn>
              <a:cxn ang="0">
                <a:pos x="connsiteX24796" y="connsiteY24796"/>
              </a:cxn>
              <a:cxn ang="0">
                <a:pos x="connsiteX24797" y="connsiteY24797"/>
              </a:cxn>
              <a:cxn ang="0">
                <a:pos x="connsiteX24798" y="connsiteY24798"/>
              </a:cxn>
              <a:cxn ang="0">
                <a:pos x="connsiteX24799" y="connsiteY24799"/>
              </a:cxn>
              <a:cxn ang="0">
                <a:pos x="connsiteX24800" y="connsiteY24800"/>
              </a:cxn>
              <a:cxn ang="0">
                <a:pos x="connsiteX24801" y="connsiteY24801"/>
              </a:cxn>
              <a:cxn ang="0">
                <a:pos x="connsiteX24802" y="connsiteY24802"/>
              </a:cxn>
              <a:cxn ang="0">
                <a:pos x="connsiteX24803" y="connsiteY24803"/>
              </a:cxn>
              <a:cxn ang="0">
                <a:pos x="connsiteX24804" y="connsiteY24804"/>
              </a:cxn>
              <a:cxn ang="0">
                <a:pos x="connsiteX24805" y="connsiteY24805"/>
              </a:cxn>
              <a:cxn ang="0">
                <a:pos x="connsiteX24806" y="connsiteY24806"/>
              </a:cxn>
              <a:cxn ang="0">
                <a:pos x="connsiteX24807" y="connsiteY24807"/>
              </a:cxn>
              <a:cxn ang="0">
                <a:pos x="connsiteX24808" y="connsiteY24808"/>
              </a:cxn>
              <a:cxn ang="0">
                <a:pos x="connsiteX24809" y="connsiteY24809"/>
              </a:cxn>
              <a:cxn ang="0">
                <a:pos x="connsiteX24810" y="connsiteY24810"/>
              </a:cxn>
              <a:cxn ang="0">
                <a:pos x="connsiteX24811" y="connsiteY24811"/>
              </a:cxn>
              <a:cxn ang="0">
                <a:pos x="connsiteX24812" y="connsiteY24812"/>
              </a:cxn>
              <a:cxn ang="0">
                <a:pos x="connsiteX24813" y="connsiteY24813"/>
              </a:cxn>
              <a:cxn ang="0">
                <a:pos x="connsiteX24814" y="connsiteY24814"/>
              </a:cxn>
              <a:cxn ang="0">
                <a:pos x="connsiteX24815" y="connsiteY24815"/>
              </a:cxn>
              <a:cxn ang="0">
                <a:pos x="connsiteX24816" y="connsiteY24816"/>
              </a:cxn>
              <a:cxn ang="0">
                <a:pos x="connsiteX24817" y="connsiteY24817"/>
              </a:cxn>
              <a:cxn ang="0">
                <a:pos x="connsiteX24818" y="connsiteY24818"/>
              </a:cxn>
              <a:cxn ang="0">
                <a:pos x="connsiteX24819" y="connsiteY24819"/>
              </a:cxn>
              <a:cxn ang="0">
                <a:pos x="connsiteX24820" y="connsiteY24820"/>
              </a:cxn>
              <a:cxn ang="0">
                <a:pos x="connsiteX24821" y="connsiteY24821"/>
              </a:cxn>
              <a:cxn ang="0">
                <a:pos x="connsiteX24822" y="connsiteY24822"/>
              </a:cxn>
              <a:cxn ang="0">
                <a:pos x="connsiteX24823" y="connsiteY24823"/>
              </a:cxn>
              <a:cxn ang="0">
                <a:pos x="connsiteX24824" y="connsiteY24824"/>
              </a:cxn>
              <a:cxn ang="0">
                <a:pos x="connsiteX24825" y="connsiteY24825"/>
              </a:cxn>
              <a:cxn ang="0">
                <a:pos x="connsiteX24826" y="connsiteY24826"/>
              </a:cxn>
              <a:cxn ang="0">
                <a:pos x="connsiteX24827" y="connsiteY24827"/>
              </a:cxn>
              <a:cxn ang="0">
                <a:pos x="connsiteX24828" y="connsiteY24828"/>
              </a:cxn>
              <a:cxn ang="0">
                <a:pos x="connsiteX24829" y="connsiteY24829"/>
              </a:cxn>
              <a:cxn ang="0">
                <a:pos x="connsiteX24830" y="connsiteY24830"/>
              </a:cxn>
              <a:cxn ang="0">
                <a:pos x="connsiteX24831" y="connsiteY24831"/>
              </a:cxn>
              <a:cxn ang="0">
                <a:pos x="connsiteX24832" y="connsiteY24832"/>
              </a:cxn>
              <a:cxn ang="0">
                <a:pos x="connsiteX24833" y="connsiteY24833"/>
              </a:cxn>
              <a:cxn ang="0">
                <a:pos x="connsiteX24834" y="connsiteY24834"/>
              </a:cxn>
              <a:cxn ang="0">
                <a:pos x="connsiteX24835" y="connsiteY24835"/>
              </a:cxn>
              <a:cxn ang="0">
                <a:pos x="connsiteX24836" y="connsiteY24836"/>
              </a:cxn>
              <a:cxn ang="0">
                <a:pos x="connsiteX24837" y="connsiteY24837"/>
              </a:cxn>
              <a:cxn ang="0">
                <a:pos x="connsiteX24838" y="connsiteY24838"/>
              </a:cxn>
              <a:cxn ang="0">
                <a:pos x="connsiteX24839" y="connsiteY24839"/>
              </a:cxn>
              <a:cxn ang="0">
                <a:pos x="connsiteX24840" y="connsiteY24840"/>
              </a:cxn>
              <a:cxn ang="0">
                <a:pos x="connsiteX24841" y="connsiteY24841"/>
              </a:cxn>
              <a:cxn ang="0">
                <a:pos x="connsiteX24842" y="connsiteY24842"/>
              </a:cxn>
              <a:cxn ang="0">
                <a:pos x="connsiteX24843" y="connsiteY24843"/>
              </a:cxn>
              <a:cxn ang="0">
                <a:pos x="connsiteX24844" y="connsiteY24844"/>
              </a:cxn>
              <a:cxn ang="0">
                <a:pos x="connsiteX24845" y="connsiteY24845"/>
              </a:cxn>
              <a:cxn ang="0">
                <a:pos x="connsiteX24846" y="connsiteY24846"/>
              </a:cxn>
              <a:cxn ang="0">
                <a:pos x="connsiteX24847" y="connsiteY24847"/>
              </a:cxn>
              <a:cxn ang="0">
                <a:pos x="connsiteX24848" y="connsiteY24848"/>
              </a:cxn>
              <a:cxn ang="0">
                <a:pos x="connsiteX24849" y="connsiteY24849"/>
              </a:cxn>
              <a:cxn ang="0">
                <a:pos x="connsiteX24850" y="connsiteY24850"/>
              </a:cxn>
              <a:cxn ang="0">
                <a:pos x="connsiteX24851" y="connsiteY24851"/>
              </a:cxn>
              <a:cxn ang="0">
                <a:pos x="connsiteX24852" y="connsiteY24852"/>
              </a:cxn>
              <a:cxn ang="0">
                <a:pos x="connsiteX24853" y="connsiteY24853"/>
              </a:cxn>
              <a:cxn ang="0">
                <a:pos x="connsiteX24854" y="connsiteY24854"/>
              </a:cxn>
              <a:cxn ang="0">
                <a:pos x="connsiteX24855" y="connsiteY24855"/>
              </a:cxn>
              <a:cxn ang="0">
                <a:pos x="connsiteX24856" y="connsiteY24856"/>
              </a:cxn>
              <a:cxn ang="0">
                <a:pos x="connsiteX24857" y="connsiteY24857"/>
              </a:cxn>
              <a:cxn ang="0">
                <a:pos x="connsiteX24858" y="connsiteY24858"/>
              </a:cxn>
              <a:cxn ang="0">
                <a:pos x="connsiteX24859" y="connsiteY24859"/>
              </a:cxn>
              <a:cxn ang="0">
                <a:pos x="connsiteX24860" y="connsiteY24860"/>
              </a:cxn>
              <a:cxn ang="0">
                <a:pos x="connsiteX24861" y="connsiteY24861"/>
              </a:cxn>
              <a:cxn ang="0">
                <a:pos x="connsiteX24862" y="connsiteY24862"/>
              </a:cxn>
              <a:cxn ang="0">
                <a:pos x="connsiteX24863" y="connsiteY24863"/>
              </a:cxn>
              <a:cxn ang="0">
                <a:pos x="connsiteX24864" y="connsiteY24864"/>
              </a:cxn>
              <a:cxn ang="0">
                <a:pos x="connsiteX24865" y="connsiteY24865"/>
              </a:cxn>
              <a:cxn ang="0">
                <a:pos x="connsiteX24866" y="connsiteY24866"/>
              </a:cxn>
              <a:cxn ang="0">
                <a:pos x="connsiteX24867" y="connsiteY24867"/>
              </a:cxn>
              <a:cxn ang="0">
                <a:pos x="connsiteX24868" y="connsiteY24868"/>
              </a:cxn>
              <a:cxn ang="0">
                <a:pos x="connsiteX24869" y="connsiteY24869"/>
              </a:cxn>
              <a:cxn ang="0">
                <a:pos x="connsiteX24870" y="connsiteY24870"/>
              </a:cxn>
              <a:cxn ang="0">
                <a:pos x="connsiteX24871" y="connsiteY24871"/>
              </a:cxn>
              <a:cxn ang="0">
                <a:pos x="connsiteX24872" y="connsiteY24872"/>
              </a:cxn>
              <a:cxn ang="0">
                <a:pos x="connsiteX24873" y="connsiteY24873"/>
              </a:cxn>
              <a:cxn ang="0">
                <a:pos x="connsiteX24874" y="connsiteY24874"/>
              </a:cxn>
              <a:cxn ang="0">
                <a:pos x="connsiteX24875" y="connsiteY24875"/>
              </a:cxn>
              <a:cxn ang="0">
                <a:pos x="connsiteX24876" y="connsiteY24876"/>
              </a:cxn>
              <a:cxn ang="0">
                <a:pos x="connsiteX24877" y="connsiteY24877"/>
              </a:cxn>
              <a:cxn ang="0">
                <a:pos x="connsiteX24878" y="connsiteY24878"/>
              </a:cxn>
              <a:cxn ang="0">
                <a:pos x="connsiteX24879" y="connsiteY24879"/>
              </a:cxn>
              <a:cxn ang="0">
                <a:pos x="connsiteX24880" y="connsiteY24880"/>
              </a:cxn>
              <a:cxn ang="0">
                <a:pos x="connsiteX24881" y="connsiteY24881"/>
              </a:cxn>
              <a:cxn ang="0">
                <a:pos x="connsiteX24882" y="connsiteY24882"/>
              </a:cxn>
              <a:cxn ang="0">
                <a:pos x="connsiteX24883" y="connsiteY24883"/>
              </a:cxn>
              <a:cxn ang="0">
                <a:pos x="connsiteX24884" y="connsiteY24884"/>
              </a:cxn>
              <a:cxn ang="0">
                <a:pos x="connsiteX24885" y="connsiteY24885"/>
              </a:cxn>
              <a:cxn ang="0">
                <a:pos x="connsiteX24886" y="connsiteY24886"/>
              </a:cxn>
              <a:cxn ang="0">
                <a:pos x="connsiteX24887" y="connsiteY24887"/>
              </a:cxn>
              <a:cxn ang="0">
                <a:pos x="connsiteX24888" y="connsiteY24888"/>
              </a:cxn>
              <a:cxn ang="0">
                <a:pos x="connsiteX24889" y="connsiteY24889"/>
              </a:cxn>
              <a:cxn ang="0">
                <a:pos x="connsiteX24890" y="connsiteY24890"/>
              </a:cxn>
              <a:cxn ang="0">
                <a:pos x="connsiteX24891" y="connsiteY24891"/>
              </a:cxn>
              <a:cxn ang="0">
                <a:pos x="connsiteX24892" y="connsiteY24892"/>
              </a:cxn>
              <a:cxn ang="0">
                <a:pos x="connsiteX24893" y="connsiteY24893"/>
              </a:cxn>
              <a:cxn ang="0">
                <a:pos x="connsiteX24894" y="connsiteY24894"/>
              </a:cxn>
              <a:cxn ang="0">
                <a:pos x="connsiteX24895" y="connsiteY24895"/>
              </a:cxn>
              <a:cxn ang="0">
                <a:pos x="connsiteX24896" y="connsiteY24896"/>
              </a:cxn>
              <a:cxn ang="0">
                <a:pos x="connsiteX24897" y="connsiteY24897"/>
              </a:cxn>
              <a:cxn ang="0">
                <a:pos x="connsiteX24898" y="connsiteY24898"/>
              </a:cxn>
              <a:cxn ang="0">
                <a:pos x="connsiteX24899" y="connsiteY24899"/>
              </a:cxn>
              <a:cxn ang="0">
                <a:pos x="connsiteX24900" y="connsiteY24900"/>
              </a:cxn>
              <a:cxn ang="0">
                <a:pos x="connsiteX24901" y="connsiteY24901"/>
              </a:cxn>
              <a:cxn ang="0">
                <a:pos x="connsiteX24902" y="connsiteY24902"/>
              </a:cxn>
              <a:cxn ang="0">
                <a:pos x="connsiteX24903" y="connsiteY24903"/>
              </a:cxn>
              <a:cxn ang="0">
                <a:pos x="connsiteX24904" y="connsiteY24904"/>
              </a:cxn>
              <a:cxn ang="0">
                <a:pos x="connsiteX24905" y="connsiteY24905"/>
              </a:cxn>
              <a:cxn ang="0">
                <a:pos x="connsiteX24906" y="connsiteY24906"/>
              </a:cxn>
              <a:cxn ang="0">
                <a:pos x="connsiteX24907" y="connsiteY24907"/>
              </a:cxn>
              <a:cxn ang="0">
                <a:pos x="connsiteX24908" y="connsiteY24908"/>
              </a:cxn>
              <a:cxn ang="0">
                <a:pos x="connsiteX24909" y="connsiteY24909"/>
              </a:cxn>
              <a:cxn ang="0">
                <a:pos x="connsiteX24910" y="connsiteY24910"/>
              </a:cxn>
              <a:cxn ang="0">
                <a:pos x="connsiteX24911" y="connsiteY24911"/>
              </a:cxn>
              <a:cxn ang="0">
                <a:pos x="connsiteX24912" y="connsiteY24912"/>
              </a:cxn>
              <a:cxn ang="0">
                <a:pos x="connsiteX24913" y="connsiteY24913"/>
              </a:cxn>
              <a:cxn ang="0">
                <a:pos x="connsiteX24914" y="connsiteY24914"/>
              </a:cxn>
              <a:cxn ang="0">
                <a:pos x="connsiteX24915" y="connsiteY24915"/>
              </a:cxn>
              <a:cxn ang="0">
                <a:pos x="connsiteX24916" y="connsiteY24916"/>
              </a:cxn>
              <a:cxn ang="0">
                <a:pos x="connsiteX24917" y="connsiteY24917"/>
              </a:cxn>
              <a:cxn ang="0">
                <a:pos x="connsiteX24918" y="connsiteY24918"/>
              </a:cxn>
              <a:cxn ang="0">
                <a:pos x="connsiteX24919" y="connsiteY24919"/>
              </a:cxn>
              <a:cxn ang="0">
                <a:pos x="connsiteX24920" y="connsiteY24920"/>
              </a:cxn>
              <a:cxn ang="0">
                <a:pos x="connsiteX24921" y="connsiteY24921"/>
              </a:cxn>
              <a:cxn ang="0">
                <a:pos x="connsiteX24922" y="connsiteY24922"/>
              </a:cxn>
              <a:cxn ang="0">
                <a:pos x="connsiteX24923" y="connsiteY24923"/>
              </a:cxn>
              <a:cxn ang="0">
                <a:pos x="connsiteX24924" y="connsiteY24924"/>
              </a:cxn>
              <a:cxn ang="0">
                <a:pos x="connsiteX24925" y="connsiteY24925"/>
              </a:cxn>
              <a:cxn ang="0">
                <a:pos x="connsiteX24926" y="connsiteY24926"/>
              </a:cxn>
              <a:cxn ang="0">
                <a:pos x="connsiteX24927" y="connsiteY24927"/>
              </a:cxn>
              <a:cxn ang="0">
                <a:pos x="connsiteX24928" y="connsiteY24928"/>
              </a:cxn>
              <a:cxn ang="0">
                <a:pos x="connsiteX24929" y="connsiteY24929"/>
              </a:cxn>
              <a:cxn ang="0">
                <a:pos x="connsiteX24930" y="connsiteY24930"/>
              </a:cxn>
              <a:cxn ang="0">
                <a:pos x="connsiteX24931" y="connsiteY24931"/>
              </a:cxn>
              <a:cxn ang="0">
                <a:pos x="connsiteX24932" y="connsiteY24932"/>
              </a:cxn>
              <a:cxn ang="0">
                <a:pos x="connsiteX24933" y="connsiteY24933"/>
              </a:cxn>
              <a:cxn ang="0">
                <a:pos x="connsiteX24934" y="connsiteY24934"/>
              </a:cxn>
              <a:cxn ang="0">
                <a:pos x="connsiteX24935" y="connsiteY24935"/>
              </a:cxn>
              <a:cxn ang="0">
                <a:pos x="connsiteX24936" y="connsiteY24936"/>
              </a:cxn>
              <a:cxn ang="0">
                <a:pos x="connsiteX24937" y="connsiteY24937"/>
              </a:cxn>
              <a:cxn ang="0">
                <a:pos x="connsiteX24938" y="connsiteY24938"/>
              </a:cxn>
              <a:cxn ang="0">
                <a:pos x="connsiteX24939" y="connsiteY24939"/>
              </a:cxn>
              <a:cxn ang="0">
                <a:pos x="connsiteX24940" y="connsiteY24940"/>
              </a:cxn>
              <a:cxn ang="0">
                <a:pos x="connsiteX24941" y="connsiteY24941"/>
              </a:cxn>
              <a:cxn ang="0">
                <a:pos x="connsiteX24942" y="connsiteY24942"/>
              </a:cxn>
              <a:cxn ang="0">
                <a:pos x="connsiteX24943" y="connsiteY24943"/>
              </a:cxn>
              <a:cxn ang="0">
                <a:pos x="connsiteX24944" y="connsiteY24944"/>
              </a:cxn>
              <a:cxn ang="0">
                <a:pos x="connsiteX24945" y="connsiteY24945"/>
              </a:cxn>
              <a:cxn ang="0">
                <a:pos x="connsiteX24946" y="connsiteY24946"/>
              </a:cxn>
              <a:cxn ang="0">
                <a:pos x="connsiteX24947" y="connsiteY24947"/>
              </a:cxn>
              <a:cxn ang="0">
                <a:pos x="connsiteX24948" y="connsiteY24948"/>
              </a:cxn>
              <a:cxn ang="0">
                <a:pos x="connsiteX24949" y="connsiteY24949"/>
              </a:cxn>
              <a:cxn ang="0">
                <a:pos x="connsiteX24950" y="connsiteY24950"/>
              </a:cxn>
              <a:cxn ang="0">
                <a:pos x="connsiteX24951" y="connsiteY24951"/>
              </a:cxn>
              <a:cxn ang="0">
                <a:pos x="connsiteX24952" y="connsiteY24952"/>
              </a:cxn>
              <a:cxn ang="0">
                <a:pos x="connsiteX24953" y="connsiteY24953"/>
              </a:cxn>
              <a:cxn ang="0">
                <a:pos x="connsiteX24954" y="connsiteY24954"/>
              </a:cxn>
              <a:cxn ang="0">
                <a:pos x="connsiteX24955" y="connsiteY24955"/>
              </a:cxn>
              <a:cxn ang="0">
                <a:pos x="connsiteX24956" y="connsiteY24956"/>
              </a:cxn>
              <a:cxn ang="0">
                <a:pos x="connsiteX24957" y="connsiteY24957"/>
              </a:cxn>
              <a:cxn ang="0">
                <a:pos x="connsiteX24958" y="connsiteY24958"/>
              </a:cxn>
              <a:cxn ang="0">
                <a:pos x="connsiteX24959" y="connsiteY24959"/>
              </a:cxn>
              <a:cxn ang="0">
                <a:pos x="connsiteX24960" y="connsiteY24960"/>
              </a:cxn>
              <a:cxn ang="0">
                <a:pos x="connsiteX24961" y="connsiteY24961"/>
              </a:cxn>
              <a:cxn ang="0">
                <a:pos x="connsiteX24962" y="connsiteY24962"/>
              </a:cxn>
              <a:cxn ang="0">
                <a:pos x="connsiteX24963" y="connsiteY24963"/>
              </a:cxn>
              <a:cxn ang="0">
                <a:pos x="connsiteX24964" y="connsiteY24964"/>
              </a:cxn>
              <a:cxn ang="0">
                <a:pos x="connsiteX24965" y="connsiteY24965"/>
              </a:cxn>
              <a:cxn ang="0">
                <a:pos x="connsiteX24966" y="connsiteY24966"/>
              </a:cxn>
              <a:cxn ang="0">
                <a:pos x="connsiteX24967" y="connsiteY24967"/>
              </a:cxn>
              <a:cxn ang="0">
                <a:pos x="connsiteX24968" y="connsiteY24968"/>
              </a:cxn>
              <a:cxn ang="0">
                <a:pos x="connsiteX24969" y="connsiteY24969"/>
              </a:cxn>
              <a:cxn ang="0">
                <a:pos x="connsiteX24970" y="connsiteY24970"/>
              </a:cxn>
              <a:cxn ang="0">
                <a:pos x="connsiteX24971" y="connsiteY24971"/>
              </a:cxn>
              <a:cxn ang="0">
                <a:pos x="connsiteX24972" y="connsiteY24972"/>
              </a:cxn>
              <a:cxn ang="0">
                <a:pos x="connsiteX24973" y="connsiteY24973"/>
              </a:cxn>
              <a:cxn ang="0">
                <a:pos x="connsiteX24974" y="connsiteY24974"/>
              </a:cxn>
              <a:cxn ang="0">
                <a:pos x="connsiteX24975" y="connsiteY24975"/>
              </a:cxn>
              <a:cxn ang="0">
                <a:pos x="connsiteX24976" y="connsiteY24976"/>
              </a:cxn>
              <a:cxn ang="0">
                <a:pos x="connsiteX24977" y="connsiteY24977"/>
              </a:cxn>
              <a:cxn ang="0">
                <a:pos x="connsiteX24978" y="connsiteY24978"/>
              </a:cxn>
              <a:cxn ang="0">
                <a:pos x="connsiteX24979" y="connsiteY24979"/>
              </a:cxn>
              <a:cxn ang="0">
                <a:pos x="connsiteX24980" y="connsiteY24980"/>
              </a:cxn>
              <a:cxn ang="0">
                <a:pos x="connsiteX24981" y="connsiteY24981"/>
              </a:cxn>
              <a:cxn ang="0">
                <a:pos x="connsiteX24982" y="connsiteY24982"/>
              </a:cxn>
              <a:cxn ang="0">
                <a:pos x="connsiteX24983" y="connsiteY24983"/>
              </a:cxn>
              <a:cxn ang="0">
                <a:pos x="connsiteX24984" y="connsiteY24984"/>
              </a:cxn>
              <a:cxn ang="0">
                <a:pos x="connsiteX24985" y="connsiteY24985"/>
              </a:cxn>
              <a:cxn ang="0">
                <a:pos x="connsiteX24986" y="connsiteY24986"/>
              </a:cxn>
              <a:cxn ang="0">
                <a:pos x="connsiteX24987" y="connsiteY24987"/>
              </a:cxn>
              <a:cxn ang="0">
                <a:pos x="connsiteX24988" y="connsiteY24988"/>
              </a:cxn>
              <a:cxn ang="0">
                <a:pos x="connsiteX24989" y="connsiteY24989"/>
              </a:cxn>
              <a:cxn ang="0">
                <a:pos x="connsiteX24990" y="connsiteY24990"/>
              </a:cxn>
              <a:cxn ang="0">
                <a:pos x="connsiteX24991" y="connsiteY24991"/>
              </a:cxn>
              <a:cxn ang="0">
                <a:pos x="connsiteX24992" y="connsiteY24992"/>
              </a:cxn>
              <a:cxn ang="0">
                <a:pos x="connsiteX24993" y="connsiteY24993"/>
              </a:cxn>
              <a:cxn ang="0">
                <a:pos x="connsiteX24994" y="connsiteY24994"/>
              </a:cxn>
              <a:cxn ang="0">
                <a:pos x="connsiteX24995" y="connsiteY24995"/>
              </a:cxn>
              <a:cxn ang="0">
                <a:pos x="connsiteX24996" y="connsiteY24996"/>
              </a:cxn>
              <a:cxn ang="0">
                <a:pos x="connsiteX24997" y="connsiteY24997"/>
              </a:cxn>
              <a:cxn ang="0">
                <a:pos x="connsiteX24998" y="connsiteY24998"/>
              </a:cxn>
              <a:cxn ang="0">
                <a:pos x="connsiteX24999" y="connsiteY24999"/>
              </a:cxn>
              <a:cxn ang="0">
                <a:pos x="connsiteX25000" y="connsiteY25000"/>
              </a:cxn>
              <a:cxn ang="0">
                <a:pos x="connsiteX25001" y="connsiteY25001"/>
              </a:cxn>
              <a:cxn ang="0">
                <a:pos x="connsiteX25002" y="connsiteY25002"/>
              </a:cxn>
              <a:cxn ang="0">
                <a:pos x="connsiteX25003" y="connsiteY25003"/>
              </a:cxn>
              <a:cxn ang="0">
                <a:pos x="connsiteX25004" y="connsiteY25004"/>
              </a:cxn>
              <a:cxn ang="0">
                <a:pos x="connsiteX25005" y="connsiteY25005"/>
              </a:cxn>
              <a:cxn ang="0">
                <a:pos x="connsiteX25006" y="connsiteY25006"/>
              </a:cxn>
              <a:cxn ang="0">
                <a:pos x="connsiteX25007" y="connsiteY25007"/>
              </a:cxn>
              <a:cxn ang="0">
                <a:pos x="connsiteX25008" y="connsiteY25008"/>
              </a:cxn>
              <a:cxn ang="0">
                <a:pos x="connsiteX25009" y="connsiteY25009"/>
              </a:cxn>
              <a:cxn ang="0">
                <a:pos x="connsiteX25010" y="connsiteY25010"/>
              </a:cxn>
              <a:cxn ang="0">
                <a:pos x="connsiteX25011" y="connsiteY25011"/>
              </a:cxn>
              <a:cxn ang="0">
                <a:pos x="connsiteX25012" y="connsiteY25012"/>
              </a:cxn>
              <a:cxn ang="0">
                <a:pos x="connsiteX25013" y="connsiteY25013"/>
              </a:cxn>
              <a:cxn ang="0">
                <a:pos x="connsiteX25014" y="connsiteY25014"/>
              </a:cxn>
              <a:cxn ang="0">
                <a:pos x="connsiteX25015" y="connsiteY25015"/>
              </a:cxn>
              <a:cxn ang="0">
                <a:pos x="connsiteX25016" y="connsiteY25016"/>
              </a:cxn>
              <a:cxn ang="0">
                <a:pos x="connsiteX25017" y="connsiteY25017"/>
              </a:cxn>
              <a:cxn ang="0">
                <a:pos x="connsiteX25018" y="connsiteY25018"/>
              </a:cxn>
              <a:cxn ang="0">
                <a:pos x="connsiteX25019" y="connsiteY25019"/>
              </a:cxn>
              <a:cxn ang="0">
                <a:pos x="connsiteX25020" y="connsiteY25020"/>
              </a:cxn>
              <a:cxn ang="0">
                <a:pos x="connsiteX25021" y="connsiteY25021"/>
              </a:cxn>
              <a:cxn ang="0">
                <a:pos x="connsiteX25022" y="connsiteY25022"/>
              </a:cxn>
              <a:cxn ang="0">
                <a:pos x="connsiteX25023" y="connsiteY25023"/>
              </a:cxn>
              <a:cxn ang="0">
                <a:pos x="connsiteX25024" y="connsiteY25024"/>
              </a:cxn>
              <a:cxn ang="0">
                <a:pos x="connsiteX25025" y="connsiteY25025"/>
              </a:cxn>
              <a:cxn ang="0">
                <a:pos x="connsiteX25026" y="connsiteY25026"/>
              </a:cxn>
              <a:cxn ang="0">
                <a:pos x="connsiteX25027" y="connsiteY25027"/>
              </a:cxn>
              <a:cxn ang="0">
                <a:pos x="connsiteX25028" y="connsiteY25028"/>
              </a:cxn>
              <a:cxn ang="0">
                <a:pos x="connsiteX25029" y="connsiteY25029"/>
              </a:cxn>
              <a:cxn ang="0">
                <a:pos x="connsiteX25030" y="connsiteY25030"/>
              </a:cxn>
              <a:cxn ang="0">
                <a:pos x="connsiteX25031" y="connsiteY25031"/>
              </a:cxn>
              <a:cxn ang="0">
                <a:pos x="connsiteX25032" y="connsiteY25032"/>
              </a:cxn>
              <a:cxn ang="0">
                <a:pos x="connsiteX25033" y="connsiteY25033"/>
              </a:cxn>
              <a:cxn ang="0">
                <a:pos x="connsiteX25034" y="connsiteY25034"/>
              </a:cxn>
              <a:cxn ang="0">
                <a:pos x="connsiteX25035" y="connsiteY25035"/>
              </a:cxn>
              <a:cxn ang="0">
                <a:pos x="connsiteX25036" y="connsiteY25036"/>
              </a:cxn>
              <a:cxn ang="0">
                <a:pos x="connsiteX25037" y="connsiteY25037"/>
              </a:cxn>
              <a:cxn ang="0">
                <a:pos x="connsiteX25038" y="connsiteY25038"/>
              </a:cxn>
              <a:cxn ang="0">
                <a:pos x="connsiteX25039" y="connsiteY25039"/>
              </a:cxn>
              <a:cxn ang="0">
                <a:pos x="connsiteX25040" y="connsiteY25040"/>
              </a:cxn>
              <a:cxn ang="0">
                <a:pos x="connsiteX25041" y="connsiteY25041"/>
              </a:cxn>
              <a:cxn ang="0">
                <a:pos x="connsiteX25042" y="connsiteY25042"/>
              </a:cxn>
              <a:cxn ang="0">
                <a:pos x="connsiteX25043" y="connsiteY25043"/>
              </a:cxn>
              <a:cxn ang="0">
                <a:pos x="connsiteX25044" y="connsiteY25044"/>
              </a:cxn>
              <a:cxn ang="0">
                <a:pos x="connsiteX25045" y="connsiteY25045"/>
              </a:cxn>
              <a:cxn ang="0">
                <a:pos x="connsiteX25046" y="connsiteY25046"/>
              </a:cxn>
              <a:cxn ang="0">
                <a:pos x="connsiteX25047" y="connsiteY25047"/>
              </a:cxn>
              <a:cxn ang="0">
                <a:pos x="connsiteX25048" y="connsiteY25048"/>
              </a:cxn>
              <a:cxn ang="0">
                <a:pos x="connsiteX25049" y="connsiteY25049"/>
              </a:cxn>
              <a:cxn ang="0">
                <a:pos x="connsiteX25050" y="connsiteY25050"/>
              </a:cxn>
              <a:cxn ang="0">
                <a:pos x="connsiteX25051" y="connsiteY25051"/>
              </a:cxn>
              <a:cxn ang="0">
                <a:pos x="connsiteX25052" y="connsiteY25052"/>
              </a:cxn>
              <a:cxn ang="0">
                <a:pos x="connsiteX25053" y="connsiteY25053"/>
              </a:cxn>
              <a:cxn ang="0">
                <a:pos x="connsiteX25054" y="connsiteY25054"/>
              </a:cxn>
              <a:cxn ang="0">
                <a:pos x="connsiteX25055" y="connsiteY25055"/>
              </a:cxn>
              <a:cxn ang="0">
                <a:pos x="connsiteX25056" y="connsiteY25056"/>
              </a:cxn>
              <a:cxn ang="0">
                <a:pos x="connsiteX25057" y="connsiteY25057"/>
              </a:cxn>
              <a:cxn ang="0">
                <a:pos x="connsiteX25058" y="connsiteY25058"/>
              </a:cxn>
              <a:cxn ang="0">
                <a:pos x="connsiteX25059" y="connsiteY25059"/>
              </a:cxn>
              <a:cxn ang="0">
                <a:pos x="connsiteX25060" y="connsiteY25060"/>
              </a:cxn>
              <a:cxn ang="0">
                <a:pos x="connsiteX25061" y="connsiteY25061"/>
              </a:cxn>
              <a:cxn ang="0">
                <a:pos x="connsiteX25062" y="connsiteY25062"/>
              </a:cxn>
              <a:cxn ang="0">
                <a:pos x="connsiteX25063" y="connsiteY25063"/>
              </a:cxn>
              <a:cxn ang="0">
                <a:pos x="connsiteX25064" y="connsiteY25064"/>
              </a:cxn>
              <a:cxn ang="0">
                <a:pos x="connsiteX25065" y="connsiteY25065"/>
              </a:cxn>
              <a:cxn ang="0">
                <a:pos x="connsiteX25066" y="connsiteY25066"/>
              </a:cxn>
              <a:cxn ang="0">
                <a:pos x="connsiteX25067" y="connsiteY25067"/>
              </a:cxn>
              <a:cxn ang="0">
                <a:pos x="connsiteX25068" y="connsiteY25068"/>
              </a:cxn>
              <a:cxn ang="0">
                <a:pos x="connsiteX25069" y="connsiteY25069"/>
              </a:cxn>
              <a:cxn ang="0">
                <a:pos x="connsiteX25070" y="connsiteY25070"/>
              </a:cxn>
              <a:cxn ang="0">
                <a:pos x="connsiteX25071" y="connsiteY25071"/>
              </a:cxn>
              <a:cxn ang="0">
                <a:pos x="connsiteX25072" y="connsiteY25072"/>
              </a:cxn>
              <a:cxn ang="0">
                <a:pos x="connsiteX25073" y="connsiteY25073"/>
              </a:cxn>
              <a:cxn ang="0">
                <a:pos x="connsiteX25074" y="connsiteY25074"/>
              </a:cxn>
              <a:cxn ang="0">
                <a:pos x="connsiteX25075" y="connsiteY25075"/>
              </a:cxn>
              <a:cxn ang="0">
                <a:pos x="connsiteX25076" y="connsiteY25076"/>
              </a:cxn>
              <a:cxn ang="0">
                <a:pos x="connsiteX25077" y="connsiteY25077"/>
              </a:cxn>
              <a:cxn ang="0">
                <a:pos x="connsiteX25078" y="connsiteY25078"/>
              </a:cxn>
              <a:cxn ang="0">
                <a:pos x="connsiteX25079" y="connsiteY25079"/>
              </a:cxn>
              <a:cxn ang="0">
                <a:pos x="connsiteX25080" y="connsiteY25080"/>
              </a:cxn>
              <a:cxn ang="0">
                <a:pos x="connsiteX25081" y="connsiteY25081"/>
              </a:cxn>
              <a:cxn ang="0">
                <a:pos x="connsiteX25082" y="connsiteY25082"/>
              </a:cxn>
              <a:cxn ang="0">
                <a:pos x="connsiteX25083" y="connsiteY25083"/>
              </a:cxn>
              <a:cxn ang="0">
                <a:pos x="connsiteX25084" y="connsiteY25084"/>
              </a:cxn>
              <a:cxn ang="0">
                <a:pos x="connsiteX25085" y="connsiteY25085"/>
              </a:cxn>
              <a:cxn ang="0">
                <a:pos x="connsiteX25086" y="connsiteY25086"/>
              </a:cxn>
              <a:cxn ang="0">
                <a:pos x="connsiteX25087" y="connsiteY25087"/>
              </a:cxn>
              <a:cxn ang="0">
                <a:pos x="connsiteX25088" y="connsiteY25088"/>
              </a:cxn>
              <a:cxn ang="0">
                <a:pos x="connsiteX25089" y="connsiteY25089"/>
              </a:cxn>
              <a:cxn ang="0">
                <a:pos x="connsiteX25090" y="connsiteY25090"/>
              </a:cxn>
              <a:cxn ang="0">
                <a:pos x="connsiteX25091" y="connsiteY25091"/>
              </a:cxn>
              <a:cxn ang="0">
                <a:pos x="connsiteX25092" y="connsiteY25092"/>
              </a:cxn>
              <a:cxn ang="0">
                <a:pos x="connsiteX25093" y="connsiteY25093"/>
              </a:cxn>
              <a:cxn ang="0">
                <a:pos x="connsiteX25094" y="connsiteY25094"/>
              </a:cxn>
              <a:cxn ang="0">
                <a:pos x="connsiteX25095" y="connsiteY25095"/>
              </a:cxn>
              <a:cxn ang="0">
                <a:pos x="connsiteX25096" y="connsiteY25096"/>
              </a:cxn>
              <a:cxn ang="0">
                <a:pos x="connsiteX25097" y="connsiteY25097"/>
              </a:cxn>
              <a:cxn ang="0">
                <a:pos x="connsiteX25098" y="connsiteY25098"/>
              </a:cxn>
              <a:cxn ang="0">
                <a:pos x="connsiteX25099" y="connsiteY25099"/>
              </a:cxn>
              <a:cxn ang="0">
                <a:pos x="connsiteX25100" y="connsiteY25100"/>
              </a:cxn>
              <a:cxn ang="0">
                <a:pos x="connsiteX25101" y="connsiteY25101"/>
              </a:cxn>
              <a:cxn ang="0">
                <a:pos x="connsiteX25102" y="connsiteY25102"/>
              </a:cxn>
              <a:cxn ang="0">
                <a:pos x="connsiteX25103" y="connsiteY25103"/>
              </a:cxn>
              <a:cxn ang="0">
                <a:pos x="connsiteX25104" y="connsiteY25104"/>
              </a:cxn>
              <a:cxn ang="0">
                <a:pos x="connsiteX25105" y="connsiteY25105"/>
              </a:cxn>
              <a:cxn ang="0">
                <a:pos x="connsiteX25106" y="connsiteY25106"/>
              </a:cxn>
              <a:cxn ang="0">
                <a:pos x="connsiteX25107" y="connsiteY25107"/>
              </a:cxn>
              <a:cxn ang="0">
                <a:pos x="connsiteX25108" y="connsiteY25108"/>
              </a:cxn>
              <a:cxn ang="0">
                <a:pos x="connsiteX25109" y="connsiteY25109"/>
              </a:cxn>
              <a:cxn ang="0">
                <a:pos x="connsiteX25110" y="connsiteY25110"/>
              </a:cxn>
              <a:cxn ang="0">
                <a:pos x="connsiteX25111" y="connsiteY25111"/>
              </a:cxn>
              <a:cxn ang="0">
                <a:pos x="connsiteX25112" y="connsiteY25112"/>
              </a:cxn>
              <a:cxn ang="0">
                <a:pos x="connsiteX25113" y="connsiteY25113"/>
              </a:cxn>
              <a:cxn ang="0">
                <a:pos x="connsiteX25114" y="connsiteY25114"/>
              </a:cxn>
              <a:cxn ang="0">
                <a:pos x="connsiteX25115" y="connsiteY25115"/>
              </a:cxn>
              <a:cxn ang="0">
                <a:pos x="connsiteX25116" y="connsiteY25116"/>
              </a:cxn>
              <a:cxn ang="0">
                <a:pos x="connsiteX25117" y="connsiteY25117"/>
              </a:cxn>
              <a:cxn ang="0">
                <a:pos x="connsiteX25118" y="connsiteY25118"/>
              </a:cxn>
              <a:cxn ang="0">
                <a:pos x="connsiteX25119" y="connsiteY25119"/>
              </a:cxn>
              <a:cxn ang="0">
                <a:pos x="connsiteX25120" y="connsiteY25120"/>
              </a:cxn>
              <a:cxn ang="0">
                <a:pos x="connsiteX25121" y="connsiteY25121"/>
              </a:cxn>
              <a:cxn ang="0">
                <a:pos x="connsiteX25122" y="connsiteY25122"/>
              </a:cxn>
              <a:cxn ang="0">
                <a:pos x="connsiteX25123" y="connsiteY25123"/>
              </a:cxn>
              <a:cxn ang="0">
                <a:pos x="connsiteX25124" y="connsiteY25124"/>
              </a:cxn>
              <a:cxn ang="0">
                <a:pos x="connsiteX25125" y="connsiteY25125"/>
              </a:cxn>
              <a:cxn ang="0">
                <a:pos x="connsiteX25126" y="connsiteY25126"/>
              </a:cxn>
              <a:cxn ang="0">
                <a:pos x="connsiteX25127" y="connsiteY25127"/>
              </a:cxn>
              <a:cxn ang="0">
                <a:pos x="connsiteX25128" y="connsiteY25128"/>
              </a:cxn>
              <a:cxn ang="0">
                <a:pos x="connsiteX25129" y="connsiteY25129"/>
              </a:cxn>
              <a:cxn ang="0">
                <a:pos x="connsiteX25130" y="connsiteY25130"/>
              </a:cxn>
              <a:cxn ang="0">
                <a:pos x="connsiteX25131" y="connsiteY25131"/>
              </a:cxn>
              <a:cxn ang="0">
                <a:pos x="connsiteX25132" y="connsiteY25132"/>
              </a:cxn>
              <a:cxn ang="0">
                <a:pos x="connsiteX25133" y="connsiteY25133"/>
              </a:cxn>
              <a:cxn ang="0">
                <a:pos x="connsiteX25134" y="connsiteY25134"/>
              </a:cxn>
              <a:cxn ang="0">
                <a:pos x="connsiteX25135" y="connsiteY25135"/>
              </a:cxn>
              <a:cxn ang="0">
                <a:pos x="connsiteX25136" y="connsiteY25136"/>
              </a:cxn>
              <a:cxn ang="0">
                <a:pos x="connsiteX25137" y="connsiteY25137"/>
              </a:cxn>
              <a:cxn ang="0">
                <a:pos x="connsiteX25138" y="connsiteY25138"/>
              </a:cxn>
              <a:cxn ang="0">
                <a:pos x="connsiteX25139" y="connsiteY25139"/>
              </a:cxn>
              <a:cxn ang="0">
                <a:pos x="connsiteX25140" y="connsiteY25140"/>
              </a:cxn>
              <a:cxn ang="0">
                <a:pos x="connsiteX25141" y="connsiteY25141"/>
              </a:cxn>
              <a:cxn ang="0">
                <a:pos x="connsiteX25142" y="connsiteY25142"/>
              </a:cxn>
              <a:cxn ang="0">
                <a:pos x="connsiteX25143" y="connsiteY25143"/>
              </a:cxn>
              <a:cxn ang="0">
                <a:pos x="connsiteX25144" y="connsiteY25144"/>
              </a:cxn>
              <a:cxn ang="0">
                <a:pos x="connsiteX25145" y="connsiteY25145"/>
              </a:cxn>
              <a:cxn ang="0">
                <a:pos x="connsiteX25146" y="connsiteY25146"/>
              </a:cxn>
              <a:cxn ang="0">
                <a:pos x="connsiteX25147" y="connsiteY25147"/>
              </a:cxn>
              <a:cxn ang="0">
                <a:pos x="connsiteX25148" y="connsiteY25148"/>
              </a:cxn>
              <a:cxn ang="0">
                <a:pos x="connsiteX25149" y="connsiteY25149"/>
              </a:cxn>
              <a:cxn ang="0">
                <a:pos x="connsiteX25150" y="connsiteY25150"/>
              </a:cxn>
              <a:cxn ang="0">
                <a:pos x="connsiteX25151" y="connsiteY25151"/>
              </a:cxn>
              <a:cxn ang="0">
                <a:pos x="connsiteX25152" y="connsiteY25152"/>
              </a:cxn>
              <a:cxn ang="0">
                <a:pos x="connsiteX25153" y="connsiteY25153"/>
              </a:cxn>
              <a:cxn ang="0">
                <a:pos x="connsiteX25154" y="connsiteY25154"/>
              </a:cxn>
              <a:cxn ang="0">
                <a:pos x="connsiteX25155" y="connsiteY25155"/>
              </a:cxn>
              <a:cxn ang="0">
                <a:pos x="connsiteX25156" y="connsiteY25156"/>
              </a:cxn>
              <a:cxn ang="0">
                <a:pos x="connsiteX25157" y="connsiteY25157"/>
              </a:cxn>
              <a:cxn ang="0">
                <a:pos x="connsiteX25158" y="connsiteY25158"/>
              </a:cxn>
              <a:cxn ang="0">
                <a:pos x="connsiteX25159" y="connsiteY25159"/>
              </a:cxn>
              <a:cxn ang="0">
                <a:pos x="connsiteX25160" y="connsiteY25160"/>
              </a:cxn>
              <a:cxn ang="0">
                <a:pos x="connsiteX25161" y="connsiteY25161"/>
              </a:cxn>
              <a:cxn ang="0">
                <a:pos x="connsiteX25162" y="connsiteY25162"/>
              </a:cxn>
              <a:cxn ang="0">
                <a:pos x="connsiteX25163" y="connsiteY25163"/>
              </a:cxn>
              <a:cxn ang="0">
                <a:pos x="connsiteX25164" y="connsiteY25164"/>
              </a:cxn>
              <a:cxn ang="0">
                <a:pos x="connsiteX25165" y="connsiteY25165"/>
              </a:cxn>
              <a:cxn ang="0">
                <a:pos x="connsiteX25166" y="connsiteY25166"/>
              </a:cxn>
              <a:cxn ang="0">
                <a:pos x="connsiteX25167" y="connsiteY25167"/>
              </a:cxn>
              <a:cxn ang="0">
                <a:pos x="connsiteX25168" y="connsiteY25168"/>
              </a:cxn>
              <a:cxn ang="0">
                <a:pos x="connsiteX25169" y="connsiteY25169"/>
              </a:cxn>
              <a:cxn ang="0">
                <a:pos x="connsiteX25170" y="connsiteY25170"/>
              </a:cxn>
              <a:cxn ang="0">
                <a:pos x="connsiteX25171" y="connsiteY25171"/>
              </a:cxn>
              <a:cxn ang="0">
                <a:pos x="connsiteX25172" y="connsiteY25172"/>
              </a:cxn>
              <a:cxn ang="0">
                <a:pos x="connsiteX25173" y="connsiteY25173"/>
              </a:cxn>
              <a:cxn ang="0">
                <a:pos x="connsiteX25174" y="connsiteY25174"/>
              </a:cxn>
              <a:cxn ang="0">
                <a:pos x="connsiteX25175" y="connsiteY25175"/>
              </a:cxn>
              <a:cxn ang="0">
                <a:pos x="connsiteX25176" y="connsiteY25176"/>
              </a:cxn>
              <a:cxn ang="0">
                <a:pos x="connsiteX25177" y="connsiteY25177"/>
              </a:cxn>
              <a:cxn ang="0">
                <a:pos x="connsiteX25178" y="connsiteY25178"/>
              </a:cxn>
              <a:cxn ang="0">
                <a:pos x="connsiteX25179" y="connsiteY25179"/>
              </a:cxn>
              <a:cxn ang="0">
                <a:pos x="connsiteX25180" y="connsiteY25180"/>
              </a:cxn>
              <a:cxn ang="0">
                <a:pos x="connsiteX25181" y="connsiteY25181"/>
              </a:cxn>
              <a:cxn ang="0">
                <a:pos x="connsiteX25182" y="connsiteY25182"/>
              </a:cxn>
              <a:cxn ang="0">
                <a:pos x="connsiteX25183" y="connsiteY25183"/>
              </a:cxn>
              <a:cxn ang="0">
                <a:pos x="connsiteX25184" y="connsiteY25184"/>
              </a:cxn>
              <a:cxn ang="0">
                <a:pos x="connsiteX25185" y="connsiteY25185"/>
              </a:cxn>
              <a:cxn ang="0">
                <a:pos x="connsiteX25186" y="connsiteY25186"/>
              </a:cxn>
              <a:cxn ang="0">
                <a:pos x="connsiteX25187" y="connsiteY25187"/>
              </a:cxn>
              <a:cxn ang="0">
                <a:pos x="connsiteX25188" y="connsiteY25188"/>
              </a:cxn>
              <a:cxn ang="0">
                <a:pos x="connsiteX25189" y="connsiteY25189"/>
              </a:cxn>
              <a:cxn ang="0">
                <a:pos x="connsiteX25190" y="connsiteY25190"/>
              </a:cxn>
              <a:cxn ang="0">
                <a:pos x="connsiteX25191" y="connsiteY25191"/>
              </a:cxn>
              <a:cxn ang="0">
                <a:pos x="connsiteX25192" y="connsiteY25192"/>
              </a:cxn>
              <a:cxn ang="0">
                <a:pos x="connsiteX25193" y="connsiteY25193"/>
              </a:cxn>
              <a:cxn ang="0">
                <a:pos x="connsiteX25194" y="connsiteY25194"/>
              </a:cxn>
              <a:cxn ang="0">
                <a:pos x="connsiteX25195" y="connsiteY25195"/>
              </a:cxn>
              <a:cxn ang="0">
                <a:pos x="connsiteX25196" y="connsiteY25196"/>
              </a:cxn>
              <a:cxn ang="0">
                <a:pos x="connsiteX25197" y="connsiteY25197"/>
              </a:cxn>
              <a:cxn ang="0">
                <a:pos x="connsiteX25198" y="connsiteY25198"/>
              </a:cxn>
              <a:cxn ang="0">
                <a:pos x="connsiteX25199" y="connsiteY25199"/>
              </a:cxn>
              <a:cxn ang="0">
                <a:pos x="connsiteX25200" y="connsiteY25200"/>
              </a:cxn>
              <a:cxn ang="0">
                <a:pos x="connsiteX25201" y="connsiteY25201"/>
              </a:cxn>
              <a:cxn ang="0">
                <a:pos x="connsiteX25202" y="connsiteY25202"/>
              </a:cxn>
              <a:cxn ang="0">
                <a:pos x="connsiteX25203" y="connsiteY25203"/>
              </a:cxn>
              <a:cxn ang="0">
                <a:pos x="connsiteX25204" y="connsiteY25204"/>
              </a:cxn>
              <a:cxn ang="0">
                <a:pos x="connsiteX25205" y="connsiteY25205"/>
              </a:cxn>
              <a:cxn ang="0">
                <a:pos x="connsiteX25206" y="connsiteY25206"/>
              </a:cxn>
              <a:cxn ang="0">
                <a:pos x="connsiteX25207" y="connsiteY25207"/>
              </a:cxn>
              <a:cxn ang="0">
                <a:pos x="connsiteX25208" y="connsiteY25208"/>
              </a:cxn>
              <a:cxn ang="0">
                <a:pos x="connsiteX25209" y="connsiteY25209"/>
              </a:cxn>
              <a:cxn ang="0">
                <a:pos x="connsiteX25210" y="connsiteY25210"/>
              </a:cxn>
              <a:cxn ang="0">
                <a:pos x="connsiteX25211" y="connsiteY25211"/>
              </a:cxn>
              <a:cxn ang="0">
                <a:pos x="connsiteX25212" y="connsiteY25212"/>
              </a:cxn>
              <a:cxn ang="0">
                <a:pos x="connsiteX25213" y="connsiteY25213"/>
              </a:cxn>
              <a:cxn ang="0">
                <a:pos x="connsiteX25214" y="connsiteY25214"/>
              </a:cxn>
              <a:cxn ang="0">
                <a:pos x="connsiteX25215" y="connsiteY25215"/>
              </a:cxn>
              <a:cxn ang="0">
                <a:pos x="connsiteX25216" y="connsiteY25216"/>
              </a:cxn>
              <a:cxn ang="0">
                <a:pos x="connsiteX25217" y="connsiteY25217"/>
              </a:cxn>
              <a:cxn ang="0">
                <a:pos x="connsiteX25218" y="connsiteY25218"/>
              </a:cxn>
              <a:cxn ang="0">
                <a:pos x="connsiteX25219" y="connsiteY25219"/>
              </a:cxn>
              <a:cxn ang="0">
                <a:pos x="connsiteX25220" y="connsiteY25220"/>
              </a:cxn>
              <a:cxn ang="0">
                <a:pos x="connsiteX25221" y="connsiteY25221"/>
              </a:cxn>
              <a:cxn ang="0">
                <a:pos x="connsiteX25222" y="connsiteY25222"/>
              </a:cxn>
              <a:cxn ang="0">
                <a:pos x="connsiteX25223" y="connsiteY25223"/>
              </a:cxn>
              <a:cxn ang="0">
                <a:pos x="connsiteX25224" y="connsiteY25224"/>
              </a:cxn>
              <a:cxn ang="0">
                <a:pos x="connsiteX25225" y="connsiteY25225"/>
              </a:cxn>
              <a:cxn ang="0">
                <a:pos x="connsiteX25226" y="connsiteY25226"/>
              </a:cxn>
              <a:cxn ang="0">
                <a:pos x="connsiteX25227" y="connsiteY25227"/>
              </a:cxn>
              <a:cxn ang="0">
                <a:pos x="connsiteX25228" y="connsiteY25228"/>
              </a:cxn>
              <a:cxn ang="0">
                <a:pos x="connsiteX25229" y="connsiteY25229"/>
              </a:cxn>
              <a:cxn ang="0">
                <a:pos x="connsiteX25230" y="connsiteY25230"/>
              </a:cxn>
              <a:cxn ang="0">
                <a:pos x="connsiteX25231" y="connsiteY25231"/>
              </a:cxn>
              <a:cxn ang="0">
                <a:pos x="connsiteX25232" y="connsiteY25232"/>
              </a:cxn>
              <a:cxn ang="0">
                <a:pos x="connsiteX25233" y="connsiteY25233"/>
              </a:cxn>
              <a:cxn ang="0">
                <a:pos x="connsiteX25234" y="connsiteY25234"/>
              </a:cxn>
              <a:cxn ang="0">
                <a:pos x="connsiteX25235" y="connsiteY25235"/>
              </a:cxn>
              <a:cxn ang="0">
                <a:pos x="connsiteX25236" y="connsiteY25236"/>
              </a:cxn>
              <a:cxn ang="0">
                <a:pos x="connsiteX25237" y="connsiteY25237"/>
              </a:cxn>
              <a:cxn ang="0">
                <a:pos x="connsiteX25238" y="connsiteY25238"/>
              </a:cxn>
              <a:cxn ang="0">
                <a:pos x="connsiteX25239" y="connsiteY25239"/>
              </a:cxn>
              <a:cxn ang="0">
                <a:pos x="connsiteX25240" y="connsiteY25240"/>
              </a:cxn>
              <a:cxn ang="0">
                <a:pos x="connsiteX25241" y="connsiteY25241"/>
              </a:cxn>
              <a:cxn ang="0">
                <a:pos x="connsiteX25242" y="connsiteY25242"/>
              </a:cxn>
              <a:cxn ang="0">
                <a:pos x="connsiteX25243" y="connsiteY25243"/>
              </a:cxn>
              <a:cxn ang="0">
                <a:pos x="connsiteX25244" y="connsiteY25244"/>
              </a:cxn>
              <a:cxn ang="0">
                <a:pos x="connsiteX25245" y="connsiteY25245"/>
              </a:cxn>
              <a:cxn ang="0">
                <a:pos x="connsiteX25246" y="connsiteY25246"/>
              </a:cxn>
              <a:cxn ang="0">
                <a:pos x="connsiteX25247" y="connsiteY25247"/>
              </a:cxn>
              <a:cxn ang="0">
                <a:pos x="connsiteX25248" y="connsiteY25248"/>
              </a:cxn>
              <a:cxn ang="0">
                <a:pos x="connsiteX25249" y="connsiteY25249"/>
              </a:cxn>
              <a:cxn ang="0">
                <a:pos x="connsiteX25250" y="connsiteY25250"/>
              </a:cxn>
              <a:cxn ang="0">
                <a:pos x="connsiteX25251" y="connsiteY25251"/>
              </a:cxn>
              <a:cxn ang="0">
                <a:pos x="connsiteX25252" y="connsiteY25252"/>
              </a:cxn>
              <a:cxn ang="0">
                <a:pos x="connsiteX25253" y="connsiteY25253"/>
              </a:cxn>
              <a:cxn ang="0">
                <a:pos x="connsiteX25254" y="connsiteY25254"/>
              </a:cxn>
              <a:cxn ang="0">
                <a:pos x="connsiteX25255" y="connsiteY25255"/>
              </a:cxn>
              <a:cxn ang="0">
                <a:pos x="connsiteX25256" y="connsiteY25256"/>
              </a:cxn>
              <a:cxn ang="0">
                <a:pos x="connsiteX25257" y="connsiteY25257"/>
              </a:cxn>
              <a:cxn ang="0">
                <a:pos x="connsiteX25258" y="connsiteY25258"/>
              </a:cxn>
              <a:cxn ang="0">
                <a:pos x="connsiteX25259" y="connsiteY25259"/>
              </a:cxn>
              <a:cxn ang="0">
                <a:pos x="connsiteX25260" y="connsiteY25260"/>
              </a:cxn>
              <a:cxn ang="0">
                <a:pos x="connsiteX25261" y="connsiteY25261"/>
              </a:cxn>
              <a:cxn ang="0">
                <a:pos x="connsiteX25262" y="connsiteY25262"/>
              </a:cxn>
              <a:cxn ang="0">
                <a:pos x="connsiteX25263" y="connsiteY25263"/>
              </a:cxn>
              <a:cxn ang="0">
                <a:pos x="connsiteX25264" y="connsiteY25264"/>
              </a:cxn>
              <a:cxn ang="0">
                <a:pos x="connsiteX25265" y="connsiteY25265"/>
              </a:cxn>
              <a:cxn ang="0">
                <a:pos x="connsiteX25266" y="connsiteY25266"/>
              </a:cxn>
              <a:cxn ang="0">
                <a:pos x="connsiteX25267" y="connsiteY25267"/>
              </a:cxn>
              <a:cxn ang="0">
                <a:pos x="connsiteX25268" y="connsiteY25268"/>
              </a:cxn>
              <a:cxn ang="0">
                <a:pos x="connsiteX25269" y="connsiteY25269"/>
              </a:cxn>
              <a:cxn ang="0">
                <a:pos x="connsiteX25270" y="connsiteY25270"/>
              </a:cxn>
              <a:cxn ang="0">
                <a:pos x="connsiteX25271" y="connsiteY25271"/>
              </a:cxn>
              <a:cxn ang="0">
                <a:pos x="connsiteX25272" y="connsiteY25272"/>
              </a:cxn>
              <a:cxn ang="0">
                <a:pos x="connsiteX25273" y="connsiteY25273"/>
              </a:cxn>
              <a:cxn ang="0">
                <a:pos x="connsiteX25274" y="connsiteY25274"/>
              </a:cxn>
              <a:cxn ang="0">
                <a:pos x="connsiteX25275" y="connsiteY25275"/>
              </a:cxn>
              <a:cxn ang="0">
                <a:pos x="connsiteX25276" y="connsiteY25276"/>
              </a:cxn>
              <a:cxn ang="0">
                <a:pos x="connsiteX25277" y="connsiteY25277"/>
              </a:cxn>
              <a:cxn ang="0">
                <a:pos x="connsiteX25278" y="connsiteY25278"/>
              </a:cxn>
              <a:cxn ang="0">
                <a:pos x="connsiteX25279" y="connsiteY25279"/>
              </a:cxn>
              <a:cxn ang="0">
                <a:pos x="connsiteX25280" y="connsiteY25280"/>
              </a:cxn>
              <a:cxn ang="0">
                <a:pos x="connsiteX25281" y="connsiteY25281"/>
              </a:cxn>
              <a:cxn ang="0">
                <a:pos x="connsiteX25282" y="connsiteY25282"/>
              </a:cxn>
              <a:cxn ang="0">
                <a:pos x="connsiteX25283" y="connsiteY25283"/>
              </a:cxn>
              <a:cxn ang="0">
                <a:pos x="connsiteX25284" y="connsiteY25284"/>
              </a:cxn>
              <a:cxn ang="0">
                <a:pos x="connsiteX25285" y="connsiteY25285"/>
              </a:cxn>
              <a:cxn ang="0">
                <a:pos x="connsiteX25286" y="connsiteY25286"/>
              </a:cxn>
              <a:cxn ang="0">
                <a:pos x="connsiteX25287" y="connsiteY25287"/>
              </a:cxn>
              <a:cxn ang="0">
                <a:pos x="connsiteX25288" y="connsiteY25288"/>
              </a:cxn>
              <a:cxn ang="0">
                <a:pos x="connsiteX25289" y="connsiteY25289"/>
              </a:cxn>
              <a:cxn ang="0">
                <a:pos x="connsiteX25290" y="connsiteY25290"/>
              </a:cxn>
              <a:cxn ang="0">
                <a:pos x="connsiteX25291" y="connsiteY25291"/>
              </a:cxn>
              <a:cxn ang="0">
                <a:pos x="connsiteX25292" y="connsiteY25292"/>
              </a:cxn>
              <a:cxn ang="0">
                <a:pos x="connsiteX25293" y="connsiteY25293"/>
              </a:cxn>
              <a:cxn ang="0">
                <a:pos x="connsiteX25294" y="connsiteY25294"/>
              </a:cxn>
              <a:cxn ang="0">
                <a:pos x="connsiteX25295" y="connsiteY25295"/>
              </a:cxn>
              <a:cxn ang="0">
                <a:pos x="connsiteX25296" y="connsiteY25296"/>
              </a:cxn>
              <a:cxn ang="0">
                <a:pos x="connsiteX25297" y="connsiteY25297"/>
              </a:cxn>
              <a:cxn ang="0">
                <a:pos x="connsiteX25298" y="connsiteY25298"/>
              </a:cxn>
              <a:cxn ang="0">
                <a:pos x="connsiteX25299" y="connsiteY25299"/>
              </a:cxn>
              <a:cxn ang="0">
                <a:pos x="connsiteX25300" y="connsiteY25300"/>
              </a:cxn>
              <a:cxn ang="0">
                <a:pos x="connsiteX25301" y="connsiteY25301"/>
              </a:cxn>
              <a:cxn ang="0">
                <a:pos x="connsiteX25302" y="connsiteY25302"/>
              </a:cxn>
              <a:cxn ang="0">
                <a:pos x="connsiteX25303" y="connsiteY25303"/>
              </a:cxn>
              <a:cxn ang="0">
                <a:pos x="connsiteX25304" y="connsiteY25304"/>
              </a:cxn>
              <a:cxn ang="0">
                <a:pos x="connsiteX25305" y="connsiteY25305"/>
              </a:cxn>
              <a:cxn ang="0">
                <a:pos x="connsiteX25306" y="connsiteY25306"/>
              </a:cxn>
              <a:cxn ang="0">
                <a:pos x="connsiteX25307" y="connsiteY25307"/>
              </a:cxn>
              <a:cxn ang="0">
                <a:pos x="connsiteX25308" y="connsiteY25308"/>
              </a:cxn>
              <a:cxn ang="0">
                <a:pos x="connsiteX25309" y="connsiteY25309"/>
              </a:cxn>
              <a:cxn ang="0">
                <a:pos x="connsiteX25310" y="connsiteY25310"/>
              </a:cxn>
              <a:cxn ang="0">
                <a:pos x="connsiteX25311" y="connsiteY25311"/>
              </a:cxn>
              <a:cxn ang="0">
                <a:pos x="connsiteX25312" y="connsiteY25312"/>
              </a:cxn>
              <a:cxn ang="0">
                <a:pos x="connsiteX25313" y="connsiteY25313"/>
              </a:cxn>
              <a:cxn ang="0">
                <a:pos x="connsiteX25314" y="connsiteY25314"/>
              </a:cxn>
              <a:cxn ang="0">
                <a:pos x="connsiteX25315" y="connsiteY25315"/>
              </a:cxn>
              <a:cxn ang="0">
                <a:pos x="connsiteX25316" y="connsiteY25316"/>
              </a:cxn>
              <a:cxn ang="0">
                <a:pos x="connsiteX25317" y="connsiteY25317"/>
              </a:cxn>
              <a:cxn ang="0">
                <a:pos x="connsiteX25318" y="connsiteY25318"/>
              </a:cxn>
              <a:cxn ang="0">
                <a:pos x="connsiteX25319" y="connsiteY25319"/>
              </a:cxn>
              <a:cxn ang="0">
                <a:pos x="connsiteX25320" y="connsiteY25320"/>
              </a:cxn>
              <a:cxn ang="0">
                <a:pos x="connsiteX25321" y="connsiteY25321"/>
              </a:cxn>
              <a:cxn ang="0">
                <a:pos x="connsiteX25322" y="connsiteY25322"/>
              </a:cxn>
              <a:cxn ang="0">
                <a:pos x="connsiteX25323" y="connsiteY25323"/>
              </a:cxn>
              <a:cxn ang="0">
                <a:pos x="connsiteX25324" y="connsiteY25324"/>
              </a:cxn>
              <a:cxn ang="0">
                <a:pos x="connsiteX25325" y="connsiteY25325"/>
              </a:cxn>
              <a:cxn ang="0">
                <a:pos x="connsiteX25326" y="connsiteY25326"/>
              </a:cxn>
              <a:cxn ang="0">
                <a:pos x="connsiteX25327" y="connsiteY25327"/>
              </a:cxn>
              <a:cxn ang="0">
                <a:pos x="connsiteX25328" y="connsiteY25328"/>
              </a:cxn>
              <a:cxn ang="0">
                <a:pos x="connsiteX25329" y="connsiteY25329"/>
              </a:cxn>
              <a:cxn ang="0">
                <a:pos x="connsiteX25330" y="connsiteY25330"/>
              </a:cxn>
              <a:cxn ang="0">
                <a:pos x="connsiteX25331" y="connsiteY25331"/>
              </a:cxn>
              <a:cxn ang="0">
                <a:pos x="connsiteX25332" y="connsiteY25332"/>
              </a:cxn>
              <a:cxn ang="0">
                <a:pos x="connsiteX25333" y="connsiteY25333"/>
              </a:cxn>
              <a:cxn ang="0">
                <a:pos x="connsiteX25334" y="connsiteY25334"/>
              </a:cxn>
              <a:cxn ang="0">
                <a:pos x="connsiteX25335" y="connsiteY25335"/>
              </a:cxn>
              <a:cxn ang="0">
                <a:pos x="connsiteX25336" y="connsiteY25336"/>
              </a:cxn>
              <a:cxn ang="0">
                <a:pos x="connsiteX25337" y="connsiteY25337"/>
              </a:cxn>
              <a:cxn ang="0">
                <a:pos x="connsiteX25338" y="connsiteY25338"/>
              </a:cxn>
              <a:cxn ang="0">
                <a:pos x="connsiteX25339" y="connsiteY25339"/>
              </a:cxn>
              <a:cxn ang="0">
                <a:pos x="connsiteX25340" y="connsiteY25340"/>
              </a:cxn>
              <a:cxn ang="0">
                <a:pos x="connsiteX25341" y="connsiteY25341"/>
              </a:cxn>
              <a:cxn ang="0">
                <a:pos x="connsiteX25342" y="connsiteY25342"/>
              </a:cxn>
              <a:cxn ang="0">
                <a:pos x="connsiteX25343" y="connsiteY25343"/>
              </a:cxn>
              <a:cxn ang="0">
                <a:pos x="connsiteX25344" y="connsiteY25344"/>
              </a:cxn>
              <a:cxn ang="0">
                <a:pos x="connsiteX25345" y="connsiteY25345"/>
              </a:cxn>
              <a:cxn ang="0">
                <a:pos x="connsiteX25346" y="connsiteY25346"/>
              </a:cxn>
              <a:cxn ang="0">
                <a:pos x="connsiteX25347" y="connsiteY25347"/>
              </a:cxn>
              <a:cxn ang="0">
                <a:pos x="connsiteX25348" y="connsiteY25348"/>
              </a:cxn>
              <a:cxn ang="0">
                <a:pos x="connsiteX25349" y="connsiteY25349"/>
              </a:cxn>
              <a:cxn ang="0">
                <a:pos x="connsiteX25350" y="connsiteY25350"/>
              </a:cxn>
              <a:cxn ang="0">
                <a:pos x="connsiteX25351" y="connsiteY25351"/>
              </a:cxn>
              <a:cxn ang="0">
                <a:pos x="connsiteX25352" y="connsiteY25352"/>
              </a:cxn>
              <a:cxn ang="0">
                <a:pos x="connsiteX25353" y="connsiteY25353"/>
              </a:cxn>
              <a:cxn ang="0">
                <a:pos x="connsiteX25354" y="connsiteY25354"/>
              </a:cxn>
              <a:cxn ang="0">
                <a:pos x="connsiteX25355" y="connsiteY25355"/>
              </a:cxn>
              <a:cxn ang="0">
                <a:pos x="connsiteX25356" y="connsiteY25356"/>
              </a:cxn>
              <a:cxn ang="0">
                <a:pos x="connsiteX25357" y="connsiteY25357"/>
              </a:cxn>
              <a:cxn ang="0">
                <a:pos x="connsiteX25358" y="connsiteY25358"/>
              </a:cxn>
              <a:cxn ang="0">
                <a:pos x="connsiteX25359" y="connsiteY25359"/>
              </a:cxn>
              <a:cxn ang="0">
                <a:pos x="connsiteX25360" y="connsiteY25360"/>
              </a:cxn>
              <a:cxn ang="0">
                <a:pos x="connsiteX25361" y="connsiteY25361"/>
              </a:cxn>
              <a:cxn ang="0">
                <a:pos x="connsiteX25362" y="connsiteY25362"/>
              </a:cxn>
              <a:cxn ang="0">
                <a:pos x="connsiteX25363" y="connsiteY25363"/>
              </a:cxn>
              <a:cxn ang="0">
                <a:pos x="connsiteX25364" y="connsiteY25364"/>
              </a:cxn>
              <a:cxn ang="0">
                <a:pos x="connsiteX25365" y="connsiteY25365"/>
              </a:cxn>
              <a:cxn ang="0">
                <a:pos x="connsiteX25366" y="connsiteY25366"/>
              </a:cxn>
              <a:cxn ang="0">
                <a:pos x="connsiteX25367" y="connsiteY25367"/>
              </a:cxn>
              <a:cxn ang="0">
                <a:pos x="connsiteX25368" y="connsiteY25368"/>
              </a:cxn>
              <a:cxn ang="0">
                <a:pos x="connsiteX25369" y="connsiteY25369"/>
              </a:cxn>
              <a:cxn ang="0">
                <a:pos x="connsiteX25370" y="connsiteY25370"/>
              </a:cxn>
              <a:cxn ang="0">
                <a:pos x="connsiteX25371" y="connsiteY25371"/>
              </a:cxn>
              <a:cxn ang="0">
                <a:pos x="connsiteX25372" y="connsiteY25372"/>
              </a:cxn>
              <a:cxn ang="0">
                <a:pos x="connsiteX25373" y="connsiteY25373"/>
              </a:cxn>
              <a:cxn ang="0">
                <a:pos x="connsiteX25374" y="connsiteY25374"/>
              </a:cxn>
              <a:cxn ang="0">
                <a:pos x="connsiteX25375" y="connsiteY25375"/>
              </a:cxn>
              <a:cxn ang="0">
                <a:pos x="connsiteX25376" y="connsiteY25376"/>
              </a:cxn>
              <a:cxn ang="0">
                <a:pos x="connsiteX25377" y="connsiteY25377"/>
              </a:cxn>
              <a:cxn ang="0">
                <a:pos x="connsiteX25378" y="connsiteY25378"/>
              </a:cxn>
              <a:cxn ang="0">
                <a:pos x="connsiteX25379" y="connsiteY25379"/>
              </a:cxn>
              <a:cxn ang="0">
                <a:pos x="connsiteX25380" y="connsiteY25380"/>
              </a:cxn>
              <a:cxn ang="0">
                <a:pos x="connsiteX25381" y="connsiteY25381"/>
              </a:cxn>
              <a:cxn ang="0">
                <a:pos x="connsiteX25382" y="connsiteY25382"/>
              </a:cxn>
              <a:cxn ang="0">
                <a:pos x="connsiteX25383" y="connsiteY25383"/>
              </a:cxn>
              <a:cxn ang="0">
                <a:pos x="connsiteX25384" y="connsiteY25384"/>
              </a:cxn>
              <a:cxn ang="0">
                <a:pos x="connsiteX25385" y="connsiteY25385"/>
              </a:cxn>
              <a:cxn ang="0">
                <a:pos x="connsiteX25386" y="connsiteY25386"/>
              </a:cxn>
              <a:cxn ang="0">
                <a:pos x="connsiteX25387" y="connsiteY25387"/>
              </a:cxn>
              <a:cxn ang="0">
                <a:pos x="connsiteX25388" y="connsiteY25388"/>
              </a:cxn>
              <a:cxn ang="0">
                <a:pos x="connsiteX25389" y="connsiteY25389"/>
              </a:cxn>
              <a:cxn ang="0">
                <a:pos x="connsiteX25390" y="connsiteY25390"/>
              </a:cxn>
              <a:cxn ang="0">
                <a:pos x="connsiteX25391" y="connsiteY25391"/>
              </a:cxn>
              <a:cxn ang="0">
                <a:pos x="connsiteX25392" y="connsiteY25392"/>
              </a:cxn>
              <a:cxn ang="0">
                <a:pos x="connsiteX25393" y="connsiteY25393"/>
              </a:cxn>
              <a:cxn ang="0">
                <a:pos x="connsiteX25394" y="connsiteY25394"/>
              </a:cxn>
              <a:cxn ang="0">
                <a:pos x="connsiteX25395" y="connsiteY25395"/>
              </a:cxn>
              <a:cxn ang="0">
                <a:pos x="connsiteX25396" y="connsiteY25396"/>
              </a:cxn>
              <a:cxn ang="0">
                <a:pos x="connsiteX25397" y="connsiteY25397"/>
              </a:cxn>
              <a:cxn ang="0">
                <a:pos x="connsiteX25398" y="connsiteY25398"/>
              </a:cxn>
              <a:cxn ang="0">
                <a:pos x="connsiteX25399" y="connsiteY25399"/>
              </a:cxn>
              <a:cxn ang="0">
                <a:pos x="connsiteX25400" y="connsiteY25400"/>
              </a:cxn>
              <a:cxn ang="0">
                <a:pos x="connsiteX25401" y="connsiteY25401"/>
              </a:cxn>
              <a:cxn ang="0">
                <a:pos x="connsiteX25402" y="connsiteY25402"/>
              </a:cxn>
              <a:cxn ang="0">
                <a:pos x="connsiteX25403" y="connsiteY25403"/>
              </a:cxn>
              <a:cxn ang="0">
                <a:pos x="connsiteX25404" y="connsiteY25404"/>
              </a:cxn>
              <a:cxn ang="0">
                <a:pos x="connsiteX25405" y="connsiteY25405"/>
              </a:cxn>
              <a:cxn ang="0">
                <a:pos x="connsiteX25406" y="connsiteY25406"/>
              </a:cxn>
              <a:cxn ang="0">
                <a:pos x="connsiteX25407" y="connsiteY25407"/>
              </a:cxn>
              <a:cxn ang="0">
                <a:pos x="connsiteX25408" y="connsiteY25408"/>
              </a:cxn>
              <a:cxn ang="0">
                <a:pos x="connsiteX25409" y="connsiteY25409"/>
              </a:cxn>
              <a:cxn ang="0">
                <a:pos x="connsiteX25410" y="connsiteY25410"/>
              </a:cxn>
              <a:cxn ang="0">
                <a:pos x="connsiteX25411" y="connsiteY25411"/>
              </a:cxn>
              <a:cxn ang="0">
                <a:pos x="connsiteX25412" y="connsiteY25412"/>
              </a:cxn>
              <a:cxn ang="0">
                <a:pos x="connsiteX25413" y="connsiteY25413"/>
              </a:cxn>
              <a:cxn ang="0">
                <a:pos x="connsiteX25414" y="connsiteY25414"/>
              </a:cxn>
              <a:cxn ang="0">
                <a:pos x="connsiteX25415" y="connsiteY25415"/>
              </a:cxn>
              <a:cxn ang="0">
                <a:pos x="connsiteX25416" y="connsiteY25416"/>
              </a:cxn>
              <a:cxn ang="0">
                <a:pos x="connsiteX25417" y="connsiteY25417"/>
              </a:cxn>
              <a:cxn ang="0">
                <a:pos x="connsiteX25418" y="connsiteY25418"/>
              </a:cxn>
              <a:cxn ang="0">
                <a:pos x="connsiteX25419" y="connsiteY25419"/>
              </a:cxn>
              <a:cxn ang="0">
                <a:pos x="connsiteX25420" y="connsiteY25420"/>
              </a:cxn>
              <a:cxn ang="0">
                <a:pos x="connsiteX25421" y="connsiteY25421"/>
              </a:cxn>
              <a:cxn ang="0">
                <a:pos x="connsiteX25422" y="connsiteY25422"/>
              </a:cxn>
              <a:cxn ang="0">
                <a:pos x="connsiteX25423" y="connsiteY25423"/>
              </a:cxn>
              <a:cxn ang="0">
                <a:pos x="connsiteX25424" y="connsiteY25424"/>
              </a:cxn>
              <a:cxn ang="0">
                <a:pos x="connsiteX25425" y="connsiteY25425"/>
              </a:cxn>
              <a:cxn ang="0">
                <a:pos x="connsiteX25426" y="connsiteY25426"/>
              </a:cxn>
              <a:cxn ang="0">
                <a:pos x="connsiteX25427" y="connsiteY25427"/>
              </a:cxn>
              <a:cxn ang="0">
                <a:pos x="connsiteX25428" y="connsiteY25428"/>
              </a:cxn>
              <a:cxn ang="0">
                <a:pos x="connsiteX25429" y="connsiteY25429"/>
              </a:cxn>
              <a:cxn ang="0">
                <a:pos x="connsiteX25430" y="connsiteY25430"/>
              </a:cxn>
              <a:cxn ang="0">
                <a:pos x="connsiteX25431" y="connsiteY25431"/>
              </a:cxn>
              <a:cxn ang="0">
                <a:pos x="connsiteX25432" y="connsiteY25432"/>
              </a:cxn>
              <a:cxn ang="0">
                <a:pos x="connsiteX25433" y="connsiteY25433"/>
              </a:cxn>
              <a:cxn ang="0">
                <a:pos x="connsiteX25434" y="connsiteY25434"/>
              </a:cxn>
              <a:cxn ang="0">
                <a:pos x="connsiteX25435" y="connsiteY25435"/>
              </a:cxn>
              <a:cxn ang="0">
                <a:pos x="connsiteX25436" y="connsiteY25436"/>
              </a:cxn>
              <a:cxn ang="0">
                <a:pos x="connsiteX25437" y="connsiteY25437"/>
              </a:cxn>
              <a:cxn ang="0">
                <a:pos x="connsiteX25438" y="connsiteY25438"/>
              </a:cxn>
              <a:cxn ang="0">
                <a:pos x="connsiteX25439" y="connsiteY25439"/>
              </a:cxn>
              <a:cxn ang="0">
                <a:pos x="connsiteX25440" y="connsiteY25440"/>
              </a:cxn>
              <a:cxn ang="0">
                <a:pos x="connsiteX25441" y="connsiteY25441"/>
              </a:cxn>
              <a:cxn ang="0">
                <a:pos x="connsiteX25442" y="connsiteY25442"/>
              </a:cxn>
              <a:cxn ang="0">
                <a:pos x="connsiteX25443" y="connsiteY25443"/>
              </a:cxn>
              <a:cxn ang="0">
                <a:pos x="connsiteX25444" y="connsiteY25444"/>
              </a:cxn>
              <a:cxn ang="0">
                <a:pos x="connsiteX25445" y="connsiteY25445"/>
              </a:cxn>
              <a:cxn ang="0">
                <a:pos x="connsiteX25446" y="connsiteY25446"/>
              </a:cxn>
              <a:cxn ang="0">
                <a:pos x="connsiteX25447" y="connsiteY25447"/>
              </a:cxn>
              <a:cxn ang="0">
                <a:pos x="connsiteX25448" y="connsiteY25448"/>
              </a:cxn>
              <a:cxn ang="0">
                <a:pos x="connsiteX25449" y="connsiteY25449"/>
              </a:cxn>
              <a:cxn ang="0">
                <a:pos x="connsiteX25450" y="connsiteY25450"/>
              </a:cxn>
              <a:cxn ang="0">
                <a:pos x="connsiteX25451" y="connsiteY25451"/>
              </a:cxn>
              <a:cxn ang="0">
                <a:pos x="connsiteX25452" y="connsiteY25452"/>
              </a:cxn>
              <a:cxn ang="0">
                <a:pos x="connsiteX25453" y="connsiteY25453"/>
              </a:cxn>
              <a:cxn ang="0">
                <a:pos x="connsiteX25454" y="connsiteY25454"/>
              </a:cxn>
              <a:cxn ang="0">
                <a:pos x="connsiteX25455" y="connsiteY25455"/>
              </a:cxn>
              <a:cxn ang="0">
                <a:pos x="connsiteX25456" y="connsiteY25456"/>
              </a:cxn>
              <a:cxn ang="0">
                <a:pos x="connsiteX25457" y="connsiteY25457"/>
              </a:cxn>
              <a:cxn ang="0">
                <a:pos x="connsiteX25458" y="connsiteY25458"/>
              </a:cxn>
              <a:cxn ang="0">
                <a:pos x="connsiteX25459" y="connsiteY25459"/>
              </a:cxn>
              <a:cxn ang="0">
                <a:pos x="connsiteX25460" y="connsiteY25460"/>
              </a:cxn>
              <a:cxn ang="0">
                <a:pos x="connsiteX25461" y="connsiteY25461"/>
              </a:cxn>
              <a:cxn ang="0">
                <a:pos x="connsiteX25462" y="connsiteY25462"/>
              </a:cxn>
              <a:cxn ang="0">
                <a:pos x="connsiteX25463" y="connsiteY25463"/>
              </a:cxn>
              <a:cxn ang="0">
                <a:pos x="connsiteX25464" y="connsiteY25464"/>
              </a:cxn>
              <a:cxn ang="0">
                <a:pos x="connsiteX25465" y="connsiteY25465"/>
              </a:cxn>
              <a:cxn ang="0">
                <a:pos x="connsiteX25466" y="connsiteY25466"/>
              </a:cxn>
              <a:cxn ang="0">
                <a:pos x="connsiteX25467" y="connsiteY25467"/>
              </a:cxn>
              <a:cxn ang="0">
                <a:pos x="connsiteX25468" y="connsiteY25468"/>
              </a:cxn>
              <a:cxn ang="0">
                <a:pos x="connsiteX25469" y="connsiteY25469"/>
              </a:cxn>
              <a:cxn ang="0">
                <a:pos x="connsiteX25470" y="connsiteY25470"/>
              </a:cxn>
              <a:cxn ang="0">
                <a:pos x="connsiteX25471" y="connsiteY25471"/>
              </a:cxn>
              <a:cxn ang="0">
                <a:pos x="connsiteX25472" y="connsiteY25472"/>
              </a:cxn>
              <a:cxn ang="0">
                <a:pos x="connsiteX25473" y="connsiteY25473"/>
              </a:cxn>
              <a:cxn ang="0">
                <a:pos x="connsiteX25474" y="connsiteY25474"/>
              </a:cxn>
              <a:cxn ang="0">
                <a:pos x="connsiteX25475" y="connsiteY25475"/>
              </a:cxn>
              <a:cxn ang="0">
                <a:pos x="connsiteX25476" y="connsiteY25476"/>
              </a:cxn>
              <a:cxn ang="0">
                <a:pos x="connsiteX25477" y="connsiteY25477"/>
              </a:cxn>
              <a:cxn ang="0">
                <a:pos x="connsiteX25478" y="connsiteY25478"/>
              </a:cxn>
              <a:cxn ang="0">
                <a:pos x="connsiteX25479" y="connsiteY25479"/>
              </a:cxn>
              <a:cxn ang="0">
                <a:pos x="connsiteX25480" y="connsiteY25480"/>
              </a:cxn>
              <a:cxn ang="0">
                <a:pos x="connsiteX25481" y="connsiteY25481"/>
              </a:cxn>
              <a:cxn ang="0">
                <a:pos x="connsiteX25482" y="connsiteY25482"/>
              </a:cxn>
              <a:cxn ang="0">
                <a:pos x="connsiteX25483" y="connsiteY25483"/>
              </a:cxn>
              <a:cxn ang="0">
                <a:pos x="connsiteX25484" y="connsiteY25484"/>
              </a:cxn>
              <a:cxn ang="0">
                <a:pos x="connsiteX25485" y="connsiteY25485"/>
              </a:cxn>
              <a:cxn ang="0">
                <a:pos x="connsiteX25486" y="connsiteY25486"/>
              </a:cxn>
              <a:cxn ang="0">
                <a:pos x="connsiteX25487" y="connsiteY25487"/>
              </a:cxn>
              <a:cxn ang="0">
                <a:pos x="connsiteX25488" y="connsiteY25488"/>
              </a:cxn>
              <a:cxn ang="0">
                <a:pos x="connsiteX25489" y="connsiteY25489"/>
              </a:cxn>
              <a:cxn ang="0">
                <a:pos x="connsiteX25490" y="connsiteY25490"/>
              </a:cxn>
              <a:cxn ang="0">
                <a:pos x="connsiteX25491" y="connsiteY25491"/>
              </a:cxn>
              <a:cxn ang="0">
                <a:pos x="connsiteX25492" y="connsiteY25492"/>
              </a:cxn>
              <a:cxn ang="0">
                <a:pos x="connsiteX25493" y="connsiteY25493"/>
              </a:cxn>
              <a:cxn ang="0">
                <a:pos x="connsiteX25494" y="connsiteY25494"/>
              </a:cxn>
              <a:cxn ang="0">
                <a:pos x="connsiteX25495" y="connsiteY25495"/>
              </a:cxn>
              <a:cxn ang="0">
                <a:pos x="connsiteX25496" y="connsiteY25496"/>
              </a:cxn>
              <a:cxn ang="0">
                <a:pos x="connsiteX25497" y="connsiteY25497"/>
              </a:cxn>
              <a:cxn ang="0">
                <a:pos x="connsiteX25498" y="connsiteY25498"/>
              </a:cxn>
              <a:cxn ang="0">
                <a:pos x="connsiteX25499" y="connsiteY25499"/>
              </a:cxn>
              <a:cxn ang="0">
                <a:pos x="connsiteX25500" y="connsiteY25500"/>
              </a:cxn>
              <a:cxn ang="0">
                <a:pos x="connsiteX25501" y="connsiteY25501"/>
              </a:cxn>
              <a:cxn ang="0">
                <a:pos x="connsiteX25502" y="connsiteY25502"/>
              </a:cxn>
              <a:cxn ang="0">
                <a:pos x="connsiteX25503" y="connsiteY25503"/>
              </a:cxn>
              <a:cxn ang="0">
                <a:pos x="connsiteX25504" y="connsiteY25504"/>
              </a:cxn>
              <a:cxn ang="0">
                <a:pos x="connsiteX25505" y="connsiteY25505"/>
              </a:cxn>
              <a:cxn ang="0">
                <a:pos x="connsiteX25506" y="connsiteY25506"/>
              </a:cxn>
              <a:cxn ang="0">
                <a:pos x="connsiteX25507" y="connsiteY25507"/>
              </a:cxn>
              <a:cxn ang="0">
                <a:pos x="connsiteX25508" y="connsiteY25508"/>
              </a:cxn>
              <a:cxn ang="0">
                <a:pos x="connsiteX25509" y="connsiteY25509"/>
              </a:cxn>
              <a:cxn ang="0">
                <a:pos x="connsiteX25510" y="connsiteY25510"/>
              </a:cxn>
              <a:cxn ang="0">
                <a:pos x="connsiteX25511" y="connsiteY25511"/>
              </a:cxn>
              <a:cxn ang="0">
                <a:pos x="connsiteX25512" y="connsiteY25512"/>
              </a:cxn>
              <a:cxn ang="0">
                <a:pos x="connsiteX25513" y="connsiteY25513"/>
              </a:cxn>
              <a:cxn ang="0">
                <a:pos x="connsiteX25514" y="connsiteY25514"/>
              </a:cxn>
              <a:cxn ang="0">
                <a:pos x="connsiteX25515" y="connsiteY25515"/>
              </a:cxn>
              <a:cxn ang="0">
                <a:pos x="connsiteX25516" y="connsiteY25516"/>
              </a:cxn>
              <a:cxn ang="0">
                <a:pos x="connsiteX25517" y="connsiteY25517"/>
              </a:cxn>
              <a:cxn ang="0">
                <a:pos x="connsiteX25518" y="connsiteY25518"/>
              </a:cxn>
              <a:cxn ang="0">
                <a:pos x="connsiteX25519" y="connsiteY25519"/>
              </a:cxn>
              <a:cxn ang="0">
                <a:pos x="connsiteX25520" y="connsiteY25520"/>
              </a:cxn>
              <a:cxn ang="0">
                <a:pos x="connsiteX25521" y="connsiteY25521"/>
              </a:cxn>
              <a:cxn ang="0">
                <a:pos x="connsiteX25522" y="connsiteY25522"/>
              </a:cxn>
              <a:cxn ang="0">
                <a:pos x="connsiteX25523" y="connsiteY25523"/>
              </a:cxn>
              <a:cxn ang="0">
                <a:pos x="connsiteX25524" y="connsiteY25524"/>
              </a:cxn>
              <a:cxn ang="0">
                <a:pos x="connsiteX25525" y="connsiteY25525"/>
              </a:cxn>
              <a:cxn ang="0">
                <a:pos x="connsiteX25526" y="connsiteY25526"/>
              </a:cxn>
              <a:cxn ang="0">
                <a:pos x="connsiteX25527" y="connsiteY25527"/>
              </a:cxn>
              <a:cxn ang="0">
                <a:pos x="connsiteX25528" y="connsiteY25528"/>
              </a:cxn>
              <a:cxn ang="0">
                <a:pos x="connsiteX25529" y="connsiteY25529"/>
              </a:cxn>
              <a:cxn ang="0">
                <a:pos x="connsiteX25530" y="connsiteY25530"/>
              </a:cxn>
              <a:cxn ang="0">
                <a:pos x="connsiteX25531" y="connsiteY25531"/>
              </a:cxn>
              <a:cxn ang="0">
                <a:pos x="connsiteX25532" y="connsiteY25532"/>
              </a:cxn>
              <a:cxn ang="0">
                <a:pos x="connsiteX25533" y="connsiteY25533"/>
              </a:cxn>
              <a:cxn ang="0">
                <a:pos x="connsiteX25534" y="connsiteY25534"/>
              </a:cxn>
              <a:cxn ang="0">
                <a:pos x="connsiteX25535" y="connsiteY25535"/>
              </a:cxn>
              <a:cxn ang="0">
                <a:pos x="connsiteX25536" y="connsiteY25536"/>
              </a:cxn>
              <a:cxn ang="0">
                <a:pos x="connsiteX25537" y="connsiteY25537"/>
              </a:cxn>
              <a:cxn ang="0">
                <a:pos x="connsiteX25538" y="connsiteY25538"/>
              </a:cxn>
              <a:cxn ang="0">
                <a:pos x="connsiteX25539" y="connsiteY25539"/>
              </a:cxn>
              <a:cxn ang="0">
                <a:pos x="connsiteX25540" y="connsiteY25540"/>
              </a:cxn>
              <a:cxn ang="0">
                <a:pos x="connsiteX25541" y="connsiteY25541"/>
              </a:cxn>
              <a:cxn ang="0">
                <a:pos x="connsiteX25542" y="connsiteY25542"/>
              </a:cxn>
              <a:cxn ang="0">
                <a:pos x="connsiteX25543" y="connsiteY25543"/>
              </a:cxn>
              <a:cxn ang="0">
                <a:pos x="connsiteX25544" y="connsiteY25544"/>
              </a:cxn>
              <a:cxn ang="0">
                <a:pos x="connsiteX25545" y="connsiteY25545"/>
              </a:cxn>
              <a:cxn ang="0">
                <a:pos x="connsiteX25546" y="connsiteY25546"/>
              </a:cxn>
              <a:cxn ang="0">
                <a:pos x="connsiteX25547" y="connsiteY25547"/>
              </a:cxn>
              <a:cxn ang="0">
                <a:pos x="connsiteX25548" y="connsiteY25548"/>
              </a:cxn>
              <a:cxn ang="0">
                <a:pos x="connsiteX25549" y="connsiteY25549"/>
              </a:cxn>
              <a:cxn ang="0">
                <a:pos x="connsiteX25550" y="connsiteY25550"/>
              </a:cxn>
              <a:cxn ang="0">
                <a:pos x="connsiteX25551" y="connsiteY25551"/>
              </a:cxn>
              <a:cxn ang="0">
                <a:pos x="connsiteX25552" y="connsiteY25552"/>
              </a:cxn>
              <a:cxn ang="0">
                <a:pos x="connsiteX25553" y="connsiteY25553"/>
              </a:cxn>
              <a:cxn ang="0">
                <a:pos x="connsiteX25554" y="connsiteY25554"/>
              </a:cxn>
              <a:cxn ang="0">
                <a:pos x="connsiteX25555" y="connsiteY25555"/>
              </a:cxn>
              <a:cxn ang="0">
                <a:pos x="connsiteX25556" y="connsiteY25556"/>
              </a:cxn>
              <a:cxn ang="0">
                <a:pos x="connsiteX25557" y="connsiteY25557"/>
              </a:cxn>
              <a:cxn ang="0">
                <a:pos x="connsiteX25558" y="connsiteY25558"/>
              </a:cxn>
              <a:cxn ang="0">
                <a:pos x="connsiteX25559" y="connsiteY25559"/>
              </a:cxn>
              <a:cxn ang="0">
                <a:pos x="connsiteX25560" y="connsiteY25560"/>
              </a:cxn>
              <a:cxn ang="0">
                <a:pos x="connsiteX25561" y="connsiteY25561"/>
              </a:cxn>
              <a:cxn ang="0">
                <a:pos x="connsiteX25562" y="connsiteY25562"/>
              </a:cxn>
              <a:cxn ang="0">
                <a:pos x="connsiteX25563" y="connsiteY25563"/>
              </a:cxn>
              <a:cxn ang="0">
                <a:pos x="connsiteX25564" y="connsiteY25564"/>
              </a:cxn>
              <a:cxn ang="0">
                <a:pos x="connsiteX25565" y="connsiteY25565"/>
              </a:cxn>
              <a:cxn ang="0">
                <a:pos x="connsiteX25566" y="connsiteY25566"/>
              </a:cxn>
              <a:cxn ang="0">
                <a:pos x="connsiteX25567" y="connsiteY25567"/>
              </a:cxn>
              <a:cxn ang="0">
                <a:pos x="connsiteX25568" y="connsiteY25568"/>
              </a:cxn>
              <a:cxn ang="0">
                <a:pos x="connsiteX25569" y="connsiteY25569"/>
              </a:cxn>
              <a:cxn ang="0">
                <a:pos x="connsiteX25570" y="connsiteY25570"/>
              </a:cxn>
              <a:cxn ang="0">
                <a:pos x="connsiteX25571" y="connsiteY25571"/>
              </a:cxn>
              <a:cxn ang="0">
                <a:pos x="connsiteX25572" y="connsiteY25572"/>
              </a:cxn>
              <a:cxn ang="0">
                <a:pos x="connsiteX25573" y="connsiteY25573"/>
              </a:cxn>
              <a:cxn ang="0">
                <a:pos x="connsiteX25574" y="connsiteY25574"/>
              </a:cxn>
              <a:cxn ang="0">
                <a:pos x="connsiteX25575" y="connsiteY25575"/>
              </a:cxn>
              <a:cxn ang="0">
                <a:pos x="connsiteX25576" y="connsiteY25576"/>
              </a:cxn>
              <a:cxn ang="0">
                <a:pos x="connsiteX25577" y="connsiteY25577"/>
              </a:cxn>
              <a:cxn ang="0">
                <a:pos x="connsiteX25578" y="connsiteY25578"/>
              </a:cxn>
              <a:cxn ang="0">
                <a:pos x="connsiteX25579" y="connsiteY25579"/>
              </a:cxn>
              <a:cxn ang="0">
                <a:pos x="connsiteX25580" y="connsiteY25580"/>
              </a:cxn>
              <a:cxn ang="0">
                <a:pos x="connsiteX25581" y="connsiteY25581"/>
              </a:cxn>
              <a:cxn ang="0">
                <a:pos x="connsiteX25582" y="connsiteY25582"/>
              </a:cxn>
              <a:cxn ang="0">
                <a:pos x="connsiteX25583" y="connsiteY25583"/>
              </a:cxn>
              <a:cxn ang="0">
                <a:pos x="connsiteX25584" y="connsiteY25584"/>
              </a:cxn>
              <a:cxn ang="0">
                <a:pos x="connsiteX25585" y="connsiteY25585"/>
              </a:cxn>
              <a:cxn ang="0">
                <a:pos x="connsiteX25586" y="connsiteY25586"/>
              </a:cxn>
              <a:cxn ang="0">
                <a:pos x="connsiteX25587" y="connsiteY25587"/>
              </a:cxn>
              <a:cxn ang="0">
                <a:pos x="connsiteX25588" y="connsiteY25588"/>
              </a:cxn>
              <a:cxn ang="0">
                <a:pos x="connsiteX25589" y="connsiteY25589"/>
              </a:cxn>
              <a:cxn ang="0">
                <a:pos x="connsiteX25590" y="connsiteY25590"/>
              </a:cxn>
              <a:cxn ang="0">
                <a:pos x="connsiteX25591" y="connsiteY25591"/>
              </a:cxn>
              <a:cxn ang="0">
                <a:pos x="connsiteX25592" y="connsiteY25592"/>
              </a:cxn>
              <a:cxn ang="0">
                <a:pos x="connsiteX25593" y="connsiteY25593"/>
              </a:cxn>
              <a:cxn ang="0">
                <a:pos x="connsiteX25594" y="connsiteY25594"/>
              </a:cxn>
              <a:cxn ang="0">
                <a:pos x="connsiteX25595" y="connsiteY25595"/>
              </a:cxn>
              <a:cxn ang="0">
                <a:pos x="connsiteX25596" y="connsiteY25596"/>
              </a:cxn>
              <a:cxn ang="0">
                <a:pos x="connsiteX25597" y="connsiteY25597"/>
              </a:cxn>
              <a:cxn ang="0">
                <a:pos x="connsiteX25598" y="connsiteY25598"/>
              </a:cxn>
              <a:cxn ang="0">
                <a:pos x="connsiteX25599" y="connsiteY25599"/>
              </a:cxn>
              <a:cxn ang="0">
                <a:pos x="connsiteX25600" y="connsiteY25600"/>
              </a:cxn>
              <a:cxn ang="0">
                <a:pos x="connsiteX25601" y="connsiteY25601"/>
              </a:cxn>
              <a:cxn ang="0">
                <a:pos x="connsiteX25602" y="connsiteY25602"/>
              </a:cxn>
              <a:cxn ang="0">
                <a:pos x="connsiteX25603" y="connsiteY25603"/>
              </a:cxn>
              <a:cxn ang="0">
                <a:pos x="connsiteX25604" y="connsiteY25604"/>
              </a:cxn>
              <a:cxn ang="0">
                <a:pos x="connsiteX25605" y="connsiteY25605"/>
              </a:cxn>
              <a:cxn ang="0">
                <a:pos x="connsiteX25606" y="connsiteY25606"/>
              </a:cxn>
              <a:cxn ang="0">
                <a:pos x="connsiteX25607" y="connsiteY25607"/>
              </a:cxn>
              <a:cxn ang="0">
                <a:pos x="connsiteX25608" y="connsiteY25608"/>
              </a:cxn>
              <a:cxn ang="0">
                <a:pos x="connsiteX25609" y="connsiteY25609"/>
              </a:cxn>
              <a:cxn ang="0">
                <a:pos x="connsiteX25610" y="connsiteY25610"/>
              </a:cxn>
              <a:cxn ang="0">
                <a:pos x="connsiteX25611" y="connsiteY25611"/>
              </a:cxn>
              <a:cxn ang="0">
                <a:pos x="connsiteX25612" y="connsiteY25612"/>
              </a:cxn>
              <a:cxn ang="0">
                <a:pos x="connsiteX25613" y="connsiteY25613"/>
              </a:cxn>
              <a:cxn ang="0">
                <a:pos x="connsiteX25614" y="connsiteY25614"/>
              </a:cxn>
              <a:cxn ang="0">
                <a:pos x="connsiteX25615" y="connsiteY25615"/>
              </a:cxn>
              <a:cxn ang="0">
                <a:pos x="connsiteX25616" y="connsiteY25616"/>
              </a:cxn>
              <a:cxn ang="0">
                <a:pos x="connsiteX25617" y="connsiteY25617"/>
              </a:cxn>
              <a:cxn ang="0">
                <a:pos x="connsiteX25618" y="connsiteY25618"/>
              </a:cxn>
              <a:cxn ang="0">
                <a:pos x="connsiteX25619" y="connsiteY25619"/>
              </a:cxn>
              <a:cxn ang="0">
                <a:pos x="connsiteX25620" y="connsiteY25620"/>
              </a:cxn>
              <a:cxn ang="0">
                <a:pos x="connsiteX25621" y="connsiteY25621"/>
              </a:cxn>
              <a:cxn ang="0">
                <a:pos x="connsiteX25622" y="connsiteY25622"/>
              </a:cxn>
              <a:cxn ang="0">
                <a:pos x="connsiteX25623" y="connsiteY25623"/>
              </a:cxn>
              <a:cxn ang="0">
                <a:pos x="connsiteX25624" y="connsiteY25624"/>
              </a:cxn>
              <a:cxn ang="0">
                <a:pos x="connsiteX25625" y="connsiteY25625"/>
              </a:cxn>
              <a:cxn ang="0">
                <a:pos x="connsiteX25626" y="connsiteY25626"/>
              </a:cxn>
              <a:cxn ang="0">
                <a:pos x="connsiteX25627" y="connsiteY25627"/>
              </a:cxn>
              <a:cxn ang="0">
                <a:pos x="connsiteX25628" y="connsiteY25628"/>
              </a:cxn>
              <a:cxn ang="0">
                <a:pos x="connsiteX25629" y="connsiteY25629"/>
              </a:cxn>
              <a:cxn ang="0">
                <a:pos x="connsiteX25630" y="connsiteY25630"/>
              </a:cxn>
              <a:cxn ang="0">
                <a:pos x="connsiteX25631" y="connsiteY25631"/>
              </a:cxn>
              <a:cxn ang="0">
                <a:pos x="connsiteX25632" y="connsiteY25632"/>
              </a:cxn>
              <a:cxn ang="0">
                <a:pos x="connsiteX25633" y="connsiteY25633"/>
              </a:cxn>
              <a:cxn ang="0">
                <a:pos x="connsiteX25634" y="connsiteY25634"/>
              </a:cxn>
              <a:cxn ang="0">
                <a:pos x="connsiteX25635" y="connsiteY25635"/>
              </a:cxn>
              <a:cxn ang="0">
                <a:pos x="connsiteX25636" y="connsiteY25636"/>
              </a:cxn>
              <a:cxn ang="0">
                <a:pos x="connsiteX25637" y="connsiteY25637"/>
              </a:cxn>
              <a:cxn ang="0">
                <a:pos x="connsiteX25638" y="connsiteY25638"/>
              </a:cxn>
              <a:cxn ang="0">
                <a:pos x="connsiteX25639" y="connsiteY25639"/>
              </a:cxn>
              <a:cxn ang="0">
                <a:pos x="connsiteX25640" y="connsiteY25640"/>
              </a:cxn>
              <a:cxn ang="0">
                <a:pos x="connsiteX25641" y="connsiteY25641"/>
              </a:cxn>
              <a:cxn ang="0">
                <a:pos x="connsiteX25642" y="connsiteY25642"/>
              </a:cxn>
              <a:cxn ang="0">
                <a:pos x="connsiteX25643" y="connsiteY25643"/>
              </a:cxn>
              <a:cxn ang="0">
                <a:pos x="connsiteX25644" y="connsiteY25644"/>
              </a:cxn>
              <a:cxn ang="0">
                <a:pos x="connsiteX25645" y="connsiteY25645"/>
              </a:cxn>
              <a:cxn ang="0">
                <a:pos x="connsiteX25646" y="connsiteY25646"/>
              </a:cxn>
              <a:cxn ang="0">
                <a:pos x="connsiteX25647" y="connsiteY25647"/>
              </a:cxn>
              <a:cxn ang="0">
                <a:pos x="connsiteX25648" y="connsiteY25648"/>
              </a:cxn>
              <a:cxn ang="0">
                <a:pos x="connsiteX25649" y="connsiteY25649"/>
              </a:cxn>
              <a:cxn ang="0">
                <a:pos x="connsiteX25650" y="connsiteY25650"/>
              </a:cxn>
              <a:cxn ang="0">
                <a:pos x="connsiteX25651" y="connsiteY25651"/>
              </a:cxn>
              <a:cxn ang="0">
                <a:pos x="connsiteX25652" y="connsiteY25652"/>
              </a:cxn>
              <a:cxn ang="0">
                <a:pos x="connsiteX25653" y="connsiteY25653"/>
              </a:cxn>
              <a:cxn ang="0">
                <a:pos x="connsiteX25654" y="connsiteY25654"/>
              </a:cxn>
              <a:cxn ang="0">
                <a:pos x="connsiteX25655" y="connsiteY25655"/>
              </a:cxn>
              <a:cxn ang="0">
                <a:pos x="connsiteX25656" y="connsiteY25656"/>
              </a:cxn>
              <a:cxn ang="0">
                <a:pos x="connsiteX25657" y="connsiteY25657"/>
              </a:cxn>
              <a:cxn ang="0">
                <a:pos x="connsiteX25658" y="connsiteY25658"/>
              </a:cxn>
              <a:cxn ang="0">
                <a:pos x="connsiteX25659" y="connsiteY25659"/>
              </a:cxn>
              <a:cxn ang="0">
                <a:pos x="connsiteX25660" y="connsiteY25660"/>
              </a:cxn>
              <a:cxn ang="0">
                <a:pos x="connsiteX25661" y="connsiteY25661"/>
              </a:cxn>
              <a:cxn ang="0">
                <a:pos x="connsiteX25662" y="connsiteY25662"/>
              </a:cxn>
              <a:cxn ang="0">
                <a:pos x="connsiteX25663" y="connsiteY25663"/>
              </a:cxn>
              <a:cxn ang="0">
                <a:pos x="connsiteX25664" y="connsiteY25664"/>
              </a:cxn>
              <a:cxn ang="0">
                <a:pos x="connsiteX25665" y="connsiteY25665"/>
              </a:cxn>
              <a:cxn ang="0">
                <a:pos x="connsiteX25666" y="connsiteY25666"/>
              </a:cxn>
              <a:cxn ang="0">
                <a:pos x="connsiteX25667" y="connsiteY25667"/>
              </a:cxn>
              <a:cxn ang="0">
                <a:pos x="connsiteX25668" y="connsiteY25668"/>
              </a:cxn>
              <a:cxn ang="0">
                <a:pos x="connsiteX25669" y="connsiteY25669"/>
              </a:cxn>
              <a:cxn ang="0">
                <a:pos x="connsiteX25670" y="connsiteY25670"/>
              </a:cxn>
              <a:cxn ang="0">
                <a:pos x="connsiteX25671" y="connsiteY25671"/>
              </a:cxn>
              <a:cxn ang="0">
                <a:pos x="connsiteX25672" y="connsiteY25672"/>
              </a:cxn>
              <a:cxn ang="0">
                <a:pos x="connsiteX25673" y="connsiteY25673"/>
              </a:cxn>
              <a:cxn ang="0">
                <a:pos x="connsiteX25674" y="connsiteY25674"/>
              </a:cxn>
              <a:cxn ang="0">
                <a:pos x="connsiteX25675" y="connsiteY25675"/>
              </a:cxn>
              <a:cxn ang="0">
                <a:pos x="connsiteX25676" y="connsiteY25676"/>
              </a:cxn>
              <a:cxn ang="0">
                <a:pos x="connsiteX25677" y="connsiteY25677"/>
              </a:cxn>
              <a:cxn ang="0">
                <a:pos x="connsiteX25678" y="connsiteY25678"/>
              </a:cxn>
              <a:cxn ang="0">
                <a:pos x="connsiteX25679" y="connsiteY25679"/>
              </a:cxn>
              <a:cxn ang="0">
                <a:pos x="connsiteX25680" y="connsiteY25680"/>
              </a:cxn>
              <a:cxn ang="0">
                <a:pos x="connsiteX25681" y="connsiteY25681"/>
              </a:cxn>
              <a:cxn ang="0">
                <a:pos x="connsiteX25682" y="connsiteY25682"/>
              </a:cxn>
              <a:cxn ang="0">
                <a:pos x="connsiteX25683" y="connsiteY25683"/>
              </a:cxn>
              <a:cxn ang="0">
                <a:pos x="connsiteX25684" y="connsiteY25684"/>
              </a:cxn>
              <a:cxn ang="0">
                <a:pos x="connsiteX25685" y="connsiteY25685"/>
              </a:cxn>
              <a:cxn ang="0">
                <a:pos x="connsiteX25686" y="connsiteY25686"/>
              </a:cxn>
              <a:cxn ang="0">
                <a:pos x="connsiteX25687" y="connsiteY25687"/>
              </a:cxn>
              <a:cxn ang="0">
                <a:pos x="connsiteX25688" y="connsiteY25688"/>
              </a:cxn>
              <a:cxn ang="0">
                <a:pos x="connsiteX25689" y="connsiteY25689"/>
              </a:cxn>
              <a:cxn ang="0">
                <a:pos x="connsiteX25690" y="connsiteY25690"/>
              </a:cxn>
              <a:cxn ang="0">
                <a:pos x="connsiteX25691" y="connsiteY25691"/>
              </a:cxn>
              <a:cxn ang="0">
                <a:pos x="connsiteX25692" y="connsiteY25692"/>
              </a:cxn>
              <a:cxn ang="0">
                <a:pos x="connsiteX25693" y="connsiteY25693"/>
              </a:cxn>
              <a:cxn ang="0">
                <a:pos x="connsiteX25694" y="connsiteY25694"/>
              </a:cxn>
              <a:cxn ang="0">
                <a:pos x="connsiteX25695" y="connsiteY25695"/>
              </a:cxn>
              <a:cxn ang="0">
                <a:pos x="connsiteX25696" y="connsiteY25696"/>
              </a:cxn>
              <a:cxn ang="0">
                <a:pos x="connsiteX25697" y="connsiteY25697"/>
              </a:cxn>
              <a:cxn ang="0">
                <a:pos x="connsiteX25698" y="connsiteY25698"/>
              </a:cxn>
              <a:cxn ang="0">
                <a:pos x="connsiteX25699" y="connsiteY25699"/>
              </a:cxn>
              <a:cxn ang="0">
                <a:pos x="connsiteX25700" y="connsiteY25700"/>
              </a:cxn>
              <a:cxn ang="0">
                <a:pos x="connsiteX25701" y="connsiteY25701"/>
              </a:cxn>
              <a:cxn ang="0">
                <a:pos x="connsiteX25702" y="connsiteY25702"/>
              </a:cxn>
              <a:cxn ang="0">
                <a:pos x="connsiteX25703" y="connsiteY25703"/>
              </a:cxn>
              <a:cxn ang="0">
                <a:pos x="connsiteX25704" y="connsiteY25704"/>
              </a:cxn>
              <a:cxn ang="0">
                <a:pos x="connsiteX25705" y="connsiteY25705"/>
              </a:cxn>
              <a:cxn ang="0">
                <a:pos x="connsiteX25706" y="connsiteY25706"/>
              </a:cxn>
              <a:cxn ang="0">
                <a:pos x="connsiteX25707" y="connsiteY25707"/>
              </a:cxn>
              <a:cxn ang="0">
                <a:pos x="connsiteX25708" y="connsiteY25708"/>
              </a:cxn>
              <a:cxn ang="0">
                <a:pos x="connsiteX25709" y="connsiteY25709"/>
              </a:cxn>
              <a:cxn ang="0">
                <a:pos x="connsiteX25710" y="connsiteY25710"/>
              </a:cxn>
              <a:cxn ang="0">
                <a:pos x="connsiteX25711" y="connsiteY25711"/>
              </a:cxn>
              <a:cxn ang="0">
                <a:pos x="connsiteX25712" y="connsiteY25712"/>
              </a:cxn>
              <a:cxn ang="0">
                <a:pos x="connsiteX25713" y="connsiteY25713"/>
              </a:cxn>
              <a:cxn ang="0">
                <a:pos x="connsiteX25714" y="connsiteY25714"/>
              </a:cxn>
              <a:cxn ang="0">
                <a:pos x="connsiteX25715" y="connsiteY25715"/>
              </a:cxn>
              <a:cxn ang="0">
                <a:pos x="connsiteX25716" y="connsiteY25716"/>
              </a:cxn>
              <a:cxn ang="0">
                <a:pos x="connsiteX25717" y="connsiteY25717"/>
              </a:cxn>
              <a:cxn ang="0">
                <a:pos x="connsiteX25718" y="connsiteY25718"/>
              </a:cxn>
              <a:cxn ang="0">
                <a:pos x="connsiteX25719" y="connsiteY25719"/>
              </a:cxn>
              <a:cxn ang="0">
                <a:pos x="connsiteX25720" y="connsiteY25720"/>
              </a:cxn>
              <a:cxn ang="0">
                <a:pos x="connsiteX25721" y="connsiteY25721"/>
              </a:cxn>
              <a:cxn ang="0">
                <a:pos x="connsiteX25722" y="connsiteY25722"/>
              </a:cxn>
              <a:cxn ang="0">
                <a:pos x="connsiteX25723" y="connsiteY25723"/>
              </a:cxn>
              <a:cxn ang="0">
                <a:pos x="connsiteX25724" y="connsiteY25724"/>
              </a:cxn>
              <a:cxn ang="0">
                <a:pos x="connsiteX25725" y="connsiteY25725"/>
              </a:cxn>
              <a:cxn ang="0">
                <a:pos x="connsiteX25726" y="connsiteY25726"/>
              </a:cxn>
              <a:cxn ang="0">
                <a:pos x="connsiteX25727" y="connsiteY25727"/>
              </a:cxn>
              <a:cxn ang="0">
                <a:pos x="connsiteX25728" y="connsiteY25728"/>
              </a:cxn>
              <a:cxn ang="0">
                <a:pos x="connsiteX25729" y="connsiteY25729"/>
              </a:cxn>
              <a:cxn ang="0">
                <a:pos x="connsiteX25730" y="connsiteY25730"/>
              </a:cxn>
              <a:cxn ang="0">
                <a:pos x="connsiteX25731" y="connsiteY25731"/>
              </a:cxn>
              <a:cxn ang="0">
                <a:pos x="connsiteX25732" y="connsiteY25732"/>
              </a:cxn>
              <a:cxn ang="0">
                <a:pos x="connsiteX25733" y="connsiteY25733"/>
              </a:cxn>
              <a:cxn ang="0">
                <a:pos x="connsiteX25734" y="connsiteY25734"/>
              </a:cxn>
              <a:cxn ang="0">
                <a:pos x="connsiteX25735" y="connsiteY25735"/>
              </a:cxn>
              <a:cxn ang="0">
                <a:pos x="connsiteX25736" y="connsiteY25736"/>
              </a:cxn>
              <a:cxn ang="0">
                <a:pos x="connsiteX25737" y="connsiteY25737"/>
              </a:cxn>
              <a:cxn ang="0">
                <a:pos x="connsiteX25738" y="connsiteY25738"/>
              </a:cxn>
              <a:cxn ang="0">
                <a:pos x="connsiteX25739" y="connsiteY25739"/>
              </a:cxn>
              <a:cxn ang="0">
                <a:pos x="connsiteX25740" y="connsiteY25740"/>
              </a:cxn>
              <a:cxn ang="0">
                <a:pos x="connsiteX25741" y="connsiteY25741"/>
              </a:cxn>
              <a:cxn ang="0">
                <a:pos x="connsiteX25742" y="connsiteY25742"/>
              </a:cxn>
              <a:cxn ang="0">
                <a:pos x="connsiteX25743" y="connsiteY25743"/>
              </a:cxn>
              <a:cxn ang="0">
                <a:pos x="connsiteX25744" y="connsiteY25744"/>
              </a:cxn>
              <a:cxn ang="0">
                <a:pos x="connsiteX25745" y="connsiteY25745"/>
              </a:cxn>
              <a:cxn ang="0">
                <a:pos x="connsiteX25746" y="connsiteY25746"/>
              </a:cxn>
              <a:cxn ang="0">
                <a:pos x="connsiteX25747" y="connsiteY25747"/>
              </a:cxn>
              <a:cxn ang="0">
                <a:pos x="connsiteX25748" y="connsiteY25748"/>
              </a:cxn>
              <a:cxn ang="0">
                <a:pos x="connsiteX25749" y="connsiteY25749"/>
              </a:cxn>
              <a:cxn ang="0">
                <a:pos x="connsiteX25750" y="connsiteY25750"/>
              </a:cxn>
              <a:cxn ang="0">
                <a:pos x="connsiteX25751" y="connsiteY25751"/>
              </a:cxn>
              <a:cxn ang="0">
                <a:pos x="connsiteX25752" y="connsiteY25752"/>
              </a:cxn>
              <a:cxn ang="0">
                <a:pos x="connsiteX25753" y="connsiteY25753"/>
              </a:cxn>
              <a:cxn ang="0">
                <a:pos x="connsiteX25754" y="connsiteY25754"/>
              </a:cxn>
              <a:cxn ang="0">
                <a:pos x="connsiteX25755" y="connsiteY25755"/>
              </a:cxn>
              <a:cxn ang="0">
                <a:pos x="connsiteX25756" y="connsiteY25756"/>
              </a:cxn>
              <a:cxn ang="0">
                <a:pos x="connsiteX25757" y="connsiteY25757"/>
              </a:cxn>
              <a:cxn ang="0">
                <a:pos x="connsiteX25758" y="connsiteY25758"/>
              </a:cxn>
              <a:cxn ang="0">
                <a:pos x="connsiteX25759" y="connsiteY25759"/>
              </a:cxn>
              <a:cxn ang="0">
                <a:pos x="connsiteX25760" y="connsiteY25760"/>
              </a:cxn>
              <a:cxn ang="0">
                <a:pos x="connsiteX25761" y="connsiteY25761"/>
              </a:cxn>
              <a:cxn ang="0">
                <a:pos x="connsiteX25762" y="connsiteY25762"/>
              </a:cxn>
              <a:cxn ang="0">
                <a:pos x="connsiteX25763" y="connsiteY25763"/>
              </a:cxn>
              <a:cxn ang="0">
                <a:pos x="connsiteX25764" y="connsiteY25764"/>
              </a:cxn>
              <a:cxn ang="0">
                <a:pos x="connsiteX25765" y="connsiteY25765"/>
              </a:cxn>
              <a:cxn ang="0">
                <a:pos x="connsiteX25766" y="connsiteY25766"/>
              </a:cxn>
              <a:cxn ang="0">
                <a:pos x="connsiteX25767" y="connsiteY25767"/>
              </a:cxn>
              <a:cxn ang="0">
                <a:pos x="connsiteX25768" y="connsiteY25768"/>
              </a:cxn>
              <a:cxn ang="0">
                <a:pos x="connsiteX25769" y="connsiteY25769"/>
              </a:cxn>
              <a:cxn ang="0">
                <a:pos x="connsiteX25770" y="connsiteY25770"/>
              </a:cxn>
              <a:cxn ang="0">
                <a:pos x="connsiteX25771" y="connsiteY25771"/>
              </a:cxn>
              <a:cxn ang="0">
                <a:pos x="connsiteX25772" y="connsiteY25772"/>
              </a:cxn>
              <a:cxn ang="0">
                <a:pos x="connsiteX25773" y="connsiteY25773"/>
              </a:cxn>
              <a:cxn ang="0">
                <a:pos x="connsiteX25774" y="connsiteY25774"/>
              </a:cxn>
              <a:cxn ang="0">
                <a:pos x="connsiteX25775" y="connsiteY25775"/>
              </a:cxn>
              <a:cxn ang="0">
                <a:pos x="connsiteX25776" y="connsiteY25776"/>
              </a:cxn>
              <a:cxn ang="0">
                <a:pos x="connsiteX25777" y="connsiteY25777"/>
              </a:cxn>
              <a:cxn ang="0">
                <a:pos x="connsiteX25778" y="connsiteY25778"/>
              </a:cxn>
              <a:cxn ang="0">
                <a:pos x="connsiteX25779" y="connsiteY25779"/>
              </a:cxn>
              <a:cxn ang="0">
                <a:pos x="connsiteX25780" y="connsiteY25780"/>
              </a:cxn>
              <a:cxn ang="0">
                <a:pos x="connsiteX25781" y="connsiteY25781"/>
              </a:cxn>
              <a:cxn ang="0">
                <a:pos x="connsiteX25782" y="connsiteY25782"/>
              </a:cxn>
              <a:cxn ang="0">
                <a:pos x="connsiteX25783" y="connsiteY25783"/>
              </a:cxn>
              <a:cxn ang="0">
                <a:pos x="connsiteX25784" y="connsiteY25784"/>
              </a:cxn>
              <a:cxn ang="0">
                <a:pos x="connsiteX25785" y="connsiteY25785"/>
              </a:cxn>
              <a:cxn ang="0">
                <a:pos x="connsiteX25786" y="connsiteY25786"/>
              </a:cxn>
              <a:cxn ang="0">
                <a:pos x="connsiteX25787" y="connsiteY25787"/>
              </a:cxn>
              <a:cxn ang="0">
                <a:pos x="connsiteX25788" y="connsiteY25788"/>
              </a:cxn>
              <a:cxn ang="0">
                <a:pos x="connsiteX25789" y="connsiteY25789"/>
              </a:cxn>
              <a:cxn ang="0">
                <a:pos x="connsiteX25790" y="connsiteY25790"/>
              </a:cxn>
              <a:cxn ang="0">
                <a:pos x="connsiteX25791" y="connsiteY25791"/>
              </a:cxn>
              <a:cxn ang="0">
                <a:pos x="connsiteX25792" y="connsiteY25792"/>
              </a:cxn>
              <a:cxn ang="0">
                <a:pos x="connsiteX25793" y="connsiteY25793"/>
              </a:cxn>
              <a:cxn ang="0">
                <a:pos x="connsiteX25794" y="connsiteY25794"/>
              </a:cxn>
              <a:cxn ang="0">
                <a:pos x="connsiteX25795" y="connsiteY25795"/>
              </a:cxn>
              <a:cxn ang="0">
                <a:pos x="connsiteX25796" y="connsiteY25796"/>
              </a:cxn>
              <a:cxn ang="0">
                <a:pos x="connsiteX25797" y="connsiteY25797"/>
              </a:cxn>
              <a:cxn ang="0">
                <a:pos x="connsiteX25798" y="connsiteY25798"/>
              </a:cxn>
              <a:cxn ang="0">
                <a:pos x="connsiteX25799" y="connsiteY25799"/>
              </a:cxn>
              <a:cxn ang="0">
                <a:pos x="connsiteX25800" y="connsiteY25800"/>
              </a:cxn>
              <a:cxn ang="0">
                <a:pos x="connsiteX25801" y="connsiteY25801"/>
              </a:cxn>
              <a:cxn ang="0">
                <a:pos x="connsiteX25802" y="connsiteY25802"/>
              </a:cxn>
              <a:cxn ang="0">
                <a:pos x="connsiteX25803" y="connsiteY25803"/>
              </a:cxn>
              <a:cxn ang="0">
                <a:pos x="connsiteX25804" y="connsiteY25804"/>
              </a:cxn>
              <a:cxn ang="0">
                <a:pos x="connsiteX25805" y="connsiteY25805"/>
              </a:cxn>
              <a:cxn ang="0">
                <a:pos x="connsiteX25806" y="connsiteY25806"/>
              </a:cxn>
              <a:cxn ang="0">
                <a:pos x="connsiteX25807" y="connsiteY25807"/>
              </a:cxn>
              <a:cxn ang="0">
                <a:pos x="connsiteX25808" y="connsiteY25808"/>
              </a:cxn>
              <a:cxn ang="0">
                <a:pos x="connsiteX25809" y="connsiteY25809"/>
              </a:cxn>
              <a:cxn ang="0">
                <a:pos x="connsiteX25810" y="connsiteY25810"/>
              </a:cxn>
              <a:cxn ang="0">
                <a:pos x="connsiteX25811" y="connsiteY25811"/>
              </a:cxn>
              <a:cxn ang="0">
                <a:pos x="connsiteX25812" y="connsiteY25812"/>
              </a:cxn>
              <a:cxn ang="0">
                <a:pos x="connsiteX25813" y="connsiteY25813"/>
              </a:cxn>
              <a:cxn ang="0">
                <a:pos x="connsiteX25814" y="connsiteY25814"/>
              </a:cxn>
              <a:cxn ang="0">
                <a:pos x="connsiteX25815" y="connsiteY25815"/>
              </a:cxn>
              <a:cxn ang="0">
                <a:pos x="connsiteX25816" y="connsiteY25816"/>
              </a:cxn>
              <a:cxn ang="0">
                <a:pos x="connsiteX25817" y="connsiteY25817"/>
              </a:cxn>
              <a:cxn ang="0">
                <a:pos x="connsiteX25818" y="connsiteY25818"/>
              </a:cxn>
              <a:cxn ang="0">
                <a:pos x="connsiteX25819" y="connsiteY25819"/>
              </a:cxn>
              <a:cxn ang="0">
                <a:pos x="connsiteX25820" y="connsiteY25820"/>
              </a:cxn>
              <a:cxn ang="0">
                <a:pos x="connsiteX25821" y="connsiteY25821"/>
              </a:cxn>
              <a:cxn ang="0">
                <a:pos x="connsiteX25822" y="connsiteY25822"/>
              </a:cxn>
              <a:cxn ang="0">
                <a:pos x="connsiteX25823" y="connsiteY25823"/>
              </a:cxn>
              <a:cxn ang="0">
                <a:pos x="connsiteX25824" y="connsiteY25824"/>
              </a:cxn>
              <a:cxn ang="0">
                <a:pos x="connsiteX25825" y="connsiteY25825"/>
              </a:cxn>
              <a:cxn ang="0">
                <a:pos x="connsiteX25826" y="connsiteY25826"/>
              </a:cxn>
              <a:cxn ang="0">
                <a:pos x="connsiteX25827" y="connsiteY25827"/>
              </a:cxn>
              <a:cxn ang="0">
                <a:pos x="connsiteX25828" y="connsiteY25828"/>
              </a:cxn>
              <a:cxn ang="0">
                <a:pos x="connsiteX25829" y="connsiteY25829"/>
              </a:cxn>
              <a:cxn ang="0">
                <a:pos x="connsiteX25830" y="connsiteY25830"/>
              </a:cxn>
              <a:cxn ang="0">
                <a:pos x="connsiteX25831" y="connsiteY25831"/>
              </a:cxn>
              <a:cxn ang="0">
                <a:pos x="connsiteX25832" y="connsiteY25832"/>
              </a:cxn>
              <a:cxn ang="0">
                <a:pos x="connsiteX25833" y="connsiteY25833"/>
              </a:cxn>
              <a:cxn ang="0">
                <a:pos x="connsiteX25834" y="connsiteY25834"/>
              </a:cxn>
              <a:cxn ang="0">
                <a:pos x="connsiteX25835" y="connsiteY25835"/>
              </a:cxn>
              <a:cxn ang="0">
                <a:pos x="connsiteX25836" y="connsiteY25836"/>
              </a:cxn>
              <a:cxn ang="0">
                <a:pos x="connsiteX25837" y="connsiteY25837"/>
              </a:cxn>
              <a:cxn ang="0">
                <a:pos x="connsiteX25838" y="connsiteY25838"/>
              </a:cxn>
              <a:cxn ang="0">
                <a:pos x="connsiteX25839" y="connsiteY25839"/>
              </a:cxn>
              <a:cxn ang="0">
                <a:pos x="connsiteX25840" y="connsiteY25840"/>
              </a:cxn>
              <a:cxn ang="0">
                <a:pos x="connsiteX25841" y="connsiteY25841"/>
              </a:cxn>
              <a:cxn ang="0">
                <a:pos x="connsiteX25842" y="connsiteY25842"/>
              </a:cxn>
              <a:cxn ang="0">
                <a:pos x="connsiteX25843" y="connsiteY25843"/>
              </a:cxn>
              <a:cxn ang="0">
                <a:pos x="connsiteX25844" y="connsiteY25844"/>
              </a:cxn>
              <a:cxn ang="0">
                <a:pos x="connsiteX25845" y="connsiteY25845"/>
              </a:cxn>
              <a:cxn ang="0">
                <a:pos x="connsiteX25846" y="connsiteY25846"/>
              </a:cxn>
              <a:cxn ang="0">
                <a:pos x="connsiteX25847" y="connsiteY25847"/>
              </a:cxn>
              <a:cxn ang="0">
                <a:pos x="connsiteX25848" y="connsiteY25848"/>
              </a:cxn>
              <a:cxn ang="0">
                <a:pos x="connsiteX25849" y="connsiteY25849"/>
              </a:cxn>
              <a:cxn ang="0">
                <a:pos x="connsiteX25850" y="connsiteY25850"/>
              </a:cxn>
              <a:cxn ang="0">
                <a:pos x="connsiteX25851" y="connsiteY25851"/>
              </a:cxn>
              <a:cxn ang="0">
                <a:pos x="connsiteX25852" y="connsiteY25852"/>
              </a:cxn>
              <a:cxn ang="0">
                <a:pos x="connsiteX25853" y="connsiteY25853"/>
              </a:cxn>
              <a:cxn ang="0">
                <a:pos x="connsiteX25854" y="connsiteY25854"/>
              </a:cxn>
              <a:cxn ang="0">
                <a:pos x="connsiteX25855" y="connsiteY25855"/>
              </a:cxn>
              <a:cxn ang="0">
                <a:pos x="connsiteX25856" y="connsiteY25856"/>
              </a:cxn>
              <a:cxn ang="0">
                <a:pos x="connsiteX25857" y="connsiteY25857"/>
              </a:cxn>
              <a:cxn ang="0">
                <a:pos x="connsiteX25858" y="connsiteY25858"/>
              </a:cxn>
              <a:cxn ang="0">
                <a:pos x="connsiteX25859" y="connsiteY25859"/>
              </a:cxn>
              <a:cxn ang="0">
                <a:pos x="connsiteX25860" y="connsiteY25860"/>
              </a:cxn>
              <a:cxn ang="0">
                <a:pos x="connsiteX25861" y="connsiteY25861"/>
              </a:cxn>
              <a:cxn ang="0">
                <a:pos x="connsiteX25862" y="connsiteY25862"/>
              </a:cxn>
              <a:cxn ang="0">
                <a:pos x="connsiteX25863" y="connsiteY25863"/>
              </a:cxn>
              <a:cxn ang="0">
                <a:pos x="connsiteX25864" y="connsiteY25864"/>
              </a:cxn>
              <a:cxn ang="0">
                <a:pos x="connsiteX25865" y="connsiteY25865"/>
              </a:cxn>
              <a:cxn ang="0">
                <a:pos x="connsiteX25866" y="connsiteY25866"/>
              </a:cxn>
              <a:cxn ang="0">
                <a:pos x="connsiteX25867" y="connsiteY25867"/>
              </a:cxn>
              <a:cxn ang="0">
                <a:pos x="connsiteX25868" y="connsiteY25868"/>
              </a:cxn>
              <a:cxn ang="0">
                <a:pos x="connsiteX25869" y="connsiteY25869"/>
              </a:cxn>
              <a:cxn ang="0">
                <a:pos x="connsiteX25870" y="connsiteY25870"/>
              </a:cxn>
              <a:cxn ang="0">
                <a:pos x="connsiteX25871" y="connsiteY25871"/>
              </a:cxn>
              <a:cxn ang="0">
                <a:pos x="connsiteX25872" y="connsiteY25872"/>
              </a:cxn>
              <a:cxn ang="0">
                <a:pos x="connsiteX25873" y="connsiteY25873"/>
              </a:cxn>
              <a:cxn ang="0">
                <a:pos x="connsiteX25874" y="connsiteY25874"/>
              </a:cxn>
              <a:cxn ang="0">
                <a:pos x="connsiteX25875" y="connsiteY25875"/>
              </a:cxn>
              <a:cxn ang="0">
                <a:pos x="connsiteX25876" y="connsiteY25876"/>
              </a:cxn>
              <a:cxn ang="0">
                <a:pos x="connsiteX25877" y="connsiteY25877"/>
              </a:cxn>
              <a:cxn ang="0">
                <a:pos x="connsiteX25878" y="connsiteY25878"/>
              </a:cxn>
              <a:cxn ang="0">
                <a:pos x="connsiteX25879" y="connsiteY25879"/>
              </a:cxn>
              <a:cxn ang="0">
                <a:pos x="connsiteX25880" y="connsiteY25880"/>
              </a:cxn>
              <a:cxn ang="0">
                <a:pos x="connsiteX25881" y="connsiteY25881"/>
              </a:cxn>
              <a:cxn ang="0">
                <a:pos x="connsiteX25882" y="connsiteY25882"/>
              </a:cxn>
              <a:cxn ang="0">
                <a:pos x="connsiteX25883" y="connsiteY25883"/>
              </a:cxn>
              <a:cxn ang="0">
                <a:pos x="connsiteX25884" y="connsiteY25884"/>
              </a:cxn>
              <a:cxn ang="0">
                <a:pos x="connsiteX25885" y="connsiteY25885"/>
              </a:cxn>
              <a:cxn ang="0">
                <a:pos x="connsiteX25886" y="connsiteY25886"/>
              </a:cxn>
              <a:cxn ang="0">
                <a:pos x="connsiteX25887" y="connsiteY25887"/>
              </a:cxn>
              <a:cxn ang="0">
                <a:pos x="connsiteX25888" y="connsiteY25888"/>
              </a:cxn>
              <a:cxn ang="0">
                <a:pos x="connsiteX25889" y="connsiteY25889"/>
              </a:cxn>
              <a:cxn ang="0">
                <a:pos x="connsiteX25890" y="connsiteY25890"/>
              </a:cxn>
              <a:cxn ang="0">
                <a:pos x="connsiteX25891" y="connsiteY25891"/>
              </a:cxn>
              <a:cxn ang="0">
                <a:pos x="connsiteX25892" y="connsiteY25892"/>
              </a:cxn>
              <a:cxn ang="0">
                <a:pos x="connsiteX25893" y="connsiteY25893"/>
              </a:cxn>
              <a:cxn ang="0">
                <a:pos x="connsiteX25894" y="connsiteY25894"/>
              </a:cxn>
              <a:cxn ang="0">
                <a:pos x="connsiteX25895" y="connsiteY25895"/>
              </a:cxn>
              <a:cxn ang="0">
                <a:pos x="connsiteX25896" y="connsiteY25896"/>
              </a:cxn>
              <a:cxn ang="0">
                <a:pos x="connsiteX25897" y="connsiteY25897"/>
              </a:cxn>
              <a:cxn ang="0">
                <a:pos x="connsiteX25898" y="connsiteY25898"/>
              </a:cxn>
              <a:cxn ang="0">
                <a:pos x="connsiteX25899" y="connsiteY25899"/>
              </a:cxn>
              <a:cxn ang="0">
                <a:pos x="connsiteX25900" y="connsiteY25900"/>
              </a:cxn>
              <a:cxn ang="0">
                <a:pos x="connsiteX25901" y="connsiteY25901"/>
              </a:cxn>
              <a:cxn ang="0">
                <a:pos x="connsiteX25902" y="connsiteY25902"/>
              </a:cxn>
              <a:cxn ang="0">
                <a:pos x="connsiteX25903" y="connsiteY25903"/>
              </a:cxn>
              <a:cxn ang="0">
                <a:pos x="connsiteX25904" y="connsiteY25904"/>
              </a:cxn>
              <a:cxn ang="0">
                <a:pos x="connsiteX25905" y="connsiteY25905"/>
              </a:cxn>
              <a:cxn ang="0">
                <a:pos x="connsiteX25906" y="connsiteY25906"/>
              </a:cxn>
              <a:cxn ang="0">
                <a:pos x="connsiteX25907" y="connsiteY25907"/>
              </a:cxn>
              <a:cxn ang="0">
                <a:pos x="connsiteX25908" y="connsiteY25908"/>
              </a:cxn>
              <a:cxn ang="0">
                <a:pos x="connsiteX25909" y="connsiteY25909"/>
              </a:cxn>
              <a:cxn ang="0">
                <a:pos x="connsiteX25910" y="connsiteY25910"/>
              </a:cxn>
              <a:cxn ang="0">
                <a:pos x="connsiteX25911" y="connsiteY25911"/>
              </a:cxn>
              <a:cxn ang="0">
                <a:pos x="connsiteX25912" y="connsiteY25912"/>
              </a:cxn>
              <a:cxn ang="0">
                <a:pos x="connsiteX25913" y="connsiteY25913"/>
              </a:cxn>
              <a:cxn ang="0">
                <a:pos x="connsiteX25914" y="connsiteY25914"/>
              </a:cxn>
              <a:cxn ang="0">
                <a:pos x="connsiteX25915" y="connsiteY25915"/>
              </a:cxn>
              <a:cxn ang="0">
                <a:pos x="connsiteX25916" y="connsiteY25916"/>
              </a:cxn>
              <a:cxn ang="0">
                <a:pos x="connsiteX25917" y="connsiteY25917"/>
              </a:cxn>
              <a:cxn ang="0">
                <a:pos x="connsiteX25918" y="connsiteY25918"/>
              </a:cxn>
              <a:cxn ang="0">
                <a:pos x="connsiteX25919" y="connsiteY25919"/>
              </a:cxn>
              <a:cxn ang="0">
                <a:pos x="connsiteX25920" y="connsiteY25920"/>
              </a:cxn>
              <a:cxn ang="0">
                <a:pos x="connsiteX25921" y="connsiteY25921"/>
              </a:cxn>
              <a:cxn ang="0">
                <a:pos x="connsiteX25922" y="connsiteY25922"/>
              </a:cxn>
              <a:cxn ang="0">
                <a:pos x="connsiteX25923" y="connsiteY25923"/>
              </a:cxn>
              <a:cxn ang="0">
                <a:pos x="connsiteX25924" y="connsiteY25924"/>
              </a:cxn>
              <a:cxn ang="0">
                <a:pos x="connsiteX25925" y="connsiteY25925"/>
              </a:cxn>
              <a:cxn ang="0">
                <a:pos x="connsiteX25926" y="connsiteY25926"/>
              </a:cxn>
              <a:cxn ang="0">
                <a:pos x="connsiteX25927" y="connsiteY25927"/>
              </a:cxn>
              <a:cxn ang="0">
                <a:pos x="connsiteX25928" y="connsiteY25928"/>
              </a:cxn>
              <a:cxn ang="0">
                <a:pos x="connsiteX25929" y="connsiteY25929"/>
              </a:cxn>
              <a:cxn ang="0">
                <a:pos x="connsiteX25930" y="connsiteY25930"/>
              </a:cxn>
              <a:cxn ang="0">
                <a:pos x="connsiteX25931" y="connsiteY25931"/>
              </a:cxn>
              <a:cxn ang="0">
                <a:pos x="connsiteX25932" y="connsiteY25932"/>
              </a:cxn>
              <a:cxn ang="0">
                <a:pos x="connsiteX25933" y="connsiteY25933"/>
              </a:cxn>
              <a:cxn ang="0">
                <a:pos x="connsiteX25934" y="connsiteY25934"/>
              </a:cxn>
              <a:cxn ang="0">
                <a:pos x="connsiteX25935" y="connsiteY25935"/>
              </a:cxn>
              <a:cxn ang="0">
                <a:pos x="connsiteX25936" y="connsiteY25936"/>
              </a:cxn>
              <a:cxn ang="0">
                <a:pos x="connsiteX25937" y="connsiteY25937"/>
              </a:cxn>
              <a:cxn ang="0">
                <a:pos x="connsiteX25938" y="connsiteY25938"/>
              </a:cxn>
              <a:cxn ang="0">
                <a:pos x="connsiteX25939" y="connsiteY25939"/>
              </a:cxn>
              <a:cxn ang="0">
                <a:pos x="connsiteX25940" y="connsiteY25940"/>
              </a:cxn>
              <a:cxn ang="0">
                <a:pos x="connsiteX25941" y="connsiteY25941"/>
              </a:cxn>
              <a:cxn ang="0">
                <a:pos x="connsiteX25942" y="connsiteY25942"/>
              </a:cxn>
              <a:cxn ang="0">
                <a:pos x="connsiteX25943" y="connsiteY25943"/>
              </a:cxn>
              <a:cxn ang="0">
                <a:pos x="connsiteX25944" y="connsiteY25944"/>
              </a:cxn>
              <a:cxn ang="0">
                <a:pos x="connsiteX25945" y="connsiteY25945"/>
              </a:cxn>
              <a:cxn ang="0">
                <a:pos x="connsiteX25946" y="connsiteY25946"/>
              </a:cxn>
              <a:cxn ang="0">
                <a:pos x="connsiteX25947" y="connsiteY25947"/>
              </a:cxn>
              <a:cxn ang="0">
                <a:pos x="connsiteX25948" y="connsiteY25948"/>
              </a:cxn>
              <a:cxn ang="0">
                <a:pos x="connsiteX25949" y="connsiteY25949"/>
              </a:cxn>
              <a:cxn ang="0">
                <a:pos x="connsiteX25950" y="connsiteY25950"/>
              </a:cxn>
              <a:cxn ang="0">
                <a:pos x="connsiteX25951" y="connsiteY25951"/>
              </a:cxn>
              <a:cxn ang="0">
                <a:pos x="connsiteX25952" y="connsiteY25952"/>
              </a:cxn>
              <a:cxn ang="0">
                <a:pos x="connsiteX25953" y="connsiteY25953"/>
              </a:cxn>
              <a:cxn ang="0">
                <a:pos x="connsiteX25954" y="connsiteY25954"/>
              </a:cxn>
              <a:cxn ang="0">
                <a:pos x="connsiteX25955" y="connsiteY25955"/>
              </a:cxn>
              <a:cxn ang="0">
                <a:pos x="connsiteX25956" y="connsiteY25956"/>
              </a:cxn>
              <a:cxn ang="0">
                <a:pos x="connsiteX25957" y="connsiteY25957"/>
              </a:cxn>
              <a:cxn ang="0">
                <a:pos x="connsiteX25958" y="connsiteY25958"/>
              </a:cxn>
              <a:cxn ang="0">
                <a:pos x="connsiteX25959" y="connsiteY25959"/>
              </a:cxn>
              <a:cxn ang="0">
                <a:pos x="connsiteX25960" y="connsiteY25960"/>
              </a:cxn>
              <a:cxn ang="0">
                <a:pos x="connsiteX25961" y="connsiteY25961"/>
              </a:cxn>
              <a:cxn ang="0">
                <a:pos x="connsiteX25962" y="connsiteY25962"/>
              </a:cxn>
              <a:cxn ang="0">
                <a:pos x="connsiteX25963" y="connsiteY25963"/>
              </a:cxn>
              <a:cxn ang="0">
                <a:pos x="connsiteX25964" y="connsiteY25964"/>
              </a:cxn>
              <a:cxn ang="0">
                <a:pos x="connsiteX25965" y="connsiteY25965"/>
              </a:cxn>
              <a:cxn ang="0">
                <a:pos x="connsiteX25966" y="connsiteY25966"/>
              </a:cxn>
              <a:cxn ang="0">
                <a:pos x="connsiteX25967" y="connsiteY25967"/>
              </a:cxn>
              <a:cxn ang="0">
                <a:pos x="connsiteX25968" y="connsiteY25968"/>
              </a:cxn>
              <a:cxn ang="0">
                <a:pos x="connsiteX25969" y="connsiteY25969"/>
              </a:cxn>
              <a:cxn ang="0">
                <a:pos x="connsiteX25970" y="connsiteY25970"/>
              </a:cxn>
              <a:cxn ang="0">
                <a:pos x="connsiteX25971" y="connsiteY25971"/>
              </a:cxn>
              <a:cxn ang="0">
                <a:pos x="connsiteX25972" y="connsiteY25972"/>
              </a:cxn>
              <a:cxn ang="0">
                <a:pos x="connsiteX25973" y="connsiteY25973"/>
              </a:cxn>
              <a:cxn ang="0">
                <a:pos x="connsiteX25974" y="connsiteY25974"/>
              </a:cxn>
              <a:cxn ang="0">
                <a:pos x="connsiteX25975" y="connsiteY25975"/>
              </a:cxn>
              <a:cxn ang="0">
                <a:pos x="connsiteX25976" y="connsiteY25976"/>
              </a:cxn>
              <a:cxn ang="0">
                <a:pos x="connsiteX25977" y="connsiteY25977"/>
              </a:cxn>
              <a:cxn ang="0">
                <a:pos x="connsiteX25978" y="connsiteY25978"/>
              </a:cxn>
              <a:cxn ang="0">
                <a:pos x="connsiteX25979" y="connsiteY25979"/>
              </a:cxn>
              <a:cxn ang="0">
                <a:pos x="connsiteX25980" y="connsiteY25980"/>
              </a:cxn>
              <a:cxn ang="0">
                <a:pos x="connsiteX25981" y="connsiteY25981"/>
              </a:cxn>
              <a:cxn ang="0">
                <a:pos x="connsiteX25982" y="connsiteY25982"/>
              </a:cxn>
              <a:cxn ang="0">
                <a:pos x="connsiteX25983" y="connsiteY25983"/>
              </a:cxn>
              <a:cxn ang="0">
                <a:pos x="connsiteX25984" y="connsiteY25984"/>
              </a:cxn>
              <a:cxn ang="0">
                <a:pos x="connsiteX25985" y="connsiteY25985"/>
              </a:cxn>
              <a:cxn ang="0">
                <a:pos x="connsiteX25986" y="connsiteY25986"/>
              </a:cxn>
              <a:cxn ang="0">
                <a:pos x="connsiteX25987" y="connsiteY25987"/>
              </a:cxn>
              <a:cxn ang="0">
                <a:pos x="connsiteX25988" y="connsiteY25988"/>
              </a:cxn>
              <a:cxn ang="0">
                <a:pos x="connsiteX25989" y="connsiteY25989"/>
              </a:cxn>
              <a:cxn ang="0">
                <a:pos x="connsiteX25990" y="connsiteY25990"/>
              </a:cxn>
              <a:cxn ang="0">
                <a:pos x="connsiteX25991" y="connsiteY25991"/>
              </a:cxn>
              <a:cxn ang="0">
                <a:pos x="connsiteX25992" y="connsiteY25992"/>
              </a:cxn>
              <a:cxn ang="0">
                <a:pos x="connsiteX25993" y="connsiteY25993"/>
              </a:cxn>
              <a:cxn ang="0">
                <a:pos x="connsiteX25994" y="connsiteY25994"/>
              </a:cxn>
              <a:cxn ang="0">
                <a:pos x="connsiteX25995" y="connsiteY25995"/>
              </a:cxn>
              <a:cxn ang="0">
                <a:pos x="connsiteX25996" y="connsiteY25996"/>
              </a:cxn>
              <a:cxn ang="0">
                <a:pos x="connsiteX25997" y="connsiteY25997"/>
              </a:cxn>
              <a:cxn ang="0">
                <a:pos x="connsiteX25998" y="connsiteY25998"/>
              </a:cxn>
              <a:cxn ang="0">
                <a:pos x="connsiteX25999" y="connsiteY25999"/>
              </a:cxn>
              <a:cxn ang="0">
                <a:pos x="connsiteX26000" y="connsiteY26000"/>
              </a:cxn>
              <a:cxn ang="0">
                <a:pos x="connsiteX26001" y="connsiteY26001"/>
              </a:cxn>
              <a:cxn ang="0">
                <a:pos x="connsiteX26002" y="connsiteY26002"/>
              </a:cxn>
              <a:cxn ang="0">
                <a:pos x="connsiteX26003" y="connsiteY26003"/>
              </a:cxn>
              <a:cxn ang="0">
                <a:pos x="connsiteX26004" y="connsiteY26004"/>
              </a:cxn>
              <a:cxn ang="0">
                <a:pos x="connsiteX26005" y="connsiteY26005"/>
              </a:cxn>
              <a:cxn ang="0">
                <a:pos x="connsiteX26006" y="connsiteY26006"/>
              </a:cxn>
              <a:cxn ang="0">
                <a:pos x="connsiteX26007" y="connsiteY26007"/>
              </a:cxn>
              <a:cxn ang="0">
                <a:pos x="connsiteX26008" y="connsiteY26008"/>
              </a:cxn>
              <a:cxn ang="0">
                <a:pos x="connsiteX26009" y="connsiteY26009"/>
              </a:cxn>
              <a:cxn ang="0">
                <a:pos x="connsiteX26010" y="connsiteY26010"/>
              </a:cxn>
              <a:cxn ang="0">
                <a:pos x="connsiteX26011" y="connsiteY26011"/>
              </a:cxn>
              <a:cxn ang="0">
                <a:pos x="connsiteX26012" y="connsiteY26012"/>
              </a:cxn>
              <a:cxn ang="0">
                <a:pos x="connsiteX26013" y="connsiteY26013"/>
              </a:cxn>
              <a:cxn ang="0">
                <a:pos x="connsiteX26014" y="connsiteY26014"/>
              </a:cxn>
              <a:cxn ang="0">
                <a:pos x="connsiteX26015" y="connsiteY26015"/>
              </a:cxn>
              <a:cxn ang="0">
                <a:pos x="connsiteX26016" y="connsiteY26016"/>
              </a:cxn>
              <a:cxn ang="0">
                <a:pos x="connsiteX26017" y="connsiteY26017"/>
              </a:cxn>
              <a:cxn ang="0">
                <a:pos x="connsiteX26018" y="connsiteY26018"/>
              </a:cxn>
              <a:cxn ang="0">
                <a:pos x="connsiteX26019" y="connsiteY26019"/>
              </a:cxn>
              <a:cxn ang="0">
                <a:pos x="connsiteX26020" y="connsiteY26020"/>
              </a:cxn>
              <a:cxn ang="0">
                <a:pos x="connsiteX26021" y="connsiteY26021"/>
              </a:cxn>
              <a:cxn ang="0">
                <a:pos x="connsiteX26022" y="connsiteY26022"/>
              </a:cxn>
              <a:cxn ang="0">
                <a:pos x="connsiteX26023" y="connsiteY26023"/>
              </a:cxn>
              <a:cxn ang="0">
                <a:pos x="connsiteX26024" y="connsiteY26024"/>
              </a:cxn>
              <a:cxn ang="0">
                <a:pos x="connsiteX26025" y="connsiteY26025"/>
              </a:cxn>
              <a:cxn ang="0">
                <a:pos x="connsiteX26026" y="connsiteY26026"/>
              </a:cxn>
              <a:cxn ang="0">
                <a:pos x="connsiteX26027" y="connsiteY26027"/>
              </a:cxn>
              <a:cxn ang="0">
                <a:pos x="connsiteX26028" y="connsiteY26028"/>
              </a:cxn>
              <a:cxn ang="0">
                <a:pos x="connsiteX26029" y="connsiteY26029"/>
              </a:cxn>
              <a:cxn ang="0">
                <a:pos x="connsiteX26030" y="connsiteY26030"/>
              </a:cxn>
              <a:cxn ang="0">
                <a:pos x="connsiteX26031" y="connsiteY26031"/>
              </a:cxn>
              <a:cxn ang="0">
                <a:pos x="connsiteX26032" y="connsiteY26032"/>
              </a:cxn>
              <a:cxn ang="0">
                <a:pos x="connsiteX26033" y="connsiteY26033"/>
              </a:cxn>
              <a:cxn ang="0">
                <a:pos x="connsiteX26034" y="connsiteY26034"/>
              </a:cxn>
              <a:cxn ang="0">
                <a:pos x="connsiteX26035" y="connsiteY26035"/>
              </a:cxn>
              <a:cxn ang="0">
                <a:pos x="connsiteX26036" y="connsiteY26036"/>
              </a:cxn>
              <a:cxn ang="0">
                <a:pos x="connsiteX26037" y="connsiteY26037"/>
              </a:cxn>
              <a:cxn ang="0">
                <a:pos x="connsiteX26038" y="connsiteY26038"/>
              </a:cxn>
              <a:cxn ang="0">
                <a:pos x="connsiteX26039" y="connsiteY26039"/>
              </a:cxn>
              <a:cxn ang="0">
                <a:pos x="connsiteX26040" y="connsiteY26040"/>
              </a:cxn>
              <a:cxn ang="0">
                <a:pos x="connsiteX26041" y="connsiteY26041"/>
              </a:cxn>
              <a:cxn ang="0">
                <a:pos x="connsiteX26042" y="connsiteY26042"/>
              </a:cxn>
              <a:cxn ang="0">
                <a:pos x="connsiteX26043" y="connsiteY26043"/>
              </a:cxn>
              <a:cxn ang="0">
                <a:pos x="connsiteX26044" y="connsiteY26044"/>
              </a:cxn>
              <a:cxn ang="0">
                <a:pos x="connsiteX26045" y="connsiteY26045"/>
              </a:cxn>
              <a:cxn ang="0">
                <a:pos x="connsiteX26046" y="connsiteY26046"/>
              </a:cxn>
              <a:cxn ang="0">
                <a:pos x="connsiteX26047" y="connsiteY26047"/>
              </a:cxn>
              <a:cxn ang="0">
                <a:pos x="connsiteX26048" y="connsiteY26048"/>
              </a:cxn>
              <a:cxn ang="0">
                <a:pos x="connsiteX26049" y="connsiteY26049"/>
              </a:cxn>
              <a:cxn ang="0">
                <a:pos x="connsiteX26050" y="connsiteY26050"/>
              </a:cxn>
              <a:cxn ang="0">
                <a:pos x="connsiteX26051" y="connsiteY26051"/>
              </a:cxn>
              <a:cxn ang="0">
                <a:pos x="connsiteX26052" y="connsiteY26052"/>
              </a:cxn>
              <a:cxn ang="0">
                <a:pos x="connsiteX26053" y="connsiteY26053"/>
              </a:cxn>
              <a:cxn ang="0">
                <a:pos x="connsiteX26054" y="connsiteY26054"/>
              </a:cxn>
              <a:cxn ang="0">
                <a:pos x="connsiteX26055" y="connsiteY26055"/>
              </a:cxn>
              <a:cxn ang="0">
                <a:pos x="connsiteX26056" y="connsiteY26056"/>
              </a:cxn>
              <a:cxn ang="0">
                <a:pos x="connsiteX26057" y="connsiteY26057"/>
              </a:cxn>
              <a:cxn ang="0">
                <a:pos x="connsiteX26058" y="connsiteY26058"/>
              </a:cxn>
              <a:cxn ang="0">
                <a:pos x="connsiteX26059" y="connsiteY26059"/>
              </a:cxn>
              <a:cxn ang="0">
                <a:pos x="connsiteX26060" y="connsiteY26060"/>
              </a:cxn>
              <a:cxn ang="0">
                <a:pos x="connsiteX26061" y="connsiteY26061"/>
              </a:cxn>
              <a:cxn ang="0">
                <a:pos x="connsiteX26062" y="connsiteY26062"/>
              </a:cxn>
              <a:cxn ang="0">
                <a:pos x="connsiteX26063" y="connsiteY26063"/>
              </a:cxn>
              <a:cxn ang="0">
                <a:pos x="connsiteX26064" y="connsiteY26064"/>
              </a:cxn>
              <a:cxn ang="0">
                <a:pos x="connsiteX26065" y="connsiteY26065"/>
              </a:cxn>
              <a:cxn ang="0">
                <a:pos x="connsiteX26066" y="connsiteY26066"/>
              </a:cxn>
              <a:cxn ang="0">
                <a:pos x="connsiteX26067" y="connsiteY26067"/>
              </a:cxn>
              <a:cxn ang="0">
                <a:pos x="connsiteX26068" y="connsiteY26068"/>
              </a:cxn>
              <a:cxn ang="0">
                <a:pos x="connsiteX26069" y="connsiteY26069"/>
              </a:cxn>
              <a:cxn ang="0">
                <a:pos x="connsiteX26070" y="connsiteY26070"/>
              </a:cxn>
              <a:cxn ang="0">
                <a:pos x="connsiteX26071" y="connsiteY26071"/>
              </a:cxn>
              <a:cxn ang="0">
                <a:pos x="connsiteX26072" y="connsiteY26072"/>
              </a:cxn>
              <a:cxn ang="0">
                <a:pos x="connsiteX26073" y="connsiteY26073"/>
              </a:cxn>
              <a:cxn ang="0">
                <a:pos x="connsiteX26074" y="connsiteY26074"/>
              </a:cxn>
              <a:cxn ang="0">
                <a:pos x="connsiteX26075" y="connsiteY26075"/>
              </a:cxn>
              <a:cxn ang="0">
                <a:pos x="connsiteX26076" y="connsiteY26076"/>
              </a:cxn>
              <a:cxn ang="0">
                <a:pos x="connsiteX26077" y="connsiteY26077"/>
              </a:cxn>
              <a:cxn ang="0">
                <a:pos x="connsiteX26078" y="connsiteY26078"/>
              </a:cxn>
              <a:cxn ang="0">
                <a:pos x="connsiteX26079" y="connsiteY26079"/>
              </a:cxn>
              <a:cxn ang="0">
                <a:pos x="connsiteX26080" y="connsiteY26080"/>
              </a:cxn>
              <a:cxn ang="0">
                <a:pos x="connsiteX26081" y="connsiteY26081"/>
              </a:cxn>
              <a:cxn ang="0">
                <a:pos x="connsiteX26082" y="connsiteY26082"/>
              </a:cxn>
              <a:cxn ang="0">
                <a:pos x="connsiteX26083" y="connsiteY26083"/>
              </a:cxn>
              <a:cxn ang="0">
                <a:pos x="connsiteX26084" y="connsiteY26084"/>
              </a:cxn>
              <a:cxn ang="0">
                <a:pos x="connsiteX26085" y="connsiteY26085"/>
              </a:cxn>
              <a:cxn ang="0">
                <a:pos x="connsiteX26086" y="connsiteY26086"/>
              </a:cxn>
              <a:cxn ang="0">
                <a:pos x="connsiteX26087" y="connsiteY26087"/>
              </a:cxn>
              <a:cxn ang="0">
                <a:pos x="connsiteX26088" y="connsiteY26088"/>
              </a:cxn>
              <a:cxn ang="0">
                <a:pos x="connsiteX26089" y="connsiteY26089"/>
              </a:cxn>
              <a:cxn ang="0">
                <a:pos x="connsiteX26090" y="connsiteY26090"/>
              </a:cxn>
              <a:cxn ang="0">
                <a:pos x="connsiteX26091" y="connsiteY26091"/>
              </a:cxn>
              <a:cxn ang="0">
                <a:pos x="connsiteX26092" y="connsiteY26092"/>
              </a:cxn>
              <a:cxn ang="0">
                <a:pos x="connsiteX26093" y="connsiteY26093"/>
              </a:cxn>
              <a:cxn ang="0">
                <a:pos x="connsiteX26094" y="connsiteY26094"/>
              </a:cxn>
              <a:cxn ang="0">
                <a:pos x="connsiteX26095" y="connsiteY26095"/>
              </a:cxn>
              <a:cxn ang="0">
                <a:pos x="connsiteX26096" y="connsiteY26096"/>
              </a:cxn>
              <a:cxn ang="0">
                <a:pos x="connsiteX26097" y="connsiteY26097"/>
              </a:cxn>
              <a:cxn ang="0">
                <a:pos x="connsiteX26098" y="connsiteY26098"/>
              </a:cxn>
              <a:cxn ang="0">
                <a:pos x="connsiteX26099" y="connsiteY26099"/>
              </a:cxn>
              <a:cxn ang="0">
                <a:pos x="connsiteX26100" y="connsiteY26100"/>
              </a:cxn>
              <a:cxn ang="0">
                <a:pos x="connsiteX26101" y="connsiteY26101"/>
              </a:cxn>
              <a:cxn ang="0">
                <a:pos x="connsiteX26102" y="connsiteY26102"/>
              </a:cxn>
              <a:cxn ang="0">
                <a:pos x="connsiteX26103" y="connsiteY26103"/>
              </a:cxn>
              <a:cxn ang="0">
                <a:pos x="connsiteX26104" y="connsiteY26104"/>
              </a:cxn>
              <a:cxn ang="0">
                <a:pos x="connsiteX26105" y="connsiteY26105"/>
              </a:cxn>
              <a:cxn ang="0">
                <a:pos x="connsiteX26106" y="connsiteY26106"/>
              </a:cxn>
              <a:cxn ang="0">
                <a:pos x="connsiteX26107" y="connsiteY26107"/>
              </a:cxn>
              <a:cxn ang="0">
                <a:pos x="connsiteX26108" y="connsiteY26108"/>
              </a:cxn>
              <a:cxn ang="0">
                <a:pos x="connsiteX26109" y="connsiteY26109"/>
              </a:cxn>
              <a:cxn ang="0">
                <a:pos x="connsiteX26110" y="connsiteY26110"/>
              </a:cxn>
              <a:cxn ang="0">
                <a:pos x="connsiteX26111" y="connsiteY26111"/>
              </a:cxn>
              <a:cxn ang="0">
                <a:pos x="connsiteX26112" y="connsiteY26112"/>
              </a:cxn>
              <a:cxn ang="0">
                <a:pos x="connsiteX26113" y="connsiteY26113"/>
              </a:cxn>
              <a:cxn ang="0">
                <a:pos x="connsiteX26114" y="connsiteY26114"/>
              </a:cxn>
              <a:cxn ang="0">
                <a:pos x="connsiteX26115" y="connsiteY26115"/>
              </a:cxn>
              <a:cxn ang="0">
                <a:pos x="connsiteX26116" y="connsiteY26116"/>
              </a:cxn>
              <a:cxn ang="0">
                <a:pos x="connsiteX26117" y="connsiteY26117"/>
              </a:cxn>
              <a:cxn ang="0">
                <a:pos x="connsiteX26118" y="connsiteY26118"/>
              </a:cxn>
              <a:cxn ang="0">
                <a:pos x="connsiteX26119" y="connsiteY26119"/>
              </a:cxn>
              <a:cxn ang="0">
                <a:pos x="connsiteX26120" y="connsiteY26120"/>
              </a:cxn>
              <a:cxn ang="0">
                <a:pos x="connsiteX26121" y="connsiteY26121"/>
              </a:cxn>
              <a:cxn ang="0">
                <a:pos x="connsiteX26122" y="connsiteY26122"/>
              </a:cxn>
              <a:cxn ang="0">
                <a:pos x="connsiteX26123" y="connsiteY26123"/>
              </a:cxn>
              <a:cxn ang="0">
                <a:pos x="connsiteX26124" y="connsiteY26124"/>
              </a:cxn>
              <a:cxn ang="0">
                <a:pos x="connsiteX26125" y="connsiteY26125"/>
              </a:cxn>
              <a:cxn ang="0">
                <a:pos x="connsiteX26126" y="connsiteY26126"/>
              </a:cxn>
              <a:cxn ang="0">
                <a:pos x="connsiteX26127" y="connsiteY26127"/>
              </a:cxn>
              <a:cxn ang="0">
                <a:pos x="connsiteX26128" y="connsiteY26128"/>
              </a:cxn>
              <a:cxn ang="0">
                <a:pos x="connsiteX26129" y="connsiteY26129"/>
              </a:cxn>
              <a:cxn ang="0">
                <a:pos x="connsiteX26130" y="connsiteY26130"/>
              </a:cxn>
              <a:cxn ang="0">
                <a:pos x="connsiteX26131" y="connsiteY26131"/>
              </a:cxn>
              <a:cxn ang="0">
                <a:pos x="connsiteX26132" y="connsiteY26132"/>
              </a:cxn>
              <a:cxn ang="0">
                <a:pos x="connsiteX26133" y="connsiteY26133"/>
              </a:cxn>
              <a:cxn ang="0">
                <a:pos x="connsiteX26134" y="connsiteY26134"/>
              </a:cxn>
              <a:cxn ang="0">
                <a:pos x="connsiteX26135" y="connsiteY26135"/>
              </a:cxn>
              <a:cxn ang="0">
                <a:pos x="connsiteX26136" y="connsiteY26136"/>
              </a:cxn>
              <a:cxn ang="0">
                <a:pos x="connsiteX26137" y="connsiteY26137"/>
              </a:cxn>
              <a:cxn ang="0">
                <a:pos x="connsiteX26138" y="connsiteY26138"/>
              </a:cxn>
              <a:cxn ang="0">
                <a:pos x="connsiteX26139" y="connsiteY26139"/>
              </a:cxn>
              <a:cxn ang="0">
                <a:pos x="connsiteX26140" y="connsiteY26140"/>
              </a:cxn>
              <a:cxn ang="0">
                <a:pos x="connsiteX26141" y="connsiteY26141"/>
              </a:cxn>
              <a:cxn ang="0">
                <a:pos x="connsiteX26142" y="connsiteY26142"/>
              </a:cxn>
              <a:cxn ang="0">
                <a:pos x="connsiteX26143" y="connsiteY26143"/>
              </a:cxn>
              <a:cxn ang="0">
                <a:pos x="connsiteX26144" y="connsiteY26144"/>
              </a:cxn>
              <a:cxn ang="0">
                <a:pos x="connsiteX26145" y="connsiteY26145"/>
              </a:cxn>
              <a:cxn ang="0">
                <a:pos x="connsiteX26146" y="connsiteY26146"/>
              </a:cxn>
              <a:cxn ang="0">
                <a:pos x="connsiteX26147" y="connsiteY26147"/>
              </a:cxn>
              <a:cxn ang="0">
                <a:pos x="connsiteX26148" y="connsiteY26148"/>
              </a:cxn>
              <a:cxn ang="0">
                <a:pos x="connsiteX26149" y="connsiteY26149"/>
              </a:cxn>
              <a:cxn ang="0">
                <a:pos x="connsiteX26150" y="connsiteY26150"/>
              </a:cxn>
              <a:cxn ang="0">
                <a:pos x="connsiteX26151" y="connsiteY26151"/>
              </a:cxn>
              <a:cxn ang="0">
                <a:pos x="connsiteX26152" y="connsiteY26152"/>
              </a:cxn>
              <a:cxn ang="0">
                <a:pos x="connsiteX26153" y="connsiteY26153"/>
              </a:cxn>
              <a:cxn ang="0">
                <a:pos x="connsiteX26154" y="connsiteY26154"/>
              </a:cxn>
              <a:cxn ang="0">
                <a:pos x="connsiteX26155" y="connsiteY26155"/>
              </a:cxn>
              <a:cxn ang="0">
                <a:pos x="connsiteX26156" y="connsiteY26156"/>
              </a:cxn>
              <a:cxn ang="0">
                <a:pos x="connsiteX26157" y="connsiteY26157"/>
              </a:cxn>
              <a:cxn ang="0">
                <a:pos x="connsiteX26158" y="connsiteY26158"/>
              </a:cxn>
              <a:cxn ang="0">
                <a:pos x="connsiteX26159" y="connsiteY26159"/>
              </a:cxn>
              <a:cxn ang="0">
                <a:pos x="connsiteX26160" y="connsiteY26160"/>
              </a:cxn>
              <a:cxn ang="0">
                <a:pos x="connsiteX26161" y="connsiteY26161"/>
              </a:cxn>
              <a:cxn ang="0">
                <a:pos x="connsiteX26162" y="connsiteY26162"/>
              </a:cxn>
              <a:cxn ang="0">
                <a:pos x="connsiteX26163" y="connsiteY26163"/>
              </a:cxn>
              <a:cxn ang="0">
                <a:pos x="connsiteX26164" y="connsiteY26164"/>
              </a:cxn>
              <a:cxn ang="0">
                <a:pos x="connsiteX26165" y="connsiteY26165"/>
              </a:cxn>
              <a:cxn ang="0">
                <a:pos x="connsiteX26166" y="connsiteY26166"/>
              </a:cxn>
              <a:cxn ang="0">
                <a:pos x="connsiteX26167" y="connsiteY26167"/>
              </a:cxn>
              <a:cxn ang="0">
                <a:pos x="connsiteX26168" y="connsiteY26168"/>
              </a:cxn>
              <a:cxn ang="0">
                <a:pos x="connsiteX26169" y="connsiteY26169"/>
              </a:cxn>
              <a:cxn ang="0">
                <a:pos x="connsiteX26170" y="connsiteY26170"/>
              </a:cxn>
              <a:cxn ang="0">
                <a:pos x="connsiteX26171" y="connsiteY26171"/>
              </a:cxn>
              <a:cxn ang="0">
                <a:pos x="connsiteX26172" y="connsiteY26172"/>
              </a:cxn>
              <a:cxn ang="0">
                <a:pos x="connsiteX26173" y="connsiteY26173"/>
              </a:cxn>
              <a:cxn ang="0">
                <a:pos x="connsiteX26174" y="connsiteY26174"/>
              </a:cxn>
              <a:cxn ang="0">
                <a:pos x="connsiteX26175" y="connsiteY26175"/>
              </a:cxn>
              <a:cxn ang="0">
                <a:pos x="connsiteX26176" y="connsiteY26176"/>
              </a:cxn>
              <a:cxn ang="0">
                <a:pos x="connsiteX26177" y="connsiteY26177"/>
              </a:cxn>
              <a:cxn ang="0">
                <a:pos x="connsiteX26178" y="connsiteY26178"/>
              </a:cxn>
              <a:cxn ang="0">
                <a:pos x="connsiteX26179" y="connsiteY26179"/>
              </a:cxn>
              <a:cxn ang="0">
                <a:pos x="connsiteX26180" y="connsiteY26180"/>
              </a:cxn>
              <a:cxn ang="0">
                <a:pos x="connsiteX26181" y="connsiteY26181"/>
              </a:cxn>
              <a:cxn ang="0">
                <a:pos x="connsiteX26182" y="connsiteY26182"/>
              </a:cxn>
              <a:cxn ang="0">
                <a:pos x="connsiteX26183" y="connsiteY26183"/>
              </a:cxn>
              <a:cxn ang="0">
                <a:pos x="connsiteX26184" y="connsiteY26184"/>
              </a:cxn>
              <a:cxn ang="0">
                <a:pos x="connsiteX26185" y="connsiteY26185"/>
              </a:cxn>
              <a:cxn ang="0">
                <a:pos x="connsiteX26186" y="connsiteY26186"/>
              </a:cxn>
              <a:cxn ang="0">
                <a:pos x="connsiteX26187" y="connsiteY26187"/>
              </a:cxn>
              <a:cxn ang="0">
                <a:pos x="connsiteX26188" y="connsiteY26188"/>
              </a:cxn>
              <a:cxn ang="0">
                <a:pos x="connsiteX26189" y="connsiteY26189"/>
              </a:cxn>
              <a:cxn ang="0">
                <a:pos x="connsiteX26190" y="connsiteY26190"/>
              </a:cxn>
              <a:cxn ang="0">
                <a:pos x="connsiteX26191" y="connsiteY26191"/>
              </a:cxn>
              <a:cxn ang="0">
                <a:pos x="connsiteX26192" y="connsiteY26192"/>
              </a:cxn>
              <a:cxn ang="0">
                <a:pos x="connsiteX26193" y="connsiteY26193"/>
              </a:cxn>
              <a:cxn ang="0">
                <a:pos x="connsiteX26194" y="connsiteY26194"/>
              </a:cxn>
              <a:cxn ang="0">
                <a:pos x="connsiteX26195" y="connsiteY26195"/>
              </a:cxn>
              <a:cxn ang="0">
                <a:pos x="connsiteX26196" y="connsiteY26196"/>
              </a:cxn>
              <a:cxn ang="0">
                <a:pos x="connsiteX26197" y="connsiteY26197"/>
              </a:cxn>
              <a:cxn ang="0">
                <a:pos x="connsiteX26198" y="connsiteY26198"/>
              </a:cxn>
              <a:cxn ang="0">
                <a:pos x="connsiteX26199" y="connsiteY26199"/>
              </a:cxn>
              <a:cxn ang="0">
                <a:pos x="connsiteX26200" y="connsiteY26200"/>
              </a:cxn>
              <a:cxn ang="0">
                <a:pos x="connsiteX26201" y="connsiteY26201"/>
              </a:cxn>
              <a:cxn ang="0">
                <a:pos x="connsiteX26202" y="connsiteY26202"/>
              </a:cxn>
              <a:cxn ang="0">
                <a:pos x="connsiteX26203" y="connsiteY26203"/>
              </a:cxn>
              <a:cxn ang="0">
                <a:pos x="connsiteX26204" y="connsiteY26204"/>
              </a:cxn>
              <a:cxn ang="0">
                <a:pos x="connsiteX26205" y="connsiteY26205"/>
              </a:cxn>
              <a:cxn ang="0">
                <a:pos x="connsiteX26206" y="connsiteY26206"/>
              </a:cxn>
              <a:cxn ang="0">
                <a:pos x="connsiteX26207" y="connsiteY26207"/>
              </a:cxn>
              <a:cxn ang="0">
                <a:pos x="connsiteX26208" y="connsiteY26208"/>
              </a:cxn>
              <a:cxn ang="0">
                <a:pos x="connsiteX26209" y="connsiteY26209"/>
              </a:cxn>
              <a:cxn ang="0">
                <a:pos x="connsiteX26210" y="connsiteY26210"/>
              </a:cxn>
              <a:cxn ang="0">
                <a:pos x="connsiteX26211" y="connsiteY26211"/>
              </a:cxn>
              <a:cxn ang="0">
                <a:pos x="connsiteX26212" y="connsiteY26212"/>
              </a:cxn>
              <a:cxn ang="0">
                <a:pos x="connsiteX26213" y="connsiteY26213"/>
              </a:cxn>
              <a:cxn ang="0">
                <a:pos x="connsiteX26214" y="connsiteY26214"/>
              </a:cxn>
              <a:cxn ang="0">
                <a:pos x="connsiteX26215" y="connsiteY26215"/>
              </a:cxn>
              <a:cxn ang="0">
                <a:pos x="connsiteX26216" y="connsiteY26216"/>
              </a:cxn>
              <a:cxn ang="0">
                <a:pos x="connsiteX26217" y="connsiteY26217"/>
              </a:cxn>
              <a:cxn ang="0">
                <a:pos x="connsiteX26218" y="connsiteY26218"/>
              </a:cxn>
              <a:cxn ang="0">
                <a:pos x="connsiteX26219" y="connsiteY26219"/>
              </a:cxn>
              <a:cxn ang="0">
                <a:pos x="connsiteX26220" y="connsiteY26220"/>
              </a:cxn>
              <a:cxn ang="0">
                <a:pos x="connsiteX26221" y="connsiteY26221"/>
              </a:cxn>
              <a:cxn ang="0">
                <a:pos x="connsiteX26222" y="connsiteY26222"/>
              </a:cxn>
              <a:cxn ang="0">
                <a:pos x="connsiteX26223" y="connsiteY26223"/>
              </a:cxn>
              <a:cxn ang="0">
                <a:pos x="connsiteX26224" y="connsiteY26224"/>
              </a:cxn>
              <a:cxn ang="0">
                <a:pos x="connsiteX26225" y="connsiteY26225"/>
              </a:cxn>
              <a:cxn ang="0">
                <a:pos x="connsiteX26226" y="connsiteY26226"/>
              </a:cxn>
              <a:cxn ang="0">
                <a:pos x="connsiteX26227" y="connsiteY26227"/>
              </a:cxn>
              <a:cxn ang="0">
                <a:pos x="connsiteX26228" y="connsiteY26228"/>
              </a:cxn>
              <a:cxn ang="0">
                <a:pos x="connsiteX26229" y="connsiteY26229"/>
              </a:cxn>
              <a:cxn ang="0">
                <a:pos x="connsiteX26230" y="connsiteY26230"/>
              </a:cxn>
              <a:cxn ang="0">
                <a:pos x="connsiteX26231" y="connsiteY26231"/>
              </a:cxn>
              <a:cxn ang="0">
                <a:pos x="connsiteX26232" y="connsiteY26232"/>
              </a:cxn>
              <a:cxn ang="0">
                <a:pos x="connsiteX26233" y="connsiteY26233"/>
              </a:cxn>
              <a:cxn ang="0">
                <a:pos x="connsiteX26234" y="connsiteY26234"/>
              </a:cxn>
              <a:cxn ang="0">
                <a:pos x="connsiteX26235" y="connsiteY26235"/>
              </a:cxn>
              <a:cxn ang="0">
                <a:pos x="connsiteX26236" y="connsiteY26236"/>
              </a:cxn>
              <a:cxn ang="0">
                <a:pos x="connsiteX26237" y="connsiteY26237"/>
              </a:cxn>
              <a:cxn ang="0">
                <a:pos x="connsiteX26238" y="connsiteY26238"/>
              </a:cxn>
              <a:cxn ang="0">
                <a:pos x="connsiteX26239" y="connsiteY26239"/>
              </a:cxn>
              <a:cxn ang="0">
                <a:pos x="connsiteX26240" y="connsiteY26240"/>
              </a:cxn>
              <a:cxn ang="0">
                <a:pos x="connsiteX26241" y="connsiteY26241"/>
              </a:cxn>
              <a:cxn ang="0">
                <a:pos x="connsiteX26242" y="connsiteY26242"/>
              </a:cxn>
              <a:cxn ang="0">
                <a:pos x="connsiteX26243" y="connsiteY26243"/>
              </a:cxn>
              <a:cxn ang="0">
                <a:pos x="connsiteX26244" y="connsiteY26244"/>
              </a:cxn>
              <a:cxn ang="0">
                <a:pos x="connsiteX26245" y="connsiteY26245"/>
              </a:cxn>
              <a:cxn ang="0">
                <a:pos x="connsiteX26246" y="connsiteY26246"/>
              </a:cxn>
              <a:cxn ang="0">
                <a:pos x="connsiteX26247" y="connsiteY26247"/>
              </a:cxn>
              <a:cxn ang="0">
                <a:pos x="connsiteX26248" y="connsiteY26248"/>
              </a:cxn>
              <a:cxn ang="0">
                <a:pos x="connsiteX26249" y="connsiteY26249"/>
              </a:cxn>
              <a:cxn ang="0">
                <a:pos x="connsiteX26250" y="connsiteY26250"/>
              </a:cxn>
              <a:cxn ang="0">
                <a:pos x="connsiteX26251" y="connsiteY26251"/>
              </a:cxn>
              <a:cxn ang="0">
                <a:pos x="connsiteX26252" y="connsiteY26252"/>
              </a:cxn>
              <a:cxn ang="0">
                <a:pos x="connsiteX26253" y="connsiteY26253"/>
              </a:cxn>
              <a:cxn ang="0">
                <a:pos x="connsiteX26254" y="connsiteY26254"/>
              </a:cxn>
              <a:cxn ang="0">
                <a:pos x="connsiteX26255" y="connsiteY26255"/>
              </a:cxn>
              <a:cxn ang="0">
                <a:pos x="connsiteX26256" y="connsiteY26256"/>
              </a:cxn>
              <a:cxn ang="0">
                <a:pos x="connsiteX26257" y="connsiteY26257"/>
              </a:cxn>
              <a:cxn ang="0">
                <a:pos x="connsiteX26258" y="connsiteY26258"/>
              </a:cxn>
              <a:cxn ang="0">
                <a:pos x="connsiteX26259" y="connsiteY26259"/>
              </a:cxn>
              <a:cxn ang="0">
                <a:pos x="connsiteX26260" y="connsiteY26260"/>
              </a:cxn>
              <a:cxn ang="0">
                <a:pos x="connsiteX26261" y="connsiteY26261"/>
              </a:cxn>
              <a:cxn ang="0">
                <a:pos x="connsiteX26262" y="connsiteY26262"/>
              </a:cxn>
              <a:cxn ang="0">
                <a:pos x="connsiteX26263" y="connsiteY26263"/>
              </a:cxn>
              <a:cxn ang="0">
                <a:pos x="connsiteX26264" y="connsiteY26264"/>
              </a:cxn>
              <a:cxn ang="0">
                <a:pos x="connsiteX26265" y="connsiteY26265"/>
              </a:cxn>
              <a:cxn ang="0">
                <a:pos x="connsiteX26266" y="connsiteY26266"/>
              </a:cxn>
              <a:cxn ang="0">
                <a:pos x="connsiteX26267" y="connsiteY26267"/>
              </a:cxn>
              <a:cxn ang="0">
                <a:pos x="connsiteX26268" y="connsiteY26268"/>
              </a:cxn>
              <a:cxn ang="0">
                <a:pos x="connsiteX26269" y="connsiteY26269"/>
              </a:cxn>
              <a:cxn ang="0">
                <a:pos x="connsiteX26270" y="connsiteY26270"/>
              </a:cxn>
              <a:cxn ang="0">
                <a:pos x="connsiteX26271" y="connsiteY26271"/>
              </a:cxn>
              <a:cxn ang="0">
                <a:pos x="connsiteX26272" y="connsiteY26272"/>
              </a:cxn>
              <a:cxn ang="0">
                <a:pos x="connsiteX26273" y="connsiteY26273"/>
              </a:cxn>
              <a:cxn ang="0">
                <a:pos x="connsiteX26274" y="connsiteY26274"/>
              </a:cxn>
              <a:cxn ang="0">
                <a:pos x="connsiteX26275" y="connsiteY26275"/>
              </a:cxn>
              <a:cxn ang="0">
                <a:pos x="connsiteX26276" y="connsiteY26276"/>
              </a:cxn>
              <a:cxn ang="0">
                <a:pos x="connsiteX26277" y="connsiteY26277"/>
              </a:cxn>
              <a:cxn ang="0">
                <a:pos x="connsiteX26278" y="connsiteY26278"/>
              </a:cxn>
              <a:cxn ang="0">
                <a:pos x="connsiteX26279" y="connsiteY26279"/>
              </a:cxn>
              <a:cxn ang="0">
                <a:pos x="connsiteX26280" y="connsiteY26280"/>
              </a:cxn>
              <a:cxn ang="0">
                <a:pos x="connsiteX26281" y="connsiteY26281"/>
              </a:cxn>
              <a:cxn ang="0">
                <a:pos x="connsiteX26282" y="connsiteY26282"/>
              </a:cxn>
              <a:cxn ang="0">
                <a:pos x="connsiteX26283" y="connsiteY26283"/>
              </a:cxn>
              <a:cxn ang="0">
                <a:pos x="connsiteX26284" y="connsiteY26284"/>
              </a:cxn>
              <a:cxn ang="0">
                <a:pos x="connsiteX26285" y="connsiteY26285"/>
              </a:cxn>
              <a:cxn ang="0">
                <a:pos x="connsiteX26286" y="connsiteY26286"/>
              </a:cxn>
              <a:cxn ang="0">
                <a:pos x="connsiteX26287" y="connsiteY26287"/>
              </a:cxn>
              <a:cxn ang="0">
                <a:pos x="connsiteX26288" y="connsiteY26288"/>
              </a:cxn>
              <a:cxn ang="0">
                <a:pos x="connsiteX26289" y="connsiteY26289"/>
              </a:cxn>
              <a:cxn ang="0">
                <a:pos x="connsiteX26290" y="connsiteY26290"/>
              </a:cxn>
              <a:cxn ang="0">
                <a:pos x="connsiteX26291" y="connsiteY26291"/>
              </a:cxn>
              <a:cxn ang="0">
                <a:pos x="connsiteX26292" y="connsiteY26292"/>
              </a:cxn>
              <a:cxn ang="0">
                <a:pos x="connsiteX26293" y="connsiteY26293"/>
              </a:cxn>
              <a:cxn ang="0">
                <a:pos x="connsiteX26294" y="connsiteY26294"/>
              </a:cxn>
              <a:cxn ang="0">
                <a:pos x="connsiteX26295" y="connsiteY26295"/>
              </a:cxn>
              <a:cxn ang="0">
                <a:pos x="connsiteX26296" y="connsiteY26296"/>
              </a:cxn>
              <a:cxn ang="0">
                <a:pos x="connsiteX26297" y="connsiteY26297"/>
              </a:cxn>
              <a:cxn ang="0">
                <a:pos x="connsiteX26298" y="connsiteY26298"/>
              </a:cxn>
              <a:cxn ang="0">
                <a:pos x="connsiteX26299" y="connsiteY26299"/>
              </a:cxn>
              <a:cxn ang="0">
                <a:pos x="connsiteX26300" y="connsiteY26300"/>
              </a:cxn>
              <a:cxn ang="0">
                <a:pos x="connsiteX26301" y="connsiteY26301"/>
              </a:cxn>
              <a:cxn ang="0">
                <a:pos x="connsiteX26302" y="connsiteY26302"/>
              </a:cxn>
              <a:cxn ang="0">
                <a:pos x="connsiteX26303" y="connsiteY26303"/>
              </a:cxn>
              <a:cxn ang="0">
                <a:pos x="connsiteX26304" y="connsiteY26304"/>
              </a:cxn>
              <a:cxn ang="0">
                <a:pos x="connsiteX26305" y="connsiteY26305"/>
              </a:cxn>
              <a:cxn ang="0">
                <a:pos x="connsiteX26306" y="connsiteY26306"/>
              </a:cxn>
              <a:cxn ang="0">
                <a:pos x="connsiteX26307" y="connsiteY26307"/>
              </a:cxn>
              <a:cxn ang="0">
                <a:pos x="connsiteX26308" y="connsiteY26308"/>
              </a:cxn>
              <a:cxn ang="0">
                <a:pos x="connsiteX26309" y="connsiteY26309"/>
              </a:cxn>
              <a:cxn ang="0">
                <a:pos x="connsiteX26310" y="connsiteY26310"/>
              </a:cxn>
              <a:cxn ang="0">
                <a:pos x="connsiteX26311" y="connsiteY26311"/>
              </a:cxn>
              <a:cxn ang="0">
                <a:pos x="connsiteX26312" y="connsiteY26312"/>
              </a:cxn>
              <a:cxn ang="0">
                <a:pos x="connsiteX26313" y="connsiteY26313"/>
              </a:cxn>
              <a:cxn ang="0">
                <a:pos x="connsiteX26314" y="connsiteY26314"/>
              </a:cxn>
              <a:cxn ang="0">
                <a:pos x="connsiteX26315" y="connsiteY26315"/>
              </a:cxn>
              <a:cxn ang="0">
                <a:pos x="connsiteX26316" y="connsiteY26316"/>
              </a:cxn>
              <a:cxn ang="0">
                <a:pos x="connsiteX26317" y="connsiteY26317"/>
              </a:cxn>
              <a:cxn ang="0">
                <a:pos x="connsiteX26318" y="connsiteY26318"/>
              </a:cxn>
              <a:cxn ang="0">
                <a:pos x="connsiteX26319" y="connsiteY26319"/>
              </a:cxn>
              <a:cxn ang="0">
                <a:pos x="connsiteX26320" y="connsiteY26320"/>
              </a:cxn>
              <a:cxn ang="0">
                <a:pos x="connsiteX26321" y="connsiteY26321"/>
              </a:cxn>
              <a:cxn ang="0">
                <a:pos x="connsiteX26322" y="connsiteY26322"/>
              </a:cxn>
              <a:cxn ang="0">
                <a:pos x="connsiteX26323" y="connsiteY26323"/>
              </a:cxn>
              <a:cxn ang="0">
                <a:pos x="connsiteX26324" y="connsiteY26324"/>
              </a:cxn>
              <a:cxn ang="0">
                <a:pos x="connsiteX26325" y="connsiteY26325"/>
              </a:cxn>
              <a:cxn ang="0">
                <a:pos x="connsiteX26326" y="connsiteY26326"/>
              </a:cxn>
              <a:cxn ang="0">
                <a:pos x="connsiteX26327" y="connsiteY26327"/>
              </a:cxn>
              <a:cxn ang="0">
                <a:pos x="connsiteX26328" y="connsiteY26328"/>
              </a:cxn>
              <a:cxn ang="0">
                <a:pos x="connsiteX26329" y="connsiteY26329"/>
              </a:cxn>
              <a:cxn ang="0">
                <a:pos x="connsiteX26330" y="connsiteY26330"/>
              </a:cxn>
              <a:cxn ang="0">
                <a:pos x="connsiteX26331" y="connsiteY26331"/>
              </a:cxn>
              <a:cxn ang="0">
                <a:pos x="connsiteX26332" y="connsiteY26332"/>
              </a:cxn>
              <a:cxn ang="0">
                <a:pos x="connsiteX26333" y="connsiteY26333"/>
              </a:cxn>
              <a:cxn ang="0">
                <a:pos x="connsiteX26334" y="connsiteY26334"/>
              </a:cxn>
              <a:cxn ang="0">
                <a:pos x="connsiteX26335" y="connsiteY26335"/>
              </a:cxn>
              <a:cxn ang="0">
                <a:pos x="connsiteX26336" y="connsiteY26336"/>
              </a:cxn>
              <a:cxn ang="0">
                <a:pos x="connsiteX26337" y="connsiteY26337"/>
              </a:cxn>
              <a:cxn ang="0">
                <a:pos x="connsiteX26338" y="connsiteY26338"/>
              </a:cxn>
              <a:cxn ang="0">
                <a:pos x="connsiteX26339" y="connsiteY26339"/>
              </a:cxn>
              <a:cxn ang="0">
                <a:pos x="connsiteX26340" y="connsiteY26340"/>
              </a:cxn>
              <a:cxn ang="0">
                <a:pos x="connsiteX26341" y="connsiteY26341"/>
              </a:cxn>
              <a:cxn ang="0">
                <a:pos x="connsiteX26342" y="connsiteY26342"/>
              </a:cxn>
              <a:cxn ang="0">
                <a:pos x="connsiteX26343" y="connsiteY26343"/>
              </a:cxn>
              <a:cxn ang="0">
                <a:pos x="connsiteX26344" y="connsiteY26344"/>
              </a:cxn>
              <a:cxn ang="0">
                <a:pos x="connsiteX26345" y="connsiteY26345"/>
              </a:cxn>
              <a:cxn ang="0">
                <a:pos x="connsiteX26346" y="connsiteY26346"/>
              </a:cxn>
              <a:cxn ang="0">
                <a:pos x="connsiteX26347" y="connsiteY26347"/>
              </a:cxn>
              <a:cxn ang="0">
                <a:pos x="connsiteX26348" y="connsiteY26348"/>
              </a:cxn>
              <a:cxn ang="0">
                <a:pos x="connsiteX26349" y="connsiteY26349"/>
              </a:cxn>
              <a:cxn ang="0">
                <a:pos x="connsiteX26350" y="connsiteY26350"/>
              </a:cxn>
              <a:cxn ang="0">
                <a:pos x="connsiteX26351" y="connsiteY26351"/>
              </a:cxn>
              <a:cxn ang="0">
                <a:pos x="connsiteX26352" y="connsiteY26352"/>
              </a:cxn>
              <a:cxn ang="0">
                <a:pos x="connsiteX26353" y="connsiteY26353"/>
              </a:cxn>
              <a:cxn ang="0">
                <a:pos x="connsiteX26354" y="connsiteY26354"/>
              </a:cxn>
              <a:cxn ang="0">
                <a:pos x="connsiteX26355" y="connsiteY26355"/>
              </a:cxn>
              <a:cxn ang="0">
                <a:pos x="connsiteX26356" y="connsiteY26356"/>
              </a:cxn>
              <a:cxn ang="0">
                <a:pos x="connsiteX26357" y="connsiteY26357"/>
              </a:cxn>
              <a:cxn ang="0">
                <a:pos x="connsiteX26358" y="connsiteY26358"/>
              </a:cxn>
              <a:cxn ang="0">
                <a:pos x="connsiteX26359" y="connsiteY26359"/>
              </a:cxn>
              <a:cxn ang="0">
                <a:pos x="connsiteX26360" y="connsiteY26360"/>
              </a:cxn>
              <a:cxn ang="0">
                <a:pos x="connsiteX26361" y="connsiteY26361"/>
              </a:cxn>
              <a:cxn ang="0">
                <a:pos x="connsiteX26362" y="connsiteY26362"/>
              </a:cxn>
              <a:cxn ang="0">
                <a:pos x="connsiteX26363" y="connsiteY26363"/>
              </a:cxn>
              <a:cxn ang="0">
                <a:pos x="connsiteX26364" y="connsiteY26364"/>
              </a:cxn>
              <a:cxn ang="0">
                <a:pos x="connsiteX26365" y="connsiteY26365"/>
              </a:cxn>
              <a:cxn ang="0">
                <a:pos x="connsiteX26366" y="connsiteY26366"/>
              </a:cxn>
              <a:cxn ang="0">
                <a:pos x="connsiteX26367" y="connsiteY26367"/>
              </a:cxn>
              <a:cxn ang="0">
                <a:pos x="connsiteX26368" y="connsiteY26368"/>
              </a:cxn>
              <a:cxn ang="0">
                <a:pos x="connsiteX26369" y="connsiteY26369"/>
              </a:cxn>
              <a:cxn ang="0">
                <a:pos x="connsiteX26370" y="connsiteY26370"/>
              </a:cxn>
              <a:cxn ang="0">
                <a:pos x="connsiteX26371" y="connsiteY26371"/>
              </a:cxn>
              <a:cxn ang="0">
                <a:pos x="connsiteX26372" y="connsiteY26372"/>
              </a:cxn>
              <a:cxn ang="0">
                <a:pos x="connsiteX26373" y="connsiteY26373"/>
              </a:cxn>
              <a:cxn ang="0">
                <a:pos x="connsiteX26374" y="connsiteY26374"/>
              </a:cxn>
              <a:cxn ang="0">
                <a:pos x="connsiteX26375" y="connsiteY26375"/>
              </a:cxn>
              <a:cxn ang="0">
                <a:pos x="connsiteX26376" y="connsiteY26376"/>
              </a:cxn>
              <a:cxn ang="0">
                <a:pos x="connsiteX26377" y="connsiteY26377"/>
              </a:cxn>
              <a:cxn ang="0">
                <a:pos x="connsiteX26378" y="connsiteY26378"/>
              </a:cxn>
              <a:cxn ang="0">
                <a:pos x="connsiteX26379" y="connsiteY26379"/>
              </a:cxn>
              <a:cxn ang="0">
                <a:pos x="connsiteX26380" y="connsiteY26380"/>
              </a:cxn>
              <a:cxn ang="0">
                <a:pos x="connsiteX26381" y="connsiteY26381"/>
              </a:cxn>
              <a:cxn ang="0">
                <a:pos x="connsiteX26382" y="connsiteY26382"/>
              </a:cxn>
              <a:cxn ang="0">
                <a:pos x="connsiteX26383" y="connsiteY26383"/>
              </a:cxn>
              <a:cxn ang="0">
                <a:pos x="connsiteX26384" y="connsiteY26384"/>
              </a:cxn>
              <a:cxn ang="0">
                <a:pos x="connsiteX26385" y="connsiteY26385"/>
              </a:cxn>
              <a:cxn ang="0">
                <a:pos x="connsiteX26386" y="connsiteY26386"/>
              </a:cxn>
              <a:cxn ang="0">
                <a:pos x="connsiteX26387" y="connsiteY26387"/>
              </a:cxn>
              <a:cxn ang="0">
                <a:pos x="connsiteX26388" y="connsiteY26388"/>
              </a:cxn>
              <a:cxn ang="0">
                <a:pos x="connsiteX26389" y="connsiteY26389"/>
              </a:cxn>
              <a:cxn ang="0">
                <a:pos x="connsiteX26390" y="connsiteY26390"/>
              </a:cxn>
              <a:cxn ang="0">
                <a:pos x="connsiteX26391" y="connsiteY26391"/>
              </a:cxn>
              <a:cxn ang="0">
                <a:pos x="connsiteX26392" y="connsiteY26392"/>
              </a:cxn>
              <a:cxn ang="0">
                <a:pos x="connsiteX26393" y="connsiteY26393"/>
              </a:cxn>
              <a:cxn ang="0">
                <a:pos x="connsiteX26394" y="connsiteY26394"/>
              </a:cxn>
              <a:cxn ang="0">
                <a:pos x="connsiteX26395" y="connsiteY26395"/>
              </a:cxn>
              <a:cxn ang="0">
                <a:pos x="connsiteX26396" y="connsiteY26396"/>
              </a:cxn>
              <a:cxn ang="0">
                <a:pos x="connsiteX26397" y="connsiteY26397"/>
              </a:cxn>
              <a:cxn ang="0">
                <a:pos x="connsiteX26398" y="connsiteY26398"/>
              </a:cxn>
              <a:cxn ang="0">
                <a:pos x="connsiteX26399" y="connsiteY26399"/>
              </a:cxn>
              <a:cxn ang="0">
                <a:pos x="connsiteX26400" y="connsiteY26400"/>
              </a:cxn>
              <a:cxn ang="0">
                <a:pos x="connsiteX26401" y="connsiteY26401"/>
              </a:cxn>
              <a:cxn ang="0">
                <a:pos x="connsiteX26402" y="connsiteY26402"/>
              </a:cxn>
              <a:cxn ang="0">
                <a:pos x="connsiteX26403" y="connsiteY26403"/>
              </a:cxn>
              <a:cxn ang="0">
                <a:pos x="connsiteX26404" y="connsiteY26404"/>
              </a:cxn>
              <a:cxn ang="0">
                <a:pos x="connsiteX26405" y="connsiteY26405"/>
              </a:cxn>
              <a:cxn ang="0">
                <a:pos x="connsiteX26406" y="connsiteY26406"/>
              </a:cxn>
              <a:cxn ang="0">
                <a:pos x="connsiteX26407" y="connsiteY26407"/>
              </a:cxn>
              <a:cxn ang="0">
                <a:pos x="connsiteX26408" y="connsiteY26408"/>
              </a:cxn>
              <a:cxn ang="0">
                <a:pos x="connsiteX26409" y="connsiteY26409"/>
              </a:cxn>
              <a:cxn ang="0">
                <a:pos x="connsiteX26410" y="connsiteY26410"/>
              </a:cxn>
              <a:cxn ang="0">
                <a:pos x="connsiteX26411" y="connsiteY26411"/>
              </a:cxn>
              <a:cxn ang="0">
                <a:pos x="connsiteX26412" y="connsiteY26412"/>
              </a:cxn>
              <a:cxn ang="0">
                <a:pos x="connsiteX26413" y="connsiteY26413"/>
              </a:cxn>
              <a:cxn ang="0">
                <a:pos x="connsiteX26414" y="connsiteY26414"/>
              </a:cxn>
              <a:cxn ang="0">
                <a:pos x="connsiteX26415" y="connsiteY26415"/>
              </a:cxn>
              <a:cxn ang="0">
                <a:pos x="connsiteX26416" y="connsiteY26416"/>
              </a:cxn>
              <a:cxn ang="0">
                <a:pos x="connsiteX26417" y="connsiteY26417"/>
              </a:cxn>
              <a:cxn ang="0">
                <a:pos x="connsiteX26418" y="connsiteY26418"/>
              </a:cxn>
              <a:cxn ang="0">
                <a:pos x="connsiteX26419" y="connsiteY26419"/>
              </a:cxn>
              <a:cxn ang="0">
                <a:pos x="connsiteX26420" y="connsiteY26420"/>
              </a:cxn>
              <a:cxn ang="0">
                <a:pos x="connsiteX26421" y="connsiteY26421"/>
              </a:cxn>
              <a:cxn ang="0">
                <a:pos x="connsiteX26422" y="connsiteY26422"/>
              </a:cxn>
              <a:cxn ang="0">
                <a:pos x="connsiteX26423" y="connsiteY26423"/>
              </a:cxn>
              <a:cxn ang="0">
                <a:pos x="connsiteX26424" y="connsiteY26424"/>
              </a:cxn>
              <a:cxn ang="0">
                <a:pos x="connsiteX26425" y="connsiteY26425"/>
              </a:cxn>
              <a:cxn ang="0">
                <a:pos x="connsiteX26426" y="connsiteY26426"/>
              </a:cxn>
              <a:cxn ang="0">
                <a:pos x="connsiteX26427" y="connsiteY26427"/>
              </a:cxn>
              <a:cxn ang="0">
                <a:pos x="connsiteX26428" y="connsiteY26428"/>
              </a:cxn>
              <a:cxn ang="0">
                <a:pos x="connsiteX26429" y="connsiteY26429"/>
              </a:cxn>
              <a:cxn ang="0">
                <a:pos x="connsiteX26430" y="connsiteY26430"/>
              </a:cxn>
              <a:cxn ang="0">
                <a:pos x="connsiteX26431" y="connsiteY26431"/>
              </a:cxn>
              <a:cxn ang="0">
                <a:pos x="connsiteX26432" y="connsiteY26432"/>
              </a:cxn>
              <a:cxn ang="0">
                <a:pos x="connsiteX26433" y="connsiteY26433"/>
              </a:cxn>
              <a:cxn ang="0">
                <a:pos x="connsiteX26434" y="connsiteY26434"/>
              </a:cxn>
              <a:cxn ang="0">
                <a:pos x="connsiteX26435" y="connsiteY26435"/>
              </a:cxn>
              <a:cxn ang="0">
                <a:pos x="connsiteX26436" y="connsiteY26436"/>
              </a:cxn>
              <a:cxn ang="0">
                <a:pos x="connsiteX26437" y="connsiteY26437"/>
              </a:cxn>
              <a:cxn ang="0">
                <a:pos x="connsiteX26438" y="connsiteY26438"/>
              </a:cxn>
              <a:cxn ang="0">
                <a:pos x="connsiteX26439" y="connsiteY26439"/>
              </a:cxn>
              <a:cxn ang="0">
                <a:pos x="connsiteX26440" y="connsiteY26440"/>
              </a:cxn>
              <a:cxn ang="0">
                <a:pos x="connsiteX26441" y="connsiteY26441"/>
              </a:cxn>
              <a:cxn ang="0">
                <a:pos x="connsiteX26442" y="connsiteY26442"/>
              </a:cxn>
              <a:cxn ang="0">
                <a:pos x="connsiteX26443" y="connsiteY26443"/>
              </a:cxn>
              <a:cxn ang="0">
                <a:pos x="connsiteX26444" y="connsiteY26444"/>
              </a:cxn>
              <a:cxn ang="0">
                <a:pos x="connsiteX26445" y="connsiteY26445"/>
              </a:cxn>
              <a:cxn ang="0">
                <a:pos x="connsiteX26446" y="connsiteY26446"/>
              </a:cxn>
              <a:cxn ang="0">
                <a:pos x="connsiteX26447" y="connsiteY26447"/>
              </a:cxn>
              <a:cxn ang="0">
                <a:pos x="connsiteX26448" y="connsiteY26448"/>
              </a:cxn>
              <a:cxn ang="0">
                <a:pos x="connsiteX26449" y="connsiteY26449"/>
              </a:cxn>
              <a:cxn ang="0">
                <a:pos x="connsiteX26450" y="connsiteY26450"/>
              </a:cxn>
              <a:cxn ang="0">
                <a:pos x="connsiteX26451" y="connsiteY26451"/>
              </a:cxn>
              <a:cxn ang="0">
                <a:pos x="connsiteX26452" y="connsiteY26452"/>
              </a:cxn>
              <a:cxn ang="0">
                <a:pos x="connsiteX26453" y="connsiteY26453"/>
              </a:cxn>
              <a:cxn ang="0">
                <a:pos x="connsiteX26454" y="connsiteY26454"/>
              </a:cxn>
              <a:cxn ang="0">
                <a:pos x="connsiteX26455" y="connsiteY26455"/>
              </a:cxn>
              <a:cxn ang="0">
                <a:pos x="connsiteX26456" y="connsiteY26456"/>
              </a:cxn>
              <a:cxn ang="0">
                <a:pos x="connsiteX26457" y="connsiteY26457"/>
              </a:cxn>
              <a:cxn ang="0">
                <a:pos x="connsiteX26458" y="connsiteY26458"/>
              </a:cxn>
              <a:cxn ang="0">
                <a:pos x="connsiteX26459" y="connsiteY26459"/>
              </a:cxn>
              <a:cxn ang="0">
                <a:pos x="connsiteX26460" y="connsiteY26460"/>
              </a:cxn>
              <a:cxn ang="0">
                <a:pos x="connsiteX26461" y="connsiteY26461"/>
              </a:cxn>
              <a:cxn ang="0">
                <a:pos x="connsiteX26462" y="connsiteY26462"/>
              </a:cxn>
              <a:cxn ang="0">
                <a:pos x="connsiteX26463" y="connsiteY26463"/>
              </a:cxn>
              <a:cxn ang="0">
                <a:pos x="connsiteX26464" y="connsiteY26464"/>
              </a:cxn>
              <a:cxn ang="0">
                <a:pos x="connsiteX26465" y="connsiteY26465"/>
              </a:cxn>
              <a:cxn ang="0">
                <a:pos x="connsiteX26466" y="connsiteY26466"/>
              </a:cxn>
              <a:cxn ang="0">
                <a:pos x="connsiteX26467" y="connsiteY26467"/>
              </a:cxn>
              <a:cxn ang="0">
                <a:pos x="connsiteX26468" y="connsiteY26468"/>
              </a:cxn>
              <a:cxn ang="0">
                <a:pos x="connsiteX26469" y="connsiteY26469"/>
              </a:cxn>
              <a:cxn ang="0">
                <a:pos x="connsiteX26470" y="connsiteY26470"/>
              </a:cxn>
              <a:cxn ang="0">
                <a:pos x="connsiteX26471" y="connsiteY26471"/>
              </a:cxn>
              <a:cxn ang="0">
                <a:pos x="connsiteX26472" y="connsiteY26472"/>
              </a:cxn>
              <a:cxn ang="0">
                <a:pos x="connsiteX26473" y="connsiteY26473"/>
              </a:cxn>
              <a:cxn ang="0">
                <a:pos x="connsiteX26474" y="connsiteY26474"/>
              </a:cxn>
              <a:cxn ang="0">
                <a:pos x="connsiteX26475" y="connsiteY26475"/>
              </a:cxn>
              <a:cxn ang="0">
                <a:pos x="connsiteX26476" y="connsiteY26476"/>
              </a:cxn>
              <a:cxn ang="0">
                <a:pos x="connsiteX26477" y="connsiteY26477"/>
              </a:cxn>
              <a:cxn ang="0">
                <a:pos x="connsiteX26478" y="connsiteY26478"/>
              </a:cxn>
              <a:cxn ang="0">
                <a:pos x="connsiteX26479" y="connsiteY26479"/>
              </a:cxn>
              <a:cxn ang="0">
                <a:pos x="connsiteX26480" y="connsiteY26480"/>
              </a:cxn>
              <a:cxn ang="0">
                <a:pos x="connsiteX26481" y="connsiteY26481"/>
              </a:cxn>
              <a:cxn ang="0">
                <a:pos x="connsiteX26482" y="connsiteY26482"/>
              </a:cxn>
              <a:cxn ang="0">
                <a:pos x="connsiteX26483" y="connsiteY26483"/>
              </a:cxn>
              <a:cxn ang="0">
                <a:pos x="connsiteX26484" y="connsiteY26484"/>
              </a:cxn>
              <a:cxn ang="0">
                <a:pos x="connsiteX26485" y="connsiteY26485"/>
              </a:cxn>
              <a:cxn ang="0">
                <a:pos x="connsiteX26486" y="connsiteY26486"/>
              </a:cxn>
              <a:cxn ang="0">
                <a:pos x="connsiteX26487" y="connsiteY26487"/>
              </a:cxn>
              <a:cxn ang="0">
                <a:pos x="connsiteX26488" y="connsiteY26488"/>
              </a:cxn>
              <a:cxn ang="0">
                <a:pos x="connsiteX26489" y="connsiteY26489"/>
              </a:cxn>
              <a:cxn ang="0">
                <a:pos x="connsiteX26490" y="connsiteY26490"/>
              </a:cxn>
              <a:cxn ang="0">
                <a:pos x="connsiteX26491" y="connsiteY26491"/>
              </a:cxn>
              <a:cxn ang="0">
                <a:pos x="connsiteX26492" y="connsiteY26492"/>
              </a:cxn>
              <a:cxn ang="0">
                <a:pos x="connsiteX26493" y="connsiteY26493"/>
              </a:cxn>
              <a:cxn ang="0">
                <a:pos x="connsiteX26494" y="connsiteY26494"/>
              </a:cxn>
              <a:cxn ang="0">
                <a:pos x="connsiteX26495" y="connsiteY26495"/>
              </a:cxn>
              <a:cxn ang="0">
                <a:pos x="connsiteX26496" y="connsiteY26496"/>
              </a:cxn>
              <a:cxn ang="0">
                <a:pos x="connsiteX26497" y="connsiteY26497"/>
              </a:cxn>
              <a:cxn ang="0">
                <a:pos x="connsiteX26498" y="connsiteY26498"/>
              </a:cxn>
              <a:cxn ang="0">
                <a:pos x="connsiteX26499" y="connsiteY26499"/>
              </a:cxn>
              <a:cxn ang="0">
                <a:pos x="connsiteX26500" y="connsiteY26500"/>
              </a:cxn>
              <a:cxn ang="0">
                <a:pos x="connsiteX26501" y="connsiteY26501"/>
              </a:cxn>
              <a:cxn ang="0">
                <a:pos x="connsiteX26502" y="connsiteY26502"/>
              </a:cxn>
              <a:cxn ang="0">
                <a:pos x="connsiteX26503" y="connsiteY26503"/>
              </a:cxn>
              <a:cxn ang="0">
                <a:pos x="connsiteX26504" y="connsiteY26504"/>
              </a:cxn>
              <a:cxn ang="0">
                <a:pos x="connsiteX26505" y="connsiteY26505"/>
              </a:cxn>
              <a:cxn ang="0">
                <a:pos x="connsiteX26506" y="connsiteY26506"/>
              </a:cxn>
              <a:cxn ang="0">
                <a:pos x="connsiteX26507" y="connsiteY26507"/>
              </a:cxn>
              <a:cxn ang="0">
                <a:pos x="connsiteX26508" y="connsiteY26508"/>
              </a:cxn>
              <a:cxn ang="0">
                <a:pos x="connsiteX26509" y="connsiteY26509"/>
              </a:cxn>
              <a:cxn ang="0">
                <a:pos x="connsiteX26510" y="connsiteY26510"/>
              </a:cxn>
              <a:cxn ang="0">
                <a:pos x="connsiteX26511" y="connsiteY26511"/>
              </a:cxn>
              <a:cxn ang="0">
                <a:pos x="connsiteX26512" y="connsiteY26512"/>
              </a:cxn>
              <a:cxn ang="0">
                <a:pos x="connsiteX26513" y="connsiteY26513"/>
              </a:cxn>
              <a:cxn ang="0">
                <a:pos x="connsiteX26514" y="connsiteY26514"/>
              </a:cxn>
              <a:cxn ang="0">
                <a:pos x="connsiteX26515" y="connsiteY26515"/>
              </a:cxn>
              <a:cxn ang="0">
                <a:pos x="connsiteX26516" y="connsiteY26516"/>
              </a:cxn>
              <a:cxn ang="0">
                <a:pos x="connsiteX26517" y="connsiteY26517"/>
              </a:cxn>
              <a:cxn ang="0">
                <a:pos x="connsiteX26518" y="connsiteY26518"/>
              </a:cxn>
              <a:cxn ang="0">
                <a:pos x="connsiteX26519" y="connsiteY26519"/>
              </a:cxn>
              <a:cxn ang="0">
                <a:pos x="connsiteX26520" y="connsiteY26520"/>
              </a:cxn>
              <a:cxn ang="0">
                <a:pos x="connsiteX26521" y="connsiteY26521"/>
              </a:cxn>
              <a:cxn ang="0">
                <a:pos x="connsiteX26522" y="connsiteY26522"/>
              </a:cxn>
              <a:cxn ang="0">
                <a:pos x="connsiteX26523" y="connsiteY26523"/>
              </a:cxn>
              <a:cxn ang="0">
                <a:pos x="connsiteX26524" y="connsiteY26524"/>
              </a:cxn>
              <a:cxn ang="0">
                <a:pos x="connsiteX26525" y="connsiteY26525"/>
              </a:cxn>
              <a:cxn ang="0">
                <a:pos x="connsiteX26526" y="connsiteY26526"/>
              </a:cxn>
              <a:cxn ang="0">
                <a:pos x="connsiteX26527" y="connsiteY26527"/>
              </a:cxn>
              <a:cxn ang="0">
                <a:pos x="connsiteX26528" y="connsiteY26528"/>
              </a:cxn>
              <a:cxn ang="0">
                <a:pos x="connsiteX26529" y="connsiteY26529"/>
              </a:cxn>
              <a:cxn ang="0">
                <a:pos x="connsiteX26530" y="connsiteY26530"/>
              </a:cxn>
              <a:cxn ang="0">
                <a:pos x="connsiteX26531" y="connsiteY26531"/>
              </a:cxn>
              <a:cxn ang="0">
                <a:pos x="connsiteX26532" y="connsiteY26532"/>
              </a:cxn>
              <a:cxn ang="0">
                <a:pos x="connsiteX26533" y="connsiteY26533"/>
              </a:cxn>
              <a:cxn ang="0">
                <a:pos x="connsiteX26534" y="connsiteY26534"/>
              </a:cxn>
              <a:cxn ang="0">
                <a:pos x="connsiteX26535" y="connsiteY26535"/>
              </a:cxn>
              <a:cxn ang="0">
                <a:pos x="connsiteX26536" y="connsiteY26536"/>
              </a:cxn>
              <a:cxn ang="0">
                <a:pos x="connsiteX26537" y="connsiteY26537"/>
              </a:cxn>
              <a:cxn ang="0">
                <a:pos x="connsiteX26538" y="connsiteY26538"/>
              </a:cxn>
              <a:cxn ang="0">
                <a:pos x="connsiteX26539" y="connsiteY26539"/>
              </a:cxn>
              <a:cxn ang="0">
                <a:pos x="connsiteX26540" y="connsiteY26540"/>
              </a:cxn>
              <a:cxn ang="0">
                <a:pos x="connsiteX26541" y="connsiteY26541"/>
              </a:cxn>
              <a:cxn ang="0">
                <a:pos x="connsiteX26542" y="connsiteY26542"/>
              </a:cxn>
              <a:cxn ang="0">
                <a:pos x="connsiteX26543" y="connsiteY26543"/>
              </a:cxn>
              <a:cxn ang="0">
                <a:pos x="connsiteX26544" y="connsiteY26544"/>
              </a:cxn>
              <a:cxn ang="0">
                <a:pos x="connsiteX26545" y="connsiteY26545"/>
              </a:cxn>
              <a:cxn ang="0">
                <a:pos x="connsiteX26546" y="connsiteY26546"/>
              </a:cxn>
              <a:cxn ang="0">
                <a:pos x="connsiteX26547" y="connsiteY26547"/>
              </a:cxn>
              <a:cxn ang="0">
                <a:pos x="connsiteX26548" y="connsiteY26548"/>
              </a:cxn>
              <a:cxn ang="0">
                <a:pos x="connsiteX26549" y="connsiteY26549"/>
              </a:cxn>
              <a:cxn ang="0">
                <a:pos x="connsiteX26550" y="connsiteY26550"/>
              </a:cxn>
              <a:cxn ang="0">
                <a:pos x="connsiteX26551" y="connsiteY26551"/>
              </a:cxn>
              <a:cxn ang="0">
                <a:pos x="connsiteX26552" y="connsiteY26552"/>
              </a:cxn>
              <a:cxn ang="0">
                <a:pos x="connsiteX26553" y="connsiteY26553"/>
              </a:cxn>
              <a:cxn ang="0">
                <a:pos x="connsiteX26554" y="connsiteY26554"/>
              </a:cxn>
              <a:cxn ang="0">
                <a:pos x="connsiteX26555" y="connsiteY26555"/>
              </a:cxn>
              <a:cxn ang="0">
                <a:pos x="connsiteX26556" y="connsiteY26556"/>
              </a:cxn>
              <a:cxn ang="0">
                <a:pos x="connsiteX26557" y="connsiteY26557"/>
              </a:cxn>
              <a:cxn ang="0">
                <a:pos x="connsiteX26558" y="connsiteY26558"/>
              </a:cxn>
              <a:cxn ang="0">
                <a:pos x="connsiteX26559" y="connsiteY26559"/>
              </a:cxn>
              <a:cxn ang="0">
                <a:pos x="connsiteX26560" y="connsiteY26560"/>
              </a:cxn>
              <a:cxn ang="0">
                <a:pos x="connsiteX26561" y="connsiteY26561"/>
              </a:cxn>
              <a:cxn ang="0">
                <a:pos x="connsiteX26562" y="connsiteY26562"/>
              </a:cxn>
              <a:cxn ang="0">
                <a:pos x="connsiteX26563" y="connsiteY26563"/>
              </a:cxn>
              <a:cxn ang="0">
                <a:pos x="connsiteX26564" y="connsiteY26564"/>
              </a:cxn>
              <a:cxn ang="0">
                <a:pos x="connsiteX26565" y="connsiteY26565"/>
              </a:cxn>
              <a:cxn ang="0">
                <a:pos x="connsiteX26566" y="connsiteY26566"/>
              </a:cxn>
              <a:cxn ang="0">
                <a:pos x="connsiteX26567" y="connsiteY26567"/>
              </a:cxn>
              <a:cxn ang="0">
                <a:pos x="connsiteX26568" y="connsiteY26568"/>
              </a:cxn>
              <a:cxn ang="0">
                <a:pos x="connsiteX26569" y="connsiteY26569"/>
              </a:cxn>
              <a:cxn ang="0">
                <a:pos x="connsiteX26570" y="connsiteY26570"/>
              </a:cxn>
              <a:cxn ang="0">
                <a:pos x="connsiteX26571" y="connsiteY26571"/>
              </a:cxn>
              <a:cxn ang="0">
                <a:pos x="connsiteX26572" y="connsiteY26572"/>
              </a:cxn>
              <a:cxn ang="0">
                <a:pos x="connsiteX26573" y="connsiteY26573"/>
              </a:cxn>
              <a:cxn ang="0">
                <a:pos x="connsiteX26574" y="connsiteY26574"/>
              </a:cxn>
              <a:cxn ang="0">
                <a:pos x="connsiteX26575" y="connsiteY26575"/>
              </a:cxn>
              <a:cxn ang="0">
                <a:pos x="connsiteX26576" y="connsiteY26576"/>
              </a:cxn>
              <a:cxn ang="0">
                <a:pos x="connsiteX26577" y="connsiteY26577"/>
              </a:cxn>
              <a:cxn ang="0">
                <a:pos x="connsiteX26578" y="connsiteY26578"/>
              </a:cxn>
              <a:cxn ang="0">
                <a:pos x="connsiteX26579" y="connsiteY26579"/>
              </a:cxn>
              <a:cxn ang="0">
                <a:pos x="connsiteX26580" y="connsiteY26580"/>
              </a:cxn>
              <a:cxn ang="0">
                <a:pos x="connsiteX26581" y="connsiteY26581"/>
              </a:cxn>
              <a:cxn ang="0">
                <a:pos x="connsiteX26582" y="connsiteY26582"/>
              </a:cxn>
              <a:cxn ang="0">
                <a:pos x="connsiteX26583" y="connsiteY26583"/>
              </a:cxn>
              <a:cxn ang="0">
                <a:pos x="connsiteX26584" y="connsiteY26584"/>
              </a:cxn>
              <a:cxn ang="0">
                <a:pos x="connsiteX26585" y="connsiteY26585"/>
              </a:cxn>
              <a:cxn ang="0">
                <a:pos x="connsiteX26586" y="connsiteY26586"/>
              </a:cxn>
              <a:cxn ang="0">
                <a:pos x="connsiteX26587" y="connsiteY26587"/>
              </a:cxn>
              <a:cxn ang="0">
                <a:pos x="connsiteX26588" y="connsiteY26588"/>
              </a:cxn>
              <a:cxn ang="0">
                <a:pos x="connsiteX26589" y="connsiteY26589"/>
              </a:cxn>
              <a:cxn ang="0">
                <a:pos x="connsiteX26590" y="connsiteY26590"/>
              </a:cxn>
              <a:cxn ang="0">
                <a:pos x="connsiteX26591" y="connsiteY26591"/>
              </a:cxn>
              <a:cxn ang="0">
                <a:pos x="connsiteX26592" y="connsiteY26592"/>
              </a:cxn>
              <a:cxn ang="0">
                <a:pos x="connsiteX26593" y="connsiteY26593"/>
              </a:cxn>
              <a:cxn ang="0">
                <a:pos x="connsiteX26594" y="connsiteY26594"/>
              </a:cxn>
              <a:cxn ang="0">
                <a:pos x="connsiteX26595" y="connsiteY26595"/>
              </a:cxn>
              <a:cxn ang="0">
                <a:pos x="connsiteX26596" y="connsiteY26596"/>
              </a:cxn>
              <a:cxn ang="0">
                <a:pos x="connsiteX26597" y="connsiteY26597"/>
              </a:cxn>
              <a:cxn ang="0">
                <a:pos x="connsiteX26598" y="connsiteY26598"/>
              </a:cxn>
              <a:cxn ang="0">
                <a:pos x="connsiteX26599" y="connsiteY26599"/>
              </a:cxn>
              <a:cxn ang="0">
                <a:pos x="connsiteX26600" y="connsiteY26600"/>
              </a:cxn>
              <a:cxn ang="0">
                <a:pos x="connsiteX26601" y="connsiteY26601"/>
              </a:cxn>
              <a:cxn ang="0">
                <a:pos x="connsiteX26602" y="connsiteY26602"/>
              </a:cxn>
              <a:cxn ang="0">
                <a:pos x="connsiteX26603" y="connsiteY26603"/>
              </a:cxn>
              <a:cxn ang="0">
                <a:pos x="connsiteX26604" y="connsiteY26604"/>
              </a:cxn>
              <a:cxn ang="0">
                <a:pos x="connsiteX26605" y="connsiteY26605"/>
              </a:cxn>
              <a:cxn ang="0">
                <a:pos x="connsiteX26606" y="connsiteY26606"/>
              </a:cxn>
              <a:cxn ang="0">
                <a:pos x="connsiteX26607" y="connsiteY26607"/>
              </a:cxn>
              <a:cxn ang="0">
                <a:pos x="connsiteX26608" y="connsiteY26608"/>
              </a:cxn>
              <a:cxn ang="0">
                <a:pos x="connsiteX26609" y="connsiteY26609"/>
              </a:cxn>
              <a:cxn ang="0">
                <a:pos x="connsiteX26610" y="connsiteY26610"/>
              </a:cxn>
              <a:cxn ang="0">
                <a:pos x="connsiteX26611" y="connsiteY26611"/>
              </a:cxn>
              <a:cxn ang="0">
                <a:pos x="connsiteX26612" y="connsiteY26612"/>
              </a:cxn>
              <a:cxn ang="0">
                <a:pos x="connsiteX26613" y="connsiteY26613"/>
              </a:cxn>
              <a:cxn ang="0">
                <a:pos x="connsiteX26614" y="connsiteY26614"/>
              </a:cxn>
              <a:cxn ang="0">
                <a:pos x="connsiteX26615" y="connsiteY26615"/>
              </a:cxn>
              <a:cxn ang="0">
                <a:pos x="connsiteX26616" y="connsiteY26616"/>
              </a:cxn>
              <a:cxn ang="0">
                <a:pos x="connsiteX26617" y="connsiteY26617"/>
              </a:cxn>
              <a:cxn ang="0">
                <a:pos x="connsiteX26618" y="connsiteY26618"/>
              </a:cxn>
              <a:cxn ang="0">
                <a:pos x="connsiteX26619" y="connsiteY26619"/>
              </a:cxn>
              <a:cxn ang="0">
                <a:pos x="connsiteX26620" y="connsiteY26620"/>
              </a:cxn>
              <a:cxn ang="0">
                <a:pos x="connsiteX26621" y="connsiteY26621"/>
              </a:cxn>
              <a:cxn ang="0">
                <a:pos x="connsiteX26622" y="connsiteY26622"/>
              </a:cxn>
              <a:cxn ang="0">
                <a:pos x="connsiteX26623" y="connsiteY26623"/>
              </a:cxn>
              <a:cxn ang="0">
                <a:pos x="connsiteX26624" y="connsiteY26624"/>
              </a:cxn>
              <a:cxn ang="0">
                <a:pos x="connsiteX26625" y="connsiteY26625"/>
              </a:cxn>
              <a:cxn ang="0">
                <a:pos x="connsiteX26626" y="connsiteY26626"/>
              </a:cxn>
              <a:cxn ang="0">
                <a:pos x="connsiteX26627" y="connsiteY26627"/>
              </a:cxn>
              <a:cxn ang="0">
                <a:pos x="connsiteX26628" y="connsiteY26628"/>
              </a:cxn>
              <a:cxn ang="0">
                <a:pos x="connsiteX26629" y="connsiteY26629"/>
              </a:cxn>
              <a:cxn ang="0">
                <a:pos x="connsiteX26630" y="connsiteY26630"/>
              </a:cxn>
              <a:cxn ang="0">
                <a:pos x="connsiteX26631" y="connsiteY26631"/>
              </a:cxn>
              <a:cxn ang="0">
                <a:pos x="connsiteX26632" y="connsiteY26632"/>
              </a:cxn>
              <a:cxn ang="0">
                <a:pos x="connsiteX26633" y="connsiteY26633"/>
              </a:cxn>
              <a:cxn ang="0">
                <a:pos x="connsiteX26634" y="connsiteY26634"/>
              </a:cxn>
              <a:cxn ang="0">
                <a:pos x="connsiteX26635" y="connsiteY26635"/>
              </a:cxn>
              <a:cxn ang="0">
                <a:pos x="connsiteX26636" y="connsiteY26636"/>
              </a:cxn>
              <a:cxn ang="0">
                <a:pos x="connsiteX26637" y="connsiteY26637"/>
              </a:cxn>
              <a:cxn ang="0">
                <a:pos x="connsiteX26638" y="connsiteY26638"/>
              </a:cxn>
              <a:cxn ang="0">
                <a:pos x="connsiteX26639" y="connsiteY26639"/>
              </a:cxn>
              <a:cxn ang="0">
                <a:pos x="connsiteX26640" y="connsiteY26640"/>
              </a:cxn>
              <a:cxn ang="0">
                <a:pos x="connsiteX26641" y="connsiteY26641"/>
              </a:cxn>
              <a:cxn ang="0">
                <a:pos x="connsiteX26642" y="connsiteY26642"/>
              </a:cxn>
              <a:cxn ang="0">
                <a:pos x="connsiteX26643" y="connsiteY26643"/>
              </a:cxn>
              <a:cxn ang="0">
                <a:pos x="connsiteX26644" y="connsiteY26644"/>
              </a:cxn>
              <a:cxn ang="0">
                <a:pos x="connsiteX26645" y="connsiteY26645"/>
              </a:cxn>
              <a:cxn ang="0">
                <a:pos x="connsiteX26646" y="connsiteY26646"/>
              </a:cxn>
              <a:cxn ang="0">
                <a:pos x="connsiteX26647" y="connsiteY26647"/>
              </a:cxn>
              <a:cxn ang="0">
                <a:pos x="connsiteX26648" y="connsiteY26648"/>
              </a:cxn>
              <a:cxn ang="0">
                <a:pos x="connsiteX26649" y="connsiteY26649"/>
              </a:cxn>
              <a:cxn ang="0">
                <a:pos x="connsiteX26650" y="connsiteY26650"/>
              </a:cxn>
              <a:cxn ang="0">
                <a:pos x="connsiteX26651" y="connsiteY26651"/>
              </a:cxn>
              <a:cxn ang="0">
                <a:pos x="connsiteX26652" y="connsiteY26652"/>
              </a:cxn>
              <a:cxn ang="0">
                <a:pos x="connsiteX26653" y="connsiteY26653"/>
              </a:cxn>
              <a:cxn ang="0">
                <a:pos x="connsiteX26654" y="connsiteY26654"/>
              </a:cxn>
              <a:cxn ang="0">
                <a:pos x="connsiteX26655" y="connsiteY26655"/>
              </a:cxn>
              <a:cxn ang="0">
                <a:pos x="connsiteX26656" y="connsiteY26656"/>
              </a:cxn>
              <a:cxn ang="0">
                <a:pos x="connsiteX26657" y="connsiteY26657"/>
              </a:cxn>
              <a:cxn ang="0">
                <a:pos x="connsiteX26658" y="connsiteY26658"/>
              </a:cxn>
              <a:cxn ang="0">
                <a:pos x="connsiteX26659" y="connsiteY26659"/>
              </a:cxn>
              <a:cxn ang="0">
                <a:pos x="connsiteX26660" y="connsiteY26660"/>
              </a:cxn>
              <a:cxn ang="0">
                <a:pos x="connsiteX26661" y="connsiteY26661"/>
              </a:cxn>
              <a:cxn ang="0">
                <a:pos x="connsiteX26662" y="connsiteY26662"/>
              </a:cxn>
              <a:cxn ang="0">
                <a:pos x="connsiteX26663" y="connsiteY26663"/>
              </a:cxn>
              <a:cxn ang="0">
                <a:pos x="connsiteX26664" y="connsiteY26664"/>
              </a:cxn>
              <a:cxn ang="0">
                <a:pos x="connsiteX26665" y="connsiteY26665"/>
              </a:cxn>
              <a:cxn ang="0">
                <a:pos x="connsiteX26666" y="connsiteY26666"/>
              </a:cxn>
              <a:cxn ang="0">
                <a:pos x="connsiteX26667" y="connsiteY26667"/>
              </a:cxn>
              <a:cxn ang="0">
                <a:pos x="connsiteX26668" y="connsiteY26668"/>
              </a:cxn>
              <a:cxn ang="0">
                <a:pos x="connsiteX26669" y="connsiteY26669"/>
              </a:cxn>
              <a:cxn ang="0">
                <a:pos x="connsiteX26670" y="connsiteY26670"/>
              </a:cxn>
              <a:cxn ang="0">
                <a:pos x="connsiteX26671" y="connsiteY26671"/>
              </a:cxn>
              <a:cxn ang="0">
                <a:pos x="connsiteX26672" y="connsiteY26672"/>
              </a:cxn>
              <a:cxn ang="0">
                <a:pos x="connsiteX26673" y="connsiteY26673"/>
              </a:cxn>
              <a:cxn ang="0">
                <a:pos x="connsiteX26674" y="connsiteY26674"/>
              </a:cxn>
              <a:cxn ang="0">
                <a:pos x="connsiteX26675" y="connsiteY26675"/>
              </a:cxn>
              <a:cxn ang="0">
                <a:pos x="connsiteX26676" y="connsiteY26676"/>
              </a:cxn>
              <a:cxn ang="0">
                <a:pos x="connsiteX26677" y="connsiteY26677"/>
              </a:cxn>
              <a:cxn ang="0">
                <a:pos x="connsiteX26678" y="connsiteY26678"/>
              </a:cxn>
              <a:cxn ang="0">
                <a:pos x="connsiteX26679" y="connsiteY26679"/>
              </a:cxn>
              <a:cxn ang="0">
                <a:pos x="connsiteX26680" y="connsiteY26680"/>
              </a:cxn>
              <a:cxn ang="0">
                <a:pos x="connsiteX26681" y="connsiteY26681"/>
              </a:cxn>
              <a:cxn ang="0">
                <a:pos x="connsiteX26682" y="connsiteY26682"/>
              </a:cxn>
              <a:cxn ang="0">
                <a:pos x="connsiteX26683" y="connsiteY26683"/>
              </a:cxn>
              <a:cxn ang="0">
                <a:pos x="connsiteX26684" y="connsiteY26684"/>
              </a:cxn>
              <a:cxn ang="0">
                <a:pos x="connsiteX26685" y="connsiteY26685"/>
              </a:cxn>
              <a:cxn ang="0">
                <a:pos x="connsiteX26686" y="connsiteY26686"/>
              </a:cxn>
              <a:cxn ang="0">
                <a:pos x="connsiteX26687" y="connsiteY26687"/>
              </a:cxn>
              <a:cxn ang="0">
                <a:pos x="connsiteX26688" y="connsiteY26688"/>
              </a:cxn>
              <a:cxn ang="0">
                <a:pos x="connsiteX26689" y="connsiteY26689"/>
              </a:cxn>
              <a:cxn ang="0">
                <a:pos x="connsiteX26690" y="connsiteY26690"/>
              </a:cxn>
              <a:cxn ang="0">
                <a:pos x="connsiteX26691" y="connsiteY26691"/>
              </a:cxn>
              <a:cxn ang="0">
                <a:pos x="connsiteX26692" y="connsiteY26692"/>
              </a:cxn>
              <a:cxn ang="0">
                <a:pos x="connsiteX26693" y="connsiteY26693"/>
              </a:cxn>
              <a:cxn ang="0">
                <a:pos x="connsiteX26694" y="connsiteY26694"/>
              </a:cxn>
              <a:cxn ang="0">
                <a:pos x="connsiteX26695" y="connsiteY26695"/>
              </a:cxn>
              <a:cxn ang="0">
                <a:pos x="connsiteX26696" y="connsiteY26696"/>
              </a:cxn>
              <a:cxn ang="0">
                <a:pos x="connsiteX26697" y="connsiteY26697"/>
              </a:cxn>
              <a:cxn ang="0">
                <a:pos x="connsiteX26698" y="connsiteY26698"/>
              </a:cxn>
              <a:cxn ang="0">
                <a:pos x="connsiteX26699" y="connsiteY26699"/>
              </a:cxn>
              <a:cxn ang="0">
                <a:pos x="connsiteX26700" y="connsiteY26700"/>
              </a:cxn>
              <a:cxn ang="0">
                <a:pos x="connsiteX26701" y="connsiteY26701"/>
              </a:cxn>
              <a:cxn ang="0">
                <a:pos x="connsiteX26702" y="connsiteY26702"/>
              </a:cxn>
              <a:cxn ang="0">
                <a:pos x="connsiteX26703" y="connsiteY26703"/>
              </a:cxn>
              <a:cxn ang="0">
                <a:pos x="connsiteX26704" y="connsiteY26704"/>
              </a:cxn>
              <a:cxn ang="0">
                <a:pos x="connsiteX26705" y="connsiteY26705"/>
              </a:cxn>
              <a:cxn ang="0">
                <a:pos x="connsiteX26706" y="connsiteY26706"/>
              </a:cxn>
              <a:cxn ang="0">
                <a:pos x="connsiteX26707" y="connsiteY26707"/>
              </a:cxn>
              <a:cxn ang="0">
                <a:pos x="connsiteX26708" y="connsiteY26708"/>
              </a:cxn>
              <a:cxn ang="0">
                <a:pos x="connsiteX26709" y="connsiteY26709"/>
              </a:cxn>
              <a:cxn ang="0">
                <a:pos x="connsiteX26710" y="connsiteY26710"/>
              </a:cxn>
              <a:cxn ang="0">
                <a:pos x="connsiteX26711" y="connsiteY26711"/>
              </a:cxn>
              <a:cxn ang="0">
                <a:pos x="connsiteX26712" y="connsiteY26712"/>
              </a:cxn>
              <a:cxn ang="0">
                <a:pos x="connsiteX26713" y="connsiteY26713"/>
              </a:cxn>
              <a:cxn ang="0">
                <a:pos x="connsiteX26714" y="connsiteY26714"/>
              </a:cxn>
              <a:cxn ang="0">
                <a:pos x="connsiteX26715" y="connsiteY26715"/>
              </a:cxn>
              <a:cxn ang="0">
                <a:pos x="connsiteX26716" y="connsiteY26716"/>
              </a:cxn>
              <a:cxn ang="0">
                <a:pos x="connsiteX26717" y="connsiteY26717"/>
              </a:cxn>
              <a:cxn ang="0">
                <a:pos x="connsiteX26718" y="connsiteY26718"/>
              </a:cxn>
              <a:cxn ang="0">
                <a:pos x="connsiteX26719" y="connsiteY26719"/>
              </a:cxn>
              <a:cxn ang="0">
                <a:pos x="connsiteX26720" y="connsiteY26720"/>
              </a:cxn>
              <a:cxn ang="0">
                <a:pos x="connsiteX26721" y="connsiteY26721"/>
              </a:cxn>
              <a:cxn ang="0">
                <a:pos x="connsiteX26722" y="connsiteY26722"/>
              </a:cxn>
              <a:cxn ang="0">
                <a:pos x="connsiteX26723" y="connsiteY26723"/>
              </a:cxn>
              <a:cxn ang="0">
                <a:pos x="connsiteX26724" y="connsiteY26724"/>
              </a:cxn>
              <a:cxn ang="0">
                <a:pos x="connsiteX26725" y="connsiteY26725"/>
              </a:cxn>
              <a:cxn ang="0">
                <a:pos x="connsiteX26726" y="connsiteY26726"/>
              </a:cxn>
              <a:cxn ang="0">
                <a:pos x="connsiteX26727" y="connsiteY26727"/>
              </a:cxn>
              <a:cxn ang="0">
                <a:pos x="connsiteX26728" y="connsiteY26728"/>
              </a:cxn>
              <a:cxn ang="0">
                <a:pos x="connsiteX26729" y="connsiteY26729"/>
              </a:cxn>
              <a:cxn ang="0">
                <a:pos x="connsiteX26730" y="connsiteY26730"/>
              </a:cxn>
              <a:cxn ang="0">
                <a:pos x="connsiteX26731" y="connsiteY26731"/>
              </a:cxn>
              <a:cxn ang="0">
                <a:pos x="connsiteX26732" y="connsiteY26732"/>
              </a:cxn>
              <a:cxn ang="0">
                <a:pos x="connsiteX26733" y="connsiteY26733"/>
              </a:cxn>
              <a:cxn ang="0">
                <a:pos x="connsiteX26734" y="connsiteY26734"/>
              </a:cxn>
              <a:cxn ang="0">
                <a:pos x="connsiteX26735" y="connsiteY26735"/>
              </a:cxn>
              <a:cxn ang="0">
                <a:pos x="connsiteX26736" y="connsiteY26736"/>
              </a:cxn>
              <a:cxn ang="0">
                <a:pos x="connsiteX26737" y="connsiteY26737"/>
              </a:cxn>
              <a:cxn ang="0">
                <a:pos x="connsiteX26738" y="connsiteY26738"/>
              </a:cxn>
              <a:cxn ang="0">
                <a:pos x="connsiteX26739" y="connsiteY26739"/>
              </a:cxn>
              <a:cxn ang="0">
                <a:pos x="connsiteX26740" y="connsiteY26740"/>
              </a:cxn>
              <a:cxn ang="0">
                <a:pos x="connsiteX26741" y="connsiteY26741"/>
              </a:cxn>
              <a:cxn ang="0">
                <a:pos x="connsiteX26742" y="connsiteY26742"/>
              </a:cxn>
              <a:cxn ang="0">
                <a:pos x="connsiteX26743" y="connsiteY26743"/>
              </a:cxn>
              <a:cxn ang="0">
                <a:pos x="connsiteX26744" y="connsiteY26744"/>
              </a:cxn>
              <a:cxn ang="0">
                <a:pos x="connsiteX26745" y="connsiteY26745"/>
              </a:cxn>
              <a:cxn ang="0">
                <a:pos x="connsiteX26746" y="connsiteY26746"/>
              </a:cxn>
              <a:cxn ang="0">
                <a:pos x="connsiteX26747" y="connsiteY26747"/>
              </a:cxn>
              <a:cxn ang="0">
                <a:pos x="connsiteX26748" y="connsiteY26748"/>
              </a:cxn>
              <a:cxn ang="0">
                <a:pos x="connsiteX26749" y="connsiteY26749"/>
              </a:cxn>
              <a:cxn ang="0">
                <a:pos x="connsiteX26750" y="connsiteY26750"/>
              </a:cxn>
              <a:cxn ang="0">
                <a:pos x="connsiteX26751" y="connsiteY26751"/>
              </a:cxn>
              <a:cxn ang="0">
                <a:pos x="connsiteX26752" y="connsiteY26752"/>
              </a:cxn>
              <a:cxn ang="0">
                <a:pos x="connsiteX26753" y="connsiteY26753"/>
              </a:cxn>
              <a:cxn ang="0">
                <a:pos x="connsiteX26754" y="connsiteY26754"/>
              </a:cxn>
              <a:cxn ang="0">
                <a:pos x="connsiteX26755" y="connsiteY26755"/>
              </a:cxn>
              <a:cxn ang="0">
                <a:pos x="connsiteX26756" y="connsiteY26756"/>
              </a:cxn>
              <a:cxn ang="0">
                <a:pos x="connsiteX26757" y="connsiteY26757"/>
              </a:cxn>
              <a:cxn ang="0">
                <a:pos x="connsiteX26758" y="connsiteY26758"/>
              </a:cxn>
              <a:cxn ang="0">
                <a:pos x="connsiteX26759" y="connsiteY26759"/>
              </a:cxn>
              <a:cxn ang="0">
                <a:pos x="connsiteX26760" y="connsiteY26760"/>
              </a:cxn>
              <a:cxn ang="0">
                <a:pos x="connsiteX26761" y="connsiteY26761"/>
              </a:cxn>
              <a:cxn ang="0">
                <a:pos x="connsiteX26762" y="connsiteY26762"/>
              </a:cxn>
              <a:cxn ang="0">
                <a:pos x="connsiteX26763" y="connsiteY26763"/>
              </a:cxn>
              <a:cxn ang="0">
                <a:pos x="connsiteX26764" y="connsiteY26764"/>
              </a:cxn>
              <a:cxn ang="0">
                <a:pos x="connsiteX26765" y="connsiteY26765"/>
              </a:cxn>
              <a:cxn ang="0">
                <a:pos x="connsiteX26766" y="connsiteY26766"/>
              </a:cxn>
              <a:cxn ang="0">
                <a:pos x="connsiteX26767" y="connsiteY26767"/>
              </a:cxn>
              <a:cxn ang="0">
                <a:pos x="connsiteX26768" y="connsiteY26768"/>
              </a:cxn>
              <a:cxn ang="0">
                <a:pos x="connsiteX26769" y="connsiteY26769"/>
              </a:cxn>
              <a:cxn ang="0">
                <a:pos x="connsiteX26770" y="connsiteY26770"/>
              </a:cxn>
              <a:cxn ang="0">
                <a:pos x="connsiteX26771" y="connsiteY26771"/>
              </a:cxn>
              <a:cxn ang="0">
                <a:pos x="connsiteX26772" y="connsiteY26772"/>
              </a:cxn>
              <a:cxn ang="0">
                <a:pos x="connsiteX26773" y="connsiteY26773"/>
              </a:cxn>
              <a:cxn ang="0">
                <a:pos x="connsiteX26774" y="connsiteY26774"/>
              </a:cxn>
              <a:cxn ang="0">
                <a:pos x="connsiteX26775" y="connsiteY26775"/>
              </a:cxn>
              <a:cxn ang="0">
                <a:pos x="connsiteX26776" y="connsiteY26776"/>
              </a:cxn>
              <a:cxn ang="0">
                <a:pos x="connsiteX26777" y="connsiteY26777"/>
              </a:cxn>
              <a:cxn ang="0">
                <a:pos x="connsiteX26778" y="connsiteY26778"/>
              </a:cxn>
              <a:cxn ang="0">
                <a:pos x="connsiteX26779" y="connsiteY26779"/>
              </a:cxn>
              <a:cxn ang="0">
                <a:pos x="connsiteX26780" y="connsiteY26780"/>
              </a:cxn>
              <a:cxn ang="0">
                <a:pos x="connsiteX26781" y="connsiteY26781"/>
              </a:cxn>
              <a:cxn ang="0">
                <a:pos x="connsiteX26782" y="connsiteY26782"/>
              </a:cxn>
              <a:cxn ang="0">
                <a:pos x="connsiteX26783" y="connsiteY26783"/>
              </a:cxn>
              <a:cxn ang="0">
                <a:pos x="connsiteX26784" y="connsiteY26784"/>
              </a:cxn>
              <a:cxn ang="0">
                <a:pos x="connsiteX26785" y="connsiteY26785"/>
              </a:cxn>
              <a:cxn ang="0">
                <a:pos x="connsiteX26786" y="connsiteY26786"/>
              </a:cxn>
              <a:cxn ang="0">
                <a:pos x="connsiteX26787" y="connsiteY26787"/>
              </a:cxn>
              <a:cxn ang="0">
                <a:pos x="connsiteX26788" y="connsiteY26788"/>
              </a:cxn>
              <a:cxn ang="0">
                <a:pos x="connsiteX26789" y="connsiteY26789"/>
              </a:cxn>
              <a:cxn ang="0">
                <a:pos x="connsiteX26790" y="connsiteY26790"/>
              </a:cxn>
              <a:cxn ang="0">
                <a:pos x="connsiteX26791" y="connsiteY26791"/>
              </a:cxn>
              <a:cxn ang="0">
                <a:pos x="connsiteX26792" y="connsiteY26792"/>
              </a:cxn>
              <a:cxn ang="0">
                <a:pos x="connsiteX26793" y="connsiteY26793"/>
              </a:cxn>
              <a:cxn ang="0">
                <a:pos x="connsiteX26794" y="connsiteY26794"/>
              </a:cxn>
              <a:cxn ang="0">
                <a:pos x="connsiteX26795" y="connsiteY26795"/>
              </a:cxn>
              <a:cxn ang="0">
                <a:pos x="connsiteX26796" y="connsiteY26796"/>
              </a:cxn>
              <a:cxn ang="0">
                <a:pos x="connsiteX26797" y="connsiteY26797"/>
              </a:cxn>
              <a:cxn ang="0">
                <a:pos x="connsiteX26798" y="connsiteY26798"/>
              </a:cxn>
              <a:cxn ang="0">
                <a:pos x="connsiteX26799" y="connsiteY26799"/>
              </a:cxn>
              <a:cxn ang="0">
                <a:pos x="connsiteX26800" y="connsiteY26800"/>
              </a:cxn>
              <a:cxn ang="0">
                <a:pos x="connsiteX26801" y="connsiteY26801"/>
              </a:cxn>
              <a:cxn ang="0">
                <a:pos x="connsiteX26802" y="connsiteY26802"/>
              </a:cxn>
              <a:cxn ang="0">
                <a:pos x="connsiteX26803" y="connsiteY26803"/>
              </a:cxn>
              <a:cxn ang="0">
                <a:pos x="connsiteX26804" y="connsiteY26804"/>
              </a:cxn>
              <a:cxn ang="0">
                <a:pos x="connsiteX26805" y="connsiteY26805"/>
              </a:cxn>
              <a:cxn ang="0">
                <a:pos x="connsiteX26806" y="connsiteY26806"/>
              </a:cxn>
              <a:cxn ang="0">
                <a:pos x="connsiteX26807" y="connsiteY26807"/>
              </a:cxn>
              <a:cxn ang="0">
                <a:pos x="connsiteX26808" y="connsiteY26808"/>
              </a:cxn>
              <a:cxn ang="0">
                <a:pos x="connsiteX26809" y="connsiteY26809"/>
              </a:cxn>
              <a:cxn ang="0">
                <a:pos x="connsiteX26810" y="connsiteY26810"/>
              </a:cxn>
              <a:cxn ang="0">
                <a:pos x="connsiteX26811" y="connsiteY26811"/>
              </a:cxn>
              <a:cxn ang="0">
                <a:pos x="connsiteX26812" y="connsiteY26812"/>
              </a:cxn>
              <a:cxn ang="0">
                <a:pos x="connsiteX26813" y="connsiteY26813"/>
              </a:cxn>
              <a:cxn ang="0">
                <a:pos x="connsiteX26814" y="connsiteY26814"/>
              </a:cxn>
              <a:cxn ang="0">
                <a:pos x="connsiteX26815" y="connsiteY26815"/>
              </a:cxn>
              <a:cxn ang="0">
                <a:pos x="connsiteX26816" y="connsiteY26816"/>
              </a:cxn>
              <a:cxn ang="0">
                <a:pos x="connsiteX26817" y="connsiteY26817"/>
              </a:cxn>
              <a:cxn ang="0">
                <a:pos x="connsiteX26818" y="connsiteY26818"/>
              </a:cxn>
              <a:cxn ang="0">
                <a:pos x="connsiteX26819" y="connsiteY26819"/>
              </a:cxn>
              <a:cxn ang="0">
                <a:pos x="connsiteX26820" y="connsiteY26820"/>
              </a:cxn>
              <a:cxn ang="0">
                <a:pos x="connsiteX26821" y="connsiteY26821"/>
              </a:cxn>
              <a:cxn ang="0">
                <a:pos x="connsiteX26822" y="connsiteY26822"/>
              </a:cxn>
              <a:cxn ang="0">
                <a:pos x="connsiteX26823" y="connsiteY26823"/>
              </a:cxn>
              <a:cxn ang="0">
                <a:pos x="connsiteX26824" y="connsiteY26824"/>
              </a:cxn>
              <a:cxn ang="0">
                <a:pos x="connsiteX26825" y="connsiteY26825"/>
              </a:cxn>
              <a:cxn ang="0">
                <a:pos x="connsiteX26826" y="connsiteY26826"/>
              </a:cxn>
              <a:cxn ang="0">
                <a:pos x="connsiteX26827" y="connsiteY26827"/>
              </a:cxn>
              <a:cxn ang="0">
                <a:pos x="connsiteX26828" y="connsiteY26828"/>
              </a:cxn>
              <a:cxn ang="0">
                <a:pos x="connsiteX26829" y="connsiteY26829"/>
              </a:cxn>
              <a:cxn ang="0">
                <a:pos x="connsiteX26830" y="connsiteY26830"/>
              </a:cxn>
              <a:cxn ang="0">
                <a:pos x="connsiteX26831" y="connsiteY26831"/>
              </a:cxn>
              <a:cxn ang="0">
                <a:pos x="connsiteX26832" y="connsiteY26832"/>
              </a:cxn>
              <a:cxn ang="0">
                <a:pos x="connsiteX26833" y="connsiteY26833"/>
              </a:cxn>
              <a:cxn ang="0">
                <a:pos x="connsiteX26834" y="connsiteY26834"/>
              </a:cxn>
              <a:cxn ang="0">
                <a:pos x="connsiteX26835" y="connsiteY26835"/>
              </a:cxn>
              <a:cxn ang="0">
                <a:pos x="connsiteX26836" y="connsiteY26836"/>
              </a:cxn>
              <a:cxn ang="0">
                <a:pos x="connsiteX26837" y="connsiteY26837"/>
              </a:cxn>
              <a:cxn ang="0">
                <a:pos x="connsiteX26838" y="connsiteY26838"/>
              </a:cxn>
              <a:cxn ang="0">
                <a:pos x="connsiteX26839" y="connsiteY26839"/>
              </a:cxn>
              <a:cxn ang="0">
                <a:pos x="connsiteX26840" y="connsiteY26840"/>
              </a:cxn>
              <a:cxn ang="0">
                <a:pos x="connsiteX26841" y="connsiteY26841"/>
              </a:cxn>
              <a:cxn ang="0">
                <a:pos x="connsiteX26842" y="connsiteY26842"/>
              </a:cxn>
              <a:cxn ang="0">
                <a:pos x="connsiteX26843" y="connsiteY26843"/>
              </a:cxn>
              <a:cxn ang="0">
                <a:pos x="connsiteX26844" y="connsiteY26844"/>
              </a:cxn>
              <a:cxn ang="0">
                <a:pos x="connsiteX26845" y="connsiteY26845"/>
              </a:cxn>
              <a:cxn ang="0">
                <a:pos x="connsiteX26846" y="connsiteY26846"/>
              </a:cxn>
              <a:cxn ang="0">
                <a:pos x="connsiteX26847" y="connsiteY26847"/>
              </a:cxn>
              <a:cxn ang="0">
                <a:pos x="connsiteX26848" y="connsiteY26848"/>
              </a:cxn>
              <a:cxn ang="0">
                <a:pos x="connsiteX26849" y="connsiteY26849"/>
              </a:cxn>
              <a:cxn ang="0">
                <a:pos x="connsiteX26850" y="connsiteY26850"/>
              </a:cxn>
              <a:cxn ang="0">
                <a:pos x="connsiteX26851" y="connsiteY26851"/>
              </a:cxn>
              <a:cxn ang="0">
                <a:pos x="connsiteX26852" y="connsiteY26852"/>
              </a:cxn>
              <a:cxn ang="0">
                <a:pos x="connsiteX26853" y="connsiteY26853"/>
              </a:cxn>
              <a:cxn ang="0">
                <a:pos x="connsiteX26854" y="connsiteY26854"/>
              </a:cxn>
              <a:cxn ang="0">
                <a:pos x="connsiteX26855" y="connsiteY26855"/>
              </a:cxn>
              <a:cxn ang="0">
                <a:pos x="connsiteX26856" y="connsiteY26856"/>
              </a:cxn>
              <a:cxn ang="0">
                <a:pos x="connsiteX26857" y="connsiteY26857"/>
              </a:cxn>
              <a:cxn ang="0">
                <a:pos x="connsiteX26858" y="connsiteY26858"/>
              </a:cxn>
              <a:cxn ang="0">
                <a:pos x="connsiteX26859" y="connsiteY26859"/>
              </a:cxn>
              <a:cxn ang="0">
                <a:pos x="connsiteX26860" y="connsiteY26860"/>
              </a:cxn>
              <a:cxn ang="0">
                <a:pos x="connsiteX26861" y="connsiteY26861"/>
              </a:cxn>
              <a:cxn ang="0">
                <a:pos x="connsiteX26862" y="connsiteY26862"/>
              </a:cxn>
              <a:cxn ang="0">
                <a:pos x="connsiteX26863" y="connsiteY26863"/>
              </a:cxn>
              <a:cxn ang="0">
                <a:pos x="connsiteX26864" y="connsiteY26864"/>
              </a:cxn>
              <a:cxn ang="0">
                <a:pos x="connsiteX26865" y="connsiteY26865"/>
              </a:cxn>
              <a:cxn ang="0">
                <a:pos x="connsiteX26866" y="connsiteY26866"/>
              </a:cxn>
              <a:cxn ang="0">
                <a:pos x="connsiteX26867" y="connsiteY26867"/>
              </a:cxn>
              <a:cxn ang="0">
                <a:pos x="connsiteX26868" y="connsiteY26868"/>
              </a:cxn>
              <a:cxn ang="0">
                <a:pos x="connsiteX26869" y="connsiteY26869"/>
              </a:cxn>
              <a:cxn ang="0">
                <a:pos x="connsiteX26870" y="connsiteY26870"/>
              </a:cxn>
              <a:cxn ang="0">
                <a:pos x="connsiteX26871" y="connsiteY26871"/>
              </a:cxn>
              <a:cxn ang="0">
                <a:pos x="connsiteX26872" y="connsiteY26872"/>
              </a:cxn>
              <a:cxn ang="0">
                <a:pos x="connsiteX26873" y="connsiteY26873"/>
              </a:cxn>
              <a:cxn ang="0">
                <a:pos x="connsiteX26874" y="connsiteY26874"/>
              </a:cxn>
              <a:cxn ang="0">
                <a:pos x="connsiteX26875" y="connsiteY26875"/>
              </a:cxn>
              <a:cxn ang="0">
                <a:pos x="connsiteX26876" y="connsiteY26876"/>
              </a:cxn>
              <a:cxn ang="0">
                <a:pos x="connsiteX26877" y="connsiteY26877"/>
              </a:cxn>
              <a:cxn ang="0">
                <a:pos x="connsiteX26878" y="connsiteY26878"/>
              </a:cxn>
              <a:cxn ang="0">
                <a:pos x="connsiteX26879" y="connsiteY26879"/>
              </a:cxn>
              <a:cxn ang="0">
                <a:pos x="connsiteX26880" y="connsiteY26880"/>
              </a:cxn>
              <a:cxn ang="0">
                <a:pos x="connsiteX26881" y="connsiteY26881"/>
              </a:cxn>
              <a:cxn ang="0">
                <a:pos x="connsiteX26882" y="connsiteY26882"/>
              </a:cxn>
              <a:cxn ang="0">
                <a:pos x="connsiteX26883" y="connsiteY26883"/>
              </a:cxn>
              <a:cxn ang="0">
                <a:pos x="connsiteX26884" y="connsiteY26884"/>
              </a:cxn>
              <a:cxn ang="0">
                <a:pos x="connsiteX26885" y="connsiteY26885"/>
              </a:cxn>
              <a:cxn ang="0">
                <a:pos x="connsiteX26886" y="connsiteY26886"/>
              </a:cxn>
              <a:cxn ang="0">
                <a:pos x="connsiteX26887" y="connsiteY26887"/>
              </a:cxn>
              <a:cxn ang="0">
                <a:pos x="connsiteX26888" y="connsiteY26888"/>
              </a:cxn>
              <a:cxn ang="0">
                <a:pos x="connsiteX26889" y="connsiteY26889"/>
              </a:cxn>
              <a:cxn ang="0">
                <a:pos x="connsiteX26890" y="connsiteY26890"/>
              </a:cxn>
              <a:cxn ang="0">
                <a:pos x="connsiteX26891" y="connsiteY26891"/>
              </a:cxn>
              <a:cxn ang="0">
                <a:pos x="connsiteX26892" y="connsiteY26892"/>
              </a:cxn>
              <a:cxn ang="0">
                <a:pos x="connsiteX26893" y="connsiteY26893"/>
              </a:cxn>
              <a:cxn ang="0">
                <a:pos x="connsiteX26894" y="connsiteY26894"/>
              </a:cxn>
              <a:cxn ang="0">
                <a:pos x="connsiteX26895" y="connsiteY26895"/>
              </a:cxn>
              <a:cxn ang="0">
                <a:pos x="connsiteX26896" y="connsiteY26896"/>
              </a:cxn>
              <a:cxn ang="0">
                <a:pos x="connsiteX26897" y="connsiteY26897"/>
              </a:cxn>
              <a:cxn ang="0">
                <a:pos x="connsiteX26898" y="connsiteY26898"/>
              </a:cxn>
              <a:cxn ang="0">
                <a:pos x="connsiteX26899" y="connsiteY26899"/>
              </a:cxn>
              <a:cxn ang="0">
                <a:pos x="connsiteX26900" y="connsiteY26900"/>
              </a:cxn>
              <a:cxn ang="0">
                <a:pos x="connsiteX26901" y="connsiteY26901"/>
              </a:cxn>
              <a:cxn ang="0">
                <a:pos x="connsiteX26902" y="connsiteY26902"/>
              </a:cxn>
              <a:cxn ang="0">
                <a:pos x="connsiteX26903" y="connsiteY26903"/>
              </a:cxn>
              <a:cxn ang="0">
                <a:pos x="connsiteX26904" y="connsiteY26904"/>
              </a:cxn>
              <a:cxn ang="0">
                <a:pos x="connsiteX26905" y="connsiteY26905"/>
              </a:cxn>
              <a:cxn ang="0">
                <a:pos x="connsiteX26906" y="connsiteY26906"/>
              </a:cxn>
              <a:cxn ang="0">
                <a:pos x="connsiteX26907" y="connsiteY26907"/>
              </a:cxn>
              <a:cxn ang="0">
                <a:pos x="connsiteX26908" y="connsiteY26908"/>
              </a:cxn>
              <a:cxn ang="0">
                <a:pos x="connsiteX26909" y="connsiteY26909"/>
              </a:cxn>
              <a:cxn ang="0">
                <a:pos x="connsiteX26910" y="connsiteY26910"/>
              </a:cxn>
              <a:cxn ang="0">
                <a:pos x="connsiteX26911" y="connsiteY26911"/>
              </a:cxn>
              <a:cxn ang="0">
                <a:pos x="connsiteX26912" y="connsiteY26912"/>
              </a:cxn>
              <a:cxn ang="0">
                <a:pos x="connsiteX26913" y="connsiteY26913"/>
              </a:cxn>
              <a:cxn ang="0">
                <a:pos x="connsiteX26914" y="connsiteY26914"/>
              </a:cxn>
              <a:cxn ang="0">
                <a:pos x="connsiteX26915" y="connsiteY26915"/>
              </a:cxn>
              <a:cxn ang="0">
                <a:pos x="connsiteX26916" y="connsiteY26916"/>
              </a:cxn>
              <a:cxn ang="0">
                <a:pos x="connsiteX26917" y="connsiteY26917"/>
              </a:cxn>
              <a:cxn ang="0">
                <a:pos x="connsiteX26918" y="connsiteY26918"/>
              </a:cxn>
              <a:cxn ang="0">
                <a:pos x="connsiteX26919" y="connsiteY26919"/>
              </a:cxn>
              <a:cxn ang="0">
                <a:pos x="connsiteX26920" y="connsiteY26920"/>
              </a:cxn>
              <a:cxn ang="0">
                <a:pos x="connsiteX26921" y="connsiteY26921"/>
              </a:cxn>
              <a:cxn ang="0">
                <a:pos x="connsiteX26922" y="connsiteY26922"/>
              </a:cxn>
              <a:cxn ang="0">
                <a:pos x="connsiteX26923" y="connsiteY26923"/>
              </a:cxn>
              <a:cxn ang="0">
                <a:pos x="connsiteX26924" y="connsiteY26924"/>
              </a:cxn>
              <a:cxn ang="0">
                <a:pos x="connsiteX26925" y="connsiteY26925"/>
              </a:cxn>
              <a:cxn ang="0">
                <a:pos x="connsiteX26926" y="connsiteY26926"/>
              </a:cxn>
              <a:cxn ang="0">
                <a:pos x="connsiteX26927" y="connsiteY26927"/>
              </a:cxn>
              <a:cxn ang="0">
                <a:pos x="connsiteX26928" y="connsiteY26928"/>
              </a:cxn>
              <a:cxn ang="0">
                <a:pos x="connsiteX26929" y="connsiteY26929"/>
              </a:cxn>
              <a:cxn ang="0">
                <a:pos x="connsiteX26930" y="connsiteY26930"/>
              </a:cxn>
              <a:cxn ang="0">
                <a:pos x="connsiteX26931" y="connsiteY26931"/>
              </a:cxn>
              <a:cxn ang="0">
                <a:pos x="connsiteX26932" y="connsiteY26932"/>
              </a:cxn>
              <a:cxn ang="0">
                <a:pos x="connsiteX26933" y="connsiteY26933"/>
              </a:cxn>
              <a:cxn ang="0">
                <a:pos x="connsiteX26934" y="connsiteY26934"/>
              </a:cxn>
              <a:cxn ang="0">
                <a:pos x="connsiteX26935" y="connsiteY26935"/>
              </a:cxn>
              <a:cxn ang="0">
                <a:pos x="connsiteX26936" y="connsiteY26936"/>
              </a:cxn>
              <a:cxn ang="0">
                <a:pos x="connsiteX26937" y="connsiteY26937"/>
              </a:cxn>
              <a:cxn ang="0">
                <a:pos x="connsiteX26938" y="connsiteY26938"/>
              </a:cxn>
              <a:cxn ang="0">
                <a:pos x="connsiteX26939" y="connsiteY26939"/>
              </a:cxn>
              <a:cxn ang="0">
                <a:pos x="connsiteX26940" y="connsiteY26940"/>
              </a:cxn>
              <a:cxn ang="0">
                <a:pos x="connsiteX26941" y="connsiteY26941"/>
              </a:cxn>
              <a:cxn ang="0">
                <a:pos x="connsiteX26942" y="connsiteY26942"/>
              </a:cxn>
              <a:cxn ang="0">
                <a:pos x="connsiteX26943" y="connsiteY26943"/>
              </a:cxn>
              <a:cxn ang="0">
                <a:pos x="connsiteX26944" y="connsiteY26944"/>
              </a:cxn>
              <a:cxn ang="0">
                <a:pos x="connsiteX26945" y="connsiteY26945"/>
              </a:cxn>
              <a:cxn ang="0">
                <a:pos x="connsiteX26946" y="connsiteY26946"/>
              </a:cxn>
              <a:cxn ang="0">
                <a:pos x="connsiteX26947" y="connsiteY26947"/>
              </a:cxn>
              <a:cxn ang="0">
                <a:pos x="connsiteX26948" y="connsiteY26948"/>
              </a:cxn>
              <a:cxn ang="0">
                <a:pos x="connsiteX26949" y="connsiteY26949"/>
              </a:cxn>
              <a:cxn ang="0">
                <a:pos x="connsiteX26950" y="connsiteY26950"/>
              </a:cxn>
              <a:cxn ang="0">
                <a:pos x="connsiteX26951" y="connsiteY26951"/>
              </a:cxn>
              <a:cxn ang="0">
                <a:pos x="connsiteX26952" y="connsiteY26952"/>
              </a:cxn>
              <a:cxn ang="0">
                <a:pos x="connsiteX26953" y="connsiteY26953"/>
              </a:cxn>
              <a:cxn ang="0">
                <a:pos x="connsiteX26954" y="connsiteY26954"/>
              </a:cxn>
              <a:cxn ang="0">
                <a:pos x="connsiteX26955" y="connsiteY26955"/>
              </a:cxn>
              <a:cxn ang="0">
                <a:pos x="connsiteX26956" y="connsiteY26956"/>
              </a:cxn>
              <a:cxn ang="0">
                <a:pos x="connsiteX26957" y="connsiteY26957"/>
              </a:cxn>
              <a:cxn ang="0">
                <a:pos x="connsiteX26958" y="connsiteY26958"/>
              </a:cxn>
              <a:cxn ang="0">
                <a:pos x="connsiteX26959" y="connsiteY26959"/>
              </a:cxn>
              <a:cxn ang="0">
                <a:pos x="connsiteX26960" y="connsiteY26960"/>
              </a:cxn>
              <a:cxn ang="0">
                <a:pos x="connsiteX26961" y="connsiteY26961"/>
              </a:cxn>
              <a:cxn ang="0">
                <a:pos x="connsiteX26962" y="connsiteY26962"/>
              </a:cxn>
              <a:cxn ang="0">
                <a:pos x="connsiteX26963" y="connsiteY26963"/>
              </a:cxn>
              <a:cxn ang="0">
                <a:pos x="connsiteX26964" y="connsiteY26964"/>
              </a:cxn>
              <a:cxn ang="0">
                <a:pos x="connsiteX26965" y="connsiteY26965"/>
              </a:cxn>
              <a:cxn ang="0">
                <a:pos x="connsiteX26966" y="connsiteY26966"/>
              </a:cxn>
              <a:cxn ang="0">
                <a:pos x="connsiteX26967" y="connsiteY26967"/>
              </a:cxn>
              <a:cxn ang="0">
                <a:pos x="connsiteX26968" y="connsiteY26968"/>
              </a:cxn>
              <a:cxn ang="0">
                <a:pos x="connsiteX26969" y="connsiteY26969"/>
              </a:cxn>
              <a:cxn ang="0">
                <a:pos x="connsiteX26970" y="connsiteY26970"/>
              </a:cxn>
              <a:cxn ang="0">
                <a:pos x="connsiteX26971" y="connsiteY26971"/>
              </a:cxn>
              <a:cxn ang="0">
                <a:pos x="connsiteX26972" y="connsiteY26972"/>
              </a:cxn>
              <a:cxn ang="0">
                <a:pos x="connsiteX26973" y="connsiteY26973"/>
              </a:cxn>
              <a:cxn ang="0">
                <a:pos x="connsiteX26974" y="connsiteY26974"/>
              </a:cxn>
              <a:cxn ang="0">
                <a:pos x="connsiteX26975" y="connsiteY26975"/>
              </a:cxn>
              <a:cxn ang="0">
                <a:pos x="connsiteX26976" y="connsiteY26976"/>
              </a:cxn>
              <a:cxn ang="0">
                <a:pos x="connsiteX26977" y="connsiteY26977"/>
              </a:cxn>
              <a:cxn ang="0">
                <a:pos x="connsiteX26978" y="connsiteY26978"/>
              </a:cxn>
              <a:cxn ang="0">
                <a:pos x="connsiteX26979" y="connsiteY26979"/>
              </a:cxn>
              <a:cxn ang="0">
                <a:pos x="connsiteX26980" y="connsiteY26980"/>
              </a:cxn>
              <a:cxn ang="0">
                <a:pos x="connsiteX26981" y="connsiteY26981"/>
              </a:cxn>
              <a:cxn ang="0">
                <a:pos x="connsiteX26982" y="connsiteY26982"/>
              </a:cxn>
              <a:cxn ang="0">
                <a:pos x="connsiteX26983" y="connsiteY26983"/>
              </a:cxn>
              <a:cxn ang="0">
                <a:pos x="connsiteX26984" y="connsiteY26984"/>
              </a:cxn>
              <a:cxn ang="0">
                <a:pos x="connsiteX26985" y="connsiteY26985"/>
              </a:cxn>
              <a:cxn ang="0">
                <a:pos x="connsiteX26986" y="connsiteY26986"/>
              </a:cxn>
              <a:cxn ang="0">
                <a:pos x="connsiteX26987" y="connsiteY26987"/>
              </a:cxn>
              <a:cxn ang="0">
                <a:pos x="connsiteX26988" y="connsiteY26988"/>
              </a:cxn>
              <a:cxn ang="0">
                <a:pos x="connsiteX26989" y="connsiteY26989"/>
              </a:cxn>
              <a:cxn ang="0">
                <a:pos x="connsiteX26990" y="connsiteY26990"/>
              </a:cxn>
              <a:cxn ang="0">
                <a:pos x="connsiteX26991" y="connsiteY26991"/>
              </a:cxn>
              <a:cxn ang="0">
                <a:pos x="connsiteX26992" y="connsiteY26992"/>
              </a:cxn>
              <a:cxn ang="0">
                <a:pos x="connsiteX26993" y="connsiteY26993"/>
              </a:cxn>
              <a:cxn ang="0">
                <a:pos x="connsiteX26994" y="connsiteY26994"/>
              </a:cxn>
              <a:cxn ang="0">
                <a:pos x="connsiteX26995" y="connsiteY26995"/>
              </a:cxn>
              <a:cxn ang="0">
                <a:pos x="connsiteX26996" y="connsiteY26996"/>
              </a:cxn>
              <a:cxn ang="0">
                <a:pos x="connsiteX26997" y="connsiteY26997"/>
              </a:cxn>
              <a:cxn ang="0">
                <a:pos x="connsiteX26998" y="connsiteY26998"/>
              </a:cxn>
              <a:cxn ang="0">
                <a:pos x="connsiteX26999" y="connsiteY26999"/>
              </a:cxn>
              <a:cxn ang="0">
                <a:pos x="connsiteX27000" y="connsiteY27000"/>
              </a:cxn>
              <a:cxn ang="0">
                <a:pos x="connsiteX27001" y="connsiteY27001"/>
              </a:cxn>
              <a:cxn ang="0">
                <a:pos x="connsiteX27002" y="connsiteY27002"/>
              </a:cxn>
              <a:cxn ang="0">
                <a:pos x="connsiteX27003" y="connsiteY27003"/>
              </a:cxn>
              <a:cxn ang="0">
                <a:pos x="connsiteX27004" y="connsiteY27004"/>
              </a:cxn>
              <a:cxn ang="0">
                <a:pos x="connsiteX27005" y="connsiteY27005"/>
              </a:cxn>
              <a:cxn ang="0">
                <a:pos x="connsiteX27006" y="connsiteY27006"/>
              </a:cxn>
              <a:cxn ang="0">
                <a:pos x="connsiteX27007" y="connsiteY27007"/>
              </a:cxn>
              <a:cxn ang="0">
                <a:pos x="connsiteX27008" y="connsiteY27008"/>
              </a:cxn>
              <a:cxn ang="0">
                <a:pos x="connsiteX27009" y="connsiteY27009"/>
              </a:cxn>
              <a:cxn ang="0">
                <a:pos x="connsiteX27010" y="connsiteY27010"/>
              </a:cxn>
              <a:cxn ang="0">
                <a:pos x="connsiteX27011" y="connsiteY27011"/>
              </a:cxn>
              <a:cxn ang="0">
                <a:pos x="connsiteX27012" y="connsiteY27012"/>
              </a:cxn>
              <a:cxn ang="0">
                <a:pos x="connsiteX27013" y="connsiteY27013"/>
              </a:cxn>
              <a:cxn ang="0">
                <a:pos x="connsiteX27014" y="connsiteY27014"/>
              </a:cxn>
              <a:cxn ang="0">
                <a:pos x="connsiteX27015" y="connsiteY27015"/>
              </a:cxn>
              <a:cxn ang="0">
                <a:pos x="connsiteX27016" y="connsiteY27016"/>
              </a:cxn>
              <a:cxn ang="0">
                <a:pos x="connsiteX27017" y="connsiteY27017"/>
              </a:cxn>
              <a:cxn ang="0">
                <a:pos x="connsiteX27018" y="connsiteY27018"/>
              </a:cxn>
              <a:cxn ang="0">
                <a:pos x="connsiteX27019" y="connsiteY27019"/>
              </a:cxn>
              <a:cxn ang="0">
                <a:pos x="connsiteX27020" y="connsiteY27020"/>
              </a:cxn>
              <a:cxn ang="0">
                <a:pos x="connsiteX27021" y="connsiteY27021"/>
              </a:cxn>
              <a:cxn ang="0">
                <a:pos x="connsiteX27022" y="connsiteY27022"/>
              </a:cxn>
              <a:cxn ang="0">
                <a:pos x="connsiteX27023" y="connsiteY27023"/>
              </a:cxn>
              <a:cxn ang="0">
                <a:pos x="connsiteX27024" y="connsiteY27024"/>
              </a:cxn>
              <a:cxn ang="0">
                <a:pos x="connsiteX27025" y="connsiteY27025"/>
              </a:cxn>
              <a:cxn ang="0">
                <a:pos x="connsiteX27026" y="connsiteY27026"/>
              </a:cxn>
              <a:cxn ang="0">
                <a:pos x="connsiteX27027" y="connsiteY27027"/>
              </a:cxn>
              <a:cxn ang="0">
                <a:pos x="connsiteX27028" y="connsiteY27028"/>
              </a:cxn>
              <a:cxn ang="0">
                <a:pos x="connsiteX27029" y="connsiteY27029"/>
              </a:cxn>
              <a:cxn ang="0">
                <a:pos x="connsiteX27030" y="connsiteY27030"/>
              </a:cxn>
              <a:cxn ang="0">
                <a:pos x="connsiteX27031" y="connsiteY27031"/>
              </a:cxn>
              <a:cxn ang="0">
                <a:pos x="connsiteX27032" y="connsiteY27032"/>
              </a:cxn>
              <a:cxn ang="0">
                <a:pos x="connsiteX27033" y="connsiteY27033"/>
              </a:cxn>
              <a:cxn ang="0">
                <a:pos x="connsiteX27034" y="connsiteY27034"/>
              </a:cxn>
              <a:cxn ang="0">
                <a:pos x="connsiteX27035" y="connsiteY27035"/>
              </a:cxn>
              <a:cxn ang="0">
                <a:pos x="connsiteX27036" y="connsiteY27036"/>
              </a:cxn>
              <a:cxn ang="0">
                <a:pos x="connsiteX27037" y="connsiteY27037"/>
              </a:cxn>
              <a:cxn ang="0">
                <a:pos x="connsiteX27038" y="connsiteY27038"/>
              </a:cxn>
              <a:cxn ang="0">
                <a:pos x="connsiteX27039" y="connsiteY27039"/>
              </a:cxn>
              <a:cxn ang="0">
                <a:pos x="connsiteX27040" y="connsiteY27040"/>
              </a:cxn>
              <a:cxn ang="0">
                <a:pos x="connsiteX27041" y="connsiteY27041"/>
              </a:cxn>
              <a:cxn ang="0">
                <a:pos x="connsiteX27042" y="connsiteY27042"/>
              </a:cxn>
              <a:cxn ang="0">
                <a:pos x="connsiteX27043" y="connsiteY27043"/>
              </a:cxn>
              <a:cxn ang="0">
                <a:pos x="connsiteX27044" y="connsiteY27044"/>
              </a:cxn>
              <a:cxn ang="0">
                <a:pos x="connsiteX27045" y="connsiteY27045"/>
              </a:cxn>
              <a:cxn ang="0">
                <a:pos x="connsiteX27046" y="connsiteY27046"/>
              </a:cxn>
              <a:cxn ang="0">
                <a:pos x="connsiteX27047" y="connsiteY27047"/>
              </a:cxn>
              <a:cxn ang="0">
                <a:pos x="connsiteX27048" y="connsiteY27048"/>
              </a:cxn>
              <a:cxn ang="0">
                <a:pos x="connsiteX27049" y="connsiteY27049"/>
              </a:cxn>
              <a:cxn ang="0">
                <a:pos x="connsiteX27050" y="connsiteY27050"/>
              </a:cxn>
              <a:cxn ang="0">
                <a:pos x="connsiteX27051" y="connsiteY27051"/>
              </a:cxn>
              <a:cxn ang="0">
                <a:pos x="connsiteX27052" y="connsiteY27052"/>
              </a:cxn>
              <a:cxn ang="0">
                <a:pos x="connsiteX27053" y="connsiteY27053"/>
              </a:cxn>
              <a:cxn ang="0">
                <a:pos x="connsiteX27054" y="connsiteY27054"/>
              </a:cxn>
              <a:cxn ang="0">
                <a:pos x="connsiteX27055" y="connsiteY27055"/>
              </a:cxn>
              <a:cxn ang="0">
                <a:pos x="connsiteX27056" y="connsiteY27056"/>
              </a:cxn>
              <a:cxn ang="0">
                <a:pos x="connsiteX27057" y="connsiteY27057"/>
              </a:cxn>
              <a:cxn ang="0">
                <a:pos x="connsiteX27058" y="connsiteY27058"/>
              </a:cxn>
              <a:cxn ang="0">
                <a:pos x="connsiteX27059" y="connsiteY27059"/>
              </a:cxn>
              <a:cxn ang="0">
                <a:pos x="connsiteX27060" y="connsiteY27060"/>
              </a:cxn>
              <a:cxn ang="0">
                <a:pos x="connsiteX27061" y="connsiteY27061"/>
              </a:cxn>
              <a:cxn ang="0">
                <a:pos x="connsiteX27062" y="connsiteY27062"/>
              </a:cxn>
              <a:cxn ang="0">
                <a:pos x="connsiteX27063" y="connsiteY27063"/>
              </a:cxn>
              <a:cxn ang="0">
                <a:pos x="connsiteX27064" y="connsiteY27064"/>
              </a:cxn>
              <a:cxn ang="0">
                <a:pos x="connsiteX27065" y="connsiteY27065"/>
              </a:cxn>
              <a:cxn ang="0">
                <a:pos x="connsiteX27066" y="connsiteY27066"/>
              </a:cxn>
              <a:cxn ang="0">
                <a:pos x="connsiteX27067" y="connsiteY27067"/>
              </a:cxn>
              <a:cxn ang="0">
                <a:pos x="connsiteX27068" y="connsiteY27068"/>
              </a:cxn>
              <a:cxn ang="0">
                <a:pos x="connsiteX27069" y="connsiteY27069"/>
              </a:cxn>
              <a:cxn ang="0">
                <a:pos x="connsiteX27070" y="connsiteY27070"/>
              </a:cxn>
              <a:cxn ang="0">
                <a:pos x="connsiteX27071" y="connsiteY27071"/>
              </a:cxn>
              <a:cxn ang="0">
                <a:pos x="connsiteX27072" y="connsiteY27072"/>
              </a:cxn>
              <a:cxn ang="0">
                <a:pos x="connsiteX27073" y="connsiteY27073"/>
              </a:cxn>
              <a:cxn ang="0">
                <a:pos x="connsiteX27074" y="connsiteY27074"/>
              </a:cxn>
              <a:cxn ang="0">
                <a:pos x="connsiteX27075" y="connsiteY27075"/>
              </a:cxn>
              <a:cxn ang="0">
                <a:pos x="connsiteX27076" y="connsiteY27076"/>
              </a:cxn>
              <a:cxn ang="0">
                <a:pos x="connsiteX27077" y="connsiteY27077"/>
              </a:cxn>
              <a:cxn ang="0">
                <a:pos x="connsiteX27078" y="connsiteY27078"/>
              </a:cxn>
              <a:cxn ang="0">
                <a:pos x="connsiteX27079" y="connsiteY27079"/>
              </a:cxn>
              <a:cxn ang="0">
                <a:pos x="connsiteX27080" y="connsiteY27080"/>
              </a:cxn>
              <a:cxn ang="0">
                <a:pos x="connsiteX27081" y="connsiteY27081"/>
              </a:cxn>
              <a:cxn ang="0">
                <a:pos x="connsiteX27082" y="connsiteY27082"/>
              </a:cxn>
              <a:cxn ang="0">
                <a:pos x="connsiteX27083" y="connsiteY27083"/>
              </a:cxn>
              <a:cxn ang="0">
                <a:pos x="connsiteX27084" y="connsiteY27084"/>
              </a:cxn>
              <a:cxn ang="0">
                <a:pos x="connsiteX27085" y="connsiteY27085"/>
              </a:cxn>
              <a:cxn ang="0">
                <a:pos x="connsiteX27086" y="connsiteY27086"/>
              </a:cxn>
              <a:cxn ang="0">
                <a:pos x="connsiteX27087" y="connsiteY27087"/>
              </a:cxn>
              <a:cxn ang="0">
                <a:pos x="connsiteX27088" y="connsiteY27088"/>
              </a:cxn>
              <a:cxn ang="0">
                <a:pos x="connsiteX27089" y="connsiteY27089"/>
              </a:cxn>
              <a:cxn ang="0">
                <a:pos x="connsiteX27090" y="connsiteY27090"/>
              </a:cxn>
              <a:cxn ang="0">
                <a:pos x="connsiteX27091" y="connsiteY27091"/>
              </a:cxn>
              <a:cxn ang="0">
                <a:pos x="connsiteX27092" y="connsiteY27092"/>
              </a:cxn>
              <a:cxn ang="0">
                <a:pos x="connsiteX27093" y="connsiteY27093"/>
              </a:cxn>
              <a:cxn ang="0">
                <a:pos x="connsiteX27094" y="connsiteY27094"/>
              </a:cxn>
              <a:cxn ang="0">
                <a:pos x="connsiteX27095" y="connsiteY27095"/>
              </a:cxn>
              <a:cxn ang="0">
                <a:pos x="connsiteX27096" y="connsiteY27096"/>
              </a:cxn>
              <a:cxn ang="0">
                <a:pos x="connsiteX27097" y="connsiteY27097"/>
              </a:cxn>
              <a:cxn ang="0">
                <a:pos x="connsiteX27098" y="connsiteY27098"/>
              </a:cxn>
              <a:cxn ang="0">
                <a:pos x="connsiteX27099" y="connsiteY27099"/>
              </a:cxn>
              <a:cxn ang="0">
                <a:pos x="connsiteX27100" y="connsiteY27100"/>
              </a:cxn>
              <a:cxn ang="0">
                <a:pos x="connsiteX27101" y="connsiteY27101"/>
              </a:cxn>
              <a:cxn ang="0">
                <a:pos x="connsiteX27102" y="connsiteY27102"/>
              </a:cxn>
              <a:cxn ang="0">
                <a:pos x="connsiteX27103" y="connsiteY27103"/>
              </a:cxn>
              <a:cxn ang="0">
                <a:pos x="connsiteX27104" y="connsiteY27104"/>
              </a:cxn>
              <a:cxn ang="0">
                <a:pos x="connsiteX27105" y="connsiteY27105"/>
              </a:cxn>
              <a:cxn ang="0">
                <a:pos x="connsiteX27106" y="connsiteY27106"/>
              </a:cxn>
              <a:cxn ang="0">
                <a:pos x="connsiteX27107" y="connsiteY27107"/>
              </a:cxn>
              <a:cxn ang="0">
                <a:pos x="connsiteX27108" y="connsiteY27108"/>
              </a:cxn>
              <a:cxn ang="0">
                <a:pos x="connsiteX27109" y="connsiteY27109"/>
              </a:cxn>
              <a:cxn ang="0">
                <a:pos x="connsiteX27110" y="connsiteY27110"/>
              </a:cxn>
              <a:cxn ang="0">
                <a:pos x="connsiteX27111" y="connsiteY27111"/>
              </a:cxn>
              <a:cxn ang="0">
                <a:pos x="connsiteX27112" y="connsiteY27112"/>
              </a:cxn>
              <a:cxn ang="0">
                <a:pos x="connsiteX27113" y="connsiteY27113"/>
              </a:cxn>
              <a:cxn ang="0">
                <a:pos x="connsiteX27114" y="connsiteY27114"/>
              </a:cxn>
              <a:cxn ang="0">
                <a:pos x="connsiteX27115" y="connsiteY27115"/>
              </a:cxn>
              <a:cxn ang="0">
                <a:pos x="connsiteX27116" y="connsiteY27116"/>
              </a:cxn>
              <a:cxn ang="0">
                <a:pos x="connsiteX27117" y="connsiteY27117"/>
              </a:cxn>
              <a:cxn ang="0">
                <a:pos x="connsiteX27118" y="connsiteY27118"/>
              </a:cxn>
              <a:cxn ang="0">
                <a:pos x="connsiteX27119" y="connsiteY27119"/>
              </a:cxn>
              <a:cxn ang="0">
                <a:pos x="connsiteX27120" y="connsiteY27120"/>
              </a:cxn>
              <a:cxn ang="0">
                <a:pos x="connsiteX27121" y="connsiteY27121"/>
              </a:cxn>
              <a:cxn ang="0">
                <a:pos x="connsiteX27122" y="connsiteY27122"/>
              </a:cxn>
              <a:cxn ang="0">
                <a:pos x="connsiteX27123" y="connsiteY27123"/>
              </a:cxn>
              <a:cxn ang="0">
                <a:pos x="connsiteX27124" y="connsiteY27124"/>
              </a:cxn>
              <a:cxn ang="0">
                <a:pos x="connsiteX27125" y="connsiteY27125"/>
              </a:cxn>
              <a:cxn ang="0">
                <a:pos x="connsiteX27126" y="connsiteY27126"/>
              </a:cxn>
              <a:cxn ang="0">
                <a:pos x="connsiteX27127" y="connsiteY27127"/>
              </a:cxn>
              <a:cxn ang="0">
                <a:pos x="connsiteX27128" y="connsiteY27128"/>
              </a:cxn>
              <a:cxn ang="0">
                <a:pos x="connsiteX27129" y="connsiteY27129"/>
              </a:cxn>
              <a:cxn ang="0">
                <a:pos x="connsiteX27130" y="connsiteY27130"/>
              </a:cxn>
              <a:cxn ang="0">
                <a:pos x="connsiteX27131" y="connsiteY27131"/>
              </a:cxn>
              <a:cxn ang="0">
                <a:pos x="connsiteX27132" y="connsiteY27132"/>
              </a:cxn>
              <a:cxn ang="0">
                <a:pos x="connsiteX27133" y="connsiteY27133"/>
              </a:cxn>
              <a:cxn ang="0">
                <a:pos x="connsiteX27134" y="connsiteY27134"/>
              </a:cxn>
              <a:cxn ang="0">
                <a:pos x="connsiteX27135" y="connsiteY27135"/>
              </a:cxn>
              <a:cxn ang="0">
                <a:pos x="connsiteX27136" y="connsiteY27136"/>
              </a:cxn>
              <a:cxn ang="0">
                <a:pos x="connsiteX27137" y="connsiteY27137"/>
              </a:cxn>
              <a:cxn ang="0">
                <a:pos x="connsiteX27138" y="connsiteY27138"/>
              </a:cxn>
              <a:cxn ang="0">
                <a:pos x="connsiteX27139" y="connsiteY27139"/>
              </a:cxn>
              <a:cxn ang="0">
                <a:pos x="connsiteX27140" y="connsiteY27140"/>
              </a:cxn>
              <a:cxn ang="0">
                <a:pos x="connsiteX27141" y="connsiteY27141"/>
              </a:cxn>
              <a:cxn ang="0">
                <a:pos x="connsiteX27142" y="connsiteY27142"/>
              </a:cxn>
              <a:cxn ang="0">
                <a:pos x="connsiteX27143" y="connsiteY27143"/>
              </a:cxn>
              <a:cxn ang="0">
                <a:pos x="connsiteX27144" y="connsiteY27144"/>
              </a:cxn>
              <a:cxn ang="0">
                <a:pos x="connsiteX27145" y="connsiteY27145"/>
              </a:cxn>
              <a:cxn ang="0">
                <a:pos x="connsiteX27146" y="connsiteY27146"/>
              </a:cxn>
              <a:cxn ang="0">
                <a:pos x="connsiteX27147" y="connsiteY27147"/>
              </a:cxn>
              <a:cxn ang="0">
                <a:pos x="connsiteX27148" y="connsiteY27148"/>
              </a:cxn>
              <a:cxn ang="0">
                <a:pos x="connsiteX27149" y="connsiteY27149"/>
              </a:cxn>
              <a:cxn ang="0">
                <a:pos x="connsiteX27150" y="connsiteY27150"/>
              </a:cxn>
              <a:cxn ang="0">
                <a:pos x="connsiteX27151" y="connsiteY27151"/>
              </a:cxn>
              <a:cxn ang="0">
                <a:pos x="connsiteX27152" y="connsiteY27152"/>
              </a:cxn>
              <a:cxn ang="0">
                <a:pos x="connsiteX27153" y="connsiteY27153"/>
              </a:cxn>
              <a:cxn ang="0">
                <a:pos x="connsiteX27154" y="connsiteY27154"/>
              </a:cxn>
              <a:cxn ang="0">
                <a:pos x="connsiteX27155" y="connsiteY27155"/>
              </a:cxn>
              <a:cxn ang="0">
                <a:pos x="connsiteX27156" y="connsiteY27156"/>
              </a:cxn>
              <a:cxn ang="0">
                <a:pos x="connsiteX27157" y="connsiteY27157"/>
              </a:cxn>
              <a:cxn ang="0">
                <a:pos x="connsiteX27158" y="connsiteY27158"/>
              </a:cxn>
              <a:cxn ang="0">
                <a:pos x="connsiteX27159" y="connsiteY27159"/>
              </a:cxn>
              <a:cxn ang="0">
                <a:pos x="connsiteX27160" y="connsiteY27160"/>
              </a:cxn>
              <a:cxn ang="0">
                <a:pos x="connsiteX27161" y="connsiteY27161"/>
              </a:cxn>
              <a:cxn ang="0">
                <a:pos x="connsiteX27162" y="connsiteY27162"/>
              </a:cxn>
              <a:cxn ang="0">
                <a:pos x="connsiteX27163" y="connsiteY27163"/>
              </a:cxn>
              <a:cxn ang="0">
                <a:pos x="connsiteX27164" y="connsiteY27164"/>
              </a:cxn>
              <a:cxn ang="0">
                <a:pos x="connsiteX27165" y="connsiteY27165"/>
              </a:cxn>
              <a:cxn ang="0">
                <a:pos x="connsiteX27166" y="connsiteY27166"/>
              </a:cxn>
              <a:cxn ang="0">
                <a:pos x="connsiteX27167" y="connsiteY27167"/>
              </a:cxn>
              <a:cxn ang="0">
                <a:pos x="connsiteX27168" y="connsiteY27168"/>
              </a:cxn>
              <a:cxn ang="0">
                <a:pos x="connsiteX27169" y="connsiteY27169"/>
              </a:cxn>
              <a:cxn ang="0">
                <a:pos x="connsiteX27170" y="connsiteY27170"/>
              </a:cxn>
              <a:cxn ang="0">
                <a:pos x="connsiteX27171" y="connsiteY27171"/>
              </a:cxn>
              <a:cxn ang="0">
                <a:pos x="connsiteX27172" y="connsiteY27172"/>
              </a:cxn>
              <a:cxn ang="0">
                <a:pos x="connsiteX27173" y="connsiteY27173"/>
              </a:cxn>
              <a:cxn ang="0">
                <a:pos x="connsiteX27174" y="connsiteY27174"/>
              </a:cxn>
              <a:cxn ang="0">
                <a:pos x="connsiteX27175" y="connsiteY27175"/>
              </a:cxn>
              <a:cxn ang="0">
                <a:pos x="connsiteX27176" y="connsiteY27176"/>
              </a:cxn>
              <a:cxn ang="0">
                <a:pos x="connsiteX27177" y="connsiteY27177"/>
              </a:cxn>
              <a:cxn ang="0">
                <a:pos x="connsiteX27178" y="connsiteY27178"/>
              </a:cxn>
              <a:cxn ang="0">
                <a:pos x="connsiteX27179" y="connsiteY27179"/>
              </a:cxn>
              <a:cxn ang="0">
                <a:pos x="connsiteX27180" y="connsiteY27180"/>
              </a:cxn>
              <a:cxn ang="0">
                <a:pos x="connsiteX27181" y="connsiteY27181"/>
              </a:cxn>
              <a:cxn ang="0">
                <a:pos x="connsiteX27182" y="connsiteY27182"/>
              </a:cxn>
              <a:cxn ang="0">
                <a:pos x="connsiteX27183" y="connsiteY27183"/>
              </a:cxn>
              <a:cxn ang="0">
                <a:pos x="connsiteX27184" y="connsiteY27184"/>
              </a:cxn>
              <a:cxn ang="0">
                <a:pos x="connsiteX27185" y="connsiteY27185"/>
              </a:cxn>
              <a:cxn ang="0">
                <a:pos x="connsiteX27186" y="connsiteY27186"/>
              </a:cxn>
              <a:cxn ang="0">
                <a:pos x="connsiteX27187" y="connsiteY27187"/>
              </a:cxn>
              <a:cxn ang="0">
                <a:pos x="connsiteX27188" y="connsiteY27188"/>
              </a:cxn>
              <a:cxn ang="0">
                <a:pos x="connsiteX27189" y="connsiteY27189"/>
              </a:cxn>
              <a:cxn ang="0">
                <a:pos x="connsiteX27190" y="connsiteY27190"/>
              </a:cxn>
              <a:cxn ang="0">
                <a:pos x="connsiteX27191" y="connsiteY27191"/>
              </a:cxn>
              <a:cxn ang="0">
                <a:pos x="connsiteX27192" y="connsiteY27192"/>
              </a:cxn>
              <a:cxn ang="0">
                <a:pos x="connsiteX27193" y="connsiteY27193"/>
              </a:cxn>
              <a:cxn ang="0">
                <a:pos x="connsiteX27194" y="connsiteY27194"/>
              </a:cxn>
              <a:cxn ang="0">
                <a:pos x="connsiteX27195" y="connsiteY27195"/>
              </a:cxn>
              <a:cxn ang="0">
                <a:pos x="connsiteX27196" y="connsiteY27196"/>
              </a:cxn>
              <a:cxn ang="0">
                <a:pos x="connsiteX27197" y="connsiteY27197"/>
              </a:cxn>
              <a:cxn ang="0">
                <a:pos x="connsiteX27198" y="connsiteY27198"/>
              </a:cxn>
              <a:cxn ang="0">
                <a:pos x="connsiteX27199" y="connsiteY27199"/>
              </a:cxn>
              <a:cxn ang="0">
                <a:pos x="connsiteX27200" y="connsiteY27200"/>
              </a:cxn>
              <a:cxn ang="0">
                <a:pos x="connsiteX27201" y="connsiteY27201"/>
              </a:cxn>
              <a:cxn ang="0">
                <a:pos x="connsiteX27202" y="connsiteY27202"/>
              </a:cxn>
              <a:cxn ang="0">
                <a:pos x="connsiteX27203" y="connsiteY27203"/>
              </a:cxn>
              <a:cxn ang="0">
                <a:pos x="connsiteX27204" y="connsiteY27204"/>
              </a:cxn>
              <a:cxn ang="0">
                <a:pos x="connsiteX27205" y="connsiteY27205"/>
              </a:cxn>
              <a:cxn ang="0">
                <a:pos x="connsiteX27206" y="connsiteY27206"/>
              </a:cxn>
              <a:cxn ang="0">
                <a:pos x="connsiteX27207" y="connsiteY27207"/>
              </a:cxn>
              <a:cxn ang="0">
                <a:pos x="connsiteX27208" y="connsiteY27208"/>
              </a:cxn>
              <a:cxn ang="0">
                <a:pos x="connsiteX27209" y="connsiteY27209"/>
              </a:cxn>
              <a:cxn ang="0">
                <a:pos x="connsiteX27210" y="connsiteY27210"/>
              </a:cxn>
              <a:cxn ang="0">
                <a:pos x="connsiteX27211" y="connsiteY27211"/>
              </a:cxn>
              <a:cxn ang="0">
                <a:pos x="connsiteX27212" y="connsiteY27212"/>
              </a:cxn>
              <a:cxn ang="0">
                <a:pos x="connsiteX27213" y="connsiteY27213"/>
              </a:cxn>
              <a:cxn ang="0">
                <a:pos x="connsiteX27214" y="connsiteY27214"/>
              </a:cxn>
              <a:cxn ang="0">
                <a:pos x="connsiteX27215" y="connsiteY27215"/>
              </a:cxn>
              <a:cxn ang="0">
                <a:pos x="connsiteX27216" y="connsiteY27216"/>
              </a:cxn>
              <a:cxn ang="0">
                <a:pos x="connsiteX27217" y="connsiteY27217"/>
              </a:cxn>
              <a:cxn ang="0">
                <a:pos x="connsiteX27218" y="connsiteY27218"/>
              </a:cxn>
              <a:cxn ang="0">
                <a:pos x="connsiteX27219" y="connsiteY27219"/>
              </a:cxn>
              <a:cxn ang="0">
                <a:pos x="connsiteX27220" y="connsiteY27220"/>
              </a:cxn>
              <a:cxn ang="0">
                <a:pos x="connsiteX27221" y="connsiteY27221"/>
              </a:cxn>
              <a:cxn ang="0">
                <a:pos x="connsiteX27222" y="connsiteY27222"/>
              </a:cxn>
              <a:cxn ang="0">
                <a:pos x="connsiteX27223" y="connsiteY27223"/>
              </a:cxn>
              <a:cxn ang="0">
                <a:pos x="connsiteX27224" y="connsiteY27224"/>
              </a:cxn>
              <a:cxn ang="0">
                <a:pos x="connsiteX27225" y="connsiteY27225"/>
              </a:cxn>
              <a:cxn ang="0">
                <a:pos x="connsiteX27226" y="connsiteY27226"/>
              </a:cxn>
              <a:cxn ang="0">
                <a:pos x="connsiteX27227" y="connsiteY27227"/>
              </a:cxn>
              <a:cxn ang="0">
                <a:pos x="connsiteX27228" y="connsiteY27228"/>
              </a:cxn>
              <a:cxn ang="0">
                <a:pos x="connsiteX27229" y="connsiteY27229"/>
              </a:cxn>
              <a:cxn ang="0">
                <a:pos x="connsiteX27230" y="connsiteY27230"/>
              </a:cxn>
              <a:cxn ang="0">
                <a:pos x="connsiteX27231" y="connsiteY27231"/>
              </a:cxn>
              <a:cxn ang="0">
                <a:pos x="connsiteX27232" y="connsiteY27232"/>
              </a:cxn>
              <a:cxn ang="0">
                <a:pos x="connsiteX27233" y="connsiteY27233"/>
              </a:cxn>
              <a:cxn ang="0">
                <a:pos x="connsiteX27234" y="connsiteY27234"/>
              </a:cxn>
              <a:cxn ang="0">
                <a:pos x="connsiteX27235" y="connsiteY27235"/>
              </a:cxn>
              <a:cxn ang="0">
                <a:pos x="connsiteX27236" y="connsiteY27236"/>
              </a:cxn>
              <a:cxn ang="0">
                <a:pos x="connsiteX27237" y="connsiteY27237"/>
              </a:cxn>
              <a:cxn ang="0">
                <a:pos x="connsiteX27238" y="connsiteY27238"/>
              </a:cxn>
              <a:cxn ang="0">
                <a:pos x="connsiteX27239" y="connsiteY27239"/>
              </a:cxn>
              <a:cxn ang="0">
                <a:pos x="connsiteX27240" y="connsiteY27240"/>
              </a:cxn>
              <a:cxn ang="0">
                <a:pos x="connsiteX27241" y="connsiteY27241"/>
              </a:cxn>
              <a:cxn ang="0">
                <a:pos x="connsiteX27242" y="connsiteY27242"/>
              </a:cxn>
              <a:cxn ang="0">
                <a:pos x="connsiteX27243" y="connsiteY27243"/>
              </a:cxn>
              <a:cxn ang="0">
                <a:pos x="connsiteX27244" y="connsiteY27244"/>
              </a:cxn>
              <a:cxn ang="0">
                <a:pos x="connsiteX27245" y="connsiteY27245"/>
              </a:cxn>
              <a:cxn ang="0">
                <a:pos x="connsiteX27246" y="connsiteY27246"/>
              </a:cxn>
              <a:cxn ang="0">
                <a:pos x="connsiteX27247" y="connsiteY27247"/>
              </a:cxn>
              <a:cxn ang="0">
                <a:pos x="connsiteX27248" y="connsiteY27248"/>
              </a:cxn>
              <a:cxn ang="0">
                <a:pos x="connsiteX27249" y="connsiteY27249"/>
              </a:cxn>
              <a:cxn ang="0">
                <a:pos x="connsiteX27250" y="connsiteY27250"/>
              </a:cxn>
              <a:cxn ang="0">
                <a:pos x="connsiteX27251" y="connsiteY27251"/>
              </a:cxn>
              <a:cxn ang="0">
                <a:pos x="connsiteX27252" y="connsiteY27252"/>
              </a:cxn>
              <a:cxn ang="0">
                <a:pos x="connsiteX27253" y="connsiteY27253"/>
              </a:cxn>
              <a:cxn ang="0">
                <a:pos x="connsiteX27254" y="connsiteY27254"/>
              </a:cxn>
              <a:cxn ang="0">
                <a:pos x="connsiteX27255" y="connsiteY27255"/>
              </a:cxn>
              <a:cxn ang="0">
                <a:pos x="connsiteX27256" y="connsiteY27256"/>
              </a:cxn>
              <a:cxn ang="0">
                <a:pos x="connsiteX27257" y="connsiteY27257"/>
              </a:cxn>
              <a:cxn ang="0">
                <a:pos x="connsiteX27258" y="connsiteY27258"/>
              </a:cxn>
              <a:cxn ang="0">
                <a:pos x="connsiteX27259" y="connsiteY27259"/>
              </a:cxn>
              <a:cxn ang="0">
                <a:pos x="connsiteX27260" y="connsiteY27260"/>
              </a:cxn>
              <a:cxn ang="0">
                <a:pos x="connsiteX27261" y="connsiteY27261"/>
              </a:cxn>
              <a:cxn ang="0">
                <a:pos x="connsiteX27262" y="connsiteY27262"/>
              </a:cxn>
              <a:cxn ang="0">
                <a:pos x="connsiteX27263" y="connsiteY27263"/>
              </a:cxn>
              <a:cxn ang="0">
                <a:pos x="connsiteX27264" y="connsiteY27264"/>
              </a:cxn>
              <a:cxn ang="0">
                <a:pos x="connsiteX27265" y="connsiteY27265"/>
              </a:cxn>
              <a:cxn ang="0">
                <a:pos x="connsiteX27266" y="connsiteY27266"/>
              </a:cxn>
              <a:cxn ang="0">
                <a:pos x="connsiteX27267" y="connsiteY27267"/>
              </a:cxn>
              <a:cxn ang="0">
                <a:pos x="connsiteX27268" y="connsiteY27268"/>
              </a:cxn>
              <a:cxn ang="0">
                <a:pos x="connsiteX27269" y="connsiteY27269"/>
              </a:cxn>
              <a:cxn ang="0">
                <a:pos x="connsiteX27270" y="connsiteY27270"/>
              </a:cxn>
              <a:cxn ang="0">
                <a:pos x="connsiteX27271" y="connsiteY27271"/>
              </a:cxn>
              <a:cxn ang="0">
                <a:pos x="connsiteX27272" y="connsiteY27272"/>
              </a:cxn>
              <a:cxn ang="0">
                <a:pos x="connsiteX27273" y="connsiteY27273"/>
              </a:cxn>
              <a:cxn ang="0">
                <a:pos x="connsiteX27274" y="connsiteY27274"/>
              </a:cxn>
              <a:cxn ang="0">
                <a:pos x="connsiteX27275" y="connsiteY27275"/>
              </a:cxn>
              <a:cxn ang="0">
                <a:pos x="connsiteX27276" y="connsiteY27276"/>
              </a:cxn>
              <a:cxn ang="0">
                <a:pos x="connsiteX27277" y="connsiteY27277"/>
              </a:cxn>
              <a:cxn ang="0">
                <a:pos x="connsiteX27278" y="connsiteY27278"/>
              </a:cxn>
              <a:cxn ang="0">
                <a:pos x="connsiteX27279" y="connsiteY27279"/>
              </a:cxn>
              <a:cxn ang="0">
                <a:pos x="connsiteX27280" y="connsiteY27280"/>
              </a:cxn>
              <a:cxn ang="0">
                <a:pos x="connsiteX27281" y="connsiteY27281"/>
              </a:cxn>
              <a:cxn ang="0">
                <a:pos x="connsiteX27282" y="connsiteY27282"/>
              </a:cxn>
              <a:cxn ang="0">
                <a:pos x="connsiteX27283" y="connsiteY27283"/>
              </a:cxn>
              <a:cxn ang="0">
                <a:pos x="connsiteX27284" y="connsiteY27284"/>
              </a:cxn>
              <a:cxn ang="0">
                <a:pos x="connsiteX27285" y="connsiteY27285"/>
              </a:cxn>
              <a:cxn ang="0">
                <a:pos x="connsiteX27286" y="connsiteY27286"/>
              </a:cxn>
              <a:cxn ang="0">
                <a:pos x="connsiteX27287" y="connsiteY27287"/>
              </a:cxn>
              <a:cxn ang="0">
                <a:pos x="connsiteX27288" y="connsiteY27288"/>
              </a:cxn>
              <a:cxn ang="0">
                <a:pos x="connsiteX27289" y="connsiteY27289"/>
              </a:cxn>
              <a:cxn ang="0">
                <a:pos x="connsiteX27290" y="connsiteY27290"/>
              </a:cxn>
              <a:cxn ang="0">
                <a:pos x="connsiteX27291" y="connsiteY27291"/>
              </a:cxn>
              <a:cxn ang="0">
                <a:pos x="connsiteX27292" y="connsiteY27292"/>
              </a:cxn>
              <a:cxn ang="0">
                <a:pos x="connsiteX27293" y="connsiteY27293"/>
              </a:cxn>
              <a:cxn ang="0">
                <a:pos x="connsiteX27294" y="connsiteY27294"/>
              </a:cxn>
              <a:cxn ang="0">
                <a:pos x="connsiteX27295" y="connsiteY27295"/>
              </a:cxn>
              <a:cxn ang="0">
                <a:pos x="connsiteX27296" y="connsiteY27296"/>
              </a:cxn>
              <a:cxn ang="0">
                <a:pos x="connsiteX27297" y="connsiteY27297"/>
              </a:cxn>
              <a:cxn ang="0">
                <a:pos x="connsiteX27298" y="connsiteY27298"/>
              </a:cxn>
              <a:cxn ang="0">
                <a:pos x="connsiteX27299" y="connsiteY27299"/>
              </a:cxn>
              <a:cxn ang="0">
                <a:pos x="connsiteX27300" y="connsiteY27300"/>
              </a:cxn>
              <a:cxn ang="0">
                <a:pos x="connsiteX27301" y="connsiteY27301"/>
              </a:cxn>
              <a:cxn ang="0">
                <a:pos x="connsiteX27302" y="connsiteY27302"/>
              </a:cxn>
              <a:cxn ang="0">
                <a:pos x="connsiteX27303" y="connsiteY27303"/>
              </a:cxn>
              <a:cxn ang="0">
                <a:pos x="connsiteX27304" y="connsiteY27304"/>
              </a:cxn>
              <a:cxn ang="0">
                <a:pos x="connsiteX27305" y="connsiteY27305"/>
              </a:cxn>
              <a:cxn ang="0">
                <a:pos x="connsiteX27306" y="connsiteY27306"/>
              </a:cxn>
              <a:cxn ang="0">
                <a:pos x="connsiteX27307" y="connsiteY27307"/>
              </a:cxn>
              <a:cxn ang="0">
                <a:pos x="connsiteX27308" y="connsiteY27308"/>
              </a:cxn>
              <a:cxn ang="0">
                <a:pos x="connsiteX27309" y="connsiteY27309"/>
              </a:cxn>
              <a:cxn ang="0">
                <a:pos x="connsiteX27310" y="connsiteY27310"/>
              </a:cxn>
              <a:cxn ang="0">
                <a:pos x="connsiteX27311" y="connsiteY27311"/>
              </a:cxn>
              <a:cxn ang="0">
                <a:pos x="connsiteX27312" y="connsiteY27312"/>
              </a:cxn>
              <a:cxn ang="0">
                <a:pos x="connsiteX27313" y="connsiteY27313"/>
              </a:cxn>
              <a:cxn ang="0">
                <a:pos x="connsiteX27314" y="connsiteY27314"/>
              </a:cxn>
              <a:cxn ang="0">
                <a:pos x="connsiteX27315" y="connsiteY27315"/>
              </a:cxn>
              <a:cxn ang="0">
                <a:pos x="connsiteX27316" y="connsiteY27316"/>
              </a:cxn>
              <a:cxn ang="0">
                <a:pos x="connsiteX27317" y="connsiteY27317"/>
              </a:cxn>
              <a:cxn ang="0">
                <a:pos x="connsiteX27318" y="connsiteY27318"/>
              </a:cxn>
              <a:cxn ang="0">
                <a:pos x="connsiteX27319" y="connsiteY27319"/>
              </a:cxn>
              <a:cxn ang="0">
                <a:pos x="connsiteX27320" y="connsiteY27320"/>
              </a:cxn>
              <a:cxn ang="0">
                <a:pos x="connsiteX27321" y="connsiteY27321"/>
              </a:cxn>
              <a:cxn ang="0">
                <a:pos x="connsiteX27322" y="connsiteY27322"/>
              </a:cxn>
              <a:cxn ang="0">
                <a:pos x="connsiteX27323" y="connsiteY27323"/>
              </a:cxn>
              <a:cxn ang="0">
                <a:pos x="connsiteX27324" y="connsiteY27324"/>
              </a:cxn>
              <a:cxn ang="0">
                <a:pos x="connsiteX27325" y="connsiteY27325"/>
              </a:cxn>
              <a:cxn ang="0">
                <a:pos x="connsiteX27326" y="connsiteY27326"/>
              </a:cxn>
              <a:cxn ang="0">
                <a:pos x="connsiteX27327" y="connsiteY27327"/>
              </a:cxn>
              <a:cxn ang="0">
                <a:pos x="connsiteX27328" y="connsiteY27328"/>
              </a:cxn>
              <a:cxn ang="0">
                <a:pos x="connsiteX27329" y="connsiteY27329"/>
              </a:cxn>
              <a:cxn ang="0">
                <a:pos x="connsiteX27330" y="connsiteY27330"/>
              </a:cxn>
              <a:cxn ang="0">
                <a:pos x="connsiteX27331" y="connsiteY27331"/>
              </a:cxn>
              <a:cxn ang="0">
                <a:pos x="connsiteX27332" y="connsiteY27332"/>
              </a:cxn>
              <a:cxn ang="0">
                <a:pos x="connsiteX27333" y="connsiteY27333"/>
              </a:cxn>
              <a:cxn ang="0">
                <a:pos x="connsiteX27334" y="connsiteY27334"/>
              </a:cxn>
              <a:cxn ang="0">
                <a:pos x="connsiteX27335" y="connsiteY27335"/>
              </a:cxn>
              <a:cxn ang="0">
                <a:pos x="connsiteX27336" y="connsiteY27336"/>
              </a:cxn>
              <a:cxn ang="0">
                <a:pos x="connsiteX27337" y="connsiteY27337"/>
              </a:cxn>
              <a:cxn ang="0">
                <a:pos x="connsiteX27338" y="connsiteY27338"/>
              </a:cxn>
              <a:cxn ang="0">
                <a:pos x="connsiteX27339" y="connsiteY27339"/>
              </a:cxn>
              <a:cxn ang="0">
                <a:pos x="connsiteX27340" y="connsiteY27340"/>
              </a:cxn>
              <a:cxn ang="0">
                <a:pos x="connsiteX27341" y="connsiteY27341"/>
              </a:cxn>
              <a:cxn ang="0">
                <a:pos x="connsiteX27342" y="connsiteY27342"/>
              </a:cxn>
              <a:cxn ang="0">
                <a:pos x="connsiteX27343" y="connsiteY27343"/>
              </a:cxn>
              <a:cxn ang="0">
                <a:pos x="connsiteX27344" y="connsiteY27344"/>
              </a:cxn>
              <a:cxn ang="0">
                <a:pos x="connsiteX27345" y="connsiteY27345"/>
              </a:cxn>
              <a:cxn ang="0">
                <a:pos x="connsiteX27346" y="connsiteY27346"/>
              </a:cxn>
              <a:cxn ang="0">
                <a:pos x="connsiteX27347" y="connsiteY27347"/>
              </a:cxn>
              <a:cxn ang="0">
                <a:pos x="connsiteX27348" y="connsiteY27348"/>
              </a:cxn>
              <a:cxn ang="0">
                <a:pos x="connsiteX27349" y="connsiteY27349"/>
              </a:cxn>
              <a:cxn ang="0">
                <a:pos x="connsiteX27350" y="connsiteY27350"/>
              </a:cxn>
              <a:cxn ang="0">
                <a:pos x="connsiteX27351" y="connsiteY27351"/>
              </a:cxn>
              <a:cxn ang="0">
                <a:pos x="connsiteX27352" y="connsiteY27352"/>
              </a:cxn>
              <a:cxn ang="0">
                <a:pos x="connsiteX27353" y="connsiteY27353"/>
              </a:cxn>
              <a:cxn ang="0">
                <a:pos x="connsiteX27354" y="connsiteY27354"/>
              </a:cxn>
              <a:cxn ang="0">
                <a:pos x="connsiteX27355" y="connsiteY27355"/>
              </a:cxn>
              <a:cxn ang="0">
                <a:pos x="connsiteX27356" y="connsiteY27356"/>
              </a:cxn>
              <a:cxn ang="0">
                <a:pos x="connsiteX27357" y="connsiteY27357"/>
              </a:cxn>
              <a:cxn ang="0">
                <a:pos x="connsiteX27358" y="connsiteY27358"/>
              </a:cxn>
              <a:cxn ang="0">
                <a:pos x="connsiteX27359" y="connsiteY27359"/>
              </a:cxn>
              <a:cxn ang="0">
                <a:pos x="connsiteX27360" y="connsiteY27360"/>
              </a:cxn>
              <a:cxn ang="0">
                <a:pos x="connsiteX27361" y="connsiteY27361"/>
              </a:cxn>
              <a:cxn ang="0">
                <a:pos x="connsiteX27362" y="connsiteY27362"/>
              </a:cxn>
              <a:cxn ang="0">
                <a:pos x="connsiteX27363" y="connsiteY27363"/>
              </a:cxn>
              <a:cxn ang="0">
                <a:pos x="connsiteX27364" y="connsiteY27364"/>
              </a:cxn>
              <a:cxn ang="0">
                <a:pos x="connsiteX27365" y="connsiteY27365"/>
              </a:cxn>
              <a:cxn ang="0">
                <a:pos x="connsiteX27366" y="connsiteY27366"/>
              </a:cxn>
              <a:cxn ang="0">
                <a:pos x="connsiteX27367" y="connsiteY27367"/>
              </a:cxn>
              <a:cxn ang="0">
                <a:pos x="connsiteX27368" y="connsiteY27368"/>
              </a:cxn>
              <a:cxn ang="0">
                <a:pos x="connsiteX27369" y="connsiteY27369"/>
              </a:cxn>
              <a:cxn ang="0">
                <a:pos x="connsiteX27370" y="connsiteY27370"/>
              </a:cxn>
              <a:cxn ang="0">
                <a:pos x="connsiteX27371" y="connsiteY27371"/>
              </a:cxn>
              <a:cxn ang="0">
                <a:pos x="connsiteX27372" y="connsiteY27372"/>
              </a:cxn>
              <a:cxn ang="0">
                <a:pos x="connsiteX27373" y="connsiteY27373"/>
              </a:cxn>
              <a:cxn ang="0">
                <a:pos x="connsiteX27374" y="connsiteY27374"/>
              </a:cxn>
              <a:cxn ang="0">
                <a:pos x="connsiteX27375" y="connsiteY27375"/>
              </a:cxn>
              <a:cxn ang="0">
                <a:pos x="connsiteX27376" y="connsiteY27376"/>
              </a:cxn>
              <a:cxn ang="0">
                <a:pos x="connsiteX27377" y="connsiteY27377"/>
              </a:cxn>
              <a:cxn ang="0">
                <a:pos x="connsiteX27378" y="connsiteY27378"/>
              </a:cxn>
              <a:cxn ang="0">
                <a:pos x="connsiteX27379" y="connsiteY27379"/>
              </a:cxn>
              <a:cxn ang="0">
                <a:pos x="connsiteX27380" y="connsiteY27380"/>
              </a:cxn>
              <a:cxn ang="0">
                <a:pos x="connsiteX27381" y="connsiteY27381"/>
              </a:cxn>
              <a:cxn ang="0">
                <a:pos x="connsiteX27382" y="connsiteY27382"/>
              </a:cxn>
              <a:cxn ang="0">
                <a:pos x="connsiteX27383" y="connsiteY27383"/>
              </a:cxn>
              <a:cxn ang="0">
                <a:pos x="connsiteX27384" y="connsiteY27384"/>
              </a:cxn>
              <a:cxn ang="0">
                <a:pos x="connsiteX27385" y="connsiteY27385"/>
              </a:cxn>
              <a:cxn ang="0">
                <a:pos x="connsiteX27386" y="connsiteY27386"/>
              </a:cxn>
              <a:cxn ang="0">
                <a:pos x="connsiteX27387" y="connsiteY27387"/>
              </a:cxn>
              <a:cxn ang="0">
                <a:pos x="connsiteX27388" y="connsiteY27388"/>
              </a:cxn>
              <a:cxn ang="0">
                <a:pos x="connsiteX27389" y="connsiteY27389"/>
              </a:cxn>
              <a:cxn ang="0">
                <a:pos x="connsiteX27390" y="connsiteY27390"/>
              </a:cxn>
              <a:cxn ang="0">
                <a:pos x="connsiteX27391" y="connsiteY27391"/>
              </a:cxn>
              <a:cxn ang="0">
                <a:pos x="connsiteX27392" y="connsiteY27392"/>
              </a:cxn>
              <a:cxn ang="0">
                <a:pos x="connsiteX27393" y="connsiteY27393"/>
              </a:cxn>
              <a:cxn ang="0">
                <a:pos x="connsiteX27394" y="connsiteY27394"/>
              </a:cxn>
              <a:cxn ang="0">
                <a:pos x="connsiteX27395" y="connsiteY27395"/>
              </a:cxn>
              <a:cxn ang="0">
                <a:pos x="connsiteX27396" y="connsiteY27396"/>
              </a:cxn>
              <a:cxn ang="0">
                <a:pos x="connsiteX27397" y="connsiteY27397"/>
              </a:cxn>
              <a:cxn ang="0">
                <a:pos x="connsiteX27398" y="connsiteY27398"/>
              </a:cxn>
              <a:cxn ang="0">
                <a:pos x="connsiteX27399" y="connsiteY27399"/>
              </a:cxn>
              <a:cxn ang="0">
                <a:pos x="connsiteX27400" y="connsiteY27400"/>
              </a:cxn>
              <a:cxn ang="0">
                <a:pos x="connsiteX27401" y="connsiteY27401"/>
              </a:cxn>
              <a:cxn ang="0">
                <a:pos x="connsiteX27402" y="connsiteY27402"/>
              </a:cxn>
              <a:cxn ang="0">
                <a:pos x="connsiteX27403" y="connsiteY27403"/>
              </a:cxn>
              <a:cxn ang="0">
                <a:pos x="connsiteX27404" y="connsiteY27404"/>
              </a:cxn>
              <a:cxn ang="0">
                <a:pos x="connsiteX27405" y="connsiteY27405"/>
              </a:cxn>
              <a:cxn ang="0">
                <a:pos x="connsiteX27406" y="connsiteY27406"/>
              </a:cxn>
              <a:cxn ang="0">
                <a:pos x="connsiteX27407" y="connsiteY27407"/>
              </a:cxn>
              <a:cxn ang="0">
                <a:pos x="connsiteX27408" y="connsiteY27408"/>
              </a:cxn>
              <a:cxn ang="0">
                <a:pos x="connsiteX27409" y="connsiteY27409"/>
              </a:cxn>
              <a:cxn ang="0">
                <a:pos x="connsiteX27410" y="connsiteY27410"/>
              </a:cxn>
              <a:cxn ang="0">
                <a:pos x="connsiteX27411" y="connsiteY27411"/>
              </a:cxn>
              <a:cxn ang="0">
                <a:pos x="connsiteX27412" y="connsiteY27412"/>
              </a:cxn>
              <a:cxn ang="0">
                <a:pos x="connsiteX27413" y="connsiteY27413"/>
              </a:cxn>
              <a:cxn ang="0">
                <a:pos x="connsiteX27414" y="connsiteY27414"/>
              </a:cxn>
              <a:cxn ang="0">
                <a:pos x="connsiteX27415" y="connsiteY27415"/>
              </a:cxn>
              <a:cxn ang="0">
                <a:pos x="connsiteX27416" y="connsiteY27416"/>
              </a:cxn>
              <a:cxn ang="0">
                <a:pos x="connsiteX27417" y="connsiteY27417"/>
              </a:cxn>
              <a:cxn ang="0">
                <a:pos x="connsiteX27418" y="connsiteY27418"/>
              </a:cxn>
              <a:cxn ang="0">
                <a:pos x="connsiteX27419" y="connsiteY27419"/>
              </a:cxn>
              <a:cxn ang="0">
                <a:pos x="connsiteX27420" y="connsiteY27420"/>
              </a:cxn>
              <a:cxn ang="0">
                <a:pos x="connsiteX27421" y="connsiteY27421"/>
              </a:cxn>
              <a:cxn ang="0">
                <a:pos x="connsiteX27422" y="connsiteY27422"/>
              </a:cxn>
              <a:cxn ang="0">
                <a:pos x="connsiteX27423" y="connsiteY27423"/>
              </a:cxn>
              <a:cxn ang="0">
                <a:pos x="connsiteX27424" y="connsiteY27424"/>
              </a:cxn>
              <a:cxn ang="0">
                <a:pos x="connsiteX27425" y="connsiteY27425"/>
              </a:cxn>
              <a:cxn ang="0">
                <a:pos x="connsiteX27426" y="connsiteY27426"/>
              </a:cxn>
              <a:cxn ang="0">
                <a:pos x="connsiteX27427" y="connsiteY27427"/>
              </a:cxn>
              <a:cxn ang="0">
                <a:pos x="connsiteX27428" y="connsiteY27428"/>
              </a:cxn>
              <a:cxn ang="0">
                <a:pos x="connsiteX27429" y="connsiteY27429"/>
              </a:cxn>
              <a:cxn ang="0">
                <a:pos x="connsiteX27430" y="connsiteY27430"/>
              </a:cxn>
              <a:cxn ang="0">
                <a:pos x="connsiteX27431" y="connsiteY27431"/>
              </a:cxn>
              <a:cxn ang="0">
                <a:pos x="connsiteX27432" y="connsiteY27432"/>
              </a:cxn>
              <a:cxn ang="0">
                <a:pos x="connsiteX27433" y="connsiteY27433"/>
              </a:cxn>
              <a:cxn ang="0">
                <a:pos x="connsiteX27434" y="connsiteY27434"/>
              </a:cxn>
              <a:cxn ang="0">
                <a:pos x="connsiteX27435" y="connsiteY27435"/>
              </a:cxn>
              <a:cxn ang="0">
                <a:pos x="connsiteX27436" y="connsiteY27436"/>
              </a:cxn>
              <a:cxn ang="0">
                <a:pos x="connsiteX27437" y="connsiteY27437"/>
              </a:cxn>
              <a:cxn ang="0">
                <a:pos x="connsiteX27438" y="connsiteY27438"/>
              </a:cxn>
              <a:cxn ang="0">
                <a:pos x="connsiteX27439" y="connsiteY27439"/>
              </a:cxn>
              <a:cxn ang="0">
                <a:pos x="connsiteX27440" y="connsiteY27440"/>
              </a:cxn>
              <a:cxn ang="0">
                <a:pos x="connsiteX27441" y="connsiteY27441"/>
              </a:cxn>
              <a:cxn ang="0">
                <a:pos x="connsiteX27442" y="connsiteY27442"/>
              </a:cxn>
              <a:cxn ang="0">
                <a:pos x="connsiteX27443" y="connsiteY27443"/>
              </a:cxn>
              <a:cxn ang="0">
                <a:pos x="connsiteX27444" y="connsiteY27444"/>
              </a:cxn>
              <a:cxn ang="0">
                <a:pos x="connsiteX27445" y="connsiteY27445"/>
              </a:cxn>
              <a:cxn ang="0">
                <a:pos x="connsiteX27446" y="connsiteY27446"/>
              </a:cxn>
              <a:cxn ang="0">
                <a:pos x="connsiteX27447" y="connsiteY27447"/>
              </a:cxn>
              <a:cxn ang="0">
                <a:pos x="connsiteX27448" y="connsiteY27448"/>
              </a:cxn>
              <a:cxn ang="0">
                <a:pos x="connsiteX27449" y="connsiteY27449"/>
              </a:cxn>
              <a:cxn ang="0">
                <a:pos x="connsiteX27450" y="connsiteY27450"/>
              </a:cxn>
              <a:cxn ang="0">
                <a:pos x="connsiteX27451" y="connsiteY27451"/>
              </a:cxn>
              <a:cxn ang="0">
                <a:pos x="connsiteX27452" y="connsiteY27452"/>
              </a:cxn>
              <a:cxn ang="0">
                <a:pos x="connsiteX27453" y="connsiteY27453"/>
              </a:cxn>
              <a:cxn ang="0">
                <a:pos x="connsiteX27454" y="connsiteY27454"/>
              </a:cxn>
              <a:cxn ang="0">
                <a:pos x="connsiteX27455" y="connsiteY27455"/>
              </a:cxn>
              <a:cxn ang="0">
                <a:pos x="connsiteX27456" y="connsiteY27456"/>
              </a:cxn>
              <a:cxn ang="0">
                <a:pos x="connsiteX27457" y="connsiteY27457"/>
              </a:cxn>
              <a:cxn ang="0">
                <a:pos x="connsiteX27458" y="connsiteY27458"/>
              </a:cxn>
              <a:cxn ang="0">
                <a:pos x="connsiteX27459" y="connsiteY27459"/>
              </a:cxn>
              <a:cxn ang="0">
                <a:pos x="connsiteX27460" y="connsiteY27460"/>
              </a:cxn>
              <a:cxn ang="0">
                <a:pos x="connsiteX27461" y="connsiteY27461"/>
              </a:cxn>
              <a:cxn ang="0">
                <a:pos x="connsiteX27462" y="connsiteY27462"/>
              </a:cxn>
              <a:cxn ang="0">
                <a:pos x="connsiteX27463" y="connsiteY27463"/>
              </a:cxn>
              <a:cxn ang="0">
                <a:pos x="connsiteX27464" y="connsiteY27464"/>
              </a:cxn>
              <a:cxn ang="0">
                <a:pos x="connsiteX27465" y="connsiteY27465"/>
              </a:cxn>
              <a:cxn ang="0">
                <a:pos x="connsiteX27466" y="connsiteY27466"/>
              </a:cxn>
              <a:cxn ang="0">
                <a:pos x="connsiteX27467" y="connsiteY27467"/>
              </a:cxn>
              <a:cxn ang="0">
                <a:pos x="connsiteX27468" y="connsiteY27468"/>
              </a:cxn>
              <a:cxn ang="0">
                <a:pos x="connsiteX27469" y="connsiteY27469"/>
              </a:cxn>
              <a:cxn ang="0">
                <a:pos x="connsiteX27470" y="connsiteY27470"/>
              </a:cxn>
              <a:cxn ang="0">
                <a:pos x="connsiteX27471" y="connsiteY27471"/>
              </a:cxn>
              <a:cxn ang="0">
                <a:pos x="connsiteX27472" y="connsiteY27472"/>
              </a:cxn>
              <a:cxn ang="0">
                <a:pos x="connsiteX27473" y="connsiteY27473"/>
              </a:cxn>
              <a:cxn ang="0">
                <a:pos x="connsiteX27474" y="connsiteY27474"/>
              </a:cxn>
              <a:cxn ang="0">
                <a:pos x="connsiteX27475" y="connsiteY27475"/>
              </a:cxn>
              <a:cxn ang="0">
                <a:pos x="connsiteX27476" y="connsiteY27476"/>
              </a:cxn>
              <a:cxn ang="0">
                <a:pos x="connsiteX27477" y="connsiteY27477"/>
              </a:cxn>
              <a:cxn ang="0">
                <a:pos x="connsiteX27478" y="connsiteY27478"/>
              </a:cxn>
              <a:cxn ang="0">
                <a:pos x="connsiteX27479" y="connsiteY27479"/>
              </a:cxn>
              <a:cxn ang="0">
                <a:pos x="connsiteX27480" y="connsiteY27480"/>
              </a:cxn>
              <a:cxn ang="0">
                <a:pos x="connsiteX27481" y="connsiteY27481"/>
              </a:cxn>
              <a:cxn ang="0">
                <a:pos x="connsiteX27482" y="connsiteY27482"/>
              </a:cxn>
              <a:cxn ang="0">
                <a:pos x="connsiteX27483" y="connsiteY27483"/>
              </a:cxn>
              <a:cxn ang="0">
                <a:pos x="connsiteX27484" y="connsiteY27484"/>
              </a:cxn>
              <a:cxn ang="0">
                <a:pos x="connsiteX27485" y="connsiteY27485"/>
              </a:cxn>
              <a:cxn ang="0">
                <a:pos x="connsiteX27486" y="connsiteY27486"/>
              </a:cxn>
              <a:cxn ang="0">
                <a:pos x="connsiteX27487" y="connsiteY27487"/>
              </a:cxn>
              <a:cxn ang="0">
                <a:pos x="connsiteX27488" y="connsiteY27488"/>
              </a:cxn>
              <a:cxn ang="0">
                <a:pos x="connsiteX27489" y="connsiteY27489"/>
              </a:cxn>
              <a:cxn ang="0">
                <a:pos x="connsiteX27490" y="connsiteY27490"/>
              </a:cxn>
              <a:cxn ang="0">
                <a:pos x="connsiteX27491" y="connsiteY27491"/>
              </a:cxn>
              <a:cxn ang="0">
                <a:pos x="connsiteX27492" y="connsiteY27492"/>
              </a:cxn>
              <a:cxn ang="0">
                <a:pos x="connsiteX27493" y="connsiteY27493"/>
              </a:cxn>
              <a:cxn ang="0">
                <a:pos x="connsiteX27494" y="connsiteY27494"/>
              </a:cxn>
              <a:cxn ang="0">
                <a:pos x="connsiteX27495" y="connsiteY27495"/>
              </a:cxn>
              <a:cxn ang="0">
                <a:pos x="connsiteX27496" y="connsiteY27496"/>
              </a:cxn>
              <a:cxn ang="0">
                <a:pos x="connsiteX27497" y="connsiteY27497"/>
              </a:cxn>
              <a:cxn ang="0">
                <a:pos x="connsiteX27498" y="connsiteY27498"/>
              </a:cxn>
              <a:cxn ang="0">
                <a:pos x="connsiteX27499" y="connsiteY27499"/>
              </a:cxn>
              <a:cxn ang="0">
                <a:pos x="connsiteX27500" y="connsiteY27500"/>
              </a:cxn>
              <a:cxn ang="0">
                <a:pos x="connsiteX27501" y="connsiteY27501"/>
              </a:cxn>
              <a:cxn ang="0">
                <a:pos x="connsiteX27502" y="connsiteY27502"/>
              </a:cxn>
              <a:cxn ang="0">
                <a:pos x="connsiteX27503" y="connsiteY27503"/>
              </a:cxn>
              <a:cxn ang="0">
                <a:pos x="connsiteX27504" y="connsiteY27504"/>
              </a:cxn>
              <a:cxn ang="0">
                <a:pos x="connsiteX27505" y="connsiteY27505"/>
              </a:cxn>
              <a:cxn ang="0">
                <a:pos x="connsiteX27506" y="connsiteY27506"/>
              </a:cxn>
              <a:cxn ang="0">
                <a:pos x="connsiteX27507" y="connsiteY27507"/>
              </a:cxn>
              <a:cxn ang="0">
                <a:pos x="connsiteX27508" y="connsiteY27508"/>
              </a:cxn>
              <a:cxn ang="0">
                <a:pos x="connsiteX27509" y="connsiteY27509"/>
              </a:cxn>
              <a:cxn ang="0">
                <a:pos x="connsiteX27510" y="connsiteY27510"/>
              </a:cxn>
              <a:cxn ang="0">
                <a:pos x="connsiteX27511" y="connsiteY27511"/>
              </a:cxn>
              <a:cxn ang="0">
                <a:pos x="connsiteX27512" y="connsiteY27512"/>
              </a:cxn>
              <a:cxn ang="0">
                <a:pos x="connsiteX27513" y="connsiteY27513"/>
              </a:cxn>
              <a:cxn ang="0">
                <a:pos x="connsiteX27514" y="connsiteY27514"/>
              </a:cxn>
              <a:cxn ang="0">
                <a:pos x="connsiteX27515" y="connsiteY27515"/>
              </a:cxn>
              <a:cxn ang="0">
                <a:pos x="connsiteX27516" y="connsiteY27516"/>
              </a:cxn>
              <a:cxn ang="0">
                <a:pos x="connsiteX27517" y="connsiteY27517"/>
              </a:cxn>
              <a:cxn ang="0">
                <a:pos x="connsiteX27518" y="connsiteY27518"/>
              </a:cxn>
              <a:cxn ang="0">
                <a:pos x="connsiteX27519" y="connsiteY27519"/>
              </a:cxn>
              <a:cxn ang="0">
                <a:pos x="connsiteX27520" y="connsiteY27520"/>
              </a:cxn>
              <a:cxn ang="0">
                <a:pos x="connsiteX27521" y="connsiteY27521"/>
              </a:cxn>
              <a:cxn ang="0">
                <a:pos x="connsiteX27522" y="connsiteY27522"/>
              </a:cxn>
              <a:cxn ang="0">
                <a:pos x="connsiteX27523" y="connsiteY27523"/>
              </a:cxn>
              <a:cxn ang="0">
                <a:pos x="connsiteX27524" y="connsiteY27524"/>
              </a:cxn>
              <a:cxn ang="0">
                <a:pos x="connsiteX27525" y="connsiteY27525"/>
              </a:cxn>
              <a:cxn ang="0">
                <a:pos x="connsiteX27526" y="connsiteY27526"/>
              </a:cxn>
              <a:cxn ang="0">
                <a:pos x="connsiteX27527" y="connsiteY27527"/>
              </a:cxn>
              <a:cxn ang="0">
                <a:pos x="connsiteX27528" y="connsiteY27528"/>
              </a:cxn>
              <a:cxn ang="0">
                <a:pos x="connsiteX27529" y="connsiteY27529"/>
              </a:cxn>
              <a:cxn ang="0">
                <a:pos x="connsiteX27530" y="connsiteY27530"/>
              </a:cxn>
              <a:cxn ang="0">
                <a:pos x="connsiteX27531" y="connsiteY27531"/>
              </a:cxn>
              <a:cxn ang="0">
                <a:pos x="connsiteX27532" y="connsiteY27532"/>
              </a:cxn>
              <a:cxn ang="0">
                <a:pos x="connsiteX27533" y="connsiteY27533"/>
              </a:cxn>
              <a:cxn ang="0">
                <a:pos x="connsiteX27534" y="connsiteY27534"/>
              </a:cxn>
              <a:cxn ang="0">
                <a:pos x="connsiteX27535" y="connsiteY27535"/>
              </a:cxn>
              <a:cxn ang="0">
                <a:pos x="connsiteX27536" y="connsiteY27536"/>
              </a:cxn>
              <a:cxn ang="0">
                <a:pos x="connsiteX27537" y="connsiteY27537"/>
              </a:cxn>
              <a:cxn ang="0">
                <a:pos x="connsiteX27538" y="connsiteY27538"/>
              </a:cxn>
              <a:cxn ang="0">
                <a:pos x="connsiteX27539" y="connsiteY27539"/>
              </a:cxn>
              <a:cxn ang="0">
                <a:pos x="connsiteX27540" y="connsiteY27540"/>
              </a:cxn>
              <a:cxn ang="0">
                <a:pos x="connsiteX27541" y="connsiteY27541"/>
              </a:cxn>
              <a:cxn ang="0">
                <a:pos x="connsiteX27542" y="connsiteY27542"/>
              </a:cxn>
              <a:cxn ang="0">
                <a:pos x="connsiteX27543" y="connsiteY27543"/>
              </a:cxn>
              <a:cxn ang="0">
                <a:pos x="connsiteX27544" y="connsiteY27544"/>
              </a:cxn>
              <a:cxn ang="0">
                <a:pos x="connsiteX27545" y="connsiteY27545"/>
              </a:cxn>
              <a:cxn ang="0">
                <a:pos x="connsiteX27546" y="connsiteY27546"/>
              </a:cxn>
              <a:cxn ang="0">
                <a:pos x="connsiteX27547" y="connsiteY27547"/>
              </a:cxn>
              <a:cxn ang="0">
                <a:pos x="connsiteX27548" y="connsiteY27548"/>
              </a:cxn>
              <a:cxn ang="0">
                <a:pos x="connsiteX27549" y="connsiteY27549"/>
              </a:cxn>
              <a:cxn ang="0">
                <a:pos x="connsiteX27550" y="connsiteY27550"/>
              </a:cxn>
              <a:cxn ang="0">
                <a:pos x="connsiteX27551" y="connsiteY27551"/>
              </a:cxn>
              <a:cxn ang="0">
                <a:pos x="connsiteX27552" y="connsiteY27552"/>
              </a:cxn>
              <a:cxn ang="0">
                <a:pos x="connsiteX27553" y="connsiteY27553"/>
              </a:cxn>
              <a:cxn ang="0">
                <a:pos x="connsiteX27554" y="connsiteY27554"/>
              </a:cxn>
              <a:cxn ang="0">
                <a:pos x="connsiteX27555" y="connsiteY27555"/>
              </a:cxn>
              <a:cxn ang="0">
                <a:pos x="connsiteX27556" y="connsiteY27556"/>
              </a:cxn>
              <a:cxn ang="0">
                <a:pos x="connsiteX27557" y="connsiteY27557"/>
              </a:cxn>
              <a:cxn ang="0">
                <a:pos x="connsiteX27558" y="connsiteY27558"/>
              </a:cxn>
              <a:cxn ang="0">
                <a:pos x="connsiteX27559" y="connsiteY27559"/>
              </a:cxn>
              <a:cxn ang="0">
                <a:pos x="connsiteX27560" y="connsiteY27560"/>
              </a:cxn>
              <a:cxn ang="0">
                <a:pos x="connsiteX27561" y="connsiteY27561"/>
              </a:cxn>
              <a:cxn ang="0">
                <a:pos x="connsiteX27562" y="connsiteY27562"/>
              </a:cxn>
              <a:cxn ang="0">
                <a:pos x="connsiteX27563" y="connsiteY27563"/>
              </a:cxn>
              <a:cxn ang="0">
                <a:pos x="connsiteX27564" y="connsiteY27564"/>
              </a:cxn>
              <a:cxn ang="0">
                <a:pos x="connsiteX27565" y="connsiteY27565"/>
              </a:cxn>
              <a:cxn ang="0">
                <a:pos x="connsiteX27566" y="connsiteY27566"/>
              </a:cxn>
              <a:cxn ang="0">
                <a:pos x="connsiteX27567" y="connsiteY27567"/>
              </a:cxn>
              <a:cxn ang="0">
                <a:pos x="connsiteX27568" y="connsiteY27568"/>
              </a:cxn>
              <a:cxn ang="0">
                <a:pos x="connsiteX27569" y="connsiteY27569"/>
              </a:cxn>
              <a:cxn ang="0">
                <a:pos x="connsiteX27570" y="connsiteY27570"/>
              </a:cxn>
              <a:cxn ang="0">
                <a:pos x="connsiteX27571" y="connsiteY27571"/>
              </a:cxn>
              <a:cxn ang="0">
                <a:pos x="connsiteX27572" y="connsiteY27572"/>
              </a:cxn>
              <a:cxn ang="0">
                <a:pos x="connsiteX27573" y="connsiteY27573"/>
              </a:cxn>
              <a:cxn ang="0">
                <a:pos x="connsiteX27574" y="connsiteY27574"/>
              </a:cxn>
              <a:cxn ang="0">
                <a:pos x="connsiteX27575" y="connsiteY27575"/>
              </a:cxn>
              <a:cxn ang="0">
                <a:pos x="connsiteX27576" y="connsiteY27576"/>
              </a:cxn>
              <a:cxn ang="0">
                <a:pos x="connsiteX27577" y="connsiteY27577"/>
              </a:cxn>
              <a:cxn ang="0">
                <a:pos x="connsiteX27578" y="connsiteY27578"/>
              </a:cxn>
              <a:cxn ang="0">
                <a:pos x="connsiteX27579" y="connsiteY27579"/>
              </a:cxn>
              <a:cxn ang="0">
                <a:pos x="connsiteX27580" y="connsiteY27580"/>
              </a:cxn>
              <a:cxn ang="0">
                <a:pos x="connsiteX27581" y="connsiteY27581"/>
              </a:cxn>
              <a:cxn ang="0">
                <a:pos x="connsiteX27582" y="connsiteY27582"/>
              </a:cxn>
              <a:cxn ang="0">
                <a:pos x="connsiteX27583" y="connsiteY27583"/>
              </a:cxn>
              <a:cxn ang="0">
                <a:pos x="connsiteX27584" y="connsiteY27584"/>
              </a:cxn>
              <a:cxn ang="0">
                <a:pos x="connsiteX27585" y="connsiteY27585"/>
              </a:cxn>
              <a:cxn ang="0">
                <a:pos x="connsiteX27586" y="connsiteY27586"/>
              </a:cxn>
              <a:cxn ang="0">
                <a:pos x="connsiteX27587" y="connsiteY27587"/>
              </a:cxn>
              <a:cxn ang="0">
                <a:pos x="connsiteX27588" y="connsiteY27588"/>
              </a:cxn>
              <a:cxn ang="0">
                <a:pos x="connsiteX27589" y="connsiteY27589"/>
              </a:cxn>
              <a:cxn ang="0">
                <a:pos x="connsiteX27590" y="connsiteY27590"/>
              </a:cxn>
              <a:cxn ang="0">
                <a:pos x="connsiteX27591" y="connsiteY27591"/>
              </a:cxn>
              <a:cxn ang="0">
                <a:pos x="connsiteX27592" y="connsiteY27592"/>
              </a:cxn>
              <a:cxn ang="0">
                <a:pos x="connsiteX27593" y="connsiteY27593"/>
              </a:cxn>
              <a:cxn ang="0">
                <a:pos x="connsiteX27594" y="connsiteY27594"/>
              </a:cxn>
              <a:cxn ang="0">
                <a:pos x="connsiteX27595" y="connsiteY27595"/>
              </a:cxn>
              <a:cxn ang="0">
                <a:pos x="connsiteX27596" y="connsiteY27596"/>
              </a:cxn>
              <a:cxn ang="0">
                <a:pos x="connsiteX27597" y="connsiteY27597"/>
              </a:cxn>
              <a:cxn ang="0">
                <a:pos x="connsiteX27598" y="connsiteY27598"/>
              </a:cxn>
              <a:cxn ang="0">
                <a:pos x="connsiteX27599" y="connsiteY27599"/>
              </a:cxn>
              <a:cxn ang="0">
                <a:pos x="connsiteX27600" y="connsiteY27600"/>
              </a:cxn>
              <a:cxn ang="0">
                <a:pos x="connsiteX27601" y="connsiteY27601"/>
              </a:cxn>
              <a:cxn ang="0">
                <a:pos x="connsiteX27602" y="connsiteY27602"/>
              </a:cxn>
              <a:cxn ang="0">
                <a:pos x="connsiteX27603" y="connsiteY27603"/>
              </a:cxn>
              <a:cxn ang="0">
                <a:pos x="connsiteX27604" y="connsiteY27604"/>
              </a:cxn>
              <a:cxn ang="0">
                <a:pos x="connsiteX27605" y="connsiteY27605"/>
              </a:cxn>
              <a:cxn ang="0">
                <a:pos x="connsiteX27606" y="connsiteY27606"/>
              </a:cxn>
              <a:cxn ang="0">
                <a:pos x="connsiteX27607" y="connsiteY27607"/>
              </a:cxn>
              <a:cxn ang="0">
                <a:pos x="connsiteX27608" y="connsiteY27608"/>
              </a:cxn>
              <a:cxn ang="0">
                <a:pos x="connsiteX27609" y="connsiteY27609"/>
              </a:cxn>
              <a:cxn ang="0">
                <a:pos x="connsiteX27610" y="connsiteY27610"/>
              </a:cxn>
              <a:cxn ang="0">
                <a:pos x="connsiteX27611" y="connsiteY27611"/>
              </a:cxn>
              <a:cxn ang="0">
                <a:pos x="connsiteX27612" y="connsiteY27612"/>
              </a:cxn>
              <a:cxn ang="0">
                <a:pos x="connsiteX27613" y="connsiteY27613"/>
              </a:cxn>
              <a:cxn ang="0">
                <a:pos x="connsiteX27614" y="connsiteY27614"/>
              </a:cxn>
              <a:cxn ang="0">
                <a:pos x="connsiteX27615" y="connsiteY27615"/>
              </a:cxn>
              <a:cxn ang="0">
                <a:pos x="connsiteX27616" y="connsiteY27616"/>
              </a:cxn>
              <a:cxn ang="0">
                <a:pos x="connsiteX27617" y="connsiteY27617"/>
              </a:cxn>
              <a:cxn ang="0">
                <a:pos x="connsiteX27618" y="connsiteY27618"/>
              </a:cxn>
              <a:cxn ang="0">
                <a:pos x="connsiteX27619" y="connsiteY27619"/>
              </a:cxn>
              <a:cxn ang="0">
                <a:pos x="connsiteX27620" y="connsiteY27620"/>
              </a:cxn>
              <a:cxn ang="0">
                <a:pos x="connsiteX27621" y="connsiteY27621"/>
              </a:cxn>
              <a:cxn ang="0">
                <a:pos x="connsiteX27622" y="connsiteY27622"/>
              </a:cxn>
              <a:cxn ang="0">
                <a:pos x="connsiteX27623" y="connsiteY27623"/>
              </a:cxn>
              <a:cxn ang="0">
                <a:pos x="connsiteX27624" y="connsiteY27624"/>
              </a:cxn>
              <a:cxn ang="0">
                <a:pos x="connsiteX27625" y="connsiteY27625"/>
              </a:cxn>
              <a:cxn ang="0">
                <a:pos x="connsiteX27626" y="connsiteY27626"/>
              </a:cxn>
              <a:cxn ang="0">
                <a:pos x="connsiteX27627" y="connsiteY27627"/>
              </a:cxn>
              <a:cxn ang="0">
                <a:pos x="connsiteX27628" y="connsiteY27628"/>
              </a:cxn>
              <a:cxn ang="0">
                <a:pos x="connsiteX27629" y="connsiteY27629"/>
              </a:cxn>
              <a:cxn ang="0">
                <a:pos x="connsiteX27630" y="connsiteY27630"/>
              </a:cxn>
              <a:cxn ang="0">
                <a:pos x="connsiteX27631" y="connsiteY27631"/>
              </a:cxn>
              <a:cxn ang="0">
                <a:pos x="connsiteX27632" y="connsiteY27632"/>
              </a:cxn>
              <a:cxn ang="0">
                <a:pos x="connsiteX27633" y="connsiteY27633"/>
              </a:cxn>
              <a:cxn ang="0">
                <a:pos x="connsiteX27634" y="connsiteY27634"/>
              </a:cxn>
              <a:cxn ang="0">
                <a:pos x="connsiteX27635" y="connsiteY27635"/>
              </a:cxn>
              <a:cxn ang="0">
                <a:pos x="connsiteX27636" y="connsiteY27636"/>
              </a:cxn>
              <a:cxn ang="0">
                <a:pos x="connsiteX27637" y="connsiteY27637"/>
              </a:cxn>
              <a:cxn ang="0">
                <a:pos x="connsiteX27638" y="connsiteY27638"/>
              </a:cxn>
              <a:cxn ang="0">
                <a:pos x="connsiteX27639" y="connsiteY27639"/>
              </a:cxn>
              <a:cxn ang="0">
                <a:pos x="connsiteX27640" y="connsiteY27640"/>
              </a:cxn>
              <a:cxn ang="0">
                <a:pos x="connsiteX27641" y="connsiteY27641"/>
              </a:cxn>
              <a:cxn ang="0">
                <a:pos x="connsiteX27642" y="connsiteY27642"/>
              </a:cxn>
              <a:cxn ang="0">
                <a:pos x="connsiteX27643" y="connsiteY27643"/>
              </a:cxn>
              <a:cxn ang="0">
                <a:pos x="connsiteX27644" y="connsiteY27644"/>
              </a:cxn>
              <a:cxn ang="0">
                <a:pos x="connsiteX27645" y="connsiteY27645"/>
              </a:cxn>
              <a:cxn ang="0">
                <a:pos x="connsiteX27646" y="connsiteY27646"/>
              </a:cxn>
              <a:cxn ang="0">
                <a:pos x="connsiteX27647" y="connsiteY27647"/>
              </a:cxn>
              <a:cxn ang="0">
                <a:pos x="connsiteX27648" y="connsiteY27648"/>
              </a:cxn>
              <a:cxn ang="0">
                <a:pos x="connsiteX27649" y="connsiteY27649"/>
              </a:cxn>
              <a:cxn ang="0">
                <a:pos x="connsiteX27650" y="connsiteY27650"/>
              </a:cxn>
              <a:cxn ang="0">
                <a:pos x="connsiteX27651" y="connsiteY27651"/>
              </a:cxn>
              <a:cxn ang="0">
                <a:pos x="connsiteX27652" y="connsiteY27652"/>
              </a:cxn>
              <a:cxn ang="0">
                <a:pos x="connsiteX27653" y="connsiteY27653"/>
              </a:cxn>
              <a:cxn ang="0">
                <a:pos x="connsiteX27654" y="connsiteY27654"/>
              </a:cxn>
              <a:cxn ang="0">
                <a:pos x="connsiteX27655" y="connsiteY27655"/>
              </a:cxn>
              <a:cxn ang="0">
                <a:pos x="connsiteX27656" y="connsiteY27656"/>
              </a:cxn>
              <a:cxn ang="0">
                <a:pos x="connsiteX27657" y="connsiteY27657"/>
              </a:cxn>
              <a:cxn ang="0">
                <a:pos x="connsiteX27658" y="connsiteY27658"/>
              </a:cxn>
              <a:cxn ang="0">
                <a:pos x="connsiteX27659" y="connsiteY27659"/>
              </a:cxn>
              <a:cxn ang="0">
                <a:pos x="connsiteX27660" y="connsiteY27660"/>
              </a:cxn>
              <a:cxn ang="0">
                <a:pos x="connsiteX27661" y="connsiteY27661"/>
              </a:cxn>
              <a:cxn ang="0">
                <a:pos x="connsiteX27662" y="connsiteY27662"/>
              </a:cxn>
              <a:cxn ang="0">
                <a:pos x="connsiteX27663" y="connsiteY27663"/>
              </a:cxn>
              <a:cxn ang="0">
                <a:pos x="connsiteX27664" y="connsiteY27664"/>
              </a:cxn>
              <a:cxn ang="0">
                <a:pos x="connsiteX27665" y="connsiteY27665"/>
              </a:cxn>
              <a:cxn ang="0">
                <a:pos x="connsiteX27666" y="connsiteY27666"/>
              </a:cxn>
              <a:cxn ang="0">
                <a:pos x="connsiteX27667" y="connsiteY27667"/>
              </a:cxn>
              <a:cxn ang="0">
                <a:pos x="connsiteX27668" y="connsiteY27668"/>
              </a:cxn>
              <a:cxn ang="0">
                <a:pos x="connsiteX27669" y="connsiteY27669"/>
              </a:cxn>
              <a:cxn ang="0">
                <a:pos x="connsiteX27670" y="connsiteY27670"/>
              </a:cxn>
              <a:cxn ang="0">
                <a:pos x="connsiteX27671" y="connsiteY27671"/>
              </a:cxn>
              <a:cxn ang="0">
                <a:pos x="connsiteX27672" y="connsiteY27672"/>
              </a:cxn>
              <a:cxn ang="0">
                <a:pos x="connsiteX27673" y="connsiteY27673"/>
              </a:cxn>
              <a:cxn ang="0">
                <a:pos x="connsiteX27674" y="connsiteY27674"/>
              </a:cxn>
              <a:cxn ang="0">
                <a:pos x="connsiteX27675" y="connsiteY27675"/>
              </a:cxn>
              <a:cxn ang="0">
                <a:pos x="connsiteX27676" y="connsiteY27676"/>
              </a:cxn>
              <a:cxn ang="0">
                <a:pos x="connsiteX27677" y="connsiteY27677"/>
              </a:cxn>
              <a:cxn ang="0">
                <a:pos x="connsiteX27678" y="connsiteY27678"/>
              </a:cxn>
              <a:cxn ang="0">
                <a:pos x="connsiteX27679" y="connsiteY27679"/>
              </a:cxn>
              <a:cxn ang="0">
                <a:pos x="connsiteX27680" y="connsiteY27680"/>
              </a:cxn>
              <a:cxn ang="0">
                <a:pos x="connsiteX27681" y="connsiteY27681"/>
              </a:cxn>
              <a:cxn ang="0">
                <a:pos x="connsiteX27682" y="connsiteY27682"/>
              </a:cxn>
              <a:cxn ang="0">
                <a:pos x="connsiteX27683" y="connsiteY27683"/>
              </a:cxn>
              <a:cxn ang="0">
                <a:pos x="connsiteX27684" y="connsiteY27684"/>
              </a:cxn>
              <a:cxn ang="0">
                <a:pos x="connsiteX27685" y="connsiteY27685"/>
              </a:cxn>
              <a:cxn ang="0">
                <a:pos x="connsiteX27686" y="connsiteY27686"/>
              </a:cxn>
              <a:cxn ang="0">
                <a:pos x="connsiteX27687" y="connsiteY27687"/>
              </a:cxn>
              <a:cxn ang="0">
                <a:pos x="connsiteX27688" y="connsiteY27688"/>
              </a:cxn>
              <a:cxn ang="0">
                <a:pos x="connsiteX27689" y="connsiteY27689"/>
              </a:cxn>
              <a:cxn ang="0">
                <a:pos x="connsiteX27690" y="connsiteY27690"/>
              </a:cxn>
              <a:cxn ang="0">
                <a:pos x="connsiteX27691" y="connsiteY27691"/>
              </a:cxn>
              <a:cxn ang="0">
                <a:pos x="connsiteX27692" y="connsiteY27692"/>
              </a:cxn>
              <a:cxn ang="0">
                <a:pos x="connsiteX27693" y="connsiteY27693"/>
              </a:cxn>
              <a:cxn ang="0">
                <a:pos x="connsiteX27694" y="connsiteY27694"/>
              </a:cxn>
              <a:cxn ang="0">
                <a:pos x="connsiteX27695" y="connsiteY27695"/>
              </a:cxn>
              <a:cxn ang="0">
                <a:pos x="connsiteX27696" y="connsiteY27696"/>
              </a:cxn>
              <a:cxn ang="0">
                <a:pos x="connsiteX27697" y="connsiteY27697"/>
              </a:cxn>
              <a:cxn ang="0">
                <a:pos x="connsiteX27698" y="connsiteY27698"/>
              </a:cxn>
              <a:cxn ang="0">
                <a:pos x="connsiteX27699" y="connsiteY27699"/>
              </a:cxn>
              <a:cxn ang="0">
                <a:pos x="connsiteX27700" y="connsiteY27700"/>
              </a:cxn>
              <a:cxn ang="0">
                <a:pos x="connsiteX27701" y="connsiteY27701"/>
              </a:cxn>
              <a:cxn ang="0">
                <a:pos x="connsiteX27702" y="connsiteY27702"/>
              </a:cxn>
              <a:cxn ang="0">
                <a:pos x="connsiteX27703" y="connsiteY27703"/>
              </a:cxn>
              <a:cxn ang="0">
                <a:pos x="connsiteX27704" y="connsiteY27704"/>
              </a:cxn>
              <a:cxn ang="0">
                <a:pos x="connsiteX27705" y="connsiteY27705"/>
              </a:cxn>
              <a:cxn ang="0">
                <a:pos x="connsiteX27706" y="connsiteY27706"/>
              </a:cxn>
              <a:cxn ang="0">
                <a:pos x="connsiteX27707" y="connsiteY27707"/>
              </a:cxn>
              <a:cxn ang="0">
                <a:pos x="connsiteX27708" y="connsiteY27708"/>
              </a:cxn>
              <a:cxn ang="0">
                <a:pos x="connsiteX27709" y="connsiteY27709"/>
              </a:cxn>
              <a:cxn ang="0">
                <a:pos x="connsiteX27710" y="connsiteY27710"/>
              </a:cxn>
              <a:cxn ang="0">
                <a:pos x="connsiteX27711" y="connsiteY27711"/>
              </a:cxn>
              <a:cxn ang="0">
                <a:pos x="connsiteX27712" y="connsiteY27712"/>
              </a:cxn>
              <a:cxn ang="0">
                <a:pos x="connsiteX27713" y="connsiteY27713"/>
              </a:cxn>
              <a:cxn ang="0">
                <a:pos x="connsiteX27714" y="connsiteY27714"/>
              </a:cxn>
              <a:cxn ang="0">
                <a:pos x="connsiteX27715" y="connsiteY27715"/>
              </a:cxn>
              <a:cxn ang="0">
                <a:pos x="connsiteX27716" y="connsiteY27716"/>
              </a:cxn>
              <a:cxn ang="0">
                <a:pos x="connsiteX27717" y="connsiteY27717"/>
              </a:cxn>
              <a:cxn ang="0">
                <a:pos x="connsiteX27718" y="connsiteY27718"/>
              </a:cxn>
              <a:cxn ang="0">
                <a:pos x="connsiteX27719" y="connsiteY27719"/>
              </a:cxn>
              <a:cxn ang="0">
                <a:pos x="connsiteX27720" y="connsiteY27720"/>
              </a:cxn>
              <a:cxn ang="0">
                <a:pos x="connsiteX27721" y="connsiteY27721"/>
              </a:cxn>
              <a:cxn ang="0">
                <a:pos x="connsiteX27722" y="connsiteY27722"/>
              </a:cxn>
              <a:cxn ang="0">
                <a:pos x="connsiteX27723" y="connsiteY27723"/>
              </a:cxn>
              <a:cxn ang="0">
                <a:pos x="connsiteX27724" y="connsiteY27724"/>
              </a:cxn>
              <a:cxn ang="0">
                <a:pos x="connsiteX27725" y="connsiteY27725"/>
              </a:cxn>
              <a:cxn ang="0">
                <a:pos x="connsiteX27726" y="connsiteY27726"/>
              </a:cxn>
              <a:cxn ang="0">
                <a:pos x="connsiteX27727" y="connsiteY27727"/>
              </a:cxn>
              <a:cxn ang="0">
                <a:pos x="connsiteX27728" y="connsiteY27728"/>
              </a:cxn>
              <a:cxn ang="0">
                <a:pos x="connsiteX27729" y="connsiteY27729"/>
              </a:cxn>
              <a:cxn ang="0">
                <a:pos x="connsiteX27730" y="connsiteY27730"/>
              </a:cxn>
              <a:cxn ang="0">
                <a:pos x="connsiteX27731" y="connsiteY27731"/>
              </a:cxn>
              <a:cxn ang="0">
                <a:pos x="connsiteX27732" y="connsiteY27732"/>
              </a:cxn>
              <a:cxn ang="0">
                <a:pos x="connsiteX27733" y="connsiteY27733"/>
              </a:cxn>
              <a:cxn ang="0">
                <a:pos x="connsiteX27734" y="connsiteY27734"/>
              </a:cxn>
              <a:cxn ang="0">
                <a:pos x="connsiteX27735" y="connsiteY27735"/>
              </a:cxn>
              <a:cxn ang="0">
                <a:pos x="connsiteX27736" y="connsiteY27736"/>
              </a:cxn>
              <a:cxn ang="0">
                <a:pos x="connsiteX27737" y="connsiteY27737"/>
              </a:cxn>
              <a:cxn ang="0">
                <a:pos x="connsiteX27738" y="connsiteY27738"/>
              </a:cxn>
              <a:cxn ang="0">
                <a:pos x="connsiteX27739" y="connsiteY27739"/>
              </a:cxn>
              <a:cxn ang="0">
                <a:pos x="connsiteX27740" y="connsiteY27740"/>
              </a:cxn>
              <a:cxn ang="0">
                <a:pos x="connsiteX27741" y="connsiteY27741"/>
              </a:cxn>
              <a:cxn ang="0">
                <a:pos x="connsiteX27742" y="connsiteY27742"/>
              </a:cxn>
              <a:cxn ang="0">
                <a:pos x="connsiteX27743" y="connsiteY27743"/>
              </a:cxn>
              <a:cxn ang="0">
                <a:pos x="connsiteX27744" y="connsiteY27744"/>
              </a:cxn>
              <a:cxn ang="0">
                <a:pos x="connsiteX27745" y="connsiteY27745"/>
              </a:cxn>
              <a:cxn ang="0">
                <a:pos x="connsiteX27746" y="connsiteY27746"/>
              </a:cxn>
              <a:cxn ang="0">
                <a:pos x="connsiteX27747" y="connsiteY27747"/>
              </a:cxn>
              <a:cxn ang="0">
                <a:pos x="connsiteX27748" y="connsiteY27748"/>
              </a:cxn>
              <a:cxn ang="0">
                <a:pos x="connsiteX27749" y="connsiteY27749"/>
              </a:cxn>
              <a:cxn ang="0">
                <a:pos x="connsiteX27750" y="connsiteY27750"/>
              </a:cxn>
              <a:cxn ang="0">
                <a:pos x="connsiteX27751" y="connsiteY27751"/>
              </a:cxn>
              <a:cxn ang="0">
                <a:pos x="connsiteX27752" y="connsiteY27752"/>
              </a:cxn>
              <a:cxn ang="0">
                <a:pos x="connsiteX27753" y="connsiteY27753"/>
              </a:cxn>
              <a:cxn ang="0">
                <a:pos x="connsiteX27754" y="connsiteY27754"/>
              </a:cxn>
              <a:cxn ang="0">
                <a:pos x="connsiteX27755" y="connsiteY27755"/>
              </a:cxn>
              <a:cxn ang="0">
                <a:pos x="connsiteX27756" y="connsiteY27756"/>
              </a:cxn>
              <a:cxn ang="0">
                <a:pos x="connsiteX27757" y="connsiteY27757"/>
              </a:cxn>
              <a:cxn ang="0">
                <a:pos x="connsiteX27758" y="connsiteY27758"/>
              </a:cxn>
              <a:cxn ang="0">
                <a:pos x="connsiteX27759" y="connsiteY27759"/>
              </a:cxn>
              <a:cxn ang="0">
                <a:pos x="connsiteX27760" y="connsiteY27760"/>
              </a:cxn>
              <a:cxn ang="0">
                <a:pos x="connsiteX27761" y="connsiteY27761"/>
              </a:cxn>
              <a:cxn ang="0">
                <a:pos x="connsiteX27762" y="connsiteY27762"/>
              </a:cxn>
              <a:cxn ang="0">
                <a:pos x="connsiteX27763" y="connsiteY27763"/>
              </a:cxn>
              <a:cxn ang="0">
                <a:pos x="connsiteX27764" y="connsiteY27764"/>
              </a:cxn>
              <a:cxn ang="0">
                <a:pos x="connsiteX27765" y="connsiteY27765"/>
              </a:cxn>
              <a:cxn ang="0">
                <a:pos x="connsiteX27766" y="connsiteY27766"/>
              </a:cxn>
              <a:cxn ang="0">
                <a:pos x="connsiteX27767" y="connsiteY27767"/>
              </a:cxn>
              <a:cxn ang="0">
                <a:pos x="connsiteX27768" y="connsiteY27768"/>
              </a:cxn>
              <a:cxn ang="0">
                <a:pos x="connsiteX27769" y="connsiteY27769"/>
              </a:cxn>
              <a:cxn ang="0">
                <a:pos x="connsiteX27770" y="connsiteY27770"/>
              </a:cxn>
              <a:cxn ang="0">
                <a:pos x="connsiteX27771" y="connsiteY27771"/>
              </a:cxn>
              <a:cxn ang="0">
                <a:pos x="connsiteX27772" y="connsiteY27772"/>
              </a:cxn>
              <a:cxn ang="0">
                <a:pos x="connsiteX27773" y="connsiteY27773"/>
              </a:cxn>
              <a:cxn ang="0">
                <a:pos x="connsiteX27774" y="connsiteY27774"/>
              </a:cxn>
              <a:cxn ang="0">
                <a:pos x="connsiteX27775" y="connsiteY27775"/>
              </a:cxn>
              <a:cxn ang="0">
                <a:pos x="connsiteX27776" y="connsiteY27776"/>
              </a:cxn>
              <a:cxn ang="0">
                <a:pos x="connsiteX27777" y="connsiteY27777"/>
              </a:cxn>
              <a:cxn ang="0">
                <a:pos x="connsiteX27778" y="connsiteY27778"/>
              </a:cxn>
              <a:cxn ang="0">
                <a:pos x="connsiteX27779" y="connsiteY27779"/>
              </a:cxn>
              <a:cxn ang="0">
                <a:pos x="connsiteX27780" y="connsiteY27780"/>
              </a:cxn>
              <a:cxn ang="0">
                <a:pos x="connsiteX27781" y="connsiteY27781"/>
              </a:cxn>
              <a:cxn ang="0">
                <a:pos x="connsiteX27782" y="connsiteY27782"/>
              </a:cxn>
              <a:cxn ang="0">
                <a:pos x="connsiteX27783" y="connsiteY27783"/>
              </a:cxn>
              <a:cxn ang="0">
                <a:pos x="connsiteX27784" y="connsiteY27784"/>
              </a:cxn>
              <a:cxn ang="0">
                <a:pos x="connsiteX27785" y="connsiteY27785"/>
              </a:cxn>
              <a:cxn ang="0">
                <a:pos x="connsiteX27786" y="connsiteY27786"/>
              </a:cxn>
              <a:cxn ang="0">
                <a:pos x="connsiteX27787" y="connsiteY27787"/>
              </a:cxn>
              <a:cxn ang="0">
                <a:pos x="connsiteX27788" y="connsiteY27788"/>
              </a:cxn>
              <a:cxn ang="0">
                <a:pos x="connsiteX27789" y="connsiteY27789"/>
              </a:cxn>
              <a:cxn ang="0">
                <a:pos x="connsiteX27790" y="connsiteY27790"/>
              </a:cxn>
              <a:cxn ang="0">
                <a:pos x="connsiteX27791" y="connsiteY27791"/>
              </a:cxn>
              <a:cxn ang="0">
                <a:pos x="connsiteX27792" y="connsiteY27792"/>
              </a:cxn>
              <a:cxn ang="0">
                <a:pos x="connsiteX27793" y="connsiteY27793"/>
              </a:cxn>
              <a:cxn ang="0">
                <a:pos x="connsiteX27794" y="connsiteY27794"/>
              </a:cxn>
              <a:cxn ang="0">
                <a:pos x="connsiteX27795" y="connsiteY27795"/>
              </a:cxn>
              <a:cxn ang="0">
                <a:pos x="connsiteX27796" y="connsiteY27796"/>
              </a:cxn>
              <a:cxn ang="0">
                <a:pos x="connsiteX27797" y="connsiteY27797"/>
              </a:cxn>
              <a:cxn ang="0">
                <a:pos x="connsiteX27798" y="connsiteY27798"/>
              </a:cxn>
              <a:cxn ang="0">
                <a:pos x="connsiteX27799" y="connsiteY27799"/>
              </a:cxn>
              <a:cxn ang="0">
                <a:pos x="connsiteX27800" y="connsiteY27800"/>
              </a:cxn>
              <a:cxn ang="0">
                <a:pos x="connsiteX27801" y="connsiteY27801"/>
              </a:cxn>
              <a:cxn ang="0">
                <a:pos x="connsiteX27802" y="connsiteY27802"/>
              </a:cxn>
              <a:cxn ang="0">
                <a:pos x="connsiteX27803" y="connsiteY27803"/>
              </a:cxn>
              <a:cxn ang="0">
                <a:pos x="connsiteX27804" y="connsiteY27804"/>
              </a:cxn>
              <a:cxn ang="0">
                <a:pos x="connsiteX27805" y="connsiteY27805"/>
              </a:cxn>
              <a:cxn ang="0">
                <a:pos x="connsiteX27806" y="connsiteY27806"/>
              </a:cxn>
              <a:cxn ang="0">
                <a:pos x="connsiteX27807" y="connsiteY27807"/>
              </a:cxn>
              <a:cxn ang="0">
                <a:pos x="connsiteX27808" y="connsiteY27808"/>
              </a:cxn>
              <a:cxn ang="0">
                <a:pos x="connsiteX27809" y="connsiteY27809"/>
              </a:cxn>
              <a:cxn ang="0">
                <a:pos x="connsiteX27810" y="connsiteY27810"/>
              </a:cxn>
              <a:cxn ang="0">
                <a:pos x="connsiteX27811" y="connsiteY27811"/>
              </a:cxn>
              <a:cxn ang="0">
                <a:pos x="connsiteX27812" y="connsiteY27812"/>
              </a:cxn>
              <a:cxn ang="0">
                <a:pos x="connsiteX27813" y="connsiteY27813"/>
              </a:cxn>
              <a:cxn ang="0">
                <a:pos x="connsiteX27814" y="connsiteY27814"/>
              </a:cxn>
              <a:cxn ang="0">
                <a:pos x="connsiteX27815" y="connsiteY27815"/>
              </a:cxn>
              <a:cxn ang="0">
                <a:pos x="connsiteX27816" y="connsiteY27816"/>
              </a:cxn>
              <a:cxn ang="0">
                <a:pos x="connsiteX27817" y="connsiteY27817"/>
              </a:cxn>
              <a:cxn ang="0">
                <a:pos x="connsiteX27818" y="connsiteY27818"/>
              </a:cxn>
              <a:cxn ang="0">
                <a:pos x="connsiteX27819" y="connsiteY27819"/>
              </a:cxn>
              <a:cxn ang="0">
                <a:pos x="connsiteX27820" y="connsiteY27820"/>
              </a:cxn>
              <a:cxn ang="0">
                <a:pos x="connsiteX27821" y="connsiteY27821"/>
              </a:cxn>
              <a:cxn ang="0">
                <a:pos x="connsiteX27822" y="connsiteY27822"/>
              </a:cxn>
              <a:cxn ang="0">
                <a:pos x="connsiteX27823" y="connsiteY27823"/>
              </a:cxn>
              <a:cxn ang="0">
                <a:pos x="connsiteX27824" y="connsiteY27824"/>
              </a:cxn>
              <a:cxn ang="0">
                <a:pos x="connsiteX27825" y="connsiteY27825"/>
              </a:cxn>
              <a:cxn ang="0">
                <a:pos x="connsiteX27826" y="connsiteY27826"/>
              </a:cxn>
              <a:cxn ang="0">
                <a:pos x="connsiteX27827" y="connsiteY27827"/>
              </a:cxn>
              <a:cxn ang="0">
                <a:pos x="connsiteX27828" y="connsiteY27828"/>
              </a:cxn>
              <a:cxn ang="0">
                <a:pos x="connsiteX27829" y="connsiteY27829"/>
              </a:cxn>
              <a:cxn ang="0">
                <a:pos x="connsiteX27830" y="connsiteY27830"/>
              </a:cxn>
              <a:cxn ang="0">
                <a:pos x="connsiteX27831" y="connsiteY27831"/>
              </a:cxn>
              <a:cxn ang="0">
                <a:pos x="connsiteX27832" y="connsiteY27832"/>
              </a:cxn>
              <a:cxn ang="0">
                <a:pos x="connsiteX27833" y="connsiteY27833"/>
              </a:cxn>
              <a:cxn ang="0">
                <a:pos x="connsiteX27834" y="connsiteY27834"/>
              </a:cxn>
              <a:cxn ang="0">
                <a:pos x="connsiteX27835" y="connsiteY27835"/>
              </a:cxn>
              <a:cxn ang="0">
                <a:pos x="connsiteX27836" y="connsiteY27836"/>
              </a:cxn>
              <a:cxn ang="0">
                <a:pos x="connsiteX27837" y="connsiteY27837"/>
              </a:cxn>
              <a:cxn ang="0">
                <a:pos x="connsiteX27838" y="connsiteY27838"/>
              </a:cxn>
              <a:cxn ang="0">
                <a:pos x="connsiteX27839" y="connsiteY27839"/>
              </a:cxn>
              <a:cxn ang="0">
                <a:pos x="connsiteX27840" y="connsiteY27840"/>
              </a:cxn>
              <a:cxn ang="0">
                <a:pos x="connsiteX27841" y="connsiteY27841"/>
              </a:cxn>
              <a:cxn ang="0">
                <a:pos x="connsiteX27842" y="connsiteY27842"/>
              </a:cxn>
              <a:cxn ang="0">
                <a:pos x="connsiteX27843" y="connsiteY27843"/>
              </a:cxn>
              <a:cxn ang="0">
                <a:pos x="connsiteX27844" y="connsiteY27844"/>
              </a:cxn>
              <a:cxn ang="0">
                <a:pos x="connsiteX27845" y="connsiteY27845"/>
              </a:cxn>
              <a:cxn ang="0">
                <a:pos x="connsiteX27846" y="connsiteY27846"/>
              </a:cxn>
              <a:cxn ang="0">
                <a:pos x="connsiteX27847" y="connsiteY27847"/>
              </a:cxn>
              <a:cxn ang="0">
                <a:pos x="connsiteX27848" y="connsiteY27848"/>
              </a:cxn>
              <a:cxn ang="0">
                <a:pos x="connsiteX27849" y="connsiteY27849"/>
              </a:cxn>
              <a:cxn ang="0">
                <a:pos x="connsiteX27850" y="connsiteY27850"/>
              </a:cxn>
              <a:cxn ang="0">
                <a:pos x="connsiteX27851" y="connsiteY27851"/>
              </a:cxn>
              <a:cxn ang="0">
                <a:pos x="connsiteX27852" y="connsiteY27852"/>
              </a:cxn>
              <a:cxn ang="0">
                <a:pos x="connsiteX27853" y="connsiteY27853"/>
              </a:cxn>
              <a:cxn ang="0">
                <a:pos x="connsiteX27854" y="connsiteY27854"/>
              </a:cxn>
              <a:cxn ang="0">
                <a:pos x="connsiteX27855" y="connsiteY27855"/>
              </a:cxn>
              <a:cxn ang="0">
                <a:pos x="connsiteX27856" y="connsiteY27856"/>
              </a:cxn>
              <a:cxn ang="0">
                <a:pos x="connsiteX27857" y="connsiteY27857"/>
              </a:cxn>
              <a:cxn ang="0">
                <a:pos x="connsiteX27858" y="connsiteY27858"/>
              </a:cxn>
              <a:cxn ang="0">
                <a:pos x="connsiteX27859" y="connsiteY27859"/>
              </a:cxn>
              <a:cxn ang="0">
                <a:pos x="connsiteX27860" y="connsiteY27860"/>
              </a:cxn>
              <a:cxn ang="0">
                <a:pos x="connsiteX27861" y="connsiteY27861"/>
              </a:cxn>
              <a:cxn ang="0">
                <a:pos x="connsiteX27862" y="connsiteY27862"/>
              </a:cxn>
              <a:cxn ang="0">
                <a:pos x="connsiteX27863" y="connsiteY27863"/>
              </a:cxn>
              <a:cxn ang="0">
                <a:pos x="connsiteX27864" y="connsiteY27864"/>
              </a:cxn>
              <a:cxn ang="0">
                <a:pos x="connsiteX27865" y="connsiteY27865"/>
              </a:cxn>
              <a:cxn ang="0">
                <a:pos x="connsiteX27866" y="connsiteY27866"/>
              </a:cxn>
              <a:cxn ang="0">
                <a:pos x="connsiteX27867" y="connsiteY27867"/>
              </a:cxn>
              <a:cxn ang="0">
                <a:pos x="connsiteX27868" y="connsiteY27868"/>
              </a:cxn>
              <a:cxn ang="0">
                <a:pos x="connsiteX27869" y="connsiteY27869"/>
              </a:cxn>
              <a:cxn ang="0">
                <a:pos x="connsiteX27870" y="connsiteY27870"/>
              </a:cxn>
              <a:cxn ang="0">
                <a:pos x="connsiteX27871" y="connsiteY27871"/>
              </a:cxn>
              <a:cxn ang="0">
                <a:pos x="connsiteX27872" y="connsiteY27872"/>
              </a:cxn>
              <a:cxn ang="0">
                <a:pos x="connsiteX27873" y="connsiteY27873"/>
              </a:cxn>
              <a:cxn ang="0">
                <a:pos x="connsiteX27874" y="connsiteY27874"/>
              </a:cxn>
              <a:cxn ang="0">
                <a:pos x="connsiteX27875" y="connsiteY27875"/>
              </a:cxn>
              <a:cxn ang="0">
                <a:pos x="connsiteX27876" y="connsiteY27876"/>
              </a:cxn>
              <a:cxn ang="0">
                <a:pos x="connsiteX27877" y="connsiteY27877"/>
              </a:cxn>
              <a:cxn ang="0">
                <a:pos x="connsiteX27878" y="connsiteY27878"/>
              </a:cxn>
              <a:cxn ang="0">
                <a:pos x="connsiteX27879" y="connsiteY27879"/>
              </a:cxn>
              <a:cxn ang="0">
                <a:pos x="connsiteX27880" y="connsiteY27880"/>
              </a:cxn>
              <a:cxn ang="0">
                <a:pos x="connsiteX27881" y="connsiteY27881"/>
              </a:cxn>
              <a:cxn ang="0">
                <a:pos x="connsiteX27882" y="connsiteY27882"/>
              </a:cxn>
              <a:cxn ang="0">
                <a:pos x="connsiteX27883" y="connsiteY27883"/>
              </a:cxn>
              <a:cxn ang="0">
                <a:pos x="connsiteX27884" y="connsiteY27884"/>
              </a:cxn>
              <a:cxn ang="0">
                <a:pos x="connsiteX27885" y="connsiteY27885"/>
              </a:cxn>
              <a:cxn ang="0">
                <a:pos x="connsiteX27886" y="connsiteY27886"/>
              </a:cxn>
              <a:cxn ang="0">
                <a:pos x="connsiteX27887" y="connsiteY27887"/>
              </a:cxn>
              <a:cxn ang="0">
                <a:pos x="connsiteX27888" y="connsiteY27888"/>
              </a:cxn>
              <a:cxn ang="0">
                <a:pos x="connsiteX27889" y="connsiteY27889"/>
              </a:cxn>
              <a:cxn ang="0">
                <a:pos x="connsiteX27890" y="connsiteY27890"/>
              </a:cxn>
              <a:cxn ang="0">
                <a:pos x="connsiteX27891" y="connsiteY27891"/>
              </a:cxn>
              <a:cxn ang="0">
                <a:pos x="connsiteX27892" y="connsiteY27892"/>
              </a:cxn>
              <a:cxn ang="0">
                <a:pos x="connsiteX27893" y="connsiteY27893"/>
              </a:cxn>
              <a:cxn ang="0">
                <a:pos x="connsiteX27894" y="connsiteY27894"/>
              </a:cxn>
              <a:cxn ang="0">
                <a:pos x="connsiteX27895" y="connsiteY27895"/>
              </a:cxn>
              <a:cxn ang="0">
                <a:pos x="connsiteX27896" y="connsiteY27896"/>
              </a:cxn>
              <a:cxn ang="0">
                <a:pos x="connsiteX27897" y="connsiteY27897"/>
              </a:cxn>
              <a:cxn ang="0">
                <a:pos x="connsiteX27898" y="connsiteY27898"/>
              </a:cxn>
              <a:cxn ang="0">
                <a:pos x="connsiteX27899" y="connsiteY27899"/>
              </a:cxn>
              <a:cxn ang="0">
                <a:pos x="connsiteX27900" y="connsiteY27900"/>
              </a:cxn>
              <a:cxn ang="0">
                <a:pos x="connsiteX27901" y="connsiteY27901"/>
              </a:cxn>
              <a:cxn ang="0">
                <a:pos x="connsiteX27902" y="connsiteY27902"/>
              </a:cxn>
              <a:cxn ang="0">
                <a:pos x="connsiteX27903" y="connsiteY27903"/>
              </a:cxn>
              <a:cxn ang="0">
                <a:pos x="connsiteX27904" y="connsiteY27904"/>
              </a:cxn>
              <a:cxn ang="0">
                <a:pos x="connsiteX27905" y="connsiteY27905"/>
              </a:cxn>
              <a:cxn ang="0">
                <a:pos x="connsiteX27906" y="connsiteY27906"/>
              </a:cxn>
              <a:cxn ang="0">
                <a:pos x="connsiteX27907" y="connsiteY27907"/>
              </a:cxn>
              <a:cxn ang="0">
                <a:pos x="connsiteX27908" y="connsiteY27908"/>
              </a:cxn>
              <a:cxn ang="0">
                <a:pos x="connsiteX27909" y="connsiteY27909"/>
              </a:cxn>
              <a:cxn ang="0">
                <a:pos x="connsiteX27910" y="connsiteY27910"/>
              </a:cxn>
              <a:cxn ang="0">
                <a:pos x="connsiteX27911" y="connsiteY27911"/>
              </a:cxn>
              <a:cxn ang="0">
                <a:pos x="connsiteX27912" y="connsiteY27912"/>
              </a:cxn>
              <a:cxn ang="0">
                <a:pos x="connsiteX27913" y="connsiteY27913"/>
              </a:cxn>
              <a:cxn ang="0">
                <a:pos x="connsiteX27914" y="connsiteY27914"/>
              </a:cxn>
              <a:cxn ang="0">
                <a:pos x="connsiteX27915" y="connsiteY27915"/>
              </a:cxn>
              <a:cxn ang="0">
                <a:pos x="connsiteX27916" y="connsiteY27916"/>
              </a:cxn>
              <a:cxn ang="0">
                <a:pos x="connsiteX27917" y="connsiteY27917"/>
              </a:cxn>
              <a:cxn ang="0">
                <a:pos x="connsiteX27918" y="connsiteY27918"/>
              </a:cxn>
              <a:cxn ang="0">
                <a:pos x="connsiteX27919" y="connsiteY27919"/>
              </a:cxn>
              <a:cxn ang="0">
                <a:pos x="connsiteX27920" y="connsiteY27920"/>
              </a:cxn>
              <a:cxn ang="0">
                <a:pos x="connsiteX27921" y="connsiteY27921"/>
              </a:cxn>
              <a:cxn ang="0">
                <a:pos x="connsiteX27922" y="connsiteY27922"/>
              </a:cxn>
              <a:cxn ang="0">
                <a:pos x="connsiteX27923" y="connsiteY27923"/>
              </a:cxn>
              <a:cxn ang="0">
                <a:pos x="connsiteX27924" y="connsiteY27924"/>
              </a:cxn>
              <a:cxn ang="0">
                <a:pos x="connsiteX27925" y="connsiteY27925"/>
              </a:cxn>
              <a:cxn ang="0">
                <a:pos x="connsiteX27926" y="connsiteY27926"/>
              </a:cxn>
              <a:cxn ang="0">
                <a:pos x="connsiteX27927" y="connsiteY27927"/>
              </a:cxn>
              <a:cxn ang="0">
                <a:pos x="connsiteX27928" y="connsiteY27928"/>
              </a:cxn>
              <a:cxn ang="0">
                <a:pos x="connsiteX27929" y="connsiteY27929"/>
              </a:cxn>
              <a:cxn ang="0">
                <a:pos x="connsiteX27930" y="connsiteY27930"/>
              </a:cxn>
              <a:cxn ang="0">
                <a:pos x="connsiteX27931" y="connsiteY27931"/>
              </a:cxn>
              <a:cxn ang="0">
                <a:pos x="connsiteX27932" y="connsiteY27932"/>
              </a:cxn>
              <a:cxn ang="0">
                <a:pos x="connsiteX27933" y="connsiteY27933"/>
              </a:cxn>
              <a:cxn ang="0">
                <a:pos x="connsiteX27934" y="connsiteY27934"/>
              </a:cxn>
              <a:cxn ang="0">
                <a:pos x="connsiteX27935" y="connsiteY27935"/>
              </a:cxn>
              <a:cxn ang="0">
                <a:pos x="connsiteX27936" y="connsiteY27936"/>
              </a:cxn>
              <a:cxn ang="0">
                <a:pos x="connsiteX27937" y="connsiteY27937"/>
              </a:cxn>
              <a:cxn ang="0">
                <a:pos x="connsiteX27938" y="connsiteY27938"/>
              </a:cxn>
              <a:cxn ang="0">
                <a:pos x="connsiteX27939" y="connsiteY27939"/>
              </a:cxn>
              <a:cxn ang="0">
                <a:pos x="connsiteX27940" y="connsiteY27940"/>
              </a:cxn>
              <a:cxn ang="0">
                <a:pos x="connsiteX27941" y="connsiteY27941"/>
              </a:cxn>
              <a:cxn ang="0">
                <a:pos x="connsiteX27942" y="connsiteY27942"/>
              </a:cxn>
              <a:cxn ang="0">
                <a:pos x="connsiteX27943" y="connsiteY27943"/>
              </a:cxn>
              <a:cxn ang="0">
                <a:pos x="connsiteX27944" y="connsiteY27944"/>
              </a:cxn>
              <a:cxn ang="0">
                <a:pos x="connsiteX27945" y="connsiteY27945"/>
              </a:cxn>
              <a:cxn ang="0">
                <a:pos x="connsiteX27946" y="connsiteY27946"/>
              </a:cxn>
              <a:cxn ang="0">
                <a:pos x="connsiteX27947" y="connsiteY27947"/>
              </a:cxn>
              <a:cxn ang="0">
                <a:pos x="connsiteX27948" y="connsiteY27948"/>
              </a:cxn>
              <a:cxn ang="0">
                <a:pos x="connsiteX27949" y="connsiteY27949"/>
              </a:cxn>
              <a:cxn ang="0">
                <a:pos x="connsiteX27950" y="connsiteY27950"/>
              </a:cxn>
              <a:cxn ang="0">
                <a:pos x="connsiteX27951" y="connsiteY27951"/>
              </a:cxn>
              <a:cxn ang="0">
                <a:pos x="connsiteX27952" y="connsiteY27952"/>
              </a:cxn>
              <a:cxn ang="0">
                <a:pos x="connsiteX27953" y="connsiteY27953"/>
              </a:cxn>
              <a:cxn ang="0">
                <a:pos x="connsiteX27954" y="connsiteY27954"/>
              </a:cxn>
              <a:cxn ang="0">
                <a:pos x="connsiteX27955" y="connsiteY27955"/>
              </a:cxn>
              <a:cxn ang="0">
                <a:pos x="connsiteX27956" y="connsiteY27956"/>
              </a:cxn>
              <a:cxn ang="0">
                <a:pos x="connsiteX27957" y="connsiteY27957"/>
              </a:cxn>
              <a:cxn ang="0">
                <a:pos x="connsiteX27958" y="connsiteY27958"/>
              </a:cxn>
              <a:cxn ang="0">
                <a:pos x="connsiteX27959" y="connsiteY27959"/>
              </a:cxn>
              <a:cxn ang="0">
                <a:pos x="connsiteX27960" y="connsiteY27960"/>
              </a:cxn>
              <a:cxn ang="0">
                <a:pos x="connsiteX27961" y="connsiteY27961"/>
              </a:cxn>
              <a:cxn ang="0">
                <a:pos x="connsiteX27962" y="connsiteY27962"/>
              </a:cxn>
              <a:cxn ang="0">
                <a:pos x="connsiteX27963" y="connsiteY27963"/>
              </a:cxn>
              <a:cxn ang="0">
                <a:pos x="connsiteX27964" y="connsiteY27964"/>
              </a:cxn>
              <a:cxn ang="0">
                <a:pos x="connsiteX27965" y="connsiteY27965"/>
              </a:cxn>
              <a:cxn ang="0">
                <a:pos x="connsiteX27966" y="connsiteY27966"/>
              </a:cxn>
              <a:cxn ang="0">
                <a:pos x="connsiteX27967" y="connsiteY27967"/>
              </a:cxn>
              <a:cxn ang="0">
                <a:pos x="connsiteX27968" y="connsiteY27968"/>
              </a:cxn>
              <a:cxn ang="0">
                <a:pos x="connsiteX27969" y="connsiteY27969"/>
              </a:cxn>
              <a:cxn ang="0">
                <a:pos x="connsiteX27970" y="connsiteY27970"/>
              </a:cxn>
              <a:cxn ang="0">
                <a:pos x="connsiteX27971" y="connsiteY27971"/>
              </a:cxn>
              <a:cxn ang="0">
                <a:pos x="connsiteX27972" y="connsiteY27972"/>
              </a:cxn>
              <a:cxn ang="0">
                <a:pos x="connsiteX27973" y="connsiteY27973"/>
              </a:cxn>
              <a:cxn ang="0">
                <a:pos x="connsiteX27974" y="connsiteY27974"/>
              </a:cxn>
              <a:cxn ang="0">
                <a:pos x="connsiteX27975" y="connsiteY27975"/>
              </a:cxn>
              <a:cxn ang="0">
                <a:pos x="connsiteX27976" y="connsiteY27976"/>
              </a:cxn>
              <a:cxn ang="0">
                <a:pos x="connsiteX27977" y="connsiteY27977"/>
              </a:cxn>
              <a:cxn ang="0">
                <a:pos x="connsiteX27978" y="connsiteY27978"/>
              </a:cxn>
              <a:cxn ang="0">
                <a:pos x="connsiteX27979" y="connsiteY27979"/>
              </a:cxn>
              <a:cxn ang="0">
                <a:pos x="connsiteX27980" y="connsiteY27980"/>
              </a:cxn>
              <a:cxn ang="0">
                <a:pos x="connsiteX27981" y="connsiteY27981"/>
              </a:cxn>
              <a:cxn ang="0">
                <a:pos x="connsiteX27982" y="connsiteY27982"/>
              </a:cxn>
              <a:cxn ang="0">
                <a:pos x="connsiteX27983" y="connsiteY27983"/>
              </a:cxn>
              <a:cxn ang="0">
                <a:pos x="connsiteX27984" y="connsiteY27984"/>
              </a:cxn>
              <a:cxn ang="0">
                <a:pos x="connsiteX27985" y="connsiteY27985"/>
              </a:cxn>
              <a:cxn ang="0">
                <a:pos x="connsiteX27986" y="connsiteY27986"/>
              </a:cxn>
              <a:cxn ang="0">
                <a:pos x="connsiteX27987" y="connsiteY27987"/>
              </a:cxn>
              <a:cxn ang="0">
                <a:pos x="connsiteX27988" y="connsiteY27988"/>
              </a:cxn>
              <a:cxn ang="0">
                <a:pos x="connsiteX27989" y="connsiteY27989"/>
              </a:cxn>
              <a:cxn ang="0">
                <a:pos x="connsiteX27990" y="connsiteY27990"/>
              </a:cxn>
              <a:cxn ang="0">
                <a:pos x="connsiteX27991" y="connsiteY27991"/>
              </a:cxn>
              <a:cxn ang="0">
                <a:pos x="connsiteX27992" y="connsiteY27992"/>
              </a:cxn>
              <a:cxn ang="0">
                <a:pos x="connsiteX27993" y="connsiteY27993"/>
              </a:cxn>
              <a:cxn ang="0">
                <a:pos x="connsiteX27994" y="connsiteY27994"/>
              </a:cxn>
              <a:cxn ang="0">
                <a:pos x="connsiteX27995" y="connsiteY27995"/>
              </a:cxn>
              <a:cxn ang="0">
                <a:pos x="connsiteX27996" y="connsiteY27996"/>
              </a:cxn>
              <a:cxn ang="0">
                <a:pos x="connsiteX27997" y="connsiteY27997"/>
              </a:cxn>
              <a:cxn ang="0">
                <a:pos x="connsiteX27998" y="connsiteY27998"/>
              </a:cxn>
              <a:cxn ang="0">
                <a:pos x="connsiteX27999" y="connsiteY27999"/>
              </a:cxn>
              <a:cxn ang="0">
                <a:pos x="connsiteX28000" y="connsiteY28000"/>
              </a:cxn>
              <a:cxn ang="0">
                <a:pos x="connsiteX28001" y="connsiteY28001"/>
              </a:cxn>
              <a:cxn ang="0">
                <a:pos x="connsiteX28002" y="connsiteY28002"/>
              </a:cxn>
              <a:cxn ang="0">
                <a:pos x="connsiteX28003" y="connsiteY28003"/>
              </a:cxn>
              <a:cxn ang="0">
                <a:pos x="connsiteX28004" y="connsiteY28004"/>
              </a:cxn>
              <a:cxn ang="0">
                <a:pos x="connsiteX28005" y="connsiteY28005"/>
              </a:cxn>
              <a:cxn ang="0">
                <a:pos x="connsiteX28006" y="connsiteY28006"/>
              </a:cxn>
              <a:cxn ang="0">
                <a:pos x="connsiteX28007" y="connsiteY28007"/>
              </a:cxn>
              <a:cxn ang="0">
                <a:pos x="connsiteX28008" y="connsiteY28008"/>
              </a:cxn>
              <a:cxn ang="0">
                <a:pos x="connsiteX28009" y="connsiteY28009"/>
              </a:cxn>
              <a:cxn ang="0">
                <a:pos x="connsiteX28010" y="connsiteY28010"/>
              </a:cxn>
              <a:cxn ang="0">
                <a:pos x="connsiteX28011" y="connsiteY28011"/>
              </a:cxn>
              <a:cxn ang="0">
                <a:pos x="connsiteX28012" y="connsiteY28012"/>
              </a:cxn>
              <a:cxn ang="0">
                <a:pos x="connsiteX28013" y="connsiteY28013"/>
              </a:cxn>
              <a:cxn ang="0">
                <a:pos x="connsiteX28014" y="connsiteY28014"/>
              </a:cxn>
              <a:cxn ang="0">
                <a:pos x="connsiteX28015" y="connsiteY28015"/>
              </a:cxn>
              <a:cxn ang="0">
                <a:pos x="connsiteX28016" y="connsiteY28016"/>
              </a:cxn>
              <a:cxn ang="0">
                <a:pos x="connsiteX28017" y="connsiteY28017"/>
              </a:cxn>
              <a:cxn ang="0">
                <a:pos x="connsiteX28018" y="connsiteY28018"/>
              </a:cxn>
              <a:cxn ang="0">
                <a:pos x="connsiteX28019" y="connsiteY28019"/>
              </a:cxn>
              <a:cxn ang="0">
                <a:pos x="connsiteX28020" y="connsiteY28020"/>
              </a:cxn>
              <a:cxn ang="0">
                <a:pos x="connsiteX28021" y="connsiteY28021"/>
              </a:cxn>
              <a:cxn ang="0">
                <a:pos x="connsiteX28022" y="connsiteY28022"/>
              </a:cxn>
              <a:cxn ang="0">
                <a:pos x="connsiteX28023" y="connsiteY28023"/>
              </a:cxn>
              <a:cxn ang="0">
                <a:pos x="connsiteX28024" y="connsiteY28024"/>
              </a:cxn>
              <a:cxn ang="0">
                <a:pos x="connsiteX28025" y="connsiteY28025"/>
              </a:cxn>
              <a:cxn ang="0">
                <a:pos x="connsiteX28026" y="connsiteY28026"/>
              </a:cxn>
              <a:cxn ang="0">
                <a:pos x="connsiteX28027" y="connsiteY28027"/>
              </a:cxn>
              <a:cxn ang="0">
                <a:pos x="connsiteX28028" y="connsiteY28028"/>
              </a:cxn>
              <a:cxn ang="0">
                <a:pos x="connsiteX28029" y="connsiteY28029"/>
              </a:cxn>
              <a:cxn ang="0">
                <a:pos x="connsiteX28030" y="connsiteY28030"/>
              </a:cxn>
              <a:cxn ang="0">
                <a:pos x="connsiteX28031" y="connsiteY28031"/>
              </a:cxn>
              <a:cxn ang="0">
                <a:pos x="connsiteX28032" y="connsiteY28032"/>
              </a:cxn>
              <a:cxn ang="0">
                <a:pos x="connsiteX28033" y="connsiteY28033"/>
              </a:cxn>
              <a:cxn ang="0">
                <a:pos x="connsiteX28034" y="connsiteY28034"/>
              </a:cxn>
              <a:cxn ang="0">
                <a:pos x="connsiteX28035" y="connsiteY28035"/>
              </a:cxn>
              <a:cxn ang="0">
                <a:pos x="connsiteX28036" y="connsiteY28036"/>
              </a:cxn>
              <a:cxn ang="0">
                <a:pos x="connsiteX28037" y="connsiteY28037"/>
              </a:cxn>
              <a:cxn ang="0">
                <a:pos x="connsiteX28038" y="connsiteY28038"/>
              </a:cxn>
              <a:cxn ang="0">
                <a:pos x="connsiteX28039" y="connsiteY28039"/>
              </a:cxn>
              <a:cxn ang="0">
                <a:pos x="connsiteX28040" y="connsiteY28040"/>
              </a:cxn>
              <a:cxn ang="0">
                <a:pos x="connsiteX28041" y="connsiteY28041"/>
              </a:cxn>
              <a:cxn ang="0">
                <a:pos x="connsiteX28042" y="connsiteY28042"/>
              </a:cxn>
              <a:cxn ang="0">
                <a:pos x="connsiteX28043" y="connsiteY28043"/>
              </a:cxn>
              <a:cxn ang="0">
                <a:pos x="connsiteX28044" y="connsiteY28044"/>
              </a:cxn>
              <a:cxn ang="0">
                <a:pos x="connsiteX28045" y="connsiteY28045"/>
              </a:cxn>
              <a:cxn ang="0">
                <a:pos x="connsiteX28046" y="connsiteY28046"/>
              </a:cxn>
              <a:cxn ang="0">
                <a:pos x="connsiteX28047" y="connsiteY28047"/>
              </a:cxn>
              <a:cxn ang="0">
                <a:pos x="connsiteX28048" y="connsiteY28048"/>
              </a:cxn>
              <a:cxn ang="0">
                <a:pos x="connsiteX28049" y="connsiteY28049"/>
              </a:cxn>
              <a:cxn ang="0">
                <a:pos x="connsiteX28050" y="connsiteY28050"/>
              </a:cxn>
              <a:cxn ang="0">
                <a:pos x="connsiteX28051" y="connsiteY28051"/>
              </a:cxn>
              <a:cxn ang="0">
                <a:pos x="connsiteX28052" y="connsiteY28052"/>
              </a:cxn>
              <a:cxn ang="0">
                <a:pos x="connsiteX28053" y="connsiteY28053"/>
              </a:cxn>
              <a:cxn ang="0">
                <a:pos x="connsiteX28054" y="connsiteY28054"/>
              </a:cxn>
              <a:cxn ang="0">
                <a:pos x="connsiteX28055" y="connsiteY28055"/>
              </a:cxn>
              <a:cxn ang="0">
                <a:pos x="connsiteX28056" y="connsiteY28056"/>
              </a:cxn>
              <a:cxn ang="0">
                <a:pos x="connsiteX28057" y="connsiteY28057"/>
              </a:cxn>
              <a:cxn ang="0">
                <a:pos x="connsiteX28058" y="connsiteY28058"/>
              </a:cxn>
              <a:cxn ang="0">
                <a:pos x="connsiteX28059" y="connsiteY28059"/>
              </a:cxn>
              <a:cxn ang="0">
                <a:pos x="connsiteX28060" y="connsiteY28060"/>
              </a:cxn>
              <a:cxn ang="0">
                <a:pos x="connsiteX28061" y="connsiteY28061"/>
              </a:cxn>
              <a:cxn ang="0">
                <a:pos x="connsiteX28062" y="connsiteY28062"/>
              </a:cxn>
              <a:cxn ang="0">
                <a:pos x="connsiteX28063" y="connsiteY28063"/>
              </a:cxn>
              <a:cxn ang="0">
                <a:pos x="connsiteX28064" y="connsiteY28064"/>
              </a:cxn>
              <a:cxn ang="0">
                <a:pos x="connsiteX28065" y="connsiteY28065"/>
              </a:cxn>
              <a:cxn ang="0">
                <a:pos x="connsiteX28066" y="connsiteY28066"/>
              </a:cxn>
              <a:cxn ang="0">
                <a:pos x="connsiteX28067" y="connsiteY28067"/>
              </a:cxn>
              <a:cxn ang="0">
                <a:pos x="connsiteX28068" y="connsiteY28068"/>
              </a:cxn>
              <a:cxn ang="0">
                <a:pos x="connsiteX28069" y="connsiteY28069"/>
              </a:cxn>
              <a:cxn ang="0">
                <a:pos x="connsiteX28070" y="connsiteY28070"/>
              </a:cxn>
              <a:cxn ang="0">
                <a:pos x="connsiteX28071" y="connsiteY28071"/>
              </a:cxn>
              <a:cxn ang="0">
                <a:pos x="connsiteX28072" y="connsiteY28072"/>
              </a:cxn>
              <a:cxn ang="0">
                <a:pos x="connsiteX28073" y="connsiteY28073"/>
              </a:cxn>
              <a:cxn ang="0">
                <a:pos x="connsiteX28074" y="connsiteY28074"/>
              </a:cxn>
              <a:cxn ang="0">
                <a:pos x="connsiteX28075" y="connsiteY28075"/>
              </a:cxn>
              <a:cxn ang="0">
                <a:pos x="connsiteX28076" y="connsiteY28076"/>
              </a:cxn>
              <a:cxn ang="0">
                <a:pos x="connsiteX28077" y="connsiteY28077"/>
              </a:cxn>
              <a:cxn ang="0">
                <a:pos x="connsiteX28078" y="connsiteY28078"/>
              </a:cxn>
              <a:cxn ang="0">
                <a:pos x="connsiteX28079" y="connsiteY28079"/>
              </a:cxn>
              <a:cxn ang="0">
                <a:pos x="connsiteX28080" y="connsiteY28080"/>
              </a:cxn>
              <a:cxn ang="0">
                <a:pos x="connsiteX28081" y="connsiteY28081"/>
              </a:cxn>
              <a:cxn ang="0">
                <a:pos x="connsiteX28082" y="connsiteY28082"/>
              </a:cxn>
              <a:cxn ang="0">
                <a:pos x="connsiteX28083" y="connsiteY28083"/>
              </a:cxn>
              <a:cxn ang="0">
                <a:pos x="connsiteX28084" y="connsiteY28084"/>
              </a:cxn>
              <a:cxn ang="0">
                <a:pos x="connsiteX28085" y="connsiteY28085"/>
              </a:cxn>
              <a:cxn ang="0">
                <a:pos x="connsiteX28086" y="connsiteY28086"/>
              </a:cxn>
              <a:cxn ang="0">
                <a:pos x="connsiteX28087" y="connsiteY28087"/>
              </a:cxn>
              <a:cxn ang="0">
                <a:pos x="connsiteX28088" y="connsiteY28088"/>
              </a:cxn>
              <a:cxn ang="0">
                <a:pos x="connsiteX28089" y="connsiteY28089"/>
              </a:cxn>
              <a:cxn ang="0">
                <a:pos x="connsiteX28090" y="connsiteY28090"/>
              </a:cxn>
              <a:cxn ang="0">
                <a:pos x="connsiteX28091" y="connsiteY28091"/>
              </a:cxn>
              <a:cxn ang="0">
                <a:pos x="connsiteX28092" y="connsiteY28092"/>
              </a:cxn>
              <a:cxn ang="0">
                <a:pos x="connsiteX28093" y="connsiteY28093"/>
              </a:cxn>
              <a:cxn ang="0">
                <a:pos x="connsiteX28094" y="connsiteY28094"/>
              </a:cxn>
              <a:cxn ang="0">
                <a:pos x="connsiteX28095" y="connsiteY28095"/>
              </a:cxn>
              <a:cxn ang="0">
                <a:pos x="connsiteX28096" y="connsiteY28096"/>
              </a:cxn>
              <a:cxn ang="0">
                <a:pos x="connsiteX28097" y="connsiteY28097"/>
              </a:cxn>
              <a:cxn ang="0">
                <a:pos x="connsiteX28098" y="connsiteY28098"/>
              </a:cxn>
              <a:cxn ang="0">
                <a:pos x="connsiteX28099" y="connsiteY28099"/>
              </a:cxn>
              <a:cxn ang="0">
                <a:pos x="connsiteX28100" y="connsiteY28100"/>
              </a:cxn>
              <a:cxn ang="0">
                <a:pos x="connsiteX28101" y="connsiteY28101"/>
              </a:cxn>
              <a:cxn ang="0">
                <a:pos x="connsiteX28102" y="connsiteY28102"/>
              </a:cxn>
              <a:cxn ang="0">
                <a:pos x="connsiteX28103" y="connsiteY28103"/>
              </a:cxn>
              <a:cxn ang="0">
                <a:pos x="connsiteX28104" y="connsiteY28104"/>
              </a:cxn>
              <a:cxn ang="0">
                <a:pos x="connsiteX28105" y="connsiteY28105"/>
              </a:cxn>
              <a:cxn ang="0">
                <a:pos x="connsiteX28106" y="connsiteY28106"/>
              </a:cxn>
              <a:cxn ang="0">
                <a:pos x="connsiteX28107" y="connsiteY28107"/>
              </a:cxn>
              <a:cxn ang="0">
                <a:pos x="connsiteX28108" y="connsiteY28108"/>
              </a:cxn>
              <a:cxn ang="0">
                <a:pos x="connsiteX28109" y="connsiteY28109"/>
              </a:cxn>
              <a:cxn ang="0">
                <a:pos x="connsiteX28110" y="connsiteY28110"/>
              </a:cxn>
              <a:cxn ang="0">
                <a:pos x="connsiteX28111" y="connsiteY28111"/>
              </a:cxn>
              <a:cxn ang="0">
                <a:pos x="connsiteX28112" y="connsiteY28112"/>
              </a:cxn>
              <a:cxn ang="0">
                <a:pos x="connsiteX28113" y="connsiteY28113"/>
              </a:cxn>
              <a:cxn ang="0">
                <a:pos x="connsiteX28114" y="connsiteY28114"/>
              </a:cxn>
              <a:cxn ang="0">
                <a:pos x="connsiteX28115" y="connsiteY28115"/>
              </a:cxn>
              <a:cxn ang="0">
                <a:pos x="connsiteX28116" y="connsiteY28116"/>
              </a:cxn>
              <a:cxn ang="0">
                <a:pos x="connsiteX28117" y="connsiteY28117"/>
              </a:cxn>
              <a:cxn ang="0">
                <a:pos x="connsiteX28118" y="connsiteY28118"/>
              </a:cxn>
              <a:cxn ang="0">
                <a:pos x="connsiteX28119" y="connsiteY28119"/>
              </a:cxn>
              <a:cxn ang="0">
                <a:pos x="connsiteX28120" y="connsiteY28120"/>
              </a:cxn>
              <a:cxn ang="0">
                <a:pos x="connsiteX28121" y="connsiteY28121"/>
              </a:cxn>
              <a:cxn ang="0">
                <a:pos x="connsiteX28122" y="connsiteY28122"/>
              </a:cxn>
              <a:cxn ang="0">
                <a:pos x="connsiteX28123" y="connsiteY28123"/>
              </a:cxn>
              <a:cxn ang="0">
                <a:pos x="connsiteX28124" y="connsiteY28124"/>
              </a:cxn>
              <a:cxn ang="0">
                <a:pos x="connsiteX28125" y="connsiteY28125"/>
              </a:cxn>
              <a:cxn ang="0">
                <a:pos x="connsiteX28126" y="connsiteY28126"/>
              </a:cxn>
              <a:cxn ang="0">
                <a:pos x="connsiteX28127" y="connsiteY28127"/>
              </a:cxn>
              <a:cxn ang="0">
                <a:pos x="connsiteX28128" y="connsiteY28128"/>
              </a:cxn>
              <a:cxn ang="0">
                <a:pos x="connsiteX28129" y="connsiteY28129"/>
              </a:cxn>
              <a:cxn ang="0">
                <a:pos x="connsiteX28130" y="connsiteY28130"/>
              </a:cxn>
              <a:cxn ang="0">
                <a:pos x="connsiteX28131" y="connsiteY28131"/>
              </a:cxn>
              <a:cxn ang="0">
                <a:pos x="connsiteX28132" y="connsiteY28132"/>
              </a:cxn>
              <a:cxn ang="0">
                <a:pos x="connsiteX28133" y="connsiteY28133"/>
              </a:cxn>
              <a:cxn ang="0">
                <a:pos x="connsiteX28134" y="connsiteY28134"/>
              </a:cxn>
              <a:cxn ang="0">
                <a:pos x="connsiteX28135" y="connsiteY28135"/>
              </a:cxn>
              <a:cxn ang="0">
                <a:pos x="connsiteX28136" y="connsiteY28136"/>
              </a:cxn>
              <a:cxn ang="0">
                <a:pos x="connsiteX28137" y="connsiteY28137"/>
              </a:cxn>
              <a:cxn ang="0">
                <a:pos x="connsiteX28138" y="connsiteY28138"/>
              </a:cxn>
              <a:cxn ang="0">
                <a:pos x="connsiteX28139" y="connsiteY28139"/>
              </a:cxn>
              <a:cxn ang="0">
                <a:pos x="connsiteX28140" y="connsiteY28140"/>
              </a:cxn>
              <a:cxn ang="0">
                <a:pos x="connsiteX28141" y="connsiteY28141"/>
              </a:cxn>
              <a:cxn ang="0">
                <a:pos x="connsiteX28142" y="connsiteY28142"/>
              </a:cxn>
              <a:cxn ang="0">
                <a:pos x="connsiteX28143" y="connsiteY28143"/>
              </a:cxn>
              <a:cxn ang="0">
                <a:pos x="connsiteX28144" y="connsiteY28144"/>
              </a:cxn>
              <a:cxn ang="0">
                <a:pos x="connsiteX28145" y="connsiteY28145"/>
              </a:cxn>
              <a:cxn ang="0">
                <a:pos x="connsiteX28146" y="connsiteY28146"/>
              </a:cxn>
              <a:cxn ang="0">
                <a:pos x="connsiteX28147" y="connsiteY28147"/>
              </a:cxn>
              <a:cxn ang="0">
                <a:pos x="connsiteX28148" y="connsiteY28148"/>
              </a:cxn>
              <a:cxn ang="0">
                <a:pos x="connsiteX28149" y="connsiteY28149"/>
              </a:cxn>
              <a:cxn ang="0">
                <a:pos x="connsiteX28150" y="connsiteY28150"/>
              </a:cxn>
              <a:cxn ang="0">
                <a:pos x="connsiteX28151" y="connsiteY28151"/>
              </a:cxn>
              <a:cxn ang="0">
                <a:pos x="connsiteX28152" y="connsiteY28152"/>
              </a:cxn>
              <a:cxn ang="0">
                <a:pos x="connsiteX28153" y="connsiteY28153"/>
              </a:cxn>
              <a:cxn ang="0">
                <a:pos x="connsiteX28154" y="connsiteY28154"/>
              </a:cxn>
              <a:cxn ang="0">
                <a:pos x="connsiteX28155" y="connsiteY28155"/>
              </a:cxn>
              <a:cxn ang="0">
                <a:pos x="connsiteX28156" y="connsiteY28156"/>
              </a:cxn>
              <a:cxn ang="0">
                <a:pos x="connsiteX28157" y="connsiteY28157"/>
              </a:cxn>
              <a:cxn ang="0">
                <a:pos x="connsiteX28158" y="connsiteY28158"/>
              </a:cxn>
              <a:cxn ang="0">
                <a:pos x="connsiteX28159" y="connsiteY28159"/>
              </a:cxn>
              <a:cxn ang="0">
                <a:pos x="connsiteX28160" y="connsiteY28160"/>
              </a:cxn>
              <a:cxn ang="0">
                <a:pos x="connsiteX28161" y="connsiteY28161"/>
              </a:cxn>
              <a:cxn ang="0">
                <a:pos x="connsiteX28162" y="connsiteY28162"/>
              </a:cxn>
              <a:cxn ang="0">
                <a:pos x="connsiteX28163" y="connsiteY28163"/>
              </a:cxn>
              <a:cxn ang="0">
                <a:pos x="connsiteX28164" y="connsiteY28164"/>
              </a:cxn>
              <a:cxn ang="0">
                <a:pos x="connsiteX28165" y="connsiteY28165"/>
              </a:cxn>
              <a:cxn ang="0">
                <a:pos x="connsiteX28166" y="connsiteY28166"/>
              </a:cxn>
              <a:cxn ang="0">
                <a:pos x="connsiteX28167" y="connsiteY28167"/>
              </a:cxn>
              <a:cxn ang="0">
                <a:pos x="connsiteX28168" y="connsiteY28168"/>
              </a:cxn>
              <a:cxn ang="0">
                <a:pos x="connsiteX28169" y="connsiteY28169"/>
              </a:cxn>
              <a:cxn ang="0">
                <a:pos x="connsiteX28170" y="connsiteY28170"/>
              </a:cxn>
              <a:cxn ang="0">
                <a:pos x="connsiteX28171" y="connsiteY28171"/>
              </a:cxn>
              <a:cxn ang="0">
                <a:pos x="connsiteX28172" y="connsiteY28172"/>
              </a:cxn>
              <a:cxn ang="0">
                <a:pos x="connsiteX28173" y="connsiteY28173"/>
              </a:cxn>
              <a:cxn ang="0">
                <a:pos x="connsiteX28174" y="connsiteY28174"/>
              </a:cxn>
              <a:cxn ang="0">
                <a:pos x="connsiteX28175" y="connsiteY28175"/>
              </a:cxn>
              <a:cxn ang="0">
                <a:pos x="connsiteX28176" y="connsiteY28176"/>
              </a:cxn>
              <a:cxn ang="0">
                <a:pos x="connsiteX28177" y="connsiteY28177"/>
              </a:cxn>
              <a:cxn ang="0">
                <a:pos x="connsiteX28178" y="connsiteY28178"/>
              </a:cxn>
              <a:cxn ang="0">
                <a:pos x="connsiteX28179" y="connsiteY28179"/>
              </a:cxn>
              <a:cxn ang="0">
                <a:pos x="connsiteX28180" y="connsiteY28180"/>
              </a:cxn>
              <a:cxn ang="0">
                <a:pos x="connsiteX28181" y="connsiteY28181"/>
              </a:cxn>
              <a:cxn ang="0">
                <a:pos x="connsiteX28182" y="connsiteY28182"/>
              </a:cxn>
              <a:cxn ang="0">
                <a:pos x="connsiteX28183" y="connsiteY28183"/>
              </a:cxn>
              <a:cxn ang="0">
                <a:pos x="connsiteX28184" y="connsiteY28184"/>
              </a:cxn>
              <a:cxn ang="0">
                <a:pos x="connsiteX28185" y="connsiteY28185"/>
              </a:cxn>
              <a:cxn ang="0">
                <a:pos x="connsiteX28186" y="connsiteY28186"/>
              </a:cxn>
              <a:cxn ang="0">
                <a:pos x="connsiteX28187" y="connsiteY28187"/>
              </a:cxn>
              <a:cxn ang="0">
                <a:pos x="connsiteX28188" y="connsiteY28188"/>
              </a:cxn>
              <a:cxn ang="0">
                <a:pos x="connsiteX28189" y="connsiteY28189"/>
              </a:cxn>
              <a:cxn ang="0">
                <a:pos x="connsiteX28190" y="connsiteY28190"/>
              </a:cxn>
              <a:cxn ang="0">
                <a:pos x="connsiteX28191" y="connsiteY28191"/>
              </a:cxn>
              <a:cxn ang="0">
                <a:pos x="connsiteX28192" y="connsiteY28192"/>
              </a:cxn>
              <a:cxn ang="0">
                <a:pos x="connsiteX28193" y="connsiteY28193"/>
              </a:cxn>
              <a:cxn ang="0">
                <a:pos x="connsiteX28194" y="connsiteY28194"/>
              </a:cxn>
              <a:cxn ang="0">
                <a:pos x="connsiteX28195" y="connsiteY28195"/>
              </a:cxn>
              <a:cxn ang="0">
                <a:pos x="connsiteX28196" y="connsiteY28196"/>
              </a:cxn>
              <a:cxn ang="0">
                <a:pos x="connsiteX28197" y="connsiteY28197"/>
              </a:cxn>
              <a:cxn ang="0">
                <a:pos x="connsiteX28198" y="connsiteY28198"/>
              </a:cxn>
              <a:cxn ang="0">
                <a:pos x="connsiteX28199" y="connsiteY28199"/>
              </a:cxn>
              <a:cxn ang="0">
                <a:pos x="connsiteX28200" y="connsiteY28200"/>
              </a:cxn>
              <a:cxn ang="0">
                <a:pos x="connsiteX28201" y="connsiteY28201"/>
              </a:cxn>
              <a:cxn ang="0">
                <a:pos x="connsiteX28202" y="connsiteY28202"/>
              </a:cxn>
              <a:cxn ang="0">
                <a:pos x="connsiteX28203" y="connsiteY28203"/>
              </a:cxn>
              <a:cxn ang="0">
                <a:pos x="connsiteX28204" y="connsiteY28204"/>
              </a:cxn>
              <a:cxn ang="0">
                <a:pos x="connsiteX28205" y="connsiteY28205"/>
              </a:cxn>
              <a:cxn ang="0">
                <a:pos x="connsiteX28206" y="connsiteY28206"/>
              </a:cxn>
              <a:cxn ang="0">
                <a:pos x="connsiteX28207" y="connsiteY28207"/>
              </a:cxn>
              <a:cxn ang="0">
                <a:pos x="connsiteX28208" y="connsiteY28208"/>
              </a:cxn>
              <a:cxn ang="0">
                <a:pos x="connsiteX28209" y="connsiteY28209"/>
              </a:cxn>
              <a:cxn ang="0">
                <a:pos x="connsiteX28210" y="connsiteY28210"/>
              </a:cxn>
              <a:cxn ang="0">
                <a:pos x="connsiteX28211" y="connsiteY28211"/>
              </a:cxn>
              <a:cxn ang="0">
                <a:pos x="connsiteX28212" y="connsiteY28212"/>
              </a:cxn>
              <a:cxn ang="0">
                <a:pos x="connsiteX28213" y="connsiteY28213"/>
              </a:cxn>
              <a:cxn ang="0">
                <a:pos x="connsiteX28214" y="connsiteY28214"/>
              </a:cxn>
              <a:cxn ang="0">
                <a:pos x="connsiteX28215" y="connsiteY28215"/>
              </a:cxn>
              <a:cxn ang="0">
                <a:pos x="connsiteX28216" y="connsiteY28216"/>
              </a:cxn>
              <a:cxn ang="0">
                <a:pos x="connsiteX28217" y="connsiteY28217"/>
              </a:cxn>
              <a:cxn ang="0">
                <a:pos x="connsiteX28218" y="connsiteY28218"/>
              </a:cxn>
              <a:cxn ang="0">
                <a:pos x="connsiteX28219" y="connsiteY28219"/>
              </a:cxn>
              <a:cxn ang="0">
                <a:pos x="connsiteX28220" y="connsiteY28220"/>
              </a:cxn>
              <a:cxn ang="0">
                <a:pos x="connsiteX28221" y="connsiteY28221"/>
              </a:cxn>
              <a:cxn ang="0">
                <a:pos x="connsiteX28222" y="connsiteY28222"/>
              </a:cxn>
              <a:cxn ang="0">
                <a:pos x="connsiteX28223" y="connsiteY28223"/>
              </a:cxn>
              <a:cxn ang="0">
                <a:pos x="connsiteX28224" y="connsiteY28224"/>
              </a:cxn>
              <a:cxn ang="0">
                <a:pos x="connsiteX28225" y="connsiteY28225"/>
              </a:cxn>
              <a:cxn ang="0">
                <a:pos x="connsiteX28226" y="connsiteY28226"/>
              </a:cxn>
              <a:cxn ang="0">
                <a:pos x="connsiteX28227" y="connsiteY28227"/>
              </a:cxn>
              <a:cxn ang="0">
                <a:pos x="connsiteX28228" y="connsiteY28228"/>
              </a:cxn>
              <a:cxn ang="0">
                <a:pos x="connsiteX28229" y="connsiteY28229"/>
              </a:cxn>
              <a:cxn ang="0">
                <a:pos x="connsiteX28230" y="connsiteY28230"/>
              </a:cxn>
              <a:cxn ang="0">
                <a:pos x="connsiteX28231" y="connsiteY28231"/>
              </a:cxn>
              <a:cxn ang="0">
                <a:pos x="connsiteX28232" y="connsiteY28232"/>
              </a:cxn>
              <a:cxn ang="0">
                <a:pos x="connsiteX28233" y="connsiteY28233"/>
              </a:cxn>
              <a:cxn ang="0">
                <a:pos x="connsiteX28234" y="connsiteY28234"/>
              </a:cxn>
              <a:cxn ang="0">
                <a:pos x="connsiteX28235" y="connsiteY28235"/>
              </a:cxn>
              <a:cxn ang="0">
                <a:pos x="connsiteX28236" y="connsiteY28236"/>
              </a:cxn>
              <a:cxn ang="0">
                <a:pos x="connsiteX28237" y="connsiteY28237"/>
              </a:cxn>
              <a:cxn ang="0">
                <a:pos x="connsiteX28238" y="connsiteY28238"/>
              </a:cxn>
              <a:cxn ang="0">
                <a:pos x="connsiteX28239" y="connsiteY28239"/>
              </a:cxn>
              <a:cxn ang="0">
                <a:pos x="connsiteX28240" y="connsiteY28240"/>
              </a:cxn>
              <a:cxn ang="0">
                <a:pos x="connsiteX28241" y="connsiteY28241"/>
              </a:cxn>
              <a:cxn ang="0">
                <a:pos x="connsiteX28242" y="connsiteY28242"/>
              </a:cxn>
              <a:cxn ang="0">
                <a:pos x="connsiteX28243" y="connsiteY28243"/>
              </a:cxn>
              <a:cxn ang="0">
                <a:pos x="connsiteX28244" y="connsiteY28244"/>
              </a:cxn>
              <a:cxn ang="0">
                <a:pos x="connsiteX28245" y="connsiteY28245"/>
              </a:cxn>
              <a:cxn ang="0">
                <a:pos x="connsiteX28246" y="connsiteY28246"/>
              </a:cxn>
              <a:cxn ang="0">
                <a:pos x="connsiteX28247" y="connsiteY28247"/>
              </a:cxn>
              <a:cxn ang="0">
                <a:pos x="connsiteX28248" y="connsiteY28248"/>
              </a:cxn>
              <a:cxn ang="0">
                <a:pos x="connsiteX28249" y="connsiteY28249"/>
              </a:cxn>
              <a:cxn ang="0">
                <a:pos x="connsiteX28250" y="connsiteY28250"/>
              </a:cxn>
              <a:cxn ang="0">
                <a:pos x="connsiteX28251" y="connsiteY28251"/>
              </a:cxn>
              <a:cxn ang="0">
                <a:pos x="connsiteX28252" y="connsiteY28252"/>
              </a:cxn>
              <a:cxn ang="0">
                <a:pos x="connsiteX28253" y="connsiteY28253"/>
              </a:cxn>
              <a:cxn ang="0">
                <a:pos x="connsiteX28254" y="connsiteY28254"/>
              </a:cxn>
              <a:cxn ang="0">
                <a:pos x="connsiteX28255" y="connsiteY28255"/>
              </a:cxn>
              <a:cxn ang="0">
                <a:pos x="connsiteX28256" y="connsiteY28256"/>
              </a:cxn>
              <a:cxn ang="0">
                <a:pos x="connsiteX28257" y="connsiteY28257"/>
              </a:cxn>
              <a:cxn ang="0">
                <a:pos x="connsiteX28258" y="connsiteY28258"/>
              </a:cxn>
              <a:cxn ang="0">
                <a:pos x="connsiteX28259" y="connsiteY28259"/>
              </a:cxn>
              <a:cxn ang="0">
                <a:pos x="connsiteX28260" y="connsiteY28260"/>
              </a:cxn>
              <a:cxn ang="0">
                <a:pos x="connsiteX28261" y="connsiteY28261"/>
              </a:cxn>
              <a:cxn ang="0">
                <a:pos x="connsiteX28262" y="connsiteY28262"/>
              </a:cxn>
              <a:cxn ang="0">
                <a:pos x="connsiteX28263" y="connsiteY28263"/>
              </a:cxn>
              <a:cxn ang="0">
                <a:pos x="connsiteX28264" y="connsiteY28264"/>
              </a:cxn>
              <a:cxn ang="0">
                <a:pos x="connsiteX28265" y="connsiteY28265"/>
              </a:cxn>
              <a:cxn ang="0">
                <a:pos x="connsiteX28266" y="connsiteY28266"/>
              </a:cxn>
              <a:cxn ang="0">
                <a:pos x="connsiteX28267" y="connsiteY28267"/>
              </a:cxn>
              <a:cxn ang="0">
                <a:pos x="connsiteX28268" y="connsiteY28268"/>
              </a:cxn>
              <a:cxn ang="0">
                <a:pos x="connsiteX28269" y="connsiteY28269"/>
              </a:cxn>
              <a:cxn ang="0">
                <a:pos x="connsiteX28270" y="connsiteY28270"/>
              </a:cxn>
              <a:cxn ang="0">
                <a:pos x="connsiteX28271" y="connsiteY28271"/>
              </a:cxn>
              <a:cxn ang="0">
                <a:pos x="connsiteX28272" y="connsiteY28272"/>
              </a:cxn>
              <a:cxn ang="0">
                <a:pos x="connsiteX28273" y="connsiteY28273"/>
              </a:cxn>
              <a:cxn ang="0">
                <a:pos x="connsiteX28274" y="connsiteY28274"/>
              </a:cxn>
              <a:cxn ang="0">
                <a:pos x="connsiteX28275" y="connsiteY28275"/>
              </a:cxn>
              <a:cxn ang="0">
                <a:pos x="connsiteX28276" y="connsiteY28276"/>
              </a:cxn>
              <a:cxn ang="0">
                <a:pos x="connsiteX28277" y="connsiteY28277"/>
              </a:cxn>
              <a:cxn ang="0">
                <a:pos x="connsiteX28278" y="connsiteY28278"/>
              </a:cxn>
              <a:cxn ang="0">
                <a:pos x="connsiteX28279" y="connsiteY28279"/>
              </a:cxn>
              <a:cxn ang="0">
                <a:pos x="connsiteX28280" y="connsiteY28280"/>
              </a:cxn>
              <a:cxn ang="0">
                <a:pos x="connsiteX28281" y="connsiteY28281"/>
              </a:cxn>
              <a:cxn ang="0">
                <a:pos x="connsiteX28282" y="connsiteY28282"/>
              </a:cxn>
              <a:cxn ang="0">
                <a:pos x="connsiteX28283" y="connsiteY28283"/>
              </a:cxn>
              <a:cxn ang="0">
                <a:pos x="connsiteX28284" y="connsiteY28284"/>
              </a:cxn>
              <a:cxn ang="0">
                <a:pos x="connsiteX28285" y="connsiteY28285"/>
              </a:cxn>
              <a:cxn ang="0">
                <a:pos x="connsiteX28286" y="connsiteY28286"/>
              </a:cxn>
              <a:cxn ang="0">
                <a:pos x="connsiteX28287" y="connsiteY28287"/>
              </a:cxn>
              <a:cxn ang="0">
                <a:pos x="connsiteX28288" y="connsiteY28288"/>
              </a:cxn>
              <a:cxn ang="0">
                <a:pos x="connsiteX28289" y="connsiteY28289"/>
              </a:cxn>
              <a:cxn ang="0">
                <a:pos x="connsiteX28290" y="connsiteY28290"/>
              </a:cxn>
              <a:cxn ang="0">
                <a:pos x="connsiteX28291" y="connsiteY28291"/>
              </a:cxn>
              <a:cxn ang="0">
                <a:pos x="connsiteX28292" y="connsiteY28292"/>
              </a:cxn>
              <a:cxn ang="0">
                <a:pos x="connsiteX28293" y="connsiteY28293"/>
              </a:cxn>
              <a:cxn ang="0">
                <a:pos x="connsiteX28294" y="connsiteY28294"/>
              </a:cxn>
              <a:cxn ang="0">
                <a:pos x="connsiteX28295" y="connsiteY28295"/>
              </a:cxn>
              <a:cxn ang="0">
                <a:pos x="connsiteX28296" y="connsiteY28296"/>
              </a:cxn>
              <a:cxn ang="0">
                <a:pos x="connsiteX28297" y="connsiteY28297"/>
              </a:cxn>
              <a:cxn ang="0">
                <a:pos x="connsiteX28298" y="connsiteY28298"/>
              </a:cxn>
              <a:cxn ang="0">
                <a:pos x="connsiteX28299" y="connsiteY28299"/>
              </a:cxn>
              <a:cxn ang="0">
                <a:pos x="connsiteX28300" y="connsiteY28300"/>
              </a:cxn>
              <a:cxn ang="0">
                <a:pos x="connsiteX28301" y="connsiteY28301"/>
              </a:cxn>
              <a:cxn ang="0">
                <a:pos x="connsiteX28302" y="connsiteY28302"/>
              </a:cxn>
              <a:cxn ang="0">
                <a:pos x="connsiteX28303" y="connsiteY28303"/>
              </a:cxn>
              <a:cxn ang="0">
                <a:pos x="connsiteX28304" y="connsiteY28304"/>
              </a:cxn>
              <a:cxn ang="0">
                <a:pos x="connsiteX28305" y="connsiteY28305"/>
              </a:cxn>
              <a:cxn ang="0">
                <a:pos x="connsiteX28306" y="connsiteY28306"/>
              </a:cxn>
              <a:cxn ang="0">
                <a:pos x="connsiteX28307" y="connsiteY28307"/>
              </a:cxn>
              <a:cxn ang="0">
                <a:pos x="connsiteX28308" y="connsiteY28308"/>
              </a:cxn>
              <a:cxn ang="0">
                <a:pos x="connsiteX28309" y="connsiteY28309"/>
              </a:cxn>
              <a:cxn ang="0">
                <a:pos x="connsiteX28310" y="connsiteY28310"/>
              </a:cxn>
              <a:cxn ang="0">
                <a:pos x="connsiteX28311" y="connsiteY28311"/>
              </a:cxn>
              <a:cxn ang="0">
                <a:pos x="connsiteX28312" y="connsiteY28312"/>
              </a:cxn>
              <a:cxn ang="0">
                <a:pos x="connsiteX28313" y="connsiteY28313"/>
              </a:cxn>
              <a:cxn ang="0">
                <a:pos x="connsiteX28314" y="connsiteY28314"/>
              </a:cxn>
              <a:cxn ang="0">
                <a:pos x="connsiteX28315" y="connsiteY28315"/>
              </a:cxn>
              <a:cxn ang="0">
                <a:pos x="connsiteX28316" y="connsiteY28316"/>
              </a:cxn>
              <a:cxn ang="0">
                <a:pos x="connsiteX28317" y="connsiteY28317"/>
              </a:cxn>
              <a:cxn ang="0">
                <a:pos x="connsiteX28318" y="connsiteY28318"/>
              </a:cxn>
              <a:cxn ang="0">
                <a:pos x="connsiteX28319" y="connsiteY28319"/>
              </a:cxn>
              <a:cxn ang="0">
                <a:pos x="connsiteX28320" y="connsiteY28320"/>
              </a:cxn>
              <a:cxn ang="0">
                <a:pos x="connsiteX28321" y="connsiteY28321"/>
              </a:cxn>
              <a:cxn ang="0">
                <a:pos x="connsiteX28322" y="connsiteY28322"/>
              </a:cxn>
              <a:cxn ang="0">
                <a:pos x="connsiteX28323" y="connsiteY28323"/>
              </a:cxn>
              <a:cxn ang="0">
                <a:pos x="connsiteX28324" y="connsiteY28324"/>
              </a:cxn>
              <a:cxn ang="0">
                <a:pos x="connsiteX28325" y="connsiteY28325"/>
              </a:cxn>
              <a:cxn ang="0">
                <a:pos x="connsiteX28326" y="connsiteY28326"/>
              </a:cxn>
              <a:cxn ang="0">
                <a:pos x="connsiteX28327" y="connsiteY28327"/>
              </a:cxn>
              <a:cxn ang="0">
                <a:pos x="connsiteX28328" y="connsiteY28328"/>
              </a:cxn>
              <a:cxn ang="0">
                <a:pos x="connsiteX28329" y="connsiteY28329"/>
              </a:cxn>
              <a:cxn ang="0">
                <a:pos x="connsiteX28330" y="connsiteY28330"/>
              </a:cxn>
              <a:cxn ang="0">
                <a:pos x="connsiteX28331" y="connsiteY28331"/>
              </a:cxn>
              <a:cxn ang="0">
                <a:pos x="connsiteX28332" y="connsiteY28332"/>
              </a:cxn>
              <a:cxn ang="0">
                <a:pos x="connsiteX28333" y="connsiteY28333"/>
              </a:cxn>
              <a:cxn ang="0">
                <a:pos x="connsiteX28334" y="connsiteY28334"/>
              </a:cxn>
              <a:cxn ang="0">
                <a:pos x="connsiteX28335" y="connsiteY28335"/>
              </a:cxn>
              <a:cxn ang="0">
                <a:pos x="connsiteX28336" y="connsiteY28336"/>
              </a:cxn>
              <a:cxn ang="0">
                <a:pos x="connsiteX28337" y="connsiteY28337"/>
              </a:cxn>
              <a:cxn ang="0">
                <a:pos x="connsiteX28338" y="connsiteY28338"/>
              </a:cxn>
              <a:cxn ang="0">
                <a:pos x="connsiteX28339" y="connsiteY28339"/>
              </a:cxn>
              <a:cxn ang="0">
                <a:pos x="connsiteX28340" y="connsiteY28340"/>
              </a:cxn>
              <a:cxn ang="0">
                <a:pos x="connsiteX28341" y="connsiteY28341"/>
              </a:cxn>
              <a:cxn ang="0">
                <a:pos x="connsiteX28342" y="connsiteY28342"/>
              </a:cxn>
              <a:cxn ang="0">
                <a:pos x="connsiteX28343" y="connsiteY28343"/>
              </a:cxn>
              <a:cxn ang="0">
                <a:pos x="connsiteX28344" y="connsiteY28344"/>
              </a:cxn>
              <a:cxn ang="0">
                <a:pos x="connsiteX28345" y="connsiteY28345"/>
              </a:cxn>
              <a:cxn ang="0">
                <a:pos x="connsiteX28346" y="connsiteY28346"/>
              </a:cxn>
              <a:cxn ang="0">
                <a:pos x="connsiteX28347" y="connsiteY28347"/>
              </a:cxn>
              <a:cxn ang="0">
                <a:pos x="connsiteX28348" y="connsiteY28348"/>
              </a:cxn>
              <a:cxn ang="0">
                <a:pos x="connsiteX28349" y="connsiteY28349"/>
              </a:cxn>
              <a:cxn ang="0">
                <a:pos x="connsiteX28350" y="connsiteY28350"/>
              </a:cxn>
              <a:cxn ang="0">
                <a:pos x="connsiteX28351" y="connsiteY28351"/>
              </a:cxn>
              <a:cxn ang="0">
                <a:pos x="connsiteX28352" y="connsiteY28352"/>
              </a:cxn>
              <a:cxn ang="0">
                <a:pos x="connsiteX28353" y="connsiteY28353"/>
              </a:cxn>
              <a:cxn ang="0">
                <a:pos x="connsiteX28354" y="connsiteY28354"/>
              </a:cxn>
              <a:cxn ang="0">
                <a:pos x="connsiteX28355" y="connsiteY28355"/>
              </a:cxn>
              <a:cxn ang="0">
                <a:pos x="connsiteX28356" y="connsiteY28356"/>
              </a:cxn>
              <a:cxn ang="0">
                <a:pos x="connsiteX28357" y="connsiteY28357"/>
              </a:cxn>
              <a:cxn ang="0">
                <a:pos x="connsiteX28358" y="connsiteY28358"/>
              </a:cxn>
              <a:cxn ang="0">
                <a:pos x="connsiteX28359" y="connsiteY28359"/>
              </a:cxn>
              <a:cxn ang="0">
                <a:pos x="connsiteX28360" y="connsiteY28360"/>
              </a:cxn>
              <a:cxn ang="0">
                <a:pos x="connsiteX28361" y="connsiteY28361"/>
              </a:cxn>
              <a:cxn ang="0">
                <a:pos x="connsiteX28362" y="connsiteY28362"/>
              </a:cxn>
              <a:cxn ang="0">
                <a:pos x="connsiteX28363" y="connsiteY28363"/>
              </a:cxn>
              <a:cxn ang="0">
                <a:pos x="connsiteX28364" y="connsiteY28364"/>
              </a:cxn>
              <a:cxn ang="0">
                <a:pos x="connsiteX28365" y="connsiteY28365"/>
              </a:cxn>
              <a:cxn ang="0">
                <a:pos x="connsiteX28366" y="connsiteY28366"/>
              </a:cxn>
              <a:cxn ang="0">
                <a:pos x="connsiteX28367" y="connsiteY28367"/>
              </a:cxn>
              <a:cxn ang="0">
                <a:pos x="connsiteX28368" y="connsiteY28368"/>
              </a:cxn>
              <a:cxn ang="0">
                <a:pos x="connsiteX28369" y="connsiteY28369"/>
              </a:cxn>
              <a:cxn ang="0">
                <a:pos x="connsiteX28370" y="connsiteY28370"/>
              </a:cxn>
              <a:cxn ang="0">
                <a:pos x="connsiteX28371" y="connsiteY28371"/>
              </a:cxn>
              <a:cxn ang="0">
                <a:pos x="connsiteX28372" y="connsiteY28372"/>
              </a:cxn>
              <a:cxn ang="0">
                <a:pos x="connsiteX28373" y="connsiteY28373"/>
              </a:cxn>
              <a:cxn ang="0">
                <a:pos x="connsiteX28374" y="connsiteY28374"/>
              </a:cxn>
              <a:cxn ang="0">
                <a:pos x="connsiteX28375" y="connsiteY28375"/>
              </a:cxn>
              <a:cxn ang="0">
                <a:pos x="connsiteX28376" y="connsiteY28376"/>
              </a:cxn>
              <a:cxn ang="0">
                <a:pos x="connsiteX28377" y="connsiteY28377"/>
              </a:cxn>
              <a:cxn ang="0">
                <a:pos x="connsiteX28378" y="connsiteY28378"/>
              </a:cxn>
              <a:cxn ang="0">
                <a:pos x="connsiteX28379" y="connsiteY28379"/>
              </a:cxn>
              <a:cxn ang="0">
                <a:pos x="connsiteX28380" y="connsiteY28380"/>
              </a:cxn>
              <a:cxn ang="0">
                <a:pos x="connsiteX28381" y="connsiteY28381"/>
              </a:cxn>
              <a:cxn ang="0">
                <a:pos x="connsiteX28382" y="connsiteY28382"/>
              </a:cxn>
              <a:cxn ang="0">
                <a:pos x="connsiteX28383" y="connsiteY28383"/>
              </a:cxn>
              <a:cxn ang="0">
                <a:pos x="connsiteX28384" y="connsiteY28384"/>
              </a:cxn>
              <a:cxn ang="0">
                <a:pos x="connsiteX28385" y="connsiteY28385"/>
              </a:cxn>
              <a:cxn ang="0">
                <a:pos x="connsiteX28386" y="connsiteY28386"/>
              </a:cxn>
              <a:cxn ang="0">
                <a:pos x="connsiteX28387" y="connsiteY28387"/>
              </a:cxn>
              <a:cxn ang="0">
                <a:pos x="connsiteX28388" y="connsiteY28388"/>
              </a:cxn>
              <a:cxn ang="0">
                <a:pos x="connsiteX28389" y="connsiteY28389"/>
              </a:cxn>
              <a:cxn ang="0">
                <a:pos x="connsiteX28390" y="connsiteY28390"/>
              </a:cxn>
              <a:cxn ang="0">
                <a:pos x="connsiteX28391" y="connsiteY28391"/>
              </a:cxn>
              <a:cxn ang="0">
                <a:pos x="connsiteX28392" y="connsiteY28392"/>
              </a:cxn>
              <a:cxn ang="0">
                <a:pos x="connsiteX28393" y="connsiteY28393"/>
              </a:cxn>
              <a:cxn ang="0">
                <a:pos x="connsiteX28394" y="connsiteY28394"/>
              </a:cxn>
              <a:cxn ang="0">
                <a:pos x="connsiteX28395" y="connsiteY28395"/>
              </a:cxn>
              <a:cxn ang="0">
                <a:pos x="connsiteX28396" y="connsiteY28396"/>
              </a:cxn>
              <a:cxn ang="0">
                <a:pos x="connsiteX28397" y="connsiteY28397"/>
              </a:cxn>
              <a:cxn ang="0">
                <a:pos x="connsiteX28398" y="connsiteY28398"/>
              </a:cxn>
              <a:cxn ang="0">
                <a:pos x="connsiteX28399" y="connsiteY28399"/>
              </a:cxn>
              <a:cxn ang="0">
                <a:pos x="connsiteX28400" y="connsiteY28400"/>
              </a:cxn>
              <a:cxn ang="0">
                <a:pos x="connsiteX28401" y="connsiteY28401"/>
              </a:cxn>
              <a:cxn ang="0">
                <a:pos x="connsiteX28402" y="connsiteY28402"/>
              </a:cxn>
              <a:cxn ang="0">
                <a:pos x="connsiteX28403" y="connsiteY28403"/>
              </a:cxn>
              <a:cxn ang="0">
                <a:pos x="connsiteX28404" y="connsiteY28404"/>
              </a:cxn>
              <a:cxn ang="0">
                <a:pos x="connsiteX28405" y="connsiteY28405"/>
              </a:cxn>
              <a:cxn ang="0">
                <a:pos x="connsiteX28406" y="connsiteY28406"/>
              </a:cxn>
              <a:cxn ang="0">
                <a:pos x="connsiteX28407" y="connsiteY28407"/>
              </a:cxn>
              <a:cxn ang="0">
                <a:pos x="connsiteX28408" y="connsiteY28408"/>
              </a:cxn>
              <a:cxn ang="0">
                <a:pos x="connsiteX28409" y="connsiteY28409"/>
              </a:cxn>
              <a:cxn ang="0">
                <a:pos x="connsiteX28410" y="connsiteY28410"/>
              </a:cxn>
              <a:cxn ang="0">
                <a:pos x="connsiteX28411" y="connsiteY28411"/>
              </a:cxn>
              <a:cxn ang="0">
                <a:pos x="connsiteX28412" y="connsiteY28412"/>
              </a:cxn>
              <a:cxn ang="0">
                <a:pos x="connsiteX28413" y="connsiteY28413"/>
              </a:cxn>
              <a:cxn ang="0">
                <a:pos x="connsiteX28414" y="connsiteY28414"/>
              </a:cxn>
              <a:cxn ang="0">
                <a:pos x="connsiteX28415" y="connsiteY28415"/>
              </a:cxn>
              <a:cxn ang="0">
                <a:pos x="connsiteX28416" y="connsiteY28416"/>
              </a:cxn>
              <a:cxn ang="0">
                <a:pos x="connsiteX28417" y="connsiteY28417"/>
              </a:cxn>
              <a:cxn ang="0">
                <a:pos x="connsiteX28418" y="connsiteY28418"/>
              </a:cxn>
              <a:cxn ang="0">
                <a:pos x="connsiteX28419" y="connsiteY28419"/>
              </a:cxn>
              <a:cxn ang="0">
                <a:pos x="connsiteX28420" y="connsiteY28420"/>
              </a:cxn>
              <a:cxn ang="0">
                <a:pos x="connsiteX28421" y="connsiteY28421"/>
              </a:cxn>
              <a:cxn ang="0">
                <a:pos x="connsiteX28422" y="connsiteY28422"/>
              </a:cxn>
              <a:cxn ang="0">
                <a:pos x="connsiteX28423" y="connsiteY28423"/>
              </a:cxn>
              <a:cxn ang="0">
                <a:pos x="connsiteX28424" y="connsiteY28424"/>
              </a:cxn>
              <a:cxn ang="0">
                <a:pos x="connsiteX28425" y="connsiteY28425"/>
              </a:cxn>
              <a:cxn ang="0">
                <a:pos x="connsiteX28426" y="connsiteY28426"/>
              </a:cxn>
              <a:cxn ang="0">
                <a:pos x="connsiteX28427" y="connsiteY28427"/>
              </a:cxn>
              <a:cxn ang="0">
                <a:pos x="connsiteX28428" y="connsiteY28428"/>
              </a:cxn>
              <a:cxn ang="0">
                <a:pos x="connsiteX28429" y="connsiteY28429"/>
              </a:cxn>
              <a:cxn ang="0">
                <a:pos x="connsiteX28430" y="connsiteY28430"/>
              </a:cxn>
              <a:cxn ang="0">
                <a:pos x="connsiteX28431" y="connsiteY28431"/>
              </a:cxn>
              <a:cxn ang="0">
                <a:pos x="connsiteX28432" y="connsiteY28432"/>
              </a:cxn>
              <a:cxn ang="0">
                <a:pos x="connsiteX28433" y="connsiteY28433"/>
              </a:cxn>
              <a:cxn ang="0">
                <a:pos x="connsiteX28434" y="connsiteY28434"/>
              </a:cxn>
              <a:cxn ang="0">
                <a:pos x="connsiteX28435" y="connsiteY28435"/>
              </a:cxn>
              <a:cxn ang="0">
                <a:pos x="connsiteX28436" y="connsiteY28436"/>
              </a:cxn>
              <a:cxn ang="0">
                <a:pos x="connsiteX28437" y="connsiteY28437"/>
              </a:cxn>
              <a:cxn ang="0">
                <a:pos x="connsiteX28438" y="connsiteY28438"/>
              </a:cxn>
              <a:cxn ang="0">
                <a:pos x="connsiteX28439" y="connsiteY28439"/>
              </a:cxn>
              <a:cxn ang="0">
                <a:pos x="connsiteX28440" y="connsiteY28440"/>
              </a:cxn>
              <a:cxn ang="0">
                <a:pos x="connsiteX28441" y="connsiteY28441"/>
              </a:cxn>
              <a:cxn ang="0">
                <a:pos x="connsiteX28442" y="connsiteY28442"/>
              </a:cxn>
              <a:cxn ang="0">
                <a:pos x="connsiteX28443" y="connsiteY28443"/>
              </a:cxn>
              <a:cxn ang="0">
                <a:pos x="connsiteX28444" y="connsiteY28444"/>
              </a:cxn>
              <a:cxn ang="0">
                <a:pos x="connsiteX28445" y="connsiteY28445"/>
              </a:cxn>
              <a:cxn ang="0">
                <a:pos x="connsiteX28446" y="connsiteY28446"/>
              </a:cxn>
              <a:cxn ang="0">
                <a:pos x="connsiteX28447" y="connsiteY28447"/>
              </a:cxn>
              <a:cxn ang="0">
                <a:pos x="connsiteX28448" y="connsiteY28448"/>
              </a:cxn>
              <a:cxn ang="0">
                <a:pos x="connsiteX28449" y="connsiteY28449"/>
              </a:cxn>
              <a:cxn ang="0">
                <a:pos x="connsiteX28450" y="connsiteY28450"/>
              </a:cxn>
              <a:cxn ang="0">
                <a:pos x="connsiteX28451" y="connsiteY28451"/>
              </a:cxn>
              <a:cxn ang="0">
                <a:pos x="connsiteX28452" y="connsiteY28452"/>
              </a:cxn>
              <a:cxn ang="0">
                <a:pos x="connsiteX28453" y="connsiteY28453"/>
              </a:cxn>
              <a:cxn ang="0">
                <a:pos x="connsiteX28454" y="connsiteY28454"/>
              </a:cxn>
              <a:cxn ang="0">
                <a:pos x="connsiteX28455" y="connsiteY28455"/>
              </a:cxn>
              <a:cxn ang="0">
                <a:pos x="connsiteX28456" y="connsiteY28456"/>
              </a:cxn>
              <a:cxn ang="0">
                <a:pos x="connsiteX28457" y="connsiteY28457"/>
              </a:cxn>
              <a:cxn ang="0">
                <a:pos x="connsiteX28458" y="connsiteY28458"/>
              </a:cxn>
              <a:cxn ang="0">
                <a:pos x="connsiteX28459" y="connsiteY28459"/>
              </a:cxn>
              <a:cxn ang="0">
                <a:pos x="connsiteX28460" y="connsiteY28460"/>
              </a:cxn>
              <a:cxn ang="0">
                <a:pos x="connsiteX28461" y="connsiteY28461"/>
              </a:cxn>
              <a:cxn ang="0">
                <a:pos x="connsiteX28462" y="connsiteY28462"/>
              </a:cxn>
              <a:cxn ang="0">
                <a:pos x="connsiteX28463" y="connsiteY28463"/>
              </a:cxn>
              <a:cxn ang="0">
                <a:pos x="connsiteX28464" y="connsiteY28464"/>
              </a:cxn>
              <a:cxn ang="0">
                <a:pos x="connsiteX28465" y="connsiteY28465"/>
              </a:cxn>
              <a:cxn ang="0">
                <a:pos x="connsiteX28466" y="connsiteY28466"/>
              </a:cxn>
              <a:cxn ang="0">
                <a:pos x="connsiteX28467" y="connsiteY28467"/>
              </a:cxn>
              <a:cxn ang="0">
                <a:pos x="connsiteX28468" y="connsiteY28468"/>
              </a:cxn>
              <a:cxn ang="0">
                <a:pos x="connsiteX28469" y="connsiteY28469"/>
              </a:cxn>
              <a:cxn ang="0">
                <a:pos x="connsiteX28470" y="connsiteY28470"/>
              </a:cxn>
              <a:cxn ang="0">
                <a:pos x="connsiteX28471" y="connsiteY28471"/>
              </a:cxn>
              <a:cxn ang="0">
                <a:pos x="connsiteX28472" y="connsiteY28472"/>
              </a:cxn>
              <a:cxn ang="0">
                <a:pos x="connsiteX28473" y="connsiteY28473"/>
              </a:cxn>
              <a:cxn ang="0">
                <a:pos x="connsiteX28474" y="connsiteY28474"/>
              </a:cxn>
              <a:cxn ang="0">
                <a:pos x="connsiteX28475" y="connsiteY28475"/>
              </a:cxn>
              <a:cxn ang="0">
                <a:pos x="connsiteX28476" y="connsiteY28476"/>
              </a:cxn>
              <a:cxn ang="0">
                <a:pos x="connsiteX28477" y="connsiteY28477"/>
              </a:cxn>
              <a:cxn ang="0">
                <a:pos x="connsiteX28478" y="connsiteY28478"/>
              </a:cxn>
              <a:cxn ang="0">
                <a:pos x="connsiteX28479" y="connsiteY28479"/>
              </a:cxn>
              <a:cxn ang="0">
                <a:pos x="connsiteX28480" y="connsiteY28480"/>
              </a:cxn>
              <a:cxn ang="0">
                <a:pos x="connsiteX28481" y="connsiteY28481"/>
              </a:cxn>
              <a:cxn ang="0">
                <a:pos x="connsiteX28482" y="connsiteY28482"/>
              </a:cxn>
              <a:cxn ang="0">
                <a:pos x="connsiteX28483" y="connsiteY28483"/>
              </a:cxn>
              <a:cxn ang="0">
                <a:pos x="connsiteX28484" y="connsiteY28484"/>
              </a:cxn>
              <a:cxn ang="0">
                <a:pos x="connsiteX28485" y="connsiteY28485"/>
              </a:cxn>
              <a:cxn ang="0">
                <a:pos x="connsiteX28486" y="connsiteY28486"/>
              </a:cxn>
              <a:cxn ang="0">
                <a:pos x="connsiteX28487" y="connsiteY28487"/>
              </a:cxn>
              <a:cxn ang="0">
                <a:pos x="connsiteX28488" y="connsiteY28488"/>
              </a:cxn>
              <a:cxn ang="0">
                <a:pos x="connsiteX28489" y="connsiteY28489"/>
              </a:cxn>
              <a:cxn ang="0">
                <a:pos x="connsiteX28490" y="connsiteY28490"/>
              </a:cxn>
              <a:cxn ang="0">
                <a:pos x="connsiteX28491" y="connsiteY28491"/>
              </a:cxn>
              <a:cxn ang="0">
                <a:pos x="connsiteX28492" y="connsiteY28492"/>
              </a:cxn>
              <a:cxn ang="0">
                <a:pos x="connsiteX28493" y="connsiteY28493"/>
              </a:cxn>
              <a:cxn ang="0">
                <a:pos x="connsiteX28494" y="connsiteY28494"/>
              </a:cxn>
              <a:cxn ang="0">
                <a:pos x="connsiteX28495" y="connsiteY28495"/>
              </a:cxn>
              <a:cxn ang="0">
                <a:pos x="connsiteX28496" y="connsiteY28496"/>
              </a:cxn>
              <a:cxn ang="0">
                <a:pos x="connsiteX28497" y="connsiteY28497"/>
              </a:cxn>
              <a:cxn ang="0">
                <a:pos x="connsiteX28498" y="connsiteY28498"/>
              </a:cxn>
              <a:cxn ang="0">
                <a:pos x="connsiteX28499" y="connsiteY28499"/>
              </a:cxn>
              <a:cxn ang="0">
                <a:pos x="connsiteX28500" y="connsiteY28500"/>
              </a:cxn>
              <a:cxn ang="0">
                <a:pos x="connsiteX28501" y="connsiteY28501"/>
              </a:cxn>
              <a:cxn ang="0">
                <a:pos x="connsiteX28502" y="connsiteY28502"/>
              </a:cxn>
              <a:cxn ang="0">
                <a:pos x="connsiteX28503" y="connsiteY28503"/>
              </a:cxn>
              <a:cxn ang="0">
                <a:pos x="connsiteX28504" y="connsiteY28504"/>
              </a:cxn>
              <a:cxn ang="0">
                <a:pos x="connsiteX28505" y="connsiteY28505"/>
              </a:cxn>
              <a:cxn ang="0">
                <a:pos x="connsiteX28506" y="connsiteY28506"/>
              </a:cxn>
              <a:cxn ang="0">
                <a:pos x="connsiteX28507" y="connsiteY28507"/>
              </a:cxn>
              <a:cxn ang="0">
                <a:pos x="connsiteX28508" y="connsiteY28508"/>
              </a:cxn>
              <a:cxn ang="0">
                <a:pos x="connsiteX28509" y="connsiteY28509"/>
              </a:cxn>
              <a:cxn ang="0">
                <a:pos x="connsiteX28510" y="connsiteY28510"/>
              </a:cxn>
              <a:cxn ang="0">
                <a:pos x="connsiteX28511" y="connsiteY28511"/>
              </a:cxn>
              <a:cxn ang="0">
                <a:pos x="connsiteX28512" y="connsiteY28512"/>
              </a:cxn>
              <a:cxn ang="0">
                <a:pos x="connsiteX28513" y="connsiteY28513"/>
              </a:cxn>
              <a:cxn ang="0">
                <a:pos x="connsiteX28514" y="connsiteY28514"/>
              </a:cxn>
              <a:cxn ang="0">
                <a:pos x="connsiteX28515" y="connsiteY28515"/>
              </a:cxn>
              <a:cxn ang="0">
                <a:pos x="connsiteX28516" y="connsiteY28516"/>
              </a:cxn>
              <a:cxn ang="0">
                <a:pos x="connsiteX28517" y="connsiteY28517"/>
              </a:cxn>
              <a:cxn ang="0">
                <a:pos x="connsiteX28518" y="connsiteY28518"/>
              </a:cxn>
              <a:cxn ang="0">
                <a:pos x="connsiteX28519" y="connsiteY28519"/>
              </a:cxn>
              <a:cxn ang="0">
                <a:pos x="connsiteX28520" y="connsiteY28520"/>
              </a:cxn>
              <a:cxn ang="0">
                <a:pos x="connsiteX28521" y="connsiteY28521"/>
              </a:cxn>
              <a:cxn ang="0">
                <a:pos x="connsiteX28522" y="connsiteY28522"/>
              </a:cxn>
              <a:cxn ang="0">
                <a:pos x="connsiteX28523" y="connsiteY28523"/>
              </a:cxn>
              <a:cxn ang="0">
                <a:pos x="connsiteX28524" y="connsiteY28524"/>
              </a:cxn>
              <a:cxn ang="0">
                <a:pos x="connsiteX28525" y="connsiteY28525"/>
              </a:cxn>
              <a:cxn ang="0">
                <a:pos x="connsiteX28526" y="connsiteY28526"/>
              </a:cxn>
              <a:cxn ang="0">
                <a:pos x="connsiteX28527" y="connsiteY28527"/>
              </a:cxn>
              <a:cxn ang="0">
                <a:pos x="connsiteX28528" y="connsiteY28528"/>
              </a:cxn>
              <a:cxn ang="0">
                <a:pos x="connsiteX28529" y="connsiteY28529"/>
              </a:cxn>
              <a:cxn ang="0">
                <a:pos x="connsiteX28530" y="connsiteY28530"/>
              </a:cxn>
              <a:cxn ang="0">
                <a:pos x="connsiteX28531" y="connsiteY28531"/>
              </a:cxn>
              <a:cxn ang="0">
                <a:pos x="connsiteX28532" y="connsiteY28532"/>
              </a:cxn>
              <a:cxn ang="0">
                <a:pos x="connsiteX28533" y="connsiteY28533"/>
              </a:cxn>
              <a:cxn ang="0">
                <a:pos x="connsiteX28534" y="connsiteY28534"/>
              </a:cxn>
              <a:cxn ang="0">
                <a:pos x="connsiteX28535" y="connsiteY28535"/>
              </a:cxn>
              <a:cxn ang="0">
                <a:pos x="connsiteX28536" y="connsiteY28536"/>
              </a:cxn>
              <a:cxn ang="0">
                <a:pos x="connsiteX28537" y="connsiteY28537"/>
              </a:cxn>
              <a:cxn ang="0">
                <a:pos x="connsiteX28538" y="connsiteY28538"/>
              </a:cxn>
              <a:cxn ang="0">
                <a:pos x="connsiteX28539" y="connsiteY28539"/>
              </a:cxn>
              <a:cxn ang="0">
                <a:pos x="connsiteX28540" y="connsiteY28540"/>
              </a:cxn>
              <a:cxn ang="0">
                <a:pos x="connsiteX28541" y="connsiteY28541"/>
              </a:cxn>
              <a:cxn ang="0">
                <a:pos x="connsiteX28542" y="connsiteY28542"/>
              </a:cxn>
              <a:cxn ang="0">
                <a:pos x="connsiteX28543" y="connsiteY28543"/>
              </a:cxn>
              <a:cxn ang="0">
                <a:pos x="connsiteX28544" y="connsiteY28544"/>
              </a:cxn>
              <a:cxn ang="0">
                <a:pos x="connsiteX28545" y="connsiteY28545"/>
              </a:cxn>
              <a:cxn ang="0">
                <a:pos x="connsiteX28546" y="connsiteY28546"/>
              </a:cxn>
              <a:cxn ang="0">
                <a:pos x="connsiteX28547" y="connsiteY28547"/>
              </a:cxn>
              <a:cxn ang="0">
                <a:pos x="connsiteX28548" y="connsiteY28548"/>
              </a:cxn>
              <a:cxn ang="0">
                <a:pos x="connsiteX28549" y="connsiteY28549"/>
              </a:cxn>
              <a:cxn ang="0">
                <a:pos x="connsiteX28550" y="connsiteY28550"/>
              </a:cxn>
              <a:cxn ang="0">
                <a:pos x="connsiteX28551" y="connsiteY28551"/>
              </a:cxn>
              <a:cxn ang="0">
                <a:pos x="connsiteX28552" y="connsiteY28552"/>
              </a:cxn>
              <a:cxn ang="0">
                <a:pos x="connsiteX28553" y="connsiteY28553"/>
              </a:cxn>
              <a:cxn ang="0">
                <a:pos x="connsiteX28554" y="connsiteY28554"/>
              </a:cxn>
              <a:cxn ang="0">
                <a:pos x="connsiteX28555" y="connsiteY28555"/>
              </a:cxn>
              <a:cxn ang="0">
                <a:pos x="connsiteX28556" y="connsiteY28556"/>
              </a:cxn>
              <a:cxn ang="0">
                <a:pos x="connsiteX28557" y="connsiteY28557"/>
              </a:cxn>
              <a:cxn ang="0">
                <a:pos x="connsiteX28558" y="connsiteY28558"/>
              </a:cxn>
              <a:cxn ang="0">
                <a:pos x="connsiteX28559" y="connsiteY28559"/>
              </a:cxn>
              <a:cxn ang="0">
                <a:pos x="connsiteX28560" y="connsiteY28560"/>
              </a:cxn>
              <a:cxn ang="0">
                <a:pos x="connsiteX28561" y="connsiteY28561"/>
              </a:cxn>
              <a:cxn ang="0">
                <a:pos x="connsiteX28562" y="connsiteY28562"/>
              </a:cxn>
              <a:cxn ang="0">
                <a:pos x="connsiteX28563" y="connsiteY28563"/>
              </a:cxn>
              <a:cxn ang="0">
                <a:pos x="connsiteX28564" y="connsiteY28564"/>
              </a:cxn>
              <a:cxn ang="0">
                <a:pos x="connsiteX28565" y="connsiteY28565"/>
              </a:cxn>
              <a:cxn ang="0">
                <a:pos x="connsiteX28566" y="connsiteY28566"/>
              </a:cxn>
              <a:cxn ang="0">
                <a:pos x="connsiteX28567" y="connsiteY28567"/>
              </a:cxn>
              <a:cxn ang="0">
                <a:pos x="connsiteX28568" y="connsiteY28568"/>
              </a:cxn>
              <a:cxn ang="0">
                <a:pos x="connsiteX28569" y="connsiteY28569"/>
              </a:cxn>
              <a:cxn ang="0">
                <a:pos x="connsiteX28570" y="connsiteY28570"/>
              </a:cxn>
              <a:cxn ang="0">
                <a:pos x="connsiteX28571" y="connsiteY28571"/>
              </a:cxn>
              <a:cxn ang="0">
                <a:pos x="connsiteX28572" y="connsiteY28572"/>
              </a:cxn>
              <a:cxn ang="0">
                <a:pos x="connsiteX28573" y="connsiteY28573"/>
              </a:cxn>
              <a:cxn ang="0">
                <a:pos x="connsiteX28574" y="connsiteY28574"/>
              </a:cxn>
              <a:cxn ang="0">
                <a:pos x="connsiteX28575" y="connsiteY28575"/>
              </a:cxn>
              <a:cxn ang="0">
                <a:pos x="connsiteX28576" y="connsiteY28576"/>
              </a:cxn>
              <a:cxn ang="0">
                <a:pos x="connsiteX28577" y="connsiteY28577"/>
              </a:cxn>
              <a:cxn ang="0">
                <a:pos x="connsiteX28578" y="connsiteY28578"/>
              </a:cxn>
              <a:cxn ang="0">
                <a:pos x="connsiteX28579" y="connsiteY28579"/>
              </a:cxn>
              <a:cxn ang="0">
                <a:pos x="connsiteX28580" y="connsiteY28580"/>
              </a:cxn>
              <a:cxn ang="0">
                <a:pos x="connsiteX28581" y="connsiteY28581"/>
              </a:cxn>
              <a:cxn ang="0">
                <a:pos x="connsiteX28582" y="connsiteY28582"/>
              </a:cxn>
              <a:cxn ang="0">
                <a:pos x="connsiteX28583" y="connsiteY28583"/>
              </a:cxn>
              <a:cxn ang="0">
                <a:pos x="connsiteX28584" y="connsiteY28584"/>
              </a:cxn>
              <a:cxn ang="0">
                <a:pos x="connsiteX28585" y="connsiteY28585"/>
              </a:cxn>
              <a:cxn ang="0">
                <a:pos x="connsiteX28586" y="connsiteY28586"/>
              </a:cxn>
              <a:cxn ang="0">
                <a:pos x="connsiteX28587" y="connsiteY28587"/>
              </a:cxn>
              <a:cxn ang="0">
                <a:pos x="connsiteX28588" y="connsiteY28588"/>
              </a:cxn>
              <a:cxn ang="0">
                <a:pos x="connsiteX28589" y="connsiteY28589"/>
              </a:cxn>
              <a:cxn ang="0">
                <a:pos x="connsiteX28590" y="connsiteY28590"/>
              </a:cxn>
              <a:cxn ang="0">
                <a:pos x="connsiteX28591" y="connsiteY28591"/>
              </a:cxn>
              <a:cxn ang="0">
                <a:pos x="connsiteX28592" y="connsiteY28592"/>
              </a:cxn>
              <a:cxn ang="0">
                <a:pos x="connsiteX28593" y="connsiteY28593"/>
              </a:cxn>
              <a:cxn ang="0">
                <a:pos x="connsiteX28594" y="connsiteY28594"/>
              </a:cxn>
              <a:cxn ang="0">
                <a:pos x="connsiteX28595" y="connsiteY28595"/>
              </a:cxn>
              <a:cxn ang="0">
                <a:pos x="connsiteX28596" y="connsiteY28596"/>
              </a:cxn>
              <a:cxn ang="0">
                <a:pos x="connsiteX28597" y="connsiteY28597"/>
              </a:cxn>
              <a:cxn ang="0">
                <a:pos x="connsiteX28598" y="connsiteY28598"/>
              </a:cxn>
              <a:cxn ang="0">
                <a:pos x="connsiteX28599" y="connsiteY28599"/>
              </a:cxn>
              <a:cxn ang="0">
                <a:pos x="connsiteX28600" y="connsiteY28600"/>
              </a:cxn>
              <a:cxn ang="0">
                <a:pos x="connsiteX28601" y="connsiteY28601"/>
              </a:cxn>
              <a:cxn ang="0">
                <a:pos x="connsiteX28602" y="connsiteY28602"/>
              </a:cxn>
              <a:cxn ang="0">
                <a:pos x="connsiteX28603" y="connsiteY28603"/>
              </a:cxn>
              <a:cxn ang="0">
                <a:pos x="connsiteX28604" y="connsiteY28604"/>
              </a:cxn>
              <a:cxn ang="0">
                <a:pos x="connsiteX28605" y="connsiteY28605"/>
              </a:cxn>
              <a:cxn ang="0">
                <a:pos x="connsiteX28606" y="connsiteY28606"/>
              </a:cxn>
              <a:cxn ang="0">
                <a:pos x="connsiteX28607" y="connsiteY28607"/>
              </a:cxn>
              <a:cxn ang="0">
                <a:pos x="connsiteX28608" y="connsiteY28608"/>
              </a:cxn>
              <a:cxn ang="0">
                <a:pos x="connsiteX28609" y="connsiteY28609"/>
              </a:cxn>
              <a:cxn ang="0">
                <a:pos x="connsiteX28610" y="connsiteY28610"/>
              </a:cxn>
              <a:cxn ang="0">
                <a:pos x="connsiteX28611" y="connsiteY28611"/>
              </a:cxn>
              <a:cxn ang="0">
                <a:pos x="connsiteX28612" y="connsiteY28612"/>
              </a:cxn>
              <a:cxn ang="0">
                <a:pos x="connsiteX28613" y="connsiteY28613"/>
              </a:cxn>
              <a:cxn ang="0">
                <a:pos x="connsiteX28614" y="connsiteY28614"/>
              </a:cxn>
              <a:cxn ang="0">
                <a:pos x="connsiteX28615" y="connsiteY28615"/>
              </a:cxn>
              <a:cxn ang="0">
                <a:pos x="connsiteX28616" y="connsiteY28616"/>
              </a:cxn>
              <a:cxn ang="0">
                <a:pos x="connsiteX28617" y="connsiteY28617"/>
              </a:cxn>
              <a:cxn ang="0">
                <a:pos x="connsiteX28618" y="connsiteY28618"/>
              </a:cxn>
              <a:cxn ang="0">
                <a:pos x="connsiteX28619" y="connsiteY28619"/>
              </a:cxn>
              <a:cxn ang="0">
                <a:pos x="connsiteX28620" y="connsiteY28620"/>
              </a:cxn>
              <a:cxn ang="0">
                <a:pos x="connsiteX28621" y="connsiteY28621"/>
              </a:cxn>
              <a:cxn ang="0">
                <a:pos x="connsiteX28622" y="connsiteY28622"/>
              </a:cxn>
              <a:cxn ang="0">
                <a:pos x="connsiteX28623" y="connsiteY28623"/>
              </a:cxn>
              <a:cxn ang="0">
                <a:pos x="connsiteX28624" y="connsiteY28624"/>
              </a:cxn>
              <a:cxn ang="0">
                <a:pos x="connsiteX28625" y="connsiteY28625"/>
              </a:cxn>
              <a:cxn ang="0">
                <a:pos x="connsiteX28626" y="connsiteY28626"/>
              </a:cxn>
              <a:cxn ang="0">
                <a:pos x="connsiteX28627" y="connsiteY28627"/>
              </a:cxn>
              <a:cxn ang="0">
                <a:pos x="connsiteX28628" y="connsiteY28628"/>
              </a:cxn>
              <a:cxn ang="0">
                <a:pos x="connsiteX28629" y="connsiteY28629"/>
              </a:cxn>
              <a:cxn ang="0">
                <a:pos x="connsiteX28630" y="connsiteY28630"/>
              </a:cxn>
              <a:cxn ang="0">
                <a:pos x="connsiteX28631" y="connsiteY28631"/>
              </a:cxn>
              <a:cxn ang="0">
                <a:pos x="connsiteX28632" y="connsiteY28632"/>
              </a:cxn>
              <a:cxn ang="0">
                <a:pos x="connsiteX28633" y="connsiteY28633"/>
              </a:cxn>
              <a:cxn ang="0">
                <a:pos x="connsiteX28634" y="connsiteY28634"/>
              </a:cxn>
              <a:cxn ang="0">
                <a:pos x="connsiteX28635" y="connsiteY28635"/>
              </a:cxn>
              <a:cxn ang="0">
                <a:pos x="connsiteX28636" y="connsiteY28636"/>
              </a:cxn>
              <a:cxn ang="0">
                <a:pos x="connsiteX28637" y="connsiteY28637"/>
              </a:cxn>
              <a:cxn ang="0">
                <a:pos x="connsiteX28638" y="connsiteY28638"/>
              </a:cxn>
              <a:cxn ang="0">
                <a:pos x="connsiteX28639" y="connsiteY28639"/>
              </a:cxn>
              <a:cxn ang="0">
                <a:pos x="connsiteX28640" y="connsiteY28640"/>
              </a:cxn>
              <a:cxn ang="0">
                <a:pos x="connsiteX28641" y="connsiteY28641"/>
              </a:cxn>
              <a:cxn ang="0">
                <a:pos x="connsiteX28642" y="connsiteY28642"/>
              </a:cxn>
              <a:cxn ang="0">
                <a:pos x="connsiteX28643" y="connsiteY28643"/>
              </a:cxn>
              <a:cxn ang="0">
                <a:pos x="connsiteX28644" y="connsiteY28644"/>
              </a:cxn>
              <a:cxn ang="0">
                <a:pos x="connsiteX28645" y="connsiteY28645"/>
              </a:cxn>
              <a:cxn ang="0">
                <a:pos x="connsiteX28646" y="connsiteY28646"/>
              </a:cxn>
              <a:cxn ang="0">
                <a:pos x="connsiteX28647" y="connsiteY28647"/>
              </a:cxn>
              <a:cxn ang="0">
                <a:pos x="connsiteX28648" y="connsiteY28648"/>
              </a:cxn>
              <a:cxn ang="0">
                <a:pos x="connsiteX28649" y="connsiteY28649"/>
              </a:cxn>
              <a:cxn ang="0">
                <a:pos x="connsiteX28650" y="connsiteY28650"/>
              </a:cxn>
              <a:cxn ang="0">
                <a:pos x="connsiteX28651" y="connsiteY28651"/>
              </a:cxn>
              <a:cxn ang="0">
                <a:pos x="connsiteX28652" y="connsiteY28652"/>
              </a:cxn>
              <a:cxn ang="0">
                <a:pos x="connsiteX28653" y="connsiteY28653"/>
              </a:cxn>
              <a:cxn ang="0">
                <a:pos x="connsiteX28654" y="connsiteY28654"/>
              </a:cxn>
              <a:cxn ang="0">
                <a:pos x="connsiteX28655" y="connsiteY28655"/>
              </a:cxn>
              <a:cxn ang="0">
                <a:pos x="connsiteX28656" y="connsiteY28656"/>
              </a:cxn>
              <a:cxn ang="0">
                <a:pos x="connsiteX28657" y="connsiteY28657"/>
              </a:cxn>
              <a:cxn ang="0">
                <a:pos x="connsiteX28658" y="connsiteY28658"/>
              </a:cxn>
              <a:cxn ang="0">
                <a:pos x="connsiteX28659" y="connsiteY28659"/>
              </a:cxn>
              <a:cxn ang="0">
                <a:pos x="connsiteX28660" y="connsiteY28660"/>
              </a:cxn>
              <a:cxn ang="0">
                <a:pos x="connsiteX28661" y="connsiteY28661"/>
              </a:cxn>
              <a:cxn ang="0">
                <a:pos x="connsiteX28662" y="connsiteY28662"/>
              </a:cxn>
              <a:cxn ang="0">
                <a:pos x="connsiteX28663" y="connsiteY28663"/>
              </a:cxn>
              <a:cxn ang="0">
                <a:pos x="connsiteX28664" y="connsiteY28664"/>
              </a:cxn>
              <a:cxn ang="0">
                <a:pos x="connsiteX28665" y="connsiteY28665"/>
              </a:cxn>
              <a:cxn ang="0">
                <a:pos x="connsiteX28666" y="connsiteY28666"/>
              </a:cxn>
              <a:cxn ang="0">
                <a:pos x="connsiteX28667" y="connsiteY28667"/>
              </a:cxn>
              <a:cxn ang="0">
                <a:pos x="connsiteX28668" y="connsiteY28668"/>
              </a:cxn>
              <a:cxn ang="0">
                <a:pos x="connsiteX28669" y="connsiteY28669"/>
              </a:cxn>
              <a:cxn ang="0">
                <a:pos x="connsiteX28670" y="connsiteY28670"/>
              </a:cxn>
              <a:cxn ang="0">
                <a:pos x="connsiteX28671" y="connsiteY28671"/>
              </a:cxn>
              <a:cxn ang="0">
                <a:pos x="connsiteX28672" y="connsiteY28672"/>
              </a:cxn>
              <a:cxn ang="0">
                <a:pos x="connsiteX28673" y="connsiteY28673"/>
              </a:cxn>
              <a:cxn ang="0">
                <a:pos x="connsiteX28674" y="connsiteY28674"/>
              </a:cxn>
              <a:cxn ang="0">
                <a:pos x="connsiteX28675" y="connsiteY28675"/>
              </a:cxn>
              <a:cxn ang="0">
                <a:pos x="connsiteX28676" y="connsiteY28676"/>
              </a:cxn>
              <a:cxn ang="0">
                <a:pos x="connsiteX28677" y="connsiteY28677"/>
              </a:cxn>
              <a:cxn ang="0">
                <a:pos x="connsiteX28678" y="connsiteY28678"/>
              </a:cxn>
              <a:cxn ang="0">
                <a:pos x="connsiteX28679" y="connsiteY28679"/>
              </a:cxn>
              <a:cxn ang="0">
                <a:pos x="connsiteX28680" y="connsiteY28680"/>
              </a:cxn>
              <a:cxn ang="0">
                <a:pos x="connsiteX28681" y="connsiteY28681"/>
              </a:cxn>
              <a:cxn ang="0">
                <a:pos x="connsiteX28682" y="connsiteY28682"/>
              </a:cxn>
              <a:cxn ang="0">
                <a:pos x="connsiteX28683" y="connsiteY28683"/>
              </a:cxn>
              <a:cxn ang="0">
                <a:pos x="connsiteX28684" y="connsiteY28684"/>
              </a:cxn>
              <a:cxn ang="0">
                <a:pos x="connsiteX28685" y="connsiteY28685"/>
              </a:cxn>
              <a:cxn ang="0">
                <a:pos x="connsiteX28686" y="connsiteY28686"/>
              </a:cxn>
              <a:cxn ang="0">
                <a:pos x="connsiteX28687" y="connsiteY28687"/>
              </a:cxn>
              <a:cxn ang="0">
                <a:pos x="connsiteX28688" y="connsiteY28688"/>
              </a:cxn>
              <a:cxn ang="0">
                <a:pos x="connsiteX28689" y="connsiteY28689"/>
              </a:cxn>
              <a:cxn ang="0">
                <a:pos x="connsiteX28690" y="connsiteY28690"/>
              </a:cxn>
              <a:cxn ang="0">
                <a:pos x="connsiteX28691" y="connsiteY28691"/>
              </a:cxn>
              <a:cxn ang="0">
                <a:pos x="connsiteX28692" y="connsiteY28692"/>
              </a:cxn>
              <a:cxn ang="0">
                <a:pos x="connsiteX28693" y="connsiteY28693"/>
              </a:cxn>
              <a:cxn ang="0">
                <a:pos x="connsiteX28694" y="connsiteY28694"/>
              </a:cxn>
              <a:cxn ang="0">
                <a:pos x="connsiteX28695" y="connsiteY28695"/>
              </a:cxn>
              <a:cxn ang="0">
                <a:pos x="connsiteX28696" y="connsiteY28696"/>
              </a:cxn>
              <a:cxn ang="0">
                <a:pos x="connsiteX28697" y="connsiteY28697"/>
              </a:cxn>
              <a:cxn ang="0">
                <a:pos x="connsiteX28698" y="connsiteY28698"/>
              </a:cxn>
              <a:cxn ang="0">
                <a:pos x="connsiteX28699" y="connsiteY28699"/>
              </a:cxn>
              <a:cxn ang="0">
                <a:pos x="connsiteX28700" y="connsiteY28700"/>
              </a:cxn>
              <a:cxn ang="0">
                <a:pos x="connsiteX28701" y="connsiteY28701"/>
              </a:cxn>
              <a:cxn ang="0">
                <a:pos x="connsiteX28702" y="connsiteY28702"/>
              </a:cxn>
              <a:cxn ang="0">
                <a:pos x="connsiteX28703" y="connsiteY28703"/>
              </a:cxn>
              <a:cxn ang="0">
                <a:pos x="connsiteX28704" y="connsiteY28704"/>
              </a:cxn>
              <a:cxn ang="0">
                <a:pos x="connsiteX28705" y="connsiteY28705"/>
              </a:cxn>
              <a:cxn ang="0">
                <a:pos x="connsiteX28706" y="connsiteY28706"/>
              </a:cxn>
              <a:cxn ang="0">
                <a:pos x="connsiteX28707" y="connsiteY28707"/>
              </a:cxn>
              <a:cxn ang="0">
                <a:pos x="connsiteX28708" y="connsiteY28708"/>
              </a:cxn>
              <a:cxn ang="0">
                <a:pos x="connsiteX28709" y="connsiteY28709"/>
              </a:cxn>
              <a:cxn ang="0">
                <a:pos x="connsiteX28710" y="connsiteY28710"/>
              </a:cxn>
              <a:cxn ang="0">
                <a:pos x="connsiteX28711" y="connsiteY28711"/>
              </a:cxn>
              <a:cxn ang="0">
                <a:pos x="connsiteX28712" y="connsiteY28712"/>
              </a:cxn>
              <a:cxn ang="0">
                <a:pos x="connsiteX28713" y="connsiteY28713"/>
              </a:cxn>
              <a:cxn ang="0">
                <a:pos x="connsiteX28714" y="connsiteY28714"/>
              </a:cxn>
              <a:cxn ang="0">
                <a:pos x="connsiteX28715" y="connsiteY28715"/>
              </a:cxn>
              <a:cxn ang="0">
                <a:pos x="connsiteX28716" y="connsiteY28716"/>
              </a:cxn>
              <a:cxn ang="0">
                <a:pos x="connsiteX28717" y="connsiteY28717"/>
              </a:cxn>
              <a:cxn ang="0">
                <a:pos x="connsiteX28718" y="connsiteY28718"/>
              </a:cxn>
              <a:cxn ang="0">
                <a:pos x="connsiteX28719" y="connsiteY28719"/>
              </a:cxn>
              <a:cxn ang="0">
                <a:pos x="connsiteX28720" y="connsiteY28720"/>
              </a:cxn>
              <a:cxn ang="0">
                <a:pos x="connsiteX28721" y="connsiteY28721"/>
              </a:cxn>
              <a:cxn ang="0">
                <a:pos x="connsiteX28722" y="connsiteY28722"/>
              </a:cxn>
              <a:cxn ang="0">
                <a:pos x="connsiteX28723" y="connsiteY28723"/>
              </a:cxn>
              <a:cxn ang="0">
                <a:pos x="connsiteX28724" y="connsiteY28724"/>
              </a:cxn>
              <a:cxn ang="0">
                <a:pos x="connsiteX28725" y="connsiteY28725"/>
              </a:cxn>
              <a:cxn ang="0">
                <a:pos x="connsiteX28726" y="connsiteY28726"/>
              </a:cxn>
              <a:cxn ang="0">
                <a:pos x="connsiteX28727" y="connsiteY28727"/>
              </a:cxn>
              <a:cxn ang="0">
                <a:pos x="connsiteX28728" y="connsiteY28728"/>
              </a:cxn>
              <a:cxn ang="0">
                <a:pos x="connsiteX28729" y="connsiteY28729"/>
              </a:cxn>
              <a:cxn ang="0">
                <a:pos x="connsiteX28730" y="connsiteY28730"/>
              </a:cxn>
              <a:cxn ang="0">
                <a:pos x="connsiteX28731" y="connsiteY28731"/>
              </a:cxn>
              <a:cxn ang="0">
                <a:pos x="connsiteX28732" y="connsiteY28732"/>
              </a:cxn>
              <a:cxn ang="0">
                <a:pos x="connsiteX28733" y="connsiteY28733"/>
              </a:cxn>
              <a:cxn ang="0">
                <a:pos x="connsiteX28734" y="connsiteY28734"/>
              </a:cxn>
              <a:cxn ang="0">
                <a:pos x="connsiteX28735" y="connsiteY28735"/>
              </a:cxn>
              <a:cxn ang="0">
                <a:pos x="connsiteX28736" y="connsiteY28736"/>
              </a:cxn>
              <a:cxn ang="0">
                <a:pos x="connsiteX28737" y="connsiteY28737"/>
              </a:cxn>
              <a:cxn ang="0">
                <a:pos x="connsiteX28738" y="connsiteY28738"/>
              </a:cxn>
              <a:cxn ang="0">
                <a:pos x="connsiteX28739" y="connsiteY28739"/>
              </a:cxn>
              <a:cxn ang="0">
                <a:pos x="connsiteX28740" y="connsiteY28740"/>
              </a:cxn>
              <a:cxn ang="0">
                <a:pos x="connsiteX28741" y="connsiteY28741"/>
              </a:cxn>
              <a:cxn ang="0">
                <a:pos x="connsiteX28742" y="connsiteY28742"/>
              </a:cxn>
              <a:cxn ang="0">
                <a:pos x="connsiteX28743" y="connsiteY28743"/>
              </a:cxn>
              <a:cxn ang="0">
                <a:pos x="connsiteX28744" y="connsiteY28744"/>
              </a:cxn>
              <a:cxn ang="0">
                <a:pos x="connsiteX28745" y="connsiteY28745"/>
              </a:cxn>
              <a:cxn ang="0">
                <a:pos x="connsiteX28746" y="connsiteY28746"/>
              </a:cxn>
              <a:cxn ang="0">
                <a:pos x="connsiteX28747" y="connsiteY28747"/>
              </a:cxn>
              <a:cxn ang="0">
                <a:pos x="connsiteX28748" y="connsiteY28748"/>
              </a:cxn>
              <a:cxn ang="0">
                <a:pos x="connsiteX28749" y="connsiteY28749"/>
              </a:cxn>
              <a:cxn ang="0">
                <a:pos x="connsiteX28750" y="connsiteY28750"/>
              </a:cxn>
              <a:cxn ang="0">
                <a:pos x="connsiteX28751" y="connsiteY28751"/>
              </a:cxn>
              <a:cxn ang="0">
                <a:pos x="connsiteX28752" y="connsiteY28752"/>
              </a:cxn>
              <a:cxn ang="0">
                <a:pos x="connsiteX28753" y="connsiteY28753"/>
              </a:cxn>
              <a:cxn ang="0">
                <a:pos x="connsiteX28754" y="connsiteY28754"/>
              </a:cxn>
              <a:cxn ang="0">
                <a:pos x="connsiteX28755" y="connsiteY28755"/>
              </a:cxn>
              <a:cxn ang="0">
                <a:pos x="connsiteX28756" y="connsiteY28756"/>
              </a:cxn>
              <a:cxn ang="0">
                <a:pos x="connsiteX28757" y="connsiteY28757"/>
              </a:cxn>
              <a:cxn ang="0">
                <a:pos x="connsiteX28758" y="connsiteY28758"/>
              </a:cxn>
              <a:cxn ang="0">
                <a:pos x="connsiteX28759" y="connsiteY28759"/>
              </a:cxn>
              <a:cxn ang="0">
                <a:pos x="connsiteX28760" y="connsiteY28760"/>
              </a:cxn>
              <a:cxn ang="0">
                <a:pos x="connsiteX28761" y="connsiteY28761"/>
              </a:cxn>
              <a:cxn ang="0">
                <a:pos x="connsiteX28762" y="connsiteY28762"/>
              </a:cxn>
              <a:cxn ang="0">
                <a:pos x="connsiteX28763" y="connsiteY28763"/>
              </a:cxn>
              <a:cxn ang="0">
                <a:pos x="connsiteX28764" y="connsiteY28764"/>
              </a:cxn>
              <a:cxn ang="0">
                <a:pos x="connsiteX28765" y="connsiteY28765"/>
              </a:cxn>
              <a:cxn ang="0">
                <a:pos x="connsiteX28766" y="connsiteY28766"/>
              </a:cxn>
              <a:cxn ang="0">
                <a:pos x="connsiteX28767" y="connsiteY28767"/>
              </a:cxn>
              <a:cxn ang="0">
                <a:pos x="connsiteX28768" y="connsiteY28768"/>
              </a:cxn>
              <a:cxn ang="0">
                <a:pos x="connsiteX28769" y="connsiteY28769"/>
              </a:cxn>
              <a:cxn ang="0">
                <a:pos x="connsiteX28770" y="connsiteY28770"/>
              </a:cxn>
              <a:cxn ang="0">
                <a:pos x="connsiteX28771" y="connsiteY28771"/>
              </a:cxn>
              <a:cxn ang="0">
                <a:pos x="connsiteX28772" y="connsiteY28772"/>
              </a:cxn>
              <a:cxn ang="0">
                <a:pos x="connsiteX28773" y="connsiteY28773"/>
              </a:cxn>
              <a:cxn ang="0">
                <a:pos x="connsiteX28774" y="connsiteY28774"/>
              </a:cxn>
              <a:cxn ang="0">
                <a:pos x="connsiteX28775" y="connsiteY28775"/>
              </a:cxn>
              <a:cxn ang="0">
                <a:pos x="connsiteX28776" y="connsiteY28776"/>
              </a:cxn>
              <a:cxn ang="0">
                <a:pos x="connsiteX28777" y="connsiteY28777"/>
              </a:cxn>
              <a:cxn ang="0">
                <a:pos x="connsiteX28778" y="connsiteY28778"/>
              </a:cxn>
              <a:cxn ang="0">
                <a:pos x="connsiteX28779" y="connsiteY28779"/>
              </a:cxn>
              <a:cxn ang="0">
                <a:pos x="connsiteX28780" y="connsiteY28780"/>
              </a:cxn>
              <a:cxn ang="0">
                <a:pos x="connsiteX28781" y="connsiteY28781"/>
              </a:cxn>
              <a:cxn ang="0">
                <a:pos x="connsiteX28782" y="connsiteY28782"/>
              </a:cxn>
              <a:cxn ang="0">
                <a:pos x="connsiteX28783" y="connsiteY28783"/>
              </a:cxn>
              <a:cxn ang="0">
                <a:pos x="connsiteX28784" y="connsiteY28784"/>
              </a:cxn>
              <a:cxn ang="0">
                <a:pos x="connsiteX28785" y="connsiteY28785"/>
              </a:cxn>
              <a:cxn ang="0">
                <a:pos x="connsiteX28786" y="connsiteY28786"/>
              </a:cxn>
              <a:cxn ang="0">
                <a:pos x="connsiteX28787" y="connsiteY28787"/>
              </a:cxn>
              <a:cxn ang="0">
                <a:pos x="connsiteX28788" y="connsiteY28788"/>
              </a:cxn>
              <a:cxn ang="0">
                <a:pos x="connsiteX28789" y="connsiteY28789"/>
              </a:cxn>
              <a:cxn ang="0">
                <a:pos x="connsiteX28790" y="connsiteY28790"/>
              </a:cxn>
              <a:cxn ang="0">
                <a:pos x="connsiteX28791" y="connsiteY28791"/>
              </a:cxn>
              <a:cxn ang="0">
                <a:pos x="connsiteX28792" y="connsiteY28792"/>
              </a:cxn>
              <a:cxn ang="0">
                <a:pos x="connsiteX28793" y="connsiteY28793"/>
              </a:cxn>
              <a:cxn ang="0">
                <a:pos x="connsiteX28794" y="connsiteY28794"/>
              </a:cxn>
              <a:cxn ang="0">
                <a:pos x="connsiteX28795" y="connsiteY28795"/>
              </a:cxn>
              <a:cxn ang="0">
                <a:pos x="connsiteX28796" y="connsiteY28796"/>
              </a:cxn>
              <a:cxn ang="0">
                <a:pos x="connsiteX28797" y="connsiteY28797"/>
              </a:cxn>
              <a:cxn ang="0">
                <a:pos x="connsiteX28798" y="connsiteY28798"/>
              </a:cxn>
              <a:cxn ang="0">
                <a:pos x="connsiteX28799" y="connsiteY28799"/>
              </a:cxn>
              <a:cxn ang="0">
                <a:pos x="connsiteX28800" y="connsiteY28800"/>
              </a:cxn>
              <a:cxn ang="0">
                <a:pos x="connsiteX28801" y="connsiteY28801"/>
              </a:cxn>
              <a:cxn ang="0">
                <a:pos x="connsiteX28802" y="connsiteY28802"/>
              </a:cxn>
              <a:cxn ang="0">
                <a:pos x="connsiteX28803" y="connsiteY28803"/>
              </a:cxn>
              <a:cxn ang="0">
                <a:pos x="connsiteX28804" y="connsiteY28804"/>
              </a:cxn>
              <a:cxn ang="0">
                <a:pos x="connsiteX28805" y="connsiteY28805"/>
              </a:cxn>
              <a:cxn ang="0">
                <a:pos x="connsiteX28806" y="connsiteY28806"/>
              </a:cxn>
              <a:cxn ang="0">
                <a:pos x="connsiteX28807" y="connsiteY28807"/>
              </a:cxn>
              <a:cxn ang="0">
                <a:pos x="connsiteX28808" y="connsiteY28808"/>
              </a:cxn>
              <a:cxn ang="0">
                <a:pos x="connsiteX28809" y="connsiteY28809"/>
              </a:cxn>
              <a:cxn ang="0">
                <a:pos x="connsiteX28810" y="connsiteY28810"/>
              </a:cxn>
              <a:cxn ang="0">
                <a:pos x="connsiteX28811" y="connsiteY28811"/>
              </a:cxn>
              <a:cxn ang="0">
                <a:pos x="connsiteX28812" y="connsiteY28812"/>
              </a:cxn>
              <a:cxn ang="0">
                <a:pos x="connsiteX28813" y="connsiteY28813"/>
              </a:cxn>
              <a:cxn ang="0">
                <a:pos x="connsiteX28814" y="connsiteY28814"/>
              </a:cxn>
              <a:cxn ang="0">
                <a:pos x="connsiteX28815" y="connsiteY28815"/>
              </a:cxn>
              <a:cxn ang="0">
                <a:pos x="connsiteX28816" y="connsiteY28816"/>
              </a:cxn>
              <a:cxn ang="0">
                <a:pos x="connsiteX28817" y="connsiteY28817"/>
              </a:cxn>
              <a:cxn ang="0">
                <a:pos x="connsiteX28818" y="connsiteY28818"/>
              </a:cxn>
              <a:cxn ang="0">
                <a:pos x="connsiteX28819" y="connsiteY28819"/>
              </a:cxn>
              <a:cxn ang="0">
                <a:pos x="connsiteX28820" y="connsiteY28820"/>
              </a:cxn>
              <a:cxn ang="0">
                <a:pos x="connsiteX28821" y="connsiteY28821"/>
              </a:cxn>
              <a:cxn ang="0">
                <a:pos x="connsiteX28822" y="connsiteY28822"/>
              </a:cxn>
              <a:cxn ang="0">
                <a:pos x="connsiteX28823" y="connsiteY28823"/>
              </a:cxn>
              <a:cxn ang="0">
                <a:pos x="connsiteX28824" y="connsiteY28824"/>
              </a:cxn>
              <a:cxn ang="0">
                <a:pos x="connsiteX28825" y="connsiteY28825"/>
              </a:cxn>
              <a:cxn ang="0">
                <a:pos x="connsiteX28826" y="connsiteY28826"/>
              </a:cxn>
              <a:cxn ang="0">
                <a:pos x="connsiteX28827" y="connsiteY28827"/>
              </a:cxn>
              <a:cxn ang="0">
                <a:pos x="connsiteX28828" y="connsiteY28828"/>
              </a:cxn>
              <a:cxn ang="0">
                <a:pos x="connsiteX28829" y="connsiteY28829"/>
              </a:cxn>
              <a:cxn ang="0">
                <a:pos x="connsiteX28830" y="connsiteY28830"/>
              </a:cxn>
              <a:cxn ang="0">
                <a:pos x="connsiteX28831" y="connsiteY28831"/>
              </a:cxn>
              <a:cxn ang="0">
                <a:pos x="connsiteX28832" y="connsiteY28832"/>
              </a:cxn>
              <a:cxn ang="0">
                <a:pos x="connsiteX28833" y="connsiteY28833"/>
              </a:cxn>
              <a:cxn ang="0">
                <a:pos x="connsiteX28834" y="connsiteY28834"/>
              </a:cxn>
              <a:cxn ang="0">
                <a:pos x="connsiteX28835" y="connsiteY28835"/>
              </a:cxn>
              <a:cxn ang="0">
                <a:pos x="connsiteX28836" y="connsiteY28836"/>
              </a:cxn>
              <a:cxn ang="0">
                <a:pos x="connsiteX28837" y="connsiteY28837"/>
              </a:cxn>
              <a:cxn ang="0">
                <a:pos x="connsiteX28838" y="connsiteY28838"/>
              </a:cxn>
              <a:cxn ang="0">
                <a:pos x="connsiteX28839" y="connsiteY28839"/>
              </a:cxn>
              <a:cxn ang="0">
                <a:pos x="connsiteX28840" y="connsiteY28840"/>
              </a:cxn>
              <a:cxn ang="0">
                <a:pos x="connsiteX28841" y="connsiteY28841"/>
              </a:cxn>
              <a:cxn ang="0">
                <a:pos x="connsiteX28842" y="connsiteY28842"/>
              </a:cxn>
              <a:cxn ang="0">
                <a:pos x="connsiteX28843" y="connsiteY28843"/>
              </a:cxn>
              <a:cxn ang="0">
                <a:pos x="connsiteX28844" y="connsiteY28844"/>
              </a:cxn>
              <a:cxn ang="0">
                <a:pos x="connsiteX28845" y="connsiteY28845"/>
              </a:cxn>
              <a:cxn ang="0">
                <a:pos x="connsiteX28846" y="connsiteY28846"/>
              </a:cxn>
              <a:cxn ang="0">
                <a:pos x="connsiteX28847" y="connsiteY28847"/>
              </a:cxn>
              <a:cxn ang="0">
                <a:pos x="connsiteX28848" y="connsiteY28848"/>
              </a:cxn>
              <a:cxn ang="0">
                <a:pos x="connsiteX28849" y="connsiteY28849"/>
              </a:cxn>
              <a:cxn ang="0">
                <a:pos x="connsiteX28850" y="connsiteY28850"/>
              </a:cxn>
              <a:cxn ang="0">
                <a:pos x="connsiteX28851" y="connsiteY28851"/>
              </a:cxn>
              <a:cxn ang="0">
                <a:pos x="connsiteX28852" y="connsiteY28852"/>
              </a:cxn>
              <a:cxn ang="0">
                <a:pos x="connsiteX28853" y="connsiteY28853"/>
              </a:cxn>
              <a:cxn ang="0">
                <a:pos x="connsiteX28854" y="connsiteY28854"/>
              </a:cxn>
              <a:cxn ang="0">
                <a:pos x="connsiteX28855" y="connsiteY28855"/>
              </a:cxn>
              <a:cxn ang="0">
                <a:pos x="connsiteX28856" y="connsiteY28856"/>
              </a:cxn>
              <a:cxn ang="0">
                <a:pos x="connsiteX28857" y="connsiteY28857"/>
              </a:cxn>
              <a:cxn ang="0">
                <a:pos x="connsiteX28858" y="connsiteY28858"/>
              </a:cxn>
              <a:cxn ang="0">
                <a:pos x="connsiteX28859" y="connsiteY28859"/>
              </a:cxn>
              <a:cxn ang="0">
                <a:pos x="connsiteX28860" y="connsiteY28860"/>
              </a:cxn>
              <a:cxn ang="0">
                <a:pos x="connsiteX28861" y="connsiteY28861"/>
              </a:cxn>
              <a:cxn ang="0">
                <a:pos x="connsiteX28862" y="connsiteY28862"/>
              </a:cxn>
              <a:cxn ang="0">
                <a:pos x="connsiteX28863" y="connsiteY28863"/>
              </a:cxn>
              <a:cxn ang="0">
                <a:pos x="connsiteX28864" y="connsiteY28864"/>
              </a:cxn>
              <a:cxn ang="0">
                <a:pos x="connsiteX28865" y="connsiteY28865"/>
              </a:cxn>
              <a:cxn ang="0">
                <a:pos x="connsiteX28866" y="connsiteY28866"/>
              </a:cxn>
              <a:cxn ang="0">
                <a:pos x="connsiteX28867" y="connsiteY28867"/>
              </a:cxn>
              <a:cxn ang="0">
                <a:pos x="connsiteX28868" y="connsiteY28868"/>
              </a:cxn>
              <a:cxn ang="0">
                <a:pos x="connsiteX28869" y="connsiteY28869"/>
              </a:cxn>
              <a:cxn ang="0">
                <a:pos x="connsiteX28870" y="connsiteY28870"/>
              </a:cxn>
              <a:cxn ang="0">
                <a:pos x="connsiteX28871" y="connsiteY28871"/>
              </a:cxn>
              <a:cxn ang="0">
                <a:pos x="connsiteX28872" y="connsiteY28872"/>
              </a:cxn>
              <a:cxn ang="0">
                <a:pos x="connsiteX28873" y="connsiteY28873"/>
              </a:cxn>
              <a:cxn ang="0">
                <a:pos x="connsiteX28874" y="connsiteY28874"/>
              </a:cxn>
              <a:cxn ang="0">
                <a:pos x="connsiteX28875" y="connsiteY28875"/>
              </a:cxn>
              <a:cxn ang="0">
                <a:pos x="connsiteX28876" y="connsiteY28876"/>
              </a:cxn>
              <a:cxn ang="0">
                <a:pos x="connsiteX28877" y="connsiteY28877"/>
              </a:cxn>
              <a:cxn ang="0">
                <a:pos x="connsiteX28878" y="connsiteY28878"/>
              </a:cxn>
              <a:cxn ang="0">
                <a:pos x="connsiteX28879" y="connsiteY28879"/>
              </a:cxn>
              <a:cxn ang="0">
                <a:pos x="connsiteX28880" y="connsiteY28880"/>
              </a:cxn>
              <a:cxn ang="0">
                <a:pos x="connsiteX28881" y="connsiteY28881"/>
              </a:cxn>
              <a:cxn ang="0">
                <a:pos x="connsiteX28882" y="connsiteY28882"/>
              </a:cxn>
              <a:cxn ang="0">
                <a:pos x="connsiteX28883" y="connsiteY28883"/>
              </a:cxn>
              <a:cxn ang="0">
                <a:pos x="connsiteX28884" y="connsiteY28884"/>
              </a:cxn>
              <a:cxn ang="0">
                <a:pos x="connsiteX28885" y="connsiteY28885"/>
              </a:cxn>
              <a:cxn ang="0">
                <a:pos x="connsiteX28886" y="connsiteY28886"/>
              </a:cxn>
              <a:cxn ang="0">
                <a:pos x="connsiteX28887" y="connsiteY28887"/>
              </a:cxn>
              <a:cxn ang="0">
                <a:pos x="connsiteX28888" y="connsiteY28888"/>
              </a:cxn>
              <a:cxn ang="0">
                <a:pos x="connsiteX28889" y="connsiteY28889"/>
              </a:cxn>
              <a:cxn ang="0">
                <a:pos x="connsiteX28890" y="connsiteY28890"/>
              </a:cxn>
              <a:cxn ang="0">
                <a:pos x="connsiteX28891" y="connsiteY28891"/>
              </a:cxn>
              <a:cxn ang="0">
                <a:pos x="connsiteX28892" y="connsiteY28892"/>
              </a:cxn>
              <a:cxn ang="0">
                <a:pos x="connsiteX28893" y="connsiteY28893"/>
              </a:cxn>
              <a:cxn ang="0">
                <a:pos x="connsiteX28894" y="connsiteY28894"/>
              </a:cxn>
              <a:cxn ang="0">
                <a:pos x="connsiteX28895" y="connsiteY28895"/>
              </a:cxn>
              <a:cxn ang="0">
                <a:pos x="connsiteX28896" y="connsiteY28896"/>
              </a:cxn>
              <a:cxn ang="0">
                <a:pos x="connsiteX28897" y="connsiteY28897"/>
              </a:cxn>
              <a:cxn ang="0">
                <a:pos x="connsiteX28898" y="connsiteY28898"/>
              </a:cxn>
              <a:cxn ang="0">
                <a:pos x="connsiteX28899" y="connsiteY28899"/>
              </a:cxn>
              <a:cxn ang="0">
                <a:pos x="connsiteX28900" y="connsiteY28900"/>
              </a:cxn>
              <a:cxn ang="0">
                <a:pos x="connsiteX28901" y="connsiteY28901"/>
              </a:cxn>
              <a:cxn ang="0">
                <a:pos x="connsiteX28902" y="connsiteY28902"/>
              </a:cxn>
              <a:cxn ang="0">
                <a:pos x="connsiteX28903" y="connsiteY28903"/>
              </a:cxn>
              <a:cxn ang="0">
                <a:pos x="connsiteX28904" y="connsiteY28904"/>
              </a:cxn>
              <a:cxn ang="0">
                <a:pos x="connsiteX28905" y="connsiteY28905"/>
              </a:cxn>
              <a:cxn ang="0">
                <a:pos x="connsiteX28906" y="connsiteY28906"/>
              </a:cxn>
              <a:cxn ang="0">
                <a:pos x="connsiteX28907" y="connsiteY28907"/>
              </a:cxn>
              <a:cxn ang="0">
                <a:pos x="connsiteX28908" y="connsiteY28908"/>
              </a:cxn>
              <a:cxn ang="0">
                <a:pos x="connsiteX28909" y="connsiteY28909"/>
              </a:cxn>
              <a:cxn ang="0">
                <a:pos x="connsiteX28910" y="connsiteY28910"/>
              </a:cxn>
              <a:cxn ang="0">
                <a:pos x="connsiteX28911" y="connsiteY28911"/>
              </a:cxn>
              <a:cxn ang="0">
                <a:pos x="connsiteX28912" y="connsiteY28912"/>
              </a:cxn>
              <a:cxn ang="0">
                <a:pos x="connsiteX28913" y="connsiteY28913"/>
              </a:cxn>
              <a:cxn ang="0">
                <a:pos x="connsiteX28914" y="connsiteY28914"/>
              </a:cxn>
              <a:cxn ang="0">
                <a:pos x="connsiteX28915" y="connsiteY28915"/>
              </a:cxn>
              <a:cxn ang="0">
                <a:pos x="connsiteX28916" y="connsiteY28916"/>
              </a:cxn>
              <a:cxn ang="0">
                <a:pos x="connsiteX28917" y="connsiteY28917"/>
              </a:cxn>
              <a:cxn ang="0">
                <a:pos x="connsiteX28918" y="connsiteY28918"/>
              </a:cxn>
              <a:cxn ang="0">
                <a:pos x="connsiteX28919" y="connsiteY28919"/>
              </a:cxn>
              <a:cxn ang="0">
                <a:pos x="connsiteX28920" y="connsiteY28920"/>
              </a:cxn>
              <a:cxn ang="0">
                <a:pos x="connsiteX28921" y="connsiteY28921"/>
              </a:cxn>
              <a:cxn ang="0">
                <a:pos x="connsiteX28922" y="connsiteY28922"/>
              </a:cxn>
              <a:cxn ang="0">
                <a:pos x="connsiteX28923" y="connsiteY28923"/>
              </a:cxn>
              <a:cxn ang="0">
                <a:pos x="connsiteX28924" y="connsiteY28924"/>
              </a:cxn>
              <a:cxn ang="0">
                <a:pos x="connsiteX28925" y="connsiteY28925"/>
              </a:cxn>
              <a:cxn ang="0">
                <a:pos x="connsiteX28926" y="connsiteY28926"/>
              </a:cxn>
              <a:cxn ang="0">
                <a:pos x="connsiteX28927" y="connsiteY28927"/>
              </a:cxn>
              <a:cxn ang="0">
                <a:pos x="connsiteX28928" y="connsiteY28928"/>
              </a:cxn>
              <a:cxn ang="0">
                <a:pos x="connsiteX28929" y="connsiteY28929"/>
              </a:cxn>
              <a:cxn ang="0">
                <a:pos x="connsiteX28930" y="connsiteY28930"/>
              </a:cxn>
              <a:cxn ang="0">
                <a:pos x="connsiteX28931" y="connsiteY28931"/>
              </a:cxn>
              <a:cxn ang="0">
                <a:pos x="connsiteX28932" y="connsiteY28932"/>
              </a:cxn>
              <a:cxn ang="0">
                <a:pos x="connsiteX28933" y="connsiteY28933"/>
              </a:cxn>
              <a:cxn ang="0">
                <a:pos x="connsiteX28934" y="connsiteY28934"/>
              </a:cxn>
              <a:cxn ang="0">
                <a:pos x="connsiteX28935" y="connsiteY28935"/>
              </a:cxn>
              <a:cxn ang="0">
                <a:pos x="connsiteX28936" y="connsiteY28936"/>
              </a:cxn>
              <a:cxn ang="0">
                <a:pos x="connsiteX28937" y="connsiteY28937"/>
              </a:cxn>
              <a:cxn ang="0">
                <a:pos x="connsiteX28938" y="connsiteY28938"/>
              </a:cxn>
              <a:cxn ang="0">
                <a:pos x="connsiteX28939" y="connsiteY28939"/>
              </a:cxn>
              <a:cxn ang="0">
                <a:pos x="connsiteX28940" y="connsiteY28940"/>
              </a:cxn>
              <a:cxn ang="0">
                <a:pos x="connsiteX28941" y="connsiteY28941"/>
              </a:cxn>
              <a:cxn ang="0">
                <a:pos x="connsiteX28942" y="connsiteY28942"/>
              </a:cxn>
              <a:cxn ang="0">
                <a:pos x="connsiteX28943" y="connsiteY28943"/>
              </a:cxn>
              <a:cxn ang="0">
                <a:pos x="connsiteX28944" y="connsiteY28944"/>
              </a:cxn>
              <a:cxn ang="0">
                <a:pos x="connsiteX28945" y="connsiteY28945"/>
              </a:cxn>
              <a:cxn ang="0">
                <a:pos x="connsiteX28946" y="connsiteY28946"/>
              </a:cxn>
              <a:cxn ang="0">
                <a:pos x="connsiteX28947" y="connsiteY28947"/>
              </a:cxn>
              <a:cxn ang="0">
                <a:pos x="connsiteX28948" y="connsiteY28948"/>
              </a:cxn>
              <a:cxn ang="0">
                <a:pos x="connsiteX28949" y="connsiteY28949"/>
              </a:cxn>
              <a:cxn ang="0">
                <a:pos x="connsiteX28950" y="connsiteY28950"/>
              </a:cxn>
              <a:cxn ang="0">
                <a:pos x="connsiteX28951" y="connsiteY28951"/>
              </a:cxn>
              <a:cxn ang="0">
                <a:pos x="connsiteX28952" y="connsiteY28952"/>
              </a:cxn>
              <a:cxn ang="0">
                <a:pos x="connsiteX28953" y="connsiteY28953"/>
              </a:cxn>
              <a:cxn ang="0">
                <a:pos x="connsiteX28954" y="connsiteY28954"/>
              </a:cxn>
              <a:cxn ang="0">
                <a:pos x="connsiteX28955" y="connsiteY28955"/>
              </a:cxn>
              <a:cxn ang="0">
                <a:pos x="connsiteX28956" y="connsiteY28956"/>
              </a:cxn>
              <a:cxn ang="0">
                <a:pos x="connsiteX28957" y="connsiteY28957"/>
              </a:cxn>
              <a:cxn ang="0">
                <a:pos x="connsiteX28958" y="connsiteY28958"/>
              </a:cxn>
              <a:cxn ang="0">
                <a:pos x="connsiteX28959" y="connsiteY28959"/>
              </a:cxn>
              <a:cxn ang="0">
                <a:pos x="connsiteX28960" y="connsiteY28960"/>
              </a:cxn>
              <a:cxn ang="0">
                <a:pos x="connsiteX28961" y="connsiteY28961"/>
              </a:cxn>
              <a:cxn ang="0">
                <a:pos x="connsiteX28962" y="connsiteY28962"/>
              </a:cxn>
              <a:cxn ang="0">
                <a:pos x="connsiteX28963" y="connsiteY28963"/>
              </a:cxn>
              <a:cxn ang="0">
                <a:pos x="connsiteX28964" y="connsiteY28964"/>
              </a:cxn>
              <a:cxn ang="0">
                <a:pos x="connsiteX28965" y="connsiteY28965"/>
              </a:cxn>
              <a:cxn ang="0">
                <a:pos x="connsiteX28966" y="connsiteY28966"/>
              </a:cxn>
              <a:cxn ang="0">
                <a:pos x="connsiteX28967" y="connsiteY28967"/>
              </a:cxn>
              <a:cxn ang="0">
                <a:pos x="connsiteX28968" y="connsiteY28968"/>
              </a:cxn>
              <a:cxn ang="0">
                <a:pos x="connsiteX28969" y="connsiteY28969"/>
              </a:cxn>
              <a:cxn ang="0">
                <a:pos x="connsiteX28970" y="connsiteY28970"/>
              </a:cxn>
              <a:cxn ang="0">
                <a:pos x="connsiteX28971" y="connsiteY28971"/>
              </a:cxn>
              <a:cxn ang="0">
                <a:pos x="connsiteX28972" y="connsiteY28972"/>
              </a:cxn>
              <a:cxn ang="0">
                <a:pos x="connsiteX28973" y="connsiteY28973"/>
              </a:cxn>
              <a:cxn ang="0">
                <a:pos x="connsiteX28974" y="connsiteY28974"/>
              </a:cxn>
              <a:cxn ang="0">
                <a:pos x="connsiteX28975" y="connsiteY28975"/>
              </a:cxn>
              <a:cxn ang="0">
                <a:pos x="connsiteX28976" y="connsiteY28976"/>
              </a:cxn>
              <a:cxn ang="0">
                <a:pos x="connsiteX28977" y="connsiteY28977"/>
              </a:cxn>
              <a:cxn ang="0">
                <a:pos x="connsiteX28978" y="connsiteY28978"/>
              </a:cxn>
              <a:cxn ang="0">
                <a:pos x="connsiteX28979" y="connsiteY28979"/>
              </a:cxn>
              <a:cxn ang="0">
                <a:pos x="connsiteX28980" y="connsiteY28980"/>
              </a:cxn>
              <a:cxn ang="0">
                <a:pos x="connsiteX28981" y="connsiteY28981"/>
              </a:cxn>
              <a:cxn ang="0">
                <a:pos x="connsiteX28982" y="connsiteY28982"/>
              </a:cxn>
              <a:cxn ang="0">
                <a:pos x="connsiteX28983" y="connsiteY28983"/>
              </a:cxn>
              <a:cxn ang="0">
                <a:pos x="connsiteX28984" y="connsiteY28984"/>
              </a:cxn>
              <a:cxn ang="0">
                <a:pos x="connsiteX28985" y="connsiteY28985"/>
              </a:cxn>
              <a:cxn ang="0">
                <a:pos x="connsiteX28986" y="connsiteY28986"/>
              </a:cxn>
              <a:cxn ang="0">
                <a:pos x="connsiteX28987" y="connsiteY28987"/>
              </a:cxn>
              <a:cxn ang="0">
                <a:pos x="connsiteX28988" y="connsiteY28988"/>
              </a:cxn>
              <a:cxn ang="0">
                <a:pos x="connsiteX28989" y="connsiteY28989"/>
              </a:cxn>
              <a:cxn ang="0">
                <a:pos x="connsiteX28990" y="connsiteY28990"/>
              </a:cxn>
              <a:cxn ang="0">
                <a:pos x="connsiteX28991" y="connsiteY28991"/>
              </a:cxn>
              <a:cxn ang="0">
                <a:pos x="connsiteX28992" y="connsiteY28992"/>
              </a:cxn>
              <a:cxn ang="0">
                <a:pos x="connsiteX28993" y="connsiteY28993"/>
              </a:cxn>
              <a:cxn ang="0">
                <a:pos x="connsiteX28994" y="connsiteY28994"/>
              </a:cxn>
              <a:cxn ang="0">
                <a:pos x="connsiteX28995" y="connsiteY28995"/>
              </a:cxn>
              <a:cxn ang="0">
                <a:pos x="connsiteX28996" y="connsiteY28996"/>
              </a:cxn>
              <a:cxn ang="0">
                <a:pos x="connsiteX28997" y="connsiteY28997"/>
              </a:cxn>
              <a:cxn ang="0">
                <a:pos x="connsiteX28998" y="connsiteY28998"/>
              </a:cxn>
              <a:cxn ang="0">
                <a:pos x="connsiteX28999" y="connsiteY28999"/>
              </a:cxn>
              <a:cxn ang="0">
                <a:pos x="connsiteX29000" y="connsiteY29000"/>
              </a:cxn>
              <a:cxn ang="0">
                <a:pos x="connsiteX29001" y="connsiteY29001"/>
              </a:cxn>
              <a:cxn ang="0">
                <a:pos x="connsiteX29002" y="connsiteY29002"/>
              </a:cxn>
              <a:cxn ang="0">
                <a:pos x="connsiteX29003" y="connsiteY29003"/>
              </a:cxn>
              <a:cxn ang="0">
                <a:pos x="connsiteX29004" y="connsiteY29004"/>
              </a:cxn>
              <a:cxn ang="0">
                <a:pos x="connsiteX29005" y="connsiteY29005"/>
              </a:cxn>
              <a:cxn ang="0">
                <a:pos x="connsiteX29006" y="connsiteY29006"/>
              </a:cxn>
              <a:cxn ang="0">
                <a:pos x="connsiteX29007" y="connsiteY29007"/>
              </a:cxn>
              <a:cxn ang="0">
                <a:pos x="connsiteX29008" y="connsiteY29008"/>
              </a:cxn>
              <a:cxn ang="0">
                <a:pos x="connsiteX29009" y="connsiteY29009"/>
              </a:cxn>
              <a:cxn ang="0">
                <a:pos x="connsiteX29010" y="connsiteY29010"/>
              </a:cxn>
              <a:cxn ang="0">
                <a:pos x="connsiteX29011" y="connsiteY29011"/>
              </a:cxn>
              <a:cxn ang="0">
                <a:pos x="connsiteX29012" y="connsiteY29012"/>
              </a:cxn>
              <a:cxn ang="0">
                <a:pos x="connsiteX29013" y="connsiteY29013"/>
              </a:cxn>
              <a:cxn ang="0">
                <a:pos x="connsiteX29014" y="connsiteY29014"/>
              </a:cxn>
              <a:cxn ang="0">
                <a:pos x="connsiteX29015" y="connsiteY29015"/>
              </a:cxn>
              <a:cxn ang="0">
                <a:pos x="connsiteX29016" y="connsiteY29016"/>
              </a:cxn>
              <a:cxn ang="0">
                <a:pos x="connsiteX29017" y="connsiteY29017"/>
              </a:cxn>
              <a:cxn ang="0">
                <a:pos x="connsiteX29018" y="connsiteY29018"/>
              </a:cxn>
              <a:cxn ang="0">
                <a:pos x="connsiteX29019" y="connsiteY29019"/>
              </a:cxn>
              <a:cxn ang="0">
                <a:pos x="connsiteX29020" y="connsiteY29020"/>
              </a:cxn>
              <a:cxn ang="0">
                <a:pos x="connsiteX29021" y="connsiteY29021"/>
              </a:cxn>
              <a:cxn ang="0">
                <a:pos x="connsiteX29022" y="connsiteY29022"/>
              </a:cxn>
              <a:cxn ang="0">
                <a:pos x="connsiteX29023" y="connsiteY29023"/>
              </a:cxn>
              <a:cxn ang="0">
                <a:pos x="connsiteX29024" y="connsiteY29024"/>
              </a:cxn>
              <a:cxn ang="0">
                <a:pos x="connsiteX29025" y="connsiteY29025"/>
              </a:cxn>
              <a:cxn ang="0">
                <a:pos x="connsiteX29026" y="connsiteY29026"/>
              </a:cxn>
              <a:cxn ang="0">
                <a:pos x="connsiteX29027" y="connsiteY29027"/>
              </a:cxn>
              <a:cxn ang="0">
                <a:pos x="connsiteX29028" y="connsiteY29028"/>
              </a:cxn>
              <a:cxn ang="0">
                <a:pos x="connsiteX29029" y="connsiteY29029"/>
              </a:cxn>
              <a:cxn ang="0">
                <a:pos x="connsiteX29030" y="connsiteY29030"/>
              </a:cxn>
              <a:cxn ang="0">
                <a:pos x="connsiteX29031" y="connsiteY29031"/>
              </a:cxn>
              <a:cxn ang="0">
                <a:pos x="connsiteX29032" y="connsiteY29032"/>
              </a:cxn>
              <a:cxn ang="0">
                <a:pos x="connsiteX29033" y="connsiteY29033"/>
              </a:cxn>
              <a:cxn ang="0">
                <a:pos x="connsiteX29034" y="connsiteY29034"/>
              </a:cxn>
              <a:cxn ang="0">
                <a:pos x="connsiteX29035" y="connsiteY29035"/>
              </a:cxn>
              <a:cxn ang="0">
                <a:pos x="connsiteX29036" y="connsiteY29036"/>
              </a:cxn>
              <a:cxn ang="0">
                <a:pos x="connsiteX29037" y="connsiteY29037"/>
              </a:cxn>
              <a:cxn ang="0">
                <a:pos x="connsiteX29038" y="connsiteY29038"/>
              </a:cxn>
              <a:cxn ang="0">
                <a:pos x="connsiteX29039" y="connsiteY29039"/>
              </a:cxn>
              <a:cxn ang="0">
                <a:pos x="connsiteX29040" y="connsiteY29040"/>
              </a:cxn>
              <a:cxn ang="0">
                <a:pos x="connsiteX29041" y="connsiteY29041"/>
              </a:cxn>
              <a:cxn ang="0">
                <a:pos x="connsiteX29042" y="connsiteY29042"/>
              </a:cxn>
              <a:cxn ang="0">
                <a:pos x="connsiteX29043" y="connsiteY29043"/>
              </a:cxn>
              <a:cxn ang="0">
                <a:pos x="connsiteX29044" y="connsiteY29044"/>
              </a:cxn>
              <a:cxn ang="0">
                <a:pos x="connsiteX29045" y="connsiteY29045"/>
              </a:cxn>
              <a:cxn ang="0">
                <a:pos x="connsiteX29046" y="connsiteY29046"/>
              </a:cxn>
              <a:cxn ang="0">
                <a:pos x="connsiteX29047" y="connsiteY29047"/>
              </a:cxn>
              <a:cxn ang="0">
                <a:pos x="connsiteX29048" y="connsiteY29048"/>
              </a:cxn>
              <a:cxn ang="0">
                <a:pos x="connsiteX29049" y="connsiteY29049"/>
              </a:cxn>
              <a:cxn ang="0">
                <a:pos x="connsiteX29050" y="connsiteY29050"/>
              </a:cxn>
              <a:cxn ang="0">
                <a:pos x="connsiteX29051" y="connsiteY29051"/>
              </a:cxn>
              <a:cxn ang="0">
                <a:pos x="connsiteX29052" y="connsiteY29052"/>
              </a:cxn>
              <a:cxn ang="0">
                <a:pos x="connsiteX29053" y="connsiteY29053"/>
              </a:cxn>
              <a:cxn ang="0">
                <a:pos x="connsiteX29054" y="connsiteY29054"/>
              </a:cxn>
              <a:cxn ang="0">
                <a:pos x="connsiteX29055" y="connsiteY29055"/>
              </a:cxn>
              <a:cxn ang="0">
                <a:pos x="connsiteX29056" y="connsiteY29056"/>
              </a:cxn>
              <a:cxn ang="0">
                <a:pos x="connsiteX29057" y="connsiteY29057"/>
              </a:cxn>
              <a:cxn ang="0">
                <a:pos x="connsiteX29058" y="connsiteY29058"/>
              </a:cxn>
              <a:cxn ang="0">
                <a:pos x="connsiteX29059" y="connsiteY29059"/>
              </a:cxn>
              <a:cxn ang="0">
                <a:pos x="connsiteX29060" y="connsiteY29060"/>
              </a:cxn>
              <a:cxn ang="0">
                <a:pos x="connsiteX29061" y="connsiteY29061"/>
              </a:cxn>
              <a:cxn ang="0">
                <a:pos x="connsiteX29062" y="connsiteY29062"/>
              </a:cxn>
              <a:cxn ang="0">
                <a:pos x="connsiteX29063" y="connsiteY29063"/>
              </a:cxn>
              <a:cxn ang="0">
                <a:pos x="connsiteX29064" y="connsiteY29064"/>
              </a:cxn>
              <a:cxn ang="0">
                <a:pos x="connsiteX29065" y="connsiteY29065"/>
              </a:cxn>
              <a:cxn ang="0">
                <a:pos x="connsiteX29066" y="connsiteY29066"/>
              </a:cxn>
              <a:cxn ang="0">
                <a:pos x="connsiteX29067" y="connsiteY29067"/>
              </a:cxn>
              <a:cxn ang="0">
                <a:pos x="connsiteX29068" y="connsiteY29068"/>
              </a:cxn>
              <a:cxn ang="0">
                <a:pos x="connsiteX29069" y="connsiteY29069"/>
              </a:cxn>
              <a:cxn ang="0">
                <a:pos x="connsiteX29070" y="connsiteY29070"/>
              </a:cxn>
              <a:cxn ang="0">
                <a:pos x="connsiteX29071" y="connsiteY29071"/>
              </a:cxn>
              <a:cxn ang="0">
                <a:pos x="connsiteX29072" y="connsiteY29072"/>
              </a:cxn>
              <a:cxn ang="0">
                <a:pos x="connsiteX29073" y="connsiteY29073"/>
              </a:cxn>
              <a:cxn ang="0">
                <a:pos x="connsiteX29074" y="connsiteY29074"/>
              </a:cxn>
              <a:cxn ang="0">
                <a:pos x="connsiteX29075" y="connsiteY29075"/>
              </a:cxn>
              <a:cxn ang="0">
                <a:pos x="connsiteX29076" y="connsiteY29076"/>
              </a:cxn>
              <a:cxn ang="0">
                <a:pos x="connsiteX29077" y="connsiteY29077"/>
              </a:cxn>
              <a:cxn ang="0">
                <a:pos x="connsiteX29078" y="connsiteY29078"/>
              </a:cxn>
              <a:cxn ang="0">
                <a:pos x="connsiteX29079" y="connsiteY29079"/>
              </a:cxn>
              <a:cxn ang="0">
                <a:pos x="connsiteX29080" y="connsiteY29080"/>
              </a:cxn>
              <a:cxn ang="0">
                <a:pos x="connsiteX29081" y="connsiteY29081"/>
              </a:cxn>
              <a:cxn ang="0">
                <a:pos x="connsiteX29082" y="connsiteY29082"/>
              </a:cxn>
              <a:cxn ang="0">
                <a:pos x="connsiteX29083" y="connsiteY29083"/>
              </a:cxn>
              <a:cxn ang="0">
                <a:pos x="connsiteX29084" y="connsiteY29084"/>
              </a:cxn>
              <a:cxn ang="0">
                <a:pos x="connsiteX29085" y="connsiteY29085"/>
              </a:cxn>
              <a:cxn ang="0">
                <a:pos x="connsiteX29086" y="connsiteY29086"/>
              </a:cxn>
              <a:cxn ang="0">
                <a:pos x="connsiteX29087" y="connsiteY29087"/>
              </a:cxn>
              <a:cxn ang="0">
                <a:pos x="connsiteX29088" y="connsiteY29088"/>
              </a:cxn>
              <a:cxn ang="0">
                <a:pos x="connsiteX29089" y="connsiteY29089"/>
              </a:cxn>
              <a:cxn ang="0">
                <a:pos x="connsiteX29090" y="connsiteY29090"/>
              </a:cxn>
              <a:cxn ang="0">
                <a:pos x="connsiteX29091" y="connsiteY29091"/>
              </a:cxn>
              <a:cxn ang="0">
                <a:pos x="connsiteX29092" y="connsiteY29092"/>
              </a:cxn>
              <a:cxn ang="0">
                <a:pos x="connsiteX29093" y="connsiteY29093"/>
              </a:cxn>
              <a:cxn ang="0">
                <a:pos x="connsiteX29094" y="connsiteY29094"/>
              </a:cxn>
              <a:cxn ang="0">
                <a:pos x="connsiteX29095" y="connsiteY29095"/>
              </a:cxn>
              <a:cxn ang="0">
                <a:pos x="connsiteX29096" y="connsiteY29096"/>
              </a:cxn>
              <a:cxn ang="0">
                <a:pos x="connsiteX29097" y="connsiteY29097"/>
              </a:cxn>
              <a:cxn ang="0">
                <a:pos x="connsiteX29098" y="connsiteY29098"/>
              </a:cxn>
              <a:cxn ang="0">
                <a:pos x="connsiteX29099" y="connsiteY29099"/>
              </a:cxn>
              <a:cxn ang="0">
                <a:pos x="connsiteX29100" y="connsiteY29100"/>
              </a:cxn>
              <a:cxn ang="0">
                <a:pos x="connsiteX29101" y="connsiteY29101"/>
              </a:cxn>
              <a:cxn ang="0">
                <a:pos x="connsiteX29102" y="connsiteY29102"/>
              </a:cxn>
              <a:cxn ang="0">
                <a:pos x="connsiteX29103" y="connsiteY29103"/>
              </a:cxn>
              <a:cxn ang="0">
                <a:pos x="connsiteX29104" y="connsiteY29104"/>
              </a:cxn>
              <a:cxn ang="0">
                <a:pos x="connsiteX29105" y="connsiteY29105"/>
              </a:cxn>
              <a:cxn ang="0">
                <a:pos x="connsiteX29106" y="connsiteY29106"/>
              </a:cxn>
              <a:cxn ang="0">
                <a:pos x="connsiteX29107" y="connsiteY29107"/>
              </a:cxn>
              <a:cxn ang="0">
                <a:pos x="connsiteX29108" y="connsiteY29108"/>
              </a:cxn>
              <a:cxn ang="0">
                <a:pos x="connsiteX29109" y="connsiteY29109"/>
              </a:cxn>
              <a:cxn ang="0">
                <a:pos x="connsiteX29110" y="connsiteY29110"/>
              </a:cxn>
              <a:cxn ang="0">
                <a:pos x="connsiteX29111" y="connsiteY29111"/>
              </a:cxn>
              <a:cxn ang="0">
                <a:pos x="connsiteX29112" y="connsiteY29112"/>
              </a:cxn>
              <a:cxn ang="0">
                <a:pos x="connsiteX29113" y="connsiteY29113"/>
              </a:cxn>
              <a:cxn ang="0">
                <a:pos x="connsiteX29114" y="connsiteY29114"/>
              </a:cxn>
              <a:cxn ang="0">
                <a:pos x="connsiteX29115" y="connsiteY29115"/>
              </a:cxn>
              <a:cxn ang="0">
                <a:pos x="connsiteX29116" y="connsiteY29116"/>
              </a:cxn>
              <a:cxn ang="0">
                <a:pos x="connsiteX29117" y="connsiteY29117"/>
              </a:cxn>
              <a:cxn ang="0">
                <a:pos x="connsiteX29118" y="connsiteY29118"/>
              </a:cxn>
              <a:cxn ang="0">
                <a:pos x="connsiteX29119" y="connsiteY29119"/>
              </a:cxn>
              <a:cxn ang="0">
                <a:pos x="connsiteX29120" y="connsiteY29120"/>
              </a:cxn>
              <a:cxn ang="0">
                <a:pos x="connsiteX29121" y="connsiteY29121"/>
              </a:cxn>
              <a:cxn ang="0">
                <a:pos x="connsiteX29122" y="connsiteY29122"/>
              </a:cxn>
              <a:cxn ang="0">
                <a:pos x="connsiteX29123" y="connsiteY29123"/>
              </a:cxn>
              <a:cxn ang="0">
                <a:pos x="connsiteX29124" y="connsiteY29124"/>
              </a:cxn>
              <a:cxn ang="0">
                <a:pos x="connsiteX29125" y="connsiteY29125"/>
              </a:cxn>
              <a:cxn ang="0">
                <a:pos x="connsiteX29126" y="connsiteY29126"/>
              </a:cxn>
              <a:cxn ang="0">
                <a:pos x="connsiteX29127" y="connsiteY29127"/>
              </a:cxn>
              <a:cxn ang="0">
                <a:pos x="connsiteX29128" y="connsiteY29128"/>
              </a:cxn>
              <a:cxn ang="0">
                <a:pos x="connsiteX29129" y="connsiteY29129"/>
              </a:cxn>
              <a:cxn ang="0">
                <a:pos x="connsiteX29130" y="connsiteY29130"/>
              </a:cxn>
              <a:cxn ang="0">
                <a:pos x="connsiteX29131" y="connsiteY29131"/>
              </a:cxn>
              <a:cxn ang="0">
                <a:pos x="connsiteX29132" y="connsiteY29132"/>
              </a:cxn>
              <a:cxn ang="0">
                <a:pos x="connsiteX29133" y="connsiteY29133"/>
              </a:cxn>
              <a:cxn ang="0">
                <a:pos x="connsiteX29134" y="connsiteY29134"/>
              </a:cxn>
              <a:cxn ang="0">
                <a:pos x="connsiteX29135" y="connsiteY29135"/>
              </a:cxn>
              <a:cxn ang="0">
                <a:pos x="connsiteX29136" y="connsiteY29136"/>
              </a:cxn>
              <a:cxn ang="0">
                <a:pos x="connsiteX29137" y="connsiteY29137"/>
              </a:cxn>
              <a:cxn ang="0">
                <a:pos x="connsiteX29138" y="connsiteY29138"/>
              </a:cxn>
              <a:cxn ang="0">
                <a:pos x="connsiteX29139" y="connsiteY29139"/>
              </a:cxn>
              <a:cxn ang="0">
                <a:pos x="connsiteX29140" y="connsiteY29140"/>
              </a:cxn>
              <a:cxn ang="0">
                <a:pos x="connsiteX29141" y="connsiteY29141"/>
              </a:cxn>
              <a:cxn ang="0">
                <a:pos x="connsiteX29142" y="connsiteY29142"/>
              </a:cxn>
              <a:cxn ang="0">
                <a:pos x="connsiteX29143" y="connsiteY29143"/>
              </a:cxn>
              <a:cxn ang="0">
                <a:pos x="connsiteX29144" y="connsiteY29144"/>
              </a:cxn>
              <a:cxn ang="0">
                <a:pos x="connsiteX29145" y="connsiteY29145"/>
              </a:cxn>
              <a:cxn ang="0">
                <a:pos x="connsiteX29146" y="connsiteY29146"/>
              </a:cxn>
              <a:cxn ang="0">
                <a:pos x="connsiteX29147" y="connsiteY29147"/>
              </a:cxn>
              <a:cxn ang="0">
                <a:pos x="connsiteX29148" y="connsiteY29148"/>
              </a:cxn>
              <a:cxn ang="0">
                <a:pos x="connsiteX29149" y="connsiteY29149"/>
              </a:cxn>
              <a:cxn ang="0">
                <a:pos x="connsiteX29150" y="connsiteY29150"/>
              </a:cxn>
              <a:cxn ang="0">
                <a:pos x="connsiteX29151" y="connsiteY29151"/>
              </a:cxn>
              <a:cxn ang="0">
                <a:pos x="connsiteX29152" y="connsiteY29152"/>
              </a:cxn>
              <a:cxn ang="0">
                <a:pos x="connsiteX29153" y="connsiteY29153"/>
              </a:cxn>
              <a:cxn ang="0">
                <a:pos x="connsiteX29154" y="connsiteY29154"/>
              </a:cxn>
              <a:cxn ang="0">
                <a:pos x="connsiteX29155" y="connsiteY29155"/>
              </a:cxn>
              <a:cxn ang="0">
                <a:pos x="connsiteX29156" y="connsiteY29156"/>
              </a:cxn>
              <a:cxn ang="0">
                <a:pos x="connsiteX29157" y="connsiteY29157"/>
              </a:cxn>
              <a:cxn ang="0">
                <a:pos x="connsiteX29158" y="connsiteY29158"/>
              </a:cxn>
              <a:cxn ang="0">
                <a:pos x="connsiteX29159" y="connsiteY29159"/>
              </a:cxn>
              <a:cxn ang="0">
                <a:pos x="connsiteX29160" y="connsiteY29160"/>
              </a:cxn>
              <a:cxn ang="0">
                <a:pos x="connsiteX29161" y="connsiteY29161"/>
              </a:cxn>
              <a:cxn ang="0">
                <a:pos x="connsiteX29162" y="connsiteY29162"/>
              </a:cxn>
              <a:cxn ang="0">
                <a:pos x="connsiteX29163" y="connsiteY29163"/>
              </a:cxn>
              <a:cxn ang="0">
                <a:pos x="connsiteX29164" y="connsiteY29164"/>
              </a:cxn>
              <a:cxn ang="0">
                <a:pos x="connsiteX29165" y="connsiteY29165"/>
              </a:cxn>
              <a:cxn ang="0">
                <a:pos x="connsiteX29166" y="connsiteY29166"/>
              </a:cxn>
              <a:cxn ang="0">
                <a:pos x="connsiteX29167" y="connsiteY29167"/>
              </a:cxn>
              <a:cxn ang="0">
                <a:pos x="connsiteX29168" y="connsiteY29168"/>
              </a:cxn>
              <a:cxn ang="0">
                <a:pos x="connsiteX29169" y="connsiteY29169"/>
              </a:cxn>
              <a:cxn ang="0">
                <a:pos x="connsiteX29170" y="connsiteY29170"/>
              </a:cxn>
              <a:cxn ang="0">
                <a:pos x="connsiteX29171" y="connsiteY29171"/>
              </a:cxn>
              <a:cxn ang="0">
                <a:pos x="connsiteX29172" y="connsiteY29172"/>
              </a:cxn>
              <a:cxn ang="0">
                <a:pos x="connsiteX29173" y="connsiteY29173"/>
              </a:cxn>
              <a:cxn ang="0">
                <a:pos x="connsiteX29174" y="connsiteY29174"/>
              </a:cxn>
              <a:cxn ang="0">
                <a:pos x="connsiteX29175" y="connsiteY29175"/>
              </a:cxn>
              <a:cxn ang="0">
                <a:pos x="connsiteX29176" y="connsiteY29176"/>
              </a:cxn>
              <a:cxn ang="0">
                <a:pos x="connsiteX29177" y="connsiteY29177"/>
              </a:cxn>
              <a:cxn ang="0">
                <a:pos x="connsiteX29178" y="connsiteY29178"/>
              </a:cxn>
              <a:cxn ang="0">
                <a:pos x="connsiteX29179" y="connsiteY29179"/>
              </a:cxn>
              <a:cxn ang="0">
                <a:pos x="connsiteX29180" y="connsiteY29180"/>
              </a:cxn>
              <a:cxn ang="0">
                <a:pos x="connsiteX29181" y="connsiteY29181"/>
              </a:cxn>
              <a:cxn ang="0">
                <a:pos x="connsiteX29182" y="connsiteY29182"/>
              </a:cxn>
              <a:cxn ang="0">
                <a:pos x="connsiteX29183" y="connsiteY29183"/>
              </a:cxn>
              <a:cxn ang="0">
                <a:pos x="connsiteX29184" y="connsiteY29184"/>
              </a:cxn>
              <a:cxn ang="0">
                <a:pos x="connsiteX29185" y="connsiteY29185"/>
              </a:cxn>
              <a:cxn ang="0">
                <a:pos x="connsiteX29186" y="connsiteY29186"/>
              </a:cxn>
              <a:cxn ang="0">
                <a:pos x="connsiteX29187" y="connsiteY29187"/>
              </a:cxn>
              <a:cxn ang="0">
                <a:pos x="connsiteX29188" y="connsiteY29188"/>
              </a:cxn>
              <a:cxn ang="0">
                <a:pos x="connsiteX29189" y="connsiteY29189"/>
              </a:cxn>
              <a:cxn ang="0">
                <a:pos x="connsiteX29190" y="connsiteY29190"/>
              </a:cxn>
              <a:cxn ang="0">
                <a:pos x="connsiteX29191" y="connsiteY29191"/>
              </a:cxn>
              <a:cxn ang="0">
                <a:pos x="connsiteX29192" y="connsiteY29192"/>
              </a:cxn>
              <a:cxn ang="0">
                <a:pos x="connsiteX29193" y="connsiteY29193"/>
              </a:cxn>
              <a:cxn ang="0">
                <a:pos x="connsiteX29194" y="connsiteY29194"/>
              </a:cxn>
              <a:cxn ang="0">
                <a:pos x="connsiteX29195" y="connsiteY29195"/>
              </a:cxn>
              <a:cxn ang="0">
                <a:pos x="connsiteX29196" y="connsiteY29196"/>
              </a:cxn>
              <a:cxn ang="0">
                <a:pos x="connsiteX29197" y="connsiteY29197"/>
              </a:cxn>
              <a:cxn ang="0">
                <a:pos x="connsiteX29198" y="connsiteY29198"/>
              </a:cxn>
              <a:cxn ang="0">
                <a:pos x="connsiteX29199" y="connsiteY29199"/>
              </a:cxn>
              <a:cxn ang="0">
                <a:pos x="connsiteX29200" y="connsiteY29200"/>
              </a:cxn>
              <a:cxn ang="0">
                <a:pos x="connsiteX29201" y="connsiteY29201"/>
              </a:cxn>
              <a:cxn ang="0">
                <a:pos x="connsiteX29202" y="connsiteY29202"/>
              </a:cxn>
              <a:cxn ang="0">
                <a:pos x="connsiteX29203" y="connsiteY29203"/>
              </a:cxn>
              <a:cxn ang="0">
                <a:pos x="connsiteX29204" y="connsiteY29204"/>
              </a:cxn>
              <a:cxn ang="0">
                <a:pos x="connsiteX29205" y="connsiteY29205"/>
              </a:cxn>
              <a:cxn ang="0">
                <a:pos x="connsiteX29206" y="connsiteY29206"/>
              </a:cxn>
              <a:cxn ang="0">
                <a:pos x="connsiteX29207" y="connsiteY29207"/>
              </a:cxn>
              <a:cxn ang="0">
                <a:pos x="connsiteX29208" y="connsiteY29208"/>
              </a:cxn>
              <a:cxn ang="0">
                <a:pos x="connsiteX29209" y="connsiteY29209"/>
              </a:cxn>
              <a:cxn ang="0">
                <a:pos x="connsiteX29210" y="connsiteY29210"/>
              </a:cxn>
              <a:cxn ang="0">
                <a:pos x="connsiteX29211" y="connsiteY29211"/>
              </a:cxn>
              <a:cxn ang="0">
                <a:pos x="connsiteX29212" y="connsiteY29212"/>
              </a:cxn>
              <a:cxn ang="0">
                <a:pos x="connsiteX29213" y="connsiteY29213"/>
              </a:cxn>
              <a:cxn ang="0">
                <a:pos x="connsiteX29214" y="connsiteY29214"/>
              </a:cxn>
              <a:cxn ang="0">
                <a:pos x="connsiteX29215" y="connsiteY29215"/>
              </a:cxn>
              <a:cxn ang="0">
                <a:pos x="connsiteX29216" y="connsiteY29216"/>
              </a:cxn>
              <a:cxn ang="0">
                <a:pos x="connsiteX29217" y="connsiteY29217"/>
              </a:cxn>
              <a:cxn ang="0">
                <a:pos x="connsiteX29218" y="connsiteY29218"/>
              </a:cxn>
              <a:cxn ang="0">
                <a:pos x="connsiteX29219" y="connsiteY29219"/>
              </a:cxn>
              <a:cxn ang="0">
                <a:pos x="connsiteX29220" y="connsiteY29220"/>
              </a:cxn>
              <a:cxn ang="0">
                <a:pos x="connsiteX29221" y="connsiteY29221"/>
              </a:cxn>
              <a:cxn ang="0">
                <a:pos x="connsiteX29222" y="connsiteY29222"/>
              </a:cxn>
              <a:cxn ang="0">
                <a:pos x="connsiteX29223" y="connsiteY29223"/>
              </a:cxn>
              <a:cxn ang="0">
                <a:pos x="connsiteX29224" y="connsiteY29224"/>
              </a:cxn>
              <a:cxn ang="0">
                <a:pos x="connsiteX29225" y="connsiteY29225"/>
              </a:cxn>
              <a:cxn ang="0">
                <a:pos x="connsiteX29226" y="connsiteY29226"/>
              </a:cxn>
              <a:cxn ang="0">
                <a:pos x="connsiteX29227" y="connsiteY29227"/>
              </a:cxn>
              <a:cxn ang="0">
                <a:pos x="connsiteX29228" y="connsiteY29228"/>
              </a:cxn>
              <a:cxn ang="0">
                <a:pos x="connsiteX29229" y="connsiteY29229"/>
              </a:cxn>
              <a:cxn ang="0">
                <a:pos x="connsiteX29230" y="connsiteY29230"/>
              </a:cxn>
              <a:cxn ang="0">
                <a:pos x="connsiteX29231" y="connsiteY29231"/>
              </a:cxn>
              <a:cxn ang="0">
                <a:pos x="connsiteX29232" y="connsiteY29232"/>
              </a:cxn>
              <a:cxn ang="0">
                <a:pos x="connsiteX29233" y="connsiteY29233"/>
              </a:cxn>
              <a:cxn ang="0">
                <a:pos x="connsiteX29234" y="connsiteY29234"/>
              </a:cxn>
              <a:cxn ang="0">
                <a:pos x="connsiteX29235" y="connsiteY29235"/>
              </a:cxn>
              <a:cxn ang="0">
                <a:pos x="connsiteX29236" y="connsiteY29236"/>
              </a:cxn>
              <a:cxn ang="0">
                <a:pos x="connsiteX29237" y="connsiteY29237"/>
              </a:cxn>
              <a:cxn ang="0">
                <a:pos x="connsiteX29238" y="connsiteY29238"/>
              </a:cxn>
              <a:cxn ang="0">
                <a:pos x="connsiteX29239" y="connsiteY29239"/>
              </a:cxn>
              <a:cxn ang="0">
                <a:pos x="connsiteX29240" y="connsiteY29240"/>
              </a:cxn>
              <a:cxn ang="0">
                <a:pos x="connsiteX29241" y="connsiteY29241"/>
              </a:cxn>
              <a:cxn ang="0">
                <a:pos x="connsiteX29242" y="connsiteY29242"/>
              </a:cxn>
              <a:cxn ang="0">
                <a:pos x="connsiteX29243" y="connsiteY29243"/>
              </a:cxn>
              <a:cxn ang="0">
                <a:pos x="connsiteX29244" y="connsiteY29244"/>
              </a:cxn>
              <a:cxn ang="0">
                <a:pos x="connsiteX29245" y="connsiteY29245"/>
              </a:cxn>
              <a:cxn ang="0">
                <a:pos x="connsiteX29246" y="connsiteY29246"/>
              </a:cxn>
              <a:cxn ang="0">
                <a:pos x="connsiteX29247" y="connsiteY29247"/>
              </a:cxn>
              <a:cxn ang="0">
                <a:pos x="connsiteX29248" y="connsiteY29248"/>
              </a:cxn>
              <a:cxn ang="0">
                <a:pos x="connsiteX29249" y="connsiteY29249"/>
              </a:cxn>
              <a:cxn ang="0">
                <a:pos x="connsiteX29250" y="connsiteY29250"/>
              </a:cxn>
              <a:cxn ang="0">
                <a:pos x="connsiteX29251" y="connsiteY29251"/>
              </a:cxn>
              <a:cxn ang="0">
                <a:pos x="connsiteX29252" y="connsiteY29252"/>
              </a:cxn>
              <a:cxn ang="0">
                <a:pos x="connsiteX29253" y="connsiteY29253"/>
              </a:cxn>
              <a:cxn ang="0">
                <a:pos x="connsiteX29254" y="connsiteY29254"/>
              </a:cxn>
              <a:cxn ang="0">
                <a:pos x="connsiteX29255" y="connsiteY29255"/>
              </a:cxn>
              <a:cxn ang="0">
                <a:pos x="connsiteX29256" y="connsiteY29256"/>
              </a:cxn>
              <a:cxn ang="0">
                <a:pos x="connsiteX29257" y="connsiteY29257"/>
              </a:cxn>
              <a:cxn ang="0">
                <a:pos x="connsiteX29258" y="connsiteY29258"/>
              </a:cxn>
              <a:cxn ang="0">
                <a:pos x="connsiteX29259" y="connsiteY29259"/>
              </a:cxn>
              <a:cxn ang="0">
                <a:pos x="connsiteX29260" y="connsiteY29260"/>
              </a:cxn>
              <a:cxn ang="0">
                <a:pos x="connsiteX29261" y="connsiteY29261"/>
              </a:cxn>
              <a:cxn ang="0">
                <a:pos x="connsiteX29262" y="connsiteY29262"/>
              </a:cxn>
              <a:cxn ang="0">
                <a:pos x="connsiteX29263" y="connsiteY29263"/>
              </a:cxn>
              <a:cxn ang="0">
                <a:pos x="connsiteX29264" y="connsiteY29264"/>
              </a:cxn>
              <a:cxn ang="0">
                <a:pos x="connsiteX29265" y="connsiteY29265"/>
              </a:cxn>
              <a:cxn ang="0">
                <a:pos x="connsiteX29266" y="connsiteY29266"/>
              </a:cxn>
              <a:cxn ang="0">
                <a:pos x="connsiteX29267" y="connsiteY29267"/>
              </a:cxn>
              <a:cxn ang="0">
                <a:pos x="connsiteX29268" y="connsiteY29268"/>
              </a:cxn>
              <a:cxn ang="0">
                <a:pos x="connsiteX29269" y="connsiteY29269"/>
              </a:cxn>
              <a:cxn ang="0">
                <a:pos x="connsiteX29270" y="connsiteY29270"/>
              </a:cxn>
              <a:cxn ang="0">
                <a:pos x="connsiteX29271" y="connsiteY29271"/>
              </a:cxn>
              <a:cxn ang="0">
                <a:pos x="connsiteX29272" y="connsiteY29272"/>
              </a:cxn>
              <a:cxn ang="0">
                <a:pos x="connsiteX29273" y="connsiteY29273"/>
              </a:cxn>
              <a:cxn ang="0">
                <a:pos x="connsiteX29274" y="connsiteY29274"/>
              </a:cxn>
              <a:cxn ang="0">
                <a:pos x="connsiteX29275" y="connsiteY29275"/>
              </a:cxn>
              <a:cxn ang="0">
                <a:pos x="connsiteX29276" y="connsiteY29276"/>
              </a:cxn>
              <a:cxn ang="0">
                <a:pos x="connsiteX29277" y="connsiteY29277"/>
              </a:cxn>
              <a:cxn ang="0">
                <a:pos x="connsiteX29278" y="connsiteY29278"/>
              </a:cxn>
              <a:cxn ang="0">
                <a:pos x="connsiteX29279" y="connsiteY29279"/>
              </a:cxn>
              <a:cxn ang="0">
                <a:pos x="connsiteX29280" y="connsiteY29280"/>
              </a:cxn>
              <a:cxn ang="0">
                <a:pos x="connsiteX29281" y="connsiteY29281"/>
              </a:cxn>
              <a:cxn ang="0">
                <a:pos x="connsiteX29282" y="connsiteY29282"/>
              </a:cxn>
              <a:cxn ang="0">
                <a:pos x="connsiteX29283" y="connsiteY29283"/>
              </a:cxn>
              <a:cxn ang="0">
                <a:pos x="connsiteX29284" y="connsiteY29284"/>
              </a:cxn>
              <a:cxn ang="0">
                <a:pos x="connsiteX29285" y="connsiteY29285"/>
              </a:cxn>
              <a:cxn ang="0">
                <a:pos x="connsiteX29286" y="connsiteY29286"/>
              </a:cxn>
              <a:cxn ang="0">
                <a:pos x="connsiteX29287" y="connsiteY29287"/>
              </a:cxn>
              <a:cxn ang="0">
                <a:pos x="connsiteX29288" y="connsiteY29288"/>
              </a:cxn>
              <a:cxn ang="0">
                <a:pos x="connsiteX29289" y="connsiteY29289"/>
              </a:cxn>
              <a:cxn ang="0">
                <a:pos x="connsiteX29290" y="connsiteY29290"/>
              </a:cxn>
              <a:cxn ang="0">
                <a:pos x="connsiteX29291" y="connsiteY29291"/>
              </a:cxn>
              <a:cxn ang="0">
                <a:pos x="connsiteX29292" y="connsiteY29292"/>
              </a:cxn>
              <a:cxn ang="0">
                <a:pos x="connsiteX29293" y="connsiteY29293"/>
              </a:cxn>
              <a:cxn ang="0">
                <a:pos x="connsiteX29294" y="connsiteY29294"/>
              </a:cxn>
              <a:cxn ang="0">
                <a:pos x="connsiteX29295" y="connsiteY29295"/>
              </a:cxn>
              <a:cxn ang="0">
                <a:pos x="connsiteX29296" y="connsiteY29296"/>
              </a:cxn>
              <a:cxn ang="0">
                <a:pos x="connsiteX29297" y="connsiteY29297"/>
              </a:cxn>
              <a:cxn ang="0">
                <a:pos x="connsiteX29298" y="connsiteY29298"/>
              </a:cxn>
              <a:cxn ang="0">
                <a:pos x="connsiteX29299" y="connsiteY29299"/>
              </a:cxn>
              <a:cxn ang="0">
                <a:pos x="connsiteX29300" y="connsiteY29300"/>
              </a:cxn>
              <a:cxn ang="0">
                <a:pos x="connsiteX29301" y="connsiteY29301"/>
              </a:cxn>
              <a:cxn ang="0">
                <a:pos x="connsiteX29302" y="connsiteY29302"/>
              </a:cxn>
              <a:cxn ang="0">
                <a:pos x="connsiteX29303" y="connsiteY29303"/>
              </a:cxn>
              <a:cxn ang="0">
                <a:pos x="connsiteX29304" y="connsiteY29304"/>
              </a:cxn>
              <a:cxn ang="0">
                <a:pos x="connsiteX29305" y="connsiteY29305"/>
              </a:cxn>
              <a:cxn ang="0">
                <a:pos x="connsiteX29306" y="connsiteY29306"/>
              </a:cxn>
              <a:cxn ang="0">
                <a:pos x="connsiteX29307" y="connsiteY29307"/>
              </a:cxn>
              <a:cxn ang="0">
                <a:pos x="connsiteX29308" y="connsiteY29308"/>
              </a:cxn>
              <a:cxn ang="0">
                <a:pos x="connsiteX29309" y="connsiteY29309"/>
              </a:cxn>
              <a:cxn ang="0">
                <a:pos x="connsiteX29310" y="connsiteY29310"/>
              </a:cxn>
              <a:cxn ang="0">
                <a:pos x="connsiteX29311" y="connsiteY29311"/>
              </a:cxn>
              <a:cxn ang="0">
                <a:pos x="connsiteX29312" y="connsiteY29312"/>
              </a:cxn>
              <a:cxn ang="0">
                <a:pos x="connsiteX29313" y="connsiteY29313"/>
              </a:cxn>
              <a:cxn ang="0">
                <a:pos x="connsiteX29314" y="connsiteY29314"/>
              </a:cxn>
              <a:cxn ang="0">
                <a:pos x="connsiteX29315" y="connsiteY29315"/>
              </a:cxn>
              <a:cxn ang="0">
                <a:pos x="connsiteX29316" y="connsiteY29316"/>
              </a:cxn>
              <a:cxn ang="0">
                <a:pos x="connsiteX29317" y="connsiteY29317"/>
              </a:cxn>
              <a:cxn ang="0">
                <a:pos x="connsiteX29318" y="connsiteY29318"/>
              </a:cxn>
              <a:cxn ang="0">
                <a:pos x="connsiteX29319" y="connsiteY29319"/>
              </a:cxn>
              <a:cxn ang="0">
                <a:pos x="connsiteX29320" y="connsiteY29320"/>
              </a:cxn>
              <a:cxn ang="0">
                <a:pos x="connsiteX29321" y="connsiteY29321"/>
              </a:cxn>
              <a:cxn ang="0">
                <a:pos x="connsiteX29322" y="connsiteY29322"/>
              </a:cxn>
              <a:cxn ang="0">
                <a:pos x="connsiteX29323" y="connsiteY29323"/>
              </a:cxn>
              <a:cxn ang="0">
                <a:pos x="connsiteX29324" y="connsiteY29324"/>
              </a:cxn>
              <a:cxn ang="0">
                <a:pos x="connsiteX29325" y="connsiteY29325"/>
              </a:cxn>
              <a:cxn ang="0">
                <a:pos x="connsiteX29326" y="connsiteY29326"/>
              </a:cxn>
              <a:cxn ang="0">
                <a:pos x="connsiteX29327" y="connsiteY29327"/>
              </a:cxn>
              <a:cxn ang="0">
                <a:pos x="connsiteX29328" y="connsiteY29328"/>
              </a:cxn>
              <a:cxn ang="0">
                <a:pos x="connsiteX29329" y="connsiteY29329"/>
              </a:cxn>
              <a:cxn ang="0">
                <a:pos x="connsiteX29330" y="connsiteY29330"/>
              </a:cxn>
              <a:cxn ang="0">
                <a:pos x="connsiteX29331" y="connsiteY29331"/>
              </a:cxn>
              <a:cxn ang="0">
                <a:pos x="connsiteX29332" y="connsiteY29332"/>
              </a:cxn>
              <a:cxn ang="0">
                <a:pos x="connsiteX29333" y="connsiteY29333"/>
              </a:cxn>
              <a:cxn ang="0">
                <a:pos x="connsiteX29334" y="connsiteY29334"/>
              </a:cxn>
              <a:cxn ang="0">
                <a:pos x="connsiteX29335" y="connsiteY29335"/>
              </a:cxn>
              <a:cxn ang="0">
                <a:pos x="connsiteX29336" y="connsiteY29336"/>
              </a:cxn>
              <a:cxn ang="0">
                <a:pos x="connsiteX29337" y="connsiteY29337"/>
              </a:cxn>
              <a:cxn ang="0">
                <a:pos x="connsiteX29338" y="connsiteY29338"/>
              </a:cxn>
              <a:cxn ang="0">
                <a:pos x="connsiteX29339" y="connsiteY29339"/>
              </a:cxn>
              <a:cxn ang="0">
                <a:pos x="connsiteX29340" y="connsiteY29340"/>
              </a:cxn>
              <a:cxn ang="0">
                <a:pos x="connsiteX29341" y="connsiteY29341"/>
              </a:cxn>
              <a:cxn ang="0">
                <a:pos x="connsiteX29342" y="connsiteY29342"/>
              </a:cxn>
              <a:cxn ang="0">
                <a:pos x="connsiteX29343" y="connsiteY29343"/>
              </a:cxn>
              <a:cxn ang="0">
                <a:pos x="connsiteX29344" y="connsiteY29344"/>
              </a:cxn>
              <a:cxn ang="0">
                <a:pos x="connsiteX29345" y="connsiteY29345"/>
              </a:cxn>
              <a:cxn ang="0">
                <a:pos x="connsiteX29346" y="connsiteY29346"/>
              </a:cxn>
              <a:cxn ang="0">
                <a:pos x="connsiteX29347" y="connsiteY29347"/>
              </a:cxn>
              <a:cxn ang="0">
                <a:pos x="connsiteX29348" y="connsiteY29348"/>
              </a:cxn>
              <a:cxn ang="0">
                <a:pos x="connsiteX29349" y="connsiteY29349"/>
              </a:cxn>
              <a:cxn ang="0">
                <a:pos x="connsiteX29350" y="connsiteY29350"/>
              </a:cxn>
              <a:cxn ang="0">
                <a:pos x="connsiteX29351" y="connsiteY29351"/>
              </a:cxn>
              <a:cxn ang="0">
                <a:pos x="connsiteX29352" y="connsiteY29352"/>
              </a:cxn>
              <a:cxn ang="0">
                <a:pos x="connsiteX29353" y="connsiteY29353"/>
              </a:cxn>
              <a:cxn ang="0">
                <a:pos x="connsiteX29354" y="connsiteY29354"/>
              </a:cxn>
              <a:cxn ang="0">
                <a:pos x="connsiteX29355" y="connsiteY29355"/>
              </a:cxn>
              <a:cxn ang="0">
                <a:pos x="connsiteX29356" y="connsiteY29356"/>
              </a:cxn>
              <a:cxn ang="0">
                <a:pos x="connsiteX29357" y="connsiteY29357"/>
              </a:cxn>
              <a:cxn ang="0">
                <a:pos x="connsiteX29358" y="connsiteY29358"/>
              </a:cxn>
              <a:cxn ang="0">
                <a:pos x="connsiteX29359" y="connsiteY29359"/>
              </a:cxn>
              <a:cxn ang="0">
                <a:pos x="connsiteX29360" y="connsiteY29360"/>
              </a:cxn>
              <a:cxn ang="0">
                <a:pos x="connsiteX29361" y="connsiteY29361"/>
              </a:cxn>
              <a:cxn ang="0">
                <a:pos x="connsiteX29362" y="connsiteY29362"/>
              </a:cxn>
              <a:cxn ang="0">
                <a:pos x="connsiteX29363" y="connsiteY29363"/>
              </a:cxn>
              <a:cxn ang="0">
                <a:pos x="connsiteX29364" y="connsiteY29364"/>
              </a:cxn>
              <a:cxn ang="0">
                <a:pos x="connsiteX29365" y="connsiteY29365"/>
              </a:cxn>
              <a:cxn ang="0">
                <a:pos x="connsiteX29366" y="connsiteY29366"/>
              </a:cxn>
              <a:cxn ang="0">
                <a:pos x="connsiteX29367" y="connsiteY29367"/>
              </a:cxn>
              <a:cxn ang="0">
                <a:pos x="connsiteX29368" y="connsiteY29368"/>
              </a:cxn>
              <a:cxn ang="0">
                <a:pos x="connsiteX29369" y="connsiteY29369"/>
              </a:cxn>
              <a:cxn ang="0">
                <a:pos x="connsiteX29370" y="connsiteY29370"/>
              </a:cxn>
              <a:cxn ang="0">
                <a:pos x="connsiteX29371" y="connsiteY29371"/>
              </a:cxn>
              <a:cxn ang="0">
                <a:pos x="connsiteX29372" y="connsiteY29372"/>
              </a:cxn>
              <a:cxn ang="0">
                <a:pos x="connsiteX29373" y="connsiteY29373"/>
              </a:cxn>
              <a:cxn ang="0">
                <a:pos x="connsiteX29374" y="connsiteY29374"/>
              </a:cxn>
              <a:cxn ang="0">
                <a:pos x="connsiteX29375" y="connsiteY29375"/>
              </a:cxn>
              <a:cxn ang="0">
                <a:pos x="connsiteX29376" y="connsiteY29376"/>
              </a:cxn>
              <a:cxn ang="0">
                <a:pos x="connsiteX29377" y="connsiteY29377"/>
              </a:cxn>
              <a:cxn ang="0">
                <a:pos x="connsiteX29378" y="connsiteY29378"/>
              </a:cxn>
              <a:cxn ang="0">
                <a:pos x="connsiteX29379" y="connsiteY29379"/>
              </a:cxn>
              <a:cxn ang="0">
                <a:pos x="connsiteX29380" y="connsiteY29380"/>
              </a:cxn>
              <a:cxn ang="0">
                <a:pos x="connsiteX29381" y="connsiteY29381"/>
              </a:cxn>
              <a:cxn ang="0">
                <a:pos x="connsiteX29382" y="connsiteY29382"/>
              </a:cxn>
              <a:cxn ang="0">
                <a:pos x="connsiteX29383" y="connsiteY29383"/>
              </a:cxn>
              <a:cxn ang="0">
                <a:pos x="connsiteX29384" y="connsiteY29384"/>
              </a:cxn>
              <a:cxn ang="0">
                <a:pos x="connsiteX29385" y="connsiteY29385"/>
              </a:cxn>
              <a:cxn ang="0">
                <a:pos x="connsiteX29386" y="connsiteY29386"/>
              </a:cxn>
              <a:cxn ang="0">
                <a:pos x="connsiteX29387" y="connsiteY29387"/>
              </a:cxn>
              <a:cxn ang="0">
                <a:pos x="connsiteX29388" y="connsiteY29388"/>
              </a:cxn>
              <a:cxn ang="0">
                <a:pos x="connsiteX29389" y="connsiteY29389"/>
              </a:cxn>
              <a:cxn ang="0">
                <a:pos x="connsiteX29390" y="connsiteY29390"/>
              </a:cxn>
              <a:cxn ang="0">
                <a:pos x="connsiteX29391" y="connsiteY29391"/>
              </a:cxn>
              <a:cxn ang="0">
                <a:pos x="connsiteX29392" y="connsiteY29392"/>
              </a:cxn>
              <a:cxn ang="0">
                <a:pos x="connsiteX29393" y="connsiteY29393"/>
              </a:cxn>
              <a:cxn ang="0">
                <a:pos x="connsiteX29394" y="connsiteY29394"/>
              </a:cxn>
              <a:cxn ang="0">
                <a:pos x="connsiteX29395" y="connsiteY29395"/>
              </a:cxn>
              <a:cxn ang="0">
                <a:pos x="connsiteX29396" y="connsiteY29396"/>
              </a:cxn>
              <a:cxn ang="0">
                <a:pos x="connsiteX29397" y="connsiteY29397"/>
              </a:cxn>
              <a:cxn ang="0">
                <a:pos x="connsiteX29398" y="connsiteY29398"/>
              </a:cxn>
              <a:cxn ang="0">
                <a:pos x="connsiteX29399" y="connsiteY29399"/>
              </a:cxn>
              <a:cxn ang="0">
                <a:pos x="connsiteX29400" y="connsiteY29400"/>
              </a:cxn>
              <a:cxn ang="0">
                <a:pos x="connsiteX29401" y="connsiteY29401"/>
              </a:cxn>
              <a:cxn ang="0">
                <a:pos x="connsiteX29402" y="connsiteY29402"/>
              </a:cxn>
              <a:cxn ang="0">
                <a:pos x="connsiteX29403" y="connsiteY29403"/>
              </a:cxn>
              <a:cxn ang="0">
                <a:pos x="connsiteX29404" y="connsiteY29404"/>
              </a:cxn>
              <a:cxn ang="0">
                <a:pos x="connsiteX29405" y="connsiteY29405"/>
              </a:cxn>
              <a:cxn ang="0">
                <a:pos x="connsiteX29406" y="connsiteY29406"/>
              </a:cxn>
              <a:cxn ang="0">
                <a:pos x="connsiteX29407" y="connsiteY29407"/>
              </a:cxn>
              <a:cxn ang="0">
                <a:pos x="connsiteX29408" y="connsiteY29408"/>
              </a:cxn>
              <a:cxn ang="0">
                <a:pos x="connsiteX29409" y="connsiteY29409"/>
              </a:cxn>
              <a:cxn ang="0">
                <a:pos x="connsiteX29410" y="connsiteY29410"/>
              </a:cxn>
              <a:cxn ang="0">
                <a:pos x="connsiteX29411" y="connsiteY29411"/>
              </a:cxn>
              <a:cxn ang="0">
                <a:pos x="connsiteX29412" y="connsiteY29412"/>
              </a:cxn>
              <a:cxn ang="0">
                <a:pos x="connsiteX29413" y="connsiteY29413"/>
              </a:cxn>
              <a:cxn ang="0">
                <a:pos x="connsiteX29414" y="connsiteY29414"/>
              </a:cxn>
              <a:cxn ang="0">
                <a:pos x="connsiteX29415" y="connsiteY29415"/>
              </a:cxn>
              <a:cxn ang="0">
                <a:pos x="connsiteX29416" y="connsiteY29416"/>
              </a:cxn>
              <a:cxn ang="0">
                <a:pos x="connsiteX29417" y="connsiteY29417"/>
              </a:cxn>
              <a:cxn ang="0">
                <a:pos x="connsiteX29418" y="connsiteY29418"/>
              </a:cxn>
              <a:cxn ang="0">
                <a:pos x="connsiteX29419" y="connsiteY29419"/>
              </a:cxn>
              <a:cxn ang="0">
                <a:pos x="connsiteX29420" y="connsiteY29420"/>
              </a:cxn>
              <a:cxn ang="0">
                <a:pos x="connsiteX29421" y="connsiteY29421"/>
              </a:cxn>
              <a:cxn ang="0">
                <a:pos x="connsiteX29422" y="connsiteY29422"/>
              </a:cxn>
              <a:cxn ang="0">
                <a:pos x="connsiteX29423" y="connsiteY29423"/>
              </a:cxn>
              <a:cxn ang="0">
                <a:pos x="connsiteX29424" y="connsiteY29424"/>
              </a:cxn>
              <a:cxn ang="0">
                <a:pos x="connsiteX29425" y="connsiteY29425"/>
              </a:cxn>
              <a:cxn ang="0">
                <a:pos x="connsiteX29426" y="connsiteY29426"/>
              </a:cxn>
              <a:cxn ang="0">
                <a:pos x="connsiteX29427" y="connsiteY29427"/>
              </a:cxn>
              <a:cxn ang="0">
                <a:pos x="connsiteX29428" y="connsiteY29428"/>
              </a:cxn>
              <a:cxn ang="0">
                <a:pos x="connsiteX29429" y="connsiteY29429"/>
              </a:cxn>
              <a:cxn ang="0">
                <a:pos x="connsiteX29430" y="connsiteY29430"/>
              </a:cxn>
              <a:cxn ang="0">
                <a:pos x="connsiteX29431" y="connsiteY29431"/>
              </a:cxn>
              <a:cxn ang="0">
                <a:pos x="connsiteX29432" y="connsiteY29432"/>
              </a:cxn>
              <a:cxn ang="0">
                <a:pos x="connsiteX29433" y="connsiteY29433"/>
              </a:cxn>
              <a:cxn ang="0">
                <a:pos x="connsiteX29434" y="connsiteY29434"/>
              </a:cxn>
              <a:cxn ang="0">
                <a:pos x="connsiteX29435" y="connsiteY29435"/>
              </a:cxn>
              <a:cxn ang="0">
                <a:pos x="connsiteX29436" y="connsiteY29436"/>
              </a:cxn>
              <a:cxn ang="0">
                <a:pos x="connsiteX29437" y="connsiteY29437"/>
              </a:cxn>
              <a:cxn ang="0">
                <a:pos x="connsiteX29438" y="connsiteY29438"/>
              </a:cxn>
              <a:cxn ang="0">
                <a:pos x="connsiteX29439" y="connsiteY29439"/>
              </a:cxn>
              <a:cxn ang="0">
                <a:pos x="connsiteX29440" y="connsiteY29440"/>
              </a:cxn>
              <a:cxn ang="0">
                <a:pos x="connsiteX29441" y="connsiteY29441"/>
              </a:cxn>
              <a:cxn ang="0">
                <a:pos x="connsiteX29442" y="connsiteY29442"/>
              </a:cxn>
              <a:cxn ang="0">
                <a:pos x="connsiteX29443" y="connsiteY29443"/>
              </a:cxn>
              <a:cxn ang="0">
                <a:pos x="connsiteX29444" y="connsiteY29444"/>
              </a:cxn>
              <a:cxn ang="0">
                <a:pos x="connsiteX29445" y="connsiteY29445"/>
              </a:cxn>
              <a:cxn ang="0">
                <a:pos x="connsiteX29446" y="connsiteY29446"/>
              </a:cxn>
              <a:cxn ang="0">
                <a:pos x="connsiteX29447" y="connsiteY29447"/>
              </a:cxn>
              <a:cxn ang="0">
                <a:pos x="connsiteX29448" y="connsiteY29448"/>
              </a:cxn>
              <a:cxn ang="0">
                <a:pos x="connsiteX29449" y="connsiteY29449"/>
              </a:cxn>
              <a:cxn ang="0">
                <a:pos x="connsiteX29450" y="connsiteY29450"/>
              </a:cxn>
              <a:cxn ang="0">
                <a:pos x="connsiteX29451" y="connsiteY29451"/>
              </a:cxn>
              <a:cxn ang="0">
                <a:pos x="connsiteX29452" y="connsiteY29452"/>
              </a:cxn>
              <a:cxn ang="0">
                <a:pos x="connsiteX29453" y="connsiteY29453"/>
              </a:cxn>
              <a:cxn ang="0">
                <a:pos x="connsiteX29454" y="connsiteY29454"/>
              </a:cxn>
              <a:cxn ang="0">
                <a:pos x="connsiteX29455" y="connsiteY29455"/>
              </a:cxn>
              <a:cxn ang="0">
                <a:pos x="connsiteX29456" y="connsiteY29456"/>
              </a:cxn>
              <a:cxn ang="0">
                <a:pos x="connsiteX29457" y="connsiteY29457"/>
              </a:cxn>
              <a:cxn ang="0">
                <a:pos x="connsiteX29458" y="connsiteY29458"/>
              </a:cxn>
              <a:cxn ang="0">
                <a:pos x="connsiteX29459" y="connsiteY29459"/>
              </a:cxn>
              <a:cxn ang="0">
                <a:pos x="connsiteX29460" y="connsiteY29460"/>
              </a:cxn>
              <a:cxn ang="0">
                <a:pos x="connsiteX29461" y="connsiteY29461"/>
              </a:cxn>
              <a:cxn ang="0">
                <a:pos x="connsiteX29462" y="connsiteY29462"/>
              </a:cxn>
              <a:cxn ang="0">
                <a:pos x="connsiteX29463" y="connsiteY29463"/>
              </a:cxn>
              <a:cxn ang="0">
                <a:pos x="connsiteX29464" y="connsiteY29464"/>
              </a:cxn>
              <a:cxn ang="0">
                <a:pos x="connsiteX29465" y="connsiteY29465"/>
              </a:cxn>
              <a:cxn ang="0">
                <a:pos x="connsiteX29466" y="connsiteY29466"/>
              </a:cxn>
              <a:cxn ang="0">
                <a:pos x="connsiteX29467" y="connsiteY29467"/>
              </a:cxn>
              <a:cxn ang="0">
                <a:pos x="connsiteX29468" y="connsiteY29468"/>
              </a:cxn>
              <a:cxn ang="0">
                <a:pos x="connsiteX29469" y="connsiteY29469"/>
              </a:cxn>
              <a:cxn ang="0">
                <a:pos x="connsiteX29470" y="connsiteY29470"/>
              </a:cxn>
              <a:cxn ang="0">
                <a:pos x="connsiteX29471" y="connsiteY29471"/>
              </a:cxn>
              <a:cxn ang="0">
                <a:pos x="connsiteX29472" y="connsiteY29472"/>
              </a:cxn>
              <a:cxn ang="0">
                <a:pos x="connsiteX29473" y="connsiteY29473"/>
              </a:cxn>
              <a:cxn ang="0">
                <a:pos x="connsiteX29474" y="connsiteY29474"/>
              </a:cxn>
              <a:cxn ang="0">
                <a:pos x="connsiteX29475" y="connsiteY29475"/>
              </a:cxn>
              <a:cxn ang="0">
                <a:pos x="connsiteX29476" y="connsiteY29476"/>
              </a:cxn>
              <a:cxn ang="0">
                <a:pos x="connsiteX29477" y="connsiteY29477"/>
              </a:cxn>
              <a:cxn ang="0">
                <a:pos x="connsiteX29478" y="connsiteY29478"/>
              </a:cxn>
              <a:cxn ang="0">
                <a:pos x="connsiteX29479" y="connsiteY29479"/>
              </a:cxn>
              <a:cxn ang="0">
                <a:pos x="connsiteX29480" y="connsiteY29480"/>
              </a:cxn>
              <a:cxn ang="0">
                <a:pos x="connsiteX29481" y="connsiteY29481"/>
              </a:cxn>
              <a:cxn ang="0">
                <a:pos x="connsiteX29482" y="connsiteY29482"/>
              </a:cxn>
              <a:cxn ang="0">
                <a:pos x="connsiteX29483" y="connsiteY29483"/>
              </a:cxn>
              <a:cxn ang="0">
                <a:pos x="connsiteX29484" y="connsiteY29484"/>
              </a:cxn>
              <a:cxn ang="0">
                <a:pos x="connsiteX29485" y="connsiteY29485"/>
              </a:cxn>
              <a:cxn ang="0">
                <a:pos x="connsiteX29486" y="connsiteY29486"/>
              </a:cxn>
              <a:cxn ang="0">
                <a:pos x="connsiteX29487" y="connsiteY29487"/>
              </a:cxn>
              <a:cxn ang="0">
                <a:pos x="connsiteX29488" y="connsiteY29488"/>
              </a:cxn>
              <a:cxn ang="0">
                <a:pos x="connsiteX29489" y="connsiteY29489"/>
              </a:cxn>
              <a:cxn ang="0">
                <a:pos x="connsiteX29490" y="connsiteY29490"/>
              </a:cxn>
              <a:cxn ang="0">
                <a:pos x="connsiteX29491" y="connsiteY29491"/>
              </a:cxn>
              <a:cxn ang="0">
                <a:pos x="connsiteX29492" y="connsiteY29492"/>
              </a:cxn>
              <a:cxn ang="0">
                <a:pos x="connsiteX29493" y="connsiteY29493"/>
              </a:cxn>
              <a:cxn ang="0">
                <a:pos x="connsiteX29494" y="connsiteY29494"/>
              </a:cxn>
              <a:cxn ang="0">
                <a:pos x="connsiteX29495" y="connsiteY29495"/>
              </a:cxn>
              <a:cxn ang="0">
                <a:pos x="connsiteX29496" y="connsiteY29496"/>
              </a:cxn>
              <a:cxn ang="0">
                <a:pos x="connsiteX29497" y="connsiteY29497"/>
              </a:cxn>
              <a:cxn ang="0">
                <a:pos x="connsiteX29498" y="connsiteY29498"/>
              </a:cxn>
              <a:cxn ang="0">
                <a:pos x="connsiteX29499" y="connsiteY29499"/>
              </a:cxn>
              <a:cxn ang="0">
                <a:pos x="connsiteX29500" y="connsiteY29500"/>
              </a:cxn>
              <a:cxn ang="0">
                <a:pos x="connsiteX29501" y="connsiteY29501"/>
              </a:cxn>
              <a:cxn ang="0">
                <a:pos x="connsiteX29502" y="connsiteY29502"/>
              </a:cxn>
              <a:cxn ang="0">
                <a:pos x="connsiteX29503" y="connsiteY29503"/>
              </a:cxn>
              <a:cxn ang="0">
                <a:pos x="connsiteX29504" y="connsiteY29504"/>
              </a:cxn>
              <a:cxn ang="0">
                <a:pos x="connsiteX29505" y="connsiteY29505"/>
              </a:cxn>
              <a:cxn ang="0">
                <a:pos x="connsiteX29506" y="connsiteY29506"/>
              </a:cxn>
              <a:cxn ang="0">
                <a:pos x="connsiteX29507" y="connsiteY29507"/>
              </a:cxn>
              <a:cxn ang="0">
                <a:pos x="connsiteX29508" y="connsiteY29508"/>
              </a:cxn>
              <a:cxn ang="0">
                <a:pos x="connsiteX29509" y="connsiteY29509"/>
              </a:cxn>
              <a:cxn ang="0">
                <a:pos x="connsiteX29510" y="connsiteY29510"/>
              </a:cxn>
              <a:cxn ang="0">
                <a:pos x="connsiteX29511" y="connsiteY29511"/>
              </a:cxn>
              <a:cxn ang="0">
                <a:pos x="connsiteX29512" y="connsiteY29512"/>
              </a:cxn>
              <a:cxn ang="0">
                <a:pos x="connsiteX29513" y="connsiteY29513"/>
              </a:cxn>
              <a:cxn ang="0">
                <a:pos x="connsiteX29514" y="connsiteY29514"/>
              </a:cxn>
              <a:cxn ang="0">
                <a:pos x="connsiteX29515" y="connsiteY29515"/>
              </a:cxn>
              <a:cxn ang="0">
                <a:pos x="connsiteX29516" y="connsiteY29516"/>
              </a:cxn>
              <a:cxn ang="0">
                <a:pos x="connsiteX29517" y="connsiteY29517"/>
              </a:cxn>
              <a:cxn ang="0">
                <a:pos x="connsiteX29518" y="connsiteY29518"/>
              </a:cxn>
              <a:cxn ang="0">
                <a:pos x="connsiteX29519" y="connsiteY29519"/>
              </a:cxn>
              <a:cxn ang="0">
                <a:pos x="connsiteX29520" y="connsiteY29520"/>
              </a:cxn>
              <a:cxn ang="0">
                <a:pos x="connsiteX29521" y="connsiteY29521"/>
              </a:cxn>
              <a:cxn ang="0">
                <a:pos x="connsiteX29522" y="connsiteY29522"/>
              </a:cxn>
              <a:cxn ang="0">
                <a:pos x="connsiteX29523" y="connsiteY29523"/>
              </a:cxn>
              <a:cxn ang="0">
                <a:pos x="connsiteX29524" y="connsiteY29524"/>
              </a:cxn>
              <a:cxn ang="0">
                <a:pos x="connsiteX29525" y="connsiteY29525"/>
              </a:cxn>
              <a:cxn ang="0">
                <a:pos x="connsiteX29526" y="connsiteY29526"/>
              </a:cxn>
              <a:cxn ang="0">
                <a:pos x="connsiteX29527" y="connsiteY29527"/>
              </a:cxn>
              <a:cxn ang="0">
                <a:pos x="connsiteX29528" y="connsiteY29528"/>
              </a:cxn>
              <a:cxn ang="0">
                <a:pos x="connsiteX29529" y="connsiteY29529"/>
              </a:cxn>
              <a:cxn ang="0">
                <a:pos x="connsiteX29530" y="connsiteY29530"/>
              </a:cxn>
              <a:cxn ang="0">
                <a:pos x="connsiteX29531" y="connsiteY29531"/>
              </a:cxn>
              <a:cxn ang="0">
                <a:pos x="connsiteX29532" y="connsiteY29532"/>
              </a:cxn>
              <a:cxn ang="0">
                <a:pos x="connsiteX29533" y="connsiteY29533"/>
              </a:cxn>
              <a:cxn ang="0">
                <a:pos x="connsiteX29534" y="connsiteY29534"/>
              </a:cxn>
              <a:cxn ang="0">
                <a:pos x="connsiteX29535" y="connsiteY29535"/>
              </a:cxn>
              <a:cxn ang="0">
                <a:pos x="connsiteX29536" y="connsiteY29536"/>
              </a:cxn>
              <a:cxn ang="0">
                <a:pos x="connsiteX29537" y="connsiteY29537"/>
              </a:cxn>
              <a:cxn ang="0">
                <a:pos x="connsiteX29538" y="connsiteY29538"/>
              </a:cxn>
              <a:cxn ang="0">
                <a:pos x="connsiteX29539" y="connsiteY29539"/>
              </a:cxn>
              <a:cxn ang="0">
                <a:pos x="connsiteX29540" y="connsiteY29540"/>
              </a:cxn>
              <a:cxn ang="0">
                <a:pos x="connsiteX29541" y="connsiteY29541"/>
              </a:cxn>
              <a:cxn ang="0">
                <a:pos x="connsiteX29542" y="connsiteY29542"/>
              </a:cxn>
              <a:cxn ang="0">
                <a:pos x="connsiteX29543" y="connsiteY29543"/>
              </a:cxn>
              <a:cxn ang="0">
                <a:pos x="connsiteX29544" y="connsiteY29544"/>
              </a:cxn>
              <a:cxn ang="0">
                <a:pos x="connsiteX29545" y="connsiteY29545"/>
              </a:cxn>
              <a:cxn ang="0">
                <a:pos x="connsiteX29546" y="connsiteY29546"/>
              </a:cxn>
              <a:cxn ang="0">
                <a:pos x="connsiteX29547" y="connsiteY29547"/>
              </a:cxn>
              <a:cxn ang="0">
                <a:pos x="connsiteX29548" y="connsiteY29548"/>
              </a:cxn>
              <a:cxn ang="0">
                <a:pos x="connsiteX29549" y="connsiteY29549"/>
              </a:cxn>
              <a:cxn ang="0">
                <a:pos x="connsiteX29550" y="connsiteY29550"/>
              </a:cxn>
              <a:cxn ang="0">
                <a:pos x="connsiteX29551" y="connsiteY29551"/>
              </a:cxn>
              <a:cxn ang="0">
                <a:pos x="connsiteX29552" y="connsiteY29552"/>
              </a:cxn>
              <a:cxn ang="0">
                <a:pos x="connsiteX29553" y="connsiteY29553"/>
              </a:cxn>
              <a:cxn ang="0">
                <a:pos x="connsiteX29554" y="connsiteY29554"/>
              </a:cxn>
              <a:cxn ang="0">
                <a:pos x="connsiteX29555" y="connsiteY29555"/>
              </a:cxn>
              <a:cxn ang="0">
                <a:pos x="connsiteX29556" y="connsiteY29556"/>
              </a:cxn>
              <a:cxn ang="0">
                <a:pos x="connsiteX29557" y="connsiteY29557"/>
              </a:cxn>
              <a:cxn ang="0">
                <a:pos x="connsiteX29558" y="connsiteY29558"/>
              </a:cxn>
              <a:cxn ang="0">
                <a:pos x="connsiteX29559" y="connsiteY29559"/>
              </a:cxn>
              <a:cxn ang="0">
                <a:pos x="connsiteX29560" y="connsiteY29560"/>
              </a:cxn>
              <a:cxn ang="0">
                <a:pos x="connsiteX29561" y="connsiteY29561"/>
              </a:cxn>
              <a:cxn ang="0">
                <a:pos x="connsiteX29562" y="connsiteY29562"/>
              </a:cxn>
              <a:cxn ang="0">
                <a:pos x="connsiteX29563" y="connsiteY29563"/>
              </a:cxn>
              <a:cxn ang="0">
                <a:pos x="connsiteX29564" y="connsiteY29564"/>
              </a:cxn>
              <a:cxn ang="0">
                <a:pos x="connsiteX29565" y="connsiteY29565"/>
              </a:cxn>
              <a:cxn ang="0">
                <a:pos x="connsiteX29566" y="connsiteY29566"/>
              </a:cxn>
              <a:cxn ang="0">
                <a:pos x="connsiteX29567" y="connsiteY29567"/>
              </a:cxn>
              <a:cxn ang="0">
                <a:pos x="connsiteX29568" y="connsiteY29568"/>
              </a:cxn>
              <a:cxn ang="0">
                <a:pos x="connsiteX29569" y="connsiteY29569"/>
              </a:cxn>
              <a:cxn ang="0">
                <a:pos x="connsiteX29570" y="connsiteY29570"/>
              </a:cxn>
              <a:cxn ang="0">
                <a:pos x="connsiteX29571" y="connsiteY29571"/>
              </a:cxn>
              <a:cxn ang="0">
                <a:pos x="connsiteX29572" y="connsiteY29572"/>
              </a:cxn>
              <a:cxn ang="0">
                <a:pos x="connsiteX29573" y="connsiteY29573"/>
              </a:cxn>
              <a:cxn ang="0">
                <a:pos x="connsiteX29574" y="connsiteY29574"/>
              </a:cxn>
              <a:cxn ang="0">
                <a:pos x="connsiteX29575" y="connsiteY29575"/>
              </a:cxn>
              <a:cxn ang="0">
                <a:pos x="connsiteX29576" y="connsiteY29576"/>
              </a:cxn>
              <a:cxn ang="0">
                <a:pos x="connsiteX29577" y="connsiteY29577"/>
              </a:cxn>
              <a:cxn ang="0">
                <a:pos x="connsiteX29578" y="connsiteY29578"/>
              </a:cxn>
              <a:cxn ang="0">
                <a:pos x="connsiteX29579" y="connsiteY29579"/>
              </a:cxn>
              <a:cxn ang="0">
                <a:pos x="connsiteX29580" y="connsiteY29580"/>
              </a:cxn>
              <a:cxn ang="0">
                <a:pos x="connsiteX29581" y="connsiteY29581"/>
              </a:cxn>
              <a:cxn ang="0">
                <a:pos x="connsiteX29582" y="connsiteY29582"/>
              </a:cxn>
              <a:cxn ang="0">
                <a:pos x="connsiteX29583" y="connsiteY29583"/>
              </a:cxn>
              <a:cxn ang="0">
                <a:pos x="connsiteX29584" y="connsiteY29584"/>
              </a:cxn>
              <a:cxn ang="0">
                <a:pos x="connsiteX29585" y="connsiteY29585"/>
              </a:cxn>
              <a:cxn ang="0">
                <a:pos x="connsiteX29586" y="connsiteY29586"/>
              </a:cxn>
              <a:cxn ang="0">
                <a:pos x="connsiteX29587" y="connsiteY29587"/>
              </a:cxn>
              <a:cxn ang="0">
                <a:pos x="connsiteX29588" y="connsiteY29588"/>
              </a:cxn>
              <a:cxn ang="0">
                <a:pos x="connsiteX29589" y="connsiteY29589"/>
              </a:cxn>
              <a:cxn ang="0">
                <a:pos x="connsiteX29590" y="connsiteY29590"/>
              </a:cxn>
              <a:cxn ang="0">
                <a:pos x="connsiteX29591" y="connsiteY29591"/>
              </a:cxn>
              <a:cxn ang="0">
                <a:pos x="connsiteX29592" y="connsiteY29592"/>
              </a:cxn>
              <a:cxn ang="0">
                <a:pos x="connsiteX29593" y="connsiteY29593"/>
              </a:cxn>
              <a:cxn ang="0">
                <a:pos x="connsiteX29594" y="connsiteY29594"/>
              </a:cxn>
              <a:cxn ang="0">
                <a:pos x="connsiteX29595" y="connsiteY29595"/>
              </a:cxn>
              <a:cxn ang="0">
                <a:pos x="connsiteX29596" y="connsiteY29596"/>
              </a:cxn>
              <a:cxn ang="0">
                <a:pos x="connsiteX29597" y="connsiteY29597"/>
              </a:cxn>
              <a:cxn ang="0">
                <a:pos x="connsiteX29598" y="connsiteY29598"/>
              </a:cxn>
              <a:cxn ang="0">
                <a:pos x="connsiteX29599" y="connsiteY29599"/>
              </a:cxn>
              <a:cxn ang="0">
                <a:pos x="connsiteX29600" y="connsiteY29600"/>
              </a:cxn>
              <a:cxn ang="0">
                <a:pos x="connsiteX29601" y="connsiteY29601"/>
              </a:cxn>
              <a:cxn ang="0">
                <a:pos x="connsiteX29602" y="connsiteY29602"/>
              </a:cxn>
              <a:cxn ang="0">
                <a:pos x="connsiteX29603" y="connsiteY29603"/>
              </a:cxn>
              <a:cxn ang="0">
                <a:pos x="connsiteX29604" y="connsiteY29604"/>
              </a:cxn>
              <a:cxn ang="0">
                <a:pos x="connsiteX29605" y="connsiteY29605"/>
              </a:cxn>
              <a:cxn ang="0">
                <a:pos x="connsiteX29606" y="connsiteY29606"/>
              </a:cxn>
              <a:cxn ang="0">
                <a:pos x="connsiteX29607" y="connsiteY29607"/>
              </a:cxn>
              <a:cxn ang="0">
                <a:pos x="connsiteX29608" y="connsiteY29608"/>
              </a:cxn>
              <a:cxn ang="0">
                <a:pos x="connsiteX29609" y="connsiteY29609"/>
              </a:cxn>
              <a:cxn ang="0">
                <a:pos x="connsiteX29610" y="connsiteY29610"/>
              </a:cxn>
              <a:cxn ang="0">
                <a:pos x="connsiteX29611" y="connsiteY29611"/>
              </a:cxn>
              <a:cxn ang="0">
                <a:pos x="connsiteX29612" y="connsiteY29612"/>
              </a:cxn>
              <a:cxn ang="0">
                <a:pos x="connsiteX29613" y="connsiteY29613"/>
              </a:cxn>
              <a:cxn ang="0">
                <a:pos x="connsiteX29614" y="connsiteY29614"/>
              </a:cxn>
              <a:cxn ang="0">
                <a:pos x="connsiteX29615" y="connsiteY29615"/>
              </a:cxn>
              <a:cxn ang="0">
                <a:pos x="connsiteX29616" y="connsiteY29616"/>
              </a:cxn>
              <a:cxn ang="0">
                <a:pos x="connsiteX29617" y="connsiteY29617"/>
              </a:cxn>
              <a:cxn ang="0">
                <a:pos x="connsiteX29618" y="connsiteY29618"/>
              </a:cxn>
              <a:cxn ang="0">
                <a:pos x="connsiteX29619" y="connsiteY29619"/>
              </a:cxn>
              <a:cxn ang="0">
                <a:pos x="connsiteX29620" y="connsiteY29620"/>
              </a:cxn>
              <a:cxn ang="0">
                <a:pos x="connsiteX29621" y="connsiteY29621"/>
              </a:cxn>
              <a:cxn ang="0">
                <a:pos x="connsiteX29622" y="connsiteY29622"/>
              </a:cxn>
              <a:cxn ang="0">
                <a:pos x="connsiteX29623" y="connsiteY29623"/>
              </a:cxn>
              <a:cxn ang="0">
                <a:pos x="connsiteX29624" y="connsiteY29624"/>
              </a:cxn>
              <a:cxn ang="0">
                <a:pos x="connsiteX29625" y="connsiteY29625"/>
              </a:cxn>
              <a:cxn ang="0">
                <a:pos x="connsiteX29626" y="connsiteY29626"/>
              </a:cxn>
              <a:cxn ang="0">
                <a:pos x="connsiteX29627" y="connsiteY29627"/>
              </a:cxn>
              <a:cxn ang="0">
                <a:pos x="connsiteX29628" y="connsiteY29628"/>
              </a:cxn>
              <a:cxn ang="0">
                <a:pos x="connsiteX29629" y="connsiteY29629"/>
              </a:cxn>
              <a:cxn ang="0">
                <a:pos x="connsiteX29630" y="connsiteY29630"/>
              </a:cxn>
              <a:cxn ang="0">
                <a:pos x="connsiteX29631" y="connsiteY29631"/>
              </a:cxn>
              <a:cxn ang="0">
                <a:pos x="connsiteX29632" y="connsiteY29632"/>
              </a:cxn>
              <a:cxn ang="0">
                <a:pos x="connsiteX29633" y="connsiteY29633"/>
              </a:cxn>
              <a:cxn ang="0">
                <a:pos x="connsiteX29634" y="connsiteY29634"/>
              </a:cxn>
              <a:cxn ang="0">
                <a:pos x="connsiteX29635" y="connsiteY29635"/>
              </a:cxn>
              <a:cxn ang="0">
                <a:pos x="connsiteX29636" y="connsiteY29636"/>
              </a:cxn>
              <a:cxn ang="0">
                <a:pos x="connsiteX29637" y="connsiteY29637"/>
              </a:cxn>
              <a:cxn ang="0">
                <a:pos x="connsiteX29638" y="connsiteY29638"/>
              </a:cxn>
              <a:cxn ang="0">
                <a:pos x="connsiteX29639" y="connsiteY29639"/>
              </a:cxn>
              <a:cxn ang="0">
                <a:pos x="connsiteX29640" y="connsiteY29640"/>
              </a:cxn>
              <a:cxn ang="0">
                <a:pos x="connsiteX29641" y="connsiteY29641"/>
              </a:cxn>
              <a:cxn ang="0">
                <a:pos x="connsiteX29642" y="connsiteY29642"/>
              </a:cxn>
              <a:cxn ang="0">
                <a:pos x="connsiteX29643" y="connsiteY29643"/>
              </a:cxn>
              <a:cxn ang="0">
                <a:pos x="connsiteX29644" y="connsiteY29644"/>
              </a:cxn>
              <a:cxn ang="0">
                <a:pos x="connsiteX29645" y="connsiteY29645"/>
              </a:cxn>
              <a:cxn ang="0">
                <a:pos x="connsiteX29646" y="connsiteY29646"/>
              </a:cxn>
              <a:cxn ang="0">
                <a:pos x="connsiteX29647" y="connsiteY29647"/>
              </a:cxn>
              <a:cxn ang="0">
                <a:pos x="connsiteX29648" y="connsiteY29648"/>
              </a:cxn>
              <a:cxn ang="0">
                <a:pos x="connsiteX29649" y="connsiteY29649"/>
              </a:cxn>
              <a:cxn ang="0">
                <a:pos x="connsiteX29650" y="connsiteY29650"/>
              </a:cxn>
              <a:cxn ang="0">
                <a:pos x="connsiteX29651" y="connsiteY29651"/>
              </a:cxn>
              <a:cxn ang="0">
                <a:pos x="connsiteX29652" y="connsiteY29652"/>
              </a:cxn>
              <a:cxn ang="0">
                <a:pos x="connsiteX29653" y="connsiteY29653"/>
              </a:cxn>
              <a:cxn ang="0">
                <a:pos x="connsiteX29654" y="connsiteY29654"/>
              </a:cxn>
              <a:cxn ang="0">
                <a:pos x="connsiteX29655" y="connsiteY29655"/>
              </a:cxn>
              <a:cxn ang="0">
                <a:pos x="connsiteX29656" y="connsiteY29656"/>
              </a:cxn>
              <a:cxn ang="0">
                <a:pos x="connsiteX29657" y="connsiteY29657"/>
              </a:cxn>
              <a:cxn ang="0">
                <a:pos x="connsiteX29658" y="connsiteY29658"/>
              </a:cxn>
              <a:cxn ang="0">
                <a:pos x="connsiteX29659" y="connsiteY29659"/>
              </a:cxn>
              <a:cxn ang="0">
                <a:pos x="connsiteX29660" y="connsiteY29660"/>
              </a:cxn>
              <a:cxn ang="0">
                <a:pos x="connsiteX29661" y="connsiteY29661"/>
              </a:cxn>
              <a:cxn ang="0">
                <a:pos x="connsiteX29662" y="connsiteY29662"/>
              </a:cxn>
              <a:cxn ang="0">
                <a:pos x="connsiteX29663" y="connsiteY29663"/>
              </a:cxn>
              <a:cxn ang="0">
                <a:pos x="connsiteX29664" y="connsiteY29664"/>
              </a:cxn>
              <a:cxn ang="0">
                <a:pos x="connsiteX29665" y="connsiteY29665"/>
              </a:cxn>
              <a:cxn ang="0">
                <a:pos x="connsiteX29666" y="connsiteY29666"/>
              </a:cxn>
              <a:cxn ang="0">
                <a:pos x="connsiteX29667" y="connsiteY29667"/>
              </a:cxn>
              <a:cxn ang="0">
                <a:pos x="connsiteX29668" y="connsiteY29668"/>
              </a:cxn>
              <a:cxn ang="0">
                <a:pos x="connsiteX29669" y="connsiteY29669"/>
              </a:cxn>
              <a:cxn ang="0">
                <a:pos x="connsiteX29670" y="connsiteY29670"/>
              </a:cxn>
              <a:cxn ang="0">
                <a:pos x="connsiteX29671" y="connsiteY29671"/>
              </a:cxn>
              <a:cxn ang="0">
                <a:pos x="connsiteX29672" y="connsiteY29672"/>
              </a:cxn>
              <a:cxn ang="0">
                <a:pos x="connsiteX29673" y="connsiteY29673"/>
              </a:cxn>
              <a:cxn ang="0">
                <a:pos x="connsiteX29674" y="connsiteY29674"/>
              </a:cxn>
              <a:cxn ang="0">
                <a:pos x="connsiteX29675" y="connsiteY29675"/>
              </a:cxn>
              <a:cxn ang="0">
                <a:pos x="connsiteX29676" y="connsiteY29676"/>
              </a:cxn>
              <a:cxn ang="0">
                <a:pos x="connsiteX29677" y="connsiteY29677"/>
              </a:cxn>
              <a:cxn ang="0">
                <a:pos x="connsiteX29678" y="connsiteY29678"/>
              </a:cxn>
              <a:cxn ang="0">
                <a:pos x="connsiteX29679" y="connsiteY29679"/>
              </a:cxn>
              <a:cxn ang="0">
                <a:pos x="connsiteX29680" y="connsiteY29680"/>
              </a:cxn>
              <a:cxn ang="0">
                <a:pos x="connsiteX29681" y="connsiteY29681"/>
              </a:cxn>
              <a:cxn ang="0">
                <a:pos x="connsiteX29682" y="connsiteY29682"/>
              </a:cxn>
              <a:cxn ang="0">
                <a:pos x="connsiteX29683" y="connsiteY29683"/>
              </a:cxn>
              <a:cxn ang="0">
                <a:pos x="connsiteX29684" y="connsiteY29684"/>
              </a:cxn>
              <a:cxn ang="0">
                <a:pos x="connsiteX29685" y="connsiteY29685"/>
              </a:cxn>
              <a:cxn ang="0">
                <a:pos x="connsiteX29686" y="connsiteY29686"/>
              </a:cxn>
              <a:cxn ang="0">
                <a:pos x="connsiteX29687" y="connsiteY29687"/>
              </a:cxn>
              <a:cxn ang="0">
                <a:pos x="connsiteX29688" y="connsiteY29688"/>
              </a:cxn>
              <a:cxn ang="0">
                <a:pos x="connsiteX29689" y="connsiteY29689"/>
              </a:cxn>
              <a:cxn ang="0">
                <a:pos x="connsiteX29690" y="connsiteY29690"/>
              </a:cxn>
              <a:cxn ang="0">
                <a:pos x="connsiteX29691" y="connsiteY29691"/>
              </a:cxn>
              <a:cxn ang="0">
                <a:pos x="connsiteX29692" y="connsiteY29692"/>
              </a:cxn>
              <a:cxn ang="0">
                <a:pos x="connsiteX29693" y="connsiteY29693"/>
              </a:cxn>
              <a:cxn ang="0">
                <a:pos x="connsiteX29694" y="connsiteY29694"/>
              </a:cxn>
              <a:cxn ang="0">
                <a:pos x="connsiteX29695" y="connsiteY29695"/>
              </a:cxn>
              <a:cxn ang="0">
                <a:pos x="connsiteX29696" y="connsiteY29696"/>
              </a:cxn>
              <a:cxn ang="0">
                <a:pos x="connsiteX29697" y="connsiteY29697"/>
              </a:cxn>
              <a:cxn ang="0">
                <a:pos x="connsiteX29698" y="connsiteY29698"/>
              </a:cxn>
              <a:cxn ang="0">
                <a:pos x="connsiteX29699" y="connsiteY29699"/>
              </a:cxn>
              <a:cxn ang="0">
                <a:pos x="connsiteX29700" y="connsiteY29700"/>
              </a:cxn>
              <a:cxn ang="0">
                <a:pos x="connsiteX29701" y="connsiteY29701"/>
              </a:cxn>
              <a:cxn ang="0">
                <a:pos x="connsiteX29702" y="connsiteY29702"/>
              </a:cxn>
              <a:cxn ang="0">
                <a:pos x="connsiteX29703" y="connsiteY29703"/>
              </a:cxn>
              <a:cxn ang="0">
                <a:pos x="connsiteX29704" y="connsiteY29704"/>
              </a:cxn>
              <a:cxn ang="0">
                <a:pos x="connsiteX29705" y="connsiteY29705"/>
              </a:cxn>
              <a:cxn ang="0">
                <a:pos x="connsiteX29706" y="connsiteY29706"/>
              </a:cxn>
              <a:cxn ang="0">
                <a:pos x="connsiteX29707" y="connsiteY29707"/>
              </a:cxn>
              <a:cxn ang="0">
                <a:pos x="connsiteX29708" y="connsiteY29708"/>
              </a:cxn>
              <a:cxn ang="0">
                <a:pos x="connsiteX29709" y="connsiteY29709"/>
              </a:cxn>
              <a:cxn ang="0">
                <a:pos x="connsiteX29710" y="connsiteY29710"/>
              </a:cxn>
              <a:cxn ang="0">
                <a:pos x="connsiteX29711" y="connsiteY29711"/>
              </a:cxn>
              <a:cxn ang="0">
                <a:pos x="connsiteX29712" y="connsiteY29712"/>
              </a:cxn>
              <a:cxn ang="0">
                <a:pos x="connsiteX29713" y="connsiteY29713"/>
              </a:cxn>
              <a:cxn ang="0">
                <a:pos x="connsiteX29714" y="connsiteY29714"/>
              </a:cxn>
              <a:cxn ang="0">
                <a:pos x="connsiteX29715" y="connsiteY29715"/>
              </a:cxn>
              <a:cxn ang="0">
                <a:pos x="connsiteX29716" y="connsiteY29716"/>
              </a:cxn>
              <a:cxn ang="0">
                <a:pos x="connsiteX29717" y="connsiteY29717"/>
              </a:cxn>
              <a:cxn ang="0">
                <a:pos x="connsiteX29718" y="connsiteY29718"/>
              </a:cxn>
              <a:cxn ang="0">
                <a:pos x="connsiteX29719" y="connsiteY29719"/>
              </a:cxn>
              <a:cxn ang="0">
                <a:pos x="connsiteX29720" y="connsiteY29720"/>
              </a:cxn>
              <a:cxn ang="0">
                <a:pos x="connsiteX29721" y="connsiteY29721"/>
              </a:cxn>
              <a:cxn ang="0">
                <a:pos x="connsiteX29722" y="connsiteY29722"/>
              </a:cxn>
              <a:cxn ang="0">
                <a:pos x="connsiteX29723" y="connsiteY29723"/>
              </a:cxn>
              <a:cxn ang="0">
                <a:pos x="connsiteX29724" y="connsiteY29724"/>
              </a:cxn>
              <a:cxn ang="0">
                <a:pos x="connsiteX29725" y="connsiteY29725"/>
              </a:cxn>
              <a:cxn ang="0">
                <a:pos x="connsiteX29726" y="connsiteY29726"/>
              </a:cxn>
              <a:cxn ang="0">
                <a:pos x="connsiteX29727" y="connsiteY29727"/>
              </a:cxn>
              <a:cxn ang="0">
                <a:pos x="connsiteX29728" y="connsiteY29728"/>
              </a:cxn>
              <a:cxn ang="0">
                <a:pos x="connsiteX29729" y="connsiteY29729"/>
              </a:cxn>
              <a:cxn ang="0">
                <a:pos x="connsiteX29730" y="connsiteY29730"/>
              </a:cxn>
              <a:cxn ang="0">
                <a:pos x="connsiteX29731" y="connsiteY29731"/>
              </a:cxn>
              <a:cxn ang="0">
                <a:pos x="connsiteX29732" y="connsiteY29732"/>
              </a:cxn>
              <a:cxn ang="0">
                <a:pos x="connsiteX29733" y="connsiteY29733"/>
              </a:cxn>
              <a:cxn ang="0">
                <a:pos x="connsiteX29734" y="connsiteY29734"/>
              </a:cxn>
              <a:cxn ang="0">
                <a:pos x="connsiteX29735" y="connsiteY29735"/>
              </a:cxn>
              <a:cxn ang="0">
                <a:pos x="connsiteX29736" y="connsiteY29736"/>
              </a:cxn>
              <a:cxn ang="0">
                <a:pos x="connsiteX29737" y="connsiteY29737"/>
              </a:cxn>
              <a:cxn ang="0">
                <a:pos x="connsiteX29738" y="connsiteY29738"/>
              </a:cxn>
              <a:cxn ang="0">
                <a:pos x="connsiteX29739" y="connsiteY29739"/>
              </a:cxn>
              <a:cxn ang="0">
                <a:pos x="connsiteX29740" y="connsiteY29740"/>
              </a:cxn>
              <a:cxn ang="0">
                <a:pos x="connsiteX29741" y="connsiteY29741"/>
              </a:cxn>
              <a:cxn ang="0">
                <a:pos x="connsiteX29742" y="connsiteY29742"/>
              </a:cxn>
              <a:cxn ang="0">
                <a:pos x="connsiteX29743" y="connsiteY29743"/>
              </a:cxn>
              <a:cxn ang="0">
                <a:pos x="connsiteX29744" y="connsiteY29744"/>
              </a:cxn>
              <a:cxn ang="0">
                <a:pos x="connsiteX29745" y="connsiteY29745"/>
              </a:cxn>
              <a:cxn ang="0">
                <a:pos x="connsiteX29746" y="connsiteY29746"/>
              </a:cxn>
              <a:cxn ang="0">
                <a:pos x="connsiteX29747" y="connsiteY29747"/>
              </a:cxn>
              <a:cxn ang="0">
                <a:pos x="connsiteX29748" y="connsiteY29748"/>
              </a:cxn>
              <a:cxn ang="0">
                <a:pos x="connsiteX29749" y="connsiteY29749"/>
              </a:cxn>
              <a:cxn ang="0">
                <a:pos x="connsiteX29750" y="connsiteY29750"/>
              </a:cxn>
              <a:cxn ang="0">
                <a:pos x="connsiteX29751" y="connsiteY29751"/>
              </a:cxn>
              <a:cxn ang="0">
                <a:pos x="connsiteX29752" y="connsiteY29752"/>
              </a:cxn>
              <a:cxn ang="0">
                <a:pos x="connsiteX29753" y="connsiteY29753"/>
              </a:cxn>
              <a:cxn ang="0">
                <a:pos x="connsiteX29754" y="connsiteY29754"/>
              </a:cxn>
              <a:cxn ang="0">
                <a:pos x="connsiteX29755" y="connsiteY29755"/>
              </a:cxn>
              <a:cxn ang="0">
                <a:pos x="connsiteX29756" y="connsiteY29756"/>
              </a:cxn>
              <a:cxn ang="0">
                <a:pos x="connsiteX29757" y="connsiteY29757"/>
              </a:cxn>
              <a:cxn ang="0">
                <a:pos x="connsiteX29758" y="connsiteY29758"/>
              </a:cxn>
              <a:cxn ang="0">
                <a:pos x="connsiteX29759" y="connsiteY29759"/>
              </a:cxn>
              <a:cxn ang="0">
                <a:pos x="connsiteX29760" y="connsiteY29760"/>
              </a:cxn>
              <a:cxn ang="0">
                <a:pos x="connsiteX29761" y="connsiteY29761"/>
              </a:cxn>
              <a:cxn ang="0">
                <a:pos x="connsiteX29762" y="connsiteY29762"/>
              </a:cxn>
              <a:cxn ang="0">
                <a:pos x="connsiteX29763" y="connsiteY29763"/>
              </a:cxn>
              <a:cxn ang="0">
                <a:pos x="connsiteX29764" y="connsiteY29764"/>
              </a:cxn>
              <a:cxn ang="0">
                <a:pos x="connsiteX29765" y="connsiteY29765"/>
              </a:cxn>
              <a:cxn ang="0">
                <a:pos x="connsiteX29766" y="connsiteY29766"/>
              </a:cxn>
              <a:cxn ang="0">
                <a:pos x="connsiteX29767" y="connsiteY29767"/>
              </a:cxn>
              <a:cxn ang="0">
                <a:pos x="connsiteX29768" y="connsiteY29768"/>
              </a:cxn>
              <a:cxn ang="0">
                <a:pos x="connsiteX29769" y="connsiteY29769"/>
              </a:cxn>
              <a:cxn ang="0">
                <a:pos x="connsiteX29770" y="connsiteY29770"/>
              </a:cxn>
              <a:cxn ang="0">
                <a:pos x="connsiteX29771" y="connsiteY29771"/>
              </a:cxn>
              <a:cxn ang="0">
                <a:pos x="connsiteX29772" y="connsiteY29772"/>
              </a:cxn>
              <a:cxn ang="0">
                <a:pos x="connsiteX29773" y="connsiteY29773"/>
              </a:cxn>
              <a:cxn ang="0">
                <a:pos x="connsiteX29774" y="connsiteY29774"/>
              </a:cxn>
              <a:cxn ang="0">
                <a:pos x="connsiteX29775" y="connsiteY29775"/>
              </a:cxn>
              <a:cxn ang="0">
                <a:pos x="connsiteX29776" y="connsiteY29776"/>
              </a:cxn>
              <a:cxn ang="0">
                <a:pos x="connsiteX29777" y="connsiteY29777"/>
              </a:cxn>
              <a:cxn ang="0">
                <a:pos x="connsiteX29778" y="connsiteY29778"/>
              </a:cxn>
              <a:cxn ang="0">
                <a:pos x="connsiteX29779" y="connsiteY29779"/>
              </a:cxn>
              <a:cxn ang="0">
                <a:pos x="connsiteX29780" y="connsiteY29780"/>
              </a:cxn>
              <a:cxn ang="0">
                <a:pos x="connsiteX29781" y="connsiteY29781"/>
              </a:cxn>
              <a:cxn ang="0">
                <a:pos x="connsiteX29782" y="connsiteY29782"/>
              </a:cxn>
              <a:cxn ang="0">
                <a:pos x="connsiteX29783" y="connsiteY29783"/>
              </a:cxn>
              <a:cxn ang="0">
                <a:pos x="connsiteX29784" y="connsiteY29784"/>
              </a:cxn>
              <a:cxn ang="0">
                <a:pos x="connsiteX29785" y="connsiteY29785"/>
              </a:cxn>
              <a:cxn ang="0">
                <a:pos x="connsiteX29786" y="connsiteY29786"/>
              </a:cxn>
              <a:cxn ang="0">
                <a:pos x="connsiteX29787" y="connsiteY29787"/>
              </a:cxn>
              <a:cxn ang="0">
                <a:pos x="connsiteX29788" y="connsiteY29788"/>
              </a:cxn>
              <a:cxn ang="0">
                <a:pos x="connsiteX29789" y="connsiteY29789"/>
              </a:cxn>
              <a:cxn ang="0">
                <a:pos x="connsiteX29790" y="connsiteY29790"/>
              </a:cxn>
              <a:cxn ang="0">
                <a:pos x="connsiteX29791" y="connsiteY29791"/>
              </a:cxn>
              <a:cxn ang="0">
                <a:pos x="connsiteX29792" y="connsiteY29792"/>
              </a:cxn>
              <a:cxn ang="0">
                <a:pos x="connsiteX29793" y="connsiteY29793"/>
              </a:cxn>
              <a:cxn ang="0">
                <a:pos x="connsiteX29794" y="connsiteY29794"/>
              </a:cxn>
              <a:cxn ang="0">
                <a:pos x="connsiteX29795" y="connsiteY29795"/>
              </a:cxn>
              <a:cxn ang="0">
                <a:pos x="connsiteX29796" y="connsiteY29796"/>
              </a:cxn>
              <a:cxn ang="0">
                <a:pos x="connsiteX29797" y="connsiteY29797"/>
              </a:cxn>
              <a:cxn ang="0">
                <a:pos x="connsiteX29798" y="connsiteY29798"/>
              </a:cxn>
              <a:cxn ang="0">
                <a:pos x="connsiteX29799" y="connsiteY29799"/>
              </a:cxn>
              <a:cxn ang="0">
                <a:pos x="connsiteX29800" y="connsiteY29800"/>
              </a:cxn>
              <a:cxn ang="0">
                <a:pos x="connsiteX29801" y="connsiteY29801"/>
              </a:cxn>
              <a:cxn ang="0">
                <a:pos x="connsiteX29802" y="connsiteY29802"/>
              </a:cxn>
              <a:cxn ang="0">
                <a:pos x="connsiteX29803" y="connsiteY29803"/>
              </a:cxn>
              <a:cxn ang="0">
                <a:pos x="connsiteX29804" y="connsiteY29804"/>
              </a:cxn>
              <a:cxn ang="0">
                <a:pos x="connsiteX29805" y="connsiteY29805"/>
              </a:cxn>
              <a:cxn ang="0">
                <a:pos x="connsiteX29806" y="connsiteY29806"/>
              </a:cxn>
              <a:cxn ang="0">
                <a:pos x="connsiteX29807" y="connsiteY29807"/>
              </a:cxn>
              <a:cxn ang="0">
                <a:pos x="connsiteX29808" y="connsiteY29808"/>
              </a:cxn>
              <a:cxn ang="0">
                <a:pos x="connsiteX29809" y="connsiteY29809"/>
              </a:cxn>
              <a:cxn ang="0">
                <a:pos x="connsiteX29810" y="connsiteY29810"/>
              </a:cxn>
              <a:cxn ang="0">
                <a:pos x="connsiteX29811" y="connsiteY29811"/>
              </a:cxn>
              <a:cxn ang="0">
                <a:pos x="connsiteX29812" y="connsiteY29812"/>
              </a:cxn>
              <a:cxn ang="0">
                <a:pos x="connsiteX29813" y="connsiteY29813"/>
              </a:cxn>
              <a:cxn ang="0">
                <a:pos x="connsiteX29814" y="connsiteY29814"/>
              </a:cxn>
              <a:cxn ang="0">
                <a:pos x="connsiteX29815" y="connsiteY29815"/>
              </a:cxn>
              <a:cxn ang="0">
                <a:pos x="connsiteX29816" y="connsiteY29816"/>
              </a:cxn>
              <a:cxn ang="0">
                <a:pos x="connsiteX29817" y="connsiteY29817"/>
              </a:cxn>
              <a:cxn ang="0">
                <a:pos x="connsiteX29818" y="connsiteY29818"/>
              </a:cxn>
              <a:cxn ang="0">
                <a:pos x="connsiteX29819" y="connsiteY29819"/>
              </a:cxn>
              <a:cxn ang="0">
                <a:pos x="connsiteX29820" y="connsiteY29820"/>
              </a:cxn>
              <a:cxn ang="0">
                <a:pos x="connsiteX29821" y="connsiteY29821"/>
              </a:cxn>
              <a:cxn ang="0">
                <a:pos x="connsiteX29822" y="connsiteY29822"/>
              </a:cxn>
              <a:cxn ang="0">
                <a:pos x="connsiteX29823" y="connsiteY29823"/>
              </a:cxn>
              <a:cxn ang="0">
                <a:pos x="connsiteX29824" y="connsiteY29824"/>
              </a:cxn>
              <a:cxn ang="0">
                <a:pos x="connsiteX29825" y="connsiteY29825"/>
              </a:cxn>
              <a:cxn ang="0">
                <a:pos x="connsiteX29826" y="connsiteY29826"/>
              </a:cxn>
              <a:cxn ang="0">
                <a:pos x="connsiteX29827" y="connsiteY29827"/>
              </a:cxn>
              <a:cxn ang="0">
                <a:pos x="connsiteX29828" y="connsiteY29828"/>
              </a:cxn>
              <a:cxn ang="0">
                <a:pos x="connsiteX29829" y="connsiteY29829"/>
              </a:cxn>
              <a:cxn ang="0">
                <a:pos x="connsiteX29830" y="connsiteY29830"/>
              </a:cxn>
              <a:cxn ang="0">
                <a:pos x="connsiteX29831" y="connsiteY29831"/>
              </a:cxn>
              <a:cxn ang="0">
                <a:pos x="connsiteX29832" y="connsiteY29832"/>
              </a:cxn>
              <a:cxn ang="0">
                <a:pos x="connsiteX29833" y="connsiteY29833"/>
              </a:cxn>
              <a:cxn ang="0">
                <a:pos x="connsiteX29834" y="connsiteY29834"/>
              </a:cxn>
              <a:cxn ang="0">
                <a:pos x="connsiteX29835" y="connsiteY29835"/>
              </a:cxn>
              <a:cxn ang="0">
                <a:pos x="connsiteX29836" y="connsiteY29836"/>
              </a:cxn>
              <a:cxn ang="0">
                <a:pos x="connsiteX29837" y="connsiteY29837"/>
              </a:cxn>
              <a:cxn ang="0">
                <a:pos x="connsiteX29838" y="connsiteY29838"/>
              </a:cxn>
              <a:cxn ang="0">
                <a:pos x="connsiteX29839" y="connsiteY29839"/>
              </a:cxn>
              <a:cxn ang="0">
                <a:pos x="connsiteX29840" y="connsiteY29840"/>
              </a:cxn>
              <a:cxn ang="0">
                <a:pos x="connsiteX29841" y="connsiteY29841"/>
              </a:cxn>
              <a:cxn ang="0">
                <a:pos x="connsiteX29842" y="connsiteY29842"/>
              </a:cxn>
              <a:cxn ang="0">
                <a:pos x="connsiteX29843" y="connsiteY29843"/>
              </a:cxn>
              <a:cxn ang="0">
                <a:pos x="connsiteX29844" y="connsiteY29844"/>
              </a:cxn>
              <a:cxn ang="0">
                <a:pos x="connsiteX29845" y="connsiteY29845"/>
              </a:cxn>
              <a:cxn ang="0">
                <a:pos x="connsiteX29846" y="connsiteY29846"/>
              </a:cxn>
              <a:cxn ang="0">
                <a:pos x="connsiteX29847" y="connsiteY29847"/>
              </a:cxn>
              <a:cxn ang="0">
                <a:pos x="connsiteX29848" y="connsiteY29848"/>
              </a:cxn>
              <a:cxn ang="0">
                <a:pos x="connsiteX29849" y="connsiteY29849"/>
              </a:cxn>
              <a:cxn ang="0">
                <a:pos x="connsiteX29850" y="connsiteY29850"/>
              </a:cxn>
              <a:cxn ang="0">
                <a:pos x="connsiteX29851" y="connsiteY29851"/>
              </a:cxn>
              <a:cxn ang="0">
                <a:pos x="connsiteX29852" y="connsiteY29852"/>
              </a:cxn>
              <a:cxn ang="0">
                <a:pos x="connsiteX29853" y="connsiteY29853"/>
              </a:cxn>
              <a:cxn ang="0">
                <a:pos x="connsiteX29854" y="connsiteY29854"/>
              </a:cxn>
              <a:cxn ang="0">
                <a:pos x="connsiteX29855" y="connsiteY29855"/>
              </a:cxn>
              <a:cxn ang="0">
                <a:pos x="connsiteX29856" y="connsiteY29856"/>
              </a:cxn>
              <a:cxn ang="0">
                <a:pos x="connsiteX29857" y="connsiteY29857"/>
              </a:cxn>
              <a:cxn ang="0">
                <a:pos x="connsiteX29858" y="connsiteY29858"/>
              </a:cxn>
              <a:cxn ang="0">
                <a:pos x="connsiteX29859" y="connsiteY29859"/>
              </a:cxn>
              <a:cxn ang="0">
                <a:pos x="connsiteX29860" y="connsiteY29860"/>
              </a:cxn>
              <a:cxn ang="0">
                <a:pos x="connsiteX29861" y="connsiteY29861"/>
              </a:cxn>
              <a:cxn ang="0">
                <a:pos x="connsiteX29862" y="connsiteY29862"/>
              </a:cxn>
              <a:cxn ang="0">
                <a:pos x="connsiteX29863" y="connsiteY29863"/>
              </a:cxn>
              <a:cxn ang="0">
                <a:pos x="connsiteX29864" y="connsiteY29864"/>
              </a:cxn>
              <a:cxn ang="0">
                <a:pos x="connsiteX29865" y="connsiteY29865"/>
              </a:cxn>
              <a:cxn ang="0">
                <a:pos x="connsiteX29866" y="connsiteY29866"/>
              </a:cxn>
              <a:cxn ang="0">
                <a:pos x="connsiteX29867" y="connsiteY29867"/>
              </a:cxn>
              <a:cxn ang="0">
                <a:pos x="connsiteX29868" y="connsiteY29868"/>
              </a:cxn>
              <a:cxn ang="0">
                <a:pos x="connsiteX29869" y="connsiteY29869"/>
              </a:cxn>
              <a:cxn ang="0">
                <a:pos x="connsiteX29870" y="connsiteY29870"/>
              </a:cxn>
              <a:cxn ang="0">
                <a:pos x="connsiteX29871" y="connsiteY29871"/>
              </a:cxn>
              <a:cxn ang="0">
                <a:pos x="connsiteX29872" y="connsiteY29872"/>
              </a:cxn>
              <a:cxn ang="0">
                <a:pos x="connsiteX29873" y="connsiteY29873"/>
              </a:cxn>
              <a:cxn ang="0">
                <a:pos x="connsiteX29874" y="connsiteY29874"/>
              </a:cxn>
              <a:cxn ang="0">
                <a:pos x="connsiteX29875" y="connsiteY29875"/>
              </a:cxn>
              <a:cxn ang="0">
                <a:pos x="connsiteX29876" y="connsiteY29876"/>
              </a:cxn>
              <a:cxn ang="0">
                <a:pos x="connsiteX29877" y="connsiteY29877"/>
              </a:cxn>
              <a:cxn ang="0">
                <a:pos x="connsiteX29878" y="connsiteY29878"/>
              </a:cxn>
              <a:cxn ang="0">
                <a:pos x="connsiteX29879" y="connsiteY29879"/>
              </a:cxn>
              <a:cxn ang="0">
                <a:pos x="connsiteX29880" y="connsiteY29880"/>
              </a:cxn>
              <a:cxn ang="0">
                <a:pos x="connsiteX29881" y="connsiteY29881"/>
              </a:cxn>
              <a:cxn ang="0">
                <a:pos x="connsiteX29882" y="connsiteY29882"/>
              </a:cxn>
              <a:cxn ang="0">
                <a:pos x="connsiteX29883" y="connsiteY29883"/>
              </a:cxn>
              <a:cxn ang="0">
                <a:pos x="connsiteX29884" y="connsiteY29884"/>
              </a:cxn>
              <a:cxn ang="0">
                <a:pos x="connsiteX29885" y="connsiteY29885"/>
              </a:cxn>
              <a:cxn ang="0">
                <a:pos x="connsiteX29886" y="connsiteY29886"/>
              </a:cxn>
              <a:cxn ang="0">
                <a:pos x="connsiteX29887" y="connsiteY29887"/>
              </a:cxn>
              <a:cxn ang="0">
                <a:pos x="connsiteX29888" y="connsiteY29888"/>
              </a:cxn>
              <a:cxn ang="0">
                <a:pos x="connsiteX29889" y="connsiteY29889"/>
              </a:cxn>
              <a:cxn ang="0">
                <a:pos x="connsiteX29890" y="connsiteY29890"/>
              </a:cxn>
              <a:cxn ang="0">
                <a:pos x="connsiteX29891" y="connsiteY29891"/>
              </a:cxn>
              <a:cxn ang="0">
                <a:pos x="connsiteX29892" y="connsiteY29892"/>
              </a:cxn>
              <a:cxn ang="0">
                <a:pos x="connsiteX29893" y="connsiteY29893"/>
              </a:cxn>
              <a:cxn ang="0">
                <a:pos x="connsiteX29894" y="connsiteY29894"/>
              </a:cxn>
              <a:cxn ang="0">
                <a:pos x="connsiteX29895" y="connsiteY29895"/>
              </a:cxn>
              <a:cxn ang="0">
                <a:pos x="connsiteX29896" y="connsiteY29896"/>
              </a:cxn>
              <a:cxn ang="0">
                <a:pos x="connsiteX29897" y="connsiteY29897"/>
              </a:cxn>
              <a:cxn ang="0">
                <a:pos x="connsiteX29898" y="connsiteY29898"/>
              </a:cxn>
              <a:cxn ang="0">
                <a:pos x="connsiteX29899" y="connsiteY29899"/>
              </a:cxn>
              <a:cxn ang="0">
                <a:pos x="connsiteX29900" y="connsiteY29900"/>
              </a:cxn>
              <a:cxn ang="0">
                <a:pos x="connsiteX29901" y="connsiteY29901"/>
              </a:cxn>
              <a:cxn ang="0">
                <a:pos x="connsiteX29902" y="connsiteY29902"/>
              </a:cxn>
              <a:cxn ang="0">
                <a:pos x="connsiteX29903" y="connsiteY29903"/>
              </a:cxn>
              <a:cxn ang="0">
                <a:pos x="connsiteX29904" y="connsiteY29904"/>
              </a:cxn>
              <a:cxn ang="0">
                <a:pos x="connsiteX29905" y="connsiteY29905"/>
              </a:cxn>
              <a:cxn ang="0">
                <a:pos x="connsiteX29906" y="connsiteY29906"/>
              </a:cxn>
              <a:cxn ang="0">
                <a:pos x="connsiteX29907" y="connsiteY29907"/>
              </a:cxn>
              <a:cxn ang="0">
                <a:pos x="connsiteX29908" y="connsiteY29908"/>
              </a:cxn>
              <a:cxn ang="0">
                <a:pos x="connsiteX29909" y="connsiteY29909"/>
              </a:cxn>
              <a:cxn ang="0">
                <a:pos x="connsiteX29910" y="connsiteY29910"/>
              </a:cxn>
              <a:cxn ang="0">
                <a:pos x="connsiteX29911" y="connsiteY29911"/>
              </a:cxn>
              <a:cxn ang="0">
                <a:pos x="connsiteX29912" y="connsiteY29912"/>
              </a:cxn>
              <a:cxn ang="0">
                <a:pos x="connsiteX29913" y="connsiteY29913"/>
              </a:cxn>
              <a:cxn ang="0">
                <a:pos x="connsiteX29914" y="connsiteY29914"/>
              </a:cxn>
              <a:cxn ang="0">
                <a:pos x="connsiteX29915" y="connsiteY29915"/>
              </a:cxn>
              <a:cxn ang="0">
                <a:pos x="connsiteX29916" y="connsiteY29916"/>
              </a:cxn>
              <a:cxn ang="0">
                <a:pos x="connsiteX29917" y="connsiteY29917"/>
              </a:cxn>
              <a:cxn ang="0">
                <a:pos x="connsiteX29918" y="connsiteY29918"/>
              </a:cxn>
              <a:cxn ang="0">
                <a:pos x="connsiteX29919" y="connsiteY29919"/>
              </a:cxn>
              <a:cxn ang="0">
                <a:pos x="connsiteX29920" y="connsiteY29920"/>
              </a:cxn>
              <a:cxn ang="0">
                <a:pos x="connsiteX29921" y="connsiteY29921"/>
              </a:cxn>
              <a:cxn ang="0">
                <a:pos x="connsiteX29922" y="connsiteY29922"/>
              </a:cxn>
              <a:cxn ang="0">
                <a:pos x="connsiteX29923" y="connsiteY29923"/>
              </a:cxn>
              <a:cxn ang="0">
                <a:pos x="connsiteX29924" y="connsiteY29924"/>
              </a:cxn>
              <a:cxn ang="0">
                <a:pos x="connsiteX29925" y="connsiteY29925"/>
              </a:cxn>
              <a:cxn ang="0">
                <a:pos x="connsiteX29926" y="connsiteY29926"/>
              </a:cxn>
              <a:cxn ang="0">
                <a:pos x="connsiteX29927" y="connsiteY29927"/>
              </a:cxn>
              <a:cxn ang="0">
                <a:pos x="connsiteX29928" y="connsiteY29928"/>
              </a:cxn>
              <a:cxn ang="0">
                <a:pos x="connsiteX29929" y="connsiteY29929"/>
              </a:cxn>
              <a:cxn ang="0">
                <a:pos x="connsiteX29930" y="connsiteY29930"/>
              </a:cxn>
              <a:cxn ang="0">
                <a:pos x="connsiteX29931" y="connsiteY29931"/>
              </a:cxn>
              <a:cxn ang="0">
                <a:pos x="connsiteX29932" y="connsiteY29932"/>
              </a:cxn>
              <a:cxn ang="0">
                <a:pos x="connsiteX29933" y="connsiteY29933"/>
              </a:cxn>
              <a:cxn ang="0">
                <a:pos x="connsiteX29934" y="connsiteY29934"/>
              </a:cxn>
              <a:cxn ang="0">
                <a:pos x="connsiteX29935" y="connsiteY29935"/>
              </a:cxn>
              <a:cxn ang="0">
                <a:pos x="connsiteX29936" y="connsiteY29936"/>
              </a:cxn>
              <a:cxn ang="0">
                <a:pos x="connsiteX29937" y="connsiteY29937"/>
              </a:cxn>
              <a:cxn ang="0">
                <a:pos x="connsiteX29938" y="connsiteY29938"/>
              </a:cxn>
              <a:cxn ang="0">
                <a:pos x="connsiteX29939" y="connsiteY29939"/>
              </a:cxn>
              <a:cxn ang="0">
                <a:pos x="connsiteX29940" y="connsiteY29940"/>
              </a:cxn>
              <a:cxn ang="0">
                <a:pos x="connsiteX29941" y="connsiteY29941"/>
              </a:cxn>
              <a:cxn ang="0">
                <a:pos x="connsiteX29942" y="connsiteY29942"/>
              </a:cxn>
              <a:cxn ang="0">
                <a:pos x="connsiteX29943" y="connsiteY29943"/>
              </a:cxn>
              <a:cxn ang="0">
                <a:pos x="connsiteX29944" y="connsiteY29944"/>
              </a:cxn>
              <a:cxn ang="0">
                <a:pos x="connsiteX29945" y="connsiteY29945"/>
              </a:cxn>
              <a:cxn ang="0">
                <a:pos x="connsiteX29946" y="connsiteY29946"/>
              </a:cxn>
              <a:cxn ang="0">
                <a:pos x="connsiteX29947" y="connsiteY29947"/>
              </a:cxn>
              <a:cxn ang="0">
                <a:pos x="connsiteX29948" y="connsiteY29948"/>
              </a:cxn>
              <a:cxn ang="0">
                <a:pos x="connsiteX29949" y="connsiteY29949"/>
              </a:cxn>
              <a:cxn ang="0">
                <a:pos x="connsiteX29950" y="connsiteY29950"/>
              </a:cxn>
              <a:cxn ang="0">
                <a:pos x="connsiteX29951" y="connsiteY29951"/>
              </a:cxn>
              <a:cxn ang="0">
                <a:pos x="connsiteX29952" y="connsiteY29952"/>
              </a:cxn>
              <a:cxn ang="0">
                <a:pos x="connsiteX29953" y="connsiteY29953"/>
              </a:cxn>
              <a:cxn ang="0">
                <a:pos x="connsiteX29954" y="connsiteY29954"/>
              </a:cxn>
              <a:cxn ang="0">
                <a:pos x="connsiteX29955" y="connsiteY29955"/>
              </a:cxn>
              <a:cxn ang="0">
                <a:pos x="connsiteX29956" y="connsiteY29956"/>
              </a:cxn>
              <a:cxn ang="0">
                <a:pos x="connsiteX29957" y="connsiteY29957"/>
              </a:cxn>
              <a:cxn ang="0">
                <a:pos x="connsiteX29958" y="connsiteY29958"/>
              </a:cxn>
              <a:cxn ang="0">
                <a:pos x="connsiteX29959" y="connsiteY29959"/>
              </a:cxn>
              <a:cxn ang="0">
                <a:pos x="connsiteX29960" y="connsiteY29960"/>
              </a:cxn>
              <a:cxn ang="0">
                <a:pos x="connsiteX29961" y="connsiteY29961"/>
              </a:cxn>
              <a:cxn ang="0">
                <a:pos x="connsiteX29962" y="connsiteY29962"/>
              </a:cxn>
              <a:cxn ang="0">
                <a:pos x="connsiteX29963" y="connsiteY29963"/>
              </a:cxn>
              <a:cxn ang="0">
                <a:pos x="connsiteX29964" y="connsiteY29964"/>
              </a:cxn>
              <a:cxn ang="0">
                <a:pos x="connsiteX29965" y="connsiteY29965"/>
              </a:cxn>
              <a:cxn ang="0">
                <a:pos x="connsiteX29966" y="connsiteY29966"/>
              </a:cxn>
              <a:cxn ang="0">
                <a:pos x="connsiteX29967" y="connsiteY29967"/>
              </a:cxn>
              <a:cxn ang="0">
                <a:pos x="connsiteX29968" y="connsiteY29968"/>
              </a:cxn>
              <a:cxn ang="0">
                <a:pos x="connsiteX29969" y="connsiteY29969"/>
              </a:cxn>
              <a:cxn ang="0">
                <a:pos x="connsiteX29970" y="connsiteY29970"/>
              </a:cxn>
              <a:cxn ang="0">
                <a:pos x="connsiteX29971" y="connsiteY29971"/>
              </a:cxn>
              <a:cxn ang="0">
                <a:pos x="connsiteX29972" y="connsiteY29972"/>
              </a:cxn>
              <a:cxn ang="0">
                <a:pos x="connsiteX29973" y="connsiteY29973"/>
              </a:cxn>
              <a:cxn ang="0">
                <a:pos x="connsiteX29974" y="connsiteY29974"/>
              </a:cxn>
              <a:cxn ang="0">
                <a:pos x="connsiteX29975" y="connsiteY29975"/>
              </a:cxn>
              <a:cxn ang="0">
                <a:pos x="connsiteX29976" y="connsiteY29976"/>
              </a:cxn>
              <a:cxn ang="0">
                <a:pos x="connsiteX29977" y="connsiteY29977"/>
              </a:cxn>
              <a:cxn ang="0">
                <a:pos x="connsiteX29978" y="connsiteY29978"/>
              </a:cxn>
              <a:cxn ang="0">
                <a:pos x="connsiteX29979" y="connsiteY29979"/>
              </a:cxn>
              <a:cxn ang="0">
                <a:pos x="connsiteX29980" y="connsiteY29980"/>
              </a:cxn>
              <a:cxn ang="0">
                <a:pos x="connsiteX29981" y="connsiteY29981"/>
              </a:cxn>
              <a:cxn ang="0">
                <a:pos x="connsiteX29982" y="connsiteY29982"/>
              </a:cxn>
              <a:cxn ang="0">
                <a:pos x="connsiteX29983" y="connsiteY29983"/>
              </a:cxn>
              <a:cxn ang="0">
                <a:pos x="connsiteX29984" y="connsiteY29984"/>
              </a:cxn>
              <a:cxn ang="0">
                <a:pos x="connsiteX29985" y="connsiteY29985"/>
              </a:cxn>
              <a:cxn ang="0">
                <a:pos x="connsiteX29986" y="connsiteY29986"/>
              </a:cxn>
              <a:cxn ang="0">
                <a:pos x="connsiteX29987" y="connsiteY29987"/>
              </a:cxn>
              <a:cxn ang="0">
                <a:pos x="connsiteX29988" y="connsiteY29988"/>
              </a:cxn>
              <a:cxn ang="0">
                <a:pos x="connsiteX29989" y="connsiteY29989"/>
              </a:cxn>
              <a:cxn ang="0">
                <a:pos x="connsiteX29990" y="connsiteY29990"/>
              </a:cxn>
              <a:cxn ang="0">
                <a:pos x="connsiteX29991" y="connsiteY29991"/>
              </a:cxn>
              <a:cxn ang="0">
                <a:pos x="connsiteX29992" y="connsiteY29992"/>
              </a:cxn>
              <a:cxn ang="0">
                <a:pos x="connsiteX29993" y="connsiteY29993"/>
              </a:cxn>
              <a:cxn ang="0">
                <a:pos x="connsiteX29994" y="connsiteY29994"/>
              </a:cxn>
              <a:cxn ang="0">
                <a:pos x="connsiteX29995" y="connsiteY29995"/>
              </a:cxn>
              <a:cxn ang="0">
                <a:pos x="connsiteX29996" y="connsiteY29996"/>
              </a:cxn>
              <a:cxn ang="0">
                <a:pos x="connsiteX29997" y="connsiteY29997"/>
              </a:cxn>
              <a:cxn ang="0">
                <a:pos x="connsiteX29998" y="connsiteY29998"/>
              </a:cxn>
              <a:cxn ang="0">
                <a:pos x="connsiteX29999" y="connsiteY29999"/>
              </a:cxn>
              <a:cxn ang="0">
                <a:pos x="connsiteX30000" y="connsiteY30000"/>
              </a:cxn>
              <a:cxn ang="0">
                <a:pos x="connsiteX30001" y="connsiteY30001"/>
              </a:cxn>
              <a:cxn ang="0">
                <a:pos x="connsiteX30002" y="connsiteY30002"/>
              </a:cxn>
              <a:cxn ang="0">
                <a:pos x="connsiteX30003" y="connsiteY30003"/>
              </a:cxn>
              <a:cxn ang="0">
                <a:pos x="connsiteX30004" y="connsiteY30004"/>
              </a:cxn>
              <a:cxn ang="0">
                <a:pos x="connsiteX30005" y="connsiteY30005"/>
              </a:cxn>
              <a:cxn ang="0">
                <a:pos x="connsiteX30006" y="connsiteY30006"/>
              </a:cxn>
              <a:cxn ang="0">
                <a:pos x="connsiteX30007" y="connsiteY30007"/>
              </a:cxn>
              <a:cxn ang="0">
                <a:pos x="connsiteX30008" y="connsiteY30008"/>
              </a:cxn>
              <a:cxn ang="0">
                <a:pos x="connsiteX30009" y="connsiteY30009"/>
              </a:cxn>
              <a:cxn ang="0">
                <a:pos x="connsiteX30010" y="connsiteY30010"/>
              </a:cxn>
              <a:cxn ang="0">
                <a:pos x="connsiteX30011" y="connsiteY30011"/>
              </a:cxn>
              <a:cxn ang="0">
                <a:pos x="connsiteX30012" y="connsiteY30012"/>
              </a:cxn>
              <a:cxn ang="0">
                <a:pos x="connsiteX30013" y="connsiteY30013"/>
              </a:cxn>
              <a:cxn ang="0">
                <a:pos x="connsiteX30014" y="connsiteY30014"/>
              </a:cxn>
              <a:cxn ang="0">
                <a:pos x="connsiteX30015" y="connsiteY30015"/>
              </a:cxn>
              <a:cxn ang="0">
                <a:pos x="connsiteX30016" y="connsiteY30016"/>
              </a:cxn>
              <a:cxn ang="0">
                <a:pos x="connsiteX30017" y="connsiteY30017"/>
              </a:cxn>
              <a:cxn ang="0">
                <a:pos x="connsiteX30018" y="connsiteY30018"/>
              </a:cxn>
              <a:cxn ang="0">
                <a:pos x="connsiteX30019" y="connsiteY30019"/>
              </a:cxn>
              <a:cxn ang="0">
                <a:pos x="connsiteX30020" y="connsiteY30020"/>
              </a:cxn>
              <a:cxn ang="0">
                <a:pos x="connsiteX30021" y="connsiteY30021"/>
              </a:cxn>
              <a:cxn ang="0">
                <a:pos x="connsiteX30022" y="connsiteY30022"/>
              </a:cxn>
              <a:cxn ang="0">
                <a:pos x="connsiteX30023" y="connsiteY30023"/>
              </a:cxn>
              <a:cxn ang="0">
                <a:pos x="connsiteX30024" y="connsiteY30024"/>
              </a:cxn>
              <a:cxn ang="0">
                <a:pos x="connsiteX30025" y="connsiteY30025"/>
              </a:cxn>
              <a:cxn ang="0">
                <a:pos x="connsiteX30026" y="connsiteY30026"/>
              </a:cxn>
              <a:cxn ang="0">
                <a:pos x="connsiteX30027" y="connsiteY30027"/>
              </a:cxn>
              <a:cxn ang="0">
                <a:pos x="connsiteX30028" y="connsiteY30028"/>
              </a:cxn>
              <a:cxn ang="0">
                <a:pos x="connsiteX30029" y="connsiteY30029"/>
              </a:cxn>
              <a:cxn ang="0">
                <a:pos x="connsiteX30030" y="connsiteY30030"/>
              </a:cxn>
              <a:cxn ang="0">
                <a:pos x="connsiteX30031" y="connsiteY30031"/>
              </a:cxn>
              <a:cxn ang="0">
                <a:pos x="connsiteX30032" y="connsiteY30032"/>
              </a:cxn>
              <a:cxn ang="0">
                <a:pos x="connsiteX30033" y="connsiteY30033"/>
              </a:cxn>
              <a:cxn ang="0">
                <a:pos x="connsiteX30034" y="connsiteY30034"/>
              </a:cxn>
              <a:cxn ang="0">
                <a:pos x="connsiteX30035" y="connsiteY30035"/>
              </a:cxn>
              <a:cxn ang="0">
                <a:pos x="connsiteX30036" y="connsiteY30036"/>
              </a:cxn>
              <a:cxn ang="0">
                <a:pos x="connsiteX30037" y="connsiteY30037"/>
              </a:cxn>
              <a:cxn ang="0">
                <a:pos x="connsiteX30038" y="connsiteY30038"/>
              </a:cxn>
              <a:cxn ang="0">
                <a:pos x="connsiteX30039" y="connsiteY30039"/>
              </a:cxn>
              <a:cxn ang="0">
                <a:pos x="connsiteX30040" y="connsiteY30040"/>
              </a:cxn>
              <a:cxn ang="0">
                <a:pos x="connsiteX30041" y="connsiteY30041"/>
              </a:cxn>
              <a:cxn ang="0">
                <a:pos x="connsiteX30042" y="connsiteY30042"/>
              </a:cxn>
              <a:cxn ang="0">
                <a:pos x="connsiteX30043" y="connsiteY30043"/>
              </a:cxn>
              <a:cxn ang="0">
                <a:pos x="connsiteX30044" y="connsiteY30044"/>
              </a:cxn>
              <a:cxn ang="0">
                <a:pos x="connsiteX30045" y="connsiteY30045"/>
              </a:cxn>
              <a:cxn ang="0">
                <a:pos x="connsiteX30046" y="connsiteY30046"/>
              </a:cxn>
              <a:cxn ang="0">
                <a:pos x="connsiteX30047" y="connsiteY30047"/>
              </a:cxn>
              <a:cxn ang="0">
                <a:pos x="connsiteX30048" y="connsiteY30048"/>
              </a:cxn>
              <a:cxn ang="0">
                <a:pos x="connsiteX30049" y="connsiteY30049"/>
              </a:cxn>
              <a:cxn ang="0">
                <a:pos x="connsiteX30050" y="connsiteY30050"/>
              </a:cxn>
              <a:cxn ang="0">
                <a:pos x="connsiteX30051" y="connsiteY30051"/>
              </a:cxn>
              <a:cxn ang="0">
                <a:pos x="connsiteX30052" y="connsiteY30052"/>
              </a:cxn>
              <a:cxn ang="0">
                <a:pos x="connsiteX30053" y="connsiteY30053"/>
              </a:cxn>
              <a:cxn ang="0">
                <a:pos x="connsiteX30054" y="connsiteY30054"/>
              </a:cxn>
              <a:cxn ang="0">
                <a:pos x="connsiteX30055" y="connsiteY30055"/>
              </a:cxn>
              <a:cxn ang="0">
                <a:pos x="connsiteX30056" y="connsiteY30056"/>
              </a:cxn>
              <a:cxn ang="0">
                <a:pos x="connsiteX30057" y="connsiteY30057"/>
              </a:cxn>
              <a:cxn ang="0">
                <a:pos x="connsiteX30058" y="connsiteY30058"/>
              </a:cxn>
              <a:cxn ang="0">
                <a:pos x="connsiteX30059" y="connsiteY30059"/>
              </a:cxn>
              <a:cxn ang="0">
                <a:pos x="connsiteX30060" y="connsiteY30060"/>
              </a:cxn>
              <a:cxn ang="0">
                <a:pos x="connsiteX30061" y="connsiteY30061"/>
              </a:cxn>
              <a:cxn ang="0">
                <a:pos x="connsiteX30062" y="connsiteY30062"/>
              </a:cxn>
              <a:cxn ang="0">
                <a:pos x="connsiteX30063" y="connsiteY30063"/>
              </a:cxn>
              <a:cxn ang="0">
                <a:pos x="connsiteX30064" y="connsiteY30064"/>
              </a:cxn>
              <a:cxn ang="0">
                <a:pos x="connsiteX30065" y="connsiteY30065"/>
              </a:cxn>
              <a:cxn ang="0">
                <a:pos x="connsiteX30066" y="connsiteY30066"/>
              </a:cxn>
              <a:cxn ang="0">
                <a:pos x="connsiteX30067" y="connsiteY30067"/>
              </a:cxn>
              <a:cxn ang="0">
                <a:pos x="connsiteX30068" y="connsiteY30068"/>
              </a:cxn>
              <a:cxn ang="0">
                <a:pos x="connsiteX30069" y="connsiteY30069"/>
              </a:cxn>
              <a:cxn ang="0">
                <a:pos x="connsiteX30070" y="connsiteY30070"/>
              </a:cxn>
              <a:cxn ang="0">
                <a:pos x="connsiteX30071" y="connsiteY30071"/>
              </a:cxn>
              <a:cxn ang="0">
                <a:pos x="connsiteX30072" y="connsiteY30072"/>
              </a:cxn>
              <a:cxn ang="0">
                <a:pos x="connsiteX30073" y="connsiteY30073"/>
              </a:cxn>
              <a:cxn ang="0">
                <a:pos x="connsiteX30074" y="connsiteY30074"/>
              </a:cxn>
              <a:cxn ang="0">
                <a:pos x="connsiteX30075" y="connsiteY30075"/>
              </a:cxn>
              <a:cxn ang="0">
                <a:pos x="connsiteX30076" y="connsiteY30076"/>
              </a:cxn>
              <a:cxn ang="0">
                <a:pos x="connsiteX30077" y="connsiteY30077"/>
              </a:cxn>
              <a:cxn ang="0">
                <a:pos x="connsiteX30078" y="connsiteY30078"/>
              </a:cxn>
              <a:cxn ang="0">
                <a:pos x="connsiteX30079" y="connsiteY30079"/>
              </a:cxn>
              <a:cxn ang="0">
                <a:pos x="connsiteX30080" y="connsiteY30080"/>
              </a:cxn>
              <a:cxn ang="0">
                <a:pos x="connsiteX30081" y="connsiteY30081"/>
              </a:cxn>
              <a:cxn ang="0">
                <a:pos x="connsiteX30082" y="connsiteY30082"/>
              </a:cxn>
              <a:cxn ang="0">
                <a:pos x="connsiteX30083" y="connsiteY30083"/>
              </a:cxn>
              <a:cxn ang="0">
                <a:pos x="connsiteX30084" y="connsiteY30084"/>
              </a:cxn>
              <a:cxn ang="0">
                <a:pos x="connsiteX30085" y="connsiteY30085"/>
              </a:cxn>
              <a:cxn ang="0">
                <a:pos x="connsiteX30086" y="connsiteY30086"/>
              </a:cxn>
              <a:cxn ang="0">
                <a:pos x="connsiteX30087" y="connsiteY30087"/>
              </a:cxn>
              <a:cxn ang="0">
                <a:pos x="connsiteX30088" y="connsiteY30088"/>
              </a:cxn>
              <a:cxn ang="0">
                <a:pos x="connsiteX30089" y="connsiteY30089"/>
              </a:cxn>
              <a:cxn ang="0">
                <a:pos x="connsiteX30090" y="connsiteY30090"/>
              </a:cxn>
              <a:cxn ang="0">
                <a:pos x="connsiteX30091" y="connsiteY30091"/>
              </a:cxn>
              <a:cxn ang="0">
                <a:pos x="connsiteX30092" y="connsiteY30092"/>
              </a:cxn>
              <a:cxn ang="0">
                <a:pos x="connsiteX30093" y="connsiteY30093"/>
              </a:cxn>
              <a:cxn ang="0">
                <a:pos x="connsiteX30094" y="connsiteY30094"/>
              </a:cxn>
              <a:cxn ang="0">
                <a:pos x="connsiteX30095" y="connsiteY30095"/>
              </a:cxn>
              <a:cxn ang="0">
                <a:pos x="connsiteX30096" y="connsiteY30096"/>
              </a:cxn>
              <a:cxn ang="0">
                <a:pos x="connsiteX30097" y="connsiteY30097"/>
              </a:cxn>
              <a:cxn ang="0">
                <a:pos x="connsiteX30098" y="connsiteY30098"/>
              </a:cxn>
              <a:cxn ang="0">
                <a:pos x="connsiteX30099" y="connsiteY30099"/>
              </a:cxn>
              <a:cxn ang="0">
                <a:pos x="connsiteX30100" y="connsiteY30100"/>
              </a:cxn>
              <a:cxn ang="0">
                <a:pos x="connsiteX30101" y="connsiteY30101"/>
              </a:cxn>
              <a:cxn ang="0">
                <a:pos x="connsiteX30102" y="connsiteY30102"/>
              </a:cxn>
              <a:cxn ang="0">
                <a:pos x="connsiteX30103" y="connsiteY30103"/>
              </a:cxn>
              <a:cxn ang="0">
                <a:pos x="connsiteX30104" y="connsiteY30104"/>
              </a:cxn>
              <a:cxn ang="0">
                <a:pos x="connsiteX30105" y="connsiteY30105"/>
              </a:cxn>
              <a:cxn ang="0">
                <a:pos x="connsiteX30106" y="connsiteY30106"/>
              </a:cxn>
              <a:cxn ang="0">
                <a:pos x="connsiteX30107" y="connsiteY30107"/>
              </a:cxn>
              <a:cxn ang="0">
                <a:pos x="connsiteX30108" y="connsiteY30108"/>
              </a:cxn>
              <a:cxn ang="0">
                <a:pos x="connsiteX30109" y="connsiteY30109"/>
              </a:cxn>
              <a:cxn ang="0">
                <a:pos x="connsiteX30110" y="connsiteY30110"/>
              </a:cxn>
              <a:cxn ang="0">
                <a:pos x="connsiteX30111" y="connsiteY30111"/>
              </a:cxn>
              <a:cxn ang="0">
                <a:pos x="connsiteX30112" y="connsiteY30112"/>
              </a:cxn>
              <a:cxn ang="0">
                <a:pos x="connsiteX30113" y="connsiteY30113"/>
              </a:cxn>
              <a:cxn ang="0">
                <a:pos x="connsiteX30114" y="connsiteY30114"/>
              </a:cxn>
              <a:cxn ang="0">
                <a:pos x="connsiteX30115" y="connsiteY30115"/>
              </a:cxn>
              <a:cxn ang="0">
                <a:pos x="connsiteX30116" y="connsiteY30116"/>
              </a:cxn>
              <a:cxn ang="0">
                <a:pos x="connsiteX30117" y="connsiteY30117"/>
              </a:cxn>
              <a:cxn ang="0">
                <a:pos x="connsiteX30118" y="connsiteY30118"/>
              </a:cxn>
              <a:cxn ang="0">
                <a:pos x="connsiteX30119" y="connsiteY30119"/>
              </a:cxn>
              <a:cxn ang="0">
                <a:pos x="connsiteX30120" y="connsiteY30120"/>
              </a:cxn>
              <a:cxn ang="0">
                <a:pos x="connsiteX30121" y="connsiteY30121"/>
              </a:cxn>
              <a:cxn ang="0">
                <a:pos x="connsiteX30122" y="connsiteY30122"/>
              </a:cxn>
              <a:cxn ang="0">
                <a:pos x="connsiteX30123" y="connsiteY30123"/>
              </a:cxn>
              <a:cxn ang="0">
                <a:pos x="connsiteX30124" y="connsiteY30124"/>
              </a:cxn>
              <a:cxn ang="0">
                <a:pos x="connsiteX30125" y="connsiteY30125"/>
              </a:cxn>
              <a:cxn ang="0">
                <a:pos x="connsiteX30126" y="connsiteY30126"/>
              </a:cxn>
              <a:cxn ang="0">
                <a:pos x="connsiteX30127" y="connsiteY30127"/>
              </a:cxn>
              <a:cxn ang="0">
                <a:pos x="connsiteX30128" y="connsiteY30128"/>
              </a:cxn>
              <a:cxn ang="0">
                <a:pos x="connsiteX30129" y="connsiteY30129"/>
              </a:cxn>
              <a:cxn ang="0">
                <a:pos x="connsiteX30130" y="connsiteY30130"/>
              </a:cxn>
              <a:cxn ang="0">
                <a:pos x="connsiteX30131" y="connsiteY30131"/>
              </a:cxn>
              <a:cxn ang="0">
                <a:pos x="connsiteX30132" y="connsiteY30132"/>
              </a:cxn>
              <a:cxn ang="0">
                <a:pos x="connsiteX30133" y="connsiteY30133"/>
              </a:cxn>
              <a:cxn ang="0">
                <a:pos x="connsiteX30134" y="connsiteY30134"/>
              </a:cxn>
              <a:cxn ang="0">
                <a:pos x="connsiteX30135" y="connsiteY30135"/>
              </a:cxn>
              <a:cxn ang="0">
                <a:pos x="connsiteX30136" y="connsiteY30136"/>
              </a:cxn>
              <a:cxn ang="0">
                <a:pos x="connsiteX30137" y="connsiteY30137"/>
              </a:cxn>
              <a:cxn ang="0">
                <a:pos x="connsiteX30138" y="connsiteY30138"/>
              </a:cxn>
              <a:cxn ang="0">
                <a:pos x="connsiteX30139" y="connsiteY30139"/>
              </a:cxn>
              <a:cxn ang="0">
                <a:pos x="connsiteX30140" y="connsiteY30140"/>
              </a:cxn>
              <a:cxn ang="0">
                <a:pos x="connsiteX30141" y="connsiteY30141"/>
              </a:cxn>
              <a:cxn ang="0">
                <a:pos x="connsiteX30142" y="connsiteY30142"/>
              </a:cxn>
              <a:cxn ang="0">
                <a:pos x="connsiteX30143" y="connsiteY30143"/>
              </a:cxn>
              <a:cxn ang="0">
                <a:pos x="connsiteX30144" y="connsiteY30144"/>
              </a:cxn>
              <a:cxn ang="0">
                <a:pos x="connsiteX30145" y="connsiteY30145"/>
              </a:cxn>
              <a:cxn ang="0">
                <a:pos x="connsiteX30146" y="connsiteY30146"/>
              </a:cxn>
              <a:cxn ang="0">
                <a:pos x="connsiteX30147" y="connsiteY30147"/>
              </a:cxn>
              <a:cxn ang="0">
                <a:pos x="connsiteX30148" y="connsiteY30148"/>
              </a:cxn>
              <a:cxn ang="0">
                <a:pos x="connsiteX30149" y="connsiteY30149"/>
              </a:cxn>
              <a:cxn ang="0">
                <a:pos x="connsiteX30150" y="connsiteY30150"/>
              </a:cxn>
              <a:cxn ang="0">
                <a:pos x="connsiteX30151" y="connsiteY30151"/>
              </a:cxn>
              <a:cxn ang="0">
                <a:pos x="connsiteX30152" y="connsiteY30152"/>
              </a:cxn>
              <a:cxn ang="0">
                <a:pos x="connsiteX30153" y="connsiteY30153"/>
              </a:cxn>
              <a:cxn ang="0">
                <a:pos x="connsiteX30154" y="connsiteY30154"/>
              </a:cxn>
              <a:cxn ang="0">
                <a:pos x="connsiteX30155" y="connsiteY30155"/>
              </a:cxn>
              <a:cxn ang="0">
                <a:pos x="connsiteX30156" y="connsiteY30156"/>
              </a:cxn>
              <a:cxn ang="0">
                <a:pos x="connsiteX30157" y="connsiteY30157"/>
              </a:cxn>
              <a:cxn ang="0">
                <a:pos x="connsiteX30158" y="connsiteY30158"/>
              </a:cxn>
              <a:cxn ang="0">
                <a:pos x="connsiteX30159" y="connsiteY30159"/>
              </a:cxn>
              <a:cxn ang="0">
                <a:pos x="connsiteX30160" y="connsiteY30160"/>
              </a:cxn>
              <a:cxn ang="0">
                <a:pos x="connsiteX30161" y="connsiteY30161"/>
              </a:cxn>
              <a:cxn ang="0">
                <a:pos x="connsiteX30162" y="connsiteY30162"/>
              </a:cxn>
              <a:cxn ang="0">
                <a:pos x="connsiteX30163" y="connsiteY30163"/>
              </a:cxn>
              <a:cxn ang="0">
                <a:pos x="connsiteX30164" y="connsiteY30164"/>
              </a:cxn>
              <a:cxn ang="0">
                <a:pos x="connsiteX30165" y="connsiteY30165"/>
              </a:cxn>
              <a:cxn ang="0">
                <a:pos x="connsiteX30166" y="connsiteY30166"/>
              </a:cxn>
              <a:cxn ang="0">
                <a:pos x="connsiteX30167" y="connsiteY30167"/>
              </a:cxn>
              <a:cxn ang="0">
                <a:pos x="connsiteX30168" y="connsiteY30168"/>
              </a:cxn>
              <a:cxn ang="0">
                <a:pos x="connsiteX30169" y="connsiteY30169"/>
              </a:cxn>
              <a:cxn ang="0">
                <a:pos x="connsiteX30170" y="connsiteY30170"/>
              </a:cxn>
              <a:cxn ang="0">
                <a:pos x="connsiteX30171" y="connsiteY30171"/>
              </a:cxn>
              <a:cxn ang="0">
                <a:pos x="connsiteX30172" y="connsiteY30172"/>
              </a:cxn>
              <a:cxn ang="0">
                <a:pos x="connsiteX30173" y="connsiteY30173"/>
              </a:cxn>
              <a:cxn ang="0">
                <a:pos x="connsiteX30174" y="connsiteY30174"/>
              </a:cxn>
              <a:cxn ang="0">
                <a:pos x="connsiteX30175" y="connsiteY30175"/>
              </a:cxn>
              <a:cxn ang="0">
                <a:pos x="connsiteX30176" y="connsiteY30176"/>
              </a:cxn>
              <a:cxn ang="0">
                <a:pos x="connsiteX30177" y="connsiteY30177"/>
              </a:cxn>
              <a:cxn ang="0">
                <a:pos x="connsiteX30178" y="connsiteY30178"/>
              </a:cxn>
              <a:cxn ang="0">
                <a:pos x="connsiteX30179" y="connsiteY30179"/>
              </a:cxn>
              <a:cxn ang="0">
                <a:pos x="connsiteX30180" y="connsiteY30180"/>
              </a:cxn>
              <a:cxn ang="0">
                <a:pos x="connsiteX30181" y="connsiteY30181"/>
              </a:cxn>
              <a:cxn ang="0">
                <a:pos x="connsiteX30182" y="connsiteY30182"/>
              </a:cxn>
              <a:cxn ang="0">
                <a:pos x="connsiteX30183" y="connsiteY30183"/>
              </a:cxn>
              <a:cxn ang="0">
                <a:pos x="connsiteX30184" y="connsiteY30184"/>
              </a:cxn>
              <a:cxn ang="0">
                <a:pos x="connsiteX30185" y="connsiteY30185"/>
              </a:cxn>
              <a:cxn ang="0">
                <a:pos x="connsiteX30186" y="connsiteY30186"/>
              </a:cxn>
              <a:cxn ang="0">
                <a:pos x="connsiteX30187" y="connsiteY30187"/>
              </a:cxn>
              <a:cxn ang="0">
                <a:pos x="connsiteX30188" y="connsiteY30188"/>
              </a:cxn>
              <a:cxn ang="0">
                <a:pos x="connsiteX30189" y="connsiteY30189"/>
              </a:cxn>
              <a:cxn ang="0">
                <a:pos x="connsiteX30190" y="connsiteY30190"/>
              </a:cxn>
              <a:cxn ang="0">
                <a:pos x="connsiteX30191" y="connsiteY30191"/>
              </a:cxn>
              <a:cxn ang="0">
                <a:pos x="connsiteX30192" y="connsiteY30192"/>
              </a:cxn>
              <a:cxn ang="0">
                <a:pos x="connsiteX30193" y="connsiteY30193"/>
              </a:cxn>
              <a:cxn ang="0">
                <a:pos x="connsiteX30194" y="connsiteY30194"/>
              </a:cxn>
              <a:cxn ang="0">
                <a:pos x="connsiteX30195" y="connsiteY30195"/>
              </a:cxn>
              <a:cxn ang="0">
                <a:pos x="connsiteX30196" y="connsiteY30196"/>
              </a:cxn>
              <a:cxn ang="0">
                <a:pos x="connsiteX30197" y="connsiteY30197"/>
              </a:cxn>
              <a:cxn ang="0">
                <a:pos x="connsiteX30198" y="connsiteY30198"/>
              </a:cxn>
              <a:cxn ang="0">
                <a:pos x="connsiteX30199" y="connsiteY30199"/>
              </a:cxn>
              <a:cxn ang="0">
                <a:pos x="connsiteX30200" y="connsiteY30200"/>
              </a:cxn>
              <a:cxn ang="0">
                <a:pos x="connsiteX30201" y="connsiteY30201"/>
              </a:cxn>
              <a:cxn ang="0">
                <a:pos x="connsiteX30202" y="connsiteY30202"/>
              </a:cxn>
              <a:cxn ang="0">
                <a:pos x="connsiteX30203" y="connsiteY30203"/>
              </a:cxn>
              <a:cxn ang="0">
                <a:pos x="connsiteX30204" y="connsiteY30204"/>
              </a:cxn>
              <a:cxn ang="0">
                <a:pos x="connsiteX30205" y="connsiteY30205"/>
              </a:cxn>
              <a:cxn ang="0">
                <a:pos x="connsiteX30206" y="connsiteY30206"/>
              </a:cxn>
              <a:cxn ang="0">
                <a:pos x="connsiteX30207" y="connsiteY30207"/>
              </a:cxn>
              <a:cxn ang="0">
                <a:pos x="connsiteX30208" y="connsiteY30208"/>
              </a:cxn>
              <a:cxn ang="0">
                <a:pos x="connsiteX30209" y="connsiteY30209"/>
              </a:cxn>
              <a:cxn ang="0">
                <a:pos x="connsiteX30210" y="connsiteY30210"/>
              </a:cxn>
              <a:cxn ang="0">
                <a:pos x="connsiteX30211" y="connsiteY30211"/>
              </a:cxn>
              <a:cxn ang="0">
                <a:pos x="connsiteX30212" y="connsiteY30212"/>
              </a:cxn>
              <a:cxn ang="0">
                <a:pos x="connsiteX30213" y="connsiteY30213"/>
              </a:cxn>
              <a:cxn ang="0">
                <a:pos x="connsiteX30214" y="connsiteY30214"/>
              </a:cxn>
              <a:cxn ang="0">
                <a:pos x="connsiteX30215" y="connsiteY30215"/>
              </a:cxn>
              <a:cxn ang="0">
                <a:pos x="connsiteX30216" y="connsiteY30216"/>
              </a:cxn>
              <a:cxn ang="0">
                <a:pos x="connsiteX30217" y="connsiteY30217"/>
              </a:cxn>
              <a:cxn ang="0">
                <a:pos x="connsiteX30218" y="connsiteY30218"/>
              </a:cxn>
              <a:cxn ang="0">
                <a:pos x="connsiteX30219" y="connsiteY30219"/>
              </a:cxn>
              <a:cxn ang="0">
                <a:pos x="connsiteX30220" y="connsiteY30220"/>
              </a:cxn>
              <a:cxn ang="0">
                <a:pos x="connsiteX30221" y="connsiteY30221"/>
              </a:cxn>
              <a:cxn ang="0">
                <a:pos x="connsiteX30222" y="connsiteY30222"/>
              </a:cxn>
              <a:cxn ang="0">
                <a:pos x="connsiteX30223" y="connsiteY30223"/>
              </a:cxn>
              <a:cxn ang="0">
                <a:pos x="connsiteX30224" y="connsiteY30224"/>
              </a:cxn>
              <a:cxn ang="0">
                <a:pos x="connsiteX30225" y="connsiteY30225"/>
              </a:cxn>
              <a:cxn ang="0">
                <a:pos x="connsiteX30226" y="connsiteY30226"/>
              </a:cxn>
              <a:cxn ang="0">
                <a:pos x="connsiteX30227" y="connsiteY30227"/>
              </a:cxn>
              <a:cxn ang="0">
                <a:pos x="connsiteX30228" y="connsiteY30228"/>
              </a:cxn>
              <a:cxn ang="0">
                <a:pos x="connsiteX30229" y="connsiteY30229"/>
              </a:cxn>
              <a:cxn ang="0">
                <a:pos x="connsiteX30230" y="connsiteY30230"/>
              </a:cxn>
              <a:cxn ang="0">
                <a:pos x="connsiteX30231" y="connsiteY30231"/>
              </a:cxn>
              <a:cxn ang="0">
                <a:pos x="connsiteX30232" y="connsiteY30232"/>
              </a:cxn>
              <a:cxn ang="0">
                <a:pos x="connsiteX30233" y="connsiteY30233"/>
              </a:cxn>
              <a:cxn ang="0">
                <a:pos x="connsiteX30234" y="connsiteY30234"/>
              </a:cxn>
              <a:cxn ang="0">
                <a:pos x="connsiteX30235" y="connsiteY30235"/>
              </a:cxn>
              <a:cxn ang="0">
                <a:pos x="connsiteX30236" y="connsiteY30236"/>
              </a:cxn>
              <a:cxn ang="0">
                <a:pos x="connsiteX30237" y="connsiteY30237"/>
              </a:cxn>
              <a:cxn ang="0">
                <a:pos x="connsiteX30238" y="connsiteY30238"/>
              </a:cxn>
              <a:cxn ang="0">
                <a:pos x="connsiteX30239" y="connsiteY30239"/>
              </a:cxn>
              <a:cxn ang="0">
                <a:pos x="connsiteX30240" y="connsiteY30240"/>
              </a:cxn>
              <a:cxn ang="0">
                <a:pos x="connsiteX30241" y="connsiteY30241"/>
              </a:cxn>
              <a:cxn ang="0">
                <a:pos x="connsiteX30242" y="connsiteY30242"/>
              </a:cxn>
              <a:cxn ang="0">
                <a:pos x="connsiteX30243" y="connsiteY30243"/>
              </a:cxn>
              <a:cxn ang="0">
                <a:pos x="connsiteX30244" y="connsiteY30244"/>
              </a:cxn>
              <a:cxn ang="0">
                <a:pos x="connsiteX30245" y="connsiteY30245"/>
              </a:cxn>
              <a:cxn ang="0">
                <a:pos x="connsiteX30246" y="connsiteY30246"/>
              </a:cxn>
              <a:cxn ang="0">
                <a:pos x="connsiteX30247" y="connsiteY30247"/>
              </a:cxn>
              <a:cxn ang="0">
                <a:pos x="connsiteX30248" y="connsiteY30248"/>
              </a:cxn>
              <a:cxn ang="0">
                <a:pos x="connsiteX30249" y="connsiteY30249"/>
              </a:cxn>
              <a:cxn ang="0">
                <a:pos x="connsiteX30250" y="connsiteY30250"/>
              </a:cxn>
              <a:cxn ang="0">
                <a:pos x="connsiteX30251" y="connsiteY30251"/>
              </a:cxn>
              <a:cxn ang="0">
                <a:pos x="connsiteX30252" y="connsiteY30252"/>
              </a:cxn>
              <a:cxn ang="0">
                <a:pos x="connsiteX30253" y="connsiteY30253"/>
              </a:cxn>
              <a:cxn ang="0">
                <a:pos x="connsiteX30254" y="connsiteY30254"/>
              </a:cxn>
              <a:cxn ang="0">
                <a:pos x="connsiteX30255" y="connsiteY30255"/>
              </a:cxn>
              <a:cxn ang="0">
                <a:pos x="connsiteX30256" y="connsiteY30256"/>
              </a:cxn>
              <a:cxn ang="0">
                <a:pos x="connsiteX30257" y="connsiteY30257"/>
              </a:cxn>
              <a:cxn ang="0">
                <a:pos x="connsiteX30258" y="connsiteY30258"/>
              </a:cxn>
              <a:cxn ang="0">
                <a:pos x="connsiteX30259" y="connsiteY30259"/>
              </a:cxn>
              <a:cxn ang="0">
                <a:pos x="connsiteX30260" y="connsiteY30260"/>
              </a:cxn>
              <a:cxn ang="0">
                <a:pos x="connsiteX30261" y="connsiteY30261"/>
              </a:cxn>
              <a:cxn ang="0">
                <a:pos x="connsiteX30262" y="connsiteY30262"/>
              </a:cxn>
              <a:cxn ang="0">
                <a:pos x="connsiteX30263" y="connsiteY30263"/>
              </a:cxn>
              <a:cxn ang="0">
                <a:pos x="connsiteX30264" y="connsiteY30264"/>
              </a:cxn>
              <a:cxn ang="0">
                <a:pos x="connsiteX30265" y="connsiteY30265"/>
              </a:cxn>
              <a:cxn ang="0">
                <a:pos x="connsiteX30266" y="connsiteY30266"/>
              </a:cxn>
              <a:cxn ang="0">
                <a:pos x="connsiteX30267" y="connsiteY30267"/>
              </a:cxn>
              <a:cxn ang="0">
                <a:pos x="connsiteX30268" y="connsiteY30268"/>
              </a:cxn>
              <a:cxn ang="0">
                <a:pos x="connsiteX30269" y="connsiteY30269"/>
              </a:cxn>
              <a:cxn ang="0">
                <a:pos x="connsiteX30270" y="connsiteY30270"/>
              </a:cxn>
              <a:cxn ang="0">
                <a:pos x="connsiteX30271" y="connsiteY30271"/>
              </a:cxn>
              <a:cxn ang="0">
                <a:pos x="connsiteX30272" y="connsiteY30272"/>
              </a:cxn>
              <a:cxn ang="0">
                <a:pos x="connsiteX30273" y="connsiteY30273"/>
              </a:cxn>
              <a:cxn ang="0">
                <a:pos x="connsiteX30274" y="connsiteY30274"/>
              </a:cxn>
              <a:cxn ang="0">
                <a:pos x="connsiteX30275" y="connsiteY30275"/>
              </a:cxn>
              <a:cxn ang="0">
                <a:pos x="connsiteX30276" y="connsiteY30276"/>
              </a:cxn>
              <a:cxn ang="0">
                <a:pos x="connsiteX30277" y="connsiteY30277"/>
              </a:cxn>
              <a:cxn ang="0">
                <a:pos x="connsiteX30278" y="connsiteY30278"/>
              </a:cxn>
              <a:cxn ang="0">
                <a:pos x="connsiteX30279" y="connsiteY30279"/>
              </a:cxn>
              <a:cxn ang="0">
                <a:pos x="connsiteX30280" y="connsiteY30280"/>
              </a:cxn>
              <a:cxn ang="0">
                <a:pos x="connsiteX30281" y="connsiteY30281"/>
              </a:cxn>
              <a:cxn ang="0">
                <a:pos x="connsiteX30282" y="connsiteY30282"/>
              </a:cxn>
              <a:cxn ang="0">
                <a:pos x="connsiteX30283" y="connsiteY30283"/>
              </a:cxn>
              <a:cxn ang="0">
                <a:pos x="connsiteX30284" y="connsiteY30284"/>
              </a:cxn>
              <a:cxn ang="0">
                <a:pos x="connsiteX30285" y="connsiteY30285"/>
              </a:cxn>
              <a:cxn ang="0">
                <a:pos x="connsiteX30286" y="connsiteY30286"/>
              </a:cxn>
              <a:cxn ang="0">
                <a:pos x="connsiteX30287" y="connsiteY30287"/>
              </a:cxn>
              <a:cxn ang="0">
                <a:pos x="connsiteX30288" y="connsiteY30288"/>
              </a:cxn>
              <a:cxn ang="0">
                <a:pos x="connsiteX30289" y="connsiteY30289"/>
              </a:cxn>
              <a:cxn ang="0">
                <a:pos x="connsiteX30290" y="connsiteY30290"/>
              </a:cxn>
              <a:cxn ang="0">
                <a:pos x="connsiteX30291" y="connsiteY30291"/>
              </a:cxn>
              <a:cxn ang="0">
                <a:pos x="connsiteX30292" y="connsiteY30292"/>
              </a:cxn>
              <a:cxn ang="0">
                <a:pos x="connsiteX30293" y="connsiteY30293"/>
              </a:cxn>
              <a:cxn ang="0">
                <a:pos x="connsiteX30294" y="connsiteY30294"/>
              </a:cxn>
              <a:cxn ang="0">
                <a:pos x="connsiteX30295" y="connsiteY30295"/>
              </a:cxn>
              <a:cxn ang="0">
                <a:pos x="connsiteX30296" y="connsiteY30296"/>
              </a:cxn>
              <a:cxn ang="0">
                <a:pos x="connsiteX30297" y="connsiteY30297"/>
              </a:cxn>
              <a:cxn ang="0">
                <a:pos x="connsiteX30298" y="connsiteY30298"/>
              </a:cxn>
              <a:cxn ang="0">
                <a:pos x="connsiteX30299" y="connsiteY30299"/>
              </a:cxn>
              <a:cxn ang="0">
                <a:pos x="connsiteX30300" y="connsiteY30300"/>
              </a:cxn>
              <a:cxn ang="0">
                <a:pos x="connsiteX30301" y="connsiteY30301"/>
              </a:cxn>
              <a:cxn ang="0">
                <a:pos x="connsiteX30302" y="connsiteY30302"/>
              </a:cxn>
              <a:cxn ang="0">
                <a:pos x="connsiteX30303" y="connsiteY30303"/>
              </a:cxn>
              <a:cxn ang="0">
                <a:pos x="connsiteX30304" y="connsiteY30304"/>
              </a:cxn>
              <a:cxn ang="0">
                <a:pos x="connsiteX30305" y="connsiteY30305"/>
              </a:cxn>
              <a:cxn ang="0">
                <a:pos x="connsiteX30306" y="connsiteY30306"/>
              </a:cxn>
              <a:cxn ang="0">
                <a:pos x="connsiteX30307" y="connsiteY30307"/>
              </a:cxn>
              <a:cxn ang="0">
                <a:pos x="connsiteX30308" y="connsiteY30308"/>
              </a:cxn>
              <a:cxn ang="0">
                <a:pos x="connsiteX30309" y="connsiteY30309"/>
              </a:cxn>
              <a:cxn ang="0">
                <a:pos x="connsiteX30310" y="connsiteY30310"/>
              </a:cxn>
              <a:cxn ang="0">
                <a:pos x="connsiteX30311" y="connsiteY30311"/>
              </a:cxn>
              <a:cxn ang="0">
                <a:pos x="connsiteX30312" y="connsiteY30312"/>
              </a:cxn>
              <a:cxn ang="0">
                <a:pos x="connsiteX30313" y="connsiteY30313"/>
              </a:cxn>
              <a:cxn ang="0">
                <a:pos x="connsiteX30314" y="connsiteY30314"/>
              </a:cxn>
              <a:cxn ang="0">
                <a:pos x="connsiteX30315" y="connsiteY30315"/>
              </a:cxn>
              <a:cxn ang="0">
                <a:pos x="connsiteX30316" y="connsiteY30316"/>
              </a:cxn>
              <a:cxn ang="0">
                <a:pos x="connsiteX30317" y="connsiteY30317"/>
              </a:cxn>
              <a:cxn ang="0">
                <a:pos x="connsiteX30318" y="connsiteY30318"/>
              </a:cxn>
              <a:cxn ang="0">
                <a:pos x="connsiteX30319" y="connsiteY30319"/>
              </a:cxn>
              <a:cxn ang="0">
                <a:pos x="connsiteX30320" y="connsiteY30320"/>
              </a:cxn>
              <a:cxn ang="0">
                <a:pos x="connsiteX30321" y="connsiteY30321"/>
              </a:cxn>
              <a:cxn ang="0">
                <a:pos x="connsiteX30322" y="connsiteY30322"/>
              </a:cxn>
              <a:cxn ang="0">
                <a:pos x="connsiteX30323" y="connsiteY30323"/>
              </a:cxn>
              <a:cxn ang="0">
                <a:pos x="connsiteX30324" y="connsiteY30324"/>
              </a:cxn>
              <a:cxn ang="0">
                <a:pos x="connsiteX30325" y="connsiteY30325"/>
              </a:cxn>
              <a:cxn ang="0">
                <a:pos x="connsiteX30326" y="connsiteY30326"/>
              </a:cxn>
              <a:cxn ang="0">
                <a:pos x="connsiteX30327" y="connsiteY30327"/>
              </a:cxn>
              <a:cxn ang="0">
                <a:pos x="connsiteX30328" y="connsiteY30328"/>
              </a:cxn>
              <a:cxn ang="0">
                <a:pos x="connsiteX30329" y="connsiteY30329"/>
              </a:cxn>
              <a:cxn ang="0">
                <a:pos x="connsiteX30330" y="connsiteY30330"/>
              </a:cxn>
              <a:cxn ang="0">
                <a:pos x="connsiteX30331" y="connsiteY30331"/>
              </a:cxn>
              <a:cxn ang="0">
                <a:pos x="connsiteX30332" y="connsiteY30332"/>
              </a:cxn>
              <a:cxn ang="0">
                <a:pos x="connsiteX30333" y="connsiteY30333"/>
              </a:cxn>
              <a:cxn ang="0">
                <a:pos x="connsiteX30334" y="connsiteY30334"/>
              </a:cxn>
              <a:cxn ang="0">
                <a:pos x="connsiteX30335" y="connsiteY30335"/>
              </a:cxn>
              <a:cxn ang="0">
                <a:pos x="connsiteX30336" y="connsiteY30336"/>
              </a:cxn>
              <a:cxn ang="0">
                <a:pos x="connsiteX30337" y="connsiteY30337"/>
              </a:cxn>
              <a:cxn ang="0">
                <a:pos x="connsiteX30338" y="connsiteY30338"/>
              </a:cxn>
              <a:cxn ang="0">
                <a:pos x="connsiteX30339" y="connsiteY30339"/>
              </a:cxn>
              <a:cxn ang="0">
                <a:pos x="connsiteX30340" y="connsiteY30340"/>
              </a:cxn>
              <a:cxn ang="0">
                <a:pos x="connsiteX30341" y="connsiteY30341"/>
              </a:cxn>
              <a:cxn ang="0">
                <a:pos x="connsiteX30342" y="connsiteY30342"/>
              </a:cxn>
              <a:cxn ang="0">
                <a:pos x="connsiteX30343" y="connsiteY30343"/>
              </a:cxn>
              <a:cxn ang="0">
                <a:pos x="connsiteX30344" y="connsiteY30344"/>
              </a:cxn>
              <a:cxn ang="0">
                <a:pos x="connsiteX30345" y="connsiteY30345"/>
              </a:cxn>
              <a:cxn ang="0">
                <a:pos x="connsiteX30346" y="connsiteY30346"/>
              </a:cxn>
              <a:cxn ang="0">
                <a:pos x="connsiteX30347" y="connsiteY30347"/>
              </a:cxn>
              <a:cxn ang="0">
                <a:pos x="connsiteX30348" y="connsiteY30348"/>
              </a:cxn>
              <a:cxn ang="0">
                <a:pos x="connsiteX30349" y="connsiteY30349"/>
              </a:cxn>
              <a:cxn ang="0">
                <a:pos x="connsiteX30350" y="connsiteY30350"/>
              </a:cxn>
              <a:cxn ang="0">
                <a:pos x="connsiteX30351" y="connsiteY30351"/>
              </a:cxn>
              <a:cxn ang="0">
                <a:pos x="connsiteX30352" y="connsiteY30352"/>
              </a:cxn>
              <a:cxn ang="0">
                <a:pos x="connsiteX30353" y="connsiteY30353"/>
              </a:cxn>
              <a:cxn ang="0">
                <a:pos x="connsiteX30354" y="connsiteY30354"/>
              </a:cxn>
              <a:cxn ang="0">
                <a:pos x="connsiteX30355" y="connsiteY30355"/>
              </a:cxn>
              <a:cxn ang="0">
                <a:pos x="connsiteX30356" y="connsiteY30356"/>
              </a:cxn>
              <a:cxn ang="0">
                <a:pos x="connsiteX30357" y="connsiteY30357"/>
              </a:cxn>
              <a:cxn ang="0">
                <a:pos x="connsiteX30358" y="connsiteY30358"/>
              </a:cxn>
              <a:cxn ang="0">
                <a:pos x="connsiteX30359" y="connsiteY30359"/>
              </a:cxn>
              <a:cxn ang="0">
                <a:pos x="connsiteX30360" y="connsiteY30360"/>
              </a:cxn>
              <a:cxn ang="0">
                <a:pos x="connsiteX30361" y="connsiteY30361"/>
              </a:cxn>
              <a:cxn ang="0">
                <a:pos x="connsiteX30362" y="connsiteY30362"/>
              </a:cxn>
              <a:cxn ang="0">
                <a:pos x="connsiteX30363" y="connsiteY30363"/>
              </a:cxn>
              <a:cxn ang="0">
                <a:pos x="connsiteX30364" y="connsiteY30364"/>
              </a:cxn>
              <a:cxn ang="0">
                <a:pos x="connsiteX30365" y="connsiteY30365"/>
              </a:cxn>
              <a:cxn ang="0">
                <a:pos x="connsiteX30366" y="connsiteY30366"/>
              </a:cxn>
              <a:cxn ang="0">
                <a:pos x="connsiteX30367" y="connsiteY30367"/>
              </a:cxn>
              <a:cxn ang="0">
                <a:pos x="connsiteX30368" y="connsiteY30368"/>
              </a:cxn>
              <a:cxn ang="0">
                <a:pos x="connsiteX30369" y="connsiteY30369"/>
              </a:cxn>
              <a:cxn ang="0">
                <a:pos x="connsiteX30370" y="connsiteY30370"/>
              </a:cxn>
              <a:cxn ang="0">
                <a:pos x="connsiteX30371" y="connsiteY30371"/>
              </a:cxn>
              <a:cxn ang="0">
                <a:pos x="connsiteX30372" y="connsiteY30372"/>
              </a:cxn>
              <a:cxn ang="0">
                <a:pos x="connsiteX30373" y="connsiteY30373"/>
              </a:cxn>
              <a:cxn ang="0">
                <a:pos x="connsiteX30374" y="connsiteY30374"/>
              </a:cxn>
              <a:cxn ang="0">
                <a:pos x="connsiteX30375" y="connsiteY30375"/>
              </a:cxn>
              <a:cxn ang="0">
                <a:pos x="connsiteX30376" y="connsiteY30376"/>
              </a:cxn>
              <a:cxn ang="0">
                <a:pos x="connsiteX30377" y="connsiteY30377"/>
              </a:cxn>
              <a:cxn ang="0">
                <a:pos x="connsiteX30378" y="connsiteY30378"/>
              </a:cxn>
              <a:cxn ang="0">
                <a:pos x="connsiteX30379" y="connsiteY30379"/>
              </a:cxn>
              <a:cxn ang="0">
                <a:pos x="connsiteX30380" y="connsiteY30380"/>
              </a:cxn>
              <a:cxn ang="0">
                <a:pos x="connsiteX30381" y="connsiteY30381"/>
              </a:cxn>
              <a:cxn ang="0">
                <a:pos x="connsiteX30382" y="connsiteY30382"/>
              </a:cxn>
              <a:cxn ang="0">
                <a:pos x="connsiteX30383" y="connsiteY30383"/>
              </a:cxn>
              <a:cxn ang="0">
                <a:pos x="connsiteX30384" y="connsiteY30384"/>
              </a:cxn>
              <a:cxn ang="0">
                <a:pos x="connsiteX30385" y="connsiteY30385"/>
              </a:cxn>
              <a:cxn ang="0">
                <a:pos x="connsiteX30386" y="connsiteY30386"/>
              </a:cxn>
              <a:cxn ang="0">
                <a:pos x="connsiteX30387" y="connsiteY30387"/>
              </a:cxn>
              <a:cxn ang="0">
                <a:pos x="connsiteX30388" y="connsiteY30388"/>
              </a:cxn>
              <a:cxn ang="0">
                <a:pos x="connsiteX30389" y="connsiteY30389"/>
              </a:cxn>
              <a:cxn ang="0">
                <a:pos x="connsiteX30390" y="connsiteY30390"/>
              </a:cxn>
              <a:cxn ang="0">
                <a:pos x="connsiteX30391" y="connsiteY30391"/>
              </a:cxn>
              <a:cxn ang="0">
                <a:pos x="connsiteX30392" y="connsiteY30392"/>
              </a:cxn>
              <a:cxn ang="0">
                <a:pos x="connsiteX30393" y="connsiteY30393"/>
              </a:cxn>
              <a:cxn ang="0">
                <a:pos x="connsiteX30394" y="connsiteY30394"/>
              </a:cxn>
              <a:cxn ang="0">
                <a:pos x="connsiteX30395" y="connsiteY30395"/>
              </a:cxn>
              <a:cxn ang="0">
                <a:pos x="connsiteX30396" y="connsiteY30396"/>
              </a:cxn>
              <a:cxn ang="0">
                <a:pos x="connsiteX30397" y="connsiteY30397"/>
              </a:cxn>
              <a:cxn ang="0">
                <a:pos x="connsiteX30398" y="connsiteY30398"/>
              </a:cxn>
              <a:cxn ang="0">
                <a:pos x="connsiteX30399" y="connsiteY30399"/>
              </a:cxn>
              <a:cxn ang="0">
                <a:pos x="connsiteX30400" y="connsiteY30400"/>
              </a:cxn>
              <a:cxn ang="0">
                <a:pos x="connsiteX30401" y="connsiteY30401"/>
              </a:cxn>
              <a:cxn ang="0">
                <a:pos x="connsiteX30402" y="connsiteY30402"/>
              </a:cxn>
              <a:cxn ang="0">
                <a:pos x="connsiteX30403" y="connsiteY30403"/>
              </a:cxn>
              <a:cxn ang="0">
                <a:pos x="connsiteX30404" y="connsiteY30404"/>
              </a:cxn>
              <a:cxn ang="0">
                <a:pos x="connsiteX30405" y="connsiteY30405"/>
              </a:cxn>
              <a:cxn ang="0">
                <a:pos x="connsiteX30406" y="connsiteY30406"/>
              </a:cxn>
              <a:cxn ang="0">
                <a:pos x="connsiteX30407" y="connsiteY30407"/>
              </a:cxn>
              <a:cxn ang="0">
                <a:pos x="connsiteX30408" y="connsiteY30408"/>
              </a:cxn>
              <a:cxn ang="0">
                <a:pos x="connsiteX30409" y="connsiteY30409"/>
              </a:cxn>
              <a:cxn ang="0">
                <a:pos x="connsiteX30410" y="connsiteY30410"/>
              </a:cxn>
              <a:cxn ang="0">
                <a:pos x="connsiteX30411" y="connsiteY30411"/>
              </a:cxn>
              <a:cxn ang="0">
                <a:pos x="connsiteX30412" y="connsiteY30412"/>
              </a:cxn>
              <a:cxn ang="0">
                <a:pos x="connsiteX30413" y="connsiteY30413"/>
              </a:cxn>
              <a:cxn ang="0">
                <a:pos x="connsiteX30414" y="connsiteY30414"/>
              </a:cxn>
              <a:cxn ang="0">
                <a:pos x="connsiteX30415" y="connsiteY30415"/>
              </a:cxn>
              <a:cxn ang="0">
                <a:pos x="connsiteX30416" y="connsiteY30416"/>
              </a:cxn>
              <a:cxn ang="0">
                <a:pos x="connsiteX30417" y="connsiteY30417"/>
              </a:cxn>
              <a:cxn ang="0">
                <a:pos x="connsiteX30418" y="connsiteY30418"/>
              </a:cxn>
              <a:cxn ang="0">
                <a:pos x="connsiteX30419" y="connsiteY30419"/>
              </a:cxn>
              <a:cxn ang="0">
                <a:pos x="connsiteX30420" y="connsiteY30420"/>
              </a:cxn>
              <a:cxn ang="0">
                <a:pos x="connsiteX30421" y="connsiteY30421"/>
              </a:cxn>
              <a:cxn ang="0">
                <a:pos x="connsiteX30422" y="connsiteY30422"/>
              </a:cxn>
              <a:cxn ang="0">
                <a:pos x="connsiteX30423" y="connsiteY30423"/>
              </a:cxn>
              <a:cxn ang="0">
                <a:pos x="connsiteX30424" y="connsiteY30424"/>
              </a:cxn>
              <a:cxn ang="0">
                <a:pos x="connsiteX30425" y="connsiteY30425"/>
              </a:cxn>
              <a:cxn ang="0">
                <a:pos x="connsiteX30426" y="connsiteY30426"/>
              </a:cxn>
              <a:cxn ang="0">
                <a:pos x="connsiteX30427" y="connsiteY30427"/>
              </a:cxn>
              <a:cxn ang="0">
                <a:pos x="connsiteX30428" y="connsiteY30428"/>
              </a:cxn>
              <a:cxn ang="0">
                <a:pos x="connsiteX30429" y="connsiteY30429"/>
              </a:cxn>
              <a:cxn ang="0">
                <a:pos x="connsiteX30430" y="connsiteY30430"/>
              </a:cxn>
              <a:cxn ang="0">
                <a:pos x="connsiteX30431" y="connsiteY30431"/>
              </a:cxn>
              <a:cxn ang="0">
                <a:pos x="connsiteX30432" y="connsiteY30432"/>
              </a:cxn>
              <a:cxn ang="0">
                <a:pos x="connsiteX30433" y="connsiteY30433"/>
              </a:cxn>
              <a:cxn ang="0">
                <a:pos x="connsiteX30434" y="connsiteY30434"/>
              </a:cxn>
              <a:cxn ang="0">
                <a:pos x="connsiteX30435" y="connsiteY30435"/>
              </a:cxn>
              <a:cxn ang="0">
                <a:pos x="connsiteX30436" y="connsiteY30436"/>
              </a:cxn>
              <a:cxn ang="0">
                <a:pos x="connsiteX30437" y="connsiteY30437"/>
              </a:cxn>
              <a:cxn ang="0">
                <a:pos x="connsiteX30438" y="connsiteY30438"/>
              </a:cxn>
              <a:cxn ang="0">
                <a:pos x="connsiteX30439" y="connsiteY30439"/>
              </a:cxn>
              <a:cxn ang="0">
                <a:pos x="connsiteX30440" y="connsiteY30440"/>
              </a:cxn>
              <a:cxn ang="0">
                <a:pos x="connsiteX30441" y="connsiteY30441"/>
              </a:cxn>
              <a:cxn ang="0">
                <a:pos x="connsiteX30442" y="connsiteY30442"/>
              </a:cxn>
              <a:cxn ang="0">
                <a:pos x="connsiteX30443" y="connsiteY30443"/>
              </a:cxn>
              <a:cxn ang="0">
                <a:pos x="connsiteX30444" y="connsiteY30444"/>
              </a:cxn>
              <a:cxn ang="0">
                <a:pos x="connsiteX30445" y="connsiteY30445"/>
              </a:cxn>
              <a:cxn ang="0">
                <a:pos x="connsiteX30446" y="connsiteY30446"/>
              </a:cxn>
              <a:cxn ang="0">
                <a:pos x="connsiteX30447" y="connsiteY30447"/>
              </a:cxn>
              <a:cxn ang="0">
                <a:pos x="connsiteX30448" y="connsiteY30448"/>
              </a:cxn>
              <a:cxn ang="0">
                <a:pos x="connsiteX30449" y="connsiteY30449"/>
              </a:cxn>
              <a:cxn ang="0">
                <a:pos x="connsiteX30450" y="connsiteY30450"/>
              </a:cxn>
              <a:cxn ang="0">
                <a:pos x="connsiteX30451" y="connsiteY30451"/>
              </a:cxn>
              <a:cxn ang="0">
                <a:pos x="connsiteX30452" y="connsiteY30452"/>
              </a:cxn>
              <a:cxn ang="0">
                <a:pos x="connsiteX30453" y="connsiteY30453"/>
              </a:cxn>
              <a:cxn ang="0">
                <a:pos x="connsiteX30454" y="connsiteY30454"/>
              </a:cxn>
              <a:cxn ang="0">
                <a:pos x="connsiteX30455" y="connsiteY30455"/>
              </a:cxn>
              <a:cxn ang="0">
                <a:pos x="connsiteX30456" y="connsiteY30456"/>
              </a:cxn>
              <a:cxn ang="0">
                <a:pos x="connsiteX30457" y="connsiteY30457"/>
              </a:cxn>
              <a:cxn ang="0">
                <a:pos x="connsiteX30458" y="connsiteY30458"/>
              </a:cxn>
              <a:cxn ang="0">
                <a:pos x="connsiteX30459" y="connsiteY30459"/>
              </a:cxn>
              <a:cxn ang="0">
                <a:pos x="connsiteX30460" y="connsiteY30460"/>
              </a:cxn>
              <a:cxn ang="0">
                <a:pos x="connsiteX30461" y="connsiteY30461"/>
              </a:cxn>
              <a:cxn ang="0">
                <a:pos x="connsiteX30462" y="connsiteY30462"/>
              </a:cxn>
              <a:cxn ang="0">
                <a:pos x="connsiteX30463" y="connsiteY30463"/>
              </a:cxn>
              <a:cxn ang="0">
                <a:pos x="connsiteX30464" y="connsiteY30464"/>
              </a:cxn>
              <a:cxn ang="0">
                <a:pos x="connsiteX30465" y="connsiteY30465"/>
              </a:cxn>
              <a:cxn ang="0">
                <a:pos x="connsiteX30466" y="connsiteY30466"/>
              </a:cxn>
              <a:cxn ang="0">
                <a:pos x="connsiteX30467" y="connsiteY30467"/>
              </a:cxn>
              <a:cxn ang="0">
                <a:pos x="connsiteX30468" y="connsiteY30468"/>
              </a:cxn>
              <a:cxn ang="0">
                <a:pos x="connsiteX30469" y="connsiteY30469"/>
              </a:cxn>
              <a:cxn ang="0">
                <a:pos x="connsiteX30470" y="connsiteY30470"/>
              </a:cxn>
              <a:cxn ang="0">
                <a:pos x="connsiteX30471" y="connsiteY30471"/>
              </a:cxn>
              <a:cxn ang="0">
                <a:pos x="connsiteX30472" y="connsiteY30472"/>
              </a:cxn>
              <a:cxn ang="0">
                <a:pos x="connsiteX30473" y="connsiteY30473"/>
              </a:cxn>
              <a:cxn ang="0">
                <a:pos x="connsiteX30474" y="connsiteY30474"/>
              </a:cxn>
              <a:cxn ang="0">
                <a:pos x="connsiteX30475" y="connsiteY30475"/>
              </a:cxn>
              <a:cxn ang="0">
                <a:pos x="connsiteX30476" y="connsiteY30476"/>
              </a:cxn>
              <a:cxn ang="0">
                <a:pos x="connsiteX30477" y="connsiteY30477"/>
              </a:cxn>
              <a:cxn ang="0">
                <a:pos x="connsiteX30478" y="connsiteY30478"/>
              </a:cxn>
              <a:cxn ang="0">
                <a:pos x="connsiteX30479" y="connsiteY30479"/>
              </a:cxn>
              <a:cxn ang="0">
                <a:pos x="connsiteX30480" y="connsiteY30480"/>
              </a:cxn>
              <a:cxn ang="0">
                <a:pos x="connsiteX30481" y="connsiteY30481"/>
              </a:cxn>
              <a:cxn ang="0">
                <a:pos x="connsiteX30482" y="connsiteY30482"/>
              </a:cxn>
              <a:cxn ang="0">
                <a:pos x="connsiteX30483" y="connsiteY30483"/>
              </a:cxn>
              <a:cxn ang="0">
                <a:pos x="connsiteX30484" y="connsiteY30484"/>
              </a:cxn>
              <a:cxn ang="0">
                <a:pos x="connsiteX30485" y="connsiteY30485"/>
              </a:cxn>
              <a:cxn ang="0">
                <a:pos x="connsiteX30486" y="connsiteY30486"/>
              </a:cxn>
              <a:cxn ang="0">
                <a:pos x="connsiteX30487" y="connsiteY30487"/>
              </a:cxn>
              <a:cxn ang="0">
                <a:pos x="connsiteX30488" y="connsiteY30488"/>
              </a:cxn>
              <a:cxn ang="0">
                <a:pos x="connsiteX30489" y="connsiteY30489"/>
              </a:cxn>
              <a:cxn ang="0">
                <a:pos x="connsiteX30490" y="connsiteY30490"/>
              </a:cxn>
              <a:cxn ang="0">
                <a:pos x="connsiteX30491" y="connsiteY30491"/>
              </a:cxn>
              <a:cxn ang="0">
                <a:pos x="connsiteX30492" y="connsiteY30492"/>
              </a:cxn>
              <a:cxn ang="0">
                <a:pos x="connsiteX30493" y="connsiteY30493"/>
              </a:cxn>
              <a:cxn ang="0">
                <a:pos x="connsiteX30494" y="connsiteY30494"/>
              </a:cxn>
              <a:cxn ang="0">
                <a:pos x="connsiteX30495" y="connsiteY30495"/>
              </a:cxn>
              <a:cxn ang="0">
                <a:pos x="connsiteX30496" y="connsiteY30496"/>
              </a:cxn>
              <a:cxn ang="0">
                <a:pos x="connsiteX30497" y="connsiteY30497"/>
              </a:cxn>
              <a:cxn ang="0">
                <a:pos x="connsiteX30498" y="connsiteY30498"/>
              </a:cxn>
              <a:cxn ang="0">
                <a:pos x="connsiteX30499" y="connsiteY30499"/>
              </a:cxn>
              <a:cxn ang="0">
                <a:pos x="connsiteX30500" y="connsiteY30500"/>
              </a:cxn>
              <a:cxn ang="0">
                <a:pos x="connsiteX30501" y="connsiteY30501"/>
              </a:cxn>
              <a:cxn ang="0">
                <a:pos x="connsiteX30502" y="connsiteY30502"/>
              </a:cxn>
              <a:cxn ang="0">
                <a:pos x="connsiteX30503" y="connsiteY30503"/>
              </a:cxn>
              <a:cxn ang="0">
                <a:pos x="connsiteX30504" y="connsiteY30504"/>
              </a:cxn>
              <a:cxn ang="0">
                <a:pos x="connsiteX30505" y="connsiteY30505"/>
              </a:cxn>
              <a:cxn ang="0">
                <a:pos x="connsiteX30506" y="connsiteY30506"/>
              </a:cxn>
              <a:cxn ang="0">
                <a:pos x="connsiteX30507" y="connsiteY30507"/>
              </a:cxn>
              <a:cxn ang="0">
                <a:pos x="connsiteX30508" y="connsiteY30508"/>
              </a:cxn>
              <a:cxn ang="0">
                <a:pos x="connsiteX30509" y="connsiteY30509"/>
              </a:cxn>
              <a:cxn ang="0">
                <a:pos x="connsiteX30510" y="connsiteY30510"/>
              </a:cxn>
              <a:cxn ang="0">
                <a:pos x="connsiteX30511" y="connsiteY30511"/>
              </a:cxn>
              <a:cxn ang="0">
                <a:pos x="connsiteX30512" y="connsiteY30512"/>
              </a:cxn>
              <a:cxn ang="0">
                <a:pos x="connsiteX30513" y="connsiteY30513"/>
              </a:cxn>
              <a:cxn ang="0">
                <a:pos x="connsiteX30514" y="connsiteY30514"/>
              </a:cxn>
              <a:cxn ang="0">
                <a:pos x="connsiteX30515" y="connsiteY30515"/>
              </a:cxn>
              <a:cxn ang="0">
                <a:pos x="connsiteX30516" y="connsiteY30516"/>
              </a:cxn>
              <a:cxn ang="0">
                <a:pos x="connsiteX30517" y="connsiteY30517"/>
              </a:cxn>
              <a:cxn ang="0">
                <a:pos x="connsiteX30518" y="connsiteY30518"/>
              </a:cxn>
              <a:cxn ang="0">
                <a:pos x="connsiteX30519" y="connsiteY30519"/>
              </a:cxn>
              <a:cxn ang="0">
                <a:pos x="connsiteX30520" y="connsiteY30520"/>
              </a:cxn>
              <a:cxn ang="0">
                <a:pos x="connsiteX30521" y="connsiteY30521"/>
              </a:cxn>
              <a:cxn ang="0">
                <a:pos x="connsiteX30522" y="connsiteY30522"/>
              </a:cxn>
              <a:cxn ang="0">
                <a:pos x="connsiteX30523" y="connsiteY30523"/>
              </a:cxn>
              <a:cxn ang="0">
                <a:pos x="connsiteX30524" y="connsiteY30524"/>
              </a:cxn>
              <a:cxn ang="0">
                <a:pos x="connsiteX30525" y="connsiteY30525"/>
              </a:cxn>
              <a:cxn ang="0">
                <a:pos x="connsiteX30526" y="connsiteY30526"/>
              </a:cxn>
              <a:cxn ang="0">
                <a:pos x="connsiteX30527" y="connsiteY30527"/>
              </a:cxn>
              <a:cxn ang="0">
                <a:pos x="connsiteX30528" y="connsiteY30528"/>
              </a:cxn>
              <a:cxn ang="0">
                <a:pos x="connsiteX30529" y="connsiteY30529"/>
              </a:cxn>
              <a:cxn ang="0">
                <a:pos x="connsiteX30530" y="connsiteY30530"/>
              </a:cxn>
              <a:cxn ang="0">
                <a:pos x="connsiteX30531" y="connsiteY30531"/>
              </a:cxn>
              <a:cxn ang="0">
                <a:pos x="connsiteX30532" y="connsiteY30532"/>
              </a:cxn>
              <a:cxn ang="0">
                <a:pos x="connsiteX30533" y="connsiteY30533"/>
              </a:cxn>
              <a:cxn ang="0">
                <a:pos x="connsiteX30534" y="connsiteY30534"/>
              </a:cxn>
              <a:cxn ang="0">
                <a:pos x="connsiteX30535" y="connsiteY30535"/>
              </a:cxn>
              <a:cxn ang="0">
                <a:pos x="connsiteX30536" y="connsiteY30536"/>
              </a:cxn>
              <a:cxn ang="0">
                <a:pos x="connsiteX30537" y="connsiteY30537"/>
              </a:cxn>
              <a:cxn ang="0">
                <a:pos x="connsiteX30538" y="connsiteY30538"/>
              </a:cxn>
              <a:cxn ang="0">
                <a:pos x="connsiteX30539" y="connsiteY30539"/>
              </a:cxn>
              <a:cxn ang="0">
                <a:pos x="connsiteX30540" y="connsiteY30540"/>
              </a:cxn>
              <a:cxn ang="0">
                <a:pos x="connsiteX30541" y="connsiteY30541"/>
              </a:cxn>
              <a:cxn ang="0">
                <a:pos x="connsiteX30542" y="connsiteY30542"/>
              </a:cxn>
              <a:cxn ang="0">
                <a:pos x="connsiteX30543" y="connsiteY30543"/>
              </a:cxn>
              <a:cxn ang="0">
                <a:pos x="connsiteX30544" y="connsiteY30544"/>
              </a:cxn>
              <a:cxn ang="0">
                <a:pos x="connsiteX30545" y="connsiteY30545"/>
              </a:cxn>
              <a:cxn ang="0">
                <a:pos x="connsiteX30546" y="connsiteY30546"/>
              </a:cxn>
              <a:cxn ang="0">
                <a:pos x="connsiteX30547" y="connsiteY30547"/>
              </a:cxn>
              <a:cxn ang="0">
                <a:pos x="connsiteX30548" y="connsiteY30548"/>
              </a:cxn>
              <a:cxn ang="0">
                <a:pos x="connsiteX30549" y="connsiteY30549"/>
              </a:cxn>
              <a:cxn ang="0">
                <a:pos x="connsiteX30550" y="connsiteY30550"/>
              </a:cxn>
              <a:cxn ang="0">
                <a:pos x="connsiteX30551" y="connsiteY30551"/>
              </a:cxn>
              <a:cxn ang="0">
                <a:pos x="connsiteX30552" y="connsiteY30552"/>
              </a:cxn>
              <a:cxn ang="0">
                <a:pos x="connsiteX30553" y="connsiteY30553"/>
              </a:cxn>
              <a:cxn ang="0">
                <a:pos x="connsiteX30554" y="connsiteY30554"/>
              </a:cxn>
              <a:cxn ang="0">
                <a:pos x="connsiteX30555" y="connsiteY30555"/>
              </a:cxn>
              <a:cxn ang="0">
                <a:pos x="connsiteX30556" y="connsiteY30556"/>
              </a:cxn>
              <a:cxn ang="0">
                <a:pos x="connsiteX30557" y="connsiteY30557"/>
              </a:cxn>
              <a:cxn ang="0">
                <a:pos x="connsiteX30558" y="connsiteY30558"/>
              </a:cxn>
              <a:cxn ang="0">
                <a:pos x="connsiteX30559" y="connsiteY30559"/>
              </a:cxn>
              <a:cxn ang="0">
                <a:pos x="connsiteX30560" y="connsiteY30560"/>
              </a:cxn>
              <a:cxn ang="0">
                <a:pos x="connsiteX30561" y="connsiteY30561"/>
              </a:cxn>
              <a:cxn ang="0">
                <a:pos x="connsiteX30562" y="connsiteY30562"/>
              </a:cxn>
              <a:cxn ang="0">
                <a:pos x="connsiteX30563" y="connsiteY30563"/>
              </a:cxn>
              <a:cxn ang="0">
                <a:pos x="connsiteX30564" y="connsiteY30564"/>
              </a:cxn>
              <a:cxn ang="0">
                <a:pos x="connsiteX30565" y="connsiteY30565"/>
              </a:cxn>
              <a:cxn ang="0">
                <a:pos x="connsiteX30566" y="connsiteY30566"/>
              </a:cxn>
              <a:cxn ang="0">
                <a:pos x="connsiteX30567" y="connsiteY30567"/>
              </a:cxn>
              <a:cxn ang="0">
                <a:pos x="connsiteX30568" y="connsiteY30568"/>
              </a:cxn>
              <a:cxn ang="0">
                <a:pos x="connsiteX30569" y="connsiteY30569"/>
              </a:cxn>
              <a:cxn ang="0">
                <a:pos x="connsiteX30570" y="connsiteY30570"/>
              </a:cxn>
              <a:cxn ang="0">
                <a:pos x="connsiteX30571" y="connsiteY30571"/>
              </a:cxn>
              <a:cxn ang="0">
                <a:pos x="connsiteX30572" y="connsiteY30572"/>
              </a:cxn>
              <a:cxn ang="0">
                <a:pos x="connsiteX30573" y="connsiteY30573"/>
              </a:cxn>
              <a:cxn ang="0">
                <a:pos x="connsiteX30574" y="connsiteY30574"/>
              </a:cxn>
              <a:cxn ang="0">
                <a:pos x="connsiteX30575" y="connsiteY30575"/>
              </a:cxn>
              <a:cxn ang="0">
                <a:pos x="connsiteX30576" y="connsiteY30576"/>
              </a:cxn>
              <a:cxn ang="0">
                <a:pos x="connsiteX30577" y="connsiteY30577"/>
              </a:cxn>
              <a:cxn ang="0">
                <a:pos x="connsiteX30578" y="connsiteY30578"/>
              </a:cxn>
              <a:cxn ang="0">
                <a:pos x="connsiteX30579" y="connsiteY30579"/>
              </a:cxn>
              <a:cxn ang="0">
                <a:pos x="connsiteX30580" y="connsiteY30580"/>
              </a:cxn>
              <a:cxn ang="0">
                <a:pos x="connsiteX30581" y="connsiteY30581"/>
              </a:cxn>
              <a:cxn ang="0">
                <a:pos x="connsiteX30582" y="connsiteY30582"/>
              </a:cxn>
              <a:cxn ang="0">
                <a:pos x="connsiteX30583" y="connsiteY30583"/>
              </a:cxn>
              <a:cxn ang="0">
                <a:pos x="connsiteX30584" y="connsiteY30584"/>
              </a:cxn>
              <a:cxn ang="0">
                <a:pos x="connsiteX30585" y="connsiteY30585"/>
              </a:cxn>
              <a:cxn ang="0">
                <a:pos x="connsiteX30586" y="connsiteY30586"/>
              </a:cxn>
              <a:cxn ang="0">
                <a:pos x="connsiteX30587" y="connsiteY30587"/>
              </a:cxn>
              <a:cxn ang="0">
                <a:pos x="connsiteX30588" y="connsiteY30588"/>
              </a:cxn>
              <a:cxn ang="0">
                <a:pos x="connsiteX30589" y="connsiteY30589"/>
              </a:cxn>
              <a:cxn ang="0">
                <a:pos x="connsiteX30590" y="connsiteY30590"/>
              </a:cxn>
              <a:cxn ang="0">
                <a:pos x="connsiteX30591" y="connsiteY30591"/>
              </a:cxn>
              <a:cxn ang="0">
                <a:pos x="connsiteX30592" y="connsiteY30592"/>
              </a:cxn>
              <a:cxn ang="0">
                <a:pos x="connsiteX30593" y="connsiteY30593"/>
              </a:cxn>
              <a:cxn ang="0">
                <a:pos x="connsiteX30594" y="connsiteY30594"/>
              </a:cxn>
              <a:cxn ang="0">
                <a:pos x="connsiteX30595" y="connsiteY30595"/>
              </a:cxn>
              <a:cxn ang="0">
                <a:pos x="connsiteX30596" y="connsiteY30596"/>
              </a:cxn>
              <a:cxn ang="0">
                <a:pos x="connsiteX30597" y="connsiteY30597"/>
              </a:cxn>
              <a:cxn ang="0">
                <a:pos x="connsiteX30598" y="connsiteY30598"/>
              </a:cxn>
              <a:cxn ang="0">
                <a:pos x="connsiteX30599" y="connsiteY30599"/>
              </a:cxn>
              <a:cxn ang="0">
                <a:pos x="connsiteX30600" y="connsiteY30600"/>
              </a:cxn>
              <a:cxn ang="0">
                <a:pos x="connsiteX30601" y="connsiteY30601"/>
              </a:cxn>
              <a:cxn ang="0">
                <a:pos x="connsiteX30602" y="connsiteY30602"/>
              </a:cxn>
              <a:cxn ang="0">
                <a:pos x="connsiteX30603" y="connsiteY30603"/>
              </a:cxn>
              <a:cxn ang="0">
                <a:pos x="connsiteX30604" y="connsiteY30604"/>
              </a:cxn>
              <a:cxn ang="0">
                <a:pos x="connsiteX30605" y="connsiteY30605"/>
              </a:cxn>
              <a:cxn ang="0">
                <a:pos x="connsiteX30606" y="connsiteY30606"/>
              </a:cxn>
              <a:cxn ang="0">
                <a:pos x="connsiteX30607" y="connsiteY30607"/>
              </a:cxn>
              <a:cxn ang="0">
                <a:pos x="connsiteX30608" y="connsiteY30608"/>
              </a:cxn>
              <a:cxn ang="0">
                <a:pos x="connsiteX30609" y="connsiteY30609"/>
              </a:cxn>
              <a:cxn ang="0">
                <a:pos x="connsiteX30610" y="connsiteY30610"/>
              </a:cxn>
              <a:cxn ang="0">
                <a:pos x="connsiteX30611" y="connsiteY30611"/>
              </a:cxn>
              <a:cxn ang="0">
                <a:pos x="connsiteX30612" y="connsiteY30612"/>
              </a:cxn>
              <a:cxn ang="0">
                <a:pos x="connsiteX30613" y="connsiteY30613"/>
              </a:cxn>
              <a:cxn ang="0">
                <a:pos x="connsiteX30614" y="connsiteY30614"/>
              </a:cxn>
              <a:cxn ang="0">
                <a:pos x="connsiteX30615" y="connsiteY30615"/>
              </a:cxn>
              <a:cxn ang="0">
                <a:pos x="connsiteX30616" y="connsiteY30616"/>
              </a:cxn>
              <a:cxn ang="0">
                <a:pos x="connsiteX30617" y="connsiteY30617"/>
              </a:cxn>
              <a:cxn ang="0">
                <a:pos x="connsiteX30618" y="connsiteY30618"/>
              </a:cxn>
              <a:cxn ang="0">
                <a:pos x="connsiteX30619" y="connsiteY30619"/>
              </a:cxn>
              <a:cxn ang="0">
                <a:pos x="connsiteX30620" y="connsiteY30620"/>
              </a:cxn>
              <a:cxn ang="0">
                <a:pos x="connsiteX30621" y="connsiteY30621"/>
              </a:cxn>
              <a:cxn ang="0">
                <a:pos x="connsiteX30622" y="connsiteY30622"/>
              </a:cxn>
              <a:cxn ang="0">
                <a:pos x="connsiteX30623" y="connsiteY30623"/>
              </a:cxn>
              <a:cxn ang="0">
                <a:pos x="connsiteX30624" y="connsiteY30624"/>
              </a:cxn>
              <a:cxn ang="0">
                <a:pos x="connsiteX30625" y="connsiteY30625"/>
              </a:cxn>
              <a:cxn ang="0">
                <a:pos x="connsiteX30626" y="connsiteY30626"/>
              </a:cxn>
              <a:cxn ang="0">
                <a:pos x="connsiteX30627" y="connsiteY30627"/>
              </a:cxn>
              <a:cxn ang="0">
                <a:pos x="connsiteX30628" y="connsiteY30628"/>
              </a:cxn>
              <a:cxn ang="0">
                <a:pos x="connsiteX30629" y="connsiteY30629"/>
              </a:cxn>
              <a:cxn ang="0">
                <a:pos x="connsiteX30630" y="connsiteY30630"/>
              </a:cxn>
              <a:cxn ang="0">
                <a:pos x="connsiteX30631" y="connsiteY30631"/>
              </a:cxn>
              <a:cxn ang="0">
                <a:pos x="connsiteX30632" y="connsiteY30632"/>
              </a:cxn>
              <a:cxn ang="0">
                <a:pos x="connsiteX30633" y="connsiteY30633"/>
              </a:cxn>
              <a:cxn ang="0">
                <a:pos x="connsiteX30634" y="connsiteY30634"/>
              </a:cxn>
              <a:cxn ang="0">
                <a:pos x="connsiteX30635" y="connsiteY30635"/>
              </a:cxn>
              <a:cxn ang="0">
                <a:pos x="connsiteX30636" y="connsiteY30636"/>
              </a:cxn>
              <a:cxn ang="0">
                <a:pos x="connsiteX30637" y="connsiteY30637"/>
              </a:cxn>
              <a:cxn ang="0">
                <a:pos x="connsiteX30638" y="connsiteY30638"/>
              </a:cxn>
              <a:cxn ang="0">
                <a:pos x="connsiteX30639" y="connsiteY30639"/>
              </a:cxn>
              <a:cxn ang="0">
                <a:pos x="connsiteX30640" y="connsiteY30640"/>
              </a:cxn>
              <a:cxn ang="0">
                <a:pos x="connsiteX30641" y="connsiteY30641"/>
              </a:cxn>
              <a:cxn ang="0">
                <a:pos x="connsiteX30642" y="connsiteY30642"/>
              </a:cxn>
              <a:cxn ang="0">
                <a:pos x="connsiteX30643" y="connsiteY30643"/>
              </a:cxn>
              <a:cxn ang="0">
                <a:pos x="connsiteX30644" y="connsiteY30644"/>
              </a:cxn>
              <a:cxn ang="0">
                <a:pos x="connsiteX30645" y="connsiteY30645"/>
              </a:cxn>
              <a:cxn ang="0">
                <a:pos x="connsiteX30646" y="connsiteY30646"/>
              </a:cxn>
              <a:cxn ang="0">
                <a:pos x="connsiteX30647" y="connsiteY30647"/>
              </a:cxn>
              <a:cxn ang="0">
                <a:pos x="connsiteX30648" y="connsiteY30648"/>
              </a:cxn>
              <a:cxn ang="0">
                <a:pos x="connsiteX30649" y="connsiteY30649"/>
              </a:cxn>
              <a:cxn ang="0">
                <a:pos x="connsiteX30650" y="connsiteY30650"/>
              </a:cxn>
              <a:cxn ang="0">
                <a:pos x="connsiteX30651" y="connsiteY30651"/>
              </a:cxn>
              <a:cxn ang="0">
                <a:pos x="connsiteX30652" y="connsiteY30652"/>
              </a:cxn>
              <a:cxn ang="0">
                <a:pos x="connsiteX30653" y="connsiteY30653"/>
              </a:cxn>
              <a:cxn ang="0">
                <a:pos x="connsiteX30654" y="connsiteY30654"/>
              </a:cxn>
              <a:cxn ang="0">
                <a:pos x="connsiteX30655" y="connsiteY30655"/>
              </a:cxn>
              <a:cxn ang="0">
                <a:pos x="connsiteX30656" y="connsiteY30656"/>
              </a:cxn>
              <a:cxn ang="0">
                <a:pos x="connsiteX30657" y="connsiteY30657"/>
              </a:cxn>
              <a:cxn ang="0">
                <a:pos x="connsiteX30658" y="connsiteY30658"/>
              </a:cxn>
              <a:cxn ang="0">
                <a:pos x="connsiteX30659" y="connsiteY30659"/>
              </a:cxn>
              <a:cxn ang="0">
                <a:pos x="connsiteX30660" y="connsiteY30660"/>
              </a:cxn>
              <a:cxn ang="0">
                <a:pos x="connsiteX30661" y="connsiteY30661"/>
              </a:cxn>
              <a:cxn ang="0">
                <a:pos x="connsiteX30662" y="connsiteY30662"/>
              </a:cxn>
              <a:cxn ang="0">
                <a:pos x="connsiteX30663" y="connsiteY30663"/>
              </a:cxn>
              <a:cxn ang="0">
                <a:pos x="connsiteX30664" y="connsiteY30664"/>
              </a:cxn>
              <a:cxn ang="0">
                <a:pos x="connsiteX30665" y="connsiteY30665"/>
              </a:cxn>
              <a:cxn ang="0">
                <a:pos x="connsiteX30666" y="connsiteY30666"/>
              </a:cxn>
              <a:cxn ang="0">
                <a:pos x="connsiteX30667" y="connsiteY30667"/>
              </a:cxn>
              <a:cxn ang="0">
                <a:pos x="connsiteX30668" y="connsiteY30668"/>
              </a:cxn>
              <a:cxn ang="0">
                <a:pos x="connsiteX30669" y="connsiteY30669"/>
              </a:cxn>
              <a:cxn ang="0">
                <a:pos x="connsiteX30670" y="connsiteY30670"/>
              </a:cxn>
              <a:cxn ang="0">
                <a:pos x="connsiteX30671" y="connsiteY30671"/>
              </a:cxn>
              <a:cxn ang="0">
                <a:pos x="connsiteX30672" y="connsiteY30672"/>
              </a:cxn>
              <a:cxn ang="0">
                <a:pos x="connsiteX30673" y="connsiteY30673"/>
              </a:cxn>
              <a:cxn ang="0">
                <a:pos x="connsiteX30674" y="connsiteY30674"/>
              </a:cxn>
              <a:cxn ang="0">
                <a:pos x="connsiteX30675" y="connsiteY30675"/>
              </a:cxn>
              <a:cxn ang="0">
                <a:pos x="connsiteX30676" y="connsiteY30676"/>
              </a:cxn>
              <a:cxn ang="0">
                <a:pos x="connsiteX30677" y="connsiteY30677"/>
              </a:cxn>
              <a:cxn ang="0">
                <a:pos x="connsiteX30678" y="connsiteY30678"/>
              </a:cxn>
              <a:cxn ang="0">
                <a:pos x="connsiteX30679" y="connsiteY30679"/>
              </a:cxn>
              <a:cxn ang="0">
                <a:pos x="connsiteX30680" y="connsiteY30680"/>
              </a:cxn>
              <a:cxn ang="0">
                <a:pos x="connsiteX30681" y="connsiteY30681"/>
              </a:cxn>
              <a:cxn ang="0">
                <a:pos x="connsiteX30682" y="connsiteY30682"/>
              </a:cxn>
              <a:cxn ang="0">
                <a:pos x="connsiteX30683" y="connsiteY30683"/>
              </a:cxn>
              <a:cxn ang="0">
                <a:pos x="connsiteX30684" y="connsiteY30684"/>
              </a:cxn>
              <a:cxn ang="0">
                <a:pos x="connsiteX30685" y="connsiteY30685"/>
              </a:cxn>
              <a:cxn ang="0">
                <a:pos x="connsiteX30686" y="connsiteY30686"/>
              </a:cxn>
              <a:cxn ang="0">
                <a:pos x="connsiteX30687" y="connsiteY30687"/>
              </a:cxn>
              <a:cxn ang="0">
                <a:pos x="connsiteX30688" y="connsiteY30688"/>
              </a:cxn>
              <a:cxn ang="0">
                <a:pos x="connsiteX30689" y="connsiteY30689"/>
              </a:cxn>
              <a:cxn ang="0">
                <a:pos x="connsiteX30690" y="connsiteY30690"/>
              </a:cxn>
              <a:cxn ang="0">
                <a:pos x="connsiteX30691" y="connsiteY30691"/>
              </a:cxn>
              <a:cxn ang="0">
                <a:pos x="connsiteX30692" y="connsiteY30692"/>
              </a:cxn>
              <a:cxn ang="0">
                <a:pos x="connsiteX30693" y="connsiteY30693"/>
              </a:cxn>
              <a:cxn ang="0">
                <a:pos x="connsiteX30694" y="connsiteY30694"/>
              </a:cxn>
              <a:cxn ang="0">
                <a:pos x="connsiteX30695" y="connsiteY30695"/>
              </a:cxn>
              <a:cxn ang="0">
                <a:pos x="connsiteX30696" y="connsiteY30696"/>
              </a:cxn>
              <a:cxn ang="0">
                <a:pos x="connsiteX30697" y="connsiteY30697"/>
              </a:cxn>
              <a:cxn ang="0">
                <a:pos x="connsiteX30698" y="connsiteY30698"/>
              </a:cxn>
              <a:cxn ang="0">
                <a:pos x="connsiteX30699" y="connsiteY30699"/>
              </a:cxn>
              <a:cxn ang="0">
                <a:pos x="connsiteX30700" y="connsiteY30700"/>
              </a:cxn>
              <a:cxn ang="0">
                <a:pos x="connsiteX30701" y="connsiteY30701"/>
              </a:cxn>
              <a:cxn ang="0">
                <a:pos x="connsiteX30702" y="connsiteY30702"/>
              </a:cxn>
              <a:cxn ang="0">
                <a:pos x="connsiteX30703" y="connsiteY30703"/>
              </a:cxn>
              <a:cxn ang="0">
                <a:pos x="connsiteX30704" y="connsiteY30704"/>
              </a:cxn>
              <a:cxn ang="0">
                <a:pos x="connsiteX30705" y="connsiteY30705"/>
              </a:cxn>
              <a:cxn ang="0">
                <a:pos x="connsiteX30706" y="connsiteY30706"/>
              </a:cxn>
              <a:cxn ang="0">
                <a:pos x="connsiteX30707" y="connsiteY30707"/>
              </a:cxn>
              <a:cxn ang="0">
                <a:pos x="connsiteX30708" y="connsiteY30708"/>
              </a:cxn>
              <a:cxn ang="0">
                <a:pos x="connsiteX30709" y="connsiteY30709"/>
              </a:cxn>
              <a:cxn ang="0">
                <a:pos x="connsiteX30710" y="connsiteY30710"/>
              </a:cxn>
              <a:cxn ang="0">
                <a:pos x="connsiteX30711" y="connsiteY30711"/>
              </a:cxn>
              <a:cxn ang="0">
                <a:pos x="connsiteX30712" y="connsiteY30712"/>
              </a:cxn>
              <a:cxn ang="0">
                <a:pos x="connsiteX30713" y="connsiteY30713"/>
              </a:cxn>
              <a:cxn ang="0">
                <a:pos x="connsiteX30714" y="connsiteY30714"/>
              </a:cxn>
              <a:cxn ang="0">
                <a:pos x="connsiteX30715" y="connsiteY30715"/>
              </a:cxn>
              <a:cxn ang="0">
                <a:pos x="connsiteX30716" y="connsiteY30716"/>
              </a:cxn>
              <a:cxn ang="0">
                <a:pos x="connsiteX30717" y="connsiteY30717"/>
              </a:cxn>
              <a:cxn ang="0">
                <a:pos x="connsiteX30718" y="connsiteY30718"/>
              </a:cxn>
              <a:cxn ang="0">
                <a:pos x="connsiteX30719" y="connsiteY30719"/>
              </a:cxn>
              <a:cxn ang="0">
                <a:pos x="connsiteX30720" y="connsiteY30720"/>
              </a:cxn>
              <a:cxn ang="0">
                <a:pos x="connsiteX30721" y="connsiteY30721"/>
              </a:cxn>
              <a:cxn ang="0">
                <a:pos x="connsiteX30722" y="connsiteY30722"/>
              </a:cxn>
              <a:cxn ang="0">
                <a:pos x="connsiteX30723" y="connsiteY30723"/>
              </a:cxn>
              <a:cxn ang="0">
                <a:pos x="connsiteX30724" y="connsiteY30724"/>
              </a:cxn>
              <a:cxn ang="0">
                <a:pos x="connsiteX30725" y="connsiteY30725"/>
              </a:cxn>
              <a:cxn ang="0">
                <a:pos x="connsiteX30726" y="connsiteY30726"/>
              </a:cxn>
              <a:cxn ang="0">
                <a:pos x="connsiteX30727" y="connsiteY30727"/>
              </a:cxn>
              <a:cxn ang="0">
                <a:pos x="connsiteX30728" y="connsiteY30728"/>
              </a:cxn>
              <a:cxn ang="0">
                <a:pos x="connsiteX30729" y="connsiteY30729"/>
              </a:cxn>
              <a:cxn ang="0">
                <a:pos x="connsiteX30730" y="connsiteY30730"/>
              </a:cxn>
              <a:cxn ang="0">
                <a:pos x="connsiteX30731" y="connsiteY30731"/>
              </a:cxn>
              <a:cxn ang="0">
                <a:pos x="connsiteX30732" y="connsiteY30732"/>
              </a:cxn>
              <a:cxn ang="0">
                <a:pos x="connsiteX30733" y="connsiteY30733"/>
              </a:cxn>
              <a:cxn ang="0">
                <a:pos x="connsiteX30734" y="connsiteY30734"/>
              </a:cxn>
              <a:cxn ang="0">
                <a:pos x="connsiteX30735" y="connsiteY30735"/>
              </a:cxn>
              <a:cxn ang="0">
                <a:pos x="connsiteX30736" y="connsiteY30736"/>
              </a:cxn>
              <a:cxn ang="0">
                <a:pos x="connsiteX30737" y="connsiteY30737"/>
              </a:cxn>
              <a:cxn ang="0">
                <a:pos x="connsiteX30738" y="connsiteY30738"/>
              </a:cxn>
              <a:cxn ang="0">
                <a:pos x="connsiteX30739" y="connsiteY30739"/>
              </a:cxn>
              <a:cxn ang="0">
                <a:pos x="connsiteX30740" y="connsiteY30740"/>
              </a:cxn>
              <a:cxn ang="0">
                <a:pos x="connsiteX30741" y="connsiteY30741"/>
              </a:cxn>
              <a:cxn ang="0">
                <a:pos x="connsiteX30742" y="connsiteY30742"/>
              </a:cxn>
              <a:cxn ang="0">
                <a:pos x="connsiteX30743" y="connsiteY30743"/>
              </a:cxn>
              <a:cxn ang="0">
                <a:pos x="connsiteX30744" y="connsiteY30744"/>
              </a:cxn>
              <a:cxn ang="0">
                <a:pos x="connsiteX30745" y="connsiteY30745"/>
              </a:cxn>
              <a:cxn ang="0">
                <a:pos x="connsiteX30746" y="connsiteY30746"/>
              </a:cxn>
              <a:cxn ang="0">
                <a:pos x="connsiteX30747" y="connsiteY30747"/>
              </a:cxn>
              <a:cxn ang="0">
                <a:pos x="connsiteX30748" y="connsiteY30748"/>
              </a:cxn>
              <a:cxn ang="0">
                <a:pos x="connsiteX30749" y="connsiteY30749"/>
              </a:cxn>
              <a:cxn ang="0">
                <a:pos x="connsiteX30750" y="connsiteY30750"/>
              </a:cxn>
              <a:cxn ang="0">
                <a:pos x="connsiteX30751" y="connsiteY30751"/>
              </a:cxn>
              <a:cxn ang="0">
                <a:pos x="connsiteX30752" y="connsiteY30752"/>
              </a:cxn>
              <a:cxn ang="0">
                <a:pos x="connsiteX30753" y="connsiteY30753"/>
              </a:cxn>
              <a:cxn ang="0">
                <a:pos x="connsiteX30754" y="connsiteY30754"/>
              </a:cxn>
              <a:cxn ang="0">
                <a:pos x="connsiteX30755" y="connsiteY30755"/>
              </a:cxn>
              <a:cxn ang="0">
                <a:pos x="connsiteX30756" y="connsiteY30756"/>
              </a:cxn>
              <a:cxn ang="0">
                <a:pos x="connsiteX30757" y="connsiteY30757"/>
              </a:cxn>
              <a:cxn ang="0">
                <a:pos x="connsiteX30758" y="connsiteY30758"/>
              </a:cxn>
              <a:cxn ang="0">
                <a:pos x="connsiteX30759" y="connsiteY30759"/>
              </a:cxn>
              <a:cxn ang="0">
                <a:pos x="connsiteX30760" y="connsiteY30760"/>
              </a:cxn>
              <a:cxn ang="0">
                <a:pos x="connsiteX30761" y="connsiteY30761"/>
              </a:cxn>
              <a:cxn ang="0">
                <a:pos x="connsiteX30762" y="connsiteY30762"/>
              </a:cxn>
              <a:cxn ang="0">
                <a:pos x="connsiteX30763" y="connsiteY30763"/>
              </a:cxn>
              <a:cxn ang="0">
                <a:pos x="connsiteX30764" y="connsiteY30764"/>
              </a:cxn>
              <a:cxn ang="0">
                <a:pos x="connsiteX30765" y="connsiteY30765"/>
              </a:cxn>
              <a:cxn ang="0">
                <a:pos x="connsiteX30766" y="connsiteY30766"/>
              </a:cxn>
              <a:cxn ang="0">
                <a:pos x="connsiteX30767" y="connsiteY30767"/>
              </a:cxn>
              <a:cxn ang="0">
                <a:pos x="connsiteX30768" y="connsiteY30768"/>
              </a:cxn>
              <a:cxn ang="0">
                <a:pos x="connsiteX30769" y="connsiteY30769"/>
              </a:cxn>
              <a:cxn ang="0">
                <a:pos x="connsiteX30770" y="connsiteY30770"/>
              </a:cxn>
              <a:cxn ang="0">
                <a:pos x="connsiteX30771" y="connsiteY30771"/>
              </a:cxn>
              <a:cxn ang="0">
                <a:pos x="connsiteX30772" y="connsiteY30772"/>
              </a:cxn>
              <a:cxn ang="0">
                <a:pos x="connsiteX30773" y="connsiteY30773"/>
              </a:cxn>
              <a:cxn ang="0">
                <a:pos x="connsiteX30774" y="connsiteY30774"/>
              </a:cxn>
              <a:cxn ang="0">
                <a:pos x="connsiteX30775" y="connsiteY30775"/>
              </a:cxn>
              <a:cxn ang="0">
                <a:pos x="connsiteX30776" y="connsiteY30776"/>
              </a:cxn>
              <a:cxn ang="0">
                <a:pos x="connsiteX30777" y="connsiteY30777"/>
              </a:cxn>
              <a:cxn ang="0">
                <a:pos x="connsiteX30778" y="connsiteY30778"/>
              </a:cxn>
              <a:cxn ang="0">
                <a:pos x="connsiteX30779" y="connsiteY30779"/>
              </a:cxn>
              <a:cxn ang="0">
                <a:pos x="connsiteX30780" y="connsiteY30780"/>
              </a:cxn>
              <a:cxn ang="0">
                <a:pos x="connsiteX30781" y="connsiteY30781"/>
              </a:cxn>
              <a:cxn ang="0">
                <a:pos x="connsiteX30782" y="connsiteY30782"/>
              </a:cxn>
              <a:cxn ang="0">
                <a:pos x="connsiteX30783" y="connsiteY30783"/>
              </a:cxn>
              <a:cxn ang="0">
                <a:pos x="connsiteX30784" y="connsiteY30784"/>
              </a:cxn>
              <a:cxn ang="0">
                <a:pos x="connsiteX30785" y="connsiteY30785"/>
              </a:cxn>
              <a:cxn ang="0">
                <a:pos x="connsiteX30786" y="connsiteY30786"/>
              </a:cxn>
              <a:cxn ang="0">
                <a:pos x="connsiteX30787" y="connsiteY30787"/>
              </a:cxn>
              <a:cxn ang="0">
                <a:pos x="connsiteX30788" y="connsiteY30788"/>
              </a:cxn>
              <a:cxn ang="0">
                <a:pos x="connsiteX30789" y="connsiteY30789"/>
              </a:cxn>
              <a:cxn ang="0">
                <a:pos x="connsiteX30790" y="connsiteY30790"/>
              </a:cxn>
              <a:cxn ang="0">
                <a:pos x="connsiteX30791" y="connsiteY30791"/>
              </a:cxn>
              <a:cxn ang="0">
                <a:pos x="connsiteX30792" y="connsiteY30792"/>
              </a:cxn>
              <a:cxn ang="0">
                <a:pos x="connsiteX30793" y="connsiteY30793"/>
              </a:cxn>
              <a:cxn ang="0">
                <a:pos x="connsiteX30794" y="connsiteY30794"/>
              </a:cxn>
              <a:cxn ang="0">
                <a:pos x="connsiteX30795" y="connsiteY30795"/>
              </a:cxn>
              <a:cxn ang="0">
                <a:pos x="connsiteX30796" y="connsiteY30796"/>
              </a:cxn>
              <a:cxn ang="0">
                <a:pos x="connsiteX30797" y="connsiteY30797"/>
              </a:cxn>
              <a:cxn ang="0">
                <a:pos x="connsiteX30798" y="connsiteY30798"/>
              </a:cxn>
              <a:cxn ang="0">
                <a:pos x="connsiteX30799" y="connsiteY30799"/>
              </a:cxn>
              <a:cxn ang="0">
                <a:pos x="connsiteX30800" y="connsiteY30800"/>
              </a:cxn>
              <a:cxn ang="0">
                <a:pos x="connsiteX30801" y="connsiteY30801"/>
              </a:cxn>
              <a:cxn ang="0">
                <a:pos x="connsiteX30802" y="connsiteY30802"/>
              </a:cxn>
              <a:cxn ang="0">
                <a:pos x="connsiteX30803" y="connsiteY30803"/>
              </a:cxn>
              <a:cxn ang="0">
                <a:pos x="connsiteX30804" y="connsiteY30804"/>
              </a:cxn>
              <a:cxn ang="0">
                <a:pos x="connsiteX30805" y="connsiteY30805"/>
              </a:cxn>
              <a:cxn ang="0">
                <a:pos x="connsiteX30806" y="connsiteY30806"/>
              </a:cxn>
              <a:cxn ang="0">
                <a:pos x="connsiteX30807" y="connsiteY30807"/>
              </a:cxn>
              <a:cxn ang="0">
                <a:pos x="connsiteX30808" y="connsiteY30808"/>
              </a:cxn>
              <a:cxn ang="0">
                <a:pos x="connsiteX30809" y="connsiteY30809"/>
              </a:cxn>
              <a:cxn ang="0">
                <a:pos x="connsiteX30810" y="connsiteY30810"/>
              </a:cxn>
              <a:cxn ang="0">
                <a:pos x="connsiteX30811" y="connsiteY30811"/>
              </a:cxn>
              <a:cxn ang="0">
                <a:pos x="connsiteX30812" y="connsiteY30812"/>
              </a:cxn>
              <a:cxn ang="0">
                <a:pos x="connsiteX30813" y="connsiteY30813"/>
              </a:cxn>
              <a:cxn ang="0">
                <a:pos x="connsiteX30814" y="connsiteY30814"/>
              </a:cxn>
              <a:cxn ang="0">
                <a:pos x="connsiteX30815" y="connsiteY30815"/>
              </a:cxn>
              <a:cxn ang="0">
                <a:pos x="connsiteX30816" y="connsiteY30816"/>
              </a:cxn>
              <a:cxn ang="0">
                <a:pos x="connsiteX30817" y="connsiteY30817"/>
              </a:cxn>
              <a:cxn ang="0">
                <a:pos x="connsiteX30818" y="connsiteY30818"/>
              </a:cxn>
              <a:cxn ang="0">
                <a:pos x="connsiteX30819" y="connsiteY30819"/>
              </a:cxn>
              <a:cxn ang="0">
                <a:pos x="connsiteX30820" y="connsiteY30820"/>
              </a:cxn>
              <a:cxn ang="0">
                <a:pos x="connsiteX30821" y="connsiteY30821"/>
              </a:cxn>
              <a:cxn ang="0">
                <a:pos x="connsiteX30822" y="connsiteY30822"/>
              </a:cxn>
              <a:cxn ang="0">
                <a:pos x="connsiteX30823" y="connsiteY30823"/>
              </a:cxn>
              <a:cxn ang="0">
                <a:pos x="connsiteX30824" y="connsiteY30824"/>
              </a:cxn>
              <a:cxn ang="0">
                <a:pos x="connsiteX30825" y="connsiteY30825"/>
              </a:cxn>
              <a:cxn ang="0">
                <a:pos x="connsiteX30826" y="connsiteY30826"/>
              </a:cxn>
              <a:cxn ang="0">
                <a:pos x="connsiteX30827" y="connsiteY30827"/>
              </a:cxn>
              <a:cxn ang="0">
                <a:pos x="connsiteX30828" y="connsiteY30828"/>
              </a:cxn>
              <a:cxn ang="0">
                <a:pos x="connsiteX30829" y="connsiteY30829"/>
              </a:cxn>
              <a:cxn ang="0">
                <a:pos x="connsiteX30830" y="connsiteY30830"/>
              </a:cxn>
              <a:cxn ang="0">
                <a:pos x="connsiteX30831" y="connsiteY30831"/>
              </a:cxn>
              <a:cxn ang="0">
                <a:pos x="connsiteX30832" y="connsiteY30832"/>
              </a:cxn>
              <a:cxn ang="0">
                <a:pos x="connsiteX30833" y="connsiteY30833"/>
              </a:cxn>
              <a:cxn ang="0">
                <a:pos x="connsiteX30834" y="connsiteY30834"/>
              </a:cxn>
              <a:cxn ang="0">
                <a:pos x="connsiteX30835" y="connsiteY30835"/>
              </a:cxn>
              <a:cxn ang="0">
                <a:pos x="connsiteX30836" y="connsiteY30836"/>
              </a:cxn>
              <a:cxn ang="0">
                <a:pos x="connsiteX30837" y="connsiteY30837"/>
              </a:cxn>
              <a:cxn ang="0">
                <a:pos x="connsiteX30838" y="connsiteY30838"/>
              </a:cxn>
              <a:cxn ang="0">
                <a:pos x="connsiteX30839" y="connsiteY30839"/>
              </a:cxn>
              <a:cxn ang="0">
                <a:pos x="connsiteX30840" y="connsiteY30840"/>
              </a:cxn>
              <a:cxn ang="0">
                <a:pos x="connsiteX30841" y="connsiteY30841"/>
              </a:cxn>
              <a:cxn ang="0">
                <a:pos x="connsiteX30842" y="connsiteY30842"/>
              </a:cxn>
              <a:cxn ang="0">
                <a:pos x="connsiteX30843" y="connsiteY30843"/>
              </a:cxn>
              <a:cxn ang="0">
                <a:pos x="connsiteX30844" y="connsiteY30844"/>
              </a:cxn>
              <a:cxn ang="0">
                <a:pos x="connsiteX30845" y="connsiteY30845"/>
              </a:cxn>
              <a:cxn ang="0">
                <a:pos x="connsiteX30846" y="connsiteY30846"/>
              </a:cxn>
              <a:cxn ang="0">
                <a:pos x="connsiteX30847" y="connsiteY30847"/>
              </a:cxn>
              <a:cxn ang="0">
                <a:pos x="connsiteX30848" y="connsiteY30848"/>
              </a:cxn>
              <a:cxn ang="0">
                <a:pos x="connsiteX30849" y="connsiteY30849"/>
              </a:cxn>
              <a:cxn ang="0">
                <a:pos x="connsiteX30850" y="connsiteY30850"/>
              </a:cxn>
              <a:cxn ang="0">
                <a:pos x="connsiteX30851" y="connsiteY30851"/>
              </a:cxn>
              <a:cxn ang="0">
                <a:pos x="connsiteX30852" y="connsiteY30852"/>
              </a:cxn>
              <a:cxn ang="0">
                <a:pos x="connsiteX30853" y="connsiteY30853"/>
              </a:cxn>
              <a:cxn ang="0">
                <a:pos x="connsiteX30854" y="connsiteY30854"/>
              </a:cxn>
              <a:cxn ang="0">
                <a:pos x="connsiteX30855" y="connsiteY30855"/>
              </a:cxn>
              <a:cxn ang="0">
                <a:pos x="connsiteX30856" y="connsiteY30856"/>
              </a:cxn>
              <a:cxn ang="0">
                <a:pos x="connsiteX30857" y="connsiteY30857"/>
              </a:cxn>
              <a:cxn ang="0">
                <a:pos x="connsiteX30858" y="connsiteY30858"/>
              </a:cxn>
              <a:cxn ang="0">
                <a:pos x="connsiteX30859" y="connsiteY30859"/>
              </a:cxn>
              <a:cxn ang="0">
                <a:pos x="connsiteX30860" y="connsiteY30860"/>
              </a:cxn>
              <a:cxn ang="0">
                <a:pos x="connsiteX30861" y="connsiteY30861"/>
              </a:cxn>
              <a:cxn ang="0">
                <a:pos x="connsiteX30862" y="connsiteY30862"/>
              </a:cxn>
              <a:cxn ang="0">
                <a:pos x="connsiteX30863" y="connsiteY30863"/>
              </a:cxn>
              <a:cxn ang="0">
                <a:pos x="connsiteX30864" y="connsiteY30864"/>
              </a:cxn>
              <a:cxn ang="0">
                <a:pos x="connsiteX30865" y="connsiteY30865"/>
              </a:cxn>
              <a:cxn ang="0">
                <a:pos x="connsiteX30866" y="connsiteY30866"/>
              </a:cxn>
              <a:cxn ang="0">
                <a:pos x="connsiteX30867" y="connsiteY30867"/>
              </a:cxn>
              <a:cxn ang="0">
                <a:pos x="connsiteX30868" y="connsiteY30868"/>
              </a:cxn>
              <a:cxn ang="0">
                <a:pos x="connsiteX30869" y="connsiteY30869"/>
              </a:cxn>
              <a:cxn ang="0">
                <a:pos x="connsiteX30870" y="connsiteY30870"/>
              </a:cxn>
              <a:cxn ang="0">
                <a:pos x="connsiteX30871" y="connsiteY30871"/>
              </a:cxn>
              <a:cxn ang="0">
                <a:pos x="connsiteX30872" y="connsiteY30872"/>
              </a:cxn>
              <a:cxn ang="0">
                <a:pos x="connsiteX30873" y="connsiteY30873"/>
              </a:cxn>
              <a:cxn ang="0">
                <a:pos x="connsiteX30874" y="connsiteY30874"/>
              </a:cxn>
              <a:cxn ang="0">
                <a:pos x="connsiteX30875" y="connsiteY30875"/>
              </a:cxn>
              <a:cxn ang="0">
                <a:pos x="connsiteX30876" y="connsiteY30876"/>
              </a:cxn>
              <a:cxn ang="0">
                <a:pos x="connsiteX30877" y="connsiteY30877"/>
              </a:cxn>
              <a:cxn ang="0">
                <a:pos x="connsiteX30878" y="connsiteY30878"/>
              </a:cxn>
              <a:cxn ang="0">
                <a:pos x="connsiteX30879" y="connsiteY30879"/>
              </a:cxn>
              <a:cxn ang="0">
                <a:pos x="connsiteX30880" y="connsiteY30880"/>
              </a:cxn>
              <a:cxn ang="0">
                <a:pos x="connsiteX30881" y="connsiteY30881"/>
              </a:cxn>
              <a:cxn ang="0">
                <a:pos x="connsiteX30882" y="connsiteY30882"/>
              </a:cxn>
              <a:cxn ang="0">
                <a:pos x="connsiteX30883" y="connsiteY30883"/>
              </a:cxn>
              <a:cxn ang="0">
                <a:pos x="connsiteX30884" y="connsiteY30884"/>
              </a:cxn>
              <a:cxn ang="0">
                <a:pos x="connsiteX30885" y="connsiteY30885"/>
              </a:cxn>
              <a:cxn ang="0">
                <a:pos x="connsiteX30886" y="connsiteY30886"/>
              </a:cxn>
              <a:cxn ang="0">
                <a:pos x="connsiteX30887" y="connsiteY30887"/>
              </a:cxn>
              <a:cxn ang="0">
                <a:pos x="connsiteX30888" y="connsiteY30888"/>
              </a:cxn>
              <a:cxn ang="0">
                <a:pos x="connsiteX30889" y="connsiteY30889"/>
              </a:cxn>
              <a:cxn ang="0">
                <a:pos x="connsiteX30890" y="connsiteY30890"/>
              </a:cxn>
              <a:cxn ang="0">
                <a:pos x="connsiteX30891" y="connsiteY30891"/>
              </a:cxn>
              <a:cxn ang="0">
                <a:pos x="connsiteX30892" y="connsiteY30892"/>
              </a:cxn>
              <a:cxn ang="0">
                <a:pos x="connsiteX30893" y="connsiteY30893"/>
              </a:cxn>
              <a:cxn ang="0">
                <a:pos x="connsiteX30894" y="connsiteY30894"/>
              </a:cxn>
              <a:cxn ang="0">
                <a:pos x="connsiteX30895" y="connsiteY30895"/>
              </a:cxn>
              <a:cxn ang="0">
                <a:pos x="connsiteX30896" y="connsiteY30896"/>
              </a:cxn>
              <a:cxn ang="0">
                <a:pos x="connsiteX30897" y="connsiteY30897"/>
              </a:cxn>
              <a:cxn ang="0">
                <a:pos x="connsiteX30898" y="connsiteY30898"/>
              </a:cxn>
              <a:cxn ang="0">
                <a:pos x="connsiteX30899" y="connsiteY30899"/>
              </a:cxn>
              <a:cxn ang="0">
                <a:pos x="connsiteX30900" y="connsiteY30900"/>
              </a:cxn>
              <a:cxn ang="0">
                <a:pos x="connsiteX30901" y="connsiteY30901"/>
              </a:cxn>
              <a:cxn ang="0">
                <a:pos x="connsiteX30902" y="connsiteY30902"/>
              </a:cxn>
              <a:cxn ang="0">
                <a:pos x="connsiteX30903" y="connsiteY30903"/>
              </a:cxn>
              <a:cxn ang="0">
                <a:pos x="connsiteX30904" y="connsiteY30904"/>
              </a:cxn>
              <a:cxn ang="0">
                <a:pos x="connsiteX30905" y="connsiteY30905"/>
              </a:cxn>
              <a:cxn ang="0">
                <a:pos x="connsiteX30906" y="connsiteY30906"/>
              </a:cxn>
              <a:cxn ang="0">
                <a:pos x="connsiteX30907" y="connsiteY30907"/>
              </a:cxn>
              <a:cxn ang="0">
                <a:pos x="connsiteX30908" y="connsiteY30908"/>
              </a:cxn>
              <a:cxn ang="0">
                <a:pos x="connsiteX30909" y="connsiteY30909"/>
              </a:cxn>
              <a:cxn ang="0">
                <a:pos x="connsiteX30910" y="connsiteY30910"/>
              </a:cxn>
              <a:cxn ang="0">
                <a:pos x="connsiteX30911" y="connsiteY30911"/>
              </a:cxn>
              <a:cxn ang="0">
                <a:pos x="connsiteX30912" y="connsiteY30912"/>
              </a:cxn>
              <a:cxn ang="0">
                <a:pos x="connsiteX30913" y="connsiteY30913"/>
              </a:cxn>
              <a:cxn ang="0">
                <a:pos x="connsiteX30914" y="connsiteY30914"/>
              </a:cxn>
              <a:cxn ang="0">
                <a:pos x="connsiteX30915" y="connsiteY30915"/>
              </a:cxn>
              <a:cxn ang="0">
                <a:pos x="connsiteX30916" y="connsiteY30916"/>
              </a:cxn>
              <a:cxn ang="0">
                <a:pos x="connsiteX30917" y="connsiteY30917"/>
              </a:cxn>
              <a:cxn ang="0">
                <a:pos x="connsiteX30918" y="connsiteY30918"/>
              </a:cxn>
              <a:cxn ang="0">
                <a:pos x="connsiteX30919" y="connsiteY30919"/>
              </a:cxn>
              <a:cxn ang="0">
                <a:pos x="connsiteX30920" y="connsiteY30920"/>
              </a:cxn>
              <a:cxn ang="0">
                <a:pos x="connsiteX30921" y="connsiteY30921"/>
              </a:cxn>
              <a:cxn ang="0">
                <a:pos x="connsiteX30922" y="connsiteY30922"/>
              </a:cxn>
              <a:cxn ang="0">
                <a:pos x="connsiteX30923" y="connsiteY30923"/>
              </a:cxn>
              <a:cxn ang="0">
                <a:pos x="connsiteX30924" y="connsiteY30924"/>
              </a:cxn>
              <a:cxn ang="0">
                <a:pos x="connsiteX30925" y="connsiteY30925"/>
              </a:cxn>
              <a:cxn ang="0">
                <a:pos x="connsiteX30926" y="connsiteY30926"/>
              </a:cxn>
              <a:cxn ang="0">
                <a:pos x="connsiteX30927" y="connsiteY30927"/>
              </a:cxn>
              <a:cxn ang="0">
                <a:pos x="connsiteX30928" y="connsiteY30928"/>
              </a:cxn>
              <a:cxn ang="0">
                <a:pos x="connsiteX30929" y="connsiteY30929"/>
              </a:cxn>
              <a:cxn ang="0">
                <a:pos x="connsiteX30930" y="connsiteY30930"/>
              </a:cxn>
              <a:cxn ang="0">
                <a:pos x="connsiteX30931" y="connsiteY30931"/>
              </a:cxn>
              <a:cxn ang="0">
                <a:pos x="connsiteX30932" y="connsiteY30932"/>
              </a:cxn>
              <a:cxn ang="0">
                <a:pos x="connsiteX30933" y="connsiteY30933"/>
              </a:cxn>
              <a:cxn ang="0">
                <a:pos x="connsiteX30934" y="connsiteY30934"/>
              </a:cxn>
              <a:cxn ang="0">
                <a:pos x="connsiteX30935" y="connsiteY30935"/>
              </a:cxn>
              <a:cxn ang="0">
                <a:pos x="connsiteX30936" y="connsiteY30936"/>
              </a:cxn>
              <a:cxn ang="0">
                <a:pos x="connsiteX30937" y="connsiteY30937"/>
              </a:cxn>
              <a:cxn ang="0">
                <a:pos x="connsiteX30938" y="connsiteY30938"/>
              </a:cxn>
              <a:cxn ang="0">
                <a:pos x="connsiteX30939" y="connsiteY30939"/>
              </a:cxn>
              <a:cxn ang="0">
                <a:pos x="connsiteX30940" y="connsiteY30940"/>
              </a:cxn>
              <a:cxn ang="0">
                <a:pos x="connsiteX30941" y="connsiteY30941"/>
              </a:cxn>
              <a:cxn ang="0">
                <a:pos x="connsiteX30942" y="connsiteY30942"/>
              </a:cxn>
              <a:cxn ang="0">
                <a:pos x="connsiteX30943" y="connsiteY30943"/>
              </a:cxn>
              <a:cxn ang="0">
                <a:pos x="connsiteX30944" y="connsiteY30944"/>
              </a:cxn>
              <a:cxn ang="0">
                <a:pos x="connsiteX30945" y="connsiteY30945"/>
              </a:cxn>
              <a:cxn ang="0">
                <a:pos x="connsiteX30946" y="connsiteY30946"/>
              </a:cxn>
              <a:cxn ang="0">
                <a:pos x="connsiteX30947" y="connsiteY30947"/>
              </a:cxn>
              <a:cxn ang="0">
                <a:pos x="connsiteX30948" y="connsiteY30948"/>
              </a:cxn>
              <a:cxn ang="0">
                <a:pos x="connsiteX30949" y="connsiteY30949"/>
              </a:cxn>
              <a:cxn ang="0">
                <a:pos x="connsiteX30950" y="connsiteY30950"/>
              </a:cxn>
              <a:cxn ang="0">
                <a:pos x="connsiteX30951" y="connsiteY30951"/>
              </a:cxn>
              <a:cxn ang="0">
                <a:pos x="connsiteX30952" y="connsiteY30952"/>
              </a:cxn>
              <a:cxn ang="0">
                <a:pos x="connsiteX30953" y="connsiteY30953"/>
              </a:cxn>
              <a:cxn ang="0">
                <a:pos x="connsiteX30954" y="connsiteY30954"/>
              </a:cxn>
              <a:cxn ang="0">
                <a:pos x="connsiteX30955" y="connsiteY30955"/>
              </a:cxn>
              <a:cxn ang="0">
                <a:pos x="connsiteX30956" y="connsiteY30956"/>
              </a:cxn>
              <a:cxn ang="0">
                <a:pos x="connsiteX30957" y="connsiteY30957"/>
              </a:cxn>
              <a:cxn ang="0">
                <a:pos x="connsiteX30958" y="connsiteY30958"/>
              </a:cxn>
              <a:cxn ang="0">
                <a:pos x="connsiteX30959" y="connsiteY30959"/>
              </a:cxn>
              <a:cxn ang="0">
                <a:pos x="connsiteX30960" y="connsiteY30960"/>
              </a:cxn>
              <a:cxn ang="0">
                <a:pos x="connsiteX30961" y="connsiteY30961"/>
              </a:cxn>
              <a:cxn ang="0">
                <a:pos x="connsiteX30962" y="connsiteY30962"/>
              </a:cxn>
              <a:cxn ang="0">
                <a:pos x="connsiteX30963" y="connsiteY30963"/>
              </a:cxn>
              <a:cxn ang="0">
                <a:pos x="connsiteX30964" y="connsiteY30964"/>
              </a:cxn>
              <a:cxn ang="0">
                <a:pos x="connsiteX30965" y="connsiteY30965"/>
              </a:cxn>
              <a:cxn ang="0">
                <a:pos x="connsiteX30966" y="connsiteY30966"/>
              </a:cxn>
              <a:cxn ang="0">
                <a:pos x="connsiteX30967" y="connsiteY30967"/>
              </a:cxn>
              <a:cxn ang="0">
                <a:pos x="connsiteX30968" y="connsiteY30968"/>
              </a:cxn>
              <a:cxn ang="0">
                <a:pos x="connsiteX30969" y="connsiteY30969"/>
              </a:cxn>
              <a:cxn ang="0">
                <a:pos x="connsiteX30970" y="connsiteY30970"/>
              </a:cxn>
              <a:cxn ang="0">
                <a:pos x="connsiteX30971" y="connsiteY30971"/>
              </a:cxn>
              <a:cxn ang="0">
                <a:pos x="connsiteX30972" y="connsiteY30972"/>
              </a:cxn>
              <a:cxn ang="0">
                <a:pos x="connsiteX30973" y="connsiteY30973"/>
              </a:cxn>
              <a:cxn ang="0">
                <a:pos x="connsiteX30974" y="connsiteY30974"/>
              </a:cxn>
              <a:cxn ang="0">
                <a:pos x="connsiteX30975" y="connsiteY30975"/>
              </a:cxn>
              <a:cxn ang="0">
                <a:pos x="connsiteX30976" y="connsiteY30976"/>
              </a:cxn>
              <a:cxn ang="0">
                <a:pos x="connsiteX30977" y="connsiteY30977"/>
              </a:cxn>
              <a:cxn ang="0">
                <a:pos x="connsiteX30978" y="connsiteY30978"/>
              </a:cxn>
              <a:cxn ang="0">
                <a:pos x="connsiteX30979" y="connsiteY30979"/>
              </a:cxn>
              <a:cxn ang="0">
                <a:pos x="connsiteX30980" y="connsiteY30980"/>
              </a:cxn>
              <a:cxn ang="0">
                <a:pos x="connsiteX30981" y="connsiteY30981"/>
              </a:cxn>
              <a:cxn ang="0">
                <a:pos x="connsiteX30982" y="connsiteY30982"/>
              </a:cxn>
              <a:cxn ang="0">
                <a:pos x="connsiteX30983" y="connsiteY30983"/>
              </a:cxn>
              <a:cxn ang="0">
                <a:pos x="connsiteX30984" y="connsiteY30984"/>
              </a:cxn>
              <a:cxn ang="0">
                <a:pos x="connsiteX30985" y="connsiteY30985"/>
              </a:cxn>
              <a:cxn ang="0">
                <a:pos x="connsiteX30986" y="connsiteY30986"/>
              </a:cxn>
              <a:cxn ang="0">
                <a:pos x="connsiteX30987" y="connsiteY30987"/>
              </a:cxn>
              <a:cxn ang="0">
                <a:pos x="connsiteX30988" y="connsiteY30988"/>
              </a:cxn>
              <a:cxn ang="0">
                <a:pos x="connsiteX30989" y="connsiteY30989"/>
              </a:cxn>
              <a:cxn ang="0">
                <a:pos x="connsiteX30990" y="connsiteY30990"/>
              </a:cxn>
              <a:cxn ang="0">
                <a:pos x="connsiteX30991" y="connsiteY30991"/>
              </a:cxn>
              <a:cxn ang="0">
                <a:pos x="connsiteX30992" y="connsiteY30992"/>
              </a:cxn>
              <a:cxn ang="0">
                <a:pos x="connsiteX30993" y="connsiteY30993"/>
              </a:cxn>
              <a:cxn ang="0">
                <a:pos x="connsiteX30994" y="connsiteY30994"/>
              </a:cxn>
              <a:cxn ang="0">
                <a:pos x="connsiteX30995" y="connsiteY30995"/>
              </a:cxn>
              <a:cxn ang="0">
                <a:pos x="connsiteX30996" y="connsiteY30996"/>
              </a:cxn>
              <a:cxn ang="0">
                <a:pos x="connsiteX30997" y="connsiteY30997"/>
              </a:cxn>
              <a:cxn ang="0">
                <a:pos x="connsiteX30998" y="connsiteY30998"/>
              </a:cxn>
              <a:cxn ang="0">
                <a:pos x="connsiteX30999" y="connsiteY30999"/>
              </a:cxn>
              <a:cxn ang="0">
                <a:pos x="connsiteX31000" y="connsiteY31000"/>
              </a:cxn>
              <a:cxn ang="0">
                <a:pos x="connsiteX31001" y="connsiteY31001"/>
              </a:cxn>
              <a:cxn ang="0">
                <a:pos x="connsiteX31002" y="connsiteY31002"/>
              </a:cxn>
              <a:cxn ang="0">
                <a:pos x="connsiteX31003" y="connsiteY31003"/>
              </a:cxn>
              <a:cxn ang="0">
                <a:pos x="connsiteX31004" y="connsiteY31004"/>
              </a:cxn>
              <a:cxn ang="0">
                <a:pos x="connsiteX31005" y="connsiteY31005"/>
              </a:cxn>
              <a:cxn ang="0">
                <a:pos x="connsiteX31006" y="connsiteY31006"/>
              </a:cxn>
              <a:cxn ang="0">
                <a:pos x="connsiteX31007" y="connsiteY31007"/>
              </a:cxn>
              <a:cxn ang="0">
                <a:pos x="connsiteX31008" y="connsiteY31008"/>
              </a:cxn>
              <a:cxn ang="0">
                <a:pos x="connsiteX31009" y="connsiteY31009"/>
              </a:cxn>
              <a:cxn ang="0">
                <a:pos x="connsiteX31010" y="connsiteY31010"/>
              </a:cxn>
              <a:cxn ang="0">
                <a:pos x="connsiteX31011" y="connsiteY31011"/>
              </a:cxn>
              <a:cxn ang="0">
                <a:pos x="connsiteX31012" y="connsiteY31012"/>
              </a:cxn>
              <a:cxn ang="0">
                <a:pos x="connsiteX31013" y="connsiteY31013"/>
              </a:cxn>
              <a:cxn ang="0">
                <a:pos x="connsiteX31014" y="connsiteY31014"/>
              </a:cxn>
              <a:cxn ang="0">
                <a:pos x="connsiteX31015" y="connsiteY31015"/>
              </a:cxn>
              <a:cxn ang="0">
                <a:pos x="connsiteX31016" y="connsiteY31016"/>
              </a:cxn>
              <a:cxn ang="0">
                <a:pos x="connsiteX31017" y="connsiteY31017"/>
              </a:cxn>
              <a:cxn ang="0">
                <a:pos x="connsiteX31018" y="connsiteY31018"/>
              </a:cxn>
              <a:cxn ang="0">
                <a:pos x="connsiteX31019" y="connsiteY31019"/>
              </a:cxn>
              <a:cxn ang="0">
                <a:pos x="connsiteX31020" y="connsiteY31020"/>
              </a:cxn>
              <a:cxn ang="0">
                <a:pos x="connsiteX31021" y="connsiteY31021"/>
              </a:cxn>
              <a:cxn ang="0">
                <a:pos x="connsiteX31022" y="connsiteY31022"/>
              </a:cxn>
              <a:cxn ang="0">
                <a:pos x="connsiteX31023" y="connsiteY31023"/>
              </a:cxn>
              <a:cxn ang="0">
                <a:pos x="connsiteX31024" y="connsiteY31024"/>
              </a:cxn>
              <a:cxn ang="0">
                <a:pos x="connsiteX31025" y="connsiteY31025"/>
              </a:cxn>
              <a:cxn ang="0">
                <a:pos x="connsiteX31026" y="connsiteY31026"/>
              </a:cxn>
              <a:cxn ang="0">
                <a:pos x="connsiteX31027" y="connsiteY31027"/>
              </a:cxn>
              <a:cxn ang="0">
                <a:pos x="connsiteX31028" y="connsiteY31028"/>
              </a:cxn>
              <a:cxn ang="0">
                <a:pos x="connsiteX31029" y="connsiteY31029"/>
              </a:cxn>
              <a:cxn ang="0">
                <a:pos x="connsiteX31030" y="connsiteY31030"/>
              </a:cxn>
              <a:cxn ang="0">
                <a:pos x="connsiteX31031" y="connsiteY31031"/>
              </a:cxn>
              <a:cxn ang="0">
                <a:pos x="connsiteX31032" y="connsiteY31032"/>
              </a:cxn>
              <a:cxn ang="0">
                <a:pos x="connsiteX31033" y="connsiteY31033"/>
              </a:cxn>
              <a:cxn ang="0">
                <a:pos x="connsiteX31034" y="connsiteY31034"/>
              </a:cxn>
              <a:cxn ang="0">
                <a:pos x="connsiteX31035" y="connsiteY31035"/>
              </a:cxn>
              <a:cxn ang="0">
                <a:pos x="connsiteX31036" y="connsiteY31036"/>
              </a:cxn>
              <a:cxn ang="0">
                <a:pos x="connsiteX31037" y="connsiteY31037"/>
              </a:cxn>
              <a:cxn ang="0">
                <a:pos x="connsiteX31038" y="connsiteY31038"/>
              </a:cxn>
              <a:cxn ang="0">
                <a:pos x="connsiteX31039" y="connsiteY31039"/>
              </a:cxn>
              <a:cxn ang="0">
                <a:pos x="connsiteX31040" y="connsiteY31040"/>
              </a:cxn>
              <a:cxn ang="0">
                <a:pos x="connsiteX31041" y="connsiteY31041"/>
              </a:cxn>
              <a:cxn ang="0">
                <a:pos x="connsiteX31042" y="connsiteY31042"/>
              </a:cxn>
              <a:cxn ang="0">
                <a:pos x="connsiteX31043" y="connsiteY31043"/>
              </a:cxn>
              <a:cxn ang="0">
                <a:pos x="connsiteX31044" y="connsiteY31044"/>
              </a:cxn>
              <a:cxn ang="0">
                <a:pos x="connsiteX31045" y="connsiteY31045"/>
              </a:cxn>
              <a:cxn ang="0">
                <a:pos x="connsiteX31046" y="connsiteY31046"/>
              </a:cxn>
              <a:cxn ang="0">
                <a:pos x="connsiteX31047" y="connsiteY31047"/>
              </a:cxn>
              <a:cxn ang="0">
                <a:pos x="connsiteX31048" y="connsiteY31048"/>
              </a:cxn>
              <a:cxn ang="0">
                <a:pos x="connsiteX31049" y="connsiteY31049"/>
              </a:cxn>
              <a:cxn ang="0">
                <a:pos x="connsiteX31050" y="connsiteY31050"/>
              </a:cxn>
              <a:cxn ang="0">
                <a:pos x="connsiteX31051" y="connsiteY31051"/>
              </a:cxn>
              <a:cxn ang="0">
                <a:pos x="connsiteX31052" y="connsiteY31052"/>
              </a:cxn>
              <a:cxn ang="0">
                <a:pos x="connsiteX31053" y="connsiteY31053"/>
              </a:cxn>
              <a:cxn ang="0">
                <a:pos x="connsiteX31054" y="connsiteY31054"/>
              </a:cxn>
              <a:cxn ang="0">
                <a:pos x="connsiteX31055" y="connsiteY31055"/>
              </a:cxn>
              <a:cxn ang="0">
                <a:pos x="connsiteX31056" y="connsiteY31056"/>
              </a:cxn>
              <a:cxn ang="0">
                <a:pos x="connsiteX31057" y="connsiteY31057"/>
              </a:cxn>
              <a:cxn ang="0">
                <a:pos x="connsiteX31058" y="connsiteY31058"/>
              </a:cxn>
              <a:cxn ang="0">
                <a:pos x="connsiteX31059" y="connsiteY31059"/>
              </a:cxn>
              <a:cxn ang="0">
                <a:pos x="connsiteX31060" y="connsiteY31060"/>
              </a:cxn>
              <a:cxn ang="0">
                <a:pos x="connsiteX31061" y="connsiteY31061"/>
              </a:cxn>
              <a:cxn ang="0">
                <a:pos x="connsiteX31062" y="connsiteY31062"/>
              </a:cxn>
              <a:cxn ang="0">
                <a:pos x="connsiteX31063" y="connsiteY31063"/>
              </a:cxn>
              <a:cxn ang="0">
                <a:pos x="connsiteX31064" y="connsiteY31064"/>
              </a:cxn>
              <a:cxn ang="0">
                <a:pos x="connsiteX31065" y="connsiteY31065"/>
              </a:cxn>
              <a:cxn ang="0">
                <a:pos x="connsiteX31066" y="connsiteY31066"/>
              </a:cxn>
              <a:cxn ang="0">
                <a:pos x="connsiteX31067" y="connsiteY31067"/>
              </a:cxn>
              <a:cxn ang="0">
                <a:pos x="connsiteX31068" y="connsiteY31068"/>
              </a:cxn>
              <a:cxn ang="0">
                <a:pos x="connsiteX31069" y="connsiteY31069"/>
              </a:cxn>
              <a:cxn ang="0">
                <a:pos x="connsiteX31070" y="connsiteY31070"/>
              </a:cxn>
              <a:cxn ang="0">
                <a:pos x="connsiteX31071" y="connsiteY31071"/>
              </a:cxn>
              <a:cxn ang="0">
                <a:pos x="connsiteX31072" y="connsiteY31072"/>
              </a:cxn>
              <a:cxn ang="0">
                <a:pos x="connsiteX31073" y="connsiteY31073"/>
              </a:cxn>
              <a:cxn ang="0">
                <a:pos x="connsiteX31074" y="connsiteY31074"/>
              </a:cxn>
              <a:cxn ang="0">
                <a:pos x="connsiteX31075" y="connsiteY31075"/>
              </a:cxn>
              <a:cxn ang="0">
                <a:pos x="connsiteX31076" y="connsiteY31076"/>
              </a:cxn>
              <a:cxn ang="0">
                <a:pos x="connsiteX31077" y="connsiteY31077"/>
              </a:cxn>
              <a:cxn ang="0">
                <a:pos x="connsiteX31078" y="connsiteY31078"/>
              </a:cxn>
              <a:cxn ang="0">
                <a:pos x="connsiteX31079" y="connsiteY31079"/>
              </a:cxn>
              <a:cxn ang="0">
                <a:pos x="connsiteX31080" y="connsiteY31080"/>
              </a:cxn>
              <a:cxn ang="0">
                <a:pos x="connsiteX31081" y="connsiteY31081"/>
              </a:cxn>
              <a:cxn ang="0">
                <a:pos x="connsiteX31082" y="connsiteY31082"/>
              </a:cxn>
              <a:cxn ang="0">
                <a:pos x="connsiteX31083" y="connsiteY31083"/>
              </a:cxn>
              <a:cxn ang="0">
                <a:pos x="connsiteX31084" y="connsiteY31084"/>
              </a:cxn>
              <a:cxn ang="0">
                <a:pos x="connsiteX31085" y="connsiteY31085"/>
              </a:cxn>
              <a:cxn ang="0">
                <a:pos x="connsiteX31086" y="connsiteY31086"/>
              </a:cxn>
              <a:cxn ang="0">
                <a:pos x="connsiteX31087" y="connsiteY31087"/>
              </a:cxn>
              <a:cxn ang="0">
                <a:pos x="connsiteX31088" y="connsiteY31088"/>
              </a:cxn>
              <a:cxn ang="0">
                <a:pos x="connsiteX31089" y="connsiteY31089"/>
              </a:cxn>
              <a:cxn ang="0">
                <a:pos x="connsiteX31090" y="connsiteY31090"/>
              </a:cxn>
              <a:cxn ang="0">
                <a:pos x="connsiteX31091" y="connsiteY31091"/>
              </a:cxn>
              <a:cxn ang="0">
                <a:pos x="connsiteX31092" y="connsiteY31092"/>
              </a:cxn>
              <a:cxn ang="0">
                <a:pos x="connsiteX31093" y="connsiteY31093"/>
              </a:cxn>
              <a:cxn ang="0">
                <a:pos x="connsiteX31094" y="connsiteY31094"/>
              </a:cxn>
              <a:cxn ang="0">
                <a:pos x="connsiteX31095" y="connsiteY31095"/>
              </a:cxn>
              <a:cxn ang="0">
                <a:pos x="connsiteX31096" y="connsiteY31096"/>
              </a:cxn>
              <a:cxn ang="0">
                <a:pos x="connsiteX31097" y="connsiteY31097"/>
              </a:cxn>
              <a:cxn ang="0">
                <a:pos x="connsiteX31098" y="connsiteY31098"/>
              </a:cxn>
              <a:cxn ang="0">
                <a:pos x="connsiteX31099" y="connsiteY31099"/>
              </a:cxn>
              <a:cxn ang="0">
                <a:pos x="connsiteX31100" y="connsiteY31100"/>
              </a:cxn>
              <a:cxn ang="0">
                <a:pos x="connsiteX31101" y="connsiteY31101"/>
              </a:cxn>
              <a:cxn ang="0">
                <a:pos x="connsiteX31102" y="connsiteY31102"/>
              </a:cxn>
              <a:cxn ang="0">
                <a:pos x="connsiteX31103" y="connsiteY31103"/>
              </a:cxn>
              <a:cxn ang="0">
                <a:pos x="connsiteX31104" y="connsiteY31104"/>
              </a:cxn>
              <a:cxn ang="0">
                <a:pos x="connsiteX31105" y="connsiteY31105"/>
              </a:cxn>
              <a:cxn ang="0">
                <a:pos x="connsiteX31106" y="connsiteY31106"/>
              </a:cxn>
              <a:cxn ang="0">
                <a:pos x="connsiteX31107" y="connsiteY31107"/>
              </a:cxn>
              <a:cxn ang="0">
                <a:pos x="connsiteX31108" y="connsiteY31108"/>
              </a:cxn>
              <a:cxn ang="0">
                <a:pos x="connsiteX31109" y="connsiteY31109"/>
              </a:cxn>
              <a:cxn ang="0">
                <a:pos x="connsiteX31110" y="connsiteY31110"/>
              </a:cxn>
              <a:cxn ang="0">
                <a:pos x="connsiteX31111" y="connsiteY31111"/>
              </a:cxn>
              <a:cxn ang="0">
                <a:pos x="connsiteX31112" y="connsiteY31112"/>
              </a:cxn>
              <a:cxn ang="0">
                <a:pos x="connsiteX31113" y="connsiteY31113"/>
              </a:cxn>
              <a:cxn ang="0">
                <a:pos x="connsiteX31114" y="connsiteY31114"/>
              </a:cxn>
              <a:cxn ang="0">
                <a:pos x="connsiteX31115" y="connsiteY31115"/>
              </a:cxn>
              <a:cxn ang="0">
                <a:pos x="connsiteX31116" y="connsiteY31116"/>
              </a:cxn>
              <a:cxn ang="0">
                <a:pos x="connsiteX31117" y="connsiteY31117"/>
              </a:cxn>
              <a:cxn ang="0">
                <a:pos x="connsiteX31118" y="connsiteY31118"/>
              </a:cxn>
              <a:cxn ang="0">
                <a:pos x="connsiteX31119" y="connsiteY31119"/>
              </a:cxn>
              <a:cxn ang="0">
                <a:pos x="connsiteX31120" y="connsiteY31120"/>
              </a:cxn>
              <a:cxn ang="0">
                <a:pos x="connsiteX31121" y="connsiteY31121"/>
              </a:cxn>
              <a:cxn ang="0">
                <a:pos x="connsiteX31122" y="connsiteY31122"/>
              </a:cxn>
              <a:cxn ang="0">
                <a:pos x="connsiteX31123" y="connsiteY31123"/>
              </a:cxn>
              <a:cxn ang="0">
                <a:pos x="connsiteX31124" y="connsiteY31124"/>
              </a:cxn>
              <a:cxn ang="0">
                <a:pos x="connsiteX31125" y="connsiteY31125"/>
              </a:cxn>
              <a:cxn ang="0">
                <a:pos x="connsiteX31126" y="connsiteY31126"/>
              </a:cxn>
              <a:cxn ang="0">
                <a:pos x="connsiteX31127" y="connsiteY31127"/>
              </a:cxn>
              <a:cxn ang="0">
                <a:pos x="connsiteX31128" y="connsiteY31128"/>
              </a:cxn>
              <a:cxn ang="0">
                <a:pos x="connsiteX31129" y="connsiteY31129"/>
              </a:cxn>
              <a:cxn ang="0">
                <a:pos x="connsiteX31130" y="connsiteY31130"/>
              </a:cxn>
              <a:cxn ang="0">
                <a:pos x="connsiteX31131" y="connsiteY31131"/>
              </a:cxn>
              <a:cxn ang="0">
                <a:pos x="connsiteX31132" y="connsiteY31132"/>
              </a:cxn>
              <a:cxn ang="0">
                <a:pos x="connsiteX31133" y="connsiteY31133"/>
              </a:cxn>
              <a:cxn ang="0">
                <a:pos x="connsiteX31134" y="connsiteY31134"/>
              </a:cxn>
              <a:cxn ang="0">
                <a:pos x="connsiteX31135" y="connsiteY31135"/>
              </a:cxn>
              <a:cxn ang="0">
                <a:pos x="connsiteX31136" y="connsiteY31136"/>
              </a:cxn>
              <a:cxn ang="0">
                <a:pos x="connsiteX31137" y="connsiteY31137"/>
              </a:cxn>
              <a:cxn ang="0">
                <a:pos x="connsiteX31138" y="connsiteY31138"/>
              </a:cxn>
              <a:cxn ang="0">
                <a:pos x="connsiteX31139" y="connsiteY31139"/>
              </a:cxn>
              <a:cxn ang="0">
                <a:pos x="connsiteX31140" y="connsiteY31140"/>
              </a:cxn>
              <a:cxn ang="0">
                <a:pos x="connsiteX31141" y="connsiteY31141"/>
              </a:cxn>
              <a:cxn ang="0">
                <a:pos x="connsiteX31142" y="connsiteY31142"/>
              </a:cxn>
              <a:cxn ang="0">
                <a:pos x="connsiteX31143" y="connsiteY31143"/>
              </a:cxn>
              <a:cxn ang="0">
                <a:pos x="connsiteX31144" y="connsiteY31144"/>
              </a:cxn>
              <a:cxn ang="0">
                <a:pos x="connsiteX31145" y="connsiteY31145"/>
              </a:cxn>
              <a:cxn ang="0">
                <a:pos x="connsiteX31146" y="connsiteY31146"/>
              </a:cxn>
              <a:cxn ang="0">
                <a:pos x="connsiteX31147" y="connsiteY31147"/>
              </a:cxn>
              <a:cxn ang="0">
                <a:pos x="connsiteX31148" y="connsiteY31148"/>
              </a:cxn>
              <a:cxn ang="0">
                <a:pos x="connsiteX31149" y="connsiteY31149"/>
              </a:cxn>
              <a:cxn ang="0">
                <a:pos x="connsiteX31150" y="connsiteY31150"/>
              </a:cxn>
              <a:cxn ang="0">
                <a:pos x="connsiteX31151" y="connsiteY31151"/>
              </a:cxn>
              <a:cxn ang="0">
                <a:pos x="connsiteX31152" y="connsiteY31152"/>
              </a:cxn>
              <a:cxn ang="0">
                <a:pos x="connsiteX31153" y="connsiteY31153"/>
              </a:cxn>
              <a:cxn ang="0">
                <a:pos x="connsiteX31154" y="connsiteY31154"/>
              </a:cxn>
              <a:cxn ang="0">
                <a:pos x="connsiteX31155" y="connsiteY31155"/>
              </a:cxn>
              <a:cxn ang="0">
                <a:pos x="connsiteX31156" y="connsiteY31156"/>
              </a:cxn>
              <a:cxn ang="0">
                <a:pos x="connsiteX31157" y="connsiteY31157"/>
              </a:cxn>
              <a:cxn ang="0">
                <a:pos x="connsiteX31158" y="connsiteY31158"/>
              </a:cxn>
              <a:cxn ang="0">
                <a:pos x="connsiteX31159" y="connsiteY31159"/>
              </a:cxn>
              <a:cxn ang="0">
                <a:pos x="connsiteX31160" y="connsiteY31160"/>
              </a:cxn>
              <a:cxn ang="0">
                <a:pos x="connsiteX31161" y="connsiteY31161"/>
              </a:cxn>
              <a:cxn ang="0">
                <a:pos x="connsiteX31162" y="connsiteY31162"/>
              </a:cxn>
              <a:cxn ang="0">
                <a:pos x="connsiteX31163" y="connsiteY31163"/>
              </a:cxn>
              <a:cxn ang="0">
                <a:pos x="connsiteX31164" y="connsiteY31164"/>
              </a:cxn>
              <a:cxn ang="0">
                <a:pos x="connsiteX31165" y="connsiteY31165"/>
              </a:cxn>
              <a:cxn ang="0">
                <a:pos x="connsiteX31166" y="connsiteY31166"/>
              </a:cxn>
              <a:cxn ang="0">
                <a:pos x="connsiteX31167" y="connsiteY31167"/>
              </a:cxn>
              <a:cxn ang="0">
                <a:pos x="connsiteX31168" y="connsiteY31168"/>
              </a:cxn>
              <a:cxn ang="0">
                <a:pos x="connsiteX31169" y="connsiteY31169"/>
              </a:cxn>
              <a:cxn ang="0">
                <a:pos x="connsiteX31170" y="connsiteY31170"/>
              </a:cxn>
              <a:cxn ang="0">
                <a:pos x="connsiteX31171" y="connsiteY31171"/>
              </a:cxn>
              <a:cxn ang="0">
                <a:pos x="connsiteX31172" y="connsiteY31172"/>
              </a:cxn>
              <a:cxn ang="0">
                <a:pos x="connsiteX31173" y="connsiteY31173"/>
              </a:cxn>
              <a:cxn ang="0">
                <a:pos x="connsiteX31174" y="connsiteY31174"/>
              </a:cxn>
              <a:cxn ang="0">
                <a:pos x="connsiteX31175" y="connsiteY31175"/>
              </a:cxn>
              <a:cxn ang="0">
                <a:pos x="connsiteX31176" y="connsiteY31176"/>
              </a:cxn>
              <a:cxn ang="0">
                <a:pos x="connsiteX31177" y="connsiteY31177"/>
              </a:cxn>
              <a:cxn ang="0">
                <a:pos x="connsiteX31178" y="connsiteY31178"/>
              </a:cxn>
              <a:cxn ang="0">
                <a:pos x="connsiteX31179" y="connsiteY31179"/>
              </a:cxn>
              <a:cxn ang="0">
                <a:pos x="connsiteX31180" y="connsiteY31180"/>
              </a:cxn>
              <a:cxn ang="0">
                <a:pos x="connsiteX31181" y="connsiteY31181"/>
              </a:cxn>
              <a:cxn ang="0">
                <a:pos x="connsiteX31182" y="connsiteY31182"/>
              </a:cxn>
              <a:cxn ang="0">
                <a:pos x="connsiteX31183" y="connsiteY31183"/>
              </a:cxn>
              <a:cxn ang="0">
                <a:pos x="connsiteX31184" y="connsiteY31184"/>
              </a:cxn>
              <a:cxn ang="0">
                <a:pos x="connsiteX31185" y="connsiteY31185"/>
              </a:cxn>
              <a:cxn ang="0">
                <a:pos x="connsiteX31186" y="connsiteY31186"/>
              </a:cxn>
              <a:cxn ang="0">
                <a:pos x="connsiteX31187" y="connsiteY31187"/>
              </a:cxn>
              <a:cxn ang="0">
                <a:pos x="connsiteX31188" y="connsiteY31188"/>
              </a:cxn>
              <a:cxn ang="0">
                <a:pos x="connsiteX31189" y="connsiteY31189"/>
              </a:cxn>
              <a:cxn ang="0">
                <a:pos x="connsiteX31190" y="connsiteY31190"/>
              </a:cxn>
              <a:cxn ang="0">
                <a:pos x="connsiteX31191" y="connsiteY31191"/>
              </a:cxn>
              <a:cxn ang="0">
                <a:pos x="connsiteX31192" y="connsiteY31192"/>
              </a:cxn>
              <a:cxn ang="0">
                <a:pos x="connsiteX31193" y="connsiteY31193"/>
              </a:cxn>
              <a:cxn ang="0">
                <a:pos x="connsiteX31194" y="connsiteY31194"/>
              </a:cxn>
              <a:cxn ang="0">
                <a:pos x="connsiteX31195" y="connsiteY31195"/>
              </a:cxn>
              <a:cxn ang="0">
                <a:pos x="connsiteX31196" y="connsiteY31196"/>
              </a:cxn>
              <a:cxn ang="0">
                <a:pos x="connsiteX31197" y="connsiteY31197"/>
              </a:cxn>
              <a:cxn ang="0">
                <a:pos x="connsiteX31198" y="connsiteY31198"/>
              </a:cxn>
              <a:cxn ang="0">
                <a:pos x="connsiteX31199" y="connsiteY31199"/>
              </a:cxn>
              <a:cxn ang="0">
                <a:pos x="connsiteX31200" y="connsiteY31200"/>
              </a:cxn>
              <a:cxn ang="0">
                <a:pos x="connsiteX31201" y="connsiteY31201"/>
              </a:cxn>
              <a:cxn ang="0">
                <a:pos x="connsiteX31202" y="connsiteY31202"/>
              </a:cxn>
              <a:cxn ang="0">
                <a:pos x="connsiteX31203" y="connsiteY31203"/>
              </a:cxn>
              <a:cxn ang="0">
                <a:pos x="connsiteX31204" y="connsiteY31204"/>
              </a:cxn>
              <a:cxn ang="0">
                <a:pos x="connsiteX31205" y="connsiteY31205"/>
              </a:cxn>
              <a:cxn ang="0">
                <a:pos x="connsiteX31206" y="connsiteY31206"/>
              </a:cxn>
              <a:cxn ang="0">
                <a:pos x="connsiteX31207" y="connsiteY31207"/>
              </a:cxn>
              <a:cxn ang="0">
                <a:pos x="connsiteX31208" y="connsiteY31208"/>
              </a:cxn>
              <a:cxn ang="0">
                <a:pos x="connsiteX31209" y="connsiteY31209"/>
              </a:cxn>
              <a:cxn ang="0">
                <a:pos x="connsiteX31210" y="connsiteY31210"/>
              </a:cxn>
              <a:cxn ang="0">
                <a:pos x="connsiteX31211" y="connsiteY31211"/>
              </a:cxn>
              <a:cxn ang="0">
                <a:pos x="connsiteX31212" y="connsiteY31212"/>
              </a:cxn>
              <a:cxn ang="0">
                <a:pos x="connsiteX31213" y="connsiteY31213"/>
              </a:cxn>
              <a:cxn ang="0">
                <a:pos x="connsiteX31214" y="connsiteY31214"/>
              </a:cxn>
              <a:cxn ang="0">
                <a:pos x="connsiteX31215" y="connsiteY31215"/>
              </a:cxn>
              <a:cxn ang="0">
                <a:pos x="connsiteX31216" y="connsiteY31216"/>
              </a:cxn>
              <a:cxn ang="0">
                <a:pos x="connsiteX31217" y="connsiteY31217"/>
              </a:cxn>
              <a:cxn ang="0">
                <a:pos x="connsiteX31218" y="connsiteY31218"/>
              </a:cxn>
              <a:cxn ang="0">
                <a:pos x="connsiteX31219" y="connsiteY31219"/>
              </a:cxn>
              <a:cxn ang="0">
                <a:pos x="connsiteX31220" y="connsiteY31220"/>
              </a:cxn>
              <a:cxn ang="0">
                <a:pos x="connsiteX31221" y="connsiteY31221"/>
              </a:cxn>
              <a:cxn ang="0">
                <a:pos x="connsiteX31222" y="connsiteY31222"/>
              </a:cxn>
              <a:cxn ang="0">
                <a:pos x="connsiteX31223" y="connsiteY31223"/>
              </a:cxn>
              <a:cxn ang="0">
                <a:pos x="connsiteX31224" y="connsiteY31224"/>
              </a:cxn>
              <a:cxn ang="0">
                <a:pos x="connsiteX31225" y="connsiteY31225"/>
              </a:cxn>
              <a:cxn ang="0">
                <a:pos x="connsiteX31226" y="connsiteY31226"/>
              </a:cxn>
              <a:cxn ang="0">
                <a:pos x="connsiteX31227" y="connsiteY31227"/>
              </a:cxn>
              <a:cxn ang="0">
                <a:pos x="connsiteX31228" y="connsiteY31228"/>
              </a:cxn>
              <a:cxn ang="0">
                <a:pos x="connsiteX31229" y="connsiteY31229"/>
              </a:cxn>
              <a:cxn ang="0">
                <a:pos x="connsiteX31230" y="connsiteY31230"/>
              </a:cxn>
              <a:cxn ang="0">
                <a:pos x="connsiteX31231" y="connsiteY31231"/>
              </a:cxn>
              <a:cxn ang="0">
                <a:pos x="connsiteX31232" y="connsiteY31232"/>
              </a:cxn>
              <a:cxn ang="0">
                <a:pos x="connsiteX31233" y="connsiteY31233"/>
              </a:cxn>
              <a:cxn ang="0">
                <a:pos x="connsiteX31234" y="connsiteY31234"/>
              </a:cxn>
              <a:cxn ang="0">
                <a:pos x="connsiteX31235" y="connsiteY31235"/>
              </a:cxn>
              <a:cxn ang="0">
                <a:pos x="connsiteX31236" y="connsiteY31236"/>
              </a:cxn>
              <a:cxn ang="0">
                <a:pos x="connsiteX31237" y="connsiteY31237"/>
              </a:cxn>
              <a:cxn ang="0">
                <a:pos x="connsiteX31238" y="connsiteY31238"/>
              </a:cxn>
              <a:cxn ang="0">
                <a:pos x="connsiteX31239" y="connsiteY31239"/>
              </a:cxn>
              <a:cxn ang="0">
                <a:pos x="connsiteX31240" y="connsiteY31240"/>
              </a:cxn>
              <a:cxn ang="0">
                <a:pos x="connsiteX31241" y="connsiteY31241"/>
              </a:cxn>
              <a:cxn ang="0">
                <a:pos x="connsiteX31242" y="connsiteY31242"/>
              </a:cxn>
              <a:cxn ang="0">
                <a:pos x="connsiteX31243" y="connsiteY31243"/>
              </a:cxn>
              <a:cxn ang="0">
                <a:pos x="connsiteX31244" y="connsiteY31244"/>
              </a:cxn>
              <a:cxn ang="0">
                <a:pos x="connsiteX31245" y="connsiteY31245"/>
              </a:cxn>
              <a:cxn ang="0">
                <a:pos x="connsiteX31246" y="connsiteY31246"/>
              </a:cxn>
              <a:cxn ang="0">
                <a:pos x="connsiteX31247" y="connsiteY31247"/>
              </a:cxn>
              <a:cxn ang="0">
                <a:pos x="connsiteX31248" y="connsiteY31248"/>
              </a:cxn>
              <a:cxn ang="0">
                <a:pos x="connsiteX31249" y="connsiteY31249"/>
              </a:cxn>
              <a:cxn ang="0">
                <a:pos x="connsiteX31250" y="connsiteY31250"/>
              </a:cxn>
              <a:cxn ang="0">
                <a:pos x="connsiteX31251" y="connsiteY31251"/>
              </a:cxn>
              <a:cxn ang="0">
                <a:pos x="connsiteX31252" y="connsiteY31252"/>
              </a:cxn>
              <a:cxn ang="0">
                <a:pos x="connsiteX31253" y="connsiteY31253"/>
              </a:cxn>
              <a:cxn ang="0">
                <a:pos x="connsiteX31254" y="connsiteY31254"/>
              </a:cxn>
              <a:cxn ang="0">
                <a:pos x="connsiteX31255" y="connsiteY31255"/>
              </a:cxn>
              <a:cxn ang="0">
                <a:pos x="connsiteX31256" y="connsiteY31256"/>
              </a:cxn>
              <a:cxn ang="0">
                <a:pos x="connsiteX31257" y="connsiteY31257"/>
              </a:cxn>
              <a:cxn ang="0">
                <a:pos x="connsiteX31258" y="connsiteY31258"/>
              </a:cxn>
              <a:cxn ang="0">
                <a:pos x="connsiteX31259" y="connsiteY31259"/>
              </a:cxn>
              <a:cxn ang="0">
                <a:pos x="connsiteX31260" y="connsiteY31260"/>
              </a:cxn>
              <a:cxn ang="0">
                <a:pos x="connsiteX31261" y="connsiteY31261"/>
              </a:cxn>
              <a:cxn ang="0">
                <a:pos x="connsiteX31262" y="connsiteY31262"/>
              </a:cxn>
              <a:cxn ang="0">
                <a:pos x="connsiteX31263" y="connsiteY31263"/>
              </a:cxn>
              <a:cxn ang="0">
                <a:pos x="connsiteX31264" y="connsiteY31264"/>
              </a:cxn>
              <a:cxn ang="0">
                <a:pos x="connsiteX31265" y="connsiteY31265"/>
              </a:cxn>
              <a:cxn ang="0">
                <a:pos x="connsiteX31266" y="connsiteY31266"/>
              </a:cxn>
              <a:cxn ang="0">
                <a:pos x="connsiteX31267" y="connsiteY31267"/>
              </a:cxn>
              <a:cxn ang="0">
                <a:pos x="connsiteX31268" y="connsiteY31268"/>
              </a:cxn>
              <a:cxn ang="0">
                <a:pos x="connsiteX31269" y="connsiteY31269"/>
              </a:cxn>
              <a:cxn ang="0">
                <a:pos x="connsiteX31270" y="connsiteY31270"/>
              </a:cxn>
              <a:cxn ang="0">
                <a:pos x="connsiteX31271" y="connsiteY31271"/>
              </a:cxn>
              <a:cxn ang="0">
                <a:pos x="connsiteX31272" y="connsiteY31272"/>
              </a:cxn>
              <a:cxn ang="0">
                <a:pos x="connsiteX31273" y="connsiteY31273"/>
              </a:cxn>
              <a:cxn ang="0">
                <a:pos x="connsiteX31274" y="connsiteY31274"/>
              </a:cxn>
              <a:cxn ang="0">
                <a:pos x="connsiteX31275" y="connsiteY31275"/>
              </a:cxn>
              <a:cxn ang="0">
                <a:pos x="connsiteX31276" y="connsiteY31276"/>
              </a:cxn>
              <a:cxn ang="0">
                <a:pos x="connsiteX31277" y="connsiteY31277"/>
              </a:cxn>
              <a:cxn ang="0">
                <a:pos x="connsiteX31278" y="connsiteY31278"/>
              </a:cxn>
              <a:cxn ang="0">
                <a:pos x="connsiteX31279" y="connsiteY31279"/>
              </a:cxn>
              <a:cxn ang="0">
                <a:pos x="connsiteX31280" y="connsiteY31280"/>
              </a:cxn>
              <a:cxn ang="0">
                <a:pos x="connsiteX31281" y="connsiteY31281"/>
              </a:cxn>
              <a:cxn ang="0">
                <a:pos x="connsiteX31282" y="connsiteY31282"/>
              </a:cxn>
              <a:cxn ang="0">
                <a:pos x="connsiteX31283" y="connsiteY31283"/>
              </a:cxn>
              <a:cxn ang="0">
                <a:pos x="connsiteX31284" y="connsiteY31284"/>
              </a:cxn>
              <a:cxn ang="0">
                <a:pos x="connsiteX31285" y="connsiteY31285"/>
              </a:cxn>
              <a:cxn ang="0">
                <a:pos x="connsiteX31286" y="connsiteY31286"/>
              </a:cxn>
              <a:cxn ang="0">
                <a:pos x="connsiteX31287" y="connsiteY31287"/>
              </a:cxn>
              <a:cxn ang="0">
                <a:pos x="connsiteX31288" y="connsiteY31288"/>
              </a:cxn>
              <a:cxn ang="0">
                <a:pos x="connsiteX31289" y="connsiteY31289"/>
              </a:cxn>
              <a:cxn ang="0">
                <a:pos x="connsiteX31290" y="connsiteY31290"/>
              </a:cxn>
              <a:cxn ang="0">
                <a:pos x="connsiteX31291" y="connsiteY31291"/>
              </a:cxn>
              <a:cxn ang="0">
                <a:pos x="connsiteX31292" y="connsiteY31292"/>
              </a:cxn>
              <a:cxn ang="0">
                <a:pos x="connsiteX31293" y="connsiteY31293"/>
              </a:cxn>
              <a:cxn ang="0">
                <a:pos x="connsiteX31294" y="connsiteY31294"/>
              </a:cxn>
              <a:cxn ang="0">
                <a:pos x="connsiteX31295" y="connsiteY31295"/>
              </a:cxn>
              <a:cxn ang="0">
                <a:pos x="connsiteX31296" y="connsiteY31296"/>
              </a:cxn>
              <a:cxn ang="0">
                <a:pos x="connsiteX31297" y="connsiteY31297"/>
              </a:cxn>
              <a:cxn ang="0">
                <a:pos x="connsiteX31298" y="connsiteY31298"/>
              </a:cxn>
              <a:cxn ang="0">
                <a:pos x="connsiteX31299" y="connsiteY31299"/>
              </a:cxn>
              <a:cxn ang="0">
                <a:pos x="connsiteX31300" y="connsiteY31300"/>
              </a:cxn>
              <a:cxn ang="0">
                <a:pos x="connsiteX31301" y="connsiteY31301"/>
              </a:cxn>
              <a:cxn ang="0">
                <a:pos x="connsiteX31302" y="connsiteY31302"/>
              </a:cxn>
              <a:cxn ang="0">
                <a:pos x="connsiteX31303" y="connsiteY31303"/>
              </a:cxn>
              <a:cxn ang="0">
                <a:pos x="connsiteX31304" y="connsiteY31304"/>
              </a:cxn>
              <a:cxn ang="0">
                <a:pos x="connsiteX31305" y="connsiteY31305"/>
              </a:cxn>
              <a:cxn ang="0">
                <a:pos x="connsiteX31306" y="connsiteY31306"/>
              </a:cxn>
              <a:cxn ang="0">
                <a:pos x="connsiteX31307" y="connsiteY31307"/>
              </a:cxn>
              <a:cxn ang="0">
                <a:pos x="connsiteX31308" y="connsiteY31308"/>
              </a:cxn>
              <a:cxn ang="0">
                <a:pos x="connsiteX31309" y="connsiteY31309"/>
              </a:cxn>
              <a:cxn ang="0">
                <a:pos x="connsiteX31310" y="connsiteY31310"/>
              </a:cxn>
              <a:cxn ang="0">
                <a:pos x="connsiteX31311" y="connsiteY31311"/>
              </a:cxn>
              <a:cxn ang="0">
                <a:pos x="connsiteX31312" y="connsiteY31312"/>
              </a:cxn>
              <a:cxn ang="0">
                <a:pos x="connsiteX31313" y="connsiteY31313"/>
              </a:cxn>
              <a:cxn ang="0">
                <a:pos x="connsiteX31314" y="connsiteY31314"/>
              </a:cxn>
              <a:cxn ang="0">
                <a:pos x="connsiteX31315" y="connsiteY31315"/>
              </a:cxn>
              <a:cxn ang="0">
                <a:pos x="connsiteX31316" y="connsiteY31316"/>
              </a:cxn>
              <a:cxn ang="0">
                <a:pos x="connsiteX31317" y="connsiteY31317"/>
              </a:cxn>
              <a:cxn ang="0">
                <a:pos x="connsiteX31318" y="connsiteY31318"/>
              </a:cxn>
              <a:cxn ang="0">
                <a:pos x="connsiteX31319" y="connsiteY31319"/>
              </a:cxn>
              <a:cxn ang="0">
                <a:pos x="connsiteX31320" y="connsiteY31320"/>
              </a:cxn>
              <a:cxn ang="0">
                <a:pos x="connsiteX31321" y="connsiteY31321"/>
              </a:cxn>
              <a:cxn ang="0">
                <a:pos x="connsiteX31322" y="connsiteY31322"/>
              </a:cxn>
              <a:cxn ang="0">
                <a:pos x="connsiteX31323" y="connsiteY31323"/>
              </a:cxn>
              <a:cxn ang="0">
                <a:pos x="connsiteX31324" y="connsiteY31324"/>
              </a:cxn>
              <a:cxn ang="0">
                <a:pos x="connsiteX31325" y="connsiteY31325"/>
              </a:cxn>
              <a:cxn ang="0">
                <a:pos x="connsiteX31326" y="connsiteY31326"/>
              </a:cxn>
              <a:cxn ang="0">
                <a:pos x="connsiteX31327" y="connsiteY31327"/>
              </a:cxn>
              <a:cxn ang="0">
                <a:pos x="connsiteX31328" y="connsiteY31328"/>
              </a:cxn>
              <a:cxn ang="0">
                <a:pos x="connsiteX31329" y="connsiteY31329"/>
              </a:cxn>
              <a:cxn ang="0">
                <a:pos x="connsiteX31330" y="connsiteY31330"/>
              </a:cxn>
              <a:cxn ang="0">
                <a:pos x="connsiteX31331" y="connsiteY31331"/>
              </a:cxn>
              <a:cxn ang="0">
                <a:pos x="connsiteX31332" y="connsiteY31332"/>
              </a:cxn>
              <a:cxn ang="0">
                <a:pos x="connsiteX31333" y="connsiteY31333"/>
              </a:cxn>
              <a:cxn ang="0">
                <a:pos x="connsiteX31334" y="connsiteY31334"/>
              </a:cxn>
              <a:cxn ang="0">
                <a:pos x="connsiteX31335" y="connsiteY31335"/>
              </a:cxn>
              <a:cxn ang="0">
                <a:pos x="connsiteX31336" y="connsiteY31336"/>
              </a:cxn>
              <a:cxn ang="0">
                <a:pos x="connsiteX31337" y="connsiteY31337"/>
              </a:cxn>
              <a:cxn ang="0">
                <a:pos x="connsiteX31338" y="connsiteY31338"/>
              </a:cxn>
              <a:cxn ang="0">
                <a:pos x="connsiteX31339" y="connsiteY31339"/>
              </a:cxn>
              <a:cxn ang="0">
                <a:pos x="connsiteX31340" y="connsiteY31340"/>
              </a:cxn>
              <a:cxn ang="0">
                <a:pos x="connsiteX31341" y="connsiteY31341"/>
              </a:cxn>
              <a:cxn ang="0">
                <a:pos x="connsiteX31342" y="connsiteY31342"/>
              </a:cxn>
              <a:cxn ang="0">
                <a:pos x="connsiteX31343" y="connsiteY31343"/>
              </a:cxn>
              <a:cxn ang="0">
                <a:pos x="connsiteX31344" y="connsiteY31344"/>
              </a:cxn>
              <a:cxn ang="0">
                <a:pos x="connsiteX31345" y="connsiteY31345"/>
              </a:cxn>
              <a:cxn ang="0">
                <a:pos x="connsiteX31346" y="connsiteY31346"/>
              </a:cxn>
              <a:cxn ang="0">
                <a:pos x="connsiteX31347" y="connsiteY31347"/>
              </a:cxn>
              <a:cxn ang="0">
                <a:pos x="connsiteX31348" y="connsiteY31348"/>
              </a:cxn>
              <a:cxn ang="0">
                <a:pos x="connsiteX31349" y="connsiteY31349"/>
              </a:cxn>
              <a:cxn ang="0">
                <a:pos x="connsiteX31350" y="connsiteY31350"/>
              </a:cxn>
              <a:cxn ang="0">
                <a:pos x="connsiteX31351" y="connsiteY31351"/>
              </a:cxn>
              <a:cxn ang="0">
                <a:pos x="connsiteX31352" y="connsiteY31352"/>
              </a:cxn>
              <a:cxn ang="0">
                <a:pos x="connsiteX31353" y="connsiteY31353"/>
              </a:cxn>
              <a:cxn ang="0">
                <a:pos x="connsiteX31354" y="connsiteY31354"/>
              </a:cxn>
              <a:cxn ang="0">
                <a:pos x="connsiteX31355" y="connsiteY31355"/>
              </a:cxn>
              <a:cxn ang="0">
                <a:pos x="connsiteX31356" y="connsiteY31356"/>
              </a:cxn>
              <a:cxn ang="0">
                <a:pos x="connsiteX31357" y="connsiteY31357"/>
              </a:cxn>
              <a:cxn ang="0">
                <a:pos x="connsiteX31358" y="connsiteY31358"/>
              </a:cxn>
              <a:cxn ang="0">
                <a:pos x="connsiteX31359" y="connsiteY31359"/>
              </a:cxn>
              <a:cxn ang="0">
                <a:pos x="connsiteX31360" y="connsiteY31360"/>
              </a:cxn>
              <a:cxn ang="0">
                <a:pos x="connsiteX31361" y="connsiteY31361"/>
              </a:cxn>
              <a:cxn ang="0">
                <a:pos x="connsiteX31362" y="connsiteY31362"/>
              </a:cxn>
              <a:cxn ang="0">
                <a:pos x="connsiteX31363" y="connsiteY31363"/>
              </a:cxn>
              <a:cxn ang="0">
                <a:pos x="connsiteX31364" y="connsiteY31364"/>
              </a:cxn>
              <a:cxn ang="0">
                <a:pos x="connsiteX31365" y="connsiteY31365"/>
              </a:cxn>
              <a:cxn ang="0">
                <a:pos x="connsiteX31366" y="connsiteY31366"/>
              </a:cxn>
              <a:cxn ang="0">
                <a:pos x="connsiteX31367" y="connsiteY31367"/>
              </a:cxn>
              <a:cxn ang="0">
                <a:pos x="connsiteX31368" y="connsiteY31368"/>
              </a:cxn>
              <a:cxn ang="0">
                <a:pos x="connsiteX31369" y="connsiteY31369"/>
              </a:cxn>
              <a:cxn ang="0">
                <a:pos x="connsiteX31370" y="connsiteY31370"/>
              </a:cxn>
              <a:cxn ang="0">
                <a:pos x="connsiteX31371" y="connsiteY31371"/>
              </a:cxn>
              <a:cxn ang="0">
                <a:pos x="connsiteX31372" y="connsiteY31372"/>
              </a:cxn>
              <a:cxn ang="0">
                <a:pos x="connsiteX31373" y="connsiteY31373"/>
              </a:cxn>
              <a:cxn ang="0">
                <a:pos x="connsiteX31374" y="connsiteY31374"/>
              </a:cxn>
              <a:cxn ang="0">
                <a:pos x="connsiteX31375" y="connsiteY31375"/>
              </a:cxn>
              <a:cxn ang="0">
                <a:pos x="connsiteX31376" y="connsiteY31376"/>
              </a:cxn>
              <a:cxn ang="0">
                <a:pos x="connsiteX31377" y="connsiteY31377"/>
              </a:cxn>
              <a:cxn ang="0">
                <a:pos x="connsiteX31378" y="connsiteY31378"/>
              </a:cxn>
              <a:cxn ang="0">
                <a:pos x="connsiteX31379" y="connsiteY31379"/>
              </a:cxn>
              <a:cxn ang="0">
                <a:pos x="connsiteX31380" y="connsiteY31380"/>
              </a:cxn>
              <a:cxn ang="0">
                <a:pos x="connsiteX31381" y="connsiteY31381"/>
              </a:cxn>
              <a:cxn ang="0">
                <a:pos x="connsiteX31382" y="connsiteY31382"/>
              </a:cxn>
              <a:cxn ang="0">
                <a:pos x="connsiteX31383" y="connsiteY31383"/>
              </a:cxn>
              <a:cxn ang="0">
                <a:pos x="connsiteX31384" y="connsiteY31384"/>
              </a:cxn>
              <a:cxn ang="0">
                <a:pos x="connsiteX31385" y="connsiteY31385"/>
              </a:cxn>
              <a:cxn ang="0">
                <a:pos x="connsiteX31386" y="connsiteY31386"/>
              </a:cxn>
              <a:cxn ang="0">
                <a:pos x="connsiteX31387" y="connsiteY31387"/>
              </a:cxn>
              <a:cxn ang="0">
                <a:pos x="connsiteX31388" y="connsiteY31388"/>
              </a:cxn>
              <a:cxn ang="0">
                <a:pos x="connsiteX31389" y="connsiteY31389"/>
              </a:cxn>
              <a:cxn ang="0">
                <a:pos x="connsiteX31390" y="connsiteY31390"/>
              </a:cxn>
              <a:cxn ang="0">
                <a:pos x="connsiteX31391" y="connsiteY31391"/>
              </a:cxn>
              <a:cxn ang="0">
                <a:pos x="connsiteX31392" y="connsiteY31392"/>
              </a:cxn>
              <a:cxn ang="0">
                <a:pos x="connsiteX31393" y="connsiteY31393"/>
              </a:cxn>
              <a:cxn ang="0">
                <a:pos x="connsiteX31394" y="connsiteY31394"/>
              </a:cxn>
              <a:cxn ang="0">
                <a:pos x="connsiteX31395" y="connsiteY31395"/>
              </a:cxn>
              <a:cxn ang="0">
                <a:pos x="connsiteX31396" y="connsiteY31396"/>
              </a:cxn>
              <a:cxn ang="0">
                <a:pos x="connsiteX31397" y="connsiteY31397"/>
              </a:cxn>
              <a:cxn ang="0">
                <a:pos x="connsiteX31398" y="connsiteY31398"/>
              </a:cxn>
              <a:cxn ang="0">
                <a:pos x="connsiteX31399" y="connsiteY31399"/>
              </a:cxn>
              <a:cxn ang="0">
                <a:pos x="connsiteX31400" y="connsiteY31400"/>
              </a:cxn>
              <a:cxn ang="0">
                <a:pos x="connsiteX31401" y="connsiteY31401"/>
              </a:cxn>
              <a:cxn ang="0">
                <a:pos x="connsiteX31402" y="connsiteY31402"/>
              </a:cxn>
              <a:cxn ang="0">
                <a:pos x="connsiteX31403" y="connsiteY31403"/>
              </a:cxn>
              <a:cxn ang="0">
                <a:pos x="connsiteX31404" y="connsiteY31404"/>
              </a:cxn>
              <a:cxn ang="0">
                <a:pos x="connsiteX31405" y="connsiteY31405"/>
              </a:cxn>
              <a:cxn ang="0">
                <a:pos x="connsiteX31406" y="connsiteY31406"/>
              </a:cxn>
              <a:cxn ang="0">
                <a:pos x="connsiteX31407" y="connsiteY31407"/>
              </a:cxn>
              <a:cxn ang="0">
                <a:pos x="connsiteX31408" y="connsiteY31408"/>
              </a:cxn>
              <a:cxn ang="0">
                <a:pos x="connsiteX31409" y="connsiteY31409"/>
              </a:cxn>
              <a:cxn ang="0">
                <a:pos x="connsiteX31410" y="connsiteY31410"/>
              </a:cxn>
              <a:cxn ang="0">
                <a:pos x="connsiteX31411" y="connsiteY31411"/>
              </a:cxn>
              <a:cxn ang="0">
                <a:pos x="connsiteX31412" y="connsiteY31412"/>
              </a:cxn>
              <a:cxn ang="0">
                <a:pos x="connsiteX31413" y="connsiteY31413"/>
              </a:cxn>
              <a:cxn ang="0">
                <a:pos x="connsiteX31414" y="connsiteY31414"/>
              </a:cxn>
              <a:cxn ang="0">
                <a:pos x="connsiteX31415" y="connsiteY31415"/>
              </a:cxn>
              <a:cxn ang="0">
                <a:pos x="connsiteX31416" y="connsiteY31416"/>
              </a:cxn>
              <a:cxn ang="0">
                <a:pos x="connsiteX31417" y="connsiteY31417"/>
              </a:cxn>
              <a:cxn ang="0">
                <a:pos x="connsiteX31418" y="connsiteY31418"/>
              </a:cxn>
              <a:cxn ang="0">
                <a:pos x="connsiteX31419" y="connsiteY31419"/>
              </a:cxn>
              <a:cxn ang="0">
                <a:pos x="connsiteX31420" y="connsiteY31420"/>
              </a:cxn>
              <a:cxn ang="0">
                <a:pos x="connsiteX31421" y="connsiteY31421"/>
              </a:cxn>
              <a:cxn ang="0">
                <a:pos x="connsiteX31422" y="connsiteY31422"/>
              </a:cxn>
              <a:cxn ang="0">
                <a:pos x="connsiteX31423" y="connsiteY31423"/>
              </a:cxn>
              <a:cxn ang="0">
                <a:pos x="connsiteX31424" y="connsiteY31424"/>
              </a:cxn>
              <a:cxn ang="0">
                <a:pos x="connsiteX31425" y="connsiteY31425"/>
              </a:cxn>
              <a:cxn ang="0">
                <a:pos x="connsiteX31426" y="connsiteY31426"/>
              </a:cxn>
              <a:cxn ang="0">
                <a:pos x="connsiteX31427" y="connsiteY31427"/>
              </a:cxn>
              <a:cxn ang="0">
                <a:pos x="connsiteX31428" y="connsiteY31428"/>
              </a:cxn>
              <a:cxn ang="0">
                <a:pos x="connsiteX31429" y="connsiteY31429"/>
              </a:cxn>
              <a:cxn ang="0">
                <a:pos x="connsiteX31430" y="connsiteY31430"/>
              </a:cxn>
              <a:cxn ang="0">
                <a:pos x="connsiteX31431" y="connsiteY31431"/>
              </a:cxn>
              <a:cxn ang="0">
                <a:pos x="connsiteX31432" y="connsiteY31432"/>
              </a:cxn>
              <a:cxn ang="0">
                <a:pos x="connsiteX31433" y="connsiteY31433"/>
              </a:cxn>
              <a:cxn ang="0">
                <a:pos x="connsiteX31434" y="connsiteY31434"/>
              </a:cxn>
              <a:cxn ang="0">
                <a:pos x="connsiteX31435" y="connsiteY31435"/>
              </a:cxn>
              <a:cxn ang="0">
                <a:pos x="connsiteX31436" y="connsiteY31436"/>
              </a:cxn>
              <a:cxn ang="0">
                <a:pos x="connsiteX31437" y="connsiteY31437"/>
              </a:cxn>
              <a:cxn ang="0">
                <a:pos x="connsiteX31438" y="connsiteY31438"/>
              </a:cxn>
              <a:cxn ang="0">
                <a:pos x="connsiteX31439" y="connsiteY31439"/>
              </a:cxn>
              <a:cxn ang="0">
                <a:pos x="connsiteX31440" y="connsiteY31440"/>
              </a:cxn>
              <a:cxn ang="0">
                <a:pos x="connsiteX31441" y="connsiteY31441"/>
              </a:cxn>
              <a:cxn ang="0">
                <a:pos x="connsiteX31442" y="connsiteY31442"/>
              </a:cxn>
              <a:cxn ang="0">
                <a:pos x="connsiteX31443" y="connsiteY31443"/>
              </a:cxn>
              <a:cxn ang="0">
                <a:pos x="connsiteX31444" y="connsiteY31444"/>
              </a:cxn>
              <a:cxn ang="0">
                <a:pos x="connsiteX31445" y="connsiteY31445"/>
              </a:cxn>
              <a:cxn ang="0">
                <a:pos x="connsiteX31446" y="connsiteY31446"/>
              </a:cxn>
              <a:cxn ang="0">
                <a:pos x="connsiteX31447" y="connsiteY31447"/>
              </a:cxn>
              <a:cxn ang="0">
                <a:pos x="connsiteX31448" y="connsiteY31448"/>
              </a:cxn>
              <a:cxn ang="0">
                <a:pos x="connsiteX31449" y="connsiteY31449"/>
              </a:cxn>
              <a:cxn ang="0">
                <a:pos x="connsiteX31450" y="connsiteY31450"/>
              </a:cxn>
              <a:cxn ang="0">
                <a:pos x="connsiteX31451" y="connsiteY31451"/>
              </a:cxn>
              <a:cxn ang="0">
                <a:pos x="connsiteX31452" y="connsiteY31452"/>
              </a:cxn>
              <a:cxn ang="0">
                <a:pos x="connsiteX31453" y="connsiteY31453"/>
              </a:cxn>
              <a:cxn ang="0">
                <a:pos x="connsiteX31454" y="connsiteY31454"/>
              </a:cxn>
              <a:cxn ang="0">
                <a:pos x="connsiteX31455" y="connsiteY31455"/>
              </a:cxn>
              <a:cxn ang="0">
                <a:pos x="connsiteX31456" y="connsiteY31456"/>
              </a:cxn>
              <a:cxn ang="0">
                <a:pos x="connsiteX31457" y="connsiteY31457"/>
              </a:cxn>
              <a:cxn ang="0">
                <a:pos x="connsiteX31458" y="connsiteY31458"/>
              </a:cxn>
              <a:cxn ang="0">
                <a:pos x="connsiteX31459" y="connsiteY31459"/>
              </a:cxn>
              <a:cxn ang="0">
                <a:pos x="connsiteX31460" y="connsiteY31460"/>
              </a:cxn>
              <a:cxn ang="0">
                <a:pos x="connsiteX31461" y="connsiteY31461"/>
              </a:cxn>
              <a:cxn ang="0">
                <a:pos x="connsiteX31462" y="connsiteY31462"/>
              </a:cxn>
              <a:cxn ang="0">
                <a:pos x="connsiteX31463" y="connsiteY31463"/>
              </a:cxn>
              <a:cxn ang="0">
                <a:pos x="connsiteX31464" y="connsiteY31464"/>
              </a:cxn>
              <a:cxn ang="0">
                <a:pos x="connsiteX31465" y="connsiteY31465"/>
              </a:cxn>
              <a:cxn ang="0">
                <a:pos x="connsiteX31466" y="connsiteY31466"/>
              </a:cxn>
              <a:cxn ang="0">
                <a:pos x="connsiteX31467" y="connsiteY31467"/>
              </a:cxn>
              <a:cxn ang="0">
                <a:pos x="connsiteX31468" y="connsiteY31468"/>
              </a:cxn>
              <a:cxn ang="0">
                <a:pos x="connsiteX31469" y="connsiteY31469"/>
              </a:cxn>
              <a:cxn ang="0">
                <a:pos x="connsiteX31470" y="connsiteY31470"/>
              </a:cxn>
              <a:cxn ang="0">
                <a:pos x="connsiteX31471" y="connsiteY31471"/>
              </a:cxn>
              <a:cxn ang="0">
                <a:pos x="connsiteX31472" y="connsiteY31472"/>
              </a:cxn>
              <a:cxn ang="0">
                <a:pos x="connsiteX31473" y="connsiteY31473"/>
              </a:cxn>
              <a:cxn ang="0">
                <a:pos x="connsiteX31474" y="connsiteY31474"/>
              </a:cxn>
              <a:cxn ang="0">
                <a:pos x="connsiteX31475" y="connsiteY31475"/>
              </a:cxn>
              <a:cxn ang="0">
                <a:pos x="connsiteX31476" y="connsiteY31476"/>
              </a:cxn>
              <a:cxn ang="0">
                <a:pos x="connsiteX31477" y="connsiteY31477"/>
              </a:cxn>
              <a:cxn ang="0">
                <a:pos x="connsiteX31478" y="connsiteY31478"/>
              </a:cxn>
              <a:cxn ang="0">
                <a:pos x="connsiteX31479" y="connsiteY31479"/>
              </a:cxn>
              <a:cxn ang="0">
                <a:pos x="connsiteX31480" y="connsiteY31480"/>
              </a:cxn>
              <a:cxn ang="0">
                <a:pos x="connsiteX31481" y="connsiteY31481"/>
              </a:cxn>
              <a:cxn ang="0">
                <a:pos x="connsiteX31482" y="connsiteY31482"/>
              </a:cxn>
              <a:cxn ang="0">
                <a:pos x="connsiteX31483" y="connsiteY31483"/>
              </a:cxn>
              <a:cxn ang="0">
                <a:pos x="connsiteX31484" y="connsiteY31484"/>
              </a:cxn>
              <a:cxn ang="0">
                <a:pos x="connsiteX31485" y="connsiteY31485"/>
              </a:cxn>
              <a:cxn ang="0">
                <a:pos x="connsiteX31486" y="connsiteY31486"/>
              </a:cxn>
              <a:cxn ang="0">
                <a:pos x="connsiteX31487" y="connsiteY31487"/>
              </a:cxn>
              <a:cxn ang="0">
                <a:pos x="connsiteX31488" y="connsiteY31488"/>
              </a:cxn>
              <a:cxn ang="0">
                <a:pos x="connsiteX31489" y="connsiteY31489"/>
              </a:cxn>
              <a:cxn ang="0">
                <a:pos x="connsiteX31490" y="connsiteY31490"/>
              </a:cxn>
              <a:cxn ang="0">
                <a:pos x="connsiteX31491" y="connsiteY31491"/>
              </a:cxn>
              <a:cxn ang="0">
                <a:pos x="connsiteX31492" y="connsiteY31492"/>
              </a:cxn>
              <a:cxn ang="0">
                <a:pos x="connsiteX31493" y="connsiteY31493"/>
              </a:cxn>
              <a:cxn ang="0">
                <a:pos x="connsiteX31494" y="connsiteY31494"/>
              </a:cxn>
              <a:cxn ang="0">
                <a:pos x="connsiteX31495" y="connsiteY31495"/>
              </a:cxn>
              <a:cxn ang="0">
                <a:pos x="connsiteX31496" y="connsiteY31496"/>
              </a:cxn>
              <a:cxn ang="0">
                <a:pos x="connsiteX31497" y="connsiteY31497"/>
              </a:cxn>
              <a:cxn ang="0">
                <a:pos x="connsiteX31498" y="connsiteY31498"/>
              </a:cxn>
              <a:cxn ang="0">
                <a:pos x="connsiteX31499" y="connsiteY31499"/>
              </a:cxn>
              <a:cxn ang="0">
                <a:pos x="connsiteX31500" y="connsiteY31500"/>
              </a:cxn>
              <a:cxn ang="0">
                <a:pos x="connsiteX31501" y="connsiteY31501"/>
              </a:cxn>
              <a:cxn ang="0">
                <a:pos x="connsiteX31502" y="connsiteY31502"/>
              </a:cxn>
              <a:cxn ang="0">
                <a:pos x="connsiteX31503" y="connsiteY31503"/>
              </a:cxn>
              <a:cxn ang="0">
                <a:pos x="connsiteX31504" y="connsiteY31504"/>
              </a:cxn>
              <a:cxn ang="0">
                <a:pos x="connsiteX31505" y="connsiteY31505"/>
              </a:cxn>
              <a:cxn ang="0">
                <a:pos x="connsiteX31506" y="connsiteY31506"/>
              </a:cxn>
              <a:cxn ang="0">
                <a:pos x="connsiteX31507" y="connsiteY31507"/>
              </a:cxn>
              <a:cxn ang="0">
                <a:pos x="connsiteX31508" y="connsiteY31508"/>
              </a:cxn>
              <a:cxn ang="0">
                <a:pos x="connsiteX31509" y="connsiteY31509"/>
              </a:cxn>
              <a:cxn ang="0">
                <a:pos x="connsiteX31510" y="connsiteY31510"/>
              </a:cxn>
              <a:cxn ang="0">
                <a:pos x="connsiteX31511" y="connsiteY31511"/>
              </a:cxn>
              <a:cxn ang="0">
                <a:pos x="connsiteX31512" y="connsiteY31512"/>
              </a:cxn>
              <a:cxn ang="0">
                <a:pos x="connsiteX31513" y="connsiteY31513"/>
              </a:cxn>
              <a:cxn ang="0">
                <a:pos x="connsiteX31514" y="connsiteY31514"/>
              </a:cxn>
              <a:cxn ang="0">
                <a:pos x="connsiteX31515" y="connsiteY31515"/>
              </a:cxn>
              <a:cxn ang="0">
                <a:pos x="connsiteX31516" y="connsiteY31516"/>
              </a:cxn>
              <a:cxn ang="0">
                <a:pos x="connsiteX31517" y="connsiteY31517"/>
              </a:cxn>
              <a:cxn ang="0">
                <a:pos x="connsiteX31518" y="connsiteY31518"/>
              </a:cxn>
              <a:cxn ang="0">
                <a:pos x="connsiteX31519" y="connsiteY31519"/>
              </a:cxn>
              <a:cxn ang="0">
                <a:pos x="connsiteX31520" y="connsiteY31520"/>
              </a:cxn>
              <a:cxn ang="0">
                <a:pos x="connsiteX31521" y="connsiteY31521"/>
              </a:cxn>
              <a:cxn ang="0">
                <a:pos x="connsiteX31522" y="connsiteY31522"/>
              </a:cxn>
              <a:cxn ang="0">
                <a:pos x="connsiteX31523" y="connsiteY31523"/>
              </a:cxn>
              <a:cxn ang="0">
                <a:pos x="connsiteX31524" y="connsiteY31524"/>
              </a:cxn>
              <a:cxn ang="0">
                <a:pos x="connsiteX31525" y="connsiteY31525"/>
              </a:cxn>
              <a:cxn ang="0">
                <a:pos x="connsiteX31526" y="connsiteY31526"/>
              </a:cxn>
              <a:cxn ang="0">
                <a:pos x="connsiteX31527" y="connsiteY31527"/>
              </a:cxn>
              <a:cxn ang="0">
                <a:pos x="connsiteX31528" y="connsiteY31528"/>
              </a:cxn>
              <a:cxn ang="0">
                <a:pos x="connsiteX31529" y="connsiteY31529"/>
              </a:cxn>
              <a:cxn ang="0">
                <a:pos x="connsiteX31530" y="connsiteY31530"/>
              </a:cxn>
              <a:cxn ang="0">
                <a:pos x="connsiteX31531" y="connsiteY31531"/>
              </a:cxn>
              <a:cxn ang="0">
                <a:pos x="connsiteX31532" y="connsiteY31532"/>
              </a:cxn>
              <a:cxn ang="0">
                <a:pos x="connsiteX31533" y="connsiteY31533"/>
              </a:cxn>
              <a:cxn ang="0">
                <a:pos x="connsiteX31534" y="connsiteY31534"/>
              </a:cxn>
              <a:cxn ang="0">
                <a:pos x="connsiteX31535" y="connsiteY31535"/>
              </a:cxn>
              <a:cxn ang="0">
                <a:pos x="connsiteX31536" y="connsiteY31536"/>
              </a:cxn>
              <a:cxn ang="0">
                <a:pos x="connsiteX31537" y="connsiteY31537"/>
              </a:cxn>
              <a:cxn ang="0">
                <a:pos x="connsiteX31538" y="connsiteY31538"/>
              </a:cxn>
              <a:cxn ang="0">
                <a:pos x="connsiteX31539" y="connsiteY31539"/>
              </a:cxn>
              <a:cxn ang="0">
                <a:pos x="connsiteX31540" y="connsiteY31540"/>
              </a:cxn>
              <a:cxn ang="0">
                <a:pos x="connsiteX31541" y="connsiteY31541"/>
              </a:cxn>
              <a:cxn ang="0">
                <a:pos x="connsiteX31542" y="connsiteY31542"/>
              </a:cxn>
              <a:cxn ang="0">
                <a:pos x="connsiteX31543" y="connsiteY31543"/>
              </a:cxn>
              <a:cxn ang="0">
                <a:pos x="connsiteX31544" y="connsiteY31544"/>
              </a:cxn>
              <a:cxn ang="0">
                <a:pos x="connsiteX31545" y="connsiteY31545"/>
              </a:cxn>
              <a:cxn ang="0">
                <a:pos x="connsiteX31546" y="connsiteY31546"/>
              </a:cxn>
              <a:cxn ang="0">
                <a:pos x="connsiteX31547" y="connsiteY31547"/>
              </a:cxn>
              <a:cxn ang="0">
                <a:pos x="connsiteX31548" y="connsiteY31548"/>
              </a:cxn>
              <a:cxn ang="0">
                <a:pos x="connsiteX31549" y="connsiteY31549"/>
              </a:cxn>
              <a:cxn ang="0">
                <a:pos x="connsiteX31550" y="connsiteY31550"/>
              </a:cxn>
              <a:cxn ang="0">
                <a:pos x="connsiteX31551" y="connsiteY31551"/>
              </a:cxn>
              <a:cxn ang="0">
                <a:pos x="connsiteX31552" y="connsiteY31552"/>
              </a:cxn>
              <a:cxn ang="0">
                <a:pos x="connsiteX31553" y="connsiteY31553"/>
              </a:cxn>
              <a:cxn ang="0">
                <a:pos x="connsiteX31554" y="connsiteY31554"/>
              </a:cxn>
              <a:cxn ang="0">
                <a:pos x="connsiteX31555" y="connsiteY31555"/>
              </a:cxn>
              <a:cxn ang="0">
                <a:pos x="connsiteX31556" y="connsiteY31556"/>
              </a:cxn>
              <a:cxn ang="0">
                <a:pos x="connsiteX31557" y="connsiteY31557"/>
              </a:cxn>
              <a:cxn ang="0">
                <a:pos x="connsiteX31558" y="connsiteY31558"/>
              </a:cxn>
              <a:cxn ang="0">
                <a:pos x="connsiteX31559" y="connsiteY31559"/>
              </a:cxn>
              <a:cxn ang="0">
                <a:pos x="connsiteX31560" y="connsiteY31560"/>
              </a:cxn>
              <a:cxn ang="0">
                <a:pos x="connsiteX31561" y="connsiteY31561"/>
              </a:cxn>
              <a:cxn ang="0">
                <a:pos x="connsiteX31562" y="connsiteY31562"/>
              </a:cxn>
              <a:cxn ang="0">
                <a:pos x="connsiteX31563" y="connsiteY31563"/>
              </a:cxn>
              <a:cxn ang="0">
                <a:pos x="connsiteX31564" y="connsiteY31564"/>
              </a:cxn>
              <a:cxn ang="0">
                <a:pos x="connsiteX31565" y="connsiteY31565"/>
              </a:cxn>
              <a:cxn ang="0">
                <a:pos x="connsiteX31566" y="connsiteY31566"/>
              </a:cxn>
              <a:cxn ang="0">
                <a:pos x="connsiteX31567" y="connsiteY31567"/>
              </a:cxn>
              <a:cxn ang="0">
                <a:pos x="connsiteX31568" y="connsiteY31568"/>
              </a:cxn>
              <a:cxn ang="0">
                <a:pos x="connsiteX31569" y="connsiteY31569"/>
              </a:cxn>
              <a:cxn ang="0">
                <a:pos x="connsiteX31570" y="connsiteY31570"/>
              </a:cxn>
              <a:cxn ang="0">
                <a:pos x="connsiteX31571" y="connsiteY31571"/>
              </a:cxn>
              <a:cxn ang="0">
                <a:pos x="connsiteX31572" y="connsiteY31572"/>
              </a:cxn>
              <a:cxn ang="0">
                <a:pos x="connsiteX31573" y="connsiteY31573"/>
              </a:cxn>
              <a:cxn ang="0">
                <a:pos x="connsiteX31574" y="connsiteY31574"/>
              </a:cxn>
              <a:cxn ang="0">
                <a:pos x="connsiteX31575" y="connsiteY31575"/>
              </a:cxn>
              <a:cxn ang="0">
                <a:pos x="connsiteX31576" y="connsiteY31576"/>
              </a:cxn>
              <a:cxn ang="0">
                <a:pos x="connsiteX31577" y="connsiteY31577"/>
              </a:cxn>
              <a:cxn ang="0">
                <a:pos x="connsiteX31578" y="connsiteY31578"/>
              </a:cxn>
              <a:cxn ang="0">
                <a:pos x="connsiteX31579" y="connsiteY31579"/>
              </a:cxn>
              <a:cxn ang="0">
                <a:pos x="connsiteX31580" y="connsiteY31580"/>
              </a:cxn>
              <a:cxn ang="0">
                <a:pos x="connsiteX31581" y="connsiteY31581"/>
              </a:cxn>
              <a:cxn ang="0">
                <a:pos x="connsiteX31582" y="connsiteY31582"/>
              </a:cxn>
              <a:cxn ang="0">
                <a:pos x="connsiteX31583" y="connsiteY31583"/>
              </a:cxn>
              <a:cxn ang="0">
                <a:pos x="connsiteX31584" y="connsiteY31584"/>
              </a:cxn>
              <a:cxn ang="0">
                <a:pos x="connsiteX31585" y="connsiteY31585"/>
              </a:cxn>
              <a:cxn ang="0">
                <a:pos x="connsiteX31586" y="connsiteY31586"/>
              </a:cxn>
              <a:cxn ang="0">
                <a:pos x="connsiteX31587" y="connsiteY31587"/>
              </a:cxn>
              <a:cxn ang="0">
                <a:pos x="connsiteX31588" y="connsiteY31588"/>
              </a:cxn>
              <a:cxn ang="0">
                <a:pos x="connsiteX31589" y="connsiteY31589"/>
              </a:cxn>
              <a:cxn ang="0">
                <a:pos x="connsiteX31590" y="connsiteY31590"/>
              </a:cxn>
              <a:cxn ang="0">
                <a:pos x="connsiteX31591" y="connsiteY31591"/>
              </a:cxn>
              <a:cxn ang="0">
                <a:pos x="connsiteX31592" y="connsiteY31592"/>
              </a:cxn>
              <a:cxn ang="0">
                <a:pos x="connsiteX31593" y="connsiteY31593"/>
              </a:cxn>
              <a:cxn ang="0">
                <a:pos x="connsiteX31594" y="connsiteY31594"/>
              </a:cxn>
              <a:cxn ang="0">
                <a:pos x="connsiteX31595" y="connsiteY31595"/>
              </a:cxn>
              <a:cxn ang="0">
                <a:pos x="connsiteX31596" y="connsiteY31596"/>
              </a:cxn>
              <a:cxn ang="0">
                <a:pos x="connsiteX31597" y="connsiteY31597"/>
              </a:cxn>
              <a:cxn ang="0">
                <a:pos x="connsiteX31598" y="connsiteY31598"/>
              </a:cxn>
              <a:cxn ang="0">
                <a:pos x="connsiteX31599" y="connsiteY31599"/>
              </a:cxn>
              <a:cxn ang="0">
                <a:pos x="connsiteX31600" y="connsiteY31600"/>
              </a:cxn>
              <a:cxn ang="0">
                <a:pos x="connsiteX31601" y="connsiteY31601"/>
              </a:cxn>
              <a:cxn ang="0">
                <a:pos x="connsiteX31602" y="connsiteY31602"/>
              </a:cxn>
              <a:cxn ang="0">
                <a:pos x="connsiteX31603" y="connsiteY31603"/>
              </a:cxn>
              <a:cxn ang="0">
                <a:pos x="connsiteX31604" y="connsiteY31604"/>
              </a:cxn>
              <a:cxn ang="0">
                <a:pos x="connsiteX31605" y="connsiteY31605"/>
              </a:cxn>
              <a:cxn ang="0">
                <a:pos x="connsiteX31606" y="connsiteY31606"/>
              </a:cxn>
              <a:cxn ang="0">
                <a:pos x="connsiteX31607" y="connsiteY31607"/>
              </a:cxn>
              <a:cxn ang="0">
                <a:pos x="connsiteX31608" y="connsiteY31608"/>
              </a:cxn>
              <a:cxn ang="0">
                <a:pos x="connsiteX31609" y="connsiteY31609"/>
              </a:cxn>
              <a:cxn ang="0">
                <a:pos x="connsiteX31610" y="connsiteY31610"/>
              </a:cxn>
              <a:cxn ang="0">
                <a:pos x="connsiteX31611" y="connsiteY31611"/>
              </a:cxn>
              <a:cxn ang="0">
                <a:pos x="connsiteX31612" y="connsiteY31612"/>
              </a:cxn>
              <a:cxn ang="0">
                <a:pos x="connsiteX31613" y="connsiteY31613"/>
              </a:cxn>
              <a:cxn ang="0">
                <a:pos x="connsiteX31614" y="connsiteY31614"/>
              </a:cxn>
              <a:cxn ang="0">
                <a:pos x="connsiteX31615" y="connsiteY31615"/>
              </a:cxn>
              <a:cxn ang="0">
                <a:pos x="connsiteX31616" y="connsiteY31616"/>
              </a:cxn>
              <a:cxn ang="0">
                <a:pos x="connsiteX31617" y="connsiteY31617"/>
              </a:cxn>
              <a:cxn ang="0">
                <a:pos x="connsiteX31618" y="connsiteY31618"/>
              </a:cxn>
              <a:cxn ang="0">
                <a:pos x="connsiteX31619" y="connsiteY31619"/>
              </a:cxn>
              <a:cxn ang="0">
                <a:pos x="connsiteX31620" y="connsiteY31620"/>
              </a:cxn>
              <a:cxn ang="0">
                <a:pos x="connsiteX31621" y="connsiteY31621"/>
              </a:cxn>
              <a:cxn ang="0">
                <a:pos x="connsiteX31622" y="connsiteY31622"/>
              </a:cxn>
              <a:cxn ang="0">
                <a:pos x="connsiteX31623" y="connsiteY31623"/>
              </a:cxn>
              <a:cxn ang="0">
                <a:pos x="connsiteX31624" y="connsiteY31624"/>
              </a:cxn>
              <a:cxn ang="0">
                <a:pos x="connsiteX31625" y="connsiteY31625"/>
              </a:cxn>
              <a:cxn ang="0">
                <a:pos x="connsiteX31626" y="connsiteY31626"/>
              </a:cxn>
              <a:cxn ang="0">
                <a:pos x="connsiteX31627" y="connsiteY31627"/>
              </a:cxn>
              <a:cxn ang="0">
                <a:pos x="connsiteX31628" y="connsiteY31628"/>
              </a:cxn>
              <a:cxn ang="0">
                <a:pos x="connsiteX31629" y="connsiteY31629"/>
              </a:cxn>
              <a:cxn ang="0">
                <a:pos x="connsiteX31630" y="connsiteY31630"/>
              </a:cxn>
              <a:cxn ang="0">
                <a:pos x="connsiteX31631" y="connsiteY31631"/>
              </a:cxn>
              <a:cxn ang="0">
                <a:pos x="connsiteX31632" y="connsiteY31632"/>
              </a:cxn>
              <a:cxn ang="0">
                <a:pos x="connsiteX31633" y="connsiteY31633"/>
              </a:cxn>
              <a:cxn ang="0">
                <a:pos x="connsiteX31634" y="connsiteY31634"/>
              </a:cxn>
              <a:cxn ang="0">
                <a:pos x="connsiteX31635" y="connsiteY31635"/>
              </a:cxn>
              <a:cxn ang="0">
                <a:pos x="connsiteX31636" y="connsiteY31636"/>
              </a:cxn>
              <a:cxn ang="0">
                <a:pos x="connsiteX31637" y="connsiteY31637"/>
              </a:cxn>
              <a:cxn ang="0">
                <a:pos x="connsiteX31638" y="connsiteY31638"/>
              </a:cxn>
              <a:cxn ang="0">
                <a:pos x="connsiteX31639" y="connsiteY31639"/>
              </a:cxn>
              <a:cxn ang="0">
                <a:pos x="connsiteX31640" y="connsiteY31640"/>
              </a:cxn>
              <a:cxn ang="0">
                <a:pos x="connsiteX31641" y="connsiteY31641"/>
              </a:cxn>
              <a:cxn ang="0">
                <a:pos x="connsiteX31642" y="connsiteY31642"/>
              </a:cxn>
              <a:cxn ang="0">
                <a:pos x="connsiteX31643" y="connsiteY31643"/>
              </a:cxn>
              <a:cxn ang="0">
                <a:pos x="connsiteX31644" y="connsiteY31644"/>
              </a:cxn>
              <a:cxn ang="0">
                <a:pos x="connsiteX31645" y="connsiteY31645"/>
              </a:cxn>
              <a:cxn ang="0">
                <a:pos x="connsiteX31646" y="connsiteY31646"/>
              </a:cxn>
              <a:cxn ang="0">
                <a:pos x="connsiteX31647" y="connsiteY31647"/>
              </a:cxn>
              <a:cxn ang="0">
                <a:pos x="connsiteX31648" y="connsiteY31648"/>
              </a:cxn>
              <a:cxn ang="0">
                <a:pos x="connsiteX31649" y="connsiteY31649"/>
              </a:cxn>
              <a:cxn ang="0">
                <a:pos x="connsiteX31650" y="connsiteY31650"/>
              </a:cxn>
              <a:cxn ang="0">
                <a:pos x="connsiteX31651" y="connsiteY31651"/>
              </a:cxn>
              <a:cxn ang="0">
                <a:pos x="connsiteX31652" y="connsiteY31652"/>
              </a:cxn>
              <a:cxn ang="0">
                <a:pos x="connsiteX31653" y="connsiteY31653"/>
              </a:cxn>
              <a:cxn ang="0">
                <a:pos x="connsiteX31654" y="connsiteY31654"/>
              </a:cxn>
              <a:cxn ang="0">
                <a:pos x="connsiteX31655" y="connsiteY31655"/>
              </a:cxn>
              <a:cxn ang="0">
                <a:pos x="connsiteX31656" y="connsiteY31656"/>
              </a:cxn>
              <a:cxn ang="0">
                <a:pos x="connsiteX31657" y="connsiteY31657"/>
              </a:cxn>
              <a:cxn ang="0">
                <a:pos x="connsiteX31658" y="connsiteY31658"/>
              </a:cxn>
              <a:cxn ang="0">
                <a:pos x="connsiteX31659" y="connsiteY31659"/>
              </a:cxn>
              <a:cxn ang="0">
                <a:pos x="connsiteX31660" y="connsiteY31660"/>
              </a:cxn>
              <a:cxn ang="0">
                <a:pos x="connsiteX31661" y="connsiteY31661"/>
              </a:cxn>
              <a:cxn ang="0">
                <a:pos x="connsiteX31662" y="connsiteY31662"/>
              </a:cxn>
              <a:cxn ang="0">
                <a:pos x="connsiteX31663" y="connsiteY31663"/>
              </a:cxn>
              <a:cxn ang="0">
                <a:pos x="connsiteX31664" y="connsiteY31664"/>
              </a:cxn>
              <a:cxn ang="0">
                <a:pos x="connsiteX31665" y="connsiteY31665"/>
              </a:cxn>
              <a:cxn ang="0">
                <a:pos x="connsiteX31666" y="connsiteY31666"/>
              </a:cxn>
              <a:cxn ang="0">
                <a:pos x="connsiteX31667" y="connsiteY31667"/>
              </a:cxn>
              <a:cxn ang="0">
                <a:pos x="connsiteX31668" y="connsiteY31668"/>
              </a:cxn>
              <a:cxn ang="0">
                <a:pos x="connsiteX31669" y="connsiteY31669"/>
              </a:cxn>
              <a:cxn ang="0">
                <a:pos x="connsiteX31670" y="connsiteY31670"/>
              </a:cxn>
              <a:cxn ang="0">
                <a:pos x="connsiteX31671" y="connsiteY31671"/>
              </a:cxn>
              <a:cxn ang="0">
                <a:pos x="connsiteX31672" y="connsiteY31672"/>
              </a:cxn>
              <a:cxn ang="0">
                <a:pos x="connsiteX31673" y="connsiteY31673"/>
              </a:cxn>
              <a:cxn ang="0">
                <a:pos x="connsiteX31674" y="connsiteY31674"/>
              </a:cxn>
              <a:cxn ang="0">
                <a:pos x="connsiteX31675" y="connsiteY31675"/>
              </a:cxn>
              <a:cxn ang="0">
                <a:pos x="connsiteX31676" y="connsiteY31676"/>
              </a:cxn>
              <a:cxn ang="0">
                <a:pos x="connsiteX31677" y="connsiteY31677"/>
              </a:cxn>
              <a:cxn ang="0">
                <a:pos x="connsiteX31678" y="connsiteY31678"/>
              </a:cxn>
              <a:cxn ang="0">
                <a:pos x="connsiteX31679" y="connsiteY31679"/>
              </a:cxn>
              <a:cxn ang="0">
                <a:pos x="connsiteX31680" y="connsiteY31680"/>
              </a:cxn>
              <a:cxn ang="0">
                <a:pos x="connsiteX31681" y="connsiteY31681"/>
              </a:cxn>
              <a:cxn ang="0">
                <a:pos x="connsiteX31682" y="connsiteY31682"/>
              </a:cxn>
              <a:cxn ang="0">
                <a:pos x="connsiteX31683" y="connsiteY31683"/>
              </a:cxn>
              <a:cxn ang="0">
                <a:pos x="connsiteX31684" y="connsiteY31684"/>
              </a:cxn>
              <a:cxn ang="0">
                <a:pos x="connsiteX31685" y="connsiteY31685"/>
              </a:cxn>
              <a:cxn ang="0">
                <a:pos x="connsiteX31686" y="connsiteY31686"/>
              </a:cxn>
              <a:cxn ang="0">
                <a:pos x="connsiteX31687" y="connsiteY31687"/>
              </a:cxn>
              <a:cxn ang="0">
                <a:pos x="connsiteX31688" y="connsiteY31688"/>
              </a:cxn>
              <a:cxn ang="0">
                <a:pos x="connsiteX31689" y="connsiteY31689"/>
              </a:cxn>
              <a:cxn ang="0">
                <a:pos x="connsiteX31690" y="connsiteY31690"/>
              </a:cxn>
              <a:cxn ang="0">
                <a:pos x="connsiteX31691" y="connsiteY31691"/>
              </a:cxn>
              <a:cxn ang="0">
                <a:pos x="connsiteX31692" y="connsiteY31692"/>
              </a:cxn>
              <a:cxn ang="0">
                <a:pos x="connsiteX31693" y="connsiteY31693"/>
              </a:cxn>
              <a:cxn ang="0">
                <a:pos x="connsiteX31694" y="connsiteY31694"/>
              </a:cxn>
              <a:cxn ang="0">
                <a:pos x="connsiteX31695" y="connsiteY31695"/>
              </a:cxn>
              <a:cxn ang="0">
                <a:pos x="connsiteX31696" y="connsiteY31696"/>
              </a:cxn>
              <a:cxn ang="0">
                <a:pos x="connsiteX31697" y="connsiteY31697"/>
              </a:cxn>
              <a:cxn ang="0">
                <a:pos x="connsiteX31698" y="connsiteY31698"/>
              </a:cxn>
              <a:cxn ang="0">
                <a:pos x="connsiteX31699" y="connsiteY31699"/>
              </a:cxn>
              <a:cxn ang="0">
                <a:pos x="connsiteX31700" y="connsiteY31700"/>
              </a:cxn>
              <a:cxn ang="0">
                <a:pos x="connsiteX31701" y="connsiteY31701"/>
              </a:cxn>
              <a:cxn ang="0">
                <a:pos x="connsiteX31702" y="connsiteY31702"/>
              </a:cxn>
              <a:cxn ang="0">
                <a:pos x="connsiteX31703" y="connsiteY31703"/>
              </a:cxn>
              <a:cxn ang="0">
                <a:pos x="connsiteX31704" y="connsiteY31704"/>
              </a:cxn>
              <a:cxn ang="0">
                <a:pos x="connsiteX31705" y="connsiteY31705"/>
              </a:cxn>
              <a:cxn ang="0">
                <a:pos x="connsiteX31706" y="connsiteY31706"/>
              </a:cxn>
              <a:cxn ang="0">
                <a:pos x="connsiteX31707" y="connsiteY31707"/>
              </a:cxn>
              <a:cxn ang="0">
                <a:pos x="connsiteX31708" y="connsiteY31708"/>
              </a:cxn>
              <a:cxn ang="0">
                <a:pos x="connsiteX31709" y="connsiteY31709"/>
              </a:cxn>
              <a:cxn ang="0">
                <a:pos x="connsiteX31710" y="connsiteY31710"/>
              </a:cxn>
              <a:cxn ang="0">
                <a:pos x="connsiteX31711" y="connsiteY31711"/>
              </a:cxn>
              <a:cxn ang="0">
                <a:pos x="connsiteX31712" y="connsiteY31712"/>
              </a:cxn>
              <a:cxn ang="0">
                <a:pos x="connsiteX31713" y="connsiteY31713"/>
              </a:cxn>
              <a:cxn ang="0">
                <a:pos x="connsiteX31714" y="connsiteY31714"/>
              </a:cxn>
              <a:cxn ang="0">
                <a:pos x="connsiteX31715" y="connsiteY31715"/>
              </a:cxn>
              <a:cxn ang="0">
                <a:pos x="connsiteX31716" y="connsiteY31716"/>
              </a:cxn>
              <a:cxn ang="0">
                <a:pos x="connsiteX31717" y="connsiteY31717"/>
              </a:cxn>
              <a:cxn ang="0">
                <a:pos x="connsiteX31718" y="connsiteY31718"/>
              </a:cxn>
              <a:cxn ang="0">
                <a:pos x="connsiteX31719" y="connsiteY31719"/>
              </a:cxn>
              <a:cxn ang="0">
                <a:pos x="connsiteX31720" y="connsiteY31720"/>
              </a:cxn>
              <a:cxn ang="0">
                <a:pos x="connsiteX31721" y="connsiteY31721"/>
              </a:cxn>
              <a:cxn ang="0">
                <a:pos x="connsiteX31722" y="connsiteY31722"/>
              </a:cxn>
              <a:cxn ang="0">
                <a:pos x="connsiteX31723" y="connsiteY31723"/>
              </a:cxn>
              <a:cxn ang="0">
                <a:pos x="connsiteX31724" y="connsiteY31724"/>
              </a:cxn>
              <a:cxn ang="0">
                <a:pos x="connsiteX31725" y="connsiteY31725"/>
              </a:cxn>
              <a:cxn ang="0">
                <a:pos x="connsiteX31726" y="connsiteY31726"/>
              </a:cxn>
              <a:cxn ang="0">
                <a:pos x="connsiteX31727" y="connsiteY31727"/>
              </a:cxn>
              <a:cxn ang="0">
                <a:pos x="connsiteX31728" y="connsiteY31728"/>
              </a:cxn>
              <a:cxn ang="0">
                <a:pos x="connsiteX31729" y="connsiteY31729"/>
              </a:cxn>
              <a:cxn ang="0">
                <a:pos x="connsiteX31730" y="connsiteY31730"/>
              </a:cxn>
              <a:cxn ang="0">
                <a:pos x="connsiteX31731" y="connsiteY31731"/>
              </a:cxn>
              <a:cxn ang="0">
                <a:pos x="connsiteX31732" y="connsiteY31732"/>
              </a:cxn>
              <a:cxn ang="0">
                <a:pos x="connsiteX31733" y="connsiteY31733"/>
              </a:cxn>
              <a:cxn ang="0">
                <a:pos x="connsiteX31734" y="connsiteY31734"/>
              </a:cxn>
              <a:cxn ang="0">
                <a:pos x="connsiteX31735" y="connsiteY31735"/>
              </a:cxn>
              <a:cxn ang="0">
                <a:pos x="connsiteX31736" y="connsiteY31736"/>
              </a:cxn>
              <a:cxn ang="0">
                <a:pos x="connsiteX31737" y="connsiteY31737"/>
              </a:cxn>
              <a:cxn ang="0">
                <a:pos x="connsiteX31738" y="connsiteY31738"/>
              </a:cxn>
              <a:cxn ang="0">
                <a:pos x="connsiteX31739" y="connsiteY31739"/>
              </a:cxn>
              <a:cxn ang="0">
                <a:pos x="connsiteX31740" y="connsiteY31740"/>
              </a:cxn>
              <a:cxn ang="0">
                <a:pos x="connsiteX31741" y="connsiteY31741"/>
              </a:cxn>
              <a:cxn ang="0">
                <a:pos x="connsiteX31742" y="connsiteY31742"/>
              </a:cxn>
              <a:cxn ang="0">
                <a:pos x="connsiteX31743" y="connsiteY31743"/>
              </a:cxn>
              <a:cxn ang="0">
                <a:pos x="connsiteX31744" y="connsiteY31744"/>
              </a:cxn>
              <a:cxn ang="0">
                <a:pos x="connsiteX31745" y="connsiteY31745"/>
              </a:cxn>
              <a:cxn ang="0">
                <a:pos x="connsiteX31746" y="connsiteY31746"/>
              </a:cxn>
              <a:cxn ang="0">
                <a:pos x="connsiteX31747" y="connsiteY31747"/>
              </a:cxn>
              <a:cxn ang="0">
                <a:pos x="connsiteX31748" y="connsiteY31748"/>
              </a:cxn>
              <a:cxn ang="0">
                <a:pos x="connsiteX31749" y="connsiteY31749"/>
              </a:cxn>
              <a:cxn ang="0">
                <a:pos x="connsiteX31750" y="connsiteY31750"/>
              </a:cxn>
              <a:cxn ang="0">
                <a:pos x="connsiteX31751" y="connsiteY31751"/>
              </a:cxn>
              <a:cxn ang="0">
                <a:pos x="connsiteX31752" y="connsiteY31752"/>
              </a:cxn>
              <a:cxn ang="0">
                <a:pos x="connsiteX31753" y="connsiteY31753"/>
              </a:cxn>
              <a:cxn ang="0">
                <a:pos x="connsiteX31754" y="connsiteY31754"/>
              </a:cxn>
              <a:cxn ang="0">
                <a:pos x="connsiteX31755" y="connsiteY31755"/>
              </a:cxn>
              <a:cxn ang="0">
                <a:pos x="connsiteX31756" y="connsiteY31756"/>
              </a:cxn>
              <a:cxn ang="0">
                <a:pos x="connsiteX31757" y="connsiteY31757"/>
              </a:cxn>
              <a:cxn ang="0">
                <a:pos x="connsiteX31758" y="connsiteY31758"/>
              </a:cxn>
              <a:cxn ang="0">
                <a:pos x="connsiteX31759" y="connsiteY31759"/>
              </a:cxn>
              <a:cxn ang="0">
                <a:pos x="connsiteX31760" y="connsiteY31760"/>
              </a:cxn>
              <a:cxn ang="0">
                <a:pos x="connsiteX31761" y="connsiteY31761"/>
              </a:cxn>
              <a:cxn ang="0">
                <a:pos x="connsiteX31762" y="connsiteY31762"/>
              </a:cxn>
              <a:cxn ang="0">
                <a:pos x="connsiteX31763" y="connsiteY31763"/>
              </a:cxn>
              <a:cxn ang="0">
                <a:pos x="connsiteX31764" y="connsiteY31764"/>
              </a:cxn>
              <a:cxn ang="0">
                <a:pos x="connsiteX31765" y="connsiteY31765"/>
              </a:cxn>
              <a:cxn ang="0">
                <a:pos x="connsiteX31766" y="connsiteY31766"/>
              </a:cxn>
              <a:cxn ang="0">
                <a:pos x="connsiteX31767" y="connsiteY31767"/>
              </a:cxn>
              <a:cxn ang="0">
                <a:pos x="connsiteX31768" y="connsiteY31768"/>
              </a:cxn>
              <a:cxn ang="0">
                <a:pos x="connsiteX31769" y="connsiteY31769"/>
              </a:cxn>
              <a:cxn ang="0">
                <a:pos x="connsiteX31770" y="connsiteY31770"/>
              </a:cxn>
              <a:cxn ang="0">
                <a:pos x="connsiteX31771" y="connsiteY31771"/>
              </a:cxn>
              <a:cxn ang="0">
                <a:pos x="connsiteX31772" y="connsiteY31772"/>
              </a:cxn>
              <a:cxn ang="0">
                <a:pos x="connsiteX31773" y="connsiteY31773"/>
              </a:cxn>
              <a:cxn ang="0">
                <a:pos x="connsiteX31774" y="connsiteY31774"/>
              </a:cxn>
              <a:cxn ang="0">
                <a:pos x="connsiteX31775" y="connsiteY31775"/>
              </a:cxn>
              <a:cxn ang="0">
                <a:pos x="connsiteX31776" y="connsiteY31776"/>
              </a:cxn>
              <a:cxn ang="0">
                <a:pos x="connsiteX31777" y="connsiteY31777"/>
              </a:cxn>
              <a:cxn ang="0">
                <a:pos x="connsiteX31778" y="connsiteY31778"/>
              </a:cxn>
              <a:cxn ang="0">
                <a:pos x="connsiteX31779" y="connsiteY31779"/>
              </a:cxn>
              <a:cxn ang="0">
                <a:pos x="connsiteX31780" y="connsiteY31780"/>
              </a:cxn>
              <a:cxn ang="0">
                <a:pos x="connsiteX31781" y="connsiteY31781"/>
              </a:cxn>
              <a:cxn ang="0">
                <a:pos x="connsiteX31782" y="connsiteY31782"/>
              </a:cxn>
              <a:cxn ang="0">
                <a:pos x="connsiteX31783" y="connsiteY31783"/>
              </a:cxn>
              <a:cxn ang="0">
                <a:pos x="connsiteX31784" y="connsiteY31784"/>
              </a:cxn>
              <a:cxn ang="0">
                <a:pos x="connsiteX31785" y="connsiteY31785"/>
              </a:cxn>
              <a:cxn ang="0">
                <a:pos x="connsiteX31786" y="connsiteY31786"/>
              </a:cxn>
              <a:cxn ang="0">
                <a:pos x="connsiteX31787" y="connsiteY31787"/>
              </a:cxn>
              <a:cxn ang="0">
                <a:pos x="connsiteX31788" y="connsiteY31788"/>
              </a:cxn>
              <a:cxn ang="0">
                <a:pos x="connsiteX31789" y="connsiteY31789"/>
              </a:cxn>
              <a:cxn ang="0">
                <a:pos x="connsiteX31790" y="connsiteY31790"/>
              </a:cxn>
              <a:cxn ang="0">
                <a:pos x="connsiteX31791" y="connsiteY31791"/>
              </a:cxn>
              <a:cxn ang="0">
                <a:pos x="connsiteX31792" y="connsiteY31792"/>
              </a:cxn>
              <a:cxn ang="0">
                <a:pos x="connsiteX31793" y="connsiteY31793"/>
              </a:cxn>
              <a:cxn ang="0">
                <a:pos x="connsiteX31794" y="connsiteY31794"/>
              </a:cxn>
              <a:cxn ang="0">
                <a:pos x="connsiteX31795" y="connsiteY31795"/>
              </a:cxn>
              <a:cxn ang="0">
                <a:pos x="connsiteX31796" y="connsiteY31796"/>
              </a:cxn>
              <a:cxn ang="0">
                <a:pos x="connsiteX31797" y="connsiteY31797"/>
              </a:cxn>
              <a:cxn ang="0">
                <a:pos x="connsiteX31798" y="connsiteY31798"/>
              </a:cxn>
              <a:cxn ang="0">
                <a:pos x="connsiteX31799" y="connsiteY31799"/>
              </a:cxn>
              <a:cxn ang="0">
                <a:pos x="connsiteX31800" y="connsiteY31800"/>
              </a:cxn>
              <a:cxn ang="0">
                <a:pos x="connsiteX31801" y="connsiteY31801"/>
              </a:cxn>
              <a:cxn ang="0">
                <a:pos x="connsiteX31802" y="connsiteY31802"/>
              </a:cxn>
              <a:cxn ang="0">
                <a:pos x="connsiteX31803" y="connsiteY31803"/>
              </a:cxn>
              <a:cxn ang="0">
                <a:pos x="connsiteX31804" y="connsiteY31804"/>
              </a:cxn>
              <a:cxn ang="0">
                <a:pos x="connsiteX31805" y="connsiteY31805"/>
              </a:cxn>
              <a:cxn ang="0">
                <a:pos x="connsiteX31806" y="connsiteY31806"/>
              </a:cxn>
              <a:cxn ang="0">
                <a:pos x="connsiteX31807" y="connsiteY31807"/>
              </a:cxn>
              <a:cxn ang="0">
                <a:pos x="connsiteX31808" y="connsiteY31808"/>
              </a:cxn>
              <a:cxn ang="0">
                <a:pos x="connsiteX31809" y="connsiteY31809"/>
              </a:cxn>
              <a:cxn ang="0">
                <a:pos x="connsiteX31810" y="connsiteY31810"/>
              </a:cxn>
              <a:cxn ang="0">
                <a:pos x="connsiteX31811" y="connsiteY31811"/>
              </a:cxn>
              <a:cxn ang="0">
                <a:pos x="connsiteX31812" y="connsiteY31812"/>
              </a:cxn>
              <a:cxn ang="0">
                <a:pos x="connsiteX31813" y="connsiteY31813"/>
              </a:cxn>
              <a:cxn ang="0">
                <a:pos x="connsiteX31814" y="connsiteY31814"/>
              </a:cxn>
              <a:cxn ang="0">
                <a:pos x="connsiteX31815" y="connsiteY31815"/>
              </a:cxn>
              <a:cxn ang="0">
                <a:pos x="connsiteX31816" y="connsiteY31816"/>
              </a:cxn>
              <a:cxn ang="0">
                <a:pos x="connsiteX31817" y="connsiteY31817"/>
              </a:cxn>
              <a:cxn ang="0">
                <a:pos x="connsiteX31818" y="connsiteY31818"/>
              </a:cxn>
              <a:cxn ang="0">
                <a:pos x="connsiteX31819" y="connsiteY31819"/>
              </a:cxn>
              <a:cxn ang="0">
                <a:pos x="connsiteX31820" y="connsiteY31820"/>
              </a:cxn>
              <a:cxn ang="0">
                <a:pos x="connsiteX31821" y="connsiteY31821"/>
              </a:cxn>
              <a:cxn ang="0">
                <a:pos x="connsiteX31822" y="connsiteY31822"/>
              </a:cxn>
              <a:cxn ang="0">
                <a:pos x="connsiteX31823" y="connsiteY31823"/>
              </a:cxn>
              <a:cxn ang="0">
                <a:pos x="connsiteX31824" y="connsiteY31824"/>
              </a:cxn>
              <a:cxn ang="0">
                <a:pos x="connsiteX31825" y="connsiteY31825"/>
              </a:cxn>
              <a:cxn ang="0">
                <a:pos x="connsiteX31826" y="connsiteY31826"/>
              </a:cxn>
              <a:cxn ang="0">
                <a:pos x="connsiteX31827" y="connsiteY31827"/>
              </a:cxn>
              <a:cxn ang="0">
                <a:pos x="connsiteX31828" y="connsiteY31828"/>
              </a:cxn>
              <a:cxn ang="0">
                <a:pos x="connsiteX31829" y="connsiteY31829"/>
              </a:cxn>
              <a:cxn ang="0">
                <a:pos x="connsiteX31830" y="connsiteY31830"/>
              </a:cxn>
              <a:cxn ang="0">
                <a:pos x="connsiteX31831" y="connsiteY31831"/>
              </a:cxn>
              <a:cxn ang="0">
                <a:pos x="connsiteX31832" y="connsiteY31832"/>
              </a:cxn>
              <a:cxn ang="0">
                <a:pos x="connsiteX31833" y="connsiteY31833"/>
              </a:cxn>
              <a:cxn ang="0">
                <a:pos x="connsiteX31834" y="connsiteY31834"/>
              </a:cxn>
              <a:cxn ang="0">
                <a:pos x="connsiteX31835" y="connsiteY31835"/>
              </a:cxn>
              <a:cxn ang="0">
                <a:pos x="connsiteX31836" y="connsiteY31836"/>
              </a:cxn>
              <a:cxn ang="0">
                <a:pos x="connsiteX31837" y="connsiteY31837"/>
              </a:cxn>
              <a:cxn ang="0">
                <a:pos x="connsiteX31838" y="connsiteY31838"/>
              </a:cxn>
              <a:cxn ang="0">
                <a:pos x="connsiteX31839" y="connsiteY31839"/>
              </a:cxn>
              <a:cxn ang="0">
                <a:pos x="connsiteX31840" y="connsiteY31840"/>
              </a:cxn>
              <a:cxn ang="0">
                <a:pos x="connsiteX31841" y="connsiteY31841"/>
              </a:cxn>
              <a:cxn ang="0">
                <a:pos x="connsiteX31842" y="connsiteY31842"/>
              </a:cxn>
              <a:cxn ang="0">
                <a:pos x="connsiteX31843" y="connsiteY31843"/>
              </a:cxn>
              <a:cxn ang="0">
                <a:pos x="connsiteX31844" y="connsiteY31844"/>
              </a:cxn>
              <a:cxn ang="0">
                <a:pos x="connsiteX31845" y="connsiteY31845"/>
              </a:cxn>
              <a:cxn ang="0">
                <a:pos x="connsiteX31846" y="connsiteY31846"/>
              </a:cxn>
              <a:cxn ang="0">
                <a:pos x="connsiteX31847" y="connsiteY31847"/>
              </a:cxn>
              <a:cxn ang="0">
                <a:pos x="connsiteX31848" y="connsiteY31848"/>
              </a:cxn>
              <a:cxn ang="0">
                <a:pos x="connsiteX31849" y="connsiteY31849"/>
              </a:cxn>
              <a:cxn ang="0">
                <a:pos x="connsiteX31850" y="connsiteY31850"/>
              </a:cxn>
              <a:cxn ang="0">
                <a:pos x="connsiteX31851" y="connsiteY31851"/>
              </a:cxn>
              <a:cxn ang="0">
                <a:pos x="connsiteX31852" y="connsiteY31852"/>
              </a:cxn>
              <a:cxn ang="0">
                <a:pos x="connsiteX31853" y="connsiteY31853"/>
              </a:cxn>
              <a:cxn ang="0">
                <a:pos x="connsiteX31854" y="connsiteY31854"/>
              </a:cxn>
              <a:cxn ang="0">
                <a:pos x="connsiteX31855" y="connsiteY31855"/>
              </a:cxn>
              <a:cxn ang="0">
                <a:pos x="connsiteX31856" y="connsiteY31856"/>
              </a:cxn>
              <a:cxn ang="0">
                <a:pos x="connsiteX31857" y="connsiteY31857"/>
              </a:cxn>
              <a:cxn ang="0">
                <a:pos x="connsiteX31858" y="connsiteY31858"/>
              </a:cxn>
              <a:cxn ang="0">
                <a:pos x="connsiteX31859" y="connsiteY31859"/>
              </a:cxn>
              <a:cxn ang="0">
                <a:pos x="connsiteX31860" y="connsiteY31860"/>
              </a:cxn>
              <a:cxn ang="0">
                <a:pos x="connsiteX31861" y="connsiteY31861"/>
              </a:cxn>
              <a:cxn ang="0">
                <a:pos x="connsiteX31862" y="connsiteY31862"/>
              </a:cxn>
              <a:cxn ang="0">
                <a:pos x="connsiteX31863" y="connsiteY31863"/>
              </a:cxn>
              <a:cxn ang="0">
                <a:pos x="connsiteX31864" y="connsiteY31864"/>
              </a:cxn>
              <a:cxn ang="0">
                <a:pos x="connsiteX31865" y="connsiteY31865"/>
              </a:cxn>
              <a:cxn ang="0">
                <a:pos x="connsiteX31866" y="connsiteY31866"/>
              </a:cxn>
              <a:cxn ang="0">
                <a:pos x="connsiteX31867" y="connsiteY31867"/>
              </a:cxn>
              <a:cxn ang="0">
                <a:pos x="connsiteX31868" y="connsiteY31868"/>
              </a:cxn>
              <a:cxn ang="0">
                <a:pos x="connsiteX31869" y="connsiteY31869"/>
              </a:cxn>
              <a:cxn ang="0">
                <a:pos x="connsiteX31870" y="connsiteY31870"/>
              </a:cxn>
              <a:cxn ang="0">
                <a:pos x="connsiteX31871" y="connsiteY31871"/>
              </a:cxn>
              <a:cxn ang="0">
                <a:pos x="connsiteX31872" y="connsiteY31872"/>
              </a:cxn>
              <a:cxn ang="0">
                <a:pos x="connsiteX31873" y="connsiteY31873"/>
              </a:cxn>
              <a:cxn ang="0">
                <a:pos x="connsiteX31874" y="connsiteY31874"/>
              </a:cxn>
              <a:cxn ang="0">
                <a:pos x="connsiteX31875" y="connsiteY31875"/>
              </a:cxn>
              <a:cxn ang="0">
                <a:pos x="connsiteX31876" y="connsiteY31876"/>
              </a:cxn>
              <a:cxn ang="0">
                <a:pos x="connsiteX31877" y="connsiteY31877"/>
              </a:cxn>
              <a:cxn ang="0">
                <a:pos x="connsiteX31878" y="connsiteY31878"/>
              </a:cxn>
              <a:cxn ang="0">
                <a:pos x="connsiteX31879" y="connsiteY31879"/>
              </a:cxn>
              <a:cxn ang="0">
                <a:pos x="connsiteX31880" y="connsiteY31880"/>
              </a:cxn>
              <a:cxn ang="0">
                <a:pos x="connsiteX31881" y="connsiteY31881"/>
              </a:cxn>
              <a:cxn ang="0">
                <a:pos x="connsiteX31882" y="connsiteY31882"/>
              </a:cxn>
              <a:cxn ang="0">
                <a:pos x="connsiteX31883" y="connsiteY31883"/>
              </a:cxn>
              <a:cxn ang="0">
                <a:pos x="connsiteX31884" y="connsiteY31884"/>
              </a:cxn>
              <a:cxn ang="0">
                <a:pos x="connsiteX31885" y="connsiteY31885"/>
              </a:cxn>
              <a:cxn ang="0">
                <a:pos x="connsiteX31886" y="connsiteY31886"/>
              </a:cxn>
              <a:cxn ang="0">
                <a:pos x="connsiteX31887" y="connsiteY31887"/>
              </a:cxn>
              <a:cxn ang="0">
                <a:pos x="connsiteX31888" y="connsiteY31888"/>
              </a:cxn>
              <a:cxn ang="0">
                <a:pos x="connsiteX31889" y="connsiteY31889"/>
              </a:cxn>
              <a:cxn ang="0">
                <a:pos x="connsiteX31890" y="connsiteY31890"/>
              </a:cxn>
              <a:cxn ang="0">
                <a:pos x="connsiteX31891" y="connsiteY31891"/>
              </a:cxn>
              <a:cxn ang="0">
                <a:pos x="connsiteX31892" y="connsiteY31892"/>
              </a:cxn>
              <a:cxn ang="0">
                <a:pos x="connsiteX31893" y="connsiteY31893"/>
              </a:cxn>
              <a:cxn ang="0">
                <a:pos x="connsiteX31894" y="connsiteY31894"/>
              </a:cxn>
              <a:cxn ang="0">
                <a:pos x="connsiteX31895" y="connsiteY31895"/>
              </a:cxn>
              <a:cxn ang="0">
                <a:pos x="connsiteX31896" y="connsiteY31896"/>
              </a:cxn>
              <a:cxn ang="0">
                <a:pos x="connsiteX31897" y="connsiteY31897"/>
              </a:cxn>
              <a:cxn ang="0">
                <a:pos x="connsiteX31898" y="connsiteY31898"/>
              </a:cxn>
              <a:cxn ang="0">
                <a:pos x="connsiteX31899" y="connsiteY31899"/>
              </a:cxn>
              <a:cxn ang="0">
                <a:pos x="connsiteX31900" y="connsiteY31900"/>
              </a:cxn>
              <a:cxn ang="0">
                <a:pos x="connsiteX31901" y="connsiteY31901"/>
              </a:cxn>
              <a:cxn ang="0">
                <a:pos x="connsiteX31902" y="connsiteY31902"/>
              </a:cxn>
              <a:cxn ang="0">
                <a:pos x="connsiteX31903" y="connsiteY31903"/>
              </a:cxn>
              <a:cxn ang="0">
                <a:pos x="connsiteX31904" y="connsiteY31904"/>
              </a:cxn>
              <a:cxn ang="0">
                <a:pos x="connsiteX31905" y="connsiteY31905"/>
              </a:cxn>
              <a:cxn ang="0">
                <a:pos x="connsiteX31906" y="connsiteY31906"/>
              </a:cxn>
              <a:cxn ang="0">
                <a:pos x="connsiteX31907" y="connsiteY31907"/>
              </a:cxn>
              <a:cxn ang="0">
                <a:pos x="connsiteX31908" y="connsiteY31908"/>
              </a:cxn>
              <a:cxn ang="0">
                <a:pos x="connsiteX31909" y="connsiteY31909"/>
              </a:cxn>
              <a:cxn ang="0">
                <a:pos x="connsiteX31910" y="connsiteY31910"/>
              </a:cxn>
              <a:cxn ang="0">
                <a:pos x="connsiteX31911" y="connsiteY31911"/>
              </a:cxn>
              <a:cxn ang="0">
                <a:pos x="connsiteX31912" y="connsiteY31912"/>
              </a:cxn>
              <a:cxn ang="0">
                <a:pos x="connsiteX31913" y="connsiteY31913"/>
              </a:cxn>
              <a:cxn ang="0">
                <a:pos x="connsiteX31914" y="connsiteY31914"/>
              </a:cxn>
              <a:cxn ang="0">
                <a:pos x="connsiteX31915" y="connsiteY31915"/>
              </a:cxn>
              <a:cxn ang="0">
                <a:pos x="connsiteX31916" y="connsiteY31916"/>
              </a:cxn>
              <a:cxn ang="0">
                <a:pos x="connsiteX31917" y="connsiteY31917"/>
              </a:cxn>
              <a:cxn ang="0">
                <a:pos x="connsiteX31918" y="connsiteY31918"/>
              </a:cxn>
              <a:cxn ang="0">
                <a:pos x="connsiteX31919" y="connsiteY31919"/>
              </a:cxn>
              <a:cxn ang="0">
                <a:pos x="connsiteX31920" y="connsiteY31920"/>
              </a:cxn>
              <a:cxn ang="0">
                <a:pos x="connsiteX31921" y="connsiteY31921"/>
              </a:cxn>
              <a:cxn ang="0">
                <a:pos x="connsiteX31922" y="connsiteY31922"/>
              </a:cxn>
              <a:cxn ang="0">
                <a:pos x="connsiteX31923" y="connsiteY31923"/>
              </a:cxn>
              <a:cxn ang="0">
                <a:pos x="connsiteX31924" y="connsiteY31924"/>
              </a:cxn>
              <a:cxn ang="0">
                <a:pos x="connsiteX31925" y="connsiteY31925"/>
              </a:cxn>
              <a:cxn ang="0">
                <a:pos x="connsiteX31926" y="connsiteY31926"/>
              </a:cxn>
              <a:cxn ang="0">
                <a:pos x="connsiteX31927" y="connsiteY31927"/>
              </a:cxn>
              <a:cxn ang="0">
                <a:pos x="connsiteX31928" y="connsiteY31928"/>
              </a:cxn>
              <a:cxn ang="0">
                <a:pos x="connsiteX31929" y="connsiteY31929"/>
              </a:cxn>
              <a:cxn ang="0">
                <a:pos x="connsiteX31930" y="connsiteY31930"/>
              </a:cxn>
              <a:cxn ang="0">
                <a:pos x="connsiteX31931" y="connsiteY31931"/>
              </a:cxn>
              <a:cxn ang="0">
                <a:pos x="connsiteX31932" y="connsiteY31932"/>
              </a:cxn>
              <a:cxn ang="0">
                <a:pos x="connsiteX31933" y="connsiteY31933"/>
              </a:cxn>
              <a:cxn ang="0">
                <a:pos x="connsiteX31934" y="connsiteY31934"/>
              </a:cxn>
              <a:cxn ang="0">
                <a:pos x="connsiteX31935" y="connsiteY31935"/>
              </a:cxn>
              <a:cxn ang="0">
                <a:pos x="connsiteX31936" y="connsiteY31936"/>
              </a:cxn>
              <a:cxn ang="0">
                <a:pos x="connsiteX31937" y="connsiteY31937"/>
              </a:cxn>
              <a:cxn ang="0">
                <a:pos x="connsiteX31938" y="connsiteY31938"/>
              </a:cxn>
              <a:cxn ang="0">
                <a:pos x="connsiteX31939" y="connsiteY31939"/>
              </a:cxn>
              <a:cxn ang="0">
                <a:pos x="connsiteX31940" y="connsiteY31940"/>
              </a:cxn>
              <a:cxn ang="0">
                <a:pos x="connsiteX31941" y="connsiteY31941"/>
              </a:cxn>
              <a:cxn ang="0">
                <a:pos x="connsiteX31942" y="connsiteY31942"/>
              </a:cxn>
              <a:cxn ang="0">
                <a:pos x="connsiteX31943" y="connsiteY31943"/>
              </a:cxn>
              <a:cxn ang="0">
                <a:pos x="connsiteX31944" y="connsiteY31944"/>
              </a:cxn>
              <a:cxn ang="0">
                <a:pos x="connsiteX31945" y="connsiteY31945"/>
              </a:cxn>
              <a:cxn ang="0">
                <a:pos x="connsiteX31946" y="connsiteY31946"/>
              </a:cxn>
              <a:cxn ang="0">
                <a:pos x="connsiteX31947" y="connsiteY31947"/>
              </a:cxn>
              <a:cxn ang="0">
                <a:pos x="connsiteX31948" y="connsiteY31948"/>
              </a:cxn>
              <a:cxn ang="0">
                <a:pos x="connsiteX31949" y="connsiteY31949"/>
              </a:cxn>
              <a:cxn ang="0">
                <a:pos x="connsiteX31950" y="connsiteY31950"/>
              </a:cxn>
              <a:cxn ang="0">
                <a:pos x="connsiteX31951" y="connsiteY31951"/>
              </a:cxn>
              <a:cxn ang="0">
                <a:pos x="connsiteX31952" y="connsiteY31952"/>
              </a:cxn>
              <a:cxn ang="0">
                <a:pos x="connsiteX31953" y="connsiteY31953"/>
              </a:cxn>
              <a:cxn ang="0">
                <a:pos x="connsiteX31954" y="connsiteY31954"/>
              </a:cxn>
              <a:cxn ang="0">
                <a:pos x="connsiteX31955" y="connsiteY31955"/>
              </a:cxn>
              <a:cxn ang="0">
                <a:pos x="connsiteX31956" y="connsiteY31956"/>
              </a:cxn>
              <a:cxn ang="0">
                <a:pos x="connsiteX31957" y="connsiteY31957"/>
              </a:cxn>
              <a:cxn ang="0">
                <a:pos x="connsiteX31958" y="connsiteY31958"/>
              </a:cxn>
              <a:cxn ang="0">
                <a:pos x="connsiteX31959" y="connsiteY31959"/>
              </a:cxn>
              <a:cxn ang="0">
                <a:pos x="connsiteX31960" y="connsiteY31960"/>
              </a:cxn>
              <a:cxn ang="0">
                <a:pos x="connsiteX31961" y="connsiteY31961"/>
              </a:cxn>
              <a:cxn ang="0">
                <a:pos x="connsiteX31962" y="connsiteY31962"/>
              </a:cxn>
              <a:cxn ang="0">
                <a:pos x="connsiteX31963" y="connsiteY31963"/>
              </a:cxn>
              <a:cxn ang="0">
                <a:pos x="connsiteX31964" y="connsiteY31964"/>
              </a:cxn>
              <a:cxn ang="0">
                <a:pos x="connsiteX31965" y="connsiteY31965"/>
              </a:cxn>
              <a:cxn ang="0">
                <a:pos x="connsiteX31966" y="connsiteY31966"/>
              </a:cxn>
              <a:cxn ang="0">
                <a:pos x="connsiteX31967" y="connsiteY31967"/>
              </a:cxn>
              <a:cxn ang="0">
                <a:pos x="connsiteX31968" y="connsiteY31968"/>
              </a:cxn>
              <a:cxn ang="0">
                <a:pos x="connsiteX31969" y="connsiteY31969"/>
              </a:cxn>
              <a:cxn ang="0">
                <a:pos x="connsiteX31970" y="connsiteY31970"/>
              </a:cxn>
              <a:cxn ang="0">
                <a:pos x="connsiteX31971" y="connsiteY31971"/>
              </a:cxn>
              <a:cxn ang="0">
                <a:pos x="connsiteX31972" y="connsiteY31972"/>
              </a:cxn>
              <a:cxn ang="0">
                <a:pos x="connsiteX31973" y="connsiteY31973"/>
              </a:cxn>
              <a:cxn ang="0">
                <a:pos x="connsiteX31974" y="connsiteY31974"/>
              </a:cxn>
              <a:cxn ang="0">
                <a:pos x="connsiteX31975" y="connsiteY31975"/>
              </a:cxn>
              <a:cxn ang="0">
                <a:pos x="connsiteX31976" y="connsiteY31976"/>
              </a:cxn>
              <a:cxn ang="0">
                <a:pos x="connsiteX31977" y="connsiteY31977"/>
              </a:cxn>
              <a:cxn ang="0">
                <a:pos x="connsiteX31978" y="connsiteY31978"/>
              </a:cxn>
              <a:cxn ang="0">
                <a:pos x="connsiteX31979" y="connsiteY31979"/>
              </a:cxn>
              <a:cxn ang="0">
                <a:pos x="connsiteX31980" y="connsiteY31980"/>
              </a:cxn>
              <a:cxn ang="0">
                <a:pos x="connsiteX31981" y="connsiteY31981"/>
              </a:cxn>
              <a:cxn ang="0">
                <a:pos x="connsiteX31982" y="connsiteY31982"/>
              </a:cxn>
              <a:cxn ang="0">
                <a:pos x="connsiteX31983" y="connsiteY31983"/>
              </a:cxn>
              <a:cxn ang="0">
                <a:pos x="connsiteX31984" y="connsiteY31984"/>
              </a:cxn>
              <a:cxn ang="0">
                <a:pos x="connsiteX31985" y="connsiteY31985"/>
              </a:cxn>
              <a:cxn ang="0">
                <a:pos x="connsiteX31986" y="connsiteY31986"/>
              </a:cxn>
              <a:cxn ang="0">
                <a:pos x="connsiteX31987" y="connsiteY31987"/>
              </a:cxn>
              <a:cxn ang="0">
                <a:pos x="connsiteX31988" y="connsiteY31988"/>
              </a:cxn>
              <a:cxn ang="0">
                <a:pos x="connsiteX31989" y="connsiteY31989"/>
              </a:cxn>
              <a:cxn ang="0">
                <a:pos x="connsiteX31990" y="connsiteY31990"/>
              </a:cxn>
              <a:cxn ang="0">
                <a:pos x="connsiteX31991" y="connsiteY31991"/>
              </a:cxn>
              <a:cxn ang="0">
                <a:pos x="connsiteX31992" y="connsiteY31992"/>
              </a:cxn>
              <a:cxn ang="0">
                <a:pos x="connsiteX31993" y="connsiteY31993"/>
              </a:cxn>
              <a:cxn ang="0">
                <a:pos x="connsiteX31994" y="connsiteY31994"/>
              </a:cxn>
              <a:cxn ang="0">
                <a:pos x="connsiteX31995" y="connsiteY31995"/>
              </a:cxn>
              <a:cxn ang="0">
                <a:pos x="connsiteX31996" y="connsiteY31996"/>
              </a:cxn>
              <a:cxn ang="0">
                <a:pos x="connsiteX31997" y="connsiteY31997"/>
              </a:cxn>
              <a:cxn ang="0">
                <a:pos x="connsiteX31998" y="connsiteY31998"/>
              </a:cxn>
              <a:cxn ang="0">
                <a:pos x="connsiteX31999" y="connsiteY31999"/>
              </a:cxn>
              <a:cxn ang="0">
                <a:pos x="connsiteX32000" y="connsiteY32000"/>
              </a:cxn>
              <a:cxn ang="0">
                <a:pos x="connsiteX32001" y="connsiteY32001"/>
              </a:cxn>
              <a:cxn ang="0">
                <a:pos x="connsiteX32002" y="connsiteY32002"/>
              </a:cxn>
              <a:cxn ang="0">
                <a:pos x="connsiteX32003" y="connsiteY32003"/>
              </a:cxn>
              <a:cxn ang="0">
                <a:pos x="connsiteX32004" y="connsiteY32004"/>
              </a:cxn>
              <a:cxn ang="0">
                <a:pos x="connsiteX32005" y="connsiteY32005"/>
              </a:cxn>
              <a:cxn ang="0">
                <a:pos x="connsiteX32006" y="connsiteY32006"/>
              </a:cxn>
              <a:cxn ang="0">
                <a:pos x="connsiteX32007" y="connsiteY32007"/>
              </a:cxn>
              <a:cxn ang="0">
                <a:pos x="connsiteX32008" y="connsiteY32008"/>
              </a:cxn>
              <a:cxn ang="0">
                <a:pos x="connsiteX32009" y="connsiteY32009"/>
              </a:cxn>
              <a:cxn ang="0">
                <a:pos x="connsiteX32010" y="connsiteY32010"/>
              </a:cxn>
              <a:cxn ang="0">
                <a:pos x="connsiteX32011" y="connsiteY32011"/>
              </a:cxn>
              <a:cxn ang="0">
                <a:pos x="connsiteX32012" y="connsiteY32012"/>
              </a:cxn>
              <a:cxn ang="0">
                <a:pos x="connsiteX32013" y="connsiteY32013"/>
              </a:cxn>
              <a:cxn ang="0">
                <a:pos x="connsiteX32014" y="connsiteY32014"/>
              </a:cxn>
              <a:cxn ang="0">
                <a:pos x="connsiteX32015" y="connsiteY32015"/>
              </a:cxn>
              <a:cxn ang="0">
                <a:pos x="connsiteX32016" y="connsiteY32016"/>
              </a:cxn>
              <a:cxn ang="0">
                <a:pos x="connsiteX32017" y="connsiteY32017"/>
              </a:cxn>
              <a:cxn ang="0">
                <a:pos x="connsiteX32018" y="connsiteY32018"/>
              </a:cxn>
              <a:cxn ang="0">
                <a:pos x="connsiteX32019" y="connsiteY32019"/>
              </a:cxn>
              <a:cxn ang="0">
                <a:pos x="connsiteX32020" y="connsiteY32020"/>
              </a:cxn>
              <a:cxn ang="0">
                <a:pos x="connsiteX32021" y="connsiteY32021"/>
              </a:cxn>
              <a:cxn ang="0">
                <a:pos x="connsiteX32022" y="connsiteY32022"/>
              </a:cxn>
              <a:cxn ang="0">
                <a:pos x="connsiteX32023" y="connsiteY32023"/>
              </a:cxn>
              <a:cxn ang="0">
                <a:pos x="connsiteX32024" y="connsiteY32024"/>
              </a:cxn>
              <a:cxn ang="0">
                <a:pos x="connsiteX32025" y="connsiteY32025"/>
              </a:cxn>
              <a:cxn ang="0">
                <a:pos x="connsiteX32026" y="connsiteY32026"/>
              </a:cxn>
              <a:cxn ang="0">
                <a:pos x="connsiteX32027" y="connsiteY32027"/>
              </a:cxn>
              <a:cxn ang="0">
                <a:pos x="connsiteX32028" y="connsiteY32028"/>
              </a:cxn>
              <a:cxn ang="0">
                <a:pos x="connsiteX32029" y="connsiteY32029"/>
              </a:cxn>
              <a:cxn ang="0">
                <a:pos x="connsiteX32030" y="connsiteY32030"/>
              </a:cxn>
              <a:cxn ang="0">
                <a:pos x="connsiteX32031" y="connsiteY32031"/>
              </a:cxn>
              <a:cxn ang="0">
                <a:pos x="connsiteX32032" y="connsiteY32032"/>
              </a:cxn>
              <a:cxn ang="0">
                <a:pos x="connsiteX32033" y="connsiteY32033"/>
              </a:cxn>
              <a:cxn ang="0">
                <a:pos x="connsiteX32034" y="connsiteY32034"/>
              </a:cxn>
              <a:cxn ang="0">
                <a:pos x="connsiteX32035" y="connsiteY32035"/>
              </a:cxn>
              <a:cxn ang="0">
                <a:pos x="connsiteX32036" y="connsiteY32036"/>
              </a:cxn>
              <a:cxn ang="0">
                <a:pos x="connsiteX32037" y="connsiteY32037"/>
              </a:cxn>
              <a:cxn ang="0">
                <a:pos x="connsiteX32038" y="connsiteY32038"/>
              </a:cxn>
              <a:cxn ang="0">
                <a:pos x="connsiteX32039" y="connsiteY32039"/>
              </a:cxn>
              <a:cxn ang="0">
                <a:pos x="connsiteX32040" y="connsiteY32040"/>
              </a:cxn>
              <a:cxn ang="0">
                <a:pos x="connsiteX32041" y="connsiteY32041"/>
              </a:cxn>
              <a:cxn ang="0">
                <a:pos x="connsiteX32042" y="connsiteY32042"/>
              </a:cxn>
              <a:cxn ang="0">
                <a:pos x="connsiteX32043" y="connsiteY32043"/>
              </a:cxn>
              <a:cxn ang="0">
                <a:pos x="connsiteX32044" y="connsiteY32044"/>
              </a:cxn>
              <a:cxn ang="0">
                <a:pos x="connsiteX32045" y="connsiteY32045"/>
              </a:cxn>
              <a:cxn ang="0">
                <a:pos x="connsiteX32046" y="connsiteY32046"/>
              </a:cxn>
              <a:cxn ang="0">
                <a:pos x="connsiteX32047" y="connsiteY32047"/>
              </a:cxn>
              <a:cxn ang="0">
                <a:pos x="connsiteX32048" y="connsiteY32048"/>
              </a:cxn>
              <a:cxn ang="0">
                <a:pos x="connsiteX32049" y="connsiteY32049"/>
              </a:cxn>
              <a:cxn ang="0">
                <a:pos x="connsiteX32050" y="connsiteY32050"/>
              </a:cxn>
              <a:cxn ang="0">
                <a:pos x="connsiteX32051" y="connsiteY32051"/>
              </a:cxn>
              <a:cxn ang="0">
                <a:pos x="connsiteX32052" y="connsiteY32052"/>
              </a:cxn>
              <a:cxn ang="0">
                <a:pos x="connsiteX32053" y="connsiteY32053"/>
              </a:cxn>
              <a:cxn ang="0">
                <a:pos x="connsiteX32054" y="connsiteY32054"/>
              </a:cxn>
              <a:cxn ang="0">
                <a:pos x="connsiteX32055" y="connsiteY32055"/>
              </a:cxn>
              <a:cxn ang="0">
                <a:pos x="connsiteX32056" y="connsiteY32056"/>
              </a:cxn>
              <a:cxn ang="0">
                <a:pos x="connsiteX32057" y="connsiteY32057"/>
              </a:cxn>
              <a:cxn ang="0">
                <a:pos x="connsiteX32058" y="connsiteY32058"/>
              </a:cxn>
              <a:cxn ang="0">
                <a:pos x="connsiteX32059" y="connsiteY32059"/>
              </a:cxn>
              <a:cxn ang="0">
                <a:pos x="connsiteX32060" y="connsiteY32060"/>
              </a:cxn>
              <a:cxn ang="0">
                <a:pos x="connsiteX32061" y="connsiteY32061"/>
              </a:cxn>
              <a:cxn ang="0">
                <a:pos x="connsiteX32062" y="connsiteY32062"/>
              </a:cxn>
              <a:cxn ang="0">
                <a:pos x="connsiteX32063" y="connsiteY32063"/>
              </a:cxn>
              <a:cxn ang="0">
                <a:pos x="connsiteX32064" y="connsiteY32064"/>
              </a:cxn>
              <a:cxn ang="0">
                <a:pos x="connsiteX32065" y="connsiteY32065"/>
              </a:cxn>
              <a:cxn ang="0">
                <a:pos x="connsiteX32066" y="connsiteY32066"/>
              </a:cxn>
              <a:cxn ang="0">
                <a:pos x="connsiteX32067" y="connsiteY32067"/>
              </a:cxn>
              <a:cxn ang="0">
                <a:pos x="connsiteX32068" y="connsiteY32068"/>
              </a:cxn>
              <a:cxn ang="0">
                <a:pos x="connsiteX32069" y="connsiteY32069"/>
              </a:cxn>
              <a:cxn ang="0">
                <a:pos x="connsiteX32070" y="connsiteY32070"/>
              </a:cxn>
              <a:cxn ang="0">
                <a:pos x="connsiteX32071" y="connsiteY32071"/>
              </a:cxn>
              <a:cxn ang="0">
                <a:pos x="connsiteX32072" y="connsiteY32072"/>
              </a:cxn>
              <a:cxn ang="0">
                <a:pos x="connsiteX32073" y="connsiteY32073"/>
              </a:cxn>
              <a:cxn ang="0">
                <a:pos x="connsiteX32074" y="connsiteY32074"/>
              </a:cxn>
              <a:cxn ang="0">
                <a:pos x="connsiteX32075" y="connsiteY32075"/>
              </a:cxn>
              <a:cxn ang="0">
                <a:pos x="connsiteX32076" y="connsiteY32076"/>
              </a:cxn>
              <a:cxn ang="0">
                <a:pos x="connsiteX32077" y="connsiteY32077"/>
              </a:cxn>
              <a:cxn ang="0">
                <a:pos x="connsiteX32078" y="connsiteY32078"/>
              </a:cxn>
              <a:cxn ang="0">
                <a:pos x="connsiteX32079" y="connsiteY32079"/>
              </a:cxn>
              <a:cxn ang="0">
                <a:pos x="connsiteX32080" y="connsiteY32080"/>
              </a:cxn>
              <a:cxn ang="0">
                <a:pos x="connsiteX32081" y="connsiteY32081"/>
              </a:cxn>
              <a:cxn ang="0">
                <a:pos x="connsiteX32082" y="connsiteY32082"/>
              </a:cxn>
              <a:cxn ang="0">
                <a:pos x="connsiteX32083" y="connsiteY32083"/>
              </a:cxn>
              <a:cxn ang="0">
                <a:pos x="connsiteX32084" y="connsiteY32084"/>
              </a:cxn>
              <a:cxn ang="0">
                <a:pos x="connsiteX32085" y="connsiteY32085"/>
              </a:cxn>
              <a:cxn ang="0">
                <a:pos x="connsiteX32086" y="connsiteY32086"/>
              </a:cxn>
              <a:cxn ang="0">
                <a:pos x="connsiteX32087" y="connsiteY32087"/>
              </a:cxn>
              <a:cxn ang="0">
                <a:pos x="connsiteX32088" y="connsiteY32088"/>
              </a:cxn>
              <a:cxn ang="0">
                <a:pos x="connsiteX32089" y="connsiteY32089"/>
              </a:cxn>
              <a:cxn ang="0">
                <a:pos x="connsiteX32090" y="connsiteY32090"/>
              </a:cxn>
              <a:cxn ang="0">
                <a:pos x="connsiteX32091" y="connsiteY32091"/>
              </a:cxn>
              <a:cxn ang="0">
                <a:pos x="connsiteX32092" y="connsiteY32092"/>
              </a:cxn>
              <a:cxn ang="0">
                <a:pos x="connsiteX32093" y="connsiteY32093"/>
              </a:cxn>
              <a:cxn ang="0">
                <a:pos x="connsiteX32094" y="connsiteY32094"/>
              </a:cxn>
              <a:cxn ang="0">
                <a:pos x="connsiteX32095" y="connsiteY32095"/>
              </a:cxn>
              <a:cxn ang="0">
                <a:pos x="connsiteX32096" y="connsiteY32096"/>
              </a:cxn>
              <a:cxn ang="0">
                <a:pos x="connsiteX32097" y="connsiteY32097"/>
              </a:cxn>
              <a:cxn ang="0">
                <a:pos x="connsiteX32098" y="connsiteY32098"/>
              </a:cxn>
              <a:cxn ang="0">
                <a:pos x="connsiteX32099" y="connsiteY32099"/>
              </a:cxn>
              <a:cxn ang="0">
                <a:pos x="connsiteX32100" y="connsiteY32100"/>
              </a:cxn>
              <a:cxn ang="0">
                <a:pos x="connsiteX32101" y="connsiteY32101"/>
              </a:cxn>
              <a:cxn ang="0">
                <a:pos x="connsiteX32102" y="connsiteY32102"/>
              </a:cxn>
              <a:cxn ang="0">
                <a:pos x="connsiteX32103" y="connsiteY32103"/>
              </a:cxn>
              <a:cxn ang="0">
                <a:pos x="connsiteX32104" y="connsiteY32104"/>
              </a:cxn>
              <a:cxn ang="0">
                <a:pos x="connsiteX32105" y="connsiteY32105"/>
              </a:cxn>
              <a:cxn ang="0">
                <a:pos x="connsiteX32106" y="connsiteY32106"/>
              </a:cxn>
              <a:cxn ang="0">
                <a:pos x="connsiteX32107" y="connsiteY32107"/>
              </a:cxn>
              <a:cxn ang="0">
                <a:pos x="connsiteX32108" y="connsiteY32108"/>
              </a:cxn>
              <a:cxn ang="0">
                <a:pos x="connsiteX32109" y="connsiteY32109"/>
              </a:cxn>
              <a:cxn ang="0">
                <a:pos x="connsiteX32110" y="connsiteY32110"/>
              </a:cxn>
              <a:cxn ang="0">
                <a:pos x="connsiteX32111" y="connsiteY32111"/>
              </a:cxn>
              <a:cxn ang="0">
                <a:pos x="connsiteX32112" y="connsiteY32112"/>
              </a:cxn>
              <a:cxn ang="0">
                <a:pos x="connsiteX32113" y="connsiteY32113"/>
              </a:cxn>
              <a:cxn ang="0">
                <a:pos x="connsiteX32114" y="connsiteY32114"/>
              </a:cxn>
              <a:cxn ang="0">
                <a:pos x="connsiteX32115" y="connsiteY32115"/>
              </a:cxn>
              <a:cxn ang="0">
                <a:pos x="connsiteX32116" y="connsiteY32116"/>
              </a:cxn>
              <a:cxn ang="0">
                <a:pos x="connsiteX32117" y="connsiteY32117"/>
              </a:cxn>
              <a:cxn ang="0">
                <a:pos x="connsiteX32118" y="connsiteY32118"/>
              </a:cxn>
              <a:cxn ang="0">
                <a:pos x="connsiteX32119" y="connsiteY32119"/>
              </a:cxn>
              <a:cxn ang="0">
                <a:pos x="connsiteX32120" y="connsiteY32120"/>
              </a:cxn>
              <a:cxn ang="0">
                <a:pos x="connsiteX32121" y="connsiteY32121"/>
              </a:cxn>
              <a:cxn ang="0">
                <a:pos x="connsiteX32122" y="connsiteY32122"/>
              </a:cxn>
              <a:cxn ang="0">
                <a:pos x="connsiteX32123" y="connsiteY32123"/>
              </a:cxn>
              <a:cxn ang="0">
                <a:pos x="connsiteX32124" y="connsiteY32124"/>
              </a:cxn>
              <a:cxn ang="0">
                <a:pos x="connsiteX32125" y="connsiteY32125"/>
              </a:cxn>
              <a:cxn ang="0">
                <a:pos x="connsiteX32126" y="connsiteY32126"/>
              </a:cxn>
              <a:cxn ang="0">
                <a:pos x="connsiteX32127" y="connsiteY32127"/>
              </a:cxn>
              <a:cxn ang="0">
                <a:pos x="connsiteX32128" y="connsiteY32128"/>
              </a:cxn>
              <a:cxn ang="0">
                <a:pos x="connsiteX32129" y="connsiteY32129"/>
              </a:cxn>
              <a:cxn ang="0">
                <a:pos x="connsiteX32130" y="connsiteY32130"/>
              </a:cxn>
              <a:cxn ang="0">
                <a:pos x="connsiteX32131" y="connsiteY32131"/>
              </a:cxn>
              <a:cxn ang="0">
                <a:pos x="connsiteX32132" y="connsiteY32132"/>
              </a:cxn>
              <a:cxn ang="0">
                <a:pos x="connsiteX32133" y="connsiteY32133"/>
              </a:cxn>
              <a:cxn ang="0">
                <a:pos x="connsiteX32134" y="connsiteY32134"/>
              </a:cxn>
              <a:cxn ang="0">
                <a:pos x="connsiteX32135" y="connsiteY32135"/>
              </a:cxn>
              <a:cxn ang="0">
                <a:pos x="connsiteX32136" y="connsiteY32136"/>
              </a:cxn>
              <a:cxn ang="0">
                <a:pos x="connsiteX32137" y="connsiteY32137"/>
              </a:cxn>
              <a:cxn ang="0">
                <a:pos x="connsiteX32138" y="connsiteY32138"/>
              </a:cxn>
              <a:cxn ang="0">
                <a:pos x="connsiteX32139" y="connsiteY32139"/>
              </a:cxn>
              <a:cxn ang="0">
                <a:pos x="connsiteX32140" y="connsiteY32140"/>
              </a:cxn>
              <a:cxn ang="0">
                <a:pos x="connsiteX32141" y="connsiteY32141"/>
              </a:cxn>
              <a:cxn ang="0">
                <a:pos x="connsiteX32142" y="connsiteY32142"/>
              </a:cxn>
              <a:cxn ang="0">
                <a:pos x="connsiteX32143" y="connsiteY32143"/>
              </a:cxn>
              <a:cxn ang="0">
                <a:pos x="connsiteX32144" y="connsiteY32144"/>
              </a:cxn>
              <a:cxn ang="0">
                <a:pos x="connsiteX32145" y="connsiteY32145"/>
              </a:cxn>
              <a:cxn ang="0">
                <a:pos x="connsiteX32146" y="connsiteY32146"/>
              </a:cxn>
              <a:cxn ang="0">
                <a:pos x="connsiteX32147" y="connsiteY32147"/>
              </a:cxn>
              <a:cxn ang="0">
                <a:pos x="connsiteX32148" y="connsiteY32148"/>
              </a:cxn>
              <a:cxn ang="0">
                <a:pos x="connsiteX32149" y="connsiteY32149"/>
              </a:cxn>
              <a:cxn ang="0">
                <a:pos x="connsiteX32150" y="connsiteY32150"/>
              </a:cxn>
              <a:cxn ang="0">
                <a:pos x="connsiteX32151" y="connsiteY32151"/>
              </a:cxn>
              <a:cxn ang="0">
                <a:pos x="connsiteX32152" y="connsiteY32152"/>
              </a:cxn>
              <a:cxn ang="0">
                <a:pos x="connsiteX32153" y="connsiteY32153"/>
              </a:cxn>
              <a:cxn ang="0">
                <a:pos x="connsiteX32154" y="connsiteY32154"/>
              </a:cxn>
              <a:cxn ang="0">
                <a:pos x="connsiteX32155" y="connsiteY32155"/>
              </a:cxn>
              <a:cxn ang="0">
                <a:pos x="connsiteX32156" y="connsiteY32156"/>
              </a:cxn>
              <a:cxn ang="0">
                <a:pos x="connsiteX32157" y="connsiteY32157"/>
              </a:cxn>
              <a:cxn ang="0">
                <a:pos x="connsiteX32158" y="connsiteY32158"/>
              </a:cxn>
              <a:cxn ang="0">
                <a:pos x="connsiteX32159" y="connsiteY32159"/>
              </a:cxn>
              <a:cxn ang="0">
                <a:pos x="connsiteX32160" y="connsiteY32160"/>
              </a:cxn>
              <a:cxn ang="0">
                <a:pos x="connsiteX32161" y="connsiteY32161"/>
              </a:cxn>
              <a:cxn ang="0">
                <a:pos x="connsiteX32162" y="connsiteY32162"/>
              </a:cxn>
              <a:cxn ang="0">
                <a:pos x="connsiteX32163" y="connsiteY32163"/>
              </a:cxn>
              <a:cxn ang="0">
                <a:pos x="connsiteX32164" y="connsiteY32164"/>
              </a:cxn>
              <a:cxn ang="0">
                <a:pos x="connsiteX32165" y="connsiteY32165"/>
              </a:cxn>
              <a:cxn ang="0">
                <a:pos x="connsiteX32166" y="connsiteY32166"/>
              </a:cxn>
              <a:cxn ang="0">
                <a:pos x="connsiteX32167" y="connsiteY32167"/>
              </a:cxn>
              <a:cxn ang="0">
                <a:pos x="connsiteX32168" y="connsiteY32168"/>
              </a:cxn>
              <a:cxn ang="0">
                <a:pos x="connsiteX32169" y="connsiteY32169"/>
              </a:cxn>
              <a:cxn ang="0">
                <a:pos x="connsiteX32170" y="connsiteY32170"/>
              </a:cxn>
              <a:cxn ang="0">
                <a:pos x="connsiteX32171" y="connsiteY32171"/>
              </a:cxn>
              <a:cxn ang="0">
                <a:pos x="connsiteX32172" y="connsiteY32172"/>
              </a:cxn>
              <a:cxn ang="0">
                <a:pos x="connsiteX32173" y="connsiteY32173"/>
              </a:cxn>
              <a:cxn ang="0">
                <a:pos x="connsiteX32174" y="connsiteY32174"/>
              </a:cxn>
              <a:cxn ang="0">
                <a:pos x="connsiteX32175" y="connsiteY32175"/>
              </a:cxn>
              <a:cxn ang="0">
                <a:pos x="connsiteX32176" y="connsiteY32176"/>
              </a:cxn>
              <a:cxn ang="0">
                <a:pos x="connsiteX32177" y="connsiteY32177"/>
              </a:cxn>
              <a:cxn ang="0">
                <a:pos x="connsiteX32178" y="connsiteY32178"/>
              </a:cxn>
              <a:cxn ang="0">
                <a:pos x="connsiteX32179" y="connsiteY32179"/>
              </a:cxn>
              <a:cxn ang="0">
                <a:pos x="connsiteX32180" y="connsiteY32180"/>
              </a:cxn>
              <a:cxn ang="0">
                <a:pos x="connsiteX32181" y="connsiteY32181"/>
              </a:cxn>
              <a:cxn ang="0">
                <a:pos x="connsiteX32182" y="connsiteY32182"/>
              </a:cxn>
              <a:cxn ang="0">
                <a:pos x="connsiteX32183" y="connsiteY32183"/>
              </a:cxn>
              <a:cxn ang="0">
                <a:pos x="connsiteX32184" y="connsiteY32184"/>
              </a:cxn>
              <a:cxn ang="0">
                <a:pos x="connsiteX32185" y="connsiteY32185"/>
              </a:cxn>
              <a:cxn ang="0">
                <a:pos x="connsiteX32186" y="connsiteY32186"/>
              </a:cxn>
              <a:cxn ang="0">
                <a:pos x="connsiteX32187" y="connsiteY32187"/>
              </a:cxn>
              <a:cxn ang="0">
                <a:pos x="connsiteX32188" y="connsiteY32188"/>
              </a:cxn>
              <a:cxn ang="0">
                <a:pos x="connsiteX32189" y="connsiteY32189"/>
              </a:cxn>
              <a:cxn ang="0">
                <a:pos x="connsiteX32190" y="connsiteY32190"/>
              </a:cxn>
              <a:cxn ang="0">
                <a:pos x="connsiteX32191" y="connsiteY32191"/>
              </a:cxn>
              <a:cxn ang="0">
                <a:pos x="connsiteX32192" y="connsiteY32192"/>
              </a:cxn>
              <a:cxn ang="0">
                <a:pos x="connsiteX32193" y="connsiteY32193"/>
              </a:cxn>
              <a:cxn ang="0">
                <a:pos x="connsiteX32194" y="connsiteY32194"/>
              </a:cxn>
              <a:cxn ang="0">
                <a:pos x="connsiteX32195" y="connsiteY32195"/>
              </a:cxn>
              <a:cxn ang="0">
                <a:pos x="connsiteX32196" y="connsiteY32196"/>
              </a:cxn>
              <a:cxn ang="0">
                <a:pos x="connsiteX32197" y="connsiteY32197"/>
              </a:cxn>
              <a:cxn ang="0">
                <a:pos x="connsiteX32198" y="connsiteY32198"/>
              </a:cxn>
              <a:cxn ang="0">
                <a:pos x="connsiteX32199" y="connsiteY32199"/>
              </a:cxn>
              <a:cxn ang="0">
                <a:pos x="connsiteX32200" y="connsiteY32200"/>
              </a:cxn>
              <a:cxn ang="0">
                <a:pos x="connsiteX32201" y="connsiteY32201"/>
              </a:cxn>
              <a:cxn ang="0">
                <a:pos x="connsiteX32202" y="connsiteY32202"/>
              </a:cxn>
              <a:cxn ang="0">
                <a:pos x="connsiteX32203" y="connsiteY32203"/>
              </a:cxn>
              <a:cxn ang="0">
                <a:pos x="connsiteX32204" y="connsiteY32204"/>
              </a:cxn>
              <a:cxn ang="0">
                <a:pos x="connsiteX32205" y="connsiteY32205"/>
              </a:cxn>
              <a:cxn ang="0">
                <a:pos x="connsiteX32206" y="connsiteY32206"/>
              </a:cxn>
              <a:cxn ang="0">
                <a:pos x="connsiteX32207" y="connsiteY32207"/>
              </a:cxn>
              <a:cxn ang="0">
                <a:pos x="connsiteX32208" y="connsiteY32208"/>
              </a:cxn>
              <a:cxn ang="0">
                <a:pos x="connsiteX32209" y="connsiteY32209"/>
              </a:cxn>
              <a:cxn ang="0">
                <a:pos x="connsiteX32210" y="connsiteY32210"/>
              </a:cxn>
              <a:cxn ang="0">
                <a:pos x="connsiteX32211" y="connsiteY32211"/>
              </a:cxn>
              <a:cxn ang="0">
                <a:pos x="connsiteX32212" y="connsiteY32212"/>
              </a:cxn>
              <a:cxn ang="0">
                <a:pos x="connsiteX32213" y="connsiteY32213"/>
              </a:cxn>
              <a:cxn ang="0">
                <a:pos x="connsiteX32214" y="connsiteY32214"/>
              </a:cxn>
              <a:cxn ang="0">
                <a:pos x="connsiteX32215" y="connsiteY32215"/>
              </a:cxn>
              <a:cxn ang="0">
                <a:pos x="connsiteX32216" y="connsiteY32216"/>
              </a:cxn>
              <a:cxn ang="0">
                <a:pos x="connsiteX32217" y="connsiteY32217"/>
              </a:cxn>
              <a:cxn ang="0">
                <a:pos x="connsiteX32218" y="connsiteY32218"/>
              </a:cxn>
              <a:cxn ang="0">
                <a:pos x="connsiteX32219" y="connsiteY32219"/>
              </a:cxn>
              <a:cxn ang="0">
                <a:pos x="connsiteX32220" y="connsiteY32220"/>
              </a:cxn>
              <a:cxn ang="0">
                <a:pos x="connsiteX32221" y="connsiteY32221"/>
              </a:cxn>
              <a:cxn ang="0">
                <a:pos x="connsiteX32222" y="connsiteY32222"/>
              </a:cxn>
              <a:cxn ang="0">
                <a:pos x="connsiteX32223" y="connsiteY32223"/>
              </a:cxn>
              <a:cxn ang="0">
                <a:pos x="connsiteX32224" y="connsiteY32224"/>
              </a:cxn>
              <a:cxn ang="0">
                <a:pos x="connsiteX32225" y="connsiteY32225"/>
              </a:cxn>
              <a:cxn ang="0">
                <a:pos x="connsiteX32226" y="connsiteY32226"/>
              </a:cxn>
              <a:cxn ang="0">
                <a:pos x="connsiteX32227" y="connsiteY32227"/>
              </a:cxn>
              <a:cxn ang="0">
                <a:pos x="connsiteX32228" y="connsiteY32228"/>
              </a:cxn>
              <a:cxn ang="0">
                <a:pos x="connsiteX32229" y="connsiteY32229"/>
              </a:cxn>
              <a:cxn ang="0">
                <a:pos x="connsiteX32230" y="connsiteY32230"/>
              </a:cxn>
              <a:cxn ang="0">
                <a:pos x="connsiteX32231" y="connsiteY32231"/>
              </a:cxn>
              <a:cxn ang="0">
                <a:pos x="connsiteX32232" y="connsiteY32232"/>
              </a:cxn>
              <a:cxn ang="0">
                <a:pos x="connsiteX32233" y="connsiteY32233"/>
              </a:cxn>
              <a:cxn ang="0">
                <a:pos x="connsiteX32234" y="connsiteY32234"/>
              </a:cxn>
              <a:cxn ang="0">
                <a:pos x="connsiteX32235" y="connsiteY32235"/>
              </a:cxn>
              <a:cxn ang="0">
                <a:pos x="connsiteX32236" y="connsiteY32236"/>
              </a:cxn>
              <a:cxn ang="0">
                <a:pos x="connsiteX32237" y="connsiteY32237"/>
              </a:cxn>
              <a:cxn ang="0">
                <a:pos x="connsiteX32238" y="connsiteY32238"/>
              </a:cxn>
              <a:cxn ang="0">
                <a:pos x="connsiteX32239" y="connsiteY32239"/>
              </a:cxn>
              <a:cxn ang="0">
                <a:pos x="connsiteX32240" y="connsiteY32240"/>
              </a:cxn>
              <a:cxn ang="0">
                <a:pos x="connsiteX32241" y="connsiteY32241"/>
              </a:cxn>
              <a:cxn ang="0">
                <a:pos x="connsiteX32242" y="connsiteY32242"/>
              </a:cxn>
              <a:cxn ang="0">
                <a:pos x="connsiteX32243" y="connsiteY32243"/>
              </a:cxn>
              <a:cxn ang="0">
                <a:pos x="connsiteX32244" y="connsiteY32244"/>
              </a:cxn>
              <a:cxn ang="0">
                <a:pos x="connsiteX32245" y="connsiteY32245"/>
              </a:cxn>
              <a:cxn ang="0">
                <a:pos x="connsiteX32246" y="connsiteY32246"/>
              </a:cxn>
              <a:cxn ang="0">
                <a:pos x="connsiteX32247" y="connsiteY32247"/>
              </a:cxn>
              <a:cxn ang="0">
                <a:pos x="connsiteX32248" y="connsiteY32248"/>
              </a:cxn>
              <a:cxn ang="0">
                <a:pos x="connsiteX32249" y="connsiteY32249"/>
              </a:cxn>
              <a:cxn ang="0">
                <a:pos x="connsiteX32250" y="connsiteY32250"/>
              </a:cxn>
              <a:cxn ang="0">
                <a:pos x="connsiteX32251" y="connsiteY32251"/>
              </a:cxn>
              <a:cxn ang="0">
                <a:pos x="connsiteX32252" y="connsiteY32252"/>
              </a:cxn>
              <a:cxn ang="0">
                <a:pos x="connsiteX32253" y="connsiteY32253"/>
              </a:cxn>
              <a:cxn ang="0">
                <a:pos x="connsiteX32254" y="connsiteY32254"/>
              </a:cxn>
              <a:cxn ang="0">
                <a:pos x="connsiteX32255" y="connsiteY32255"/>
              </a:cxn>
              <a:cxn ang="0">
                <a:pos x="connsiteX32256" y="connsiteY32256"/>
              </a:cxn>
              <a:cxn ang="0">
                <a:pos x="connsiteX32257" y="connsiteY32257"/>
              </a:cxn>
              <a:cxn ang="0">
                <a:pos x="connsiteX32258" y="connsiteY32258"/>
              </a:cxn>
              <a:cxn ang="0">
                <a:pos x="connsiteX32259" y="connsiteY32259"/>
              </a:cxn>
              <a:cxn ang="0">
                <a:pos x="connsiteX32260" y="connsiteY32260"/>
              </a:cxn>
              <a:cxn ang="0">
                <a:pos x="connsiteX32261" y="connsiteY32261"/>
              </a:cxn>
              <a:cxn ang="0">
                <a:pos x="connsiteX32262" y="connsiteY32262"/>
              </a:cxn>
              <a:cxn ang="0">
                <a:pos x="connsiteX32263" y="connsiteY32263"/>
              </a:cxn>
              <a:cxn ang="0">
                <a:pos x="connsiteX32264" y="connsiteY32264"/>
              </a:cxn>
              <a:cxn ang="0">
                <a:pos x="connsiteX32265" y="connsiteY32265"/>
              </a:cxn>
              <a:cxn ang="0">
                <a:pos x="connsiteX32266" y="connsiteY32266"/>
              </a:cxn>
              <a:cxn ang="0">
                <a:pos x="connsiteX32267" y="connsiteY32267"/>
              </a:cxn>
              <a:cxn ang="0">
                <a:pos x="connsiteX32268" y="connsiteY32268"/>
              </a:cxn>
              <a:cxn ang="0">
                <a:pos x="connsiteX32269" y="connsiteY32269"/>
              </a:cxn>
              <a:cxn ang="0">
                <a:pos x="connsiteX32270" y="connsiteY32270"/>
              </a:cxn>
              <a:cxn ang="0">
                <a:pos x="connsiteX32271" y="connsiteY32271"/>
              </a:cxn>
              <a:cxn ang="0">
                <a:pos x="connsiteX32272" y="connsiteY32272"/>
              </a:cxn>
              <a:cxn ang="0">
                <a:pos x="connsiteX32273" y="connsiteY32273"/>
              </a:cxn>
              <a:cxn ang="0">
                <a:pos x="connsiteX32274" y="connsiteY32274"/>
              </a:cxn>
              <a:cxn ang="0">
                <a:pos x="connsiteX32275" y="connsiteY32275"/>
              </a:cxn>
              <a:cxn ang="0">
                <a:pos x="connsiteX32276" y="connsiteY32276"/>
              </a:cxn>
              <a:cxn ang="0">
                <a:pos x="connsiteX32277" y="connsiteY32277"/>
              </a:cxn>
              <a:cxn ang="0">
                <a:pos x="connsiteX32278" y="connsiteY32278"/>
              </a:cxn>
              <a:cxn ang="0">
                <a:pos x="connsiteX32279" y="connsiteY32279"/>
              </a:cxn>
              <a:cxn ang="0">
                <a:pos x="connsiteX32280" y="connsiteY32280"/>
              </a:cxn>
              <a:cxn ang="0">
                <a:pos x="connsiteX32281" y="connsiteY32281"/>
              </a:cxn>
              <a:cxn ang="0">
                <a:pos x="connsiteX32282" y="connsiteY32282"/>
              </a:cxn>
              <a:cxn ang="0">
                <a:pos x="connsiteX32283" y="connsiteY32283"/>
              </a:cxn>
              <a:cxn ang="0">
                <a:pos x="connsiteX32284" y="connsiteY32284"/>
              </a:cxn>
              <a:cxn ang="0">
                <a:pos x="connsiteX32285" y="connsiteY32285"/>
              </a:cxn>
              <a:cxn ang="0">
                <a:pos x="connsiteX32286" y="connsiteY32286"/>
              </a:cxn>
              <a:cxn ang="0">
                <a:pos x="connsiteX32287" y="connsiteY32287"/>
              </a:cxn>
              <a:cxn ang="0">
                <a:pos x="connsiteX32288" y="connsiteY32288"/>
              </a:cxn>
              <a:cxn ang="0">
                <a:pos x="connsiteX32289" y="connsiteY32289"/>
              </a:cxn>
              <a:cxn ang="0">
                <a:pos x="connsiteX32290" y="connsiteY32290"/>
              </a:cxn>
              <a:cxn ang="0">
                <a:pos x="connsiteX32291" y="connsiteY32291"/>
              </a:cxn>
              <a:cxn ang="0">
                <a:pos x="connsiteX32292" y="connsiteY32292"/>
              </a:cxn>
              <a:cxn ang="0">
                <a:pos x="connsiteX32293" y="connsiteY32293"/>
              </a:cxn>
              <a:cxn ang="0">
                <a:pos x="connsiteX32294" y="connsiteY32294"/>
              </a:cxn>
              <a:cxn ang="0">
                <a:pos x="connsiteX32295" y="connsiteY32295"/>
              </a:cxn>
              <a:cxn ang="0">
                <a:pos x="connsiteX32296" y="connsiteY32296"/>
              </a:cxn>
              <a:cxn ang="0">
                <a:pos x="connsiteX32297" y="connsiteY32297"/>
              </a:cxn>
              <a:cxn ang="0">
                <a:pos x="connsiteX32298" y="connsiteY32298"/>
              </a:cxn>
              <a:cxn ang="0">
                <a:pos x="connsiteX32299" y="connsiteY32299"/>
              </a:cxn>
              <a:cxn ang="0">
                <a:pos x="connsiteX32300" y="connsiteY32300"/>
              </a:cxn>
              <a:cxn ang="0">
                <a:pos x="connsiteX32301" y="connsiteY32301"/>
              </a:cxn>
              <a:cxn ang="0">
                <a:pos x="connsiteX32302" y="connsiteY32302"/>
              </a:cxn>
              <a:cxn ang="0">
                <a:pos x="connsiteX32303" y="connsiteY32303"/>
              </a:cxn>
              <a:cxn ang="0">
                <a:pos x="connsiteX32304" y="connsiteY32304"/>
              </a:cxn>
              <a:cxn ang="0">
                <a:pos x="connsiteX32305" y="connsiteY32305"/>
              </a:cxn>
              <a:cxn ang="0">
                <a:pos x="connsiteX32306" y="connsiteY32306"/>
              </a:cxn>
              <a:cxn ang="0">
                <a:pos x="connsiteX32307" y="connsiteY32307"/>
              </a:cxn>
              <a:cxn ang="0">
                <a:pos x="connsiteX32308" y="connsiteY32308"/>
              </a:cxn>
              <a:cxn ang="0">
                <a:pos x="connsiteX32309" y="connsiteY32309"/>
              </a:cxn>
              <a:cxn ang="0">
                <a:pos x="connsiteX32310" y="connsiteY32310"/>
              </a:cxn>
              <a:cxn ang="0">
                <a:pos x="connsiteX32311" y="connsiteY32311"/>
              </a:cxn>
              <a:cxn ang="0">
                <a:pos x="connsiteX32312" y="connsiteY32312"/>
              </a:cxn>
              <a:cxn ang="0">
                <a:pos x="connsiteX32313" y="connsiteY32313"/>
              </a:cxn>
              <a:cxn ang="0">
                <a:pos x="connsiteX32314" y="connsiteY32314"/>
              </a:cxn>
              <a:cxn ang="0">
                <a:pos x="connsiteX32315" y="connsiteY32315"/>
              </a:cxn>
              <a:cxn ang="0">
                <a:pos x="connsiteX32316" y="connsiteY32316"/>
              </a:cxn>
              <a:cxn ang="0">
                <a:pos x="connsiteX32317" y="connsiteY32317"/>
              </a:cxn>
              <a:cxn ang="0">
                <a:pos x="connsiteX32318" y="connsiteY32318"/>
              </a:cxn>
              <a:cxn ang="0">
                <a:pos x="connsiteX32319" y="connsiteY32319"/>
              </a:cxn>
              <a:cxn ang="0">
                <a:pos x="connsiteX32320" y="connsiteY32320"/>
              </a:cxn>
              <a:cxn ang="0">
                <a:pos x="connsiteX32321" y="connsiteY32321"/>
              </a:cxn>
              <a:cxn ang="0">
                <a:pos x="connsiteX32322" y="connsiteY32322"/>
              </a:cxn>
              <a:cxn ang="0">
                <a:pos x="connsiteX32323" y="connsiteY32323"/>
              </a:cxn>
              <a:cxn ang="0">
                <a:pos x="connsiteX32324" y="connsiteY32324"/>
              </a:cxn>
              <a:cxn ang="0">
                <a:pos x="connsiteX32325" y="connsiteY32325"/>
              </a:cxn>
              <a:cxn ang="0">
                <a:pos x="connsiteX32326" y="connsiteY32326"/>
              </a:cxn>
              <a:cxn ang="0">
                <a:pos x="connsiteX32327" y="connsiteY32327"/>
              </a:cxn>
              <a:cxn ang="0">
                <a:pos x="connsiteX32328" y="connsiteY32328"/>
              </a:cxn>
              <a:cxn ang="0">
                <a:pos x="connsiteX32329" y="connsiteY32329"/>
              </a:cxn>
              <a:cxn ang="0">
                <a:pos x="connsiteX32330" y="connsiteY32330"/>
              </a:cxn>
              <a:cxn ang="0">
                <a:pos x="connsiteX32331" y="connsiteY32331"/>
              </a:cxn>
              <a:cxn ang="0">
                <a:pos x="connsiteX32332" y="connsiteY32332"/>
              </a:cxn>
              <a:cxn ang="0">
                <a:pos x="connsiteX32333" y="connsiteY32333"/>
              </a:cxn>
              <a:cxn ang="0">
                <a:pos x="connsiteX32334" y="connsiteY32334"/>
              </a:cxn>
              <a:cxn ang="0">
                <a:pos x="connsiteX32335" y="connsiteY32335"/>
              </a:cxn>
              <a:cxn ang="0">
                <a:pos x="connsiteX32336" y="connsiteY32336"/>
              </a:cxn>
              <a:cxn ang="0">
                <a:pos x="connsiteX32337" y="connsiteY32337"/>
              </a:cxn>
              <a:cxn ang="0">
                <a:pos x="connsiteX32338" y="connsiteY32338"/>
              </a:cxn>
              <a:cxn ang="0">
                <a:pos x="connsiteX32339" y="connsiteY32339"/>
              </a:cxn>
              <a:cxn ang="0">
                <a:pos x="connsiteX32340" y="connsiteY32340"/>
              </a:cxn>
              <a:cxn ang="0">
                <a:pos x="connsiteX32341" y="connsiteY32341"/>
              </a:cxn>
              <a:cxn ang="0">
                <a:pos x="connsiteX32342" y="connsiteY32342"/>
              </a:cxn>
              <a:cxn ang="0">
                <a:pos x="connsiteX32343" y="connsiteY32343"/>
              </a:cxn>
              <a:cxn ang="0">
                <a:pos x="connsiteX32344" y="connsiteY32344"/>
              </a:cxn>
              <a:cxn ang="0">
                <a:pos x="connsiteX32345" y="connsiteY32345"/>
              </a:cxn>
              <a:cxn ang="0">
                <a:pos x="connsiteX32346" y="connsiteY32346"/>
              </a:cxn>
              <a:cxn ang="0">
                <a:pos x="connsiteX32347" y="connsiteY32347"/>
              </a:cxn>
              <a:cxn ang="0">
                <a:pos x="connsiteX32348" y="connsiteY32348"/>
              </a:cxn>
              <a:cxn ang="0">
                <a:pos x="connsiteX32349" y="connsiteY32349"/>
              </a:cxn>
              <a:cxn ang="0">
                <a:pos x="connsiteX32350" y="connsiteY32350"/>
              </a:cxn>
              <a:cxn ang="0">
                <a:pos x="connsiteX32351" y="connsiteY32351"/>
              </a:cxn>
              <a:cxn ang="0">
                <a:pos x="connsiteX32352" y="connsiteY32352"/>
              </a:cxn>
              <a:cxn ang="0">
                <a:pos x="connsiteX32353" y="connsiteY32353"/>
              </a:cxn>
              <a:cxn ang="0">
                <a:pos x="connsiteX32354" y="connsiteY32354"/>
              </a:cxn>
              <a:cxn ang="0">
                <a:pos x="connsiteX32355" y="connsiteY32355"/>
              </a:cxn>
              <a:cxn ang="0">
                <a:pos x="connsiteX32356" y="connsiteY32356"/>
              </a:cxn>
              <a:cxn ang="0">
                <a:pos x="connsiteX32357" y="connsiteY32357"/>
              </a:cxn>
              <a:cxn ang="0">
                <a:pos x="connsiteX32358" y="connsiteY32358"/>
              </a:cxn>
              <a:cxn ang="0">
                <a:pos x="connsiteX32359" y="connsiteY32359"/>
              </a:cxn>
              <a:cxn ang="0">
                <a:pos x="connsiteX32360" y="connsiteY32360"/>
              </a:cxn>
              <a:cxn ang="0">
                <a:pos x="connsiteX32361" y="connsiteY32361"/>
              </a:cxn>
              <a:cxn ang="0">
                <a:pos x="connsiteX32362" y="connsiteY32362"/>
              </a:cxn>
              <a:cxn ang="0">
                <a:pos x="connsiteX32363" y="connsiteY32363"/>
              </a:cxn>
              <a:cxn ang="0">
                <a:pos x="connsiteX32364" y="connsiteY32364"/>
              </a:cxn>
              <a:cxn ang="0">
                <a:pos x="connsiteX32365" y="connsiteY32365"/>
              </a:cxn>
              <a:cxn ang="0">
                <a:pos x="connsiteX32366" y="connsiteY32366"/>
              </a:cxn>
              <a:cxn ang="0">
                <a:pos x="connsiteX32367" y="connsiteY32367"/>
              </a:cxn>
              <a:cxn ang="0">
                <a:pos x="connsiteX32368" y="connsiteY32368"/>
              </a:cxn>
              <a:cxn ang="0">
                <a:pos x="connsiteX32369" y="connsiteY32369"/>
              </a:cxn>
              <a:cxn ang="0">
                <a:pos x="connsiteX32370" y="connsiteY32370"/>
              </a:cxn>
              <a:cxn ang="0">
                <a:pos x="connsiteX32371" y="connsiteY32371"/>
              </a:cxn>
              <a:cxn ang="0">
                <a:pos x="connsiteX32372" y="connsiteY32372"/>
              </a:cxn>
              <a:cxn ang="0">
                <a:pos x="connsiteX32373" y="connsiteY32373"/>
              </a:cxn>
              <a:cxn ang="0">
                <a:pos x="connsiteX32374" y="connsiteY32374"/>
              </a:cxn>
              <a:cxn ang="0">
                <a:pos x="connsiteX32375" y="connsiteY32375"/>
              </a:cxn>
              <a:cxn ang="0">
                <a:pos x="connsiteX32376" y="connsiteY32376"/>
              </a:cxn>
              <a:cxn ang="0">
                <a:pos x="connsiteX32377" y="connsiteY32377"/>
              </a:cxn>
              <a:cxn ang="0">
                <a:pos x="connsiteX32378" y="connsiteY32378"/>
              </a:cxn>
              <a:cxn ang="0">
                <a:pos x="connsiteX32379" y="connsiteY32379"/>
              </a:cxn>
              <a:cxn ang="0">
                <a:pos x="connsiteX32380" y="connsiteY32380"/>
              </a:cxn>
              <a:cxn ang="0">
                <a:pos x="connsiteX32381" y="connsiteY32381"/>
              </a:cxn>
              <a:cxn ang="0">
                <a:pos x="connsiteX32382" y="connsiteY32382"/>
              </a:cxn>
              <a:cxn ang="0">
                <a:pos x="connsiteX32383" y="connsiteY32383"/>
              </a:cxn>
              <a:cxn ang="0">
                <a:pos x="connsiteX32384" y="connsiteY32384"/>
              </a:cxn>
              <a:cxn ang="0">
                <a:pos x="connsiteX32385" y="connsiteY32385"/>
              </a:cxn>
              <a:cxn ang="0">
                <a:pos x="connsiteX32386" y="connsiteY32386"/>
              </a:cxn>
              <a:cxn ang="0">
                <a:pos x="connsiteX32387" y="connsiteY32387"/>
              </a:cxn>
              <a:cxn ang="0">
                <a:pos x="connsiteX32388" y="connsiteY32388"/>
              </a:cxn>
              <a:cxn ang="0">
                <a:pos x="connsiteX32389" y="connsiteY32389"/>
              </a:cxn>
              <a:cxn ang="0">
                <a:pos x="connsiteX32390" y="connsiteY32390"/>
              </a:cxn>
              <a:cxn ang="0">
                <a:pos x="connsiteX32391" y="connsiteY32391"/>
              </a:cxn>
              <a:cxn ang="0">
                <a:pos x="connsiteX32392" y="connsiteY32392"/>
              </a:cxn>
              <a:cxn ang="0">
                <a:pos x="connsiteX32393" y="connsiteY32393"/>
              </a:cxn>
              <a:cxn ang="0">
                <a:pos x="connsiteX32394" y="connsiteY32394"/>
              </a:cxn>
              <a:cxn ang="0">
                <a:pos x="connsiteX32395" y="connsiteY32395"/>
              </a:cxn>
              <a:cxn ang="0">
                <a:pos x="connsiteX32396" y="connsiteY32396"/>
              </a:cxn>
              <a:cxn ang="0">
                <a:pos x="connsiteX32397" y="connsiteY32397"/>
              </a:cxn>
              <a:cxn ang="0">
                <a:pos x="connsiteX32398" y="connsiteY32398"/>
              </a:cxn>
              <a:cxn ang="0">
                <a:pos x="connsiteX32399" y="connsiteY32399"/>
              </a:cxn>
              <a:cxn ang="0">
                <a:pos x="connsiteX32400" y="connsiteY32400"/>
              </a:cxn>
              <a:cxn ang="0">
                <a:pos x="connsiteX32401" y="connsiteY32401"/>
              </a:cxn>
              <a:cxn ang="0">
                <a:pos x="connsiteX32402" y="connsiteY32402"/>
              </a:cxn>
              <a:cxn ang="0">
                <a:pos x="connsiteX32403" y="connsiteY32403"/>
              </a:cxn>
              <a:cxn ang="0">
                <a:pos x="connsiteX32404" y="connsiteY32404"/>
              </a:cxn>
              <a:cxn ang="0">
                <a:pos x="connsiteX32405" y="connsiteY32405"/>
              </a:cxn>
              <a:cxn ang="0">
                <a:pos x="connsiteX32406" y="connsiteY32406"/>
              </a:cxn>
              <a:cxn ang="0">
                <a:pos x="connsiteX32407" y="connsiteY32407"/>
              </a:cxn>
              <a:cxn ang="0">
                <a:pos x="connsiteX32408" y="connsiteY32408"/>
              </a:cxn>
              <a:cxn ang="0">
                <a:pos x="connsiteX32409" y="connsiteY32409"/>
              </a:cxn>
              <a:cxn ang="0">
                <a:pos x="connsiteX32410" y="connsiteY32410"/>
              </a:cxn>
              <a:cxn ang="0">
                <a:pos x="connsiteX32411" y="connsiteY32411"/>
              </a:cxn>
              <a:cxn ang="0">
                <a:pos x="connsiteX32412" y="connsiteY32412"/>
              </a:cxn>
              <a:cxn ang="0">
                <a:pos x="connsiteX32413" y="connsiteY32413"/>
              </a:cxn>
              <a:cxn ang="0">
                <a:pos x="connsiteX32414" y="connsiteY32414"/>
              </a:cxn>
              <a:cxn ang="0">
                <a:pos x="connsiteX32415" y="connsiteY32415"/>
              </a:cxn>
              <a:cxn ang="0">
                <a:pos x="connsiteX32416" y="connsiteY32416"/>
              </a:cxn>
              <a:cxn ang="0">
                <a:pos x="connsiteX32417" y="connsiteY32417"/>
              </a:cxn>
              <a:cxn ang="0">
                <a:pos x="connsiteX32418" y="connsiteY32418"/>
              </a:cxn>
              <a:cxn ang="0">
                <a:pos x="connsiteX32419" y="connsiteY32419"/>
              </a:cxn>
              <a:cxn ang="0">
                <a:pos x="connsiteX32420" y="connsiteY32420"/>
              </a:cxn>
              <a:cxn ang="0">
                <a:pos x="connsiteX32421" y="connsiteY32421"/>
              </a:cxn>
              <a:cxn ang="0">
                <a:pos x="connsiteX32422" y="connsiteY32422"/>
              </a:cxn>
              <a:cxn ang="0">
                <a:pos x="connsiteX32423" y="connsiteY32423"/>
              </a:cxn>
              <a:cxn ang="0">
                <a:pos x="connsiteX32424" y="connsiteY32424"/>
              </a:cxn>
              <a:cxn ang="0">
                <a:pos x="connsiteX32425" y="connsiteY32425"/>
              </a:cxn>
              <a:cxn ang="0">
                <a:pos x="connsiteX32426" y="connsiteY32426"/>
              </a:cxn>
              <a:cxn ang="0">
                <a:pos x="connsiteX32427" y="connsiteY32427"/>
              </a:cxn>
              <a:cxn ang="0">
                <a:pos x="connsiteX32428" y="connsiteY32428"/>
              </a:cxn>
              <a:cxn ang="0">
                <a:pos x="connsiteX32429" y="connsiteY32429"/>
              </a:cxn>
              <a:cxn ang="0">
                <a:pos x="connsiteX32430" y="connsiteY32430"/>
              </a:cxn>
              <a:cxn ang="0">
                <a:pos x="connsiteX32431" y="connsiteY32431"/>
              </a:cxn>
              <a:cxn ang="0">
                <a:pos x="connsiteX32432" y="connsiteY32432"/>
              </a:cxn>
              <a:cxn ang="0">
                <a:pos x="connsiteX32433" y="connsiteY32433"/>
              </a:cxn>
              <a:cxn ang="0">
                <a:pos x="connsiteX32434" y="connsiteY32434"/>
              </a:cxn>
              <a:cxn ang="0">
                <a:pos x="connsiteX32435" y="connsiteY32435"/>
              </a:cxn>
              <a:cxn ang="0">
                <a:pos x="connsiteX32436" y="connsiteY32436"/>
              </a:cxn>
              <a:cxn ang="0">
                <a:pos x="connsiteX32437" y="connsiteY32437"/>
              </a:cxn>
              <a:cxn ang="0">
                <a:pos x="connsiteX32438" y="connsiteY32438"/>
              </a:cxn>
              <a:cxn ang="0">
                <a:pos x="connsiteX32439" y="connsiteY32439"/>
              </a:cxn>
              <a:cxn ang="0">
                <a:pos x="connsiteX32440" y="connsiteY32440"/>
              </a:cxn>
              <a:cxn ang="0">
                <a:pos x="connsiteX32441" y="connsiteY32441"/>
              </a:cxn>
              <a:cxn ang="0">
                <a:pos x="connsiteX32442" y="connsiteY32442"/>
              </a:cxn>
              <a:cxn ang="0">
                <a:pos x="connsiteX32443" y="connsiteY32443"/>
              </a:cxn>
              <a:cxn ang="0">
                <a:pos x="connsiteX32444" y="connsiteY32444"/>
              </a:cxn>
              <a:cxn ang="0">
                <a:pos x="connsiteX32445" y="connsiteY32445"/>
              </a:cxn>
              <a:cxn ang="0">
                <a:pos x="connsiteX32446" y="connsiteY32446"/>
              </a:cxn>
              <a:cxn ang="0">
                <a:pos x="connsiteX32447" y="connsiteY32447"/>
              </a:cxn>
              <a:cxn ang="0">
                <a:pos x="connsiteX32448" y="connsiteY32448"/>
              </a:cxn>
              <a:cxn ang="0">
                <a:pos x="connsiteX32449" y="connsiteY32449"/>
              </a:cxn>
              <a:cxn ang="0">
                <a:pos x="connsiteX32450" y="connsiteY32450"/>
              </a:cxn>
              <a:cxn ang="0">
                <a:pos x="connsiteX32451" y="connsiteY32451"/>
              </a:cxn>
              <a:cxn ang="0">
                <a:pos x="connsiteX32452" y="connsiteY32452"/>
              </a:cxn>
              <a:cxn ang="0">
                <a:pos x="connsiteX32453" y="connsiteY32453"/>
              </a:cxn>
              <a:cxn ang="0">
                <a:pos x="connsiteX32454" y="connsiteY32454"/>
              </a:cxn>
              <a:cxn ang="0">
                <a:pos x="connsiteX32455" y="connsiteY32455"/>
              </a:cxn>
              <a:cxn ang="0">
                <a:pos x="connsiteX32456" y="connsiteY32456"/>
              </a:cxn>
              <a:cxn ang="0">
                <a:pos x="connsiteX32457" y="connsiteY32457"/>
              </a:cxn>
              <a:cxn ang="0">
                <a:pos x="connsiteX32458" y="connsiteY32458"/>
              </a:cxn>
              <a:cxn ang="0">
                <a:pos x="connsiteX32459" y="connsiteY32459"/>
              </a:cxn>
              <a:cxn ang="0">
                <a:pos x="connsiteX32460" y="connsiteY32460"/>
              </a:cxn>
              <a:cxn ang="0">
                <a:pos x="connsiteX32461" y="connsiteY32461"/>
              </a:cxn>
              <a:cxn ang="0">
                <a:pos x="connsiteX32462" y="connsiteY32462"/>
              </a:cxn>
              <a:cxn ang="0">
                <a:pos x="connsiteX32463" y="connsiteY32463"/>
              </a:cxn>
              <a:cxn ang="0">
                <a:pos x="connsiteX32464" y="connsiteY32464"/>
              </a:cxn>
              <a:cxn ang="0">
                <a:pos x="connsiteX32465" y="connsiteY32465"/>
              </a:cxn>
              <a:cxn ang="0">
                <a:pos x="connsiteX32466" y="connsiteY32466"/>
              </a:cxn>
              <a:cxn ang="0">
                <a:pos x="connsiteX32467" y="connsiteY32467"/>
              </a:cxn>
              <a:cxn ang="0">
                <a:pos x="connsiteX32468" y="connsiteY32468"/>
              </a:cxn>
              <a:cxn ang="0">
                <a:pos x="connsiteX32469" y="connsiteY32469"/>
              </a:cxn>
              <a:cxn ang="0">
                <a:pos x="connsiteX32470" y="connsiteY32470"/>
              </a:cxn>
              <a:cxn ang="0">
                <a:pos x="connsiteX32471" y="connsiteY32471"/>
              </a:cxn>
              <a:cxn ang="0">
                <a:pos x="connsiteX32472" y="connsiteY32472"/>
              </a:cxn>
              <a:cxn ang="0">
                <a:pos x="connsiteX32473" y="connsiteY32473"/>
              </a:cxn>
              <a:cxn ang="0">
                <a:pos x="connsiteX32474" y="connsiteY32474"/>
              </a:cxn>
              <a:cxn ang="0">
                <a:pos x="connsiteX32475" y="connsiteY32475"/>
              </a:cxn>
              <a:cxn ang="0">
                <a:pos x="connsiteX32476" y="connsiteY32476"/>
              </a:cxn>
              <a:cxn ang="0">
                <a:pos x="connsiteX32477" y="connsiteY32477"/>
              </a:cxn>
              <a:cxn ang="0">
                <a:pos x="connsiteX32478" y="connsiteY32478"/>
              </a:cxn>
              <a:cxn ang="0">
                <a:pos x="connsiteX32479" y="connsiteY32479"/>
              </a:cxn>
              <a:cxn ang="0">
                <a:pos x="connsiteX32480" y="connsiteY32480"/>
              </a:cxn>
              <a:cxn ang="0">
                <a:pos x="connsiteX32481" y="connsiteY32481"/>
              </a:cxn>
              <a:cxn ang="0">
                <a:pos x="connsiteX32482" y="connsiteY32482"/>
              </a:cxn>
              <a:cxn ang="0">
                <a:pos x="connsiteX32483" y="connsiteY32483"/>
              </a:cxn>
              <a:cxn ang="0">
                <a:pos x="connsiteX32484" y="connsiteY32484"/>
              </a:cxn>
              <a:cxn ang="0">
                <a:pos x="connsiteX32485" y="connsiteY32485"/>
              </a:cxn>
              <a:cxn ang="0">
                <a:pos x="connsiteX32486" y="connsiteY32486"/>
              </a:cxn>
              <a:cxn ang="0">
                <a:pos x="connsiteX32487" y="connsiteY32487"/>
              </a:cxn>
              <a:cxn ang="0">
                <a:pos x="connsiteX32488" y="connsiteY32488"/>
              </a:cxn>
              <a:cxn ang="0">
                <a:pos x="connsiteX32489" y="connsiteY32489"/>
              </a:cxn>
              <a:cxn ang="0">
                <a:pos x="connsiteX32490" y="connsiteY32490"/>
              </a:cxn>
              <a:cxn ang="0">
                <a:pos x="connsiteX32491" y="connsiteY32491"/>
              </a:cxn>
              <a:cxn ang="0">
                <a:pos x="connsiteX32492" y="connsiteY32492"/>
              </a:cxn>
              <a:cxn ang="0">
                <a:pos x="connsiteX32493" y="connsiteY32493"/>
              </a:cxn>
              <a:cxn ang="0">
                <a:pos x="connsiteX32494" y="connsiteY32494"/>
              </a:cxn>
              <a:cxn ang="0">
                <a:pos x="connsiteX32495" y="connsiteY32495"/>
              </a:cxn>
              <a:cxn ang="0">
                <a:pos x="connsiteX32496" y="connsiteY32496"/>
              </a:cxn>
              <a:cxn ang="0">
                <a:pos x="connsiteX32497" y="connsiteY32497"/>
              </a:cxn>
              <a:cxn ang="0">
                <a:pos x="connsiteX32498" y="connsiteY32498"/>
              </a:cxn>
              <a:cxn ang="0">
                <a:pos x="connsiteX32499" y="connsiteY32499"/>
              </a:cxn>
              <a:cxn ang="0">
                <a:pos x="connsiteX32500" y="connsiteY32500"/>
              </a:cxn>
              <a:cxn ang="0">
                <a:pos x="connsiteX32501" y="connsiteY32501"/>
              </a:cxn>
              <a:cxn ang="0">
                <a:pos x="connsiteX32502" y="connsiteY32502"/>
              </a:cxn>
              <a:cxn ang="0">
                <a:pos x="connsiteX32503" y="connsiteY32503"/>
              </a:cxn>
              <a:cxn ang="0">
                <a:pos x="connsiteX32504" y="connsiteY32504"/>
              </a:cxn>
              <a:cxn ang="0">
                <a:pos x="connsiteX32505" y="connsiteY32505"/>
              </a:cxn>
              <a:cxn ang="0">
                <a:pos x="connsiteX32506" y="connsiteY32506"/>
              </a:cxn>
              <a:cxn ang="0">
                <a:pos x="connsiteX32507" y="connsiteY32507"/>
              </a:cxn>
              <a:cxn ang="0">
                <a:pos x="connsiteX32508" y="connsiteY32508"/>
              </a:cxn>
              <a:cxn ang="0">
                <a:pos x="connsiteX32509" y="connsiteY32509"/>
              </a:cxn>
              <a:cxn ang="0">
                <a:pos x="connsiteX32510" y="connsiteY32510"/>
              </a:cxn>
              <a:cxn ang="0">
                <a:pos x="connsiteX32511" y="connsiteY32511"/>
              </a:cxn>
              <a:cxn ang="0">
                <a:pos x="connsiteX32512" y="connsiteY32512"/>
              </a:cxn>
              <a:cxn ang="0">
                <a:pos x="connsiteX32513" y="connsiteY32513"/>
              </a:cxn>
              <a:cxn ang="0">
                <a:pos x="connsiteX32514" y="connsiteY32514"/>
              </a:cxn>
              <a:cxn ang="0">
                <a:pos x="connsiteX32515" y="connsiteY32515"/>
              </a:cxn>
              <a:cxn ang="0">
                <a:pos x="connsiteX32516" y="connsiteY32516"/>
              </a:cxn>
              <a:cxn ang="0">
                <a:pos x="connsiteX32517" y="connsiteY32517"/>
              </a:cxn>
              <a:cxn ang="0">
                <a:pos x="connsiteX32518" y="connsiteY32518"/>
              </a:cxn>
              <a:cxn ang="0">
                <a:pos x="connsiteX32519" y="connsiteY32519"/>
              </a:cxn>
              <a:cxn ang="0">
                <a:pos x="connsiteX32520" y="connsiteY32520"/>
              </a:cxn>
              <a:cxn ang="0">
                <a:pos x="connsiteX32521" y="connsiteY32521"/>
              </a:cxn>
              <a:cxn ang="0">
                <a:pos x="connsiteX32522" y="connsiteY32522"/>
              </a:cxn>
              <a:cxn ang="0">
                <a:pos x="connsiteX32523" y="connsiteY32523"/>
              </a:cxn>
              <a:cxn ang="0">
                <a:pos x="connsiteX32524" y="connsiteY32524"/>
              </a:cxn>
              <a:cxn ang="0">
                <a:pos x="connsiteX32525" y="connsiteY32525"/>
              </a:cxn>
              <a:cxn ang="0">
                <a:pos x="connsiteX32526" y="connsiteY32526"/>
              </a:cxn>
              <a:cxn ang="0">
                <a:pos x="connsiteX32527" y="connsiteY32527"/>
              </a:cxn>
              <a:cxn ang="0">
                <a:pos x="connsiteX32528" y="connsiteY32528"/>
              </a:cxn>
              <a:cxn ang="0">
                <a:pos x="connsiteX32529" y="connsiteY32529"/>
              </a:cxn>
              <a:cxn ang="0">
                <a:pos x="connsiteX32530" y="connsiteY32530"/>
              </a:cxn>
              <a:cxn ang="0">
                <a:pos x="connsiteX32531" y="connsiteY32531"/>
              </a:cxn>
              <a:cxn ang="0">
                <a:pos x="connsiteX32532" y="connsiteY32532"/>
              </a:cxn>
              <a:cxn ang="0">
                <a:pos x="connsiteX32533" y="connsiteY32533"/>
              </a:cxn>
              <a:cxn ang="0">
                <a:pos x="connsiteX32534" y="connsiteY32534"/>
              </a:cxn>
              <a:cxn ang="0">
                <a:pos x="connsiteX32535" y="connsiteY32535"/>
              </a:cxn>
              <a:cxn ang="0">
                <a:pos x="connsiteX32536" y="connsiteY32536"/>
              </a:cxn>
              <a:cxn ang="0">
                <a:pos x="connsiteX32537" y="connsiteY32537"/>
              </a:cxn>
              <a:cxn ang="0">
                <a:pos x="connsiteX32538" y="connsiteY32538"/>
              </a:cxn>
              <a:cxn ang="0">
                <a:pos x="connsiteX32539" y="connsiteY32539"/>
              </a:cxn>
              <a:cxn ang="0">
                <a:pos x="connsiteX32540" y="connsiteY32540"/>
              </a:cxn>
              <a:cxn ang="0">
                <a:pos x="connsiteX32541" y="connsiteY32541"/>
              </a:cxn>
              <a:cxn ang="0">
                <a:pos x="connsiteX32542" y="connsiteY32542"/>
              </a:cxn>
              <a:cxn ang="0">
                <a:pos x="connsiteX32543" y="connsiteY32543"/>
              </a:cxn>
              <a:cxn ang="0">
                <a:pos x="connsiteX32544" y="connsiteY32544"/>
              </a:cxn>
              <a:cxn ang="0">
                <a:pos x="connsiteX32545" y="connsiteY32545"/>
              </a:cxn>
              <a:cxn ang="0">
                <a:pos x="connsiteX32546" y="connsiteY32546"/>
              </a:cxn>
              <a:cxn ang="0">
                <a:pos x="connsiteX32547" y="connsiteY32547"/>
              </a:cxn>
              <a:cxn ang="0">
                <a:pos x="connsiteX32548" y="connsiteY32548"/>
              </a:cxn>
              <a:cxn ang="0">
                <a:pos x="connsiteX32549" y="connsiteY32549"/>
              </a:cxn>
              <a:cxn ang="0">
                <a:pos x="connsiteX32550" y="connsiteY32550"/>
              </a:cxn>
              <a:cxn ang="0">
                <a:pos x="connsiteX32551" y="connsiteY32551"/>
              </a:cxn>
              <a:cxn ang="0">
                <a:pos x="connsiteX32552" y="connsiteY32552"/>
              </a:cxn>
              <a:cxn ang="0">
                <a:pos x="connsiteX32553" y="connsiteY32553"/>
              </a:cxn>
              <a:cxn ang="0">
                <a:pos x="connsiteX32554" y="connsiteY32554"/>
              </a:cxn>
              <a:cxn ang="0">
                <a:pos x="connsiteX32555" y="connsiteY32555"/>
              </a:cxn>
              <a:cxn ang="0">
                <a:pos x="connsiteX32556" y="connsiteY32556"/>
              </a:cxn>
              <a:cxn ang="0">
                <a:pos x="connsiteX32557" y="connsiteY32557"/>
              </a:cxn>
              <a:cxn ang="0">
                <a:pos x="connsiteX32558" y="connsiteY32558"/>
              </a:cxn>
              <a:cxn ang="0">
                <a:pos x="connsiteX32559" y="connsiteY32559"/>
              </a:cxn>
              <a:cxn ang="0">
                <a:pos x="connsiteX32560" y="connsiteY32560"/>
              </a:cxn>
              <a:cxn ang="0">
                <a:pos x="connsiteX32561" y="connsiteY32561"/>
              </a:cxn>
              <a:cxn ang="0">
                <a:pos x="connsiteX32562" y="connsiteY32562"/>
              </a:cxn>
              <a:cxn ang="0">
                <a:pos x="connsiteX32563" y="connsiteY32563"/>
              </a:cxn>
              <a:cxn ang="0">
                <a:pos x="connsiteX32564" y="connsiteY32564"/>
              </a:cxn>
              <a:cxn ang="0">
                <a:pos x="connsiteX32565" y="connsiteY32565"/>
              </a:cxn>
              <a:cxn ang="0">
                <a:pos x="connsiteX32566" y="connsiteY32566"/>
              </a:cxn>
              <a:cxn ang="0">
                <a:pos x="connsiteX32567" y="connsiteY32567"/>
              </a:cxn>
              <a:cxn ang="0">
                <a:pos x="connsiteX32568" y="connsiteY32568"/>
              </a:cxn>
              <a:cxn ang="0">
                <a:pos x="connsiteX32569" y="connsiteY32569"/>
              </a:cxn>
              <a:cxn ang="0">
                <a:pos x="connsiteX32570" y="connsiteY32570"/>
              </a:cxn>
              <a:cxn ang="0">
                <a:pos x="connsiteX32571" y="connsiteY32571"/>
              </a:cxn>
              <a:cxn ang="0">
                <a:pos x="connsiteX32572" y="connsiteY32572"/>
              </a:cxn>
              <a:cxn ang="0">
                <a:pos x="connsiteX32573" y="connsiteY32573"/>
              </a:cxn>
              <a:cxn ang="0">
                <a:pos x="connsiteX32574" y="connsiteY32574"/>
              </a:cxn>
              <a:cxn ang="0">
                <a:pos x="connsiteX32575" y="connsiteY32575"/>
              </a:cxn>
              <a:cxn ang="0">
                <a:pos x="connsiteX32576" y="connsiteY32576"/>
              </a:cxn>
              <a:cxn ang="0">
                <a:pos x="connsiteX32577" y="connsiteY32577"/>
              </a:cxn>
              <a:cxn ang="0">
                <a:pos x="connsiteX32578" y="connsiteY32578"/>
              </a:cxn>
              <a:cxn ang="0">
                <a:pos x="connsiteX32579" y="connsiteY32579"/>
              </a:cxn>
              <a:cxn ang="0">
                <a:pos x="connsiteX32580" y="connsiteY32580"/>
              </a:cxn>
              <a:cxn ang="0">
                <a:pos x="connsiteX32581" y="connsiteY32581"/>
              </a:cxn>
              <a:cxn ang="0">
                <a:pos x="connsiteX32582" y="connsiteY32582"/>
              </a:cxn>
              <a:cxn ang="0">
                <a:pos x="connsiteX32583" y="connsiteY32583"/>
              </a:cxn>
              <a:cxn ang="0">
                <a:pos x="connsiteX32584" y="connsiteY32584"/>
              </a:cxn>
              <a:cxn ang="0">
                <a:pos x="connsiteX32585" y="connsiteY32585"/>
              </a:cxn>
              <a:cxn ang="0">
                <a:pos x="connsiteX32586" y="connsiteY32586"/>
              </a:cxn>
              <a:cxn ang="0">
                <a:pos x="connsiteX32587" y="connsiteY32587"/>
              </a:cxn>
              <a:cxn ang="0">
                <a:pos x="connsiteX32588" y="connsiteY32588"/>
              </a:cxn>
              <a:cxn ang="0">
                <a:pos x="connsiteX32589" y="connsiteY32589"/>
              </a:cxn>
              <a:cxn ang="0">
                <a:pos x="connsiteX32590" y="connsiteY32590"/>
              </a:cxn>
              <a:cxn ang="0">
                <a:pos x="connsiteX32591" y="connsiteY32591"/>
              </a:cxn>
              <a:cxn ang="0">
                <a:pos x="connsiteX32592" y="connsiteY32592"/>
              </a:cxn>
              <a:cxn ang="0">
                <a:pos x="connsiteX32593" y="connsiteY32593"/>
              </a:cxn>
              <a:cxn ang="0">
                <a:pos x="connsiteX32594" y="connsiteY32594"/>
              </a:cxn>
              <a:cxn ang="0">
                <a:pos x="connsiteX32595" y="connsiteY32595"/>
              </a:cxn>
              <a:cxn ang="0">
                <a:pos x="connsiteX32596" y="connsiteY32596"/>
              </a:cxn>
              <a:cxn ang="0">
                <a:pos x="connsiteX32597" y="connsiteY32597"/>
              </a:cxn>
              <a:cxn ang="0">
                <a:pos x="connsiteX32598" y="connsiteY32598"/>
              </a:cxn>
              <a:cxn ang="0">
                <a:pos x="connsiteX32599" y="connsiteY32599"/>
              </a:cxn>
              <a:cxn ang="0">
                <a:pos x="connsiteX32600" y="connsiteY32600"/>
              </a:cxn>
              <a:cxn ang="0">
                <a:pos x="connsiteX32601" y="connsiteY32601"/>
              </a:cxn>
              <a:cxn ang="0">
                <a:pos x="connsiteX32602" y="connsiteY32602"/>
              </a:cxn>
              <a:cxn ang="0">
                <a:pos x="connsiteX32603" y="connsiteY32603"/>
              </a:cxn>
              <a:cxn ang="0">
                <a:pos x="connsiteX32604" y="connsiteY32604"/>
              </a:cxn>
              <a:cxn ang="0">
                <a:pos x="connsiteX32605" y="connsiteY32605"/>
              </a:cxn>
              <a:cxn ang="0">
                <a:pos x="connsiteX32606" y="connsiteY32606"/>
              </a:cxn>
              <a:cxn ang="0">
                <a:pos x="connsiteX32607" y="connsiteY32607"/>
              </a:cxn>
              <a:cxn ang="0">
                <a:pos x="connsiteX32608" y="connsiteY32608"/>
              </a:cxn>
              <a:cxn ang="0">
                <a:pos x="connsiteX32609" y="connsiteY32609"/>
              </a:cxn>
              <a:cxn ang="0">
                <a:pos x="connsiteX32610" y="connsiteY32610"/>
              </a:cxn>
              <a:cxn ang="0">
                <a:pos x="connsiteX32611" y="connsiteY32611"/>
              </a:cxn>
              <a:cxn ang="0">
                <a:pos x="connsiteX32612" y="connsiteY32612"/>
              </a:cxn>
              <a:cxn ang="0">
                <a:pos x="connsiteX32613" y="connsiteY32613"/>
              </a:cxn>
              <a:cxn ang="0">
                <a:pos x="connsiteX32614" y="connsiteY32614"/>
              </a:cxn>
              <a:cxn ang="0">
                <a:pos x="connsiteX32615" y="connsiteY32615"/>
              </a:cxn>
              <a:cxn ang="0">
                <a:pos x="connsiteX32616" y="connsiteY32616"/>
              </a:cxn>
              <a:cxn ang="0">
                <a:pos x="connsiteX32617" y="connsiteY32617"/>
              </a:cxn>
              <a:cxn ang="0">
                <a:pos x="connsiteX32618" y="connsiteY32618"/>
              </a:cxn>
              <a:cxn ang="0">
                <a:pos x="connsiteX32619" y="connsiteY32619"/>
              </a:cxn>
              <a:cxn ang="0">
                <a:pos x="connsiteX32620" y="connsiteY32620"/>
              </a:cxn>
              <a:cxn ang="0">
                <a:pos x="connsiteX32621" y="connsiteY32621"/>
              </a:cxn>
              <a:cxn ang="0">
                <a:pos x="connsiteX32622" y="connsiteY32622"/>
              </a:cxn>
              <a:cxn ang="0">
                <a:pos x="connsiteX32623" y="connsiteY32623"/>
              </a:cxn>
              <a:cxn ang="0">
                <a:pos x="connsiteX32624" y="connsiteY32624"/>
              </a:cxn>
              <a:cxn ang="0">
                <a:pos x="connsiteX32625" y="connsiteY32625"/>
              </a:cxn>
              <a:cxn ang="0">
                <a:pos x="connsiteX32626" y="connsiteY32626"/>
              </a:cxn>
              <a:cxn ang="0">
                <a:pos x="connsiteX32627" y="connsiteY32627"/>
              </a:cxn>
              <a:cxn ang="0">
                <a:pos x="connsiteX32628" y="connsiteY32628"/>
              </a:cxn>
              <a:cxn ang="0">
                <a:pos x="connsiteX32629" y="connsiteY32629"/>
              </a:cxn>
              <a:cxn ang="0">
                <a:pos x="connsiteX32630" y="connsiteY32630"/>
              </a:cxn>
              <a:cxn ang="0">
                <a:pos x="connsiteX32631" y="connsiteY32631"/>
              </a:cxn>
              <a:cxn ang="0">
                <a:pos x="connsiteX32632" y="connsiteY32632"/>
              </a:cxn>
              <a:cxn ang="0">
                <a:pos x="connsiteX32633" y="connsiteY32633"/>
              </a:cxn>
              <a:cxn ang="0">
                <a:pos x="connsiteX32634" y="connsiteY32634"/>
              </a:cxn>
              <a:cxn ang="0">
                <a:pos x="connsiteX32635" y="connsiteY32635"/>
              </a:cxn>
              <a:cxn ang="0">
                <a:pos x="connsiteX32636" y="connsiteY32636"/>
              </a:cxn>
              <a:cxn ang="0">
                <a:pos x="connsiteX32637" y="connsiteY32637"/>
              </a:cxn>
              <a:cxn ang="0">
                <a:pos x="connsiteX32638" y="connsiteY32638"/>
              </a:cxn>
              <a:cxn ang="0">
                <a:pos x="connsiteX32639" y="connsiteY32639"/>
              </a:cxn>
              <a:cxn ang="0">
                <a:pos x="connsiteX32640" y="connsiteY32640"/>
              </a:cxn>
              <a:cxn ang="0">
                <a:pos x="connsiteX32641" y="connsiteY32641"/>
              </a:cxn>
              <a:cxn ang="0">
                <a:pos x="connsiteX32642" y="connsiteY32642"/>
              </a:cxn>
              <a:cxn ang="0">
                <a:pos x="connsiteX32643" y="connsiteY32643"/>
              </a:cxn>
              <a:cxn ang="0">
                <a:pos x="connsiteX32644" y="connsiteY32644"/>
              </a:cxn>
              <a:cxn ang="0">
                <a:pos x="connsiteX32645" y="connsiteY32645"/>
              </a:cxn>
              <a:cxn ang="0">
                <a:pos x="connsiteX32646" y="connsiteY32646"/>
              </a:cxn>
              <a:cxn ang="0">
                <a:pos x="connsiteX32647" y="connsiteY32647"/>
              </a:cxn>
              <a:cxn ang="0">
                <a:pos x="connsiteX32648" y="connsiteY32648"/>
              </a:cxn>
              <a:cxn ang="0">
                <a:pos x="connsiteX32649" y="connsiteY32649"/>
              </a:cxn>
              <a:cxn ang="0">
                <a:pos x="connsiteX32650" y="connsiteY32650"/>
              </a:cxn>
              <a:cxn ang="0">
                <a:pos x="connsiteX32651" y="connsiteY32651"/>
              </a:cxn>
              <a:cxn ang="0">
                <a:pos x="connsiteX32652" y="connsiteY32652"/>
              </a:cxn>
              <a:cxn ang="0">
                <a:pos x="connsiteX32653" y="connsiteY32653"/>
              </a:cxn>
              <a:cxn ang="0">
                <a:pos x="connsiteX32654" y="connsiteY32654"/>
              </a:cxn>
              <a:cxn ang="0">
                <a:pos x="connsiteX32655" y="connsiteY32655"/>
              </a:cxn>
              <a:cxn ang="0">
                <a:pos x="connsiteX32656" y="connsiteY32656"/>
              </a:cxn>
              <a:cxn ang="0">
                <a:pos x="connsiteX32657" y="connsiteY32657"/>
              </a:cxn>
              <a:cxn ang="0">
                <a:pos x="connsiteX32658" y="connsiteY32658"/>
              </a:cxn>
              <a:cxn ang="0">
                <a:pos x="connsiteX32659" y="connsiteY32659"/>
              </a:cxn>
              <a:cxn ang="0">
                <a:pos x="connsiteX32660" y="connsiteY32660"/>
              </a:cxn>
              <a:cxn ang="0">
                <a:pos x="connsiteX32661" y="connsiteY32661"/>
              </a:cxn>
              <a:cxn ang="0">
                <a:pos x="connsiteX32662" y="connsiteY32662"/>
              </a:cxn>
              <a:cxn ang="0">
                <a:pos x="connsiteX32663" y="connsiteY32663"/>
              </a:cxn>
              <a:cxn ang="0">
                <a:pos x="connsiteX32664" y="connsiteY32664"/>
              </a:cxn>
              <a:cxn ang="0">
                <a:pos x="connsiteX32665" y="connsiteY32665"/>
              </a:cxn>
              <a:cxn ang="0">
                <a:pos x="connsiteX32666" y="connsiteY32666"/>
              </a:cxn>
              <a:cxn ang="0">
                <a:pos x="connsiteX32667" y="connsiteY32667"/>
              </a:cxn>
              <a:cxn ang="0">
                <a:pos x="connsiteX32668" y="connsiteY32668"/>
              </a:cxn>
              <a:cxn ang="0">
                <a:pos x="connsiteX32669" y="connsiteY32669"/>
              </a:cxn>
              <a:cxn ang="0">
                <a:pos x="connsiteX32670" y="connsiteY32670"/>
              </a:cxn>
              <a:cxn ang="0">
                <a:pos x="connsiteX32671" y="connsiteY32671"/>
              </a:cxn>
              <a:cxn ang="0">
                <a:pos x="connsiteX32672" y="connsiteY32672"/>
              </a:cxn>
              <a:cxn ang="0">
                <a:pos x="connsiteX32673" y="connsiteY32673"/>
              </a:cxn>
              <a:cxn ang="0">
                <a:pos x="connsiteX32674" y="connsiteY32674"/>
              </a:cxn>
              <a:cxn ang="0">
                <a:pos x="connsiteX32675" y="connsiteY32675"/>
              </a:cxn>
              <a:cxn ang="0">
                <a:pos x="connsiteX32676" y="connsiteY32676"/>
              </a:cxn>
              <a:cxn ang="0">
                <a:pos x="connsiteX32677" y="connsiteY32677"/>
              </a:cxn>
              <a:cxn ang="0">
                <a:pos x="connsiteX32678" y="connsiteY32678"/>
              </a:cxn>
              <a:cxn ang="0">
                <a:pos x="connsiteX32679" y="connsiteY32679"/>
              </a:cxn>
              <a:cxn ang="0">
                <a:pos x="connsiteX32680" y="connsiteY32680"/>
              </a:cxn>
              <a:cxn ang="0">
                <a:pos x="connsiteX32681" y="connsiteY32681"/>
              </a:cxn>
              <a:cxn ang="0">
                <a:pos x="connsiteX32682" y="connsiteY32682"/>
              </a:cxn>
              <a:cxn ang="0">
                <a:pos x="connsiteX32683" y="connsiteY32683"/>
              </a:cxn>
              <a:cxn ang="0">
                <a:pos x="connsiteX32684" y="connsiteY32684"/>
              </a:cxn>
              <a:cxn ang="0">
                <a:pos x="connsiteX32685" y="connsiteY32685"/>
              </a:cxn>
              <a:cxn ang="0">
                <a:pos x="connsiteX32686" y="connsiteY32686"/>
              </a:cxn>
              <a:cxn ang="0">
                <a:pos x="connsiteX32687" y="connsiteY32687"/>
              </a:cxn>
              <a:cxn ang="0">
                <a:pos x="connsiteX32688" y="connsiteY32688"/>
              </a:cxn>
              <a:cxn ang="0">
                <a:pos x="connsiteX32689" y="connsiteY32689"/>
              </a:cxn>
              <a:cxn ang="0">
                <a:pos x="connsiteX32690" y="connsiteY32690"/>
              </a:cxn>
              <a:cxn ang="0">
                <a:pos x="connsiteX32691" y="connsiteY32691"/>
              </a:cxn>
              <a:cxn ang="0">
                <a:pos x="connsiteX32692" y="connsiteY32692"/>
              </a:cxn>
              <a:cxn ang="0">
                <a:pos x="connsiteX32693" y="connsiteY32693"/>
              </a:cxn>
              <a:cxn ang="0">
                <a:pos x="connsiteX32694" y="connsiteY32694"/>
              </a:cxn>
              <a:cxn ang="0">
                <a:pos x="connsiteX32695" y="connsiteY32695"/>
              </a:cxn>
              <a:cxn ang="0">
                <a:pos x="connsiteX32696" y="connsiteY32696"/>
              </a:cxn>
              <a:cxn ang="0">
                <a:pos x="connsiteX32697" y="connsiteY32697"/>
              </a:cxn>
              <a:cxn ang="0">
                <a:pos x="connsiteX32698" y="connsiteY32698"/>
              </a:cxn>
              <a:cxn ang="0">
                <a:pos x="connsiteX32699" y="connsiteY32699"/>
              </a:cxn>
              <a:cxn ang="0">
                <a:pos x="connsiteX32700" y="connsiteY32700"/>
              </a:cxn>
              <a:cxn ang="0">
                <a:pos x="connsiteX32701" y="connsiteY32701"/>
              </a:cxn>
              <a:cxn ang="0">
                <a:pos x="connsiteX32702" y="connsiteY32702"/>
              </a:cxn>
              <a:cxn ang="0">
                <a:pos x="connsiteX32703" y="connsiteY32703"/>
              </a:cxn>
              <a:cxn ang="0">
                <a:pos x="connsiteX32704" y="connsiteY32704"/>
              </a:cxn>
              <a:cxn ang="0">
                <a:pos x="connsiteX32705" y="connsiteY32705"/>
              </a:cxn>
              <a:cxn ang="0">
                <a:pos x="connsiteX32706" y="connsiteY32706"/>
              </a:cxn>
              <a:cxn ang="0">
                <a:pos x="connsiteX32707" y="connsiteY32707"/>
              </a:cxn>
              <a:cxn ang="0">
                <a:pos x="connsiteX32708" y="connsiteY32708"/>
              </a:cxn>
              <a:cxn ang="0">
                <a:pos x="connsiteX32709" y="connsiteY32709"/>
              </a:cxn>
              <a:cxn ang="0">
                <a:pos x="connsiteX32710" y="connsiteY32710"/>
              </a:cxn>
              <a:cxn ang="0">
                <a:pos x="connsiteX32711" y="connsiteY32711"/>
              </a:cxn>
              <a:cxn ang="0">
                <a:pos x="connsiteX32712" y="connsiteY32712"/>
              </a:cxn>
              <a:cxn ang="0">
                <a:pos x="connsiteX32713" y="connsiteY32713"/>
              </a:cxn>
              <a:cxn ang="0">
                <a:pos x="connsiteX32714" y="connsiteY32714"/>
              </a:cxn>
              <a:cxn ang="0">
                <a:pos x="connsiteX32715" y="connsiteY32715"/>
              </a:cxn>
              <a:cxn ang="0">
                <a:pos x="connsiteX32716" y="connsiteY32716"/>
              </a:cxn>
              <a:cxn ang="0">
                <a:pos x="connsiteX32717" y="connsiteY32717"/>
              </a:cxn>
              <a:cxn ang="0">
                <a:pos x="connsiteX32718" y="connsiteY32718"/>
              </a:cxn>
              <a:cxn ang="0">
                <a:pos x="connsiteX32719" y="connsiteY32719"/>
              </a:cxn>
              <a:cxn ang="0">
                <a:pos x="connsiteX32720" y="connsiteY32720"/>
              </a:cxn>
              <a:cxn ang="0">
                <a:pos x="connsiteX32721" y="connsiteY32721"/>
              </a:cxn>
              <a:cxn ang="0">
                <a:pos x="connsiteX32722" y="connsiteY32722"/>
              </a:cxn>
              <a:cxn ang="0">
                <a:pos x="connsiteX32723" y="connsiteY32723"/>
              </a:cxn>
              <a:cxn ang="0">
                <a:pos x="connsiteX32724" y="connsiteY32724"/>
              </a:cxn>
              <a:cxn ang="0">
                <a:pos x="connsiteX32725" y="connsiteY32725"/>
              </a:cxn>
              <a:cxn ang="0">
                <a:pos x="connsiteX32726" y="connsiteY32726"/>
              </a:cxn>
              <a:cxn ang="0">
                <a:pos x="connsiteX32727" y="connsiteY32727"/>
              </a:cxn>
              <a:cxn ang="0">
                <a:pos x="connsiteX32728" y="connsiteY32728"/>
              </a:cxn>
              <a:cxn ang="0">
                <a:pos x="connsiteX32729" y="connsiteY32729"/>
              </a:cxn>
              <a:cxn ang="0">
                <a:pos x="connsiteX32730" y="connsiteY32730"/>
              </a:cxn>
              <a:cxn ang="0">
                <a:pos x="connsiteX32731" y="connsiteY32731"/>
              </a:cxn>
              <a:cxn ang="0">
                <a:pos x="connsiteX32732" y="connsiteY32732"/>
              </a:cxn>
              <a:cxn ang="0">
                <a:pos x="connsiteX32733" y="connsiteY32733"/>
              </a:cxn>
              <a:cxn ang="0">
                <a:pos x="connsiteX32734" y="connsiteY32734"/>
              </a:cxn>
              <a:cxn ang="0">
                <a:pos x="connsiteX32735" y="connsiteY32735"/>
              </a:cxn>
              <a:cxn ang="0">
                <a:pos x="connsiteX32736" y="connsiteY32736"/>
              </a:cxn>
              <a:cxn ang="0">
                <a:pos x="connsiteX32737" y="connsiteY32737"/>
              </a:cxn>
              <a:cxn ang="0">
                <a:pos x="connsiteX32738" y="connsiteY32738"/>
              </a:cxn>
              <a:cxn ang="0">
                <a:pos x="connsiteX32739" y="connsiteY32739"/>
              </a:cxn>
              <a:cxn ang="0">
                <a:pos x="connsiteX32740" y="connsiteY32740"/>
              </a:cxn>
              <a:cxn ang="0">
                <a:pos x="connsiteX32741" y="connsiteY32741"/>
              </a:cxn>
              <a:cxn ang="0">
                <a:pos x="connsiteX32742" y="connsiteY32742"/>
              </a:cxn>
              <a:cxn ang="0">
                <a:pos x="connsiteX32743" y="connsiteY32743"/>
              </a:cxn>
              <a:cxn ang="0">
                <a:pos x="connsiteX32744" y="connsiteY32744"/>
              </a:cxn>
              <a:cxn ang="0">
                <a:pos x="connsiteX32745" y="connsiteY32745"/>
              </a:cxn>
              <a:cxn ang="0">
                <a:pos x="connsiteX32746" y="connsiteY32746"/>
              </a:cxn>
              <a:cxn ang="0">
                <a:pos x="connsiteX32747" y="connsiteY32747"/>
              </a:cxn>
              <a:cxn ang="0">
                <a:pos x="connsiteX32748" y="connsiteY32748"/>
              </a:cxn>
              <a:cxn ang="0">
                <a:pos x="connsiteX32749" y="connsiteY32749"/>
              </a:cxn>
              <a:cxn ang="0">
                <a:pos x="connsiteX32750" y="connsiteY32750"/>
              </a:cxn>
              <a:cxn ang="0">
                <a:pos x="connsiteX32751" y="connsiteY32751"/>
              </a:cxn>
              <a:cxn ang="0">
                <a:pos x="connsiteX32752" y="connsiteY32752"/>
              </a:cxn>
              <a:cxn ang="0">
                <a:pos x="connsiteX32753" y="connsiteY32753"/>
              </a:cxn>
              <a:cxn ang="0">
                <a:pos x="connsiteX32754" y="connsiteY32754"/>
              </a:cxn>
              <a:cxn ang="0">
                <a:pos x="connsiteX32755" y="connsiteY32755"/>
              </a:cxn>
              <a:cxn ang="0">
                <a:pos x="connsiteX32756" y="connsiteY32756"/>
              </a:cxn>
              <a:cxn ang="0">
                <a:pos x="connsiteX32757" y="connsiteY32757"/>
              </a:cxn>
              <a:cxn ang="0">
                <a:pos x="connsiteX32758" y="connsiteY32758"/>
              </a:cxn>
              <a:cxn ang="0">
                <a:pos x="connsiteX32759" y="connsiteY32759"/>
              </a:cxn>
              <a:cxn ang="0">
                <a:pos x="connsiteX32760" y="connsiteY32760"/>
              </a:cxn>
              <a:cxn ang="0">
                <a:pos x="connsiteX32761" y="connsiteY32761"/>
              </a:cxn>
              <a:cxn ang="0">
                <a:pos x="connsiteX32762" y="connsiteY32762"/>
              </a:cxn>
              <a:cxn ang="0">
                <a:pos x="connsiteX32763" y="connsiteY32763"/>
              </a:cxn>
              <a:cxn ang="0">
                <a:pos x="connsiteX32764" y="connsiteY32764"/>
              </a:cxn>
              <a:cxn ang="0">
                <a:pos x="connsiteX32765" y="connsiteY32765"/>
              </a:cxn>
              <a:cxn ang="0">
                <a:pos x="connsiteX32766" y="connsiteY32766"/>
              </a:cxn>
              <a:cxn ang="0">
                <a:pos x="connsiteX32767" y="connsiteY32767"/>
              </a:cxn>
              <a:cxn ang="0">
                <a:pos x="connsiteX32768" y="connsiteY32768"/>
              </a:cxn>
              <a:cxn ang="0">
                <a:pos x="connsiteX32769" y="connsiteY32769"/>
              </a:cxn>
              <a:cxn ang="0">
                <a:pos x="connsiteX32770" y="connsiteY32770"/>
              </a:cxn>
              <a:cxn ang="0">
                <a:pos x="connsiteX32771" y="connsiteY32771"/>
              </a:cxn>
              <a:cxn ang="0">
                <a:pos x="connsiteX32772" y="connsiteY32772"/>
              </a:cxn>
              <a:cxn ang="0">
                <a:pos x="connsiteX32773" y="connsiteY32773"/>
              </a:cxn>
              <a:cxn ang="0">
                <a:pos x="connsiteX32774" y="connsiteY32774"/>
              </a:cxn>
              <a:cxn ang="0">
                <a:pos x="connsiteX32775" y="connsiteY32775"/>
              </a:cxn>
              <a:cxn ang="0">
                <a:pos x="connsiteX32776" y="connsiteY32776"/>
              </a:cxn>
              <a:cxn ang="0">
                <a:pos x="connsiteX32777" y="connsiteY32777"/>
              </a:cxn>
              <a:cxn ang="0">
                <a:pos x="connsiteX32778" y="connsiteY32778"/>
              </a:cxn>
              <a:cxn ang="0">
                <a:pos x="connsiteX32779" y="connsiteY32779"/>
              </a:cxn>
              <a:cxn ang="0">
                <a:pos x="connsiteX32780" y="connsiteY32780"/>
              </a:cxn>
              <a:cxn ang="0">
                <a:pos x="connsiteX32781" y="connsiteY32781"/>
              </a:cxn>
              <a:cxn ang="0">
                <a:pos x="connsiteX32782" y="connsiteY32782"/>
              </a:cxn>
              <a:cxn ang="0">
                <a:pos x="connsiteX32783" y="connsiteY32783"/>
              </a:cxn>
              <a:cxn ang="0">
                <a:pos x="connsiteX32784" y="connsiteY32784"/>
              </a:cxn>
              <a:cxn ang="0">
                <a:pos x="connsiteX32785" y="connsiteY32785"/>
              </a:cxn>
              <a:cxn ang="0">
                <a:pos x="connsiteX32786" y="connsiteY32786"/>
              </a:cxn>
              <a:cxn ang="0">
                <a:pos x="connsiteX32787" y="connsiteY32787"/>
              </a:cxn>
              <a:cxn ang="0">
                <a:pos x="connsiteX32788" y="connsiteY32788"/>
              </a:cxn>
              <a:cxn ang="0">
                <a:pos x="connsiteX32789" y="connsiteY32789"/>
              </a:cxn>
              <a:cxn ang="0">
                <a:pos x="connsiteX32790" y="connsiteY32790"/>
              </a:cxn>
              <a:cxn ang="0">
                <a:pos x="connsiteX32791" y="connsiteY32791"/>
              </a:cxn>
              <a:cxn ang="0">
                <a:pos x="connsiteX32792" y="connsiteY32792"/>
              </a:cxn>
              <a:cxn ang="0">
                <a:pos x="connsiteX32793" y="connsiteY32793"/>
              </a:cxn>
              <a:cxn ang="0">
                <a:pos x="connsiteX32794" y="connsiteY32794"/>
              </a:cxn>
              <a:cxn ang="0">
                <a:pos x="connsiteX32795" y="connsiteY32795"/>
              </a:cxn>
              <a:cxn ang="0">
                <a:pos x="connsiteX32796" y="connsiteY32796"/>
              </a:cxn>
              <a:cxn ang="0">
                <a:pos x="connsiteX32797" y="connsiteY32797"/>
              </a:cxn>
              <a:cxn ang="0">
                <a:pos x="connsiteX32798" y="connsiteY32798"/>
              </a:cxn>
              <a:cxn ang="0">
                <a:pos x="connsiteX32799" y="connsiteY32799"/>
              </a:cxn>
              <a:cxn ang="0">
                <a:pos x="connsiteX32800" y="connsiteY32800"/>
              </a:cxn>
              <a:cxn ang="0">
                <a:pos x="connsiteX32801" y="connsiteY32801"/>
              </a:cxn>
              <a:cxn ang="0">
                <a:pos x="connsiteX32802" y="connsiteY32802"/>
              </a:cxn>
              <a:cxn ang="0">
                <a:pos x="connsiteX32803" y="connsiteY32803"/>
              </a:cxn>
              <a:cxn ang="0">
                <a:pos x="connsiteX32804" y="connsiteY32804"/>
              </a:cxn>
              <a:cxn ang="0">
                <a:pos x="connsiteX32805" y="connsiteY32805"/>
              </a:cxn>
              <a:cxn ang="0">
                <a:pos x="connsiteX32806" y="connsiteY32806"/>
              </a:cxn>
              <a:cxn ang="0">
                <a:pos x="connsiteX32807" y="connsiteY32807"/>
              </a:cxn>
              <a:cxn ang="0">
                <a:pos x="connsiteX32808" y="connsiteY32808"/>
              </a:cxn>
              <a:cxn ang="0">
                <a:pos x="connsiteX32809" y="connsiteY32809"/>
              </a:cxn>
              <a:cxn ang="0">
                <a:pos x="connsiteX32810" y="connsiteY32810"/>
              </a:cxn>
              <a:cxn ang="0">
                <a:pos x="connsiteX32811" y="connsiteY32811"/>
              </a:cxn>
              <a:cxn ang="0">
                <a:pos x="connsiteX32812" y="connsiteY32812"/>
              </a:cxn>
              <a:cxn ang="0">
                <a:pos x="connsiteX32813" y="connsiteY32813"/>
              </a:cxn>
              <a:cxn ang="0">
                <a:pos x="connsiteX32814" y="connsiteY32814"/>
              </a:cxn>
              <a:cxn ang="0">
                <a:pos x="connsiteX32815" y="connsiteY32815"/>
              </a:cxn>
              <a:cxn ang="0">
                <a:pos x="connsiteX32816" y="connsiteY32816"/>
              </a:cxn>
              <a:cxn ang="0">
                <a:pos x="connsiteX32817" y="connsiteY32817"/>
              </a:cxn>
              <a:cxn ang="0">
                <a:pos x="connsiteX32818" y="connsiteY32818"/>
              </a:cxn>
              <a:cxn ang="0">
                <a:pos x="connsiteX32819" y="connsiteY32819"/>
              </a:cxn>
              <a:cxn ang="0">
                <a:pos x="connsiteX32820" y="connsiteY32820"/>
              </a:cxn>
              <a:cxn ang="0">
                <a:pos x="connsiteX32821" y="connsiteY32821"/>
              </a:cxn>
              <a:cxn ang="0">
                <a:pos x="connsiteX32822" y="connsiteY32822"/>
              </a:cxn>
              <a:cxn ang="0">
                <a:pos x="connsiteX32823" y="connsiteY32823"/>
              </a:cxn>
              <a:cxn ang="0">
                <a:pos x="connsiteX32824" y="connsiteY32824"/>
              </a:cxn>
              <a:cxn ang="0">
                <a:pos x="connsiteX32825" y="connsiteY32825"/>
              </a:cxn>
              <a:cxn ang="0">
                <a:pos x="connsiteX32826" y="connsiteY32826"/>
              </a:cxn>
              <a:cxn ang="0">
                <a:pos x="connsiteX32827" y="connsiteY32827"/>
              </a:cxn>
              <a:cxn ang="0">
                <a:pos x="connsiteX32828" y="connsiteY32828"/>
              </a:cxn>
              <a:cxn ang="0">
                <a:pos x="connsiteX32829" y="connsiteY32829"/>
              </a:cxn>
              <a:cxn ang="0">
                <a:pos x="connsiteX32830" y="connsiteY32830"/>
              </a:cxn>
              <a:cxn ang="0">
                <a:pos x="connsiteX32831" y="connsiteY32831"/>
              </a:cxn>
              <a:cxn ang="0">
                <a:pos x="connsiteX32832" y="connsiteY32832"/>
              </a:cxn>
              <a:cxn ang="0">
                <a:pos x="connsiteX32833" y="connsiteY32833"/>
              </a:cxn>
              <a:cxn ang="0">
                <a:pos x="connsiteX32834" y="connsiteY32834"/>
              </a:cxn>
              <a:cxn ang="0">
                <a:pos x="connsiteX32835" y="connsiteY32835"/>
              </a:cxn>
              <a:cxn ang="0">
                <a:pos x="connsiteX32836" y="connsiteY32836"/>
              </a:cxn>
              <a:cxn ang="0">
                <a:pos x="connsiteX32837" y="connsiteY32837"/>
              </a:cxn>
              <a:cxn ang="0">
                <a:pos x="connsiteX32838" y="connsiteY32838"/>
              </a:cxn>
              <a:cxn ang="0">
                <a:pos x="connsiteX32839" y="connsiteY32839"/>
              </a:cxn>
              <a:cxn ang="0">
                <a:pos x="connsiteX32840" y="connsiteY32840"/>
              </a:cxn>
              <a:cxn ang="0">
                <a:pos x="connsiteX32841" y="connsiteY32841"/>
              </a:cxn>
              <a:cxn ang="0">
                <a:pos x="connsiteX32842" y="connsiteY32842"/>
              </a:cxn>
              <a:cxn ang="0">
                <a:pos x="connsiteX32843" y="connsiteY32843"/>
              </a:cxn>
              <a:cxn ang="0">
                <a:pos x="connsiteX32844" y="connsiteY32844"/>
              </a:cxn>
              <a:cxn ang="0">
                <a:pos x="connsiteX32845" y="connsiteY32845"/>
              </a:cxn>
              <a:cxn ang="0">
                <a:pos x="connsiteX32846" y="connsiteY32846"/>
              </a:cxn>
              <a:cxn ang="0">
                <a:pos x="connsiteX32847" y="connsiteY32847"/>
              </a:cxn>
              <a:cxn ang="0">
                <a:pos x="connsiteX32848" y="connsiteY32848"/>
              </a:cxn>
              <a:cxn ang="0">
                <a:pos x="connsiteX32849" y="connsiteY32849"/>
              </a:cxn>
              <a:cxn ang="0">
                <a:pos x="connsiteX32850" y="connsiteY32850"/>
              </a:cxn>
              <a:cxn ang="0">
                <a:pos x="connsiteX32851" y="connsiteY32851"/>
              </a:cxn>
              <a:cxn ang="0">
                <a:pos x="connsiteX32852" y="connsiteY32852"/>
              </a:cxn>
              <a:cxn ang="0">
                <a:pos x="connsiteX32853" y="connsiteY32853"/>
              </a:cxn>
              <a:cxn ang="0">
                <a:pos x="connsiteX32854" y="connsiteY32854"/>
              </a:cxn>
              <a:cxn ang="0">
                <a:pos x="connsiteX32855" y="connsiteY32855"/>
              </a:cxn>
              <a:cxn ang="0">
                <a:pos x="connsiteX32856" y="connsiteY32856"/>
              </a:cxn>
              <a:cxn ang="0">
                <a:pos x="connsiteX32857" y="connsiteY32857"/>
              </a:cxn>
              <a:cxn ang="0">
                <a:pos x="connsiteX32858" y="connsiteY32858"/>
              </a:cxn>
              <a:cxn ang="0">
                <a:pos x="connsiteX32859" y="connsiteY32859"/>
              </a:cxn>
              <a:cxn ang="0">
                <a:pos x="connsiteX32860" y="connsiteY32860"/>
              </a:cxn>
              <a:cxn ang="0">
                <a:pos x="connsiteX32861" y="connsiteY32861"/>
              </a:cxn>
              <a:cxn ang="0">
                <a:pos x="connsiteX32862" y="connsiteY32862"/>
              </a:cxn>
              <a:cxn ang="0">
                <a:pos x="connsiteX32863" y="connsiteY32863"/>
              </a:cxn>
              <a:cxn ang="0">
                <a:pos x="connsiteX32864" y="connsiteY32864"/>
              </a:cxn>
              <a:cxn ang="0">
                <a:pos x="connsiteX32865" y="connsiteY32865"/>
              </a:cxn>
              <a:cxn ang="0">
                <a:pos x="connsiteX32866" y="connsiteY32866"/>
              </a:cxn>
              <a:cxn ang="0">
                <a:pos x="connsiteX32867" y="connsiteY32867"/>
              </a:cxn>
              <a:cxn ang="0">
                <a:pos x="connsiteX32868" y="connsiteY32868"/>
              </a:cxn>
              <a:cxn ang="0">
                <a:pos x="connsiteX32869" y="connsiteY32869"/>
              </a:cxn>
              <a:cxn ang="0">
                <a:pos x="connsiteX32870" y="connsiteY32870"/>
              </a:cxn>
              <a:cxn ang="0">
                <a:pos x="connsiteX32871" y="connsiteY32871"/>
              </a:cxn>
              <a:cxn ang="0">
                <a:pos x="connsiteX32872" y="connsiteY32872"/>
              </a:cxn>
              <a:cxn ang="0">
                <a:pos x="connsiteX32873" y="connsiteY32873"/>
              </a:cxn>
              <a:cxn ang="0">
                <a:pos x="connsiteX32874" y="connsiteY32874"/>
              </a:cxn>
              <a:cxn ang="0">
                <a:pos x="connsiteX32875" y="connsiteY32875"/>
              </a:cxn>
              <a:cxn ang="0">
                <a:pos x="connsiteX32876" y="connsiteY32876"/>
              </a:cxn>
              <a:cxn ang="0">
                <a:pos x="connsiteX32877" y="connsiteY32877"/>
              </a:cxn>
              <a:cxn ang="0">
                <a:pos x="connsiteX32878" y="connsiteY32878"/>
              </a:cxn>
              <a:cxn ang="0">
                <a:pos x="connsiteX32879" y="connsiteY32879"/>
              </a:cxn>
              <a:cxn ang="0">
                <a:pos x="connsiteX32880" y="connsiteY32880"/>
              </a:cxn>
              <a:cxn ang="0">
                <a:pos x="connsiteX32881" y="connsiteY32881"/>
              </a:cxn>
              <a:cxn ang="0">
                <a:pos x="connsiteX32882" y="connsiteY32882"/>
              </a:cxn>
              <a:cxn ang="0">
                <a:pos x="connsiteX32883" y="connsiteY32883"/>
              </a:cxn>
              <a:cxn ang="0">
                <a:pos x="connsiteX32884" y="connsiteY32884"/>
              </a:cxn>
              <a:cxn ang="0">
                <a:pos x="connsiteX32885" y="connsiteY32885"/>
              </a:cxn>
              <a:cxn ang="0">
                <a:pos x="connsiteX32886" y="connsiteY32886"/>
              </a:cxn>
              <a:cxn ang="0">
                <a:pos x="connsiteX32887" y="connsiteY32887"/>
              </a:cxn>
              <a:cxn ang="0">
                <a:pos x="connsiteX32888" y="connsiteY32888"/>
              </a:cxn>
              <a:cxn ang="0">
                <a:pos x="connsiteX32889" y="connsiteY32889"/>
              </a:cxn>
              <a:cxn ang="0">
                <a:pos x="connsiteX32890" y="connsiteY32890"/>
              </a:cxn>
              <a:cxn ang="0">
                <a:pos x="connsiteX32891" y="connsiteY32891"/>
              </a:cxn>
              <a:cxn ang="0">
                <a:pos x="connsiteX32892" y="connsiteY32892"/>
              </a:cxn>
              <a:cxn ang="0">
                <a:pos x="connsiteX32893" y="connsiteY32893"/>
              </a:cxn>
              <a:cxn ang="0">
                <a:pos x="connsiteX32894" y="connsiteY32894"/>
              </a:cxn>
              <a:cxn ang="0">
                <a:pos x="connsiteX32895" y="connsiteY32895"/>
              </a:cxn>
              <a:cxn ang="0">
                <a:pos x="connsiteX32896" y="connsiteY32896"/>
              </a:cxn>
              <a:cxn ang="0">
                <a:pos x="connsiteX32897" y="connsiteY32897"/>
              </a:cxn>
              <a:cxn ang="0">
                <a:pos x="connsiteX32898" y="connsiteY32898"/>
              </a:cxn>
              <a:cxn ang="0">
                <a:pos x="connsiteX32899" y="connsiteY32899"/>
              </a:cxn>
              <a:cxn ang="0">
                <a:pos x="connsiteX32900" y="connsiteY32900"/>
              </a:cxn>
              <a:cxn ang="0">
                <a:pos x="connsiteX32901" y="connsiteY32901"/>
              </a:cxn>
              <a:cxn ang="0">
                <a:pos x="connsiteX32902" y="connsiteY32902"/>
              </a:cxn>
              <a:cxn ang="0">
                <a:pos x="connsiteX32903" y="connsiteY32903"/>
              </a:cxn>
              <a:cxn ang="0">
                <a:pos x="connsiteX32904" y="connsiteY32904"/>
              </a:cxn>
              <a:cxn ang="0">
                <a:pos x="connsiteX32905" y="connsiteY32905"/>
              </a:cxn>
              <a:cxn ang="0">
                <a:pos x="connsiteX32906" y="connsiteY32906"/>
              </a:cxn>
              <a:cxn ang="0">
                <a:pos x="connsiteX32907" y="connsiteY32907"/>
              </a:cxn>
              <a:cxn ang="0">
                <a:pos x="connsiteX32908" y="connsiteY32908"/>
              </a:cxn>
              <a:cxn ang="0">
                <a:pos x="connsiteX32909" y="connsiteY32909"/>
              </a:cxn>
              <a:cxn ang="0">
                <a:pos x="connsiteX32910" y="connsiteY32910"/>
              </a:cxn>
              <a:cxn ang="0">
                <a:pos x="connsiteX32911" y="connsiteY32911"/>
              </a:cxn>
              <a:cxn ang="0">
                <a:pos x="connsiteX32912" y="connsiteY32912"/>
              </a:cxn>
              <a:cxn ang="0">
                <a:pos x="connsiteX32913" y="connsiteY32913"/>
              </a:cxn>
              <a:cxn ang="0">
                <a:pos x="connsiteX32914" y="connsiteY32914"/>
              </a:cxn>
              <a:cxn ang="0">
                <a:pos x="connsiteX32915" y="connsiteY32915"/>
              </a:cxn>
              <a:cxn ang="0">
                <a:pos x="connsiteX32916" y="connsiteY32916"/>
              </a:cxn>
              <a:cxn ang="0">
                <a:pos x="connsiteX32917" y="connsiteY32917"/>
              </a:cxn>
              <a:cxn ang="0">
                <a:pos x="connsiteX32918" y="connsiteY32918"/>
              </a:cxn>
              <a:cxn ang="0">
                <a:pos x="connsiteX32919" y="connsiteY32919"/>
              </a:cxn>
              <a:cxn ang="0">
                <a:pos x="connsiteX32920" y="connsiteY32920"/>
              </a:cxn>
              <a:cxn ang="0">
                <a:pos x="connsiteX32921" y="connsiteY32921"/>
              </a:cxn>
              <a:cxn ang="0">
                <a:pos x="connsiteX32922" y="connsiteY32922"/>
              </a:cxn>
              <a:cxn ang="0">
                <a:pos x="connsiteX32923" y="connsiteY32923"/>
              </a:cxn>
              <a:cxn ang="0">
                <a:pos x="connsiteX32924" y="connsiteY32924"/>
              </a:cxn>
              <a:cxn ang="0">
                <a:pos x="connsiteX32925" y="connsiteY32925"/>
              </a:cxn>
              <a:cxn ang="0">
                <a:pos x="connsiteX32926" y="connsiteY32926"/>
              </a:cxn>
              <a:cxn ang="0">
                <a:pos x="connsiteX32927" y="connsiteY32927"/>
              </a:cxn>
              <a:cxn ang="0">
                <a:pos x="connsiteX32928" y="connsiteY32928"/>
              </a:cxn>
              <a:cxn ang="0">
                <a:pos x="connsiteX32929" y="connsiteY32929"/>
              </a:cxn>
              <a:cxn ang="0">
                <a:pos x="connsiteX32930" y="connsiteY32930"/>
              </a:cxn>
              <a:cxn ang="0">
                <a:pos x="connsiteX32931" y="connsiteY32931"/>
              </a:cxn>
              <a:cxn ang="0">
                <a:pos x="connsiteX32932" y="connsiteY32932"/>
              </a:cxn>
              <a:cxn ang="0">
                <a:pos x="connsiteX32933" y="connsiteY32933"/>
              </a:cxn>
              <a:cxn ang="0">
                <a:pos x="connsiteX32934" y="connsiteY32934"/>
              </a:cxn>
              <a:cxn ang="0">
                <a:pos x="connsiteX32935" y="connsiteY32935"/>
              </a:cxn>
              <a:cxn ang="0">
                <a:pos x="connsiteX32936" y="connsiteY32936"/>
              </a:cxn>
              <a:cxn ang="0">
                <a:pos x="connsiteX32937" y="connsiteY32937"/>
              </a:cxn>
              <a:cxn ang="0">
                <a:pos x="connsiteX32938" y="connsiteY32938"/>
              </a:cxn>
              <a:cxn ang="0">
                <a:pos x="connsiteX32939" y="connsiteY32939"/>
              </a:cxn>
              <a:cxn ang="0">
                <a:pos x="connsiteX32940" y="connsiteY32940"/>
              </a:cxn>
              <a:cxn ang="0">
                <a:pos x="connsiteX32941" y="connsiteY32941"/>
              </a:cxn>
              <a:cxn ang="0">
                <a:pos x="connsiteX32942" y="connsiteY32942"/>
              </a:cxn>
              <a:cxn ang="0">
                <a:pos x="connsiteX32943" y="connsiteY32943"/>
              </a:cxn>
              <a:cxn ang="0">
                <a:pos x="connsiteX32944" y="connsiteY32944"/>
              </a:cxn>
              <a:cxn ang="0">
                <a:pos x="connsiteX32945" y="connsiteY32945"/>
              </a:cxn>
              <a:cxn ang="0">
                <a:pos x="connsiteX32946" y="connsiteY32946"/>
              </a:cxn>
              <a:cxn ang="0">
                <a:pos x="connsiteX32947" y="connsiteY32947"/>
              </a:cxn>
              <a:cxn ang="0">
                <a:pos x="connsiteX32948" y="connsiteY32948"/>
              </a:cxn>
              <a:cxn ang="0">
                <a:pos x="connsiteX32949" y="connsiteY32949"/>
              </a:cxn>
              <a:cxn ang="0">
                <a:pos x="connsiteX32950" y="connsiteY32950"/>
              </a:cxn>
              <a:cxn ang="0">
                <a:pos x="connsiteX32951" y="connsiteY32951"/>
              </a:cxn>
              <a:cxn ang="0">
                <a:pos x="connsiteX32952" y="connsiteY32952"/>
              </a:cxn>
              <a:cxn ang="0">
                <a:pos x="connsiteX32953" y="connsiteY32953"/>
              </a:cxn>
              <a:cxn ang="0">
                <a:pos x="connsiteX32954" y="connsiteY32954"/>
              </a:cxn>
              <a:cxn ang="0">
                <a:pos x="connsiteX32955" y="connsiteY32955"/>
              </a:cxn>
              <a:cxn ang="0">
                <a:pos x="connsiteX32956" y="connsiteY32956"/>
              </a:cxn>
              <a:cxn ang="0">
                <a:pos x="connsiteX32957" y="connsiteY32957"/>
              </a:cxn>
              <a:cxn ang="0">
                <a:pos x="connsiteX32958" y="connsiteY32958"/>
              </a:cxn>
              <a:cxn ang="0">
                <a:pos x="connsiteX32959" y="connsiteY32959"/>
              </a:cxn>
              <a:cxn ang="0">
                <a:pos x="connsiteX32960" y="connsiteY32960"/>
              </a:cxn>
              <a:cxn ang="0">
                <a:pos x="connsiteX32961" y="connsiteY32961"/>
              </a:cxn>
              <a:cxn ang="0">
                <a:pos x="connsiteX32962" y="connsiteY32962"/>
              </a:cxn>
              <a:cxn ang="0">
                <a:pos x="connsiteX32963" y="connsiteY32963"/>
              </a:cxn>
              <a:cxn ang="0">
                <a:pos x="connsiteX32964" y="connsiteY32964"/>
              </a:cxn>
              <a:cxn ang="0">
                <a:pos x="connsiteX32965" y="connsiteY32965"/>
              </a:cxn>
              <a:cxn ang="0">
                <a:pos x="connsiteX32966" y="connsiteY32966"/>
              </a:cxn>
              <a:cxn ang="0">
                <a:pos x="connsiteX32967" y="connsiteY32967"/>
              </a:cxn>
              <a:cxn ang="0">
                <a:pos x="connsiteX32968" y="connsiteY32968"/>
              </a:cxn>
              <a:cxn ang="0">
                <a:pos x="connsiteX32969" y="connsiteY32969"/>
              </a:cxn>
              <a:cxn ang="0">
                <a:pos x="connsiteX32970" y="connsiteY32970"/>
              </a:cxn>
              <a:cxn ang="0">
                <a:pos x="connsiteX32971" y="connsiteY32971"/>
              </a:cxn>
              <a:cxn ang="0">
                <a:pos x="connsiteX32972" y="connsiteY32972"/>
              </a:cxn>
              <a:cxn ang="0">
                <a:pos x="connsiteX32973" y="connsiteY32973"/>
              </a:cxn>
              <a:cxn ang="0">
                <a:pos x="connsiteX32974" y="connsiteY32974"/>
              </a:cxn>
              <a:cxn ang="0">
                <a:pos x="connsiteX32975" y="connsiteY32975"/>
              </a:cxn>
              <a:cxn ang="0">
                <a:pos x="connsiteX32976" y="connsiteY32976"/>
              </a:cxn>
              <a:cxn ang="0">
                <a:pos x="connsiteX32977" y="connsiteY32977"/>
              </a:cxn>
              <a:cxn ang="0">
                <a:pos x="connsiteX32978" y="connsiteY32978"/>
              </a:cxn>
              <a:cxn ang="0">
                <a:pos x="connsiteX32979" y="connsiteY32979"/>
              </a:cxn>
              <a:cxn ang="0">
                <a:pos x="connsiteX32980" y="connsiteY32980"/>
              </a:cxn>
              <a:cxn ang="0">
                <a:pos x="connsiteX32981" y="connsiteY32981"/>
              </a:cxn>
              <a:cxn ang="0">
                <a:pos x="connsiteX32982" y="connsiteY32982"/>
              </a:cxn>
              <a:cxn ang="0">
                <a:pos x="connsiteX32983" y="connsiteY32983"/>
              </a:cxn>
              <a:cxn ang="0">
                <a:pos x="connsiteX32984" y="connsiteY32984"/>
              </a:cxn>
              <a:cxn ang="0">
                <a:pos x="connsiteX32985" y="connsiteY32985"/>
              </a:cxn>
              <a:cxn ang="0">
                <a:pos x="connsiteX32986" y="connsiteY32986"/>
              </a:cxn>
              <a:cxn ang="0">
                <a:pos x="connsiteX32987" y="connsiteY32987"/>
              </a:cxn>
              <a:cxn ang="0">
                <a:pos x="connsiteX32988" y="connsiteY32988"/>
              </a:cxn>
              <a:cxn ang="0">
                <a:pos x="connsiteX32989" y="connsiteY32989"/>
              </a:cxn>
              <a:cxn ang="0">
                <a:pos x="connsiteX32990" y="connsiteY32990"/>
              </a:cxn>
              <a:cxn ang="0">
                <a:pos x="connsiteX32991" y="connsiteY32991"/>
              </a:cxn>
              <a:cxn ang="0">
                <a:pos x="connsiteX32992" y="connsiteY32992"/>
              </a:cxn>
              <a:cxn ang="0">
                <a:pos x="connsiteX32993" y="connsiteY32993"/>
              </a:cxn>
              <a:cxn ang="0">
                <a:pos x="connsiteX32994" y="connsiteY32994"/>
              </a:cxn>
              <a:cxn ang="0">
                <a:pos x="connsiteX32995" y="connsiteY32995"/>
              </a:cxn>
              <a:cxn ang="0">
                <a:pos x="connsiteX32996" y="connsiteY32996"/>
              </a:cxn>
              <a:cxn ang="0">
                <a:pos x="connsiteX32997" y="connsiteY32997"/>
              </a:cxn>
              <a:cxn ang="0">
                <a:pos x="connsiteX32998" y="connsiteY32998"/>
              </a:cxn>
              <a:cxn ang="0">
                <a:pos x="connsiteX32999" y="connsiteY32999"/>
              </a:cxn>
              <a:cxn ang="0">
                <a:pos x="connsiteX33000" y="connsiteY33000"/>
              </a:cxn>
              <a:cxn ang="0">
                <a:pos x="connsiteX33001" y="connsiteY33001"/>
              </a:cxn>
              <a:cxn ang="0">
                <a:pos x="connsiteX33002" y="connsiteY33002"/>
              </a:cxn>
              <a:cxn ang="0">
                <a:pos x="connsiteX33003" y="connsiteY33003"/>
              </a:cxn>
              <a:cxn ang="0">
                <a:pos x="connsiteX33004" y="connsiteY33004"/>
              </a:cxn>
              <a:cxn ang="0">
                <a:pos x="connsiteX33005" y="connsiteY33005"/>
              </a:cxn>
              <a:cxn ang="0">
                <a:pos x="connsiteX33006" y="connsiteY33006"/>
              </a:cxn>
              <a:cxn ang="0">
                <a:pos x="connsiteX33007" y="connsiteY33007"/>
              </a:cxn>
              <a:cxn ang="0">
                <a:pos x="connsiteX33008" y="connsiteY33008"/>
              </a:cxn>
              <a:cxn ang="0">
                <a:pos x="connsiteX33009" y="connsiteY33009"/>
              </a:cxn>
              <a:cxn ang="0">
                <a:pos x="connsiteX33010" y="connsiteY33010"/>
              </a:cxn>
              <a:cxn ang="0">
                <a:pos x="connsiteX33011" y="connsiteY33011"/>
              </a:cxn>
              <a:cxn ang="0">
                <a:pos x="connsiteX33012" y="connsiteY33012"/>
              </a:cxn>
              <a:cxn ang="0">
                <a:pos x="connsiteX33013" y="connsiteY33013"/>
              </a:cxn>
              <a:cxn ang="0">
                <a:pos x="connsiteX33014" y="connsiteY33014"/>
              </a:cxn>
              <a:cxn ang="0">
                <a:pos x="connsiteX33015" y="connsiteY33015"/>
              </a:cxn>
              <a:cxn ang="0">
                <a:pos x="connsiteX33016" y="connsiteY33016"/>
              </a:cxn>
              <a:cxn ang="0">
                <a:pos x="connsiteX33017" y="connsiteY33017"/>
              </a:cxn>
              <a:cxn ang="0">
                <a:pos x="connsiteX33018" y="connsiteY33018"/>
              </a:cxn>
              <a:cxn ang="0">
                <a:pos x="connsiteX33019" y="connsiteY33019"/>
              </a:cxn>
              <a:cxn ang="0">
                <a:pos x="connsiteX33020" y="connsiteY33020"/>
              </a:cxn>
              <a:cxn ang="0">
                <a:pos x="connsiteX33021" y="connsiteY33021"/>
              </a:cxn>
              <a:cxn ang="0">
                <a:pos x="connsiteX33022" y="connsiteY33022"/>
              </a:cxn>
              <a:cxn ang="0">
                <a:pos x="connsiteX33023" y="connsiteY33023"/>
              </a:cxn>
              <a:cxn ang="0">
                <a:pos x="connsiteX33024" y="connsiteY33024"/>
              </a:cxn>
              <a:cxn ang="0">
                <a:pos x="connsiteX33025" y="connsiteY33025"/>
              </a:cxn>
              <a:cxn ang="0">
                <a:pos x="connsiteX33026" y="connsiteY33026"/>
              </a:cxn>
              <a:cxn ang="0">
                <a:pos x="connsiteX33027" y="connsiteY33027"/>
              </a:cxn>
              <a:cxn ang="0">
                <a:pos x="connsiteX33028" y="connsiteY33028"/>
              </a:cxn>
              <a:cxn ang="0">
                <a:pos x="connsiteX33029" y="connsiteY33029"/>
              </a:cxn>
              <a:cxn ang="0">
                <a:pos x="connsiteX33030" y="connsiteY33030"/>
              </a:cxn>
              <a:cxn ang="0">
                <a:pos x="connsiteX33031" y="connsiteY33031"/>
              </a:cxn>
              <a:cxn ang="0">
                <a:pos x="connsiteX33032" y="connsiteY33032"/>
              </a:cxn>
              <a:cxn ang="0">
                <a:pos x="connsiteX33033" y="connsiteY33033"/>
              </a:cxn>
              <a:cxn ang="0">
                <a:pos x="connsiteX33034" y="connsiteY33034"/>
              </a:cxn>
              <a:cxn ang="0">
                <a:pos x="connsiteX33035" y="connsiteY33035"/>
              </a:cxn>
              <a:cxn ang="0">
                <a:pos x="connsiteX33036" y="connsiteY33036"/>
              </a:cxn>
              <a:cxn ang="0">
                <a:pos x="connsiteX33037" y="connsiteY33037"/>
              </a:cxn>
              <a:cxn ang="0">
                <a:pos x="connsiteX33038" y="connsiteY33038"/>
              </a:cxn>
              <a:cxn ang="0">
                <a:pos x="connsiteX33039" y="connsiteY33039"/>
              </a:cxn>
              <a:cxn ang="0">
                <a:pos x="connsiteX33040" y="connsiteY33040"/>
              </a:cxn>
              <a:cxn ang="0">
                <a:pos x="connsiteX33041" y="connsiteY33041"/>
              </a:cxn>
              <a:cxn ang="0">
                <a:pos x="connsiteX33042" y="connsiteY33042"/>
              </a:cxn>
              <a:cxn ang="0">
                <a:pos x="connsiteX33043" y="connsiteY33043"/>
              </a:cxn>
              <a:cxn ang="0">
                <a:pos x="connsiteX33044" y="connsiteY33044"/>
              </a:cxn>
              <a:cxn ang="0">
                <a:pos x="connsiteX33045" y="connsiteY33045"/>
              </a:cxn>
              <a:cxn ang="0">
                <a:pos x="connsiteX33046" y="connsiteY33046"/>
              </a:cxn>
              <a:cxn ang="0">
                <a:pos x="connsiteX33047" y="connsiteY33047"/>
              </a:cxn>
              <a:cxn ang="0">
                <a:pos x="connsiteX33048" y="connsiteY33048"/>
              </a:cxn>
              <a:cxn ang="0">
                <a:pos x="connsiteX33049" y="connsiteY33049"/>
              </a:cxn>
              <a:cxn ang="0">
                <a:pos x="connsiteX33050" y="connsiteY33050"/>
              </a:cxn>
              <a:cxn ang="0">
                <a:pos x="connsiteX33051" y="connsiteY33051"/>
              </a:cxn>
              <a:cxn ang="0">
                <a:pos x="connsiteX33052" y="connsiteY33052"/>
              </a:cxn>
              <a:cxn ang="0">
                <a:pos x="connsiteX33053" y="connsiteY33053"/>
              </a:cxn>
              <a:cxn ang="0">
                <a:pos x="connsiteX33054" y="connsiteY33054"/>
              </a:cxn>
              <a:cxn ang="0">
                <a:pos x="connsiteX33055" y="connsiteY33055"/>
              </a:cxn>
              <a:cxn ang="0">
                <a:pos x="connsiteX33056" y="connsiteY33056"/>
              </a:cxn>
              <a:cxn ang="0">
                <a:pos x="connsiteX33057" y="connsiteY33057"/>
              </a:cxn>
              <a:cxn ang="0">
                <a:pos x="connsiteX33058" y="connsiteY33058"/>
              </a:cxn>
              <a:cxn ang="0">
                <a:pos x="connsiteX33059" y="connsiteY33059"/>
              </a:cxn>
              <a:cxn ang="0">
                <a:pos x="connsiteX33060" y="connsiteY33060"/>
              </a:cxn>
              <a:cxn ang="0">
                <a:pos x="connsiteX33061" y="connsiteY33061"/>
              </a:cxn>
              <a:cxn ang="0">
                <a:pos x="connsiteX33062" y="connsiteY33062"/>
              </a:cxn>
              <a:cxn ang="0">
                <a:pos x="connsiteX33063" y="connsiteY33063"/>
              </a:cxn>
              <a:cxn ang="0">
                <a:pos x="connsiteX33064" y="connsiteY33064"/>
              </a:cxn>
              <a:cxn ang="0">
                <a:pos x="connsiteX33065" y="connsiteY33065"/>
              </a:cxn>
              <a:cxn ang="0">
                <a:pos x="connsiteX33066" y="connsiteY33066"/>
              </a:cxn>
              <a:cxn ang="0">
                <a:pos x="connsiteX33067" y="connsiteY33067"/>
              </a:cxn>
              <a:cxn ang="0">
                <a:pos x="connsiteX33068" y="connsiteY33068"/>
              </a:cxn>
              <a:cxn ang="0">
                <a:pos x="connsiteX33069" y="connsiteY33069"/>
              </a:cxn>
              <a:cxn ang="0">
                <a:pos x="connsiteX33070" y="connsiteY33070"/>
              </a:cxn>
              <a:cxn ang="0">
                <a:pos x="connsiteX33071" y="connsiteY33071"/>
              </a:cxn>
              <a:cxn ang="0">
                <a:pos x="connsiteX33072" y="connsiteY33072"/>
              </a:cxn>
              <a:cxn ang="0">
                <a:pos x="connsiteX33073" y="connsiteY33073"/>
              </a:cxn>
              <a:cxn ang="0">
                <a:pos x="connsiteX33074" y="connsiteY33074"/>
              </a:cxn>
              <a:cxn ang="0">
                <a:pos x="connsiteX33075" y="connsiteY33075"/>
              </a:cxn>
              <a:cxn ang="0">
                <a:pos x="connsiteX33076" y="connsiteY33076"/>
              </a:cxn>
              <a:cxn ang="0">
                <a:pos x="connsiteX33077" y="connsiteY33077"/>
              </a:cxn>
              <a:cxn ang="0">
                <a:pos x="connsiteX33078" y="connsiteY33078"/>
              </a:cxn>
              <a:cxn ang="0">
                <a:pos x="connsiteX33079" y="connsiteY33079"/>
              </a:cxn>
              <a:cxn ang="0">
                <a:pos x="connsiteX33080" y="connsiteY33080"/>
              </a:cxn>
              <a:cxn ang="0">
                <a:pos x="connsiteX33081" y="connsiteY33081"/>
              </a:cxn>
              <a:cxn ang="0">
                <a:pos x="connsiteX33082" y="connsiteY33082"/>
              </a:cxn>
              <a:cxn ang="0">
                <a:pos x="connsiteX33083" y="connsiteY33083"/>
              </a:cxn>
              <a:cxn ang="0">
                <a:pos x="connsiteX33084" y="connsiteY33084"/>
              </a:cxn>
              <a:cxn ang="0">
                <a:pos x="connsiteX33085" y="connsiteY33085"/>
              </a:cxn>
              <a:cxn ang="0">
                <a:pos x="connsiteX33086" y="connsiteY33086"/>
              </a:cxn>
              <a:cxn ang="0">
                <a:pos x="connsiteX33087" y="connsiteY33087"/>
              </a:cxn>
              <a:cxn ang="0">
                <a:pos x="connsiteX33088" y="connsiteY33088"/>
              </a:cxn>
              <a:cxn ang="0">
                <a:pos x="connsiteX33089" y="connsiteY33089"/>
              </a:cxn>
              <a:cxn ang="0">
                <a:pos x="connsiteX33090" y="connsiteY33090"/>
              </a:cxn>
              <a:cxn ang="0">
                <a:pos x="connsiteX33091" y="connsiteY33091"/>
              </a:cxn>
              <a:cxn ang="0">
                <a:pos x="connsiteX33092" y="connsiteY33092"/>
              </a:cxn>
              <a:cxn ang="0">
                <a:pos x="connsiteX33093" y="connsiteY33093"/>
              </a:cxn>
              <a:cxn ang="0">
                <a:pos x="connsiteX33094" y="connsiteY33094"/>
              </a:cxn>
              <a:cxn ang="0">
                <a:pos x="connsiteX33095" y="connsiteY33095"/>
              </a:cxn>
              <a:cxn ang="0">
                <a:pos x="connsiteX33096" y="connsiteY33096"/>
              </a:cxn>
              <a:cxn ang="0">
                <a:pos x="connsiteX33097" y="connsiteY33097"/>
              </a:cxn>
              <a:cxn ang="0">
                <a:pos x="connsiteX33098" y="connsiteY33098"/>
              </a:cxn>
              <a:cxn ang="0">
                <a:pos x="connsiteX33099" y="connsiteY33099"/>
              </a:cxn>
              <a:cxn ang="0">
                <a:pos x="connsiteX33100" y="connsiteY33100"/>
              </a:cxn>
              <a:cxn ang="0">
                <a:pos x="connsiteX33101" y="connsiteY33101"/>
              </a:cxn>
              <a:cxn ang="0">
                <a:pos x="connsiteX33102" y="connsiteY33102"/>
              </a:cxn>
              <a:cxn ang="0">
                <a:pos x="connsiteX33103" y="connsiteY33103"/>
              </a:cxn>
              <a:cxn ang="0">
                <a:pos x="connsiteX33104" y="connsiteY33104"/>
              </a:cxn>
              <a:cxn ang="0">
                <a:pos x="connsiteX33105" y="connsiteY33105"/>
              </a:cxn>
              <a:cxn ang="0">
                <a:pos x="connsiteX33106" y="connsiteY33106"/>
              </a:cxn>
              <a:cxn ang="0">
                <a:pos x="connsiteX33107" y="connsiteY33107"/>
              </a:cxn>
              <a:cxn ang="0">
                <a:pos x="connsiteX33108" y="connsiteY33108"/>
              </a:cxn>
              <a:cxn ang="0">
                <a:pos x="connsiteX33109" y="connsiteY33109"/>
              </a:cxn>
              <a:cxn ang="0">
                <a:pos x="connsiteX33110" y="connsiteY33110"/>
              </a:cxn>
              <a:cxn ang="0">
                <a:pos x="connsiteX33111" y="connsiteY33111"/>
              </a:cxn>
              <a:cxn ang="0">
                <a:pos x="connsiteX33112" y="connsiteY33112"/>
              </a:cxn>
              <a:cxn ang="0">
                <a:pos x="connsiteX33113" y="connsiteY33113"/>
              </a:cxn>
              <a:cxn ang="0">
                <a:pos x="connsiteX33114" y="connsiteY33114"/>
              </a:cxn>
              <a:cxn ang="0">
                <a:pos x="connsiteX33115" y="connsiteY33115"/>
              </a:cxn>
              <a:cxn ang="0">
                <a:pos x="connsiteX33116" y="connsiteY33116"/>
              </a:cxn>
              <a:cxn ang="0">
                <a:pos x="connsiteX33117" y="connsiteY33117"/>
              </a:cxn>
              <a:cxn ang="0">
                <a:pos x="connsiteX33118" y="connsiteY33118"/>
              </a:cxn>
              <a:cxn ang="0">
                <a:pos x="connsiteX33119" y="connsiteY33119"/>
              </a:cxn>
              <a:cxn ang="0">
                <a:pos x="connsiteX33120" y="connsiteY33120"/>
              </a:cxn>
              <a:cxn ang="0">
                <a:pos x="connsiteX33121" y="connsiteY33121"/>
              </a:cxn>
              <a:cxn ang="0">
                <a:pos x="connsiteX33122" y="connsiteY33122"/>
              </a:cxn>
              <a:cxn ang="0">
                <a:pos x="connsiteX33123" y="connsiteY33123"/>
              </a:cxn>
              <a:cxn ang="0">
                <a:pos x="connsiteX33124" y="connsiteY33124"/>
              </a:cxn>
              <a:cxn ang="0">
                <a:pos x="connsiteX33125" y="connsiteY33125"/>
              </a:cxn>
              <a:cxn ang="0">
                <a:pos x="connsiteX33126" y="connsiteY33126"/>
              </a:cxn>
              <a:cxn ang="0">
                <a:pos x="connsiteX33127" y="connsiteY33127"/>
              </a:cxn>
              <a:cxn ang="0">
                <a:pos x="connsiteX33128" y="connsiteY33128"/>
              </a:cxn>
              <a:cxn ang="0">
                <a:pos x="connsiteX33129" y="connsiteY33129"/>
              </a:cxn>
              <a:cxn ang="0">
                <a:pos x="connsiteX33130" y="connsiteY33130"/>
              </a:cxn>
              <a:cxn ang="0">
                <a:pos x="connsiteX33131" y="connsiteY33131"/>
              </a:cxn>
              <a:cxn ang="0">
                <a:pos x="connsiteX33132" y="connsiteY33132"/>
              </a:cxn>
              <a:cxn ang="0">
                <a:pos x="connsiteX33133" y="connsiteY33133"/>
              </a:cxn>
              <a:cxn ang="0">
                <a:pos x="connsiteX33134" y="connsiteY33134"/>
              </a:cxn>
              <a:cxn ang="0">
                <a:pos x="connsiteX33135" y="connsiteY33135"/>
              </a:cxn>
              <a:cxn ang="0">
                <a:pos x="connsiteX33136" y="connsiteY33136"/>
              </a:cxn>
              <a:cxn ang="0">
                <a:pos x="connsiteX33137" y="connsiteY33137"/>
              </a:cxn>
              <a:cxn ang="0">
                <a:pos x="connsiteX33138" y="connsiteY33138"/>
              </a:cxn>
              <a:cxn ang="0">
                <a:pos x="connsiteX33139" y="connsiteY33139"/>
              </a:cxn>
              <a:cxn ang="0">
                <a:pos x="connsiteX33140" y="connsiteY33140"/>
              </a:cxn>
              <a:cxn ang="0">
                <a:pos x="connsiteX33141" y="connsiteY33141"/>
              </a:cxn>
              <a:cxn ang="0">
                <a:pos x="connsiteX33142" y="connsiteY33142"/>
              </a:cxn>
              <a:cxn ang="0">
                <a:pos x="connsiteX33143" y="connsiteY33143"/>
              </a:cxn>
              <a:cxn ang="0">
                <a:pos x="connsiteX33144" y="connsiteY33144"/>
              </a:cxn>
              <a:cxn ang="0">
                <a:pos x="connsiteX33145" y="connsiteY33145"/>
              </a:cxn>
              <a:cxn ang="0">
                <a:pos x="connsiteX33146" y="connsiteY33146"/>
              </a:cxn>
              <a:cxn ang="0">
                <a:pos x="connsiteX33147" y="connsiteY33147"/>
              </a:cxn>
              <a:cxn ang="0">
                <a:pos x="connsiteX33148" y="connsiteY33148"/>
              </a:cxn>
              <a:cxn ang="0">
                <a:pos x="connsiteX33149" y="connsiteY33149"/>
              </a:cxn>
              <a:cxn ang="0">
                <a:pos x="connsiteX33150" y="connsiteY33150"/>
              </a:cxn>
              <a:cxn ang="0">
                <a:pos x="connsiteX33151" y="connsiteY33151"/>
              </a:cxn>
              <a:cxn ang="0">
                <a:pos x="connsiteX33152" y="connsiteY33152"/>
              </a:cxn>
              <a:cxn ang="0">
                <a:pos x="connsiteX33153" y="connsiteY33153"/>
              </a:cxn>
              <a:cxn ang="0">
                <a:pos x="connsiteX33154" y="connsiteY33154"/>
              </a:cxn>
              <a:cxn ang="0">
                <a:pos x="connsiteX33155" y="connsiteY33155"/>
              </a:cxn>
              <a:cxn ang="0">
                <a:pos x="connsiteX33156" y="connsiteY33156"/>
              </a:cxn>
              <a:cxn ang="0">
                <a:pos x="connsiteX33157" y="connsiteY33157"/>
              </a:cxn>
              <a:cxn ang="0">
                <a:pos x="connsiteX33158" y="connsiteY33158"/>
              </a:cxn>
              <a:cxn ang="0">
                <a:pos x="connsiteX33159" y="connsiteY33159"/>
              </a:cxn>
              <a:cxn ang="0">
                <a:pos x="connsiteX33160" y="connsiteY33160"/>
              </a:cxn>
              <a:cxn ang="0">
                <a:pos x="connsiteX33161" y="connsiteY33161"/>
              </a:cxn>
              <a:cxn ang="0">
                <a:pos x="connsiteX33162" y="connsiteY33162"/>
              </a:cxn>
              <a:cxn ang="0">
                <a:pos x="connsiteX33163" y="connsiteY33163"/>
              </a:cxn>
              <a:cxn ang="0">
                <a:pos x="connsiteX33164" y="connsiteY33164"/>
              </a:cxn>
              <a:cxn ang="0">
                <a:pos x="connsiteX33165" y="connsiteY33165"/>
              </a:cxn>
              <a:cxn ang="0">
                <a:pos x="connsiteX33166" y="connsiteY33166"/>
              </a:cxn>
              <a:cxn ang="0">
                <a:pos x="connsiteX33167" y="connsiteY33167"/>
              </a:cxn>
              <a:cxn ang="0">
                <a:pos x="connsiteX33168" y="connsiteY33168"/>
              </a:cxn>
              <a:cxn ang="0">
                <a:pos x="connsiteX33169" y="connsiteY33169"/>
              </a:cxn>
              <a:cxn ang="0">
                <a:pos x="connsiteX33170" y="connsiteY33170"/>
              </a:cxn>
              <a:cxn ang="0">
                <a:pos x="connsiteX33171" y="connsiteY33171"/>
              </a:cxn>
              <a:cxn ang="0">
                <a:pos x="connsiteX33172" y="connsiteY33172"/>
              </a:cxn>
              <a:cxn ang="0">
                <a:pos x="connsiteX33173" y="connsiteY33173"/>
              </a:cxn>
              <a:cxn ang="0">
                <a:pos x="connsiteX33174" y="connsiteY33174"/>
              </a:cxn>
              <a:cxn ang="0">
                <a:pos x="connsiteX33175" y="connsiteY33175"/>
              </a:cxn>
              <a:cxn ang="0">
                <a:pos x="connsiteX33176" y="connsiteY33176"/>
              </a:cxn>
              <a:cxn ang="0">
                <a:pos x="connsiteX33177" y="connsiteY33177"/>
              </a:cxn>
              <a:cxn ang="0">
                <a:pos x="connsiteX33178" y="connsiteY33178"/>
              </a:cxn>
              <a:cxn ang="0">
                <a:pos x="connsiteX33179" y="connsiteY33179"/>
              </a:cxn>
              <a:cxn ang="0">
                <a:pos x="connsiteX33180" y="connsiteY33180"/>
              </a:cxn>
              <a:cxn ang="0">
                <a:pos x="connsiteX33181" y="connsiteY33181"/>
              </a:cxn>
              <a:cxn ang="0">
                <a:pos x="connsiteX33182" y="connsiteY33182"/>
              </a:cxn>
              <a:cxn ang="0">
                <a:pos x="connsiteX33183" y="connsiteY33183"/>
              </a:cxn>
              <a:cxn ang="0">
                <a:pos x="connsiteX33184" y="connsiteY33184"/>
              </a:cxn>
              <a:cxn ang="0">
                <a:pos x="connsiteX33185" y="connsiteY33185"/>
              </a:cxn>
              <a:cxn ang="0">
                <a:pos x="connsiteX33186" y="connsiteY33186"/>
              </a:cxn>
              <a:cxn ang="0">
                <a:pos x="connsiteX33187" y="connsiteY33187"/>
              </a:cxn>
              <a:cxn ang="0">
                <a:pos x="connsiteX33188" y="connsiteY33188"/>
              </a:cxn>
              <a:cxn ang="0">
                <a:pos x="connsiteX33189" y="connsiteY33189"/>
              </a:cxn>
              <a:cxn ang="0">
                <a:pos x="connsiteX33190" y="connsiteY33190"/>
              </a:cxn>
              <a:cxn ang="0">
                <a:pos x="connsiteX33191" y="connsiteY33191"/>
              </a:cxn>
              <a:cxn ang="0">
                <a:pos x="connsiteX33192" y="connsiteY33192"/>
              </a:cxn>
              <a:cxn ang="0">
                <a:pos x="connsiteX33193" y="connsiteY33193"/>
              </a:cxn>
              <a:cxn ang="0">
                <a:pos x="connsiteX33194" y="connsiteY33194"/>
              </a:cxn>
              <a:cxn ang="0">
                <a:pos x="connsiteX33195" y="connsiteY33195"/>
              </a:cxn>
              <a:cxn ang="0">
                <a:pos x="connsiteX33196" y="connsiteY33196"/>
              </a:cxn>
              <a:cxn ang="0">
                <a:pos x="connsiteX33197" y="connsiteY33197"/>
              </a:cxn>
              <a:cxn ang="0">
                <a:pos x="connsiteX33198" y="connsiteY33198"/>
              </a:cxn>
              <a:cxn ang="0">
                <a:pos x="connsiteX33199" y="connsiteY33199"/>
              </a:cxn>
              <a:cxn ang="0">
                <a:pos x="connsiteX33200" y="connsiteY33200"/>
              </a:cxn>
              <a:cxn ang="0">
                <a:pos x="connsiteX33201" y="connsiteY33201"/>
              </a:cxn>
              <a:cxn ang="0">
                <a:pos x="connsiteX33202" y="connsiteY33202"/>
              </a:cxn>
              <a:cxn ang="0">
                <a:pos x="connsiteX33203" y="connsiteY33203"/>
              </a:cxn>
              <a:cxn ang="0">
                <a:pos x="connsiteX33204" y="connsiteY33204"/>
              </a:cxn>
              <a:cxn ang="0">
                <a:pos x="connsiteX33205" y="connsiteY33205"/>
              </a:cxn>
              <a:cxn ang="0">
                <a:pos x="connsiteX33206" y="connsiteY33206"/>
              </a:cxn>
              <a:cxn ang="0">
                <a:pos x="connsiteX33207" y="connsiteY33207"/>
              </a:cxn>
              <a:cxn ang="0">
                <a:pos x="connsiteX33208" y="connsiteY33208"/>
              </a:cxn>
              <a:cxn ang="0">
                <a:pos x="connsiteX33209" y="connsiteY33209"/>
              </a:cxn>
              <a:cxn ang="0">
                <a:pos x="connsiteX33210" y="connsiteY33210"/>
              </a:cxn>
              <a:cxn ang="0">
                <a:pos x="connsiteX33211" y="connsiteY33211"/>
              </a:cxn>
              <a:cxn ang="0">
                <a:pos x="connsiteX33212" y="connsiteY33212"/>
              </a:cxn>
              <a:cxn ang="0">
                <a:pos x="connsiteX33213" y="connsiteY33213"/>
              </a:cxn>
              <a:cxn ang="0">
                <a:pos x="connsiteX33214" y="connsiteY33214"/>
              </a:cxn>
              <a:cxn ang="0">
                <a:pos x="connsiteX33215" y="connsiteY33215"/>
              </a:cxn>
              <a:cxn ang="0">
                <a:pos x="connsiteX33216" y="connsiteY33216"/>
              </a:cxn>
              <a:cxn ang="0">
                <a:pos x="connsiteX33217" y="connsiteY33217"/>
              </a:cxn>
              <a:cxn ang="0">
                <a:pos x="connsiteX33218" y="connsiteY33218"/>
              </a:cxn>
              <a:cxn ang="0">
                <a:pos x="connsiteX33219" y="connsiteY33219"/>
              </a:cxn>
              <a:cxn ang="0">
                <a:pos x="connsiteX33220" y="connsiteY33220"/>
              </a:cxn>
              <a:cxn ang="0">
                <a:pos x="connsiteX33221" y="connsiteY33221"/>
              </a:cxn>
              <a:cxn ang="0">
                <a:pos x="connsiteX33222" y="connsiteY33222"/>
              </a:cxn>
              <a:cxn ang="0">
                <a:pos x="connsiteX33223" y="connsiteY33223"/>
              </a:cxn>
              <a:cxn ang="0">
                <a:pos x="connsiteX33224" y="connsiteY33224"/>
              </a:cxn>
              <a:cxn ang="0">
                <a:pos x="connsiteX33225" y="connsiteY33225"/>
              </a:cxn>
              <a:cxn ang="0">
                <a:pos x="connsiteX33226" y="connsiteY33226"/>
              </a:cxn>
              <a:cxn ang="0">
                <a:pos x="connsiteX33227" y="connsiteY33227"/>
              </a:cxn>
              <a:cxn ang="0">
                <a:pos x="connsiteX33228" y="connsiteY33228"/>
              </a:cxn>
              <a:cxn ang="0">
                <a:pos x="connsiteX33229" y="connsiteY33229"/>
              </a:cxn>
              <a:cxn ang="0">
                <a:pos x="connsiteX33230" y="connsiteY33230"/>
              </a:cxn>
              <a:cxn ang="0">
                <a:pos x="connsiteX33231" y="connsiteY33231"/>
              </a:cxn>
              <a:cxn ang="0">
                <a:pos x="connsiteX33232" y="connsiteY33232"/>
              </a:cxn>
              <a:cxn ang="0">
                <a:pos x="connsiteX33233" y="connsiteY33233"/>
              </a:cxn>
              <a:cxn ang="0">
                <a:pos x="connsiteX33234" y="connsiteY33234"/>
              </a:cxn>
              <a:cxn ang="0">
                <a:pos x="connsiteX33235" y="connsiteY33235"/>
              </a:cxn>
              <a:cxn ang="0">
                <a:pos x="connsiteX33236" y="connsiteY33236"/>
              </a:cxn>
              <a:cxn ang="0">
                <a:pos x="connsiteX33237" y="connsiteY33237"/>
              </a:cxn>
              <a:cxn ang="0">
                <a:pos x="connsiteX33238" y="connsiteY33238"/>
              </a:cxn>
              <a:cxn ang="0">
                <a:pos x="connsiteX33239" y="connsiteY33239"/>
              </a:cxn>
              <a:cxn ang="0">
                <a:pos x="connsiteX33240" y="connsiteY33240"/>
              </a:cxn>
              <a:cxn ang="0">
                <a:pos x="connsiteX33241" y="connsiteY33241"/>
              </a:cxn>
              <a:cxn ang="0">
                <a:pos x="connsiteX33242" y="connsiteY33242"/>
              </a:cxn>
              <a:cxn ang="0">
                <a:pos x="connsiteX33243" y="connsiteY33243"/>
              </a:cxn>
              <a:cxn ang="0">
                <a:pos x="connsiteX33244" y="connsiteY33244"/>
              </a:cxn>
              <a:cxn ang="0">
                <a:pos x="connsiteX33245" y="connsiteY33245"/>
              </a:cxn>
              <a:cxn ang="0">
                <a:pos x="connsiteX33246" y="connsiteY33246"/>
              </a:cxn>
              <a:cxn ang="0">
                <a:pos x="connsiteX33247" y="connsiteY33247"/>
              </a:cxn>
              <a:cxn ang="0">
                <a:pos x="connsiteX33248" y="connsiteY33248"/>
              </a:cxn>
              <a:cxn ang="0">
                <a:pos x="connsiteX33249" y="connsiteY33249"/>
              </a:cxn>
              <a:cxn ang="0">
                <a:pos x="connsiteX33250" y="connsiteY33250"/>
              </a:cxn>
              <a:cxn ang="0">
                <a:pos x="connsiteX33251" y="connsiteY33251"/>
              </a:cxn>
              <a:cxn ang="0">
                <a:pos x="connsiteX33252" y="connsiteY33252"/>
              </a:cxn>
              <a:cxn ang="0">
                <a:pos x="connsiteX33253" y="connsiteY33253"/>
              </a:cxn>
              <a:cxn ang="0">
                <a:pos x="connsiteX33254" y="connsiteY33254"/>
              </a:cxn>
              <a:cxn ang="0">
                <a:pos x="connsiteX33255" y="connsiteY33255"/>
              </a:cxn>
              <a:cxn ang="0">
                <a:pos x="connsiteX33256" y="connsiteY33256"/>
              </a:cxn>
              <a:cxn ang="0">
                <a:pos x="connsiteX33257" y="connsiteY33257"/>
              </a:cxn>
              <a:cxn ang="0">
                <a:pos x="connsiteX33258" y="connsiteY33258"/>
              </a:cxn>
              <a:cxn ang="0">
                <a:pos x="connsiteX33259" y="connsiteY33259"/>
              </a:cxn>
              <a:cxn ang="0">
                <a:pos x="connsiteX33260" y="connsiteY33260"/>
              </a:cxn>
              <a:cxn ang="0">
                <a:pos x="connsiteX33261" y="connsiteY33261"/>
              </a:cxn>
              <a:cxn ang="0">
                <a:pos x="connsiteX33262" y="connsiteY33262"/>
              </a:cxn>
              <a:cxn ang="0">
                <a:pos x="connsiteX33263" y="connsiteY33263"/>
              </a:cxn>
              <a:cxn ang="0">
                <a:pos x="connsiteX33264" y="connsiteY33264"/>
              </a:cxn>
              <a:cxn ang="0">
                <a:pos x="connsiteX33265" y="connsiteY33265"/>
              </a:cxn>
              <a:cxn ang="0">
                <a:pos x="connsiteX33266" y="connsiteY33266"/>
              </a:cxn>
              <a:cxn ang="0">
                <a:pos x="connsiteX33267" y="connsiteY33267"/>
              </a:cxn>
              <a:cxn ang="0">
                <a:pos x="connsiteX33268" y="connsiteY33268"/>
              </a:cxn>
              <a:cxn ang="0">
                <a:pos x="connsiteX33269" y="connsiteY33269"/>
              </a:cxn>
              <a:cxn ang="0">
                <a:pos x="connsiteX33270" y="connsiteY33270"/>
              </a:cxn>
              <a:cxn ang="0">
                <a:pos x="connsiteX33271" y="connsiteY33271"/>
              </a:cxn>
              <a:cxn ang="0">
                <a:pos x="connsiteX33272" y="connsiteY33272"/>
              </a:cxn>
              <a:cxn ang="0">
                <a:pos x="connsiteX33273" y="connsiteY33273"/>
              </a:cxn>
              <a:cxn ang="0">
                <a:pos x="connsiteX33274" y="connsiteY33274"/>
              </a:cxn>
              <a:cxn ang="0">
                <a:pos x="connsiteX33275" y="connsiteY33275"/>
              </a:cxn>
              <a:cxn ang="0">
                <a:pos x="connsiteX33276" y="connsiteY33276"/>
              </a:cxn>
              <a:cxn ang="0">
                <a:pos x="connsiteX33277" y="connsiteY33277"/>
              </a:cxn>
              <a:cxn ang="0">
                <a:pos x="connsiteX33278" y="connsiteY33278"/>
              </a:cxn>
              <a:cxn ang="0">
                <a:pos x="connsiteX33279" y="connsiteY33279"/>
              </a:cxn>
              <a:cxn ang="0">
                <a:pos x="connsiteX33280" y="connsiteY33280"/>
              </a:cxn>
              <a:cxn ang="0">
                <a:pos x="connsiteX33281" y="connsiteY33281"/>
              </a:cxn>
              <a:cxn ang="0">
                <a:pos x="connsiteX33282" y="connsiteY33282"/>
              </a:cxn>
              <a:cxn ang="0">
                <a:pos x="connsiteX33283" y="connsiteY33283"/>
              </a:cxn>
              <a:cxn ang="0">
                <a:pos x="connsiteX33284" y="connsiteY33284"/>
              </a:cxn>
              <a:cxn ang="0">
                <a:pos x="connsiteX33285" y="connsiteY33285"/>
              </a:cxn>
              <a:cxn ang="0">
                <a:pos x="connsiteX33286" y="connsiteY33286"/>
              </a:cxn>
              <a:cxn ang="0">
                <a:pos x="connsiteX33287" y="connsiteY33287"/>
              </a:cxn>
              <a:cxn ang="0">
                <a:pos x="connsiteX33288" y="connsiteY33288"/>
              </a:cxn>
              <a:cxn ang="0">
                <a:pos x="connsiteX33289" y="connsiteY33289"/>
              </a:cxn>
              <a:cxn ang="0">
                <a:pos x="connsiteX33290" y="connsiteY33290"/>
              </a:cxn>
              <a:cxn ang="0">
                <a:pos x="connsiteX33291" y="connsiteY33291"/>
              </a:cxn>
              <a:cxn ang="0">
                <a:pos x="connsiteX33292" y="connsiteY33292"/>
              </a:cxn>
              <a:cxn ang="0">
                <a:pos x="connsiteX33293" y="connsiteY33293"/>
              </a:cxn>
              <a:cxn ang="0">
                <a:pos x="connsiteX33294" y="connsiteY33294"/>
              </a:cxn>
              <a:cxn ang="0">
                <a:pos x="connsiteX33295" y="connsiteY33295"/>
              </a:cxn>
              <a:cxn ang="0">
                <a:pos x="connsiteX33296" y="connsiteY33296"/>
              </a:cxn>
              <a:cxn ang="0">
                <a:pos x="connsiteX33297" y="connsiteY33297"/>
              </a:cxn>
              <a:cxn ang="0">
                <a:pos x="connsiteX33298" y="connsiteY33298"/>
              </a:cxn>
              <a:cxn ang="0">
                <a:pos x="connsiteX33299" y="connsiteY33299"/>
              </a:cxn>
              <a:cxn ang="0">
                <a:pos x="connsiteX33300" y="connsiteY33300"/>
              </a:cxn>
              <a:cxn ang="0">
                <a:pos x="connsiteX33301" y="connsiteY33301"/>
              </a:cxn>
              <a:cxn ang="0">
                <a:pos x="connsiteX33302" y="connsiteY33302"/>
              </a:cxn>
              <a:cxn ang="0">
                <a:pos x="connsiteX33303" y="connsiteY33303"/>
              </a:cxn>
              <a:cxn ang="0">
                <a:pos x="connsiteX33304" y="connsiteY33304"/>
              </a:cxn>
              <a:cxn ang="0">
                <a:pos x="connsiteX33305" y="connsiteY33305"/>
              </a:cxn>
              <a:cxn ang="0">
                <a:pos x="connsiteX33306" y="connsiteY33306"/>
              </a:cxn>
              <a:cxn ang="0">
                <a:pos x="connsiteX33307" y="connsiteY33307"/>
              </a:cxn>
              <a:cxn ang="0">
                <a:pos x="connsiteX33308" y="connsiteY33308"/>
              </a:cxn>
              <a:cxn ang="0">
                <a:pos x="connsiteX33309" y="connsiteY33309"/>
              </a:cxn>
              <a:cxn ang="0">
                <a:pos x="connsiteX33310" y="connsiteY33310"/>
              </a:cxn>
              <a:cxn ang="0">
                <a:pos x="connsiteX33311" y="connsiteY33311"/>
              </a:cxn>
              <a:cxn ang="0">
                <a:pos x="connsiteX33312" y="connsiteY33312"/>
              </a:cxn>
              <a:cxn ang="0">
                <a:pos x="connsiteX33313" y="connsiteY33313"/>
              </a:cxn>
              <a:cxn ang="0">
                <a:pos x="connsiteX33314" y="connsiteY33314"/>
              </a:cxn>
              <a:cxn ang="0">
                <a:pos x="connsiteX33315" y="connsiteY33315"/>
              </a:cxn>
              <a:cxn ang="0">
                <a:pos x="connsiteX33316" y="connsiteY33316"/>
              </a:cxn>
              <a:cxn ang="0">
                <a:pos x="connsiteX33317" y="connsiteY33317"/>
              </a:cxn>
              <a:cxn ang="0">
                <a:pos x="connsiteX33318" y="connsiteY33318"/>
              </a:cxn>
              <a:cxn ang="0">
                <a:pos x="connsiteX33319" y="connsiteY33319"/>
              </a:cxn>
              <a:cxn ang="0">
                <a:pos x="connsiteX33320" y="connsiteY33320"/>
              </a:cxn>
              <a:cxn ang="0">
                <a:pos x="connsiteX33321" y="connsiteY33321"/>
              </a:cxn>
              <a:cxn ang="0">
                <a:pos x="connsiteX33322" y="connsiteY33322"/>
              </a:cxn>
              <a:cxn ang="0">
                <a:pos x="connsiteX33323" y="connsiteY33323"/>
              </a:cxn>
              <a:cxn ang="0">
                <a:pos x="connsiteX33324" y="connsiteY33324"/>
              </a:cxn>
              <a:cxn ang="0">
                <a:pos x="connsiteX33325" y="connsiteY33325"/>
              </a:cxn>
              <a:cxn ang="0">
                <a:pos x="connsiteX33326" y="connsiteY33326"/>
              </a:cxn>
              <a:cxn ang="0">
                <a:pos x="connsiteX33327" y="connsiteY33327"/>
              </a:cxn>
              <a:cxn ang="0">
                <a:pos x="connsiteX33328" y="connsiteY33328"/>
              </a:cxn>
              <a:cxn ang="0">
                <a:pos x="connsiteX33329" y="connsiteY33329"/>
              </a:cxn>
              <a:cxn ang="0">
                <a:pos x="connsiteX33330" y="connsiteY33330"/>
              </a:cxn>
              <a:cxn ang="0">
                <a:pos x="connsiteX33331" y="connsiteY33331"/>
              </a:cxn>
              <a:cxn ang="0">
                <a:pos x="connsiteX33332" y="connsiteY33332"/>
              </a:cxn>
              <a:cxn ang="0">
                <a:pos x="connsiteX33333" y="connsiteY33333"/>
              </a:cxn>
              <a:cxn ang="0">
                <a:pos x="connsiteX33334" y="connsiteY33334"/>
              </a:cxn>
              <a:cxn ang="0">
                <a:pos x="connsiteX33335" y="connsiteY33335"/>
              </a:cxn>
              <a:cxn ang="0">
                <a:pos x="connsiteX33336" y="connsiteY33336"/>
              </a:cxn>
              <a:cxn ang="0">
                <a:pos x="connsiteX33337" y="connsiteY33337"/>
              </a:cxn>
              <a:cxn ang="0">
                <a:pos x="connsiteX33338" y="connsiteY33338"/>
              </a:cxn>
              <a:cxn ang="0">
                <a:pos x="connsiteX33339" y="connsiteY33339"/>
              </a:cxn>
              <a:cxn ang="0">
                <a:pos x="connsiteX33340" y="connsiteY33340"/>
              </a:cxn>
              <a:cxn ang="0">
                <a:pos x="connsiteX33341" y="connsiteY33341"/>
              </a:cxn>
              <a:cxn ang="0">
                <a:pos x="connsiteX33342" y="connsiteY33342"/>
              </a:cxn>
              <a:cxn ang="0">
                <a:pos x="connsiteX33343" y="connsiteY33343"/>
              </a:cxn>
              <a:cxn ang="0">
                <a:pos x="connsiteX33344" y="connsiteY33344"/>
              </a:cxn>
              <a:cxn ang="0">
                <a:pos x="connsiteX33345" y="connsiteY33345"/>
              </a:cxn>
              <a:cxn ang="0">
                <a:pos x="connsiteX33346" y="connsiteY33346"/>
              </a:cxn>
              <a:cxn ang="0">
                <a:pos x="connsiteX33347" y="connsiteY33347"/>
              </a:cxn>
              <a:cxn ang="0">
                <a:pos x="connsiteX33348" y="connsiteY33348"/>
              </a:cxn>
              <a:cxn ang="0">
                <a:pos x="connsiteX33349" y="connsiteY33349"/>
              </a:cxn>
              <a:cxn ang="0">
                <a:pos x="connsiteX33350" y="connsiteY33350"/>
              </a:cxn>
              <a:cxn ang="0">
                <a:pos x="connsiteX33351" y="connsiteY33351"/>
              </a:cxn>
              <a:cxn ang="0">
                <a:pos x="connsiteX33352" y="connsiteY33352"/>
              </a:cxn>
              <a:cxn ang="0">
                <a:pos x="connsiteX33353" y="connsiteY33353"/>
              </a:cxn>
              <a:cxn ang="0">
                <a:pos x="connsiteX33354" y="connsiteY33354"/>
              </a:cxn>
              <a:cxn ang="0">
                <a:pos x="connsiteX33355" y="connsiteY33355"/>
              </a:cxn>
              <a:cxn ang="0">
                <a:pos x="connsiteX33356" y="connsiteY33356"/>
              </a:cxn>
              <a:cxn ang="0">
                <a:pos x="connsiteX33357" y="connsiteY33357"/>
              </a:cxn>
              <a:cxn ang="0">
                <a:pos x="connsiteX33358" y="connsiteY33358"/>
              </a:cxn>
              <a:cxn ang="0">
                <a:pos x="connsiteX33359" y="connsiteY33359"/>
              </a:cxn>
              <a:cxn ang="0">
                <a:pos x="connsiteX33360" y="connsiteY33360"/>
              </a:cxn>
              <a:cxn ang="0">
                <a:pos x="connsiteX33361" y="connsiteY33361"/>
              </a:cxn>
              <a:cxn ang="0">
                <a:pos x="connsiteX33362" y="connsiteY33362"/>
              </a:cxn>
              <a:cxn ang="0">
                <a:pos x="connsiteX33363" y="connsiteY33363"/>
              </a:cxn>
              <a:cxn ang="0">
                <a:pos x="connsiteX33364" y="connsiteY33364"/>
              </a:cxn>
              <a:cxn ang="0">
                <a:pos x="connsiteX33365" y="connsiteY33365"/>
              </a:cxn>
              <a:cxn ang="0">
                <a:pos x="connsiteX33366" y="connsiteY33366"/>
              </a:cxn>
              <a:cxn ang="0">
                <a:pos x="connsiteX33367" y="connsiteY33367"/>
              </a:cxn>
              <a:cxn ang="0">
                <a:pos x="connsiteX33368" y="connsiteY33368"/>
              </a:cxn>
              <a:cxn ang="0">
                <a:pos x="connsiteX33369" y="connsiteY33369"/>
              </a:cxn>
              <a:cxn ang="0">
                <a:pos x="connsiteX33370" y="connsiteY33370"/>
              </a:cxn>
              <a:cxn ang="0">
                <a:pos x="connsiteX33371" y="connsiteY33371"/>
              </a:cxn>
              <a:cxn ang="0">
                <a:pos x="connsiteX33372" y="connsiteY33372"/>
              </a:cxn>
              <a:cxn ang="0">
                <a:pos x="connsiteX33373" y="connsiteY33373"/>
              </a:cxn>
              <a:cxn ang="0">
                <a:pos x="connsiteX33374" y="connsiteY33374"/>
              </a:cxn>
              <a:cxn ang="0">
                <a:pos x="connsiteX33375" y="connsiteY33375"/>
              </a:cxn>
              <a:cxn ang="0">
                <a:pos x="connsiteX33376" y="connsiteY33376"/>
              </a:cxn>
              <a:cxn ang="0">
                <a:pos x="connsiteX33377" y="connsiteY33377"/>
              </a:cxn>
              <a:cxn ang="0">
                <a:pos x="connsiteX33378" y="connsiteY33378"/>
              </a:cxn>
              <a:cxn ang="0">
                <a:pos x="connsiteX33379" y="connsiteY33379"/>
              </a:cxn>
              <a:cxn ang="0">
                <a:pos x="connsiteX33380" y="connsiteY33380"/>
              </a:cxn>
              <a:cxn ang="0">
                <a:pos x="connsiteX33381" y="connsiteY33381"/>
              </a:cxn>
              <a:cxn ang="0">
                <a:pos x="connsiteX33382" y="connsiteY33382"/>
              </a:cxn>
              <a:cxn ang="0">
                <a:pos x="connsiteX33383" y="connsiteY33383"/>
              </a:cxn>
              <a:cxn ang="0">
                <a:pos x="connsiteX33384" y="connsiteY33384"/>
              </a:cxn>
              <a:cxn ang="0">
                <a:pos x="connsiteX33385" y="connsiteY33385"/>
              </a:cxn>
              <a:cxn ang="0">
                <a:pos x="connsiteX33386" y="connsiteY33386"/>
              </a:cxn>
              <a:cxn ang="0">
                <a:pos x="connsiteX33387" y="connsiteY33387"/>
              </a:cxn>
              <a:cxn ang="0">
                <a:pos x="connsiteX33388" y="connsiteY33388"/>
              </a:cxn>
              <a:cxn ang="0">
                <a:pos x="connsiteX33389" y="connsiteY33389"/>
              </a:cxn>
              <a:cxn ang="0">
                <a:pos x="connsiteX33390" y="connsiteY33390"/>
              </a:cxn>
              <a:cxn ang="0">
                <a:pos x="connsiteX33391" y="connsiteY33391"/>
              </a:cxn>
              <a:cxn ang="0">
                <a:pos x="connsiteX33392" y="connsiteY33392"/>
              </a:cxn>
              <a:cxn ang="0">
                <a:pos x="connsiteX33393" y="connsiteY33393"/>
              </a:cxn>
              <a:cxn ang="0">
                <a:pos x="connsiteX33394" y="connsiteY33394"/>
              </a:cxn>
              <a:cxn ang="0">
                <a:pos x="connsiteX33395" y="connsiteY33395"/>
              </a:cxn>
              <a:cxn ang="0">
                <a:pos x="connsiteX33396" y="connsiteY33396"/>
              </a:cxn>
              <a:cxn ang="0">
                <a:pos x="connsiteX33397" y="connsiteY33397"/>
              </a:cxn>
              <a:cxn ang="0">
                <a:pos x="connsiteX33398" y="connsiteY33398"/>
              </a:cxn>
              <a:cxn ang="0">
                <a:pos x="connsiteX33399" y="connsiteY33399"/>
              </a:cxn>
              <a:cxn ang="0">
                <a:pos x="connsiteX33400" y="connsiteY33400"/>
              </a:cxn>
              <a:cxn ang="0">
                <a:pos x="connsiteX33401" y="connsiteY33401"/>
              </a:cxn>
              <a:cxn ang="0">
                <a:pos x="connsiteX33402" y="connsiteY33402"/>
              </a:cxn>
              <a:cxn ang="0">
                <a:pos x="connsiteX33403" y="connsiteY33403"/>
              </a:cxn>
              <a:cxn ang="0">
                <a:pos x="connsiteX33404" y="connsiteY33404"/>
              </a:cxn>
              <a:cxn ang="0">
                <a:pos x="connsiteX33405" y="connsiteY33405"/>
              </a:cxn>
              <a:cxn ang="0">
                <a:pos x="connsiteX33406" y="connsiteY33406"/>
              </a:cxn>
              <a:cxn ang="0">
                <a:pos x="connsiteX33407" y="connsiteY33407"/>
              </a:cxn>
              <a:cxn ang="0">
                <a:pos x="connsiteX33408" y="connsiteY33408"/>
              </a:cxn>
              <a:cxn ang="0">
                <a:pos x="connsiteX33409" y="connsiteY33409"/>
              </a:cxn>
              <a:cxn ang="0">
                <a:pos x="connsiteX33410" y="connsiteY33410"/>
              </a:cxn>
              <a:cxn ang="0">
                <a:pos x="connsiteX33411" y="connsiteY33411"/>
              </a:cxn>
              <a:cxn ang="0">
                <a:pos x="connsiteX33412" y="connsiteY33412"/>
              </a:cxn>
              <a:cxn ang="0">
                <a:pos x="connsiteX33413" y="connsiteY33413"/>
              </a:cxn>
              <a:cxn ang="0">
                <a:pos x="connsiteX33414" y="connsiteY33414"/>
              </a:cxn>
              <a:cxn ang="0">
                <a:pos x="connsiteX33415" y="connsiteY33415"/>
              </a:cxn>
              <a:cxn ang="0">
                <a:pos x="connsiteX33416" y="connsiteY33416"/>
              </a:cxn>
              <a:cxn ang="0">
                <a:pos x="connsiteX33417" y="connsiteY33417"/>
              </a:cxn>
              <a:cxn ang="0">
                <a:pos x="connsiteX33418" y="connsiteY33418"/>
              </a:cxn>
              <a:cxn ang="0">
                <a:pos x="connsiteX33419" y="connsiteY33419"/>
              </a:cxn>
              <a:cxn ang="0">
                <a:pos x="connsiteX33420" y="connsiteY33420"/>
              </a:cxn>
              <a:cxn ang="0">
                <a:pos x="connsiteX33421" y="connsiteY33421"/>
              </a:cxn>
              <a:cxn ang="0">
                <a:pos x="connsiteX33422" y="connsiteY33422"/>
              </a:cxn>
              <a:cxn ang="0">
                <a:pos x="connsiteX33423" y="connsiteY33423"/>
              </a:cxn>
              <a:cxn ang="0">
                <a:pos x="connsiteX33424" y="connsiteY33424"/>
              </a:cxn>
              <a:cxn ang="0">
                <a:pos x="connsiteX33425" y="connsiteY33425"/>
              </a:cxn>
              <a:cxn ang="0">
                <a:pos x="connsiteX33426" y="connsiteY33426"/>
              </a:cxn>
              <a:cxn ang="0">
                <a:pos x="connsiteX33427" y="connsiteY33427"/>
              </a:cxn>
              <a:cxn ang="0">
                <a:pos x="connsiteX33428" y="connsiteY33428"/>
              </a:cxn>
              <a:cxn ang="0">
                <a:pos x="connsiteX33429" y="connsiteY33429"/>
              </a:cxn>
              <a:cxn ang="0">
                <a:pos x="connsiteX33430" y="connsiteY33430"/>
              </a:cxn>
              <a:cxn ang="0">
                <a:pos x="connsiteX33431" y="connsiteY33431"/>
              </a:cxn>
              <a:cxn ang="0">
                <a:pos x="connsiteX33432" y="connsiteY33432"/>
              </a:cxn>
              <a:cxn ang="0">
                <a:pos x="connsiteX33433" y="connsiteY33433"/>
              </a:cxn>
              <a:cxn ang="0">
                <a:pos x="connsiteX33434" y="connsiteY33434"/>
              </a:cxn>
              <a:cxn ang="0">
                <a:pos x="connsiteX33435" y="connsiteY33435"/>
              </a:cxn>
              <a:cxn ang="0">
                <a:pos x="connsiteX33436" y="connsiteY33436"/>
              </a:cxn>
              <a:cxn ang="0">
                <a:pos x="connsiteX33437" y="connsiteY33437"/>
              </a:cxn>
              <a:cxn ang="0">
                <a:pos x="connsiteX33438" y="connsiteY33438"/>
              </a:cxn>
              <a:cxn ang="0">
                <a:pos x="connsiteX33439" y="connsiteY33439"/>
              </a:cxn>
              <a:cxn ang="0">
                <a:pos x="connsiteX33440" y="connsiteY33440"/>
              </a:cxn>
              <a:cxn ang="0">
                <a:pos x="connsiteX33441" y="connsiteY33441"/>
              </a:cxn>
              <a:cxn ang="0">
                <a:pos x="connsiteX33442" y="connsiteY33442"/>
              </a:cxn>
              <a:cxn ang="0">
                <a:pos x="connsiteX33443" y="connsiteY33443"/>
              </a:cxn>
              <a:cxn ang="0">
                <a:pos x="connsiteX33444" y="connsiteY33444"/>
              </a:cxn>
              <a:cxn ang="0">
                <a:pos x="connsiteX33445" y="connsiteY33445"/>
              </a:cxn>
              <a:cxn ang="0">
                <a:pos x="connsiteX33446" y="connsiteY33446"/>
              </a:cxn>
              <a:cxn ang="0">
                <a:pos x="connsiteX33447" y="connsiteY33447"/>
              </a:cxn>
              <a:cxn ang="0">
                <a:pos x="connsiteX33448" y="connsiteY33448"/>
              </a:cxn>
              <a:cxn ang="0">
                <a:pos x="connsiteX33449" y="connsiteY33449"/>
              </a:cxn>
              <a:cxn ang="0">
                <a:pos x="connsiteX33450" y="connsiteY33450"/>
              </a:cxn>
              <a:cxn ang="0">
                <a:pos x="connsiteX33451" y="connsiteY33451"/>
              </a:cxn>
              <a:cxn ang="0">
                <a:pos x="connsiteX33452" y="connsiteY33452"/>
              </a:cxn>
              <a:cxn ang="0">
                <a:pos x="connsiteX33453" y="connsiteY33453"/>
              </a:cxn>
              <a:cxn ang="0">
                <a:pos x="connsiteX33454" y="connsiteY33454"/>
              </a:cxn>
              <a:cxn ang="0">
                <a:pos x="connsiteX33455" y="connsiteY33455"/>
              </a:cxn>
              <a:cxn ang="0">
                <a:pos x="connsiteX33456" y="connsiteY33456"/>
              </a:cxn>
              <a:cxn ang="0">
                <a:pos x="connsiteX33457" y="connsiteY33457"/>
              </a:cxn>
              <a:cxn ang="0">
                <a:pos x="connsiteX33458" y="connsiteY33458"/>
              </a:cxn>
              <a:cxn ang="0">
                <a:pos x="connsiteX33459" y="connsiteY33459"/>
              </a:cxn>
              <a:cxn ang="0">
                <a:pos x="connsiteX33460" y="connsiteY33460"/>
              </a:cxn>
              <a:cxn ang="0">
                <a:pos x="connsiteX33461" y="connsiteY33461"/>
              </a:cxn>
              <a:cxn ang="0">
                <a:pos x="connsiteX33462" y="connsiteY33462"/>
              </a:cxn>
              <a:cxn ang="0">
                <a:pos x="connsiteX33463" y="connsiteY33463"/>
              </a:cxn>
              <a:cxn ang="0">
                <a:pos x="connsiteX33464" y="connsiteY33464"/>
              </a:cxn>
              <a:cxn ang="0">
                <a:pos x="connsiteX33465" y="connsiteY33465"/>
              </a:cxn>
              <a:cxn ang="0">
                <a:pos x="connsiteX33466" y="connsiteY33466"/>
              </a:cxn>
              <a:cxn ang="0">
                <a:pos x="connsiteX33467" y="connsiteY33467"/>
              </a:cxn>
              <a:cxn ang="0">
                <a:pos x="connsiteX33468" y="connsiteY33468"/>
              </a:cxn>
              <a:cxn ang="0">
                <a:pos x="connsiteX33469" y="connsiteY33469"/>
              </a:cxn>
              <a:cxn ang="0">
                <a:pos x="connsiteX33470" y="connsiteY33470"/>
              </a:cxn>
              <a:cxn ang="0">
                <a:pos x="connsiteX33471" y="connsiteY33471"/>
              </a:cxn>
              <a:cxn ang="0">
                <a:pos x="connsiteX33472" y="connsiteY33472"/>
              </a:cxn>
              <a:cxn ang="0">
                <a:pos x="connsiteX33473" y="connsiteY33473"/>
              </a:cxn>
              <a:cxn ang="0">
                <a:pos x="connsiteX33474" y="connsiteY33474"/>
              </a:cxn>
              <a:cxn ang="0">
                <a:pos x="connsiteX33475" y="connsiteY33475"/>
              </a:cxn>
              <a:cxn ang="0">
                <a:pos x="connsiteX33476" y="connsiteY33476"/>
              </a:cxn>
              <a:cxn ang="0">
                <a:pos x="connsiteX33477" y="connsiteY33477"/>
              </a:cxn>
              <a:cxn ang="0">
                <a:pos x="connsiteX33478" y="connsiteY33478"/>
              </a:cxn>
              <a:cxn ang="0">
                <a:pos x="connsiteX33479" y="connsiteY33479"/>
              </a:cxn>
              <a:cxn ang="0">
                <a:pos x="connsiteX33480" y="connsiteY33480"/>
              </a:cxn>
              <a:cxn ang="0">
                <a:pos x="connsiteX33481" y="connsiteY33481"/>
              </a:cxn>
              <a:cxn ang="0">
                <a:pos x="connsiteX33482" y="connsiteY33482"/>
              </a:cxn>
              <a:cxn ang="0">
                <a:pos x="connsiteX33483" y="connsiteY33483"/>
              </a:cxn>
              <a:cxn ang="0">
                <a:pos x="connsiteX33484" y="connsiteY33484"/>
              </a:cxn>
              <a:cxn ang="0">
                <a:pos x="connsiteX33485" y="connsiteY33485"/>
              </a:cxn>
              <a:cxn ang="0">
                <a:pos x="connsiteX33486" y="connsiteY33486"/>
              </a:cxn>
              <a:cxn ang="0">
                <a:pos x="connsiteX33487" y="connsiteY33487"/>
              </a:cxn>
              <a:cxn ang="0">
                <a:pos x="connsiteX33488" y="connsiteY33488"/>
              </a:cxn>
              <a:cxn ang="0">
                <a:pos x="connsiteX33489" y="connsiteY33489"/>
              </a:cxn>
              <a:cxn ang="0">
                <a:pos x="connsiteX33490" y="connsiteY33490"/>
              </a:cxn>
              <a:cxn ang="0">
                <a:pos x="connsiteX33491" y="connsiteY33491"/>
              </a:cxn>
              <a:cxn ang="0">
                <a:pos x="connsiteX33492" y="connsiteY33492"/>
              </a:cxn>
              <a:cxn ang="0">
                <a:pos x="connsiteX33493" y="connsiteY33493"/>
              </a:cxn>
              <a:cxn ang="0">
                <a:pos x="connsiteX33494" y="connsiteY33494"/>
              </a:cxn>
              <a:cxn ang="0">
                <a:pos x="connsiteX33495" y="connsiteY33495"/>
              </a:cxn>
              <a:cxn ang="0">
                <a:pos x="connsiteX33496" y="connsiteY33496"/>
              </a:cxn>
              <a:cxn ang="0">
                <a:pos x="connsiteX33497" y="connsiteY33497"/>
              </a:cxn>
              <a:cxn ang="0">
                <a:pos x="connsiteX33498" y="connsiteY33498"/>
              </a:cxn>
              <a:cxn ang="0">
                <a:pos x="connsiteX33499" y="connsiteY33499"/>
              </a:cxn>
              <a:cxn ang="0">
                <a:pos x="connsiteX33500" y="connsiteY33500"/>
              </a:cxn>
              <a:cxn ang="0">
                <a:pos x="connsiteX33501" y="connsiteY33501"/>
              </a:cxn>
              <a:cxn ang="0">
                <a:pos x="connsiteX33502" y="connsiteY33502"/>
              </a:cxn>
              <a:cxn ang="0">
                <a:pos x="connsiteX33503" y="connsiteY33503"/>
              </a:cxn>
              <a:cxn ang="0">
                <a:pos x="connsiteX33504" y="connsiteY33504"/>
              </a:cxn>
              <a:cxn ang="0">
                <a:pos x="connsiteX33505" y="connsiteY33505"/>
              </a:cxn>
              <a:cxn ang="0">
                <a:pos x="connsiteX33506" y="connsiteY33506"/>
              </a:cxn>
              <a:cxn ang="0">
                <a:pos x="connsiteX33507" y="connsiteY33507"/>
              </a:cxn>
              <a:cxn ang="0">
                <a:pos x="connsiteX33508" y="connsiteY33508"/>
              </a:cxn>
              <a:cxn ang="0">
                <a:pos x="connsiteX33509" y="connsiteY33509"/>
              </a:cxn>
              <a:cxn ang="0">
                <a:pos x="connsiteX33510" y="connsiteY33510"/>
              </a:cxn>
              <a:cxn ang="0">
                <a:pos x="connsiteX33511" y="connsiteY33511"/>
              </a:cxn>
              <a:cxn ang="0">
                <a:pos x="connsiteX33512" y="connsiteY33512"/>
              </a:cxn>
              <a:cxn ang="0">
                <a:pos x="connsiteX33513" y="connsiteY33513"/>
              </a:cxn>
              <a:cxn ang="0">
                <a:pos x="connsiteX33514" y="connsiteY33514"/>
              </a:cxn>
              <a:cxn ang="0">
                <a:pos x="connsiteX33515" y="connsiteY33515"/>
              </a:cxn>
              <a:cxn ang="0">
                <a:pos x="connsiteX33516" y="connsiteY33516"/>
              </a:cxn>
              <a:cxn ang="0">
                <a:pos x="connsiteX33517" y="connsiteY33517"/>
              </a:cxn>
              <a:cxn ang="0">
                <a:pos x="connsiteX33518" y="connsiteY33518"/>
              </a:cxn>
              <a:cxn ang="0">
                <a:pos x="connsiteX33519" y="connsiteY33519"/>
              </a:cxn>
              <a:cxn ang="0">
                <a:pos x="connsiteX33520" y="connsiteY33520"/>
              </a:cxn>
              <a:cxn ang="0">
                <a:pos x="connsiteX33521" y="connsiteY33521"/>
              </a:cxn>
              <a:cxn ang="0">
                <a:pos x="connsiteX33522" y="connsiteY33522"/>
              </a:cxn>
              <a:cxn ang="0">
                <a:pos x="connsiteX33523" y="connsiteY33523"/>
              </a:cxn>
              <a:cxn ang="0">
                <a:pos x="connsiteX33524" y="connsiteY33524"/>
              </a:cxn>
              <a:cxn ang="0">
                <a:pos x="connsiteX33525" y="connsiteY33525"/>
              </a:cxn>
              <a:cxn ang="0">
                <a:pos x="connsiteX33526" y="connsiteY33526"/>
              </a:cxn>
              <a:cxn ang="0">
                <a:pos x="connsiteX33527" y="connsiteY33527"/>
              </a:cxn>
              <a:cxn ang="0">
                <a:pos x="connsiteX33528" y="connsiteY33528"/>
              </a:cxn>
              <a:cxn ang="0">
                <a:pos x="connsiteX33529" y="connsiteY33529"/>
              </a:cxn>
              <a:cxn ang="0">
                <a:pos x="connsiteX33530" y="connsiteY33530"/>
              </a:cxn>
              <a:cxn ang="0">
                <a:pos x="connsiteX33531" y="connsiteY33531"/>
              </a:cxn>
              <a:cxn ang="0">
                <a:pos x="connsiteX33532" y="connsiteY33532"/>
              </a:cxn>
              <a:cxn ang="0">
                <a:pos x="connsiteX33533" y="connsiteY33533"/>
              </a:cxn>
              <a:cxn ang="0">
                <a:pos x="connsiteX33534" y="connsiteY33534"/>
              </a:cxn>
              <a:cxn ang="0">
                <a:pos x="connsiteX33535" y="connsiteY33535"/>
              </a:cxn>
              <a:cxn ang="0">
                <a:pos x="connsiteX33536" y="connsiteY33536"/>
              </a:cxn>
              <a:cxn ang="0">
                <a:pos x="connsiteX33537" y="connsiteY33537"/>
              </a:cxn>
              <a:cxn ang="0">
                <a:pos x="connsiteX33538" y="connsiteY33538"/>
              </a:cxn>
              <a:cxn ang="0">
                <a:pos x="connsiteX33539" y="connsiteY33539"/>
              </a:cxn>
              <a:cxn ang="0">
                <a:pos x="connsiteX33540" y="connsiteY33540"/>
              </a:cxn>
              <a:cxn ang="0">
                <a:pos x="connsiteX33541" y="connsiteY33541"/>
              </a:cxn>
              <a:cxn ang="0">
                <a:pos x="connsiteX33542" y="connsiteY33542"/>
              </a:cxn>
              <a:cxn ang="0">
                <a:pos x="connsiteX33543" y="connsiteY33543"/>
              </a:cxn>
              <a:cxn ang="0">
                <a:pos x="connsiteX33544" y="connsiteY33544"/>
              </a:cxn>
              <a:cxn ang="0">
                <a:pos x="connsiteX33545" y="connsiteY33545"/>
              </a:cxn>
              <a:cxn ang="0">
                <a:pos x="connsiteX33546" y="connsiteY33546"/>
              </a:cxn>
              <a:cxn ang="0">
                <a:pos x="connsiteX33547" y="connsiteY33547"/>
              </a:cxn>
              <a:cxn ang="0">
                <a:pos x="connsiteX33548" y="connsiteY33548"/>
              </a:cxn>
              <a:cxn ang="0">
                <a:pos x="connsiteX33549" y="connsiteY33549"/>
              </a:cxn>
              <a:cxn ang="0">
                <a:pos x="connsiteX33550" y="connsiteY33550"/>
              </a:cxn>
              <a:cxn ang="0">
                <a:pos x="connsiteX33551" y="connsiteY33551"/>
              </a:cxn>
              <a:cxn ang="0">
                <a:pos x="connsiteX33552" y="connsiteY33552"/>
              </a:cxn>
              <a:cxn ang="0">
                <a:pos x="connsiteX33553" y="connsiteY33553"/>
              </a:cxn>
              <a:cxn ang="0">
                <a:pos x="connsiteX33554" y="connsiteY33554"/>
              </a:cxn>
              <a:cxn ang="0">
                <a:pos x="connsiteX33555" y="connsiteY33555"/>
              </a:cxn>
              <a:cxn ang="0">
                <a:pos x="connsiteX33556" y="connsiteY33556"/>
              </a:cxn>
              <a:cxn ang="0">
                <a:pos x="connsiteX33557" y="connsiteY33557"/>
              </a:cxn>
              <a:cxn ang="0">
                <a:pos x="connsiteX33558" y="connsiteY33558"/>
              </a:cxn>
              <a:cxn ang="0">
                <a:pos x="connsiteX33559" y="connsiteY33559"/>
              </a:cxn>
              <a:cxn ang="0">
                <a:pos x="connsiteX33560" y="connsiteY33560"/>
              </a:cxn>
              <a:cxn ang="0">
                <a:pos x="connsiteX33561" y="connsiteY33561"/>
              </a:cxn>
              <a:cxn ang="0">
                <a:pos x="connsiteX33562" y="connsiteY33562"/>
              </a:cxn>
              <a:cxn ang="0">
                <a:pos x="connsiteX33563" y="connsiteY33563"/>
              </a:cxn>
              <a:cxn ang="0">
                <a:pos x="connsiteX33564" y="connsiteY33564"/>
              </a:cxn>
              <a:cxn ang="0">
                <a:pos x="connsiteX33565" y="connsiteY33565"/>
              </a:cxn>
              <a:cxn ang="0">
                <a:pos x="connsiteX33566" y="connsiteY33566"/>
              </a:cxn>
              <a:cxn ang="0">
                <a:pos x="connsiteX33567" y="connsiteY33567"/>
              </a:cxn>
              <a:cxn ang="0">
                <a:pos x="connsiteX33568" y="connsiteY33568"/>
              </a:cxn>
              <a:cxn ang="0">
                <a:pos x="connsiteX33569" y="connsiteY33569"/>
              </a:cxn>
              <a:cxn ang="0">
                <a:pos x="connsiteX33570" y="connsiteY33570"/>
              </a:cxn>
              <a:cxn ang="0">
                <a:pos x="connsiteX33571" y="connsiteY33571"/>
              </a:cxn>
              <a:cxn ang="0">
                <a:pos x="connsiteX33572" y="connsiteY33572"/>
              </a:cxn>
              <a:cxn ang="0">
                <a:pos x="connsiteX33573" y="connsiteY33573"/>
              </a:cxn>
              <a:cxn ang="0">
                <a:pos x="connsiteX33574" y="connsiteY33574"/>
              </a:cxn>
              <a:cxn ang="0">
                <a:pos x="connsiteX33575" y="connsiteY33575"/>
              </a:cxn>
              <a:cxn ang="0">
                <a:pos x="connsiteX33576" y="connsiteY33576"/>
              </a:cxn>
              <a:cxn ang="0">
                <a:pos x="connsiteX33577" y="connsiteY33577"/>
              </a:cxn>
              <a:cxn ang="0">
                <a:pos x="connsiteX33578" y="connsiteY33578"/>
              </a:cxn>
              <a:cxn ang="0">
                <a:pos x="connsiteX33579" y="connsiteY33579"/>
              </a:cxn>
              <a:cxn ang="0">
                <a:pos x="connsiteX33580" y="connsiteY33580"/>
              </a:cxn>
              <a:cxn ang="0">
                <a:pos x="connsiteX33581" y="connsiteY33581"/>
              </a:cxn>
              <a:cxn ang="0">
                <a:pos x="connsiteX33582" y="connsiteY33582"/>
              </a:cxn>
              <a:cxn ang="0">
                <a:pos x="connsiteX33583" y="connsiteY33583"/>
              </a:cxn>
              <a:cxn ang="0">
                <a:pos x="connsiteX33584" y="connsiteY33584"/>
              </a:cxn>
              <a:cxn ang="0">
                <a:pos x="connsiteX33585" y="connsiteY33585"/>
              </a:cxn>
              <a:cxn ang="0">
                <a:pos x="connsiteX33586" y="connsiteY33586"/>
              </a:cxn>
              <a:cxn ang="0">
                <a:pos x="connsiteX33587" y="connsiteY33587"/>
              </a:cxn>
              <a:cxn ang="0">
                <a:pos x="connsiteX33588" y="connsiteY33588"/>
              </a:cxn>
              <a:cxn ang="0">
                <a:pos x="connsiteX33589" y="connsiteY33589"/>
              </a:cxn>
              <a:cxn ang="0">
                <a:pos x="connsiteX33590" y="connsiteY33590"/>
              </a:cxn>
              <a:cxn ang="0">
                <a:pos x="connsiteX33591" y="connsiteY33591"/>
              </a:cxn>
              <a:cxn ang="0">
                <a:pos x="connsiteX33592" y="connsiteY33592"/>
              </a:cxn>
              <a:cxn ang="0">
                <a:pos x="connsiteX33593" y="connsiteY33593"/>
              </a:cxn>
              <a:cxn ang="0">
                <a:pos x="connsiteX33594" y="connsiteY33594"/>
              </a:cxn>
              <a:cxn ang="0">
                <a:pos x="connsiteX33595" y="connsiteY33595"/>
              </a:cxn>
              <a:cxn ang="0">
                <a:pos x="connsiteX33596" y="connsiteY33596"/>
              </a:cxn>
              <a:cxn ang="0">
                <a:pos x="connsiteX33597" y="connsiteY33597"/>
              </a:cxn>
              <a:cxn ang="0">
                <a:pos x="connsiteX33598" y="connsiteY33598"/>
              </a:cxn>
              <a:cxn ang="0">
                <a:pos x="connsiteX33599" y="connsiteY33599"/>
              </a:cxn>
              <a:cxn ang="0">
                <a:pos x="connsiteX33600" y="connsiteY33600"/>
              </a:cxn>
              <a:cxn ang="0">
                <a:pos x="connsiteX33601" y="connsiteY33601"/>
              </a:cxn>
              <a:cxn ang="0">
                <a:pos x="connsiteX33602" y="connsiteY33602"/>
              </a:cxn>
              <a:cxn ang="0">
                <a:pos x="connsiteX33603" y="connsiteY33603"/>
              </a:cxn>
              <a:cxn ang="0">
                <a:pos x="connsiteX33604" y="connsiteY33604"/>
              </a:cxn>
              <a:cxn ang="0">
                <a:pos x="connsiteX33605" y="connsiteY33605"/>
              </a:cxn>
              <a:cxn ang="0">
                <a:pos x="connsiteX33606" y="connsiteY33606"/>
              </a:cxn>
              <a:cxn ang="0">
                <a:pos x="connsiteX33607" y="connsiteY33607"/>
              </a:cxn>
              <a:cxn ang="0">
                <a:pos x="connsiteX33608" y="connsiteY33608"/>
              </a:cxn>
              <a:cxn ang="0">
                <a:pos x="connsiteX33609" y="connsiteY33609"/>
              </a:cxn>
              <a:cxn ang="0">
                <a:pos x="connsiteX33610" y="connsiteY33610"/>
              </a:cxn>
              <a:cxn ang="0">
                <a:pos x="connsiteX33611" y="connsiteY33611"/>
              </a:cxn>
              <a:cxn ang="0">
                <a:pos x="connsiteX33612" y="connsiteY33612"/>
              </a:cxn>
              <a:cxn ang="0">
                <a:pos x="connsiteX33613" y="connsiteY33613"/>
              </a:cxn>
              <a:cxn ang="0">
                <a:pos x="connsiteX33614" y="connsiteY33614"/>
              </a:cxn>
              <a:cxn ang="0">
                <a:pos x="connsiteX33615" y="connsiteY33615"/>
              </a:cxn>
              <a:cxn ang="0">
                <a:pos x="connsiteX33616" y="connsiteY33616"/>
              </a:cxn>
              <a:cxn ang="0">
                <a:pos x="connsiteX33617" y="connsiteY33617"/>
              </a:cxn>
              <a:cxn ang="0">
                <a:pos x="connsiteX33618" y="connsiteY33618"/>
              </a:cxn>
              <a:cxn ang="0">
                <a:pos x="connsiteX33619" y="connsiteY33619"/>
              </a:cxn>
              <a:cxn ang="0">
                <a:pos x="connsiteX33620" y="connsiteY33620"/>
              </a:cxn>
              <a:cxn ang="0">
                <a:pos x="connsiteX33621" y="connsiteY33621"/>
              </a:cxn>
              <a:cxn ang="0">
                <a:pos x="connsiteX33622" y="connsiteY33622"/>
              </a:cxn>
              <a:cxn ang="0">
                <a:pos x="connsiteX33623" y="connsiteY33623"/>
              </a:cxn>
              <a:cxn ang="0">
                <a:pos x="connsiteX33624" y="connsiteY33624"/>
              </a:cxn>
              <a:cxn ang="0">
                <a:pos x="connsiteX33625" y="connsiteY33625"/>
              </a:cxn>
              <a:cxn ang="0">
                <a:pos x="connsiteX33626" y="connsiteY33626"/>
              </a:cxn>
              <a:cxn ang="0">
                <a:pos x="connsiteX33627" y="connsiteY33627"/>
              </a:cxn>
              <a:cxn ang="0">
                <a:pos x="connsiteX33628" y="connsiteY33628"/>
              </a:cxn>
              <a:cxn ang="0">
                <a:pos x="connsiteX33629" y="connsiteY33629"/>
              </a:cxn>
              <a:cxn ang="0">
                <a:pos x="connsiteX33630" y="connsiteY33630"/>
              </a:cxn>
              <a:cxn ang="0">
                <a:pos x="connsiteX33631" y="connsiteY33631"/>
              </a:cxn>
              <a:cxn ang="0">
                <a:pos x="connsiteX33632" y="connsiteY33632"/>
              </a:cxn>
              <a:cxn ang="0">
                <a:pos x="connsiteX33633" y="connsiteY33633"/>
              </a:cxn>
              <a:cxn ang="0">
                <a:pos x="connsiteX33634" y="connsiteY33634"/>
              </a:cxn>
              <a:cxn ang="0">
                <a:pos x="connsiteX33635" y="connsiteY33635"/>
              </a:cxn>
              <a:cxn ang="0">
                <a:pos x="connsiteX33636" y="connsiteY33636"/>
              </a:cxn>
              <a:cxn ang="0">
                <a:pos x="connsiteX33637" y="connsiteY33637"/>
              </a:cxn>
              <a:cxn ang="0">
                <a:pos x="connsiteX33638" y="connsiteY33638"/>
              </a:cxn>
              <a:cxn ang="0">
                <a:pos x="connsiteX33639" y="connsiteY33639"/>
              </a:cxn>
              <a:cxn ang="0">
                <a:pos x="connsiteX33640" y="connsiteY33640"/>
              </a:cxn>
              <a:cxn ang="0">
                <a:pos x="connsiteX33641" y="connsiteY33641"/>
              </a:cxn>
              <a:cxn ang="0">
                <a:pos x="connsiteX33642" y="connsiteY33642"/>
              </a:cxn>
              <a:cxn ang="0">
                <a:pos x="connsiteX33643" y="connsiteY33643"/>
              </a:cxn>
              <a:cxn ang="0">
                <a:pos x="connsiteX33644" y="connsiteY33644"/>
              </a:cxn>
              <a:cxn ang="0">
                <a:pos x="connsiteX33645" y="connsiteY33645"/>
              </a:cxn>
              <a:cxn ang="0">
                <a:pos x="connsiteX33646" y="connsiteY33646"/>
              </a:cxn>
              <a:cxn ang="0">
                <a:pos x="connsiteX33647" y="connsiteY33647"/>
              </a:cxn>
              <a:cxn ang="0">
                <a:pos x="connsiteX33648" y="connsiteY33648"/>
              </a:cxn>
              <a:cxn ang="0">
                <a:pos x="connsiteX33649" y="connsiteY33649"/>
              </a:cxn>
              <a:cxn ang="0">
                <a:pos x="connsiteX33650" y="connsiteY33650"/>
              </a:cxn>
              <a:cxn ang="0">
                <a:pos x="connsiteX33651" y="connsiteY33651"/>
              </a:cxn>
              <a:cxn ang="0">
                <a:pos x="connsiteX33652" y="connsiteY33652"/>
              </a:cxn>
              <a:cxn ang="0">
                <a:pos x="connsiteX33653" y="connsiteY33653"/>
              </a:cxn>
              <a:cxn ang="0">
                <a:pos x="connsiteX33654" y="connsiteY33654"/>
              </a:cxn>
              <a:cxn ang="0">
                <a:pos x="connsiteX33655" y="connsiteY33655"/>
              </a:cxn>
              <a:cxn ang="0">
                <a:pos x="connsiteX33656" y="connsiteY33656"/>
              </a:cxn>
              <a:cxn ang="0">
                <a:pos x="connsiteX33657" y="connsiteY33657"/>
              </a:cxn>
              <a:cxn ang="0">
                <a:pos x="connsiteX33658" y="connsiteY33658"/>
              </a:cxn>
              <a:cxn ang="0">
                <a:pos x="connsiteX33659" y="connsiteY33659"/>
              </a:cxn>
              <a:cxn ang="0">
                <a:pos x="connsiteX33660" y="connsiteY33660"/>
              </a:cxn>
              <a:cxn ang="0">
                <a:pos x="connsiteX33661" y="connsiteY33661"/>
              </a:cxn>
              <a:cxn ang="0">
                <a:pos x="connsiteX33662" y="connsiteY33662"/>
              </a:cxn>
              <a:cxn ang="0">
                <a:pos x="connsiteX33663" y="connsiteY33663"/>
              </a:cxn>
              <a:cxn ang="0">
                <a:pos x="connsiteX33664" y="connsiteY33664"/>
              </a:cxn>
              <a:cxn ang="0">
                <a:pos x="connsiteX33665" y="connsiteY33665"/>
              </a:cxn>
              <a:cxn ang="0">
                <a:pos x="connsiteX33666" y="connsiteY33666"/>
              </a:cxn>
              <a:cxn ang="0">
                <a:pos x="connsiteX33667" y="connsiteY33667"/>
              </a:cxn>
              <a:cxn ang="0">
                <a:pos x="connsiteX33668" y="connsiteY33668"/>
              </a:cxn>
              <a:cxn ang="0">
                <a:pos x="connsiteX33669" y="connsiteY33669"/>
              </a:cxn>
              <a:cxn ang="0">
                <a:pos x="connsiteX33670" y="connsiteY33670"/>
              </a:cxn>
              <a:cxn ang="0">
                <a:pos x="connsiteX33671" y="connsiteY33671"/>
              </a:cxn>
              <a:cxn ang="0">
                <a:pos x="connsiteX33672" y="connsiteY33672"/>
              </a:cxn>
              <a:cxn ang="0">
                <a:pos x="connsiteX33673" y="connsiteY33673"/>
              </a:cxn>
              <a:cxn ang="0">
                <a:pos x="connsiteX33674" y="connsiteY33674"/>
              </a:cxn>
              <a:cxn ang="0">
                <a:pos x="connsiteX33675" y="connsiteY33675"/>
              </a:cxn>
              <a:cxn ang="0">
                <a:pos x="connsiteX33676" y="connsiteY33676"/>
              </a:cxn>
              <a:cxn ang="0">
                <a:pos x="connsiteX33677" y="connsiteY33677"/>
              </a:cxn>
              <a:cxn ang="0">
                <a:pos x="connsiteX33678" y="connsiteY33678"/>
              </a:cxn>
              <a:cxn ang="0">
                <a:pos x="connsiteX33679" y="connsiteY33679"/>
              </a:cxn>
              <a:cxn ang="0">
                <a:pos x="connsiteX33680" y="connsiteY33680"/>
              </a:cxn>
              <a:cxn ang="0">
                <a:pos x="connsiteX33681" y="connsiteY33681"/>
              </a:cxn>
              <a:cxn ang="0">
                <a:pos x="connsiteX33682" y="connsiteY33682"/>
              </a:cxn>
              <a:cxn ang="0">
                <a:pos x="connsiteX33683" y="connsiteY33683"/>
              </a:cxn>
              <a:cxn ang="0">
                <a:pos x="connsiteX33684" y="connsiteY33684"/>
              </a:cxn>
              <a:cxn ang="0">
                <a:pos x="connsiteX33685" y="connsiteY33685"/>
              </a:cxn>
              <a:cxn ang="0">
                <a:pos x="connsiteX33686" y="connsiteY33686"/>
              </a:cxn>
              <a:cxn ang="0">
                <a:pos x="connsiteX33687" y="connsiteY33687"/>
              </a:cxn>
              <a:cxn ang="0">
                <a:pos x="connsiteX33688" y="connsiteY33688"/>
              </a:cxn>
              <a:cxn ang="0">
                <a:pos x="connsiteX33689" y="connsiteY33689"/>
              </a:cxn>
              <a:cxn ang="0">
                <a:pos x="connsiteX33690" y="connsiteY33690"/>
              </a:cxn>
              <a:cxn ang="0">
                <a:pos x="connsiteX33691" y="connsiteY33691"/>
              </a:cxn>
              <a:cxn ang="0">
                <a:pos x="connsiteX33692" y="connsiteY33692"/>
              </a:cxn>
              <a:cxn ang="0">
                <a:pos x="connsiteX33693" y="connsiteY33693"/>
              </a:cxn>
              <a:cxn ang="0">
                <a:pos x="connsiteX33694" y="connsiteY33694"/>
              </a:cxn>
              <a:cxn ang="0">
                <a:pos x="connsiteX33695" y="connsiteY33695"/>
              </a:cxn>
              <a:cxn ang="0">
                <a:pos x="connsiteX33696" y="connsiteY33696"/>
              </a:cxn>
              <a:cxn ang="0">
                <a:pos x="connsiteX33697" y="connsiteY33697"/>
              </a:cxn>
              <a:cxn ang="0">
                <a:pos x="connsiteX33698" y="connsiteY33698"/>
              </a:cxn>
              <a:cxn ang="0">
                <a:pos x="connsiteX33699" y="connsiteY33699"/>
              </a:cxn>
              <a:cxn ang="0">
                <a:pos x="connsiteX33700" y="connsiteY33700"/>
              </a:cxn>
              <a:cxn ang="0">
                <a:pos x="connsiteX33701" y="connsiteY33701"/>
              </a:cxn>
              <a:cxn ang="0">
                <a:pos x="connsiteX33702" y="connsiteY33702"/>
              </a:cxn>
              <a:cxn ang="0">
                <a:pos x="connsiteX33703" y="connsiteY33703"/>
              </a:cxn>
              <a:cxn ang="0">
                <a:pos x="connsiteX33704" y="connsiteY33704"/>
              </a:cxn>
              <a:cxn ang="0">
                <a:pos x="connsiteX33705" y="connsiteY33705"/>
              </a:cxn>
              <a:cxn ang="0">
                <a:pos x="connsiteX33706" y="connsiteY33706"/>
              </a:cxn>
              <a:cxn ang="0">
                <a:pos x="connsiteX33707" y="connsiteY33707"/>
              </a:cxn>
              <a:cxn ang="0">
                <a:pos x="connsiteX33708" y="connsiteY33708"/>
              </a:cxn>
              <a:cxn ang="0">
                <a:pos x="connsiteX33709" y="connsiteY33709"/>
              </a:cxn>
              <a:cxn ang="0">
                <a:pos x="connsiteX33710" y="connsiteY33710"/>
              </a:cxn>
              <a:cxn ang="0">
                <a:pos x="connsiteX33711" y="connsiteY33711"/>
              </a:cxn>
              <a:cxn ang="0">
                <a:pos x="connsiteX33712" y="connsiteY33712"/>
              </a:cxn>
              <a:cxn ang="0">
                <a:pos x="connsiteX33713" y="connsiteY33713"/>
              </a:cxn>
              <a:cxn ang="0">
                <a:pos x="connsiteX33714" y="connsiteY33714"/>
              </a:cxn>
              <a:cxn ang="0">
                <a:pos x="connsiteX33715" y="connsiteY33715"/>
              </a:cxn>
              <a:cxn ang="0">
                <a:pos x="connsiteX33716" y="connsiteY33716"/>
              </a:cxn>
              <a:cxn ang="0">
                <a:pos x="connsiteX33717" y="connsiteY33717"/>
              </a:cxn>
              <a:cxn ang="0">
                <a:pos x="connsiteX33718" y="connsiteY33718"/>
              </a:cxn>
              <a:cxn ang="0">
                <a:pos x="connsiteX33719" y="connsiteY33719"/>
              </a:cxn>
              <a:cxn ang="0">
                <a:pos x="connsiteX33720" y="connsiteY33720"/>
              </a:cxn>
              <a:cxn ang="0">
                <a:pos x="connsiteX33721" y="connsiteY33721"/>
              </a:cxn>
              <a:cxn ang="0">
                <a:pos x="connsiteX33722" y="connsiteY33722"/>
              </a:cxn>
              <a:cxn ang="0">
                <a:pos x="connsiteX33723" y="connsiteY33723"/>
              </a:cxn>
              <a:cxn ang="0">
                <a:pos x="connsiteX33724" y="connsiteY33724"/>
              </a:cxn>
              <a:cxn ang="0">
                <a:pos x="connsiteX33725" y="connsiteY33725"/>
              </a:cxn>
              <a:cxn ang="0">
                <a:pos x="connsiteX33726" y="connsiteY33726"/>
              </a:cxn>
              <a:cxn ang="0">
                <a:pos x="connsiteX33727" y="connsiteY33727"/>
              </a:cxn>
              <a:cxn ang="0">
                <a:pos x="connsiteX33728" y="connsiteY33728"/>
              </a:cxn>
              <a:cxn ang="0">
                <a:pos x="connsiteX33729" y="connsiteY33729"/>
              </a:cxn>
              <a:cxn ang="0">
                <a:pos x="connsiteX33730" y="connsiteY33730"/>
              </a:cxn>
              <a:cxn ang="0">
                <a:pos x="connsiteX33731" y="connsiteY33731"/>
              </a:cxn>
              <a:cxn ang="0">
                <a:pos x="connsiteX33732" y="connsiteY33732"/>
              </a:cxn>
              <a:cxn ang="0">
                <a:pos x="connsiteX33733" y="connsiteY33733"/>
              </a:cxn>
              <a:cxn ang="0">
                <a:pos x="connsiteX33734" y="connsiteY33734"/>
              </a:cxn>
              <a:cxn ang="0">
                <a:pos x="connsiteX33735" y="connsiteY33735"/>
              </a:cxn>
              <a:cxn ang="0">
                <a:pos x="connsiteX33736" y="connsiteY33736"/>
              </a:cxn>
              <a:cxn ang="0">
                <a:pos x="connsiteX33737" y="connsiteY33737"/>
              </a:cxn>
              <a:cxn ang="0">
                <a:pos x="connsiteX33738" y="connsiteY33738"/>
              </a:cxn>
              <a:cxn ang="0">
                <a:pos x="connsiteX33739" y="connsiteY33739"/>
              </a:cxn>
              <a:cxn ang="0">
                <a:pos x="connsiteX33740" y="connsiteY33740"/>
              </a:cxn>
              <a:cxn ang="0">
                <a:pos x="connsiteX33741" y="connsiteY33741"/>
              </a:cxn>
              <a:cxn ang="0">
                <a:pos x="connsiteX33742" y="connsiteY33742"/>
              </a:cxn>
              <a:cxn ang="0">
                <a:pos x="connsiteX33743" y="connsiteY33743"/>
              </a:cxn>
              <a:cxn ang="0">
                <a:pos x="connsiteX33744" y="connsiteY33744"/>
              </a:cxn>
              <a:cxn ang="0">
                <a:pos x="connsiteX33745" y="connsiteY33745"/>
              </a:cxn>
              <a:cxn ang="0">
                <a:pos x="connsiteX33746" y="connsiteY33746"/>
              </a:cxn>
              <a:cxn ang="0">
                <a:pos x="connsiteX33747" y="connsiteY33747"/>
              </a:cxn>
              <a:cxn ang="0">
                <a:pos x="connsiteX33748" y="connsiteY33748"/>
              </a:cxn>
              <a:cxn ang="0">
                <a:pos x="connsiteX33749" y="connsiteY33749"/>
              </a:cxn>
              <a:cxn ang="0">
                <a:pos x="connsiteX33750" y="connsiteY33750"/>
              </a:cxn>
              <a:cxn ang="0">
                <a:pos x="connsiteX33751" y="connsiteY33751"/>
              </a:cxn>
              <a:cxn ang="0">
                <a:pos x="connsiteX33752" y="connsiteY33752"/>
              </a:cxn>
              <a:cxn ang="0">
                <a:pos x="connsiteX33753" y="connsiteY33753"/>
              </a:cxn>
              <a:cxn ang="0">
                <a:pos x="connsiteX33754" y="connsiteY33754"/>
              </a:cxn>
              <a:cxn ang="0">
                <a:pos x="connsiteX33755" y="connsiteY33755"/>
              </a:cxn>
              <a:cxn ang="0">
                <a:pos x="connsiteX33756" y="connsiteY33756"/>
              </a:cxn>
              <a:cxn ang="0">
                <a:pos x="connsiteX33757" y="connsiteY33757"/>
              </a:cxn>
              <a:cxn ang="0">
                <a:pos x="connsiteX33758" y="connsiteY33758"/>
              </a:cxn>
              <a:cxn ang="0">
                <a:pos x="connsiteX33759" y="connsiteY33759"/>
              </a:cxn>
              <a:cxn ang="0">
                <a:pos x="connsiteX33760" y="connsiteY33760"/>
              </a:cxn>
              <a:cxn ang="0">
                <a:pos x="connsiteX33761" y="connsiteY33761"/>
              </a:cxn>
              <a:cxn ang="0">
                <a:pos x="connsiteX33762" y="connsiteY33762"/>
              </a:cxn>
              <a:cxn ang="0">
                <a:pos x="connsiteX33763" y="connsiteY33763"/>
              </a:cxn>
              <a:cxn ang="0">
                <a:pos x="connsiteX33764" y="connsiteY33764"/>
              </a:cxn>
              <a:cxn ang="0">
                <a:pos x="connsiteX33765" y="connsiteY33765"/>
              </a:cxn>
              <a:cxn ang="0">
                <a:pos x="connsiteX33766" y="connsiteY33766"/>
              </a:cxn>
              <a:cxn ang="0">
                <a:pos x="connsiteX33767" y="connsiteY33767"/>
              </a:cxn>
              <a:cxn ang="0">
                <a:pos x="connsiteX33768" y="connsiteY33768"/>
              </a:cxn>
              <a:cxn ang="0">
                <a:pos x="connsiteX33769" y="connsiteY33769"/>
              </a:cxn>
              <a:cxn ang="0">
                <a:pos x="connsiteX33770" y="connsiteY33770"/>
              </a:cxn>
              <a:cxn ang="0">
                <a:pos x="connsiteX33771" y="connsiteY33771"/>
              </a:cxn>
              <a:cxn ang="0">
                <a:pos x="connsiteX33772" y="connsiteY33772"/>
              </a:cxn>
              <a:cxn ang="0">
                <a:pos x="connsiteX33773" y="connsiteY33773"/>
              </a:cxn>
              <a:cxn ang="0">
                <a:pos x="connsiteX33774" y="connsiteY33774"/>
              </a:cxn>
              <a:cxn ang="0">
                <a:pos x="connsiteX33775" y="connsiteY33775"/>
              </a:cxn>
              <a:cxn ang="0">
                <a:pos x="connsiteX33776" y="connsiteY33776"/>
              </a:cxn>
              <a:cxn ang="0">
                <a:pos x="connsiteX33777" y="connsiteY33777"/>
              </a:cxn>
              <a:cxn ang="0">
                <a:pos x="connsiteX33778" y="connsiteY33778"/>
              </a:cxn>
              <a:cxn ang="0">
                <a:pos x="connsiteX33779" y="connsiteY33779"/>
              </a:cxn>
              <a:cxn ang="0">
                <a:pos x="connsiteX33780" y="connsiteY33780"/>
              </a:cxn>
              <a:cxn ang="0">
                <a:pos x="connsiteX33781" y="connsiteY33781"/>
              </a:cxn>
              <a:cxn ang="0">
                <a:pos x="connsiteX33782" y="connsiteY33782"/>
              </a:cxn>
              <a:cxn ang="0">
                <a:pos x="connsiteX33783" y="connsiteY33783"/>
              </a:cxn>
              <a:cxn ang="0">
                <a:pos x="connsiteX33784" y="connsiteY33784"/>
              </a:cxn>
              <a:cxn ang="0">
                <a:pos x="connsiteX33785" y="connsiteY33785"/>
              </a:cxn>
              <a:cxn ang="0">
                <a:pos x="connsiteX33786" y="connsiteY33786"/>
              </a:cxn>
              <a:cxn ang="0">
                <a:pos x="connsiteX33787" y="connsiteY33787"/>
              </a:cxn>
              <a:cxn ang="0">
                <a:pos x="connsiteX33788" y="connsiteY33788"/>
              </a:cxn>
              <a:cxn ang="0">
                <a:pos x="connsiteX33789" y="connsiteY33789"/>
              </a:cxn>
              <a:cxn ang="0">
                <a:pos x="connsiteX33790" y="connsiteY33790"/>
              </a:cxn>
              <a:cxn ang="0">
                <a:pos x="connsiteX33791" y="connsiteY33791"/>
              </a:cxn>
              <a:cxn ang="0">
                <a:pos x="connsiteX33792" y="connsiteY33792"/>
              </a:cxn>
              <a:cxn ang="0">
                <a:pos x="connsiteX33793" y="connsiteY33793"/>
              </a:cxn>
              <a:cxn ang="0">
                <a:pos x="connsiteX33794" y="connsiteY33794"/>
              </a:cxn>
              <a:cxn ang="0">
                <a:pos x="connsiteX33795" y="connsiteY33795"/>
              </a:cxn>
              <a:cxn ang="0">
                <a:pos x="connsiteX33796" y="connsiteY33796"/>
              </a:cxn>
              <a:cxn ang="0">
                <a:pos x="connsiteX33797" y="connsiteY33797"/>
              </a:cxn>
              <a:cxn ang="0">
                <a:pos x="connsiteX33798" y="connsiteY33798"/>
              </a:cxn>
              <a:cxn ang="0">
                <a:pos x="connsiteX33799" y="connsiteY33799"/>
              </a:cxn>
              <a:cxn ang="0">
                <a:pos x="connsiteX33800" y="connsiteY33800"/>
              </a:cxn>
              <a:cxn ang="0">
                <a:pos x="connsiteX33801" y="connsiteY33801"/>
              </a:cxn>
              <a:cxn ang="0">
                <a:pos x="connsiteX33802" y="connsiteY33802"/>
              </a:cxn>
              <a:cxn ang="0">
                <a:pos x="connsiteX33803" y="connsiteY33803"/>
              </a:cxn>
              <a:cxn ang="0">
                <a:pos x="connsiteX33804" y="connsiteY33804"/>
              </a:cxn>
              <a:cxn ang="0">
                <a:pos x="connsiteX33805" y="connsiteY33805"/>
              </a:cxn>
              <a:cxn ang="0">
                <a:pos x="connsiteX33806" y="connsiteY33806"/>
              </a:cxn>
              <a:cxn ang="0">
                <a:pos x="connsiteX33807" y="connsiteY33807"/>
              </a:cxn>
              <a:cxn ang="0">
                <a:pos x="connsiteX33808" y="connsiteY33808"/>
              </a:cxn>
              <a:cxn ang="0">
                <a:pos x="connsiteX33809" y="connsiteY33809"/>
              </a:cxn>
              <a:cxn ang="0">
                <a:pos x="connsiteX33810" y="connsiteY33810"/>
              </a:cxn>
              <a:cxn ang="0">
                <a:pos x="connsiteX33811" y="connsiteY33811"/>
              </a:cxn>
              <a:cxn ang="0">
                <a:pos x="connsiteX33812" y="connsiteY33812"/>
              </a:cxn>
              <a:cxn ang="0">
                <a:pos x="connsiteX33813" y="connsiteY33813"/>
              </a:cxn>
              <a:cxn ang="0">
                <a:pos x="connsiteX33814" y="connsiteY33814"/>
              </a:cxn>
              <a:cxn ang="0">
                <a:pos x="connsiteX33815" y="connsiteY33815"/>
              </a:cxn>
              <a:cxn ang="0">
                <a:pos x="connsiteX33816" y="connsiteY33816"/>
              </a:cxn>
              <a:cxn ang="0">
                <a:pos x="connsiteX33817" y="connsiteY33817"/>
              </a:cxn>
              <a:cxn ang="0">
                <a:pos x="connsiteX33818" y="connsiteY33818"/>
              </a:cxn>
              <a:cxn ang="0">
                <a:pos x="connsiteX33819" y="connsiteY33819"/>
              </a:cxn>
              <a:cxn ang="0">
                <a:pos x="connsiteX33820" y="connsiteY33820"/>
              </a:cxn>
              <a:cxn ang="0">
                <a:pos x="connsiteX33821" y="connsiteY33821"/>
              </a:cxn>
              <a:cxn ang="0">
                <a:pos x="connsiteX33822" y="connsiteY33822"/>
              </a:cxn>
              <a:cxn ang="0">
                <a:pos x="connsiteX33823" y="connsiteY33823"/>
              </a:cxn>
              <a:cxn ang="0">
                <a:pos x="connsiteX33824" y="connsiteY33824"/>
              </a:cxn>
              <a:cxn ang="0">
                <a:pos x="connsiteX33825" y="connsiteY33825"/>
              </a:cxn>
              <a:cxn ang="0">
                <a:pos x="connsiteX33826" y="connsiteY33826"/>
              </a:cxn>
              <a:cxn ang="0">
                <a:pos x="connsiteX33827" y="connsiteY33827"/>
              </a:cxn>
              <a:cxn ang="0">
                <a:pos x="connsiteX33828" y="connsiteY33828"/>
              </a:cxn>
              <a:cxn ang="0">
                <a:pos x="connsiteX33829" y="connsiteY33829"/>
              </a:cxn>
              <a:cxn ang="0">
                <a:pos x="connsiteX33830" y="connsiteY33830"/>
              </a:cxn>
              <a:cxn ang="0">
                <a:pos x="connsiteX33831" y="connsiteY33831"/>
              </a:cxn>
              <a:cxn ang="0">
                <a:pos x="connsiteX33832" y="connsiteY33832"/>
              </a:cxn>
              <a:cxn ang="0">
                <a:pos x="connsiteX33833" y="connsiteY33833"/>
              </a:cxn>
              <a:cxn ang="0">
                <a:pos x="connsiteX33834" y="connsiteY33834"/>
              </a:cxn>
              <a:cxn ang="0">
                <a:pos x="connsiteX33835" y="connsiteY33835"/>
              </a:cxn>
              <a:cxn ang="0">
                <a:pos x="connsiteX33836" y="connsiteY33836"/>
              </a:cxn>
              <a:cxn ang="0">
                <a:pos x="connsiteX33837" y="connsiteY33837"/>
              </a:cxn>
              <a:cxn ang="0">
                <a:pos x="connsiteX33838" y="connsiteY33838"/>
              </a:cxn>
              <a:cxn ang="0">
                <a:pos x="connsiteX33839" y="connsiteY33839"/>
              </a:cxn>
              <a:cxn ang="0">
                <a:pos x="connsiteX33840" y="connsiteY33840"/>
              </a:cxn>
              <a:cxn ang="0">
                <a:pos x="connsiteX33841" y="connsiteY33841"/>
              </a:cxn>
              <a:cxn ang="0">
                <a:pos x="connsiteX33842" y="connsiteY33842"/>
              </a:cxn>
              <a:cxn ang="0">
                <a:pos x="connsiteX33843" y="connsiteY33843"/>
              </a:cxn>
              <a:cxn ang="0">
                <a:pos x="connsiteX33844" y="connsiteY33844"/>
              </a:cxn>
              <a:cxn ang="0">
                <a:pos x="connsiteX33845" y="connsiteY33845"/>
              </a:cxn>
              <a:cxn ang="0">
                <a:pos x="connsiteX33846" y="connsiteY33846"/>
              </a:cxn>
              <a:cxn ang="0">
                <a:pos x="connsiteX33847" y="connsiteY33847"/>
              </a:cxn>
              <a:cxn ang="0">
                <a:pos x="connsiteX33848" y="connsiteY33848"/>
              </a:cxn>
              <a:cxn ang="0">
                <a:pos x="connsiteX33849" y="connsiteY33849"/>
              </a:cxn>
              <a:cxn ang="0">
                <a:pos x="connsiteX33850" y="connsiteY33850"/>
              </a:cxn>
              <a:cxn ang="0">
                <a:pos x="connsiteX33851" y="connsiteY33851"/>
              </a:cxn>
              <a:cxn ang="0">
                <a:pos x="connsiteX33852" y="connsiteY33852"/>
              </a:cxn>
              <a:cxn ang="0">
                <a:pos x="connsiteX33853" y="connsiteY33853"/>
              </a:cxn>
              <a:cxn ang="0">
                <a:pos x="connsiteX33854" y="connsiteY33854"/>
              </a:cxn>
              <a:cxn ang="0">
                <a:pos x="connsiteX33855" y="connsiteY33855"/>
              </a:cxn>
              <a:cxn ang="0">
                <a:pos x="connsiteX33856" y="connsiteY33856"/>
              </a:cxn>
              <a:cxn ang="0">
                <a:pos x="connsiteX33857" y="connsiteY33857"/>
              </a:cxn>
              <a:cxn ang="0">
                <a:pos x="connsiteX33858" y="connsiteY33858"/>
              </a:cxn>
              <a:cxn ang="0">
                <a:pos x="connsiteX33859" y="connsiteY33859"/>
              </a:cxn>
              <a:cxn ang="0">
                <a:pos x="connsiteX33860" y="connsiteY33860"/>
              </a:cxn>
              <a:cxn ang="0">
                <a:pos x="connsiteX33861" y="connsiteY33861"/>
              </a:cxn>
              <a:cxn ang="0">
                <a:pos x="connsiteX33862" y="connsiteY33862"/>
              </a:cxn>
              <a:cxn ang="0">
                <a:pos x="connsiteX33863" y="connsiteY33863"/>
              </a:cxn>
              <a:cxn ang="0">
                <a:pos x="connsiteX33864" y="connsiteY33864"/>
              </a:cxn>
              <a:cxn ang="0">
                <a:pos x="connsiteX33865" y="connsiteY33865"/>
              </a:cxn>
              <a:cxn ang="0">
                <a:pos x="connsiteX33866" y="connsiteY33866"/>
              </a:cxn>
              <a:cxn ang="0">
                <a:pos x="connsiteX33867" y="connsiteY33867"/>
              </a:cxn>
              <a:cxn ang="0">
                <a:pos x="connsiteX33868" y="connsiteY33868"/>
              </a:cxn>
              <a:cxn ang="0">
                <a:pos x="connsiteX33869" y="connsiteY33869"/>
              </a:cxn>
              <a:cxn ang="0">
                <a:pos x="connsiteX33870" y="connsiteY33870"/>
              </a:cxn>
              <a:cxn ang="0">
                <a:pos x="connsiteX33871" y="connsiteY33871"/>
              </a:cxn>
              <a:cxn ang="0">
                <a:pos x="connsiteX33872" y="connsiteY33872"/>
              </a:cxn>
              <a:cxn ang="0">
                <a:pos x="connsiteX33873" y="connsiteY33873"/>
              </a:cxn>
              <a:cxn ang="0">
                <a:pos x="connsiteX33874" y="connsiteY33874"/>
              </a:cxn>
              <a:cxn ang="0">
                <a:pos x="connsiteX33875" y="connsiteY33875"/>
              </a:cxn>
              <a:cxn ang="0">
                <a:pos x="connsiteX33876" y="connsiteY33876"/>
              </a:cxn>
              <a:cxn ang="0">
                <a:pos x="connsiteX33877" y="connsiteY33877"/>
              </a:cxn>
              <a:cxn ang="0">
                <a:pos x="connsiteX33878" y="connsiteY33878"/>
              </a:cxn>
              <a:cxn ang="0">
                <a:pos x="connsiteX33879" y="connsiteY33879"/>
              </a:cxn>
              <a:cxn ang="0">
                <a:pos x="connsiteX33880" y="connsiteY33880"/>
              </a:cxn>
              <a:cxn ang="0">
                <a:pos x="connsiteX33881" y="connsiteY33881"/>
              </a:cxn>
              <a:cxn ang="0">
                <a:pos x="connsiteX33882" y="connsiteY33882"/>
              </a:cxn>
              <a:cxn ang="0">
                <a:pos x="connsiteX33883" y="connsiteY33883"/>
              </a:cxn>
              <a:cxn ang="0">
                <a:pos x="connsiteX33884" y="connsiteY33884"/>
              </a:cxn>
              <a:cxn ang="0">
                <a:pos x="connsiteX33885" y="connsiteY33885"/>
              </a:cxn>
              <a:cxn ang="0">
                <a:pos x="connsiteX33886" y="connsiteY33886"/>
              </a:cxn>
              <a:cxn ang="0">
                <a:pos x="connsiteX33887" y="connsiteY33887"/>
              </a:cxn>
              <a:cxn ang="0">
                <a:pos x="connsiteX33888" y="connsiteY33888"/>
              </a:cxn>
              <a:cxn ang="0">
                <a:pos x="connsiteX33889" y="connsiteY33889"/>
              </a:cxn>
              <a:cxn ang="0">
                <a:pos x="connsiteX33890" y="connsiteY33890"/>
              </a:cxn>
              <a:cxn ang="0">
                <a:pos x="connsiteX33891" y="connsiteY33891"/>
              </a:cxn>
              <a:cxn ang="0">
                <a:pos x="connsiteX33892" y="connsiteY33892"/>
              </a:cxn>
              <a:cxn ang="0">
                <a:pos x="connsiteX33893" y="connsiteY33893"/>
              </a:cxn>
              <a:cxn ang="0">
                <a:pos x="connsiteX33894" y="connsiteY33894"/>
              </a:cxn>
              <a:cxn ang="0">
                <a:pos x="connsiteX33895" y="connsiteY33895"/>
              </a:cxn>
              <a:cxn ang="0">
                <a:pos x="connsiteX33896" y="connsiteY33896"/>
              </a:cxn>
              <a:cxn ang="0">
                <a:pos x="connsiteX33897" y="connsiteY33897"/>
              </a:cxn>
              <a:cxn ang="0">
                <a:pos x="connsiteX33898" y="connsiteY33898"/>
              </a:cxn>
              <a:cxn ang="0">
                <a:pos x="connsiteX33899" y="connsiteY33899"/>
              </a:cxn>
              <a:cxn ang="0">
                <a:pos x="connsiteX33900" y="connsiteY33900"/>
              </a:cxn>
              <a:cxn ang="0">
                <a:pos x="connsiteX33901" y="connsiteY33901"/>
              </a:cxn>
              <a:cxn ang="0">
                <a:pos x="connsiteX33902" y="connsiteY33902"/>
              </a:cxn>
              <a:cxn ang="0">
                <a:pos x="connsiteX33903" y="connsiteY33903"/>
              </a:cxn>
              <a:cxn ang="0">
                <a:pos x="connsiteX33904" y="connsiteY33904"/>
              </a:cxn>
              <a:cxn ang="0">
                <a:pos x="connsiteX33905" y="connsiteY33905"/>
              </a:cxn>
              <a:cxn ang="0">
                <a:pos x="connsiteX33906" y="connsiteY33906"/>
              </a:cxn>
              <a:cxn ang="0">
                <a:pos x="connsiteX33907" y="connsiteY33907"/>
              </a:cxn>
              <a:cxn ang="0">
                <a:pos x="connsiteX33908" y="connsiteY33908"/>
              </a:cxn>
              <a:cxn ang="0">
                <a:pos x="connsiteX33909" y="connsiteY33909"/>
              </a:cxn>
              <a:cxn ang="0">
                <a:pos x="connsiteX33910" y="connsiteY33910"/>
              </a:cxn>
              <a:cxn ang="0">
                <a:pos x="connsiteX33911" y="connsiteY33911"/>
              </a:cxn>
              <a:cxn ang="0">
                <a:pos x="connsiteX33912" y="connsiteY33912"/>
              </a:cxn>
              <a:cxn ang="0">
                <a:pos x="connsiteX33913" y="connsiteY33913"/>
              </a:cxn>
              <a:cxn ang="0">
                <a:pos x="connsiteX33914" y="connsiteY33914"/>
              </a:cxn>
              <a:cxn ang="0">
                <a:pos x="connsiteX33915" y="connsiteY33915"/>
              </a:cxn>
              <a:cxn ang="0">
                <a:pos x="connsiteX33916" y="connsiteY33916"/>
              </a:cxn>
              <a:cxn ang="0">
                <a:pos x="connsiteX33917" y="connsiteY33917"/>
              </a:cxn>
              <a:cxn ang="0">
                <a:pos x="connsiteX33918" y="connsiteY33918"/>
              </a:cxn>
              <a:cxn ang="0">
                <a:pos x="connsiteX33919" y="connsiteY33919"/>
              </a:cxn>
              <a:cxn ang="0">
                <a:pos x="connsiteX33920" y="connsiteY33920"/>
              </a:cxn>
              <a:cxn ang="0">
                <a:pos x="connsiteX33921" y="connsiteY33921"/>
              </a:cxn>
              <a:cxn ang="0">
                <a:pos x="connsiteX33922" y="connsiteY33922"/>
              </a:cxn>
              <a:cxn ang="0">
                <a:pos x="connsiteX33923" y="connsiteY33923"/>
              </a:cxn>
              <a:cxn ang="0">
                <a:pos x="connsiteX33924" y="connsiteY33924"/>
              </a:cxn>
              <a:cxn ang="0">
                <a:pos x="connsiteX33925" y="connsiteY33925"/>
              </a:cxn>
              <a:cxn ang="0">
                <a:pos x="connsiteX33926" y="connsiteY33926"/>
              </a:cxn>
              <a:cxn ang="0">
                <a:pos x="connsiteX33927" y="connsiteY33927"/>
              </a:cxn>
              <a:cxn ang="0">
                <a:pos x="connsiteX33928" y="connsiteY33928"/>
              </a:cxn>
              <a:cxn ang="0">
                <a:pos x="connsiteX33929" y="connsiteY33929"/>
              </a:cxn>
              <a:cxn ang="0">
                <a:pos x="connsiteX33930" y="connsiteY33930"/>
              </a:cxn>
              <a:cxn ang="0">
                <a:pos x="connsiteX33931" y="connsiteY33931"/>
              </a:cxn>
              <a:cxn ang="0">
                <a:pos x="connsiteX33932" y="connsiteY33932"/>
              </a:cxn>
              <a:cxn ang="0">
                <a:pos x="connsiteX33933" y="connsiteY33933"/>
              </a:cxn>
              <a:cxn ang="0">
                <a:pos x="connsiteX33934" y="connsiteY33934"/>
              </a:cxn>
              <a:cxn ang="0">
                <a:pos x="connsiteX33935" y="connsiteY33935"/>
              </a:cxn>
              <a:cxn ang="0">
                <a:pos x="connsiteX33936" y="connsiteY33936"/>
              </a:cxn>
              <a:cxn ang="0">
                <a:pos x="connsiteX33937" y="connsiteY33937"/>
              </a:cxn>
              <a:cxn ang="0">
                <a:pos x="connsiteX33938" y="connsiteY33938"/>
              </a:cxn>
              <a:cxn ang="0">
                <a:pos x="connsiteX33939" y="connsiteY33939"/>
              </a:cxn>
              <a:cxn ang="0">
                <a:pos x="connsiteX33940" y="connsiteY33940"/>
              </a:cxn>
              <a:cxn ang="0">
                <a:pos x="connsiteX33941" y="connsiteY33941"/>
              </a:cxn>
              <a:cxn ang="0">
                <a:pos x="connsiteX33942" y="connsiteY33942"/>
              </a:cxn>
              <a:cxn ang="0">
                <a:pos x="connsiteX33943" y="connsiteY33943"/>
              </a:cxn>
              <a:cxn ang="0">
                <a:pos x="connsiteX33944" y="connsiteY33944"/>
              </a:cxn>
              <a:cxn ang="0">
                <a:pos x="connsiteX33945" y="connsiteY33945"/>
              </a:cxn>
              <a:cxn ang="0">
                <a:pos x="connsiteX33946" y="connsiteY33946"/>
              </a:cxn>
              <a:cxn ang="0">
                <a:pos x="connsiteX33947" y="connsiteY33947"/>
              </a:cxn>
              <a:cxn ang="0">
                <a:pos x="connsiteX33948" y="connsiteY33948"/>
              </a:cxn>
              <a:cxn ang="0">
                <a:pos x="connsiteX33949" y="connsiteY33949"/>
              </a:cxn>
              <a:cxn ang="0">
                <a:pos x="connsiteX33950" y="connsiteY33950"/>
              </a:cxn>
              <a:cxn ang="0">
                <a:pos x="connsiteX33951" y="connsiteY33951"/>
              </a:cxn>
              <a:cxn ang="0">
                <a:pos x="connsiteX33952" y="connsiteY33952"/>
              </a:cxn>
              <a:cxn ang="0">
                <a:pos x="connsiteX33953" y="connsiteY33953"/>
              </a:cxn>
              <a:cxn ang="0">
                <a:pos x="connsiteX33954" y="connsiteY33954"/>
              </a:cxn>
              <a:cxn ang="0">
                <a:pos x="connsiteX33955" y="connsiteY33955"/>
              </a:cxn>
              <a:cxn ang="0">
                <a:pos x="connsiteX33956" y="connsiteY33956"/>
              </a:cxn>
              <a:cxn ang="0">
                <a:pos x="connsiteX33957" y="connsiteY33957"/>
              </a:cxn>
              <a:cxn ang="0">
                <a:pos x="connsiteX33958" y="connsiteY33958"/>
              </a:cxn>
              <a:cxn ang="0">
                <a:pos x="connsiteX33959" y="connsiteY33959"/>
              </a:cxn>
              <a:cxn ang="0">
                <a:pos x="connsiteX33960" y="connsiteY33960"/>
              </a:cxn>
              <a:cxn ang="0">
                <a:pos x="connsiteX33961" y="connsiteY33961"/>
              </a:cxn>
              <a:cxn ang="0">
                <a:pos x="connsiteX33962" y="connsiteY33962"/>
              </a:cxn>
              <a:cxn ang="0">
                <a:pos x="connsiteX33963" y="connsiteY33963"/>
              </a:cxn>
              <a:cxn ang="0">
                <a:pos x="connsiteX33964" y="connsiteY33964"/>
              </a:cxn>
              <a:cxn ang="0">
                <a:pos x="connsiteX33965" y="connsiteY33965"/>
              </a:cxn>
              <a:cxn ang="0">
                <a:pos x="connsiteX33966" y="connsiteY33966"/>
              </a:cxn>
              <a:cxn ang="0">
                <a:pos x="connsiteX33967" y="connsiteY33967"/>
              </a:cxn>
              <a:cxn ang="0">
                <a:pos x="connsiteX33968" y="connsiteY33968"/>
              </a:cxn>
              <a:cxn ang="0">
                <a:pos x="connsiteX33969" y="connsiteY33969"/>
              </a:cxn>
              <a:cxn ang="0">
                <a:pos x="connsiteX33970" y="connsiteY33970"/>
              </a:cxn>
              <a:cxn ang="0">
                <a:pos x="connsiteX33971" y="connsiteY33971"/>
              </a:cxn>
              <a:cxn ang="0">
                <a:pos x="connsiteX33972" y="connsiteY33972"/>
              </a:cxn>
              <a:cxn ang="0">
                <a:pos x="connsiteX33973" y="connsiteY33973"/>
              </a:cxn>
              <a:cxn ang="0">
                <a:pos x="connsiteX33974" y="connsiteY33974"/>
              </a:cxn>
              <a:cxn ang="0">
                <a:pos x="connsiteX33975" y="connsiteY33975"/>
              </a:cxn>
              <a:cxn ang="0">
                <a:pos x="connsiteX33976" y="connsiteY33976"/>
              </a:cxn>
              <a:cxn ang="0">
                <a:pos x="connsiteX33977" y="connsiteY33977"/>
              </a:cxn>
              <a:cxn ang="0">
                <a:pos x="connsiteX33978" y="connsiteY33978"/>
              </a:cxn>
              <a:cxn ang="0">
                <a:pos x="connsiteX33979" y="connsiteY33979"/>
              </a:cxn>
              <a:cxn ang="0">
                <a:pos x="connsiteX33980" y="connsiteY33980"/>
              </a:cxn>
              <a:cxn ang="0">
                <a:pos x="connsiteX33981" y="connsiteY33981"/>
              </a:cxn>
              <a:cxn ang="0">
                <a:pos x="connsiteX33982" y="connsiteY33982"/>
              </a:cxn>
              <a:cxn ang="0">
                <a:pos x="connsiteX33983" y="connsiteY33983"/>
              </a:cxn>
              <a:cxn ang="0">
                <a:pos x="connsiteX33984" y="connsiteY33984"/>
              </a:cxn>
              <a:cxn ang="0">
                <a:pos x="connsiteX33985" y="connsiteY33985"/>
              </a:cxn>
              <a:cxn ang="0">
                <a:pos x="connsiteX33986" y="connsiteY33986"/>
              </a:cxn>
              <a:cxn ang="0">
                <a:pos x="connsiteX33987" y="connsiteY33987"/>
              </a:cxn>
              <a:cxn ang="0">
                <a:pos x="connsiteX33988" y="connsiteY33988"/>
              </a:cxn>
              <a:cxn ang="0">
                <a:pos x="connsiteX33989" y="connsiteY33989"/>
              </a:cxn>
              <a:cxn ang="0">
                <a:pos x="connsiteX33990" y="connsiteY33990"/>
              </a:cxn>
              <a:cxn ang="0">
                <a:pos x="connsiteX33991" y="connsiteY33991"/>
              </a:cxn>
              <a:cxn ang="0">
                <a:pos x="connsiteX33992" y="connsiteY33992"/>
              </a:cxn>
              <a:cxn ang="0">
                <a:pos x="connsiteX33993" y="connsiteY33993"/>
              </a:cxn>
              <a:cxn ang="0">
                <a:pos x="connsiteX33994" y="connsiteY33994"/>
              </a:cxn>
              <a:cxn ang="0">
                <a:pos x="connsiteX33995" y="connsiteY33995"/>
              </a:cxn>
              <a:cxn ang="0">
                <a:pos x="connsiteX33996" y="connsiteY33996"/>
              </a:cxn>
              <a:cxn ang="0">
                <a:pos x="connsiteX33997" y="connsiteY33997"/>
              </a:cxn>
              <a:cxn ang="0">
                <a:pos x="connsiteX33998" y="connsiteY33998"/>
              </a:cxn>
              <a:cxn ang="0">
                <a:pos x="connsiteX33999" y="connsiteY33999"/>
              </a:cxn>
              <a:cxn ang="0">
                <a:pos x="connsiteX34000" y="connsiteY34000"/>
              </a:cxn>
              <a:cxn ang="0">
                <a:pos x="connsiteX34001" y="connsiteY34001"/>
              </a:cxn>
              <a:cxn ang="0">
                <a:pos x="connsiteX34002" y="connsiteY34002"/>
              </a:cxn>
              <a:cxn ang="0">
                <a:pos x="connsiteX34003" y="connsiteY34003"/>
              </a:cxn>
              <a:cxn ang="0">
                <a:pos x="connsiteX34004" y="connsiteY34004"/>
              </a:cxn>
              <a:cxn ang="0">
                <a:pos x="connsiteX34005" y="connsiteY34005"/>
              </a:cxn>
              <a:cxn ang="0">
                <a:pos x="connsiteX34006" y="connsiteY34006"/>
              </a:cxn>
              <a:cxn ang="0">
                <a:pos x="connsiteX34007" y="connsiteY34007"/>
              </a:cxn>
              <a:cxn ang="0">
                <a:pos x="connsiteX34008" y="connsiteY34008"/>
              </a:cxn>
              <a:cxn ang="0">
                <a:pos x="connsiteX34009" y="connsiteY34009"/>
              </a:cxn>
              <a:cxn ang="0">
                <a:pos x="connsiteX34010" y="connsiteY34010"/>
              </a:cxn>
              <a:cxn ang="0">
                <a:pos x="connsiteX34011" y="connsiteY34011"/>
              </a:cxn>
              <a:cxn ang="0">
                <a:pos x="connsiteX34012" y="connsiteY34012"/>
              </a:cxn>
              <a:cxn ang="0">
                <a:pos x="connsiteX34013" y="connsiteY34013"/>
              </a:cxn>
              <a:cxn ang="0">
                <a:pos x="connsiteX34014" y="connsiteY34014"/>
              </a:cxn>
              <a:cxn ang="0">
                <a:pos x="connsiteX34015" y="connsiteY34015"/>
              </a:cxn>
              <a:cxn ang="0">
                <a:pos x="connsiteX34016" y="connsiteY34016"/>
              </a:cxn>
              <a:cxn ang="0">
                <a:pos x="connsiteX34017" y="connsiteY34017"/>
              </a:cxn>
              <a:cxn ang="0">
                <a:pos x="connsiteX34018" y="connsiteY34018"/>
              </a:cxn>
              <a:cxn ang="0">
                <a:pos x="connsiteX34019" y="connsiteY34019"/>
              </a:cxn>
              <a:cxn ang="0">
                <a:pos x="connsiteX34020" y="connsiteY34020"/>
              </a:cxn>
              <a:cxn ang="0">
                <a:pos x="connsiteX34021" y="connsiteY34021"/>
              </a:cxn>
              <a:cxn ang="0">
                <a:pos x="connsiteX34022" y="connsiteY34022"/>
              </a:cxn>
              <a:cxn ang="0">
                <a:pos x="connsiteX34023" y="connsiteY34023"/>
              </a:cxn>
              <a:cxn ang="0">
                <a:pos x="connsiteX34024" y="connsiteY34024"/>
              </a:cxn>
              <a:cxn ang="0">
                <a:pos x="connsiteX34025" y="connsiteY34025"/>
              </a:cxn>
              <a:cxn ang="0">
                <a:pos x="connsiteX34026" y="connsiteY34026"/>
              </a:cxn>
              <a:cxn ang="0">
                <a:pos x="connsiteX34027" y="connsiteY34027"/>
              </a:cxn>
              <a:cxn ang="0">
                <a:pos x="connsiteX34028" y="connsiteY34028"/>
              </a:cxn>
              <a:cxn ang="0">
                <a:pos x="connsiteX34029" y="connsiteY34029"/>
              </a:cxn>
              <a:cxn ang="0">
                <a:pos x="connsiteX34030" y="connsiteY34030"/>
              </a:cxn>
              <a:cxn ang="0">
                <a:pos x="connsiteX34031" y="connsiteY34031"/>
              </a:cxn>
              <a:cxn ang="0">
                <a:pos x="connsiteX34032" y="connsiteY34032"/>
              </a:cxn>
              <a:cxn ang="0">
                <a:pos x="connsiteX34033" y="connsiteY34033"/>
              </a:cxn>
              <a:cxn ang="0">
                <a:pos x="connsiteX34034" y="connsiteY34034"/>
              </a:cxn>
              <a:cxn ang="0">
                <a:pos x="connsiteX34035" y="connsiteY34035"/>
              </a:cxn>
              <a:cxn ang="0">
                <a:pos x="connsiteX34036" y="connsiteY34036"/>
              </a:cxn>
              <a:cxn ang="0">
                <a:pos x="connsiteX34037" y="connsiteY34037"/>
              </a:cxn>
              <a:cxn ang="0">
                <a:pos x="connsiteX34038" y="connsiteY34038"/>
              </a:cxn>
              <a:cxn ang="0">
                <a:pos x="connsiteX34039" y="connsiteY34039"/>
              </a:cxn>
              <a:cxn ang="0">
                <a:pos x="connsiteX34040" y="connsiteY34040"/>
              </a:cxn>
              <a:cxn ang="0">
                <a:pos x="connsiteX34041" y="connsiteY34041"/>
              </a:cxn>
              <a:cxn ang="0">
                <a:pos x="connsiteX34042" y="connsiteY34042"/>
              </a:cxn>
              <a:cxn ang="0">
                <a:pos x="connsiteX34043" y="connsiteY34043"/>
              </a:cxn>
              <a:cxn ang="0">
                <a:pos x="connsiteX34044" y="connsiteY34044"/>
              </a:cxn>
              <a:cxn ang="0">
                <a:pos x="connsiteX34045" y="connsiteY34045"/>
              </a:cxn>
              <a:cxn ang="0">
                <a:pos x="connsiteX34046" y="connsiteY34046"/>
              </a:cxn>
              <a:cxn ang="0">
                <a:pos x="connsiteX34047" y="connsiteY34047"/>
              </a:cxn>
              <a:cxn ang="0">
                <a:pos x="connsiteX34048" y="connsiteY34048"/>
              </a:cxn>
              <a:cxn ang="0">
                <a:pos x="connsiteX34049" y="connsiteY34049"/>
              </a:cxn>
              <a:cxn ang="0">
                <a:pos x="connsiteX34050" y="connsiteY34050"/>
              </a:cxn>
              <a:cxn ang="0">
                <a:pos x="connsiteX34051" y="connsiteY34051"/>
              </a:cxn>
              <a:cxn ang="0">
                <a:pos x="connsiteX34052" y="connsiteY34052"/>
              </a:cxn>
              <a:cxn ang="0">
                <a:pos x="connsiteX34053" y="connsiteY34053"/>
              </a:cxn>
              <a:cxn ang="0">
                <a:pos x="connsiteX34054" y="connsiteY34054"/>
              </a:cxn>
              <a:cxn ang="0">
                <a:pos x="connsiteX34055" y="connsiteY34055"/>
              </a:cxn>
              <a:cxn ang="0">
                <a:pos x="connsiteX34056" y="connsiteY34056"/>
              </a:cxn>
              <a:cxn ang="0">
                <a:pos x="connsiteX34057" y="connsiteY34057"/>
              </a:cxn>
              <a:cxn ang="0">
                <a:pos x="connsiteX34058" y="connsiteY34058"/>
              </a:cxn>
              <a:cxn ang="0">
                <a:pos x="connsiteX34059" y="connsiteY34059"/>
              </a:cxn>
              <a:cxn ang="0">
                <a:pos x="connsiteX34060" y="connsiteY34060"/>
              </a:cxn>
              <a:cxn ang="0">
                <a:pos x="connsiteX34061" y="connsiteY34061"/>
              </a:cxn>
              <a:cxn ang="0">
                <a:pos x="connsiteX34062" y="connsiteY34062"/>
              </a:cxn>
              <a:cxn ang="0">
                <a:pos x="connsiteX34063" y="connsiteY34063"/>
              </a:cxn>
              <a:cxn ang="0">
                <a:pos x="connsiteX34064" y="connsiteY34064"/>
              </a:cxn>
              <a:cxn ang="0">
                <a:pos x="connsiteX34065" y="connsiteY34065"/>
              </a:cxn>
              <a:cxn ang="0">
                <a:pos x="connsiteX34066" y="connsiteY34066"/>
              </a:cxn>
              <a:cxn ang="0">
                <a:pos x="connsiteX34067" y="connsiteY34067"/>
              </a:cxn>
              <a:cxn ang="0">
                <a:pos x="connsiteX34068" y="connsiteY34068"/>
              </a:cxn>
              <a:cxn ang="0">
                <a:pos x="connsiteX34069" y="connsiteY34069"/>
              </a:cxn>
              <a:cxn ang="0">
                <a:pos x="connsiteX34070" y="connsiteY34070"/>
              </a:cxn>
              <a:cxn ang="0">
                <a:pos x="connsiteX34071" y="connsiteY34071"/>
              </a:cxn>
              <a:cxn ang="0">
                <a:pos x="connsiteX34072" y="connsiteY34072"/>
              </a:cxn>
              <a:cxn ang="0">
                <a:pos x="connsiteX34073" y="connsiteY34073"/>
              </a:cxn>
              <a:cxn ang="0">
                <a:pos x="connsiteX34074" y="connsiteY34074"/>
              </a:cxn>
              <a:cxn ang="0">
                <a:pos x="connsiteX34075" y="connsiteY34075"/>
              </a:cxn>
              <a:cxn ang="0">
                <a:pos x="connsiteX34076" y="connsiteY34076"/>
              </a:cxn>
              <a:cxn ang="0">
                <a:pos x="connsiteX34077" y="connsiteY34077"/>
              </a:cxn>
              <a:cxn ang="0">
                <a:pos x="connsiteX34078" y="connsiteY34078"/>
              </a:cxn>
              <a:cxn ang="0">
                <a:pos x="connsiteX34079" y="connsiteY34079"/>
              </a:cxn>
              <a:cxn ang="0">
                <a:pos x="connsiteX34080" y="connsiteY34080"/>
              </a:cxn>
              <a:cxn ang="0">
                <a:pos x="connsiteX34081" y="connsiteY34081"/>
              </a:cxn>
              <a:cxn ang="0">
                <a:pos x="connsiteX34082" y="connsiteY34082"/>
              </a:cxn>
              <a:cxn ang="0">
                <a:pos x="connsiteX34083" y="connsiteY34083"/>
              </a:cxn>
              <a:cxn ang="0">
                <a:pos x="connsiteX34084" y="connsiteY34084"/>
              </a:cxn>
              <a:cxn ang="0">
                <a:pos x="connsiteX34085" y="connsiteY34085"/>
              </a:cxn>
              <a:cxn ang="0">
                <a:pos x="connsiteX34086" y="connsiteY34086"/>
              </a:cxn>
              <a:cxn ang="0">
                <a:pos x="connsiteX34087" y="connsiteY34087"/>
              </a:cxn>
              <a:cxn ang="0">
                <a:pos x="connsiteX34088" y="connsiteY34088"/>
              </a:cxn>
              <a:cxn ang="0">
                <a:pos x="connsiteX34089" y="connsiteY34089"/>
              </a:cxn>
              <a:cxn ang="0">
                <a:pos x="connsiteX34090" y="connsiteY34090"/>
              </a:cxn>
              <a:cxn ang="0">
                <a:pos x="connsiteX34091" y="connsiteY34091"/>
              </a:cxn>
              <a:cxn ang="0">
                <a:pos x="connsiteX34092" y="connsiteY34092"/>
              </a:cxn>
              <a:cxn ang="0">
                <a:pos x="connsiteX34093" y="connsiteY34093"/>
              </a:cxn>
              <a:cxn ang="0">
                <a:pos x="connsiteX34094" y="connsiteY34094"/>
              </a:cxn>
              <a:cxn ang="0">
                <a:pos x="connsiteX34095" y="connsiteY34095"/>
              </a:cxn>
              <a:cxn ang="0">
                <a:pos x="connsiteX34096" y="connsiteY34096"/>
              </a:cxn>
              <a:cxn ang="0">
                <a:pos x="connsiteX34097" y="connsiteY34097"/>
              </a:cxn>
              <a:cxn ang="0">
                <a:pos x="connsiteX34098" y="connsiteY34098"/>
              </a:cxn>
              <a:cxn ang="0">
                <a:pos x="connsiteX34099" y="connsiteY34099"/>
              </a:cxn>
              <a:cxn ang="0">
                <a:pos x="connsiteX34100" y="connsiteY34100"/>
              </a:cxn>
              <a:cxn ang="0">
                <a:pos x="connsiteX34101" y="connsiteY34101"/>
              </a:cxn>
              <a:cxn ang="0">
                <a:pos x="connsiteX34102" y="connsiteY34102"/>
              </a:cxn>
              <a:cxn ang="0">
                <a:pos x="connsiteX34103" y="connsiteY34103"/>
              </a:cxn>
              <a:cxn ang="0">
                <a:pos x="connsiteX34104" y="connsiteY34104"/>
              </a:cxn>
              <a:cxn ang="0">
                <a:pos x="connsiteX34105" y="connsiteY34105"/>
              </a:cxn>
              <a:cxn ang="0">
                <a:pos x="connsiteX34106" y="connsiteY34106"/>
              </a:cxn>
              <a:cxn ang="0">
                <a:pos x="connsiteX34107" y="connsiteY34107"/>
              </a:cxn>
              <a:cxn ang="0">
                <a:pos x="connsiteX34108" y="connsiteY34108"/>
              </a:cxn>
              <a:cxn ang="0">
                <a:pos x="connsiteX34109" y="connsiteY34109"/>
              </a:cxn>
              <a:cxn ang="0">
                <a:pos x="connsiteX34110" y="connsiteY34110"/>
              </a:cxn>
              <a:cxn ang="0">
                <a:pos x="connsiteX34111" y="connsiteY34111"/>
              </a:cxn>
              <a:cxn ang="0">
                <a:pos x="connsiteX34112" y="connsiteY34112"/>
              </a:cxn>
              <a:cxn ang="0">
                <a:pos x="connsiteX34113" y="connsiteY34113"/>
              </a:cxn>
              <a:cxn ang="0">
                <a:pos x="connsiteX34114" y="connsiteY34114"/>
              </a:cxn>
              <a:cxn ang="0">
                <a:pos x="connsiteX34115" y="connsiteY34115"/>
              </a:cxn>
              <a:cxn ang="0">
                <a:pos x="connsiteX34116" y="connsiteY34116"/>
              </a:cxn>
              <a:cxn ang="0">
                <a:pos x="connsiteX34117" y="connsiteY34117"/>
              </a:cxn>
              <a:cxn ang="0">
                <a:pos x="connsiteX34118" y="connsiteY34118"/>
              </a:cxn>
              <a:cxn ang="0">
                <a:pos x="connsiteX34119" y="connsiteY34119"/>
              </a:cxn>
              <a:cxn ang="0">
                <a:pos x="connsiteX34120" y="connsiteY34120"/>
              </a:cxn>
              <a:cxn ang="0">
                <a:pos x="connsiteX34121" y="connsiteY34121"/>
              </a:cxn>
              <a:cxn ang="0">
                <a:pos x="connsiteX34122" y="connsiteY34122"/>
              </a:cxn>
              <a:cxn ang="0">
                <a:pos x="connsiteX34123" y="connsiteY34123"/>
              </a:cxn>
              <a:cxn ang="0">
                <a:pos x="connsiteX34124" y="connsiteY34124"/>
              </a:cxn>
              <a:cxn ang="0">
                <a:pos x="connsiteX34125" y="connsiteY34125"/>
              </a:cxn>
              <a:cxn ang="0">
                <a:pos x="connsiteX34126" y="connsiteY34126"/>
              </a:cxn>
              <a:cxn ang="0">
                <a:pos x="connsiteX34127" y="connsiteY34127"/>
              </a:cxn>
              <a:cxn ang="0">
                <a:pos x="connsiteX34128" y="connsiteY34128"/>
              </a:cxn>
              <a:cxn ang="0">
                <a:pos x="connsiteX34129" y="connsiteY34129"/>
              </a:cxn>
              <a:cxn ang="0">
                <a:pos x="connsiteX34130" y="connsiteY34130"/>
              </a:cxn>
              <a:cxn ang="0">
                <a:pos x="connsiteX34131" y="connsiteY34131"/>
              </a:cxn>
              <a:cxn ang="0">
                <a:pos x="connsiteX34132" y="connsiteY34132"/>
              </a:cxn>
              <a:cxn ang="0">
                <a:pos x="connsiteX34133" y="connsiteY34133"/>
              </a:cxn>
              <a:cxn ang="0">
                <a:pos x="connsiteX34134" y="connsiteY34134"/>
              </a:cxn>
              <a:cxn ang="0">
                <a:pos x="connsiteX34135" y="connsiteY34135"/>
              </a:cxn>
              <a:cxn ang="0">
                <a:pos x="connsiteX34136" y="connsiteY34136"/>
              </a:cxn>
              <a:cxn ang="0">
                <a:pos x="connsiteX34137" y="connsiteY34137"/>
              </a:cxn>
              <a:cxn ang="0">
                <a:pos x="connsiteX34138" y="connsiteY34138"/>
              </a:cxn>
              <a:cxn ang="0">
                <a:pos x="connsiteX34139" y="connsiteY34139"/>
              </a:cxn>
              <a:cxn ang="0">
                <a:pos x="connsiteX34140" y="connsiteY34140"/>
              </a:cxn>
              <a:cxn ang="0">
                <a:pos x="connsiteX34141" y="connsiteY34141"/>
              </a:cxn>
              <a:cxn ang="0">
                <a:pos x="connsiteX34142" y="connsiteY34142"/>
              </a:cxn>
              <a:cxn ang="0">
                <a:pos x="connsiteX34143" y="connsiteY34143"/>
              </a:cxn>
              <a:cxn ang="0">
                <a:pos x="connsiteX34144" y="connsiteY34144"/>
              </a:cxn>
              <a:cxn ang="0">
                <a:pos x="connsiteX34145" y="connsiteY34145"/>
              </a:cxn>
              <a:cxn ang="0">
                <a:pos x="connsiteX34146" y="connsiteY34146"/>
              </a:cxn>
              <a:cxn ang="0">
                <a:pos x="connsiteX34147" y="connsiteY34147"/>
              </a:cxn>
              <a:cxn ang="0">
                <a:pos x="connsiteX34148" y="connsiteY34148"/>
              </a:cxn>
              <a:cxn ang="0">
                <a:pos x="connsiteX34149" y="connsiteY34149"/>
              </a:cxn>
              <a:cxn ang="0">
                <a:pos x="connsiteX34150" y="connsiteY34150"/>
              </a:cxn>
              <a:cxn ang="0">
                <a:pos x="connsiteX34151" y="connsiteY34151"/>
              </a:cxn>
              <a:cxn ang="0">
                <a:pos x="connsiteX34152" y="connsiteY34152"/>
              </a:cxn>
              <a:cxn ang="0">
                <a:pos x="connsiteX34153" y="connsiteY34153"/>
              </a:cxn>
              <a:cxn ang="0">
                <a:pos x="connsiteX34154" y="connsiteY34154"/>
              </a:cxn>
              <a:cxn ang="0">
                <a:pos x="connsiteX34155" y="connsiteY34155"/>
              </a:cxn>
              <a:cxn ang="0">
                <a:pos x="connsiteX34156" y="connsiteY34156"/>
              </a:cxn>
              <a:cxn ang="0">
                <a:pos x="connsiteX34157" y="connsiteY34157"/>
              </a:cxn>
              <a:cxn ang="0">
                <a:pos x="connsiteX34158" y="connsiteY34158"/>
              </a:cxn>
              <a:cxn ang="0">
                <a:pos x="connsiteX34159" y="connsiteY34159"/>
              </a:cxn>
              <a:cxn ang="0">
                <a:pos x="connsiteX34160" y="connsiteY34160"/>
              </a:cxn>
              <a:cxn ang="0">
                <a:pos x="connsiteX34161" y="connsiteY34161"/>
              </a:cxn>
              <a:cxn ang="0">
                <a:pos x="connsiteX34162" y="connsiteY34162"/>
              </a:cxn>
              <a:cxn ang="0">
                <a:pos x="connsiteX34163" y="connsiteY34163"/>
              </a:cxn>
              <a:cxn ang="0">
                <a:pos x="connsiteX34164" y="connsiteY34164"/>
              </a:cxn>
              <a:cxn ang="0">
                <a:pos x="connsiteX34165" y="connsiteY34165"/>
              </a:cxn>
              <a:cxn ang="0">
                <a:pos x="connsiteX34166" y="connsiteY34166"/>
              </a:cxn>
              <a:cxn ang="0">
                <a:pos x="connsiteX34167" y="connsiteY34167"/>
              </a:cxn>
              <a:cxn ang="0">
                <a:pos x="connsiteX34168" y="connsiteY34168"/>
              </a:cxn>
              <a:cxn ang="0">
                <a:pos x="connsiteX34169" y="connsiteY34169"/>
              </a:cxn>
              <a:cxn ang="0">
                <a:pos x="connsiteX34170" y="connsiteY34170"/>
              </a:cxn>
              <a:cxn ang="0">
                <a:pos x="connsiteX34171" y="connsiteY34171"/>
              </a:cxn>
              <a:cxn ang="0">
                <a:pos x="connsiteX34172" y="connsiteY34172"/>
              </a:cxn>
              <a:cxn ang="0">
                <a:pos x="connsiteX34173" y="connsiteY34173"/>
              </a:cxn>
              <a:cxn ang="0">
                <a:pos x="connsiteX34174" y="connsiteY34174"/>
              </a:cxn>
              <a:cxn ang="0">
                <a:pos x="connsiteX34175" y="connsiteY34175"/>
              </a:cxn>
              <a:cxn ang="0">
                <a:pos x="connsiteX34176" y="connsiteY34176"/>
              </a:cxn>
              <a:cxn ang="0">
                <a:pos x="connsiteX34177" y="connsiteY34177"/>
              </a:cxn>
              <a:cxn ang="0">
                <a:pos x="connsiteX34178" y="connsiteY34178"/>
              </a:cxn>
              <a:cxn ang="0">
                <a:pos x="connsiteX34179" y="connsiteY34179"/>
              </a:cxn>
              <a:cxn ang="0">
                <a:pos x="connsiteX34180" y="connsiteY34180"/>
              </a:cxn>
              <a:cxn ang="0">
                <a:pos x="connsiteX34181" y="connsiteY34181"/>
              </a:cxn>
              <a:cxn ang="0">
                <a:pos x="connsiteX34182" y="connsiteY34182"/>
              </a:cxn>
              <a:cxn ang="0">
                <a:pos x="connsiteX34183" y="connsiteY34183"/>
              </a:cxn>
              <a:cxn ang="0">
                <a:pos x="connsiteX34184" y="connsiteY34184"/>
              </a:cxn>
              <a:cxn ang="0">
                <a:pos x="connsiteX34185" y="connsiteY34185"/>
              </a:cxn>
              <a:cxn ang="0">
                <a:pos x="connsiteX34186" y="connsiteY34186"/>
              </a:cxn>
              <a:cxn ang="0">
                <a:pos x="connsiteX34187" y="connsiteY34187"/>
              </a:cxn>
              <a:cxn ang="0">
                <a:pos x="connsiteX34188" y="connsiteY34188"/>
              </a:cxn>
              <a:cxn ang="0">
                <a:pos x="connsiteX34189" y="connsiteY34189"/>
              </a:cxn>
              <a:cxn ang="0">
                <a:pos x="connsiteX34190" y="connsiteY34190"/>
              </a:cxn>
              <a:cxn ang="0">
                <a:pos x="connsiteX34191" y="connsiteY34191"/>
              </a:cxn>
              <a:cxn ang="0">
                <a:pos x="connsiteX34192" y="connsiteY34192"/>
              </a:cxn>
              <a:cxn ang="0">
                <a:pos x="connsiteX34193" y="connsiteY34193"/>
              </a:cxn>
              <a:cxn ang="0">
                <a:pos x="connsiteX34194" y="connsiteY34194"/>
              </a:cxn>
              <a:cxn ang="0">
                <a:pos x="connsiteX34195" y="connsiteY34195"/>
              </a:cxn>
              <a:cxn ang="0">
                <a:pos x="connsiteX34196" y="connsiteY34196"/>
              </a:cxn>
              <a:cxn ang="0">
                <a:pos x="connsiteX34197" y="connsiteY34197"/>
              </a:cxn>
              <a:cxn ang="0">
                <a:pos x="connsiteX34198" y="connsiteY34198"/>
              </a:cxn>
              <a:cxn ang="0">
                <a:pos x="connsiteX34199" y="connsiteY34199"/>
              </a:cxn>
              <a:cxn ang="0">
                <a:pos x="connsiteX34200" y="connsiteY34200"/>
              </a:cxn>
              <a:cxn ang="0">
                <a:pos x="connsiteX34201" y="connsiteY34201"/>
              </a:cxn>
              <a:cxn ang="0">
                <a:pos x="connsiteX34202" y="connsiteY34202"/>
              </a:cxn>
              <a:cxn ang="0">
                <a:pos x="connsiteX34203" y="connsiteY34203"/>
              </a:cxn>
              <a:cxn ang="0">
                <a:pos x="connsiteX34204" y="connsiteY34204"/>
              </a:cxn>
              <a:cxn ang="0">
                <a:pos x="connsiteX34205" y="connsiteY34205"/>
              </a:cxn>
              <a:cxn ang="0">
                <a:pos x="connsiteX34206" y="connsiteY34206"/>
              </a:cxn>
              <a:cxn ang="0">
                <a:pos x="connsiteX34207" y="connsiteY34207"/>
              </a:cxn>
              <a:cxn ang="0">
                <a:pos x="connsiteX34208" y="connsiteY34208"/>
              </a:cxn>
              <a:cxn ang="0">
                <a:pos x="connsiteX34209" y="connsiteY34209"/>
              </a:cxn>
              <a:cxn ang="0">
                <a:pos x="connsiteX34210" y="connsiteY34210"/>
              </a:cxn>
              <a:cxn ang="0">
                <a:pos x="connsiteX34211" y="connsiteY34211"/>
              </a:cxn>
              <a:cxn ang="0">
                <a:pos x="connsiteX34212" y="connsiteY34212"/>
              </a:cxn>
              <a:cxn ang="0">
                <a:pos x="connsiteX34213" y="connsiteY34213"/>
              </a:cxn>
              <a:cxn ang="0">
                <a:pos x="connsiteX34214" y="connsiteY34214"/>
              </a:cxn>
              <a:cxn ang="0">
                <a:pos x="connsiteX34215" y="connsiteY34215"/>
              </a:cxn>
              <a:cxn ang="0">
                <a:pos x="connsiteX34216" y="connsiteY34216"/>
              </a:cxn>
              <a:cxn ang="0">
                <a:pos x="connsiteX34217" y="connsiteY34217"/>
              </a:cxn>
              <a:cxn ang="0">
                <a:pos x="connsiteX34218" y="connsiteY34218"/>
              </a:cxn>
              <a:cxn ang="0">
                <a:pos x="connsiteX34219" y="connsiteY34219"/>
              </a:cxn>
              <a:cxn ang="0">
                <a:pos x="connsiteX34220" y="connsiteY34220"/>
              </a:cxn>
              <a:cxn ang="0">
                <a:pos x="connsiteX34221" y="connsiteY34221"/>
              </a:cxn>
              <a:cxn ang="0">
                <a:pos x="connsiteX34222" y="connsiteY34222"/>
              </a:cxn>
              <a:cxn ang="0">
                <a:pos x="connsiteX34223" y="connsiteY34223"/>
              </a:cxn>
              <a:cxn ang="0">
                <a:pos x="connsiteX34224" y="connsiteY34224"/>
              </a:cxn>
              <a:cxn ang="0">
                <a:pos x="connsiteX34225" y="connsiteY34225"/>
              </a:cxn>
              <a:cxn ang="0">
                <a:pos x="connsiteX34226" y="connsiteY34226"/>
              </a:cxn>
              <a:cxn ang="0">
                <a:pos x="connsiteX34227" y="connsiteY34227"/>
              </a:cxn>
              <a:cxn ang="0">
                <a:pos x="connsiteX34228" y="connsiteY34228"/>
              </a:cxn>
              <a:cxn ang="0">
                <a:pos x="connsiteX34229" y="connsiteY34229"/>
              </a:cxn>
              <a:cxn ang="0">
                <a:pos x="connsiteX34230" y="connsiteY34230"/>
              </a:cxn>
              <a:cxn ang="0">
                <a:pos x="connsiteX34231" y="connsiteY34231"/>
              </a:cxn>
              <a:cxn ang="0">
                <a:pos x="connsiteX34232" y="connsiteY34232"/>
              </a:cxn>
              <a:cxn ang="0">
                <a:pos x="connsiteX34233" y="connsiteY34233"/>
              </a:cxn>
              <a:cxn ang="0">
                <a:pos x="connsiteX34234" y="connsiteY34234"/>
              </a:cxn>
              <a:cxn ang="0">
                <a:pos x="connsiteX34235" y="connsiteY34235"/>
              </a:cxn>
              <a:cxn ang="0">
                <a:pos x="connsiteX34236" y="connsiteY34236"/>
              </a:cxn>
              <a:cxn ang="0">
                <a:pos x="connsiteX34237" y="connsiteY34237"/>
              </a:cxn>
              <a:cxn ang="0">
                <a:pos x="connsiteX34238" y="connsiteY34238"/>
              </a:cxn>
              <a:cxn ang="0">
                <a:pos x="connsiteX34239" y="connsiteY34239"/>
              </a:cxn>
              <a:cxn ang="0">
                <a:pos x="connsiteX34240" y="connsiteY34240"/>
              </a:cxn>
              <a:cxn ang="0">
                <a:pos x="connsiteX34241" y="connsiteY34241"/>
              </a:cxn>
              <a:cxn ang="0">
                <a:pos x="connsiteX34242" y="connsiteY34242"/>
              </a:cxn>
              <a:cxn ang="0">
                <a:pos x="connsiteX34243" y="connsiteY34243"/>
              </a:cxn>
              <a:cxn ang="0">
                <a:pos x="connsiteX34244" y="connsiteY34244"/>
              </a:cxn>
              <a:cxn ang="0">
                <a:pos x="connsiteX34245" y="connsiteY34245"/>
              </a:cxn>
              <a:cxn ang="0">
                <a:pos x="connsiteX34246" y="connsiteY34246"/>
              </a:cxn>
              <a:cxn ang="0">
                <a:pos x="connsiteX34247" y="connsiteY34247"/>
              </a:cxn>
              <a:cxn ang="0">
                <a:pos x="connsiteX34248" y="connsiteY34248"/>
              </a:cxn>
              <a:cxn ang="0">
                <a:pos x="connsiteX34249" y="connsiteY34249"/>
              </a:cxn>
              <a:cxn ang="0">
                <a:pos x="connsiteX34250" y="connsiteY34250"/>
              </a:cxn>
              <a:cxn ang="0">
                <a:pos x="connsiteX34251" y="connsiteY34251"/>
              </a:cxn>
              <a:cxn ang="0">
                <a:pos x="connsiteX34252" y="connsiteY34252"/>
              </a:cxn>
              <a:cxn ang="0">
                <a:pos x="connsiteX34253" y="connsiteY34253"/>
              </a:cxn>
              <a:cxn ang="0">
                <a:pos x="connsiteX34254" y="connsiteY34254"/>
              </a:cxn>
              <a:cxn ang="0">
                <a:pos x="connsiteX34255" y="connsiteY34255"/>
              </a:cxn>
              <a:cxn ang="0">
                <a:pos x="connsiteX34256" y="connsiteY34256"/>
              </a:cxn>
              <a:cxn ang="0">
                <a:pos x="connsiteX34257" y="connsiteY34257"/>
              </a:cxn>
              <a:cxn ang="0">
                <a:pos x="connsiteX34258" y="connsiteY34258"/>
              </a:cxn>
              <a:cxn ang="0">
                <a:pos x="connsiteX34259" y="connsiteY34259"/>
              </a:cxn>
              <a:cxn ang="0">
                <a:pos x="connsiteX34260" y="connsiteY34260"/>
              </a:cxn>
              <a:cxn ang="0">
                <a:pos x="connsiteX34261" y="connsiteY34261"/>
              </a:cxn>
              <a:cxn ang="0">
                <a:pos x="connsiteX34262" y="connsiteY34262"/>
              </a:cxn>
              <a:cxn ang="0">
                <a:pos x="connsiteX34263" y="connsiteY34263"/>
              </a:cxn>
              <a:cxn ang="0">
                <a:pos x="connsiteX34264" y="connsiteY34264"/>
              </a:cxn>
              <a:cxn ang="0">
                <a:pos x="connsiteX34265" y="connsiteY34265"/>
              </a:cxn>
              <a:cxn ang="0">
                <a:pos x="connsiteX34266" y="connsiteY34266"/>
              </a:cxn>
              <a:cxn ang="0">
                <a:pos x="connsiteX34267" y="connsiteY34267"/>
              </a:cxn>
              <a:cxn ang="0">
                <a:pos x="connsiteX34268" y="connsiteY34268"/>
              </a:cxn>
              <a:cxn ang="0">
                <a:pos x="connsiteX34269" y="connsiteY34269"/>
              </a:cxn>
              <a:cxn ang="0">
                <a:pos x="connsiteX34270" y="connsiteY34270"/>
              </a:cxn>
              <a:cxn ang="0">
                <a:pos x="connsiteX34271" y="connsiteY34271"/>
              </a:cxn>
              <a:cxn ang="0">
                <a:pos x="connsiteX34272" y="connsiteY34272"/>
              </a:cxn>
              <a:cxn ang="0">
                <a:pos x="connsiteX34273" y="connsiteY34273"/>
              </a:cxn>
              <a:cxn ang="0">
                <a:pos x="connsiteX34274" y="connsiteY34274"/>
              </a:cxn>
              <a:cxn ang="0">
                <a:pos x="connsiteX34275" y="connsiteY34275"/>
              </a:cxn>
              <a:cxn ang="0">
                <a:pos x="connsiteX34276" y="connsiteY34276"/>
              </a:cxn>
              <a:cxn ang="0">
                <a:pos x="connsiteX34277" y="connsiteY34277"/>
              </a:cxn>
              <a:cxn ang="0">
                <a:pos x="connsiteX34278" y="connsiteY34278"/>
              </a:cxn>
              <a:cxn ang="0">
                <a:pos x="connsiteX34279" y="connsiteY34279"/>
              </a:cxn>
              <a:cxn ang="0">
                <a:pos x="connsiteX34280" y="connsiteY34280"/>
              </a:cxn>
              <a:cxn ang="0">
                <a:pos x="connsiteX34281" y="connsiteY34281"/>
              </a:cxn>
              <a:cxn ang="0">
                <a:pos x="connsiteX34282" y="connsiteY34282"/>
              </a:cxn>
              <a:cxn ang="0">
                <a:pos x="connsiteX34283" y="connsiteY34283"/>
              </a:cxn>
              <a:cxn ang="0">
                <a:pos x="connsiteX34284" y="connsiteY34284"/>
              </a:cxn>
              <a:cxn ang="0">
                <a:pos x="connsiteX34285" y="connsiteY34285"/>
              </a:cxn>
              <a:cxn ang="0">
                <a:pos x="connsiteX34286" y="connsiteY34286"/>
              </a:cxn>
              <a:cxn ang="0">
                <a:pos x="connsiteX34287" y="connsiteY34287"/>
              </a:cxn>
              <a:cxn ang="0">
                <a:pos x="connsiteX34288" y="connsiteY34288"/>
              </a:cxn>
              <a:cxn ang="0">
                <a:pos x="connsiteX34289" y="connsiteY34289"/>
              </a:cxn>
              <a:cxn ang="0">
                <a:pos x="connsiteX34290" y="connsiteY34290"/>
              </a:cxn>
              <a:cxn ang="0">
                <a:pos x="connsiteX34291" y="connsiteY34291"/>
              </a:cxn>
              <a:cxn ang="0">
                <a:pos x="connsiteX34292" y="connsiteY34292"/>
              </a:cxn>
              <a:cxn ang="0">
                <a:pos x="connsiteX34293" y="connsiteY34293"/>
              </a:cxn>
              <a:cxn ang="0">
                <a:pos x="connsiteX34294" y="connsiteY34294"/>
              </a:cxn>
              <a:cxn ang="0">
                <a:pos x="connsiteX34295" y="connsiteY34295"/>
              </a:cxn>
              <a:cxn ang="0">
                <a:pos x="connsiteX34296" y="connsiteY34296"/>
              </a:cxn>
              <a:cxn ang="0">
                <a:pos x="connsiteX34297" y="connsiteY34297"/>
              </a:cxn>
              <a:cxn ang="0">
                <a:pos x="connsiteX34298" y="connsiteY34298"/>
              </a:cxn>
              <a:cxn ang="0">
                <a:pos x="connsiteX34299" y="connsiteY34299"/>
              </a:cxn>
              <a:cxn ang="0">
                <a:pos x="connsiteX34300" y="connsiteY34300"/>
              </a:cxn>
              <a:cxn ang="0">
                <a:pos x="connsiteX34301" y="connsiteY34301"/>
              </a:cxn>
              <a:cxn ang="0">
                <a:pos x="connsiteX34302" y="connsiteY34302"/>
              </a:cxn>
              <a:cxn ang="0">
                <a:pos x="connsiteX34303" y="connsiteY34303"/>
              </a:cxn>
              <a:cxn ang="0">
                <a:pos x="connsiteX34304" y="connsiteY34304"/>
              </a:cxn>
              <a:cxn ang="0">
                <a:pos x="connsiteX34305" y="connsiteY34305"/>
              </a:cxn>
              <a:cxn ang="0">
                <a:pos x="connsiteX34306" y="connsiteY34306"/>
              </a:cxn>
              <a:cxn ang="0">
                <a:pos x="connsiteX34307" y="connsiteY34307"/>
              </a:cxn>
              <a:cxn ang="0">
                <a:pos x="connsiteX34308" y="connsiteY34308"/>
              </a:cxn>
              <a:cxn ang="0">
                <a:pos x="connsiteX34309" y="connsiteY34309"/>
              </a:cxn>
              <a:cxn ang="0">
                <a:pos x="connsiteX34310" y="connsiteY34310"/>
              </a:cxn>
              <a:cxn ang="0">
                <a:pos x="connsiteX34311" y="connsiteY34311"/>
              </a:cxn>
              <a:cxn ang="0">
                <a:pos x="connsiteX34312" y="connsiteY34312"/>
              </a:cxn>
              <a:cxn ang="0">
                <a:pos x="connsiteX34313" y="connsiteY34313"/>
              </a:cxn>
              <a:cxn ang="0">
                <a:pos x="connsiteX34314" y="connsiteY34314"/>
              </a:cxn>
              <a:cxn ang="0">
                <a:pos x="connsiteX34315" y="connsiteY34315"/>
              </a:cxn>
              <a:cxn ang="0">
                <a:pos x="connsiteX34316" y="connsiteY34316"/>
              </a:cxn>
              <a:cxn ang="0">
                <a:pos x="connsiteX34317" y="connsiteY34317"/>
              </a:cxn>
              <a:cxn ang="0">
                <a:pos x="connsiteX34318" y="connsiteY34318"/>
              </a:cxn>
              <a:cxn ang="0">
                <a:pos x="connsiteX34319" y="connsiteY34319"/>
              </a:cxn>
              <a:cxn ang="0">
                <a:pos x="connsiteX34320" y="connsiteY34320"/>
              </a:cxn>
              <a:cxn ang="0">
                <a:pos x="connsiteX34321" y="connsiteY34321"/>
              </a:cxn>
              <a:cxn ang="0">
                <a:pos x="connsiteX34322" y="connsiteY34322"/>
              </a:cxn>
              <a:cxn ang="0">
                <a:pos x="connsiteX34323" y="connsiteY34323"/>
              </a:cxn>
              <a:cxn ang="0">
                <a:pos x="connsiteX34324" y="connsiteY34324"/>
              </a:cxn>
              <a:cxn ang="0">
                <a:pos x="connsiteX34325" y="connsiteY34325"/>
              </a:cxn>
              <a:cxn ang="0">
                <a:pos x="connsiteX34326" y="connsiteY34326"/>
              </a:cxn>
              <a:cxn ang="0">
                <a:pos x="connsiteX34327" y="connsiteY34327"/>
              </a:cxn>
              <a:cxn ang="0">
                <a:pos x="connsiteX34328" y="connsiteY34328"/>
              </a:cxn>
              <a:cxn ang="0">
                <a:pos x="connsiteX34329" y="connsiteY34329"/>
              </a:cxn>
              <a:cxn ang="0">
                <a:pos x="connsiteX34330" y="connsiteY34330"/>
              </a:cxn>
              <a:cxn ang="0">
                <a:pos x="connsiteX34331" y="connsiteY34331"/>
              </a:cxn>
              <a:cxn ang="0">
                <a:pos x="connsiteX34332" y="connsiteY34332"/>
              </a:cxn>
              <a:cxn ang="0">
                <a:pos x="connsiteX34333" y="connsiteY34333"/>
              </a:cxn>
              <a:cxn ang="0">
                <a:pos x="connsiteX34334" y="connsiteY34334"/>
              </a:cxn>
              <a:cxn ang="0">
                <a:pos x="connsiteX34335" y="connsiteY34335"/>
              </a:cxn>
              <a:cxn ang="0">
                <a:pos x="connsiteX34336" y="connsiteY34336"/>
              </a:cxn>
              <a:cxn ang="0">
                <a:pos x="connsiteX34337" y="connsiteY34337"/>
              </a:cxn>
              <a:cxn ang="0">
                <a:pos x="connsiteX34338" y="connsiteY34338"/>
              </a:cxn>
              <a:cxn ang="0">
                <a:pos x="connsiteX34339" y="connsiteY34339"/>
              </a:cxn>
              <a:cxn ang="0">
                <a:pos x="connsiteX34340" y="connsiteY34340"/>
              </a:cxn>
              <a:cxn ang="0">
                <a:pos x="connsiteX34341" y="connsiteY34341"/>
              </a:cxn>
              <a:cxn ang="0">
                <a:pos x="connsiteX34342" y="connsiteY34342"/>
              </a:cxn>
              <a:cxn ang="0">
                <a:pos x="connsiteX34343" y="connsiteY34343"/>
              </a:cxn>
              <a:cxn ang="0">
                <a:pos x="connsiteX34344" y="connsiteY34344"/>
              </a:cxn>
              <a:cxn ang="0">
                <a:pos x="connsiteX34345" y="connsiteY34345"/>
              </a:cxn>
              <a:cxn ang="0">
                <a:pos x="connsiteX34346" y="connsiteY34346"/>
              </a:cxn>
              <a:cxn ang="0">
                <a:pos x="connsiteX34347" y="connsiteY34347"/>
              </a:cxn>
              <a:cxn ang="0">
                <a:pos x="connsiteX34348" y="connsiteY34348"/>
              </a:cxn>
              <a:cxn ang="0">
                <a:pos x="connsiteX34349" y="connsiteY34349"/>
              </a:cxn>
              <a:cxn ang="0">
                <a:pos x="connsiteX34350" y="connsiteY34350"/>
              </a:cxn>
              <a:cxn ang="0">
                <a:pos x="connsiteX34351" y="connsiteY34351"/>
              </a:cxn>
              <a:cxn ang="0">
                <a:pos x="connsiteX34352" y="connsiteY34352"/>
              </a:cxn>
              <a:cxn ang="0">
                <a:pos x="connsiteX34353" y="connsiteY34353"/>
              </a:cxn>
              <a:cxn ang="0">
                <a:pos x="connsiteX34354" y="connsiteY34354"/>
              </a:cxn>
              <a:cxn ang="0">
                <a:pos x="connsiteX34355" y="connsiteY34355"/>
              </a:cxn>
              <a:cxn ang="0">
                <a:pos x="connsiteX34356" y="connsiteY34356"/>
              </a:cxn>
              <a:cxn ang="0">
                <a:pos x="connsiteX34357" y="connsiteY34357"/>
              </a:cxn>
              <a:cxn ang="0">
                <a:pos x="connsiteX34358" y="connsiteY34358"/>
              </a:cxn>
              <a:cxn ang="0">
                <a:pos x="connsiteX34359" y="connsiteY34359"/>
              </a:cxn>
              <a:cxn ang="0">
                <a:pos x="connsiteX34360" y="connsiteY34360"/>
              </a:cxn>
              <a:cxn ang="0">
                <a:pos x="connsiteX34361" y="connsiteY34361"/>
              </a:cxn>
              <a:cxn ang="0">
                <a:pos x="connsiteX34362" y="connsiteY34362"/>
              </a:cxn>
              <a:cxn ang="0">
                <a:pos x="connsiteX34363" y="connsiteY34363"/>
              </a:cxn>
              <a:cxn ang="0">
                <a:pos x="connsiteX34364" y="connsiteY34364"/>
              </a:cxn>
              <a:cxn ang="0">
                <a:pos x="connsiteX34365" y="connsiteY34365"/>
              </a:cxn>
              <a:cxn ang="0">
                <a:pos x="connsiteX34366" y="connsiteY34366"/>
              </a:cxn>
              <a:cxn ang="0">
                <a:pos x="connsiteX34367" y="connsiteY34367"/>
              </a:cxn>
              <a:cxn ang="0">
                <a:pos x="connsiteX34368" y="connsiteY34368"/>
              </a:cxn>
              <a:cxn ang="0">
                <a:pos x="connsiteX34369" y="connsiteY34369"/>
              </a:cxn>
              <a:cxn ang="0">
                <a:pos x="connsiteX34370" y="connsiteY34370"/>
              </a:cxn>
              <a:cxn ang="0">
                <a:pos x="connsiteX34371" y="connsiteY34371"/>
              </a:cxn>
              <a:cxn ang="0">
                <a:pos x="connsiteX34372" y="connsiteY34372"/>
              </a:cxn>
              <a:cxn ang="0">
                <a:pos x="connsiteX34373" y="connsiteY34373"/>
              </a:cxn>
              <a:cxn ang="0">
                <a:pos x="connsiteX34374" y="connsiteY34374"/>
              </a:cxn>
              <a:cxn ang="0">
                <a:pos x="connsiteX34375" y="connsiteY34375"/>
              </a:cxn>
              <a:cxn ang="0">
                <a:pos x="connsiteX34376" y="connsiteY34376"/>
              </a:cxn>
              <a:cxn ang="0">
                <a:pos x="connsiteX34377" y="connsiteY34377"/>
              </a:cxn>
              <a:cxn ang="0">
                <a:pos x="connsiteX34378" y="connsiteY34378"/>
              </a:cxn>
              <a:cxn ang="0">
                <a:pos x="connsiteX34379" y="connsiteY34379"/>
              </a:cxn>
              <a:cxn ang="0">
                <a:pos x="connsiteX34380" y="connsiteY34380"/>
              </a:cxn>
              <a:cxn ang="0">
                <a:pos x="connsiteX34381" y="connsiteY34381"/>
              </a:cxn>
              <a:cxn ang="0">
                <a:pos x="connsiteX34382" y="connsiteY34382"/>
              </a:cxn>
              <a:cxn ang="0">
                <a:pos x="connsiteX34383" y="connsiteY34383"/>
              </a:cxn>
              <a:cxn ang="0">
                <a:pos x="connsiteX34384" y="connsiteY34384"/>
              </a:cxn>
              <a:cxn ang="0">
                <a:pos x="connsiteX34385" y="connsiteY34385"/>
              </a:cxn>
              <a:cxn ang="0">
                <a:pos x="connsiteX34386" y="connsiteY34386"/>
              </a:cxn>
              <a:cxn ang="0">
                <a:pos x="connsiteX34387" y="connsiteY34387"/>
              </a:cxn>
              <a:cxn ang="0">
                <a:pos x="connsiteX34388" y="connsiteY34388"/>
              </a:cxn>
              <a:cxn ang="0">
                <a:pos x="connsiteX34389" y="connsiteY34389"/>
              </a:cxn>
              <a:cxn ang="0">
                <a:pos x="connsiteX34390" y="connsiteY34390"/>
              </a:cxn>
              <a:cxn ang="0">
                <a:pos x="connsiteX34391" y="connsiteY34391"/>
              </a:cxn>
              <a:cxn ang="0">
                <a:pos x="connsiteX34392" y="connsiteY34392"/>
              </a:cxn>
              <a:cxn ang="0">
                <a:pos x="connsiteX34393" y="connsiteY34393"/>
              </a:cxn>
              <a:cxn ang="0">
                <a:pos x="connsiteX34394" y="connsiteY34394"/>
              </a:cxn>
              <a:cxn ang="0">
                <a:pos x="connsiteX34395" y="connsiteY34395"/>
              </a:cxn>
              <a:cxn ang="0">
                <a:pos x="connsiteX34396" y="connsiteY34396"/>
              </a:cxn>
              <a:cxn ang="0">
                <a:pos x="connsiteX34397" y="connsiteY34397"/>
              </a:cxn>
              <a:cxn ang="0">
                <a:pos x="connsiteX34398" y="connsiteY34398"/>
              </a:cxn>
              <a:cxn ang="0">
                <a:pos x="connsiteX34399" y="connsiteY34399"/>
              </a:cxn>
              <a:cxn ang="0">
                <a:pos x="connsiteX34400" y="connsiteY34400"/>
              </a:cxn>
              <a:cxn ang="0">
                <a:pos x="connsiteX34401" y="connsiteY34401"/>
              </a:cxn>
              <a:cxn ang="0">
                <a:pos x="connsiteX34402" y="connsiteY34402"/>
              </a:cxn>
              <a:cxn ang="0">
                <a:pos x="connsiteX34403" y="connsiteY34403"/>
              </a:cxn>
              <a:cxn ang="0">
                <a:pos x="connsiteX34404" y="connsiteY34404"/>
              </a:cxn>
              <a:cxn ang="0">
                <a:pos x="connsiteX34405" y="connsiteY34405"/>
              </a:cxn>
              <a:cxn ang="0">
                <a:pos x="connsiteX34406" y="connsiteY34406"/>
              </a:cxn>
              <a:cxn ang="0">
                <a:pos x="connsiteX34407" y="connsiteY34407"/>
              </a:cxn>
              <a:cxn ang="0">
                <a:pos x="connsiteX34408" y="connsiteY34408"/>
              </a:cxn>
              <a:cxn ang="0">
                <a:pos x="connsiteX34409" y="connsiteY34409"/>
              </a:cxn>
              <a:cxn ang="0">
                <a:pos x="connsiteX34410" y="connsiteY34410"/>
              </a:cxn>
              <a:cxn ang="0">
                <a:pos x="connsiteX34411" y="connsiteY34411"/>
              </a:cxn>
              <a:cxn ang="0">
                <a:pos x="connsiteX34412" y="connsiteY34412"/>
              </a:cxn>
              <a:cxn ang="0">
                <a:pos x="connsiteX34413" y="connsiteY34413"/>
              </a:cxn>
              <a:cxn ang="0">
                <a:pos x="connsiteX34414" y="connsiteY34414"/>
              </a:cxn>
              <a:cxn ang="0">
                <a:pos x="connsiteX34415" y="connsiteY34415"/>
              </a:cxn>
              <a:cxn ang="0">
                <a:pos x="connsiteX34416" y="connsiteY34416"/>
              </a:cxn>
              <a:cxn ang="0">
                <a:pos x="connsiteX34417" y="connsiteY34417"/>
              </a:cxn>
              <a:cxn ang="0">
                <a:pos x="connsiteX34418" y="connsiteY34418"/>
              </a:cxn>
              <a:cxn ang="0">
                <a:pos x="connsiteX34419" y="connsiteY34419"/>
              </a:cxn>
              <a:cxn ang="0">
                <a:pos x="connsiteX34420" y="connsiteY34420"/>
              </a:cxn>
              <a:cxn ang="0">
                <a:pos x="connsiteX34421" y="connsiteY34421"/>
              </a:cxn>
              <a:cxn ang="0">
                <a:pos x="connsiteX34422" y="connsiteY34422"/>
              </a:cxn>
              <a:cxn ang="0">
                <a:pos x="connsiteX34423" y="connsiteY34423"/>
              </a:cxn>
              <a:cxn ang="0">
                <a:pos x="connsiteX34424" y="connsiteY34424"/>
              </a:cxn>
              <a:cxn ang="0">
                <a:pos x="connsiteX34425" y="connsiteY34425"/>
              </a:cxn>
              <a:cxn ang="0">
                <a:pos x="connsiteX34426" y="connsiteY34426"/>
              </a:cxn>
              <a:cxn ang="0">
                <a:pos x="connsiteX34427" y="connsiteY34427"/>
              </a:cxn>
              <a:cxn ang="0">
                <a:pos x="connsiteX34428" y="connsiteY34428"/>
              </a:cxn>
              <a:cxn ang="0">
                <a:pos x="connsiteX34429" y="connsiteY34429"/>
              </a:cxn>
              <a:cxn ang="0">
                <a:pos x="connsiteX34430" y="connsiteY34430"/>
              </a:cxn>
              <a:cxn ang="0">
                <a:pos x="connsiteX34431" y="connsiteY34431"/>
              </a:cxn>
              <a:cxn ang="0">
                <a:pos x="connsiteX34432" y="connsiteY34432"/>
              </a:cxn>
              <a:cxn ang="0">
                <a:pos x="connsiteX34433" y="connsiteY34433"/>
              </a:cxn>
              <a:cxn ang="0">
                <a:pos x="connsiteX34434" y="connsiteY34434"/>
              </a:cxn>
              <a:cxn ang="0">
                <a:pos x="connsiteX34435" y="connsiteY34435"/>
              </a:cxn>
              <a:cxn ang="0">
                <a:pos x="connsiteX34436" y="connsiteY34436"/>
              </a:cxn>
              <a:cxn ang="0">
                <a:pos x="connsiteX34437" y="connsiteY34437"/>
              </a:cxn>
              <a:cxn ang="0">
                <a:pos x="connsiteX34438" y="connsiteY34438"/>
              </a:cxn>
              <a:cxn ang="0">
                <a:pos x="connsiteX34439" y="connsiteY34439"/>
              </a:cxn>
              <a:cxn ang="0">
                <a:pos x="connsiteX34440" y="connsiteY34440"/>
              </a:cxn>
              <a:cxn ang="0">
                <a:pos x="connsiteX34441" y="connsiteY34441"/>
              </a:cxn>
              <a:cxn ang="0">
                <a:pos x="connsiteX34442" y="connsiteY34442"/>
              </a:cxn>
              <a:cxn ang="0">
                <a:pos x="connsiteX34443" y="connsiteY34443"/>
              </a:cxn>
              <a:cxn ang="0">
                <a:pos x="connsiteX34444" y="connsiteY34444"/>
              </a:cxn>
              <a:cxn ang="0">
                <a:pos x="connsiteX34445" y="connsiteY34445"/>
              </a:cxn>
              <a:cxn ang="0">
                <a:pos x="connsiteX34446" y="connsiteY34446"/>
              </a:cxn>
              <a:cxn ang="0">
                <a:pos x="connsiteX34447" y="connsiteY34447"/>
              </a:cxn>
              <a:cxn ang="0">
                <a:pos x="connsiteX34448" y="connsiteY34448"/>
              </a:cxn>
              <a:cxn ang="0">
                <a:pos x="connsiteX34449" y="connsiteY34449"/>
              </a:cxn>
              <a:cxn ang="0">
                <a:pos x="connsiteX34450" y="connsiteY34450"/>
              </a:cxn>
              <a:cxn ang="0">
                <a:pos x="connsiteX34451" y="connsiteY34451"/>
              </a:cxn>
              <a:cxn ang="0">
                <a:pos x="connsiteX34452" y="connsiteY34452"/>
              </a:cxn>
              <a:cxn ang="0">
                <a:pos x="connsiteX34453" y="connsiteY34453"/>
              </a:cxn>
              <a:cxn ang="0">
                <a:pos x="connsiteX34454" y="connsiteY34454"/>
              </a:cxn>
              <a:cxn ang="0">
                <a:pos x="connsiteX34455" y="connsiteY34455"/>
              </a:cxn>
              <a:cxn ang="0">
                <a:pos x="connsiteX34456" y="connsiteY34456"/>
              </a:cxn>
              <a:cxn ang="0">
                <a:pos x="connsiteX34457" y="connsiteY34457"/>
              </a:cxn>
              <a:cxn ang="0">
                <a:pos x="connsiteX34458" y="connsiteY34458"/>
              </a:cxn>
              <a:cxn ang="0">
                <a:pos x="connsiteX34459" y="connsiteY34459"/>
              </a:cxn>
              <a:cxn ang="0">
                <a:pos x="connsiteX34460" y="connsiteY34460"/>
              </a:cxn>
              <a:cxn ang="0">
                <a:pos x="connsiteX34461" y="connsiteY34461"/>
              </a:cxn>
              <a:cxn ang="0">
                <a:pos x="connsiteX34462" y="connsiteY34462"/>
              </a:cxn>
              <a:cxn ang="0">
                <a:pos x="connsiteX34463" y="connsiteY34463"/>
              </a:cxn>
              <a:cxn ang="0">
                <a:pos x="connsiteX34464" y="connsiteY34464"/>
              </a:cxn>
              <a:cxn ang="0">
                <a:pos x="connsiteX34465" y="connsiteY34465"/>
              </a:cxn>
              <a:cxn ang="0">
                <a:pos x="connsiteX34466" y="connsiteY34466"/>
              </a:cxn>
              <a:cxn ang="0">
                <a:pos x="connsiteX34467" y="connsiteY34467"/>
              </a:cxn>
              <a:cxn ang="0">
                <a:pos x="connsiteX34468" y="connsiteY34468"/>
              </a:cxn>
              <a:cxn ang="0">
                <a:pos x="connsiteX34469" y="connsiteY34469"/>
              </a:cxn>
              <a:cxn ang="0">
                <a:pos x="connsiteX34470" y="connsiteY34470"/>
              </a:cxn>
              <a:cxn ang="0">
                <a:pos x="connsiteX34471" y="connsiteY34471"/>
              </a:cxn>
              <a:cxn ang="0">
                <a:pos x="connsiteX34472" y="connsiteY34472"/>
              </a:cxn>
              <a:cxn ang="0">
                <a:pos x="connsiteX34473" y="connsiteY34473"/>
              </a:cxn>
              <a:cxn ang="0">
                <a:pos x="connsiteX34474" y="connsiteY34474"/>
              </a:cxn>
              <a:cxn ang="0">
                <a:pos x="connsiteX34475" y="connsiteY34475"/>
              </a:cxn>
              <a:cxn ang="0">
                <a:pos x="connsiteX34476" y="connsiteY34476"/>
              </a:cxn>
              <a:cxn ang="0">
                <a:pos x="connsiteX34477" y="connsiteY34477"/>
              </a:cxn>
              <a:cxn ang="0">
                <a:pos x="connsiteX34478" y="connsiteY34478"/>
              </a:cxn>
              <a:cxn ang="0">
                <a:pos x="connsiteX34479" y="connsiteY34479"/>
              </a:cxn>
              <a:cxn ang="0">
                <a:pos x="connsiteX34480" y="connsiteY34480"/>
              </a:cxn>
              <a:cxn ang="0">
                <a:pos x="connsiteX34481" y="connsiteY34481"/>
              </a:cxn>
              <a:cxn ang="0">
                <a:pos x="connsiteX34482" y="connsiteY34482"/>
              </a:cxn>
              <a:cxn ang="0">
                <a:pos x="connsiteX34483" y="connsiteY34483"/>
              </a:cxn>
              <a:cxn ang="0">
                <a:pos x="connsiteX34484" y="connsiteY34484"/>
              </a:cxn>
              <a:cxn ang="0">
                <a:pos x="connsiteX34485" y="connsiteY34485"/>
              </a:cxn>
              <a:cxn ang="0">
                <a:pos x="connsiteX34486" y="connsiteY34486"/>
              </a:cxn>
              <a:cxn ang="0">
                <a:pos x="connsiteX34487" y="connsiteY34487"/>
              </a:cxn>
              <a:cxn ang="0">
                <a:pos x="connsiteX34488" y="connsiteY34488"/>
              </a:cxn>
              <a:cxn ang="0">
                <a:pos x="connsiteX34489" y="connsiteY34489"/>
              </a:cxn>
              <a:cxn ang="0">
                <a:pos x="connsiteX34490" y="connsiteY34490"/>
              </a:cxn>
              <a:cxn ang="0">
                <a:pos x="connsiteX34491" y="connsiteY34491"/>
              </a:cxn>
              <a:cxn ang="0">
                <a:pos x="connsiteX34492" y="connsiteY34492"/>
              </a:cxn>
              <a:cxn ang="0">
                <a:pos x="connsiteX34493" y="connsiteY34493"/>
              </a:cxn>
              <a:cxn ang="0">
                <a:pos x="connsiteX34494" y="connsiteY34494"/>
              </a:cxn>
              <a:cxn ang="0">
                <a:pos x="connsiteX34495" y="connsiteY34495"/>
              </a:cxn>
              <a:cxn ang="0">
                <a:pos x="connsiteX34496" y="connsiteY34496"/>
              </a:cxn>
              <a:cxn ang="0">
                <a:pos x="connsiteX34497" y="connsiteY34497"/>
              </a:cxn>
              <a:cxn ang="0">
                <a:pos x="connsiteX34498" y="connsiteY34498"/>
              </a:cxn>
              <a:cxn ang="0">
                <a:pos x="connsiteX34499" y="connsiteY34499"/>
              </a:cxn>
              <a:cxn ang="0">
                <a:pos x="connsiteX34500" y="connsiteY34500"/>
              </a:cxn>
              <a:cxn ang="0">
                <a:pos x="connsiteX34501" y="connsiteY34501"/>
              </a:cxn>
              <a:cxn ang="0">
                <a:pos x="connsiteX34502" y="connsiteY34502"/>
              </a:cxn>
              <a:cxn ang="0">
                <a:pos x="connsiteX34503" y="connsiteY34503"/>
              </a:cxn>
              <a:cxn ang="0">
                <a:pos x="connsiteX34504" y="connsiteY34504"/>
              </a:cxn>
              <a:cxn ang="0">
                <a:pos x="connsiteX34505" y="connsiteY34505"/>
              </a:cxn>
              <a:cxn ang="0">
                <a:pos x="connsiteX34506" y="connsiteY34506"/>
              </a:cxn>
              <a:cxn ang="0">
                <a:pos x="connsiteX34507" y="connsiteY34507"/>
              </a:cxn>
              <a:cxn ang="0">
                <a:pos x="connsiteX34508" y="connsiteY34508"/>
              </a:cxn>
              <a:cxn ang="0">
                <a:pos x="connsiteX34509" y="connsiteY34509"/>
              </a:cxn>
              <a:cxn ang="0">
                <a:pos x="connsiteX34510" y="connsiteY34510"/>
              </a:cxn>
              <a:cxn ang="0">
                <a:pos x="connsiteX34511" y="connsiteY34511"/>
              </a:cxn>
              <a:cxn ang="0">
                <a:pos x="connsiteX34512" y="connsiteY34512"/>
              </a:cxn>
              <a:cxn ang="0">
                <a:pos x="connsiteX34513" y="connsiteY34513"/>
              </a:cxn>
              <a:cxn ang="0">
                <a:pos x="connsiteX34514" y="connsiteY34514"/>
              </a:cxn>
              <a:cxn ang="0">
                <a:pos x="connsiteX34515" y="connsiteY34515"/>
              </a:cxn>
              <a:cxn ang="0">
                <a:pos x="connsiteX34516" y="connsiteY34516"/>
              </a:cxn>
              <a:cxn ang="0">
                <a:pos x="connsiteX34517" y="connsiteY34517"/>
              </a:cxn>
              <a:cxn ang="0">
                <a:pos x="connsiteX34518" y="connsiteY34518"/>
              </a:cxn>
              <a:cxn ang="0">
                <a:pos x="connsiteX34519" y="connsiteY34519"/>
              </a:cxn>
              <a:cxn ang="0">
                <a:pos x="connsiteX34520" y="connsiteY34520"/>
              </a:cxn>
              <a:cxn ang="0">
                <a:pos x="connsiteX34521" y="connsiteY34521"/>
              </a:cxn>
              <a:cxn ang="0">
                <a:pos x="connsiteX34522" y="connsiteY34522"/>
              </a:cxn>
              <a:cxn ang="0">
                <a:pos x="connsiteX34523" y="connsiteY34523"/>
              </a:cxn>
              <a:cxn ang="0">
                <a:pos x="connsiteX34524" y="connsiteY34524"/>
              </a:cxn>
              <a:cxn ang="0">
                <a:pos x="connsiteX34525" y="connsiteY34525"/>
              </a:cxn>
              <a:cxn ang="0">
                <a:pos x="connsiteX34526" y="connsiteY34526"/>
              </a:cxn>
              <a:cxn ang="0">
                <a:pos x="connsiteX34527" y="connsiteY34527"/>
              </a:cxn>
              <a:cxn ang="0">
                <a:pos x="connsiteX34528" y="connsiteY34528"/>
              </a:cxn>
              <a:cxn ang="0">
                <a:pos x="connsiteX34529" y="connsiteY34529"/>
              </a:cxn>
              <a:cxn ang="0">
                <a:pos x="connsiteX34530" y="connsiteY34530"/>
              </a:cxn>
              <a:cxn ang="0">
                <a:pos x="connsiteX34531" y="connsiteY34531"/>
              </a:cxn>
              <a:cxn ang="0">
                <a:pos x="connsiteX34532" y="connsiteY34532"/>
              </a:cxn>
              <a:cxn ang="0">
                <a:pos x="connsiteX34533" y="connsiteY34533"/>
              </a:cxn>
              <a:cxn ang="0">
                <a:pos x="connsiteX34534" y="connsiteY34534"/>
              </a:cxn>
              <a:cxn ang="0">
                <a:pos x="connsiteX34535" y="connsiteY34535"/>
              </a:cxn>
              <a:cxn ang="0">
                <a:pos x="connsiteX34536" y="connsiteY34536"/>
              </a:cxn>
              <a:cxn ang="0">
                <a:pos x="connsiteX34537" y="connsiteY34537"/>
              </a:cxn>
              <a:cxn ang="0">
                <a:pos x="connsiteX34538" y="connsiteY34538"/>
              </a:cxn>
              <a:cxn ang="0">
                <a:pos x="connsiteX34539" y="connsiteY34539"/>
              </a:cxn>
              <a:cxn ang="0">
                <a:pos x="connsiteX34540" y="connsiteY34540"/>
              </a:cxn>
              <a:cxn ang="0">
                <a:pos x="connsiteX34541" y="connsiteY34541"/>
              </a:cxn>
              <a:cxn ang="0">
                <a:pos x="connsiteX34542" y="connsiteY34542"/>
              </a:cxn>
              <a:cxn ang="0">
                <a:pos x="connsiteX34543" y="connsiteY34543"/>
              </a:cxn>
              <a:cxn ang="0">
                <a:pos x="connsiteX34544" y="connsiteY34544"/>
              </a:cxn>
              <a:cxn ang="0">
                <a:pos x="connsiteX34545" y="connsiteY34545"/>
              </a:cxn>
              <a:cxn ang="0">
                <a:pos x="connsiteX34546" y="connsiteY34546"/>
              </a:cxn>
              <a:cxn ang="0">
                <a:pos x="connsiteX34547" y="connsiteY34547"/>
              </a:cxn>
              <a:cxn ang="0">
                <a:pos x="connsiteX34548" y="connsiteY34548"/>
              </a:cxn>
              <a:cxn ang="0">
                <a:pos x="connsiteX34549" y="connsiteY34549"/>
              </a:cxn>
              <a:cxn ang="0">
                <a:pos x="connsiteX34550" y="connsiteY34550"/>
              </a:cxn>
              <a:cxn ang="0">
                <a:pos x="connsiteX34551" y="connsiteY34551"/>
              </a:cxn>
              <a:cxn ang="0">
                <a:pos x="connsiteX34552" y="connsiteY34552"/>
              </a:cxn>
              <a:cxn ang="0">
                <a:pos x="connsiteX34553" y="connsiteY34553"/>
              </a:cxn>
              <a:cxn ang="0">
                <a:pos x="connsiteX34554" y="connsiteY34554"/>
              </a:cxn>
              <a:cxn ang="0">
                <a:pos x="connsiteX34555" y="connsiteY34555"/>
              </a:cxn>
              <a:cxn ang="0">
                <a:pos x="connsiteX34556" y="connsiteY34556"/>
              </a:cxn>
              <a:cxn ang="0">
                <a:pos x="connsiteX34557" y="connsiteY34557"/>
              </a:cxn>
              <a:cxn ang="0">
                <a:pos x="connsiteX34558" y="connsiteY34558"/>
              </a:cxn>
              <a:cxn ang="0">
                <a:pos x="connsiteX34559" y="connsiteY34559"/>
              </a:cxn>
              <a:cxn ang="0">
                <a:pos x="connsiteX34560" y="connsiteY34560"/>
              </a:cxn>
              <a:cxn ang="0">
                <a:pos x="connsiteX34561" y="connsiteY34561"/>
              </a:cxn>
              <a:cxn ang="0">
                <a:pos x="connsiteX34562" y="connsiteY34562"/>
              </a:cxn>
              <a:cxn ang="0">
                <a:pos x="connsiteX34563" y="connsiteY34563"/>
              </a:cxn>
              <a:cxn ang="0">
                <a:pos x="connsiteX34564" y="connsiteY34564"/>
              </a:cxn>
              <a:cxn ang="0">
                <a:pos x="connsiteX34565" y="connsiteY34565"/>
              </a:cxn>
              <a:cxn ang="0">
                <a:pos x="connsiteX34566" y="connsiteY34566"/>
              </a:cxn>
              <a:cxn ang="0">
                <a:pos x="connsiteX34567" y="connsiteY34567"/>
              </a:cxn>
              <a:cxn ang="0">
                <a:pos x="connsiteX34568" y="connsiteY34568"/>
              </a:cxn>
              <a:cxn ang="0">
                <a:pos x="connsiteX34569" y="connsiteY34569"/>
              </a:cxn>
              <a:cxn ang="0">
                <a:pos x="connsiteX34570" y="connsiteY34570"/>
              </a:cxn>
              <a:cxn ang="0">
                <a:pos x="connsiteX34571" y="connsiteY34571"/>
              </a:cxn>
              <a:cxn ang="0">
                <a:pos x="connsiteX34572" y="connsiteY34572"/>
              </a:cxn>
              <a:cxn ang="0">
                <a:pos x="connsiteX34573" y="connsiteY34573"/>
              </a:cxn>
              <a:cxn ang="0">
                <a:pos x="connsiteX34574" y="connsiteY34574"/>
              </a:cxn>
              <a:cxn ang="0">
                <a:pos x="connsiteX34575" y="connsiteY34575"/>
              </a:cxn>
              <a:cxn ang="0">
                <a:pos x="connsiteX34576" y="connsiteY34576"/>
              </a:cxn>
              <a:cxn ang="0">
                <a:pos x="connsiteX34577" y="connsiteY34577"/>
              </a:cxn>
              <a:cxn ang="0">
                <a:pos x="connsiteX34578" y="connsiteY34578"/>
              </a:cxn>
              <a:cxn ang="0">
                <a:pos x="connsiteX34579" y="connsiteY34579"/>
              </a:cxn>
              <a:cxn ang="0">
                <a:pos x="connsiteX34580" y="connsiteY34580"/>
              </a:cxn>
              <a:cxn ang="0">
                <a:pos x="connsiteX34581" y="connsiteY34581"/>
              </a:cxn>
              <a:cxn ang="0">
                <a:pos x="connsiteX34582" y="connsiteY34582"/>
              </a:cxn>
              <a:cxn ang="0">
                <a:pos x="connsiteX34583" y="connsiteY34583"/>
              </a:cxn>
              <a:cxn ang="0">
                <a:pos x="connsiteX34584" y="connsiteY34584"/>
              </a:cxn>
              <a:cxn ang="0">
                <a:pos x="connsiteX34585" y="connsiteY34585"/>
              </a:cxn>
              <a:cxn ang="0">
                <a:pos x="connsiteX34586" y="connsiteY34586"/>
              </a:cxn>
              <a:cxn ang="0">
                <a:pos x="connsiteX34587" y="connsiteY34587"/>
              </a:cxn>
              <a:cxn ang="0">
                <a:pos x="connsiteX34588" y="connsiteY34588"/>
              </a:cxn>
              <a:cxn ang="0">
                <a:pos x="connsiteX34589" y="connsiteY34589"/>
              </a:cxn>
              <a:cxn ang="0">
                <a:pos x="connsiteX34590" y="connsiteY34590"/>
              </a:cxn>
              <a:cxn ang="0">
                <a:pos x="connsiteX34591" y="connsiteY34591"/>
              </a:cxn>
              <a:cxn ang="0">
                <a:pos x="connsiteX34592" y="connsiteY34592"/>
              </a:cxn>
              <a:cxn ang="0">
                <a:pos x="connsiteX34593" y="connsiteY34593"/>
              </a:cxn>
              <a:cxn ang="0">
                <a:pos x="connsiteX34594" y="connsiteY34594"/>
              </a:cxn>
              <a:cxn ang="0">
                <a:pos x="connsiteX34595" y="connsiteY34595"/>
              </a:cxn>
              <a:cxn ang="0">
                <a:pos x="connsiteX34596" y="connsiteY34596"/>
              </a:cxn>
              <a:cxn ang="0">
                <a:pos x="connsiteX34597" y="connsiteY34597"/>
              </a:cxn>
              <a:cxn ang="0">
                <a:pos x="connsiteX34598" y="connsiteY34598"/>
              </a:cxn>
              <a:cxn ang="0">
                <a:pos x="connsiteX34599" y="connsiteY34599"/>
              </a:cxn>
              <a:cxn ang="0">
                <a:pos x="connsiteX34600" y="connsiteY34600"/>
              </a:cxn>
              <a:cxn ang="0">
                <a:pos x="connsiteX34601" y="connsiteY34601"/>
              </a:cxn>
              <a:cxn ang="0">
                <a:pos x="connsiteX34602" y="connsiteY34602"/>
              </a:cxn>
              <a:cxn ang="0">
                <a:pos x="connsiteX34603" y="connsiteY34603"/>
              </a:cxn>
              <a:cxn ang="0">
                <a:pos x="connsiteX34604" y="connsiteY34604"/>
              </a:cxn>
              <a:cxn ang="0">
                <a:pos x="connsiteX34605" y="connsiteY34605"/>
              </a:cxn>
              <a:cxn ang="0">
                <a:pos x="connsiteX34606" y="connsiteY34606"/>
              </a:cxn>
              <a:cxn ang="0">
                <a:pos x="connsiteX34607" y="connsiteY34607"/>
              </a:cxn>
              <a:cxn ang="0">
                <a:pos x="connsiteX34608" y="connsiteY34608"/>
              </a:cxn>
              <a:cxn ang="0">
                <a:pos x="connsiteX34609" y="connsiteY34609"/>
              </a:cxn>
              <a:cxn ang="0">
                <a:pos x="connsiteX34610" y="connsiteY34610"/>
              </a:cxn>
              <a:cxn ang="0">
                <a:pos x="connsiteX34611" y="connsiteY34611"/>
              </a:cxn>
              <a:cxn ang="0">
                <a:pos x="connsiteX34612" y="connsiteY34612"/>
              </a:cxn>
              <a:cxn ang="0">
                <a:pos x="connsiteX34613" y="connsiteY34613"/>
              </a:cxn>
              <a:cxn ang="0">
                <a:pos x="connsiteX34614" y="connsiteY34614"/>
              </a:cxn>
              <a:cxn ang="0">
                <a:pos x="connsiteX34615" y="connsiteY34615"/>
              </a:cxn>
              <a:cxn ang="0">
                <a:pos x="connsiteX34616" y="connsiteY34616"/>
              </a:cxn>
              <a:cxn ang="0">
                <a:pos x="connsiteX34617" y="connsiteY34617"/>
              </a:cxn>
              <a:cxn ang="0">
                <a:pos x="connsiteX34618" y="connsiteY34618"/>
              </a:cxn>
              <a:cxn ang="0">
                <a:pos x="connsiteX34619" y="connsiteY34619"/>
              </a:cxn>
              <a:cxn ang="0">
                <a:pos x="connsiteX34620" y="connsiteY34620"/>
              </a:cxn>
              <a:cxn ang="0">
                <a:pos x="connsiteX34621" y="connsiteY34621"/>
              </a:cxn>
              <a:cxn ang="0">
                <a:pos x="connsiteX34622" y="connsiteY34622"/>
              </a:cxn>
              <a:cxn ang="0">
                <a:pos x="connsiteX34623" y="connsiteY34623"/>
              </a:cxn>
              <a:cxn ang="0">
                <a:pos x="connsiteX34624" y="connsiteY34624"/>
              </a:cxn>
              <a:cxn ang="0">
                <a:pos x="connsiteX34625" y="connsiteY34625"/>
              </a:cxn>
              <a:cxn ang="0">
                <a:pos x="connsiteX34626" y="connsiteY34626"/>
              </a:cxn>
              <a:cxn ang="0">
                <a:pos x="connsiteX34627" y="connsiteY34627"/>
              </a:cxn>
              <a:cxn ang="0">
                <a:pos x="connsiteX34628" y="connsiteY34628"/>
              </a:cxn>
              <a:cxn ang="0">
                <a:pos x="connsiteX34629" y="connsiteY34629"/>
              </a:cxn>
              <a:cxn ang="0">
                <a:pos x="connsiteX34630" y="connsiteY34630"/>
              </a:cxn>
              <a:cxn ang="0">
                <a:pos x="connsiteX34631" y="connsiteY34631"/>
              </a:cxn>
              <a:cxn ang="0">
                <a:pos x="connsiteX34632" y="connsiteY34632"/>
              </a:cxn>
              <a:cxn ang="0">
                <a:pos x="connsiteX34633" y="connsiteY34633"/>
              </a:cxn>
              <a:cxn ang="0">
                <a:pos x="connsiteX34634" y="connsiteY34634"/>
              </a:cxn>
              <a:cxn ang="0">
                <a:pos x="connsiteX34635" y="connsiteY34635"/>
              </a:cxn>
              <a:cxn ang="0">
                <a:pos x="connsiteX34636" y="connsiteY34636"/>
              </a:cxn>
              <a:cxn ang="0">
                <a:pos x="connsiteX34637" y="connsiteY34637"/>
              </a:cxn>
              <a:cxn ang="0">
                <a:pos x="connsiteX34638" y="connsiteY34638"/>
              </a:cxn>
              <a:cxn ang="0">
                <a:pos x="connsiteX34639" y="connsiteY34639"/>
              </a:cxn>
              <a:cxn ang="0">
                <a:pos x="connsiteX34640" y="connsiteY34640"/>
              </a:cxn>
              <a:cxn ang="0">
                <a:pos x="connsiteX34641" y="connsiteY34641"/>
              </a:cxn>
              <a:cxn ang="0">
                <a:pos x="connsiteX34642" y="connsiteY34642"/>
              </a:cxn>
              <a:cxn ang="0">
                <a:pos x="connsiteX34643" y="connsiteY34643"/>
              </a:cxn>
              <a:cxn ang="0">
                <a:pos x="connsiteX34644" y="connsiteY34644"/>
              </a:cxn>
              <a:cxn ang="0">
                <a:pos x="connsiteX34645" y="connsiteY34645"/>
              </a:cxn>
              <a:cxn ang="0">
                <a:pos x="connsiteX34646" y="connsiteY34646"/>
              </a:cxn>
              <a:cxn ang="0">
                <a:pos x="connsiteX34647" y="connsiteY34647"/>
              </a:cxn>
              <a:cxn ang="0">
                <a:pos x="connsiteX34648" y="connsiteY34648"/>
              </a:cxn>
              <a:cxn ang="0">
                <a:pos x="connsiteX34649" y="connsiteY34649"/>
              </a:cxn>
              <a:cxn ang="0">
                <a:pos x="connsiteX34650" y="connsiteY34650"/>
              </a:cxn>
              <a:cxn ang="0">
                <a:pos x="connsiteX34651" y="connsiteY34651"/>
              </a:cxn>
              <a:cxn ang="0">
                <a:pos x="connsiteX34652" y="connsiteY34652"/>
              </a:cxn>
              <a:cxn ang="0">
                <a:pos x="connsiteX34653" y="connsiteY34653"/>
              </a:cxn>
              <a:cxn ang="0">
                <a:pos x="connsiteX34654" y="connsiteY34654"/>
              </a:cxn>
              <a:cxn ang="0">
                <a:pos x="connsiteX34655" y="connsiteY34655"/>
              </a:cxn>
              <a:cxn ang="0">
                <a:pos x="connsiteX34656" y="connsiteY34656"/>
              </a:cxn>
              <a:cxn ang="0">
                <a:pos x="connsiteX34657" y="connsiteY34657"/>
              </a:cxn>
              <a:cxn ang="0">
                <a:pos x="connsiteX34658" y="connsiteY34658"/>
              </a:cxn>
              <a:cxn ang="0">
                <a:pos x="connsiteX34659" y="connsiteY34659"/>
              </a:cxn>
              <a:cxn ang="0">
                <a:pos x="connsiteX34660" y="connsiteY34660"/>
              </a:cxn>
              <a:cxn ang="0">
                <a:pos x="connsiteX34661" y="connsiteY34661"/>
              </a:cxn>
              <a:cxn ang="0">
                <a:pos x="connsiteX34662" y="connsiteY34662"/>
              </a:cxn>
              <a:cxn ang="0">
                <a:pos x="connsiteX34663" y="connsiteY34663"/>
              </a:cxn>
              <a:cxn ang="0">
                <a:pos x="connsiteX34664" y="connsiteY34664"/>
              </a:cxn>
              <a:cxn ang="0">
                <a:pos x="connsiteX34665" y="connsiteY34665"/>
              </a:cxn>
              <a:cxn ang="0">
                <a:pos x="connsiteX34666" y="connsiteY34666"/>
              </a:cxn>
              <a:cxn ang="0">
                <a:pos x="connsiteX34667" y="connsiteY34667"/>
              </a:cxn>
              <a:cxn ang="0">
                <a:pos x="connsiteX34668" y="connsiteY34668"/>
              </a:cxn>
              <a:cxn ang="0">
                <a:pos x="connsiteX34669" y="connsiteY34669"/>
              </a:cxn>
              <a:cxn ang="0">
                <a:pos x="connsiteX34670" y="connsiteY34670"/>
              </a:cxn>
              <a:cxn ang="0">
                <a:pos x="connsiteX34671" y="connsiteY34671"/>
              </a:cxn>
              <a:cxn ang="0">
                <a:pos x="connsiteX34672" y="connsiteY34672"/>
              </a:cxn>
              <a:cxn ang="0">
                <a:pos x="connsiteX34673" y="connsiteY34673"/>
              </a:cxn>
              <a:cxn ang="0">
                <a:pos x="connsiteX34674" y="connsiteY34674"/>
              </a:cxn>
              <a:cxn ang="0">
                <a:pos x="connsiteX34675" y="connsiteY34675"/>
              </a:cxn>
              <a:cxn ang="0">
                <a:pos x="connsiteX34676" y="connsiteY34676"/>
              </a:cxn>
              <a:cxn ang="0">
                <a:pos x="connsiteX34677" y="connsiteY34677"/>
              </a:cxn>
              <a:cxn ang="0">
                <a:pos x="connsiteX34678" y="connsiteY34678"/>
              </a:cxn>
              <a:cxn ang="0">
                <a:pos x="connsiteX34679" y="connsiteY34679"/>
              </a:cxn>
              <a:cxn ang="0">
                <a:pos x="connsiteX34680" y="connsiteY34680"/>
              </a:cxn>
              <a:cxn ang="0">
                <a:pos x="connsiteX34681" y="connsiteY34681"/>
              </a:cxn>
              <a:cxn ang="0">
                <a:pos x="connsiteX34682" y="connsiteY34682"/>
              </a:cxn>
              <a:cxn ang="0">
                <a:pos x="connsiteX34683" y="connsiteY34683"/>
              </a:cxn>
              <a:cxn ang="0">
                <a:pos x="connsiteX34684" y="connsiteY34684"/>
              </a:cxn>
              <a:cxn ang="0">
                <a:pos x="connsiteX34685" y="connsiteY34685"/>
              </a:cxn>
              <a:cxn ang="0">
                <a:pos x="connsiteX34686" y="connsiteY34686"/>
              </a:cxn>
              <a:cxn ang="0">
                <a:pos x="connsiteX34687" y="connsiteY34687"/>
              </a:cxn>
              <a:cxn ang="0">
                <a:pos x="connsiteX34688" y="connsiteY34688"/>
              </a:cxn>
              <a:cxn ang="0">
                <a:pos x="connsiteX34689" y="connsiteY34689"/>
              </a:cxn>
              <a:cxn ang="0">
                <a:pos x="connsiteX34690" y="connsiteY34690"/>
              </a:cxn>
              <a:cxn ang="0">
                <a:pos x="connsiteX34691" y="connsiteY34691"/>
              </a:cxn>
              <a:cxn ang="0">
                <a:pos x="connsiteX34692" y="connsiteY34692"/>
              </a:cxn>
              <a:cxn ang="0">
                <a:pos x="connsiteX34693" y="connsiteY34693"/>
              </a:cxn>
              <a:cxn ang="0">
                <a:pos x="connsiteX34694" y="connsiteY34694"/>
              </a:cxn>
              <a:cxn ang="0">
                <a:pos x="connsiteX34695" y="connsiteY34695"/>
              </a:cxn>
              <a:cxn ang="0">
                <a:pos x="connsiteX34696" y="connsiteY34696"/>
              </a:cxn>
              <a:cxn ang="0">
                <a:pos x="connsiteX34697" y="connsiteY34697"/>
              </a:cxn>
              <a:cxn ang="0">
                <a:pos x="connsiteX34698" y="connsiteY34698"/>
              </a:cxn>
              <a:cxn ang="0">
                <a:pos x="connsiteX34699" y="connsiteY34699"/>
              </a:cxn>
              <a:cxn ang="0">
                <a:pos x="connsiteX34700" y="connsiteY34700"/>
              </a:cxn>
              <a:cxn ang="0">
                <a:pos x="connsiteX34701" y="connsiteY34701"/>
              </a:cxn>
              <a:cxn ang="0">
                <a:pos x="connsiteX34702" y="connsiteY34702"/>
              </a:cxn>
              <a:cxn ang="0">
                <a:pos x="connsiteX34703" y="connsiteY34703"/>
              </a:cxn>
              <a:cxn ang="0">
                <a:pos x="connsiteX34704" y="connsiteY34704"/>
              </a:cxn>
              <a:cxn ang="0">
                <a:pos x="connsiteX34705" y="connsiteY34705"/>
              </a:cxn>
              <a:cxn ang="0">
                <a:pos x="connsiteX34706" y="connsiteY34706"/>
              </a:cxn>
              <a:cxn ang="0">
                <a:pos x="connsiteX34707" y="connsiteY34707"/>
              </a:cxn>
              <a:cxn ang="0">
                <a:pos x="connsiteX34708" y="connsiteY34708"/>
              </a:cxn>
              <a:cxn ang="0">
                <a:pos x="connsiteX34709" y="connsiteY34709"/>
              </a:cxn>
              <a:cxn ang="0">
                <a:pos x="connsiteX34710" y="connsiteY34710"/>
              </a:cxn>
              <a:cxn ang="0">
                <a:pos x="connsiteX34711" y="connsiteY34711"/>
              </a:cxn>
              <a:cxn ang="0">
                <a:pos x="connsiteX34712" y="connsiteY34712"/>
              </a:cxn>
              <a:cxn ang="0">
                <a:pos x="connsiteX34713" y="connsiteY34713"/>
              </a:cxn>
              <a:cxn ang="0">
                <a:pos x="connsiteX34714" y="connsiteY34714"/>
              </a:cxn>
              <a:cxn ang="0">
                <a:pos x="connsiteX34715" y="connsiteY34715"/>
              </a:cxn>
              <a:cxn ang="0">
                <a:pos x="connsiteX34716" y="connsiteY34716"/>
              </a:cxn>
              <a:cxn ang="0">
                <a:pos x="connsiteX34717" y="connsiteY34717"/>
              </a:cxn>
              <a:cxn ang="0">
                <a:pos x="connsiteX34718" y="connsiteY34718"/>
              </a:cxn>
              <a:cxn ang="0">
                <a:pos x="connsiteX34719" y="connsiteY34719"/>
              </a:cxn>
              <a:cxn ang="0">
                <a:pos x="connsiteX34720" y="connsiteY34720"/>
              </a:cxn>
              <a:cxn ang="0">
                <a:pos x="connsiteX34721" y="connsiteY34721"/>
              </a:cxn>
              <a:cxn ang="0">
                <a:pos x="connsiteX34722" y="connsiteY34722"/>
              </a:cxn>
              <a:cxn ang="0">
                <a:pos x="connsiteX34723" y="connsiteY34723"/>
              </a:cxn>
              <a:cxn ang="0">
                <a:pos x="connsiteX34724" y="connsiteY34724"/>
              </a:cxn>
              <a:cxn ang="0">
                <a:pos x="connsiteX34725" y="connsiteY34725"/>
              </a:cxn>
              <a:cxn ang="0">
                <a:pos x="connsiteX34726" y="connsiteY34726"/>
              </a:cxn>
              <a:cxn ang="0">
                <a:pos x="connsiteX34727" y="connsiteY34727"/>
              </a:cxn>
              <a:cxn ang="0">
                <a:pos x="connsiteX34728" y="connsiteY34728"/>
              </a:cxn>
              <a:cxn ang="0">
                <a:pos x="connsiteX34729" y="connsiteY34729"/>
              </a:cxn>
              <a:cxn ang="0">
                <a:pos x="connsiteX34730" y="connsiteY34730"/>
              </a:cxn>
              <a:cxn ang="0">
                <a:pos x="connsiteX34731" y="connsiteY34731"/>
              </a:cxn>
              <a:cxn ang="0">
                <a:pos x="connsiteX34732" y="connsiteY34732"/>
              </a:cxn>
              <a:cxn ang="0">
                <a:pos x="connsiteX34733" y="connsiteY34733"/>
              </a:cxn>
              <a:cxn ang="0">
                <a:pos x="connsiteX34734" y="connsiteY34734"/>
              </a:cxn>
              <a:cxn ang="0">
                <a:pos x="connsiteX34735" y="connsiteY34735"/>
              </a:cxn>
              <a:cxn ang="0">
                <a:pos x="connsiteX34736" y="connsiteY34736"/>
              </a:cxn>
              <a:cxn ang="0">
                <a:pos x="connsiteX34737" y="connsiteY34737"/>
              </a:cxn>
              <a:cxn ang="0">
                <a:pos x="connsiteX34738" y="connsiteY34738"/>
              </a:cxn>
              <a:cxn ang="0">
                <a:pos x="connsiteX34739" y="connsiteY34739"/>
              </a:cxn>
              <a:cxn ang="0">
                <a:pos x="connsiteX34740" y="connsiteY34740"/>
              </a:cxn>
              <a:cxn ang="0">
                <a:pos x="connsiteX34741" y="connsiteY34741"/>
              </a:cxn>
              <a:cxn ang="0">
                <a:pos x="connsiteX34742" y="connsiteY34742"/>
              </a:cxn>
              <a:cxn ang="0">
                <a:pos x="connsiteX34743" y="connsiteY34743"/>
              </a:cxn>
              <a:cxn ang="0">
                <a:pos x="connsiteX34744" y="connsiteY34744"/>
              </a:cxn>
              <a:cxn ang="0">
                <a:pos x="connsiteX34745" y="connsiteY34745"/>
              </a:cxn>
              <a:cxn ang="0">
                <a:pos x="connsiteX34746" y="connsiteY34746"/>
              </a:cxn>
              <a:cxn ang="0">
                <a:pos x="connsiteX34747" y="connsiteY34747"/>
              </a:cxn>
              <a:cxn ang="0">
                <a:pos x="connsiteX34748" y="connsiteY34748"/>
              </a:cxn>
              <a:cxn ang="0">
                <a:pos x="connsiteX34749" y="connsiteY34749"/>
              </a:cxn>
              <a:cxn ang="0">
                <a:pos x="connsiteX34750" y="connsiteY34750"/>
              </a:cxn>
              <a:cxn ang="0">
                <a:pos x="connsiteX34751" y="connsiteY34751"/>
              </a:cxn>
              <a:cxn ang="0">
                <a:pos x="connsiteX34752" y="connsiteY34752"/>
              </a:cxn>
              <a:cxn ang="0">
                <a:pos x="connsiteX34753" y="connsiteY34753"/>
              </a:cxn>
              <a:cxn ang="0">
                <a:pos x="connsiteX34754" y="connsiteY34754"/>
              </a:cxn>
              <a:cxn ang="0">
                <a:pos x="connsiteX34755" y="connsiteY34755"/>
              </a:cxn>
              <a:cxn ang="0">
                <a:pos x="connsiteX34756" y="connsiteY34756"/>
              </a:cxn>
              <a:cxn ang="0">
                <a:pos x="connsiteX34757" y="connsiteY34757"/>
              </a:cxn>
              <a:cxn ang="0">
                <a:pos x="connsiteX34758" y="connsiteY34758"/>
              </a:cxn>
              <a:cxn ang="0">
                <a:pos x="connsiteX34759" y="connsiteY34759"/>
              </a:cxn>
              <a:cxn ang="0">
                <a:pos x="connsiteX34760" y="connsiteY34760"/>
              </a:cxn>
              <a:cxn ang="0">
                <a:pos x="connsiteX34761" y="connsiteY34761"/>
              </a:cxn>
              <a:cxn ang="0">
                <a:pos x="connsiteX34762" y="connsiteY34762"/>
              </a:cxn>
              <a:cxn ang="0">
                <a:pos x="connsiteX34763" y="connsiteY34763"/>
              </a:cxn>
              <a:cxn ang="0">
                <a:pos x="connsiteX34764" y="connsiteY34764"/>
              </a:cxn>
              <a:cxn ang="0">
                <a:pos x="connsiteX34765" y="connsiteY34765"/>
              </a:cxn>
              <a:cxn ang="0">
                <a:pos x="connsiteX34766" y="connsiteY34766"/>
              </a:cxn>
              <a:cxn ang="0">
                <a:pos x="connsiteX34767" y="connsiteY34767"/>
              </a:cxn>
              <a:cxn ang="0">
                <a:pos x="connsiteX34768" y="connsiteY34768"/>
              </a:cxn>
              <a:cxn ang="0">
                <a:pos x="connsiteX34769" y="connsiteY34769"/>
              </a:cxn>
              <a:cxn ang="0">
                <a:pos x="connsiteX34770" y="connsiteY34770"/>
              </a:cxn>
              <a:cxn ang="0">
                <a:pos x="connsiteX34771" y="connsiteY34771"/>
              </a:cxn>
              <a:cxn ang="0">
                <a:pos x="connsiteX34772" y="connsiteY34772"/>
              </a:cxn>
              <a:cxn ang="0">
                <a:pos x="connsiteX34773" y="connsiteY34773"/>
              </a:cxn>
              <a:cxn ang="0">
                <a:pos x="connsiteX34774" y="connsiteY34774"/>
              </a:cxn>
              <a:cxn ang="0">
                <a:pos x="connsiteX34775" y="connsiteY34775"/>
              </a:cxn>
              <a:cxn ang="0">
                <a:pos x="connsiteX34776" y="connsiteY34776"/>
              </a:cxn>
              <a:cxn ang="0">
                <a:pos x="connsiteX34777" y="connsiteY34777"/>
              </a:cxn>
              <a:cxn ang="0">
                <a:pos x="connsiteX34778" y="connsiteY34778"/>
              </a:cxn>
              <a:cxn ang="0">
                <a:pos x="connsiteX34779" y="connsiteY34779"/>
              </a:cxn>
              <a:cxn ang="0">
                <a:pos x="connsiteX34780" y="connsiteY34780"/>
              </a:cxn>
              <a:cxn ang="0">
                <a:pos x="connsiteX34781" y="connsiteY34781"/>
              </a:cxn>
              <a:cxn ang="0">
                <a:pos x="connsiteX34782" y="connsiteY34782"/>
              </a:cxn>
              <a:cxn ang="0">
                <a:pos x="connsiteX34783" y="connsiteY34783"/>
              </a:cxn>
              <a:cxn ang="0">
                <a:pos x="connsiteX34784" y="connsiteY34784"/>
              </a:cxn>
              <a:cxn ang="0">
                <a:pos x="connsiteX34785" y="connsiteY34785"/>
              </a:cxn>
              <a:cxn ang="0">
                <a:pos x="connsiteX34786" y="connsiteY34786"/>
              </a:cxn>
              <a:cxn ang="0">
                <a:pos x="connsiteX34787" y="connsiteY34787"/>
              </a:cxn>
              <a:cxn ang="0">
                <a:pos x="connsiteX34788" y="connsiteY34788"/>
              </a:cxn>
              <a:cxn ang="0">
                <a:pos x="connsiteX34789" y="connsiteY34789"/>
              </a:cxn>
              <a:cxn ang="0">
                <a:pos x="connsiteX34790" y="connsiteY34790"/>
              </a:cxn>
              <a:cxn ang="0">
                <a:pos x="connsiteX34791" y="connsiteY34791"/>
              </a:cxn>
              <a:cxn ang="0">
                <a:pos x="connsiteX34792" y="connsiteY34792"/>
              </a:cxn>
              <a:cxn ang="0">
                <a:pos x="connsiteX34793" y="connsiteY34793"/>
              </a:cxn>
              <a:cxn ang="0">
                <a:pos x="connsiteX34794" y="connsiteY34794"/>
              </a:cxn>
              <a:cxn ang="0">
                <a:pos x="connsiteX34795" y="connsiteY34795"/>
              </a:cxn>
              <a:cxn ang="0">
                <a:pos x="connsiteX34796" y="connsiteY34796"/>
              </a:cxn>
              <a:cxn ang="0">
                <a:pos x="connsiteX34797" y="connsiteY34797"/>
              </a:cxn>
              <a:cxn ang="0">
                <a:pos x="connsiteX34798" y="connsiteY34798"/>
              </a:cxn>
              <a:cxn ang="0">
                <a:pos x="connsiteX34799" y="connsiteY34799"/>
              </a:cxn>
              <a:cxn ang="0">
                <a:pos x="connsiteX34800" y="connsiteY34800"/>
              </a:cxn>
              <a:cxn ang="0">
                <a:pos x="connsiteX34801" y="connsiteY34801"/>
              </a:cxn>
              <a:cxn ang="0">
                <a:pos x="connsiteX34802" y="connsiteY34802"/>
              </a:cxn>
              <a:cxn ang="0">
                <a:pos x="connsiteX34803" y="connsiteY34803"/>
              </a:cxn>
              <a:cxn ang="0">
                <a:pos x="connsiteX34804" y="connsiteY34804"/>
              </a:cxn>
              <a:cxn ang="0">
                <a:pos x="connsiteX34805" y="connsiteY34805"/>
              </a:cxn>
              <a:cxn ang="0">
                <a:pos x="connsiteX34806" y="connsiteY34806"/>
              </a:cxn>
              <a:cxn ang="0">
                <a:pos x="connsiteX34807" y="connsiteY34807"/>
              </a:cxn>
              <a:cxn ang="0">
                <a:pos x="connsiteX34808" y="connsiteY34808"/>
              </a:cxn>
              <a:cxn ang="0">
                <a:pos x="connsiteX34809" y="connsiteY34809"/>
              </a:cxn>
              <a:cxn ang="0">
                <a:pos x="connsiteX34810" y="connsiteY34810"/>
              </a:cxn>
              <a:cxn ang="0">
                <a:pos x="connsiteX34811" y="connsiteY34811"/>
              </a:cxn>
              <a:cxn ang="0">
                <a:pos x="connsiteX34812" y="connsiteY34812"/>
              </a:cxn>
              <a:cxn ang="0">
                <a:pos x="connsiteX34813" y="connsiteY34813"/>
              </a:cxn>
              <a:cxn ang="0">
                <a:pos x="connsiteX34814" y="connsiteY34814"/>
              </a:cxn>
              <a:cxn ang="0">
                <a:pos x="connsiteX34815" y="connsiteY34815"/>
              </a:cxn>
              <a:cxn ang="0">
                <a:pos x="connsiteX34816" y="connsiteY34816"/>
              </a:cxn>
              <a:cxn ang="0">
                <a:pos x="connsiteX34817" y="connsiteY34817"/>
              </a:cxn>
              <a:cxn ang="0">
                <a:pos x="connsiteX34818" y="connsiteY34818"/>
              </a:cxn>
              <a:cxn ang="0">
                <a:pos x="connsiteX34819" y="connsiteY34819"/>
              </a:cxn>
              <a:cxn ang="0">
                <a:pos x="connsiteX34820" y="connsiteY34820"/>
              </a:cxn>
              <a:cxn ang="0">
                <a:pos x="connsiteX34821" y="connsiteY34821"/>
              </a:cxn>
              <a:cxn ang="0">
                <a:pos x="connsiteX34822" y="connsiteY34822"/>
              </a:cxn>
              <a:cxn ang="0">
                <a:pos x="connsiteX34823" y="connsiteY34823"/>
              </a:cxn>
              <a:cxn ang="0">
                <a:pos x="connsiteX34824" y="connsiteY34824"/>
              </a:cxn>
              <a:cxn ang="0">
                <a:pos x="connsiteX34825" y="connsiteY34825"/>
              </a:cxn>
              <a:cxn ang="0">
                <a:pos x="connsiteX34826" y="connsiteY34826"/>
              </a:cxn>
              <a:cxn ang="0">
                <a:pos x="connsiteX34827" y="connsiteY34827"/>
              </a:cxn>
              <a:cxn ang="0">
                <a:pos x="connsiteX34828" y="connsiteY34828"/>
              </a:cxn>
              <a:cxn ang="0">
                <a:pos x="connsiteX34829" y="connsiteY34829"/>
              </a:cxn>
              <a:cxn ang="0">
                <a:pos x="connsiteX34830" y="connsiteY34830"/>
              </a:cxn>
              <a:cxn ang="0">
                <a:pos x="connsiteX34831" y="connsiteY34831"/>
              </a:cxn>
              <a:cxn ang="0">
                <a:pos x="connsiteX34832" y="connsiteY34832"/>
              </a:cxn>
              <a:cxn ang="0">
                <a:pos x="connsiteX34833" y="connsiteY34833"/>
              </a:cxn>
              <a:cxn ang="0">
                <a:pos x="connsiteX34834" y="connsiteY34834"/>
              </a:cxn>
              <a:cxn ang="0">
                <a:pos x="connsiteX34835" y="connsiteY34835"/>
              </a:cxn>
              <a:cxn ang="0">
                <a:pos x="connsiteX34836" y="connsiteY34836"/>
              </a:cxn>
              <a:cxn ang="0">
                <a:pos x="connsiteX34837" y="connsiteY34837"/>
              </a:cxn>
              <a:cxn ang="0">
                <a:pos x="connsiteX34838" y="connsiteY34838"/>
              </a:cxn>
              <a:cxn ang="0">
                <a:pos x="connsiteX34839" y="connsiteY34839"/>
              </a:cxn>
              <a:cxn ang="0">
                <a:pos x="connsiteX34840" y="connsiteY34840"/>
              </a:cxn>
              <a:cxn ang="0">
                <a:pos x="connsiteX34841" y="connsiteY34841"/>
              </a:cxn>
              <a:cxn ang="0">
                <a:pos x="connsiteX34842" y="connsiteY34842"/>
              </a:cxn>
              <a:cxn ang="0">
                <a:pos x="connsiteX34843" y="connsiteY34843"/>
              </a:cxn>
              <a:cxn ang="0">
                <a:pos x="connsiteX34844" y="connsiteY34844"/>
              </a:cxn>
              <a:cxn ang="0">
                <a:pos x="connsiteX34845" y="connsiteY34845"/>
              </a:cxn>
              <a:cxn ang="0">
                <a:pos x="connsiteX34846" y="connsiteY34846"/>
              </a:cxn>
              <a:cxn ang="0">
                <a:pos x="connsiteX34847" y="connsiteY34847"/>
              </a:cxn>
              <a:cxn ang="0">
                <a:pos x="connsiteX34848" y="connsiteY34848"/>
              </a:cxn>
              <a:cxn ang="0">
                <a:pos x="connsiteX34849" y="connsiteY34849"/>
              </a:cxn>
              <a:cxn ang="0">
                <a:pos x="connsiteX34850" y="connsiteY34850"/>
              </a:cxn>
              <a:cxn ang="0">
                <a:pos x="connsiteX34851" y="connsiteY34851"/>
              </a:cxn>
              <a:cxn ang="0">
                <a:pos x="connsiteX34852" y="connsiteY34852"/>
              </a:cxn>
              <a:cxn ang="0">
                <a:pos x="connsiteX34853" y="connsiteY34853"/>
              </a:cxn>
              <a:cxn ang="0">
                <a:pos x="connsiteX34854" y="connsiteY34854"/>
              </a:cxn>
              <a:cxn ang="0">
                <a:pos x="connsiteX34855" y="connsiteY34855"/>
              </a:cxn>
              <a:cxn ang="0">
                <a:pos x="connsiteX34856" y="connsiteY34856"/>
              </a:cxn>
              <a:cxn ang="0">
                <a:pos x="connsiteX34857" y="connsiteY34857"/>
              </a:cxn>
              <a:cxn ang="0">
                <a:pos x="connsiteX34858" y="connsiteY34858"/>
              </a:cxn>
              <a:cxn ang="0">
                <a:pos x="connsiteX34859" y="connsiteY34859"/>
              </a:cxn>
              <a:cxn ang="0">
                <a:pos x="connsiteX34860" y="connsiteY34860"/>
              </a:cxn>
              <a:cxn ang="0">
                <a:pos x="connsiteX34861" y="connsiteY34861"/>
              </a:cxn>
              <a:cxn ang="0">
                <a:pos x="connsiteX34862" y="connsiteY34862"/>
              </a:cxn>
              <a:cxn ang="0">
                <a:pos x="connsiteX34863" y="connsiteY34863"/>
              </a:cxn>
              <a:cxn ang="0">
                <a:pos x="connsiteX34864" y="connsiteY34864"/>
              </a:cxn>
              <a:cxn ang="0">
                <a:pos x="connsiteX34865" y="connsiteY34865"/>
              </a:cxn>
              <a:cxn ang="0">
                <a:pos x="connsiteX34866" y="connsiteY34866"/>
              </a:cxn>
              <a:cxn ang="0">
                <a:pos x="connsiteX34867" y="connsiteY34867"/>
              </a:cxn>
              <a:cxn ang="0">
                <a:pos x="connsiteX34868" y="connsiteY34868"/>
              </a:cxn>
              <a:cxn ang="0">
                <a:pos x="connsiteX34869" y="connsiteY34869"/>
              </a:cxn>
              <a:cxn ang="0">
                <a:pos x="connsiteX34870" y="connsiteY34870"/>
              </a:cxn>
              <a:cxn ang="0">
                <a:pos x="connsiteX34871" y="connsiteY34871"/>
              </a:cxn>
              <a:cxn ang="0">
                <a:pos x="connsiteX34872" y="connsiteY34872"/>
              </a:cxn>
              <a:cxn ang="0">
                <a:pos x="connsiteX34873" y="connsiteY34873"/>
              </a:cxn>
              <a:cxn ang="0">
                <a:pos x="connsiteX34874" y="connsiteY34874"/>
              </a:cxn>
              <a:cxn ang="0">
                <a:pos x="connsiteX34875" y="connsiteY34875"/>
              </a:cxn>
              <a:cxn ang="0">
                <a:pos x="connsiteX34876" y="connsiteY34876"/>
              </a:cxn>
              <a:cxn ang="0">
                <a:pos x="connsiteX34877" y="connsiteY34877"/>
              </a:cxn>
              <a:cxn ang="0">
                <a:pos x="connsiteX34878" y="connsiteY34878"/>
              </a:cxn>
              <a:cxn ang="0">
                <a:pos x="connsiteX34879" y="connsiteY34879"/>
              </a:cxn>
              <a:cxn ang="0">
                <a:pos x="connsiteX34880" y="connsiteY34880"/>
              </a:cxn>
              <a:cxn ang="0">
                <a:pos x="connsiteX34881" y="connsiteY34881"/>
              </a:cxn>
              <a:cxn ang="0">
                <a:pos x="connsiteX34882" y="connsiteY34882"/>
              </a:cxn>
              <a:cxn ang="0">
                <a:pos x="connsiteX34883" y="connsiteY34883"/>
              </a:cxn>
              <a:cxn ang="0">
                <a:pos x="connsiteX34884" y="connsiteY34884"/>
              </a:cxn>
              <a:cxn ang="0">
                <a:pos x="connsiteX34885" y="connsiteY34885"/>
              </a:cxn>
              <a:cxn ang="0">
                <a:pos x="connsiteX34886" y="connsiteY34886"/>
              </a:cxn>
              <a:cxn ang="0">
                <a:pos x="connsiteX34887" y="connsiteY34887"/>
              </a:cxn>
              <a:cxn ang="0">
                <a:pos x="connsiteX34888" y="connsiteY34888"/>
              </a:cxn>
              <a:cxn ang="0">
                <a:pos x="connsiteX34889" y="connsiteY34889"/>
              </a:cxn>
              <a:cxn ang="0">
                <a:pos x="connsiteX34890" y="connsiteY34890"/>
              </a:cxn>
              <a:cxn ang="0">
                <a:pos x="connsiteX34891" y="connsiteY34891"/>
              </a:cxn>
              <a:cxn ang="0">
                <a:pos x="connsiteX34892" y="connsiteY34892"/>
              </a:cxn>
              <a:cxn ang="0">
                <a:pos x="connsiteX34893" y="connsiteY34893"/>
              </a:cxn>
              <a:cxn ang="0">
                <a:pos x="connsiteX34894" y="connsiteY34894"/>
              </a:cxn>
              <a:cxn ang="0">
                <a:pos x="connsiteX34895" y="connsiteY34895"/>
              </a:cxn>
              <a:cxn ang="0">
                <a:pos x="connsiteX34896" y="connsiteY34896"/>
              </a:cxn>
              <a:cxn ang="0">
                <a:pos x="connsiteX34897" y="connsiteY34897"/>
              </a:cxn>
              <a:cxn ang="0">
                <a:pos x="connsiteX34898" y="connsiteY34898"/>
              </a:cxn>
              <a:cxn ang="0">
                <a:pos x="connsiteX34899" y="connsiteY34899"/>
              </a:cxn>
              <a:cxn ang="0">
                <a:pos x="connsiteX34900" y="connsiteY34900"/>
              </a:cxn>
              <a:cxn ang="0">
                <a:pos x="connsiteX34901" y="connsiteY34901"/>
              </a:cxn>
              <a:cxn ang="0">
                <a:pos x="connsiteX34902" y="connsiteY34902"/>
              </a:cxn>
              <a:cxn ang="0">
                <a:pos x="connsiteX34903" y="connsiteY34903"/>
              </a:cxn>
              <a:cxn ang="0">
                <a:pos x="connsiteX34904" y="connsiteY34904"/>
              </a:cxn>
              <a:cxn ang="0">
                <a:pos x="connsiteX34905" y="connsiteY34905"/>
              </a:cxn>
              <a:cxn ang="0">
                <a:pos x="connsiteX34906" y="connsiteY34906"/>
              </a:cxn>
              <a:cxn ang="0">
                <a:pos x="connsiteX34907" y="connsiteY34907"/>
              </a:cxn>
              <a:cxn ang="0">
                <a:pos x="connsiteX34908" y="connsiteY34908"/>
              </a:cxn>
              <a:cxn ang="0">
                <a:pos x="connsiteX34909" y="connsiteY34909"/>
              </a:cxn>
              <a:cxn ang="0">
                <a:pos x="connsiteX34910" y="connsiteY34910"/>
              </a:cxn>
              <a:cxn ang="0">
                <a:pos x="connsiteX34911" y="connsiteY34911"/>
              </a:cxn>
              <a:cxn ang="0">
                <a:pos x="connsiteX34912" y="connsiteY34912"/>
              </a:cxn>
              <a:cxn ang="0">
                <a:pos x="connsiteX34913" y="connsiteY34913"/>
              </a:cxn>
              <a:cxn ang="0">
                <a:pos x="connsiteX34914" y="connsiteY34914"/>
              </a:cxn>
              <a:cxn ang="0">
                <a:pos x="connsiteX34915" y="connsiteY34915"/>
              </a:cxn>
              <a:cxn ang="0">
                <a:pos x="connsiteX34916" y="connsiteY34916"/>
              </a:cxn>
              <a:cxn ang="0">
                <a:pos x="connsiteX34917" y="connsiteY34917"/>
              </a:cxn>
              <a:cxn ang="0">
                <a:pos x="connsiteX34918" y="connsiteY34918"/>
              </a:cxn>
              <a:cxn ang="0">
                <a:pos x="connsiteX34919" y="connsiteY34919"/>
              </a:cxn>
              <a:cxn ang="0">
                <a:pos x="connsiteX34920" y="connsiteY34920"/>
              </a:cxn>
              <a:cxn ang="0">
                <a:pos x="connsiteX34921" y="connsiteY34921"/>
              </a:cxn>
              <a:cxn ang="0">
                <a:pos x="connsiteX34922" y="connsiteY34922"/>
              </a:cxn>
              <a:cxn ang="0">
                <a:pos x="connsiteX34923" y="connsiteY34923"/>
              </a:cxn>
              <a:cxn ang="0">
                <a:pos x="connsiteX34924" y="connsiteY34924"/>
              </a:cxn>
              <a:cxn ang="0">
                <a:pos x="connsiteX34925" y="connsiteY34925"/>
              </a:cxn>
              <a:cxn ang="0">
                <a:pos x="connsiteX34926" y="connsiteY34926"/>
              </a:cxn>
              <a:cxn ang="0">
                <a:pos x="connsiteX34927" y="connsiteY34927"/>
              </a:cxn>
              <a:cxn ang="0">
                <a:pos x="connsiteX34928" y="connsiteY34928"/>
              </a:cxn>
              <a:cxn ang="0">
                <a:pos x="connsiteX34929" y="connsiteY34929"/>
              </a:cxn>
              <a:cxn ang="0">
                <a:pos x="connsiteX34930" y="connsiteY34930"/>
              </a:cxn>
              <a:cxn ang="0">
                <a:pos x="connsiteX34931" y="connsiteY34931"/>
              </a:cxn>
              <a:cxn ang="0">
                <a:pos x="connsiteX34932" y="connsiteY34932"/>
              </a:cxn>
              <a:cxn ang="0">
                <a:pos x="connsiteX34933" y="connsiteY34933"/>
              </a:cxn>
              <a:cxn ang="0">
                <a:pos x="connsiteX34934" y="connsiteY34934"/>
              </a:cxn>
              <a:cxn ang="0">
                <a:pos x="connsiteX34935" y="connsiteY34935"/>
              </a:cxn>
              <a:cxn ang="0">
                <a:pos x="connsiteX34936" y="connsiteY34936"/>
              </a:cxn>
              <a:cxn ang="0">
                <a:pos x="connsiteX34937" y="connsiteY34937"/>
              </a:cxn>
              <a:cxn ang="0">
                <a:pos x="connsiteX34938" y="connsiteY34938"/>
              </a:cxn>
              <a:cxn ang="0">
                <a:pos x="connsiteX34939" y="connsiteY34939"/>
              </a:cxn>
              <a:cxn ang="0">
                <a:pos x="connsiteX34940" y="connsiteY34940"/>
              </a:cxn>
              <a:cxn ang="0">
                <a:pos x="connsiteX34941" y="connsiteY34941"/>
              </a:cxn>
              <a:cxn ang="0">
                <a:pos x="connsiteX34942" y="connsiteY34942"/>
              </a:cxn>
              <a:cxn ang="0">
                <a:pos x="connsiteX34943" y="connsiteY34943"/>
              </a:cxn>
              <a:cxn ang="0">
                <a:pos x="connsiteX34944" y="connsiteY34944"/>
              </a:cxn>
              <a:cxn ang="0">
                <a:pos x="connsiteX34945" y="connsiteY34945"/>
              </a:cxn>
              <a:cxn ang="0">
                <a:pos x="connsiteX34946" y="connsiteY34946"/>
              </a:cxn>
              <a:cxn ang="0">
                <a:pos x="connsiteX34947" y="connsiteY34947"/>
              </a:cxn>
              <a:cxn ang="0">
                <a:pos x="connsiteX34948" y="connsiteY34948"/>
              </a:cxn>
              <a:cxn ang="0">
                <a:pos x="connsiteX34949" y="connsiteY34949"/>
              </a:cxn>
              <a:cxn ang="0">
                <a:pos x="connsiteX34950" y="connsiteY34950"/>
              </a:cxn>
              <a:cxn ang="0">
                <a:pos x="connsiteX34951" y="connsiteY34951"/>
              </a:cxn>
              <a:cxn ang="0">
                <a:pos x="connsiteX34952" y="connsiteY34952"/>
              </a:cxn>
              <a:cxn ang="0">
                <a:pos x="connsiteX34953" y="connsiteY34953"/>
              </a:cxn>
              <a:cxn ang="0">
                <a:pos x="connsiteX34954" y="connsiteY34954"/>
              </a:cxn>
              <a:cxn ang="0">
                <a:pos x="connsiteX34955" y="connsiteY34955"/>
              </a:cxn>
              <a:cxn ang="0">
                <a:pos x="connsiteX34956" y="connsiteY34956"/>
              </a:cxn>
              <a:cxn ang="0">
                <a:pos x="connsiteX34957" y="connsiteY34957"/>
              </a:cxn>
              <a:cxn ang="0">
                <a:pos x="connsiteX34958" y="connsiteY34958"/>
              </a:cxn>
              <a:cxn ang="0">
                <a:pos x="connsiteX34959" y="connsiteY34959"/>
              </a:cxn>
              <a:cxn ang="0">
                <a:pos x="connsiteX34960" y="connsiteY34960"/>
              </a:cxn>
              <a:cxn ang="0">
                <a:pos x="connsiteX34961" y="connsiteY34961"/>
              </a:cxn>
              <a:cxn ang="0">
                <a:pos x="connsiteX34962" y="connsiteY34962"/>
              </a:cxn>
              <a:cxn ang="0">
                <a:pos x="connsiteX34963" y="connsiteY34963"/>
              </a:cxn>
              <a:cxn ang="0">
                <a:pos x="connsiteX34964" y="connsiteY34964"/>
              </a:cxn>
              <a:cxn ang="0">
                <a:pos x="connsiteX34965" y="connsiteY34965"/>
              </a:cxn>
              <a:cxn ang="0">
                <a:pos x="connsiteX34966" y="connsiteY34966"/>
              </a:cxn>
              <a:cxn ang="0">
                <a:pos x="connsiteX34967" y="connsiteY34967"/>
              </a:cxn>
              <a:cxn ang="0">
                <a:pos x="connsiteX34968" y="connsiteY34968"/>
              </a:cxn>
              <a:cxn ang="0">
                <a:pos x="connsiteX34969" y="connsiteY34969"/>
              </a:cxn>
              <a:cxn ang="0">
                <a:pos x="connsiteX34970" y="connsiteY34970"/>
              </a:cxn>
              <a:cxn ang="0">
                <a:pos x="connsiteX34971" y="connsiteY34971"/>
              </a:cxn>
              <a:cxn ang="0">
                <a:pos x="connsiteX34972" y="connsiteY34972"/>
              </a:cxn>
              <a:cxn ang="0">
                <a:pos x="connsiteX34973" y="connsiteY34973"/>
              </a:cxn>
              <a:cxn ang="0">
                <a:pos x="connsiteX34974" y="connsiteY34974"/>
              </a:cxn>
              <a:cxn ang="0">
                <a:pos x="connsiteX34975" y="connsiteY34975"/>
              </a:cxn>
              <a:cxn ang="0">
                <a:pos x="connsiteX34976" y="connsiteY34976"/>
              </a:cxn>
              <a:cxn ang="0">
                <a:pos x="connsiteX34977" y="connsiteY34977"/>
              </a:cxn>
              <a:cxn ang="0">
                <a:pos x="connsiteX34978" y="connsiteY34978"/>
              </a:cxn>
              <a:cxn ang="0">
                <a:pos x="connsiteX34979" y="connsiteY34979"/>
              </a:cxn>
              <a:cxn ang="0">
                <a:pos x="connsiteX34980" y="connsiteY34980"/>
              </a:cxn>
              <a:cxn ang="0">
                <a:pos x="connsiteX34981" y="connsiteY34981"/>
              </a:cxn>
              <a:cxn ang="0">
                <a:pos x="connsiteX34982" y="connsiteY34982"/>
              </a:cxn>
              <a:cxn ang="0">
                <a:pos x="connsiteX34983" y="connsiteY34983"/>
              </a:cxn>
              <a:cxn ang="0">
                <a:pos x="connsiteX34984" y="connsiteY34984"/>
              </a:cxn>
              <a:cxn ang="0">
                <a:pos x="connsiteX34985" y="connsiteY34985"/>
              </a:cxn>
              <a:cxn ang="0">
                <a:pos x="connsiteX34986" y="connsiteY34986"/>
              </a:cxn>
              <a:cxn ang="0">
                <a:pos x="connsiteX34987" y="connsiteY34987"/>
              </a:cxn>
              <a:cxn ang="0">
                <a:pos x="connsiteX34988" y="connsiteY34988"/>
              </a:cxn>
              <a:cxn ang="0">
                <a:pos x="connsiteX34989" y="connsiteY34989"/>
              </a:cxn>
              <a:cxn ang="0">
                <a:pos x="connsiteX34990" y="connsiteY34990"/>
              </a:cxn>
              <a:cxn ang="0">
                <a:pos x="connsiteX34991" y="connsiteY34991"/>
              </a:cxn>
              <a:cxn ang="0">
                <a:pos x="connsiteX34992" y="connsiteY34992"/>
              </a:cxn>
              <a:cxn ang="0">
                <a:pos x="connsiteX34993" y="connsiteY34993"/>
              </a:cxn>
              <a:cxn ang="0">
                <a:pos x="connsiteX34994" y="connsiteY34994"/>
              </a:cxn>
              <a:cxn ang="0">
                <a:pos x="connsiteX34995" y="connsiteY34995"/>
              </a:cxn>
              <a:cxn ang="0">
                <a:pos x="connsiteX34996" y="connsiteY34996"/>
              </a:cxn>
              <a:cxn ang="0">
                <a:pos x="connsiteX34997" y="connsiteY34997"/>
              </a:cxn>
              <a:cxn ang="0">
                <a:pos x="connsiteX34998" y="connsiteY34998"/>
              </a:cxn>
              <a:cxn ang="0">
                <a:pos x="connsiteX34999" y="connsiteY34999"/>
              </a:cxn>
              <a:cxn ang="0">
                <a:pos x="connsiteX35000" y="connsiteY35000"/>
              </a:cxn>
              <a:cxn ang="0">
                <a:pos x="connsiteX35001" y="connsiteY35001"/>
              </a:cxn>
              <a:cxn ang="0">
                <a:pos x="connsiteX35002" y="connsiteY35002"/>
              </a:cxn>
              <a:cxn ang="0">
                <a:pos x="connsiteX35003" y="connsiteY35003"/>
              </a:cxn>
              <a:cxn ang="0">
                <a:pos x="connsiteX35004" y="connsiteY35004"/>
              </a:cxn>
              <a:cxn ang="0">
                <a:pos x="connsiteX35005" y="connsiteY35005"/>
              </a:cxn>
              <a:cxn ang="0">
                <a:pos x="connsiteX35006" y="connsiteY35006"/>
              </a:cxn>
              <a:cxn ang="0">
                <a:pos x="connsiteX35007" y="connsiteY35007"/>
              </a:cxn>
              <a:cxn ang="0">
                <a:pos x="connsiteX35008" y="connsiteY35008"/>
              </a:cxn>
              <a:cxn ang="0">
                <a:pos x="connsiteX35009" y="connsiteY35009"/>
              </a:cxn>
              <a:cxn ang="0">
                <a:pos x="connsiteX35010" y="connsiteY35010"/>
              </a:cxn>
              <a:cxn ang="0">
                <a:pos x="connsiteX35011" y="connsiteY35011"/>
              </a:cxn>
              <a:cxn ang="0">
                <a:pos x="connsiteX35012" y="connsiteY35012"/>
              </a:cxn>
              <a:cxn ang="0">
                <a:pos x="connsiteX35013" y="connsiteY35013"/>
              </a:cxn>
              <a:cxn ang="0">
                <a:pos x="connsiteX35014" y="connsiteY35014"/>
              </a:cxn>
              <a:cxn ang="0">
                <a:pos x="connsiteX35015" y="connsiteY35015"/>
              </a:cxn>
              <a:cxn ang="0">
                <a:pos x="connsiteX35016" y="connsiteY35016"/>
              </a:cxn>
              <a:cxn ang="0">
                <a:pos x="connsiteX35017" y="connsiteY35017"/>
              </a:cxn>
              <a:cxn ang="0">
                <a:pos x="connsiteX35018" y="connsiteY35018"/>
              </a:cxn>
              <a:cxn ang="0">
                <a:pos x="connsiteX35019" y="connsiteY35019"/>
              </a:cxn>
              <a:cxn ang="0">
                <a:pos x="connsiteX35020" y="connsiteY35020"/>
              </a:cxn>
              <a:cxn ang="0">
                <a:pos x="connsiteX35021" y="connsiteY35021"/>
              </a:cxn>
              <a:cxn ang="0">
                <a:pos x="connsiteX35022" y="connsiteY35022"/>
              </a:cxn>
              <a:cxn ang="0">
                <a:pos x="connsiteX35023" y="connsiteY35023"/>
              </a:cxn>
              <a:cxn ang="0">
                <a:pos x="connsiteX35024" y="connsiteY35024"/>
              </a:cxn>
              <a:cxn ang="0">
                <a:pos x="connsiteX35025" y="connsiteY35025"/>
              </a:cxn>
              <a:cxn ang="0">
                <a:pos x="connsiteX35026" y="connsiteY35026"/>
              </a:cxn>
              <a:cxn ang="0">
                <a:pos x="connsiteX35027" y="connsiteY35027"/>
              </a:cxn>
              <a:cxn ang="0">
                <a:pos x="connsiteX35028" y="connsiteY35028"/>
              </a:cxn>
              <a:cxn ang="0">
                <a:pos x="connsiteX35029" y="connsiteY35029"/>
              </a:cxn>
              <a:cxn ang="0">
                <a:pos x="connsiteX35030" y="connsiteY35030"/>
              </a:cxn>
              <a:cxn ang="0">
                <a:pos x="connsiteX35031" y="connsiteY35031"/>
              </a:cxn>
              <a:cxn ang="0">
                <a:pos x="connsiteX35032" y="connsiteY35032"/>
              </a:cxn>
              <a:cxn ang="0">
                <a:pos x="connsiteX35033" y="connsiteY35033"/>
              </a:cxn>
              <a:cxn ang="0">
                <a:pos x="connsiteX35034" y="connsiteY35034"/>
              </a:cxn>
              <a:cxn ang="0">
                <a:pos x="connsiteX35035" y="connsiteY35035"/>
              </a:cxn>
              <a:cxn ang="0">
                <a:pos x="connsiteX35036" y="connsiteY35036"/>
              </a:cxn>
              <a:cxn ang="0">
                <a:pos x="connsiteX35037" y="connsiteY35037"/>
              </a:cxn>
              <a:cxn ang="0">
                <a:pos x="connsiteX35038" y="connsiteY35038"/>
              </a:cxn>
              <a:cxn ang="0">
                <a:pos x="connsiteX35039" y="connsiteY35039"/>
              </a:cxn>
              <a:cxn ang="0">
                <a:pos x="connsiteX35040" y="connsiteY35040"/>
              </a:cxn>
              <a:cxn ang="0">
                <a:pos x="connsiteX35041" y="connsiteY35041"/>
              </a:cxn>
              <a:cxn ang="0">
                <a:pos x="connsiteX35042" y="connsiteY35042"/>
              </a:cxn>
              <a:cxn ang="0">
                <a:pos x="connsiteX35043" y="connsiteY35043"/>
              </a:cxn>
              <a:cxn ang="0">
                <a:pos x="connsiteX35044" y="connsiteY35044"/>
              </a:cxn>
              <a:cxn ang="0">
                <a:pos x="connsiteX35045" y="connsiteY35045"/>
              </a:cxn>
              <a:cxn ang="0">
                <a:pos x="connsiteX35046" y="connsiteY35046"/>
              </a:cxn>
              <a:cxn ang="0">
                <a:pos x="connsiteX35047" y="connsiteY35047"/>
              </a:cxn>
              <a:cxn ang="0">
                <a:pos x="connsiteX35048" y="connsiteY35048"/>
              </a:cxn>
              <a:cxn ang="0">
                <a:pos x="connsiteX35049" y="connsiteY35049"/>
              </a:cxn>
              <a:cxn ang="0">
                <a:pos x="connsiteX35050" y="connsiteY35050"/>
              </a:cxn>
              <a:cxn ang="0">
                <a:pos x="connsiteX35051" y="connsiteY35051"/>
              </a:cxn>
              <a:cxn ang="0">
                <a:pos x="connsiteX35052" y="connsiteY35052"/>
              </a:cxn>
              <a:cxn ang="0">
                <a:pos x="connsiteX35053" y="connsiteY35053"/>
              </a:cxn>
              <a:cxn ang="0">
                <a:pos x="connsiteX35054" y="connsiteY35054"/>
              </a:cxn>
              <a:cxn ang="0">
                <a:pos x="connsiteX35055" y="connsiteY35055"/>
              </a:cxn>
              <a:cxn ang="0">
                <a:pos x="connsiteX35056" y="connsiteY35056"/>
              </a:cxn>
              <a:cxn ang="0">
                <a:pos x="connsiteX35057" y="connsiteY35057"/>
              </a:cxn>
              <a:cxn ang="0">
                <a:pos x="connsiteX35058" y="connsiteY35058"/>
              </a:cxn>
              <a:cxn ang="0">
                <a:pos x="connsiteX35059" y="connsiteY35059"/>
              </a:cxn>
              <a:cxn ang="0">
                <a:pos x="connsiteX35060" y="connsiteY35060"/>
              </a:cxn>
              <a:cxn ang="0">
                <a:pos x="connsiteX35061" y="connsiteY35061"/>
              </a:cxn>
              <a:cxn ang="0">
                <a:pos x="connsiteX35062" y="connsiteY35062"/>
              </a:cxn>
              <a:cxn ang="0">
                <a:pos x="connsiteX35063" y="connsiteY35063"/>
              </a:cxn>
              <a:cxn ang="0">
                <a:pos x="connsiteX35064" y="connsiteY35064"/>
              </a:cxn>
              <a:cxn ang="0">
                <a:pos x="connsiteX35065" y="connsiteY35065"/>
              </a:cxn>
              <a:cxn ang="0">
                <a:pos x="connsiteX35066" y="connsiteY35066"/>
              </a:cxn>
              <a:cxn ang="0">
                <a:pos x="connsiteX35067" y="connsiteY35067"/>
              </a:cxn>
              <a:cxn ang="0">
                <a:pos x="connsiteX35068" y="connsiteY35068"/>
              </a:cxn>
              <a:cxn ang="0">
                <a:pos x="connsiteX35069" y="connsiteY35069"/>
              </a:cxn>
              <a:cxn ang="0">
                <a:pos x="connsiteX35070" y="connsiteY35070"/>
              </a:cxn>
              <a:cxn ang="0">
                <a:pos x="connsiteX35071" y="connsiteY35071"/>
              </a:cxn>
              <a:cxn ang="0">
                <a:pos x="connsiteX35072" y="connsiteY35072"/>
              </a:cxn>
              <a:cxn ang="0">
                <a:pos x="connsiteX35073" y="connsiteY35073"/>
              </a:cxn>
              <a:cxn ang="0">
                <a:pos x="connsiteX35074" y="connsiteY35074"/>
              </a:cxn>
              <a:cxn ang="0">
                <a:pos x="connsiteX35075" y="connsiteY35075"/>
              </a:cxn>
              <a:cxn ang="0">
                <a:pos x="connsiteX35076" y="connsiteY35076"/>
              </a:cxn>
              <a:cxn ang="0">
                <a:pos x="connsiteX35077" y="connsiteY35077"/>
              </a:cxn>
              <a:cxn ang="0">
                <a:pos x="connsiteX35078" y="connsiteY35078"/>
              </a:cxn>
              <a:cxn ang="0">
                <a:pos x="connsiteX35079" y="connsiteY35079"/>
              </a:cxn>
              <a:cxn ang="0">
                <a:pos x="connsiteX35080" y="connsiteY35080"/>
              </a:cxn>
              <a:cxn ang="0">
                <a:pos x="connsiteX35081" y="connsiteY35081"/>
              </a:cxn>
              <a:cxn ang="0">
                <a:pos x="connsiteX35082" y="connsiteY35082"/>
              </a:cxn>
              <a:cxn ang="0">
                <a:pos x="connsiteX35083" y="connsiteY35083"/>
              </a:cxn>
              <a:cxn ang="0">
                <a:pos x="connsiteX35084" y="connsiteY35084"/>
              </a:cxn>
              <a:cxn ang="0">
                <a:pos x="connsiteX35085" y="connsiteY35085"/>
              </a:cxn>
              <a:cxn ang="0">
                <a:pos x="connsiteX35086" y="connsiteY35086"/>
              </a:cxn>
              <a:cxn ang="0">
                <a:pos x="connsiteX35087" y="connsiteY35087"/>
              </a:cxn>
              <a:cxn ang="0">
                <a:pos x="connsiteX35088" y="connsiteY35088"/>
              </a:cxn>
              <a:cxn ang="0">
                <a:pos x="connsiteX35089" y="connsiteY35089"/>
              </a:cxn>
              <a:cxn ang="0">
                <a:pos x="connsiteX35090" y="connsiteY35090"/>
              </a:cxn>
              <a:cxn ang="0">
                <a:pos x="connsiteX35091" y="connsiteY35091"/>
              </a:cxn>
              <a:cxn ang="0">
                <a:pos x="connsiteX35092" y="connsiteY35092"/>
              </a:cxn>
              <a:cxn ang="0">
                <a:pos x="connsiteX35093" y="connsiteY35093"/>
              </a:cxn>
              <a:cxn ang="0">
                <a:pos x="connsiteX35094" y="connsiteY35094"/>
              </a:cxn>
              <a:cxn ang="0">
                <a:pos x="connsiteX35095" y="connsiteY35095"/>
              </a:cxn>
              <a:cxn ang="0">
                <a:pos x="connsiteX35096" y="connsiteY35096"/>
              </a:cxn>
              <a:cxn ang="0">
                <a:pos x="connsiteX35097" y="connsiteY35097"/>
              </a:cxn>
              <a:cxn ang="0">
                <a:pos x="connsiteX35098" y="connsiteY35098"/>
              </a:cxn>
              <a:cxn ang="0">
                <a:pos x="connsiteX35099" y="connsiteY35099"/>
              </a:cxn>
              <a:cxn ang="0">
                <a:pos x="connsiteX35100" y="connsiteY35100"/>
              </a:cxn>
              <a:cxn ang="0">
                <a:pos x="connsiteX35101" y="connsiteY35101"/>
              </a:cxn>
              <a:cxn ang="0">
                <a:pos x="connsiteX35102" y="connsiteY35102"/>
              </a:cxn>
              <a:cxn ang="0">
                <a:pos x="connsiteX35103" y="connsiteY35103"/>
              </a:cxn>
              <a:cxn ang="0">
                <a:pos x="connsiteX35104" y="connsiteY35104"/>
              </a:cxn>
              <a:cxn ang="0">
                <a:pos x="connsiteX35105" y="connsiteY35105"/>
              </a:cxn>
              <a:cxn ang="0">
                <a:pos x="connsiteX35106" y="connsiteY35106"/>
              </a:cxn>
              <a:cxn ang="0">
                <a:pos x="connsiteX35107" y="connsiteY35107"/>
              </a:cxn>
              <a:cxn ang="0">
                <a:pos x="connsiteX35108" y="connsiteY35108"/>
              </a:cxn>
              <a:cxn ang="0">
                <a:pos x="connsiteX35109" y="connsiteY35109"/>
              </a:cxn>
              <a:cxn ang="0">
                <a:pos x="connsiteX35110" y="connsiteY35110"/>
              </a:cxn>
              <a:cxn ang="0">
                <a:pos x="connsiteX35111" y="connsiteY35111"/>
              </a:cxn>
              <a:cxn ang="0">
                <a:pos x="connsiteX35112" y="connsiteY35112"/>
              </a:cxn>
              <a:cxn ang="0">
                <a:pos x="connsiteX35113" y="connsiteY35113"/>
              </a:cxn>
              <a:cxn ang="0">
                <a:pos x="connsiteX35114" y="connsiteY35114"/>
              </a:cxn>
              <a:cxn ang="0">
                <a:pos x="connsiteX35115" y="connsiteY35115"/>
              </a:cxn>
              <a:cxn ang="0">
                <a:pos x="connsiteX35116" y="connsiteY35116"/>
              </a:cxn>
              <a:cxn ang="0">
                <a:pos x="connsiteX35117" y="connsiteY35117"/>
              </a:cxn>
              <a:cxn ang="0">
                <a:pos x="connsiteX35118" y="connsiteY35118"/>
              </a:cxn>
              <a:cxn ang="0">
                <a:pos x="connsiteX35119" y="connsiteY35119"/>
              </a:cxn>
              <a:cxn ang="0">
                <a:pos x="connsiteX35120" y="connsiteY35120"/>
              </a:cxn>
              <a:cxn ang="0">
                <a:pos x="connsiteX35121" y="connsiteY35121"/>
              </a:cxn>
              <a:cxn ang="0">
                <a:pos x="connsiteX35122" y="connsiteY35122"/>
              </a:cxn>
              <a:cxn ang="0">
                <a:pos x="connsiteX35123" y="connsiteY35123"/>
              </a:cxn>
              <a:cxn ang="0">
                <a:pos x="connsiteX35124" y="connsiteY35124"/>
              </a:cxn>
              <a:cxn ang="0">
                <a:pos x="connsiteX35125" y="connsiteY35125"/>
              </a:cxn>
              <a:cxn ang="0">
                <a:pos x="connsiteX35126" y="connsiteY35126"/>
              </a:cxn>
              <a:cxn ang="0">
                <a:pos x="connsiteX35127" y="connsiteY35127"/>
              </a:cxn>
              <a:cxn ang="0">
                <a:pos x="connsiteX35128" y="connsiteY35128"/>
              </a:cxn>
              <a:cxn ang="0">
                <a:pos x="connsiteX35129" y="connsiteY35129"/>
              </a:cxn>
              <a:cxn ang="0">
                <a:pos x="connsiteX35130" y="connsiteY35130"/>
              </a:cxn>
              <a:cxn ang="0">
                <a:pos x="connsiteX35131" y="connsiteY35131"/>
              </a:cxn>
              <a:cxn ang="0">
                <a:pos x="connsiteX35132" y="connsiteY35132"/>
              </a:cxn>
              <a:cxn ang="0">
                <a:pos x="connsiteX35133" y="connsiteY35133"/>
              </a:cxn>
              <a:cxn ang="0">
                <a:pos x="connsiteX35134" y="connsiteY35134"/>
              </a:cxn>
              <a:cxn ang="0">
                <a:pos x="connsiteX35135" y="connsiteY35135"/>
              </a:cxn>
              <a:cxn ang="0">
                <a:pos x="connsiteX35136" y="connsiteY35136"/>
              </a:cxn>
              <a:cxn ang="0">
                <a:pos x="connsiteX35137" y="connsiteY35137"/>
              </a:cxn>
              <a:cxn ang="0">
                <a:pos x="connsiteX35138" y="connsiteY35138"/>
              </a:cxn>
              <a:cxn ang="0">
                <a:pos x="connsiteX35139" y="connsiteY35139"/>
              </a:cxn>
              <a:cxn ang="0">
                <a:pos x="connsiteX35140" y="connsiteY35140"/>
              </a:cxn>
              <a:cxn ang="0">
                <a:pos x="connsiteX35141" y="connsiteY35141"/>
              </a:cxn>
              <a:cxn ang="0">
                <a:pos x="connsiteX35142" y="connsiteY35142"/>
              </a:cxn>
              <a:cxn ang="0">
                <a:pos x="connsiteX35143" y="connsiteY35143"/>
              </a:cxn>
              <a:cxn ang="0">
                <a:pos x="connsiteX35144" y="connsiteY35144"/>
              </a:cxn>
              <a:cxn ang="0">
                <a:pos x="connsiteX35145" y="connsiteY35145"/>
              </a:cxn>
              <a:cxn ang="0">
                <a:pos x="connsiteX35146" y="connsiteY35146"/>
              </a:cxn>
              <a:cxn ang="0">
                <a:pos x="connsiteX35147" y="connsiteY35147"/>
              </a:cxn>
              <a:cxn ang="0">
                <a:pos x="connsiteX35148" y="connsiteY35148"/>
              </a:cxn>
              <a:cxn ang="0">
                <a:pos x="connsiteX35149" y="connsiteY35149"/>
              </a:cxn>
              <a:cxn ang="0">
                <a:pos x="connsiteX35150" y="connsiteY35150"/>
              </a:cxn>
              <a:cxn ang="0">
                <a:pos x="connsiteX35151" y="connsiteY35151"/>
              </a:cxn>
              <a:cxn ang="0">
                <a:pos x="connsiteX35152" y="connsiteY35152"/>
              </a:cxn>
              <a:cxn ang="0">
                <a:pos x="connsiteX35153" y="connsiteY35153"/>
              </a:cxn>
              <a:cxn ang="0">
                <a:pos x="connsiteX35154" y="connsiteY35154"/>
              </a:cxn>
              <a:cxn ang="0">
                <a:pos x="connsiteX35155" y="connsiteY35155"/>
              </a:cxn>
              <a:cxn ang="0">
                <a:pos x="connsiteX35156" y="connsiteY35156"/>
              </a:cxn>
              <a:cxn ang="0">
                <a:pos x="connsiteX35157" y="connsiteY35157"/>
              </a:cxn>
              <a:cxn ang="0">
                <a:pos x="connsiteX35158" y="connsiteY35158"/>
              </a:cxn>
              <a:cxn ang="0">
                <a:pos x="connsiteX35159" y="connsiteY35159"/>
              </a:cxn>
              <a:cxn ang="0">
                <a:pos x="connsiteX35160" y="connsiteY35160"/>
              </a:cxn>
              <a:cxn ang="0">
                <a:pos x="connsiteX35161" y="connsiteY35161"/>
              </a:cxn>
              <a:cxn ang="0">
                <a:pos x="connsiteX35162" y="connsiteY35162"/>
              </a:cxn>
              <a:cxn ang="0">
                <a:pos x="connsiteX35163" y="connsiteY35163"/>
              </a:cxn>
              <a:cxn ang="0">
                <a:pos x="connsiteX35164" y="connsiteY35164"/>
              </a:cxn>
              <a:cxn ang="0">
                <a:pos x="connsiteX35165" y="connsiteY35165"/>
              </a:cxn>
              <a:cxn ang="0">
                <a:pos x="connsiteX35166" y="connsiteY35166"/>
              </a:cxn>
              <a:cxn ang="0">
                <a:pos x="connsiteX35167" y="connsiteY35167"/>
              </a:cxn>
              <a:cxn ang="0">
                <a:pos x="connsiteX35168" y="connsiteY35168"/>
              </a:cxn>
              <a:cxn ang="0">
                <a:pos x="connsiteX35169" y="connsiteY35169"/>
              </a:cxn>
              <a:cxn ang="0">
                <a:pos x="connsiteX35170" y="connsiteY35170"/>
              </a:cxn>
              <a:cxn ang="0">
                <a:pos x="connsiteX35171" y="connsiteY35171"/>
              </a:cxn>
              <a:cxn ang="0">
                <a:pos x="connsiteX35172" y="connsiteY35172"/>
              </a:cxn>
              <a:cxn ang="0">
                <a:pos x="connsiteX35173" y="connsiteY35173"/>
              </a:cxn>
              <a:cxn ang="0">
                <a:pos x="connsiteX35174" y="connsiteY35174"/>
              </a:cxn>
              <a:cxn ang="0">
                <a:pos x="connsiteX35175" y="connsiteY35175"/>
              </a:cxn>
              <a:cxn ang="0">
                <a:pos x="connsiteX35176" y="connsiteY35176"/>
              </a:cxn>
              <a:cxn ang="0">
                <a:pos x="connsiteX35177" y="connsiteY35177"/>
              </a:cxn>
              <a:cxn ang="0">
                <a:pos x="connsiteX35178" y="connsiteY35178"/>
              </a:cxn>
              <a:cxn ang="0">
                <a:pos x="connsiteX35179" y="connsiteY35179"/>
              </a:cxn>
              <a:cxn ang="0">
                <a:pos x="connsiteX35180" y="connsiteY35180"/>
              </a:cxn>
              <a:cxn ang="0">
                <a:pos x="connsiteX35181" y="connsiteY35181"/>
              </a:cxn>
              <a:cxn ang="0">
                <a:pos x="connsiteX35182" y="connsiteY35182"/>
              </a:cxn>
              <a:cxn ang="0">
                <a:pos x="connsiteX35183" y="connsiteY35183"/>
              </a:cxn>
              <a:cxn ang="0">
                <a:pos x="connsiteX35184" y="connsiteY35184"/>
              </a:cxn>
              <a:cxn ang="0">
                <a:pos x="connsiteX35185" y="connsiteY35185"/>
              </a:cxn>
              <a:cxn ang="0">
                <a:pos x="connsiteX35186" y="connsiteY35186"/>
              </a:cxn>
              <a:cxn ang="0">
                <a:pos x="connsiteX35187" y="connsiteY35187"/>
              </a:cxn>
              <a:cxn ang="0">
                <a:pos x="connsiteX35188" y="connsiteY35188"/>
              </a:cxn>
              <a:cxn ang="0">
                <a:pos x="connsiteX35189" y="connsiteY35189"/>
              </a:cxn>
              <a:cxn ang="0">
                <a:pos x="connsiteX35190" y="connsiteY35190"/>
              </a:cxn>
              <a:cxn ang="0">
                <a:pos x="connsiteX35191" y="connsiteY35191"/>
              </a:cxn>
              <a:cxn ang="0">
                <a:pos x="connsiteX35192" y="connsiteY35192"/>
              </a:cxn>
              <a:cxn ang="0">
                <a:pos x="connsiteX35193" y="connsiteY35193"/>
              </a:cxn>
              <a:cxn ang="0">
                <a:pos x="connsiteX35194" y="connsiteY35194"/>
              </a:cxn>
              <a:cxn ang="0">
                <a:pos x="connsiteX35195" y="connsiteY35195"/>
              </a:cxn>
              <a:cxn ang="0">
                <a:pos x="connsiteX35196" y="connsiteY35196"/>
              </a:cxn>
              <a:cxn ang="0">
                <a:pos x="connsiteX35197" y="connsiteY35197"/>
              </a:cxn>
              <a:cxn ang="0">
                <a:pos x="connsiteX35198" y="connsiteY35198"/>
              </a:cxn>
              <a:cxn ang="0">
                <a:pos x="connsiteX35199" y="connsiteY35199"/>
              </a:cxn>
              <a:cxn ang="0">
                <a:pos x="connsiteX35200" y="connsiteY35200"/>
              </a:cxn>
              <a:cxn ang="0">
                <a:pos x="connsiteX35201" y="connsiteY35201"/>
              </a:cxn>
              <a:cxn ang="0">
                <a:pos x="connsiteX35202" y="connsiteY35202"/>
              </a:cxn>
              <a:cxn ang="0">
                <a:pos x="connsiteX35203" y="connsiteY35203"/>
              </a:cxn>
              <a:cxn ang="0">
                <a:pos x="connsiteX35204" y="connsiteY35204"/>
              </a:cxn>
              <a:cxn ang="0">
                <a:pos x="connsiteX35205" y="connsiteY35205"/>
              </a:cxn>
              <a:cxn ang="0">
                <a:pos x="connsiteX35206" y="connsiteY35206"/>
              </a:cxn>
              <a:cxn ang="0">
                <a:pos x="connsiteX35207" y="connsiteY35207"/>
              </a:cxn>
              <a:cxn ang="0">
                <a:pos x="connsiteX35208" y="connsiteY35208"/>
              </a:cxn>
              <a:cxn ang="0">
                <a:pos x="connsiteX35209" y="connsiteY35209"/>
              </a:cxn>
              <a:cxn ang="0">
                <a:pos x="connsiteX35210" y="connsiteY35210"/>
              </a:cxn>
              <a:cxn ang="0">
                <a:pos x="connsiteX35211" y="connsiteY35211"/>
              </a:cxn>
              <a:cxn ang="0">
                <a:pos x="connsiteX35212" y="connsiteY35212"/>
              </a:cxn>
              <a:cxn ang="0">
                <a:pos x="connsiteX35213" y="connsiteY35213"/>
              </a:cxn>
              <a:cxn ang="0">
                <a:pos x="connsiteX35214" y="connsiteY35214"/>
              </a:cxn>
              <a:cxn ang="0">
                <a:pos x="connsiteX35215" y="connsiteY35215"/>
              </a:cxn>
              <a:cxn ang="0">
                <a:pos x="connsiteX35216" y="connsiteY35216"/>
              </a:cxn>
              <a:cxn ang="0">
                <a:pos x="connsiteX35217" y="connsiteY35217"/>
              </a:cxn>
              <a:cxn ang="0">
                <a:pos x="connsiteX35218" y="connsiteY35218"/>
              </a:cxn>
              <a:cxn ang="0">
                <a:pos x="connsiteX35219" y="connsiteY35219"/>
              </a:cxn>
              <a:cxn ang="0">
                <a:pos x="connsiteX35220" y="connsiteY35220"/>
              </a:cxn>
              <a:cxn ang="0">
                <a:pos x="connsiteX35221" y="connsiteY35221"/>
              </a:cxn>
              <a:cxn ang="0">
                <a:pos x="connsiteX35222" y="connsiteY35222"/>
              </a:cxn>
              <a:cxn ang="0">
                <a:pos x="connsiteX35223" y="connsiteY35223"/>
              </a:cxn>
              <a:cxn ang="0">
                <a:pos x="connsiteX35224" y="connsiteY35224"/>
              </a:cxn>
              <a:cxn ang="0">
                <a:pos x="connsiteX35225" y="connsiteY35225"/>
              </a:cxn>
              <a:cxn ang="0">
                <a:pos x="connsiteX35226" y="connsiteY35226"/>
              </a:cxn>
              <a:cxn ang="0">
                <a:pos x="connsiteX35227" y="connsiteY35227"/>
              </a:cxn>
              <a:cxn ang="0">
                <a:pos x="connsiteX35228" y="connsiteY35228"/>
              </a:cxn>
              <a:cxn ang="0">
                <a:pos x="connsiteX35229" y="connsiteY35229"/>
              </a:cxn>
              <a:cxn ang="0">
                <a:pos x="connsiteX35230" y="connsiteY35230"/>
              </a:cxn>
              <a:cxn ang="0">
                <a:pos x="connsiteX35231" y="connsiteY35231"/>
              </a:cxn>
              <a:cxn ang="0">
                <a:pos x="connsiteX35232" y="connsiteY35232"/>
              </a:cxn>
              <a:cxn ang="0">
                <a:pos x="connsiteX35233" y="connsiteY35233"/>
              </a:cxn>
              <a:cxn ang="0">
                <a:pos x="connsiteX35234" y="connsiteY35234"/>
              </a:cxn>
              <a:cxn ang="0">
                <a:pos x="connsiteX35235" y="connsiteY35235"/>
              </a:cxn>
              <a:cxn ang="0">
                <a:pos x="connsiteX35236" y="connsiteY35236"/>
              </a:cxn>
              <a:cxn ang="0">
                <a:pos x="connsiteX35237" y="connsiteY35237"/>
              </a:cxn>
              <a:cxn ang="0">
                <a:pos x="connsiteX35238" y="connsiteY35238"/>
              </a:cxn>
              <a:cxn ang="0">
                <a:pos x="connsiteX35239" y="connsiteY35239"/>
              </a:cxn>
              <a:cxn ang="0">
                <a:pos x="connsiteX35240" y="connsiteY35240"/>
              </a:cxn>
              <a:cxn ang="0">
                <a:pos x="connsiteX35241" y="connsiteY35241"/>
              </a:cxn>
              <a:cxn ang="0">
                <a:pos x="connsiteX35242" y="connsiteY35242"/>
              </a:cxn>
              <a:cxn ang="0">
                <a:pos x="connsiteX35243" y="connsiteY35243"/>
              </a:cxn>
              <a:cxn ang="0">
                <a:pos x="connsiteX35244" y="connsiteY35244"/>
              </a:cxn>
              <a:cxn ang="0">
                <a:pos x="connsiteX35245" y="connsiteY35245"/>
              </a:cxn>
              <a:cxn ang="0">
                <a:pos x="connsiteX35246" y="connsiteY35246"/>
              </a:cxn>
              <a:cxn ang="0">
                <a:pos x="connsiteX35247" y="connsiteY35247"/>
              </a:cxn>
              <a:cxn ang="0">
                <a:pos x="connsiteX35248" y="connsiteY35248"/>
              </a:cxn>
              <a:cxn ang="0">
                <a:pos x="connsiteX35249" y="connsiteY35249"/>
              </a:cxn>
              <a:cxn ang="0">
                <a:pos x="connsiteX35250" y="connsiteY35250"/>
              </a:cxn>
              <a:cxn ang="0">
                <a:pos x="connsiteX35251" y="connsiteY35251"/>
              </a:cxn>
              <a:cxn ang="0">
                <a:pos x="connsiteX35252" y="connsiteY35252"/>
              </a:cxn>
              <a:cxn ang="0">
                <a:pos x="connsiteX35253" y="connsiteY35253"/>
              </a:cxn>
              <a:cxn ang="0">
                <a:pos x="connsiteX35254" y="connsiteY35254"/>
              </a:cxn>
              <a:cxn ang="0">
                <a:pos x="connsiteX35255" y="connsiteY35255"/>
              </a:cxn>
              <a:cxn ang="0">
                <a:pos x="connsiteX35256" y="connsiteY35256"/>
              </a:cxn>
              <a:cxn ang="0">
                <a:pos x="connsiteX35257" y="connsiteY35257"/>
              </a:cxn>
              <a:cxn ang="0">
                <a:pos x="connsiteX35258" y="connsiteY35258"/>
              </a:cxn>
              <a:cxn ang="0">
                <a:pos x="connsiteX35259" y="connsiteY35259"/>
              </a:cxn>
              <a:cxn ang="0">
                <a:pos x="connsiteX35260" y="connsiteY35260"/>
              </a:cxn>
              <a:cxn ang="0">
                <a:pos x="connsiteX35261" y="connsiteY35261"/>
              </a:cxn>
              <a:cxn ang="0">
                <a:pos x="connsiteX35262" y="connsiteY35262"/>
              </a:cxn>
              <a:cxn ang="0">
                <a:pos x="connsiteX35263" y="connsiteY35263"/>
              </a:cxn>
              <a:cxn ang="0">
                <a:pos x="connsiteX35264" y="connsiteY35264"/>
              </a:cxn>
              <a:cxn ang="0">
                <a:pos x="connsiteX35265" y="connsiteY35265"/>
              </a:cxn>
              <a:cxn ang="0">
                <a:pos x="connsiteX35266" y="connsiteY35266"/>
              </a:cxn>
              <a:cxn ang="0">
                <a:pos x="connsiteX35267" y="connsiteY35267"/>
              </a:cxn>
              <a:cxn ang="0">
                <a:pos x="connsiteX35268" y="connsiteY35268"/>
              </a:cxn>
              <a:cxn ang="0">
                <a:pos x="connsiteX35269" y="connsiteY35269"/>
              </a:cxn>
              <a:cxn ang="0">
                <a:pos x="connsiteX35270" y="connsiteY35270"/>
              </a:cxn>
              <a:cxn ang="0">
                <a:pos x="connsiteX35271" y="connsiteY35271"/>
              </a:cxn>
              <a:cxn ang="0">
                <a:pos x="connsiteX35272" y="connsiteY35272"/>
              </a:cxn>
              <a:cxn ang="0">
                <a:pos x="connsiteX35273" y="connsiteY35273"/>
              </a:cxn>
              <a:cxn ang="0">
                <a:pos x="connsiteX35274" y="connsiteY35274"/>
              </a:cxn>
              <a:cxn ang="0">
                <a:pos x="connsiteX35275" y="connsiteY35275"/>
              </a:cxn>
              <a:cxn ang="0">
                <a:pos x="connsiteX35276" y="connsiteY35276"/>
              </a:cxn>
              <a:cxn ang="0">
                <a:pos x="connsiteX35277" y="connsiteY35277"/>
              </a:cxn>
              <a:cxn ang="0">
                <a:pos x="connsiteX35278" y="connsiteY35278"/>
              </a:cxn>
              <a:cxn ang="0">
                <a:pos x="connsiteX35279" y="connsiteY35279"/>
              </a:cxn>
              <a:cxn ang="0">
                <a:pos x="connsiteX35280" y="connsiteY35280"/>
              </a:cxn>
              <a:cxn ang="0">
                <a:pos x="connsiteX35281" y="connsiteY35281"/>
              </a:cxn>
              <a:cxn ang="0">
                <a:pos x="connsiteX35282" y="connsiteY35282"/>
              </a:cxn>
              <a:cxn ang="0">
                <a:pos x="connsiteX35283" y="connsiteY35283"/>
              </a:cxn>
              <a:cxn ang="0">
                <a:pos x="connsiteX35284" y="connsiteY35284"/>
              </a:cxn>
              <a:cxn ang="0">
                <a:pos x="connsiteX35285" y="connsiteY35285"/>
              </a:cxn>
              <a:cxn ang="0">
                <a:pos x="connsiteX35286" y="connsiteY35286"/>
              </a:cxn>
              <a:cxn ang="0">
                <a:pos x="connsiteX35287" y="connsiteY35287"/>
              </a:cxn>
              <a:cxn ang="0">
                <a:pos x="connsiteX35288" y="connsiteY35288"/>
              </a:cxn>
              <a:cxn ang="0">
                <a:pos x="connsiteX35289" y="connsiteY35289"/>
              </a:cxn>
              <a:cxn ang="0">
                <a:pos x="connsiteX35290" y="connsiteY35290"/>
              </a:cxn>
              <a:cxn ang="0">
                <a:pos x="connsiteX35291" y="connsiteY35291"/>
              </a:cxn>
              <a:cxn ang="0">
                <a:pos x="connsiteX35292" y="connsiteY35292"/>
              </a:cxn>
              <a:cxn ang="0">
                <a:pos x="connsiteX35293" y="connsiteY35293"/>
              </a:cxn>
              <a:cxn ang="0">
                <a:pos x="connsiteX35294" y="connsiteY35294"/>
              </a:cxn>
              <a:cxn ang="0">
                <a:pos x="connsiteX35295" y="connsiteY35295"/>
              </a:cxn>
              <a:cxn ang="0">
                <a:pos x="connsiteX35296" y="connsiteY35296"/>
              </a:cxn>
              <a:cxn ang="0">
                <a:pos x="connsiteX35297" y="connsiteY35297"/>
              </a:cxn>
              <a:cxn ang="0">
                <a:pos x="connsiteX35298" y="connsiteY35298"/>
              </a:cxn>
              <a:cxn ang="0">
                <a:pos x="connsiteX35299" y="connsiteY35299"/>
              </a:cxn>
              <a:cxn ang="0">
                <a:pos x="connsiteX35300" y="connsiteY35300"/>
              </a:cxn>
              <a:cxn ang="0">
                <a:pos x="connsiteX35301" y="connsiteY35301"/>
              </a:cxn>
              <a:cxn ang="0">
                <a:pos x="connsiteX35302" y="connsiteY35302"/>
              </a:cxn>
              <a:cxn ang="0">
                <a:pos x="connsiteX35303" y="connsiteY35303"/>
              </a:cxn>
              <a:cxn ang="0">
                <a:pos x="connsiteX35304" y="connsiteY35304"/>
              </a:cxn>
              <a:cxn ang="0">
                <a:pos x="connsiteX35305" y="connsiteY35305"/>
              </a:cxn>
              <a:cxn ang="0">
                <a:pos x="connsiteX35306" y="connsiteY35306"/>
              </a:cxn>
              <a:cxn ang="0">
                <a:pos x="connsiteX35307" y="connsiteY35307"/>
              </a:cxn>
              <a:cxn ang="0">
                <a:pos x="connsiteX35308" y="connsiteY35308"/>
              </a:cxn>
              <a:cxn ang="0">
                <a:pos x="connsiteX35309" y="connsiteY35309"/>
              </a:cxn>
              <a:cxn ang="0">
                <a:pos x="connsiteX35310" y="connsiteY35310"/>
              </a:cxn>
              <a:cxn ang="0">
                <a:pos x="connsiteX35311" y="connsiteY35311"/>
              </a:cxn>
              <a:cxn ang="0">
                <a:pos x="connsiteX35312" y="connsiteY35312"/>
              </a:cxn>
              <a:cxn ang="0">
                <a:pos x="connsiteX35313" y="connsiteY35313"/>
              </a:cxn>
              <a:cxn ang="0">
                <a:pos x="connsiteX35314" y="connsiteY35314"/>
              </a:cxn>
              <a:cxn ang="0">
                <a:pos x="connsiteX35315" y="connsiteY35315"/>
              </a:cxn>
              <a:cxn ang="0">
                <a:pos x="connsiteX35316" y="connsiteY35316"/>
              </a:cxn>
              <a:cxn ang="0">
                <a:pos x="connsiteX35317" y="connsiteY35317"/>
              </a:cxn>
              <a:cxn ang="0">
                <a:pos x="connsiteX35318" y="connsiteY35318"/>
              </a:cxn>
              <a:cxn ang="0">
                <a:pos x="connsiteX35319" y="connsiteY35319"/>
              </a:cxn>
              <a:cxn ang="0">
                <a:pos x="connsiteX35320" y="connsiteY35320"/>
              </a:cxn>
              <a:cxn ang="0">
                <a:pos x="connsiteX35321" y="connsiteY35321"/>
              </a:cxn>
              <a:cxn ang="0">
                <a:pos x="connsiteX35322" y="connsiteY35322"/>
              </a:cxn>
              <a:cxn ang="0">
                <a:pos x="connsiteX35323" y="connsiteY35323"/>
              </a:cxn>
              <a:cxn ang="0">
                <a:pos x="connsiteX35324" y="connsiteY35324"/>
              </a:cxn>
              <a:cxn ang="0">
                <a:pos x="connsiteX35325" y="connsiteY35325"/>
              </a:cxn>
              <a:cxn ang="0">
                <a:pos x="connsiteX35326" y="connsiteY35326"/>
              </a:cxn>
              <a:cxn ang="0">
                <a:pos x="connsiteX35327" y="connsiteY35327"/>
              </a:cxn>
              <a:cxn ang="0">
                <a:pos x="connsiteX35328" y="connsiteY35328"/>
              </a:cxn>
              <a:cxn ang="0">
                <a:pos x="connsiteX35329" y="connsiteY35329"/>
              </a:cxn>
              <a:cxn ang="0">
                <a:pos x="connsiteX35330" y="connsiteY35330"/>
              </a:cxn>
              <a:cxn ang="0">
                <a:pos x="connsiteX35331" y="connsiteY35331"/>
              </a:cxn>
              <a:cxn ang="0">
                <a:pos x="connsiteX35332" y="connsiteY35332"/>
              </a:cxn>
              <a:cxn ang="0">
                <a:pos x="connsiteX35333" y="connsiteY35333"/>
              </a:cxn>
              <a:cxn ang="0">
                <a:pos x="connsiteX35334" y="connsiteY35334"/>
              </a:cxn>
              <a:cxn ang="0">
                <a:pos x="connsiteX35335" y="connsiteY35335"/>
              </a:cxn>
              <a:cxn ang="0">
                <a:pos x="connsiteX35336" y="connsiteY35336"/>
              </a:cxn>
              <a:cxn ang="0">
                <a:pos x="connsiteX35337" y="connsiteY35337"/>
              </a:cxn>
              <a:cxn ang="0">
                <a:pos x="connsiteX35338" y="connsiteY35338"/>
              </a:cxn>
              <a:cxn ang="0">
                <a:pos x="connsiteX35339" y="connsiteY35339"/>
              </a:cxn>
              <a:cxn ang="0">
                <a:pos x="connsiteX35340" y="connsiteY35340"/>
              </a:cxn>
              <a:cxn ang="0">
                <a:pos x="connsiteX35341" y="connsiteY35341"/>
              </a:cxn>
              <a:cxn ang="0">
                <a:pos x="connsiteX35342" y="connsiteY35342"/>
              </a:cxn>
              <a:cxn ang="0">
                <a:pos x="connsiteX35343" y="connsiteY35343"/>
              </a:cxn>
              <a:cxn ang="0">
                <a:pos x="connsiteX35344" y="connsiteY35344"/>
              </a:cxn>
              <a:cxn ang="0">
                <a:pos x="connsiteX35345" y="connsiteY35345"/>
              </a:cxn>
              <a:cxn ang="0">
                <a:pos x="connsiteX35346" y="connsiteY35346"/>
              </a:cxn>
              <a:cxn ang="0">
                <a:pos x="connsiteX35347" y="connsiteY35347"/>
              </a:cxn>
              <a:cxn ang="0">
                <a:pos x="connsiteX35348" y="connsiteY35348"/>
              </a:cxn>
              <a:cxn ang="0">
                <a:pos x="connsiteX35349" y="connsiteY35349"/>
              </a:cxn>
              <a:cxn ang="0">
                <a:pos x="connsiteX35350" y="connsiteY35350"/>
              </a:cxn>
              <a:cxn ang="0">
                <a:pos x="connsiteX35351" y="connsiteY35351"/>
              </a:cxn>
              <a:cxn ang="0">
                <a:pos x="connsiteX35352" y="connsiteY35352"/>
              </a:cxn>
              <a:cxn ang="0">
                <a:pos x="connsiteX35353" y="connsiteY35353"/>
              </a:cxn>
              <a:cxn ang="0">
                <a:pos x="connsiteX35354" y="connsiteY35354"/>
              </a:cxn>
              <a:cxn ang="0">
                <a:pos x="connsiteX35355" y="connsiteY35355"/>
              </a:cxn>
              <a:cxn ang="0">
                <a:pos x="connsiteX35356" y="connsiteY35356"/>
              </a:cxn>
              <a:cxn ang="0">
                <a:pos x="connsiteX35357" y="connsiteY35357"/>
              </a:cxn>
              <a:cxn ang="0">
                <a:pos x="connsiteX35358" y="connsiteY35358"/>
              </a:cxn>
              <a:cxn ang="0">
                <a:pos x="connsiteX35359" y="connsiteY35359"/>
              </a:cxn>
              <a:cxn ang="0">
                <a:pos x="connsiteX35360" y="connsiteY35360"/>
              </a:cxn>
              <a:cxn ang="0">
                <a:pos x="connsiteX35361" y="connsiteY35361"/>
              </a:cxn>
              <a:cxn ang="0">
                <a:pos x="connsiteX35362" y="connsiteY35362"/>
              </a:cxn>
              <a:cxn ang="0">
                <a:pos x="connsiteX35363" y="connsiteY35363"/>
              </a:cxn>
              <a:cxn ang="0">
                <a:pos x="connsiteX35364" y="connsiteY35364"/>
              </a:cxn>
              <a:cxn ang="0">
                <a:pos x="connsiteX35365" y="connsiteY35365"/>
              </a:cxn>
              <a:cxn ang="0">
                <a:pos x="connsiteX35366" y="connsiteY35366"/>
              </a:cxn>
              <a:cxn ang="0">
                <a:pos x="connsiteX35367" y="connsiteY35367"/>
              </a:cxn>
              <a:cxn ang="0">
                <a:pos x="connsiteX35368" y="connsiteY35368"/>
              </a:cxn>
              <a:cxn ang="0">
                <a:pos x="connsiteX35369" y="connsiteY35369"/>
              </a:cxn>
              <a:cxn ang="0">
                <a:pos x="connsiteX35370" y="connsiteY35370"/>
              </a:cxn>
              <a:cxn ang="0">
                <a:pos x="connsiteX35371" y="connsiteY35371"/>
              </a:cxn>
              <a:cxn ang="0">
                <a:pos x="connsiteX35372" y="connsiteY35372"/>
              </a:cxn>
              <a:cxn ang="0">
                <a:pos x="connsiteX35373" y="connsiteY35373"/>
              </a:cxn>
              <a:cxn ang="0">
                <a:pos x="connsiteX35374" y="connsiteY35374"/>
              </a:cxn>
              <a:cxn ang="0">
                <a:pos x="connsiteX35375" y="connsiteY35375"/>
              </a:cxn>
              <a:cxn ang="0">
                <a:pos x="connsiteX35376" y="connsiteY35376"/>
              </a:cxn>
              <a:cxn ang="0">
                <a:pos x="connsiteX35377" y="connsiteY35377"/>
              </a:cxn>
              <a:cxn ang="0">
                <a:pos x="connsiteX35378" y="connsiteY35378"/>
              </a:cxn>
              <a:cxn ang="0">
                <a:pos x="connsiteX35379" y="connsiteY35379"/>
              </a:cxn>
              <a:cxn ang="0">
                <a:pos x="connsiteX35380" y="connsiteY35380"/>
              </a:cxn>
              <a:cxn ang="0">
                <a:pos x="connsiteX35381" y="connsiteY35381"/>
              </a:cxn>
              <a:cxn ang="0">
                <a:pos x="connsiteX35382" y="connsiteY35382"/>
              </a:cxn>
              <a:cxn ang="0">
                <a:pos x="connsiteX35383" y="connsiteY35383"/>
              </a:cxn>
              <a:cxn ang="0">
                <a:pos x="connsiteX35384" y="connsiteY35384"/>
              </a:cxn>
              <a:cxn ang="0">
                <a:pos x="connsiteX35385" y="connsiteY35385"/>
              </a:cxn>
              <a:cxn ang="0">
                <a:pos x="connsiteX35386" y="connsiteY35386"/>
              </a:cxn>
              <a:cxn ang="0">
                <a:pos x="connsiteX35387" y="connsiteY35387"/>
              </a:cxn>
              <a:cxn ang="0">
                <a:pos x="connsiteX35388" y="connsiteY35388"/>
              </a:cxn>
              <a:cxn ang="0">
                <a:pos x="connsiteX35389" y="connsiteY35389"/>
              </a:cxn>
              <a:cxn ang="0">
                <a:pos x="connsiteX35390" y="connsiteY35390"/>
              </a:cxn>
              <a:cxn ang="0">
                <a:pos x="connsiteX35391" y="connsiteY35391"/>
              </a:cxn>
              <a:cxn ang="0">
                <a:pos x="connsiteX35392" y="connsiteY35392"/>
              </a:cxn>
              <a:cxn ang="0">
                <a:pos x="connsiteX35393" y="connsiteY35393"/>
              </a:cxn>
              <a:cxn ang="0">
                <a:pos x="connsiteX35394" y="connsiteY35394"/>
              </a:cxn>
              <a:cxn ang="0">
                <a:pos x="connsiteX35395" y="connsiteY35395"/>
              </a:cxn>
              <a:cxn ang="0">
                <a:pos x="connsiteX35396" y="connsiteY35396"/>
              </a:cxn>
              <a:cxn ang="0">
                <a:pos x="connsiteX35397" y="connsiteY35397"/>
              </a:cxn>
              <a:cxn ang="0">
                <a:pos x="connsiteX35398" y="connsiteY35398"/>
              </a:cxn>
              <a:cxn ang="0">
                <a:pos x="connsiteX35399" y="connsiteY35399"/>
              </a:cxn>
              <a:cxn ang="0">
                <a:pos x="connsiteX35400" y="connsiteY35400"/>
              </a:cxn>
              <a:cxn ang="0">
                <a:pos x="connsiteX35401" y="connsiteY35401"/>
              </a:cxn>
              <a:cxn ang="0">
                <a:pos x="connsiteX35402" y="connsiteY35402"/>
              </a:cxn>
              <a:cxn ang="0">
                <a:pos x="connsiteX35403" y="connsiteY35403"/>
              </a:cxn>
              <a:cxn ang="0">
                <a:pos x="connsiteX35404" y="connsiteY35404"/>
              </a:cxn>
              <a:cxn ang="0">
                <a:pos x="connsiteX35405" y="connsiteY35405"/>
              </a:cxn>
              <a:cxn ang="0">
                <a:pos x="connsiteX35406" y="connsiteY35406"/>
              </a:cxn>
              <a:cxn ang="0">
                <a:pos x="connsiteX35407" y="connsiteY35407"/>
              </a:cxn>
              <a:cxn ang="0">
                <a:pos x="connsiteX35408" y="connsiteY35408"/>
              </a:cxn>
              <a:cxn ang="0">
                <a:pos x="connsiteX35409" y="connsiteY35409"/>
              </a:cxn>
              <a:cxn ang="0">
                <a:pos x="connsiteX35410" y="connsiteY35410"/>
              </a:cxn>
              <a:cxn ang="0">
                <a:pos x="connsiteX35411" y="connsiteY35411"/>
              </a:cxn>
              <a:cxn ang="0">
                <a:pos x="connsiteX35412" y="connsiteY35412"/>
              </a:cxn>
              <a:cxn ang="0">
                <a:pos x="connsiteX35413" y="connsiteY35413"/>
              </a:cxn>
              <a:cxn ang="0">
                <a:pos x="connsiteX35414" y="connsiteY35414"/>
              </a:cxn>
              <a:cxn ang="0">
                <a:pos x="connsiteX35415" y="connsiteY35415"/>
              </a:cxn>
              <a:cxn ang="0">
                <a:pos x="connsiteX35416" y="connsiteY35416"/>
              </a:cxn>
              <a:cxn ang="0">
                <a:pos x="connsiteX35417" y="connsiteY35417"/>
              </a:cxn>
              <a:cxn ang="0">
                <a:pos x="connsiteX35418" y="connsiteY35418"/>
              </a:cxn>
              <a:cxn ang="0">
                <a:pos x="connsiteX35419" y="connsiteY35419"/>
              </a:cxn>
              <a:cxn ang="0">
                <a:pos x="connsiteX35420" y="connsiteY35420"/>
              </a:cxn>
              <a:cxn ang="0">
                <a:pos x="connsiteX35421" y="connsiteY35421"/>
              </a:cxn>
              <a:cxn ang="0">
                <a:pos x="connsiteX35422" y="connsiteY35422"/>
              </a:cxn>
              <a:cxn ang="0">
                <a:pos x="connsiteX35423" y="connsiteY35423"/>
              </a:cxn>
              <a:cxn ang="0">
                <a:pos x="connsiteX35424" y="connsiteY35424"/>
              </a:cxn>
              <a:cxn ang="0">
                <a:pos x="connsiteX35425" y="connsiteY35425"/>
              </a:cxn>
              <a:cxn ang="0">
                <a:pos x="connsiteX35426" y="connsiteY35426"/>
              </a:cxn>
              <a:cxn ang="0">
                <a:pos x="connsiteX35427" y="connsiteY35427"/>
              </a:cxn>
              <a:cxn ang="0">
                <a:pos x="connsiteX35428" y="connsiteY35428"/>
              </a:cxn>
              <a:cxn ang="0">
                <a:pos x="connsiteX35429" y="connsiteY35429"/>
              </a:cxn>
              <a:cxn ang="0">
                <a:pos x="connsiteX35430" y="connsiteY35430"/>
              </a:cxn>
              <a:cxn ang="0">
                <a:pos x="connsiteX35431" y="connsiteY35431"/>
              </a:cxn>
              <a:cxn ang="0">
                <a:pos x="connsiteX35432" y="connsiteY35432"/>
              </a:cxn>
              <a:cxn ang="0">
                <a:pos x="connsiteX35433" y="connsiteY35433"/>
              </a:cxn>
              <a:cxn ang="0">
                <a:pos x="connsiteX35434" y="connsiteY35434"/>
              </a:cxn>
              <a:cxn ang="0">
                <a:pos x="connsiteX35435" y="connsiteY35435"/>
              </a:cxn>
              <a:cxn ang="0">
                <a:pos x="connsiteX35436" y="connsiteY35436"/>
              </a:cxn>
              <a:cxn ang="0">
                <a:pos x="connsiteX35437" y="connsiteY35437"/>
              </a:cxn>
              <a:cxn ang="0">
                <a:pos x="connsiteX35438" y="connsiteY35438"/>
              </a:cxn>
              <a:cxn ang="0">
                <a:pos x="connsiteX35439" y="connsiteY35439"/>
              </a:cxn>
              <a:cxn ang="0">
                <a:pos x="connsiteX35440" y="connsiteY35440"/>
              </a:cxn>
              <a:cxn ang="0">
                <a:pos x="connsiteX35441" y="connsiteY35441"/>
              </a:cxn>
              <a:cxn ang="0">
                <a:pos x="connsiteX35442" y="connsiteY35442"/>
              </a:cxn>
              <a:cxn ang="0">
                <a:pos x="connsiteX35443" y="connsiteY35443"/>
              </a:cxn>
              <a:cxn ang="0">
                <a:pos x="connsiteX35444" y="connsiteY35444"/>
              </a:cxn>
              <a:cxn ang="0">
                <a:pos x="connsiteX35445" y="connsiteY35445"/>
              </a:cxn>
              <a:cxn ang="0">
                <a:pos x="connsiteX35446" y="connsiteY35446"/>
              </a:cxn>
              <a:cxn ang="0">
                <a:pos x="connsiteX35447" y="connsiteY35447"/>
              </a:cxn>
              <a:cxn ang="0">
                <a:pos x="connsiteX35448" y="connsiteY35448"/>
              </a:cxn>
              <a:cxn ang="0">
                <a:pos x="connsiteX35449" y="connsiteY35449"/>
              </a:cxn>
              <a:cxn ang="0">
                <a:pos x="connsiteX35450" y="connsiteY35450"/>
              </a:cxn>
              <a:cxn ang="0">
                <a:pos x="connsiteX35451" y="connsiteY35451"/>
              </a:cxn>
              <a:cxn ang="0">
                <a:pos x="connsiteX35452" y="connsiteY35452"/>
              </a:cxn>
              <a:cxn ang="0">
                <a:pos x="connsiteX35453" y="connsiteY35453"/>
              </a:cxn>
              <a:cxn ang="0">
                <a:pos x="connsiteX35454" y="connsiteY35454"/>
              </a:cxn>
              <a:cxn ang="0">
                <a:pos x="connsiteX35455" y="connsiteY35455"/>
              </a:cxn>
              <a:cxn ang="0">
                <a:pos x="connsiteX35456" y="connsiteY35456"/>
              </a:cxn>
              <a:cxn ang="0">
                <a:pos x="connsiteX35457" y="connsiteY35457"/>
              </a:cxn>
              <a:cxn ang="0">
                <a:pos x="connsiteX35458" y="connsiteY35458"/>
              </a:cxn>
              <a:cxn ang="0">
                <a:pos x="connsiteX35459" y="connsiteY35459"/>
              </a:cxn>
              <a:cxn ang="0">
                <a:pos x="connsiteX35460" y="connsiteY35460"/>
              </a:cxn>
              <a:cxn ang="0">
                <a:pos x="connsiteX35461" y="connsiteY35461"/>
              </a:cxn>
              <a:cxn ang="0">
                <a:pos x="connsiteX35462" y="connsiteY35462"/>
              </a:cxn>
              <a:cxn ang="0">
                <a:pos x="connsiteX35463" y="connsiteY35463"/>
              </a:cxn>
              <a:cxn ang="0">
                <a:pos x="connsiteX35464" y="connsiteY35464"/>
              </a:cxn>
              <a:cxn ang="0">
                <a:pos x="connsiteX35465" y="connsiteY35465"/>
              </a:cxn>
              <a:cxn ang="0">
                <a:pos x="connsiteX35466" y="connsiteY35466"/>
              </a:cxn>
              <a:cxn ang="0">
                <a:pos x="connsiteX35467" y="connsiteY35467"/>
              </a:cxn>
              <a:cxn ang="0">
                <a:pos x="connsiteX35468" y="connsiteY35468"/>
              </a:cxn>
              <a:cxn ang="0">
                <a:pos x="connsiteX35469" y="connsiteY35469"/>
              </a:cxn>
              <a:cxn ang="0">
                <a:pos x="connsiteX35470" y="connsiteY35470"/>
              </a:cxn>
              <a:cxn ang="0">
                <a:pos x="connsiteX35471" y="connsiteY35471"/>
              </a:cxn>
              <a:cxn ang="0">
                <a:pos x="connsiteX35472" y="connsiteY35472"/>
              </a:cxn>
              <a:cxn ang="0">
                <a:pos x="connsiteX35473" y="connsiteY35473"/>
              </a:cxn>
              <a:cxn ang="0">
                <a:pos x="connsiteX35474" y="connsiteY35474"/>
              </a:cxn>
              <a:cxn ang="0">
                <a:pos x="connsiteX35475" y="connsiteY35475"/>
              </a:cxn>
              <a:cxn ang="0">
                <a:pos x="connsiteX35476" y="connsiteY35476"/>
              </a:cxn>
              <a:cxn ang="0">
                <a:pos x="connsiteX35477" y="connsiteY35477"/>
              </a:cxn>
              <a:cxn ang="0">
                <a:pos x="connsiteX35478" y="connsiteY35478"/>
              </a:cxn>
              <a:cxn ang="0">
                <a:pos x="connsiteX35479" y="connsiteY35479"/>
              </a:cxn>
              <a:cxn ang="0">
                <a:pos x="connsiteX35480" y="connsiteY35480"/>
              </a:cxn>
              <a:cxn ang="0">
                <a:pos x="connsiteX35481" y="connsiteY35481"/>
              </a:cxn>
              <a:cxn ang="0">
                <a:pos x="connsiteX35482" y="connsiteY35482"/>
              </a:cxn>
              <a:cxn ang="0">
                <a:pos x="connsiteX35483" y="connsiteY35483"/>
              </a:cxn>
              <a:cxn ang="0">
                <a:pos x="connsiteX35484" y="connsiteY35484"/>
              </a:cxn>
              <a:cxn ang="0">
                <a:pos x="connsiteX35485" y="connsiteY35485"/>
              </a:cxn>
              <a:cxn ang="0">
                <a:pos x="connsiteX35486" y="connsiteY35486"/>
              </a:cxn>
              <a:cxn ang="0">
                <a:pos x="connsiteX35487" y="connsiteY35487"/>
              </a:cxn>
              <a:cxn ang="0">
                <a:pos x="connsiteX35488" y="connsiteY35488"/>
              </a:cxn>
              <a:cxn ang="0">
                <a:pos x="connsiteX35489" y="connsiteY35489"/>
              </a:cxn>
              <a:cxn ang="0">
                <a:pos x="connsiteX35490" y="connsiteY35490"/>
              </a:cxn>
              <a:cxn ang="0">
                <a:pos x="connsiteX35491" y="connsiteY35491"/>
              </a:cxn>
              <a:cxn ang="0">
                <a:pos x="connsiteX35492" y="connsiteY35492"/>
              </a:cxn>
              <a:cxn ang="0">
                <a:pos x="connsiteX35493" y="connsiteY35493"/>
              </a:cxn>
              <a:cxn ang="0">
                <a:pos x="connsiteX35494" y="connsiteY35494"/>
              </a:cxn>
              <a:cxn ang="0">
                <a:pos x="connsiteX35495" y="connsiteY35495"/>
              </a:cxn>
              <a:cxn ang="0">
                <a:pos x="connsiteX35496" y="connsiteY35496"/>
              </a:cxn>
              <a:cxn ang="0">
                <a:pos x="connsiteX35497" y="connsiteY35497"/>
              </a:cxn>
              <a:cxn ang="0">
                <a:pos x="connsiteX35498" y="connsiteY35498"/>
              </a:cxn>
              <a:cxn ang="0">
                <a:pos x="connsiteX35499" y="connsiteY35499"/>
              </a:cxn>
              <a:cxn ang="0">
                <a:pos x="connsiteX35500" y="connsiteY35500"/>
              </a:cxn>
              <a:cxn ang="0">
                <a:pos x="connsiteX35501" y="connsiteY35501"/>
              </a:cxn>
              <a:cxn ang="0">
                <a:pos x="connsiteX35502" y="connsiteY35502"/>
              </a:cxn>
              <a:cxn ang="0">
                <a:pos x="connsiteX35503" y="connsiteY35503"/>
              </a:cxn>
              <a:cxn ang="0">
                <a:pos x="connsiteX35504" y="connsiteY35504"/>
              </a:cxn>
              <a:cxn ang="0">
                <a:pos x="connsiteX35505" y="connsiteY35505"/>
              </a:cxn>
              <a:cxn ang="0">
                <a:pos x="connsiteX35506" y="connsiteY35506"/>
              </a:cxn>
              <a:cxn ang="0">
                <a:pos x="connsiteX35507" y="connsiteY35507"/>
              </a:cxn>
              <a:cxn ang="0">
                <a:pos x="connsiteX35508" y="connsiteY35508"/>
              </a:cxn>
              <a:cxn ang="0">
                <a:pos x="connsiteX35509" y="connsiteY35509"/>
              </a:cxn>
              <a:cxn ang="0">
                <a:pos x="connsiteX35510" y="connsiteY35510"/>
              </a:cxn>
              <a:cxn ang="0">
                <a:pos x="connsiteX35511" y="connsiteY35511"/>
              </a:cxn>
              <a:cxn ang="0">
                <a:pos x="connsiteX35512" y="connsiteY35512"/>
              </a:cxn>
              <a:cxn ang="0">
                <a:pos x="connsiteX35513" y="connsiteY35513"/>
              </a:cxn>
              <a:cxn ang="0">
                <a:pos x="connsiteX35514" y="connsiteY35514"/>
              </a:cxn>
              <a:cxn ang="0">
                <a:pos x="connsiteX35515" y="connsiteY35515"/>
              </a:cxn>
              <a:cxn ang="0">
                <a:pos x="connsiteX35516" y="connsiteY35516"/>
              </a:cxn>
              <a:cxn ang="0">
                <a:pos x="connsiteX35517" y="connsiteY35517"/>
              </a:cxn>
              <a:cxn ang="0">
                <a:pos x="connsiteX35518" y="connsiteY35518"/>
              </a:cxn>
              <a:cxn ang="0">
                <a:pos x="connsiteX35519" y="connsiteY35519"/>
              </a:cxn>
              <a:cxn ang="0">
                <a:pos x="connsiteX35520" y="connsiteY35520"/>
              </a:cxn>
              <a:cxn ang="0">
                <a:pos x="connsiteX35521" y="connsiteY35521"/>
              </a:cxn>
              <a:cxn ang="0">
                <a:pos x="connsiteX35522" y="connsiteY35522"/>
              </a:cxn>
              <a:cxn ang="0">
                <a:pos x="connsiteX35523" y="connsiteY35523"/>
              </a:cxn>
              <a:cxn ang="0">
                <a:pos x="connsiteX35524" y="connsiteY35524"/>
              </a:cxn>
              <a:cxn ang="0">
                <a:pos x="connsiteX35525" y="connsiteY35525"/>
              </a:cxn>
              <a:cxn ang="0">
                <a:pos x="connsiteX35526" y="connsiteY35526"/>
              </a:cxn>
              <a:cxn ang="0">
                <a:pos x="connsiteX35527" y="connsiteY35527"/>
              </a:cxn>
              <a:cxn ang="0">
                <a:pos x="connsiteX35528" y="connsiteY35528"/>
              </a:cxn>
              <a:cxn ang="0">
                <a:pos x="connsiteX35529" y="connsiteY35529"/>
              </a:cxn>
              <a:cxn ang="0">
                <a:pos x="connsiteX35530" y="connsiteY35530"/>
              </a:cxn>
              <a:cxn ang="0">
                <a:pos x="connsiteX35531" y="connsiteY35531"/>
              </a:cxn>
              <a:cxn ang="0">
                <a:pos x="connsiteX35532" y="connsiteY35532"/>
              </a:cxn>
              <a:cxn ang="0">
                <a:pos x="connsiteX35533" y="connsiteY35533"/>
              </a:cxn>
              <a:cxn ang="0">
                <a:pos x="connsiteX35534" y="connsiteY35534"/>
              </a:cxn>
              <a:cxn ang="0">
                <a:pos x="connsiteX35535" y="connsiteY35535"/>
              </a:cxn>
              <a:cxn ang="0">
                <a:pos x="connsiteX35536" y="connsiteY35536"/>
              </a:cxn>
              <a:cxn ang="0">
                <a:pos x="connsiteX35537" y="connsiteY35537"/>
              </a:cxn>
              <a:cxn ang="0">
                <a:pos x="connsiteX35538" y="connsiteY35538"/>
              </a:cxn>
              <a:cxn ang="0">
                <a:pos x="connsiteX35539" y="connsiteY35539"/>
              </a:cxn>
              <a:cxn ang="0">
                <a:pos x="connsiteX35540" y="connsiteY35540"/>
              </a:cxn>
              <a:cxn ang="0">
                <a:pos x="connsiteX35541" y="connsiteY35541"/>
              </a:cxn>
              <a:cxn ang="0">
                <a:pos x="connsiteX35542" y="connsiteY35542"/>
              </a:cxn>
              <a:cxn ang="0">
                <a:pos x="connsiteX35543" y="connsiteY35543"/>
              </a:cxn>
              <a:cxn ang="0">
                <a:pos x="connsiteX35544" y="connsiteY35544"/>
              </a:cxn>
              <a:cxn ang="0">
                <a:pos x="connsiteX35545" y="connsiteY35545"/>
              </a:cxn>
              <a:cxn ang="0">
                <a:pos x="connsiteX35546" y="connsiteY35546"/>
              </a:cxn>
              <a:cxn ang="0">
                <a:pos x="connsiteX35547" y="connsiteY35547"/>
              </a:cxn>
              <a:cxn ang="0">
                <a:pos x="connsiteX35548" y="connsiteY35548"/>
              </a:cxn>
              <a:cxn ang="0">
                <a:pos x="connsiteX35549" y="connsiteY35549"/>
              </a:cxn>
              <a:cxn ang="0">
                <a:pos x="connsiteX35550" y="connsiteY35550"/>
              </a:cxn>
              <a:cxn ang="0">
                <a:pos x="connsiteX35551" y="connsiteY35551"/>
              </a:cxn>
              <a:cxn ang="0">
                <a:pos x="connsiteX35552" y="connsiteY35552"/>
              </a:cxn>
              <a:cxn ang="0">
                <a:pos x="connsiteX35553" y="connsiteY35553"/>
              </a:cxn>
              <a:cxn ang="0">
                <a:pos x="connsiteX35554" y="connsiteY35554"/>
              </a:cxn>
              <a:cxn ang="0">
                <a:pos x="connsiteX35555" y="connsiteY35555"/>
              </a:cxn>
              <a:cxn ang="0">
                <a:pos x="connsiteX35556" y="connsiteY35556"/>
              </a:cxn>
              <a:cxn ang="0">
                <a:pos x="connsiteX35557" y="connsiteY35557"/>
              </a:cxn>
              <a:cxn ang="0">
                <a:pos x="connsiteX35558" y="connsiteY35558"/>
              </a:cxn>
              <a:cxn ang="0">
                <a:pos x="connsiteX35559" y="connsiteY35559"/>
              </a:cxn>
              <a:cxn ang="0">
                <a:pos x="connsiteX35560" y="connsiteY35560"/>
              </a:cxn>
              <a:cxn ang="0">
                <a:pos x="connsiteX35561" y="connsiteY35561"/>
              </a:cxn>
              <a:cxn ang="0">
                <a:pos x="connsiteX35562" y="connsiteY35562"/>
              </a:cxn>
              <a:cxn ang="0">
                <a:pos x="connsiteX35563" y="connsiteY35563"/>
              </a:cxn>
              <a:cxn ang="0">
                <a:pos x="connsiteX35564" y="connsiteY35564"/>
              </a:cxn>
              <a:cxn ang="0">
                <a:pos x="connsiteX35565" y="connsiteY35565"/>
              </a:cxn>
              <a:cxn ang="0">
                <a:pos x="connsiteX35566" y="connsiteY35566"/>
              </a:cxn>
              <a:cxn ang="0">
                <a:pos x="connsiteX35567" y="connsiteY35567"/>
              </a:cxn>
              <a:cxn ang="0">
                <a:pos x="connsiteX35568" y="connsiteY35568"/>
              </a:cxn>
              <a:cxn ang="0">
                <a:pos x="connsiteX35569" y="connsiteY35569"/>
              </a:cxn>
              <a:cxn ang="0">
                <a:pos x="connsiteX35570" y="connsiteY35570"/>
              </a:cxn>
              <a:cxn ang="0">
                <a:pos x="connsiteX35571" y="connsiteY35571"/>
              </a:cxn>
              <a:cxn ang="0">
                <a:pos x="connsiteX35572" y="connsiteY35572"/>
              </a:cxn>
              <a:cxn ang="0">
                <a:pos x="connsiteX35573" y="connsiteY35573"/>
              </a:cxn>
              <a:cxn ang="0">
                <a:pos x="connsiteX35574" y="connsiteY35574"/>
              </a:cxn>
              <a:cxn ang="0">
                <a:pos x="connsiteX35575" y="connsiteY35575"/>
              </a:cxn>
              <a:cxn ang="0">
                <a:pos x="connsiteX35576" y="connsiteY35576"/>
              </a:cxn>
              <a:cxn ang="0">
                <a:pos x="connsiteX35577" y="connsiteY35577"/>
              </a:cxn>
              <a:cxn ang="0">
                <a:pos x="connsiteX35578" y="connsiteY35578"/>
              </a:cxn>
              <a:cxn ang="0">
                <a:pos x="connsiteX35579" y="connsiteY35579"/>
              </a:cxn>
              <a:cxn ang="0">
                <a:pos x="connsiteX35580" y="connsiteY35580"/>
              </a:cxn>
              <a:cxn ang="0">
                <a:pos x="connsiteX35581" y="connsiteY35581"/>
              </a:cxn>
              <a:cxn ang="0">
                <a:pos x="connsiteX35582" y="connsiteY35582"/>
              </a:cxn>
              <a:cxn ang="0">
                <a:pos x="connsiteX35583" y="connsiteY35583"/>
              </a:cxn>
              <a:cxn ang="0">
                <a:pos x="connsiteX35584" y="connsiteY35584"/>
              </a:cxn>
              <a:cxn ang="0">
                <a:pos x="connsiteX35585" y="connsiteY35585"/>
              </a:cxn>
              <a:cxn ang="0">
                <a:pos x="connsiteX35586" y="connsiteY35586"/>
              </a:cxn>
              <a:cxn ang="0">
                <a:pos x="connsiteX35587" y="connsiteY35587"/>
              </a:cxn>
              <a:cxn ang="0">
                <a:pos x="connsiteX35588" y="connsiteY35588"/>
              </a:cxn>
              <a:cxn ang="0">
                <a:pos x="connsiteX35589" y="connsiteY35589"/>
              </a:cxn>
              <a:cxn ang="0">
                <a:pos x="connsiteX35590" y="connsiteY35590"/>
              </a:cxn>
              <a:cxn ang="0">
                <a:pos x="connsiteX35591" y="connsiteY35591"/>
              </a:cxn>
              <a:cxn ang="0">
                <a:pos x="connsiteX35592" y="connsiteY35592"/>
              </a:cxn>
              <a:cxn ang="0">
                <a:pos x="connsiteX35593" y="connsiteY35593"/>
              </a:cxn>
              <a:cxn ang="0">
                <a:pos x="connsiteX35594" y="connsiteY35594"/>
              </a:cxn>
              <a:cxn ang="0">
                <a:pos x="connsiteX35595" y="connsiteY35595"/>
              </a:cxn>
              <a:cxn ang="0">
                <a:pos x="connsiteX35596" y="connsiteY35596"/>
              </a:cxn>
              <a:cxn ang="0">
                <a:pos x="connsiteX35597" y="connsiteY35597"/>
              </a:cxn>
              <a:cxn ang="0">
                <a:pos x="connsiteX35598" y="connsiteY35598"/>
              </a:cxn>
              <a:cxn ang="0">
                <a:pos x="connsiteX35599" y="connsiteY35599"/>
              </a:cxn>
              <a:cxn ang="0">
                <a:pos x="connsiteX35600" y="connsiteY35600"/>
              </a:cxn>
              <a:cxn ang="0">
                <a:pos x="connsiteX35601" y="connsiteY35601"/>
              </a:cxn>
              <a:cxn ang="0">
                <a:pos x="connsiteX35602" y="connsiteY35602"/>
              </a:cxn>
              <a:cxn ang="0">
                <a:pos x="connsiteX35603" y="connsiteY35603"/>
              </a:cxn>
              <a:cxn ang="0">
                <a:pos x="connsiteX35604" y="connsiteY35604"/>
              </a:cxn>
              <a:cxn ang="0">
                <a:pos x="connsiteX35605" y="connsiteY35605"/>
              </a:cxn>
              <a:cxn ang="0">
                <a:pos x="connsiteX35606" y="connsiteY35606"/>
              </a:cxn>
              <a:cxn ang="0">
                <a:pos x="connsiteX35607" y="connsiteY35607"/>
              </a:cxn>
              <a:cxn ang="0">
                <a:pos x="connsiteX35608" y="connsiteY35608"/>
              </a:cxn>
              <a:cxn ang="0">
                <a:pos x="connsiteX35609" y="connsiteY35609"/>
              </a:cxn>
              <a:cxn ang="0">
                <a:pos x="connsiteX35610" y="connsiteY35610"/>
              </a:cxn>
              <a:cxn ang="0">
                <a:pos x="connsiteX35611" y="connsiteY35611"/>
              </a:cxn>
              <a:cxn ang="0">
                <a:pos x="connsiteX35612" y="connsiteY35612"/>
              </a:cxn>
              <a:cxn ang="0">
                <a:pos x="connsiteX35613" y="connsiteY35613"/>
              </a:cxn>
              <a:cxn ang="0">
                <a:pos x="connsiteX35614" y="connsiteY35614"/>
              </a:cxn>
              <a:cxn ang="0">
                <a:pos x="connsiteX35615" y="connsiteY35615"/>
              </a:cxn>
              <a:cxn ang="0">
                <a:pos x="connsiteX35616" y="connsiteY35616"/>
              </a:cxn>
              <a:cxn ang="0">
                <a:pos x="connsiteX35617" y="connsiteY35617"/>
              </a:cxn>
              <a:cxn ang="0">
                <a:pos x="connsiteX35618" y="connsiteY35618"/>
              </a:cxn>
              <a:cxn ang="0">
                <a:pos x="connsiteX35619" y="connsiteY35619"/>
              </a:cxn>
              <a:cxn ang="0">
                <a:pos x="connsiteX35620" y="connsiteY35620"/>
              </a:cxn>
              <a:cxn ang="0">
                <a:pos x="connsiteX35621" y="connsiteY35621"/>
              </a:cxn>
              <a:cxn ang="0">
                <a:pos x="connsiteX35622" y="connsiteY35622"/>
              </a:cxn>
              <a:cxn ang="0">
                <a:pos x="connsiteX35623" y="connsiteY35623"/>
              </a:cxn>
              <a:cxn ang="0">
                <a:pos x="connsiteX35624" y="connsiteY35624"/>
              </a:cxn>
              <a:cxn ang="0">
                <a:pos x="connsiteX35625" y="connsiteY35625"/>
              </a:cxn>
              <a:cxn ang="0">
                <a:pos x="connsiteX35626" y="connsiteY35626"/>
              </a:cxn>
              <a:cxn ang="0">
                <a:pos x="connsiteX35627" y="connsiteY35627"/>
              </a:cxn>
              <a:cxn ang="0">
                <a:pos x="connsiteX35628" y="connsiteY35628"/>
              </a:cxn>
              <a:cxn ang="0">
                <a:pos x="connsiteX35629" y="connsiteY35629"/>
              </a:cxn>
              <a:cxn ang="0">
                <a:pos x="connsiteX35630" y="connsiteY35630"/>
              </a:cxn>
              <a:cxn ang="0">
                <a:pos x="connsiteX35631" y="connsiteY35631"/>
              </a:cxn>
              <a:cxn ang="0">
                <a:pos x="connsiteX35632" y="connsiteY35632"/>
              </a:cxn>
              <a:cxn ang="0">
                <a:pos x="connsiteX35633" y="connsiteY35633"/>
              </a:cxn>
              <a:cxn ang="0">
                <a:pos x="connsiteX35634" y="connsiteY35634"/>
              </a:cxn>
              <a:cxn ang="0">
                <a:pos x="connsiteX35635" y="connsiteY35635"/>
              </a:cxn>
              <a:cxn ang="0">
                <a:pos x="connsiteX35636" y="connsiteY35636"/>
              </a:cxn>
              <a:cxn ang="0">
                <a:pos x="connsiteX35637" y="connsiteY35637"/>
              </a:cxn>
              <a:cxn ang="0">
                <a:pos x="connsiteX35638" y="connsiteY35638"/>
              </a:cxn>
              <a:cxn ang="0">
                <a:pos x="connsiteX35639" y="connsiteY35639"/>
              </a:cxn>
              <a:cxn ang="0">
                <a:pos x="connsiteX35640" y="connsiteY35640"/>
              </a:cxn>
              <a:cxn ang="0">
                <a:pos x="connsiteX35641" y="connsiteY35641"/>
              </a:cxn>
              <a:cxn ang="0">
                <a:pos x="connsiteX35642" y="connsiteY35642"/>
              </a:cxn>
              <a:cxn ang="0">
                <a:pos x="connsiteX35643" y="connsiteY35643"/>
              </a:cxn>
              <a:cxn ang="0">
                <a:pos x="connsiteX35644" y="connsiteY35644"/>
              </a:cxn>
              <a:cxn ang="0">
                <a:pos x="connsiteX35645" y="connsiteY35645"/>
              </a:cxn>
              <a:cxn ang="0">
                <a:pos x="connsiteX35646" y="connsiteY35646"/>
              </a:cxn>
              <a:cxn ang="0">
                <a:pos x="connsiteX35647" y="connsiteY35647"/>
              </a:cxn>
              <a:cxn ang="0">
                <a:pos x="connsiteX35648" y="connsiteY35648"/>
              </a:cxn>
              <a:cxn ang="0">
                <a:pos x="connsiteX35649" y="connsiteY35649"/>
              </a:cxn>
              <a:cxn ang="0">
                <a:pos x="connsiteX35650" y="connsiteY35650"/>
              </a:cxn>
              <a:cxn ang="0">
                <a:pos x="connsiteX35651" y="connsiteY35651"/>
              </a:cxn>
              <a:cxn ang="0">
                <a:pos x="connsiteX35652" y="connsiteY35652"/>
              </a:cxn>
              <a:cxn ang="0">
                <a:pos x="connsiteX35653" y="connsiteY35653"/>
              </a:cxn>
              <a:cxn ang="0">
                <a:pos x="connsiteX35654" y="connsiteY35654"/>
              </a:cxn>
              <a:cxn ang="0">
                <a:pos x="connsiteX35655" y="connsiteY35655"/>
              </a:cxn>
              <a:cxn ang="0">
                <a:pos x="connsiteX35656" y="connsiteY35656"/>
              </a:cxn>
              <a:cxn ang="0">
                <a:pos x="connsiteX35657" y="connsiteY35657"/>
              </a:cxn>
              <a:cxn ang="0">
                <a:pos x="connsiteX35658" y="connsiteY35658"/>
              </a:cxn>
              <a:cxn ang="0">
                <a:pos x="connsiteX35659" y="connsiteY35659"/>
              </a:cxn>
              <a:cxn ang="0">
                <a:pos x="connsiteX35660" y="connsiteY35660"/>
              </a:cxn>
              <a:cxn ang="0">
                <a:pos x="connsiteX35661" y="connsiteY35661"/>
              </a:cxn>
              <a:cxn ang="0">
                <a:pos x="connsiteX35662" y="connsiteY35662"/>
              </a:cxn>
              <a:cxn ang="0">
                <a:pos x="connsiteX35663" y="connsiteY35663"/>
              </a:cxn>
              <a:cxn ang="0">
                <a:pos x="connsiteX35664" y="connsiteY35664"/>
              </a:cxn>
              <a:cxn ang="0">
                <a:pos x="connsiteX35665" y="connsiteY35665"/>
              </a:cxn>
              <a:cxn ang="0">
                <a:pos x="connsiteX35666" y="connsiteY35666"/>
              </a:cxn>
              <a:cxn ang="0">
                <a:pos x="connsiteX35667" y="connsiteY35667"/>
              </a:cxn>
              <a:cxn ang="0">
                <a:pos x="connsiteX35668" y="connsiteY35668"/>
              </a:cxn>
              <a:cxn ang="0">
                <a:pos x="connsiteX35669" y="connsiteY35669"/>
              </a:cxn>
              <a:cxn ang="0">
                <a:pos x="connsiteX35670" y="connsiteY35670"/>
              </a:cxn>
              <a:cxn ang="0">
                <a:pos x="connsiteX35671" y="connsiteY35671"/>
              </a:cxn>
              <a:cxn ang="0">
                <a:pos x="connsiteX35672" y="connsiteY35672"/>
              </a:cxn>
              <a:cxn ang="0">
                <a:pos x="connsiteX35673" y="connsiteY35673"/>
              </a:cxn>
              <a:cxn ang="0">
                <a:pos x="connsiteX35674" y="connsiteY35674"/>
              </a:cxn>
              <a:cxn ang="0">
                <a:pos x="connsiteX35675" y="connsiteY35675"/>
              </a:cxn>
              <a:cxn ang="0">
                <a:pos x="connsiteX35676" y="connsiteY35676"/>
              </a:cxn>
              <a:cxn ang="0">
                <a:pos x="connsiteX35677" y="connsiteY35677"/>
              </a:cxn>
              <a:cxn ang="0">
                <a:pos x="connsiteX35678" y="connsiteY35678"/>
              </a:cxn>
              <a:cxn ang="0">
                <a:pos x="connsiteX35679" y="connsiteY35679"/>
              </a:cxn>
              <a:cxn ang="0">
                <a:pos x="connsiteX35680" y="connsiteY35680"/>
              </a:cxn>
              <a:cxn ang="0">
                <a:pos x="connsiteX35681" y="connsiteY35681"/>
              </a:cxn>
              <a:cxn ang="0">
                <a:pos x="connsiteX35682" y="connsiteY35682"/>
              </a:cxn>
              <a:cxn ang="0">
                <a:pos x="connsiteX35683" y="connsiteY35683"/>
              </a:cxn>
              <a:cxn ang="0">
                <a:pos x="connsiteX35684" y="connsiteY35684"/>
              </a:cxn>
              <a:cxn ang="0">
                <a:pos x="connsiteX35685" y="connsiteY35685"/>
              </a:cxn>
              <a:cxn ang="0">
                <a:pos x="connsiteX35686" y="connsiteY35686"/>
              </a:cxn>
              <a:cxn ang="0">
                <a:pos x="connsiteX35687" y="connsiteY35687"/>
              </a:cxn>
              <a:cxn ang="0">
                <a:pos x="connsiteX35688" y="connsiteY35688"/>
              </a:cxn>
              <a:cxn ang="0">
                <a:pos x="connsiteX35689" y="connsiteY35689"/>
              </a:cxn>
              <a:cxn ang="0">
                <a:pos x="connsiteX35690" y="connsiteY35690"/>
              </a:cxn>
              <a:cxn ang="0">
                <a:pos x="connsiteX35691" y="connsiteY35691"/>
              </a:cxn>
              <a:cxn ang="0">
                <a:pos x="connsiteX35692" y="connsiteY35692"/>
              </a:cxn>
              <a:cxn ang="0">
                <a:pos x="connsiteX35693" y="connsiteY35693"/>
              </a:cxn>
              <a:cxn ang="0">
                <a:pos x="connsiteX35694" y="connsiteY35694"/>
              </a:cxn>
              <a:cxn ang="0">
                <a:pos x="connsiteX35695" y="connsiteY35695"/>
              </a:cxn>
              <a:cxn ang="0">
                <a:pos x="connsiteX35696" y="connsiteY35696"/>
              </a:cxn>
              <a:cxn ang="0">
                <a:pos x="connsiteX35697" y="connsiteY35697"/>
              </a:cxn>
              <a:cxn ang="0">
                <a:pos x="connsiteX35698" y="connsiteY35698"/>
              </a:cxn>
              <a:cxn ang="0">
                <a:pos x="connsiteX35699" y="connsiteY35699"/>
              </a:cxn>
              <a:cxn ang="0">
                <a:pos x="connsiteX35700" y="connsiteY35700"/>
              </a:cxn>
              <a:cxn ang="0">
                <a:pos x="connsiteX35701" y="connsiteY35701"/>
              </a:cxn>
              <a:cxn ang="0">
                <a:pos x="connsiteX35702" y="connsiteY35702"/>
              </a:cxn>
              <a:cxn ang="0">
                <a:pos x="connsiteX35703" y="connsiteY35703"/>
              </a:cxn>
              <a:cxn ang="0">
                <a:pos x="connsiteX35704" y="connsiteY35704"/>
              </a:cxn>
              <a:cxn ang="0">
                <a:pos x="connsiteX35705" y="connsiteY35705"/>
              </a:cxn>
              <a:cxn ang="0">
                <a:pos x="connsiteX35706" y="connsiteY35706"/>
              </a:cxn>
              <a:cxn ang="0">
                <a:pos x="connsiteX35707" y="connsiteY35707"/>
              </a:cxn>
              <a:cxn ang="0">
                <a:pos x="connsiteX35708" y="connsiteY35708"/>
              </a:cxn>
              <a:cxn ang="0">
                <a:pos x="connsiteX35709" y="connsiteY35709"/>
              </a:cxn>
              <a:cxn ang="0">
                <a:pos x="connsiteX35710" y="connsiteY35710"/>
              </a:cxn>
              <a:cxn ang="0">
                <a:pos x="connsiteX35711" y="connsiteY35711"/>
              </a:cxn>
              <a:cxn ang="0">
                <a:pos x="connsiteX35712" y="connsiteY35712"/>
              </a:cxn>
              <a:cxn ang="0">
                <a:pos x="connsiteX35713" y="connsiteY35713"/>
              </a:cxn>
              <a:cxn ang="0">
                <a:pos x="connsiteX35714" y="connsiteY35714"/>
              </a:cxn>
              <a:cxn ang="0">
                <a:pos x="connsiteX35715" y="connsiteY35715"/>
              </a:cxn>
              <a:cxn ang="0">
                <a:pos x="connsiteX35716" y="connsiteY35716"/>
              </a:cxn>
              <a:cxn ang="0">
                <a:pos x="connsiteX35717" y="connsiteY35717"/>
              </a:cxn>
              <a:cxn ang="0">
                <a:pos x="connsiteX35718" y="connsiteY35718"/>
              </a:cxn>
              <a:cxn ang="0">
                <a:pos x="connsiteX35719" y="connsiteY35719"/>
              </a:cxn>
              <a:cxn ang="0">
                <a:pos x="connsiteX35720" y="connsiteY35720"/>
              </a:cxn>
              <a:cxn ang="0">
                <a:pos x="connsiteX35721" y="connsiteY35721"/>
              </a:cxn>
              <a:cxn ang="0">
                <a:pos x="connsiteX35722" y="connsiteY35722"/>
              </a:cxn>
              <a:cxn ang="0">
                <a:pos x="connsiteX35723" y="connsiteY35723"/>
              </a:cxn>
              <a:cxn ang="0">
                <a:pos x="connsiteX35724" y="connsiteY35724"/>
              </a:cxn>
              <a:cxn ang="0">
                <a:pos x="connsiteX35725" y="connsiteY35725"/>
              </a:cxn>
              <a:cxn ang="0">
                <a:pos x="connsiteX35726" y="connsiteY35726"/>
              </a:cxn>
              <a:cxn ang="0">
                <a:pos x="connsiteX35727" y="connsiteY35727"/>
              </a:cxn>
              <a:cxn ang="0">
                <a:pos x="connsiteX35728" y="connsiteY35728"/>
              </a:cxn>
              <a:cxn ang="0">
                <a:pos x="connsiteX35729" y="connsiteY35729"/>
              </a:cxn>
              <a:cxn ang="0">
                <a:pos x="connsiteX35730" y="connsiteY35730"/>
              </a:cxn>
              <a:cxn ang="0">
                <a:pos x="connsiteX35731" y="connsiteY35731"/>
              </a:cxn>
              <a:cxn ang="0">
                <a:pos x="connsiteX35732" y="connsiteY35732"/>
              </a:cxn>
              <a:cxn ang="0">
                <a:pos x="connsiteX35733" y="connsiteY35733"/>
              </a:cxn>
              <a:cxn ang="0">
                <a:pos x="connsiteX35734" y="connsiteY35734"/>
              </a:cxn>
              <a:cxn ang="0">
                <a:pos x="connsiteX35735" y="connsiteY35735"/>
              </a:cxn>
              <a:cxn ang="0">
                <a:pos x="connsiteX35736" y="connsiteY35736"/>
              </a:cxn>
              <a:cxn ang="0">
                <a:pos x="connsiteX35737" y="connsiteY35737"/>
              </a:cxn>
              <a:cxn ang="0">
                <a:pos x="connsiteX35738" y="connsiteY35738"/>
              </a:cxn>
              <a:cxn ang="0">
                <a:pos x="connsiteX35739" y="connsiteY35739"/>
              </a:cxn>
              <a:cxn ang="0">
                <a:pos x="connsiteX35740" y="connsiteY35740"/>
              </a:cxn>
              <a:cxn ang="0">
                <a:pos x="connsiteX35741" y="connsiteY35741"/>
              </a:cxn>
              <a:cxn ang="0">
                <a:pos x="connsiteX35742" y="connsiteY35742"/>
              </a:cxn>
              <a:cxn ang="0">
                <a:pos x="connsiteX35743" y="connsiteY35743"/>
              </a:cxn>
              <a:cxn ang="0">
                <a:pos x="connsiteX35744" y="connsiteY35744"/>
              </a:cxn>
              <a:cxn ang="0">
                <a:pos x="connsiteX35745" y="connsiteY35745"/>
              </a:cxn>
              <a:cxn ang="0">
                <a:pos x="connsiteX35746" y="connsiteY35746"/>
              </a:cxn>
              <a:cxn ang="0">
                <a:pos x="connsiteX35747" y="connsiteY35747"/>
              </a:cxn>
              <a:cxn ang="0">
                <a:pos x="connsiteX35748" y="connsiteY35748"/>
              </a:cxn>
              <a:cxn ang="0">
                <a:pos x="connsiteX35749" y="connsiteY35749"/>
              </a:cxn>
              <a:cxn ang="0">
                <a:pos x="connsiteX35750" y="connsiteY35750"/>
              </a:cxn>
              <a:cxn ang="0">
                <a:pos x="connsiteX35751" y="connsiteY35751"/>
              </a:cxn>
              <a:cxn ang="0">
                <a:pos x="connsiteX35752" y="connsiteY35752"/>
              </a:cxn>
              <a:cxn ang="0">
                <a:pos x="connsiteX35753" y="connsiteY35753"/>
              </a:cxn>
              <a:cxn ang="0">
                <a:pos x="connsiteX35754" y="connsiteY35754"/>
              </a:cxn>
              <a:cxn ang="0">
                <a:pos x="connsiteX35755" y="connsiteY35755"/>
              </a:cxn>
              <a:cxn ang="0">
                <a:pos x="connsiteX35756" y="connsiteY35756"/>
              </a:cxn>
              <a:cxn ang="0">
                <a:pos x="connsiteX35757" y="connsiteY35757"/>
              </a:cxn>
              <a:cxn ang="0">
                <a:pos x="connsiteX35758" y="connsiteY35758"/>
              </a:cxn>
              <a:cxn ang="0">
                <a:pos x="connsiteX35759" y="connsiteY35759"/>
              </a:cxn>
              <a:cxn ang="0">
                <a:pos x="connsiteX35760" y="connsiteY35760"/>
              </a:cxn>
              <a:cxn ang="0">
                <a:pos x="connsiteX35761" y="connsiteY35761"/>
              </a:cxn>
              <a:cxn ang="0">
                <a:pos x="connsiteX35762" y="connsiteY35762"/>
              </a:cxn>
              <a:cxn ang="0">
                <a:pos x="connsiteX35763" y="connsiteY35763"/>
              </a:cxn>
              <a:cxn ang="0">
                <a:pos x="connsiteX35764" y="connsiteY35764"/>
              </a:cxn>
              <a:cxn ang="0">
                <a:pos x="connsiteX35765" y="connsiteY35765"/>
              </a:cxn>
              <a:cxn ang="0">
                <a:pos x="connsiteX35766" y="connsiteY35766"/>
              </a:cxn>
              <a:cxn ang="0">
                <a:pos x="connsiteX35767" y="connsiteY35767"/>
              </a:cxn>
              <a:cxn ang="0">
                <a:pos x="connsiteX35768" y="connsiteY35768"/>
              </a:cxn>
              <a:cxn ang="0">
                <a:pos x="connsiteX35769" y="connsiteY35769"/>
              </a:cxn>
              <a:cxn ang="0">
                <a:pos x="connsiteX35770" y="connsiteY35770"/>
              </a:cxn>
              <a:cxn ang="0">
                <a:pos x="connsiteX35771" y="connsiteY35771"/>
              </a:cxn>
              <a:cxn ang="0">
                <a:pos x="connsiteX35772" y="connsiteY35772"/>
              </a:cxn>
              <a:cxn ang="0">
                <a:pos x="connsiteX35773" y="connsiteY35773"/>
              </a:cxn>
              <a:cxn ang="0">
                <a:pos x="connsiteX35774" y="connsiteY35774"/>
              </a:cxn>
              <a:cxn ang="0">
                <a:pos x="connsiteX35775" y="connsiteY35775"/>
              </a:cxn>
              <a:cxn ang="0">
                <a:pos x="connsiteX35776" y="connsiteY35776"/>
              </a:cxn>
              <a:cxn ang="0">
                <a:pos x="connsiteX35777" y="connsiteY35777"/>
              </a:cxn>
              <a:cxn ang="0">
                <a:pos x="connsiteX35778" y="connsiteY35778"/>
              </a:cxn>
              <a:cxn ang="0">
                <a:pos x="connsiteX35779" y="connsiteY35779"/>
              </a:cxn>
              <a:cxn ang="0">
                <a:pos x="connsiteX35780" y="connsiteY35780"/>
              </a:cxn>
              <a:cxn ang="0">
                <a:pos x="connsiteX35781" y="connsiteY35781"/>
              </a:cxn>
              <a:cxn ang="0">
                <a:pos x="connsiteX35782" y="connsiteY35782"/>
              </a:cxn>
              <a:cxn ang="0">
                <a:pos x="connsiteX35783" y="connsiteY35783"/>
              </a:cxn>
              <a:cxn ang="0">
                <a:pos x="connsiteX35784" y="connsiteY35784"/>
              </a:cxn>
              <a:cxn ang="0">
                <a:pos x="connsiteX35785" y="connsiteY35785"/>
              </a:cxn>
              <a:cxn ang="0">
                <a:pos x="connsiteX35786" y="connsiteY35786"/>
              </a:cxn>
              <a:cxn ang="0">
                <a:pos x="connsiteX35787" y="connsiteY35787"/>
              </a:cxn>
              <a:cxn ang="0">
                <a:pos x="connsiteX35788" y="connsiteY35788"/>
              </a:cxn>
              <a:cxn ang="0">
                <a:pos x="connsiteX35789" y="connsiteY35789"/>
              </a:cxn>
              <a:cxn ang="0">
                <a:pos x="connsiteX35790" y="connsiteY35790"/>
              </a:cxn>
              <a:cxn ang="0">
                <a:pos x="connsiteX35791" y="connsiteY35791"/>
              </a:cxn>
              <a:cxn ang="0">
                <a:pos x="connsiteX35792" y="connsiteY35792"/>
              </a:cxn>
              <a:cxn ang="0">
                <a:pos x="connsiteX35793" y="connsiteY35793"/>
              </a:cxn>
              <a:cxn ang="0">
                <a:pos x="connsiteX35794" y="connsiteY35794"/>
              </a:cxn>
              <a:cxn ang="0">
                <a:pos x="connsiteX35795" y="connsiteY35795"/>
              </a:cxn>
              <a:cxn ang="0">
                <a:pos x="connsiteX35796" y="connsiteY35796"/>
              </a:cxn>
              <a:cxn ang="0">
                <a:pos x="connsiteX35797" y="connsiteY35797"/>
              </a:cxn>
              <a:cxn ang="0">
                <a:pos x="connsiteX35798" y="connsiteY35798"/>
              </a:cxn>
              <a:cxn ang="0">
                <a:pos x="connsiteX35799" y="connsiteY35799"/>
              </a:cxn>
              <a:cxn ang="0">
                <a:pos x="connsiteX35800" y="connsiteY35800"/>
              </a:cxn>
              <a:cxn ang="0">
                <a:pos x="connsiteX35801" y="connsiteY35801"/>
              </a:cxn>
              <a:cxn ang="0">
                <a:pos x="connsiteX35802" y="connsiteY35802"/>
              </a:cxn>
              <a:cxn ang="0">
                <a:pos x="connsiteX35803" y="connsiteY35803"/>
              </a:cxn>
              <a:cxn ang="0">
                <a:pos x="connsiteX35804" y="connsiteY35804"/>
              </a:cxn>
              <a:cxn ang="0">
                <a:pos x="connsiteX35805" y="connsiteY35805"/>
              </a:cxn>
              <a:cxn ang="0">
                <a:pos x="connsiteX35806" y="connsiteY35806"/>
              </a:cxn>
              <a:cxn ang="0">
                <a:pos x="connsiteX35807" y="connsiteY35807"/>
              </a:cxn>
              <a:cxn ang="0">
                <a:pos x="connsiteX35808" y="connsiteY35808"/>
              </a:cxn>
              <a:cxn ang="0">
                <a:pos x="connsiteX35809" y="connsiteY35809"/>
              </a:cxn>
              <a:cxn ang="0">
                <a:pos x="connsiteX35810" y="connsiteY35810"/>
              </a:cxn>
              <a:cxn ang="0">
                <a:pos x="connsiteX35811" y="connsiteY35811"/>
              </a:cxn>
              <a:cxn ang="0">
                <a:pos x="connsiteX35812" y="connsiteY35812"/>
              </a:cxn>
              <a:cxn ang="0">
                <a:pos x="connsiteX35813" y="connsiteY35813"/>
              </a:cxn>
              <a:cxn ang="0">
                <a:pos x="connsiteX35814" y="connsiteY35814"/>
              </a:cxn>
              <a:cxn ang="0">
                <a:pos x="connsiteX35815" y="connsiteY35815"/>
              </a:cxn>
              <a:cxn ang="0">
                <a:pos x="connsiteX35816" y="connsiteY35816"/>
              </a:cxn>
              <a:cxn ang="0">
                <a:pos x="connsiteX35817" y="connsiteY35817"/>
              </a:cxn>
              <a:cxn ang="0">
                <a:pos x="connsiteX35818" y="connsiteY35818"/>
              </a:cxn>
              <a:cxn ang="0">
                <a:pos x="connsiteX35819" y="connsiteY35819"/>
              </a:cxn>
              <a:cxn ang="0">
                <a:pos x="connsiteX35820" y="connsiteY35820"/>
              </a:cxn>
              <a:cxn ang="0">
                <a:pos x="connsiteX35821" y="connsiteY35821"/>
              </a:cxn>
              <a:cxn ang="0">
                <a:pos x="connsiteX35822" y="connsiteY35822"/>
              </a:cxn>
              <a:cxn ang="0">
                <a:pos x="connsiteX35823" y="connsiteY35823"/>
              </a:cxn>
              <a:cxn ang="0">
                <a:pos x="connsiteX35824" y="connsiteY35824"/>
              </a:cxn>
              <a:cxn ang="0">
                <a:pos x="connsiteX35825" y="connsiteY35825"/>
              </a:cxn>
              <a:cxn ang="0">
                <a:pos x="connsiteX35826" y="connsiteY35826"/>
              </a:cxn>
              <a:cxn ang="0">
                <a:pos x="connsiteX35827" y="connsiteY35827"/>
              </a:cxn>
              <a:cxn ang="0">
                <a:pos x="connsiteX35828" y="connsiteY35828"/>
              </a:cxn>
              <a:cxn ang="0">
                <a:pos x="connsiteX35829" y="connsiteY35829"/>
              </a:cxn>
              <a:cxn ang="0">
                <a:pos x="connsiteX35830" y="connsiteY35830"/>
              </a:cxn>
              <a:cxn ang="0">
                <a:pos x="connsiteX35831" y="connsiteY35831"/>
              </a:cxn>
              <a:cxn ang="0">
                <a:pos x="connsiteX35832" y="connsiteY35832"/>
              </a:cxn>
              <a:cxn ang="0">
                <a:pos x="connsiteX35833" y="connsiteY35833"/>
              </a:cxn>
              <a:cxn ang="0">
                <a:pos x="connsiteX35834" y="connsiteY35834"/>
              </a:cxn>
              <a:cxn ang="0">
                <a:pos x="connsiteX35835" y="connsiteY35835"/>
              </a:cxn>
              <a:cxn ang="0">
                <a:pos x="connsiteX35836" y="connsiteY35836"/>
              </a:cxn>
              <a:cxn ang="0">
                <a:pos x="connsiteX35837" y="connsiteY35837"/>
              </a:cxn>
              <a:cxn ang="0">
                <a:pos x="connsiteX35838" y="connsiteY35838"/>
              </a:cxn>
              <a:cxn ang="0">
                <a:pos x="connsiteX35839" y="connsiteY35839"/>
              </a:cxn>
              <a:cxn ang="0">
                <a:pos x="connsiteX35840" y="connsiteY35840"/>
              </a:cxn>
              <a:cxn ang="0">
                <a:pos x="connsiteX35841" y="connsiteY35841"/>
              </a:cxn>
              <a:cxn ang="0">
                <a:pos x="connsiteX35842" y="connsiteY35842"/>
              </a:cxn>
              <a:cxn ang="0">
                <a:pos x="connsiteX35843" y="connsiteY35843"/>
              </a:cxn>
              <a:cxn ang="0">
                <a:pos x="connsiteX35844" y="connsiteY35844"/>
              </a:cxn>
              <a:cxn ang="0">
                <a:pos x="connsiteX35845" y="connsiteY35845"/>
              </a:cxn>
              <a:cxn ang="0">
                <a:pos x="connsiteX35846" y="connsiteY35846"/>
              </a:cxn>
              <a:cxn ang="0">
                <a:pos x="connsiteX35847" y="connsiteY35847"/>
              </a:cxn>
              <a:cxn ang="0">
                <a:pos x="connsiteX35848" y="connsiteY35848"/>
              </a:cxn>
              <a:cxn ang="0">
                <a:pos x="connsiteX35849" y="connsiteY35849"/>
              </a:cxn>
              <a:cxn ang="0">
                <a:pos x="connsiteX35850" y="connsiteY35850"/>
              </a:cxn>
              <a:cxn ang="0">
                <a:pos x="connsiteX35851" y="connsiteY35851"/>
              </a:cxn>
              <a:cxn ang="0">
                <a:pos x="connsiteX35852" y="connsiteY35852"/>
              </a:cxn>
              <a:cxn ang="0">
                <a:pos x="connsiteX35853" y="connsiteY35853"/>
              </a:cxn>
              <a:cxn ang="0">
                <a:pos x="connsiteX35854" y="connsiteY35854"/>
              </a:cxn>
              <a:cxn ang="0">
                <a:pos x="connsiteX35855" y="connsiteY35855"/>
              </a:cxn>
              <a:cxn ang="0">
                <a:pos x="connsiteX35856" y="connsiteY35856"/>
              </a:cxn>
              <a:cxn ang="0">
                <a:pos x="connsiteX35857" y="connsiteY35857"/>
              </a:cxn>
              <a:cxn ang="0">
                <a:pos x="connsiteX35858" y="connsiteY35858"/>
              </a:cxn>
              <a:cxn ang="0">
                <a:pos x="connsiteX35859" y="connsiteY35859"/>
              </a:cxn>
              <a:cxn ang="0">
                <a:pos x="connsiteX35860" y="connsiteY35860"/>
              </a:cxn>
              <a:cxn ang="0">
                <a:pos x="connsiteX35861" y="connsiteY35861"/>
              </a:cxn>
              <a:cxn ang="0">
                <a:pos x="connsiteX35862" y="connsiteY35862"/>
              </a:cxn>
              <a:cxn ang="0">
                <a:pos x="connsiteX35863" y="connsiteY35863"/>
              </a:cxn>
              <a:cxn ang="0">
                <a:pos x="connsiteX35864" y="connsiteY35864"/>
              </a:cxn>
              <a:cxn ang="0">
                <a:pos x="connsiteX35865" y="connsiteY35865"/>
              </a:cxn>
              <a:cxn ang="0">
                <a:pos x="connsiteX35866" y="connsiteY35866"/>
              </a:cxn>
              <a:cxn ang="0">
                <a:pos x="connsiteX35867" y="connsiteY35867"/>
              </a:cxn>
              <a:cxn ang="0">
                <a:pos x="connsiteX35868" y="connsiteY35868"/>
              </a:cxn>
              <a:cxn ang="0">
                <a:pos x="connsiteX35869" y="connsiteY35869"/>
              </a:cxn>
              <a:cxn ang="0">
                <a:pos x="connsiteX35870" y="connsiteY35870"/>
              </a:cxn>
              <a:cxn ang="0">
                <a:pos x="connsiteX35871" y="connsiteY35871"/>
              </a:cxn>
              <a:cxn ang="0">
                <a:pos x="connsiteX35872" y="connsiteY35872"/>
              </a:cxn>
              <a:cxn ang="0">
                <a:pos x="connsiteX35873" y="connsiteY35873"/>
              </a:cxn>
              <a:cxn ang="0">
                <a:pos x="connsiteX35874" y="connsiteY35874"/>
              </a:cxn>
              <a:cxn ang="0">
                <a:pos x="connsiteX35875" y="connsiteY35875"/>
              </a:cxn>
              <a:cxn ang="0">
                <a:pos x="connsiteX35876" y="connsiteY35876"/>
              </a:cxn>
              <a:cxn ang="0">
                <a:pos x="connsiteX35877" y="connsiteY35877"/>
              </a:cxn>
              <a:cxn ang="0">
                <a:pos x="connsiteX35878" y="connsiteY35878"/>
              </a:cxn>
              <a:cxn ang="0">
                <a:pos x="connsiteX35879" y="connsiteY35879"/>
              </a:cxn>
              <a:cxn ang="0">
                <a:pos x="connsiteX35880" y="connsiteY35880"/>
              </a:cxn>
              <a:cxn ang="0">
                <a:pos x="connsiteX35881" y="connsiteY35881"/>
              </a:cxn>
              <a:cxn ang="0">
                <a:pos x="connsiteX35882" y="connsiteY35882"/>
              </a:cxn>
              <a:cxn ang="0">
                <a:pos x="connsiteX35883" y="connsiteY35883"/>
              </a:cxn>
              <a:cxn ang="0">
                <a:pos x="connsiteX35884" y="connsiteY35884"/>
              </a:cxn>
              <a:cxn ang="0">
                <a:pos x="connsiteX35885" y="connsiteY35885"/>
              </a:cxn>
              <a:cxn ang="0">
                <a:pos x="connsiteX35886" y="connsiteY35886"/>
              </a:cxn>
              <a:cxn ang="0">
                <a:pos x="connsiteX35887" y="connsiteY35887"/>
              </a:cxn>
              <a:cxn ang="0">
                <a:pos x="connsiteX35888" y="connsiteY35888"/>
              </a:cxn>
              <a:cxn ang="0">
                <a:pos x="connsiteX35889" y="connsiteY35889"/>
              </a:cxn>
              <a:cxn ang="0">
                <a:pos x="connsiteX35890" y="connsiteY35890"/>
              </a:cxn>
              <a:cxn ang="0">
                <a:pos x="connsiteX35891" y="connsiteY35891"/>
              </a:cxn>
              <a:cxn ang="0">
                <a:pos x="connsiteX35892" y="connsiteY35892"/>
              </a:cxn>
              <a:cxn ang="0">
                <a:pos x="connsiteX35893" y="connsiteY35893"/>
              </a:cxn>
              <a:cxn ang="0">
                <a:pos x="connsiteX35894" y="connsiteY35894"/>
              </a:cxn>
              <a:cxn ang="0">
                <a:pos x="connsiteX35895" y="connsiteY35895"/>
              </a:cxn>
              <a:cxn ang="0">
                <a:pos x="connsiteX35896" y="connsiteY35896"/>
              </a:cxn>
              <a:cxn ang="0">
                <a:pos x="connsiteX35897" y="connsiteY35897"/>
              </a:cxn>
              <a:cxn ang="0">
                <a:pos x="connsiteX35898" y="connsiteY35898"/>
              </a:cxn>
              <a:cxn ang="0">
                <a:pos x="connsiteX35899" y="connsiteY35899"/>
              </a:cxn>
              <a:cxn ang="0">
                <a:pos x="connsiteX35900" y="connsiteY35900"/>
              </a:cxn>
              <a:cxn ang="0">
                <a:pos x="connsiteX35901" y="connsiteY35901"/>
              </a:cxn>
              <a:cxn ang="0">
                <a:pos x="connsiteX35902" y="connsiteY35902"/>
              </a:cxn>
              <a:cxn ang="0">
                <a:pos x="connsiteX35903" y="connsiteY35903"/>
              </a:cxn>
              <a:cxn ang="0">
                <a:pos x="connsiteX35904" y="connsiteY35904"/>
              </a:cxn>
              <a:cxn ang="0">
                <a:pos x="connsiteX35905" y="connsiteY35905"/>
              </a:cxn>
              <a:cxn ang="0">
                <a:pos x="connsiteX35906" y="connsiteY35906"/>
              </a:cxn>
              <a:cxn ang="0">
                <a:pos x="connsiteX35907" y="connsiteY35907"/>
              </a:cxn>
              <a:cxn ang="0">
                <a:pos x="connsiteX35908" y="connsiteY35908"/>
              </a:cxn>
              <a:cxn ang="0">
                <a:pos x="connsiteX35909" y="connsiteY35909"/>
              </a:cxn>
              <a:cxn ang="0">
                <a:pos x="connsiteX35910" y="connsiteY35910"/>
              </a:cxn>
              <a:cxn ang="0">
                <a:pos x="connsiteX35911" y="connsiteY35911"/>
              </a:cxn>
              <a:cxn ang="0">
                <a:pos x="connsiteX35912" y="connsiteY35912"/>
              </a:cxn>
              <a:cxn ang="0">
                <a:pos x="connsiteX35913" y="connsiteY35913"/>
              </a:cxn>
              <a:cxn ang="0">
                <a:pos x="connsiteX35914" y="connsiteY35914"/>
              </a:cxn>
              <a:cxn ang="0">
                <a:pos x="connsiteX35915" y="connsiteY35915"/>
              </a:cxn>
              <a:cxn ang="0">
                <a:pos x="connsiteX35916" y="connsiteY35916"/>
              </a:cxn>
              <a:cxn ang="0">
                <a:pos x="connsiteX35917" y="connsiteY35917"/>
              </a:cxn>
              <a:cxn ang="0">
                <a:pos x="connsiteX35918" y="connsiteY35918"/>
              </a:cxn>
              <a:cxn ang="0">
                <a:pos x="connsiteX35919" y="connsiteY35919"/>
              </a:cxn>
              <a:cxn ang="0">
                <a:pos x="connsiteX35920" y="connsiteY35920"/>
              </a:cxn>
              <a:cxn ang="0">
                <a:pos x="connsiteX35921" y="connsiteY35921"/>
              </a:cxn>
              <a:cxn ang="0">
                <a:pos x="connsiteX35922" y="connsiteY35922"/>
              </a:cxn>
              <a:cxn ang="0">
                <a:pos x="connsiteX35923" y="connsiteY35923"/>
              </a:cxn>
              <a:cxn ang="0">
                <a:pos x="connsiteX35924" y="connsiteY35924"/>
              </a:cxn>
              <a:cxn ang="0">
                <a:pos x="connsiteX35925" y="connsiteY35925"/>
              </a:cxn>
              <a:cxn ang="0">
                <a:pos x="connsiteX35926" y="connsiteY35926"/>
              </a:cxn>
              <a:cxn ang="0">
                <a:pos x="connsiteX35927" y="connsiteY35927"/>
              </a:cxn>
              <a:cxn ang="0">
                <a:pos x="connsiteX35928" y="connsiteY35928"/>
              </a:cxn>
              <a:cxn ang="0">
                <a:pos x="connsiteX35929" y="connsiteY35929"/>
              </a:cxn>
              <a:cxn ang="0">
                <a:pos x="connsiteX35930" y="connsiteY35930"/>
              </a:cxn>
              <a:cxn ang="0">
                <a:pos x="connsiteX35931" y="connsiteY35931"/>
              </a:cxn>
              <a:cxn ang="0">
                <a:pos x="connsiteX35932" y="connsiteY35932"/>
              </a:cxn>
              <a:cxn ang="0">
                <a:pos x="connsiteX35933" y="connsiteY35933"/>
              </a:cxn>
              <a:cxn ang="0">
                <a:pos x="connsiteX35934" y="connsiteY35934"/>
              </a:cxn>
              <a:cxn ang="0">
                <a:pos x="connsiteX35935" y="connsiteY35935"/>
              </a:cxn>
              <a:cxn ang="0">
                <a:pos x="connsiteX35936" y="connsiteY35936"/>
              </a:cxn>
              <a:cxn ang="0">
                <a:pos x="connsiteX35937" y="connsiteY35937"/>
              </a:cxn>
              <a:cxn ang="0">
                <a:pos x="connsiteX35938" y="connsiteY35938"/>
              </a:cxn>
              <a:cxn ang="0">
                <a:pos x="connsiteX35939" y="connsiteY35939"/>
              </a:cxn>
              <a:cxn ang="0">
                <a:pos x="connsiteX35940" y="connsiteY35940"/>
              </a:cxn>
              <a:cxn ang="0">
                <a:pos x="connsiteX35941" y="connsiteY35941"/>
              </a:cxn>
              <a:cxn ang="0">
                <a:pos x="connsiteX35942" y="connsiteY35942"/>
              </a:cxn>
              <a:cxn ang="0">
                <a:pos x="connsiteX35943" y="connsiteY35943"/>
              </a:cxn>
              <a:cxn ang="0">
                <a:pos x="connsiteX35944" y="connsiteY35944"/>
              </a:cxn>
              <a:cxn ang="0">
                <a:pos x="connsiteX35945" y="connsiteY35945"/>
              </a:cxn>
              <a:cxn ang="0">
                <a:pos x="connsiteX35946" y="connsiteY35946"/>
              </a:cxn>
              <a:cxn ang="0">
                <a:pos x="connsiteX35947" y="connsiteY35947"/>
              </a:cxn>
              <a:cxn ang="0">
                <a:pos x="connsiteX35948" y="connsiteY35948"/>
              </a:cxn>
              <a:cxn ang="0">
                <a:pos x="connsiteX35949" y="connsiteY35949"/>
              </a:cxn>
              <a:cxn ang="0">
                <a:pos x="connsiteX35950" y="connsiteY35950"/>
              </a:cxn>
              <a:cxn ang="0">
                <a:pos x="connsiteX35951" y="connsiteY35951"/>
              </a:cxn>
              <a:cxn ang="0">
                <a:pos x="connsiteX35952" y="connsiteY35952"/>
              </a:cxn>
              <a:cxn ang="0">
                <a:pos x="connsiteX35953" y="connsiteY35953"/>
              </a:cxn>
              <a:cxn ang="0">
                <a:pos x="connsiteX35954" y="connsiteY35954"/>
              </a:cxn>
              <a:cxn ang="0">
                <a:pos x="connsiteX35955" y="connsiteY35955"/>
              </a:cxn>
              <a:cxn ang="0">
                <a:pos x="connsiteX35956" y="connsiteY35956"/>
              </a:cxn>
              <a:cxn ang="0">
                <a:pos x="connsiteX35957" y="connsiteY35957"/>
              </a:cxn>
              <a:cxn ang="0">
                <a:pos x="connsiteX35958" y="connsiteY35958"/>
              </a:cxn>
              <a:cxn ang="0">
                <a:pos x="connsiteX35959" y="connsiteY35959"/>
              </a:cxn>
              <a:cxn ang="0">
                <a:pos x="connsiteX35960" y="connsiteY35960"/>
              </a:cxn>
              <a:cxn ang="0">
                <a:pos x="connsiteX35961" y="connsiteY35961"/>
              </a:cxn>
              <a:cxn ang="0">
                <a:pos x="connsiteX35962" y="connsiteY35962"/>
              </a:cxn>
              <a:cxn ang="0">
                <a:pos x="connsiteX35963" y="connsiteY35963"/>
              </a:cxn>
              <a:cxn ang="0">
                <a:pos x="connsiteX35964" y="connsiteY35964"/>
              </a:cxn>
              <a:cxn ang="0">
                <a:pos x="connsiteX35965" y="connsiteY35965"/>
              </a:cxn>
              <a:cxn ang="0">
                <a:pos x="connsiteX35966" y="connsiteY35966"/>
              </a:cxn>
              <a:cxn ang="0">
                <a:pos x="connsiteX35967" y="connsiteY35967"/>
              </a:cxn>
              <a:cxn ang="0">
                <a:pos x="connsiteX35968" y="connsiteY35968"/>
              </a:cxn>
              <a:cxn ang="0">
                <a:pos x="connsiteX35969" y="connsiteY35969"/>
              </a:cxn>
              <a:cxn ang="0">
                <a:pos x="connsiteX35970" y="connsiteY35970"/>
              </a:cxn>
              <a:cxn ang="0">
                <a:pos x="connsiteX35971" y="connsiteY35971"/>
              </a:cxn>
              <a:cxn ang="0">
                <a:pos x="connsiteX35972" y="connsiteY35972"/>
              </a:cxn>
              <a:cxn ang="0">
                <a:pos x="connsiteX35973" y="connsiteY35973"/>
              </a:cxn>
              <a:cxn ang="0">
                <a:pos x="connsiteX35974" y="connsiteY35974"/>
              </a:cxn>
              <a:cxn ang="0">
                <a:pos x="connsiteX35975" y="connsiteY35975"/>
              </a:cxn>
              <a:cxn ang="0">
                <a:pos x="connsiteX35976" y="connsiteY35976"/>
              </a:cxn>
              <a:cxn ang="0">
                <a:pos x="connsiteX35977" y="connsiteY35977"/>
              </a:cxn>
              <a:cxn ang="0">
                <a:pos x="connsiteX35978" y="connsiteY35978"/>
              </a:cxn>
              <a:cxn ang="0">
                <a:pos x="connsiteX35979" y="connsiteY35979"/>
              </a:cxn>
              <a:cxn ang="0">
                <a:pos x="connsiteX35980" y="connsiteY35980"/>
              </a:cxn>
              <a:cxn ang="0">
                <a:pos x="connsiteX35981" y="connsiteY35981"/>
              </a:cxn>
              <a:cxn ang="0">
                <a:pos x="connsiteX35982" y="connsiteY35982"/>
              </a:cxn>
              <a:cxn ang="0">
                <a:pos x="connsiteX35983" y="connsiteY35983"/>
              </a:cxn>
              <a:cxn ang="0">
                <a:pos x="connsiteX35984" y="connsiteY35984"/>
              </a:cxn>
              <a:cxn ang="0">
                <a:pos x="connsiteX35985" y="connsiteY35985"/>
              </a:cxn>
              <a:cxn ang="0">
                <a:pos x="connsiteX35986" y="connsiteY35986"/>
              </a:cxn>
              <a:cxn ang="0">
                <a:pos x="connsiteX35987" y="connsiteY35987"/>
              </a:cxn>
              <a:cxn ang="0">
                <a:pos x="connsiteX35988" y="connsiteY35988"/>
              </a:cxn>
              <a:cxn ang="0">
                <a:pos x="connsiteX35989" y="connsiteY35989"/>
              </a:cxn>
              <a:cxn ang="0">
                <a:pos x="connsiteX35990" y="connsiteY35990"/>
              </a:cxn>
              <a:cxn ang="0">
                <a:pos x="connsiteX35991" y="connsiteY35991"/>
              </a:cxn>
              <a:cxn ang="0">
                <a:pos x="connsiteX35992" y="connsiteY35992"/>
              </a:cxn>
              <a:cxn ang="0">
                <a:pos x="connsiteX35993" y="connsiteY35993"/>
              </a:cxn>
              <a:cxn ang="0">
                <a:pos x="connsiteX35994" y="connsiteY35994"/>
              </a:cxn>
              <a:cxn ang="0">
                <a:pos x="connsiteX35995" y="connsiteY35995"/>
              </a:cxn>
              <a:cxn ang="0">
                <a:pos x="connsiteX35996" y="connsiteY35996"/>
              </a:cxn>
              <a:cxn ang="0">
                <a:pos x="connsiteX35997" y="connsiteY35997"/>
              </a:cxn>
              <a:cxn ang="0">
                <a:pos x="connsiteX35998" y="connsiteY35998"/>
              </a:cxn>
              <a:cxn ang="0">
                <a:pos x="connsiteX35999" y="connsiteY35999"/>
              </a:cxn>
              <a:cxn ang="0">
                <a:pos x="connsiteX36000" y="connsiteY36000"/>
              </a:cxn>
              <a:cxn ang="0">
                <a:pos x="connsiteX36001" y="connsiteY36001"/>
              </a:cxn>
              <a:cxn ang="0">
                <a:pos x="connsiteX36002" y="connsiteY36002"/>
              </a:cxn>
              <a:cxn ang="0">
                <a:pos x="connsiteX36003" y="connsiteY36003"/>
              </a:cxn>
              <a:cxn ang="0">
                <a:pos x="connsiteX36004" y="connsiteY36004"/>
              </a:cxn>
              <a:cxn ang="0">
                <a:pos x="connsiteX36005" y="connsiteY36005"/>
              </a:cxn>
              <a:cxn ang="0">
                <a:pos x="connsiteX36006" y="connsiteY36006"/>
              </a:cxn>
              <a:cxn ang="0">
                <a:pos x="connsiteX36007" y="connsiteY36007"/>
              </a:cxn>
              <a:cxn ang="0">
                <a:pos x="connsiteX36008" y="connsiteY36008"/>
              </a:cxn>
              <a:cxn ang="0">
                <a:pos x="connsiteX36009" y="connsiteY36009"/>
              </a:cxn>
              <a:cxn ang="0">
                <a:pos x="connsiteX36010" y="connsiteY36010"/>
              </a:cxn>
              <a:cxn ang="0">
                <a:pos x="connsiteX36011" y="connsiteY36011"/>
              </a:cxn>
              <a:cxn ang="0">
                <a:pos x="connsiteX36012" y="connsiteY36012"/>
              </a:cxn>
              <a:cxn ang="0">
                <a:pos x="connsiteX36013" y="connsiteY36013"/>
              </a:cxn>
              <a:cxn ang="0">
                <a:pos x="connsiteX36014" y="connsiteY36014"/>
              </a:cxn>
              <a:cxn ang="0">
                <a:pos x="connsiteX36015" y="connsiteY36015"/>
              </a:cxn>
              <a:cxn ang="0">
                <a:pos x="connsiteX36016" y="connsiteY36016"/>
              </a:cxn>
              <a:cxn ang="0">
                <a:pos x="connsiteX36017" y="connsiteY36017"/>
              </a:cxn>
              <a:cxn ang="0">
                <a:pos x="connsiteX36018" y="connsiteY36018"/>
              </a:cxn>
              <a:cxn ang="0">
                <a:pos x="connsiteX36019" y="connsiteY36019"/>
              </a:cxn>
              <a:cxn ang="0">
                <a:pos x="connsiteX36020" y="connsiteY36020"/>
              </a:cxn>
              <a:cxn ang="0">
                <a:pos x="connsiteX36021" y="connsiteY36021"/>
              </a:cxn>
              <a:cxn ang="0">
                <a:pos x="connsiteX36022" y="connsiteY36022"/>
              </a:cxn>
              <a:cxn ang="0">
                <a:pos x="connsiteX36023" y="connsiteY36023"/>
              </a:cxn>
              <a:cxn ang="0">
                <a:pos x="connsiteX36024" y="connsiteY36024"/>
              </a:cxn>
              <a:cxn ang="0">
                <a:pos x="connsiteX36025" y="connsiteY36025"/>
              </a:cxn>
              <a:cxn ang="0">
                <a:pos x="connsiteX36026" y="connsiteY36026"/>
              </a:cxn>
              <a:cxn ang="0">
                <a:pos x="connsiteX36027" y="connsiteY36027"/>
              </a:cxn>
              <a:cxn ang="0">
                <a:pos x="connsiteX36028" y="connsiteY36028"/>
              </a:cxn>
              <a:cxn ang="0">
                <a:pos x="connsiteX36029" y="connsiteY36029"/>
              </a:cxn>
              <a:cxn ang="0">
                <a:pos x="connsiteX36030" y="connsiteY36030"/>
              </a:cxn>
              <a:cxn ang="0">
                <a:pos x="connsiteX36031" y="connsiteY36031"/>
              </a:cxn>
              <a:cxn ang="0">
                <a:pos x="connsiteX36032" y="connsiteY36032"/>
              </a:cxn>
              <a:cxn ang="0">
                <a:pos x="connsiteX36033" y="connsiteY36033"/>
              </a:cxn>
              <a:cxn ang="0">
                <a:pos x="connsiteX36034" y="connsiteY36034"/>
              </a:cxn>
              <a:cxn ang="0">
                <a:pos x="connsiteX36035" y="connsiteY36035"/>
              </a:cxn>
              <a:cxn ang="0">
                <a:pos x="connsiteX36036" y="connsiteY36036"/>
              </a:cxn>
              <a:cxn ang="0">
                <a:pos x="connsiteX36037" y="connsiteY36037"/>
              </a:cxn>
              <a:cxn ang="0">
                <a:pos x="connsiteX36038" y="connsiteY36038"/>
              </a:cxn>
              <a:cxn ang="0">
                <a:pos x="connsiteX36039" y="connsiteY36039"/>
              </a:cxn>
              <a:cxn ang="0">
                <a:pos x="connsiteX36040" y="connsiteY36040"/>
              </a:cxn>
              <a:cxn ang="0">
                <a:pos x="connsiteX36041" y="connsiteY36041"/>
              </a:cxn>
              <a:cxn ang="0">
                <a:pos x="connsiteX36042" y="connsiteY36042"/>
              </a:cxn>
              <a:cxn ang="0">
                <a:pos x="connsiteX36043" y="connsiteY36043"/>
              </a:cxn>
              <a:cxn ang="0">
                <a:pos x="connsiteX36044" y="connsiteY36044"/>
              </a:cxn>
              <a:cxn ang="0">
                <a:pos x="connsiteX36045" y="connsiteY36045"/>
              </a:cxn>
              <a:cxn ang="0">
                <a:pos x="connsiteX36046" y="connsiteY36046"/>
              </a:cxn>
              <a:cxn ang="0">
                <a:pos x="connsiteX36047" y="connsiteY36047"/>
              </a:cxn>
              <a:cxn ang="0">
                <a:pos x="connsiteX36048" y="connsiteY36048"/>
              </a:cxn>
              <a:cxn ang="0">
                <a:pos x="connsiteX36049" y="connsiteY36049"/>
              </a:cxn>
              <a:cxn ang="0">
                <a:pos x="connsiteX36050" y="connsiteY36050"/>
              </a:cxn>
              <a:cxn ang="0">
                <a:pos x="connsiteX36051" y="connsiteY36051"/>
              </a:cxn>
              <a:cxn ang="0">
                <a:pos x="connsiteX36052" y="connsiteY36052"/>
              </a:cxn>
              <a:cxn ang="0">
                <a:pos x="connsiteX36053" y="connsiteY36053"/>
              </a:cxn>
              <a:cxn ang="0">
                <a:pos x="connsiteX36054" y="connsiteY36054"/>
              </a:cxn>
              <a:cxn ang="0">
                <a:pos x="connsiteX36055" y="connsiteY36055"/>
              </a:cxn>
              <a:cxn ang="0">
                <a:pos x="connsiteX36056" y="connsiteY36056"/>
              </a:cxn>
              <a:cxn ang="0">
                <a:pos x="connsiteX36057" y="connsiteY36057"/>
              </a:cxn>
              <a:cxn ang="0">
                <a:pos x="connsiteX36058" y="connsiteY36058"/>
              </a:cxn>
              <a:cxn ang="0">
                <a:pos x="connsiteX36059" y="connsiteY36059"/>
              </a:cxn>
              <a:cxn ang="0">
                <a:pos x="connsiteX36060" y="connsiteY36060"/>
              </a:cxn>
              <a:cxn ang="0">
                <a:pos x="connsiteX36061" y="connsiteY36061"/>
              </a:cxn>
              <a:cxn ang="0">
                <a:pos x="connsiteX36062" y="connsiteY36062"/>
              </a:cxn>
              <a:cxn ang="0">
                <a:pos x="connsiteX36063" y="connsiteY36063"/>
              </a:cxn>
              <a:cxn ang="0">
                <a:pos x="connsiteX36064" y="connsiteY36064"/>
              </a:cxn>
              <a:cxn ang="0">
                <a:pos x="connsiteX36065" y="connsiteY36065"/>
              </a:cxn>
              <a:cxn ang="0">
                <a:pos x="connsiteX36066" y="connsiteY36066"/>
              </a:cxn>
              <a:cxn ang="0">
                <a:pos x="connsiteX36067" y="connsiteY36067"/>
              </a:cxn>
              <a:cxn ang="0">
                <a:pos x="connsiteX36068" y="connsiteY36068"/>
              </a:cxn>
              <a:cxn ang="0">
                <a:pos x="connsiteX36069" y="connsiteY36069"/>
              </a:cxn>
              <a:cxn ang="0">
                <a:pos x="connsiteX36070" y="connsiteY36070"/>
              </a:cxn>
              <a:cxn ang="0">
                <a:pos x="connsiteX36071" y="connsiteY36071"/>
              </a:cxn>
              <a:cxn ang="0">
                <a:pos x="connsiteX36072" y="connsiteY36072"/>
              </a:cxn>
              <a:cxn ang="0">
                <a:pos x="connsiteX36073" y="connsiteY36073"/>
              </a:cxn>
              <a:cxn ang="0">
                <a:pos x="connsiteX36074" y="connsiteY36074"/>
              </a:cxn>
              <a:cxn ang="0">
                <a:pos x="connsiteX36075" y="connsiteY36075"/>
              </a:cxn>
              <a:cxn ang="0">
                <a:pos x="connsiteX36076" y="connsiteY36076"/>
              </a:cxn>
              <a:cxn ang="0">
                <a:pos x="connsiteX36077" y="connsiteY36077"/>
              </a:cxn>
              <a:cxn ang="0">
                <a:pos x="connsiteX36078" y="connsiteY36078"/>
              </a:cxn>
              <a:cxn ang="0">
                <a:pos x="connsiteX36079" y="connsiteY36079"/>
              </a:cxn>
              <a:cxn ang="0">
                <a:pos x="connsiteX36080" y="connsiteY36080"/>
              </a:cxn>
              <a:cxn ang="0">
                <a:pos x="connsiteX36081" y="connsiteY36081"/>
              </a:cxn>
              <a:cxn ang="0">
                <a:pos x="connsiteX36082" y="connsiteY36082"/>
              </a:cxn>
              <a:cxn ang="0">
                <a:pos x="connsiteX36083" y="connsiteY36083"/>
              </a:cxn>
              <a:cxn ang="0">
                <a:pos x="connsiteX36084" y="connsiteY36084"/>
              </a:cxn>
              <a:cxn ang="0">
                <a:pos x="connsiteX36085" y="connsiteY36085"/>
              </a:cxn>
              <a:cxn ang="0">
                <a:pos x="connsiteX36086" y="connsiteY36086"/>
              </a:cxn>
              <a:cxn ang="0">
                <a:pos x="connsiteX36087" y="connsiteY36087"/>
              </a:cxn>
              <a:cxn ang="0">
                <a:pos x="connsiteX36088" y="connsiteY36088"/>
              </a:cxn>
              <a:cxn ang="0">
                <a:pos x="connsiteX36089" y="connsiteY36089"/>
              </a:cxn>
              <a:cxn ang="0">
                <a:pos x="connsiteX36090" y="connsiteY36090"/>
              </a:cxn>
              <a:cxn ang="0">
                <a:pos x="connsiteX36091" y="connsiteY36091"/>
              </a:cxn>
              <a:cxn ang="0">
                <a:pos x="connsiteX36092" y="connsiteY36092"/>
              </a:cxn>
              <a:cxn ang="0">
                <a:pos x="connsiteX36093" y="connsiteY36093"/>
              </a:cxn>
              <a:cxn ang="0">
                <a:pos x="connsiteX36094" y="connsiteY36094"/>
              </a:cxn>
              <a:cxn ang="0">
                <a:pos x="connsiteX36095" y="connsiteY36095"/>
              </a:cxn>
              <a:cxn ang="0">
                <a:pos x="connsiteX36096" y="connsiteY36096"/>
              </a:cxn>
              <a:cxn ang="0">
                <a:pos x="connsiteX36097" y="connsiteY36097"/>
              </a:cxn>
              <a:cxn ang="0">
                <a:pos x="connsiteX36098" y="connsiteY36098"/>
              </a:cxn>
              <a:cxn ang="0">
                <a:pos x="connsiteX36099" y="connsiteY36099"/>
              </a:cxn>
              <a:cxn ang="0">
                <a:pos x="connsiteX36100" y="connsiteY36100"/>
              </a:cxn>
              <a:cxn ang="0">
                <a:pos x="connsiteX36101" y="connsiteY36101"/>
              </a:cxn>
              <a:cxn ang="0">
                <a:pos x="connsiteX36102" y="connsiteY36102"/>
              </a:cxn>
              <a:cxn ang="0">
                <a:pos x="connsiteX36103" y="connsiteY36103"/>
              </a:cxn>
              <a:cxn ang="0">
                <a:pos x="connsiteX36104" y="connsiteY36104"/>
              </a:cxn>
              <a:cxn ang="0">
                <a:pos x="connsiteX36105" y="connsiteY36105"/>
              </a:cxn>
              <a:cxn ang="0">
                <a:pos x="connsiteX36106" y="connsiteY36106"/>
              </a:cxn>
              <a:cxn ang="0">
                <a:pos x="connsiteX36107" y="connsiteY36107"/>
              </a:cxn>
              <a:cxn ang="0">
                <a:pos x="connsiteX36108" y="connsiteY36108"/>
              </a:cxn>
              <a:cxn ang="0">
                <a:pos x="connsiteX36109" y="connsiteY36109"/>
              </a:cxn>
              <a:cxn ang="0">
                <a:pos x="connsiteX36110" y="connsiteY36110"/>
              </a:cxn>
              <a:cxn ang="0">
                <a:pos x="connsiteX36111" y="connsiteY36111"/>
              </a:cxn>
              <a:cxn ang="0">
                <a:pos x="connsiteX36112" y="connsiteY36112"/>
              </a:cxn>
              <a:cxn ang="0">
                <a:pos x="connsiteX36113" y="connsiteY36113"/>
              </a:cxn>
              <a:cxn ang="0">
                <a:pos x="connsiteX36114" y="connsiteY36114"/>
              </a:cxn>
              <a:cxn ang="0">
                <a:pos x="connsiteX36115" y="connsiteY36115"/>
              </a:cxn>
              <a:cxn ang="0">
                <a:pos x="connsiteX36116" y="connsiteY36116"/>
              </a:cxn>
              <a:cxn ang="0">
                <a:pos x="connsiteX36117" y="connsiteY36117"/>
              </a:cxn>
              <a:cxn ang="0">
                <a:pos x="connsiteX36118" y="connsiteY36118"/>
              </a:cxn>
              <a:cxn ang="0">
                <a:pos x="connsiteX36119" y="connsiteY36119"/>
              </a:cxn>
              <a:cxn ang="0">
                <a:pos x="connsiteX36120" y="connsiteY36120"/>
              </a:cxn>
              <a:cxn ang="0">
                <a:pos x="connsiteX36121" y="connsiteY36121"/>
              </a:cxn>
              <a:cxn ang="0">
                <a:pos x="connsiteX36122" y="connsiteY36122"/>
              </a:cxn>
              <a:cxn ang="0">
                <a:pos x="connsiteX36123" y="connsiteY36123"/>
              </a:cxn>
              <a:cxn ang="0">
                <a:pos x="connsiteX36124" y="connsiteY36124"/>
              </a:cxn>
              <a:cxn ang="0">
                <a:pos x="connsiteX36125" y="connsiteY36125"/>
              </a:cxn>
              <a:cxn ang="0">
                <a:pos x="connsiteX36126" y="connsiteY36126"/>
              </a:cxn>
              <a:cxn ang="0">
                <a:pos x="connsiteX36127" y="connsiteY36127"/>
              </a:cxn>
              <a:cxn ang="0">
                <a:pos x="connsiteX36128" y="connsiteY36128"/>
              </a:cxn>
              <a:cxn ang="0">
                <a:pos x="connsiteX36129" y="connsiteY36129"/>
              </a:cxn>
              <a:cxn ang="0">
                <a:pos x="connsiteX36130" y="connsiteY36130"/>
              </a:cxn>
              <a:cxn ang="0">
                <a:pos x="connsiteX36131" y="connsiteY36131"/>
              </a:cxn>
              <a:cxn ang="0">
                <a:pos x="connsiteX36132" y="connsiteY36132"/>
              </a:cxn>
              <a:cxn ang="0">
                <a:pos x="connsiteX36133" y="connsiteY36133"/>
              </a:cxn>
              <a:cxn ang="0">
                <a:pos x="connsiteX36134" y="connsiteY36134"/>
              </a:cxn>
              <a:cxn ang="0">
                <a:pos x="connsiteX36135" y="connsiteY36135"/>
              </a:cxn>
              <a:cxn ang="0">
                <a:pos x="connsiteX36136" y="connsiteY36136"/>
              </a:cxn>
              <a:cxn ang="0">
                <a:pos x="connsiteX36137" y="connsiteY36137"/>
              </a:cxn>
              <a:cxn ang="0">
                <a:pos x="connsiteX36138" y="connsiteY36138"/>
              </a:cxn>
              <a:cxn ang="0">
                <a:pos x="connsiteX36139" y="connsiteY36139"/>
              </a:cxn>
              <a:cxn ang="0">
                <a:pos x="connsiteX36140" y="connsiteY36140"/>
              </a:cxn>
              <a:cxn ang="0">
                <a:pos x="connsiteX36141" y="connsiteY36141"/>
              </a:cxn>
              <a:cxn ang="0">
                <a:pos x="connsiteX36142" y="connsiteY36142"/>
              </a:cxn>
              <a:cxn ang="0">
                <a:pos x="connsiteX36143" y="connsiteY36143"/>
              </a:cxn>
              <a:cxn ang="0">
                <a:pos x="connsiteX36144" y="connsiteY36144"/>
              </a:cxn>
              <a:cxn ang="0">
                <a:pos x="connsiteX36145" y="connsiteY36145"/>
              </a:cxn>
              <a:cxn ang="0">
                <a:pos x="connsiteX36146" y="connsiteY36146"/>
              </a:cxn>
              <a:cxn ang="0">
                <a:pos x="connsiteX36147" y="connsiteY36147"/>
              </a:cxn>
              <a:cxn ang="0">
                <a:pos x="connsiteX36148" y="connsiteY36148"/>
              </a:cxn>
              <a:cxn ang="0">
                <a:pos x="connsiteX36149" y="connsiteY36149"/>
              </a:cxn>
              <a:cxn ang="0">
                <a:pos x="connsiteX36150" y="connsiteY36150"/>
              </a:cxn>
              <a:cxn ang="0">
                <a:pos x="connsiteX36151" y="connsiteY36151"/>
              </a:cxn>
              <a:cxn ang="0">
                <a:pos x="connsiteX36152" y="connsiteY36152"/>
              </a:cxn>
              <a:cxn ang="0">
                <a:pos x="connsiteX36153" y="connsiteY36153"/>
              </a:cxn>
              <a:cxn ang="0">
                <a:pos x="connsiteX36154" y="connsiteY36154"/>
              </a:cxn>
              <a:cxn ang="0">
                <a:pos x="connsiteX36155" y="connsiteY36155"/>
              </a:cxn>
              <a:cxn ang="0">
                <a:pos x="connsiteX36156" y="connsiteY36156"/>
              </a:cxn>
              <a:cxn ang="0">
                <a:pos x="connsiteX36157" y="connsiteY36157"/>
              </a:cxn>
              <a:cxn ang="0">
                <a:pos x="connsiteX36158" y="connsiteY36158"/>
              </a:cxn>
              <a:cxn ang="0">
                <a:pos x="connsiteX36159" y="connsiteY36159"/>
              </a:cxn>
              <a:cxn ang="0">
                <a:pos x="connsiteX36160" y="connsiteY36160"/>
              </a:cxn>
              <a:cxn ang="0">
                <a:pos x="connsiteX36161" y="connsiteY36161"/>
              </a:cxn>
              <a:cxn ang="0">
                <a:pos x="connsiteX36162" y="connsiteY36162"/>
              </a:cxn>
              <a:cxn ang="0">
                <a:pos x="connsiteX36163" y="connsiteY36163"/>
              </a:cxn>
              <a:cxn ang="0">
                <a:pos x="connsiteX36164" y="connsiteY36164"/>
              </a:cxn>
              <a:cxn ang="0">
                <a:pos x="connsiteX36165" y="connsiteY36165"/>
              </a:cxn>
              <a:cxn ang="0">
                <a:pos x="connsiteX36166" y="connsiteY36166"/>
              </a:cxn>
              <a:cxn ang="0">
                <a:pos x="connsiteX36167" y="connsiteY36167"/>
              </a:cxn>
              <a:cxn ang="0">
                <a:pos x="connsiteX36168" y="connsiteY36168"/>
              </a:cxn>
              <a:cxn ang="0">
                <a:pos x="connsiteX36169" y="connsiteY36169"/>
              </a:cxn>
              <a:cxn ang="0">
                <a:pos x="connsiteX36170" y="connsiteY36170"/>
              </a:cxn>
              <a:cxn ang="0">
                <a:pos x="connsiteX36171" y="connsiteY36171"/>
              </a:cxn>
              <a:cxn ang="0">
                <a:pos x="connsiteX36172" y="connsiteY36172"/>
              </a:cxn>
              <a:cxn ang="0">
                <a:pos x="connsiteX36173" y="connsiteY36173"/>
              </a:cxn>
              <a:cxn ang="0">
                <a:pos x="connsiteX36174" y="connsiteY36174"/>
              </a:cxn>
              <a:cxn ang="0">
                <a:pos x="connsiteX36175" y="connsiteY36175"/>
              </a:cxn>
              <a:cxn ang="0">
                <a:pos x="connsiteX36176" y="connsiteY36176"/>
              </a:cxn>
              <a:cxn ang="0">
                <a:pos x="connsiteX36177" y="connsiteY36177"/>
              </a:cxn>
              <a:cxn ang="0">
                <a:pos x="connsiteX36178" y="connsiteY36178"/>
              </a:cxn>
              <a:cxn ang="0">
                <a:pos x="connsiteX36179" y="connsiteY36179"/>
              </a:cxn>
              <a:cxn ang="0">
                <a:pos x="connsiteX36180" y="connsiteY36180"/>
              </a:cxn>
              <a:cxn ang="0">
                <a:pos x="connsiteX36181" y="connsiteY36181"/>
              </a:cxn>
              <a:cxn ang="0">
                <a:pos x="connsiteX36182" y="connsiteY36182"/>
              </a:cxn>
              <a:cxn ang="0">
                <a:pos x="connsiteX36183" y="connsiteY36183"/>
              </a:cxn>
              <a:cxn ang="0">
                <a:pos x="connsiteX36184" y="connsiteY36184"/>
              </a:cxn>
              <a:cxn ang="0">
                <a:pos x="connsiteX36185" y="connsiteY36185"/>
              </a:cxn>
              <a:cxn ang="0">
                <a:pos x="connsiteX36186" y="connsiteY36186"/>
              </a:cxn>
              <a:cxn ang="0">
                <a:pos x="connsiteX36187" y="connsiteY36187"/>
              </a:cxn>
              <a:cxn ang="0">
                <a:pos x="connsiteX36188" y="connsiteY36188"/>
              </a:cxn>
              <a:cxn ang="0">
                <a:pos x="connsiteX36189" y="connsiteY36189"/>
              </a:cxn>
              <a:cxn ang="0">
                <a:pos x="connsiteX36190" y="connsiteY36190"/>
              </a:cxn>
              <a:cxn ang="0">
                <a:pos x="connsiteX36191" y="connsiteY36191"/>
              </a:cxn>
              <a:cxn ang="0">
                <a:pos x="connsiteX36192" y="connsiteY36192"/>
              </a:cxn>
              <a:cxn ang="0">
                <a:pos x="connsiteX36193" y="connsiteY36193"/>
              </a:cxn>
              <a:cxn ang="0">
                <a:pos x="connsiteX36194" y="connsiteY36194"/>
              </a:cxn>
              <a:cxn ang="0">
                <a:pos x="connsiteX36195" y="connsiteY36195"/>
              </a:cxn>
              <a:cxn ang="0">
                <a:pos x="connsiteX36196" y="connsiteY36196"/>
              </a:cxn>
              <a:cxn ang="0">
                <a:pos x="connsiteX36197" y="connsiteY36197"/>
              </a:cxn>
              <a:cxn ang="0">
                <a:pos x="connsiteX36198" y="connsiteY36198"/>
              </a:cxn>
              <a:cxn ang="0">
                <a:pos x="connsiteX36199" y="connsiteY36199"/>
              </a:cxn>
              <a:cxn ang="0">
                <a:pos x="connsiteX36200" y="connsiteY36200"/>
              </a:cxn>
              <a:cxn ang="0">
                <a:pos x="connsiteX36201" y="connsiteY36201"/>
              </a:cxn>
              <a:cxn ang="0">
                <a:pos x="connsiteX36202" y="connsiteY36202"/>
              </a:cxn>
              <a:cxn ang="0">
                <a:pos x="connsiteX36203" y="connsiteY36203"/>
              </a:cxn>
              <a:cxn ang="0">
                <a:pos x="connsiteX36204" y="connsiteY36204"/>
              </a:cxn>
              <a:cxn ang="0">
                <a:pos x="connsiteX36205" y="connsiteY36205"/>
              </a:cxn>
              <a:cxn ang="0">
                <a:pos x="connsiteX36206" y="connsiteY36206"/>
              </a:cxn>
              <a:cxn ang="0">
                <a:pos x="connsiteX36207" y="connsiteY36207"/>
              </a:cxn>
              <a:cxn ang="0">
                <a:pos x="connsiteX36208" y="connsiteY36208"/>
              </a:cxn>
              <a:cxn ang="0">
                <a:pos x="connsiteX36209" y="connsiteY36209"/>
              </a:cxn>
              <a:cxn ang="0">
                <a:pos x="connsiteX36210" y="connsiteY36210"/>
              </a:cxn>
              <a:cxn ang="0">
                <a:pos x="connsiteX36211" y="connsiteY36211"/>
              </a:cxn>
              <a:cxn ang="0">
                <a:pos x="connsiteX36212" y="connsiteY36212"/>
              </a:cxn>
              <a:cxn ang="0">
                <a:pos x="connsiteX36213" y="connsiteY36213"/>
              </a:cxn>
              <a:cxn ang="0">
                <a:pos x="connsiteX36214" y="connsiteY36214"/>
              </a:cxn>
              <a:cxn ang="0">
                <a:pos x="connsiteX36215" y="connsiteY36215"/>
              </a:cxn>
              <a:cxn ang="0">
                <a:pos x="connsiteX36216" y="connsiteY36216"/>
              </a:cxn>
              <a:cxn ang="0">
                <a:pos x="connsiteX36217" y="connsiteY36217"/>
              </a:cxn>
              <a:cxn ang="0">
                <a:pos x="connsiteX36218" y="connsiteY36218"/>
              </a:cxn>
              <a:cxn ang="0">
                <a:pos x="connsiteX36219" y="connsiteY36219"/>
              </a:cxn>
              <a:cxn ang="0">
                <a:pos x="connsiteX36220" y="connsiteY36220"/>
              </a:cxn>
              <a:cxn ang="0">
                <a:pos x="connsiteX36221" y="connsiteY36221"/>
              </a:cxn>
              <a:cxn ang="0">
                <a:pos x="connsiteX36222" y="connsiteY36222"/>
              </a:cxn>
              <a:cxn ang="0">
                <a:pos x="connsiteX36223" y="connsiteY36223"/>
              </a:cxn>
              <a:cxn ang="0">
                <a:pos x="connsiteX36224" y="connsiteY36224"/>
              </a:cxn>
              <a:cxn ang="0">
                <a:pos x="connsiteX36225" y="connsiteY36225"/>
              </a:cxn>
              <a:cxn ang="0">
                <a:pos x="connsiteX36226" y="connsiteY36226"/>
              </a:cxn>
              <a:cxn ang="0">
                <a:pos x="connsiteX36227" y="connsiteY36227"/>
              </a:cxn>
              <a:cxn ang="0">
                <a:pos x="connsiteX36228" y="connsiteY36228"/>
              </a:cxn>
              <a:cxn ang="0">
                <a:pos x="connsiteX36229" y="connsiteY36229"/>
              </a:cxn>
              <a:cxn ang="0">
                <a:pos x="connsiteX36230" y="connsiteY36230"/>
              </a:cxn>
              <a:cxn ang="0">
                <a:pos x="connsiteX36231" y="connsiteY36231"/>
              </a:cxn>
              <a:cxn ang="0">
                <a:pos x="connsiteX36232" y="connsiteY36232"/>
              </a:cxn>
              <a:cxn ang="0">
                <a:pos x="connsiteX36233" y="connsiteY36233"/>
              </a:cxn>
              <a:cxn ang="0">
                <a:pos x="connsiteX36234" y="connsiteY36234"/>
              </a:cxn>
              <a:cxn ang="0">
                <a:pos x="connsiteX36235" y="connsiteY36235"/>
              </a:cxn>
              <a:cxn ang="0">
                <a:pos x="connsiteX36236" y="connsiteY36236"/>
              </a:cxn>
              <a:cxn ang="0">
                <a:pos x="connsiteX36237" y="connsiteY36237"/>
              </a:cxn>
              <a:cxn ang="0">
                <a:pos x="connsiteX36238" y="connsiteY36238"/>
              </a:cxn>
              <a:cxn ang="0">
                <a:pos x="connsiteX36239" y="connsiteY36239"/>
              </a:cxn>
              <a:cxn ang="0">
                <a:pos x="connsiteX36240" y="connsiteY36240"/>
              </a:cxn>
              <a:cxn ang="0">
                <a:pos x="connsiteX36241" y="connsiteY36241"/>
              </a:cxn>
              <a:cxn ang="0">
                <a:pos x="connsiteX36242" y="connsiteY36242"/>
              </a:cxn>
              <a:cxn ang="0">
                <a:pos x="connsiteX36243" y="connsiteY36243"/>
              </a:cxn>
              <a:cxn ang="0">
                <a:pos x="connsiteX36244" y="connsiteY36244"/>
              </a:cxn>
              <a:cxn ang="0">
                <a:pos x="connsiteX36245" y="connsiteY36245"/>
              </a:cxn>
              <a:cxn ang="0">
                <a:pos x="connsiteX36246" y="connsiteY36246"/>
              </a:cxn>
              <a:cxn ang="0">
                <a:pos x="connsiteX36247" y="connsiteY36247"/>
              </a:cxn>
              <a:cxn ang="0">
                <a:pos x="connsiteX36248" y="connsiteY36248"/>
              </a:cxn>
              <a:cxn ang="0">
                <a:pos x="connsiteX36249" y="connsiteY36249"/>
              </a:cxn>
              <a:cxn ang="0">
                <a:pos x="connsiteX36250" y="connsiteY36250"/>
              </a:cxn>
              <a:cxn ang="0">
                <a:pos x="connsiteX36251" y="connsiteY36251"/>
              </a:cxn>
              <a:cxn ang="0">
                <a:pos x="connsiteX36252" y="connsiteY36252"/>
              </a:cxn>
              <a:cxn ang="0">
                <a:pos x="connsiteX36253" y="connsiteY36253"/>
              </a:cxn>
              <a:cxn ang="0">
                <a:pos x="connsiteX36254" y="connsiteY36254"/>
              </a:cxn>
              <a:cxn ang="0">
                <a:pos x="connsiteX36255" y="connsiteY36255"/>
              </a:cxn>
              <a:cxn ang="0">
                <a:pos x="connsiteX36256" y="connsiteY36256"/>
              </a:cxn>
              <a:cxn ang="0">
                <a:pos x="connsiteX36257" y="connsiteY36257"/>
              </a:cxn>
              <a:cxn ang="0">
                <a:pos x="connsiteX36258" y="connsiteY36258"/>
              </a:cxn>
              <a:cxn ang="0">
                <a:pos x="connsiteX36259" y="connsiteY36259"/>
              </a:cxn>
              <a:cxn ang="0">
                <a:pos x="connsiteX36260" y="connsiteY36260"/>
              </a:cxn>
              <a:cxn ang="0">
                <a:pos x="connsiteX36261" y="connsiteY36261"/>
              </a:cxn>
              <a:cxn ang="0">
                <a:pos x="connsiteX36262" y="connsiteY36262"/>
              </a:cxn>
              <a:cxn ang="0">
                <a:pos x="connsiteX36263" y="connsiteY36263"/>
              </a:cxn>
              <a:cxn ang="0">
                <a:pos x="connsiteX36264" y="connsiteY36264"/>
              </a:cxn>
              <a:cxn ang="0">
                <a:pos x="connsiteX36265" y="connsiteY36265"/>
              </a:cxn>
              <a:cxn ang="0">
                <a:pos x="connsiteX36266" y="connsiteY36266"/>
              </a:cxn>
              <a:cxn ang="0">
                <a:pos x="connsiteX36267" y="connsiteY36267"/>
              </a:cxn>
              <a:cxn ang="0">
                <a:pos x="connsiteX36268" y="connsiteY36268"/>
              </a:cxn>
              <a:cxn ang="0">
                <a:pos x="connsiteX36269" y="connsiteY36269"/>
              </a:cxn>
              <a:cxn ang="0">
                <a:pos x="connsiteX36270" y="connsiteY36270"/>
              </a:cxn>
              <a:cxn ang="0">
                <a:pos x="connsiteX36271" y="connsiteY36271"/>
              </a:cxn>
              <a:cxn ang="0">
                <a:pos x="connsiteX36272" y="connsiteY36272"/>
              </a:cxn>
              <a:cxn ang="0">
                <a:pos x="connsiteX36273" y="connsiteY36273"/>
              </a:cxn>
              <a:cxn ang="0">
                <a:pos x="connsiteX36274" y="connsiteY36274"/>
              </a:cxn>
              <a:cxn ang="0">
                <a:pos x="connsiteX36275" y="connsiteY36275"/>
              </a:cxn>
              <a:cxn ang="0">
                <a:pos x="connsiteX36276" y="connsiteY36276"/>
              </a:cxn>
              <a:cxn ang="0">
                <a:pos x="connsiteX36277" y="connsiteY36277"/>
              </a:cxn>
              <a:cxn ang="0">
                <a:pos x="connsiteX36278" y="connsiteY36278"/>
              </a:cxn>
              <a:cxn ang="0">
                <a:pos x="connsiteX36279" y="connsiteY36279"/>
              </a:cxn>
              <a:cxn ang="0">
                <a:pos x="connsiteX36280" y="connsiteY36280"/>
              </a:cxn>
              <a:cxn ang="0">
                <a:pos x="connsiteX36281" y="connsiteY36281"/>
              </a:cxn>
              <a:cxn ang="0">
                <a:pos x="connsiteX36282" y="connsiteY36282"/>
              </a:cxn>
              <a:cxn ang="0">
                <a:pos x="connsiteX36283" y="connsiteY36283"/>
              </a:cxn>
              <a:cxn ang="0">
                <a:pos x="connsiteX36284" y="connsiteY36284"/>
              </a:cxn>
              <a:cxn ang="0">
                <a:pos x="connsiteX36285" y="connsiteY36285"/>
              </a:cxn>
              <a:cxn ang="0">
                <a:pos x="connsiteX36286" y="connsiteY36286"/>
              </a:cxn>
              <a:cxn ang="0">
                <a:pos x="connsiteX36287" y="connsiteY36287"/>
              </a:cxn>
              <a:cxn ang="0">
                <a:pos x="connsiteX36288" y="connsiteY36288"/>
              </a:cxn>
              <a:cxn ang="0">
                <a:pos x="connsiteX36289" y="connsiteY36289"/>
              </a:cxn>
              <a:cxn ang="0">
                <a:pos x="connsiteX36290" y="connsiteY36290"/>
              </a:cxn>
              <a:cxn ang="0">
                <a:pos x="connsiteX36291" y="connsiteY36291"/>
              </a:cxn>
              <a:cxn ang="0">
                <a:pos x="connsiteX36292" y="connsiteY36292"/>
              </a:cxn>
              <a:cxn ang="0">
                <a:pos x="connsiteX36293" y="connsiteY36293"/>
              </a:cxn>
              <a:cxn ang="0">
                <a:pos x="connsiteX36294" y="connsiteY36294"/>
              </a:cxn>
              <a:cxn ang="0">
                <a:pos x="connsiteX36295" y="connsiteY36295"/>
              </a:cxn>
              <a:cxn ang="0">
                <a:pos x="connsiteX36296" y="connsiteY36296"/>
              </a:cxn>
              <a:cxn ang="0">
                <a:pos x="connsiteX36297" y="connsiteY36297"/>
              </a:cxn>
              <a:cxn ang="0">
                <a:pos x="connsiteX36298" y="connsiteY36298"/>
              </a:cxn>
              <a:cxn ang="0">
                <a:pos x="connsiteX36299" y="connsiteY36299"/>
              </a:cxn>
              <a:cxn ang="0">
                <a:pos x="connsiteX36300" y="connsiteY36300"/>
              </a:cxn>
              <a:cxn ang="0">
                <a:pos x="connsiteX36301" y="connsiteY36301"/>
              </a:cxn>
              <a:cxn ang="0">
                <a:pos x="connsiteX36302" y="connsiteY36302"/>
              </a:cxn>
              <a:cxn ang="0">
                <a:pos x="connsiteX36303" y="connsiteY36303"/>
              </a:cxn>
              <a:cxn ang="0">
                <a:pos x="connsiteX36304" y="connsiteY36304"/>
              </a:cxn>
              <a:cxn ang="0">
                <a:pos x="connsiteX36305" y="connsiteY36305"/>
              </a:cxn>
              <a:cxn ang="0">
                <a:pos x="connsiteX36306" y="connsiteY36306"/>
              </a:cxn>
              <a:cxn ang="0">
                <a:pos x="connsiteX36307" y="connsiteY36307"/>
              </a:cxn>
              <a:cxn ang="0">
                <a:pos x="connsiteX36308" y="connsiteY36308"/>
              </a:cxn>
              <a:cxn ang="0">
                <a:pos x="connsiteX36309" y="connsiteY36309"/>
              </a:cxn>
              <a:cxn ang="0">
                <a:pos x="connsiteX36310" y="connsiteY36310"/>
              </a:cxn>
              <a:cxn ang="0">
                <a:pos x="connsiteX36311" y="connsiteY36311"/>
              </a:cxn>
              <a:cxn ang="0">
                <a:pos x="connsiteX36312" y="connsiteY36312"/>
              </a:cxn>
              <a:cxn ang="0">
                <a:pos x="connsiteX36313" y="connsiteY36313"/>
              </a:cxn>
              <a:cxn ang="0">
                <a:pos x="connsiteX36314" y="connsiteY36314"/>
              </a:cxn>
              <a:cxn ang="0">
                <a:pos x="connsiteX36315" y="connsiteY36315"/>
              </a:cxn>
              <a:cxn ang="0">
                <a:pos x="connsiteX36316" y="connsiteY36316"/>
              </a:cxn>
              <a:cxn ang="0">
                <a:pos x="connsiteX36317" y="connsiteY36317"/>
              </a:cxn>
              <a:cxn ang="0">
                <a:pos x="connsiteX36318" y="connsiteY36318"/>
              </a:cxn>
              <a:cxn ang="0">
                <a:pos x="connsiteX36319" y="connsiteY36319"/>
              </a:cxn>
              <a:cxn ang="0">
                <a:pos x="connsiteX36320" y="connsiteY36320"/>
              </a:cxn>
              <a:cxn ang="0">
                <a:pos x="connsiteX36321" y="connsiteY36321"/>
              </a:cxn>
              <a:cxn ang="0">
                <a:pos x="connsiteX36322" y="connsiteY36322"/>
              </a:cxn>
              <a:cxn ang="0">
                <a:pos x="connsiteX36323" y="connsiteY36323"/>
              </a:cxn>
              <a:cxn ang="0">
                <a:pos x="connsiteX36324" y="connsiteY36324"/>
              </a:cxn>
              <a:cxn ang="0">
                <a:pos x="connsiteX36325" y="connsiteY36325"/>
              </a:cxn>
              <a:cxn ang="0">
                <a:pos x="connsiteX36326" y="connsiteY36326"/>
              </a:cxn>
              <a:cxn ang="0">
                <a:pos x="connsiteX36327" y="connsiteY36327"/>
              </a:cxn>
              <a:cxn ang="0">
                <a:pos x="connsiteX36328" y="connsiteY36328"/>
              </a:cxn>
              <a:cxn ang="0">
                <a:pos x="connsiteX36329" y="connsiteY36329"/>
              </a:cxn>
              <a:cxn ang="0">
                <a:pos x="connsiteX36330" y="connsiteY36330"/>
              </a:cxn>
              <a:cxn ang="0">
                <a:pos x="connsiteX36331" y="connsiteY36331"/>
              </a:cxn>
              <a:cxn ang="0">
                <a:pos x="connsiteX36332" y="connsiteY36332"/>
              </a:cxn>
              <a:cxn ang="0">
                <a:pos x="connsiteX36333" y="connsiteY36333"/>
              </a:cxn>
              <a:cxn ang="0">
                <a:pos x="connsiteX36334" y="connsiteY36334"/>
              </a:cxn>
              <a:cxn ang="0">
                <a:pos x="connsiteX36335" y="connsiteY36335"/>
              </a:cxn>
              <a:cxn ang="0">
                <a:pos x="connsiteX36336" y="connsiteY36336"/>
              </a:cxn>
              <a:cxn ang="0">
                <a:pos x="connsiteX36337" y="connsiteY36337"/>
              </a:cxn>
              <a:cxn ang="0">
                <a:pos x="connsiteX36338" y="connsiteY36338"/>
              </a:cxn>
              <a:cxn ang="0">
                <a:pos x="connsiteX36339" y="connsiteY36339"/>
              </a:cxn>
              <a:cxn ang="0">
                <a:pos x="connsiteX36340" y="connsiteY36340"/>
              </a:cxn>
              <a:cxn ang="0">
                <a:pos x="connsiteX36341" y="connsiteY36341"/>
              </a:cxn>
              <a:cxn ang="0">
                <a:pos x="connsiteX36342" y="connsiteY36342"/>
              </a:cxn>
              <a:cxn ang="0">
                <a:pos x="connsiteX36343" y="connsiteY36343"/>
              </a:cxn>
              <a:cxn ang="0">
                <a:pos x="connsiteX36344" y="connsiteY36344"/>
              </a:cxn>
              <a:cxn ang="0">
                <a:pos x="connsiteX36345" y="connsiteY36345"/>
              </a:cxn>
              <a:cxn ang="0">
                <a:pos x="connsiteX36346" y="connsiteY36346"/>
              </a:cxn>
              <a:cxn ang="0">
                <a:pos x="connsiteX36347" y="connsiteY36347"/>
              </a:cxn>
              <a:cxn ang="0">
                <a:pos x="connsiteX36348" y="connsiteY36348"/>
              </a:cxn>
              <a:cxn ang="0">
                <a:pos x="connsiteX36349" y="connsiteY36349"/>
              </a:cxn>
              <a:cxn ang="0">
                <a:pos x="connsiteX36350" y="connsiteY36350"/>
              </a:cxn>
              <a:cxn ang="0">
                <a:pos x="connsiteX36351" y="connsiteY36351"/>
              </a:cxn>
              <a:cxn ang="0">
                <a:pos x="connsiteX36352" y="connsiteY36352"/>
              </a:cxn>
              <a:cxn ang="0">
                <a:pos x="connsiteX36353" y="connsiteY36353"/>
              </a:cxn>
              <a:cxn ang="0">
                <a:pos x="connsiteX36354" y="connsiteY36354"/>
              </a:cxn>
              <a:cxn ang="0">
                <a:pos x="connsiteX36355" y="connsiteY36355"/>
              </a:cxn>
              <a:cxn ang="0">
                <a:pos x="connsiteX36356" y="connsiteY36356"/>
              </a:cxn>
              <a:cxn ang="0">
                <a:pos x="connsiteX36357" y="connsiteY36357"/>
              </a:cxn>
              <a:cxn ang="0">
                <a:pos x="connsiteX36358" y="connsiteY36358"/>
              </a:cxn>
              <a:cxn ang="0">
                <a:pos x="connsiteX36359" y="connsiteY36359"/>
              </a:cxn>
              <a:cxn ang="0">
                <a:pos x="connsiteX36360" y="connsiteY36360"/>
              </a:cxn>
              <a:cxn ang="0">
                <a:pos x="connsiteX36361" y="connsiteY36361"/>
              </a:cxn>
              <a:cxn ang="0">
                <a:pos x="connsiteX36362" y="connsiteY36362"/>
              </a:cxn>
              <a:cxn ang="0">
                <a:pos x="connsiteX36363" y="connsiteY36363"/>
              </a:cxn>
              <a:cxn ang="0">
                <a:pos x="connsiteX36364" y="connsiteY36364"/>
              </a:cxn>
              <a:cxn ang="0">
                <a:pos x="connsiteX36365" y="connsiteY36365"/>
              </a:cxn>
              <a:cxn ang="0">
                <a:pos x="connsiteX36366" y="connsiteY36366"/>
              </a:cxn>
              <a:cxn ang="0">
                <a:pos x="connsiteX36367" y="connsiteY36367"/>
              </a:cxn>
              <a:cxn ang="0">
                <a:pos x="connsiteX36368" y="connsiteY36368"/>
              </a:cxn>
              <a:cxn ang="0">
                <a:pos x="connsiteX36369" y="connsiteY36369"/>
              </a:cxn>
              <a:cxn ang="0">
                <a:pos x="connsiteX36370" y="connsiteY36370"/>
              </a:cxn>
              <a:cxn ang="0">
                <a:pos x="connsiteX36371" y="connsiteY36371"/>
              </a:cxn>
              <a:cxn ang="0">
                <a:pos x="connsiteX36372" y="connsiteY36372"/>
              </a:cxn>
              <a:cxn ang="0">
                <a:pos x="connsiteX36373" y="connsiteY36373"/>
              </a:cxn>
              <a:cxn ang="0">
                <a:pos x="connsiteX36374" y="connsiteY36374"/>
              </a:cxn>
              <a:cxn ang="0">
                <a:pos x="connsiteX36375" y="connsiteY36375"/>
              </a:cxn>
              <a:cxn ang="0">
                <a:pos x="connsiteX36376" y="connsiteY36376"/>
              </a:cxn>
              <a:cxn ang="0">
                <a:pos x="connsiteX36377" y="connsiteY36377"/>
              </a:cxn>
              <a:cxn ang="0">
                <a:pos x="connsiteX36378" y="connsiteY36378"/>
              </a:cxn>
              <a:cxn ang="0">
                <a:pos x="connsiteX36379" y="connsiteY36379"/>
              </a:cxn>
              <a:cxn ang="0">
                <a:pos x="connsiteX36380" y="connsiteY36380"/>
              </a:cxn>
              <a:cxn ang="0">
                <a:pos x="connsiteX36381" y="connsiteY36381"/>
              </a:cxn>
              <a:cxn ang="0">
                <a:pos x="connsiteX36382" y="connsiteY36382"/>
              </a:cxn>
              <a:cxn ang="0">
                <a:pos x="connsiteX36383" y="connsiteY36383"/>
              </a:cxn>
              <a:cxn ang="0">
                <a:pos x="connsiteX36384" y="connsiteY36384"/>
              </a:cxn>
              <a:cxn ang="0">
                <a:pos x="connsiteX36385" y="connsiteY36385"/>
              </a:cxn>
              <a:cxn ang="0">
                <a:pos x="connsiteX36386" y="connsiteY36386"/>
              </a:cxn>
              <a:cxn ang="0">
                <a:pos x="connsiteX36387" y="connsiteY36387"/>
              </a:cxn>
              <a:cxn ang="0">
                <a:pos x="connsiteX36388" y="connsiteY36388"/>
              </a:cxn>
              <a:cxn ang="0">
                <a:pos x="connsiteX36389" y="connsiteY36389"/>
              </a:cxn>
              <a:cxn ang="0">
                <a:pos x="connsiteX36390" y="connsiteY36390"/>
              </a:cxn>
              <a:cxn ang="0">
                <a:pos x="connsiteX36391" y="connsiteY36391"/>
              </a:cxn>
              <a:cxn ang="0">
                <a:pos x="connsiteX36392" y="connsiteY36392"/>
              </a:cxn>
              <a:cxn ang="0">
                <a:pos x="connsiteX36393" y="connsiteY36393"/>
              </a:cxn>
              <a:cxn ang="0">
                <a:pos x="connsiteX36394" y="connsiteY36394"/>
              </a:cxn>
              <a:cxn ang="0">
                <a:pos x="connsiteX36395" y="connsiteY36395"/>
              </a:cxn>
              <a:cxn ang="0">
                <a:pos x="connsiteX36396" y="connsiteY36396"/>
              </a:cxn>
              <a:cxn ang="0">
                <a:pos x="connsiteX36397" y="connsiteY36397"/>
              </a:cxn>
              <a:cxn ang="0">
                <a:pos x="connsiteX36398" y="connsiteY36398"/>
              </a:cxn>
              <a:cxn ang="0">
                <a:pos x="connsiteX36399" y="connsiteY36399"/>
              </a:cxn>
              <a:cxn ang="0">
                <a:pos x="connsiteX36400" y="connsiteY36400"/>
              </a:cxn>
              <a:cxn ang="0">
                <a:pos x="connsiteX36401" y="connsiteY36401"/>
              </a:cxn>
              <a:cxn ang="0">
                <a:pos x="connsiteX36402" y="connsiteY36402"/>
              </a:cxn>
              <a:cxn ang="0">
                <a:pos x="connsiteX36403" y="connsiteY36403"/>
              </a:cxn>
              <a:cxn ang="0">
                <a:pos x="connsiteX36404" y="connsiteY36404"/>
              </a:cxn>
              <a:cxn ang="0">
                <a:pos x="connsiteX36405" y="connsiteY36405"/>
              </a:cxn>
              <a:cxn ang="0">
                <a:pos x="connsiteX36406" y="connsiteY36406"/>
              </a:cxn>
              <a:cxn ang="0">
                <a:pos x="connsiteX36407" y="connsiteY36407"/>
              </a:cxn>
              <a:cxn ang="0">
                <a:pos x="connsiteX36408" y="connsiteY36408"/>
              </a:cxn>
              <a:cxn ang="0">
                <a:pos x="connsiteX36409" y="connsiteY36409"/>
              </a:cxn>
              <a:cxn ang="0">
                <a:pos x="connsiteX36410" y="connsiteY36410"/>
              </a:cxn>
              <a:cxn ang="0">
                <a:pos x="connsiteX36411" y="connsiteY36411"/>
              </a:cxn>
              <a:cxn ang="0">
                <a:pos x="connsiteX36412" y="connsiteY36412"/>
              </a:cxn>
              <a:cxn ang="0">
                <a:pos x="connsiteX36413" y="connsiteY36413"/>
              </a:cxn>
              <a:cxn ang="0">
                <a:pos x="connsiteX36414" y="connsiteY36414"/>
              </a:cxn>
              <a:cxn ang="0">
                <a:pos x="connsiteX36415" y="connsiteY36415"/>
              </a:cxn>
              <a:cxn ang="0">
                <a:pos x="connsiteX36416" y="connsiteY36416"/>
              </a:cxn>
              <a:cxn ang="0">
                <a:pos x="connsiteX36417" y="connsiteY36417"/>
              </a:cxn>
              <a:cxn ang="0">
                <a:pos x="connsiteX36418" y="connsiteY36418"/>
              </a:cxn>
              <a:cxn ang="0">
                <a:pos x="connsiteX36419" y="connsiteY36419"/>
              </a:cxn>
              <a:cxn ang="0">
                <a:pos x="connsiteX36420" y="connsiteY36420"/>
              </a:cxn>
              <a:cxn ang="0">
                <a:pos x="connsiteX36421" y="connsiteY36421"/>
              </a:cxn>
              <a:cxn ang="0">
                <a:pos x="connsiteX36422" y="connsiteY36422"/>
              </a:cxn>
              <a:cxn ang="0">
                <a:pos x="connsiteX36423" y="connsiteY36423"/>
              </a:cxn>
              <a:cxn ang="0">
                <a:pos x="connsiteX36424" y="connsiteY36424"/>
              </a:cxn>
              <a:cxn ang="0">
                <a:pos x="connsiteX36425" y="connsiteY36425"/>
              </a:cxn>
              <a:cxn ang="0">
                <a:pos x="connsiteX36426" y="connsiteY36426"/>
              </a:cxn>
              <a:cxn ang="0">
                <a:pos x="connsiteX36427" y="connsiteY36427"/>
              </a:cxn>
              <a:cxn ang="0">
                <a:pos x="connsiteX36428" y="connsiteY36428"/>
              </a:cxn>
              <a:cxn ang="0">
                <a:pos x="connsiteX36429" y="connsiteY36429"/>
              </a:cxn>
              <a:cxn ang="0">
                <a:pos x="connsiteX36430" y="connsiteY36430"/>
              </a:cxn>
              <a:cxn ang="0">
                <a:pos x="connsiteX36431" y="connsiteY36431"/>
              </a:cxn>
              <a:cxn ang="0">
                <a:pos x="connsiteX36432" y="connsiteY36432"/>
              </a:cxn>
              <a:cxn ang="0">
                <a:pos x="connsiteX36433" y="connsiteY36433"/>
              </a:cxn>
              <a:cxn ang="0">
                <a:pos x="connsiteX36434" y="connsiteY36434"/>
              </a:cxn>
              <a:cxn ang="0">
                <a:pos x="connsiteX36435" y="connsiteY36435"/>
              </a:cxn>
              <a:cxn ang="0">
                <a:pos x="connsiteX36436" y="connsiteY36436"/>
              </a:cxn>
              <a:cxn ang="0">
                <a:pos x="connsiteX36437" y="connsiteY36437"/>
              </a:cxn>
              <a:cxn ang="0">
                <a:pos x="connsiteX36438" y="connsiteY36438"/>
              </a:cxn>
              <a:cxn ang="0">
                <a:pos x="connsiteX36439" y="connsiteY36439"/>
              </a:cxn>
              <a:cxn ang="0">
                <a:pos x="connsiteX36440" y="connsiteY36440"/>
              </a:cxn>
              <a:cxn ang="0">
                <a:pos x="connsiteX36441" y="connsiteY36441"/>
              </a:cxn>
              <a:cxn ang="0">
                <a:pos x="connsiteX36442" y="connsiteY36442"/>
              </a:cxn>
              <a:cxn ang="0">
                <a:pos x="connsiteX36443" y="connsiteY36443"/>
              </a:cxn>
              <a:cxn ang="0">
                <a:pos x="connsiteX36444" y="connsiteY36444"/>
              </a:cxn>
              <a:cxn ang="0">
                <a:pos x="connsiteX36445" y="connsiteY36445"/>
              </a:cxn>
              <a:cxn ang="0">
                <a:pos x="connsiteX36446" y="connsiteY36446"/>
              </a:cxn>
              <a:cxn ang="0">
                <a:pos x="connsiteX36447" y="connsiteY36447"/>
              </a:cxn>
              <a:cxn ang="0">
                <a:pos x="connsiteX36448" y="connsiteY36448"/>
              </a:cxn>
              <a:cxn ang="0">
                <a:pos x="connsiteX36449" y="connsiteY36449"/>
              </a:cxn>
              <a:cxn ang="0">
                <a:pos x="connsiteX36450" y="connsiteY36450"/>
              </a:cxn>
              <a:cxn ang="0">
                <a:pos x="connsiteX36451" y="connsiteY36451"/>
              </a:cxn>
              <a:cxn ang="0">
                <a:pos x="connsiteX36452" y="connsiteY36452"/>
              </a:cxn>
              <a:cxn ang="0">
                <a:pos x="connsiteX36453" y="connsiteY36453"/>
              </a:cxn>
              <a:cxn ang="0">
                <a:pos x="connsiteX36454" y="connsiteY36454"/>
              </a:cxn>
              <a:cxn ang="0">
                <a:pos x="connsiteX36455" y="connsiteY36455"/>
              </a:cxn>
              <a:cxn ang="0">
                <a:pos x="connsiteX36456" y="connsiteY36456"/>
              </a:cxn>
              <a:cxn ang="0">
                <a:pos x="connsiteX36457" y="connsiteY36457"/>
              </a:cxn>
              <a:cxn ang="0">
                <a:pos x="connsiteX36458" y="connsiteY36458"/>
              </a:cxn>
              <a:cxn ang="0">
                <a:pos x="connsiteX36459" y="connsiteY36459"/>
              </a:cxn>
              <a:cxn ang="0">
                <a:pos x="connsiteX36460" y="connsiteY36460"/>
              </a:cxn>
              <a:cxn ang="0">
                <a:pos x="connsiteX36461" y="connsiteY36461"/>
              </a:cxn>
              <a:cxn ang="0">
                <a:pos x="connsiteX36462" y="connsiteY36462"/>
              </a:cxn>
              <a:cxn ang="0">
                <a:pos x="connsiteX36463" y="connsiteY36463"/>
              </a:cxn>
              <a:cxn ang="0">
                <a:pos x="connsiteX36464" y="connsiteY36464"/>
              </a:cxn>
              <a:cxn ang="0">
                <a:pos x="connsiteX36465" y="connsiteY36465"/>
              </a:cxn>
              <a:cxn ang="0">
                <a:pos x="connsiteX36466" y="connsiteY36466"/>
              </a:cxn>
              <a:cxn ang="0">
                <a:pos x="connsiteX36467" y="connsiteY36467"/>
              </a:cxn>
              <a:cxn ang="0">
                <a:pos x="connsiteX36468" y="connsiteY36468"/>
              </a:cxn>
              <a:cxn ang="0">
                <a:pos x="connsiteX36469" y="connsiteY36469"/>
              </a:cxn>
              <a:cxn ang="0">
                <a:pos x="connsiteX36470" y="connsiteY36470"/>
              </a:cxn>
              <a:cxn ang="0">
                <a:pos x="connsiteX36471" y="connsiteY36471"/>
              </a:cxn>
              <a:cxn ang="0">
                <a:pos x="connsiteX36472" y="connsiteY36472"/>
              </a:cxn>
              <a:cxn ang="0">
                <a:pos x="connsiteX36473" y="connsiteY36473"/>
              </a:cxn>
              <a:cxn ang="0">
                <a:pos x="connsiteX36474" y="connsiteY36474"/>
              </a:cxn>
              <a:cxn ang="0">
                <a:pos x="connsiteX36475" y="connsiteY36475"/>
              </a:cxn>
              <a:cxn ang="0">
                <a:pos x="connsiteX36476" y="connsiteY36476"/>
              </a:cxn>
              <a:cxn ang="0">
                <a:pos x="connsiteX36477" y="connsiteY36477"/>
              </a:cxn>
              <a:cxn ang="0">
                <a:pos x="connsiteX36478" y="connsiteY36478"/>
              </a:cxn>
              <a:cxn ang="0">
                <a:pos x="connsiteX36479" y="connsiteY36479"/>
              </a:cxn>
              <a:cxn ang="0">
                <a:pos x="connsiteX36480" y="connsiteY36480"/>
              </a:cxn>
              <a:cxn ang="0">
                <a:pos x="connsiteX36481" y="connsiteY36481"/>
              </a:cxn>
              <a:cxn ang="0">
                <a:pos x="connsiteX36482" y="connsiteY36482"/>
              </a:cxn>
              <a:cxn ang="0">
                <a:pos x="connsiteX36483" y="connsiteY36483"/>
              </a:cxn>
              <a:cxn ang="0">
                <a:pos x="connsiteX36484" y="connsiteY36484"/>
              </a:cxn>
              <a:cxn ang="0">
                <a:pos x="connsiteX36485" y="connsiteY36485"/>
              </a:cxn>
              <a:cxn ang="0">
                <a:pos x="connsiteX36486" y="connsiteY36486"/>
              </a:cxn>
              <a:cxn ang="0">
                <a:pos x="connsiteX36487" y="connsiteY36487"/>
              </a:cxn>
              <a:cxn ang="0">
                <a:pos x="connsiteX36488" y="connsiteY36488"/>
              </a:cxn>
              <a:cxn ang="0">
                <a:pos x="connsiteX36489" y="connsiteY36489"/>
              </a:cxn>
              <a:cxn ang="0">
                <a:pos x="connsiteX36490" y="connsiteY36490"/>
              </a:cxn>
              <a:cxn ang="0">
                <a:pos x="connsiteX36491" y="connsiteY36491"/>
              </a:cxn>
              <a:cxn ang="0">
                <a:pos x="connsiteX36492" y="connsiteY36492"/>
              </a:cxn>
              <a:cxn ang="0">
                <a:pos x="connsiteX36493" y="connsiteY36493"/>
              </a:cxn>
              <a:cxn ang="0">
                <a:pos x="connsiteX36494" y="connsiteY36494"/>
              </a:cxn>
              <a:cxn ang="0">
                <a:pos x="connsiteX36495" y="connsiteY36495"/>
              </a:cxn>
              <a:cxn ang="0">
                <a:pos x="connsiteX36496" y="connsiteY36496"/>
              </a:cxn>
              <a:cxn ang="0">
                <a:pos x="connsiteX36497" y="connsiteY36497"/>
              </a:cxn>
              <a:cxn ang="0">
                <a:pos x="connsiteX36498" y="connsiteY36498"/>
              </a:cxn>
              <a:cxn ang="0">
                <a:pos x="connsiteX36499" y="connsiteY36499"/>
              </a:cxn>
              <a:cxn ang="0">
                <a:pos x="connsiteX36500" y="connsiteY36500"/>
              </a:cxn>
              <a:cxn ang="0">
                <a:pos x="connsiteX36501" y="connsiteY36501"/>
              </a:cxn>
              <a:cxn ang="0">
                <a:pos x="connsiteX36502" y="connsiteY36502"/>
              </a:cxn>
              <a:cxn ang="0">
                <a:pos x="connsiteX36503" y="connsiteY36503"/>
              </a:cxn>
              <a:cxn ang="0">
                <a:pos x="connsiteX36504" y="connsiteY36504"/>
              </a:cxn>
              <a:cxn ang="0">
                <a:pos x="connsiteX36505" y="connsiteY36505"/>
              </a:cxn>
              <a:cxn ang="0">
                <a:pos x="connsiteX36506" y="connsiteY36506"/>
              </a:cxn>
              <a:cxn ang="0">
                <a:pos x="connsiteX36507" y="connsiteY36507"/>
              </a:cxn>
              <a:cxn ang="0">
                <a:pos x="connsiteX36508" y="connsiteY36508"/>
              </a:cxn>
              <a:cxn ang="0">
                <a:pos x="connsiteX36509" y="connsiteY36509"/>
              </a:cxn>
              <a:cxn ang="0">
                <a:pos x="connsiteX36510" y="connsiteY36510"/>
              </a:cxn>
              <a:cxn ang="0">
                <a:pos x="connsiteX36511" y="connsiteY36511"/>
              </a:cxn>
              <a:cxn ang="0">
                <a:pos x="connsiteX36512" y="connsiteY36512"/>
              </a:cxn>
              <a:cxn ang="0">
                <a:pos x="connsiteX36513" y="connsiteY36513"/>
              </a:cxn>
              <a:cxn ang="0">
                <a:pos x="connsiteX36514" y="connsiteY36514"/>
              </a:cxn>
              <a:cxn ang="0">
                <a:pos x="connsiteX36515" y="connsiteY36515"/>
              </a:cxn>
              <a:cxn ang="0">
                <a:pos x="connsiteX36516" y="connsiteY36516"/>
              </a:cxn>
              <a:cxn ang="0">
                <a:pos x="connsiteX36517" y="connsiteY36517"/>
              </a:cxn>
              <a:cxn ang="0">
                <a:pos x="connsiteX36518" y="connsiteY36518"/>
              </a:cxn>
              <a:cxn ang="0">
                <a:pos x="connsiteX36519" y="connsiteY36519"/>
              </a:cxn>
              <a:cxn ang="0">
                <a:pos x="connsiteX36520" y="connsiteY36520"/>
              </a:cxn>
              <a:cxn ang="0">
                <a:pos x="connsiteX36521" y="connsiteY36521"/>
              </a:cxn>
              <a:cxn ang="0">
                <a:pos x="connsiteX36522" y="connsiteY36522"/>
              </a:cxn>
              <a:cxn ang="0">
                <a:pos x="connsiteX36523" y="connsiteY36523"/>
              </a:cxn>
              <a:cxn ang="0">
                <a:pos x="connsiteX36524" y="connsiteY36524"/>
              </a:cxn>
              <a:cxn ang="0">
                <a:pos x="connsiteX36525" y="connsiteY36525"/>
              </a:cxn>
              <a:cxn ang="0">
                <a:pos x="connsiteX36526" y="connsiteY36526"/>
              </a:cxn>
              <a:cxn ang="0">
                <a:pos x="connsiteX36527" y="connsiteY36527"/>
              </a:cxn>
              <a:cxn ang="0">
                <a:pos x="connsiteX36528" y="connsiteY36528"/>
              </a:cxn>
              <a:cxn ang="0">
                <a:pos x="connsiteX36529" y="connsiteY36529"/>
              </a:cxn>
              <a:cxn ang="0">
                <a:pos x="connsiteX36530" y="connsiteY36530"/>
              </a:cxn>
              <a:cxn ang="0">
                <a:pos x="connsiteX36531" y="connsiteY36531"/>
              </a:cxn>
              <a:cxn ang="0">
                <a:pos x="connsiteX36532" y="connsiteY36532"/>
              </a:cxn>
              <a:cxn ang="0">
                <a:pos x="connsiteX36533" y="connsiteY36533"/>
              </a:cxn>
              <a:cxn ang="0">
                <a:pos x="connsiteX36534" y="connsiteY36534"/>
              </a:cxn>
              <a:cxn ang="0">
                <a:pos x="connsiteX36535" y="connsiteY36535"/>
              </a:cxn>
              <a:cxn ang="0">
                <a:pos x="connsiteX36536" y="connsiteY36536"/>
              </a:cxn>
              <a:cxn ang="0">
                <a:pos x="connsiteX36537" y="connsiteY36537"/>
              </a:cxn>
              <a:cxn ang="0">
                <a:pos x="connsiteX36538" y="connsiteY36538"/>
              </a:cxn>
              <a:cxn ang="0">
                <a:pos x="connsiteX36539" y="connsiteY36539"/>
              </a:cxn>
              <a:cxn ang="0">
                <a:pos x="connsiteX36540" y="connsiteY36540"/>
              </a:cxn>
              <a:cxn ang="0">
                <a:pos x="connsiteX36541" y="connsiteY36541"/>
              </a:cxn>
              <a:cxn ang="0">
                <a:pos x="connsiteX36542" y="connsiteY36542"/>
              </a:cxn>
              <a:cxn ang="0">
                <a:pos x="connsiteX36543" y="connsiteY36543"/>
              </a:cxn>
              <a:cxn ang="0">
                <a:pos x="connsiteX36544" y="connsiteY36544"/>
              </a:cxn>
              <a:cxn ang="0">
                <a:pos x="connsiteX36545" y="connsiteY36545"/>
              </a:cxn>
              <a:cxn ang="0">
                <a:pos x="connsiteX36546" y="connsiteY36546"/>
              </a:cxn>
              <a:cxn ang="0">
                <a:pos x="connsiteX36547" y="connsiteY36547"/>
              </a:cxn>
              <a:cxn ang="0">
                <a:pos x="connsiteX36548" y="connsiteY36548"/>
              </a:cxn>
              <a:cxn ang="0">
                <a:pos x="connsiteX36549" y="connsiteY36549"/>
              </a:cxn>
              <a:cxn ang="0">
                <a:pos x="connsiteX36550" y="connsiteY36550"/>
              </a:cxn>
              <a:cxn ang="0">
                <a:pos x="connsiteX36551" y="connsiteY36551"/>
              </a:cxn>
              <a:cxn ang="0">
                <a:pos x="connsiteX36552" y="connsiteY36552"/>
              </a:cxn>
              <a:cxn ang="0">
                <a:pos x="connsiteX36553" y="connsiteY36553"/>
              </a:cxn>
              <a:cxn ang="0">
                <a:pos x="connsiteX36554" y="connsiteY36554"/>
              </a:cxn>
              <a:cxn ang="0">
                <a:pos x="connsiteX36555" y="connsiteY36555"/>
              </a:cxn>
              <a:cxn ang="0">
                <a:pos x="connsiteX36556" y="connsiteY36556"/>
              </a:cxn>
              <a:cxn ang="0">
                <a:pos x="connsiteX36557" y="connsiteY36557"/>
              </a:cxn>
              <a:cxn ang="0">
                <a:pos x="connsiteX36558" y="connsiteY36558"/>
              </a:cxn>
              <a:cxn ang="0">
                <a:pos x="connsiteX36559" y="connsiteY36559"/>
              </a:cxn>
              <a:cxn ang="0">
                <a:pos x="connsiteX36560" y="connsiteY36560"/>
              </a:cxn>
              <a:cxn ang="0">
                <a:pos x="connsiteX36561" y="connsiteY36561"/>
              </a:cxn>
              <a:cxn ang="0">
                <a:pos x="connsiteX36562" y="connsiteY36562"/>
              </a:cxn>
              <a:cxn ang="0">
                <a:pos x="connsiteX36563" y="connsiteY36563"/>
              </a:cxn>
              <a:cxn ang="0">
                <a:pos x="connsiteX36564" y="connsiteY36564"/>
              </a:cxn>
              <a:cxn ang="0">
                <a:pos x="connsiteX36565" y="connsiteY36565"/>
              </a:cxn>
              <a:cxn ang="0">
                <a:pos x="connsiteX36566" y="connsiteY36566"/>
              </a:cxn>
              <a:cxn ang="0">
                <a:pos x="connsiteX36567" y="connsiteY36567"/>
              </a:cxn>
              <a:cxn ang="0">
                <a:pos x="connsiteX36568" y="connsiteY36568"/>
              </a:cxn>
              <a:cxn ang="0">
                <a:pos x="connsiteX36569" y="connsiteY36569"/>
              </a:cxn>
              <a:cxn ang="0">
                <a:pos x="connsiteX36570" y="connsiteY36570"/>
              </a:cxn>
              <a:cxn ang="0">
                <a:pos x="connsiteX36571" y="connsiteY36571"/>
              </a:cxn>
              <a:cxn ang="0">
                <a:pos x="connsiteX36572" y="connsiteY36572"/>
              </a:cxn>
              <a:cxn ang="0">
                <a:pos x="connsiteX36573" y="connsiteY36573"/>
              </a:cxn>
              <a:cxn ang="0">
                <a:pos x="connsiteX36574" y="connsiteY36574"/>
              </a:cxn>
              <a:cxn ang="0">
                <a:pos x="connsiteX36575" y="connsiteY36575"/>
              </a:cxn>
              <a:cxn ang="0">
                <a:pos x="connsiteX36576" y="connsiteY36576"/>
              </a:cxn>
              <a:cxn ang="0">
                <a:pos x="connsiteX36577" y="connsiteY36577"/>
              </a:cxn>
              <a:cxn ang="0">
                <a:pos x="connsiteX36578" y="connsiteY36578"/>
              </a:cxn>
              <a:cxn ang="0">
                <a:pos x="connsiteX36579" y="connsiteY36579"/>
              </a:cxn>
              <a:cxn ang="0">
                <a:pos x="connsiteX36580" y="connsiteY36580"/>
              </a:cxn>
              <a:cxn ang="0">
                <a:pos x="connsiteX36581" y="connsiteY36581"/>
              </a:cxn>
              <a:cxn ang="0">
                <a:pos x="connsiteX36582" y="connsiteY36582"/>
              </a:cxn>
              <a:cxn ang="0">
                <a:pos x="connsiteX36583" y="connsiteY36583"/>
              </a:cxn>
              <a:cxn ang="0">
                <a:pos x="connsiteX36584" y="connsiteY36584"/>
              </a:cxn>
              <a:cxn ang="0">
                <a:pos x="connsiteX36585" y="connsiteY36585"/>
              </a:cxn>
              <a:cxn ang="0">
                <a:pos x="connsiteX36586" y="connsiteY36586"/>
              </a:cxn>
              <a:cxn ang="0">
                <a:pos x="connsiteX36587" y="connsiteY36587"/>
              </a:cxn>
              <a:cxn ang="0">
                <a:pos x="connsiteX36588" y="connsiteY36588"/>
              </a:cxn>
              <a:cxn ang="0">
                <a:pos x="connsiteX36589" y="connsiteY36589"/>
              </a:cxn>
              <a:cxn ang="0">
                <a:pos x="connsiteX36590" y="connsiteY36590"/>
              </a:cxn>
              <a:cxn ang="0">
                <a:pos x="connsiteX36591" y="connsiteY36591"/>
              </a:cxn>
              <a:cxn ang="0">
                <a:pos x="connsiteX36592" y="connsiteY36592"/>
              </a:cxn>
              <a:cxn ang="0">
                <a:pos x="connsiteX36593" y="connsiteY36593"/>
              </a:cxn>
              <a:cxn ang="0">
                <a:pos x="connsiteX36594" y="connsiteY36594"/>
              </a:cxn>
              <a:cxn ang="0">
                <a:pos x="connsiteX36595" y="connsiteY36595"/>
              </a:cxn>
              <a:cxn ang="0">
                <a:pos x="connsiteX36596" y="connsiteY36596"/>
              </a:cxn>
              <a:cxn ang="0">
                <a:pos x="connsiteX36597" y="connsiteY36597"/>
              </a:cxn>
              <a:cxn ang="0">
                <a:pos x="connsiteX36598" y="connsiteY36598"/>
              </a:cxn>
              <a:cxn ang="0">
                <a:pos x="connsiteX36599" y="connsiteY36599"/>
              </a:cxn>
              <a:cxn ang="0">
                <a:pos x="connsiteX36600" y="connsiteY36600"/>
              </a:cxn>
              <a:cxn ang="0">
                <a:pos x="connsiteX36601" y="connsiteY36601"/>
              </a:cxn>
              <a:cxn ang="0">
                <a:pos x="connsiteX36602" y="connsiteY36602"/>
              </a:cxn>
              <a:cxn ang="0">
                <a:pos x="connsiteX36603" y="connsiteY36603"/>
              </a:cxn>
              <a:cxn ang="0">
                <a:pos x="connsiteX36604" y="connsiteY36604"/>
              </a:cxn>
              <a:cxn ang="0">
                <a:pos x="connsiteX36605" y="connsiteY36605"/>
              </a:cxn>
              <a:cxn ang="0">
                <a:pos x="connsiteX36606" y="connsiteY36606"/>
              </a:cxn>
              <a:cxn ang="0">
                <a:pos x="connsiteX36607" y="connsiteY36607"/>
              </a:cxn>
              <a:cxn ang="0">
                <a:pos x="connsiteX36608" y="connsiteY36608"/>
              </a:cxn>
              <a:cxn ang="0">
                <a:pos x="connsiteX36609" y="connsiteY36609"/>
              </a:cxn>
              <a:cxn ang="0">
                <a:pos x="connsiteX36610" y="connsiteY36610"/>
              </a:cxn>
              <a:cxn ang="0">
                <a:pos x="connsiteX36611" y="connsiteY36611"/>
              </a:cxn>
              <a:cxn ang="0">
                <a:pos x="connsiteX36612" y="connsiteY36612"/>
              </a:cxn>
              <a:cxn ang="0">
                <a:pos x="connsiteX36613" y="connsiteY36613"/>
              </a:cxn>
              <a:cxn ang="0">
                <a:pos x="connsiteX36614" y="connsiteY36614"/>
              </a:cxn>
              <a:cxn ang="0">
                <a:pos x="connsiteX36615" y="connsiteY36615"/>
              </a:cxn>
              <a:cxn ang="0">
                <a:pos x="connsiteX36616" y="connsiteY36616"/>
              </a:cxn>
              <a:cxn ang="0">
                <a:pos x="connsiteX36617" y="connsiteY36617"/>
              </a:cxn>
              <a:cxn ang="0">
                <a:pos x="connsiteX36618" y="connsiteY36618"/>
              </a:cxn>
              <a:cxn ang="0">
                <a:pos x="connsiteX36619" y="connsiteY36619"/>
              </a:cxn>
              <a:cxn ang="0">
                <a:pos x="connsiteX36620" y="connsiteY36620"/>
              </a:cxn>
              <a:cxn ang="0">
                <a:pos x="connsiteX36621" y="connsiteY36621"/>
              </a:cxn>
              <a:cxn ang="0">
                <a:pos x="connsiteX36622" y="connsiteY36622"/>
              </a:cxn>
              <a:cxn ang="0">
                <a:pos x="connsiteX36623" y="connsiteY36623"/>
              </a:cxn>
              <a:cxn ang="0">
                <a:pos x="connsiteX36624" y="connsiteY36624"/>
              </a:cxn>
              <a:cxn ang="0">
                <a:pos x="connsiteX36625" y="connsiteY36625"/>
              </a:cxn>
              <a:cxn ang="0">
                <a:pos x="connsiteX36626" y="connsiteY36626"/>
              </a:cxn>
              <a:cxn ang="0">
                <a:pos x="connsiteX36627" y="connsiteY36627"/>
              </a:cxn>
              <a:cxn ang="0">
                <a:pos x="connsiteX36628" y="connsiteY36628"/>
              </a:cxn>
              <a:cxn ang="0">
                <a:pos x="connsiteX36629" y="connsiteY36629"/>
              </a:cxn>
              <a:cxn ang="0">
                <a:pos x="connsiteX36630" y="connsiteY36630"/>
              </a:cxn>
              <a:cxn ang="0">
                <a:pos x="connsiteX36631" y="connsiteY36631"/>
              </a:cxn>
              <a:cxn ang="0">
                <a:pos x="connsiteX36632" y="connsiteY36632"/>
              </a:cxn>
              <a:cxn ang="0">
                <a:pos x="connsiteX36633" y="connsiteY36633"/>
              </a:cxn>
              <a:cxn ang="0">
                <a:pos x="connsiteX36634" y="connsiteY36634"/>
              </a:cxn>
              <a:cxn ang="0">
                <a:pos x="connsiteX36635" y="connsiteY36635"/>
              </a:cxn>
              <a:cxn ang="0">
                <a:pos x="connsiteX36636" y="connsiteY36636"/>
              </a:cxn>
              <a:cxn ang="0">
                <a:pos x="connsiteX36637" y="connsiteY36637"/>
              </a:cxn>
              <a:cxn ang="0">
                <a:pos x="connsiteX36638" y="connsiteY36638"/>
              </a:cxn>
              <a:cxn ang="0">
                <a:pos x="connsiteX36639" y="connsiteY36639"/>
              </a:cxn>
              <a:cxn ang="0">
                <a:pos x="connsiteX36640" y="connsiteY36640"/>
              </a:cxn>
              <a:cxn ang="0">
                <a:pos x="connsiteX36641" y="connsiteY36641"/>
              </a:cxn>
              <a:cxn ang="0">
                <a:pos x="connsiteX36642" y="connsiteY36642"/>
              </a:cxn>
              <a:cxn ang="0">
                <a:pos x="connsiteX36643" y="connsiteY36643"/>
              </a:cxn>
              <a:cxn ang="0">
                <a:pos x="connsiteX36644" y="connsiteY36644"/>
              </a:cxn>
              <a:cxn ang="0">
                <a:pos x="connsiteX36645" y="connsiteY36645"/>
              </a:cxn>
              <a:cxn ang="0">
                <a:pos x="connsiteX36646" y="connsiteY36646"/>
              </a:cxn>
              <a:cxn ang="0">
                <a:pos x="connsiteX36647" y="connsiteY36647"/>
              </a:cxn>
              <a:cxn ang="0">
                <a:pos x="connsiteX36648" y="connsiteY36648"/>
              </a:cxn>
              <a:cxn ang="0">
                <a:pos x="connsiteX36649" y="connsiteY36649"/>
              </a:cxn>
              <a:cxn ang="0">
                <a:pos x="connsiteX36650" y="connsiteY36650"/>
              </a:cxn>
              <a:cxn ang="0">
                <a:pos x="connsiteX36651" y="connsiteY36651"/>
              </a:cxn>
              <a:cxn ang="0">
                <a:pos x="connsiteX36652" y="connsiteY36652"/>
              </a:cxn>
              <a:cxn ang="0">
                <a:pos x="connsiteX36653" y="connsiteY36653"/>
              </a:cxn>
              <a:cxn ang="0">
                <a:pos x="connsiteX36654" y="connsiteY36654"/>
              </a:cxn>
              <a:cxn ang="0">
                <a:pos x="connsiteX36655" y="connsiteY36655"/>
              </a:cxn>
              <a:cxn ang="0">
                <a:pos x="connsiteX36656" y="connsiteY36656"/>
              </a:cxn>
              <a:cxn ang="0">
                <a:pos x="connsiteX36657" y="connsiteY36657"/>
              </a:cxn>
              <a:cxn ang="0">
                <a:pos x="connsiteX36658" y="connsiteY36658"/>
              </a:cxn>
              <a:cxn ang="0">
                <a:pos x="connsiteX36659" y="connsiteY36659"/>
              </a:cxn>
              <a:cxn ang="0">
                <a:pos x="connsiteX36660" y="connsiteY36660"/>
              </a:cxn>
              <a:cxn ang="0">
                <a:pos x="connsiteX36661" y="connsiteY36661"/>
              </a:cxn>
              <a:cxn ang="0">
                <a:pos x="connsiteX36662" y="connsiteY36662"/>
              </a:cxn>
              <a:cxn ang="0">
                <a:pos x="connsiteX36663" y="connsiteY36663"/>
              </a:cxn>
              <a:cxn ang="0">
                <a:pos x="connsiteX36664" y="connsiteY36664"/>
              </a:cxn>
              <a:cxn ang="0">
                <a:pos x="connsiteX36665" y="connsiteY36665"/>
              </a:cxn>
              <a:cxn ang="0">
                <a:pos x="connsiteX36666" y="connsiteY36666"/>
              </a:cxn>
              <a:cxn ang="0">
                <a:pos x="connsiteX36667" y="connsiteY36667"/>
              </a:cxn>
              <a:cxn ang="0">
                <a:pos x="connsiteX36668" y="connsiteY36668"/>
              </a:cxn>
              <a:cxn ang="0">
                <a:pos x="connsiteX36669" y="connsiteY36669"/>
              </a:cxn>
              <a:cxn ang="0">
                <a:pos x="connsiteX36670" y="connsiteY36670"/>
              </a:cxn>
              <a:cxn ang="0">
                <a:pos x="connsiteX36671" y="connsiteY36671"/>
              </a:cxn>
              <a:cxn ang="0">
                <a:pos x="connsiteX36672" y="connsiteY36672"/>
              </a:cxn>
              <a:cxn ang="0">
                <a:pos x="connsiteX36673" y="connsiteY36673"/>
              </a:cxn>
              <a:cxn ang="0">
                <a:pos x="connsiteX36674" y="connsiteY36674"/>
              </a:cxn>
              <a:cxn ang="0">
                <a:pos x="connsiteX36675" y="connsiteY36675"/>
              </a:cxn>
              <a:cxn ang="0">
                <a:pos x="connsiteX36676" y="connsiteY36676"/>
              </a:cxn>
              <a:cxn ang="0">
                <a:pos x="connsiteX36677" y="connsiteY36677"/>
              </a:cxn>
              <a:cxn ang="0">
                <a:pos x="connsiteX36678" y="connsiteY36678"/>
              </a:cxn>
              <a:cxn ang="0">
                <a:pos x="connsiteX36679" y="connsiteY36679"/>
              </a:cxn>
              <a:cxn ang="0">
                <a:pos x="connsiteX36680" y="connsiteY36680"/>
              </a:cxn>
              <a:cxn ang="0">
                <a:pos x="connsiteX36681" y="connsiteY36681"/>
              </a:cxn>
              <a:cxn ang="0">
                <a:pos x="connsiteX36682" y="connsiteY36682"/>
              </a:cxn>
              <a:cxn ang="0">
                <a:pos x="connsiteX36683" y="connsiteY36683"/>
              </a:cxn>
              <a:cxn ang="0">
                <a:pos x="connsiteX36684" y="connsiteY36684"/>
              </a:cxn>
              <a:cxn ang="0">
                <a:pos x="connsiteX36685" y="connsiteY36685"/>
              </a:cxn>
              <a:cxn ang="0">
                <a:pos x="connsiteX36686" y="connsiteY36686"/>
              </a:cxn>
              <a:cxn ang="0">
                <a:pos x="connsiteX36687" y="connsiteY36687"/>
              </a:cxn>
              <a:cxn ang="0">
                <a:pos x="connsiteX36688" y="connsiteY36688"/>
              </a:cxn>
              <a:cxn ang="0">
                <a:pos x="connsiteX36689" y="connsiteY36689"/>
              </a:cxn>
              <a:cxn ang="0">
                <a:pos x="connsiteX36690" y="connsiteY36690"/>
              </a:cxn>
              <a:cxn ang="0">
                <a:pos x="connsiteX36691" y="connsiteY36691"/>
              </a:cxn>
              <a:cxn ang="0">
                <a:pos x="connsiteX36692" y="connsiteY36692"/>
              </a:cxn>
              <a:cxn ang="0">
                <a:pos x="connsiteX36693" y="connsiteY36693"/>
              </a:cxn>
              <a:cxn ang="0">
                <a:pos x="connsiteX36694" y="connsiteY36694"/>
              </a:cxn>
              <a:cxn ang="0">
                <a:pos x="connsiteX36695" y="connsiteY36695"/>
              </a:cxn>
              <a:cxn ang="0">
                <a:pos x="connsiteX36696" y="connsiteY36696"/>
              </a:cxn>
              <a:cxn ang="0">
                <a:pos x="connsiteX36697" y="connsiteY36697"/>
              </a:cxn>
              <a:cxn ang="0">
                <a:pos x="connsiteX36698" y="connsiteY36698"/>
              </a:cxn>
              <a:cxn ang="0">
                <a:pos x="connsiteX36699" y="connsiteY36699"/>
              </a:cxn>
              <a:cxn ang="0">
                <a:pos x="connsiteX36700" y="connsiteY36700"/>
              </a:cxn>
              <a:cxn ang="0">
                <a:pos x="connsiteX36701" y="connsiteY36701"/>
              </a:cxn>
              <a:cxn ang="0">
                <a:pos x="connsiteX36702" y="connsiteY36702"/>
              </a:cxn>
              <a:cxn ang="0">
                <a:pos x="connsiteX36703" y="connsiteY36703"/>
              </a:cxn>
              <a:cxn ang="0">
                <a:pos x="connsiteX36704" y="connsiteY36704"/>
              </a:cxn>
              <a:cxn ang="0">
                <a:pos x="connsiteX36705" y="connsiteY36705"/>
              </a:cxn>
              <a:cxn ang="0">
                <a:pos x="connsiteX36706" y="connsiteY36706"/>
              </a:cxn>
              <a:cxn ang="0">
                <a:pos x="connsiteX36707" y="connsiteY36707"/>
              </a:cxn>
              <a:cxn ang="0">
                <a:pos x="connsiteX36708" y="connsiteY36708"/>
              </a:cxn>
              <a:cxn ang="0">
                <a:pos x="connsiteX36709" y="connsiteY36709"/>
              </a:cxn>
              <a:cxn ang="0">
                <a:pos x="connsiteX36710" y="connsiteY36710"/>
              </a:cxn>
              <a:cxn ang="0">
                <a:pos x="connsiteX36711" y="connsiteY36711"/>
              </a:cxn>
              <a:cxn ang="0">
                <a:pos x="connsiteX36712" y="connsiteY36712"/>
              </a:cxn>
              <a:cxn ang="0">
                <a:pos x="connsiteX36713" y="connsiteY36713"/>
              </a:cxn>
              <a:cxn ang="0">
                <a:pos x="connsiteX36714" y="connsiteY36714"/>
              </a:cxn>
              <a:cxn ang="0">
                <a:pos x="connsiteX36715" y="connsiteY36715"/>
              </a:cxn>
              <a:cxn ang="0">
                <a:pos x="connsiteX36716" y="connsiteY36716"/>
              </a:cxn>
              <a:cxn ang="0">
                <a:pos x="connsiteX36717" y="connsiteY36717"/>
              </a:cxn>
              <a:cxn ang="0">
                <a:pos x="connsiteX36718" y="connsiteY36718"/>
              </a:cxn>
              <a:cxn ang="0">
                <a:pos x="connsiteX36719" y="connsiteY36719"/>
              </a:cxn>
              <a:cxn ang="0">
                <a:pos x="connsiteX36720" y="connsiteY36720"/>
              </a:cxn>
              <a:cxn ang="0">
                <a:pos x="connsiteX36721" y="connsiteY36721"/>
              </a:cxn>
              <a:cxn ang="0">
                <a:pos x="connsiteX36722" y="connsiteY36722"/>
              </a:cxn>
              <a:cxn ang="0">
                <a:pos x="connsiteX36723" y="connsiteY36723"/>
              </a:cxn>
              <a:cxn ang="0">
                <a:pos x="connsiteX36724" y="connsiteY36724"/>
              </a:cxn>
              <a:cxn ang="0">
                <a:pos x="connsiteX36725" y="connsiteY36725"/>
              </a:cxn>
              <a:cxn ang="0">
                <a:pos x="connsiteX36726" y="connsiteY36726"/>
              </a:cxn>
              <a:cxn ang="0">
                <a:pos x="connsiteX36727" y="connsiteY36727"/>
              </a:cxn>
              <a:cxn ang="0">
                <a:pos x="connsiteX36728" y="connsiteY36728"/>
              </a:cxn>
              <a:cxn ang="0">
                <a:pos x="connsiteX36729" y="connsiteY36729"/>
              </a:cxn>
              <a:cxn ang="0">
                <a:pos x="connsiteX36730" y="connsiteY36730"/>
              </a:cxn>
              <a:cxn ang="0">
                <a:pos x="connsiteX36731" y="connsiteY36731"/>
              </a:cxn>
              <a:cxn ang="0">
                <a:pos x="connsiteX36732" y="connsiteY36732"/>
              </a:cxn>
              <a:cxn ang="0">
                <a:pos x="connsiteX36733" y="connsiteY36733"/>
              </a:cxn>
              <a:cxn ang="0">
                <a:pos x="connsiteX36734" y="connsiteY36734"/>
              </a:cxn>
              <a:cxn ang="0">
                <a:pos x="connsiteX36735" y="connsiteY36735"/>
              </a:cxn>
              <a:cxn ang="0">
                <a:pos x="connsiteX36736" y="connsiteY36736"/>
              </a:cxn>
              <a:cxn ang="0">
                <a:pos x="connsiteX36737" y="connsiteY36737"/>
              </a:cxn>
              <a:cxn ang="0">
                <a:pos x="connsiteX36738" y="connsiteY36738"/>
              </a:cxn>
              <a:cxn ang="0">
                <a:pos x="connsiteX36739" y="connsiteY36739"/>
              </a:cxn>
              <a:cxn ang="0">
                <a:pos x="connsiteX36740" y="connsiteY36740"/>
              </a:cxn>
              <a:cxn ang="0">
                <a:pos x="connsiteX36741" y="connsiteY36741"/>
              </a:cxn>
              <a:cxn ang="0">
                <a:pos x="connsiteX36742" y="connsiteY36742"/>
              </a:cxn>
              <a:cxn ang="0">
                <a:pos x="connsiteX36743" y="connsiteY36743"/>
              </a:cxn>
              <a:cxn ang="0">
                <a:pos x="connsiteX36744" y="connsiteY36744"/>
              </a:cxn>
              <a:cxn ang="0">
                <a:pos x="connsiteX36745" y="connsiteY36745"/>
              </a:cxn>
              <a:cxn ang="0">
                <a:pos x="connsiteX36746" y="connsiteY36746"/>
              </a:cxn>
              <a:cxn ang="0">
                <a:pos x="connsiteX36747" y="connsiteY36747"/>
              </a:cxn>
              <a:cxn ang="0">
                <a:pos x="connsiteX36748" y="connsiteY36748"/>
              </a:cxn>
              <a:cxn ang="0">
                <a:pos x="connsiteX36749" y="connsiteY36749"/>
              </a:cxn>
              <a:cxn ang="0">
                <a:pos x="connsiteX36750" y="connsiteY36750"/>
              </a:cxn>
              <a:cxn ang="0">
                <a:pos x="connsiteX36751" y="connsiteY36751"/>
              </a:cxn>
              <a:cxn ang="0">
                <a:pos x="connsiteX36752" y="connsiteY36752"/>
              </a:cxn>
              <a:cxn ang="0">
                <a:pos x="connsiteX36753" y="connsiteY36753"/>
              </a:cxn>
              <a:cxn ang="0">
                <a:pos x="connsiteX36754" y="connsiteY36754"/>
              </a:cxn>
              <a:cxn ang="0">
                <a:pos x="connsiteX36755" y="connsiteY36755"/>
              </a:cxn>
              <a:cxn ang="0">
                <a:pos x="connsiteX36756" y="connsiteY36756"/>
              </a:cxn>
              <a:cxn ang="0">
                <a:pos x="connsiteX36757" y="connsiteY36757"/>
              </a:cxn>
              <a:cxn ang="0">
                <a:pos x="connsiteX36758" y="connsiteY36758"/>
              </a:cxn>
              <a:cxn ang="0">
                <a:pos x="connsiteX36759" y="connsiteY36759"/>
              </a:cxn>
              <a:cxn ang="0">
                <a:pos x="connsiteX36760" y="connsiteY36760"/>
              </a:cxn>
              <a:cxn ang="0">
                <a:pos x="connsiteX36761" y="connsiteY36761"/>
              </a:cxn>
              <a:cxn ang="0">
                <a:pos x="connsiteX36762" y="connsiteY36762"/>
              </a:cxn>
              <a:cxn ang="0">
                <a:pos x="connsiteX36763" y="connsiteY36763"/>
              </a:cxn>
              <a:cxn ang="0">
                <a:pos x="connsiteX36764" y="connsiteY36764"/>
              </a:cxn>
              <a:cxn ang="0">
                <a:pos x="connsiteX36765" y="connsiteY36765"/>
              </a:cxn>
              <a:cxn ang="0">
                <a:pos x="connsiteX36766" y="connsiteY36766"/>
              </a:cxn>
              <a:cxn ang="0">
                <a:pos x="connsiteX36767" y="connsiteY36767"/>
              </a:cxn>
              <a:cxn ang="0">
                <a:pos x="connsiteX36768" y="connsiteY36768"/>
              </a:cxn>
              <a:cxn ang="0">
                <a:pos x="connsiteX36769" y="connsiteY36769"/>
              </a:cxn>
              <a:cxn ang="0">
                <a:pos x="connsiteX36770" y="connsiteY36770"/>
              </a:cxn>
              <a:cxn ang="0">
                <a:pos x="connsiteX36771" y="connsiteY36771"/>
              </a:cxn>
              <a:cxn ang="0">
                <a:pos x="connsiteX36772" y="connsiteY36772"/>
              </a:cxn>
              <a:cxn ang="0">
                <a:pos x="connsiteX36773" y="connsiteY36773"/>
              </a:cxn>
              <a:cxn ang="0">
                <a:pos x="connsiteX36774" y="connsiteY36774"/>
              </a:cxn>
              <a:cxn ang="0">
                <a:pos x="connsiteX36775" y="connsiteY36775"/>
              </a:cxn>
              <a:cxn ang="0">
                <a:pos x="connsiteX36776" y="connsiteY36776"/>
              </a:cxn>
              <a:cxn ang="0">
                <a:pos x="connsiteX36777" y="connsiteY36777"/>
              </a:cxn>
              <a:cxn ang="0">
                <a:pos x="connsiteX36778" y="connsiteY36778"/>
              </a:cxn>
              <a:cxn ang="0">
                <a:pos x="connsiteX36779" y="connsiteY36779"/>
              </a:cxn>
              <a:cxn ang="0">
                <a:pos x="connsiteX36780" y="connsiteY36780"/>
              </a:cxn>
              <a:cxn ang="0">
                <a:pos x="connsiteX36781" y="connsiteY36781"/>
              </a:cxn>
              <a:cxn ang="0">
                <a:pos x="connsiteX36782" y="connsiteY36782"/>
              </a:cxn>
              <a:cxn ang="0">
                <a:pos x="connsiteX36783" y="connsiteY36783"/>
              </a:cxn>
              <a:cxn ang="0">
                <a:pos x="connsiteX36784" y="connsiteY36784"/>
              </a:cxn>
              <a:cxn ang="0">
                <a:pos x="connsiteX36785" y="connsiteY36785"/>
              </a:cxn>
              <a:cxn ang="0">
                <a:pos x="connsiteX36786" y="connsiteY36786"/>
              </a:cxn>
              <a:cxn ang="0">
                <a:pos x="connsiteX36787" y="connsiteY36787"/>
              </a:cxn>
              <a:cxn ang="0">
                <a:pos x="connsiteX36788" y="connsiteY36788"/>
              </a:cxn>
              <a:cxn ang="0">
                <a:pos x="connsiteX36789" y="connsiteY36789"/>
              </a:cxn>
              <a:cxn ang="0">
                <a:pos x="connsiteX36790" y="connsiteY36790"/>
              </a:cxn>
              <a:cxn ang="0">
                <a:pos x="connsiteX36791" y="connsiteY36791"/>
              </a:cxn>
              <a:cxn ang="0">
                <a:pos x="connsiteX36792" y="connsiteY36792"/>
              </a:cxn>
              <a:cxn ang="0">
                <a:pos x="connsiteX36793" y="connsiteY36793"/>
              </a:cxn>
              <a:cxn ang="0">
                <a:pos x="connsiteX36794" y="connsiteY36794"/>
              </a:cxn>
              <a:cxn ang="0">
                <a:pos x="connsiteX36795" y="connsiteY36795"/>
              </a:cxn>
              <a:cxn ang="0">
                <a:pos x="connsiteX36796" y="connsiteY36796"/>
              </a:cxn>
              <a:cxn ang="0">
                <a:pos x="connsiteX36797" y="connsiteY36797"/>
              </a:cxn>
              <a:cxn ang="0">
                <a:pos x="connsiteX36798" y="connsiteY36798"/>
              </a:cxn>
              <a:cxn ang="0">
                <a:pos x="connsiteX36799" y="connsiteY36799"/>
              </a:cxn>
              <a:cxn ang="0">
                <a:pos x="connsiteX36800" y="connsiteY36800"/>
              </a:cxn>
              <a:cxn ang="0">
                <a:pos x="connsiteX36801" y="connsiteY36801"/>
              </a:cxn>
              <a:cxn ang="0">
                <a:pos x="connsiteX36802" y="connsiteY36802"/>
              </a:cxn>
              <a:cxn ang="0">
                <a:pos x="connsiteX36803" y="connsiteY36803"/>
              </a:cxn>
              <a:cxn ang="0">
                <a:pos x="connsiteX36804" y="connsiteY36804"/>
              </a:cxn>
              <a:cxn ang="0">
                <a:pos x="connsiteX36805" y="connsiteY36805"/>
              </a:cxn>
              <a:cxn ang="0">
                <a:pos x="connsiteX36806" y="connsiteY36806"/>
              </a:cxn>
              <a:cxn ang="0">
                <a:pos x="connsiteX36807" y="connsiteY36807"/>
              </a:cxn>
              <a:cxn ang="0">
                <a:pos x="connsiteX36808" y="connsiteY36808"/>
              </a:cxn>
              <a:cxn ang="0">
                <a:pos x="connsiteX36809" y="connsiteY36809"/>
              </a:cxn>
              <a:cxn ang="0">
                <a:pos x="connsiteX36810" y="connsiteY36810"/>
              </a:cxn>
              <a:cxn ang="0">
                <a:pos x="connsiteX36811" y="connsiteY36811"/>
              </a:cxn>
              <a:cxn ang="0">
                <a:pos x="connsiteX36812" y="connsiteY36812"/>
              </a:cxn>
              <a:cxn ang="0">
                <a:pos x="connsiteX36813" y="connsiteY36813"/>
              </a:cxn>
              <a:cxn ang="0">
                <a:pos x="connsiteX36814" y="connsiteY36814"/>
              </a:cxn>
              <a:cxn ang="0">
                <a:pos x="connsiteX36815" y="connsiteY36815"/>
              </a:cxn>
              <a:cxn ang="0">
                <a:pos x="connsiteX36816" y="connsiteY36816"/>
              </a:cxn>
              <a:cxn ang="0">
                <a:pos x="connsiteX36817" y="connsiteY36817"/>
              </a:cxn>
              <a:cxn ang="0">
                <a:pos x="connsiteX36818" y="connsiteY36818"/>
              </a:cxn>
              <a:cxn ang="0">
                <a:pos x="connsiteX36819" y="connsiteY36819"/>
              </a:cxn>
              <a:cxn ang="0">
                <a:pos x="connsiteX36820" y="connsiteY36820"/>
              </a:cxn>
              <a:cxn ang="0">
                <a:pos x="connsiteX36821" y="connsiteY36821"/>
              </a:cxn>
              <a:cxn ang="0">
                <a:pos x="connsiteX36822" y="connsiteY36822"/>
              </a:cxn>
              <a:cxn ang="0">
                <a:pos x="connsiteX36823" y="connsiteY36823"/>
              </a:cxn>
              <a:cxn ang="0">
                <a:pos x="connsiteX36824" y="connsiteY36824"/>
              </a:cxn>
              <a:cxn ang="0">
                <a:pos x="connsiteX36825" y="connsiteY36825"/>
              </a:cxn>
              <a:cxn ang="0">
                <a:pos x="connsiteX36826" y="connsiteY36826"/>
              </a:cxn>
              <a:cxn ang="0">
                <a:pos x="connsiteX36827" y="connsiteY36827"/>
              </a:cxn>
              <a:cxn ang="0">
                <a:pos x="connsiteX36828" y="connsiteY36828"/>
              </a:cxn>
              <a:cxn ang="0">
                <a:pos x="connsiteX36829" y="connsiteY36829"/>
              </a:cxn>
              <a:cxn ang="0">
                <a:pos x="connsiteX36830" y="connsiteY36830"/>
              </a:cxn>
              <a:cxn ang="0">
                <a:pos x="connsiteX36831" y="connsiteY36831"/>
              </a:cxn>
              <a:cxn ang="0">
                <a:pos x="connsiteX36832" y="connsiteY36832"/>
              </a:cxn>
              <a:cxn ang="0">
                <a:pos x="connsiteX36833" y="connsiteY36833"/>
              </a:cxn>
              <a:cxn ang="0">
                <a:pos x="connsiteX36834" y="connsiteY36834"/>
              </a:cxn>
              <a:cxn ang="0">
                <a:pos x="connsiteX36835" y="connsiteY36835"/>
              </a:cxn>
              <a:cxn ang="0">
                <a:pos x="connsiteX36836" y="connsiteY36836"/>
              </a:cxn>
              <a:cxn ang="0">
                <a:pos x="connsiteX36837" y="connsiteY36837"/>
              </a:cxn>
              <a:cxn ang="0">
                <a:pos x="connsiteX36838" y="connsiteY36838"/>
              </a:cxn>
              <a:cxn ang="0">
                <a:pos x="connsiteX36839" y="connsiteY36839"/>
              </a:cxn>
              <a:cxn ang="0">
                <a:pos x="connsiteX36840" y="connsiteY36840"/>
              </a:cxn>
              <a:cxn ang="0">
                <a:pos x="connsiteX36841" y="connsiteY36841"/>
              </a:cxn>
              <a:cxn ang="0">
                <a:pos x="connsiteX36842" y="connsiteY36842"/>
              </a:cxn>
              <a:cxn ang="0">
                <a:pos x="connsiteX36843" y="connsiteY36843"/>
              </a:cxn>
              <a:cxn ang="0">
                <a:pos x="connsiteX36844" y="connsiteY36844"/>
              </a:cxn>
              <a:cxn ang="0">
                <a:pos x="connsiteX36845" y="connsiteY36845"/>
              </a:cxn>
              <a:cxn ang="0">
                <a:pos x="connsiteX36846" y="connsiteY36846"/>
              </a:cxn>
              <a:cxn ang="0">
                <a:pos x="connsiteX36847" y="connsiteY36847"/>
              </a:cxn>
              <a:cxn ang="0">
                <a:pos x="connsiteX36848" y="connsiteY36848"/>
              </a:cxn>
              <a:cxn ang="0">
                <a:pos x="connsiteX36849" y="connsiteY36849"/>
              </a:cxn>
              <a:cxn ang="0">
                <a:pos x="connsiteX36850" y="connsiteY36850"/>
              </a:cxn>
              <a:cxn ang="0">
                <a:pos x="connsiteX36851" y="connsiteY36851"/>
              </a:cxn>
              <a:cxn ang="0">
                <a:pos x="connsiteX36852" y="connsiteY36852"/>
              </a:cxn>
              <a:cxn ang="0">
                <a:pos x="connsiteX36853" y="connsiteY36853"/>
              </a:cxn>
              <a:cxn ang="0">
                <a:pos x="connsiteX36854" y="connsiteY36854"/>
              </a:cxn>
              <a:cxn ang="0">
                <a:pos x="connsiteX36855" y="connsiteY36855"/>
              </a:cxn>
              <a:cxn ang="0">
                <a:pos x="connsiteX36856" y="connsiteY36856"/>
              </a:cxn>
              <a:cxn ang="0">
                <a:pos x="connsiteX36857" y="connsiteY36857"/>
              </a:cxn>
              <a:cxn ang="0">
                <a:pos x="connsiteX36858" y="connsiteY36858"/>
              </a:cxn>
              <a:cxn ang="0">
                <a:pos x="connsiteX36859" y="connsiteY36859"/>
              </a:cxn>
              <a:cxn ang="0">
                <a:pos x="connsiteX36860" y="connsiteY36860"/>
              </a:cxn>
              <a:cxn ang="0">
                <a:pos x="connsiteX36861" y="connsiteY36861"/>
              </a:cxn>
              <a:cxn ang="0">
                <a:pos x="connsiteX36862" y="connsiteY36862"/>
              </a:cxn>
              <a:cxn ang="0">
                <a:pos x="connsiteX36863" y="connsiteY36863"/>
              </a:cxn>
              <a:cxn ang="0">
                <a:pos x="connsiteX36864" y="connsiteY36864"/>
              </a:cxn>
              <a:cxn ang="0">
                <a:pos x="connsiteX36865" y="connsiteY36865"/>
              </a:cxn>
              <a:cxn ang="0">
                <a:pos x="connsiteX36866" y="connsiteY36866"/>
              </a:cxn>
              <a:cxn ang="0">
                <a:pos x="connsiteX36867" y="connsiteY36867"/>
              </a:cxn>
              <a:cxn ang="0">
                <a:pos x="connsiteX36868" y="connsiteY36868"/>
              </a:cxn>
              <a:cxn ang="0">
                <a:pos x="connsiteX36869" y="connsiteY36869"/>
              </a:cxn>
              <a:cxn ang="0">
                <a:pos x="connsiteX36870" y="connsiteY36870"/>
              </a:cxn>
              <a:cxn ang="0">
                <a:pos x="connsiteX36871" y="connsiteY36871"/>
              </a:cxn>
              <a:cxn ang="0">
                <a:pos x="connsiteX36872" y="connsiteY36872"/>
              </a:cxn>
              <a:cxn ang="0">
                <a:pos x="connsiteX36873" y="connsiteY36873"/>
              </a:cxn>
              <a:cxn ang="0">
                <a:pos x="connsiteX36874" y="connsiteY36874"/>
              </a:cxn>
              <a:cxn ang="0">
                <a:pos x="connsiteX36875" y="connsiteY36875"/>
              </a:cxn>
              <a:cxn ang="0">
                <a:pos x="connsiteX36876" y="connsiteY36876"/>
              </a:cxn>
              <a:cxn ang="0">
                <a:pos x="connsiteX36877" y="connsiteY36877"/>
              </a:cxn>
              <a:cxn ang="0">
                <a:pos x="connsiteX36878" y="connsiteY36878"/>
              </a:cxn>
              <a:cxn ang="0">
                <a:pos x="connsiteX36879" y="connsiteY36879"/>
              </a:cxn>
              <a:cxn ang="0">
                <a:pos x="connsiteX36880" y="connsiteY36880"/>
              </a:cxn>
              <a:cxn ang="0">
                <a:pos x="connsiteX36881" y="connsiteY36881"/>
              </a:cxn>
              <a:cxn ang="0">
                <a:pos x="connsiteX36882" y="connsiteY36882"/>
              </a:cxn>
              <a:cxn ang="0">
                <a:pos x="connsiteX36883" y="connsiteY36883"/>
              </a:cxn>
              <a:cxn ang="0">
                <a:pos x="connsiteX36884" y="connsiteY36884"/>
              </a:cxn>
              <a:cxn ang="0">
                <a:pos x="connsiteX36885" y="connsiteY36885"/>
              </a:cxn>
              <a:cxn ang="0">
                <a:pos x="connsiteX36886" y="connsiteY36886"/>
              </a:cxn>
              <a:cxn ang="0">
                <a:pos x="connsiteX36887" y="connsiteY36887"/>
              </a:cxn>
              <a:cxn ang="0">
                <a:pos x="connsiteX36888" y="connsiteY36888"/>
              </a:cxn>
              <a:cxn ang="0">
                <a:pos x="connsiteX36889" y="connsiteY36889"/>
              </a:cxn>
              <a:cxn ang="0">
                <a:pos x="connsiteX36890" y="connsiteY36890"/>
              </a:cxn>
              <a:cxn ang="0">
                <a:pos x="connsiteX36891" y="connsiteY36891"/>
              </a:cxn>
              <a:cxn ang="0">
                <a:pos x="connsiteX36892" y="connsiteY36892"/>
              </a:cxn>
              <a:cxn ang="0">
                <a:pos x="connsiteX36893" y="connsiteY36893"/>
              </a:cxn>
              <a:cxn ang="0">
                <a:pos x="connsiteX36894" y="connsiteY36894"/>
              </a:cxn>
              <a:cxn ang="0">
                <a:pos x="connsiteX36895" y="connsiteY36895"/>
              </a:cxn>
              <a:cxn ang="0">
                <a:pos x="connsiteX36896" y="connsiteY36896"/>
              </a:cxn>
              <a:cxn ang="0">
                <a:pos x="connsiteX36897" y="connsiteY36897"/>
              </a:cxn>
              <a:cxn ang="0">
                <a:pos x="connsiteX36898" y="connsiteY36898"/>
              </a:cxn>
              <a:cxn ang="0">
                <a:pos x="connsiteX36899" y="connsiteY36899"/>
              </a:cxn>
              <a:cxn ang="0">
                <a:pos x="connsiteX36900" y="connsiteY36900"/>
              </a:cxn>
              <a:cxn ang="0">
                <a:pos x="connsiteX36901" y="connsiteY36901"/>
              </a:cxn>
              <a:cxn ang="0">
                <a:pos x="connsiteX36902" y="connsiteY36902"/>
              </a:cxn>
              <a:cxn ang="0">
                <a:pos x="connsiteX36903" y="connsiteY36903"/>
              </a:cxn>
              <a:cxn ang="0">
                <a:pos x="connsiteX36904" y="connsiteY36904"/>
              </a:cxn>
              <a:cxn ang="0">
                <a:pos x="connsiteX36905" y="connsiteY36905"/>
              </a:cxn>
              <a:cxn ang="0">
                <a:pos x="connsiteX36906" y="connsiteY36906"/>
              </a:cxn>
              <a:cxn ang="0">
                <a:pos x="connsiteX36907" y="connsiteY36907"/>
              </a:cxn>
              <a:cxn ang="0">
                <a:pos x="connsiteX36908" y="connsiteY36908"/>
              </a:cxn>
              <a:cxn ang="0">
                <a:pos x="connsiteX36909" y="connsiteY36909"/>
              </a:cxn>
              <a:cxn ang="0">
                <a:pos x="connsiteX36910" y="connsiteY36910"/>
              </a:cxn>
              <a:cxn ang="0">
                <a:pos x="connsiteX36911" y="connsiteY36911"/>
              </a:cxn>
              <a:cxn ang="0">
                <a:pos x="connsiteX36912" y="connsiteY36912"/>
              </a:cxn>
              <a:cxn ang="0">
                <a:pos x="connsiteX36913" y="connsiteY36913"/>
              </a:cxn>
              <a:cxn ang="0">
                <a:pos x="connsiteX36914" y="connsiteY36914"/>
              </a:cxn>
              <a:cxn ang="0">
                <a:pos x="connsiteX36915" y="connsiteY36915"/>
              </a:cxn>
              <a:cxn ang="0">
                <a:pos x="connsiteX36916" y="connsiteY36916"/>
              </a:cxn>
              <a:cxn ang="0">
                <a:pos x="connsiteX36917" y="connsiteY36917"/>
              </a:cxn>
              <a:cxn ang="0">
                <a:pos x="connsiteX36918" y="connsiteY36918"/>
              </a:cxn>
              <a:cxn ang="0">
                <a:pos x="connsiteX36919" y="connsiteY36919"/>
              </a:cxn>
              <a:cxn ang="0">
                <a:pos x="connsiteX36920" y="connsiteY36920"/>
              </a:cxn>
              <a:cxn ang="0">
                <a:pos x="connsiteX36921" y="connsiteY36921"/>
              </a:cxn>
              <a:cxn ang="0">
                <a:pos x="connsiteX36922" y="connsiteY36922"/>
              </a:cxn>
              <a:cxn ang="0">
                <a:pos x="connsiteX36923" y="connsiteY36923"/>
              </a:cxn>
              <a:cxn ang="0">
                <a:pos x="connsiteX36924" y="connsiteY36924"/>
              </a:cxn>
              <a:cxn ang="0">
                <a:pos x="connsiteX36925" y="connsiteY36925"/>
              </a:cxn>
              <a:cxn ang="0">
                <a:pos x="connsiteX36926" y="connsiteY36926"/>
              </a:cxn>
              <a:cxn ang="0">
                <a:pos x="connsiteX36927" y="connsiteY36927"/>
              </a:cxn>
              <a:cxn ang="0">
                <a:pos x="connsiteX36928" y="connsiteY36928"/>
              </a:cxn>
              <a:cxn ang="0">
                <a:pos x="connsiteX36929" y="connsiteY36929"/>
              </a:cxn>
              <a:cxn ang="0">
                <a:pos x="connsiteX36930" y="connsiteY36930"/>
              </a:cxn>
              <a:cxn ang="0">
                <a:pos x="connsiteX36931" y="connsiteY36931"/>
              </a:cxn>
              <a:cxn ang="0">
                <a:pos x="connsiteX36932" y="connsiteY36932"/>
              </a:cxn>
              <a:cxn ang="0">
                <a:pos x="connsiteX36933" y="connsiteY36933"/>
              </a:cxn>
              <a:cxn ang="0">
                <a:pos x="connsiteX36934" y="connsiteY36934"/>
              </a:cxn>
              <a:cxn ang="0">
                <a:pos x="connsiteX36935" y="connsiteY36935"/>
              </a:cxn>
              <a:cxn ang="0">
                <a:pos x="connsiteX36936" y="connsiteY36936"/>
              </a:cxn>
              <a:cxn ang="0">
                <a:pos x="connsiteX36937" y="connsiteY36937"/>
              </a:cxn>
              <a:cxn ang="0">
                <a:pos x="connsiteX36938" y="connsiteY36938"/>
              </a:cxn>
              <a:cxn ang="0">
                <a:pos x="connsiteX36939" y="connsiteY36939"/>
              </a:cxn>
              <a:cxn ang="0">
                <a:pos x="connsiteX36940" y="connsiteY36940"/>
              </a:cxn>
              <a:cxn ang="0">
                <a:pos x="connsiteX36941" y="connsiteY36941"/>
              </a:cxn>
              <a:cxn ang="0">
                <a:pos x="connsiteX36942" y="connsiteY36942"/>
              </a:cxn>
              <a:cxn ang="0">
                <a:pos x="connsiteX36943" y="connsiteY36943"/>
              </a:cxn>
              <a:cxn ang="0">
                <a:pos x="connsiteX36944" y="connsiteY36944"/>
              </a:cxn>
              <a:cxn ang="0">
                <a:pos x="connsiteX36945" y="connsiteY36945"/>
              </a:cxn>
              <a:cxn ang="0">
                <a:pos x="connsiteX36946" y="connsiteY36946"/>
              </a:cxn>
              <a:cxn ang="0">
                <a:pos x="connsiteX36947" y="connsiteY36947"/>
              </a:cxn>
              <a:cxn ang="0">
                <a:pos x="connsiteX36948" y="connsiteY36948"/>
              </a:cxn>
              <a:cxn ang="0">
                <a:pos x="connsiteX36949" y="connsiteY36949"/>
              </a:cxn>
              <a:cxn ang="0">
                <a:pos x="connsiteX36950" y="connsiteY36950"/>
              </a:cxn>
              <a:cxn ang="0">
                <a:pos x="connsiteX36951" y="connsiteY36951"/>
              </a:cxn>
              <a:cxn ang="0">
                <a:pos x="connsiteX36952" y="connsiteY36952"/>
              </a:cxn>
              <a:cxn ang="0">
                <a:pos x="connsiteX36953" y="connsiteY36953"/>
              </a:cxn>
              <a:cxn ang="0">
                <a:pos x="connsiteX36954" y="connsiteY36954"/>
              </a:cxn>
              <a:cxn ang="0">
                <a:pos x="connsiteX36955" y="connsiteY36955"/>
              </a:cxn>
              <a:cxn ang="0">
                <a:pos x="connsiteX36956" y="connsiteY36956"/>
              </a:cxn>
              <a:cxn ang="0">
                <a:pos x="connsiteX36957" y="connsiteY36957"/>
              </a:cxn>
              <a:cxn ang="0">
                <a:pos x="connsiteX36958" y="connsiteY36958"/>
              </a:cxn>
              <a:cxn ang="0">
                <a:pos x="connsiteX36959" y="connsiteY36959"/>
              </a:cxn>
              <a:cxn ang="0">
                <a:pos x="connsiteX36960" y="connsiteY36960"/>
              </a:cxn>
              <a:cxn ang="0">
                <a:pos x="connsiteX36961" y="connsiteY36961"/>
              </a:cxn>
              <a:cxn ang="0">
                <a:pos x="connsiteX36962" y="connsiteY36962"/>
              </a:cxn>
              <a:cxn ang="0">
                <a:pos x="connsiteX36963" y="connsiteY36963"/>
              </a:cxn>
              <a:cxn ang="0">
                <a:pos x="connsiteX36964" y="connsiteY36964"/>
              </a:cxn>
              <a:cxn ang="0">
                <a:pos x="connsiteX36965" y="connsiteY36965"/>
              </a:cxn>
              <a:cxn ang="0">
                <a:pos x="connsiteX36966" y="connsiteY36966"/>
              </a:cxn>
              <a:cxn ang="0">
                <a:pos x="connsiteX36967" y="connsiteY36967"/>
              </a:cxn>
              <a:cxn ang="0">
                <a:pos x="connsiteX36968" y="connsiteY36968"/>
              </a:cxn>
              <a:cxn ang="0">
                <a:pos x="connsiteX36969" y="connsiteY36969"/>
              </a:cxn>
              <a:cxn ang="0">
                <a:pos x="connsiteX36970" y="connsiteY36970"/>
              </a:cxn>
              <a:cxn ang="0">
                <a:pos x="connsiteX36971" y="connsiteY36971"/>
              </a:cxn>
              <a:cxn ang="0">
                <a:pos x="connsiteX36972" y="connsiteY36972"/>
              </a:cxn>
              <a:cxn ang="0">
                <a:pos x="connsiteX36973" y="connsiteY36973"/>
              </a:cxn>
              <a:cxn ang="0">
                <a:pos x="connsiteX36974" y="connsiteY36974"/>
              </a:cxn>
              <a:cxn ang="0">
                <a:pos x="connsiteX36975" y="connsiteY36975"/>
              </a:cxn>
              <a:cxn ang="0">
                <a:pos x="connsiteX36976" y="connsiteY36976"/>
              </a:cxn>
              <a:cxn ang="0">
                <a:pos x="connsiteX36977" y="connsiteY36977"/>
              </a:cxn>
              <a:cxn ang="0">
                <a:pos x="connsiteX36978" y="connsiteY36978"/>
              </a:cxn>
              <a:cxn ang="0">
                <a:pos x="connsiteX36979" y="connsiteY36979"/>
              </a:cxn>
              <a:cxn ang="0">
                <a:pos x="connsiteX36980" y="connsiteY36980"/>
              </a:cxn>
              <a:cxn ang="0">
                <a:pos x="connsiteX36981" y="connsiteY36981"/>
              </a:cxn>
              <a:cxn ang="0">
                <a:pos x="connsiteX36982" y="connsiteY36982"/>
              </a:cxn>
              <a:cxn ang="0">
                <a:pos x="connsiteX36983" y="connsiteY36983"/>
              </a:cxn>
              <a:cxn ang="0">
                <a:pos x="connsiteX36984" y="connsiteY36984"/>
              </a:cxn>
              <a:cxn ang="0">
                <a:pos x="connsiteX36985" y="connsiteY36985"/>
              </a:cxn>
              <a:cxn ang="0">
                <a:pos x="connsiteX36986" y="connsiteY36986"/>
              </a:cxn>
              <a:cxn ang="0">
                <a:pos x="connsiteX36987" y="connsiteY36987"/>
              </a:cxn>
              <a:cxn ang="0">
                <a:pos x="connsiteX36988" y="connsiteY36988"/>
              </a:cxn>
              <a:cxn ang="0">
                <a:pos x="connsiteX36989" y="connsiteY36989"/>
              </a:cxn>
              <a:cxn ang="0">
                <a:pos x="connsiteX36990" y="connsiteY36990"/>
              </a:cxn>
              <a:cxn ang="0">
                <a:pos x="connsiteX36991" y="connsiteY36991"/>
              </a:cxn>
              <a:cxn ang="0">
                <a:pos x="connsiteX36992" y="connsiteY36992"/>
              </a:cxn>
              <a:cxn ang="0">
                <a:pos x="connsiteX36993" y="connsiteY36993"/>
              </a:cxn>
              <a:cxn ang="0">
                <a:pos x="connsiteX36994" y="connsiteY36994"/>
              </a:cxn>
              <a:cxn ang="0">
                <a:pos x="connsiteX36995" y="connsiteY36995"/>
              </a:cxn>
              <a:cxn ang="0">
                <a:pos x="connsiteX36996" y="connsiteY36996"/>
              </a:cxn>
              <a:cxn ang="0">
                <a:pos x="connsiteX36997" y="connsiteY36997"/>
              </a:cxn>
              <a:cxn ang="0">
                <a:pos x="connsiteX36998" y="connsiteY36998"/>
              </a:cxn>
              <a:cxn ang="0">
                <a:pos x="connsiteX36999" y="connsiteY36999"/>
              </a:cxn>
              <a:cxn ang="0">
                <a:pos x="connsiteX37000" y="connsiteY37000"/>
              </a:cxn>
              <a:cxn ang="0">
                <a:pos x="connsiteX37001" y="connsiteY37001"/>
              </a:cxn>
              <a:cxn ang="0">
                <a:pos x="connsiteX37002" y="connsiteY37002"/>
              </a:cxn>
              <a:cxn ang="0">
                <a:pos x="connsiteX37003" y="connsiteY37003"/>
              </a:cxn>
              <a:cxn ang="0">
                <a:pos x="connsiteX37004" y="connsiteY37004"/>
              </a:cxn>
              <a:cxn ang="0">
                <a:pos x="connsiteX37005" y="connsiteY37005"/>
              </a:cxn>
              <a:cxn ang="0">
                <a:pos x="connsiteX37006" y="connsiteY37006"/>
              </a:cxn>
              <a:cxn ang="0">
                <a:pos x="connsiteX37007" y="connsiteY37007"/>
              </a:cxn>
              <a:cxn ang="0">
                <a:pos x="connsiteX37008" y="connsiteY37008"/>
              </a:cxn>
              <a:cxn ang="0">
                <a:pos x="connsiteX37009" y="connsiteY37009"/>
              </a:cxn>
              <a:cxn ang="0">
                <a:pos x="connsiteX37010" y="connsiteY37010"/>
              </a:cxn>
              <a:cxn ang="0">
                <a:pos x="connsiteX37011" y="connsiteY37011"/>
              </a:cxn>
              <a:cxn ang="0">
                <a:pos x="connsiteX37012" y="connsiteY37012"/>
              </a:cxn>
              <a:cxn ang="0">
                <a:pos x="connsiteX37013" y="connsiteY37013"/>
              </a:cxn>
              <a:cxn ang="0">
                <a:pos x="connsiteX37014" y="connsiteY37014"/>
              </a:cxn>
              <a:cxn ang="0">
                <a:pos x="connsiteX37015" y="connsiteY37015"/>
              </a:cxn>
              <a:cxn ang="0">
                <a:pos x="connsiteX37016" y="connsiteY37016"/>
              </a:cxn>
              <a:cxn ang="0">
                <a:pos x="connsiteX37017" y="connsiteY37017"/>
              </a:cxn>
              <a:cxn ang="0">
                <a:pos x="connsiteX37018" y="connsiteY37018"/>
              </a:cxn>
              <a:cxn ang="0">
                <a:pos x="connsiteX37019" y="connsiteY37019"/>
              </a:cxn>
              <a:cxn ang="0">
                <a:pos x="connsiteX37020" y="connsiteY37020"/>
              </a:cxn>
              <a:cxn ang="0">
                <a:pos x="connsiteX37021" y="connsiteY37021"/>
              </a:cxn>
              <a:cxn ang="0">
                <a:pos x="connsiteX37022" y="connsiteY37022"/>
              </a:cxn>
              <a:cxn ang="0">
                <a:pos x="connsiteX37023" y="connsiteY37023"/>
              </a:cxn>
              <a:cxn ang="0">
                <a:pos x="connsiteX37024" y="connsiteY37024"/>
              </a:cxn>
              <a:cxn ang="0">
                <a:pos x="connsiteX37025" y="connsiteY37025"/>
              </a:cxn>
              <a:cxn ang="0">
                <a:pos x="connsiteX37026" y="connsiteY37026"/>
              </a:cxn>
              <a:cxn ang="0">
                <a:pos x="connsiteX37027" y="connsiteY37027"/>
              </a:cxn>
              <a:cxn ang="0">
                <a:pos x="connsiteX37028" y="connsiteY37028"/>
              </a:cxn>
              <a:cxn ang="0">
                <a:pos x="connsiteX37029" y="connsiteY37029"/>
              </a:cxn>
              <a:cxn ang="0">
                <a:pos x="connsiteX37030" y="connsiteY37030"/>
              </a:cxn>
              <a:cxn ang="0">
                <a:pos x="connsiteX37031" y="connsiteY37031"/>
              </a:cxn>
              <a:cxn ang="0">
                <a:pos x="connsiteX37032" y="connsiteY37032"/>
              </a:cxn>
              <a:cxn ang="0">
                <a:pos x="connsiteX37033" y="connsiteY37033"/>
              </a:cxn>
              <a:cxn ang="0">
                <a:pos x="connsiteX37034" y="connsiteY37034"/>
              </a:cxn>
              <a:cxn ang="0">
                <a:pos x="connsiteX37035" y="connsiteY37035"/>
              </a:cxn>
              <a:cxn ang="0">
                <a:pos x="connsiteX37036" y="connsiteY37036"/>
              </a:cxn>
              <a:cxn ang="0">
                <a:pos x="connsiteX37037" y="connsiteY37037"/>
              </a:cxn>
              <a:cxn ang="0">
                <a:pos x="connsiteX37038" y="connsiteY37038"/>
              </a:cxn>
              <a:cxn ang="0">
                <a:pos x="connsiteX37039" y="connsiteY37039"/>
              </a:cxn>
              <a:cxn ang="0">
                <a:pos x="connsiteX37040" y="connsiteY37040"/>
              </a:cxn>
              <a:cxn ang="0">
                <a:pos x="connsiteX37041" y="connsiteY37041"/>
              </a:cxn>
              <a:cxn ang="0">
                <a:pos x="connsiteX37042" y="connsiteY37042"/>
              </a:cxn>
              <a:cxn ang="0">
                <a:pos x="connsiteX37043" y="connsiteY37043"/>
              </a:cxn>
              <a:cxn ang="0">
                <a:pos x="connsiteX37044" y="connsiteY37044"/>
              </a:cxn>
              <a:cxn ang="0">
                <a:pos x="connsiteX37045" y="connsiteY37045"/>
              </a:cxn>
              <a:cxn ang="0">
                <a:pos x="connsiteX37046" y="connsiteY37046"/>
              </a:cxn>
              <a:cxn ang="0">
                <a:pos x="connsiteX37047" y="connsiteY37047"/>
              </a:cxn>
              <a:cxn ang="0">
                <a:pos x="connsiteX37048" y="connsiteY37048"/>
              </a:cxn>
              <a:cxn ang="0">
                <a:pos x="connsiteX37049" y="connsiteY37049"/>
              </a:cxn>
              <a:cxn ang="0">
                <a:pos x="connsiteX37050" y="connsiteY37050"/>
              </a:cxn>
              <a:cxn ang="0">
                <a:pos x="connsiteX37051" y="connsiteY37051"/>
              </a:cxn>
              <a:cxn ang="0">
                <a:pos x="connsiteX37052" y="connsiteY37052"/>
              </a:cxn>
              <a:cxn ang="0">
                <a:pos x="connsiteX37053" y="connsiteY37053"/>
              </a:cxn>
              <a:cxn ang="0">
                <a:pos x="connsiteX37054" y="connsiteY37054"/>
              </a:cxn>
              <a:cxn ang="0">
                <a:pos x="connsiteX37055" y="connsiteY37055"/>
              </a:cxn>
              <a:cxn ang="0">
                <a:pos x="connsiteX37056" y="connsiteY37056"/>
              </a:cxn>
              <a:cxn ang="0">
                <a:pos x="connsiteX37057" y="connsiteY37057"/>
              </a:cxn>
              <a:cxn ang="0">
                <a:pos x="connsiteX37058" y="connsiteY37058"/>
              </a:cxn>
              <a:cxn ang="0">
                <a:pos x="connsiteX37059" y="connsiteY37059"/>
              </a:cxn>
              <a:cxn ang="0">
                <a:pos x="connsiteX37060" y="connsiteY37060"/>
              </a:cxn>
              <a:cxn ang="0">
                <a:pos x="connsiteX37061" y="connsiteY37061"/>
              </a:cxn>
              <a:cxn ang="0">
                <a:pos x="connsiteX37062" y="connsiteY37062"/>
              </a:cxn>
              <a:cxn ang="0">
                <a:pos x="connsiteX37063" y="connsiteY37063"/>
              </a:cxn>
              <a:cxn ang="0">
                <a:pos x="connsiteX37064" y="connsiteY37064"/>
              </a:cxn>
              <a:cxn ang="0">
                <a:pos x="connsiteX37065" y="connsiteY37065"/>
              </a:cxn>
              <a:cxn ang="0">
                <a:pos x="connsiteX37066" y="connsiteY37066"/>
              </a:cxn>
              <a:cxn ang="0">
                <a:pos x="connsiteX37067" y="connsiteY37067"/>
              </a:cxn>
              <a:cxn ang="0">
                <a:pos x="connsiteX37068" y="connsiteY37068"/>
              </a:cxn>
              <a:cxn ang="0">
                <a:pos x="connsiteX37069" y="connsiteY37069"/>
              </a:cxn>
              <a:cxn ang="0">
                <a:pos x="connsiteX37070" y="connsiteY37070"/>
              </a:cxn>
              <a:cxn ang="0">
                <a:pos x="connsiteX37071" y="connsiteY37071"/>
              </a:cxn>
              <a:cxn ang="0">
                <a:pos x="connsiteX37072" y="connsiteY37072"/>
              </a:cxn>
              <a:cxn ang="0">
                <a:pos x="connsiteX37073" y="connsiteY37073"/>
              </a:cxn>
              <a:cxn ang="0">
                <a:pos x="connsiteX37074" y="connsiteY37074"/>
              </a:cxn>
              <a:cxn ang="0">
                <a:pos x="connsiteX37075" y="connsiteY37075"/>
              </a:cxn>
              <a:cxn ang="0">
                <a:pos x="connsiteX37076" y="connsiteY37076"/>
              </a:cxn>
              <a:cxn ang="0">
                <a:pos x="connsiteX37077" y="connsiteY37077"/>
              </a:cxn>
              <a:cxn ang="0">
                <a:pos x="connsiteX37078" y="connsiteY37078"/>
              </a:cxn>
              <a:cxn ang="0">
                <a:pos x="connsiteX37079" y="connsiteY37079"/>
              </a:cxn>
              <a:cxn ang="0">
                <a:pos x="connsiteX37080" y="connsiteY37080"/>
              </a:cxn>
              <a:cxn ang="0">
                <a:pos x="connsiteX37081" y="connsiteY37081"/>
              </a:cxn>
              <a:cxn ang="0">
                <a:pos x="connsiteX37082" y="connsiteY37082"/>
              </a:cxn>
              <a:cxn ang="0">
                <a:pos x="connsiteX37083" y="connsiteY37083"/>
              </a:cxn>
              <a:cxn ang="0">
                <a:pos x="connsiteX37084" y="connsiteY37084"/>
              </a:cxn>
              <a:cxn ang="0">
                <a:pos x="connsiteX37085" y="connsiteY37085"/>
              </a:cxn>
              <a:cxn ang="0">
                <a:pos x="connsiteX37086" y="connsiteY37086"/>
              </a:cxn>
              <a:cxn ang="0">
                <a:pos x="connsiteX37087" y="connsiteY37087"/>
              </a:cxn>
              <a:cxn ang="0">
                <a:pos x="connsiteX37088" y="connsiteY37088"/>
              </a:cxn>
              <a:cxn ang="0">
                <a:pos x="connsiteX37089" y="connsiteY37089"/>
              </a:cxn>
              <a:cxn ang="0">
                <a:pos x="connsiteX37090" y="connsiteY37090"/>
              </a:cxn>
              <a:cxn ang="0">
                <a:pos x="connsiteX37091" y="connsiteY37091"/>
              </a:cxn>
              <a:cxn ang="0">
                <a:pos x="connsiteX37092" y="connsiteY37092"/>
              </a:cxn>
              <a:cxn ang="0">
                <a:pos x="connsiteX37093" y="connsiteY37093"/>
              </a:cxn>
              <a:cxn ang="0">
                <a:pos x="connsiteX37094" y="connsiteY37094"/>
              </a:cxn>
              <a:cxn ang="0">
                <a:pos x="connsiteX37095" y="connsiteY37095"/>
              </a:cxn>
              <a:cxn ang="0">
                <a:pos x="connsiteX37096" y="connsiteY37096"/>
              </a:cxn>
              <a:cxn ang="0">
                <a:pos x="connsiteX37097" y="connsiteY37097"/>
              </a:cxn>
              <a:cxn ang="0">
                <a:pos x="connsiteX37098" y="connsiteY37098"/>
              </a:cxn>
              <a:cxn ang="0">
                <a:pos x="connsiteX37099" y="connsiteY37099"/>
              </a:cxn>
              <a:cxn ang="0">
                <a:pos x="connsiteX37100" y="connsiteY37100"/>
              </a:cxn>
              <a:cxn ang="0">
                <a:pos x="connsiteX37101" y="connsiteY37101"/>
              </a:cxn>
              <a:cxn ang="0">
                <a:pos x="connsiteX37102" y="connsiteY37102"/>
              </a:cxn>
              <a:cxn ang="0">
                <a:pos x="connsiteX37103" y="connsiteY37103"/>
              </a:cxn>
              <a:cxn ang="0">
                <a:pos x="connsiteX37104" y="connsiteY37104"/>
              </a:cxn>
              <a:cxn ang="0">
                <a:pos x="connsiteX37105" y="connsiteY37105"/>
              </a:cxn>
              <a:cxn ang="0">
                <a:pos x="connsiteX37106" y="connsiteY37106"/>
              </a:cxn>
              <a:cxn ang="0">
                <a:pos x="connsiteX37107" y="connsiteY37107"/>
              </a:cxn>
              <a:cxn ang="0">
                <a:pos x="connsiteX37108" y="connsiteY37108"/>
              </a:cxn>
              <a:cxn ang="0">
                <a:pos x="connsiteX37109" y="connsiteY37109"/>
              </a:cxn>
              <a:cxn ang="0">
                <a:pos x="connsiteX37110" y="connsiteY37110"/>
              </a:cxn>
              <a:cxn ang="0">
                <a:pos x="connsiteX37111" y="connsiteY37111"/>
              </a:cxn>
              <a:cxn ang="0">
                <a:pos x="connsiteX37112" y="connsiteY37112"/>
              </a:cxn>
              <a:cxn ang="0">
                <a:pos x="connsiteX37113" y="connsiteY37113"/>
              </a:cxn>
              <a:cxn ang="0">
                <a:pos x="connsiteX37114" y="connsiteY37114"/>
              </a:cxn>
              <a:cxn ang="0">
                <a:pos x="connsiteX37115" y="connsiteY37115"/>
              </a:cxn>
              <a:cxn ang="0">
                <a:pos x="connsiteX37116" y="connsiteY37116"/>
              </a:cxn>
              <a:cxn ang="0">
                <a:pos x="connsiteX37117" y="connsiteY37117"/>
              </a:cxn>
              <a:cxn ang="0">
                <a:pos x="connsiteX37118" y="connsiteY37118"/>
              </a:cxn>
              <a:cxn ang="0">
                <a:pos x="connsiteX37119" y="connsiteY37119"/>
              </a:cxn>
              <a:cxn ang="0">
                <a:pos x="connsiteX37120" y="connsiteY37120"/>
              </a:cxn>
              <a:cxn ang="0">
                <a:pos x="connsiteX37121" y="connsiteY37121"/>
              </a:cxn>
              <a:cxn ang="0">
                <a:pos x="connsiteX37122" y="connsiteY37122"/>
              </a:cxn>
              <a:cxn ang="0">
                <a:pos x="connsiteX37123" y="connsiteY37123"/>
              </a:cxn>
              <a:cxn ang="0">
                <a:pos x="connsiteX37124" y="connsiteY37124"/>
              </a:cxn>
              <a:cxn ang="0">
                <a:pos x="connsiteX37125" y="connsiteY37125"/>
              </a:cxn>
              <a:cxn ang="0">
                <a:pos x="connsiteX37126" y="connsiteY37126"/>
              </a:cxn>
              <a:cxn ang="0">
                <a:pos x="connsiteX37127" y="connsiteY37127"/>
              </a:cxn>
              <a:cxn ang="0">
                <a:pos x="connsiteX37128" y="connsiteY37128"/>
              </a:cxn>
              <a:cxn ang="0">
                <a:pos x="connsiteX37129" y="connsiteY37129"/>
              </a:cxn>
              <a:cxn ang="0">
                <a:pos x="connsiteX37130" y="connsiteY37130"/>
              </a:cxn>
              <a:cxn ang="0">
                <a:pos x="connsiteX37131" y="connsiteY37131"/>
              </a:cxn>
              <a:cxn ang="0">
                <a:pos x="connsiteX37132" y="connsiteY37132"/>
              </a:cxn>
              <a:cxn ang="0">
                <a:pos x="connsiteX37133" y="connsiteY37133"/>
              </a:cxn>
              <a:cxn ang="0">
                <a:pos x="connsiteX37134" y="connsiteY37134"/>
              </a:cxn>
              <a:cxn ang="0">
                <a:pos x="connsiteX37135" y="connsiteY37135"/>
              </a:cxn>
              <a:cxn ang="0">
                <a:pos x="connsiteX37136" y="connsiteY37136"/>
              </a:cxn>
              <a:cxn ang="0">
                <a:pos x="connsiteX37137" y="connsiteY37137"/>
              </a:cxn>
              <a:cxn ang="0">
                <a:pos x="connsiteX37138" y="connsiteY37138"/>
              </a:cxn>
              <a:cxn ang="0">
                <a:pos x="connsiteX37139" y="connsiteY37139"/>
              </a:cxn>
              <a:cxn ang="0">
                <a:pos x="connsiteX37140" y="connsiteY37140"/>
              </a:cxn>
              <a:cxn ang="0">
                <a:pos x="connsiteX37141" y="connsiteY37141"/>
              </a:cxn>
              <a:cxn ang="0">
                <a:pos x="connsiteX37142" y="connsiteY37142"/>
              </a:cxn>
              <a:cxn ang="0">
                <a:pos x="connsiteX37143" y="connsiteY37143"/>
              </a:cxn>
              <a:cxn ang="0">
                <a:pos x="connsiteX37144" y="connsiteY37144"/>
              </a:cxn>
              <a:cxn ang="0">
                <a:pos x="connsiteX37145" y="connsiteY37145"/>
              </a:cxn>
              <a:cxn ang="0">
                <a:pos x="connsiteX37146" y="connsiteY37146"/>
              </a:cxn>
              <a:cxn ang="0">
                <a:pos x="connsiteX37147" y="connsiteY37147"/>
              </a:cxn>
              <a:cxn ang="0">
                <a:pos x="connsiteX37148" y="connsiteY37148"/>
              </a:cxn>
              <a:cxn ang="0">
                <a:pos x="connsiteX37149" y="connsiteY37149"/>
              </a:cxn>
              <a:cxn ang="0">
                <a:pos x="connsiteX37150" y="connsiteY37150"/>
              </a:cxn>
              <a:cxn ang="0">
                <a:pos x="connsiteX37151" y="connsiteY37151"/>
              </a:cxn>
              <a:cxn ang="0">
                <a:pos x="connsiteX37152" y="connsiteY37152"/>
              </a:cxn>
              <a:cxn ang="0">
                <a:pos x="connsiteX37153" y="connsiteY37153"/>
              </a:cxn>
              <a:cxn ang="0">
                <a:pos x="connsiteX37154" y="connsiteY37154"/>
              </a:cxn>
              <a:cxn ang="0">
                <a:pos x="connsiteX37155" y="connsiteY37155"/>
              </a:cxn>
              <a:cxn ang="0">
                <a:pos x="connsiteX37156" y="connsiteY37156"/>
              </a:cxn>
              <a:cxn ang="0">
                <a:pos x="connsiteX37157" y="connsiteY37157"/>
              </a:cxn>
              <a:cxn ang="0">
                <a:pos x="connsiteX37158" y="connsiteY37158"/>
              </a:cxn>
              <a:cxn ang="0">
                <a:pos x="connsiteX37159" y="connsiteY37159"/>
              </a:cxn>
              <a:cxn ang="0">
                <a:pos x="connsiteX37160" y="connsiteY37160"/>
              </a:cxn>
              <a:cxn ang="0">
                <a:pos x="connsiteX37161" y="connsiteY37161"/>
              </a:cxn>
              <a:cxn ang="0">
                <a:pos x="connsiteX37162" y="connsiteY37162"/>
              </a:cxn>
              <a:cxn ang="0">
                <a:pos x="connsiteX37163" y="connsiteY37163"/>
              </a:cxn>
              <a:cxn ang="0">
                <a:pos x="connsiteX37164" y="connsiteY37164"/>
              </a:cxn>
              <a:cxn ang="0">
                <a:pos x="connsiteX37165" y="connsiteY37165"/>
              </a:cxn>
              <a:cxn ang="0">
                <a:pos x="connsiteX37166" y="connsiteY37166"/>
              </a:cxn>
              <a:cxn ang="0">
                <a:pos x="connsiteX37167" y="connsiteY37167"/>
              </a:cxn>
              <a:cxn ang="0">
                <a:pos x="connsiteX37168" y="connsiteY37168"/>
              </a:cxn>
              <a:cxn ang="0">
                <a:pos x="connsiteX37169" y="connsiteY37169"/>
              </a:cxn>
              <a:cxn ang="0">
                <a:pos x="connsiteX37170" y="connsiteY37170"/>
              </a:cxn>
              <a:cxn ang="0">
                <a:pos x="connsiteX37171" y="connsiteY37171"/>
              </a:cxn>
              <a:cxn ang="0">
                <a:pos x="connsiteX37172" y="connsiteY37172"/>
              </a:cxn>
              <a:cxn ang="0">
                <a:pos x="connsiteX37173" y="connsiteY37173"/>
              </a:cxn>
              <a:cxn ang="0">
                <a:pos x="connsiteX37174" y="connsiteY37174"/>
              </a:cxn>
              <a:cxn ang="0">
                <a:pos x="connsiteX37175" y="connsiteY37175"/>
              </a:cxn>
              <a:cxn ang="0">
                <a:pos x="connsiteX37176" y="connsiteY37176"/>
              </a:cxn>
              <a:cxn ang="0">
                <a:pos x="connsiteX37177" y="connsiteY37177"/>
              </a:cxn>
              <a:cxn ang="0">
                <a:pos x="connsiteX37178" y="connsiteY37178"/>
              </a:cxn>
              <a:cxn ang="0">
                <a:pos x="connsiteX37179" y="connsiteY37179"/>
              </a:cxn>
              <a:cxn ang="0">
                <a:pos x="connsiteX37180" y="connsiteY37180"/>
              </a:cxn>
              <a:cxn ang="0">
                <a:pos x="connsiteX37181" y="connsiteY37181"/>
              </a:cxn>
              <a:cxn ang="0">
                <a:pos x="connsiteX37182" y="connsiteY37182"/>
              </a:cxn>
              <a:cxn ang="0">
                <a:pos x="connsiteX37183" y="connsiteY37183"/>
              </a:cxn>
              <a:cxn ang="0">
                <a:pos x="connsiteX37184" y="connsiteY37184"/>
              </a:cxn>
              <a:cxn ang="0">
                <a:pos x="connsiteX37185" y="connsiteY37185"/>
              </a:cxn>
              <a:cxn ang="0">
                <a:pos x="connsiteX37186" y="connsiteY37186"/>
              </a:cxn>
              <a:cxn ang="0">
                <a:pos x="connsiteX37187" y="connsiteY37187"/>
              </a:cxn>
              <a:cxn ang="0">
                <a:pos x="connsiteX37188" y="connsiteY37188"/>
              </a:cxn>
              <a:cxn ang="0">
                <a:pos x="connsiteX37189" y="connsiteY37189"/>
              </a:cxn>
              <a:cxn ang="0">
                <a:pos x="connsiteX37190" y="connsiteY37190"/>
              </a:cxn>
              <a:cxn ang="0">
                <a:pos x="connsiteX37191" y="connsiteY37191"/>
              </a:cxn>
              <a:cxn ang="0">
                <a:pos x="connsiteX37192" y="connsiteY37192"/>
              </a:cxn>
              <a:cxn ang="0">
                <a:pos x="connsiteX37193" y="connsiteY37193"/>
              </a:cxn>
              <a:cxn ang="0">
                <a:pos x="connsiteX37194" y="connsiteY37194"/>
              </a:cxn>
              <a:cxn ang="0">
                <a:pos x="connsiteX37195" y="connsiteY37195"/>
              </a:cxn>
              <a:cxn ang="0">
                <a:pos x="connsiteX37196" y="connsiteY37196"/>
              </a:cxn>
              <a:cxn ang="0">
                <a:pos x="connsiteX37197" y="connsiteY37197"/>
              </a:cxn>
              <a:cxn ang="0">
                <a:pos x="connsiteX37198" y="connsiteY37198"/>
              </a:cxn>
              <a:cxn ang="0">
                <a:pos x="connsiteX37199" y="connsiteY37199"/>
              </a:cxn>
              <a:cxn ang="0">
                <a:pos x="connsiteX37200" y="connsiteY37200"/>
              </a:cxn>
              <a:cxn ang="0">
                <a:pos x="connsiteX37201" y="connsiteY37201"/>
              </a:cxn>
              <a:cxn ang="0">
                <a:pos x="connsiteX37202" y="connsiteY37202"/>
              </a:cxn>
              <a:cxn ang="0">
                <a:pos x="connsiteX37203" y="connsiteY37203"/>
              </a:cxn>
              <a:cxn ang="0">
                <a:pos x="connsiteX37204" y="connsiteY37204"/>
              </a:cxn>
              <a:cxn ang="0">
                <a:pos x="connsiteX37205" y="connsiteY37205"/>
              </a:cxn>
              <a:cxn ang="0">
                <a:pos x="connsiteX37206" y="connsiteY37206"/>
              </a:cxn>
              <a:cxn ang="0">
                <a:pos x="connsiteX37207" y="connsiteY37207"/>
              </a:cxn>
              <a:cxn ang="0">
                <a:pos x="connsiteX37208" y="connsiteY37208"/>
              </a:cxn>
              <a:cxn ang="0">
                <a:pos x="connsiteX37209" y="connsiteY37209"/>
              </a:cxn>
              <a:cxn ang="0">
                <a:pos x="connsiteX37210" y="connsiteY37210"/>
              </a:cxn>
              <a:cxn ang="0">
                <a:pos x="connsiteX37211" y="connsiteY37211"/>
              </a:cxn>
              <a:cxn ang="0">
                <a:pos x="connsiteX37212" y="connsiteY37212"/>
              </a:cxn>
              <a:cxn ang="0">
                <a:pos x="connsiteX37213" y="connsiteY37213"/>
              </a:cxn>
              <a:cxn ang="0">
                <a:pos x="connsiteX37214" y="connsiteY37214"/>
              </a:cxn>
              <a:cxn ang="0">
                <a:pos x="connsiteX37215" y="connsiteY37215"/>
              </a:cxn>
              <a:cxn ang="0">
                <a:pos x="connsiteX37216" y="connsiteY37216"/>
              </a:cxn>
              <a:cxn ang="0">
                <a:pos x="connsiteX37217" y="connsiteY37217"/>
              </a:cxn>
              <a:cxn ang="0">
                <a:pos x="connsiteX37218" y="connsiteY37218"/>
              </a:cxn>
              <a:cxn ang="0">
                <a:pos x="connsiteX37219" y="connsiteY37219"/>
              </a:cxn>
              <a:cxn ang="0">
                <a:pos x="connsiteX37220" y="connsiteY37220"/>
              </a:cxn>
              <a:cxn ang="0">
                <a:pos x="connsiteX37221" y="connsiteY37221"/>
              </a:cxn>
              <a:cxn ang="0">
                <a:pos x="connsiteX37222" y="connsiteY37222"/>
              </a:cxn>
              <a:cxn ang="0">
                <a:pos x="connsiteX37223" y="connsiteY37223"/>
              </a:cxn>
              <a:cxn ang="0">
                <a:pos x="connsiteX37224" y="connsiteY37224"/>
              </a:cxn>
              <a:cxn ang="0">
                <a:pos x="connsiteX37225" y="connsiteY37225"/>
              </a:cxn>
              <a:cxn ang="0">
                <a:pos x="connsiteX37226" y="connsiteY37226"/>
              </a:cxn>
              <a:cxn ang="0">
                <a:pos x="connsiteX37227" y="connsiteY37227"/>
              </a:cxn>
              <a:cxn ang="0">
                <a:pos x="connsiteX37228" y="connsiteY37228"/>
              </a:cxn>
              <a:cxn ang="0">
                <a:pos x="connsiteX37229" y="connsiteY37229"/>
              </a:cxn>
              <a:cxn ang="0">
                <a:pos x="connsiteX37230" y="connsiteY37230"/>
              </a:cxn>
              <a:cxn ang="0">
                <a:pos x="connsiteX37231" y="connsiteY37231"/>
              </a:cxn>
              <a:cxn ang="0">
                <a:pos x="connsiteX37232" y="connsiteY37232"/>
              </a:cxn>
              <a:cxn ang="0">
                <a:pos x="connsiteX37233" y="connsiteY37233"/>
              </a:cxn>
              <a:cxn ang="0">
                <a:pos x="connsiteX37234" y="connsiteY37234"/>
              </a:cxn>
              <a:cxn ang="0">
                <a:pos x="connsiteX37235" y="connsiteY37235"/>
              </a:cxn>
              <a:cxn ang="0">
                <a:pos x="connsiteX37236" y="connsiteY37236"/>
              </a:cxn>
              <a:cxn ang="0">
                <a:pos x="connsiteX37237" y="connsiteY37237"/>
              </a:cxn>
              <a:cxn ang="0">
                <a:pos x="connsiteX37238" y="connsiteY37238"/>
              </a:cxn>
              <a:cxn ang="0">
                <a:pos x="connsiteX37239" y="connsiteY37239"/>
              </a:cxn>
              <a:cxn ang="0">
                <a:pos x="connsiteX37240" y="connsiteY37240"/>
              </a:cxn>
              <a:cxn ang="0">
                <a:pos x="connsiteX37241" y="connsiteY37241"/>
              </a:cxn>
              <a:cxn ang="0">
                <a:pos x="connsiteX37242" y="connsiteY37242"/>
              </a:cxn>
              <a:cxn ang="0">
                <a:pos x="connsiteX37243" y="connsiteY37243"/>
              </a:cxn>
              <a:cxn ang="0">
                <a:pos x="connsiteX37244" y="connsiteY37244"/>
              </a:cxn>
              <a:cxn ang="0">
                <a:pos x="connsiteX37245" y="connsiteY37245"/>
              </a:cxn>
              <a:cxn ang="0">
                <a:pos x="connsiteX37246" y="connsiteY37246"/>
              </a:cxn>
              <a:cxn ang="0">
                <a:pos x="connsiteX37247" y="connsiteY37247"/>
              </a:cxn>
              <a:cxn ang="0">
                <a:pos x="connsiteX37248" y="connsiteY37248"/>
              </a:cxn>
              <a:cxn ang="0">
                <a:pos x="connsiteX37249" y="connsiteY37249"/>
              </a:cxn>
              <a:cxn ang="0">
                <a:pos x="connsiteX37250" y="connsiteY37250"/>
              </a:cxn>
              <a:cxn ang="0">
                <a:pos x="connsiteX37251" y="connsiteY37251"/>
              </a:cxn>
              <a:cxn ang="0">
                <a:pos x="connsiteX37252" y="connsiteY37252"/>
              </a:cxn>
              <a:cxn ang="0">
                <a:pos x="connsiteX37253" y="connsiteY37253"/>
              </a:cxn>
              <a:cxn ang="0">
                <a:pos x="connsiteX37254" y="connsiteY37254"/>
              </a:cxn>
              <a:cxn ang="0">
                <a:pos x="connsiteX37255" y="connsiteY37255"/>
              </a:cxn>
              <a:cxn ang="0">
                <a:pos x="connsiteX37256" y="connsiteY37256"/>
              </a:cxn>
              <a:cxn ang="0">
                <a:pos x="connsiteX37257" y="connsiteY37257"/>
              </a:cxn>
              <a:cxn ang="0">
                <a:pos x="connsiteX37258" y="connsiteY37258"/>
              </a:cxn>
              <a:cxn ang="0">
                <a:pos x="connsiteX37259" y="connsiteY37259"/>
              </a:cxn>
              <a:cxn ang="0">
                <a:pos x="connsiteX37260" y="connsiteY37260"/>
              </a:cxn>
              <a:cxn ang="0">
                <a:pos x="connsiteX37261" y="connsiteY37261"/>
              </a:cxn>
              <a:cxn ang="0">
                <a:pos x="connsiteX37262" y="connsiteY37262"/>
              </a:cxn>
              <a:cxn ang="0">
                <a:pos x="connsiteX37263" y="connsiteY37263"/>
              </a:cxn>
              <a:cxn ang="0">
                <a:pos x="connsiteX37264" y="connsiteY37264"/>
              </a:cxn>
              <a:cxn ang="0">
                <a:pos x="connsiteX37265" y="connsiteY37265"/>
              </a:cxn>
              <a:cxn ang="0">
                <a:pos x="connsiteX37266" y="connsiteY37266"/>
              </a:cxn>
              <a:cxn ang="0">
                <a:pos x="connsiteX37267" y="connsiteY37267"/>
              </a:cxn>
              <a:cxn ang="0">
                <a:pos x="connsiteX37268" y="connsiteY37268"/>
              </a:cxn>
              <a:cxn ang="0">
                <a:pos x="connsiteX37269" y="connsiteY37269"/>
              </a:cxn>
              <a:cxn ang="0">
                <a:pos x="connsiteX37270" y="connsiteY37270"/>
              </a:cxn>
              <a:cxn ang="0">
                <a:pos x="connsiteX37271" y="connsiteY37271"/>
              </a:cxn>
              <a:cxn ang="0">
                <a:pos x="connsiteX37272" y="connsiteY37272"/>
              </a:cxn>
              <a:cxn ang="0">
                <a:pos x="connsiteX37273" y="connsiteY37273"/>
              </a:cxn>
              <a:cxn ang="0">
                <a:pos x="connsiteX37274" y="connsiteY37274"/>
              </a:cxn>
              <a:cxn ang="0">
                <a:pos x="connsiteX37275" y="connsiteY37275"/>
              </a:cxn>
              <a:cxn ang="0">
                <a:pos x="connsiteX37276" y="connsiteY37276"/>
              </a:cxn>
              <a:cxn ang="0">
                <a:pos x="connsiteX37277" y="connsiteY37277"/>
              </a:cxn>
              <a:cxn ang="0">
                <a:pos x="connsiteX37278" y="connsiteY37278"/>
              </a:cxn>
              <a:cxn ang="0">
                <a:pos x="connsiteX37279" y="connsiteY37279"/>
              </a:cxn>
              <a:cxn ang="0">
                <a:pos x="connsiteX37280" y="connsiteY37280"/>
              </a:cxn>
              <a:cxn ang="0">
                <a:pos x="connsiteX37281" y="connsiteY37281"/>
              </a:cxn>
              <a:cxn ang="0">
                <a:pos x="connsiteX37282" y="connsiteY37282"/>
              </a:cxn>
              <a:cxn ang="0">
                <a:pos x="connsiteX37283" y="connsiteY37283"/>
              </a:cxn>
              <a:cxn ang="0">
                <a:pos x="connsiteX37284" y="connsiteY37284"/>
              </a:cxn>
              <a:cxn ang="0">
                <a:pos x="connsiteX37285" y="connsiteY37285"/>
              </a:cxn>
              <a:cxn ang="0">
                <a:pos x="connsiteX37286" y="connsiteY37286"/>
              </a:cxn>
              <a:cxn ang="0">
                <a:pos x="connsiteX37287" y="connsiteY37287"/>
              </a:cxn>
              <a:cxn ang="0">
                <a:pos x="connsiteX37288" y="connsiteY37288"/>
              </a:cxn>
              <a:cxn ang="0">
                <a:pos x="connsiteX37289" y="connsiteY37289"/>
              </a:cxn>
              <a:cxn ang="0">
                <a:pos x="connsiteX37290" y="connsiteY37290"/>
              </a:cxn>
              <a:cxn ang="0">
                <a:pos x="connsiteX37291" y="connsiteY37291"/>
              </a:cxn>
              <a:cxn ang="0">
                <a:pos x="connsiteX37292" y="connsiteY37292"/>
              </a:cxn>
              <a:cxn ang="0">
                <a:pos x="connsiteX37293" y="connsiteY37293"/>
              </a:cxn>
              <a:cxn ang="0">
                <a:pos x="connsiteX37294" y="connsiteY37294"/>
              </a:cxn>
              <a:cxn ang="0">
                <a:pos x="connsiteX37295" y="connsiteY37295"/>
              </a:cxn>
              <a:cxn ang="0">
                <a:pos x="connsiteX37296" y="connsiteY37296"/>
              </a:cxn>
              <a:cxn ang="0">
                <a:pos x="connsiteX37297" y="connsiteY37297"/>
              </a:cxn>
              <a:cxn ang="0">
                <a:pos x="connsiteX37298" y="connsiteY37298"/>
              </a:cxn>
              <a:cxn ang="0">
                <a:pos x="connsiteX37299" y="connsiteY37299"/>
              </a:cxn>
              <a:cxn ang="0">
                <a:pos x="connsiteX37300" y="connsiteY37300"/>
              </a:cxn>
              <a:cxn ang="0">
                <a:pos x="connsiteX37301" y="connsiteY37301"/>
              </a:cxn>
              <a:cxn ang="0">
                <a:pos x="connsiteX37302" y="connsiteY37302"/>
              </a:cxn>
              <a:cxn ang="0">
                <a:pos x="connsiteX37303" y="connsiteY37303"/>
              </a:cxn>
              <a:cxn ang="0">
                <a:pos x="connsiteX37304" y="connsiteY37304"/>
              </a:cxn>
              <a:cxn ang="0">
                <a:pos x="connsiteX37305" y="connsiteY37305"/>
              </a:cxn>
              <a:cxn ang="0">
                <a:pos x="connsiteX37306" y="connsiteY37306"/>
              </a:cxn>
              <a:cxn ang="0">
                <a:pos x="connsiteX37307" y="connsiteY37307"/>
              </a:cxn>
              <a:cxn ang="0">
                <a:pos x="connsiteX37308" y="connsiteY37308"/>
              </a:cxn>
              <a:cxn ang="0">
                <a:pos x="connsiteX37309" y="connsiteY37309"/>
              </a:cxn>
              <a:cxn ang="0">
                <a:pos x="connsiteX37310" y="connsiteY37310"/>
              </a:cxn>
              <a:cxn ang="0">
                <a:pos x="connsiteX37311" y="connsiteY37311"/>
              </a:cxn>
              <a:cxn ang="0">
                <a:pos x="connsiteX37312" y="connsiteY37312"/>
              </a:cxn>
              <a:cxn ang="0">
                <a:pos x="connsiteX37313" y="connsiteY37313"/>
              </a:cxn>
              <a:cxn ang="0">
                <a:pos x="connsiteX37314" y="connsiteY37314"/>
              </a:cxn>
              <a:cxn ang="0">
                <a:pos x="connsiteX37315" y="connsiteY37315"/>
              </a:cxn>
              <a:cxn ang="0">
                <a:pos x="connsiteX37316" y="connsiteY37316"/>
              </a:cxn>
              <a:cxn ang="0">
                <a:pos x="connsiteX37317" y="connsiteY37317"/>
              </a:cxn>
              <a:cxn ang="0">
                <a:pos x="connsiteX37318" y="connsiteY37318"/>
              </a:cxn>
              <a:cxn ang="0">
                <a:pos x="connsiteX37319" y="connsiteY37319"/>
              </a:cxn>
              <a:cxn ang="0">
                <a:pos x="connsiteX37320" y="connsiteY37320"/>
              </a:cxn>
              <a:cxn ang="0">
                <a:pos x="connsiteX37321" y="connsiteY37321"/>
              </a:cxn>
              <a:cxn ang="0">
                <a:pos x="connsiteX37322" y="connsiteY37322"/>
              </a:cxn>
              <a:cxn ang="0">
                <a:pos x="connsiteX37323" y="connsiteY37323"/>
              </a:cxn>
              <a:cxn ang="0">
                <a:pos x="connsiteX37324" y="connsiteY37324"/>
              </a:cxn>
              <a:cxn ang="0">
                <a:pos x="connsiteX37325" y="connsiteY37325"/>
              </a:cxn>
              <a:cxn ang="0">
                <a:pos x="connsiteX37326" y="connsiteY37326"/>
              </a:cxn>
              <a:cxn ang="0">
                <a:pos x="connsiteX37327" y="connsiteY37327"/>
              </a:cxn>
              <a:cxn ang="0">
                <a:pos x="connsiteX37328" y="connsiteY37328"/>
              </a:cxn>
              <a:cxn ang="0">
                <a:pos x="connsiteX37329" y="connsiteY37329"/>
              </a:cxn>
              <a:cxn ang="0">
                <a:pos x="connsiteX37330" y="connsiteY37330"/>
              </a:cxn>
              <a:cxn ang="0">
                <a:pos x="connsiteX37331" y="connsiteY37331"/>
              </a:cxn>
              <a:cxn ang="0">
                <a:pos x="connsiteX37332" y="connsiteY37332"/>
              </a:cxn>
              <a:cxn ang="0">
                <a:pos x="connsiteX37333" y="connsiteY37333"/>
              </a:cxn>
              <a:cxn ang="0">
                <a:pos x="connsiteX37334" y="connsiteY37334"/>
              </a:cxn>
              <a:cxn ang="0">
                <a:pos x="connsiteX37335" y="connsiteY37335"/>
              </a:cxn>
              <a:cxn ang="0">
                <a:pos x="connsiteX37336" y="connsiteY37336"/>
              </a:cxn>
              <a:cxn ang="0">
                <a:pos x="connsiteX37337" y="connsiteY37337"/>
              </a:cxn>
              <a:cxn ang="0">
                <a:pos x="connsiteX37338" y="connsiteY37338"/>
              </a:cxn>
              <a:cxn ang="0">
                <a:pos x="connsiteX37339" y="connsiteY37339"/>
              </a:cxn>
              <a:cxn ang="0">
                <a:pos x="connsiteX37340" y="connsiteY37340"/>
              </a:cxn>
              <a:cxn ang="0">
                <a:pos x="connsiteX37341" y="connsiteY37341"/>
              </a:cxn>
              <a:cxn ang="0">
                <a:pos x="connsiteX37342" y="connsiteY37342"/>
              </a:cxn>
              <a:cxn ang="0">
                <a:pos x="connsiteX37343" y="connsiteY37343"/>
              </a:cxn>
              <a:cxn ang="0">
                <a:pos x="connsiteX37344" y="connsiteY37344"/>
              </a:cxn>
              <a:cxn ang="0">
                <a:pos x="connsiteX37345" y="connsiteY37345"/>
              </a:cxn>
              <a:cxn ang="0">
                <a:pos x="connsiteX37346" y="connsiteY37346"/>
              </a:cxn>
              <a:cxn ang="0">
                <a:pos x="connsiteX37347" y="connsiteY37347"/>
              </a:cxn>
              <a:cxn ang="0">
                <a:pos x="connsiteX37348" y="connsiteY37348"/>
              </a:cxn>
              <a:cxn ang="0">
                <a:pos x="connsiteX37349" y="connsiteY37349"/>
              </a:cxn>
              <a:cxn ang="0">
                <a:pos x="connsiteX37350" y="connsiteY37350"/>
              </a:cxn>
              <a:cxn ang="0">
                <a:pos x="connsiteX37351" y="connsiteY37351"/>
              </a:cxn>
              <a:cxn ang="0">
                <a:pos x="connsiteX37352" y="connsiteY37352"/>
              </a:cxn>
              <a:cxn ang="0">
                <a:pos x="connsiteX37353" y="connsiteY37353"/>
              </a:cxn>
              <a:cxn ang="0">
                <a:pos x="connsiteX37354" y="connsiteY37354"/>
              </a:cxn>
              <a:cxn ang="0">
                <a:pos x="connsiteX37355" y="connsiteY37355"/>
              </a:cxn>
              <a:cxn ang="0">
                <a:pos x="connsiteX37356" y="connsiteY37356"/>
              </a:cxn>
              <a:cxn ang="0">
                <a:pos x="connsiteX37357" y="connsiteY37357"/>
              </a:cxn>
              <a:cxn ang="0">
                <a:pos x="connsiteX37358" y="connsiteY37358"/>
              </a:cxn>
              <a:cxn ang="0">
                <a:pos x="connsiteX37359" y="connsiteY37359"/>
              </a:cxn>
              <a:cxn ang="0">
                <a:pos x="connsiteX37360" y="connsiteY37360"/>
              </a:cxn>
              <a:cxn ang="0">
                <a:pos x="connsiteX37361" y="connsiteY37361"/>
              </a:cxn>
              <a:cxn ang="0">
                <a:pos x="connsiteX37362" y="connsiteY37362"/>
              </a:cxn>
              <a:cxn ang="0">
                <a:pos x="connsiteX37363" y="connsiteY37363"/>
              </a:cxn>
              <a:cxn ang="0">
                <a:pos x="connsiteX37364" y="connsiteY37364"/>
              </a:cxn>
              <a:cxn ang="0">
                <a:pos x="connsiteX37365" y="connsiteY37365"/>
              </a:cxn>
              <a:cxn ang="0">
                <a:pos x="connsiteX37366" y="connsiteY37366"/>
              </a:cxn>
              <a:cxn ang="0">
                <a:pos x="connsiteX37367" y="connsiteY37367"/>
              </a:cxn>
              <a:cxn ang="0">
                <a:pos x="connsiteX37368" y="connsiteY37368"/>
              </a:cxn>
              <a:cxn ang="0">
                <a:pos x="connsiteX37369" y="connsiteY37369"/>
              </a:cxn>
              <a:cxn ang="0">
                <a:pos x="connsiteX37370" y="connsiteY37370"/>
              </a:cxn>
              <a:cxn ang="0">
                <a:pos x="connsiteX37371" y="connsiteY37371"/>
              </a:cxn>
              <a:cxn ang="0">
                <a:pos x="connsiteX37372" y="connsiteY37372"/>
              </a:cxn>
              <a:cxn ang="0">
                <a:pos x="connsiteX37373" y="connsiteY37373"/>
              </a:cxn>
              <a:cxn ang="0">
                <a:pos x="connsiteX37374" y="connsiteY37374"/>
              </a:cxn>
              <a:cxn ang="0">
                <a:pos x="connsiteX37375" y="connsiteY37375"/>
              </a:cxn>
              <a:cxn ang="0">
                <a:pos x="connsiteX37376" y="connsiteY37376"/>
              </a:cxn>
              <a:cxn ang="0">
                <a:pos x="connsiteX37377" y="connsiteY37377"/>
              </a:cxn>
              <a:cxn ang="0">
                <a:pos x="connsiteX37378" y="connsiteY37378"/>
              </a:cxn>
              <a:cxn ang="0">
                <a:pos x="connsiteX37379" y="connsiteY37379"/>
              </a:cxn>
              <a:cxn ang="0">
                <a:pos x="connsiteX37380" y="connsiteY37380"/>
              </a:cxn>
              <a:cxn ang="0">
                <a:pos x="connsiteX37381" y="connsiteY37381"/>
              </a:cxn>
              <a:cxn ang="0">
                <a:pos x="connsiteX37382" y="connsiteY37382"/>
              </a:cxn>
              <a:cxn ang="0">
                <a:pos x="connsiteX37383" y="connsiteY37383"/>
              </a:cxn>
              <a:cxn ang="0">
                <a:pos x="connsiteX37384" y="connsiteY37384"/>
              </a:cxn>
              <a:cxn ang="0">
                <a:pos x="connsiteX37385" y="connsiteY37385"/>
              </a:cxn>
              <a:cxn ang="0">
                <a:pos x="connsiteX37386" y="connsiteY37386"/>
              </a:cxn>
              <a:cxn ang="0">
                <a:pos x="connsiteX37387" y="connsiteY37387"/>
              </a:cxn>
              <a:cxn ang="0">
                <a:pos x="connsiteX37388" y="connsiteY37388"/>
              </a:cxn>
              <a:cxn ang="0">
                <a:pos x="connsiteX37389" y="connsiteY37389"/>
              </a:cxn>
              <a:cxn ang="0">
                <a:pos x="connsiteX37390" y="connsiteY37390"/>
              </a:cxn>
              <a:cxn ang="0">
                <a:pos x="connsiteX37391" y="connsiteY37391"/>
              </a:cxn>
              <a:cxn ang="0">
                <a:pos x="connsiteX37392" y="connsiteY37392"/>
              </a:cxn>
              <a:cxn ang="0">
                <a:pos x="connsiteX37393" y="connsiteY37393"/>
              </a:cxn>
              <a:cxn ang="0">
                <a:pos x="connsiteX37394" y="connsiteY37394"/>
              </a:cxn>
              <a:cxn ang="0">
                <a:pos x="connsiteX37395" y="connsiteY37395"/>
              </a:cxn>
              <a:cxn ang="0">
                <a:pos x="connsiteX37396" y="connsiteY37396"/>
              </a:cxn>
              <a:cxn ang="0">
                <a:pos x="connsiteX37397" y="connsiteY37397"/>
              </a:cxn>
              <a:cxn ang="0">
                <a:pos x="connsiteX37398" y="connsiteY37398"/>
              </a:cxn>
              <a:cxn ang="0">
                <a:pos x="connsiteX37399" y="connsiteY37399"/>
              </a:cxn>
              <a:cxn ang="0">
                <a:pos x="connsiteX37400" y="connsiteY37400"/>
              </a:cxn>
              <a:cxn ang="0">
                <a:pos x="connsiteX37401" y="connsiteY37401"/>
              </a:cxn>
              <a:cxn ang="0">
                <a:pos x="connsiteX37402" y="connsiteY37402"/>
              </a:cxn>
              <a:cxn ang="0">
                <a:pos x="connsiteX37403" y="connsiteY37403"/>
              </a:cxn>
              <a:cxn ang="0">
                <a:pos x="connsiteX37404" y="connsiteY37404"/>
              </a:cxn>
              <a:cxn ang="0">
                <a:pos x="connsiteX37405" y="connsiteY37405"/>
              </a:cxn>
              <a:cxn ang="0">
                <a:pos x="connsiteX37406" y="connsiteY37406"/>
              </a:cxn>
              <a:cxn ang="0">
                <a:pos x="connsiteX37407" y="connsiteY37407"/>
              </a:cxn>
              <a:cxn ang="0">
                <a:pos x="connsiteX37408" y="connsiteY37408"/>
              </a:cxn>
              <a:cxn ang="0">
                <a:pos x="connsiteX37409" y="connsiteY37409"/>
              </a:cxn>
              <a:cxn ang="0">
                <a:pos x="connsiteX37410" y="connsiteY37410"/>
              </a:cxn>
              <a:cxn ang="0">
                <a:pos x="connsiteX37411" y="connsiteY37411"/>
              </a:cxn>
              <a:cxn ang="0">
                <a:pos x="connsiteX37412" y="connsiteY37412"/>
              </a:cxn>
              <a:cxn ang="0">
                <a:pos x="connsiteX37413" y="connsiteY37413"/>
              </a:cxn>
              <a:cxn ang="0">
                <a:pos x="connsiteX37414" y="connsiteY37414"/>
              </a:cxn>
              <a:cxn ang="0">
                <a:pos x="connsiteX37415" y="connsiteY37415"/>
              </a:cxn>
              <a:cxn ang="0">
                <a:pos x="connsiteX37416" y="connsiteY37416"/>
              </a:cxn>
              <a:cxn ang="0">
                <a:pos x="connsiteX37417" y="connsiteY37417"/>
              </a:cxn>
              <a:cxn ang="0">
                <a:pos x="connsiteX37418" y="connsiteY37418"/>
              </a:cxn>
              <a:cxn ang="0">
                <a:pos x="connsiteX37419" y="connsiteY37419"/>
              </a:cxn>
              <a:cxn ang="0">
                <a:pos x="connsiteX37420" y="connsiteY37420"/>
              </a:cxn>
              <a:cxn ang="0">
                <a:pos x="connsiteX37421" y="connsiteY37421"/>
              </a:cxn>
              <a:cxn ang="0">
                <a:pos x="connsiteX37422" y="connsiteY37422"/>
              </a:cxn>
              <a:cxn ang="0">
                <a:pos x="connsiteX37423" y="connsiteY37423"/>
              </a:cxn>
              <a:cxn ang="0">
                <a:pos x="connsiteX37424" y="connsiteY37424"/>
              </a:cxn>
              <a:cxn ang="0">
                <a:pos x="connsiteX37425" y="connsiteY37425"/>
              </a:cxn>
              <a:cxn ang="0">
                <a:pos x="connsiteX37426" y="connsiteY37426"/>
              </a:cxn>
              <a:cxn ang="0">
                <a:pos x="connsiteX37427" y="connsiteY37427"/>
              </a:cxn>
              <a:cxn ang="0">
                <a:pos x="connsiteX37428" y="connsiteY37428"/>
              </a:cxn>
              <a:cxn ang="0">
                <a:pos x="connsiteX37429" y="connsiteY37429"/>
              </a:cxn>
              <a:cxn ang="0">
                <a:pos x="connsiteX37430" y="connsiteY37430"/>
              </a:cxn>
              <a:cxn ang="0">
                <a:pos x="connsiteX37431" y="connsiteY37431"/>
              </a:cxn>
              <a:cxn ang="0">
                <a:pos x="connsiteX37432" y="connsiteY37432"/>
              </a:cxn>
              <a:cxn ang="0">
                <a:pos x="connsiteX37433" y="connsiteY37433"/>
              </a:cxn>
              <a:cxn ang="0">
                <a:pos x="connsiteX37434" y="connsiteY37434"/>
              </a:cxn>
              <a:cxn ang="0">
                <a:pos x="connsiteX37435" y="connsiteY37435"/>
              </a:cxn>
              <a:cxn ang="0">
                <a:pos x="connsiteX37436" y="connsiteY37436"/>
              </a:cxn>
              <a:cxn ang="0">
                <a:pos x="connsiteX37437" y="connsiteY37437"/>
              </a:cxn>
              <a:cxn ang="0">
                <a:pos x="connsiteX37438" y="connsiteY37438"/>
              </a:cxn>
              <a:cxn ang="0">
                <a:pos x="connsiteX37439" y="connsiteY37439"/>
              </a:cxn>
              <a:cxn ang="0">
                <a:pos x="connsiteX37440" y="connsiteY37440"/>
              </a:cxn>
              <a:cxn ang="0">
                <a:pos x="connsiteX37441" y="connsiteY37441"/>
              </a:cxn>
              <a:cxn ang="0">
                <a:pos x="connsiteX37442" y="connsiteY37442"/>
              </a:cxn>
              <a:cxn ang="0">
                <a:pos x="connsiteX37443" y="connsiteY37443"/>
              </a:cxn>
              <a:cxn ang="0">
                <a:pos x="connsiteX37444" y="connsiteY37444"/>
              </a:cxn>
              <a:cxn ang="0">
                <a:pos x="connsiteX37445" y="connsiteY37445"/>
              </a:cxn>
              <a:cxn ang="0">
                <a:pos x="connsiteX37446" y="connsiteY37446"/>
              </a:cxn>
              <a:cxn ang="0">
                <a:pos x="connsiteX37447" y="connsiteY37447"/>
              </a:cxn>
              <a:cxn ang="0">
                <a:pos x="connsiteX37448" y="connsiteY37448"/>
              </a:cxn>
              <a:cxn ang="0">
                <a:pos x="connsiteX37449" y="connsiteY37449"/>
              </a:cxn>
              <a:cxn ang="0">
                <a:pos x="connsiteX37450" y="connsiteY37450"/>
              </a:cxn>
              <a:cxn ang="0">
                <a:pos x="connsiteX37451" y="connsiteY37451"/>
              </a:cxn>
              <a:cxn ang="0">
                <a:pos x="connsiteX37452" y="connsiteY37452"/>
              </a:cxn>
              <a:cxn ang="0">
                <a:pos x="connsiteX37453" y="connsiteY37453"/>
              </a:cxn>
              <a:cxn ang="0">
                <a:pos x="connsiteX37454" y="connsiteY37454"/>
              </a:cxn>
              <a:cxn ang="0">
                <a:pos x="connsiteX37455" y="connsiteY37455"/>
              </a:cxn>
              <a:cxn ang="0">
                <a:pos x="connsiteX37456" y="connsiteY37456"/>
              </a:cxn>
              <a:cxn ang="0">
                <a:pos x="connsiteX37457" y="connsiteY37457"/>
              </a:cxn>
              <a:cxn ang="0">
                <a:pos x="connsiteX37458" y="connsiteY37458"/>
              </a:cxn>
              <a:cxn ang="0">
                <a:pos x="connsiteX37459" y="connsiteY37459"/>
              </a:cxn>
              <a:cxn ang="0">
                <a:pos x="connsiteX37460" y="connsiteY37460"/>
              </a:cxn>
              <a:cxn ang="0">
                <a:pos x="connsiteX37461" y="connsiteY37461"/>
              </a:cxn>
              <a:cxn ang="0">
                <a:pos x="connsiteX37462" y="connsiteY37462"/>
              </a:cxn>
              <a:cxn ang="0">
                <a:pos x="connsiteX37463" y="connsiteY37463"/>
              </a:cxn>
              <a:cxn ang="0">
                <a:pos x="connsiteX37464" y="connsiteY37464"/>
              </a:cxn>
              <a:cxn ang="0">
                <a:pos x="connsiteX37465" y="connsiteY37465"/>
              </a:cxn>
              <a:cxn ang="0">
                <a:pos x="connsiteX37466" y="connsiteY37466"/>
              </a:cxn>
              <a:cxn ang="0">
                <a:pos x="connsiteX37467" y="connsiteY37467"/>
              </a:cxn>
              <a:cxn ang="0">
                <a:pos x="connsiteX37468" y="connsiteY37468"/>
              </a:cxn>
              <a:cxn ang="0">
                <a:pos x="connsiteX37469" y="connsiteY37469"/>
              </a:cxn>
              <a:cxn ang="0">
                <a:pos x="connsiteX37470" y="connsiteY37470"/>
              </a:cxn>
              <a:cxn ang="0">
                <a:pos x="connsiteX37471" y="connsiteY37471"/>
              </a:cxn>
              <a:cxn ang="0">
                <a:pos x="connsiteX37472" y="connsiteY37472"/>
              </a:cxn>
              <a:cxn ang="0">
                <a:pos x="connsiteX37473" y="connsiteY37473"/>
              </a:cxn>
              <a:cxn ang="0">
                <a:pos x="connsiteX37474" y="connsiteY37474"/>
              </a:cxn>
              <a:cxn ang="0">
                <a:pos x="connsiteX37475" y="connsiteY37475"/>
              </a:cxn>
              <a:cxn ang="0">
                <a:pos x="connsiteX37476" y="connsiteY37476"/>
              </a:cxn>
              <a:cxn ang="0">
                <a:pos x="connsiteX37477" y="connsiteY37477"/>
              </a:cxn>
              <a:cxn ang="0">
                <a:pos x="connsiteX37478" y="connsiteY37478"/>
              </a:cxn>
              <a:cxn ang="0">
                <a:pos x="connsiteX37479" y="connsiteY37479"/>
              </a:cxn>
              <a:cxn ang="0">
                <a:pos x="connsiteX37480" y="connsiteY37480"/>
              </a:cxn>
              <a:cxn ang="0">
                <a:pos x="connsiteX37481" y="connsiteY37481"/>
              </a:cxn>
              <a:cxn ang="0">
                <a:pos x="connsiteX37482" y="connsiteY37482"/>
              </a:cxn>
              <a:cxn ang="0">
                <a:pos x="connsiteX37483" y="connsiteY37483"/>
              </a:cxn>
              <a:cxn ang="0">
                <a:pos x="connsiteX37484" y="connsiteY37484"/>
              </a:cxn>
              <a:cxn ang="0">
                <a:pos x="connsiteX37485" y="connsiteY37485"/>
              </a:cxn>
              <a:cxn ang="0">
                <a:pos x="connsiteX37486" y="connsiteY37486"/>
              </a:cxn>
              <a:cxn ang="0">
                <a:pos x="connsiteX37487" y="connsiteY37487"/>
              </a:cxn>
              <a:cxn ang="0">
                <a:pos x="connsiteX37488" y="connsiteY37488"/>
              </a:cxn>
              <a:cxn ang="0">
                <a:pos x="connsiteX37489" y="connsiteY37489"/>
              </a:cxn>
              <a:cxn ang="0">
                <a:pos x="connsiteX37490" y="connsiteY37490"/>
              </a:cxn>
              <a:cxn ang="0">
                <a:pos x="connsiteX37491" y="connsiteY37491"/>
              </a:cxn>
              <a:cxn ang="0">
                <a:pos x="connsiteX37492" y="connsiteY37492"/>
              </a:cxn>
              <a:cxn ang="0">
                <a:pos x="connsiteX37493" y="connsiteY37493"/>
              </a:cxn>
              <a:cxn ang="0">
                <a:pos x="connsiteX37494" y="connsiteY37494"/>
              </a:cxn>
              <a:cxn ang="0">
                <a:pos x="connsiteX37495" y="connsiteY37495"/>
              </a:cxn>
              <a:cxn ang="0">
                <a:pos x="connsiteX37496" y="connsiteY37496"/>
              </a:cxn>
              <a:cxn ang="0">
                <a:pos x="connsiteX37497" y="connsiteY37497"/>
              </a:cxn>
              <a:cxn ang="0">
                <a:pos x="connsiteX37498" y="connsiteY37498"/>
              </a:cxn>
              <a:cxn ang="0">
                <a:pos x="connsiteX37499" y="connsiteY37499"/>
              </a:cxn>
              <a:cxn ang="0">
                <a:pos x="connsiteX37500" y="connsiteY37500"/>
              </a:cxn>
              <a:cxn ang="0">
                <a:pos x="connsiteX37501" y="connsiteY37501"/>
              </a:cxn>
              <a:cxn ang="0">
                <a:pos x="connsiteX37502" y="connsiteY37502"/>
              </a:cxn>
              <a:cxn ang="0">
                <a:pos x="connsiteX37503" y="connsiteY37503"/>
              </a:cxn>
              <a:cxn ang="0">
                <a:pos x="connsiteX37504" y="connsiteY37504"/>
              </a:cxn>
              <a:cxn ang="0">
                <a:pos x="connsiteX37505" y="connsiteY37505"/>
              </a:cxn>
              <a:cxn ang="0">
                <a:pos x="connsiteX37506" y="connsiteY37506"/>
              </a:cxn>
              <a:cxn ang="0">
                <a:pos x="connsiteX37507" y="connsiteY37507"/>
              </a:cxn>
              <a:cxn ang="0">
                <a:pos x="connsiteX37508" y="connsiteY37508"/>
              </a:cxn>
              <a:cxn ang="0">
                <a:pos x="connsiteX37509" y="connsiteY37509"/>
              </a:cxn>
              <a:cxn ang="0">
                <a:pos x="connsiteX37510" y="connsiteY37510"/>
              </a:cxn>
              <a:cxn ang="0">
                <a:pos x="connsiteX37511" y="connsiteY37511"/>
              </a:cxn>
              <a:cxn ang="0">
                <a:pos x="connsiteX37512" y="connsiteY37512"/>
              </a:cxn>
              <a:cxn ang="0">
                <a:pos x="connsiteX37513" y="connsiteY37513"/>
              </a:cxn>
              <a:cxn ang="0">
                <a:pos x="connsiteX37514" y="connsiteY37514"/>
              </a:cxn>
              <a:cxn ang="0">
                <a:pos x="connsiteX37515" y="connsiteY37515"/>
              </a:cxn>
              <a:cxn ang="0">
                <a:pos x="connsiteX37516" y="connsiteY37516"/>
              </a:cxn>
              <a:cxn ang="0">
                <a:pos x="connsiteX37517" y="connsiteY37517"/>
              </a:cxn>
              <a:cxn ang="0">
                <a:pos x="connsiteX37518" y="connsiteY37518"/>
              </a:cxn>
              <a:cxn ang="0">
                <a:pos x="connsiteX37519" y="connsiteY37519"/>
              </a:cxn>
              <a:cxn ang="0">
                <a:pos x="connsiteX37520" y="connsiteY37520"/>
              </a:cxn>
              <a:cxn ang="0">
                <a:pos x="connsiteX37521" y="connsiteY37521"/>
              </a:cxn>
              <a:cxn ang="0">
                <a:pos x="connsiteX37522" y="connsiteY37522"/>
              </a:cxn>
              <a:cxn ang="0">
                <a:pos x="connsiteX37523" y="connsiteY37523"/>
              </a:cxn>
              <a:cxn ang="0">
                <a:pos x="connsiteX37524" y="connsiteY37524"/>
              </a:cxn>
              <a:cxn ang="0">
                <a:pos x="connsiteX37525" y="connsiteY37525"/>
              </a:cxn>
              <a:cxn ang="0">
                <a:pos x="connsiteX37526" y="connsiteY37526"/>
              </a:cxn>
              <a:cxn ang="0">
                <a:pos x="connsiteX37527" y="connsiteY37527"/>
              </a:cxn>
              <a:cxn ang="0">
                <a:pos x="connsiteX37528" y="connsiteY37528"/>
              </a:cxn>
              <a:cxn ang="0">
                <a:pos x="connsiteX37529" y="connsiteY37529"/>
              </a:cxn>
              <a:cxn ang="0">
                <a:pos x="connsiteX37530" y="connsiteY37530"/>
              </a:cxn>
              <a:cxn ang="0">
                <a:pos x="connsiteX37531" y="connsiteY37531"/>
              </a:cxn>
              <a:cxn ang="0">
                <a:pos x="connsiteX37532" y="connsiteY37532"/>
              </a:cxn>
              <a:cxn ang="0">
                <a:pos x="connsiteX37533" y="connsiteY37533"/>
              </a:cxn>
              <a:cxn ang="0">
                <a:pos x="connsiteX37534" y="connsiteY37534"/>
              </a:cxn>
              <a:cxn ang="0">
                <a:pos x="connsiteX37535" y="connsiteY37535"/>
              </a:cxn>
              <a:cxn ang="0">
                <a:pos x="connsiteX37536" y="connsiteY37536"/>
              </a:cxn>
              <a:cxn ang="0">
                <a:pos x="connsiteX37537" y="connsiteY37537"/>
              </a:cxn>
              <a:cxn ang="0">
                <a:pos x="connsiteX37538" y="connsiteY37538"/>
              </a:cxn>
              <a:cxn ang="0">
                <a:pos x="connsiteX37539" y="connsiteY37539"/>
              </a:cxn>
              <a:cxn ang="0">
                <a:pos x="connsiteX37540" y="connsiteY37540"/>
              </a:cxn>
              <a:cxn ang="0">
                <a:pos x="connsiteX37541" y="connsiteY37541"/>
              </a:cxn>
              <a:cxn ang="0">
                <a:pos x="connsiteX37542" y="connsiteY37542"/>
              </a:cxn>
              <a:cxn ang="0">
                <a:pos x="connsiteX37543" y="connsiteY37543"/>
              </a:cxn>
              <a:cxn ang="0">
                <a:pos x="connsiteX37544" y="connsiteY37544"/>
              </a:cxn>
              <a:cxn ang="0">
                <a:pos x="connsiteX37545" y="connsiteY37545"/>
              </a:cxn>
              <a:cxn ang="0">
                <a:pos x="connsiteX37546" y="connsiteY37546"/>
              </a:cxn>
              <a:cxn ang="0">
                <a:pos x="connsiteX37547" y="connsiteY37547"/>
              </a:cxn>
              <a:cxn ang="0">
                <a:pos x="connsiteX37548" y="connsiteY37548"/>
              </a:cxn>
              <a:cxn ang="0">
                <a:pos x="connsiteX37549" y="connsiteY37549"/>
              </a:cxn>
              <a:cxn ang="0">
                <a:pos x="connsiteX37550" y="connsiteY37550"/>
              </a:cxn>
              <a:cxn ang="0">
                <a:pos x="connsiteX37551" y="connsiteY37551"/>
              </a:cxn>
              <a:cxn ang="0">
                <a:pos x="connsiteX37552" y="connsiteY37552"/>
              </a:cxn>
              <a:cxn ang="0">
                <a:pos x="connsiteX37553" y="connsiteY37553"/>
              </a:cxn>
              <a:cxn ang="0">
                <a:pos x="connsiteX37554" y="connsiteY37554"/>
              </a:cxn>
              <a:cxn ang="0">
                <a:pos x="connsiteX37555" y="connsiteY37555"/>
              </a:cxn>
              <a:cxn ang="0">
                <a:pos x="connsiteX37556" y="connsiteY37556"/>
              </a:cxn>
              <a:cxn ang="0">
                <a:pos x="connsiteX37557" y="connsiteY37557"/>
              </a:cxn>
              <a:cxn ang="0">
                <a:pos x="connsiteX37558" y="connsiteY37558"/>
              </a:cxn>
              <a:cxn ang="0">
                <a:pos x="connsiteX37559" y="connsiteY37559"/>
              </a:cxn>
              <a:cxn ang="0">
                <a:pos x="connsiteX37560" y="connsiteY37560"/>
              </a:cxn>
              <a:cxn ang="0">
                <a:pos x="connsiteX37561" y="connsiteY37561"/>
              </a:cxn>
              <a:cxn ang="0">
                <a:pos x="connsiteX37562" y="connsiteY37562"/>
              </a:cxn>
              <a:cxn ang="0">
                <a:pos x="connsiteX37563" y="connsiteY37563"/>
              </a:cxn>
              <a:cxn ang="0">
                <a:pos x="connsiteX37564" y="connsiteY37564"/>
              </a:cxn>
              <a:cxn ang="0">
                <a:pos x="connsiteX37565" y="connsiteY37565"/>
              </a:cxn>
              <a:cxn ang="0">
                <a:pos x="connsiteX37566" y="connsiteY37566"/>
              </a:cxn>
              <a:cxn ang="0">
                <a:pos x="connsiteX37567" y="connsiteY37567"/>
              </a:cxn>
              <a:cxn ang="0">
                <a:pos x="connsiteX37568" y="connsiteY37568"/>
              </a:cxn>
              <a:cxn ang="0">
                <a:pos x="connsiteX37569" y="connsiteY37569"/>
              </a:cxn>
              <a:cxn ang="0">
                <a:pos x="connsiteX37570" y="connsiteY37570"/>
              </a:cxn>
              <a:cxn ang="0">
                <a:pos x="connsiteX37571" y="connsiteY37571"/>
              </a:cxn>
              <a:cxn ang="0">
                <a:pos x="connsiteX37572" y="connsiteY37572"/>
              </a:cxn>
              <a:cxn ang="0">
                <a:pos x="connsiteX37573" y="connsiteY37573"/>
              </a:cxn>
              <a:cxn ang="0">
                <a:pos x="connsiteX37574" y="connsiteY37574"/>
              </a:cxn>
              <a:cxn ang="0">
                <a:pos x="connsiteX37575" y="connsiteY37575"/>
              </a:cxn>
              <a:cxn ang="0">
                <a:pos x="connsiteX37576" y="connsiteY37576"/>
              </a:cxn>
              <a:cxn ang="0">
                <a:pos x="connsiteX37577" y="connsiteY37577"/>
              </a:cxn>
              <a:cxn ang="0">
                <a:pos x="connsiteX37578" y="connsiteY37578"/>
              </a:cxn>
              <a:cxn ang="0">
                <a:pos x="connsiteX37579" y="connsiteY37579"/>
              </a:cxn>
              <a:cxn ang="0">
                <a:pos x="connsiteX37580" y="connsiteY37580"/>
              </a:cxn>
              <a:cxn ang="0">
                <a:pos x="connsiteX37581" y="connsiteY37581"/>
              </a:cxn>
              <a:cxn ang="0">
                <a:pos x="connsiteX37582" y="connsiteY37582"/>
              </a:cxn>
              <a:cxn ang="0">
                <a:pos x="connsiteX37583" y="connsiteY37583"/>
              </a:cxn>
              <a:cxn ang="0">
                <a:pos x="connsiteX37584" y="connsiteY37584"/>
              </a:cxn>
              <a:cxn ang="0">
                <a:pos x="connsiteX37585" y="connsiteY37585"/>
              </a:cxn>
              <a:cxn ang="0">
                <a:pos x="connsiteX37586" y="connsiteY37586"/>
              </a:cxn>
              <a:cxn ang="0">
                <a:pos x="connsiteX37587" y="connsiteY37587"/>
              </a:cxn>
              <a:cxn ang="0">
                <a:pos x="connsiteX37588" y="connsiteY37588"/>
              </a:cxn>
              <a:cxn ang="0">
                <a:pos x="connsiteX37589" y="connsiteY37589"/>
              </a:cxn>
              <a:cxn ang="0">
                <a:pos x="connsiteX37590" y="connsiteY37590"/>
              </a:cxn>
              <a:cxn ang="0">
                <a:pos x="connsiteX37591" y="connsiteY37591"/>
              </a:cxn>
              <a:cxn ang="0">
                <a:pos x="connsiteX37592" y="connsiteY37592"/>
              </a:cxn>
              <a:cxn ang="0">
                <a:pos x="connsiteX37593" y="connsiteY37593"/>
              </a:cxn>
              <a:cxn ang="0">
                <a:pos x="connsiteX37594" y="connsiteY37594"/>
              </a:cxn>
              <a:cxn ang="0">
                <a:pos x="connsiteX37595" y="connsiteY37595"/>
              </a:cxn>
              <a:cxn ang="0">
                <a:pos x="connsiteX37596" y="connsiteY37596"/>
              </a:cxn>
              <a:cxn ang="0">
                <a:pos x="connsiteX37597" y="connsiteY37597"/>
              </a:cxn>
              <a:cxn ang="0">
                <a:pos x="connsiteX37598" y="connsiteY37598"/>
              </a:cxn>
              <a:cxn ang="0">
                <a:pos x="connsiteX37599" y="connsiteY37599"/>
              </a:cxn>
              <a:cxn ang="0">
                <a:pos x="connsiteX37600" y="connsiteY37600"/>
              </a:cxn>
              <a:cxn ang="0">
                <a:pos x="connsiteX37601" y="connsiteY37601"/>
              </a:cxn>
              <a:cxn ang="0">
                <a:pos x="connsiteX37602" y="connsiteY37602"/>
              </a:cxn>
              <a:cxn ang="0">
                <a:pos x="connsiteX37603" y="connsiteY37603"/>
              </a:cxn>
              <a:cxn ang="0">
                <a:pos x="connsiteX37604" y="connsiteY37604"/>
              </a:cxn>
              <a:cxn ang="0">
                <a:pos x="connsiteX37605" y="connsiteY37605"/>
              </a:cxn>
              <a:cxn ang="0">
                <a:pos x="connsiteX37606" y="connsiteY37606"/>
              </a:cxn>
              <a:cxn ang="0">
                <a:pos x="connsiteX37607" y="connsiteY37607"/>
              </a:cxn>
              <a:cxn ang="0">
                <a:pos x="connsiteX37608" y="connsiteY37608"/>
              </a:cxn>
              <a:cxn ang="0">
                <a:pos x="connsiteX37609" y="connsiteY37609"/>
              </a:cxn>
              <a:cxn ang="0">
                <a:pos x="connsiteX37610" y="connsiteY37610"/>
              </a:cxn>
              <a:cxn ang="0">
                <a:pos x="connsiteX37611" y="connsiteY37611"/>
              </a:cxn>
              <a:cxn ang="0">
                <a:pos x="connsiteX37612" y="connsiteY37612"/>
              </a:cxn>
              <a:cxn ang="0">
                <a:pos x="connsiteX37613" y="connsiteY37613"/>
              </a:cxn>
              <a:cxn ang="0">
                <a:pos x="connsiteX37614" y="connsiteY37614"/>
              </a:cxn>
              <a:cxn ang="0">
                <a:pos x="connsiteX37615" y="connsiteY37615"/>
              </a:cxn>
              <a:cxn ang="0">
                <a:pos x="connsiteX37616" y="connsiteY37616"/>
              </a:cxn>
              <a:cxn ang="0">
                <a:pos x="connsiteX37617" y="connsiteY37617"/>
              </a:cxn>
              <a:cxn ang="0">
                <a:pos x="connsiteX37618" y="connsiteY37618"/>
              </a:cxn>
              <a:cxn ang="0">
                <a:pos x="connsiteX37619" y="connsiteY37619"/>
              </a:cxn>
              <a:cxn ang="0">
                <a:pos x="connsiteX37620" y="connsiteY37620"/>
              </a:cxn>
              <a:cxn ang="0">
                <a:pos x="connsiteX37621" y="connsiteY37621"/>
              </a:cxn>
              <a:cxn ang="0">
                <a:pos x="connsiteX37622" y="connsiteY37622"/>
              </a:cxn>
              <a:cxn ang="0">
                <a:pos x="connsiteX37623" y="connsiteY37623"/>
              </a:cxn>
              <a:cxn ang="0">
                <a:pos x="connsiteX37624" y="connsiteY37624"/>
              </a:cxn>
              <a:cxn ang="0">
                <a:pos x="connsiteX37625" y="connsiteY37625"/>
              </a:cxn>
              <a:cxn ang="0">
                <a:pos x="connsiteX37626" y="connsiteY37626"/>
              </a:cxn>
              <a:cxn ang="0">
                <a:pos x="connsiteX37627" y="connsiteY37627"/>
              </a:cxn>
              <a:cxn ang="0">
                <a:pos x="connsiteX37628" y="connsiteY37628"/>
              </a:cxn>
              <a:cxn ang="0">
                <a:pos x="connsiteX37629" y="connsiteY37629"/>
              </a:cxn>
              <a:cxn ang="0">
                <a:pos x="connsiteX37630" y="connsiteY37630"/>
              </a:cxn>
              <a:cxn ang="0">
                <a:pos x="connsiteX37631" y="connsiteY37631"/>
              </a:cxn>
              <a:cxn ang="0">
                <a:pos x="connsiteX37632" y="connsiteY37632"/>
              </a:cxn>
              <a:cxn ang="0">
                <a:pos x="connsiteX37633" y="connsiteY37633"/>
              </a:cxn>
              <a:cxn ang="0">
                <a:pos x="connsiteX37634" y="connsiteY37634"/>
              </a:cxn>
              <a:cxn ang="0">
                <a:pos x="connsiteX37635" y="connsiteY37635"/>
              </a:cxn>
              <a:cxn ang="0">
                <a:pos x="connsiteX37636" y="connsiteY37636"/>
              </a:cxn>
              <a:cxn ang="0">
                <a:pos x="connsiteX37637" y="connsiteY37637"/>
              </a:cxn>
              <a:cxn ang="0">
                <a:pos x="connsiteX37638" y="connsiteY37638"/>
              </a:cxn>
              <a:cxn ang="0">
                <a:pos x="connsiteX37639" y="connsiteY37639"/>
              </a:cxn>
              <a:cxn ang="0">
                <a:pos x="connsiteX37640" y="connsiteY37640"/>
              </a:cxn>
              <a:cxn ang="0">
                <a:pos x="connsiteX37641" y="connsiteY37641"/>
              </a:cxn>
              <a:cxn ang="0">
                <a:pos x="connsiteX37642" y="connsiteY37642"/>
              </a:cxn>
              <a:cxn ang="0">
                <a:pos x="connsiteX37643" y="connsiteY37643"/>
              </a:cxn>
              <a:cxn ang="0">
                <a:pos x="connsiteX37644" y="connsiteY37644"/>
              </a:cxn>
              <a:cxn ang="0">
                <a:pos x="connsiteX37645" y="connsiteY37645"/>
              </a:cxn>
              <a:cxn ang="0">
                <a:pos x="connsiteX37646" y="connsiteY37646"/>
              </a:cxn>
              <a:cxn ang="0">
                <a:pos x="connsiteX37647" y="connsiteY37647"/>
              </a:cxn>
              <a:cxn ang="0">
                <a:pos x="connsiteX37648" y="connsiteY37648"/>
              </a:cxn>
              <a:cxn ang="0">
                <a:pos x="connsiteX37649" y="connsiteY37649"/>
              </a:cxn>
              <a:cxn ang="0">
                <a:pos x="connsiteX37650" y="connsiteY37650"/>
              </a:cxn>
              <a:cxn ang="0">
                <a:pos x="connsiteX37651" y="connsiteY37651"/>
              </a:cxn>
              <a:cxn ang="0">
                <a:pos x="connsiteX37652" y="connsiteY37652"/>
              </a:cxn>
              <a:cxn ang="0">
                <a:pos x="connsiteX37653" y="connsiteY37653"/>
              </a:cxn>
              <a:cxn ang="0">
                <a:pos x="connsiteX37654" y="connsiteY37654"/>
              </a:cxn>
              <a:cxn ang="0">
                <a:pos x="connsiteX37655" y="connsiteY37655"/>
              </a:cxn>
              <a:cxn ang="0">
                <a:pos x="connsiteX37656" y="connsiteY37656"/>
              </a:cxn>
              <a:cxn ang="0">
                <a:pos x="connsiteX37657" y="connsiteY37657"/>
              </a:cxn>
              <a:cxn ang="0">
                <a:pos x="connsiteX37658" y="connsiteY37658"/>
              </a:cxn>
              <a:cxn ang="0">
                <a:pos x="connsiteX37659" y="connsiteY37659"/>
              </a:cxn>
              <a:cxn ang="0">
                <a:pos x="connsiteX37660" y="connsiteY37660"/>
              </a:cxn>
              <a:cxn ang="0">
                <a:pos x="connsiteX37661" y="connsiteY37661"/>
              </a:cxn>
              <a:cxn ang="0">
                <a:pos x="connsiteX37662" y="connsiteY37662"/>
              </a:cxn>
              <a:cxn ang="0">
                <a:pos x="connsiteX37663" y="connsiteY37663"/>
              </a:cxn>
              <a:cxn ang="0">
                <a:pos x="connsiteX37664" y="connsiteY37664"/>
              </a:cxn>
              <a:cxn ang="0">
                <a:pos x="connsiteX37665" y="connsiteY37665"/>
              </a:cxn>
              <a:cxn ang="0">
                <a:pos x="connsiteX37666" y="connsiteY37666"/>
              </a:cxn>
              <a:cxn ang="0">
                <a:pos x="connsiteX37667" y="connsiteY37667"/>
              </a:cxn>
              <a:cxn ang="0">
                <a:pos x="connsiteX37668" y="connsiteY37668"/>
              </a:cxn>
              <a:cxn ang="0">
                <a:pos x="connsiteX37669" y="connsiteY37669"/>
              </a:cxn>
              <a:cxn ang="0">
                <a:pos x="connsiteX37670" y="connsiteY37670"/>
              </a:cxn>
              <a:cxn ang="0">
                <a:pos x="connsiteX37671" y="connsiteY37671"/>
              </a:cxn>
              <a:cxn ang="0">
                <a:pos x="connsiteX37672" y="connsiteY37672"/>
              </a:cxn>
              <a:cxn ang="0">
                <a:pos x="connsiteX37673" y="connsiteY37673"/>
              </a:cxn>
              <a:cxn ang="0">
                <a:pos x="connsiteX37674" y="connsiteY37674"/>
              </a:cxn>
              <a:cxn ang="0">
                <a:pos x="connsiteX37675" y="connsiteY37675"/>
              </a:cxn>
              <a:cxn ang="0">
                <a:pos x="connsiteX37676" y="connsiteY37676"/>
              </a:cxn>
              <a:cxn ang="0">
                <a:pos x="connsiteX37677" y="connsiteY37677"/>
              </a:cxn>
              <a:cxn ang="0">
                <a:pos x="connsiteX37678" y="connsiteY37678"/>
              </a:cxn>
              <a:cxn ang="0">
                <a:pos x="connsiteX37679" y="connsiteY37679"/>
              </a:cxn>
              <a:cxn ang="0">
                <a:pos x="connsiteX37680" y="connsiteY37680"/>
              </a:cxn>
              <a:cxn ang="0">
                <a:pos x="connsiteX37681" y="connsiteY37681"/>
              </a:cxn>
              <a:cxn ang="0">
                <a:pos x="connsiteX37682" y="connsiteY37682"/>
              </a:cxn>
              <a:cxn ang="0">
                <a:pos x="connsiteX37683" y="connsiteY37683"/>
              </a:cxn>
              <a:cxn ang="0">
                <a:pos x="connsiteX37684" y="connsiteY37684"/>
              </a:cxn>
              <a:cxn ang="0">
                <a:pos x="connsiteX37685" y="connsiteY37685"/>
              </a:cxn>
              <a:cxn ang="0">
                <a:pos x="connsiteX37686" y="connsiteY37686"/>
              </a:cxn>
              <a:cxn ang="0">
                <a:pos x="connsiteX37687" y="connsiteY37687"/>
              </a:cxn>
              <a:cxn ang="0">
                <a:pos x="connsiteX37688" y="connsiteY37688"/>
              </a:cxn>
              <a:cxn ang="0">
                <a:pos x="connsiteX37689" y="connsiteY37689"/>
              </a:cxn>
              <a:cxn ang="0">
                <a:pos x="connsiteX37690" y="connsiteY37690"/>
              </a:cxn>
              <a:cxn ang="0">
                <a:pos x="connsiteX37691" y="connsiteY37691"/>
              </a:cxn>
              <a:cxn ang="0">
                <a:pos x="connsiteX37692" y="connsiteY37692"/>
              </a:cxn>
              <a:cxn ang="0">
                <a:pos x="connsiteX37693" y="connsiteY37693"/>
              </a:cxn>
              <a:cxn ang="0">
                <a:pos x="connsiteX37694" y="connsiteY37694"/>
              </a:cxn>
              <a:cxn ang="0">
                <a:pos x="connsiteX37695" y="connsiteY37695"/>
              </a:cxn>
              <a:cxn ang="0">
                <a:pos x="connsiteX37696" y="connsiteY37696"/>
              </a:cxn>
              <a:cxn ang="0">
                <a:pos x="connsiteX37697" y="connsiteY37697"/>
              </a:cxn>
              <a:cxn ang="0">
                <a:pos x="connsiteX37698" y="connsiteY37698"/>
              </a:cxn>
              <a:cxn ang="0">
                <a:pos x="connsiteX37699" y="connsiteY37699"/>
              </a:cxn>
              <a:cxn ang="0">
                <a:pos x="connsiteX37700" y="connsiteY37700"/>
              </a:cxn>
              <a:cxn ang="0">
                <a:pos x="connsiteX37701" y="connsiteY37701"/>
              </a:cxn>
              <a:cxn ang="0">
                <a:pos x="connsiteX37702" y="connsiteY37702"/>
              </a:cxn>
              <a:cxn ang="0">
                <a:pos x="connsiteX37703" y="connsiteY37703"/>
              </a:cxn>
              <a:cxn ang="0">
                <a:pos x="connsiteX37704" y="connsiteY37704"/>
              </a:cxn>
              <a:cxn ang="0">
                <a:pos x="connsiteX37705" y="connsiteY37705"/>
              </a:cxn>
              <a:cxn ang="0">
                <a:pos x="connsiteX37706" y="connsiteY37706"/>
              </a:cxn>
              <a:cxn ang="0">
                <a:pos x="connsiteX37707" y="connsiteY37707"/>
              </a:cxn>
              <a:cxn ang="0">
                <a:pos x="connsiteX37708" y="connsiteY37708"/>
              </a:cxn>
              <a:cxn ang="0">
                <a:pos x="connsiteX37709" y="connsiteY37709"/>
              </a:cxn>
              <a:cxn ang="0">
                <a:pos x="connsiteX37710" y="connsiteY37710"/>
              </a:cxn>
              <a:cxn ang="0">
                <a:pos x="connsiteX37711" y="connsiteY37711"/>
              </a:cxn>
              <a:cxn ang="0">
                <a:pos x="connsiteX37712" y="connsiteY37712"/>
              </a:cxn>
              <a:cxn ang="0">
                <a:pos x="connsiteX37713" y="connsiteY37713"/>
              </a:cxn>
              <a:cxn ang="0">
                <a:pos x="connsiteX37714" y="connsiteY37714"/>
              </a:cxn>
              <a:cxn ang="0">
                <a:pos x="connsiteX37715" y="connsiteY37715"/>
              </a:cxn>
              <a:cxn ang="0">
                <a:pos x="connsiteX37716" y="connsiteY37716"/>
              </a:cxn>
              <a:cxn ang="0">
                <a:pos x="connsiteX37717" y="connsiteY37717"/>
              </a:cxn>
              <a:cxn ang="0">
                <a:pos x="connsiteX37718" y="connsiteY37718"/>
              </a:cxn>
              <a:cxn ang="0">
                <a:pos x="connsiteX37719" y="connsiteY37719"/>
              </a:cxn>
              <a:cxn ang="0">
                <a:pos x="connsiteX37720" y="connsiteY37720"/>
              </a:cxn>
              <a:cxn ang="0">
                <a:pos x="connsiteX37721" y="connsiteY37721"/>
              </a:cxn>
              <a:cxn ang="0">
                <a:pos x="connsiteX37722" y="connsiteY37722"/>
              </a:cxn>
              <a:cxn ang="0">
                <a:pos x="connsiteX37723" y="connsiteY37723"/>
              </a:cxn>
              <a:cxn ang="0">
                <a:pos x="connsiteX37724" y="connsiteY37724"/>
              </a:cxn>
              <a:cxn ang="0">
                <a:pos x="connsiteX37725" y="connsiteY37725"/>
              </a:cxn>
              <a:cxn ang="0">
                <a:pos x="connsiteX37726" y="connsiteY37726"/>
              </a:cxn>
              <a:cxn ang="0">
                <a:pos x="connsiteX37727" y="connsiteY37727"/>
              </a:cxn>
              <a:cxn ang="0">
                <a:pos x="connsiteX37728" y="connsiteY37728"/>
              </a:cxn>
              <a:cxn ang="0">
                <a:pos x="connsiteX37729" y="connsiteY37729"/>
              </a:cxn>
              <a:cxn ang="0">
                <a:pos x="connsiteX37730" y="connsiteY37730"/>
              </a:cxn>
              <a:cxn ang="0">
                <a:pos x="connsiteX37731" y="connsiteY37731"/>
              </a:cxn>
              <a:cxn ang="0">
                <a:pos x="connsiteX37732" y="connsiteY37732"/>
              </a:cxn>
              <a:cxn ang="0">
                <a:pos x="connsiteX37733" y="connsiteY37733"/>
              </a:cxn>
              <a:cxn ang="0">
                <a:pos x="connsiteX37734" y="connsiteY37734"/>
              </a:cxn>
              <a:cxn ang="0">
                <a:pos x="connsiteX37735" y="connsiteY37735"/>
              </a:cxn>
              <a:cxn ang="0">
                <a:pos x="connsiteX37736" y="connsiteY37736"/>
              </a:cxn>
              <a:cxn ang="0">
                <a:pos x="connsiteX37737" y="connsiteY37737"/>
              </a:cxn>
              <a:cxn ang="0">
                <a:pos x="connsiteX37738" y="connsiteY37738"/>
              </a:cxn>
              <a:cxn ang="0">
                <a:pos x="connsiteX37739" y="connsiteY37739"/>
              </a:cxn>
              <a:cxn ang="0">
                <a:pos x="connsiteX37740" y="connsiteY37740"/>
              </a:cxn>
              <a:cxn ang="0">
                <a:pos x="connsiteX37741" y="connsiteY37741"/>
              </a:cxn>
              <a:cxn ang="0">
                <a:pos x="connsiteX37742" y="connsiteY37742"/>
              </a:cxn>
              <a:cxn ang="0">
                <a:pos x="connsiteX37743" y="connsiteY37743"/>
              </a:cxn>
              <a:cxn ang="0">
                <a:pos x="connsiteX37744" y="connsiteY37744"/>
              </a:cxn>
              <a:cxn ang="0">
                <a:pos x="connsiteX37745" y="connsiteY37745"/>
              </a:cxn>
              <a:cxn ang="0">
                <a:pos x="connsiteX37746" y="connsiteY37746"/>
              </a:cxn>
              <a:cxn ang="0">
                <a:pos x="connsiteX37747" y="connsiteY37747"/>
              </a:cxn>
              <a:cxn ang="0">
                <a:pos x="connsiteX37748" y="connsiteY37748"/>
              </a:cxn>
              <a:cxn ang="0">
                <a:pos x="connsiteX37749" y="connsiteY37749"/>
              </a:cxn>
              <a:cxn ang="0">
                <a:pos x="connsiteX37750" y="connsiteY37750"/>
              </a:cxn>
              <a:cxn ang="0">
                <a:pos x="connsiteX37751" y="connsiteY37751"/>
              </a:cxn>
              <a:cxn ang="0">
                <a:pos x="connsiteX37752" y="connsiteY37752"/>
              </a:cxn>
              <a:cxn ang="0">
                <a:pos x="connsiteX37753" y="connsiteY37753"/>
              </a:cxn>
              <a:cxn ang="0">
                <a:pos x="connsiteX37754" y="connsiteY37754"/>
              </a:cxn>
              <a:cxn ang="0">
                <a:pos x="connsiteX37755" y="connsiteY37755"/>
              </a:cxn>
              <a:cxn ang="0">
                <a:pos x="connsiteX37756" y="connsiteY37756"/>
              </a:cxn>
              <a:cxn ang="0">
                <a:pos x="connsiteX37757" y="connsiteY37757"/>
              </a:cxn>
              <a:cxn ang="0">
                <a:pos x="connsiteX37758" y="connsiteY37758"/>
              </a:cxn>
              <a:cxn ang="0">
                <a:pos x="connsiteX37759" y="connsiteY37759"/>
              </a:cxn>
              <a:cxn ang="0">
                <a:pos x="connsiteX37760" y="connsiteY37760"/>
              </a:cxn>
              <a:cxn ang="0">
                <a:pos x="connsiteX37761" y="connsiteY37761"/>
              </a:cxn>
              <a:cxn ang="0">
                <a:pos x="connsiteX37762" y="connsiteY37762"/>
              </a:cxn>
              <a:cxn ang="0">
                <a:pos x="connsiteX37763" y="connsiteY37763"/>
              </a:cxn>
              <a:cxn ang="0">
                <a:pos x="connsiteX37764" y="connsiteY37764"/>
              </a:cxn>
              <a:cxn ang="0">
                <a:pos x="connsiteX37765" y="connsiteY37765"/>
              </a:cxn>
              <a:cxn ang="0">
                <a:pos x="connsiteX37766" y="connsiteY37766"/>
              </a:cxn>
              <a:cxn ang="0">
                <a:pos x="connsiteX37767" y="connsiteY37767"/>
              </a:cxn>
              <a:cxn ang="0">
                <a:pos x="connsiteX37768" y="connsiteY37768"/>
              </a:cxn>
              <a:cxn ang="0">
                <a:pos x="connsiteX37769" y="connsiteY37769"/>
              </a:cxn>
              <a:cxn ang="0">
                <a:pos x="connsiteX37770" y="connsiteY37770"/>
              </a:cxn>
              <a:cxn ang="0">
                <a:pos x="connsiteX37771" y="connsiteY37771"/>
              </a:cxn>
              <a:cxn ang="0">
                <a:pos x="connsiteX37772" y="connsiteY37772"/>
              </a:cxn>
              <a:cxn ang="0">
                <a:pos x="connsiteX37773" y="connsiteY37773"/>
              </a:cxn>
              <a:cxn ang="0">
                <a:pos x="connsiteX37774" y="connsiteY37774"/>
              </a:cxn>
              <a:cxn ang="0">
                <a:pos x="connsiteX37775" y="connsiteY37775"/>
              </a:cxn>
              <a:cxn ang="0">
                <a:pos x="connsiteX37776" y="connsiteY37776"/>
              </a:cxn>
              <a:cxn ang="0">
                <a:pos x="connsiteX37777" y="connsiteY37777"/>
              </a:cxn>
              <a:cxn ang="0">
                <a:pos x="connsiteX37778" y="connsiteY37778"/>
              </a:cxn>
              <a:cxn ang="0">
                <a:pos x="connsiteX37779" y="connsiteY37779"/>
              </a:cxn>
              <a:cxn ang="0">
                <a:pos x="connsiteX37780" y="connsiteY37780"/>
              </a:cxn>
              <a:cxn ang="0">
                <a:pos x="connsiteX37781" y="connsiteY37781"/>
              </a:cxn>
              <a:cxn ang="0">
                <a:pos x="connsiteX37782" y="connsiteY37782"/>
              </a:cxn>
              <a:cxn ang="0">
                <a:pos x="connsiteX37783" y="connsiteY37783"/>
              </a:cxn>
              <a:cxn ang="0">
                <a:pos x="connsiteX37784" y="connsiteY37784"/>
              </a:cxn>
              <a:cxn ang="0">
                <a:pos x="connsiteX37785" y="connsiteY37785"/>
              </a:cxn>
              <a:cxn ang="0">
                <a:pos x="connsiteX37786" y="connsiteY37786"/>
              </a:cxn>
              <a:cxn ang="0">
                <a:pos x="connsiteX37787" y="connsiteY37787"/>
              </a:cxn>
              <a:cxn ang="0">
                <a:pos x="connsiteX37788" y="connsiteY37788"/>
              </a:cxn>
              <a:cxn ang="0">
                <a:pos x="connsiteX37789" y="connsiteY37789"/>
              </a:cxn>
              <a:cxn ang="0">
                <a:pos x="connsiteX37790" y="connsiteY37790"/>
              </a:cxn>
              <a:cxn ang="0">
                <a:pos x="connsiteX37791" y="connsiteY37791"/>
              </a:cxn>
              <a:cxn ang="0">
                <a:pos x="connsiteX37792" y="connsiteY37792"/>
              </a:cxn>
              <a:cxn ang="0">
                <a:pos x="connsiteX37793" y="connsiteY37793"/>
              </a:cxn>
              <a:cxn ang="0">
                <a:pos x="connsiteX37794" y="connsiteY37794"/>
              </a:cxn>
              <a:cxn ang="0">
                <a:pos x="connsiteX37795" y="connsiteY37795"/>
              </a:cxn>
              <a:cxn ang="0">
                <a:pos x="connsiteX37796" y="connsiteY37796"/>
              </a:cxn>
              <a:cxn ang="0">
                <a:pos x="connsiteX37797" y="connsiteY37797"/>
              </a:cxn>
              <a:cxn ang="0">
                <a:pos x="connsiteX37798" y="connsiteY37798"/>
              </a:cxn>
              <a:cxn ang="0">
                <a:pos x="connsiteX37799" y="connsiteY37799"/>
              </a:cxn>
              <a:cxn ang="0">
                <a:pos x="connsiteX37800" y="connsiteY37800"/>
              </a:cxn>
              <a:cxn ang="0">
                <a:pos x="connsiteX37801" y="connsiteY37801"/>
              </a:cxn>
              <a:cxn ang="0">
                <a:pos x="connsiteX37802" y="connsiteY37802"/>
              </a:cxn>
              <a:cxn ang="0">
                <a:pos x="connsiteX37803" y="connsiteY37803"/>
              </a:cxn>
              <a:cxn ang="0">
                <a:pos x="connsiteX37804" y="connsiteY37804"/>
              </a:cxn>
              <a:cxn ang="0">
                <a:pos x="connsiteX37805" y="connsiteY37805"/>
              </a:cxn>
              <a:cxn ang="0">
                <a:pos x="connsiteX37806" y="connsiteY37806"/>
              </a:cxn>
              <a:cxn ang="0">
                <a:pos x="connsiteX37807" y="connsiteY37807"/>
              </a:cxn>
              <a:cxn ang="0">
                <a:pos x="connsiteX37808" y="connsiteY37808"/>
              </a:cxn>
              <a:cxn ang="0">
                <a:pos x="connsiteX37809" y="connsiteY37809"/>
              </a:cxn>
              <a:cxn ang="0">
                <a:pos x="connsiteX37810" y="connsiteY37810"/>
              </a:cxn>
              <a:cxn ang="0">
                <a:pos x="connsiteX37811" y="connsiteY37811"/>
              </a:cxn>
              <a:cxn ang="0">
                <a:pos x="connsiteX37812" y="connsiteY37812"/>
              </a:cxn>
              <a:cxn ang="0">
                <a:pos x="connsiteX37813" y="connsiteY37813"/>
              </a:cxn>
              <a:cxn ang="0">
                <a:pos x="connsiteX37814" y="connsiteY37814"/>
              </a:cxn>
              <a:cxn ang="0">
                <a:pos x="connsiteX37815" y="connsiteY37815"/>
              </a:cxn>
              <a:cxn ang="0">
                <a:pos x="connsiteX37816" y="connsiteY37816"/>
              </a:cxn>
              <a:cxn ang="0">
                <a:pos x="connsiteX37817" y="connsiteY37817"/>
              </a:cxn>
              <a:cxn ang="0">
                <a:pos x="connsiteX37818" y="connsiteY37818"/>
              </a:cxn>
              <a:cxn ang="0">
                <a:pos x="connsiteX37819" y="connsiteY37819"/>
              </a:cxn>
              <a:cxn ang="0">
                <a:pos x="connsiteX37820" y="connsiteY37820"/>
              </a:cxn>
              <a:cxn ang="0">
                <a:pos x="connsiteX37821" y="connsiteY37821"/>
              </a:cxn>
              <a:cxn ang="0">
                <a:pos x="connsiteX37822" y="connsiteY37822"/>
              </a:cxn>
              <a:cxn ang="0">
                <a:pos x="connsiteX37823" y="connsiteY37823"/>
              </a:cxn>
              <a:cxn ang="0">
                <a:pos x="connsiteX37824" y="connsiteY37824"/>
              </a:cxn>
              <a:cxn ang="0">
                <a:pos x="connsiteX37825" y="connsiteY37825"/>
              </a:cxn>
              <a:cxn ang="0">
                <a:pos x="connsiteX37826" y="connsiteY37826"/>
              </a:cxn>
              <a:cxn ang="0">
                <a:pos x="connsiteX37827" y="connsiteY37827"/>
              </a:cxn>
              <a:cxn ang="0">
                <a:pos x="connsiteX37828" y="connsiteY37828"/>
              </a:cxn>
              <a:cxn ang="0">
                <a:pos x="connsiteX37829" y="connsiteY37829"/>
              </a:cxn>
              <a:cxn ang="0">
                <a:pos x="connsiteX37830" y="connsiteY37830"/>
              </a:cxn>
              <a:cxn ang="0">
                <a:pos x="connsiteX37831" y="connsiteY37831"/>
              </a:cxn>
              <a:cxn ang="0">
                <a:pos x="connsiteX37832" y="connsiteY37832"/>
              </a:cxn>
              <a:cxn ang="0">
                <a:pos x="connsiteX37833" y="connsiteY37833"/>
              </a:cxn>
              <a:cxn ang="0">
                <a:pos x="connsiteX37834" y="connsiteY37834"/>
              </a:cxn>
              <a:cxn ang="0">
                <a:pos x="connsiteX37835" y="connsiteY37835"/>
              </a:cxn>
              <a:cxn ang="0">
                <a:pos x="connsiteX37836" y="connsiteY37836"/>
              </a:cxn>
              <a:cxn ang="0">
                <a:pos x="connsiteX37837" y="connsiteY37837"/>
              </a:cxn>
              <a:cxn ang="0">
                <a:pos x="connsiteX37838" y="connsiteY37838"/>
              </a:cxn>
              <a:cxn ang="0">
                <a:pos x="connsiteX37839" y="connsiteY37839"/>
              </a:cxn>
              <a:cxn ang="0">
                <a:pos x="connsiteX37840" y="connsiteY37840"/>
              </a:cxn>
              <a:cxn ang="0">
                <a:pos x="connsiteX37841" y="connsiteY37841"/>
              </a:cxn>
              <a:cxn ang="0">
                <a:pos x="connsiteX37842" y="connsiteY37842"/>
              </a:cxn>
              <a:cxn ang="0">
                <a:pos x="connsiteX37843" y="connsiteY37843"/>
              </a:cxn>
              <a:cxn ang="0">
                <a:pos x="connsiteX37844" y="connsiteY37844"/>
              </a:cxn>
              <a:cxn ang="0">
                <a:pos x="connsiteX37845" y="connsiteY37845"/>
              </a:cxn>
              <a:cxn ang="0">
                <a:pos x="connsiteX37846" y="connsiteY37846"/>
              </a:cxn>
              <a:cxn ang="0">
                <a:pos x="connsiteX37847" y="connsiteY37847"/>
              </a:cxn>
              <a:cxn ang="0">
                <a:pos x="connsiteX37848" y="connsiteY37848"/>
              </a:cxn>
              <a:cxn ang="0">
                <a:pos x="connsiteX37849" y="connsiteY37849"/>
              </a:cxn>
              <a:cxn ang="0">
                <a:pos x="connsiteX37850" y="connsiteY37850"/>
              </a:cxn>
              <a:cxn ang="0">
                <a:pos x="connsiteX37851" y="connsiteY37851"/>
              </a:cxn>
              <a:cxn ang="0">
                <a:pos x="connsiteX37852" y="connsiteY37852"/>
              </a:cxn>
              <a:cxn ang="0">
                <a:pos x="connsiteX37853" y="connsiteY37853"/>
              </a:cxn>
              <a:cxn ang="0">
                <a:pos x="connsiteX37854" y="connsiteY37854"/>
              </a:cxn>
              <a:cxn ang="0">
                <a:pos x="connsiteX37855" y="connsiteY37855"/>
              </a:cxn>
              <a:cxn ang="0">
                <a:pos x="connsiteX37856" y="connsiteY37856"/>
              </a:cxn>
              <a:cxn ang="0">
                <a:pos x="connsiteX37857" y="connsiteY37857"/>
              </a:cxn>
              <a:cxn ang="0">
                <a:pos x="connsiteX37858" y="connsiteY37858"/>
              </a:cxn>
              <a:cxn ang="0">
                <a:pos x="connsiteX37859" y="connsiteY37859"/>
              </a:cxn>
              <a:cxn ang="0">
                <a:pos x="connsiteX37860" y="connsiteY37860"/>
              </a:cxn>
              <a:cxn ang="0">
                <a:pos x="connsiteX37861" y="connsiteY37861"/>
              </a:cxn>
              <a:cxn ang="0">
                <a:pos x="connsiteX37862" y="connsiteY37862"/>
              </a:cxn>
              <a:cxn ang="0">
                <a:pos x="connsiteX37863" y="connsiteY37863"/>
              </a:cxn>
              <a:cxn ang="0">
                <a:pos x="connsiteX37864" y="connsiteY37864"/>
              </a:cxn>
              <a:cxn ang="0">
                <a:pos x="connsiteX37865" y="connsiteY37865"/>
              </a:cxn>
              <a:cxn ang="0">
                <a:pos x="connsiteX37866" y="connsiteY37866"/>
              </a:cxn>
              <a:cxn ang="0">
                <a:pos x="connsiteX37867" y="connsiteY37867"/>
              </a:cxn>
              <a:cxn ang="0">
                <a:pos x="connsiteX37868" y="connsiteY37868"/>
              </a:cxn>
              <a:cxn ang="0">
                <a:pos x="connsiteX37869" y="connsiteY37869"/>
              </a:cxn>
              <a:cxn ang="0">
                <a:pos x="connsiteX37870" y="connsiteY37870"/>
              </a:cxn>
              <a:cxn ang="0">
                <a:pos x="connsiteX37871" y="connsiteY37871"/>
              </a:cxn>
              <a:cxn ang="0">
                <a:pos x="connsiteX37872" y="connsiteY37872"/>
              </a:cxn>
              <a:cxn ang="0">
                <a:pos x="connsiteX37873" y="connsiteY37873"/>
              </a:cxn>
              <a:cxn ang="0">
                <a:pos x="connsiteX37874" y="connsiteY37874"/>
              </a:cxn>
              <a:cxn ang="0">
                <a:pos x="connsiteX37875" y="connsiteY37875"/>
              </a:cxn>
              <a:cxn ang="0">
                <a:pos x="connsiteX37876" y="connsiteY37876"/>
              </a:cxn>
              <a:cxn ang="0">
                <a:pos x="connsiteX37877" y="connsiteY37877"/>
              </a:cxn>
              <a:cxn ang="0">
                <a:pos x="connsiteX37878" y="connsiteY37878"/>
              </a:cxn>
              <a:cxn ang="0">
                <a:pos x="connsiteX37879" y="connsiteY37879"/>
              </a:cxn>
              <a:cxn ang="0">
                <a:pos x="connsiteX37880" y="connsiteY37880"/>
              </a:cxn>
              <a:cxn ang="0">
                <a:pos x="connsiteX37881" y="connsiteY37881"/>
              </a:cxn>
              <a:cxn ang="0">
                <a:pos x="connsiteX37882" y="connsiteY37882"/>
              </a:cxn>
              <a:cxn ang="0">
                <a:pos x="connsiteX37883" y="connsiteY37883"/>
              </a:cxn>
              <a:cxn ang="0">
                <a:pos x="connsiteX37884" y="connsiteY37884"/>
              </a:cxn>
              <a:cxn ang="0">
                <a:pos x="connsiteX37885" y="connsiteY37885"/>
              </a:cxn>
              <a:cxn ang="0">
                <a:pos x="connsiteX37886" y="connsiteY37886"/>
              </a:cxn>
              <a:cxn ang="0">
                <a:pos x="connsiteX37887" y="connsiteY37887"/>
              </a:cxn>
              <a:cxn ang="0">
                <a:pos x="connsiteX37888" y="connsiteY37888"/>
              </a:cxn>
              <a:cxn ang="0">
                <a:pos x="connsiteX37889" y="connsiteY37889"/>
              </a:cxn>
              <a:cxn ang="0">
                <a:pos x="connsiteX37890" y="connsiteY37890"/>
              </a:cxn>
              <a:cxn ang="0">
                <a:pos x="connsiteX37891" y="connsiteY37891"/>
              </a:cxn>
              <a:cxn ang="0">
                <a:pos x="connsiteX37892" y="connsiteY37892"/>
              </a:cxn>
              <a:cxn ang="0">
                <a:pos x="connsiteX37893" y="connsiteY37893"/>
              </a:cxn>
              <a:cxn ang="0">
                <a:pos x="connsiteX37894" y="connsiteY37894"/>
              </a:cxn>
              <a:cxn ang="0">
                <a:pos x="connsiteX37895" y="connsiteY37895"/>
              </a:cxn>
              <a:cxn ang="0">
                <a:pos x="connsiteX37896" y="connsiteY37896"/>
              </a:cxn>
              <a:cxn ang="0">
                <a:pos x="connsiteX37897" y="connsiteY37897"/>
              </a:cxn>
              <a:cxn ang="0">
                <a:pos x="connsiteX37898" y="connsiteY37898"/>
              </a:cxn>
              <a:cxn ang="0">
                <a:pos x="connsiteX37899" y="connsiteY37899"/>
              </a:cxn>
              <a:cxn ang="0">
                <a:pos x="connsiteX37900" y="connsiteY37900"/>
              </a:cxn>
              <a:cxn ang="0">
                <a:pos x="connsiteX37901" y="connsiteY37901"/>
              </a:cxn>
              <a:cxn ang="0">
                <a:pos x="connsiteX37902" y="connsiteY37902"/>
              </a:cxn>
              <a:cxn ang="0">
                <a:pos x="connsiteX37903" y="connsiteY37903"/>
              </a:cxn>
              <a:cxn ang="0">
                <a:pos x="connsiteX37904" y="connsiteY37904"/>
              </a:cxn>
              <a:cxn ang="0">
                <a:pos x="connsiteX37905" y="connsiteY37905"/>
              </a:cxn>
              <a:cxn ang="0">
                <a:pos x="connsiteX37906" y="connsiteY37906"/>
              </a:cxn>
              <a:cxn ang="0">
                <a:pos x="connsiteX37907" y="connsiteY37907"/>
              </a:cxn>
              <a:cxn ang="0">
                <a:pos x="connsiteX37908" y="connsiteY37908"/>
              </a:cxn>
              <a:cxn ang="0">
                <a:pos x="connsiteX37909" y="connsiteY37909"/>
              </a:cxn>
              <a:cxn ang="0">
                <a:pos x="connsiteX37910" y="connsiteY37910"/>
              </a:cxn>
              <a:cxn ang="0">
                <a:pos x="connsiteX37911" y="connsiteY37911"/>
              </a:cxn>
              <a:cxn ang="0">
                <a:pos x="connsiteX37912" y="connsiteY37912"/>
              </a:cxn>
              <a:cxn ang="0">
                <a:pos x="connsiteX37913" y="connsiteY37913"/>
              </a:cxn>
              <a:cxn ang="0">
                <a:pos x="connsiteX37914" y="connsiteY37914"/>
              </a:cxn>
              <a:cxn ang="0">
                <a:pos x="connsiteX37915" y="connsiteY37915"/>
              </a:cxn>
              <a:cxn ang="0">
                <a:pos x="connsiteX37916" y="connsiteY37916"/>
              </a:cxn>
              <a:cxn ang="0">
                <a:pos x="connsiteX37917" y="connsiteY37917"/>
              </a:cxn>
              <a:cxn ang="0">
                <a:pos x="connsiteX37918" y="connsiteY37918"/>
              </a:cxn>
              <a:cxn ang="0">
                <a:pos x="connsiteX37919" y="connsiteY37919"/>
              </a:cxn>
              <a:cxn ang="0">
                <a:pos x="connsiteX37920" y="connsiteY37920"/>
              </a:cxn>
              <a:cxn ang="0">
                <a:pos x="connsiteX37921" y="connsiteY37921"/>
              </a:cxn>
              <a:cxn ang="0">
                <a:pos x="connsiteX37922" y="connsiteY37922"/>
              </a:cxn>
              <a:cxn ang="0">
                <a:pos x="connsiteX37923" y="connsiteY37923"/>
              </a:cxn>
              <a:cxn ang="0">
                <a:pos x="connsiteX37924" y="connsiteY37924"/>
              </a:cxn>
              <a:cxn ang="0">
                <a:pos x="connsiteX37925" y="connsiteY37925"/>
              </a:cxn>
              <a:cxn ang="0">
                <a:pos x="connsiteX37926" y="connsiteY37926"/>
              </a:cxn>
              <a:cxn ang="0">
                <a:pos x="connsiteX37927" y="connsiteY37927"/>
              </a:cxn>
              <a:cxn ang="0">
                <a:pos x="connsiteX37928" y="connsiteY37928"/>
              </a:cxn>
              <a:cxn ang="0">
                <a:pos x="connsiteX37929" y="connsiteY37929"/>
              </a:cxn>
              <a:cxn ang="0">
                <a:pos x="connsiteX37930" y="connsiteY37930"/>
              </a:cxn>
              <a:cxn ang="0">
                <a:pos x="connsiteX37931" y="connsiteY37931"/>
              </a:cxn>
              <a:cxn ang="0">
                <a:pos x="connsiteX37932" y="connsiteY37932"/>
              </a:cxn>
              <a:cxn ang="0">
                <a:pos x="connsiteX37933" y="connsiteY37933"/>
              </a:cxn>
              <a:cxn ang="0">
                <a:pos x="connsiteX37934" y="connsiteY37934"/>
              </a:cxn>
              <a:cxn ang="0">
                <a:pos x="connsiteX37935" y="connsiteY37935"/>
              </a:cxn>
              <a:cxn ang="0">
                <a:pos x="connsiteX37936" y="connsiteY37936"/>
              </a:cxn>
              <a:cxn ang="0">
                <a:pos x="connsiteX37937" y="connsiteY37937"/>
              </a:cxn>
              <a:cxn ang="0">
                <a:pos x="connsiteX37938" y="connsiteY37938"/>
              </a:cxn>
              <a:cxn ang="0">
                <a:pos x="connsiteX37939" y="connsiteY37939"/>
              </a:cxn>
              <a:cxn ang="0">
                <a:pos x="connsiteX37940" y="connsiteY37940"/>
              </a:cxn>
              <a:cxn ang="0">
                <a:pos x="connsiteX37941" y="connsiteY37941"/>
              </a:cxn>
              <a:cxn ang="0">
                <a:pos x="connsiteX37942" y="connsiteY37942"/>
              </a:cxn>
              <a:cxn ang="0">
                <a:pos x="connsiteX37943" y="connsiteY37943"/>
              </a:cxn>
              <a:cxn ang="0">
                <a:pos x="connsiteX37944" y="connsiteY37944"/>
              </a:cxn>
              <a:cxn ang="0">
                <a:pos x="connsiteX37945" y="connsiteY37945"/>
              </a:cxn>
              <a:cxn ang="0">
                <a:pos x="connsiteX37946" y="connsiteY37946"/>
              </a:cxn>
              <a:cxn ang="0">
                <a:pos x="connsiteX37947" y="connsiteY37947"/>
              </a:cxn>
              <a:cxn ang="0">
                <a:pos x="connsiteX37948" y="connsiteY37948"/>
              </a:cxn>
              <a:cxn ang="0">
                <a:pos x="connsiteX37949" y="connsiteY37949"/>
              </a:cxn>
              <a:cxn ang="0">
                <a:pos x="connsiteX37950" y="connsiteY37950"/>
              </a:cxn>
              <a:cxn ang="0">
                <a:pos x="connsiteX37951" y="connsiteY37951"/>
              </a:cxn>
              <a:cxn ang="0">
                <a:pos x="connsiteX37952" y="connsiteY37952"/>
              </a:cxn>
              <a:cxn ang="0">
                <a:pos x="connsiteX37953" y="connsiteY37953"/>
              </a:cxn>
              <a:cxn ang="0">
                <a:pos x="connsiteX37954" y="connsiteY37954"/>
              </a:cxn>
              <a:cxn ang="0">
                <a:pos x="connsiteX37955" y="connsiteY37955"/>
              </a:cxn>
              <a:cxn ang="0">
                <a:pos x="connsiteX37956" y="connsiteY37956"/>
              </a:cxn>
              <a:cxn ang="0">
                <a:pos x="connsiteX37957" y="connsiteY37957"/>
              </a:cxn>
              <a:cxn ang="0">
                <a:pos x="connsiteX37958" y="connsiteY37958"/>
              </a:cxn>
              <a:cxn ang="0">
                <a:pos x="connsiteX37959" y="connsiteY37959"/>
              </a:cxn>
              <a:cxn ang="0">
                <a:pos x="connsiteX37960" y="connsiteY37960"/>
              </a:cxn>
              <a:cxn ang="0">
                <a:pos x="connsiteX37961" y="connsiteY37961"/>
              </a:cxn>
              <a:cxn ang="0">
                <a:pos x="connsiteX37962" y="connsiteY37962"/>
              </a:cxn>
              <a:cxn ang="0">
                <a:pos x="connsiteX37963" y="connsiteY37963"/>
              </a:cxn>
              <a:cxn ang="0">
                <a:pos x="connsiteX37964" y="connsiteY37964"/>
              </a:cxn>
              <a:cxn ang="0">
                <a:pos x="connsiteX37965" y="connsiteY37965"/>
              </a:cxn>
              <a:cxn ang="0">
                <a:pos x="connsiteX37966" y="connsiteY37966"/>
              </a:cxn>
              <a:cxn ang="0">
                <a:pos x="connsiteX37967" y="connsiteY37967"/>
              </a:cxn>
              <a:cxn ang="0">
                <a:pos x="connsiteX37968" y="connsiteY37968"/>
              </a:cxn>
              <a:cxn ang="0">
                <a:pos x="connsiteX37969" y="connsiteY37969"/>
              </a:cxn>
              <a:cxn ang="0">
                <a:pos x="connsiteX37970" y="connsiteY37970"/>
              </a:cxn>
              <a:cxn ang="0">
                <a:pos x="connsiteX37971" y="connsiteY37971"/>
              </a:cxn>
              <a:cxn ang="0">
                <a:pos x="connsiteX37972" y="connsiteY37972"/>
              </a:cxn>
              <a:cxn ang="0">
                <a:pos x="connsiteX37973" y="connsiteY37973"/>
              </a:cxn>
              <a:cxn ang="0">
                <a:pos x="connsiteX37974" y="connsiteY37974"/>
              </a:cxn>
              <a:cxn ang="0">
                <a:pos x="connsiteX37975" y="connsiteY37975"/>
              </a:cxn>
              <a:cxn ang="0">
                <a:pos x="connsiteX37976" y="connsiteY37976"/>
              </a:cxn>
              <a:cxn ang="0">
                <a:pos x="connsiteX37977" y="connsiteY37977"/>
              </a:cxn>
              <a:cxn ang="0">
                <a:pos x="connsiteX37978" y="connsiteY37978"/>
              </a:cxn>
              <a:cxn ang="0">
                <a:pos x="connsiteX37979" y="connsiteY37979"/>
              </a:cxn>
              <a:cxn ang="0">
                <a:pos x="connsiteX37980" y="connsiteY37980"/>
              </a:cxn>
              <a:cxn ang="0">
                <a:pos x="connsiteX37981" y="connsiteY37981"/>
              </a:cxn>
              <a:cxn ang="0">
                <a:pos x="connsiteX37982" y="connsiteY37982"/>
              </a:cxn>
              <a:cxn ang="0">
                <a:pos x="connsiteX37983" y="connsiteY37983"/>
              </a:cxn>
              <a:cxn ang="0">
                <a:pos x="connsiteX37984" y="connsiteY37984"/>
              </a:cxn>
              <a:cxn ang="0">
                <a:pos x="connsiteX37985" y="connsiteY37985"/>
              </a:cxn>
              <a:cxn ang="0">
                <a:pos x="connsiteX37986" y="connsiteY37986"/>
              </a:cxn>
              <a:cxn ang="0">
                <a:pos x="connsiteX37987" y="connsiteY37987"/>
              </a:cxn>
              <a:cxn ang="0">
                <a:pos x="connsiteX37988" y="connsiteY37988"/>
              </a:cxn>
              <a:cxn ang="0">
                <a:pos x="connsiteX37989" y="connsiteY37989"/>
              </a:cxn>
              <a:cxn ang="0">
                <a:pos x="connsiteX37990" y="connsiteY37990"/>
              </a:cxn>
              <a:cxn ang="0">
                <a:pos x="connsiteX37991" y="connsiteY37991"/>
              </a:cxn>
              <a:cxn ang="0">
                <a:pos x="connsiteX37992" y="connsiteY37992"/>
              </a:cxn>
              <a:cxn ang="0">
                <a:pos x="connsiteX37993" y="connsiteY37993"/>
              </a:cxn>
              <a:cxn ang="0">
                <a:pos x="connsiteX37994" y="connsiteY37994"/>
              </a:cxn>
              <a:cxn ang="0">
                <a:pos x="connsiteX37995" y="connsiteY37995"/>
              </a:cxn>
              <a:cxn ang="0">
                <a:pos x="connsiteX37996" y="connsiteY37996"/>
              </a:cxn>
              <a:cxn ang="0">
                <a:pos x="connsiteX37997" y="connsiteY37997"/>
              </a:cxn>
              <a:cxn ang="0">
                <a:pos x="connsiteX37998" y="connsiteY37998"/>
              </a:cxn>
              <a:cxn ang="0">
                <a:pos x="connsiteX37999" y="connsiteY37999"/>
              </a:cxn>
              <a:cxn ang="0">
                <a:pos x="connsiteX38000" y="connsiteY38000"/>
              </a:cxn>
              <a:cxn ang="0">
                <a:pos x="connsiteX38001" y="connsiteY38001"/>
              </a:cxn>
              <a:cxn ang="0">
                <a:pos x="connsiteX38002" y="connsiteY38002"/>
              </a:cxn>
              <a:cxn ang="0">
                <a:pos x="connsiteX38003" y="connsiteY38003"/>
              </a:cxn>
              <a:cxn ang="0">
                <a:pos x="connsiteX38004" y="connsiteY38004"/>
              </a:cxn>
              <a:cxn ang="0">
                <a:pos x="connsiteX38005" y="connsiteY38005"/>
              </a:cxn>
              <a:cxn ang="0">
                <a:pos x="connsiteX38006" y="connsiteY38006"/>
              </a:cxn>
              <a:cxn ang="0">
                <a:pos x="connsiteX38007" y="connsiteY38007"/>
              </a:cxn>
              <a:cxn ang="0">
                <a:pos x="connsiteX38008" y="connsiteY38008"/>
              </a:cxn>
              <a:cxn ang="0">
                <a:pos x="connsiteX38009" y="connsiteY38009"/>
              </a:cxn>
              <a:cxn ang="0">
                <a:pos x="connsiteX38010" y="connsiteY38010"/>
              </a:cxn>
              <a:cxn ang="0">
                <a:pos x="connsiteX38011" y="connsiteY38011"/>
              </a:cxn>
              <a:cxn ang="0">
                <a:pos x="connsiteX38012" y="connsiteY38012"/>
              </a:cxn>
              <a:cxn ang="0">
                <a:pos x="connsiteX38013" y="connsiteY38013"/>
              </a:cxn>
              <a:cxn ang="0">
                <a:pos x="connsiteX38014" y="connsiteY38014"/>
              </a:cxn>
              <a:cxn ang="0">
                <a:pos x="connsiteX38015" y="connsiteY38015"/>
              </a:cxn>
              <a:cxn ang="0">
                <a:pos x="connsiteX38016" y="connsiteY38016"/>
              </a:cxn>
              <a:cxn ang="0">
                <a:pos x="connsiteX38017" y="connsiteY38017"/>
              </a:cxn>
              <a:cxn ang="0">
                <a:pos x="connsiteX38018" y="connsiteY38018"/>
              </a:cxn>
              <a:cxn ang="0">
                <a:pos x="connsiteX38019" y="connsiteY38019"/>
              </a:cxn>
              <a:cxn ang="0">
                <a:pos x="connsiteX38020" y="connsiteY38020"/>
              </a:cxn>
              <a:cxn ang="0">
                <a:pos x="connsiteX38021" y="connsiteY38021"/>
              </a:cxn>
              <a:cxn ang="0">
                <a:pos x="connsiteX38022" y="connsiteY38022"/>
              </a:cxn>
              <a:cxn ang="0">
                <a:pos x="connsiteX38023" y="connsiteY38023"/>
              </a:cxn>
              <a:cxn ang="0">
                <a:pos x="connsiteX38024" y="connsiteY38024"/>
              </a:cxn>
              <a:cxn ang="0">
                <a:pos x="connsiteX38025" y="connsiteY38025"/>
              </a:cxn>
              <a:cxn ang="0">
                <a:pos x="connsiteX38026" y="connsiteY38026"/>
              </a:cxn>
              <a:cxn ang="0">
                <a:pos x="connsiteX38027" y="connsiteY38027"/>
              </a:cxn>
              <a:cxn ang="0">
                <a:pos x="connsiteX38028" y="connsiteY38028"/>
              </a:cxn>
              <a:cxn ang="0">
                <a:pos x="connsiteX38029" y="connsiteY38029"/>
              </a:cxn>
              <a:cxn ang="0">
                <a:pos x="connsiteX38030" y="connsiteY38030"/>
              </a:cxn>
              <a:cxn ang="0">
                <a:pos x="connsiteX38031" y="connsiteY38031"/>
              </a:cxn>
              <a:cxn ang="0">
                <a:pos x="connsiteX38032" y="connsiteY38032"/>
              </a:cxn>
              <a:cxn ang="0">
                <a:pos x="connsiteX38033" y="connsiteY38033"/>
              </a:cxn>
              <a:cxn ang="0">
                <a:pos x="connsiteX38034" y="connsiteY38034"/>
              </a:cxn>
              <a:cxn ang="0">
                <a:pos x="connsiteX38035" y="connsiteY38035"/>
              </a:cxn>
              <a:cxn ang="0">
                <a:pos x="connsiteX38036" y="connsiteY38036"/>
              </a:cxn>
              <a:cxn ang="0">
                <a:pos x="connsiteX38037" y="connsiteY38037"/>
              </a:cxn>
              <a:cxn ang="0">
                <a:pos x="connsiteX38038" y="connsiteY38038"/>
              </a:cxn>
              <a:cxn ang="0">
                <a:pos x="connsiteX38039" y="connsiteY38039"/>
              </a:cxn>
              <a:cxn ang="0">
                <a:pos x="connsiteX38040" y="connsiteY38040"/>
              </a:cxn>
              <a:cxn ang="0">
                <a:pos x="connsiteX38041" y="connsiteY38041"/>
              </a:cxn>
              <a:cxn ang="0">
                <a:pos x="connsiteX38042" y="connsiteY38042"/>
              </a:cxn>
              <a:cxn ang="0">
                <a:pos x="connsiteX38043" y="connsiteY38043"/>
              </a:cxn>
              <a:cxn ang="0">
                <a:pos x="connsiteX38044" y="connsiteY38044"/>
              </a:cxn>
              <a:cxn ang="0">
                <a:pos x="connsiteX38045" y="connsiteY38045"/>
              </a:cxn>
              <a:cxn ang="0">
                <a:pos x="connsiteX38046" y="connsiteY38046"/>
              </a:cxn>
              <a:cxn ang="0">
                <a:pos x="connsiteX38047" y="connsiteY38047"/>
              </a:cxn>
              <a:cxn ang="0">
                <a:pos x="connsiteX38048" y="connsiteY38048"/>
              </a:cxn>
              <a:cxn ang="0">
                <a:pos x="connsiteX38049" y="connsiteY38049"/>
              </a:cxn>
              <a:cxn ang="0">
                <a:pos x="connsiteX38050" y="connsiteY38050"/>
              </a:cxn>
              <a:cxn ang="0">
                <a:pos x="connsiteX38051" y="connsiteY38051"/>
              </a:cxn>
              <a:cxn ang="0">
                <a:pos x="connsiteX38052" y="connsiteY38052"/>
              </a:cxn>
              <a:cxn ang="0">
                <a:pos x="connsiteX38053" y="connsiteY38053"/>
              </a:cxn>
              <a:cxn ang="0">
                <a:pos x="connsiteX38054" y="connsiteY38054"/>
              </a:cxn>
              <a:cxn ang="0">
                <a:pos x="connsiteX38055" y="connsiteY38055"/>
              </a:cxn>
              <a:cxn ang="0">
                <a:pos x="connsiteX38056" y="connsiteY38056"/>
              </a:cxn>
              <a:cxn ang="0">
                <a:pos x="connsiteX38057" y="connsiteY38057"/>
              </a:cxn>
              <a:cxn ang="0">
                <a:pos x="connsiteX38058" y="connsiteY38058"/>
              </a:cxn>
              <a:cxn ang="0">
                <a:pos x="connsiteX38059" y="connsiteY38059"/>
              </a:cxn>
              <a:cxn ang="0">
                <a:pos x="connsiteX38060" y="connsiteY38060"/>
              </a:cxn>
              <a:cxn ang="0">
                <a:pos x="connsiteX38061" y="connsiteY38061"/>
              </a:cxn>
              <a:cxn ang="0">
                <a:pos x="connsiteX38062" y="connsiteY38062"/>
              </a:cxn>
              <a:cxn ang="0">
                <a:pos x="connsiteX38063" y="connsiteY38063"/>
              </a:cxn>
              <a:cxn ang="0">
                <a:pos x="connsiteX38064" y="connsiteY38064"/>
              </a:cxn>
              <a:cxn ang="0">
                <a:pos x="connsiteX38065" y="connsiteY38065"/>
              </a:cxn>
              <a:cxn ang="0">
                <a:pos x="connsiteX38066" y="connsiteY38066"/>
              </a:cxn>
              <a:cxn ang="0">
                <a:pos x="connsiteX38067" y="connsiteY38067"/>
              </a:cxn>
              <a:cxn ang="0">
                <a:pos x="connsiteX38068" y="connsiteY38068"/>
              </a:cxn>
              <a:cxn ang="0">
                <a:pos x="connsiteX38069" y="connsiteY38069"/>
              </a:cxn>
              <a:cxn ang="0">
                <a:pos x="connsiteX38070" y="connsiteY38070"/>
              </a:cxn>
              <a:cxn ang="0">
                <a:pos x="connsiteX38071" y="connsiteY38071"/>
              </a:cxn>
              <a:cxn ang="0">
                <a:pos x="connsiteX38072" y="connsiteY38072"/>
              </a:cxn>
              <a:cxn ang="0">
                <a:pos x="connsiteX38073" y="connsiteY38073"/>
              </a:cxn>
              <a:cxn ang="0">
                <a:pos x="connsiteX38074" y="connsiteY38074"/>
              </a:cxn>
              <a:cxn ang="0">
                <a:pos x="connsiteX38075" y="connsiteY38075"/>
              </a:cxn>
              <a:cxn ang="0">
                <a:pos x="connsiteX38076" y="connsiteY38076"/>
              </a:cxn>
              <a:cxn ang="0">
                <a:pos x="connsiteX38077" y="connsiteY38077"/>
              </a:cxn>
              <a:cxn ang="0">
                <a:pos x="connsiteX38078" y="connsiteY38078"/>
              </a:cxn>
              <a:cxn ang="0">
                <a:pos x="connsiteX38079" y="connsiteY38079"/>
              </a:cxn>
              <a:cxn ang="0">
                <a:pos x="connsiteX38080" y="connsiteY38080"/>
              </a:cxn>
              <a:cxn ang="0">
                <a:pos x="connsiteX38081" y="connsiteY38081"/>
              </a:cxn>
              <a:cxn ang="0">
                <a:pos x="connsiteX38082" y="connsiteY38082"/>
              </a:cxn>
              <a:cxn ang="0">
                <a:pos x="connsiteX38083" y="connsiteY38083"/>
              </a:cxn>
              <a:cxn ang="0">
                <a:pos x="connsiteX38084" y="connsiteY38084"/>
              </a:cxn>
              <a:cxn ang="0">
                <a:pos x="connsiteX38085" y="connsiteY38085"/>
              </a:cxn>
              <a:cxn ang="0">
                <a:pos x="connsiteX38086" y="connsiteY38086"/>
              </a:cxn>
              <a:cxn ang="0">
                <a:pos x="connsiteX38087" y="connsiteY38087"/>
              </a:cxn>
              <a:cxn ang="0">
                <a:pos x="connsiteX38088" y="connsiteY38088"/>
              </a:cxn>
              <a:cxn ang="0">
                <a:pos x="connsiteX38089" y="connsiteY38089"/>
              </a:cxn>
              <a:cxn ang="0">
                <a:pos x="connsiteX38090" y="connsiteY38090"/>
              </a:cxn>
              <a:cxn ang="0">
                <a:pos x="connsiteX38091" y="connsiteY38091"/>
              </a:cxn>
              <a:cxn ang="0">
                <a:pos x="connsiteX38092" y="connsiteY38092"/>
              </a:cxn>
              <a:cxn ang="0">
                <a:pos x="connsiteX38093" y="connsiteY38093"/>
              </a:cxn>
              <a:cxn ang="0">
                <a:pos x="connsiteX38094" y="connsiteY38094"/>
              </a:cxn>
              <a:cxn ang="0">
                <a:pos x="connsiteX38095" y="connsiteY38095"/>
              </a:cxn>
              <a:cxn ang="0">
                <a:pos x="connsiteX38096" y="connsiteY38096"/>
              </a:cxn>
              <a:cxn ang="0">
                <a:pos x="connsiteX38097" y="connsiteY38097"/>
              </a:cxn>
              <a:cxn ang="0">
                <a:pos x="connsiteX38098" y="connsiteY38098"/>
              </a:cxn>
              <a:cxn ang="0">
                <a:pos x="connsiteX38099" y="connsiteY38099"/>
              </a:cxn>
              <a:cxn ang="0">
                <a:pos x="connsiteX38100" y="connsiteY38100"/>
              </a:cxn>
              <a:cxn ang="0">
                <a:pos x="connsiteX38101" y="connsiteY38101"/>
              </a:cxn>
              <a:cxn ang="0">
                <a:pos x="connsiteX38102" y="connsiteY38102"/>
              </a:cxn>
              <a:cxn ang="0">
                <a:pos x="connsiteX38103" y="connsiteY38103"/>
              </a:cxn>
              <a:cxn ang="0">
                <a:pos x="connsiteX38104" y="connsiteY38104"/>
              </a:cxn>
              <a:cxn ang="0">
                <a:pos x="connsiteX38105" y="connsiteY38105"/>
              </a:cxn>
              <a:cxn ang="0">
                <a:pos x="connsiteX38106" y="connsiteY38106"/>
              </a:cxn>
              <a:cxn ang="0">
                <a:pos x="connsiteX38107" y="connsiteY38107"/>
              </a:cxn>
              <a:cxn ang="0">
                <a:pos x="connsiteX38108" y="connsiteY38108"/>
              </a:cxn>
              <a:cxn ang="0">
                <a:pos x="connsiteX38109" y="connsiteY38109"/>
              </a:cxn>
              <a:cxn ang="0">
                <a:pos x="connsiteX38110" y="connsiteY38110"/>
              </a:cxn>
              <a:cxn ang="0">
                <a:pos x="connsiteX38111" y="connsiteY38111"/>
              </a:cxn>
              <a:cxn ang="0">
                <a:pos x="connsiteX38112" y="connsiteY38112"/>
              </a:cxn>
              <a:cxn ang="0">
                <a:pos x="connsiteX38113" y="connsiteY38113"/>
              </a:cxn>
              <a:cxn ang="0">
                <a:pos x="connsiteX38114" y="connsiteY38114"/>
              </a:cxn>
              <a:cxn ang="0">
                <a:pos x="connsiteX38115" y="connsiteY38115"/>
              </a:cxn>
              <a:cxn ang="0">
                <a:pos x="connsiteX38116" y="connsiteY38116"/>
              </a:cxn>
              <a:cxn ang="0">
                <a:pos x="connsiteX38117" y="connsiteY38117"/>
              </a:cxn>
              <a:cxn ang="0">
                <a:pos x="connsiteX38118" y="connsiteY38118"/>
              </a:cxn>
              <a:cxn ang="0">
                <a:pos x="connsiteX38119" y="connsiteY38119"/>
              </a:cxn>
              <a:cxn ang="0">
                <a:pos x="connsiteX38120" y="connsiteY38120"/>
              </a:cxn>
              <a:cxn ang="0">
                <a:pos x="connsiteX38121" y="connsiteY38121"/>
              </a:cxn>
              <a:cxn ang="0">
                <a:pos x="connsiteX38122" y="connsiteY38122"/>
              </a:cxn>
              <a:cxn ang="0">
                <a:pos x="connsiteX38123" y="connsiteY38123"/>
              </a:cxn>
              <a:cxn ang="0">
                <a:pos x="connsiteX38124" y="connsiteY38124"/>
              </a:cxn>
              <a:cxn ang="0">
                <a:pos x="connsiteX38125" y="connsiteY38125"/>
              </a:cxn>
              <a:cxn ang="0">
                <a:pos x="connsiteX38126" y="connsiteY38126"/>
              </a:cxn>
              <a:cxn ang="0">
                <a:pos x="connsiteX38127" y="connsiteY38127"/>
              </a:cxn>
              <a:cxn ang="0">
                <a:pos x="connsiteX38128" y="connsiteY38128"/>
              </a:cxn>
              <a:cxn ang="0">
                <a:pos x="connsiteX38129" y="connsiteY38129"/>
              </a:cxn>
              <a:cxn ang="0">
                <a:pos x="connsiteX38130" y="connsiteY38130"/>
              </a:cxn>
              <a:cxn ang="0">
                <a:pos x="connsiteX38131" y="connsiteY38131"/>
              </a:cxn>
              <a:cxn ang="0">
                <a:pos x="connsiteX38132" y="connsiteY38132"/>
              </a:cxn>
              <a:cxn ang="0">
                <a:pos x="connsiteX38133" y="connsiteY38133"/>
              </a:cxn>
              <a:cxn ang="0">
                <a:pos x="connsiteX38134" y="connsiteY38134"/>
              </a:cxn>
              <a:cxn ang="0">
                <a:pos x="connsiteX38135" y="connsiteY38135"/>
              </a:cxn>
              <a:cxn ang="0">
                <a:pos x="connsiteX38136" y="connsiteY38136"/>
              </a:cxn>
              <a:cxn ang="0">
                <a:pos x="connsiteX38137" y="connsiteY38137"/>
              </a:cxn>
              <a:cxn ang="0">
                <a:pos x="connsiteX38138" y="connsiteY38138"/>
              </a:cxn>
              <a:cxn ang="0">
                <a:pos x="connsiteX38139" y="connsiteY38139"/>
              </a:cxn>
              <a:cxn ang="0">
                <a:pos x="connsiteX38140" y="connsiteY38140"/>
              </a:cxn>
              <a:cxn ang="0">
                <a:pos x="connsiteX38141" y="connsiteY38141"/>
              </a:cxn>
              <a:cxn ang="0">
                <a:pos x="connsiteX38142" y="connsiteY38142"/>
              </a:cxn>
              <a:cxn ang="0">
                <a:pos x="connsiteX38143" y="connsiteY38143"/>
              </a:cxn>
              <a:cxn ang="0">
                <a:pos x="connsiteX38144" y="connsiteY38144"/>
              </a:cxn>
              <a:cxn ang="0">
                <a:pos x="connsiteX38145" y="connsiteY38145"/>
              </a:cxn>
              <a:cxn ang="0">
                <a:pos x="connsiteX38146" y="connsiteY38146"/>
              </a:cxn>
              <a:cxn ang="0">
                <a:pos x="connsiteX38147" y="connsiteY38147"/>
              </a:cxn>
              <a:cxn ang="0">
                <a:pos x="connsiteX38148" y="connsiteY38148"/>
              </a:cxn>
              <a:cxn ang="0">
                <a:pos x="connsiteX38149" y="connsiteY38149"/>
              </a:cxn>
              <a:cxn ang="0">
                <a:pos x="connsiteX38150" y="connsiteY38150"/>
              </a:cxn>
              <a:cxn ang="0">
                <a:pos x="connsiteX38151" y="connsiteY38151"/>
              </a:cxn>
              <a:cxn ang="0">
                <a:pos x="connsiteX38152" y="connsiteY38152"/>
              </a:cxn>
              <a:cxn ang="0">
                <a:pos x="connsiteX38153" y="connsiteY38153"/>
              </a:cxn>
              <a:cxn ang="0">
                <a:pos x="connsiteX38154" y="connsiteY38154"/>
              </a:cxn>
              <a:cxn ang="0">
                <a:pos x="connsiteX38155" y="connsiteY38155"/>
              </a:cxn>
              <a:cxn ang="0">
                <a:pos x="connsiteX38156" y="connsiteY38156"/>
              </a:cxn>
              <a:cxn ang="0">
                <a:pos x="connsiteX38157" y="connsiteY38157"/>
              </a:cxn>
              <a:cxn ang="0">
                <a:pos x="connsiteX38158" y="connsiteY38158"/>
              </a:cxn>
              <a:cxn ang="0">
                <a:pos x="connsiteX38159" y="connsiteY38159"/>
              </a:cxn>
              <a:cxn ang="0">
                <a:pos x="connsiteX38160" y="connsiteY38160"/>
              </a:cxn>
              <a:cxn ang="0">
                <a:pos x="connsiteX38161" y="connsiteY38161"/>
              </a:cxn>
              <a:cxn ang="0">
                <a:pos x="connsiteX38162" y="connsiteY38162"/>
              </a:cxn>
              <a:cxn ang="0">
                <a:pos x="connsiteX38163" y="connsiteY38163"/>
              </a:cxn>
              <a:cxn ang="0">
                <a:pos x="connsiteX38164" y="connsiteY38164"/>
              </a:cxn>
              <a:cxn ang="0">
                <a:pos x="connsiteX38165" y="connsiteY38165"/>
              </a:cxn>
              <a:cxn ang="0">
                <a:pos x="connsiteX38166" y="connsiteY38166"/>
              </a:cxn>
              <a:cxn ang="0">
                <a:pos x="connsiteX38167" y="connsiteY38167"/>
              </a:cxn>
              <a:cxn ang="0">
                <a:pos x="connsiteX38168" y="connsiteY38168"/>
              </a:cxn>
              <a:cxn ang="0">
                <a:pos x="connsiteX38169" y="connsiteY38169"/>
              </a:cxn>
              <a:cxn ang="0">
                <a:pos x="connsiteX38170" y="connsiteY38170"/>
              </a:cxn>
              <a:cxn ang="0">
                <a:pos x="connsiteX38171" y="connsiteY38171"/>
              </a:cxn>
              <a:cxn ang="0">
                <a:pos x="connsiteX38172" y="connsiteY38172"/>
              </a:cxn>
              <a:cxn ang="0">
                <a:pos x="connsiteX38173" y="connsiteY38173"/>
              </a:cxn>
              <a:cxn ang="0">
                <a:pos x="connsiteX38174" y="connsiteY38174"/>
              </a:cxn>
              <a:cxn ang="0">
                <a:pos x="connsiteX38175" y="connsiteY38175"/>
              </a:cxn>
              <a:cxn ang="0">
                <a:pos x="connsiteX38176" y="connsiteY38176"/>
              </a:cxn>
              <a:cxn ang="0">
                <a:pos x="connsiteX38177" y="connsiteY38177"/>
              </a:cxn>
              <a:cxn ang="0">
                <a:pos x="connsiteX38178" y="connsiteY38178"/>
              </a:cxn>
              <a:cxn ang="0">
                <a:pos x="connsiteX38179" y="connsiteY38179"/>
              </a:cxn>
              <a:cxn ang="0">
                <a:pos x="connsiteX38180" y="connsiteY38180"/>
              </a:cxn>
              <a:cxn ang="0">
                <a:pos x="connsiteX38181" y="connsiteY38181"/>
              </a:cxn>
              <a:cxn ang="0">
                <a:pos x="connsiteX38182" y="connsiteY38182"/>
              </a:cxn>
              <a:cxn ang="0">
                <a:pos x="connsiteX38183" y="connsiteY38183"/>
              </a:cxn>
              <a:cxn ang="0">
                <a:pos x="connsiteX38184" y="connsiteY38184"/>
              </a:cxn>
              <a:cxn ang="0">
                <a:pos x="connsiteX38185" y="connsiteY38185"/>
              </a:cxn>
              <a:cxn ang="0">
                <a:pos x="connsiteX38186" y="connsiteY38186"/>
              </a:cxn>
              <a:cxn ang="0">
                <a:pos x="connsiteX38187" y="connsiteY38187"/>
              </a:cxn>
              <a:cxn ang="0">
                <a:pos x="connsiteX38188" y="connsiteY38188"/>
              </a:cxn>
              <a:cxn ang="0">
                <a:pos x="connsiteX38189" y="connsiteY38189"/>
              </a:cxn>
              <a:cxn ang="0">
                <a:pos x="connsiteX38190" y="connsiteY38190"/>
              </a:cxn>
              <a:cxn ang="0">
                <a:pos x="connsiteX38191" y="connsiteY38191"/>
              </a:cxn>
              <a:cxn ang="0">
                <a:pos x="connsiteX38192" y="connsiteY38192"/>
              </a:cxn>
              <a:cxn ang="0">
                <a:pos x="connsiteX38193" y="connsiteY38193"/>
              </a:cxn>
              <a:cxn ang="0">
                <a:pos x="connsiteX38194" y="connsiteY38194"/>
              </a:cxn>
              <a:cxn ang="0">
                <a:pos x="connsiteX38195" y="connsiteY38195"/>
              </a:cxn>
              <a:cxn ang="0">
                <a:pos x="connsiteX38196" y="connsiteY38196"/>
              </a:cxn>
              <a:cxn ang="0">
                <a:pos x="connsiteX38197" y="connsiteY38197"/>
              </a:cxn>
              <a:cxn ang="0">
                <a:pos x="connsiteX38198" y="connsiteY38198"/>
              </a:cxn>
              <a:cxn ang="0">
                <a:pos x="connsiteX38199" y="connsiteY38199"/>
              </a:cxn>
              <a:cxn ang="0">
                <a:pos x="connsiteX38200" y="connsiteY38200"/>
              </a:cxn>
              <a:cxn ang="0">
                <a:pos x="connsiteX38201" y="connsiteY38201"/>
              </a:cxn>
              <a:cxn ang="0">
                <a:pos x="connsiteX38202" y="connsiteY38202"/>
              </a:cxn>
              <a:cxn ang="0">
                <a:pos x="connsiteX38203" y="connsiteY38203"/>
              </a:cxn>
              <a:cxn ang="0">
                <a:pos x="connsiteX38204" y="connsiteY38204"/>
              </a:cxn>
              <a:cxn ang="0">
                <a:pos x="connsiteX38205" y="connsiteY38205"/>
              </a:cxn>
              <a:cxn ang="0">
                <a:pos x="connsiteX38206" y="connsiteY38206"/>
              </a:cxn>
              <a:cxn ang="0">
                <a:pos x="connsiteX38207" y="connsiteY38207"/>
              </a:cxn>
              <a:cxn ang="0">
                <a:pos x="connsiteX38208" y="connsiteY38208"/>
              </a:cxn>
              <a:cxn ang="0">
                <a:pos x="connsiteX38209" y="connsiteY38209"/>
              </a:cxn>
              <a:cxn ang="0">
                <a:pos x="connsiteX38210" y="connsiteY38210"/>
              </a:cxn>
              <a:cxn ang="0">
                <a:pos x="connsiteX38211" y="connsiteY38211"/>
              </a:cxn>
              <a:cxn ang="0">
                <a:pos x="connsiteX38212" y="connsiteY38212"/>
              </a:cxn>
              <a:cxn ang="0">
                <a:pos x="connsiteX38213" y="connsiteY38213"/>
              </a:cxn>
              <a:cxn ang="0">
                <a:pos x="connsiteX38214" y="connsiteY38214"/>
              </a:cxn>
              <a:cxn ang="0">
                <a:pos x="connsiteX38215" y="connsiteY38215"/>
              </a:cxn>
              <a:cxn ang="0">
                <a:pos x="connsiteX38216" y="connsiteY38216"/>
              </a:cxn>
              <a:cxn ang="0">
                <a:pos x="connsiteX38217" y="connsiteY38217"/>
              </a:cxn>
              <a:cxn ang="0">
                <a:pos x="connsiteX38218" y="connsiteY38218"/>
              </a:cxn>
              <a:cxn ang="0">
                <a:pos x="connsiteX38219" y="connsiteY38219"/>
              </a:cxn>
              <a:cxn ang="0">
                <a:pos x="connsiteX38220" y="connsiteY38220"/>
              </a:cxn>
              <a:cxn ang="0">
                <a:pos x="connsiteX38221" y="connsiteY38221"/>
              </a:cxn>
              <a:cxn ang="0">
                <a:pos x="connsiteX38222" y="connsiteY38222"/>
              </a:cxn>
              <a:cxn ang="0">
                <a:pos x="connsiteX38223" y="connsiteY38223"/>
              </a:cxn>
              <a:cxn ang="0">
                <a:pos x="connsiteX38224" y="connsiteY38224"/>
              </a:cxn>
              <a:cxn ang="0">
                <a:pos x="connsiteX38225" y="connsiteY38225"/>
              </a:cxn>
              <a:cxn ang="0">
                <a:pos x="connsiteX38226" y="connsiteY38226"/>
              </a:cxn>
              <a:cxn ang="0">
                <a:pos x="connsiteX38227" y="connsiteY38227"/>
              </a:cxn>
              <a:cxn ang="0">
                <a:pos x="connsiteX38228" y="connsiteY38228"/>
              </a:cxn>
              <a:cxn ang="0">
                <a:pos x="connsiteX38229" y="connsiteY38229"/>
              </a:cxn>
              <a:cxn ang="0">
                <a:pos x="connsiteX38230" y="connsiteY38230"/>
              </a:cxn>
              <a:cxn ang="0">
                <a:pos x="connsiteX38231" y="connsiteY38231"/>
              </a:cxn>
              <a:cxn ang="0">
                <a:pos x="connsiteX38232" y="connsiteY38232"/>
              </a:cxn>
              <a:cxn ang="0">
                <a:pos x="connsiteX38233" y="connsiteY38233"/>
              </a:cxn>
              <a:cxn ang="0">
                <a:pos x="connsiteX38234" y="connsiteY38234"/>
              </a:cxn>
              <a:cxn ang="0">
                <a:pos x="connsiteX38235" y="connsiteY38235"/>
              </a:cxn>
              <a:cxn ang="0">
                <a:pos x="connsiteX38236" y="connsiteY38236"/>
              </a:cxn>
              <a:cxn ang="0">
                <a:pos x="connsiteX38237" y="connsiteY38237"/>
              </a:cxn>
              <a:cxn ang="0">
                <a:pos x="connsiteX38238" y="connsiteY38238"/>
              </a:cxn>
              <a:cxn ang="0">
                <a:pos x="connsiteX38239" y="connsiteY38239"/>
              </a:cxn>
              <a:cxn ang="0">
                <a:pos x="connsiteX38240" y="connsiteY38240"/>
              </a:cxn>
              <a:cxn ang="0">
                <a:pos x="connsiteX38241" y="connsiteY38241"/>
              </a:cxn>
              <a:cxn ang="0">
                <a:pos x="connsiteX38242" y="connsiteY38242"/>
              </a:cxn>
              <a:cxn ang="0">
                <a:pos x="connsiteX38243" y="connsiteY38243"/>
              </a:cxn>
              <a:cxn ang="0">
                <a:pos x="connsiteX38244" y="connsiteY38244"/>
              </a:cxn>
              <a:cxn ang="0">
                <a:pos x="connsiteX38245" y="connsiteY38245"/>
              </a:cxn>
              <a:cxn ang="0">
                <a:pos x="connsiteX38246" y="connsiteY38246"/>
              </a:cxn>
              <a:cxn ang="0">
                <a:pos x="connsiteX38247" y="connsiteY38247"/>
              </a:cxn>
              <a:cxn ang="0">
                <a:pos x="connsiteX38248" y="connsiteY38248"/>
              </a:cxn>
              <a:cxn ang="0">
                <a:pos x="connsiteX38249" y="connsiteY38249"/>
              </a:cxn>
              <a:cxn ang="0">
                <a:pos x="connsiteX38250" y="connsiteY38250"/>
              </a:cxn>
              <a:cxn ang="0">
                <a:pos x="connsiteX38251" y="connsiteY38251"/>
              </a:cxn>
              <a:cxn ang="0">
                <a:pos x="connsiteX38252" y="connsiteY38252"/>
              </a:cxn>
              <a:cxn ang="0">
                <a:pos x="connsiteX38253" y="connsiteY38253"/>
              </a:cxn>
              <a:cxn ang="0">
                <a:pos x="connsiteX38254" y="connsiteY38254"/>
              </a:cxn>
              <a:cxn ang="0">
                <a:pos x="connsiteX38255" y="connsiteY38255"/>
              </a:cxn>
              <a:cxn ang="0">
                <a:pos x="connsiteX38256" y="connsiteY38256"/>
              </a:cxn>
              <a:cxn ang="0">
                <a:pos x="connsiteX38257" y="connsiteY38257"/>
              </a:cxn>
              <a:cxn ang="0">
                <a:pos x="connsiteX38258" y="connsiteY38258"/>
              </a:cxn>
              <a:cxn ang="0">
                <a:pos x="connsiteX38259" y="connsiteY38259"/>
              </a:cxn>
              <a:cxn ang="0">
                <a:pos x="connsiteX38260" y="connsiteY38260"/>
              </a:cxn>
              <a:cxn ang="0">
                <a:pos x="connsiteX38261" y="connsiteY38261"/>
              </a:cxn>
              <a:cxn ang="0">
                <a:pos x="connsiteX38262" y="connsiteY38262"/>
              </a:cxn>
              <a:cxn ang="0">
                <a:pos x="connsiteX38263" y="connsiteY38263"/>
              </a:cxn>
              <a:cxn ang="0">
                <a:pos x="connsiteX38264" y="connsiteY38264"/>
              </a:cxn>
              <a:cxn ang="0">
                <a:pos x="connsiteX38265" y="connsiteY38265"/>
              </a:cxn>
              <a:cxn ang="0">
                <a:pos x="connsiteX38266" y="connsiteY38266"/>
              </a:cxn>
              <a:cxn ang="0">
                <a:pos x="connsiteX38267" y="connsiteY38267"/>
              </a:cxn>
              <a:cxn ang="0">
                <a:pos x="connsiteX38268" y="connsiteY38268"/>
              </a:cxn>
              <a:cxn ang="0">
                <a:pos x="connsiteX38269" y="connsiteY38269"/>
              </a:cxn>
              <a:cxn ang="0">
                <a:pos x="connsiteX38270" y="connsiteY38270"/>
              </a:cxn>
              <a:cxn ang="0">
                <a:pos x="connsiteX38271" y="connsiteY38271"/>
              </a:cxn>
              <a:cxn ang="0">
                <a:pos x="connsiteX38272" y="connsiteY38272"/>
              </a:cxn>
              <a:cxn ang="0">
                <a:pos x="connsiteX38273" y="connsiteY38273"/>
              </a:cxn>
              <a:cxn ang="0">
                <a:pos x="connsiteX38274" y="connsiteY38274"/>
              </a:cxn>
              <a:cxn ang="0">
                <a:pos x="connsiteX38275" y="connsiteY38275"/>
              </a:cxn>
              <a:cxn ang="0">
                <a:pos x="connsiteX38276" y="connsiteY38276"/>
              </a:cxn>
              <a:cxn ang="0">
                <a:pos x="connsiteX38277" y="connsiteY38277"/>
              </a:cxn>
              <a:cxn ang="0">
                <a:pos x="connsiteX38278" y="connsiteY38278"/>
              </a:cxn>
              <a:cxn ang="0">
                <a:pos x="connsiteX38279" y="connsiteY38279"/>
              </a:cxn>
              <a:cxn ang="0">
                <a:pos x="connsiteX38280" y="connsiteY38280"/>
              </a:cxn>
              <a:cxn ang="0">
                <a:pos x="connsiteX38281" y="connsiteY38281"/>
              </a:cxn>
              <a:cxn ang="0">
                <a:pos x="connsiteX38282" y="connsiteY38282"/>
              </a:cxn>
              <a:cxn ang="0">
                <a:pos x="connsiteX38283" y="connsiteY38283"/>
              </a:cxn>
              <a:cxn ang="0">
                <a:pos x="connsiteX38284" y="connsiteY38284"/>
              </a:cxn>
              <a:cxn ang="0">
                <a:pos x="connsiteX38285" y="connsiteY38285"/>
              </a:cxn>
              <a:cxn ang="0">
                <a:pos x="connsiteX38286" y="connsiteY38286"/>
              </a:cxn>
              <a:cxn ang="0">
                <a:pos x="connsiteX38287" y="connsiteY38287"/>
              </a:cxn>
              <a:cxn ang="0">
                <a:pos x="connsiteX38288" y="connsiteY38288"/>
              </a:cxn>
              <a:cxn ang="0">
                <a:pos x="connsiteX38289" y="connsiteY38289"/>
              </a:cxn>
              <a:cxn ang="0">
                <a:pos x="connsiteX38290" y="connsiteY38290"/>
              </a:cxn>
              <a:cxn ang="0">
                <a:pos x="connsiteX38291" y="connsiteY38291"/>
              </a:cxn>
              <a:cxn ang="0">
                <a:pos x="connsiteX38292" y="connsiteY38292"/>
              </a:cxn>
              <a:cxn ang="0">
                <a:pos x="connsiteX38293" y="connsiteY38293"/>
              </a:cxn>
              <a:cxn ang="0">
                <a:pos x="connsiteX38294" y="connsiteY38294"/>
              </a:cxn>
              <a:cxn ang="0">
                <a:pos x="connsiteX38295" y="connsiteY38295"/>
              </a:cxn>
              <a:cxn ang="0">
                <a:pos x="connsiteX38296" y="connsiteY38296"/>
              </a:cxn>
              <a:cxn ang="0">
                <a:pos x="connsiteX38297" y="connsiteY38297"/>
              </a:cxn>
              <a:cxn ang="0">
                <a:pos x="connsiteX38298" y="connsiteY38298"/>
              </a:cxn>
              <a:cxn ang="0">
                <a:pos x="connsiteX38299" y="connsiteY38299"/>
              </a:cxn>
              <a:cxn ang="0">
                <a:pos x="connsiteX38300" y="connsiteY38300"/>
              </a:cxn>
              <a:cxn ang="0">
                <a:pos x="connsiteX38301" y="connsiteY38301"/>
              </a:cxn>
              <a:cxn ang="0">
                <a:pos x="connsiteX38302" y="connsiteY38302"/>
              </a:cxn>
              <a:cxn ang="0">
                <a:pos x="connsiteX38303" y="connsiteY38303"/>
              </a:cxn>
              <a:cxn ang="0">
                <a:pos x="connsiteX38304" y="connsiteY38304"/>
              </a:cxn>
              <a:cxn ang="0">
                <a:pos x="connsiteX38305" y="connsiteY38305"/>
              </a:cxn>
              <a:cxn ang="0">
                <a:pos x="connsiteX38306" y="connsiteY38306"/>
              </a:cxn>
              <a:cxn ang="0">
                <a:pos x="connsiteX38307" y="connsiteY38307"/>
              </a:cxn>
              <a:cxn ang="0">
                <a:pos x="connsiteX38308" y="connsiteY38308"/>
              </a:cxn>
              <a:cxn ang="0">
                <a:pos x="connsiteX38309" y="connsiteY38309"/>
              </a:cxn>
              <a:cxn ang="0">
                <a:pos x="connsiteX38310" y="connsiteY38310"/>
              </a:cxn>
              <a:cxn ang="0">
                <a:pos x="connsiteX38311" y="connsiteY38311"/>
              </a:cxn>
              <a:cxn ang="0">
                <a:pos x="connsiteX38312" y="connsiteY38312"/>
              </a:cxn>
              <a:cxn ang="0">
                <a:pos x="connsiteX38313" y="connsiteY38313"/>
              </a:cxn>
              <a:cxn ang="0">
                <a:pos x="connsiteX38314" y="connsiteY38314"/>
              </a:cxn>
              <a:cxn ang="0">
                <a:pos x="connsiteX38315" y="connsiteY38315"/>
              </a:cxn>
              <a:cxn ang="0">
                <a:pos x="connsiteX38316" y="connsiteY38316"/>
              </a:cxn>
              <a:cxn ang="0">
                <a:pos x="connsiteX38317" y="connsiteY38317"/>
              </a:cxn>
              <a:cxn ang="0">
                <a:pos x="connsiteX38318" y="connsiteY38318"/>
              </a:cxn>
              <a:cxn ang="0">
                <a:pos x="connsiteX38319" y="connsiteY38319"/>
              </a:cxn>
              <a:cxn ang="0">
                <a:pos x="connsiteX38320" y="connsiteY38320"/>
              </a:cxn>
              <a:cxn ang="0">
                <a:pos x="connsiteX38321" y="connsiteY38321"/>
              </a:cxn>
              <a:cxn ang="0">
                <a:pos x="connsiteX38322" y="connsiteY38322"/>
              </a:cxn>
              <a:cxn ang="0">
                <a:pos x="connsiteX38323" y="connsiteY38323"/>
              </a:cxn>
              <a:cxn ang="0">
                <a:pos x="connsiteX38324" y="connsiteY38324"/>
              </a:cxn>
              <a:cxn ang="0">
                <a:pos x="connsiteX38325" y="connsiteY38325"/>
              </a:cxn>
              <a:cxn ang="0">
                <a:pos x="connsiteX38326" y="connsiteY38326"/>
              </a:cxn>
              <a:cxn ang="0">
                <a:pos x="connsiteX38327" y="connsiteY38327"/>
              </a:cxn>
              <a:cxn ang="0">
                <a:pos x="connsiteX38328" y="connsiteY38328"/>
              </a:cxn>
              <a:cxn ang="0">
                <a:pos x="connsiteX38329" y="connsiteY38329"/>
              </a:cxn>
              <a:cxn ang="0">
                <a:pos x="connsiteX38330" y="connsiteY38330"/>
              </a:cxn>
              <a:cxn ang="0">
                <a:pos x="connsiteX38331" y="connsiteY38331"/>
              </a:cxn>
              <a:cxn ang="0">
                <a:pos x="connsiteX38332" y="connsiteY38332"/>
              </a:cxn>
              <a:cxn ang="0">
                <a:pos x="connsiteX38333" y="connsiteY38333"/>
              </a:cxn>
              <a:cxn ang="0">
                <a:pos x="connsiteX38334" y="connsiteY38334"/>
              </a:cxn>
              <a:cxn ang="0">
                <a:pos x="connsiteX38335" y="connsiteY38335"/>
              </a:cxn>
              <a:cxn ang="0">
                <a:pos x="connsiteX38336" y="connsiteY38336"/>
              </a:cxn>
              <a:cxn ang="0">
                <a:pos x="connsiteX38337" y="connsiteY38337"/>
              </a:cxn>
              <a:cxn ang="0">
                <a:pos x="connsiteX38338" y="connsiteY38338"/>
              </a:cxn>
              <a:cxn ang="0">
                <a:pos x="connsiteX38339" y="connsiteY38339"/>
              </a:cxn>
              <a:cxn ang="0">
                <a:pos x="connsiteX38340" y="connsiteY38340"/>
              </a:cxn>
              <a:cxn ang="0">
                <a:pos x="connsiteX38341" y="connsiteY38341"/>
              </a:cxn>
              <a:cxn ang="0">
                <a:pos x="connsiteX38342" y="connsiteY38342"/>
              </a:cxn>
              <a:cxn ang="0">
                <a:pos x="connsiteX38343" y="connsiteY38343"/>
              </a:cxn>
              <a:cxn ang="0">
                <a:pos x="connsiteX38344" y="connsiteY38344"/>
              </a:cxn>
              <a:cxn ang="0">
                <a:pos x="connsiteX38345" y="connsiteY38345"/>
              </a:cxn>
              <a:cxn ang="0">
                <a:pos x="connsiteX38346" y="connsiteY38346"/>
              </a:cxn>
              <a:cxn ang="0">
                <a:pos x="connsiteX38347" y="connsiteY38347"/>
              </a:cxn>
              <a:cxn ang="0">
                <a:pos x="connsiteX38348" y="connsiteY38348"/>
              </a:cxn>
              <a:cxn ang="0">
                <a:pos x="connsiteX38349" y="connsiteY38349"/>
              </a:cxn>
              <a:cxn ang="0">
                <a:pos x="connsiteX38350" y="connsiteY38350"/>
              </a:cxn>
              <a:cxn ang="0">
                <a:pos x="connsiteX38351" y="connsiteY38351"/>
              </a:cxn>
              <a:cxn ang="0">
                <a:pos x="connsiteX38352" y="connsiteY38352"/>
              </a:cxn>
              <a:cxn ang="0">
                <a:pos x="connsiteX38353" y="connsiteY38353"/>
              </a:cxn>
              <a:cxn ang="0">
                <a:pos x="connsiteX38354" y="connsiteY38354"/>
              </a:cxn>
              <a:cxn ang="0">
                <a:pos x="connsiteX38355" y="connsiteY38355"/>
              </a:cxn>
              <a:cxn ang="0">
                <a:pos x="connsiteX38356" y="connsiteY38356"/>
              </a:cxn>
              <a:cxn ang="0">
                <a:pos x="connsiteX38357" y="connsiteY38357"/>
              </a:cxn>
              <a:cxn ang="0">
                <a:pos x="connsiteX38358" y="connsiteY38358"/>
              </a:cxn>
              <a:cxn ang="0">
                <a:pos x="connsiteX38359" y="connsiteY38359"/>
              </a:cxn>
              <a:cxn ang="0">
                <a:pos x="connsiteX38360" y="connsiteY38360"/>
              </a:cxn>
              <a:cxn ang="0">
                <a:pos x="connsiteX38361" y="connsiteY38361"/>
              </a:cxn>
              <a:cxn ang="0">
                <a:pos x="connsiteX38362" y="connsiteY38362"/>
              </a:cxn>
              <a:cxn ang="0">
                <a:pos x="connsiteX38363" y="connsiteY38363"/>
              </a:cxn>
              <a:cxn ang="0">
                <a:pos x="connsiteX38364" y="connsiteY38364"/>
              </a:cxn>
              <a:cxn ang="0">
                <a:pos x="connsiteX38365" y="connsiteY38365"/>
              </a:cxn>
              <a:cxn ang="0">
                <a:pos x="connsiteX38366" y="connsiteY38366"/>
              </a:cxn>
              <a:cxn ang="0">
                <a:pos x="connsiteX38367" y="connsiteY38367"/>
              </a:cxn>
              <a:cxn ang="0">
                <a:pos x="connsiteX38368" y="connsiteY38368"/>
              </a:cxn>
              <a:cxn ang="0">
                <a:pos x="connsiteX38369" y="connsiteY38369"/>
              </a:cxn>
              <a:cxn ang="0">
                <a:pos x="connsiteX38370" y="connsiteY38370"/>
              </a:cxn>
              <a:cxn ang="0">
                <a:pos x="connsiteX38371" y="connsiteY38371"/>
              </a:cxn>
              <a:cxn ang="0">
                <a:pos x="connsiteX38372" y="connsiteY38372"/>
              </a:cxn>
              <a:cxn ang="0">
                <a:pos x="connsiteX38373" y="connsiteY38373"/>
              </a:cxn>
              <a:cxn ang="0">
                <a:pos x="connsiteX38374" y="connsiteY38374"/>
              </a:cxn>
              <a:cxn ang="0">
                <a:pos x="connsiteX38375" y="connsiteY38375"/>
              </a:cxn>
              <a:cxn ang="0">
                <a:pos x="connsiteX38376" y="connsiteY38376"/>
              </a:cxn>
              <a:cxn ang="0">
                <a:pos x="connsiteX38377" y="connsiteY38377"/>
              </a:cxn>
              <a:cxn ang="0">
                <a:pos x="connsiteX38378" y="connsiteY38378"/>
              </a:cxn>
              <a:cxn ang="0">
                <a:pos x="connsiteX38379" y="connsiteY38379"/>
              </a:cxn>
              <a:cxn ang="0">
                <a:pos x="connsiteX38380" y="connsiteY38380"/>
              </a:cxn>
              <a:cxn ang="0">
                <a:pos x="connsiteX38381" y="connsiteY38381"/>
              </a:cxn>
              <a:cxn ang="0">
                <a:pos x="connsiteX38382" y="connsiteY38382"/>
              </a:cxn>
              <a:cxn ang="0">
                <a:pos x="connsiteX38383" y="connsiteY38383"/>
              </a:cxn>
              <a:cxn ang="0">
                <a:pos x="connsiteX38384" y="connsiteY38384"/>
              </a:cxn>
              <a:cxn ang="0">
                <a:pos x="connsiteX38385" y="connsiteY38385"/>
              </a:cxn>
              <a:cxn ang="0">
                <a:pos x="connsiteX38386" y="connsiteY38386"/>
              </a:cxn>
              <a:cxn ang="0">
                <a:pos x="connsiteX38387" y="connsiteY38387"/>
              </a:cxn>
              <a:cxn ang="0">
                <a:pos x="connsiteX38388" y="connsiteY38388"/>
              </a:cxn>
              <a:cxn ang="0">
                <a:pos x="connsiteX38389" y="connsiteY38389"/>
              </a:cxn>
              <a:cxn ang="0">
                <a:pos x="connsiteX38390" y="connsiteY38390"/>
              </a:cxn>
              <a:cxn ang="0">
                <a:pos x="connsiteX38391" y="connsiteY38391"/>
              </a:cxn>
              <a:cxn ang="0">
                <a:pos x="connsiteX38392" y="connsiteY38392"/>
              </a:cxn>
              <a:cxn ang="0">
                <a:pos x="connsiteX38393" y="connsiteY38393"/>
              </a:cxn>
              <a:cxn ang="0">
                <a:pos x="connsiteX38394" y="connsiteY38394"/>
              </a:cxn>
              <a:cxn ang="0">
                <a:pos x="connsiteX38395" y="connsiteY38395"/>
              </a:cxn>
              <a:cxn ang="0">
                <a:pos x="connsiteX38396" y="connsiteY38396"/>
              </a:cxn>
              <a:cxn ang="0">
                <a:pos x="connsiteX38397" y="connsiteY38397"/>
              </a:cxn>
              <a:cxn ang="0">
                <a:pos x="connsiteX38398" y="connsiteY38398"/>
              </a:cxn>
              <a:cxn ang="0">
                <a:pos x="connsiteX38399" y="connsiteY38399"/>
              </a:cxn>
              <a:cxn ang="0">
                <a:pos x="connsiteX38400" y="connsiteY38400"/>
              </a:cxn>
              <a:cxn ang="0">
                <a:pos x="connsiteX38401" y="connsiteY38401"/>
              </a:cxn>
              <a:cxn ang="0">
                <a:pos x="connsiteX38402" y="connsiteY38402"/>
              </a:cxn>
              <a:cxn ang="0">
                <a:pos x="connsiteX38403" y="connsiteY38403"/>
              </a:cxn>
              <a:cxn ang="0">
                <a:pos x="connsiteX38404" y="connsiteY38404"/>
              </a:cxn>
              <a:cxn ang="0">
                <a:pos x="connsiteX38405" y="connsiteY38405"/>
              </a:cxn>
              <a:cxn ang="0">
                <a:pos x="connsiteX38406" y="connsiteY38406"/>
              </a:cxn>
              <a:cxn ang="0">
                <a:pos x="connsiteX38407" y="connsiteY38407"/>
              </a:cxn>
              <a:cxn ang="0">
                <a:pos x="connsiteX38408" y="connsiteY38408"/>
              </a:cxn>
              <a:cxn ang="0">
                <a:pos x="connsiteX38409" y="connsiteY38409"/>
              </a:cxn>
              <a:cxn ang="0">
                <a:pos x="connsiteX38410" y="connsiteY38410"/>
              </a:cxn>
              <a:cxn ang="0">
                <a:pos x="connsiteX38411" y="connsiteY38411"/>
              </a:cxn>
              <a:cxn ang="0">
                <a:pos x="connsiteX38412" y="connsiteY38412"/>
              </a:cxn>
              <a:cxn ang="0">
                <a:pos x="connsiteX38413" y="connsiteY38413"/>
              </a:cxn>
              <a:cxn ang="0">
                <a:pos x="connsiteX38414" y="connsiteY38414"/>
              </a:cxn>
              <a:cxn ang="0">
                <a:pos x="connsiteX38415" y="connsiteY38415"/>
              </a:cxn>
              <a:cxn ang="0">
                <a:pos x="connsiteX38416" y="connsiteY38416"/>
              </a:cxn>
              <a:cxn ang="0">
                <a:pos x="connsiteX38417" y="connsiteY38417"/>
              </a:cxn>
              <a:cxn ang="0">
                <a:pos x="connsiteX38418" y="connsiteY38418"/>
              </a:cxn>
              <a:cxn ang="0">
                <a:pos x="connsiteX38419" y="connsiteY38419"/>
              </a:cxn>
              <a:cxn ang="0">
                <a:pos x="connsiteX38420" y="connsiteY38420"/>
              </a:cxn>
              <a:cxn ang="0">
                <a:pos x="connsiteX38421" y="connsiteY38421"/>
              </a:cxn>
              <a:cxn ang="0">
                <a:pos x="connsiteX38422" y="connsiteY38422"/>
              </a:cxn>
              <a:cxn ang="0">
                <a:pos x="connsiteX38423" y="connsiteY38423"/>
              </a:cxn>
              <a:cxn ang="0">
                <a:pos x="connsiteX38424" y="connsiteY38424"/>
              </a:cxn>
              <a:cxn ang="0">
                <a:pos x="connsiteX38425" y="connsiteY38425"/>
              </a:cxn>
              <a:cxn ang="0">
                <a:pos x="connsiteX38426" y="connsiteY38426"/>
              </a:cxn>
              <a:cxn ang="0">
                <a:pos x="connsiteX38427" y="connsiteY38427"/>
              </a:cxn>
              <a:cxn ang="0">
                <a:pos x="connsiteX38428" y="connsiteY38428"/>
              </a:cxn>
              <a:cxn ang="0">
                <a:pos x="connsiteX38429" y="connsiteY38429"/>
              </a:cxn>
              <a:cxn ang="0">
                <a:pos x="connsiteX38430" y="connsiteY38430"/>
              </a:cxn>
              <a:cxn ang="0">
                <a:pos x="connsiteX38431" y="connsiteY38431"/>
              </a:cxn>
              <a:cxn ang="0">
                <a:pos x="connsiteX38432" y="connsiteY38432"/>
              </a:cxn>
              <a:cxn ang="0">
                <a:pos x="connsiteX38433" y="connsiteY38433"/>
              </a:cxn>
              <a:cxn ang="0">
                <a:pos x="connsiteX38434" y="connsiteY38434"/>
              </a:cxn>
              <a:cxn ang="0">
                <a:pos x="connsiteX38435" y="connsiteY38435"/>
              </a:cxn>
              <a:cxn ang="0">
                <a:pos x="connsiteX38436" y="connsiteY38436"/>
              </a:cxn>
              <a:cxn ang="0">
                <a:pos x="connsiteX38437" y="connsiteY38437"/>
              </a:cxn>
              <a:cxn ang="0">
                <a:pos x="connsiteX38438" y="connsiteY38438"/>
              </a:cxn>
              <a:cxn ang="0">
                <a:pos x="connsiteX38439" y="connsiteY38439"/>
              </a:cxn>
              <a:cxn ang="0">
                <a:pos x="connsiteX38440" y="connsiteY38440"/>
              </a:cxn>
              <a:cxn ang="0">
                <a:pos x="connsiteX38441" y="connsiteY38441"/>
              </a:cxn>
              <a:cxn ang="0">
                <a:pos x="connsiteX38442" y="connsiteY38442"/>
              </a:cxn>
              <a:cxn ang="0">
                <a:pos x="connsiteX38443" y="connsiteY38443"/>
              </a:cxn>
              <a:cxn ang="0">
                <a:pos x="connsiteX38444" y="connsiteY38444"/>
              </a:cxn>
              <a:cxn ang="0">
                <a:pos x="connsiteX38445" y="connsiteY38445"/>
              </a:cxn>
              <a:cxn ang="0">
                <a:pos x="connsiteX38446" y="connsiteY38446"/>
              </a:cxn>
              <a:cxn ang="0">
                <a:pos x="connsiteX38447" y="connsiteY38447"/>
              </a:cxn>
              <a:cxn ang="0">
                <a:pos x="connsiteX38448" y="connsiteY38448"/>
              </a:cxn>
              <a:cxn ang="0">
                <a:pos x="connsiteX38449" y="connsiteY38449"/>
              </a:cxn>
              <a:cxn ang="0">
                <a:pos x="connsiteX38450" y="connsiteY38450"/>
              </a:cxn>
              <a:cxn ang="0">
                <a:pos x="connsiteX38451" y="connsiteY38451"/>
              </a:cxn>
              <a:cxn ang="0">
                <a:pos x="connsiteX38452" y="connsiteY38452"/>
              </a:cxn>
              <a:cxn ang="0">
                <a:pos x="connsiteX38453" y="connsiteY38453"/>
              </a:cxn>
              <a:cxn ang="0">
                <a:pos x="connsiteX38454" y="connsiteY38454"/>
              </a:cxn>
              <a:cxn ang="0">
                <a:pos x="connsiteX38455" y="connsiteY38455"/>
              </a:cxn>
              <a:cxn ang="0">
                <a:pos x="connsiteX38456" y="connsiteY38456"/>
              </a:cxn>
              <a:cxn ang="0">
                <a:pos x="connsiteX38457" y="connsiteY38457"/>
              </a:cxn>
              <a:cxn ang="0">
                <a:pos x="connsiteX38458" y="connsiteY38458"/>
              </a:cxn>
              <a:cxn ang="0">
                <a:pos x="connsiteX38459" y="connsiteY38459"/>
              </a:cxn>
              <a:cxn ang="0">
                <a:pos x="connsiteX38460" y="connsiteY38460"/>
              </a:cxn>
              <a:cxn ang="0">
                <a:pos x="connsiteX38461" y="connsiteY38461"/>
              </a:cxn>
              <a:cxn ang="0">
                <a:pos x="connsiteX38462" y="connsiteY38462"/>
              </a:cxn>
              <a:cxn ang="0">
                <a:pos x="connsiteX38463" y="connsiteY38463"/>
              </a:cxn>
              <a:cxn ang="0">
                <a:pos x="connsiteX38464" y="connsiteY38464"/>
              </a:cxn>
              <a:cxn ang="0">
                <a:pos x="connsiteX38465" y="connsiteY38465"/>
              </a:cxn>
              <a:cxn ang="0">
                <a:pos x="connsiteX38466" y="connsiteY38466"/>
              </a:cxn>
              <a:cxn ang="0">
                <a:pos x="connsiteX38467" y="connsiteY38467"/>
              </a:cxn>
              <a:cxn ang="0">
                <a:pos x="connsiteX38468" y="connsiteY38468"/>
              </a:cxn>
              <a:cxn ang="0">
                <a:pos x="connsiteX38469" y="connsiteY38469"/>
              </a:cxn>
              <a:cxn ang="0">
                <a:pos x="connsiteX38470" y="connsiteY38470"/>
              </a:cxn>
              <a:cxn ang="0">
                <a:pos x="connsiteX38471" y="connsiteY38471"/>
              </a:cxn>
              <a:cxn ang="0">
                <a:pos x="connsiteX38472" y="connsiteY38472"/>
              </a:cxn>
              <a:cxn ang="0">
                <a:pos x="connsiteX38473" y="connsiteY38473"/>
              </a:cxn>
              <a:cxn ang="0">
                <a:pos x="connsiteX38474" y="connsiteY38474"/>
              </a:cxn>
              <a:cxn ang="0">
                <a:pos x="connsiteX38475" y="connsiteY38475"/>
              </a:cxn>
              <a:cxn ang="0">
                <a:pos x="connsiteX38476" y="connsiteY38476"/>
              </a:cxn>
              <a:cxn ang="0">
                <a:pos x="connsiteX38477" y="connsiteY38477"/>
              </a:cxn>
              <a:cxn ang="0">
                <a:pos x="connsiteX38478" y="connsiteY38478"/>
              </a:cxn>
              <a:cxn ang="0">
                <a:pos x="connsiteX38479" y="connsiteY38479"/>
              </a:cxn>
              <a:cxn ang="0">
                <a:pos x="connsiteX38480" y="connsiteY38480"/>
              </a:cxn>
              <a:cxn ang="0">
                <a:pos x="connsiteX38481" y="connsiteY38481"/>
              </a:cxn>
              <a:cxn ang="0">
                <a:pos x="connsiteX38482" y="connsiteY38482"/>
              </a:cxn>
              <a:cxn ang="0">
                <a:pos x="connsiteX38483" y="connsiteY38483"/>
              </a:cxn>
              <a:cxn ang="0">
                <a:pos x="connsiteX38484" y="connsiteY38484"/>
              </a:cxn>
              <a:cxn ang="0">
                <a:pos x="connsiteX38485" y="connsiteY38485"/>
              </a:cxn>
              <a:cxn ang="0">
                <a:pos x="connsiteX38486" y="connsiteY38486"/>
              </a:cxn>
              <a:cxn ang="0">
                <a:pos x="connsiteX38487" y="connsiteY38487"/>
              </a:cxn>
              <a:cxn ang="0">
                <a:pos x="connsiteX38488" y="connsiteY38488"/>
              </a:cxn>
              <a:cxn ang="0">
                <a:pos x="connsiteX38489" y="connsiteY38489"/>
              </a:cxn>
              <a:cxn ang="0">
                <a:pos x="connsiteX38490" y="connsiteY38490"/>
              </a:cxn>
              <a:cxn ang="0">
                <a:pos x="connsiteX38491" y="connsiteY38491"/>
              </a:cxn>
              <a:cxn ang="0">
                <a:pos x="connsiteX38492" y="connsiteY38492"/>
              </a:cxn>
              <a:cxn ang="0">
                <a:pos x="connsiteX38493" y="connsiteY38493"/>
              </a:cxn>
              <a:cxn ang="0">
                <a:pos x="connsiteX38494" y="connsiteY38494"/>
              </a:cxn>
              <a:cxn ang="0">
                <a:pos x="connsiteX38495" y="connsiteY38495"/>
              </a:cxn>
              <a:cxn ang="0">
                <a:pos x="connsiteX38496" y="connsiteY38496"/>
              </a:cxn>
              <a:cxn ang="0">
                <a:pos x="connsiteX38497" y="connsiteY38497"/>
              </a:cxn>
              <a:cxn ang="0">
                <a:pos x="connsiteX38498" y="connsiteY38498"/>
              </a:cxn>
              <a:cxn ang="0">
                <a:pos x="connsiteX38499" y="connsiteY38499"/>
              </a:cxn>
              <a:cxn ang="0">
                <a:pos x="connsiteX38500" y="connsiteY38500"/>
              </a:cxn>
              <a:cxn ang="0">
                <a:pos x="connsiteX38501" y="connsiteY38501"/>
              </a:cxn>
              <a:cxn ang="0">
                <a:pos x="connsiteX38502" y="connsiteY38502"/>
              </a:cxn>
              <a:cxn ang="0">
                <a:pos x="connsiteX38503" y="connsiteY38503"/>
              </a:cxn>
              <a:cxn ang="0">
                <a:pos x="connsiteX38504" y="connsiteY38504"/>
              </a:cxn>
              <a:cxn ang="0">
                <a:pos x="connsiteX38505" y="connsiteY38505"/>
              </a:cxn>
              <a:cxn ang="0">
                <a:pos x="connsiteX38506" y="connsiteY38506"/>
              </a:cxn>
              <a:cxn ang="0">
                <a:pos x="connsiteX38507" y="connsiteY38507"/>
              </a:cxn>
              <a:cxn ang="0">
                <a:pos x="connsiteX38508" y="connsiteY38508"/>
              </a:cxn>
              <a:cxn ang="0">
                <a:pos x="connsiteX38509" y="connsiteY38509"/>
              </a:cxn>
              <a:cxn ang="0">
                <a:pos x="connsiteX38510" y="connsiteY38510"/>
              </a:cxn>
              <a:cxn ang="0">
                <a:pos x="connsiteX38511" y="connsiteY38511"/>
              </a:cxn>
              <a:cxn ang="0">
                <a:pos x="connsiteX38512" y="connsiteY38512"/>
              </a:cxn>
              <a:cxn ang="0">
                <a:pos x="connsiteX38513" y="connsiteY38513"/>
              </a:cxn>
              <a:cxn ang="0">
                <a:pos x="connsiteX38514" y="connsiteY38514"/>
              </a:cxn>
              <a:cxn ang="0">
                <a:pos x="connsiteX38515" y="connsiteY38515"/>
              </a:cxn>
              <a:cxn ang="0">
                <a:pos x="connsiteX38516" y="connsiteY38516"/>
              </a:cxn>
              <a:cxn ang="0">
                <a:pos x="connsiteX38517" y="connsiteY38517"/>
              </a:cxn>
              <a:cxn ang="0">
                <a:pos x="connsiteX38518" y="connsiteY38518"/>
              </a:cxn>
              <a:cxn ang="0">
                <a:pos x="connsiteX38519" y="connsiteY38519"/>
              </a:cxn>
              <a:cxn ang="0">
                <a:pos x="connsiteX38520" y="connsiteY38520"/>
              </a:cxn>
              <a:cxn ang="0">
                <a:pos x="connsiteX38521" y="connsiteY38521"/>
              </a:cxn>
              <a:cxn ang="0">
                <a:pos x="connsiteX38522" y="connsiteY38522"/>
              </a:cxn>
              <a:cxn ang="0">
                <a:pos x="connsiteX38523" y="connsiteY38523"/>
              </a:cxn>
              <a:cxn ang="0">
                <a:pos x="connsiteX38524" y="connsiteY38524"/>
              </a:cxn>
              <a:cxn ang="0">
                <a:pos x="connsiteX38525" y="connsiteY38525"/>
              </a:cxn>
              <a:cxn ang="0">
                <a:pos x="connsiteX38526" y="connsiteY38526"/>
              </a:cxn>
              <a:cxn ang="0">
                <a:pos x="connsiteX38527" y="connsiteY38527"/>
              </a:cxn>
              <a:cxn ang="0">
                <a:pos x="connsiteX38528" y="connsiteY38528"/>
              </a:cxn>
              <a:cxn ang="0">
                <a:pos x="connsiteX38529" y="connsiteY38529"/>
              </a:cxn>
              <a:cxn ang="0">
                <a:pos x="connsiteX38530" y="connsiteY38530"/>
              </a:cxn>
              <a:cxn ang="0">
                <a:pos x="connsiteX38531" y="connsiteY38531"/>
              </a:cxn>
              <a:cxn ang="0">
                <a:pos x="connsiteX38532" y="connsiteY38532"/>
              </a:cxn>
              <a:cxn ang="0">
                <a:pos x="connsiteX38533" y="connsiteY38533"/>
              </a:cxn>
              <a:cxn ang="0">
                <a:pos x="connsiteX38534" y="connsiteY38534"/>
              </a:cxn>
              <a:cxn ang="0">
                <a:pos x="connsiteX38535" y="connsiteY38535"/>
              </a:cxn>
              <a:cxn ang="0">
                <a:pos x="connsiteX38536" y="connsiteY38536"/>
              </a:cxn>
              <a:cxn ang="0">
                <a:pos x="connsiteX38537" y="connsiteY38537"/>
              </a:cxn>
              <a:cxn ang="0">
                <a:pos x="connsiteX38538" y="connsiteY38538"/>
              </a:cxn>
              <a:cxn ang="0">
                <a:pos x="connsiteX38539" y="connsiteY38539"/>
              </a:cxn>
              <a:cxn ang="0">
                <a:pos x="connsiteX38540" y="connsiteY38540"/>
              </a:cxn>
              <a:cxn ang="0">
                <a:pos x="connsiteX38541" y="connsiteY38541"/>
              </a:cxn>
              <a:cxn ang="0">
                <a:pos x="connsiteX38542" y="connsiteY38542"/>
              </a:cxn>
              <a:cxn ang="0">
                <a:pos x="connsiteX38543" y="connsiteY38543"/>
              </a:cxn>
              <a:cxn ang="0">
                <a:pos x="connsiteX38544" y="connsiteY38544"/>
              </a:cxn>
              <a:cxn ang="0">
                <a:pos x="connsiteX38545" y="connsiteY38545"/>
              </a:cxn>
              <a:cxn ang="0">
                <a:pos x="connsiteX38546" y="connsiteY38546"/>
              </a:cxn>
              <a:cxn ang="0">
                <a:pos x="connsiteX38547" y="connsiteY38547"/>
              </a:cxn>
              <a:cxn ang="0">
                <a:pos x="connsiteX38548" y="connsiteY38548"/>
              </a:cxn>
              <a:cxn ang="0">
                <a:pos x="connsiteX38549" y="connsiteY38549"/>
              </a:cxn>
              <a:cxn ang="0">
                <a:pos x="connsiteX38550" y="connsiteY38550"/>
              </a:cxn>
              <a:cxn ang="0">
                <a:pos x="connsiteX38551" y="connsiteY38551"/>
              </a:cxn>
              <a:cxn ang="0">
                <a:pos x="connsiteX38552" y="connsiteY38552"/>
              </a:cxn>
              <a:cxn ang="0">
                <a:pos x="connsiteX38553" y="connsiteY38553"/>
              </a:cxn>
              <a:cxn ang="0">
                <a:pos x="connsiteX38554" y="connsiteY38554"/>
              </a:cxn>
              <a:cxn ang="0">
                <a:pos x="connsiteX38555" y="connsiteY38555"/>
              </a:cxn>
              <a:cxn ang="0">
                <a:pos x="connsiteX38556" y="connsiteY38556"/>
              </a:cxn>
              <a:cxn ang="0">
                <a:pos x="connsiteX38557" y="connsiteY38557"/>
              </a:cxn>
              <a:cxn ang="0">
                <a:pos x="connsiteX38558" y="connsiteY38558"/>
              </a:cxn>
              <a:cxn ang="0">
                <a:pos x="connsiteX38559" y="connsiteY38559"/>
              </a:cxn>
              <a:cxn ang="0">
                <a:pos x="connsiteX38560" y="connsiteY38560"/>
              </a:cxn>
              <a:cxn ang="0">
                <a:pos x="connsiteX38561" y="connsiteY38561"/>
              </a:cxn>
              <a:cxn ang="0">
                <a:pos x="connsiteX38562" y="connsiteY38562"/>
              </a:cxn>
              <a:cxn ang="0">
                <a:pos x="connsiteX38563" y="connsiteY38563"/>
              </a:cxn>
              <a:cxn ang="0">
                <a:pos x="connsiteX38564" y="connsiteY38564"/>
              </a:cxn>
              <a:cxn ang="0">
                <a:pos x="connsiteX38565" y="connsiteY38565"/>
              </a:cxn>
              <a:cxn ang="0">
                <a:pos x="connsiteX38566" y="connsiteY38566"/>
              </a:cxn>
              <a:cxn ang="0">
                <a:pos x="connsiteX38567" y="connsiteY38567"/>
              </a:cxn>
              <a:cxn ang="0">
                <a:pos x="connsiteX38568" y="connsiteY38568"/>
              </a:cxn>
              <a:cxn ang="0">
                <a:pos x="connsiteX38569" y="connsiteY38569"/>
              </a:cxn>
              <a:cxn ang="0">
                <a:pos x="connsiteX38570" y="connsiteY38570"/>
              </a:cxn>
              <a:cxn ang="0">
                <a:pos x="connsiteX38571" y="connsiteY38571"/>
              </a:cxn>
              <a:cxn ang="0">
                <a:pos x="connsiteX38572" y="connsiteY38572"/>
              </a:cxn>
              <a:cxn ang="0">
                <a:pos x="connsiteX38573" y="connsiteY38573"/>
              </a:cxn>
              <a:cxn ang="0">
                <a:pos x="connsiteX38574" y="connsiteY38574"/>
              </a:cxn>
              <a:cxn ang="0">
                <a:pos x="connsiteX38575" y="connsiteY38575"/>
              </a:cxn>
              <a:cxn ang="0">
                <a:pos x="connsiteX38576" y="connsiteY38576"/>
              </a:cxn>
              <a:cxn ang="0">
                <a:pos x="connsiteX38577" y="connsiteY38577"/>
              </a:cxn>
              <a:cxn ang="0">
                <a:pos x="connsiteX38578" y="connsiteY38578"/>
              </a:cxn>
              <a:cxn ang="0">
                <a:pos x="connsiteX38579" y="connsiteY38579"/>
              </a:cxn>
              <a:cxn ang="0">
                <a:pos x="connsiteX38580" y="connsiteY38580"/>
              </a:cxn>
              <a:cxn ang="0">
                <a:pos x="connsiteX38581" y="connsiteY38581"/>
              </a:cxn>
              <a:cxn ang="0">
                <a:pos x="connsiteX38582" y="connsiteY38582"/>
              </a:cxn>
              <a:cxn ang="0">
                <a:pos x="connsiteX38583" y="connsiteY38583"/>
              </a:cxn>
              <a:cxn ang="0">
                <a:pos x="connsiteX38584" y="connsiteY38584"/>
              </a:cxn>
              <a:cxn ang="0">
                <a:pos x="connsiteX38585" y="connsiteY38585"/>
              </a:cxn>
              <a:cxn ang="0">
                <a:pos x="connsiteX38586" y="connsiteY38586"/>
              </a:cxn>
              <a:cxn ang="0">
                <a:pos x="connsiteX38587" y="connsiteY38587"/>
              </a:cxn>
              <a:cxn ang="0">
                <a:pos x="connsiteX38588" y="connsiteY38588"/>
              </a:cxn>
              <a:cxn ang="0">
                <a:pos x="connsiteX38589" y="connsiteY38589"/>
              </a:cxn>
              <a:cxn ang="0">
                <a:pos x="connsiteX38590" y="connsiteY38590"/>
              </a:cxn>
              <a:cxn ang="0">
                <a:pos x="connsiteX38591" y="connsiteY38591"/>
              </a:cxn>
              <a:cxn ang="0">
                <a:pos x="connsiteX38592" y="connsiteY38592"/>
              </a:cxn>
              <a:cxn ang="0">
                <a:pos x="connsiteX38593" y="connsiteY38593"/>
              </a:cxn>
              <a:cxn ang="0">
                <a:pos x="connsiteX38594" y="connsiteY38594"/>
              </a:cxn>
              <a:cxn ang="0">
                <a:pos x="connsiteX38595" y="connsiteY38595"/>
              </a:cxn>
              <a:cxn ang="0">
                <a:pos x="connsiteX38596" y="connsiteY38596"/>
              </a:cxn>
              <a:cxn ang="0">
                <a:pos x="connsiteX38597" y="connsiteY38597"/>
              </a:cxn>
              <a:cxn ang="0">
                <a:pos x="connsiteX38598" y="connsiteY38598"/>
              </a:cxn>
              <a:cxn ang="0">
                <a:pos x="connsiteX38599" y="connsiteY38599"/>
              </a:cxn>
              <a:cxn ang="0">
                <a:pos x="connsiteX38600" y="connsiteY38600"/>
              </a:cxn>
              <a:cxn ang="0">
                <a:pos x="connsiteX38601" y="connsiteY38601"/>
              </a:cxn>
              <a:cxn ang="0">
                <a:pos x="connsiteX38602" y="connsiteY38602"/>
              </a:cxn>
              <a:cxn ang="0">
                <a:pos x="connsiteX38603" y="connsiteY38603"/>
              </a:cxn>
              <a:cxn ang="0">
                <a:pos x="connsiteX38604" y="connsiteY38604"/>
              </a:cxn>
              <a:cxn ang="0">
                <a:pos x="connsiteX38605" y="connsiteY38605"/>
              </a:cxn>
              <a:cxn ang="0">
                <a:pos x="connsiteX38606" y="connsiteY38606"/>
              </a:cxn>
              <a:cxn ang="0">
                <a:pos x="connsiteX38607" y="connsiteY38607"/>
              </a:cxn>
              <a:cxn ang="0">
                <a:pos x="connsiteX38608" y="connsiteY38608"/>
              </a:cxn>
              <a:cxn ang="0">
                <a:pos x="connsiteX38609" y="connsiteY38609"/>
              </a:cxn>
              <a:cxn ang="0">
                <a:pos x="connsiteX38610" y="connsiteY38610"/>
              </a:cxn>
              <a:cxn ang="0">
                <a:pos x="connsiteX38611" y="connsiteY38611"/>
              </a:cxn>
              <a:cxn ang="0">
                <a:pos x="connsiteX38612" y="connsiteY38612"/>
              </a:cxn>
              <a:cxn ang="0">
                <a:pos x="connsiteX38613" y="connsiteY38613"/>
              </a:cxn>
              <a:cxn ang="0">
                <a:pos x="connsiteX38614" y="connsiteY38614"/>
              </a:cxn>
              <a:cxn ang="0">
                <a:pos x="connsiteX38615" y="connsiteY38615"/>
              </a:cxn>
              <a:cxn ang="0">
                <a:pos x="connsiteX38616" y="connsiteY38616"/>
              </a:cxn>
              <a:cxn ang="0">
                <a:pos x="connsiteX38617" y="connsiteY38617"/>
              </a:cxn>
              <a:cxn ang="0">
                <a:pos x="connsiteX38618" y="connsiteY38618"/>
              </a:cxn>
              <a:cxn ang="0">
                <a:pos x="connsiteX38619" y="connsiteY38619"/>
              </a:cxn>
              <a:cxn ang="0">
                <a:pos x="connsiteX38620" y="connsiteY38620"/>
              </a:cxn>
              <a:cxn ang="0">
                <a:pos x="connsiteX38621" y="connsiteY38621"/>
              </a:cxn>
              <a:cxn ang="0">
                <a:pos x="connsiteX38622" y="connsiteY38622"/>
              </a:cxn>
              <a:cxn ang="0">
                <a:pos x="connsiteX38623" y="connsiteY38623"/>
              </a:cxn>
              <a:cxn ang="0">
                <a:pos x="connsiteX38624" y="connsiteY38624"/>
              </a:cxn>
              <a:cxn ang="0">
                <a:pos x="connsiteX38625" y="connsiteY38625"/>
              </a:cxn>
              <a:cxn ang="0">
                <a:pos x="connsiteX38626" y="connsiteY38626"/>
              </a:cxn>
              <a:cxn ang="0">
                <a:pos x="connsiteX38627" y="connsiteY38627"/>
              </a:cxn>
              <a:cxn ang="0">
                <a:pos x="connsiteX38628" y="connsiteY38628"/>
              </a:cxn>
              <a:cxn ang="0">
                <a:pos x="connsiteX38629" y="connsiteY38629"/>
              </a:cxn>
              <a:cxn ang="0">
                <a:pos x="connsiteX38630" y="connsiteY38630"/>
              </a:cxn>
              <a:cxn ang="0">
                <a:pos x="connsiteX38631" y="connsiteY38631"/>
              </a:cxn>
              <a:cxn ang="0">
                <a:pos x="connsiteX38632" y="connsiteY38632"/>
              </a:cxn>
              <a:cxn ang="0">
                <a:pos x="connsiteX38633" y="connsiteY38633"/>
              </a:cxn>
              <a:cxn ang="0">
                <a:pos x="connsiteX38634" y="connsiteY38634"/>
              </a:cxn>
              <a:cxn ang="0">
                <a:pos x="connsiteX38635" y="connsiteY38635"/>
              </a:cxn>
              <a:cxn ang="0">
                <a:pos x="connsiteX38636" y="connsiteY38636"/>
              </a:cxn>
              <a:cxn ang="0">
                <a:pos x="connsiteX38637" y="connsiteY38637"/>
              </a:cxn>
              <a:cxn ang="0">
                <a:pos x="connsiteX38638" y="connsiteY38638"/>
              </a:cxn>
              <a:cxn ang="0">
                <a:pos x="connsiteX38639" y="connsiteY38639"/>
              </a:cxn>
              <a:cxn ang="0">
                <a:pos x="connsiteX38640" y="connsiteY38640"/>
              </a:cxn>
              <a:cxn ang="0">
                <a:pos x="connsiteX38641" y="connsiteY38641"/>
              </a:cxn>
              <a:cxn ang="0">
                <a:pos x="connsiteX38642" y="connsiteY38642"/>
              </a:cxn>
              <a:cxn ang="0">
                <a:pos x="connsiteX38643" y="connsiteY38643"/>
              </a:cxn>
              <a:cxn ang="0">
                <a:pos x="connsiteX38644" y="connsiteY38644"/>
              </a:cxn>
              <a:cxn ang="0">
                <a:pos x="connsiteX38645" y="connsiteY38645"/>
              </a:cxn>
              <a:cxn ang="0">
                <a:pos x="connsiteX38646" y="connsiteY38646"/>
              </a:cxn>
              <a:cxn ang="0">
                <a:pos x="connsiteX38647" y="connsiteY38647"/>
              </a:cxn>
              <a:cxn ang="0">
                <a:pos x="connsiteX38648" y="connsiteY38648"/>
              </a:cxn>
              <a:cxn ang="0">
                <a:pos x="connsiteX38649" y="connsiteY38649"/>
              </a:cxn>
              <a:cxn ang="0">
                <a:pos x="connsiteX38650" y="connsiteY38650"/>
              </a:cxn>
              <a:cxn ang="0">
                <a:pos x="connsiteX38651" y="connsiteY38651"/>
              </a:cxn>
              <a:cxn ang="0">
                <a:pos x="connsiteX38652" y="connsiteY38652"/>
              </a:cxn>
              <a:cxn ang="0">
                <a:pos x="connsiteX38653" y="connsiteY38653"/>
              </a:cxn>
              <a:cxn ang="0">
                <a:pos x="connsiteX38654" y="connsiteY38654"/>
              </a:cxn>
              <a:cxn ang="0">
                <a:pos x="connsiteX38655" y="connsiteY38655"/>
              </a:cxn>
              <a:cxn ang="0">
                <a:pos x="connsiteX38656" y="connsiteY38656"/>
              </a:cxn>
              <a:cxn ang="0">
                <a:pos x="connsiteX38657" y="connsiteY38657"/>
              </a:cxn>
              <a:cxn ang="0">
                <a:pos x="connsiteX38658" y="connsiteY38658"/>
              </a:cxn>
              <a:cxn ang="0">
                <a:pos x="connsiteX38659" y="connsiteY38659"/>
              </a:cxn>
              <a:cxn ang="0">
                <a:pos x="connsiteX38660" y="connsiteY38660"/>
              </a:cxn>
              <a:cxn ang="0">
                <a:pos x="connsiteX38661" y="connsiteY38661"/>
              </a:cxn>
              <a:cxn ang="0">
                <a:pos x="connsiteX38662" y="connsiteY38662"/>
              </a:cxn>
              <a:cxn ang="0">
                <a:pos x="connsiteX38663" y="connsiteY38663"/>
              </a:cxn>
              <a:cxn ang="0">
                <a:pos x="connsiteX38664" y="connsiteY38664"/>
              </a:cxn>
              <a:cxn ang="0">
                <a:pos x="connsiteX38665" y="connsiteY38665"/>
              </a:cxn>
              <a:cxn ang="0">
                <a:pos x="connsiteX38666" y="connsiteY38666"/>
              </a:cxn>
              <a:cxn ang="0">
                <a:pos x="connsiteX38667" y="connsiteY38667"/>
              </a:cxn>
              <a:cxn ang="0">
                <a:pos x="connsiteX38668" y="connsiteY38668"/>
              </a:cxn>
              <a:cxn ang="0">
                <a:pos x="connsiteX38669" y="connsiteY38669"/>
              </a:cxn>
              <a:cxn ang="0">
                <a:pos x="connsiteX38670" y="connsiteY38670"/>
              </a:cxn>
              <a:cxn ang="0">
                <a:pos x="connsiteX38671" y="connsiteY38671"/>
              </a:cxn>
              <a:cxn ang="0">
                <a:pos x="connsiteX38672" y="connsiteY38672"/>
              </a:cxn>
              <a:cxn ang="0">
                <a:pos x="connsiteX38673" y="connsiteY38673"/>
              </a:cxn>
              <a:cxn ang="0">
                <a:pos x="connsiteX38674" y="connsiteY38674"/>
              </a:cxn>
              <a:cxn ang="0">
                <a:pos x="connsiteX38675" y="connsiteY38675"/>
              </a:cxn>
              <a:cxn ang="0">
                <a:pos x="connsiteX38676" y="connsiteY38676"/>
              </a:cxn>
              <a:cxn ang="0">
                <a:pos x="connsiteX38677" y="connsiteY38677"/>
              </a:cxn>
              <a:cxn ang="0">
                <a:pos x="connsiteX38678" y="connsiteY38678"/>
              </a:cxn>
              <a:cxn ang="0">
                <a:pos x="connsiteX38679" y="connsiteY38679"/>
              </a:cxn>
              <a:cxn ang="0">
                <a:pos x="connsiteX38680" y="connsiteY38680"/>
              </a:cxn>
              <a:cxn ang="0">
                <a:pos x="connsiteX38681" y="connsiteY38681"/>
              </a:cxn>
              <a:cxn ang="0">
                <a:pos x="connsiteX38682" y="connsiteY38682"/>
              </a:cxn>
              <a:cxn ang="0">
                <a:pos x="connsiteX38683" y="connsiteY38683"/>
              </a:cxn>
              <a:cxn ang="0">
                <a:pos x="connsiteX38684" y="connsiteY38684"/>
              </a:cxn>
              <a:cxn ang="0">
                <a:pos x="connsiteX38685" y="connsiteY38685"/>
              </a:cxn>
              <a:cxn ang="0">
                <a:pos x="connsiteX38686" y="connsiteY38686"/>
              </a:cxn>
              <a:cxn ang="0">
                <a:pos x="connsiteX38687" y="connsiteY38687"/>
              </a:cxn>
              <a:cxn ang="0">
                <a:pos x="connsiteX38688" y="connsiteY38688"/>
              </a:cxn>
              <a:cxn ang="0">
                <a:pos x="connsiteX38689" y="connsiteY38689"/>
              </a:cxn>
              <a:cxn ang="0">
                <a:pos x="connsiteX38690" y="connsiteY38690"/>
              </a:cxn>
              <a:cxn ang="0">
                <a:pos x="connsiteX38691" y="connsiteY38691"/>
              </a:cxn>
              <a:cxn ang="0">
                <a:pos x="connsiteX38692" y="connsiteY38692"/>
              </a:cxn>
              <a:cxn ang="0">
                <a:pos x="connsiteX38693" y="connsiteY38693"/>
              </a:cxn>
              <a:cxn ang="0">
                <a:pos x="connsiteX38694" y="connsiteY38694"/>
              </a:cxn>
              <a:cxn ang="0">
                <a:pos x="connsiteX38695" y="connsiteY38695"/>
              </a:cxn>
              <a:cxn ang="0">
                <a:pos x="connsiteX38696" y="connsiteY38696"/>
              </a:cxn>
              <a:cxn ang="0">
                <a:pos x="connsiteX38697" y="connsiteY38697"/>
              </a:cxn>
              <a:cxn ang="0">
                <a:pos x="connsiteX38698" y="connsiteY38698"/>
              </a:cxn>
              <a:cxn ang="0">
                <a:pos x="connsiteX38699" y="connsiteY38699"/>
              </a:cxn>
              <a:cxn ang="0">
                <a:pos x="connsiteX38700" y="connsiteY38700"/>
              </a:cxn>
              <a:cxn ang="0">
                <a:pos x="connsiteX38701" y="connsiteY38701"/>
              </a:cxn>
              <a:cxn ang="0">
                <a:pos x="connsiteX38702" y="connsiteY38702"/>
              </a:cxn>
              <a:cxn ang="0">
                <a:pos x="connsiteX38703" y="connsiteY38703"/>
              </a:cxn>
              <a:cxn ang="0">
                <a:pos x="connsiteX38704" y="connsiteY38704"/>
              </a:cxn>
              <a:cxn ang="0">
                <a:pos x="connsiteX38705" y="connsiteY38705"/>
              </a:cxn>
              <a:cxn ang="0">
                <a:pos x="connsiteX38706" y="connsiteY38706"/>
              </a:cxn>
              <a:cxn ang="0">
                <a:pos x="connsiteX38707" y="connsiteY38707"/>
              </a:cxn>
              <a:cxn ang="0">
                <a:pos x="connsiteX38708" y="connsiteY38708"/>
              </a:cxn>
              <a:cxn ang="0">
                <a:pos x="connsiteX38709" y="connsiteY38709"/>
              </a:cxn>
              <a:cxn ang="0">
                <a:pos x="connsiteX38710" y="connsiteY38710"/>
              </a:cxn>
              <a:cxn ang="0">
                <a:pos x="connsiteX38711" y="connsiteY38711"/>
              </a:cxn>
              <a:cxn ang="0">
                <a:pos x="connsiteX38712" y="connsiteY38712"/>
              </a:cxn>
              <a:cxn ang="0">
                <a:pos x="connsiteX38713" y="connsiteY38713"/>
              </a:cxn>
              <a:cxn ang="0">
                <a:pos x="connsiteX38714" y="connsiteY38714"/>
              </a:cxn>
              <a:cxn ang="0">
                <a:pos x="connsiteX38715" y="connsiteY38715"/>
              </a:cxn>
              <a:cxn ang="0">
                <a:pos x="connsiteX38716" y="connsiteY38716"/>
              </a:cxn>
              <a:cxn ang="0">
                <a:pos x="connsiteX38717" y="connsiteY38717"/>
              </a:cxn>
              <a:cxn ang="0">
                <a:pos x="connsiteX38718" y="connsiteY38718"/>
              </a:cxn>
              <a:cxn ang="0">
                <a:pos x="connsiteX38719" y="connsiteY38719"/>
              </a:cxn>
              <a:cxn ang="0">
                <a:pos x="connsiteX38720" y="connsiteY38720"/>
              </a:cxn>
              <a:cxn ang="0">
                <a:pos x="connsiteX38721" y="connsiteY38721"/>
              </a:cxn>
              <a:cxn ang="0">
                <a:pos x="connsiteX38722" y="connsiteY38722"/>
              </a:cxn>
              <a:cxn ang="0">
                <a:pos x="connsiteX38723" y="connsiteY38723"/>
              </a:cxn>
              <a:cxn ang="0">
                <a:pos x="connsiteX38724" y="connsiteY38724"/>
              </a:cxn>
              <a:cxn ang="0">
                <a:pos x="connsiteX38725" y="connsiteY38725"/>
              </a:cxn>
              <a:cxn ang="0">
                <a:pos x="connsiteX38726" y="connsiteY38726"/>
              </a:cxn>
              <a:cxn ang="0">
                <a:pos x="connsiteX38727" y="connsiteY38727"/>
              </a:cxn>
              <a:cxn ang="0">
                <a:pos x="connsiteX38728" y="connsiteY38728"/>
              </a:cxn>
              <a:cxn ang="0">
                <a:pos x="connsiteX38729" y="connsiteY38729"/>
              </a:cxn>
              <a:cxn ang="0">
                <a:pos x="connsiteX38730" y="connsiteY38730"/>
              </a:cxn>
              <a:cxn ang="0">
                <a:pos x="connsiteX38731" y="connsiteY38731"/>
              </a:cxn>
              <a:cxn ang="0">
                <a:pos x="connsiteX38732" y="connsiteY38732"/>
              </a:cxn>
              <a:cxn ang="0">
                <a:pos x="connsiteX38733" y="connsiteY38733"/>
              </a:cxn>
              <a:cxn ang="0">
                <a:pos x="connsiteX38734" y="connsiteY38734"/>
              </a:cxn>
              <a:cxn ang="0">
                <a:pos x="connsiteX38735" y="connsiteY38735"/>
              </a:cxn>
              <a:cxn ang="0">
                <a:pos x="connsiteX38736" y="connsiteY38736"/>
              </a:cxn>
              <a:cxn ang="0">
                <a:pos x="connsiteX38737" y="connsiteY38737"/>
              </a:cxn>
              <a:cxn ang="0">
                <a:pos x="connsiteX38738" y="connsiteY38738"/>
              </a:cxn>
              <a:cxn ang="0">
                <a:pos x="connsiteX38739" y="connsiteY38739"/>
              </a:cxn>
              <a:cxn ang="0">
                <a:pos x="connsiteX38740" y="connsiteY38740"/>
              </a:cxn>
              <a:cxn ang="0">
                <a:pos x="connsiteX38741" y="connsiteY38741"/>
              </a:cxn>
              <a:cxn ang="0">
                <a:pos x="connsiteX38742" y="connsiteY38742"/>
              </a:cxn>
              <a:cxn ang="0">
                <a:pos x="connsiteX38743" y="connsiteY38743"/>
              </a:cxn>
              <a:cxn ang="0">
                <a:pos x="connsiteX38744" y="connsiteY38744"/>
              </a:cxn>
              <a:cxn ang="0">
                <a:pos x="connsiteX38745" y="connsiteY38745"/>
              </a:cxn>
              <a:cxn ang="0">
                <a:pos x="connsiteX38746" y="connsiteY38746"/>
              </a:cxn>
              <a:cxn ang="0">
                <a:pos x="connsiteX38747" y="connsiteY38747"/>
              </a:cxn>
              <a:cxn ang="0">
                <a:pos x="connsiteX38748" y="connsiteY38748"/>
              </a:cxn>
              <a:cxn ang="0">
                <a:pos x="connsiteX38749" y="connsiteY38749"/>
              </a:cxn>
              <a:cxn ang="0">
                <a:pos x="connsiteX38750" y="connsiteY38750"/>
              </a:cxn>
              <a:cxn ang="0">
                <a:pos x="connsiteX38751" y="connsiteY38751"/>
              </a:cxn>
              <a:cxn ang="0">
                <a:pos x="connsiteX38752" y="connsiteY38752"/>
              </a:cxn>
              <a:cxn ang="0">
                <a:pos x="connsiteX38753" y="connsiteY38753"/>
              </a:cxn>
              <a:cxn ang="0">
                <a:pos x="connsiteX38754" y="connsiteY38754"/>
              </a:cxn>
              <a:cxn ang="0">
                <a:pos x="connsiteX38755" y="connsiteY38755"/>
              </a:cxn>
              <a:cxn ang="0">
                <a:pos x="connsiteX38756" y="connsiteY38756"/>
              </a:cxn>
              <a:cxn ang="0">
                <a:pos x="connsiteX38757" y="connsiteY38757"/>
              </a:cxn>
              <a:cxn ang="0">
                <a:pos x="connsiteX38758" y="connsiteY38758"/>
              </a:cxn>
              <a:cxn ang="0">
                <a:pos x="connsiteX38759" y="connsiteY38759"/>
              </a:cxn>
              <a:cxn ang="0">
                <a:pos x="connsiteX38760" y="connsiteY38760"/>
              </a:cxn>
              <a:cxn ang="0">
                <a:pos x="connsiteX38761" y="connsiteY38761"/>
              </a:cxn>
              <a:cxn ang="0">
                <a:pos x="connsiteX38762" y="connsiteY38762"/>
              </a:cxn>
              <a:cxn ang="0">
                <a:pos x="connsiteX38763" y="connsiteY38763"/>
              </a:cxn>
              <a:cxn ang="0">
                <a:pos x="connsiteX38764" y="connsiteY38764"/>
              </a:cxn>
              <a:cxn ang="0">
                <a:pos x="connsiteX38765" y="connsiteY38765"/>
              </a:cxn>
              <a:cxn ang="0">
                <a:pos x="connsiteX38766" y="connsiteY38766"/>
              </a:cxn>
              <a:cxn ang="0">
                <a:pos x="connsiteX38767" y="connsiteY38767"/>
              </a:cxn>
              <a:cxn ang="0">
                <a:pos x="connsiteX38768" y="connsiteY38768"/>
              </a:cxn>
              <a:cxn ang="0">
                <a:pos x="connsiteX38769" y="connsiteY38769"/>
              </a:cxn>
              <a:cxn ang="0">
                <a:pos x="connsiteX38770" y="connsiteY38770"/>
              </a:cxn>
              <a:cxn ang="0">
                <a:pos x="connsiteX38771" y="connsiteY38771"/>
              </a:cxn>
              <a:cxn ang="0">
                <a:pos x="connsiteX38772" y="connsiteY38772"/>
              </a:cxn>
              <a:cxn ang="0">
                <a:pos x="connsiteX38773" y="connsiteY38773"/>
              </a:cxn>
              <a:cxn ang="0">
                <a:pos x="connsiteX38774" y="connsiteY38774"/>
              </a:cxn>
              <a:cxn ang="0">
                <a:pos x="connsiteX38775" y="connsiteY38775"/>
              </a:cxn>
              <a:cxn ang="0">
                <a:pos x="connsiteX38776" y="connsiteY38776"/>
              </a:cxn>
              <a:cxn ang="0">
                <a:pos x="connsiteX38777" y="connsiteY38777"/>
              </a:cxn>
              <a:cxn ang="0">
                <a:pos x="connsiteX38778" y="connsiteY38778"/>
              </a:cxn>
              <a:cxn ang="0">
                <a:pos x="connsiteX38779" y="connsiteY38779"/>
              </a:cxn>
              <a:cxn ang="0">
                <a:pos x="connsiteX38780" y="connsiteY38780"/>
              </a:cxn>
              <a:cxn ang="0">
                <a:pos x="connsiteX38781" y="connsiteY38781"/>
              </a:cxn>
              <a:cxn ang="0">
                <a:pos x="connsiteX38782" y="connsiteY38782"/>
              </a:cxn>
              <a:cxn ang="0">
                <a:pos x="connsiteX38783" y="connsiteY38783"/>
              </a:cxn>
              <a:cxn ang="0">
                <a:pos x="connsiteX38784" y="connsiteY38784"/>
              </a:cxn>
              <a:cxn ang="0">
                <a:pos x="connsiteX38785" y="connsiteY38785"/>
              </a:cxn>
              <a:cxn ang="0">
                <a:pos x="connsiteX38786" y="connsiteY38786"/>
              </a:cxn>
              <a:cxn ang="0">
                <a:pos x="connsiteX38787" y="connsiteY38787"/>
              </a:cxn>
              <a:cxn ang="0">
                <a:pos x="connsiteX38788" y="connsiteY38788"/>
              </a:cxn>
              <a:cxn ang="0">
                <a:pos x="connsiteX38789" y="connsiteY38789"/>
              </a:cxn>
              <a:cxn ang="0">
                <a:pos x="connsiteX38790" y="connsiteY38790"/>
              </a:cxn>
              <a:cxn ang="0">
                <a:pos x="connsiteX38791" y="connsiteY38791"/>
              </a:cxn>
              <a:cxn ang="0">
                <a:pos x="connsiteX38792" y="connsiteY38792"/>
              </a:cxn>
              <a:cxn ang="0">
                <a:pos x="connsiteX38793" y="connsiteY38793"/>
              </a:cxn>
              <a:cxn ang="0">
                <a:pos x="connsiteX38794" y="connsiteY38794"/>
              </a:cxn>
              <a:cxn ang="0">
                <a:pos x="connsiteX38795" y="connsiteY38795"/>
              </a:cxn>
              <a:cxn ang="0">
                <a:pos x="connsiteX38796" y="connsiteY38796"/>
              </a:cxn>
              <a:cxn ang="0">
                <a:pos x="connsiteX38797" y="connsiteY38797"/>
              </a:cxn>
              <a:cxn ang="0">
                <a:pos x="connsiteX38798" y="connsiteY38798"/>
              </a:cxn>
              <a:cxn ang="0">
                <a:pos x="connsiteX38799" y="connsiteY38799"/>
              </a:cxn>
              <a:cxn ang="0">
                <a:pos x="connsiteX38800" y="connsiteY38800"/>
              </a:cxn>
              <a:cxn ang="0">
                <a:pos x="connsiteX38801" y="connsiteY38801"/>
              </a:cxn>
              <a:cxn ang="0">
                <a:pos x="connsiteX38802" y="connsiteY38802"/>
              </a:cxn>
              <a:cxn ang="0">
                <a:pos x="connsiteX38803" y="connsiteY38803"/>
              </a:cxn>
              <a:cxn ang="0">
                <a:pos x="connsiteX38804" y="connsiteY38804"/>
              </a:cxn>
              <a:cxn ang="0">
                <a:pos x="connsiteX38805" y="connsiteY38805"/>
              </a:cxn>
              <a:cxn ang="0">
                <a:pos x="connsiteX38806" y="connsiteY38806"/>
              </a:cxn>
              <a:cxn ang="0">
                <a:pos x="connsiteX38807" y="connsiteY38807"/>
              </a:cxn>
              <a:cxn ang="0">
                <a:pos x="connsiteX38808" y="connsiteY38808"/>
              </a:cxn>
              <a:cxn ang="0">
                <a:pos x="connsiteX38809" y="connsiteY38809"/>
              </a:cxn>
              <a:cxn ang="0">
                <a:pos x="connsiteX38810" y="connsiteY38810"/>
              </a:cxn>
              <a:cxn ang="0">
                <a:pos x="connsiteX38811" y="connsiteY38811"/>
              </a:cxn>
              <a:cxn ang="0">
                <a:pos x="connsiteX38812" y="connsiteY38812"/>
              </a:cxn>
              <a:cxn ang="0">
                <a:pos x="connsiteX38813" y="connsiteY38813"/>
              </a:cxn>
              <a:cxn ang="0">
                <a:pos x="connsiteX38814" y="connsiteY38814"/>
              </a:cxn>
              <a:cxn ang="0">
                <a:pos x="connsiteX38815" y="connsiteY38815"/>
              </a:cxn>
              <a:cxn ang="0">
                <a:pos x="connsiteX38816" y="connsiteY38816"/>
              </a:cxn>
              <a:cxn ang="0">
                <a:pos x="connsiteX38817" y="connsiteY38817"/>
              </a:cxn>
              <a:cxn ang="0">
                <a:pos x="connsiteX38818" y="connsiteY38818"/>
              </a:cxn>
              <a:cxn ang="0">
                <a:pos x="connsiteX38819" y="connsiteY38819"/>
              </a:cxn>
              <a:cxn ang="0">
                <a:pos x="connsiteX38820" y="connsiteY38820"/>
              </a:cxn>
              <a:cxn ang="0">
                <a:pos x="connsiteX38821" y="connsiteY38821"/>
              </a:cxn>
              <a:cxn ang="0">
                <a:pos x="connsiteX38822" y="connsiteY38822"/>
              </a:cxn>
              <a:cxn ang="0">
                <a:pos x="connsiteX38823" y="connsiteY38823"/>
              </a:cxn>
              <a:cxn ang="0">
                <a:pos x="connsiteX38824" y="connsiteY38824"/>
              </a:cxn>
              <a:cxn ang="0">
                <a:pos x="connsiteX38825" y="connsiteY38825"/>
              </a:cxn>
              <a:cxn ang="0">
                <a:pos x="connsiteX38826" y="connsiteY38826"/>
              </a:cxn>
              <a:cxn ang="0">
                <a:pos x="connsiteX38827" y="connsiteY38827"/>
              </a:cxn>
              <a:cxn ang="0">
                <a:pos x="connsiteX38828" y="connsiteY38828"/>
              </a:cxn>
              <a:cxn ang="0">
                <a:pos x="connsiteX38829" y="connsiteY38829"/>
              </a:cxn>
              <a:cxn ang="0">
                <a:pos x="connsiteX38830" y="connsiteY38830"/>
              </a:cxn>
              <a:cxn ang="0">
                <a:pos x="connsiteX38831" y="connsiteY38831"/>
              </a:cxn>
              <a:cxn ang="0">
                <a:pos x="connsiteX38832" y="connsiteY38832"/>
              </a:cxn>
              <a:cxn ang="0">
                <a:pos x="connsiteX38833" y="connsiteY38833"/>
              </a:cxn>
              <a:cxn ang="0">
                <a:pos x="connsiteX38834" y="connsiteY38834"/>
              </a:cxn>
              <a:cxn ang="0">
                <a:pos x="connsiteX38835" y="connsiteY38835"/>
              </a:cxn>
              <a:cxn ang="0">
                <a:pos x="connsiteX38836" y="connsiteY38836"/>
              </a:cxn>
              <a:cxn ang="0">
                <a:pos x="connsiteX38837" y="connsiteY38837"/>
              </a:cxn>
              <a:cxn ang="0">
                <a:pos x="connsiteX38838" y="connsiteY38838"/>
              </a:cxn>
              <a:cxn ang="0">
                <a:pos x="connsiteX38839" y="connsiteY38839"/>
              </a:cxn>
              <a:cxn ang="0">
                <a:pos x="connsiteX38840" y="connsiteY38840"/>
              </a:cxn>
              <a:cxn ang="0">
                <a:pos x="connsiteX38841" y="connsiteY38841"/>
              </a:cxn>
              <a:cxn ang="0">
                <a:pos x="connsiteX38842" y="connsiteY38842"/>
              </a:cxn>
              <a:cxn ang="0">
                <a:pos x="connsiteX38843" y="connsiteY38843"/>
              </a:cxn>
              <a:cxn ang="0">
                <a:pos x="connsiteX38844" y="connsiteY38844"/>
              </a:cxn>
              <a:cxn ang="0">
                <a:pos x="connsiteX38845" y="connsiteY38845"/>
              </a:cxn>
              <a:cxn ang="0">
                <a:pos x="connsiteX38846" y="connsiteY38846"/>
              </a:cxn>
              <a:cxn ang="0">
                <a:pos x="connsiteX38847" y="connsiteY38847"/>
              </a:cxn>
              <a:cxn ang="0">
                <a:pos x="connsiteX38848" y="connsiteY38848"/>
              </a:cxn>
              <a:cxn ang="0">
                <a:pos x="connsiteX38849" y="connsiteY38849"/>
              </a:cxn>
              <a:cxn ang="0">
                <a:pos x="connsiteX38850" y="connsiteY38850"/>
              </a:cxn>
              <a:cxn ang="0">
                <a:pos x="connsiteX38851" y="connsiteY38851"/>
              </a:cxn>
              <a:cxn ang="0">
                <a:pos x="connsiteX38852" y="connsiteY38852"/>
              </a:cxn>
              <a:cxn ang="0">
                <a:pos x="connsiteX38853" y="connsiteY38853"/>
              </a:cxn>
              <a:cxn ang="0">
                <a:pos x="connsiteX38854" y="connsiteY38854"/>
              </a:cxn>
              <a:cxn ang="0">
                <a:pos x="connsiteX38855" y="connsiteY38855"/>
              </a:cxn>
              <a:cxn ang="0">
                <a:pos x="connsiteX38856" y="connsiteY38856"/>
              </a:cxn>
              <a:cxn ang="0">
                <a:pos x="connsiteX38857" y="connsiteY38857"/>
              </a:cxn>
              <a:cxn ang="0">
                <a:pos x="connsiteX38858" y="connsiteY38858"/>
              </a:cxn>
              <a:cxn ang="0">
                <a:pos x="connsiteX38859" y="connsiteY38859"/>
              </a:cxn>
              <a:cxn ang="0">
                <a:pos x="connsiteX38860" y="connsiteY38860"/>
              </a:cxn>
              <a:cxn ang="0">
                <a:pos x="connsiteX38861" y="connsiteY38861"/>
              </a:cxn>
              <a:cxn ang="0">
                <a:pos x="connsiteX38862" y="connsiteY38862"/>
              </a:cxn>
              <a:cxn ang="0">
                <a:pos x="connsiteX38863" y="connsiteY38863"/>
              </a:cxn>
              <a:cxn ang="0">
                <a:pos x="connsiteX38864" y="connsiteY38864"/>
              </a:cxn>
              <a:cxn ang="0">
                <a:pos x="connsiteX38865" y="connsiteY38865"/>
              </a:cxn>
              <a:cxn ang="0">
                <a:pos x="connsiteX38866" y="connsiteY38866"/>
              </a:cxn>
              <a:cxn ang="0">
                <a:pos x="connsiteX38867" y="connsiteY38867"/>
              </a:cxn>
              <a:cxn ang="0">
                <a:pos x="connsiteX38868" y="connsiteY38868"/>
              </a:cxn>
              <a:cxn ang="0">
                <a:pos x="connsiteX38869" y="connsiteY38869"/>
              </a:cxn>
              <a:cxn ang="0">
                <a:pos x="connsiteX38870" y="connsiteY38870"/>
              </a:cxn>
              <a:cxn ang="0">
                <a:pos x="connsiteX38871" y="connsiteY38871"/>
              </a:cxn>
              <a:cxn ang="0">
                <a:pos x="connsiteX38872" y="connsiteY38872"/>
              </a:cxn>
              <a:cxn ang="0">
                <a:pos x="connsiteX38873" y="connsiteY38873"/>
              </a:cxn>
              <a:cxn ang="0">
                <a:pos x="connsiteX38874" y="connsiteY38874"/>
              </a:cxn>
              <a:cxn ang="0">
                <a:pos x="connsiteX38875" y="connsiteY38875"/>
              </a:cxn>
              <a:cxn ang="0">
                <a:pos x="connsiteX38876" y="connsiteY38876"/>
              </a:cxn>
              <a:cxn ang="0">
                <a:pos x="connsiteX38877" y="connsiteY38877"/>
              </a:cxn>
              <a:cxn ang="0">
                <a:pos x="connsiteX38878" y="connsiteY38878"/>
              </a:cxn>
              <a:cxn ang="0">
                <a:pos x="connsiteX38879" y="connsiteY38879"/>
              </a:cxn>
              <a:cxn ang="0">
                <a:pos x="connsiteX38880" y="connsiteY38880"/>
              </a:cxn>
              <a:cxn ang="0">
                <a:pos x="connsiteX38881" y="connsiteY38881"/>
              </a:cxn>
              <a:cxn ang="0">
                <a:pos x="connsiteX38882" y="connsiteY38882"/>
              </a:cxn>
              <a:cxn ang="0">
                <a:pos x="connsiteX38883" y="connsiteY38883"/>
              </a:cxn>
              <a:cxn ang="0">
                <a:pos x="connsiteX38884" y="connsiteY38884"/>
              </a:cxn>
              <a:cxn ang="0">
                <a:pos x="connsiteX38885" y="connsiteY38885"/>
              </a:cxn>
              <a:cxn ang="0">
                <a:pos x="connsiteX38886" y="connsiteY38886"/>
              </a:cxn>
              <a:cxn ang="0">
                <a:pos x="connsiteX38887" y="connsiteY38887"/>
              </a:cxn>
              <a:cxn ang="0">
                <a:pos x="connsiteX38888" y="connsiteY38888"/>
              </a:cxn>
              <a:cxn ang="0">
                <a:pos x="connsiteX38889" y="connsiteY38889"/>
              </a:cxn>
              <a:cxn ang="0">
                <a:pos x="connsiteX38890" y="connsiteY38890"/>
              </a:cxn>
              <a:cxn ang="0">
                <a:pos x="connsiteX38891" y="connsiteY38891"/>
              </a:cxn>
              <a:cxn ang="0">
                <a:pos x="connsiteX38892" y="connsiteY38892"/>
              </a:cxn>
              <a:cxn ang="0">
                <a:pos x="connsiteX38893" y="connsiteY38893"/>
              </a:cxn>
              <a:cxn ang="0">
                <a:pos x="connsiteX38894" y="connsiteY38894"/>
              </a:cxn>
              <a:cxn ang="0">
                <a:pos x="connsiteX38895" y="connsiteY38895"/>
              </a:cxn>
              <a:cxn ang="0">
                <a:pos x="connsiteX38896" y="connsiteY38896"/>
              </a:cxn>
              <a:cxn ang="0">
                <a:pos x="connsiteX38897" y="connsiteY38897"/>
              </a:cxn>
              <a:cxn ang="0">
                <a:pos x="connsiteX38898" y="connsiteY38898"/>
              </a:cxn>
              <a:cxn ang="0">
                <a:pos x="connsiteX38899" y="connsiteY38899"/>
              </a:cxn>
              <a:cxn ang="0">
                <a:pos x="connsiteX38900" y="connsiteY38900"/>
              </a:cxn>
              <a:cxn ang="0">
                <a:pos x="connsiteX38901" y="connsiteY38901"/>
              </a:cxn>
              <a:cxn ang="0">
                <a:pos x="connsiteX38902" y="connsiteY38902"/>
              </a:cxn>
              <a:cxn ang="0">
                <a:pos x="connsiteX38903" y="connsiteY38903"/>
              </a:cxn>
              <a:cxn ang="0">
                <a:pos x="connsiteX38904" y="connsiteY38904"/>
              </a:cxn>
              <a:cxn ang="0">
                <a:pos x="connsiteX38905" y="connsiteY38905"/>
              </a:cxn>
              <a:cxn ang="0">
                <a:pos x="connsiteX38906" y="connsiteY38906"/>
              </a:cxn>
              <a:cxn ang="0">
                <a:pos x="connsiteX38907" y="connsiteY38907"/>
              </a:cxn>
              <a:cxn ang="0">
                <a:pos x="connsiteX38908" y="connsiteY38908"/>
              </a:cxn>
              <a:cxn ang="0">
                <a:pos x="connsiteX38909" y="connsiteY38909"/>
              </a:cxn>
              <a:cxn ang="0">
                <a:pos x="connsiteX38910" y="connsiteY38910"/>
              </a:cxn>
              <a:cxn ang="0">
                <a:pos x="connsiteX38911" y="connsiteY38911"/>
              </a:cxn>
              <a:cxn ang="0">
                <a:pos x="connsiteX38912" y="connsiteY38912"/>
              </a:cxn>
              <a:cxn ang="0">
                <a:pos x="connsiteX38913" y="connsiteY38913"/>
              </a:cxn>
              <a:cxn ang="0">
                <a:pos x="connsiteX38914" y="connsiteY38914"/>
              </a:cxn>
              <a:cxn ang="0">
                <a:pos x="connsiteX38915" y="connsiteY38915"/>
              </a:cxn>
              <a:cxn ang="0">
                <a:pos x="connsiteX38916" y="connsiteY38916"/>
              </a:cxn>
              <a:cxn ang="0">
                <a:pos x="connsiteX38917" y="connsiteY38917"/>
              </a:cxn>
              <a:cxn ang="0">
                <a:pos x="connsiteX38918" y="connsiteY38918"/>
              </a:cxn>
              <a:cxn ang="0">
                <a:pos x="connsiteX38919" y="connsiteY38919"/>
              </a:cxn>
              <a:cxn ang="0">
                <a:pos x="connsiteX38920" y="connsiteY38920"/>
              </a:cxn>
              <a:cxn ang="0">
                <a:pos x="connsiteX38921" y="connsiteY38921"/>
              </a:cxn>
              <a:cxn ang="0">
                <a:pos x="connsiteX38922" y="connsiteY38922"/>
              </a:cxn>
              <a:cxn ang="0">
                <a:pos x="connsiteX38923" y="connsiteY38923"/>
              </a:cxn>
              <a:cxn ang="0">
                <a:pos x="connsiteX38924" y="connsiteY38924"/>
              </a:cxn>
              <a:cxn ang="0">
                <a:pos x="connsiteX38925" y="connsiteY38925"/>
              </a:cxn>
              <a:cxn ang="0">
                <a:pos x="connsiteX38926" y="connsiteY38926"/>
              </a:cxn>
              <a:cxn ang="0">
                <a:pos x="connsiteX38927" y="connsiteY38927"/>
              </a:cxn>
              <a:cxn ang="0">
                <a:pos x="connsiteX38928" y="connsiteY38928"/>
              </a:cxn>
              <a:cxn ang="0">
                <a:pos x="connsiteX38929" y="connsiteY38929"/>
              </a:cxn>
              <a:cxn ang="0">
                <a:pos x="connsiteX38930" y="connsiteY38930"/>
              </a:cxn>
              <a:cxn ang="0">
                <a:pos x="connsiteX38931" y="connsiteY38931"/>
              </a:cxn>
              <a:cxn ang="0">
                <a:pos x="connsiteX38932" y="connsiteY38932"/>
              </a:cxn>
              <a:cxn ang="0">
                <a:pos x="connsiteX38933" y="connsiteY38933"/>
              </a:cxn>
              <a:cxn ang="0">
                <a:pos x="connsiteX38934" y="connsiteY38934"/>
              </a:cxn>
              <a:cxn ang="0">
                <a:pos x="connsiteX38935" y="connsiteY38935"/>
              </a:cxn>
              <a:cxn ang="0">
                <a:pos x="connsiteX38936" y="connsiteY38936"/>
              </a:cxn>
              <a:cxn ang="0">
                <a:pos x="connsiteX38937" y="connsiteY38937"/>
              </a:cxn>
              <a:cxn ang="0">
                <a:pos x="connsiteX38938" y="connsiteY38938"/>
              </a:cxn>
              <a:cxn ang="0">
                <a:pos x="connsiteX38939" y="connsiteY38939"/>
              </a:cxn>
              <a:cxn ang="0">
                <a:pos x="connsiteX38940" y="connsiteY38940"/>
              </a:cxn>
              <a:cxn ang="0">
                <a:pos x="connsiteX38941" y="connsiteY38941"/>
              </a:cxn>
              <a:cxn ang="0">
                <a:pos x="connsiteX38942" y="connsiteY38942"/>
              </a:cxn>
              <a:cxn ang="0">
                <a:pos x="connsiteX38943" y="connsiteY38943"/>
              </a:cxn>
              <a:cxn ang="0">
                <a:pos x="connsiteX38944" y="connsiteY38944"/>
              </a:cxn>
              <a:cxn ang="0">
                <a:pos x="connsiteX38945" y="connsiteY38945"/>
              </a:cxn>
              <a:cxn ang="0">
                <a:pos x="connsiteX38946" y="connsiteY38946"/>
              </a:cxn>
              <a:cxn ang="0">
                <a:pos x="connsiteX38947" y="connsiteY38947"/>
              </a:cxn>
              <a:cxn ang="0">
                <a:pos x="connsiteX38948" y="connsiteY38948"/>
              </a:cxn>
              <a:cxn ang="0">
                <a:pos x="connsiteX38949" y="connsiteY38949"/>
              </a:cxn>
              <a:cxn ang="0">
                <a:pos x="connsiteX38950" y="connsiteY38950"/>
              </a:cxn>
              <a:cxn ang="0">
                <a:pos x="connsiteX38951" y="connsiteY38951"/>
              </a:cxn>
              <a:cxn ang="0">
                <a:pos x="connsiteX38952" y="connsiteY38952"/>
              </a:cxn>
              <a:cxn ang="0">
                <a:pos x="connsiteX38953" y="connsiteY38953"/>
              </a:cxn>
              <a:cxn ang="0">
                <a:pos x="connsiteX38954" y="connsiteY38954"/>
              </a:cxn>
              <a:cxn ang="0">
                <a:pos x="connsiteX38955" y="connsiteY38955"/>
              </a:cxn>
              <a:cxn ang="0">
                <a:pos x="connsiteX38956" y="connsiteY38956"/>
              </a:cxn>
              <a:cxn ang="0">
                <a:pos x="connsiteX38957" y="connsiteY38957"/>
              </a:cxn>
              <a:cxn ang="0">
                <a:pos x="connsiteX38958" y="connsiteY38958"/>
              </a:cxn>
              <a:cxn ang="0">
                <a:pos x="connsiteX38959" y="connsiteY38959"/>
              </a:cxn>
              <a:cxn ang="0">
                <a:pos x="connsiteX38960" y="connsiteY38960"/>
              </a:cxn>
              <a:cxn ang="0">
                <a:pos x="connsiteX38961" y="connsiteY38961"/>
              </a:cxn>
              <a:cxn ang="0">
                <a:pos x="connsiteX38962" y="connsiteY38962"/>
              </a:cxn>
              <a:cxn ang="0">
                <a:pos x="connsiteX38963" y="connsiteY38963"/>
              </a:cxn>
              <a:cxn ang="0">
                <a:pos x="connsiteX38964" y="connsiteY38964"/>
              </a:cxn>
              <a:cxn ang="0">
                <a:pos x="connsiteX38965" y="connsiteY38965"/>
              </a:cxn>
              <a:cxn ang="0">
                <a:pos x="connsiteX38966" y="connsiteY38966"/>
              </a:cxn>
              <a:cxn ang="0">
                <a:pos x="connsiteX38967" y="connsiteY38967"/>
              </a:cxn>
              <a:cxn ang="0">
                <a:pos x="connsiteX38968" y="connsiteY38968"/>
              </a:cxn>
              <a:cxn ang="0">
                <a:pos x="connsiteX38969" y="connsiteY38969"/>
              </a:cxn>
              <a:cxn ang="0">
                <a:pos x="connsiteX38970" y="connsiteY38970"/>
              </a:cxn>
              <a:cxn ang="0">
                <a:pos x="connsiteX38971" y="connsiteY38971"/>
              </a:cxn>
              <a:cxn ang="0">
                <a:pos x="connsiteX38972" y="connsiteY38972"/>
              </a:cxn>
              <a:cxn ang="0">
                <a:pos x="connsiteX38973" y="connsiteY38973"/>
              </a:cxn>
              <a:cxn ang="0">
                <a:pos x="connsiteX38974" y="connsiteY38974"/>
              </a:cxn>
              <a:cxn ang="0">
                <a:pos x="connsiteX38975" y="connsiteY38975"/>
              </a:cxn>
              <a:cxn ang="0">
                <a:pos x="connsiteX38976" y="connsiteY38976"/>
              </a:cxn>
              <a:cxn ang="0">
                <a:pos x="connsiteX38977" y="connsiteY38977"/>
              </a:cxn>
              <a:cxn ang="0">
                <a:pos x="connsiteX38978" y="connsiteY38978"/>
              </a:cxn>
              <a:cxn ang="0">
                <a:pos x="connsiteX38979" y="connsiteY38979"/>
              </a:cxn>
              <a:cxn ang="0">
                <a:pos x="connsiteX38980" y="connsiteY38980"/>
              </a:cxn>
              <a:cxn ang="0">
                <a:pos x="connsiteX38981" y="connsiteY38981"/>
              </a:cxn>
              <a:cxn ang="0">
                <a:pos x="connsiteX38982" y="connsiteY38982"/>
              </a:cxn>
              <a:cxn ang="0">
                <a:pos x="connsiteX38983" y="connsiteY38983"/>
              </a:cxn>
              <a:cxn ang="0">
                <a:pos x="connsiteX38984" y="connsiteY38984"/>
              </a:cxn>
              <a:cxn ang="0">
                <a:pos x="connsiteX38985" y="connsiteY38985"/>
              </a:cxn>
              <a:cxn ang="0">
                <a:pos x="connsiteX38986" y="connsiteY38986"/>
              </a:cxn>
              <a:cxn ang="0">
                <a:pos x="connsiteX38987" y="connsiteY38987"/>
              </a:cxn>
              <a:cxn ang="0">
                <a:pos x="connsiteX38988" y="connsiteY38988"/>
              </a:cxn>
              <a:cxn ang="0">
                <a:pos x="connsiteX38989" y="connsiteY38989"/>
              </a:cxn>
              <a:cxn ang="0">
                <a:pos x="connsiteX38990" y="connsiteY38990"/>
              </a:cxn>
              <a:cxn ang="0">
                <a:pos x="connsiteX38991" y="connsiteY38991"/>
              </a:cxn>
              <a:cxn ang="0">
                <a:pos x="connsiteX38992" y="connsiteY38992"/>
              </a:cxn>
              <a:cxn ang="0">
                <a:pos x="connsiteX38993" y="connsiteY38993"/>
              </a:cxn>
              <a:cxn ang="0">
                <a:pos x="connsiteX38994" y="connsiteY38994"/>
              </a:cxn>
              <a:cxn ang="0">
                <a:pos x="connsiteX38995" y="connsiteY38995"/>
              </a:cxn>
              <a:cxn ang="0">
                <a:pos x="connsiteX38996" y="connsiteY38996"/>
              </a:cxn>
              <a:cxn ang="0">
                <a:pos x="connsiteX38997" y="connsiteY38997"/>
              </a:cxn>
              <a:cxn ang="0">
                <a:pos x="connsiteX38998" y="connsiteY38998"/>
              </a:cxn>
              <a:cxn ang="0">
                <a:pos x="connsiteX38999" y="connsiteY38999"/>
              </a:cxn>
              <a:cxn ang="0">
                <a:pos x="connsiteX39000" y="connsiteY39000"/>
              </a:cxn>
              <a:cxn ang="0">
                <a:pos x="connsiteX39001" y="connsiteY39001"/>
              </a:cxn>
              <a:cxn ang="0">
                <a:pos x="connsiteX39002" y="connsiteY39002"/>
              </a:cxn>
              <a:cxn ang="0">
                <a:pos x="connsiteX39003" y="connsiteY39003"/>
              </a:cxn>
              <a:cxn ang="0">
                <a:pos x="connsiteX39004" y="connsiteY39004"/>
              </a:cxn>
              <a:cxn ang="0">
                <a:pos x="connsiteX39005" y="connsiteY39005"/>
              </a:cxn>
              <a:cxn ang="0">
                <a:pos x="connsiteX39006" y="connsiteY39006"/>
              </a:cxn>
              <a:cxn ang="0">
                <a:pos x="connsiteX39007" y="connsiteY39007"/>
              </a:cxn>
              <a:cxn ang="0">
                <a:pos x="connsiteX39008" y="connsiteY39008"/>
              </a:cxn>
              <a:cxn ang="0">
                <a:pos x="connsiteX39009" y="connsiteY39009"/>
              </a:cxn>
              <a:cxn ang="0">
                <a:pos x="connsiteX39010" y="connsiteY39010"/>
              </a:cxn>
              <a:cxn ang="0">
                <a:pos x="connsiteX39011" y="connsiteY39011"/>
              </a:cxn>
              <a:cxn ang="0">
                <a:pos x="connsiteX39012" y="connsiteY39012"/>
              </a:cxn>
              <a:cxn ang="0">
                <a:pos x="connsiteX39013" y="connsiteY39013"/>
              </a:cxn>
              <a:cxn ang="0">
                <a:pos x="connsiteX39014" y="connsiteY39014"/>
              </a:cxn>
              <a:cxn ang="0">
                <a:pos x="connsiteX39015" y="connsiteY39015"/>
              </a:cxn>
              <a:cxn ang="0">
                <a:pos x="connsiteX39016" y="connsiteY39016"/>
              </a:cxn>
              <a:cxn ang="0">
                <a:pos x="connsiteX39017" y="connsiteY39017"/>
              </a:cxn>
              <a:cxn ang="0">
                <a:pos x="connsiteX39018" y="connsiteY39018"/>
              </a:cxn>
              <a:cxn ang="0">
                <a:pos x="connsiteX39019" y="connsiteY39019"/>
              </a:cxn>
              <a:cxn ang="0">
                <a:pos x="connsiteX39020" y="connsiteY39020"/>
              </a:cxn>
              <a:cxn ang="0">
                <a:pos x="connsiteX39021" y="connsiteY39021"/>
              </a:cxn>
              <a:cxn ang="0">
                <a:pos x="connsiteX39022" y="connsiteY39022"/>
              </a:cxn>
              <a:cxn ang="0">
                <a:pos x="connsiteX39023" y="connsiteY39023"/>
              </a:cxn>
              <a:cxn ang="0">
                <a:pos x="connsiteX39024" y="connsiteY39024"/>
              </a:cxn>
              <a:cxn ang="0">
                <a:pos x="connsiteX39025" y="connsiteY39025"/>
              </a:cxn>
              <a:cxn ang="0">
                <a:pos x="connsiteX39026" y="connsiteY39026"/>
              </a:cxn>
              <a:cxn ang="0">
                <a:pos x="connsiteX39027" y="connsiteY39027"/>
              </a:cxn>
              <a:cxn ang="0">
                <a:pos x="connsiteX39028" y="connsiteY39028"/>
              </a:cxn>
              <a:cxn ang="0">
                <a:pos x="connsiteX39029" y="connsiteY39029"/>
              </a:cxn>
              <a:cxn ang="0">
                <a:pos x="connsiteX39030" y="connsiteY39030"/>
              </a:cxn>
              <a:cxn ang="0">
                <a:pos x="connsiteX39031" y="connsiteY39031"/>
              </a:cxn>
              <a:cxn ang="0">
                <a:pos x="connsiteX39032" y="connsiteY39032"/>
              </a:cxn>
              <a:cxn ang="0">
                <a:pos x="connsiteX39033" y="connsiteY39033"/>
              </a:cxn>
              <a:cxn ang="0">
                <a:pos x="connsiteX39034" y="connsiteY39034"/>
              </a:cxn>
              <a:cxn ang="0">
                <a:pos x="connsiteX39035" y="connsiteY39035"/>
              </a:cxn>
              <a:cxn ang="0">
                <a:pos x="connsiteX39036" y="connsiteY39036"/>
              </a:cxn>
              <a:cxn ang="0">
                <a:pos x="connsiteX39037" y="connsiteY39037"/>
              </a:cxn>
              <a:cxn ang="0">
                <a:pos x="connsiteX39038" y="connsiteY39038"/>
              </a:cxn>
              <a:cxn ang="0">
                <a:pos x="connsiteX39039" y="connsiteY39039"/>
              </a:cxn>
              <a:cxn ang="0">
                <a:pos x="connsiteX39040" y="connsiteY39040"/>
              </a:cxn>
              <a:cxn ang="0">
                <a:pos x="connsiteX39041" y="connsiteY39041"/>
              </a:cxn>
              <a:cxn ang="0">
                <a:pos x="connsiteX39042" y="connsiteY39042"/>
              </a:cxn>
              <a:cxn ang="0">
                <a:pos x="connsiteX39043" y="connsiteY39043"/>
              </a:cxn>
              <a:cxn ang="0">
                <a:pos x="connsiteX39044" y="connsiteY39044"/>
              </a:cxn>
              <a:cxn ang="0">
                <a:pos x="connsiteX39045" y="connsiteY39045"/>
              </a:cxn>
              <a:cxn ang="0">
                <a:pos x="connsiteX39046" y="connsiteY39046"/>
              </a:cxn>
              <a:cxn ang="0">
                <a:pos x="connsiteX39047" y="connsiteY39047"/>
              </a:cxn>
              <a:cxn ang="0">
                <a:pos x="connsiteX39048" y="connsiteY39048"/>
              </a:cxn>
              <a:cxn ang="0">
                <a:pos x="connsiteX39049" y="connsiteY39049"/>
              </a:cxn>
              <a:cxn ang="0">
                <a:pos x="connsiteX39050" y="connsiteY39050"/>
              </a:cxn>
              <a:cxn ang="0">
                <a:pos x="connsiteX39051" y="connsiteY39051"/>
              </a:cxn>
              <a:cxn ang="0">
                <a:pos x="connsiteX39052" y="connsiteY39052"/>
              </a:cxn>
              <a:cxn ang="0">
                <a:pos x="connsiteX39053" y="connsiteY39053"/>
              </a:cxn>
              <a:cxn ang="0">
                <a:pos x="connsiteX39054" y="connsiteY39054"/>
              </a:cxn>
              <a:cxn ang="0">
                <a:pos x="connsiteX39055" y="connsiteY39055"/>
              </a:cxn>
              <a:cxn ang="0">
                <a:pos x="connsiteX39056" y="connsiteY39056"/>
              </a:cxn>
              <a:cxn ang="0">
                <a:pos x="connsiteX39057" y="connsiteY39057"/>
              </a:cxn>
              <a:cxn ang="0">
                <a:pos x="connsiteX39058" y="connsiteY39058"/>
              </a:cxn>
              <a:cxn ang="0">
                <a:pos x="connsiteX39059" y="connsiteY39059"/>
              </a:cxn>
              <a:cxn ang="0">
                <a:pos x="connsiteX39060" y="connsiteY39060"/>
              </a:cxn>
              <a:cxn ang="0">
                <a:pos x="connsiteX39061" y="connsiteY39061"/>
              </a:cxn>
              <a:cxn ang="0">
                <a:pos x="connsiteX39062" y="connsiteY39062"/>
              </a:cxn>
              <a:cxn ang="0">
                <a:pos x="connsiteX39063" y="connsiteY39063"/>
              </a:cxn>
              <a:cxn ang="0">
                <a:pos x="connsiteX39064" y="connsiteY39064"/>
              </a:cxn>
              <a:cxn ang="0">
                <a:pos x="connsiteX39065" y="connsiteY39065"/>
              </a:cxn>
              <a:cxn ang="0">
                <a:pos x="connsiteX39066" y="connsiteY39066"/>
              </a:cxn>
              <a:cxn ang="0">
                <a:pos x="connsiteX39067" y="connsiteY39067"/>
              </a:cxn>
              <a:cxn ang="0">
                <a:pos x="connsiteX39068" y="connsiteY39068"/>
              </a:cxn>
              <a:cxn ang="0">
                <a:pos x="connsiteX39069" y="connsiteY39069"/>
              </a:cxn>
              <a:cxn ang="0">
                <a:pos x="connsiteX39070" y="connsiteY39070"/>
              </a:cxn>
              <a:cxn ang="0">
                <a:pos x="connsiteX39071" y="connsiteY39071"/>
              </a:cxn>
              <a:cxn ang="0">
                <a:pos x="connsiteX39072" y="connsiteY39072"/>
              </a:cxn>
              <a:cxn ang="0">
                <a:pos x="connsiteX39073" y="connsiteY39073"/>
              </a:cxn>
              <a:cxn ang="0">
                <a:pos x="connsiteX39074" y="connsiteY39074"/>
              </a:cxn>
              <a:cxn ang="0">
                <a:pos x="connsiteX39075" y="connsiteY39075"/>
              </a:cxn>
              <a:cxn ang="0">
                <a:pos x="connsiteX39076" y="connsiteY39076"/>
              </a:cxn>
              <a:cxn ang="0">
                <a:pos x="connsiteX39077" y="connsiteY39077"/>
              </a:cxn>
              <a:cxn ang="0">
                <a:pos x="connsiteX39078" y="connsiteY39078"/>
              </a:cxn>
              <a:cxn ang="0">
                <a:pos x="connsiteX39079" y="connsiteY39079"/>
              </a:cxn>
              <a:cxn ang="0">
                <a:pos x="connsiteX39080" y="connsiteY39080"/>
              </a:cxn>
              <a:cxn ang="0">
                <a:pos x="connsiteX39081" y="connsiteY39081"/>
              </a:cxn>
              <a:cxn ang="0">
                <a:pos x="connsiteX39082" y="connsiteY39082"/>
              </a:cxn>
              <a:cxn ang="0">
                <a:pos x="connsiteX39083" y="connsiteY39083"/>
              </a:cxn>
              <a:cxn ang="0">
                <a:pos x="connsiteX39084" y="connsiteY39084"/>
              </a:cxn>
              <a:cxn ang="0">
                <a:pos x="connsiteX39085" y="connsiteY39085"/>
              </a:cxn>
              <a:cxn ang="0">
                <a:pos x="connsiteX39086" y="connsiteY39086"/>
              </a:cxn>
              <a:cxn ang="0">
                <a:pos x="connsiteX39087" y="connsiteY39087"/>
              </a:cxn>
              <a:cxn ang="0">
                <a:pos x="connsiteX39088" y="connsiteY39088"/>
              </a:cxn>
              <a:cxn ang="0">
                <a:pos x="connsiteX39089" y="connsiteY39089"/>
              </a:cxn>
              <a:cxn ang="0">
                <a:pos x="connsiteX39090" y="connsiteY39090"/>
              </a:cxn>
              <a:cxn ang="0">
                <a:pos x="connsiteX39091" y="connsiteY39091"/>
              </a:cxn>
              <a:cxn ang="0">
                <a:pos x="connsiteX39092" y="connsiteY39092"/>
              </a:cxn>
              <a:cxn ang="0">
                <a:pos x="connsiteX39093" y="connsiteY39093"/>
              </a:cxn>
              <a:cxn ang="0">
                <a:pos x="connsiteX39094" y="connsiteY39094"/>
              </a:cxn>
              <a:cxn ang="0">
                <a:pos x="connsiteX39095" y="connsiteY39095"/>
              </a:cxn>
              <a:cxn ang="0">
                <a:pos x="connsiteX39096" y="connsiteY39096"/>
              </a:cxn>
              <a:cxn ang="0">
                <a:pos x="connsiteX39097" y="connsiteY39097"/>
              </a:cxn>
              <a:cxn ang="0">
                <a:pos x="connsiteX39098" y="connsiteY39098"/>
              </a:cxn>
              <a:cxn ang="0">
                <a:pos x="connsiteX39099" y="connsiteY39099"/>
              </a:cxn>
              <a:cxn ang="0">
                <a:pos x="connsiteX39100" y="connsiteY39100"/>
              </a:cxn>
              <a:cxn ang="0">
                <a:pos x="connsiteX39101" y="connsiteY39101"/>
              </a:cxn>
              <a:cxn ang="0">
                <a:pos x="connsiteX39102" y="connsiteY39102"/>
              </a:cxn>
              <a:cxn ang="0">
                <a:pos x="connsiteX39103" y="connsiteY39103"/>
              </a:cxn>
              <a:cxn ang="0">
                <a:pos x="connsiteX39104" y="connsiteY39104"/>
              </a:cxn>
              <a:cxn ang="0">
                <a:pos x="connsiteX39105" y="connsiteY39105"/>
              </a:cxn>
              <a:cxn ang="0">
                <a:pos x="connsiteX39106" y="connsiteY39106"/>
              </a:cxn>
              <a:cxn ang="0">
                <a:pos x="connsiteX39107" y="connsiteY39107"/>
              </a:cxn>
              <a:cxn ang="0">
                <a:pos x="connsiteX39108" y="connsiteY39108"/>
              </a:cxn>
              <a:cxn ang="0">
                <a:pos x="connsiteX39109" y="connsiteY39109"/>
              </a:cxn>
              <a:cxn ang="0">
                <a:pos x="connsiteX39110" y="connsiteY39110"/>
              </a:cxn>
              <a:cxn ang="0">
                <a:pos x="connsiteX39111" y="connsiteY39111"/>
              </a:cxn>
              <a:cxn ang="0">
                <a:pos x="connsiteX39112" y="connsiteY39112"/>
              </a:cxn>
              <a:cxn ang="0">
                <a:pos x="connsiteX39113" y="connsiteY39113"/>
              </a:cxn>
              <a:cxn ang="0">
                <a:pos x="connsiteX39114" y="connsiteY39114"/>
              </a:cxn>
              <a:cxn ang="0">
                <a:pos x="connsiteX39115" y="connsiteY39115"/>
              </a:cxn>
              <a:cxn ang="0">
                <a:pos x="connsiteX39116" y="connsiteY39116"/>
              </a:cxn>
              <a:cxn ang="0">
                <a:pos x="connsiteX39117" y="connsiteY39117"/>
              </a:cxn>
              <a:cxn ang="0">
                <a:pos x="connsiteX39118" y="connsiteY39118"/>
              </a:cxn>
              <a:cxn ang="0">
                <a:pos x="connsiteX39119" y="connsiteY39119"/>
              </a:cxn>
              <a:cxn ang="0">
                <a:pos x="connsiteX39120" y="connsiteY39120"/>
              </a:cxn>
              <a:cxn ang="0">
                <a:pos x="connsiteX39121" y="connsiteY39121"/>
              </a:cxn>
              <a:cxn ang="0">
                <a:pos x="connsiteX39122" y="connsiteY39122"/>
              </a:cxn>
              <a:cxn ang="0">
                <a:pos x="connsiteX39123" y="connsiteY39123"/>
              </a:cxn>
              <a:cxn ang="0">
                <a:pos x="connsiteX39124" y="connsiteY39124"/>
              </a:cxn>
              <a:cxn ang="0">
                <a:pos x="connsiteX39125" y="connsiteY39125"/>
              </a:cxn>
              <a:cxn ang="0">
                <a:pos x="connsiteX39126" y="connsiteY39126"/>
              </a:cxn>
              <a:cxn ang="0">
                <a:pos x="connsiteX39127" y="connsiteY39127"/>
              </a:cxn>
              <a:cxn ang="0">
                <a:pos x="connsiteX39128" y="connsiteY39128"/>
              </a:cxn>
              <a:cxn ang="0">
                <a:pos x="connsiteX39129" y="connsiteY39129"/>
              </a:cxn>
              <a:cxn ang="0">
                <a:pos x="connsiteX39130" y="connsiteY39130"/>
              </a:cxn>
              <a:cxn ang="0">
                <a:pos x="connsiteX39131" y="connsiteY39131"/>
              </a:cxn>
              <a:cxn ang="0">
                <a:pos x="connsiteX39132" y="connsiteY39132"/>
              </a:cxn>
              <a:cxn ang="0">
                <a:pos x="connsiteX39133" y="connsiteY39133"/>
              </a:cxn>
              <a:cxn ang="0">
                <a:pos x="connsiteX39134" y="connsiteY39134"/>
              </a:cxn>
              <a:cxn ang="0">
                <a:pos x="connsiteX39135" y="connsiteY39135"/>
              </a:cxn>
              <a:cxn ang="0">
                <a:pos x="connsiteX39136" y="connsiteY39136"/>
              </a:cxn>
              <a:cxn ang="0">
                <a:pos x="connsiteX39137" y="connsiteY39137"/>
              </a:cxn>
              <a:cxn ang="0">
                <a:pos x="connsiteX39138" y="connsiteY39138"/>
              </a:cxn>
              <a:cxn ang="0">
                <a:pos x="connsiteX39139" y="connsiteY39139"/>
              </a:cxn>
              <a:cxn ang="0">
                <a:pos x="connsiteX39140" y="connsiteY39140"/>
              </a:cxn>
              <a:cxn ang="0">
                <a:pos x="connsiteX39141" y="connsiteY39141"/>
              </a:cxn>
              <a:cxn ang="0">
                <a:pos x="connsiteX39142" y="connsiteY39142"/>
              </a:cxn>
              <a:cxn ang="0">
                <a:pos x="connsiteX39143" y="connsiteY39143"/>
              </a:cxn>
              <a:cxn ang="0">
                <a:pos x="connsiteX39144" y="connsiteY39144"/>
              </a:cxn>
              <a:cxn ang="0">
                <a:pos x="connsiteX39145" y="connsiteY39145"/>
              </a:cxn>
              <a:cxn ang="0">
                <a:pos x="connsiteX39146" y="connsiteY39146"/>
              </a:cxn>
              <a:cxn ang="0">
                <a:pos x="connsiteX39147" y="connsiteY39147"/>
              </a:cxn>
              <a:cxn ang="0">
                <a:pos x="connsiteX39148" y="connsiteY39148"/>
              </a:cxn>
              <a:cxn ang="0">
                <a:pos x="connsiteX39149" y="connsiteY39149"/>
              </a:cxn>
              <a:cxn ang="0">
                <a:pos x="connsiteX39150" y="connsiteY39150"/>
              </a:cxn>
              <a:cxn ang="0">
                <a:pos x="connsiteX39151" y="connsiteY39151"/>
              </a:cxn>
              <a:cxn ang="0">
                <a:pos x="connsiteX39152" y="connsiteY39152"/>
              </a:cxn>
              <a:cxn ang="0">
                <a:pos x="connsiteX39153" y="connsiteY39153"/>
              </a:cxn>
              <a:cxn ang="0">
                <a:pos x="connsiteX39154" y="connsiteY39154"/>
              </a:cxn>
              <a:cxn ang="0">
                <a:pos x="connsiteX39155" y="connsiteY39155"/>
              </a:cxn>
              <a:cxn ang="0">
                <a:pos x="connsiteX39156" y="connsiteY39156"/>
              </a:cxn>
              <a:cxn ang="0">
                <a:pos x="connsiteX39157" y="connsiteY39157"/>
              </a:cxn>
              <a:cxn ang="0">
                <a:pos x="connsiteX39158" y="connsiteY39158"/>
              </a:cxn>
              <a:cxn ang="0">
                <a:pos x="connsiteX39159" y="connsiteY39159"/>
              </a:cxn>
              <a:cxn ang="0">
                <a:pos x="connsiteX39160" y="connsiteY39160"/>
              </a:cxn>
              <a:cxn ang="0">
                <a:pos x="connsiteX39161" y="connsiteY39161"/>
              </a:cxn>
              <a:cxn ang="0">
                <a:pos x="connsiteX39162" y="connsiteY39162"/>
              </a:cxn>
              <a:cxn ang="0">
                <a:pos x="connsiteX39163" y="connsiteY39163"/>
              </a:cxn>
              <a:cxn ang="0">
                <a:pos x="connsiteX39164" y="connsiteY39164"/>
              </a:cxn>
              <a:cxn ang="0">
                <a:pos x="connsiteX39165" y="connsiteY39165"/>
              </a:cxn>
              <a:cxn ang="0">
                <a:pos x="connsiteX39166" y="connsiteY39166"/>
              </a:cxn>
              <a:cxn ang="0">
                <a:pos x="connsiteX39167" y="connsiteY39167"/>
              </a:cxn>
              <a:cxn ang="0">
                <a:pos x="connsiteX39168" y="connsiteY39168"/>
              </a:cxn>
              <a:cxn ang="0">
                <a:pos x="connsiteX39169" y="connsiteY39169"/>
              </a:cxn>
              <a:cxn ang="0">
                <a:pos x="connsiteX39170" y="connsiteY39170"/>
              </a:cxn>
              <a:cxn ang="0">
                <a:pos x="connsiteX39171" y="connsiteY39171"/>
              </a:cxn>
              <a:cxn ang="0">
                <a:pos x="connsiteX39172" y="connsiteY39172"/>
              </a:cxn>
              <a:cxn ang="0">
                <a:pos x="connsiteX39173" y="connsiteY39173"/>
              </a:cxn>
              <a:cxn ang="0">
                <a:pos x="connsiteX39174" y="connsiteY39174"/>
              </a:cxn>
              <a:cxn ang="0">
                <a:pos x="connsiteX39175" y="connsiteY39175"/>
              </a:cxn>
              <a:cxn ang="0">
                <a:pos x="connsiteX39176" y="connsiteY39176"/>
              </a:cxn>
              <a:cxn ang="0">
                <a:pos x="connsiteX39177" y="connsiteY39177"/>
              </a:cxn>
              <a:cxn ang="0">
                <a:pos x="connsiteX39178" y="connsiteY39178"/>
              </a:cxn>
              <a:cxn ang="0">
                <a:pos x="connsiteX39179" y="connsiteY39179"/>
              </a:cxn>
              <a:cxn ang="0">
                <a:pos x="connsiteX39180" y="connsiteY39180"/>
              </a:cxn>
              <a:cxn ang="0">
                <a:pos x="connsiteX39181" y="connsiteY39181"/>
              </a:cxn>
              <a:cxn ang="0">
                <a:pos x="connsiteX39182" y="connsiteY39182"/>
              </a:cxn>
              <a:cxn ang="0">
                <a:pos x="connsiteX39183" y="connsiteY39183"/>
              </a:cxn>
              <a:cxn ang="0">
                <a:pos x="connsiteX39184" y="connsiteY39184"/>
              </a:cxn>
              <a:cxn ang="0">
                <a:pos x="connsiteX39185" y="connsiteY39185"/>
              </a:cxn>
              <a:cxn ang="0">
                <a:pos x="connsiteX39186" y="connsiteY39186"/>
              </a:cxn>
              <a:cxn ang="0">
                <a:pos x="connsiteX39187" y="connsiteY39187"/>
              </a:cxn>
              <a:cxn ang="0">
                <a:pos x="connsiteX39188" y="connsiteY39188"/>
              </a:cxn>
              <a:cxn ang="0">
                <a:pos x="connsiteX39189" y="connsiteY39189"/>
              </a:cxn>
              <a:cxn ang="0">
                <a:pos x="connsiteX39190" y="connsiteY39190"/>
              </a:cxn>
              <a:cxn ang="0">
                <a:pos x="connsiteX39191" y="connsiteY39191"/>
              </a:cxn>
              <a:cxn ang="0">
                <a:pos x="connsiteX39192" y="connsiteY39192"/>
              </a:cxn>
              <a:cxn ang="0">
                <a:pos x="connsiteX39193" y="connsiteY39193"/>
              </a:cxn>
              <a:cxn ang="0">
                <a:pos x="connsiteX39194" y="connsiteY39194"/>
              </a:cxn>
              <a:cxn ang="0">
                <a:pos x="connsiteX39195" y="connsiteY39195"/>
              </a:cxn>
              <a:cxn ang="0">
                <a:pos x="connsiteX39196" y="connsiteY39196"/>
              </a:cxn>
              <a:cxn ang="0">
                <a:pos x="connsiteX39197" y="connsiteY39197"/>
              </a:cxn>
              <a:cxn ang="0">
                <a:pos x="connsiteX39198" y="connsiteY39198"/>
              </a:cxn>
              <a:cxn ang="0">
                <a:pos x="connsiteX39199" y="connsiteY39199"/>
              </a:cxn>
              <a:cxn ang="0">
                <a:pos x="connsiteX39200" y="connsiteY39200"/>
              </a:cxn>
              <a:cxn ang="0">
                <a:pos x="connsiteX39201" y="connsiteY39201"/>
              </a:cxn>
              <a:cxn ang="0">
                <a:pos x="connsiteX39202" y="connsiteY39202"/>
              </a:cxn>
              <a:cxn ang="0">
                <a:pos x="connsiteX39203" y="connsiteY39203"/>
              </a:cxn>
              <a:cxn ang="0">
                <a:pos x="connsiteX39204" y="connsiteY39204"/>
              </a:cxn>
              <a:cxn ang="0">
                <a:pos x="connsiteX39205" y="connsiteY39205"/>
              </a:cxn>
              <a:cxn ang="0">
                <a:pos x="connsiteX39206" y="connsiteY39206"/>
              </a:cxn>
              <a:cxn ang="0">
                <a:pos x="connsiteX39207" y="connsiteY39207"/>
              </a:cxn>
              <a:cxn ang="0">
                <a:pos x="connsiteX39208" y="connsiteY39208"/>
              </a:cxn>
              <a:cxn ang="0">
                <a:pos x="connsiteX39209" y="connsiteY39209"/>
              </a:cxn>
              <a:cxn ang="0">
                <a:pos x="connsiteX39210" y="connsiteY39210"/>
              </a:cxn>
              <a:cxn ang="0">
                <a:pos x="connsiteX39211" y="connsiteY39211"/>
              </a:cxn>
              <a:cxn ang="0">
                <a:pos x="connsiteX39212" y="connsiteY39212"/>
              </a:cxn>
              <a:cxn ang="0">
                <a:pos x="connsiteX39213" y="connsiteY39213"/>
              </a:cxn>
              <a:cxn ang="0">
                <a:pos x="connsiteX39214" y="connsiteY39214"/>
              </a:cxn>
              <a:cxn ang="0">
                <a:pos x="connsiteX39215" y="connsiteY39215"/>
              </a:cxn>
              <a:cxn ang="0">
                <a:pos x="connsiteX39216" y="connsiteY39216"/>
              </a:cxn>
              <a:cxn ang="0">
                <a:pos x="connsiteX39217" y="connsiteY39217"/>
              </a:cxn>
              <a:cxn ang="0">
                <a:pos x="connsiteX39218" y="connsiteY39218"/>
              </a:cxn>
              <a:cxn ang="0">
                <a:pos x="connsiteX39219" y="connsiteY39219"/>
              </a:cxn>
              <a:cxn ang="0">
                <a:pos x="connsiteX39220" y="connsiteY39220"/>
              </a:cxn>
              <a:cxn ang="0">
                <a:pos x="connsiteX39221" y="connsiteY39221"/>
              </a:cxn>
              <a:cxn ang="0">
                <a:pos x="connsiteX39222" y="connsiteY39222"/>
              </a:cxn>
              <a:cxn ang="0">
                <a:pos x="connsiteX39223" y="connsiteY39223"/>
              </a:cxn>
              <a:cxn ang="0">
                <a:pos x="connsiteX39224" y="connsiteY39224"/>
              </a:cxn>
              <a:cxn ang="0">
                <a:pos x="connsiteX39225" y="connsiteY39225"/>
              </a:cxn>
              <a:cxn ang="0">
                <a:pos x="connsiteX39226" y="connsiteY39226"/>
              </a:cxn>
              <a:cxn ang="0">
                <a:pos x="connsiteX39227" y="connsiteY39227"/>
              </a:cxn>
              <a:cxn ang="0">
                <a:pos x="connsiteX39228" y="connsiteY39228"/>
              </a:cxn>
              <a:cxn ang="0">
                <a:pos x="connsiteX39229" y="connsiteY39229"/>
              </a:cxn>
              <a:cxn ang="0">
                <a:pos x="connsiteX39230" y="connsiteY39230"/>
              </a:cxn>
              <a:cxn ang="0">
                <a:pos x="connsiteX39231" y="connsiteY39231"/>
              </a:cxn>
              <a:cxn ang="0">
                <a:pos x="connsiteX39232" y="connsiteY39232"/>
              </a:cxn>
              <a:cxn ang="0">
                <a:pos x="connsiteX39233" y="connsiteY39233"/>
              </a:cxn>
              <a:cxn ang="0">
                <a:pos x="connsiteX39234" y="connsiteY39234"/>
              </a:cxn>
              <a:cxn ang="0">
                <a:pos x="connsiteX39235" y="connsiteY39235"/>
              </a:cxn>
              <a:cxn ang="0">
                <a:pos x="connsiteX39236" y="connsiteY39236"/>
              </a:cxn>
              <a:cxn ang="0">
                <a:pos x="connsiteX39237" y="connsiteY39237"/>
              </a:cxn>
              <a:cxn ang="0">
                <a:pos x="connsiteX39238" y="connsiteY39238"/>
              </a:cxn>
              <a:cxn ang="0">
                <a:pos x="connsiteX39239" y="connsiteY39239"/>
              </a:cxn>
              <a:cxn ang="0">
                <a:pos x="connsiteX39240" y="connsiteY39240"/>
              </a:cxn>
              <a:cxn ang="0">
                <a:pos x="connsiteX39241" y="connsiteY39241"/>
              </a:cxn>
              <a:cxn ang="0">
                <a:pos x="connsiteX39242" y="connsiteY39242"/>
              </a:cxn>
              <a:cxn ang="0">
                <a:pos x="connsiteX39243" y="connsiteY39243"/>
              </a:cxn>
              <a:cxn ang="0">
                <a:pos x="connsiteX39244" y="connsiteY39244"/>
              </a:cxn>
              <a:cxn ang="0">
                <a:pos x="connsiteX39245" y="connsiteY39245"/>
              </a:cxn>
              <a:cxn ang="0">
                <a:pos x="connsiteX39246" y="connsiteY39246"/>
              </a:cxn>
              <a:cxn ang="0">
                <a:pos x="connsiteX39247" y="connsiteY39247"/>
              </a:cxn>
              <a:cxn ang="0">
                <a:pos x="connsiteX39248" y="connsiteY39248"/>
              </a:cxn>
              <a:cxn ang="0">
                <a:pos x="connsiteX39249" y="connsiteY39249"/>
              </a:cxn>
              <a:cxn ang="0">
                <a:pos x="connsiteX39250" y="connsiteY39250"/>
              </a:cxn>
              <a:cxn ang="0">
                <a:pos x="connsiteX39251" y="connsiteY39251"/>
              </a:cxn>
              <a:cxn ang="0">
                <a:pos x="connsiteX39252" y="connsiteY39252"/>
              </a:cxn>
              <a:cxn ang="0">
                <a:pos x="connsiteX39253" y="connsiteY39253"/>
              </a:cxn>
              <a:cxn ang="0">
                <a:pos x="connsiteX39254" y="connsiteY39254"/>
              </a:cxn>
              <a:cxn ang="0">
                <a:pos x="connsiteX39255" y="connsiteY39255"/>
              </a:cxn>
              <a:cxn ang="0">
                <a:pos x="connsiteX39256" y="connsiteY39256"/>
              </a:cxn>
              <a:cxn ang="0">
                <a:pos x="connsiteX39257" y="connsiteY39257"/>
              </a:cxn>
              <a:cxn ang="0">
                <a:pos x="connsiteX39258" y="connsiteY39258"/>
              </a:cxn>
              <a:cxn ang="0">
                <a:pos x="connsiteX39259" y="connsiteY39259"/>
              </a:cxn>
              <a:cxn ang="0">
                <a:pos x="connsiteX39260" y="connsiteY39260"/>
              </a:cxn>
              <a:cxn ang="0">
                <a:pos x="connsiteX39261" y="connsiteY39261"/>
              </a:cxn>
              <a:cxn ang="0">
                <a:pos x="connsiteX39262" y="connsiteY39262"/>
              </a:cxn>
              <a:cxn ang="0">
                <a:pos x="connsiteX39263" y="connsiteY39263"/>
              </a:cxn>
              <a:cxn ang="0">
                <a:pos x="connsiteX39264" y="connsiteY39264"/>
              </a:cxn>
              <a:cxn ang="0">
                <a:pos x="connsiteX39265" y="connsiteY39265"/>
              </a:cxn>
              <a:cxn ang="0">
                <a:pos x="connsiteX39266" y="connsiteY39266"/>
              </a:cxn>
              <a:cxn ang="0">
                <a:pos x="connsiteX39267" y="connsiteY39267"/>
              </a:cxn>
              <a:cxn ang="0">
                <a:pos x="connsiteX39268" y="connsiteY39268"/>
              </a:cxn>
              <a:cxn ang="0">
                <a:pos x="connsiteX39269" y="connsiteY39269"/>
              </a:cxn>
              <a:cxn ang="0">
                <a:pos x="connsiteX39270" y="connsiteY39270"/>
              </a:cxn>
              <a:cxn ang="0">
                <a:pos x="connsiteX39271" y="connsiteY39271"/>
              </a:cxn>
              <a:cxn ang="0">
                <a:pos x="connsiteX39272" y="connsiteY39272"/>
              </a:cxn>
              <a:cxn ang="0">
                <a:pos x="connsiteX39273" y="connsiteY39273"/>
              </a:cxn>
              <a:cxn ang="0">
                <a:pos x="connsiteX39274" y="connsiteY39274"/>
              </a:cxn>
              <a:cxn ang="0">
                <a:pos x="connsiteX39275" y="connsiteY39275"/>
              </a:cxn>
              <a:cxn ang="0">
                <a:pos x="connsiteX39276" y="connsiteY39276"/>
              </a:cxn>
              <a:cxn ang="0">
                <a:pos x="connsiteX39277" y="connsiteY39277"/>
              </a:cxn>
              <a:cxn ang="0">
                <a:pos x="connsiteX39278" y="connsiteY39278"/>
              </a:cxn>
              <a:cxn ang="0">
                <a:pos x="connsiteX39279" y="connsiteY39279"/>
              </a:cxn>
              <a:cxn ang="0">
                <a:pos x="connsiteX39280" y="connsiteY39280"/>
              </a:cxn>
              <a:cxn ang="0">
                <a:pos x="connsiteX39281" y="connsiteY39281"/>
              </a:cxn>
              <a:cxn ang="0">
                <a:pos x="connsiteX39282" y="connsiteY39282"/>
              </a:cxn>
              <a:cxn ang="0">
                <a:pos x="connsiteX39283" y="connsiteY39283"/>
              </a:cxn>
              <a:cxn ang="0">
                <a:pos x="connsiteX39284" y="connsiteY39284"/>
              </a:cxn>
              <a:cxn ang="0">
                <a:pos x="connsiteX39285" y="connsiteY39285"/>
              </a:cxn>
              <a:cxn ang="0">
                <a:pos x="connsiteX39286" y="connsiteY39286"/>
              </a:cxn>
              <a:cxn ang="0">
                <a:pos x="connsiteX39287" y="connsiteY39287"/>
              </a:cxn>
              <a:cxn ang="0">
                <a:pos x="connsiteX39288" y="connsiteY39288"/>
              </a:cxn>
              <a:cxn ang="0">
                <a:pos x="connsiteX39289" y="connsiteY39289"/>
              </a:cxn>
              <a:cxn ang="0">
                <a:pos x="connsiteX39290" y="connsiteY39290"/>
              </a:cxn>
              <a:cxn ang="0">
                <a:pos x="connsiteX39291" y="connsiteY39291"/>
              </a:cxn>
              <a:cxn ang="0">
                <a:pos x="connsiteX39292" y="connsiteY39292"/>
              </a:cxn>
              <a:cxn ang="0">
                <a:pos x="connsiteX39293" y="connsiteY39293"/>
              </a:cxn>
              <a:cxn ang="0">
                <a:pos x="connsiteX39294" y="connsiteY39294"/>
              </a:cxn>
              <a:cxn ang="0">
                <a:pos x="connsiteX39295" y="connsiteY39295"/>
              </a:cxn>
              <a:cxn ang="0">
                <a:pos x="connsiteX39296" y="connsiteY39296"/>
              </a:cxn>
              <a:cxn ang="0">
                <a:pos x="connsiteX39297" y="connsiteY39297"/>
              </a:cxn>
              <a:cxn ang="0">
                <a:pos x="connsiteX39298" y="connsiteY39298"/>
              </a:cxn>
              <a:cxn ang="0">
                <a:pos x="connsiteX39299" y="connsiteY39299"/>
              </a:cxn>
              <a:cxn ang="0">
                <a:pos x="connsiteX39300" y="connsiteY39300"/>
              </a:cxn>
              <a:cxn ang="0">
                <a:pos x="connsiteX39301" y="connsiteY39301"/>
              </a:cxn>
              <a:cxn ang="0">
                <a:pos x="connsiteX39302" y="connsiteY39302"/>
              </a:cxn>
              <a:cxn ang="0">
                <a:pos x="connsiteX39303" y="connsiteY39303"/>
              </a:cxn>
              <a:cxn ang="0">
                <a:pos x="connsiteX39304" y="connsiteY39304"/>
              </a:cxn>
              <a:cxn ang="0">
                <a:pos x="connsiteX39305" y="connsiteY39305"/>
              </a:cxn>
              <a:cxn ang="0">
                <a:pos x="connsiteX39306" y="connsiteY39306"/>
              </a:cxn>
              <a:cxn ang="0">
                <a:pos x="connsiteX39307" y="connsiteY39307"/>
              </a:cxn>
              <a:cxn ang="0">
                <a:pos x="connsiteX39308" y="connsiteY39308"/>
              </a:cxn>
              <a:cxn ang="0">
                <a:pos x="connsiteX39309" y="connsiteY39309"/>
              </a:cxn>
              <a:cxn ang="0">
                <a:pos x="connsiteX39310" y="connsiteY39310"/>
              </a:cxn>
              <a:cxn ang="0">
                <a:pos x="connsiteX39311" y="connsiteY39311"/>
              </a:cxn>
              <a:cxn ang="0">
                <a:pos x="connsiteX39312" y="connsiteY39312"/>
              </a:cxn>
              <a:cxn ang="0">
                <a:pos x="connsiteX39313" y="connsiteY39313"/>
              </a:cxn>
              <a:cxn ang="0">
                <a:pos x="connsiteX39314" y="connsiteY39314"/>
              </a:cxn>
              <a:cxn ang="0">
                <a:pos x="connsiteX39315" y="connsiteY39315"/>
              </a:cxn>
              <a:cxn ang="0">
                <a:pos x="connsiteX39316" y="connsiteY39316"/>
              </a:cxn>
              <a:cxn ang="0">
                <a:pos x="connsiteX39317" y="connsiteY39317"/>
              </a:cxn>
              <a:cxn ang="0">
                <a:pos x="connsiteX39318" y="connsiteY39318"/>
              </a:cxn>
              <a:cxn ang="0">
                <a:pos x="connsiteX39319" y="connsiteY39319"/>
              </a:cxn>
              <a:cxn ang="0">
                <a:pos x="connsiteX39320" y="connsiteY39320"/>
              </a:cxn>
              <a:cxn ang="0">
                <a:pos x="connsiteX39321" y="connsiteY39321"/>
              </a:cxn>
              <a:cxn ang="0">
                <a:pos x="connsiteX39322" y="connsiteY39322"/>
              </a:cxn>
              <a:cxn ang="0">
                <a:pos x="connsiteX39323" y="connsiteY39323"/>
              </a:cxn>
              <a:cxn ang="0">
                <a:pos x="connsiteX39324" y="connsiteY39324"/>
              </a:cxn>
              <a:cxn ang="0">
                <a:pos x="connsiteX39325" y="connsiteY39325"/>
              </a:cxn>
              <a:cxn ang="0">
                <a:pos x="connsiteX39326" y="connsiteY39326"/>
              </a:cxn>
              <a:cxn ang="0">
                <a:pos x="connsiteX39327" y="connsiteY39327"/>
              </a:cxn>
              <a:cxn ang="0">
                <a:pos x="connsiteX39328" y="connsiteY39328"/>
              </a:cxn>
              <a:cxn ang="0">
                <a:pos x="connsiteX39329" y="connsiteY39329"/>
              </a:cxn>
              <a:cxn ang="0">
                <a:pos x="connsiteX39330" y="connsiteY39330"/>
              </a:cxn>
              <a:cxn ang="0">
                <a:pos x="connsiteX39331" y="connsiteY39331"/>
              </a:cxn>
              <a:cxn ang="0">
                <a:pos x="connsiteX39332" y="connsiteY39332"/>
              </a:cxn>
              <a:cxn ang="0">
                <a:pos x="connsiteX39333" y="connsiteY39333"/>
              </a:cxn>
              <a:cxn ang="0">
                <a:pos x="connsiteX39334" y="connsiteY39334"/>
              </a:cxn>
              <a:cxn ang="0">
                <a:pos x="connsiteX39335" y="connsiteY39335"/>
              </a:cxn>
              <a:cxn ang="0">
                <a:pos x="connsiteX39336" y="connsiteY39336"/>
              </a:cxn>
              <a:cxn ang="0">
                <a:pos x="connsiteX39337" y="connsiteY39337"/>
              </a:cxn>
              <a:cxn ang="0">
                <a:pos x="connsiteX39338" y="connsiteY39338"/>
              </a:cxn>
              <a:cxn ang="0">
                <a:pos x="connsiteX39339" y="connsiteY39339"/>
              </a:cxn>
              <a:cxn ang="0">
                <a:pos x="connsiteX39340" y="connsiteY39340"/>
              </a:cxn>
              <a:cxn ang="0">
                <a:pos x="connsiteX39341" y="connsiteY39341"/>
              </a:cxn>
              <a:cxn ang="0">
                <a:pos x="connsiteX39342" y="connsiteY39342"/>
              </a:cxn>
              <a:cxn ang="0">
                <a:pos x="connsiteX39343" y="connsiteY39343"/>
              </a:cxn>
              <a:cxn ang="0">
                <a:pos x="connsiteX39344" y="connsiteY39344"/>
              </a:cxn>
              <a:cxn ang="0">
                <a:pos x="connsiteX39345" y="connsiteY39345"/>
              </a:cxn>
              <a:cxn ang="0">
                <a:pos x="connsiteX39346" y="connsiteY39346"/>
              </a:cxn>
              <a:cxn ang="0">
                <a:pos x="connsiteX39347" y="connsiteY39347"/>
              </a:cxn>
              <a:cxn ang="0">
                <a:pos x="connsiteX39348" y="connsiteY39348"/>
              </a:cxn>
              <a:cxn ang="0">
                <a:pos x="connsiteX39349" y="connsiteY39349"/>
              </a:cxn>
              <a:cxn ang="0">
                <a:pos x="connsiteX39350" y="connsiteY39350"/>
              </a:cxn>
              <a:cxn ang="0">
                <a:pos x="connsiteX39351" y="connsiteY39351"/>
              </a:cxn>
              <a:cxn ang="0">
                <a:pos x="connsiteX39352" y="connsiteY39352"/>
              </a:cxn>
              <a:cxn ang="0">
                <a:pos x="connsiteX39353" y="connsiteY39353"/>
              </a:cxn>
              <a:cxn ang="0">
                <a:pos x="connsiteX39354" y="connsiteY39354"/>
              </a:cxn>
              <a:cxn ang="0">
                <a:pos x="connsiteX39355" y="connsiteY39355"/>
              </a:cxn>
              <a:cxn ang="0">
                <a:pos x="connsiteX39356" y="connsiteY39356"/>
              </a:cxn>
              <a:cxn ang="0">
                <a:pos x="connsiteX39357" y="connsiteY39357"/>
              </a:cxn>
              <a:cxn ang="0">
                <a:pos x="connsiteX39358" y="connsiteY39358"/>
              </a:cxn>
              <a:cxn ang="0">
                <a:pos x="connsiteX39359" y="connsiteY39359"/>
              </a:cxn>
              <a:cxn ang="0">
                <a:pos x="connsiteX39360" y="connsiteY39360"/>
              </a:cxn>
              <a:cxn ang="0">
                <a:pos x="connsiteX39361" y="connsiteY39361"/>
              </a:cxn>
              <a:cxn ang="0">
                <a:pos x="connsiteX39362" y="connsiteY39362"/>
              </a:cxn>
              <a:cxn ang="0">
                <a:pos x="connsiteX39363" y="connsiteY39363"/>
              </a:cxn>
              <a:cxn ang="0">
                <a:pos x="connsiteX39364" y="connsiteY39364"/>
              </a:cxn>
              <a:cxn ang="0">
                <a:pos x="connsiteX39365" y="connsiteY39365"/>
              </a:cxn>
              <a:cxn ang="0">
                <a:pos x="connsiteX39366" y="connsiteY39366"/>
              </a:cxn>
              <a:cxn ang="0">
                <a:pos x="connsiteX39367" y="connsiteY39367"/>
              </a:cxn>
              <a:cxn ang="0">
                <a:pos x="connsiteX39368" y="connsiteY39368"/>
              </a:cxn>
              <a:cxn ang="0">
                <a:pos x="connsiteX39369" y="connsiteY39369"/>
              </a:cxn>
              <a:cxn ang="0">
                <a:pos x="connsiteX39370" y="connsiteY39370"/>
              </a:cxn>
              <a:cxn ang="0">
                <a:pos x="connsiteX39371" y="connsiteY39371"/>
              </a:cxn>
              <a:cxn ang="0">
                <a:pos x="connsiteX39372" y="connsiteY39372"/>
              </a:cxn>
              <a:cxn ang="0">
                <a:pos x="connsiteX39373" y="connsiteY39373"/>
              </a:cxn>
              <a:cxn ang="0">
                <a:pos x="connsiteX39374" y="connsiteY39374"/>
              </a:cxn>
              <a:cxn ang="0">
                <a:pos x="connsiteX39375" y="connsiteY39375"/>
              </a:cxn>
              <a:cxn ang="0">
                <a:pos x="connsiteX39376" y="connsiteY39376"/>
              </a:cxn>
              <a:cxn ang="0">
                <a:pos x="connsiteX39377" y="connsiteY39377"/>
              </a:cxn>
              <a:cxn ang="0">
                <a:pos x="connsiteX39378" y="connsiteY39378"/>
              </a:cxn>
              <a:cxn ang="0">
                <a:pos x="connsiteX39379" y="connsiteY39379"/>
              </a:cxn>
              <a:cxn ang="0">
                <a:pos x="connsiteX39380" y="connsiteY39380"/>
              </a:cxn>
              <a:cxn ang="0">
                <a:pos x="connsiteX39381" y="connsiteY39381"/>
              </a:cxn>
              <a:cxn ang="0">
                <a:pos x="connsiteX39382" y="connsiteY39382"/>
              </a:cxn>
              <a:cxn ang="0">
                <a:pos x="connsiteX39383" y="connsiteY39383"/>
              </a:cxn>
              <a:cxn ang="0">
                <a:pos x="connsiteX39384" y="connsiteY39384"/>
              </a:cxn>
              <a:cxn ang="0">
                <a:pos x="connsiteX39385" y="connsiteY39385"/>
              </a:cxn>
              <a:cxn ang="0">
                <a:pos x="connsiteX39386" y="connsiteY39386"/>
              </a:cxn>
              <a:cxn ang="0">
                <a:pos x="connsiteX39387" y="connsiteY39387"/>
              </a:cxn>
              <a:cxn ang="0">
                <a:pos x="connsiteX39388" y="connsiteY39388"/>
              </a:cxn>
              <a:cxn ang="0">
                <a:pos x="connsiteX39389" y="connsiteY39389"/>
              </a:cxn>
              <a:cxn ang="0">
                <a:pos x="connsiteX39390" y="connsiteY39390"/>
              </a:cxn>
              <a:cxn ang="0">
                <a:pos x="connsiteX39391" y="connsiteY39391"/>
              </a:cxn>
              <a:cxn ang="0">
                <a:pos x="connsiteX39392" y="connsiteY39392"/>
              </a:cxn>
              <a:cxn ang="0">
                <a:pos x="connsiteX39393" y="connsiteY39393"/>
              </a:cxn>
              <a:cxn ang="0">
                <a:pos x="connsiteX39394" y="connsiteY39394"/>
              </a:cxn>
              <a:cxn ang="0">
                <a:pos x="connsiteX39395" y="connsiteY39395"/>
              </a:cxn>
              <a:cxn ang="0">
                <a:pos x="connsiteX39396" y="connsiteY39396"/>
              </a:cxn>
              <a:cxn ang="0">
                <a:pos x="connsiteX39397" y="connsiteY39397"/>
              </a:cxn>
              <a:cxn ang="0">
                <a:pos x="connsiteX39398" y="connsiteY39398"/>
              </a:cxn>
              <a:cxn ang="0">
                <a:pos x="connsiteX39399" y="connsiteY39399"/>
              </a:cxn>
              <a:cxn ang="0">
                <a:pos x="connsiteX39400" y="connsiteY39400"/>
              </a:cxn>
              <a:cxn ang="0">
                <a:pos x="connsiteX39401" y="connsiteY39401"/>
              </a:cxn>
              <a:cxn ang="0">
                <a:pos x="connsiteX39402" y="connsiteY39402"/>
              </a:cxn>
              <a:cxn ang="0">
                <a:pos x="connsiteX39403" y="connsiteY39403"/>
              </a:cxn>
              <a:cxn ang="0">
                <a:pos x="connsiteX39404" y="connsiteY39404"/>
              </a:cxn>
              <a:cxn ang="0">
                <a:pos x="connsiteX39405" y="connsiteY39405"/>
              </a:cxn>
              <a:cxn ang="0">
                <a:pos x="connsiteX39406" y="connsiteY39406"/>
              </a:cxn>
              <a:cxn ang="0">
                <a:pos x="connsiteX39407" y="connsiteY39407"/>
              </a:cxn>
              <a:cxn ang="0">
                <a:pos x="connsiteX39408" y="connsiteY39408"/>
              </a:cxn>
              <a:cxn ang="0">
                <a:pos x="connsiteX39409" y="connsiteY39409"/>
              </a:cxn>
              <a:cxn ang="0">
                <a:pos x="connsiteX39410" y="connsiteY39410"/>
              </a:cxn>
              <a:cxn ang="0">
                <a:pos x="connsiteX39411" y="connsiteY39411"/>
              </a:cxn>
              <a:cxn ang="0">
                <a:pos x="connsiteX39412" y="connsiteY39412"/>
              </a:cxn>
              <a:cxn ang="0">
                <a:pos x="connsiteX39413" y="connsiteY39413"/>
              </a:cxn>
              <a:cxn ang="0">
                <a:pos x="connsiteX39414" y="connsiteY39414"/>
              </a:cxn>
              <a:cxn ang="0">
                <a:pos x="connsiteX39415" y="connsiteY39415"/>
              </a:cxn>
              <a:cxn ang="0">
                <a:pos x="connsiteX39416" y="connsiteY39416"/>
              </a:cxn>
              <a:cxn ang="0">
                <a:pos x="connsiteX39417" y="connsiteY39417"/>
              </a:cxn>
              <a:cxn ang="0">
                <a:pos x="connsiteX39418" y="connsiteY39418"/>
              </a:cxn>
              <a:cxn ang="0">
                <a:pos x="connsiteX39419" y="connsiteY39419"/>
              </a:cxn>
              <a:cxn ang="0">
                <a:pos x="connsiteX39420" y="connsiteY39420"/>
              </a:cxn>
              <a:cxn ang="0">
                <a:pos x="connsiteX39421" y="connsiteY39421"/>
              </a:cxn>
              <a:cxn ang="0">
                <a:pos x="connsiteX39422" y="connsiteY39422"/>
              </a:cxn>
              <a:cxn ang="0">
                <a:pos x="connsiteX39423" y="connsiteY39423"/>
              </a:cxn>
              <a:cxn ang="0">
                <a:pos x="connsiteX39424" y="connsiteY39424"/>
              </a:cxn>
              <a:cxn ang="0">
                <a:pos x="connsiteX39425" y="connsiteY39425"/>
              </a:cxn>
              <a:cxn ang="0">
                <a:pos x="connsiteX39426" y="connsiteY39426"/>
              </a:cxn>
              <a:cxn ang="0">
                <a:pos x="connsiteX39427" y="connsiteY39427"/>
              </a:cxn>
              <a:cxn ang="0">
                <a:pos x="connsiteX39428" y="connsiteY39428"/>
              </a:cxn>
              <a:cxn ang="0">
                <a:pos x="connsiteX39429" y="connsiteY39429"/>
              </a:cxn>
              <a:cxn ang="0">
                <a:pos x="connsiteX39430" y="connsiteY39430"/>
              </a:cxn>
              <a:cxn ang="0">
                <a:pos x="connsiteX39431" y="connsiteY39431"/>
              </a:cxn>
              <a:cxn ang="0">
                <a:pos x="connsiteX39432" y="connsiteY39432"/>
              </a:cxn>
              <a:cxn ang="0">
                <a:pos x="connsiteX39433" y="connsiteY39433"/>
              </a:cxn>
              <a:cxn ang="0">
                <a:pos x="connsiteX39434" y="connsiteY39434"/>
              </a:cxn>
              <a:cxn ang="0">
                <a:pos x="connsiteX39435" y="connsiteY39435"/>
              </a:cxn>
              <a:cxn ang="0">
                <a:pos x="connsiteX39436" y="connsiteY39436"/>
              </a:cxn>
              <a:cxn ang="0">
                <a:pos x="connsiteX39437" y="connsiteY39437"/>
              </a:cxn>
              <a:cxn ang="0">
                <a:pos x="connsiteX39438" y="connsiteY39438"/>
              </a:cxn>
              <a:cxn ang="0">
                <a:pos x="connsiteX39439" y="connsiteY39439"/>
              </a:cxn>
              <a:cxn ang="0">
                <a:pos x="connsiteX39440" y="connsiteY39440"/>
              </a:cxn>
              <a:cxn ang="0">
                <a:pos x="connsiteX39441" y="connsiteY39441"/>
              </a:cxn>
              <a:cxn ang="0">
                <a:pos x="connsiteX39442" y="connsiteY39442"/>
              </a:cxn>
              <a:cxn ang="0">
                <a:pos x="connsiteX39443" y="connsiteY39443"/>
              </a:cxn>
              <a:cxn ang="0">
                <a:pos x="connsiteX39444" y="connsiteY39444"/>
              </a:cxn>
              <a:cxn ang="0">
                <a:pos x="connsiteX39445" y="connsiteY39445"/>
              </a:cxn>
              <a:cxn ang="0">
                <a:pos x="connsiteX39446" y="connsiteY39446"/>
              </a:cxn>
              <a:cxn ang="0">
                <a:pos x="connsiteX39447" y="connsiteY39447"/>
              </a:cxn>
              <a:cxn ang="0">
                <a:pos x="connsiteX39448" y="connsiteY39448"/>
              </a:cxn>
              <a:cxn ang="0">
                <a:pos x="connsiteX39449" y="connsiteY39449"/>
              </a:cxn>
              <a:cxn ang="0">
                <a:pos x="connsiteX39450" y="connsiteY39450"/>
              </a:cxn>
              <a:cxn ang="0">
                <a:pos x="connsiteX39451" y="connsiteY39451"/>
              </a:cxn>
              <a:cxn ang="0">
                <a:pos x="connsiteX39452" y="connsiteY39452"/>
              </a:cxn>
              <a:cxn ang="0">
                <a:pos x="connsiteX39453" y="connsiteY39453"/>
              </a:cxn>
              <a:cxn ang="0">
                <a:pos x="connsiteX39454" y="connsiteY39454"/>
              </a:cxn>
              <a:cxn ang="0">
                <a:pos x="connsiteX39455" y="connsiteY39455"/>
              </a:cxn>
              <a:cxn ang="0">
                <a:pos x="connsiteX39456" y="connsiteY39456"/>
              </a:cxn>
              <a:cxn ang="0">
                <a:pos x="connsiteX39457" y="connsiteY39457"/>
              </a:cxn>
              <a:cxn ang="0">
                <a:pos x="connsiteX39458" y="connsiteY39458"/>
              </a:cxn>
              <a:cxn ang="0">
                <a:pos x="connsiteX39459" y="connsiteY39459"/>
              </a:cxn>
              <a:cxn ang="0">
                <a:pos x="connsiteX39460" y="connsiteY39460"/>
              </a:cxn>
              <a:cxn ang="0">
                <a:pos x="connsiteX39461" y="connsiteY39461"/>
              </a:cxn>
              <a:cxn ang="0">
                <a:pos x="connsiteX39462" y="connsiteY39462"/>
              </a:cxn>
              <a:cxn ang="0">
                <a:pos x="connsiteX39463" y="connsiteY39463"/>
              </a:cxn>
              <a:cxn ang="0">
                <a:pos x="connsiteX39464" y="connsiteY39464"/>
              </a:cxn>
              <a:cxn ang="0">
                <a:pos x="connsiteX39465" y="connsiteY39465"/>
              </a:cxn>
              <a:cxn ang="0">
                <a:pos x="connsiteX39466" y="connsiteY39466"/>
              </a:cxn>
              <a:cxn ang="0">
                <a:pos x="connsiteX39467" y="connsiteY39467"/>
              </a:cxn>
              <a:cxn ang="0">
                <a:pos x="connsiteX39468" y="connsiteY39468"/>
              </a:cxn>
              <a:cxn ang="0">
                <a:pos x="connsiteX39469" y="connsiteY39469"/>
              </a:cxn>
              <a:cxn ang="0">
                <a:pos x="connsiteX39470" y="connsiteY39470"/>
              </a:cxn>
              <a:cxn ang="0">
                <a:pos x="connsiteX39471" y="connsiteY39471"/>
              </a:cxn>
              <a:cxn ang="0">
                <a:pos x="connsiteX39472" y="connsiteY39472"/>
              </a:cxn>
              <a:cxn ang="0">
                <a:pos x="connsiteX39473" y="connsiteY39473"/>
              </a:cxn>
              <a:cxn ang="0">
                <a:pos x="connsiteX39474" y="connsiteY39474"/>
              </a:cxn>
              <a:cxn ang="0">
                <a:pos x="connsiteX39475" y="connsiteY39475"/>
              </a:cxn>
              <a:cxn ang="0">
                <a:pos x="connsiteX39476" y="connsiteY39476"/>
              </a:cxn>
              <a:cxn ang="0">
                <a:pos x="connsiteX39477" y="connsiteY39477"/>
              </a:cxn>
              <a:cxn ang="0">
                <a:pos x="connsiteX39478" y="connsiteY39478"/>
              </a:cxn>
              <a:cxn ang="0">
                <a:pos x="connsiteX39479" y="connsiteY39479"/>
              </a:cxn>
              <a:cxn ang="0">
                <a:pos x="connsiteX39480" y="connsiteY39480"/>
              </a:cxn>
              <a:cxn ang="0">
                <a:pos x="connsiteX39481" y="connsiteY39481"/>
              </a:cxn>
              <a:cxn ang="0">
                <a:pos x="connsiteX39482" y="connsiteY39482"/>
              </a:cxn>
              <a:cxn ang="0">
                <a:pos x="connsiteX39483" y="connsiteY39483"/>
              </a:cxn>
              <a:cxn ang="0">
                <a:pos x="connsiteX39484" y="connsiteY39484"/>
              </a:cxn>
              <a:cxn ang="0">
                <a:pos x="connsiteX39485" y="connsiteY39485"/>
              </a:cxn>
              <a:cxn ang="0">
                <a:pos x="connsiteX39486" y="connsiteY39486"/>
              </a:cxn>
              <a:cxn ang="0">
                <a:pos x="connsiteX39487" y="connsiteY39487"/>
              </a:cxn>
              <a:cxn ang="0">
                <a:pos x="connsiteX39488" y="connsiteY39488"/>
              </a:cxn>
              <a:cxn ang="0">
                <a:pos x="connsiteX39489" y="connsiteY39489"/>
              </a:cxn>
              <a:cxn ang="0">
                <a:pos x="connsiteX39490" y="connsiteY39490"/>
              </a:cxn>
              <a:cxn ang="0">
                <a:pos x="connsiteX39491" y="connsiteY39491"/>
              </a:cxn>
              <a:cxn ang="0">
                <a:pos x="connsiteX39492" y="connsiteY39492"/>
              </a:cxn>
              <a:cxn ang="0">
                <a:pos x="connsiteX39493" y="connsiteY39493"/>
              </a:cxn>
              <a:cxn ang="0">
                <a:pos x="connsiteX39494" y="connsiteY39494"/>
              </a:cxn>
              <a:cxn ang="0">
                <a:pos x="connsiteX39495" y="connsiteY39495"/>
              </a:cxn>
              <a:cxn ang="0">
                <a:pos x="connsiteX39496" y="connsiteY39496"/>
              </a:cxn>
              <a:cxn ang="0">
                <a:pos x="connsiteX39497" y="connsiteY39497"/>
              </a:cxn>
              <a:cxn ang="0">
                <a:pos x="connsiteX39498" y="connsiteY39498"/>
              </a:cxn>
              <a:cxn ang="0">
                <a:pos x="connsiteX39499" y="connsiteY39499"/>
              </a:cxn>
              <a:cxn ang="0">
                <a:pos x="connsiteX39500" y="connsiteY39500"/>
              </a:cxn>
              <a:cxn ang="0">
                <a:pos x="connsiteX39501" y="connsiteY39501"/>
              </a:cxn>
              <a:cxn ang="0">
                <a:pos x="connsiteX39502" y="connsiteY39502"/>
              </a:cxn>
              <a:cxn ang="0">
                <a:pos x="connsiteX39503" y="connsiteY39503"/>
              </a:cxn>
              <a:cxn ang="0">
                <a:pos x="connsiteX39504" y="connsiteY39504"/>
              </a:cxn>
              <a:cxn ang="0">
                <a:pos x="connsiteX39505" y="connsiteY39505"/>
              </a:cxn>
              <a:cxn ang="0">
                <a:pos x="connsiteX39506" y="connsiteY39506"/>
              </a:cxn>
              <a:cxn ang="0">
                <a:pos x="connsiteX39507" y="connsiteY39507"/>
              </a:cxn>
              <a:cxn ang="0">
                <a:pos x="connsiteX39508" y="connsiteY39508"/>
              </a:cxn>
              <a:cxn ang="0">
                <a:pos x="connsiteX39509" y="connsiteY39509"/>
              </a:cxn>
              <a:cxn ang="0">
                <a:pos x="connsiteX39510" y="connsiteY39510"/>
              </a:cxn>
              <a:cxn ang="0">
                <a:pos x="connsiteX39511" y="connsiteY39511"/>
              </a:cxn>
              <a:cxn ang="0">
                <a:pos x="connsiteX39512" y="connsiteY39512"/>
              </a:cxn>
              <a:cxn ang="0">
                <a:pos x="connsiteX39513" y="connsiteY39513"/>
              </a:cxn>
              <a:cxn ang="0">
                <a:pos x="connsiteX39514" y="connsiteY39514"/>
              </a:cxn>
              <a:cxn ang="0">
                <a:pos x="connsiteX39515" y="connsiteY39515"/>
              </a:cxn>
              <a:cxn ang="0">
                <a:pos x="connsiteX39516" y="connsiteY39516"/>
              </a:cxn>
              <a:cxn ang="0">
                <a:pos x="connsiteX39517" y="connsiteY39517"/>
              </a:cxn>
              <a:cxn ang="0">
                <a:pos x="connsiteX39518" y="connsiteY39518"/>
              </a:cxn>
              <a:cxn ang="0">
                <a:pos x="connsiteX39519" y="connsiteY39519"/>
              </a:cxn>
              <a:cxn ang="0">
                <a:pos x="connsiteX39520" y="connsiteY39520"/>
              </a:cxn>
              <a:cxn ang="0">
                <a:pos x="connsiteX39521" y="connsiteY39521"/>
              </a:cxn>
              <a:cxn ang="0">
                <a:pos x="connsiteX39522" y="connsiteY39522"/>
              </a:cxn>
              <a:cxn ang="0">
                <a:pos x="connsiteX39523" y="connsiteY39523"/>
              </a:cxn>
              <a:cxn ang="0">
                <a:pos x="connsiteX39524" y="connsiteY39524"/>
              </a:cxn>
              <a:cxn ang="0">
                <a:pos x="connsiteX39525" y="connsiteY39525"/>
              </a:cxn>
              <a:cxn ang="0">
                <a:pos x="connsiteX39526" y="connsiteY39526"/>
              </a:cxn>
              <a:cxn ang="0">
                <a:pos x="connsiteX39527" y="connsiteY39527"/>
              </a:cxn>
              <a:cxn ang="0">
                <a:pos x="connsiteX39528" y="connsiteY39528"/>
              </a:cxn>
              <a:cxn ang="0">
                <a:pos x="connsiteX39529" y="connsiteY39529"/>
              </a:cxn>
              <a:cxn ang="0">
                <a:pos x="connsiteX39530" y="connsiteY39530"/>
              </a:cxn>
              <a:cxn ang="0">
                <a:pos x="connsiteX39531" y="connsiteY39531"/>
              </a:cxn>
              <a:cxn ang="0">
                <a:pos x="connsiteX39532" y="connsiteY39532"/>
              </a:cxn>
              <a:cxn ang="0">
                <a:pos x="connsiteX39533" y="connsiteY39533"/>
              </a:cxn>
              <a:cxn ang="0">
                <a:pos x="connsiteX39534" y="connsiteY39534"/>
              </a:cxn>
              <a:cxn ang="0">
                <a:pos x="connsiteX39535" y="connsiteY39535"/>
              </a:cxn>
              <a:cxn ang="0">
                <a:pos x="connsiteX39536" y="connsiteY39536"/>
              </a:cxn>
              <a:cxn ang="0">
                <a:pos x="connsiteX39537" y="connsiteY39537"/>
              </a:cxn>
              <a:cxn ang="0">
                <a:pos x="connsiteX39538" y="connsiteY39538"/>
              </a:cxn>
              <a:cxn ang="0">
                <a:pos x="connsiteX39539" y="connsiteY39539"/>
              </a:cxn>
              <a:cxn ang="0">
                <a:pos x="connsiteX39540" y="connsiteY39540"/>
              </a:cxn>
              <a:cxn ang="0">
                <a:pos x="connsiteX39541" y="connsiteY39541"/>
              </a:cxn>
              <a:cxn ang="0">
                <a:pos x="connsiteX39542" y="connsiteY39542"/>
              </a:cxn>
              <a:cxn ang="0">
                <a:pos x="connsiteX39543" y="connsiteY39543"/>
              </a:cxn>
              <a:cxn ang="0">
                <a:pos x="connsiteX39544" y="connsiteY39544"/>
              </a:cxn>
              <a:cxn ang="0">
                <a:pos x="connsiteX39545" y="connsiteY39545"/>
              </a:cxn>
              <a:cxn ang="0">
                <a:pos x="connsiteX39546" y="connsiteY39546"/>
              </a:cxn>
              <a:cxn ang="0">
                <a:pos x="connsiteX39547" y="connsiteY39547"/>
              </a:cxn>
              <a:cxn ang="0">
                <a:pos x="connsiteX39548" y="connsiteY39548"/>
              </a:cxn>
              <a:cxn ang="0">
                <a:pos x="connsiteX39549" y="connsiteY39549"/>
              </a:cxn>
              <a:cxn ang="0">
                <a:pos x="connsiteX39550" y="connsiteY39550"/>
              </a:cxn>
              <a:cxn ang="0">
                <a:pos x="connsiteX39551" y="connsiteY39551"/>
              </a:cxn>
              <a:cxn ang="0">
                <a:pos x="connsiteX39552" y="connsiteY39552"/>
              </a:cxn>
              <a:cxn ang="0">
                <a:pos x="connsiteX39553" y="connsiteY39553"/>
              </a:cxn>
              <a:cxn ang="0">
                <a:pos x="connsiteX39554" y="connsiteY39554"/>
              </a:cxn>
              <a:cxn ang="0">
                <a:pos x="connsiteX39555" y="connsiteY39555"/>
              </a:cxn>
              <a:cxn ang="0">
                <a:pos x="connsiteX39556" y="connsiteY39556"/>
              </a:cxn>
              <a:cxn ang="0">
                <a:pos x="connsiteX39557" y="connsiteY39557"/>
              </a:cxn>
              <a:cxn ang="0">
                <a:pos x="connsiteX39558" y="connsiteY39558"/>
              </a:cxn>
              <a:cxn ang="0">
                <a:pos x="connsiteX39559" y="connsiteY39559"/>
              </a:cxn>
              <a:cxn ang="0">
                <a:pos x="connsiteX39560" y="connsiteY39560"/>
              </a:cxn>
              <a:cxn ang="0">
                <a:pos x="connsiteX39561" y="connsiteY39561"/>
              </a:cxn>
              <a:cxn ang="0">
                <a:pos x="connsiteX39562" y="connsiteY39562"/>
              </a:cxn>
              <a:cxn ang="0">
                <a:pos x="connsiteX39563" y="connsiteY39563"/>
              </a:cxn>
              <a:cxn ang="0">
                <a:pos x="connsiteX39564" y="connsiteY39564"/>
              </a:cxn>
              <a:cxn ang="0">
                <a:pos x="connsiteX39565" y="connsiteY39565"/>
              </a:cxn>
              <a:cxn ang="0">
                <a:pos x="connsiteX39566" y="connsiteY39566"/>
              </a:cxn>
              <a:cxn ang="0">
                <a:pos x="connsiteX39567" y="connsiteY39567"/>
              </a:cxn>
              <a:cxn ang="0">
                <a:pos x="connsiteX39568" y="connsiteY39568"/>
              </a:cxn>
              <a:cxn ang="0">
                <a:pos x="connsiteX39569" y="connsiteY39569"/>
              </a:cxn>
              <a:cxn ang="0">
                <a:pos x="connsiteX39570" y="connsiteY39570"/>
              </a:cxn>
              <a:cxn ang="0">
                <a:pos x="connsiteX39571" y="connsiteY39571"/>
              </a:cxn>
              <a:cxn ang="0">
                <a:pos x="connsiteX39572" y="connsiteY39572"/>
              </a:cxn>
              <a:cxn ang="0">
                <a:pos x="connsiteX39573" y="connsiteY39573"/>
              </a:cxn>
              <a:cxn ang="0">
                <a:pos x="connsiteX39574" y="connsiteY39574"/>
              </a:cxn>
              <a:cxn ang="0">
                <a:pos x="connsiteX39575" y="connsiteY39575"/>
              </a:cxn>
              <a:cxn ang="0">
                <a:pos x="connsiteX39576" y="connsiteY39576"/>
              </a:cxn>
              <a:cxn ang="0">
                <a:pos x="connsiteX39577" y="connsiteY39577"/>
              </a:cxn>
              <a:cxn ang="0">
                <a:pos x="connsiteX39578" y="connsiteY39578"/>
              </a:cxn>
              <a:cxn ang="0">
                <a:pos x="connsiteX39579" y="connsiteY39579"/>
              </a:cxn>
              <a:cxn ang="0">
                <a:pos x="connsiteX39580" y="connsiteY39580"/>
              </a:cxn>
              <a:cxn ang="0">
                <a:pos x="connsiteX39581" y="connsiteY39581"/>
              </a:cxn>
              <a:cxn ang="0">
                <a:pos x="connsiteX39582" y="connsiteY39582"/>
              </a:cxn>
              <a:cxn ang="0">
                <a:pos x="connsiteX39583" y="connsiteY39583"/>
              </a:cxn>
              <a:cxn ang="0">
                <a:pos x="connsiteX39584" y="connsiteY39584"/>
              </a:cxn>
              <a:cxn ang="0">
                <a:pos x="connsiteX39585" y="connsiteY39585"/>
              </a:cxn>
              <a:cxn ang="0">
                <a:pos x="connsiteX39586" y="connsiteY39586"/>
              </a:cxn>
              <a:cxn ang="0">
                <a:pos x="connsiteX39587" y="connsiteY39587"/>
              </a:cxn>
              <a:cxn ang="0">
                <a:pos x="connsiteX39588" y="connsiteY39588"/>
              </a:cxn>
              <a:cxn ang="0">
                <a:pos x="connsiteX39589" y="connsiteY39589"/>
              </a:cxn>
              <a:cxn ang="0">
                <a:pos x="connsiteX39590" y="connsiteY39590"/>
              </a:cxn>
              <a:cxn ang="0">
                <a:pos x="connsiteX39591" y="connsiteY39591"/>
              </a:cxn>
              <a:cxn ang="0">
                <a:pos x="connsiteX39592" y="connsiteY39592"/>
              </a:cxn>
              <a:cxn ang="0">
                <a:pos x="connsiteX39593" y="connsiteY39593"/>
              </a:cxn>
              <a:cxn ang="0">
                <a:pos x="connsiteX39594" y="connsiteY39594"/>
              </a:cxn>
              <a:cxn ang="0">
                <a:pos x="connsiteX39595" y="connsiteY39595"/>
              </a:cxn>
              <a:cxn ang="0">
                <a:pos x="connsiteX39596" y="connsiteY39596"/>
              </a:cxn>
              <a:cxn ang="0">
                <a:pos x="connsiteX39597" y="connsiteY39597"/>
              </a:cxn>
              <a:cxn ang="0">
                <a:pos x="connsiteX39598" y="connsiteY39598"/>
              </a:cxn>
              <a:cxn ang="0">
                <a:pos x="connsiteX39599" y="connsiteY39599"/>
              </a:cxn>
              <a:cxn ang="0">
                <a:pos x="connsiteX39600" y="connsiteY39600"/>
              </a:cxn>
              <a:cxn ang="0">
                <a:pos x="connsiteX39601" y="connsiteY39601"/>
              </a:cxn>
              <a:cxn ang="0">
                <a:pos x="connsiteX39602" y="connsiteY39602"/>
              </a:cxn>
              <a:cxn ang="0">
                <a:pos x="connsiteX39603" y="connsiteY39603"/>
              </a:cxn>
              <a:cxn ang="0">
                <a:pos x="connsiteX39604" y="connsiteY39604"/>
              </a:cxn>
              <a:cxn ang="0">
                <a:pos x="connsiteX39605" y="connsiteY39605"/>
              </a:cxn>
              <a:cxn ang="0">
                <a:pos x="connsiteX39606" y="connsiteY39606"/>
              </a:cxn>
              <a:cxn ang="0">
                <a:pos x="connsiteX39607" y="connsiteY39607"/>
              </a:cxn>
              <a:cxn ang="0">
                <a:pos x="connsiteX39608" y="connsiteY39608"/>
              </a:cxn>
              <a:cxn ang="0">
                <a:pos x="connsiteX39609" y="connsiteY39609"/>
              </a:cxn>
              <a:cxn ang="0">
                <a:pos x="connsiteX39610" y="connsiteY39610"/>
              </a:cxn>
              <a:cxn ang="0">
                <a:pos x="connsiteX39611" y="connsiteY39611"/>
              </a:cxn>
              <a:cxn ang="0">
                <a:pos x="connsiteX39612" y="connsiteY39612"/>
              </a:cxn>
              <a:cxn ang="0">
                <a:pos x="connsiteX39613" y="connsiteY39613"/>
              </a:cxn>
              <a:cxn ang="0">
                <a:pos x="connsiteX39614" y="connsiteY39614"/>
              </a:cxn>
              <a:cxn ang="0">
                <a:pos x="connsiteX39615" y="connsiteY39615"/>
              </a:cxn>
              <a:cxn ang="0">
                <a:pos x="connsiteX39616" y="connsiteY39616"/>
              </a:cxn>
              <a:cxn ang="0">
                <a:pos x="connsiteX39617" y="connsiteY39617"/>
              </a:cxn>
              <a:cxn ang="0">
                <a:pos x="connsiteX39618" y="connsiteY39618"/>
              </a:cxn>
              <a:cxn ang="0">
                <a:pos x="connsiteX39619" y="connsiteY39619"/>
              </a:cxn>
              <a:cxn ang="0">
                <a:pos x="connsiteX39620" y="connsiteY39620"/>
              </a:cxn>
              <a:cxn ang="0">
                <a:pos x="connsiteX39621" y="connsiteY39621"/>
              </a:cxn>
              <a:cxn ang="0">
                <a:pos x="connsiteX39622" y="connsiteY39622"/>
              </a:cxn>
              <a:cxn ang="0">
                <a:pos x="connsiteX39623" y="connsiteY39623"/>
              </a:cxn>
              <a:cxn ang="0">
                <a:pos x="connsiteX39624" y="connsiteY39624"/>
              </a:cxn>
              <a:cxn ang="0">
                <a:pos x="connsiteX39625" y="connsiteY39625"/>
              </a:cxn>
              <a:cxn ang="0">
                <a:pos x="connsiteX39626" y="connsiteY39626"/>
              </a:cxn>
              <a:cxn ang="0">
                <a:pos x="connsiteX39627" y="connsiteY39627"/>
              </a:cxn>
              <a:cxn ang="0">
                <a:pos x="connsiteX39628" y="connsiteY39628"/>
              </a:cxn>
              <a:cxn ang="0">
                <a:pos x="connsiteX39629" y="connsiteY39629"/>
              </a:cxn>
              <a:cxn ang="0">
                <a:pos x="connsiteX39630" y="connsiteY39630"/>
              </a:cxn>
              <a:cxn ang="0">
                <a:pos x="connsiteX39631" y="connsiteY39631"/>
              </a:cxn>
              <a:cxn ang="0">
                <a:pos x="connsiteX39632" y="connsiteY39632"/>
              </a:cxn>
              <a:cxn ang="0">
                <a:pos x="connsiteX39633" y="connsiteY39633"/>
              </a:cxn>
              <a:cxn ang="0">
                <a:pos x="connsiteX39634" y="connsiteY39634"/>
              </a:cxn>
              <a:cxn ang="0">
                <a:pos x="connsiteX39635" y="connsiteY39635"/>
              </a:cxn>
              <a:cxn ang="0">
                <a:pos x="connsiteX39636" y="connsiteY39636"/>
              </a:cxn>
              <a:cxn ang="0">
                <a:pos x="connsiteX39637" y="connsiteY39637"/>
              </a:cxn>
              <a:cxn ang="0">
                <a:pos x="connsiteX39638" y="connsiteY39638"/>
              </a:cxn>
              <a:cxn ang="0">
                <a:pos x="connsiteX39639" y="connsiteY39639"/>
              </a:cxn>
              <a:cxn ang="0">
                <a:pos x="connsiteX39640" y="connsiteY39640"/>
              </a:cxn>
              <a:cxn ang="0">
                <a:pos x="connsiteX39641" y="connsiteY39641"/>
              </a:cxn>
              <a:cxn ang="0">
                <a:pos x="connsiteX39642" y="connsiteY39642"/>
              </a:cxn>
              <a:cxn ang="0">
                <a:pos x="connsiteX39643" y="connsiteY39643"/>
              </a:cxn>
              <a:cxn ang="0">
                <a:pos x="connsiteX39644" y="connsiteY39644"/>
              </a:cxn>
              <a:cxn ang="0">
                <a:pos x="connsiteX39645" y="connsiteY39645"/>
              </a:cxn>
              <a:cxn ang="0">
                <a:pos x="connsiteX39646" y="connsiteY39646"/>
              </a:cxn>
              <a:cxn ang="0">
                <a:pos x="connsiteX39647" y="connsiteY39647"/>
              </a:cxn>
              <a:cxn ang="0">
                <a:pos x="connsiteX39648" y="connsiteY39648"/>
              </a:cxn>
              <a:cxn ang="0">
                <a:pos x="connsiteX39649" y="connsiteY39649"/>
              </a:cxn>
              <a:cxn ang="0">
                <a:pos x="connsiteX39650" y="connsiteY39650"/>
              </a:cxn>
              <a:cxn ang="0">
                <a:pos x="connsiteX39651" y="connsiteY39651"/>
              </a:cxn>
              <a:cxn ang="0">
                <a:pos x="connsiteX39652" y="connsiteY39652"/>
              </a:cxn>
              <a:cxn ang="0">
                <a:pos x="connsiteX39653" y="connsiteY39653"/>
              </a:cxn>
              <a:cxn ang="0">
                <a:pos x="connsiteX39654" y="connsiteY39654"/>
              </a:cxn>
              <a:cxn ang="0">
                <a:pos x="connsiteX39655" y="connsiteY39655"/>
              </a:cxn>
              <a:cxn ang="0">
                <a:pos x="connsiteX39656" y="connsiteY39656"/>
              </a:cxn>
              <a:cxn ang="0">
                <a:pos x="connsiteX39657" y="connsiteY39657"/>
              </a:cxn>
              <a:cxn ang="0">
                <a:pos x="connsiteX39658" y="connsiteY39658"/>
              </a:cxn>
              <a:cxn ang="0">
                <a:pos x="connsiteX39659" y="connsiteY39659"/>
              </a:cxn>
              <a:cxn ang="0">
                <a:pos x="connsiteX39660" y="connsiteY39660"/>
              </a:cxn>
              <a:cxn ang="0">
                <a:pos x="connsiteX39661" y="connsiteY39661"/>
              </a:cxn>
              <a:cxn ang="0">
                <a:pos x="connsiteX39662" y="connsiteY39662"/>
              </a:cxn>
              <a:cxn ang="0">
                <a:pos x="connsiteX39663" y="connsiteY39663"/>
              </a:cxn>
              <a:cxn ang="0">
                <a:pos x="connsiteX39664" y="connsiteY39664"/>
              </a:cxn>
              <a:cxn ang="0">
                <a:pos x="connsiteX39665" y="connsiteY39665"/>
              </a:cxn>
              <a:cxn ang="0">
                <a:pos x="connsiteX39666" y="connsiteY39666"/>
              </a:cxn>
              <a:cxn ang="0">
                <a:pos x="connsiteX39667" y="connsiteY39667"/>
              </a:cxn>
              <a:cxn ang="0">
                <a:pos x="connsiteX39668" y="connsiteY39668"/>
              </a:cxn>
              <a:cxn ang="0">
                <a:pos x="connsiteX39669" y="connsiteY39669"/>
              </a:cxn>
              <a:cxn ang="0">
                <a:pos x="connsiteX39670" y="connsiteY39670"/>
              </a:cxn>
              <a:cxn ang="0">
                <a:pos x="connsiteX39671" y="connsiteY39671"/>
              </a:cxn>
              <a:cxn ang="0">
                <a:pos x="connsiteX39672" y="connsiteY39672"/>
              </a:cxn>
              <a:cxn ang="0">
                <a:pos x="connsiteX39673" y="connsiteY39673"/>
              </a:cxn>
              <a:cxn ang="0">
                <a:pos x="connsiteX39674" y="connsiteY39674"/>
              </a:cxn>
              <a:cxn ang="0">
                <a:pos x="connsiteX39675" y="connsiteY39675"/>
              </a:cxn>
              <a:cxn ang="0">
                <a:pos x="connsiteX39676" y="connsiteY39676"/>
              </a:cxn>
              <a:cxn ang="0">
                <a:pos x="connsiteX39677" y="connsiteY39677"/>
              </a:cxn>
              <a:cxn ang="0">
                <a:pos x="connsiteX39678" y="connsiteY39678"/>
              </a:cxn>
              <a:cxn ang="0">
                <a:pos x="connsiteX39679" y="connsiteY39679"/>
              </a:cxn>
              <a:cxn ang="0">
                <a:pos x="connsiteX39680" y="connsiteY39680"/>
              </a:cxn>
              <a:cxn ang="0">
                <a:pos x="connsiteX39681" y="connsiteY39681"/>
              </a:cxn>
              <a:cxn ang="0">
                <a:pos x="connsiteX39682" y="connsiteY39682"/>
              </a:cxn>
              <a:cxn ang="0">
                <a:pos x="connsiteX39683" y="connsiteY39683"/>
              </a:cxn>
              <a:cxn ang="0">
                <a:pos x="connsiteX39684" y="connsiteY39684"/>
              </a:cxn>
              <a:cxn ang="0">
                <a:pos x="connsiteX39685" y="connsiteY39685"/>
              </a:cxn>
              <a:cxn ang="0">
                <a:pos x="connsiteX39686" y="connsiteY39686"/>
              </a:cxn>
              <a:cxn ang="0">
                <a:pos x="connsiteX39687" y="connsiteY39687"/>
              </a:cxn>
              <a:cxn ang="0">
                <a:pos x="connsiteX39688" y="connsiteY39688"/>
              </a:cxn>
              <a:cxn ang="0">
                <a:pos x="connsiteX39689" y="connsiteY39689"/>
              </a:cxn>
              <a:cxn ang="0">
                <a:pos x="connsiteX39690" y="connsiteY39690"/>
              </a:cxn>
              <a:cxn ang="0">
                <a:pos x="connsiteX39691" y="connsiteY39691"/>
              </a:cxn>
              <a:cxn ang="0">
                <a:pos x="connsiteX39692" y="connsiteY39692"/>
              </a:cxn>
              <a:cxn ang="0">
                <a:pos x="connsiteX39693" y="connsiteY39693"/>
              </a:cxn>
              <a:cxn ang="0">
                <a:pos x="connsiteX39694" y="connsiteY39694"/>
              </a:cxn>
              <a:cxn ang="0">
                <a:pos x="connsiteX39695" y="connsiteY39695"/>
              </a:cxn>
              <a:cxn ang="0">
                <a:pos x="connsiteX39696" y="connsiteY39696"/>
              </a:cxn>
              <a:cxn ang="0">
                <a:pos x="connsiteX39697" y="connsiteY39697"/>
              </a:cxn>
              <a:cxn ang="0">
                <a:pos x="connsiteX39698" y="connsiteY39698"/>
              </a:cxn>
              <a:cxn ang="0">
                <a:pos x="connsiteX39699" y="connsiteY39699"/>
              </a:cxn>
              <a:cxn ang="0">
                <a:pos x="connsiteX39700" y="connsiteY39700"/>
              </a:cxn>
              <a:cxn ang="0">
                <a:pos x="connsiteX39701" y="connsiteY39701"/>
              </a:cxn>
              <a:cxn ang="0">
                <a:pos x="connsiteX39702" y="connsiteY39702"/>
              </a:cxn>
              <a:cxn ang="0">
                <a:pos x="connsiteX39703" y="connsiteY39703"/>
              </a:cxn>
              <a:cxn ang="0">
                <a:pos x="connsiteX39704" y="connsiteY39704"/>
              </a:cxn>
              <a:cxn ang="0">
                <a:pos x="connsiteX39705" y="connsiteY39705"/>
              </a:cxn>
              <a:cxn ang="0">
                <a:pos x="connsiteX39706" y="connsiteY39706"/>
              </a:cxn>
              <a:cxn ang="0">
                <a:pos x="connsiteX39707" y="connsiteY39707"/>
              </a:cxn>
              <a:cxn ang="0">
                <a:pos x="connsiteX39708" y="connsiteY39708"/>
              </a:cxn>
              <a:cxn ang="0">
                <a:pos x="connsiteX39709" y="connsiteY39709"/>
              </a:cxn>
              <a:cxn ang="0">
                <a:pos x="connsiteX39710" y="connsiteY39710"/>
              </a:cxn>
              <a:cxn ang="0">
                <a:pos x="connsiteX39711" y="connsiteY39711"/>
              </a:cxn>
              <a:cxn ang="0">
                <a:pos x="connsiteX39712" y="connsiteY39712"/>
              </a:cxn>
              <a:cxn ang="0">
                <a:pos x="connsiteX39713" y="connsiteY39713"/>
              </a:cxn>
              <a:cxn ang="0">
                <a:pos x="connsiteX39714" y="connsiteY39714"/>
              </a:cxn>
              <a:cxn ang="0">
                <a:pos x="connsiteX39715" y="connsiteY39715"/>
              </a:cxn>
              <a:cxn ang="0">
                <a:pos x="connsiteX39716" y="connsiteY39716"/>
              </a:cxn>
              <a:cxn ang="0">
                <a:pos x="connsiteX39717" y="connsiteY39717"/>
              </a:cxn>
              <a:cxn ang="0">
                <a:pos x="connsiteX39718" y="connsiteY39718"/>
              </a:cxn>
              <a:cxn ang="0">
                <a:pos x="connsiteX39719" y="connsiteY39719"/>
              </a:cxn>
              <a:cxn ang="0">
                <a:pos x="connsiteX39720" y="connsiteY39720"/>
              </a:cxn>
              <a:cxn ang="0">
                <a:pos x="connsiteX39721" y="connsiteY39721"/>
              </a:cxn>
              <a:cxn ang="0">
                <a:pos x="connsiteX39722" y="connsiteY39722"/>
              </a:cxn>
              <a:cxn ang="0">
                <a:pos x="connsiteX39723" y="connsiteY39723"/>
              </a:cxn>
              <a:cxn ang="0">
                <a:pos x="connsiteX39724" y="connsiteY39724"/>
              </a:cxn>
              <a:cxn ang="0">
                <a:pos x="connsiteX39725" y="connsiteY39725"/>
              </a:cxn>
              <a:cxn ang="0">
                <a:pos x="connsiteX39726" y="connsiteY39726"/>
              </a:cxn>
              <a:cxn ang="0">
                <a:pos x="connsiteX39727" y="connsiteY39727"/>
              </a:cxn>
              <a:cxn ang="0">
                <a:pos x="connsiteX39728" y="connsiteY39728"/>
              </a:cxn>
              <a:cxn ang="0">
                <a:pos x="connsiteX39729" y="connsiteY39729"/>
              </a:cxn>
              <a:cxn ang="0">
                <a:pos x="connsiteX39730" y="connsiteY39730"/>
              </a:cxn>
              <a:cxn ang="0">
                <a:pos x="connsiteX39731" y="connsiteY39731"/>
              </a:cxn>
              <a:cxn ang="0">
                <a:pos x="connsiteX39732" y="connsiteY39732"/>
              </a:cxn>
              <a:cxn ang="0">
                <a:pos x="connsiteX39733" y="connsiteY39733"/>
              </a:cxn>
              <a:cxn ang="0">
                <a:pos x="connsiteX39734" y="connsiteY39734"/>
              </a:cxn>
              <a:cxn ang="0">
                <a:pos x="connsiteX39735" y="connsiteY39735"/>
              </a:cxn>
              <a:cxn ang="0">
                <a:pos x="connsiteX39736" y="connsiteY39736"/>
              </a:cxn>
              <a:cxn ang="0">
                <a:pos x="connsiteX39737" y="connsiteY39737"/>
              </a:cxn>
              <a:cxn ang="0">
                <a:pos x="connsiteX39738" y="connsiteY39738"/>
              </a:cxn>
              <a:cxn ang="0">
                <a:pos x="connsiteX39739" y="connsiteY39739"/>
              </a:cxn>
              <a:cxn ang="0">
                <a:pos x="connsiteX39740" y="connsiteY39740"/>
              </a:cxn>
              <a:cxn ang="0">
                <a:pos x="connsiteX39741" y="connsiteY39741"/>
              </a:cxn>
              <a:cxn ang="0">
                <a:pos x="connsiteX39742" y="connsiteY39742"/>
              </a:cxn>
              <a:cxn ang="0">
                <a:pos x="connsiteX39743" y="connsiteY39743"/>
              </a:cxn>
              <a:cxn ang="0">
                <a:pos x="connsiteX39744" y="connsiteY39744"/>
              </a:cxn>
              <a:cxn ang="0">
                <a:pos x="connsiteX39745" y="connsiteY39745"/>
              </a:cxn>
              <a:cxn ang="0">
                <a:pos x="connsiteX39746" y="connsiteY39746"/>
              </a:cxn>
              <a:cxn ang="0">
                <a:pos x="connsiteX39747" y="connsiteY39747"/>
              </a:cxn>
              <a:cxn ang="0">
                <a:pos x="connsiteX39748" y="connsiteY39748"/>
              </a:cxn>
              <a:cxn ang="0">
                <a:pos x="connsiteX39749" y="connsiteY39749"/>
              </a:cxn>
              <a:cxn ang="0">
                <a:pos x="connsiteX39750" y="connsiteY39750"/>
              </a:cxn>
              <a:cxn ang="0">
                <a:pos x="connsiteX39751" y="connsiteY39751"/>
              </a:cxn>
              <a:cxn ang="0">
                <a:pos x="connsiteX39752" y="connsiteY39752"/>
              </a:cxn>
              <a:cxn ang="0">
                <a:pos x="connsiteX39753" y="connsiteY39753"/>
              </a:cxn>
              <a:cxn ang="0">
                <a:pos x="connsiteX39754" y="connsiteY39754"/>
              </a:cxn>
              <a:cxn ang="0">
                <a:pos x="connsiteX39755" y="connsiteY39755"/>
              </a:cxn>
              <a:cxn ang="0">
                <a:pos x="connsiteX39756" y="connsiteY39756"/>
              </a:cxn>
              <a:cxn ang="0">
                <a:pos x="connsiteX39757" y="connsiteY39757"/>
              </a:cxn>
              <a:cxn ang="0">
                <a:pos x="connsiteX39758" y="connsiteY39758"/>
              </a:cxn>
              <a:cxn ang="0">
                <a:pos x="connsiteX39759" y="connsiteY39759"/>
              </a:cxn>
              <a:cxn ang="0">
                <a:pos x="connsiteX39760" y="connsiteY39760"/>
              </a:cxn>
              <a:cxn ang="0">
                <a:pos x="connsiteX39761" y="connsiteY39761"/>
              </a:cxn>
              <a:cxn ang="0">
                <a:pos x="connsiteX39762" y="connsiteY39762"/>
              </a:cxn>
              <a:cxn ang="0">
                <a:pos x="connsiteX39763" y="connsiteY39763"/>
              </a:cxn>
              <a:cxn ang="0">
                <a:pos x="connsiteX39764" y="connsiteY39764"/>
              </a:cxn>
              <a:cxn ang="0">
                <a:pos x="connsiteX39765" y="connsiteY39765"/>
              </a:cxn>
              <a:cxn ang="0">
                <a:pos x="connsiteX39766" y="connsiteY39766"/>
              </a:cxn>
              <a:cxn ang="0">
                <a:pos x="connsiteX39767" y="connsiteY39767"/>
              </a:cxn>
              <a:cxn ang="0">
                <a:pos x="connsiteX39768" y="connsiteY39768"/>
              </a:cxn>
              <a:cxn ang="0">
                <a:pos x="connsiteX39769" y="connsiteY39769"/>
              </a:cxn>
              <a:cxn ang="0">
                <a:pos x="connsiteX39770" y="connsiteY39770"/>
              </a:cxn>
              <a:cxn ang="0">
                <a:pos x="connsiteX39771" y="connsiteY39771"/>
              </a:cxn>
              <a:cxn ang="0">
                <a:pos x="connsiteX39772" y="connsiteY39772"/>
              </a:cxn>
              <a:cxn ang="0">
                <a:pos x="connsiteX39773" y="connsiteY39773"/>
              </a:cxn>
              <a:cxn ang="0">
                <a:pos x="connsiteX39774" y="connsiteY39774"/>
              </a:cxn>
              <a:cxn ang="0">
                <a:pos x="connsiteX39775" y="connsiteY39775"/>
              </a:cxn>
              <a:cxn ang="0">
                <a:pos x="connsiteX39776" y="connsiteY39776"/>
              </a:cxn>
              <a:cxn ang="0">
                <a:pos x="connsiteX39777" y="connsiteY39777"/>
              </a:cxn>
              <a:cxn ang="0">
                <a:pos x="connsiteX39778" y="connsiteY39778"/>
              </a:cxn>
              <a:cxn ang="0">
                <a:pos x="connsiteX39779" y="connsiteY39779"/>
              </a:cxn>
              <a:cxn ang="0">
                <a:pos x="connsiteX39780" y="connsiteY39780"/>
              </a:cxn>
              <a:cxn ang="0">
                <a:pos x="connsiteX39781" y="connsiteY39781"/>
              </a:cxn>
              <a:cxn ang="0">
                <a:pos x="connsiteX39782" y="connsiteY39782"/>
              </a:cxn>
              <a:cxn ang="0">
                <a:pos x="connsiteX39783" y="connsiteY39783"/>
              </a:cxn>
              <a:cxn ang="0">
                <a:pos x="connsiteX39784" y="connsiteY39784"/>
              </a:cxn>
              <a:cxn ang="0">
                <a:pos x="connsiteX39785" y="connsiteY39785"/>
              </a:cxn>
              <a:cxn ang="0">
                <a:pos x="connsiteX39786" y="connsiteY39786"/>
              </a:cxn>
              <a:cxn ang="0">
                <a:pos x="connsiteX39787" y="connsiteY39787"/>
              </a:cxn>
              <a:cxn ang="0">
                <a:pos x="connsiteX39788" y="connsiteY39788"/>
              </a:cxn>
              <a:cxn ang="0">
                <a:pos x="connsiteX39789" y="connsiteY39789"/>
              </a:cxn>
              <a:cxn ang="0">
                <a:pos x="connsiteX39790" y="connsiteY39790"/>
              </a:cxn>
              <a:cxn ang="0">
                <a:pos x="connsiteX39791" y="connsiteY39791"/>
              </a:cxn>
              <a:cxn ang="0">
                <a:pos x="connsiteX39792" y="connsiteY39792"/>
              </a:cxn>
              <a:cxn ang="0">
                <a:pos x="connsiteX39793" y="connsiteY39793"/>
              </a:cxn>
              <a:cxn ang="0">
                <a:pos x="connsiteX39794" y="connsiteY39794"/>
              </a:cxn>
              <a:cxn ang="0">
                <a:pos x="connsiteX39795" y="connsiteY39795"/>
              </a:cxn>
              <a:cxn ang="0">
                <a:pos x="connsiteX39796" y="connsiteY39796"/>
              </a:cxn>
              <a:cxn ang="0">
                <a:pos x="connsiteX39797" y="connsiteY39797"/>
              </a:cxn>
              <a:cxn ang="0">
                <a:pos x="connsiteX39798" y="connsiteY39798"/>
              </a:cxn>
              <a:cxn ang="0">
                <a:pos x="connsiteX39799" y="connsiteY39799"/>
              </a:cxn>
              <a:cxn ang="0">
                <a:pos x="connsiteX39800" y="connsiteY39800"/>
              </a:cxn>
              <a:cxn ang="0">
                <a:pos x="connsiteX39801" y="connsiteY39801"/>
              </a:cxn>
              <a:cxn ang="0">
                <a:pos x="connsiteX39802" y="connsiteY39802"/>
              </a:cxn>
              <a:cxn ang="0">
                <a:pos x="connsiteX39803" y="connsiteY39803"/>
              </a:cxn>
              <a:cxn ang="0">
                <a:pos x="connsiteX39804" y="connsiteY39804"/>
              </a:cxn>
              <a:cxn ang="0">
                <a:pos x="connsiteX39805" y="connsiteY39805"/>
              </a:cxn>
              <a:cxn ang="0">
                <a:pos x="connsiteX39806" y="connsiteY39806"/>
              </a:cxn>
              <a:cxn ang="0">
                <a:pos x="connsiteX39807" y="connsiteY39807"/>
              </a:cxn>
              <a:cxn ang="0">
                <a:pos x="connsiteX39808" y="connsiteY39808"/>
              </a:cxn>
              <a:cxn ang="0">
                <a:pos x="connsiteX39809" y="connsiteY39809"/>
              </a:cxn>
              <a:cxn ang="0">
                <a:pos x="connsiteX39810" y="connsiteY39810"/>
              </a:cxn>
              <a:cxn ang="0">
                <a:pos x="connsiteX39811" y="connsiteY39811"/>
              </a:cxn>
              <a:cxn ang="0">
                <a:pos x="connsiteX39812" y="connsiteY39812"/>
              </a:cxn>
              <a:cxn ang="0">
                <a:pos x="connsiteX39813" y="connsiteY39813"/>
              </a:cxn>
              <a:cxn ang="0">
                <a:pos x="connsiteX39814" y="connsiteY39814"/>
              </a:cxn>
              <a:cxn ang="0">
                <a:pos x="connsiteX39815" y="connsiteY39815"/>
              </a:cxn>
              <a:cxn ang="0">
                <a:pos x="connsiteX39816" y="connsiteY39816"/>
              </a:cxn>
              <a:cxn ang="0">
                <a:pos x="connsiteX39817" y="connsiteY39817"/>
              </a:cxn>
              <a:cxn ang="0">
                <a:pos x="connsiteX39818" y="connsiteY39818"/>
              </a:cxn>
              <a:cxn ang="0">
                <a:pos x="connsiteX39819" y="connsiteY39819"/>
              </a:cxn>
              <a:cxn ang="0">
                <a:pos x="connsiteX39820" y="connsiteY39820"/>
              </a:cxn>
              <a:cxn ang="0">
                <a:pos x="connsiteX39821" y="connsiteY39821"/>
              </a:cxn>
              <a:cxn ang="0">
                <a:pos x="connsiteX39822" y="connsiteY39822"/>
              </a:cxn>
              <a:cxn ang="0">
                <a:pos x="connsiteX39823" y="connsiteY39823"/>
              </a:cxn>
              <a:cxn ang="0">
                <a:pos x="connsiteX39824" y="connsiteY39824"/>
              </a:cxn>
              <a:cxn ang="0">
                <a:pos x="connsiteX39825" y="connsiteY39825"/>
              </a:cxn>
              <a:cxn ang="0">
                <a:pos x="connsiteX39826" y="connsiteY39826"/>
              </a:cxn>
              <a:cxn ang="0">
                <a:pos x="connsiteX39827" y="connsiteY39827"/>
              </a:cxn>
              <a:cxn ang="0">
                <a:pos x="connsiteX39828" y="connsiteY39828"/>
              </a:cxn>
              <a:cxn ang="0">
                <a:pos x="connsiteX39829" y="connsiteY39829"/>
              </a:cxn>
              <a:cxn ang="0">
                <a:pos x="connsiteX39830" y="connsiteY39830"/>
              </a:cxn>
              <a:cxn ang="0">
                <a:pos x="connsiteX39831" y="connsiteY39831"/>
              </a:cxn>
              <a:cxn ang="0">
                <a:pos x="connsiteX39832" y="connsiteY39832"/>
              </a:cxn>
              <a:cxn ang="0">
                <a:pos x="connsiteX39833" y="connsiteY39833"/>
              </a:cxn>
              <a:cxn ang="0">
                <a:pos x="connsiteX39834" y="connsiteY39834"/>
              </a:cxn>
              <a:cxn ang="0">
                <a:pos x="connsiteX39835" y="connsiteY39835"/>
              </a:cxn>
              <a:cxn ang="0">
                <a:pos x="connsiteX39836" y="connsiteY39836"/>
              </a:cxn>
              <a:cxn ang="0">
                <a:pos x="connsiteX39837" y="connsiteY39837"/>
              </a:cxn>
              <a:cxn ang="0">
                <a:pos x="connsiteX39838" y="connsiteY39838"/>
              </a:cxn>
              <a:cxn ang="0">
                <a:pos x="connsiteX39839" y="connsiteY39839"/>
              </a:cxn>
              <a:cxn ang="0">
                <a:pos x="connsiteX39840" y="connsiteY39840"/>
              </a:cxn>
              <a:cxn ang="0">
                <a:pos x="connsiteX39841" y="connsiteY39841"/>
              </a:cxn>
              <a:cxn ang="0">
                <a:pos x="connsiteX39842" y="connsiteY39842"/>
              </a:cxn>
              <a:cxn ang="0">
                <a:pos x="connsiteX39843" y="connsiteY39843"/>
              </a:cxn>
              <a:cxn ang="0">
                <a:pos x="connsiteX39844" y="connsiteY39844"/>
              </a:cxn>
              <a:cxn ang="0">
                <a:pos x="connsiteX39845" y="connsiteY39845"/>
              </a:cxn>
              <a:cxn ang="0">
                <a:pos x="connsiteX39846" y="connsiteY39846"/>
              </a:cxn>
              <a:cxn ang="0">
                <a:pos x="connsiteX39847" y="connsiteY39847"/>
              </a:cxn>
              <a:cxn ang="0">
                <a:pos x="connsiteX39848" y="connsiteY39848"/>
              </a:cxn>
              <a:cxn ang="0">
                <a:pos x="connsiteX39849" y="connsiteY39849"/>
              </a:cxn>
              <a:cxn ang="0">
                <a:pos x="connsiteX39850" y="connsiteY39850"/>
              </a:cxn>
              <a:cxn ang="0">
                <a:pos x="connsiteX39851" y="connsiteY39851"/>
              </a:cxn>
              <a:cxn ang="0">
                <a:pos x="connsiteX39852" y="connsiteY39852"/>
              </a:cxn>
              <a:cxn ang="0">
                <a:pos x="connsiteX39853" y="connsiteY39853"/>
              </a:cxn>
              <a:cxn ang="0">
                <a:pos x="connsiteX39854" y="connsiteY39854"/>
              </a:cxn>
              <a:cxn ang="0">
                <a:pos x="connsiteX39855" y="connsiteY39855"/>
              </a:cxn>
              <a:cxn ang="0">
                <a:pos x="connsiteX39856" y="connsiteY39856"/>
              </a:cxn>
              <a:cxn ang="0">
                <a:pos x="connsiteX39857" y="connsiteY39857"/>
              </a:cxn>
              <a:cxn ang="0">
                <a:pos x="connsiteX39858" y="connsiteY39858"/>
              </a:cxn>
              <a:cxn ang="0">
                <a:pos x="connsiteX39859" y="connsiteY39859"/>
              </a:cxn>
              <a:cxn ang="0">
                <a:pos x="connsiteX39860" y="connsiteY39860"/>
              </a:cxn>
              <a:cxn ang="0">
                <a:pos x="connsiteX39861" y="connsiteY39861"/>
              </a:cxn>
              <a:cxn ang="0">
                <a:pos x="connsiteX39862" y="connsiteY39862"/>
              </a:cxn>
              <a:cxn ang="0">
                <a:pos x="connsiteX39863" y="connsiteY39863"/>
              </a:cxn>
              <a:cxn ang="0">
                <a:pos x="connsiteX39864" y="connsiteY39864"/>
              </a:cxn>
              <a:cxn ang="0">
                <a:pos x="connsiteX39865" y="connsiteY39865"/>
              </a:cxn>
              <a:cxn ang="0">
                <a:pos x="connsiteX39866" y="connsiteY39866"/>
              </a:cxn>
              <a:cxn ang="0">
                <a:pos x="connsiteX39867" y="connsiteY39867"/>
              </a:cxn>
              <a:cxn ang="0">
                <a:pos x="connsiteX39868" y="connsiteY39868"/>
              </a:cxn>
              <a:cxn ang="0">
                <a:pos x="connsiteX39869" y="connsiteY39869"/>
              </a:cxn>
              <a:cxn ang="0">
                <a:pos x="connsiteX39870" y="connsiteY39870"/>
              </a:cxn>
              <a:cxn ang="0">
                <a:pos x="connsiteX39871" y="connsiteY39871"/>
              </a:cxn>
              <a:cxn ang="0">
                <a:pos x="connsiteX39872" y="connsiteY39872"/>
              </a:cxn>
              <a:cxn ang="0">
                <a:pos x="connsiteX39873" y="connsiteY39873"/>
              </a:cxn>
              <a:cxn ang="0">
                <a:pos x="connsiteX39874" y="connsiteY39874"/>
              </a:cxn>
              <a:cxn ang="0">
                <a:pos x="connsiteX39875" y="connsiteY39875"/>
              </a:cxn>
              <a:cxn ang="0">
                <a:pos x="connsiteX39876" y="connsiteY39876"/>
              </a:cxn>
              <a:cxn ang="0">
                <a:pos x="connsiteX39877" y="connsiteY39877"/>
              </a:cxn>
              <a:cxn ang="0">
                <a:pos x="connsiteX39878" y="connsiteY39878"/>
              </a:cxn>
              <a:cxn ang="0">
                <a:pos x="connsiteX39879" y="connsiteY39879"/>
              </a:cxn>
              <a:cxn ang="0">
                <a:pos x="connsiteX39880" y="connsiteY39880"/>
              </a:cxn>
              <a:cxn ang="0">
                <a:pos x="connsiteX39881" y="connsiteY39881"/>
              </a:cxn>
              <a:cxn ang="0">
                <a:pos x="connsiteX39882" y="connsiteY39882"/>
              </a:cxn>
              <a:cxn ang="0">
                <a:pos x="connsiteX39883" y="connsiteY39883"/>
              </a:cxn>
              <a:cxn ang="0">
                <a:pos x="connsiteX39884" y="connsiteY39884"/>
              </a:cxn>
              <a:cxn ang="0">
                <a:pos x="connsiteX39885" y="connsiteY39885"/>
              </a:cxn>
              <a:cxn ang="0">
                <a:pos x="connsiteX39886" y="connsiteY39886"/>
              </a:cxn>
              <a:cxn ang="0">
                <a:pos x="connsiteX39887" y="connsiteY39887"/>
              </a:cxn>
              <a:cxn ang="0">
                <a:pos x="connsiteX39888" y="connsiteY39888"/>
              </a:cxn>
              <a:cxn ang="0">
                <a:pos x="connsiteX39889" y="connsiteY39889"/>
              </a:cxn>
              <a:cxn ang="0">
                <a:pos x="connsiteX39890" y="connsiteY39890"/>
              </a:cxn>
              <a:cxn ang="0">
                <a:pos x="connsiteX39891" y="connsiteY39891"/>
              </a:cxn>
              <a:cxn ang="0">
                <a:pos x="connsiteX39892" y="connsiteY39892"/>
              </a:cxn>
              <a:cxn ang="0">
                <a:pos x="connsiteX39893" y="connsiteY39893"/>
              </a:cxn>
              <a:cxn ang="0">
                <a:pos x="connsiteX39894" y="connsiteY39894"/>
              </a:cxn>
              <a:cxn ang="0">
                <a:pos x="connsiteX39895" y="connsiteY39895"/>
              </a:cxn>
              <a:cxn ang="0">
                <a:pos x="connsiteX39896" y="connsiteY39896"/>
              </a:cxn>
              <a:cxn ang="0">
                <a:pos x="connsiteX39897" y="connsiteY39897"/>
              </a:cxn>
              <a:cxn ang="0">
                <a:pos x="connsiteX39898" y="connsiteY39898"/>
              </a:cxn>
              <a:cxn ang="0">
                <a:pos x="connsiteX39899" y="connsiteY39899"/>
              </a:cxn>
              <a:cxn ang="0">
                <a:pos x="connsiteX39900" y="connsiteY39900"/>
              </a:cxn>
              <a:cxn ang="0">
                <a:pos x="connsiteX39901" y="connsiteY39901"/>
              </a:cxn>
              <a:cxn ang="0">
                <a:pos x="connsiteX39902" y="connsiteY39902"/>
              </a:cxn>
              <a:cxn ang="0">
                <a:pos x="connsiteX39903" y="connsiteY39903"/>
              </a:cxn>
              <a:cxn ang="0">
                <a:pos x="connsiteX39904" y="connsiteY39904"/>
              </a:cxn>
              <a:cxn ang="0">
                <a:pos x="connsiteX39905" y="connsiteY39905"/>
              </a:cxn>
              <a:cxn ang="0">
                <a:pos x="connsiteX39906" y="connsiteY39906"/>
              </a:cxn>
              <a:cxn ang="0">
                <a:pos x="connsiteX39907" y="connsiteY39907"/>
              </a:cxn>
              <a:cxn ang="0">
                <a:pos x="connsiteX39908" y="connsiteY39908"/>
              </a:cxn>
              <a:cxn ang="0">
                <a:pos x="connsiteX39909" y="connsiteY39909"/>
              </a:cxn>
              <a:cxn ang="0">
                <a:pos x="connsiteX39910" y="connsiteY39910"/>
              </a:cxn>
              <a:cxn ang="0">
                <a:pos x="connsiteX39911" y="connsiteY39911"/>
              </a:cxn>
              <a:cxn ang="0">
                <a:pos x="connsiteX39912" y="connsiteY39912"/>
              </a:cxn>
              <a:cxn ang="0">
                <a:pos x="connsiteX39913" y="connsiteY39913"/>
              </a:cxn>
              <a:cxn ang="0">
                <a:pos x="connsiteX39914" y="connsiteY39914"/>
              </a:cxn>
              <a:cxn ang="0">
                <a:pos x="connsiteX39915" y="connsiteY39915"/>
              </a:cxn>
              <a:cxn ang="0">
                <a:pos x="connsiteX39916" y="connsiteY39916"/>
              </a:cxn>
              <a:cxn ang="0">
                <a:pos x="connsiteX39917" y="connsiteY39917"/>
              </a:cxn>
              <a:cxn ang="0">
                <a:pos x="connsiteX39918" y="connsiteY39918"/>
              </a:cxn>
              <a:cxn ang="0">
                <a:pos x="connsiteX39919" y="connsiteY39919"/>
              </a:cxn>
              <a:cxn ang="0">
                <a:pos x="connsiteX39920" y="connsiteY39920"/>
              </a:cxn>
              <a:cxn ang="0">
                <a:pos x="connsiteX39921" y="connsiteY39921"/>
              </a:cxn>
              <a:cxn ang="0">
                <a:pos x="connsiteX39922" y="connsiteY39922"/>
              </a:cxn>
              <a:cxn ang="0">
                <a:pos x="connsiteX39923" y="connsiteY39923"/>
              </a:cxn>
              <a:cxn ang="0">
                <a:pos x="connsiteX39924" y="connsiteY39924"/>
              </a:cxn>
              <a:cxn ang="0">
                <a:pos x="connsiteX39925" y="connsiteY39925"/>
              </a:cxn>
              <a:cxn ang="0">
                <a:pos x="connsiteX39926" y="connsiteY39926"/>
              </a:cxn>
              <a:cxn ang="0">
                <a:pos x="connsiteX39927" y="connsiteY39927"/>
              </a:cxn>
              <a:cxn ang="0">
                <a:pos x="connsiteX39928" y="connsiteY39928"/>
              </a:cxn>
              <a:cxn ang="0">
                <a:pos x="connsiteX39929" y="connsiteY39929"/>
              </a:cxn>
              <a:cxn ang="0">
                <a:pos x="connsiteX39930" y="connsiteY39930"/>
              </a:cxn>
              <a:cxn ang="0">
                <a:pos x="connsiteX39931" y="connsiteY39931"/>
              </a:cxn>
              <a:cxn ang="0">
                <a:pos x="connsiteX39932" y="connsiteY39932"/>
              </a:cxn>
              <a:cxn ang="0">
                <a:pos x="connsiteX39933" y="connsiteY39933"/>
              </a:cxn>
              <a:cxn ang="0">
                <a:pos x="connsiteX39934" y="connsiteY39934"/>
              </a:cxn>
              <a:cxn ang="0">
                <a:pos x="connsiteX39935" y="connsiteY39935"/>
              </a:cxn>
              <a:cxn ang="0">
                <a:pos x="connsiteX39936" y="connsiteY39936"/>
              </a:cxn>
              <a:cxn ang="0">
                <a:pos x="connsiteX39937" y="connsiteY39937"/>
              </a:cxn>
              <a:cxn ang="0">
                <a:pos x="connsiteX39938" y="connsiteY39938"/>
              </a:cxn>
              <a:cxn ang="0">
                <a:pos x="connsiteX39939" y="connsiteY39939"/>
              </a:cxn>
              <a:cxn ang="0">
                <a:pos x="connsiteX39940" y="connsiteY39940"/>
              </a:cxn>
              <a:cxn ang="0">
                <a:pos x="connsiteX39941" y="connsiteY39941"/>
              </a:cxn>
              <a:cxn ang="0">
                <a:pos x="connsiteX39942" y="connsiteY39942"/>
              </a:cxn>
              <a:cxn ang="0">
                <a:pos x="connsiteX39943" y="connsiteY39943"/>
              </a:cxn>
              <a:cxn ang="0">
                <a:pos x="connsiteX39944" y="connsiteY39944"/>
              </a:cxn>
              <a:cxn ang="0">
                <a:pos x="connsiteX39945" y="connsiteY39945"/>
              </a:cxn>
              <a:cxn ang="0">
                <a:pos x="connsiteX39946" y="connsiteY39946"/>
              </a:cxn>
              <a:cxn ang="0">
                <a:pos x="connsiteX39947" y="connsiteY39947"/>
              </a:cxn>
              <a:cxn ang="0">
                <a:pos x="connsiteX39948" y="connsiteY39948"/>
              </a:cxn>
              <a:cxn ang="0">
                <a:pos x="connsiteX39949" y="connsiteY39949"/>
              </a:cxn>
              <a:cxn ang="0">
                <a:pos x="connsiteX39950" y="connsiteY39950"/>
              </a:cxn>
              <a:cxn ang="0">
                <a:pos x="connsiteX39951" y="connsiteY39951"/>
              </a:cxn>
              <a:cxn ang="0">
                <a:pos x="connsiteX39952" y="connsiteY39952"/>
              </a:cxn>
              <a:cxn ang="0">
                <a:pos x="connsiteX39953" y="connsiteY39953"/>
              </a:cxn>
              <a:cxn ang="0">
                <a:pos x="connsiteX39954" y="connsiteY39954"/>
              </a:cxn>
              <a:cxn ang="0">
                <a:pos x="connsiteX39955" y="connsiteY39955"/>
              </a:cxn>
              <a:cxn ang="0">
                <a:pos x="connsiteX39956" y="connsiteY39956"/>
              </a:cxn>
              <a:cxn ang="0">
                <a:pos x="connsiteX39957" y="connsiteY39957"/>
              </a:cxn>
              <a:cxn ang="0">
                <a:pos x="connsiteX39958" y="connsiteY39958"/>
              </a:cxn>
              <a:cxn ang="0">
                <a:pos x="connsiteX39959" y="connsiteY39959"/>
              </a:cxn>
              <a:cxn ang="0">
                <a:pos x="connsiteX39960" y="connsiteY39960"/>
              </a:cxn>
              <a:cxn ang="0">
                <a:pos x="connsiteX39961" y="connsiteY39961"/>
              </a:cxn>
              <a:cxn ang="0">
                <a:pos x="connsiteX39962" y="connsiteY39962"/>
              </a:cxn>
              <a:cxn ang="0">
                <a:pos x="connsiteX39963" y="connsiteY39963"/>
              </a:cxn>
              <a:cxn ang="0">
                <a:pos x="connsiteX39964" y="connsiteY39964"/>
              </a:cxn>
              <a:cxn ang="0">
                <a:pos x="connsiteX39965" y="connsiteY39965"/>
              </a:cxn>
              <a:cxn ang="0">
                <a:pos x="connsiteX39966" y="connsiteY39966"/>
              </a:cxn>
              <a:cxn ang="0">
                <a:pos x="connsiteX39967" y="connsiteY39967"/>
              </a:cxn>
              <a:cxn ang="0">
                <a:pos x="connsiteX39968" y="connsiteY39968"/>
              </a:cxn>
              <a:cxn ang="0">
                <a:pos x="connsiteX39969" y="connsiteY39969"/>
              </a:cxn>
              <a:cxn ang="0">
                <a:pos x="connsiteX39970" y="connsiteY39970"/>
              </a:cxn>
              <a:cxn ang="0">
                <a:pos x="connsiteX39971" y="connsiteY39971"/>
              </a:cxn>
              <a:cxn ang="0">
                <a:pos x="connsiteX39972" y="connsiteY39972"/>
              </a:cxn>
              <a:cxn ang="0">
                <a:pos x="connsiteX39973" y="connsiteY39973"/>
              </a:cxn>
              <a:cxn ang="0">
                <a:pos x="connsiteX39974" y="connsiteY39974"/>
              </a:cxn>
              <a:cxn ang="0">
                <a:pos x="connsiteX39975" y="connsiteY39975"/>
              </a:cxn>
              <a:cxn ang="0">
                <a:pos x="connsiteX39976" y="connsiteY39976"/>
              </a:cxn>
              <a:cxn ang="0">
                <a:pos x="connsiteX39977" y="connsiteY39977"/>
              </a:cxn>
              <a:cxn ang="0">
                <a:pos x="connsiteX39978" y="connsiteY39978"/>
              </a:cxn>
              <a:cxn ang="0">
                <a:pos x="connsiteX39979" y="connsiteY39979"/>
              </a:cxn>
              <a:cxn ang="0">
                <a:pos x="connsiteX39980" y="connsiteY39980"/>
              </a:cxn>
              <a:cxn ang="0">
                <a:pos x="connsiteX39981" y="connsiteY39981"/>
              </a:cxn>
              <a:cxn ang="0">
                <a:pos x="connsiteX39982" y="connsiteY39982"/>
              </a:cxn>
              <a:cxn ang="0">
                <a:pos x="connsiteX39983" y="connsiteY39983"/>
              </a:cxn>
              <a:cxn ang="0">
                <a:pos x="connsiteX39984" y="connsiteY39984"/>
              </a:cxn>
              <a:cxn ang="0">
                <a:pos x="connsiteX39985" y="connsiteY39985"/>
              </a:cxn>
              <a:cxn ang="0">
                <a:pos x="connsiteX39986" y="connsiteY39986"/>
              </a:cxn>
              <a:cxn ang="0">
                <a:pos x="connsiteX39987" y="connsiteY39987"/>
              </a:cxn>
              <a:cxn ang="0">
                <a:pos x="connsiteX39988" y="connsiteY39988"/>
              </a:cxn>
              <a:cxn ang="0">
                <a:pos x="connsiteX39989" y="connsiteY39989"/>
              </a:cxn>
              <a:cxn ang="0">
                <a:pos x="connsiteX39990" y="connsiteY39990"/>
              </a:cxn>
              <a:cxn ang="0">
                <a:pos x="connsiteX39991" y="connsiteY39991"/>
              </a:cxn>
              <a:cxn ang="0">
                <a:pos x="connsiteX39992" y="connsiteY39992"/>
              </a:cxn>
              <a:cxn ang="0">
                <a:pos x="connsiteX39993" y="connsiteY39993"/>
              </a:cxn>
              <a:cxn ang="0">
                <a:pos x="connsiteX39994" y="connsiteY39994"/>
              </a:cxn>
              <a:cxn ang="0">
                <a:pos x="connsiteX39995" y="connsiteY39995"/>
              </a:cxn>
              <a:cxn ang="0">
                <a:pos x="connsiteX39996" y="connsiteY39996"/>
              </a:cxn>
              <a:cxn ang="0">
                <a:pos x="connsiteX39997" y="connsiteY39997"/>
              </a:cxn>
              <a:cxn ang="0">
                <a:pos x="connsiteX39998" y="connsiteY39998"/>
              </a:cxn>
              <a:cxn ang="0">
                <a:pos x="connsiteX39999" y="connsiteY39999"/>
              </a:cxn>
              <a:cxn ang="0">
                <a:pos x="connsiteX40000" y="connsiteY40000"/>
              </a:cxn>
              <a:cxn ang="0">
                <a:pos x="connsiteX40001" y="connsiteY40001"/>
              </a:cxn>
              <a:cxn ang="0">
                <a:pos x="connsiteX40002" y="connsiteY40002"/>
              </a:cxn>
              <a:cxn ang="0">
                <a:pos x="connsiteX40003" y="connsiteY40003"/>
              </a:cxn>
              <a:cxn ang="0">
                <a:pos x="connsiteX40004" y="connsiteY40004"/>
              </a:cxn>
              <a:cxn ang="0">
                <a:pos x="connsiteX40005" y="connsiteY40005"/>
              </a:cxn>
              <a:cxn ang="0">
                <a:pos x="connsiteX40006" y="connsiteY40006"/>
              </a:cxn>
              <a:cxn ang="0">
                <a:pos x="connsiteX40007" y="connsiteY40007"/>
              </a:cxn>
              <a:cxn ang="0">
                <a:pos x="connsiteX40008" y="connsiteY40008"/>
              </a:cxn>
              <a:cxn ang="0">
                <a:pos x="connsiteX40009" y="connsiteY40009"/>
              </a:cxn>
              <a:cxn ang="0">
                <a:pos x="connsiteX40010" y="connsiteY40010"/>
              </a:cxn>
              <a:cxn ang="0">
                <a:pos x="connsiteX40011" y="connsiteY40011"/>
              </a:cxn>
              <a:cxn ang="0">
                <a:pos x="connsiteX40012" y="connsiteY40012"/>
              </a:cxn>
              <a:cxn ang="0">
                <a:pos x="connsiteX40013" y="connsiteY40013"/>
              </a:cxn>
              <a:cxn ang="0">
                <a:pos x="connsiteX40014" y="connsiteY40014"/>
              </a:cxn>
              <a:cxn ang="0">
                <a:pos x="connsiteX40015" y="connsiteY40015"/>
              </a:cxn>
              <a:cxn ang="0">
                <a:pos x="connsiteX40016" y="connsiteY40016"/>
              </a:cxn>
              <a:cxn ang="0">
                <a:pos x="connsiteX40017" y="connsiteY40017"/>
              </a:cxn>
              <a:cxn ang="0">
                <a:pos x="connsiteX40018" y="connsiteY40018"/>
              </a:cxn>
              <a:cxn ang="0">
                <a:pos x="connsiteX40019" y="connsiteY40019"/>
              </a:cxn>
              <a:cxn ang="0">
                <a:pos x="connsiteX40020" y="connsiteY40020"/>
              </a:cxn>
              <a:cxn ang="0">
                <a:pos x="connsiteX40021" y="connsiteY40021"/>
              </a:cxn>
              <a:cxn ang="0">
                <a:pos x="connsiteX40022" y="connsiteY40022"/>
              </a:cxn>
              <a:cxn ang="0">
                <a:pos x="connsiteX40023" y="connsiteY40023"/>
              </a:cxn>
              <a:cxn ang="0">
                <a:pos x="connsiteX40024" y="connsiteY40024"/>
              </a:cxn>
              <a:cxn ang="0">
                <a:pos x="connsiteX40025" y="connsiteY40025"/>
              </a:cxn>
              <a:cxn ang="0">
                <a:pos x="connsiteX40026" y="connsiteY40026"/>
              </a:cxn>
              <a:cxn ang="0">
                <a:pos x="connsiteX40027" y="connsiteY40027"/>
              </a:cxn>
              <a:cxn ang="0">
                <a:pos x="connsiteX40028" y="connsiteY40028"/>
              </a:cxn>
              <a:cxn ang="0">
                <a:pos x="connsiteX40029" y="connsiteY40029"/>
              </a:cxn>
              <a:cxn ang="0">
                <a:pos x="connsiteX40030" y="connsiteY40030"/>
              </a:cxn>
              <a:cxn ang="0">
                <a:pos x="connsiteX40031" y="connsiteY40031"/>
              </a:cxn>
              <a:cxn ang="0">
                <a:pos x="connsiteX40032" y="connsiteY40032"/>
              </a:cxn>
              <a:cxn ang="0">
                <a:pos x="connsiteX40033" y="connsiteY40033"/>
              </a:cxn>
              <a:cxn ang="0">
                <a:pos x="connsiteX40034" y="connsiteY40034"/>
              </a:cxn>
              <a:cxn ang="0">
                <a:pos x="connsiteX40035" y="connsiteY40035"/>
              </a:cxn>
              <a:cxn ang="0">
                <a:pos x="connsiteX40036" y="connsiteY40036"/>
              </a:cxn>
              <a:cxn ang="0">
                <a:pos x="connsiteX40037" y="connsiteY40037"/>
              </a:cxn>
              <a:cxn ang="0">
                <a:pos x="connsiteX40038" y="connsiteY40038"/>
              </a:cxn>
              <a:cxn ang="0">
                <a:pos x="connsiteX40039" y="connsiteY40039"/>
              </a:cxn>
              <a:cxn ang="0">
                <a:pos x="connsiteX40040" y="connsiteY40040"/>
              </a:cxn>
              <a:cxn ang="0">
                <a:pos x="connsiteX40041" y="connsiteY40041"/>
              </a:cxn>
              <a:cxn ang="0">
                <a:pos x="connsiteX40042" y="connsiteY40042"/>
              </a:cxn>
              <a:cxn ang="0">
                <a:pos x="connsiteX40043" y="connsiteY40043"/>
              </a:cxn>
              <a:cxn ang="0">
                <a:pos x="connsiteX40044" y="connsiteY40044"/>
              </a:cxn>
              <a:cxn ang="0">
                <a:pos x="connsiteX40045" y="connsiteY40045"/>
              </a:cxn>
              <a:cxn ang="0">
                <a:pos x="connsiteX40046" y="connsiteY40046"/>
              </a:cxn>
              <a:cxn ang="0">
                <a:pos x="connsiteX40047" y="connsiteY40047"/>
              </a:cxn>
              <a:cxn ang="0">
                <a:pos x="connsiteX40048" y="connsiteY40048"/>
              </a:cxn>
              <a:cxn ang="0">
                <a:pos x="connsiteX40049" y="connsiteY40049"/>
              </a:cxn>
              <a:cxn ang="0">
                <a:pos x="connsiteX40050" y="connsiteY40050"/>
              </a:cxn>
              <a:cxn ang="0">
                <a:pos x="connsiteX40051" y="connsiteY40051"/>
              </a:cxn>
              <a:cxn ang="0">
                <a:pos x="connsiteX40052" y="connsiteY40052"/>
              </a:cxn>
              <a:cxn ang="0">
                <a:pos x="connsiteX40053" y="connsiteY40053"/>
              </a:cxn>
              <a:cxn ang="0">
                <a:pos x="connsiteX40054" y="connsiteY40054"/>
              </a:cxn>
              <a:cxn ang="0">
                <a:pos x="connsiteX40055" y="connsiteY40055"/>
              </a:cxn>
              <a:cxn ang="0">
                <a:pos x="connsiteX40056" y="connsiteY40056"/>
              </a:cxn>
              <a:cxn ang="0">
                <a:pos x="connsiteX40057" y="connsiteY40057"/>
              </a:cxn>
              <a:cxn ang="0">
                <a:pos x="connsiteX40058" y="connsiteY40058"/>
              </a:cxn>
              <a:cxn ang="0">
                <a:pos x="connsiteX40059" y="connsiteY40059"/>
              </a:cxn>
              <a:cxn ang="0">
                <a:pos x="connsiteX40060" y="connsiteY40060"/>
              </a:cxn>
              <a:cxn ang="0">
                <a:pos x="connsiteX40061" y="connsiteY40061"/>
              </a:cxn>
              <a:cxn ang="0">
                <a:pos x="connsiteX40062" y="connsiteY40062"/>
              </a:cxn>
              <a:cxn ang="0">
                <a:pos x="connsiteX40063" y="connsiteY40063"/>
              </a:cxn>
              <a:cxn ang="0">
                <a:pos x="connsiteX40064" y="connsiteY40064"/>
              </a:cxn>
              <a:cxn ang="0">
                <a:pos x="connsiteX40065" y="connsiteY40065"/>
              </a:cxn>
              <a:cxn ang="0">
                <a:pos x="connsiteX40066" y="connsiteY40066"/>
              </a:cxn>
              <a:cxn ang="0">
                <a:pos x="connsiteX40067" y="connsiteY40067"/>
              </a:cxn>
              <a:cxn ang="0">
                <a:pos x="connsiteX40068" y="connsiteY40068"/>
              </a:cxn>
              <a:cxn ang="0">
                <a:pos x="connsiteX40069" y="connsiteY40069"/>
              </a:cxn>
              <a:cxn ang="0">
                <a:pos x="connsiteX40070" y="connsiteY40070"/>
              </a:cxn>
              <a:cxn ang="0">
                <a:pos x="connsiteX40071" y="connsiteY40071"/>
              </a:cxn>
              <a:cxn ang="0">
                <a:pos x="connsiteX40072" y="connsiteY40072"/>
              </a:cxn>
              <a:cxn ang="0">
                <a:pos x="connsiteX40073" y="connsiteY40073"/>
              </a:cxn>
              <a:cxn ang="0">
                <a:pos x="connsiteX40074" y="connsiteY40074"/>
              </a:cxn>
              <a:cxn ang="0">
                <a:pos x="connsiteX40075" y="connsiteY40075"/>
              </a:cxn>
              <a:cxn ang="0">
                <a:pos x="connsiteX40076" y="connsiteY40076"/>
              </a:cxn>
              <a:cxn ang="0">
                <a:pos x="connsiteX40077" y="connsiteY40077"/>
              </a:cxn>
              <a:cxn ang="0">
                <a:pos x="connsiteX40078" y="connsiteY40078"/>
              </a:cxn>
              <a:cxn ang="0">
                <a:pos x="connsiteX40079" y="connsiteY40079"/>
              </a:cxn>
              <a:cxn ang="0">
                <a:pos x="connsiteX40080" y="connsiteY40080"/>
              </a:cxn>
              <a:cxn ang="0">
                <a:pos x="connsiteX40081" y="connsiteY40081"/>
              </a:cxn>
              <a:cxn ang="0">
                <a:pos x="connsiteX40082" y="connsiteY40082"/>
              </a:cxn>
              <a:cxn ang="0">
                <a:pos x="connsiteX40083" y="connsiteY40083"/>
              </a:cxn>
              <a:cxn ang="0">
                <a:pos x="connsiteX40084" y="connsiteY40084"/>
              </a:cxn>
              <a:cxn ang="0">
                <a:pos x="connsiteX40085" y="connsiteY40085"/>
              </a:cxn>
              <a:cxn ang="0">
                <a:pos x="connsiteX40086" y="connsiteY40086"/>
              </a:cxn>
              <a:cxn ang="0">
                <a:pos x="connsiteX40087" y="connsiteY40087"/>
              </a:cxn>
              <a:cxn ang="0">
                <a:pos x="connsiteX40088" y="connsiteY40088"/>
              </a:cxn>
              <a:cxn ang="0">
                <a:pos x="connsiteX40089" y="connsiteY40089"/>
              </a:cxn>
              <a:cxn ang="0">
                <a:pos x="connsiteX40090" y="connsiteY40090"/>
              </a:cxn>
              <a:cxn ang="0">
                <a:pos x="connsiteX40091" y="connsiteY40091"/>
              </a:cxn>
              <a:cxn ang="0">
                <a:pos x="connsiteX40092" y="connsiteY40092"/>
              </a:cxn>
              <a:cxn ang="0">
                <a:pos x="connsiteX40093" y="connsiteY40093"/>
              </a:cxn>
              <a:cxn ang="0">
                <a:pos x="connsiteX40094" y="connsiteY40094"/>
              </a:cxn>
              <a:cxn ang="0">
                <a:pos x="connsiteX40095" y="connsiteY40095"/>
              </a:cxn>
              <a:cxn ang="0">
                <a:pos x="connsiteX40096" y="connsiteY40096"/>
              </a:cxn>
              <a:cxn ang="0">
                <a:pos x="connsiteX40097" y="connsiteY40097"/>
              </a:cxn>
              <a:cxn ang="0">
                <a:pos x="connsiteX40098" y="connsiteY40098"/>
              </a:cxn>
              <a:cxn ang="0">
                <a:pos x="connsiteX40099" y="connsiteY40099"/>
              </a:cxn>
              <a:cxn ang="0">
                <a:pos x="connsiteX40100" y="connsiteY40100"/>
              </a:cxn>
              <a:cxn ang="0">
                <a:pos x="connsiteX40101" y="connsiteY40101"/>
              </a:cxn>
              <a:cxn ang="0">
                <a:pos x="connsiteX40102" y="connsiteY40102"/>
              </a:cxn>
              <a:cxn ang="0">
                <a:pos x="connsiteX40103" y="connsiteY40103"/>
              </a:cxn>
              <a:cxn ang="0">
                <a:pos x="connsiteX40104" y="connsiteY40104"/>
              </a:cxn>
              <a:cxn ang="0">
                <a:pos x="connsiteX40105" y="connsiteY40105"/>
              </a:cxn>
              <a:cxn ang="0">
                <a:pos x="connsiteX40106" y="connsiteY40106"/>
              </a:cxn>
              <a:cxn ang="0">
                <a:pos x="connsiteX40107" y="connsiteY40107"/>
              </a:cxn>
              <a:cxn ang="0">
                <a:pos x="connsiteX40108" y="connsiteY40108"/>
              </a:cxn>
              <a:cxn ang="0">
                <a:pos x="connsiteX40109" y="connsiteY40109"/>
              </a:cxn>
              <a:cxn ang="0">
                <a:pos x="connsiteX40110" y="connsiteY40110"/>
              </a:cxn>
              <a:cxn ang="0">
                <a:pos x="connsiteX40111" y="connsiteY40111"/>
              </a:cxn>
              <a:cxn ang="0">
                <a:pos x="connsiteX40112" y="connsiteY40112"/>
              </a:cxn>
              <a:cxn ang="0">
                <a:pos x="connsiteX40113" y="connsiteY40113"/>
              </a:cxn>
              <a:cxn ang="0">
                <a:pos x="connsiteX40114" y="connsiteY40114"/>
              </a:cxn>
              <a:cxn ang="0">
                <a:pos x="connsiteX40115" y="connsiteY40115"/>
              </a:cxn>
              <a:cxn ang="0">
                <a:pos x="connsiteX40116" y="connsiteY40116"/>
              </a:cxn>
              <a:cxn ang="0">
                <a:pos x="connsiteX40117" y="connsiteY40117"/>
              </a:cxn>
              <a:cxn ang="0">
                <a:pos x="connsiteX40118" y="connsiteY40118"/>
              </a:cxn>
              <a:cxn ang="0">
                <a:pos x="connsiteX40119" y="connsiteY40119"/>
              </a:cxn>
              <a:cxn ang="0">
                <a:pos x="connsiteX40120" y="connsiteY40120"/>
              </a:cxn>
              <a:cxn ang="0">
                <a:pos x="connsiteX40121" y="connsiteY40121"/>
              </a:cxn>
              <a:cxn ang="0">
                <a:pos x="connsiteX40122" y="connsiteY40122"/>
              </a:cxn>
              <a:cxn ang="0">
                <a:pos x="connsiteX40123" y="connsiteY40123"/>
              </a:cxn>
              <a:cxn ang="0">
                <a:pos x="connsiteX40124" y="connsiteY40124"/>
              </a:cxn>
              <a:cxn ang="0">
                <a:pos x="connsiteX40125" y="connsiteY40125"/>
              </a:cxn>
              <a:cxn ang="0">
                <a:pos x="connsiteX40126" y="connsiteY40126"/>
              </a:cxn>
              <a:cxn ang="0">
                <a:pos x="connsiteX40127" y="connsiteY40127"/>
              </a:cxn>
              <a:cxn ang="0">
                <a:pos x="connsiteX40128" y="connsiteY40128"/>
              </a:cxn>
              <a:cxn ang="0">
                <a:pos x="connsiteX40129" y="connsiteY40129"/>
              </a:cxn>
              <a:cxn ang="0">
                <a:pos x="connsiteX40130" y="connsiteY40130"/>
              </a:cxn>
              <a:cxn ang="0">
                <a:pos x="connsiteX40131" y="connsiteY40131"/>
              </a:cxn>
              <a:cxn ang="0">
                <a:pos x="connsiteX40132" y="connsiteY40132"/>
              </a:cxn>
              <a:cxn ang="0">
                <a:pos x="connsiteX40133" y="connsiteY40133"/>
              </a:cxn>
              <a:cxn ang="0">
                <a:pos x="connsiteX40134" y="connsiteY40134"/>
              </a:cxn>
              <a:cxn ang="0">
                <a:pos x="connsiteX40135" y="connsiteY40135"/>
              </a:cxn>
              <a:cxn ang="0">
                <a:pos x="connsiteX40136" y="connsiteY40136"/>
              </a:cxn>
              <a:cxn ang="0">
                <a:pos x="connsiteX40137" y="connsiteY40137"/>
              </a:cxn>
              <a:cxn ang="0">
                <a:pos x="connsiteX40138" y="connsiteY40138"/>
              </a:cxn>
              <a:cxn ang="0">
                <a:pos x="connsiteX40139" y="connsiteY40139"/>
              </a:cxn>
              <a:cxn ang="0">
                <a:pos x="connsiteX40140" y="connsiteY40140"/>
              </a:cxn>
              <a:cxn ang="0">
                <a:pos x="connsiteX40141" y="connsiteY40141"/>
              </a:cxn>
              <a:cxn ang="0">
                <a:pos x="connsiteX40142" y="connsiteY40142"/>
              </a:cxn>
              <a:cxn ang="0">
                <a:pos x="connsiteX40143" y="connsiteY40143"/>
              </a:cxn>
              <a:cxn ang="0">
                <a:pos x="connsiteX40144" y="connsiteY40144"/>
              </a:cxn>
              <a:cxn ang="0">
                <a:pos x="connsiteX40145" y="connsiteY40145"/>
              </a:cxn>
              <a:cxn ang="0">
                <a:pos x="connsiteX40146" y="connsiteY40146"/>
              </a:cxn>
              <a:cxn ang="0">
                <a:pos x="connsiteX40147" y="connsiteY40147"/>
              </a:cxn>
              <a:cxn ang="0">
                <a:pos x="connsiteX40148" y="connsiteY40148"/>
              </a:cxn>
              <a:cxn ang="0">
                <a:pos x="connsiteX40149" y="connsiteY40149"/>
              </a:cxn>
              <a:cxn ang="0">
                <a:pos x="connsiteX40150" y="connsiteY40150"/>
              </a:cxn>
              <a:cxn ang="0">
                <a:pos x="connsiteX40151" y="connsiteY40151"/>
              </a:cxn>
              <a:cxn ang="0">
                <a:pos x="connsiteX40152" y="connsiteY40152"/>
              </a:cxn>
              <a:cxn ang="0">
                <a:pos x="connsiteX40153" y="connsiteY40153"/>
              </a:cxn>
              <a:cxn ang="0">
                <a:pos x="connsiteX40154" y="connsiteY40154"/>
              </a:cxn>
              <a:cxn ang="0">
                <a:pos x="connsiteX40155" y="connsiteY40155"/>
              </a:cxn>
              <a:cxn ang="0">
                <a:pos x="connsiteX40156" y="connsiteY40156"/>
              </a:cxn>
              <a:cxn ang="0">
                <a:pos x="connsiteX40157" y="connsiteY40157"/>
              </a:cxn>
              <a:cxn ang="0">
                <a:pos x="connsiteX40158" y="connsiteY40158"/>
              </a:cxn>
              <a:cxn ang="0">
                <a:pos x="connsiteX40159" y="connsiteY40159"/>
              </a:cxn>
              <a:cxn ang="0">
                <a:pos x="connsiteX40160" y="connsiteY40160"/>
              </a:cxn>
              <a:cxn ang="0">
                <a:pos x="connsiteX40161" y="connsiteY40161"/>
              </a:cxn>
              <a:cxn ang="0">
                <a:pos x="connsiteX40162" y="connsiteY40162"/>
              </a:cxn>
              <a:cxn ang="0">
                <a:pos x="connsiteX40163" y="connsiteY40163"/>
              </a:cxn>
              <a:cxn ang="0">
                <a:pos x="connsiteX40164" y="connsiteY40164"/>
              </a:cxn>
              <a:cxn ang="0">
                <a:pos x="connsiteX40165" y="connsiteY40165"/>
              </a:cxn>
              <a:cxn ang="0">
                <a:pos x="connsiteX40166" y="connsiteY40166"/>
              </a:cxn>
              <a:cxn ang="0">
                <a:pos x="connsiteX40167" y="connsiteY40167"/>
              </a:cxn>
              <a:cxn ang="0">
                <a:pos x="connsiteX40168" y="connsiteY40168"/>
              </a:cxn>
              <a:cxn ang="0">
                <a:pos x="connsiteX40169" y="connsiteY40169"/>
              </a:cxn>
              <a:cxn ang="0">
                <a:pos x="connsiteX40170" y="connsiteY40170"/>
              </a:cxn>
              <a:cxn ang="0">
                <a:pos x="connsiteX40171" y="connsiteY40171"/>
              </a:cxn>
              <a:cxn ang="0">
                <a:pos x="connsiteX40172" y="connsiteY40172"/>
              </a:cxn>
              <a:cxn ang="0">
                <a:pos x="connsiteX40173" y="connsiteY40173"/>
              </a:cxn>
              <a:cxn ang="0">
                <a:pos x="connsiteX40174" y="connsiteY40174"/>
              </a:cxn>
              <a:cxn ang="0">
                <a:pos x="connsiteX40175" y="connsiteY40175"/>
              </a:cxn>
              <a:cxn ang="0">
                <a:pos x="connsiteX40176" y="connsiteY40176"/>
              </a:cxn>
              <a:cxn ang="0">
                <a:pos x="connsiteX40177" y="connsiteY40177"/>
              </a:cxn>
              <a:cxn ang="0">
                <a:pos x="connsiteX40178" y="connsiteY40178"/>
              </a:cxn>
              <a:cxn ang="0">
                <a:pos x="connsiteX40179" y="connsiteY40179"/>
              </a:cxn>
              <a:cxn ang="0">
                <a:pos x="connsiteX40180" y="connsiteY40180"/>
              </a:cxn>
              <a:cxn ang="0">
                <a:pos x="connsiteX40181" y="connsiteY40181"/>
              </a:cxn>
              <a:cxn ang="0">
                <a:pos x="connsiteX40182" y="connsiteY40182"/>
              </a:cxn>
              <a:cxn ang="0">
                <a:pos x="connsiteX40183" y="connsiteY40183"/>
              </a:cxn>
              <a:cxn ang="0">
                <a:pos x="connsiteX40184" y="connsiteY40184"/>
              </a:cxn>
              <a:cxn ang="0">
                <a:pos x="connsiteX40185" y="connsiteY40185"/>
              </a:cxn>
              <a:cxn ang="0">
                <a:pos x="connsiteX40186" y="connsiteY40186"/>
              </a:cxn>
              <a:cxn ang="0">
                <a:pos x="connsiteX40187" y="connsiteY40187"/>
              </a:cxn>
              <a:cxn ang="0">
                <a:pos x="connsiteX40188" y="connsiteY40188"/>
              </a:cxn>
              <a:cxn ang="0">
                <a:pos x="connsiteX40189" y="connsiteY40189"/>
              </a:cxn>
              <a:cxn ang="0">
                <a:pos x="connsiteX40190" y="connsiteY40190"/>
              </a:cxn>
              <a:cxn ang="0">
                <a:pos x="connsiteX40191" y="connsiteY40191"/>
              </a:cxn>
              <a:cxn ang="0">
                <a:pos x="connsiteX40192" y="connsiteY40192"/>
              </a:cxn>
              <a:cxn ang="0">
                <a:pos x="connsiteX40193" y="connsiteY40193"/>
              </a:cxn>
              <a:cxn ang="0">
                <a:pos x="connsiteX40194" y="connsiteY40194"/>
              </a:cxn>
              <a:cxn ang="0">
                <a:pos x="connsiteX40195" y="connsiteY40195"/>
              </a:cxn>
              <a:cxn ang="0">
                <a:pos x="connsiteX40196" y="connsiteY40196"/>
              </a:cxn>
              <a:cxn ang="0">
                <a:pos x="connsiteX40197" y="connsiteY40197"/>
              </a:cxn>
              <a:cxn ang="0">
                <a:pos x="connsiteX40198" y="connsiteY40198"/>
              </a:cxn>
              <a:cxn ang="0">
                <a:pos x="connsiteX40199" y="connsiteY40199"/>
              </a:cxn>
              <a:cxn ang="0">
                <a:pos x="connsiteX40200" y="connsiteY40200"/>
              </a:cxn>
              <a:cxn ang="0">
                <a:pos x="connsiteX40201" y="connsiteY40201"/>
              </a:cxn>
              <a:cxn ang="0">
                <a:pos x="connsiteX40202" y="connsiteY40202"/>
              </a:cxn>
              <a:cxn ang="0">
                <a:pos x="connsiteX40203" y="connsiteY40203"/>
              </a:cxn>
              <a:cxn ang="0">
                <a:pos x="connsiteX40204" y="connsiteY40204"/>
              </a:cxn>
              <a:cxn ang="0">
                <a:pos x="connsiteX40205" y="connsiteY40205"/>
              </a:cxn>
              <a:cxn ang="0">
                <a:pos x="connsiteX40206" y="connsiteY40206"/>
              </a:cxn>
              <a:cxn ang="0">
                <a:pos x="connsiteX40207" y="connsiteY40207"/>
              </a:cxn>
              <a:cxn ang="0">
                <a:pos x="connsiteX40208" y="connsiteY40208"/>
              </a:cxn>
              <a:cxn ang="0">
                <a:pos x="connsiteX40209" y="connsiteY40209"/>
              </a:cxn>
              <a:cxn ang="0">
                <a:pos x="connsiteX40210" y="connsiteY40210"/>
              </a:cxn>
              <a:cxn ang="0">
                <a:pos x="connsiteX40211" y="connsiteY40211"/>
              </a:cxn>
              <a:cxn ang="0">
                <a:pos x="connsiteX40212" y="connsiteY40212"/>
              </a:cxn>
              <a:cxn ang="0">
                <a:pos x="connsiteX40213" y="connsiteY40213"/>
              </a:cxn>
              <a:cxn ang="0">
                <a:pos x="connsiteX40214" y="connsiteY40214"/>
              </a:cxn>
              <a:cxn ang="0">
                <a:pos x="connsiteX40215" y="connsiteY40215"/>
              </a:cxn>
              <a:cxn ang="0">
                <a:pos x="connsiteX40216" y="connsiteY40216"/>
              </a:cxn>
              <a:cxn ang="0">
                <a:pos x="connsiteX40217" y="connsiteY40217"/>
              </a:cxn>
              <a:cxn ang="0">
                <a:pos x="connsiteX40218" y="connsiteY40218"/>
              </a:cxn>
              <a:cxn ang="0">
                <a:pos x="connsiteX40219" y="connsiteY40219"/>
              </a:cxn>
              <a:cxn ang="0">
                <a:pos x="connsiteX40220" y="connsiteY40220"/>
              </a:cxn>
              <a:cxn ang="0">
                <a:pos x="connsiteX40221" y="connsiteY40221"/>
              </a:cxn>
              <a:cxn ang="0">
                <a:pos x="connsiteX40222" y="connsiteY40222"/>
              </a:cxn>
              <a:cxn ang="0">
                <a:pos x="connsiteX40223" y="connsiteY40223"/>
              </a:cxn>
              <a:cxn ang="0">
                <a:pos x="connsiteX40224" y="connsiteY40224"/>
              </a:cxn>
              <a:cxn ang="0">
                <a:pos x="connsiteX40225" y="connsiteY40225"/>
              </a:cxn>
              <a:cxn ang="0">
                <a:pos x="connsiteX40226" y="connsiteY40226"/>
              </a:cxn>
              <a:cxn ang="0">
                <a:pos x="connsiteX40227" y="connsiteY40227"/>
              </a:cxn>
              <a:cxn ang="0">
                <a:pos x="connsiteX40228" y="connsiteY40228"/>
              </a:cxn>
              <a:cxn ang="0">
                <a:pos x="connsiteX40229" y="connsiteY40229"/>
              </a:cxn>
              <a:cxn ang="0">
                <a:pos x="connsiteX40230" y="connsiteY40230"/>
              </a:cxn>
              <a:cxn ang="0">
                <a:pos x="connsiteX40231" y="connsiteY40231"/>
              </a:cxn>
              <a:cxn ang="0">
                <a:pos x="connsiteX40232" y="connsiteY40232"/>
              </a:cxn>
              <a:cxn ang="0">
                <a:pos x="connsiteX40233" y="connsiteY40233"/>
              </a:cxn>
              <a:cxn ang="0">
                <a:pos x="connsiteX40234" y="connsiteY40234"/>
              </a:cxn>
              <a:cxn ang="0">
                <a:pos x="connsiteX40235" y="connsiteY40235"/>
              </a:cxn>
              <a:cxn ang="0">
                <a:pos x="connsiteX40236" y="connsiteY40236"/>
              </a:cxn>
              <a:cxn ang="0">
                <a:pos x="connsiteX40237" y="connsiteY40237"/>
              </a:cxn>
              <a:cxn ang="0">
                <a:pos x="connsiteX40238" y="connsiteY40238"/>
              </a:cxn>
              <a:cxn ang="0">
                <a:pos x="connsiteX40239" y="connsiteY40239"/>
              </a:cxn>
              <a:cxn ang="0">
                <a:pos x="connsiteX40240" y="connsiteY40240"/>
              </a:cxn>
              <a:cxn ang="0">
                <a:pos x="connsiteX40241" y="connsiteY40241"/>
              </a:cxn>
              <a:cxn ang="0">
                <a:pos x="connsiteX40242" y="connsiteY40242"/>
              </a:cxn>
              <a:cxn ang="0">
                <a:pos x="connsiteX40243" y="connsiteY40243"/>
              </a:cxn>
              <a:cxn ang="0">
                <a:pos x="connsiteX40244" y="connsiteY40244"/>
              </a:cxn>
              <a:cxn ang="0">
                <a:pos x="connsiteX40245" y="connsiteY40245"/>
              </a:cxn>
              <a:cxn ang="0">
                <a:pos x="connsiteX40246" y="connsiteY40246"/>
              </a:cxn>
              <a:cxn ang="0">
                <a:pos x="connsiteX40247" y="connsiteY40247"/>
              </a:cxn>
              <a:cxn ang="0">
                <a:pos x="connsiteX40248" y="connsiteY40248"/>
              </a:cxn>
              <a:cxn ang="0">
                <a:pos x="connsiteX40249" y="connsiteY40249"/>
              </a:cxn>
              <a:cxn ang="0">
                <a:pos x="connsiteX40250" y="connsiteY40250"/>
              </a:cxn>
              <a:cxn ang="0">
                <a:pos x="connsiteX40251" y="connsiteY40251"/>
              </a:cxn>
              <a:cxn ang="0">
                <a:pos x="connsiteX40252" y="connsiteY40252"/>
              </a:cxn>
              <a:cxn ang="0">
                <a:pos x="connsiteX40253" y="connsiteY40253"/>
              </a:cxn>
              <a:cxn ang="0">
                <a:pos x="connsiteX40254" y="connsiteY40254"/>
              </a:cxn>
              <a:cxn ang="0">
                <a:pos x="connsiteX40255" y="connsiteY40255"/>
              </a:cxn>
              <a:cxn ang="0">
                <a:pos x="connsiteX40256" y="connsiteY40256"/>
              </a:cxn>
              <a:cxn ang="0">
                <a:pos x="connsiteX40257" y="connsiteY40257"/>
              </a:cxn>
              <a:cxn ang="0">
                <a:pos x="connsiteX40258" y="connsiteY40258"/>
              </a:cxn>
              <a:cxn ang="0">
                <a:pos x="connsiteX40259" y="connsiteY40259"/>
              </a:cxn>
              <a:cxn ang="0">
                <a:pos x="connsiteX40260" y="connsiteY40260"/>
              </a:cxn>
              <a:cxn ang="0">
                <a:pos x="connsiteX40261" y="connsiteY40261"/>
              </a:cxn>
              <a:cxn ang="0">
                <a:pos x="connsiteX40262" y="connsiteY40262"/>
              </a:cxn>
              <a:cxn ang="0">
                <a:pos x="connsiteX40263" y="connsiteY40263"/>
              </a:cxn>
              <a:cxn ang="0">
                <a:pos x="connsiteX40264" y="connsiteY40264"/>
              </a:cxn>
              <a:cxn ang="0">
                <a:pos x="connsiteX40265" y="connsiteY40265"/>
              </a:cxn>
              <a:cxn ang="0">
                <a:pos x="connsiteX40266" y="connsiteY40266"/>
              </a:cxn>
              <a:cxn ang="0">
                <a:pos x="connsiteX40267" y="connsiteY40267"/>
              </a:cxn>
              <a:cxn ang="0">
                <a:pos x="connsiteX40268" y="connsiteY40268"/>
              </a:cxn>
              <a:cxn ang="0">
                <a:pos x="connsiteX40269" y="connsiteY40269"/>
              </a:cxn>
              <a:cxn ang="0">
                <a:pos x="connsiteX40270" y="connsiteY40270"/>
              </a:cxn>
              <a:cxn ang="0">
                <a:pos x="connsiteX40271" y="connsiteY40271"/>
              </a:cxn>
              <a:cxn ang="0">
                <a:pos x="connsiteX40272" y="connsiteY40272"/>
              </a:cxn>
              <a:cxn ang="0">
                <a:pos x="connsiteX40273" y="connsiteY40273"/>
              </a:cxn>
              <a:cxn ang="0">
                <a:pos x="connsiteX40274" y="connsiteY40274"/>
              </a:cxn>
              <a:cxn ang="0">
                <a:pos x="connsiteX40275" y="connsiteY40275"/>
              </a:cxn>
              <a:cxn ang="0">
                <a:pos x="connsiteX40276" y="connsiteY40276"/>
              </a:cxn>
              <a:cxn ang="0">
                <a:pos x="connsiteX40277" y="connsiteY40277"/>
              </a:cxn>
              <a:cxn ang="0">
                <a:pos x="connsiteX40278" y="connsiteY40278"/>
              </a:cxn>
              <a:cxn ang="0">
                <a:pos x="connsiteX40279" y="connsiteY40279"/>
              </a:cxn>
              <a:cxn ang="0">
                <a:pos x="connsiteX40280" y="connsiteY40280"/>
              </a:cxn>
              <a:cxn ang="0">
                <a:pos x="connsiteX40281" y="connsiteY40281"/>
              </a:cxn>
              <a:cxn ang="0">
                <a:pos x="connsiteX40282" y="connsiteY40282"/>
              </a:cxn>
              <a:cxn ang="0">
                <a:pos x="connsiteX40283" y="connsiteY40283"/>
              </a:cxn>
              <a:cxn ang="0">
                <a:pos x="connsiteX40284" y="connsiteY40284"/>
              </a:cxn>
              <a:cxn ang="0">
                <a:pos x="connsiteX40285" y="connsiteY40285"/>
              </a:cxn>
              <a:cxn ang="0">
                <a:pos x="connsiteX40286" y="connsiteY40286"/>
              </a:cxn>
              <a:cxn ang="0">
                <a:pos x="connsiteX40287" y="connsiteY40287"/>
              </a:cxn>
              <a:cxn ang="0">
                <a:pos x="connsiteX40288" y="connsiteY40288"/>
              </a:cxn>
              <a:cxn ang="0">
                <a:pos x="connsiteX40289" y="connsiteY40289"/>
              </a:cxn>
              <a:cxn ang="0">
                <a:pos x="connsiteX40290" y="connsiteY40290"/>
              </a:cxn>
              <a:cxn ang="0">
                <a:pos x="connsiteX40291" y="connsiteY40291"/>
              </a:cxn>
              <a:cxn ang="0">
                <a:pos x="connsiteX40292" y="connsiteY40292"/>
              </a:cxn>
              <a:cxn ang="0">
                <a:pos x="connsiteX40293" y="connsiteY40293"/>
              </a:cxn>
              <a:cxn ang="0">
                <a:pos x="connsiteX40294" y="connsiteY40294"/>
              </a:cxn>
              <a:cxn ang="0">
                <a:pos x="connsiteX40295" y="connsiteY40295"/>
              </a:cxn>
              <a:cxn ang="0">
                <a:pos x="connsiteX40296" y="connsiteY40296"/>
              </a:cxn>
              <a:cxn ang="0">
                <a:pos x="connsiteX40297" y="connsiteY40297"/>
              </a:cxn>
              <a:cxn ang="0">
                <a:pos x="connsiteX40298" y="connsiteY40298"/>
              </a:cxn>
              <a:cxn ang="0">
                <a:pos x="connsiteX40299" y="connsiteY40299"/>
              </a:cxn>
              <a:cxn ang="0">
                <a:pos x="connsiteX40300" y="connsiteY40300"/>
              </a:cxn>
              <a:cxn ang="0">
                <a:pos x="connsiteX40301" y="connsiteY40301"/>
              </a:cxn>
              <a:cxn ang="0">
                <a:pos x="connsiteX40302" y="connsiteY40302"/>
              </a:cxn>
              <a:cxn ang="0">
                <a:pos x="connsiteX40303" y="connsiteY40303"/>
              </a:cxn>
              <a:cxn ang="0">
                <a:pos x="connsiteX40304" y="connsiteY40304"/>
              </a:cxn>
              <a:cxn ang="0">
                <a:pos x="connsiteX40305" y="connsiteY40305"/>
              </a:cxn>
              <a:cxn ang="0">
                <a:pos x="connsiteX40306" y="connsiteY40306"/>
              </a:cxn>
              <a:cxn ang="0">
                <a:pos x="connsiteX40307" y="connsiteY40307"/>
              </a:cxn>
              <a:cxn ang="0">
                <a:pos x="connsiteX40308" y="connsiteY40308"/>
              </a:cxn>
              <a:cxn ang="0">
                <a:pos x="connsiteX40309" y="connsiteY40309"/>
              </a:cxn>
              <a:cxn ang="0">
                <a:pos x="connsiteX40310" y="connsiteY40310"/>
              </a:cxn>
              <a:cxn ang="0">
                <a:pos x="connsiteX40311" y="connsiteY40311"/>
              </a:cxn>
              <a:cxn ang="0">
                <a:pos x="connsiteX40312" y="connsiteY40312"/>
              </a:cxn>
              <a:cxn ang="0">
                <a:pos x="connsiteX40313" y="connsiteY40313"/>
              </a:cxn>
              <a:cxn ang="0">
                <a:pos x="connsiteX40314" y="connsiteY40314"/>
              </a:cxn>
              <a:cxn ang="0">
                <a:pos x="connsiteX40315" y="connsiteY40315"/>
              </a:cxn>
              <a:cxn ang="0">
                <a:pos x="connsiteX40316" y="connsiteY40316"/>
              </a:cxn>
              <a:cxn ang="0">
                <a:pos x="connsiteX40317" y="connsiteY40317"/>
              </a:cxn>
              <a:cxn ang="0">
                <a:pos x="connsiteX40318" y="connsiteY40318"/>
              </a:cxn>
              <a:cxn ang="0">
                <a:pos x="connsiteX40319" y="connsiteY40319"/>
              </a:cxn>
              <a:cxn ang="0">
                <a:pos x="connsiteX40320" y="connsiteY40320"/>
              </a:cxn>
              <a:cxn ang="0">
                <a:pos x="connsiteX40321" y="connsiteY40321"/>
              </a:cxn>
              <a:cxn ang="0">
                <a:pos x="connsiteX40322" y="connsiteY40322"/>
              </a:cxn>
              <a:cxn ang="0">
                <a:pos x="connsiteX40323" y="connsiteY40323"/>
              </a:cxn>
              <a:cxn ang="0">
                <a:pos x="connsiteX40324" y="connsiteY40324"/>
              </a:cxn>
              <a:cxn ang="0">
                <a:pos x="connsiteX40325" y="connsiteY40325"/>
              </a:cxn>
              <a:cxn ang="0">
                <a:pos x="connsiteX40326" y="connsiteY40326"/>
              </a:cxn>
              <a:cxn ang="0">
                <a:pos x="connsiteX40327" y="connsiteY40327"/>
              </a:cxn>
              <a:cxn ang="0">
                <a:pos x="connsiteX40328" y="connsiteY40328"/>
              </a:cxn>
              <a:cxn ang="0">
                <a:pos x="connsiteX40329" y="connsiteY40329"/>
              </a:cxn>
              <a:cxn ang="0">
                <a:pos x="connsiteX40330" y="connsiteY40330"/>
              </a:cxn>
              <a:cxn ang="0">
                <a:pos x="connsiteX40331" y="connsiteY40331"/>
              </a:cxn>
              <a:cxn ang="0">
                <a:pos x="connsiteX40332" y="connsiteY40332"/>
              </a:cxn>
              <a:cxn ang="0">
                <a:pos x="connsiteX40333" y="connsiteY40333"/>
              </a:cxn>
              <a:cxn ang="0">
                <a:pos x="connsiteX40334" y="connsiteY40334"/>
              </a:cxn>
              <a:cxn ang="0">
                <a:pos x="connsiteX40335" y="connsiteY40335"/>
              </a:cxn>
              <a:cxn ang="0">
                <a:pos x="connsiteX40336" y="connsiteY40336"/>
              </a:cxn>
              <a:cxn ang="0">
                <a:pos x="connsiteX40337" y="connsiteY40337"/>
              </a:cxn>
              <a:cxn ang="0">
                <a:pos x="connsiteX40338" y="connsiteY40338"/>
              </a:cxn>
              <a:cxn ang="0">
                <a:pos x="connsiteX40339" y="connsiteY40339"/>
              </a:cxn>
              <a:cxn ang="0">
                <a:pos x="connsiteX40340" y="connsiteY40340"/>
              </a:cxn>
              <a:cxn ang="0">
                <a:pos x="connsiteX40341" y="connsiteY40341"/>
              </a:cxn>
              <a:cxn ang="0">
                <a:pos x="connsiteX40342" y="connsiteY40342"/>
              </a:cxn>
              <a:cxn ang="0">
                <a:pos x="connsiteX40343" y="connsiteY40343"/>
              </a:cxn>
              <a:cxn ang="0">
                <a:pos x="connsiteX40344" y="connsiteY40344"/>
              </a:cxn>
              <a:cxn ang="0">
                <a:pos x="connsiteX40345" y="connsiteY40345"/>
              </a:cxn>
              <a:cxn ang="0">
                <a:pos x="connsiteX40346" y="connsiteY40346"/>
              </a:cxn>
              <a:cxn ang="0">
                <a:pos x="connsiteX40347" y="connsiteY40347"/>
              </a:cxn>
              <a:cxn ang="0">
                <a:pos x="connsiteX40348" y="connsiteY40348"/>
              </a:cxn>
              <a:cxn ang="0">
                <a:pos x="connsiteX40349" y="connsiteY40349"/>
              </a:cxn>
              <a:cxn ang="0">
                <a:pos x="connsiteX40350" y="connsiteY40350"/>
              </a:cxn>
              <a:cxn ang="0">
                <a:pos x="connsiteX40351" y="connsiteY40351"/>
              </a:cxn>
              <a:cxn ang="0">
                <a:pos x="connsiteX40352" y="connsiteY40352"/>
              </a:cxn>
              <a:cxn ang="0">
                <a:pos x="connsiteX40353" y="connsiteY40353"/>
              </a:cxn>
              <a:cxn ang="0">
                <a:pos x="connsiteX40354" y="connsiteY40354"/>
              </a:cxn>
              <a:cxn ang="0">
                <a:pos x="connsiteX40355" y="connsiteY40355"/>
              </a:cxn>
              <a:cxn ang="0">
                <a:pos x="connsiteX40356" y="connsiteY40356"/>
              </a:cxn>
              <a:cxn ang="0">
                <a:pos x="connsiteX40357" y="connsiteY40357"/>
              </a:cxn>
              <a:cxn ang="0">
                <a:pos x="connsiteX40358" y="connsiteY40358"/>
              </a:cxn>
              <a:cxn ang="0">
                <a:pos x="connsiteX40359" y="connsiteY40359"/>
              </a:cxn>
              <a:cxn ang="0">
                <a:pos x="connsiteX40360" y="connsiteY40360"/>
              </a:cxn>
              <a:cxn ang="0">
                <a:pos x="connsiteX40361" y="connsiteY40361"/>
              </a:cxn>
              <a:cxn ang="0">
                <a:pos x="connsiteX40362" y="connsiteY40362"/>
              </a:cxn>
              <a:cxn ang="0">
                <a:pos x="connsiteX40363" y="connsiteY40363"/>
              </a:cxn>
              <a:cxn ang="0">
                <a:pos x="connsiteX40364" y="connsiteY40364"/>
              </a:cxn>
              <a:cxn ang="0">
                <a:pos x="connsiteX40365" y="connsiteY40365"/>
              </a:cxn>
              <a:cxn ang="0">
                <a:pos x="connsiteX40366" y="connsiteY40366"/>
              </a:cxn>
              <a:cxn ang="0">
                <a:pos x="connsiteX40367" y="connsiteY40367"/>
              </a:cxn>
              <a:cxn ang="0">
                <a:pos x="connsiteX40368" y="connsiteY40368"/>
              </a:cxn>
              <a:cxn ang="0">
                <a:pos x="connsiteX40369" y="connsiteY40369"/>
              </a:cxn>
              <a:cxn ang="0">
                <a:pos x="connsiteX40370" y="connsiteY40370"/>
              </a:cxn>
              <a:cxn ang="0">
                <a:pos x="connsiteX40371" y="connsiteY40371"/>
              </a:cxn>
              <a:cxn ang="0">
                <a:pos x="connsiteX40372" y="connsiteY40372"/>
              </a:cxn>
              <a:cxn ang="0">
                <a:pos x="connsiteX40373" y="connsiteY40373"/>
              </a:cxn>
              <a:cxn ang="0">
                <a:pos x="connsiteX40374" y="connsiteY40374"/>
              </a:cxn>
              <a:cxn ang="0">
                <a:pos x="connsiteX40375" y="connsiteY40375"/>
              </a:cxn>
              <a:cxn ang="0">
                <a:pos x="connsiteX40376" y="connsiteY40376"/>
              </a:cxn>
              <a:cxn ang="0">
                <a:pos x="connsiteX40377" y="connsiteY40377"/>
              </a:cxn>
              <a:cxn ang="0">
                <a:pos x="connsiteX40378" y="connsiteY40378"/>
              </a:cxn>
              <a:cxn ang="0">
                <a:pos x="connsiteX40379" y="connsiteY40379"/>
              </a:cxn>
              <a:cxn ang="0">
                <a:pos x="connsiteX40380" y="connsiteY40380"/>
              </a:cxn>
              <a:cxn ang="0">
                <a:pos x="connsiteX40381" y="connsiteY40381"/>
              </a:cxn>
              <a:cxn ang="0">
                <a:pos x="connsiteX40382" y="connsiteY40382"/>
              </a:cxn>
              <a:cxn ang="0">
                <a:pos x="connsiteX40383" y="connsiteY40383"/>
              </a:cxn>
              <a:cxn ang="0">
                <a:pos x="connsiteX40384" y="connsiteY40384"/>
              </a:cxn>
              <a:cxn ang="0">
                <a:pos x="connsiteX40385" y="connsiteY40385"/>
              </a:cxn>
              <a:cxn ang="0">
                <a:pos x="connsiteX40386" y="connsiteY40386"/>
              </a:cxn>
              <a:cxn ang="0">
                <a:pos x="connsiteX40387" y="connsiteY40387"/>
              </a:cxn>
              <a:cxn ang="0">
                <a:pos x="connsiteX40388" y="connsiteY40388"/>
              </a:cxn>
              <a:cxn ang="0">
                <a:pos x="connsiteX40389" y="connsiteY40389"/>
              </a:cxn>
              <a:cxn ang="0">
                <a:pos x="connsiteX40390" y="connsiteY40390"/>
              </a:cxn>
              <a:cxn ang="0">
                <a:pos x="connsiteX40391" y="connsiteY40391"/>
              </a:cxn>
              <a:cxn ang="0">
                <a:pos x="connsiteX40392" y="connsiteY40392"/>
              </a:cxn>
              <a:cxn ang="0">
                <a:pos x="connsiteX40393" y="connsiteY40393"/>
              </a:cxn>
              <a:cxn ang="0">
                <a:pos x="connsiteX40394" y="connsiteY40394"/>
              </a:cxn>
              <a:cxn ang="0">
                <a:pos x="connsiteX40395" y="connsiteY40395"/>
              </a:cxn>
              <a:cxn ang="0">
                <a:pos x="connsiteX40396" y="connsiteY40396"/>
              </a:cxn>
              <a:cxn ang="0">
                <a:pos x="connsiteX40397" y="connsiteY40397"/>
              </a:cxn>
              <a:cxn ang="0">
                <a:pos x="connsiteX40398" y="connsiteY40398"/>
              </a:cxn>
              <a:cxn ang="0">
                <a:pos x="connsiteX40399" y="connsiteY40399"/>
              </a:cxn>
              <a:cxn ang="0">
                <a:pos x="connsiteX40400" y="connsiteY40400"/>
              </a:cxn>
              <a:cxn ang="0">
                <a:pos x="connsiteX40401" y="connsiteY40401"/>
              </a:cxn>
              <a:cxn ang="0">
                <a:pos x="connsiteX40402" y="connsiteY40402"/>
              </a:cxn>
              <a:cxn ang="0">
                <a:pos x="connsiteX40403" y="connsiteY40403"/>
              </a:cxn>
              <a:cxn ang="0">
                <a:pos x="connsiteX40404" y="connsiteY40404"/>
              </a:cxn>
              <a:cxn ang="0">
                <a:pos x="connsiteX40405" y="connsiteY40405"/>
              </a:cxn>
              <a:cxn ang="0">
                <a:pos x="connsiteX40406" y="connsiteY40406"/>
              </a:cxn>
              <a:cxn ang="0">
                <a:pos x="connsiteX40407" y="connsiteY40407"/>
              </a:cxn>
              <a:cxn ang="0">
                <a:pos x="connsiteX40408" y="connsiteY40408"/>
              </a:cxn>
              <a:cxn ang="0">
                <a:pos x="connsiteX40409" y="connsiteY40409"/>
              </a:cxn>
              <a:cxn ang="0">
                <a:pos x="connsiteX40410" y="connsiteY40410"/>
              </a:cxn>
              <a:cxn ang="0">
                <a:pos x="connsiteX40411" y="connsiteY40411"/>
              </a:cxn>
              <a:cxn ang="0">
                <a:pos x="connsiteX40412" y="connsiteY40412"/>
              </a:cxn>
              <a:cxn ang="0">
                <a:pos x="connsiteX40413" y="connsiteY40413"/>
              </a:cxn>
              <a:cxn ang="0">
                <a:pos x="connsiteX40414" y="connsiteY40414"/>
              </a:cxn>
              <a:cxn ang="0">
                <a:pos x="connsiteX40415" y="connsiteY40415"/>
              </a:cxn>
              <a:cxn ang="0">
                <a:pos x="connsiteX40416" y="connsiteY40416"/>
              </a:cxn>
              <a:cxn ang="0">
                <a:pos x="connsiteX40417" y="connsiteY40417"/>
              </a:cxn>
              <a:cxn ang="0">
                <a:pos x="connsiteX40418" y="connsiteY40418"/>
              </a:cxn>
              <a:cxn ang="0">
                <a:pos x="connsiteX40419" y="connsiteY40419"/>
              </a:cxn>
              <a:cxn ang="0">
                <a:pos x="connsiteX40420" y="connsiteY40420"/>
              </a:cxn>
              <a:cxn ang="0">
                <a:pos x="connsiteX40421" y="connsiteY40421"/>
              </a:cxn>
              <a:cxn ang="0">
                <a:pos x="connsiteX40422" y="connsiteY40422"/>
              </a:cxn>
              <a:cxn ang="0">
                <a:pos x="connsiteX40423" y="connsiteY40423"/>
              </a:cxn>
              <a:cxn ang="0">
                <a:pos x="connsiteX40424" y="connsiteY40424"/>
              </a:cxn>
              <a:cxn ang="0">
                <a:pos x="connsiteX40425" y="connsiteY40425"/>
              </a:cxn>
              <a:cxn ang="0">
                <a:pos x="connsiteX40426" y="connsiteY40426"/>
              </a:cxn>
              <a:cxn ang="0">
                <a:pos x="connsiteX40427" y="connsiteY40427"/>
              </a:cxn>
              <a:cxn ang="0">
                <a:pos x="connsiteX40428" y="connsiteY40428"/>
              </a:cxn>
              <a:cxn ang="0">
                <a:pos x="connsiteX40429" y="connsiteY40429"/>
              </a:cxn>
              <a:cxn ang="0">
                <a:pos x="connsiteX40430" y="connsiteY40430"/>
              </a:cxn>
              <a:cxn ang="0">
                <a:pos x="connsiteX40431" y="connsiteY40431"/>
              </a:cxn>
              <a:cxn ang="0">
                <a:pos x="connsiteX40432" y="connsiteY40432"/>
              </a:cxn>
              <a:cxn ang="0">
                <a:pos x="connsiteX40433" y="connsiteY40433"/>
              </a:cxn>
              <a:cxn ang="0">
                <a:pos x="connsiteX40434" y="connsiteY40434"/>
              </a:cxn>
              <a:cxn ang="0">
                <a:pos x="connsiteX40435" y="connsiteY40435"/>
              </a:cxn>
              <a:cxn ang="0">
                <a:pos x="connsiteX40436" y="connsiteY40436"/>
              </a:cxn>
              <a:cxn ang="0">
                <a:pos x="connsiteX40437" y="connsiteY40437"/>
              </a:cxn>
              <a:cxn ang="0">
                <a:pos x="connsiteX40438" y="connsiteY40438"/>
              </a:cxn>
              <a:cxn ang="0">
                <a:pos x="connsiteX40439" y="connsiteY40439"/>
              </a:cxn>
              <a:cxn ang="0">
                <a:pos x="connsiteX40440" y="connsiteY40440"/>
              </a:cxn>
              <a:cxn ang="0">
                <a:pos x="connsiteX40441" y="connsiteY40441"/>
              </a:cxn>
              <a:cxn ang="0">
                <a:pos x="connsiteX40442" y="connsiteY40442"/>
              </a:cxn>
              <a:cxn ang="0">
                <a:pos x="connsiteX40443" y="connsiteY40443"/>
              </a:cxn>
              <a:cxn ang="0">
                <a:pos x="connsiteX40444" y="connsiteY40444"/>
              </a:cxn>
              <a:cxn ang="0">
                <a:pos x="connsiteX40445" y="connsiteY40445"/>
              </a:cxn>
              <a:cxn ang="0">
                <a:pos x="connsiteX40446" y="connsiteY40446"/>
              </a:cxn>
              <a:cxn ang="0">
                <a:pos x="connsiteX40447" y="connsiteY40447"/>
              </a:cxn>
              <a:cxn ang="0">
                <a:pos x="connsiteX40448" y="connsiteY40448"/>
              </a:cxn>
              <a:cxn ang="0">
                <a:pos x="connsiteX40449" y="connsiteY40449"/>
              </a:cxn>
              <a:cxn ang="0">
                <a:pos x="connsiteX40450" y="connsiteY40450"/>
              </a:cxn>
              <a:cxn ang="0">
                <a:pos x="connsiteX40451" y="connsiteY40451"/>
              </a:cxn>
              <a:cxn ang="0">
                <a:pos x="connsiteX40452" y="connsiteY40452"/>
              </a:cxn>
              <a:cxn ang="0">
                <a:pos x="connsiteX40453" y="connsiteY40453"/>
              </a:cxn>
              <a:cxn ang="0">
                <a:pos x="connsiteX40454" y="connsiteY40454"/>
              </a:cxn>
              <a:cxn ang="0">
                <a:pos x="connsiteX40455" y="connsiteY40455"/>
              </a:cxn>
              <a:cxn ang="0">
                <a:pos x="connsiteX40456" y="connsiteY40456"/>
              </a:cxn>
              <a:cxn ang="0">
                <a:pos x="connsiteX40457" y="connsiteY40457"/>
              </a:cxn>
              <a:cxn ang="0">
                <a:pos x="connsiteX40458" y="connsiteY40458"/>
              </a:cxn>
              <a:cxn ang="0">
                <a:pos x="connsiteX40459" y="connsiteY40459"/>
              </a:cxn>
              <a:cxn ang="0">
                <a:pos x="connsiteX40460" y="connsiteY40460"/>
              </a:cxn>
              <a:cxn ang="0">
                <a:pos x="connsiteX40461" y="connsiteY40461"/>
              </a:cxn>
              <a:cxn ang="0">
                <a:pos x="connsiteX40462" y="connsiteY40462"/>
              </a:cxn>
              <a:cxn ang="0">
                <a:pos x="connsiteX40463" y="connsiteY40463"/>
              </a:cxn>
              <a:cxn ang="0">
                <a:pos x="connsiteX40464" y="connsiteY40464"/>
              </a:cxn>
              <a:cxn ang="0">
                <a:pos x="connsiteX40465" y="connsiteY40465"/>
              </a:cxn>
              <a:cxn ang="0">
                <a:pos x="connsiteX40466" y="connsiteY40466"/>
              </a:cxn>
              <a:cxn ang="0">
                <a:pos x="connsiteX40467" y="connsiteY40467"/>
              </a:cxn>
              <a:cxn ang="0">
                <a:pos x="connsiteX40468" y="connsiteY40468"/>
              </a:cxn>
              <a:cxn ang="0">
                <a:pos x="connsiteX40469" y="connsiteY40469"/>
              </a:cxn>
              <a:cxn ang="0">
                <a:pos x="connsiteX40470" y="connsiteY40470"/>
              </a:cxn>
              <a:cxn ang="0">
                <a:pos x="connsiteX40471" y="connsiteY40471"/>
              </a:cxn>
              <a:cxn ang="0">
                <a:pos x="connsiteX40472" y="connsiteY40472"/>
              </a:cxn>
              <a:cxn ang="0">
                <a:pos x="connsiteX40473" y="connsiteY40473"/>
              </a:cxn>
              <a:cxn ang="0">
                <a:pos x="connsiteX40474" y="connsiteY40474"/>
              </a:cxn>
              <a:cxn ang="0">
                <a:pos x="connsiteX40475" y="connsiteY40475"/>
              </a:cxn>
              <a:cxn ang="0">
                <a:pos x="connsiteX40476" y="connsiteY40476"/>
              </a:cxn>
              <a:cxn ang="0">
                <a:pos x="connsiteX40477" y="connsiteY40477"/>
              </a:cxn>
              <a:cxn ang="0">
                <a:pos x="connsiteX40478" y="connsiteY40478"/>
              </a:cxn>
              <a:cxn ang="0">
                <a:pos x="connsiteX40479" y="connsiteY40479"/>
              </a:cxn>
              <a:cxn ang="0">
                <a:pos x="connsiteX40480" y="connsiteY40480"/>
              </a:cxn>
              <a:cxn ang="0">
                <a:pos x="connsiteX40481" y="connsiteY40481"/>
              </a:cxn>
              <a:cxn ang="0">
                <a:pos x="connsiteX40482" y="connsiteY40482"/>
              </a:cxn>
              <a:cxn ang="0">
                <a:pos x="connsiteX40483" y="connsiteY40483"/>
              </a:cxn>
              <a:cxn ang="0">
                <a:pos x="connsiteX40484" y="connsiteY40484"/>
              </a:cxn>
              <a:cxn ang="0">
                <a:pos x="connsiteX40485" y="connsiteY40485"/>
              </a:cxn>
              <a:cxn ang="0">
                <a:pos x="connsiteX40486" y="connsiteY40486"/>
              </a:cxn>
              <a:cxn ang="0">
                <a:pos x="connsiteX40487" y="connsiteY40487"/>
              </a:cxn>
              <a:cxn ang="0">
                <a:pos x="connsiteX40488" y="connsiteY40488"/>
              </a:cxn>
              <a:cxn ang="0">
                <a:pos x="connsiteX40489" y="connsiteY40489"/>
              </a:cxn>
              <a:cxn ang="0">
                <a:pos x="connsiteX40490" y="connsiteY40490"/>
              </a:cxn>
              <a:cxn ang="0">
                <a:pos x="connsiteX40491" y="connsiteY40491"/>
              </a:cxn>
              <a:cxn ang="0">
                <a:pos x="connsiteX40492" y="connsiteY40492"/>
              </a:cxn>
              <a:cxn ang="0">
                <a:pos x="connsiteX40493" y="connsiteY40493"/>
              </a:cxn>
              <a:cxn ang="0">
                <a:pos x="connsiteX40494" y="connsiteY40494"/>
              </a:cxn>
              <a:cxn ang="0">
                <a:pos x="connsiteX40495" y="connsiteY40495"/>
              </a:cxn>
              <a:cxn ang="0">
                <a:pos x="connsiteX40496" y="connsiteY40496"/>
              </a:cxn>
              <a:cxn ang="0">
                <a:pos x="connsiteX40497" y="connsiteY40497"/>
              </a:cxn>
              <a:cxn ang="0">
                <a:pos x="connsiteX40498" y="connsiteY40498"/>
              </a:cxn>
              <a:cxn ang="0">
                <a:pos x="connsiteX40499" y="connsiteY40499"/>
              </a:cxn>
              <a:cxn ang="0">
                <a:pos x="connsiteX40500" y="connsiteY40500"/>
              </a:cxn>
              <a:cxn ang="0">
                <a:pos x="connsiteX40501" y="connsiteY40501"/>
              </a:cxn>
              <a:cxn ang="0">
                <a:pos x="connsiteX40502" y="connsiteY40502"/>
              </a:cxn>
              <a:cxn ang="0">
                <a:pos x="connsiteX40503" y="connsiteY40503"/>
              </a:cxn>
              <a:cxn ang="0">
                <a:pos x="connsiteX40504" y="connsiteY40504"/>
              </a:cxn>
              <a:cxn ang="0">
                <a:pos x="connsiteX40505" y="connsiteY40505"/>
              </a:cxn>
              <a:cxn ang="0">
                <a:pos x="connsiteX40506" y="connsiteY40506"/>
              </a:cxn>
              <a:cxn ang="0">
                <a:pos x="connsiteX40507" y="connsiteY40507"/>
              </a:cxn>
              <a:cxn ang="0">
                <a:pos x="connsiteX40508" y="connsiteY40508"/>
              </a:cxn>
              <a:cxn ang="0">
                <a:pos x="connsiteX40509" y="connsiteY40509"/>
              </a:cxn>
              <a:cxn ang="0">
                <a:pos x="connsiteX40510" y="connsiteY40510"/>
              </a:cxn>
              <a:cxn ang="0">
                <a:pos x="connsiteX40511" y="connsiteY40511"/>
              </a:cxn>
              <a:cxn ang="0">
                <a:pos x="connsiteX40512" y="connsiteY40512"/>
              </a:cxn>
              <a:cxn ang="0">
                <a:pos x="connsiteX40513" y="connsiteY40513"/>
              </a:cxn>
              <a:cxn ang="0">
                <a:pos x="connsiteX40514" y="connsiteY40514"/>
              </a:cxn>
              <a:cxn ang="0">
                <a:pos x="connsiteX40515" y="connsiteY40515"/>
              </a:cxn>
              <a:cxn ang="0">
                <a:pos x="connsiteX40516" y="connsiteY40516"/>
              </a:cxn>
              <a:cxn ang="0">
                <a:pos x="connsiteX40517" y="connsiteY40517"/>
              </a:cxn>
              <a:cxn ang="0">
                <a:pos x="connsiteX40518" y="connsiteY40518"/>
              </a:cxn>
              <a:cxn ang="0">
                <a:pos x="connsiteX40519" y="connsiteY40519"/>
              </a:cxn>
              <a:cxn ang="0">
                <a:pos x="connsiteX40520" y="connsiteY40520"/>
              </a:cxn>
              <a:cxn ang="0">
                <a:pos x="connsiteX40521" y="connsiteY40521"/>
              </a:cxn>
              <a:cxn ang="0">
                <a:pos x="connsiteX40522" y="connsiteY40522"/>
              </a:cxn>
              <a:cxn ang="0">
                <a:pos x="connsiteX40523" y="connsiteY40523"/>
              </a:cxn>
              <a:cxn ang="0">
                <a:pos x="connsiteX40524" y="connsiteY40524"/>
              </a:cxn>
              <a:cxn ang="0">
                <a:pos x="connsiteX40525" y="connsiteY40525"/>
              </a:cxn>
              <a:cxn ang="0">
                <a:pos x="connsiteX40526" y="connsiteY40526"/>
              </a:cxn>
              <a:cxn ang="0">
                <a:pos x="connsiteX40527" y="connsiteY40527"/>
              </a:cxn>
              <a:cxn ang="0">
                <a:pos x="connsiteX40528" y="connsiteY40528"/>
              </a:cxn>
              <a:cxn ang="0">
                <a:pos x="connsiteX40529" y="connsiteY40529"/>
              </a:cxn>
              <a:cxn ang="0">
                <a:pos x="connsiteX40530" y="connsiteY40530"/>
              </a:cxn>
              <a:cxn ang="0">
                <a:pos x="connsiteX40531" y="connsiteY40531"/>
              </a:cxn>
              <a:cxn ang="0">
                <a:pos x="connsiteX40532" y="connsiteY40532"/>
              </a:cxn>
              <a:cxn ang="0">
                <a:pos x="connsiteX40533" y="connsiteY40533"/>
              </a:cxn>
              <a:cxn ang="0">
                <a:pos x="connsiteX40534" y="connsiteY40534"/>
              </a:cxn>
              <a:cxn ang="0">
                <a:pos x="connsiteX40535" y="connsiteY40535"/>
              </a:cxn>
              <a:cxn ang="0">
                <a:pos x="connsiteX40536" y="connsiteY40536"/>
              </a:cxn>
              <a:cxn ang="0">
                <a:pos x="connsiteX40537" y="connsiteY40537"/>
              </a:cxn>
              <a:cxn ang="0">
                <a:pos x="connsiteX40538" y="connsiteY40538"/>
              </a:cxn>
              <a:cxn ang="0">
                <a:pos x="connsiteX40539" y="connsiteY40539"/>
              </a:cxn>
              <a:cxn ang="0">
                <a:pos x="connsiteX40540" y="connsiteY40540"/>
              </a:cxn>
              <a:cxn ang="0">
                <a:pos x="connsiteX40541" y="connsiteY40541"/>
              </a:cxn>
              <a:cxn ang="0">
                <a:pos x="connsiteX40542" y="connsiteY40542"/>
              </a:cxn>
              <a:cxn ang="0">
                <a:pos x="connsiteX40543" y="connsiteY40543"/>
              </a:cxn>
              <a:cxn ang="0">
                <a:pos x="connsiteX40544" y="connsiteY40544"/>
              </a:cxn>
              <a:cxn ang="0">
                <a:pos x="connsiteX40545" y="connsiteY40545"/>
              </a:cxn>
              <a:cxn ang="0">
                <a:pos x="connsiteX40546" y="connsiteY40546"/>
              </a:cxn>
              <a:cxn ang="0">
                <a:pos x="connsiteX40547" y="connsiteY40547"/>
              </a:cxn>
              <a:cxn ang="0">
                <a:pos x="connsiteX40548" y="connsiteY40548"/>
              </a:cxn>
              <a:cxn ang="0">
                <a:pos x="connsiteX40549" y="connsiteY40549"/>
              </a:cxn>
              <a:cxn ang="0">
                <a:pos x="connsiteX40550" y="connsiteY40550"/>
              </a:cxn>
              <a:cxn ang="0">
                <a:pos x="connsiteX40551" y="connsiteY40551"/>
              </a:cxn>
              <a:cxn ang="0">
                <a:pos x="connsiteX40552" y="connsiteY40552"/>
              </a:cxn>
              <a:cxn ang="0">
                <a:pos x="connsiteX40553" y="connsiteY40553"/>
              </a:cxn>
              <a:cxn ang="0">
                <a:pos x="connsiteX40554" y="connsiteY40554"/>
              </a:cxn>
              <a:cxn ang="0">
                <a:pos x="connsiteX40555" y="connsiteY40555"/>
              </a:cxn>
              <a:cxn ang="0">
                <a:pos x="connsiteX40556" y="connsiteY40556"/>
              </a:cxn>
              <a:cxn ang="0">
                <a:pos x="connsiteX40557" y="connsiteY40557"/>
              </a:cxn>
              <a:cxn ang="0">
                <a:pos x="connsiteX40558" y="connsiteY40558"/>
              </a:cxn>
              <a:cxn ang="0">
                <a:pos x="connsiteX40559" y="connsiteY40559"/>
              </a:cxn>
              <a:cxn ang="0">
                <a:pos x="connsiteX40560" y="connsiteY40560"/>
              </a:cxn>
              <a:cxn ang="0">
                <a:pos x="connsiteX40561" y="connsiteY40561"/>
              </a:cxn>
              <a:cxn ang="0">
                <a:pos x="connsiteX40562" y="connsiteY40562"/>
              </a:cxn>
              <a:cxn ang="0">
                <a:pos x="connsiteX40563" y="connsiteY40563"/>
              </a:cxn>
              <a:cxn ang="0">
                <a:pos x="connsiteX40564" y="connsiteY40564"/>
              </a:cxn>
              <a:cxn ang="0">
                <a:pos x="connsiteX40565" y="connsiteY40565"/>
              </a:cxn>
              <a:cxn ang="0">
                <a:pos x="connsiteX40566" y="connsiteY40566"/>
              </a:cxn>
              <a:cxn ang="0">
                <a:pos x="connsiteX40567" y="connsiteY40567"/>
              </a:cxn>
              <a:cxn ang="0">
                <a:pos x="connsiteX40568" y="connsiteY40568"/>
              </a:cxn>
              <a:cxn ang="0">
                <a:pos x="connsiteX40569" y="connsiteY40569"/>
              </a:cxn>
              <a:cxn ang="0">
                <a:pos x="connsiteX40570" y="connsiteY40570"/>
              </a:cxn>
              <a:cxn ang="0">
                <a:pos x="connsiteX40571" y="connsiteY40571"/>
              </a:cxn>
              <a:cxn ang="0">
                <a:pos x="connsiteX40572" y="connsiteY40572"/>
              </a:cxn>
              <a:cxn ang="0">
                <a:pos x="connsiteX40573" y="connsiteY40573"/>
              </a:cxn>
              <a:cxn ang="0">
                <a:pos x="connsiteX40574" y="connsiteY40574"/>
              </a:cxn>
              <a:cxn ang="0">
                <a:pos x="connsiteX40575" y="connsiteY40575"/>
              </a:cxn>
              <a:cxn ang="0">
                <a:pos x="connsiteX40576" y="connsiteY40576"/>
              </a:cxn>
              <a:cxn ang="0">
                <a:pos x="connsiteX40577" y="connsiteY40577"/>
              </a:cxn>
              <a:cxn ang="0">
                <a:pos x="connsiteX40578" y="connsiteY40578"/>
              </a:cxn>
              <a:cxn ang="0">
                <a:pos x="connsiteX40579" y="connsiteY40579"/>
              </a:cxn>
              <a:cxn ang="0">
                <a:pos x="connsiteX40580" y="connsiteY40580"/>
              </a:cxn>
              <a:cxn ang="0">
                <a:pos x="connsiteX40581" y="connsiteY40581"/>
              </a:cxn>
              <a:cxn ang="0">
                <a:pos x="connsiteX40582" y="connsiteY40582"/>
              </a:cxn>
              <a:cxn ang="0">
                <a:pos x="connsiteX40583" y="connsiteY40583"/>
              </a:cxn>
              <a:cxn ang="0">
                <a:pos x="connsiteX40584" y="connsiteY40584"/>
              </a:cxn>
              <a:cxn ang="0">
                <a:pos x="connsiteX40585" y="connsiteY40585"/>
              </a:cxn>
              <a:cxn ang="0">
                <a:pos x="connsiteX40586" y="connsiteY40586"/>
              </a:cxn>
              <a:cxn ang="0">
                <a:pos x="connsiteX40587" y="connsiteY40587"/>
              </a:cxn>
              <a:cxn ang="0">
                <a:pos x="connsiteX40588" y="connsiteY40588"/>
              </a:cxn>
              <a:cxn ang="0">
                <a:pos x="connsiteX40589" y="connsiteY40589"/>
              </a:cxn>
              <a:cxn ang="0">
                <a:pos x="connsiteX40590" y="connsiteY40590"/>
              </a:cxn>
              <a:cxn ang="0">
                <a:pos x="connsiteX40591" y="connsiteY40591"/>
              </a:cxn>
              <a:cxn ang="0">
                <a:pos x="connsiteX40592" y="connsiteY40592"/>
              </a:cxn>
              <a:cxn ang="0">
                <a:pos x="connsiteX40593" y="connsiteY40593"/>
              </a:cxn>
              <a:cxn ang="0">
                <a:pos x="connsiteX40594" y="connsiteY40594"/>
              </a:cxn>
              <a:cxn ang="0">
                <a:pos x="connsiteX40595" y="connsiteY40595"/>
              </a:cxn>
              <a:cxn ang="0">
                <a:pos x="connsiteX40596" y="connsiteY40596"/>
              </a:cxn>
              <a:cxn ang="0">
                <a:pos x="connsiteX40597" y="connsiteY40597"/>
              </a:cxn>
              <a:cxn ang="0">
                <a:pos x="connsiteX40598" y="connsiteY40598"/>
              </a:cxn>
              <a:cxn ang="0">
                <a:pos x="connsiteX40599" y="connsiteY40599"/>
              </a:cxn>
              <a:cxn ang="0">
                <a:pos x="connsiteX40600" y="connsiteY40600"/>
              </a:cxn>
              <a:cxn ang="0">
                <a:pos x="connsiteX40601" y="connsiteY40601"/>
              </a:cxn>
              <a:cxn ang="0">
                <a:pos x="connsiteX40602" y="connsiteY40602"/>
              </a:cxn>
              <a:cxn ang="0">
                <a:pos x="connsiteX40603" y="connsiteY40603"/>
              </a:cxn>
              <a:cxn ang="0">
                <a:pos x="connsiteX40604" y="connsiteY40604"/>
              </a:cxn>
              <a:cxn ang="0">
                <a:pos x="connsiteX40605" y="connsiteY40605"/>
              </a:cxn>
              <a:cxn ang="0">
                <a:pos x="connsiteX40606" y="connsiteY40606"/>
              </a:cxn>
              <a:cxn ang="0">
                <a:pos x="connsiteX40607" y="connsiteY40607"/>
              </a:cxn>
              <a:cxn ang="0">
                <a:pos x="connsiteX40608" y="connsiteY40608"/>
              </a:cxn>
              <a:cxn ang="0">
                <a:pos x="connsiteX40609" y="connsiteY40609"/>
              </a:cxn>
              <a:cxn ang="0">
                <a:pos x="connsiteX40610" y="connsiteY40610"/>
              </a:cxn>
              <a:cxn ang="0">
                <a:pos x="connsiteX40611" y="connsiteY40611"/>
              </a:cxn>
              <a:cxn ang="0">
                <a:pos x="connsiteX40612" y="connsiteY40612"/>
              </a:cxn>
              <a:cxn ang="0">
                <a:pos x="connsiteX40613" y="connsiteY40613"/>
              </a:cxn>
              <a:cxn ang="0">
                <a:pos x="connsiteX40614" y="connsiteY40614"/>
              </a:cxn>
              <a:cxn ang="0">
                <a:pos x="connsiteX40615" y="connsiteY40615"/>
              </a:cxn>
              <a:cxn ang="0">
                <a:pos x="connsiteX40616" y="connsiteY40616"/>
              </a:cxn>
              <a:cxn ang="0">
                <a:pos x="connsiteX40617" y="connsiteY40617"/>
              </a:cxn>
              <a:cxn ang="0">
                <a:pos x="connsiteX40618" y="connsiteY40618"/>
              </a:cxn>
              <a:cxn ang="0">
                <a:pos x="connsiteX40619" y="connsiteY40619"/>
              </a:cxn>
              <a:cxn ang="0">
                <a:pos x="connsiteX40620" y="connsiteY40620"/>
              </a:cxn>
              <a:cxn ang="0">
                <a:pos x="connsiteX40621" y="connsiteY40621"/>
              </a:cxn>
              <a:cxn ang="0">
                <a:pos x="connsiteX40622" y="connsiteY40622"/>
              </a:cxn>
              <a:cxn ang="0">
                <a:pos x="connsiteX40623" y="connsiteY40623"/>
              </a:cxn>
              <a:cxn ang="0">
                <a:pos x="connsiteX40624" y="connsiteY40624"/>
              </a:cxn>
              <a:cxn ang="0">
                <a:pos x="connsiteX40625" y="connsiteY40625"/>
              </a:cxn>
              <a:cxn ang="0">
                <a:pos x="connsiteX40626" y="connsiteY40626"/>
              </a:cxn>
              <a:cxn ang="0">
                <a:pos x="connsiteX40627" y="connsiteY40627"/>
              </a:cxn>
              <a:cxn ang="0">
                <a:pos x="connsiteX40628" y="connsiteY40628"/>
              </a:cxn>
              <a:cxn ang="0">
                <a:pos x="connsiteX40629" y="connsiteY40629"/>
              </a:cxn>
              <a:cxn ang="0">
                <a:pos x="connsiteX40630" y="connsiteY40630"/>
              </a:cxn>
              <a:cxn ang="0">
                <a:pos x="connsiteX40631" y="connsiteY40631"/>
              </a:cxn>
              <a:cxn ang="0">
                <a:pos x="connsiteX40632" y="connsiteY40632"/>
              </a:cxn>
              <a:cxn ang="0">
                <a:pos x="connsiteX40633" y="connsiteY40633"/>
              </a:cxn>
              <a:cxn ang="0">
                <a:pos x="connsiteX40634" y="connsiteY40634"/>
              </a:cxn>
              <a:cxn ang="0">
                <a:pos x="connsiteX40635" y="connsiteY40635"/>
              </a:cxn>
              <a:cxn ang="0">
                <a:pos x="connsiteX40636" y="connsiteY40636"/>
              </a:cxn>
              <a:cxn ang="0">
                <a:pos x="connsiteX40637" y="connsiteY40637"/>
              </a:cxn>
              <a:cxn ang="0">
                <a:pos x="connsiteX40638" y="connsiteY40638"/>
              </a:cxn>
              <a:cxn ang="0">
                <a:pos x="connsiteX40639" y="connsiteY40639"/>
              </a:cxn>
              <a:cxn ang="0">
                <a:pos x="connsiteX40640" y="connsiteY40640"/>
              </a:cxn>
              <a:cxn ang="0">
                <a:pos x="connsiteX40641" y="connsiteY40641"/>
              </a:cxn>
              <a:cxn ang="0">
                <a:pos x="connsiteX40642" y="connsiteY40642"/>
              </a:cxn>
              <a:cxn ang="0">
                <a:pos x="connsiteX40643" y="connsiteY40643"/>
              </a:cxn>
              <a:cxn ang="0">
                <a:pos x="connsiteX40644" y="connsiteY40644"/>
              </a:cxn>
              <a:cxn ang="0">
                <a:pos x="connsiteX40645" y="connsiteY40645"/>
              </a:cxn>
              <a:cxn ang="0">
                <a:pos x="connsiteX40646" y="connsiteY40646"/>
              </a:cxn>
              <a:cxn ang="0">
                <a:pos x="connsiteX40647" y="connsiteY40647"/>
              </a:cxn>
              <a:cxn ang="0">
                <a:pos x="connsiteX40648" y="connsiteY40648"/>
              </a:cxn>
              <a:cxn ang="0">
                <a:pos x="connsiteX40649" y="connsiteY40649"/>
              </a:cxn>
              <a:cxn ang="0">
                <a:pos x="connsiteX40650" y="connsiteY40650"/>
              </a:cxn>
              <a:cxn ang="0">
                <a:pos x="connsiteX40651" y="connsiteY40651"/>
              </a:cxn>
              <a:cxn ang="0">
                <a:pos x="connsiteX40652" y="connsiteY40652"/>
              </a:cxn>
              <a:cxn ang="0">
                <a:pos x="connsiteX40653" y="connsiteY40653"/>
              </a:cxn>
              <a:cxn ang="0">
                <a:pos x="connsiteX40654" y="connsiteY40654"/>
              </a:cxn>
              <a:cxn ang="0">
                <a:pos x="connsiteX40655" y="connsiteY40655"/>
              </a:cxn>
              <a:cxn ang="0">
                <a:pos x="connsiteX40656" y="connsiteY40656"/>
              </a:cxn>
              <a:cxn ang="0">
                <a:pos x="connsiteX40657" y="connsiteY40657"/>
              </a:cxn>
              <a:cxn ang="0">
                <a:pos x="connsiteX40658" y="connsiteY40658"/>
              </a:cxn>
              <a:cxn ang="0">
                <a:pos x="connsiteX40659" y="connsiteY40659"/>
              </a:cxn>
              <a:cxn ang="0">
                <a:pos x="connsiteX40660" y="connsiteY40660"/>
              </a:cxn>
              <a:cxn ang="0">
                <a:pos x="connsiteX40661" y="connsiteY40661"/>
              </a:cxn>
              <a:cxn ang="0">
                <a:pos x="connsiteX40662" y="connsiteY40662"/>
              </a:cxn>
              <a:cxn ang="0">
                <a:pos x="connsiteX40663" y="connsiteY40663"/>
              </a:cxn>
              <a:cxn ang="0">
                <a:pos x="connsiteX40664" y="connsiteY40664"/>
              </a:cxn>
              <a:cxn ang="0">
                <a:pos x="connsiteX40665" y="connsiteY40665"/>
              </a:cxn>
              <a:cxn ang="0">
                <a:pos x="connsiteX40666" y="connsiteY40666"/>
              </a:cxn>
              <a:cxn ang="0">
                <a:pos x="connsiteX40667" y="connsiteY40667"/>
              </a:cxn>
              <a:cxn ang="0">
                <a:pos x="connsiteX40668" y="connsiteY40668"/>
              </a:cxn>
              <a:cxn ang="0">
                <a:pos x="connsiteX40669" y="connsiteY40669"/>
              </a:cxn>
              <a:cxn ang="0">
                <a:pos x="connsiteX40670" y="connsiteY40670"/>
              </a:cxn>
              <a:cxn ang="0">
                <a:pos x="connsiteX40671" y="connsiteY40671"/>
              </a:cxn>
              <a:cxn ang="0">
                <a:pos x="connsiteX40672" y="connsiteY40672"/>
              </a:cxn>
              <a:cxn ang="0">
                <a:pos x="connsiteX40673" y="connsiteY40673"/>
              </a:cxn>
              <a:cxn ang="0">
                <a:pos x="connsiteX40674" y="connsiteY40674"/>
              </a:cxn>
              <a:cxn ang="0">
                <a:pos x="connsiteX40675" y="connsiteY40675"/>
              </a:cxn>
              <a:cxn ang="0">
                <a:pos x="connsiteX40676" y="connsiteY40676"/>
              </a:cxn>
              <a:cxn ang="0">
                <a:pos x="connsiteX40677" y="connsiteY40677"/>
              </a:cxn>
              <a:cxn ang="0">
                <a:pos x="connsiteX40678" y="connsiteY40678"/>
              </a:cxn>
              <a:cxn ang="0">
                <a:pos x="connsiteX40679" y="connsiteY40679"/>
              </a:cxn>
              <a:cxn ang="0">
                <a:pos x="connsiteX40680" y="connsiteY40680"/>
              </a:cxn>
              <a:cxn ang="0">
                <a:pos x="connsiteX40681" y="connsiteY40681"/>
              </a:cxn>
              <a:cxn ang="0">
                <a:pos x="connsiteX40682" y="connsiteY40682"/>
              </a:cxn>
              <a:cxn ang="0">
                <a:pos x="connsiteX40683" y="connsiteY40683"/>
              </a:cxn>
              <a:cxn ang="0">
                <a:pos x="connsiteX40684" y="connsiteY40684"/>
              </a:cxn>
              <a:cxn ang="0">
                <a:pos x="connsiteX40685" y="connsiteY40685"/>
              </a:cxn>
              <a:cxn ang="0">
                <a:pos x="connsiteX40686" y="connsiteY40686"/>
              </a:cxn>
              <a:cxn ang="0">
                <a:pos x="connsiteX40687" y="connsiteY40687"/>
              </a:cxn>
              <a:cxn ang="0">
                <a:pos x="connsiteX40688" y="connsiteY40688"/>
              </a:cxn>
              <a:cxn ang="0">
                <a:pos x="connsiteX40689" y="connsiteY40689"/>
              </a:cxn>
              <a:cxn ang="0">
                <a:pos x="connsiteX40690" y="connsiteY40690"/>
              </a:cxn>
              <a:cxn ang="0">
                <a:pos x="connsiteX40691" y="connsiteY40691"/>
              </a:cxn>
              <a:cxn ang="0">
                <a:pos x="connsiteX40692" y="connsiteY40692"/>
              </a:cxn>
              <a:cxn ang="0">
                <a:pos x="connsiteX40693" y="connsiteY40693"/>
              </a:cxn>
              <a:cxn ang="0">
                <a:pos x="connsiteX40694" y="connsiteY40694"/>
              </a:cxn>
              <a:cxn ang="0">
                <a:pos x="connsiteX40695" y="connsiteY40695"/>
              </a:cxn>
              <a:cxn ang="0">
                <a:pos x="connsiteX40696" y="connsiteY40696"/>
              </a:cxn>
              <a:cxn ang="0">
                <a:pos x="connsiteX40697" y="connsiteY40697"/>
              </a:cxn>
              <a:cxn ang="0">
                <a:pos x="connsiteX40698" y="connsiteY40698"/>
              </a:cxn>
              <a:cxn ang="0">
                <a:pos x="connsiteX40699" y="connsiteY40699"/>
              </a:cxn>
              <a:cxn ang="0">
                <a:pos x="connsiteX40700" y="connsiteY40700"/>
              </a:cxn>
              <a:cxn ang="0">
                <a:pos x="connsiteX40701" y="connsiteY40701"/>
              </a:cxn>
              <a:cxn ang="0">
                <a:pos x="connsiteX40702" y="connsiteY40702"/>
              </a:cxn>
              <a:cxn ang="0">
                <a:pos x="connsiteX40703" y="connsiteY40703"/>
              </a:cxn>
              <a:cxn ang="0">
                <a:pos x="connsiteX40704" y="connsiteY40704"/>
              </a:cxn>
              <a:cxn ang="0">
                <a:pos x="connsiteX40705" y="connsiteY40705"/>
              </a:cxn>
              <a:cxn ang="0">
                <a:pos x="connsiteX40706" y="connsiteY40706"/>
              </a:cxn>
              <a:cxn ang="0">
                <a:pos x="connsiteX40707" y="connsiteY40707"/>
              </a:cxn>
              <a:cxn ang="0">
                <a:pos x="connsiteX40708" y="connsiteY40708"/>
              </a:cxn>
              <a:cxn ang="0">
                <a:pos x="connsiteX40709" y="connsiteY40709"/>
              </a:cxn>
              <a:cxn ang="0">
                <a:pos x="connsiteX40710" y="connsiteY40710"/>
              </a:cxn>
              <a:cxn ang="0">
                <a:pos x="connsiteX40711" y="connsiteY40711"/>
              </a:cxn>
              <a:cxn ang="0">
                <a:pos x="connsiteX40712" y="connsiteY40712"/>
              </a:cxn>
              <a:cxn ang="0">
                <a:pos x="connsiteX40713" y="connsiteY40713"/>
              </a:cxn>
              <a:cxn ang="0">
                <a:pos x="connsiteX40714" y="connsiteY40714"/>
              </a:cxn>
              <a:cxn ang="0">
                <a:pos x="connsiteX40715" y="connsiteY40715"/>
              </a:cxn>
              <a:cxn ang="0">
                <a:pos x="connsiteX40716" y="connsiteY40716"/>
              </a:cxn>
              <a:cxn ang="0">
                <a:pos x="connsiteX40717" y="connsiteY40717"/>
              </a:cxn>
              <a:cxn ang="0">
                <a:pos x="connsiteX40718" y="connsiteY40718"/>
              </a:cxn>
              <a:cxn ang="0">
                <a:pos x="connsiteX40719" y="connsiteY40719"/>
              </a:cxn>
              <a:cxn ang="0">
                <a:pos x="connsiteX40720" y="connsiteY40720"/>
              </a:cxn>
              <a:cxn ang="0">
                <a:pos x="connsiteX40721" y="connsiteY40721"/>
              </a:cxn>
              <a:cxn ang="0">
                <a:pos x="connsiteX40722" y="connsiteY40722"/>
              </a:cxn>
              <a:cxn ang="0">
                <a:pos x="connsiteX40723" y="connsiteY40723"/>
              </a:cxn>
              <a:cxn ang="0">
                <a:pos x="connsiteX40724" y="connsiteY40724"/>
              </a:cxn>
              <a:cxn ang="0">
                <a:pos x="connsiteX40725" y="connsiteY40725"/>
              </a:cxn>
              <a:cxn ang="0">
                <a:pos x="connsiteX40726" y="connsiteY40726"/>
              </a:cxn>
              <a:cxn ang="0">
                <a:pos x="connsiteX40727" y="connsiteY40727"/>
              </a:cxn>
              <a:cxn ang="0">
                <a:pos x="connsiteX40728" y="connsiteY40728"/>
              </a:cxn>
              <a:cxn ang="0">
                <a:pos x="connsiteX40729" y="connsiteY40729"/>
              </a:cxn>
              <a:cxn ang="0">
                <a:pos x="connsiteX40730" y="connsiteY40730"/>
              </a:cxn>
              <a:cxn ang="0">
                <a:pos x="connsiteX40731" y="connsiteY40731"/>
              </a:cxn>
              <a:cxn ang="0">
                <a:pos x="connsiteX40732" y="connsiteY40732"/>
              </a:cxn>
              <a:cxn ang="0">
                <a:pos x="connsiteX40733" y="connsiteY40733"/>
              </a:cxn>
              <a:cxn ang="0">
                <a:pos x="connsiteX40734" y="connsiteY40734"/>
              </a:cxn>
              <a:cxn ang="0">
                <a:pos x="connsiteX40735" y="connsiteY40735"/>
              </a:cxn>
              <a:cxn ang="0">
                <a:pos x="connsiteX40736" y="connsiteY40736"/>
              </a:cxn>
              <a:cxn ang="0">
                <a:pos x="connsiteX40737" y="connsiteY40737"/>
              </a:cxn>
              <a:cxn ang="0">
                <a:pos x="connsiteX40738" y="connsiteY40738"/>
              </a:cxn>
              <a:cxn ang="0">
                <a:pos x="connsiteX40739" y="connsiteY40739"/>
              </a:cxn>
              <a:cxn ang="0">
                <a:pos x="connsiteX40740" y="connsiteY40740"/>
              </a:cxn>
              <a:cxn ang="0">
                <a:pos x="connsiteX40741" y="connsiteY40741"/>
              </a:cxn>
              <a:cxn ang="0">
                <a:pos x="connsiteX40742" y="connsiteY40742"/>
              </a:cxn>
              <a:cxn ang="0">
                <a:pos x="connsiteX40743" y="connsiteY40743"/>
              </a:cxn>
              <a:cxn ang="0">
                <a:pos x="connsiteX40744" y="connsiteY40744"/>
              </a:cxn>
              <a:cxn ang="0">
                <a:pos x="connsiteX40745" y="connsiteY40745"/>
              </a:cxn>
              <a:cxn ang="0">
                <a:pos x="connsiteX40746" y="connsiteY40746"/>
              </a:cxn>
              <a:cxn ang="0">
                <a:pos x="connsiteX40747" y="connsiteY40747"/>
              </a:cxn>
              <a:cxn ang="0">
                <a:pos x="connsiteX40748" y="connsiteY40748"/>
              </a:cxn>
              <a:cxn ang="0">
                <a:pos x="connsiteX40749" y="connsiteY40749"/>
              </a:cxn>
              <a:cxn ang="0">
                <a:pos x="connsiteX40750" y="connsiteY40750"/>
              </a:cxn>
              <a:cxn ang="0">
                <a:pos x="connsiteX40751" y="connsiteY40751"/>
              </a:cxn>
              <a:cxn ang="0">
                <a:pos x="connsiteX40752" y="connsiteY40752"/>
              </a:cxn>
              <a:cxn ang="0">
                <a:pos x="connsiteX40753" y="connsiteY40753"/>
              </a:cxn>
              <a:cxn ang="0">
                <a:pos x="connsiteX40754" y="connsiteY40754"/>
              </a:cxn>
              <a:cxn ang="0">
                <a:pos x="connsiteX40755" y="connsiteY40755"/>
              </a:cxn>
              <a:cxn ang="0">
                <a:pos x="connsiteX40756" y="connsiteY40756"/>
              </a:cxn>
              <a:cxn ang="0">
                <a:pos x="connsiteX40757" y="connsiteY40757"/>
              </a:cxn>
              <a:cxn ang="0">
                <a:pos x="connsiteX40758" y="connsiteY40758"/>
              </a:cxn>
              <a:cxn ang="0">
                <a:pos x="connsiteX40759" y="connsiteY40759"/>
              </a:cxn>
              <a:cxn ang="0">
                <a:pos x="connsiteX40760" y="connsiteY40760"/>
              </a:cxn>
              <a:cxn ang="0">
                <a:pos x="connsiteX40761" y="connsiteY40761"/>
              </a:cxn>
              <a:cxn ang="0">
                <a:pos x="connsiteX40762" y="connsiteY40762"/>
              </a:cxn>
              <a:cxn ang="0">
                <a:pos x="connsiteX40763" y="connsiteY40763"/>
              </a:cxn>
              <a:cxn ang="0">
                <a:pos x="connsiteX40764" y="connsiteY40764"/>
              </a:cxn>
              <a:cxn ang="0">
                <a:pos x="connsiteX40765" y="connsiteY40765"/>
              </a:cxn>
              <a:cxn ang="0">
                <a:pos x="connsiteX40766" y="connsiteY40766"/>
              </a:cxn>
              <a:cxn ang="0">
                <a:pos x="connsiteX40767" y="connsiteY40767"/>
              </a:cxn>
              <a:cxn ang="0">
                <a:pos x="connsiteX40768" y="connsiteY40768"/>
              </a:cxn>
              <a:cxn ang="0">
                <a:pos x="connsiteX40769" y="connsiteY40769"/>
              </a:cxn>
              <a:cxn ang="0">
                <a:pos x="connsiteX40770" y="connsiteY40770"/>
              </a:cxn>
              <a:cxn ang="0">
                <a:pos x="connsiteX40771" y="connsiteY40771"/>
              </a:cxn>
              <a:cxn ang="0">
                <a:pos x="connsiteX40772" y="connsiteY40772"/>
              </a:cxn>
              <a:cxn ang="0">
                <a:pos x="connsiteX40773" y="connsiteY40773"/>
              </a:cxn>
              <a:cxn ang="0">
                <a:pos x="connsiteX40774" y="connsiteY40774"/>
              </a:cxn>
              <a:cxn ang="0">
                <a:pos x="connsiteX40775" y="connsiteY40775"/>
              </a:cxn>
              <a:cxn ang="0">
                <a:pos x="connsiteX40776" y="connsiteY40776"/>
              </a:cxn>
              <a:cxn ang="0">
                <a:pos x="connsiteX40777" y="connsiteY40777"/>
              </a:cxn>
              <a:cxn ang="0">
                <a:pos x="connsiteX40778" y="connsiteY40778"/>
              </a:cxn>
              <a:cxn ang="0">
                <a:pos x="connsiteX40779" y="connsiteY40779"/>
              </a:cxn>
              <a:cxn ang="0">
                <a:pos x="connsiteX40780" y="connsiteY40780"/>
              </a:cxn>
              <a:cxn ang="0">
                <a:pos x="connsiteX40781" y="connsiteY40781"/>
              </a:cxn>
              <a:cxn ang="0">
                <a:pos x="connsiteX40782" y="connsiteY40782"/>
              </a:cxn>
              <a:cxn ang="0">
                <a:pos x="connsiteX40783" y="connsiteY40783"/>
              </a:cxn>
              <a:cxn ang="0">
                <a:pos x="connsiteX40784" y="connsiteY40784"/>
              </a:cxn>
              <a:cxn ang="0">
                <a:pos x="connsiteX40785" y="connsiteY40785"/>
              </a:cxn>
              <a:cxn ang="0">
                <a:pos x="connsiteX40786" y="connsiteY40786"/>
              </a:cxn>
              <a:cxn ang="0">
                <a:pos x="connsiteX40787" y="connsiteY40787"/>
              </a:cxn>
              <a:cxn ang="0">
                <a:pos x="connsiteX40788" y="connsiteY40788"/>
              </a:cxn>
              <a:cxn ang="0">
                <a:pos x="connsiteX40789" y="connsiteY40789"/>
              </a:cxn>
              <a:cxn ang="0">
                <a:pos x="connsiteX40790" y="connsiteY40790"/>
              </a:cxn>
              <a:cxn ang="0">
                <a:pos x="connsiteX40791" y="connsiteY40791"/>
              </a:cxn>
              <a:cxn ang="0">
                <a:pos x="connsiteX40792" y="connsiteY40792"/>
              </a:cxn>
              <a:cxn ang="0">
                <a:pos x="connsiteX40793" y="connsiteY40793"/>
              </a:cxn>
              <a:cxn ang="0">
                <a:pos x="connsiteX40794" y="connsiteY40794"/>
              </a:cxn>
              <a:cxn ang="0">
                <a:pos x="connsiteX40795" y="connsiteY40795"/>
              </a:cxn>
              <a:cxn ang="0">
                <a:pos x="connsiteX40796" y="connsiteY40796"/>
              </a:cxn>
              <a:cxn ang="0">
                <a:pos x="connsiteX40797" y="connsiteY40797"/>
              </a:cxn>
              <a:cxn ang="0">
                <a:pos x="connsiteX40798" y="connsiteY40798"/>
              </a:cxn>
              <a:cxn ang="0">
                <a:pos x="connsiteX40799" y="connsiteY40799"/>
              </a:cxn>
              <a:cxn ang="0">
                <a:pos x="connsiteX40800" y="connsiteY40800"/>
              </a:cxn>
              <a:cxn ang="0">
                <a:pos x="connsiteX40801" y="connsiteY40801"/>
              </a:cxn>
              <a:cxn ang="0">
                <a:pos x="connsiteX40802" y="connsiteY40802"/>
              </a:cxn>
              <a:cxn ang="0">
                <a:pos x="connsiteX40803" y="connsiteY40803"/>
              </a:cxn>
              <a:cxn ang="0">
                <a:pos x="connsiteX40804" y="connsiteY40804"/>
              </a:cxn>
              <a:cxn ang="0">
                <a:pos x="connsiteX40805" y="connsiteY40805"/>
              </a:cxn>
              <a:cxn ang="0">
                <a:pos x="connsiteX40806" y="connsiteY40806"/>
              </a:cxn>
              <a:cxn ang="0">
                <a:pos x="connsiteX40807" y="connsiteY40807"/>
              </a:cxn>
              <a:cxn ang="0">
                <a:pos x="connsiteX40808" y="connsiteY40808"/>
              </a:cxn>
              <a:cxn ang="0">
                <a:pos x="connsiteX40809" y="connsiteY40809"/>
              </a:cxn>
              <a:cxn ang="0">
                <a:pos x="connsiteX40810" y="connsiteY40810"/>
              </a:cxn>
              <a:cxn ang="0">
                <a:pos x="connsiteX40811" y="connsiteY40811"/>
              </a:cxn>
              <a:cxn ang="0">
                <a:pos x="connsiteX40812" y="connsiteY40812"/>
              </a:cxn>
              <a:cxn ang="0">
                <a:pos x="connsiteX40813" y="connsiteY40813"/>
              </a:cxn>
              <a:cxn ang="0">
                <a:pos x="connsiteX40814" y="connsiteY40814"/>
              </a:cxn>
              <a:cxn ang="0">
                <a:pos x="connsiteX40815" y="connsiteY40815"/>
              </a:cxn>
              <a:cxn ang="0">
                <a:pos x="connsiteX40816" y="connsiteY40816"/>
              </a:cxn>
              <a:cxn ang="0">
                <a:pos x="connsiteX40817" y="connsiteY40817"/>
              </a:cxn>
              <a:cxn ang="0">
                <a:pos x="connsiteX40818" y="connsiteY40818"/>
              </a:cxn>
              <a:cxn ang="0">
                <a:pos x="connsiteX40819" y="connsiteY40819"/>
              </a:cxn>
              <a:cxn ang="0">
                <a:pos x="connsiteX40820" y="connsiteY40820"/>
              </a:cxn>
              <a:cxn ang="0">
                <a:pos x="connsiteX40821" y="connsiteY40821"/>
              </a:cxn>
              <a:cxn ang="0">
                <a:pos x="connsiteX40822" y="connsiteY40822"/>
              </a:cxn>
              <a:cxn ang="0">
                <a:pos x="connsiteX40823" y="connsiteY40823"/>
              </a:cxn>
              <a:cxn ang="0">
                <a:pos x="connsiteX40824" y="connsiteY40824"/>
              </a:cxn>
              <a:cxn ang="0">
                <a:pos x="connsiteX40825" y="connsiteY40825"/>
              </a:cxn>
              <a:cxn ang="0">
                <a:pos x="connsiteX40826" y="connsiteY40826"/>
              </a:cxn>
              <a:cxn ang="0">
                <a:pos x="connsiteX40827" y="connsiteY40827"/>
              </a:cxn>
              <a:cxn ang="0">
                <a:pos x="connsiteX40828" y="connsiteY40828"/>
              </a:cxn>
              <a:cxn ang="0">
                <a:pos x="connsiteX40829" y="connsiteY40829"/>
              </a:cxn>
              <a:cxn ang="0">
                <a:pos x="connsiteX40830" y="connsiteY40830"/>
              </a:cxn>
              <a:cxn ang="0">
                <a:pos x="connsiteX40831" y="connsiteY40831"/>
              </a:cxn>
              <a:cxn ang="0">
                <a:pos x="connsiteX40832" y="connsiteY40832"/>
              </a:cxn>
              <a:cxn ang="0">
                <a:pos x="connsiteX40833" y="connsiteY40833"/>
              </a:cxn>
              <a:cxn ang="0">
                <a:pos x="connsiteX40834" y="connsiteY40834"/>
              </a:cxn>
              <a:cxn ang="0">
                <a:pos x="connsiteX40835" y="connsiteY40835"/>
              </a:cxn>
              <a:cxn ang="0">
                <a:pos x="connsiteX40836" y="connsiteY40836"/>
              </a:cxn>
              <a:cxn ang="0">
                <a:pos x="connsiteX40837" y="connsiteY40837"/>
              </a:cxn>
              <a:cxn ang="0">
                <a:pos x="connsiteX40838" y="connsiteY40838"/>
              </a:cxn>
              <a:cxn ang="0">
                <a:pos x="connsiteX40839" y="connsiteY40839"/>
              </a:cxn>
              <a:cxn ang="0">
                <a:pos x="connsiteX40840" y="connsiteY40840"/>
              </a:cxn>
              <a:cxn ang="0">
                <a:pos x="connsiteX40841" y="connsiteY40841"/>
              </a:cxn>
              <a:cxn ang="0">
                <a:pos x="connsiteX40842" y="connsiteY40842"/>
              </a:cxn>
              <a:cxn ang="0">
                <a:pos x="connsiteX40843" y="connsiteY40843"/>
              </a:cxn>
              <a:cxn ang="0">
                <a:pos x="connsiteX40844" y="connsiteY40844"/>
              </a:cxn>
              <a:cxn ang="0">
                <a:pos x="connsiteX40845" y="connsiteY40845"/>
              </a:cxn>
              <a:cxn ang="0">
                <a:pos x="connsiteX40846" y="connsiteY40846"/>
              </a:cxn>
              <a:cxn ang="0">
                <a:pos x="connsiteX40847" y="connsiteY40847"/>
              </a:cxn>
              <a:cxn ang="0">
                <a:pos x="connsiteX40848" y="connsiteY40848"/>
              </a:cxn>
              <a:cxn ang="0">
                <a:pos x="connsiteX40849" y="connsiteY40849"/>
              </a:cxn>
              <a:cxn ang="0">
                <a:pos x="connsiteX40850" y="connsiteY40850"/>
              </a:cxn>
              <a:cxn ang="0">
                <a:pos x="connsiteX40851" y="connsiteY40851"/>
              </a:cxn>
              <a:cxn ang="0">
                <a:pos x="connsiteX40852" y="connsiteY40852"/>
              </a:cxn>
              <a:cxn ang="0">
                <a:pos x="connsiteX40853" y="connsiteY40853"/>
              </a:cxn>
              <a:cxn ang="0">
                <a:pos x="connsiteX40854" y="connsiteY40854"/>
              </a:cxn>
              <a:cxn ang="0">
                <a:pos x="connsiteX40855" y="connsiteY40855"/>
              </a:cxn>
              <a:cxn ang="0">
                <a:pos x="connsiteX40856" y="connsiteY40856"/>
              </a:cxn>
              <a:cxn ang="0">
                <a:pos x="connsiteX40857" y="connsiteY40857"/>
              </a:cxn>
              <a:cxn ang="0">
                <a:pos x="connsiteX40858" y="connsiteY40858"/>
              </a:cxn>
              <a:cxn ang="0">
                <a:pos x="connsiteX40859" y="connsiteY40859"/>
              </a:cxn>
              <a:cxn ang="0">
                <a:pos x="connsiteX40860" y="connsiteY40860"/>
              </a:cxn>
              <a:cxn ang="0">
                <a:pos x="connsiteX40861" y="connsiteY40861"/>
              </a:cxn>
              <a:cxn ang="0">
                <a:pos x="connsiteX40862" y="connsiteY40862"/>
              </a:cxn>
              <a:cxn ang="0">
                <a:pos x="connsiteX40863" y="connsiteY40863"/>
              </a:cxn>
              <a:cxn ang="0">
                <a:pos x="connsiteX40864" y="connsiteY40864"/>
              </a:cxn>
              <a:cxn ang="0">
                <a:pos x="connsiteX40865" y="connsiteY40865"/>
              </a:cxn>
              <a:cxn ang="0">
                <a:pos x="connsiteX40866" y="connsiteY40866"/>
              </a:cxn>
              <a:cxn ang="0">
                <a:pos x="connsiteX40867" y="connsiteY40867"/>
              </a:cxn>
              <a:cxn ang="0">
                <a:pos x="connsiteX40868" y="connsiteY40868"/>
              </a:cxn>
              <a:cxn ang="0">
                <a:pos x="connsiteX40869" y="connsiteY40869"/>
              </a:cxn>
              <a:cxn ang="0">
                <a:pos x="connsiteX40870" y="connsiteY40870"/>
              </a:cxn>
              <a:cxn ang="0">
                <a:pos x="connsiteX40871" y="connsiteY40871"/>
              </a:cxn>
              <a:cxn ang="0">
                <a:pos x="connsiteX40872" y="connsiteY40872"/>
              </a:cxn>
              <a:cxn ang="0">
                <a:pos x="connsiteX40873" y="connsiteY40873"/>
              </a:cxn>
              <a:cxn ang="0">
                <a:pos x="connsiteX40874" y="connsiteY40874"/>
              </a:cxn>
              <a:cxn ang="0">
                <a:pos x="connsiteX40875" y="connsiteY40875"/>
              </a:cxn>
              <a:cxn ang="0">
                <a:pos x="connsiteX40876" y="connsiteY40876"/>
              </a:cxn>
              <a:cxn ang="0">
                <a:pos x="connsiteX40877" y="connsiteY40877"/>
              </a:cxn>
              <a:cxn ang="0">
                <a:pos x="connsiteX40878" y="connsiteY40878"/>
              </a:cxn>
              <a:cxn ang="0">
                <a:pos x="connsiteX40879" y="connsiteY40879"/>
              </a:cxn>
              <a:cxn ang="0">
                <a:pos x="connsiteX40880" y="connsiteY40880"/>
              </a:cxn>
              <a:cxn ang="0">
                <a:pos x="connsiteX40881" y="connsiteY40881"/>
              </a:cxn>
              <a:cxn ang="0">
                <a:pos x="connsiteX40882" y="connsiteY40882"/>
              </a:cxn>
              <a:cxn ang="0">
                <a:pos x="connsiteX40883" y="connsiteY40883"/>
              </a:cxn>
              <a:cxn ang="0">
                <a:pos x="connsiteX40884" y="connsiteY40884"/>
              </a:cxn>
              <a:cxn ang="0">
                <a:pos x="connsiteX40885" y="connsiteY40885"/>
              </a:cxn>
              <a:cxn ang="0">
                <a:pos x="connsiteX40886" y="connsiteY40886"/>
              </a:cxn>
              <a:cxn ang="0">
                <a:pos x="connsiteX40887" y="connsiteY40887"/>
              </a:cxn>
              <a:cxn ang="0">
                <a:pos x="connsiteX40888" y="connsiteY40888"/>
              </a:cxn>
              <a:cxn ang="0">
                <a:pos x="connsiteX40889" y="connsiteY40889"/>
              </a:cxn>
              <a:cxn ang="0">
                <a:pos x="connsiteX40890" y="connsiteY40890"/>
              </a:cxn>
              <a:cxn ang="0">
                <a:pos x="connsiteX40891" y="connsiteY40891"/>
              </a:cxn>
              <a:cxn ang="0">
                <a:pos x="connsiteX40892" y="connsiteY40892"/>
              </a:cxn>
              <a:cxn ang="0">
                <a:pos x="connsiteX40893" y="connsiteY40893"/>
              </a:cxn>
              <a:cxn ang="0">
                <a:pos x="connsiteX40894" y="connsiteY40894"/>
              </a:cxn>
              <a:cxn ang="0">
                <a:pos x="connsiteX40895" y="connsiteY40895"/>
              </a:cxn>
              <a:cxn ang="0">
                <a:pos x="connsiteX40896" y="connsiteY40896"/>
              </a:cxn>
              <a:cxn ang="0">
                <a:pos x="connsiteX40897" y="connsiteY40897"/>
              </a:cxn>
              <a:cxn ang="0">
                <a:pos x="connsiteX40898" y="connsiteY40898"/>
              </a:cxn>
              <a:cxn ang="0">
                <a:pos x="connsiteX40899" y="connsiteY40899"/>
              </a:cxn>
              <a:cxn ang="0">
                <a:pos x="connsiteX40900" y="connsiteY40900"/>
              </a:cxn>
              <a:cxn ang="0">
                <a:pos x="connsiteX40901" y="connsiteY40901"/>
              </a:cxn>
              <a:cxn ang="0">
                <a:pos x="connsiteX40902" y="connsiteY40902"/>
              </a:cxn>
              <a:cxn ang="0">
                <a:pos x="connsiteX40903" y="connsiteY40903"/>
              </a:cxn>
              <a:cxn ang="0">
                <a:pos x="connsiteX40904" y="connsiteY40904"/>
              </a:cxn>
              <a:cxn ang="0">
                <a:pos x="connsiteX40905" y="connsiteY40905"/>
              </a:cxn>
              <a:cxn ang="0">
                <a:pos x="connsiteX40906" y="connsiteY40906"/>
              </a:cxn>
              <a:cxn ang="0">
                <a:pos x="connsiteX40907" y="connsiteY40907"/>
              </a:cxn>
              <a:cxn ang="0">
                <a:pos x="connsiteX40908" y="connsiteY40908"/>
              </a:cxn>
              <a:cxn ang="0">
                <a:pos x="connsiteX40909" y="connsiteY40909"/>
              </a:cxn>
              <a:cxn ang="0">
                <a:pos x="connsiteX40910" y="connsiteY40910"/>
              </a:cxn>
              <a:cxn ang="0">
                <a:pos x="connsiteX40911" y="connsiteY40911"/>
              </a:cxn>
              <a:cxn ang="0">
                <a:pos x="connsiteX40912" y="connsiteY40912"/>
              </a:cxn>
              <a:cxn ang="0">
                <a:pos x="connsiteX40913" y="connsiteY40913"/>
              </a:cxn>
              <a:cxn ang="0">
                <a:pos x="connsiteX40914" y="connsiteY40914"/>
              </a:cxn>
              <a:cxn ang="0">
                <a:pos x="connsiteX40915" y="connsiteY40915"/>
              </a:cxn>
              <a:cxn ang="0">
                <a:pos x="connsiteX40916" y="connsiteY40916"/>
              </a:cxn>
              <a:cxn ang="0">
                <a:pos x="connsiteX40917" y="connsiteY40917"/>
              </a:cxn>
              <a:cxn ang="0">
                <a:pos x="connsiteX40918" y="connsiteY40918"/>
              </a:cxn>
              <a:cxn ang="0">
                <a:pos x="connsiteX40919" y="connsiteY40919"/>
              </a:cxn>
              <a:cxn ang="0">
                <a:pos x="connsiteX40920" y="connsiteY40920"/>
              </a:cxn>
              <a:cxn ang="0">
                <a:pos x="connsiteX40921" y="connsiteY40921"/>
              </a:cxn>
              <a:cxn ang="0">
                <a:pos x="connsiteX40922" y="connsiteY40922"/>
              </a:cxn>
              <a:cxn ang="0">
                <a:pos x="connsiteX40923" y="connsiteY40923"/>
              </a:cxn>
              <a:cxn ang="0">
                <a:pos x="connsiteX40924" y="connsiteY40924"/>
              </a:cxn>
              <a:cxn ang="0">
                <a:pos x="connsiteX40925" y="connsiteY40925"/>
              </a:cxn>
              <a:cxn ang="0">
                <a:pos x="connsiteX40926" y="connsiteY40926"/>
              </a:cxn>
              <a:cxn ang="0">
                <a:pos x="connsiteX40927" y="connsiteY40927"/>
              </a:cxn>
              <a:cxn ang="0">
                <a:pos x="connsiteX40928" y="connsiteY40928"/>
              </a:cxn>
              <a:cxn ang="0">
                <a:pos x="connsiteX40929" y="connsiteY40929"/>
              </a:cxn>
              <a:cxn ang="0">
                <a:pos x="connsiteX40930" y="connsiteY40930"/>
              </a:cxn>
              <a:cxn ang="0">
                <a:pos x="connsiteX40931" y="connsiteY40931"/>
              </a:cxn>
              <a:cxn ang="0">
                <a:pos x="connsiteX40932" y="connsiteY40932"/>
              </a:cxn>
              <a:cxn ang="0">
                <a:pos x="connsiteX40933" y="connsiteY40933"/>
              </a:cxn>
              <a:cxn ang="0">
                <a:pos x="connsiteX40934" y="connsiteY40934"/>
              </a:cxn>
              <a:cxn ang="0">
                <a:pos x="connsiteX40935" y="connsiteY40935"/>
              </a:cxn>
              <a:cxn ang="0">
                <a:pos x="connsiteX40936" y="connsiteY40936"/>
              </a:cxn>
              <a:cxn ang="0">
                <a:pos x="connsiteX40937" y="connsiteY40937"/>
              </a:cxn>
              <a:cxn ang="0">
                <a:pos x="connsiteX40938" y="connsiteY40938"/>
              </a:cxn>
              <a:cxn ang="0">
                <a:pos x="connsiteX40939" y="connsiteY40939"/>
              </a:cxn>
              <a:cxn ang="0">
                <a:pos x="connsiteX40940" y="connsiteY40940"/>
              </a:cxn>
              <a:cxn ang="0">
                <a:pos x="connsiteX40941" y="connsiteY40941"/>
              </a:cxn>
              <a:cxn ang="0">
                <a:pos x="connsiteX40942" y="connsiteY40942"/>
              </a:cxn>
              <a:cxn ang="0">
                <a:pos x="connsiteX40943" y="connsiteY40943"/>
              </a:cxn>
              <a:cxn ang="0">
                <a:pos x="connsiteX40944" y="connsiteY40944"/>
              </a:cxn>
              <a:cxn ang="0">
                <a:pos x="connsiteX40945" y="connsiteY40945"/>
              </a:cxn>
              <a:cxn ang="0">
                <a:pos x="connsiteX40946" y="connsiteY40946"/>
              </a:cxn>
              <a:cxn ang="0">
                <a:pos x="connsiteX40947" y="connsiteY40947"/>
              </a:cxn>
              <a:cxn ang="0">
                <a:pos x="connsiteX40948" y="connsiteY40948"/>
              </a:cxn>
              <a:cxn ang="0">
                <a:pos x="connsiteX40949" y="connsiteY40949"/>
              </a:cxn>
              <a:cxn ang="0">
                <a:pos x="connsiteX40950" y="connsiteY40950"/>
              </a:cxn>
              <a:cxn ang="0">
                <a:pos x="connsiteX40951" y="connsiteY40951"/>
              </a:cxn>
              <a:cxn ang="0">
                <a:pos x="connsiteX40952" y="connsiteY40952"/>
              </a:cxn>
              <a:cxn ang="0">
                <a:pos x="connsiteX40953" y="connsiteY40953"/>
              </a:cxn>
              <a:cxn ang="0">
                <a:pos x="connsiteX40954" y="connsiteY40954"/>
              </a:cxn>
              <a:cxn ang="0">
                <a:pos x="connsiteX40955" y="connsiteY40955"/>
              </a:cxn>
              <a:cxn ang="0">
                <a:pos x="connsiteX40956" y="connsiteY40956"/>
              </a:cxn>
              <a:cxn ang="0">
                <a:pos x="connsiteX40957" y="connsiteY40957"/>
              </a:cxn>
              <a:cxn ang="0">
                <a:pos x="connsiteX40958" y="connsiteY40958"/>
              </a:cxn>
              <a:cxn ang="0">
                <a:pos x="connsiteX40959" y="connsiteY40959"/>
              </a:cxn>
              <a:cxn ang="0">
                <a:pos x="connsiteX40960" y="connsiteY40960"/>
              </a:cxn>
              <a:cxn ang="0">
                <a:pos x="connsiteX40961" y="connsiteY40961"/>
              </a:cxn>
              <a:cxn ang="0">
                <a:pos x="connsiteX40962" y="connsiteY40962"/>
              </a:cxn>
              <a:cxn ang="0">
                <a:pos x="connsiteX40963" y="connsiteY40963"/>
              </a:cxn>
              <a:cxn ang="0">
                <a:pos x="connsiteX40964" y="connsiteY40964"/>
              </a:cxn>
              <a:cxn ang="0">
                <a:pos x="connsiteX40965" y="connsiteY40965"/>
              </a:cxn>
              <a:cxn ang="0">
                <a:pos x="connsiteX40966" y="connsiteY40966"/>
              </a:cxn>
              <a:cxn ang="0">
                <a:pos x="connsiteX40967" y="connsiteY40967"/>
              </a:cxn>
              <a:cxn ang="0">
                <a:pos x="connsiteX40968" y="connsiteY40968"/>
              </a:cxn>
              <a:cxn ang="0">
                <a:pos x="connsiteX40969" y="connsiteY40969"/>
              </a:cxn>
              <a:cxn ang="0">
                <a:pos x="connsiteX40970" y="connsiteY40970"/>
              </a:cxn>
              <a:cxn ang="0">
                <a:pos x="connsiteX40971" y="connsiteY40971"/>
              </a:cxn>
              <a:cxn ang="0">
                <a:pos x="connsiteX40972" y="connsiteY40972"/>
              </a:cxn>
              <a:cxn ang="0">
                <a:pos x="connsiteX40973" y="connsiteY40973"/>
              </a:cxn>
              <a:cxn ang="0">
                <a:pos x="connsiteX40974" y="connsiteY40974"/>
              </a:cxn>
              <a:cxn ang="0">
                <a:pos x="connsiteX40975" y="connsiteY40975"/>
              </a:cxn>
              <a:cxn ang="0">
                <a:pos x="connsiteX40976" y="connsiteY40976"/>
              </a:cxn>
              <a:cxn ang="0">
                <a:pos x="connsiteX40977" y="connsiteY40977"/>
              </a:cxn>
              <a:cxn ang="0">
                <a:pos x="connsiteX40978" y="connsiteY40978"/>
              </a:cxn>
              <a:cxn ang="0">
                <a:pos x="connsiteX40979" y="connsiteY40979"/>
              </a:cxn>
              <a:cxn ang="0">
                <a:pos x="connsiteX40980" y="connsiteY40980"/>
              </a:cxn>
              <a:cxn ang="0">
                <a:pos x="connsiteX40981" y="connsiteY40981"/>
              </a:cxn>
              <a:cxn ang="0">
                <a:pos x="connsiteX40982" y="connsiteY40982"/>
              </a:cxn>
              <a:cxn ang="0">
                <a:pos x="connsiteX40983" y="connsiteY40983"/>
              </a:cxn>
              <a:cxn ang="0">
                <a:pos x="connsiteX40984" y="connsiteY40984"/>
              </a:cxn>
              <a:cxn ang="0">
                <a:pos x="connsiteX40985" y="connsiteY40985"/>
              </a:cxn>
              <a:cxn ang="0">
                <a:pos x="connsiteX40986" y="connsiteY40986"/>
              </a:cxn>
              <a:cxn ang="0">
                <a:pos x="connsiteX40987" y="connsiteY40987"/>
              </a:cxn>
              <a:cxn ang="0">
                <a:pos x="connsiteX40988" y="connsiteY40988"/>
              </a:cxn>
              <a:cxn ang="0">
                <a:pos x="connsiteX40989" y="connsiteY40989"/>
              </a:cxn>
              <a:cxn ang="0">
                <a:pos x="connsiteX40990" y="connsiteY40990"/>
              </a:cxn>
              <a:cxn ang="0">
                <a:pos x="connsiteX40991" y="connsiteY40991"/>
              </a:cxn>
              <a:cxn ang="0">
                <a:pos x="connsiteX40992" y="connsiteY40992"/>
              </a:cxn>
              <a:cxn ang="0">
                <a:pos x="connsiteX40993" y="connsiteY40993"/>
              </a:cxn>
              <a:cxn ang="0">
                <a:pos x="connsiteX40994" y="connsiteY40994"/>
              </a:cxn>
              <a:cxn ang="0">
                <a:pos x="connsiteX40995" y="connsiteY40995"/>
              </a:cxn>
              <a:cxn ang="0">
                <a:pos x="connsiteX40996" y="connsiteY40996"/>
              </a:cxn>
              <a:cxn ang="0">
                <a:pos x="connsiteX40997" y="connsiteY40997"/>
              </a:cxn>
              <a:cxn ang="0">
                <a:pos x="connsiteX40998" y="connsiteY40998"/>
              </a:cxn>
              <a:cxn ang="0">
                <a:pos x="connsiteX40999" y="connsiteY40999"/>
              </a:cxn>
              <a:cxn ang="0">
                <a:pos x="connsiteX41000" y="connsiteY41000"/>
              </a:cxn>
              <a:cxn ang="0">
                <a:pos x="connsiteX41001" y="connsiteY41001"/>
              </a:cxn>
              <a:cxn ang="0">
                <a:pos x="connsiteX41002" y="connsiteY41002"/>
              </a:cxn>
              <a:cxn ang="0">
                <a:pos x="connsiteX41003" y="connsiteY41003"/>
              </a:cxn>
              <a:cxn ang="0">
                <a:pos x="connsiteX41004" y="connsiteY41004"/>
              </a:cxn>
              <a:cxn ang="0">
                <a:pos x="connsiteX41005" y="connsiteY41005"/>
              </a:cxn>
              <a:cxn ang="0">
                <a:pos x="connsiteX41006" y="connsiteY41006"/>
              </a:cxn>
              <a:cxn ang="0">
                <a:pos x="connsiteX41007" y="connsiteY41007"/>
              </a:cxn>
              <a:cxn ang="0">
                <a:pos x="connsiteX41008" y="connsiteY41008"/>
              </a:cxn>
              <a:cxn ang="0">
                <a:pos x="connsiteX41009" y="connsiteY41009"/>
              </a:cxn>
              <a:cxn ang="0">
                <a:pos x="connsiteX41010" y="connsiteY41010"/>
              </a:cxn>
              <a:cxn ang="0">
                <a:pos x="connsiteX41011" y="connsiteY41011"/>
              </a:cxn>
              <a:cxn ang="0">
                <a:pos x="connsiteX41012" y="connsiteY41012"/>
              </a:cxn>
              <a:cxn ang="0">
                <a:pos x="connsiteX41013" y="connsiteY41013"/>
              </a:cxn>
              <a:cxn ang="0">
                <a:pos x="connsiteX41014" y="connsiteY41014"/>
              </a:cxn>
              <a:cxn ang="0">
                <a:pos x="connsiteX41015" y="connsiteY41015"/>
              </a:cxn>
              <a:cxn ang="0">
                <a:pos x="connsiteX41016" y="connsiteY41016"/>
              </a:cxn>
              <a:cxn ang="0">
                <a:pos x="connsiteX41017" y="connsiteY41017"/>
              </a:cxn>
              <a:cxn ang="0">
                <a:pos x="connsiteX41018" y="connsiteY41018"/>
              </a:cxn>
              <a:cxn ang="0">
                <a:pos x="connsiteX41019" y="connsiteY41019"/>
              </a:cxn>
              <a:cxn ang="0">
                <a:pos x="connsiteX41020" y="connsiteY41020"/>
              </a:cxn>
              <a:cxn ang="0">
                <a:pos x="connsiteX41021" y="connsiteY41021"/>
              </a:cxn>
              <a:cxn ang="0">
                <a:pos x="connsiteX41022" y="connsiteY41022"/>
              </a:cxn>
              <a:cxn ang="0">
                <a:pos x="connsiteX41023" y="connsiteY41023"/>
              </a:cxn>
              <a:cxn ang="0">
                <a:pos x="connsiteX41024" y="connsiteY41024"/>
              </a:cxn>
              <a:cxn ang="0">
                <a:pos x="connsiteX41025" y="connsiteY41025"/>
              </a:cxn>
              <a:cxn ang="0">
                <a:pos x="connsiteX41026" y="connsiteY41026"/>
              </a:cxn>
              <a:cxn ang="0">
                <a:pos x="connsiteX41027" y="connsiteY41027"/>
              </a:cxn>
              <a:cxn ang="0">
                <a:pos x="connsiteX41028" y="connsiteY41028"/>
              </a:cxn>
              <a:cxn ang="0">
                <a:pos x="connsiteX41029" y="connsiteY41029"/>
              </a:cxn>
              <a:cxn ang="0">
                <a:pos x="connsiteX41030" y="connsiteY41030"/>
              </a:cxn>
              <a:cxn ang="0">
                <a:pos x="connsiteX41031" y="connsiteY41031"/>
              </a:cxn>
              <a:cxn ang="0">
                <a:pos x="connsiteX41032" y="connsiteY41032"/>
              </a:cxn>
              <a:cxn ang="0">
                <a:pos x="connsiteX41033" y="connsiteY41033"/>
              </a:cxn>
              <a:cxn ang="0">
                <a:pos x="connsiteX41034" y="connsiteY41034"/>
              </a:cxn>
              <a:cxn ang="0">
                <a:pos x="connsiteX41035" y="connsiteY41035"/>
              </a:cxn>
              <a:cxn ang="0">
                <a:pos x="connsiteX41036" y="connsiteY41036"/>
              </a:cxn>
              <a:cxn ang="0">
                <a:pos x="connsiteX41037" y="connsiteY41037"/>
              </a:cxn>
              <a:cxn ang="0">
                <a:pos x="connsiteX41038" y="connsiteY41038"/>
              </a:cxn>
              <a:cxn ang="0">
                <a:pos x="connsiteX41039" y="connsiteY41039"/>
              </a:cxn>
              <a:cxn ang="0">
                <a:pos x="connsiteX41040" y="connsiteY41040"/>
              </a:cxn>
              <a:cxn ang="0">
                <a:pos x="connsiteX41041" y="connsiteY41041"/>
              </a:cxn>
              <a:cxn ang="0">
                <a:pos x="connsiteX41042" y="connsiteY41042"/>
              </a:cxn>
              <a:cxn ang="0">
                <a:pos x="connsiteX41043" y="connsiteY41043"/>
              </a:cxn>
              <a:cxn ang="0">
                <a:pos x="connsiteX41044" y="connsiteY41044"/>
              </a:cxn>
              <a:cxn ang="0">
                <a:pos x="connsiteX41045" y="connsiteY41045"/>
              </a:cxn>
              <a:cxn ang="0">
                <a:pos x="connsiteX41046" y="connsiteY41046"/>
              </a:cxn>
              <a:cxn ang="0">
                <a:pos x="connsiteX41047" y="connsiteY41047"/>
              </a:cxn>
              <a:cxn ang="0">
                <a:pos x="connsiteX41048" y="connsiteY41048"/>
              </a:cxn>
              <a:cxn ang="0">
                <a:pos x="connsiteX41049" y="connsiteY41049"/>
              </a:cxn>
              <a:cxn ang="0">
                <a:pos x="connsiteX41050" y="connsiteY41050"/>
              </a:cxn>
              <a:cxn ang="0">
                <a:pos x="connsiteX41051" y="connsiteY41051"/>
              </a:cxn>
              <a:cxn ang="0">
                <a:pos x="connsiteX41052" y="connsiteY41052"/>
              </a:cxn>
              <a:cxn ang="0">
                <a:pos x="connsiteX41053" y="connsiteY41053"/>
              </a:cxn>
              <a:cxn ang="0">
                <a:pos x="connsiteX41054" y="connsiteY41054"/>
              </a:cxn>
              <a:cxn ang="0">
                <a:pos x="connsiteX41055" y="connsiteY41055"/>
              </a:cxn>
              <a:cxn ang="0">
                <a:pos x="connsiteX41056" y="connsiteY41056"/>
              </a:cxn>
              <a:cxn ang="0">
                <a:pos x="connsiteX41057" y="connsiteY41057"/>
              </a:cxn>
              <a:cxn ang="0">
                <a:pos x="connsiteX41058" y="connsiteY41058"/>
              </a:cxn>
              <a:cxn ang="0">
                <a:pos x="connsiteX41059" y="connsiteY41059"/>
              </a:cxn>
              <a:cxn ang="0">
                <a:pos x="connsiteX41060" y="connsiteY41060"/>
              </a:cxn>
              <a:cxn ang="0">
                <a:pos x="connsiteX41061" y="connsiteY41061"/>
              </a:cxn>
              <a:cxn ang="0">
                <a:pos x="connsiteX41062" y="connsiteY41062"/>
              </a:cxn>
              <a:cxn ang="0">
                <a:pos x="connsiteX41063" y="connsiteY41063"/>
              </a:cxn>
              <a:cxn ang="0">
                <a:pos x="connsiteX41064" y="connsiteY41064"/>
              </a:cxn>
              <a:cxn ang="0">
                <a:pos x="connsiteX41065" y="connsiteY41065"/>
              </a:cxn>
              <a:cxn ang="0">
                <a:pos x="connsiteX41066" y="connsiteY41066"/>
              </a:cxn>
              <a:cxn ang="0">
                <a:pos x="connsiteX41067" y="connsiteY41067"/>
              </a:cxn>
              <a:cxn ang="0">
                <a:pos x="connsiteX41068" y="connsiteY41068"/>
              </a:cxn>
              <a:cxn ang="0">
                <a:pos x="connsiteX41069" y="connsiteY41069"/>
              </a:cxn>
              <a:cxn ang="0">
                <a:pos x="connsiteX41070" y="connsiteY41070"/>
              </a:cxn>
              <a:cxn ang="0">
                <a:pos x="connsiteX41071" y="connsiteY41071"/>
              </a:cxn>
              <a:cxn ang="0">
                <a:pos x="connsiteX41072" y="connsiteY41072"/>
              </a:cxn>
              <a:cxn ang="0">
                <a:pos x="connsiteX41073" y="connsiteY41073"/>
              </a:cxn>
              <a:cxn ang="0">
                <a:pos x="connsiteX41074" y="connsiteY41074"/>
              </a:cxn>
              <a:cxn ang="0">
                <a:pos x="connsiteX41075" y="connsiteY41075"/>
              </a:cxn>
              <a:cxn ang="0">
                <a:pos x="connsiteX41076" y="connsiteY41076"/>
              </a:cxn>
              <a:cxn ang="0">
                <a:pos x="connsiteX41077" y="connsiteY41077"/>
              </a:cxn>
              <a:cxn ang="0">
                <a:pos x="connsiteX41078" y="connsiteY41078"/>
              </a:cxn>
              <a:cxn ang="0">
                <a:pos x="connsiteX41079" y="connsiteY41079"/>
              </a:cxn>
              <a:cxn ang="0">
                <a:pos x="connsiteX41080" y="connsiteY41080"/>
              </a:cxn>
              <a:cxn ang="0">
                <a:pos x="connsiteX41081" y="connsiteY41081"/>
              </a:cxn>
              <a:cxn ang="0">
                <a:pos x="connsiteX41082" y="connsiteY41082"/>
              </a:cxn>
              <a:cxn ang="0">
                <a:pos x="connsiteX41083" y="connsiteY41083"/>
              </a:cxn>
              <a:cxn ang="0">
                <a:pos x="connsiteX41084" y="connsiteY41084"/>
              </a:cxn>
              <a:cxn ang="0">
                <a:pos x="connsiteX41085" y="connsiteY41085"/>
              </a:cxn>
              <a:cxn ang="0">
                <a:pos x="connsiteX41086" y="connsiteY41086"/>
              </a:cxn>
              <a:cxn ang="0">
                <a:pos x="connsiteX41087" y="connsiteY41087"/>
              </a:cxn>
              <a:cxn ang="0">
                <a:pos x="connsiteX41088" y="connsiteY41088"/>
              </a:cxn>
              <a:cxn ang="0">
                <a:pos x="connsiteX41089" y="connsiteY41089"/>
              </a:cxn>
              <a:cxn ang="0">
                <a:pos x="connsiteX41090" y="connsiteY41090"/>
              </a:cxn>
              <a:cxn ang="0">
                <a:pos x="connsiteX41091" y="connsiteY41091"/>
              </a:cxn>
              <a:cxn ang="0">
                <a:pos x="connsiteX41092" y="connsiteY41092"/>
              </a:cxn>
              <a:cxn ang="0">
                <a:pos x="connsiteX41093" y="connsiteY41093"/>
              </a:cxn>
              <a:cxn ang="0">
                <a:pos x="connsiteX41094" y="connsiteY41094"/>
              </a:cxn>
              <a:cxn ang="0">
                <a:pos x="connsiteX41095" y="connsiteY41095"/>
              </a:cxn>
              <a:cxn ang="0">
                <a:pos x="connsiteX41096" y="connsiteY41096"/>
              </a:cxn>
              <a:cxn ang="0">
                <a:pos x="connsiteX41097" y="connsiteY41097"/>
              </a:cxn>
              <a:cxn ang="0">
                <a:pos x="connsiteX41098" y="connsiteY41098"/>
              </a:cxn>
              <a:cxn ang="0">
                <a:pos x="connsiteX41099" y="connsiteY41099"/>
              </a:cxn>
              <a:cxn ang="0">
                <a:pos x="connsiteX41100" y="connsiteY41100"/>
              </a:cxn>
              <a:cxn ang="0">
                <a:pos x="connsiteX41101" y="connsiteY41101"/>
              </a:cxn>
              <a:cxn ang="0">
                <a:pos x="connsiteX41102" y="connsiteY41102"/>
              </a:cxn>
              <a:cxn ang="0">
                <a:pos x="connsiteX41103" y="connsiteY41103"/>
              </a:cxn>
              <a:cxn ang="0">
                <a:pos x="connsiteX41104" y="connsiteY41104"/>
              </a:cxn>
              <a:cxn ang="0">
                <a:pos x="connsiteX41105" y="connsiteY41105"/>
              </a:cxn>
              <a:cxn ang="0">
                <a:pos x="connsiteX41106" y="connsiteY41106"/>
              </a:cxn>
              <a:cxn ang="0">
                <a:pos x="connsiteX41107" y="connsiteY41107"/>
              </a:cxn>
              <a:cxn ang="0">
                <a:pos x="connsiteX41108" y="connsiteY41108"/>
              </a:cxn>
              <a:cxn ang="0">
                <a:pos x="connsiteX41109" y="connsiteY41109"/>
              </a:cxn>
              <a:cxn ang="0">
                <a:pos x="connsiteX41110" y="connsiteY41110"/>
              </a:cxn>
              <a:cxn ang="0">
                <a:pos x="connsiteX41111" y="connsiteY41111"/>
              </a:cxn>
              <a:cxn ang="0">
                <a:pos x="connsiteX41112" y="connsiteY41112"/>
              </a:cxn>
              <a:cxn ang="0">
                <a:pos x="connsiteX41113" y="connsiteY41113"/>
              </a:cxn>
              <a:cxn ang="0">
                <a:pos x="connsiteX41114" y="connsiteY41114"/>
              </a:cxn>
              <a:cxn ang="0">
                <a:pos x="connsiteX41115" y="connsiteY41115"/>
              </a:cxn>
              <a:cxn ang="0">
                <a:pos x="connsiteX41116" y="connsiteY41116"/>
              </a:cxn>
              <a:cxn ang="0">
                <a:pos x="connsiteX41117" y="connsiteY41117"/>
              </a:cxn>
              <a:cxn ang="0">
                <a:pos x="connsiteX41118" y="connsiteY41118"/>
              </a:cxn>
              <a:cxn ang="0">
                <a:pos x="connsiteX41119" y="connsiteY41119"/>
              </a:cxn>
              <a:cxn ang="0">
                <a:pos x="connsiteX41120" y="connsiteY41120"/>
              </a:cxn>
              <a:cxn ang="0">
                <a:pos x="connsiteX41121" y="connsiteY41121"/>
              </a:cxn>
              <a:cxn ang="0">
                <a:pos x="connsiteX41122" y="connsiteY41122"/>
              </a:cxn>
              <a:cxn ang="0">
                <a:pos x="connsiteX41123" y="connsiteY41123"/>
              </a:cxn>
              <a:cxn ang="0">
                <a:pos x="connsiteX41124" y="connsiteY41124"/>
              </a:cxn>
              <a:cxn ang="0">
                <a:pos x="connsiteX41125" y="connsiteY41125"/>
              </a:cxn>
              <a:cxn ang="0">
                <a:pos x="connsiteX41126" y="connsiteY41126"/>
              </a:cxn>
              <a:cxn ang="0">
                <a:pos x="connsiteX41127" y="connsiteY41127"/>
              </a:cxn>
              <a:cxn ang="0">
                <a:pos x="connsiteX41128" y="connsiteY41128"/>
              </a:cxn>
              <a:cxn ang="0">
                <a:pos x="connsiteX41129" y="connsiteY41129"/>
              </a:cxn>
              <a:cxn ang="0">
                <a:pos x="connsiteX41130" y="connsiteY41130"/>
              </a:cxn>
              <a:cxn ang="0">
                <a:pos x="connsiteX41131" y="connsiteY41131"/>
              </a:cxn>
              <a:cxn ang="0">
                <a:pos x="connsiteX41132" y="connsiteY41132"/>
              </a:cxn>
              <a:cxn ang="0">
                <a:pos x="connsiteX41133" y="connsiteY41133"/>
              </a:cxn>
              <a:cxn ang="0">
                <a:pos x="connsiteX41134" y="connsiteY41134"/>
              </a:cxn>
              <a:cxn ang="0">
                <a:pos x="connsiteX41135" y="connsiteY41135"/>
              </a:cxn>
              <a:cxn ang="0">
                <a:pos x="connsiteX41136" y="connsiteY41136"/>
              </a:cxn>
              <a:cxn ang="0">
                <a:pos x="connsiteX41137" y="connsiteY41137"/>
              </a:cxn>
              <a:cxn ang="0">
                <a:pos x="connsiteX41138" y="connsiteY41138"/>
              </a:cxn>
              <a:cxn ang="0">
                <a:pos x="connsiteX41139" y="connsiteY41139"/>
              </a:cxn>
              <a:cxn ang="0">
                <a:pos x="connsiteX41140" y="connsiteY41140"/>
              </a:cxn>
              <a:cxn ang="0">
                <a:pos x="connsiteX41141" y="connsiteY41141"/>
              </a:cxn>
              <a:cxn ang="0">
                <a:pos x="connsiteX41142" y="connsiteY41142"/>
              </a:cxn>
              <a:cxn ang="0">
                <a:pos x="connsiteX41143" y="connsiteY41143"/>
              </a:cxn>
              <a:cxn ang="0">
                <a:pos x="connsiteX41144" y="connsiteY41144"/>
              </a:cxn>
              <a:cxn ang="0">
                <a:pos x="connsiteX41145" y="connsiteY41145"/>
              </a:cxn>
              <a:cxn ang="0">
                <a:pos x="connsiteX41146" y="connsiteY41146"/>
              </a:cxn>
              <a:cxn ang="0">
                <a:pos x="connsiteX41147" y="connsiteY41147"/>
              </a:cxn>
              <a:cxn ang="0">
                <a:pos x="connsiteX41148" y="connsiteY41148"/>
              </a:cxn>
              <a:cxn ang="0">
                <a:pos x="connsiteX41149" y="connsiteY41149"/>
              </a:cxn>
              <a:cxn ang="0">
                <a:pos x="connsiteX41150" y="connsiteY41150"/>
              </a:cxn>
              <a:cxn ang="0">
                <a:pos x="connsiteX41151" y="connsiteY41151"/>
              </a:cxn>
              <a:cxn ang="0">
                <a:pos x="connsiteX41152" y="connsiteY41152"/>
              </a:cxn>
              <a:cxn ang="0">
                <a:pos x="connsiteX41153" y="connsiteY41153"/>
              </a:cxn>
              <a:cxn ang="0">
                <a:pos x="connsiteX41154" y="connsiteY41154"/>
              </a:cxn>
              <a:cxn ang="0">
                <a:pos x="connsiteX41155" y="connsiteY41155"/>
              </a:cxn>
              <a:cxn ang="0">
                <a:pos x="connsiteX41156" y="connsiteY41156"/>
              </a:cxn>
              <a:cxn ang="0">
                <a:pos x="connsiteX41157" y="connsiteY41157"/>
              </a:cxn>
              <a:cxn ang="0">
                <a:pos x="connsiteX41158" y="connsiteY41158"/>
              </a:cxn>
              <a:cxn ang="0">
                <a:pos x="connsiteX41159" y="connsiteY41159"/>
              </a:cxn>
              <a:cxn ang="0">
                <a:pos x="connsiteX41160" y="connsiteY41160"/>
              </a:cxn>
              <a:cxn ang="0">
                <a:pos x="connsiteX41161" y="connsiteY41161"/>
              </a:cxn>
              <a:cxn ang="0">
                <a:pos x="connsiteX41162" y="connsiteY41162"/>
              </a:cxn>
              <a:cxn ang="0">
                <a:pos x="connsiteX41163" y="connsiteY41163"/>
              </a:cxn>
              <a:cxn ang="0">
                <a:pos x="connsiteX41164" y="connsiteY41164"/>
              </a:cxn>
              <a:cxn ang="0">
                <a:pos x="connsiteX41165" y="connsiteY41165"/>
              </a:cxn>
              <a:cxn ang="0">
                <a:pos x="connsiteX41166" y="connsiteY41166"/>
              </a:cxn>
              <a:cxn ang="0">
                <a:pos x="connsiteX41167" y="connsiteY41167"/>
              </a:cxn>
              <a:cxn ang="0">
                <a:pos x="connsiteX41168" y="connsiteY41168"/>
              </a:cxn>
              <a:cxn ang="0">
                <a:pos x="connsiteX41169" y="connsiteY41169"/>
              </a:cxn>
              <a:cxn ang="0">
                <a:pos x="connsiteX41170" y="connsiteY41170"/>
              </a:cxn>
              <a:cxn ang="0">
                <a:pos x="connsiteX41171" y="connsiteY41171"/>
              </a:cxn>
              <a:cxn ang="0">
                <a:pos x="connsiteX41172" y="connsiteY41172"/>
              </a:cxn>
              <a:cxn ang="0">
                <a:pos x="connsiteX41173" y="connsiteY41173"/>
              </a:cxn>
              <a:cxn ang="0">
                <a:pos x="connsiteX41174" y="connsiteY41174"/>
              </a:cxn>
              <a:cxn ang="0">
                <a:pos x="connsiteX41175" y="connsiteY41175"/>
              </a:cxn>
              <a:cxn ang="0">
                <a:pos x="connsiteX41176" y="connsiteY41176"/>
              </a:cxn>
              <a:cxn ang="0">
                <a:pos x="connsiteX41177" y="connsiteY41177"/>
              </a:cxn>
              <a:cxn ang="0">
                <a:pos x="connsiteX41178" y="connsiteY41178"/>
              </a:cxn>
              <a:cxn ang="0">
                <a:pos x="connsiteX41179" y="connsiteY41179"/>
              </a:cxn>
              <a:cxn ang="0">
                <a:pos x="connsiteX41180" y="connsiteY41180"/>
              </a:cxn>
              <a:cxn ang="0">
                <a:pos x="connsiteX41181" y="connsiteY41181"/>
              </a:cxn>
              <a:cxn ang="0">
                <a:pos x="connsiteX41182" y="connsiteY41182"/>
              </a:cxn>
              <a:cxn ang="0">
                <a:pos x="connsiteX41183" y="connsiteY41183"/>
              </a:cxn>
              <a:cxn ang="0">
                <a:pos x="connsiteX41184" y="connsiteY41184"/>
              </a:cxn>
              <a:cxn ang="0">
                <a:pos x="connsiteX41185" y="connsiteY41185"/>
              </a:cxn>
              <a:cxn ang="0">
                <a:pos x="connsiteX41186" y="connsiteY41186"/>
              </a:cxn>
              <a:cxn ang="0">
                <a:pos x="connsiteX41187" y="connsiteY41187"/>
              </a:cxn>
              <a:cxn ang="0">
                <a:pos x="connsiteX41188" y="connsiteY41188"/>
              </a:cxn>
              <a:cxn ang="0">
                <a:pos x="connsiteX41189" y="connsiteY41189"/>
              </a:cxn>
              <a:cxn ang="0">
                <a:pos x="connsiteX41190" y="connsiteY41190"/>
              </a:cxn>
              <a:cxn ang="0">
                <a:pos x="connsiteX41191" y="connsiteY41191"/>
              </a:cxn>
              <a:cxn ang="0">
                <a:pos x="connsiteX41192" y="connsiteY41192"/>
              </a:cxn>
              <a:cxn ang="0">
                <a:pos x="connsiteX41193" y="connsiteY41193"/>
              </a:cxn>
              <a:cxn ang="0">
                <a:pos x="connsiteX41194" y="connsiteY41194"/>
              </a:cxn>
              <a:cxn ang="0">
                <a:pos x="connsiteX41195" y="connsiteY41195"/>
              </a:cxn>
              <a:cxn ang="0">
                <a:pos x="connsiteX41196" y="connsiteY41196"/>
              </a:cxn>
              <a:cxn ang="0">
                <a:pos x="connsiteX41197" y="connsiteY41197"/>
              </a:cxn>
              <a:cxn ang="0">
                <a:pos x="connsiteX41198" y="connsiteY41198"/>
              </a:cxn>
              <a:cxn ang="0">
                <a:pos x="connsiteX41199" y="connsiteY41199"/>
              </a:cxn>
              <a:cxn ang="0">
                <a:pos x="connsiteX41200" y="connsiteY41200"/>
              </a:cxn>
              <a:cxn ang="0">
                <a:pos x="connsiteX41201" y="connsiteY41201"/>
              </a:cxn>
              <a:cxn ang="0">
                <a:pos x="connsiteX41202" y="connsiteY41202"/>
              </a:cxn>
              <a:cxn ang="0">
                <a:pos x="connsiteX41203" y="connsiteY41203"/>
              </a:cxn>
              <a:cxn ang="0">
                <a:pos x="connsiteX41204" y="connsiteY41204"/>
              </a:cxn>
              <a:cxn ang="0">
                <a:pos x="connsiteX41205" y="connsiteY41205"/>
              </a:cxn>
              <a:cxn ang="0">
                <a:pos x="connsiteX41206" y="connsiteY41206"/>
              </a:cxn>
              <a:cxn ang="0">
                <a:pos x="connsiteX41207" y="connsiteY41207"/>
              </a:cxn>
              <a:cxn ang="0">
                <a:pos x="connsiteX41208" y="connsiteY41208"/>
              </a:cxn>
              <a:cxn ang="0">
                <a:pos x="connsiteX41209" y="connsiteY41209"/>
              </a:cxn>
              <a:cxn ang="0">
                <a:pos x="connsiteX41210" y="connsiteY41210"/>
              </a:cxn>
              <a:cxn ang="0">
                <a:pos x="connsiteX41211" y="connsiteY41211"/>
              </a:cxn>
              <a:cxn ang="0">
                <a:pos x="connsiteX41212" y="connsiteY41212"/>
              </a:cxn>
              <a:cxn ang="0">
                <a:pos x="connsiteX41213" y="connsiteY41213"/>
              </a:cxn>
              <a:cxn ang="0">
                <a:pos x="connsiteX41214" y="connsiteY41214"/>
              </a:cxn>
              <a:cxn ang="0">
                <a:pos x="connsiteX41215" y="connsiteY41215"/>
              </a:cxn>
              <a:cxn ang="0">
                <a:pos x="connsiteX41216" y="connsiteY41216"/>
              </a:cxn>
              <a:cxn ang="0">
                <a:pos x="connsiteX41217" y="connsiteY41217"/>
              </a:cxn>
              <a:cxn ang="0">
                <a:pos x="connsiteX41218" y="connsiteY41218"/>
              </a:cxn>
              <a:cxn ang="0">
                <a:pos x="connsiteX41219" y="connsiteY41219"/>
              </a:cxn>
              <a:cxn ang="0">
                <a:pos x="connsiteX41220" y="connsiteY41220"/>
              </a:cxn>
              <a:cxn ang="0">
                <a:pos x="connsiteX41221" y="connsiteY41221"/>
              </a:cxn>
              <a:cxn ang="0">
                <a:pos x="connsiteX41222" y="connsiteY41222"/>
              </a:cxn>
              <a:cxn ang="0">
                <a:pos x="connsiteX41223" y="connsiteY41223"/>
              </a:cxn>
              <a:cxn ang="0">
                <a:pos x="connsiteX41224" y="connsiteY41224"/>
              </a:cxn>
              <a:cxn ang="0">
                <a:pos x="connsiteX41225" y="connsiteY41225"/>
              </a:cxn>
              <a:cxn ang="0">
                <a:pos x="connsiteX41226" y="connsiteY41226"/>
              </a:cxn>
              <a:cxn ang="0">
                <a:pos x="connsiteX41227" y="connsiteY41227"/>
              </a:cxn>
              <a:cxn ang="0">
                <a:pos x="connsiteX41228" y="connsiteY41228"/>
              </a:cxn>
              <a:cxn ang="0">
                <a:pos x="connsiteX41229" y="connsiteY41229"/>
              </a:cxn>
              <a:cxn ang="0">
                <a:pos x="connsiteX41230" y="connsiteY41230"/>
              </a:cxn>
              <a:cxn ang="0">
                <a:pos x="connsiteX41231" y="connsiteY41231"/>
              </a:cxn>
              <a:cxn ang="0">
                <a:pos x="connsiteX41232" y="connsiteY41232"/>
              </a:cxn>
              <a:cxn ang="0">
                <a:pos x="connsiteX41233" y="connsiteY41233"/>
              </a:cxn>
              <a:cxn ang="0">
                <a:pos x="connsiteX41234" y="connsiteY41234"/>
              </a:cxn>
              <a:cxn ang="0">
                <a:pos x="connsiteX41235" y="connsiteY41235"/>
              </a:cxn>
              <a:cxn ang="0">
                <a:pos x="connsiteX41236" y="connsiteY41236"/>
              </a:cxn>
              <a:cxn ang="0">
                <a:pos x="connsiteX41237" y="connsiteY41237"/>
              </a:cxn>
              <a:cxn ang="0">
                <a:pos x="connsiteX41238" y="connsiteY41238"/>
              </a:cxn>
              <a:cxn ang="0">
                <a:pos x="connsiteX41239" y="connsiteY41239"/>
              </a:cxn>
              <a:cxn ang="0">
                <a:pos x="connsiteX41240" y="connsiteY41240"/>
              </a:cxn>
              <a:cxn ang="0">
                <a:pos x="connsiteX41241" y="connsiteY41241"/>
              </a:cxn>
              <a:cxn ang="0">
                <a:pos x="connsiteX41242" y="connsiteY41242"/>
              </a:cxn>
              <a:cxn ang="0">
                <a:pos x="connsiteX41243" y="connsiteY41243"/>
              </a:cxn>
              <a:cxn ang="0">
                <a:pos x="connsiteX41244" y="connsiteY41244"/>
              </a:cxn>
              <a:cxn ang="0">
                <a:pos x="connsiteX41245" y="connsiteY41245"/>
              </a:cxn>
              <a:cxn ang="0">
                <a:pos x="connsiteX41246" y="connsiteY41246"/>
              </a:cxn>
              <a:cxn ang="0">
                <a:pos x="connsiteX41247" y="connsiteY41247"/>
              </a:cxn>
              <a:cxn ang="0">
                <a:pos x="connsiteX41248" y="connsiteY41248"/>
              </a:cxn>
              <a:cxn ang="0">
                <a:pos x="connsiteX41249" y="connsiteY41249"/>
              </a:cxn>
              <a:cxn ang="0">
                <a:pos x="connsiteX41250" y="connsiteY41250"/>
              </a:cxn>
              <a:cxn ang="0">
                <a:pos x="connsiteX41251" y="connsiteY41251"/>
              </a:cxn>
              <a:cxn ang="0">
                <a:pos x="connsiteX41252" y="connsiteY41252"/>
              </a:cxn>
              <a:cxn ang="0">
                <a:pos x="connsiteX41253" y="connsiteY41253"/>
              </a:cxn>
              <a:cxn ang="0">
                <a:pos x="connsiteX41254" y="connsiteY41254"/>
              </a:cxn>
              <a:cxn ang="0">
                <a:pos x="connsiteX41255" y="connsiteY41255"/>
              </a:cxn>
              <a:cxn ang="0">
                <a:pos x="connsiteX41256" y="connsiteY41256"/>
              </a:cxn>
              <a:cxn ang="0">
                <a:pos x="connsiteX41257" y="connsiteY41257"/>
              </a:cxn>
              <a:cxn ang="0">
                <a:pos x="connsiteX41258" y="connsiteY41258"/>
              </a:cxn>
              <a:cxn ang="0">
                <a:pos x="connsiteX41259" y="connsiteY41259"/>
              </a:cxn>
              <a:cxn ang="0">
                <a:pos x="connsiteX41260" y="connsiteY41260"/>
              </a:cxn>
              <a:cxn ang="0">
                <a:pos x="connsiteX41261" y="connsiteY41261"/>
              </a:cxn>
              <a:cxn ang="0">
                <a:pos x="connsiteX41262" y="connsiteY41262"/>
              </a:cxn>
              <a:cxn ang="0">
                <a:pos x="connsiteX41263" y="connsiteY41263"/>
              </a:cxn>
              <a:cxn ang="0">
                <a:pos x="connsiteX41264" y="connsiteY41264"/>
              </a:cxn>
              <a:cxn ang="0">
                <a:pos x="connsiteX41265" y="connsiteY41265"/>
              </a:cxn>
              <a:cxn ang="0">
                <a:pos x="connsiteX41266" y="connsiteY41266"/>
              </a:cxn>
              <a:cxn ang="0">
                <a:pos x="connsiteX41267" y="connsiteY41267"/>
              </a:cxn>
              <a:cxn ang="0">
                <a:pos x="connsiteX41268" y="connsiteY41268"/>
              </a:cxn>
              <a:cxn ang="0">
                <a:pos x="connsiteX41269" y="connsiteY41269"/>
              </a:cxn>
              <a:cxn ang="0">
                <a:pos x="connsiteX41270" y="connsiteY41270"/>
              </a:cxn>
              <a:cxn ang="0">
                <a:pos x="connsiteX41271" y="connsiteY41271"/>
              </a:cxn>
              <a:cxn ang="0">
                <a:pos x="connsiteX41272" y="connsiteY41272"/>
              </a:cxn>
              <a:cxn ang="0">
                <a:pos x="connsiteX41273" y="connsiteY41273"/>
              </a:cxn>
              <a:cxn ang="0">
                <a:pos x="connsiteX41274" y="connsiteY41274"/>
              </a:cxn>
              <a:cxn ang="0">
                <a:pos x="connsiteX41275" y="connsiteY41275"/>
              </a:cxn>
              <a:cxn ang="0">
                <a:pos x="connsiteX41276" y="connsiteY41276"/>
              </a:cxn>
              <a:cxn ang="0">
                <a:pos x="connsiteX41277" y="connsiteY41277"/>
              </a:cxn>
              <a:cxn ang="0">
                <a:pos x="connsiteX41278" y="connsiteY41278"/>
              </a:cxn>
              <a:cxn ang="0">
                <a:pos x="connsiteX41279" y="connsiteY41279"/>
              </a:cxn>
              <a:cxn ang="0">
                <a:pos x="connsiteX41280" y="connsiteY41280"/>
              </a:cxn>
              <a:cxn ang="0">
                <a:pos x="connsiteX41281" y="connsiteY41281"/>
              </a:cxn>
              <a:cxn ang="0">
                <a:pos x="connsiteX41282" y="connsiteY41282"/>
              </a:cxn>
              <a:cxn ang="0">
                <a:pos x="connsiteX41283" y="connsiteY41283"/>
              </a:cxn>
              <a:cxn ang="0">
                <a:pos x="connsiteX41284" y="connsiteY41284"/>
              </a:cxn>
              <a:cxn ang="0">
                <a:pos x="connsiteX41285" y="connsiteY41285"/>
              </a:cxn>
              <a:cxn ang="0">
                <a:pos x="connsiteX41286" y="connsiteY41286"/>
              </a:cxn>
              <a:cxn ang="0">
                <a:pos x="connsiteX41287" y="connsiteY41287"/>
              </a:cxn>
              <a:cxn ang="0">
                <a:pos x="connsiteX41288" y="connsiteY41288"/>
              </a:cxn>
              <a:cxn ang="0">
                <a:pos x="connsiteX41289" y="connsiteY41289"/>
              </a:cxn>
              <a:cxn ang="0">
                <a:pos x="connsiteX41290" y="connsiteY41290"/>
              </a:cxn>
              <a:cxn ang="0">
                <a:pos x="connsiteX41291" y="connsiteY41291"/>
              </a:cxn>
              <a:cxn ang="0">
                <a:pos x="connsiteX41292" y="connsiteY41292"/>
              </a:cxn>
              <a:cxn ang="0">
                <a:pos x="connsiteX41293" y="connsiteY41293"/>
              </a:cxn>
              <a:cxn ang="0">
                <a:pos x="connsiteX41294" y="connsiteY41294"/>
              </a:cxn>
              <a:cxn ang="0">
                <a:pos x="connsiteX41295" y="connsiteY41295"/>
              </a:cxn>
              <a:cxn ang="0">
                <a:pos x="connsiteX41296" y="connsiteY41296"/>
              </a:cxn>
              <a:cxn ang="0">
                <a:pos x="connsiteX41297" y="connsiteY41297"/>
              </a:cxn>
              <a:cxn ang="0">
                <a:pos x="connsiteX41298" y="connsiteY41298"/>
              </a:cxn>
              <a:cxn ang="0">
                <a:pos x="connsiteX41299" y="connsiteY41299"/>
              </a:cxn>
              <a:cxn ang="0">
                <a:pos x="connsiteX41300" y="connsiteY41300"/>
              </a:cxn>
              <a:cxn ang="0">
                <a:pos x="connsiteX41301" y="connsiteY41301"/>
              </a:cxn>
              <a:cxn ang="0">
                <a:pos x="connsiteX41302" y="connsiteY41302"/>
              </a:cxn>
              <a:cxn ang="0">
                <a:pos x="connsiteX41303" y="connsiteY41303"/>
              </a:cxn>
              <a:cxn ang="0">
                <a:pos x="connsiteX41304" y="connsiteY41304"/>
              </a:cxn>
              <a:cxn ang="0">
                <a:pos x="connsiteX41305" y="connsiteY41305"/>
              </a:cxn>
              <a:cxn ang="0">
                <a:pos x="connsiteX41306" y="connsiteY41306"/>
              </a:cxn>
              <a:cxn ang="0">
                <a:pos x="connsiteX41307" y="connsiteY41307"/>
              </a:cxn>
              <a:cxn ang="0">
                <a:pos x="connsiteX41308" y="connsiteY41308"/>
              </a:cxn>
              <a:cxn ang="0">
                <a:pos x="connsiteX41309" y="connsiteY41309"/>
              </a:cxn>
              <a:cxn ang="0">
                <a:pos x="connsiteX41310" y="connsiteY41310"/>
              </a:cxn>
              <a:cxn ang="0">
                <a:pos x="connsiteX41311" y="connsiteY41311"/>
              </a:cxn>
              <a:cxn ang="0">
                <a:pos x="connsiteX41312" y="connsiteY41312"/>
              </a:cxn>
              <a:cxn ang="0">
                <a:pos x="connsiteX41313" y="connsiteY41313"/>
              </a:cxn>
              <a:cxn ang="0">
                <a:pos x="connsiteX41314" y="connsiteY41314"/>
              </a:cxn>
              <a:cxn ang="0">
                <a:pos x="connsiteX41315" y="connsiteY41315"/>
              </a:cxn>
              <a:cxn ang="0">
                <a:pos x="connsiteX41316" y="connsiteY41316"/>
              </a:cxn>
              <a:cxn ang="0">
                <a:pos x="connsiteX41317" y="connsiteY41317"/>
              </a:cxn>
              <a:cxn ang="0">
                <a:pos x="connsiteX41318" y="connsiteY41318"/>
              </a:cxn>
              <a:cxn ang="0">
                <a:pos x="connsiteX41319" y="connsiteY41319"/>
              </a:cxn>
              <a:cxn ang="0">
                <a:pos x="connsiteX41320" y="connsiteY41320"/>
              </a:cxn>
              <a:cxn ang="0">
                <a:pos x="connsiteX41321" y="connsiteY41321"/>
              </a:cxn>
              <a:cxn ang="0">
                <a:pos x="connsiteX41322" y="connsiteY41322"/>
              </a:cxn>
              <a:cxn ang="0">
                <a:pos x="connsiteX41323" y="connsiteY41323"/>
              </a:cxn>
              <a:cxn ang="0">
                <a:pos x="connsiteX41324" y="connsiteY41324"/>
              </a:cxn>
              <a:cxn ang="0">
                <a:pos x="connsiteX41325" y="connsiteY41325"/>
              </a:cxn>
              <a:cxn ang="0">
                <a:pos x="connsiteX41326" y="connsiteY41326"/>
              </a:cxn>
              <a:cxn ang="0">
                <a:pos x="connsiteX41327" y="connsiteY41327"/>
              </a:cxn>
              <a:cxn ang="0">
                <a:pos x="connsiteX41328" y="connsiteY41328"/>
              </a:cxn>
              <a:cxn ang="0">
                <a:pos x="connsiteX41329" y="connsiteY41329"/>
              </a:cxn>
              <a:cxn ang="0">
                <a:pos x="connsiteX41330" y="connsiteY41330"/>
              </a:cxn>
              <a:cxn ang="0">
                <a:pos x="connsiteX41331" y="connsiteY41331"/>
              </a:cxn>
              <a:cxn ang="0">
                <a:pos x="connsiteX41332" y="connsiteY41332"/>
              </a:cxn>
              <a:cxn ang="0">
                <a:pos x="connsiteX41333" y="connsiteY41333"/>
              </a:cxn>
              <a:cxn ang="0">
                <a:pos x="connsiteX41334" y="connsiteY41334"/>
              </a:cxn>
              <a:cxn ang="0">
                <a:pos x="connsiteX41335" y="connsiteY41335"/>
              </a:cxn>
              <a:cxn ang="0">
                <a:pos x="connsiteX41336" y="connsiteY41336"/>
              </a:cxn>
              <a:cxn ang="0">
                <a:pos x="connsiteX41337" y="connsiteY41337"/>
              </a:cxn>
              <a:cxn ang="0">
                <a:pos x="connsiteX41338" y="connsiteY41338"/>
              </a:cxn>
              <a:cxn ang="0">
                <a:pos x="connsiteX41339" y="connsiteY41339"/>
              </a:cxn>
              <a:cxn ang="0">
                <a:pos x="connsiteX41340" y="connsiteY41340"/>
              </a:cxn>
              <a:cxn ang="0">
                <a:pos x="connsiteX41341" y="connsiteY41341"/>
              </a:cxn>
              <a:cxn ang="0">
                <a:pos x="connsiteX41342" y="connsiteY41342"/>
              </a:cxn>
              <a:cxn ang="0">
                <a:pos x="connsiteX41343" y="connsiteY41343"/>
              </a:cxn>
              <a:cxn ang="0">
                <a:pos x="connsiteX41344" y="connsiteY41344"/>
              </a:cxn>
              <a:cxn ang="0">
                <a:pos x="connsiteX41345" y="connsiteY41345"/>
              </a:cxn>
              <a:cxn ang="0">
                <a:pos x="connsiteX41346" y="connsiteY41346"/>
              </a:cxn>
              <a:cxn ang="0">
                <a:pos x="connsiteX41347" y="connsiteY41347"/>
              </a:cxn>
              <a:cxn ang="0">
                <a:pos x="connsiteX41348" y="connsiteY41348"/>
              </a:cxn>
              <a:cxn ang="0">
                <a:pos x="connsiteX41349" y="connsiteY41349"/>
              </a:cxn>
              <a:cxn ang="0">
                <a:pos x="connsiteX41350" y="connsiteY41350"/>
              </a:cxn>
              <a:cxn ang="0">
                <a:pos x="connsiteX41351" y="connsiteY41351"/>
              </a:cxn>
              <a:cxn ang="0">
                <a:pos x="connsiteX41352" y="connsiteY41352"/>
              </a:cxn>
              <a:cxn ang="0">
                <a:pos x="connsiteX41353" y="connsiteY41353"/>
              </a:cxn>
              <a:cxn ang="0">
                <a:pos x="connsiteX41354" y="connsiteY41354"/>
              </a:cxn>
              <a:cxn ang="0">
                <a:pos x="connsiteX41355" y="connsiteY41355"/>
              </a:cxn>
              <a:cxn ang="0">
                <a:pos x="connsiteX41356" y="connsiteY41356"/>
              </a:cxn>
              <a:cxn ang="0">
                <a:pos x="connsiteX41357" y="connsiteY41357"/>
              </a:cxn>
              <a:cxn ang="0">
                <a:pos x="connsiteX41358" y="connsiteY41358"/>
              </a:cxn>
              <a:cxn ang="0">
                <a:pos x="connsiteX41359" y="connsiteY41359"/>
              </a:cxn>
              <a:cxn ang="0">
                <a:pos x="connsiteX41360" y="connsiteY41360"/>
              </a:cxn>
              <a:cxn ang="0">
                <a:pos x="connsiteX41361" y="connsiteY41361"/>
              </a:cxn>
              <a:cxn ang="0">
                <a:pos x="connsiteX41362" y="connsiteY41362"/>
              </a:cxn>
              <a:cxn ang="0">
                <a:pos x="connsiteX41363" y="connsiteY41363"/>
              </a:cxn>
              <a:cxn ang="0">
                <a:pos x="connsiteX41364" y="connsiteY41364"/>
              </a:cxn>
              <a:cxn ang="0">
                <a:pos x="connsiteX41365" y="connsiteY41365"/>
              </a:cxn>
              <a:cxn ang="0">
                <a:pos x="connsiteX41366" y="connsiteY41366"/>
              </a:cxn>
              <a:cxn ang="0">
                <a:pos x="connsiteX41367" y="connsiteY41367"/>
              </a:cxn>
              <a:cxn ang="0">
                <a:pos x="connsiteX41368" y="connsiteY41368"/>
              </a:cxn>
              <a:cxn ang="0">
                <a:pos x="connsiteX41369" y="connsiteY41369"/>
              </a:cxn>
              <a:cxn ang="0">
                <a:pos x="connsiteX41370" y="connsiteY41370"/>
              </a:cxn>
              <a:cxn ang="0">
                <a:pos x="connsiteX41371" y="connsiteY41371"/>
              </a:cxn>
              <a:cxn ang="0">
                <a:pos x="connsiteX41372" y="connsiteY41372"/>
              </a:cxn>
              <a:cxn ang="0">
                <a:pos x="connsiteX41373" y="connsiteY41373"/>
              </a:cxn>
              <a:cxn ang="0">
                <a:pos x="connsiteX41374" y="connsiteY41374"/>
              </a:cxn>
              <a:cxn ang="0">
                <a:pos x="connsiteX41375" y="connsiteY41375"/>
              </a:cxn>
              <a:cxn ang="0">
                <a:pos x="connsiteX41376" y="connsiteY41376"/>
              </a:cxn>
              <a:cxn ang="0">
                <a:pos x="connsiteX41377" y="connsiteY41377"/>
              </a:cxn>
              <a:cxn ang="0">
                <a:pos x="connsiteX41378" y="connsiteY41378"/>
              </a:cxn>
              <a:cxn ang="0">
                <a:pos x="connsiteX41379" y="connsiteY41379"/>
              </a:cxn>
              <a:cxn ang="0">
                <a:pos x="connsiteX41380" y="connsiteY41380"/>
              </a:cxn>
              <a:cxn ang="0">
                <a:pos x="connsiteX41381" y="connsiteY41381"/>
              </a:cxn>
              <a:cxn ang="0">
                <a:pos x="connsiteX41382" y="connsiteY41382"/>
              </a:cxn>
              <a:cxn ang="0">
                <a:pos x="connsiteX41383" y="connsiteY41383"/>
              </a:cxn>
              <a:cxn ang="0">
                <a:pos x="connsiteX41384" y="connsiteY41384"/>
              </a:cxn>
              <a:cxn ang="0">
                <a:pos x="connsiteX41385" y="connsiteY41385"/>
              </a:cxn>
              <a:cxn ang="0">
                <a:pos x="connsiteX41386" y="connsiteY41386"/>
              </a:cxn>
              <a:cxn ang="0">
                <a:pos x="connsiteX41387" y="connsiteY41387"/>
              </a:cxn>
              <a:cxn ang="0">
                <a:pos x="connsiteX41388" y="connsiteY41388"/>
              </a:cxn>
              <a:cxn ang="0">
                <a:pos x="connsiteX41389" y="connsiteY41389"/>
              </a:cxn>
              <a:cxn ang="0">
                <a:pos x="connsiteX41390" y="connsiteY41390"/>
              </a:cxn>
              <a:cxn ang="0">
                <a:pos x="connsiteX41391" y="connsiteY41391"/>
              </a:cxn>
              <a:cxn ang="0">
                <a:pos x="connsiteX41392" y="connsiteY41392"/>
              </a:cxn>
              <a:cxn ang="0">
                <a:pos x="connsiteX41393" y="connsiteY41393"/>
              </a:cxn>
              <a:cxn ang="0">
                <a:pos x="connsiteX41394" y="connsiteY41394"/>
              </a:cxn>
              <a:cxn ang="0">
                <a:pos x="connsiteX41395" y="connsiteY41395"/>
              </a:cxn>
              <a:cxn ang="0">
                <a:pos x="connsiteX41396" y="connsiteY41396"/>
              </a:cxn>
              <a:cxn ang="0">
                <a:pos x="connsiteX41397" y="connsiteY41397"/>
              </a:cxn>
              <a:cxn ang="0">
                <a:pos x="connsiteX41398" y="connsiteY41398"/>
              </a:cxn>
              <a:cxn ang="0">
                <a:pos x="connsiteX41399" y="connsiteY41399"/>
              </a:cxn>
              <a:cxn ang="0">
                <a:pos x="connsiteX41400" y="connsiteY41400"/>
              </a:cxn>
              <a:cxn ang="0">
                <a:pos x="connsiteX41401" y="connsiteY41401"/>
              </a:cxn>
              <a:cxn ang="0">
                <a:pos x="connsiteX41402" y="connsiteY41402"/>
              </a:cxn>
              <a:cxn ang="0">
                <a:pos x="connsiteX41403" y="connsiteY41403"/>
              </a:cxn>
              <a:cxn ang="0">
                <a:pos x="connsiteX41404" y="connsiteY41404"/>
              </a:cxn>
              <a:cxn ang="0">
                <a:pos x="connsiteX41405" y="connsiteY41405"/>
              </a:cxn>
              <a:cxn ang="0">
                <a:pos x="connsiteX41406" y="connsiteY41406"/>
              </a:cxn>
              <a:cxn ang="0">
                <a:pos x="connsiteX41407" y="connsiteY41407"/>
              </a:cxn>
              <a:cxn ang="0">
                <a:pos x="connsiteX41408" y="connsiteY41408"/>
              </a:cxn>
              <a:cxn ang="0">
                <a:pos x="connsiteX41409" y="connsiteY41409"/>
              </a:cxn>
              <a:cxn ang="0">
                <a:pos x="connsiteX41410" y="connsiteY41410"/>
              </a:cxn>
              <a:cxn ang="0">
                <a:pos x="connsiteX41411" y="connsiteY41411"/>
              </a:cxn>
              <a:cxn ang="0">
                <a:pos x="connsiteX41412" y="connsiteY41412"/>
              </a:cxn>
              <a:cxn ang="0">
                <a:pos x="connsiteX41413" y="connsiteY41413"/>
              </a:cxn>
              <a:cxn ang="0">
                <a:pos x="connsiteX41414" y="connsiteY41414"/>
              </a:cxn>
              <a:cxn ang="0">
                <a:pos x="connsiteX41415" y="connsiteY41415"/>
              </a:cxn>
              <a:cxn ang="0">
                <a:pos x="connsiteX41416" y="connsiteY41416"/>
              </a:cxn>
              <a:cxn ang="0">
                <a:pos x="connsiteX41417" y="connsiteY41417"/>
              </a:cxn>
              <a:cxn ang="0">
                <a:pos x="connsiteX41418" y="connsiteY41418"/>
              </a:cxn>
              <a:cxn ang="0">
                <a:pos x="connsiteX41419" y="connsiteY41419"/>
              </a:cxn>
              <a:cxn ang="0">
                <a:pos x="connsiteX41420" y="connsiteY41420"/>
              </a:cxn>
              <a:cxn ang="0">
                <a:pos x="connsiteX41421" y="connsiteY41421"/>
              </a:cxn>
              <a:cxn ang="0">
                <a:pos x="connsiteX41422" y="connsiteY41422"/>
              </a:cxn>
              <a:cxn ang="0">
                <a:pos x="connsiteX41423" y="connsiteY41423"/>
              </a:cxn>
              <a:cxn ang="0">
                <a:pos x="connsiteX41424" y="connsiteY41424"/>
              </a:cxn>
              <a:cxn ang="0">
                <a:pos x="connsiteX41425" y="connsiteY41425"/>
              </a:cxn>
              <a:cxn ang="0">
                <a:pos x="connsiteX41426" y="connsiteY41426"/>
              </a:cxn>
              <a:cxn ang="0">
                <a:pos x="connsiteX41427" y="connsiteY41427"/>
              </a:cxn>
              <a:cxn ang="0">
                <a:pos x="connsiteX41428" y="connsiteY41428"/>
              </a:cxn>
              <a:cxn ang="0">
                <a:pos x="connsiteX41429" y="connsiteY41429"/>
              </a:cxn>
              <a:cxn ang="0">
                <a:pos x="connsiteX41430" y="connsiteY41430"/>
              </a:cxn>
              <a:cxn ang="0">
                <a:pos x="connsiteX41431" y="connsiteY41431"/>
              </a:cxn>
              <a:cxn ang="0">
                <a:pos x="connsiteX41432" y="connsiteY41432"/>
              </a:cxn>
              <a:cxn ang="0">
                <a:pos x="connsiteX41433" y="connsiteY41433"/>
              </a:cxn>
              <a:cxn ang="0">
                <a:pos x="connsiteX41434" y="connsiteY41434"/>
              </a:cxn>
              <a:cxn ang="0">
                <a:pos x="connsiteX41435" y="connsiteY41435"/>
              </a:cxn>
              <a:cxn ang="0">
                <a:pos x="connsiteX41436" y="connsiteY41436"/>
              </a:cxn>
              <a:cxn ang="0">
                <a:pos x="connsiteX41437" y="connsiteY41437"/>
              </a:cxn>
              <a:cxn ang="0">
                <a:pos x="connsiteX41438" y="connsiteY41438"/>
              </a:cxn>
              <a:cxn ang="0">
                <a:pos x="connsiteX41439" y="connsiteY41439"/>
              </a:cxn>
              <a:cxn ang="0">
                <a:pos x="connsiteX41440" y="connsiteY41440"/>
              </a:cxn>
              <a:cxn ang="0">
                <a:pos x="connsiteX41441" y="connsiteY41441"/>
              </a:cxn>
              <a:cxn ang="0">
                <a:pos x="connsiteX41442" y="connsiteY41442"/>
              </a:cxn>
              <a:cxn ang="0">
                <a:pos x="connsiteX41443" y="connsiteY41443"/>
              </a:cxn>
              <a:cxn ang="0">
                <a:pos x="connsiteX41444" y="connsiteY41444"/>
              </a:cxn>
              <a:cxn ang="0">
                <a:pos x="connsiteX41445" y="connsiteY41445"/>
              </a:cxn>
              <a:cxn ang="0">
                <a:pos x="connsiteX41446" y="connsiteY41446"/>
              </a:cxn>
              <a:cxn ang="0">
                <a:pos x="connsiteX41447" y="connsiteY41447"/>
              </a:cxn>
              <a:cxn ang="0">
                <a:pos x="connsiteX41448" y="connsiteY41448"/>
              </a:cxn>
              <a:cxn ang="0">
                <a:pos x="connsiteX41449" y="connsiteY41449"/>
              </a:cxn>
              <a:cxn ang="0">
                <a:pos x="connsiteX41450" y="connsiteY41450"/>
              </a:cxn>
              <a:cxn ang="0">
                <a:pos x="connsiteX41451" y="connsiteY41451"/>
              </a:cxn>
              <a:cxn ang="0">
                <a:pos x="connsiteX41452" y="connsiteY41452"/>
              </a:cxn>
              <a:cxn ang="0">
                <a:pos x="connsiteX41453" y="connsiteY41453"/>
              </a:cxn>
              <a:cxn ang="0">
                <a:pos x="connsiteX41454" y="connsiteY41454"/>
              </a:cxn>
              <a:cxn ang="0">
                <a:pos x="connsiteX41455" y="connsiteY41455"/>
              </a:cxn>
              <a:cxn ang="0">
                <a:pos x="connsiteX41456" y="connsiteY41456"/>
              </a:cxn>
              <a:cxn ang="0">
                <a:pos x="connsiteX41457" y="connsiteY41457"/>
              </a:cxn>
              <a:cxn ang="0">
                <a:pos x="connsiteX41458" y="connsiteY41458"/>
              </a:cxn>
              <a:cxn ang="0">
                <a:pos x="connsiteX41459" y="connsiteY41459"/>
              </a:cxn>
              <a:cxn ang="0">
                <a:pos x="connsiteX41460" y="connsiteY41460"/>
              </a:cxn>
              <a:cxn ang="0">
                <a:pos x="connsiteX41461" y="connsiteY41461"/>
              </a:cxn>
              <a:cxn ang="0">
                <a:pos x="connsiteX41462" y="connsiteY41462"/>
              </a:cxn>
              <a:cxn ang="0">
                <a:pos x="connsiteX41463" y="connsiteY41463"/>
              </a:cxn>
              <a:cxn ang="0">
                <a:pos x="connsiteX41464" y="connsiteY41464"/>
              </a:cxn>
              <a:cxn ang="0">
                <a:pos x="connsiteX41465" y="connsiteY41465"/>
              </a:cxn>
              <a:cxn ang="0">
                <a:pos x="connsiteX41466" y="connsiteY41466"/>
              </a:cxn>
              <a:cxn ang="0">
                <a:pos x="connsiteX41467" y="connsiteY41467"/>
              </a:cxn>
              <a:cxn ang="0">
                <a:pos x="connsiteX41468" y="connsiteY41468"/>
              </a:cxn>
              <a:cxn ang="0">
                <a:pos x="connsiteX41469" y="connsiteY41469"/>
              </a:cxn>
              <a:cxn ang="0">
                <a:pos x="connsiteX41470" y="connsiteY41470"/>
              </a:cxn>
              <a:cxn ang="0">
                <a:pos x="connsiteX41471" y="connsiteY41471"/>
              </a:cxn>
              <a:cxn ang="0">
                <a:pos x="connsiteX41472" y="connsiteY41472"/>
              </a:cxn>
              <a:cxn ang="0">
                <a:pos x="connsiteX41473" y="connsiteY41473"/>
              </a:cxn>
              <a:cxn ang="0">
                <a:pos x="connsiteX41474" y="connsiteY41474"/>
              </a:cxn>
              <a:cxn ang="0">
                <a:pos x="connsiteX41475" y="connsiteY41475"/>
              </a:cxn>
              <a:cxn ang="0">
                <a:pos x="connsiteX41476" y="connsiteY41476"/>
              </a:cxn>
              <a:cxn ang="0">
                <a:pos x="connsiteX41477" y="connsiteY41477"/>
              </a:cxn>
              <a:cxn ang="0">
                <a:pos x="connsiteX41478" y="connsiteY41478"/>
              </a:cxn>
              <a:cxn ang="0">
                <a:pos x="connsiteX41479" y="connsiteY41479"/>
              </a:cxn>
              <a:cxn ang="0">
                <a:pos x="connsiteX41480" y="connsiteY41480"/>
              </a:cxn>
              <a:cxn ang="0">
                <a:pos x="connsiteX41481" y="connsiteY41481"/>
              </a:cxn>
              <a:cxn ang="0">
                <a:pos x="connsiteX41482" y="connsiteY41482"/>
              </a:cxn>
              <a:cxn ang="0">
                <a:pos x="connsiteX41483" y="connsiteY41483"/>
              </a:cxn>
              <a:cxn ang="0">
                <a:pos x="connsiteX41484" y="connsiteY41484"/>
              </a:cxn>
              <a:cxn ang="0">
                <a:pos x="connsiteX41485" y="connsiteY41485"/>
              </a:cxn>
              <a:cxn ang="0">
                <a:pos x="connsiteX41486" y="connsiteY41486"/>
              </a:cxn>
              <a:cxn ang="0">
                <a:pos x="connsiteX41487" y="connsiteY41487"/>
              </a:cxn>
              <a:cxn ang="0">
                <a:pos x="connsiteX41488" y="connsiteY41488"/>
              </a:cxn>
              <a:cxn ang="0">
                <a:pos x="connsiteX41489" y="connsiteY41489"/>
              </a:cxn>
              <a:cxn ang="0">
                <a:pos x="connsiteX41490" y="connsiteY41490"/>
              </a:cxn>
              <a:cxn ang="0">
                <a:pos x="connsiteX41491" y="connsiteY41491"/>
              </a:cxn>
              <a:cxn ang="0">
                <a:pos x="connsiteX41492" y="connsiteY41492"/>
              </a:cxn>
              <a:cxn ang="0">
                <a:pos x="connsiteX41493" y="connsiteY41493"/>
              </a:cxn>
              <a:cxn ang="0">
                <a:pos x="connsiteX41494" y="connsiteY41494"/>
              </a:cxn>
              <a:cxn ang="0">
                <a:pos x="connsiteX41495" y="connsiteY41495"/>
              </a:cxn>
              <a:cxn ang="0">
                <a:pos x="connsiteX41496" y="connsiteY41496"/>
              </a:cxn>
              <a:cxn ang="0">
                <a:pos x="connsiteX41497" y="connsiteY41497"/>
              </a:cxn>
              <a:cxn ang="0">
                <a:pos x="connsiteX41498" y="connsiteY41498"/>
              </a:cxn>
              <a:cxn ang="0">
                <a:pos x="connsiteX41499" y="connsiteY41499"/>
              </a:cxn>
              <a:cxn ang="0">
                <a:pos x="connsiteX41500" y="connsiteY41500"/>
              </a:cxn>
              <a:cxn ang="0">
                <a:pos x="connsiteX41501" y="connsiteY41501"/>
              </a:cxn>
              <a:cxn ang="0">
                <a:pos x="connsiteX41502" y="connsiteY41502"/>
              </a:cxn>
              <a:cxn ang="0">
                <a:pos x="connsiteX41503" y="connsiteY41503"/>
              </a:cxn>
              <a:cxn ang="0">
                <a:pos x="connsiteX41504" y="connsiteY41504"/>
              </a:cxn>
              <a:cxn ang="0">
                <a:pos x="connsiteX41505" y="connsiteY41505"/>
              </a:cxn>
              <a:cxn ang="0">
                <a:pos x="connsiteX41506" y="connsiteY41506"/>
              </a:cxn>
              <a:cxn ang="0">
                <a:pos x="connsiteX41507" y="connsiteY41507"/>
              </a:cxn>
              <a:cxn ang="0">
                <a:pos x="connsiteX41508" y="connsiteY41508"/>
              </a:cxn>
              <a:cxn ang="0">
                <a:pos x="connsiteX41509" y="connsiteY41509"/>
              </a:cxn>
              <a:cxn ang="0">
                <a:pos x="connsiteX41510" y="connsiteY41510"/>
              </a:cxn>
              <a:cxn ang="0">
                <a:pos x="connsiteX41511" y="connsiteY41511"/>
              </a:cxn>
              <a:cxn ang="0">
                <a:pos x="connsiteX41512" y="connsiteY41512"/>
              </a:cxn>
              <a:cxn ang="0">
                <a:pos x="connsiteX41513" y="connsiteY41513"/>
              </a:cxn>
              <a:cxn ang="0">
                <a:pos x="connsiteX41514" y="connsiteY41514"/>
              </a:cxn>
              <a:cxn ang="0">
                <a:pos x="connsiteX41515" y="connsiteY41515"/>
              </a:cxn>
              <a:cxn ang="0">
                <a:pos x="connsiteX41516" y="connsiteY41516"/>
              </a:cxn>
              <a:cxn ang="0">
                <a:pos x="connsiteX41517" y="connsiteY41517"/>
              </a:cxn>
              <a:cxn ang="0">
                <a:pos x="connsiteX41518" y="connsiteY41518"/>
              </a:cxn>
              <a:cxn ang="0">
                <a:pos x="connsiteX41519" y="connsiteY41519"/>
              </a:cxn>
              <a:cxn ang="0">
                <a:pos x="connsiteX41520" y="connsiteY41520"/>
              </a:cxn>
              <a:cxn ang="0">
                <a:pos x="connsiteX41521" y="connsiteY41521"/>
              </a:cxn>
              <a:cxn ang="0">
                <a:pos x="connsiteX41522" y="connsiteY41522"/>
              </a:cxn>
              <a:cxn ang="0">
                <a:pos x="connsiteX41523" y="connsiteY41523"/>
              </a:cxn>
              <a:cxn ang="0">
                <a:pos x="connsiteX41524" y="connsiteY41524"/>
              </a:cxn>
              <a:cxn ang="0">
                <a:pos x="connsiteX41525" y="connsiteY41525"/>
              </a:cxn>
              <a:cxn ang="0">
                <a:pos x="connsiteX41526" y="connsiteY41526"/>
              </a:cxn>
              <a:cxn ang="0">
                <a:pos x="connsiteX41527" y="connsiteY41527"/>
              </a:cxn>
              <a:cxn ang="0">
                <a:pos x="connsiteX41528" y="connsiteY41528"/>
              </a:cxn>
              <a:cxn ang="0">
                <a:pos x="connsiteX41529" y="connsiteY41529"/>
              </a:cxn>
              <a:cxn ang="0">
                <a:pos x="connsiteX41530" y="connsiteY41530"/>
              </a:cxn>
              <a:cxn ang="0">
                <a:pos x="connsiteX41531" y="connsiteY41531"/>
              </a:cxn>
              <a:cxn ang="0">
                <a:pos x="connsiteX41532" y="connsiteY41532"/>
              </a:cxn>
              <a:cxn ang="0">
                <a:pos x="connsiteX41533" y="connsiteY41533"/>
              </a:cxn>
              <a:cxn ang="0">
                <a:pos x="connsiteX41534" y="connsiteY41534"/>
              </a:cxn>
              <a:cxn ang="0">
                <a:pos x="connsiteX41535" y="connsiteY41535"/>
              </a:cxn>
              <a:cxn ang="0">
                <a:pos x="connsiteX41536" y="connsiteY41536"/>
              </a:cxn>
              <a:cxn ang="0">
                <a:pos x="connsiteX41537" y="connsiteY41537"/>
              </a:cxn>
              <a:cxn ang="0">
                <a:pos x="connsiteX41538" y="connsiteY41538"/>
              </a:cxn>
              <a:cxn ang="0">
                <a:pos x="connsiteX41539" y="connsiteY41539"/>
              </a:cxn>
              <a:cxn ang="0">
                <a:pos x="connsiteX41540" y="connsiteY41540"/>
              </a:cxn>
              <a:cxn ang="0">
                <a:pos x="connsiteX41541" y="connsiteY41541"/>
              </a:cxn>
              <a:cxn ang="0">
                <a:pos x="connsiteX41542" y="connsiteY41542"/>
              </a:cxn>
              <a:cxn ang="0">
                <a:pos x="connsiteX41543" y="connsiteY41543"/>
              </a:cxn>
              <a:cxn ang="0">
                <a:pos x="connsiteX41544" y="connsiteY41544"/>
              </a:cxn>
              <a:cxn ang="0">
                <a:pos x="connsiteX41545" y="connsiteY41545"/>
              </a:cxn>
              <a:cxn ang="0">
                <a:pos x="connsiteX41546" y="connsiteY41546"/>
              </a:cxn>
              <a:cxn ang="0">
                <a:pos x="connsiteX41547" y="connsiteY41547"/>
              </a:cxn>
              <a:cxn ang="0">
                <a:pos x="connsiteX41548" y="connsiteY41548"/>
              </a:cxn>
              <a:cxn ang="0">
                <a:pos x="connsiteX41549" y="connsiteY41549"/>
              </a:cxn>
              <a:cxn ang="0">
                <a:pos x="connsiteX41550" y="connsiteY41550"/>
              </a:cxn>
              <a:cxn ang="0">
                <a:pos x="connsiteX41551" y="connsiteY41551"/>
              </a:cxn>
              <a:cxn ang="0">
                <a:pos x="connsiteX41552" y="connsiteY41552"/>
              </a:cxn>
              <a:cxn ang="0">
                <a:pos x="connsiteX41553" y="connsiteY41553"/>
              </a:cxn>
              <a:cxn ang="0">
                <a:pos x="connsiteX41554" y="connsiteY41554"/>
              </a:cxn>
              <a:cxn ang="0">
                <a:pos x="connsiteX41555" y="connsiteY41555"/>
              </a:cxn>
              <a:cxn ang="0">
                <a:pos x="connsiteX41556" y="connsiteY41556"/>
              </a:cxn>
              <a:cxn ang="0">
                <a:pos x="connsiteX41557" y="connsiteY41557"/>
              </a:cxn>
              <a:cxn ang="0">
                <a:pos x="connsiteX41558" y="connsiteY41558"/>
              </a:cxn>
              <a:cxn ang="0">
                <a:pos x="connsiteX41559" y="connsiteY41559"/>
              </a:cxn>
              <a:cxn ang="0">
                <a:pos x="connsiteX41560" y="connsiteY41560"/>
              </a:cxn>
              <a:cxn ang="0">
                <a:pos x="connsiteX41561" y="connsiteY41561"/>
              </a:cxn>
              <a:cxn ang="0">
                <a:pos x="connsiteX41562" y="connsiteY41562"/>
              </a:cxn>
              <a:cxn ang="0">
                <a:pos x="connsiteX41563" y="connsiteY41563"/>
              </a:cxn>
              <a:cxn ang="0">
                <a:pos x="connsiteX41564" y="connsiteY41564"/>
              </a:cxn>
              <a:cxn ang="0">
                <a:pos x="connsiteX41565" y="connsiteY41565"/>
              </a:cxn>
              <a:cxn ang="0">
                <a:pos x="connsiteX41566" y="connsiteY41566"/>
              </a:cxn>
              <a:cxn ang="0">
                <a:pos x="connsiteX41567" y="connsiteY41567"/>
              </a:cxn>
              <a:cxn ang="0">
                <a:pos x="connsiteX41568" y="connsiteY41568"/>
              </a:cxn>
              <a:cxn ang="0">
                <a:pos x="connsiteX41569" y="connsiteY41569"/>
              </a:cxn>
              <a:cxn ang="0">
                <a:pos x="connsiteX41570" y="connsiteY41570"/>
              </a:cxn>
              <a:cxn ang="0">
                <a:pos x="connsiteX41571" y="connsiteY41571"/>
              </a:cxn>
              <a:cxn ang="0">
                <a:pos x="connsiteX41572" y="connsiteY41572"/>
              </a:cxn>
              <a:cxn ang="0">
                <a:pos x="connsiteX41573" y="connsiteY41573"/>
              </a:cxn>
              <a:cxn ang="0">
                <a:pos x="connsiteX41574" y="connsiteY41574"/>
              </a:cxn>
              <a:cxn ang="0">
                <a:pos x="connsiteX41575" y="connsiteY41575"/>
              </a:cxn>
              <a:cxn ang="0">
                <a:pos x="connsiteX41576" y="connsiteY41576"/>
              </a:cxn>
              <a:cxn ang="0">
                <a:pos x="connsiteX41577" y="connsiteY41577"/>
              </a:cxn>
              <a:cxn ang="0">
                <a:pos x="connsiteX41578" y="connsiteY41578"/>
              </a:cxn>
              <a:cxn ang="0">
                <a:pos x="connsiteX41579" y="connsiteY41579"/>
              </a:cxn>
              <a:cxn ang="0">
                <a:pos x="connsiteX41580" y="connsiteY41580"/>
              </a:cxn>
              <a:cxn ang="0">
                <a:pos x="connsiteX41581" y="connsiteY41581"/>
              </a:cxn>
              <a:cxn ang="0">
                <a:pos x="connsiteX41582" y="connsiteY41582"/>
              </a:cxn>
              <a:cxn ang="0">
                <a:pos x="connsiteX41583" y="connsiteY41583"/>
              </a:cxn>
              <a:cxn ang="0">
                <a:pos x="connsiteX41584" y="connsiteY41584"/>
              </a:cxn>
              <a:cxn ang="0">
                <a:pos x="connsiteX41585" y="connsiteY41585"/>
              </a:cxn>
              <a:cxn ang="0">
                <a:pos x="connsiteX41586" y="connsiteY41586"/>
              </a:cxn>
              <a:cxn ang="0">
                <a:pos x="connsiteX41587" y="connsiteY41587"/>
              </a:cxn>
              <a:cxn ang="0">
                <a:pos x="connsiteX41588" y="connsiteY41588"/>
              </a:cxn>
              <a:cxn ang="0">
                <a:pos x="connsiteX41589" y="connsiteY41589"/>
              </a:cxn>
              <a:cxn ang="0">
                <a:pos x="connsiteX41590" y="connsiteY41590"/>
              </a:cxn>
              <a:cxn ang="0">
                <a:pos x="connsiteX41591" y="connsiteY41591"/>
              </a:cxn>
              <a:cxn ang="0">
                <a:pos x="connsiteX41592" y="connsiteY41592"/>
              </a:cxn>
              <a:cxn ang="0">
                <a:pos x="connsiteX41593" y="connsiteY41593"/>
              </a:cxn>
              <a:cxn ang="0">
                <a:pos x="connsiteX41594" y="connsiteY41594"/>
              </a:cxn>
              <a:cxn ang="0">
                <a:pos x="connsiteX41595" y="connsiteY41595"/>
              </a:cxn>
              <a:cxn ang="0">
                <a:pos x="connsiteX41596" y="connsiteY41596"/>
              </a:cxn>
              <a:cxn ang="0">
                <a:pos x="connsiteX41597" y="connsiteY41597"/>
              </a:cxn>
              <a:cxn ang="0">
                <a:pos x="connsiteX41598" y="connsiteY41598"/>
              </a:cxn>
              <a:cxn ang="0">
                <a:pos x="connsiteX41599" y="connsiteY41599"/>
              </a:cxn>
              <a:cxn ang="0">
                <a:pos x="connsiteX41600" y="connsiteY41600"/>
              </a:cxn>
              <a:cxn ang="0">
                <a:pos x="connsiteX41601" y="connsiteY41601"/>
              </a:cxn>
              <a:cxn ang="0">
                <a:pos x="connsiteX41602" y="connsiteY41602"/>
              </a:cxn>
              <a:cxn ang="0">
                <a:pos x="connsiteX41603" y="connsiteY41603"/>
              </a:cxn>
              <a:cxn ang="0">
                <a:pos x="connsiteX41604" y="connsiteY41604"/>
              </a:cxn>
              <a:cxn ang="0">
                <a:pos x="connsiteX41605" y="connsiteY41605"/>
              </a:cxn>
              <a:cxn ang="0">
                <a:pos x="connsiteX41606" y="connsiteY41606"/>
              </a:cxn>
              <a:cxn ang="0">
                <a:pos x="connsiteX41607" y="connsiteY41607"/>
              </a:cxn>
              <a:cxn ang="0">
                <a:pos x="connsiteX41608" y="connsiteY41608"/>
              </a:cxn>
              <a:cxn ang="0">
                <a:pos x="connsiteX41609" y="connsiteY41609"/>
              </a:cxn>
              <a:cxn ang="0">
                <a:pos x="connsiteX41610" y="connsiteY41610"/>
              </a:cxn>
              <a:cxn ang="0">
                <a:pos x="connsiteX41611" y="connsiteY41611"/>
              </a:cxn>
              <a:cxn ang="0">
                <a:pos x="connsiteX41612" y="connsiteY41612"/>
              </a:cxn>
              <a:cxn ang="0">
                <a:pos x="connsiteX41613" y="connsiteY41613"/>
              </a:cxn>
              <a:cxn ang="0">
                <a:pos x="connsiteX41614" y="connsiteY41614"/>
              </a:cxn>
              <a:cxn ang="0">
                <a:pos x="connsiteX41615" y="connsiteY41615"/>
              </a:cxn>
              <a:cxn ang="0">
                <a:pos x="connsiteX41616" y="connsiteY41616"/>
              </a:cxn>
              <a:cxn ang="0">
                <a:pos x="connsiteX41617" y="connsiteY41617"/>
              </a:cxn>
              <a:cxn ang="0">
                <a:pos x="connsiteX41618" y="connsiteY41618"/>
              </a:cxn>
              <a:cxn ang="0">
                <a:pos x="connsiteX41619" y="connsiteY41619"/>
              </a:cxn>
              <a:cxn ang="0">
                <a:pos x="connsiteX41620" y="connsiteY41620"/>
              </a:cxn>
              <a:cxn ang="0">
                <a:pos x="connsiteX41621" y="connsiteY41621"/>
              </a:cxn>
              <a:cxn ang="0">
                <a:pos x="connsiteX41622" y="connsiteY41622"/>
              </a:cxn>
              <a:cxn ang="0">
                <a:pos x="connsiteX41623" y="connsiteY41623"/>
              </a:cxn>
              <a:cxn ang="0">
                <a:pos x="connsiteX41624" y="connsiteY41624"/>
              </a:cxn>
              <a:cxn ang="0">
                <a:pos x="connsiteX41625" y="connsiteY41625"/>
              </a:cxn>
              <a:cxn ang="0">
                <a:pos x="connsiteX41626" y="connsiteY41626"/>
              </a:cxn>
              <a:cxn ang="0">
                <a:pos x="connsiteX41627" y="connsiteY41627"/>
              </a:cxn>
              <a:cxn ang="0">
                <a:pos x="connsiteX41628" y="connsiteY41628"/>
              </a:cxn>
              <a:cxn ang="0">
                <a:pos x="connsiteX41629" y="connsiteY41629"/>
              </a:cxn>
              <a:cxn ang="0">
                <a:pos x="connsiteX41630" y="connsiteY41630"/>
              </a:cxn>
              <a:cxn ang="0">
                <a:pos x="connsiteX41631" y="connsiteY41631"/>
              </a:cxn>
              <a:cxn ang="0">
                <a:pos x="connsiteX41632" y="connsiteY41632"/>
              </a:cxn>
              <a:cxn ang="0">
                <a:pos x="connsiteX41633" y="connsiteY41633"/>
              </a:cxn>
              <a:cxn ang="0">
                <a:pos x="connsiteX41634" y="connsiteY41634"/>
              </a:cxn>
              <a:cxn ang="0">
                <a:pos x="connsiteX41635" y="connsiteY41635"/>
              </a:cxn>
              <a:cxn ang="0">
                <a:pos x="connsiteX41636" y="connsiteY41636"/>
              </a:cxn>
              <a:cxn ang="0">
                <a:pos x="connsiteX41637" y="connsiteY41637"/>
              </a:cxn>
              <a:cxn ang="0">
                <a:pos x="connsiteX41638" y="connsiteY41638"/>
              </a:cxn>
              <a:cxn ang="0">
                <a:pos x="connsiteX41639" y="connsiteY41639"/>
              </a:cxn>
              <a:cxn ang="0">
                <a:pos x="connsiteX41640" y="connsiteY41640"/>
              </a:cxn>
              <a:cxn ang="0">
                <a:pos x="connsiteX41641" y="connsiteY41641"/>
              </a:cxn>
              <a:cxn ang="0">
                <a:pos x="connsiteX41642" y="connsiteY41642"/>
              </a:cxn>
              <a:cxn ang="0">
                <a:pos x="connsiteX41643" y="connsiteY41643"/>
              </a:cxn>
              <a:cxn ang="0">
                <a:pos x="connsiteX41644" y="connsiteY41644"/>
              </a:cxn>
              <a:cxn ang="0">
                <a:pos x="connsiteX41645" y="connsiteY41645"/>
              </a:cxn>
              <a:cxn ang="0">
                <a:pos x="connsiteX41646" y="connsiteY41646"/>
              </a:cxn>
              <a:cxn ang="0">
                <a:pos x="connsiteX41647" y="connsiteY41647"/>
              </a:cxn>
              <a:cxn ang="0">
                <a:pos x="connsiteX41648" y="connsiteY41648"/>
              </a:cxn>
              <a:cxn ang="0">
                <a:pos x="connsiteX41649" y="connsiteY41649"/>
              </a:cxn>
              <a:cxn ang="0">
                <a:pos x="connsiteX41650" y="connsiteY41650"/>
              </a:cxn>
              <a:cxn ang="0">
                <a:pos x="connsiteX41651" y="connsiteY41651"/>
              </a:cxn>
              <a:cxn ang="0">
                <a:pos x="connsiteX41652" y="connsiteY41652"/>
              </a:cxn>
              <a:cxn ang="0">
                <a:pos x="connsiteX41653" y="connsiteY41653"/>
              </a:cxn>
              <a:cxn ang="0">
                <a:pos x="connsiteX41654" y="connsiteY41654"/>
              </a:cxn>
              <a:cxn ang="0">
                <a:pos x="connsiteX41655" y="connsiteY41655"/>
              </a:cxn>
              <a:cxn ang="0">
                <a:pos x="connsiteX41656" y="connsiteY41656"/>
              </a:cxn>
              <a:cxn ang="0">
                <a:pos x="connsiteX41657" y="connsiteY41657"/>
              </a:cxn>
              <a:cxn ang="0">
                <a:pos x="connsiteX41658" y="connsiteY41658"/>
              </a:cxn>
              <a:cxn ang="0">
                <a:pos x="connsiteX41659" y="connsiteY41659"/>
              </a:cxn>
              <a:cxn ang="0">
                <a:pos x="connsiteX41660" y="connsiteY41660"/>
              </a:cxn>
              <a:cxn ang="0">
                <a:pos x="connsiteX41661" y="connsiteY41661"/>
              </a:cxn>
              <a:cxn ang="0">
                <a:pos x="connsiteX41662" y="connsiteY41662"/>
              </a:cxn>
              <a:cxn ang="0">
                <a:pos x="connsiteX41663" y="connsiteY41663"/>
              </a:cxn>
              <a:cxn ang="0">
                <a:pos x="connsiteX41664" y="connsiteY41664"/>
              </a:cxn>
              <a:cxn ang="0">
                <a:pos x="connsiteX41665" y="connsiteY41665"/>
              </a:cxn>
              <a:cxn ang="0">
                <a:pos x="connsiteX41666" y="connsiteY41666"/>
              </a:cxn>
              <a:cxn ang="0">
                <a:pos x="connsiteX41667" y="connsiteY41667"/>
              </a:cxn>
              <a:cxn ang="0">
                <a:pos x="connsiteX41668" y="connsiteY41668"/>
              </a:cxn>
              <a:cxn ang="0">
                <a:pos x="connsiteX41669" y="connsiteY41669"/>
              </a:cxn>
              <a:cxn ang="0">
                <a:pos x="connsiteX41670" y="connsiteY41670"/>
              </a:cxn>
              <a:cxn ang="0">
                <a:pos x="connsiteX41671" y="connsiteY41671"/>
              </a:cxn>
              <a:cxn ang="0">
                <a:pos x="connsiteX41672" y="connsiteY41672"/>
              </a:cxn>
              <a:cxn ang="0">
                <a:pos x="connsiteX41673" y="connsiteY41673"/>
              </a:cxn>
              <a:cxn ang="0">
                <a:pos x="connsiteX41674" y="connsiteY41674"/>
              </a:cxn>
              <a:cxn ang="0">
                <a:pos x="connsiteX41675" y="connsiteY41675"/>
              </a:cxn>
              <a:cxn ang="0">
                <a:pos x="connsiteX41676" y="connsiteY41676"/>
              </a:cxn>
              <a:cxn ang="0">
                <a:pos x="connsiteX41677" y="connsiteY41677"/>
              </a:cxn>
              <a:cxn ang="0">
                <a:pos x="connsiteX41678" y="connsiteY41678"/>
              </a:cxn>
              <a:cxn ang="0">
                <a:pos x="connsiteX41679" y="connsiteY41679"/>
              </a:cxn>
              <a:cxn ang="0">
                <a:pos x="connsiteX41680" y="connsiteY41680"/>
              </a:cxn>
              <a:cxn ang="0">
                <a:pos x="connsiteX41681" y="connsiteY41681"/>
              </a:cxn>
              <a:cxn ang="0">
                <a:pos x="connsiteX41682" y="connsiteY41682"/>
              </a:cxn>
              <a:cxn ang="0">
                <a:pos x="connsiteX41683" y="connsiteY41683"/>
              </a:cxn>
              <a:cxn ang="0">
                <a:pos x="connsiteX41684" y="connsiteY41684"/>
              </a:cxn>
              <a:cxn ang="0">
                <a:pos x="connsiteX41685" y="connsiteY41685"/>
              </a:cxn>
              <a:cxn ang="0">
                <a:pos x="connsiteX41686" y="connsiteY41686"/>
              </a:cxn>
              <a:cxn ang="0">
                <a:pos x="connsiteX41687" y="connsiteY41687"/>
              </a:cxn>
              <a:cxn ang="0">
                <a:pos x="connsiteX41688" y="connsiteY41688"/>
              </a:cxn>
              <a:cxn ang="0">
                <a:pos x="connsiteX41689" y="connsiteY41689"/>
              </a:cxn>
              <a:cxn ang="0">
                <a:pos x="connsiteX41690" y="connsiteY41690"/>
              </a:cxn>
              <a:cxn ang="0">
                <a:pos x="connsiteX41691" y="connsiteY41691"/>
              </a:cxn>
              <a:cxn ang="0">
                <a:pos x="connsiteX41692" y="connsiteY41692"/>
              </a:cxn>
              <a:cxn ang="0">
                <a:pos x="connsiteX41693" y="connsiteY41693"/>
              </a:cxn>
              <a:cxn ang="0">
                <a:pos x="connsiteX41694" y="connsiteY41694"/>
              </a:cxn>
              <a:cxn ang="0">
                <a:pos x="connsiteX41695" y="connsiteY41695"/>
              </a:cxn>
              <a:cxn ang="0">
                <a:pos x="connsiteX41696" y="connsiteY41696"/>
              </a:cxn>
              <a:cxn ang="0">
                <a:pos x="connsiteX41697" y="connsiteY41697"/>
              </a:cxn>
              <a:cxn ang="0">
                <a:pos x="connsiteX41698" y="connsiteY41698"/>
              </a:cxn>
              <a:cxn ang="0">
                <a:pos x="connsiteX41699" y="connsiteY41699"/>
              </a:cxn>
              <a:cxn ang="0">
                <a:pos x="connsiteX41700" y="connsiteY41700"/>
              </a:cxn>
              <a:cxn ang="0">
                <a:pos x="connsiteX41701" y="connsiteY41701"/>
              </a:cxn>
              <a:cxn ang="0">
                <a:pos x="connsiteX41702" y="connsiteY41702"/>
              </a:cxn>
              <a:cxn ang="0">
                <a:pos x="connsiteX41703" y="connsiteY41703"/>
              </a:cxn>
              <a:cxn ang="0">
                <a:pos x="connsiteX41704" y="connsiteY41704"/>
              </a:cxn>
              <a:cxn ang="0">
                <a:pos x="connsiteX41705" y="connsiteY41705"/>
              </a:cxn>
              <a:cxn ang="0">
                <a:pos x="connsiteX41706" y="connsiteY41706"/>
              </a:cxn>
              <a:cxn ang="0">
                <a:pos x="connsiteX41707" y="connsiteY41707"/>
              </a:cxn>
              <a:cxn ang="0">
                <a:pos x="connsiteX41708" y="connsiteY41708"/>
              </a:cxn>
              <a:cxn ang="0">
                <a:pos x="connsiteX41709" y="connsiteY41709"/>
              </a:cxn>
              <a:cxn ang="0">
                <a:pos x="connsiteX41710" y="connsiteY41710"/>
              </a:cxn>
              <a:cxn ang="0">
                <a:pos x="connsiteX41711" y="connsiteY41711"/>
              </a:cxn>
              <a:cxn ang="0">
                <a:pos x="connsiteX41712" y="connsiteY41712"/>
              </a:cxn>
              <a:cxn ang="0">
                <a:pos x="connsiteX41713" y="connsiteY41713"/>
              </a:cxn>
              <a:cxn ang="0">
                <a:pos x="connsiteX41714" y="connsiteY41714"/>
              </a:cxn>
              <a:cxn ang="0">
                <a:pos x="connsiteX41715" y="connsiteY41715"/>
              </a:cxn>
              <a:cxn ang="0">
                <a:pos x="connsiteX41716" y="connsiteY41716"/>
              </a:cxn>
              <a:cxn ang="0">
                <a:pos x="connsiteX41717" y="connsiteY41717"/>
              </a:cxn>
              <a:cxn ang="0">
                <a:pos x="connsiteX41718" y="connsiteY41718"/>
              </a:cxn>
              <a:cxn ang="0">
                <a:pos x="connsiteX41719" y="connsiteY41719"/>
              </a:cxn>
              <a:cxn ang="0">
                <a:pos x="connsiteX41720" y="connsiteY41720"/>
              </a:cxn>
              <a:cxn ang="0">
                <a:pos x="connsiteX41721" y="connsiteY41721"/>
              </a:cxn>
              <a:cxn ang="0">
                <a:pos x="connsiteX41722" y="connsiteY41722"/>
              </a:cxn>
              <a:cxn ang="0">
                <a:pos x="connsiteX41723" y="connsiteY41723"/>
              </a:cxn>
              <a:cxn ang="0">
                <a:pos x="connsiteX41724" y="connsiteY41724"/>
              </a:cxn>
              <a:cxn ang="0">
                <a:pos x="connsiteX41725" y="connsiteY41725"/>
              </a:cxn>
              <a:cxn ang="0">
                <a:pos x="connsiteX41726" y="connsiteY41726"/>
              </a:cxn>
              <a:cxn ang="0">
                <a:pos x="connsiteX41727" y="connsiteY41727"/>
              </a:cxn>
              <a:cxn ang="0">
                <a:pos x="connsiteX41728" y="connsiteY41728"/>
              </a:cxn>
              <a:cxn ang="0">
                <a:pos x="connsiteX41729" y="connsiteY41729"/>
              </a:cxn>
              <a:cxn ang="0">
                <a:pos x="connsiteX41730" y="connsiteY41730"/>
              </a:cxn>
              <a:cxn ang="0">
                <a:pos x="connsiteX41731" y="connsiteY41731"/>
              </a:cxn>
              <a:cxn ang="0">
                <a:pos x="connsiteX41732" y="connsiteY41732"/>
              </a:cxn>
              <a:cxn ang="0">
                <a:pos x="connsiteX41733" y="connsiteY41733"/>
              </a:cxn>
              <a:cxn ang="0">
                <a:pos x="connsiteX41734" y="connsiteY41734"/>
              </a:cxn>
              <a:cxn ang="0">
                <a:pos x="connsiteX41735" y="connsiteY41735"/>
              </a:cxn>
              <a:cxn ang="0">
                <a:pos x="connsiteX41736" y="connsiteY41736"/>
              </a:cxn>
              <a:cxn ang="0">
                <a:pos x="connsiteX41737" y="connsiteY41737"/>
              </a:cxn>
              <a:cxn ang="0">
                <a:pos x="connsiteX41738" y="connsiteY41738"/>
              </a:cxn>
              <a:cxn ang="0">
                <a:pos x="connsiteX41739" y="connsiteY41739"/>
              </a:cxn>
              <a:cxn ang="0">
                <a:pos x="connsiteX41740" y="connsiteY41740"/>
              </a:cxn>
              <a:cxn ang="0">
                <a:pos x="connsiteX41741" y="connsiteY41741"/>
              </a:cxn>
              <a:cxn ang="0">
                <a:pos x="connsiteX41742" y="connsiteY41742"/>
              </a:cxn>
              <a:cxn ang="0">
                <a:pos x="connsiteX41743" y="connsiteY41743"/>
              </a:cxn>
              <a:cxn ang="0">
                <a:pos x="connsiteX41744" y="connsiteY41744"/>
              </a:cxn>
              <a:cxn ang="0">
                <a:pos x="connsiteX41745" y="connsiteY41745"/>
              </a:cxn>
              <a:cxn ang="0">
                <a:pos x="connsiteX41746" y="connsiteY41746"/>
              </a:cxn>
              <a:cxn ang="0">
                <a:pos x="connsiteX41747" y="connsiteY41747"/>
              </a:cxn>
              <a:cxn ang="0">
                <a:pos x="connsiteX41748" y="connsiteY41748"/>
              </a:cxn>
              <a:cxn ang="0">
                <a:pos x="connsiteX41749" y="connsiteY41749"/>
              </a:cxn>
              <a:cxn ang="0">
                <a:pos x="connsiteX41750" y="connsiteY41750"/>
              </a:cxn>
              <a:cxn ang="0">
                <a:pos x="connsiteX41751" y="connsiteY41751"/>
              </a:cxn>
              <a:cxn ang="0">
                <a:pos x="connsiteX41752" y="connsiteY41752"/>
              </a:cxn>
              <a:cxn ang="0">
                <a:pos x="connsiteX41753" y="connsiteY41753"/>
              </a:cxn>
              <a:cxn ang="0">
                <a:pos x="connsiteX41754" y="connsiteY41754"/>
              </a:cxn>
              <a:cxn ang="0">
                <a:pos x="connsiteX41755" y="connsiteY41755"/>
              </a:cxn>
              <a:cxn ang="0">
                <a:pos x="connsiteX41756" y="connsiteY41756"/>
              </a:cxn>
              <a:cxn ang="0">
                <a:pos x="connsiteX41757" y="connsiteY41757"/>
              </a:cxn>
              <a:cxn ang="0">
                <a:pos x="connsiteX41758" y="connsiteY41758"/>
              </a:cxn>
              <a:cxn ang="0">
                <a:pos x="connsiteX41759" y="connsiteY41759"/>
              </a:cxn>
              <a:cxn ang="0">
                <a:pos x="connsiteX41760" y="connsiteY41760"/>
              </a:cxn>
              <a:cxn ang="0">
                <a:pos x="connsiteX41761" y="connsiteY41761"/>
              </a:cxn>
              <a:cxn ang="0">
                <a:pos x="connsiteX41762" y="connsiteY41762"/>
              </a:cxn>
              <a:cxn ang="0">
                <a:pos x="connsiteX41763" y="connsiteY41763"/>
              </a:cxn>
              <a:cxn ang="0">
                <a:pos x="connsiteX41764" y="connsiteY41764"/>
              </a:cxn>
              <a:cxn ang="0">
                <a:pos x="connsiteX41765" y="connsiteY41765"/>
              </a:cxn>
              <a:cxn ang="0">
                <a:pos x="connsiteX41766" y="connsiteY41766"/>
              </a:cxn>
              <a:cxn ang="0">
                <a:pos x="connsiteX41767" y="connsiteY41767"/>
              </a:cxn>
              <a:cxn ang="0">
                <a:pos x="connsiteX41768" y="connsiteY41768"/>
              </a:cxn>
              <a:cxn ang="0">
                <a:pos x="connsiteX41769" y="connsiteY41769"/>
              </a:cxn>
              <a:cxn ang="0">
                <a:pos x="connsiteX41770" y="connsiteY41770"/>
              </a:cxn>
              <a:cxn ang="0">
                <a:pos x="connsiteX41771" y="connsiteY41771"/>
              </a:cxn>
              <a:cxn ang="0">
                <a:pos x="connsiteX41772" y="connsiteY41772"/>
              </a:cxn>
              <a:cxn ang="0">
                <a:pos x="connsiteX41773" y="connsiteY41773"/>
              </a:cxn>
              <a:cxn ang="0">
                <a:pos x="connsiteX41774" y="connsiteY41774"/>
              </a:cxn>
              <a:cxn ang="0">
                <a:pos x="connsiteX41775" y="connsiteY41775"/>
              </a:cxn>
              <a:cxn ang="0">
                <a:pos x="connsiteX41776" y="connsiteY41776"/>
              </a:cxn>
              <a:cxn ang="0">
                <a:pos x="connsiteX41777" y="connsiteY41777"/>
              </a:cxn>
              <a:cxn ang="0">
                <a:pos x="connsiteX41778" y="connsiteY41778"/>
              </a:cxn>
              <a:cxn ang="0">
                <a:pos x="connsiteX41779" y="connsiteY41779"/>
              </a:cxn>
              <a:cxn ang="0">
                <a:pos x="connsiteX41780" y="connsiteY41780"/>
              </a:cxn>
              <a:cxn ang="0">
                <a:pos x="connsiteX41781" y="connsiteY41781"/>
              </a:cxn>
              <a:cxn ang="0">
                <a:pos x="connsiteX41782" y="connsiteY41782"/>
              </a:cxn>
              <a:cxn ang="0">
                <a:pos x="connsiteX41783" y="connsiteY41783"/>
              </a:cxn>
              <a:cxn ang="0">
                <a:pos x="connsiteX41784" y="connsiteY41784"/>
              </a:cxn>
              <a:cxn ang="0">
                <a:pos x="connsiteX41785" y="connsiteY41785"/>
              </a:cxn>
              <a:cxn ang="0">
                <a:pos x="connsiteX41786" y="connsiteY41786"/>
              </a:cxn>
              <a:cxn ang="0">
                <a:pos x="connsiteX41787" y="connsiteY41787"/>
              </a:cxn>
              <a:cxn ang="0">
                <a:pos x="connsiteX41788" y="connsiteY41788"/>
              </a:cxn>
              <a:cxn ang="0">
                <a:pos x="connsiteX41789" y="connsiteY41789"/>
              </a:cxn>
              <a:cxn ang="0">
                <a:pos x="connsiteX41790" y="connsiteY41790"/>
              </a:cxn>
              <a:cxn ang="0">
                <a:pos x="connsiteX41791" y="connsiteY41791"/>
              </a:cxn>
              <a:cxn ang="0">
                <a:pos x="connsiteX41792" y="connsiteY41792"/>
              </a:cxn>
              <a:cxn ang="0">
                <a:pos x="connsiteX41793" y="connsiteY41793"/>
              </a:cxn>
              <a:cxn ang="0">
                <a:pos x="connsiteX41794" y="connsiteY41794"/>
              </a:cxn>
              <a:cxn ang="0">
                <a:pos x="connsiteX41795" y="connsiteY41795"/>
              </a:cxn>
              <a:cxn ang="0">
                <a:pos x="connsiteX41796" y="connsiteY41796"/>
              </a:cxn>
              <a:cxn ang="0">
                <a:pos x="connsiteX41797" y="connsiteY41797"/>
              </a:cxn>
              <a:cxn ang="0">
                <a:pos x="connsiteX41798" y="connsiteY41798"/>
              </a:cxn>
              <a:cxn ang="0">
                <a:pos x="connsiteX41799" y="connsiteY41799"/>
              </a:cxn>
              <a:cxn ang="0">
                <a:pos x="connsiteX41800" y="connsiteY41800"/>
              </a:cxn>
              <a:cxn ang="0">
                <a:pos x="connsiteX41801" y="connsiteY41801"/>
              </a:cxn>
              <a:cxn ang="0">
                <a:pos x="connsiteX41802" y="connsiteY41802"/>
              </a:cxn>
              <a:cxn ang="0">
                <a:pos x="connsiteX41803" y="connsiteY41803"/>
              </a:cxn>
              <a:cxn ang="0">
                <a:pos x="connsiteX41804" y="connsiteY41804"/>
              </a:cxn>
              <a:cxn ang="0">
                <a:pos x="connsiteX41805" y="connsiteY41805"/>
              </a:cxn>
              <a:cxn ang="0">
                <a:pos x="connsiteX41806" y="connsiteY41806"/>
              </a:cxn>
              <a:cxn ang="0">
                <a:pos x="connsiteX41807" y="connsiteY41807"/>
              </a:cxn>
              <a:cxn ang="0">
                <a:pos x="connsiteX41808" y="connsiteY41808"/>
              </a:cxn>
              <a:cxn ang="0">
                <a:pos x="connsiteX41809" y="connsiteY41809"/>
              </a:cxn>
              <a:cxn ang="0">
                <a:pos x="connsiteX41810" y="connsiteY41810"/>
              </a:cxn>
              <a:cxn ang="0">
                <a:pos x="connsiteX41811" y="connsiteY41811"/>
              </a:cxn>
              <a:cxn ang="0">
                <a:pos x="connsiteX41812" y="connsiteY41812"/>
              </a:cxn>
              <a:cxn ang="0">
                <a:pos x="connsiteX41813" y="connsiteY41813"/>
              </a:cxn>
              <a:cxn ang="0">
                <a:pos x="connsiteX41814" y="connsiteY41814"/>
              </a:cxn>
              <a:cxn ang="0">
                <a:pos x="connsiteX41815" y="connsiteY41815"/>
              </a:cxn>
              <a:cxn ang="0">
                <a:pos x="connsiteX41816" y="connsiteY41816"/>
              </a:cxn>
              <a:cxn ang="0">
                <a:pos x="connsiteX41817" y="connsiteY41817"/>
              </a:cxn>
              <a:cxn ang="0">
                <a:pos x="connsiteX41818" y="connsiteY41818"/>
              </a:cxn>
              <a:cxn ang="0">
                <a:pos x="connsiteX41819" y="connsiteY41819"/>
              </a:cxn>
              <a:cxn ang="0">
                <a:pos x="connsiteX41820" y="connsiteY41820"/>
              </a:cxn>
              <a:cxn ang="0">
                <a:pos x="connsiteX41821" y="connsiteY41821"/>
              </a:cxn>
              <a:cxn ang="0">
                <a:pos x="connsiteX41822" y="connsiteY41822"/>
              </a:cxn>
              <a:cxn ang="0">
                <a:pos x="connsiteX41823" y="connsiteY41823"/>
              </a:cxn>
              <a:cxn ang="0">
                <a:pos x="connsiteX41824" y="connsiteY41824"/>
              </a:cxn>
              <a:cxn ang="0">
                <a:pos x="connsiteX41825" y="connsiteY41825"/>
              </a:cxn>
              <a:cxn ang="0">
                <a:pos x="connsiteX41826" y="connsiteY41826"/>
              </a:cxn>
              <a:cxn ang="0">
                <a:pos x="connsiteX41827" y="connsiteY41827"/>
              </a:cxn>
              <a:cxn ang="0">
                <a:pos x="connsiteX41828" y="connsiteY41828"/>
              </a:cxn>
              <a:cxn ang="0">
                <a:pos x="connsiteX41829" y="connsiteY41829"/>
              </a:cxn>
              <a:cxn ang="0">
                <a:pos x="connsiteX41830" y="connsiteY41830"/>
              </a:cxn>
              <a:cxn ang="0">
                <a:pos x="connsiteX41831" y="connsiteY41831"/>
              </a:cxn>
              <a:cxn ang="0">
                <a:pos x="connsiteX41832" y="connsiteY41832"/>
              </a:cxn>
              <a:cxn ang="0">
                <a:pos x="connsiteX41833" y="connsiteY41833"/>
              </a:cxn>
              <a:cxn ang="0">
                <a:pos x="connsiteX41834" y="connsiteY41834"/>
              </a:cxn>
              <a:cxn ang="0">
                <a:pos x="connsiteX41835" y="connsiteY41835"/>
              </a:cxn>
              <a:cxn ang="0">
                <a:pos x="connsiteX41836" y="connsiteY41836"/>
              </a:cxn>
              <a:cxn ang="0">
                <a:pos x="connsiteX41837" y="connsiteY41837"/>
              </a:cxn>
              <a:cxn ang="0">
                <a:pos x="connsiteX41838" y="connsiteY41838"/>
              </a:cxn>
              <a:cxn ang="0">
                <a:pos x="connsiteX41839" y="connsiteY41839"/>
              </a:cxn>
              <a:cxn ang="0">
                <a:pos x="connsiteX41840" y="connsiteY41840"/>
              </a:cxn>
              <a:cxn ang="0">
                <a:pos x="connsiteX41841" y="connsiteY41841"/>
              </a:cxn>
              <a:cxn ang="0">
                <a:pos x="connsiteX41842" y="connsiteY41842"/>
              </a:cxn>
              <a:cxn ang="0">
                <a:pos x="connsiteX41843" y="connsiteY41843"/>
              </a:cxn>
              <a:cxn ang="0">
                <a:pos x="connsiteX41844" y="connsiteY41844"/>
              </a:cxn>
              <a:cxn ang="0">
                <a:pos x="connsiteX41845" y="connsiteY41845"/>
              </a:cxn>
              <a:cxn ang="0">
                <a:pos x="connsiteX41846" y="connsiteY41846"/>
              </a:cxn>
              <a:cxn ang="0">
                <a:pos x="connsiteX41847" y="connsiteY41847"/>
              </a:cxn>
              <a:cxn ang="0">
                <a:pos x="connsiteX41848" y="connsiteY41848"/>
              </a:cxn>
              <a:cxn ang="0">
                <a:pos x="connsiteX41849" y="connsiteY41849"/>
              </a:cxn>
              <a:cxn ang="0">
                <a:pos x="connsiteX41850" y="connsiteY41850"/>
              </a:cxn>
              <a:cxn ang="0">
                <a:pos x="connsiteX41851" y="connsiteY41851"/>
              </a:cxn>
              <a:cxn ang="0">
                <a:pos x="connsiteX41852" y="connsiteY41852"/>
              </a:cxn>
              <a:cxn ang="0">
                <a:pos x="connsiteX41853" y="connsiteY41853"/>
              </a:cxn>
              <a:cxn ang="0">
                <a:pos x="connsiteX41854" y="connsiteY41854"/>
              </a:cxn>
              <a:cxn ang="0">
                <a:pos x="connsiteX41855" y="connsiteY41855"/>
              </a:cxn>
              <a:cxn ang="0">
                <a:pos x="connsiteX41856" y="connsiteY41856"/>
              </a:cxn>
              <a:cxn ang="0">
                <a:pos x="connsiteX41857" y="connsiteY41857"/>
              </a:cxn>
              <a:cxn ang="0">
                <a:pos x="connsiteX41858" y="connsiteY41858"/>
              </a:cxn>
              <a:cxn ang="0">
                <a:pos x="connsiteX41859" y="connsiteY41859"/>
              </a:cxn>
              <a:cxn ang="0">
                <a:pos x="connsiteX41860" y="connsiteY41860"/>
              </a:cxn>
              <a:cxn ang="0">
                <a:pos x="connsiteX41861" y="connsiteY41861"/>
              </a:cxn>
              <a:cxn ang="0">
                <a:pos x="connsiteX41862" y="connsiteY41862"/>
              </a:cxn>
              <a:cxn ang="0">
                <a:pos x="connsiteX41863" y="connsiteY41863"/>
              </a:cxn>
              <a:cxn ang="0">
                <a:pos x="connsiteX41864" y="connsiteY41864"/>
              </a:cxn>
              <a:cxn ang="0">
                <a:pos x="connsiteX41865" y="connsiteY41865"/>
              </a:cxn>
              <a:cxn ang="0">
                <a:pos x="connsiteX41866" y="connsiteY41866"/>
              </a:cxn>
              <a:cxn ang="0">
                <a:pos x="connsiteX41867" y="connsiteY41867"/>
              </a:cxn>
              <a:cxn ang="0">
                <a:pos x="connsiteX41868" y="connsiteY41868"/>
              </a:cxn>
              <a:cxn ang="0">
                <a:pos x="connsiteX41869" y="connsiteY41869"/>
              </a:cxn>
              <a:cxn ang="0">
                <a:pos x="connsiteX41870" y="connsiteY41870"/>
              </a:cxn>
              <a:cxn ang="0">
                <a:pos x="connsiteX41871" y="connsiteY41871"/>
              </a:cxn>
              <a:cxn ang="0">
                <a:pos x="connsiteX41872" y="connsiteY41872"/>
              </a:cxn>
              <a:cxn ang="0">
                <a:pos x="connsiteX41873" y="connsiteY41873"/>
              </a:cxn>
              <a:cxn ang="0">
                <a:pos x="connsiteX41874" y="connsiteY41874"/>
              </a:cxn>
              <a:cxn ang="0">
                <a:pos x="connsiteX41875" y="connsiteY41875"/>
              </a:cxn>
              <a:cxn ang="0">
                <a:pos x="connsiteX41876" y="connsiteY41876"/>
              </a:cxn>
              <a:cxn ang="0">
                <a:pos x="connsiteX41877" y="connsiteY41877"/>
              </a:cxn>
              <a:cxn ang="0">
                <a:pos x="connsiteX41878" y="connsiteY41878"/>
              </a:cxn>
              <a:cxn ang="0">
                <a:pos x="connsiteX41879" y="connsiteY41879"/>
              </a:cxn>
              <a:cxn ang="0">
                <a:pos x="connsiteX41880" y="connsiteY41880"/>
              </a:cxn>
              <a:cxn ang="0">
                <a:pos x="connsiteX41881" y="connsiteY41881"/>
              </a:cxn>
              <a:cxn ang="0">
                <a:pos x="connsiteX41882" y="connsiteY41882"/>
              </a:cxn>
              <a:cxn ang="0">
                <a:pos x="connsiteX41883" y="connsiteY41883"/>
              </a:cxn>
              <a:cxn ang="0">
                <a:pos x="connsiteX41884" y="connsiteY41884"/>
              </a:cxn>
              <a:cxn ang="0">
                <a:pos x="connsiteX41885" y="connsiteY41885"/>
              </a:cxn>
              <a:cxn ang="0">
                <a:pos x="connsiteX41886" y="connsiteY41886"/>
              </a:cxn>
              <a:cxn ang="0">
                <a:pos x="connsiteX41887" y="connsiteY41887"/>
              </a:cxn>
              <a:cxn ang="0">
                <a:pos x="connsiteX41888" y="connsiteY41888"/>
              </a:cxn>
              <a:cxn ang="0">
                <a:pos x="connsiteX41889" y="connsiteY41889"/>
              </a:cxn>
              <a:cxn ang="0">
                <a:pos x="connsiteX41890" y="connsiteY41890"/>
              </a:cxn>
              <a:cxn ang="0">
                <a:pos x="connsiteX41891" y="connsiteY41891"/>
              </a:cxn>
              <a:cxn ang="0">
                <a:pos x="connsiteX41892" y="connsiteY41892"/>
              </a:cxn>
              <a:cxn ang="0">
                <a:pos x="connsiteX41893" y="connsiteY41893"/>
              </a:cxn>
              <a:cxn ang="0">
                <a:pos x="connsiteX41894" y="connsiteY41894"/>
              </a:cxn>
              <a:cxn ang="0">
                <a:pos x="connsiteX41895" y="connsiteY41895"/>
              </a:cxn>
              <a:cxn ang="0">
                <a:pos x="connsiteX41896" y="connsiteY41896"/>
              </a:cxn>
              <a:cxn ang="0">
                <a:pos x="connsiteX41897" y="connsiteY41897"/>
              </a:cxn>
              <a:cxn ang="0">
                <a:pos x="connsiteX41898" y="connsiteY41898"/>
              </a:cxn>
              <a:cxn ang="0">
                <a:pos x="connsiteX41899" y="connsiteY41899"/>
              </a:cxn>
              <a:cxn ang="0">
                <a:pos x="connsiteX41900" y="connsiteY41900"/>
              </a:cxn>
              <a:cxn ang="0">
                <a:pos x="connsiteX41901" y="connsiteY41901"/>
              </a:cxn>
              <a:cxn ang="0">
                <a:pos x="connsiteX41902" y="connsiteY41902"/>
              </a:cxn>
              <a:cxn ang="0">
                <a:pos x="connsiteX41903" y="connsiteY41903"/>
              </a:cxn>
              <a:cxn ang="0">
                <a:pos x="connsiteX41904" y="connsiteY41904"/>
              </a:cxn>
              <a:cxn ang="0">
                <a:pos x="connsiteX41905" y="connsiteY41905"/>
              </a:cxn>
              <a:cxn ang="0">
                <a:pos x="connsiteX41906" y="connsiteY41906"/>
              </a:cxn>
              <a:cxn ang="0">
                <a:pos x="connsiteX41907" y="connsiteY41907"/>
              </a:cxn>
              <a:cxn ang="0">
                <a:pos x="connsiteX41908" y="connsiteY41908"/>
              </a:cxn>
              <a:cxn ang="0">
                <a:pos x="connsiteX41909" y="connsiteY41909"/>
              </a:cxn>
              <a:cxn ang="0">
                <a:pos x="connsiteX41910" y="connsiteY41910"/>
              </a:cxn>
              <a:cxn ang="0">
                <a:pos x="connsiteX41911" y="connsiteY41911"/>
              </a:cxn>
              <a:cxn ang="0">
                <a:pos x="connsiteX41912" y="connsiteY41912"/>
              </a:cxn>
              <a:cxn ang="0">
                <a:pos x="connsiteX41913" y="connsiteY41913"/>
              </a:cxn>
              <a:cxn ang="0">
                <a:pos x="connsiteX41914" y="connsiteY41914"/>
              </a:cxn>
              <a:cxn ang="0">
                <a:pos x="connsiteX41915" y="connsiteY41915"/>
              </a:cxn>
              <a:cxn ang="0">
                <a:pos x="connsiteX41916" y="connsiteY41916"/>
              </a:cxn>
              <a:cxn ang="0">
                <a:pos x="connsiteX41917" y="connsiteY41917"/>
              </a:cxn>
              <a:cxn ang="0">
                <a:pos x="connsiteX41918" y="connsiteY41918"/>
              </a:cxn>
              <a:cxn ang="0">
                <a:pos x="connsiteX41919" y="connsiteY41919"/>
              </a:cxn>
              <a:cxn ang="0">
                <a:pos x="connsiteX41920" y="connsiteY41920"/>
              </a:cxn>
              <a:cxn ang="0">
                <a:pos x="connsiteX41921" y="connsiteY41921"/>
              </a:cxn>
              <a:cxn ang="0">
                <a:pos x="connsiteX41922" y="connsiteY41922"/>
              </a:cxn>
              <a:cxn ang="0">
                <a:pos x="connsiteX41923" y="connsiteY41923"/>
              </a:cxn>
              <a:cxn ang="0">
                <a:pos x="connsiteX41924" y="connsiteY41924"/>
              </a:cxn>
              <a:cxn ang="0">
                <a:pos x="connsiteX41925" y="connsiteY41925"/>
              </a:cxn>
              <a:cxn ang="0">
                <a:pos x="connsiteX41926" y="connsiteY41926"/>
              </a:cxn>
              <a:cxn ang="0">
                <a:pos x="connsiteX41927" y="connsiteY41927"/>
              </a:cxn>
              <a:cxn ang="0">
                <a:pos x="connsiteX41928" y="connsiteY41928"/>
              </a:cxn>
              <a:cxn ang="0">
                <a:pos x="connsiteX41929" y="connsiteY41929"/>
              </a:cxn>
              <a:cxn ang="0">
                <a:pos x="connsiteX41930" y="connsiteY41930"/>
              </a:cxn>
              <a:cxn ang="0">
                <a:pos x="connsiteX41931" y="connsiteY41931"/>
              </a:cxn>
              <a:cxn ang="0">
                <a:pos x="connsiteX41932" y="connsiteY41932"/>
              </a:cxn>
              <a:cxn ang="0">
                <a:pos x="connsiteX41933" y="connsiteY41933"/>
              </a:cxn>
              <a:cxn ang="0">
                <a:pos x="connsiteX41934" y="connsiteY41934"/>
              </a:cxn>
              <a:cxn ang="0">
                <a:pos x="connsiteX41935" y="connsiteY41935"/>
              </a:cxn>
              <a:cxn ang="0">
                <a:pos x="connsiteX41936" y="connsiteY41936"/>
              </a:cxn>
              <a:cxn ang="0">
                <a:pos x="connsiteX41937" y="connsiteY41937"/>
              </a:cxn>
              <a:cxn ang="0">
                <a:pos x="connsiteX41938" y="connsiteY41938"/>
              </a:cxn>
              <a:cxn ang="0">
                <a:pos x="connsiteX41939" y="connsiteY41939"/>
              </a:cxn>
              <a:cxn ang="0">
                <a:pos x="connsiteX41940" y="connsiteY41940"/>
              </a:cxn>
              <a:cxn ang="0">
                <a:pos x="connsiteX41941" y="connsiteY41941"/>
              </a:cxn>
              <a:cxn ang="0">
                <a:pos x="connsiteX41942" y="connsiteY41942"/>
              </a:cxn>
              <a:cxn ang="0">
                <a:pos x="connsiteX41943" y="connsiteY41943"/>
              </a:cxn>
              <a:cxn ang="0">
                <a:pos x="connsiteX41944" y="connsiteY41944"/>
              </a:cxn>
              <a:cxn ang="0">
                <a:pos x="connsiteX41945" y="connsiteY41945"/>
              </a:cxn>
              <a:cxn ang="0">
                <a:pos x="connsiteX41946" y="connsiteY41946"/>
              </a:cxn>
              <a:cxn ang="0">
                <a:pos x="connsiteX41947" y="connsiteY41947"/>
              </a:cxn>
              <a:cxn ang="0">
                <a:pos x="connsiteX41948" y="connsiteY41948"/>
              </a:cxn>
              <a:cxn ang="0">
                <a:pos x="connsiteX41949" y="connsiteY41949"/>
              </a:cxn>
              <a:cxn ang="0">
                <a:pos x="connsiteX41950" y="connsiteY41950"/>
              </a:cxn>
              <a:cxn ang="0">
                <a:pos x="connsiteX41951" y="connsiteY41951"/>
              </a:cxn>
              <a:cxn ang="0">
                <a:pos x="connsiteX41952" y="connsiteY41952"/>
              </a:cxn>
              <a:cxn ang="0">
                <a:pos x="connsiteX41953" y="connsiteY41953"/>
              </a:cxn>
              <a:cxn ang="0">
                <a:pos x="connsiteX41954" y="connsiteY41954"/>
              </a:cxn>
              <a:cxn ang="0">
                <a:pos x="connsiteX41955" y="connsiteY41955"/>
              </a:cxn>
              <a:cxn ang="0">
                <a:pos x="connsiteX41956" y="connsiteY41956"/>
              </a:cxn>
              <a:cxn ang="0">
                <a:pos x="connsiteX41957" y="connsiteY41957"/>
              </a:cxn>
              <a:cxn ang="0">
                <a:pos x="connsiteX41958" y="connsiteY41958"/>
              </a:cxn>
              <a:cxn ang="0">
                <a:pos x="connsiteX41959" y="connsiteY41959"/>
              </a:cxn>
              <a:cxn ang="0">
                <a:pos x="connsiteX41960" y="connsiteY41960"/>
              </a:cxn>
              <a:cxn ang="0">
                <a:pos x="connsiteX41961" y="connsiteY41961"/>
              </a:cxn>
              <a:cxn ang="0">
                <a:pos x="connsiteX41962" y="connsiteY41962"/>
              </a:cxn>
              <a:cxn ang="0">
                <a:pos x="connsiteX41963" y="connsiteY41963"/>
              </a:cxn>
              <a:cxn ang="0">
                <a:pos x="connsiteX41964" y="connsiteY41964"/>
              </a:cxn>
              <a:cxn ang="0">
                <a:pos x="connsiteX41965" y="connsiteY41965"/>
              </a:cxn>
              <a:cxn ang="0">
                <a:pos x="connsiteX41966" y="connsiteY41966"/>
              </a:cxn>
              <a:cxn ang="0">
                <a:pos x="connsiteX41967" y="connsiteY41967"/>
              </a:cxn>
              <a:cxn ang="0">
                <a:pos x="connsiteX41968" y="connsiteY41968"/>
              </a:cxn>
              <a:cxn ang="0">
                <a:pos x="connsiteX41969" y="connsiteY41969"/>
              </a:cxn>
              <a:cxn ang="0">
                <a:pos x="connsiteX41970" y="connsiteY41970"/>
              </a:cxn>
              <a:cxn ang="0">
                <a:pos x="connsiteX41971" y="connsiteY41971"/>
              </a:cxn>
              <a:cxn ang="0">
                <a:pos x="connsiteX41972" y="connsiteY41972"/>
              </a:cxn>
              <a:cxn ang="0">
                <a:pos x="connsiteX41973" y="connsiteY41973"/>
              </a:cxn>
              <a:cxn ang="0">
                <a:pos x="connsiteX41974" y="connsiteY41974"/>
              </a:cxn>
              <a:cxn ang="0">
                <a:pos x="connsiteX41975" y="connsiteY41975"/>
              </a:cxn>
              <a:cxn ang="0">
                <a:pos x="connsiteX41976" y="connsiteY41976"/>
              </a:cxn>
              <a:cxn ang="0">
                <a:pos x="connsiteX41977" y="connsiteY41977"/>
              </a:cxn>
              <a:cxn ang="0">
                <a:pos x="connsiteX41978" y="connsiteY41978"/>
              </a:cxn>
              <a:cxn ang="0">
                <a:pos x="connsiteX41979" y="connsiteY41979"/>
              </a:cxn>
              <a:cxn ang="0">
                <a:pos x="connsiteX41980" y="connsiteY41980"/>
              </a:cxn>
              <a:cxn ang="0">
                <a:pos x="connsiteX41981" y="connsiteY41981"/>
              </a:cxn>
              <a:cxn ang="0">
                <a:pos x="connsiteX41982" y="connsiteY41982"/>
              </a:cxn>
              <a:cxn ang="0">
                <a:pos x="connsiteX41983" y="connsiteY41983"/>
              </a:cxn>
              <a:cxn ang="0">
                <a:pos x="connsiteX41984" y="connsiteY41984"/>
              </a:cxn>
              <a:cxn ang="0">
                <a:pos x="connsiteX41985" y="connsiteY41985"/>
              </a:cxn>
              <a:cxn ang="0">
                <a:pos x="connsiteX41986" y="connsiteY41986"/>
              </a:cxn>
              <a:cxn ang="0">
                <a:pos x="connsiteX41987" y="connsiteY41987"/>
              </a:cxn>
              <a:cxn ang="0">
                <a:pos x="connsiteX41988" y="connsiteY41988"/>
              </a:cxn>
              <a:cxn ang="0">
                <a:pos x="connsiteX41989" y="connsiteY41989"/>
              </a:cxn>
              <a:cxn ang="0">
                <a:pos x="connsiteX41990" y="connsiteY41990"/>
              </a:cxn>
              <a:cxn ang="0">
                <a:pos x="connsiteX41991" y="connsiteY41991"/>
              </a:cxn>
              <a:cxn ang="0">
                <a:pos x="connsiteX41992" y="connsiteY41992"/>
              </a:cxn>
              <a:cxn ang="0">
                <a:pos x="connsiteX41993" y="connsiteY41993"/>
              </a:cxn>
              <a:cxn ang="0">
                <a:pos x="connsiteX41994" y="connsiteY41994"/>
              </a:cxn>
              <a:cxn ang="0">
                <a:pos x="connsiteX41995" y="connsiteY41995"/>
              </a:cxn>
              <a:cxn ang="0">
                <a:pos x="connsiteX41996" y="connsiteY41996"/>
              </a:cxn>
              <a:cxn ang="0">
                <a:pos x="connsiteX41997" y="connsiteY41997"/>
              </a:cxn>
              <a:cxn ang="0">
                <a:pos x="connsiteX41998" y="connsiteY41998"/>
              </a:cxn>
              <a:cxn ang="0">
                <a:pos x="connsiteX41999" y="connsiteY41999"/>
              </a:cxn>
              <a:cxn ang="0">
                <a:pos x="connsiteX42000" y="connsiteY42000"/>
              </a:cxn>
              <a:cxn ang="0">
                <a:pos x="connsiteX42001" y="connsiteY42001"/>
              </a:cxn>
              <a:cxn ang="0">
                <a:pos x="connsiteX42002" y="connsiteY42002"/>
              </a:cxn>
              <a:cxn ang="0">
                <a:pos x="connsiteX42003" y="connsiteY42003"/>
              </a:cxn>
              <a:cxn ang="0">
                <a:pos x="connsiteX42004" y="connsiteY42004"/>
              </a:cxn>
              <a:cxn ang="0">
                <a:pos x="connsiteX42005" y="connsiteY42005"/>
              </a:cxn>
              <a:cxn ang="0">
                <a:pos x="connsiteX42006" y="connsiteY42006"/>
              </a:cxn>
              <a:cxn ang="0">
                <a:pos x="connsiteX42007" y="connsiteY42007"/>
              </a:cxn>
              <a:cxn ang="0">
                <a:pos x="connsiteX42008" y="connsiteY42008"/>
              </a:cxn>
              <a:cxn ang="0">
                <a:pos x="connsiteX42009" y="connsiteY42009"/>
              </a:cxn>
              <a:cxn ang="0">
                <a:pos x="connsiteX42010" y="connsiteY42010"/>
              </a:cxn>
              <a:cxn ang="0">
                <a:pos x="connsiteX42011" y="connsiteY42011"/>
              </a:cxn>
              <a:cxn ang="0">
                <a:pos x="connsiteX42012" y="connsiteY42012"/>
              </a:cxn>
              <a:cxn ang="0">
                <a:pos x="connsiteX42013" y="connsiteY42013"/>
              </a:cxn>
              <a:cxn ang="0">
                <a:pos x="connsiteX42014" y="connsiteY42014"/>
              </a:cxn>
              <a:cxn ang="0">
                <a:pos x="connsiteX42015" y="connsiteY42015"/>
              </a:cxn>
              <a:cxn ang="0">
                <a:pos x="connsiteX42016" y="connsiteY42016"/>
              </a:cxn>
              <a:cxn ang="0">
                <a:pos x="connsiteX42017" y="connsiteY42017"/>
              </a:cxn>
              <a:cxn ang="0">
                <a:pos x="connsiteX42018" y="connsiteY42018"/>
              </a:cxn>
              <a:cxn ang="0">
                <a:pos x="connsiteX42019" y="connsiteY42019"/>
              </a:cxn>
              <a:cxn ang="0">
                <a:pos x="connsiteX42020" y="connsiteY42020"/>
              </a:cxn>
              <a:cxn ang="0">
                <a:pos x="connsiteX42021" y="connsiteY42021"/>
              </a:cxn>
              <a:cxn ang="0">
                <a:pos x="connsiteX42022" y="connsiteY42022"/>
              </a:cxn>
              <a:cxn ang="0">
                <a:pos x="connsiteX42023" y="connsiteY42023"/>
              </a:cxn>
              <a:cxn ang="0">
                <a:pos x="connsiteX42024" y="connsiteY42024"/>
              </a:cxn>
              <a:cxn ang="0">
                <a:pos x="connsiteX42025" y="connsiteY42025"/>
              </a:cxn>
              <a:cxn ang="0">
                <a:pos x="connsiteX42026" y="connsiteY42026"/>
              </a:cxn>
              <a:cxn ang="0">
                <a:pos x="connsiteX42027" y="connsiteY42027"/>
              </a:cxn>
              <a:cxn ang="0">
                <a:pos x="connsiteX42028" y="connsiteY42028"/>
              </a:cxn>
              <a:cxn ang="0">
                <a:pos x="connsiteX42029" y="connsiteY42029"/>
              </a:cxn>
              <a:cxn ang="0">
                <a:pos x="connsiteX42030" y="connsiteY42030"/>
              </a:cxn>
              <a:cxn ang="0">
                <a:pos x="connsiteX42031" y="connsiteY42031"/>
              </a:cxn>
              <a:cxn ang="0">
                <a:pos x="connsiteX42032" y="connsiteY42032"/>
              </a:cxn>
              <a:cxn ang="0">
                <a:pos x="connsiteX42033" y="connsiteY42033"/>
              </a:cxn>
              <a:cxn ang="0">
                <a:pos x="connsiteX42034" y="connsiteY42034"/>
              </a:cxn>
              <a:cxn ang="0">
                <a:pos x="connsiteX42035" y="connsiteY42035"/>
              </a:cxn>
              <a:cxn ang="0">
                <a:pos x="connsiteX42036" y="connsiteY42036"/>
              </a:cxn>
              <a:cxn ang="0">
                <a:pos x="connsiteX42037" y="connsiteY42037"/>
              </a:cxn>
              <a:cxn ang="0">
                <a:pos x="connsiteX42038" y="connsiteY42038"/>
              </a:cxn>
              <a:cxn ang="0">
                <a:pos x="connsiteX42039" y="connsiteY42039"/>
              </a:cxn>
              <a:cxn ang="0">
                <a:pos x="connsiteX42040" y="connsiteY42040"/>
              </a:cxn>
              <a:cxn ang="0">
                <a:pos x="connsiteX42041" y="connsiteY42041"/>
              </a:cxn>
              <a:cxn ang="0">
                <a:pos x="connsiteX42042" y="connsiteY42042"/>
              </a:cxn>
              <a:cxn ang="0">
                <a:pos x="connsiteX42043" y="connsiteY42043"/>
              </a:cxn>
              <a:cxn ang="0">
                <a:pos x="connsiteX42044" y="connsiteY42044"/>
              </a:cxn>
              <a:cxn ang="0">
                <a:pos x="connsiteX42045" y="connsiteY42045"/>
              </a:cxn>
              <a:cxn ang="0">
                <a:pos x="connsiteX42046" y="connsiteY42046"/>
              </a:cxn>
              <a:cxn ang="0">
                <a:pos x="connsiteX42047" y="connsiteY42047"/>
              </a:cxn>
              <a:cxn ang="0">
                <a:pos x="connsiteX42048" y="connsiteY42048"/>
              </a:cxn>
              <a:cxn ang="0">
                <a:pos x="connsiteX42049" y="connsiteY42049"/>
              </a:cxn>
              <a:cxn ang="0">
                <a:pos x="connsiteX42050" y="connsiteY42050"/>
              </a:cxn>
              <a:cxn ang="0">
                <a:pos x="connsiteX42051" y="connsiteY42051"/>
              </a:cxn>
              <a:cxn ang="0">
                <a:pos x="connsiteX42052" y="connsiteY42052"/>
              </a:cxn>
              <a:cxn ang="0">
                <a:pos x="connsiteX42053" y="connsiteY42053"/>
              </a:cxn>
              <a:cxn ang="0">
                <a:pos x="connsiteX42054" y="connsiteY42054"/>
              </a:cxn>
              <a:cxn ang="0">
                <a:pos x="connsiteX42055" y="connsiteY42055"/>
              </a:cxn>
              <a:cxn ang="0">
                <a:pos x="connsiteX42056" y="connsiteY42056"/>
              </a:cxn>
              <a:cxn ang="0">
                <a:pos x="connsiteX42057" y="connsiteY42057"/>
              </a:cxn>
              <a:cxn ang="0">
                <a:pos x="connsiteX42058" y="connsiteY42058"/>
              </a:cxn>
              <a:cxn ang="0">
                <a:pos x="connsiteX42059" y="connsiteY42059"/>
              </a:cxn>
              <a:cxn ang="0">
                <a:pos x="connsiteX42060" y="connsiteY42060"/>
              </a:cxn>
              <a:cxn ang="0">
                <a:pos x="connsiteX42061" y="connsiteY42061"/>
              </a:cxn>
              <a:cxn ang="0">
                <a:pos x="connsiteX42062" y="connsiteY42062"/>
              </a:cxn>
              <a:cxn ang="0">
                <a:pos x="connsiteX42063" y="connsiteY42063"/>
              </a:cxn>
              <a:cxn ang="0">
                <a:pos x="connsiteX42064" y="connsiteY42064"/>
              </a:cxn>
              <a:cxn ang="0">
                <a:pos x="connsiteX42065" y="connsiteY42065"/>
              </a:cxn>
              <a:cxn ang="0">
                <a:pos x="connsiteX42066" y="connsiteY42066"/>
              </a:cxn>
              <a:cxn ang="0">
                <a:pos x="connsiteX42067" y="connsiteY42067"/>
              </a:cxn>
              <a:cxn ang="0">
                <a:pos x="connsiteX42068" y="connsiteY42068"/>
              </a:cxn>
              <a:cxn ang="0">
                <a:pos x="connsiteX42069" y="connsiteY42069"/>
              </a:cxn>
              <a:cxn ang="0">
                <a:pos x="connsiteX42070" y="connsiteY42070"/>
              </a:cxn>
              <a:cxn ang="0">
                <a:pos x="connsiteX42071" y="connsiteY42071"/>
              </a:cxn>
              <a:cxn ang="0">
                <a:pos x="connsiteX42072" y="connsiteY42072"/>
              </a:cxn>
              <a:cxn ang="0">
                <a:pos x="connsiteX42073" y="connsiteY42073"/>
              </a:cxn>
              <a:cxn ang="0">
                <a:pos x="connsiteX42074" y="connsiteY42074"/>
              </a:cxn>
              <a:cxn ang="0">
                <a:pos x="connsiteX42075" y="connsiteY42075"/>
              </a:cxn>
              <a:cxn ang="0">
                <a:pos x="connsiteX42076" y="connsiteY42076"/>
              </a:cxn>
              <a:cxn ang="0">
                <a:pos x="connsiteX42077" y="connsiteY42077"/>
              </a:cxn>
              <a:cxn ang="0">
                <a:pos x="connsiteX42078" y="connsiteY42078"/>
              </a:cxn>
              <a:cxn ang="0">
                <a:pos x="connsiteX42079" y="connsiteY42079"/>
              </a:cxn>
              <a:cxn ang="0">
                <a:pos x="connsiteX42080" y="connsiteY42080"/>
              </a:cxn>
              <a:cxn ang="0">
                <a:pos x="connsiteX42081" y="connsiteY42081"/>
              </a:cxn>
              <a:cxn ang="0">
                <a:pos x="connsiteX42082" y="connsiteY42082"/>
              </a:cxn>
              <a:cxn ang="0">
                <a:pos x="connsiteX42083" y="connsiteY42083"/>
              </a:cxn>
              <a:cxn ang="0">
                <a:pos x="connsiteX42084" y="connsiteY42084"/>
              </a:cxn>
              <a:cxn ang="0">
                <a:pos x="connsiteX42085" y="connsiteY42085"/>
              </a:cxn>
              <a:cxn ang="0">
                <a:pos x="connsiteX42086" y="connsiteY42086"/>
              </a:cxn>
              <a:cxn ang="0">
                <a:pos x="connsiteX42087" y="connsiteY42087"/>
              </a:cxn>
              <a:cxn ang="0">
                <a:pos x="connsiteX42088" y="connsiteY42088"/>
              </a:cxn>
              <a:cxn ang="0">
                <a:pos x="connsiteX42089" y="connsiteY42089"/>
              </a:cxn>
              <a:cxn ang="0">
                <a:pos x="connsiteX42090" y="connsiteY42090"/>
              </a:cxn>
              <a:cxn ang="0">
                <a:pos x="connsiteX42091" y="connsiteY42091"/>
              </a:cxn>
              <a:cxn ang="0">
                <a:pos x="connsiteX42092" y="connsiteY42092"/>
              </a:cxn>
              <a:cxn ang="0">
                <a:pos x="connsiteX42093" y="connsiteY42093"/>
              </a:cxn>
              <a:cxn ang="0">
                <a:pos x="connsiteX42094" y="connsiteY42094"/>
              </a:cxn>
              <a:cxn ang="0">
                <a:pos x="connsiteX42095" y="connsiteY42095"/>
              </a:cxn>
              <a:cxn ang="0">
                <a:pos x="connsiteX42096" y="connsiteY42096"/>
              </a:cxn>
              <a:cxn ang="0">
                <a:pos x="connsiteX42097" y="connsiteY42097"/>
              </a:cxn>
              <a:cxn ang="0">
                <a:pos x="connsiteX42098" y="connsiteY42098"/>
              </a:cxn>
              <a:cxn ang="0">
                <a:pos x="connsiteX42099" y="connsiteY42099"/>
              </a:cxn>
              <a:cxn ang="0">
                <a:pos x="connsiteX42100" y="connsiteY42100"/>
              </a:cxn>
              <a:cxn ang="0">
                <a:pos x="connsiteX42101" y="connsiteY42101"/>
              </a:cxn>
              <a:cxn ang="0">
                <a:pos x="connsiteX42102" y="connsiteY42102"/>
              </a:cxn>
              <a:cxn ang="0">
                <a:pos x="connsiteX42103" y="connsiteY42103"/>
              </a:cxn>
              <a:cxn ang="0">
                <a:pos x="connsiteX42104" y="connsiteY42104"/>
              </a:cxn>
              <a:cxn ang="0">
                <a:pos x="connsiteX42105" y="connsiteY42105"/>
              </a:cxn>
              <a:cxn ang="0">
                <a:pos x="connsiteX42106" y="connsiteY42106"/>
              </a:cxn>
              <a:cxn ang="0">
                <a:pos x="connsiteX42107" y="connsiteY42107"/>
              </a:cxn>
              <a:cxn ang="0">
                <a:pos x="connsiteX42108" y="connsiteY42108"/>
              </a:cxn>
              <a:cxn ang="0">
                <a:pos x="connsiteX42109" y="connsiteY42109"/>
              </a:cxn>
              <a:cxn ang="0">
                <a:pos x="connsiteX42110" y="connsiteY42110"/>
              </a:cxn>
              <a:cxn ang="0">
                <a:pos x="connsiteX42111" y="connsiteY42111"/>
              </a:cxn>
              <a:cxn ang="0">
                <a:pos x="connsiteX42112" y="connsiteY42112"/>
              </a:cxn>
              <a:cxn ang="0">
                <a:pos x="connsiteX42113" y="connsiteY42113"/>
              </a:cxn>
              <a:cxn ang="0">
                <a:pos x="connsiteX42114" y="connsiteY42114"/>
              </a:cxn>
              <a:cxn ang="0">
                <a:pos x="connsiteX42115" y="connsiteY42115"/>
              </a:cxn>
              <a:cxn ang="0">
                <a:pos x="connsiteX42116" y="connsiteY42116"/>
              </a:cxn>
              <a:cxn ang="0">
                <a:pos x="connsiteX42117" y="connsiteY42117"/>
              </a:cxn>
              <a:cxn ang="0">
                <a:pos x="connsiteX42118" y="connsiteY42118"/>
              </a:cxn>
              <a:cxn ang="0">
                <a:pos x="connsiteX42119" y="connsiteY42119"/>
              </a:cxn>
              <a:cxn ang="0">
                <a:pos x="connsiteX42120" y="connsiteY42120"/>
              </a:cxn>
              <a:cxn ang="0">
                <a:pos x="connsiteX42121" y="connsiteY42121"/>
              </a:cxn>
              <a:cxn ang="0">
                <a:pos x="connsiteX42122" y="connsiteY42122"/>
              </a:cxn>
              <a:cxn ang="0">
                <a:pos x="connsiteX42123" y="connsiteY42123"/>
              </a:cxn>
              <a:cxn ang="0">
                <a:pos x="connsiteX42124" y="connsiteY42124"/>
              </a:cxn>
              <a:cxn ang="0">
                <a:pos x="connsiteX42125" y="connsiteY42125"/>
              </a:cxn>
              <a:cxn ang="0">
                <a:pos x="connsiteX42126" y="connsiteY42126"/>
              </a:cxn>
              <a:cxn ang="0">
                <a:pos x="connsiteX42127" y="connsiteY42127"/>
              </a:cxn>
              <a:cxn ang="0">
                <a:pos x="connsiteX42128" y="connsiteY42128"/>
              </a:cxn>
              <a:cxn ang="0">
                <a:pos x="connsiteX42129" y="connsiteY42129"/>
              </a:cxn>
              <a:cxn ang="0">
                <a:pos x="connsiteX42130" y="connsiteY42130"/>
              </a:cxn>
              <a:cxn ang="0">
                <a:pos x="connsiteX42131" y="connsiteY42131"/>
              </a:cxn>
              <a:cxn ang="0">
                <a:pos x="connsiteX42132" y="connsiteY42132"/>
              </a:cxn>
              <a:cxn ang="0">
                <a:pos x="connsiteX42133" y="connsiteY42133"/>
              </a:cxn>
              <a:cxn ang="0">
                <a:pos x="connsiteX42134" y="connsiteY42134"/>
              </a:cxn>
              <a:cxn ang="0">
                <a:pos x="connsiteX42135" y="connsiteY42135"/>
              </a:cxn>
              <a:cxn ang="0">
                <a:pos x="connsiteX42136" y="connsiteY42136"/>
              </a:cxn>
              <a:cxn ang="0">
                <a:pos x="connsiteX42137" y="connsiteY42137"/>
              </a:cxn>
              <a:cxn ang="0">
                <a:pos x="connsiteX42138" y="connsiteY42138"/>
              </a:cxn>
              <a:cxn ang="0">
                <a:pos x="connsiteX42139" y="connsiteY42139"/>
              </a:cxn>
              <a:cxn ang="0">
                <a:pos x="connsiteX42140" y="connsiteY42140"/>
              </a:cxn>
              <a:cxn ang="0">
                <a:pos x="connsiteX42141" y="connsiteY42141"/>
              </a:cxn>
              <a:cxn ang="0">
                <a:pos x="connsiteX42142" y="connsiteY42142"/>
              </a:cxn>
              <a:cxn ang="0">
                <a:pos x="connsiteX42143" y="connsiteY42143"/>
              </a:cxn>
              <a:cxn ang="0">
                <a:pos x="connsiteX42144" y="connsiteY42144"/>
              </a:cxn>
              <a:cxn ang="0">
                <a:pos x="connsiteX42145" y="connsiteY42145"/>
              </a:cxn>
              <a:cxn ang="0">
                <a:pos x="connsiteX42146" y="connsiteY42146"/>
              </a:cxn>
              <a:cxn ang="0">
                <a:pos x="connsiteX42147" y="connsiteY42147"/>
              </a:cxn>
              <a:cxn ang="0">
                <a:pos x="connsiteX42148" y="connsiteY42148"/>
              </a:cxn>
              <a:cxn ang="0">
                <a:pos x="connsiteX42149" y="connsiteY42149"/>
              </a:cxn>
              <a:cxn ang="0">
                <a:pos x="connsiteX42150" y="connsiteY42150"/>
              </a:cxn>
              <a:cxn ang="0">
                <a:pos x="connsiteX42151" y="connsiteY42151"/>
              </a:cxn>
              <a:cxn ang="0">
                <a:pos x="connsiteX42152" y="connsiteY42152"/>
              </a:cxn>
              <a:cxn ang="0">
                <a:pos x="connsiteX42153" y="connsiteY42153"/>
              </a:cxn>
              <a:cxn ang="0">
                <a:pos x="connsiteX42154" y="connsiteY42154"/>
              </a:cxn>
              <a:cxn ang="0">
                <a:pos x="connsiteX42155" y="connsiteY42155"/>
              </a:cxn>
              <a:cxn ang="0">
                <a:pos x="connsiteX42156" y="connsiteY42156"/>
              </a:cxn>
              <a:cxn ang="0">
                <a:pos x="connsiteX42157" y="connsiteY42157"/>
              </a:cxn>
              <a:cxn ang="0">
                <a:pos x="connsiteX42158" y="connsiteY42158"/>
              </a:cxn>
              <a:cxn ang="0">
                <a:pos x="connsiteX42159" y="connsiteY42159"/>
              </a:cxn>
              <a:cxn ang="0">
                <a:pos x="connsiteX42160" y="connsiteY42160"/>
              </a:cxn>
              <a:cxn ang="0">
                <a:pos x="connsiteX42161" y="connsiteY42161"/>
              </a:cxn>
              <a:cxn ang="0">
                <a:pos x="connsiteX42162" y="connsiteY42162"/>
              </a:cxn>
              <a:cxn ang="0">
                <a:pos x="connsiteX42163" y="connsiteY42163"/>
              </a:cxn>
              <a:cxn ang="0">
                <a:pos x="connsiteX42164" y="connsiteY42164"/>
              </a:cxn>
              <a:cxn ang="0">
                <a:pos x="connsiteX42165" y="connsiteY42165"/>
              </a:cxn>
              <a:cxn ang="0">
                <a:pos x="connsiteX42166" y="connsiteY42166"/>
              </a:cxn>
              <a:cxn ang="0">
                <a:pos x="connsiteX42167" y="connsiteY42167"/>
              </a:cxn>
              <a:cxn ang="0">
                <a:pos x="connsiteX42168" y="connsiteY42168"/>
              </a:cxn>
              <a:cxn ang="0">
                <a:pos x="connsiteX42169" y="connsiteY42169"/>
              </a:cxn>
              <a:cxn ang="0">
                <a:pos x="connsiteX42170" y="connsiteY42170"/>
              </a:cxn>
              <a:cxn ang="0">
                <a:pos x="connsiteX42171" y="connsiteY42171"/>
              </a:cxn>
              <a:cxn ang="0">
                <a:pos x="connsiteX42172" y="connsiteY42172"/>
              </a:cxn>
              <a:cxn ang="0">
                <a:pos x="connsiteX42173" y="connsiteY42173"/>
              </a:cxn>
              <a:cxn ang="0">
                <a:pos x="connsiteX42174" y="connsiteY42174"/>
              </a:cxn>
              <a:cxn ang="0">
                <a:pos x="connsiteX42175" y="connsiteY42175"/>
              </a:cxn>
              <a:cxn ang="0">
                <a:pos x="connsiteX42176" y="connsiteY42176"/>
              </a:cxn>
              <a:cxn ang="0">
                <a:pos x="connsiteX42177" y="connsiteY42177"/>
              </a:cxn>
              <a:cxn ang="0">
                <a:pos x="connsiteX42178" y="connsiteY42178"/>
              </a:cxn>
              <a:cxn ang="0">
                <a:pos x="connsiteX42179" y="connsiteY42179"/>
              </a:cxn>
              <a:cxn ang="0">
                <a:pos x="connsiteX42180" y="connsiteY42180"/>
              </a:cxn>
              <a:cxn ang="0">
                <a:pos x="connsiteX42181" y="connsiteY42181"/>
              </a:cxn>
              <a:cxn ang="0">
                <a:pos x="connsiteX42182" y="connsiteY42182"/>
              </a:cxn>
              <a:cxn ang="0">
                <a:pos x="connsiteX42183" y="connsiteY42183"/>
              </a:cxn>
              <a:cxn ang="0">
                <a:pos x="connsiteX42184" y="connsiteY42184"/>
              </a:cxn>
              <a:cxn ang="0">
                <a:pos x="connsiteX42185" y="connsiteY42185"/>
              </a:cxn>
              <a:cxn ang="0">
                <a:pos x="connsiteX42186" y="connsiteY42186"/>
              </a:cxn>
              <a:cxn ang="0">
                <a:pos x="connsiteX42187" y="connsiteY42187"/>
              </a:cxn>
              <a:cxn ang="0">
                <a:pos x="connsiteX42188" y="connsiteY42188"/>
              </a:cxn>
              <a:cxn ang="0">
                <a:pos x="connsiteX42189" y="connsiteY42189"/>
              </a:cxn>
              <a:cxn ang="0">
                <a:pos x="connsiteX42190" y="connsiteY42190"/>
              </a:cxn>
              <a:cxn ang="0">
                <a:pos x="connsiteX42191" y="connsiteY42191"/>
              </a:cxn>
              <a:cxn ang="0">
                <a:pos x="connsiteX42192" y="connsiteY42192"/>
              </a:cxn>
              <a:cxn ang="0">
                <a:pos x="connsiteX42193" y="connsiteY42193"/>
              </a:cxn>
              <a:cxn ang="0">
                <a:pos x="connsiteX42194" y="connsiteY42194"/>
              </a:cxn>
              <a:cxn ang="0">
                <a:pos x="connsiteX42195" y="connsiteY42195"/>
              </a:cxn>
              <a:cxn ang="0">
                <a:pos x="connsiteX42196" y="connsiteY42196"/>
              </a:cxn>
              <a:cxn ang="0">
                <a:pos x="connsiteX42197" y="connsiteY42197"/>
              </a:cxn>
              <a:cxn ang="0">
                <a:pos x="connsiteX42198" y="connsiteY42198"/>
              </a:cxn>
              <a:cxn ang="0">
                <a:pos x="connsiteX42199" y="connsiteY42199"/>
              </a:cxn>
              <a:cxn ang="0">
                <a:pos x="connsiteX42200" y="connsiteY42200"/>
              </a:cxn>
              <a:cxn ang="0">
                <a:pos x="connsiteX42201" y="connsiteY42201"/>
              </a:cxn>
              <a:cxn ang="0">
                <a:pos x="connsiteX42202" y="connsiteY42202"/>
              </a:cxn>
              <a:cxn ang="0">
                <a:pos x="connsiteX42203" y="connsiteY42203"/>
              </a:cxn>
              <a:cxn ang="0">
                <a:pos x="connsiteX42204" y="connsiteY42204"/>
              </a:cxn>
              <a:cxn ang="0">
                <a:pos x="connsiteX42205" y="connsiteY42205"/>
              </a:cxn>
              <a:cxn ang="0">
                <a:pos x="connsiteX42206" y="connsiteY42206"/>
              </a:cxn>
              <a:cxn ang="0">
                <a:pos x="connsiteX42207" y="connsiteY42207"/>
              </a:cxn>
              <a:cxn ang="0">
                <a:pos x="connsiteX42208" y="connsiteY42208"/>
              </a:cxn>
              <a:cxn ang="0">
                <a:pos x="connsiteX42209" y="connsiteY42209"/>
              </a:cxn>
              <a:cxn ang="0">
                <a:pos x="connsiteX42210" y="connsiteY42210"/>
              </a:cxn>
              <a:cxn ang="0">
                <a:pos x="connsiteX42211" y="connsiteY42211"/>
              </a:cxn>
              <a:cxn ang="0">
                <a:pos x="connsiteX42212" y="connsiteY42212"/>
              </a:cxn>
              <a:cxn ang="0">
                <a:pos x="connsiteX42213" y="connsiteY42213"/>
              </a:cxn>
              <a:cxn ang="0">
                <a:pos x="connsiteX42214" y="connsiteY42214"/>
              </a:cxn>
              <a:cxn ang="0">
                <a:pos x="connsiteX42215" y="connsiteY42215"/>
              </a:cxn>
              <a:cxn ang="0">
                <a:pos x="connsiteX42216" y="connsiteY42216"/>
              </a:cxn>
              <a:cxn ang="0">
                <a:pos x="connsiteX42217" y="connsiteY42217"/>
              </a:cxn>
              <a:cxn ang="0">
                <a:pos x="connsiteX42218" y="connsiteY42218"/>
              </a:cxn>
              <a:cxn ang="0">
                <a:pos x="connsiteX42219" y="connsiteY42219"/>
              </a:cxn>
              <a:cxn ang="0">
                <a:pos x="connsiteX42220" y="connsiteY42220"/>
              </a:cxn>
              <a:cxn ang="0">
                <a:pos x="connsiteX42221" y="connsiteY42221"/>
              </a:cxn>
              <a:cxn ang="0">
                <a:pos x="connsiteX42222" y="connsiteY42222"/>
              </a:cxn>
              <a:cxn ang="0">
                <a:pos x="connsiteX42223" y="connsiteY42223"/>
              </a:cxn>
              <a:cxn ang="0">
                <a:pos x="connsiteX42224" y="connsiteY42224"/>
              </a:cxn>
              <a:cxn ang="0">
                <a:pos x="connsiteX42225" y="connsiteY42225"/>
              </a:cxn>
              <a:cxn ang="0">
                <a:pos x="connsiteX42226" y="connsiteY42226"/>
              </a:cxn>
              <a:cxn ang="0">
                <a:pos x="connsiteX42227" y="connsiteY42227"/>
              </a:cxn>
              <a:cxn ang="0">
                <a:pos x="connsiteX42228" y="connsiteY42228"/>
              </a:cxn>
              <a:cxn ang="0">
                <a:pos x="connsiteX42229" y="connsiteY42229"/>
              </a:cxn>
              <a:cxn ang="0">
                <a:pos x="connsiteX42230" y="connsiteY42230"/>
              </a:cxn>
              <a:cxn ang="0">
                <a:pos x="connsiteX42231" y="connsiteY42231"/>
              </a:cxn>
              <a:cxn ang="0">
                <a:pos x="connsiteX42232" y="connsiteY42232"/>
              </a:cxn>
              <a:cxn ang="0">
                <a:pos x="connsiteX42233" y="connsiteY42233"/>
              </a:cxn>
              <a:cxn ang="0">
                <a:pos x="connsiteX42234" y="connsiteY42234"/>
              </a:cxn>
              <a:cxn ang="0">
                <a:pos x="connsiteX42235" y="connsiteY42235"/>
              </a:cxn>
              <a:cxn ang="0">
                <a:pos x="connsiteX42236" y="connsiteY42236"/>
              </a:cxn>
              <a:cxn ang="0">
                <a:pos x="connsiteX42237" y="connsiteY42237"/>
              </a:cxn>
              <a:cxn ang="0">
                <a:pos x="connsiteX42238" y="connsiteY42238"/>
              </a:cxn>
              <a:cxn ang="0">
                <a:pos x="connsiteX42239" y="connsiteY42239"/>
              </a:cxn>
              <a:cxn ang="0">
                <a:pos x="connsiteX42240" y="connsiteY42240"/>
              </a:cxn>
              <a:cxn ang="0">
                <a:pos x="connsiteX42241" y="connsiteY42241"/>
              </a:cxn>
              <a:cxn ang="0">
                <a:pos x="connsiteX42242" y="connsiteY42242"/>
              </a:cxn>
              <a:cxn ang="0">
                <a:pos x="connsiteX42243" y="connsiteY42243"/>
              </a:cxn>
              <a:cxn ang="0">
                <a:pos x="connsiteX42244" y="connsiteY42244"/>
              </a:cxn>
              <a:cxn ang="0">
                <a:pos x="connsiteX42245" y="connsiteY42245"/>
              </a:cxn>
              <a:cxn ang="0">
                <a:pos x="connsiteX42246" y="connsiteY42246"/>
              </a:cxn>
              <a:cxn ang="0">
                <a:pos x="connsiteX42247" y="connsiteY42247"/>
              </a:cxn>
              <a:cxn ang="0">
                <a:pos x="connsiteX42248" y="connsiteY42248"/>
              </a:cxn>
              <a:cxn ang="0">
                <a:pos x="connsiteX42249" y="connsiteY42249"/>
              </a:cxn>
              <a:cxn ang="0">
                <a:pos x="connsiteX42250" y="connsiteY42250"/>
              </a:cxn>
              <a:cxn ang="0">
                <a:pos x="connsiteX42251" y="connsiteY42251"/>
              </a:cxn>
              <a:cxn ang="0">
                <a:pos x="connsiteX42252" y="connsiteY42252"/>
              </a:cxn>
              <a:cxn ang="0">
                <a:pos x="connsiteX42253" y="connsiteY42253"/>
              </a:cxn>
              <a:cxn ang="0">
                <a:pos x="connsiteX42254" y="connsiteY42254"/>
              </a:cxn>
              <a:cxn ang="0">
                <a:pos x="connsiteX42255" y="connsiteY42255"/>
              </a:cxn>
              <a:cxn ang="0">
                <a:pos x="connsiteX42256" y="connsiteY42256"/>
              </a:cxn>
              <a:cxn ang="0">
                <a:pos x="connsiteX42257" y="connsiteY42257"/>
              </a:cxn>
              <a:cxn ang="0">
                <a:pos x="connsiteX42258" y="connsiteY42258"/>
              </a:cxn>
              <a:cxn ang="0">
                <a:pos x="connsiteX42259" y="connsiteY42259"/>
              </a:cxn>
              <a:cxn ang="0">
                <a:pos x="connsiteX42260" y="connsiteY42260"/>
              </a:cxn>
              <a:cxn ang="0">
                <a:pos x="connsiteX42261" y="connsiteY42261"/>
              </a:cxn>
              <a:cxn ang="0">
                <a:pos x="connsiteX42262" y="connsiteY42262"/>
              </a:cxn>
              <a:cxn ang="0">
                <a:pos x="connsiteX42263" y="connsiteY42263"/>
              </a:cxn>
              <a:cxn ang="0">
                <a:pos x="connsiteX42264" y="connsiteY42264"/>
              </a:cxn>
              <a:cxn ang="0">
                <a:pos x="connsiteX42265" y="connsiteY42265"/>
              </a:cxn>
              <a:cxn ang="0">
                <a:pos x="connsiteX42266" y="connsiteY42266"/>
              </a:cxn>
              <a:cxn ang="0">
                <a:pos x="connsiteX42267" y="connsiteY42267"/>
              </a:cxn>
              <a:cxn ang="0">
                <a:pos x="connsiteX42268" y="connsiteY42268"/>
              </a:cxn>
              <a:cxn ang="0">
                <a:pos x="connsiteX42269" y="connsiteY42269"/>
              </a:cxn>
              <a:cxn ang="0">
                <a:pos x="connsiteX42270" y="connsiteY42270"/>
              </a:cxn>
              <a:cxn ang="0">
                <a:pos x="connsiteX42271" y="connsiteY42271"/>
              </a:cxn>
              <a:cxn ang="0">
                <a:pos x="connsiteX42272" y="connsiteY42272"/>
              </a:cxn>
              <a:cxn ang="0">
                <a:pos x="connsiteX42273" y="connsiteY42273"/>
              </a:cxn>
              <a:cxn ang="0">
                <a:pos x="connsiteX42274" y="connsiteY42274"/>
              </a:cxn>
              <a:cxn ang="0">
                <a:pos x="connsiteX42275" y="connsiteY42275"/>
              </a:cxn>
              <a:cxn ang="0">
                <a:pos x="connsiteX42276" y="connsiteY42276"/>
              </a:cxn>
              <a:cxn ang="0">
                <a:pos x="connsiteX42277" y="connsiteY42277"/>
              </a:cxn>
              <a:cxn ang="0">
                <a:pos x="connsiteX42278" y="connsiteY42278"/>
              </a:cxn>
              <a:cxn ang="0">
                <a:pos x="connsiteX42279" y="connsiteY42279"/>
              </a:cxn>
              <a:cxn ang="0">
                <a:pos x="connsiteX42280" y="connsiteY42280"/>
              </a:cxn>
              <a:cxn ang="0">
                <a:pos x="connsiteX42281" y="connsiteY42281"/>
              </a:cxn>
              <a:cxn ang="0">
                <a:pos x="connsiteX42282" y="connsiteY42282"/>
              </a:cxn>
              <a:cxn ang="0">
                <a:pos x="connsiteX42283" y="connsiteY42283"/>
              </a:cxn>
              <a:cxn ang="0">
                <a:pos x="connsiteX42284" y="connsiteY42284"/>
              </a:cxn>
              <a:cxn ang="0">
                <a:pos x="connsiteX42285" y="connsiteY42285"/>
              </a:cxn>
              <a:cxn ang="0">
                <a:pos x="connsiteX42286" y="connsiteY42286"/>
              </a:cxn>
              <a:cxn ang="0">
                <a:pos x="connsiteX42287" y="connsiteY42287"/>
              </a:cxn>
              <a:cxn ang="0">
                <a:pos x="connsiteX42288" y="connsiteY42288"/>
              </a:cxn>
              <a:cxn ang="0">
                <a:pos x="connsiteX42289" y="connsiteY42289"/>
              </a:cxn>
              <a:cxn ang="0">
                <a:pos x="connsiteX42290" y="connsiteY42290"/>
              </a:cxn>
              <a:cxn ang="0">
                <a:pos x="connsiteX42291" y="connsiteY42291"/>
              </a:cxn>
              <a:cxn ang="0">
                <a:pos x="connsiteX42292" y="connsiteY42292"/>
              </a:cxn>
              <a:cxn ang="0">
                <a:pos x="connsiteX42293" y="connsiteY42293"/>
              </a:cxn>
              <a:cxn ang="0">
                <a:pos x="connsiteX42294" y="connsiteY42294"/>
              </a:cxn>
              <a:cxn ang="0">
                <a:pos x="connsiteX42295" y="connsiteY42295"/>
              </a:cxn>
              <a:cxn ang="0">
                <a:pos x="connsiteX42296" y="connsiteY42296"/>
              </a:cxn>
              <a:cxn ang="0">
                <a:pos x="connsiteX42297" y="connsiteY42297"/>
              </a:cxn>
              <a:cxn ang="0">
                <a:pos x="connsiteX42298" y="connsiteY42298"/>
              </a:cxn>
              <a:cxn ang="0">
                <a:pos x="connsiteX42299" y="connsiteY42299"/>
              </a:cxn>
              <a:cxn ang="0">
                <a:pos x="connsiteX42300" y="connsiteY42300"/>
              </a:cxn>
              <a:cxn ang="0">
                <a:pos x="connsiteX42301" y="connsiteY42301"/>
              </a:cxn>
              <a:cxn ang="0">
                <a:pos x="connsiteX42302" y="connsiteY42302"/>
              </a:cxn>
              <a:cxn ang="0">
                <a:pos x="connsiteX42303" y="connsiteY42303"/>
              </a:cxn>
              <a:cxn ang="0">
                <a:pos x="connsiteX42304" y="connsiteY42304"/>
              </a:cxn>
              <a:cxn ang="0">
                <a:pos x="connsiteX42305" y="connsiteY42305"/>
              </a:cxn>
              <a:cxn ang="0">
                <a:pos x="connsiteX42306" y="connsiteY42306"/>
              </a:cxn>
              <a:cxn ang="0">
                <a:pos x="connsiteX42307" y="connsiteY42307"/>
              </a:cxn>
              <a:cxn ang="0">
                <a:pos x="connsiteX42308" y="connsiteY42308"/>
              </a:cxn>
              <a:cxn ang="0">
                <a:pos x="connsiteX42309" y="connsiteY42309"/>
              </a:cxn>
              <a:cxn ang="0">
                <a:pos x="connsiteX42310" y="connsiteY42310"/>
              </a:cxn>
              <a:cxn ang="0">
                <a:pos x="connsiteX42311" y="connsiteY42311"/>
              </a:cxn>
              <a:cxn ang="0">
                <a:pos x="connsiteX42312" y="connsiteY42312"/>
              </a:cxn>
              <a:cxn ang="0">
                <a:pos x="connsiteX42313" y="connsiteY42313"/>
              </a:cxn>
              <a:cxn ang="0">
                <a:pos x="connsiteX42314" y="connsiteY42314"/>
              </a:cxn>
              <a:cxn ang="0">
                <a:pos x="connsiteX42315" y="connsiteY42315"/>
              </a:cxn>
              <a:cxn ang="0">
                <a:pos x="connsiteX42316" y="connsiteY42316"/>
              </a:cxn>
              <a:cxn ang="0">
                <a:pos x="connsiteX42317" y="connsiteY42317"/>
              </a:cxn>
              <a:cxn ang="0">
                <a:pos x="connsiteX42318" y="connsiteY42318"/>
              </a:cxn>
              <a:cxn ang="0">
                <a:pos x="connsiteX42319" y="connsiteY42319"/>
              </a:cxn>
              <a:cxn ang="0">
                <a:pos x="connsiteX42320" y="connsiteY42320"/>
              </a:cxn>
              <a:cxn ang="0">
                <a:pos x="connsiteX42321" y="connsiteY42321"/>
              </a:cxn>
              <a:cxn ang="0">
                <a:pos x="connsiteX42322" y="connsiteY42322"/>
              </a:cxn>
              <a:cxn ang="0">
                <a:pos x="connsiteX42323" y="connsiteY42323"/>
              </a:cxn>
              <a:cxn ang="0">
                <a:pos x="connsiteX42324" y="connsiteY42324"/>
              </a:cxn>
              <a:cxn ang="0">
                <a:pos x="connsiteX42325" y="connsiteY42325"/>
              </a:cxn>
              <a:cxn ang="0">
                <a:pos x="connsiteX42326" y="connsiteY42326"/>
              </a:cxn>
              <a:cxn ang="0">
                <a:pos x="connsiteX42327" y="connsiteY42327"/>
              </a:cxn>
              <a:cxn ang="0">
                <a:pos x="connsiteX42328" y="connsiteY42328"/>
              </a:cxn>
              <a:cxn ang="0">
                <a:pos x="connsiteX42329" y="connsiteY42329"/>
              </a:cxn>
              <a:cxn ang="0">
                <a:pos x="connsiteX42330" y="connsiteY42330"/>
              </a:cxn>
              <a:cxn ang="0">
                <a:pos x="connsiteX42331" y="connsiteY42331"/>
              </a:cxn>
              <a:cxn ang="0">
                <a:pos x="connsiteX42332" y="connsiteY42332"/>
              </a:cxn>
              <a:cxn ang="0">
                <a:pos x="connsiteX42333" y="connsiteY42333"/>
              </a:cxn>
              <a:cxn ang="0">
                <a:pos x="connsiteX42334" y="connsiteY42334"/>
              </a:cxn>
              <a:cxn ang="0">
                <a:pos x="connsiteX42335" y="connsiteY42335"/>
              </a:cxn>
              <a:cxn ang="0">
                <a:pos x="connsiteX42336" y="connsiteY42336"/>
              </a:cxn>
              <a:cxn ang="0">
                <a:pos x="connsiteX42337" y="connsiteY42337"/>
              </a:cxn>
              <a:cxn ang="0">
                <a:pos x="connsiteX42338" y="connsiteY42338"/>
              </a:cxn>
              <a:cxn ang="0">
                <a:pos x="connsiteX42339" y="connsiteY42339"/>
              </a:cxn>
              <a:cxn ang="0">
                <a:pos x="connsiteX42340" y="connsiteY42340"/>
              </a:cxn>
              <a:cxn ang="0">
                <a:pos x="connsiteX42341" y="connsiteY42341"/>
              </a:cxn>
              <a:cxn ang="0">
                <a:pos x="connsiteX42342" y="connsiteY42342"/>
              </a:cxn>
              <a:cxn ang="0">
                <a:pos x="connsiteX42343" y="connsiteY42343"/>
              </a:cxn>
              <a:cxn ang="0">
                <a:pos x="connsiteX42344" y="connsiteY42344"/>
              </a:cxn>
              <a:cxn ang="0">
                <a:pos x="connsiteX42345" y="connsiteY42345"/>
              </a:cxn>
              <a:cxn ang="0">
                <a:pos x="connsiteX42346" y="connsiteY42346"/>
              </a:cxn>
              <a:cxn ang="0">
                <a:pos x="connsiteX42347" y="connsiteY42347"/>
              </a:cxn>
              <a:cxn ang="0">
                <a:pos x="connsiteX42348" y="connsiteY42348"/>
              </a:cxn>
              <a:cxn ang="0">
                <a:pos x="connsiteX42349" y="connsiteY42349"/>
              </a:cxn>
              <a:cxn ang="0">
                <a:pos x="connsiteX42350" y="connsiteY42350"/>
              </a:cxn>
              <a:cxn ang="0">
                <a:pos x="connsiteX42351" y="connsiteY42351"/>
              </a:cxn>
              <a:cxn ang="0">
                <a:pos x="connsiteX42352" y="connsiteY42352"/>
              </a:cxn>
              <a:cxn ang="0">
                <a:pos x="connsiteX42353" y="connsiteY42353"/>
              </a:cxn>
              <a:cxn ang="0">
                <a:pos x="connsiteX42354" y="connsiteY42354"/>
              </a:cxn>
              <a:cxn ang="0">
                <a:pos x="connsiteX42355" y="connsiteY42355"/>
              </a:cxn>
              <a:cxn ang="0">
                <a:pos x="connsiteX42356" y="connsiteY42356"/>
              </a:cxn>
              <a:cxn ang="0">
                <a:pos x="connsiteX42357" y="connsiteY42357"/>
              </a:cxn>
              <a:cxn ang="0">
                <a:pos x="connsiteX42358" y="connsiteY42358"/>
              </a:cxn>
              <a:cxn ang="0">
                <a:pos x="connsiteX42359" y="connsiteY42359"/>
              </a:cxn>
              <a:cxn ang="0">
                <a:pos x="connsiteX42360" y="connsiteY42360"/>
              </a:cxn>
              <a:cxn ang="0">
                <a:pos x="connsiteX42361" y="connsiteY42361"/>
              </a:cxn>
              <a:cxn ang="0">
                <a:pos x="connsiteX42362" y="connsiteY42362"/>
              </a:cxn>
              <a:cxn ang="0">
                <a:pos x="connsiteX42363" y="connsiteY42363"/>
              </a:cxn>
              <a:cxn ang="0">
                <a:pos x="connsiteX42364" y="connsiteY42364"/>
              </a:cxn>
              <a:cxn ang="0">
                <a:pos x="connsiteX42365" y="connsiteY42365"/>
              </a:cxn>
              <a:cxn ang="0">
                <a:pos x="connsiteX42366" y="connsiteY42366"/>
              </a:cxn>
              <a:cxn ang="0">
                <a:pos x="connsiteX42367" y="connsiteY42367"/>
              </a:cxn>
              <a:cxn ang="0">
                <a:pos x="connsiteX42368" y="connsiteY42368"/>
              </a:cxn>
              <a:cxn ang="0">
                <a:pos x="connsiteX42369" y="connsiteY42369"/>
              </a:cxn>
              <a:cxn ang="0">
                <a:pos x="connsiteX42370" y="connsiteY42370"/>
              </a:cxn>
              <a:cxn ang="0">
                <a:pos x="connsiteX42371" y="connsiteY42371"/>
              </a:cxn>
              <a:cxn ang="0">
                <a:pos x="connsiteX42372" y="connsiteY42372"/>
              </a:cxn>
              <a:cxn ang="0">
                <a:pos x="connsiteX42373" y="connsiteY42373"/>
              </a:cxn>
              <a:cxn ang="0">
                <a:pos x="connsiteX42374" y="connsiteY42374"/>
              </a:cxn>
              <a:cxn ang="0">
                <a:pos x="connsiteX42375" y="connsiteY42375"/>
              </a:cxn>
              <a:cxn ang="0">
                <a:pos x="connsiteX42376" y="connsiteY42376"/>
              </a:cxn>
              <a:cxn ang="0">
                <a:pos x="connsiteX42377" y="connsiteY42377"/>
              </a:cxn>
              <a:cxn ang="0">
                <a:pos x="connsiteX42378" y="connsiteY42378"/>
              </a:cxn>
              <a:cxn ang="0">
                <a:pos x="connsiteX42379" y="connsiteY42379"/>
              </a:cxn>
              <a:cxn ang="0">
                <a:pos x="connsiteX42380" y="connsiteY42380"/>
              </a:cxn>
              <a:cxn ang="0">
                <a:pos x="connsiteX42381" y="connsiteY42381"/>
              </a:cxn>
              <a:cxn ang="0">
                <a:pos x="connsiteX42382" y="connsiteY42382"/>
              </a:cxn>
              <a:cxn ang="0">
                <a:pos x="connsiteX42383" y="connsiteY42383"/>
              </a:cxn>
              <a:cxn ang="0">
                <a:pos x="connsiteX42384" y="connsiteY42384"/>
              </a:cxn>
              <a:cxn ang="0">
                <a:pos x="connsiteX42385" y="connsiteY42385"/>
              </a:cxn>
              <a:cxn ang="0">
                <a:pos x="connsiteX42386" y="connsiteY42386"/>
              </a:cxn>
              <a:cxn ang="0">
                <a:pos x="connsiteX42387" y="connsiteY42387"/>
              </a:cxn>
              <a:cxn ang="0">
                <a:pos x="connsiteX42388" y="connsiteY42388"/>
              </a:cxn>
              <a:cxn ang="0">
                <a:pos x="connsiteX42389" y="connsiteY42389"/>
              </a:cxn>
              <a:cxn ang="0">
                <a:pos x="connsiteX42390" y="connsiteY42390"/>
              </a:cxn>
              <a:cxn ang="0">
                <a:pos x="connsiteX42391" y="connsiteY42391"/>
              </a:cxn>
              <a:cxn ang="0">
                <a:pos x="connsiteX42392" y="connsiteY42392"/>
              </a:cxn>
              <a:cxn ang="0">
                <a:pos x="connsiteX42393" y="connsiteY42393"/>
              </a:cxn>
              <a:cxn ang="0">
                <a:pos x="connsiteX42394" y="connsiteY42394"/>
              </a:cxn>
              <a:cxn ang="0">
                <a:pos x="connsiteX42395" y="connsiteY42395"/>
              </a:cxn>
              <a:cxn ang="0">
                <a:pos x="connsiteX42396" y="connsiteY42396"/>
              </a:cxn>
              <a:cxn ang="0">
                <a:pos x="connsiteX42397" y="connsiteY42397"/>
              </a:cxn>
              <a:cxn ang="0">
                <a:pos x="connsiteX42398" y="connsiteY42398"/>
              </a:cxn>
              <a:cxn ang="0">
                <a:pos x="connsiteX42399" y="connsiteY42399"/>
              </a:cxn>
              <a:cxn ang="0">
                <a:pos x="connsiteX42400" y="connsiteY42400"/>
              </a:cxn>
              <a:cxn ang="0">
                <a:pos x="connsiteX42401" y="connsiteY42401"/>
              </a:cxn>
              <a:cxn ang="0">
                <a:pos x="connsiteX42402" y="connsiteY42402"/>
              </a:cxn>
              <a:cxn ang="0">
                <a:pos x="connsiteX42403" y="connsiteY42403"/>
              </a:cxn>
              <a:cxn ang="0">
                <a:pos x="connsiteX42404" y="connsiteY42404"/>
              </a:cxn>
              <a:cxn ang="0">
                <a:pos x="connsiteX42405" y="connsiteY42405"/>
              </a:cxn>
              <a:cxn ang="0">
                <a:pos x="connsiteX42406" y="connsiteY42406"/>
              </a:cxn>
              <a:cxn ang="0">
                <a:pos x="connsiteX42407" y="connsiteY42407"/>
              </a:cxn>
              <a:cxn ang="0">
                <a:pos x="connsiteX42408" y="connsiteY42408"/>
              </a:cxn>
              <a:cxn ang="0">
                <a:pos x="connsiteX42409" y="connsiteY42409"/>
              </a:cxn>
              <a:cxn ang="0">
                <a:pos x="connsiteX42410" y="connsiteY42410"/>
              </a:cxn>
              <a:cxn ang="0">
                <a:pos x="connsiteX42411" y="connsiteY42411"/>
              </a:cxn>
              <a:cxn ang="0">
                <a:pos x="connsiteX42412" y="connsiteY42412"/>
              </a:cxn>
              <a:cxn ang="0">
                <a:pos x="connsiteX42413" y="connsiteY42413"/>
              </a:cxn>
              <a:cxn ang="0">
                <a:pos x="connsiteX42414" y="connsiteY42414"/>
              </a:cxn>
              <a:cxn ang="0">
                <a:pos x="connsiteX42415" y="connsiteY42415"/>
              </a:cxn>
              <a:cxn ang="0">
                <a:pos x="connsiteX42416" y="connsiteY42416"/>
              </a:cxn>
              <a:cxn ang="0">
                <a:pos x="connsiteX42417" y="connsiteY42417"/>
              </a:cxn>
              <a:cxn ang="0">
                <a:pos x="connsiteX42418" y="connsiteY42418"/>
              </a:cxn>
              <a:cxn ang="0">
                <a:pos x="connsiteX42419" y="connsiteY42419"/>
              </a:cxn>
              <a:cxn ang="0">
                <a:pos x="connsiteX42420" y="connsiteY42420"/>
              </a:cxn>
              <a:cxn ang="0">
                <a:pos x="connsiteX42421" y="connsiteY42421"/>
              </a:cxn>
              <a:cxn ang="0">
                <a:pos x="connsiteX42422" y="connsiteY42422"/>
              </a:cxn>
              <a:cxn ang="0">
                <a:pos x="connsiteX42423" y="connsiteY42423"/>
              </a:cxn>
              <a:cxn ang="0">
                <a:pos x="connsiteX42424" y="connsiteY42424"/>
              </a:cxn>
              <a:cxn ang="0">
                <a:pos x="connsiteX42425" y="connsiteY42425"/>
              </a:cxn>
              <a:cxn ang="0">
                <a:pos x="connsiteX42426" y="connsiteY42426"/>
              </a:cxn>
              <a:cxn ang="0">
                <a:pos x="connsiteX42427" y="connsiteY42427"/>
              </a:cxn>
              <a:cxn ang="0">
                <a:pos x="connsiteX42428" y="connsiteY42428"/>
              </a:cxn>
              <a:cxn ang="0">
                <a:pos x="connsiteX42429" y="connsiteY42429"/>
              </a:cxn>
              <a:cxn ang="0">
                <a:pos x="connsiteX42430" y="connsiteY42430"/>
              </a:cxn>
              <a:cxn ang="0">
                <a:pos x="connsiteX42431" y="connsiteY42431"/>
              </a:cxn>
              <a:cxn ang="0">
                <a:pos x="connsiteX42432" y="connsiteY42432"/>
              </a:cxn>
              <a:cxn ang="0">
                <a:pos x="connsiteX42433" y="connsiteY42433"/>
              </a:cxn>
              <a:cxn ang="0">
                <a:pos x="connsiteX42434" y="connsiteY42434"/>
              </a:cxn>
              <a:cxn ang="0">
                <a:pos x="connsiteX42435" y="connsiteY42435"/>
              </a:cxn>
              <a:cxn ang="0">
                <a:pos x="connsiteX42436" y="connsiteY42436"/>
              </a:cxn>
              <a:cxn ang="0">
                <a:pos x="connsiteX42437" y="connsiteY42437"/>
              </a:cxn>
              <a:cxn ang="0">
                <a:pos x="connsiteX42438" y="connsiteY42438"/>
              </a:cxn>
              <a:cxn ang="0">
                <a:pos x="connsiteX42439" y="connsiteY42439"/>
              </a:cxn>
              <a:cxn ang="0">
                <a:pos x="connsiteX42440" y="connsiteY42440"/>
              </a:cxn>
              <a:cxn ang="0">
                <a:pos x="connsiteX42441" y="connsiteY42441"/>
              </a:cxn>
              <a:cxn ang="0">
                <a:pos x="connsiteX42442" y="connsiteY42442"/>
              </a:cxn>
              <a:cxn ang="0">
                <a:pos x="connsiteX42443" y="connsiteY42443"/>
              </a:cxn>
              <a:cxn ang="0">
                <a:pos x="connsiteX42444" y="connsiteY42444"/>
              </a:cxn>
              <a:cxn ang="0">
                <a:pos x="connsiteX42445" y="connsiteY42445"/>
              </a:cxn>
              <a:cxn ang="0">
                <a:pos x="connsiteX42446" y="connsiteY42446"/>
              </a:cxn>
              <a:cxn ang="0">
                <a:pos x="connsiteX42447" y="connsiteY42447"/>
              </a:cxn>
              <a:cxn ang="0">
                <a:pos x="connsiteX42448" y="connsiteY42448"/>
              </a:cxn>
              <a:cxn ang="0">
                <a:pos x="connsiteX42449" y="connsiteY42449"/>
              </a:cxn>
              <a:cxn ang="0">
                <a:pos x="connsiteX42450" y="connsiteY42450"/>
              </a:cxn>
              <a:cxn ang="0">
                <a:pos x="connsiteX42451" y="connsiteY42451"/>
              </a:cxn>
              <a:cxn ang="0">
                <a:pos x="connsiteX42452" y="connsiteY42452"/>
              </a:cxn>
              <a:cxn ang="0">
                <a:pos x="connsiteX42453" y="connsiteY42453"/>
              </a:cxn>
              <a:cxn ang="0">
                <a:pos x="connsiteX42454" y="connsiteY42454"/>
              </a:cxn>
              <a:cxn ang="0">
                <a:pos x="connsiteX42455" y="connsiteY42455"/>
              </a:cxn>
              <a:cxn ang="0">
                <a:pos x="connsiteX42456" y="connsiteY42456"/>
              </a:cxn>
              <a:cxn ang="0">
                <a:pos x="connsiteX42457" y="connsiteY42457"/>
              </a:cxn>
              <a:cxn ang="0">
                <a:pos x="connsiteX42458" y="connsiteY42458"/>
              </a:cxn>
              <a:cxn ang="0">
                <a:pos x="connsiteX42459" y="connsiteY42459"/>
              </a:cxn>
              <a:cxn ang="0">
                <a:pos x="connsiteX42460" y="connsiteY42460"/>
              </a:cxn>
              <a:cxn ang="0">
                <a:pos x="connsiteX42461" y="connsiteY42461"/>
              </a:cxn>
              <a:cxn ang="0">
                <a:pos x="connsiteX42462" y="connsiteY42462"/>
              </a:cxn>
              <a:cxn ang="0">
                <a:pos x="connsiteX42463" y="connsiteY42463"/>
              </a:cxn>
              <a:cxn ang="0">
                <a:pos x="connsiteX42464" y="connsiteY42464"/>
              </a:cxn>
              <a:cxn ang="0">
                <a:pos x="connsiteX42465" y="connsiteY42465"/>
              </a:cxn>
              <a:cxn ang="0">
                <a:pos x="connsiteX42466" y="connsiteY42466"/>
              </a:cxn>
              <a:cxn ang="0">
                <a:pos x="connsiteX42467" y="connsiteY42467"/>
              </a:cxn>
              <a:cxn ang="0">
                <a:pos x="connsiteX42468" y="connsiteY42468"/>
              </a:cxn>
              <a:cxn ang="0">
                <a:pos x="connsiteX42469" y="connsiteY42469"/>
              </a:cxn>
              <a:cxn ang="0">
                <a:pos x="connsiteX42470" y="connsiteY42470"/>
              </a:cxn>
              <a:cxn ang="0">
                <a:pos x="connsiteX42471" y="connsiteY42471"/>
              </a:cxn>
              <a:cxn ang="0">
                <a:pos x="connsiteX42472" y="connsiteY42472"/>
              </a:cxn>
              <a:cxn ang="0">
                <a:pos x="connsiteX42473" y="connsiteY42473"/>
              </a:cxn>
              <a:cxn ang="0">
                <a:pos x="connsiteX42474" y="connsiteY42474"/>
              </a:cxn>
              <a:cxn ang="0">
                <a:pos x="connsiteX42475" y="connsiteY42475"/>
              </a:cxn>
              <a:cxn ang="0">
                <a:pos x="connsiteX42476" y="connsiteY42476"/>
              </a:cxn>
              <a:cxn ang="0">
                <a:pos x="connsiteX42477" y="connsiteY42477"/>
              </a:cxn>
              <a:cxn ang="0">
                <a:pos x="connsiteX42478" y="connsiteY42478"/>
              </a:cxn>
              <a:cxn ang="0">
                <a:pos x="connsiteX42479" y="connsiteY42479"/>
              </a:cxn>
              <a:cxn ang="0">
                <a:pos x="connsiteX42480" y="connsiteY42480"/>
              </a:cxn>
              <a:cxn ang="0">
                <a:pos x="connsiteX42481" y="connsiteY42481"/>
              </a:cxn>
              <a:cxn ang="0">
                <a:pos x="connsiteX42482" y="connsiteY42482"/>
              </a:cxn>
              <a:cxn ang="0">
                <a:pos x="connsiteX42483" y="connsiteY42483"/>
              </a:cxn>
              <a:cxn ang="0">
                <a:pos x="connsiteX42484" y="connsiteY42484"/>
              </a:cxn>
              <a:cxn ang="0">
                <a:pos x="connsiteX42485" y="connsiteY42485"/>
              </a:cxn>
              <a:cxn ang="0">
                <a:pos x="connsiteX42486" y="connsiteY42486"/>
              </a:cxn>
              <a:cxn ang="0">
                <a:pos x="connsiteX42487" y="connsiteY42487"/>
              </a:cxn>
              <a:cxn ang="0">
                <a:pos x="connsiteX42488" y="connsiteY42488"/>
              </a:cxn>
              <a:cxn ang="0">
                <a:pos x="connsiteX42489" y="connsiteY42489"/>
              </a:cxn>
              <a:cxn ang="0">
                <a:pos x="connsiteX42490" y="connsiteY42490"/>
              </a:cxn>
              <a:cxn ang="0">
                <a:pos x="connsiteX42491" y="connsiteY42491"/>
              </a:cxn>
              <a:cxn ang="0">
                <a:pos x="connsiteX42492" y="connsiteY42492"/>
              </a:cxn>
              <a:cxn ang="0">
                <a:pos x="connsiteX42493" y="connsiteY42493"/>
              </a:cxn>
              <a:cxn ang="0">
                <a:pos x="connsiteX42494" y="connsiteY42494"/>
              </a:cxn>
              <a:cxn ang="0">
                <a:pos x="connsiteX42495" y="connsiteY42495"/>
              </a:cxn>
              <a:cxn ang="0">
                <a:pos x="connsiteX42496" y="connsiteY42496"/>
              </a:cxn>
              <a:cxn ang="0">
                <a:pos x="connsiteX42497" y="connsiteY42497"/>
              </a:cxn>
              <a:cxn ang="0">
                <a:pos x="connsiteX42498" y="connsiteY42498"/>
              </a:cxn>
              <a:cxn ang="0">
                <a:pos x="connsiteX42499" y="connsiteY42499"/>
              </a:cxn>
              <a:cxn ang="0">
                <a:pos x="connsiteX42500" y="connsiteY42500"/>
              </a:cxn>
              <a:cxn ang="0">
                <a:pos x="connsiteX42501" y="connsiteY42501"/>
              </a:cxn>
              <a:cxn ang="0">
                <a:pos x="connsiteX42502" y="connsiteY42502"/>
              </a:cxn>
              <a:cxn ang="0">
                <a:pos x="connsiteX42503" y="connsiteY42503"/>
              </a:cxn>
              <a:cxn ang="0">
                <a:pos x="connsiteX42504" y="connsiteY42504"/>
              </a:cxn>
              <a:cxn ang="0">
                <a:pos x="connsiteX42505" y="connsiteY42505"/>
              </a:cxn>
              <a:cxn ang="0">
                <a:pos x="connsiteX42506" y="connsiteY42506"/>
              </a:cxn>
              <a:cxn ang="0">
                <a:pos x="connsiteX42507" y="connsiteY42507"/>
              </a:cxn>
              <a:cxn ang="0">
                <a:pos x="connsiteX42508" y="connsiteY42508"/>
              </a:cxn>
              <a:cxn ang="0">
                <a:pos x="connsiteX42509" y="connsiteY42509"/>
              </a:cxn>
              <a:cxn ang="0">
                <a:pos x="connsiteX42510" y="connsiteY42510"/>
              </a:cxn>
              <a:cxn ang="0">
                <a:pos x="connsiteX42511" y="connsiteY42511"/>
              </a:cxn>
              <a:cxn ang="0">
                <a:pos x="connsiteX42512" y="connsiteY42512"/>
              </a:cxn>
              <a:cxn ang="0">
                <a:pos x="connsiteX42513" y="connsiteY42513"/>
              </a:cxn>
              <a:cxn ang="0">
                <a:pos x="connsiteX42514" y="connsiteY42514"/>
              </a:cxn>
              <a:cxn ang="0">
                <a:pos x="connsiteX42515" y="connsiteY42515"/>
              </a:cxn>
              <a:cxn ang="0">
                <a:pos x="connsiteX42516" y="connsiteY42516"/>
              </a:cxn>
              <a:cxn ang="0">
                <a:pos x="connsiteX42517" y="connsiteY42517"/>
              </a:cxn>
              <a:cxn ang="0">
                <a:pos x="connsiteX42518" y="connsiteY42518"/>
              </a:cxn>
              <a:cxn ang="0">
                <a:pos x="connsiteX42519" y="connsiteY42519"/>
              </a:cxn>
              <a:cxn ang="0">
                <a:pos x="connsiteX42520" y="connsiteY42520"/>
              </a:cxn>
              <a:cxn ang="0">
                <a:pos x="connsiteX42521" y="connsiteY42521"/>
              </a:cxn>
              <a:cxn ang="0">
                <a:pos x="connsiteX42522" y="connsiteY42522"/>
              </a:cxn>
              <a:cxn ang="0">
                <a:pos x="connsiteX42523" y="connsiteY42523"/>
              </a:cxn>
              <a:cxn ang="0">
                <a:pos x="connsiteX42524" y="connsiteY42524"/>
              </a:cxn>
              <a:cxn ang="0">
                <a:pos x="connsiteX42525" y="connsiteY42525"/>
              </a:cxn>
              <a:cxn ang="0">
                <a:pos x="connsiteX42526" y="connsiteY42526"/>
              </a:cxn>
              <a:cxn ang="0">
                <a:pos x="connsiteX42527" y="connsiteY42527"/>
              </a:cxn>
              <a:cxn ang="0">
                <a:pos x="connsiteX42528" y="connsiteY42528"/>
              </a:cxn>
              <a:cxn ang="0">
                <a:pos x="connsiteX42529" y="connsiteY42529"/>
              </a:cxn>
              <a:cxn ang="0">
                <a:pos x="connsiteX42530" y="connsiteY42530"/>
              </a:cxn>
              <a:cxn ang="0">
                <a:pos x="connsiteX42531" y="connsiteY42531"/>
              </a:cxn>
              <a:cxn ang="0">
                <a:pos x="connsiteX42532" y="connsiteY42532"/>
              </a:cxn>
              <a:cxn ang="0">
                <a:pos x="connsiteX42533" y="connsiteY42533"/>
              </a:cxn>
              <a:cxn ang="0">
                <a:pos x="connsiteX42534" y="connsiteY42534"/>
              </a:cxn>
              <a:cxn ang="0">
                <a:pos x="connsiteX42535" y="connsiteY42535"/>
              </a:cxn>
              <a:cxn ang="0">
                <a:pos x="connsiteX42536" y="connsiteY42536"/>
              </a:cxn>
              <a:cxn ang="0">
                <a:pos x="connsiteX42537" y="connsiteY42537"/>
              </a:cxn>
              <a:cxn ang="0">
                <a:pos x="connsiteX42538" y="connsiteY42538"/>
              </a:cxn>
              <a:cxn ang="0">
                <a:pos x="connsiteX42539" y="connsiteY42539"/>
              </a:cxn>
              <a:cxn ang="0">
                <a:pos x="connsiteX42540" y="connsiteY42540"/>
              </a:cxn>
              <a:cxn ang="0">
                <a:pos x="connsiteX42541" y="connsiteY42541"/>
              </a:cxn>
              <a:cxn ang="0">
                <a:pos x="connsiteX42542" y="connsiteY42542"/>
              </a:cxn>
              <a:cxn ang="0">
                <a:pos x="connsiteX42543" y="connsiteY42543"/>
              </a:cxn>
              <a:cxn ang="0">
                <a:pos x="connsiteX42544" y="connsiteY42544"/>
              </a:cxn>
              <a:cxn ang="0">
                <a:pos x="connsiteX42545" y="connsiteY42545"/>
              </a:cxn>
              <a:cxn ang="0">
                <a:pos x="connsiteX42546" y="connsiteY42546"/>
              </a:cxn>
              <a:cxn ang="0">
                <a:pos x="connsiteX42547" y="connsiteY42547"/>
              </a:cxn>
              <a:cxn ang="0">
                <a:pos x="connsiteX42548" y="connsiteY42548"/>
              </a:cxn>
              <a:cxn ang="0">
                <a:pos x="connsiteX42549" y="connsiteY42549"/>
              </a:cxn>
              <a:cxn ang="0">
                <a:pos x="connsiteX42550" y="connsiteY42550"/>
              </a:cxn>
              <a:cxn ang="0">
                <a:pos x="connsiteX42551" y="connsiteY42551"/>
              </a:cxn>
              <a:cxn ang="0">
                <a:pos x="connsiteX42552" y="connsiteY42552"/>
              </a:cxn>
              <a:cxn ang="0">
                <a:pos x="connsiteX42553" y="connsiteY42553"/>
              </a:cxn>
              <a:cxn ang="0">
                <a:pos x="connsiteX42554" y="connsiteY42554"/>
              </a:cxn>
              <a:cxn ang="0">
                <a:pos x="connsiteX42555" y="connsiteY42555"/>
              </a:cxn>
              <a:cxn ang="0">
                <a:pos x="connsiteX42556" y="connsiteY42556"/>
              </a:cxn>
              <a:cxn ang="0">
                <a:pos x="connsiteX42557" y="connsiteY42557"/>
              </a:cxn>
              <a:cxn ang="0">
                <a:pos x="connsiteX42558" y="connsiteY42558"/>
              </a:cxn>
              <a:cxn ang="0">
                <a:pos x="connsiteX42559" y="connsiteY42559"/>
              </a:cxn>
              <a:cxn ang="0">
                <a:pos x="connsiteX42560" y="connsiteY42560"/>
              </a:cxn>
              <a:cxn ang="0">
                <a:pos x="connsiteX42561" y="connsiteY42561"/>
              </a:cxn>
              <a:cxn ang="0">
                <a:pos x="connsiteX42562" y="connsiteY42562"/>
              </a:cxn>
              <a:cxn ang="0">
                <a:pos x="connsiteX42563" y="connsiteY42563"/>
              </a:cxn>
              <a:cxn ang="0">
                <a:pos x="connsiteX42564" y="connsiteY42564"/>
              </a:cxn>
              <a:cxn ang="0">
                <a:pos x="connsiteX42565" y="connsiteY42565"/>
              </a:cxn>
              <a:cxn ang="0">
                <a:pos x="connsiteX42566" y="connsiteY42566"/>
              </a:cxn>
              <a:cxn ang="0">
                <a:pos x="connsiteX42567" y="connsiteY42567"/>
              </a:cxn>
              <a:cxn ang="0">
                <a:pos x="connsiteX42568" y="connsiteY42568"/>
              </a:cxn>
              <a:cxn ang="0">
                <a:pos x="connsiteX42569" y="connsiteY42569"/>
              </a:cxn>
              <a:cxn ang="0">
                <a:pos x="connsiteX42570" y="connsiteY42570"/>
              </a:cxn>
              <a:cxn ang="0">
                <a:pos x="connsiteX42571" y="connsiteY42571"/>
              </a:cxn>
              <a:cxn ang="0">
                <a:pos x="connsiteX42572" y="connsiteY42572"/>
              </a:cxn>
              <a:cxn ang="0">
                <a:pos x="connsiteX42573" y="connsiteY42573"/>
              </a:cxn>
              <a:cxn ang="0">
                <a:pos x="connsiteX42574" y="connsiteY42574"/>
              </a:cxn>
              <a:cxn ang="0">
                <a:pos x="connsiteX42575" y="connsiteY42575"/>
              </a:cxn>
              <a:cxn ang="0">
                <a:pos x="connsiteX42576" y="connsiteY42576"/>
              </a:cxn>
              <a:cxn ang="0">
                <a:pos x="connsiteX42577" y="connsiteY42577"/>
              </a:cxn>
              <a:cxn ang="0">
                <a:pos x="connsiteX42578" y="connsiteY42578"/>
              </a:cxn>
              <a:cxn ang="0">
                <a:pos x="connsiteX42579" y="connsiteY42579"/>
              </a:cxn>
              <a:cxn ang="0">
                <a:pos x="connsiteX42580" y="connsiteY42580"/>
              </a:cxn>
              <a:cxn ang="0">
                <a:pos x="connsiteX42581" y="connsiteY42581"/>
              </a:cxn>
              <a:cxn ang="0">
                <a:pos x="connsiteX42582" y="connsiteY42582"/>
              </a:cxn>
              <a:cxn ang="0">
                <a:pos x="connsiteX42583" y="connsiteY42583"/>
              </a:cxn>
              <a:cxn ang="0">
                <a:pos x="connsiteX42584" y="connsiteY42584"/>
              </a:cxn>
              <a:cxn ang="0">
                <a:pos x="connsiteX42585" y="connsiteY42585"/>
              </a:cxn>
              <a:cxn ang="0">
                <a:pos x="connsiteX42586" y="connsiteY42586"/>
              </a:cxn>
              <a:cxn ang="0">
                <a:pos x="connsiteX42587" y="connsiteY42587"/>
              </a:cxn>
              <a:cxn ang="0">
                <a:pos x="connsiteX42588" y="connsiteY42588"/>
              </a:cxn>
              <a:cxn ang="0">
                <a:pos x="connsiteX42589" y="connsiteY42589"/>
              </a:cxn>
              <a:cxn ang="0">
                <a:pos x="connsiteX42590" y="connsiteY42590"/>
              </a:cxn>
              <a:cxn ang="0">
                <a:pos x="connsiteX42591" y="connsiteY42591"/>
              </a:cxn>
              <a:cxn ang="0">
                <a:pos x="connsiteX42592" y="connsiteY42592"/>
              </a:cxn>
              <a:cxn ang="0">
                <a:pos x="connsiteX42593" y="connsiteY42593"/>
              </a:cxn>
              <a:cxn ang="0">
                <a:pos x="connsiteX42594" y="connsiteY42594"/>
              </a:cxn>
              <a:cxn ang="0">
                <a:pos x="connsiteX42595" y="connsiteY42595"/>
              </a:cxn>
              <a:cxn ang="0">
                <a:pos x="connsiteX42596" y="connsiteY42596"/>
              </a:cxn>
              <a:cxn ang="0">
                <a:pos x="connsiteX42597" y="connsiteY42597"/>
              </a:cxn>
              <a:cxn ang="0">
                <a:pos x="connsiteX42598" y="connsiteY42598"/>
              </a:cxn>
              <a:cxn ang="0">
                <a:pos x="connsiteX42599" y="connsiteY42599"/>
              </a:cxn>
              <a:cxn ang="0">
                <a:pos x="connsiteX42600" y="connsiteY42600"/>
              </a:cxn>
              <a:cxn ang="0">
                <a:pos x="connsiteX42601" y="connsiteY42601"/>
              </a:cxn>
              <a:cxn ang="0">
                <a:pos x="connsiteX42602" y="connsiteY42602"/>
              </a:cxn>
              <a:cxn ang="0">
                <a:pos x="connsiteX42603" y="connsiteY42603"/>
              </a:cxn>
              <a:cxn ang="0">
                <a:pos x="connsiteX42604" y="connsiteY42604"/>
              </a:cxn>
              <a:cxn ang="0">
                <a:pos x="connsiteX42605" y="connsiteY42605"/>
              </a:cxn>
              <a:cxn ang="0">
                <a:pos x="connsiteX42606" y="connsiteY42606"/>
              </a:cxn>
              <a:cxn ang="0">
                <a:pos x="connsiteX42607" y="connsiteY42607"/>
              </a:cxn>
              <a:cxn ang="0">
                <a:pos x="connsiteX42608" y="connsiteY42608"/>
              </a:cxn>
              <a:cxn ang="0">
                <a:pos x="connsiteX42609" y="connsiteY42609"/>
              </a:cxn>
              <a:cxn ang="0">
                <a:pos x="connsiteX42610" y="connsiteY42610"/>
              </a:cxn>
              <a:cxn ang="0">
                <a:pos x="connsiteX42611" y="connsiteY42611"/>
              </a:cxn>
              <a:cxn ang="0">
                <a:pos x="connsiteX42612" y="connsiteY42612"/>
              </a:cxn>
              <a:cxn ang="0">
                <a:pos x="connsiteX42613" y="connsiteY42613"/>
              </a:cxn>
              <a:cxn ang="0">
                <a:pos x="connsiteX42614" y="connsiteY42614"/>
              </a:cxn>
              <a:cxn ang="0">
                <a:pos x="connsiteX42615" y="connsiteY42615"/>
              </a:cxn>
              <a:cxn ang="0">
                <a:pos x="connsiteX42616" y="connsiteY42616"/>
              </a:cxn>
              <a:cxn ang="0">
                <a:pos x="connsiteX42617" y="connsiteY42617"/>
              </a:cxn>
              <a:cxn ang="0">
                <a:pos x="connsiteX42618" y="connsiteY42618"/>
              </a:cxn>
              <a:cxn ang="0">
                <a:pos x="connsiteX42619" y="connsiteY42619"/>
              </a:cxn>
              <a:cxn ang="0">
                <a:pos x="connsiteX42620" y="connsiteY42620"/>
              </a:cxn>
              <a:cxn ang="0">
                <a:pos x="connsiteX42621" y="connsiteY42621"/>
              </a:cxn>
              <a:cxn ang="0">
                <a:pos x="connsiteX42622" y="connsiteY42622"/>
              </a:cxn>
              <a:cxn ang="0">
                <a:pos x="connsiteX42623" y="connsiteY42623"/>
              </a:cxn>
              <a:cxn ang="0">
                <a:pos x="connsiteX42624" y="connsiteY42624"/>
              </a:cxn>
              <a:cxn ang="0">
                <a:pos x="connsiteX42625" y="connsiteY42625"/>
              </a:cxn>
              <a:cxn ang="0">
                <a:pos x="connsiteX42626" y="connsiteY42626"/>
              </a:cxn>
              <a:cxn ang="0">
                <a:pos x="connsiteX42627" y="connsiteY42627"/>
              </a:cxn>
              <a:cxn ang="0">
                <a:pos x="connsiteX42628" y="connsiteY42628"/>
              </a:cxn>
              <a:cxn ang="0">
                <a:pos x="connsiteX42629" y="connsiteY42629"/>
              </a:cxn>
              <a:cxn ang="0">
                <a:pos x="connsiteX42630" y="connsiteY42630"/>
              </a:cxn>
              <a:cxn ang="0">
                <a:pos x="connsiteX42631" y="connsiteY42631"/>
              </a:cxn>
              <a:cxn ang="0">
                <a:pos x="connsiteX42632" y="connsiteY42632"/>
              </a:cxn>
              <a:cxn ang="0">
                <a:pos x="connsiteX42633" y="connsiteY42633"/>
              </a:cxn>
              <a:cxn ang="0">
                <a:pos x="connsiteX42634" y="connsiteY42634"/>
              </a:cxn>
              <a:cxn ang="0">
                <a:pos x="connsiteX42635" y="connsiteY42635"/>
              </a:cxn>
              <a:cxn ang="0">
                <a:pos x="connsiteX42636" y="connsiteY42636"/>
              </a:cxn>
              <a:cxn ang="0">
                <a:pos x="connsiteX42637" y="connsiteY42637"/>
              </a:cxn>
              <a:cxn ang="0">
                <a:pos x="connsiteX42638" y="connsiteY42638"/>
              </a:cxn>
              <a:cxn ang="0">
                <a:pos x="connsiteX42639" y="connsiteY42639"/>
              </a:cxn>
              <a:cxn ang="0">
                <a:pos x="connsiteX42640" y="connsiteY42640"/>
              </a:cxn>
              <a:cxn ang="0">
                <a:pos x="connsiteX42641" y="connsiteY42641"/>
              </a:cxn>
              <a:cxn ang="0">
                <a:pos x="connsiteX42642" y="connsiteY42642"/>
              </a:cxn>
              <a:cxn ang="0">
                <a:pos x="connsiteX42643" y="connsiteY42643"/>
              </a:cxn>
              <a:cxn ang="0">
                <a:pos x="connsiteX42644" y="connsiteY42644"/>
              </a:cxn>
              <a:cxn ang="0">
                <a:pos x="connsiteX42645" y="connsiteY42645"/>
              </a:cxn>
              <a:cxn ang="0">
                <a:pos x="connsiteX42646" y="connsiteY42646"/>
              </a:cxn>
              <a:cxn ang="0">
                <a:pos x="connsiteX42647" y="connsiteY42647"/>
              </a:cxn>
              <a:cxn ang="0">
                <a:pos x="connsiteX42648" y="connsiteY42648"/>
              </a:cxn>
              <a:cxn ang="0">
                <a:pos x="connsiteX42649" y="connsiteY42649"/>
              </a:cxn>
              <a:cxn ang="0">
                <a:pos x="connsiteX42650" y="connsiteY42650"/>
              </a:cxn>
              <a:cxn ang="0">
                <a:pos x="connsiteX42651" y="connsiteY42651"/>
              </a:cxn>
              <a:cxn ang="0">
                <a:pos x="connsiteX42652" y="connsiteY42652"/>
              </a:cxn>
              <a:cxn ang="0">
                <a:pos x="connsiteX42653" y="connsiteY42653"/>
              </a:cxn>
              <a:cxn ang="0">
                <a:pos x="connsiteX42654" y="connsiteY42654"/>
              </a:cxn>
              <a:cxn ang="0">
                <a:pos x="connsiteX42655" y="connsiteY42655"/>
              </a:cxn>
              <a:cxn ang="0">
                <a:pos x="connsiteX42656" y="connsiteY42656"/>
              </a:cxn>
              <a:cxn ang="0">
                <a:pos x="connsiteX42657" y="connsiteY42657"/>
              </a:cxn>
              <a:cxn ang="0">
                <a:pos x="connsiteX42658" y="connsiteY42658"/>
              </a:cxn>
              <a:cxn ang="0">
                <a:pos x="connsiteX42659" y="connsiteY42659"/>
              </a:cxn>
              <a:cxn ang="0">
                <a:pos x="connsiteX42660" y="connsiteY42660"/>
              </a:cxn>
              <a:cxn ang="0">
                <a:pos x="connsiteX42661" y="connsiteY42661"/>
              </a:cxn>
              <a:cxn ang="0">
                <a:pos x="connsiteX42662" y="connsiteY42662"/>
              </a:cxn>
              <a:cxn ang="0">
                <a:pos x="connsiteX42663" y="connsiteY42663"/>
              </a:cxn>
              <a:cxn ang="0">
                <a:pos x="connsiteX42664" y="connsiteY42664"/>
              </a:cxn>
              <a:cxn ang="0">
                <a:pos x="connsiteX42665" y="connsiteY42665"/>
              </a:cxn>
              <a:cxn ang="0">
                <a:pos x="connsiteX42666" y="connsiteY42666"/>
              </a:cxn>
              <a:cxn ang="0">
                <a:pos x="connsiteX42667" y="connsiteY42667"/>
              </a:cxn>
              <a:cxn ang="0">
                <a:pos x="connsiteX42668" y="connsiteY42668"/>
              </a:cxn>
              <a:cxn ang="0">
                <a:pos x="connsiteX42669" y="connsiteY42669"/>
              </a:cxn>
              <a:cxn ang="0">
                <a:pos x="connsiteX42670" y="connsiteY42670"/>
              </a:cxn>
              <a:cxn ang="0">
                <a:pos x="connsiteX42671" y="connsiteY42671"/>
              </a:cxn>
              <a:cxn ang="0">
                <a:pos x="connsiteX42672" y="connsiteY42672"/>
              </a:cxn>
              <a:cxn ang="0">
                <a:pos x="connsiteX42673" y="connsiteY42673"/>
              </a:cxn>
              <a:cxn ang="0">
                <a:pos x="connsiteX42674" y="connsiteY42674"/>
              </a:cxn>
              <a:cxn ang="0">
                <a:pos x="connsiteX42675" y="connsiteY42675"/>
              </a:cxn>
              <a:cxn ang="0">
                <a:pos x="connsiteX42676" y="connsiteY42676"/>
              </a:cxn>
              <a:cxn ang="0">
                <a:pos x="connsiteX42677" y="connsiteY42677"/>
              </a:cxn>
              <a:cxn ang="0">
                <a:pos x="connsiteX42678" y="connsiteY42678"/>
              </a:cxn>
              <a:cxn ang="0">
                <a:pos x="connsiteX42679" y="connsiteY42679"/>
              </a:cxn>
              <a:cxn ang="0">
                <a:pos x="connsiteX42680" y="connsiteY42680"/>
              </a:cxn>
              <a:cxn ang="0">
                <a:pos x="connsiteX42681" y="connsiteY42681"/>
              </a:cxn>
              <a:cxn ang="0">
                <a:pos x="connsiteX42682" y="connsiteY42682"/>
              </a:cxn>
              <a:cxn ang="0">
                <a:pos x="connsiteX42683" y="connsiteY42683"/>
              </a:cxn>
              <a:cxn ang="0">
                <a:pos x="connsiteX42684" y="connsiteY42684"/>
              </a:cxn>
              <a:cxn ang="0">
                <a:pos x="connsiteX42685" y="connsiteY42685"/>
              </a:cxn>
              <a:cxn ang="0">
                <a:pos x="connsiteX42686" y="connsiteY42686"/>
              </a:cxn>
              <a:cxn ang="0">
                <a:pos x="connsiteX42687" y="connsiteY42687"/>
              </a:cxn>
              <a:cxn ang="0">
                <a:pos x="connsiteX42688" y="connsiteY42688"/>
              </a:cxn>
              <a:cxn ang="0">
                <a:pos x="connsiteX42689" y="connsiteY42689"/>
              </a:cxn>
              <a:cxn ang="0">
                <a:pos x="connsiteX42690" y="connsiteY42690"/>
              </a:cxn>
              <a:cxn ang="0">
                <a:pos x="connsiteX42691" y="connsiteY42691"/>
              </a:cxn>
              <a:cxn ang="0">
                <a:pos x="connsiteX42692" y="connsiteY42692"/>
              </a:cxn>
              <a:cxn ang="0">
                <a:pos x="connsiteX42693" y="connsiteY42693"/>
              </a:cxn>
              <a:cxn ang="0">
                <a:pos x="connsiteX42694" y="connsiteY42694"/>
              </a:cxn>
              <a:cxn ang="0">
                <a:pos x="connsiteX42695" y="connsiteY42695"/>
              </a:cxn>
              <a:cxn ang="0">
                <a:pos x="connsiteX42696" y="connsiteY42696"/>
              </a:cxn>
              <a:cxn ang="0">
                <a:pos x="connsiteX42697" y="connsiteY42697"/>
              </a:cxn>
              <a:cxn ang="0">
                <a:pos x="connsiteX42698" y="connsiteY42698"/>
              </a:cxn>
              <a:cxn ang="0">
                <a:pos x="connsiteX42699" y="connsiteY42699"/>
              </a:cxn>
              <a:cxn ang="0">
                <a:pos x="connsiteX42700" y="connsiteY42700"/>
              </a:cxn>
              <a:cxn ang="0">
                <a:pos x="connsiteX42701" y="connsiteY42701"/>
              </a:cxn>
              <a:cxn ang="0">
                <a:pos x="connsiteX42702" y="connsiteY42702"/>
              </a:cxn>
              <a:cxn ang="0">
                <a:pos x="connsiteX42703" y="connsiteY42703"/>
              </a:cxn>
              <a:cxn ang="0">
                <a:pos x="connsiteX42704" y="connsiteY42704"/>
              </a:cxn>
              <a:cxn ang="0">
                <a:pos x="connsiteX42705" y="connsiteY42705"/>
              </a:cxn>
              <a:cxn ang="0">
                <a:pos x="connsiteX42706" y="connsiteY42706"/>
              </a:cxn>
              <a:cxn ang="0">
                <a:pos x="connsiteX42707" y="connsiteY42707"/>
              </a:cxn>
              <a:cxn ang="0">
                <a:pos x="connsiteX42708" y="connsiteY42708"/>
              </a:cxn>
              <a:cxn ang="0">
                <a:pos x="connsiteX42709" y="connsiteY42709"/>
              </a:cxn>
              <a:cxn ang="0">
                <a:pos x="connsiteX42710" y="connsiteY42710"/>
              </a:cxn>
              <a:cxn ang="0">
                <a:pos x="connsiteX42711" y="connsiteY42711"/>
              </a:cxn>
              <a:cxn ang="0">
                <a:pos x="connsiteX42712" y="connsiteY42712"/>
              </a:cxn>
              <a:cxn ang="0">
                <a:pos x="connsiteX42713" y="connsiteY42713"/>
              </a:cxn>
              <a:cxn ang="0">
                <a:pos x="connsiteX42714" y="connsiteY42714"/>
              </a:cxn>
              <a:cxn ang="0">
                <a:pos x="connsiteX42715" y="connsiteY42715"/>
              </a:cxn>
              <a:cxn ang="0">
                <a:pos x="connsiteX42716" y="connsiteY42716"/>
              </a:cxn>
              <a:cxn ang="0">
                <a:pos x="connsiteX42717" y="connsiteY42717"/>
              </a:cxn>
              <a:cxn ang="0">
                <a:pos x="connsiteX42718" y="connsiteY42718"/>
              </a:cxn>
              <a:cxn ang="0">
                <a:pos x="connsiteX42719" y="connsiteY42719"/>
              </a:cxn>
              <a:cxn ang="0">
                <a:pos x="connsiteX42720" y="connsiteY42720"/>
              </a:cxn>
              <a:cxn ang="0">
                <a:pos x="connsiteX42721" y="connsiteY42721"/>
              </a:cxn>
              <a:cxn ang="0">
                <a:pos x="connsiteX42722" y="connsiteY42722"/>
              </a:cxn>
              <a:cxn ang="0">
                <a:pos x="connsiteX42723" y="connsiteY42723"/>
              </a:cxn>
              <a:cxn ang="0">
                <a:pos x="connsiteX42724" y="connsiteY42724"/>
              </a:cxn>
              <a:cxn ang="0">
                <a:pos x="connsiteX42725" y="connsiteY42725"/>
              </a:cxn>
              <a:cxn ang="0">
                <a:pos x="connsiteX42726" y="connsiteY42726"/>
              </a:cxn>
              <a:cxn ang="0">
                <a:pos x="connsiteX42727" y="connsiteY42727"/>
              </a:cxn>
              <a:cxn ang="0">
                <a:pos x="connsiteX42728" y="connsiteY42728"/>
              </a:cxn>
              <a:cxn ang="0">
                <a:pos x="connsiteX42729" y="connsiteY42729"/>
              </a:cxn>
              <a:cxn ang="0">
                <a:pos x="connsiteX42730" y="connsiteY42730"/>
              </a:cxn>
              <a:cxn ang="0">
                <a:pos x="connsiteX42731" y="connsiteY42731"/>
              </a:cxn>
              <a:cxn ang="0">
                <a:pos x="connsiteX42732" y="connsiteY42732"/>
              </a:cxn>
              <a:cxn ang="0">
                <a:pos x="connsiteX42733" y="connsiteY42733"/>
              </a:cxn>
              <a:cxn ang="0">
                <a:pos x="connsiteX42734" y="connsiteY42734"/>
              </a:cxn>
              <a:cxn ang="0">
                <a:pos x="connsiteX42735" y="connsiteY42735"/>
              </a:cxn>
              <a:cxn ang="0">
                <a:pos x="connsiteX42736" y="connsiteY42736"/>
              </a:cxn>
              <a:cxn ang="0">
                <a:pos x="connsiteX42737" y="connsiteY42737"/>
              </a:cxn>
              <a:cxn ang="0">
                <a:pos x="connsiteX42738" y="connsiteY42738"/>
              </a:cxn>
              <a:cxn ang="0">
                <a:pos x="connsiteX42739" y="connsiteY42739"/>
              </a:cxn>
              <a:cxn ang="0">
                <a:pos x="connsiteX42740" y="connsiteY42740"/>
              </a:cxn>
              <a:cxn ang="0">
                <a:pos x="connsiteX42741" y="connsiteY42741"/>
              </a:cxn>
              <a:cxn ang="0">
                <a:pos x="connsiteX42742" y="connsiteY42742"/>
              </a:cxn>
              <a:cxn ang="0">
                <a:pos x="connsiteX42743" y="connsiteY42743"/>
              </a:cxn>
              <a:cxn ang="0">
                <a:pos x="connsiteX42744" y="connsiteY42744"/>
              </a:cxn>
              <a:cxn ang="0">
                <a:pos x="connsiteX42745" y="connsiteY42745"/>
              </a:cxn>
              <a:cxn ang="0">
                <a:pos x="connsiteX42746" y="connsiteY42746"/>
              </a:cxn>
              <a:cxn ang="0">
                <a:pos x="connsiteX42747" y="connsiteY42747"/>
              </a:cxn>
              <a:cxn ang="0">
                <a:pos x="connsiteX42748" y="connsiteY42748"/>
              </a:cxn>
              <a:cxn ang="0">
                <a:pos x="connsiteX42749" y="connsiteY42749"/>
              </a:cxn>
              <a:cxn ang="0">
                <a:pos x="connsiteX42750" y="connsiteY42750"/>
              </a:cxn>
              <a:cxn ang="0">
                <a:pos x="connsiteX42751" y="connsiteY42751"/>
              </a:cxn>
              <a:cxn ang="0">
                <a:pos x="connsiteX42752" y="connsiteY42752"/>
              </a:cxn>
              <a:cxn ang="0">
                <a:pos x="connsiteX42753" y="connsiteY42753"/>
              </a:cxn>
              <a:cxn ang="0">
                <a:pos x="connsiteX42754" y="connsiteY42754"/>
              </a:cxn>
              <a:cxn ang="0">
                <a:pos x="connsiteX42755" y="connsiteY42755"/>
              </a:cxn>
              <a:cxn ang="0">
                <a:pos x="connsiteX42756" y="connsiteY42756"/>
              </a:cxn>
              <a:cxn ang="0">
                <a:pos x="connsiteX42757" y="connsiteY42757"/>
              </a:cxn>
              <a:cxn ang="0">
                <a:pos x="connsiteX42758" y="connsiteY42758"/>
              </a:cxn>
              <a:cxn ang="0">
                <a:pos x="connsiteX42759" y="connsiteY42759"/>
              </a:cxn>
              <a:cxn ang="0">
                <a:pos x="connsiteX42760" y="connsiteY42760"/>
              </a:cxn>
              <a:cxn ang="0">
                <a:pos x="connsiteX42761" y="connsiteY42761"/>
              </a:cxn>
              <a:cxn ang="0">
                <a:pos x="connsiteX42762" y="connsiteY42762"/>
              </a:cxn>
              <a:cxn ang="0">
                <a:pos x="connsiteX42763" y="connsiteY42763"/>
              </a:cxn>
              <a:cxn ang="0">
                <a:pos x="connsiteX42764" y="connsiteY42764"/>
              </a:cxn>
              <a:cxn ang="0">
                <a:pos x="connsiteX42765" y="connsiteY42765"/>
              </a:cxn>
              <a:cxn ang="0">
                <a:pos x="connsiteX42766" y="connsiteY42766"/>
              </a:cxn>
              <a:cxn ang="0">
                <a:pos x="connsiteX42767" y="connsiteY42767"/>
              </a:cxn>
              <a:cxn ang="0">
                <a:pos x="connsiteX42768" y="connsiteY42768"/>
              </a:cxn>
              <a:cxn ang="0">
                <a:pos x="connsiteX42769" y="connsiteY42769"/>
              </a:cxn>
              <a:cxn ang="0">
                <a:pos x="connsiteX42770" y="connsiteY42770"/>
              </a:cxn>
              <a:cxn ang="0">
                <a:pos x="connsiteX42771" y="connsiteY42771"/>
              </a:cxn>
              <a:cxn ang="0">
                <a:pos x="connsiteX42772" y="connsiteY42772"/>
              </a:cxn>
              <a:cxn ang="0">
                <a:pos x="connsiteX42773" y="connsiteY42773"/>
              </a:cxn>
              <a:cxn ang="0">
                <a:pos x="connsiteX42774" y="connsiteY42774"/>
              </a:cxn>
              <a:cxn ang="0">
                <a:pos x="connsiteX42775" y="connsiteY42775"/>
              </a:cxn>
              <a:cxn ang="0">
                <a:pos x="connsiteX42776" y="connsiteY42776"/>
              </a:cxn>
              <a:cxn ang="0">
                <a:pos x="connsiteX42777" y="connsiteY42777"/>
              </a:cxn>
              <a:cxn ang="0">
                <a:pos x="connsiteX42778" y="connsiteY42778"/>
              </a:cxn>
              <a:cxn ang="0">
                <a:pos x="connsiteX42779" y="connsiteY42779"/>
              </a:cxn>
              <a:cxn ang="0">
                <a:pos x="connsiteX42780" y="connsiteY42780"/>
              </a:cxn>
              <a:cxn ang="0">
                <a:pos x="connsiteX42781" y="connsiteY42781"/>
              </a:cxn>
              <a:cxn ang="0">
                <a:pos x="connsiteX42782" y="connsiteY42782"/>
              </a:cxn>
              <a:cxn ang="0">
                <a:pos x="connsiteX42783" y="connsiteY42783"/>
              </a:cxn>
              <a:cxn ang="0">
                <a:pos x="connsiteX42784" y="connsiteY42784"/>
              </a:cxn>
              <a:cxn ang="0">
                <a:pos x="connsiteX42785" y="connsiteY42785"/>
              </a:cxn>
              <a:cxn ang="0">
                <a:pos x="connsiteX42786" y="connsiteY42786"/>
              </a:cxn>
              <a:cxn ang="0">
                <a:pos x="connsiteX42787" y="connsiteY42787"/>
              </a:cxn>
              <a:cxn ang="0">
                <a:pos x="connsiteX42788" y="connsiteY42788"/>
              </a:cxn>
              <a:cxn ang="0">
                <a:pos x="connsiteX42789" y="connsiteY42789"/>
              </a:cxn>
              <a:cxn ang="0">
                <a:pos x="connsiteX42790" y="connsiteY42790"/>
              </a:cxn>
              <a:cxn ang="0">
                <a:pos x="connsiteX42791" y="connsiteY42791"/>
              </a:cxn>
              <a:cxn ang="0">
                <a:pos x="connsiteX42792" y="connsiteY42792"/>
              </a:cxn>
              <a:cxn ang="0">
                <a:pos x="connsiteX42793" y="connsiteY42793"/>
              </a:cxn>
              <a:cxn ang="0">
                <a:pos x="connsiteX42794" y="connsiteY42794"/>
              </a:cxn>
              <a:cxn ang="0">
                <a:pos x="connsiteX42795" y="connsiteY42795"/>
              </a:cxn>
              <a:cxn ang="0">
                <a:pos x="connsiteX42796" y="connsiteY42796"/>
              </a:cxn>
              <a:cxn ang="0">
                <a:pos x="connsiteX42797" y="connsiteY42797"/>
              </a:cxn>
              <a:cxn ang="0">
                <a:pos x="connsiteX42798" y="connsiteY42798"/>
              </a:cxn>
              <a:cxn ang="0">
                <a:pos x="connsiteX42799" y="connsiteY42799"/>
              </a:cxn>
              <a:cxn ang="0">
                <a:pos x="connsiteX42800" y="connsiteY42800"/>
              </a:cxn>
              <a:cxn ang="0">
                <a:pos x="connsiteX42801" y="connsiteY42801"/>
              </a:cxn>
              <a:cxn ang="0">
                <a:pos x="connsiteX42802" y="connsiteY42802"/>
              </a:cxn>
              <a:cxn ang="0">
                <a:pos x="connsiteX42803" y="connsiteY42803"/>
              </a:cxn>
              <a:cxn ang="0">
                <a:pos x="connsiteX42804" y="connsiteY42804"/>
              </a:cxn>
              <a:cxn ang="0">
                <a:pos x="connsiteX42805" y="connsiteY42805"/>
              </a:cxn>
              <a:cxn ang="0">
                <a:pos x="connsiteX42806" y="connsiteY42806"/>
              </a:cxn>
              <a:cxn ang="0">
                <a:pos x="connsiteX42807" y="connsiteY42807"/>
              </a:cxn>
              <a:cxn ang="0">
                <a:pos x="connsiteX42808" y="connsiteY42808"/>
              </a:cxn>
              <a:cxn ang="0">
                <a:pos x="connsiteX42809" y="connsiteY42809"/>
              </a:cxn>
              <a:cxn ang="0">
                <a:pos x="connsiteX42810" y="connsiteY42810"/>
              </a:cxn>
              <a:cxn ang="0">
                <a:pos x="connsiteX42811" y="connsiteY42811"/>
              </a:cxn>
              <a:cxn ang="0">
                <a:pos x="connsiteX42812" y="connsiteY42812"/>
              </a:cxn>
              <a:cxn ang="0">
                <a:pos x="connsiteX42813" y="connsiteY42813"/>
              </a:cxn>
              <a:cxn ang="0">
                <a:pos x="connsiteX42814" y="connsiteY42814"/>
              </a:cxn>
              <a:cxn ang="0">
                <a:pos x="connsiteX42815" y="connsiteY42815"/>
              </a:cxn>
              <a:cxn ang="0">
                <a:pos x="connsiteX42816" y="connsiteY42816"/>
              </a:cxn>
              <a:cxn ang="0">
                <a:pos x="connsiteX42817" y="connsiteY42817"/>
              </a:cxn>
              <a:cxn ang="0">
                <a:pos x="connsiteX42818" y="connsiteY42818"/>
              </a:cxn>
              <a:cxn ang="0">
                <a:pos x="connsiteX42819" y="connsiteY42819"/>
              </a:cxn>
              <a:cxn ang="0">
                <a:pos x="connsiteX42820" y="connsiteY42820"/>
              </a:cxn>
              <a:cxn ang="0">
                <a:pos x="connsiteX42821" y="connsiteY42821"/>
              </a:cxn>
              <a:cxn ang="0">
                <a:pos x="connsiteX42822" y="connsiteY42822"/>
              </a:cxn>
              <a:cxn ang="0">
                <a:pos x="connsiteX42823" y="connsiteY42823"/>
              </a:cxn>
              <a:cxn ang="0">
                <a:pos x="connsiteX42824" y="connsiteY42824"/>
              </a:cxn>
              <a:cxn ang="0">
                <a:pos x="connsiteX42825" y="connsiteY42825"/>
              </a:cxn>
              <a:cxn ang="0">
                <a:pos x="connsiteX42826" y="connsiteY42826"/>
              </a:cxn>
              <a:cxn ang="0">
                <a:pos x="connsiteX42827" y="connsiteY42827"/>
              </a:cxn>
              <a:cxn ang="0">
                <a:pos x="connsiteX42828" y="connsiteY42828"/>
              </a:cxn>
              <a:cxn ang="0">
                <a:pos x="connsiteX42829" y="connsiteY42829"/>
              </a:cxn>
              <a:cxn ang="0">
                <a:pos x="connsiteX42830" y="connsiteY42830"/>
              </a:cxn>
              <a:cxn ang="0">
                <a:pos x="connsiteX42831" y="connsiteY42831"/>
              </a:cxn>
              <a:cxn ang="0">
                <a:pos x="connsiteX42832" y="connsiteY42832"/>
              </a:cxn>
              <a:cxn ang="0">
                <a:pos x="connsiteX42833" y="connsiteY42833"/>
              </a:cxn>
              <a:cxn ang="0">
                <a:pos x="connsiteX42834" y="connsiteY42834"/>
              </a:cxn>
              <a:cxn ang="0">
                <a:pos x="connsiteX42835" y="connsiteY42835"/>
              </a:cxn>
              <a:cxn ang="0">
                <a:pos x="connsiteX42836" y="connsiteY42836"/>
              </a:cxn>
              <a:cxn ang="0">
                <a:pos x="connsiteX42837" y="connsiteY42837"/>
              </a:cxn>
              <a:cxn ang="0">
                <a:pos x="connsiteX42838" y="connsiteY42838"/>
              </a:cxn>
              <a:cxn ang="0">
                <a:pos x="connsiteX42839" y="connsiteY42839"/>
              </a:cxn>
              <a:cxn ang="0">
                <a:pos x="connsiteX42840" y="connsiteY42840"/>
              </a:cxn>
              <a:cxn ang="0">
                <a:pos x="connsiteX42841" y="connsiteY42841"/>
              </a:cxn>
              <a:cxn ang="0">
                <a:pos x="connsiteX42842" y="connsiteY42842"/>
              </a:cxn>
              <a:cxn ang="0">
                <a:pos x="connsiteX42843" y="connsiteY42843"/>
              </a:cxn>
              <a:cxn ang="0">
                <a:pos x="connsiteX42844" y="connsiteY42844"/>
              </a:cxn>
              <a:cxn ang="0">
                <a:pos x="connsiteX42845" y="connsiteY42845"/>
              </a:cxn>
              <a:cxn ang="0">
                <a:pos x="connsiteX42846" y="connsiteY42846"/>
              </a:cxn>
              <a:cxn ang="0">
                <a:pos x="connsiteX42847" y="connsiteY42847"/>
              </a:cxn>
              <a:cxn ang="0">
                <a:pos x="connsiteX42848" y="connsiteY42848"/>
              </a:cxn>
              <a:cxn ang="0">
                <a:pos x="connsiteX42849" y="connsiteY42849"/>
              </a:cxn>
              <a:cxn ang="0">
                <a:pos x="connsiteX42850" y="connsiteY42850"/>
              </a:cxn>
              <a:cxn ang="0">
                <a:pos x="connsiteX42851" y="connsiteY42851"/>
              </a:cxn>
              <a:cxn ang="0">
                <a:pos x="connsiteX42852" y="connsiteY42852"/>
              </a:cxn>
              <a:cxn ang="0">
                <a:pos x="connsiteX42853" y="connsiteY42853"/>
              </a:cxn>
              <a:cxn ang="0">
                <a:pos x="connsiteX42854" y="connsiteY42854"/>
              </a:cxn>
              <a:cxn ang="0">
                <a:pos x="connsiteX42855" y="connsiteY42855"/>
              </a:cxn>
              <a:cxn ang="0">
                <a:pos x="connsiteX42856" y="connsiteY42856"/>
              </a:cxn>
              <a:cxn ang="0">
                <a:pos x="connsiteX42857" y="connsiteY42857"/>
              </a:cxn>
              <a:cxn ang="0">
                <a:pos x="connsiteX42858" y="connsiteY42858"/>
              </a:cxn>
              <a:cxn ang="0">
                <a:pos x="connsiteX42859" y="connsiteY42859"/>
              </a:cxn>
              <a:cxn ang="0">
                <a:pos x="connsiteX42860" y="connsiteY42860"/>
              </a:cxn>
              <a:cxn ang="0">
                <a:pos x="connsiteX42861" y="connsiteY42861"/>
              </a:cxn>
              <a:cxn ang="0">
                <a:pos x="connsiteX42862" y="connsiteY42862"/>
              </a:cxn>
              <a:cxn ang="0">
                <a:pos x="connsiteX42863" y="connsiteY42863"/>
              </a:cxn>
              <a:cxn ang="0">
                <a:pos x="connsiteX42864" y="connsiteY42864"/>
              </a:cxn>
              <a:cxn ang="0">
                <a:pos x="connsiteX42865" y="connsiteY42865"/>
              </a:cxn>
              <a:cxn ang="0">
                <a:pos x="connsiteX42866" y="connsiteY42866"/>
              </a:cxn>
              <a:cxn ang="0">
                <a:pos x="connsiteX42867" y="connsiteY42867"/>
              </a:cxn>
              <a:cxn ang="0">
                <a:pos x="connsiteX42868" y="connsiteY42868"/>
              </a:cxn>
              <a:cxn ang="0">
                <a:pos x="connsiteX42869" y="connsiteY42869"/>
              </a:cxn>
              <a:cxn ang="0">
                <a:pos x="connsiteX42870" y="connsiteY42870"/>
              </a:cxn>
              <a:cxn ang="0">
                <a:pos x="connsiteX42871" y="connsiteY42871"/>
              </a:cxn>
              <a:cxn ang="0">
                <a:pos x="connsiteX42872" y="connsiteY42872"/>
              </a:cxn>
              <a:cxn ang="0">
                <a:pos x="connsiteX42873" y="connsiteY42873"/>
              </a:cxn>
              <a:cxn ang="0">
                <a:pos x="connsiteX42874" y="connsiteY42874"/>
              </a:cxn>
              <a:cxn ang="0">
                <a:pos x="connsiteX42875" y="connsiteY42875"/>
              </a:cxn>
              <a:cxn ang="0">
                <a:pos x="connsiteX42876" y="connsiteY42876"/>
              </a:cxn>
              <a:cxn ang="0">
                <a:pos x="connsiteX42877" y="connsiteY42877"/>
              </a:cxn>
              <a:cxn ang="0">
                <a:pos x="connsiteX42878" y="connsiteY42878"/>
              </a:cxn>
              <a:cxn ang="0">
                <a:pos x="connsiteX42879" y="connsiteY42879"/>
              </a:cxn>
              <a:cxn ang="0">
                <a:pos x="connsiteX42880" y="connsiteY42880"/>
              </a:cxn>
              <a:cxn ang="0">
                <a:pos x="connsiteX42881" y="connsiteY42881"/>
              </a:cxn>
              <a:cxn ang="0">
                <a:pos x="connsiteX42882" y="connsiteY42882"/>
              </a:cxn>
              <a:cxn ang="0">
                <a:pos x="connsiteX42883" y="connsiteY42883"/>
              </a:cxn>
              <a:cxn ang="0">
                <a:pos x="connsiteX42884" y="connsiteY42884"/>
              </a:cxn>
              <a:cxn ang="0">
                <a:pos x="connsiteX42885" y="connsiteY42885"/>
              </a:cxn>
              <a:cxn ang="0">
                <a:pos x="connsiteX42886" y="connsiteY42886"/>
              </a:cxn>
              <a:cxn ang="0">
                <a:pos x="connsiteX42887" y="connsiteY42887"/>
              </a:cxn>
              <a:cxn ang="0">
                <a:pos x="connsiteX42888" y="connsiteY42888"/>
              </a:cxn>
              <a:cxn ang="0">
                <a:pos x="connsiteX42889" y="connsiteY42889"/>
              </a:cxn>
              <a:cxn ang="0">
                <a:pos x="connsiteX42890" y="connsiteY42890"/>
              </a:cxn>
              <a:cxn ang="0">
                <a:pos x="connsiteX42891" y="connsiteY42891"/>
              </a:cxn>
              <a:cxn ang="0">
                <a:pos x="connsiteX42892" y="connsiteY42892"/>
              </a:cxn>
              <a:cxn ang="0">
                <a:pos x="connsiteX42893" y="connsiteY42893"/>
              </a:cxn>
              <a:cxn ang="0">
                <a:pos x="connsiteX42894" y="connsiteY42894"/>
              </a:cxn>
              <a:cxn ang="0">
                <a:pos x="connsiteX42895" y="connsiteY42895"/>
              </a:cxn>
              <a:cxn ang="0">
                <a:pos x="connsiteX42896" y="connsiteY42896"/>
              </a:cxn>
              <a:cxn ang="0">
                <a:pos x="connsiteX42897" y="connsiteY42897"/>
              </a:cxn>
              <a:cxn ang="0">
                <a:pos x="connsiteX42898" y="connsiteY42898"/>
              </a:cxn>
              <a:cxn ang="0">
                <a:pos x="connsiteX42899" y="connsiteY42899"/>
              </a:cxn>
              <a:cxn ang="0">
                <a:pos x="connsiteX42900" y="connsiteY42900"/>
              </a:cxn>
              <a:cxn ang="0">
                <a:pos x="connsiteX42901" y="connsiteY42901"/>
              </a:cxn>
              <a:cxn ang="0">
                <a:pos x="connsiteX42902" y="connsiteY42902"/>
              </a:cxn>
              <a:cxn ang="0">
                <a:pos x="connsiteX42903" y="connsiteY42903"/>
              </a:cxn>
              <a:cxn ang="0">
                <a:pos x="connsiteX42904" y="connsiteY42904"/>
              </a:cxn>
              <a:cxn ang="0">
                <a:pos x="connsiteX42905" y="connsiteY42905"/>
              </a:cxn>
              <a:cxn ang="0">
                <a:pos x="connsiteX42906" y="connsiteY42906"/>
              </a:cxn>
              <a:cxn ang="0">
                <a:pos x="connsiteX42907" y="connsiteY42907"/>
              </a:cxn>
              <a:cxn ang="0">
                <a:pos x="connsiteX42908" y="connsiteY42908"/>
              </a:cxn>
              <a:cxn ang="0">
                <a:pos x="connsiteX42909" y="connsiteY42909"/>
              </a:cxn>
              <a:cxn ang="0">
                <a:pos x="connsiteX42910" y="connsiteY42910"/>
              </a:cxn>
              <a:cxn ang="0">
                <a:pos x="connsiteX42911" y="connsiteY42911"/>
              </a:cxn>
              <a:cxn ang="0">
                <a:pos x="connsiteX42912" y="connsiteY42912"/>
              </a:cxn>
              <a:cxn ang="0">
                <a:pos x="connsiteX42913" y="connsiteY42913"/>
              </a:cxn>
              <a:cxn ang="0">
                <a:pos x="connsiteX42914" y="connsiteY42914"/>
              </a:cxn>
              <a:cxn ang="0">
                <a:pos x="connsiteX42915" y="connsiteY42915"/>
              </a:cxn>
              <a:cxn ang="0">
                <a:pos x="connsiteX42916" y="connsiteY42916"/>
              </a:cxn>
              <a:cxn ang="0">
                <a:pos x="connsiteX42917" y="connsiteY42917"/>
              </a:cxn>
              <a:cxn ang="0">
                <a:pos x="connsiteX42918" y="connsiteY42918"/>
              </a:cxn>
              <a:cxn ang="0">
                <a:pos x="connsiteX42919" y="connsiteY42919"/>
              </a:cxn>
              <a:cxn ang="0">
                <a:pos x="connsiteX42920" y="connsiteY42920"/>
              </a:cxn>
              <a:cxn ang="0">
                <a:pos x="connsiteX42921" y="connsiteY42921"/>
              </a:cxn>
              <a:cxn ang="0">
                <a:pos x="connsiteX42922" y="connsiteY42922"/>
              </a:cxn>
              <a:cxn ang="0">
                <a:pos x="connsiteX42923" y="connsiteY42923"/>
              </a:cxn>
              <a:cxn ang="0">
                <a:pos x="connsiteX42924" y="connsiteY42924"/>
              </a:cxn>
              <a:cxn ang="0">
                <a:pos x="connsiteX42925" y="connsiteY42925"/>
              </a:cxn>
              <a:cxn ang="0">
                <a:pos x="connsiteX42926" y="connsiteY42926"/>
              </a:cxn>
              <a:cxn ang="0">
                <a:pos x="connsiteX42927" y="connsiteY42927"/>
              </a:cxn>
              <a:cxn ang="0">
                <a:pos x="connsiteX42928" y="connsiteY42928"/>
              </a:cxn>
              <a:cxn ang="0">
                <a:pos x="connsiteX42929" y="connsiteY42929"/>
              </a:cxn>
              <a:cxn ang="0">
                <a:pos x="connsiteX42930" y="connsiteY42930"/>
              </a:cxn>
              <a:cxn ang="0">
                <a:pos x="connsiteX42931" y="connsiteY42931"/>
              </a:cxn>
              <a:cxn ang="0">
                <a:pos x="connsiteX42932" y="connsiteY42932"/>
              </a:cxn>
              <a:cxn ang="0">
                <a:pos x="connsiteX42933" y="connsiteY42933"/>
              </a:cxn>
              <a:cxn ang="0">
                <a:pos x="connsiteX42934" y="connsiteY42934"/>
              </a:cxn>
              <a:cxn ang="0">
                <a:pos x="connsiteX42935" y="connsiteY42935"/>
              </a:cxn>
              <a:cxn ang="0">
                <a:pos x="connsiteX42936" y="connsiteY42936"/>
              </a:cxn>
              <a:cxn ang="0">
                <a:pos x="connsiteX42937" y="connsiteY42937"/>
              </a:cxn>
              <a:cxn ang="0">
                <a:pos x="connsiteX42938" y="connsiteY42938"/>
              </a:cxn>
              <a:cxn ang="0">
                <a:pos x="connsiteX42939" y="connsiteY42939"/>
              </a:cxn>
              <a:cxn ang="0">
                <a:pos x="connsiteX42940" y="connsiteY42940"/>
              </a:cxn>
              <a:cxn ang="0">
                <a:pos x="connsiteX42941" y="connsiteY42941"/>
              </a:cxn>
              <a:cxn ang="0">
                <a:pos x="connsiteX42942" y="connsiteY42942"/>
              </a:cxn>
              <a:cxn ang="0">
                <a:pos x="connsiteX42943" y="connsiteY42943"/>
              </a:cxn>
              <a:cxn ang="0">
                <a:pos x="connsiteX42944" y="connsiteY42944"/>
              </a:cxn>
              <a:cxn ang="0">
                <a:pos x="connsiteX42945" y="connsiteY42945"/>
              </a:cxn>
              <a:cxn ang="0">
                <a:pos x="connsiteX42946" y="connsiteY42946"/>
              </a:cxn>
              <a:cxn ang="0">
                <a:pos x="connsiteX42947" y="connsiteY42947"/>
              </a:cxn>
              <a:cxn ang="0">
                <a:pos x="connsiteX42948" y="connsiteY42948"/>
              </a:cxn>
              <a:cxn ang="0">
                <a:pos x="connsiteX42949" y="connsiteY42949"/>
              </a:cxn>
              <a:cxn ang="0">
                <a:pos x="connsiteX42950" y="connsiteY42950"/>
              </a:cxn>
              <a:cxn ang="0">
                <a:pos x="connsiteX42951" y="connsiteY42951"/>
              </a:cxn>
              <a:cxn ang="0">
                <a:pos x="connsiteX42952" y="connsiteY42952"/>
              </a:cxn>
              <a:cxn ang="0">
                <a:pos x="connsiteX42953" y="connsiteY42953"/>
              </a:cxn>
              <a:cxn ang="0">
                <a:pos x="connsiteX42954" y="connsiteY42954"/>
              </a:cxn>
              <a:cxn ang="0">
                <a:pos x="connsiteX42955" y="connsiteY42955"/>
              </a:cxn>
              <a:cxn ang="0">
                <a:pos x="connsiteX42956" y="connsiteY42956"/>
              </a:cxn>
              <a:cxn ang="0">
                <a:pos x="connsiteX42957" y="connsiteY42957"/>
              </a:cxn>
              <a:cxn ang="0">
                <a:pos x="connsiteX42958" y="connsiteY42958"/>
              </a:cxn>
              <a:cxn ang="0">
                <a:pos x="connsiteX42959" y="connsiteY42959"/>
              </a:cxn>
              <a:cxn ang="0">
                <a:pos x="connsiteX42960" y="connsiteY42960"/>
              </a:cxn>
              <a:cxn ang="0">
                <a:pos x="connsiteX42961" y="connsiteY42961"/>
              </a:cxn>
              <a:cxn ang="0">
                <a:pos x="connsiteX42962" y="connsiteY42962"/>
              </a:cxn>
              <a:cxn ang="0">
                <a:pos x="connsiteX42963" y="connsiteY42963"/>
              </a:cxn>
              <a:cxn ang="0">
                <a:pos x="connsiteX42964" y="connsiteY42964"/>
              </a:cxn>
              <a:cxn ang="0">
                <a:pos x="connsiteX42965" y="connsiteY42965"/>
              </a:cxn>
              <a:cxn ang="0">
                <a:pos x="connsiteX42966" y="connsiteY42966"/>
              </a:cxn>
              <a:cxn ang="0">
                <a:pos x="connsiteX42967" y="connsiteY42967"/>
              </a:cxn>
              <a:cxn ang="0">
                <a:pos x="connsiteX42968" y="connsiteY42968"/>
              </a:cxn>
              <a:cxn ang="0">
                <a:pos x="connsiteX42969" y="connsiteY42969"/>
              </a:cxn>
              <a:cxn ang="0">
                <a:pos x="connsiteX42970" y="connsiteY42970"/>
              </a:cxn>
              <a:cxn ang="0">
                <a:pos x="connsiteX42971" y="connsiteY42971"/>
              </a:cxn>
              <a:cxn ang="0">
                <a:pos x="connsiteX42972" y="connsiteY42972"/>
              </a:cxn>
              <a:cxn ang="0">
                <a:pos x="connsiteX42973" y="connsiteY42973"/>
              </a:cxn>
              <a:cxn ang="0">
                <a:pos x="connsiteX42974" y="connsiteY42974"/>
              </a:cxn>
              <a:cxn ang="0">
                <a:pos x="connsiteX42975" y="connsiteY42975"/>
              </a:cxn>
              <a:cxn ang="0">
                <a:pos x="connsiteX42976" y="connsiteY42976"/>
              </a:cxn>
              <a:cxn ang="0">
                <a:pos x="connsiteX42977" y="connsiteY42977"/>
              </a:cxn>
              <a:cxn ang="0">
                <a:pos x="connsiteX42978" y="connsiteY42978"/>
              </a:cxn>
              <a:cxn ang="0">
                <a:pos x="connsiteX42979" y="connsiteY42979"/>
              </a:cxn>
              <a:cxn ang="0">
                <a:pos x="connsiteX42980" y="connsiteY42980"/>
              </a:cxn>
              <a:cxn ang="0">
                <a:pos x="connsiteX42981" y="connsiteY42981"/>
              </a:cxn>
              <a:cxn ang="0">
                <a:pos x="connsiteX42982" y="connsiteY42982"/>
              </a:cxn>
              <a:cxn ang="0">
                <a:pos x="connsiteX42983" y="connsiteY42983"/>
              </a:cxn>
              <a:cxn ang="0">
                <a:pos x="connsiteX42984" y="connsiteY42984"/>
              </a:cxn>
              <a:cxn ang="0">
                <a:pos x="connsiteX42985" y="connsiteY42985"/>
              </a:cxn>
              <a:cxn ang="0">
                <a:pos x="connsiteX42986" y="connsiteY42986"/>
              </a:cxn>
              <a:cxn ang="0">
                <a:pos x="connsiteX42987" y="connsiteY42987"/>
              </a:cxn>
              <a:cxn ang="0">
                <a:pos x="connsiteX42988" y="connsiteY42988"/>
              </a:cxn>
              <a:cxn ang="0">
                <a:pos x="connsiteX42989" y="connsiteY42989"/>
              </a:cxn>
              <a:cxn ang="0">
                <a:pos x="connsiteX42990" y="connsiteY42990"/>
              </a:cxn>
              <a:cxn ang="0">
                <a:pos x="connsiteX42991" y="connsiteY42991"/>
              </a:cxn>
              <a:cxn ang="0">
                <a:pos x="connsiteX42992" y="connsiteY42992"/>
              </a:cxn>
              <a:cxn ang="0">
                <a:pos x="connsiteX42993" y="connsiteY42993"/>
              </a:cxn>
              <a:cxn ang="0">
                <a:pos x="connsiteX42994" y="connsiteY42994"/>
              </a:cxn>
              <a:cxn ang="0">
                <a:pos x="connsiteX42995" y="connsiteY42995"/>
              </a:cxn>
              <a:cxn ang="0">
                <a:pos x="connsiteX42996" y="connsiteY42996"/>
              </a:cxn>
              <a:cxn ang="0">
                <a:pos x="connsiteX42997" y="connsiteY42997"/>
              </a:cxn>
              <a:cxn ang="0">
                <a:pos x="connsiteX42998" y="connsiteY42998"/>
              </a:cxn>
              <a:cxn ang="0">
                <a:pos x="connsiteX42999" y="connsiteY42999"/>
              </a:cxn>
              <a:cxn ang="0">
                <a:pos x="connsiteX43000" y="connsiteY43000"/>
              </a:cxn>
              <a:cxn ang="0">
                <a:pos x="connsiteX43001" y="connsiteY43001"/>
              </a:cxn>
              <a:cxn ang="0">
                <a:pos x="connsiteX43002" y="connsiteY43002"/>
              </a:cxn>
              <a:cxn ang="0">
                <a:pos x="connsiteX43003" y="connsiteY43003"/>
              </a:cxn>
              <a:cxn ang="0">
                <a:pos x="connsiteX43004" y="connsiteY43004"/>
              </a:cxn>
              <a:cxn ang="0">
                <a:pos x="connsiteX43005" y="connsiteY43005"/>
              </a:cxn>
              <a:cxn ang="0">
                <a:pos x="connsiteX43006" y="connsiteY43006"/>
              </a:cxn>
              <a:cxn ang="0">
                <a:pos x="connsiteX43007" y="connsiteY43007"/>
              </a:cxn>
              <a:cxn ang="0">
                <a:pos x="connsiteX43008" y="connsiteY43008"/>
              </a:cxn>
              <a:cxn ang="0">
                <a:pos x="connsiteX43009" y="connsiteY43009"/>
              </a:cxn>
              <a:cxn ang="0">
                <a:pos x="connsiteX43010" y="connsiteY43010"/>
              </a:cxn>
              <a:cxn ang="0">
                <a:pos x="connsiteX43011" y="connsiteY43011"/>
              </a:cxn>
              <a:cxn ang="0">
                <a:pos x="connsiteX43012" y="connsiteY43012"/>
              </a:cxn>
              <a:cxn ang="0">
                <a:pos x="connsiteX43013" y="connsiteY43013"/>
              </a:cxn>
              <a:cxn ang="0">
                <a:pos x="connsiteX43014" y="connsiteY43014"/>
              </a:cxn>
              <a:cxn ang="0">
                <a:pos x="connsiteX43015" y="connsiteY43015"/>
              </a:cxn>
              <a:cxn ang="0">
                <a:pos x="connsiteX43016" y="connsiteY43016"/>
              </a:cxn>
              <a:cxn ang="0">
                <a:pos x="connsiteX43017" y="connsiteY43017"/>
              </a:cxn>
              <a:cxn ang="0">
                <a:pos x="connsiteX43018" y="connsiteY43018"/>
              </a:cxn>
              <a:cxn ang="0">
                <a:pos x="connsiteX43019" y="connsiteY43019"/>
              </a:cxn>
              <a:cxn ang="0">
                <a:pos x="connsiteX43020" y="connsiteY43020"/>
              </a:cxn>
              <a:cxn ang="0">
                <a:pos x="connsiteX43021" y="connsiteY43021"/>
              </a:cxn>
              <a:cxn ang="0">
                <a:pos x="connsiteX43022" y="connsiteY43022"/>
              </a:cxn>
              <a:cxn ang="0">
                <a:pos x="connsiteX43023" y="connsiteY43023"/>
              </a:cxn>
              <a:cxn ang="0">
                <a:pos x="connsiteX43024" y="connsiteY43024"/>
              </a:cxn>
              <a:cxn ang="0">
                <a:pos x="connsiteX43025" y="connsiteY43025"/>
              </a:cxn>
              <a:cxn ang="0">
                <a:pos x="connsiteX43026" y="connsiteY43026"/>
              </a:cxn>
              <a:cxn ang="0">
                <a:pos x="connsiteX43027" y="connsiteY43027"/>
              </a:cxn>
              <a:cxn ang="0">
                <a:pos x="connsiteX43028" y="connsiteY43028"/>
              </a:cxn>
              <a:cxn ang="0">
                <a:pos x="connsiteX43029" y="connsiteY43029"/>
              </a:cxn>
              <a:cxn ang="0">
                <a:pos x="connsiteX43030" y="connsiteY43030"/>
              </a:cxn>
              <a:cxn ang="0">
                <a:pos x="connsiteX43031" y="connsiteY43031"/>
              </a:cxn>
              <a:cxn ang="0">
                <a:pos x="connsiteX43032" y="connsiteY43032"/>
              </a:cxn>
              <a:cxn ang="0">
                <a:pos x="connsiteX43033" y="connsiteY43033"/>
              </a:cxn>
              <a:cxn ang="0">
                <a:pos x="connsiteX43034" y="connsiteY43034"/>
              </a:cxn>
              <a:cxn ang="0">
                <a:pos x="connsiteX43035" y="connsiteY43035"/>
              </a:cxn>
              <a:cxn ang="0">
                <a:pos x="connsiteX43036" y="connsiteY43036"/>
              </a:cxn>
              <a:cxn ang="0">
                <a:pos x="connsiteX43037" y="connsiteY43037"/>
              </a:cxn>
              <a:cxn ang="0">
                <a:pos x="connsiteX43038" y="connsiteY43038"/>
              </a:cxn>
              <a:cxn ang="0">
                <a:pos x="connsiteX43039" y="connsiteY43039"/>
              </a:cxn>
              <a:cxn ang="0">
                <a:pos x="connsiteX43040" y="connsiteY43040"/>
              </a:cxn>
              <a:cxn ang="0">
                <a:pos x="connsiteX43041" y="connsiteY43041"/>
              </a:cxn>
              <a:cxn ang="0">
                <a:pos x="connsiteX43042" y="connsiteY43042"/>
              </a:cxn>
              <a:cxn ang="0">
                <a:pos x="connsiteX43043" y="connsiteY43043"/>
              </a:cxn>
              <a:cxn ang="0">
                <a:pos x="connsiteX43044" y="connsiteY43044"/>
              </a:cxn>
              <a:cxn ang="0">
                <a:pos x="connsiteX43045" y="connsiteY43045"/>
              </a:cxn>
              <a:cxn ang="0">
                <a:pos x="connsiteX43046" y="connsiteY43046"/>
              </a:cxn>
              <a:cxn ang="0">
                <a:pos x="connsiteX43047" y="connsiteY43047"/>
              </a:cxn>
              <a:cxn ang="0">
                <a:pos x="connsiteX43048" y="connsiteY43048"/>
              </a:cxn>
              <a:cxn ang="0">
                <a:pos x="connsiteX43049" y="connsiteY43049"/>
              </a:cxn>
              <a:cxn ang="0">
                <a:pos x="connsiteX43050" y="connsiteY43050"/>
              </a:cxn>
              <a:cxn ang="0">
                <a:pos x="connsiteX43051" y="connsiteY43051"/>
              </a:cxn>
              <a:cxn ang="0">
                <a:pos x="connsiteX43052" y="connsiteY43052"/>
              </a:cxn>
              <a:cxn ang="0">
                <a:pos x="connsiteX43053" y="connsiteY43053"/>
              </a:cxn>
              <a:cxn ang="0">
                <a:pos x="connsiteX43054" y="connsiteY43054"/>
              </a:cxn>
              <a:cxn ang="0">
                <a:pos x="connsiteX43055" y="connsiteY43055"/>
              </a:cxn>
              <a:cxn ang="0">
                <a:pos x="connsiteX43056" y="connsiteY43056"/>
              </a:cxn>
              <a:cxn ang="0">
                <a:pos x="connsiteX43057" y="connsiteY43057"/>
              </a:cxn>
              <a:cxn ang="0">
                <a:pos x="connsiteX43058" y="connsiteY43058"/>
              </a:cxn>
              <a:cxn ang="0">
                <a:pos x="connsiteX43059" y="connsiteY43059"/>
              </a:cxn>
              <a:cxn ang="0">
                <a:pos x="connsiteX43060" y="connsiteY43060"/>
              </a:cxn>
              <a:cxn ang="0">
                <a:pos x="connsiteX43061" y="connsiteY43061"/>
              </a:cxn>
              <a:cxn ang="0">
                <a:pos x="connsiteX43062" y="connsiteY43062"/>
              </a:cxn>
              <a:cxn ang="0">
                <a:pos x="connsiteX43063" y="connsiteY43063"/>
              </a:cxn>
              <a:cxn ang="0">
                <a:pos x="connsiteX43064" y="connsiteY43064"/>
              </a:cxn>
              <a:cxn ang="0">
                <a:pos x="connsiteX43065" y="connsiteY43065"/>
              </a:cxn>
              <a:cxn ang="0">
                <a:pos x="connsiteX43066" y="connsiteY43066"/>
              </a:cxn>
              <a:cxn ang="0">
                <a:pos x="connsiteX43067" y="connsiteY43067"/>
              </a:cxn>
              <a:cxn ang="0">
                <a:pos x="connsiteX43068" y="connsiteY43068"/>
              </a:cxn>
              <a:cxn ang="0">
                <a:pos x="connsiteX43069" y="connsiteY43069"/>
              </a:cxn>
              <a:cxn ang="0">
                <a:pos x="connsiteX43070" y="connsiteY43070"/>
              </a:cxn>
              <a:cxn ang="0">
                <a:pos x="connsiteX43071" y="connsiteY43071"/>
              </a:cxn>
              <a:cxn ang="0">
                <a:pos x="connsiteX43072" y="connsiteY43072"/>
              </a:cxn>
              <a:cxn ang="0">
                <a:pos x="connsiteX43073" y="connsiteY43073"/>
              </a:cxn>
              <a:cxn ang="0">
                <a:pos x="connsiteX43074" y="connsiteY43074"/>
              </a:cxn>
              <a:cxn ang="0">
                <a:pos x="connsiteX43075" y="connsiteY43075"/>
              </a:cxn>
              <a:cxn ang="0">
                <a:pos x="connsiteX43076" y="connsiteY43076"/>
              </a:cxn>
              <a:cxn ang="0">
                <a:pos x="connsiteX43077" y="connsiteY43077"/>
              </a:cxn>
              <a:cxn ang="0">
                <a:pos x="connsiteX43078" y="connsiteY43078"/>
              </a:cxn>
              <a:cxn ang="0">
                <a:pos x="connsiteX43079" y="connsiteY43079"/>
              </a:cxn>
              <a:cxn ang="0">
                <a:pos x="connsiteX43080" y="connsiteY43080"/>
              </a:cxn>
              <a:cxn ang="0">
                <a:pos x="connsiteX43081" y="connsiteY43081"/>
              </a:cxn>
              <a:cxn ang="0">
                <a:pos x="connsiteX43082" y="connsiteY43082"/>
              </a:cxn>
              <a:cxn ang="0">
                <a:pos x="connsiteX43083" y="connsiteY43083"/>
              </a:cxn>
              <a:cxn ang="0">
                <a:pos x="connsiteX43084" y="connsiteY43084"/>
              </a:cxn>
              <a:cxn ang="0">
                <a:pos x="connsiteX43085" y="connsiteY43085"/>
              </a:cxn>
              <a:cxn ang="0">
                <a:pos x="connsiteX43086" y="connsiteY43086"/>
              </a:cxn>
              <a:cxn ang="0">
                <a:pos x="connsiteX43087" y="connsiteY43087"/>
              </a:cxn>
              <a:cxn ang="0">
                <a:pos x="connsiteX43088" y="connsiteY43088"/>
              </a:cxn>
              <a:cxn ang="0">
                <a:pos x="connsiteX43089" y="connsiteY43089"/>
              </a:cxn>
              <a:cxn ang="0">
                <a:pos x="connsiteX43090" y="connsiteY43090"/>
              </a:cxn>
              <a:cxn ang="0">
                <a:pos x="connsiteX43091" y="connsiteY43091"/>
              </a:cxn>
              <a:cxn ang="0">
                <a:pos x="connsiteX43092" y="connsiteY43092"/>
              </a:cxn>
              <a:cxn ang="0">
                <a:pos x="connsiteX43093" y="connsiteY43093"/>
              </a:cxn>
              <a:cxn ang="0">
                <a:pos x="connsiteX43094" y="connsiteY43094"/>
              </a:cxn>
              <a:cxn ang="0">
                <a:pos x="connsiteX43095" y="connsiteY43095"/>
              </a:cxn>
              <a:cxn ang="0">
                <a:pos x="connsiteX43096" y="connsiteY43096"/>
              </a:cxn>
              <a:cxn ang="0">
                <a:pos x="connsiteX43097" y="connsiteY43097"/>
              </a:cxn>
              <a:cxn ang="0">
                <a:pos x="connsiteX43098" y="connsiteY43098"/>
              </a:cxn>
              <a:cxn ang="0">
                <a:pos x="connsiteX43099" y="connsiteY43099"/>
              </a:cxn>
              <a:cxn ang="0">
                <a:pos x="connsiteX43100" y="connsiteY43100"/>
              </a:cxn>
              <a:cxn ang="0">
                <a:pos x="connsiteX43101" y="connsiteY43101"/>
              </a:cxn>
              <a:cxn ang="0">
                <a:pos x="connsiteX43102" y="connsiteY43102"/>
              </a:cxn>
              <a:cxn ang="0">
                <a:pos x="connsiteX43103" y="connsiteY43103"/>
              </a:cxn>
              <a:cxn ang="0">
                <a:pos x="connsiteX43104" y="connsiteY43104"/>
              </a:cxn>
              <a:cxn ang="0">
                <a:pos x="connsiteX43105" y="connsiteY43105"/>
              </a:cxn>
              <a:cxn ang="0">
                <a:pos x="connsiteX43106" y="connsiteY43106"/>
              </a:cxn>
              <a:cxn ang="0">
                <a:pos x="connsiteX43107" y="connsiteY43107"/>
              </a:cxn>
              <a:cxn ang="0">
                <a:pos x="connsiteX43108" y="connsiteY43108"/>
              </a:cxn>
              <a:cxn ang="0">
                <a:pos x="connsiteX43109" y="connsiteY43109"/>
              </a:cxn>
              <a:cxn ang="0">
                <a:pos x="connsiteX43110" y="connsiteY43110"/>
              </a:cxn>
              <a:cxn ang="0">
                <a:pos x="connsiteX43111" y="connsiteY43111"/>
              </a:cxn>
              <a:cxn ang="0">
                <a:pos x="connsiteX43112" y="connsiteY43112"/>
              </a:cxn>
              <a:cxn ang="0">
                <a:pos x="connsiteX43113" y="connsiteY43113"/>
              </a:cxn>
              <a:cxn ang="0">
                <a:pos x="connsiteX43114" y="connsiteY43114"/>
              </a:cxn>
              <a:cxn ang="0">
                <a:pos x="connsiteX43115" y="connsiteY43115"/>
              </a:cxn>
              <a:cxn ang="0">
                <a:pos x="connsiteX43116" y="connsiteY43116"/>
              </a:cxn>
              <a:cxn ang="0">
                <a:pos x="connsiteX43117" y="connsiteY43117"/>
              </a:cxn>
              <a:cxn ang="0">
                <a:pos x="connsiteX43118" y="connsiteY43118"/>
              </a:cxn>
              <a:cxn ang="0">
                <a:pos x="connsiteX43119" y="connsiteY43119"/>
              </a:cxn>
              <a:cxn ang="0">
                <a:pos x="connsiteX43120" y="connsiteY43120"/>
              </a:cxn>
              <a:cxn ang="0">
                <a:pos x="connsiteX43121" y="connsiteY43121"/>
              </a:cxn>
              <a:cxn ang="0">
                <a:pos x="connsiteX43122" y="connsiteY43122"/>
              </a:cxn>
              <a:cxn ang="0">
                <a:pos x="connsiteX43123" y="connsiteY43123"/>
              </a:cxn>
              <a:cxn ang="0">
                <a:pos x="connsiteX43124" y="connsiteY43124"/>
              </a:cxn>
              <a:cxn ang="0">
                <a:pos x="connsiteX43125" y="connsiteY43125"/>
              </a:cxn>
              <a:cxn ang="0">
                <a:pos x="connsiteX43126" y="connsiteY43126"/>
              </a:cxn>
              <a:cxn ang="0">
                <a:pos x="connsiteX43127" y="connsiteY43127"/>
              </a:cxn>
              <a:cxn ang="0">
                <a:pos x="connsiteX43128" y="connsiteY43128"/>
              </a:cxn>
              <a:cxn ang="0">
                <a:pos x="connsiteX43129" y="connsiteY43129"/>
              </a:cxn>
              <a:cxn ang="0">
                <a:pos x="connsiteX43130" y="connsiteY43130"/>
              </a:cxn>
              <a:cxn ang="0">
                <a:pos x="connsiteX43131" y="connsiteY43131"/>
              </a:cxn>
              <a:cxn ang="0">
                <a:pos x="connsiteX43132" y="connsiteY43132"/>
              </a:cxn>
              <a:cxn ang="0">
                <a:pos x="connsiteX43133" y="connsiteY43133"/>
              </a:cxn>
              <a:cxn ang="0">
                <a:pos x="connsiteX43134" y="connsiteY43134"/>
              </a:cxn>
              <a:cxn ang="0">
                <a:pos x="connsiteX43135" y="connsiteY43135"/>
              </a:cxn>
              <a:cxn ang="0">
                <a:pos x="connsiteX43136" y="connsiteY43136"/>
              </a:cxn>
              <a:cxn ang="0">
                <a:pos x="connsiteX43137" y="connsiteY43137"/>
              </a:cxn>
              <a:cxn ang="0">
                <a:pos x="connsiteX43138" y="connsiteY43138"/>
              </a:cxn>
              <a:cxn ang="0">
                <a:pos x="connsiteX43139" y="connsiteY43139"/>
              </a:cxn>
              <a:cxn ang="0">
                <a:pos x="connsiteX43140" y="connsiteY43140"/>
              </a:cxn>
              <a:cxn ang="0">
                <a:pos x="connsiteX43141" y="connsiteY43141"/>
              </a:cxn>
              <a:cxn ang="0">
                <a:pos x="connsiteX43142" y="connsiteY43142"/>
              </a:cxn>
              <a:cxn ang="0">
                <a:pos x="connsiteX43143" y="connsiteY43143"/>
              </a:cxn>
              <a:cxn ang="0">
                <a:pos x="connsiteX43144" y="connsiteY43144"/>
              </a:cxn>
              <a:cxn ang="0">
                <a:pos x="connsiteX43145" y="connsiteY43145"/>
              </a:cxn>
              <a:cxn ang="0">
                <a:pos x="connsiteX43146" y="connsiteY43146"/>
              </a:cxn>
              <a:cxn ang="0">
                <a:pos x="connsiteX43147" y="connsiteY43147"/>
              </a:cxn>
              <a:cxn ang="0">
                <a:pos x="connsiteX43148" y="connsiteY43148"/>
              </a:cxn>
              <a:cxn ang="0">
                <a:pos x="connsiteX43149" y="connsiteY43149"/>
              </a:cxn>
              <a:cxn ang="0">
                <a:pos x="connsiteX43150" y="connsiteY43150"/>
              </a:cxn>
              <a:cxn ang="0">
                <a:pos x="connsiteX43151" y="connsiteY43151"/>
              </a:cxn>
              <a:cxn ang="0">
                <a:pos x="connsiteX43152" y="connsiteY43152"/>
              </a:cxn>
              <a:cxn ang="0">
                <a:pos x="connsiteX43153" y="connsiteY43153"/>
              </a:cxn>
              <a:cxn ang="0">
                <a:pos x="connsiteX43154" y="connsiteY43154"/>
              </a:cxn>
              <a:cxn ang="0">
                <a:pos x="connsiteX43155" y="connsiteY43155"/>
              </a:cxn>
              <a:cxn ang="0">
                <a:pos x="connsiteX43156" y="connsiteY43156"/>
              </a:cxn>
              <a:cxn ang="0">
                <a:pos x="connsiteX43157" y="connsiteY43157"/>
              </a:cxn>
              <a:cxn ang="0">
                <a:pos x="connsiteX43158" y="connsiteY43158"/>
              </a:cxn>
              <a:cxn ang="0">
                <a:pos x="connsiteX43159" y="connsiteY43159"/>
              </a:cxn>
              <a:cxn ang="0">
                <a:pos x="connsiteX43160" y="connsiteY43160"/>
              </a:cxn>
              <a:cxn ang="0">
                <a:pos x="connsiteX43161" y="connsiteY43161"/>
              </a:cxn>
              <a:cxn ang="0">
                <a:pos x="connsiteX43162" y="connsiteY43162"/>
              </a:cxn>
              <a:cxn ang="0">
                <a:pos x="connsiteX43163" y="connsiteY43163"/>
              </a:cxn>
              <a:cxn ang="0">
                <a:pos x="connsiteX43164" y="connsiteY43164"/>
              </a:cxn>
              <a:cxn ang="0">
                <a:pos x="connsiteX43165" y="connsiteY43165"/>
              </a:cxn>
              <a:cxn ang="0">
                <a:pos x="connsiteX43166" y="connsiteY43166"/>
              </a:cxn>
              <a:cxn ang="0">
                <a:pos x="connsiteX43167" y="connsiteY43167"/>
              </a:cxn>
              <a:cxn ang="0">
                <a:pos x="connsiteX43168" y="connsiteY43168"/>
              </a:cxn>
              <a:cxn ang="0">
                <a:pos x="connsiteX43169" y="connsiteY43169"/>
              </a:cxn>
              <a:cxn ang="0">
                <a:pos x="connsiteX43170" y="connsiteY43170"/>
              </a:cxn>
              <a:cxn ang="0">
                <a:pos x="connsiteX43171" y="connsiteY43171"/>
              </a:cxn>
              <a:cxn ang="0">
                <a:pos x="connsiteX43172" y="connsiteY43172"/>
              </a:cxn>
              <a:cxn ang="0">
                <a:pos x="connsiteX43173" y="connsiteY43173"/>
              </a:cxn>
              <a:cxn ang="0">
                <a:pos x="connsiteX43174" y="connsiteY43174"/>
              </a:cxn>
              <a:cxn ang="0">
                <a:pos x="connsiteX43175" y="connsiteY43175"/>
              </a:cxn>
              <a:cxn ang="0">
                <a:pos x="connsiteX43176" y="connsiteY43176"/>
              </a:cxn>
              <a:cxn ang="0">
                <a:pos x="connsiteX43177" y="connsiteY43177"/>
              </a:cxn>
              <a:cxn ang="0">
                <a:pos x="connsiteX43178" y="connsiteY43178"/>
              </a:cxn>
              <a:cxn ang="0">
                <a:pos x="connsiteX43179" y="connsiteY43179"/>
              </a:cxn>
              <a:cxn ang="0">
                <a:pos x="connsiteX43180" y="connsiteY43180"/>
              </a:cxn>
              <a:cxn ang="0">
                <a:pos x="connsiteX43181" y="connsiteY43181"/>
              </a:cxn>
              <a:cxn ang="0">
                <a:pos x="connsiteX43182" y="connsiteY43182"/>
              </a:cxn>
              <a:cxn ang="0">
                <a:pos x="connsiteX43183" y="connsiteY43183"/>
              </a:cxn>
              <a:cxn ang="0">
                <a:pos x="connsiteX43184" y="connsiteY43184"/>
              </a:cxn>
              <a:cxn ang="0">
                <a:pos x="connsiteX43185" y="connsiteY43185"/>
              </a:cxn>
              <a:cxn ang="0">
                <a:pos x="connsiteX43186" y="connsiteY43186"/>
              </a:cxn>
              <a:cxn ang="0">
                <a:pos x="connsiteX43187" y="connsiteY43187"/>
              </a:cxn>
              <a:cxn ang="0">
                <a:pos x="connsiteX43188" y="connsiteY43188"/>
              </a:cxn>
              <a:cxn ang="0">
                <a:pos x="connsiteX43189" y="connsiteY43189"/>
              </a:cxn>
              <a:cxn ang="0">
                <a:pos x="connsiteX43190" y="connsiteY43190"/>
              </a:cxn>
              <a:cxn ang="0">
                <a:pos x="connsiteX43191" y="connsiteY43191"/>
              </a:cxn>
              <a:cxn ang="0">
                <a:pos x="connsiteX43192" y="connsiteY43192"/>
              </a:cxn>
              <a:cxn ang="0">
                <a:pos x="connsiteX43193" y="connsiteY43193"/>
              </a:cxn>
              <a:cxn ang="0">
                <a:pos x="connsiteX43194" y="connsiteY43194"/>
              </a:cxn>
              <a:cxn ang="0">
                <a:pos x="connsiteX43195" y="connsiteY43195"/>
              </a:cxn>
              <a:cxn ang="0">
                <a:pos x="connsiteX43196" y="connsiteY43196"/>
              </a:cxn>
              <a:cxn ang="0">
                <a:pos x="connsiteX43197" y="connsiteY43197"/>
              </a:cxn>
              <a:cxn ang="0">
                <a:pos x="connsiteX43198" y="connsiteY43198"/>
              </a:cxn>
              <a:cxn ang="0">
                <a:pos x="connsiteX43199" y="connsiteY43199"/>
              </a:cxn>
              <a:cxn ang="0">
                <a:pos x="connsiteX43200" y="connsiteY43200"/>
              </a:cxn>
              <a:cxn ang="0">
                <a:pos x="connsiteX43201" y="connsiteY43201"/>
              </a:cxn>
              <a:cxn ang="0">
                <a:pos x="connsiteX43202" y="connsiteY43202"/>
              </a:cxn>
              <a:cxn ang="0">
                <a:pos x="connsiteX43203" y="connsiteY43203"/>
              </a:cxn>
              <a:cxn ang="0">
                <a:pos x="connsiteX43204" y="connsiteY43204"/>
              </a:cxn>
              <a:cxn ang="0">
                <a:pos x="connsiteX43205" y="connsiteY43205"/>
              </a:cxn>
              <a:cxn ang="0">
                <a:pos x="connsiteX43206" y="connsiteY43206"/>
              </a:cxn>
              <a:cxn ang="0">
                <a:pos x="connsiteX43207" y="connsiteY43207"/>
              </a:cxn>
              <a:cxn ang="0">
                <a:pos x="connsiteX43208" y="connsiteY43208"/>
              </a:cxn>
              <a:cxn ang="0">
                <a:pos x="connsiteX43209" y="connsiteY43209"/>
              </a:cxn>
              <a:cxn ang="0">
                <a:pos x="connsiteX43210" y="connsiteY43210"/>
              </a:cxn>
              <a:cxn ang="0">
                <a:pos x="connsiteX43211" y="connsiteY43211"/>
              </a:cxn>
              <a:cxn ang="0">
                <a:pos x="connsiteX43212" y="connsiteY43212"/>
              </a:cxn>
              <a:cxn ang="0">
                <a:pos x="connsiteX43213" y="connsiteY43213"/>
              </a:cxn>
              <a:cxn ang="0">
                <a:pos x="connsiteX43214" y="connsiteY43214"/>
              </a:cxn>
              <a:cxn ang="0">
                <a:pos x="connsiteX43215" y="connsiteY43215"/>
              </a:cxn>
              <a:cxn ang="0">
                <a:pos x="connsiteX43216" y="connsiteY43216"/>
              </a:cxn>
              <a:cxn ang="0">
                <a:pos x="connsiteX43217" y="connsiteY43217"/>
              </a:cxn>
              <a:cxn ang="0">
                <a:pos x="connsiteX43218" y="connsiteY43218"/>
              </a:cxn>
              <a:cxn ang="0">
                <a:pos x="connsiteX43219" y="connsiteY43219"/>
              </a:cxn>
              <a:cxn ang="0">
                <a:pos x="connsiteX43220" y="connsiteY43220"/>
              </a:cxn>
              <a:cxn ang="0">
                <a:pos x="connsiteX43221" y="connsiteY43221"/>
              </a:cxn>
              <a:cxn ang="0">
                <a:pos x="connsiteX43222" y="connsiteY43222"/>
              </a:cxn>
              <a:cxn ang="0">
                <a:pos x="connsiteX43223" y="connsiteY43223"/>
              </a:cxn>
              <a:cxn ang="0">
                <a:pos x="connsiteX43224" y="connsiteY43224"/>
              </a:cxn>
              <a:cxn ang="0">
                <a:pos x="connsiteX43225" y="connsiteY43225"/>
              </a:cxn>
              <a:cxn ang="0">
                <a:pos x="connsiteX43226" y="connsiteY43226"/>
              </a:cxn>
              <a:cxn ang="0">
                <a:pos x="connsiteX43227" y="connsiteY43227"/>
              </a:cxn>
              <a:cxn ang="0">
                <a:pos x="connsiteX43228" y="connsiteY43228"/>
              </a:cxn>
              <a:cxn ang="0">
                <a:pos x="connsiteX43229" y="connsiteY43229"/>
              </a:cxn>
              <a:cxn ang="0">
                <a:pos x="connsiteX43230" y="connsiteY43230"/>
              </a:cxn>
              <a:cxn ang="0">
                <a:pos x="connsiteX43231" y="connsiteY43231"/>
              </a:cxn>
              <a:cxn ang="0">
                <a:pos x="connsiteX43232" y="connsiteY43232"/>
              </a:cxn>
              <a:cxn ang="0">
                <a:pos x="connsiteX43233" y="connsiteY43233"/>
              </a:cxn>
              <a:cxn ang="0">
                <a:pos x="connsiteX43234" y="connsiteY43234"/>
              </a:cxn>
              <a:cxn ang="0">
                <a:pos x="connsiteX43235" y="connsiteY43235"/>
              </a:cxn>
              <a:cxn ang="0">
                <a:pos x="connsiteX43236" y="connsiteY43236"/>
              </a:cxn>
              <a:cxn ang="0">
                <a:pos x="connsiteX43237" y="connsiteY43237"/>
              </a:cxn>
              <a:cxn ang="0">
                <a:pos x="connsiteX43238" y="connsiteY43238"/>
              </a:cxn>
              <a:cxn ang="0">
                <a:pos x="connsiteX43239" y="connsiteY43239"/>
              </a:cxn>
              <a:cxn ang="0">
                <a:pos x="connsiteX43240" y="connsiteY43240"/>
              </a:cxn>
              <a:cxn ang="0">
                <a:pos x="connsiteX43241" y="connsiteY43241"/>
              </a:cxn>
              <a:cxn ang="0">
                <a:pos x="connsiteX43242" y="connsiteY43242"/>
              </a:cxn>
              <a:cxn ang="0">
                <a:pos x="connsiteX43243" y="connsiteY43243"/>
              </a:cxn>
              <a:cxn ang="0">
                <a:pos x="connsiteX43244" y="connsiteY43244"/>
              </a:cxn>
              <a:cxn ang="0">
                <a:pos x="connsiteX43245" y="connsiteY43245"/>
              </a:cxn>
              <a:cxn ang="0">
                <a:pos x="connsiteX43246" y="connsiteY43246"/>
              </a:cxn>
              <a:cxn ang="0">
                <a:pos x="connsiteX43247" y="connsiteY43247"/>
              </a:cxn>
              <a:cxn ang="0">
                <a:pos x="connsiteX43248" y="connsiteY43248"/>
              </a:cxn>
              <a:cxn ang="0">
                <a:pos x="connsiteX43249" y="connsiteY43249"/>
              </a:cxn>
              <a:cxn ang="0">
                <a:pos x="connsiteX43250" y="connsiteY43250"/>
              </a:cxn>
              <a:cxn ang="0">
                <a:pos x="connsiteX43251" y="connsiteY43251"/>
              </a:cxn>
              <a:cxn ang="0">
                <a:pos x="connsiteX43252" y="connsiteY43252"/>
              </a:cxn>
              <a:cxn ang="0">
                <a:pos x="connsiteX43253" y="connsiteY43253"/>
              </a:cxn>
              <a:cxn ang="0">
                <a:pos x="connsiteX43254" y="connsiteY43254"/>
              </a:cxn>
              <a:cxn ang="0">
                <a:pos x="connsiteX43255" y="connsiteY43255"/>
              </a:cxn>
              <a:cxn ang="0">
                <a:pos x="connsiteX43256" y="connsiteY43256"/>
              </a:cxn>
              <a:cxn ang="0">
                <a:pos x="connsiteX43257" y="connsiteY43257"/>
              </a:cxn>
              <a:cxn ang="0">
                <a:pos x="connsiteX43258" y="connsiteY43258"/>
              </a:cxn>
              <a:cxn ang="0">
                <a:pos x="connsiteX43259" y="connsiteY43259"/>
              </a:cxn>
              <a:cxn ang="0">
                <a:pos x="connsiteX43260" y="connsiteY43260"/>
              </a:cxn>
              <a:cxn ang="0">
                <a:pos x="connsiteX43261" y="connsiteY43261"/>
              </a:cxn>
              <a:cxn ang="0">
                <a:pos x="connsiteX43262" y="connsiteY43262"/>
              </a:cxn>
              <a:cxn ang="0">
                <a:pos x="connsiteX43263" y="connsiteY43263"/>
              </a:cxn>
              <a:cxn ang="0">
                <a:pos x="connsiteX43264" y="connsiteY43264"/>
              </a:cxn>
              <a:cxn ang="0">
                <a:pos x="connsiteX43265" y="connsiteY43265"/>
              </a:cxn>
              <a:cxn ang="0">
                <a:pos x="connsiteX43266" y="connsiteY43266"/>
              </a:cxn>
              <a:cxn ang="0">
                <a:pos x="connsiteX43267" y="connsiteY43267"/>
              </a:cxn>
              <a:cxn ang="0">
                <a:pos x="connsiteX43268" y="connsiteY43268"/>
              </a:cxn>
              <a:cxn ang="0">
                <a:pos x="connsiteX43269" y="connsiteY43269"/>
              </a:cxn>
              <a:cxn ang="0">
                <a:pos x="connsiteX43270" y="connsiteY43270"/>
              </a:cxn>
              <a:cxn ang="0">
                <a:pos x="connsiteX43271" y="connsiteY43271"/>
              </a:cxn>
              <a:cxn ang="0">
                <a:pos x="connsiteX43272" y="connsiteY43272"/>
              </a:cxn>
              <a:cxn ang="0">
                <a:pos x="connsiteX43273" y="connsiteY43273"/>
              </a:cxn>
              <a:cxn ang="0">
                <a:pos x="connsiteX43274" y="connsiteY43274"/>
              </a:cxn>
              <a:cxn ang="0">
                <a:pos x="connsiteX43275" y="connsiteY43275"/>
              </a:cxn>
              <a:cxn ang="0">
                <a:pos x="connsiteX43276" y="connsiteY43276"/>
              </a:cxn>
              <a:cxn ang="0">
                <a:pos x="connsiteX43277" y="connsiteY43277"/>
              </a:cxn>
              <a:cxn ang="0">
                <a:pos x="connsiteX43278" y="connsiteY43278"/>
              </a:cxn>
              <a:cxn ang="0">
                <a:pos x="connsiteX43279" y="connsiteY43279"/>
              </a:cxn>
              <a:cxn ang="0">
                <a:pos x="connsiteX43280" y="connsiteY43280"/>
              </a:cxn>
              <a:cxn ang="0">
                <a:pos x="connsiteX43281" y="connsiteY43281"/>
              </a:cxn>
              <a:cxn ang="0">
                <a:pos x="connsiteX43282" y="connsiteY43282"/>
              </a:cxn>
              <a:cxn ang="0">
                <a:pos x="connsiteX43283" y="connsiteY43283"/>
              </a:cxn>
              <a:cxn ang="0">
                <a:pos x="connsiteX43284" y="connsiteY43284"/>
              </a:cxn>
              <a:cxn ang="0">
                <a:pos x="connsiteX43285" y="connsiteY43285"/>
              </a:cxn>
              <a:cxn ang="0">
                <a:pos x="connsiteX43286" y="connsiteY43286"/>
              </a:cxn>
              <a:cxn ang="0">
                <a:pos x="connsiteX43287" y="connsiteY43287"/>
              </a:cxn>
              <a:cxn ang="0">
                <a:pos x="connsiteX43288" y="connsiteY43288"/>
              </a:cxn>
              <a:cxn ang="0">
                <a:pos x="connsiteX43289" y="connsiteY43289"/>
              </a:cxn>
              <a:cxn ang="0">
                <a:pos x="connsiteX43290" y="connsiteY43290"/>
              </a:cxn>
              <a:cxn ang="0">
                <a:pos x="connsiteX43291" y="connsiteY43291"/>
              </a:cxn>
              <a:cxn ang="0">
                <a:pos x="connsiteX43292" y="connsiteY43292"/>
              </a:cxn>
              <a:cxn ang="0">
                <a:pos x="connsiteX43293" y="connsiteY43293"/>
              </a:cxn>
              <a:cxn ang="0">
                <a:pos x="connsiteX43294" y="connsiteY43294"/>
              </a:cxn>
              <a:cxn ang="0">
                <a:pos x="connsiteX43295" y="connsiteY43295"/>
              </a:cxn>
              <a:cxn ang="0">
                <a:pos x="connsiteX43296" y="connsiteY43296"/>
              </a:cxn>
              <a:cxn ang="0">
                <a:pos x="connsiteX43297" y="connsiteY43297"/>
              </a:cxn>
              <a:cxn ang="0">
                <a:pos x="connsiteX43298" y="connsiteY43298"/>
              </a:cxn>
              <a:cxn ang="0">
                <a:pos x="connsiteX43299" y="connsiteY43299"/>
              </a:cxn>
              <a:cxn ang="0">
                <a:pos x="connsiteX43300" y="connsiteY43300"/>
              </a:cxn>
              <a:cxn ang="0">
                <a:pos x="connsiteX43301" y="connsiteY43301"/>
              </a:cxn>
              <a:cxn ang="0">
                <a:pos x="connsiteX43302" y="connsiteY43302"/>
              </a:cxn>
              <a:cxn ang="0">
                <a:pos x="connsiteX43303" y="connsiteY43303"/>
              </a:cxn>
              <a:cxn ang="0">
                <a:pos x="connsiteX43304" y="connsiteY43304"/>
              </a:cxn>
              <a:cxn ang="0">
                <a:pos x="connsiteX43305" y="connsiteY43305"/>
              </a:cxn>
              <a:cxn ang="0">
                <a:pos x="connsiteX43306" y="connsiteY43306"/>
              </a:cxn>
              <a:cxn ang="0">
                <a:pos x="connsiteX43307" y="connsiteY43307"/>
              </a:cxn>
              <a:cxn ang="0">
                <a:pos x="connsiteX43308" y="connsiteY43308"/>
              </a:cxn>
              <a:cxn ang="0">
                <a:pos x="connsiteX43309" y="connsiteY43309"/>
              </a:cxn>
              <a:cxn ang="0">
                <a:pos x="connsiteX43310" y="connsiteY43310"/>
              </a:cxn>
              <a:cxn ang="0">
                <a:pos x="connsiteX43311" y="connsiteY43311"/>
              </a:cxn>
              <a:cxn ang="0">
                <a:pos x="connsiteX43312" y="connsiteY43312"/>
              </a:cxn>
              <a:cxn ang="0">
                <a:pos x="connsiteX43313" y="connsiteY43313"/>
              </a:cxn>
              <a:cxn ang="0">
                <a:pos x="connsiteX43314" y="connsiteY43314"/>
              </a:cxn>
              <a:cxn ang="0">
                <a:pos x="connsiteX43315" y="connsiteY43315"/>
              </a:cxn>
              <a:cxn ang="0">
                <a:pos x="connsiteX43316" y="connsiteY43316"/>
              </a:cxn>
              <a:cxn ang="0">
                <a:pos x="connsiteX43317" y="connsiteY43317"/>
              </a:cxn>
              <a:cxn ang="0">
                <a:pos x="connsiteX43318" y="connsiteY43318"/>
              </a:cxn>
              <a:cxn ang="0">
                <a:pos x="connsiteX43319" y="connsiteY43319"/>
              </a:cxn>
              <a:cxn ang="0">
                <a:pos x="connsiteX43320" y="connsiteY43320"/>
              </a:cxn>
              <a:cxn ang="0">
                <a:pos x="connsiteX43321" y="connsiteY43321"/>
              </a:cxn>
              <a:cxn ang="0">
                <a:pos x="connsiteX43322" y="connsiteY43322"/>
              </a:cxn>
              <a:cxn ang="0">
                <a:pos x="connsiteX43323" y="connsiteY43323"/>
              </a:cxn>
              <a:cxn ang="0">
                <a:pos x="connsiteX43324" y="connsiteY43324"/>
              </a:cxn>
              <a:cxn ang="0">
                <a:pos x="connsiteX43325" y="connsiteY43325"/>
              </a:cxn>
              <a:cxn ang="0">
                <a:pos x="connsiteX43326" y="connsiteY43326"/>
              </a:cxn>
              <a:cxn ang="0">
                <a:pos x="connsiteX43327" y="connsiteY43327"/>
              </a:cxn>
              <a:cxn ang="0">
                <a:pos x="connsiteX43328" y="connsiteY43328"/>
              </a:cxn>
              <a:cxn ang="0">
                <a:pos x="connsiteX43329" y="connsiteY43329"/>
              </a:cxn>
              <a:cxn ang="0">
                <a:pos x="connsiteX43330" y="connsiteY43330"/>
              </a:cxn>
              <a:cxn ang="0">
                <a:pos x="connsiteX43331" y="connsiteY43331"/>
              </a:cxn>
              <a:cxn ang="0">
                <a:pos x="connsiteX43332" y="connsiteY43332"/>
              </a:cxn>
              <a:cxn ang="0">
                <a:pos x="connsiteX43333" y="connsiteY43333"/>
              </a:cxn>
              <a:cxn ang="0">
                <a:pos x="connsiteX43334" y="connsiteY43334"/>
              </a:cxn>
              <a:cxn ang="0">
                <a:pos x="connsiteX43335" y="connsiteY43335"/>
              </a:cxn>
              <a:cxn ang="0">
                <a:pos x="connsiteX43336" y="connsiteY43336"/>
              </a:cxn>
              <a:cxn ang="0">
                <a:pos x="connsiteX43337" y="connsiteY43337"/>
              </a:cxn>
              <a:cxn ang="0">
                <a:pos x="connsiteX43338" y="connsiteY43338"/>
              </a:cxn>
              <a:cxn ang="0">
                <a:pos x="connsiteX43339" y="connsiteY43339"/>
              </a:cxn>
              <a:cxn ang="0">
                <a:pos x="connsiteX43340" y="connsiteY43340"/>
              </a:cxn>
              <a:cxn ang="0">
                <a:pos x="connsiteX43341" y="connsiteY43341"/>
              </a:cxn>
              <a:cxn ang="0">
                <a:pos x="connsiteX43342" y="connsiteY43342"/>
              </a:cxn>
              <a:cxn ang="0">
                <a:pos x="connsiteX43343" y="connsiteY43343"/>
              </a:cxn>
              <a:cxn ang="0">
                <a:pos x="connsiteX43344" y="connsiteY43344"/>
              </a:cxn>
              <a:cxn ang="0">
                <a:pos x="connsiteX43345" y="connsiteY43345"/>
              </a:cxn>
              <a:cxn ang="0">
                <a:pos x="connsiteX43346" y="connsiteY43346"/>
              </a:cxn>
              <a:cxn ang="0">
                <a:pos x="connsiteX43347" y="connsiteY43347"/>
              </a:cxn>
              <a:cxn ang="0">
                <a:pos x="connsiteX43348" y="connsiteY43348"/>
              </a:cxn>
              <a:cxn ang="0">
                <a:pos x="connsiteX43349" y="connsiteY43349"/>
              </a:cxn>
              <a:cxn ang="0">
                <a:pos x="connsiteX43350" y="connsiteY43350"/>
              </a:cxn>
              <a:cxn ang="0">
                <a:pos x="connsiteX43351" y="connsiteY43351"/>
              </a:cxn>
              <a:cxn ang="0">
                <a:pos x="connsiteX43352" y="connsiteY43352"/>
              </a:cxn>
              <a:cxn ang="0">
                <a:pos x="connsiteX43353" y="connsiteY43353"/>
              </a:cxn>
              <a:cxn ang="0">
                <a:pos x="connsiteX43354" y="connsiteY43354"/>
              </a:cxn>
              <a:cxn ang="0">
                <a:pos x="connsiteX43355" y="connsiteY43355"/>
              </a:cxn>
              <a:cxn ang="0">
                <a:pos x="connsiteX43356" y="connsiteY43356"/>
              </a:cxn>
              <a:cxn ang="0">
                <a:pos x="connsiteX43357" y="connsiteY43357"/>
              </a:cxn>
              <a:cxn ang="0">
                <a:pos x="connsiteX43358" y="connsiteY43358"/>
              </a:cxn>
              <a:cxn ang="0">
                <a:pos x="connsiteX43359" y="connsiteY43359"/>
              </a:cxn>
              <a:cxn ang="0">
                <a:pos x="connsiteX43360" y="connsiteY43360"/>
              </a:cxn>
              <a:cxn ang="0">
                <a:pos x="connsiteX43361" y="connsiteY43361"/>
              </a:cxn>
              <a:cxn ang="0">
                <a:pos x="connsiteX43362" y="connsiteY43362"/>
              </a:cxn>
              <a:cxn ang="0">
                <a:pos x="connsiteX43363" y="connsiteY43363"/>
              </a:cxn>
              <a:cxn ang="0">
                <a:pos x="connsiteX43364" y="connsiteY43364"/>
              </a:cxn>
              <a:cxn ang="0">
                <a:pos x="connsiteX43365" y="connsiteY43365"/>
              </a:cxn>
              <a:cxn ang="0">
                <a:pos x="connsiteX43366" y="connsiteY43366"/>
              </a:cxn>
              <a:cxn ang="0">
                <a:pos x="connsiteX43367" y="connsiteY43367"/>
              </a:cxn>
              <a:cxn ang="0">
                <a:pos x="connsiteX43368" y="connsiteY43368"/>
              </a:cxn>
              <a:cxn ang="0">
                <a:pos x="connsiteX43369" y="connsiteY43369"/>
              </a:cxn>
              <a:cxn ang="0">
                <a:pos x="connsiteX43370" y="connsiteY43370"/>
              </a:cxn>
              <a:cxn ang="0">
                <a:pos x="connsiteX43371" y="connsiteY43371"/>
              </a:cxn>
              <a:cxn ang="0">
                <a:pos x="connsiteX43372" y="connsiteY43372"/>
              </a:cxn>
              <a:cxn ang="0">
                <a:pos x="connsiteX43373" y="connsiteY43373"/>
              </a:cxn>
              <a:cxn ang="0">
                <a:pos x="connsiteX43374" y="connsiteY43374"/>
              </a:cxn>
              <a:cxn ang="0">
                <a:pos x="connsiteX43375" y="connsiteY43375"/>
              </a:cxn>
              <a:cxn ang="0">
                <a:pos x="connsiteX43376" y="connsiteY43376"/>
              </a:cxn>
              <a:cxn ang="0">
                <a:pos x="connsiteX43377" y="connsiteY43377"/>
              </a:cxn>
              <a:cxn ang="0">
                <a:pos x="connsiteX43378" y="connsiteY43378"/>
              </a:cxn>
              <a:cxn ang="0">
                <a:pos x="connsiteX43379" y="connsiteY43379"/>
              </a:cxn>
              <a:cxn ang="0">
                <a:pos x="connsiteX43380" y="connsiteY43380"/>
              </a:cxn>
              <a:cxn ang="0">
                <a:pos x="connsiteX43381" y="connsiteY43381"/>
              </a:cxn>
              <a:cxn ang="0">
                <a:pos x="connsiteX43382" y="connsiteY43382"/>
              </a:cxn>
              <a:cxn ang="0">
                <a:pos x="connsiteX43383" y="connsiteY43383"/>
              </a:cxn>
              <a:cxn ang="0">
                <a:pos x="connsiteX43384" y="connsiteY43384"/>
              </a:cxn>
              <a:cxn ang="0">
                <a:pos x="connsiteX43385" y="connsiteY43385"/>
              </a:cxn>
              <a:cxn ang="0">
                <a:pos x="connsiteX43386" y="connsiteY43386"/>
              </a:cxn>
              <a:cxn ang="0">
                <a:pos x="connsiteX43387" y="connsiteY43387"/>
              </a:cxn>
              <a:cxn ang="0">
                <a:pos x="connsiteX43388" y="connsiteY43388"/>
              </a:cxn>
              <a:cxn ang="0">
                <a:pos x="connsiteX43389" y="connsiteY43389"/>
              </a:cxn>
              <a:cxn ang="0">
                <a:pos x="connsiteX43390" y="connsiteY43390"/>
              </a:cxn>
              <a:cxn ang="0">
                <a:pos x="connsiteX43391" y="connsiteY43391"/>
              </a:cxn>
              <a:cxn ang="0">
                <a:pos x="connsiteX43392" y="connsiteY43392"/>
              </a:cxn>
              <a:cxn ang="0">
                <a:pos x="connsiteX43393" y="connsiteY43393"/>
              </a:cxn>
              <a:cxn ang="0">
                <a:pos x="connsiteX43394" y="connsiteY43394"/>
              </a:cxn>
              <a:cxn ang="0">
                <a:pos x="connsiteX43395" y="connsiteY43395"/>
              </a:cxn>
              <a:cxn ang="0">
                <a:pos x="connsiteX43396" y="connsiteY43396"/>
              </a:cxn>
              <a:cxn ang="0">
                <a:pos x="connsiteX43397" y="connsiteY43397"/>
              </a:cxn>
              <a:cxn ang="0">
                <a:pos x="connsiteX43398" y="connsiteY43398"/>
              </a:cxn>
              <a:cxn ang="0">
                <a:pos x="connsiteX43399" y="connsiteY43399"/>
              </a:cxn>
              <a:cxn ang="0">
                <a:pos x="connsiteX43400" y="connsiteY43400"/>
              </a:cxn>
              <a:cxn ang="0">
                <a:pos x="connsiteX43401" y="connsiteY43401"/>
              </a:cxn>
              <a:cxn ang="0">
                <a:pos x="connsiteX43402" y="connsiteY43402"/>
              </a:cxn>
              <a:cxn ang="0">
                <a:pos x="connsiteX43403" y="connsiteY43403"/>
              </a:cxn>
              <a:cxn ang="0">
                <a:pos x="connsiteX43404" y="connsiteY43404"/>
              </a:cxn>
              <a:cxn ang="0">
                <a:pos x="connsiteX43405" y="connsiteY43405"/>
              </a:cxn>
              <a:cxn ang="0">
                <a:pos x="connsiteX43406" y="connsiteY43406"/>
              </a:cxn>
              <a:cxn ang="0">
                <a:pos x="connsiteX43407" y="connsiteY43407"/>
              </a:cxn>
              <a:cxn ang="0">
                <a:pos x="connsiteX43408" y="connsiteY43408"/>
              </a:cxn>
              <a:cxn ang="0">
                <a:pos x="connsiteX43409" y="connsiteY43409"/>
              </a:cxn>
              <a:cxn ang="0">
                <a:pos x="connsiteX43410" y="connsiteY43410"/>
              </a:cxn>
              <a:cxn ang="0">
                <a:pos x="connsiteX43411" y="connsiteY43411"/>
              </a:cxn>
              <a:cxn ang="0">
                <a:pos x="connsiteX43412" y="connsiteY43412"/>
              </a:cxn>
              <a:cxn ang="0">
                <a:pos x="connsiteX43413" y="connsiteY43413"/>
              </a:cxn>
              <a:cxn ang="0">
                <a:pos x="connsiteX43414" y="connsiteY43414"/>
              </a:cxn>
              <a:cxn ang="0">
                <a:pos x="connsiteX43415" y="connsiteY43415"/>
              </a:cxn>
              <a:cxn ang="0">
                <a:pos x="connsiteX43416" y="connsiteY43416"/>
              </a:cxn>
              <a:cxn ang="0">
                <a:pos x="connsiteX43417" y="connsiteY43417"/>
              </a:cxn>
              <a:cxn ang="0">
                <a:pos x="connsiteX43418" y="connsiteY43418"/>
              </a:cxn>
              <a:cxn ang="0">
                <a:pos x="connsiteX43419" y="connsiteY43419"/>
              </a:cxn>
              <a:cxn ang="0">
                <a:pos x="connsiteX43420" y="connsiteY43420"/>
              </a:cxn>
              <a:cxn ang="0">
                <a:pos x="connsiteX43421" y="connsiteY43421"/>
              </a:cxn>
              <a:cxn ang="0">
                <a:pos x="connsiteX43422" y="connsiteY43422"/>
              </a:cxn>
              <a:cxn ang="0">
                <a:pos x="connsiteX43423" y="connsiteY43423"/>
              </a:cxn>
              <a:cxn ang="0">
                <a:pos x="connsiteX43424" y="connsiteY43424"/>
              </a:cxn>
              <a:cxn ang="0">
                <a:pos x="connsiteX43425" y="connsiteY43425"/>
              </a:cxn>
              <a:cxn ang="0">
                <a:pos x="connsiteX43426" y="connsiteY43426"/>
              </a:cxn>
              <a:cxn ang="0">
                <a:pos x="connsiteX43427" y="connsiteY43427"/>
              </a:cxn>
              <a:cxn ang="0">
                <a:pos x="connsiteX43428" y="connsiteY43428"/>
              </a:cxn>
              <a:cxn ang="0">
                <a:pos x="connsiteX43429" y="connsiteY43429"/>
              </a:cxn>
              <a:cxn ang="0">
                <a:pos x="connsiteX43430" y="connsiteY43430"/>
              </a:cxn>
              <a:cxn ang="0">
                <a:pos x="connsiteX43431" y="connsiteY43431"/>
              </a:cxn>
              <a:cxn ang="0">
                <a:pos x="connsiteX43432" y="connsiteY43432"/>
              </a:cxn>
              <a:cxn ang="0">
                <a:pos x="connsiteX43433" y="connsiteY43433"/>
              </a:cxn>
              <a:cxn ang="0">
                <a:pos x="connsiteX43434" y="connsiteY43434"/>
              </a:cxn>
              <a:cxn ang="0">
                <a:pos x="connsiteX43435" y="connsiteY43435"/>
              </a:cxn>
              <a:cxn ang="0">
                <a:pos x="connsiteX43436" y="connsiteY43436"/>
              </a:cxn>
              <a:cxn ang="0">
                <a:pos x="connsiteX43437" y="connsiteY43437"/>
              </a:cxn>
              <a:cxn ang="0">
                <a:pos x="connsiteX43438" y="connsiteY43438"/>
              </a:cxn>
              <a:cxn ang="0">
                <a:pos x="connsiteX43439" y="connsiteY43439"/>
              </a:cxn>
              <a:cxn ang="0">
                <a:pos x="connsiteX43440" y="connsiteY43440"/>
              </a:cxn>
              <a:cxn ang="0">
                <a:pos x="connsiteX43441" y="connsiteY43441"/>
              </a:cxn>
              <a:cxn ang="0">
                <a:pos x="connsiteX43442" y="connsiteY43442"/>
              </a:cxn>
              <a:cxn ang="0">
                <a:pos x="connsiteX43443" y="connsiteY43443"/>
              </a:cxn>
              <a:cxn ang="0">
                <a:pos x="connsiteX43444" y="connsiteY43444"/>
              </a:cxn>
              <a:cxn ang="0">
                <a:pos x="connsiteX43445" y="connsiteY43445"/>
              </a:cxn>
              <a:cxn ang="0">
                <a:pos x="connsiteX43446" y="connsiteY43446"/>
              </a:cxn>
              <a:cxn ang="0">
                <a:pos x="connsiteX43447" y="connsiteY43447"/>
              </a:cxn>
              <a:cxn ang="0">
                <a:pos x="connsiteX43448" y="connsiteY43448"/>
              </a:cxn>
              <a:cxn ang="0">
                <a:pos x="connsiteX43449" y="connsiteY43449"/>
              </a:cxn>
              <a:cxn ang="0">
                <a:pos x="connsiteX43450" y="connsiteY43450"/>
              </a:cxn>
              <a:cxn ang="0">
                <a:pos x="connsiteX43451" y="connsiteY43451"/>
              </a:cxn>
              <a:cxn ang="0">
                <a:pos x="connsiteX43452" y="connsiteY43452"/>
              </a:cxn>
              <a:cxn ang="0">
                <a:pos x="connsiteX43453" y="connsiteY43453"/>
              </a:cxn>
              <a:cxn ang="0">
                <a:pos x="connsiteX43454" y="connsiteY43454"/>
              </a:cxn>
              <a:cxn ang="0">
                <a:pos x="connsiteX43455" y="connsiteY43455"/>
              </a:cxn>
              <a:cxn ang="0">
                <a:pos x="connsiteX43456" y="connsiteY43456"/>
              </a:cxn>
              <a:cxn ang="0">
                <a:pos x="connsiteX43457" y="connsiteY43457"/>
              </a:cxn>
              <a:cxn ang="0">
                <a:pos x="connsiteX43458" y="connsiteY43458"/>
              </a:cxn>
              <a:cxn ang="0">
                <a:pos x="connsiteX43459" y="connsiteY43459"/>
              </a:cxn>
              <a:cxn ang="0">
                <a:pos x="connsiteX43460" y="connsiteY43460"/>
              </a:cxn>
              <a:cxn ang="0">
                <a:pos x="connsiteX43461" y="connsiteY43461"/>
              </a:cxn>
              <a:cxn ang="0">
                <a:pos x="connsiteX43462" y="connsiteY43462"/>
              </a:cxn>
              <a:cxn ang="0">
                <a:pos x="connsiteX43463" y="connsiteY43463"/>
              </a:cxn>
              <a:cxn ang="0">
                <a:pos x="connsiteX43464" y="connsiteY43464"/>
              </a:cxn>
              <a:cxn ang="0">
                <a:pos x="connsiteX43465" y="connsiteY43465"/>
              </a:cxn>
              <a:cxn ang="0">
                <a:pos x="connsiteX43466" y="connsiteY43466"/>
              </a:cxn>
              <a:cxn ang="0">
                <a:pos x="connsiteX43467" y="connsiteY43467"/>
              </a:cxn>
              <a:cxn ang="0">
                <a:pos x="connsiteX43468" y="connsiteY43468"/>
              </a:cxn>
              <a:cxn ang="0">
                <a:pos x="connsiteX43469" y="connsiteY43469"/>
              </a:cxn>
              <a:cxn ang="0">
                <a:pos x="connsiteX43470" y="connsiteY43470"/>
              </a:cxn>
              <a:cxn ang="0">
                <a:pos x="connsiteX43471" y="connsiteY43471"/>
              </a:cxn>
              <a:cxn ang="0">
                <a:pos x="connsiteX43472" y="connsiteY43472"/>
              </a:cxn>
              <a:cxn ang="0">
                <a:pos x="connsiteX43473" y="connsiteY43473"/>
              </a:cxn>
              <a:cxn ang="0">
                <a:pos x="connsiteX43474" y="connsiteY43474"/>
              </a:cxn>
              <a:cxn ang="0">
                <a:pos x="connsiteX43475" y="connsiteY43475"/>
              </a:cxn>
              <a:cxn ang="0">
                <a:pos x="connsiteX43476" y="connsiteY43476"/>
              </a:cxn>
              <a:cxn ang="0">
                <a:pos x="connsiteX43477" y="connsiteY43477"/>
              </a:cxn>
              <a:cxn ang="0">
                <a:pos x="connsiteX43478" y="connsiteY43478"/>
              </a:cxn>
              <a:cxn ang="0">
                <a:pos x="connsiteX43479" y="connsiteY43479"/>
              </a:cxn>
              <a:cxn ang="0">
                <a:pos x="connsiteX43480" y="connsiteY43480"/>
              </a:cxn>
              <a:cxn ang="0">
                <a:pos x="connsiteX43481" y="connsiteY43481"/>
              </a:cxn>
              <a:cxn ang="0">
                <a:pos x="connsiteX43482" y="connsiteY43482"/>
              </a:cxn>
              <a:cxn ang="0">
                <a:pos x="connsiteX43483" y="connsiteY43483"/>
              </a:cxn>
              <a:cxn ang="0">
                <a:pos x="connsiteX43484" y="connsiteY43484"/>
              </a:cxn>
              <a:cxn ang="0">
                <a:pos x="connsiteX43485" y="connsiteY43485"/>
              </a:cxn>
              <a:cxn ang="0">
                <a:pos x="connsiteX43486" y="connsiteY43486"/>
              </a:cxn>
              <a:cxn ang="0">
                <a:pos x="connsiteX43487" y="connsiteY43487"/>
              </a:cxn>
              <a:cxn ang="0">
                <a:pos x="connsiteX43488" y="connsiteY43488"/>
              </a:cxn>
              <a:cxn ang="0">
                <a:pos x="connsiteX43489" y="connsiteY43489"/>
              </a:cxn>
              <a:cxn ang="0">
                <a:pos x="connsiteX43490" y="connsiteY43490"/>
              </a:cxn>
              <a:cxn ang="0">
                <a:pos x="connsiteX43491" y="connsiteY43491"/>
              </a:cxn>
              <a:cxn ang="0">
                <a:pos x="connsiteX43492" y="connsiteY43492"/>
              </a:cxn>
              <a:cxn ang="0">
                <a:pos x="connsiteX43493" y="connsiteY43493"/>
              </a:cxn>
              <a:cxn ang="0">
                <a:pos x="connsiteX43494" y="connsiteY43494"/>
              </a:cxn>
              <a:cxn ang="0">
                <a:pos x="connsiteX43495" y="connsiteY43495"/>
              </a:cxn>
              <a:cxn ang="0">
                <a:pos x="connsiteX43496" y="connsiteY43496"/>
              </a:cxn>
              <a:cxn ang="0">
                <a:pos x="connsiteX43497" y="connsiteY43497"/>
              </a:cxn>
              <a:cxn ang="0">
                <a:pos x="connsiteX43498" y="connsiteY43498"/>
              </a:cxn>
              <a:cxn ang="0">
                <a:pos x="connsiteX43499" y="connsiteY43499"/>
              </a:cxn>
              <a:cxn ang="0">
                <a:pos x="connsiteX43500" y="connsiteY43500"/>
              </a:cxn>
              <a:cxn ang="0">
                <a:pos x="connsiteX43501" y="connsiteY43501"/>
              </a:cxn>
              <a:cxn ang="0">
                <a:pos x="connsiteX43502" y="connsiteY43502"/>
              </a:cxn>
              <a:cxn ang="0">
                <a:pos x="connsiteX43503" y="connsiteY43503"/>
              </a:cxn>
              <a:cxn ang="0">
                <a:pos x="connsiteX43504" y="connsiteY43504"/>
              </a:cxn>
              <a:cxn ang="0">
                <a:pos x="connsiteX43505" y="connsiteY43505"/>
              </a:cxn>
              <a:cxn ang="0">
                <a:pos x="connsiteX43506" y="connsiteY43506"/>
              </a:cxn>
              <a:cxn ang="0">
                <a:pos x="connsiteX43507" y="connsiteY43507"/>
              </a:cxn>
              <a:cxn ang="0">
                <a:pos x="connsiteX43508" y="connsiteY43508"/>
              </a:cxn>
              <a:cxn ang="0">
                <a:pos x="connsiteX43509" y="connsiteY43509"/>
              </a:cxn>
              <a:cxn ang="0">
                <a:pos x="connsiteX43510" y="connsiteY43510"/>
              </a:cxn>
              <a:cxn ang="0">
                <a:pos x="connsiteX43511" y="connsiteY43511"/>
              </a:cxn>
              <a:cxn ang="0">
                <a:pos x="connsiteX43512" y="connsiteY43512"/>
              </a:cxn>
              <a:cxn ang="0">
                <a:pos x="connsiteX43513" y="connsiteY43513"/>
              </a:cxn>
              <a:cxn ang="0">
                <a:pos x="connsiteX43514" y="connsiteY43514"/>
              </a:cxn>
              <a:cxn ang="0">
                <a:pos x="connsiteX43515" y="connsiteY43515"/>
              </a:cxn>
              <a:cxn ang="0">
                <a:pos x="connsiteX43516" y="connsiteY43516"/>
              </a:cxn>
              <a:cxn ang="0">
                <a:pos x="connsiteX43517" y="connsiteY43517"/>
              </a:cxn>
              <a:cxn ang="0">
                <a:pos x="connsiteX43518" y="connsiteY43518"/>
              </a:cxn>
              <a:cxn ang="0">
                <a:pos x="connsiteX43519" y="connsiteY43519"/>
              </a:cxn>
              <a:cxn ang="0">
                <a:pos x="connsiteX43520" y="connsiteY43520"/>
              </a:cxn>
              <a:cxn ang="0">
                <a:pos x="connsiteX43521" y="connsiteY43521"/>
              </a:cxn>
              <a:cxn ang="0">
                <a:pos x="connsiteX43522" y="connsiteY43522"/>
              </a:cxn>
              <a:cxn ang="0">
                <a:pos x="connsiteX43523" y="connsiteY43523"/>
              </a:cxn>
              <a:cxn ang="0">
                <a:pos x="connsiteX43524" y="connsiteY43524"/>
              </a:cxn>
              <a:cxn ang="0">
                <a:pos x="connsiteX43525" y="connsiteY43525"/>
              </a:cxn>
              <a:cxn ang="0">
                <a:pos x="connsiteX43526" y="connsiteY43526"/>
              </a:cxn>
              <a:cxn ang="0">
                <a:pos x="connsiteX43527" y="connsiteY43527"/>
              </a:cxn>
              <a:cxn ang="0">
                <a:pos x="connsiteX43528" y="connsiteY43528"/>
              </a:cxn>
              <a:cxn ang="0">
                <a:pos x="connsiteX43529" y="connsiteY43529"/>
              </a:cxn>
              <a:cxn ang="0">
                <a:pos x="connsiteX43530" y="connsiteY43530"/>
              </a:cxn>
              <a:cxn ang="0">
                <a:pos x="connsiteX43531" y="connsiteY43531"/>
              </a:cxn>
              <a:cxn ang="0">
                <a:pos x="connsiteX43532" y="connsiteY43532"/>
              </a:cxn>
              <a:cxn ang="0">
                <a:pos x="connsiteX43533" y="connsiteY43533"/>
              </a:cxn>
              <a:cxn ang="0">
                <a:pos x="connsiteX43534" y="connsiteY43534"/>
              </a:cxn>
              <a:cxn ang="0">
                <a:pos x="connsiteX43535" y="connsiteY43535"/>
              </a:cxn>
              <a:cxn ang="0">
                <a:pos x="connsiteX43536" y="connsiteY43536"/>
              </a:cxn>
              <a:cxn ang="0">
                <a:pos x="connsiteX43537" y="connsiteY43537"/>
              </a:cxn>
              <a:cxn ang="0">
                <a:pos x="connsiteX43538" y="connsiteY43538"/>
              </a:cxn>
              <a:cxn ang="0">
                <a:pos x="connsiteX43539" y="connsiteY43539"/>
              </a:cxn>
              <a:cxn ang="0">
                <a:pos x="connsiteX43540" y="connsiteY43540"/>
              </a:cxn>
              <a:cxn ang="0">
                <a:pos x="connsiteX43541" y="connsiteY43541"/>
              </a:cxn>
              <a:cxn ang="0">
                <a:pos x="connsiteX43542" y="connsiteY43542"/>
              </a:cxn>
              <a:cxn ang="0">
                <a:pos x="connsiteX43543" y="connsiteY43543"/>
              </a:cxn>
              <a:cxn ang="0">
                <a:pos x="connsiteX43544" y="connsiteY43544"/>
              </a:cxn>
              <a:cxn ang="0">
                <a:pos x="connsiteX43545" y="connsiteY43545"/>
              </a:cxn>
              <a:cxn ang="0">
                <a:pos x="connsiteX43546" y="connsiteY43546"/>
              </a:cxn>
              <a:cxn ang="0">
                <a:pos x="connsiteX43547" y="connsiteY43547"/>
              </a:cxn>
              <a:cxn ang="0">
                <a:pos x="connsiteX43548" y="connsiteY43548"/>
              </a:cxn>
              <a:cxn ang="0">
                <a:pos x="connsiteX43549" y="connsiteY43549"/>
              </a:cxn>
              <a:cxn ang="0">
                <a:pos x="connsiteX43550" y="connsiteY43550"/>
              </a:cxn>
              <a:cxn ang="0">
                <a:pos x="connsiteX43551" y="connsiteY43551"/>
              </a:cxn>
              <a:cxn ang="0">
                <a:pos x="connsiteX43552" y="connsiteY43552"/>
              </a:cxn>
              <a:cxn ang="0">
                <a:pos x="connsiteX43553" y="connsiteY43553"/>
              </a:cxn>
              <a:cxn ang="0">
                <a:pos x="connsiteX43554" y="connsiteY43554"/>
              </a:cxn>
              <a:cxn ang="0">
                <a:pos x="connsiteX43555" y="connsiteY43555"/>
              </a:cxn>
              <a:cxn ang="0">
                <a:pos x="connsiteX43556" y="connsiteY43556"/>
              </a:cxn>
              <a:cxn ang="0">
                <a:pos x="connsiteX43557" y="connsiteY43557"/>
              </a:cxn>
              <a:cxn ang="0">
                <a:pos x="connsiteX43558" y="connsiteY43558"/>
              </a:cxn>
              <a:cxn ang="0">
                <a:pos x="connsiteX43559" y="connsiteY43559"/>
              </a:cxn>
              <a:cxn ang="0">
                <a:pos x="connsiteX43560" y="connsiteY43560"/>
              </a:cxn>
              <a:cxn ang="0">
                <a:pos x="connsiteX43561" y="connsiteY43561"/>
              </a:cxn>
              <a:cxn ang="0">
                <a:pos x="connsiteX43562" y="connsiteY43562"/>
              </a:cxn>
              <a:cxn ang="0">
                <a:pos x="connsiteX43563" y="connsiteY43563"/>
              </a:cxn>
              <a:cxn ang="0">
                <a:pos x="connsiteX43564" y="connsiteY43564"/>
              </a:cxn>
              <a:cxn ang="0">
                <a:pos x="connsiteX43565" y="connsiteY43565"/>
              </a:cxn>
              <a:cxn ang="0">
                <a:pos x="connsiteX43566" y="connsiteY43566"/>
              </a:cxn>
              <a:cxn ang="0">
                <a:pos x="connsiteX43567" y="connsiteY43567"/>
              </a:cxn>
              <a:cxn ang="0">
                <a:pos x="connsiteX43568" y="connsiteY43568"/>
              </a:cxn>
              <a:cxn ang="0">
                <a:pos x="connsiteX43569" y="connsiteY43569"/>
              </a:cxn>
              <a:cxn ang="0">
                <a:pos x="connsiteX43570" y="connsiteY43570"/>
              </a:cxn>
              <a:cxn ang="0">
                <a:pos x="connsiteX43571" y="connsiteY43571"/>
              </a:cxn>
              <a:cxn ang="0">
                <a:pos x="connsiteX43572" y="connsiteY43572"/>
              </a:cxn>
              <a:cxn ang="0">
                <a:pos x="connsiteX43573" y="connsiteY43573"/>
              </a:cxn>
              <a:cxn ang="0">
                <a:pos x="connsiteX43574" y="connsiteY43574"/>
              </a:cxn>
              <a:cxn ang="0">
                <a:pos x="connsiteX43575" y="connsiteY43575"/>
              </a:cxn>
              <a:cxn ang="0">
                <a:pos x="connsiteX43576" y="connsiteY43576"/>
              </a:cxn>
              <a:cxn ang="0">
                <a:pos x="connsiteX43577" y="connsiteY43577"/>
              </a:cxn>
              <a:cxn ang="0">
                <a:pos x="connsiteX43578" y="connsiteY43578"/>
              </a:cxn>
              <a:cxn ang="0">
                <a:pos x="connsiteX43579" y="connsiteY43579"/>
              </a:cxn>
              <a:cxn ang="0">
                <a:pos x="connsiteX43580" y="connsiteY43580"/>
              </a:cxn>
              <a:cxn ang="0">
                <a:pos x="connsiteX43581" y="connsiteY43581"/>
              </a:cxn>
              <a:cxn ang="0">
                <a:pos x="connsiteX43582" y="connsiteY43582"/>
              </a:cxn>
              <a:cxn ang="0">
                <a:pos x="connsiteX43583" y="connsiteY43583"/>
              </a:cxn>
              <a:cxn ang="0">
                <a:pos x="connsiteX43584" y="connsiteY43584"/>
              </a:cxn>
              <a:cxn ang="0">
                <a:pos x="connsiteX43585" y="connsiteY43585"/>
              </a:cxn>
              <a:cxn ang="0">
                <a:pos x="connsiteX43586" y="connsiteY43586"/>
              </a:cxn>
              <a:cxn ang="0">
                <a:pos x="connsiteX43587" y="connsiteY43587"/>
              </a:cxn>
              <a:cxn ang="0">
                <a:pos x="connsiteX43588" y="connsiteY43588"/>
              </a:cxn>
              <a:cxn ang="0">
                <a:pos x="connsiteX43589" y="connsiteY43589"/>
              </a:cxn>
              <a:cxn ang="0">
                <a:pos x="connsiteX43590" y="connsiteY43590"/>
              </a:cxn>
              <a:cxn ang="0">
                <a:pos x="connsiteX43591" y="connsiteY43591"/>
              </a:cxn>
              <a:cxn ang="0">
                <a:pos x="connsiteX43592" y="connsiteY43592"/>
              </a:cxn>
              <a:cxn ang="0">
                <a:pos x="connsiteX43593" y="connsiteY43593"/>
              </a:cxn>
              <a:cxn ang="0">
                <a:pos x="connsiteX43594" y="connsiteY43594"/>
              </a:cxn>
              <a:cxn ang="0">
                <a:pos x="connsiteX43595" y="connsiteY43595"/>
              </a:cxn>
              <a:cxn ang="0">
                <a:pos x="connsiteX43596" y="connsiteY43596"/>
              </a:cxn>
              <a:cxn ang="0">
                <a:pos x="connsiteX43597" y="connsiteY43597"/>
              </a:cxn>
              <a:cxn ang="0">
                <a:pos x="connsiteX43598" y="connsiteY43598"/>
              </a:cxn>
              <a:cxn ang="0">
                <a:pos x="connsiteX43599" y="connsiteY43599"/>
              </a:cxn>
              <a:cxn ang="0">
                <a:pos x="connsiteX43600" y="connsiteY43600"/>
              </a:cxn>
              <a:cxn ang="0">
                <a:pos x="connsiteX43601" y="connsiteY43601"/>
              </a:cxn>
              <a:cxn ang="0">
                <a:pos x="connsiteX43602" y="connsiteY43602"/>
              </a:cxn>
              <a:cxn ang="0">
                <a:pos x="connsiteX43603" y="connsiteY43603"/>
              </a:cxn>
              <a:cxn ang="0">
                <a:pos x="connsiteX43604" y="connsiteY43604"/>
              </a:cxn>
              <a:cxn ang="0">
                <a:pos x="connsiteX43605" y="connsiteY43605"/>
              </a:cxn>
              <a:cxn ang="0">
                <a:pos x="connsiteX43606" y="connsiteY43606"/>
              </a:cxn>
              <a:cxn ang="0">
                <a:pos x="connsiteX43607" y="connsiteY43607"/>
              </a:cxn>
              <a:cxn ang="0">
                <a:pos x="connsiteX43608" y="connsiteY43608"/>
              </a:cxn>
              <a:cxn ang="0">
                <a:pos x="connsiteX43609" y="connsiteY43609"/>
              </a:cxn>
              <a:cxn ang="0">
                <a:pos x="connsiteX43610" y="connsiteY43610"/>
              </a:cxn>
              <a:cxn ang="0">
                <a:pos x="connsiteX43611" y="connsiteY43611"/>
              </a:cxn>
              <a:cxn ang="0">
                <a:pos x="connsiteX43612" y="connsiteY43612"/>
              </a:cxn>
              <a:cxn ang="0">
                <a:pos x="connsiteX43613" y="connsiteY43613"/>
              </a:cxn>
              <a:cxn ang="0">
                <a:pos x="connsiteX43614" y="connsiteY43614"/>
              </a:cxn>
              <a:cxn ang="0">
                <a:pos x="connsiteX43615" y="connsiteY43615"/>
              </a:cxn>
              <a:cxn ang="0">
                <a:pos x="connsiteX43616" y="connsiteY43616"/>
              </a:cxn>
              <a:cxn ang="0">
                <a:pos x="connsiteX43617" y="connsiteY43617"/>
              </a:cxn>
              <a:cxn ang="0">
                <a:pos x="connsiteX43618" y="connsiteY43618"/>
              </a:cxn>
              <a:cxn ang="0">
                <a:pos x="connsiteX43619" y="connsiteY43619"/>
              </a:cxn>
              <a:cxn ang="0">
                <a:pos x="connsiteX43620" y="connsiteY43620"/>
              </a:cxn>
              <a:cxn ang="0">
                <a:pos x="connsiteX43621" y="connsiteY43621"/>
              </a:cxn>
              <a:cxn ang="0">
                <a:pos x="connsiteX43622" y="connsiteY43622"/>
              </a:cxn>
              <a:cxn ang="0">
                <a:pos x="connsiteX43623" y="connsiteY43623"/>
              </a:cxn>
              <a:cxn ang="0">
                <a:pos x="connsiteX43624" y="connsiteY43624"/>
              </a:cxn>
              <a:cxn ang="0">
                <a:pos x="connsiteX43625" y="connsiteY43625"/>
              </a:cxn>
              <a:cxn ang="0">
                <a:pos x="connsiteX43626" y="connsiteY43626"/>
              </a:cxn>
              <a:cxn ang="0">
                <a:pos x="connsiteX43627" y="connsiteY43627"/>
              </a:cxn>
              <a:cxn ang="0">
                <a:pos x="connsiteX43628" y="connsiteY43628"/>
              </a:cxn>
              <a:cxn ang="0">
                <a:pos x="connsiteX43629" y="connsiteY43629"/>
              </a:cxn>
              <a:cxn ang="0">
                <a:pos x="connsiteX43630" y="connsiteY43630"/>
              </a:cxn>
              <a:cxn ang="0">
                <a:pos x="connsiteX43631" y="connsiteY43631"/>
              </a:cxn>
              <a:cxn ang="0">
                <a:pos x="connsiteX43632" y="connsiteY43632"/>
              </a:cxn>
              <a:cxn ang="0">
                <a:pos x="connsiteX43633" y="connsiteY43633"/>
              </a:cxn>
              <a:cxn ang="0">
                <a:pos x="connsiteX43634" y="connsiteY43634"/>
              </a:cxn>
              <a:cxn ang="0">
                <a:pos x="connsiteX43635" y="connsiteY43635"/>
              </a:cxn>
              <a:cxn ang="0">
                <a:pos x="connsiteX43636" y="connsiteY43636"/>
              </a:cxn>
              <a:cxn ang="0">
                <a:pos x="connsiteX43637" y="connsiteY43637"/>
              </a:cxn>
              <a:cxn ang="0">
                <a:pos x="connsiteX43638" y="connsiteY43638"/>
              </a:cxn>
              <a:cxn ang="0">
                <a:pos x="connsiteX43639" y="connsiteY43639"/>
              </a:cxn>
              <a:cxn ang="0">
                <a:pos x="connsiteX43640" y="connsiteY43640"/>
              </a:cxn>
              <a:cxn ang="0">
                <a:pos x="connsiteX43641" y="connsiteY43641"/>
              </a:cxn>
              <a:cxn ang="0">
                <a:pos x="connsiteX43642" y="connsiteY43642"/>
              </a:cxn>
              <a:cxn ang="0">
                <a:pos x="connsiteX43643" y="connsiteY43643"/>
              </a:cxn>
              <a:cxn ang="0">
                <a:pos x="connsiteX43644" y="connsiteY43644"/>
              </a:cxn>
              <a:cxn ang="0">
                <a:pos x="connsiteX43645" y="connsiteY43645"/>
              </a:cxn>
              <a:cxn ang="0">
                <a:pos x="connsiteX43646" y="connsiteY43646"/>
              </a:cxn>
              <a:cxn ang="0">
                <a:pos x="connsiteX43647" y="connsiteY43647"/>
              </a:cxn>
              <a:cxn ang="0">
                <a:pos x="connsiteX43648" y="connsiteY43648"/>
              </a:cxn>
              <a:cxn ang="0">
                <a:pos x="connsiteX43649" y="connsiteY43649"/>
              </a:cxn>
              <a:cxn ang="0">
                <a:pos x="connsiteX43650" y="connsiteY43650"/>
              </a:cxn>
              <a:cxn ang="0">
                <a:pos x="connsiteX43651" y="connsiteY43651"/>
              </a:cxn>
              <a:cxn ang="0">
                <a:pos x="connsiteX43652" y="connsiteY43652"/>
              </a:cxn>
              <a:cxn ang="0">
                <a:pos x="connsiteX43653" y="connsiteY43653"/>
              </a:cxn>
              <a:cxn ang="0">
                <a:pos x="connsiteX43654" y="connsiteY43654"/>
              </a:cxn>
              <a:cxn ang="0">
                <a:pos x="connsiteX43655" y="connsiteY43655"/>
              </a:cxn>
              <a:cxn ang="0">
                <a:pos x="connsiteX43656" y="connsiteY43656"/>
              </a:cxn>
              <a:cxn ang="0">
                <a:pos x="connsiteX43657" y="connsiteY43657"/>
              </a:cxn>
              <a:cxn ang="0">
                <a:pos x="connsiteX43658" y="connsiteY43658"/>
              </a:cxn>
              <a:cxn ang="0">
                <a:pos x="connsiteX43659" y="connsiteY43659"/>
              </a:cxn>
              <a:cxn ang="0">
                <a:pos x="connsiteX43660" y="connsiteY43660"/>
              </a:cxn>
              <a:cxn ang="0">
                <a:pos x="connsiteX43661" y="connsiteY43661"/>
              </a:cxn>
              <a:cxn ang="0">
                <a:pos x="connsiteX43662" y="connsiteY43662"/>
              </a:cxn>
              <a:cxn ang="0">
                <a:pos x="connsiteX43663" y="connsiteY43663"/>
              </a:cxn>
              <a:cxn ang="0">
                <a:pos x="connsiteX43664" y="connsiteY43664"/>
              </a:cxn>
              <a:cxn ang="0">
                <a:pos x="connsiteX43665" y="connsiteY43665"/>
              </a:cxn>
              <a:cxn ang="0">
                <a:pos x="connsiteX43666" y="connsiteY43666"/>
              </a:cxn>
              <a:cxn ang="0">
                <a:pos x="connsiteX43667" y="connsiteY43667"/>
              </a:cxn>
              <a:cxn ang="0">
                <a:pos x="connsiteX43668" y="connsiteY43668"/>
              </a:cxn>
              <a:cxn ang="0">
                <a:pos x="connsiteX43669" y="connsiteY43669"/>
              </a:cxn>
              <a:cxn ang="0">
                <a:pos x="connsiteX43670" y="connsiteY43670"/>
              </a:cxn>
              <a:cxn ang="0">
                <a:pos x="connsiteX43671" y="connsiteY43671"/>
              </a:cxn>
              <a:cxn ang="0">
                <a:pos x="connsiteX43672" y="connsiteY43672"/>
              </a:cxn>
              <a:cxn ang="0">
                <a:pos x="connsiteX43673" y="connsiteY43673"/>
              </a:cxn>
              <a:cxn ang="0">
                <a:pos x="connsiteX43674" y="connsiteY43674"/>
              </a:cxn>
              <a:cxn ang="0">
                <a:pos x="connsiteX43675" y="connsiteY43675"/>
              </a:cxn>
              <a:cxn ang="0">
                <a:pos x="connsiteX43676" y="connsiteY43676"/>
              </a:cxn>
              <a:cxn ang="0">
                <a:pos x="connsiteX43677" y="connsiteY43677"/>
              </a:cxn>
              <a:cxn ang="0">
                <a:pos x="connsiteX43678" y="connsiteY43678"/>
              </a:cxn>
              <a:cxn ang="0">
                <a:pos x="connsiteX43679" y="connsiteY43679"/>
              </a:cxn>
              <a:cxn ang="0">
                <a:pos x="connsiteX43680" y="connsiteY43680"/>
              </a:cxn>
              <a:cxn ang="0">
                <a:pos x="connsiteX43681" y="connsiteY43681"/>
              </a:cxn>
              <a:cxn ang="0">
                <a:pos x="connsiteX43682" y="connsiteY43682"/>
              </a:cxn>
              <a:cxn ang="0">
                <a:pos x="connsiteX43683" y="connsiteY43683"/>
              </a:cxn>
              <a:cxn ang="0">
                <a:pos x="connsiteX43684" y="connsiteY43684"/>
              </a:cxn>
              <a:cxn ang="0">
                <a:pos x="connsiteX43685" y="connsiteY43685"/>
              </a:cxn>
              <a:cxn ang="0">
                <a:pos x="connsiteX43686" y="connsiteY43686"/>
              </a:cxn>
              <a:cxn ang="0">
                <a:pos x="connsiteX43687" y="connsiteY43687"/>
              </a:cxn>
              <a:cxn ang="0">
                <a:pos x="connsiteX43688" y="connsiteY43688"/>
              </a:cxn>
              <a:cxn ang="0">
                <a:pos x="connsiteX43689" y="connsiteY43689"/>
              </a:cxn>
              <a:cxn ang="0">
                <a:pos x="connsiteX43690" y="connsiteY43690"/>
              </a:cxn>
              <a:cxn ang="0">
                <a:pos x="connsiteX43691" y="connsiteY43691"/>
              </a:cxn>
              <a:cxn ang="0">
                <a:pos x="connsiteX43692" y="connsiteY43692"/>
              </a:cxn>
              <a:cxn ang="0">
                <a:pos x="connsiteX43693" y="connsiteY43693"/>
              </a:cxn>
              <a:cxn ang="0">
                <a:pos x="connsiteX43694" y="connsiteY43694"/>
              </a:cxn>
              <a:cxn ang="0">
                <a:pos x="connsiteX43695" y="connsiteY43695"/>
              </a:cxn>
              <a:cxn ang="0">
                <a:pos x="connsiteX43696" y="connsiteY43696"/>
              </a:cxn>
              <a:cxn ang="0">
                <a:pos x="connsiteX43697" y="connsiteY43697"/>
              </a:cxn>
              <a:cxn ang="0">
                <a:pos x="connsiteX43698" y="connsiteY43698"/>
              </a:cxn>
              <a:cxn ang="0">
                <a:pos x="connsiteX43699" y="connsiteY43699"/>
              </a:cxn>
              <a:cxn ang="0">
                <a:pos x="connsiteX43700" y="connsiteY43700"/>
              </a:cxn>
              <a:cxn ang="0">
                <a:pos x="connsiteX43701" y="connsiteY43701"/>
              </a:cxn>
              <a:cxn ang="0">
                <a:pos x="connsiteX43702" y="connsiteY43702"/>
              </a:cxn>
              <a:cxn ang="0">
                <a:pos x="connsiteX43703" y="connsiteY43703"/>
              </a:cxn>
              <a:cxn ang="0">
                <a:pos x="connsiteX43704" y="connsiteY43704"/>
              </a:cxn>
              <a:cxn ang="0">
                <a:pos x="connsiteX43705" y="connsiteY43705"/>
              </a:cxn>
              <a:cxn ang="0">
                <a:pos x="connsiteX43706" y="connsiteY43706"/>
              </a:cxn>
              <a:cxn ang="0">
                <a:pos x="connsiteX43707" y="connsiteY43707"/>
              </a:cxn>
              <a:cxn ang="0">
                <a:pos x="connsiteX43708" y="connsiteY43708"/>
              </a:cxn>
              <a:cxn ang="0">
                <a:pos x="connsiteX43709" y="connsiteY43709"/>
              </a:cxn>
              <a:cxn ang="0">
                <a:pos x="connsiteX43710" y="connsiteY43710"/>
              </a:cxn>
              <a:cxn ang="0">
                <a:pos x="connsiteX43711" y="connsiteY43711"/>
              </a:cxn>
              <a:cxn ang="0">
                <a:pos x="connsiteX43712" y="connsiteY43712"/>
              </a:cxn>
              <a:cxn ang="0">
                <a:pos x="connsiteX43713" y="connsiteY43713"/>
              </a:cxn>
              <a:cxn ang="0">
                <a:pos x="connsiteX43714" y="connsiteY43714"/>
              </a:cxn>
              <a:cxn ang="0">
                <a:pos x="connsiteX43715" y="connsiteY43715"/>
              </a:cxn>
              <a:cxn ang="0">
                <a:pos x="connsiteX43716" y="connsiteY43716"/>
              </a:cxn>
              <a:cxn ang="0">
                <a:pos x="connsiteX43717" y="connsiteY43717"/>
              </a:cxn>
              <a:cxn ang="0">
                <a:pos x="connsiteX43718" y="connsiteY43718"/>
              </a:cxn>
              <a:cxn ang="0">
                <a:pos x="connsiteX43719" y="connsiteY43719"/>
              </a:cxn>
              <a:cxn ang="0">
                <a:pos x="connsiteX43720" y="connsiteY43720"/>
              </a:cxn>
              <a:cxn ang="0">
                <a:pos x="connsiteX43721" y="connsiteY43721"/>
              </a:cxn>
              <a:cxn ang="0">
                <a:pos x="connsiteX43722" y="connsiteY43722"/>
              </a:cxn>
              <a:cxn ang="0">
                <a:pos x="connsiteX43723" y="connsiteY43723"/>
              </a:cxn>
              <a:cxn ang="0">
                <a:pos x="connsiteX43724" y="connsiteY43724"/>
              </a:cxn>
              <a:cxn ang="0">
                <a:pos x="connsiteX43725" y="connsiteY43725"/>
              </a:cxn>
              <a:cxn ang="0">
                <a:pos x="connsiteX43726" y="connsiteY43726"/>
              </a:cxn>
              <a:cxn ang="0">
                <a:pos x="connsiteX43727" y="connsiteY43727"/>
              </a:cxn>
              <a:cxn ang="0">
                <a:pos x="connsiteX43728" y="connsiteY43728"/>
              </a:cxn>
              <a:cxn ang="0">
                <a:pos x="connsiteX43729" y="connsiteY43729"/>
              </a:cxn>
              <a:cxn ang="0">
                <a:pos x="connsiteX43730" y="connsiteY43730"/>
              </a:cxn>
              <a:cxn ang="0">
                <a:pos x="connsiteX43731" y="connsiteY43731"/>
              </a:cxn>
              <a:cxn ang="0">
                <a:pos x="connsiteX43732" y="connsiteY43732"/>
              </a:cxn>
              <a:cxn ang="0">
                <a:pos x="connsiteX43733" y="connsiteY43733"/>
              </a:cxn>
              <a:cxn ang="0">
                <a:pos x="connsiteX43734" y="connsiteY43734"/>
              </a:cxn>
              <a:cxn ang="0">
                <a:pos x="connsiteX43735" y="connsiteY43735"/>
              </a:cxn>
              <a:cxn ang="0">
                <a:pos x="connsiteX43736" y="connsiteY43736"/>
              </a:cxn>
              <a:cxn ang="0">
                <a:pos x="connsiteX43737" y="connsiteY43737"/>
              </a:cxn>
              <a:cxn ang="0">
                <a:pos x="connsiteX43738" y="connsiteY43738"/>
              </a:cxn>
              <a:cxn ang="0">
                <a:pos x="connsiteX43739" y="connsiteY43739"/>
              </a:cxn>
              <a:cxn ang="0">
                <a:pos x="connsiteX43740" y="connsiteY43740"/>
              </a:cxn>
              <a:cxn ang="0">
                <a:pos x="connsiteX43741" y="connsiteY43741"/>
              </a:cxn>
              <a:cxn ang="0">
                <a:pos x="connsiteX43742" y="connsiteY43742"/>
              </a:cxn>
              <a:cxn ang="0">
                <a:pos x="connsiteX43743" y="connsiteY43743"/>
              </a:cxn>
              <a:cxn ang="0">
                <a:pos x="connsiteX43744" y="connsiteY43744"/>
              </a:cxn>
              <a:cxn ang="0">
                <a:pos x="connsiteX43745" y="connsiteY43745"/>
              </a:cxn>
              <a:cxn ang="0">
                <a:pos x="connsiteX43746" y="connsiteY43746"/>
              </a:cxn>
              <a:cxn ang="0">
                <a:pos x="connsiteX43747" y="connsiteY43747"/>
              </a:cxn>
              <a:cxn ang="0">
                <a:pos x="connsiteX43748" y="connsiteY43748"/>
              </a:cxn>
              <a:cxn ang="0">
                <a:pos x="connsiteX43749" y="connsiteY43749"/>
              </a:cxn>
              <a:cxn ang="0">
                <a:pos x="connsiteX43750" y="connsiteY43750"/>
              </a:cxn>
              <a:cxn ang="0">
                <a:pos x="connsiteX43751" y="connsiteY43751"/>
              </a:cxn>
              <a:cxn ang="0">
                <a:pos x="connsiteX43752" y="connsiteY43752"/>
              </a:cxn>
              <a:cxn ang="0">
                <a:pos x="connsiteX43753" y="connsiteY43753"/>
              </a:cxn>
              <a:cxn ang="0">
                <a:pos x="connsiteX43754" y="connsiteY43754"/>
              </a:cxn>
              <a:cxn ang="0">
                <a:pos x="connsiteX43755" y="connsiteY43755"/>
              </a:cxn>
              <a:cxn ang="0">
                <a:pos x="connsiteX43756" y="connsiteY43756"/>
              </a:cxn>
              <a:cxn ang="0">
                <a:pos x="connsiteX43757" y="connsiteY43757"/>
              </a:cxn>
              <a:cxn ang="0">
                <a:pos x="connsiteX43758" y="connsiteY43758"/>
              </a:cxn>
              <a:cxn ang="0">
                <a:pos x="connsiteX43759" y="connsiteY43759"/>
              </a:cxn>
              <a:cxn ang="0">
                <a:pos x="connsiteX43760" y="connsiteY43760"/>
              </a:cxn>
              <a:cxn ang="0">
                <a:pos x="connsiteX43761" y="connsiteY43761"/>
              </a:cxn>
              <a:cxn ang="0">
                <a:pos x="connsiteX43762" y="connsiteY43762"/>
              </a:cxn>
              <a:cxn ang="0">
                <a:pos x="connsiteX43763" y="connsiteY43763"/>
              </a:cxn>
              <a:cxn ang="0">
                <a:pos x="connsiteX43764" y="connsiteY43764"/>
              </a:cxn>
              <a:cxn ang="0">
                <a:pos x="connsiteX43765" y="connsiteY43765"/>
              </a:cxn>
              <a:cxn ang="0">
                <a:pos x="connsiteX43766" y="connsiteY43766"/>
              </a:cxn>
              <a:cxn ang="0">
                <a:pos x="connsiteX43767" y="connsiteY43767"/>
              </a:cxn>
              <a:cxn ang="0">
                <a:pos x="connsiteX43768" y="connsiteY43768"/>
              </a:cxn>
              <a:cxn ang="0">
                <a:pos x="connsiteX43769" y="connsiteY43769"/>
              </a:cxn>
              <a:cxn ang="0">
                <a:pos x="connsiteX43770" y="connsiteY43770"/>
              </a:cxn>
              <a:cxn ang="0">
                <a:pos x="connsiteX43771" y="connsiteY43771"/>
              </a:cxn>
              <a:cxn ang="0">
                <a:pos x="connsiteX43772" y="connsiteY43772"/>
              </a:cxn>
              <a:cxn ang="0">
                <a:pos x="connsiteX43773" y="connsiteY43773"/>
              </a:cxn>
              <a:cxn ang="0">
                <a:pos x="connsiteX43774" y="connsiteY43774"/>
              </a:cxn>
              <a:cxn ang="0">
                <a:pos x="connsiteX43775" y="connsiteY43775"/>
              </a:cxn>
              <a:cxn ang="0">
                <a:pos x="connsiteX43776" y="connsiteY43776"/>
              </a:cxn>
              <a:cxn ang="0">
                <a:pos x="connsiteX43777" y="connsiteY43777"/>
              </a:cxn>
              <a:cxn ang="0">
                <a:pos x="connsiteX43778" y="connsiteY43778"/>
              </a:cxn>
              <a:cxn ang="0">
                <a:pos x="connsiteX43779" y="connsiteY43779"/>
              </a:cxn>
              <a:cxn ang="0">
                <a:pos x="connsiteX43780" y="connsiteY43780"/>
              </a:cxn>
              <a:cxn ang="0">
                <a:pos x="connsiteX43781" y="connsiteY43781"/>
              </a:cxn>
              <a:cxn ang="0">
                <a:pos x="connsiteX43782" y="connsiteY43782"/>
              </a:cxn>
              <a:cxn ang="0">
                <a:pos x="connsiteX43783" y="connsiteY43783"/>
              </a:cxn>
              <a:cxn ang="0">
                <a:pos x="connsiteX43784" y="connsiteY43784"/>
              </a:cxn>
              <a:cxn ang="0">
                <a:pos x="connsiteX43785" y="connsiteY43785"/>
              </a:cxn>
              <a:cxn ang="0">
                <a:pos x="connsiteX43786" y="connsiteY43786"/>
              </a:cxn>
              <a:cxn ang="0">
                <a:pos x="connsiteX43787" y="connsiteY43787"/>
              </a:cxn>
              <a:cxn ang="0">
                <a:pos x="connsiteX43788" y="connsiteY43788"/>
              </a:cxn>
              <a:cxn ang="0">
                <a:pos x="connsiteX43789" y="connsiteY43789"/>
              </a:cxn>
              <a:cxn ang="0">
                <a:pos x="connsiteX43790" y="connsiteY43790"/>
              </a:cxn>
              <a:cxn ang="0">
                <a:pos x="connsiteX43791" y="connsiteY43791"/>
              </a:cxn>
              <a:cxn ang="0">
                <a:pos x="connsiteX43792" y="connsiteY43792"/>
              </a:cxn>
              <a:cxn ang="0">
                <a:pos x="connsiteX43793" y="connsiteY43793"/>
              </a:cxn>
              <a:cxn ang="0">
                <a:pos x="connsiteX43794" y="connsiteY43794"/>
              </a:cxn>
              <a:cxn ang="0">
                <a:pos x="connsiteX43795" y="connsiteY43795"/>
              </a:cxn>
              <a:cxn ang="0">
                <a:pos x="connsiteX43796" y="connsiteY43796"/>
              </a:cxn>
              <a:cxn ang="0">
                <a:pos x="connsiteX43797" y="connsiteY43797"/>
              </a:cxn>
              <a:cxn ang="0">
                <a:pos x="connsiteX43798" y="connsiteY43798"/>
              </a:cxn>
              <a:cxn ang="0">
                <a:pos x="connsiteX43799" y="connsiteY43799"/>
              </a:cxn>
              <a:cxn ang="0">
                <a:pos x="connsiteX43800" y="connsiteY43800"/>
              </a:cxn>
              <a:cxn ang="0">
                <a:pos x="connsiteX43801" y="connsiteY43801"/>
              </a:cxn>
              <a:cxn ang="0">
                <a:pos x="connsiteX43802" y="connsiteY43802"/>
              </a:cxn>
              <a:cxn ang="0">
                <a:pos x="connsiteX43803" y="connsiteY43803"/>
              </a:cxn>
              <a:cxn ang="0">
                <a:pos x="connsiteX43804" y="connsiteY43804"/>
              </a:cxn>
              <a:cxn ang="0">
                <a:pos x="connsiteX43805" y="connsiteY43805"/>
              </a:cxn>
              <a:cxn ang="0">
                <a:pos x="connsiteX43806" y="connsiteY43806"/>
              </a:cxn>
              <a:cxn ang="0">
                <a:pos x="connsiteX43807" y="connsiteY43807"/>
              </a:cxn>
              <a:cxn ang="0">
                <a:pos x="connsiteX43808" y="connsiteY43808"/>
              </a:cxn>
              <a:cxn ang="0">
                <a:pos x="connsiteX43809" y="connsiteY43809"/>
              </a:cxn>
              <a:cxn ang="0">
                <a:pos x="connsiteX43810" y="connsiteY43810"/>
              </a:cxn>
              <a:cxn ang="0">
                <a:pos x="connsiteX43811" y="connsiteY43811"/>
              </a:cxn>
              <a:cxn ang="0">
                <a:pos x="connsiteX43812" y="connsiteY43812"/>
              </a:cxn>
              <a:cxn ang="0">
                <a:pos x="connsiteX43813" y="connsiteY43813"/>
              </a:cxn>
              <a:cxn ang="0">
                <a:pos x="connsiteX43814" y="connsiteY43814"/>
              </a:cxn>
              <a:cxn ang="0">
                <a:pos x="connsiteX43815" y="connsiteY43815"/>
              </a:cxn>
              <a:cxn ang="0">
                <a:pos x="connsiteX43816" y="connsiteY43816"/>
              </a:cxn>
              <a:cxn ang="0">
                <a:pos x="connsiteX43817" y="connsiteY43817"/>
              </a:cxn>
              <a:cxn ang="0">
                <a:pos x="connsiteX43818" y="connsiteY43818"/>
              </a:cxn>
              <a:cxn ang="0">
                <a:pos x="connsiteX43819" y="connsiteY43819"/>
              </a:cxn>
              <a:cxn ang="0">
                <a:pos x="connsiteX43820" y="connsiteY43820"/>
              </a:cxn>
              <a:cxn ang="0">
                <a:pos x="connsiteX43821" y="connsiteY43821"/>
              </a:cxn>
              <a:cxn ang="0">
                <a:pos x="connsiteX43822" y="connsiteY43822"/>
              </a:cxn>
              <a:cxn ang="0">
                <a:pos x="connsiteX43823" y="connsiteY43823"/>
              </a:cxn>
              <a:cxn ang="0">
                <a:pos x="connsiteX43824" y="connsiteY43824"/>
              </a:cxn>
              <a:cxn ang="0">
                <a:pos x="connsiteX43825" y="connsiteY43825"/>
              </a:cxn>
              <a:cxn ang="0">
                <a:pos x="connsiteX43826" y="connsiteY43826"/>
              </a:cxn>
              <a:cxn ang="0">
                <a:pos x="connsiteX43827" y="connsiteY43827"/>
              </a:cxn>
              <a:cxn ang="0">
                <a:pos x="connsiteX43828" y="connsiteY43828"/>
              </a:cxn>
              <a:cxn ang="0">
                <a:pos x="connsiteX43829" y="connsiteY43829"/>
              </a:cxn>
              <a:cxn ang="0">
                <a:pos x="connsiteX43830" y="connsiteY43830"/>
              </a:cxn>
              <a:cxn ang="0">
                <a:pos x="connsiteX43831" y="connsiteY43831"/>
              </a:cxn>
              <a:cxn ang="0">
                <a:pos x="connsiteX43832" y="connsiteY43832"/>
              </a:cxn>
              <a:cxn ang="0">
                <a:pos x="connsiteX43833" y="connsiteY43833"/>
              </a:cxn>
              <a:cxn ang="0">
                <a:pos x="connsiteX43834" y="connsiteY43834"/>
              </a:cxn>
              <a:cxn ang="0">
                <a:pos x="connsiteX43835" y="connsiteY43835"/>
              </a:cxn>
              <a:cxn ang="0">
                <a:pos x="connsiteX43836" y="connsiteY43836"/>
              </a:cxn>
              <a:cxn ang="0">
                <a:pos x="connsiteX43837" y="connsiteY43837"/>
              </a:cxn>
              <a:cxn ang="0">
                <a:pos x="connsiteX43838" y="connsiteY43838"/>
              </a:cxn>
              <a:cxn ang="0">
                <a:pos x="connsiteX43839" y="connsiteY43839"/>
              </a:cxn>
              <a:cxn ang="0">
                <a:pos x="connsiteX43840" y="connsiteY43840"/>
              </a:cxn>
              <a:cxn ang="0">
                <a:pos x="connsiteX43841" y="connsiteY43841"/>
              </a:cxn>
              <a:cxn ang="0">
                <a:pos x="connsiteX43842" y="connsiteY43842"/>
              </a:cxn>
              <a:cxn ang="0">
                <a:pos x="connsiteX43843" y="connsiteY43843"/>
              </a:cxn>
              <a:cxn ang="0">
                <a:pos x="connsiteX43844" y="connsiteY43844"/>
              </a:cxn>
              <a:cxn ang="0">
                <a:pos x="connsiteX43845" y="connsiteY43845"/>
              </a:cxn>
              <a:cxn ang="0">
                <a:pos x="connsiteX43846" y="connsiteY43846"/>
              </a:cxn>
              <a:cxn ang="0">
                <a:pos x="connsiteX43847" y="connsiteY43847"/>
              </a:cxn>
              <a:cxn ang="0">
                <a:pos x="connsiteX43848" y="connsiteY43848"/>
              </a:cxn>
              <a:cxn ang="0">
                <a:pos x="connsiteX43849" y="connsiteY43849"/>
              </a:cxn>
              <a:cxn ang="0">
                <a:pos x="connsiteX43850" y="connsiteY43850"/>
              </a:cxn>
              <a:cxn ang="0">
                <a:pos x="connsiteX43851" y="connsiteY43851"/>
              </a:cxn>
              <a:cxn ang="0">
                <a:pos x="connsiteX43852" y="connsiteY43852"/>
              </a:cxn>
              <a:cxn ang="0">
                <a:pos x="connsiteX43853" y="connsiteY43853"/>
              </a:cxn>
              <a:cxn ang="0">
                <a:pos x="connsiteX43854" y="connsiteY43854"/>
              </a:cxn>
              <a:cxn ang="0">
                <a:pos x="connsiteX43855" y="connsiteY43855"/>
              </a:cxn>
              <a:cxn ang="0">
                <a:pos x="connsiteX43856" y="connsiteY43856"/>
              </a:cxn>
              <a:cxn ang="0">
                <a:pos x="connsiteX43857" y="connsiteY43857"/>
              </a:cxn>
              <a:cxn ang="0">
                <a:pos x="connsiteX43858" y="connsiteY43858"/>
              </a:cxn>
              <a:cxn ang="0">
                <a:pos x="connsiteX43859" y="connsiteY43859"/>
              </a:cxn>
              <a:cxn ang="0">
                <a:pos x="connsiteX43860" y="connsiteY43860"/>
              </a:cxn>
              <a:cxn ang="0">
                <a:pos x="connsiteX43861" y="connsiteY43861"/>
              </a:cxn>
              <a:cxn ang="0">
                <a:pos x="connsiteX43862" y="connsiteY43862"/>
              </a:cxn>
              <a:cxn ang="0">
                <a:pos x="connsiteX43863" y="connsiteY43863"/>
              </a:cxn>
              <a:cxn ang="0">
                <a:pos x="connsiteX43864" y="connsiteY43864"/>
              </a:cxn>
              <a:cxn ang="0">
                <a:pos x="connsiteX43865" y="connsiteY43865"/>
              </a:cxn>
              <a:cxn ang="0">
                <a:pos x="connsiteX43866" y="connsiteY43866"/>
              </a:cxn>
              <a:cxn ang="0">
                <a:pos x="connsiteX43867" y="connsiteY43867"/>
              </a:cxn>
              <a:cxn ang="0">
                <a:pos x="connsiteX43868" y="connsiteY43868"/>
              </a:cxn>
              <a:cxn ang="0">
                <a:pos x="connsiteX43869" y="connsiteY43869"/>
              </a:cxn>
              <a:cxn ang="0">
                <a:pos x="connsiteX43870" y="connsiteY43870"/>
              </a:cxn>
              <a:cxn ang="0">
                <a:pos x="connsiteX43871" y="connsiteY43871"/>
              </a:cxn>
              <a:cxn ang="0">
                <a:pos x="connsiteX43872" y="connsiteY43872"/>
              </a:cxn>
              <a:cxn ang="0">
                <a:pos x="connsiteX43873" y="connsiteY43873"/>
              </a:cxn>
              <a:cxn ang="0">
                <a:pos x="connsiteX43874" y="connsiteY43874"/>
              </a:cxn>
              <a:cxn ang="0">
                <a:pos x="connsiteX43875" y="connsiteY43875"/>
              </a:cxn>
              <a:cxn ang="0">
                <a:pos x="connsiteX43876" y="connsiteY43876"/>
              </a:cxn>
              <a:cxn ang="0">
                <a:pos x="connsiteX43877" y="connsiteY43877"/>
              </a:cxn>
              <a:cxn ang="0">
                <a:pos x="connsiteX43878" y="connsiteY43878"/>
              </a:cxn>
              <a:cxn ang="0">
                <a:pos x="connsiteX43879" y="connsiteY43879"/>
              </a:cxn>
              <a:cxn ang="0">
                <a:pos x="connsiteX43880" y="connsiteY43880"/>
              </a:cxn>
              <a:cxn ang="0">
                <a:pos x="connsiteX43881" y="connsiteY43881"/>
              </a:cxn>
              <a:cxn ang="0">
                <a:pos x="connsiteX43882" y="connsiteY43882"/>
              </a:cxn>
              <a:cxn ang="0">
                <a:pos x="connsiteX43883" y="connsiteY43883"/>
              </a:cxn>
              <a:cxn ang="0">
                <a:pos x="connsiteX43884" y="connsiteY43884"/>
              </a:cxn>
              <a:cxn ang="0">
                <a:pos x="connsiteX43885" y="connsiteY43885"/>
              </a:cxn>
              <a:cxn ang="0">
                <a:pos x="connsiteX43886" y="connsiteY43886"/>
              </a:cxn>
              <a:cxn ang="0">
                <a:pos x="connsiteX43887" y="connsiteY43887"/>
              </a:cxn>
              <a:cxn ang="0">
                <a:pos x="connsiteX43888" y="connsiteY43888"/>
              </a:cxn>
              <a:cxn ang="0">
                <a:pos x="connsiteX43889" y="connsiteY43889"/>
              </a:cxn>
              <a:cxn ang="0">
                <a:pos x="connsiteX43890" y="connsiteY43890"/>
              </a:cxn>
              <a:cxn ang="0">
                <a:pos x="connsiteX43891" y="connsiteY43891"/>
              </a:cxn>
              <a:cxn ang="0">
                <a:pos x="connsiteX43892" y="connsiteY43892"/>
              </a:cxn>
              <a:cxn ang="0">
                <a:pos x="connsiteX43893" y="connsiteY43893"/>
              </a:cxn>
              <a:cxn ang="0">
                <a:pos x="connsiteX43894" y="connsiteY43894"/>
              </a:cxn>
              <a:cxn ang="0">
                <a:pos x="connsiteX43895" y="connsiteY43895"/>
              </a:cxn>
              <a:cxn ang="0">
                <a:pos x="connsiteX43896" y="connsiteY43896"/>
              </a:cxn>
              <a:cxn ang="0">
                <a:pos x="connsiteX43897" y="connsiteY43897"/>
              </a:cxn>
              <a:cxn ang="0">
                <a:pos x="connsiteX43898" y="connsiteY43898"/>
              </a:cxn>
              <a:cxn ang="0">
                <a:pos x="connsiteX43899" y="connsiteY43899"/>
              </a:cxn>
              <a:cxn ang="0">
                <a:pos x="connsiteX43900" y="connsiteY43900"/>
              </a:cxn>
              <a:cxn ang="0">
                <a:pos x="connsiteX43901" y="connsiteY43901"/>
              </a:cxn>
              <a:cxn ang="0">
                <a:pos x="connsiteX43902" y="connsiteY43902"/>
              </a:cxn>
              <a:cxn ang="0">
                <a:pos x="connsiteX43903" y="connsiteY43903"/>
              </a:cxn>
              <a:cxn ang="0">
                <a:pos x="connsiteX43904" y="connsiteY43904"/>
              </a:cxn>
              <a:cxn ang="0">
                <a:pos x="connsiteX43905" y="connsiteY43905"/>
              </a:cxn>
              <a:cxn ang="0">
                <a:pos x="connsiteX43906" y="connsiteY43906"/>
              </a:cxn>
              <a:cxn ang="0">
                <a:pos x="connsiteX43907" y="connsiteY43907"/>
              </a:cxn>
              <a:cxn ang="0">
                <a:pos x="connsiteX43908" y="connsiteY43908"/>
              </a:cxn>
              <a:cxn ang="0">
                <a:pos x="connsiteX43909" y="connsiteY43909"/>
              </a:cxn>
              <a:cxn ang="0">
                <a:pos x="connsiteX43910" y="connsiteY43910"/>
              </a:cxn>
              <a:cxn ang="0">
                <a:pos x="connsiteX43911" y="connsiteY43911"/>
              </a:cxn>
              <a:cxn ang="0">
                <a:pos x="connsiteX43912" y="connsiteY43912"/>
              </a:cxn>
              <a:cxn ang="0">
                <a:pos x="connsiteX43913" y="connsiteY43913"/>
              </a:cxn>
              <a:cxn ang="0">
                <a:pos x="connsiteX43914" y="connsiteY43914"/>
              </a:cxn>
              <a:cxn ang="0">
                <a:pos x="connsiteX43915" y="connsiteY43915"/>
              </a:cxn>
              <a:cxn ang="0">
                <a:pos x="connsiteX43916" y="connsiteY43916"/>
              </a:cxn>
              <a:cxn ang="0">
                <a:pos x="connsiteX43917" y="connsiteY43917"/>
              </a:cxn>
              <a:cxn ang="0">
                <a:pos x="connsiteX43918" y="connsiteY43918"/>
              </a:cxn>
              <a:cxn ang="0">
                <a:pos x="connsiteX43919" y="connsiteY43919"/>
              </a:cxn>
              <a:cxn ang="0">
                <a:pos x="connsiteX43920" y="connsiteY43920"/>
              </a:cxn>
              <a:cxn ang="0">
                <a:pos x="connsiteX43921" y="connsiteY43921"/>
              </a:cxn>
              <a:cxn ang="0">
                <a:pos x="connsiteX43922" y="connsiteY43922"/>
              </a:cxn>
              <a:cxn ang="0">
                <a:pos x="connsiteX43923" y="connsiteY43923"/>
              </a:cxn>
              <a:cxn ang="0">
                <a:pos x="connsiteX43924" y="connsiteY43924"/>
              </a:cxn>
              <a:cxn ang="0">
                <a:pos x="connsiteX43925" y="connsiteY43925"/>
              </a:cxn>
              <a:cxn ang="0">
                <a:pos x="connsiteX43926" y="connsiteY43926"/>
              </a:cxn>
              <a:cxn ang="0">
                <a:pos x="connsiteX43927" y="connsiteY43927"/>
              </a:cxn>
              <a:cxn ang="0">
                <a:pos x="connsiteX43928" y="connsiteY43928"/>
              </a:cxn>
              <a:cxn ang="0">
                <a:pos x="connsiteX43929" y="connsiteY43929"/>
              </a:cxn>
              <a:cxn ang="0">
                <a:pos x="connsiteX43930" y="connsiteY43930"/>
              </a:cxn>
              <a:cxn ang="0">
                <a:pos x="connsiteX43931" y="connsiteY43931"/>
              </a:cxn>
              <a:cxn ang="0">
                <a:pos x="connsiteX43932" y="connsiteY43932"/>
              </a:cxn>
              <a:cxn ang="0">
                <a:pos x="connsiteX43933" y="connsiteY43933"/>
              </a:cxn>
              <a:cxn ang="0">
                <a:pos x="connsiteX43934" y="connsiteY43934"/>
              </a:cxn>
              <a:cxn ang="0">
                <a:pos x="connsiteX43935" y="connsiteY43935"/>
              </a:cxn>
              <a:cxn ang="0">
                <a:pos x="connsiteX43936" y="connsiteY43936"/>
              </a:cxn>
              <a:cxn ang="0">
                <a:pos x="connsiteX43937" y="connsiteY43937"/>
              </a:cxn>
              <a:cxn ang="0">
                <a:pos x="connsiteX43938" y="connsiteY43938"/>
              </a:cxn>
              <a:cxn ang="0">
                <a:pos x="connsiteX43939" y="connsiteY43939"/>
              </a:cxn>
              <a:cxn ang="0">
                <a:pos x="connsiteX43940" y="connsiteY43940"/>
              </a:cxn>
              <a:cxn ang="0">
                <a:pos x="connsiteX43941" y="connsiteY43941"/>
              </a:cxn>
              <a:cxn ang="0">
                <a:pos x="connsiteX43942" y="connsiteY43942"/>
              </a:cxn>
              <a:cxn ang="0">
                <a:pos x="connsiteX43943" y="connsiteY43943"/>
              </a:cxn>
              <a:cxn ang="0">
                <a:pos x="connsiteX43944" y="connsiteY43944"/>
              </a:cxn>
              <a:cxn ang="0">
                <a:pos x="connsiteX43945" y="connsiteY43945"/>
              </a:cxn>
              <a:cxn ang="0">
                <a:pos x="connsiteX43946" y="connsiteY43946"/>
              </a:cxn>
              <a:cxn ang="0">
                <a:pos x="connsiteX43947" y="connsiteY43947"/>
              </a:cxn>
              <a:cxn ang="0">
                <a:pos x="connsiteX43948" y="connsiteY43948"/>
              </a:cxn>
              <a:cxn ang="0">
                <a:pos x="connsiteX43949" y="connsiteY43949"/>
              </a:cxn>
              <a:cxn ang="0">
                <a:pos x="connsiteX43950" y="connsiteY43950"/>
              </a:cxn>
              <a:cxn ang="0">
                <a:pos x="connsiteX43951" y="connsiteY43951"/>
              </a:cxn>
              <a:cxn ang="0">
                <a:pos x="connsiteX43952" y="connsiteY43952"/>
              </a:cxn>
              <a:cxn ang="0">
                <a:pos x="connsiteX43953" y="connsiteY43953"/>
              </a:cxn>
              <a:cxn ang="0">
                <a:pos x="connsiteX43954" y="connsiteY43954"/>
              </a:cxn>
              <a:cxn ang="0">
                <a:pos x="connsiteX43955" y="connsiteY43955"/>
              </a:cxn>
              <a:cxn ang="0">
                <a:pos x="connsiteX43956" y="connsiteY43956"/>
              </a:cxn>
              <a:cxn ang="0">
                <a:pos x="connsiteX43957" y="connsiteY43957"/>
              </a:cxn>
              <a:cxn ang="0">
                <a:pos x="connsiteX43958" y="connsiteY43958"/>
              </a:cxn>
              <a:cxn ang="0">
                <a:pos x="connsiteX43959" y="connsiteY43959"/>
              </a:cxn>
              <a:cxn ang="0">
                <a:pos x="connsiteX43960" y="connsiteY43960"/>
              </a:cxn>
              <a:cxn ang="0">
                <a:pos x="connsiteX43961" y="connsiteY43961"/>
              </a:cxn>
              <a:cxn ang="0">
                <a:pos x="connsiteX43962" y="connsiteY43962"/>
              </a:cxn>
              <a:cxn ang="0">
                <a:pos x="connsiteX43963" y="connsiteY43963"/>
              </a:cxn>
              <a:cxn ang="0">
                <a:pos x="connsiteX43964" y="connsiteY43964"/>
              </a:cxn>
              <a:cxn ang="0">
                <a:pos x="connsiteX43965" y="connsiteY43965"/>
              </a:cxn>
              <a:cxn ang="0">
                <a:pos x="connsiteX43966" y="connsiteY43966"/>
              </a:cxn>
              <a:cxn ang="0">
                <a:pos x="connsiteX43967" y="connsiteY43967"/>
              </a:cxn>
              <a:cxn ang="0">
                <a:pos x="connsiteX43968" y="connsiteY43968"/>
              </a:cxn>
              <a:cxn ang="0">
                <a:pos x="connsiteX43969" y="connsiteY43969"/>
              </a:cxn>
              <a:cxn ang="0">
                <a:pos x="connsiteX43970" y="connsiteY43970"/>
              </a:cxn>
              <a:cxn ang="0">
                <a:pos x="connsiteX43971" y="connsiteY43971"/>
              </a:cxn>
              <a:cxn ang="0">
                <a:pos x="connsiteX43972" y="connsiteY43972"/>
              </a:cxn>
              <a:cxn ang="0">
                <a:pos x="connsiteX43973" y="connsiteY43973"/>
              </a:cxn>
              <a:cxn ang="0">
                <a:pos x="connsiteX43974" y="connsiteY43974"/>
              </a:cxn>
              <a:cxn ang="0">
                <a:pos x="connsiteX43975" y="connsiteY43975"/>
              </a:cxn>
              <a:cxn ang="0">
                <a:pos x="connsiteX43976" y="connsiteY43976"/>
              </a:cxn>
              <a:cxn ang="0">
                <a:pos x="connsiteX43977" y="connsiteY43977"/>
              </a:cxn>
              <a:cxn ang="0">
                <a:pos x="connsiteX43978" y="connsiteY43978"/>
              </a:cxn>
              <a:cxn ang="0">
                <a:pos x="connsiteX43979" y="connsiteY43979"/>
              </a:cxn>
              <a:cxn ang="0">
                <a:pos x="connsiteX43980" y="connsiteY43980"/>
              </a:cxn>
              <a:cxn ang="0">
                <a:pos x="connsiteX43981" y="connsiteY43981"/>
              </a:cxn>
              <a:cxn ang="0">
                <a:pos x="connsiteX43982" y="connsiteY43982"/>
              </a:cxn>
              <a:cxn ang="0">
                <a:pos x="connsiteX43983" y="connsiteY43983"/>
              </a:cxn>
              <a:cxn ang="0">
                <a:pos x="connsiteX43984" y="connsiteY43984"/>
              </a:cxn>
              <a:cxn ang="0">
                <a:pos x="connsiteX43985" y="connsiteY43985"/>
              </a:cxn>
              <a:cxn ang="0">
                <a:pos x="connsiteX43986" y="connsiteY43986"/>
              </a:cxn>
              <a:cxn ang="0">
                <a:pos x="connsiteX43987" y="connsiteY43987"/>
              </a:cxn>
              <a:cxn ang="0">
                <a:pos x="connsiteX43988" y="connsiteY43988"/>
              </a:cxn>
              <a:cxn ang="0">
                <a:pos x="connsiteX43989" y="connsiteY43989"/>
              </a:cxn>
              <a:cxn ang="0">
                <a:pos x="connsiteX43990" y="connsiteY43990"/>
              </a:cxn>
              <a:cxn ang="0">
                <a:pos x="connsiteX43991" y="connsiteY43991"/>
              </a:cxn>
              <a:cxn ang="0">
                <a:pos x="connsiteX43992" y="connsiteY43992"/>
              </a:cxn>
              <a:cxn ang="0">
                <a:pos x="connsiteX43993" y="connsiteY43993"/>
              </a:cxn>
              <a:cxn ang="0">
                <a:pos x="connsiteX43994" y="connsiteY43994"/>
              </a:cxn>
              <a:cxn ang="0">
                <a:pos x="connsiteX43995" y="connsiteY43995"/>
              </a:cxn>
              <a:cxn ang="0">
                <a:pos x="connsiteX43996" y="connsiteY43996"/>
              </a:cxn>
              <a:cxn ang="0">
                <a:pos x="connsiteX43997" y="connsiteY43997"/>
              </a:cxn>
              <a:cxn ang="0">
                <a:pos x="connsiteX43998" y="connsiteY43998"/>
              </a:cxn>
              <a:cxn ang="0">
                <a:pos x="connsiteX43999" y="connsiteY43999"/>
              </a:cxn>
              <a:cxn ang="0">
                <a:pos x="connsiteX44000" y="connsiteY44000"/>
              </a:cxn>
              <a:cxn ang="0">
                <a:pos x="connsiteX44001" y="connsiteY44001"/>
              </a:cxn>
              <a:cxn ang="0">
                <a:pos x="connsiteX44002" y="connsiteY44002"/>
              </a:cxn>
              <a:cxn ang="0">
                <a:pos x="connsiteX44003" y="connsiteY44003"/>
              </a:cxn>
              <a:cxn ang="0">
                <a:pos x="connsiteX44004" y="connsiteY44004"/>
              </a:cxn>
              <a:cxn ang="0">
                <a:pos x="connsiteX44005" y="connsiteY44005"/>
              </a:cxn>
              <a:cxn ang="0">
                <a:pos x="connsiteX44006" y="connsiteY44006"/>
              </a:cxn>
              <a:cxn ang="0">
                <a:pos x="connsiteX44007" y="connsiteY44007"/>
              </a:cxn>
              <a:cxn ang="0">
                <a:pos x="connsiteX44008" y="connsiteY44008"/>
              </a:cxn>
              <a:cxn ang="0">
                <a:pos x="connsiteX44009" y="connsiteY44009"/>
              </a:cxn>
              <a:cxn ang="0">
                <a:pos x="connsiteX44010" y="connsiteY44010"/>
              </a:cxn>
              <a:cxn ang="0">
                <a:pos x="connsiteX44011" y="connsiteY44011"/>
              </a:cxn>
              <a:cxn ang="0">
                <a:pos x="connsiteX44012" y="connsiteY44012"/>
              </a:cxn>
              <a:cxn ang="0">
                <a:pos x="connsiteX44013" y="connsiteY44013"/>
              </a:cxn>
              <a:cxn ang="0">
                <a:pos x="connsiteX44014" y="connsiteY44014"/>
              </a:cxn>
              <a:cxn ang="0">
                <a:pos x="connsiteX44015" y="connsiteY44015"/>
              </a:cxn>
              <a:cxn ang="0">
                <a:pos x="connsiteX44016" y="connsiteY44016"/>
              </a:cxn>
              <a:cxn ang="0">
                <a:pos x="connsiteX44017" y="connsiteY44017"/>
              </a:cxn>
              <a:cxn ang="0">
                <a:pos x="connsiteX44018" y="connsiteY44018"/>
              </a:cxn>
              <a:cxn ang="0">
                <a:pos x="connsiteX44019" y="connsiteY44019"/>
              </a:cxn>
              <a:cxn ang="0">
                <a:pos x="connsiteX44020" y="connsiteY44020"/>
              </a:cxn>
              <a:cxn ang="0">
                <a:pos x="connsiteX44021" y="connsiteY44021"/>
              </a:cxn>
              <a:cxn ang="0">
                <a:pos x="connsiteX44022" y="connsiteY44022"/>
              </a:cxn>
              <a:cxn ang="0">
                <a:pos x="connsiteX44023" y="connsiteY44023"/>
              </a:cxn>
              <a:cxn ang="0">
                <a:pos x="connsiteX44024" y="connsiteY44024"/>
              </a:cxn>
              <a:cxn ang="0">
                <a:pos x="connsiteX44025" y="connsiteY44025"/>
              </a:cxn>
              <a:cxn ang="0">
                <a:pos x="connsiteX44026" y="connsiteY44026"/>
              </a:cxn>
              <a:cxn ang="0">
                <a:pos x="connsiteX44027" y="connsiteY44027"/>
              </a:cxn>
              <a:cxn ang="0">
                <a:pos x="connsiteX44028" y="connsiteY44028"/>
              </a:cxn>
              <a:cxn ang="0">
                <a:pos x="connsiteX44029" y="connsiteY44029"/>
              </a:cxn>
              <a:cxn ang="0">
                <a:pos x="connsiteX44030" y="connsiteY44030"/>
              </a:cxn>
              <a:cxn ang="0">
                <a:pos x="connsiteX44031" y="connsiteY44031"/>
              </a:cxn>
              <a:cxn ang="0">
                <a:pos x="connsiteX44032" y="connsiteY44032"/>
              </a:cxn>
              <a:cxn ang="0">
                <a:pos x="connsiteX44033" y="connsiteY44033"/>
              </a:cxn>
              <a:cxn ang="0">
                <a:pos x="connsiteX44034" y="connsiteY44034"/>
              </a:cxn>
              <a:cxn ang="0">
                <a:pos x="connsiteX44035" y="connsiteY44035"/>
              </a:cxn>
              <a:cxn ang="0">
                <a:pos x="connsiteX44036" y="connsiteY44036"/>
              </a:cxn>
              <a:cxn ang="0">
                <a:pos x="connsiteX44037" y="connsiteY44037"/>
              </a:cxn>
              <a:cxn ang="0">
                <a:pos x="connsiteX44038" y="connsiteY44038"/>
              </a:cxn>
              <a:cxn ang="0">
                <a:pos x="connsiteX44039" y="connsiteY44039"/>
              </a:cxn>
              <a:cxn ang="0">
                <a:pos x="connsiteX44040" y="connsiteY44040"/>
              </a:cxn>
              <a:cxn ang="0">
                <a:pos x="connsiteX44041" y="connsiteY44041"/>
              </a:cxn>
              <a:cxn ang="0">
                <a:pos x="connsiteX44042" y="connsiteY44042"/>
              </a:cxn>
              <a:cxn ang="0">
                <a:pos x="connsiteX44043" y="connsiteY44043"/>
              </a:cxn>
              <a:cxn ang="0">
                <a:pos x="connsiteX44044" y="connsiteY44044"/>
              </a:cxn>
              <a:cxn ang="0">
                <a:pos x="connsiteX44045" y="connsiteY44045"/>
              </a:cxn>
              <a:cxn ang="0">
                <a:pos x="connsiteX44046" y="connsiteY44046"/>
              </a:cxn>
              <a:cxn ang="0">
                <a:pos x="connsiteX44047" y="connsiteY44047"/>
              </a:cxn>
              <a:cxn ang="0">
                <a:pos x="connsiteX44048" y="connsiteY44048"/>
              </a:cxn>
              <a:cxn ang="0">
                <a:pos x="connsiteX44049" y="connsiteY44049"/>
              </a:cxn>
              <a:cxn ang="0">
                <a:pos x="connsiteX44050" y="connsiteY44050"/>
              </a:cxn>
              <a:cxn ang="0">
                <a:pos x="connsiteX44051" y="connsiteY44051"/>
              </a:cxn>
              <a:cxn ang="0">
                <a:pos x="connsiteX44052" y="connsiteY44052"/>
              </a:cxn>
              <a:cxn ang="0">
                <a:pos x="connsiteX44053" y="connsiteY44053"/>
              </a:cxn>
              <a:cxn ang="0">
                <a:pos x="connsiteX44054" y="connsiteY44054"/>
              </a:cxn>
              <a:cxn ang="0">
                <a:pos x="connsiteX44055" y="connsiteY44055"/>
              </a:cxn>
              <a:cxn ang="0">
                <a:pos x="connsiteX44056" y="connsiteY44056"/>
              </a:cxn>
              <a:cxn ang="0">
                <a:pos x="connsiteX44057" y="connsiteY44057"/>
              </a:cxn>
              <a:cxn ang="0">
                <a:pos x="connsiteX44058" y="connsiteY44058"/>
              </a:cxn>
              <a:cxn ang="0">
                <a:pos x="connsiteX44059" y="connsiteY44059"/>
              </a:cxn>
              <a:cxn ang="0">
                <a:pos x="connsiteX44060" y="connsiteY44060"/>
              </a:cxn>
              <a:cxn ang="0">
                <a:pos x="connsiteX44061" y="connsiteY44061"/>
              </a:cxn>
              <a:cxn ang="0">
                <a:pos x="connsiteX44062" y="connsiteY44062"/>
              </a:cxn>
              <a:cxn ang="0">
                <a:pos x="connsiteX44063" y="connsiteY44063"/>
              </a:cxn>
              <a:cxn ang="0">
                <a:pos x="connsiteX44064" y="connsiteY44064"/>
              </a:cxn>
              <a:cxn ang="0">
                <a:pos x="connsiteX44065" y="connsiteY44065"/>
              </a:cxn>
              <a:cxn ang="0">
                <a:pos x="connsiteX44066" y="connsiteY44066"/>
              </a:cxn>
              <a:cxn ang="0">
                <a:pos x="connsiteX44067" y="connsiteY44067"/>
              </a:cxn>
              <a:cxn ang="0">
                <a:pos x="connsiteX44068" y="connsiteY44068"/>
              </a:cxn>
              <a:cxn ang="0">
                <a:pos x="connsiteX44069" y="connsiteY44069"/>
              </a:cxn>
              <a:cxn ang="0">
                <a:pos x="connsiteX44070" y="connsiteY44070"/>
              </a:cxn>
              <a:cxn ang="0">
                <a:pos x="connsiteX44071" y="connsiteY44071"/>
              </a:cxn>
              <a:cxn ang="0">
                <a:pos x="connsiteX44072" y="connsiteY44072"/>
              </a:cxn>
              <a:cxn ang="0">
                <a:pos x="connsiteX44073" y="connsiteY44073"/>
              </a:cxn>
              <a:cxn ang="0">
                <a:pos x="connsiteX44074" y="connsiteY44074"/>
              </a:cxn>
              <a:cxn ang="0">
                <a:pos x="connsiteX44075" y="connsiteY44075"/>
              </a:cxn>
              <a:cxn ang="0">
                <a:pos x="connsiteX44076" y="connsiteY44076"/>
              </a:cxn>
              <a:cxn ang="0">
                <a:pos x="connsiteX44077" y="connsiteY44077"/>
              </a:cxn>
              <a:cxn ang="0">
                <a:pos x="connsiteX44078" y="connsiteY44078"/>
              </a:cxn>
              <a:cxn ang="0">
                <a:pos x="connsiteX44079" y="connsiteY44079"/>
              </a:cxn>
              <a:cxn ang="0">
                <a:pos x="connsiteX44080" y="connsiteY44080"/>
              </a:cxn>
              <a:cxn ang="0">
                <a:pos x="connsiteX44081" y="connsiteY44081"/>
              </a:cxn>
              <a:cxn ang="0">
                <a:pos x="connsiteX44082" y="connsiteY44082"/>
              </a:cxn>
              <a:cxn ang="0">
                <a:pos x="connsiteX44083" y="connsiteY44083"/>
              </a:cxn>
              <a:cxn ang="0">
                <a:pos x="connsiteX44084" y="connsiteY44084"/>
              </a:cxn>
              <a:cxn ang="0">
                <a:pos x="connsiteX44085" y="connsiteY44085"/>
              </a:cxn>
              <a:cxn ang="0">
                <a:pos x="connsiteX44086" y="connsiteY44086"/>
              </a:cxn>
              <a:cxn ang="0">
                <a:pos x="connsiteX44087" y="connsiteY44087"/>
              </a:cxn>
              <a:cxn ang="0">
                <a:pos x="connsiteX44088" y="connsiteY44088"/>
              </a:cxn>
              <a:cxn ang="0">
                <a:pos x="connsiteX44089" y="connsiteY44089"/>
              </a:cxn>
              <a:cxn ang="0">
                <a:pos x="connsiteX44090" y="connsiteY44090"/>
              </a:cxn>
              <a:cxn ang="0">
                <a:pos x="connsiteX44091" y="connsiteY44091"/>
              </a:cxn>
              <a:cxn ang="0">
                <a:pos x="connsiteX44092" y="connsiteY44092"/>
              </a:cxn>
              <a:cxn ang="0">
                <a:pos x="connsiteX44093" y="connsiteY44093"/>
              </a:cxn>
              <a:cxn ang="0">
                <a:pos x="connsiteX44094" y="connsiteY44094"/>
              </a:cxn>
              <a:cxn ang="0">
                <a:pos x="connsiteX44095" y="connsiteY44095"/>
              </a:cxn>
              <a:cxn ang="0">
                <a:pos x="connsiteX44096" y="connsiteY44096"/>
              </a:cxn>
              <a:cxn ang="0">
                <a:pos x="connsiteX44097" y="connsiteY44097"/>
              </a:cxn>
              <a:cxn ang="0">
                <a:pos x="connsiteX44098" y="connsiteY44098"/>
              </a:cxn>
              <a:cxn ang="0">
                <a:pos x="connsiteX44099" y="connsiteY44099"/>
              </a:cxn>
              <a:cxn ang="0">
                <a:pos x="connsiteX44100" y="connsiteY44100"/>
              </a:cxn>
              <a:cxn ang="0">
                <a:pos x="connsiteX44101" y="connsiteY44101"/>
              </a:cxn>
              <a:cxn ang="0">
                <a:pos x="connsiteX44102" y="connsiteY44102"/>
              </a:cxn>
              <a:cxn ang="0">
                <a:pos x="connsiteX44103" y="connsiteY44103"/>
              </a:cxn>
              <a:cxn ang="0">
                <a:pos x="connsiteX44104" y="connsiteY44104"/>
              </a:cxn>
              <a:cxn ang="0">
                <a:pos x="connsiteX44105" y="connsiteY44105"/>
              </a:cxn>
              <a:cxn ang="0">
                <a:pos x="connsiteX44106" y="connsiteY44106"/>
              </a:cxn>
              <a:cxn ang="0">
                <a:pos x="connsiteX44107" y="connsiteY44107"/>
              </a:cxn>
              <a:cxn ang="0">
                <a:pos x="connsiteX44108" y="connsiteY44108"/>
              </a:cxn>
              <a:cxn ang="0">
                <a:pos x="connsiteX44109" y="connsiteY44109"/>
              </a:cxn>
              <a:cxn ang="0">
                <a:pos x="connsiteX44110" y="connsiteY44110"/>
              </a:cxn>
              <a:cxn ang="0">
                <a:pos x="connsiteX44111" y="connsiteY44111"/>
              </a:cxn>
              <a:cxn ang="0">
                <a:pos x="connsiteX44112" y="connsiteY44112"/>
              </a:cxn>
              <a:cxn ang="0">
                <a:pos x="connsiteX44113" y="connsiteY44113"/>
              </a:cxn>
              <a:cxn ang="0">
                <a:pos x="connsiteX44114" y="connsiteY44114"/>
              </a:cxn>
              <a:cxn ang="0">
                <a:pos x="connsiteX44115" y="connsiteY44115"/>
              </a:cxn>
              <a:cxn ang="0">
                <a:pos x="connsiteX44116" y="connsiteY44116"/>
              </a:cxn>
              <a:cxn ang="0">
                <a:pos x="connsiteX44117" y="connsiteY44117"/>
              </a:cxn>
              <a:cxn ang="0">
                <a:pos x="connsiteX44118" y="connsiteY44118"/>
              </a:cxn>
              <a:cxn ang="0">
                <a:pos x="connsiteX44119" y="connsiteY44119"/>
              </a:cxn>
              <a:cxn ang="0">
                <a:pos x="connsiteX44120" y="connsiteY44120"/>
              </a:cxn>
              <a:cxn ang="0">
                <a:pos x="connsiteX44121" y="connsiteY44121"/>
              </a:cxn>
              <a:cxn ang="0">
                <a:pos x="connsiteX44122" y="connsiteY44122"/>
              </a:cxn>
              <a:cxn ang="0">
                <a:pos x="connsiteX44123" y="connsiteY44123"/>
              </a:cxn>
              <a:cxn ang="0">
                <a:pos x="connsiteX44124" y="connsiteY44124"/>
              </a:cxn>
              <a:cxn ang="0">
                <a:pos x="connsiteX44125" y="connsiteY44125"/>
              </a:cxn>
              <a:cxn ang="0">
                <a:pos x="connsiteX44126" y="connsiteY44126"/>
              </a:cxn>
              <a:cxn ang="0">
                <a:pos x="connsiteX44127" y="connsiteY44127"/>
              </a:cxn>
              <a:cxn ang="0">
                <a:pos x="connsiteX44128" y="connsiteY44128"/>
              </a:cxn>
              <a:cxn ang="0">
                <a:pos x="connsiteX44129" y="connsiteY44129"/>
              </a:cxn>
              <a:cxn ang="0">
                <a:pos x="connsiteX44130" y="connsiteY44130"/>
              </a:cxn>
              <a:cxn ang="0">
                <a:pos x="connsiteX44131" y="connsiteY44131"/>
              </a:cxn>
              <a:cxn ang="0">
                <a:pos x="connsiteX44132" y="connsiteY44132"/>
              </a:cxn>
              <a:cxn ang="0">
                <a:pos x="connsiteX44133" y="connsiteY44133"/>
              </a:cxn>
              <a:cxn ang="0">
                <a:pos x="connsiteX44134" y="connsiteY44134"/>
              </a:cxn>
              <a:cxn ang="0">
                <a:pos x="connsiteX44135" y="connsiteY44135"/>
              </a:cxn>
              <a:cxn ang="0">
                <a:pos x="connsiteX44136" y="connsiteY44136"/>
              </a:cxn>
              <a:cxn ang="0">
                <a:pos x="connsiteX44137" y="connsiteY44137"/>
              </a:cxn>
              <a:cxn ang="0">
                <a:pos x="connsiteX44138" y="connsiteY44138"/>
              </a:cxn>
              <a:cxn ang="0">
                <a:pos x="connsiteX44139" y="connsiteY44139"/>
              </a:cxn>
              <a:cxn ang="0">
                <a:pos x="connsiteX44140" y="connsiteY44140"/>
              </a:cxn>
              <a:cxn ang="0">
                <a:pos x="connsiteX44141" y="connsiteY44141"/>
              </a:cxn>
              <a:cxn ang="0">
                <a:pos x="connsiteX44142" y="connsiteY44142"/>
              </a:cxn>
              <a:cxn ang="0">
                <a:pos x="connsiteX44143" y="connsiteY44143"/>
              </a:cxn>
              <a:cxn ang="0">
                <a:pos x="connsiteX44144" y="connsiteY44144"/>
              </a:cxn>
              <a:cxn ang="0">
                <a:pos x="connsiteX44145" y="connsiteY44145"/>
              </a:cxn>
              <a:cxn ang="0">
                <a:pos x="connsiteX44146" y="connsiteY44146"/>
              </a:cxn>
              <a:cxn ang="0">
                <a:pos x="connsiteX44147" y="connsiteY44147"/>
              </a:cxn>
              <a:cxn ang="0">
                <a:pos x="connsiteX44148" y="connsiteY44148"/>
              </a:cxn>
              <a:cxn ang="0">
                <a:pos x="connsiteX44149" y="connsiteY44149"/>
              </a:cxn>
              <a:cxn ang="0">
                <a:pos x="connsiteX44150" y="connsiteY44150"/>
              </a:cxn>
              <a:cxn ang="0">
                <a:pos x="connsiteX44151" y="connsiteY44151"/>
              </a:cxn>
              <a:cxn ang="0">
                <a:pos x="connsiteX44152" y="connsiteY44152"/>
              </a:cxn>
              <a:cxn ang="0">
                <a:pos x="connsiteX44153" y="connsiteY44153"/>
              </a:cxn>
              <a:cxn ang="0">
                <a:pos x="connsiteX44154" y="connsiteY44154"/>
              </a:cxn>
              <a:cxn ang="0">
                <a:pos x="connsiteX44155" y="connsiteY44155"/>
              </a:cxn>
              <a:cxn ang="0">
                <a:pos x="connsiteX44156" y="connsiteY44156"/>
              </a:cxn>
              <a:cxn ang="0">
                <a:pos x="connsiteX44157" y="connsiteY44157"/>
              </a:cxn>
              <a:cxn ang="0">
                <a:pos x="connsiteX44158" y="connsiteY44158"/>
              </a:cxn>
              <a:cxn ang="0">
                <a:pos x="connsiteX44159" y="connsiteY44159"/>
              </a:cxn>
              <a:cxn ang="0">
                <a:pos x="connsiteX44160" y="connsiteY44160"/>
              </a:cxn>
              <a:cxn ang="0">
                <a:pos x="connsiteX44161" y="connsiteY44161"/>
              </a:cxn>
              <a:cxn ang="0">
                <a:pos x="connsiteX44162" y="connsiteY44162"/>
              </a:cxn>
              <a:cxn ang="0">
                <a:pos x="connsiteX44163" y="connsiteY44163"/>
              </a:cxn>
              <a:cxn ang="0">
                <a:pos x="connsiteX44164" y="connsiteY44164"/>
              </a:cxn>
              <a:cxn ang="0">
                <a:pos x="connsiteX44165" y="connsiteY44165"/>
              </a:cxn>
              <a:cxn ang="0">
                <a:pos x="connsiteX44166" y="connsiteY44166"/>
              </a:cxn>
              <a:cxn ang="0">
                <a:pos x="connsiteX44167" y="connsiteY44167"/>
              </a:cxn>
              <a:cxn ang="0">
                <a:pos x="connsiteX44168" y="connsiteY44168"/>
              </a:cxn>
              <a:cxn ang="0">
                <a:pos x="connsiteX44169" y="connsiteY44169"/>
              </a:cxn>
              <a:cxn ang="0">
                <a:pos x="connsiteX44170" y="connsiteY44170"/>
              </a:cxn>
              <a:cxn ang="0">
                <a:pos x="connsiteX44171" y="connsiteY44171"/>
              </a:cxn>
              <a:cxn ang="0">
                <a:pos x="connsiteX44172" y="connsiteY44172"/>
              </a:cxn>
              <a:cxn ang="0">
                <a:pos x="connsiteX44173" y="connsiteY44173"/>
              </a:cxn>
              <a:cxn ang="0">
                <a:pos x="connsiteX44174" y="connsiteY44174"/>
              </a:cxn>
              <a:cxn ang="0">
                <a:pos x="connsiteX44175" y="connsiteY44175"/>
              </a:cxn>
              <a:cxn ang="0">
                <a:pos x="connsiteX44176" y="connsiteY44176"/>
              </a:cxn>
              <a:cxn ang="0">
                <a:pos x="connsiteX44177" y="connsiteY44177"/>
              </a:cxn>
              <a:cxn ang="0">
                <a:pos x="connsiteX44178" y="connsiteY44178"/>
              </a:cxn>
              <a:cxn ang="0">
                <a:pos x="connsiteX44179" y="connsiteY44179"/>
              </a:cxn>
              <a:cxn ang="0">
                <a:pos x="connsiteX44180" y="connsiteY44180"/>
              </a:cxn>
              <a:cxn ang="0">
                <a:pos x="connsiteX44181" y="connsiteY44181"/>
              </a:cxn>
              <a:cxn ang="0">
                <a:pos x="connsiteX44182" y="connsiteY44182"/>
              </a:cxn>
              <a:cxn ang="0">
                <a:pos x="connsiteX44183" y="connsiteY44183"/>
              </a:cxn>
              <a:cxn ang="0">
                <a:pos x="connsiteX44184" y="connsiteY44184"/>
              </a:cxn>
              <a:cxn ang="0">
                <a:pos x="connsiteX44185" y="connsiteY44185"/>
              </a:cxn>
              <a:cxn ang="0">
                <a:pos x="connsiteX44186" y="connsiteY44186"/>
              </a:cxn>
              <a:cxn ang="0">
                <a:pos x="connsiteX44187" y="connsiteY44187"/>
              </a:cxn>
              <a:cxn ang="0">
                <a:pos x="connsiteX44188" y="connsiteY44188"/>
              </a:cxn>
              <a:cxn ang="0">
                <a:pos x="connsiteX44189" y="connsiteY44189"/>
              </a:cxn>
              <a:cxn ang="0">
                <a:pos x="connsiteX44190" y="connsiteY44190"/>
              </a:cxn>
              <a:cxn ang="0">
                <a:pos x="connsiteX44191" y="connsiteY44191"/>
              </a:cxn>
              <a:cxn ang="0">
                <a:pos x="connsiteX44192" y="connsiteY44192"/>
              </a:cxn>
              <a:cxn ang="0">
                <a:pos x="connsiteX44193" y="connsiteY44193"/>
              </a:cxn>
              <a:cxn ang="0">
                <a:pos x="connsiteX44194" y="connsiteY44194"/>
              </a:cxn>
              <a:cxn ang="0">
                <a:pos x="connsiteX44195" y="connsiteY44195"/>
              </a:cxn>
              <a:cxn ang="0">
                <a:pos x="connsiteX44196" y="connsiteY44196"/>
              </a:cxn>
              <a:cxn ang="0">
                <a:pos x="connsiteX44197" y="connsiteY44197"/>
              </a:cxn>
              <a:cxn ang="0">
                <a:pos x="connsiteX44198" y="connsiteY44198"/>
              </a:cxn>
              <a:cxn ang="0">
                <a:pos x="connsiteX44199" y="connsiteY44199"/>
              </a:cxn>
              <a:cxn ang="0">
                <a:pos x="connsiteX44200" y="connsiteY44200"/>
              </a:cxn>
              <a:cxn ang="0">
                <a:pos x="connsiteX44201" y="connsiteY44201"/>
              </a:cxn>
              <a:cxn ang="0">
                <a:pos x="connsiteX44202" y="connsiteY44202"/>
              </a:cxn>
              <a:cxn ang="0">
                <a:pos x="connsiteX44203" y="connsiteY44203"/>
              </a:cxn>
              <a:cxn ang="0">
                <a:pos x="connsiteX44204" y="connsiteY44204"/>
              </a:cxn>
              <a:cxn ang="0">
                <a:pos x="connsiteX44205" y="connsiteY44205"/>
              </a:cxn>
              <a:cxn ang="0">
                <a:pos x="connsiteX44206" y="connsiteY44206"/>
              </a:cxn>
              <a:cxn ang="0">
                <a:pos x="connsiteX44207" y="connsiteY44207"/>
              </a:cxn>
              <a:cxn ang="0">
                <a:pos x="connsiteX44208" y="connsiteY44208"/>
              </a:cxn>
              <a:cxn ang="0">
                <a:pos x="connsiteX44209" y="connsiteY44209"/>
              </a:cxn>
              <a:cxn ang="0">
                <a:pos x="connsiteX44210" y="connsiteY44210"/>
              </a:cxn>
              <a:cxn ang="0">
                <a:pos x="connsiteX44211" y="connsiteY44211"/>
              </a:cxn>
              <a:cxn ang="0">
                <a:pos x="connsiteX44212" y="connsiteY44212"/>
              </a:cxn>
              <a:cxn ang="0">
                <a:pos x="connsiteX44213" y="connsiteY44213"/>
              </a:cxn>
              <a:cxn ang="0">
                <a:pos x="connsiteX44214" y="connsiteY44214"/>
              </a:cxn>
              <a:cxn ang="0">
                <a:pos x="connsiteX44215" y="connsiteY44215"/>
              </a:cxn>
              <a:cxn ang="0">
                <a:pos x="connsiteX44216" y="connsiteY44216"/>
              </a:cxn>
              <a:cxn ang="0">
                <a:pos x="connsiteX44217" y="connsiteY44217"/>
              </a:cxn>
              <a:cxn ang="0">
                <a:pos x="connsiteX44218" y="connsiteY44218"/>
              </a:cxn>
              <a:cxn ang="0">
                <a:pos x="connsiteX44219" y="connsiteY44219"/>
              </a:cxn>
              <a:cxn ang="0">
                <a:pos x="connsiteX44220" y="connsiteY44220"/>
              </a:cxn>
              <a:cxn ang="0">
                <a:pos x="connsiteX44221" y="connsiteY44221"/>
              </a:cxn>
              <a:cxn ang="0">
                <a:pos x="connsiteX44222" y="connsiteY44222"/>
              </a:cxn>
              <a:cxn ang="0">
                <a:pos x="connsiteX44223" y="connsiteY44223"/>
              </a:cxn>
              <a:cxn ang="0">
                <a:pos x="connsiteX44224" y="connsiteY44224"/>
              </a:cxn>
              <a:cxn ang="0">
                <a:pos x="connsiteX44225" y="connsiteY44225"/>
              </a:cxn>
              <a:cxn ang="0">
                <a:pos x="connsiteX44226" y="connsiteY44226"/>
              </a:cxn>
              <a:cxn ang="0">
                <a:pos x="connsiteX44227" y="connsiteY44227"/>
              </a:cxn>
              <a:cxn ang="0">
                <a:pos x="connsiteX44228" y="connsiteY44228"/>
              </a:cxn>
              <a:cxn ang="0">
                <a:pos x="connsiteX44229" y="connsiteY44229"/>
              </a:cxn>
              <a:cxn ang="0">
                <a:pos x="connsiteX44230" y="connsiteY44230"/>
              </a:cxn>
              <a:cxn ang="0">
                <a:pos x="connsiteX44231" y="connsiteY44231"/>
              </a:cxn>
              <a:cxn ang="0">
                <a:pos x="connsiteX44232" y="connsiteY44232"/>
              </a:cxn>
              <a:cxn ang="0">
                <a:pos x="connsiteX44233" y="connsiteY44233"/>
              </a:cxn>
              <a:cxn ang="0">
                <a:pos x="connsiteX44234" y="connsiteY44234"/>
              </a:cxn>
              <a:cxn ang="0">
                <a:pos x="connsiteX44235" y="connsiteY44235"/>
              </a:cxn>
              <a:cxn ang="0">
                <a:pos x="connsiteX44236" y="connsiteY44236"/>
              </a:cxn>
              <a:cxn ang="0">
                <a:pos x="connsiteX44237" y="connsiteY44237"/>
              </a:cxn>
              <a:cxn ang="0">
                <a:pos x="connsiteX44238" y="connsiteY44238"/>
              </a:cxn>
              <a:cxn ang="0">
                <a:pos x="connsiteX44239" y="connsiteY44239"/>
              </a:cxn>
              <a:cxn ang="0">
                <a:pos x="connsiteX44240" y="connsiteY44240"/>
              </a:cxn>
              <a:cxn ang="0">
                <a:pos x="connsiteX44241" y="connsiteY44241"/>
              </a:cxn>
              <a:cxn ang="0">
                <a:pos x="connsiteX44242" y="connsiteY44242"/>
              </a:cxn>
              <a:cxn ang="0">
                <a:pos x="connsiteX44243" y="connsiteY44243"/>
              </a:cxn>
              <a:cxn ang="0">
                <a:pos x="connsiteX44244" y="connsiteY44244"/>
              </a:cxn>
              <a:cxn ang="0">
                <a:pos x="connsiteX44245" y="connsiteY44245"/>
              </a:cxn>
              <a:cxn ang="0">
                <a:pos x="connsiteX44246" y="connsiteY44246"/>
              </a:cxn>
              <a:cxn ang="0">
                <a:pos x="connsiteX44247" y="connsiteY44247"/>
              </a:cxn>
              <a:cxn ang="0">
                <a:pos x="connsiteX44248" y="connsiteY44248"/>
              </a:cxn>
              <a:cxn ang="0">
                <a:pos x="connsiteX44249" y="connsiteY44249"/>
              </a:cxn>
              <a:cxn ang="0">
                <a:pos x="connsiteX44250" y="connsiteY44250"/>
              </a:cxn>
              <a:cxn ang="0">
                <a:pos x="connsiteX44251" y="connsiteY44251"/>
              </a:cxn>
              <a:cxn ang="0">
                <a:pos x="connsiteX44252" y="connsiteY44252"/>
              </a:cxn>
              <a:cxn ang="0">
                <a:pos x="connsiteX44253" y="connsiteY44253"/>
              </a:cxn>
              <a:cxn ang="0">
                <a:pos x="connsiteX44254" y="connsiteY44254"/>
              </a:cxn>
              <a:cxn ang="0">
                <a:pos x="connsiteX44255" y="connsiteY44255"/>
              </a:cxn>
              <a:cxn ang="0">
                <a:pos x="connsiteX44256" y="connsiteY44256"/>
              </a:cxn>
              <a:cxn ang="0">
                <a:pos x="connsiteX44257" y="connsiteY44257"/>
              </a:cxn>
              <a:cxn ang="0">
                <a:pos x="connsiteX44258" y="connsiteY44258"/>
              </a:cxn>
              <a:cxn ang="0">
                <a:pos x="connsiteX44259" y="connsiteY44259"/>
              </a:cxn>
              <a:cxn ang="0">
                <a:pos x="connsiteX44260" y="connsiteY44260"/>
              </a:cxn>
              <a:cxn ang="0">
                <a:pos x="connsiteX44261" y="connsiteY44261"/>
              </a:cxn>
              <a:cxn ang="0">
                <a:pos x="connsiteX44262" y="connsiteY44262"/>
              </a:cxn>
              <a:cxn ang="0">
                <a:pos x="connsiteX44263" y="connsiteY44263"/>
              </a:cxn>
              <a:cxn ang="0">
                <a:pos x="connsiteX44264" y="connsiteY44264"/>
              </a:cxn>
              <a:cxn ang="0">
                <a:pos x="connsiteX44265" y="connsiteY44265"/>
              </a:cxn>
              <a:cxn ang="0">
                <a:pos x="connsiteX44266" y="connsiteY44266"/>
              </a:cxn>
              <a:cxn ang="0">
                <a:pos x="connsiteX44267" y="connsiteY44267"/>
              </a:cxn>
              <a:cxn ang="0">
                <a:pos x="connsiteX44268" y="connsiteY44268"/>
              </a:cxn>
              <a:cxn ang="0">
                <a:pos x="connsiteX44269" y="connsiteY44269"/>
              </a:cxn>
              <a:cxn ang="0">
                <a:pos x="connsiteX44270" y="connsiteY44270"/>
              </a:cxn>
              <a:cxn ang="0">
                <a:pos x="connsiteX44271" y="connsiteY44271"/>
              </a:cxn>
              <a:cxn ang="0">
                <a:pos x="connsiteX44272" y="connsiteY44272"/>
              </a:cxn>
              <a:cxn ang="0">
                <a:pos x="connsiteX44273" y="connsiteY44273"/>
              </a:cxn>
              <a:cxn ang="0">
                <a:pos x="connsiteX44274" y="connsiteY44274"/>
              </a:cxn>
              <a:cxn ang="0">
                <a:pos x="connsiteX44275" y="connsiteY44275"/>
              </a:cxn>
              <a:cxn ang="0">
                <a:pos x="connsiteX44276" y="connsiteY44276"/>
              </a:cxn>
              <a:cxn ang="0">
                <a:pos x="connsiteX44277" y="connsiteY44277"/>
              </a:cxn>
              <a:cxn ang="0">
                <a:pos x="connsiteX44278" y="connsiteY44278"/>
              </a:cxn>
              <a:cxn ang="0">
                <a:pos x="connsiteX44279" y="connsiteY44279"/>
              </a:cxn>
              <a:cxn ang="0">
                <a:pos x="connsiteX44280" y="connsiteY44280"/>
              </a:cxn>
              <a:cxn ang="0">
                <a:pos x="connsiteX44281" y="connsiteY44281"/>
              </a:cxn>
              <a:cxn ang="0">
                <a:pos x="connsiteX44282" y="connsiteY44282"/>
              </a:cxn>
              <a:cxn ang="0">
                <a:pos x="connsiteX44283" y="connsiteY44283"/>
              </a:cxn>
              <a:cxn ang="0">
                <a:pos x="connsiteX44284" y="connsiteY44284"/>
              </a:cxn>
              <a:cxn ang="0">
                <a:pos x="connsiteX44285" y="connsiteY44285"/>
              </a:cxn>
              <a:cxn ang="0">
                <a:pos x="connsiteX44286" y="connsiteY44286"/>
              </a:cxn>
              <a:cxn ang="0">
                <a:pos x="connsiteX44287" y="connsiteY44287"/>
              </a:cxn>
              <a:cxn ang="0">
                <a:pos x="connsiteX44288" y="connsiteY44288"/>
              </a:cxn>
              <a:cxn ang="0">
                <a:pos x="connsiteX44289" y="connsiteY44289"/>
              </a:cxn>
              <a:cxn ang="0">
                <a:pos x="connsiteX44290" y="connsiteY44290"/>
              </a:cxn>
              <a:cxn ang="0">
                <a:pos x="connsiteX44291" y="connsiteY44291"/>
              </a:cxn>
              <a:cxn ang="0">
                <a:pos x="connsiteX44292" y="connsiteY44292"/>
              </a:cxn>
              <a:cxn ang="0">
                <a:pos x="connsiteX44293" y="connsiteY44293"/>
              </a:cxn>
              <a:cxn ang="0">
                <a:pos x="connsiteX44294" y="connsiteY44294"/>
              </a:cxn>
              <a:cxn ang="0">
                <a:pos x="connsiteX44295" y="connsiteY44295"/>
              </a:cxn>
              <a:cxn ang="0">
                <a:pos x="connsiteX44296" y="connsiteY44296"/>
              </a:cxn>
              <a:cxn ang="0">
                <a:pos x="connsiteX44297" y="connsiteY44297"/>
              </a:cxn>
              <a:cxn ang="0">
                <a:pos x="connsiteX44298" y="connsiteY44298"/>
              </a:cxn>
              <a:cxn ang="0">
                <a:pos x="connsiteX44299" y="connsiteY44299"/>
              </a:cxn>
              <a:cxn ang="0">
                <a:pos x="connsiteX44300" y="connsiteY44300"/>
              </a:cxn>
              <a:cxn ang="0">
                <a:pos x="connsiteX44301" y="connsiteY44301"/>
              </a:cxn>
              <a:cxn ang="0">
                <a:pos x="connsiteX44302" y="connsiteY44302"/>
              </a:cxn>
              <a:cxn ang="0">
                <a:pos x="connsiteX44303" y="connsiteY44303"/>
              </a:cxn>
              <a:cxn ang="0">
                <a:pos x="connsiteX44304" y="connsiteY44304"/>
              </a:cxn>
              <a:cxn ang="0">
                <a:pos x="connsiteX44305" y="connsiteY44305"/>
              </a:cxn>
              <a:cxn ang="0">
                <a:pos x="connsiteX44306" y="connsiteY44306"/>
              </a:cxn>
              <a:cxn ang="0">
                <a:pos x="connsiteX44307" y="connsiteY44307"/>
              </a:cxn>
              <a:cxn ang="0">
                <a:pos x="connsiteX44308" y="connsiteY44308"/>
              </a:cxn>
              <a:cxn ang="0">
                <a:pos x="connsiteX44309" y="connsiteY44309"/>
              </a:cxn>
              <a:cxn ang="0">
                <a:pos x="connsiteX44310" y="connsiteY44310"/>
              </a:cxn>
              <a:cxn ang="0">
                <a:pos x="connsiteX44311" y="connsiteY44311"/>
              </a:cxn>
              <a:cxn ang="0">
                <a:pos x="connsiteX44312" y="connsiteY44312"/>
              </a:cxn>
              <a:cxn ang="0">
                <a:pos x="connsiteX44313" y="connsiteY44313"/>
              </a:cxn>
              <a:cxn ang="0">
                <a:pos x="connsiteX44314" y="connsiteY44314"/>
              </a:cxn>
              <a:cxn ang="0">
                <a:pos x="connsiteX44315" y="connsiteY44315"/>
              </a:cxn>
              <a:cxn ang="0">
                <a:pos x="connsiteX44316" y="connsiteY44316"/>
              </a:cxn>
              <a:cxn ang="0">
                <a:pos x="connsiteX44317" y="connsiteY44317"/>
              </a:cxn>
              <a:cxn ang="0">
                <a:pos x="connsiteX44318" y="connsiteY44318"/>
              </a:cxn>
              <a:cxn ang="0">
                <a:pos x="connsiteX44319" y="connsiteY44319"/>
              </a:cxn>
              <a:cxn ang="0">
                <a:pos x="connsiteX44320" y="connsiteY44320"/>
              </a:cxn>
              <a:cxn ang="0">
                <a:pos x="connsiteX44321" y="connsiteY44321"/>
              </a:cxn>
              <a:cxn ang="0">
                <a:pos x="connsiteX44322" y="connsiteY44322"/>
              </a:cxn>
              <a:cxn ang="0">
                <a:pos x="connsiteX44323" y="connsiteY44323"/>
              </a:cxn>
              <a:cxn ang="0">
                <a:pos x="connsiteX44324" y="connsiteY44324"/>
              </a:cxn>
              <a:cxn ang="0">
                <a:pos x="connsiteX44325" y="connsiteY44325"/>
              </a:cxn>
              <a:cxn ang="0">
                <a:pos x="connsiteX44326" y="connsiteY44326"/>
              </a:cxn>
              <a:cxn ang="0">
                <a:pos x="connsiteX44327" y="connsiteY44327"/>
              </a:cxn>
              <a:cxn ang="0">
                <a:pos x="connsiteX44328" y="connsiteY44328"/>
              </a:cxn>
              <a:cxn ang="0">
                <a:pos x="connsiteX44329" y="connsiteY44329"/>
              </a:cxn>
              <a:cxn ang="0">
                <a:pos x="connsiteX44330" y="connsiteY44330"/>
              </a:cxn>
              <a:cxn ang="0">
                <a:pos x="connsiteX44331" y="connsiteY44331"/>
              </a:cxn>
              <a:cxn ang="0">
                <a:pos x="connsiteX44332" y="connsiteY44332"/>
              </a:cxn>
              <a:cxn ang="0">
                <a:pos x="connsiteX44333" y="connsiteY44333"/>
              </a:cxn>
              <a:cxn ang="0">
                <a:pos x="connsiteX44334" y="connsiteY44334"/>
              </a:cxn>
              <a:cxn ang="0">
                <a:pos x="connsiteX44335" y="connsiteY44335"/>
              </a:cxn>
              <a:cxn ang="0">
                <a:pos x="connsiteX44336" y="connsiteY44336"/>
              </a:cxn>
              <a:cxn ang="0">
                <a:pos x="connsiteX44337" y="connsiteY44337"/>
              </a:cxn>
              <a:cxn ang="0">
                <a:pos x="connsiteX44338" y="connsiteY44338"/>
              </a:cxn>
              <a:cxn ang="0">
                <a:pos x="connsiteX44339" y="connsiteY44339"/>
              </a:cxn>
              <a:cxn ang="0">
                <a:pos x="connsiteX44340" y="connsiteY44340"/>
              </a:cxn>
              <a:cxn ang="0">
                <a:pos x="connsiteX44341" y="connsiteY44341"/>
              </a:cxn>
              <a:cxn ang="0">
                <a:pos x="connsiteX44342" y="connsiteY44342"/>
              </a:cxn>
              <a:cxn ang="0">
                <a:pos x="connsiteX44343" y="connsiteY44343"/>
              </a:cxn>
              <a:cxn ang="0">
                <a:pos x="connsiteX44344" y="connsiteY44344"/>
              </a:cxn>
              <a:cxn ang="0">
                <a:pos x="connsiteX44345" y="connsiteY44345"/>
              </a:cxn>
              <a:cxn ang="0">
                <a:pos x="connsiteX44346" y="connsiteY44346"/>
              </a:cxn>
              <a:cxn ang="0">
                <a:pos x="connsiteX44347" y="connsiteY44347"/>
              </a:cxn>
              <a:cxn ang="0">
                <a:pos x="connsiteX44348" y="connsiteY44348"/>
              </a:cxn>
              <a:cxn ang="0">
                <a:pos x="connsiteX44349" y="connsiteY44349"/>
              </a:cxn>
              <a:cxn ang="0">
                <a:pos x="connsiteX44350" y="connsiteY44350"/>
              </a:cxn>
              <a:cxn ang="0">
                <a:pos x="connsiteX44351" y="connsiteY44351"/>
              </a:cxn>
              <a:cxn ang="0">
                <a:pos x="connsiteX44352" y="connsiteY44352"/>
              </a:cxn>
              <a:cxn ang="0">
                <a:pos x="connsiteX44353" y="connsiteY44353"/>
              </a:cxn>
              <a:cxn ang="0">
                <a:pos x="connsiteX44354" y="connsiteY44354"/>
              </a:cxn>
              <a:cxn ang="0">
                <a:pos x="connsiteX44355" y="connsiteY44355"/>
              </a:cxn>
              <a:cxn ang="0">
                <a:pos x="connsiteX44356" y="connsiteY44356"/>
              </a:cxn>
              <a:cxn ang="0">
                <a:pos x="connsiteX44357" y="connsiteY44357"/>
              </a:cxn>
              <a:cxn ang="0">
                <a:pos x="connsiteX44358" y="connsiteY44358"/>
              </a:cxn>
              <a:cxn ang="0">
                <a:pos x="connsiteX44359" y="connsiteY44359"/>
              </a:cxn>
              <a:cxn ang="0">
                <a:pos x="connsiteX44360" y="connsiteY44360"/>
              </a:cxn>
              <a:cxn ang="0">
                <a:pos x="connsiteX44361" y="connsiteY44361"/>
              </a:cxn>
              <a:cxn ang="0">
                <a:pos x="connsiteX44362" y="connsiteY44362"/>
              </a:cxn>
              <a:cxn ang="0">
                <a:pos x="connsiteX44363" y="connsiteY44363"/>
              </a:cxn>
              <a:cxn ang="0">
                <a:pos x="connsiteX44364" y="connsiteY44364"/>
              </a:cxn>
              <a:cxn ang="0">
                <a:pos x="connsiteX44365" y="connsiteY44365"/>
              </a:cxn>
              <a:cxn ang="0">
                <a:pos x="connsiteX44366" y="connsiteY44366"/>
              </a:cxn>
              <a:cxn ang="0">
                <a:pos x="connsiteX44367" y="connsiteY44367"/>
              </a:cxn>
              <a:cxn ang="0">
                <a:pos x="connsiteX44368" y="connsiteY44368"/>
              </a:cxn>
              <a:cxn ang="0">
                <a:pos x="connsiteX44369" y="connsiteY44369"/>
              </a:cxn>
              <a:cxn ang="0">
                <a:pos x="connsiteX44370" y="connsiteY44370"/>
              </a:cxn>
              <a:cxn ang="0">
                <a:pos x="connsiteX44371" y="connsiteY44371"/>
              </a:cxn>
              <a:cxn ang="0">
                <a:pos x="connsiteX44372" y="connsiteY44372"/>
              </a:cxn>
              <a:cxn ang="0">
                <a:pos x="connsiteX44373" y="connsiteY44373"/>
              </a:cxn>
              <a:cxn ang="0">
                <a:pos x="connsiteX44374" y="connsiteY44374"/>
              </a:cxn>
              <a:cxn ang="0">
                <a:pos x="connsiteX44375" y="connsiteY44375"/>
              </a:cxn>
              <a:cxn ang="0">
                <a:pos x="connsiteX44376" y="connsiteY44376"/>
              </a:cxn>
              <a:cxn ang="0">
                <a:pos x="connsiteX44377" y="connsiteY44377"/>
              </a:cxn>
              <a:cxn ang="0">
                <a:pos x="connsiteX44378" y="connsiteY44378"/>
              </a:cxn>
              <a:cxn ang="0">
                <a:pos x="connsiteX44379" y="connsiteY44379"/>
              </a:cxn>
              <a:cxn ang="0">
                <a:pos x="connsiteX44380" y="connsiteY44380"/>
              </a:cxn>
              <a:cxn ang="0">
                <a:pos x="connsiteX44381" y="connsiteY44381"/>
              </a:cxn>
              <a:cxn ang="0">
                <a:pos x="connsiteX44382" y="connsiteY44382"/>
              </a:cxn>
              <a:cxn ang="0">
                <a:pos x="connsiteX44383" y="connsiteY44383"/>
              </a:cxn>
              <a:cxn ang="0">
                <a:pos x="connsiteX44384" y="connsiteY44384"/>
              </a:cxn>
              <a:cxn ang="0">
                <a:pos x="connsiteX44385" y="connsiteY44385"/>
              </a:cxn>
              <a:cxn ang="0">
                <a:pos x="connsiteX44386" y="connsiteY44386"/>
              </a:cxn>
              <a:cxn ang="0">
                <a:pos x="connsiteX44387" y="connsiteY44387"/>
              </a:cxn>
              <a:cxn ang="0">
                <a:pos x="connsiteX44388" y="connsiteY44388"/>
              </a:cxn>
              <a:cxn ang="0">
                <a:pos x="connsiteX44389" y="connsiteY44389"/>
              </a:cxn>
              <a:cxn ang="0">
                <a:pos x="connsiteX44390" y="connsiteY44390"/>
              </a:cxn>
              <a:cxn ang="0">
                <a:pos x="connsiteX44391" y="connsiteY44391"/>
              </a:cxn>
              <a:cxn ang="0">
                <a:pos x="connsiteX44392" y="connsiteY44392"/>
              </a:cxn>
              <a:cxn ang="0">
                <a:pos x="connsiteX44393" y="connsiteY44393"/>
              </a:cxn>
              <a:cxn ang="0">
                <a:pos x="connsiteX44394" y="connsiteY44394"/>
              </a:cxn>
              <a:cxn ang="0">
                <a:pos x="connsiteX44395" y="connsiteY44395"/>
              </a:cxn>
              <a:cxn ang="0">
                <a:pos x="connsiteX44396" y="connsiteY44396"/>
              </a:cxn>
              <a:cxn ang="0">
                <a:pos x="connsiteX44397" y="connsiteY44397"/>
              </a:cxn>
              <a:cxn ang="0">
                <a:pos x="connsiteX44398" y="connsiteY44398"/>
              </a:cxn>
              <a:cxn ang="0">
                <a:pos x="connsiteX44399" y="connsiteY44399"/>
              </a:cxn>
              <a:cxn ang="0">
                <a:pos x="connsiteX44400" y="connsiteY44400"/>
              </a:cxn>
              <a:cxn ang="0">
                <a:pos x="connsiteX44401" y="connsiteY44401"/>
              </a:cxn>
              <a:cxn ang="0">
                <a:pos x="connsiteX44402" y="connsiteY44402"/>
              </a:cxn>
              <a:cxn ang="0">
                <a:pos x="connsiteX44403" y="connsiteY44403"/>
              </a:cxn>
              <a:cxn ang="0">
                <a:pos x="connsiteX44404" y="connsiteY44404"/>
              </a:cxn>
              <a:cxn ang="0">
                <a:pos x="connsiteX44405" y="connsiteY44405"/>
              </a:cxn>
              <a:cxn ang="0">
                <a:pos x="connsiteX44406" y="connsiteY44406"/>
              </a:cxn>
              <a:cxn ang="0">
                <a:pos x="connsiteX44407" y="connsiteY44407"/>
              </a:cxn>
              <a:cxn ang="0">
                <a:pos x="connsiteX44408" y="connsiteY44408"/>
              </a:cxn>
              <a:cxn ang="0">
                <a:pos x="connsiteX44409" y="connsiteY44409"/>
              </a:cxn>
              <a:cxn ang="0">
                <a:pos x="connsiteX44410" y="connsiteY44410"/>
              </a:cxn>
              <a:cxn ang="0">
                <a:pos x="connsiteX44411" y="connsiteY44411"/>
              </a:cxn>
              <a:cxn ang="0">
                <a:pos x="connsiteX44412" y="connsiteY44412"/>
              </a:cxn>
              <a:cxn ang="0">
                <a:pos x="connsiteX44413" y="connsiteY44413"/>
              </a:cxn>
              <a:cxn ang="0">
                <a:pos x="connsiteX44414" y="connsiteY44414"/>
              </a:cxn>
              <a:cxn ang="0">
                <a:pos x="connsiteX44415" y="connsiteY44415"/>
              </a:cxn>
              <a:cxn ang="0">
                <a:pos x="connsiteX44416" y="connsiteY44416"/>
              </a:cxn>
              <a:cxn ang="0">
                <a:pos x="connsiteX44417" y="connsiteY44417"/>
              </a:cxn>
              <a:cxn ang="0">
                <a:pos x="connsiteX44418" y="connsiteY44418"/>
              </a:cxn>
              <a:cxn ang="0">
                <a:pos x="connsiteX44419" y="connsiteY44419"/>
              </a:cxn>
              <a:cxn ang="0">
                <a:pos x="connsiteX44420" y="connsiteY44420"/>
              </a:cxn>
              <a:cxn ang="0">
                <a:pos x="connsiteX44421" y="connsiteY44421"/>
              </a:cxn>
              <a:cxn ang="0">
                <a:pos x="connsiteX44422" y="connsiteY44422"/>
              </a:cxn>
              <a:cxn ang="0">
                <a:pos x="connsiteX44423" y="connsiteY44423"/>
              </a:cxn>
              <a:cxn ang="0">
                <a:pos x="connsiteX44424" y="connsiteY44424"/>
              </a:cxn>
              <a:cxn ang="0">
                <a:pos x="connsiteX44425" y="connsiteY44425"/>
              </a:cxn>
              <a:cxn ang="0">
                <a:pos x="connsiteX44426" y="connsiteY44426"/>
              </a:cxn>
              <a:cxn ang="0">
                <a:pos x="connsiteX44427" y="connsiteY44427"/>
              </a:cxn>
              <a:cxn ang="0">
                <a:pos x="connsiteX44428" y="connsiteY44428"/>
              </a:cxn>
              <a:cxn ang="0">
                <a:pos x="connsiteX44429" y="connsiteY44429"/>
              </a:cxn>
              <a:cxn ang="0">
                <a:pos x="connsiteX44430" y="connsiteY44430"/>
              </a:cxn>
              <a:cxn ang="0">
                <a:pos x="connsiteX44431" y="connsiteY44431"/>
              </a:cxn>
              <a:cxn ang="0">
                <a:pos x="connsiteX44432" y="connsiteY44432"/>
              </a:cxn>
              <a:cxn ang="0">
                <a:pos x="connsiteX44433" y="connsiteY44433"/>
              </a:cxn>
              <a:cxn ang="0">
                <a:pos x="connsiteX44434" y="connsiteY44434"/>
              </a:cxn>
              <a:cxn ang="0">
                <a:pos x="connsiteX44435" y="connsiteY44435"/>
              </a:cxn>
              <a:cxn ang="0">
                <a:pos x="connsiteX44436" y="connsiteY44436"/>
              </a:cxn>
              <a:cxn ang="0">
                <a:pos x="connsiteX44437" y="connsiteY44437"/>
              </a:cxn>
              <a:cxn ang="0">
                <a:pos x="connsiteX44438" y="connsiteY44438"/>
              </a:cxn>
              <a:cxn ang="0">
                <a:pos x="connsiteX44439" y="connsiteY44439"/>
              </a:cxn>
              <a:cxn ang="0">
                <a:pos x="connsiteX44440" y="connsiteY44440"/>
              </a:cxn>
              <a:cxn ang="0">
                <a:pos x="connsiteX44441" y="connsiteY44441"/>
              </a:cxn>
              <a:cxn ang="0">
                <a:pos x="connsiteX44442" y="connsiteY44442"/>
              </a:cxn>
              <a:cxn ang="0">
                <a:pos x="connsiteX44443" y="connsiteY44443"/>
              </a:cxn>
              <a:cxn ang="0">
                <a:pos x="connsiteX44444" y="connsiteY44444"/>
              </a:cxn>
              <a:cxn ang="0">
                <a:pos x="connsiteX44445" y="connsiteY44445"/>
              </a:cxn>
              <a:cxn ang="0">
                <a:pos x="connsiteX44446" y="connsiteY44446"/>
              </a:cxn>
              <a:cxn ang="0">
                <a:pos x="connsiteX44447" y="connsiteY44447"/>
              </a:cxn>
              <a:cxn ang="0">
                <a:pos x="connsiteX44448" y="connsiteY44448"/>
              </a:cxn>
              <a:cxn ang="0">
                <a:pos x="connsiteX44449" y="connsiteY44449"/>
              </a:cxn>
              <a:cxn ang="0">
                <a:pos x="connsiteX44450" y="connsiteY44450"/>
              </a:cxn>
              <a:cxn ang="0">
                <a:pos x="connsiteX44451" y="connsiteY44451"/>
              </a:cxn>
              <a:cxn ang="0">
                <a:pos x="connsiteX44452" y="connsiteY44452"/>
              </a:cxn>
              <a:cxn ang="0">
                <a:pos x="connsiteX44453" y="connsiteY44453"/>
              </a:cxn>
              <a:cxn ang="0">
                <a:pos x="connsiteX44454" y="connsiteY44454"/>
              </a:cxn>
              <a:cxn ang="0">
                <a:pos x="connsiteX44455" y="connsiteY44455"/>
              </a:cxn>
              <a:cxn ang="0">
                <a:pos x="connsiteX44456" y="connsiteY44456"/>
              </a:cxn>
              <a:cxn ang="0">
                <a:pos x="connsiteX44457" y="connsiteY44457"/>
              </a:cxn>
              <a:cxn ang="0">
                <a:pos x="connsiteX44458" y="connsiteY44458"/>
              </a:cxn>
              <a:cxn ang="0">
                <a:pos x="connsiteX44459" y="connsiteY44459"/>
              </a:cxn>
              <a:cxn ang="0">
                <a:pos x="connsiteX44460" y="connsiteY44460"/>
              </a:cxn>
              <a:cxn ang="0">
                <a:pos x="connsiteX44461" y="connsiteY44461"/>
              </a:cxn>
              <a:cxn ang="0">
                <a:pos x="connsiteX44462" y="connsiteY44462"/>
              </a:cxn>
              <a:cxn ang="0">
                <a:pos x="connsiteX44463" y="connsiteY44463"/>
              </a:cxn>
              <a:cxn ang="0">
                <a:pos x="connsiteX44464" y="connsiteY44464"/>
              </a:cxn>
              <a:cxn ang="0">
                <a:pos x="connsiteX44465" y="connsiteY44465"/>
              </a:cxn>
              <a:cxn ang="0">
                <a:pos x="connsiteX44466" y="connsiteY44466"/>
              </a:cxn>
              <a:cxn ang="0">
                <a:pos x="connsiteX44467" y="connsiteY44467"/>
              </a:cxn>
              <a:cxn ang="0">
                <a:pos x="connsiteX44468" y="connsiteY44468"/>
              </a:cxn>
              <a:cxn ang="0">
                <a:pos x="connsiteX44469" y="connsiteY44469"/>
              </a:cxn>
              <a:cxn ang="0">
                <a:pos x="connsiteX44470" y="connsiteY44470"/>
              </a:cxn>
              <a:cxn ang="0">
                <a:pos x="connsiteX44471" y="connsiteY44471"/>
              </a:cxn>
              <a:cxn ang="0">
                <a:pos x="connsiteX44472" y="connsiteY44472"/>
              </a:cxn>
              <a:cxn ang="0">
                <a:pos x="connsiteX44473" y="connsiteY44473"/>
              </a:cxn>
              <a:cxn ang="0">
                <a:pos x="connsiteX44474" y="connsiteY44474"/>
              </a:cxn>
              <a:cxn ang="0">
                <a:pos x="connsiteX44475" y="connsiteY44475"/>
              </a:cxn>
              <a:cxn ang="0">
                <a:pos x="connsiteX44476" y="connsiteY44476"/>
              </a:cxn>
              <a:cxn ang="0">
                <a:pos x="connsiteX44477" y="connsiteY44477"/>
              </a:cxn>
              <a:cxn ang="0">
                <a:pos x="connsiteX44478" y="connsiteY44478"/>
              </a:cxn>
              <a:cxn ang="0">
                <a:pos x="connsiteX44479" y="connsiteY44479"/>
              </a:cxn>
              <a:cxn ang="0">
                <a:pos x="connsiteX44480" y="connsiteY44480"/>
              </a:cxn>
              <a:cxn ang="0">
                <a:pos x="connsiteX44481" y="connsiteY44481"/>
              </a:cxn>
              <a:cxn ang="0">
                <a:pos x="connsiteX44482" y="connsiteY44482"/>
              </a:cxn>
              <a:cxn ang="0">
                <a:pos x="connsiteX44483" y="connsiteY44483"/>
              </a:cxn>
              <a:cxn ang="0">
                <a:pos x="connsiteX44484" y="connsiteY44484"/>
              </a:cxn>
              <a:cxn ang="0">
                <a:pos x="connsiteX44485" y="connsiteY44485"/>
              </a:cxn>
              <a:cxn ang="0">
                <a:pos x="connsiteX44486" y="connsiteY44486"/>
              </a:cxn>
              <a:cxn ang="0">
                <a:pos x="connsiteX44487" y="connsiteY44487"/>
              </a:cxn>
              <a:cxn ang="0">
                <a:pos x="connsiteX44488" y="connsiteY44488"/>
              </a:cxn>
              <a:cxn ang="0">
                <a:pos x="connsiteX44489" y="connsiteY44489"/>
              </a:cxn>
              <a:cxn ang="0">
                <a:pos x="connsiteX44490" y="connsiteY44490"/>
              </a:cxn>
              <a:cxn ang="0">
                <a:pos x="connsiteX44491" y="connsiteY44491"/>
              </a:cxn>
              <a:cxn ang="0">
                <a:pos x="connsiteX44492" y="connsiteY44492"/>
              </a:cxn>
              <a:cxn ang="0">
                <a:pos x="connsiteX44493" y="connsiteY44493"/>
              </a:cxn>
              <a:cxn ang="0">
                <a:pos x="connsiteX44494" y="connsiteY44494"/>
              </a:cxn>
              <a:cxn ang="0">
                <a:pos x="connsiteX44495" y="connsiteY44495"/>
              </a:cxn>
              <a:cxn ang="0">
                <a:pos x="connsiteX44496" y="connsiteY44496"/>
              </a:cxn>
              <a:cxn ang="0">
                <a:pos x="connsiteX44497" y="connsiteY44497"/>
              </a:cxn>
              <a:cxn ang="0">
                <a:pos x="connsiteX44498" y="connsiteY44498"/>
              </a:cxn>
              <a:cxn ang="0">
                <a:pos x="connsiteX44499" y="connsiteY44499"/>
              </a:cxn>
              <a:cxn ang="0">
                <a:pos x="connsiteX44500" y="connsiteY44500"/>
              </a:cxn>
              <a:cxn ang="0">
                <a:pos x="connsiteX44501" y="connsiteY44501"/>
              </a:cxn>
              <a:cxn ang="0">
                <a:pos x="connsiteX44502" y="connsiteY44502"/>
              </a:cxn>
              <a:cxn ang="0">
                <a:pos x="connsiteX44503" y="connsiteY44503"/>
              </a:cxn>
              <a:cxn ang="0">
                <a:pos x="connsiteX44504" y="connsiteY44504"/>
              </a:cxn>
              <a:cxn ang="0">
                <a:pos x="connsiteX44505" y="connsiteY44505"/>
              </a:cxn>
              <a:cxn ang="0">
                <a:pos x="connsiteX44506" y="connsiteY44506"/>
              </a:cxn>
              <a:cxn ang="0">
                <a:pos x="connsiteX44507" y="connsiteY44507"/>
              </a:cxn>
              <a:cxn ang="0">
                <a:pos x="connsiteX44508" y="connsiteY44508"/>
              </a:cxn>
              <a:cxn ang="0">
                <a:pos x="connsiteX44509" y="connsiteY44509"/>
              </a:cxn>
              <a:cxn ang="0">
                <a:pos x="connsiteX44510" y="connsiteY44510"/>
              </a:cxn>
              <a:cxn ang="0">
                <a:pos x="connsiteX44511" y="connsiteY44511"/>
              </a:cxn>
              <a:cxn ang="0">
                <a:pos x="connsiteX44512" y="connsiteY44512"/>
              </a:cxn>
              <a:cxn ang="0">
                <a:pos x="connsiteX44513" y="connsiteY44513"/>
              </a:cxn>
              <a:cxn ang="0">
                <a:pos x="connsiteX44514" y="connsiteY44514"/>
              </a:cxn>
              <a:cxn ang="0">
                <a:pos x="connsiteX44515" y="connsiteY44515"/>
              </a:cxn>
              <a:cxn ang="0">
                <a:pos x="connsiteX44516" y="connsiteY44516"/>
              </a:cxn>
              <a:cxn ang="0">
                <a:pos x="connsiteX44517" y="connsiteY44517"/>
              </a:cxn>
              <a:cxn ang="0">
                <a:pos x="connsiteX44518" y="connsiteY44518"/>
              </a:cxn>
              <a:cxn ang="0">
                <a:pos x="connsiteX44519" y="connsiteY44519"/>
              </a:cxn>
              <a:cxn ang="0">
                <a:pos x="connsiteX44520" y="connsiteY44520"/>
              </a:cxn>
              <a:cxn ang="0">
                <a:pos x="connsiteX44521" y="connsiteY44521"/>
              </a:cxn>
              <a:cxn ang="0">
                <a:pos x="connsiteX44522" y="connsiteY44522"/>
              </a:cxn>
              <a:cxn ang="0">
                <a:pos x="connsiteX44523" y="connsiteY44523"/>
              </a:cxn>
              <a:cxn ang="0">
                <a:pos x="connsiteX44524" y="connsiteY44524"/>
              </a:cxn>
              <a:cxn ang="0">
                <a:pos x="connsiteX44525" y="connsiteY44525"/>
              </a:cxn>
              <a:cxn ang="0">
                <a:pos x="connsiteX44526" y="connsiteY44526"/>
              </a:cxn>
              <a:cxn ang="0">
                <a:pos x="connsiteX44527" y="connsiteY44527"/>
              </a:cxn>
              <a:cxn ang="0">
                <a:pos x="connsiteX44528" y="connsiteY44528"/>
              </a:cxn>
              <a:cxn ang="0">
                <a:pos x="connsiteX44529" y="connsiteY44529"/>
              </a:cxn>
              <a:cxn ang="0">
                <a:pos x="connsiteX44530" y="connsiteY44530"/>
              </a:cxn>
              <a:cxn ang="0">
                <a:pos x="connsiteX44531" y="connsiteY44531"/>
              </a:cxn>
              <a:cxn ang="0">
                <a:pos x="connsiteX44532" y="connsiteY44532"/>
              </a:cxn>
              <a:cxn ang="0">
                <a:pos x="connsiteX44533" y="connsiteY44533"/>
              </a:cxn>
              <a:cxn ang="0">
                <a:pos x="connsiteX44534" y="connsiteY44534"/>
              </a:cxn>
              <a:cxn ang="0">
                <a:pos x="connsiteX44535" y="connsiteY44535"/>
              </a:cxn>
              <a:cxn ang="0">
                <a:pos x="connsiteX44536" y="connsiteY44536"/>
              </a:cxn>
              <a:cxn ang="0">
                <a:pos x="connsiteX44537" y="connsiteY44537"/>
              </a:cxn>
              <a:cxn ang="0">
                <a:pos x="connsiteX44538" y="connsiteY44538"/>
              </a:cxn>
              <a:cxn ang="0">
                <a:pos x="connsiteX44539" y="connsiteY44539"/>
              </a:cxn>
              <a:cxn ang="0">
                <a:pos x="connsiteX44540" y="connsiteY44540"/>
              </a:cxn>
              <a:cxn ang="0">
                <a:pos x="connsiteX44541" y="connsiteY44541"/>
              </a:cxn>
              <a:cxn ang="0">
                <a:pos x="connsiteX44542" y="connsiteY44542"/>
              </a:cxn>
              <a:cxn ang="0">
                <a:pos x="connsiteX44543" y="connsiteY44543"/>
              </a:cxn>
              <a:cxn ang="0">
                <a:pos x="connsiteX44544" y="connsiteY44544"/>
              </a:cxn>
              <a:cxn ang="0">
                <a:pos x="connsiteX44545" y="connsiteY44545"/>
              </a:cxn>
              <a:cxn ang="0">
                <a:pos x="connsiteX44546" y="connsiteY44546"/>
              </a:cxn>
              <a:cxn ang="0">
                <a:pos x="connsiteX44547" y="connsiteY44547"/>
              </a:cxn>
              <a:cxn ang="0">
                <a:pos x="connsiteX44548" y="connsiteY44548"/>
              </a:cxn>
              <a:cxn ang="0">
                <a:pos x="connsiteX44549" y="connsiteY44549"/>
              </a:cxn>
              <a:cxn ang="0">
                <a:pos x="connsiteX44550" y="connsiteY44550"/>
              </a:cxn>
              <a:cxn ang="0">
                <a:pos x="connsiteX44551" y="connsiteY44551"/>
              </a:cxn>
              <a:cxn ang="0">
                <a:pos x="connsiteX44552" y="connsiteY44552"/>
              </a:cxn>
              <a:cxn ang="0">
                <a:pos x="connsiteX44553" y="connsiteY44553"/>
              </a:cxn>
              <a:cxn ang="0">
                <a:pos x="connsiteX44554" y="connsiteY44554"/>
              </a:cxn>
              <a:cxn ang="0">
                <a:pos x="connsiteX44555" y="connsiteY44555"/>
              </a:cxn>
              <a:cxn ang="0">
                <a:pos x="connsiteX44556" y="connsiteY44556"/>
              </a:cxn>
              <a:cxn ang="0">
                <a:pos x="connsiteX44557" y="connsiteY44557"/>
              </a:cxn>
              <a:cxn ang="0">
                <a:pos x="connsiteX44558" y="connsiteY44558"/>
              </a:cxn>
              <a:cxn ang="0">
                <a:pos x="connsiteX44559" y="connsiteY44559"/>
              </a:cxn>
              <a:cxn ang="0">
                <a:pos x="connsiteX44560" y="connsiteY44560"/>
              </a:cxn>
              <a:cxn ang="0">
                <a:pos x="connsiteX44561" y="connsiteY44561"/>
              </a:cxn>
              <a:cxn ang="0">
                <a:pos x="connsiteX44562" y="connsiteY44562"/>
              </a:cxn>
              <a:cxn ang="0">
                <a:pos x="connsiteX44563" y="connsiteY44563"/>
              </a:cxn>
              <a:cxn ang="0">
                <a:pos x="connsiteX44564" y="connsiteY44564"/>
              </a:cxn>
              <a:cxn ang="0">
                <a:pos x="connsiteX44565" y="connsiteY44565"/>
              </a:cxn>
              <a:cxn ang="0">
                <a:pos x="connsiteX44566" y="connsiteY44566"/>
              </a:cxn>
              <a:cxn ang="0">
                <a:pos x="connsiteX44567" y="connsiteY44567"/>
              </a:cxn>
              <a:cxn ang="0">
                <a:pos x="connsiteX44568" y="connsiteY44568"/>
              </a:cxn>
              <a:cxn ang="0">
                <a:pos x="connsiteX44569" y="connsiteY44569"/>
              </a:cxn>
              <a:cxn ang="0">
                <a:pos x="connsiteX44570" y="connsiteY44570"/>
              </a:cxn>
              <a:cxn ang="0">
                <a:pos x="connsiteX44571" y="connsiteY44571"/>
              </a:cxn>
              <a:cxn ang="0">
                <a:pos x="connsiteX44572" y="connsiteY44572"/>
              </a:cxn>
              <a:cxn ang="0">
                <a:pos x="connsiteX44573" y="connsiteY44573"/>
              </a:cxn>
              <a:cxn ang="0">
                <a:pos x="connsiteX44574" y="connsiteY44574"/>
              </a:cxn>
              <a:cxn ang="0">
                <a:pos x="connsiteX44575" y="connsiteY44575"/>
              </a:cxn>
              <a:cxn ang="0">
                <a:pos x="connsiteX44576" y="connsiteY44576"/>
              </a:cxn>
              <a:cxn ang="0">
                <a:pos x="connsiteX44577" y="connsiteY44577"/>
              </a:cxn>
              <a:cxn ang="0">
                <a:pos x="connsiteX44578" y="connsiteY44578"/>
              </a:cxn>
              <a:cxn ang="0">
                <a:pos x="connsiteX44579" y="connsiteY44579"/>
              </a:cxn>
              <a:cxn ang="0">
                <a:pos x="connsiteX44580" y="connsiteY44580"/>
              </a:cxn>
              <a:cxn ang="0">
                <a:pos x="connsiteX44581" y="connsiteY44581"/>
              </a:cxn>
              <a:cxn ang="0">
                <a:pos x="connsiteX44582" y="connsiteY44582"/>
              </a:cxn>
              <a:cxn ang="0">
                <a:pos x="connsiteX44583" y="connsiteY44583"/>
              </a:cxn>
              <a:cxn ang="0">
                <a:pos x="connsiteX44584" y="connsiteY44584"/>
              </a:cxn>
              <a:cxn ang="0">
                <a:pos x="connsiteX44585" y="connsiteY44585"/>
              </a:cxn>
              <a:cxn ang="0">
                <a:pos x="connsiteX44586" y="connsiteY44586"/>
              </a:cxn>
              <a:cxn ang="0">
                <a:pos x="connsiteX44587" y="connsiteY44587"/>
              </a:cxn>
              <a:cxn ang="0">
                <a:pos x="connsiteX44588" y="connsiteY44588"/>
              </a:cxn>
              <a:cxn ang="0">
                <a:pos x="connsiteX44589" y="connsiteY44589"/>
              </a:cxn>
              <a:cxn ang="0">
                <a:pos x="connsiteX44590" y="connsiteY44590"/>
              </a:cxn>
              <a:cxn ang="0">
                <a:pos x="connsiteX44591" y="connsiteY44591"/>
              </a:cxn>
              <a:cxn ang="0">
                <a:pos x="connsiteX44592" y="connsiteY44592"/>
              </a:cxn>
              <a:cxn ang="0">
                <a:pos x="connsiteX44593" y="connsiteY44593"/>
              </a:cxn>
              <a:cxn ang="0">
                <a:pos x="connsiteX44594" y="connsiteY44594"/>
              </a:cxn>
              <a:cxn ang="0">
                <a:pos x="connsiteX44595" y="connsiteY44595"/>
              </a:cxn>
              <a:cxn ang="0">
                <a:pos x="connsiteX44596" y="connsiteY44596"/>
              </a:cxn>
              <a:cxn ang="0">
                <a:pos x="connsiteX44597" y="connsiteY44597"/>
              </a:cxn>
              <a:cxn ang="0">
                <a:pos x="connsiteX44598" y="connsiteY44598"/>
              </a:cxn>
              <a:cxn ang="0">
                <a:pos x="connsiteX44599" y="connsiteY44599"/>
              </a:cxn>
              <a:cxn ang="0">
                <a:pos x="connsiteX44600" y="connsiteY44600"/>
              </a:cxn>
              <a:cxn ang="0">
                <a:pos x="connsiteX44601" y="connsiteY44601"/>
              </a:cxn>
              <a:cxn ang="0">
                <a:pos x="connsiteX44602" y="connsiteY44602"/>
              </a:cxn>
              <a:cxn ang="0">
                <a:pos x="connsiteX44603" y="connsiteY44603"/>
              </a:cxn>
              <a:cxn ang="0">
                <a:pos x="connsiteX44604" y="connsiteY44604"/>
              </a:cxn>
              <a:cxn ang="0">
                <a:pos x="connsiteX44605" y="connsiteY44605"/>
              </a:cxn>
              <a:cxn ang="0">
                <a:pos x="connsiteX44606" y="connsiteY44606"/>
              </a:cxn>
              <a:cxn ang="0">
                <a:pos x="connsiteX44607" y="connsiteY44607"/>
              </a:cxn>
              <a:cxn ang="0">
                <a:pos x="connsiteX44608" y="connsiteY44608"/>
              </a:cxn>
              <a:cxn ang="0">
                <a:pos x="connsiteX44609" y="connsiteY44609"/>
              </a:cxn>
              <a:cxn ang="0">
                <a:pos x="connsiteX44610" y="connsiteY44610"/>
              </a:cxn>
              <a:cxn ang="0">
                <a:pos x="connsiteX44611" y="connsiteY44611"/>
              </a:cxn>
              <a:cxn ang="0">
                <a:pos x="connsiteX44612" y="connsiteY44612"/>
              </a:cxn>
              <a:cxn ang="0">
                <a:pos x="connsiteX44613" y="connsiteY44613"/>
              </a:cxn>
              <a:cxn ang="0">
                <a:pos x="connsiteX44614" y="connsiteY44614"/>
              </a:cxn>
              <a:cxn ang="0">
                <a:pos x="connsiteX44615" y="connsiteY44615"/>
              </a:cxn>
              <a:cxn ang="0">
                <a:pos x="connsiteX44616" y="connsiteY44616"/>
              </a:cxn>
              <a:cxn ang="0">
                <a:pos x="connsiteX44617" y="connsiteY44617"/>
              </a:cxn>
              <a:cxn ang="0">
                <a:pos x="connsiteX44618" y="connsiteY44618"/>
              </a:cxn>
              <a:cxn ang="0">
                <a:pos x="connsiteX44619" y="connsiteY44619"/>
              </a:cxn>
              <a:cxn ang="0">
                <a:pos x="connsiteX44620" y="connsiteY44620"/>
              </a:cxn>
              <a:cxn ang="0">
                <a:pos x="connsiteX44621" y="connsiteY44621"/>
              </a:cxn>
              <a:cxn ang="0">
                <a:pos x="connsiteX44622" y="connsiteY44622"/>
              </a:cxn>
              <a:cxn ang="0">
                <a:pos x="connsiteX44623" y="connsiteY44623"/>
              </a:cxn>
              <a:cxn ang="0">
                <a:pos x="connsiteX44624" y="connsiteY44624"/>
              </a:cxn>
              <a:cxn ang="0">
                <a:pos x="connsiteX44625" y="connsiteY44625"/>
              </a:cxn>
              <a:cxn ang="0">
                <a:pos x="connsiteX44626" y="connsiteY44626"/>
              </a:cxn>
              <a:cxn ang="0">
                <a:pos x="connsiteX44627" y="connsiteY44627"/>
              </a:cxn>
              <a:cxn ang="0">
                <a:pos x="connsiteX44628" y="connsiteY44628"/>
              </a:cxn>
              <a:cxn ang="0">
                <a:pos x="connsiteX44629" y="connsiteY44629"/>
              </a:cxn>
              <a:cxn ang="0">
                <a:pos x="connsiteX44630" y="connsiteY44630"/>
              </a:cxn>
              <a:cxn ang="0">
                <a:pos x="connsiteX44631" y="connsiteY44631"/>
              </a:cxn>
              <a:cxn ang="0">
                <a:pos x="connsiteX44632" y="connsiteY44632"/>
              </a:cxn>
              <a:cxn ang="0">
                <a:pos x="connsiteX44633" y="connsiteY44633"/>
              </a:cxn>
              <a:cxn ang="0">
                <a:pos x="connsiteX44634" y="connsiteY44634"/>
              </a:cxn>
              <a:cxn ang="0">
                <a:pos x="connsiteX44635" y="connsiteY44635"/>
              </a:cxn>
              <a:cxn ang="0">
                <a:pos x="connsiteX44636" y="connsiteY44636"/>
              </a:cxn>
              <a:cxn ang="0">
                <a:pos x="connsiteX44637" y="connsiteY44637"/>
              </a:cxn>
              <a:cxn ang="0">
                <a:pos x="connsiteX44638" y="connsiteY44638"/>
              </a:cxn>
              <a:cxn ang="0">
                <a:pos x="connsiteX44639" y="connsiteY44639"/>
              </a:cxn>
              <a:cxn ang="0">
                <a:pos x="connsiteX44640" y="connsiteY44640"/>
              </a:cxn>
              <a:cxn ang="0">
                <a:pos x="connsiteX44641" y="connsiteY44641"/>
              </a:cxn>
              <a:cxn ang="0">
                <a:pos x="connsiteX44642" y="connsiteY44642"/>
              </a:cxn>
              <a:cxn ang="0">
                <a:pos x="connsiteX44643" y="connsiteY44643"/>
              </a:cxn>
              <a:cxn ang="0">
                <a:pos x="connsiteX44644" y="connsiteY44644"/>
              </a:cxn>
              <a:cxn ang="0">
                <a:pos x="connsiteX44645" y="connsiteY44645"/>
              </a:cxn>
              <a:cxn ang="0">
                <a:pos x="connsiteX44646" y="connsiteY44646"/>
              </a:cxn>
              <a:cxn ang="0">
                <a:pos x="connsiteX44647" y="connsiteY44647"/>
              </a:cxn>
              <a:cxn ang="0">
                <a:pos x="connsiteX44648" y="connsiteY44648"/>
              </a:cxn>
              <a:cxn ang="0">
                <a:pos x="connsiteX44649" y="connsiteY44649"/>
              </a:cxn>
              <a:cxn ang="0">
                <a:pos x="connsiteX44650" y="connsiteY44650"/>
              </a:cxn>
              <a:cxn ang="0">
                <a:pos x="connsiteX44651" y="connsiteY44651"/>
              </a:cxn>
              <a:cxn ang="0">
                <a:pos x="connsiteX44652" y="connsiteY44652"/>
              </a:cxn>
              <a:cxn ang="0">
                <a:pos x="connsiteX44653" y="connsiteY44653"/>
              </a:cxn>
              <a:cxn ang="0">
                <a:pos x="connsiteX44654" y="connsiteY44654"/>
              </a:cxn>
              <a:cxn ang="0">
                <a:pos x="connsiteX44655" y="connsiteY44655"/>
              </a:cxn>
              <a:cxn ang="0">
                <a:pos x="connsiteX44656" y="connsiteY44656"/>
              </a:cxn>
              <a:cxn ang="0">
                <a:pos x="connsiteX44657" y="connsiteY44657"/>
              </a:cxn>
              <a:cxn ang="0">
                <a:pos x="connsiteX44658" y="connsiteY44658"/>
              </a:cxn>
              <a:cxn ang="0">
                <a:pos x="connsiteX44659" y="connsiteY44659"/>
              </a:cxn>
              <a:cxn ang="0">
                <a:pos x="connsiteX44660" y="connsiteY44660"/>
              </a:cxn>
              <a:cxn ang="0">
                <a:pos x="connsiteX44661" y="connsiteY44661"/>
              </a:cxn>
              <a:cxn ang="0">
                <a:pos x="connsiteX44662" y="connsiteY44662"/>
              </a:cxn>
              <a:cxn ang="0">
                <a:pos x="connsiteX44663" y="connsiteY44663"/>
              </a:cxn>
              <a:cxn ang="0">
                <a:pos x="connsiteX44664" y="connsiteY44664"/>
              </a:cxn>
              <a:cxn ang="0">
                <a:pos x="connsiteX44665" y="connsiteY44665"/>
              </a:cxn>
              <a:cxn ang="0">
                <a:pos x="connsiteX44666" y="connsiteY44666"/>
              </a:cxn>
              <a:cxn ang="0">
                <a:pos x="connsiteX44667" y="connsiteY44667"/>
              </a:cxn>
              <a:cxn ang="0">
                <a:pos x="connsiteX44668" y="connsiteY44668"/>
              </a:cxn>
              <a:cxn ang="0">
                <a:pos x="connsiteX44669" y="connsiteY44669"/>
              </a:cxn>
              <a:cxn ang="0">
                <a:pos x="connsiteX44670" y="connsiteY44670"/>
              </a:cxn>
              <a:cxn ang="0">
                <a:pos x="connsiteX44671" y="connsiteY44671"/>
              </a:cxn>
              <a:cxn ang="0">
                <a:pos x="connsiteX44672" y="connsiteY44672"/>
              </a:cxn>
              <a:cxn ang="0">
                <a:pos x="connsiteX44673" y="connsiteY44673"/>
              </a:cxn>
              <a:cxn ang="0">
                <a:pos x="connsiteX44674" y="connsiteY44674"/>
              </a:cxn>
              <a:cxn ang="0">
                <a:pos x="connsiteX44675" y="connsiteY44675"/>
              </a:cxn>
              <a:cxn ang="0">
                <a:pos x="connsiteX44676" y="connsiteY44676"/>
              </a:cxn>
              <a:cxn ang="0">
                <a:pos x="connsiteX44677" y="connsiteY44677"/>
              </a:cxn>
              <a:cxn ang="0">
                <a:pos x="connsiteX44678" y="connsiteY44678"/>
              </a:cxn>
              <a:cxn ang="0">
                <a:pos x="connsiteX44679" y="connsiteY44679"/>
              </a:cxn>
              <a:cxn ang="0">
                <a:pos x="connsiteX44680" y="connsiteY44680"/>
              </a:cxn>
              <a:cxn ang="0">
                <a:pos x="connsiteX44681" y="connsiteY44681"/>
              </a:cxn>
              <a:cxn ang="0">
                <a:pos x="connsiteX44682" y="connsiteY44682"/>
              </a:cxn>
              <a:cxn ang="0">
                <a:pos x="connsiteX44683" y="connsiteY44683"/>
              </a:cxn>
              <a:cxn ang="0">
                <a:pos x="connsiteX44684" y="connsiteY44684"/>
              </a:cxn>
              <a:cxn ang="0">
                <a:pos x="connsiteX44685" y="connsiteY44685"/>
              </a:cxn>
              <a:cxn ang="0">
                <a:pos x="connsiteX44686" y="connsiteY44686"/>
              </a:cxn>
              <a:cxn ang="0">
                <a:pos x="connsiteX44687" y="connsiteY44687"/>
              </a:cxn>
              <a:cxn ang="0">
                <a:pos x="connsiteX44688" y="connsiteY44688"/>
              </a:cxn>
              <a:cxn ang="0">
                <a:pos x="connsiteX44689" y="connsiteY44689"/>
              </a:cxn>
              <a:cxn ang="0">
                <a:pos x="connsiteX44690" y="connsiteY44690"/>
              </a:cxn>
              <a:cxn ang="0">
                <a:pos x="connsiteX44691" y="connsiteY44691"/>
              </a:cxn>
              <a:cxn ang="0">
                <a:pos x="connsiteX44692" y="connsiteY44692"/>
              </a:cxn>
              <a:cxn ang="0">
                <a:pos x="connsiteX44693" y="connsiteY44693"/>
              </a:cxn>
              <a:cxn ang="0">
                <a:pos x="connsiteX44694" y="connsiteY44694"/>
              </a:cxn>
              <a:cxn ang="0">
                <a:pos x="connsiteX44695" y="connsiteY44695"/>
              </a:cxn>
              <a:cxn ang="0">
                <a:pos x="connsiteX44696" y="connsiteY44696"/>
              </a:cxn>
              <a:cxn ang="0">
                <a:pos x="connsiteX44697" y="connsiteY44697"/>
              </a:cxn>
              <a:cxn ang="0">
                <a:pos x="connsiteX44698" y="connsiteY44698"/>
              </a:cxn>
              <a:cxn ang="0">
                <a:pos x="connsiteX44699" y="connsiteY44699"/>
              </a:cxn>
              <a:cxn ang="0">
                <a:pos x="connsiteX44700" y="connsiteY44700"/>
              </a:cxn>
              <a:cxn ang="0">
                <a:pos x="connsiteX44701" y="connsiteY44701"/>
              </a:cxn>
              <a:cxn ang="0">
                <a:pos x="connsiteX44702" y="connsiteY44702"/>
              </a:cxn>
              <a:cxn ang="0">
                <a:pos x="connsiteX44703" y="connsiteY44703"/>
              </a:cxn>
              <a:cxn ang="0">
                <a:pos x="connsiteX44704" y="connsiteY44704"/>
              </a:cxn>
              <a:cxn ang="0">
                <a:pos x="connsiteX44705" y="connsiteY44705"/>
              </a:cxn>
              <a:cxn ang="0">
                <a:pos x="connsiteX44706" y="connsiteY44706"/>
              </a:cxn>
              <a:cxn ang="0">
                <a:pos x="connsiteX44707" y="connsiteY44707"/>
              </a:cxn>
              <a:cxn ang="0">
                <a:pos x="connsiteX44708" y="connsiteY44708"/>
              </a:cxn>
              <a:cxn ang="0">
                <a:pos x="connsiteX44709" y="connsiteY44709"/>
              </a:cxn>
              <a:cxn ang="0">
                <a:pos x="connsiteX44710" y="connsiteY44710"/>
              </a:cxn>
              <a:cxn ang="0">
                <a:pos x="connsiteX44711" y="connsiteY44711"/>
              </a:cxn>
              <a:cxn ang="0">
                <a:pos x="connsiteX44712" y="connsiteY44712"/>
              </a:cxn>
              <a:cxn ang="0">
                <a:pos x="connsiteX44713" y="connsiteY44713"/>
              </a:cxn>
              <a:cxn ang="0">
                <a:pos x="connsiteX44714" y="connsiteY44714"/>
              </a:cxn>
              <a:cxn ang="0">
                <a:pos x="connsiteX44715" y="connsiteY44715"/>
              </a:cxn>
              <a:cxn ang="0">
                <a:pos x="connsiteX44716" y="connsiteY44716"/>
              </a:cxn>
              <a:cxn ang="0">
                <a:pos x="connsiteX44717" y="connsiteY44717"/>
              </a:cxn>
              <a:cxn ang="0">
                <a:pos x="connsiteX44718" y="connsiteY44718"/>
              </a:cxn>
              <a:cxn ang="0">
                <a:pos x="connsiteX44719" y="connsiteY44719"/>
              </a:cxn>
              <a:cxn ang="0">
                <a:pos x="connsiteX44720" y="connsiteY44720"/>
              </a:cxn>
              <a:cxn ang="0">
                <a:pos x="connsiteX44721" y="connsiteY44721"/>
              </a:cxn>
              <a:cxn ang="0">
                <a:pos x="connsiteX44722" y="connsiteY44722"/>
              </a:cxn>
              <a:cxn ang="0">
                <a:pos x="connsiteX44723" y="connsiteY44723"/>
              </a:cxn>
              <a:cxn ang="0">
                <a:pos x="connsiteX44724" y="connsiteY44724"/>
              </a:cxn>
              <a:cxn ang="0">
                <a:pos x="connsiteX44725" y="connsiteY44725"/>
              </a:cxn>
              <a:cxn ang="0">
                <a:pos x="connsiteX44726" y="connsiteY44726"/>
              </a:cxn>
              <a:cxn ang="0">
                <a:pos x="connsiteX44727" y="connsiteY44727"/>
              </a:cxn>
              <a:cxn ang="0">
                <a:pos x="connsiteX44728" y="connsiteY44728"/>
              </a:cxn>
              <a:cxn ang="0">
                <a:pos x="connsiteX44729" y="connsiteY44729"/>
              </a:cxn>
              <a:cxn ang="0">
                <a:pos x="connsiteX44730" y="connsiteY44730"/>
              </a:cxn>
              <a:cxn ang="0">
                <a:pos x="connsiteX44731" y="connsiteY44731"/>
              </a:cxn>
              <a:cxn ang="0">
                <a:pos x="connsiteX44732" y="connsiteY44732"/>
              </a:cxn>
              <a:cxn ang="0">
                <a:pos x="connsiteX44733" y="connsiteY44733"/>
              </a:cxn>
              <a:cxn ang="0">
                <a:pos x="connsiteX44734" y="connsiteY44734"/>
              </a:cxn>
              <a:cxn ang="0">
                <a:pos x="connsiteX44735" y="connsiteY44735"/>
              </a:cxn>
              <a:cxn ang="0">
                <a:pos x="connsiteX44736" y="connsiteY44736"/>
              </a:cxn>
              <a:cxn ang="0">
                <a:pos x="connsiteX44737" y="connsiteY44737"/>
              </a:cxn>
              <a:cxn ang="0">
                <a:pos x="connsiteX44738" y="connsiteY44738"/>
              </a:cxn>
              <a:cxn ang="0">
                <a:pos x="connsiteX44739" y="connsiteY44739"/>
              </a:cxn>
              <a:cxn ang="0">
                <a:pos x="connsiteX44740" y="connsiteY44740"/>
              </a:cxn>
              <a:cxn ang="0">
                <a:pos x="connsiteX44741" y="connsiteY44741"/>
              </a:cxn>
              <a:cxn ang="0">
                <a:pos x="connsiteX44742" y="connsiteY44742"/>
              </a:cxn>
              <a:cxn ang="0">
                <a:pos x="connsiteX44743" y="connsiteY44743"/>
              </a:cxn>
              <a:cxn ang="0">
                <a:pos x="connsiteX44744" y="connsiteY44744"/>
              </a:cxn>
              <a:cxn ang="0">
                <a:pos x="connsiteX44745" y="connsiteY44745"/>
              </a:cxn>
              <a:cxn ang="0">
                <a:pos x="connsiteX44746" y="connsiteY44746"/>
              </a:cxn>
              <a:cxn ang="0">
                <a:pos x="connsiteX44747" y="connsiteY44747"/>
              </a:cxn>
              <a:cxn ang="0">
                <a:pos x="connsiteX44748" y="connsiteY44748"/>
              </a:cxn>
              <a:cxn ang="0">
                <a:pos x="connsiteX44749" y="connsiteY44749"/>
              </a:cxn>
              <a:cxn ang="0">
                <a:pos x="connsiteX44750" y="connsiteY44750"/>
              </a:cxn>
              <a:cxn ang="0">
                <a:pos x="connsiteX44751" y="connsiteY44751"/>
              </a:cxn>
              <a:cxn ang="0">
                <a:pos x="connsiteX44752" y="connsiteY44752"/>
              </a:cxn>
              <a:cxn ang="0">
                <a:pos x="connsiteX44753" y="connsiteY44753"/>
              </a:cxn>
              <a:cxn ang="0">
                <a:pos x="connsiteX44754" y="connsiteY44754"/>
              </a:cxn>
              <a:cxn ang="0">
                <a:pos x="connsiteX44755" y="connsiteY44755"/>
              </a:cxn>
              <a:cxn ang="0">
                <a:pos x="connsiteX44756" y="connsiteY44756"/>
              </a:cxn>
              <a:cxn ang="0">
                <a:pos x="connsiteX44757" y="connsiteY44757"/>
              </a:cxn>
              <a:cxn ang="0">
                <a:pos x="connsiteX44758" y="connsiteY44758"/>
              </a:cxn>
              <a:cxn ang="0">
                <a:pos x="connsiteX44759" y="connsiteY44759"/>
              </a:cxn>
              <a:cxn ang="0">
                <a:pos x="connsiteX44760" y="connsiteY44760"/>
              </a:cxn>
              <a:cxn ang="0">
                <a:pos x="connsiteX44761" y="connsiteY44761"/>
              </a:cxn>
              <a:cxn ang="0">
                <a:pos x="connsiteX44762" y="connsiteY44762"/>
              </a:cxn>
              <a:cxn ang="0">
                <a:pos x="connsiteX44763" y="connsiteY44763"/>
              </a:cxn>
              <a:cxn ang="0">
                <a:pos x="connsiteX44764" y="connsiteY44764"/>
              </a:cxn>
              <a:cxn ang="0">
                <a:pos x="connsiteX44765" y="connsiteY44765"/>
              </a:cxn>
              <a:cxn ang="0">
                <a:pos x="connsiteX44766" y="connsiteY44766"/>
              </a:cxn>
              <a:cxn ang="0">
                <a:pos x="connsiteX44767" y="connsiteY44767"/>
              </a:cxn>
              <a:cxn ang="0">
                <a:pos x="connsiteX44768" y="connsiteY44768"/>
              </a:cxn>
              <a:cxn ang="0">
                <a:pos x="connsiteX44769" y="connsiteY44769"/>
              </a:cxn>
              <a:cxn ang="0">
                <a:pos x="connsiteX44770" y="connsiteY44770"/>
              </a:cxn>
              <a:cxn ang="0">
                <a:pos x="connsiteX44771" y="connsiteY44771"/>
              </a:cxn>
              <a:cxn ang="0">
                <a:pos x="connsiteX44772" y="connsiteY44772"/>
              </a:cxn>
              <a:cxn ang="0">
                <a:pos x="connsiteX44773" y="connsiteY44773"/>
              </a:cxn>
              <a:cxn ang="0">
                <a:pos x="connsiteX44774" y="connsiteY44774"/>
              </a:cxn>
              <a:cxn ang="0">
                <a:pos x="connsiteX44775" y="connsiteY44775"/>
              </a:cxn>
              <a:cxn ang="0">
                <a:pos x="connsiteX44776" y="connsiteY44776"/>
              </a:cxn>
              <a:cxn ang="0">
                <a:pos x="connsiteX44777" y="connsiteY44777"/>
              </a:cxn>
              <a:cxn ang="0">
                <a:pos x="connsiteX44778" y="connsiteY44778"/>
              </a:cxn>
              <a:cxn ang="0">
                <a:pos x="connsiteX44779" y="connsiteY44779"/>
              </a:cxn>
              <a:cxn ang="0">
                <a:pos x="connsiteX44780" y="connsiteY44780"/>
              </a:cxn>
              <a:cxn ang="0">
                <a:pos x="connsiteX44781" y="connsiteY44781"/>
              </a:cxn>
              <a:cxn ang="0">
                <a:pos x="connsiteX44782" y="connsiteY44782"/>
              </a:cxn>
              <a:cxn ang="0">
                <a:pos x="connsiteX44783" y="connsiteY44783"/>
              </a:cxn>
              <a:cxn ang="0">
                <a:pos x="connsiteX44784" y="connsiteY44784"/>
              </a:cxn>
              <a:cxn ang="0">
                <a:pos x="connsiteX44785" y="connsiteY44785"/>
              </a:cxn>
              <a:cxn ang="0">
                <a:pos x="connsiteX44786" y="connsiteY44786"/>
              </a:cxn>
              <a:cxn ang="0">
                <a:pos x="connsiteX44787" y="connsiteY44787"/>
              </a:cxn>
              <a:cxn ang="0">
                <a:pos x="connsiteX44788" y="connsiteY44788"/>
              </a:cxn>
              <a:cxn ang="0">
                <a:pos x="connsiteX44789" y="connsiteY44789"/>
              </a:cxn>
              <a:cxn ang="0">
                <a:pos x="connsiteX44790" y="connsiteY44790"/>
              </a:cxn>
              <a:cxn ang="0">
                <a:pos x="connsiteX44791" y="connsiteY44791"/>
              </a:cxn>
              <a:cxn ang="0">
                <a:pos x="connsiteX44792" y="connsiteY44792"/>
              </a:cxn>
              <a:cxn ang="0">
                <a:pos x="connsiteX44793" y="connsiteY44793"/>
              </a:cxn>
              <a:cxn ang="0">
                <a:pos x="connsiteX44794" y="connsiteY44794"/>
              </a:cxn>
              <a:cxn ang="0">
                <a:pos x="connsiteX44795" y="connsiteY44795"/>
              </a:cxn>
              <a:cxn ang="0">
                <a:pos x="connsiteX44796" y="connsiteY44796"/>
              </a:cxn>
              <a:cxn ang="0">
                <a:pos x="connsiteX44797" y="connsiteY44797"/>
              </a:cxn>
              <a:cxn ang="0">
                <a:pos x="connsiteX44798" y="connsiteY44798"/>
              </a:cxn>
              <a:cxn ang="0">
                <a:pos x="connsiteX44799" y="connsiteY44799"/>
              </a:cxn>
              <a:cxn ang="0">
                <a:pos x="connsiteX44800" y="connsiteY44800"/>
              </a:cxn>
              <a:cxn ang="0">
                <a:pos x="connsiteX44801" y="connsiteY44801"/>
              </a:cxn>
              <a:cxn ang="0">
                <a:pos x="connsiteX44802" y="connsiteY44802"/>
              </a:cxn>
              <a:cxn ang="0">
                <a:pos x="connsiteX44803" y="connsiteY44803"/>
              </a:cxn>
              <a:cxn ang="0">
                <a:pos x="connsiteX44804" y="connsiteY44804"/>
              </a:cxn>
              <a:cxn ang="0">
                <a:pos x="connsiteX44805" y="connsiteY44805"/>
              </a:cxn>
              <a:cxn ang="0">
                <a:pos x="connsiteX44806" y="connsiteY44806"/>
              </a:cxn>
              <a:cxn ang="0">
                <a:pos x="connsiteX44807" y="connsiteY44807"/>
              </a:cxn>
              <a:cxn ang="0">
                <a:pos x="connsiteX44808" y="connsiteY44808"/>
              </a:cxn>
              <a:cxn ang="0">
                <a:pos x="connsiteX44809" y="connsiteY44809"/>
              </a:cxn>
              <a:cxn ang="0">
                <a:pos x="connsiteX44810" y="connsiteY44810"/>
              </a:cxn>
              <a:cxn ang="0">
                <a:pos x="connsiteX44811" y="connsiteY44811"/>
              </a:cxn>
              <a:cxn ang="0">
                <a:pos x="connsiteX44812" y="connsiteY44812"/>
              </a:cxn>
              <a:cxn ang="0">
                <a:pos x="connsiteX44813" y="connsiteY44813"/>
              </a:cxn>
              <a:cxn ang="0">
                <a:pos x="connsiteX44814" y="connsiteY44814"/>
              </a:cxn>
              <a:cxn ang="0">
                <a:pos x="connsiteX44815" y="connsiteY44815"/>
              </a:cxn>
              <a:cxn ang="0">
                <a:pos x="connsiteX44816" y="connsiteY44816"/>
              </a:cxn>
              <a:cxn ang="0">
                <a:pos x="connsiteX44817" y="connsiteY44817"/>
              </a:cxn>
              <a:cxn ang="0">
                <a:pos x="connsiteX44818" y="connsiteY44818"/>
              </a:cxn>
              <a:cxn ang="0">
                <a:pos x="connsiteX44819" y="connsiteY44819"/>
              </a:cxn>
              <a:cxn ang="0">
                <a:pos x="connsiteX44820" y="connsiteY44820"/>
              </a:cxn>
              <a:cxn ang="0">
                <a:pos x="connsiteX44821" y="connsiteY44821"/>
              </a:cxn>
              <a:cxn ang="0">
                <a:pos x="connsiteX44822" y="connsiteY44822"/>
              </a:cxn>
              <a:cxn ang="0">
                <a:pos x="connsiteX44823" y="connsiteY44823"/>
              </a:cxn>
              <a:cxn ang="0">
                <a:pos x="connsiteX44824" y="connsiteY44824"/>
              </a:cxn>
              <a:cxn ang="0">
                <a:pos x="connsiteX44825" y="connsiteY44825"/>
              </a:cxn>
              <a:cxn ang="0">
                <a:pos x="connsiteX44826" y="connsiteY44826"/>
              </a:cxn>
              <a:cxn ang="0">
                <a:pos x="connsiteX44827" y="connsiteY44827"/>
              </a:cxn>
              <a:cxn ang="0">
                <a:pos x="connsiteX44828" y="connsiteY44828"/>
              </a:cxn>
              <a:cxn ang="0">
                <a:pos x="connsiteX44829" y="connsiteY44829"/>
              </a:cxn>
              <a:cxn ang="0">
                <a:pos x="connsiteX44830" y="connsiteY44830"/>
              </a:cxn>
              <a:cxn ang="0">
                <a:pos x="connsiteX44831" y="connsiteY44831"/>
              </a:cxn>
              <a:cxn ang="0">
                <a:pos x="connsiteX44832" y="connsiteY44832"/>
              </a:cxn>
              <a:cxn ang="0">
                <a:pos x="connsiteX44833" y="connsiteY44833"/>
              </a:cxn>
              <a:cxn ang="0">
                <a:pos x="connsiteX44834" y="connsiteY44834"/>
              </a:cxn>
              <a:cxn ang="0">
                <a:pos x="connsiteX44835" y="connsiteY44835"/>
              </a:cxn>
              <a:cxn ang="0">
                <a:pos x="connsiteX44836" y="connsiteY44836"/>
              </a:cxn>
              <a:cxn ang="0">
                <a:pos x="connsiteX44837" y="connsiteY44837"/>
              </a:cxn>
              <a:cxn ang="0">
                <a:pos x="connsiteX44838" y="connsiteY44838"/>
              </a:cxn>
              <a:cxn ang="0">
                <a:pos x="connsiteX44839" y="connsiteY44839"/>
              </a:cxn>
              <a:cxn ang="0">
                <a:pos x="connsiteX44840" y="connsiteY44840"/>
              </a:cxn>
              <a:cxn ang="0">
                <a:pos x="connsiteX44841" y="connsiteY44841"/>
              </a:cxn>
              <a:cxn ang="0">
                <a:pos x="connsiteX44842" y="connsiteY44842"/>
              </a:cxn>
              <a:cxn ang="0">
                <a:pos x="connsiteX44843" y="connsiteY44843"/>
              </a:cxn>
              <a:cxn ang="0">
                <a:pos x="connsiteX44844" y="connsiteY44844"/>
              </a:cxn>
              <a:cxn ang="0">
                <a:pos x="connsiteX44845" y="connsiteY44845"/>
              </a:cxn>
              <a:cxn ang="0">
                <a:pos x="connsiteX44846" y="connsiteY44846"/>
              </a:cxn>
              <a:cxn ang="0">
                <a:pos x="connsiteX44847" y="connsiteY44847"/>
              </a:cxn>
              <a:cxn ang="0">
                <a:pos x="connsiteX44848" y="connsiteY44848"/>
              </a:cxn>
              <a:cxn ang="0">
                <a:pos x="connsiteX44849" y="connsiteY44849"/>
              </a:cxn>
              <a:cxn ang="0">
                <a:pos x="connsiteX44850" y="connsiteY44850"/>
              </a:cxn>
              <a:cxn ang="0">
                <a:pos x="connsiteX44851" y="connsiteY44851"/>
              </a:cxn>
              <a:cxn ang="0">
                <a:pos x="connsiteX44852" y="connsiteY44852"/>
              </a:cxn>
              <a:cxn ang="0">
                <a:pos x="connsiteX44853" y="connsiteY44853"/>
              </a:cxn>
              <a:cxn ang="0">
                <a:pos x="connsiteX44854" y="connsiteY44854"/>
              </a:cxn>
              <a:cxn ang="0">
                <a:pos x="connsiteX44855" y="connsiteY44855"/>
              </a:cxn>
              <a:cxn ang="0">
                <a:pos x="connsiteX44856" y="connsiteY44856"/>
              </a:cxn>
              <a:cxn ang="0">
                <a:pos x="connsiteX44857" y="connsiteY44857"/>
              </a:cxn>
              <a:cxn ang="0">
                <a:pos x="connsiteX44858" y="connsiteY44858"/>
              </a:cxn>
              <a:cxn ang="0">
                <a:pos x="connsiteX44859" y="connsiteY44859"/>
              </a:cxn>
              <a:cxn ang="0">
                <a:pos x="connsiteX44860" y="connsiteY44860"/>
              </a:cxn>
              <a:cxn ang="0">
                <a:pos x="connsiteX44861" y="connsiteY44861"/>
              </a:cxn>
              <a:cxn ang="0">
                <a:pos x="connsiteX44862" y="connsiteY44862"/>
              </a:cxn>
              <a:cxn ang="0">
                <a:pos x="connsiteX44863" y="connsiteY44863"/>
              </a:cxn>
              <a:cxn ang="0">
                <a:pos x="connsiteX44864" y="connsiteY44864"/>
              </a:cxn>
              <a:cxn ang="0">
                <a:pos x="connsiteX44865" y="connsiteY44865"/>
              </a:cxn>
              <a:cxn ang="0">
                <a:pos x="connsiteX44866" y="connsiteY44866"/>
              </a:cxn>
              <a:cxn ang="0">
                <a:pos x="connsiteX44867" y="connsiteY44867"/>
              </a:cxn>
              <a:cxn ang="0">
                <a:pos x="connsiteX44868" y="connsiteY44868"/>
              </a:cxn>
              <a:cxn ang="0">
                <a:pos x="connsiteX44869" y="connsiteY44869"/>
              </a:cxn>
              <a:cxn ang="0">
                <a:pos x="connsiteX44870" y="connsiteY44870"/>
              </a:cxn>
              <a:cxn ang="0">
                <a:pos x="connsiteX44871" y="connsiteY44871"/>
              </a:cxn>
              <a:cxn ang="0">
                <a:pos x="connsiteX44872" y="connsiteY44872"/>
              </a:cxn>
              <a:cxn ang="0">
                <a:pos x="connsiteX44873" y="connsiteY44873"/>
              </a:cxn>
              <a:cxn ang="0">
                <a:pos x="connsiteX44874" y="connsiteY44874"/>
              </a:cxn>
              <a:cxn ang="0">
                <a:pos x="connsiteX44875" y="connsiteY44875"/>
              </a:cxn>
              <a:cxn ang="0">
                <a:pos x="connsiteX44876" y="connsiteY44876"/>
              </a:cxn>
              <a:cxn ang="0">
                <a:pos x="connsiteX44877" y="connsiteY44877"/>
              </a:cxn>
              <a:cxn ang="0">
                <a:pos x="connsiteX44878" y="connsiteY44878"/>
              </a:cxn>
              <a:cxn ang="0">
                <a:pos x="connsiteX44879" y="connsiteY44879"/>
              </a:cxn>
              <a:cxn ang="0">
                <a:pos x="connsiteX44880" y="connsiteY44880"/>
              </a:cxn>
              <a:cxn ang="0">
                <a:pos x="connsiteX44881" y="connsiteY44881"/>
              </a:cxn>
              <a:cxn ang="0">
                <a:pos x="connsiteX44882" y="connsiteY44882"/>
              </a:cxn>
              <a:cxn ang="0">
                <a:pos x="connsiteX44883" y="connsiteY44883"/>
              </a:cxn>
              <a:cxn ang="0">
                <a:pos x="connsiteX44884" y="connsiteY44884"/>
              </a:cxn>
              <a:cxn ang="0">
                <a:pos x="connsiteX44885" y="connsiteY44885"/>
              </a:cxn>
              <a:cxn ang="0">
                <a:pos x="connsiteX44886" y="connsiteY44886"/>
              </a:cxn>
              <a:cxn ang="0">
                <a:pos x="connsiteX44887" y="connsiteY44887"/>
              </a:cxn>
              <a:cxn ang="0">
                <a:pos x="connsiteX44888" y="connsiteY44888"/>
              </a:cxn>
              <a:cxn ang="0">
                <a:pos x="connsiteX44889" y="connsiteY44889"/>
              </a:cxn>
              <a:cxn ang="0">
                <a:pos x="connsiteX44890" y="connsiteY44890"/>
              </a:cxn>
              <a:cxn ang="0">
                <a:pos x="connsiteX44891" y="connsiteY44891"/>
              </a:cxn>
              <a:cxn ang="0">
                <a:pos x="connsiteX44892" y="connsiteY44892"/>
              </a:cxn>
              <a:cxn ang="0">
                <a:pos x="connsiteX44893" y="connsiteY44893"/>
              </a:cxn>
              <a:cxn ang="0">
                <a:pos x="connsiteX44894" y="connsiteY44894"/>
              </a:cxn>
              <a:cxn ang="0">
                <a:pos x="connsiteX44895" y="connsiteY44895"/>
              </a:cxn>
              <a:cxn ang="0">
                <a:pos x="connsiteX44896" y="connsiteY44896"/>
              </a:cxn>
              <a:cxn ang="0">
                <a:pos x="connsiteX44897" y="connsiteY44897"/>
              </a:cxn>
              <a:cxn ang="0">
                <a:pos x="connsiteX44898" y="connsiteY44898"/>
              </a:cxn>
              <a:cxn ang="0">
                <a:pos x="connsiteX44899" y="connsiteY44899"/>
              </a:cxn>
              <a:cxn ang="0">
                <a:pos x="connsiteX44900" y="connsiteY44900"/>
              </a:cxn>
              <a:cxn ang="0">
                <a:pos x="connsiteX44901" y="connsiteY44901"/>
              </a:cxn>
              <a:cxn ang="0">
                <a:pos x="connsiteX44902" y="connsiteY44902"/>
              </a:cxn>
              <a:cxn ang="0">
                <a:pos x="connsiteX44903" y="connsiteY44903"/>
              </a:cxn>
              <a:cxn ang="0">
                <a:pos x="connsiteX44904" y="connsiteY44904"/>
              </a:cxn>
              <a:cxn ang="0">
                <a:pos x="connsiteX44905" y="connsiteY44905"/>
              </a:cxn>
              <a:cxn ang="0">
                <a:pos x="connsiteX44906" y="connsiteY44906"/>
              </a:cxn>
              <a:cxn ang="0">
                <a:pos x="connsiteX44907" y="connsiteY44907"/>
              </a:cxn>
              <a:cxn ang="0">
                <a:pos x="connsiteX44908" y="connsiteY44908"/>
              </a:cxn>
              <a:cxn ang="0">
                <a:pos x="connsiteX44909" y="connsiteY44909"/>
              </a:cxn>
              <a:cxn ang="0">
                <a:pos x="connsiteX44910" y="connsiteY44910"/>
              </a:cxn>
              <a:cxn ang="0">
                <a:pos x="connsiteX44911" y="connsiteY44911"/>
              </a:cxn>
              <a:cxn ang="0">
                <a:pos x="connsiteX44912" y="connsiteY44912"/>
              </a:cxn>
              <a:cxn ang="0">
                <a:pos x="connsiteX44913" y="connsiteY44913"/>
              </a:cxn>
              <a:cxn ang="0">
                <a:pos x="connsiteX44914" y="connsiteY44914"/>
              </a:cxn>
              <a:cxn ang="0">
                <a:pos x="connsiteX44915" y="connsiteY44915"/>
              </a:cxn>
              <a:cxn ang="0">
                <a:pos x="connsiteX44916" y="connsiteY44916"/>
              </a:cxn>
              <a:cxn ang="0">
                <a:pos x="connsiteX44917" y="connsiteY44917"/>
              </a:cxn>
              <a:cxn ang="0">
                <a:pos x="connsiteX44918" y="connsiteY44918"/>
              </a:cxn>
              <a:cxn ang="0">
                <a:pos x="connsiteX44919" y="connsiteY44919"/>
              </a:cxn>
              <a:cxn ang="0">
                <a:pos x="connsiteX44920" y="connsiteY44920"/>
              </a:cxn>
              <a:cxn ang="0">
                <a:pos x="connsiteX44921" y="connsiteY44921"/>
              </a:cxn>
              <a:cxn ang="0">
                <a:pos x="connsiteX44922" y="connsiteY44922"/>
              </a:cxn>
              <a:cxn ang="0">
                <a:pos x="connsiteX44923" y="connsiteY44923"/>
              </a:cxn>
              <a:cxn ang="0">
                <a:pos x="connsiteX44924" y="connsiteY44924"/>
              </a:cxn>
              <a:cxn ang="0">
                <a:pos x="connsiteX44925" y="connsiteY44925"/>
              </a:cxn>
              <a:cxn ang="0">
                <a:pos x="connsiteX44926" y="connsiteY44926"/>
              </a:cxn>
              <a:cxn ang="0">
                <a:pos x="connsiteX44927" y="connsiteY44927"/>
              </a:cxn>
              <a:cxn ang="0">
                <a:pos x="connsiteX44928" y="connsiteY44928"/>
              </a:cxn>
              <a:cxn ang="0">
                <a:pos x="connsiteX44929" y="connsiteY44929"/>
              </a:cxn>
              <a:cxn ang="0">
                <a:pos x="connsiteX44930" y="connsiteY44930"/>
              </a:cxn>
              <a:cxn ang="0">
                <a:pos x="connsiteX44931" y="connsiteY44931"/>
              </a:cxn>
              <a:cxn ang="0">
                <a:pos x="connsiteX44932" y="connsiteY44932"/>
              </a:cxn>
              <a:cxn ang="0">
                <a:pos x="connsiteX44933" y="connsiteY44933"/>
              </a:cxn>
              <a:cxn ang="0">
                <a:pos x="connsiteX44934" y="connsiteY44934"/>
              </a:cxn>
              <a:cxn ang="0">
                <a:pos x="connsiteX44935" y="connsiteY44935"/>
              </a:cxn>
              <a:cxn ang="0">
                <a:pos x="connsiteX44936" y="connsiteY44936"/>
              </a:cxn>
              <a:cxn ang="0">
                <a:pos x="connsiteX44937" y="connsiteY44937"/>
              </a:cxn>
              <a:cxn ang="0">
                <a:pos x="connsiteX44938" y="connsiteY44938"/>
              </a:cxn>
              <a:cxn ang="0">
                <a:pos x="connsiteX44939" y="connsiteY44939"/>
              </a:cxn>
              <a:cxn ang="0">
                <a:pos x="connsiteX44940" y="connsiteY44940"/>
              </a:cxn>
              <a:cxn ang="0">
                <a:pos x="connsiteX44941" y="connsiteY44941"/>
              </a:cxn>
              <a:cxn ang="0">
                <a:pos x="connsiteX44942" y="connsiteY44942"/>
              </a:cxn>
              <a:cxn ang="0">
                <a:pos x="connsiteX44943" y="connsiteY44943"/>
              </a:cxn>
              <a:cxn ang="0">
                <a:pos x="connsiteX44944" y="connsiteY44944"/>
              </a:cxn>
              <a:cxn ang="0">
                <a:pos x="connsiteX44945" y="connsiteY44945"/>
              </a:cxn>
              <a:cxn ang="0">
                <a:pos x="connsiteX44946" y="connsiteY44946"/>
              </a:cxn>
              <a:cxn ang="0">
                <a:pos x="connsiteX44947" y="connsiteY44947"/>
              </a:cxn>
              <a:cxn ang="0">
                <a:pos x="connsiteX44948" y="connsiteY44948"/>
              </a:cxn>
              <a:cxn ang="0">
                <a:pos x="connsiteX44949" y="connsiteY44949"/>
              </a:cxn>
              <a:cxn ang="0">
                <a:pos x="connsiteX44950" y="connsiteY44950"/>
              </a:cxn>
              <a:cxn ang="0">
                <a:pos x="connsiteX44951" y="connsiteY44951"/>
              </a:cxn>
              <a:cxn ang="0">
                <a:pos x="connsiteX44952" y="connsiteY44952"/>
              </a:cxn>
              <a:cxn ang="0">
                <a:pos x="connsiteX44953" y="connsiteY44953"/>
              </a:cxn>
              <a:cxn ang="0">
                <a:pos x="connsiteX44954" y="connsiteY44954"/>
              </a:cxn>
              <a:cxn ang="0">
                <a:pos x="connsiteX44955" y="connsiteY44955"/>
              </a:cxn>
              <a:cxn ang="0">
                <a:pos x="connsiteX44956" y="connsiteY44956"/>
              </a:cxn>
              <a:cxn ang="0">
                <a:pos x="connsiteX44957" y="connsiteY44957"/>
              </a:cxn>
              <a:cxn ang="0">
                <a:pos x="connsiteX44958" y="connsiteY44958"/>
              </a:cxn>
              <a:cxn ang="0">
                <a:pos x="connsiteX44959" y="connsiteY44959"/>
              </a:cxn>
              <a:cxn ang="0">
                <a:pos x="connsiteX44960" y="connsiteY44960"/>
              </a:cxn>
              <a:cxn ang="0">
                <a:pos x="connsiteX44961" y="connsiteY44961"/>
              </a:cxn>
              <a:cxn ang="0">
                <a:pos x="connsiteX44962" y="connsiteY44962"/>
              </a:cxn>
              <a:cxn ang="0">
                <a:pos x="connsiteX44963" y="connsiteY44963"/>
              </a:cxn>
              <a:cxn ang="0">
                <a:pos x="connsiteX44964" y="connsiteY44964"/>
              </a:cxn>
              <a:cxn ang="0">
                <a:pos x="connsiteX44965" y="connsiteY44965"/>
              </a:cxn>
              <a:cxn ang="0">
                <a:pos x="connsiteX44966" y="connsiteY44966"/>
              </a:cxn>
              <a:cxn ang="0">
                <a:pos x="connsiteX44967" y="connsiteY44967"/>
              </a:cxn>
              <a:cxn ang="0">
                <a:pos x="connsiteX44968" y="connsiteY44968"/>
              </a:cxn>
              <a:cxn ang="0">
                <a:pos x="connsiteX44969" y="connsiteY44969"/>
              </a:cxn>
              <a:cxn ang="0">
                <a:pos x="connsiteX44970" y="connsiteY44970"/>
              </a:cxn>
              <a:cxn ang="0">
                <a:pos x="connsiteX44971" y="connsiteY44971"/>
              </a:cxn>
              <a:cxn ang="0">
                <a:pos x="connsiteX44972" y="connsiteY44972"/>
              </a:cxn>
              <a:cxn ang="0">
                <a:pos x="connsiteX44973" y="connsiteY44973"/>
              </a:cxn>
              <a:cxn ang="0">
                <a:pos x="connsiteX44974" y="connsiteY44974"/>
              </a:cxn>
              <a:cxn ang="0">
                <a:pos x="connsiteX44975" y="connsiteY44975"/>
              </a:cxn>
              <a:cxn ang="0">
                <a:pos x="connsiteX44976" y="connsiteY44976"/>
              </a:cxn>
              <a:cxn ang="0">
                <a:pos x="connsiteX44977" y="connsiteY44977"/>
              </a:cxn>
              <a:cxn ang="0">
                <a:pos x="connsiteX44978" y="connsiteY44978"/>
              </a:cxn>
              <a:cxn ang="0">
                <a:pos x="connsiteX44979" y="connsiteY44979"/>
              </a:cxn>
              <a:cxn ang="0">
                <a:pos x="connsiteX44980" y="connsiteY44980"/>
              </a:cxn>
              <a:cxn ang="0">
                <a:pos x="connsiteX44981" y="connsiteY44981"/>
              </a:cxn>
              <a:cxn ang="0">
                <a:pos x="connsiteX44982" y="connsiteY44982"/>
              </a:cxn>
              <a:cxn ang="0">
                <a:pos x="connsiteX44983" y="connsiteY44983"/>
              </a:cxn>
              <a:cxn ang="0">
                <a:pos x="connsiteX44984" y="connsiteY44984"/>
              </a:cxn>
              <a:cxn ang="0">
                <a:pos x="connsiteX44985" y="connsiteY44985"/>
              </a:cxn>
              <a:cxn ang="0">
                <a:pos x="connsiteX44986" y="connsiteY44986"/>
              </a:cxn>
              <a:cxn ang="0">
                <a:pos x="connsiteX44987" y="connsiteY44987"/>
              </a:cxn>
              <a:cxn ang="0">
                <a:pos x="connsiteX44988" y="connsiteY44988"/>
              </a:cxn>
              <a:cxn ang="0">
                <a:pos x="connsiteX44989" y="connsiteY44989"/>
              </a:cxn>
              <a:cxn ang="0">
                <a:pos x="connsiteX44990" y="connsiteY44990"/>
              </a:cxn>
              <a:cxn ang="0">
                <a:pos x="connsiteX44991" y="connsiteY44991"/>
              </a:cxn>
              <a:cxn ang="0">
                <a:pos x="connsiteX44992" y="connsiteY44992"/>
              </a:cxn>
              <a:cxn ang="0">
                <a:pos x="connsiteX44993" y="connsiteY44993"/>
              </a:cxn>
              <a:cxn ang="0">
                <a:pos x="connsiteX44994" y="connsiteY44994"/>
              </a:cxn>
              <a:cxn ang="0">
                <a:pos x="connsiteX44995" y="connsiteY44995"/>
              </a:cxn>
              <a:cxn ang="0">
                <a:pos x="connsiteX44996" y="connsiteY44996"/>
              </a:cxn>
              <a:cxn ang="0">
                <a:pos x="connsiteX44997" y="connsiteY44997"/>
              </a:cxn>
              <a:cxn ang="0">
                <a:pos x="connsiteX44998" y="connsiteY44998"/>
              </a:cxn>
              <a:cxn ang="0">
                <a:pos x="connsiteX44999" y="connsiteY44999"/>
              </a:cxn>
              <a:cxn ang="0">
                <a:pos x="connsiteX45000" y="connsiteY45000"/>
              </a:cxn>
              <a:cxn ang="0">
                <a:pos x="connsiteX45001" y="connsiteY45001"/>
              </a:cxn>
              <a:cxn ang="0">
                <a:pos x="connsiteX45002" y="connsiteY45002"/>
              </a:cxn>
              <a:cxn ang="0">
                <a:pos x="connsiteX45003" y="connsiteY45003"/>
              </a:cxn>
              <a:cxn ang="0">
                <a:pos x="connsiteX45004" y="connsiteY45004"/>
              </a:cxn>
              <a:cxn ang="0">
                <a:pos x="connsiteX45005" y="connsiteY45005"/>
              </a:cxn>
              <a:cxn ang="0">
                <a:pos x="connsiteX45006" y="connsiteY45006"/>
              </a:cxn>
              <a:cxn ang="0">
                <a:pos x="connsiteX45007" y="connsiteY45007"/>
              </a:cxn>
              <a:cxn ang="0">
                <a:pos x="connsiteX45008" y="connsiteY45008"/>
              </a:cxn>
              <a:cxn ang="0">
                <a:pos x="connsiteX45009" y="connsiteY45009"/>
              </a:cxn>
              <a:cxn ang="0">
                <a:pos x="connsiteX45010" y="connsiteY45010"/>
              </a:cxn>
              <a:cxn ang="0">
                <a:pos x="connsiteX45011" y="connsiteY45011"/>
              </a:cxn>
              <a:cxn ang="0">
                <a:pos x="connsiteX45012" y="connsiteY45012"/>
              </a:cxn>
              <a:cxn ang="0">
                <a:pos x="connsiteX45013" y="connsiteY45013"/>
              </a:cxn>
              <a:cxn ang="0">
                <a:pos x="connsiteX45014" y="connsiteY45014"/>
              </a:cxn>
              <a:cxn ang="0">
                <a:pos x="connsiteX45015" y="connsiteY45015"/>
              </a:cxn>
              <a:cxn ang="0">
                <a:pos x="connsiteX45016" y="connsiteY45016"/>
              </a:cxn>
              <a:cxn ang="0">
                <a:pos x="connsiteX45017" y="connsiteY45017"/>
              </a:cxn>
              <a:cxn ang="0">
                <a:pos x="connsiteX45018" y="connsiteY45018"/>
              </a:cxn>
              <a:cxn ang="0">
                <a:pos x="connsiteX45019" y="connsiteY45019"/>
              </a:cxn>
              <a:cxn ang="0">
                <a:pos x="connsiteX45020" y="connsiteY45020"/>
              </a:cxn>
              <a:cxn ang="0">
                <a:pos x="connsiteX45021" y="connsiteY45021"/>
              </a:cxn>
              <a:cxn ang="0">
                <a:pos x="connsiteX45022" y="connsiteY45022"/>
              </a:cxn>
              <a:cxn ang="0">
                <a:pos x="connsiteX45023" y="connsiteY45023"/>
              </a:cxn>
              <a:cxn ang="0">
                <a:pos x="connsiteX45024" y="connsiteY45024"/>
              </a:cxn>
              <a:cxn ang="0">
                <a:pos x="connsiteX45025" y="connsiteY45025"/>
              </a:cxn>
              <a:cxn ang="0">
                <a:pos x="connsiteX45026" y="connsiteY45026"/>
              </a:cxn>
              <a:cxn ang="0">
                <a:pos x="connsiteX45027" y="connsiteY45027"/>
              </a:cxn>
              <a:cxn ang="0">
                <a:pos x="connsiteX45028" y="connsiteY45028"/>
              </a:cxn>
              <a:cxn ang="0">
                <a:pos x="connsiteX45029" y="connsiteY45029"/>
              </a:cxn>
              <a:cxn ang="0">
                <a:pos x="connsiteX45030" y="connsiteY45030"/>
              </a:cxn>
              <a:cxn ang="0">
                <a:pos x="connsiteX45031" y="connsiteY45031"/>
              </a:cxn>
              <a:cxn ang="0">
                <a:pos x="connsiteX45032" y="connsiteY45032"/>
              </a:cxn>
              <a:cxn ang="0">
                <a:pos x="connsiteX45033" y="connsiteY45033"/>
              </a:cxn>
              <a:cxn ang="0">
                <a:pos x="connsiteX45034" y="connsiteY45034"/>
              </a:cxn>
              <a:cxn ang="0">
                <a:pos x="connsiteX45035" y="connsiteY45035"/>
              </a:cxn>
              <a:cxn ang="0">
                <a:pos x="connsiteX45036" y="connsiteY45036"/>
              </a:cxn>
              <a:cxn ang="0">
                <a:pos x="connsiteX45037" y="connsiteY45037"/>
              </a:cxn>
              <a:cxn ang="0">
                <a:pos x="connsiteX45038" y="connsiteY45038"/>
              </a:cxn>
              <a:cxn ang="0">
                <a:pos x="connsiteX45039" y="connsiteY45039"/>
              </a:cxn>
              <a:cxn ang="0">
                <a:pos x="connsiteX45040" y="connsiteY45040"/>
              </a:cxn>
              <a:cxn ang="0">
                <a:pos x="connsiteX45041" y="connsiteY45041"/>
              </a:cxn>
              <a:cxn ang="0">
                <a:pos x="connsiteX45042" y="connsiteY45042"/>
              </a:cxn>
              <a:cxn ang="0">
                <a:pos x="connsiteX45043" y="connsiteY45043"/>
              </a:cxn>
              <a:cxn ang="0">
                <a:pos x="connsiteX45044" y="connsiteY45044"/>
              </a:cxn>
              <a:cxn ang="0">
                <a:pos x="connsiteX45045" y="connsiteY45045"/>
              </a:cxn>
              <a:cxn ang="0">
                <a:pos x="connsiteX45046" y="connsiteY45046"/>
              </a:cxn>
              <a:cxn ang="0">
                <a:pos x="connsiteX45047" y="connsiteY45047"/>
              </a:cxn>
              <a:cxn ang="0">
                <a:pos x="connsiteX45048" y="connsiteY45048"/>
              </a:cxn>
              <a:cxn ang="0">
                <a:pos x="connsiteX45049" y="connsiteY45049"/>
              </a:cxn>
              <a:cxn ang="0">
                <a:pos x="connsiteX45050" y="connsiteY45050"/>
              </a:cxn>
              <a:cxn ang="0">
                <a:pos x="connsiteX45051" y="connsiteY45051"/>
              </a:cxn>
              <a:cxn ang="0">
                <a:pos x="connsiteX45052" y="connsiteY45052"/>
              </a:cxn>
              <a:cxn ang="0">
                <a:pos x="connsiteX45053" y="connsiteY45053"/>
              </a:cxn>
              <a:cxn ang="0">
                <a:pos x="connsiteX45054" y="connsiteY45054"/>
              </a:cxn>
              <a:cxn ang="0">
                <a:pos x="connsiteX45055" y="connsiteY45055"/>
              </a:cxn>
              <a:cxn ang="0">
                <a:pos x="connsiteX45056" y="connsiteY45056"/>
              </a:cxn>
              <a:cxn ang="0">
                <a:pos x="connsiteX45057" y="connsiteY45057"/>
              </a:cxn>
              <a:cxn ang="0">
                <a:pos x="connsiteX45058" y="connsiteY45058"/>
              </a:cxn>
              <a:cxn ang="0">
                <a:pos x="connsiteX45059" y="connsiteY45059"/>
              </a:cxn>
              <a:cxn ang="0">
                <a:pos x="connsiteX45060" y="connsiteY45060"/>
              </a:cxn>
              <a:cxn ang="0">
                <a:pos x="connsiteX45061" y="connsiteY45061"/>
              </a:cxn>
              <a:cxn ang="0">
                <a:pos x="connsiteX45062" y="connsiteY45062"/>
              </a:cxn>
              <a:cxn ang="0">
                <a:pos x="connsiteX45063" y="connsiteY45063"/>
              </a:cxn>
              <a:cxn ang="0">
                <a:pos x="connsiteX45064" y="connsiteY45064"/>
              </a:cxn>
              <a:cxn ang="0">
                <a:pos x="connsiteX45065" y="connsiteY45065"/>
              </a:cxn>
              <a:cxn ang="0">
                <a:pos x="connsiteX45066" y="connsiteY45066"/>
              </a:cxn>
              <a:cxn ang="0">
                <a:pos x="connsiteX45067" y="connsiteY45067"/>
              </a:cxn>
              <a:cxn ang="0">
                <a:pos x="connsiteX45068" y="connsiteY45068"/>
              </a:cxn>
              <a:cxn ang="0">
                <a:pos x="connsiteX45069" y="connsiteY45069"/>
              </a:cxn>
              <a:cxn ang="0">
                <a:pos x="connsiteX45070" y="connsiteY45070"/>
              </a:cxn>
              <a:cxn ang="0">
                <a:pos x="connsiteX45071" y="connsiteY45071"/>
              </a:cxn>
              <a:cxn ang="0">
                <a:pos x="connsiteX45072" y="connsiteY45072"/>
              </a:cxn>
              <a:cxn ang="0">
                <a:pos x="connsiteX45073" y="connsiteY45073"/>
              </a:cxn>
              <a:cxn ang="0">
                <a:pos x="connsiteX45074" y="connsiteY45074"/>
              </a:cxn>
              <a:cxn ang="0">
                <a:pos x="connsiteX45075" y="connsiteY45075"/>
              </a:cxn>
              <a:cxn ang="0">
                <a:pos x="connsiteX45076" y="connsiteY45076"/>
              </a:cxn>
              <a:cxn ang="0">
                <a:pos x="connsiteX45077" y="connsiteY45077"/>
              </a:cxn>
              <a:cxn ang="0">
                <a:pos x="connsiteX45078" y="connsiteY45078"/>
              </a:cxn>
              <a:cxn ang="0">
                <a:pos x="connsiteX45079" y="connsiteY45079"/>
              </a:cxn>
              <a:cxn ang="0">
                <a:pos x="connsiteX45080" y="connsiteY45080"/>
              </a:cxn>
              <a:cxn ang="0">
                <a:pos x="connsiteX45081" y="connsiteY45081"/>
              </a:cxn>
              <a:cxn ang="0">
                <a:pos x="connsiteX45082" y="connsiteY45082"/>
              </a:cxn>
              <a:cxn ang="0">
                <a:pos x="connsiteX45083" y="connsiteY45083"/>
              </a:cxn>
              <a:cxn ang="0">
                <a:pos x="connsiteX45084" y="connsiteY45084"/>
              </a:cxn>
              <a:cxn ang="0">
                <a:pos x="connsiteX45085" y="connsiteY45085"/>
              </a:cxn>
              <a:cxn ang="0">
                <a:pos x="connsiteX45086" y="connsiteY45086"/>
              </a:cxn>
              <a:cxn ang="0">
                <a:pos x="connsiteX45087" y="connsiteY45087"/>
              </a:cxn>
              <a:cxn ang="0">
                <a:pos x="connsiteX45088" y="connsiteY45088"/>
              </a:cxn>
              <a:cxn ang="0">
                <a:pos x="connsiteX45089" y="connsiteY45089"/>
              </a:cxn>
              <a:cxn ang="0">
                <a:pos x="connsiteX45090" y="connsiteY45090"/>
              </a:cxn>
              <a:cxn ang="0">
                <a:pos x="connsiteX45091" y="connsiteY45091"/>
              </a:cxn>
              <a:cxn ang="0">
                <a:pos x="connsiteX45092" y="connsiteY45092"/>
              </a:cxn>
              <a:cxn ang="0">
                <a:pos x="connsiteX45093" y="connsiteY45093"/>
              </a:cxn>
              <a:cxn ang="0">
                <a:pos x="connsiteX45094" y="connsiteY45094"/>
              </a:cxn>
              <a:cxn ang="0">
                <a:pos x="connsiteX45095" y="connsiteY45095"/>
              </a:cxn>
              <a:cxn ang="0">
                <a:pos x="connsiteX45096" y="connsiteY45096"/>
              </a:cxn>
              <a:cxn ang="0">
                <a:pos x="connsiteX45097" y="connsiteY45097"/>
              </a:cxn>
              <a:cxn ang="0">
                <a:pos x="connsiteX45098" y="connsiteY45098"/>
              </a:cxn>
              <a:cxn ang="0">
                <a:pos x="connsiteX45099" y="connsiteY45099"/>
              </a:cxn>
              <a:cxn ang="0">
                <a:pos x="connsiteX45100" y="connsiteY45100"/>
              </a:cxn>
              <a:cxn ang="0">
                <a:pos x="connsiteX45101" y="connsiteY45101"/>
              </a:cxn>
              <a:cxn ang="0">
                <a:pos x="connsiteX45102" y="connsiteY45102"/>
              </a:cxn>
              <a:cxn ang="0">
                <a:pos x="connsiteX45103" y="connsiteY45103"/>
              </a:cxn>
              <a:cxn ang="0">
                <a:pos x="connsiteX45104" y="connsiteY45104"/>
              </a:cxn>
              <a:cxn ang="0">
                <a:pos x="connsiteX45105" y="connsiteY45105"/>
              </a:cxn>
              <a:cxn ang="0">
                <a:pos x="connsiteX45106" y="connsiteY45106"/>
              </a:cxn>
              <a:cxn ang="0">
                <a:pos x="connsiteX45107" y="connsiteY45107"/>
              </a:cxn>
              <a:cxn ang="0">
                <a:pos x="connsiteX45108" y="connsiteY45108"/>
              </a:cxn>
              <a:cxn ang="0">
                <a:pos x="connsiteX45109" y="connsiteY45109"/>
              </a:cxn>
              <a:cxn ang="0">
                <a:pos x="connsiteX45110" y="connsiteY45110"/>
              </a:cxn>
              <a:cxn ang="0">
                <a:pos x="connsiteX45111" y="connsiteY45111"/>
              </a:cxn>
              <a:cxn ang="0">
                <a:pos x="connsiteX45112" y="connsiteY45112"/>
              </a:cxn>
              <a:cxn ang="0">
                <a:pos x="connsiteX45113" y="connsiteY45113"/>
              </a:cxn>
              <a:cxn ang="0">
                <a:pos x="connsiteX45114" y="connsiteY45114"/>
              </a:cxn>
              <a:cxn ang="0">
                <a:pos x="connsiteX45115" y="connsiteY45115"/>
              </a:cxn>
              <a:cxn ang="0">
                <a:pos x="connsiteX45116" y="connsiteY45116"/>
              </a:cxn>
              <a:cxn ang="0">
                <a:pos x="connsiteX45117" y="connsiteY45117"/>
              </a:cxn>
              <a:cxn ang="0">
                <a:pos x="connsiteX45118" y="connsiteY45118"/>
              </a:cxn>
              <a:cxn ang="0">
                <a:pos x="connsiteX45119" y="connsiteY45119"/>
              </a:cxn>
              <a:cxn ang="0">
                <a:pos x="connsiteX45120" y="connsiteY45120"/>
              </a:cxn>
              <a:cxn ang="0">
                <a:pos x="connsiteX45121" y="connsiteY45121"/>
              </a:cxn>
              <a:cxn ang="0">
                <a:pos x="connsiteX45122" y="connsiteY45122"/>
              </a:cxn>
              <a:cxn ang="0">
                <a:pos x="connsiteX45123" y="connsiteY45123"/>
              </a:cxn>
              <a:cxn ang="0">
                <a:pos x="connsiteX45124" y="connsiteY45124"/>
              </a:cxn>
              <a:cxn ang="0">
                <a:pos x="connsiteX45125" y="connsiteY45125"/>
              </a:cxn>
              <a:cxn ang="0">
                <a:pos x="connsiteX45126" y="connsiteY45126"/>
              </a:cxn>
              <a:cxn ang="0">
                <a:pos x="connsiteX45127" y="connsiteY45127"/>
              </a:cxn>
              <a:cxn ang="0">
                <a:pos x="connsiteX45128" y="connsiteY45128"/>
              </a:cxn>
              <a:cxn ang="0">
                <a:pos x="connsiteX45129" y="connsiteY45129"/>
              </a:cxn>
              <a:cxn ang="0">
                <a:pos x="connsiteX45130" y="connsiteY45130"/>
              </a:cxn>
              <a:cxn ang="0">
                <a:pos x="connsiteX45131" y="connsiteY45131"/>
              </a:cxn>
              <a:cxn ang="0">
                <a:pos x="connsiteX45132" y="connsiteY45132"/>
              </a:cxn>
              <a:cxn ang="0">
                <a:pos x="connsiteX45133" y="connsiteY45133"/>
              </a:cxn>
              <a:cxn ang="0">
                <a:pos x="connsiteX45134" y="connsiteY45134"/>
              </a:cxn>
              <a:cxn ang="0">
                <a:pos x="connsiteX45135" y="connsiteY45135"/>
              </a:cxn>
              <a:cxn ang="0">
                <a:pos x="connsiteX45136" y="connsiteY45136"/>
              </a:cxn>
              <a:cxn ang="0">
                <a:pos x="connsiteX45137" y="connsiteY45137"/>
              </a:cxn>
              <a:cxn ang="0">
                <a:pos x="connsiteX45138" y="connsiteY45138"/>
              </a:cxn>
              <a:cxn ang="0">
                <a:pos x="connsiteX45139" y="connsiteY45139"/>
              </a:cxn>
              <a:cxn ang="0">
                <a:pos x="connsiteX45140" y="connsiteY45140"/>
              </a:cxn>
              <a:cxn ang="0">
                <a:pos x="connsiteX45141" y="connsiteY45141"/>
              </a:cxn>
              <a:cxn ang="0">
                <a:pos x="connsiteX45142" y="connsiteY45142"/>
              </a:cxn>
              <a:cxn ang="0">
                <a:pos x="connsiteX45143" y="connsiteY45143"/>
              </a:cxn>
              <a:cxn ang="0">
                <a:pos x="connsiteX45144" y="connsiteY45144"/>
              </a:cxn>
              <a:cxn ang="0">
                <a:pos x="connsiteX45145" y="connsiteY45145"/>
              </a:cxn>
              <a:cxn ang="0">
                <a:pos x="connsiteX45146" y="connsiteY45146"/>
              </a:cxn>
              <a:cxn ang="0">
                <a:pos x="connsiteX45147" y="connsiteY45147"/>
              </a:cxn>
              <a:cxn ang="0">
                <a:pos x="connsiteX45148" y="connsiteY45148"/>
              </a:cxn>
              <a:cxn ang="0">
                <a:pos x="connsiteX45149" y="connsiteY45149"/>
              </a:cxn>
              <a:cxn ang="0">
                <a:pos x="connsiteX45150" y="connsiteY45150"/>
              </a:cxn>
              <a:cxn ang="0">
                <a:pos x="connsiteX45151" y="connsiteY45151"/>
              </a:cxn>
              <a:cxn ang="0">
                <a:pos x="connsiteX45152" y="connsiteY45152"/>
              </a:cxn>
              <a:cxn ang="0">
                <a:pos x="connsiteX45153" y="connsiteY45153"/>
              </a:cxn>
              <a:cxn ang="0">
                <a:pos x="connsiteX45154" y="connsiteY45154"/>
              </a:cxn>
              <a:cxn ang="0">
                <a:pos x="connsiteX45155" y="connsiteY45155"/>
              </a:cxn>
              <a:cxn ang="0">
                <a:pos x="connsiteX45156" y="connsiteY45156"/>
              </a:cxn>
              <a:cxn ang="0">
                <a:pos x="connsiteX45157" y="connsiteY45157"/>
              </a:cxn>
              <a:cxn ang="0">
                <a:pos x="connsiteX45158" y="connsiteY45158"/>
              </a:cxn>
              <a:cxn ang="0">
                <a:pos x="connsiteX45159" y="connsiteY45159"/>
              </a:cxn>
              <a:cxn ang="0">
                <a:pos x="connsiteX45160" y="connsiteY45160"/>
              </a:cxn>
              <a:cxn ang="0">
                <a:pos x="connsiteX45161" y="connsiteY45161"/>
              </a:cxn>
              <a:cxn ang="0">
                <a:pos x="connsiteX45162" y="connsiteY45162"/>
              </a:cxn>
              <a:cxn ang="0">
                <a:pos x="connsiteX45163" y="connsiteY45163"/>
              </a:cxn>
              <a:cxn ang="0">
                <a:pos x="connsiteX45164" y="connsiteY45164"/>
              </a:cxn>
              <a:cxn ang="0">
                <a:pos x="connsiteX45165" y="connsiteY45165"/>
              </a:cxn>
              <a:cxn ang="0">
                <a:pos x="connsiteX45166" y="connsiteY45166"/>
              </a:cxn>
              <a:cxn ang="0">
                <a:pos x="connsiteX45167" y="connsiteY45167"/>
              </a:cxn>
              <a:cxn ang="0">
                <a:pos x="connsiteX45168" y="connsiteY45168"/>
              </a:cxn>
              <a:cxn ang="0">
                <a:pos x="connsiteX45169" y="connsiteY45169"/>
              </a:cxn>
              <a:cxn ang="0">
                <a:pos x="connsiteX45170" y="connsiteY45170"/>
              </a:cxn>
              <a:cxn ang="0">
                <a:pos x="connsiteX45171" y="connsiteY45171"/>
              </a:cxn>
              <a:cxn ang="0">
                <a:pos x="connsiteX45172" y="connsiteY45172"/>
              </a:cxn>
              <a:cxn ang="0">
                <a:pos x="connsiteX45173" y="connsiteY45173"/>
              </a:cxn>
              <a:cxn ang="0">
                <a:pos x="connsiteX45174" y="connsiteY45174"/>
              </a:cxn>
              <a:cxn ang="0">
                <a:pos x="connsiteX45175" y="connsiteY45175"/>
              </a:cxn>
              <a:cxn ang="0">
                <a:pos x="connsiteX45176" y="connsiteY45176"/>
              </a:cxn>
              <a:cxn ang="0">
                <a:pos x="connsiteX45177" y="connsiteY45177"/>
              </a:cxn>
              <a:cxn ang="0">
                <a:pos x="connsiteX45178" y="connsiteY45178"/>
              </a:cxn>
              <a:cxn ang="0">
                <a:pos x="connsiteX45179" y="connsiteY45179"/>
              </a:cxn>
              <a:cxn ang="0">
                <a:pos x="connsiteX45180" y="connsiteY45180"/>
              </a:cxn>
              <a:cxn ang="0">
                <a:pos x="connsiteX45181" y="connsiteY45181"/>
              </a:cxn>
              <a:cxn ang="0">
                <a:pos x="connsiteX45182" y="connsiteY45182"/>
              </a:cxn>
              <a:cxn ang="0">
                <a:pos x="connsiteX45183" y="connsiteY45183"/>
              </a:cxn>
              <a:cxn ang="0">
                <a:pos x="connsiteX45184" y="connsiteY45184"/>
              </a:cxn>
              <a:cxn ang="0">
                <a:pos x="connsiteX45185" y="connsiteY45185"/>
              </a:cxn>
              <a:cxn ang="0">
                <a:pos x="connsiteX45186" y="connsiteY45186"/>
              </a:cxn>
              <a:cxn ang="0">
                <a:pos x="connsiteX45187" y="connsiteY45187"/>
              </a:cxn>
              <a:cxn ang="0">
                <a:pos x="connsiteX45188" y="connsiteY45188"/>
              </a:cxn>
              <a:cxn ang="0">
                <a:pos x="connsiteX45189" y="connsiteY45189"/>
              </a:cxn>
              <a:cxn ang="0">
                <a:pos x="connsiteX45190" y="connsiteY45190"/>
              </a:cxn>
              <a:cxn ang="0">
                <a:pos x="connsiteX45191" y="connsiteY45191"/>
              </a:cxn>
              <a:cxn ang="0">
                <a:pos x="connsiteX45192" y="connsiteY45192"/>
              </a:cxn>
              <a:cxn ang="0">
                <a:pos x="connsiteX45193" y="connsiteY45193"/>
              </a:cxn>
              <a:cxn ang="0">
                <a:pos x="connsiteX45194" y="connsiteY45194"/>
              </a:cxn>
              <a:cxn ang="0">
                <a:pos x="connsiteX45195" y="connsiteY45195"/>
              </a:cxn>
              <a:cxn ang="0">
                <a:pos x="connsiteX45196" y="connsiteY45196"/>
              </a:cxn>
              <a:cxn ang="0">
                <a:pos x="connsiteX45197" y="connsiteY45197"/>
              </a:cxn>
              <a:cxn ang="0">
                <a:pos x="connsiteX45198" y="connsiteY45198"/>
              </a:cxn>
              <a:cxn ang="0">
                <a:pos x="connsiteX45199" y="connsiteY45199"/>
              </a:cxn>
              <a:cxn ang="0">
                <a:pos x="connsiteX45200" y="connsiteY45200"/>
              </a:cxn>
              <a:cxn ang="0">
                <a:pos x="connsiteX45201" y="connsiteY45201"/>
              </a:cxn>
              <a:cxn ang="0">
                <a:pos x="connsiteX45202" y="connsiteY45202"/>
              </a:cxn>
              <a:cxn ang="0">
                <a:pos x="connsiteX45203" y="connsiteY45203"/>
              </a:cxn>
              <a:cxn ang="0">
                <a:pos x="connsiteX45204" y="connsiteY45204"/>
              </a:cxn>
              <a:cxn ang="0">
                <a:pos x="connsiteX45205" y="connsiteY45205"/>
              </a:cxn>
              <a:cxn ang="0">
                <a:pos x="connsiteX45206" y="connsiteY45206"/>
              </a:cxn>
              <a:cxn ang="0">
                <a:pos x="connsiteX45207" y="connsiteY45207"/>
              </a:cxn>
              <a:cxn ang="0">
                <a:pos x="connsiteX45208" y="connsiteY45208"/>
              </a:cxn>
              <a:cxn ang="0">
                <a:pos x="connsiteX45209" y="connsiteY45209"/>
              </a:cxn>
              <a:cxn ang="0">
                <a:pos x="connsiteX45210" y="connsiteY45210"/>
              </a:cxn>
              <a:cxn ang="0">
                <a:pos x="connsiteX45211" y="connsiteY45211"/>
              </a:cxn>
              <a:cxn ang="0">
                <a:pos x="connsiteX45212" y="connsiteY45212"/>
              </a:cxn>
              <a:cxn ang="0">
                <a:pos x="connsiteX45213" y="connsiteY45213"/>
              </a:cxn>
              <a:cxn ang="0">
                <a:pos x="connsiteX45214" y="connsiteY45214"/>
              </a:cxn>
              <a:cxn ang="0">
                <a:pos x="connsiteX45215" y="connsiteY45215"/>
              </a:cxn>
              <a:cxn ang="0">
                <a:pos x="connsiteX45216" y="connsiteY45216"/>
              </a:cxn>
              <a:cxn ang="0">
                <a:pos x="connsiteX45217" y="connsiteY45217"/>
              </a:cxn>
              <a:cxn ang="0">
                <a:pos x="connsiteX45218" y="connsiteY45218"/>
              </a:cxn>
              <a:cxn ang="0">
                <a:pos x="connsiteX45219" y="connsiteY45219"/>
              </a:cxn>
              <a:cxn ang="0">
                <a:pos x="connsiteX45220" y="connsiteY45220"/>
              </a:cxn>
              <a:cxn ang="0">
                <a:pos x="connsiteX45221" y="connsiteY45221"/>
              </a:cxn>
              <a:cxn ang="0">
                <a:pos x="connsiteX45222" y="connsiteY45222"/>
              </a:cxn>
              <a:cxn ang="0">
                <a:pos x="connsiteX45223" y="connsiteY45223"/>
              </a:cxn>
              <a:cxn ang="0">
                <a:pos x="connsiteX45224" y="connsiteY45224"/>
              </a:cxn>
              <a:cxn ang="0">
                <a:pos x="connsiteX45225" y="connsiteY45225"/>
              </a:cxn>
              <a:cxn ang="0">
                <a:pos x="connsiteX45226" y="connsiteY45226"/>
              </a:cxn>
              <a:cxn ang="0">
                <a:pos x="connsiteX45227" y="connsiteY45227"/>
              </a:cxn>
              <a:cxn ang="0">
                <a:pos x="connsiteX45228" y="connsiteY45228"/>
              </a:cxn>
              <a:cxn ang="0">
                <a:pos x="connsiteX45229" y="connsiteY45229"/>
              </a:cxn>
              <a:cxn ang="0">
                <a:pos x="connsiteX45230" y="connsiteY45230"/>
              </a:cxn>
              <a:cxn ang="0">
                <a:pos x="connsiteX45231" y="connsiteY45231"/>
              </a:cxn>
              <a:cxn ang="0">
                <a:pos x="connsiteX45232" y="connsiteY45232"/>
              </a:cxn>
              <a:cxn ang="0">
                <a:pos x="connsiteX45233" y="connsiteY45233"/>
              </a:cxn>
              <a:cxn ang="0">
                <a:pos x="connsiteX45234" y="connsiteY45234"/>
              </a:cxn>
              <a:cxn ang="0">
                <a:pos x="connsiteX45235" y="connsiteY45235"/>
              </a:cxn>
              <a:cxn ang="0">
                <a:pos x="connsiteX45236" y="connsiteY45236"/>
              </a:cxn>
              <a:cxn ang="0">
                <a:pos x="connsiteX45237" y="connsiteY45237"/>
              </a:cxn>
              <a:cxn ang="0">
                <a:pos x="connsiteX45238" y="connsiteY45238"/>
              </a:cxn>
              <a:cxn ang="0">
                <a:pos x="connsiteX45239" y="connsiteY45239"/>
              </a:cxn>
              <a:cxn ang="0">
                <a:pos x="connsiteX45240" y="connsiteY45240"/>
              </a:cxn>
              <a:cxn ang="0">
                <a:pos x="connsiteX45241" y="connsiteY45241"/>
              </a:cxn>
              <a:cxn ang="0">
                <a:pos x="connsiteX45242" y="connsiteY45242"/>
              </a:cxn>
              <a:cxn ang="0">
                <a:pos x="connsiteX45243" y="connsiteY45243"/>
              </a:cxn>
              <a:cxn ang="0">
                <a:pos x="connsiteX45244" y="connsiteY45244"/>
              </a:cxn>
              <a:cxn ang="0">
                <a:pos x="connsiteX45245" y="connsiteY45245"/>
              </a:cxn>
              <a:cxn ang="0">
                <a:pos x="connsiteX45246" y="connsiteY45246"/>
              </a:cxn>
              <a:cxn ang="0">
                <a:pos x="connsiteX45247" y="connsiteY45247"/>
              </a:cxn>
              <a:cxn ang="0">
                <a:pos x="connsiteX45248" y="connsiteY45248"/>
              </a:cxn>
              <a:cxn ang="0">
                <a:pos x="connsiteX45249" y="connsiteY45249"/>
              </a:cxn>
              <a:cxn ang="0">
                <a:pos x="connsiteX45250" y="connsiteY45250"/>
              </a:cxn>
              <a:cxn ang="0">
                <a:pos x="connsiteX45251" y="connsiteY45251"/>
              </a:cxn>
              <a:cxn ang="0">
                <a:pos x="connsiteX45252" y="connsiteY45252"/>
              </a:cxn>
              <a:cxn ang="0">
                <a:pos x="connsiteX45253" y="connsiteY45253"/>
              </a:cxn>
              <a:cxn ang="0">
                <a:pos x="connsiteX45254" y="connsiteY45254"/>
              </a:cxn>
              <a:cxn ang="0">
                <a:pos x="connsiteX45255" y="connsiteY45255"/>
              </a:cxn>
              <a:cxn ang="0">
                <a:pos x="connsiteX45256" y="connsiteY45256"/>
              </a:cxn>
              <a:cxn ang="0">
                <a:pos x="connsiteX45257" y="connsiteY45257"/>
              </a:cxn>
              <a:cxn ang="0">
                <a:pos x="connsiteX45258" y="connsiteY45258"/>
              </a:cxn>
              <a:cxn ang="0">
                <a:pos x="connsiteX45259" y="connsiteY45259"/>
              </a:cxn>
              <a:cxn ang="0">
                <a:pos x="connsiteX45260" y="connsiteY45260"/>
              </a:cxn>
              <a:cxn ang="0">
                <a:pos x="connsiteX45261" y="connsiteY45261"/>
              </a:cxn>
              <a:cxn ang="0">
                <a:pos x="connsiteX45262" y="connsiteY45262"/>
              </a:cxn>
              <a:cxn ang="0">
                <a:pos x="connsiteX45263" y="connsiteY45263"/>
              </a:cxn>
              <a:cxn ang="0">
                <a:pos x="connsiteX45264" y="connsiteY45264"/>
              </a:cxn>
              <a:cxn ang="0">
                <a:pos x="connsiteX45265" y="connsiteY45265"/>
              </a:cxn>
              <a:cxn ang="0">
                <a:pos x="connsiteX45266" y="connsiteY45266"/>
              </a:cxn>
              <a:cxn ang="0">
                <a:pos x="connsiteX45267" y="connsiteY45267"/>
              </a:cxn>
              <a:cxn ang="0">
                <a:pos x="connsiteX45268" y="connsiteY45268"/>
              </a:cxn>
              <a:cxn ang="0">
                <a:pos x="connsiteX45269" y="connsiteY45269"/>
              </a:cxn>
              <a:cxn ang="0">
                <a:pos x="connsiteX45270" y="connsiteY45270"/>
              </a:cxn>
              <a:cxn ang="0">
                <a:pos x="connsiteX45271" y="connsiteY45271"/>
              </a:cxn>
              <a:cxn ang="0">
                <a:pos x="connsiteX45272" y="connsiteY45272"/>
              </a:cxn>
              <a:cxn ang="0">
                <a:pos x="connsiteX45273" y="connsiteY45273"/>
              </a:cxn>
              <a:cxn ang="0">
                <a:pos x="connsiteX45274" y="connsiteY45274"/>
              </a:cxn>
              <a:cxn ang="0">
                <a:pos x="connsiteX45275" y="connsiteY45275"/>
              </a:cxn>
              <a:cxn ang="0">
                <a:pos x="connsiteX45276" y="connsiteY45276"/>
              </a:cxn>
              <a:cxn ang="0">
                <a:pos x="connsiteX45277" y="connsiteY45277"/>
              </a:cxn>
              <a:cxn ang="0">
                <a:pos x="connsiteX45278" y="connsiteY45278"/>
              </a:cxn>
              <a:cxn ang="0">
                <a:pos x="connsiteX45279" y="connsiteY45279"/>
              </a:cxn>
              <a:cxn ang="0">
                <a:pos x="connsiteX45280" y="connsiteY45280"/>
              </a:cxn>
              <a:cxn ang="0">
                <a:pos x="connsiteX45281" y="connsiteY45281"/>
              </a:cxn>
              <a:cxn ang="0">
                <a:pos x="connsiteX45282" y="connsiteY45282"/>
              </a:cxn>
              <a:cxn ang="0">
                <a:pos x="connsiteX45283" y="connsiteY45283"/>
              </a:cxn>
              <a:cxn ang="0">
                <a:pos x="connsiteX45284" y="connsiteY45284"/>
              </a:cxn>
              <a:cxn ang="0">
                <a:pos x="connsiteX45285" y="connsiteY45285"/>
              </a:cxn>
              <a:cxn ang="0">
                <a:pos x="connsiteX45286" y="connsiteY45286"/>
              </a:cxn>
              <a:cxn ang="0">
                <a:pos x="connsiteX45287" y="connsiteY45287"/>
              </a:cxn>
              <a:cxn ang="0">
                <a:pos x="connsiteX45288" y="connsiteY45288"/>
              </a:cxn>
              <a:cxn ang="0">
                <a:pos x="connsiteX45289" y="connsiteY45289"/>
              </a:cxn>
              <a:cxn ang="0">
                <a:pos x="connsiteX45290" y="connsiteY45290"/>
              </a:cxn>
              <a:cxn ang="0">
                <a:pos x="connsiteX45291" y="connsiteY45291"/>
              </a:cxn>
              <a:cxn ang="0">
                <a:pos x="connsiteX45292" y="connsiteY45292"/>
              </a:cxn>
              <a:cxn ang="0">
                <a:pos x="connsiteX45293" y="connsiteY45293"/>
              </a:cxn>
              <a:cxn ang="0">
                <a:pos x="connsiteX45294" y="connsiteY45294"/>
              </a:cxn>
              <a:cxn ang="0">
                <a:pos x="connsiteX45295" y="connsiteY45295"/>
              </a:cxn>
              <a:cxn ang="0">
                <a:pos x="connsiteX45296" y="connsiteY45296"/>
              </a:cxn>
              <a:cxn ang="0">
                <a:pos x="connsiteX45297" y="connsiteY45297"/>
              </a:cxn>
              <a:cxn ang="0">
                <a:pos x="connsiteX45298" y="connsiteY45298"/>
              </a:cxn>
              <a:cxn ang="0">
                <a:pos x="connsiteX45299" y="connsiteY45299"/>
              </a:cxn>
              <a:cxn ang="0">
                <a:pos x="connsiteX45300" y="connsiteY45300"/>
              </a:cxn>
              <a:cxn ang="0">
                <a:pos x="connsiteX45301" y="connsiteY45301"/>
              </a:cxn>
              <a:cxn ang="0">
                <a:pos x="connsiteX45302" y="connsiteY45302"/>
              </a:cxn>
              <a:cxn ang="0">
                <a:pos x="connsiteX45303" y="connsiteY45303"/>
              </a:cxn>
              <a:cxn ang="0">
                <a:pos x="connsiteX45304" y="connsiteY45304"/>
              </a:cxn>
              <a:cxn ang="0">
                <a:pos x="connsiteX45305" y="connsiteY45305"/>
              </a:cxn>
              <a:cxn ang="0">
                <a:pos x="connsiteX45306" y="connsiteY45306"/>
              </a:cxn>
              <a:cxn ang="0">
                <a:pos x="connsiteX45307" y="connsiteY45307"/>
              </a:cxn>
              <a:cxn ang="0">
                <a:pos x="connsiteX45308" y="connsiteY45308"/>
              </a:cxn>
              <a:cxn ang="0">
                <a:pos x="connsiteX45309" y="connsiteY45309"/>
              </a:cxn>
              <a:cxn ang="0">
                <a:pos x="connsiteX45310" y="connsiteY45310"/>
              </a:cxn>
              <a:cxn ang="0">
                <a:pos x="connsiteX45311" y="connsiteY45311"/>
              </a:cxn>
              <a:cxn ang="0">
                <a:pos x="connsiteX45312" y="connsiteY45312"/>
              </a:cxn>
              <a:cxn ang="0">
                <a:pos x="connsiteX45313" y="connsiteY45313"/>
              </a:cxn>
              <a:cxn ang="0">
                <a:pos x="connsiteX45314" y="connsiteY45314"/>
              </a:cxn>
              <a:cxn ang="0">
                <a:pos x="connsiteX45315" y="connsiteY45315"/>
              </a:cxn>
              <a:cxn ang="0">
                <a:pos x="connsiteX45316" y="connsiteY45316"/>
              </a:cxn>
              <a:cxn ang="0">
                <a:pos x="connsiteX45317" y="connsiteY45317"/>
              </a:cxn>
              <a:cxn ang="0">
                <a:pos x="connsiteX45318" y="connsiteY45318"/>
              </a:cxn>
              <a:cxn ang="0">
                <a:pos x="connsiteX45319" y="connsiteY45319"/>
              </a:cxn>
              <a:cxn ang="0">
                <a:pos x="connsiteX45320" y="connsiteY45320"/>
              </a:cxn>
              <a:cxn ang="0">
                <a:pos x="connsiteX45321" y="connsiteY45321"/>
              </a:cxn>
              <a:cxn ang="0">
                <a:pos x="connsiteX45322" y="connsiteY45322"/>
              </a:cxn>
              <a:cxn ang="0">
                <a:pos x="connsiteX45323" y="connsiteY45323"/>
              </a:cxn>
              <a:cxn ang="0">
                <a:pos x="connsiteX45324" y="connsiteY45324"/>
              </a:cxn>
              <a:cxn ang="0">
                <a:pos x="connsiteX45325" y="connsiteY45325"/>
              </a:cxn>
              <a:cxn ang="0">
                <a:pos x="connsiteX45326" y="connsiteY45326"/>
              </a:cxn>
              <a:cxn ang="0">
                <a:pos x="connsiteX45327" y="connsiteY45327"/>
              </a:cxn>
              <a:cxn ang="0">
                <a:pos x="connsiteX45328" y="connsiteY45328"/>
              </a:cxn>
              <a:cxn ang="0">
                <a:pos x="connsiteX45329" y="connsiteY45329"/>
              </a:cxn>
              <a:cxn ang="0">
                <a:pos x="connsiteX45330" y="connsiteY45330"/>
              </a:cxn>
              <a:cxn ang="0">
                <a:pos x="connsiteX45331" y="connsiteY45331"/>
              </a:cxn>
              <a:cxn ang="0">
                <a:pos x="connsiteX45332" y="connsiteY45332"/>
              </a:cxn>
              <a:cxn ang="0">
                <a:pos x="connsiteX45333" y="connsiteY45333"/>
              </a:cxn>
              <a:cxn ang="0">
                <a:pos x="connsiteX45334" y="connsiteY45334"/>
              </a:cxn>
              <a:cxn ang="0">
                <a:pos x="connsiteX45335" y="connsiteY45335"/>
              </a:cxn>
              <a:cxn ang="0">
                <a:pos x="connsiteX45336" y="connsiteY45336"/>
              </a:cxn>
              <a:cxn ang="0">
                <a:pos x="connsiteX45337" y="connsiteY45337"/>
              </a:cxn>
              <a:cxn ang="0">
                <a:pos x="connsiteX45338" y="connsiteY45338"/>
              </a:cxn>
              <a:cxn ang="0">
                <a:pos x="connsiteX45339" y="connsiteY45339"/>
              </a:cxn>
              <a:cxn ang="0">
                <a:pos x="connsiteX45340" y="connsiteY45340"/>
              </a:cxn>
              <a:cxn ang="0">
                <a:pos x="connsiteX45341" y="connsiteY45341"/>
              </a:cxn>
              <a:cxn ang="0">
                <a:pos x="connsiteX45342" y="connsiteY45342"/>
              </a:cxn>
              <a:cxn ang="0">
                <a:pos x="connsiteX45343" y="connsiteY45343"/>
              </a:cxn>
              <a:cxn ang="0">
                <a:pos x="connsiteX45344" y="connsiteY45344"/>
              </a:cxn>
              <a:cxn ang="0">
                <a:pos x="connsiteX45345" y="connsiteY45345"/>
              </a:cxn>
              <a:cxn ang="0">
                <a:pos x="connsiteX45346" y="connsiteY45346"/>
              </a:cxn>
              <a:cxn ang="0">
                <a:pos x="connsiteX45347" y="connsiteY45347"/>
              </a:cxn>
              <a:cxn ang="0">
                <a:pos x="connsiteX45348" y="connsiteY45348"/>
              </a:cxn>
              <a:cxn ang="0">
                <a:pos x="connsiteX45349" y="connsiteY45349"/>
              </a:cxn>
              <a:cxn ang="0">
                <a:pos x="connsiteX45350" y="connsiteY45350"/>
              </a:cxn>
              <a:cxn ang="0">
                <a:pos x="connsiteX45351" y="connsiteY45351"/>
              </a:cxn>
              <a:cxn ang="0">
                <a:pos x="connsiteX45352" y="connsiteY45352"/>
              </a:cxn>
              <a:cxn ang="0">
                <a:pos x="connsiteX45353" y="connsiteY45353"/>
              </a:cxn>
              <a:cxn ang="0">
                <a:pos x="connsiteX45354" y="connsiteY45354"/>
              </a:cxn>
              <a:cxn ang="0">
                <a:pos x="connsiteX45355" y="connsiteY45355"/>
              </a:cxn>
              <a:cxn ang="0">
                <a:pos x="connsiteX45356" y="connsiteY45356"/>
              </a:cxn>
              <a:cxn ang="0">
                <a:pos x="connsiteX45357" y="connsiteY45357"/>
              </a:cxn>
              <a:cxn ang="0">
                <a:pos x="connsiteX45358" y="connsiteY45358"/>
              </a:cxn>
              <a:cxn ang="0">
                <a:pos x="connsiteX45359" y="connsiteY45359"/>
              </a:cxn>
              <a:cxn ang="0">
                <a:pos x="connsiteX45360" y="connsiteY45360"/>
              </a:cxn>
              <a:cxn ang="0">
                <a:pos x="connsiteX45361" y="connsiteY45361"/>
              </a:cxn>
              <a:cxn ang="0">
                <a:pos x="connsiteX45362" y="connsiteY45362"/>
              </a:cxn>
              <a:cxn ang="0">
                <a:pos x="connsiteX45363" y="connsiteY45363"/>
              </a:cxn>
              <a:cxn ang="0">
                <a:pos x="connsiteX45364" y="connsiteY45364"/>
              </a:cxn>
              <a:cxn ang="0">
                <a:pos x="connsiteX45365" y="connsiteY45365"/>
              </a:cxn>
              <a:cxn ang="0">
                <a:pos x="connsiteX45366" y="connsiteY45366"/>
              </a:cxn>
              <a:cxn ang="0">
                <a:pos x="connsiteX45367" y="connsiteY45367"/>
              </a:cxn>
              <a:cxn ang="0">
                <a:pos x="connsiteX45368" y="connsiteY45368"/>
              </a:cxn>
              <a:cxn ang="0">
                <a:pos x="connsiteX45369" y="connsiteY45369"/>
              </a:cxn>
              <a:cxn ang="0">
                <a:pos x="connsiteX45370" y="connsiteY45370"/>
              </a:cxn>
              <a:cxn ang="0">
                <a:pos x="connsiteX45371" y="connsiteY45371"/>
              </a:cxn>
              <a:cxn ang="0">
                <a:pos x="connsiteX45372" y="connsiteY45372"/>
              </a:cxn>
              <a:cxn ang="0">
                <a:pos x="connsiteX45373" y="connsiteY45373"/>
              </a:cxn>
              <a:cxn ang="0">
                <a:pos x="connsiteX45374" y="connsiteY45374"/>
              </a:cxn>
              <a:cxn ang="0">
                <a:pos x="connsiteX45375" y="connsiteY45375"/>
              </a:cxn>
              <a:cxn ang="0">
                <a:pos x="connsiteX45376" y="connsiteY45376"/>
              </a:cxn>
              <a:cxn ang="0">
                <a:pos x="connsiteX45377" y="connsiteY45377"/>
              </a:cxn>
              <a:cxn ang="0">
                <a:pos x="connsiteX45378" y="connsiteY45378"/>
              </a:cxn>
              <a:cxn ang="0">
                <a:pos x="connsiteX45379" y="connsiteY45379"/>
              </a:cxn>
              <a:cxn ang="0">
                <a:pos x="connsiteX45380" y="connsiteY45380"/>
              </a:cxn>
              <a:cxn ang="0">
                <a:pos x="connsiteX45381" y="connsiteY45381"/>
              </a:cxn>
              <a:cxn ang="0">
                <a:pos x="connsiteX45382" y="connsiteY45382"/>
              </a:cxn>
              <a:cxn ang="0">
                <a:pos x="connsiteX45383" y="connsiteY45383"/>
              </a:cxn>
              <a:cxn ang="0">
                <a:pos x="connsiteX45384" y="connsiteY45384"/>
              </a:cxn>
              <a:cxn ang="0">
                <a:pos x="connsiteX45385" y="connsiteY45385"/>
              </a:cxn>
              <a:cxn ang="0">
                <a:pos x="connsiteX45386" y="connsiteY45386"/>
              </a:cxn>
              <a:cxn ang="0">
                <a:pos x="connsiteX45387" y="connsiteY45387"/>
              </a:cxn>
              <a:cxn ang="0">
                <a:pos x="connsiteX45388" y="connsiteY45388"/>
              </a:cxn>
              <a:cxn ang="0">
                <a:pos x="connsiteX45389" y="connsiteY45389"/>
              </a:cxn>
              <a:cxn ang="0">
                <a:pos x="connsiteX45390" y="connsiteY45390"/>
              </a:cxn>
              <a:cxn ang="0">
                <a:pos x="connsiteX45391" y="connsiteY45391"/>
              </a:cxn>
              <a:cxn ang="0">
                <a:pos x="connsiteX45392" y="connsiteY45392"/>
              </a:cxn>
              <a:cxn ang="0">
                <a:pos x="connsiteX45393" y="connsiteY45393"/>
              </a:cxn>
              <a:cxn ang="0">
                <a:pos x="connsiteX45394" y="connsiteY45394"/>
              </a:cxn>
              <a:cxn ang="0">
                <a:pos x="connsiteX45395" y="connsiteY45395"/>
              </a:cxn>
              <a:cxn ang="0">
                <a:pos x="connsiteX45396" y="connsiteY45396"/>
              </a:cxn>
              <a:cxn ang="0">
                <a:pos x="connsiteX45397" y="connsiteY45397"/>
              </a:cxn>
              <a:cxn ang="0">
                <a:pos x="connsiteX45398" y="connsiteY45398"/>
              </a:cxn>
              <a:cxn ang="0">
                <a:pos x="connsiteX45399" y="connsiteY45399"/>
              </a:cxn>
              <a:cxn ang="0">
                <a:pos x="connsiteX45400" y="connsiteY45400"/>
              </a:cxn>
              <a:cxn ang="0">
                <a:pos x="connsiteX45401" y="connsiteY45401"/>
              </a:cxn>
              <a:cxn ang="0">
                <a:pos x="connsiteX45402" y="connsiteY45402"/>
              </a:cxn>
              <a:cxn ang="0">
                <a:pos x="connsiteX45403" y="connsiteY45403"/>
              </a:cxn>
              <a:cxn ang="0">
                <a:pos x="connsiteX45404" y="connsiteY45404"/>
              </a:cxn>
              <a:cxn ang="0">
                <a:pos x="connsiteX45405" y="connsiteY45405"/>
              </a:cxn>
              <a:cxn ang="0">
                <a:pos x="connsiteX45406" y="connsiteY45406"/>
              </a:cxn>
              <a:cxn ang="0">
                <a:pos x="connsiteX45407" y="connsiteY45407"/>
              </a:cxn>
              <a:cxn ang="0">
                <a:pos x="connsiteX45408" y="connsiteY45408"/>
              </a:cxn>
              <a:cxn ang="0">
                <a:pos x="connsiteX45409" y="connsiteY45409"/>
              </a:cxn>
              <a:cxn ang="0">
                <a:pos x="connsiteX45410" y="connsiteY45410"/>
              </a:cxn>
              <a:cxn ang="0">
                <a:pos x="connsiteX45411" y="connsiteY45411"/>
              </a:cxn>
              <a:cxn ang="0">
                <a:pos x="connsiteX45412" y="connsiteY45412"/>
              </a:cxn>
              <a:cxn ang="0">
                <a:pos x="connsiteX45413" y="connsiteY45413"/>
              </a:cxn>
              <a:cxn ang="0">
                <a:pos x="connsiteX45414" y="connsiteY45414"/>
              </a:cxn>
              <a:cxn ang="0">
                <a:pos x="connsiteX45415" y="connsiteY45415"/>
              </a:cxn>
              <a:cxn ang="0">
                <a:pos x="connsiteX45416" y="connsiteY45416"/>
              </a:cxn>
              <a:cxn ang="0">
                <a:pos x="connsiteX45417" y="connsiteY45417"/>
              </a:cxn>
              <a:cxn ang="0">
                <a:pos x="connsiteX45418" y="connsiteY45418"/>
              </a:cxn>
              <a:cxn ang="0">
                <a:pos x="connsiteX45419" y="connsiteY45419"/>
              </a:cxn>
              <a:cxn ang="0">
                <a:pos x="connsiteX45420" y="connsiteY45420"/>
              </a:cxn>
              <a:cxn ang="0">
                <a:pos x="connsiteX45421" y="connsiteY45421"/>
              </a:cxn>
              <a:cxn ang="0">
                <a:pos x="connsiteX45422" y="connsiteY45422"/>
              </a:cxn>
              <a:cxn ang="0">
                <a:pos x="connsiteX45423" y="connsiteY45423"/>
              </a:cxn>
              <a:cxn ang="0">
                <a:pos x="connsiteX45424" y="connsiteY45424"/>
              </a:cxn>
              <a:cxn ang="0">
                <a:pos x="connsiteX45425" y="connsiteY45425"/>
              </a:cxn>
              <a:cxn ang="0">
                <a:pos x="connsiteX45426" y="connsiteY45426"/>
              </a:cxn>
              <a:cxn ang="0">
                <a:pos x="connsiteX45427" y="connsiteY45427"/>
              </a:cxn>
              <a:cxn ang="0">
                <a:pos x="connsiteX45428" y="connsiteY45428"/>
              </a:cxn>
              <a:cxn ang="0">
                <a:pos x="connsiteX45429" y="connsiteY45429"/>
              </a:cxn>
              <a:cxn ang="0">
                <a:pos x="connsiteX45430" y="connsiteY45430"/>
              </a:cxn>
              <a:cxn ang="0">
                <a:pos x="connsiteX45431" y="connsiteY45431"/>
              </a:cxn>
              <a:cxn ang="0">
                <a:pos x="connsiteX45432" y="connsiteY45432"/>
              </a:cxn>
              <a:cxn ang="0">
                <a:pos x="connsiteX45433" y="connsiteY45433"/>
              </a:cxn>
              <a:cxn ang="0">
                <a:pos x="connsiteX45434" y="connsiteY45434"/>
              </a:cxn>
              <a:cxn ang="0">
                <a:pos x="connsiteX45435" y="connsiteY45435"/>
              </a:cxn>
              <a:cxn ang="0">
                <a:pos x="connsiteX45436" y="connsiteY45436"/>
              </a:cxn>
              <a:cxn ang="0">
                <a:pos x="connsiteX45437" y="connsiteY45437"/>
              </a:cxn>
              <a:cxn ang="0">
                <a:pos x="connsiteX45438" y="connsiteY45438"/>
              </a:cxn>
              <a:cxn ang="0">
                <a:pos x="connsiteX45439" y="connsiteY45439"/>
              </a:cxn>
              <a:cxn ang="0">
                <a:pos x="connsiteX45440" y="connsiteY45440"/>
              </a:cxn>
              <a:cxn ang="0">
                <a:pos x="connsiteX45441" y="connsiteY45441"/>
              </a:cxn>
              <a:cxn ang="0">
                <a:pos x="connsiteX45442" y="connsiteY45442"/>
              </a:cxn>
              <a:cxn ang="0">
                <a:pos x="connsiteX45443" y="connsiteY45443"/>
              </a:cxn>
              <a:cxn ang="0">
                <a:pos x="connsiteX45444" y="connsiteY45444"/>
              </a:cxn>
              <a:cxn ang="0">
                <a:pos x="connsiteX45445" y="connsiteY45445"/>
              </a:cxn>
              <a:cxn ang="0">
                <a:pos x="connsiteX45446" y="connsiteY45446"/>
              </a:cxn>
              <a:cxn ang="0">
                <a:pos x="connsiteX45447" y="connsiteY45447"/>
              </a:cxn>
              <a:cxn ang="0">
                <a:pos x="connsiteX45448" y="connsiteY45448"/>
              </a:cxn>
              <a:cxn ang="0">
                <a:pos x="connsiteX45449" y="connsiteY45449"/>
              </a:cxn>
              <a:cxn ang="0">
                <a:pos x="connsiteX45450" y="connsiteY45450"/>
              </a:cxn>
              <a:cxn ang="0">
                <a:pos x="connsiteX45451" y="connsiteY45451"/>
              </a:cxn>
              <a:cxn ang="0">
                <a:pos x="connsiteX45452" y="connsiteY45452"/>
              </a:cxn>
              <a:cxn ang="0">
                <a:pos x="connsiteX45453" y="connsiteY45453"/>
              </a:cxn>
              <a:cxn ang="0">
                <a:pos x="connsiteX45454" y="connsiteY45454"/>
              </a:cxn>
              <a:cxn ang="0">
                <a:pos x="connsiteX45455" y="connsiteY45455"/>
              </a:cxn>
              <a:cxn ang="0">
                <a:pos x="connsiteX45456" y="connsiteY45456"/>
              </a:cxn>
              <a:cxn ang="0">
                <a:pos x="connsiteX45457" y="connsiteY45457"/>
              </a:cxn>
              <a:cxn ang="0">
                <a:pos x="connsiteX45458" y="connsiteY45458"/>
              </a:cxn>
              <a:cxn ang="0">
                <a:pos x="connsiteX45459" y="connsiteY45459"/>
              </a:cxn>
              <a:cxn ang="0">
                <a:pos x="connsiteX45460" y="connsiteY45460"/>
              </a:cxn>
              <a:cxn ang="0">
                <a:pos x="connsiteX45461" y="connsiteY45461"/>
              </a:cxn>
              <a:cxn ang="0">
                <a:pos x="connsiteX45462" y="connsiteY45462"/>
              </a:cxn>
              <a:cxn ang="0">
                <a:pos x="connsiteX45463" y="connsiteY45463"/>
              </a:cxn>
              <a:cxn ang="0">
                <a:pos x="connsiteX45464" y="connsiteY45464"/>
              </a:cxn>
              <a:cxn ang="0">
                <a:pos x="connsiteX45465" y="connsiteY45465"/>
              </a:cxn>
              <a:cxn ang="0">
                <a:pos x="connsiteX45466" y="connsiteY45466"/>
              </a:cxn>
              <a:cxn ang="0">
                <a:pos x="connsiteX45467" y="connsiteY45467"/>
              </a:cxn>
              <a:cxn ang="0">
                <a:pos x="connsiteX45468" y="connsiteY45468"/>
              </a:cxn>
              <a:cxn ang="0">
                <a:pos x="connsiteX45469" y="connsiteY45469"/>
              </a:cxn>
              <a:cxn ang="0">
                <a:pos x="connsiteX45470" y="connsiteY45470"/>
              </a:cxn>
              <a:cxn ang="0">
                <a:pos x="connsiteX45471" y="connsiteY45471"/>
              </a:cxn>
              <a:cxn ang="0">
                <a:pos x="connsiteX45472" y="connsiteY45472"/>
              </a:cxn>
              <a:cxn ang="0">
                <a:pos x="connsiteX45473" y="connsiteY45473"/>
              </a:cxn>
              <a:cxn ang="0">
                <a:pos x="connsiteX45474" y="connsiteY45474"/>
              </a:cxn>
              <a:cxn ang="0">
                <a:pos x="connsiteX45475" y="connsiteY45475"/>
              </a:cxn>
              <a:cxn ang="0">
                <a:pos x="connsiteX45476" y="connsiteY45476"/>
              </a:cxn>
              <a:cxn ang="0">
                <a:pos x="connsiteX45477" y="connsiteY45477"/>
              </a:cxn>
              <a:cxn ang="0">
                <a:pos x="connsiteX45478" y="connsiteY45478"/>
              </a:cxn>
              <a:cxn ang="0">
                <a:pos x="connsiteX45479" y="connsiteY45479"/>
              </a:cxn>
              <a:cxn ang="0">
                <a:pos x="connsiteX45480" y="connsiteY45480"/>
              </a:cxn>
              <a:cxn ang="0">
                <a:pos x="connsiteX45481" y="connsiteY45481"/>
              </a:cxn>
              <a:cxn ang="0">
                <a:pos x="connsiteX45482" y="connsiteY45482"/>
              </a:cxn>
              <a:cxn ang="0">
                <a:pos x="connsiteX45483" y="connsiteY45483"/>
              </a:cxn>
              <a:cxn ang="0">
                <a:pos x="connsiteX45484" y="connsiteY45484"/>
              </a:cxn>
              <a:cxn ang="0">
                <a:pos x="connsiteX45485" y="connsiteY45485"/>
              </a:cxn>
              <a:cxn ang="0">
                <a:pos x="connsiteX45486" y="connsiteY45486"/>
              </a:cxn>
              <a:cxn ang="0">
                <a:pos x="connsiteX45487" y="connsiteY45487"/>
              </a:cxn>
              <a:cxn ang="0">
                <a:pos x="connsiteX45488" y="connsiteY45488"/>
              </a:cxn>
              <a:cxn ang="0">
                <a:pos x="connsiteX45489" y="connsiteY45489"/>
              </a:cxn>
              <a:cxn ang="0">
                <a:pos x="connsiteX45490" y="connsiteY45490"/>
              </a:cxn>
              <a:cxn ang="0">
                <a:pos x="connsiteX45491" y="connsiteY45491"/>
              </a:cxn>
              <a:cxn ang="0">
                <a:pos x="connsiteX45492" y="connsiteY45492"/>
              </a:cxn>
              <a:cxn ang="0">
                <a:pos x="connsiteX45493" y="connsiteY45493"/>
              </a:cxn>
              <a:cxn ang="0">
                <a:pos x="connsiteX45494" y="connsiteY45494"/>
              </a:cxn>
              <a:cxn ang="0">
                <a:pos x="connsiteX45495" y="connsiteY45495"/>
              </a:cxn>
              <a:cxn ang="0">
                <a:pos x="connsiteX45496" y="connsiteY45496"/>
              </a:cxn>
              <a:cxn ang="0">
                <a:pos x="connsiteX45497" y="connsiteY45497"/>
              </a:cxn>
              <a:cxn ang="0">
                <a:pos x="connsiteX45498" y="connsiteY45498"/>
              </a:cxn>
              <a:cxn ang="0">
                <a:pos x="connsiteX45499" y="connsiteY45499"/>
              </a:cxn>
              <a:cxn ang="0">
                <a:pos x="connsiteX45500" y="connsiteY45500"/>
              </a:cxn>
              <a:cxn ang="0">
                <a:pos x="connsiteX45501" y="connsiteY45501"/>
              </a:cxn>
              <a:cxn ang="0">
                <a:pos x="connsiteX45502" y="connsiteY45502"/>
              </a:cxn>
              <a:cxn ang="0">
                <a:pos x="connsiteX45503" y="connsiteY45503"/>
              </a:cxn>
              <a:cxn ang="0">
                <a:pos x="connsiteX45504" y="connsiteY45504"/>
              </a:cxn>
              <a:cxn ang="0">
                <a:pos x="connsiteX45505" y="connsiteY45505"/>
              </a:cxn>
              <a:cxn ang="0">
                <a:pos x="connsiteX45506" y="connsiteY45506"/>
              </a:cxn>
              <a:cxn ang="0">
                <a:pos x="connsiteX45507" y="connsiteY45507"/>
              </a:cxn>
              <a:cxn ang="0">
                <a:pos x="connsiteX45508" y="connsiteY45508"/>
              </a:cxn>
              <a:cxn ang="0">
                <a:pos x="connsiteX45509" y="connsiteY45509"/>
              </a:cxn>
              <a:cxn ang="0">
                <a:pos x="connsiteX45510" y="connsiteY45510"/>
              </a:cxn>
              <a:cxn ang="0">
                <a:pos x="connsiteX45511" y="connsiteY45511"/>
              </a:cxn>
              <a:cxn ang="0">
                <a:pos x="connsiteX45512" y="connsiteY45512"/>
              </a:cxn>
              <a:cxn ang="0">
                <a:pos x="connsiteX45513" y="connsiteY45513"/>
              </a:cxn>
              <a:cxn ang="0">
                <a:pos x="connsiteX45514" y="connsiteY45514"/>
              </a:cxn>
              <a:cxn ang="0">
                <a:pos x="connsiteX45515" y="connsiteY45515"/>
              </a:cxn>
              <a:cxn ang="0">
                <a:pos x="connsiteX45516" y="connsiteY45516"/>
              </a:cxn>
              <a:cxn ang="0">
                <a:pos x="connsiteX45517" y="connsiteY45517"/>
              </a:cxn>
              <a:cxn ang="0">
                <a:pos x="connsiteX45518" y="connsiteY45518"/>
              </a:cxn>
              <a:cxn ang="0">
                <a:pos x="connsiteX45519" y="connsiteY45519"/>
              </a:cxn>
              <a:cxn ang="0">
                <a:pos x="connsiteX45520" y="connsiteY45520"/>
              </a:cxn>
              <a:cxn ang="0">
                <a:pos x="connsiteX45521" y="connsiteY45521"/>
              </a:cxn>
              <a:cxn ang="0">
                <a:pos x="connsiteX45522" y="connsiteY45522"/>
              </a:cxn>
              <a:cxn ang="0">
                <a:pos x="connsiteX45523" y="connsiteY45523"/>
              </a:cxn>
              <a:cxn ang="0">
                <a:pos x="connsiteX45524" y="connsiteY45524"/>
              </a:cxn>
              <a:cxn ang="0">
                <a:pos x="connsiteX45525" y="connsiteY45525"/>
              </a:cxn>
              <a:cxn ang="0">
                <a:pos x="connsiteX45526" y="connsiteY45526"/>
              </a:cxn>
              <a:cxn ang="0">
                <a:pos x="connsiteX45527" y="connsiteY45527"/>
              </a:cxn>
              <a:cxn ang="0">
                <a:pos x="connsiteX45528" y="connsiteY45528"/>
              </a:cxn>
              <a:cxn ang="0">
                <a:pos x="connsiteX45529" y="connsiteY45529"/>
              </a:cxn>
              <a:cxn ang="0">
                <a:pos x="connsiteX45530" y="connsiteY45530"/>
              </a:cxn>
              <a:cxn ang="0">
                <a:pos x="connsiteX45531" y="connsiteY45531"/>
              </a:cxn>
              <a:cxn ang="0">
                <a:pos x="connsiteX45532" y="connsiteY45532"/>
              </a:cxn>
              <a:cxn ang="0">
                <a:pos x="connsiteX45533" y="connsiteY45533"/>
              </a:cxn>
              <a:cxn ang="0">
                <a:pos x="connsiteX45534" y="connsiteY45534"/>
              </a:cxn>
              <a:cxn ang="0">
                <a:pos x="connsiteX45535" y="connsiteY45535"/>
              </a:cxn>
              <a:cxn ang="0">
                <a:pos x="connsiteX45536" y="connsiteY45536"/>
              </a:cxn>
              <a:cxn ang="0">
                <a:pos x="connsiteX45537" y="connsiteY45537"/>
              </a:cxn>
              <a:cxn ang="0">
                <a:pos x="connsiteX45538" y="connsiteY45538"/>
              </a:cxn>
              <a:cxn ang="0">
                <a:pos x="connsiteX45539" y="connsiteY45539"/>
              </a:cxn>
              <a:cxn ang="0">
                <a:pos x="connsiteX45540" y="connsiteY45540"/>
              </a:cxn>
              <a:cxn ang="0">
                <a:pos x="connsiteX45541" y="connsiteY45541"/>
              </a:cxn>
              <a:cxn ang="0">
                <a:pos x="connsiteX45542" y="connsiteY45542"/>
              </a:cxn>
              <a:cxn ang="0">
                <a:pos x="connsiteX45543" y="connsiteY45543"/>
              </a:cxn>
              <a:cxn ang="0">
                <a:pos x="connsiteX45544" y="connsiteY45544"/>
              </a:cxn>
              <a:cxn ang="0">
                <a:pos x="connsiteX45545" y="connsiteY45545"/>
              </a:cxn>
              <a:cxn ang="0">
                <a:pos x="connsiteX45546" y="connsiteY45546"/>
              </a:cxn>
              <a:cxn ang="0">
                <a:pos x="connsiteX45547" y="connsiteY45547"/>
              </a:cxn>
              <a:cxn ang="0">
                <a:pos x="connsiteX45548" y="connsiteY45548"/>
              </a:cxn>
              <a:cxn ang="0">
                <a:pos x="connsiteX45549" y="connsiteY45549"/>
              </a:cxn>
              <a:cxn ang="0">
                <a:pos x="connsiteX45550" y="connsiteY45550"/>
              </a:cxn>
              <a:cxn ang="0">
                <a:pos x="connsiteX45551" y="connsiteY45551"/>
              </a:cxn>
              <a:cxn ang="0">
                <a:pos x="connsiteX45552" y="connsiteY45552"/>
              </a:cxn>
              <a:cxn ang="0">
                <a:pos x="connsiteX45553" y="connsiteY45553"/>
              </a:cxn>
              <a:cxn ang="0">
                <a:pos x="connsiteX45554" y="connsiteY45554"/>
              </a:cxn>
              <a:cxn ang="0">
                <a:pos x="connsiteX45555" y="connsiteY45555"/>
              </a:cxn>
              <a:cxn ang="0">
                <a:pos x="connsiteX45556" y="connsiteY45556"/>
              </a:cxn>
              <a:cxn ang="0">
                <a:pos x="connsiteX45557" y="connsiteY45557"/>
              </a:cxn>
              <a:cxn ang="0">
                <a:pos x="connsiteX45558" y="connsiteY45558"/>
              </a:cxn>
              <a:cxn ang="0">
                <a:pos x="connsiteX45559" y="connsiteY45559"/>
              </a:cxn>
              <a:cxn ang="0">
                <a:pos x="connsiteX45560" y="connsiteY45560"/>
              </a:cxn>
              <a:cxn ang="0">
                <a:pos x="connsiteX45561" y="connsiteY45561"/>
              </a:cxn>
              <a:cxn ang="0">
                <a:pos x="connsiteX45562" y="connsiteY45562"/>
              </a:cxn>
              <a:cxn ang="0">
                <a:pos x="connsiteX45563" y="connsiteY45563"/>
              </a:cxn>
              <a:cxn ang="0">
                <a:pos x="connsiteX45564" y="connsiteY45564"/>
              </a:cxn>
              <a:cxn ang="0">
                <a:pos x="connsiteX45565" y="connsiteY45565"/>
              </a:cxn>
              <a:cxn ang="0">
                <a:pos x="connsiteX45566" y="connsiteY45566"/>
              </a:cxn>
              <a:cxn ang="0">
                <a:pos x="connsiteX45567" y="connsiteY45567"/>
              </a:cxn>
              <a:cxn ang="0">
                <a:pos x="connsiteX45568" y="connsiteY45568"/>
              </a:cxn>
              <a:cxn ang="0">
                <a:pos x="connsiteX45569" y="connsiteY45569"/>
              </a:cxn>
              <a:cxn ang="0">
                <a:pos x="connsiteX45570" y="connsiteY45570"/>
              </a:cxn>
              <a:cxn ang="0">
                <a:pos x="connsiteX45571" y="connsiteY45571"/>
              </a:cxn>
              <a:cxn ang="0">
                <a:pos x="connsiteX45572" y="connsiteY45572"/>
              </a:cxn>
              <a:cxn ang="0">
                <a:pos x="connsiteX45573" y="connsiteY45573"/>
              </a:cxn>
              <a:cxn ang="0">
                <a:pos x="connsiteX45574" y="connsiteY45574"/>
              </a:cxn>
              <a:cxn ang="0">
                <a:pos x="connsiteX45575" y="connsiteY45575"/>
              </a:cxn>
              <a:cxn ang="0">
                <a:pos x="connsiteX45576" y="connsiteY45576"/>
              </a:cxn>
              <a:cxn ang="0">
                <a:pos x="connsiteX45577" y="connsiteY45577"/>
              </a:cxn>
              <a:cxn ang="0">
                <a:pos x="connsiteX45578" y="connsiteY45578"/>
              </a:cxn>
              <a:cxn ang="0">
                <a:pos x="connsiteX45579" y="connsiteY45579"/>
              </a:cxn>
              <a:cxn ang="0">
                <a:pos x="connsiteX45580" y="connsiteY45580"/>
              </a:cxn>
              <a:cxn ang="0">
                <a:pos x="connsiteX45581" y="connsiteY45581"/>
              </a:cxn>
              <a:cxn ang="0">
                <a:pos x="connsiteX45582" y="connsiteY45582"/>
              </a:cxn>
              <a:cxn ang="0">
                <a:pos x="connsiteX45583" y="connsiteY45583"/>
              </a:cxn>
              <a:cxn ang="0">
                <a:pos x="connsiteX45584" y="connsiteY45584"/>
              </a:cxn>
              <a:cxn ang="0">
                <a:pos x="connsiteX45585" y="connsiteY45585"/>
              </a:cxn>
              <a:cxn ang="0">
                <a:pos x="connsiteX45586" y="connsiteY45586"/>
              </a:cxn>
              <a:cxn ang="0">
                <a:pos x="connsiteX45587" y="connsiteY45587"/>
              </a:cxn>
              <a:cxn ang="0">
                <a:pos x="connsiteX45588" y="connsiteY45588"/>
              </a:cxn>
              <a:cxn ang="0">
                <a:pos x="connsiteX45589" y="connsiteY45589"/>
              </a:cxn>
              <a:cxn ang="0">
                <a:pos x="connsiteX45590" y="connsiteY45590"/>
              </a:cxn>
              <a:cxn ang="0">
                <a:pos x="connsiteX45591" y="connsiteY45591"/>
              </a:cxn>
              <a:cxn ang="0">
                <a:pos x="connsiteX45592" y="connsiteY45592"/>
              </a:cxn>
              <a:cxn ang="0">
                <a:pos x="connsiteX45593" y="connsiteY45593"/>
              </a:cxn>
              <a:cxn ang="0">
                <a:pos x="connsiteX45594" y="connsiteY45594"/>
              </a:cxn>
              <a:cxn ang="0">
                <a:pos x="connsiteX45595" y="connsiteY45595"/>
              </a:cxn>
              <a:cxn ang="0">
                <a:pos x="connsiteX45596" y="connsiteY45596"/>
              </a:cxn>
              <a:cxn ang="0">
                <a:pos x="connsiteX45597" y="connsiteY45597"/>
              </a:cxn>
              <a:cxn ang="0">
                <a:pos x="connsiteX45598" y="connsiteY45598"/>
              </a:cxn>
              <a:cxn ang="0">
                <a:pos x="connsiteX45599" y="connsiteY45599"/>
              </a:cxn>
              <a:cxn ang="0">
                <a:pos x="connsiteX45600" y="connsiteY45600"/>
              </a:cxn>
              <a:cxn ang="0">
                <a:pos x="connsiteX45601" y="connsiteY45601"/>
              </a:cxn>
              <a:cxn ang="0">
                <a:pos x="connsiteX45602" y="connsiteY45602"/>
              </a:cxn>
              <a:cxn ang="0">
                <a:pos x="connsiteX45603" y="connsiteY45603"/>
              </a:cxn>
              <a:cxn ang="0">
                <a:pos x="connsiteX45604" y="connsiteY45604"/>
              </a:cxn>
              <a:cxn ang="0">
                <a:pos x="connsiteX45605" y="connsiteY45605"/>
              </a:cxn>
              <a:cxn ang="0">
                <a:pos x="connsiteX45606" y="connsiteY45606"/>
              </a:cxn>
              <a:cxn ang="0">
                <a:pos x="connsiteX45607" y="connsiteY45607"/>
              </a:cxn>
              <a:cxn ang="0">
                <a:pos x="connsiteX45608" y="connsiteY45608"/>
              </a:cxn>
              <a:cxn ang="0">
                <a:pos x="connsiteX45609" y="connsiteY45609"/>
              </a:cxn>
              <a:cxn ang="0">
                <a:pos x="connsiteX45610" y="connsiteY45610"/>
              </a:cxn>
              <a:cxn ang="0">
                <a:pos x="connsiteX45611" y="connsiteY45611"/>
              </a:cxn>
              <a:cxn ang="0">
                <a:pos x="connsiteX45612" y="connsiteY45612"/>
              </a:cxn>
              <a:cxn ang="0">
                <a:pos x="connsiteX45613" y="connsiteY45613"/>
              </a:cxn>
              <a:cxn ang="0">
                <a:pos x="connsiteX45614" y="connsiteY45614"/>
              </a:cxn>
              <a:cxn ang="0">
                <a:pos x="connsiteX45615" y="connsiteY45615"/>
              </a:cxn>
              <a:cxn ang="0">
                <a:pos x="connsiteX45616" y="connsiteY45616"/>
              </a:cxn>
              <a:cxn ang="0">
                <a:pos x="connsiteX45617" y="connsiteY45617"/>
              </a:cxn>
              <a:cxn ang="0">
                <a:pos x="connsiteX45618" y="connsiteY45618"/>
              </a:cxn>
              <a:cxn ang="0">
                <a:pos x="connsiteX45619" y="connsiteY45619"/>
              </a:cxn>
              <a:cxn ang="0">
                <a:pos x="connsiteX45620" y="connsiteY45620"/>
              </a:cxn>
              <a:cxn ang="0">
                <a:pos x="connsiteX45621" y="connsiteY45621"/>
              </a:cxn>
              <a:cxn ang="0">
                <a:pos x="connsiteX45622" y="connsiteY45622"/>
              </a:cxn>
              <a:cxn ang="0">
                <a:pos x="connsiteX45623" y="connsiteY45623"/>
              </a:cxn>
              <a:cxn ang="0">
                <a:pos x="connsiteX45624" y="connsiteY45624"/>
              </a:cxn>
              <a:cxn ang="0">
                <a:pos x="connsiteX45625" y="connsiteY45625"/>
              </a:cxn>
              <a:cxn ang="0">
                <a:pos x="connsiteX45626" y="connsiteY45626"/>
              </a:cxn>
              <a:cxn ang="0">
                <a:pos x="connsiteX45627" y="connsiteY45627"/>
              </a:cxn>
              <a:cxn ang="0">
                <a:pos x="connsiteX45628" y="connsiteY45628"/>
              </a:cxn>
              <a:cxn ang="0">
                <a:pos x="connsiteX45629" y="connsiteY45629"/>
              </a:cxn>
              <a:cxn ang="0">
                <a:pos x="connsiteX45630" y="connsiteY45630"/>
              </a:cxn>
              <a:cxn ang="0">
                <a:pos x="connsiteX45631" y="connsiteY45631"/>
              </a:cxn>
              <a:cxn ang="0">
                <a:pos x="connsiteX45632" y="connsiteY45632"/>
              </a:cxn>
              <a:cxn ang="0">
                <a:pos x="connsiteX45633" y="connsiteY45633"/>
              </a:cxn>
              <a:cxn ang="0">
                <a:pos x="connsiteX45634" y="connsiteY45634"/>
              </a:cxn>
              <a:cxn ang="0">
                <a:pos x="connsiteX45635" y="connsiteY45635"/>
              </a:cxn>
              <a:cxn ang="0">
                <a:pos x="connsiteX45636" y="connsiteY45636"/>
              </a:cxn>
              <a:cxn ang="0">
                <a:pos x="connsiteX45637" y="connsiteY45637"/>
              </a:cxn>
              <a:cxn ang="0">
                <a:pos x="connsiteX45638" y="connsiteY45638"/>
              </a:cxn>
              <a:cxn ang="0">
                <a:pos x="connsiteX45639" y="connsiteY45639"/>
              </a:cxn>
              <a:cxn ang="0">
                <a:pos x="connsiteX45640" y="connsiteY45640"/>
              </a:cxn>
              <a:cxn ang="0">
                <a:pos x="connsiteX45641" y="connsiteY45641"/>
              </a:cxn>
              <a:cxn ang="0">
                <a:pos x="connsiteX45642" y="connsiteY45642"/>
              </a:cxn>
              <a:cxn ang="0">
                <a:pos x="connsiteX45643" y="connsiteY45643"/>
              </a:cxn>
              <a:cxn ang="0">
                <a:pos x="connsiteX45644" y="connsiteY45644"/>
              </a:cxn>
              <a:cxn ang="0">
                <a:pos x="connsiteX45645" y="connsiteY45645"/>
              </a:cxn>
              <a:cxn ang="0">
                <a:pos x="connsiteX45646" y="connsiteY45646"/>
              </a:cxn>
              <a:cxn ang="0">
                <a:pos x="connsiteX45647" y="connsiteY45647"/>
              </a:cxn>
              <a:cxn ang="0">
                <a:pos x="connsiteX45648" y="connsiteY45648"/>
              </a:cxn>
              <a:cxn ang="0">
                <a:pos x="connsiteX45649" y="connsiteY45649"/>
              </a:cxn>
              <a:cxn ang="0">
                <a:pos x="connsiteX45650" y="connsiteY45650"/>
              </a:cxn>
              <a:cxn ang="0">
                <a:pos x="connsiteX45651" y="connsiteY45651"/>
              </a:cxn>
              <a:cxn ang="0">
                <a:pos x="connsiteX45652" y="connsiteY45652"/>
              </a:cxn>
              <a:cxn ang="0">
                <a:pos x="connsiteX45653" y="connsiteY45653"/>
              </a:cxn>
              <a:cxn ang="0">
                <a:pos x="connsiteX45654" y="connsiteY45654"/>
              </a:cxn>
              <a:cxn ang="0">
                <a:pos x="connsiteX45655" y="connsiteY45655"/>
              </a:cxn>
              <a:cxn ang="0">
                <a:pos x="connsiteX45656" y="connsiteY45656"/>
              </a:cxn>
              <a:cxn ang="0">
                <a:pos x="connsiteX45657" y="connsiteY45657"/>
              </a:cxn>
              <a:cxn ang="0">
                <a:pos x="connsiteX45658" y="connsiteY45658"/>
              </a:cxn>
              <a:cxn ang="0">
                <a:pos x="connsiteX45659" y="connsiteY45659"/>
              </a:cxn>
              <a:cxn ang="0">
                <a:pos x="connsiteX45660" y="connsiteY45660"/>
              </a:cxn>
              <a:cxn ang="0">
                <a:pos x="connsiteX45661" y="connsiteY45661"/>
              </a:cxn>
              <a:cxn ang="0">
                <a:pos x="connsiteX45662" y="connsiteY45662"/>
              </a:cxn>
              <a:cxn ang="0">
                <a:pos x="connsiteX45663" y="connsiteY45663"/>
              </a:cxn>
              <a:cxn ang="0">
                <a:pos x="connsiteX45664" y="connsiteY45664"/>
              </a:cxn>
              <a:cxn ang="0">
                <a:pos x="connsiteX45665" y="connsiteY45665"/>
              </a:cxn>
              <a:cxn ang="0">
                <a:pos x="connsiteX45666" y="connsiteY45666"/>
              </a:cxn>
              <a:cxn ang="0">
                <a:pos x="connsiteX45667" y="connsiteY45667"/>
              </a:cxn>
              <a:cxn ang="0">
                <a:pos x="connsiteX45668" y="connsiteY45668"/>
              </a:cxn>
              <a:cxn ang="0">
                <a:pos x="connsiteX45669" y="connsiteY45669"/>
              </a:cxn>
              <a:cxn ang="0">
                <a:pos x="connsiteX45670" y="connsiteY45670"/>
              </a:cxn>
              <a:cxn ang="0">
                <a:pos x="connsiteX45671" y="connsiteY45671"/>
              </a:cxn>
              <a:cxn ang="0">
                <a:pos x="connsiteX45672" y="connsiteY45672"/>
              </a:cxn>
              <a:cxn ang="0">
                <a:pos x="connsiteX45673" y="connsiteY45673"/>
              </a:cxn>
              <a:cxn ang="0">
                <a:pos x="connsiteX45674" y="connsiteY45674"/>
              </a:cxn>
              <a:cxn ang="0">
                <a:pos x="connsiteX45675" y="connsiteY45675"/>
              </a:cxn>
              <a:cxn ang="0">
                <a:pos x="connsiteX45676" y="connsiteY45676"/>
              </a:cxn>
              <a:cxn ang="0">
                <a:pos x="connsiteX45677" y="connsiteY45677"/>
              </a:cxn>
              <a:cxn ang="0">
                <a:pos x="connsiteX45678" y="connsiteY45678"/>
              </a:cxn>
              <a:cxn ang="0">
                <a:pos x="connsiteX45679" y="connsiteY45679"/>
              </a:cxn>
              <a:cxn ang="0">
                <a:pos x="connsiteX45680" y="connsiteY45680"/>
              </a:cxn>
              <a:cxn ang="0">
                <a:pos x="connsiteX45681" y="connsiteY45681"/>
              </a:cxn>
              <a:cxn ang="0">
                <a:pos x="connsiteX45682" y="connsiteY45682"/>
              </a:cxn>
              <a:cxn ang="0">
                <a:pos x="connsiteX45683" y="connsiteY45683"/>
              </a:cxn>
              <a:cxn ang="0">
                <a:pos x="connsiteX45684" y="connsiteY45684"/>
              </a:cxn>
              <a:cxn ang="0">
                <a:pos x="connsiteX45685" y="connsiteY45685"/>
              </a:cxn>
              <a:cxn ang="0">
                <a:pos x="connsiteX45686" y="connsiteY45686"/>
              </a:cxn>
              <a:cxn ang="0">
                <a:pos x="connsiteX45687" y="connsiteY45687"/>
              </a:cxn>
              <a:cxn ang="0">
                <a:pos x="connsiteX45688" y="connsiteY45688"/>
              </a:cxn>
              <a:cxn ang="0">
                <a:pos x="connsiteX45689" y="connsiteY45689"/>
              </a:cxn>
              <a:cxn ang="0">
                <a:pos x="connsiteX45690" y="connsiteY45690"/>
              </a:cxn>
              <a:cxn ang="0">
                <a:pos x="connsiteX45691" y="connsiteY45691"/>
              </a:cxn>
              <a:cxn ang="0">
                <a:pos x="connsiteX45692" y="connsiteY45692"/>
              </a:cxn>
              <a:cxn ang="0">
                <a:pos x="connsiteX45693" y="connsiteY45693"/>
              </a:cxn>
              <a:cxn ang="0">
                <a:pos x="connsiteX45694" y="connsiteY45694"/>
              </a:cxn>
              <a:cxn ang="0">
                <a:pos x="connsiteX45695" y="connsiteY45695"/>
              </a:cxn>
              <a:cxn ang="0">
                <a:pos x="connsiteX45696" y="connsiteY45696"/>
              </a:cxn>
              <a:cxn ang="0">
                <a:pos x="connsiteX45697" y="connsiteY45697"/>
              </a:cxn>
              <a:cxn ang="0">
                <a:pos x="connsiteX45698" y="connsiteY45698"/>
              </a:cxn>
              <a:cxn ang="0">
                <a:pos x="connsiteX45699" y="connsiteY45699"/>
              </a:cxn>
              <a:cxn ang="0">
                <a:pos x="connsiteX45700" y="connsiteY45700"/>
              </a:cxn>
              <a:cxn ang="0">
                <a:pos x="connsiteX45701" y="connsiteY45701"/>
              </a:cxn>
              <a:cxn ang="0">
                <a:pos x="connsiteX45702" y="connsiteY45702"/>
              </a:cxn>
              <a:cxn ang="0">
                <a:pos x="connsiteX45703" y="connsiteY45703"/>
              </a:cxn>
              <a:cxn ang="0">
                <a:pos x="connsiteX45704" y="connsiteY45704"/>
              </a:cxn>
              <a:cxn ang="0">
                <a:pos x="connsiteX45705" y="connsiteY45705"/>
              </a:cxn>
              <a:cxn ang="0">
                <a:pos x="connsiteX45706" y="connsiteY45706"/>
              </a:cxn>
              <a:cxn ang="0">
                <a:pos x="connsiteX45707" y="connsiteY45707"/>
              </a:cxn>
              <a:cxn ang="0">
                <a:pos x="connsiteX45708" y="connsiteY45708"/>
              </a:cxn>
              <a:cxn ang="0">
                <a:pos x="connsiteX45709" y="connsiteY45709"/>
              </a:cxn>
              <a:cxn ang="0">
                <a:pos x="connsiteX45710" y="connsiteY45710"/>
              </a:cxn>
              <a:cxn ang="0">
                <a:pos x="connsiteX45711" y="connsiteY45711"/>
              </a:cxn>
              <a:cxn ang="0">
                <a:pos x="connsiteX45712" y="connsiteY45712"/>
              </a:cxn>
              <a:cxn ang="0">
                <a:pos x="connsiteX45713" y="connsiteY45713"/>
              </a:cxn>
              <a:cxn ang="0">
                <a:pos x="connsiteX45714" y="connsiteY45714"/>
              </a:cxn>
              <a:cxn ang="0">
                <a:pos x="connsiteX45715" y="connsiteY45715"/>
              </a:cxn>
              <a:cxn ang="0">
                <a:pos x="connsiteX45716" y="connsiteY45716"/>
              </a:cxn>
              <a:cxn ang="0">
                <a:pos x="connsiteX45717" y="connsiteY45717"/>
              </a:cxn>
              <a:cxn ang="0">
                <a:pos x="connsiteX45718" y="connsiteY45718"/>
              </a:cxn>
              <a:cxn ang="0">
                <a:pos x="connsiteX45719" y="connsiteY45719"/>
              </a:cxn>
              <a:cxn ang="0">
                <a:pos x="connsiteX45720" y="connsiteY45720"/>
              </a:cxn>
              <a:cxn ang="0">
                <a:pos x="connsiteX45721" y="connsiteY45721"/>
              </a:cxn>
              <a:cxn ang="0">
                <a:pos x="connsiteX45722" y="connsiteY45722"/>
              </a:cxn>
              <a:cxn ang="0">
                <a:pos x="connsiteX45723" y="connsiteY45723"/>
              </a:cxn>
              <a:cxn ang="0">
                <a:pos x="connsiteX45724" y="connsiteY45724"/>
              </a:cxn>
              <a:cxn ang="0">
                <a:pos x="connsiteX45725" y="connsiteY45725"/>
              </a:cxn>
              <a:cxn ang="0">
                <a:pos x="connsiteX45726" y="connsiteY45726"/>
              </a:cxn>
              <a:cxn ang="0">
                <a:pos x="connsiteX45727" y="connsiteY45727"/>
              </a:cxn>
              <a:cxn ang="0">
                <a:pos x="connsiteX45728" y="connsiteY45728"/>
              </a:cxn>
              <a:cxn ang="0">
                <a:pos x="connsiteX45729" y="connsiteY45729"/>
              </a:cxn>
              <a:cxn ang="0">
                <a:pos x="connsiteX45730" y="connsiteY45730"/>
              </a:cxn>
              <a:cxn ang="0">
                <a:pos x="connsiteX45731" y="connsiteY45731"/>
              </a:cxn>
              <a:cxn ang="0">
                <a:pos x="connsiteX45732" y="connsiteY45732"/>
              </a:cxn>
              <a:cxn ang="0">
                <a:pos x="connsiteX45733" y="connsiteY45733"/>
              </a:cxn>
              <a:cxn ang="0">
                <a:pos x="connsiteX45734" y="connsiteY45734"/>
              </a:cxn>
              <a:cxn ang="0">
                <a:pos x="connsiteX45735" y="connsiteY45735"/>
              </a:cxn>
              <a:cxn ang="0">
                <a:pos x="connsiteX45736" y="connsiteY45736"/>
              </a:cxn>
              <a:cxn ang="0">
                <a:pos x="connsiteX45737" y="connsiteY45737"/>
              </a:cxn>
              <a:cxn ang="0">
                <a:pos x="connsiteX45738" y="connsiteY45738"/>
              </a:cxn>
              <a:cxn ang="0">
                <a:pos x="connsiteX45739" y="connsiteY45739"/>
              </a:cxn>
              <a:cxn ang="0">
                <a:pos x="connsiteX45740" y="connsiteY45740"/>
              </a:cxn>
              <a:cxn ang="0">
                <a:pos x="connsiteX45741" y="connsiteY45741"/>
              </a:cxn>
              <a:cxn ang="0">
                <a:pos x="connsiteX45742" y="connsiteY45742"/>
              </a:cxn>
              <a:cxn ang="0">
                <a:pos x="connsiteX45743" y="connsiteY45743"/>
              </a:cxn>
              <a:cxn ang="0">
                <a:pos x="connsiteX45744" y="connsiteY45744"/>
              </a:cxn>
              <a:cxn ang="0">
                <a:pos x="connsiteX45745" y="connsiteY45745"/>
              </a:cxn>
              <a:cxn ang="0">
                <a:pos x="connsiteX45746" y="connsiteY45746"/>
              </a:cxn>
              <a:cxn ang="0">
                <a:pos x="connsiteX45747" y="connsiteY45747"/>
              </a:cxn>
              <a:cxn ang="0">
                <a:pos x="connsiteX45748" y="connsiteY45748"/>
              </a:cxn>
              <a:cxn ang="0">
                <a:pos x="connsiteX45749" y="connsiteY45749"/>
              </a:cxn>
              <a:cxn ang="0">
                <a:pos x="connsiteX45750" y="connsiteY45750"/>
              </a:cxn>
              <a:cxn ang="0">
                <a:pos x="connsiteX45751" y="connsiteY45751"/>
              </a:cxn>
              <a:cxn ang="0">
                <a:pos x="connsiteX45752" y="connsiteY45752"/>
              </a:cxn>
              <a:cxn ang="0">
                <a:pos x="connsiteX45753" y="connsiteY45753"/>
              </a:cxn>
              <a:cxn ang="0">
                <a:pos x="connsiteX45754" y="connsiteY45754"/>
              </a:cxn>
              <a:cxn ang="0">
                <a:pos x="connsiteX45755" y="connsiteY45755"/>
              </a:cxn>
              <a:cxn ang="0">
                <a:pos x="connsiteX45756" y="connsiteY45756"/>
              </a:cxn>
              <a:cxn ang="0">
                <a:pos x="connsiteX45757" y="connsiteY45757"/>
              </a:cxn>
              <a:cxn ang="0">
                <a:pos x="connsiteX45758" y="connsiteY45758"/>
              </a:cxn>
              <a:cxn ang="0">
                <a:pos x="connsiteX45759" y="connsiteY45759"/>
              </a:cxn>
              <a:cxn ang="0">
                <a:pos x="connsiteX45760" y="connsiteY45760"/>
              </a:cxn>
              <a:cxn ang="0">
                <a:pos x="connsiteX45761" y="connsiteY45761"/>
              </a:cxn>
              <a:cxn ang="0">
                <a:pos x="connsiteX45762" y="connsiteY45762"/>
              </a:cxn>
              <a:cxn ang="0">
                <a:pos x="connsiteX45763" y="connsiteY45763"/>
              </a:cxn>
              <a:cxn ang="0">
                <a:pos x="connsiteX45764" y="connsiteY45764"/>
              </a:cxn>
              <a:cxn ang="0">
                <a:pos x="connsiteX45765" y="connsiteY45765"/>
              </a:cxn>
              <a:cxn ang="0">
                <a:pos x="connsiteX45766" y="connsiteY45766"/>
              </a:cxn>
              <a:cxn ang="0">
                <a:pos x="connsiteX45767" y="connsiteY45767"/>
              </a:cxn>
              <a:cxn ang="0">
                <a:pos x="connsiteX45768" y="connsiteY45768"/>
              </a:cxn>
              <a:cxn ang="0">
                <a:pos x="connsiteX45769" y="connsiteY45769"/>
              </a:cxn>
              <a:cxn ang="0">
                <a:pos x="connsiteX45770" y="connsiteY45770"/>
              </a:cxn>
              <a:cxn ang="0">
                <a:pos x="connsiteX45771" y="connsiteY45771"/>
              </a:cxn>
              <a:cxn ang="0">
                <a:pos x="connsiteX45772" y="connsiteY45772"/>
              </a:cxn>
              <a:cxn ang="0">
                <a:pos x="connsiteX45773" y="connsiteY45773"/>
              </a:cxn>
              <a:cxn ang="0">
                <a:pos x="connsiteX45774" y="connsiteY45774"/>
              </a:cxn>
              <a:cxn ang="0">
                <a:pos x="connsiteX45775" y="connsiteY45775"/>
              </a:cxn>
              <a:cxn ang="0">
                <a:pos x="connsiteX45776" y="connsiteY45776"/>
              </a:cxn>
              <a:cxn ang="0">
                <a:pos x="connsiteX45777" y="connsiteY45777"/>
              </a:cxn>
              <a:cxn ang="0">
                <a:pos x="connsiteX45778" y="connsiteY45778"/>
              </a:cxn>
              <a:cxn ang="0">
                <a:pos x="connsiteX45779" y="connsiteY45779"/>
              </a:cxn>
              <a:cxn ang="0">
                <a:pos x="connsiteX45780" y="connsiteY45780"/>
              </a:cxn>
              <a:cxn ang="0">
                <a:pos x="connsiteX45781" y="connsiteY45781"/>
              </a:cxn>
              <a:cxn ang="0">
                <a:pos x="connsiteX45782" y="connsiteY45782"/>
              </a:cxn>
              <a:cxn ang="0">
                <a:pos x="connsiteX45783" y="connsiteY45783"/>
              </a:cxn>
              <a:cxn ang="0">
                <a:pos x="connsiteX45784" y="connsiteY45784"/>
              </a:cxn>
              <a:cxn ang="0">
                <a:pos x="connsiteX45785" y="connsiteY45785"/>
              </a:cxn>
              <a:cxn ang="0">
                <a:pos x="connsiteX45786" y="connsiteY45786"/>
              </a:cxn>
              <a:cxn ang="0">
                <a:pos x="connsiteX45787" y="connsiteY45787"/>
              </a:cxn>
              <a:cxn ang="0">
                <a:pos x="connsiteX45788" y="connsiteY45788"/>
              </a:cxn>
              <a:cxn ang="0">
                <a:pos x="connsiteX45789" y="connsiteY45789"/>
              </a:cxn>
              <a:cxn ang="0">
                <a:pos x="connsiteX45790" y="connsiteY45790"/>
              </a:cxn>
              <a:cxn ang="0">
                <a:pos x="connsiteX45791" y="connsiteY45791"/>
              </a:cxn>
              <a:cxn ang="0">
                <a:pos x="connsiteX45792" y="connsiteY45792"/>
              </a:cxn>
              <a:cxn ang="0">
                <a:pos x="connsiteX45793" y="connsiteY45793"/>
              </a:cxn>
              <a:cxn ang="0">
                <a:pos x="connsiteX45794" y="connsiteY45794"/>
              </a:cxn>
              <a:cxn ang="0">
                <a:pos x="connsiteX45795" y="connsiteY45795"/>
              </a:cxn>
              <a:cxn ang="0">
                <a:pos x="connsiteX45796" y="connsiteY45796"/>
              </a:cxn>
              <a:cxn ang="0">
                <a:pos x="connsiteX45797" y="connsiteY45797"/>
              </a:cxn>
              <a:cxn ang="0">
                <a:pos x="connsiteX45798" y="connsiteY45798"/>
              </a:cxn>
              <a:cxn ang="0">
                <a:pos x="connsiteX45799" y="connsiteY45799"/>
              </a:cxn>
              <a:cxn ang="0">
                <a:pos x="connsiteX45800" y="connsiteY45800"/>
              </a:cxn>
              <a:cxn ang="0">
                <a:pos x="connsiteX45801" y="connsiteY45801"/>
              </a:cxn>
              <a:cxn ang="0">
                <a:pos x="connsiteX45802" y="connsiteY45802"/>
              </a:cxn>
              <a:cxn ang="0">
                <a:pos x="connsiteX45803" y="connsiteY45803"/>
              </a:cxn>
              <a:cxn ang="0">
                <a:pos x="connsiteX45804" y="connsiteY45804"/>
              </a:cxn>
              <a:cxn ang="0">
                <a:pos x="connsiteX45805" y="connsiteY45805"/>
              </a:cxn>
              <a:cxn ang="0">
                <a:pos x="connsiteX45806" y="connsiteY45806"/>
              </a:cxn>
              <a:cxn ang="0">
                <a:pos x="connsiteX45807" y="connsiteY45807"/>
              </a:cxn>
              <a:cxn ang="0">
                <a:pos x="connsiteX45808" y="connsiteY45808"/>
              </a:cxn>
              <a:cxn ang="0">
                <a:pos x="connsiteX45809" y="connsiteY45809"/>
              </a:cxn>
              <a:cxn ang="0">
                <a:pos x="connsiteX45810" y="connsiteY45810"/>
              </a:cxn>
              <a:cxn ang="0">
                <a:pos x="connsiteX45811" y="connsiteY45811"/>
              </a:cxn>
              <a:cxn ang="0">
                <a:pos x="connsiteX45812" y="connsiteY45812"/>
              </a:cxn>
              <a:cxn ang="0">
                <a:pos x="connsiteX45813" y="connsiteY45813"/>
              </a:cxn>
              <a:cxn ang="0">
                <a:pos x="connsiteX45814" y="connsiteY45814"/>
              </a:cxn>
              <a:cxn ang="0">
                <a:pos x="connsiteX45815" y="connsiteY45815"/>
              </a:cxn>
              <a:cxn ang="0">
                <a:pos x="connsiteX45816" y="connsiteY45816"/>
              </a:cxn>
              <a:cxn ang="0">
                <a:pos x="connsiteX45817" y="connsiteY45817"/>
              </a:cxn>
              <a:cxn ang="0">
                <a:pos x="connsiteX45818" y="connsiteY45818"/>
              </a:cxn>
              <a:cxn ang="0">
                <a:pos x="connsiteX45819" y="connsiteY45819"/>
              </a:cxn>
              <a:cxn ang="0">
                <a:pos x="connsiteX45820" y="connsiteY45820"/>
              </a:cxn>
              <a:cxn ang="0">
                <a:pos x="connsiteX45821" y="connsiteY45821"/>
              </a:cxn>
              <a:cxn ang="0">
                <a:pos x="connsiteX45822" y="connsiteY45822"/>
              </a:cxn>
              <a:cxn ang="0">
                <a:pos x="connsiteX45823" y="connsiteY45823"/>
              </a:cxn>
              <a:cxn ang="0">
                <a:pos x="connsiteX45824" y="connsiteY45824"/>
              </a:cxn>
              <a:cxn ang="0">
                <a:pos x="connsiteX45825" y="connsiteY45825"/>
              </a:cxn>
              <a:cxn ang="0">
                <a:pos x="connsiteX45826" y="connsiteY45826"/>
              </a:cxn>
              <a:cxn ang="0">
                <a:pos x="connsiteX45827" y="connsiteY45827"/>
              </a:cxn>
              <a:cxn ang="0">
                <a:pos x="connsiteX45828" y="connsiteY45828"/>
              </a:cxn>
              <a:cxn ang="0">
                <a:pos x="connsiteX45829" y="connsiteY45829"/>
              </a:cxn>
              <a:cxn ang="0">
                <a:pos x="connsiteX45830" y="connsiteY45830"/>
              </a:cxn>
              <a:cxn ang="0">
                <a:pos x="connsiteX45831" y="connsiteY45831"/>
              </a:cxn>
              <a:cxn ang="0">
                <a:pos x="connsiteX45832" y="connsiteY45832"/>
              </a:cxn>
              <a:cxn ang="0">
                <a:pos x="connsiteX45833" y="connsiteY45833"/>
              </a:cxn>
              <a:cxn ang="0">
                <a:pos x="connsiteX45834" y="connsiteY45834"/>
              </a:cxn>
              <a:cxn ang="0">
                <a:pos x="connsiteX45835" y="connsiteY45835"/>
              </a:cxn>
              <a:cxn ang="0">
                <a:pos x="connsiteX45836" y="connsiteY45836"/>
              </a:cxn>
              <a:cxn ang="0">
                <a:pos x="connsiteX45837" y="connsiteY45837"/>
              </a:cxn>
              <a:cxn ang="0">
                <a:pos x="connsiteX45838" y="connsiteY45838"/>
              </a:cxn>
              <a:cxn ang="0">
                <a:pos x="connsiteX45839" y="connsiteY45839"/>
              </a:cxn>
              <a:cxn ang="0">
                <a:pos x="connsiteX45840" y="connsiteY45840"/>
              </a:cxn>
              <a:cxn ang="0">
                <a:pos x="connsiteX45841" y="connsiteY45841"/>
              </a:cxn>
              <a:cxn ang="0">
                <a:pos x="connsiteX45842" y="connsiteY45842"/>
              </a:cxn>
              <a:cxn ang="0">
                <a:pos x="connsiteX45843" y="connsiteY45843"/>
              </a:cxn>
              <a:cxn ang="0">
                <a:pos x="connsiteX45844" y="connsiteY45844"/>
              </a:cxn>
              <a:cxn ang="0">
                <a:pos x="connsiteX45845" y="connsiteY45845"/>
              </a:cxn>
              <a:cxn ang="0">
                <a:pos x="connsiteX45846" y="connsiteY45846"/>
              </a:cxn>
              <a:cxn ang="0">
                <a:pos x="connsiteX45847" y="connsiteY45847"/>
              </a:cxn>
              <a:cxn ang="0">
                <a:pos x="connsiteX45848" y="connsiteY45848"/>
              </a:cxn>
              <a:cxn ang="0">
                <a:pos x="connsiteX45849" y="connsiteY45849"/>
              </a:cxn>
              <a:cxn ang="0">
                <a:pos x="connsiteX45850" y="connsiteY45850"/>
              </a:cxn>
              <a:cxn ang="0">
                <a:pos x="connsiteX45851" y="connsiteY45851"/>
              </a:cxn>
              <a:cxn ang="0">
                <a:pos x="connsiteX45852" y="connsiteY45852"/>
              </a:cxn>
              <a:cxn ang="0">
                <a:pos x="connsiteX45853" y="connsiteY45853"/>
              </a:cxn>
              <a:cxn ang="0">
                <a:pos x="connsiteX45854" y="connsiteY45854"/>
              </a:cxn>
              <a:cxn ang="0">
                <a:pos x="connsiteX45855" y="connsiteY45855"/>
              </a:cxn>
              <a:cxn ang="0">
                <a:pos x="connsiteX45856" y="connsiteY45856"/>
              </a:cxn>
              <a:cxn ang="0">
                <a:pos x="connsiteX45857" y="connsiteY45857"/>
              </a:cxn>
              <a:cxn ang="0">
                <a:pos x="connsiteX45858" y="connsiteY45858"/>
              </a:cxn>
              <a:cxn ang="0">
                <a:pos x="connsiteX45859" y="connsiteY45859"/>
              </a:cxn>
              <a:cxn ang="0">
                <a:pos x="connsiteX45860" y="connsiteY45860"/>
              </a:cxn>
              <a:cxn ang="0">
                <a:pos x="connsiteX45861" y="connsiteY45861"/>
              </a:cxn>
              <a:cxn ang="0">
                <a:pos x="connsiteX45862" y="connsiteY45862"/>
              </a:cxn>
              <a:cxn ang="0">
                <a:pos x="connsiteX45863" y="connsiteY45863"/>
              </a:cxn>
              <a:cxn ang="0">
                <a:pos x="connsiteX45864" y="connsiteY45864"/>
              </a:cxn>
              <a:cxn ang="0">
                <a:pos x="connsiteX45865" y="connsiteY45865"/>
              </a:cxn>
              <a:cxn ang="0">
                <a:pos x="connsiteX45866" y="connsiteY45866"/>
              </a:cxn>
              <a:cxn ang="0">
                <a:pos x="connsiteX45867" y="connsiteY45867"/>
              </a:cxn>
              <a:cxn ang="0">
                <a:pos x="connsiteX45868" y="connsiteY45868"/>
              </a:cxn>
              <a:cxn ang="0">
                <a:pos x="connsiteX45869" y="connsiteY45869"/>
              </a:cxn>
              <a:cxn ang="0">
                <a:pos x="connsiteX45870" y="connsiteY45870"/>
              </a:cxn>
              <a:cxn ang="0">
                <a:pos x="connsiteX45871" y="connsiteY45871"/>
              </a:cxn>
              <a:cxn ang="0">
                <a:pos x="connsiteX45872" y="connsiteY45872"/>
              </a:cxn>
              <a:cxn ang="0">
                <a:pos x="connsiteX45873" y="connsiteY45873"/>
              </a:cxn>
              <a:cxn ang="0">
                <a:pos x="connsiteX45874" y="connsiteY45874"/>
              </a:cxn>
              <a:cxn ang="0">
                <a:pos x="connsiteX45875" y="connsiteY45875"/>
              </a:cxn>
              <a:cxn ang="0">
                <a:pos x="connsiteX45876" y="connsiteY45876"/>
              </a:cxn>
              <a:cxn ang="0">
                <a:pos x="connsiteX45877" y="connsiteY45877"/>
              </a:cxn>
              <a:cxn ang="0">
                <a:pos x="connsiteX45878" y="connsiteY45878"/>
              </a:cxn>
              <a:cxn ang="0">
                <a:pos x="connsiteX45879" y="connsiteY45879"/>
              </a:cxn>
              <a:cxn ang="0">
                <a:pos x="connsiteX45880" y="connsiteY45880"/>
              </a:cxn>
              <a:cxn ang="0">
                <a:pos x="connsiteX45881" y="connsiteY45881"/>
              </a:cxn>
              <a:cxn ang="0">
                <a:pos x="connsiteX45882" y="connsiteY45882"/>
              </a:cxn>
              <a:cxn ang="0">
                <a:pos x="connsiteX45883" y="connsiteY45883"/>
              </a:cxn>
              <a:cxn ang="0">
                <a:pos x="connsiteX45884" y="connsiteY45884"/>
              </a:cxn>
              <a:cxn ang="0">
                <a:pos x="connsiteX45885" y="connsiteY45885"/>
              </a:cxn>
              <a:cxn ang="0">
                <a:pos x="connsiteX45886" y="connsiteY45886"/>
              </a:cxn>
              <a:cxn ang="0">
                <a:pos x="connsiteX45887" y="connsiteY45887"/>
              </a:cxn>
              <a:cxn ang="0">
                <a:pos x="connsiteX45888" y="connsiteY45888"/>
              </a:cxn>
              <a:cxn ang="0">
                <a:pos x="connsiteX45889" y="connsiteY45889"/>
              </a:cxn>
              <a:cxn ang="0">
                <a:pos x="connsiteX45890" y="connsiteY45890"/>
              </a:cxn>
              <a:cxn ang="0">
                <a:pos x="connsiteX45891" y="connsiteY45891"/>
              </a:cxn>
              <a:cxn ang="0">
                <a:pos x="connsiteX45892" y="connsiteY45892"/>
              </a:cxn>
              <a:cxn ang="0">
                <a:pos x="connsiteX45893" y="connsiteY45893"/>
              </a:cxn>
              <a:cxn ang="0">
                <a:pos x="connsiteX45894" y="connsiteY45894"/>
              </a:cxn>
              <a:cxn ang="0">
                <a:pos x="connsiteX45895" y="connsiteY45895"/>
              </a:cxn>
              <a:cxn ang="0">
                <a:pos x="connsiteX45896" y="connsiteY45896"/>
              </a:cxn>
              <a:cxn ang="0">
                <a:pos x="connsiteX45897" y="connsiteY45897"/>
              </a:cxn>
              <a:cxn ang="0">
                <a:pos x="connsiteX45898" y="connsiteY45898"/>
              </a:cxn>
              <a:cxn ang="0">
                <a:pos x="connsiteX45899" y="connsiteY45899"/>
              </a:cxn>
              <a:cxn ang="0">
                <a:pos x="connsiteX45900" y="connsiteY45900"/>
              </a:cxn>
              <a:cxn ang="0">
                <a:pos x="connsiteX45901" y="connsiteY45901"/>
              </a:cxn>
              <a:cxn ang="0">
                <a:pos x="connsiteX45902" y="connsiteY45902"/>
              </a:cxn>
              <a:cxn ang="0">
                <a:pos x="connsiteX45903" y="connsiteY45903"/>
              </a:cxn>
              <a:cxn ang="0">
                <a:pos x="connsiteX45904" y="connsiteY45904"/>
              </a:cxn>
              <a:cxn ang="0">
                <a:pos x="connsiteX45905" y="connsiteY45905"/>
              </a:cxn>
              <a:cxn ang="0">
                <a:pos x="connsiteX45906" y="connsiteY45906"/>
              </a:cxn>
              <a:cxn ang="0">
                <a:pos x="connsiteX45907" y="connsiteY45907"/>
              </a:cxn>
              <a:cxn ang="0">
                <a:pos x="connsiteX45908" y="connsiteY45908"/>
              </a:cxn>
              <a:cxn ang="0">
                <a:pos x="connsiteX45909" y="connsiteY45909"/>
              </a:cxn>
              <a:cxn ang="0">
                <a:pos x="connsiteX45910" y="connsiteY45910"/>
              </a:cxn>
              <a:cxn ang="0">
                <a:pos x="connsiteX45911" y="connsiteY45911"/>
              </a:cxn>
              <a:cxn ang="0">
                <a:pos x="connsiteX45912" y="connsiteY45912"/>
              </a:cxn>
              <a:cxn ang="0">
                <a:pos x="connsiteX45913" y="connsiteY45913"/>
              </a:cxn>
              <a:cxn ang="0">
                <a:pos x="connsiteX45914" y="connsiteY45914"/>
              </a:cxn>
              <a:cxn ang="0">
                <a:pos x="connsiteX45915" y="connsiteY45915"/>
              </a:cxn>
              <a:cxn ang="0">
                <a:pos x="connsiteX45916" y="connsiteY45916"/>
              </a:cxn>
              <a:cxn ang="0">
                <a:pos x="connsiteX45917" y="connsiteY45917"/>
              </a:cxn>
              <a:cxn ang="0">
                <a:pos x="connsiteX45918" y="connsiteY45918"/>
              </a:cxn>
              <a:cxn ang="0">
                <a:pos x="connsiteX45919" y="connsiteY45919"/>
              </a:cxn>
              <a:cxn ang="0">
                <a:pos x="connsiteX45920" y="connsiteY45920"/>
              </a:cxn>
              <a:cxn ang="0">
                <a:pos x="connsiteX45921" y="connsiteY45921"/>
              </a:cxn>
              <a:cxn ang="0">
                <a:pos x="connsiteX45922" y="connsiteY45922"/>
              </a:cxn>
              <a:cxn ang="0">
                <a:pos x="connsiteX45923" y="connsiteY45923"/>
              </a:cxn>
              <a:cxn ang="0">
                <a:pos x="connsiteX45924" y="connsiteY45924"/>
              </a:cxn>
              <a:cxn ang="0">
                <a:pos x="connsiteX45925" y="connsiteY45925"/>
              </a:cxn>
              <a:cxn ang="0">
                <a:pos x="connsiteX45926" y="connsiteY45926"/>
              </a:cxn>
              <a:cxn ang="0">
                <a:pos x="connsiteX45927" y="connsiteY45927"/>
              </a:cxn>
              <a:cxn ang="0">
                <a:pos x="connsiteX45928" y="connsiteY45928"/>
              </a:cxn>
              <a:cxn ang="0">
                <a:pos x="connsiteX45929" y="connsiteY45929"/>
              </a:cxn>
              <a:cxn ang="0">
                <a:pos x="connsiteX45930" y="connsiteY45930"/>
              </a:cxn>
              <a:cxn ang="0">
                <a:pos x="connsiteX45931" y="connsiteY45931"/>
              </a:cxn>
              <a:cxn ang="0">
                <a:pos x="connsiteX45932" y="connsiteY45932"/>
              </a:cxn>
              <a:cxn ang="0">
                <a:pos x="connsiteX45933" y="connsiteY45933"/>
              </a:cxn>
              <a:cxn ang="0">
                <a:pos x="connsiteX45934" y="connsiteY45934"/>
              </a:cxn>
              <a:cxn ang="0">
                <a:pos x="connsiteX45935" y="connsiteY45935"/>
              </a:cxn>
              <a:cxn ang="0">
                <a:pos x="connsiteX45936" y="connsiteY45936"/>
              </a:cxn>
              <a:cxn ang="0">
                <a:pos x="connsiteX45937" y="connsiteY45937"/>
              </a:cxn>
              <a:cxn ang="0">
                <a:pos x="connsiteX45938" y="connsiteY45938"/>
              </a:cxn>
              <a:cxn ang="0">
                <a:pos x="connsiteX45939" y="connsiteY45939"/>
              </a:cxn>
              <a:cxn ang="0">
                <a:pos x="connsiteX45940" y="connsiteY45940"/>
              </a:cxn>
              <a:cxn ang="0">
                <a:pos x="connsiteX45941" y="connsiteY45941"/>
              </a:cxn>
              <a:cxn ang="0">
                <a:pos x="connsiteX45942" y="connsiteY45942"/>
              </a:cxn>
              <a:cxn ang="0">
                <a:pos x="connsiteX45943" y="connsiteY45943"/>
              </a:cxn>
              <a:cxn ang="0">
                <a:pos x="connsiteX45944" y="connsiteY45944"/>
              </a:cxn>
              <a:cxn ang="0">
                <a:pos x="connsiteX45945" y="connsiteY45945"/>
              </a:cxn>
              <a:cxn ang="0">
                <a:pos x="connsiteX45946" y="connsiteY45946"/>
              </a:cxn>
              <a:cxn ang="0">
                <a:pos x="connsiteX45947" y="connsiteY45947"/>
              </a:cxn>
              <a:cxn ang="0">
                <a:pos x="connsiteX45948" y="connsiteY45948"/>
              </a:cxn>
              <a:cxn ang="0">
                <a:pos x="connsiteX45949" y="connsiteY45949"/>
              </a:cxn>
              <a:cxn ang="0">
                <a:pos x="connsiteX45950" y="connsiteY45950"/>
              </a:cxn>
              <a:cxn ang="0">
                <a:pos x="connsiteX45951" y="connsiteY45951"/>
              </a:cxn>
              <a:cxn ang="0">
                <a:pos x="connsiteX45952" y="connsiteY45952"/>
              </a:cxn>
              <a:cxn ang="0">
                <a:pos x="connsiteX45953" y="connsiteY45953"/>
              </a:cxn>
              <a:cxn ang="0">
                <a:pos x="connsiteX45954" y="connsiteY45954"/>
              </a:cxn>
              <a:cxn ang="0">
                <a:pos x="connsiteX45955" y="connsiteY45955"/>
              </a:cxn>
              <a:cxn ang="0">
                <a:pos x="connsiteX45956" y="connsiteY45956"/>
              </a:cxn>
              <a:cxn ang="0">
                <a:pos x="connsiteX45957" y="connsiteY45957"/>
              </a:cxn>
              <a:cxn ang="0">
                <a:pos x="connsiteX45958" y="connsiteY45958"/>
              </a:cxn>
              <a:cxn ang="0">
                <a:pos x="connsiteX45959" y="connsiteY45959"/>
              </a:cxn>
              <a:cxn ang="0">
                <a:pos x="connsiteX45960" y="connsiteY45960"/>
              </a:cxn>
              <a:cxn ang="0">
                <a:pos x="connsiteX45961" y="connsiteY45961"/>
              </a:cxn>
              <a:cxn ang="0">
                <a:pos x="connsiteX45962" y="connsiteY45962"/>
              </a:cxn>
              <a:cxn ang="0">
                <a:pos x="connsiteX45963" y="connsiteY45963"/>
              </a:cxn>
              <a:cxn ang="0">
                <a:pos x="connsiteX45964" y="connsiteY45964"/>
              </a:cxn>
              <a:cxn ang="0">
                <a:pos x="connsiteX45965" y="connsiteY45965"/>
              </a:cxn>
              <a:cxn ang="0">
                <a:pos x="connsiteX45966" y="connsiteY45966"/>
              </a:cxn>
              <a:cxn ang="0">
                <a:pos x="connsiteX45967" y="connsiteY45967"/>
              </a:cxn>
              <a:cxn ang="0">
                <a:pos x="connsiteX45968" y="connsiteY45968"/>
              </a:cxn>
              <a:cxn ang="0">
                <a:pos x="connsiteX45969" y="connsiteY45969"/>
              </a:cxn>
              <a:cxn ang="0">
                <a:pos x="connsiteX45970" y="connsiteY45970"/>
              </a:cxn>
              <a:cxn ang="0">
                <a:pos x="connsiteX45971" y="connsiteY45971"/>
              </a:cxn>
              <a:cxn ang="0">
                <a:pos x="connsiteX45972" y="connsiteY45972"/>
              </a:cxn>
              <a:cxn ang="0">
                <a:pos x="connsiteX45973" y="connsiteY45973"/>
              </a:cxn>
              <a:cxn ang="0">
                <a:pos x="connsiteX45974" y="connsiteY45974"/>
              </a:cxn>
              <a:cxn ang="0">
                <a:pos x="connsiteX45975" y="connsiteY45975"/>
              </a:cxn>
              <a:cxn ang="0">
                <a:pos x="connsiteX45976" y="connsiteY45976"/>
              </a:cxn>
              <a:cxn ang="0">
                <a:pos x="connsiteX45977" y="connsiteY45977"/>
              </a:cxn>
              <a:cxn ang="0">
                <a:pos x="connsiteX45978" y="connsiteY45978"/>
              </a:cxn>
              <a:cxn ang="0">
                <a:pos x="connsiteX45979" y="connsiteY45979"/>
              </a:cxn>
              <a:cxn ang="0">
                <a:pos x="connsiteX45980" y="connsiteY45980"/>
              </a:cxn>
              <a:cxn ang="0">
                <a:pos x="connsiteX45981" y="connsiteY45981"/>
              </a:cxn>
              <a:cxn ang="0">
                <a:pos x="connsiteX45982" y="connsiteY45982"/>
              </a:cxn>
              <a:cxn ang="0">
                <a:pos x="connsiteX45983" y="connsiteY45983"/>
              </a:cxn>
              <a:cxn ang="0">
                <a:pos x="connsiteX45984" y="connsiteY45984"/>
              </a:cxn>
              <a:cxn ang="0">
                <a:pos x="connsiteX45985" y="connsiteY45985"/>
              </a:cxn>
              <a:cxn ang="0">
                <a:pos x="connsiteX45986" y="connsiteY45986"/>
              </a:cxn>
              <a:cxn ang="0">
                <a:pos x="connsiteX45987" y="connsiteY45987"/>
              </a:cxn>
              <a:cxn ang="0">
                <a:pos x="connsiteX45988" y="connsiteY45988"/>
              </a:cxn>
              <a:cxn ang="0">
                <a:pos x="connsiteX45989" y="connsiteY45989"/>
              </a:cxn>
              <a:cxn ang="0">
                <a:pos x="connsiteX45990" y="connsiteY45990"/>
              </a:cxn>
              <a:cxn ang="0">
                <a:pos x="connsiteX45991" y="connsiteY45991"/>
              </a:cxn>
              <a:cxn ang="0">
                <a:pos x="connsiteX45992" y="connsiteY45992"/>
              </a:cxn>
              <a:cxn ang="0">
                <a:pos x="connsiteX45993" y="connsiteY45993"/>
              </a:cxn>
              <a:cxn ang="0">
                <a:pos x="connsiteX45994" y="connsiteY45994"/>
              </a:cxn>
              <a:cxn ang="0">
                <a:pos x="connsiteX45995" y="connsiteY45995"/>
              </a:cxn>
              <a:cxn ang="0">
                <a:pos x="connsiteX45996" y="connsiteY45996"/>
              </a:cxn>
              <a:cxn ang="0">
                <a:pos x="connsiteX45997" y="connsiteY45997"/>
              </a:cxn>
              <a:cxn ang="0">
                <a:pos x="connsiteX45998" y="connsiteY45998"/>
              </a:cxn>
              <a:cxn ang="0">
                <a:pos x="connsiteX45999" y="connsiteY45999"/>
              </a:cxn>
              <a:cxn ang="0">
                <a:pos x="connsiteX46000" y="connsiteY46000"/>
              </a:cxn>
              <a:cxn ang="0">
                <a:pos x="connsiteX46001" y="connsiteY46001"/>
              </a:cxn>
              <a:cxn ang="0">
                <a:pos x="connsiteX46002" y="connsiteY46002"/>
              </a:cxn>
              <a:cxn ang="0">
                <a:pos x="connsiteX46003" y="connsiteY46003"/>
              </a:cxn>
              <a:cxn ang="0">
                <a:pos x="connsiteX46004" y="connsiteY46004"/>
              </a:cxn>
              <a:cxn ang="0">
                <a:pos x="connsiteX46005" y="connsiteY46005"/>
              </a:cxn>
              <a:cxn ang="0">
                <a:pos x="connsiteX46006" y="connsiteY46006"/>
              </a:cxn>
              <a:cxn ang="0">
                <a:pos x="connsiteX46007" y="connsiteY46007"/>
              </a:cxn>
              <a:cxn ang="0">
                <a:pos x="connsiteX46008" y="connsiteY46008"/>
              </a:cxn>
              <a:cxn ang="0">
                <a:pos x="connsiteX46009" y="connsiteY46009"/>
              </a:cxn>
              <a:cxn ang="0">
                <a:pos x="connsiteX46010" y="connsiteY46010"/>
              </a:cxn>
              <a:cxn ang="0">
                <a:pos x="connsiteX46011" y="connsiteY46011"/>
              </a:cxn>
              <a:cxn ang="0">
                <a:pos x="connsiteX46012" y="connsiteY46012"/>
              </a:cxn>
              <a:cxn ang="0">
                <a:pos x="connsiteX46013" y="connsiteY46013"/>
              </a:cxn>
              <a:cxn ang="0">
                <a:pos x="connsiteX46014" y="connsiteY46014"/>
              </a:cxn>
              <a:cxn ang="0">
                <a:pos x="connsiteX46015" y="connsiteY46015"/>
              </a:cxn>
              <a:cxn ang="0">
                <a:pos x="connsiteX46016" y="connsiteY46016"/>
              </a:cxn>
              <a:cxn ang="0">
                <a:pos x="connsiteX46017" y="connsiteY46017"/>
              </a:cxn>
              <a:cxn ang="0">
                <a:pos x="connsiteX46018" y="connsiteY46018"/>
              </a:cxn>
              <a:cxn ang="0">
                <a:pos x="connsiteX46019" y="connsiteY46019"/>
              </a:cxn>
              <a:cxn ang="0">
                <a:pos x="connsiteX46020" y="connsiteY46020"/>
              </a:cxn>
              <a:cxn ang="0">
                <a:pos x="connsiteX46021" y="connsiteY46021"/>
              </a:cxn>
              <a:cxn ang="0">
                <a:pos x="connsiteX46022" y="connsiteY46022"/>
              </a:cxn>
              <a:cxn ang="0">
                <a:pos x="connsiteX46023" y="connsiteY46023"/>
              </a:cxn>
              <a:cxn ang="0">
                <a:pos x="connsiteX46024" y="connsiteY46024"/>
              </a:cxn>
              <a:cxn ang="0">
                <a:pos x="connsiteX46025" y="connsiteY46025"/>
              </a:cxn>
              <a:cxn ang="0">
                <a:pos x="connsiteX46026" y="connsiteY46026"/>
              </a:cxn>
              <a:cxn ang="0">
                <a:pos x="connsiteX46027" y="connsiteY46027"/>
              </a:cxn>
              <a:cxn ang="0">
                <a:pos x="connsiteX46028" y="connsiteY46028"/>
              </a:cxn>
              <a:cxn ang="0">
                <a:pos x="connsiteX46029" y="connsiteY46029"/>
              </a:cxn>
              <a:cxn ang="0">
                <a:pos x="connsiteX46030" y="connsiteY46030"/>
              </a:cxn>
              <a:cxn ang="0">
                <a:pos x="connsiteX46031" y="connsiteY46031"/>
              </a:cxn>
              <a:cxn ang="0">
                <a:pos x="connsiteX46032" y="connsiteY46032"/>
              </a:cxn>
              <a:cxn ang="0">
                <a:pos x="connsiteX46033" y="connsiteY46033"/>
              </a:cxn>
              <a:cxn ang="0">
                <a:pos x="connsiteX46034" y="connsiteY46034"/>
              </a:cxn>
              <a:cxn ang="0">
                <a:pos x="connsiteX46035" y="connsiteY46035"/>
              </a:cxn>
              <a:cxn ang="0">
                <a:pos x="connsiteX46036" y="connsiteY46036"/>
              </a:cxn>
              <a:cxn ang="0">
                <a:pos x="connsiteX46037" y="connsiteY46037"/>
              </a:cxn>
              <a:cxn ang="0">
                <a:pos x="connsiteX46038" y="connsiteY46038"/>
              </a:cxn>
              <a:cxn ang="0">
                <a:pos x="connsiteX46039" y="connsiteY46039"/>
              </a:cxn>
              <a:cxn ang="0">
                <a:pos x="connsiteX46040" y="connsiteY46040"/>
              </a:cxn>
              <a:cxn ang="0">
                <a:pos x="connsiteX46041" y="connsiteY46041"/>
              </a:cxn>
              <a:cxn ang="0">
                <a:pos x="connsiteX46042" y="connsiteY46042"/>
              </a:cxn>
              <a:cxn ang="0">
                <a:pos x="connsiteX46043" y="connsiteY46043"/>
              </a:cxn>
              <a:cxn ang="0">
                <a:pos x="connsiteX46044" y="connsiteY46044"/>
              </a:cxn>
              <a:cxn ang="0">
                <a:pos x="connsiteX46045" y="connsiteY46045"/>
              </a:cxn>
              <a:cxn ang="0">
                <a:pos x="connsiteX46046" y="connsiteY46046"/>
              </a:cxn>
              <a:cxn ang="0">
                <a:pos x="connsiteX46047" y="connsiteY46047"/>
              </a:cxn>
              <a:cxn ang="0">
                <a:pos x="connsiteX46048" y="connsiteY46048"/>
              </a:cxn>
              <a:cxn ang="0">
                <a:pos x="connsiteX46049" y="connsiteY46049"/>
              </a:cxn>
              <a:cxn ang="0">
                <a:pos x="connsiteX46050" y="connsiteY46050"/>
              </a:cxn>
              <a:cxn ang="0">
                <a:pos x="connsiteX46051" y="connsiteY46051"/>
              </a:cxn>
              <a:cxn ang="0">
                <a:pos x="connsiteX46052" y="connsiteY46052"/>
              </a:cxn>
              <a:cxn ang="0">
                <a:pos x="connsiteX46053" y="connsiteY46053"/>
              </a:cxn>
              <a:cxn ang="0">
                <a:pos x="connsiteX46054" y="connsiteY46054"/>
              </a:cxn>
              <a:cxn ang="0">
                <a:pos x="connsiteX46055" y="connsiteY46055"/>
              </a:cxn>
              <a:cxn ang="0">
                <a:pos x="connsiteX46056" y="connsiteY46056"/>
              </a:cxn>
              <a:cxn ang="0">
                <a:pos x="connsiteX46057" y="connsiteY46057"/>
              </a:cxn>
              <a:cxn ang="0">
                <a:pos x="connsiteX46058" y="connsiteY46058"/>
              </a:cxn>
              <a:cxn ang="0">
                <a:pos x="connsiteX46059" y="connsiteY46059"/>
              </a:cxn>
              <a:cxn ang="0">
                <a:pos x="connsiteX46060" y="connsiteY46060"/>
              </a:cxn>
              <a:cxn ang="0">
                <a:pos x="connsiteX46061" y="connsiteY46061"/>
              </a:cxn>
              <a:cxn ang="0">
                <a:pos x="connsiteX46062" y="connsiteY46062"/>
              </a:cxn>
              <a:cxn ang="0">
                <a:pos x="connsiteX46063" y="connsiteY46063"/>
              </a:cxn>
              <a:cxn ang="0">
                <a:pos x="connsiteX46064" y="connsiteY46064"/>
              </a:cxn>
              <a:cxn ang="0">
                <a:pos x="connsiteX46065" y="connsiteY46065"/>
              </a:cxn>
              <a:cxn ang="0">
                <a:pos x="connsiteX46066" y="connsiteY46066"/>
              </a:cxn>
              <a:cxn ang="0">
                <a:pos x="connsiteX46067" y="connsiteY46067"/>
              </a:cxn>
              <a:cxn ang="0">
                <a:pos x="connsiteX46068" y="connsiteY46068"/>
              </a:cxn>
              <a:cxn ang="0">
                <a:pos x="connsiteX46069" y="connsiteY46069"/>
              </a:cxn>
              <a:cxn ang="0">
                <a:pos x="connsiteX46070" y="connsiteY46070"/>
              </a:cxn>
              <a:cxn ang="0">
                <a:pos x="connsiteX46071" y="connsiteY46071"/>
              </a:cxn>
              <a:cxn ang="0">
                <a:pos x="connsiteX46072" y="connsiteY46072"/>
              </a:cxn>
              <a:cxn ang="0">
                <a:pos x="connsiteX46073" y="connsiteY46073"/>
              </a:cxn>
              <a:cxn ang="0">
                <a:pos x="connsiteX46074" y="connsiteY46074"/>
              </a:cxn>
              <a:cxn ang="0">
                <a:pos x="connsiteX46075" y="connsiteY46075"/>
              </a:cxn>
              <a:cxn ang="0">
                <a:pos x="connsiteX46076" y="connsiteY46076"/>
              </a:cxn>
              <a:cxn ang="0">
                <a:pos x="connsiteX46077" y="connsiteY46077"/>
              </a:cxn>
              <a:cxn ang="0">
                <a:pos x="connsiteX46078" y="connsiteY46078"/>
              </a:cxn>
              <a:cxn ang="0">
                <a:pos x="connsiteX46079" y="connsiteY46079"/>
              </a:cxn>
              <a:cxn ang="0">
                <a:pos x="connsiteX46080" y="connsiteY46080"/>
              </a:cxn>
              <a:cxn ang="0">
                <a:pos x="connsiteX46081" y="connsiteY46081"/>
              </a:cxn>
              <a:cxn ang="0">
                <a:pos x="connsiteX46082" y="connsiteY46082"/>
              </a:cxn>
              <a:cxn ang="0">
                <a:pos x="connsiteX46083" y="connsiteY46083"/>
              </a:cxn>
              <a:cxn ang="0">
                <a:pos x="connsiteX46084" y="connsiteY46084"/>
              </a:cxn>
              <a:cxn ang="0">
                <a:pos x="connsiteX46085" y="connsiteY46085"/>
              </a:cxn>
              <a:cxn ang="0">
                <a:pos x="connsiteX46086" y="connsiteY46086"/>
              </a:cxn>
              <a:cxn ang="0">
                <a:pos x="connsiteX46087" y="connsiteY46087"/>
              </a:cxn>
              <a:cxn ang="0">
                <a:pos x="connsiteX46088" y="connsiteY46088"/>
              </a:cxn>
              <a:cxn ang="0">
                <a:pos x="connsiteX46089" y="connsiteY46089"/>
              </a:cxn>
              <a:cxn ang="0">
                <a:pos x="connsiteX46090" y="connsiteY46090"/>
              </a:cxn>
              <a:cxn ang="0">
                <a:pos x="connsiteX46091" y="connsiteY46091"/>
              </a:cxn>
              <a:cxn ang="0">
                <a:pos x="connsiteX46092" y="connsiteY46092"/>
              </a:cxn>
              <a:cxn ang="0">
                <a:pos x="connsiteX46093" y="connsiteY46093"/>
              </a:cxn>
              <a:cxn ang="0">
                <a:pos x="connsiteX46094" y="connsiteY46094"/>
              </a:cxn>
              <a:cxn ang="0">
                <a:pos x="connsiteX46095" y="connsiteY46095"/>
              </a:cxn>
              <a:cxn ang="0">
                <a:pos x="connsiteX46096" y="connsiteY46096"/>
              </a:cxn>
              <a:cxn ang="0">
                <a:pos x="connsiteX46097" y="connsiteY46097"/>
              </a:cxn>
              <a:cxn ang="0">
                <a:pos x="connsiteX46098" y="connsiteY46098"/>
              </a:cxn>
              <a:cxn ang="0">
                <a:pos x="connsiteX46099" y="connsiteY46099"/>
              </a:cxn>
              <a:cxn ang="0">
                <a:pos x="connsiteX46100" y="connsiteY46100"/>
              </a:cxn>
              <a:cxn ang="0">
                <a:pos x="connsiteX46101" y="connsiteY46101"/>
              </a:cxn>
              <a:cxn ang="0">
                <a:pos x="connsiteX46102" y="connsiteY46102"/>
              </a:cxn>
              <a:cxn ang="0">
                <a:pos x="connsiteX46103" y="connsiteY46103"/>
              </a:cxn>
              <a:cxn ang="0">
                <a:pos x="connsiteX46104" y="connsiteY46104"/>
              </a:cxn>
              <a:cxn ang="0">
                <a:pos x="connsiteX46105" y="connsiteY46105"/>
              </a:cxn>
              <a:cxn ang="0">
                <a:pos x="connsiteX46106" y="connsiteY46106"/>
              </a:cxn>
              <a:cxn ang="0">
                <a:pos x="connsiteX46107" y="connsiteY46107"/>
              </a:cxn>
              <a:cxn ang="0">
                <a:pos x="connsiteX46108" y="connsiteY46108"/>
              </a:cxn>
              <a:cxn ang="0">
                <a:pos x="connsiteX46109" y="connsiteY46109"/>
              </a:cxn>
              <a:cxn ang="0">
                <a:pos x="connsiteX46110" y="connsiteY46110"/>
              </a:cxn>
              <a:cxn ang="0">
                <a:pos x="connsiteX46111" y="connsiteY46111"/>
              </a:cxn>
              <a:cxn ang="0">
                <a:pos x="connsiteX46112" y="connsiteY46112"/>
              </a:cxn>
              <a:cxn ang="0">
                <a:pos x="connsiteX46113" y="connsiteY46113"/>
              </a:cxn>
              <a:cxn ang="0">
                <a:pos x="connsiteX46114" y="connsiteY46114"/>
              </a:cxn>
              <a:cxn ang="0">
                <a:pos x="connsiteX46115" y="connsiteY46115"/>
              </a:cxn>
              <a:cxn ang="0">
                <a:pos x="connsiteX46116" y="connsiteY46116"/>
              </a:cxn>
              <a:cxn ang="0">
                <a:pos x="connsiteX46117" y="connsiteY46117"/>
              </a:cxn>
              <a:cxn ang="0">
                <a:pos x="connsiteX46118" y="connsiteY46118"/>
              </a:cxn>
              <a:cxn ang="0">
                <a:pos x="connsiteX46119" y="connsiteY46119"/>
              </a:cxn>
              <a:cxn ang="0">
                <a:pos x="connsiteX46120" y="connsiteY46120"/>
              </a:cxn>
              <a:cxn ang="0">
                <a:pos x="connsiteX46121" y="connsiteY46121"/>
              </a:cxn>
              <a:cxn ang="0">
                <a:pos x="connsiteX46122" y="connsiteY46122"/>
              </a:cxn>
              <a:cxn ang="0">
                <a:pos x="connsiteX46123" y="connsiteY46123"/>
              </a:cxn>
              <a:cxn ang="0">
                <a:pos x="connsiteX46124" y="connsiteY46124"/>
              </a:cxn>
              <a:cxn ang="0">
                <a:pos x="connsiteX46125" y="connsiteY46125"/>
              </a:cxn>
              <a:cxn ang="0">
                <a:pos x="connsiteX46126" y="connsiteY46126"/>
              </a:cxn>
              <a:cxn ang="0">
                <a:pos x="connsiteX46127" y="connsiteY46127"/>
              </a:cxn>
              <a:cxn ang="0">
                <a:pos x="connsiteX46128" y="connsiteY46128"/>
              </a:cxn>
              <a:cxn ang="0">
                <a:pos x="connsiteX46129" y="connsiteY46129"/>
              </a:cxn>
              <a:cxn ang="0">
                <a:pos x="connsiteX46130" y="connsiteY46130"/>
              </a:cxn>
              <a:cxn ang="0">
                <a:pos x="connsiteX46131" y="connsiteY46131"/>
              </a:cxn>
              <a:cxn ang="0">
                <a:pos x="connsiteX46132" y="connsiteY46132"/>
              </a:cxn>
              <a:cxn ang="0">
                <a:pos x="connsiteX46133" y="connsiteY46133"/>
              </a:cxn>
              <a:cxn ang="0">
                <a:pos x="connsiteX46134" y="connsiteY46134"/>
              </a:cxn>
              <a:cxn ang="0">
                <a:pos x="connsiteX46135" y="connsiteY46135"/>
              </a:cxn>
              <a:cxn ang="0">
                <a:pos x="connsiteX46136" y="connsiteY46136"/>
              </a:cxn>
              <a:cxn ang="0">
                <a:pos x="connsiteX46137" y="connsiteY46137"/>
              </a:cxn>
              <a:cxn ang="0">
                <a:pos x="connsiteX46138" y="connsiteY46138"/>
              </a:cxn>
              <a:cxn ang="0">
                <a:pos x="connsiteX46139" y="connsiteY46139"/>
              </a:cxn>
              <a:cxn ang="0">
                <a:pos x="connsiteX46140" y="connsiteY46140"/>
              </a:cxn>
              <a:cxn ang="0">
                <a:pos x="connsiteX46141" y="connsiteY46141"/>
              </a:cxn>
              <a:cxn ang="0">
                <a:pos x="connsiteX46142" y="connsiteY46142"/>
              </a:cxn>
              <a:cxn ang="0">
                <a:pos x="connsiteX46143" y="connsiteY46143"/>
              </a:cxn>
              <a:cxn ang="0">
                <a:pos x="connsiteX46144" y="connsiteY46144"/>
              </a:cxn>
              <a:cxn ang="0">
                <a:pos x="connsiteX46145" y="connsiteY46145"/>
              </a:cxn>
              <a:cxn ang="0">
                <a:pos x="connsiteX46146" y="connsiteY46146"/>
              </a:cxn>
              <a:cxn ang="0">
                <a:pos x="connsiteX46147" y="connsiteY46147"/>
              </a:cxn>
              <a:cxn ang="0">
                <a:pos x="connsiteX46148" y="connsiteY46148"/>
              </a:cxn>
              <a:cxn ang="0">
                <a:pos x="connsiteX46149" y="connsiteY46149"/>
              </a:cxn>
              <a:cxn ang="0">
                <a:pos x="connsiteX46150" y="connsiteY46150"/>
              </a:cxn>
              <a:cxn ang="0">
                <a:pos x="connsiteX46151" y="connsiteY46151"/>
              </a:cxn>
              <a:cxn ang="0">
                <a:pos x="connsiteX46152" y="connsiteY46152"/>
              </a:cxn>
              <a:cxn ang="0">
                <a:pos x="connsiteX46153" y="connsiteY46153"/>
              </a:cxn>
              <a:cxn ang="0">
                <a:pos x="connsiteX46154" y="connsiteY46154"/>
              </a:cxn>
              <a:cxn ang="0">
                <a:pos x="connsiteX46155" y="connsiteY46155"/>
              </a:cxn>
              <a:cxn ang="0">
                <a:pos x="connsiteX46156" y="connsiteY46156"/>
              </a:cxn>
              <a:cxn ang="0">
                <a:pos x="connsiteX46157" y="connsiteY46157"/>
              </a:cxn>
              <a:cxn ang="0">
                <a:pos x="connsiteX46158" y="connsiteY46158"/>
              </a:cxn>
              <a:cxn ang="0">
                <a:pos x="connsiteX46159" y="connsiteY46159"/>
              </a:cxn>
              <a:cxn ang="0">
                <a:pos x="connsiteX46160" y="connsiteY46160"/>
              </a:cxn>
              <a:cxn ang="0">
                <a:pos x="connsiteX46161" y="connsiteY46161"/>
              </a:cxn>
              <a:cxn ang="0">
                <a:pos x="connsiteX46162" y="connsiteY46162"/>
              </a:cxn>
              <a:cxn ang="0">
                <a:pos x="connsiteX46163" y="connsiteY46163"/>
              </a:cxn>
              <a:cxn ang="0">
                <a:pos x="connsiteX46164" y="connsiteY46164"/>
              </a:cxn>
              <a:cxn ang="0">
                <a:pos x="connsiteX46165" y="connsiteY46165"/>
              </a:cxn>
              <a:cxn ang="0">
                <a:pos x="connsiteX46166" y="connsiteY46166"/>
              </a:cxn>
              <a:cxn ang="0">
                <a:pos x="connsiteX46167" y="connsiteY46167"/>
              </a:cxn>
              <a:cxn ang="0">
                <a:pos x="connsiteX46168" y="connsiteY46168"/>
              </a:cxn>
              <a:cxn ang="0">
                <a:pos x="connsiteX46169" y="connsiteY46169"/>
              </a:cxn>
              <a:cxn ang="0">
                <a:pos x="connsiteX46170" y="connsiteY46170"/>
              </a:cxn>
              <a:cxn ang="0">
                <a:pos x="connsiteX46171" y="connsiteY46171"/>
              </a:cxn>
              <a:cxn ang="0">
                <a:pos x="connsiteX46172" y="connsiteY46172"/>
              </a:cxn>
              <a:cxn ang="0">
                <a:pos x="connsiteX46173" y="connsiteY46173"/>
              </a:cxn>
              <a:cxn ang="0">
                <a:pos x="connsiteX46174" y="connsiteY46174"/>
              </a:cxn>
              <a:cxn ang="0">
                <a:pos x="connsiteX46175" y="connsiteY46175"/>
              </a:cxn>
              <a:cxn ang="0">
                <a:pos x="connsiteX46176" y="connsiteY46176"/>
              </a:cxn>
              <a:cxn ang="0">
                <a:pos x="connsiteX46177" y="connsiteY46177"/>
              </a:cxn>
              <a:cxn ang="0">
                <a:pos x="connsiteX46178" y="connsiteY46178"/>
              </a:cxn>
              <a:cxn ang="0">
                <a:pos x="connsiteX46179" y="connsiteY46179"/>
              </a:cxn>
              <a:cxn ang="0">
                <a:pos x="connsiteX46180" y="connsiteY46180"/>
              </a:cxn>
              <a:cxn ang="0">
                <a:pos x="connsiteX46181" y="connsiteY46181"/>
              </a:cxn>
              <a:cxn ang="0">
                <a:pos x="connsiteX46182" y="connsiteY46182"/>
              </a:cxn>
              <a:cxn ang="0">
                <a:pos x="connsiteX46183" y="connsiteY46183"/>
              </a:cxn>
              <a:cxn ang="0">
                <a:pos x="connsiteX46184" y="connsiteY46184"/>
              </a:cxn>
              <a:cxn ang="0">
                <a:pos x="connsiteX46185" y="connsiteY46185"/>
              </a:cxn>
              <a:cxn ang="0">
                <a:pos x="connsiteX46186" y="connsiteY46186"/>
              </a:cxn>
              <a:cxn ang="0">
                <a:pos x="connsiteX46187" y="connsiteY46187"/>
              </a:cxn>
              <a:cxn ang="0">
                <a:pos x="connsiteX46188" y="connsiteY46188"/>
              </a:cxn>
              <a:cxn ang="0">
                <a:pos x="connsiteX46189" y="connsiteY46189"/>
              </a:cxn>
              <a:cxn ang="0">
                <a:pos x="connsiteX46190" y="connsiteY46190"/>
              </a:cxn>
              <a:cxn ang="0">
                <a:pos x="connsiteX46191" y="connsiteY46191"/>
              </a:cxn>
              <a:cxn ang="0">
                <a:pos x="connsiteX46192" y="connsiteY46192"/>
              </a:cxn>
              <a:cxn ang="0">
                <a:pos x="connsiteX46193" y="connsiteY46193"/>
              </a:cxn>
              <a:cxn ang="0">
                <a:pos x="connsiteX46194" y="connsiteY46194"/>
              </a:cxn>
              <a:cxn ang="0">
                <a:pos x="connsiteX46195" y="connsiteY46195"/>
              </a:cxn>
              <a:cxn ang="0">
                <a:pos x="connsiteX46196" y="connsiteY46196"/>
              </a:cxn>
              <a:cxn ang="0">
                <a:pos x="connsiteX46197" y="connsiteY46197"/>
              </a:cxn>
              <a:cxn ang="0">
                <a:pos x="connsiteX46198" y="connsiteY46198"/>
              </a:cxn>
              <a:cxn ang="0">
                <a:pos x="connsiteX46199" y="connsiteY46199"/>
              </a:cxn>
              <a:cxn ang="0">
                <a:pos x="connsiteX46200" y="connsiteY46200"/>
              </a:cxn>
              <a:cxn ang="0">
                <a:pos x="connsiteX46201" y="connsiteY46201"/>
              </a:cxn>
              <a:cxn ang="0">
                <a:pos x="connsiteX46202" y="connsiteY46202"/>
              </a:cxn>
              <a:cxn ang="0">
                <a:pos x="connsiteX46203" y="connsiteY46203"/>
              </a:cxn>
              <a:cxn ang="0">
                <a:pos x="connsiteX46204" y="connsiteY46204"/>
              </a:cxn>
              <a:cxn ang="0">
                <a:pos x="connsiteX46205" y="connsiteY46205"/>
              </a:cxn>
              <a:cxn ang="0">
                <a:pos x="connsiteX46206" y="connsiteY46206"/>
              </a:cxn>
              <a:cxn ang="0">
                <a:pos x="connsiteX46207" y="connsiteY46207"/>
              </a:cxn>
              <a:cxn ang="0">
                <a:pos x="connsiteX46208" y="connsiteY46208"/>
              </a:cxn>
              <a:cxn ang="0">
                <a:pos x="connsiteX46209" y="connsiteY46209"/>
              </a:cxn>
              <a:cxn ang="0">
                <a:pos x="connsiteX46210" y="connsiteY46210"/>
              </a:cxn>
              <a:cxn ang="0">
                <a:pos x="connsiteX46211" y="connsiteY46211"/>
              </a:cxn>
              <a:cxn ang="0">
                <a:pos x="connsiteX46212" y="connsiteY46212"/>
              </a:cxn>
              <a:cxn ang="0">
                <a:pos x="connsiteX46213" y="connsiteY46213"/>
              </a:cxn>
              <a:cxn ang="0">
                <a:pos x="connsiteX46214" y="connsiteY46214"/>
              </a:cxn>
              <a:cxn ang="0">
                <a:pos x="connsiteX46215" y="connsiteY46215"/>
              </a:cxn>
              <a:cxn ang="0">
                <a:pos x="connsiteX46216" y="connsiteY46216"/>
              </a:cxn>
              <a:cxn ang="0">
                <a:pos x="connsiteX46217" y="connsiteY46217"/>
              </a:cxn>
              <a:cxn ang="0">
                <a:pos x="connsiteX46218" y="connsiteY46218"/>
              </a:cxn>
              <a:cxn ang="0">
                <a:pos x="connsiteX46219" y="connsiteY46219"/>
              </a:cxn>
              <a:cxn ang="0">
                <a:pos x="connsiteX46220" y="connsiteY46220"/>
              </a:cxn>
              <a:cxn ang="0">
                <a:pos x="connsiteX46221" y="connsiteY46221"/>
              </a:cxn>
              <a:cxn ang="0">
                <a:pos x="connsiteX46222" y="connsiteY46222"/>
              </a:cxn>
              <a:cxn ang="0">
                <a:pos x="connsiteX46223" y="connsiteY46223"/>
              </a:cxn>
              <a:cxn ang="0">
                <a:pos x="connsiteX46224" y="connsiteY46224"/>
              </a:cxn>
              <a:cxn ang="0">
                <a:pos x="connsiteX46225" y="connsiteY46225"/>
              </a:cxn>
              <a:cxn ang="0">
                <a:pos x="connsiteX46226" y="connsiteY46226"/>
              </a:cxn>
              <a:cxn ang="0">
                <a:pos x="connsiteX46227" y="connsiteY46227"/>
              </a:cxn>
              <a:cxn ang="0">
                <a:pos x="connsiteX46228" y="connsiteY46228"/>
              </a:cxn>
              <a:cxn ang="0">
                <a:pos x="connsiteX46229" y="connsiteY46229"/>
              </a:cxn>
              <a:cxn ang="0">
                <a:pos x="connsiteX46230" y="connsiteY46230"/>
              </a:cxn>
              <a:cxn ang="0">
                <a:pos x="connsiteX46231" y="connsiteY46231"/>
              </a:cxn>
              <a:cxn ang="0">
                <a:pos x="connsiteX46232" y="connsiteY46232"/>
              </a:cxn>
              <a:cxn ang="0">
                <a:pos x="connsiteX46233" y="connsiteY46233"/>
              </a:cxn>
              <a:cxn ang="0">
                <a:pos x="connsiteX46234" y="connsiteY46234"/>
              </a:cxn>
              <a:cxn ang="0">
                <a:pos x="connsiteX46235" y="connsiteY46235"/>
              </a:cxn>
              <a:cxn ang="0">
                <a:pos x="connsiteX46236" y="connsiteY46236"/>
              </a:cxn>
              <a:cxn ang="0">
                <a:pos x="connsiteX46237" y="connsiteY46237"/>
              </a:cxn>
              <a:cxn ang="0">
                <a:pos x="connsiteX46238" y="connsiteY46238"/>
              </a:cxn>
              <a:cxn ang="0">
                <a:pos x="connsiteX46239" y="connsiteY46239"/>
              </a:cxn>
              <a:cxn ang="0">
                <a:pos x="connsiteX46240" y="connsiteY46240"/>
              </a:cxn>
              <a:cxn ang="0">
                <a:pos x="connsiteX46241" y="connsiteY46241"/>
              </a:cxn>
              <a:cxn ang="0">
                <a:pos x="connsiteX46242" y="connsiteY46242"/>
              </a:cxn>
              <a:cxn ang="0">
                <a:pos x="connsiteX46243" y="connsiteY46243"/>
              </a:cxn>
              <a:cxn ang="0">
                <a:pos x="connsiteX46244" y="connsiteY46244"/>
              </a:cxn>
              <a:cxn ang="0">
                <a:pos x="connsiteX46245" y="connsiteY46245"/>
              </a:cxn>
              <a:cxn ang="0">
                <a:pos x="connsiteX46246" y="connsiteY46246"/>
              </a:cxn>
              <a:cxn ang="0">
                <a:pos x="connsiteX46247" y="connsiteY46247"/>
              </a:cxn>
              <a:cxn ang="0">
                <a:pos x="connsiteX46248" y="connsiteY46248"/>
              </a:cxn>
              <a:cxn ang="0">
                <a:pos x="connsiteX46249" y="connsiteY46249"/>
              </a:cxn>
              <a:cxn ang="0">
                <a:pos x="connsiteX46250" y="connsiteY46250"/>
              </a:cxn>
              <a:cxn ang="0">
                <a:pos x="connsiteX46251" y="connsiteY46251"/>
              </a:cxn>
              <a:cxn ang="0">
                <a:pos x="connsiteX46252" y="connsiteY46252"/>
              </a:cxn>
              <a:cxn ang="0">
                <a:pos x="connsiteX46253" y="connsiteY46253"/>
              </a:cxn>
              <a:cxn ang="0">
                <a:pos x="connsiteX46254" y="connsiteY46254"/>
              </a:cxn>
              <a:cxn ang="0">
                <a:pos x="connsiteX46255" y="connsiteY46255"/>
              </a:cxn>
              <a:cxn ang="0">
                <a:pos x="connsiteX46256" y="connsiteY46256"/>
              </a:cxn>
              <a:cxn ang="0">
                <a:pos x="connsiteX46257" y="connsiteY46257"/>
              </a:cxn>
              <a:cxn ang="0">
                <a:pos x="connsiteX46258" y="connsiteY46258"/>
              </a:cxn>
              <a:cxn ang="0">
                <a:pos x="connsiteX46259" y="connsiteY46259"/>
              </a:cxn>
              <a:cxn ang="0">
                <a:pos x="connsiteX46260" y="connsiteY46260"/>
              </a:cxn>
              <a:cxn ang="0">
                <a:pos x="connsiteX46261" y="connsiteY46261"/>
              </a:cxn>
              <a:cxn ang="0">
                <a:pos x="connsiteX46262" y="connsiteY46262"/>
              </a:cxn>
              <a:cxn ang="0">
                <a:pos x="connsiteX46263" y="connsiteY46263"/>
              </a:cxn>
              <a:cxn ang="0">
                <a:pos x="connsiteX46264" y="connsiteY46264"/>
              </a:cxn>
              <a:cxn ang="0">
                <a:pos x="connsiteX46265" y="connsiteY46265"/>
              </a:cxn>
              <a:cxn ang="0">
                <a:pos x="connsiteX46266" y="connsiteY46266"/>
              </a:cxn>
              <a:cxn ang="0">
                <a:pos x="connsiteX46267" y="connsiteY46267"/>
              </a:cxn>
              <a:cxn ang="0">
                <a:pos x="connsiteX46268" y="connsiteY46268"/>
              </a:cxn>
              <a:cxn ang="0">
                <a:pos x="connsiteX46269" y="connsiteY46269"/>
              </a:cxn>
              <a:cxn ang="0">
                <a:pos x="connsiteX46270" y="connsiteY46270"/>
              </a:cxn>
              <a:cxn ang="0">
                <a:pos x="connsiteX46271" y="connsiteY46271"/>
              </a:cxn>
              <a:cxn ang="0">
                <a:pos x="connsiteX46272" y="connsiteY46272"/>
              </a:cxn>
              <a:cxn ang="0">
                <a:pos x="connsiteX46273" y="connsiteY46273"/>
              </a:cxn>
              <a:cxn ang="0">
                <a:pos x="connsiteX46274" y="connsiteY46274"/>
              </a:cxn>
              <a:cxn ang="0">
                <a:pos x="connsiteX46275" y="connsiteY46275"/>
              </a:cxn>
              <a:cxn ang="0">
                <a:pos x="connsiteX46276" y="connsiteY46276"/>
              </a:cxn>
              <a:cxn ang="0">
                <a:pos x="connsiteX46277" y="connsiteY46277"/>
              </a:cxn>
              <a:cxn ang="0">
                <a:pos x="connsiteX46278" y="connsiteY46278"/>
              </a:cxn>
              <a:cxn ang="0">
                <a:pos x="connsiteX46279" y="connsiteY46279"/>
              </a:cxn>
              <a:cxn ang="0">
                <a:pos x="connsiteX46280" y="connsiteY46280"/>
              </a:cxn>
              <a:cxn ang="0">
                <a:pos x="connsiteX46281" y="connsiteY46281"/>
              </a:cxn>
              <a:cxn ang="0">
                <a:pos x="connsiteX46282" y="connsiteY46282"/>
              </a:cxn>
              <a:cxn ang="0">
                <a:pos x="connsiteX46283" y="connsiteY46283"/>
              </a:cxn>
              <a:cxn ang="0">
                <a:pos x="connsiteX46284" y="connsiteY46284"/>
              </a:cxn>
              <a:cxn ang="0">
                <a:pos x="connsiteX46285" y="connsiteY46285"/>
              </a:cxn>
              <a:cxn ang="0">
                <a:pos x="connsiteX46286" y="connsiteY46286"/>
              </a:cxn>
              <a:cxn ang="0">
                <a:pos x="connsiteX46287" y="connsiteY46287"/>
              </a:cxn>
              <a:cxn ang="0">
                <a:pos x="connsiteX46288" y="connsiteY46288"/>
              </a:cxn>
              <a:cxn ang="0">
                <a:pos x="connsiteX46289" y="connsiteY46289"/>
              </a:cxn>
              <a:cxn ang="0">
                <a:pos x="connsiteX46290" y="connsiteY46290"/>
              </a:cxn>
              <a:cxn ang="0">
                <a:pos x="connsiteX46291" y="connsiteY46291"/>
              </a:cxn>
              <a:cxn ang="0">
                <a:pos x="connsiteX46292" y="connsiteY46292"/>
              </a:cxn>
              <a:cxn ang="0">
                <a:pos x="connsiteX46293" y="connsiteY46293"/>
              </a:cxn>
              <a:cxn ang="0">
                <a:pos x="connsiteX46294" y="connsiteY46294"/>
              </a:cxn>
              <a:cxn ang="0">
                <a:pos x="connsiteX46295" y="connsiteY46295"/>
              </a:cxn>
              <a:cxn ang="0">
                <a:pos x="connsiteX46296" y="connsiteY46296"/>
              </a:cxn>
              <a:cxn ang="0">
                <a:pos x="connsiteX46297" y="connsiteY46297"/>
              </a:cxn>
              <a:cxn ang="0">
                <a:pos x="connsiteX46298" y="connsiteY46298"/>
              </a:cxn>
              <a:cxn ang="0">
                <a:pos x="connsiteX46299" y="connsiteY46299"/>
              </a:cxn>
              <a:cxn ang="0">
                <a:pos x="connsiteX46300" y="connsiteY46300"/>
              </a:cxn>
              <a:cxn ang="0">
                <a:pos x="connsiteX46301" y="connsiteY46301"/>
              </a:cxn>
              <a:cxn ang="0">
                <a:pos x="connsiteX46302" y="connsiteY46302"/>
              </a:cxn>
              <a:cxn ang="0">
                <a:pos x="connsiteX46303" y="connsiteY46303"/>
              </a:cxn>
              <a:cxn ang="0">
                <a:pos x="connsiteX46304" y="connsiteY46304"/>
              </a:cxn>
              <a:cxn ang="0">
                <a:pos x="connsiteX46305" y="connsiteY46305"/>
              </a:cxn>
              <a:cxn ang="0">
                <a:pos x="connsiteX46306" y="connsiteY46306"/>
              </a:cxn>
              <a:cxn ang="0">
                <a:pos x="connsiteX46307" y="connsiteY46307"/>
              </a:cxn>
              <a:cxn ang="0">
                <a:pos x="connsiteX46308" y="connsiteY46308"/>
              </a:cxn>
              <a:cxn ang="0">
                <a:pos x="connsiteX46309" y="connsiteY46309"/>
              </a:cxn>
              <a:cxn ang="0">
                <a:pos x="connsiteX46310" y="connsiteY46310"/>
              </a:cxn>
              <a:cxn ang="0">
                <a:pos x="connsiteX46311" y="connsiteY46311"/>
              </a:cxn>
              <a:cxn ang="0">
                <a:pos x="connsiteX46312" y="connsiteY46312"/>
              </a:cxn>
              <a:cxn ang="0">
                <a:pos x="connsiteX46313" y="connsiteY46313"/>
              </a:cxn>
              <a:cxn ang="0">
                <a:pos x="connsiteX46314" y="connsiteY46314"/>
              </a:cxn>
              <a:cxn ang="0">
                <a:pos x="connsiteX46315" y="connsiteY46315"/>
              </a:cxn>
              <a:cxn ang="0">
                <a:pos x="connsiteX46316" y="connsiteY46316"/>
              </a:cxn>
              <a:cxn ang="0">
                <a:pos x="connsiteX46317" y="connsiteY46317"/>
              </a:cxn>
              <a:cxn ang="0">
                <a:pos x="connsiteX46318" y="connsiteY46318"/>
              </a:cxn>
              <a:cxn ang="0">
                <a:pos x="connsiteX46319" y="connsiteY46319"/>
              </a:cxn>
              <a:cxn ang="0">
                <a:pos x="connsiteX46320" y="connsiteY46320"/>
              </a:cxn>
              <a:cxn ang="0">
                <a:pos x="connsiteX46321" y="connsiteY46321"/>
              </a:cxn>
              <a:cxn ang="0">
                <a:pos x="connsiteX46322" y="connsiteY46322"/>
              </a:cxn>
              <a:cxn ang="0">
                <a:pos x="connsiteX46323" y="connsiteY46323"/>
              </a:cxn>
              <a:cxn ang="0">
                <a:pos x="connsiteX46324" y="connsiteY46324"/>
              </a:cxn>
              <a:cxn ang="0">
                <a:pos x="connsiteX46325" y="connsiteY46325"/>
              </a:cxn>
              <a:cxn ang="0">
                <a:pos x="connsiteX46326" y="connsiteY46326"/>
              </a:cxn>
              <a:cxn ang="0">
                <a:pos x="connsiteX46327" y="connsiteY46327"/>
              </a:cxn>
              <a:cxn ang="0">
                <a:pos x="connsiteX46328" y="connsiteY46328"/>
              </a:cxn>
              <a:cxn ang="0">
                <a:pos x="connsiteX46329" y="connsiteY46329"/>
              </a:cxn>
              <a:cxn ang="0">
                <a:pos x="connsiteX46330" y="connsiteY46330"/>
              </a:cxn>
              <a:cxn ang="0">
                <a:pos x="connsiteX46331" y="connsiteY46331"/>
              </a:cxn>
              <a:cxn ang="0">
                <a:pos x="connsiteX46332" y="connsiteY46332"/>
              </a:cxn>
              <a:cxn ang="0">
                <a:pos x="connsiteX46333" y="connsiteY46333"/>
              </a:cxn>
              <a:cxn ang="0">
                <a:pos x="connsiteX46334" y="connsiteY46334"/>
              </a:cxn>
              <a:cxn ang="0">
                <a:pos x="connsiteX46335" y="connsiteY46335"/>
              </a:cxn>
              <a:cxn ang="0">
                <a:pos x="connsiteX46336" y="connsiteY46336"/>
              </a:cxn>
              <a:cxn ang="0">
                <a:pos x="connsiteX46337" y="connsiteY46337"/>
              </a:cxn>
              <a:cxn ang="0">
                <a:pos x="connsiteX46338" y="connsiteY46338"/>
              </a:cxn>
              <a:cxn ang="0">
                <a:pos x="connsiteX46339" y="connsiteY46339"/>
              </a:cxn>
              <a:cxn ang="0">
                <a:pos x="connsiteX46340" y="connsiteY46340"/>
              </a:cxn>
              <a:cxn ang="0">
                <a:pos x="connsiteX46341" y="connsiteY46341"/>
              </a:cxn>
              <a:cxn ang="0">
                <a:pos x="connsiteX46342" y="connsiteY46342"/>
              </a:cxn>
              <a:cxn ang="0">
                <a:pos x="connsiteX46343" y="connsiteY46343"/>
              </a:cxn>
              <a:cxn ang="0">
                <a:pos x="connsiteX46344" y="connsiteY46344"/>
              </a:cxn>
              <a:cxn ang="0">
                <a:pos x="connsiteX46345" y="connsiteY46345"/>
              </a:cxn>
              <a:cxn ang="0">
                <a:pos x="connsiteX46346" y="connsiteY46346"/>
              </a:cxn>
              <a:cxn ang="0">
                <a:pos x="connsiteX46347" y="connsiteY46347"/>
              </a:cxn>
              <a:cxn ang="0">
                <a:pos x="connsiteX46348" y="connsiteY46348"/>
              </a:cxn>
              <a:cxn ang="0">
                <a:pos x="connsiteX46349" y="connsiteY46349"/>
              </a:cxn>
              <a:cxn ang="0">
                <a:pos x="connsiteX46350" y="connsiteY46350"/>
              </a:cxn>
              <a:cxn ang="0">
                <a:pos x="connsiteX46351" y="connsiteY46351"/>
              </a:cxn>
              <a:cxn ang="0">
                <a:pos x="connsiteX46352" y="connsiteY46352"/>
              </a:cxn>
              <a:cxn ang="0">
                <a:pos x="connsiteX46353" y="connsiteY46353"/>
              </a:cxn>
              <a:cxn ang="0">
                <a:pos x="connsiteX46354" y="connsiteY46354"/>
              </a:cxn>
              <a:cxn ang="0">
                <a:pos x="connsiteX46355" y="connsiteY46355"/>
              </a:cxn>
              <a:cxn ang="0">
                <a:pos x="connsiteX46356" y="connsiteY46356"/>
              </a:cxn>
              <a:cxn ang="0">
                <a:pos x="connsiteX46357" y="connsiteY46357"/>
              </a:cxn>
              <a:cxn ang="0">
                <a:pos x="connsiteX46358" y="connsiteY46358"/>
              </a:cxn>
              <a:cxn ang="0">
                <a:pos x="connsiteX46359" y="connsiteY46359"/>
              </a:cxn>
              <a:cxn ang="0">
                <a:pos x="connsiteX46360" y="connsiteY46360"/>
              </a:cxn>
              <a:cxn ang="0">
                <a:pos x="connsiteX46361" y="connsiteY46361"/>
              </a:cxn>
              <a:cxn ang="0">
                <a:pos x="connsiteX46362" y="connsiteY46362"/>
              </a:cxn>
              <a:cxn ang="0">
                <a:pos x="connsiteX46363" y="connsiteY46363"/>
              </a:cxn>
              <a:cxn ang="0">
                <a:pos x="connsiteX46364" y="connsiteY46364"/>
              </a:cxn>
              <a:cxn ang="0">
                <a:pos x="connsiteX46365" y="connsiteY46365"/>
              </a:cxn>
              <a:cxn ang="0">
                <a:pos x="connsiteX46366" y="connsiteY46366"/>
              </a:cxn>
              <a:cxn ang="0">
                <a:pos x="connsiteX46367" y="connsiteY46367"/>
              </a:cxn>
              <a:cxn ang="0">
                <a:pos x="connsiteX46368" y="connsiteY46368"/>
              </a:cxn>
              <a:cxn ang="0">
                <a:pos x="connsiteX46369" y="connsiteY46369"/>
              </a:cxn>
              <a:cxn ang="0">
                <a:pos x="connsiteX46370" y="connsiteY46370"/>
              </a:cxn>
              <a:cxn ang="0">
                <a:pos x="connsiteX46371" y="connsiteY46371"/>
              </a:cxn>
              <a:cxn ang="0">
                <a:pos x="connsiteX46372" y="connsiteY46372"/>
              </a:cxn>
              <a:cxn ang="0">
                <a:pos x="connsiteX46373" y="connsiteY46373"/>
              </a:cxn>
              <a:cxn ang="0">
                <a:pos x="connsiteX46374" y="connsiteY46374"/>
              </a:cxn>
              <a:cxn ang="0">
                <a:pos x="connsiteX46375" y="connsiteY46375"/>
              </a:cxn>
              <a:cxn ang="0">
                <a:pos x="connsiteX46376" y="connsiteY46376"/>
              </a:cxn>
              <a:cxn ang="0">
                <a:pos x="connsiteX46377" y="connsiteY46377"/>
              </a:cxn>
              <a:cxn ang="0">
                <a:pos x="connsiteX46378" y="connsiteY46378"/>
              </a:cxn>
              <a:cxn ang="0">
                <a:pos x="connsiteX46379" y="connsiteY46379"/>
              </a:cxn>
              <a:cxn ang="0">
                <a:pos x="connsiteX46380" y="connsiteY46380"/>
              </a:cxn>
              <a:cxn ang="0">
                <a:pos x="connsiteX46381" y="connsiteY46381"/>
              </a:cxn>
              <a:cxn ang="0">
                <a:pos x="connsiteX46382" y="connsiteY46382"/>
              </a:cxn>
              <a:cxn ang="0">
                <a:pos x="connsiteX46383" y="connsiteY46383"/>
              </a:cxn>
              <a:cxn ang="0">
                <a:pos x="connsiteX46384" y="connsiteY46384"/>
              </a:cxn>
              <a:cxn ang="0">
                <a:pos x="connsiteX46385" y="connsiteY46385"/>
              </a:cxn>
              <a:cxn ang="0">
                <a:pos x="connsiteX46386" y="connsiteY46386"/>
              </a:cxn>
              <a:cxn ang="0">
                <a:pos x="connsiteX46387" y="connsiteY46387"/>
              </a:cxn>
              <a:cxn ang="0">
                <a:pos x="connsiteX46388" y="connsiteY46388"/>
              </a:cxn>
              <a:cxn ang="0">
                <a:pos x="connsiteX46389" y="connsiteY46389"/>
              </a:cxn>
              <a:cxn ang="0">
                <a:pos x="connsiteX46390" y="connsiteY46390"/>
              </a:cxn>
              <a:cxn ang="0">
                <a:pos x="connsiteX46391" y="connsiteY46391"/>
              </a:cxn>
              <a:cxn ang="0">
                <a:pos x="connsiteX46392" y="connsiteY46392"/>
              </a:cxn>
              <a:cxn ang="0">
                <a:pos x="connsiteX46393" y="connsiteY46393"/>
              </a:cxn>
              <a:cxn ang="0">
                <a:pos x="connsiteX46394" y="connsiteY46394"/>
              </a:cxn>
              <a:cxn ang="0">
                <a:pos x="connsiteX46395" y="connsiteY46395"/>
              </a:cxn>
              <a:cxn ang="0">
                <a:pos x="connsiteX46396" y="connsiteY46396"/>
              </a:cxn>
              <a:cxn ang="0">
                <a:pos x="connsiteX46397" y="connsiteY46397"/>
              </a:cxn>
              <a:cxn ang="0">
                <a:pos x="connsiteX46398" y="connsiteY46398"/>
              </a:cxn>
              <a:cxn ang="0">
                <a:pos x="connsiteX46399" y="connsiteY46399"/>
              </a:cxn>
              <a:cxn ang="0">
                <a:pos x="connsiteX46400" y="connsiteY46400"/>
              </a:cxn>
              <a:cxn ang="0">
                <a:pos x="connsiteX46401" y="connsiteY46401"/>
              </a:cxn>
              <a:cxn ang="0">
                <a:pos x="connsiteX46402" y="connsiteY46402"/>
              </a:cxn>
              <a:cxn ang="0">
                <a:pos x="connsiteX46403" y="connsiteY46403"/>
              </a:cxn>
              <a:cxn ang="0">
                <a:pos x="connsiteX46404" y="connsiteY46404"/>
              </a:cxn>
              <a:cxn ang="0">
                <a:pos x="connsiteX46405" y="connsiteY46405"/>
              </a:cxn>
              <a:cxn ang="0">
                <a:pos x="connsiteX46406" y="connsiteY46406"/>
              </a:cxn>
              <a:cxn ang="0">
                <a:pos x="connsiteX46407" y="connsiteY46407"/>
              </a:cxn>
              <a:cxn ang="0">
                <a:pos x="connsiteX46408" y="connsiteY46408"/>
              </a:cxn>
              <a:cxn ang="0">
                <a:pos x="connsiteX46409" y="connsiteY46409"/>
              </a:cxn>
              <a:cxn ang="0">
                <a:pos x="connsiteX46410" y="connsiteY46410"/>
              </a:cxn>
              <a:cxn ang="0">
                <a:pos x="connsiteX46411" y="connsiteY46411"/>
              </a:cxn>
              <a:cxn ang="0">
                <a:pos x="connsiteX46412" y="connsiteY46412"/>
              </a:cxn>
              <a:cxn ang="0">
                <a:pos x="connsiteX46413" y="connsiteY46413"/>
              </a:cxn>
              <a:cxn ang="0">
                <a:pos x="connsiteX46414" y="connsiteY46414"/>
              </a:cxn>
              <a:cxn ang="0">
                <a:pos x="connsiteX46415" y="connsiteY46415"/>
              </a:cxn>
              <a:cxn ang="0">
                <a:pos x="connsiteX46416" y="connsiteY46416"/>
              </a:cxn>
              <a:cxn ang="0">
                <a:pos x="connsiteX46417" y="connsiteY46417"/>
              </a:cxn>
              <a:cxn ang="0">
                <a:pos x="connsiteX46418" y="connsiteY46418"/>
              </a:cxn>
              <a:cxn ang="0">
                <a:pos x="connsiteX46419" y="connsiteY46419"/>
              </a:cxn>
              <a:cxn ang="0">
                <a:pos x="connsiteX46420" y="connsiteY46420"/>
              </a:cxn>
              <a:cxn ang="0">
                <a:pos x="connsiteX46421" y="connsiteY46421"/>
              </a:cxn>
              <a:cxn ang="0">
                <a:pos x="connsiteX46422" y="connsiteY46422"/>
              </a:cxn>
              <a:cxn ang="0">
                <a:pos x="connsiteX46423" y="connsiteY46423"/>
              </a:cxn>
              <a:cxn ang="0">
                <a:pos x="connsiteX46424" y="connsiteY46424"/>
              </a:cxn>
              <a:cxn ang="0">
                <a:pos x="connsiteX46425" y="connsiteY46425"/>
              </a:cxn>
              <a:cxn ang="0">
                <a:pos x="connsiteX46426" y="connsiteY46426"/>
              </a:cxn>
              <a:cxn ang="0">
                <a:pos x="connsiteX46427" y="connsiteY46427"/>
              </a:cxn>
              <a:cxn ang="0">
                <a:pos x="connsiteX46428" y="connsiteY46428"/>
              </a:cxn>
              <a:cxn ang="0">
                <a:pos x="connsiteX46429" y="connsiteY46429"/>
              </a:cxn>
              <a:cxn ang="0">
                <a:pos x="connsiteX46430" y="connsiteY46430"/>
              </a:cxn>
              <a:cxn ang="0">
                <a:pos x="connsiteX46431" y="connsiteY46431"/>
              </a:cxn>
              <a:cxn ang="0">
                <a:pos x="connsiteX46432" y="connsiteY46432"/>
              </a:cxn>
              <a:cxn ang="0">
                <a:pos x="connsiteX46433" y="connsiteY46433"/>
              </a:cxn>
              <a:cxn ang="0">
                <a:pos x="connsiteX46434" y="connsiteY46434"/>
              </a:cxn>
              <a:cxn ang="0">
                <a:pos x="connsiteX46435" y="connsiteY46435"/>
              </a:cxn>
              <a:cxn ang="0">
                <a:pos x="connsiteX46436" y="connsiteY46436"/>
              </a:cxn>
              <a:cxn ang="0">
                <a:pos x="connsiteX46437" y="connsiteY46437"/>
              </a:cxn>
              <a:cxn ang="0">
                <a:pos x="connsiteX46438" y="connsiteY46438"/>
              </a:cxn>
              <a:cxn ang="0">
                <a:pos x="connsiteX46439" y="connsiteY46439"/>
              </a:cxn>
              <a:cxn ang="0">
                <a:pos x="connsiteX46440" y="connsiteY46440"/>
              </a:cxn>
              <a:cxn ang="0">
                <a:pos x="connsiteX46441" y="connsiteY46441"/>
              </a:cxn>
              <a:cxn ang="0">
                <a:pos x="connsiteX46442" y="connsiteY46442"/>
              </a:cxn>
              <a:cxn ang="0">
                <a:pos x="connsiteX46443" y="connsiteY46443"/>
              </a:cxn>
              <a:cxn ang="0">
                <a:pos x="connsiteX46444" y="connsiteY46444"/>
              </a:cxn>
              <a:cxn ang="0">
                <a:pos x="connsiteX46445" y="connsiteY46445"/>
              </a:cxn>
              <a:cxn ang="0">
                <a:pos x="connsiteX46446" y="connsiteY46446"/>
              </a:cxn>
              <a:cxn ang="0">
                <a:pos x="connsiteX46447" y="connsiteY46447"/>
              </a:cxn>
              <a:cxn ang="0">
                <a:pos x="connsiteX46448" y="connsiteY46448"/>
              </a:cxn>
              <a:cxn ang="0">
                <a:pos x="connsiteX46449" y="connsiteY46449"/>
              </a:cxn>
              <a:cxn ang="0">
                <a:pos x="connsiteX46450" y="connsiteY46450"/>
              </a:cxn>
              <a:cxn ang="0">
                <a:pos x="connsiteX46451" y="connsiteY46451"/>
              </a:cxn>
              <a:cxn ang="0">
                <a:pos x="connsiteX46452" y="connsiteY46452"/>
              </a:cxn>
              <a:cxn ang="0">
                <a:pos x="connsiteX46453" y="connsiteY46453"/>
              </a:cxn>
              <a:cxn ang="0">
                <a:pos x="connsiteX46454" y="connsiteY46454"/>
              </a:cxn>
              <a:cxn ang="0">
                <a:pos x="connsiteX46455" y="connsiteY46455"/>
              </a:cxn>
              <a:cxn ang="0">
                <a:pos x="connsiteX46456" y="connsiteY46456"/>
              </a:cxn>
              <a:cxn ang="0">
                <a:pos x="connsiteX46457" y="connsiteY46457"/>
              </a:cxn>
              <a:cxn ang="0">
                <a:pos x="connsiteX46458" y="connsiteY46458"/>
              </a:cxn>
              <a:cxn ang="0">
                <a:pos x="connsiteX46459" y="connsiteY46459"/>
              </a:cxn>
              <a:cxn ang="0">
                <a:pos x="connsiteX46460" y="connsiteY46460"/>
              </a:cxn>
              <a:cxn ang="0">
                <a:pos x="connsiteX46461" y="connsiteY46461"/>
              </a:cxn>
              <a:cxn ang="0">
                <a:pos x="connsiteX46462" y="connsiteY46462"/>
              </a:cxn>
              <a:cxn ang="0">
                <a:pos x="connsiteX46463" y="connsiteY46463"/>
              </a:cxn>
              <a:cxn ang="0">
                <a:pos x="connsiteX46464" y="connsiteY46464"/>
              </a:cxn>
              <a:cxn ang="0">
                <a:pos x="connsiteX46465" y="connsiteY46465"/>
              </a:cxn>
              <a:cxn ang="0">
                <a:pos x="connsiteX46466" y="connsiteY46466"/>
              </a:cxn>
              <a:cxn ang="0">
                <a:pos x="connsiteX46467" y="connsiteY46467"/>
              </a:cxn>
              <a:cxn ang="0">
                <a:pos x="connsiteX46468" y="connsiteY46468"/>
              </a:cxn>
              <a:cxn ang="0">
                <a:pos x="connsiteX46469" y="connsiteY46469"/>
              </a:cxn>
              <a:cxn ang="0">
                <a:pos x="connsiteX46470" y="connsiteY46470"/>
              </a:cxn>
              <a:cxn ang="0">
                <a:pos x="connsiteX46471" y="connsiteY46471"/>
              </a:cxn>
              <a:cxn ang="0">
                <a:pos x="connsiteX46472" y="connsiteY46472"/>
              </a:cxn>
              <a:cxn ang="0">
                <a:pos x="connsiteX46473" y="connsiteY46473"/>
              </a:cxn>
              <a:cxn ang="0">
                <a:pos x="connsiteX46474" y="connsiteY46474"/>
              </a:cxn>
              <a:cxn ang="0">
                <a:pos x="connsiteX46475" y="connsiteY46475"/>
              </a:cxn>
              <a:cxn ang="0">
                <a:pos x="connsiteX46476" y="connsiteY46476"/>
              </a:cxn>
              <a:cxn ang="0">
                <a:pos x="connsiteX46477" y="connsiteY46477"/>
              </a:cxn>
              <a:cxn ang="0">
                <a:pos x="connsiteX46478" y="connsiteY46478"/>
              </a:cxn>
              <a:cxn ang="0">
                <a:pos x="connsiteX46479" y="connsiteY46479"/>
              </a:cxn>
              <a:cxn ang="0">
                <a:pos x="connsiteX46480" y="connsiteY46480"/>
              </a:cxn>
              <a:cxn ang="0">
                <a:pos x="connsiteX46481" y="connsiteY46481"/>
              </a:cxn>
              <a:cxn ang="0">
                <a:pos x="connsiteX46482" y="connsiteY46482"/>
              </a:cxn>
              <a:cxn ang="0">
                <a:pos x="connsiteX46483" y="connsiteY46483"/>
              </a:cxn>
              <a:cxn ang="0">
                <a:pos x="connsiteX46484" y="connsiteY46484"/>
              </a:cxn>
              <a:cxn ang="0">
                <a:pos x="connsiteX46485" y="connsiteY46485"/>
              </a:cxn>
              <a:cxn ang="0">
                <a:pos x="connsiteX46486" y="connsiteY46486"/>
              </a:cxn>
              <a:cxn ang="0">
                <a:pos x="connsiteX46487" y="connsiteY46487"/>
              </a:cxn>
              <a:cxn ang="0">
                <a:pos x="connsiteX46488" y="connsiteY46488"/>
              </a:cxn>
              <a:cxn ang="0">
                <a:pos x="connsiteX46489" y="connsiteY46489"/>
              </a:cxn>
              <a:cxn ang="0">
                <a:pos x="connsiteX46490" y="connsiteY46490"/>
              </a:cxn>
              <a:cxn ang="0">
                <a:pos x="connsiteX46491" y="connsiteY46491"/>
              </a:cxn>
              <a:cxn ang="0">
                <a:pos x="connsiteX46492" y="connsiteY46492"/>
              </a:cxn>
              <a:cxn ang="0">
                <a:pos x="connsiteX46493" y="connsiteY46493"/>
              </a:cxn>
              <a:cxn ang="0">
                <a:pos x="connsiteX46494" y="connsiteY46494"/>
              </a:cxn>
              <a:cxn ang="0">
                <a:pos x="connsiteX46495" y="connsiteY46495"/>
              </a:cxn>
              <a:cxn ang="0">
                <a:pos x="connsiteX46496" y="connsiteY46496"/>
              </a:cxn>
              <a:cxn ang="0">
                <a:pos x="connsiteX46497" y="connsiteY46497"/>
              </a:cxn>
              <a:cxn ang="0">
                <a:pos x="connsiteX46498" y="connsiteY46498"/>
              </a:cxn>
              <a:cxn ang="0">
                <a:pos x="connsiteX46499" y="connsiteY46499"/>
              </a:cxn>
              <a:cxn ang="0">
                <a:pos x="connsiteX46500" y="connsiteY46500"/>
              </a:cxn>
              <a:cxn ang="0">
                <a:pos x="connsiteX46501" y="connsiteY46501"/>
              </a:cxn>
              <a:cxn ang="0">
                <a:pos x="connsiteX46502" y="connsiteY46502"/>
              </a:cxn>
              <a:cxn ang="0">
                <a:pos x="connsiteX46503" y="connsiteY46503"/>
              </a:cxn>
              <a:cxn ang="0">
                <a:pos x="connsiteX46504" y="connsiteY46504"/>
              </a:cxn>
              <a:cxn ang="0">
                <a:pos x="connsiteX46505" y="connsiteY46505"/>
              </a:cxn>
              <a:cxn ang="0">
                <a:pos x="connsiteX46506" y="connsiteY46506"/>
              </a:cxn>
              <a:cxn ang="0">
                <a:pos x="connsiteX46507" y="connsiteY46507"/>
              </a:cxn>
              <a:cxn ang="0">
                <a:pos x="connsiteX46508" y="connsiteY46508"/>
              </a:cxn>
              <a:cxn ang="0">
                <a:pos x="connsiteX46509" y="connsiteY46509"/>
              </a:cxn>
              <a:cxn ang="0">
                <a:pos x="connsiteX46510" y="connsiteY46510"/>
              </a:cxn>
              <a:cxn ang="0">
                <a:pos x="connsiteX46511" y="connsiteY46511"/>
              </a:cxn>
              <a:cxn ang="0">
                <a:pos x="connsiteX46512" y="connsiteY46512"/>
              </a:cxn>
              <a:cxn ang="0">
                <a:pos x="connsiteX46513" y="connsiteY46513"/>
              </a:cxn>
              <a:cxn ang="0">
                <a:pos x="connsiteX46514" y="connsiteY46514"/>
              </a:cxn>
              <a:cxn ang="0">
                <a:pos x="connsiteX46515" y="connsiteY46515"/>
              </a:cxn>
              <a:cxn ang="0">
                <a:pos x="connsiteX46516" y="connsiteY46516"/>
              </a:cxn>
              <a:cxn ang="0">
                <a:pos x="connsiteX46517" y="connsiteY46517"/>
              </a:cxn>
              <a:cxn ang="0">
                <a:pos x="connsiteX46518" y="connsiteY46518"/>
              </a:cxn>
              <a:cxn ang="0">
                <a:pos x="connsiteX46519" y="connsiteY46519"/>
              </a:cxn>
              <a:cxn ang="0">
                <a:pos x="connsiteX46520" y="connsiteY46520"/>
              </a:cxn>
              <a:cxn ang="0">
                <a:pos x="connsiteX46521" y="connsiteY46521"/>
              </a:cxn>
              <a:cxn ang="0">
                <a:pos x="connsiteX46522" y="connsiteY46522"/>
              </a:cxn>
              <a:cxn ang="0">
                <a:pos x="connsiteX46523" y="connsiteY46523"/>
              </a:cxn>
              <a:cxn ang="0">
                <a:pos x="connsiteX46524" y="connsiteY46524"/>
              </a:cxn>
              <a:cxn ang="0">
                <a:pos x="connsiteX46525" y="connsiteY46525"/>
              </a:cxn>
              <a:cxn ang="0">
                <a:pos x="connsiteX46526" y="connsiteY46526"/>
              </a:cxn>
              <a:cxn ang="0">
                <a:pos x="connsiteX46527" y="connsiteY46527"/>
              </a:cxn>
              <a:cxn ang="0">
                <a:pos x="connsiteX46528" y="connsiteY46528"/>
              </a:cxn>
              <a:cxn ang="0">
                <a:pos x="connsiteX46529" y="connsiteY46529"/>
              </a:cxn>
              <a:cxn ang="0">
                <a:pos x="connsiteX46530" y="connsiteY46530"/>
              </a:cxn>
              <a:cxn ang="0">
                <a:pos x="connsiteX46531" y="connsiteY46531"/>
              </a:cxn>
              <a:cxn ang="0">
                <a:pos x="connsiteX46532" y="connsiteY46532"/>
              </a:cxn>
              <a:cxn ang="0">
                <a:pos x="connsiteX46533" y="connsiteY46533"/>
              </a:cxn>
              <a:cxn ang="0">
                <a:pos x="connsiteX46534" y="connsiteY46534"/>
              </a:cxn>
              <a:cxn ang="0">
                <a:pos x="connsiteX46535" y="connsiteY46535"/>
              </a:cxn>
              <a:cxn ang="0">
                <a:pos x="connsiteX46536" y="connsiteY46536"/>
              </a:cxn>
              <a:cxn ang="0">
                <a:pos x="connsiteX46537" y="connsiteY46537"/>
              </a:cxn>
              <a:cxn ang="0">
                <a:pos x="connsiteX46538" y="connsiteY46538"/>
              </a:cxn>
              <a:cxn ang="0">
                <a:pos x="connsiteX46539" y="connsiteY46539"/>
              </a:cxn>
              <a:cxn ang="0">
                <a:pos x="connsiteX46540" y="connsiteY46540"/>
              </a:cxn>
              <a:cxn ang="0">
                <a:pos x="connsiteX46541" y="connsiteY46541"/>
              </a:cxn>
              <a:cxn ang="0">
                <a:pos x="connsiteX46542" y="connsiteY46542"/>
              </a:cxn>
              <a:cxn ang="0">
                <a:pos x="connsiteX46543" y="connsiteY46543"/>
              </a:cxn>
              <a:cxn ang="0">
                <a:pos x="connsiteX46544" y="connsiteY46544"/>
              </a:cxn>
              <a:cxn ang="0">
                <a:pos x="connsiteX46545" y="connsiteY46545"/>
              </a:cxn>
              <a:cxn ang="0">
                <a:pos x="connsiteX46546" y="connsiteY46546"/>
              </a:cxn>
              <a:cxn ang="0">
                <a:pos x="connsiteX46547" y="connsiteY46547"/>
              </a:cxn>
              <a:cxn ang="0">
                <a:pos x="connsiteX46548" y="connsiteY46548"/>
              </a:cxn>
              <a:cxn ang="0">
                <a:pos x="connsiteX46549" y="connsiteY46549"/>
              </a:cxn>
              <a:cxn ang="0">
                <a:pos x="connsiteX46550" y="connsiteY46550"/>
              </a:cxn>
              <a:cxn ang="0">
                <a:pos x="connsiteX46551" y="connsiteY46551"/>
              </a:cxn>
              <a:cxn ang="0">
                <a:pos x="connsiteX46552" y="connsiteY46552"/>
              </a:cxn>
              <a:cxn ang="0">
                <a:pos x="connsiteX46553" y="connsiteY46553"/>
              </a:cxn>
              <a:cxn ang="0">
                <a:pos x="connsiteX46554" y="connsiteY46554"/>
              </a:cxn>
              <a:cxn ang="0">
                <a:pos x="connsiteX46555" y="connsiteY46555"/>
              </a:cxn>
              <a:cxn ang="0">
                <a:pos x="connsiteX46556" y="connsiteY46556"/>
              </a:cxn>
              <a:cxn ang="0">
                <a:pos x="connsiteX46557" y="connsiteY46557"/>
              </a:cxn>
              <a:cxn ang="0">
                <a:pos x="connsiteX46558" y="connsiteY46558"/>
              </a:cxn>
              <a:cxn ang="0">
                <a:pos x="connsiteX46559" y="connsiteY46559"/>
              </a:cxn>
              <a:cxn ang="0">
                <a:pos x="connsiteX46560" y="connsiteY46560"/>
              </a:cxn>
              <a:cxn ang="0">
                <a:pos x="connsiteX46561" y="connsiteY46561"/>
              </a:cxn>
              <a:cxn ang="0">
                <a:pos x="connsiteX46562" y="connsiteY46562"/>
              </a:cxn>
              <a:cxn ang="0">
                <a:pos x="connsiteX46563" y="connsiteY46563"/>
              </a:cxn>
              <a:cxn ang="0">
                <a:pos x="connsiteX46564" y="connsiteY46564"/>
              </a:cxn>
              <a:cxn ang="0">
                <a:pos x="connsiteX46565" y="connsiteY46565"/>
              </a:cxn>
              <a:cxn ang="0">
                <a:pos x="connsiteX46566" y="connsiteY46566"/>
              </a:cxn>
              <a:cxn ang="0">
                <a:pos x="connsiteX46567" y="connsiteY46567"/>
              </a:cxn>
              <a:cxn ang="0">
                <a:pos x="connsiteX46568" y="connsiteY46568"/>
              </a:cxn>
              <a:cxn ang="0">
                <a:pos x="connsiteX46569" y="connsiteY46569"/>
              </a:cxn>
              <a:cxn ang="0">
                <a:pos x="connsiteX46570" y="connsiteY46570"/>
              </a:cxn>
              <a:cxn ang="0">
                <a:pos x="connsiteX46571" y="connsiteY46571"/>
              </a:cxn>
              <a:cxn ang="0">
                <a:pos x="connsiteX46572" y="connsiteY46572"/>
              </a:cxn>
              <a:cxn ang="0">
                <a:pos x="connsiteX46573" y="connsiteY46573"/>
              </a:cxn>
              <a:cxn ang="0">
                <a:pos x="connsiteX46574" y="connsiteY46574"/>
              </a:cxn>
              <a:cxn ang="0">
                <a:pos x="connsiteX46575" y="connsiteY46575"/>
              </a:cxn>
              <a:cxn ang="0">
                <a:pos x="connsiteX46576" y="connsiteY46576"/>
              </a:cxn>
              <a:cxn ang="0">
                <a:pos x="connsiteX46577" y="connsiteY46577"/>
              </a:cxn>
              <a:cxn ang="0">
                <a:pos x="connsiteX46578" y="connsiteY46578"/>
              </a:cxn>
              <a:cxn ang="0">
                <a:pos x="connsiteX46579" y="connsiteY46579"/>
              </a:cxn>
              <a:cxn ang="0">
                <a:pos x="connsiteX46580" y="connsiteY46580"/>
              </a:cxn>
              <a:cxn ang="0">
                <a:pos x="connsiteX46581" y="connsiteY46581"/>
              </a:cxn>
              <a:cxn ang="0">
                <a:pos x="connsiteX46582" y="connsiteY46582"/>
              </a:cxn>
              <a:cxn ang="0">
                <a:pos x="connsiteX46583" y="connsiteY46583"/>
              </a:cxn>
              <a:cxn ang="0">
                <a:pos x="connsiteX46584" y="connsiteY46584"/>
              </a:cxn>
              <a:cxn ang="0">
                <a:pos x="connsiteX46585" y="connsiteY46585"/>
              </a:cxn>
              <a:cxn ang="0">
                <a:pos x="connsiteX46586" y="connsiteY46586"/>
              </a:cxn>
              <a:cxn ang="0">
                <a:pos x="connsiteX46587" y="connsiteY46587"/>
              </a:cxn>
              <a:cxn ang="0">
                <a:pos x="connsiteX46588" y="connsiteY46588"/>
              </a:cxn>
              <a:cxn ang="0">
                <a:pos x="connsiteX46589" y="connsiteY46589"/>
              </a:cxn>
              <a:cxn ang="0">
                <a:pos x="connsiteX46590" y="connsiteY46590"/>
              </a:cxn>
              <a:cxn ang="0">
                <a:pos x="connsiteX46591" y="connsiteY46591"/>
              </a:cxn>
              <a:cxn ang="0">
                <a:pos x="connsiteX46592" y="connsiteY46592"/>
              </a:cxn>
              <a:cxn ang="0">
                <a:pos x="connsiteX46593" y="connsiteY46593"/>
              </a:cxn>
              <a:cxn ang="0">
                <a:pos x="connsiteX46594" y="connsiteY46594"/>
              </a:cxn>
              <a:cxn ang="0">
                <a:pos x="connsiteX46595" y="connsiteY46595"/>
              </a:cxn>
              <a:cxn ang="0">
                <a:pos x="connsiteX46596" y="connsiteY46596"/>
              </a:cxn>
              <a:cxn ang="0">
                <a:pos x="connsiteX46597" y="connsiteY46597"/>
              </a:cxn>
              <a:cxn ang="0">
                <a:pos x="connsiteX46598" y="connsiteY46598"/>
              </a:cxn>
              <a:cxn ang="0">
                <a:pos x="connsiteX46599" y="connsiteY46599"/>
              </a:cxn>
              <a:cxn ang="0">
                <a:pos x="connsiteX46600" y="connsiteY46600"/>
              </a:cxn>
              <a:cxn ang="0">
                <a:pos x="connsiteX46601" y="connsiteY46601"/>
              </a:cxn>
              <a:cxn ang="0">
                <a:pos x="connsiteX46602" y="connsiteY46602"/>
              </a:cxn>
              <a:cxn ang="0">
                <a:pos x="connsiteX46603" y="connsiteY46603"/>
              </a:cxn>
              <a:cxn ang="0">
                <a:pos x="connsiteX46604" y="connsiteY46604"/>
              </a:cxn>
              <a:cxn ang="0">
                <a:pos x="connsiteX46605" y="connsiteY46605"/>
              </a:cxn>
              <a:cxn ang="0">
                <a:pos x="connsiteX46606" y="connsiteY46606"/>
              </a:cxn>
              <a:cxn ang="0">
                <a:pos x="connsiteX46607" y="connsiteY46607"/>
              </a:cxn>
              <a:cxn ang="0">
                <a:pos x="connsiteX46608" y="connsiteY46608"/>
              </a:cxn>
              <a:cxn ang="0">
                <a:pos x="connsiteX46609" y="connsiteY46609"/>
              </a:cxn>
              <a:cxn ang="0">
                <a:pos x="connsiteX46610" y="connsiteY46610"/>
              </a:cxn>
              <a:cxn ang="0">
                <a:pos x="connsiteX46611" y="connsiteY46611"/>
              </a:cxn>
              <a:cxn ang="0">
                <a:pos x="connsiteX46612" y="connsiteY46612"/>
              </a:cxn>
              <a:cxn ang="0">
                <a:pos x="connsiteX46613" y="connsiteY46613"/>
              </a:cxn>
              <a:cxn ang="0">
                <a:pos x="connsiteX46614" y="connsiteY46614"/>
              </a:cxn>
              <a:cxn ang="0">
                <a:pos x="connsiteX46615" y="connsiteY46615"/>
              </a:cxn>
              <a:cxn ang="0">
                <a:pos x="connsiteX46616" y="connsiteY46616"/>
              </a:cxn>
              <a:cxn ang="0">
                <a:pos x="connsiteX46617" y="connsiteY46617"/>
              </a:cxn>
              <a:cxn ang="0">
                <a:pos x="connsiteX46618" y="connsiteY46618"/>
              </a:cxn>
              <a:cxn ang="0">
                <a:pos x="connsiteX46619" y="connsiteY46619"/>
              </a:cxn>
              <a:cxn ang="0">
                <a:pos x="connsiteX46620" y="connsiteY46620"/>
              </a:cxn>
              <a:cxn ang="0">
                <a:pos x="connsiteX46621" y="connsiteY46621"/>
              </a:cxn>
              <a:cxn ang="0">
                <a:pos x="connsiteX46622" y="connsiteY46622"/>
              </a:cxn>
              <a:cxn ang="0">
                <a:pos x="connsiteX46623" y="connsiteY46623"/>
              </a:cxn>
              <a:cxn ang="0">
                <a:pos x="connsiteX46624" y="connsiteY46624"/>
              </a:cxn>
              <a:cxn ang="0">
                <a:pos x="connsiteX46625" y="connsiteY46625"/>
              </a:cxn>
              <a:cxn ang="0">
                <a:pos x="connsiteX46626" y="connsiteY46626"/>
              </a:cxn>
              <a:cxn ang="0">
                <a:pos x="connsiteX46627" y="connsiteY46627"/>
              </a:cxn>
              <a:cxn ang="0">
                <a:pos x="connsiteX46628" y="connsiteY46628"/>
              </a:cxn>
              <a:cxn ang="0">
                <a:pos x="connsiteX46629" y="connsiteY46629"/>
              </a:cxn>
              <a:cxn ang="0">
                <a:pos x="connsiteX46630" y="connsiteY46630"/>
              </a:cxn>
              <a:cxn ang="0">
                <a:pos x="connsiteX46631" y="connsiteY46631"/>
              </a:cxn>
              <a:cxn ang="0">
                <a:pos x="connsiteX46632" y="connsiteY46632"/>
              </a:cxn>
              <a:cxn ang="0">
                <a:pos x="connsiteX46633" y="connsiteY46633"/>
              </a:cxn>
              <a:cxn ang="0">
                <a:pos x="connsiteX46634" y="connsiteY46634"/>
              </a:cxn>
              <a:cxn ang="0">
                <a:pos x="connsiteX46635" y="connsiteY46635"/>
              </a:cxn>
              <a:cxn ang="0">
                <a:pos x="connsiteX46636" y="connsiteY46636"/>
              </a:cxn>
              <a:cxn ang="0">
                <a:pos x="connsiteX46637" y="connsiteY46637"/>
              </a:cxn>
              <a:cxn ang="0">
                <a:pos x="connsiteX46638" y="connsiteY46638"/>
              </a:cxn>
              <a:cxn ang="0">
                <a:pos x="connsiteX46639" y="connsiteY46639"/>
              </a:cxn>
              <a:cxn ang="0">
                <a:pos x="connsiteX46640" y="connsiteY46640"/>
              </a:cxn>
              <a:cxn ang="0">
                <a:pos x="connsiteX46641" y="connsiteY46641"/>
              </a:cxn>
              <a:cxn ang="0">
                <a:pos x="connsiteX46642" y="connsiteY46642"/>
              </a:cxn>
              <a:cxn ang="0">
                <a:pos x="connsiteX46643" y="connsiteY46643"/>
              </a:cxn>
              <a:cxn ang="0">
                <a:pos x="connsiteX46644" y="connsiteY46644"/>
              </a:cxn>
              <a:cxn ang="0">
                <a:pos x="connsiteX46645" y="connsiteY46645"/>
              </a:cxn>
              <a:cxn ang="0">
                <a:pos x="connsiteX46646" y="connsiteY46646"/>
              </a:cxn>
              <a:cxn ang="0">
                <a:pos x="connsiteX46647" y="connsiteY46647"/>
              </a:cxn>
              <a:cxn ang="0">
                <a:pos x="connsiteX46648" y="connsiteY46648"/>
              </a:cxn>
              <a:cxn ang="0">
                <a:pos x="connsiteX46649" y="connsiteY46649"/>
              </a:cxn>
              <a:cxn ang="0">
                <a:pos x="connsiteX46650" y="connsiteY46650"/>
              </a:cxn>
              <a:cxn ang="0">
                <a:pos x="connsiteX46651" y="connsiteY46651"/>
              </a:cxn>
              <a:cxn ang="0">
                <a:pos x="connsiteX46652" y="connsiteY46652"/>
              </a:cxn>
              <a:cxn ang="0">
                <a:pos x="connsiteX46653" y="connsiteY46653"/>
              </a:cxn>
              <a:cxn ang="0">
                <a:pos x="connsiteX46654" y="connsiteY46654"/>
              </a:cxn>
              <a:cxn ang="0">
                <a:pos x="connsiteX46655" y="connsiteY46655"/>
              </a:cxn>
              <a:cxn ang="0">
                <a:pos x="connsiteX46656" y="connsiteY46656"/>
              </a:cxn>
              <a:cxn ang="0">
                <a:pos x="connsiteX46657" y="connsiteY46657"/>
              </a:cxn>
              <a:cxn ang="0">
                <a:pos x="connsiteX46658" y="connsiteY46658"/>
              </a:cxn>
              <a:cxn ang="0">
                <a:pos x="connsiteX46659" y="connsiteY46659"/>
              </a:cxn>
              <a:cxn ang="0">
                <a:pos x="connsiteX46660" y="connsiteY46660"/>
              </a:cxn>
              <a:cxn ang="0">
                <a:pos x="connsiteX46661" y="connsiteY46661"/>
              </a:cxn>
              <a:cxn ang="0">
                <a:pos x="connsiteX46662" y="connsiteY46662"/>
              </a:cxn>
              <a:cxn ang="0">
                <a:pos x="connsiteX46663" y="connsiteY46663"/>
              </a:cxn>
              <a:cxn ang="0">
                <a:pos x="connsiteX46664" y="connsiteY46664"/>
              </a:cxn>
              <a:cxn ang="0">
                <a:pos x="connsiteX46665" y="connsiteY46665"/>
              </a:cxn>
              <a:cxn ang="0">
                <a:pos x="connsiteX46666" y="connsiteY46666"/>
              </a:cxn>
              <a:cxn ang="0">
                <a:pos x="connsiteX46667" y="connsiteY46667"/>
              </a:cxn>
              <a:cxn ang="0">
                <a:pos x="connsiteX46668" y="connsiteY46668"/>
              </a:cxn>
              <a:cxn ang="0">
                <a:pos x="connsiteX46669" y="connsiteY46669"/>
              </a:cxn>
              <a:cxn ang="0">
                <a:pos x="connsiteX46670" y="connsiteY46670"/>
              </a:cxn>
              <a:cxn ang="0">
                <a:pos x="connsiteX46671" y="connsiteY46671"/>
              </a:cxn>
              <a:cxn ang="0">
                <a:pos x="connsiteX46672" y="connsiteY46672"/>
              </a:cxn>
              <a:cxn ang="0">
                <a:pos x="connsiteX46673" y="connsiteY46673"/>
              </a:cxn>
              <a:cxn ang="0">
                <a:pos x="connsiteX46674" y="connsiteY46674"/>
              </a:cxn>
              <a:cxn ang="0">
                <a:pos x="connsiteX46675" y="connsiteY46675"/>
              </a:cxn>
              <a:cxn ang="0">
                <a:pos x="connsiteX46676" y="connsiteY46676"/>
              </a:cxn>
              <a:cxn ang="0">
                <a:pos x="connsiteX46677" y="connsiteY46677"/>
              </a:cxn>
              <a:cxn ang="0">
                <a:pos x="connsiteX46678" y="connsiteY46678"/>
              </a:cxn>
              <a:cxn ang="0">
                <a:pos x="connsiteX46679" y="connsiteY46679"/>
              </a:cxn>
              <a:cxn ang="0">
                <a:pos x="connsiteX46680" y="connsiteY46680"/>
              </a:cxn>
              <a:cxn ang="0">
                <a:pos x="connsiteX46681" y="connsiteY46681"/>
              </a:cxn>
              <a:cxn ang="0">
                <a:pos x="connsiteX46682" y="connsiteY46682"/>
              </a:cxn>
              <a:cxn ang="0">
                <a:pos x="connsiteX46683" y="connsiteY46683"/>
              </a:cxn>
              <a:cxn ang="0">
                <a:pos x="connsiteX46684" y="connsiteY46684"/>
              </a:cxn>
              <a:cxn ang="0">
                <a:pos x="connsiteX46685" y="connsiteY46685"/>
              </a:cxn>
              <a:cxn ang="0">
                <a:pos x="connsiteX46686" y="connsiteY46686"/>
              </a:cxn>
              <a:cxn ang="0">
                <a:pos x="connsiteX46687" y="connsiteY46687"/>
              </a:cxn>
              <a:cxn ang="0">
                <a:pos x="connsiteX46688" y="connsiteY46688"/>
              </a:cxn>
              <a:cxn ang="0">
                <a:pos x="connsiteX46689" y="connsiteY46689"/>
              </a:cxn>
              <a:cxn ang="0">
                <a:pos x="connsiteX46690" y="connsiteY46690"/>
              </a:cxn>
              <a:cxn ang="0">
                <a:pos x="connsiteX46691" y="connsiteY46691"/>
              </a:cxn>
              <a:cxn ang="0">
                <a:pos x="connsiteX46692" y="connsiteY46692"/>
              </a:cxn>
              <a:cxn ang="0">
                <a:pos x="connsiteX46693" y="connsiteY46693"/>
              </a:cxn>
              <a:cxn ang="0">
                <a:pos x="connsiteX46694" y="connsiteY46694"/>
              </a:cxn>
              <a:cxn ang="0">
                <a:pos x="connsiteX46695" y="connsiteY46695"/>
              </a:cxn>
              <a:cxn ang="0">
                <a:pos x="connsiteX46696" y="connsiteY46696"/>
              </a:cxn>
              <a:cxn ang="0">
                <a:pos x="connsiteX46697" y="connsiteY46697"/>
              </a:cxn>
              <a:cxn ang="0">
                <a:pos x="connsiteX46698" y="connsiteY46698"/>
              </a:cxn>
              <a:cxn ang="0">
                <a:pos x="connsiteX46699" y="connsiteY46699"/>
              </a:cxn>
              <a:cxn ang="0">
                <a:pos x="connsiteX46700" y="connsiteY46700"/>
              </a:cxn>
              <a:cxn ang="0">
                <a:pos x="connsiteX46701" y="connsiteY46701"/>
              </a:cxn>
              <a:cxn ang="0">
                <a:pos x="connsiteX46702" y="connsiteY46702"/>
              </a:cxn>
              <a:cxn ang="0">
                <a:pos x="connsiteX46703" y="connsiteY46703"/>
              </a:cxn>
              <a:cxn ang="0">
                <a:pos x="connsiteX46704" y="connsiteY46704"/>
              </a:cxn>
              <a:cxn ang="0">
                <a:pos x="connsiteX46705" y="connsiteY46705"/>
              </a:cxn>
              <a:cxn ang="0">
                <a:pos x="connsiteX46706" y="connsiteY46706"/>
              </a:cxn>
              <a:cxn ang="0">
                <a:pos x="connsiteX46707" y="connsiteY46707"/>
              </a:cxn>
              <a:cxn ang="0">
                <a:pos x="connsiteX46708" y="connsiteY46708"/>
              </a:cxn>
              <a:cxn ang="0">
                <a:pos x="connsiteX46709" y="connsiteY46709"/>
              </a:cxn>
              <a:cxn ang="0">
                <a:pos x="connsiteX46710" y="connsiteY46710"/>
              </a:cxn>
              <a:cxn ang="0">
                <a:pos x="connsiteX46711" y="connsiteY46711"/>
              </a:cxn>
              <a:cxn ang="0">
                <a:pos x="connsiteX46712" y="connsiteY46712"/>
              </a:cxn>
              <a:cxn ang="0">
                <a:pos x="connsiteX46713" y="connsiteY46713"/>
              </a:cxn>
              <a:cxn ang="0">
                <a:pos x="connsiteX46714" y="connsiteY46714"/>
              </a:cxn>
              <a:cxn ang="0">
                <a:pos x="connsiteX46715" y="connsiteY46715"/>
              </a:cxn>
              <a:cxn ang="0">
                <a:pos x="connsiteX46716" y="connsiteY46716"/>
              </a:cxn>
              <a:cxn ang="0">
                <a:pos x="connsiteX46717" y="connsiteY46717"/>
              </a:cxn>
              <a:cxn ang="0">
                <a:pos x="connsiteX46718" y="connsiteY46718"/>
              </a:cxn>
              <a:cxn ang="0">
                <a:pos x="connsiteX46719" y="connsiteY46719"/>
              </a:cxn>
              <a:cxn ang="0">
                <a:pos x="connsiteX46720" y="connsiteY46720"/>
              </a:cxn>
              <a:cxn ang="0">
                <a:pos x="connsiteX46721" y="connsiteY46721"/>
              </a:cxn>
              <a:cxn ang="0">
                <a:pos x="connsiteX46722" y="connsiteY46722"/>
              </a:cxn>
              <a:cxn ang="0">
                <a:pos x="connsiteX46723" y="connsiteY46723"/>
              </a:cxn>
              <a:cxn ang="0">
                <a:pos x="connsiteX46724" y="connsiteY46724"/>
              </a:cxn>
              <a:cxn ang="0">
                <a:pos x="connsiteX46725" y="connsiteY46725"/>
              </a:cxn>
              <a:cxn ang="0">
                <a:pos x="connsiteX46726" y="connsiteY46726"/>
              </a:cxn>
              <a:cxn ang="0">
                <a:pos x="connsiteX46727" y="connsiteY46727"/>
              </a:cxn>
              <a:cxn ang="0">
                <a:pos x="connsiteX46728" y="connsiteY46728"/>
              </a:cxn>
              <a:cxn ang="0">
                <a:pos x="connsiteX46729" y="connsiteY46729"/>
              </a:cxn>
              <a:cxn ang="0">
                <a:pos x="connsiteX46730" y="connsiteY46730"/>
              </a:cxn>
              <a:cxn ang="0">
                <a:pos x="connsiteX46731" y="connsiteY46731"/>
              </a:cxn>
              <a:cxn ang="0">
                <a:pos x="connsiteX46732" y="connsiteY46732"/>
              </a:cxn>
              <a:cxn ang="0">
                <a:pos x="connsiteX46733" y="connsiteY46733"/>
              </a:cxn>
              <a:cxn ang="0">
                <a:pos x="connsiteX46734" y="connsiteY46734"/>
              </a:cxn>
              <a:cxn ang="0">
                <a:pos x="connsiteX46735" y="connsiteY46735"/>
              </a:cxn>
              <a:cxn ang="0">
                <a:pos x="connsiteX46736" y="connsiteY46736"/>
              </a:cxn>
              <a:cxn ang="0">
                <a:pos x="connsiteX46737" y="connsiteY46737"/>
              </a:cxn>
              <a:cxn ang="0">
                <a:pos x="connsiteX46738" y="connsiteY46738"/>
              </a:cxn>
              <a:cxn ang="0">
                <a:pos x="connsiteX46739" y="connsiteY46739"/>
              </a:cxn>
              <a:cxn ang="0">
                <a:pos x="connsiteX46740" y="connsiteY46740"/>
              </a:cxn>
              <a:cxn ang="0">
                <a:pos x="connsiteX46741" y="connsiteY46741"/>
              </a:cxn>
              <a:cxn ang="0">
                <a:pos x="connsiteX46742" y="connsiteY46742"/>
              </a:cxn>
              <a:cxn ang="0">
                <a:pos x="connsiteX46743" y="connsiteY46743"/>
              </a:cxn>
              <a:cxn ang="0">
                <a:pos x="connsiteX46744" y="connsiteY46744"/>
              </a:cxn>
              <a:cxn ang="0">
                <a:pos x="connsiteX46745" y="connsiteY46745"/>
              </a:cxn>
              <a:cxn ang="0">
                <a:pos x="connsiteX46746" y="connsiteY46746"/>
              </a:cxn>
              <a:cxn ang="0">
                <a:pos x="connsiteX46747" y="connsiteY46747"/>
              </a:cxn>
              <a:cxn ang="0">
                <a:pos x="connsiteX46748" y="connsiteY46748"/>
              </a:cxn>
              <a:cxn ang="0">
                <a:pos x="connsiteX46749" y="connsiteY46749"/>
              </a:cxn>
              <a:cxn ang="0">
                <a:pos x="connsiteX46750" y="connsiteY46750"/>
              </a:cxn>
              <a:cxn ang="0">
                <a:pos x="connsiteX46751" y="connsiteY46751"/>
              </a:cxn>
              <a:cxn ang="0">
                <a:pos x="connsiteX46752" y="connsiteY46752"/>
              </a:cxn>
              <a:cxn ang="0">
                <a:pos x="connsiteX46753" y="connsiteY46753"/>
              </a:cxn>
              <a:cxn ang="0">
                <a:pos x="connsiteX46754" y="connsiteY46754"/>
              </a:cxn>
              <a:cxn ang="0">
                <a:pos x="connsiteX46755" y="connsiteY46755"/>
              </a:cxn>
              <a:cxn ang="0">
                <a:pos x="connsiteX46756" y="connsiteY46756"/>
              </a:cxn>
              <a:cxn ang="0">
                <a:pos x="connsiteX46757" y="connsiteY46757"/>
              </a:cxn>
              <a:cxn ang="0">
                <a:pos x="connsiteX46758" y="connsiteY46758"/>
              </a:cxn>
              <a:cxn ang="0">
                <a:pos x="connsiteX46759" y="connsiteY46759"/>
              </a:cxn>
              <a:cxn ang="0">
                <a:pos x="connsiteX46760" y="connsiteY46760"/>
              </a:cxn>
              <a:cxn ang="0">
                <a:pos x="connsiteX46761" y="connsiteY46761"/>
              </a:cxn>
              <a:cxn ang="0">
                <a:pos x="connsiteX46762" y="connsiteY46762"/>
              </a:cxn>
              <a:cxn ang="0">
                <a:pos x="connsiteX46763" y="connsiteY46763"/>
              </a:cxn>
              <a:cxn ang="0">
                <a:pos x="connsiteX46764" y="connsiteY46764"/>
              </a:cxn>
              <a:cxn ang="0">
                <a:pos x="connsiteX46765" y="connsiteY46765"/>
              </a:cxn>
              <a:cxn ang="0">
                <a:pos x="connsiteX46766" y="connsiteY46766"/>
              </a:cxn>
              <a:cxn ang="0">
                <a:pos x="connsiteX46767" y="connsiteY46767"/>
              </a:cxn>
              <a:cxn ang="0">
                <a:pos x="connsiteX46768" y="connsiteY46768"/>
              </a:cxn>
              <a:cxn ang="0">
                <a:pos x="connsiteX46769" y="connsiteY46769"/>
              </a:cxn>
              <a:cxn ang="0">
                <a:pos x="connsiteX46770" y="connsiteY46770"/>
              </a:cxn>
              <a:cxn ang="0">
                <a:pos x="connsiteX46771" y="connsiteY46771"/>
              </a:cxn>
              <a:cxn ang="0">
                <a:pos x="connsiteX46772" y="connsiteY46772"/>
              </a:cxn>
              <a:cxn ang="0">
                <a:pos x="connsiteX46773" y="connsiteY46773"/>
              </a:cxn>
              <a:cxn ang="0">
                <a:pos x="connsiteX46774" y="connsiteY46774"/>
              </a:cxn>
              <a:cxn ang="0">
                <a:pos x="connsiteX46775" y="connsiteY46775"/>
              </a:cxn>
              <a:cxn ang="0">
                <a:pos x="connsiteX46776" y="connsiteY46776"/>
              </a:cxn>
              <a:cxn ang="0">
                <a:pos x="connsiteX46777" y="connsiteY46777"/>
              </a:cxn>
              <a:cxn ang="0">
                <a:pos x="connsiteX46778" y="connsiteY46778"/>
              </a:cxn>
              <a:cxn ang="0">
                <a:pos x="connsiteX46779" y="connsiteY46779"/>
              </a:cxn>
              <a:cxn ang="0">
                <a:pos x="connsiteX46780" y="connsiteY46780"/>
              </a:cxn>
              <a:cxn ang="0">
                <a:pos x="connsiteX46781" y="connsiteY46781"/>
              </a:cxn>
              <a:cxn ang="0">
                <a:pos x="connsiteX46782" y="connsiteY46782"/>
              </a:cxn>
              <a:cxn ang="0">
                <a:pos x="connsiteX46783" y="connsiteY46783"/>
              </a:cxn>
              <a:cxn ang="0">
                <a:pos x="connsiteX46784" y="connsiteY46784"/>
              </a:cxn>
              <a:cxn ang="0">
                <a:pos x="connsiteX46785" y="connsiteY46785"/>
              </a:cxn>
              <a:cxn ang="0">
                <a:pos x="connsiteX46786" y="connsiteY46786"/>
              </a:cxn>
              <a:cxn ang="0">
                <a:pos x="connsiteX46787" y="connsiteY46787"/>
              </a:cxn>
              <a:cxn ang="0">
                <a:pos x="connsiteX46788" y="connsiteY46788"/>
              </a:cxn>
              <a:cxn ang="0">
                <a:pos x="connsiteX46789" y="connsiteY46789"/>
              </a:cxn>
              <a:cxn ang="0">
                <a:pos x="connsiteX46790" y="connsiteY46790"/>
              </a:cxn>
              <a:cxn ang="0">
                <a:pos x="connsiteX46791" y="connsiteY46791"/>
              </a:cxn>
              <a:cxn ang="0">
                <a:pos x="connsiteX46792" y="connsiteY46792"/>
              </a:cxn>
              <a:cxn ang="0">
                <a:pos x="connsiteX46793" y="connsiteY46793"/>
              </a:cxn>
              <a:cxn ang="0">
                <a:pos x="connsiteX46794" y="connsiteY46794"/>
              </a:cxn>
              <a:cxn ang="0">
                <a:pos x="connsiteX46795" y="connsiteY46795"/>
              </a:cxn>
              <a:cxn ang="0">
                <a:pos x="connsiteX46796" y="connsiteY46796"/>
              </a:cxn>
              <a:cxn ang="0">
                <a:pos x="connsiteX46797" y="connsiteY46797"/>
              </a:cxn>
              <a:cxn ang="0">
                <a:pos x="connsiteX46798" y="connsiteY46798"/>
              </a:cxn>
              <a:cxn ang="0">
                <a:pos x="connsiteX46799" y="connsiteY46799"/>
              </a:cxn>
              <a:cxn ang="0">
                <a:pos x="connsiteX46800" y="connsiteY46800"/>
              </a:cxn>
              <a:cxn ang="0">
                <a:pos x="connsiteX46801" y="connsiteY46801"/>
              </a:cxn>
              <a:cxn ang="0">
                <a:pos x="connsiteX46802" y="connsiteY46802"/>
              </a:cxn>
              <a:cxn ang="0">
                <a:pos x="connsiteX46803" y="connsiteY46803"/>
              </a:cxn>
              <a:cxn ang="0">
                <a:pos x="connsiteX46804" y="connsiteY46804"/>
              </a:cxn>
              <a:cxn ang="0">
                <a:pos x="connsiteX46805" y="connsiteY46805"/>
              </a:cxn>
              <a:cxn ang="0">
                <a:pos x="connsiteX46806" y="connsiteY46806"/>
              </a:cxn>
              <a:cxn ang="0">
                <a:pos x="connsiteX46807" y="connsiteY46807"/>
              </a:cxn>
              <a:cxn ang="0">
                <a:pos x="connsiteX46808" y="connsiteY46808"/>
              </a:cxn>
              <a:cxn ang="0">
                <a:pos x="connsiteX46809" y="connsiteY46809"/>
              </a:cxn>
              <a:cxn ang="0">
                <a:pos x="connsiteX46810" y="connsiteY46810"/>
              </a:cxn>
              <a:cxn ang="0">
                <a:pos x="connsiteX46811" y="connsiteY46811"/>
              </a:cxn>
              <a:cxn ang="0">
                <a:pos x="connsiteX46812" y="connsiteY46812"/>
              </a:cxn>
              <a:cxn ang="0">
                <a:pos x="connsiteX46813" y="connsiteY46813"/>
              </a:cxn>
              <a:cxn ang="0">
                <a:pos x="connsiteX46814" y="connsiteY46814"/>
              </a:cxn>
              <a:cxn ang="0">
                <a:pos x="connsiteX46815" y="connsiteY46815"/>
              </a:cxn>
              <a:cxn ang="0">
                <a:pos x="connsiteX46816" y="connsiteY46816"/>
              </a:cxn>
              <a:cxn ang="0">
                <a:pos x="connsiteX46817" y="connsiteY46817"/>
              </a:cxn>
              <a:cxn ang="0">
                <a:pos x="connsiteX46818" y="connsiteY46818"/>
              </a:cxn>
              <a:cxn ang="0">
                <a:pos x="connsiteX46819" y="connsiteY46819"/>
              </a:cxn>
              <a:cxn ang="0">
                <a:pos x="connsiteX46820" y="connsiteY46820"/>
              </a:cxn>
              <a:cxn ang="0">
                <a:pos x="connsiteX46821" y="connsiteY46821"/>
              </a:cxn>
              <a:cxn ang="0">
                <a:pos x="connsiteX46822" y="connsiteY46822"/>
              </a:cxn>
              <a:cxn ang="0">
                <a:pos x="connsiteX46823" y="connsiteY46823"/>
              </a:cxn>
              <a:cxn ang="0">
                <a:pos x="connsiteX46824" y="connsiteY46824"/>
              </a:cxn>
              <a:cxn ang="0">
                <a:pos x="connsiteX46825" y="connsiteY46825"/>
              </a:cxn>
              <a:cxn ang="0">
                <a:pos x="connsiteX46826" y="connsiteY46826"/>
              </a:cxn>
              <a:cxn ang="0">
                <a:pos x="connsiteX46827" y="connsiteY46827"/>
              </a:cxn>
              <a:cxn ang="0">
                <a:pos x="connsiteX46828" y="connsiteY46828"/>
              </a:cxn>
              <a:cxn ang="0">
                <a:pos x="connsiteX46829" y="connsiteY46829"/>
              </a:cxn>
              <a:cxn ang="0">
                <a:pos x="connsiteX46830" y="connsiteY46830"/>
              </a:cxn>
              <a:cxn ang="0">
                <a:pos x="connsiteX46831" y="connsiteY46831"/>
              </a:cxn>
              <a:cxn ang="0">
                <a:pos x="connsiteX46832" y="connsiteY46832"/>
              </a:cxn>
              <a:cxn ang="0">
                <a:pos x="connsiteX46833" y="connsiteY46833"/>
              </a:cxn>
              <a:cxn ang="0">
                <a:pos x="connsiteX46834" y="connsiteY46834"/>
              </a:cxn>
              <a:cxn ang="0">
                <a:pos x="connsiteX46835" y="connsiteY46835"/>
              </a:cxn>
              <a:cxn ang="0">
                <a:pos x="connsiteX46836" y="connsiteY46836"/>
              </a:cxn>
              <a:cxn ang="0">
                <a:pos x="connsiteX46837" y="connsiteY46837"/>
              </a:cxn>
              <a:cxn ang="0">
                <a:pos x="connsiteX46838" y="connsiteY46838"/>
              </a:cxn>
              <a:cxn ang="0">
                <a:pos x="connsiteX46839" y="connsiteY46839"/>
              </a:cxn>
              <a:cxn ang="0">
                <a:pos x="connsiteX46840" y="connsiteY46840"/>
              </a:cxn>
              <a:cxn ang="0">
                <a:pos x="connsiteX46841" y="connsiteY46841"/>
              </a:cxn>
              <a:cxn ang="0">
                <a:pos x="connsiteX46842" y="connsiteY46842"/>
              </a:cxn>
              <a:cxn ang="0">
                <a:pos x="connsiteX46843" y="connsiteY46843"/>
              </a:cxn>
              <a:cxn ang="0">
                <a:pos x="connsiteX46844" y="connsiteY46844"/>
              </a:cxn>
              <a:cxn ang="0">
                <a:pos x="connsiteX46845" y="connsiteY46845"/>
              </a:cxn>
              <a:cxn ang="0">
                <a:pos x="connsiteX46846" y="connsiteY46846"/>
              </a:cxn>
              <a:cxn ang="0">
                <a:pos x="connsiteX46847" y="connsiteY46847"/>
              </a:cxn>
              <a:cxn ang="0">
                <a:pos x="connsiteX46848" y="connsiteY46848"/>
              </a:cxn>
              <a:cxn ang="0">
                <a:pos x="connsiteX46849" y="connsiteY46849"/>
              </a:cxn>
              <a:cxn ang="0">
                <a:pos x="connsiteX46850" y="connsiteY46850"/>
              </a:cxn>
              <a:cxn ang="0">
                <a:pos x="connsiteX46851" y="connsiteY46851"/>
              </a:cxn>
              <a:cxn ang="0">
                <a:pos x="connsiteX46852" y="connsiteY46852"/>
              </a:cxn>
              <a:cxn ang="0">
                <a:pos x="connsiteX46853" y="connsiteY46853"/>
              </a:cxn>
              <a:cxn ang="0">
                <a:pos x="connsiteX46854" y="connsiteY46854"/>
              </a:cxn>
              <a:cxn ang="0">
                <a:pos x="connsiteX46855" y="connsiteY46855"/>
              </a:cxn>
              <a:cxn ang="0">
                <a:pos x="connsiteX46856" y="connsiteY46856"/>
              </a:cxn>
              <a:cxn ang="0">
                <a:pos x="connsiteX46857" y="connsiteY46857"/>
              </a:cxn>
              <a:cxn ang="0">
                <a:pos x="connsiteX46858" y="connsiteY46858"/>
              </a:cxn>
              <a:cxn ang="0">
                <a:pos x="connsiteX46859" y="connsiteY46859"/>
              </a:cxn>
              <a:cxn ang="0">
                <a:pos x="connsiteX46860" y="connsiteY46860"/>
              </a:cxn>
              <a:cxn ang="0">
                <a:pos x="connsiteX46861" y="connsiteY46861"/>
              </a:cxn>
              <a:cxn ang="0">
                <a:pos x="connsiteX46862" y="connsiteY46862"/>
              </a:cxn>
              <a:cxn ang="0">
                <a:pos x="connsiteX46863" y="connsiteY46863"/>
              </a:cxn>
              <a:cxn ang="0">
                <a:pos x="connsiteX46864" y="connsiteY46864"/>
              </a:cxn>
              <a:cxn ang="0">
                <a:pos x="connsiteX46865" y="connsiteY46865"/>
              </a:cxn>
              <a:cxn ang="0">
                <a:pos x="connsiteX46866" y="connsiteY46866"/>
              </a:cxn>
              <a:cxn ang="0">
                <a:pos x="connsiteX46867" y="connsiteY46867"/>
              </a:cxn>
              <a:cxn ang="0">
                <a:pos x="connsiteX46868" y="connsiteY46868"/>
              </a:cxn>
              <a:cxn ang="0">
                <a:pos x="connsiteX46869" y="connsiteY46869"/>
              </a:cxn>
              <a:cxn ang="0">
                <a:pos x="connsiteX46870" y="connsiteY46870"/>
              </a:cxn>
              <a:cxn ang="0">
                <a:pos x="connsiteX46871" y="connsiteY46871"/>
              </a:cxn>
              <a:cxn ang="0">
                <a:pos x="connsiteX46872" y="connsiteY46872"/>
              </a:cxn>
              <a:cxn ang="0">
                <a:pos x="connsiteX46873" y="connsiteY46873"/>
              </a:cxn>
              <a:cxn ang="0">
                <a:pos x="connsiteX46874" y="connsiteY46874"/>
              </a:cxn>
              <a:cxn ang="0">
                <a:pos x="connsiteX46875" y="connsiteY46875"/>
              </a:cxn>
              <a:cxn ang="0">
                <a:pos x="connsiteX46876" y="connsiteY46876"/>
              </a:cxn>
              <a:cxn ang="0">
                <a:pos x="connsiteX46877" y="connsiteY46877"/>
              </a:cxn>
              <a:cxn ang="0">
                <a:pos x="connsiteX46878" y="connsiteY46878"/>
              </a:cxn>
              <a:cxn ang="0">
                <a:pos x="connsiteX46879" y="connsiteY46879"/>
              </a:cxn>
              <a:cxn ang="0">
                <a:pos x="connsiteX46880" y="connsiteY46880"/>
              </a:cxn>
              <a:cxn ang="0">
                <a:pos x="connsiteX46881" y="connsiteY46881"/>
              </a:cxn>
              <a:cxn ang="0">
                <a:pos x="connsiteX46882" y="connsiteY46882"/>
              </a:cxn>
              <a:cxn ang="0">
                <a:pos x="connsiteX46883" y="connsiteY46883"/>
              </a:cxn>
              <a:cxn ang="0">
                <a:pos x="connsiteX46884" y="connsiteY46884"/>
              </a:cxn>
              <a:cxn ang="0">
                <a:pos x="connsiteX46885" y="connsiteY46885"/>
              </a:cxn>
              <a:cxn ang="0">
                <a:pos x="connsiteX46886" y="connsiteY46886"/>
              </a:cxn>
              <a:cxn ang="0">
                <a:pos x="connsiteX46887" y="connsiteY46887"/>
              </a:cxn>
              <a:cxn ang="0">
                <a:pos x="connsiteX46888" y="connsiteY46888"/>
              </a:cxn>
              <a:cxn ang="0">
                <a:pos x="connsiteX46889" y="connsiteY46889"/>
              </a:cxn>
              <a:cxn ang="0">
                <a:pos x="connsiteX46890" y="connsiteY46890"/>
              </a:cxn>
              <a:cxn ang="0">
                <a:pos x="connsiteX46891" y="connsiteY46891"/>
              </a:cxn>
              <a:cxn ang="0">
                <a:pos x="connsiteX46892" y="connsiteY46892"/>
              </a:cxn>
              <a:cxn ang="0">
                <a:pos x="connsiteX46893" y="connsiteY46893"/>
              </a:cxn>
              <a:cxn ang="0">
                <a:pos x="connsiteX46894" y="connsiteY46894"/>
              </a:cxn>
              <a:cxn ang="0">
                <a:pos x="connsiteX46895" y="connsiteY46895"/>
              </a:cxn>
              <a:cxn ang="0">
                <a:pos x="connsiteX46896" y="connsiteY46896"/>
              </a:cxn>
              <a:cxn ang="0">
                <a:pos x="connsiteX46897" y="connsiteY46897"/>
              </a:cxn>
              <a:cxn ang="0">
                <a:pos x="connsiteX46898" y="connsiteY46898"/>
              </a:cxn>
              <a:cxn ang="0">
                <a:pos x="connsiteX46899" y="connsiteY46899"/>
              </a:cxn>
              <a:cxn ang="0">
                <a:pos x="connsiteX46900" y="connsiteY46900"/>
              </a:cxn>
              <a:cxn ang="0">
                <a:pos x="connsiteX46901" y="connsiteY46901"/>
              </a:cxn>
              <a:cxn ang="0">
                <a:pos x="connsiteX46902" y="connsiteY46902"/>
              </a:cxn>
              <a:cxn ang="0">
                <a:pos x="connsiteX46903" y="connsiteY46903"/>
              </a:cxn>
              <a:cxn ang="0">
                <a:pos x="connsiteX46904" y="connsiteY46904"/>
              </a:cxn>
              <a:cxn ang="0">
                <a:pos x="connsiteX46905" y="connsiteY46905"/>
              </a:cxn>
              <a:cxn ang="0">
                <a:pos x="connsiteX46906" y="connsiteY46906"/>
              </a:cxn>
              <a:cxn ang="0">
                <a:pos x="connsiteX46907" y="connsiteY46907"/>
              </a:cxn>
              <a:cxn ang="0">
                <a:pos x="connsiteX46908" y="connsiteY46908"/>
              </a:cxn>
              <a:cxn ang="0">
                <a:pos x="connsiteX46909" y="connsiteY46909"/>
              </a:cxn>
              <a:cxn ang="0">
                <a:pos x="connsiteX46910" y="connsiteY46910"/>
              </a:cxn>
              <a:cxn ang="0">
                <a:pos x="connsiteX46911" y="connsiteY46911"/>
              </a:cxn>
              <a:cxn ang="0">
                <a:pos x="connsiteX46912" y="connsiteY46912"/>
              </a:cxn>
              <a:cxn ang="0">
                <a:pos x="connsiteX46913" y="connsiteY46913"/>
              </a:cxn>
              <a:cxn ang="0">
                <a:pos x="connsiteX46914" y="connsiteY46914"/>
              </a:cxn>
              <a:cxn ang="0">
                <a:pos x="connsiteX46915" y="connsiteY46915"/>
              </a:cxn>
              <a:cxn ang="0">
                <a:pos x="connsiteX46916" y="connsiteY46916"/>
              </a:cxn>
              <a:cxn ang="0">
                <a:pos x="connsiteX46917" y="connsiteY46917"/>
              </a:cxn>
              <a:cxn ang="0">
                <a:pos x="connsiteX46918" y="connsiteY46918"/>
              </a:cxn>
              <a:cxn ang="0">
                <a:pos x="connsiteX46919" y="connsiteY46919"/>
              </a:cxn>
              <a:cxn ang="0">
                <a:pos x="connsiteX46920" y="connsiteY46920"/>
              </a:cxn>
              <a:cxn ang="0">
                <a:pos x="connsiteX46921" y="connsiteY46921"/>
              </a:cxn>
              <a:cxn ang="0">
                <a:pos x="connsiteX46922" y="connsiteY46922"/>
              </a:cxn>
              <a:cxn ang="0">
                <a:pos x="connsiteX46923" y="connsiteY46923"/>
              </a:cxn>
              <a:cxn ang="0">
                <a:pos x="connsiteX46924" y="connsiteY46924"/>
              </a:cxn>
              <a:cxn ang="0">
                <a:pos x="connsiteX46925" y="connsiteY46925"/>
              </a:cxn>
              <a:cxn ang="0">
                <a:pos x="connsiteX46926" y="connsiteY46926"/>
              </a:cxn>
              <a:cxn ang="0">
                <a:pos x="connsiteX46927" y="connsiteY46927"/>
              </a:cxn>
              <a:cxn ang="0">
                <a:pos x="connsiteX46928" y="connsiteY46928"/>
              </a:cxn>
              <a:cxn ang="0">
                <a:pos x="connsiteX46929" y="connsiteY46929"/>
              </a:cxn>
              <a:cxn ang="0">
                <a:pos x="connsiteX46930" y="connsiteY46930"/>
              </a:cxn>
              <a:cxn ang="0">
                <a:pos x="connsiteX46931" y="connsiteY46931"/>
              </a:cxn>
              <a:cxn ang="0">
                <a:pos x="connsiteX46932" y="connsiteY46932"/>
              </a:cxn>
              <a:cxn ang="0">
                <a:pos x="connsiteX46933" y="connsiteY46933"/>
              </a:cxn>
              <a:cxn ang="0">
                <a:pos x="connsiteX46934" y="connsiteY46934"/>
              </a:cxn>
              <a:cxn ang="0">
                <a:pos x="connsiteX46935" y="connsiteY46935"/>
              </a:cxn>
              <a:cxn ang="0">
                <a:pos x="connsiteX46936" y="connsiteY46936"/>
              </a:cxn>
              <a:cxn ang="0">
                <a:pos x="connsiteX46937" y="connsiteY46937"/>
              </a:cxn>
              <a:cxn ang="0">
                <a:pos x="connsiteX46938" y="connsiteY46938"/>
              </a:cxn>
              <a:cxn ang="0">
                <a:pos x="connsiteX46939" y="connsiteY46939"/>
              </a:cxn>
              <a:cxn ang="0">
                <a:pos x="connsiteX46940" y="connsiteY46940"/>
              </a:cxn>
              <a:cxn ang="0">
                <a:pos x="connsiteX46941" y="connsiteY46941"/>
              </a:cxn>
              <a:cxn ang="0">
                <a:pos x="connsiteX46942" y="connsiteY46942"/>
              </a:cxn>
              <a:cxn ang="0">
                <a:pos x="connsiteX46943" y="connsiteY46943"/>
              </a:cxn>
              <a:cxn ang="0">
                <a:pos x="connsiteX46944" y="connsiteY46944"/>
              </a:cxn>
              <a:cxn ang="0">
                <a:pos x="connsiteX46945" y="connsiteY46945"/>
              </a:cxn>
              <a:cxn ang="0">
                <a:pos x="connsiteX46946" y="connsiteY46946"/>
              </a:cxn>
              <a:cxn ang="0">
                <a:pos x="connsiteX46947" y="connsiteY46947"/>
              </a:cxn>
              <a:cxn ang="0">
                <a:pos x="connsiteX46948" y="connsiteY46948"/>
              </a:cxn>
              <a:cxn ang="0">
                <a:pos x="connsiteX46949" y="connsiteY46949"/>
              </a:cxn>
              <a:cxn ang="0">
                <a:pos x="connsiteX46950" y="connsiteY46950"/>
              </a:cxn>
              <a:cxn ang="0">
                <a:pos x="connsiteX46951" y="connsiteY46951"/>
              </a:cxn>
              <a:cxn ang="0">
                <a:pos x="connsiteX46952" y="connsiteY46952"/>
              </a:cxn>
              <a:cxn ang="0">
                <a:pos x="connsiteX46953" y="connsiteY46953"/>
              </a:cxn>
              <a:cxn ang="0">
                <a:pos x="connsiteX46954" y="connsiteY46954"/>
              </a:cxn>
              <a:cxn ang="0">
                <a:pos x="connsiteX46955" y="connsiteY46955"/>
              </a:cxn>
              <a:cxn ang="0">
                <a:pos x="connsiteX46956" y="connsiteY46956"/>
              </a:cxn>
              <a:cxn ang="0">
                <a:pos x="connsiteX46957" y="connsiteY46957"/>
              </a:cxn>
              <a:cxn ang="0">
                <a:pos x="connsiteX46958" y="connsiteY46958"/>
              </a:cxn>
              <a:cxn ang="0">
                <a:pos x="connsiteX46959" y="connsiteY46959"/>
              </a:cxn>
              <a:cxn ang="0">
                <a:pos x="connsiteX46960" y="connsiteY46960"/>
              </a:cxn>
              <a:cxn ang="0">
                <a:pos x="connsiteX46961" y="connsiteY46961"/>
              </a:cxn>
              <a:cxn ang="0">
                <a:pos x="connsiteX46962" y="connsiteY46962"/>
              </a:cxn>
              <a:cxn ang="0">
                <a:pos x="connsiteX46963" y="connsiteY46963"/>
              </a:cxn>
              <a:cxn ang="0">
                <a:pos x="connsiteX46964" y="connsiteY46964"/>
              </a:cxn>
              <a:cxn ang="0">
                <a:pos x="connsiteX46965" y="connsiteY46965"/>
              </a:cxn>
              <a:cxn ang="0">
                <a:pos x="connsiteX46966" y="connsiteY46966"/>
              </a:cxn>
              <a:cxn ang="0">
                <a:pos x="connsiteX46967" y="connsiteY46967"/>
              </a:cxn>
              <a:cxn ang="0">
                <a:pos x="connsiteX46968" y="connsiteY46968"/>
              </a:cxn>
              <a:cxn ang="0">
                <a:pos x="connsiteX46969" y="connsiteY46969"/>
              </a:cxn>
              <a:cxn ang="0">
                <a:pos x="connsiteX46970" y="connsiteY46970"/>
              </a:cxn>
              <a:cxn ang="0">
                <a:pos x="connsiteX46971" y="connsiteY46971"/>
              </a:cxn>
              <a:cxn ang="0">
                <a:pos x="connsiteX46972" y="connsiteY46972"/>
              </a:cxn>
              <a:cxn ang="0">
                <a:pos x="connsiteX46973" y="connsiteY46973"/>
              </a:cxn>
              <a:cxn ang="0">
                <a:pos x="connsiteX46974" y="connsiteY46974"/>
              </a:cxn>
              <a:cxn ang="0">
                <a:pos x="connsiteX46975" y="connsiteY46975"/>
              </a:cxn>
              <a:cxn ang="0">
                <a:pos x="connsiteX46976" y="connsiteY46976"/>
              </a:cxn>
              <a:cxn ang="0">
                <a:pos x="connsiteX46977" y="connsiteY46977"/>
              </a:cxn>
              <a:cxn ang="0">
                <a:pos x="connsiteX46978" y="connsiteY46978"/>
              </a:cxn>
              <a:cxn ang="0">
                <a:pos x="connsiteX46979" y="connsiteY46979"/>
              </a:cxn>
              <a:cxn ang="0">
                <a:pos x="connsiteX46980" y="connsiteY46980"/>
              </a:cxn>
              <a:cxn ang="0">
                <a:pos x="connsiteX46981" y="connsiteY46981"/>
              </a:cxn>
              <a:cxn ang="0">
                <a:pos x="connsiteX46982" y="connsiteY46982"/>
              </a:cxn>
              <a:cxn ang="0">
                <a:pos x="connsiteX46983" y="connsiteY46983"/>
              </a:cxn>
              <a:cxn ang="0">
                <a:pos x="connsiteX46984" y="connsiteY46984"/>
              </a:cxn>
              <a:cxn ang="0">
                <a:pos x="connsiteX46985" y="connsiteY46985"/>
              </a:cxn>
              <a:cxn ang="0">
                <a:pos x="connsiteX46986" y="connsiteY46986"/>
              </a:cxn>
              <a:cxn ang="0">
                <a:pos x="connsiteX46987" y="connsiteY46987"/>
              </a:cxn>
              <a:cxn ang="0">
                <a:pos x="connsiteX46988" y="connsiteY46988"/>
              </a:cxn>
              <a:cxn ang="0">
                <a:pos x="connsiteX46989" y="connsiteY46989"/>
              </a:cxn>
              <a:cxn ang="0">
                <a:pos x="connsiteX46990" y="connsiteY46990"/>
              </a:cxn>
              <a:cxn ang="0">
                <a:pos x="connsiteX46991" y="connsiteY46991"/>
              </a:cxn>
              <a:cxn ang="0">
                <a:pos x="connsiteX46992" y="connsiteY46992"/>
              </a:cxn>
              <a:cxn ang="0">
                <a:pos x="connsiteX46993" y="connsiteY46993"/>
              </a:cxn>
              <a:cxn ang="0">
                <a:pos x="connsiteX46994" y="connsiteY46994"/>
              </a:cxn>
              <a:cxn ang="0">
                <a:pos x="connsiteX46995" y="connsiteY46995"/>
              </a:cxn>
              <a:cxn ang="0">
                <a:pos x="connsiteX46996" y="connsiteY46996"/>
              </a:cxn>
              <a:cxn ang="0">
                <a:pos x="connsiteX46997" y="connsiteY46997"/>
              </a:cxn>
              <a:cxn ang="0">
                <a:pos x="connsiteX46998" y="connsiteY46998"/>
              </a:cxn>
              <a:cxn ang="0">
                <a:pos x="connsiteX46999" y="connsiteY46999"/>
              </a:cxn>
              <a:cxn ang="0">
                <a:pos x="connsiteX47000" y="connsiteY47000"/>
              </a:cxn>
              <a:cxn ang="0">
                <a:pos x="connsiteX47001" y="connsiteY47001"/>
              </a:cxn>
              <a:cxn ang="0">
                <a:pos x="connsiteX47002" y="connsiteY47002"/>
              </a:cxn>
              <a:cxn ang="0">
                <a:pos x="connsiteX47003" y="connsiteY47003"/>
              </a:cxn>
              <a:cxn ang="0">
                <a:pos x="connsiteX47004" y="connsiteY47004"/>
              </a:cxn>
              <a:cxn ang="0">
                <a:pos x="connsiteX47005" y="connsiteY47005"/>
              </a:cxn>
              <a:cxn ang="0">
                <a:pos x="connsiteX47006" y="connsiteY47006"/>
              </a:cxn>
              <a:cxn ang="0">
                <a:pos x="connsiteX47007" y="connsiteY47007"/>
              </a:cxn>
              <a:cxn ang="0">
                <a:pos x="connsiteX47008" y="connsiteY47008"/>
              </a:cxn>
              <a:cxn ang="0">
                <a:pos x="connsiteX47009" y="connsiteY47009"/>
              </a:cxn>
              <a:cxn ang="0">
                <a:pos x="connsiteX47010" y="connsiteY47010"/>
              </a:cxn>
              <a:cxn ang="0">
                <a:pos x="connsiteX47011" y="connsiteY47011"/>
              </a:cxn>
              <a:cxn ang="0">
                <a:pos x="connsiteX47012" y="connsiteY47012"/>
              </a:cxn>
              <a:cxn ang="0">
                <a:pos x="connsiteX47013" y="connsiteY47013"/>
              </a:cxn>
              <a:cxn ang="0">
                <a:pos x="connsiteX47014" y="connsiteY47014"/>
              </a:cxn>
              <a:cxn ang="0">
                <a:pos x="connsiteX47015" y="connsiteY47015"/>
              </a:cxn>
              <a:cxn ang="0">
                <a:pos x="connsiteX47016" y="connsiteY47016"/>
              </a:cxn>
              <a:cxn ang="0">
                <a:pos x="connsiteX47017" y="connsiteY47017"/>
              </a:cxn>
              <a:cxn ang="0">
                <a:pos x="connsiteX47018" y="connsiteY47018"/>
              </a:cxn>
              <a:cxn ang="0">
                <a:pos x="connsiteX47019" y="connsiteY47019"/>
              </a:cxn>
              <a:cxn ang="0">
                <a:pos x="connsiteX47020" y="connsiteY47020"/>
              </a:cxn>
              <a:cxn ang="0">
                <a:pos x="connsiteX47021" y="connsiteY47021"/>
              </a:cxn>
              <a:cxn ang="0">
                <a:pos x="connsiteX47022" y="connsiteY47022"/>
              </a:cxn>
              <a:cxn ang="0">
                <a:pos x="connsiteX47023" y="connsiteY47023"/>
              </a:cxn>
              <a:cxn ang="0">
                <a:pos x="connsiteX47024" y="connsiteY47024"/>
              </a:cxn>
              <a:cxn ang="0">
                <a:pos x="connsiteX47025" y="connsiteY47025"/>
              </a:cxn>
              <a:cxn ang="0">
                <a:pos x="connsiteX47026" y="connsiteY47026"/>
              </a:cxn>
              <a:cxn ang="0">
                <a:pos x="connsiteX47027" y="connsiteY47027"/>
              </a:cxn>
              <a:cxn ang="0">
                <a:pos x="connsiteX47028" y="connsiteY47028"/>
              </a:cxn>
              <a:cxn ang="0">
                <a:pos x="connsiteX47029" y="connsiteY47029"/>
              </a:cxn>
              <a:cxn ang="0">
                <a:pos x="connsiteX47030" y="connsiteY47030"/>
              </a:cxn>
              <a:cxn ang="0">
                <a:pos x="connsiteX47031" y="connsiteY47031"/>
              </a:cxn>
              <a:cxn ang="0">
                <a:pos x="connsiteX47032" y="connsiteY47032"/>
              </a:cxn>
              <a:cxn ang="0">
                <a:pos x="connsiteX47033" y="connsiteY47033"/>
              </a:cxn>
              <a:cxn ang="0">
                <a:pos x="connsiteX47034" y="connsiteY47034"/>
              </a:cxn>
              <a:cxn ang="0">
                <a:pos x="connsiteX47035" y="connsiteY47035"/>
              </a:cxn>
              <a:cxn ang="0">
                <a:pos x="connsiteX47036" y="connsiteY47036"/>
              </a:cxn>
              <a:cxn ang="0">
                <a:pos x="connsiteX47037" y="connsiteY47037"/>
              </a:cxn>
              <a:cxn ang="0">
                <a:pos x="connsiteX47038" y="connsiteY47038"/>
              </a:cxn>
              <a:cxn ang="0">
                <a:pos x="connsiteX47039" y="connsiteY47039"/>
              </a:cxn>
              <a:cxn ang="0">
                <a:pos x="connsiteX47040" y="connsiteY47040"/>
              </a:cxn>
              <a:cxn ang="0">
                <a:pos x="connsiteX47041" y="connsiteY47041"/>
              </a:cxn>
              <a:cxn ang="0">
                <a:pos x="connsiteX47042" y="connsiteY47042"/>
              </a:cxn>
              <a:cxn ang="0">
                <a:pos x="connsiteX47043" y="connsiteY47043"/>
              </a:cxn>
              <a:cxn ang="0">
                <a:pos x="connsiteX47044" y="connsiteY47044"/>
              </a:cxn>
              <a:cxn ang="0">
                <a:pos x="connsiteX47045" y="connsiteY47045"/>
              </a:cxn>
              <a:cxn ang="0">
                <a:pos x="connsiteX47046" y="connsiteY47046"/>
              </a:cxn>
              <a:cxn ang="0">
                <a:pos x="connsiteX47047" y="connsiteY47047"/>
              </a:cxn>
              <a:cxn ang="0">
                <a:pos x="connsiteX47048" y="connsiteY47048"/>
              </a:cxn>
              <a:cxn ang="0">
                <a:pos x="connsiteX47049" y="connsiteY47049"/>
              </a:cxn>
              <a:cxn ang="0">
                <a:pos x="connsiteX47050" y="connsiteY47050"/>
              </a:cxn>
              <a:cxn ang="0">
                <a:pos x="connsiteX47051" y="connsiteY47051"/>
              </a:cxn>
              <a:cxn ang="0">
                <a:pos x="connsiteX47052" y="connsiteY47052"/>
              </a:cxn>
              <a:cxn ang="0">
                <a:pos x="connsiteX47053" y="connsiteY47053"/>
              </a:cxn>
              <a:cxn ang="0">
                <a:pos x="connsiteX47054" y="connsiteY47054"/>
              </a:cxn>
              <a:cxn ang="0">
                <a:pos x="connsiteX47055" y="connsiteY47055"/>
              </a:cxn>
              <a:cxn ang="0">
                <a:pos x="connsiteX47056" y="connsiteY47056"/>
              </a:cxn>
              <a:cxn ang="0">
                <a:pos x="connsiteX47057" y="connsiteY47057"/>
              </a:cxn>
              <a:cxn ang="0">
                <a:pos x="connsiteX47058" y="connsiteY47058"/>
              </a:cxn>
              <a:cxn ang="0">
                <a:pos x="connsiteX47059" y="connsiteY47059"/>
              </a:cxn>
              <a:cxn ang="0">
                <a:pos x="connsiteX47060" y="connsiteY47060"/>
              </a:cxn>
              <a:cxn ang="0">
                <a:pos x="connsiteX47061" y="connsiteY47061"/>
              </a:cxn>
              <a:cxn ang="0">
                <a:pos x="connsiteX47062" y="connsiteY47062"/>
              </a:cxn>
              <a:cxn ang="0">
                <a:pos x="connsiteX47063" y="connsiteY47063"/>
              </a:cxn>
              <a:cxn ang="0">
                <a:pos x="connsiteX47064" y="connsiteY47064"/>
              </a:cxn>
              <a:cxn ang="0">
                <a:pos x="connsiteX47065" y="connsiteY47065"/>
              </a:cxn>
              <a:cxn ang="0">
                <a:pos x="connsiteX47066" y="connsiteY47066"/>
              </a:cxn>
              <a:cxn ang="0">
                <a:pos x="connsiteX47067" y="connsiteY47067"/>
              </a:cxn>
              <a:cxn ang="0">
                <a:pos x="connsiteX47068" y="connsiteY47068"/>
              </a:cxn>
              <a:cxn ang="0">
                <a:pos x="connsiteX47069" y="connsiteY47069"/>
              </a:cxn>
              <a:cxn ang="0">
                <a:pos x="connsiteX47070" y="connsiteY47070"/>
              </a:cxn>
              <a:cxn ang="0">
                <a:pos x="connsiteX47071" y="connsiteY47071"/>
              </a:cxn>
              <a:cxn ang="0">
                <a:pos x="connsiteX47072" y="connsiteY47072"/>
              </a:cxn>
              <a:cxn ang="0">
                <a:pos x="connsiteX47073" y="connsiteY47073"/>
              </a:cxn>
              <a:cxn ang="0">
                <a:pos x="connsiteX47074" y="connsiteY47074"/>
              </a:cxn>
              <a:cxn ang="0">
                <a:pos x="connsiteX47075" y="connsiteY47075"/>
              </a:cxn>
              <a:cxn ang="0">
                <a:pos x="connsiteX47076" y="connsiteY47076"/>
              </a:cxn>
              <a:cxn ang="0">
                <a:pos x="connsiteX47077" y="connsiteY47077"/>
              </a:cxn>
              <a:cxn ang="0">
                <a:pos x="connsiteX47078" y="connsiteY47078"/>
              </a:cxn>
              <a:cxn ang="0">
                <a:pos x="connsiteX47079" y="connsiteY47079"/>
              </a:cxn>
              <a:cxn ang="0">
                <a:pos x="connsiteX47080" y="connsiteY47080"/>
              </a:cxn>
              <a:cxn ang="0">
                <a:pos x="connsiteX47081" y="connsiteY47081"/>
              </a:cxn>
              <a:cxn ang="0">
                <a:pos x="connsiteX47082" y="connsiteY47082"/>
              </a:cxn>
              <a:cxn ang="0">
                <a:pos x="connsiteX47083" y="connsiteY47083"/>
              </a:cxn>
              <a:cxn ang="0">
                <a:pos x="connsiteX47084" y="connsiteY47084"/>
              </a:cxn>
              <a:cxn ang="0">
                <a:pos x="connsiteX47085" y="connsiteY47085"/>
              </a:cxn>
              <a:cxn ang="0">
                <a:pos x="connsiteX47086" y="connsiteY47086"/>
              </a:cxn>
              <a:cxn ang="0">
                <a:pos x="connsiteX47087" y="connsiteY47087"/>
              </a:cxn>
              <a:cxn ang="0">
                <a:pos x="connsiteX47088" y="connsiteY47088"/>
              </a:cxn>
              <a:cxn ang="0">
                <a:pos x="connsiteX47089" y="connsiteY47089"/>
              </a:cxn>
              <a:cxn ang="0">
                <a:pos x="connsiteX47090" y="connsiteY47090"/>
              </a:cxn>
              <a:cxn ang="0">
                <a:pos x="connsiteX47091" y="connsiteY47091"/>
              </a:cxn>
              <a:cxn ang="0">
                <a:pos x="connsiteX47092" y="connsiteY47092"/>
              </a:cxn>
              <a:cxn ang="0">
                <a:pos x="connsiteX47093" y="connsiteY47093"/>
              </a:cxn>
              <a:cxn ang="0">
                <a:pos x="connsiteX47094" y="connsiteY47094"/>
              </a:cxn>
              <a:cxn ang="0">
                <a:pos x="connsiteX47095" y="connsiteY47095"/>
              </a:cxn>
              <a:cxn ang="0">
                <a:pos x="connsiteX47096" y="connsiteY47096"/>
              </a:cxn>
              <a:cxn ang="0">
                <a:pos x="connsiteX47097" y="connsiteY47097"/>
              </a:cxn>
              <a:cxn ang="0">
                <a:pos x="connsiteX47098" y="connsiteY47098"/>
              </a:cxn>
              <a:cxn ang="0">
                <a:pos x="connsiteX47099" y="connsiteY47099"/>
              </a:cxn>
              <a:cxn ang="0">
                <a:pos x="connsiteX47100" y="connsiteY47100"/>
              </a:cxn>
              <a:cxn ang="0">
                <a:pos x="connsiteX47101" y="connsiteY47101"/>
              </a:cxn>
              <a:cxn ang="0">
                <a:pos x="connsiteX47102" y="connsiteY47102"/>
              </a:cxn>
              <a:cxn ang="0">
                <a:pos x="connsiteX47103" y="connsiteY47103"/>
              </a:cxn>
              <a:cxn ang="0">
                <a:pos x="connsiteX47104" y="connsiteY47104"/>
              </a:cxn>
              <a:cxn ang="0">
                <a:pos x="connsiteX47105" y="connsiteY47105"/>
              </a:cxn>
              <a:cxn ang="0">
                <a:pos x="connsiteX47106" y="connsiteY47106"/>
              </a:cxn>
              <a:cxn ang="0">
                <a:pos x="connsiteX47107" y="connsiteY47107"/>
              </a:cxn>
              <a:cxn ang="0">
                <a:pos x="connsiteX47108" y="connsiteY47108"/>
              </a:cxn>
              <a:cxn ang="0">
                <a:pos x="connsiteX47109" y="connsiteY47109"/>
              </a:cxn>
              <a:cxn ang="0">
                <a:pos x="connsiteX47110" y="connsiteY47110"/>
              </a:cxn>
              <a:cxn ang="0">
                <a:pos x="connsiteX47111" y="connsiteY47111"/>
              </a:cxn>
              <a:cxn ang="0">
                <a:pos x="connsiteX47112" y="connsiteY47112"/>
              </a:cxn>
              <a:cxn ang="0">
                <a:pos x="connsiteX47113" y="connsiteY47113"/>
              </a:cxn>
              <a:cxn ang="0">
                <a:pos x="connsiteX47114" y="connsiteY47114"/>
              </a:cxn>
              <a:cxn ang="0">
                <a:pos x="connsiteX47115" y="connsiteY47115"/>
              </a:cxn>
              <a:cxn ang="0">
                <a:pos x="connsiteX47116" y="connsiteY47116"/>
              </a:cxn>
              <a:cxn ang="0">
                <a:pos x="connsiteX47117" y="connsiteY47117"/>
              </a:cxn>
              <a:cxn ang="0">
                <a:pos x="connsiteX47118" y="connsiteY47118"/>
              </a:cxn>
              <a:cxn ang="0">
                <a:pos x="connsiteX47119" y="connsiteY47119"/>
              </a:cxn>
              <a:cxn ang="0">
                <a:pos x="connsiteX47120" y="connsiteY47120"/>
              </a:cxn>
              <a:cxn ang="0">
                <a:pos x="connsiteX47121" y="connsiteY47121"/>
              </a:cxn>
              <a:cxn ang="0">
                <a:pos x="connsiteX47122" y="connsiteY47122"/>
              </a:cxn>
              <a:cxn ang="0">
                <a:pos x="connsiteX47123" y="connsiteY47123"/>
              </a:cxn>
              <a:cxn ang="0">
                <a:pos x="connsiteX47124" y="connsiteY47124"/>
              </a:cxn>
              <a:cxn ang="0">
                <a:pos x="connsiteX47125" y="connsiteY47125"/>
              </a:cxn>
              <a:cxn ang="0">
                <a:pos x="connsiteX47126" y="connsiteY47126"/>
              </a:cxn>
              <a:cxn ang="0">
                <a:pos x="connsiteX47127" y="connsiteY47127"/>
              </a:cxn>
              <a:cxn ang="0">
                <a:pos x="connsiteX47128" y="connsiteY47128"/>
              </a:cxn>
              <a:cxn ang="0">
                <a:pos x="connsiteX47129" y="connsiteY47129"/>
              </a:cxn>
              <a:cxn ang="0">
                <a:pos x="connsiteX47130" y="connsiteY47130"/>
              </a:cxn>
              <a:cxn ang="0">
                <a:pos x="connsiteX47131" y="connsiteY47131"/>
              </a:cxn>
              <a:cxn ang="0">
                <a:pos x="connsiteX47132" y="connsiteY47132"/>
              </a:cxn>
              <a:cxn ang="0">
                <a:pos x="connsiteX47133" y="connsiteY47133"/>
              </a:cxn>
              <a:cxn ang="0">
                <a:pos x="connsiteX47134" y="connsiteY47134"/>
              </a:cxn>
              <a:cxn ang="0">
                <a:pos x="connsiteX47135" y="connsiteY47135"/>
              </a:cxn>
              <a:cxn ang="0">
                <a:pos x="connsiteX47136" y="connsiteY47136"/>
              </a:cxn>
              <a:cxn ang="0">
                <a:pos x="connsiteX47137" y="connsiteY47137"/>
              </a:cxn>
              <a:cxn ang="0">
                <a:pos x="connsiteX47138" y="connsiteY47138"/>
              </a:cxn>
              <a:cxn ang="0">
                <a:pos x="connsiteX47139" y="connsiteY47139"/>
              </a:cxn>
              <a:cxn ang="0">
                <a:pos x="connsiteX47140" y="connsiteY47140"/>
              </a:cxn>
              <a:cxn ang="0">
                <a:pos x="connsiteX47141" y="connsiteY47141"/>
              </a:cxn>
              <a:cxn ang="0">
                <a:pos x="connsiteX47142" y="connsiteY47142"/>
              </a:cxn>
              <a:cxn ang="0">
                <a:pos x="connsiteX47143" y="connsiteY47143"/>
              </a:cxn>
              <a:cxn ang="0">
                <a:pos x="connsiteX47144" y="connsiteY47144"/>
              </a:cxn>
              <a:cxn ang="0">
                <a:pos x="connsiteX47145" y="connsiteY47145"/>
              </a:cxn>
              <a:cxn ang="0">
                <a:pos x="connsiteX47146" y="connsiteY47146"/>
              </a:cxn>
              <a:cxn ang="0">
                <a:pos x="connsiteX47147" y="connsiteY47147"/>
              </a:cxn>
              <a:cxn ang="0">
                <a:pos x="connsiteX47148" y="connsiteY47148"/>
              </a:cxn>
              <a:cxn ang="0">
                <a:pos x="connsiteX47149" y="connsiteY47149"/>
              </a:cxn>
              <a:cxn ang="0">
                <a:pos x="connsiteX47150" y="connsiteY47150"/>
              </a:cxn>
              <a:cxn ang="0">
                <a:pos x="connsiteX47151" y="connsiteY47151"/>
              </a:cxn>
              <a:cxn ang="0">
                <a:pos x="connsiteX47152" y="connsiteY47152"/>
              </a:cxn>
              <a:cxn ang="0">
                <a:pos x="connsiteX47153" y="connsiteY47153"/>
              </a:cxn>
              <a:cxn ang="0">
                <a:pos x="connsiteX47154" y="connsiteY47154"/>
              </a:cxn>
              <a:cxn ang="0">
                <a:pos x="connsiteX47155" y="connsiteY47155"/>
              </a:cxn>
              <a:cxn ang="0">
                <a:pos x="connsiteX47156" y="connsiteY47156"/>
              </a:cxn>
              <a:cxn ang="0">
                <a:pos x="connsiteX47157" y="connsiteY47157"/>
              </a:cxn>
              <a:cxn ang="0">
                <a:pos x="connsiteX47158" y="connsiteY47158"/>
              </a:cxn>
              <a:cxn ang="0">
                <a:pos x="connsiteX47159" y="connsiteY47159"/>
              </a:cxn>
              <a:cxn ang="0">
                <a:pos x="connsiteX47160" y="connsiteY47160"/>
              </a:cxn>
              <a:cxn ang="0">
                <a:pos x="connsiteX47161" y="connsiteY47161"/>
              </a:cxn>
              <a:cxn ang="0">
                <a:pos x="connsiteX47162" y="connsiteY47162"/>
              </a:cxn>
              <a:cxn ang="0">
                <a:pos x="connsiteX47163" y="connsiteY47163"/>
              </a:cxn>
              <a:cxn ang="0">
                <a:pos x="connsiteX47164" y="connsiteY47164"/>
              </a:cxn>
              <a:cxn ang="0">
                <a:pos x="connsiteX47165" y="connsiteY47165"/>
              </a:cxn>
              <a:cxn ang="0">
                <a:pos x="connsiteX47166" y="connsiteY47166"/>
              </a:cxn>
              <a:cxn ang="0">
                <a:pos x="connsiteX47167" y="connsiteY47167"/>
              </a:cxn>
              <a:cxn ang="0">
                <a:pos x="connsiteX47168" y="connsiteY47168"/>
              </a:cxn>
              <a:cxn ang="0">
                <a:pos x="connsiteX47169" y="connsiteY47169"/>
              </a:cxn>
              <a:cxn ang="0">
                <a:pos x="connsiteX47170" y="connsiteY47170"/>
              </a:cxn>
              <a:cxn ang="0">
                <a:pos x="connsiteX47171" y="connsiteY47171"/>
              </a:cxn>
              <a:cxn ang="0">
                <a:pos x="connsiteX47172" y="connsiteY47172"/>
              </a:cxn>
              <a:cxn ang="0">
                <a:pos x="connsiteX47173" y="connsiteY47173"/>
              </a:cxn>
              <a:cxn ang="0">
                <a:pos x="connsiteX47174" y="connsiteY47174"/>
              </a:cxn>
              <a:cxn ang="0">
                <a:pos x="connsiteX47175" y="connsiteY47175"/>
              </a:cxn>
              <a:cxn ang="0">
                <a:pos x="connsiteX47176" y="connsiteY47176"/>
              </a:cxn>
              <a:cxn ang="0">
                <a:pos x="connsiteX47177" y="connsiteY47177"/>
              </a:cxn>
              <a:cxn ang="0">
                <a:pos x="connsiteX47178" y="connsiteY47178"/>
              </a:cxn>
              <a:cxn ang="0">
                <a:pos x="connsiteX47179" y="connsiteY47179"/>
              </a:cxn>
              <a:cxn ang="0">
                <a:pos x="connsiteX47180" y="connsiteY47180"/>
              </a:cxn>
              <a:cxn ang="0">
                <a:pos x="connsiteX47181" y="connsiteY47181"/>
              </a:cxn>
              <a:cxn ang="0">
                <a:pos x="connsiteX47182" y="connsiteY47182"/>
              </a:cxn>
              <a:cxn ang="0">
                <a:pos x="connsiteX47183" y="connsiteY47183"/>
              </a:cxn>
              <a:cxn ang="0">
                <a:pos x="connsiteX47184" y="connsiteY47184"/>
              </a:cxn>
              <a:cxn ang="0">
                <a:pos x="connsiteX47185" y="connsiteY47185"/>
              </a:cxn>
              <a:cxn ang="0">
                <a:pos x="connsiteX47186" y="connsiteY47186"/>
              </a:cxn>
              <a:cxn ang="0">
                <a:pos x="connsiteX47187" y="connsiteY47187"/>
              </a:cxn>
              <a:cxn ang="0">
                <a:pos x="connsiteX47188" y="connsiteY47188"/>
              </a:cxn>
              <a:cxn ang="0">
                <a:pos x="connsiteX47189" y="connsiteY47189"/>
              </a:cxn>
              <a:cxn ang="0">
                <a:pos x="connsiteX47190" y="connsiteY47190"/>
              </a:cxn>
              <a:cxn ang="0">
                <a:pos x="connsiteX47191" y="connsiteY47191"/>
              </a:cxn>
              <a:cxn ang="0">
                <a:pos x="connsiteX47192" y="connsiteY47192"/>
              </a:cxn>
              <a:cxn ang="0">
                <a:pos x="connsiteX47193" y="connsiteY47193"/>
              </a:cxn>
              <a:cxn ang="0">
                <a:pos x="connsiteX47194" y="connsiteY47194"/>
              </a:cxn>
              <a:cxn ang="0">
                <a:pos x="connsiteX47195" y="connsiteY47195"/>
              </a:cxn>
              <a:cxn ang="0">
                <a:pos x="connsiteX47196" y="connsiteY47196"/>
              </a:cxn>
              <a:cxn ang="0">
                <a:pos x="connsiteX47197" y="connsiteY47197"/>
              </a:cxn>
              <a:cxn ang="0">
                <a:pos x="connsiteX47198" y="connsiteY47198"/>
              </a:cxn>
              <a:cxn ang="0">
                <a:pos x="connsiteX47199" y="connsiteY47199"/>
              </a:cxn>
              <a:cxn ang="0">
                <a:pos x="connsiteX47200" y="connsiteY47200"/>
              </a:cxn>
              <a:cxn ang="0">
                <a:pos x="connsiteX47201" y="connsiteY47201"/>
              </a:cxn>
              <a:cxn ang="0">
                <a:pos x="connsiteX47202" y="connsiteY47202"/>
              </a:cxn>
              <a:cxn ang="0">
                <a:pos x="connsiteX47203" y="connsiteY47203"/>
              </a:cxn>
              <a:cxn ang="0">
                <a:pos x="connsiteX47204" y="connsiteY47204"/>
              </a:cxn>
              <a:cxn ang="0">
                <a:pos x="connsiteX47205" y="connsiteY47205"/>
              </a:cxn>
              <a:cxn ang="0">
                <a:pos x="connsiteX47206" y="connsiteY47206"/>
              </a:cxn>
              <a:cxn ang="0">
                <a:pos x="connsiteX47207" y="connsiteY47207"/>
              </a:cxn>
              <a:cxn ang="0">
                <a:pos x="connsiteX47208" y="connsiteY47208"/>
              </a:cxn>
              <a:cxn ang="0">
                <a:pos x="connsiteX47209" y="connsiteY47209"/>
              </a:cxn>
              <a:cxn ang="0">
                <a:pos x="connsiteX47210" y="connsiteY47210"/>
              </a:cxn>
              <a:cxn ang="0">
                <a:pos x="connsiteX47211" y="connsiteY47211"/>
              </a:cxn>
              <a:cxn ang="0">
                <a:pos x="connsiteX47212" y="connsiteY47212"/>
              </a:cxn>
              <a:cxn ang="0">
                <a:pos x="connsiteX47213" y="connsiteY47213"/>
              </a:cxn>
              <a:cxn ang="0">
                <a:pos x="connsiteX47214" y="connsiteY47214"/>
              </a:cxn>
              <a:cxn ang="0">
                <a:pos x="connsiteX47215" y="connsiteY47215"/>
              </a:cxn>
              <a:cxn ang="0">
                <a:pos x="connsiteX47216" y="connsiteY47216"/>
              </a:cxn>
              <a:cxn ang="0">
                <a:pos x="connsiteX47217" y="connsiteY47217"/>
              </a:cxn>
              <a:cxn ang="0">
                <a:pos x="connsiteX47218" y="connsiteY47218"/>
              </a:cxn>
              <a:cxn ang="0">
                <a:pos x="connsiteX47219" y="connsiteY47219"/>
              </a:cxn>
              <a:cxn ang="0">
                <a:pos x="connsiteX47220" y="connsiteY47220"/>
              </a:cxn>
              <a:cxn ang="0">
                <a:pos x="connsiteX47221" y="connsiteY47221"/>
              </a:cxn>
              <a:cxn ang="0">
                <a:pos x="connsiteX47222" y="connsiteY47222"/>
              </a:cxn>
              <a:cxn ang="0">
                <a:pos x="connsiteX47223" y="connsiteY47223"/>
              </a:cxn>
              <a:cxn ang="0">
                <a:pos x="connsiteX47224" y="connsiteY47224"/>
              </a:cxn>
              <a:cxn ang="0">
                <a:pos x="connsiteX47225" y="connsiteY47225"/>
              </a:cxn>
              <a:cxn ang="0">
                <a:pos x="connsiteX47226" y="connsiteY47226"/>
              </a:cxn>
              <a:cxn ang="0">
                <a:pos x="connsiteX47227" y="connsiteY47227"/>
              </a:cxn>
              <a:cxn ang="0">
                <a:pos x="connsiteX47228" y="connsiteY47228"/>
              </a:cxn>
              <a:cxn ang="0">
                <a:pos x="connsiteX47229" y="connsiteY47229"/>
              </a:cxn>
              <a:cxn ang="0">
                <a:pos x="connsiteX47230" y="connsiteY47230"/>
              </a:cxn>
              <a:cxn ang="0">
                <a:pos x="connsiteX47231" y="connsiteY47231"/>
              </a:cxn>
              <a:cxn ang="0">
                <a:pos x="connsiteX47232" y="connsiteY47232"/>
              </a:cxn>
              <a:cxn ang="0">
                <a:pos x="connsiteX47233" y="connsiteY47233"/>
              </a:cxn>
              <a:cxn ang="0">
                <a:pos x="connsiteX47234" y="connsiteY47234"/>
              </a:cxn>
              <a:cxn ang="0">
                <a:pos x="connsiteX47235" y="connsiteY47235"/>
              </a:cxn>
              <a:cxn ang="0">
                <a:pos x="connsiteX47236" y="connsiteY47236"/>
              </a:cxn>
              <a:cxn ang="0">
                <a:pos x="connsiteX47237" y="connsiteY47237"/>
              </a:cxn>
              <a:cxn ang="0">
                <a:pos x="connsiteX47238" y="connsiteY47238"/>
              </a:cxn>
              <a:cxn ang="0">
                <a:pos x="connsiteX47239" y="connsiteY47239"/>
              </a:cxn>
              <a:cxn ang="0">
                <a:pos x="connsiteX47240" y="connsiteY47240"/>
              </a:cxn>
              <a:cxn ang="0">
                <a:pos x="connsiteX47241" y="connsiteY47241"/>
              </a:cxn>
              <a:cxn ang="0">
                <a:pos x="connsiteX47242" y="connsiteY47242"/>
              </a:cxn>
              <a:cxn ang="0">
                <a:pos x="connsiteX47243" y="connsiteY47243"/>
              </a:cxn>
              <a:cxn ang="0">
                <a:pos x="connsiteX47244" y="connsiteY47244"/>
              </a:cxn>
              <a:cxn ang="0">
                <a:pos x="connsiteX47245" y="connsiteY47245"/>
              </a:cxn>
              <a:cxn ang="0">
                <a:pos x="connsiteX47246" y="connsiteY47246"/>
              </a:cxn>
              <a:cxn ang="0">
                <a:pos x="connsiteX47247" y="connsiteY47247"/>
              </a:cxn>
              <a:cxn ang="0">
                <a:pos x="connsiteX47248" y="connsiteY47248"/>
              </a:cxn>
              <a:cxn ang="0">
                <a:pos x="connsiteX47249" y="connsiteY47249"/>
              </a:cxn>
              <a:cxn ang="0">
                <a:pos x="connsiteX47250" y="connsiteY47250"/>
              </a:cxn>
              <a:cxn ang="0">
                <a:pos x="connsiteX47251" y="connsiteY47251"/>
              </a:cxn>
              <a:cxn ang="0">
                <a:pos x="connsiteX47252" y="connsiteY47252"/>
              </a:cxn>
              <a:cxn ang="0">
                <a:pos x="connsiteX47253" y="connsiteY47253"/>
              </a:cxn>
              <a:cxn ang="0">
                <a:pos x="connsiteX47254" y="connsiteY47254"/>
              </a:cxn>
              <a:cxn ang="0">
                <a:pos x="connsiteX47255" y="connsiteY47255"/>
              </a:cxn>
              <a:cxn ang="0">
                <a:pos x="connsiteX47256" y="connsiteY47256"/>
              </a:cxn>
              <a:cxn ang="0">
                <a:pos x="connsiteX47257" y="connsiteY47257"/>
              </a:cxn>
              <a:cxn ang="0">
                <a:pos x="connsiteX47258" y="connsiteY47258"/>
              </a:cxn>
              <a:cxn ang="0">
                <a:pos x="connsiteX47259" y="connsiteY47259"/>
              </a:cxn>
              <a:cxn ang="0">
                <a:pos x="connsiteX47260" y="connsiteY47260"/>
              </a:cxn>
              <a:cxn ang="0">
                <a:pos x="connsiteX47261" y="connsiteY47261"/>
              </a:cxn>
              <a:cxn ang="0">
                <a:pos x="connsiteX47262" y="connsiteY47262"/>
              </a:cxn>
              <a:cxn ang="0">
                <a:pos x="connsiteX47263" y="connsiteY47263"/>
              </a:cxn>
              <a:cxn ang="0">
                <a:pos x="connsiteX47264" y="connsiteY47264"/>
              </a:cxn>
              <a:cxn ang="0">
                <a:pos x="connsiteX47265" y="connsiteY47265"/>
              </a:cxn>
              <a:cxn ang="0">
                <a:pos x="connsiteX47266" y="connsiteY47266"/>
              </a:cxn>
              <a:cxn ang="0">
                <a:pos x="connsiteX47267" y="connsiteY47267"/>
              </a:cxn>
              <a:cxn ang="0">
                <a:pos x="connsiteX47268" y="connsiteY47268"/>
              </a:cxn>
              <a:cxn ang="0">
                <a:pos x="connsiteX47269" y="connsiteY47269"/>
              </a:cxn>
              <a:cxn ang="0">
                <a:pos x="connsiteX47270" y="connsiteY47270"/>
              </a:cxn>
              <a:cxn ang="0">
                <a:pos x="connsiteX47271" y="connsiteY47271"/>
              </a:cxn>
              <a:cxn ang="0">
                <a:pos x="connsiteX47272" y="connsiteY47272"/>
              </a:cxn>
              <a:cxn ang="0">
                <a:pos x="connsiteX47273" y="connsiteY47273"/>
              </a:cxn>
              <a:cxn ang="0">
                <a:pos x="connsiteX47274" y="connsiteY47274"/>
              </a:cxn>
              <a:cxn ang="0">
                <a:pos x="connsiteX47275" y="connsiteY47275"/>
              </a:cxn>
              <a:cxn ang="0">
                <a:pos x="connsiteX47276" y="connsiteY47276"/>
              </a:cxn>
              <a:cxn ang="0">
                <a:pos x="connsiteX47277" y="connsiteY47277"/>
              </a:cxn>
              <a:cxn ang="0">
                <a:pos x="connsiteX47278" y="connsiteY47278"/>
              </a:cxn>
              <a:cxn ang="0">
                <a:pos x="connsiteX47279" y="connsiteY47279"/>
              </a:cxn>
              <a:cxn ang="0">
                <a:pos x="connsiteX47280" y="connsiteY47280"/>
              </a:cxn>
              <a:cxn ang="0">
                <a:pos x="connsiteX47281" y="connsiteY47281"/>
              </a:cxn>
              <a:cxn ang="0">
                <a:pos x="connsiteX47282" y="connsiteY47282"/>
              </a:cxn>
              <a:cxn ang="0">
                <a:pos x="connsiteX47283" y="connsiteY47283"/>
              </a:cxn>
              <a:cxn ang="0">
                <a:pos x="connsiteX47284" y="connsiteY47284"/>
              </a:cxn>
              <a:cxn ang="0">
                <a:pos x="connsiteX47285" y="connsiteY47285"/>
              </a:cxn>
              <a:cxn ang="0">
                <a:pos x="connsiteX47286" y="connsiteY47286"/>
              </a:cxn>
              <a:cxn ang="0">
                <a:pos x="connsiteX47287" y="connsiteY47287"/>
              </a:cxn>
              <a:cxn ang="0">
                <a:pos x="connsiteX47288" y="connsiteY47288"/>
              </a:cxn>
              <a:cxn ang="0">
                <a:pos x="connsiteX47289" y="connsiteY47289"/>
              </a:cxn>
              <a:cxn ang="0">
                <a:pos x="connsiteX47290" y="connsiteY47290"/>
              </a:cxn>
              <a:cxn ang="0">
                <a:pos x="connsiteX47291" y="connsiteY47291"/>
              </a:cxn>
              <a:cxn ang="0">
                <a:pos x="connsiteX47292" y="connsiteY47292"/>
              </a:cxn>
              <a:cxn ang="0">
                <a:pos x="connsiteX47293" y="connsiteY47293"/>
              </a:cxn>
              <a:cxn ang="0">
                <a:pos x="connsiteX47294" y="connsiteY47294"/>
              </a:cxn>
              <a:cxn ang="0">
                <a:pos x="connsiteX47295" y="connsiteY47295"/>
              </a:cxn>
              <a:cxn ang="0">
                <a:pos x="connsiteX47296" y="connsiteY47296"/>
              </a:cxn>
              <a:cxn ang="0">
                <a:pos x="connsiteX47297" y="connsiteY47297"/>
              </a:cxn>
              <a:cxn ang="0">
                <a:pos x="connsiteX47298" y="connsiteY47298"/>
              </a:cxn>
              <a:cxn ang="0">
                <a:pos x="connsiteX47299" y="connsiteY47299"/>
              </a:cxn>
              <a:cxn ang="0">
                <a:pos x="connsiteX47300" y="connsiteY47300"/>
              </a:cxn>
              <a:cxn ang="0">
                <a:pos x="connsiteX47301" y="connsiteY47301"/>
              </a:cxn>
              <a:cxn ang="0">
                <a:pos x="connsiteX47302" y="connsiteY47302"/>
              </a:cxn>
              <a:cxn ang="0">
                <a:pos x="connsiteX47303" y="connsiteY47303"/>
              </a:cxn>
              <a:cxn ang="0">
                <a:pos x="connsiteX47304" y="connsiteY47304"/>
              </a:cxn>
              <a:cxn ang="0">
                <a:pos x="connsiteX47305" y="connsiteY47305"/>
              </a:cxn>
              <a:cxn ang="0">
                <a:pos x="connsiteX47306" y="connsiteY47306"/>
              </a:cxn>
              <a:cxn ang="0">
                <a:pos x="connsiteX47307" y="connsiteY47307"/>
              </a:cxn>
              <a:cxn ang="0">
                <a:pos x="connsiteX47308" y="connsiteY47308"/>
              </a:cxn>
              <a:cxn ang="0">
                <a:pos x="connsiteX47309" y="connsiteY47309"/>
              </a:cxn>
              <a:cxn ang="0">
                <a:pos x="connsiteX47310" y="connsiteY47310"/>
              </a:cxn>
              <a:cxn ang="0">
                <a:pos x="connsiteX47311" y="connsiteY47311"/>
              </a:cxn>
              <a:cxn ang="0">
                <a:pos x="connsiteX47312" y="connsiteY47312"/>
              </a:cxn>
              <a:cxn ang="0">
                <a:pos x="connsiteX47313" y="connsiteY47313"/>
              </a:cxn>
              <a:cxn ang="0">
                <a:pos x="connsiteX47314" y="connsiteY47314"/>
              </a:cxn>
              <a:cxn ang="0">
                <a:pos x="connsiteX47315" y="connsiteY47315"/>
              </a:cxn>
              <a:cxn ang="0">
                <a:pos x="connsiteX47316" y="connsiteY47316"/>
              </a:cxn>
              <a:cxn ang="0">
                <a:pos x="connsiteX47317" y="connsiteY47317"/>
              </a:cxn>
              <a:cxn ang="0">
                <a:pos x="connsiteX47318" y="connsiteY47318"/>
              </a:cxn>
              <a:cxn ang="0">
                <a:pos x="connsiteX47319" y="connsiteY47319"/>
              </a:cxn>
              <a:cxn ang="0">
                <a:pos x="connsiteX47320" y="connsiteY47320"/>
              </a:cxn>
              <a:cxn ang="0">
                <a:pos x="connsiteX47321" y="connsiteY47321"/>
              </a:cxn>
              <a:cxn ang="0">
                <a:pos x="connsiteX47322" y="connsiteY47322"/>
              </a:cxn>
              <a:cxn ang="0">
                <a:pos x="connsiteX47323" y="connsiteY47323"/>
              </a:cxn>
              <a:cxn ang="0">
                <a:pos x="connsiteX47324" y="connsiteY47324"/>
              </a:cxn>
              <a:cxn ang="0">
                <a:pos x="connsiteX47325" y="connsiteY47325"/>
              </a:cxn>
              <a:cxn ang="0">
                <a:pos x="connsiteX47326" y="connsiteY47326"/>
              </a:cxn>
              <a:cxn ang="0">
                <a:pos x="connsiteX47327" y="connsiteY47327"/>
              </a:cxn>
              <a:cxn ang="0">
                <a:pos x="connsiteX47328" y="connsiteY47328"/>
              </a:cxn>
              <a:cxn ang="0">
                <a:pos x="connsiteX47329" y="connsiteY47329"/>
              </a:cxn>
              <a:cxn ang="0">
                <a:pos x="connsiteX47330" y="connsiteY47330"/>
              </a:cxn>
              <a:cxn ang="0">
                <a:pos x="connsiteX47331" y="connsiteY47331"/>
              </a:cxn>
              <a:cxn ang="0">
                <a:pos x="connsiteX47332" y="connsiteY47332"/>
              </a:cxn>
              <a:cxn ang="0">
                <a:pos x="connsiteX47333" y="connsiteY47333"/>
              </a:cxn>
              <a:cxn ang="0">
                <a:pos x="connsiteX47334" y="connsiteY47334"/>
              </a:cxn>
              <a:cxn ang="0">
                <a:pos x="connsiteX47335" y="connsiteY47335"/>
              </a:cxn>
              <a:cxn ang="0">
                <a:pos x="connsiteX47336" y="connsiteY47336"/>
              </a:cxn>
              <a:cxn ang="0">
                <a:pos x="connsiteX47337" y="connsiteY47337"/>
              </a:cxn>
              <a:cxn ang="0">
                <a:pos x="connsiteX47338" y="connsiteY47338"/>
              </a:cxn>
              <a:cxn ang="0">
                <a:pos x="connsiteX47339" y="connsiteY47339"/>
              </a:cxn>
              <a:cxn ang="0">
                <a:pos x="connsiteX47340" y="connsiteY47340"/>
              </a:cxn>
              <a:cxn ang="0">
                <a:pos x="connsiteX47341" y="connsiteY47341"/>
              </a:cxn>
              <a:cxn ang="0">
                <a:pos x="connsiteX47342" y="connsiteY47342"/>
              </a:cxn>
              <a:cxn ang="0">
                <a:pos x="connsiteX47343" y="connsiteY47343"/>
              </a:cxn>
              <a:cxn ang="0">
                <a:pos x="connsiteX47344" y="connsiteY47344"/>
              </a:cxn>
              <a:cxn ang="0">
                <a:pos x="connsiteX47345" y="connsiteY47345"/>
              </a:cxn>
              <a:cxn ang="0">
                <a:pos x="connsiteX47346" y="connsiteY47346"/>
              </a:cxn>
              <a:cxn ang="0">
                <a:pos x="connsiteX47347" y="connsiteY47347"/>
              </a:cxn>
              <a:cxn ang="0">
                <a:pos x="connsiteX47348" y="connsiteY47348"/>
              </a:cxn>
              <a:cxn ang="0">
                <a:pos x="connsiteX47349" y="connsiteY47349"/>
              </a:cxn>
              <a:cxn ang="0">
                <a:pos x="connsiteX47350" y="connsiteY47350"/>
              </a:cxn>
              <a:cxn ang="0">
                <a:pos x="connsiteX47351" y="connsiteY47351"/>
              </a:cxn>
              <a:cxn ang="0">
                <a:pos x="connsiteX47352" y="connsiteY47352"/>
              </a:cxn>
              <a:cxn ang="0">
                <a:pos x="connsiteX47353" y="connsiteY47353"/>
              </a:cxn>
              <a:cxn ang="0">
                <a:pos x="connsiteX47354" y="connsiteY47354"/>
              </a:cxn>
              <a:cxn ang="0">
                <a:pos x="connsiteX47355" y="connsiteY47355"/>
              </a:cxn>
              <a:cxn ang="0">
                <a:pos x="connsiteX47356" y="connsiteY47356"/>
              </a:cxn>
              <a:cxn ang="0">
                <a:pos x="connsiteX47357" y="connsiteY47357"/>
              </a:cxn>
              <a:cxn ang="0">
                <a:pos x="connsiteX47358" y="connsiteY47358"/>
              </a:cxn>
              <a:cxn ang="0">
                <a:pos x="connsiteX47359" y="connsiteY47359"/>
              </a:cxn>
              <a:cxn ang="0">
                <a:pos x="connsiteX47360" y="connsiteY47360"/>
              </a:cxn>
              <a:cxn ang="0">
                <a:pos x="connsiteX47361" y="connsiteY47361"/>
              </a:cxn>
              <a:cxn ang="0">
                <a:pos x="connsiteX47362" y="connsiteY47362"/>
              </a:cxn>
              <a:cxn ang="0">
                <a:pos x="connsiteX47363" y="connsiteY47363"/>
              </a:cxn>
              <a:cxn ang="0">
                <a:pos x="connsiteX47364" y="connsiteY47364"/>
              </a:cxn>
              <a:cxn ang="0">
                <a:pos x="connsiteX47365" y="connsiteY47365"/>
              </a:cxn>
              <a:cxn ang="0">
                <a:pos x="connsiteX47366" y="connsiteY47366"/>
              </a:cxn>
              <a:cxn ang="0">
                <a:pos x="connsiteX47367" y="connsiteY47367"/>
              </a:cxn>
              <a:cxn ang="0">
                <a:pos x="connsiteX47368" y="connsiteY47368"/>
              </a:cxn>
              <a:cxn ang="0">
                <a:pos x="connsiteX47369" y="connsiteY47369"/>
              </a:cxn>
              <a:cxn ang="0">
                <a:pos x="connsiteX47370" y="connsiteY47370"/>
              </a:cxn>
              <a:cxn ang="0">
                <a:pos x="connsiteX47371" y="connsiteY47371"/>
              </a:cxn>
              <a:cxn ang="0">
                <a:pos x="connsiteX47372" y="connsiteY47372"/>
              </a:cxn>
              <a:cxn ang="0">
                <a:pos x="connsiteX47373" y="connsiteY47373"/>
              </a:cxn>
              <a:cxn ang="0">
                <a:pos x="connsiteX47374" y="connsiteY47374"/>
              </a:cxn>
              <a:cxn ang="0">
                <a:pos x="connsiteX47375" y="connsiteY47375"/>
              </a:cxn>
              <a:cxn ang="0">
                <a:pos x="connsiteX47376" y="connsiteY47376"/>
              </a:cxn>
              <a:cxn ang="0">
                <a:pos x="connsiteX47377" y="connsiteY47377"/>
              </a:cxn>
              <a:cxn ang="0">
                <a:pos x="connsiteX47378" y="connsiteY47378"/>
              </a:cxn>
              <a:cxn ang="0">
                <a:pos x="connsiteX47379" y="connsiteY47379"/>
              </a:cxn>
              <a:cxn ang="0">
                <a:pos x="connsiteX47380" y="connsiteY47380"/>
              </a:cxn>
              <a:cxn ang="0">
                <a:pos x="connsiteX47381" y="connsiteY47381"/>
              </a:cxn>
              <a:cxn ang="0">
                <a:pos x="connsiteX47382" y="connsiteY47382"/>
              </a:cxn>
              <a:cxn ang="0">
                <a:pos x="connsiteX47383" y="connsiteY47383"/>
              </a:cxn>
              <a:cxn ang="0">
                <a:pos x="connsiteX47384" y="connsiteY47384"/>
              </a:cxn>
              <a:cxn ang="0">
                <a:pos x="connsiteX47385" y="connsiteY47385"/>
              </a:cxn>
              <a:cxn ang="0">
                <a:pos x="connsiteX47386" y="connsiteY47386"/>
              </a:cxn>
              <a:cxn ang="0">
                <a:pos x="connsiteX47387" y="connsiteY47387"/>
              </a:cxn>
              <a:cxn ang="0">
                <a:pos x="connsiteX47388" y="connsiteY47388"/>
              </a:cxn>
              <a:cxn ang="0">
                <a:pos x="connsiteX47389" y="connsiteY47389"/>
              </a:cxn>
              <a:cxn ang="0">
                <a:pos x="connsiteX47390" y="connsiteY47390"/>
              </a:cxn>
              <a:cxn ang="0">
                <a:pos x="connsiteX47391" y="connsiteY47391"/>
              </a:cxn>
              <a:cxn ang="0">
                <a:pos x="connsiteX47392" y="connsiteY47392"/>
              </a:cxn>
              <a:cxn ang="0">
                <a:pos x="connsiteX47393" y="connsiteY47393"/>
              </a:cxn>
              <a:cxn ang="0">
                <a:pos x="connsiteX47394" y="connsiteY47394"/>
              </a:cxn>
              <a:cxn ang="0">
                <a:pos x="connsiteX47395" y="connsiteY47395"/>
              </a:cxn>
              <a:cxn ang="0">
                <a:pos x="connsiteX47396" y="connsiteY47396"/>
              </a:cxn>
              <a:cxn ang="0">
                <a:pos x="connsiteX47397" y="connsiteY47397"/>
              </a:cxn>
              <a:cxn ang="0">
                <a:pos x="connsiteX47398" y="connsiteY47398"/>
              </a:cxn>
              <a:cxn ang="0">
                <a:pos x="connsiteX47399" y="connsiteY47399"/>
              </a:cxn>
              <a:cxn ang="0">
                <a:pos x="connsiteX47400" y="connsiteY47400"/>
              </a:cxn>
              <a:cxn ang="0">
                <a:pos x="connsiteX47401" y="connsiteY47401"/>
              </a:cxn>
              <a:cxn ang="0">
                <a:pos x="connsiteX47402" y="connsiteY47402"/>
              </a:cxn>
              <a:cxn ang="0">
                <a:pos x="connsiteX47403" y="connsiteY47403"/>
              </a:cxn>
              <a:cxn ang="0">
                <a:pos x="connsiteX47404" y="connsiteY47404"/>
              </a:cxn>
              <a:cxn ang="0">
                <a:pos x="connsiteX47405" y="connsiteY47405"/>
              </a:cxn>
              <a:cxn ang="0">
                <a:pos x="connsiteX47406" y="connsiteY47406"/>
              </a:cxn>
              <a:cxn ang="0">
                <a:pos x="connsiteX47407" y="connsiteY47407"/>
              </a:cxn>
              <a:cxn ang="0">
                <a:pos x="connsiteX47408" y="connsiteY47408"/>
              </a:cxn>
              <a:cxn ang="0">
                <a:pos x="connsiteX47409" y="connsiteY47409"/>
              </a:cxn>
              <a:cxn ang="0">
                <a:pos x="connsiteX47410" y="connsiteY47410"/>
              </a:cxn>
              <a:cxn ang="0">
                <a:pos x="connsiteX47411" y="connsiteY47411"/>
              </a:cxn>
              <a:cxn ang="0">
                <a:pos x="connsiteX47412" y="connsiteY47412"/>
              </a:cxn>
              <a:cxn ang="0">
                <a:pos x="connsiteX47413" y="connsiteY47413"/>
              </a:cxn>
              <a:cxn ang="0">
                <a:pos x="connsiteX47414" y="connsiteY47414"/>
              </a:cxn>
              <a:cxn ang="0">
                <a:pos x="connsiteX47415" y="connsiteY47415"/>
              </a:cxn>
              <a:cxn ang="0">
                <a:pos x="connsiteX47416" y="connsiteY47416"/>
              </a:cxn>
              <a:cxn ang="0">
                <a:pos x="connsiteX47417" y="connsiteY47417"/>
              </a:cxn>
              <a:cxn ang="0">
                <a:pos x="connsiteX47418" y="connsiteY47418"/>
              </a:cxn>
              <a:cxn ang="0">
                <a:pos x="connsiteX47419" y="connsiteY47419"/>
              </a:cxn>
              <a:cxn ang="0">
                <a:pos x="connsiteX47420" y="connsiteY47420"/>
              </a:cxn>
              <a:cxn ang="0">
                <a:pos x="connsiteX47421" y="connsiteY47421"/>
              </a:cxn>
              <a:cxn ang="0">
                <a:pos x="connsiteX47422" y="connsiteY47422"/>
              </a:cxn>
              <a:cxn ang="0">
                <a:pos x="connsiteX47423" y="connsiteY47423"/>
              </a:cxn>
              <a:cxn ang="0">
                <a:pos x="connsiteX47424" y="connsiteY47424"/>
              </a:cxn>
              <a:cxn ang="0">
                <a:pos x="connsiteX47425" y="connsiteY47425"/>
              </a:cxn>
              <a:cxn ang="0">
                <a:pos x="connsiteX47426" y="connsiteY47426"/>
              </a:cxn>
              <a:cxn ang="0">
                <a:pos x="connsiteX47427" y="connsiteY47427"/>
              </a:cxn>
              <a:cxn ang="0">
                <a:pos x="connsiteX47428" y="connsiteY47428"/>
              </a:cxn>
              <a:cxn ang="0">
                <a:pos x="connsiteX47429" y="connsiteY47429"/>
              </a:cxn>
              <a:cxn ang="0">
                <a:pos x="connsiteX47430" y="connsiteY47430"/>
              </a:cxn>
              <a:cxn ang="0">
                <a:pos x="connsiteX47431" y="connsiteY47431"/>
              </a:cxn>
              <a:cxn ang="0">
                <a:pos x="connsiteX47432" y="connsiteY47432"/>
              </a:cxn>
              <a:cxn ang="0">
                <a:pos x="connsiteX47433" y="connsiteY47433"/>
              </a:cxn>
              <a:cxn ang="0">
                <a:pos x="connsiteX47434" y="connsiteY47434"/>
              </a:cxn>
              <a:cxn ang="0">
                <a:pos x="connsiteX47435" y="connsiteY47435"/>
              </a:cxn>
              <a:cxn ang="0">
                <a:pos x="connsiteX47436" y="connsiteY47436"/>
              </a:cxn>
              <a:cxn ang="0">
                <a:pos x="connsiteX47437" y="connsiteY47437"/>
              </a:cxn>
              <a:cxn ang="0">
                <a:pos x="connsiteX47438" y="connsiteY47438"/>
              </a:cxn>
              <a:cxn ang="0">
                <a:pos x="connsiteX47439" y="connsiteY47439"/>
              </a:cxn>
              <a:cxn ang="0">
                <a:pos x="connsiteX47440" y="connsiteY47440"/>
              </a:cxn>
              <a:cxn ang="0">
                <a:pos x="connsiteX47441" y="connsiteY47441"/>
              </a:cxn>
              <a:cxn ang="0">
                <a:pos x="connsiteX47442" y="connsiteY47442"/>
              </a:cxn>
              <a:cxn ang="0">
                <a:pos x="connsiteX47443" y="connsiteY47443"/>
              </a:cxn>
              <a:cxn ang="0">
                <a:pos x="connsiteX47444" y="connsiteY47444"/>
              </a:cxn>
              <a:cxn ang="0">
                <a:pos x="connsiteX47445" y="connsiteY47445"/>
              </a:cxn>
              <a:cxn ang="0">
                <a:pos x="connsiteX47446" y="connsiteY47446"/>
              </a:cxn>
              <a:cxn ang="0">
                <a:pos x="connsiteX47447" y="connsiteY47447"/>
              </a:cxn>
              <a:cxn ang="0">
                <a:pos x="connsiteX47448" y="connsiteY47448"/>
              </a:cxn>
              <a:cxn ang="0">
                <a:pos x="connsiteX47449" y="connsiteY47449"/>
              </a:cxn>
              <a:cxn ang="0">
                <a:pos x="connsiteX47450" y="connsiteY47450"/>
              </a:cxn>
              <a:cxn ang="0">
                <a:pos x="connsiteX47451" y="connsiteY47451"/>
              </a:cxn>
              <a:cxn ang="0">
                <a:pos x="connsiteX47452" y="connsiteY47452"/>
              </a:cxn>
              <a:cxn ang="0">
                <a:pos x="connsiteX47453" y="connsiteY47453"/>
              </a:cxn>
              <a:cxn ang="0">
                <a:pos x="connsiteX47454" y="connsiteY47454"/>
              </a:cxn>
              <a:cxn ang="0">
                <a:pos x="connsiteX47455" y="connsiteY47455"/>
              </a:cxn>
              <a:cxn ang="0">
                <a:pos x="connsiteX47456" y="connsiteY47456"/>
              </a:cxn>
              <a:cxn ang="0">
                <a:pos x="connsiteX47457" y="connsiteY47457"/>
              </a:cxn>
              <a:cxn ang="0">
                <a:pos x="connsiteX47458" y="connsiteY47458"/>
              </a:cxn>
              <a:cxn ang="0">
                <a:pos x="connsiteX47459" y="connsiteY47459"/>
              </a:cxn>
              <a:cxn ang="0">
                <a:pos x="connsiteX47460" y="connsiteY47460"/>
              </a:cxn>
              <a:cxn ang="0">
                <a:pos x="connsiteX47461" y="connsiteY47461"/>
              </a:cxn>
              <a:cxn ang="0">
                <a:pos x="connsiteX47462" y="connsiteY47462"/>
              </a:cxn>
              <a:cxn ang="0">
                <a:pos x="connsiteX47463" y="connsiteY47463"/>
              </a:cxn>
              <a:cxn ang="0">
                <a:pos x="connsiteX47464" y="connsiteY47464"/>
              </a:cxn>
              <a:cxn ang="0">
                <a:pos x="connsiteX47465" y="connsiteY47465"/>
              </a:cxn>
              <a:cxn ang="0">
                <a:pos x="connsiteX47466" y="connsiteY47466"/>
              </a:cxn>
              <a:cxn ang="0">
                <a:pos x="connsiteX47467" y="connsiteY47467"/>
              </a:cxn>
              <a:cxn ang="0">
                <a:pos x="connsiteX47468" y="connsiteY47468"/>
              </a:cxn>
              <a:cxn ang="0">
                <a:pos x="connsiteX47469" y="connsiteY47469"/>
              </a:cxn>
              <a:cxn ang="0">
                <a:pos x="connsiteX47470" y="connsiteY47470"/>
              </a:cxn>
              <a:cxn ang="0">
                <a:pos x="connsiteX47471" y="connsiteY47471"/>
              </a:cxn>
              <a:cxn ang="0">
                <a:pos x="connsiteX47472" y="connsiteY47472"/>
              </a:cxn>
              <a:cxn ang="0">
                <a:pos x="connsiteX47473" y="connsiteY47473"/>
              </a:cxn>
              <a:cxn ang="0">
                <a:pos x="connsiteX47474" y="connsiteY47474"/>
              </a:cxn>
              <a:cxn ang="0">
                <a:pos x="connsiteX47475" y="connsiteY47475"/>
              </a:cxn>
              <a:cxn ang="0">
                <a:pos x="connsiteX47476" y="connsiteY47476"/>
              </a:cxn>
              <a:cxn ang="0">
                <a:pos x="connsiteX47477" y="connsiteY47477"/>
              </a:cxn>
              <a:cxn ang="0">
                <a:pos x="connsiteX47478" y="connsiteY47478"/>
              </a:cxn>
              <a:cxn ang="0">
                <a:pos x="connsiteX47479" y="connsiteY47479"/>
              </a:cxn>
              <a:cxn ang="0">
                <a:pos x="connsiteX47480" y="connsiteY47480"/>
              </a:cxn>
              <a:cxn ang="0">
                <a:pos x="connsiteX47481" y="connsiteY47481"/>
              </a:cxn>
              <a:cxn ang="0">
                <a:pos x="connsiteX47482" y="connsiteY47482"/>
              </a:cxn>
              <a:cxn ang="0">
                <a:pos x="connsiteX47483" y="connsiteY47483"/>
              </a:cxn>
              <a:cxn ang="0">
                <a:pos x="connsiteX47484" y="connsiteY47484"/>
              </a:cxn>
              <a:cxn ang="0">
                <a:pos x="connsiteX47485" y="connsiteY47485"/>
              </a:cxn>
              <a:cxn ang="0">
                <a:pos x="connsiteX47486" y="connsiteY47486"/>
              </a:cxn>
              <a:cxn ang="0">
                <a:pos x="connsiteX47487" y="connsiteY47487"/>
              </a:cxn>
              <a:cxn ang="0">
                <a:pos x="connsiteX47488" y="connsiteY47488"/>
              </a:cxn>
              <a:cxn ang="0">
                <a:pos x="connsiteX47489" y="connsiteY47489"/>
              </a:cxn>
              <a:cxn ang="0">
                <a:pos x="connsiteX47490" y="connsiteY47490"/>
              </a:cxn>
              <a:cxn ang="0">
                <a:pos x="connsiteX47491" y="connsiteY47491"/>
              </a:cxn>
              <a:cxn ang="0">
                <a:pos x="connsiteX47492" y="connsiteY47492"/>
              </a:cxn>
              <a:cxn ang="0">
                <a:pos x="connsiteX47493" y="connsiteY47493"/>
              </a:cxn>
              <a:cxn ang="0">
                <a:pos x="connsiteX47494" y="connsiteY47494"/>
              </a:cxn>
              <a:cxn ang="0">
                <a:pos x="connsiteX47495" y="connsiteY47495"/>
              </a:cxn>
              <a:cxn ang="0">
                <a:pos x="connsiteX47496" y="connsiteY47496"/>
              </a:cxn>
              <a:cxn ang="0">
                <a:pos x="connsiteX47497" y="connsiteY47497"/>
              </a:cxn>
              <a:cxn ang="0">
                <a:pos x="connsiteX47498" y="connsiteY47498"/>
              </a:cxn>
              <a:cxn ang="0">
                <a:pos x="connsiteX47499" y="connsiteY47499"/>
              </a:cxn>
              <a:cxn ang="0">
                <a:pos x="connsiteX47500" y="connsiteY47500"/>
              </a:cxn>
              <a:cxn ang="0">
                <a:pos x="connsiteX47501" y="connsiteY47501"/>
              </a:cxn>
              <a:cxn ang="0">
                <a:pos x="connsiteX47502" y="connsiteY47502"/>
              </a:cxn>
              <a:cxn ang="0">
                <a:pos x="connsiteX47503" y="connsiteY47503"/>
              </a:cxn>
              <a:cxn ang="0">
                <a:pos x="connsiteX47504" y="connsiteY47504"/>
              </a:cxn>
              <a:cxn ang="0">
                <a:pos x="connsiteX47505" y="connsiteY47505"/>
              </a:cxn>
              <a:cxn ang="0">
                <a:pos x="connsiteX47506" y="connsiteY47506"/>
              </a:cxn>
              <a:cxn ang="0">
                <a:pos x="connsiteX47507" y="connsiteY47507"/>
              </a:cxn>
              <a:cxn ang="0">
                <a:pos x="connsiteX47508" y="connsiteY47508"/>
              </a:cxn>
              <a:cxn ang="0">
                <a:pos x="connsiteX47509" y="connsiteY47509"/>
              </a:cxn>
              <a:cxn ang="0">
                <a:pos x="connsiteX47510" y="connsiteY47510"/>
              </a:cxn>
              <a:cxn ang="0">
                <a:pos x="connsiteX47511" y="connsiteY47511"/>
              </a:cxn>
              <a:cxn ang="0">
                <a:pos x="connsiteX47512" y="connsiteY47512"/>
              </a:cxn>
              <a:cxn ang="0">
                <a:pos x="connsiteX47513" y="connsiteY47513"/>
              </a:cxn>
              <a:cxn ang="0">
                <a:pos x="connsiteX47514" y="connsiteY47514"/>
              </a:cxn>
              <a:cxn ang="0">
                <a:pos x="connsiteX47515" y="connsiteY47515"/>
              </a:cxn>
              <a:cxn ang="0">
                <a:pos x="connsiteX47516" y="connsiteY47516"/>
              </a:cxn>
              <a:cxn ang="0">
                <a:pos x="connsiteX47517" y="connsiteY47517"/>
              </a:cxn>
              <a:cxn ang="0">
                <a:pos x="connsiteX47518" y="connsiteY47518"/>
              </a:cxn>
              <a:cxn ang="0">
                <a:pos x="connsiteX47519" y="connsiteY47519"/>
              </a:cxn>
              <a:cxn ang="0">
                <a:pos x="connsiteX47520" y="connsiteY47520"/>
              </a:cxn>
              <a:cxn ang="0">
                <a:pos x="connsiteX47521" y="connsiteY47521"/>
              </a:cxn>
              <a:cxn ang="0">
                <a:pos x="connsiteX47522" y="connsiteY47522"/>
              </a:cxn>
              <a:cxn ang="0">
                <a:pos x="connsiteX47523" y="connsiteY47523"/>
              </a:cxn>
              <a:cxn ang="0">
                <a:pos x="connsiteX47524" y="connsiteY47524"/>
              </a:cxn>
              <a:cxn ang="0">
                <a:pos x="connsiteX47525" y="connsiteY47525"/>
              </a:cxn>
              <a:cxn ang="0">
                <a:pos x="connsiteX47526" y="connsiteY47526"/>
              </a:cxn>
              <a:cxn ang="0">
                <a:pos x="connsiteX47527" y="connsiteY47527"/>
              </a:cxn>
              <a:cxn ang="0">
                <a:pos x="connsiteX47528" y="connsiteY47528"/>
              </a:cxn>
              <a:cxn ang="0">
                <a:pos x="connsiteX47529" y="connsiteY47529"/>
              </a:cxn>
              <a:cxn ang="0">
                <a:pos x="connsiteX47530" y="connsiteY47530"/>
              </a:cxn>
              <a:cxn ang="0">
                <a:pos x="connsiteX47531" y="connsiteY47531"/>
              </a:cxn>
              <a:cxn ang="0">
                <a:pos x="connsiteX47532" y="connsiteY47532"/>
              </a:cxn>
              <a:cxn ang="0">
                <a:pos x="connsiteX47533" y="connsiteY47533"/>
              </a:cxn>
              <a:cxn ang="0">
                <a:pos x="connsiteX47534" y="connsiteY47534"/>
              </a:cxn>
              <a:cxn ang="0">
                <a:pos x="connsiteX47535" y="connsiteY47535"/>
              </a:cxn>
              <a:cxn ang="0">
                <a:pos x="connsiteX47536" y="connsiteY47536"/>
              </a:cxn>
              <a:cxn ang="0">
                <a:pos x="connsiteX47537" y="connsiteY47537"/>
              </a:cxn>
              <a:cxn ang="0">
                <a:pos x="connsiteX47538" y="connsiteY47538"/>
              </a:cxn>
              <a:cxn ang="0">
                <a:pos x="connsiteX47539" y="connsiteY47539"/>
              </a:cxn>
              <a:cxn ang="0">
                <a:pos x="connsiteX47540" y="connsiteY47540"/>
              </a:cxn>
              <a:cxn ang="0">
                <a:pos x="connsiteX47541" y="connsiteY47541"/>
              </a:cxn>
              <a:cxn ang="0">
                <a:pos x="connsiteX47542" y="connsiteY47542"/>
              </a:cxn>
              <a:cxn ang="0">
                <a:pos x="connsiteX47543" y="connsiteY47543"/>
              </a:cxn>
              <a:cxn ang="0">
                <a:pos x="connsiteX47544" y="connsiteY47544"/>
              </a:cxn>
              <a:cxn ang="0">
                <a:pos x="connsiteX47545" y="connsiteY47545"/>
              </a:cxn>
              <a:cxn ang="0">
                <a:pos x="connsiteX47546" y="connsiteY47546"/>
              </a:cxn>
              <a:cxn ang="0">
                <a:pos x="connsiteX47547" y="connsiteY47547"/>
              </a:cxn>
              <a:cxn ang="0">
                <a:pos x="connsiteX47548" y="connsiteY47548"/>
              </a:cxn>
              <a:cxn ang="0">
                <a:pos x="connsiteX47549" y="connsiteY47549"/>
              </a:cxn>
              <a:cxn ang="0">
                <a:pos x="connsiteX47550" y="connsiteY47550"/>
              </a:cxn>
              <a:cxn ang="0">
                <a:pos x="connsiteX47551" y="connsiteY47551"/>
              </a:cxn>
              <a:cxn ang="0">
                <a:pos x="connsiteX47552" y="connsiteY47552"/>
              </a:cxn>
              <a:cxn ang="0">
                <a:pos x="connsiteX47553" y="connsiteY47553"/>
              </a:cxn>
              <a:cxn ang="0">
                <a:pos x="connsiteX47554" y="connsiteY47554"/>
              </a:cxn>
              <a:cxn ang="0">
                <a:pos x="connsiteX47555" y="connsiteY47555"/>
              </a:cxn>
              <a:cxn ang="0">
                <a:pos x="connsiteX47556" y="connsiteY47556"/>
              </a:cxn>
              <a:cxn ang="0">
                <a:pos x="connsiteX47557" y="connsiteY47557"/>
              </a:cxn>
              <a:cxn ang="0">
                <a:pos x="connsiteX47558" y="connsiteY47558"/>
              </a:cxn>
              <a:cxn ang="0">
                <a:pos x="connsiteX47559" y="connsiteY47559"/>
              </a:cxn>
              <a:cxn ang="0">
                <a:pos x="connsiteX47560" y="connsiteY47560"/>
              </a:cxn>
              <a:cxn ang="0">
                <a:pos x="connsiteX47561" y="connsiteY47561"/>
              </a:cxn>
              <a:cxn ang="0">
                <a:pos x="connsiteX47562" y="connsiteY47562"/>
              </a:cxn>
              <a:cxn ang="0">
                <a:pos x="connsiteX47563" y="connsiteY47563"/>
              </a:cxn>
              <a:cxn ang="0">
                <a:pos x="connsiteX47564" y="connsiteY47564"/>
              </a:cxn>
              <a:cxn ang="0">
                <a:pos x="connsiteX47565" y="connsiteY47565"/>
              </a:cxn>
              <a:cxn ang="0">
                <a:pos x="connsiteX47566" y="connsiteY47566"/>
              </a:cxn>
              <a:cxn ang="0">
                <a:pos x="connsiteX47567" y="connsiteY47567"/>
              </a:cxn>
              <a:cxn ang="0">
                <a:pos x="connsiteX47568" y="connsiteY47568"/>
              </a:cxn>
              <a:cxn ang="0">
                <a:pos x="connsiteX47569" y="connsiteY47569"/>
              </a:cxn>
              <a:cxn ang="0">
                <a:pos x="connsiteX47570" y="connsiteY47570"/>
              </a:cxn>
              <a:cxn ang="0">
                <a:pos x="connsiteX47571" y="connsiteY47571"/>
              </a:cxn>
              <a:cxn ang="0">
                <a:pos x="connsiteX47572" y="connsiteY47572"/>
              </a:cxn>
              <a:cxn ang="0">
                <a:pos x="connsiteX47573" y="connsiteY47573"/>
              </a:cxn>
              <a:cxn ang="0">
                <a:pos x="connsiteX47574" y="connsiteY47574"/>
              </a:cxn>
              <a:cxn ang="0">
                <a:pos x="connsiteX47575" y="connsiteY47575"/>
              </a:cxn>
              <a:cxn ang="0">
                <a:pos x="connsiteX47576" y="connsiteY47576"/>
              </a:cxn>
              <a:cxn ang="0">
                <a:pos x="connsiteX47577" y="connsiteY47577"/>
              </a:cxn>
              <a:cxn ang="0">
                <a:pos x="connsiteX47578" y="connsiteY47578"/>
              </a:cxn>
              <a:cxn ang="0">
                <a:pos x="connsiteX47579" y="connsiteY47579"/>
              </a:cxn>
              <a:cxn ang="0">
                <a:pos x="connsiteX47580" y="connsiteY47580"/>
              </a:cxn>
              <a:cxn ang="0">
                <a:pos x="connsiteX47581" y="connsiteY47581"/>
              </a:cxn>
              <a:cxn ang="0">
                <a:pos x="connsiteX47582" y="connsiteY47582"/>
              </a:cxn>
              <a:cxn ang="0">
                <a:pos x="connsiteX47583" y="connsiteY47583"/>
              </a:cxn>
              <a:cxn ang="0">
                <a:pos x="connsiteX47584" y="connsiteY47584"/>
              </a:cxn>
              <a:cxn ang="0">
                <a:pos x="connsiteX47585" y="connsiteY47585"/>
              </a:cxn>
              <a:cxn ang="0">
                <a:pos x="connsiteX47586" y="connsiteY47586"/>
              </a:cxn>
              <a:cxn ang="0">
                <a:pos x="connsiteX47587" y="connsiteY47587"/>
              </a:cxn>
              <a:cxn ang="0">
                <a:pos x="connsiteX47588" y="connsiteY47588"/>
              </a:cxn>
              <a:cxn ang="0">
                <a:pos x="connsiteX47589" y="connsiteY47589"/>
              </a:cxn>
              <a:cxn ang="0">
                <a:pos x="connsiteX47590" y="connsiteY47590"/>
              </a:cxn>
              <a:cxn ang="0">
                <a:pos x="connsiteX47591" y="connsiteY47591"/>
              </a:cxn>
              <a:cxn ang="0">
                <a:pos x="connsiteX47592" y="connsiteY47592"/>
              </a:cxn>
              <a:cxn ang="0">
                <a:pos x="connsiteX47593" y="connsiteY47593"/>
              </a:cxn>
              <a:cxn ang="0">
                <a:pos x="connsiteX47594" y="connsiteY47594"/>
              </a:cxn>
              <a:cxn ang="0">
                <a:pos x="connsiteX47595" y="connsiteY47595"/>
              </a:cxn>
              <a:cxn ang="0">
                <a:pos x="connsiteX47596" y="connsiteY47596"/>
              </a:cxn>
              <a:cxn ang="0">
                <a:pos x="connsiteX47597" y="connsiteY47597"/>
              </a:cxn>
              <a:cxn ang="0">
                <a:pos x="connsiteX47598" y="connsiteY47598"/>
              </a:cxn>
              <a:cxn ang="0">
                <a:pos x="connsiteX47599" y="connsiteY47599"/>
              </a:cxn>
              <a:cxn ang="0">
                <a:pos x="connsiteX47600" y="connsiteY47600"/>
              </a:cxn>
              <a:cxn ang="0">
                <a:pos x="connsiteX47601" y="connsiteY47601"/>
              </a:cxn>
              <a:cxn ang="0">
                <a:pos x="connsiteX47602" y="connsiteY47602"/>
              </a:cxn>
              <a:cxn ang="0">
                <a:pos x="connsiteX47603" y="connsiteY47603"/>
              </a:cxn>
              <a:cxn ang="0">
                <a:pos x="connsiteX47604" y="connsiteY47604"/>
              </a:cxn>
              <a:cxn ang="0">
                <a:pos x="connsiteX47605" y="connsiteY47605"/>
              </a:cxn>
              <a:cxn ang="0">
                <a:pos x="connsiteX47606" y="connsiteY47606"/>
              </a:cxn>
              <a:cxn ang="0">
                <a:pos x="connsiteX47607" y="connsiteY47607"/>
              </a:cxn>
              <a:cxn ang="0">
                <a:pos x="connsiteX47608" y="connsiteY47608"/>
              </a:cxn>
              <a:cxn ang="0">
                <a:pos x="connsiteX47609" y="connsiteY47609"/>
              </a:cxn>
              <a:cxn ang="0">
                <a:pos x="connsiteX47610" y="connsiteY47610"/>
              </a:cxn>
              <a:cxn ang="0">
                <a:pos x="connsiteX47611" y="connsiteY47611"/>
              </a:cxn>
              <a:cxn ang="0">
                <a:pos x="connsiteX47612" y="connsiteY47612"/>
              </a:cxn>
              <a:cxn ang="0">
                <a:pos x="connsiteX47613" y="connsiteY47613"/>
              </a:cxn>
              <a:cxn ang="0">
                <a:pos x="connsiteX47614" y="connsiteY47614"/>
              </a:cxn>
              <a:cxn ang="0">
                <a:pos x="connsiteX47615" y="connsiteY47615"/>
              </a:cxn>
              <a:cxn ang="0">
                <a:pos x="connsiteX47616" y="connsiteY47616"/>
              </a:cxn>
              <a:cxn ang="0">
                <a:pos x="connsiteX47617" y="connsiteY47617"/>
              </a:cxn>
              <a:cxn ang="0">
                <a:pos x="connsiteX47618" y="connsiteY47618"/>
              </a:cxn>
              <a:cxn ang="0">
                <a:pos x="connsiteX47619" y="connsiteY47619"/>
              </a:cxn>
              <a:cxn ang="0">
                <a:pos x="connsiteX47620" y="connsiteY47620"/>
              </a:cxn>
              <a:cxn ang="0">
                <a:pos x="connsiteX47621" y="connsiteY47621"/>
              </a:cxn>
              <a:cxn ang="0">
                <a:pos x="connsiteX47622" y="connsiteY47622"/>
              </a:cxn>
              <a:cxn ang="0">
                <a:pos x="connsiteX47623" y="connsiteY47623"/>
              </a:cxn>
              <a:cxn ang="0">
                <a:pos x="connsiteX47624" y="connsiteY47624"/>
              </a:cxn>
              <a:cxn ang="0">
                <a:pos x="connsiteX47625" y="connsiteY47625"/>
              </a:cxn>
              <a:cxn ang="0">
                <a:pos x="connsiteX47626" y="connsiteY47626"/>
              </a:cxn>
              <a:cxn ang="0">
                <a:pos x="connsiteX47627" y="connsiteY47627"/>
              </a:cxn>
              <a:cxn ang="0">
                <a:pos x="connsiteX47628" y="connsiteY47628"/>
              </a:cxn>
              <a:cxn ang="0">
                <a:pos x="connsiteX47629" y="connsiteY47629"/>
              </a:cxn>
              <a:cxn ang="0">
                <a:pos x="connsiteX47630" y="connsiteY47630"/>
              </a:cxn>
              <a:cxn ang="0">
                <a:pos x="connsiteX47631" y="connsiteY47631"/>
              </a:cxn>
              <a:cxn ang="0">
                <a:pos x="connsiteX47632" y="connsiteY47632"/>
              </a:cxn>
              <a:cxn ang="0">
                <a:pos x="connsiteX47633" y="connsiteY47633"/>
              </a:cxn>
              <a:cxn ang="0">
                <a:pos x="connsiteX47634" y="connsiteY47634"/>
              </a:cxn>
              <a:cxn ang="0">
                <a:pos x="connsiteX47635" y="connsiteY47635"/>
              </a:cxn>
              <a:cxn ang="0">
                <a:pos x="connsiteX47636" y="connsiteY47636"/>
              </a:cxn>
              <a:cxn ang="0">
                <a:pos x="connsiteX47637" y="connsiteY47637"/>
              </a:cxn>
              <a:cxn ang="0">
                <a:pos x="connsiteX47638" y="connsiteY47638"/>
              </a:cxn>
              <a:cxn ang="0">
                <a:pos x="connsiteX47639" y="connsiteY47639"/>
              </a:cxn>
              <a:cxn ang="0">
                <a:pos x="connsiteX47640" y="connsiteY47640"/>
              </a:cxn>
              <a:cxn ang="0">
                <a:pos x="connsiteX47641" y="connsiteY47641"/>
              </a:cxn>
              <a:cxn ang="0">
                <a:pos x="connsiteX47642" y="connsiteY47642"/>
              </a:cxn>
              <a:cxn ang="0">
                <a:pos x="connsiteX47643" y="connsiteY47643"/>
              </a:cxn>
              <a:cxn ang="0">
                <a:pos x="connsiteX47644" y="connsiteY47644"/>
              </a:cxn>
              <a:cxn ang="0">
                <a:pos x="connsiteX47645" y="connsiteY47645"/>
              </a:cxn>
              <a:cxn ang="0">
                <a:pos x="connsiteX47646" y="connsiteY47646"/>
              </a:cxn>
              <a:cxn ang="0">
                <a:pos x="connsiteX47647" y="connsiteY47647"/>
              </a:cxn>
              <a:cxn ang="0">
                <a:pos x="connsiteX47648" y="connsiteY47648"/>
              </a:cxn>
              <a:cxn ang="0">
                <a:pos x="connsiteX47649" y="connsiteY47649"/>
              </a:cxn>
              <a:cxn ang="0">
                <a:pos x="connsiteX47650" y="connsiteY47650"/>
              </a:cxn>
              <a:cxn ang="0">
                <a:pos x="connsiteX47651" y="connsiteY47651"/>
              </a:cxn>
              <a:cxn ang="0">
                <a:pos x="connsiteX47652" y="connsiteY47652"/>
              </a:cxn>
              <a:cxn ang="0">
                <a:pos x="connsiteX47653" y="connsiteY47653"/>
              </a:cxn>
              <a:cxn ang="0">
                <a:pos x="connsiteX47654" y="connsiteY47654"/>
              </a:cxn>
              <a:cxn ang="0">
                <a:pos x="connsiteX47655" y="connsiteY47655"/>
              </a:cxn>
              <a:cxn ang="0">
                <a:pos x="connsiteX47656" y="connsiteY47656"/>
              </a:cxn>
              <a:cxn ang="0">
                <a:pos x="connsiteX47657" y="connsiteY47657"/>
              </a:cxn>
              <a:cxn ang="0">
                <a:pos x="connsiteX47658" y="connsiteY47658"/>
              </a:cxn>
              <a:cxn ang="0">
                <a:pos x="connsiteX47659" y="connsiteY47659"/>
              </a:cxn>
              <a:cxn ang="0">
                <a:pos x="connsiteX47660" y="connsiteY47660"/>
              </a:cxn>
              <a:cxn ang="0">
                <a:pos x="connsiteX47661" y="connsiteY47661"/>
              </a:cxn>
              <a:cxn ang="0">
                <a:pos x="connsiteX47662" y="connsiteY47662"/>
              </a:cxn>
              <a:cxn ang="0">
                <a:pos x="connsiteX47663" y="connsiteY47663"/>
              </a:cxn>
              <a:cxn ang="0">
                <a:pos x="connsiteX47664" y="connsiteY47664"/>
              </a:cxn>
              <a:cxn ang="0">
                <a:pos x="connsiteX47665" y="connsiteY47665"/>
              </a:cxn>
              <a:cxn ang="0">
                <a:pos x="connsiteX47666" y="connsiteY47666"/>
              </a:cxn>
              <a:cxn ang="0">
                <a:pos x="connsiteX47667" y="connsiteY47667"/>
              </a:cxn>
              <a:cxn ang="0">
                <a:pos x="connsiteX47668" y="connsiteY47668"/>
              </a:cxn>
              <a:cxn ang="0">
                <a:pos x="connsiteX47669" y="connsiteY47669"/>
              </a:cxn>
              <a:cxn ang="0">
                <a:pos x="connsiteX47670" y="connsiteY47670"/>
              </a:cxn>
              <a:cxn ang="0">
                <a:pos x="connsiteX47671" y="connsiteY47671"/>
              </a:cxn>
              <a:cxn ang="0">
                <a:pos x="connsiteX47672" y="connsiteY47672"/>
              </a:cxn>
              <a:cxn ang="0">
                <a:pos x="connsiteX47673" y="connsiteY47673"/>
              </a:cxn>
              <a:cxn ang="0">
                <a:pos x="connsiteX47674" y="connsiteY47674"/>
              </a:cxn>
              <a:cxn ang="0">
                <a:pos x="connsiteX47675" y="connsiteY47675"/>
              </a:cxn>
              <a:cxn ang="0">
                <a:pos x="connsiteX47676" y="connsiteY47676"/>
              </a:cxn>
              <a:cxn ang="0">
                <a:pos x="connsiteX47677" y="connsiteY47677"/>
              </a:cxn>
              <a:cxn ang="0">
                <a:pos x="connsiteX47678" y="connsiteY47678"/>
              </a:cxn>
              <a:cxn ang="0">
                <a:pos x="connsiteX47679" y="connsiteY47679"/>
              </a:cxn>
              <a:cxn ang="0">
                <a:pos x="connsiteX47680" y="connsiteY47680"/>
              </a:cxn>
              <a:cxn ang="0">
                <a:pos x="connsiteX47681" y="connsiteY47681"/>
              </a:cxn>
              <a:cxn ang="0">
                <a:pos x="connsiteX47682" y="connsiteY47682"/>
              </a:cxn>
              <a:cxn ang="0">
                <a:pos x="connsiteX47683" y="connsiteY47683"/>
              </a:cxn>
              <a:cxn ang="0">
                <a:pos x="connsiteX47684" y="connsiteY47684"/>
              </a:cxn>
              <a:cxn ang="0">
                <a:pos x="connsiteX47685" y="connsiteY47685"/>
              </a:cxn>
              <a:cxn ang="0">
                <a:pos x="connsiteX47686" y="connsiteY47686"/>
              </a:cxn>
              <a:cxn ang="0">
                <a:pos x="connsiteX47687" y="connsiteY47687"/>
              </a:cxn>
              <a:cxn ang="0">
                <a:pos x="connsiteX47688" y="connsiteY47688"/>
              </a:cxn>
              <a:cxn ang="0">
                <a:pos x="connsiteX47689" y="connsiteY47689"/>
              </a:cxn>
              <a:cxn ang="0">
                <a:pos x="connsiteX47690" y="connsiteY47690"/>
              </a:cxn>
              <a:cxn ang="0">
                <a:pos x="connsiteX47691" y="connsiteY47691"/>
              </a:cxn>
              <a:cxn ang="0">
                <a:pos x="connsiteX47692" y="connsiteY47692"/>
              </a:cxn>
              <a:cxn ang="0">
                <a:pos x="connsiteX47693" y="connsiteY47693"/>
              </a:cxn>
              <a:cxn ang="0">
                <a:pos x="connsiteX47694" y="connsiteY47694"/>
              </a:cxn>
              <a:cxn ang="0">
                <a:pos x="connsiteX47695" y="connsiteY47695"/>
              </a:cxn>
              <a:cxn ang="0">
                <a:pos x="connsiteX47696" y="connsiteY47696"/>
              </a:cxn>
              <a:cxn ang="0">
                <a:pos x="connsiteX47697" y="connsiteY47697"/>
              </a:cxn>
              <a:cxn ang="0">
                <a:pos x="connsiteX47698" y="connsiteY47698"/>
              </a:cxn>
              <a:cxn ang="0">
                <a:pos x="connsiteX47699" y="connsiteY47699"/>
              </a:cxn>
              <a:cxn ang="0">
                <a:pos x="connsiteX47700" y="connsiteY47700"/>
              </a:cxn>
              <a:cxn ang="0">
                <a:pos x="connsiteX47701" y="connsiteY47701"/>
              </a:cxn>
              <a:cxn ang="0">
                <a:pos x="connsiteX47702" y="connsiteY47702"/>
              </a:cxn>
              <a:cxn ang="0">
                <a:pos x="connsiteX47703" y="connsiteY47703"/>
              </a:cxn>
              <a:cxn ang="0">
                <a:pos x="connsiteX47704" y="connsiteY47704"/>
              </a:cxn>
              <a:cxn ang="0">
                <a:pos x="connsiteX47705" y="connsiteY47705"/>
              </a:cxn>
              <a:cxn ang="0">
                <a:pos x="connsiteX47706" y="connsiteY47706"/>
              </a:cxn>
              <a:cxn ang="0">
                <a:pos x="connsiteX47707" y="connsiteY47707"/>
              </a:cxn>
              <a:cxn ang="0">
                <a:pos x="connsiteX47708" y="connsiteY47708"/>
              </a:cxn>
              <a:cxn ang="0">
                <a:pos x="connsiteX47709" y="connsiteY47709"/>
              </a:cxn>
              <a:cxn ang="0">
                <a:pos x="connsiteX47710" y="connsiteY47710"/>
              </a:cxn>
              <a:cxn ang="0">
                <a:pos x="connsiteX47711" y="connsiteY47711"/>
              </a:cxn>
              <a:cxn ang="0">
                <a:pos x="connsiteX47712" y="connsiteY47712"/>
              </a:cxn>
              <a:cxn ang="0">
                <a:pos x="connsiteX47713" y="connsiteY47713"/>
              </a:cxn>
              <a:cxn ang="0">
                <a:pos x="connsiteX47714" y="connsiteY47714"/>
              </a:cxn>
              <a:cxn ang="0">
                <a:pos x="connsiteX47715" y="connsiteY47715"/>
              </a:cxn>
              <a:cxn ang="0">
                <a:pos x="connsiteX47716" y="connsiteY47716"/>
              </a:cxn>
              <a:cxn ang="0">
                <a:pos x="connsiteX47717" y="connsiteY47717"/>
              </a:cxn>
              <a:cxn ang="0">
                <a:pos x="connsiteX47718" y="connsiteY47718"/>
              </a:cxn>
              <a:cxn ang="0">
                <a:pos x="connsiteX47719" y="connsiteY47719"/>
              </a:cxn>
              <a:cxn ang="0">
                <a:pos x="connsiteX47720" y="connsiteY47720"/>
              </a:cxn>
              <a:cxn ang="0">
                <a:pos x="connsiteX47721" y="connsiteY47721"/>
              </a:cxn>
              <a:cxn ang="0">
                <a:pos x="connsiteX47722" y="connsiteY47722"/>
              </a:cxn>
              <a:cxn ang="0">
                <a:pos x="connsiteX47723" y="connsiteY47723"/>
              </a:cxn>
              <a:cxn ang="0">
                <a:pos x="connsiteX47724" y="connsiteY47724"/>
              </a:cxn>
              <a:cxn ang="0">
                <a:pos x="connsiteX47725" y="connsiteY47725"/>
              </a:cxn>
              <a:cxn ang="0">
                <a:pos x="connsiteX47726" y="connsiteY47726"/>
              </a:cxn>
              <a:cxn ang="0">
                <a:pos x="connsiteX47727" y="connsiteY47727"/>
              </a:cxn>
              <a:cxn ang="0">
                <a:pos x="connsiteX47728" y="connsiteY47728"/>
              </a:cxn>
              <a:cxn ang="0">
                <a:pos x="connsiteX47729" y="connsiteY47729"/>
              </a:cxn>
              <a:cxn ang="0">
                <a:pos x="connsiteX47730" y="connsiteY47730"/>
              </a:cxn>
              <a:cxn ang="0">
                <a:pos x="connsiteX47731" y="connsiteY47731"/>
              </a:cxn>
              <a:cxn ang="0">
                <a:pos x="connsiteX47732" y="connsiteY47732"/>
              </a:cxn>
              <a:cxn ang="0">
                <a:pos x="connsiteX47733" y="connsiteY47733"/>
              </a:cxn>
              <a:cxn ang="0">
                <a:pos x="connsiteX47734" y="connsiteY47734"/>
              </a:cxn>
              <a:cxn ang="0">
                <a:pos x="connsiteX47735" y="connsiteY47735"/>
              </a:cxn>
              <a:cxn ang="0">
                <a:pos x="connsiteX47736" y="connsiteY47736"/>
              </a:cxn>
              <a:cxn ang="0">
                <a:pos x="connsiteX47737" y="connsiteY47737"/>
              </a:cxn>
              <a:cxn ang="0">
                <a:pos x="connsiteX47738" y="connsiteY47738"/>
              </a:cxn>
              <a:cxn ang="0">
                <a:pos x="connsiteX47739" y="connsiteY47739"/>
              </a:cxn>
              <a:cxn ang="0">
                <a:pos x="connsiteX47740" y="connsiteY47740"/>
              </a:cxn>
              <a:cxn ang="0">
                <a:pos x="connsiteX47741" y="connsiteY47741"/>
              </a:cxn>
              <a:cxn ang="0">
                <a:pos x="connsiteX47742" y="connsiteY47742"/>
              </a:cxn>
              <a:cxn ang="0">
                <a:pos x="connsiteX47743" y="connsiteY47743"/>
              </a:cxn>
              <a:cxn ang="0">
                <a:pos x="connsiteX47744" y="connsiteY47744"/>
              </a:cxn>
              <a:cxn ang="0">
                <a:pos x="connsiteX47745" y="connsiteY47745"/>
              </a:cxn>
              <a:cxn ang="0">
                <a:pos x="connsiteX47746" y="connsiteY47746"/>
              </a:cxn>
              <a:cxn ang="0">
                <a:pos x="connsiteX47747" y="connsiteY47747"/>
              </a:cxn>
              <a:cxn ang="0">
                <a:pos x="connsiteX47748" y="connsiteY47748"/>
              </a:cxn>
              <a:cxn ang="0">
                <a:pos x="connsiteX47749" y="connsiteY47749"/>
              </a:cxn>
              <a:cxn ang="0">
                <a:pos x="connsiteX47750" y="connsiteY47750"/>
              </a:cxn>
              <a:cxn ang="0">
                <a:pos x="connsiteX47751" y="connsiteY47751"/>
              </a:cxn>
              <a:cxn ang="0">
                <a:pos x="connsiteX47752" y="connsiteY47752"/>
              </a:cxn>
              <a:cxn ang="0">
                <a:pos x="connsiteX47753" y="connsiteY47753"/>
              </a:cxn>
              <a:cxn ang="0">
                <a:pos x="connsiteX47754" y="connsiteY47754"/>
              </a:cxn>
              <a:cxn ang="0">
                <a:pos x="connsiteX47755" y="connsiteY47755"/>
              </a:cxn>
              <a:cxn ang="0">
                <a:pos x="connsiteX47756" y="connsiteY47756"/>
              </a:cxn>
              <a:cxn ang="0">
                <a:pos x="connsiteX47757" y="connsiteY47757"/>
              </a:cxn>
              <a:cxn ang="0">
                <a:pos x="connsiteX47758" y="connsiteY47758"/>
              </a:cxn>
              <a:cxn ang="0">
                <a:pos x="connsiteX47759" y="connsiteY47759"/>
              </a:cxn>
              <a:cxn ang="0">
                <a:pos x="connsiteX47760" y="connsiteY47760"/>
              </a:cxn>
              <a:cxn ang="0">
                <a:pos x="connsiteX47761" y="connsiteY47761"/>
              </a:cxn>
              <a:cxn ang="0">
                <a:pos x="connsiteX47762" y="connsiteY47762"/>
              </a:cxn>
              <a:cxn ang="0">
                <a:pos x="connsiteX47763" y="connsiteY47763"/>
              </a:cxn>
              <a:cxn ang="0">
                <a:pos x="connsiteX47764" y="connsiteY47764"/>
              </a:cxn>
              <a:cxn ang="0">
                <a:pos x="connsiteX47765" y="connsiteY47765"/>
              </a:cxn>
              <a:cxn ang="0">
                <a:pos x="connsiteX47766" y="connsiteY47766"/>
              </a:cxn>
              <a:cxn ang="0">
                <a:pos x="connsiteX47767" y="connsiteY47767"/>
              </a:cxn>
              <a:cxn ang="0">
                <a:pos x="connsiteX47768" y="connsiteY47768"/>
              </a:cxn>
              <a:cxn ang="0">
                <a:pos x="connsiteX47769" y="connsiteY47769"/>
              </a:cxn>
              <a:cxn ang="0">
                <a:pos x="connsiteX47770" y="connsiteY47770"/>
              </a:cxn>
              <a:cxn ang="0">
                <a:pos x="connsiteX47771" y="connsiteY47771"/>
              </a:cxn>
              <a:cxn ang="0">
                <a:pos x="connsiteX47772" y="connsiteY47772"/>
              </a:cxn>
              <a:cxn ang="0">
                <a:pos x="connsiteX47773" y="connsiteY47773"/>
              </a:cxn>
              <a:cxn ang="0">
                <a:pos x="connsiteX47774" y="connsiteY47774"/>
              </a:cxn>
              <a:cxn ang="0">
                <a:pos x="connsiteX47775" y="connsiteY47775"/>
              </a:cxn>
              <a:cxn ang="0">
                <a:pos x="connsiteX47776" y="connsiteY47776"/>
              </a:cxn>
              <a:cxn ang="0">
                <a:pos x="connsiteX47777" y="connsiteY47777"/>
              </a:cxn>
              <a:cxn ang="0">
                <a:pos x="connsiteX47778" y="connsiteY47778"/>
              </a:cxn>
              <a:cxn ang="0">
                <a:pos x="connsiteX47779" y="connsiteY47779"/>
              </a:cxn>
              <a:cxn ang="0">
                <a:pos x="connsiteX47780" y="connsiteY47780"/>
              </a:cxn>
              <a:cxn ang="0">
                <a:pos x="connsiteX47781" y="connsiteY47781"/>
              </a:cxn>
              <a:cxn ang="0">
                <a:pos x="connsiteX47782" y="connsiteY47782"/>
              </a:cxn>
              <a:cxn ang="0">
                <a:pos x="connsiteX47783" y="connsiteY47783"/>
              </a:cxn>
              <a:cxn ang="0">
                <a:pos x="connsiteX47784" y="connsiteY47784"/>
              </a:cxn>
              <a:cxn ang="0">
                <a:pos x="connsiteX47785" y="connsiteY47785"/>
              </a:cxn>
              <a:cxn ang="0">
                <a:pos x="connsiteX47786" y="connsiteY47786"/>
              </a:cxn>
              <a:cxn ang="0">
                <a:pos x="connsiteX47787" y="connsiteY47787"/>
              </a:cxn>
              <a:cxn ang="0">
                <a:pos x="connsiteX47788" y="connsiteY47788"/>
              </a:cxn>
              <a:cxn ang="0">
                <a:pos x="connsiteX47789" y="connsiteY47789"/>
              </a:cxn>
              <a:cxn ang="0">
                <a:pos x="connsiteX47790" y="connsiteY47790"/>
              </a:cxn>
              <a:cxn ang="0">
                <a:pos x="connsiteX47791" y="connsiteY47791"/>
              </a:cxn>
              <a:cxn ang="0">
                <a:pos x="connsiteX47792" y="connsiteY47792"/>
              </a:cxn>
              <a:cxn ang="0">
                <a:pos x="connsiteX47793" y="connsiteY47793"/>
              </a:cxn>
              <a:cxn ang="0">
                <a:pos x="connsiteX47794" y="connsiteY47794"/>
              </a:cxn>
              <a:cxn ang="0">
                <a:pos x="connsiteX47795" y="connsiteY47795"/>
              </a:cxn>
              <a:cxn ang="0">
                <a:pos x="connsiteX47796" y="connsiteY47796"/>
              </a:cxn>
              <a:cxn ang="0">
                <a:pos x="connsiteX47797" y="connsiteY47797"/>
              </a:cxn>
              <a:cxn ang="0">
                <a:pos x="connsiteX47798" y="connsiteY47798"/>
              </a:cxn>
              <a:cxn ang="0">
                <a:pos x="connsiteX47799" y="connsiteY47799"/>
              </a:cxn>
              <a:cxn ang="0">
                <a:pos x="connsiteX47800" y="connsiteY47800"/>
              </a:cxn>
              <a:cxn ang="0">
                <a:pos x="connsiteX47801" y="connsiteY47801"/>
              </a:cxn>
              <a:cxn ang="0">
                <a:pos x="connsiteX47802" y="connsiteY47802"/>
              </a:cxn>
              <a:cxn ang="0">
                <a:pos x="connsiteX47803" y="connsiteY47803"/>
              </a:cxn>
              <a:cxn ang="0">
                <a:pos x="connsiteX47804" y="connsiteY47804"/>
              </a:cxn>
              <a:cxn ang="0">
                <a:pos x="connsiteX47805" y="connsiteY47805"/>
              </a:cxn>
              <a:cxn ang="0">
                <a:pos x="connsiteX47806" y="connsiteY47806"/>
              </a:cxn>
              <a:cxn ang="0">
                <a:pos x="connsiteX47807" y="connsiteY47807"/>
              </a:cxn>
              <a:cxn ang="0">
                <a:pos x="connsiteX47808" y="connsiteY47808"/>
              </a:cxn>
              <a:cxn ang="0">
                <a:pos x="connsiteX47809" y="connsiteY47809"/>
              </a:cxn>
              <a:cxn ang="0">
                <a:pos x="connsiteX47810" y="connsiteY47810"/>
              </a:cxn>
              <a:cxn ang="0">
                <a:pos x="connsiteX47811" y="connsiteY47811"/>
              </a:cxn>
              <a:cxn ang="0">
                <a:pos x="connsiteX47812" y="connsiteY47812"/>
              </a:cxn>
              <a:cxn ang="0">
                <a:pos x="connsiteX47813" y="connsiteY47813"/>
              </a:cxn>
              <a:cxn ang="0">
                <a:pos x="connsiteX47814" y="connsiteY47814"/>
              </a:cxn>
              <a:cxn ang="0">
                <a:pos x="connsiteX47815" y="connsiteY47815"/>
              </a:cxn>
              <a:cxn ang="0">
                <a:pos x="connsiteX47816" y="connsiteY47816"/>
              </a:cxn>
              <a:cxn ang="0">
                <a:pos x="connsiteX47817" y="connsiteY47817"/>
              </a:cxn>
              <a:cxn ang="0">
                <a:pos x="connsiteX47818" y="connsiteY47818"/>
              </a:cxn>
              <a:cxn ang="0">
                <a:pos x="connsiteX47819" y="connsiteY47819"/>
              </a:cxn>
              <a:cxn ang="0">
                <a:pos x="connsiteX47820" y="connsiteY47820"/>
              </a:cxn>
              <a:cxn ang="0">
                <a:pos x="connsiteX47821" y="connsiteY47821"/>
              </a:cxn>
              <a:cxn ang="0">
                <a:pos x="connsiteX47822" y="connsiteY47822"/>
              </a:cxn>
              <a:cxn ang="0">
                <a:pos x="connsiteX47823" y="connsiteY47823"/>
              </a:cxn>
              <a:cxn ang="0">
                <a:pos x="connsiteX47824" y="connsiteY47824"/>
              </a:cxn>
              <a:cxn ang="0">
                <a:pos x="connsiteX47825" y="connsiteY47825"/>
              </a:cxn>
              <a:cxn ang="0">
                <a:pos x="connsiteX47826" y="connsiteY47826"/>
              </a:cxn>
              <a:cxn ang="0">
                <a:pos x="connsiteX47827" y="connsiteY47827"/>
              </a:cxn>
              <a:cxn ang="0">
                <a:pos x="connsiteX47828" y="connsiteY47828"/>
              </a:cxn>
              <a:cxn ang="0">
                <a:pos x="connsiteX47829" y="connsiteY47829"/>
              </a:cxn>
              <a:cxn ang="0">
                <a:pos x="connsiteX47830" y="connsiteY47830"/>
              </a:cxn>
              <a:cxn ang="0">
                <a:pos x="connsiteX47831" y="connsiteY47831"/>
              </a:cxn>
              <a:cxn ang="0">
                <a:pos x="connsiteX47832" y="connsiteY47832"/>
              </a:cxn>
              <a:cxn ang="0">
                <a:pos x="connsiteX47833" y="connsiteY47833"/>
              </a:cxn>
              <a:cxn ang="0">
                <a:pos x="connsiteX47834" y="connsiteY47834"/>
              </a:cxn>
              <a:cxn ang="0">
                <a:pos x="connsiteX47835" y="connsiteY47835"/>
              </a:cxn>
              <a:cxn ang="0">
                <a:pos x="connsiteX47836" y="connsiteY47836"/>
              </a:cxn>
              <a:cxn ang="0">
                <a:pos x="connsiteX47837" y="connsiteY47837"/>
              </a:cxn>
              <a:cxn ang="0">
                <a:pos x="connsiteX47838" y="connsiteY47838"/>
              </a:cxn>
              <a:cxn ang="0">
                <a:pos x="connsiteX47839" y="connsiteY47839"/>
              </a:cxn>
              <a:cxn ang="0">
                <a:pos x="connsiteX47840" y="connsiteY47840"/>
              </a:cxn>
              <a:cxn ang="0">
                <a:pos x="connsiteX47841" y="connsiteY47841"/>
              </a:cxn>
              <a:cxn ang="0">
                <a:pos x="connsiteX47842" y="connsiteY47842"/>
              </a:cxn>
              <a:cxn ang="0">
                <a:pos x="connsiteX47843" y="connsiteY47843"/>
              </a:cxn>
              <a:cxn ang="0">
                <a:pos x="connsiteX47844" y="connsiteY47844"/>
              </a:cxn>
              <a:cxn ang="0">
                <a:pos x="connsiteX47845" y="connsiteY47845"/>
              </a:cxn>
              <a:cxn ang="0">
                <a:pos x="connsiteX47846" y="connsiteY47846"/>
              </a:cxn>
              <a:cxn ang="0">
                <a:pos x="connsiteX47847" y="connsiteY47847"/>
              </a:cxn>
              <a:cxn ang="0">
                <a:pos x="connsiteX47848" y="connsiteY47848"/>
              </a:cxn>
              <a:cxn ang="0">
                <a:pos x="connsiteX47849" y="connsiteY47849"/>
              </a:cxn>
              <a:cxn ang="0">
                <a:pos x="connsiteX47850" y="connsiteY47850"/>
              </a:cxn>
              <a:cxn ang="0">
                <a:pos x="connsiteX47851" y="connsiteY47851"/>
              </a:cxn>
              <a:cxn ang="0">
                <a:pos x="connsiteX47852" y="connsiteY47852"/>
              </a:cxn>
              <a:cxn ang="0">
                <a:pos x="connsiteX47853" y="connsiteY47853"/>
              </a:cxn>
              <a:cxn ang="0">
                <a:pos x="connsiteX47854" y="connsiteY47854"/>
              </a:cxn>
              <a:cxn ang="0">
                <a:pos x="connsiteX47855" y="connsiteY47855"/>
              </a:cxn>
              <a:cxn ang="0">
                <a:pos x="connsiteX47856" y="connsiteY47856"/>
              </a:cxn>
              <a:cxn ang="0">
                <a:pos x="connsiteX47857" y="connsiteY47857"/>
              </a:cxn>
              <a:cxn ang="0">
                <a:pos x="connsiteX47858" y="connsiteY47858"/>
              </a:cxn>
              <a:cxn ang="0">
                <a:pos x="connsiteX47859" y="connsiteY47859"/>
              </a:cxn>
              <a:cxn ang="0">
                <a:pos x="connsiteX47860" y="connsiteY47860"/>
              </a:cxn>
              <a:cxn ang="0">
                <a:pos x="connsiteX47861" y="connsiteY47861"/>
              </a:cxn>
              <a:cxn ang="0">
                <a:pos x="connsiteX47862" y="connsiteY47862"/>
              </a:cxn>
              <a:cxn ang="0">
                <a:pos x="connsiteX47863" y="connsiteY47863"/>
              </a:cxn>
              <a:cxn ang="0">
                <a:pos x="connsiteX47864" y="connsiteY47864"/>
              </a:cxn>
              <a:cxn ang="0">
                <a:pos x="connsiteX47865" y="connsiteY47865"/>
              </a:cxn>
              <a:cxn ang="0">
                <a:pos x="connsiteX47866" y="connsiteY47866"/>
              </a:cxn>
              <a:cxn ang="0">
                <a:pos x="connsiteX47867" y="connsiteY47867"/>
              </a:cxn>
              <a:cxn ang="0">
                <a:pos x="connsiteX47868" y="connsiteY47868"/>
              </a:cxn>
              <a:cxn ang="0">
                <a:pos x="connsiteX47869" y="connsiteY47869"/>
              </a:cxn>
              <a:cxn ang="0">
                <a:pos x="connsiteX47870" y="connsiteY47870"/>
              </a:cxn>
              <a:cxn ang="0">
                <a:pos x="connsiteX47871" y="connsiteY47871"/>
              </a:cxn>
              <a:cxn ang="0">
                <a:pos x="connsiteX47872" y="connsiteY47872"/>
              </a:cxn>
              <a:cxn ang="0">
                <a:pos x="connsiteX47873" y="connsiteY47873"/>
              </a:cxn>
              <a:cxn ang="0">
                <a:pos x="connsiteX47874" y="connsiteY47874"/>
              </a:cxn>
              <a:cxn ang="0">
                <a:pos x="connsiteX47875" y="connsiteY47875"/>
              </a:cxn>
              <a:cxn ang="0">
                <a:pos x="connsiteX47876" y="connsiteY47876"/>
              </a:cxn>
              <a:cxn ang="0">
                <a:pos x="connsiteX47877" y="connsiteY47877"/>
              </a:cxn>
              <a:cxn ang="0">
                <a:pos x="connsiteX47878" y="connsiteY47878"/>
              </a:cxn>
              <a:cxn ang="0">
                <a:pos x="connsiteX47879" y="connsiteY47879"/>
              </a:cxn>
              <a:cxn ang="0">
                <a:pos x="connsiteX47880" y="connsiteY47880"/>
              </a:cxn>
              <a:cxn ang="0">
                <a:pos x="connsiteX47881" y="connsiteY47881"/>
              </a:cxn>
              <a:cxn ang="0">
                <a:pos x="connsiteX47882" y="connsiteY47882"/>
              </a:cxn>
              <a:cxn ang="0">
                <a:pos x="connsiteX47883" y="connsiteY47883"/>
              </a:cxn>
              <a:cxn ang="0">
                <a:pos x="connsiteX47884" y="connsiteY47884"/>
              </a:cxn>
              <a:cxn ang="0">
                <a:pos x="connsiteX47885" y="connsiteY47885"/>
              </a:cxn>
              <a:cxn ang="0">
                <a:pos x="connsiteX47886" y="connsiteY47886"/>
              </a:cxn>
              <a:cxn ang="0">
                <a:pos x="connsiteX47887" y="connsiteY47887"/>
              </a:cxn>
              <a:cxn ang="0">
                <a:pos x="connsiteX47888" y="connsiteY47888"/>
              </a:cxn>
              <a:cxn ang="0">
                <a:pos x="connsiteX47889" y="connsiteY47889"/>
              </a:cxn>
              <a:cxn ang="0">
                <a:pos x="connsiteX47890" y="connsiteY47890"/>
              </a:cxn>
              <a:cxn ang="0">
                <a:pos x="connsiteX47891" y="connsiteY47891"/>
              </a:cxn>
              <a:cxn ang="0">
                <a:pos x="connsiteX47892" y="connsiteY47892"/>
              </a:cxn>
              <a:cxn ang="0">
                <a:pos x="connsiteX47893" y="connsiteY47893"/>
              </a:cxn>
              <a:cxn ang="0">
                <a:pos x="connsiteX47894" y="connsiteY47894"/>
              </a:cxn>
              <a:cxn ang="0">
                <a:pos x="connsiteX47895" y="connsiteY47895"/>
              </a:cxn>
              <a:cxn ang="0">
                <a:pos x="connsiteX47896" y="connsiteY47896"/>
              </a:cxn>
              <a:cxn ang="0">
                <a:pos x="connsiteX47897" y="connsiteY47897"/>
              </a:cxn>
              <a:cxn ang="0">
                <a:pos x="connsiteX47898" y="connsiteY47898"/>
              </a:cxn>
              <a:cxn ang="0">
                <a:pos x="connsiteX47899" y="connsiteY47899"/>
              </a:cxn>
              <a:cxn ang="0">
                <a:pos x="connsiteX47900" y="connsiteY47900"/>
              </a:cxn>
              <a:cxn ang="0">
                <a:pos x="connsiteX47901" y="connsiteY47901"/>
              </a:cxn>
              <a:cxn ang="0">
                <a:pos x="connsiteX47902" y="connsiteY47902"/>
              </a:cxn>
              <a:cxn ang="0">
                <a:pos x="connsiteX47903" y="connsiteY47903"/>
              </a:cxn>
              <a:cxn ang="0">
                <a:pos x="connsiteX47904" y="connsiteY47904"/>
              </a:cxn>
              <a:cxn ang="0">
                <a:pos x="connsiteX47905" y="connsiteY47905"/>
              </a:cxn>
              <a:cxn ang="0">
                <a:pos x="connsiteX47906" y="connsiteY47906"/>
              </a:cxn>
              <a:cxn ang="0">
                <a:pos x="connsiteX47907" y="connsiteY47907"/>
              </a:cxn>
              <a:cxn ang="0">
                <a:pos x="connsiteX47908" y="connsiteY47908"/>
              </a:cxn>
              <a:cxn ang="0">
                <a:pos x="connsiteX47909" y="connsiteY47909"/>
              </a:cxn>
              <a:cxn ang="0">
                <a:pos x="connsiteX47910" y="connsiteY47910"/>
              </a:cxn>
              <a:cxn ang="0">
                <a:pos x="connsiteX47911" y="connsiteY47911"/>
              </a:cxn>
              <a:cxn ang="0">
                <a:pos x="connsiteX47912" y="connsiteY47912"/>
              </a:cxn>
              <a:cxn ang="0">
                <a:pos x="connsiteX47913" y="connsiteY47913"/>
              </a:cxn>
              <a:cxn ang="0">
                <a:pos x="connsiteX47914" y="connsiteY47914"/>
              </a:cxn>
              <a:cxn ang="0">
                <a:pos x="connsiteX47915" y="connsiteY47915"/>
              </a:cxn>
              <a:cxn ang="0">
                <a:pos x="connsiteX47916" y="connsiteY47916"/>
              </a:cxn>
              <a:cxn ang="0">
                <a:pos x="connsiteX47917" y="connsiteY47917"/>
              </a:cxn>
              <a:cxn ang="0">
                <a:pos x="connsiteX47918" y="connsiteY47918"/>
              </a:cxn>
              <a:cxn ang="0">
                <a:pos x="connsiteX47919" y="connsiteY47919"/>
              </a:cxn>
              <a:cxn ang="0">
                <a:pos x="connsiteX47920" y="connsiteY47920"/>
              </a:cxn>
              <a:cxn ang="0">
                <a:pos x="connsiteX47921" y="connsiteY47921"/>
              </a:cxn>
              <a:cxn ang="0">
                <a:pos x="connsiteX47922" y="connsiteY47922"/>
              </a:cxn>
              <a:cxn ang="0">
                <a:pos x="connsiteX47923" y="connsiteY47923"/>
              </a:cxn>
              <a:cxn ang="0">
                <a:pos x="connsiteX47924" y="connsiteY47924"/>
              </a:cxn>
              <a:cxn ang="0">
                <a:pos x="connsiteX47925" y="connsiteY47925"/>
              </a:cxn>
              <a:cxn ang="0">
                <a:pos x="connsiteX47926" y="connsiteY47926"/>
              </a:cxn>
              <a:cxn ang="0">
                <a:pos x="connsiteX47927" y="connsiteY47927"/>
              </a:cxn>
              <a:cxn ang="0">
                <a:pos x="connsiteX47928" y="connsiteY47928"/>
              </a:cxn>
              <a:cxn ang="0">
                <a:pos x="connsiteX47929" y="connsiteY47929"/>
              </a:cxn>
              <a:cxn ang="0">
                <a:pos x="connsiteX47930" y="connsiteY47930"/>
              </a:cxn>
              <a:cxn ang="0">
                <a:pos x="connsiteX47931" y="connsiteY47931"/>
              </a:cxn>
              <a:cxn ang="0">
                <a:pos x="connsiteX47932" y="connsiteY47932"/>
              </a:cxn>
              <a:cxn ang="0">
                <a:pos x="connsiteX47933" y="connsiteY47933"/>
              </a:cxn>
              <a:cxn ang="0">
                <a:pos x="connsiteX47934" y="connsiteY47934"/>
              </a:cxn>
              <a:cxn ang="0">
                <a:pos x="connsiteX47935" y="connsiteY47935"/>
              </a:cxn>
              <a:cxn ang="0">
                <a:pos x="connsiteX47936" y="connsiteY47936"/>
              </a:cxn>
              <a:cxn ang="0">
                <a:pos x="connsiteX47937" y="connsiteY47937"/>
              </a:cxn>
              <a:cxn ang="0">
                <a:pos x="connsiteX47938" y="connsiteY47938"/>
              </a:cxn>
              <a:cxn ang="0">
                <a:pos x="connsiteX47939" y="connsiteY47939"/>
              </a:cxn>
              <a:cxn ang="0">
                <a:pos x="connsiteX47940" y="connsiteY47940"/>
              </a:cxn>
              <a:cxn ang="0">
                <a:pos x="connsiteX47941" y="connsiteY47941"/>
              </a:cxn>
              <a:cxn ang="0">
                <a:pos x="connsiteX47942" y="connsiteY47942"/>
              </a:cxn>
              <a:cxn ang="0">
                <a:pos x="connsiteX47943" y="connsiteY47943"/>
              </a:cxn>
              <a:cxn ang="0">
                <a:pos x="connsiteX47944" y="connsiteY47944"/>
              </a:cxn>
              <a:cxn ang="0">
                <a:pos x="connsiteX47945" y="connsiteY47945"/>
              </a:cxn>
              <a:cxn ang="0">
                <a:pos x="connsiteX47946" y="connsiteY47946"/>
              </a:cxn>
              <a:cxn ang="0">
                <a:pos x="connsiteX47947" y="connsiteY47947"/>
              </a:cxn>
              <a:cxn ang="0">
                <a:pos x="connsiteX47948" y="connsiteY47948"/>
              </a:cxn>
              <a:cxn ang="0">
                <a:pos x="connsiteX47949" y="connsiteY47949"/>
              </a:cxn>
              <a:cxn ang="0">
                <a:pos x="connsiteX47950" y="connsiteY47950"/>
              </a:cxn>
              <a:cxn ang="0">
                <a:pos x="connsiteX47951" y="connsiteY47951"/>
              </a:cxn>
              <a:cxn ang="0">
                <a:pos x="connsiteX47952" y="connsiteY47952"/>
              </a:cxn>
              <a:cxn ang="0">
                <a:pos x="connsiteX47953" y="connsiteY47953"/>
              </a:cxn>
              <a:cxn ang="0">
                <a:pos x="connsiteX47954" y="connsiteY47954"/>
              </a:cxn>
              <a:cxn ang="0">
                <a:pos x="connsiteX47955" y="connsiteY47955"/>
              </a:cxn>
              <a:cxn ang="0">
                <a:pos x="connsiteX47956" y="connsiteY47956"/>
              </a:cxn>
              <a:cxn ang="0">
                <a:pos x="connsiteX47957" y="connsiteY47957"/>
              </a:cxn>
              <a:cxn ang="0">
                <a:pos x="connsiteX47958" y="connsiteY47958"/>
              </a:cxn>
              <a:cxn ang="0">
                <a:pos x="connsiteX47959" y="connsiteY47959"/>
              </a:cxn>
              <a:cxn ang="0">
                <a:pos x="connsiteX47960" y="connsiteY47960"/>
              </a:cxn>
              <a:cxn ang="0">
                <a:pos x="connsiteX47961" y="connsiteY47961"/>
              </a:cxn>
              <a:cxn ang="0">
                <a:pos x="connsiteX47962" y="connsiteY47962"/>
              </a:cxn>
              <a:cxn ang="0">
                <a:pos x="connsiteX47963" y="connsiteY47963"/>
              </a:cxn>
              <a:cxn ang="0">
                <a:pos x="connsiteX47964" y="connsiteY47964"/>
              </a:cxn>
              <a:cxn ang="0">
                <a:pos x="connsiteX47965" y="connsiteY47965"/>
              </a:cxn>
              <a:cxn ang="0">
                <a:pos x="connsiteX47966" y="connsiteY47966"/>
              </a:cxn>
              <a:cxn ang="0">
                <a:pos x="connsiteX47967" y="connsiteY47967"/>
              </a:cxn>
              <a:cxn ang="0">
                <a:pos x="connsiteX47968" y="connsiteY47968"/>
              </a:cxn>
              <a:cxn ang="0">
                <a:pos x="connsiteX47969" y="connsiteY47969"/>
              </a:cxn>
              <a:cxn ang="0">
                <a:pos x="connsiteX47970" y="connsiteY47970"/>
              </a:cxn>
              <a:cxn ang="0">
                <a:pos x="connsiteX47971" y="connsiteY47971"/>
              </a:cxn>
              <a:cxn ang="0">
                <a:pos x="connsiteX47972" y="connsiteY47972"/>
              </a:cxn>
              <a:cxn ang="0">
                <a:pos x="connsiteX47973" y="connsiteY47973"/>
              </a:cxn>
              <a:cxn ang="0">
                <a:pos x="connsiteX47974" y="connsiteY47974"/>
              </a:cxn>
              <a:cxn ang="0">
                <a:pos x="connsiteX47975" y="connsiteY47975"/>
              </a:cxn>
              <a:cxn ang="0">
                <a:pos x="connsiteX47976" y="connsiteY47976"/>
              </a:cxn>
              <a:cxn ang="0">
                <a:pos x="connsiteX47977" y="connsiteY47977"/>
              </a:cxn>
              <a:cxn ang="0">
                <a:pos x="connsiteX47978" y="connsiteY47978"/>
              </a:cxn>
              <a:cxn ang="0">
                <a:pos x="connsiteX47979" y="connsiteY47979"/>
              </a:cxn>
              <a:cxn ang="0">
                <a:pos x="connsiteX47980" y="connsiteY47980"/>
              </a:cxn>
              <a:cxn ang="0">
                <a:pos x="connsiteX47981" y="connsiteY47981"/>
              </a:cxn>
              <a:cxn ang="0">
                <a:pos x="connsiteX47982" y="connsiteY47982"/>
              </a:cxn>
              <a:cxn ang="0">
                <a:pos x="connsiteX47983" y="connsiteY47983"/>
              </a:cxn>
              <a:cxn ang="0">
                <a:pos x="connsiteX47984" y="connsiteY47984"/>
              </a:cxn>
              <a:cxn ang="0">
                <a:pos x="connsiteX47985" y="connsiteY47985"/>
              </a:cxn>
              <a:cxn ang="0">
                <a:pos x="connsiteX47986" y="connsiteY47986"/>
              </a:cxn>
              <a:cxn ang="0">
                <a:pos x="connsiteX47987" y="connsiteY47987"/>
              </a:cxn>
              <a:cxn ang="0">
                <a:pos x="connsiteX47988" y="connsiteY47988"/>
              </a:cxn>
              <a:cxn ang="0">
                <a:pos x="connsiteX47989" y="connsiteY47989"/>
              </a:cxn>
              <a:cxn ang="0">
                <a:pos x="connsiteX47990" y="connsiteY47990"/>
              </a:cxn>
              <a:cxn ang="0">
                <a:pos x="connsiteX47991" y="connsiteY47991"/>
              </a:cxn>
              <a:cxn ang="0">
                <a:pos x="connsiteX47992" y="connsiteY47992"/>
              </a:cxn>
              <a:cxn ang="0">
                <a:pos x="connsiteX47993" y="connsiteY47993"/>
              </a:cxn>
              <a:cxn ang="0">
                <a:pos x="connsiteX47994" y="connsiteY47994"/>
              </a:cxn>
              <a:cxn ang="0">
                <a:pos x="connsiteX47995" y="connsiteY47995"/>
              </a:cxn>
              <a:cxn ang="0">
                <a:pos x="connsiteX47996" y="connsiteY47996"/>
              </a:cxn>
              <a:cxn ang="0">
                <a:pos x="connsiteX47997" y="connsiteY47997"/>
              </a:cxn>
              <a:cxn ang="0">
                <a:pos x="connsiteX47998" y="connsiteY47998"/>
              </a:cxn>
              <a:cxn ang="0">
                <a:pos x="connsiteX47999" y="connsiteY47999"/>
              </a:cxn>
              <a:cxn ang="0">
                <a:pos x="connsiteX48000" y="connsiteY48000"/>
              </a:cxn>
              <a:cxn ang="0">
                <a:pos x="connsiteX48001" y="connsiteY48001"/>
              </a:cxn>
              <a:cxn ang="0">
                <a:pos x="connsiteX48002" y="connsiteY48002"/>
              </a:cxn>
              <a:cxn ang="0">
                <a:pos x="connsiteX48003" y="connsiteY48003"/>
              </a:cxn>
              <a:cxn ang="0">
                <a:pos x="connsiteX48004" y="connsiteY48004"/>
              </a:cxn>
              <a:cxn ang="0">
                <a:pos x="connsiteX48005" y="connsiteY48005"/>
              </a:cxn>
              <a:cxn ang="0">
                <a:pos x="connsiteX48006" y="connsiteY48006"/>
              </a:cxn>
              <a:cxn ang="0">
                <a:pos x="connsiteX48007" y="connsiteY48007"/>
              </a:cxn>
              <a:cxn ang="0">
                <a:pos x="connsiteX48008" y="connsiteY48008"/>
              </a:cxn>
              <a:cxn ang="0">
                <a:pos x="connsiteX48009" y="connsiteY48009"/>
              </a:cxn>
              <a:cxn ang="0">
                <a:pos x="connsiteX48010" y="connsiteY48010"/>
              </a:cxn>
              <a:cxn ang="0">
                <a:pos x="connsiteX48011" y="connsiteY48011"/>
              </a:cxn>
              <a:cxn ang="0">
                <a:pos x="connsiteX48012" y="connsiteY48012"/>
              </a:cxn>
              <a:cxn ang="0">
                <a:pos x="connsiteX48013" y="connsiteY48013"/>
              </a:cxn>
              <a:cxn ang="0">
                <a:pos x="connsiteX48014" y="connsiteY48014"/>
              </a:cxn>
              <a:cxn ang="0">
                <a:pos x="connsiteX48015" y="connsiteY48015"/>
              </a:cxn>
              <a:cxn ang="0">
                <a:pos x="connsiteX48016" y="connsiteY48016"/>
              </a:cxn>
              <a:cxn ang="0">
                <a:pos x="connsiteX48017" y="connsiteY48017"/>
              </a:cxn>
              <a:cxn ang="0">
                <a:pos x="connsiteX48018" y="connsiteY48018"/>
              </a:cxn>
              <a:cxn ang="0">
                <a:pos x="connsiteX48019" y="connsiteY48019"/>
              </a:cxn>
              <a:cxn ang="0">
                <a:pos x="connsiteX48020" y="connsiteY48020"/>
              </a:cxn>
              <a:cxn ang="0">
                <a:pos x="connsiteX48021" y="connsiteY48021"/>
              </a:cxn>
              <a:cxn ang="0">
                <a:pos x="connsiteX48022" y="connsiteY48022"/>
              </a:cxn>
              <a:cxn ang="0">
                <a:pos x="connsiteX48023" y="connsiteY48023"/>
              </a:cxn>
              <a:cxn ang="0">
                <a:pos x="connsiteX48024" y="connsiteY48024"/>
              </a:cxn>
              <a:cxn ang="0">
                <a:pos x="connsiteX48025" y="connsiteY48025"/>
              </a:cxn>
              <a:cxn ang="0">
                <a:pos x="connsiteX48026" y="connsiteY48026"/>
              </a:cxn>
              <a:cxn ang="0">
                <a:pos x="connsiteX48027" y="connsiteY48027"/>
              </a:cxn>
              <a:cxn ang="0">
                <a:pos x="connsiteX48028" y="connsiteY48028"/>
              </a:cxn>
              <a:cxn ang="0">
                <a:pos x="connsiteX48029" y="connsiteY48029"/>
              </a:cxn>
              <a:cxn ang="0">
                <a:pos x="connsiteX48030" y="connsiteY48030"/>
              </a:cxn>
              <a:cxn ang="0">
                <a:pos x="connsiteX48031" y="connsiteY48031"/>
              </a:cxn>
              <a:cxn ang="0">
                <a:pos x="connsiteX48032" y="connsiteY48032"/>
              </a:cxn>
              <a:cxn ang="0">
                <a:pos x="connsiteX48033" y="connsiteY48033"/>
              </a:cxn>
              <a:cxn ang="0">
                <a:pos x="connsiteX48034" y="connsiteY48034"/>
              </a:cxn>
              <a:cxn ang="0">
                <a:pos x="connsiteX48035" y="connsiteY48035"/>
              </a:cxn>
              <a:cxn ang="0">
                <a:pos x="connsiteX48036" y="connsiteY48036"/>
              </a:cxn>
              <a:cxn ang="0">
                <a:pos x="connsiteX48037" y="connsiteY48037"/>
              </a:cxn>
              <a:cxn ang="0">
                <a:pos x="connsiteX48038" y="connsiteY48038"/>
              </a:cxn>
              <a:cxn ang="0">
                <a:pos x="connsiteX48039" y="connsiteY48039"/>
              </a:cxn>
              <a:cxn ang="0">
                <a:pos x="connsiteX48040" y="connsiteY48040"/>
              </a:cxn>
              <a:cxn ang="0">
                <a:pos x="connsiteX48041" y="connsiteY48041"/>
              </a:cxn>
              <a:cxn ang="0">
                <a:pos x="connsiteX48042" y="connsiteY48042"/>
              </a:cxn>
              <a:cxn ang="0">
                <a:pos x="connsiteX48043" y="connsiteY48043"/>
              </a:cxn>
              <a:cxn ang="0">
                <a:pos x="connsiteX48044" y="connsiteY48044"/>
              </a:cxn>
              <a:cxn ang="0">
                <a:pos x="connsiteX48045" y="connsiteY48045"/>
              </a:cxn>
              <a:cxn ang="0">
                <a:pos x="connsiteX48046" y="connsiteY48046"/>
              </a:cxn>
              <a:cxn ang="0">
                <a:pos x="connsiteX48047" y="connsiteY48047"/>
              </a:cxn>
              <a:cxn ang="0">
                <a:pos x="connsiteX48048" y="connsiteY48048"/>
              </a:cxn>
              <a:cxn ang="0">
                <a:pos x="connsiteX48049" y="connsiteY48049"/>
              </a:cxn>
              <a:cxn ang="0">
                <a:pos x="connsiteX48050" y="connsiteY48050"/>
              </a:cxn>
              <a:cxn ang="0">
                <a:pos x="connsiteX48051" y="connsiteY48051"/>
              </a:cxn>
              <a:cxn ang="0">
                <a:pos x="connsiteX48052" y="connsiteY48052"/>
              </a:cxn>
              <a:cxn ang="0">
                <a:pos x="connsiteX48053" y="connsiteY48053"/>
              </a:cxn>
              <a:cxn ang="0">
                <a:pos x="connsiteX48054" y="connsiteY48054"/>
              </a:cxn>
              <a:cxn ang="0">
                <a:pos x="connsiteX48055" y="connsiteY48055"/>
              </a:cxn>
              <a:cxn ang="0">
                <a:pos x="connsiteX48056" y="connsiteY48056"/>
              </a:cxn>
              <a:cxn ang="0">
                <a:pos x="connsiteX48057" y="connsiteY48057"/>
              </a:cxn>
              <a:cxn ang="0">
                <a:pos x="connsiteX48058" y="connsiteY48058"/>
              </a:cxn>
              <a:cxn ang="0">
                <a:pos x="connsiteX48059" y="connsiteY48059"/>
              </a:cxn>
              <a:cxn ang="0">
                <a:pos x="connsiteX48060" y="connsiteY48060"/>
              </a:cxn>
              <a:cxn ang="0">
                <a:pos x="connsiteX48061" y="connsiteY48061"/>
              </a:cxn>
              <a:cxn ang="0">
                <a:pos x="connsiteX48062" y="connsiteY48062"/>
              </a:cxn>
              <a:cxn ang="0">
                <a:pos x="connsiteX48063" y="connsiteY48063"/>
              </a:cxn>
              <a:cxn ang="0">
                <a:pos x="connsiteX48064" y="connsiteY48064"/>
              </a:cxn>
              <a:cxn ang="0">
                <a:pos x="connsiteX48065" y="connsiteY48065"/>
              </a:cxn>
              <a:cxn ang="0">
                <a:pos x="connsiteX48066" y="connsiteY48066"/>
              </a:cxn>
              <a:cxn ang="0">
                <a:pos x="connsiteX48067" y="connsiteY48067"/>
              </a:cxn>
              <a:cxn ang="0">
                <a:pos x="connsiteX48068" y="connsiteY48068"/>
              </a:cxn>
              <a:cxn ang="0">
                <a:pos x="connsiteX48069" y="connsiteY48069"/>
              </a:cxn>
              <a:cxn ang="0">
                <a:pos x="connsiteX48070" y="connsiteY48070"/>
              </a:cxn>
              <a:cxn ang="0">
                <a:pos x="connsiteX48071" y="connsiteY48071"/>
              </a:cxn>
              <a:cxn ang="0">
                <a:pos x="connsiteX48072" y="connsiteY48072"/>
              </a:cxn>
              <a:cxn ang="0">
                <a:pos x="connsiteX48073" y="connsiteY48073"/>
              </a:cxn>
              <a:cxn ang="0">
                <a:pos x="connsiteX48074" y="connsiteY48074"/>
              </a:cxn>
              <a:cxn ang="0">
                <a:pos x="connsiteX48075" y="connsiteY48075"/>
              </a:cxn>
              <a:cxn ang="0">
                <a:pos x="connsiteX48076" y="connsiteY48076"/>
              </a:cxn>
              <a:cxn ang="0">
                <a:pos x="connsiteX48077" y="connsiteY48077"/>
              </a:cxn>
              <a:cxn ang="0">
                <a:pos x="connsiteX48078" y="connsiteY48078"/>
              </a:cxn>
              <a:cxn ang="0">
                <a:pos x="connsiteX48079" y="connsiteY48079"/>
              </a:cxn>
              <a:cxn ang="0">
                <a:pos x="connsiteX48080" y="connsiteY48080"/>
              </a:cxn>
              <a:cxn ang="0">
                <a:pos x="connsiteX48081" y="connsiteY48081"/>
              </a:cxn>
              <a:cxn ang="0">
                <a:pos x="connsiteX48082" y="connsiteY48082"/>
              </a:cxn>
              <a:cxn ang="0">
                <a:pos x="connsiteX48083" y="connsiteY48083"/>
              </a:cxn>
              <a:cxn ang="0">
                <a:pos x="connsiteX48084" y="connsiteY48084"/>
              </a:cxn>
              <a:cxn ang="0">
                <a:pos x="connsiteX48085" y="connsiteY48085"/>
              </a:cxn>
              <a:cxn ang="0">
                <a:pos x="connsiteX48086" y="connsiteY48086"/>
              </a:cxn>
              <a:cxn ang="0">
                <a:pos x="connsiteX48087" y="connsiteY48087"/>
              </a:cxn>
              <a:cxn ang="0">
                <a:pos x="connsiteX48088" y="connsiteY48088"/>
              </a:cxn>
              <a:cxn ang="0">
                <a:pos x="connsiteX48089" y="connsiteY48089"/>
              </a:cxn>
              <a:cxn ang="0">
                <a:pos x="connsiteX48090" y="connsiteY48090"/>
              </a:cxn>
              <a:cxn ang="0">
                <a:pos x="connsiteX48091" y="connsiteY48091"/>
              </a:cxn>
              <a:cxn ang="0">
                <a:pos x="connsiteX48092" y="connsiteY48092"/>
              </a:cxn>
              <a:cxn ang="0">
                <a:pos x="connsiteX48093" y="connsiteY48093"/>
              </a:cxn>
              <a:cxn ang="0">
                <a:pos x="connsiteX48094" y="connsiteY48094"/>
              </a:cxn>
              <a:cxn ang="0">
                <a:pos x="connsiteX48095" y="connsiteY48095"/>
              </a:cxn>
              <a:cxn ang="0">
                <a:pos x="connsiteX48096" y="connsiteY48096"/>
              </a:cxn>
              <a:cxn ang="0">
                <a:pos x="connsiteX48097" y="connsiteY48097"/>
              </a:cxn>
              <a:cxn ang="0">
                <a:pos x="connsiteX48098" y="connsiteY48098"/>
              </a:cxn>
              <a:cxn ang="0">
                <a:pos x="connsiteX48099" y="connsiteY48099"/>
              </a:cxn>
              <a:cxn ang="0">
                <a:pos x="connsiteX48100" y="connsiteY48100"/>
              </a:cxn>
              <a:cxn ang="0">
                <a:pos x="connsiteX48101" y="connsiteY48101"/>
              </a:cxn>
              <a:cxn ang="0">
                <a:pos x="connsiteX48102" y="connsiteY48102"/>
              </a:cxn>
              <a:cxn ang="0">
                <a:pos x="connsiteX48103" y="connsiteY48103"/>
              </a:cxn>
              <a:cxn ang="0">
                <a:pos x="connsiteX48104" y="connsiteY48104"/>
              </a:cxn>
              <a:cxn ang="0">
                <a:pos x="connsiteX48105" y="connsiteY48105"/>
              </a:cxn>
              <a:cxn ang="0">
                <a:pos x="connsiteX48106" y="connsiteY48106"/>
              </a:cxn>
              <a:cxn ang="0">
                <a:pos x="connsiteX48107" y="connsiteY48107"/>
              </a:cxn>
              <a:cxn ang="0">
                <a:pos x="connsiteX48108" y="connsiteY48108"/>
              </a:cxn>
              <a:cxn ang="0">
                <a:pos x="connsiteX48109" y="connsiteY48109"/>
              </a:cxn>
              <a:cxn ang="0">
                <a:pos x="connsiteX48110" y="connsiteY48110"/>
              </a:cxn>
              <a:cxn ang="0">
                <a:pos x="connsiteX48111" y="connsiteY48111"/>
              </a:cxn>
              <a:cxn ang="0">
                <a:pos x="connsiteX48112" y="connsiteY48112"/>
              </a:cxn>
              <a:cxn ang="0">
                <a:pos x="connsiteX48113" y="connsiteY48113"/>
              </a:cxn>
              <a:cxn ang="0">
                <a:pos x="connsiteX48114" y="connsiteY48114"/>
              </a:cxn>
              <a:cxn ang="0">
                <a:pos x="connsiteX48115" y="connsiteY48115"/>
              </a:cxn>
              <a:cxn ang="0">
                <a:pos x="connsiteX48116" y="connsiteY48116"/>
              </a:cxn>
              <a:cxn ang="0">
                <a:pos x="connsiteX48117" y="connsiteY48117"/>
              </a:cxn>
              <a:cxn ang="0">
                <a:pos x="connsiteX48118" y="connsiteY48118"/>
              </a:cxn>
              <a:cxn ang="0">
                <a:pos x="connsiteX48119" y="connsiteY48119"/>
              </a:cxn>
              <a:cxn ang="0">
                <a:pos x="connsiteX48120" y="connsiteY48120"/>
              </a:cxn>
              <a:cxn ang="0">
                <a:pos x="connsiteX48121" y="connsiteY48121"/>
              </a:cxn>
              <a:cxn ang="0">
                <a:pos x="connsiteX48122" y="connsiteY48122"/>
              </a:cxn>
              <a:cxn ang="0">
                <a:pos x="connsiteX48123" y="connsiteY48123"/>
              </a:cxn>
              <a:cxn ang="0">
                <a:pos x="connsiteX48124" y="connsiteY48124"/>
              </a:cxn>
              <a:cxn ang="0">
                <a:pos x="connsiteX48125" y="connsiteY48125"/>
              </a:cxn>
              <a:cxn ang="0">
                <a:pos x="connsiteX48126" y="connsiteY48126"/>
              </a:cxn>
              <a:cxn ang="0">
                <a:pos x="connsiteX48127" y="connsiteY48127"/>
              </a:cxn>
              <a:cxn ang="0">
                <a:pos x="connsiteX48128" y="connsiteY48128"/>
              </a:cxn>
              <a:cxn ang="0">
                <a:pos x="connsiteX48129" y="connsiteY48129"/>
              </a:cxn>
              <a:cxn ang="0">
                <a:pos x="connsiteX48130" y="connsiteY48130"/>
              </a:cxn>
              <a:cxn ang="0">
                <a:pos x="connsiteX48131" y="connsiteY48131"/>
              </a:cxn>
              <a:cxn ang="0">
                <a:pos x="connsiteX48132" y="connsiteY48132"/>
              </a:cxn>
              <a:cxn ang="0">
                <a:pos x="connsiteX48133" y="connsiteY48133"/>
              </a:cxn>
              <a:cxn ang="0">
                <a:pos x="connsiteX48134" y="connsiteY48134"/>
              </a:cxn>
              <a:cxn ang="0">
                <a:pos x="connsiteX48135" y="connsiteY48135"/>
              </a:cxn>
              <a:cxn ang="0">
                <a:pos x="connsiteX48136" y="connsiteY48136"/>
              </a:cxn>
              <a:cxn ang="0">
                <a:pos x="connsiteX48137" y="connsiteY48137"/>
              </a:cxn>
              <a:cxn ang="0">
                <a:pos x="connsiteX48138" y="connsiteY48138"/>
              </a:cxn>
              <a:cxn ang="0">
                <a:pos x="connsiteX48139" y="connsiteY48139"/>
              </a:cxn>
              <a:cxn ang="0">
                <a:pos x="connsiteX48140" y="connsiteY48140"/>
              </a:cxn>
              <a:cxn ang="0">
                <a:pos x="connsiteX48141" y="connsiteY48141"/>
              </a:cxn>
              <a:cxn ang="0">
                <a:pos x="connsiteX48142" y="connsiteY48142"/>
              </a:cxn>
              <a:cxn ang="0">
                <a:pos x="connsiteX48143" y="connsiteY48143"/>
              </a:cxn>
              <a:cxn ang="0">
                <a:pos x="connsiteX48144" y="connsiteY48144"/>
              </a:cxn>
              <a:cxn ang="0">
                <a:pos x="connsiteX48145" y="connsiteY48145"/>
              </a:cxn>
              <a:cxn ang="0">
                <a:pos x="connsiteX48146" y="connsiteY48146"/>
              </a:cxn>
              <a:cxn ang="0">
                <a:pos x="connsiteX48147" y="connsiteY48147"/>
              </a:cxn>
              <a:cxn ang="0">
                <a:pos x="connsiteX48148" y="connsiteY48148"/>
              </a:cxn>
              <a:cxn ang="0">
                <a:pos x="connsiteX48149" y="connsiteY48149"/>
              </a:cxn>
              <a:cxn ang="0">
                <a:pos x="connsiteX48150" y="connsiteY48150"/>
              </a:cxn>
              <a:cxn ang="0">
                <a:pos x="connsiteX48151" y="connsiteY48151"/>
              </a:cxn>
              <a:cxn ang="0">
                <a:pos x="connsiteX48152" y="connsiteY48152"/>
              </a:cxn>
              <a:cxn ang="0">
                <a:pos x="connsiteX48153" y="connsiteY48153"/>
              </a:cxn>
              <a:cxn ang="0">
                <a:pos x="connsiteX48154" y="connsiteY48154"/>
              </a:cxn>
              <a:cxn ang="0">
                <a:pos x="connsiteX48155" y="connsiteY48155"/>
              </a:cxn>
              <a:cxn ang="0">
                <a:pos x="connsiteX48156" y="connsiteY48156"/>
              </a:cxn>
              <a:cxn ang="0">
                <a:pos x="connsiteX48157" y="connsiteY48157"/>
              </a:cxn>
              <a:cxn ang="0">
                <a:pos x="connsiteX48158" y="connsiteY48158"/>
              </a:cxn>
              <a:cxn ang="0">
                <a:pos x="connsiteX48159" y="connsiteY48159"/>
              </a:cxn>
              <a:cxn ang="0">
                <a:pos x="connsiteX48160" y="connsiteY48160"/>
              </a:cxn>
              <a:cxn ang="0">
                <a:pos x="connsiteX48161" y="connsiteY48161"/>
              </a:cxn>
              <a:cxn ang="0">
                <a:pos x="connsiteX48162" y="connsiteY48162"/>
              </a:cxn>
              <a:cxn ang="0">
                <a:pos x="connsiteX48163" y="connsiteY48163"/>
              </a:cxn>
              <a:cxn ang="0">
                <a:pos x="connsiteX48164" y="connsiteY48164"/>
              </a:cxn>
              <a:cxn ang="0">
                <a:pos x="connsiteX48165" y="connsiteY48165"/>
              </a:cxn>
              <a:cxn ang="0">
                <a:pos x="connsiteX48166" y="connsiteY48166"/>
              </a:cxn>
              <a:cxn ang="0">
                <a:pos x="connsiteX48167" y="connsiteY48167"/>
              </a:cxn>
              <a:cxn ang="0">
                <a:pos x="connsiteX48168" y="connsiteY48168"/>
              </a:cxn>
              <a:cxn ang="0">
                <a:pos x="connsiteX48169" y="connsiteY48169"/>
              </a:cxn>
              <a:cxn ang="0">
                <a:pos x="connsiteX48170" y="connsiteY48170"/>
              </a:cxn>
              <a:cxn ang="0">
                <a:pos x="connsiteX48171" y="connsiteY48171"/>
              </a:cxn>
              <a:cxn ang="0">
                <a:pos x="connsiteX48172" y="connsiteY48172"/>
              </a:cxn>
              <a:cxn ang="0">
                <a:pos x="connsiteX48173" y="connsiteY48173"/>
              </a:cxn>
              <a:cxn ang="0">
                <a:pos x="connsiteX48174" y="connsiteY48174"/>
              </a:cxn>
              <a:cxn ang="0">
                <a:pos x="connsiteX48175" y="connsiteY48175"/>
              </a:cxn>
              <a:cxn ang="0">
                <a:pos x="connsiteX48176" y="connsiteY48176"/>
              </a:cxn>
              <a:cxn ang="0">
                <a:pos x="connsiteX48177" y="connsiteY48177"/>
              </a:cxn>
              <a:cxn ang="0">
                <a:pos x="connsiteX48178" y="connsiteY48178"/>
              </a:cxn>
              <a:cxn ang="0">
                <a:pos x="connsiteX48179" y="connsiteY48179"/>
              </a:cxn>
              <a:cxn ang="0">
                <a:pos x="connsiteX48180" y="connsiteY48180"/>
              </a:cxn>
              <a:cxn ang="0">
                <a:pos x="connsiteX48181" y="connsiteY48181"/>
              </a:cxn>
              <a:cxn ang="0">
                <a:pos x="connsiteX48182" y="connsiteY48182"/>
              </a:cxn>
              <a:cxn ang="0">
                <a:pos x="connsiteX48183" y="connsiteY48183"/>
              </a:cxn>
              <a:cxn ang="0">
                <a:pos x="connsiteX48184" y="connsiteY48184"/>
              </a:cxn>
              <a:cxn ang="0">
                <a:pos x="connsiteX48185" y="connsiteY48185"/>
              </a:cxn>
              <a:cxn ang="0">
                <a:pos x="connsiteX48186" y="connsiteY48186"/>
              </a:cxn>
              <a:cxn ang="0">
                <a:pos x="connsiteX48187" y="connsiteY48187"/>
              </a:cxn>
              <a:cxn ang="0">
                <a:pos x="connsiteX48188" y="connsiteY48188"/>
              </a:cxn>
              <a:cxn ang="0">
                <a:pos x="connsiteX48189" y="connsiteY48189"/>
              </a:cxn>
              <a:cxn ang="0">
                <a:pos x="connsiteX48190" y="connsiteY48190"/>
              </a:cxn>
              <a:cxn ang="0">
                <a:pos x="connsiteX48191" y="connsiteY48191"/>
              </a:cxn>
              <a:cxn ang="0">
                <a:pos x="connsiteX48192" y="connsiteY48192"/>
              </a:cxn>
              <a:cxn ang="0">
                <a:pos x="connsiteX48193" y="connsiteY48193"/>
              </a:cxn>
              <a:cxn ang="0">
                <a:pos x="connsiteX48194" y="connsiteY48194"/>
              </a:cxn>
              <a:cxn ang="0">
                <a:pos x="connsiteX48195" y="connsiteY48195"/>
              </a:cxn>
              <a:cxn ang="0">
                <a:pos x="connsiteX48196" y="connsiteY48196"/>
              </a:cxn>
              <a:cxn ang="0">
                <a:pos x="connsiteX48197" y="connsiteY48197"/>
              </a:cxn>
              <a:cxn ang="0">
                <a:pos x="connsiteX48198" y="connsiteY48198"/>
              </a:cxn>
              <a:cxn ang="0">
                <a:pos x="connsiteX48199" y="connsiteY48199"/>
              </a:cxn>
              <a:cxn ang="0">
                <a:pos x="connsiteX48200" y="connsiteY48200"/>
              </a:cxn>
              <a:cxn ang="0">
                <a:pos x="connsiteX48201" y="connsiteY48201"/>
              </a:cxn>
              <a:cxn ang="0">
                <a:pos x="connsiteX48202" y="connsiteY48202"/>
              </a:cxn>
              <a:cxn ang="0">
                <a:pos x="connsiteX48203" y="connsiteY48203"/>
              </a:cxn>
              <a:cxn ang="0">
                <a:pos x="connsiteX48204" y="connsiteY48204"/>
              </a:cxn>
              <a:cxn ang="0">
                <a:pos x="connsiteX48205" y="connsiteY48205"/>
              </a:cxn>
              <a:cxn ang="0">
                <a:pos x="connsiteX48206" y="connsiteY48206"/>
              </a:cxn>
              <a:cxn ang="0">
                <a:pos x="connsiteX48207" y="connsiteY48207"/>
              </a:cxn>
              <a:cxn ang="0">
                <a:pos x="connsiteX48208" y="connsiteY48208"/>
              </a:cxn>
              <a:cxn ang="0">
                <a:pos x="connsiteX48209" y="connsiteY48209"/>
              </a:cxn>
              <a:cxn ang="0">
                <a:pos x="connsiteX48210" y="connsiteY48210"/>
              </a:cxn>
              <a:cxn ang="0">
                <a:pos x="connsiteX48211" y="connsiteY48211"/>
              </a:cxn>
              <a:cxn ang="0">
                <a:pos x="connsiteX48212" y="connsiteY48212"/>
              </a:cxn>
              <a:cxn ang="0">
                <a:pos x="connsiteX48213" y="connsiteY48213"/>
              </a:cxn>
              <a:cxn ang="0">
                <a:pos x="connsiteX48214" y="connsiteY48214"/>
              </a:cxn>
              <a:cxn ang="0">
                <a:pos x="connsiteX48215" y="connsiteY48215"/>
              </a:cxn>
              <a:cxn ang="0">
                <a:pos x="connsiteX48216" y="connsiteY48216"/>
              </a:cxn>
              <a:cxn ang="0">
                <a:pos x="connsiteX48217" y="connsiteY48217"/>
              </a:cxn>
              <a:cxn ang="0">
                <a:pos x="connsiteX48218" y="connsiteY48218"/>
              </a:cxn>
              <a:cxn ang="0">
                <a:pos x="connsiteX48219" y="connsiteY48219"/>
              </a:cxn>
              <a:cxn ang="0">
                <a:pos x="connsiteX48220" y="connsiteY48220"/>
              </a:cxn>
              <a:cxn ang="0">
                <a:pos x="connsiteX48221" y="connsiteY48221"/>
              </a:cxn>
              <a:cxn ang="0">
                <a:pos x="connsiteX48222" y="connsiteY48222"/>
              </a:cxn>
              <a:cxn ang="0">
                <a:pos x="connsiteX48223" y="connsiteY48223"/>
              </a:cxn>
              <a:cxn ang="0">
                <a:pos x="connsiteX48224" y="connsiteY48224"/>
              </a:cxn>
              <a:cxn ang="0">
                <a:pos x="connsiteX48225" y="connsiteY48225"/>
              </a:cxn>
              <a:cxn ang="0">
                <a:pos x="connsiteX48226" y="connsiteY48226"/>
              </a:cxn>
              <a:cxn ang="0">
                <a:pos x="connsiteX48227" y="connsiteY48227"/>
              </a:cxn>
              <a:cxn ang="0">
                <a:pos x="connsiteX48228" y="connsiteY48228"/>
              </a:cxn>
              <a:cxn ang="0">
                <a:pos x="connsiteX48229" y="connsiteY48229"/>
              </a:cxn>
              <a:cxn ang="0">
                <a:pos x="connsiteX48230" y="connsiteY48230"/>
              </a:cxn>
              <a:cxn ang="0">
                <a:pos x="connsiteX48231" y="connsiteY48231"/>
              </a:cxn>
              <a:cxn ang="0">
                <a:pos x="connsiteX48232" y="connsiteY48232"/>
              </a:cxn>
              <a:cxn ang="0">
                <a:pos x="connsiteX48233" y="connsiteY48233"/>
              </a:cxn>
              <a:cxn ang="0">
                <a:pos x="connsiteX48234" y="connsiteY48234"/>
              </a:cxn>
              <a:cxn ang="0">
                <a:pos x="connsiteX48235" y="connsiteY48235"/>
              </a:cxn>
              <a:cxn ang="0">
                <a:pos x="connsiteX48236" y="connsiteY48236"/>
              </a:cxn>
              <a:cxn ang="0">
                <a:pos x="connsiteX48237" y="connsiteY48237"/>
              </a:cxn>
              <a:cxn ang="0">
                <a:pos x="connsiteX48238" y="connsiteY48238"/>
              </a:cxn>
              <a:cxn ang="0">
                <a:pos x="connsiteX48239" y="connsiteY48239"/>
              </a:cxn>
              <a:cxn ang="0">
                <a:pos x="connsiteX48240" y="connsiteY48240"/>
              </a:cxn>
              <a:cxn ang="0">
                <a:pos x="connsiteX48241" y="connsiteY48241"/>
              </a:cxn>
              <a:cxn ang="0">
                <a:pos x="connsiteX48242" y="connsiteY48242"/>
              </a:cxn>
              <a:cxn ang="0">
                <a:pos x="connsiteX48243" y="connsiteY48243"/>
              </a:cxn>
              <a:cxn ang="0">
                <a:pos x="connsiteX48244" y="connsiteY48244"/>
              </a:cxn>
              <a:cxn ang="0">
                <a:pos x="connsiteX48245" y="connsiteY48245"/>
              </a:cxn>
              <a:cxn ang="0">
                <a:pos x="connsiteX48246" y="connsiteY48246"/>
              </a:cxn>
              <a:cxn ang="0">
                <a:pos x="connsiteX48247" y="connsiteY48247"/>
              </a:cxn>
              <a:cxn ang="0">
                <a:pos x="connsiteX48248" y="connsiteY48248"/>
              </a:cxn>
              <a:cxn ang="0">
                <a:pos x="connsiteX48249" y="connsiteY48249"/>
              </a:cxn>
              <a:cxn ang="0">
                <a:pos x="connsiteX48250" y="connsiteY48250"/>
              </a:cxn>
              <a:cxn ang="0">
                <a:pos x="connsiteX48251" y="connsiteY48251"/>
              </a:cxn>
              <a:cxn ang="0">
                <a:pos x="connsiteX48252" y="connsiteY48252"/>
              </a:cxn>
              <a:cxn ang="0">
                <a:pos x="connsiteX48253" y="connsiteY48253"/>
              </a:cxn>
              <a:cxn ang="0">
                <a:pos x="connsiteX48254" y="connsiteY48254"/>
              </a:cxn>
              <a:cxn ang="0">
                <a:pos x="connsiteX48255" y="connsiteY48255"/>
              </a:cxn>
              <a:cxn ang="0">
                <a:pos x="connsiteX48256" y="connsiteY48256"/>
              </a:cxn>
              <a:cxn ang="0">
                <a:pos x="connsiteX48257" y="connsiteY48257"/>
              </a:cxn>
              <a:cxn ang="0">
                <a:pos x="connsiteX48258" y="connsiteY48258"/>
              </a:cxn>
              <a:cxn ang="0">
                <a:pos x="connsiteX48259" y="connsiteY48259"/>
              </a:cxn>
              <a:cxn ang="0">
                <a:pos x="connsiteX48260" y="connsiteY48260"/>
              </a:cxn>
              <a:cxn ang="0">
                <a:pos x="connsiteX48261" y="connsiteY48261"/>
              </a:cxn>
              <a:cxn ang="0">
                <a:pos x="connsiteX48262" y="connsiteY48262"/>
              </a:cxn>
              <a:cxn ang="0">
                <a:pos x="connsiteX48263" y="connsiteY48263"/>
              </a:cxn>
              <a:cxn ang="0">
                <a:pos x="connsiteX48264" y="connsiteY48264"/>
              </a:cxn>
              <a:cxn ang="0">
                <a:pos x="connsiteX48265" y="connsiteY48265"/>
              </a:cxn>
              <a:cxn ang="0">
                <a:pos x="connsiteX48266" y="connsiteY48266"/>
              </a:cxn>
              <a:cxn ang="0">
                <a:pos x="connsiteX48267" y="connsiteY48267"/>
              </a:cxn>
              <a:cxn ang="0">
                <a:pos x="connsiteX48268" y="connsiteY48268"/>
              </a:cxn>
              <a:cxn ang="0">
                <a:pos x="connsiteX48269" y="connsiteY48269"/>
              </a:cxn>
              <a:cxn ang="0">
                <a:pos x="connsiteX48270" y="connsiteY48270"/>
              </a:cxn>
              <a:cxn ang="0">
                <a:pos x="connsiteX48271" y="connsiteY48271"/>
              </a:cxn>
              <a:cxn ang="0">
                <a:pos x="connsiteX48272" y="connsiteY48272"/>
              </a:cxn>
              <a:cxn ang="0">
                <a:pos x="connsiteX48273" y="connsiteY48273"/>
              </a:cxn>
              <a:cxn ang="0">
                <a:pos x="connsiteX48274" y="connsiteY48274"/>
              </a:cxn>
              <a:cxn ang="0">
                <a:pos x="connsiteX48275" y="connsiteY48275"/>
              </a:cxn>
              <a:cxn ang="0">
                <a:pos x="connsiteX48276" y="connsiteY48276"/>
              </a:cxn>
              <a:cxn ang="0">
                <a:pos x="connsiteX48277" y="connsiteY48277"/>
              </a:cxn>
              <a:cxn ang="0">
                <a:pos x="connsiteX48278" y="connsiteY48278"/>
              </a:cxn>
              <a:cxn ang="0">
                <a:pos x="connsiteX48279" y="connsiteY48279"/>
              </a:cxn>
              <a:cxn ang="0">
                <a:pos x="connsiteX48280" y="connsiteY48280"/>
              </a:cxn>
              <a:cxn ang="0">
                <a:pos x="connsiteX48281" y="connsiteY48281"/>
              </a:cxn>
              <a:cxn ang="0">
                <a:pos x="connsiteX48282" y="connsiteY48282"/>
              </a:cxn>
              <a:cxn ang="0">
                <a:pos x="connsiteX48283" y="connsiteY48283"/>
              </a:cxn>
              <a:cxn ang="0">
                <a:pos x="connsiteX48284" y="connsiteY48284"/>
              </a:cxn>
              <a:cxn ang="0">
                <a:pos x="connsiteX48285" y="connsiteY48285"/>
              </a:cxn>
              <a:cxn ang="0">
                <a:pos x="connsiteX48286" y="connsiteY48286"/>
              </a:cxn>
              <a:cxn ang="0">
                <a:pos x="connsiteX48287" y="connsiteY48287"/>
              </a:cxn>
              <a:cxn ang="0">
                <a:pos x="connsiteX48288" y="connsiteY48288"/>
              </a:cxn>
              <a:cxn ang="0">
                <a:pos x="connsiteX48289" y="connsiteY48289"/>
              </a:cxn>
              <a:cxn ang="0">
                <a:pos x="connsiteX48290" y="connsiteY48290"/>
              </a:cxn>
              <a:cxn ang="0">
                <a:pos x="connsiteX48291" y="connsiteY48291"/>
              </a:cxn>
              <a:cxn ang="0">
                <a:pos x="connsiteX48292" y="connsiteY48292"/>
              </a:cxn>
              <a:cxn ang="0">
                <a:pos x="connsiteX48293" y="connsiteY48293"/>
              </a:cxn>
              <a:cxn ang="0">
                <a:pos x="connsiteX48294" y="connsiteY48294"/>
              </a:cxn>
              <a:cxn ang="0">
                <a:pos x="connsiteX48295" y="connsiteY48295"/>
              </a:cxn>
              <a:cxn ang="0">
                <a:pos x="connsiteX48296" y="connsiteY48296"/>
              </a:cxn>
              <a:cxn ang="0">
                <a:pos x="connsiteX48297" y="connsiteY48297"/>
              </a:cxn>
              <a:cxn ang="0">
                <a:pos x="connsiteX48298" y="connsiteY48298"/>
              </a:cxn>
              <a:cxn ang="0">
                <a:pos x="connsiteX48299" y="connsiteY48299"/>
              </a:cxn>
              <a:cxn ang="0">
                <a:pos x="connsiteX48300" y="connsiteY48300"/>
              </a:cxn>
              <a:cxn ang="0">
                <a:pos x="connsiteX48301" y="connsiteY48301"/>
              </a:cxn>
              <a:cxn ang="0">
                <a:pos x="connsiteX48302" y="connsiteY48302"/>
              </a:cxn>
              <a:cxn ang="0">
                <a:pos x="connsiteX48303" y="connsiteY48303"/>
              </a:cxn>
              <a:cxn ang="0">
                <a:pos x="connsiteX48304" y="connsiteY48304"/>
              </a:cxn>
              <a:cxn ang="0">
                <a:pos x="connsiteX48305" y="connsiteY48305"/>
              </a:cxn>
              <a:cxn ang="0">
                <a:pos x="connsiteX48306" y="connsiteY48306"/>
              </a:cxn>
              <a:cxn ang="0">
                <a:pos x="connsiteX48307" y="connsiteY48307"/>
              </a:cxn>
              <a:cxn ang="0">
                <a:pos x="connsiteX48308" y="connsiteY48308"/>
              </a:cxn>
              <a:cxn ang="0">
                <a:pos x="connsiteX48309" y="connsiteY48309"/>
              </a:cxn>
              <a:cxn ang="0">
                <a:pos x="connsiteX48310" y="connsiteY48310"/>
              </a:cxn>
              <a:cxn ang="0">
                <a:pos x="connsiteX48311" y="connsiteY48311"/>
              </a:cxn>
              <a:cxn ang="0">
                <a:pos x="connsiteX48312" y="connsiteY48312"/>
              </a:cxn>
              <a:cxn ang="0">
                <a:pos x="connsiteX48313" y="connsiteY48313"/>
              </a:cxn>
              <a:cxn ang="0">
                <a:pos x="connsiteX48314" y="connsiteY48314"/>
              </a:cxn>
              <a:cxn ang="0">
                <a:pos x="connsiteX48315" y="connsiteY48315"/>
              </a:cxn>
              <a:cxn ang="0">
                <a:pos x="connsiteX48316" y="connsiteY48316"/>
              </a:cxn>
              <a:cxn ang="0">
                <a:pos x="connsiteX48317" y="connsiteY48317"/>
              </a:cxn>
              <a:cxn ang="0">
                <a:pos x="connsiteX48318" y="connsiteY48318"/>
              </a:cxn>
              <a:cxn ang="0">
                <a:pos x="connsiteX48319" y="connsiteY48319"/>
              </a:cxn>
              <a:cxn ang="0">
                <a:pos x="connsiteX48320" y="connsiteY48320"/>
              </a:cxn>
              <a:cxn ang="0">
                <a:pos x="connsiteX48321" y="connsiteY48321"/>
              </a:cxn>
              <a:cxn ang="0">
                <a:pos x="connsiteX48322" y="connsiteY48322"/>
              </a:cxn>
              <a:cxn ang="0">
                <a:pos x="connsiteX48323" y="connsiteY48323"/>
              </a:cxn>
              <a:cxn ang="0">
                <a:pos x="connsiteX48324" y="connsiteY48324"/>
              </a:cxn>
              <a:cxn ang="0">
                <a:pos x="connsiteX48325" y="connsiteY48325"/>
              </a:cxn>
              <a:cxn ang="0">
                <a:pos x="connsiteX48326" y="connsiteY48326"/>
              </a:cxn>
              <a:cxn ang="0">
                <a:pos x="connsiteX48327" y="connsiteY48327"/>
              </a:cxn>
              <a:cxn ang="0">
                <a:pos x="connsiteX48328" y="connsiteY48328"/>
              </a:cxn>
              <a:cxn ang="0">
                <a:pos x="connsiteX48329" y="connsiteY48329"/>
              </a:cxn>
              <a:cxn ang="0">
                <a:pos x="connsiteX48330" y="connsiteY48330"/>
              </a:cxn>
              <a:cxn ang="0">
                <a:pos x="connsiteX48331" y="connsiteY48331"/>
              </a:cxn>
              <a:cxn ang="0">
                <a:pos x="connsiteX48332" y="connsiteY48332"/>
              </a:cxn>
              <a:cxn ang="0">
                <a:pos x="connsiteX48333" y="connsiteY48333"/>
              </a:cxn>
              <a:cxn ang="0">
                <a:pos x="connsiteX48334" y="connsiteY48334"/>
              </a:cxn>
              <a:cxn ang="0">
                <a:pos x="connsiteX48335" y="connsiteY48335"/>
              </a:cxn>
              <a:cxn ang="0">
                <a:pos x="connsiteX48336" y="connsiteY48336"/>
              </a:cxn>
              <a:cxn ang="0">
                <a:pos x="connsiteX48337" y="connsiteY48337"/>
              </a:cxn>
              <a:cxn ang="0">
                <a:pos x="connsiteX48338" y="connsiteY48338"/>
              </a:cxn>
              <a:cxn ang="0">
                <a:pos x="connsiteX48339" y="connsiteY48339"/>
              </a:cxn>
              <a:cxn ang="0">
                <a:pos x="connsiteX48340" y="connsiteY48340"/>
              </a:cxn>
              <a:cxn ang="0">
                <a:pos x="connsiteX48341" y="connsiteY48341"/>
              </a:cxn>
              <a:cxn ang="0">
                <a:pos x="connsiteX48342" y="connsiteY48342"/>
              </a:cxn>
              <a:cxn ang="0">
                <a:pos x="connsiteX48343" y="connsiteY48343"/>
              </a:cxn>
              <a:cxn ang="0">
                <a:pos x="connsiteX48344" y="connsiteY48344"/>
              </a:cxn>
              <a:cxn ang="0">
                <a:pos x="connsiteX48345" y="connsiteY48345"/>
              </a:cxn>
              <a:cxn ang="0">
                <a:pos x="connsiteX48346" y="connsiteY48346"/>
              </a:cxn>
              <a:cxn ang="0">
                <a:pos x="connsiteX48347" y="connsiteY48347"/>
              </a:cxn>
              <a:cxn ang="0">
                <a:pos x="connsiteX48348" y="connsiteY48348"/>
              </a:cxn>
              <a:cxn ang="0">
                <a:pos x="connsiteX48349" y="connsiteY48349"/>
              </a:cxn>
              <a:cxn ang="0">
                <a:pos x="connsiteX48350" y="connsiteY48350"/>
              </a:cxn>
              <a:cxn ang="0">
                <a:pos x="connsiteX48351" y="connsiteY48351"/>
              </a:cxn>
              <a:cxn ang="0">
                <a:pos x="connsiteX48352" y="connsiteY48352"/>
              </a:cxn>
              <a:cxn ang="0">
                <a:pos x="connsiteX48353" y="connsiteY48353"/>
              </a:cxn>
              <a:cxn ang="0">
                <a:pos x="connsiteX48354" y="connsiteY48354"/>
              </a:cxn>
              <a:cxn ang="0">
                <a:pos x="connsiteX48355" y="connsiteY48355"/>
              </a:cxn>
              <a:cxn ang="0">
                <a:pos x="connsiteX48356" y="connsiteY48356"/>
              </a:cxn>
              <a:cxn ang="0">
                <a:pos x="connsiteX48357" y="connsiteY48357"/>
              </a:cxn>
              <a:cxn ang="0">
                <a:pos x="connsiteX48358" y="connsiteY48358"/>
              </a:cxn>
              <a:cxn ang="0">
                <a:pos x="connsiteX48359" y="connsiteY48359"/>
              </a:cxn>
              <a:cxn ang="0">
                <a:pos x="connsiteX48360" y="connsiteY48360"/>
              </a:cxn>
              <a:cxn ang="0">
                <a:pos x="connsiteX48361" y="connsiteY48361"/>
              </a:cxn>
              <a:cxn ang="0">
                <a:pos x="connsiteX48362" y="connsiteY48362"/>
              </a:cxn>
              <a:cxn ang="0">
                <a:pos x="connsiteX48363" y="connsiteY48363"/>
              </a:cxn>
              <a:cxn ang="0">
                <a:pos x="connsiteX48364" y="connsiteY48364"/>
              </a:cxn>
              <a:cxn ang="0">
                <a:pos x="connsiteX48365" y="connsiteY48365"/>
              </a:cxn>
              <a:cxn ang="0">
                <a:pos x="connsiteX48366" y="connsiteY48366"/>
              </a:cxn>
              <a:cxn ang="0">
                <a:pos x="connsiteX48367" y="connsiteY48367"/>
              </a:cxn>
              <a:cxn ang="0">
                <a:pos x="connsiteX48368" y="connsiteY48368"/>
              </a:cxn>
              <a:cxn ang="0">
                <a:pos x="connsiteX48369" y="connsiteY48369"/>
              </a:cxn>
              <a:cxn ang="0">
                <a:pos x="connsiteX48370" y="connsiteY48370"/>
              </a:cxn>
              <a:cxn ang="0">
                <a:pos x="connsiteX48371" y="connsiteY48371"/>
              </a:cxn>
              <a:cxn ang="0">
                <a:pos x="connsiteX48372" y="connsiteY48372"/>
              </a:cxn>
              <a:cxn ang="0">
                <a:pos x="connsiteX48373" y="connsiteY48373"/>
              </a:cxn>
              <a:cxn ang="0">
                <a:pos x="connsiteX48374" y="connsiteY48374"/>
              </a:cxn>
              <a:cxn ang="0">
                <a:pos x="connsiteX48375" y="connsiteY48375"/>
              </a:cxn>
              <a:cxn ang="0">
                <a:pos x="connsiteX48376" y="connsiteY48376"/>
              </a:cxn>
              <a:cxn ang="0">
                <a:pos x="connsiteX48377" y="connsiteY48377"/>
              </a:cxn>
              <a:cxn ang="0">
                <a:pos x="connsiteX48378" y="connsiteY48378"/>
              </a:cxn>
              <a:cxn ang="0">
                <a:pos x="connsiteX48379" y="connsiteY48379"/>
              </a:cxn>
              <a:cxn ang="0">
                <a:pos x="connsiteX48380" y="connsiteY48380"/>
              </a:cxn>
              <a:cxn ang="0">
                <a:pos x="connsiteX48381" y="connsiteY48381"/>
              </a:cxn>
              <a:cxn ang="0">
                <a:pos x="connsiteX48382" y="connsiteY48382"/>
              </a:cxn>
              <a:cxn ang="0">
                <a:pos x="connsiteX48383" y="connsiteY48383"/>
              </a:cxn>
              <a:cxn ang="0">
                <a:pos x="connsiteX48384" y="connsiteY48384"/>
              </a:cxn>
              <a:cxn ang="0">
                <a:pos x="connsiteX48385" y="connsiteY48385"/>
              </a:cxn>
              <a:cxn ang="0">
                <a:pos x="connsiteX48386" y="connsiteY48386"/>
              </a:cxn>
              <a:cxn ang="0">
                <a:pos x="connsiteX48387" y="connsiteY48387"/>
              </a:cxn>
              <a:cxn ang="0">
                <a:pos x="connsiteX48388" y="connsiteY48388"/>
              </a:cxn>
              <a:cxn ang="0">
                <a:pos x="connsiteX48389" y="connsiteY48389"/>
              </a:cxn>
              <a:cxn ang="0">
                <a:pos x="connsiteX48390" y="connsiteY48390"/>
              </a:cxn>
              <a:cxn ang="0">
                <a:pos x="connsiteX48391" y="connsiteY48391"/>
              </a:cxn>
              <a:cxn ang="0">
                <a:pos x="connsiteX48392" y="connsiteY48392"/>
              </a:cxn>
              <a:cxn ang="0">
                <a:pos x="connsiteX48393" y="connsiteY48393"/>
              </a:cxn>
              <a:cxn ang="0">
                <a:pos x="connsiteX48394" y="connsiteY48394"/>
              </a:cxn>
              <a:cxn ang="0">
                <a:pos x="connsiteX48395" y="connsiteY48395"/>
              </a:cxn>
              <a:cxn ang="0">
                <a:pos x="connsiteX48396" y="connsiteY48396"/>
              </a:cxn>
              <a:cxn ang="0">
                <a:pos x="connsiteX48397" y="connsiteY48397"/>
              </a:cxn>
              <a:cxn ang="0">
                <a:pos x="connsiteX48398" y="connsiteY48398"/>
              </a:cxn>
              <a:cxn ang="0">
                <a:pos x="connsiteX48399" y="connsiteY48399"/>
              </a:cxn>
              <a:cxn ang="0">
                <a:pos x="connsiteX48400" y="connsiteY48400"/>
              </a:cxn>
              <a:cxn ang="0">
                <a:pos x="connsiteX48401" y="connsiteY48401"/>
              </a:cxn>
              <a:cxn ang="0">
                <a:pos x="connsiteX48402" y="connsiteY48402"/>
              </a:cxn>
              <a:cxn ang="0">
                <a:pos x="connsiteX48403" y="connsiteY48403"/>
              </a:cxn>
              <a:cxn ang="0">
                <a:pos x="connsiteX48404" y="connsiteY48404"/>
              </a:cxn>
              <a:cxn ang="0">
                <a:pos x="connsiteX48405" y="connsiteY48405"/>
              </a:cxn>
              <a:cxn ang="0">
                <a:pos x="connsiteX48406" y="connsiteY48406"/>
              </a:cxn>
              <a:cxn ang="0">
                <a:pos x="connsiteX48407" y="connsiteY48407"/>
              </a:cxn>
              <a:cxn ang="0">
                <a:pos x="connsiteX48408" y="connsiteY48408"/>
              </a:cxn>
              <a:cxn ang="0">
                <a:pos x="connsiteX48409" y="connsiteY48409"/>
              </a:cxn>
              <a:cxn ang="0">
                <a:pos x="connsiteX48410" y="connsiteY48410"/>
              </a:cxn>
              <a:cxn ang="0">
                <a:pos x="connsiteX48411" y="connsiteY48411"/>
              </a:cxn>
              <a:cxn ang="0">
                <a:pos x="connsiteX48412" y="connsiteY48412"/>
              </a:cxn>
              <a:cxn ang="0">
                <a:pos x="connsiteX48413" y="connsiteY48413"/>
              </a:cxn>
              <a:cxn ang="0">
                <a:pos x="connsiteX48414" y="connsiteY48414"/>
              </a:cxn>
              <a:cxn ang="0">
                <a:pos x="connsiteX48415" y="connsiteY48415"/>
              </a:cxn>
              <a:cxn ang="0">
                <a:pos x="connsiteX48416" y="connsiteY48416"/>
              </a:cxn>
              <a:cxn ang="0">
                <a:pos x="connsiteX48417" y="connsiteY48417"/>
              </a:cxn>
              <a:cxn ang="0">
                <a:pos x="connsiteX48418" y="connsiteY48418"/>
              </a:cxn>
              <a:cxn ang="0">
                <a:pos x="connsiteX48419" y="connsiteY48419"/>
              </a:cxn>
              <a:cxn ang="0">
                <a:pos x="connsiteX48420" y="connsiteY48420"/>
              </a:cxn>
              <a:cxn ang="0">
                <a:pos x="connsiteX48421" y="connsiteY48421"/>
              </a:cxn>
              <a:cxn ang="0">
                <a:pos x="connsiteX48422" y="connsiteY48422"/>
              </a:cxn>
              <a:cxn ang="0">
                <a:pos x="connsiteX48423" y="connsiteY48423"/>
              </a:cxn>
              <a:cxn ang="0">
                <a:pos x="connsiteX48424" y="connsiteY48424"/>
              </a:cxn>
              <a:cxn ang="0">
                <a:pos x="connsiteX48425" y="connsiteY48425"/>
              </a:cxn>
              <a:cxn ang="0">
                <a:pos x="connsiteX48426" y="connsiteY48426"/>
              </a:cxn>
              <a:cxn ang="0">
                <a:pos x="connsiteX48427" y="connsiteY48427"/>
              </a:cxn>
              <a:cxn ang="0">
                <a:pos x="connsiteX48428" y="connsiteY48428"/>
              </a:cxn>
              <a:cxn ang="0">
                <a:pos x="connsiteX48429" y="connsiteY48429"/>
              </a:cxn>
              <a:cxn ang="0">
                <a:pos x="connsiteX48430" y="connsiteY48430"/>
              </a:cxn>
              <a:cxn ang="0">
                <a:pos x="connsiteX48431" y="connsiteY48431"/>
              </a:cxn>
              <a:cxn ang="0">
                <a:pos x="connsiteX48432" y="connsiteY48432"/>
              </a:cxn>
              <a:cxn ang="0">
                <a:pos x="connsiteX48433" y="connsiteY48433"/>
              </a:cxn>
              <a:cxn ang="0">
                <a:pos x="connsiteX48434" y="connsiteY48434"/>
              </a:cxn>
              <a:cxn ang="0">
                <a:pos x="connsiteX48435" y="connsiteY48435"/>
              </a:cxn>
              <a:cxn ang="0">
                <a:pos x="connsiteX48436" y="connsiteY48436"/>
              </a:cxn>
              <a:cxn ang="0">
                <a:pos x="connsiteX48437" y="connsiteY48437"/>
              </a:cxn>
              <a:cxn ang="0">
                <a:pos x="connsiteX48438" y="connsiteY48438"/>
              </a:cxn>
              <a:cxn ang="0">
                <a:pos x="connsiteX48439" y="connsiteY48439"/>
              </a:cxn>
              <a:cxn ang="0">
                <a:pos x="connsiteX48440" y="connsiteY48440"/>
              </a:cxn>
              <a:cxn ang="0">
                <a:pos x="connsiteX48441" y="connsiteY48441"/>
              </a:cxn>
              <a:cxn ang="0">
                <a:pos x="connsiteX48442" y="connsiteY48442"/>
              </a:cxn>
              <a:cxn ang="0">
                <a:pos x="connsiteX48443" y="connsiteY48443"/>
              </a:cxn>
              <a:cxn ang="0">
                <a:pos x="connsiteX48444" y="connsiteY48444"/>
              </a:cxn>
              <a:cxn ang="0">
                <a:pos x="connsiteX48445" y="connsiteY48445"/>
              </a:cxn>
              <a:cxn ang="0">
                <a:pos x="connsiteX48446" y="connsiteY48446"/>
              </a:cxn>
              <a:cxn ang="0">
                <a:pos x="connsiteX48447" y="connsiteY48447"/>
              </a:cxn>
              <a:cxn ang="0">
                <a:pos x="connsiteX48448" y="connsiteY48448"/>
              </a:cxn>
              <a:cxn ang="0">
                <a:pos x="connsiteX48449" y="connsiteY48449"/>
              </a:cxn>
              <a:cxn ang="0">
                <a:pos x="connsiteX48450" y="connsiteY48450"/>
              </a:cxn>
              <a:cxn ang="0">
                <a:pos x="connsiteX48451" y="connsiteY48451"/>
              </a:cxn>
              <a:cxn ang="0">
                <a:pos x="connsiteX48452" y="connsiteY48452"/>
              </a:cxn>
              <a:cxn ang="0">
                <a:pos x="connsiteX48453" y="connsiteY48453"/>
              </a:cxn>
              <a:cxn ang="0">
                <a:pos x="connsiteX48454" y="connsiteY48454"/>
              </a:cxn>
              <a:cxn ang="0">
                <a:pos x="connsiteX48455" y="connsiteY48455"/>
              </a:cxn>
              <a:cxn ang="0">
                <a:pos x="connsiteX48456" y="connsiteY48456"/>
              </a:cxn>
              <a:cxn ang="0">
                <a:pos x="connsiteX48457" y="connsiteY48457"/>
              </a:cxn>
              <a:cxn ang="0">
                <a:pos x="connsiteX48458" y="connsiteY48458"/>
              </a:cxn>
              <a:cxn ang="0">
                <a:pos x="connsiteX48459" y="connsiteY48459"/>
              </a:cxn>
              <a:cxn ang="0">
                <a:pos x="connsiteX48460" y="connsiteY48460"/>
              </a:cxn>
              <a:cxn ang="0">
                <a:pos x="connsiteX48461" y="connsiteY48461"/>
              </a:cxn>
              <a:cxn ang="0">
                <a:pos x="connsiteX48462" y="connsiteY48462"/>
              </a:cxn>
              <a:cxn ang="0">
                <a:pos x="connsiteX48463" y="connsiteY48463"/>
              </a:cxn>
              <a:cxn ang="0">
                <a:pos x="connsiteX48464" y="connsiteY48464"/>
              </a:cxn>
              <a:cxn ang="0">
                <a:pos x="connsiteX48465" y="connsiteY48465"/>
              </a:cxn>
              <a:cxn ang="0">
                <a:pos x="connsiteX48466" y="connsiteY48466"/>
              </a:cxn>
              <a:cxn ang="0">
                <a:pos x="connsiteX48467" y="connsiteY48467"/>
              </a:cxn>
              <a:cxn ang="0">
                <a:pos x="connsiteX48468" y="connsiteY48468"/>
              </a:cxn>
              <a:cxn ang="0">
                <a:pos x="connsiteX48469" y="connsiteY48469"/>
              </a:cxn>
              <a:cxn ang="0">
                <a:pos x="connsiteX48470" y="connsiteY48470"/>
              </a:cxn>
              <a:cxn ang="0">
                <a:pos x="connsiteX48471" y="connsiteY48471"/>
              </a:cxn>
              <a:cxn ang="0">
                <a:pos x="connsiteX48472" y="connsiteY48472"/>
              </a:cxn>
              <a:cxn ang="0">
                <a:pos x="connsiteX48473" y="connsiteY48473"/>
              </a:cxn>
              <a:cxn ang="0">
                <a:pos x="connsiteX48474" y="connsiteY48474"/>
              </a:cxn>
              <a:cxn ang="0">
                <a:pos x="connsiteX48475" y="connsiteY48475"/>
              </a:cxn>
              <a:cxn ang="0">
                <a:pos x="connsiteX48476" y="connsiteY48476"/>
              </a:cxn>
              <a:cxn ang="0">
                <a:pos x="connsiteX48477" y="connsiteY48477"/>
              </a:cxn>
              <a:cxn ang="0">
                <a:pos x="connsiteX48478" y="connsiteY48478"/>
              </a:cxn>
              <a:cxn ang="0">
                <a:pos x="connsiteX48479" y="connsiteY48479"/>
              </a:cxn>
              <a:cxn ang="0">
                <a:pos x="connsiteX48480" y="connsiteY48480"/>
              </a:cxn>
              <a:cxn ang="0">
                <a:pos x="connsiteX48481" y="connsiteY48481"/>
              </a:cxn>
              <a:cxn ang="0">
                <a:pos x="connsiteX48482" y="connsiteY48482"/>
              </a:cxn>
              <a:cxn ang="0">
                <a:pos x="connsiteX48483" y="connsiteY48483"/>
              </a:cxn>
              <a:cxn ang="0">
                <a:pos x="connsiteX48484" y="connsiteY48484"/>
              </a:cxn>
              <a:cxn ang="0">
                <a:pos x="connsiteX48485" y="connsiteY48485"/>
              </a:cxn>
              <a:cxn ang="0">
                <a:pos x="connsiteX48486" y="connsiteY48486"/>
              </a:cxn>
              <a:cxn ang="0">
                <a:pos x="connsiteX48487" y="connsiteY48487"/>
              </a:cxn>
              <a:cxn ang="0">
                <a:pos x="connsiteX48488" y="connsiteY48488"/>
              </a:cxn>
              <a:cxn ang="0">
                <a:pos x="connsiteX48489" y="connsiteY48489"/>
              </a:cxn>
              <a:cxn ang="0">
                <a:pos x="connsiteX48490" y="connsiteY48490"/>
              </a:cxn>
              <a:cxn ang="0">
                <a:pos x="connsiteX48491" y="connsiteY48491"/>
              </a:cxn>
              <a:cxn ang="0">
                <a:pos x="connsiteX48492" y="connsiteY48492"/>
              </a:cxn>
              <a:cxn ang="0">
                <a:pos x="connsiteX48493" y="connsiteY48493"/>
              </a:cxn>
              <a:cxn ang="0">
                <a:pos x="connsiteX48494" y="connsiteY48494"/>
              </a:cxn>
              <a:cxn ang="0">
                <a:pos x="connsiteX48495" y="connsiteY48495"/>
              </a:cxn>
              <a:cxn ang="0">
                <a:pos x="connsiteX48496" y="connsiteY48496"/>
              </a:cxn>
              <a:cxn ang="0">
                <a:pos x="connsiteX48497" y="connsiteY48497"/>
              </a:cxn>
              <a:cxn ang="0">
                <a:pos x="connsiteX48498" y="connsiteY48498"/>
              </a:cxn>
              <a:cxn ang="0">
                <a:pos x="connsiteX48499" y="connsiteY48499"/>
              </a:cxn>
              <a:cxn ang="0">
                <a:pos x="connsiteX48500" y="connsiteY48500"/>
              </a:cxn>
              <a:cxn ang="0">
                <a:pos x="connsiteX48501" y="connsiteY48501"/>
              </a:cxn>
              <a:cxn ang="0">
                <a:pos x="connsiteX48502" y="connsiteY48502"/>
              </a:cxn>
              <a:cxn ang="0">
                <a:pos x="connsiteX48503" y="connsiteY48503"/>
              </a:cxn>
              <a:cxn ang="0">
                <a:pos x="connsiteX48504" y="connsiteY48504"/>
              </a:cxn>
              <a:cxn ang="0">
                <a:pos x="connsiteX48505" y="connsiteY48505"/>
              </a:cxn>
              <a:cxn ang="0">
                <a:pos x="connsiteX48506" y="connsiteY48506"/>
              </a:cxn>
              <a:cxn ang="0">
                <a:pos x="connsiteX48507" y="connsiteY48507"/>
              </a:cxn>
              <a:cxn ang="0">
                <a:pos x="connsiteX48508" y="connsiteY48508"/>
              </a:cxn>
              <a:cxn ang="0">
                <a:pos x="connsiteX48509" y="connsiteY48509"/>
              </a:cxn>
              <a:cxn ang="0">
                <a:pos x="connsiteX48510" y="connsiteY48510"/>
              </a:cxn>
              <a:cxn ang="0">
                <a:pos x="connsiteX48511" y="connsiteY48511"/>
              </a:cxn>
              <a:cxn ang="0">
                <a:pos x="connsiteX48512" y="connsiteY48512"/>
              </a:cxn>
              <a:cxn ang="0">
                <a:pos x="connsiteX48513" y="connsiteY48513"/>
              </a:cxn>
              <a:cxn ang="0">
                <a:pos x="connsiteX48514" y="connsiteY48514"/>
              </a:cxn>
              <a:cxn ang="0">
                <a:pos x="connsiteX48515" y="connsiteY48515"/>
              </a:cxn>
              <a:cxn ang="0">
                <a:pos x="connsiteX48516" y="connsiteY48516"/>
              </a:cxn>
              <a:cxn ang="0">
                <a:pos x="connsiteX48517" y="connsiteY48517"/>
              </a:cxn>
              <a:cxn ang="0">
                <a:pos x="connsiteX48518" y="connsiteY48518"/>
              </a:cxn>
              <a:cxn ang="0">
                <a:pos x="connsiteX48519" y="connsiteY48519"/>
              </a:cxn>
              <a:cxn ang="0">
                <a:pos x="connsiteX48520" y="connsiteY48520"/>
              </a:cxn>
              <a:cxn ang="0">
                <a:pos x="connsiteX48521" y="connsiteY48521"/>
              </a:cxn>
              <a:cxn ang="0">
                <a:pos x="connsiteX48522" y="connsiteY48522"/>
              </a:cxn>
              <a:cxn ang="0">
                <a:pos x="connsiteX48523" y="connsiteY48523"/>
              </a:cxn>
              <a:cxn ang="0">
                <a:pos x="connsiteX48524" y="connsiteY48524"/>
              </a:cxn>
              <a:cxn ang="0">
                <a:pos x="connsiteX48525" y="connsiteY48525"/>
              </a:cxn>
              <a:cxn ang="0">
                <a:pos x="connsiteX48526" y="connsiteY48526"/>
              </a:cxn>
              <a:cxn ang="0">
                <a:pos x="connsiteX48527" y="connsiteY48527"/>
              </a:cxn>
              <a:cxn ang="0">
                <a:pos x="connsiteX48528" y="connsiteY48528"/>
              </a:cxn>
              <a:cxn ang="0">
                <a:pos x="connsiteX48529" y="connsiteY48529"/>
              </a:cxn>
              <a:cxn ang="0">
                <a:pos x="connsiteX48530" y="connsiteY48530"/>
              </a:cxn>
              <a:cxn ang="0">
                <a:pos x="connsiteX48531" y="connsiteY48531"/>
              </a:cxn>
              <a:cxn ang="0">
                <a:pos x="connsiteX48532" y="connsiteY48532"/>
              </a:cxn>
              <a:cxn ang="0">
                <a:pos x="connsiteX48533" y="connsiteY48533"/>
              </a:cxn>
              <a:cxn ang="0">
                <a:pos x="connsiteX48534" y="connsiteY48534"/>
              </a:cxn>
              <a:cxn ang="0">
                <a:pos x="connsiteX48535" y="connsiteY48535"/>
              </a:cxn>
              <a:cxn ang="0">
                <a:pos x="connsiteX48536" y="connsiteY48536"/>
              </a:cxn>
              <a:cxn ang="0">
                <a:pos x="connsiteX48537" y="connsiteY48537"/>
              </a:cxn>
              <a:cxn ang="0">
                <a:pos x="connsiteX48538" y="connsiteY48538"/>
              </a:cxn>
              <a:cxn ang="0">
                <a:pos x="connsiteX48539" y="connsiteY48539"/>
              </a:cxn>
              <a:cxn ang="0">
                <a:pos x="connsiteX48540" y="connsiteY48540"/>
              </a:cxn>
              <a:cxn ang="0">
                <a:pos x="connsiteX48541" y="connsiteY48541"/>
              </a:cxn>
              <a:cxn ang="0">
                <a:pos x="connsiteX48542" y="connsiteY48542"/>
              </a:cxn>
              <a:cxn ang="0">
                <a:pos x="connsiteX48543" y="connsiteY48543"/>
              </a:cxn>
              <a:cxn ang="0">
                <a:pos x="connsiteX48544" y="connsiteY48544"/>
              </a:cxn>
              <a:cxn ang="0">
                <a:pos x="connsiteX48545" y="connsiteY48545"/>
              </a:cxn>
              <a:cxn ang="0">
                <a:pos x="connsiteX48546" y="connsiteY48546"/>
              </a:cxn>
              <a:cxn ang="0">
                <a:pos x="connsiteX48547" y="connsiteY48547"/>
              </a:cxn>
              <a:cxn ang="0">
                <a:pos x="connsiteX48548" y="connsiteY48548"/>
              </a:cxn>
              <a:cxn ang="0">
                <a:pos x="connsiteX48549" y="connsiteY48549"/>
              </a:cxn>
              <a:cxn ang="0">
                <a:pos x="connsiteX48550" y="connsiteY48550"/>
              </a:cxn>
              <a:cxn ang="0">
                <a:pos x="connsiteX48551" y="connsiteY48551"/>
              </a:cxn>
              <a:cxn ang="0">
                <a:pos x="connsiteX48552" y="connsiteY48552"/>
              </a:cxn>
              <a:cxn ang="0">
                <a:pos x="connsiteX48553" y="connsiteY48553"/>
              </a:cxn>
              <a:cxn ang="0">
                <a:pos x="connsiteX48554" y="connsiteY48554"/>
              </a:cxn>
              <a:cxn ang="0">
                <a:pos x="connsiteX48555" y="connsiteY48555"/>
              </a:cxn>
              <a:cxn ang="0">
                <a:pos x="connsiteX48556" y="connsiteY48556"/>
              </a:cxn>
              <a:cxn ang="0">
                <a:pos x="connsiteX48557" y="connsiteY48557"/>
              </a:cxn>
              <a:cxn ang="0">
                <a:pos x="connsiteX48558" y="connsiteY48558"/>
              </a:cxn>
              <a:cxn ang="0">
                <a:pos x="connsiteX48559" y="connsiteY48559"/>
              </a:cxn>
              <a:cxn ang="0">
                <a:pos x="connsiteX48560" y="connsiteY48560"/>
              </a:cxn>
              <a:cxn ang="0">
                <a:pos x="connsiteX48561" y="connsiteY48561"/>
              </a:cxn>
              <a:cxn ang="0">
                <a:pos x="connsiteX48562" y="connsiteY48562"/>
              </a:cxn>
              <a:cxn ang="0">
                <a:pos x="connsiteX48563" y="connsiteY48563"/>
              </a:cxn>
              <a:cxn ang="0">
                <a:pos x="connsiteX48564" y="connsiteY48564"/>
              </a:cxn>
              <a:cxn ang="0">
                <a:pos x="connsiteX48565" y="connsiteY48565"/>
              </a:cxn>
              <a:cxn ang="0">
                <a:pos x="connsiteX48566" y="connsiteY48566"/>
              </a:cxn>
              <a:cxn ang="0">
                <a:pos x="connsiteX48567" y="connsiteY48567"/>
              </a:cxn>
              <a:cxn ang="0">
                <a:pos x="connsiteX48568" y="connsiteY48568"/>
              </a:cxn>
              <a:cxn ang="0">
                <a:pos x="connsiteX48569" y="connsiteY48569"/>
              </a:cxn>
              <a:cxn ang="0">
                <a:pos x="connsiteX48570" y="connsiteY48570"/>
              </a:cxn>
              <a:cxn ang="0">
                <a:pos x="connsiteX48571" y="connsiteY48571"/>
              </a:cxn>
              <a:cxn ang="0">
                <a:pos x="connsiteX48572" y="connsiteY48572"/>
              </a:cxn>
              <a:cxn ang="0">
                <a:pos x="connsiteX48573" y="connsiteY48573"/>
              </a:cxn>
              <a:cxn ang="0">
                <a:pos x="connsiteX48574" y="connsiteY48574"/>
              </a:cxn>
              <a:cxn ang="0">
                <a:pos x="connsiteX48575" y="connsiteY48575"/>
              </a:cxn>
              <a:cxn ang="0">
                <a:pos x="connsiteX48576" y="connsiteY48576"/>
              </a:cxn>
              <a:cxn ang="0">
                <a:pos x="connsiteX48577" y="connsiteY48577"/>
              </a:cxn>
              <a:cxn ang="0">
                <a:pos x="connsiteX48578" y="connsiteY48578"/>
              </a:cxn>
              <a:cxn ang="0">
                <a:pos x="connsiteX48579" y="connsiteY48579"/>
              </a:cxn>
              <a:cxn ang="0">
                <a:pos x="connsiteX48580" y="connsiteY48580"/>
              </a:cxn>
              <a:cxn ang="0">
                <a:pos x="connsiteX48581" y="connsiteY48581"/>
              </a:cxn>
              <a:cxn ang="0">
                <a:pos x="connsiteX48582" y="connsiteY48582"/>
              </a:cxn>
              <a:cxn ang="0">
                <a:pos x="connsiteX48583" y="connsiteY48583"/>
              </a:cxn>
              <a:cxn ang="0">
                <a:pos x="connsiteX48584" y="connsiteY48584"/>
              </a:cxn>
              <a:cxn ang="0">
                <a:pos x="connsiteX48585" y="connsiteY48585"/>
              </a:cxn>
              <a:cxn ang="0">
                <a:pos x="connsiteX48586" y="connsiteY48586"/>
              </a:cxn>
              <a:cxn ang="0">
                <a:pos x="connsiteX48587" y="connsiteY48587"/>
              </a:cxn>
              <a:cxn ang="0">
                <a:pos x="connsiteX48588" y="connsiteY48588"/>
              </a:cxn>
              <a:cxn ang="0">
                <a:pos x="connsiteX48589" y="connsiteY48589"/>
              </a:cxn>
              <a:cxn ang="0">
                <a:pos x="connsiteX48590" y="connsiteY48590"/>
              </a:cxn>
              <a:cxn ang="0">
                <a:pos x="connsiteX48591" y="connsiteY48591"/>
              </a:cxn>
              <a:cxn ang="0">
                <a:pos x="connsiteX48592" y="connsiteY48592"/>
              </a:cxn>
              <a:cxn ang="0">
                <a:pos x="connsiteX48593" y="connsiteY48593"/>
              </a:cxn>
              <a:cxn ang="0">
                <a:pos x="connsiteX48594" y="connsiteY48594"/>
              </a:cxn>
              <a:cxn ang="0">
                <a:pos x="connsiteX48595" y="connsiteY48595"/>
              </a:cxn>
              <a:cxn ang="0">
                <a:pos x="connsiteX48596" y="connsiteY48596"/>
              </a:cxn>
              <a:cxn ang="0">
                <a:pos x="connsiteX48597" y="connsiteY48597"/>
              </a:cxn>
              <a:cxn ang="0">
                <a:pos x="connsiteX48598" y="connsiteY48598"/>
              </a:cxn>
              <a:cxn ang="0">
                <a:pos x="connsiteX48599" y="connsiteY48599"/>
              </a:cxn>
              <a:cxn ang="0">
                <a:pos x="connsiteX48600" y="connsiteY48600"/>
              </a:cxn>
              <a:cxn ang="0">
                <a:pos x="connsiteX48601" y="connsiteY48601"/>
              </a:cxn>
              <a:cxn ang="0">
                <a:pos x="connsiteX48602" y="connsiteY48602"/>
              </a:cxn>
              <a:cxn ang="0">
                <a:pos x="connsiteX48603" y="connsiteY48603"/>
              </a:cxn>
              <a:cxn ang="0">
                <a:pos x="connsiteX48604" y="connsiteY48604"/>
              </a:cxn>
              <a:cxn ang="0">
                <a:pos x="connsiteX48605" y="connsiteY48605"/>
              </a:cxn>
              <a:cxn ang="0">
                <a:pos x="connsiteX48606" y="connsiteY48606"/>
              </a:cxn>
              <a:cxn ang="0">
                <a:pos x="connsiteX48607" y="connsiteY48607"/>
              </a:cxn>
              <a:cxn ang="0">
                <a:pos x="connsiteX48608" y="connsiteY48608"/>
              </a:cxn>
              <a:cxn ang="0">
                <a:pos x="connsiteX48609" y="connsiteY48609"/>
              </a:cxn>
              <a:cxn ang="0">
                <a:pos x="connsiteX48610" y="connsiteY48610"/>
              </a:cxn>
              <a:cxn ang="0">
                <a:pos x="connsiteX48611" y="connsiteY48611"/>
              </a:cxn>
              <a:cxn ang="0">
                <a:pos x="connsiteX48612" y="connsiteY48612"/>
              </a:cxn>
              <a:cxn ang="0">
                <a:pos x="connsiteX48613" y="connsiteY48613"/>
              </a:cxn>
              <a:cxn ang="0">
                <a:pos x="connsiteX48614" y="connsiteY48614"/>
              </a:cxn>
              <a:cxn ang="0">
                <a:pos x="connsiteX48615" y="connsiteY48615"/>
              </a:cxn>
              <a:cxn ang="0">
                <a:pos x="connsiteX48616" y="connsiteY48616"/>
              </a:cxn>
              <a:cxn ang="0">
                <a:pos x="connsiteX48617" y="connsiteY48617"/>
              </a:cxn>
              <a:cxn ang="0">
                <a:pos x="connsiteX48618" y="connsiteY48618"/>
              </a:cxn>
              <a:cxn ang="0">
                <a:pos x="connsiteX48619" y="connsiteY48619"/>
              </a:cxn>
              <a:cxn ang="0">
                <a:pos x="connsiteX48620" y="connsiteY48620"/>
              </a:cxn>
              <a:cxn ang="0">
                <a:pos x="connsiteX48621" y="connsiteY48621"/>
              </a:cxn>
              <a:cxn ang="0">
                <a:pos x="connsiteX48622" y="connsiteY48622"/>
              </a:cxn>
              <a:cxn ang="0">
                <a:pos x="connsiteX48623" y="connsiteY48623"/>
              </a:cxn>
              <a:cxn ang="0">
                <a:pos x="connsiteX48624" y="connsiteY48624"/>
              </a:cxn>
              <a:cxn ang="0">
                <a:pos x="connsiteX48625" y="connsiteY48625"/>
              </a:cxn>
              <a:cxn ang="0">
                <a:pos x="connsiteX48626" y="connsiteY48626"/>
              </a:cxn>
              <a:cxn ang="0">
                <a:pos x="connsiteX48627" y="connsiteY48627"/>
              </a:cxn>
              <a:cxn ang="0">
                <a:pos x="connsiteX48628" y="connsiteY48628"/>
              </a:cxn>
              <a:cxn ang="0">
                <a:pos x="connsiteX48629" y="connsiteY48629"/>
              </a:cxn>
              <a:cxn ang="0">
                <a:pos x="connsiteX48630" y="connsiteY48630"/>
              </a:cxn>
              <a:cxn ang="0">
                <a:pos x="connsiteX48631" y="connsiteY48631"/>
              </a:cxn>
              <a:cxn ang="0">
                <a:pos x="connsiteX48632" y="connsiteY48632"/>
              </a:cxn>
              <a:cxn ang="0">
                <a:pos x="connsiteX48633" y="connsiteY48633"/>
              </a:cxn>
              <a:cxn ang="0">
                <a:pos x="connsiteX48634" y="connsiteY48634"/>
              </a:cxn>
              <a:cxn ang="0">
                <a:pos x="connsiteX48635" y="connsiteY48635"/>
              </a:cxn>
              <a:cxn ang="0">
                <a:pos x="connsiteX48636" y="connsiteY48636"/>
              </a:cxn>
              <a:cxn ang="0">
                <a:pos x="connsiteX48637" y="connsiteY48637"/>
              </a:cxn>
              <a:cxn ang="0">
                <a:pos x="connsiteX48638" y="connsiteY48638"/>
              </a:cxn>
              <a:cxn ang="0">
                <a:pos x="connsiteX48639" y="connsiteY48639"/>
              </a:cxn>
              <a:cxn ang="0">
                <a:pos x="connsiteX48640" y="connsiteY48640"/>
              </a:cxn>
              <a:cxn ang="0">
                <a:pos x="connsiteX48641" y="connsiteY48641"/>
              </a:cxn>
              <a:cxn ang="0">
                <a:pos x="connsiteX48642" y="connsiteY48642"/>
              </a:cxn>
              <a:cxn ang="0">
                <a:pos x="connsiteX48643" y="connsiteY48643"/>
              </a:cxn>
              <a:cxn ang="0">
                <a:pos x="connsiteX48644" y="connsiteY48644"/>
              </a:cxn>
              <a:cxn ang="0">
                <a:pos x="connsiteX48645" y="connsiteY48645"/>
              </a:cxn>
              <a:cxn ang="0">
                <a:pos x="connsiteX48646" y="connsiteY48646"/>
              </a:cxn>
              <a:cxn ang="0">
                <a:pos x="connsiteX48647" y="connsiteY48647"/>
              </a:cxn>
              <a:cxn ang="0">
                <a:pos x="connsiteX48648" y="connsiteY48648"/>
              </a:cxn>
              <a:cxn ang="0">
                <a:pos x="connsiteX48649" y="connsiteY48649"/>
              </a:cxn>
              <a:cxn ang="0">
                <a:pos x="connsiteX48650" y="connsiteY48650"/>
              </a:cxn>
              <a:cxn ang="0">
                <a:pos x="connsiteX48651" y="connsiteY48651"/>
              </a:cxn>
              <a:cxn ang="0">
                <a:pos x="connsiteX48652" y="connsiteY48652"/>
              </a:cxn>
              <a:cxn ang="0">
                <a:pos x="connsiteX48653" y="connsiteY48653"/>
              </a:cxn>
              <a:cxn ang="0">
                <a:pos x="connsiteX48654" y="connsiteY48654"/>
              </a:cxn>
              <a:cxn ang="0">
                <a:pos x="connsiteX48655" y="connsiteY48655"/>
              </a:cxn>
              <a:cxn ang="0">
                <a:pos x="connsiteX48656" y="connsiteY48656"/>
              </a:cxn>
              <a:cxn ang="0">
                <a:pos x="connsiteX48657" y="connsiteY48657"/>
              </a:cxn>
              <a:cxn ang="0">
                <a:pos x="connsiteX48658" y="connsiteY48658"/>
              </a:cxn>
              <a:cxn ang="0">
                <a:pos x="connsiteX48659" y="connsiteY48659"/>
              </a:cxn>
              <a:cxn ang="0">
                <a:pos x="connsiteX48660" y="connsiteY48660"/>
              </a:cxn>
              <a:cxn ang="0">
                <a:pos x="connsiteX48661" y="connsiteY48661"/>
              </a:cxn>
              <a:cxn ang="0">
                <a:pos x="connsiteX48662" y="connsiteY48662"/>
              </a:cxn>
              <a:cxn ang="0">
                <a:pos x="connsiteX48663" y="connsiteY48663"/>
              </a:cxn>
              <a:cxn ang="0">
                <a:pos x="connsiteX48664" y="connsiteY48664"/>
              </a:cxn>
              <a:cxn ang="0">
                <a:pos x="connsiteX48665" y="connsiteY48665"/>
              </a:cxn>
              <a:cxn ang="0">
                <a:pos x="connsiteX48666" y="connsiteY48666"/>
              </a:cxn>
              <a:cxn ang="0">
                <a:pos x="connsiteX48667" y="connsiteY48667"/>
              </a:cxn>
              <a:cxn ang="0">
                <a:pos x="connsiteX48668" y="connsiteY48668"/>
              </a:cxn>
              <a:cxn ang="0">
                <a:pos x="connsiteX48669" y="connsiteY48669"/>
              </a:cxn>
              <a:cxn ang="0">
                <a:pos x="connsiteX48670" y="connsiteY48670"/>
              </a:cxn>
              <a:cxn ang="0">
                <a:pos x="connsiteX48671" y="connsiteY48671"/>
              </a:cxn>
              <a:cxn ang="0">
                <a:pos x="connsiteX48672" y="connsiteY48672"/>
              </a:cxn>
              <a:cxn ang="0">
                <a:pos x="connsiteX48673" y="connsiteY48673"/>
              </a:cxn>
              <a:cxn ang="0">
                <a:pos x="connsiteX48674" y="connsiteY48674"/>
              </a:cxn>
              <a:cxn ang="0">
                <a:pos x="connsiteX48675" y="connsiteY48675"/>
              </a:cxn>
              <a:cxn ang="0">
                <a:pos x="connsiteX48676" y="connsiteY48676"/>
              </a:cxn>
              <a:cxn ang="0">
                <a:pos x="connsiteX48677" y="connsiteY48677"/>
              </a:cxn>
              <a:cxn ang="0">
                <a:pos x="connsiteX48678" y="connsiteY48678"/>
              </a:cxn>
              <a:cxn ang="0">
                <a:pos x="connsiteX48679" y="connsiteY48679"/>
              </a:cxn>
              <a:cxn ang="0">
                <a:pos x="connsiteX48680" y="connsiteY48680"/>
              </a:cxn>
              <a:cxn ang="0">
                <a:pos x="connsiteX48681" y="connsiteY48681"/>
              </a:cxn>
              <a:cxn ang="0">
                <a:pos x="connsiteX48682" y="connsiteY48682"/>
              </a:cxn>
              <a:cxn ang="0">
                <a:pos x="connsiteX48683" y="connsiteY48683"/>
              </a:cxn>
              <a:cxn ang="0">
                <a:pos x="connsiteX48684" y="connsiteY48684"/>
              </a:cxn>
              <a:cxn ang="0">
                <a:pos x="connsiteX48685" y="connsiteY48685"/>
              </a:cxn>
              <a:cxn ang="0">
                <a:pos x="connsiteX48686" y="connsiteY48686"/>
              </a:cxn>
              <a:cxn ang="0">
                <a:pos x="connsiteX48687" y="connsiteY48687"/>
              </a:cxn>
              <a:cxn ang="0">
                <a:pos x="connsiteX48688" y="connsiteY48688"/>
              </a:cxn>
              <a:cxn ang="0">
                <a:pos x="connsiteX48689" y="connsiteY48689"/>
              </a:cxn>
              <a:cxn ang="0">
                <a:pos x="connsiteX48690" y="connsiteY48690"/>
              </a:cxn>
              <a:cxn ang="0">
                <a:pos x="connsiteX48691" y="connsiteY48691"/>
              </a:cxn>
              <a:cxn ang="0">
                <a:pos x="connsiteX48692" y="connsiteY48692"/>
              </a:cxn>
              <a:cxn ang="0">
                <a:pos x="connsiteX48693" y="connsiteY48693"/>
              </a:cxn>
              <a:cxn ang="0">
                <a:pos x="connsiteX48694" y="connsiteY48694"/>
              </a:cxn>
              <a:cxn ang="0">
                <a:pos x="connsiteX48695" y="connsiteY48695"/>
              </a:cxn>
              <a:cxn ang="0">
                <a:pos x="connsiteX48696" y="connsiteY48696"/>
              </a:cxn>
              <a:cxn ang="0">
                <a:pos x="connsiteX48697" y="connsiteY48697"/>
              </a:cxn>
              <a:cxn ang="0">
                <a:pos x="connsiteX48698" y="connsiteY48698"/>
              </a:cxn>
              <a:cxn ang="0">
                <a:pos x="connsiteX48699" y="connsiteY48699"/>
              </a:cxn>
              <a:cxn ang="0">
                <a:pos x="connsiteX48700" y="connsiteY48700"/>
              </a:cxn>
              <a:cxn ang="0">
                <a:pos x="connsiteX48701" y="connsiteY48701"/>
              </a:cxn>
              <a:cxn ang="0">
                <a:pos x="connsiteX48702" y="connsiteY48702"/>
              </a:cxn>
              <a:cxn ang="0">
                <a:pos x="connsiteX48703" y="connsiteY48703"/>
              </a:cxn>
              <a:cxn ang="0">
                <a:pos x="connsiteX48704" y="connsiteY48704"/>
              </a:cxn>
              <a:cxn ang="0">
                <a:pos x="connsiteX48705" y="connsiteY48705"/>
              </a:cxn>
              <a:cxn ang="0">
                <a:pos x="connsiteX48706" y="connsiteY48706"/>
              </a:cxn>
              <a:cxn ang="0">
                <a:pos x="connsiteX48707" y="connsiteY48707"/>
              </a:cxn>
              <a:cxn ang="0">
                <a:pos x="connsiteX48708" y="connsiteY48708"/>
              </a:cxn>
              <a:cxn ang="0">
                <a:pos x="connsiteX48709" y="connsiteY48709"/>
              </a:cxn>
              <a:cxn ang="0">
                <a:pos x="connsiteX48710" y="connsiteY48710"/>
              </a:cxn>
              <a:cxn ang="0">
                <a:pos x="connsiteX48711" y="connsiteY48711"/>
              </a:cxn>
              <a:cxn ang="0">
                <a:pos x="connsiteX48712" y="connsiteY48712"/>
              </a:cxn>
              <a:cxn ang="0">
                <a:pos x="connsiteX48713" y="connsiteY48713"/>
              </a:cxn>
              <a:cxn ang="0">
                <a:pos x="connsiteX48714" y="connsiteY48714"/>
              </a:cxn>
              <a:cxn ang="0">
                <a:pos x="connsiteX48715" y="connsiteY48715"/>
              </a:cxn>
              <a:cxn ang="0">
                <a:pos x="connsiteX48716" y="connsiteY48716"/>
              </a:cxn>
              <a:cxn ang="0">
                <a:pos x="connsiteX48717" y="connsiteY48717"/>
              </a:cxn>
              <a:cxn ang="0">
                <a:pos x="connsiteX48718" y="connsiteY48718"/>
              </a:cxn>
              <a:cxn ang="0">
                <a:pos x="connsiteX48719" y="connsiteY48719"/>
              </a:cxn>
              <a:cxn ang="0">
                <a:pos x="connsiteX48720" y="connsiteY48720"/>
              </a:cxn>
              <a:cxn ang="0">
                <a:pos x="connsiteX48721" y="connsiteY48721"/>
              </a:cxn>
              <a:cxn ang="0">
                <a:pos x="connsiteX48722" y="connsiteY48722"/>
              </a:cxn>
              <a:cxn ang="0">
                <a:pos x="connsiteX48723" y="connsiteY48723"/>
              </a:cxn>
              <a:cxn ang="0">
                <a:pos x="connsiteX48724" y="connsiteY48724"/>
              </a:cxn>
              <a:cxn ang="0">
                <a:pos x="connsiteX48725" y="connsiteY48725"/>
              </a:cxn>
              <a:cxn ang="0">
                <a:pos x="connsiteX48726" y="connsiteY48726"/>
              </a:cxn>
              <a:cxn ang="0">
                <a:pos x="connsiteX48727" y="connsiteY48727"/>
              </a:cxn>
              <a:cxn ang="0">
                <a:pos x="connsiteX48728" y="connsiteY48728"/>
              </a:cxn>
              <a:cxn ang="0">
                <a:pos x="connsiteX48729" y="connsiteY48729"/>
              </a:cxn>
              <a:cxn ang="0">
                <a:pos x="connsiteX48730" y="connsiteY48730"/>
              </a:cxn>
              <a:cxn ang="0">
                <a:pos x="connsiteX48731" y="connsiteY48731"/>
              </a:cxn>
              <a:cxn ang="0">
                <a:pos x="connsiteX48732" y="connsiteY48732"/>
              </a:cxn>
              <a:cxn ang="0">
                <a:pos x="connsiteX48733" y="connsiteY48733"/>
              </a:cxn>
              <a:cxn ang="0">
                <a:pos x="connsiteX48734" y="connsiteY48734"/>
              </a:cxn>
              <a:cxn ang="0">
                <a:pos x="connsiteX48735" y="connsiteY48735"/>
              </a:cxn>
              <a:cxn ang="0">
                <a:pos x="connsiteX48736" y="connsiteY48736"/>
              </a:cxn>
              <a:cxn ang="0">
                <a:pos x="connsiteX48737" y="connsiteY48737"/>
              </a:cxn>
              <a:cxn ang="0">
                <a:pos x="connsiteX48738" y="connsiteY48738"/>
              </a:cxn>
              <a:cxn ang="0">
                <a:pos x="connsiteX48739" y="connsiteY48739"/>
              </a:cxn>
              <a:cxn ang="0">
                <a:pos x="connsiteX48740" y="connsiteY48740"/>
              </a:cxn>
              <a:cxn ang="0">
                <a:pos x="connsiteX48741" y="connsiteY48741"/>
              </a:cxn>
              <a:cxn ang="0">
                <a:pos x="connsiteX48742" y="connsiteY48742"/>
              </a:cxn>
              <a:cxn ang="0">
                <a:pos x="connsiteX48743" y="connsiteY48743"/>
              </a:cxn>
              <a:cxn ang="0">
                <a:pos x="connsiteX48744" y="connsiteY48744"/>
              </a:cxn>
              <a:cxn ang="0">
                <a:pos x="connsiteX48745" y="connsiteY48745"/>
              </a:cxn>
              <a:cxn ang="0">
                <a:pos x="connsiteX48746" y="connsiteY48746"/>
              </a:cxn>
              <a:cxn ang="0">
                <a:pos x="connsiteX48747" y="connsiteY48747"/>
              </a:cxn>
              <a:cxn ang="0">
                <a:pos x="connsiteX48748" y="connsiteY48748"/>
              </a:cxn>
              <a:cxn ang="0">
                <a:pos x="connsiteX48749" y="connsiteY48749"/>
              </a:cxn>
              <a:cxn ang="0">
                <a:pos x="connsiteX48750" y="connsiteY48750"/>
              </a:cxn>
              <a:cxn ang="0">
                <a:pos x="connsiteX48751" y="connsiteY48751"/>
              </a:cxn>
              <a:cxn ang="0">
                <a:pos x="connsiteX48752" y="connsiteY48752"/>
              </a:cxn>
              <a:cxn ang="0">
                <a:pos x="connsiteX48753" y="connsiteY48753"/>
              </a:cxn>
              <a:cxn ang="0">
                <a:pos x="connsiteX48754" y="connsiteY48754"/>
              </a:cxn>
              <a:cxn ang="0">
                <a:pos x="connsiteX48755" y="connsiteY48755"/>
              </a:cxn>
              <a:cxn ang="0">
                <a:pos x="connsiteX48756" y="connsiteY48756"/>
              </a:cxn>
              <a:cxn ang="0">
                <a:pos x="connsiteX48757" y="connsiteY48757"/>
              </a:cxn>
              <a:cxn ang="0">
                <a:pos x="connsiteX48758" y="connsiteY48758"/>
              </a:cxn>
              <a:cxn ang="0">
                <a:pos x="connsiteX48759" y="connsiteY48759"/>
              </a:cxn>
              <a:cxn ang="0">
                <a:pos x="connsiteX48760" y="connsiteY48760"/>
              </a:cxn>
              <a:cxn ang="0">
                <a:pos x="connsiteX48761" y="connsiteY48761"/>
              </a:cxn>
              <a:cxn ang="0">
                <a:pos x="connsiteX48762" y="connsiteY48762"/>
              </a:cxn>
              <a:cxn ang="0">
                <a:pos x="connsiteX48763" y="connsiteY48763"/>
              </a:cxn>
              <a:cxn ang="0">
                <a:pos x="connsiteX48764" y="connsiteY48764"/>
              </a:cxn>
              <a:cxn ang="0">
                <a:pos x="connsiteX48765" y="connsiteY48765"/>
              </a:cxn>
              <a:cxn ang="0">
                <a:pos x="connsiteX48766" y="connsiteY48766"/>
              </a:cxn>
              <a:cxn ang="0">
                <a:pos x="connsiteX48767" y="connsiteY48767"/>
              </a:cxn>
              <a:cxn ang="0">
                <a:pos x="connsiteX48768" y="connsiteY48768"/>
              </a:cxn>
              <a:cxn ang="0">
                <a:pos x="connsiteX48769" y="connsiteY48769"/>
              </a:cxn>
              <a:cxn ang="0">
                <a:pos x="connsiteX48770" y="connsiteY48770"/>
              </a:cxn>
              <a:cxn ang="0">
                <a:pos x="connsiteX48771" y="connsiteY48771"/>
              </a:cxn>
              <a:cxn ang="0">
                <a:pos x="connsiteX48772" y="connsiteY48772"/>
              </a:cxn>
              <a:cxn ang="0">
                <a:pos x="connsiteX48773" y="connsiteY48773"/>
              </a:cxn>
              <a:cxn ang="0">
                <a:pos x="connsiteX48774" y="connsiteY48774"/>
              </a:cxn>
              <a:cxn ang="0">
                <a:pos x="connsiteX48775" y="connsiteY48775"/>
              </a:cxn>
              <a:cxn ang="0">
                <a:pos x="connsiteX48776" y="connsiteY48776"/>
              </a:cxn>
              <a:cxn ang="0">
                <a:pos x="connsiteX48777" y="connsiteY48777"/>
              </a:cxn>
              <a:cxn ang="0">
                <a:pos x="connsiteX48778" y="connsiteY48778"/>
              </a:cxn>
              <a:cxn ang="0">
                <a:pos x="connsiteX48779" y="connsiteY48779"/>
              </a:cxn>
              <a:cxn ang="0">
                <a:pos x="connsiteX48780" y="connsiteY48780"/>
              </a:cxn>
              <a:cxn ang="0">
                <a:pos x="connsiteX48781" y="connsiteY48781"/>
              </a:cxn>
              <a:cxn ang="0">
                <a:pos x="connsiteX48782" y="connsiteY48782"/>
              </a:cxn>
              <a:cxn ang="0">
                <a:pos x="connsiteX48783" y="connsiteY48783"/>
              </a:cxn>
              <a:cxn ang="0">
                <a:pos x="connsiteX48784" y="connsiteY48784"/>
              </a:cxn>
              <a:cxn ang="0">
                <a:pos x="connsiteX48785" y="connsiteY48785"/>
              </a:cxn>
              <a:cxn ang="0">
                <a:pos x="connsiteX48786" y="connsiteY48786"/>
              </a:cxn>
              <a:cxn ang="0">
                <a:pos x="connsiteX48787" y="connsiteY48787"/>
              </a:cxn>
              <a:cxn ang="0">
                <a:pos x="connsiteX48788" y="connsiteY48788"/>
              </a:cxn>
              <a:cxn ang="0">
                <a:pos x="connsiteX48789" y="connsiteY48789"/>
              </a:cxn>
              <a:cxn ang="0">
                <a:pos x="connsiteX48790" y="connsiteY48790"/>
              </a:cxn>
              <a:cxn ang="0">
                <a:pos x="connsiteX48791" y="connsiteY48791"/>
              </a:cxn>
              <a:cxn ang="0">
                <a:pos x="connsiteX48792" y="connsiteY48792"/>
              </a:cxn>
              <a:cxn ang="0">
                <a:pos x="connsiteX48793" y="connsiteY48793"/>
              </a:cxn>
              <a:cxn ang="0">
                <a:pos x="connsiteX48794" y="connsiteY48794"/>
              </a:cxn>
              <a:cxn ang="0">
                <a:pos x="connsiteX48795" y="connsiteY48795"/>
              </a:cxn>
              <a:cxn ang="0">
                <a:pos x="connsiteX48796" y="connsiteY48796"/>
              </a:cxn>
              <a:cxn ang="0">
                <a:pos x="connsiteX48797" y="connsiteY48797"/>
              </a:cxn>
              <a:cxn ang="0">
                <a:pos x="connsiteX48798" y="connsiteY48798"/>
              </a:cxn>
              <a:cxn ang="0">
                <a:pos x="connsiteX48799" y="connsiteY48799"/>
              </a:cxn>
              <a:cxn ang="0">
                <a:pos x="connsiteX48800" y="connsiteY48800"/>
              </a:cxn>
              <a:cxn ang="0">
                <a:pos x="connsiteX48801" y="connsiteY48801"/>
              </a:cxn>
              <a:cxn ang="0">
                <a:pos x="connsiteX48802" y="connsiteY48802"/>
              </a:cxn>
              <a:cxn ang="0">
                <a:pos x="connsiteX48803" y="connsiteY48803"/>
              </a:cxn>
              <a:cxn ang="0">
                <a:pos x="connsiteX48804" y="connsiteY48804"/>
              </a:cxn>
              <a:cxn ang="0">
                <a:pos x="connsiteX48805" y="connsiteY48805"/>
              </a:cxn>
              <a:cxn ang="0">
                <a:pos x="connsiteX48806" y="connsiteY48806"/>
              </a:cxn>
              <a:cxn ang="0">
                <a:pos x="connsiteX48807" y="connsiteY48807"/>
              </a:cxn>
              <a:cxn ang="0">
                <a:pos x="connsiteX48808" y="connsiteY48808"/>
              </a:cxn>
              <a:cxn ang="0">
                <a:pos x="connsiteX48809" y="connsiteY48809"/>
              </a:cxn>
              <a:cxn ang="0">
                <a:pos x="connsiteX48810" y="connsiteY48810"/>
              </a:cxn>
              <a:cxn ang="0">
                <a:pos x="connsiteX48811" y="connsiteY48811"/>
              </a:cxn>
              <a:cxn ang="0">
                <a:pos x="connsiteX48812" y="connsiteY48812"/>
              </a:cxn>
              <a:cxn ang="0">
                <a:pos x="connsiteX48813" y="connsiteY48813"/>
              </a:cxn>
              <a:cxn ang="0">
                <a:pos x="connsiteX48814" y="connsiteY48814"/>
              </a:cxn>
              <a:cxn ang="0">
                <a:pos x="connsiteX48815" y="connsiteY48815"/>
              </a:cxn>
              <a:cxn ang="0">
                <a:pos x="connsiteX48816" y="connsiteY48816"/>
              </a:cxn>
              <a:cxn ang="0">
                <a:pos x="connsiteX48817" y="connsiteY48817"/>
              </a:cxn>
              <a:cxn ang="0">
                <a:pos x="connsiteX48818" y="connsiteY48818"/>
              </a:cxn>
              <a:cxn ang="0">
                <a:pos x="connsiteX48819" y="connsiteY48819"/>
              </a:cxn>
              <a:cxn ang="0">
                <a:pos x="connsiteX48820" y="connsiteY48820"/>
              </a:cxn>
              <a:cxn ang="0">
                <a:pos x="connsiteX48821" y="connsiteY48821"/>
              </a:cxn>
              <a:cxn ang="0">
                <a:pos x="connsiteX48822" y="connsiteY48822"/>
              </a:cxn>
              <a:cxn ang="0">
                <a:pos x="connsiteX48823" y="connsiteY48823"/>
              </a:cxn>
              <a:cxn ang="0">
                <a:pos x="connsiteX48824" y="connsiteY48824"/>
              </a:cxn>
              <a:cxn ang="0">
                <a:pos x="connsiteX48825" y="connsiteY48825"/>
              </a:cxn>
              <a:cxn ang="0">
                <a:pos x="connsiteX48826" y="connsiteY48826"/>
              </a:cxn>
              <a:cxn ang="0">
                <a:pos x="connsiteX48827" y="connsiteY48827"/>
              </a:cxn>
              <a:cxn ang="0">
                <a:pos x="connsiteX48828" y="connsiteY48828"/>
              </a:cxn>
              <a:cxn ang="0">
                <a:pos x="connsiteX48829" y="connsiteY48829"/>
              </a:cxn>
              <a:cxn ang="0">
                <a:pos x="connsiteX48830" y="connsiteY48830"/>
              </a:cxn>
              <a:cxn ang="0">
                <a:pos x="connsiteX48831" y="connsiteY48831"/>
              </a:cxn>
              <a:cxn ang="0">
                <a:pos x="connsiteX48832" y="connsiteY48832"/>
              </a:cxn>
              <a:cxn ang="0">
                <a:pos x="connsiteX48833" y="connsiteY48833"/>
              </a:cxn>
              <a:cxn ang="0">
                <a:pos x="connsiteX48834" y="connsiteY48834"/>
              </a:cxn>
              <a:cxn ang="0">
                <a:pos x="connsiteX48835" y="connsiteY48835"/>
              </a:cxn>
              <a:cxn ang="0">
                <a:pos x="connsiteX48836" y="connsiteY48836"/>
              </a:cxn>
              <a:cxn ang="0">
                <a:pos x="connsiteX48837" y="connsiteY48837"/>
              </a:cxn>
              <a:cxn ang="0">
                <a:pos x="connsiteX48838" y="connsiteY48838"/>
              </a:cxn>
              <a:cxn ang="0">
                <a:pos x="connsiteX48839" y="connsiteY48839"/>
              </a:cxn>
              <a:cxn ang="0">
                <a:pos x="connsiteX48840" y="connsiteY48840"/>
              </a:cxn>
              <a:cxn ang="0">
                <a:pos x="connsiteX48841" y="connsiteY48841"/>
              </a:cxn>
              <a:cxn ang="0">
                <a:pos x="connsiteX48842" y="connsiteY48842"/>
              </a:cxn>
              <a:cxn ang="0">
                <a:pos x="connsiteX48843" y="connsiteY48843"/>
              </a:cxn>
              <a:cxn ang="0">
                <a:pos x="connsiteX48844" y="connsiteY48844"/>
              </a:cxn>
              <a:cxn ang="0">
                <a:pos x="connsiteX48845" y="connsiteY48845"/>
              </a:cxn>
              <a:cxn ang="0">
                <a:pos x="connsiteX48846" y="connsiteY48846"/>
              </a:cxn>
              <a:cxn ang="0">
                <a:pos x="connsiteX48847" y="connsiteY48847"/>
              </a:cxn>
              <a:cxn ang="0">
                <a:pos x="connsiteX48848" y="connsiteY48848"/>
              </a:cxn>
              <a:cxn ang="0">
                <a:pos x="connsiteX48849" y="connsiteY48849"/>
              </a:cxn>
              <a:cxn ang="0">
                <a:pos x="connsiteX48850" y="connsiteY48850"/>
              </a:cxn>
              <a:cxn ang="0">
                <a:pos x="connsiteX48851" y="connsiteY48851"/>
              </a:cxn>
              <a:cxn ang="0">
                <a:pos x="connsiteX48852" y="connsiteY48852"/>
              </a:cxn>
              <a:cxn ang="0">
                <a:pos x="connsiteX48853" y="connsiteY48853"/>
              </a:cxn>
              <a:cxn ang="0">
                <a:pos x="connsiteX48854" y="connsiteY48854"/>
              </a:cxn>
              <a:cxn ang="0">
                <a:pos x="connsiteX48855" y="connsiteY48855"/>
              </a:cxn>
              <a:cxn ang="0">
                <a:pos x="connsiteX48856" y="connsiteY48856"/>
              </a:cxn>
              <a:cxn ang="0">
                <a:pos x="connsiteX48857" y="connsiteY48857"/>
              </a:cxn>
              <a:cxn ang="0">
                <a:pos x="connsiteX48858" y="connsiteY48858"/>
              </a:cxn>
              <a:cxn ang="0">
                <a:pos x="connsiteX48859" y="connsiteY48859"/>
              </a:cxn>
              <a:cxn ang="0">
                <a:pos x="connsiteX48860" y="connsiteY48860"/>
              </a:cxn>
              <a:cxn ang="0">
                <a:pos x="connsiteX48861" y="connsiteY48861"/>
              </a:cxn>
              <a:cxn ang="0">
                <a:pos x="connsiteX48862" y="connsiteY48862"/>
              </a:cxn>
              <a:cxn ang="0">
                <a:pos x="connsiteX48863" y="connsiteY48863"/>
              </a:cxn>
              <a:cxn ang="0">
                <a:pos x="connsiteX48864" y="connsiteY48864"/>
              </a:cxn>
              <a:cxn ang="0">
                <a:pos x="connsiteX48865" y="connsiteY48865"/>
              </a:cxn>
              <a:cxn ang="0">
                <a:pos x="connsiteX48866" y="connsiteY48866"/>
              </a:cxn>
              <a:cxn ang="0">
                <a:pos x="connsiteX48867" y="connsiteY48867"/>
              </a:cxn>
              <a:cxn ang="0">
                <a:pos x="connsiteX48868" y="connsiteY48868"/>
              </a:cxn>
              <a:cxn ang="0">
                <a:pos x="connsiteX48869" y="connsiteY48869"/>
              </a:cxn>
              <a:cxn ang="0">
                <a:pos x="connsiteX48870" y="connsiteY48870"/>
              </a:cxn>
              <a:cxn ang="0">
                <a:pos x="connsiteX48871" y="connsiteY48871"/>
              </a:cxn>
              <a:cxn ang="0">
                <a:pos x="connsiteX48872" y="connsiteY48872"/>
              </a:cxn>
              <a:cxn ang="0">
                <a:pos x="connsiteX48873" y="connsiteY48873"/>
              </a:cxn>
              <a:cxn ang="0">
                <a:pos x="connsiteX48874" y="connsiteY48874"/>
              </a:cxn>
              <a:cxn ang="0">
                <a:pos x="connsiteX48875" y="connsiteY48875"/>
              </a:cxn>
              <a:cxn ang="0">
                <a:pos x="connsiteX48876" y="connsiteY48876"/>
              </a:cxn>
              <a:cxn ang="0">
                <a:pos x="connsiteX48877" y="connsiteY48877"/>
              </a:cxn>
              <a:cxn ang="0">
                <a:pos x="connsiteX48878" y="connsiteY48878"/>
              </a:cxn>
              <a:cxn ang="0">
                <a:pos x="connsiteX48879" y="connsiteY48879"/>
              </a:cxn>
              <a:cxn ang="0">
                <a:pos x="connsiteX48880" y="connsiteY48880"/>
              </a:cxn>
              <a:cxn ang="0">
                <a:pos x="connsiteX48881" y="connsiteY48881"/>
              </a:cxn>
              <a:cxn ang="0">
                <a:pos x="connsiteX48882" y="connsiteY48882"/>
              </a:cxn>
              <a:cxn ang="0">
                <a:pos x="connsiteX48883" y="connsiteY48883"/>
              </a:cxn>
              <a:cxn ang="0">
                <a:pos x="connsiteX48884" y="connsiteY48884"/>
              </a:cxn>
              <a:cxn ang="0">
                <a:pos x="connsiteX48885" y="connsiteY48885"/>
              </a:cxn>
              <a:cxn ang="0">
                <a:pos x="connsiteX48886" y="connsiteY48886"/>
              </a:cxn>
              <a:cxn ang="0">
                <a:pos x="connsiteX48887" y="connsiteY48887"/>
              </a:cxn>
              <a:cxn ang="0">
                <a:pos x="connsiteX48888" y="connsiteY48888"/>
              </a:cxn>
              <a:cxn ang="0">
                <a:pos x="connsiteX48889" y="connsiteY48889"/>
              </a:cxn>
              <a:cxn ang="0">
                <a:pos x="connsiteX48890" y="connsiteY48890"/>
              </a:cxn>
              <a:cxn ang="0">
                <a:pos x="connsiteX48891" y="connsiteY48891"/>
              </a:cxn>
              <a:cxn ang="0">
                <a:pos x="connsiteX48892" y="connsiteY48892"/>
              </a:cxn>
              <a:cxn ang="0">
                <a:pos x="connsiteX48893" y="connsiteY48893"/>
              </a:cxn>
              <a:cxn ang="0">
                <a:pos x="connsiteX48894" y="connsiteY48894"/>
              </a:cxn>
              <a:cxn ang="0">
                <a:pos x="connsiteX48895" y="connsiteY48895"/>
              </a:cxn>
              <a:cxn ang="0">
                <a:pos x="connsiteX48896" y="connsiteY48896"/>
              </a:cxn>
              <a:cxn ang="0">
                <a:pos x="connsiteX48897" y="connsiteY48897"/>
              </a:cxn>
              <a:cxn ang="0">
                <a:pos x="connsiteX48898" y="connsiteY48898"/>
              </a:cxn>
              <a:cxn ang="0">
                <a:pos x="connsiteX48899" y="connsiteY48899"/>
              </a:cxn>
              <a:cxn ang="0">
                <a:pos x="connsiteX48900" y="connsiteY48900"/>
              </a:cxn>
              <a:cxn ang="0">
                <a:pos x="connsiteX48901" y="connsiteY48901"/>
              </a:cxn>
              <a:cxn ang="0">
                <a:pos x="connsiteX48902" y="connsiteY48902"/>
              </a:cxn>
              <a:cxn ang="0">
                <a:pos x="connsiteX48903" y="connsiteY48903"/>
              </a:cxn>
              <a:cxn ang="0">
                <a:pos x="connsiteX48904" y="connsiteY48904"/>
              </a:cxn>
              <a:cxn ang="0">
                <a:pos x="connsiteX48905" y="connsiteY48905"/>
              </a:cxn>
              <a:cxn ang="0">
                <a:pos x="connsiteX48906" y="connsiteY48906"/>
              </a:cxn>
              <a:cxn ang="0">
                <a:pos x="connsiteX48907" y="connsiteY48907"/>
              </a:cxn>
              <a:cxn ang="0">
                <a:pos x="connsiteX48908" y="connsiteY48908"/>
              </a:cxn>
              <a:cxn ang="0">
                <a:pos x="connsiteX48909" y="connsiteY48909"/>
              </a:cxn>
              <a:cxn ang="0">
                <a:pos x="connsiteX48910" y="connsiteY48910"/>
              </a:cxn>
              <a:cxn ang="0">
                <a:pos x="connsiteX48911" y="connsiteY48911"/>
              </a:cxn>
              <a:cxn ang="0">
                <a:pos x="connsiteX48912" y="connsiteY48912"/>
              </a:cxn>
              <a:cxn ang="0">
                <a:pos x="connsiteX48913" y="connsiteY48913"/>
              </a:cxn>
              <a:cxn ang="0">
                <a:pos x="connsiteX48914" y="connsiteY48914"/>
              </a:cxn>
              <a:cxn ang="0">
                <a:pos x="connsiteX48915" y="connsiteY48915"/>
              </a:cxn>
              <a:cxn ang="0">
                <a:pos x="connsiteX48916" y="connsiteY48916"/>
              </a:cxn>
              <a:cxn ang="0">
                <a:pos x="connsiteX48917" y="connsiteY48917"/>
              </a:cxn>
              <a:cxn ang="0">
                <a:pos x="connsiteX48918" y="connsiteY48918"/>
              </a:cxn>
              <a:cxn ang="0">
                <a:pos x="connsiteX48919" y="connsiteY48919"/>
              </a:cxn>
              <a:cxn ang="0">
                <a:pos x="connsiteX48920" y="connsiteY48920"/>
              </a:cxn>
              <a:cxn ang="0">
                <a:pos x="connsiteX48921" y="connsiteY48921"/>
              </a:cxn>
              <a:cxn ang="0">
                <a:pos x="connsiteX48922" y="connsiteY48922"/>
              </a:cxn>
              <a:cxn ang="0">
                <a:pos x="connsiteX48923" y="connsiteY48923"/>
              </a:cxn>
              <a:cxn ang="0">
                <a:pos x="connsiteX48924" y="connsiteY48924"/>
              </a:cxn>
              <a:cxn ang="0">
                <a:pos x="connsiteX48925" y="connsiteY48925"/>
              </a:cxn>
              <a:cxn ang="0">
                <a:pos x="connsiteX48926" y="connsiteY48926"/>
              </a:cxn>
              <a:cxn ang="0">
                <a:pos x="connsiteX48927" y="connsiteY48927"/>
              </a:cxn>
              <a:cxn ang="0">
                <a:pos x="connsiteX48928" y="connsiteY48928"/>
              </a:cxn>
              <a:cxn ang="0">
                <a:pos x="connsiteX48929" y="connsiteY48929"/>
              </a:cxn>
              <a:cxn ang="0">
                <a:pos x="connsiteX48930" y="connsiteY48930"/>
              </a:cxn>
              <a:cxn ang="0">
                <a:pos x="connsiteX48931" y="connsiteY48931"/>
              </a:cxn>
              <a:cxn ang="0">
                <a:pos x="connsiteX48932" y="connsiteY48932"/>
              </a:cxn>
              <a:cxn ang="0">
                <a:pos x="connsiteX48933" y="connsiteY48933"/>
              </a:cxn>
              <a:cxn ang="0">
                <a:pos x="connsiteX48934" y="connsiteY48934"/>
              </a:cxn>
              <a:cxn ang="0">
                <a:pos x="connsiteX48935" y="connsiteY48935"/>
              </a:cxn>
              <a:cxn ang="0">
                <a:pos x="connsiteX48936" y="connsiteY48936"/>
              </a:cxn>
              <a:cxn ang="0">
                <a:pos x="connsiteX48937" y="connsiteY48937"/>
              </a:cxn>
              <a:cxn ang="0">
                <a:pos x="connsiteX48938" y="connsiteY48938"/>
              </a:cxn>
              <a:cxn ang="0">
                <a:pos x="connsiteX48939" y="connsiteY48939"/>
              </a:cxn>
              <a:cxn ang="0">
                <a:pos x="connsiteX48940" y="connsiteY48940"/>
              </a:cxn>
              <a:cxn ang="0">
                <a:pos x="connsiteX48941" y="connsiteY48941"/>
              </a:cxn>
              <a:cxn ang="0">
                <a:pos x="connsiteX48942" y="connsiteY48942"/>
              </a:cxn>
              <a:cxn ang="0">
                <a:pos x="connsiteX48943" y="connsiteY48943"/>
              </a:cxn>
              <a:cxn ang="0">
                <a:pos x="connsiteX48944" y="connsiteY48944"/>
              </a:cxn>
              <a:cxn ang="0">
                <a:pos x="connsiteX48945" y="connsiteY48945"/>
              </a:cxn>
              <a:cxn ang="0">
                <a:pos x="connsiteX48946" y="connsiteY48946"/>
              </a:cxn>
              <a:cxn ang="0">
                <a:pos x="connsiteX48947" y="connsiteY48947"/>
              </a:cxn>
              <a:cxn ang="0">
                <a:pos x="connsiteX48948" y="connsiteY48948"/>
              </a:cxn>
              <a:cxn ang="0">
                <a:pos x="connsiteX48949" y="connsiteY48949"/>
              </a:cxn>
              <a:cxn ang="0">
                <a:pos x="connsiteX48950" y="connsiteY48950"/>
              </a:cxn>
              <a:cxn ang="0">
                <a:pos x="connsiteX48951" y="connsiteY48951"/>
              </a:cxn>
              <a:cxn ang="0">
                <a:pos x="connsiteX48952" y="connsiteY48952"/>
              </a:cxn>
              <a:cxn ang="0">
                <a:pos x="connsiteX48953" y="connsiteY48953"/>
              </a:cxn>
              <a:cxn ang="0">
                <a:pos x="connsiteX48954" y="connsiteY48954"/>
              </a:cxn>
              <a:cxn ang="0">
                <a:pos x="connsiteX48955" y="connsiteY48955"/>
              </a:cxn>
              <a:cxn ang="0">
                <a:pos x="connsiteX48956" y="connsiteY48956"/>
              </a:cxn>
              <a:cxn ang="0">
                <a:pos x="connsiteX48957" y="connsiteY48957"/>
              </a:cxn>
              <a:cxn ang="0">
                <a:pos x="connsiteX48958" y="connsiteY48958"/>
              </a:cxn>
              <a:cxn ang="0">
                <a:pos x="connsiteX48959" y="connsiteY48959"/>
              </a:cxn>
              <a:cxn ang="0">
                <a:pos x="connsiteX48960" y="connsiteY48960"/>
              </a:cxn>
              <a:cxn ang="0">
                <a:pos x="connsiteX48961" y="connsiteY48961"/>
              </a:cxn>
              <a:cxn ang="0">
                <a:pos x="connsiteX48962" y="connsiteY48962"/>
              </a:cxn>
              <a:cxn ang="0">
                <a:pos x="connsiteX48963" y="connsiteY48963"/>
              </a:cxn>
              <a:cxn ang="0">
                <a:pos x="connsiteX48964" y="connsiteY48964"/>
              </a:cxn>
              <a:cxn ang="0">
                <a:pos x="connsiteX48965" y="connsiteY48965"/>
              </a:cxn>
              <a:cxn ang="0">
                <a:pos x="connsiteX48966" y="connsiteY48966"/>
              </a:cxn>
              <a:cxn ang="0">
                <a:pos x="connsiteX48967" y="connsiteY48967"/>
              </a:cxn>
              <a:cxn ang="0">
                <a:pos x="connsiteX48968" y="connsiteY48968"/>
              </a:cxn>
              <a:cxn ang="0">
                <a:pos x="connsiteX48969" y="connsiteY48969"/>
              </a:cxn>
              <a:cxn ang="0">
                <a:pos x="connsiteX48970" y="connsiteY48970"/>
              </a:cxn>
              <a:cxn ang="0">
                <a:pos x="connsiteX48971" y="connsiteY48971"/>
              </a:cxn>
              <a:cxn ang="0">
                <a:pos x="connsiteX48972" y="connsiteY48972"/>
              </a:cxn>
              <a:cxn ang="0">
                <a:pos x="connsiteX48973" y="connsiteY48973"/>
              </a:cxn>
              <a:cxn ang="0">
                <a:pos x="connsiteX48974" y="connsiteY48974"/>
              </a:cxn>
              <a:cxn ang="0">
                <a:pos x="connsiteX48975" y="connsiteY48975"/>
              </a:cxn>
              <a:cxn ang="0">
                <a:pos x="connsiteX48976" y="connsiteY48976"/>
              </a:cxn>
              <a:cxn ang="0">
                <a:pos x="connsiteX48977" y="connsiteY48977"/>
              </a:cxn>
              <a:cxn ang="0">
                <a:pos x="connsiteX48978" y="connsiteY48978"/>
              </a:cxn>
              <a:cxn ang="0">
                <a:pos x="connsiteX48979" y="connsiteY48979"/>
              </a:cxn>
              <a:cxn ang="0">
                <a:pos x="connsiteX48980" y="connsiteY48980"/>
              </a:cxn>
              <a:cxn ang="0">
                <a:pos x="connsiteX48981" y="connsiteY48981"/>
              </a:cxn>
              <a:cxn ang="0">
                <a:pos x="connsiteX48982" y="connsiteY48982"/>
              </a:cxn>
              <a:cxn ang="0">
                <a:pos x="connsiteX48983" y="connsiteY48983"/>
              </a:cxn>
              <a:cxn ang="0">
                <a:pos x="connsiteX48984" y="connsiteY48984"/>
              </a:cxn>
              <a:cxn ang="0">
                <a:pos x="connsiteX48985" y="connsiteY48985"/>
              </a:cxn>
              <a:cxn ang="0">
                <a:pos x="connsiteX48986" y="connsiteY48986"/>
              </a:cxn>
              <a:cxn ang="0">
                <a:pos x="connsiteX48987" y="connsiteY48987"/>
              </a:cxn>
              <a:cxn ang="0">
                <a:pos x="connsiteX48988" y="connsiteY48988"/>
              </a:cxn>
              <a:cxn ang="0">
                <a:pos x="connsiteX48989" y="connsiteY48989"/>
              </a:cxn>
              <a:cxn ang="0">
                <a:pos x="connsiteX48990" y="connsiteY48990"/>
              </a:cxn>
              <a:cxn ang="0">
                <a:pos x="connsiteX48991" y="connsiteY48991"/>
              </a:cxn>
              <a:cxn ang="0">
                <a:pos x="connsiteX48992" y="connsiteY48992"/>
              </a:cxn>
              <a:cxn ang="0">
                <a:pos x="connsiteX48993" y="connsiteY48993"/>
              </a:cxn>
              <a:cxn ang="0">
                <a:pos x="connsiteX48994" y="connsiteY48994"/>
              </a:cxn>
              <a:cxn ang="0">
                <a:pos x="connsiteX48995" y="connsiteY48995"/>
              </a:cxn>
              <a:cxn ang="0">
                <a:pos x="connsiteX48996" y="connsiteY48996"/>
              </a:cxn>
              <a:cxn ang="0">
                <a:pos x="connsiteX48997" y="connsiteY48997"/>
              </a:cxn>
              <a:cxn ang="0">
                <a:pos x="connsiteX48998" y="connsiteY48998"/>
              </a:cxn>
              <a:cxn ang="0">
                <a:pos x="connsiteX48999" y="connsiteY48999"/>
              </a:cxn>
              <a:cxn ang="0">
                <a:pos x="connsiteX49000" y="connsiteY49000"/>
              </a:cxn>
              <a:cxn ang="0">
                <a:pos x="connsiteX49001" y="connsiteY49001"/>
              </a:cxn>
              <a:cxn ang="0">
                <a:pos x="connsiteX49002" y="connsiteY49002"/>
              </a:cxn>
              <a:cxn ang="0">
                <a:pos x="connsiteX49003" y="connsiteY49003"/>
              </a:cxn>
              <a:cxn ang="0">
                <a:pos x="connsiteX49004" y="connsiteY49004"/>
              </a:cxn>
              <a:cxn ang="0">
                <a:pos x="connsiteX49005" y="connsiteY49005"/>
              </a:cxn>
              <a:cxn ang="0">
                <a:pos x="connsiteX49006" y="connsiteY49006"/>
              </a:cxn>
              <a:cxn ang="0">
                <a:pos x="connsiteX49007" y="connsiteY49007"/>
              </a:cxn>
              <a:cxn ang="0">
                <a:pos x="connsiteX49008" y="connsiteY49008"/>
              </a:cxn>
              <a:cxn ang="0">
                <a:pos x="connsiteX49009" y="connsiteY49009"/>
              </a:cxn>
              <a:cxn ang="0">
                <a:pos x="connsiteX49010" y="connsiteY49010"/>
              </a:cxn>
              <a:cxn ang="0">
                <a:pos x="connsiteX49011" y="connsiteY49011"/>
              </a:cxn>
              <a:cxn ang="0">
                <a:pos x="connsiteX49012" y="connsiteY49012"/>
              </a:cxn>
              <a:cxn ang="0">
                <a:pos x="connsiteX49013" y="connsiteY49013"/>
              </a:cxn>
              <a:cxn ang="0">
                <a:pos x="connsiteX49014" y="connsiteY49014"/>
              </a:cxn>
              <a:cxn ang="0">
                <a:pos x="connsiteX49015" y="connsiteY49015"/>
              </a:cxn>
              <a:cxn ang="0">
                <a:pos x="connsiteX49016" y="connsiteY49016"/>
              </a:cxn>
              <a:cxn ang="0">
                <a:pos x="connsiteX49017" y="connsiteY49017"/>
              </a:cxn>
              <a:cxn ang="0">
                <a:pos x="connsiteX49018" y="connsiteY49018"/>
              </a:cxn>
              <a:cxn ang="0">
                <a:pos x="connsiteX49019" y="connsiteY49019"/>
              </a:cxn>
              <a:cxn ang="0">
                <a:pos x="connsiteX49020" y="connsiteY49020"/>
              </a:cxn>
              <a:cxn ang="0">
                <a:pos x="connsiteX49021" y="connsiteY49021"/>
              </a:cxn>
              <a:cxn ang="0">
                <a:pos x="connsiteX49022" y="connsiteY49022"/>
              </a:cxn>
              <a:cxn ang="0">
                <a:pos x="connsiteX49023" y="connsiteY49023"/>
              </a:cxn>
              <a:cxn ang="0">
                <a:pos x="connsiteX49024" y="connsiteY49024"/>
              </a:cxn>
              <a:cxn ang="0">
                <a:pos x="connsiteX49025" y="connsiteY49025"/>
              </a:cxn>
              <a:cxn ang="0">
                <a:pos x="connsiteX49026" y="connsiteY49026"/>
              </a:cxn>
              <a:cxn ang="0">
                <a:pos x="connsiteX49027" y="connsiteY49027"/>
              </a:cxn>
              <a:cxn ang="0">
                <a:pos x="connsiteX49028" y="connsiteY49028"/>
              </a:cxn>
              <a:cxn ang="0">
                <a:pos x="connsiteX49029" y="connsiteY49029"/>
              </a:cxn>
              <a:cxn ang="0">
                <a:pos x="connsiteX49030" y="connsiteY49030"/>
              </a:cxn>
              <a:cxn ang="0">
                <a:pos x="connsiteX49031" y="connsiteY49031"/>
              </a:cxn>
              <a:cxn ang="0">
                <a:pos x="connsiteX49032" y="connsiteY49032"/>
              </a:cxn>
              <a:cxn ang="0">
                <a:pos x="connsiteX49033" y="connsiteY49033"/>
              </a:cxn>
              <a:cxn ang="0">
                <a:pos x="connsiteX49034" y="connsiteY49034"/>
              </a:cxn>
              <a:cxn ang="0">
                <a:pos x="connsiteX49035" y="connsiteY49035"/>
              </a:cxn>
              <a:cxn ang="0">
                <a:pos x="connsiteX49036" y="connsiteY49036"/>
              </a:cxn>
              <a:cxn ang="0">
                <a:pos x="connsiteX49037" y="connsiteY49037"/>
              </a:cxn>
              <a:cxn ang="0">
                <a:pos x="connsiteX49038" y="connsiteY49038"/>
              </a:cxn>
              <a:cxn ang="0">
                <a:pos x="connsiteX49039" y="connsiteY49039"/>
              </a:cxn>
              <a:cxn ang="0">
                <a:pos x="connsiteX49040" y="connsiteY49040"/>
              </a:cxn>
              <a:cxn ang="0">
                <a:pos x="connsiteX49041" y="connsiteY49041"/>
              </a:cxn>
              <a:cxn ang="0">
                <a:pos x="connsiteX49042" y="connsiteY49042"/>
              </a:cxn>
              <a:cxn ang="0">
                <a:pos x="connsiteX49043" y="connsiteY49043"/>
              </a:cxn>
              <a:cxn ang="0">
                <a:pos x="connsiteX49044" y="connsiteY49044"/>
              </a:cxn>
              <a:cxn ang="0">
                <a:pos x="connsiteX49045" y="connsiteY49045"/>
              </a:cxn>
              <a:cxn ang="0">
                <a:pos x="connsiteX49046" y="connsiteY49046"/>
              </a:cxn>
              <a:cxn ang="0">
                <a:pos x="connsiteX49047" y="connsiteY49047"/>
              </a:cxn>
              <a:cxn ang="0">
                <a:pos x="connsiteX49048" y="connsiteY49048"/>
              </a:cxn>
              <a:cxn ang="0">
                <a:pos x="connsiteX49049" y="connsiteY49049"/>
              </a:cxn>
              <a:cxn ang="0">
                <a:pos x="connsiteX49050" y="connsiteY49050"/>
              </a:cxn>
              <a:cxn ang="0">
                <a:pos x="connsiteX49051" y="connsiteY49051"/>
              </a:cxn>
              <a:cxn ang="0">
                <a:pos x="connsiteX49052" y="connsiteY49052"/>
              </a:cxn>
              <a:cxn ang="0">
                <a:pos x="connsiteX49053" y="connsiteY49053"/>
              </a:cxn>
              <a:cxn ang="0">
                <a:pos x="connsiteX49054" y="connsiteY49054"/>
              </a:cxn>
              <a:cxn ang="0">
                <a:pos x="connsiteX49055" y="connsiteY49055"/>
              </a:cxn>
              <a:cxn ang="0">
                <a:pos x="connsiteX49056" y="connsiteY49056"/>
              </a:cxn>
              <a:cxn ang="0">
                <a:pos x="connsiteX49057" y="connsiteY49057"/>
              </a:cxn>
              <a:cxn ang="0">
                <a:pos x="connsiteX49058" y="connsiteY49058"/>
              </a:cxn>
              <a:cxn ang="0">
                <a:pos x="connsiteX49059" y="connsiteY49059"/>
              </a:cxn>
              <a:cxn ang="0">
                <a:pos x="connsiteX49060" y="connsiteY49060"/>
              </a:cxn>
              <a:cxn ang="0">
                <a:pos x="connsiteX49061" y="connsiteY49061"/>
              </a:cxn>
              <a:cxn ang="0">
                <a:pos x="connsiteX49062" y="connsiteY49062"/>
              </a:cxn>
              <a:cxn ang="0">
                <a:pos x="connsiteX49063" y="connsiteY49063"/>
              </a:cxn>
              <a:cxn ang="0">
                <a:pos x="connsiteX49064" y="connsiteY49064"/>
              </a:cxn>
              <a:cxn ang="0">
                <a:pos x="connsiteX49065" y="connsiteY49065"/>
              </a:cxn>
              <a:cxn ang="0">
                <a:pos x="connsiteX49066" y="connsiteY49066"/>
              </a:cxn>
              <a:cxn ang="0">
                <a:pos x="connsiteX49067" y="connsiteY49067"/>
              </a:cxn>
              <a:cxn ang="0">
                <a:pos x="connsiteX49068" y="connsiteY49068"/>
              </a:cxn>
              <a:cxn ang="0">
                <a:pos x="connsiteX49069" y="connsiteY49069"/>
              </a:cxn>
              <a:cxn ang="0">
                <a:pos x="connsiteX49070" y="connsiteY49070"/>
              </a:cxn>
              <a:cxn ang="0">
                <a:pos x="connsiteX49071" y="connsiteY49071"/>
              </a:cxn>
              <a:cxn ang="0">
                <a:pos x="connsiteX49072" y="connsiteY49072"/>
              </a:cxn>
              <a:cxn ang="0">
                <a:pos x="connsiteX49073" y="connsiteY49073"/>
              </a:cxn>
              <a:cxn ang="0">
                <a:pos x="connsiteX49074" y="connsiteY49074"/>
              </a:cxn>
              <a:cxn ang="0">
                <a:pos x="connsiteX49075" y="connsiteY49075"/>
              </a:cxn>
              <a:cxn ang="0">
                <a:pos x="connsiteX49076" y="connsiteY49076"/>
              </a:cxn>
              <a:cxn ang="0">
                <a:pos x="connsiteX49077" y="connsiteY49077"/>
              </a:cxn>
              <a:cxn ang="0">
                <a:pos x="connsiteX49078" y="connsiteY49078"/>
              </a:cxn>
              <a:cxn ang="0">
                <a:pos x="connsiteX49079" y="connsiteY49079"/>
              </a:cxn>
              <a:cxn ang="0">
                <a:pos x="connsiteX49080" y="connsiteY49080"/>
              </a:cxn>
              <a:cxn ang="0">
                <a:pos x="connsiteX49081" y="connsiteY49081"/>
              </a:cxn>
              <a:cxn ang="0">
                <a:pos x="connsiteX49082" y="connsiteY49082"/>
              </a:cxn>
              <a:cxn ang="0">
                <a:pos x="connsiteX49083" y="connsiteY49083"/>
              </a:cxn>
              <a:cxn ang="0">
                <a:pos x="connsiteX49084" y="connsiteY49084"/>
              </a:cxn>
              <a:cxn ang="0">
                <a:pos x="connsiteX49085" y="connsiteY49085"/>
              </a:cxn>
              <a:cxn ang="0">
                <a:pos x="connsiteX49086" y="connsiteY49086"/>
              </a:cxn>
              <a:cxn ang="0">
                <a:pos x="connsiteX49087" y="connsiteY49087"/>
              </a:cxn>
              <a:cxn ang="0">
                <a:pos x="connsiteX49088" y="connsiteY49088"/>
              </a:cxn>
              <a:cxn ang="0">
                <a:pos x="connsiteX49089" y="connsiteY49089"/>
              </a:cxn>
              <a:cxn ang="0">
                <a:pos x="connsiteX49090" y="connsiteY49090"/>
              </a:cxn>
              <a:cxn ang="0">
                <a:pos x="connsiteX49091" y="connsiteY49091"/>
              </a:cxn>
              <a:cxn ang="0">
                <a:pos x="connsiteX49092" y="connsiteY49092"/>
              </a:cxn>
              <a:cxn ang="0">
                <a:pos x="connsiteX49093" y="connsiteY49093"/>
              </a:cxn>
              <a:cxn ang="0">
                <a:pos x="connsiteX49094" y="connsiteY49094"/>
              </a:cxn>
              <a:cxn ang="0">
                <a:pos x="connsiteX49095" y="connsiteY49095"/>
              </a:cxn>
              <a:cxn ang="0">
                <a:pos x="connsiteX49096" y="connsiteY49096"/>
              </a:cxn>
              <a:cxn ang="0">
                <a:pos x="connsiteX49097" y="connsiteY49097"/>
              </a:cxn>
              <a:cxn ang="0">
                <a:pos x="connsiteX49098" y="connsiteY49098"/>
              </a:cxn>
              <a:cxn ang="0">
                <a:pos x="connsiteX49099" y="connsiteY49099"/>
              </a:cxn>
              <a:cxn ang="0">
                <a:pos x="connsiteX49100" y="connsiteY49100"/>
              </a:cxn>
              <a:cxn ang="0">
                <a:pos x="connsiteX49101" y="connsiteY49101"/>
              </a:cxn>
              <a:cxn ang="0">
                <a:pos x="connsiteX49102" y="connsiteY49102"/>
              </a:cxn>
              <a:cxn ang="0">
                <a:pos x="connsiteX49103" y="connsiteY49103"/>
              </a:cxn>
              <a:cxn ang="0">
                <a:pos x="connsiteX49104" y="connsiteY49104"/>
              </a:cxn>
              <a:cxn ang="0">
                <a:pos x="connsiteX49105" y="connsiteY49105"/>
              </a:cxn>
              <a:cxn ang="0">
                <a:pos x="connsiteX49106" y="connsiteY49106"/>
              </a:cxn>
              <a:cxn ang="0">
                <a:pos x="connsiteX49107" y="connsiteY49107"/>
              </a:cxn>
              <a:cxn ang="0">
                <a:pos x="connsiteX49108" y="connsiteY49108"/>
              </a:cxn>
              <a:cxn ang="0">
                <a:pos x="connsiteX49109" y="connsiteY49109"/>
              </a:cxn>
              <a:cxn ang="0">
                <a:pos x="connsiteX49110" y="connsiteY49110"/>
              </a:cxn>
              <a:cxn ang="0">
                <a:pos x="connsiteX49111" y="connsiteY49111"/>
              </a:cxn>
              <a:cxn ang="0">
                <a:pos x="connsiteX49112" y="connsiteY49112"/>
              </a:cxn>
              <a:cxn ang="0">
                <a:pos x="connsiteX49113" y="connsiteY49113"/>
              </a:cxn>
              <a:cxn ang="0">
                <a:pos x="connsiteX49114" y="connsiteY49114"/>
              </a:cxn>
              <a:cxn ang="0">
                <a:pos x="connsiteX49115" y="connsiteY49115"/>
              </a:cxn>
              <a:cxn ang="0">
                <a:pos x="connsiteX49116" y="connsiteY49116"/>
              </a:cxn>
              <a:cxn ang="0">
                <a:pos x="connsiteX49117" y="connsiteY49117"/>
              </a:cxn>
              <a:cxn ang="0">
                <a:pos x="connsiteX49118" y="connsiteY49118"/>
              </a:cxn>
              <a:cxn ang="0">
                <a:pos x="connsiteX49119" y="connsiteY49119"/>
              </a:cxn>
              <a:cxn ang="0">
                <a:pos x="connsiteX49120" y="connsiteY49120"/>
              </a:cxn>
              <a:cxn ang="0">
                <a:pos x="connsiteX49121" y="connsiteY49121"/>
              </a:cxn>
              <a:cxn ang="0">
                <a:pos x="connsiteX49122" y="connsiteY49122"/>
              </a:cxn>
              <a:cxn ang="0">
                <a:pos x="connsiteX49123" y="connsiteY49123"/>
              </a:cxn>
              <a:cxn ang="0">
                <a:pos x="connsiteX49124" y="connsiteY49124"/>
              </a:cxn>
              <a:cxn ang="0">
                <a:pos x="connsiteX49125" y="connsiteY49125"/>
              </a:cxn>
              <a:cxn ang="0">
                <a:pos x="connsiteX49126" y="connsiteY49126"/>
              </a:cxn>
              <a:cxn ang="0">
                <a:pos x="connsiteX49127" y="connsiteY49127"/>
              </a:cxn>
              <a:cxn ang="0">
                <a:pos x="connsiteX49128" y="connsiteY49128"/>
              </a:cxn>
              <a:cxn ang="0">
                <a:pos x="connsiteX49129" y="connsiteY49129"/>
              </a:cxn>
              <a:cxn ang="0">
                <a:pos x="connsiteX49130" y="connsiteY49130"/>
              </a:cxn>
              <a:cxn ang="0">
                <a:pos x="connsiteX49131" y="connsiteY49131"/>
              </a:cxn>
              <a:cxn ang="0">
                <a:pos x="connsiteX49132" y="connsiteY49132"/>
              </a:cxn>
              <a:cxn ang="0">
                <a:pos x="connsiteX49133" y="connsiteY49133"/>
              </a:cxn>
              <a:cxn ang="0">
                <a:pos x="connsiteX49134" y="connsiteY49134"/>
              </a:cxn>
              <a:cxn ang="0">
                <a:pos x="connsiteX49135" y="connsiteY49135"/>
              </a:cxn>
              <a:cxn ang="0">
                <a:pos x="connsiteX49136" y="connsiteY49136"/>
              </a:cxn>
              <a:cxn ang="0">
                <a:pos x="connsiteX49137" y="connsiteY49137"/>
              </a:cxn>
              <a:cxn ang="0">
                <a:pos x="connsiteX49138" y="connsiteY49138"/>
              </a:cxn>
              <a:cxn ang="0">
                <a:pos x="connsiteX49139" y="connsiteY49139"/>
              </a:cxn>
              <a:cxn ang="0">
                <a:pos x="connsiteX49140" y="connsiteY49140"/>
              </a:cxn>
              <a:cxn ang="0">
                <a:pos x="connsiteX49141" y="connsiteY49141"/>
              </a:cxn>
              <a:cxn ang="0">
                <a:pos x="connsiteX49142" y="connsiteY49142"/>
              </a:cxn>
              <a:cxn ang="0">
                <a:pos x="connsiteX49143" y="connsiteY49143"/>
              </a:cxn>
              <a:cxn ang="0">
                <a:pos x="connsiteX49144" y="connsiteY49144"/>
              </a:cxn>
              <a:cxn ang="0">
                <a:pos x="connsiteX49145" y="connsiteY49145"/>
              </a:cxn>
              <a:cxn ang="0">
                <a:pos x="connsiteX49146" y="connsiteY49146"/>
              </a:cxn>
              <a:cxn ang="0">
                <a:pos x="connsiteX49147" y="connsiteY49147"/>
              </a:cxn>
              <a:cxn ang="0">
                <a:pos x="connsiteX49148" y="connsiteY49148"/>
              </a:cxn>
              <a:cxn ang="0">
                <a:pos x="connsiteX49149" y="connsiteY49149"/>
              </a:cxn>
              <a:cxn ang="0">
                <a:pos x="connsiteX49150" y="connsiteY49150"/>
              </a:cxn>
              <a:cxn ang="0">
                <a:pos x="connsiteX49151" y="connsiteY49151"/>
              </a:cxn>
              <a:cxn ang="0">
                <a:pos x="connsiteX49152" y="connsiteY49152"/>
              </a:cxn>
              <a:cxn ang="0">
                <a:pos x="connsiteX49153" y="connsiteY49153"/>
              </a:cxn>
              <a:cxn ang="0">
                <a:pos x="connsiteX49154" y="connsiteY49154"/>
              </a:cxn>
              <a:cxn ang="0">
                <a:pos x="connsiteX49155" y="connsiteY49155"/>
              </a:cxn>
              <a:cxn ang="0">
                <a:pos x="connsiteX49156" y="connsiteY49156"/>
              </a:cxn>
              <a:cxn ang="0">
                <a:pos x="connsiteX49157" y="connsiteY49157"/>
              </a:cxn>
              <a:cxn ang="0">
                <a:pos x="connsiteX49158" y="connsiteY49158"/>
              </a:cxn>
              <a:cxn ang="0">
                <a:pos x="connsiteX49159" y="connsiteY49159"/>
              </a:cxn>
              <a:cxn ang="0">
                <a:pos x="connsiteX49160" y="connsiteY49160"/>
              </a:cxn>
              <a:cxn ang="0">
                <a:pos x="connsiteX49161" y="connsiteY49161"/>
              </a:cxn>
              <a:cxn ang="0">
                <a:pos x="connsiteX49162" y="connsiteY49162"/>
              </a:cxn>
              <a:cxn ang="0">
                <a:pos x="connsiteX49163" y="connsiteY49163"/>
              </a:cxn>
              <a:cxn ang="0">
                <a:pos x="connsiteX49164" y="connsiteY49164"/>
              </a:cxn>
              <a:cxn ang="0">
                <a:pos x="connsiteX49165" y="connsiteY49165"/>
              </a:cxn>
              <a:cxn ang="0">
                <a:pos x="connsiteX49166" y="connsiteY49166"/>
              </a:cxn>
              <a:cxn ang="0">
                <a:pos x="connsiteX49167" y="connsiteY49167"/>
              </a:cxn>
              <a:cxn ang="0">
                <a:pos x="connsiteX49168" y="connsiteY49168"/>
              </a:cxn>
              <a:cxn ang="0">
                <a:pos x="connsiteX49169" y="connsiteY49169"/>
              </a:cxn>
              <a:cxn ang="0">
                <a:pos x="connsiteX49170" y="connsiteY49170"/>
              </a:cxn>
              <a:cxn ang="0">
                <a:pos x="connsiteX49171" y="connsiteY49171"/>
              </a:cxn>
              <a:cxn ang="0">
                <a:pos x="connsiteX49172" y="connsiteY49172"/>
              </a:cxn>
              <a:cxn ang="0">
                <a:pos x="connsiteX49173" y="connsiteY49173"/>
              </a:cxn>
              <a:cxn ang="0">
                <a:pos x="connsiteX49174" y="connsiteY49174"/>
              </a:cxn>
              <a:cxn ang="0">
                <a:pos x="connsiteX49175" y="connsiteY49175"/>
              </a:cxn>
              <a:cxn ang="0">
                <a:pos x="connsiteX49176" y="connsiteY49176"/>
              </a:cxn>
              <a:cxn ang="0">
                <a:pos x="connsiteX49177" y="connsiteY49177"/>
              </a:cxn>
              <a:cxn ang="0">
                <a:pos x="connsiteX49178" y="connsiteY49178"/>
              </a:cxn>
              <a:cxn ang="0">
                <a:pos x="connsiteX49179" y="connsiteY49179"/>
              </a:cxn>
              <a:cxn ang="0">
                <a:pos x="connsiteX49180" y="connsiteY49180"/>
              </a:cxn>
              <a:cxn ang="0">
                <a:pos x="connsiteX49181" y="connsiteY49181"/>
              </a:cxn>
              <a:cxn ang="0">
                <a:pos x="connsiteX49182" y="connsiteY49182"/>
              </a:cxn>
              <a:cxn ang="0">
                <a:pos x="connsiteX49183" y="connsiteY49183"/>
              </a:cxn>
              <a:cxn ang="0">
                <a:pos x="connsiteX49184" y="connsiteY49184"/>
              </a:cxn>
              <a:cxn ang="0">
                <a:pos x="connsiteX49185" y="connsiteY49185"/>
              </a:cxn>
              <a:cxn ang="0">
                <a:pos x="connsiteX49186" y="connsiteY49186"/>
              </a:cxn>
              <a:cxn ang="0">
                <a:pos x="connsiteX49187" y="connsiteY49187"/>
              </a:cxn>
              <a:cxn ang="0">
                <a:pos x="connsiteX49188" y="connsiteY49188"/>
              </a:cxn>
              <a:cxn ang="0">
                <a:pos x="connsiteX49189" y="connsiteY49189"/>
              </a:cxn>
              <a:cxn ang="0">
                <a:pos x="connsiteX49190" y="connsiteY49190"/>
              </a:cxn>
              <a:cxn ang="0">
                <a:pos x="connsiteX49191" y="connsiteY49191"/>
              </a:cxn>
              <a:cxn ang="0">
                <a:pos x="connsiteX49192" y="connsiteY49192"/>
              </a:cxn>
              <a:cxn ang="0">
                <a:pos x="connsiteX49193" y="connsiteY49193"/>
              </a:cxn>
              <a:cxn ang="0">
                <a:pos x="connsiteX49194" y="connsiteY49194"/>
              </a:cxn>
              <a:cxn ang="0">
                <a:pos x="connsiteX49195" y="connsiteY49195"/>
              </a:cxn>
              <a:cxn ang="0">
                <a:pos x="connsiteX49196" y="connsiteY49196"/>
              </a:cxn>
              <a:cxn ang="0">
                <a:pos x="connsiteX49197" y="connsiteY49197"/>
              </a:cxn>
              <a:cxn ang="0">
                <a:pos x="connsiteX49198" y="connsiteY49198"/>
              </a:cxn>
              <a:cxn ang="0">
                <a:pos x="connsiteX49199" y="connsiteY49199"/>
              </a:cxn>
              <a:cxn ang="0">
                <a:pos x="connsiteX49200" y="connsiteY49200"/>
              </a:cxn>
              <a:cxn ang="0">
                <a:pos x="connsiteX49201" y="connsiteY49201"/>
              </a:cxn>
              <a:cxn ang="0">
                <a:pos x="connsiteX49202" y="connsiteY49202"/>
              </a:cxn>
              <a:cxn ang="0">
                <a:pos x="connsiteX49203" y="connsiteY49203"/>
              </a:cxn>
              <a:cxn ang="0">
                <a:pos x="connsiteX49204" y="connsiteY49204"/>
              </a:cxn>
              <a:cxn ang="0">
                <a:pos x="connsiteX49205" y="connsiteY49205"/>
              </a:cxn>
              <a:cxn ang="0">
                <a:pos x="connsiteX49206" y="connsiteY49206"/>
              </a:cxn>
              <a:cxn ang="0">
                <a:pos x="connsiteX49207" y="connsiteY49207"/>
              </a:cxn>
              <a:cxn ang="0">
                <a:pos x="connsiteX49208" y="connsiteY49208"/>
              </a:cxn>
              <a:cxn ang="0">
                <a:pos x="connsiteX49209" y="connsiteY49209"/>
              </a:cxn>
              <a:cxn ang="0">
                <a:pos x="connsiteX49210" y="connsiteY49210"/>
              </a:cxn>
              <a:cxn ang="0">
                <a:pos x="connsiteX49211" y="connsiteY49211"/>
              </a:cxn>
              <a:cxn ang="0">
                <a:pos x="connsiteX49212" y="connsiteY49212"/>
              </a:cxn>
              <a:cxn ang="0">
                <a:pos x="connsiteX49213" y="connsiteY49213"/>
              </a:cxn>
              <a:cxn ang="0">
                <a:pos x="connsiteX49214" y="connsiteY49214"/>
              </a:cxn>
              <a:cxn ang="0">
                <a:pos x="connsiteX49215" y="connsiteY49215"/>
              </a:cxn>
              <a:cxn ang="0">
                <a:pos x="connsiteX49216" y="connsiteY49216"/>
              </a:cxn>
              <a:cxn ang="0">
                <a:pos x="connsiteX49217" y="connsiteY49217"/>
              </a:cxn>
              <a:cxn ang="0">
                <a:pos x="connsiteX49218" y="connsiteY49218"/>
              </a:cxn>
              <a:cxn ang="0">
                <a:pos x="connsiteX49219" y="connsiteY49219"/>
              </a:cxn>
              <a:cxn ang="0">
                <a:pos x="connsiteX49220" y="connsiteY49220"/>
              </a:cxn>
              <a:cxn ang="0">
                <a:pos x="connsiteX49221" y="connsiteY49221"/>
              </a:cxn>
              <a:cxn ang="0">
                <a:pos x="connsiteX49222" y="connsiteY49222"/>
              </a:cxn>
              <a:cxn ang="0">
                <a:pos x="connsiteX49223" y="connsiteY49223"/>
              </a:cxn>
              <a:cxn ang="0">
                <a:pos x="connsiteX49224" y="connsiteY49224"/>
              </a:cxn>
              <a:cxn ang="0">
                <a:pos x="connsiteX49225" y="connsiteY49225"/>
              </a:cxn>
              <a:cxn ang="0">
                <a:pos x="connsiteX49226" y="connsiteY49226"/>
              </a:cxn>
              <a:cxn ang="0">
                <a:pos x="connsiteX49227" y="connsiteY49227"/>
              </a:cxn>
              <a:cxn ang="0">
                <a:pos x="connsiteX49228" y="connsiteY49228"/>
              </a:cxn>
              <a:cxn ang="0">
                <a:pos x="connsiteX49229" y="connsiteY49229"/>
              </a:cxn>
              <a:cxn ang="0">
                <a:pos x="connsiteX49230" y="connsiteY49230"/>
              </a:cxn>
              <a:cxn ang="0">
                <a:pos x="connsiteX49231" y="connsiteY49231"/>
              </a:cxn>
              <a:cxn ang="0">
                <a:pos x="connsiteX49232" y="connsiteY49232"/>
              </a:cxn>
              <a:cxn ang="0">
                <a:pos x="connsiteX49233" y="connsiteY49233"/>
              </a:cxn>
              <a:cxn ang="0">
                <a:pos x="connsiteX49234" y="connsiteY49234"/>
              </a:cxn>
              <a:cxn ang="0">
                <a:pos x="connsiteX49235" y="connsiteY49235"/>
              </a:cxn>
              <a:cxn ang="0">
                <a:pos x="connsiteX49236" y="connsiteY49236"/>
              </a:cxn>
              <a:cxn ang="0">
                <a:pos x="connsiteX49237" y="connsiteY49237"/>
              </a:cxn>
              <a:cxn ang="0">
                <a:pos x="connsiteX49238" y="connsiteY49238"/>
              </a:cxn>
              <a:cxn ang="0">
                <a:pos x="connsiteX49239" y="connsiteY49239"/>
              </a:cxn>
              <a:cxn ang="0">
                <a:pos x="connsiteX49240" y="connsiteY49240"/>
              </a:cxn>
              <a:cxn ang="0">
                <a:pos x="connsiteX49241" y="connsiteY49241"/>
              </a:cxn>
              <a:cxn ang="0">
                <a:pos x="connsiteX49242" y="connsiteY49242"/>
              </a:cxn>
              <a:cxn ang="0">
                <a:pos x="connsiteX49243" y="connsiteY49243"/>
              </a:cxn>
              <a:cxn ang="0">
                <a:pos x="connsiteX49244" y="connsiteY49244"/>
              </a:cxn>
              <a:cxn ang="0">
                <a:pos x="connsiteX49245" y="connsiteY49245"/>
              </a:cxn>
              <a:cxn ang="0">
                <a:pos x="connsiteX49246" y="connsiteY49246"/>
              </a:cxn>
              <a:cxn ang="0">
                <a:pos x="connsiteX49247" y="connsiteY49247"/>
              </a:cxn>
              <a:cxn ang="0">
                <a:pos x="connsiteX49248" y="connsiteY49248"/>
              </a:cxn>
              <a:cxn ang="0">
                <a:pos x="connsiteX49249" y="connsiteY49249"/>
              </a:cxn>
              <a:cxn ang="0">
                <a:pos x="connsiteX49250" y="connsiteY49250"/>
              </a:cxn>
              <a:cxn ang="0">
                <a:pos x="connsiteX49251" y="connsiteY49251"/>
              </a:cxn>
              <a:cxn ang="0">
                <a:pos x="connsiteX49252" y="connsiteY49252"/>
              </a:cxn>
              <a:cxn ang="0">
                <a:pos x="connsiteX49253" y="connsiteY49253"/>
              </a:cxn>
              <a:cxn ang="0">
                <a:pos x="connsiteX49254" y="connsiteY49254"/>
              </a:cxn>
              <a:cxn ang="0">
                <a:pos x="connsiteX49255" y="connsiteY49255"/>
              </a:cxn>
              <a:cxn ang="0">
                <a:pos x="connsiteX49256" y="connsiteY49256"/>
              </a:cxn>
              <a:cxn ang="0">
                <a:pos x="connsiteX49257" y="connsiteY49257"/>
              </a:cxn>
              <a:cxn ang="0">
                <a:pos x="connsiteX49258" y="connsiteY49258"/>
              </a:cxn>
              <a:cxn ang="0">
                <a:pos x="connsiteX49259" y="connsiteY49259"/>
              </a:cxn>
              <a:cxn ang="0">
                <a:pos x="connsiteX49260" y="connsiteY49260"/>
              </a:cxn>
              <a:cxn ang="0">
                <a:pos x="connsiteX49261" y="connsiteY49261"/>
              </a:cxn>
              <a:cxn ang="0">
                <a:pos x="connsiteX49262" y="connsiteY49262"/>
              </a:cxn>
              <a:cxn ang="0">
                <a:pos x="connsiteX49263" y="connsiteY49263"/>
              </a:cxn>
              <a:cxn ang="0">
                <a:pos x="connsiteX49264" y="connsiteY49264"/>
              </a:cxn>
              <a:cxn ang="0">
                <a:pos x="connsiteX49265" y="connsiteY49265"/>
              </a:cxn>
              <a:cxn ang="0">
                <a:pos x="connsiteX49266" y="connsiteY49266"/>
              </a:cxn>
              <a:cxn ang="0">
                <a:pos x="connsiteX49267" y="connsiteY49267"/>
              </a:cxn>
              <a:cxn ang="0">
                <a:pos x="connsiteX49268" y="connsiteY49268"/>
              </a:cxn>
              <a:cxn ang="0">
                <a:pos x="connsiteX49269" y="connsiteY49269"/>
              </a:cxn>
              <a:cxn ang="0">
                <a:pos x="connsiteX49270" y="connsiteY49270"/>
              </a:cxn>
              <a:cxn ang="0">
                <a:pos x="connsiteX49271" y="connsiteY49271"/>
              </a:cxn>
              <a:cxn ang="0">
                <a:pos x="connsiteX49272" y="connsiteY49272"/>
              </a:cxn>
              <a:cxn ang="0">
                <a:pos x="connsiteX49273" y="connsiteY49273"/>
              </a:cxn>
              <a:cxn ang="0">
                <a:pos x="connsiteX49274" y="connsiteY49274"/>
              </a:cxn>
              <a:cxn ang="0">
                <a:pos x="connsiteX49275" y="connsiteY49275"/>
              </a:cxn>
              <a:cxn ang="0">
                <a:pos x="connsiteX49276" y="connsiteY49276"/>
              </a:cxn>
              <a:cxn ang="0">
                <a:pos x="connsiteX49277" y="connsiteY49277"/>
              </a:cxn>
              <a:cxn ang="0">
                <a:pos x="connsiteX49278" y="connsiteY49278"/>
              </a:cxn>
              <a:cxn ang="0">
                <a:pos x="connsiteX49279" y="connsiteY49279"/>
              </a:cxn>
              <a:cxn ang="0">
                <a:pos x="connsiteX49280" y="connsiteY49280"/>
              </a:cxn>
              <a:cxn ang="0">
                <a:pos x="connsiteX49281" y="connsiteY49281"/>
              </a:cxn>
              <a:cxn ang="0">
                <a:pos x="connsiteX49282" y="connsiteY49282"/>
              </a:cxn>
              <a:cxn ang="0">
                <a:pos x="connsiteX49283" y="connsiteY49283"/>
              </a:cxn>
              <a:cxn ang="0">
                <a:pos x="connsiteX49284" y="connsiteY49284"/>
              </a:cxn>
              <a:cxn ang="0">
                <a:pos x="connsiteX49285" y="connsiteY49285"/>
              </a:cxn>
              <a:cxn ang="0">
                <a:pos x="connsiteX49286" y="connsiteY49286"/>
              </a:cxn>
              <a:cxn ang="0">
                <a:pos x="connsiteX49287" y="connsiteY49287"/>
              </a:cxn>
              <a:cxn ang="0">
                <a:pos x="connsiteX49288" y="connsiteY49288"/>
              </a:cxn>
              <a:cxn ang="0">
                <a:pos x="connsiteX49289" y="connsiteY49289"/>
              </a:cxn>
              <a:cxn ang="0">
                <a:pos x="connsiteX49290" y="connsiteY49290"/>
              </a:cxn>
              <a:cxn ang="0">
                <a:pos x="connsiteX49291" y="connsiteY49291"/>
              </a:cxn>
              <a:cxn ang="0">
                <a:pos x="connsiteX49292" y="connsiteY49292"/>
              </a:cxn>
              <a:cxn ang="0">
                <a:pos x="connsiteX49293" y="connsiteY49293"/>
              </a:cxn>
              <a:cxn ang="0">
                <a:pos x="connsiteX49294" y="connsiteY49294"/>
              </a:cxn>
              <a:cxn ang="0">
                <a:pos x="connsiteX49295" y="connsiteY49295"/>
              </a:cxn>
              <a:cxn ang="0">
                <a:pos x="connsiteX49296" y="connsiteY49296"/>
              </a:cxn>
              <a:cxn ang="0">
                <a:pos x="connsiteX49297" y="connsiteY49297"/>
              </a:cxn>
              <a:cxn ang="0">
                <a:pos x="connsiteX49298" y="connsiteY49298"/>
              </a:cxn>
              <a:cxn ang="0">
                <a:pos x="connsiteX49299" y="connsiteY49299"/>
              </a:cxn>
              <a:cxn ang="0">
                <a:pos x="connsiteX49300" y="connsiteY49300"/>
              </a:cxn>
              <a:cxn ang="0">
                <a:pos x="connsiteX49301" y="connsiteY49301"/>
              </a:cxn>
              <a:cxn ang="0">
                <a:pos x="connsiteX49302" y="connsiteY49302"/>
              </a:cxn>
              <a:cxn ang="0">
                <a:pos x="connsiteX49303" y="connsiteY49303"/>
              </a:cxn>
              <a:cxn ang="0">
                <a:pos x="connsiteX49304" y="connsiteY49304"/>
              </a:cxn>
              <a:cxn ang="0">
                <a:pos x="connsiteX49305" y="connsiteY49305"/>
              </a:cxn>
              <a:cxn ang="0">
                <a:pos x="connsiteX49306" y="connsiteY49306"/>
              </a:cxn>
              <a:cxn ang="0">
                <a:pos x="connsiteX49307" y="connsiteY49307"/>
              </a:cxn>
              <a:cxn ang="0">
                <a:pos x="connsiteX49308" y="connsiteY49308"/>
              </a:cxn>
              <a:cxn ang="0">
                <a:pos x="connsiteX49309" y="connsiteY49309"/>
              </a:cxn>
              <a:cxn ang="0">
                <a:pos x="connsiteX49310" y="connsiteY49310"/>
              </a:cxn>
              <a:cxn ang="0">
                <a:pos x="connsiteX49311" y="connsiteY49311"/>
              </a:cxn>
              <a:cxn ang="0">
                <a:pos x="connsiteX49312" y="connsiteY49312"/>
              </a:cxn>
              <a:cxn ang="0">
                <a:pos x="connsiteX49313" y="connsiteY49313"/>
              </a:cxn>
              <a:cxn ang="0">
                <a:pos x="connsiteX49314" y="connsiteY49314"/>
              </a:cxn>
              <a:cxn ang="0">
                <a:pos x="connsiteX49315" y="connsiteY49315"/>
              </a:cxn>
              <a:cxn ang="0">
                <a:pos x="connsiteX49316" y="connsiteY49316"/>
              </a:cxn>
              <a:cxn ang="0">
                <a:pos x="connsiteX49317" y="connsiteY49317"/>
              </a:cxn>
              <a:cxn ang="0">
                <a:pos x="connsiteX49318" y="connsiteY49318"/>
              </a:cxn>
              <a:cxn ang="0">
                <a:pos x="connsiteX49319" y="connsiteY49319"/>
              </a:cxn>
              <a:cxn ang="0">
                <a:pos x="connsiteX49320" y="connsiteY49320"/>
              </a:cxn>
              <a:cxn ang="0">
                <a:pos x="connsiteX49321" y="connsiteY49321"/>
              </a:cxn>
              <a:cxn ang="0">
                <a:pos x="connsiteX49322" y="connsiteY49322"/>
              </a:cxn>
              <a:cxn ang="0">
                <a:pos x="connsiteX49323" y="connsiteY49323"/>
              </a:cxn>
              <a:cxn ang="0">
                <a:pos x="connsiteX49324" y="connsiteY49324"/>
              </a:cxn>
              <a:cxn ang="0">
                <a:pos x="connsiteX49325" y="connsiteY49325"/>
              </a:cxn>
              <a:cxn ang="0">
                <a:pos x="connsiteX49326" y="connsiteY49326"/>
              </a:cxn>
              <a:cxn ang="0">
                <a:pos x="connsiteX49327" y="connsiteY49327"/>
              </a:cxn>
              <a:cxn ang="0">
                <a:pos x="connsiteX49328" y="connsiteY49328"/>
              </a:cxn>
              <a:cxn ang="0">
                <a:pos x="connsiteX49329" y="connsiteY49329"/>
              </a:cxn>
              <a:cxn ang="0">
                <a:pos x="connsiteX49330" y="connsiteY49330"/>
              </a:cxn>
              <a:cxn ang="0">
                <a:pos x="connsiteX49331" y="connsiteY49331"/>
              </a:cxn>
              <a:cxn ang="0">
                <a:pos x="connsiteX49332" y="connsiteY49332"/>
              </a:cxn>
              <a:cxn ang="0">
                <a:pos x="connsiteX49333" y="connsiteY49333"/>
              </a:cxn>
              <a:cxn ang="0">
                <a:pos x="connsiteX49334" y="connsiteY49334"/>
              </a:cxn>
              <a:cxn ang="0">
                <a:pos x="connsiteX49335" y="connsiteY49335"/>
              </a:cxn>
              <a:cxn ang="0">
                <a:pos x="connsiteX49336" y="connsiteY49336"/>
              </a:cxn>
              <a:cxn ang="0">
                <a:pos x="connsiteX49337" y="connsiteY49337"/>
              </a:cxn>
              <a:cxn ang="0">
                <a:pos x="connsiteX49338" y="connsiteY49338"/>
              </a:cxn>
              <a:cxn ang="0">
                <a:pos x="connsiteX49339" y="connsiteY49339"/>
              </a:cxn>
              <a:cxn ang="0">
                <a:pos x="connsiteX49340" y="connsiteY49340"/>
              </a:cxn>
              <a:cxn ang="0">
                <a:pos x="connsiteX49341" y="connsiteY49341"/>
              </a:cxn>
              <a:cxn ang="0">
                <a:pos x="connsiteX49342" y="connsiteY49342"/>
              </a:cxn>
              <a:cxn ang="0">
                <a:pos x="connsiteX49343" y="connsiteY49343"/>
              </a:cxn>
              <a:cxn ang="0">
                <a:pos x="connsiteX49344" y="connsiteY49344"/>
              </a:cxn>
              <a:cxn ang="0">
                <a:pos x="connsiteX49345" y="connsiteY49345"/>
              </a:cxn>
              <a:cxn ang="0">
                <a:pos x="connsiteX49346" y="connsiteY49346"/>
              </a:cxn>
              <a:cxn ang="0">
                <a:pos x="connsiteX49347" y="connsiteY49347"/>
              </a:cxn>
              <a:cxn ang="0">
                <a:pos x="connsiteX49348" y="connsiteY49348"/>
              </a:cxn>
              <a:cxn ang="0">
                <a:pos x="connsiteX49349" y="connsiteY49349"/>
              </a:cxn>
              <a:cxn ang="0">
                <a:pos x="connsiteX49350" y="connsiteY49350"/>
              </a:cxn>
              <a:cxn ang="0">
                <a:pos x="connsiteX49351" y="connsiteY49351"/>
              </a:cxn>
              <a:cxn ang="0">
                <a:pos x="connsiteX49352" y="connsiteY49352"/>
              </a:cxn>
              <a:cxn ang="0">
                <a:pos x="connsiteX49353" y="connsiteY49353"/>
              </a:cxn>
              <a:cxn ang="0">
                <a:pos x="connsiteX49354" y="connsiteY49354"/>
              </a:cxn>
              <a:cxn ang="0">
                <a:pos x="connsiteX49355" y="connsiteY49355"/>
              </a:cxn>
              <a:cxn ang="0">
                <a:pos x="connsiteX49356" y="connsiteY49356"/>
              </a:cxn>
              <a:cxn ang="0">
                <a:pos x="connsiteX49357" y="connsiteY49357"/>
              </a:cxn>
              <a:cxn ang="0">
                <a:pos x="connsiteX49358" y="connsiteY49358"/>
              </a:cxn>
              <a:cxn ang="0">
                <a:pos x="connsiteX49359" y="connsiteY49359"/>
              </a:cxn>
              <a:cxn ang="0">
                <a:pos x="connsiteX49360" y="connsiteY49360"/>
              </a:cxn>
              <a:cxn ang="0">
                <a:pos x="connsiteX49361" y="connsiteY49361"/>
              </a:cxn>
              <a:cxn ang="0">
                <a:pos x="connsiteX49362" y="connsiteY49362"/>
              </a:cxn>
              <a:cxn ang="0">
                <a:pos x="connsiteX49363" y="connsiteY49363"/>
              </a:cxn>
              <a:cxn ang="0">
                <a:pos x="connsiteX49364" y="connsiteY49364"/>
              </a:cxn>
              <a:cxn ang="0">
                <a:pos x="connsiteX49365" y="connsiteY49365"/>
              </a:cxn>
              <a:cxn ang="0">
                <a:pos x="connsiteX49366" y="connsiteY49366"/>
              </a:cxn>
              <a:cxn ang="0">
                <a:pos x="connsiteX49367" y="connsiteY49367"/>
              </a:cxn>
              <a:cxn ang="0">
                <a:pos x="connsiteX49368" y="connsiteY49368"/>
              </a:cxn>
              <a:cxn ang="0">
                <a:pos x="connsiteX49369" y="connsiteY49369"/>
              </a:cxn>
              <a:cxn ang="0">
                <a:pos x="connsiteX49370" y="connsiteY49370"/>
              </a:cxn>
              <a:cxn ang="0">
                <a:pos x="connsiteX49371" y="connsiteY49371"/>
              </a:cxn>
              <a:cxn ang="0">
                <a:pos x="connsiteX49372" y="connsiteY49372"/>
              </a:cxn>
              <a:cxn ang="0">
                <a:pos x="connsiteX49373" y="connsiteY49373"/>
              </a:cxn>
              <a:cxn ang="0">
                <a:pos x="connsiteX49374" y="connsiteY49374"/>
              </a:cxn>
              <a:cxn ang="0">
                <a:pos x="connsiteX49375" y="connsiteY49375"/>
              </a:cxn>
              <a:cxn ang="0">
                <a:pos x="connsiteX49376" y="connsiteY49376"/>
              </a:cxn>
              <a:cxn ang="0">
                <a:pos x="connsiteX49377" y="connsiteY49377"/>
              </a:cxn>
              <a:cxn ang="0">
                <a:pos x="connsiteX49378" y="connsiteY49378"/>
              </a:cxn>
              <a:cxn ang="0">
                <a:pos x="connsiteX49379" y="connsiteY49379"/>
              </a:cxn>
              <a:cxn ang="0">
                <a:pos x="connsiteX49380" y="connsiteY49380"/>
              </a:cxn>
              <a:cxn ang="0">
                <a:pos x="connsiteX49381" y="connsiteY49381"/>
              </a:cxn>
              <a:cxn ang="0">
                <a:pos x="connsiteX49382" y="connsiteY49382"/>
              </a:cxn>
              <a:cxn ang="0">
                <a:pos x="connsiteX49383" y="connsiteY49383"/>
              </a:cxn>
              <a:cxn ang="0">
                <a:pos x="connsiteX49384" y="connsiteY49384"/>
              </a:cxn>
              <a:cxn ang="0">
                <a:pos x="connsiteX49385" y="connsiteY49385"/>
              </a:cxn>
              <a:cxn ang="0">
                <a:pos x="connsiteX49386" y="connsiteY49386"/>
              </a:cxn>
              <a:cxn ang="0">
                <a:pos x="connsiteX49387" y="connsiteY49387"/>
              </a:cxn>
              <a:cxn ang="0">
                <a:pos x="connsiteX49388" y="connsiteY49388"/>
              </a:cxn>
              <a:cxn ang="0">
                <a:pos x="connsiteX49389" y="connsiteY49389"/>
              </a:cxn>
              <a:cxn ang="0">
                <a:pos x="connsiteX49390" y="connsiteY49390"/>
              </a:cxn>
              <a:cxn ang="0">
                <a:pos x="connsiteX49391" y="connsiteY49391"/>
              </a:cxn>
              <a:cxn ang="0">
                <a:pos x="connsiteX49392" y="connsiteY49392"/>
              </a:cxn>
              <a:cxn ang="0">
                <a:pos x="connsiteX49393" y="connsiteY49393"/>
              </a:cxn>
              <a:cxn ang="0">
                <a:pos x="connsiteX49394" y="connsiteY49394"/>
              </a:cxn>
              <a:cxn ang="0">
                <a:pos x="connsiteX49395" y="connsiteY49395"/>
              </a:cxn>
              <a:cxn ang="0">
                <a:pos x="connsiteX49396" y="connsiteY49396"/>
              </a:cxn>
              <a:cxn ang="0">
                <a:pos x="connsiteX49397" y="connsiteY49397"/>
              </a:cxn>
              <a:cxn ang="0">
                <a:pos x="connsiteX49398" y="connsiteY49398"/>
              </a:cxn>
              <a:cxn ang="0">
                <a:pos x="connsiteX49399" y="connsiteY49399"/>
              </a:cxn>
              <a:cxn ang="0">
                <a:pos x="connsiteX49400" y="connsiteY49400"/>
              </a:cxn>
              <a:cxn ang="0">
                <a:pos x="connsiteX49401" y="connsiteY49401"/>
              </a:cxn>
              <a:cxn ang="0">
                <a:pos x="connsiteX49402" y="connsiteY49402"/>
              </a:cxn>
              <a:cxn ang="0">
                <a:pos x="connsiteX49403" y="connsiteY49403"/>
              </a:cxn>
              <a:cxn ang="0">
                <a:pos x="connsiteX49404" y="connsiteY49404"/>
              </a:cxn>
              <a:cxn ang="0">
                <a:pos x="connsiteX49405" y="connsiteY49405"/>
              </a:cxn>
              <a:cxn ang="0">
                <a:pos x="connsiteX49406" y="connsiteY49406"/>
              </a:cxn>
              <a:cxn ang="0">
                <a:pos x="connsiteX49407" y="connsiteY49407"/>
              </a:cxn>
              <a:cxn ang="0">
                <a:pos x="connsiteX49408" y="connsiteY49408"/>
              </a:cxn>
              <a:cxn ang="0">
                <a:pos x="connsiteX49409" y="connsiteY49409"/>
              </a:cxn>
              <a:cxn ang="0">
                <a:pos x="connsiteX49410" y="connsiteY49410"/>
              </a:cxn>
              <a:cxn ang="0">
                <a:pos x="connsiteX49411" y="connsiteY49411"/>
              </a:cxn>
              <a:cxn ang="0">
                <a:pos x="connsiteX49412" y="connsiteY49412"/>
              </a:cxn>
              <a:cxn ang="0">
                <a:pos x="connsiteX49413" y="connsiteY49413"/>
              </a:cxn>
              <a:cxn ang="0">
                <a:pos x="connsiteX49414" y="connsiteY49414"/>
              </a:cxn>
              <a:cxn ang="0">
                <a:pos x="connsiteX49415" y="connsiteY49415"/>
              </a:cxn>
              <a:cxn ang="0">
                <a:pos x="connsiteX49416" y="connsiteY49416"/>
              </a:cxn>
              <a:cxn ang="0">
                <a:pos x="connsiteX49417" y="connsiteY49417"/>
              </a:cxn>
              <a:cxn ang="0">
                <a:pos x="connsiteX49418" y="connsiteY49418"/>
              </a:cxn>
              <a:cxn ang="0">
                <a:pos x="connsiteX49419" y="connsiteY49419"/>
              </a:cxn>
              <a:cxn ang="0">
                <a:pos x="connsiteX49420" y="connsiteY49420"/>
              </a:cxn>
              <a:cxn ang="0">
                <a:pos x="connsiteX49421" y="connsiteY49421"/>
              </a:cxn>
              <a:cxn ang="0">
                <a:pos x="connsiteX49422" y="connsiteY49422"/>
              </a:cxn>
              <a:cxn ang="0">
                <a:pos x="connsiteX49423" y="connsiteY49423"/>
              </a:cxn>
              <a:cxn ang="0">
                <a:pos x="connsiteX49424" y="connsiteY49424"/>
              </a:cxn>
              <a:cxn ang="0">
                <a:pos x="connsiteX49425" y="connsiteY49425"/>
              </a:cxn>
              <a:cxn ang="0">
                <a:pos x="connsiteX49426" y="connsiteY49426"/>
              </a:cxn>
              <a:cxn ang="0">
                <a:pos x="connsiteX49427" y="connsiteY49427"/>
              </a:cxn>
              <a:cxn ang="0">
                <a:pos x="connsiteX49428" y="connsiteY49428"/>
              </a:cxn>
              <a:cxn ang="0">
                <a:pos x="connsiteX49429" y="connsiteY49429"/>
              </a:cxn>
              <a:cxn ang="0">
                <a:pos x="connsiteX49430" y="connsiteY49430"/>
              </a:cxn>
              <a:cxn ang="0">
                <a:pos x="connsiteX49431" y="connsiteY49431"/>
              </a:cxn>
              <a:cxn ang="0">
                <a:pos x="connsiteX49432" y="connsiteY49432"/>
              </a:cxn>
              <a:cxn ang="0">
                <a:pos x="connsiteX49433" y="connsiteY49433"/>
              </a:cxn>
              <a:cxn ang="0">
                <a:pos x="connsiteX49434" y="connsiteY49434"/>
              </a:cxn>
              <a:cxn ang="0">
                <a:pos x="connsiteX49435" y="connsiteY49435"/>
              </a:cxn>
              <a:cxn ang="0">
                <a:pos x="connsiteX49436" y="connsiteY49436"/>
              </a:cxn>
              <a:cxn ang="0">
                <a:pos x="connsiteX49437" y="connsiteY49437"/>
              </a:cxn>
              <a:cxn ang="0">
                <a:pos x="connsiteX49438" y="connsiteY49438"/>
              </a:cxn>
              <a:cxn ang="0">
                <a:pos x="connsiteX49439" y="connsiteY49439"/>
              </a:cxn>
              <a:cxn ang="0">
                <a:pos x="connsiteX49440" y="connsiteY49440"/>
              </a:cxn>
              <a:cxn ang="0">
                <a:pos x="connsiteX49441" y="connsiteY49441"/>
              </a:cxn>
              <a:cxn ang="0">
                <a:pos x="connsiteX49442" y="connsiteY49442"/>
              </a:cxn>
              <a:cxn ang="0">
                <a:pos x="connsiteX49443" y="connsiteY49443"/>
              </a:cxn>
              <a:cxn ang="0">
                <a:pos x="connsiteX49444" y="connsiteY49444"/>
              </a:cxn>
              <a:cxn ang="0">
                <a:pos x="connsiteX49445" y="connsiteY49445"/>
              </a:cxn>
              <a:cxn ang="0">
                <a:pos x="connsiteX49446" y="connsiteY49446"/>
              </a:cxn>
              <a:cxn ang="0">
                <a:pos x="connsiteX49447" y="connsiteY49447"/>
              </a:cxn>
              <a:cxn ang="0">
                <a:pos x="connsiteX49448" y="connsiteY49448"/>
              </a:cxn>
              <a:cxn ang="0">
                <a:pos x="connsiteX49449" y="connsiteY49449"/>
              </a:cxn>
              <a:cxn ang="0">
                <a:pos x="connsiteX49450" y="connsiteY49450"/>
              </a:cxn>
              <a:cxn ang="0">
                <a:pos x="connsiteX49451" y="connsiteY49451"/>
              </a:cxn>
              <a:cxn ang="0">
                <a:pos x="connsiteX49452" y="connsiteY49452"/>
              </a:cxn>
              <a:cxn ang="0">
                <a:pos x="connsiteX49453" y="connsiteY49453"/>
              </a:cxn>
              <a:cxn ang="0">
                <a:pos x="connsiteX49454" y="connsiteY49454"/>
              </a:cxn>
              <a:cxn ang="0">
                <a:pos x="connsiteX49455" y="connsiteY49455"/>
              </a:cxn>
              <a:cxn ang="0">
                <a:pos x="connsiteX49456" y="connsiteY49456"/>
              </a:cxn>
              <a:cxn ang="0">
                <a:pos x="connsiteX49457" y="connsiteY49457"/>
              </a:cxn>
              <a:cxn ang="0">
                <a:pos x="connsiteX49458" y="connsiteY49458"/>
              </a:cxn>
              <a:cxn ang="0">
                <a:pos x="connsiteX49459" y="connsiteY49459"/>
              </a:cxn>
              <a:cxn ang="0">
                <a:pos x="connsiteX49460" y="connsiteY49460"/>
              </a:cxn>
              <a:cxn ang="0">
                <a:pos x="connsiteX49461" y="connsiteY49461"/>
              </a:cxn>
              <a:cxn ang="0">
                <a:pos x="connsiteX49462" y="connsiteY49462"/>
              </a:cxn>
              <a:cxn ang="0">
                <a:pos x="connsiteX49463" y="connsiteY49463"/>
              </a:cxn>
              <a:cxn ang="0">
                <a:pos x="connsiteX49464" y="connsiteY49464"/>
              </a:cxn>
              <a:cxn ang="0">
                <a:pos x="connsiteX49465" y="connsiteY49465"/>
              </a:cxn>
              <a:cxn ang="0">
                <a:pos x="connsiteX49466" y="connsiteY49466"/>
              </a:cxn>
              <a:cxn ang="0">
                <a:pos x="connsiteX49467" y="connsiteY49467"/>
              </a:cxn>
              <a:cxn ang="0">
                <a:pos x="connsiteX49468" y="connsiteY49468"/>
              </a:cxn>
              <a:cxn ang="0">
                <a:pos x="connsiteX49469" y="connsiteY49469"/>
              </a:cxn>
              <a:cxn ang="0">
                <a:pos x="connsiteX49470" y="connsiteY49470"/>
              </a:cxn>
              <a:cxn ang="0">
                <a:pos x="connsiteX49471" y="connsiteY49471"/>
              </a:cxn>
              <a:cxn ang="0">
                <a:pos x="connsiteX49472" y="connsiteY49472"/>
              </a:cxn>
              <a:cxn ang="0">
                <a:pos x="connsiteX49473" y="connsiteY49473"/>
              </a:cxn>
              <a:cxn ang="0">
                <a:pos x="connsiteX49474" y="connsiteY49474"/>
              </a:cxn>
              <a:cxn ang="0">
                <a:pos x="connsiteX49475" y="connsiteY49475"/>
              </a:cxn>
              <a:cxn ang="0">
                <a:pos x="connsiteX49476" y="connsiteY49476"/>
              </a:cxn>
              <a:cxn ang="0">
                <a:pos x="connsiteX49477" y="connsiteY49477"/>
              </a:cxn>
              <a:cxn ang="0">
                <a:pos x="connsiteX49478" y="connsiteY49478"/>
              </a:cxn>
              <a:cxn ang="0">
                <a:pos x="connsiteX49479" y="connsiteY49479"/>
              </a:cxn>
              <a:cxn ang="0">
                <a:pos x="connsiteX49480" y="connsiteY49480"/>
              </a:cxn>
              <a:cxn ang="0">
                <a:pos x="connsiteX49481" y="connsiteY49481"/>
              </a:cxn>
              <a:cxn ang="0">
                <a:pos x="connsiteX49482" y="connsiteY49482"/>
              </a:cxn>
              <a:cxn ang="0">
                <a:pos x="connsiteX49483" y="connsiteY49483"/>
              </a:cxn>
              <a:cxn ang="0">
                <a:pos x="connsiteX49484" y="connsiteY49484"/>
              </a:cxn>
              <a:cxn ang="0">
                <a:pos x="connsiteX49485" y="connsiteY49485"/>
              </a:cxn>
              <a:cxn ang="0">
                <a:pos x="connsiteX49486" y="connsiteY49486"/>
              </a:cxn>
              <a:cxn ang="0">
                <a:pos x="connsiteX49487" y="connsiteY49487"/>
              </a:cxn>
              <a:cxn ang="0">
                <a:pos x="connsiteX49488" y="connsiteY49488"/>
              </a:cxn>
              <a:cxn ang="0">
                <a:pos x="connsiteX49489" y="connsiteY49489"/>
              </a:cxn>
              <a:cxn ang="0">
                <a:pos x="connsiteX49490" y="connsiteY49490"/>
              </a:cxn>
              <a:cxn ang="0">
                <a:pos x="connsiteX49491" y="connsiteY49491"/>
              </a:cxn>
              <a:cxn ang="0">
                <a:pos x="connsiteX49492" y="connsiteY49492"/>
              </a:cxn>
              <a:cxn ang="0">
                <a:pos x="connsiteX49493" y="connsiteY49493"/>
              </a:cxn>
              <a:cxn ang="0">
                <a:pos x="connsiteX49494" y="connsiteY49494"/>
              </a:cxn>
              <a:cxn ang="0">
                <a:pos x="connsiteX49495" y="connsiteY49495"/>
              </a:cxn>
              <a:cxn ang="0">
                <a:pos x="connsiteX49496" y="connsiteY49496"/>
              </a:cxn>
              <a:cxn ang="0">
                <a:pos x="connsiteX49497" y="connsiteY49497"/>
              </a:cxn>
              <a:cxn ang="0">
                <a:pos x="connsiteX49498" y="connsiteY49498"/>
              </a:cxn>
              <a:cxn ang="0">
                <a:pos x="connsiteX49499" y="connsiteY49499"/>
              </a:cxn>
              <a:cxn ang="0">
                <a:pos x="connsiteX49500" y="connsiteY49500"/>
              </a:cxn>
              <a:cxn ang="0">
                <a:pos x="connsiteX49501" y="connsiteY49501"/>
              </a:cxn>
              <a:cxn ang="0">
                <a:pos x="connsiteX49502" y="connsiteY49502"/>
              </a:cxn>
              <a:cxn ang="0">
                <a:pos x="connsiteX49503" y="connsiteY49503"/>
              </a:cxn>
              <a:cxn ang="0">
                <a:pos x="connsiteX49504" y="connsiteY49504"/>
              </a:cxn>
              <a:cxn ang="0">
                <a:pos x="connsiteX49505" y="connsiteY49505"/>
              </a:cxn>
              <a:cxn ang="0">
                <a:pos x="connsiteX49506" y="connsiteY49506"/>
              </a:cxn>
              <a:cxn ang="0">
                <a:pos x="connsiteX49507" y="connsiteY49507"/>
              </a:cxn>
              <a:cxn ang="0">
                <a:pos x="connsiteX49508" y="connsiteY49508"/>
              </a:cxn>
              <a:cxn ang="0">
                <a:pos x="connsiteX49509" y="connsiteY49509"/>
              </a:cxn>
              <a:cxn ang="0">
                <a:pos x="connsiteX49510" y="connsiteY49510"/>
              </a:cxn>
              <a:cxn ang="0">
                <a:pos x="connsiteX49511" y="connsiteY49511"/>
              </a:cxn>
              <a:cxn ang="0">
                <a:pos x="connsiteX49512" y="connsiteY49512"/>
              </a:cxn>
              <a:cxn ang="0">
                <a:pos x="connsiteX49513" y="connsiteY49513"/>
              </a:cxn>
              <a:cxn ang="0">
                <a:pos x="connsiteX49514" y="connsiteY49514"/>
              </a:cxn>
              <a:cxn ang="0">
                <a:pos x="connsiteX49515" y="connsiteY49515"/>
              </a:cxn>
              <a:cxn ang="0">
                <a:pos x="connsiteX49516" y="connsiteY49516"/>
              </a:cxn>
              <a:cxn ang="0">
                <a:pos x="connsiteX49517" y="connsiteY49517"/>
              </a:cxn>
              <a:cxn ang="0">
                <a:pos x="connsiteX49518" y="connsiteY49518"/>
              </a:cxn>
              <a:cxn ang="0">
                <a:pos x="connsiteX49519" y="connsiteY49519"/>
              </a:cxn>
              <a:cxn ang="0">
                <a:pos x="connsiteX49520" y="connsiteY49520"/>
              </a:cxn>
              <a:cxn ang="0">
                <a:pos x="connsiteX49521" y="connsiteY49521"/>
              </a:cxn>
              <a:cxn ang="0">
                <a:pos x="connsiteX49522" y="connsiteY49522"/>
              </a:cxn>
              <a:cxn ang="0">
                <a:pos x="connsiteX49523" y="connsiteY49523"/>
              </a:cxn>
              <a:cxn ang="0">
                <a:pos x="connsiteX49524" y="connsiteY49524"/>
              </a:cxn>
              <a:cxn ang="0">
                <a:pos x="connsiteX49525" y="connsiteY49525"/>
              </a:cxn>
              <a:cxn ang="0">
                <a:pos x="connsiteX49526" y="connsiteY49526"/>
              </a:cxn>
              <a:cxn ang="0">
                <a:pos x="connsiteX49527" y="connsiteY49527"/>
              </a:cxn>
              <a:cxn ang="0">
                <a:pos x="connsiteX49528" y="connsiteY49528"/>
              </a:cxn>
              <a:cxn ang="0">
                <a:pos x="connsiteX49529" y="connsiteY49529"/>
              </a:cxn>
              <a:cxn ang="0">
                <a:pos x="connsiteX49530" y="connsiteY49530"/>
              </a:cxn>
              <a:cxn ang="0">
                <a:pos x="connsiteX49531" y="connsiteY49531"/>
              </a:cxn>
              <a:cxn ang="0">
                <a:pos x="connsiteX49532" y="connsiteY49532"/>
              </a:cxn>
              <a:cxn ang="0">
                <a:pos x="connsiteX49533" y="connsiteY49533"/>
              </a:cxn>
              <a:cxn ang="0">
                <a:pos x="connsiteX49534" y="connsiteY49534"/>
              </a:cxn>
              <a:cxn ang="0">
                <a:pos x="connsiteX49535" y="connsiteY49535"/>
              </a:cxn>
              <a:cxn ang="0">
                <a:pos x="connsiteX49536" y="connsiteY49536"/>
              </a:cxn>
              <a:cxn ang="0">
                <a:pos x="connsiteX49537" y="connsiteY49537"/>
              </a:cxn>
              <a:cxn ang="0">
                <a:pos x="connsiteX49538" y="connsiteY49538"/>
              </a:cxn>
              <a:cxn ang="0">
                <a:pos x="connsiteX49539" y="connsiteY49539"/>
              </a:cxn>
              <a:cxn ang="0">
                <a:pos x="connsiteX49540" y="connsiteY49540"/>
              </a:cxn>
              <a:cxn ang="0">
                <a:pos x="connsiteX49541" y="connsiteY49541"/>
              </a:cxn>
              <a:cxn ang="0">
                <a:pos x="connsiteX49542" y="connsiteY49542"/>
              </a:cxn>
              <a:cxn ang="0">
                <a:pos x="connsiteX49543" y="connsiteY49543"/>
              </a:cxn>
              <a:cxn ang="0">
                <a:pos x="connsiteX49544" y="connsiteY49544"/>
              </a:cxn>
              <a:cxn ang="0">
                <a:pos x="connsiteX49545" y="connsiteY49545"/>
              </a:cxn>
              <a:cxn ang="0">
                <a:pos x="connsiteX49546" y="connsiteY49546"/>
              </a:cxn>
              <a:cxn ang="0">
                <a:pos x="connsiteX49547" y="connsiteY49547"/>
              </a:cxn>
              <a:cxn ang="0">
                <a:pos x="connsiteX49548" y="connsiteY49548"/>
              </a:cxn>
              <a:cxn ang="0">
                <a:pos x="connsiteX49549" y="connsiteY49549"/>
              </a:cxn>
              <a:cxn ang="0">
                <a:pos x="connsiteX49550" y="connsiteY49550"/>
              </a:cxn>
              <a:cxn ang="0">
                <a:pos x="connsiteX49551" y="connsiteY49551"/>
              </a:cxn>
              <a:cxn ang="0">
                <a:pos x="connsiteX49552" y="connsiteY49552"/>
              </a:cxn>
              <a:cxn ang="0">
                <a:pos x="connsiteX49553" y="connsiteY49553"/>
              </a:cxn>
              <a:cxn ang="0">
                <a:pos x="connsiteX49554" y="connsiteY49554"/>
              </a:cxn>
              <a:cxn ang="0">
                <a:pos x="connsiteX49555" y="connsiteY49555"/>
              </a:cxn>
              <a:cxn ang="0">
                <a:pos x="connsiteX49556" y="connsiteY49556"/>
              </a:cxn>
              <a:cxn ang="0">
                <a:pos x="connsiteX49557" y="connsiteY49557"/>
              </a:cxn>
              <a:cxn ang="0">
                <a:pos x="connsiteX49558" y="connsiteY49558"/>
              </a:cxn>
              <a:cxn ang="0">
                <a:pos x="connsiteX49559" y="connsiteY49559"/>
              </a:cxn>
              <a:cxn ang="0">
                <a:pos x="connsiteX49560" y="connsiteY49560"/>
              </a:cxn>
              <a:cxn ang="0">
                <a:pos x="connsiteX49561" y="connsiteY49561"/>
              </a:cxn>
              <a:cxn ang="0">
                <a:pos x="connsiteX49562" y="connsiteY49562"/>
              </a:cxn>
              <a:cxn ang="0">
                <a:pos x="connsiteX49563" y="connsiteY49563"/>
              </a:cxn>
              <a:cxn ang="0">
                <a:pos x="connsiteX49564" y="connsiteY49564"/>
              </a:cxn>
              <a:cxn ang="0">
                <a:pos x="connsiteX49565" y="connsiteY49565"/>
              </a:cxn>
              <a:cxn ang="0">
                <a:pos x="connsiteX49566" y="connsiteY49566"/>
              </a:cxn>
              <a:cxn ang="0">
                <a:pos x="connsiteX49567" y="connsiteY49567"/>
              </a:cxn>
              <a:cxn ang="0">
                <a:pos x="connsiteX49568" y="connsiteY49568"/>
              </a:cxn>
              <a:cxn ang="0">
                <a:pos x="connsiteX49569" y="connsiteY49569"/>
              </a:cxn>
              <a:cxn ang="0">
                <a:pos x="connsiteX49570" y="connsiteY49570"/>
              </a:cxn>
              <a:cxn ang="0">
                <a:pos x="connsiteX49571" y="connsiteY49571"/>
              </a:cxn>
              <a:cxn ang="0">
                <a:pos x="connsiteX49572" y="connsiteY49572"/>
              </a:cxn>
              <a:cxn ang="0">
                <a:pos x="connsiteX49573" y="connsiteY49573"/>
              </a:cxn>
              <a:cxn ang="0">
                <a:pos x="connsiteX49574" y="connsiteY49574"/>
              </a:cxn>
              <a:cxn ang="0">
                <a:pos x="connsiteX49575" y="connsiteY49575"/>
              </a:cxn>
              <a:cxn ang="0">
                <a:pos x="connsiteX49576" y="connsiteY49576"/>
              </a:cxn>
              <a:cxn ang="0">
                <a:pos x="connsiteX49577" y="connsiteY49577"/>
              </a:cxn>
              <a:cxn ang="0">
                <a:pos x="connsiteX49578" y="connsiteY49578"/>
              </a:cxn>
              <a:cxn ang="0">
                <a:pos x="connsiteX49579" y="connsiteY49579"/>
              </a:cxn>
              <a:cxn ang="0">
                <a:pos x="connsiteX49580" y="connsiteY49580"/>
              </a:cxn>
              <a:cxn ang="0">
                <a:pos x="connsiteX49581" y="connsiteY49581"/>
              </a:cxn>
              <a:cxn ang="0">
                <a:pos x="connsiteX49582" y="connsiteY49582"/>
              </a:cxn>
              <a:cxn ang="0">
                <a:pos x="connsiteX49583" y="connsiteY49583"/>
              </a:cxn>
              <a:cxn ang="0">
                <a:pos x="connsiteX49584" y="connsiteY49584"/>
              </a:cxn>
              <a:cxn ang="0">
                <a:pos x="connsiteX49585" y="connsiteY49585"/>
              </a:cxn>
              <a:cxn ang="0">
                <a:pos x="connsiteX49586" y="connsiteY49586"/>
              </a:cxn>
              <a:cxn ang="0">
                <a:pos x="connsiteX49587" y="connsiteY49587"/>
              </a:cxn>
              <a:cxn ang="0">
                <a:pos x="connsiteX49588" y="connsiteY49588"/>
              </a:cxn>
              <a:cxn ang="0">
                <a:pos x="connsiteX49589" y="connsiteY49589"/>
              </a:cxn>
              <a:cxn ang="0">
                <a:pos x="connsiteX49590" y="connsiteY49590"/>
              </a:cxn>
              <a:cxn ang="0">
                <a:pos x="connsiteX49591" y="connsiteY49591"/>
              </a:cxn>
              <a:cxn ang="0">
                <a:pos x="connsiteX49592" y="connsiteY49592"/>
              </a:cxn>
              <a:cxn ang="0">
                <a:pos x="connsiteX49593" y="connsiteY49593"/>
              </a:cxn>
              <a:cxn ang="0">
                <a:pos x="connsiteX49594" y="connsiteY49594"/>
              </a:cxn>
              <a:cxn ang="0">
                <a:pos x="connsiteX49595" y="connsiteY49595"/>
              </a:cxn>
              <a:cxn ang="0">
                <a:pos x="connsiteX49596" y="connsiteY49596"/>
              </a:cxn>
              <a:cxn ang="0">
                <a:pos x="connsiteX49597" y="connsiteY49597"/>
              </a:cxn>
              <a:cxn ang="0">
                <a:pos x="connsiteX49598" y="connsiteY49598"/>
              </a:cxn>
              <a:cxn ang="0">
                <a:pos x="connsiteX49599" y="connsiteY49599"/>
              </a:cxn>
              <a:cxn ang="0">
                <a:pos x="connsiteX49600" y="connsiteY49600"/>
              </a:cxn>
              <a:cxn ang="0">
                <a:pos x="connsiteX49601" y="connsiteY49601"/>
              </a:cxn>
              <a:cxn ang="0">
                <a:pos x="connsiteX49602" y="connsiteY49602"/>
              </a:cxn>
              <a:cxn ang="0">
                <a:pos x="connsiteX49603" y="connsiteY49603"/>
              </a:cxn>
              <a:cxn ang="0">
                <a:pos x="connsiteX49604" y="connsiteY49604"/>
              </a:cxn>
              <a:cxn ang="0">
                <a:pos x="connsiteX49605" y="connsiteY49605"/>
              </a:cxn>
              <a:cxn ang="0">
                <a:pos x="connsiteX49606" y="connsiteY49606"/>
              </a:cxn>
              <a:cxn ang="0">
                <a:pos x="connsiteX49607" y="connsiteY49607"/>
              </a:cxn>
              <a:cxn ang="0">
                <a:pos x="connsiteX49608" y="connsiteY49608"/>
              </a:cxn>
              <a:cxn ang="0">
                <a:pos x="connsiteX49609" y="connsiteY49609"/>
              </a:cxn>
              <a:cxn ang="0">
                <a:pos x="connsiteX49610" y="connsiteY49610"/>
              </a:cxn>
              <a:cxn ang="0">
                <a:pos x="connsiteX49611" y="connsiteY49611"/>
              </a:cxn>
              <a:cxn ang="0">
                <a:pos x="connsiteX49612" y="connsiteY49612"/>
              </a:cxn>
              <a:cxn ang="0">
                <a:pos x="connsiteX49613" y="connsiteY49613"/>
              </a:cxn>
              <a:cxn ang="0">
                <a:pos x="connsiteX49614" y="connsiteY49614"/>
              </a:cxn>
              <a:cxn ang="0">
                <a:pos x="connsiteX49615" y="connsiteY49615"/>
              </a:cxn>
              <a:cxn ang="0">
                <a:pos x="connsiteX49616" y="connsiteY49616"/>
              </a:cxn>
              <a:cxn ang="0">
                <a:pos x="connsiteX49617" y="connsiteY49617"/>
              </a:cxn>
              <a:cxn ang="0">
                <a:pos x="connsiteX49618" y="connsiteY49618"/>
              </a:cxn>
              <a:cxn ang="0">
                <a:pos x="connsiteX49619" y="connsiteY49619"/>
              </a:cxn>
              <a:cxn ang="0">
                <a:pos x="connsiteX49620" y="connsiteY49620"/>
              </a:cxn>
              <a:cxn ang="0">
                <a:pos x="connsiteX49621" y="connsiteY49621"/>
              </a:cxn>
              <a:cxn ang="0">
                <a:pos x="connsiteX49622" y="connsiteY49622"/>
              </a:cxn>
              <a:cxn ang="0">
                <a:pos x="connsiteX49623" y="connsiteY49623"/>
              </a:cxn>
              <a:cxn ang="0">
                <a:pos x="connsiteX49624" y="connsiteY49624"/>
              </a:cxn>
              <a:cxn ang="0">
                <a:pos x="connsiteX49625" y="connsiteY49625"/>
              </a:cxn>
              <a:cxn ang="0">
                <a:pos x="connsiteX49626" y="connsiteY49626"/>
              </a:cxn>
              <a:cxn ang="0">
                <a:pos x="connsiteX49627" y="connsiteY49627"/>
              </a:cxn>
              <a:cxn ang="0">
                <a:pos x="connsiteX49628" y="connsiteY49628"/>
              </a:cxn>
              <a:cxn ang="0">
                <a:pos x="connsiteX49629" y="connsiteY49629"/>
              </a:cxn>
              <a:cxn ang="0">
                <a:pos x="connsiteX49630" y="connsiteY49630"/>
              </a:cxn>
              <a:cxn ang="0">
                <a:pos x="connsiteX49631" y="connsiteY49631"/>
              </a:cxn>
              <a:cxn ang="0">
                <a:pos x="connsiteX49632" y="connsiteY49632"/>
              </a:cxn>
              <a:cxn ang="0">
                <a:pos x="connsiteX49633" y="connsiteY49633"/>
              </a:cxn>
              <a:cxn ang="0">
                <a:pos x="connsiteX49634" y="connsiteY49634"/>
              </a:cxn>
              <a:cxn ang="0">
                <a:pos x="connsiteX49635" y="connsiteY49635"/>
              </a:cxn>
              <a:cxn ang="0">
                <a:pos x="connsiteX49636" y="connsiteY49636"/>
              </a:cxn>
              <a:cxn ang="0">
                <a:pos x="connsiteX49637" y="connsiteY49637"/>
              </a:cxn>
              <a:cxn ang="0">
                <a:pos x="connsiteX49638" y="connsiteY49638"/>
              </a:cxn>
              <a:cxn ang="0">
                <a:pos x="connsiteX49639" y="connsiteY49639"/>
              </a:cxn>
              <a:cxn ang="0">
                <a:pos x="connsiteX49640" y="connsiteY49640"/>
              </a:cxn>
              <a:cxn ang="0">
                <a:pos x="connsiteX49641" y="connsiteY49641"/>
              </a:cxn>
              <a:cxn ang="0">
                <a:pos x="connsiteX49642" y="connsiteY49642"/>
              </a:cxn>
              <a:cxn ang="0">
                <a:pos x="connsiteX49643" y="connsiteY49643"/>
              </a:cxn>
              <a:cxn ang="0">
                <a:pos x="connsiteX49644" y="connsiteY49644"/>
              </a:cxn>
              <a:cxn ang="0">
                <a:pos x="connsiteX49645" y="connsiteY49645"/>
              </a:cxn>
              <a:cxn ang="0">
                <a:pos x="connsiteX49646" y="connsiteY49646"/>
              </a:cxn>
              <a:cxn ang="0">
                <a:pos x="connsiteX49647" y="connsiteY49647"/>
              </a:cxn>
              <a:cxn ang="0">
                <a:pos x="connsiteX49648" y="connsiteY49648"/>
              </a:cxn>
              <a:cxn ang="0">
                <a:pos x="connsiteX49649" y="connsiteY49649"/>
              </a:cxn>
              <a:cxn ang="0">
                <a:pos x="connsiteX49650" y="connsiteY49650"/>
              </a:cxn>
              <a:cxn ang="0">
                <a:pos x="connsiteX49651" y="connsiteY49651"/>
              </a:cxn>
              <a:cxn ang="0">
                <a:pos x="connsiteX49652" y="connsiteY49652"/>
              </a:cxn>
              <a:cxn ang="0">
                <a:pos x="connsiteX49653" y="connsiteY49653"/>
              </a:cxn>
              <a:cxn ang="0">
                <a:pos x="connsiteX49654" y="connsiteY49654"/>
              </a:cxn>
              <a:cxn ang="0">
                <a:pos x="connsiteX49655" y="connsiteY49655"/>
              </a:cxn>
              <a:cxn ang="0">
                <a:pos x="connsiteX49656" y="connsiteY49656"/>
              </a:cxn>
              <a:cxn ang="0">
                <a:pos x="connsiteX49657" y="connsiteY49657"/>
              </a:cxn>
              <a:cxn ang="0">
                <a:pos x="connsiteX49658" y="connsiteY49658"/>
              </a:cxn>
              <a:cxn ang="0">
                <a:pos x="connsiteX49659" y="connsiteY49659"/>
              </a:cxn>
              <a:cxn ang="0">
                <a:pos x="connsiteX49660" y="connsiteY49660"/>
              </a:cxn>
              <a:cxn ang="0">
                <a:pos x="connsiteX49661" y="connsiteY49661"/>
              </a:cxn>
              <a:cxn ang="0">
                <a:pos x="connsiteX49662" y="connsiteY49662"/>
              </a:cxn>
              <a:cxn ang="0">
                <a:pos x="connsiteX49663" y="connsiteY49663"/>
              </a:cxn>
              <a:cxn ang="0">
                <a:pos x="connsiteX49664" y="connsiteY49664"/>
              </a:cxn>
              <a:cxn ang="0">
                <a:pos x="connsiteX49665" y="connsiteY49665"/>
              </a:cxn>
              <a:cxn ang="0">
                <a:pos x="connsiteX49666" y="connsiteY49666"/>
              </a:cxn>
              <a:cxn ang="0">
                <a:pos x="connsiteX49667" y="connsiteY49667"/>
              </a:cxn>
              <a:cxn ang="0">
                <a:pos x="connsiteX49668" y="connsiteY49668"/>
              </a:cxn>
              <a:cxn ang="0">
                <a:pos x="connsiteX49669" y="connsiteY49669"/>
              </a:cxn>
              <a:cxn ang="0">
                <a:pos x="connsiteX49670" y="connsiteY49670"/>
              </a:cxn>
              <a:cxn ang="0">
                <a:pos x="connsiteX49671" y="connsiteY49671"/>
              </a:cxn>
              <a:cxn ang="0">
                <a:pos x="connsiteX49672" y="connsiteY49672"/>
              </a:cxn>
              <a:cxn ang="0">
                <a:pos x="connsiteX49673" y="connsiteY49673"/>
              </a:cxn>
              <a:cxn ang="0">
                <a:pos x="connsiteX49674" y="connsiteY49674"/>
              </a:cxn>
              <a:cxn ang="0">
                <a:pos x="connsiteX49675" y="connsiteY49675"/>
              </a:cxn>
              <a:cxn ang="0">
                <a:pos x="connsiteX49676" y="connsiteY49676"/>
              </a:cxn>
              <a:cxn ang="0">
                <a:pos x="connsiteX49677" y="connsiteY49677"/>
              </a:cxn>
              <a:cxn ang="0">
                <a:pos x="connsiteX49678" y="connsiteY49678"/>
              </a:cxn>
              <a:cxn ang="0">
                <a:pos x="connsiteX49679" y="connsiteY49679"/>
              </a:cxn>
              <a:cxn ang="0">
                <a:pos x="connsiteX49680" y="connsiteY49680"/>
              </a:cxn>
              <a:cxn ang="0">
                <a:pos x="connsiteX49681" y="connsiteY49681"/>
              </a:cxn>
              <a:cxn ang="0">
                <a:pos x="connsiteX49682" y="connsiteY49682"/>
              </a:cxn>
              <a:cxn ang="0">
                <a:pos x="connsiteX49683" y="connsiteY49683"/>
              </a:cxn>
              <a:cxn ang="0">
                <a:pos x="connsiteX49684" y="connsiteY49684"/>
              </a:cxn>
              <a:cxn ang="0">
                <a:pos x="connsiteX49685" y="connsiteY49685"/>
              </a:cxn>
              <a:cxn ang="0">
                <a:pos x="connsiteX49686" y="connsiteY49686"/>
              </a:cxn>
              <a:cxn ang="0">
                <a:pos x="connsiteX49687" y="connsiteY49687"/>
              </a:cxn>
              <a:cxn ang="0">
                <a:pos x="connsiteX49688" y="connsiteY49688"/>
              </a:cxn>
              <a:cxn ang="0">
                <a:pos x="connsiteX49689" y="connsiteY49689"/>
              </a:cxn>
              <a:cxn ang="0">
                <a:pos x="connsiteX49690" y="connsiteY49690"/>
              </a:cxn>
              <a:cxn ang="0">
                <a:pos x="connsiteX49691" y="connsiteY49691"/>
              </a:cxn>
              <a:cxn ang="0">
                <a:pos x="connsiteX49692" y="connsiteY49692"/>
              </a:cxn>
              <a:cxn ang="0">
                <a:pos x="connsiteX49693" y="connsiteY49693"/>
              </a:cxn>
              <a:cxn ang="0">
                <a:pos x="connsiteX49694" y="connsiteY49694"/>
              </a:cxn>
              <a:cxn ang="0">
                <a:pos x="connsiteX49695" y="connsiteY49695"/>
              </a:cxn>
              <a:cxn ang="0">
                <a:pos x="connsiteX49696" y="connsiteY49696"/>
              </a:cxn>
              <a:cxn ang="0">
                <a:pos x="connsiteX49697" y="connsiteY49697"/>
              </a:cxn>
              <a:cxn ang="0">
                <a:pos x="connsiteX49698" y="connsiteY49698"/>
              </a:cxn>
              <a:cxn ang="0">
                <a:pos x="connsiteX49699" y="connsiteY49699"/>
              </a:cxn>
              <a:cxn ang="0">
                <a:pos x="connsiteX49700" y="connsiteY49700"/>
              </a:cxn>
              <a:cxn ang="0">
                <a:pos x="connsiteX49701" y="connsiteY49701"/>
              </a:cxn>
              <a:cxn ang="0">
                <a:pos x="connsiteX49702" y="connsiteY49702"/>
              </a:cxn>
              <a:cxn ang="0">
                <a:pos x="connsiteX49703" y="connsiteY49703"/>
              </a:cxn>
              <a:cxn ang="0">
                <a:pos x="connsiteX49704" y="connsiteY49704"/>
              </a:cxn>
              <a:cxn ang="0">
                <a:pos x="connsiteX49705" y="connsiteY49705"/>
              </a:cxn>
              <a:cxn ang="0">
                <a:pos x="connsiteX49706" y="connsiteY49706"/>
              </a:cxn>
              <a:cxn ang="0">
                <a:pos x="connsiteX49707" y="connsiteY49707"/>
              </a:cxn>
              <a:cxn ang="0">
                <a:pos x="connsiteX49708" y="connsiteY49708"/>
              </a:cxn>
              <a:cxn ang="0">
                <a:pos x="connsiteX49709" y="connsiteY49709"/>
              </a:cxn>
              <a:cxn ang="0">
                <a:pos x="connsiteX49710" y="connsiteY49710"/>
              </a:cxn>
              <a:cxn ang="0">
                <a:pos x="connsiteX49711" y="connsiteY49711"/>
              </a:cxn>
              <a:cxn ang="0">
                <a:pos x="connsiteX49712" y="connsiteY49712"/>
              </a:cxn>
              <a:cxn ang="0">
                <a:pos x="connsiteX49713" y="connsiteY49713"/>
              </a:cxn>
              <a:cxn ang="0">
                <a:pos x="connsiteX49714" y="connsiteY49714"/>
              </a:cxn>
              <a:cxn ang="0">
                <a:pos x="connsiteX49715" y="connsiteY49715"/>
              </a:cxn>
              <a:cxn ang="0">
                <a:pos x="connsiteX49716" y="connsiteY49716"/>
              </a:cxn>
              <a:cxn ang="0">
                <a:pos x="connsiteX49717" y="connsiteY49717"/>
              </a:cxn>
              <a:cxn ang="0">
                <a:pos x="connsiteX49718" y="connsiteY49718"/>
              </a:cxn>
              <a:cxn ang="0">
                <a:pos x="connsiteX49719" y="connsiteY49719"/>
              </a:cxn>
              <a:cxn ang="0">
                <a:pos x="connsiteX49720" y="connsiteY49720"/>
              </a:cxn>
              <a:cxn ang="0">
                <a:pos x="connsiteX49721" y="connsiteY49721"/>
              </a:cxn>
              <a:cxn ang="0">
                <a:pos x="connsiteX49722" y="connsiteY49722"/>
              </a:cxn>
              <a:cxn ang="0">
                <a:pos x="connsiteX49723" y="connsiteY49723"/>
              </a:cxn>
              <a:cxn ang="0">
                <a:pos x="connsiteX49724" y="connsiteY49724"/>
              </a:cxn>
              <a:cxn ang="0">
                <a:pos x="connsiteX49725" y="connsiteY49725"/>
              </a:cxn>
              <a:cxn ang="0">
                <a:pos x="connsiteX49726" y="connsiteY49726"/>
              </a:cxn>
              <a:cxn ang="0">
                <a:pos x="connsiteX49727" y="connsiteY49727"/>
              </a:cxn>
              <a:cxn ang="0">
                <a:pos x="connsiteX49728" y="connsiteY49728"/>
              </a:cxn>
              <a:cxn ang="0">
                <a:pos x="connsiteX49729" y="connsiteY49729"/>
              </a:cxn>
              <a:cxn ang="0">
                <a:pos x="connsiteX49730" y="connsiteY49730"/>
              </a:cxn>
              <a:cxn ang="0">
                <a:pos x="connsiteX49731" y="connsiteY49731"/>
              </a:cxn>
              <a:cxn ang="0">
                <a:pos x="connsiteX49732" y="connsiteY49732"/>
              </a:cxn>
              <a:cxn ang="0">
                <a:pos x="connsiteX49733" y="connsiteY49733"/>
              </a:cxn>
              <a:cxn ang="0">
                <a:pos x="connsiteX49734" y="connsiteY49734"/>
              </a:cxn>
              <a:cxn ang="0">
                <a:pos x="connsiteX49735" y="connsiteY49735"/>
              </a:cxn>
              <a:cxn ang="0">
                <a:pos x="connsiteX49736" y="connsiteY49736"/>
              </a:cxn>
              <a:cxn ang="0">
                <a:pos x="connsiteX49737" y="connsiteY49737"/>
              </a:cxn>
              <a:cxn ang="0">
                <a:pos x="connsiteX49738" y="connsiteY49738"/>
              </a:cxn>
              <a:cxn ang="0">
                <a:pos x="connsiteX49739" y="connsiteY49739"/>
              </a:cxn>
              <a:cxn ang="0">
                <a:pos x="connsiteX49740" y="connsiteY49740"/>
              </a:cxn>
              <a:cxn ang="0">
                <a:pos x="connsiteX49741" y="connsiteY49741"/>
              </a:cxn>
              <a:cxn ang="0">
                <a:pos x="connsiteX49742" y="connsiteY49742"/>
              </a:cxn>
              <a:cxn ang="0">
                <a:pos x="connsiteX49743" y="connsiteY49743"/>
              </a:cxn>
              <a:cxn ang="0">
                <a:pos x="connsiteX49744" y="connsiteY49744"/>
              </a:cxn>
              <a:cxn ang="0">
                <a:pos x="connsiteX49745" y="connsiteY49745"/>
              </a:cxn>
              <a:cxn ang="0">
                <a:pos x="connsiteX49746" y="connsiteY49746"/>
              </a:cxn>
              <a:cxn ang="0">
                <a:pos x="connsiteX49747" y="connsiteY49747"/>
              </a:cxn>
              <a:cxn ang="0">
                <a:pos x="connsiteX49748" y="connsiteY49748"/>
              </a:cxn>
              <a:cxn ang="0">
                <a:pos x="connsiteX49749" y="connsiteY49749"/>
              </a:cxn>
              <a:cxn ang="0">
                <a:pos x="connsiteX49750" y="connsiteY49750"/>
              </a:cxn>
              <a:cxn ang="0">
                <a:pos x="connsiteX49751" y="connsiteY49751"/>
              </a:cxn>
              <a:cxn ang="0">
                <a:pos x="connsiteX49752" y="connsiteY49752"/>
              </a:cxn>
              <a:cxn ang="0">
                <a:pos x="connsiteX49753" y="connsiteY49753"/>
              </a:cxn>
              <a:cxn ang="0">
                <a:pos x="connsiteX49754" y="connsiteY49754"/>
              </a:cxn>
              <a:cxn ang="0">
                <a:pos x="connsiteX49755" y="connsiteY49755"/>
              </a:cxn>
              <a:cxn ang="0">
                <a:pos x="connsiteX49756" y="connsiteY49756"/>
              </a:cxn>
              <a:cxn ang="0">
                <a:pos x="connsiteX49757" y="connsiteY49757"/>
              </a:cxn>
              <a:cxn ang="0">
                <a:pos x="connsiteX49758" y="connsiteY49758"/>
              </a:cxn>
              <a:cxn ang="0">
                <a:pos x="connsiteX49759" y="connsiteY49759"/>
              </a:cxn>
              <a:cxn ang="0">
                <a:pos x="connsiteX49760" y="connsiteY49760"/>
              </a:cxn>
              <a:cxn ang="0">
                <a:pos x="connsiteX49761" y="connsiteY49761"/>
              </a:cxn>
              <a:cxn ang="0">
                <a:pos x="connsiteX49762" y="connsiteY49762"/>
              </a:cxn>
              <a:cxn ang="0">
                <a:pos x="connsiteX49763" y="connsiteY49763"/>
              </a:cxn>
              <a:cxn ang="0">
                <a:pos x="connsiteX49764" y="connsiteY49764"/>
              </a:cxn>
              <a:cxn ang="0">
                <a:pos x="connsiteX49765" y="connsiteY49765"/>
              </a:cxn>
              <a:cxn ang="0">
                <a:pos x="connsiteX49766" y="connsiteY49766"/>
              </a:cxn>
              <a:cxn ang="0">
                <a:pos x="connsiteX49767" y="connsiteY49767"/>
              </a:cxn>
              <a:cxn ang="0">
                <a:pos x="connsiteX49768" y="connsiteY49768"/>
              </a:cxn>
              <a:cxn ang="0">
                <a:pos x="connsiteX49769" y="connsiteY49769"/>
              </a:cxn>
              <a:cxn ang="0">
                <a:pos x="connsiteX49770" y="connsiteY49770"/>
              </a:cxn>
              <a:cxn ang="0">
                <a:pos x="connsiteX49771" y="connsiteY49771"/>
              </a:cxn>
              <a:cxn ang="0">
                <a:pos x="connsiteX49772" y="connsiteY49772"/>
              </a:cxn>
              <a:cxn ang="0">
                <a:pos x="connsiteX49773" y="connsiteY49773"/>
              </a:cxn>
              <a:cxn ang="0">
                <a:pos x="connsiteX49774" y="connsiteY49774"/>
              </a:cxn>
              <a:cxn ang="0">
                <a:pos x="connsiteX49775" y="connsiteY49775"/>
              </a:cxn>
              <a:cxn ang="0">
                <a:pos x="connsiteX49776" y="connsiteY49776"/>
              </a:cxn>
              <a:cxn ang="0">
                <a:pos x="connsiteX49777" y="connsiteY49777"/>
              </a:cxn>
              <a:cxn ang="0">
                <a:pos x="connsiteX49778" y="connsiteY49778"/>
              </a:cxn>
              <a:cxn ang="0">
                <a:pos x="connsiteX49779" y="connsiteY49779"/>
              </a:cxn>
              <a:cxn ang="0">
                <a:pos x="connsiteX49780" y="connsiteY49780"/>
              </a:cxn>
              <a:cxn ang="0">
                <a:pos x="connsiteX49781" y="connsiteY49781"/>
              </a:cxn>
              <a:cxn ang="0">
                <a:pos x="connsiteX49782" y="connsiteY49782"/>
              </a:cxn>
              <a:cxn ang="0">
                <a:pos x="connsiteX49783" y="connsiteY49783"/>
              </a:cxn>
              <a:cxn ang="0">
                <a:pos x="connsiteX49784" y="connsiteY49784"/>
              </a:cxn>
              <a:cxn ang="0">
                <a:pos x="connsiteX49785" y="connsiteY49785"/>
              </a:cxn>
              <a:cxn ang="0">
                <a:pos x="connsiteX49786" y="connsiteY49786"/>
              </a:cxn>
              <a:cxn ang="0">
                <a:pos x="connsiteX49787" y="connsiteY49787"/>
              </a:cxn>
              <a:cxn ang="0">
                <a:pos x="connsiteX49788" y="connsiteY49788"/>
              </a:cxn>
              <a:cxn ang="0">
                <a:pos x="connsiteX49789" y="connsiteY49789"/>
              </a:cxn>
              <a:cxn ang="0">
                <a:pos x="connsiteX49790" y="connsiteY49790"/>
              </a:cxn>
              <a:cxn ang="0">
                <a:pos x="connsiteX49791" y="connsiteY49791"/>
              </a:cxn>
              <a:cxn ang="0">
                <a:pos x="connsiteX49792" y="connsiteY49792"/>
              </a:cxn>
              <a:cxn ang="0">
                <a:pos x="connsiteX49793" y="connsiteY49793"/>
              </a:cxn>
              <a:cxn ang="0">
                <a:pos x="connsiteX49794" y="connsiteY49794"/>
              </a:cxn>
              <a:cxn ang="0">
                <a:pos x="connsiteX49795" y="connsiteY49795"/>
              </a:cxn>
              <a:cxn ang="0">
                <a:pos x="connsiteX49796" y="connsiteY49796"/>
              </a:cxn>
              <a:cxn ang="0">
                <a:pos x="connsiteX49797" y="connsiteY49797"/>
              </a:cxn>
              <a:cxn ang="0">
                <a:pos x="connsiteX49798" y="connsiteY49798"/>
              </a:cxn>
              <a:cxn ang="0">
                <a:pos x="connsiteX49799" y="connsiteY49799"/>
              </a:cxn>
              <a:cxn ang="0">
                <a:pos x="connsiteX49800" y="connsiteY49800"/>
              </a:cxn>
              <a:cxn ang="0">
                <a:pos x="connsiteX49801" y="connsiteY49801"/>
              </a:cxn>
              <a:cxn ang="0">
                <a:pos x="connsiteX49802" y="connsiteY49802"/>
              </a:cxn>
              <a:cxn ang="0">
                <a:pos x="connsiteX49803" y="connsiteY49803"/>
              </a:cxn>
              <a:cxn ang="0">
                <a:pos x="connsiteX49804" y="connsiteY49804"/>
              </a:cxn>
              <a:cxn ang="0">
                <a:pos x="connsiteX49805" y="connsiteY49805"/>
              </a:cxn>
              <a:cxn ang="0">
                <a:pos x="connsiteX49806" y="connsiteY49806"/>
              </a:cxn>
              <a:cxn ang="0">
                <a:pos x="connsiteX49807" y="connsiteY49807"/>
              </a:cxn>
              <a:cxn ang="0">
                <a:pos x="connsiteX49808" y="connsiteY49808"/>
              </a:cxn>
              <a:cxn ang="0">
                <a:pos x="connsiteX49809" y="connsiteY49809"/>
              </a:cxn>
              <a:cxn ang="0">
                <a:pos x="connsiteX49810" y="connsiteY49810"/>
              </a:cxn>
              <a:cxn ang="0">
                <a:pos x="connsiteX49811" y="connsiteY49811"/>
              </a:cxn>
              <a:cxn ang="0">
                <a:pos x="connsiteX49812" y="connsiteY49812"/>
              </a:cxn>
              <a:cxn ang="0">
                <a:pos x="connsiteX49813" y="connsiteY49813"/>
              </a:cxn>
              <a:cxn ang="0">
                <a:pos x="connsiteX49814" y="connsiteY49814"/>
              </a:cxn>
              <a:cxn ang="0">
                <a:pos x="connsiteX49815" y="connsiteY49815"/>
              </a:cxn>
              <a:cxn ang="0">
                <a:pos x="connsiteX49816" y="connsiteY49816"/>
              </a:cxn>
              <a:cxn ang="0">
                <a:pos x="connsiteX49817" y="connsiteY49817"/>
              </a:cxn>
              <a:cxn ang="0">
                <a:pos x="connsiteX49818" y="connsiteY49818"/>
              </a:cxn>
              <a:cxn ang="0">
                <a:pos x="connsiteX49819" y="connsiteY49819"/>
              </a:cxn>
              <a:cxn ang="0">
                <a:pos x="connsiteX49820" y="connsiteY49820"/>
              </a:cxn>
              <a:cxn ang="0">
                <a:pos x="connsiteX49821" y="connsiteY49821"/>
              </a:cxn>
              <a:cxn ang="0">
                <a:pos x="connsiteX49822" y="connsiteY49822"/>
              </a:cxn>
              <a:cxn ang="0">
                <a:pos x="connsiteX49823" y="connsiteY49823"/>
              </a:cxn>
              <a:cxn ang="0">
                <a:pos x="connsiteX49824" y="connsiteY49824"/>
              </a:cxn>
              <a:cxn ang="0">
                <a:pos x="connsiteX49825" y="connsiteY49825"/>
              </a:cxn>
              <a:cxn ang="0">
                <a:pos x="connsiteX49826" y="connsiteY49826"/>
              </a:cxn>
              <a:cxn ang="0">
                <a:pos x="connsiteX49827" y="connsiteY49827"/>
              </a:cxn>
              <a:cxn ang="0">
                <a:pos x="connsiteX49828" y="connsiteY49828"/>
              </a:cxn>
              <a:cxn ang="0">
                <a:pos x="connsiteX49829" y="connsiteY49829"/>
              </a:cxn>
              <a:cxn ang="0">
                <a:pos x="connsiteX49830" y="connsiteY49830"/>
              </a:cxn>
              <a:cxn ang="0">
                <a:pos x="connsiteX49831" y="connsiteY49831"/>
              </a:cxn>
              <a:cxn ang="0">
                <a:pos x="connsiteX49832" y="connsiteY49832"/>
              </a:cxn>
              <a:cxn ang="0">
                <a:pos x="connsiteX49833" y="connsiteY49833"/>
              </a:cxn>
              <a:cxn ang="0">
                <a:pos x="connsiteX49834" y="connsiteY49834"/>
              </a:cxn>
              <a:cxn ang="0">
                <a:pos x="connsiteX49835" y="connsiteY49835"/>
              </a:cxn>
              <a:cxn ang="0">
                <a:pos x="connsiteX49836" y="connsiteY49836"/>
              </a:cxn>
              <a:cxn ang="0">
                <a:pos x="connsiteX49837" y="connsiteY49837"/>
              </a:cxn>
              <a:cxn ang="0">
                <a:pos x="connsiteX49838" y="connsiteY49838"/>
              </a:cxn>
              <a:cxn ang="0">
                <a:pos x="connsiteX49839" y="connsiteY49839"/>
              </a:cxn>
              <a:cxn ang="0">
                <a:pos x="connsiteX49840" y="connsiteY49840"/>
              </a:cxn>
              <a:cxn ang="0">
                <a:pos x="connsiteX49841" y="connsiteY49841"/>
              </a:cxn>
              <a:cxn ang="0">
                <a:pos x="connsiteX49842" y="connsiteY49842"/>
              </a:cxn>
              <a:cxn ang="0">
                <a:pos x="connsiteX49843" y="connsiteY49843"/>
              </a:cxn>
              <a:cxn ang="0">
                <a:pos x="connsiteX49844" y="connsiteY49844"/>
              </a:cxn>
              <a:cxn ang="0">
                <a:pos x="connsiteX49845" y="connsiteY49845"/>
              </a:cxn>
              <a:cxn ang="0">
                <a:pos x="connsiteX49846" y="connsiteY49846"/>
              </a:cxn>
              <a:cxn ang="0">
                <a:pos x="connsiteX49847" y="connsiteY49847"/>
              </a:cxn>
              <a:cxn ang="0">
                <a:pos x="connsiteX49848" y="connsiteY49848"/>
              </a:cxn>
              <a:cxn ang="0">
                <a:pos x="connsiteX49849" y="connsiteY49849"/>
              </a:cxn>
              <a:cxn ang="0">
                <a:pos x="connsiteX49850" y="connsiteY49850"/>
              </a:cxn>
              <a:cxn ang="0">
                <a:pos x="connsiteX49851" y="connsiteY49851"/>
              </a:cxn>
              <a:cxn ang="0">
                <a:pos x="connsiteX49852" y="connsiteY49852"/>
              </a:cxn>
              <a:cxn ang="0">
                <a:pos x="connsiteX49853" y="connsiteY49853"/>
              </a:cxn>
              <a:cxn ang="0">
                <a:pos x="connsiteX49854" y="connsiteY49854"/>
              </a:cxn>
              <a:cxn ang="0">
                <a:pos x="connsiteX49855" y="connsiteY49855"/>
              </a:cxn>
              <a:cxn ang="0">
                <a:pos x="connsiteX49856" y="connsiteY49856"/>
              </a:cxn>
              <a:cxn ang="0">
                <a:pos x="connsiteX49857" y="connsiteY49857"/>
              </a:cxn>
              <a:cxn ang="0">
                <a:pos x="connsiteX49858" y="connsiteY49858"/>
              </a:cxn>
              <a:cxn ang="0">
                <a:pos x="connsiteX49859" y="connsiteY49859"/>
              </a:cxn>
              <a:cxn ang="0">
                <a:pos x="connsiteX49860" y="connsiteY49860"/>
              </a:cxn>
              <a:cxn ang="0">
                <a:pos x="connsiteX49861" y="connsiteY49861"/>
              </a:cxn>
              <a:cxn ang="0">
                <a:pos x="connsiteX49862" y="connsiteY49862"/>
              </a:cxn>
              <a:cxn ang="0">
                <a:pos x="connsiteX49863" y="connsiteY49863"/>
              </a:cxn>
              <a:cxn ang="0">
                <a:pos x="connsiteX49864" y="connsiteY49864"/>
              </a:cxn>
              <a:cxn ang="0">
                <a:pos x="connsiteX49865" y="connsiteY49865"/>
              </a:cxn>
              <a:cxn ang="0">
                <a:pos x="connsiteX49866" y="connsiteY49866"/>
              </a:cxn>
              <a:cxn ang="0">
                <a:pos x="connsiteX49867" y="connsiteY49867"/>
              </a:cxn>
              <a:cxn ang="0">
                <a:pos x="connsiteX49868" y="connsiteY49868"/>
              </a:cxn>
              <a:cxn ang="0">
                <a:pos x="connsiteX49869" y="connsiteY49869"/>
              </a:cxn>
              <a:cxn ang="0">
                <a:pos x="connsiteX49870" y="connsiteY49870"/>
              </a:cxn>
              <a:cxn ang="0">
                <a:pos x="connsiteX49871" y="connsiteY49871"/>
              </a:cxn>
              <a:cxn ang="0">
                <a:pos x="connsiteX49872" y="connsiteY49872"/>
              </a:cxn>
              <a:cxn ang="0">
                <a:pos x="connsiteX49873" y="connsiteY49873"/>
              </a:cxn>
              <a:cxn ang="0">
                <a:pos x="connsiteX49874" y="connsiteY49874"/>
              </a:cxn>
              <a:cxn ang="0">
                <a:pos x="connsiteX49875" y="connsiteY49875"/>
              </a:cxn>
              <a:cxn ang="0">
                <a:pos x="connsiteX49876" y="connsiteY49876"/>
              </a:cxn>
              <a:cxn ang="0">
                <a:pos x="connsiteX49877" y="connsiteY49877"/>
              </a:cxn>
              <a:cxn ang="0">
                <a:pos x="connsiteX49878" y="connsiteY49878"/>
              </a:cxn>
              <a:cxn ang="0">
                <a:pos x="connsiteX49879" y="connsiteY49879"/>
              </a:cxn>
              <a:cxn ang="0">
                <a:pos x="connsiteX49880" y="connsiteY49880"/>
              </a:cxn>
              <a:cxn ang="0">
                <a:pos x="connsiteX49881" y="connsiteY49881"/>
              </a:cxn>
              <a:cxn ang="0">
                <a:pos x="connsiteX49882" y="connsiteY49882"/>
              </a:cxn>
              <a:cxn ang="0">
                <a:pos x="connsiteX49883" y="connsiteY49883"/>
              </a:cxn>
              <a:cxn ang="0">
                <a:pos x="connsiteX49884" y="connsiteY49884"/>
              </a:cxn>
              <a:cxn ang="0">
                <a:pos x="connsiteX49885" y="connsiteY49885"/>
              </a:cxn>
              <a:cxn ang="0">
                <a:pos x="connsiteX49886" y="connsiteY49886"/>
              </a:cxn>
              <a:cxn ang="0">
                <a:pos x="connsiteX49887" y="connsiteY49887"/>
              </a:cxn>
              <a:cxn ang="0">
                <a:pos x="connsiteX49888" y="connsiteY49888"/>
              </a:cxn>
              <a:cxn ang="0">
                <a:pos x="connsiteX49889" y="connsiteY49889"/>
              </a:cxn>
              <a:cxn ang="0">
                <a:pos x="connsiteX49890" y="connsiteY49890"/>
              </a:cxn>
              <a:cxn ang="0">
                <a:pos x="connsiteX49891" y="connsiteY49891"/>
              </a:cxn>
              <a:cxn ang="0">
                <a:pos x="connsiteX49892" y="connsiteY49892"/>
              </a:cxn>
              <a:cxn ang="0">
                <a:pos x="connsiteX49893" y="connsiteY49893"/>
              </a:cxn>
              <a:cxn ang="0">
                <a:pos x="connsiteX49894" y="connsiteY49894"/>
              </a:cxn>
              <a:cxn ang="0">
                <a:pos x="connsiteX49895" y="connsiteY49895"/>
              </a:cxn>
              <a:cxn ang="0">
                <a:pos x="connsiteX49896" y="connsiteY49896"/>
              </a:cxn>
              <a:cxn ang="0">
                <a:pos x="connsiteX49897" y="connsiteY49897"/>
              </a:cxn>
              <a:cxn ang="0">
                <a:pos x="connsiteX49898" y="connsiteY49898"/>
              </a:cxn>
              <a:cxn ang="0">
                <a:pos x="connsiteX49899" y="connsiteY49899"/>
              </a:cxn>
              <a:cxn ang="0">
                <a:pos x="connsiteX49900" y="connsiteY49900"/>
              </a:cxn>
              <a:cxn ang="0">
                <a:pos x="connsiteX49901" y="connsiteY49901"/>
              </a:cxn>
              <a:cxn ang="0">
                <a:pos x="connsiteX49902" y="connsiteY49902"/>
              </a:cxn>
              <a:cxn ang="0">
                <a:pos x="connsiteX49903" y="connsiteY49903"/>
              </a:cxn>
              <a:cxn ang="0">
                <a:pos x="connsiteX49904" y="connsiteY49904"/>
              </a:cxn>
              <a:cxn ang="0">
                <a:pos x="connsiteX49905" y="connsiteY49905"/>
              </a:cxn>
              <a:cxn ang="0">
                <a:pos x="connsiteX49906" y="connsiteY49906"/>
              </a:cxn>
              <a:cxn ang="0">
                <a:pos x="connsiteX49907" y="connsiteY49907"/>
              </a:cxn>
              <a:cxn ang="0">
                <a:pos x="connsiteX49908" y="connsiteY49908"/>
              </a:cxn>
              <a:cxn ang="0">
                <a:pos x="connsiteX49909" y="connsiteY49909"/>
              </a:cxn>
              <a:cxn ang="0">
                <a:pos x="connsiteX49910" y="connsiteY49910"/>
              </a:cxn>
              <a:cxn ang="0">
                <a:pos x="connsiteX49911" y="connsiteY49911"/>
              </a:cxn>
              <a:cxn ang="0">
                <a:pos x="connsiteX49912" y="connsiteY49912"/>
              </a:cxn>
              <a:cxn ang="0">
                <a:pos x="connsiteX49913" y="connsiteY49913"/>
              </a:cxn>
              <a:cxn ang="0">
                <a:pos x="connsiteX49914" y="connsiteY49914"/>
              </a:cxn>
              <a:cxn ang="0">
                <a:pos x="connsiteX49915" y="connsiteY49915"/>
              </a:cxn>
              <a:cxn ang="0">
                <a:pos x="connsiteX49916" y="connsiteY49916"/>
              </a:cxn>
              <a:cxn ang="0">
                <a:pos x="connsiteX49917" y="connsiteY49917"/>
              </a:cxn>
              <a:cxn ang="0">
                <a:pos x="connsiteX49918" y="connsiteY49918"/>
              </a:cxn>
              <a:cxn ang="0">
                <a:pos x="connsiteX49919" y="connsiteY49919"/>
              </a:cxn>
              <a:cxn ang="0">
                <a:pos x="connsiteX49920" y="connsiteY49920"/>
              </a:cxn>
              <a:cxn ang="0">
                <a:pos x="connsiteX49921" y="connsiteY49921"/>
              </a:cxn>
              <a:cxn ang="0">
                <a:pos x="connsiteX49922" y="connsiteY49922"/>
              </a:cxn>
              <a:cxn ang="0">
                <a:pos x="connsiteX49923" y="connsiteY49923"/>
              </a:cxn>
              <a:cxn ang="0">
                <a:pos x="connsiteX49924" y="connsiteY49924"/>
              </a:cxn>
              <a:cxn ang="0">
                <a:pos x="connsiteX49925" y="connsiteY49925"/>
              </a:cxn>
              <a:cxn ang="0">
                <a:pos x="connsiteX49926" y="connsiteY49926"/>
              </a:cxn>
              <a:cxn ang="0">
                <a:pos x="connsiteX49927" y="connsiteY49927"/>
              </a:cxn>
              <a:cxn ang="0">
                <a:pos x="connsiteX49928" y="connsiteY49928"/>
              </a:cxn>
              <a:cxn ang="0">
                <a:pos x="connsiteX49929" y="connsiteY49929"/>
              </a:cxn>
              <a:cxn ang="0">
                <a:pos x="connsiteX49930" y="connsiteY49930"/>
              </a:cxn>
              <a:cxn ang="0">
                <a:pos x="connsiteX49931" y="connsiteY49931"/>
              </a:cxn>
              <a:cxn ang="0">
                <a:pos x="connsiteX49932" y="connsiteY49932"/>
              </a:cxn>
              <a:cxn ang="0">
                <a:pos x="connsiteX49933" y="connsiteY49933"/>
              </a:cxn>
              <a:cxn ang="0">
                <a:pos x="connsiteX49934" y="connsiteY49934"/>
              </a:cxn>
              <a:cxn ang="0">
                <a:pos x="connsiteX49935" y="connsiteY49935"/>
              </a:cxn>
              <a:cxn ang="0">
                <a:pos x="connsiteX49936" y="connsiteY49936"/>
              </a:cxn>
              <a:cxn ang="0">
                <a:pos x="connsiteX49937" y="connsiteY49937"/>
              </a:cxn>
              <a:cxn ang="0">
                <a:pos x="connsiteX49938" y="connsiteY49938"/>
              </a:cxn>
              <a:cxn ang="0">
                <a:pos x="connsiteX49939" y="connsiteY49939"/>
              </a:cxn>
              <a:cxn ang="0">
                <a:pos x="connsiteX49940" y="connsiteY49940"/>
              </a:cxn>
              <a:cxn ang="0">
                <a:pos x="connsiteX49941" y="connsiteY49941"/>
              </a:cxn>
              <a:cxn ang="0">
                <a:pos x="connsiteX49942" y="connsiteY49942"/>
              </a:cxn>
              <a:cxn ang="0">
                <a:pos x="connsiteX49943" y="connsiteY49943"/>
              </a:cxn>
              <a:cxn ang="0">
                <a:pos x="connsiteX49944" y="connsiteY49944"/>
              </a:cxn>
              <a:cxn ang="0">
                <a:pos x="connsiteX49945" y="connsiteY49945"/>
              </a:cxn>
              <a:cxn ang="0">
                <a:pos x="connsiteX49946" y="connsiteY49946"/>
              </a:cxn>
              <a:cxn ang="0">
                <a:pos x="connsiteX49947" y="connsiteY49947"/>
              </a:cxn>
              <a:cxn ang="0">
                <a:pos x="connsiteX49948" y="connsiteY49948"/>
              </a:cxn>
              <a:cxn ang="0">
                <a:pos x="connsiteX49949" y="connsiteY49949"/>
              </a:cxn>
              <a:cxn ang="0">
                <a:pos x="connsiteX49950" y="connsiteY49950"/>
              </a:cxn>
              <a:cxn ang="0">
                <a:pos x="connsiteX49951" y="connsiteY49951"/>
              </a:cxn>
              <a:cxn ang="0">
                <a:pos x="connsiteX49952" y="connsiteY49952"/>
              </a:cxn>
              <a:cxn ang="0">
                <a:pos x="connsiteX49953" y="connsiteY49953"/>
              </a:cxn>
              <a:cxn ang="0">
                <a:pos x="connsiteX49954" y="connsiteY49954"/>
              </a:cxn>
              <a:cxn ang="0">
                <a:pos x="connsiteX49955" y="connsiteY49955"/>
              </a:cxn>
              <a:cxn ang="0">
                <a:pos x="connsiteX49956" y="connsiteY49956"/>
              </a:cxn>
              <a:cxn ang="0">
                <a:pos x="connsiteX49957" y="connsiteY49957"/>
              </a:cxn>
              <a:cxn ang="0">
                <a:pos x="connsiteX49958" y="connsiteY49958"/>
              </a:cxn>
              <a:cxn ang="0">
                <a:pos x="connsiteX49959" y="connsiteY49959"/>
              </a:cxn>
              <a:cxn ang="0">
                <a:pos x="connsiteX49960" y="connsiteY49960"/>
              </a:cxn>
              <a:cxn ang="0">
                <a:pos x="connsiteX49961" y="connsiteY49961"/>
              </a:cxn>
              <a:cxn ang="0">
                <a:pos x="connsiteX49962" y="connsiteY49962"/>
              </a:cxn>
              <a:cxn ang="0">
                <a:pos x="connsiteX49963" y="connsiteY49963"/>
              </a:cxn>
              <a:cxn ang="0">
                <a:pos x="connsiteX49964" y="connsiteY49964"/>
              </a:cxn>
              <a:cxn ang="0">
                <a:pos x="connsiteX49965" y="connsiteY49965"/>
              </a:cxn>
              <a:cxn ang="0">
                <a:pos x="connsiteX49966" y="connsiteY49966"/>
              </a:cxn>
              <a:cxn ang="0">
                <a:pos x="connsiteX49967" y="connsiteY49967"/>
              </a:cxn>
              <a:cxn ang="0">
                <a:pos x="connsiteX49968" y="connsiteY49968"/>
              </a:cxn>
              <a:cxn ang="0">
                <a:pos x="connsiteX49969" y="connsiteY49969"/>
              </a:cxn>
              <a:cxn ang="0">
                <a:pos x="connsiteX49970" y="connsiteY49970"/>
              </a:cxn>
              <a:cxn ang="0">
                <a:pos x="connsiteX49971" y="connsiteY49971"/>
              </a:cxn>
              <a:cxn ang="0">
                <a:pos x="connsiteX49972" y="connsiteY49972"/>
              </a:cxn>
              <a:cxn ang="0">
                <a:pos x="connsiteX49973" y="connsiteY49973"/>
              </a:cxn>
              <a:cxn ang="0">
                <a:pos x="connsiteX49974" y="connsiteY49974"/>
              </a:cxn>
              <a:cxn ang="0">
                <a:pos x="connsiteX49975" y="connsiteY49975"/>
              </a:cxn>
              <a:cxn ang="0">
                <a:pos x="connsiteX49976" y="connsiteY49976"/>
              </a:cxn>
              <a:cxn ang="0">
                <a:pos x="connsiteX49977" y="connsiteY49977"/>
              </a:cxn>
              <a:cxn ang="0">
                <a:pos x="connsiteX49978" y="connsiteY49978"/>
              </a:cxn>
              <a:cxn ang="0">
                <a:pos x="connsiteX49979" y="connsiteY49979"/>
              </a:cxn>
              <a:cxn ang="0">
                <a:pos x="connsiteX49980" y="connsiteY49980"/>
              </a:cxn>
              <a:cxn ang="0">
                <a:pos x="connsiteX49981" y="connsiteY49981"/>
              </a:cxn>
              <a:cxn ang="0">
                <a:pos x="connsiteX49982" y="connsiteY49982"/>
              </a:cxn>
              <a:cxn ang="0">
                <a:pos x="connsiteX49983" y="connsiteY49983"/>
              </a:cxn>
              <a:cxn ang="0">
                <a:pos x="connsiteX49984" y="connsiteY49984"/>
              </a:cxn>
              <a:cxn ang="0">
                <a:pos x="connsiteX49985" y="connsiteY49985"/>
              </a:cxn>
              <a:cxn ang="0">
                <a:pos x="connsiteX49986" y="connsiteY49986"/>
              </a:cxn>
              <a:cxn ang="0">
                <a:pos x="connsiteX49987" y="connsiteY49987"/>
              </a:cxn>
              <a:cxn ang="0">
                <a:pos x="connsiteX49988" y="connsiteY49988"/>
              </a:cxn>
              <a:cxn ang="0">
                <a:pos x="connsiteX49989" y="connsiteY49989"/>
              </a:cxn>
              <a:cxn ang="0">
                <a:pos x="connsiteX49990" y="connsiteY49990"/>
              </a:cxn>
              <a:cxn ang="0">
                <a:pos x="connsiteX49991" y="connsiteY49991"/>
              </a:cxn>
              <a:cxn ang="0">
                <a:pos x="connsiteX49992" y="connsiteY49992"/>
              </a:cxn>
              <a:cxn ang="0">
                <a:pos x="connsiteX49993" y="connsiteY49993"/>
              </a:cxn>
              <a:cxn ang="0">
                <a:pos x="connsiteX49994" y="connsiteY49994"/>
              </a:cxn>
              <a:cxn ang="0">
                <a:pos x="connsiteX49995" y="connsiteY49995"/>
              </a:cxn>
              <a:cxn ang="0">
                <a:pos x="connsiteX49996" y="connsiteY49996"/>
              </a:cxn>
              <a:cxn ang="0">
                <a:pos x="connsiteX49997" y="connsiteY49997"/>
              </a:cxn>
              <a:cxn ang="0">
                <a:pos x="connsiteX49998" y="connsiteY49998"/>
              </a:cxn>
              <a:cxn ang="0">
                <a:pos x="connsiteX49999" y="connsiteY49999"/>
              </a:cxn>
              <a:cxn ang="0">
                <a:pos x="connsiteX50000" y="connsiteY50000"/>
              </a:cxn>
              <a:cxn ang="0">
                <a:pos x="connsiteX50001" y="connsiteY50001"/>
              </a:cxn>
              <a:cxn ang="0">
                <a:pos x="connsiteX50002" y="connsiteY50002"/>
              </a:cxn>
              <a:cxn ang="0">
                <a:pos x="connsiteX50003" y="connsiteY50003"/>
              </a:cxn>
              <a:cxn ang="0">
                <a:pos x="connsiteX50004" y="connsiteY50004"/>
              </a:cxn>
              <a:cxn ang="0">
                <a:pos x="connsiteX50005" y="connsiteY50005"/>
              </a:cxn>
              <a:cxn ang="0">
                <a:pos x="connsiteX50006" y="connsiteY50006"/>
              </a:cxn>
              <a:cxn ang="0">
                <a:pos x="connsiteX50007" y="connsiteY50007"/>
              </a:cxn>
              <a:cxn ang="0">
                <a:pos x="connsiteX50008" y="connsiteY50008"/>
              </a:cxn>
              <a:cxn ang="0">
                <a:pos x="connsiteX50009" y="connsiteY50009"/>
              </a:cxn>
              <a:cxn ang="0">
                <a:pos x="connsiteX50010" y="connsiteY50010"/>
              </a:cxn>
              <a:cxn ang="0">
                <a:pos x="connsiteX50011" y="connsiteY50011"/>
              </a:cxn>
              <a:cxn ang="0">
                <a:pos x="connsiteX50012" y="connsiteY50012"/>
              </a:cxn>
              <a:cxn ang="0">
                <a:pos x="connsiteX50013" y="connsiteY50013"/>
              </a:cxn>
              <a:cxn ang="0">
                <a:pos x="connsiteX50014" y="connsiteY50014"/>
              </a:cxn>
              <a:cxn ang="0">
                <a:pos x="connsiteX50015" y="connsiteY50015"/>
              </a:cxn>
              <a:cxn ang="0">
                <a:pos x="connsiteX50016" y="connsiteY50016"/>
              </a:cxn>
              <a:cxn ang="0">
                <a:pos x="connsiteX50017" y="connsiteY50017"/>
              </a:cxn>
              <a:cxn ang="0">
                <a:pos x="connsiteX50018" y="connsiteY50018"/>
              </a:cxn>
              <a:cxn ang="0">
                <a:pos x="connsiteX50019" y="connsiteY50019"/>
              </a:cxn>
              <a:cxn ang="0">
                <a:pos x="connsiteX50020" y="connsiteY50020"/>
              </a:cxn>
              <a:cxn ang="0">
                <a:pos x="connsiteX50021" y="connsiteY50021"/>
              </a:cxn>
              <a:cxn ang="0">
                <a:pos x="connsiteX50022" y="connsiteY50022"/>
              </a:cxn>
              <a:cxn ang="0">
                <a:pos x="connsiteX50023" y="connsiteY50023"/>
              </a:cxn>
              <a:cxn ang="0">
                <a:pos x="connsiteX50024" y="connsiteY50024"/>
              </a:cxn>
              <a:cxn ang="0">
                <a:pos x="connsiteX50025" y="connsiteY50025"/>
              </a:cxn>
              <a:cxn ang="0">
                <a:pos x="connsiteX50026" y="connsiteY50026"/>
              </a:cxn>
              <a:cxn ang="0">
                <a:pos x="connsiteX50027" y="connsiteY50027"/>
              </a:cxn>
              <a:cxn ang="0">
                <a:pos x="connsiteX50028" y="connsiteY50028"/>
              </a:cxn>
              <a:cxn ang="0">
                <a:pos x="connsiteX50029" y="connsiteY50029"/>
              </a:cxn>
              <a:cxn ang="0">
                <a:pos x="connsiteX50030" y="connsiteY50030"/>
              </a:cxn>
              <a:cxn ang="0">
                <a:pos x="connsiteX50031" y="connsiteY50031"/>
              </a:cxn>
              <a:cxn ang="0">
                <a:pos x="connsiteX50032" y="connsiteY50032"/>
              </a:cxn>
              <a:cxn ang="0">
                <a:pos x="connsiteX50033" y="connsiteY50033"/>
              </a:cxn>
              <a:cxn ang="0">
                <a:pos x="connsiteX50034" y="connsiteY50034"/>
              </a:cxn>
              <a:cxn ang="0">
                <a:pos x="connsiteX50035" y="connsiteY50035"/>
              </a:cxn>
              <a:cxn ang="0">
                <a:pos x="connsiteX50036" y="connsiteY50036"/>
              </a:cxn>
              <a:cxn ang="0">
                <a:pos x="connsiteX50037" y="connsiteY50037"/>
              </a:cxn>
              <a:cxn ang="0">
                <a:pos x="connsiteX50038" y="connsiteY50038"/>
              </a:cxn>
              <a:cxn ang="0">
                <a:pos x="connsiteX50039" y="connsiteY50039"/>
              </a:cxn>
              <a:cxn ang="0">
                <a:pos x="connsiteX50040" y="connsiteY50040"/>
              </a:cxn>
              <a:cxn ang="0">
                <a:pos x="connsiteX50041" y="connsiteY50041"/>
              </a:cxn>
              <a:cxn ang="0">
                <a:pos x="connsiteX50042" y="connsiteY50042"/>
              </a:cxn>
              <a:cxn ang="0">
                <a:pos x="connsiteX50043" y="connsiteY50043"/>
              </a:cxn>
              <a:cxn ang="0">
                <a:pos x="connsiteX50044" y="connsiteY50044"/>
              </a:cxn>
              <a:cxn ang="0">
                <a:pos x="connsiteX50045" y="connsiteY50045"/>
              </a:cxn>
              <a:cxn ang="0">
                <a:pos x="connsiteX50046" y="connsiteY50046"/>
              </a:cxn>
              <a:cxn ang="0">
                <a:pos x="connsiteX50047" y="connsiteY50047"/>
              </a:cxn>
              <a:cxn ang="0">
                <a:pos x="connsiteX50048" y="connsiteY50048"/>
              </a:cxn>
              <a:cxn ang="0">
                <a:pos x="connsiteX50049" y="connsiteY50049"/>
              </a:cxn>
              <a:cxn ang="0">
                <a:pos x="connsiteX50050" y="connsiteY50050"/>
              </a:cxn>
              <a:cxn ang="0">
                <a:pos x="connsiteX50051" y="connsiteY50051"/>
              </a:cxn>
              <a:cxn ang="0">
                <a:pos x="connsiteX50052" y="connsiteY50052"/>
              </a:cxn>
              <a:cxn ang="0">
                <a:pos x="connsiteX50053" y="connsiteY50053"/>
              </a:cxn>
              <a:cxn ang="0">
                <a:pos x="connsiteX50054" y="connsiteY50054"/>
              </a:cxn>
              <a:cxn ang="0">
                <a:pos x="connsiteX50055" y="connsiteY50055"/>
              </a:cxn>
              <a:cxn ang="0">
                <a:pos x="connsiteX50056" y="connsiteY50056"/>
              </a:cxn>
              <a:cxn ang="0">
                <a:pos x="connsiteX50057" y="connsiteY50057"/>
              </a:cxn>
              <a:cxn ang="0">
                <a:pos x="connsiteX50058" y="connsiteY50058"/>
              </a:cxn>
              <a:cxn ang="0">
                <a:pos x="connsiteX50059" y="connsiteY50059"/>
              </a:cxn>
              <a:cxn ang="0">
                <a:pos x="connsiteX50060" y="connsiteY50060"/>
              </a:cxn>
              <a:cxn ang="0">
                <a:pos x="connsiteX50061" y="connsiteY50061"/>
              </a:cxn>
              <a:cxn ang="0">
                <a:pos x="connsiteX50062" y="connsiteY50062"/>
              </a:cxn>
              <a:cxn ang="0">
                <a:pos x="connsiteX50063" y="connsiteY50063"/>
              </a:cxn>
              <a:cxn ang="0">
                <a:pos x="connsiteX50064" y="connsiteY50064"/>
              </a:cxn>
              <a:cxn ang="0">
                <a:pos x="connsiteX50065" y="connsiteY50065"/>
              </a:cxn>
              <a:cxn ang="0">
                <a:pos x="connsiteX50066" y="connsiteY50066"/>
              </a:cxn>
              <a:cxn ang="0">
                <a:pos x="connsiteX50067" y="connsiteY50067"/>
              </a:cxn>
              <a:cxn ang="0">
                <a:pos x="connsiteX50068" y="connsiteY50068"/>
              </a:cxn>
              <a:cxn ang="0">
                <a:pos x="connsiteX50069" y="connsiteY50069"/>
              </a:cxn>
              <a:cxn ang="0">
                <a:pos x="connsiteX50070" y="connsiteY50070"/>
              </a:cxn>
              <a:cxn ang="0">
                <a:pos x="connsiteX50071" y="connsiteY50071"/>
              </a:cxn>
              <a:cxn ang="0">
                <a:pos x="connsiteX50072" y="connsiteY50072"/>
              </a:cxn>
              <a:cxn ang="0">
                <a:pos x="connsiteX50073" y="connsiteY50073"/>
              </a:cxn>
              <a:cxn ang="0">
                <a:pos x="connsiteX50074" y="connsiteY50074"/>
              </a:cxn>
              <a:cxn ang="0">
                <a:pos x="connsiteX50075" y="connsiteY50075"/>
              </a:cxn>
              <a:cxn ang="0">
                <a:pos x="connsiteX50076" y="connsiteY50076"/>
              </a:cxn>
              <a:cxn ang="0">
                <a:pos x="connsiteX50077" y="connsiteY50077"/>
              </a:cxn>
              <a:cxn ang="0">
                <a:pos x="connsiteX50078" y="connsiteY50078"/>
              </a:cxn>
              <a:cxn ang="0">
                <a:pos x="connsiteX50079" y="connsiteY50079"/>
              </a:cxn>
              <a:cxn ang="0">
                <a:pos x="connsiteX50080" y="connsiteY50080"/>
              </a:cxn>
              <a:cxn ang="0">
                <a:pos x="connsiteX50081" y="connsiteY50081"/>
              </a:cxn>
              <a:cxn ang="0">
                <a:pos x="connsiteX50082" y="connsiteY50082"/>
              </a:cxn>
              <a:cxn ang="0">
                <a:pos x="connsiteX50083" y="connsiteY50083"/>
              </a:cxn>
              <a:cxn ang="0">
                <a:pos x="connsiteX50084" y="connsiteY50084"/>
              </a:cxn>
              <a:cxn ang="0">
                <a:pos x="connsiteX50085" y="connsiteY50085"/>
              </a:cxn>
              <a:cxn ang="0">
                <a:pos x="connsiteX50086" y="connsiteY50086"/>
              </a:cxn>
              <a:cxn ang="0">
                <a:pos x="connsiteX50087" y="connsiteY50087"/>
              </a:cxn>
              <a:cxn ang="0">
                <a:pos x="connsiteX50088" y="connsiteY50088"/>
              </a:cxn>
              <a:cxn ang="0">
                <a:pos x="connsiteX50089" y="connsiteY50089"/>
              </a:cxn>
              <a:cxn ang="0">
                <a:pos x="connsiteX50090" y="connsiteY50090"/>
              </a:cxn>
              <a:cxn ang="0">
                <a:pos x="connsiteX50091" y="connsiteY50091"/>
              </a:cxn>
              <a:cxn ang="0">
                <a:pos x="connsiteX50092" y="connsiteY50092"/>
              </a:cxn>
              <a:cxn ang="0">
                <a:pos x="connsiteX50093" y="connsiteY50093"/>
              </a:cxn>
              <a:cxn ang="0">
                <a:pos x="connsiteX50094" y="connsiteY50094"/>
              </a:cxn>
              <a:cxn ang="0">
                <a:pos x="connsiteX50095" y="connsiteY50095"/>
              </a:cxn>
              <a:cxn ang="0">
                <a:pos x="connsiteX50096" y="connsiteY50096"/>
              </a:cxn>
              <a:cxn ang="0">
                <a:pos x="connsiteX50097" y="connsiteY50097"/>
              </a:cxn>
              <a:cxn ang="0">
                <a:pos x="connsiteX50098" y="connsiteY50098"/>
              </a:cxn>
              <a:cxn ang="0">
                <a:pos x="connsiteX50099" y="connsiteY50099"/>
              </a:cxn>
              <a:cxn ang="0">
                <a:pos x="connsiteX50100" y="connsiteY50100"/>
              </a:cxn>
              <a:cxn ang="0">
                <a:pos x="connsiteX50101" y="connsiteY50101"/>
              </a:cxn>
              <a:cxn ang="0">
                <a:pos x="connsiteX50102" y="connsiteY50102"/>
              </a:cxn>
              <a:cxn ang="0">
                <a:pos x="connsiteX50103" y="connsiteY50103"/>
              </a:cxn>
              <a:cxn ang="0">
                <a:pos x="connsiteX50104" y="connsiteY50104"/>
              </a:cxn>
              <a:cxn ang="0">
                <a:pos x="connsiteX50105" y="connsiteY50105"/>
              </a:cxn>
              <a:cxn ang="0">
                <a:pos x="connsiteX50106" y="connsiteY50106"/>
              </a:cxn>
              <a:cxn ang="0">
                <a:pos x="connsiteX50107" y="connsiteY50107"/>
              </a:cxn>
              <a:cxn ang="0">
                <a:pos x="connsiteX50108" y="connsiteY50108"/>
              </a:cxn>
              <a:cxn ang="0">
                <a:pos x="connsiteX50109" y="connsiteY50109"/>
              </a:cxn>
              <a:cxn ang="0">
                <a:pos x="connsiteX50110" y="connsiteY50110"/>
              </a:cxn>
              <a:cxn ang="0">
                <a:pos x="connsiteX50111" y="connsiteY50111"/>
              </a:cxn>
              <a:cxn ang="0">
                <a:pos x="connsiteX50112" y="connsiteY50112"/>
              </a:cxn>
              <a:cxn ang="0">
                <a:pos x="connsiteX50113" y="connsiteY50113"/>
              </a:cxn>
              <a:cxn ang="0">
                <a:pos x="connsiteX50114" y="connsiteY50114"/>
              </a:cxn>
              <a:cxn ang="0">
                <a:pos x="connsiteX50115" y="connsiteY50115"/>
              </a:cxn>
              <a:cxn ang="0">
                <a:pos x="connsiteX50116" y="connsiteY50116"/>
              </a:cxn>
              <a:cxn ang="0">
                <a:pos x="connsiteX50117" y="connsiteY50117"/>
              </a:cxn>
              <a:cxn ang="0">
                <a:pos x="connsiteX50118" y="connsiteY50118"/>
              </a:cxn>
              <a:cxn ang="0">
                <a:pos x="connsiteX50119" y="connsiteY50119"/>
              </a:cxn>
              <a:cxn ang="0">
                <a:pos x="connsiteX50120" y="connsiteY50120"/>
              </a:cxn>
              <a:cxn ang="0">
                <a:pos x="connsiteX50121" y="connsiteY50121"/>
              </a:cxn>
              <a:cxn ang="0">
                <a:pos x="connsiteX50122" y="connsiteY50122"/>
              </a:cxn>
              <a:cxn ang="0">
                <a:pos x="connsiteX50123" y="connsiteY50123"/>
              </a:cxn>
              <a:cxn ang="0">
                <a:pos x="connsiteX50124" y="connsiteY50124"/>
              </a:cxn>
              <a:cxn ang="0">
                <a:pos x="connsiteX50125" y="connsiteY50125"/>
              </a:cxn>
              <a:cxn ang="0">
                <a:pos x="connsiteX50126" y="connsiteY50126"/>
              </a:cxn>
              <a:cxn ang="0">
                <a:pos x="connsiteX50127" y="connsiteY50127"/>
              </a:cxn>
              <a:cxn ang="0">
                <a:pos x="connsiteX50128" y="connsiteY50128"/>
              </a:cxn>
              <a:cxn ang="0">
                <a:pos x="connsiteX50129" y="connsiteY50129"/>
              </a:cxn>
              <a:cxn ang="0">
                <a:pos x="connsiteX50130" y="connsiteY50130"/>
              </a:cxn>
              <a:cxn ang="0">
                <a:pos x="connsiteX50131" y="connsiteY50131"/>
              </a:cxn>
              <a:cxn ang="0">
                <a:pos x="connsiteX50132" y="connsiteY50132"/>
              </a:cxn>
              <a:cxn ang="0">
                <a:pos x="connsiteX50133" y="connsiteY50133"/>
              </a:cxn>
              <a:cxn ang="0">
                <a:pos x="connsiteX50134" y="connsiteY50134"/>
              </a:cxn>
              <a:cxn ang="0">
                <a:pos x="connsiteX50135" y="connsiteY50135"/>
              </a:cxn>
              <a:cxn ang="0">
                <a:pos x="connsiteX50136" y="connsiteY50136"/>
              </a:cxn>
              <a:cxn ang="0">
                <a:pos x="connsiteX50137" y="connsiteY50137"/>
              </a:cxn>
              <a:cxn ang="0">
                <a:pos x="connsiteX50138" y="connsiteY50138"/>
              </a:cxn>
              <a:cxn ang="0">
                <a:pos x="connsiteX50139" y="connsiteY50139"/>
              </a:cxn>
              <a:cxn ang="0">
                <a:pos x="connsiteX50140" y="connsiteY50140"/>
              </a:cxn>
              <a:cxn ang="0">
                <a:pos x="connsiteX50141" y="connsiteY50141"/>
              </a:cxn>
              <a:cxn ang="0">
                <a:pos x="connsiteX50142" y="connsiteY50142"/>
              </a:cxn>
              <a:cxn ang="0">
                <a:pos x="connsiteX50143" y="connsiteY50143"/>
              </a:cxn>
              <a:cxn ang="0">
                <a:pos x="connsiteX50144" y="connsiteY50144"/>
              </a:cxn>
              <a:cxn ang="0">
                <a:pos x="connsiteX50145" y="connsiteY50145"/>
              </a:cxn>
              <a:cxn ang="0">
                <a:pos x="connsiteX50146" y="connsiteY50146"/>
              </a:cxn>
              <a:cxn ang="0">
                <a:pos x="connsiteX50147" y="connsiteY50147"/>
              </a:cxn>
              <a:cxn ang="0">
                <a:pos x="connsiteX50148" y="connsiteY50148"/>
              </a:cxn>
              <a:cxn ang="0">
                <a:pos x="connsiteX50149" y="connsiteY50149"/>
              </a:cxn>
              <a:cxn ang="0">
                <a:pos x="connsiteX50150" y="connsiteY50150"/>
              </a:cxn>
              <a:cxn ang="0">
                <a:pos x="connsiteX50151" y="connsiteY50151"/>
              </a:cxn>
              <a:cxn ang="0">
                <a:pos x="connsiteX50152" y="connsiteY50152"/>
              </a:cxn>
              <a:cxn ang="0">
                <a:pos x="connsiteX50153" y="connsiteY50153"/>
              </a:cxn>
              <a:cxn ang="0">
                <a:pos x="connsiteX50154" y="connsiteY50154"/>
              </a:cxn>
              <a:cxn ang="0">
                <a:pos x="connsiteX50155" y="connsiteY50155"/>
              </a:cxn>
              <a:cxn ang="0">
                <a:pos x="connsiteX50156" y="connsiteY50156"/>
              </a:cxn>
              <a:cxn ang="0">
                <a:pos x="connsiteX50157" y="connsiteY50157"/>
              </a:cxn>
              <a:cxn ang="0">
                <a:pos x="connsiteX50158" y="connsiteY50158"/>
              </a:cxn>
              <a:cxn ang="0">
                <a:pos x="connsiteX50159" y="connsiteY50159"/>
              </a:cxn>
              <a:cxn ang="0">
                <a:pos x="connsiteX50160" y="connsiteY50160"/>
              </a:cxn>
              <a:cxn ang="0">
                <a:pos x="connsiteX50161" y="connsiteY50161"/>
              </a:cxn>
              <a:cxn ang="0">
                <a:pos x="connsiteX50162" y="connsiteY50162"/>
              </a:cxn>
              <a:cxn ang="0">
                <a:pos x="connsiteX50163" y="connsiteY50163"/>
              </a:cxn>
              <a:cxn ang="0">
                <a:pos x="connsiteX50164" y="connsiteY50164"/>
              </a:cxn>
              <a:cxn ang="0">
                <a:pos x="connsiteX50165" y="connsiteY50165"/>
              </a:cxn>
              <a:cxn ang="0">
                <a:pos x="connsiteX50166" y="connsiteY50166"/>
              </a:cxn>
              <a:cxn ang="0">
                <a:pos x="connsiteX50167" y="connsiteY50167"/>
              </a:cxn>
              <a:cxn ang="0">
                <a:pos x="connsiteX50168" y="connsiteY50168"/>
              </a:cxn>
              <a:cxn ang="0">
                <a:pos x="connsiteX50169" y="connsiteY50169"/>
              </a:cxn>
              <a:cxn ang="0">
                <a:pos x="connsiteX50170" y="connsiteY50170"/>
              </a:cxn>
              <a:cxn ang="0">
                <a:pos x="connsiteX50171" y="connsiteY50171"/>
              </a:cxn>
              <a:cxn ang="0">
                <a:pos x="connsiteX50172" y="connsiteY50172"/>
              </a:cxn>
              <a:cxn ang="0">
                <a:pos x="connsiteX50173" y="connsiteY50173"/>
              </a:cxn>
              <a:cxn ang="0">
                <a:pos x="connsiteX50174" y="connsiteY50174"/>
              </a:cxn>
              <a:cxn ang="0">
                <a:pos x="connsiteX50175" y="connsiteY50175"/>
              </a:cxn>
              <a:cxn ang="0">
                <a:pos x="connsiteX50176" y="connsiteY50176"/>
              </a:cxn>
              <a:cxn ang="0">
                <a:pos x="connsiteX50177" y="connsiteY50177"/>
              </a:cxn>
              <a:cxn ang="0">
                <a:pos x="connsiteX50178" y="connsiteY50178"/>
              </a:cxn>
              <a:cxn ang="0">
                <a:pos x="connsiteX50179" y="connsiteY50179"/>
              </a:cxn>
              <a:cxn ang="0">
                <a:pos x="connsiteX50180" y="connsiteY50180"/>
              </a:cxn>
              <a:cxn ang="0">
                <a:pos x="connsiteX50181" y="connsiteY50181"/>
              </a:cxn>
              <a:cxn ang="0">
                <a:pos x="connsiteX50182" y="connsiteY50182"/>
              </a:cxn>
              <a:cxn ang="0">
                <a:pos x="connsiteX50183" y="connsiteY50183"/>
              </a:cxn>
              <a:cxn ang="0">
                <a:pos x="connsiteX50184" y="connsiteY50184"/>
              </a:cxn>
              <a:cxn ang="0">
                <a:pos x="connsiteX50185" y="connsiteY50185"/>
              </a:cxn>
              <a:cxn ang="0">
                <a:pos x="connsiteX50186" y="connsiteY50186"/>
              </a:cxn>
              <a:cxn ang="0">
                <a:pos x="connsiteX50187" y="connsiteY50187"/>
              </a:cxn>
              <a:cxn ang="0">
                <a:pos x="connsiteX50188" y="connsiteY50188"/>
              </a:cxn>
              <a:cxn ang="0">
                <a:pos x="connsiteX50189" y="connsiteY50189"/>
              </a:cxn>
              <a:cxn ang="0">
                <a:pos x="connsiteX50190" y="connsiteY50190"/>
              </a:cxn>
              <a:cxn ang="0">
                <a:pos x="connsiteX50191" y="connsiteY50191"/>
              </a:cxn>
              <a:cxn ang="0">
                <a:pos x="connsiteX50192" y="connsiteY50192"/>
              </a:cxn>
              <a:cxn ang="0">
                <a:pos x="connsiteX50193" y="connsiteY50193"/>
              </a:cxn>
              <a:cxn ang="0">
                <a:pos x="connsiteX50194" y="connsiteY50194"/>
              </a:cxn>
              <a:cxn ang="0">
                <a:pos x="connsiteX50195" y="connsiteY50195"/>
              </a:cxn>
              <a:cxn ang="0">
                <a:pos x="connsiteX50196" y="connsiteY50196"/>
              </a:cxn>
              <a:cxn ang="0">
                <a:pos x="connsiteX50197" y="connsiteY50197"/>
              </a:cxn>
              <a:cxn ang="0">
                <a:pos x="connsiteX50198" y="connsiteY50198"/>
              </a:cxn>
              <a:cxn ang="0">
                <a:pos x="connsiteX50199" y="connsiteY50199"/>
              </a:cxn>
              <a:cxn ang="0">
                <a:pos x="connsiteX50200" y="connsiteY50200"/>
              </a:cxn>
              <a:cxn ang="0">
                <a:pos x="connsiteX50201" y="connsiteY50201"/>
              </a:cxn>
              <a:cxn ang="0">
                <a:pos x="connsiteX50202" y="connsiteY50202"/>
              </a:cxn>
              <a:cxn ang="0">
                <a:pos x="connsiteX50203" y="connsiteY50203"/>
              </a:cxn>
              <a:cxn ang="0">
                <a:pos x="connsiteX50204" y="connsiteY50204"/>
              </a:cxn>
              <a:cxn ang="0">
                <a:pos x="connsiteX50205" y="connsiteY50205"/>
              </a:cxn>
              <a:cxn ang="0">
                <a:pos x="connsiteX50206" y="connsiteY50206"/>
              </a:cxn>
              <a:cxn ang="0">
                <a:pos x="connsiteX50207" y="connsiteY50207"/>
              </a:cxn>
              <a:cxn ang="0">
                <a:pos x="connsiteX50208" y="connsiteY50208"/>
              </a:cxn>
              <a:cxn ang="0">
                <a:pos x="connsiteX50209" y="connsiteY50209"/>
              </a:cxn>
              <a:cxn ang="0">
                <a:pos x="connsiteX50210" y="connsiteY50210"/>
              </a:cxn>
              <a:cxn ang="0">
                <a:pos x="connsiteX50211" y="connsiteY50211"/>
              </a:cxn>
              <a:cxn ang="0">
                <a:pos x="connsiteX50212" y="connsiteY50212"/>
              </a:cxn>
              <a:cxn ang="0">
                <a:pos x="connsiteX50213" y="connsiteY50213"/>
              </a:cxn>
              <a:cxn ang="0">
                <a:pos x="connsiteX50214" y="connsiteY50214"/>
              </a:cxn>
              <a:cxn ang="0">
                <a:pos x="connsiteX50215" y="connsiteY50215"/>
              </a:cxn>
              <a:cxn ang="0">
                <a:pos x="connsiteX50216" y="connsiteY50216"/>
              </a:cxn>
              <a:cxn ang="0">
                <a:pos x="connsiteX50217" y="connsiteY50217"/>
              </a:cxn>
              <a:cxn ang="0">
                <a:pos x="connsiteX50218" y="connsiteY50218"/>
              </a:cxn>
              <a:cxn ang="0">
                <a:pos x="connsiteX50219" y="connsiteY50219"/>
              </a:cxn>
              <a:cxn ang="0">
                <a:pos x="connsiteX50220" y="connsiteY50220"/>
              </a:cxn>
              <a:cxn ang="0">
                <a:pos x="connsiteX50221" y="connsiteY50221"/>
              </a:cxn>
              <a:cxn ang="0">
                <a:pos x="connsiteX50222" y="connsiteY50222"/>
              </a:cxn>
              <a:cxn ang="0">
                <a:pos x="connsiteX50223" y="connsiteY50223"/>
              </a:cxn>
              <a:cxn ang="0">
                <a:pos x="connsiteX50224" y="connsiteY50224"/>
              </a:cxn>
              <a:cxn ang="0">
                <a:pos x="connsiteX50225" y="connsiteY50225"/>
              </a:cxn>
              <a:cxn ang="0">
                <a:pos x="connsiteX50226" y="connsiteY50226"/>
              </a:cxn>
              <a:cxn ang="0">
                <a:pos x="connsiteX50227" y="connsiteY50227"/>
              </a:cxn>
              <a:cxn ang="0">
                <a:pos x="connsiteX50228" y="connsiteY50228"/>
              </a:cxn>
              <a:cxn ang="0">
                <a:pos x="connsiteX50229" y="connsiteY50229"/>
              </a:cxn>
              <a:cxn ang="0">
                <a:pos x="connsiteX50230" y="connsiteY50230"/>
              </a:cxn>
              <a:cxn ang="0">
                <a:pos x="connsiteX50231" y="connsiteY50231"/>
              </a:cxn>
              <a:cxn ang="0">
                <a:pos x="connsiteX50232" y="connsiteY50232"/>
              </a:cxn>
              <a:cxn ang="0">
                <a:pos x="connsiteX50233" y="connsiteY50233"/>
              </a:cxn>
              <a:cxn ang="0">
                <a:pos x="connsiteX50234" y="connsiteY50234"/>
              </a:cxn>
              <a:cxn ang="0">
                <a:pos x="connsiteX50235" y="connsiteY50235"/>
              </a:cxn>
              <a:cxn ang="0">
                <a:pos x="connsiteX50236" y="connsiteY50236"/>
              </a:cxn>
              <a:cxn ang="0">
                <a:pos x="connsiteX50237" y="connsiteY50237"/>
              </a:cxn>
              <a:cxn ang="0">
                <a:pos x="connsiteX50238" y="connsiteY50238"/>
              </a:cxn>
              <a:cxn ang="0">
                <a:pos x="connsiteX50239" y="connsiteY50239"/>
              </a:cxn>
              <a:cxn ang="0">
                <a:pos x="connsiteX50240" y="connsiteY50240"/>
              </a:cxn>
              <a:cxn ang="0">
                <a:pos x="connsiteX50241" y="connsiteY50241"/>
              </a:cxn>
              <a:cxn ang="0">
                <a:pos x="connsiteX50242" y="connsiteY50242"/>
              </a:cxn>
              <a:cxn ang="0">
                <a:pos x="connsiteX50243" y="connsiteY50243"/>
              </a:cxn>
              <a:cxn ang="0">
                <a:pos x="connsiteX50244" y="connsiteY50244"/>
              </a:cxn>
              <a:cxn ang="0">
                <a:pos x="connsiteX50245" y="connsiteY50245"/>
              </a:cxn>
              <a:cxn ang="0">
                <a:pos x="connsiteX50246" y="connsiteY50246"/>
              </a:cxn>
              <a:cxn ang="0">
                <a:pos x="connsiteX50247" y="connsiteY50247"/>
              </a:cxn>
              <a:cxn ang="0">
                <a:pos x="connsiteX50248" y="connsiteY50248"/>
              </a:cxn>
              <a:cxn ang="0">
                <a:pos x="connsiteX50249" y="connsiteY50249"/>
              </a:cxn>
              <a:cxn ang="0">
                <a:pos x="connsiteX50250" y="connsiteY50250"/>
              </a:cxn>
              <a:cxn ang="0">
                <a:pos x="connsiteX50251" y="connsiteY50251"/>
              </a:cxn>
              <a:cxn ang="0">
                <a:pos x="connsiteX50252" y="connsiteY50252"/>
              </a:cxn>
              <a:cxn ang="0">
                <a:pos x="connsiteX50253" y="connsiteY50253"/>
              </a:cxn>
              <a:cxn ang="0">
                <a:pos x="connsiteX50254" y="connsiteY50254"/>
              </a:cxn>
              <a:cxn ang="0">
                <a:pos x="connsiteX50255" y="connsiteY50255"/>
              </a:cxn>
              <a:cxn ang="0">
                <a:pos x="connsiteX50256" y="connsiteY50256"/>
              </a:cxn>
              <a:cxn ang="0">
                <a:pos x="connsiteX50257" y="connsiteY50257"/>
              </a:cxn>
              <a:cxn ang="0">
                <a:pos x="connsiteX50258" y="connsiteY50258"/>
              </a:cxn>
              <a:cxn ang="0">
                <a:pos x="connsiteX50259" y="connsiteY50259"/>
              </a:cxn>
              <a:cxn ang="0">
                <a:pos x="connsiteX50260" y="connsiteY50260"/>
              </a:cxn>
              <a:cxn ang="0">
                <a:pos x="connsiteX50261" y="connsiteY50261"/>
              </a:cxn>
              <a:cxn ang="0">
                <a:pos x="connsiteX50262" y="connsiteY50262"/>
              </a:cxn>
              <a:cxn ang="0">
                <a:pos x="connsiteX50263" y="connsiteY50263"/>
              </a:cxn>
              <a:cxn ang="0">
                <a:pos x="connsiteX50264" y="connsiteY50264"/>
              </a:cxn>
              <a:cxn ang="0">
                <a:pos x="connsiteX50265" y="connsiteY50265"/>
              </a:cxn>
              <a:cxn ang="0">
                <a:pos x="connsiteX50266" y="connsiteY50266"/>
              </a:cxn>
              <a:cxn ang="0">
                <a:pos x="connsiteX50267" y="connsiteY50267"/>
              </a:cxn>
              <a:cxn ang="0">
                <a:pos x="connsiteX50268" y="connsiteY50268"/>
              </a:cxn>
              <a:cxn ang="0">
                <a:pos x="connsiteX50269" y="connsiteY50269"/>
              </a:cxn>
              <a:cxn ang="0">
                <a:pos x="connsiteX50270" y="connsiteY50270"/>
              </a:cxn>
              <a:cxn ang="0">
                <a:pos x="connsiteX50271" y="connsiteY50271"/>
              </a:cxn>
              <a:cxn ang="0">
                <a:pos x="connsiteX50272" y="connsiteY50272"/>
              </a:cxn>
              <a:cxn ang="0">
                <a:pos x="connsiteX50273" y="connsiteY50273"/>
              </a:cxn>
              <a:cxn ang="0">
                <a:pos x="connsiteX50274" y="connsiteY50274"/>
              </a:cxn>
              <a:cxn ang="0">
                <a:pos x="connsiteX50275" y="connsiteY50275"/>
              </a:cxn>
              <a:cxn ang="0">
                <a:pos x="connsiteX50276" y="connsiteY50276"/>
              </a:cxn>
              <a:cxn ang="0">
                <a:pos x="connsiteX50277" y="connsiteY50277"/>
              </a:cxn>
              <a:cxn ang="0">
                <a:pos x="connsiteX50278" y="connsiteY50278"/>
              </a:cxn>
              <a:cxn ang="0">
                <a:pos x="connsiteX50279" y="connsiteY50279"/>
              </a:cxn>
              <a:cxn ang="0">
                <a:pos x="connsiteX50280" y="connsiteY50280"/>
              </a:cxn>
              <a:cxn ang="0">
                <a:pos x="connsiteX50281" y="connsiteY50281"/>
              </a:cxn>
              <a:cxn ang="0">
                <a:pos x="connsiteX50282" y="connsiteY50282"/>
              </a:cxn>
              <a:cxn ang="0">
                <a:pos x="connsiteX50283" y="connsiteY50283"/>
              </a:cxn>
              <a:cxn ang="0">
                <a:pos x="connsiteX50284" y="connsiteY50284"/>
              </a:cxn>
              <a:cxn ang="0">
                <a:pos x="connsiteX50285" y="connsiteY50285"/>
              </a:cxn>
              <a:cxn ang="0">
                <a:pos x="connsiteX50286" y="connsiteY50286"/>
              </a:cxn>
              <a:cxn ang="0">
                <a:pos x="connsiteX50287" y="connsiteY50287"/>
              </a:cxn>
              <a:cxn ang="0">
                <a:pos x="connsiteX50288" y="connsiteY50288"/>
              </a:cxn>
              <a:cxn ang="0">
                <a:pos x="connsiteX50289" y="connsiteY50289"/>
              </a:cxn>
              <a:cxn ang="0">
                <a:pos x="connsiteX50290" y="connsiteY50290"/>
              </a:cxn>
              <a:cxn ang="0">
                <a:pos x="connsiteX50291" y="connsiteY50291"/>
              </a:cxn>
              <a:cxn ang="0">
                <a:pos x="connsiteX50292" y="connsiteY50292"/>
              </a:cxn>
              <a:cxn ang="0">
                <a:pos x="connsiteX50293" y="connsiteY50293"/>
              </a:cxn>
              <a:cxn ang="0">
                <a:pos x="connsiteX50294" y="connsiteY50294"/>
              </a:cxn>
              <a:cxn ang="0">
                <a:pos x="connsiteX50295" y="connsiteY50295"/>
              </a:cxn>
              <a:cxn ang="0">
                <a:pos x="connsiteX50296" y="connsiteY50296"/>
              </a:cxn>
              <a:cxn ang="0">
                <a:pos x="connsiteX50297" y="connsiteY50297"/>
              </a:cxn>
              <a:cxn ang="0">
                <a:pos x="connsiteX50298" y="connsiteY50298"/>
              </a:cxn>
              <a:cxn ang="0">
                <a:pos x="connsiteX50299" y="connsiteY50299"/>
              </a:cxn>
              <a:cxn ang="0">
                <a:pos x="connsiteX50300" y="connsiteY50300"/>
              </a:cxn>
              <a:cxn ang="0">
                <a:pos x="connsiteX50301" y="connsiteY50301"/>
              </a:cxn>
              <a:cxn ang="0">
                <a:pos x="connsiteX50302" y="connsiteY50302"/>
              </a:cxn>
              <a:cxn ang="0">
                <a:pos x="connsiteX50303" y="connsiteY50303"/>
              </a:cxn>
              <a:cxn ang="0">
                <a:pos x="connsiteX50304" y="connsiteY50304"/>
              </a:cxn>
              <a:cxn ang="0">
                <a:pos x="connsiteX50305" y="connsiteY50305"/>
              </a:cxn>
              <a:cxn ang="0">
                <a:pos x="connsiteX50306" y="connsiteY50306"/>
              </a:cxn>
              <a:cxn ang="0">
                <a:pos x="connsiteX50307" y="connsiteY50307"/>
              </a:cxn>
              <a:cxn ang="0">
                <a:pos x="connsiteX50308" y="connsiteY50308"/>
              </a:cxn>
              <a:cxn ang="0">
                <a:pos x="connsiteX50309" y="connsiteY50309"/>
              </a:cxn>
              <a:cxn ang="0">
                <a:pos x="connsiteX50310" y="connsiteY50310"/>
              </a:cxn>
              <a:cxn ang="0">
                <a:pos x="connsiteX50311" y="connsiteY50311"/>
              </a:cxn>
              <a:cxn ang="0">
                <a:pos x="connsiteX50312" y="connsiteY50312"/>
              </a:cxn>
              <a:cxn ang="0">
                <a:pos x="connsiteX50313" y="connsiteY50313"/>
              </a:cxn>
              <a:cxn ang="0">
                <a:pos x="connsiteX50314" y="connsiteY50314"/>
              </a:cxn>
              <a:cxn ang="0">
                <a:pos x="connsiteX50315" y="connsiteY50315"/>
              </a:cxn>
              <a:cxn ang="0">
                <a:pos x="connsiteX50316" y="connsiteY50316"/>
              </a:cxn>
              <a:cxn ang="0">
                <a:pos x="connsiteX50317" y="connsiteY50317"/>
              </a:cxn>
              <a:cxn ang="0">
                <a:pos x="connsiteX50318" y="connsiteY50318"/>
              </a:cxn>
              <a:cxn ang="0">
                <a:pos x="connsiteX50319" y="connsiteY50319"/>
              </a:cxn>
              <a:cxn ang="0">
                <a:pos x="connsiteX50320" y="connsiteY50320"/>
              </a:cxn>
              <a:cxn ang="0">
                <a:pos x="connsiteX50321" y="connsiteY50321"/>
              </a:cxn>
              <a:cxn ang="0">
                <a:pos x="connsiteX50322" y="connsiteY50322"/>
              </a:cxn>
              <a:cxn ang="0">
                <a:pos x="connsiteX50323" y="connsiteY50323"/>
              </a:cxn>
              <a:cxn ang="0">
                <a:pos x="connsiteX50324" y="connsiteY50324"/>
              </a:cxn>
              <a:cxn ang="0">
                <a:pos x="connsiteX50325" y="connsiteY50325"/>
              </a:cxn>
              <a:cxn ang="0">
                <a:pos x="connsiteX50326" y="connsiteY50326"/>
              </a:cxn>
              <a:cxn ang="0">
                <a:pos x="connsiteX50327" y="connsiteY50327"/>
              </a:cxn>
              <a:cxn ang="0">
                <a:pos x="connsiteX50328" y="connsiteY50328"/>
              </a:cxn>
              <a:cxn ang="0">
                <a:pos x="connsiteX50329" y="connsiteY50329"/>
              </a:cxn>
              <a:cxn ang="0">
                <a:pos x="connsiteX50330" y="connsiteY50330"/>
              </a:cxn>
              <a:cxn ang="0">
                <a:pos x="connsiteX50331" y="connsiteY50331"/>
              </a:cxn>
              <a:cxn ang="0">
                <a:pos x="connsiteX50332" y="connsiteY50332"/>
              </a:cxn>
              <a:cxn ang="0">
                <a:pos x="connsiteX50333" y="connsiteY50333"/>
              </a:cxn>
              <a:cxn ang="0">
                <a:pos x="connsiteX50334" y="connsiteY50334"/>
              </a:cxn>
              <a:cxn ang="0">
                <a:pos x="connsiteX50335" y="connsiteY50335"/>
              </a:cxn>
              <a:cxn ang="0">
                <a:pos x="connsiteX50336" y="connsiteY50336"/>
              </a:cxn>
              <a:cxn ang="0">
                <a:pos x="connsiteX50337" y="connsiteY50337"/>
              </a:cxn>
              <a:cxn ang="0">
                <a:pos x="connsiteX50338" y="connsiteY50338"/>
              </a:cxn>
              <a:cxn ang="0">
                <a:pos x="connsiteX50339" y="connsiteY50339"/>
              </a:cxn>
              <a:cxn ang="0">
                <a:pos x="connsiteX50340" y="connsiteY50340"/>
              </a:cxn>
              <a:cxn ang="0">
                <a:pos x="connsiteX50341" y="connsiteY50341"/>
              </a:cxn>
              <a:cxn ang="0">
                <a:pos x="connsiteX50342" y="connsiteY50342"/>
              </a:cxn>
              <a:cxn ang="0">
                <a:pos x="connsiteX50343" y="connsiteY50343"/>
              </a:cxn>
              <a:cxn ang="0">
                <a:pos x="connsiteX50344" y="connsiteY50344"/>
              </a:cxn>
              <a:cxn ang="0">
                <a:pos x="connsiteX50345" y="connsiteY50345"/>
              </a:cxn>
              <a:cxn ang="0">
                <a:pos x="connsiteX50346" y="connsiteY50346"/>
              </a:cxn>
              <a:cxn ang="0">
                <a:pos x="connsiteX50347" y="connsiteY50347"/>
              </a:cxn>
              <a:cxn ang="0">
                <a:pos x="connsiteX50348" y="connsiteY50348"/>
              </a:cxn>
              <a:cxn ang="0">
                <a:pos x="connsiteX50349" y="connsiteY50349"/>
              </a:cxn>
              <a:cxn ang="0">
                <a:pos x="connsiteX50350" y="connsiteY50350"/>
              </a:cxn>
              <a:cxn ang="0">
                <a:pos x="connsiteX50351" y="connsiteY50351"/>
              </a:cxn>
              <a:cxn ang="0">
                <a:pos x="connsiteX50352" y="connsiteY50352"/>
              </a:cxn>
              <a:cxn ang="0">
                <a:pos x="connsiteX50353" y="connsiteY50353"/>
              </a:cxn>
              <a:cxn ang="0">
                <a:pos x="connsiteX50354" y="connsiteY50354"/>
              </a:cxn>
              <a:cxn ang="0">
                <a:pos x="connsiteX50355" y="connsiteY50355"/>
              </a:cxn>
              <a:cxn ang="0">
                <a:pos x="connsiteX50356" y="connsiteY50356"/>
              </a:cxn>
              <a:cxn ang="0">
                <a:pos x="connsiteX50357" y="connsiteY50357"/>
              </a:cxn>
              <a:cxn ang="0">
                <a:pos x="connsiteX50358" y="connsiteY50358"/>
              </a:cxn>
              <a:cxn ang="0">
                <a:pos x="connsiteX50359" y="connsiteY50359"/>
              </a:cxn>
              <a:cxn ang="0">
                <a:pos x="connsiteX50360" y="connsiteY50360"/>
              </a:cxn>
              <a:cxn ang="0">
                <a:pos x="connsiteX50361" y="connsiteY50361"/>
              </a:cxn>
              <a:cxn ang="0">
                <a:pos x="connsiteX50362" y="connsiteY50362"/>
              </a:cxn>
              <a:cxn ang="0">
                <a:pos x="connsiteX50363" y="connsiteY50363"/>
              </a:cxn>
              <a:cxn ang="0">
                <a:pos x="connsiteX50364" y="connsiteY50364"/>
              </a:cxn>
              <a:cxn ang="0">
                <a:pos x="connsiteX50365" y="connsiteY50365"/>
              </a:cxn>
              <a:cxn ang="0">
                <a:pos x="connsiteX50366" y="connsiteY50366"/>
              </a:cxn>
              <a:cxn ang="0">
                <a:pos x="connsiteX50367" y="connsiteY50367"/>
              </a:cxn>
              <a:cxn ang="0">
                <a:pos x="connsiteX50368" y="connsiteY50368"/>
              </a:cxn>
              <a:cxn ang="0">
                <a:pos x="connsiteX50369" y="connsiteY50369"/>
              </a:cxn>
              <a:cxn ang="0">
                <a:pos x="connsiteX50370" y="connsiteY50370"/>
              </a:cxn>
              <a:cxn ang="0">
                <a:pos x="connsiteX50371" y="connsiteY50371"/>
              </a:cxn>
              <a:cxn ang="0">
                <a:pos x="connsiteX50372" y="connsiteY50372"/>
              </a:cxn>
              <a:cxn ang="0">
                <a:pos x="connsiteX50373" y="connsiteY50373"/>
              </a:cxn>
              <a:cxn ang="0">
                <a:pos x="connsiteX50374" y="connsiteY50374"/>
              </a:cxn>
              <a:cxn ang="0">
                <a:pos x="connsiteX50375" y="connsiteY50375"/>
              </a:cxn>
              <a:cxn ang="0">
                <a:pos x="connsiteX50376" y="connsiteY50376"/>
              </a:cxn>
              <a:cxn ang="0">
                <a:pos x="connsiteX50377" y="connsiteY50377"/>
              </a:cxn>
              <a:cxn ang="0">
                <a:pos x="connsiteX50378" y="connsiteY50378"/>
              </a:cxn>
              <a:cxn ang="0">
                <a:pos x="connsiteX50379" y="connsiteY50379"/>
              </a:cxn>
              <a:cxn ang="0">
                <a:pos x="connsiteX50380" y="connsiteY50380"/>
              </a:cxn>
              <a:cxn ang="0">
                <a:pos x="connsiteX50381" y="connsiteY50381"/>
              </a:cxn>
              <a:cxn ang="0">
                <a:pos x="connsiteX50382" y="connsiteY50382"/>
              </a:cxn>
              <a:cxn ang="0">
                <a:pos x="connsiteX50383" y="connsiteY50383"/>
              </a:cxn>
              <a:cxn ang="0">
                <a:pos x="connsiteX50384" y="connsiteY50384"/>
              </a:cxn>
              <a:cxn ang="0">
                <a:pos x="connsiteX50385" y="connsiteY50385"/>
              </a:cxn>
              <a:cxn ang="0">
                <a:pos x="connsiteX50386" y="connsiteY50386"/>
              </a:cxn>
              <a:cxn ang="0">
                <a:pos x="connsiteX50387" y="connsiteY50387"/>
              </a:cxn>
              <a:cxn ang="0">
                <a:pos x="connsiteX50388" y="connsiteY50388"/>
              </a:cxn>
              <a:cxn ang="0">
                <a:pos x="connsiteX50389" y="connsiteY50389"/>
              </a:cxn>
              <a:cxn ang="0">
                <a:pos x="connsiteX50390" y="connsiteY50390"/>
              </a:cxn>
              <a:cxn ang="0">
                <a:pos x="connsiteX50391" y="connsiteY50391"/>
              </a:cxn>
              <a:cxn ang="0">
                <a:pos x="connsiteX50392" y="connsiteY50392"/>
              </a:cxn>
              <a:cxn ang="0">
                <a:pos x="connsiteX50393" y="connsiteY50393"/>
              </a:cxn>
              <a:cxn ang="0">
                <a:pos x="connsiteX50394" y="connsiteY50394"/>
              </a:cxn>
              <a:cxn ang="0">
                <a:pos x="connsiteX50395" y="connsiteY50395"/>
              </a:cxn>
              <a:cxn ang="0">
                <a:pos x="connsiteX50396" y="connsiteY50396"/>
              </a:cxn>
              <a:cxn ang="0">
                <a:pos x="connsiteX50397" y="connsiteY50397"/>
              </a:cxn>
              <a:cxn ang="0">
                <a:pos x="connsiteX50398" y="connsiteY50398"/>
              </a:cxn>
              <a:cxn ang="0">
                <a:pos x="connsiteX50399" y="connsiteY50399"/>
              </a:cxn>
              <a:cxn ang="0">
                <a:pos x="connsiteX50400" y="connsiteY50400"/>
              </a:cxn>
              <a:cxn ang="0">
                <a:pos x="connsiteX50401" y="connsiteY50401"/>
              </a:cxn>
              <a:cxn ang="0">
                <a:pos x="connsiteX50402" y="connsiteY50402"/>
              </a:cxn>
              <a:cxn ang="0">
                <a:pos x="connsiteX50403" y="connsiteY50403"/>
              </a:cxn>
              <a:cxn ang="0">
                <a:pos x="connsiteX50404" y="connsiteY50404"/>
              </a:cxn>
              <a:cxn ang="0">
                <a:pos x="connsiteX50405" y="connsiteY50405"/>
              </a:cxn>
              <a:cxn ang="0">
                <a:pos x="connsiteX50406" y="connsiteY50406"/>
              </a:cxn>
              <a:cxn ang="0">
                <a:pos x="connsiteX50407" y="connsiteY50407"/>
              </a:cxn>
              <a:cxn ang="0">
                <a:pos x="connsiteX50408" y="connsiteY50408"/>
              </a:cxn>
              <a:cxn ang="0">
                <a:pos x="connsiteX50409" y="connsiteY50409"/>
              </a:cxn>
              <a:cxn ang="0">
                <a:pos x="connsiteX50410" y="connsiteY50410"/>
              </a:cxn>
              <a:cxn ang="0">
                <a:pos x="connsiteX50411" y="connsiteY50411"/>
              </a:cxn>
              <a:cxn ang="0">
                <a:pos x="connsiteX50412" y="connsiteY50412"/>
              </a:cxn>
              <a:cxn ang="0">
                <a:pos x="connsiteX50413" y="connsiteY50413"/>
              </a:cxn>
              <a:cxn ang="0">
                <a:pos x="connsiteX50414" y="connsiteY50414"/>
              </a:cxn>
              <a:cxn ang="0">
                <a:pos x="connsiteX50415" y="connsiteY50415"/>
              </a:cxn>
              <a:cxn ang="0">
                <a:pos x="connsiteX50416" y="connsiteY50416"/>
              </a:cxn>
              <a:cxn ang="0">
                <a:pos x="connsiteX50417" y="connsiteY50417"/>
              </a:cxn>
              <a:cxn ang="0">
                <a:pos x="connsiteX50418" y="connsiteY50418"/>
              </a:cxn>
              <a:cxn ang="0">
                <a:pos x="connsiteX50419" y="connsiteY50419"/>
              </a:cxn>
              <a:cxn ang="0">
                <a:pos x="connsiteX50420" y="connsiteY50420"/>
              </a:cxn>
              <a:cxn ang="0">
                <a:pos x="connsiteX50421" y="connsiteY50421"/>
              </a:cxn>
              <a:cxn ang="0">
                <a:pos x="connsiteX50422" y="connsiteY50422"/>
              </a:cxn>
              <a:cxn ang="0">
                <a:pos x="connsiteX50423" y="connsiteY50423"/>
              </a:cxn>
              <a:cxn ang="0">
                <a:pos x="connsiteX50424" y="connsiteY50424"/>
              </a:cxn>
              <a:cxn ang="0">
                <a:pos x="connsiteX50425" y="connsiteY50425"/>
              </a:cxn>
              <a:cxn ang="0">
                <a:pos x="connsiteX50426" y="connsiteY50426"/>
              </a:cxn>
              <a:cxn ang="0">
                <a:pos x="connsiteX50427" y="connsiteY50427"/>
              </a:cxn>
              <a:cxn ang="0">
                <a:pos x="connsiteX50428" y="connsiteY50428"/>
              </a:cxn>
              <a:cxn ang="0">
                <a:pos x="connsiteX50429" y="connsiteY50429"/>
              </a:cxn>
              <a:cxn ang="0">
                <a:pos x="connsiteX50430" y="connsiteY50430"/>
              </a:cxn>
              <a:cxn ang="0">
                <a:pos x="connsiteX50431" y="connsiteY50431"/>
              </a:cxn>
              <a:cxn ang="0">
                <a:pos x="connsiteX50432" y="connsiteY50432"/>
              </a:cxn>
              <a:cxn ang="0">
                <a:pos x="connsiteX50433" y="connsiteY50433"/>
              </a:cxn>
              <a:cxn ang="0">
                <a:pos x="connsiteX50434" y="connsiteY50434"/>
              </a:cxn>
              <a:cxn ang="0">
                <a:pos x="connsiteX50435" y="connsiteY50435"/>
              </a:cxn>
              <a:cxn ang="0">
                <a:pos x="connsiteX50436" y="connsiteY50436"/>
              </a:cxn>
              <a:cxn ang="0">
                <a:pos x="connsiteX50437" y="connsiteY50437"/>
              </a:cxn>
              <a:cxn ang="0">
                <a:pos x="connsiteX50438" y="connsiteY50438"/>
              </a:cxn>
              <a:cxn ang="0">
                <a:pos x="connsiteX50439" y="connsiteY50439"/>
              </a:cxn>
              <a:cxn ang="0">
                <a:pos x="connsiteX50440" y="connsiteY50440"/>
              </a:cxn>
              <a:cxn ang="0">
                <a:pos x="connsiteX50441" y="connsiteY50441"/>
              </a:cxn>
              <a:cxn ang="0">
                <a:pos x="connsiteX50442" y="connsiteY50442"/>
              </a:cxn>
              <a:cxn ang="0">
                <a:pos x="connsiteX50443" y="connsiteY50443"/>
              </a:cxn>
              <a:cxn ang="0">
                <a:pos x="connsiteX50444" y="connsiteY50444"/>
              </a:cxn>
              <a:cxn ang="0">
                <a:pos x="connsiteX50445" y="connsiteY50445"/>
              </a:cxn>
              <a:cxn ang="0">
                <a:pos x="connsiteX50446" y="connsiteY50446"/>
              </a:cxn>
              <a:cxn ang="0">
                <a:pos x="connsiteX50447" y="connsiteY50447"/>
              </a:cxn>
              <a:cxn ang="0">
                <a:pos x="connsiteX50448" y="connsiteY50448"/>
              </a:cxn>
              <a:cxn ang="0">
                <a:pos x="connsiteX50449" y="connsiteY50449"/>
              </a:cxn>
              <a:cxn ang="0">
                <a:pos x="connsiteX50450" y="connsiteY50450"/>
              </a:cxn>
              <a:cxn ang="0">
                <a:pos x="connsiteX50451" y="connsiteY50451"/>
              </a:cxn>
              <a:cxn ang="0">
                <a:pos x="connsiteX50452" y="connsiteY50452"/>
              </a:cxn>
              <a:cxn ang="0">
                <a:pos x="connsiteX50453" y="connsiteY50453"/>
              </a:cxn>
              <a:cxn ang="0">
                <a:pos x="connsiteX50454" y="connsiteY50454"/>
              </a:cxn>
              <a:cxn ang="0">
                <a:pos x="connsiteX50455" y="connsiteY50455"/>
              </a:cxn>
              <a:cxn ang="0">
                <a:pos x="connsiteX50456" y="connsiteY50456"/>
              </a:cxn>
              <a:cxn ang="0">
                <a:pos x="connsiteX50457" y="connsiteY50457"/>
              </a:cxn>
              <a:cxn ang="0">
                <a:pos x="connsiteX50458" y="connsiteY50458"/>
              </a:cxn>
              <a:cxn ang="0">
                <a:pos x="connsiteX50459" y="connsiteY50459"/>
              </a:cxn>
              <a:cxn ang="0">
                <a:pos x="connsiteX50460" y="connsiteY50460"/>
              </a:cxn>
              <a:cxn ang="0">
                <a:pos x="connsiteX50461" y="connsiteY50461"/>
              </a:cxn>
              <a:cxn ang="0">
                <a:pos x="connsiteX50462" y="connsiteY50462"/>
              </a:cxn>
              <a:cxn ang="0">
                <a:pos x="connsiteX50463" y="connsiteY50463"/>
              </a:cxn>
              <a:cxn ang="0">
                <a:pos x="connsiteX50464" y="connsiteY50464"/>
              </a:cxn>
              <a:cxn ang="0">
                <a:pos x="connsiteX50465" y="connsiteY50465"/>
              </a:cxn>
              <a:cxn ang="0">
                <a:pos x="connsiteX50466" y="connsiteY50466"/>
              </a:cxn>
              <a:cxn ang="0">
                <a:pos x="connsiteX50467" y="connsiteY50467"/>
              </a:cxn>
              <a:cxn ang="0">
                <a:pos x="connsiteX50468" y="connsiteY50468"/>
              </a:cxn>
              <a:cxn ang="0">
                <a:pos x="connsiteX50469" y="connsiteY50469"/>
              </a:cxn>
              <a:cxn ang="0">
                <a:pos x="connsiteX50470" y="connsiteY50470"/>
              </a:cxn>
              <a:cxn ang="0">
                <a:pos x="connsiteX50471" y="connsiteY50471"/>
              </a:cxn>
              <a:cxn ang="0">
                <a:pos x="connsiteX50472" y="connsiteY50472"/>
              </a:cxn>
              <a:cxn ang="0">
                <a:pos x="connsiteX50473" y="connsiteY50473"/>
              </a:cxn>
              <a:cxn ang="0">
                <a:pos x="connsiteX50474" y="connsiteY50474"/>
              </a:cxn>
              <a:cxn ang="0">
                <a:pos x="connsiteX50475" y="connsiteY50475"/>
              </a:cxn>
              <a:cxn ang="0">
                <a:pos x="connsiteX50476" y="connsiteY50476"/>
              </a:cxn>
              <a:cxn ang="0">
                <a:pos x="connsiteX50477" y="connsiteY50477"/>
              </a:cxn>
              <a:cxn ang="0">
                <a:pos x="connsiteX50478" y="connsiteY50478"/>
              </a:cxn>
              <a:cxn ang="0">
                <a:pos x="connsiteX50479" y="connsiteY50479"/>
              </a:cxn>
              <a:cxn ang="0">
                <a:pos x="connsiteX50480" y="connsiteY50480"/>
              </a:cxn>
              <a:cxn ang="0">
                <a:pos x="connsiteX50481" y="connsiteY50481"/>
              </a:cxn>
              <a:cxn ang="0">
                <a:pos x="connsiteX50482" y="connsiteY50482"/>
              </a:cxn>
              <a:cxn ang="0">
                <a:pos x="connsiteX50483" y="connsiteY50483"/>
              </a:cxn>
              <a:cxn ang="0">
                <a:pos x="connsiteX50484" y="connsiteY50484"/>
              </a:cxn>
              <a:cxn ang="0">
                <a:pos x="connsiteX50485" y="connsiteY50485"/>
              </a:cxn>
              <a:cxn ang="0">
                <a:pos x="connsiteX50486" y="connsiteY50486"/>
              </a:cxn>
              <a:cxn ang="0">
                <a:pos x="connsiteX50487" y="connsiteY50487"/>
              </a:cxn>
              <a:cxn ang="0">
                <a:pos x="connsiteX50488" y="connsiteY50488"/>
              </a:cxn>
              <a:cxn ang="0">
                <a:pos x="connsiteX50489" y="connsiteY50489"/>
              </a:cxn>
              <a:cxn ang="0">
                <a:pos x="connsiteX50490" y="connsiteY50490"/>
              </a:cxn>
              <a:cxn ang="0">
                <a:pos x="connsiteX50491" y="connsiteY50491"/>
              </a:cxn>
              <a:cxn ang="0">
                <a:pos x="connsiteX50492" y="connsiteY50492"/>
              </a:cxn>
              <a:cxn ang="0">
                <a:pos x="connsiteX50493" y="connsiteY50493"/>
              </a:cxn>
              <a:cxn ang="0">
                <a:pos x="connsiteX50494" y="connsiteY50494"/>
              </a:cxn>
              <a:cxn ang="0">
                <a:pos x="connsiteX50495" y="connsiteY50495"/>
              </a:cxn>
              <a:cxn ang="0">
                <a:pos x="connsiteX50496" y="connsiteY50496"/>
              </a:cxn>
              <a:cxn ang="0">
                <a:pos x="connsiteX50497" y="connsiteY50497"/>
              </a:cxn>
              <a:cxn ang="0">
                <a:pos x="connsiteX50498" y="connsiteY50498"/>
              </a:cxn>
              <a:cxn ang="0">
                <a:pos x="connsiteX50499" y="connsiteY50499"/>
              </a:cxn>
              <a:cxn ang="0">
                <a:pos x="connsiteX50500" y="connsiteY50500"/>
              </a:cxn>
              <a:cxn ang="0">
                <a:pos x="connsiteX50501" y="connsiteY50501"/>
              </a:cxn>
              <a:cxn ang="0">
                <a:pos x="connsiteX50502" y="connsiteY50502"/>
              </a:cxn>
              <a:cxn ang="0">
                <a:pos x="connsiteX50503" y="connsiteY50503"/>
              </a:cxn>
              <a:cxn ang="0">
                <a:pos x="connsiteX50504" y="connsiteY50504"/>
              </a:cxn>
              <a:cxn ang="0">
                <a:pos x="connsiteX50505" y="connsiteY50505"/>
              </a:cxn>
              <a:cxn ang="0">
                <a:pos x="connsiteX50506" y="connsiteY50506"/>
              </a:cxn>
              <a:cxn ang="0">
                <a:pos x="connsiteX50507" y="connsiteY50507"/>
              </a:cxn>
              <a:cxn ang="0">
                <a:pos x="connsiteX50508" y="connsiteY50508"/>
              </a:cxn>
              <a:cxn ang="0">
                <a:pos x="connsiteX50509" y="connsiteY50509"/>
              </a:cxn>
              <a:cxn ang="0">
                <a:pos x="connsiteX50510" y="connsiteY50510"/>
              </a:cxn>
              <a:cxn ang="0">
                <a:pos x="connsiteX50511" y="connsiteY50511"/>
              </a:cxn>
              <a:cxn ang="0">
                <a:pos x="connsiteX50512" y="connsiteY50512"/>
              </a:cxn>
              <a:cxn ang="0">
                <a:pos x="connsiteX50513" y="connsiteY50513"/>
              </a:cxn>
              <a:cxn ang="0">
                <a:pos x="connsiteX50514" y="connsiteY50514"/>
              </a:cxn>
              <a:cxn ang="0">
                <a:pos x="connsiteX50515" y="connsiteY50515"/>
              </a:cxn>
              <a:cxn ang="0">
                <a:pos x="connsiteX50516" y="connsiteY50516"/>
              </a:cxn>
              <a:cxn ang="0">
                <a:pos x="connsiteX50517" y="connsiteY50517"/>
              </a:cxn>
              <a:cxn ang="0">
                <a:pos x="connsiteX50518" y="connsiteY50518"/>
              </a:cxn>
              <a:cxn ang="0">
                <a:pos x="connsiteX50519" y="connsiteY50519"/>
              </a:cxn>
              <a:cxn ang="0">
                <a:pos x="connsiteX50520" y="connsiteY50520"/>
              </a:cxn>
              <a:cxn ang="0">
                <a:pos x="connsiteX50521" y="connsiteY50521"/>
              </a:cxn>
              <a:cxn ang="0">
                <a:pos x="connsiteX50522" y="connsiteY50522"/>
              </a:cxn>
              <a:cxn ang="0">
                <a:pos x="connsiteX50523" y="connsiteY50523"/>
              </a:cxn>
              <a:cxn ang="0">
                <a:pos x="connsiteX50524" y="connsiteY50524"/>
              </a:cxn>
              <a:cxn ang="0">
                <a:pos x="connsiteX50525" y="connsiteY50525"/>
              </a:cxn>
              <a:cxn ang="0">
                <a:pos x="connsiteX50526" y="connsiteY50526"/>
              </a:cxn>
              <a:cxn ang="0">
                <a:pos x="connsiteX50527" y="connsiteY50527"/>
              </a:cxn>
              <a:cxn ang="0">
                <a:pos x="connsiteX50528" y="connsiteY50528"/>
              </a:cxn>
              <a:cxn ang="0">
                <a:pos x="connsiteX50529" y="connsiteY50529"/>
              </a:cxn>
              <a:cxn ang="0">
                <a:pos x="connsiteX50530" y="connsiteY50530"/>
              </a:cxn>
              <a:cxn ang="0">
                <a:pos x="connsiteX50531" y="connsiteY50531"/>
              </a:cxn>
              <a:cxn ang="0">
                <a:pos x="connsiteX50532" y="connsiteY50532"/>
              </a:cxn>
              <a:cxn ang="0">
                <a:pos x="connsiteX50533" y="connsiteY50533"/>
              </a:cxn>
              <a:cxn ang="0">
                <a:pos x="connsiteX50534" y="connsiteY50534"/>
              </a:cxn>
              <a:cxn ang="0">
                <a:pos x="connsiteX50535" y="connsiteY50535"/>
              </a:cxn>
              <a:cxn ang="0">
                <a:pos x="connsiteX50536" y="connsiteY50536"/>
              </a:cxn>
              <a:cxn ang="0">
                <a:pos x="connsiteX50537" y="connsiteY50537"/>
              </a:cxn>
              <a:cxn ang="0">
                <a:pos x="connsiteX50538" y="connsiteY50538"/>
              </a:cxn>
              <a:cxn ang="0">
                <a:pos x="connsiteX50539" y="connsiteY50539"/>
              </a:cxn>
              <a:cxn ang="0">
                <a:pos x="connsiteX50540" y="connsiteY50540"/>
              </a:cxn>
              <a:cxn ang="0">
                <a:pos x="connsiteX50541" y="connsiteY50541"/>
              </a:cxn>
              <a:cxn ang="0">
                <a:pos x="connsiteX50542" y="connsiteY50542"/>
              </a:cxn>
              <a:cxn ang="0">
                <a:pos x="connsiteX50543" y="connsiteY50543"/>
              </a:cxn>
              <a:cxn ang="0">
                <a:pos x="connsiteX50544" y="connsiteY50544"/>
              </a:cxn>
              <a:cxn ang="0">
                <a:pos x="connsiteX50545" y="connsiteY50545"/>
              </a:cxn>
              <a:cxn ang="0">
                <a:pos x="connsiteX50546" y="connsiteY50546"/>
              </a:cxn>
              <a:cxn ang="0">
                <a:pos x="connsiteX50547" y="connsiteY50547"/>
              </a:cxn>
              <a:cxn ang="0">
                <a:pos x="connsiteX50548" y="connsiteY50548"/>
              </a:cxn>
              <a:cxn ang="0">
                <a:pos x="connsiteX50549" y="connsiteY50549"/>
              </a:cxn>
              <a:cxn ang="0">
                <a:pos x="connsiteX50550" y="connsiteY50550"/>
              </a:cxn>
              <a:cxn ang="0">
                <a:pos x="connsiteX50551" y="connsiteY50551"/>
              </a:cxn>
              <a:cxn ang="0">
                <a:pos x="connsiteX50552" y="connsiteY50552"/>
              </a:cxn>
              <a:cxn ang="0">
                <a:pos x="connsiteX50553" y="connsiteY50553"/>
              </a:cxn>
              <a:cxn ang="0">
                <a:pos x="connsiteX50554" y="connsiteY50554"/>
              </a:cxn>
              <a:cxn ang="0">
                <a:pos x="connsiteX50555" y="connsiteY50555"/>
              </a:cxn>
              <a:cxn ang="0">
                <a:pos x="connsiteX50556" y="connsiteY50556"/>
              </a:cxn>
              <a:cxn ang="0">
                <a:pos x="connsiteX50557" y="connsiteY50557"/>
              </a:cxn>
              <a:cxn ang="0">
                <a:pos x="connsiteX50558" y="connsiteY50558"/>
              </a:cxn>
              <a:cxn ang="0">
                <a:pos x="connsiteX50559" y="connsiteY50559"/>
              </a:cxn>
              <a:cxn ang="0">
                <a:pos x="connsiteX50560" y="connsiteY50560"/>
              </a:cxn>
              <a:cxn ang="0">
                <a:pos x="connsiteX50561" y="connsiteY50561"/>
              </a:cxn>
              <a:cxn ang="0">
                <a:pos x="connsiteX50562" y="connsiteY50562"/>
              </a:cxn>
              <a:cxn ang="0">
                <a:pos x="connsiteX50563" y="connsiteY50563"/>
              </a:cxn>
              <a:cxn ang="0">
                <a:pos x="connsiteX50564" y="connsiteY50564"/>
              </a:cxn>
              <a:cxn ang="0">
                <a:pos x="connsiteX50565" y="connsiteY50565"/>
              </a:cxn>
              <a:cxn ang="0">
                <a:pos x="connsiteX50566" y="connsiteY50566"/>
              </a:cxn>
              <a:cxn ang="0">
                <a:pos x="connsiteX50567" y="connsiteY50567"/>
              </a:cxn>
              <a:cxn ang="0">
                <a:pos x="connsiteX50568" y="connsiteY50568"/>
              </a:cxn>
              <a:cxn ang="0">
                <a:pos x="connsiteX50569" y="connsiteY50569"/>
              </a:cxn>
              <a:cxn ang="0">
                <a:pos x="connsiteX50570" y="connsiteY50570"/>
              </a:cxn>
              <a:cxn ang="0">
                <a:pos x="connsiteX50571" y="connsiteY50571"/>
              </a:cxn>
              <a:cxn ang="0">
                <a:pos x="connsiteX50572" y="connsiteY50572"/>
              </a:cxn>
              <a:cxn ang="0">
                <a:pos x="connsiteX50573" y="connsiteY50573"/>
              </a:cxn>
              <a:cxn ang="0">
                <a:pos x="connsiteX50574" y="connsiteY50574"/>
              </a:cxn>
              <a:cxn ang="0">
                <a:pos x="connsiteX50575" y="connsiteY50575"/>
              </a:cxn>
              <a:cxn ang="0">
                <a:pos x="connsiteX50576" y="connsiteY50576"/>
              </a:cxn>
              <a:cxn ang="0">
                <a:pos x="connsiteX50577" y="connsiteY50577"/>
              </a:cxn>
              <a:cxn ang="0">
                <a:pos x="connsiteX50578" y="connsiteY50578"/>
              </a:cxn>
              <a:cxn ang="0">
                <a:pos x="connsiteX50579" y="connsiteY50579"/>
              </a:cxn>
              <a:cxn ang="0">
                <a:pos x="connsiteX50580" y="connsiteY50580"/>
              </a:cxn>
              <a:cxn ang="0">
                <a:pos x="connsiteX50581" y="connsiteY50581"/>
              </a:cxn>
              <a:cxn ang="0">
                <a:pos x="connsiteX50582" y="connsiteY50582"/>
              </a:cxn>
              <a:cxn ang="0">
                <a:pos x="connsiteX50583" y="connsiteY50583"/>
              </a:cxn>
              <a:cxn ang="0">
                <a:pos x="connsiteX50584" y="connsiteY50584"/>
              </a:cxn>
              <a:cxn ang="0">
                <a:pos x="connsiteX50585" y="connsiteY50585"/>
              </a:cxn>
              <a:cxn ang="0">
                <a:pos x="connsiteX50586" y="connsiteY50586"/>
              </a:cxn>
              <a:cxn ang="0">
                <a:pos x="connsiteX50587" y="connsiteY50587"/>
              </a:cxn>
              <a:cxn ang="0">
                <a:pos x="connsiteX50588" y="connsiteY50588"/>
              </a:cxn>
              <a:cxn ang="0">
                <a:pos x="connsiteX50589" y="connsiteY50589"/>
              </a:cxn>
              <a:cxn ang="0">
                <a:pos x="connsiteX50590" y="connsiteY50590"/>
              </a:cxn>
              <a:cxn ang="0">
                <a:pos x="connsiteX50591" y="connsiteY50591"/>
              </a:cxn>
              <a:cxn ang="0">
                <a:pos x="connsiteX50592" y="connsiteY50592"/>
              </a:cxn>
              <a:cxn ang="0">
                <a:pos x="connsiteX50593" y="connsiteY50593"/>
              </a:cxn>
              <a:cxn ang="0">
                <a:pos x="connsiteX50594" y="connsiteY50594"/>
              </a:cxn>
              <a:cxn ang="0">
                <a:pos x="connsiteX50595" y="connsiteY50595"/>
              </a:cxn>
              <a:cxn ang="0">
                <a:pos x="connsiteX50596" y="connsiteY50596"/>
              </a:cxn>
              <a:cxn ang="0">
                <a:pos x="connsiteX50597" y="connsiteY50597"/>
              </a:cxn>
              <a:cxn ang="0">
                <a:pos x="connsiteX50598" y="connsiteY50598"/>
              </a:cxn>
              <a:cxn ang="0">
                <a:pos x="connsiteX50599" y="connsiteY50599"/>
              </a:cxn>
              <a:cxn ang="0">
                <a:pos x="connsiteX50600" y="connsiteY50600"/>
              </a:cxn>
              <a:cxn ang="0">
                <a:pos x="connsiteX50601" y="connsiteY50601"/>
              </a:cxn>
              <a:cxn ang="0">
                <a:pos x="connsiteX50602" y="connsiteY50602"/>
              </a:cxn>
              <a:cxn ang="0">
                <a:pos x="connsiteX50603" y="connsiteY50603"/>
              </a:cxn>
              <a:cxn ang="0">
                <a:pos x="connsiteX50604" y="connsiteY50604"/>
              </a:cxn>
              <a:cxn ang="0">
                <a:pos x="connsiteX50605" y="connsiteY50605"/>
              </a:cxn>
              <a:cxn ang="0">
                <a:pos x="connsiteX50606" y="connsiteY50606"/>
              </a:cxn>
              <a:cxn ang="0">
                <a:pos x="connsiteX50607" y="connsiteY50607"/>
              </a:cxn>
              <a:cxn ang="0">
                <a:pos x="connsiteX50608" y="connsiteY50608"/>
              </a:cxn>
              <a:cxn ang="0">
                <a:pos x="connsiteX50609" y="connsiteY50609"/>
              </a:cxn>
              <a:cxn ang="0">
                <a:pos x="connsiteX50610" y="connsiteY50610"/>
              </a:cxn>
              <a:cxn ang="0">
                <a:pos x="connsiteX50611" y="connsiteY50611"/>
              </a:cxn>
              <a:cxn ang="0">
                <a:pos x="connsiteX50612" y="connsiteY50612"/>
              </a:cxn>
              <a:cxn ang="0">
                <a:pos x="connsiteX50613" y="connsiteY50613"/>
              </a:cxn>
              <a:cxn ang="0">
                <a:pos x="connsiteX50614" y="connsiteY50614"/>
              </a:cxn>
              <a:cxn ang="0">
                <a:pos x="connsiteX50615" y="connsiteY50615"/>
              </a:cxn>
              <a:cxn ang="0">
                <a:pos x="connsiteX50616" y="connsiteY50616"/>
              </a:cxn>
              <a:cxn ang="0">
                <a:pos x="connsiteX50617" y="connsiteY50617"/>
              </a:cxn>
              <a:cxn ang="0">
                <a:pos x="connsiteX50618" y="connsiteY50618"/>
              </a:cxn>
              <a:cxn ang="0">
                <a:pos x="connsiteX50619" y="connsiteY50619"/>
              </a:cxn>
              <a:cxn ang="0">
                <a:pos x="connsiteX50620" y="connsiteY50620"/>
              </a:cxn>
              <a:cxn ang="0">
                <a:pos x="connsiteX50621" y="connsiteY50621"/>
              </a:cxn>
              <a:cxn ang="0">
                <a:pos x="connsiteX50622" y="connsiteY50622"/>
              </a:cxn>
              <a:cxn ang="0">
                <a:pos x="connsiteX50623" y="connsiteY50623"/>
              </a:cxn>
              <a:cxn ang="0">
                <a:pos x="connsiteX50624" y="connsiteY50624"/>
              </a:cxn>
              <a:cxn ang="0">
                <a:pos x="connsiteX50625" y="connsiteY50625"/>
              </a:cxn>
              <a:cxn ang="0">
                <a:pos x="connsiteX50626" y="connsiteY50626"/>
              </a:cxn>
              <a:cxn ang="0">
                <a:pos x="connsiteX50627" y="connsiteY50627"/>
              </a:cxn>
              <a:cxn ang="0">
                <a:pos x="connsiteX50628" y="connsiteY50628"/>
              </a:cxn>
              <a:cxn ang="0">
                <a:pos x="connsiteX50629" y="connsiteY50629"/>
              </a:cxn>
              <a:cxn ang="0">
                <a:pos x="connsiteX50630" y="connsiteY50630"/>
              </a:cxn>
              <a:cxn ang="0">
                <a:pos x="connsiteX50631" y="connsiteY50631"/>
              </a:cxn>
              <a:cxn ang="0">
                <a:pos x="connsiteX50632" y="connsiteY50632"/>
              </a:cxn>
              <a:cxn ang="0">
                <a:pos x="connsiteX50633" y="connsiteY50633"/>
              </a:cxn>
              <a:cxn ang="0">
                <a:pos x="connsiteX50634" y="connsiteY50634"/>
              </a:cxn>
              <a:cxn ang="0">
                <a:pos x="connsiteX50635" y="connsiteY50635"/>
              </a:cxn>
              <a:cxn ang="0">
                <a:pos x="connsiteX50636" y="connsiteY50636"/>
              </a:cxn>
              <a:cxn ang="0">
                <a:pos x="connsiteX50637" y="connsiteY50637"/>
              </a:cxn>
              <a:cxn ang="0">
                <a:pos x="connsiteX50638" y="connsiteY50638"/>
              </a:cxn>
              <a:cxn ang="0">
                <a:pos x="connsiteX50639" y="connsiteY50639"/>
              </a:cxn>
              <a:cxn ang="0">
                <a:pos x="connsiteX50640" y="connsiteY50640"/>
              </a:cxn>
              <a:cxn ang="0">
                <a:pos x="connsiteX50641" y="connsiteY50641"/>
              </a:cxn>
              <a:cxn ang="0">
                <a:pos x="connsiteX50642" y="connsiteY50642"/>
              </a:cxn>
              <a:cxn ang="0">
                <a:pos x="connsiteX50643" y="connsiteY50643"/>
              </a:cxn>
              <a:cxn ang="0">
                <a:pos x="connsiteX50644" y="connsiteY50644"/>
              </a:cxn>
              <a:cxn ang="0">
                <a:pos x="connsiteX50645" y="connsiteY50645"/>
              </a:cxn>
              <a:cxn ang="0">
                <a:pos x="connsiteX50646" y="connsiteY50646"/>
              </a:cxn>
              <a:cxn ang="0">
                <a:pos x="connsiteX50647" y="connsiteY50647"/>
              </a:cxn>
              <a:cxn ang="0">
                <a:pos x="connsiteX50648" y="connsiteY50648"/>
              </a:cxn>
              <a:cxn ang="0">
                <a:pos x="connsiteX50649" y="connsiteY50649"/>
              </a:cxn>
              <a:cxn ang="0">
                <a:pos x="connsiteX50650" y="connsiteY50650"/>
              </a:cxn>
              <a:cxn ang="0">
                <a:pos x="connsiteX50651" y="connsiteY50651"/>
              </a:cxn>
              <a:cxn ang="0">
                <a:pos x="connsiteX50652" y="connsiteY50652"/>
              </a:cxn>
              <a:cxn ang="0">
                <a:pos x="connsiteX50653" y="connsiteY50653"/>
              </a:cxn>
              <a:cxn ang="0">
                <a:pos x="connsiteX50654" y="connsiteY50654"/>
              </a:cxn>
              <a:cxn ang="0">
                <a:pos x="connsiteX50655" y="connsiteY50655"/>
              </a:cxn>
              <a:cxn ang="0">
                <a:pos x="connsiteX50656" y="connsiteY50656"/>
              </a:cxn>
              <a:cxn ang="0">
                <a:pos x="connsiteX50657" y="connsiteY50657"/>
              </a:cxn>
              <a:cxn ang="0">
                <a:pos x="connsiteX50658" y="connsiteY50658"/>
              </a:cxn>
              <a:cxn ang="0">
                <a:pos x="connsiteX50659" y="connsiteY50659"/>
              </a:cxn>
              <a:cxn ang="0">
                <a:pos x="connsiteX50660" y="connsiteY50660"/>
              </a:cxn>
              <a:cxn ang="0">
                <a:pos x="connsiteX50661" y="connsiteY50661"/>
              </a:cxn>
              <a:cxn ang="0">
                <a:pos x="connsiteX50662" y="connsiteY50662"/>
              </a:cxn>
              <a:cxn ang="0">
                <a:pos x="connsiteX50663" y="connsiteY50663"/>
              </a:cxn>
              <a:cxn ang="0">
                <a:pos x="connsiteX50664" y="connsiteY50664"/>
              </a:cxn>
              <a:cxn ang="0">
                <a:pos x="connsiteX50665" y="connsiteY50665"/>
              </a:cxn>
              <a:cxn ang="0">
                <a:pos x="connsiteX50666" y="connsiteY50666"/>
              </a:cxn>
              <a:cxn ang="0">
                <a:pos x="connsiteX50667" y="connsiteY50667"/>
              </a:cxn>
              <a:cxn ang="0">
                <a:pos x="connsiteX50668" y="connsiteY50668"/>
              </a:cxn>
              <a:cxn ang="0">
                <a:pos x="connsiteX50669" y="connsiteY50669"/>
              </a:cxn>
              <a:cxn ang="0">
                <a:pos x="connsiteX50670" y="connsiteY50670"/>
              </a:cxn>
              <a:cxn ang="0">
                <a:pos x="connsiteX50671" y="connsiteY50671"/>
              </a:cxn>
              <a:cxn ang="0">
                <a:pos x="connsiteX50672" y="connsiteY50672"/>
              </a:cxn>
              <a:cxn ang="0">
                <a:pos x="connsiteX50673" y="connsiteY50673"/>
              </a:cxn>
              <a:cxn ang="0">
                <a:pos x="connsiteX50674" y="connsiteY50674"/>
              </a:cxn>
              <a:cxn ang="0">
                <a:pos x="connsiteX50675" y="connsiteY50675"/>
              </a:cxn>
              <a:cxn ang="0">
                <a:pos x="connsiteX50676" y="connsiteY50676"/>
              </a:cxn>
              <a:cxn ang="0">
                <a:pos x="connsiteX50677" y="connsiteY50677"/>
              </a:cxn>
              <a:cxn ang="0">
                <a:pos x="connsiteX50678" y="connsiteY50678"/>
              </a:cxn>
              <a:cxn ang="0">
                <a:pos x="connsiteX50679" y="connsiteY50679"/>
              </a:cxn>
              <a:cxn ang="0">
                <a:pos x="connsiteX50680" y="connsiteY50680"/>
              </a:cxn>
              <a:cxn ang="0">
                <a:pos x="connsiteX50681" y="connsiteY50681"/>
              </a:cxn>
              <a:cxn ang="0">
                <a:pos x="connsiteX50682" y="connsiteY50682"/>
              </a:cxn>
              <a:cxn ang="0">
                <a:pos x="connsiteX50683" y="connsiteY50683"/>
              </a:cxn>
              <a:cxn ang="0">
                <a:pos x="connsiteX50684" y="connsiteY50684"/>
              </a:cxn>
              <a:cxn ang="0">
                <a:pos x="connsiteX50685" y="connsiteY50685"/>
              </a:cxn>
              <a:cxn ang="0">
                <a:pos x="connsiteX50686" y="connsiteY50686"/>
              </a:cxn>
              <a:cxn ang="0">
                <a:pos x="connsiteX50687" y="connsiteY50687"/>
              </a:cxn>
              <a:cxn ang="0">
                <a:pos x="connsiteX50688" y="connsiteY50688"/>
              </a:cxn>
              <a:cxn ang="0">
                <a:pos x="connsiteX50689" y="connsiteY50689"/>
              </a:cxn>
              <a:cxn ang="0">
                <a:pos x="connsiteX50690" y="connsiteY50690"/>
              </a:cxn>
              <a:cxn ang="0">
                <a:pos x="connsiteX50691" y="connsiteY50691"/>
              </a:cxn>
              <a:cxn ang="0">
                <a:pos x="connsiteX50692" y="connsiteY50692"/>
              </a:cxn>
              <a:cxn ang="0">
                <a:pos x="connsiteX50693" y="connsiteY50693"/>
              </a:cxn>
              <a:cxn ang="0">
                <a:pos x="connsiteX50694" y="connsiteY50694"/>
              </a:cxn>
              <a:cxn ang="0">
                <a:pos x="connsiteX50695" y="connsiteY50695"/>
              </a:cxn>
              <a:cxn ang="0">
                <a:pos x="connsiteX50696" y="connsiteY50696"/>
              </a:cxn>
              <a:cxn ang="0">
                <a:pos x="connsiteX50697" y="connsiteY50697"/>
              </a:cxn>
              <a:cxn ang="0">
                <a:pos x="connsiteX50698" y="connsiteY50698"/>
              </a:cxn>
              <a:cxn ang="0">
                <a:pos x="connsiteX50699" y="connsiteY50699"/>
              </a:cxn>
              <a:cxn ang="0">
                <a:pos x="connsiteX50700" y="connsiteY50700"/>
              </a:cxn>
              <a:cxn ang="0">
                <a:pos x="connsiteX50701" y="connsiteY50701"/>
              </a:cxn>
              <a:cxn ang="0">
                <a:pos x="connsiteX50702" y="connsiteY50702"/>
              </a:cxn>
              <a:cxn ang="0">
                <a:pos x="connsiteX50703" y="connsiteY50703"/>
              </a:cxn>
              <a:cxn ang="0">
                <a:pos x="connsiteX50704" y="connsiteY50704"/>
              </a:cxn>
              <a:cxn ang="0">
                <a:pos x="connsiteX50705" y="connsiteY50705"/>
              </a:cxn>
              <a:cxn ang="0">
                <a:pos x="connsiteX50706" y="connsiteY50706"/>
              </a:cxn>
              <a:cxn ang="0">
                <a:pos x="connsiteX50707" y="connsiteY50707"/>
              </a:cxn>
              <a:cxn ang="0">
                <a:pos x="connsiteX50708" y="connsiteY50708"/>
              </a:cxn>
              <a:cxn ang="0">
                <a:pos x="connsiteX50709" y="connsiteY50709"/>
              </a:cxn>
              <a:cxn ang="0">
                <a:pos x="connsiteX50710" y="connsiteY50710"/>
              </a:cxn>
              <a:cxn ang="0">
                <a:pos x="connsiteX50711" y="connsiteY50711"/>
              </a:cxn>
              <a:cxn ang="0">
                <a:pos x="connsiteX50712" y="connsiteY50712"/>
              </a:cxn>
              <a:cxn ang="0">
                <a:pos x="connsiteX50713" y="connsiteY50713"/>
              </a:cxn>
              <a:cxn ang="0">
                <a:pos x="connsiteX50714" y="connsiteY50714"/>
              </a:cxn>
              <a:cxn ang="0">
                <a:pos x="connsiteX50715" y="connsiteY50715"/>
              </a:cxn>
              <a:cxn ang="0">
                <a:pos x="connsiteX50716" y="connsiteY50716"/>
              </a:cxn>
              <a:cxn ang="0">
                <a:pos x="connsiteX50717" y="connsiteY50717"/>
              </a:cxn>
              <a:cxn ang="0">
                <a:pos x="connsiteX50718" y="connsiteY50718"/>
              </a:cxn>
              <a:cxn ang="0">
                <a:pos x="connsiteX50719" y="connsiteY50719"/>
              </a:cxn>
              <a:cxn ang="0">
                <a:pos x="connsiteX50720" y="connsiteY50720"/>
              </a:cxn>
              <a:cxn ang="0">
                <a:pos x="connsiteX50721" y="connsiteY50721"/>
              </a:cxn>
              <a:cxn ang="0">
                <a:pos x="connsiteX50722" y="connsiteY50722"/>
              </a:cxn>
              <a:cxn ang="0">
                <a:pos x="connsiteX50723" y="connsiteY50723"/>
              </a:cxn>
              <a:cxn ang="0">
                <a:pos x="connsiteX50724" y="connsiteY50724"/>
              </a:cxn>
              <a:cxn ang="0">
                <a:pos x="connsiteX50725" y="connsiteY50725"/>
              </a:cxn>
              <a:cxn ang="0">
                <a:pos x="connsiteX50726" y="connsiteY50726"/>
              </a:cxn>
              <a:cxn ang="0">
                <a:pos x="connsiteX50727" y="connsiteY50727"/>
              </a:cxn>
              <a:cxn ang="0">
                <a:pos x="connsiteX50728" y="connsiteY50728"/>
              </a:cxn>
              <a:cxn ang="0">
                <a:pos x="connsiteX50729" y="connsiteY50729"/>
              </a:cxn>
              <a:cxn ang="0">
                <a:pos x="connsiteX50730" y="connsiteY50730"/>
              </a:cxn>
              <a:cxn ang="0">
                <a:pos x="connsiteX50731" y="connsiteY50731"/>
              </a:cxn>
              <a:cxn ang="0">
                <a:pos x="connsiteX50732" y="connsiteY50732"/>
              </a:cxn>
              <a:cxn ang="0">
                <a:pos x="connsiteX50733" y="connsiteY50733"/>
              </a:cxn>
              <a:cxn ang="0">
                <a:pos x="connsiteX50734" y="connsiteY50734"/>
              </a:cxn>
              <a:cxn ang="0">
                <a:pos x="connsiteX50735" y="connsiteY50735"/>
              </a:cxn>
              <a:cxn ang="0">
                <a:pos x="connsiteX50736" y="connsiteY50736"/>
              </a:cxn>
              <a:cxn ang="0">
                <a:pos x="connsiteX50737" y="connsiteY50737"/>
              </a:cxn>
              <a:cxn ang="0">
                <a:pos x="connsiteX50738" y="connsiteY50738"/>
              </a:cxn>
              <a:cxn ang="0">
                <a:pos x="connsiteX50739" y="connsiteY50739"/>
              </a:cxn>
              <a:cxn ang="0">
                <a:pos x="connsiteX50740" y="connsiteY50740"/>
              </a:cxn>
              <a:cxn ang="0">
                <a:pos x="connsiteX50741" y="connsiteY50741"/>
              </a:cxn>
              <a:cxn ang="0">
                <a:pos x="connsiteX50742" y="connsiteY50742"/>
              </a:cxn>
              <a:cxn ang="0">
                <a:pos x="connsiteX50743" y="connsiteY50743"/>
              </a:cxn>
              <a:cxn ang="0">
                <a:pos x="connsiteX50744" y="connsiteY50744"/>
              </a:cxn>
              <a:cxn ang="0">
                <a:pos x="connsiteX50745" y="connsiteY50745"/>
              </a:cxn>
              <a:cxn ang="0">
                <a:pos x="connsiteX50746" y="connsiteY50746"/>
              </a:cxn>
              <a:cxn ang="0">
                <a:pos x="connsiteX50747" y="connsiteY50747"/>
              </a:cxn>
              <a:cxn ang="0">
                <a:pos x="connsiteX50748" y="connsiteY50748"/>
              </a:cxn>
              <a:cxn ang="0">
                <a:pos x="connsiteX50749" y="connsiteY50749"/>
              </a:cxn>
              <a:cxn ang="0">
                <a:pos x="connsiteX50750" y="connsiteY50750"/>
              </a:cxn>
              <a:cxn ang="0">
                <a:pos x="connsiteX50751" y="connsiteY50751"/>
              </a:cxn>
              <a:cxn ang="0">
                <a:pos x="connsiteX50752" y="connsiteY50752"/>
              </a:cxn>
              <a:cxn ang="0">
                <a:pos x="connsiteX50753" y="connsiteY50753"/>
              </a:cxn>
              <a:cxn ang="0">
                <a:pos x="connsiteX50754" y="connsiteY50754"/>
              </a:cxn>
              <a:cxn ang="0">
                <a:pos x="connsiteX50755" y="connsiteY50755"/>
              </a:cxn>
              <a:cxn ang="0">
                <a:pos x="connsiteX50756" y="connsiteY50756"/>
              </a:cxn>
              <a:cxn ang="0">
                <a:pos x="connsiteX50757" y="connsiteY50757"/>
              </a:cxn>
              <a:cxn ang="0">
                <a:pos x="connsiteX50758" y="connsiteY50758"/>
              </a:cxn>
              <a:cxn ang="0">
                <a:pos x="connsiteX50759" y="connsiteY50759"/>
              </a:cxn>
              <a:cxn ang="0">
                <a:pos x="connsiteX50760" y="connsiteY50760"/>
              </a:cxn>
              <a:cxn ang="0">
                <a:pos x="connsiteX50761" y="connsiteY50761"/>
              </a:cxn>
              <a:cxn ang="0">
                <a:pos x="connsiteX50762" y="connsiteY50762"/>
              </a:cxn>
              <a:cxn ang="0">
                <a:pos x="connsiteX50763" y="connsiteY50763"/>
              </a:cxn>
              <a:cxn ang="0">
                <a:pos x="connsiteX50764" y="connsiteY50764"/>
              </a:cxn>
              <a:cxn ang="0">
                <a:pos x="connsiteX50765" y="connsiteY50765"/>
              </a:cxn>
              <a:cxn ang="0">
                <a:pos x="connsiteX50766" y="connsiteY50766"/>
              </a:cxn>
              <a:cxn ang="0">
                <a:pos x="connsiteX50767" y="connsiteY50767"/>
              </a:cxn>
              <a:cxn ang="0">
                <a:pos x="connsiteX50768" y="connsiteY50768"/>
              </a:cxn>
              <a:cxn ang="0">
                <a:pos x="connsiteX50769" y="connsiteY50769"/>
              </a:cxn>
              <a:cxn ang="0">
                <a:pos x="connsiteX50770" y="connsiteY50770"/>
              </a:cxn>
              <a:cxn ang="0">
                <a:pos x="connsiteX50771" y="connsiteY50771"/>
              </a:cxn>
              <a:cxn ang="0">
                <a:pos x="connsiteX50772" y="connsiteY50772"/>
              </a:cxn>
              <a:cxn ang="0">
                <a:pos x="connsiteX50773" y="connsiteY50773"/>
              </a:cxn>
              <a:cxn ang="0">
                <a:pos x="connsiteX50774" y="connsiteY50774"/>
              </a:cxn>
              <a:cxn ang="0">
                <a:pos x="connsiteX50775" y="connsiteY50775"/>
              </a:cxn>
              <a:cxn ang="0">
                <a:pos x="connsiteX50776" y="connsiteY50776"/>
              </a:cxn>
              <a:cxn ang="0">
                <a:pos x="connsiteX50777" y="connsiteY50777"/>
              </a:cxn>
              <a:cxn ang="0">
                <a:pos x="connsiteX50778" y="connsiteY50778"/>
              </a:cxn>
              <a:cxn ang="0">
                <a:pos x="connsiteX50779" y="connsiteY50779"/>
              </a:cxn>
              <a:cxn ang="0">
                <a:pos x="connsiteX50780" y="connsiteY50780"/>
              </a:cxn>
              <a:cxn ang="0">
                <a:pos x="connsiteX50781" y="connsiteY50781"/>
              </a:cxn>
              <a:cxn ang="0">
                <a:pos x="connsiteX50782" y="connsiteY50782"/>
              </a:cxn>
              <a:cxn ang="0">
                <a:pos x="connsiteX50783" y="connsiteY50783"/>
              </a:cxn>
              <a:cxn ang="0">
                <a:pos x="connsiteX50784" y="connsiteY50784"/>
              </a:cxn>
              <a:cxn ang="0">
                <a:pos x="connsiteX50785" y="connsiteY50785"/>
              </a:cxn>
              <a:cxn ang="0">
                <a:pos x="connsiteX50786" y="connsiteY50786"/>
              </a:cxn>
              <a:cxn ang="0">
                <a:pos x="connsiteX50787" y="connsiteY50787"/>
              </a:cxn>
              <a:cxn ang="0">
                <a:pos x="connsiteX50788" y="connsiteY50788"/>
              </a:cxn>
              <a:cxn ang="0">
                <a:pos x="connsiteX50789" y="connsiteY50789"/>
              </a:cxn>
              <a:cxn ang="0">
                <a:pos x="connsiteX50790" y="connsiteY50790"/>
              </a:cxn>
              <a:cxn ang="0">
                <a:pos x="connsiteX50791" y="connsiteY50791"/>
              </a:cxn>
              <a:cxn ang="0">
                <a:pos x="connsiteX50792" y="connsiteY50792"/>
              </a:cxn>
              <a:cxn ang="0">
                <a:pos x="connsiteX50793" y="connsiteY50793"/>
              </a:cxn>
              <a:cxn ang="0">
                <a:pos x="connsiteX50794" y="connsiteY50794"/>
              </a:cxn>
              <a:cxn ang="0">
                <a:pos x="connsiteX50795" y="connsiteY50795"/>
              </a:cxn>
              <a:cxn ang="0">
                <a:pos x="connsiteX50796" y="connsiteY50796"/>
              </a:cxn>
              <a:cxn ang="0">
                <a:pos x="connsiteX50797" y="connsiteY50797"/>
              </a:cxn>
              <a:cxn ang="0">
                <a:pos x="connsiteX50798" y="connsiteY50798"/>
              </a:cxn>
              <a:cxn ang="0">
                <a:pos x="connsiteX50799" y="connsiteY50799"/>
              </a:cxn>
              <a:cxn ang="0">
                <a:pos x="connsiteX50800" y="connsiteY50800"/>
              </a:cxn>
              <a:cxn ang="0">
                <a:pos x="connsiteX50801" y="connsiteY50801"/>
              </a:cxn>
              <a:cxn ang="0">
                <a:pos x="connsiteX50802" y="connsiteY50802"/>
              </a:cxn>
              <a:cxn ang="0">
                <a:pos x="connsiteX50803" y="connsiteY50803"/>
              </a:cxn>
              <a:cxn ang="0">
                <a:pos x="connsiteX50804" y="connsiteY50804"/>
              </a:cxn>
              <a:cxn ang="0">
                <a:pos x="connsiteX50805" y="connsiteY50805"/>
              </a:cxn>
              <a:cxn ang="0">
                <a:pos x="connsiteX50806" y="connsiteY50806"/>
              </a:cxn>
              <a:cxn ang="0">
                <a:pos x="connsiteX50807" y="connsiteY50807"/>
              </a:cxn>
              <a:cxn ang="0">
                <a:pos x="connsiteX50808" y="connsiteY50808"/>
              </a:cxn>
              <a:cxn ang="0">
                <a:pos x="connsiteX50809" y="connsiteY50809"/>
              </a:cxn>
              <a:cxn ang="0">
                <a:pos x="connsiteX50810" y="connsiteY50810"/>
              </a:cxn>
              <a:cxn ang="0">
                <a:pos x="connsiteX50811" y="connsiteY50811"/>
              </a:cxn>
              <a:cxn ang="0">
                <a:pos x="connsiteX50812" y="connsiteY50812"/>
              </a:cxn>
              <a:cxn ang="0">
                <a:pos x="connsiteX50813" y="connsiteY50813"/>
              </a:cxn>
              <a:cxn ang="0">
                <a:pos x="connsiteX50814" y="connsiteY50814"/>
              </a:cxn>
              <a:cxn ang="0">
                <a:pos x="connsiteX50815" y="connsiteY50815"/>
              </a:cxn>
              <a:cxn ang="0">
                <a:pos x="connsiteX50816" y="connsiteY50816"/>
              </a:cxn>
              <a:cxn ang="0">
                <a:pos x="connsiteX50817" y="connsiteY50817"/>
              </a:cxn>
              <a:cxn ang="0">
                <a:pos x="connsiteX50818" y="connsiteY50818"/>
              </a:cxn>
              <a:cxn ang="0">
                <a:pos x="connsiteX50819" y="connsiteY50819"/>
              </a:cxn>
              <a:cxn ang="0">
                <a:pos x="connsiteX50820" y="connsiteY50820"/>
              </a:cxn>
              <a:cxn ang="0">
                <a:pos x="connsiteX50821" y="connsiteY50821"/>
              </a:cxn>
              <a:cxn ang="0">
                <a:pos x="connsiteX50822" y="connsiteY50822"/>
              </a:cxn>
              <a:cxn ang="0">
                <a:pos x="connsiteX50823" y="connsiteY50823"/>
              </a:cxn>
              <a:cxn ang="0">
                <a:pos x="connsiteX50824" y="connsiteY50824"/>
              </a:cxn>
              <a:cxn ang="0">
                <a:pos x="connsiteX50825" y="connsiteY50825"/>
              </a:cxn>
              <a:cxn ang="0">
                <a:pos x="connsiteX50826" y="connsiteY50826"/>
              </a:cxn>
              <a:cxn ang="0">
                <a:pos x="connsiteX50827" y="connsiteY50827"/>
              </a:cxn>
              <a:cxn ang="0">
                <a:pos x="connsiteX50828" y="connsiteY50828"/>
              </a:cxn>
              <a:cxn ang="0">
                <a:pos x="connsiteX50829" y="connsiteY50829"/>
              </a:cxn>
              <a:cxn ang="0">
                <a:pos x="connsiteX50830" y="connsiteY50830"/>
              </a:cxn>
              <a:cxn ang="0">
                <a:pos x="connsiteX50831" y="connsiteY50831"/>
              </a:cxn>
              <a:cxn ang="0">
                <a:pos x="connsiteX50832" y="connsiteY50832"/>
              </a:cxn>
              <a:cxn ang="0">
                <a:pos x="connsiteX50833" y="connsiteY50833"/>
              </a:cxn>
              <a:cxn ang="0">
                <a:pos x="connsiteX50834" y="connsiteY50834"/>
              </a:cxn>
              <a:cxn ang="0">
                <a:pos x="connsiteX50835" y="connsiteY50835"/>
              </a:cxn>
              <a:cxn ang="0">
                <a:pos x="connsiteX50836" y="connsiteY50836"/>
              </a:cxn>
              <a:cxn ang="0">
                <a:pos x="connsiteX50837" y="connsiteY50837"/>
              </a:cxn>
              <a:cxn ang="0">
                <a:pos x="connsiteX50838" y="connsiteY50838"/>
              </a:cxn>
              <a:cxn ang="0">
                <a:pos x="connsiteX50839" y="connsiteY50839"/>
              </a:cxn>
              <a:cxn ang="0">
                <a:pos x="connsiteX50840" y="connsiteY50840"/>
              </a:cxn>
              <a:cxn ang="0">
                <a:pos x="connsiteX50841" y="connsiteY50841"/>
              </a:cxn>
              <a:cxn ang="0">
                <a:pos x="connsiteX50842" y="connsiteY50842"/>
              </a:cxn>
              <a:cxn ang="0">
                <a:pos x="connsiteX50843" y="connsiteY50843"/>
              </a:cxn>
              <a:cxn ang="0">
                <a:pos x="connsiteX50844" y="connsiteY50844"/>
              </a:cxn>
              <a:cxn ang="0">
                <a:pos x="connsiteX50845" y="connsiteY50845"/>
              </a:cxn>
              <a:cxn ang="0">
                <a:pos x="connsiteX50846" y="connsiteY50846"/>
              </a:cxn>
              <a:cxn ang="0">
                <a:pos x="connsiteX50847" y="connsiteY50847"/>
              </a:cxn>
              <a:cxn ang="0">
                <a:pos x="connsiteX50848" y="connsiteY50848"/>
              </a:cxn>
              <a:cxn ang="0">
                <a:pos x="connsiteX50849" y="connsiteY50849"/>
              </a:cxn>
              <a:cxn ang="0">
                <a:pos x="connsiteX50850" y="connsiteY50850"/>
              </a:cxn>
              <a:cxn ang="0">
                <a:pos x="connsiteX50851" y="connsiteY50851"/>
              </a:cxn>
              <a:cxn ang="0">
                <a:pos x="connsiteX50852" y="connsiteY50852"/>
              </a:cxn>
              <a:cxn ang="0">
                <a:pos x="connsiteX50853" y="connsiteY50853"/>
              </a:cxn>
              <a:cxn ang="0">
                <a:pos x="connsiteX50854" y="connsiteY50854"/>
              </a:cxn>
              <a:cxn ang="0">
                <a:pos x="connsiteX50855" y="connsiteY50855"/>
              </a:cxn>
              <a:cxn ang="0">
                <a:pos x="connsiteX50856" y="connsiteY50856"/>
              </a:cxn>
              <a:cxn ang="0">
                <a:pos x="connsiteX50857" y="connsiteY50857"/>
              </a:cxn>
              <a:cxn ang="0">
                <a:pos x="connsiteX50858" y="connsiteY50858"/>
              </a:cxn>
              <a:cxn ang="0">
                <a:pos x="connsiteX50859" y="connsiteY50859"/>
              </a:cxn>
              <a:cxn ang="0">
                <a:pos x="connsiteX50860" y="connsiteY50860"/>
              </a:cxn>
              <a:cxn ang="0">
                <a:pos x="connsiteX50861" y="connsiteY50861"/>
              </a:cxn>
              <a:cxn ang="0">
                <a:pos x="connsiteX50862" y="connsiteY50862"/>
              </a:cxn>
              <a:cxn ang="0">
                <a:pos x="connsiteX50863" y="connsiteY50863"/>
              </a:cxn>
              <a:cxn ang="0">
                <a:pos x="connsiteX50864" y="connsiteY50864"/>
              </a:cxn>
              <a:cxn ang="0">
                <a:pos x="connsiteX50865" y="connsiteY50865"/>
              </a:cxn>
              <a:cxn ang="0">
                <a:pos x="connsiteX50866" y="connsiteY50866"/>
              </a:cxn>
              <a:cxn ang="0">
                <a:pos x="connsiteX50867" y="connsiteY50867"/>
              </a:cxn>
              <a:cxn ang="0">
                <a:pos x="connsiteX50868" y="connsiteY50868"/>
              </a:cxn>
              <a:cxn ang="0">
                <a:pos x="connsiteX50869" y="connsiteY50869"/>
              </a:cxn>
              <a:cxn ang="0">
                <a:pos x="connsiteX50870" y="connsiteY50870"/>
              </a:cxn>
              <a:cxn ang="0">
                <a:pos x="connsiteX50871" y="connsiteY50871"/>
              </a:cxn>
              <a:cxn ang="0">
                <a:pos x="connsiteX50872" y="connsiteY50872"/>
              </a:cxn>
              <a:cxn ang="0">
                <a:pos x="connsiteX50873" y="connsiteY50873"/>
              </a:cxn>
              <a:cxn ang="0">
                <a:pos x="connsiteX50874" y="connsiteY50874"/>
              </a:cxn>
              <a:cxn ang="0">
                <a:pos x="connsiteX50875" y="connsiteY50875"/>
              </a:cxn>
              <a:cxn ang="0">
                <a:pos x="connsiteX50876" y="connsiteY50876"/>
              </a:cxn>
              <a:cxn ang="0">
                <a:pos x="connsiteX50877" y="connsiteY50877"/>
              </a:cxn>
              <a:cxn ang="0">
                <a:pos x="connsiteX50878" y="connsiteY50878"/>
              </a:cxn>
              <a:cxn ang="0">
                <a:pos x="connsiteX50879" y="connsiteY50879"/>
              </a:cxn>
              <a:cxn ang="0">
                <a:pos x="connsiteX50880" y="connsiteY50880"/>
              </a:cxn>
              <a:cxn ang="0">
                <a:pos x="connsiteX50881" y="connsiteY50881"/>
              </a:cxn>
              <a:cxn ang="0">
                <a:pos x="connsiteX50882" y="connsiteY50882"/>
              </a:cxn>
              <a:cxn ang="0">
                <a:pos x="connsiteX50883" y="connsiteY50883"/>
              </a:cxn>
              <a:cxn ang="0">
                <a:pos x="connsiteX50884" y="connsiteY50884"/>
              </a:cxn>
              <a:cxn ang="0">
                <a:pos x="connsiteX50885" y="connsiteY50885"/>
              </a:cxn>
              <a:cxn ang="0">
                <a:pos x="connsiteX50886" y="connsiteY50886"/>
              </a:cxn>
              <a:cxn ang="0">
                <a:pos x="connsiteX50887" y="connsiteY50887"/>
              </a:cxn>
              <a:cxn ang="0">
                <a:pos x="connsiteX50888" y="connsiteY50888"/>
              </a:cxn>
              <a:cxn ang="0">
                <a:pos x="connsiteX50889" y="connsiteY50889"/>
              </a:cxn>
              <a:cxn ang="0">
                <a:pos x="connsiteX50890" y="connsiteY50890"/>
              </a:cxn>
              <a:cxn ang="0">
                <a:pos x="connsiteX50891" y="connsiteY50891"/>
              </a:cxn>
              <a:cxn ang="0">
                <a:pos x="connsiteX50892" y="connsiteY50892"/>
              </a:cxn>
              <a:cxn ang="0">
                <a:pos x="connsiteX50893" y="connsiteY50893"/>
              </a:cxn>
              <a:cxn ang="0">
                <a:pos x="connsiteX50894" y="connsiteY50894"/>
              </a:cxn>
              <a:cxn ang="0">
                <a:pos x="connsiteX50895" y="connsiteY50895"/>
              </a:cxn>
              <a:cxn ang="0">
                <a:pos x="connsiteX50896" y="connsiteY50896"/>
              </a:cxn>
              <a:cxn ang="0">
                <a:pos x="connsiteX50897" y="connsiteY50897"/>
              </a:cxn>
              <a:cxn ang="0">
                <a:pos x="connsiteX50898" y="connsiteY50898"/>
              </a:cxn>
              <a:cxn ang="0">
                <a:pos x="connsiteX50899" y="connsiteY50899"/>
              </a:cxn>
              <a:cxn ang="0">
                <a:pos x="connsiteX50900" y="connsiteY50900"/>
              </a:cxn>
              <a:cxn ang="0">
                <a:pos x="connsiteX50901" y="connsiteY50901"/>
              </a:cxn>
              <a:cxn ang="0">
                <a:pos x="connsiteX50902" y="connsiteY50902"/>
              </a:cxn>
              <a:cxn ang="0">
                <a:pos x="connsiteX50903" y="connsiteY50903"/>
              </a:cxn>
              <a:cxn ang="0">
                <a:pos x="connsiteX50904" y="connsiteY50904"/>
              </a:cxn>
              <a:cxn ang="0">
                <a:pos x="connsiteX50905" y="connsiteY50905"/>
              </a:cxn>
              <a:cxn ang="0">
                <a:pos x="connsiteX50906" y="connsiteY50906"/>
              </a:cxn>
              <a:cxn ang="0">
                <a:pos x="connsiteX50907" y="connsiteY50907"/>
              </a:cxn>
              <a:cxn ang="0">
                <a:pos x="connsiteX50908" y="connsiteY50908"/>
              </a:cxn>
              <a:cxn ang="0">
                <a:pos x="connsiteX50909" y="connsiteY50909"/>
              </a:cxn>
              <a:cxn ang="0">
                <a:pos x="connsiteX50910" y="connsiteY50910"/>
              </a:cxn>
              <a:cxn ang="0">
                <a:pos x="connsiteX50911" y="connsiteY50911"/>
              </a:cxn>
              <a:cxn ang="0">
                <a:pos x="connsiteX50912" y="connsiteY50912"/>
              </a:cxn>
              <a:cxn ang="0">
                <a:pos x="connsiteX50913" y="connsiteY50913"/>
              </a:cxn>
              <a:cxn ang="0">
                <a:pos x="connsiteX50914" y="connsiteY50914"/>
              </a:cxn>
              <a:cxn ang="0">
                <a:pos x="connsiteX50915" y="connsiteY50915"/>
              </a:cxn>
              <a:cxn ang="0">
                <a:pos x="connsiteX50916" y="connsiteY50916"/>
              </a:cxn>
              <a:cxn ang="0">
                <a:pos x="connsiteX50917" y="connsiteY50917"/>
              </a:cxn>
              <a:cxn ang="0">
                <a:pos x="connsiteX50918" y="connsiteY50918"/>
              </a:cxn>
              <a:cxn ang="0">
                <a:pos x="connsiteX50919" y="connsiteY50919"/>
              </a:cxn>
              <a:cxn ang="0">
                <a:pos x="connsiteX50920" y="connsiteY50920"/>
              </a:cxn>
              <a:cxn ang="0">
                <a:pos x="connsiteX50921" y="connsiteY50921"/>
              </a:cxn>
              <a:cxn ang="0">
                <a:pos x="connsiteX50922" y="connsiteY50922"/>
              </a:cxn>
              <a:cxn ang="0">
                <a:pos x="connsiteX50923" y="connsiteY50923"/>
              </a:cxn>
              <a:cxn ang="0">
                <a:pos x="connsiteX50924" y="connsiteY50924"/>
              </a:cxn>
              <a:cxn ang="0">
                <a:pos x="connsiteX50925" y="connsiteY50925"/>
              </a:cxn>
              <a:cxn ang="0">
                <a:pos x="connsiteX50926" y="connsiteY50926"/>
              </a:cxn>
              <a:cxn ang="0">
                <a:pos x="connsiteX50927" y="connsiteY50927"/>
              </a:cxn>
              <a:cxn ang="0">
                <a:pos x="connsiteX50928" y="connsiteY50928"/>
              </a:cxn>
              <a:cxn ang="0">
                <a:pos x="connsiteX50929" y="connsiteY50929"/>
              </a:cxn>
              <a:cxn ang="0">
                <a:pos x="connsiteX50930" y="connsiteY50930"/>
              </a:cxn>
              <a:cxn ang="0">
                <a:pos x="connsiteX50931" y="connsiteY50931"/>
              </a:cxn>
              <a:cxn ang="0">
                <a:pos x="connsiteX50932" y="connsiteY50932"/>
              </a:cxn>
              <a:cxn ang="0">
                <a:pos x="connsiteX50933" y="connsiteY50933"/>
              </a:cxn>
              <a:cxn ang="0">
                <a:pos x="connsiteX50934" y="connsiteY50934"/>
              </a:cxn>
              <a:cxn ang="0">
                <a:pos x="connsiteX50935" y="connsiteY50935"/>
              </a:cxn>
              <a:cxn ang="0">
                <a:pos x="connsiteX50936" y="connsiteY50936"/>
              </a:cxn>
              <a:cxn ang="0">
                <a:pos x="connsiteX50937" y="connsiteY50937"/>
              </a:cxn>
              <a:cxn ang="0">
                <a:pos x="connsiteX50938" y="connsiteY50938"/>
              </a:cxn>
              <a:cxn ang="0">
                <a:pos x="connsiteX50939" y="connsiteY50939"/>
              </a:cxn>
              <a:cxn ang="0">
                <a:pos x="connsiteX50940" y="connsiteY50940"/>
              </a:cxn>
              <a:cxn ang="0">
                <a:pos x="connsiteX50941" y="connsiteY50941"/>
              </a:cxn>
              <a:cxn ang="0">
                <a:pos x="connsiteX50942" y="connsiteY50942"/>
              </a:cxn>
              <a:cxn ang="0">
                <a:pos x="connsiteX50943" y="connsiteY50943"/>
              </a:cxn>
              <a:cxn ang="0">
                <a:pos x="connsiteX50944" y="connsiteY50944"/>
              </a:cxn>
              <a:cxn ang="0">
                <a:pos x="connsiteX50945" y="connsiteY50945"/>
              </a:cxn>
              <a:cxn ang="0">
                <a:pos x="connsiteX50946" y="connsiteY50946"/>
              </a:cxn>
              <a:cxn ang="0">
                <a:pos x="connsiteX50947" y="connsiteY50947"/>
              </a:cxn>
              <a:cxn ang="0">
                <a:pos x="connsiteX50948" y="connsiteY50948"/>
              </a:cxn>
              <a:cxn ang="0">
                <a:pos x="connsiteX50949" y="connsiteY50949"/>
              </a:cxn>
              <a:cxn ang="0">
                <a:pos x="connsiteX50950" y="connsiteY50950"/>
              </a:cxn>
              <a:cxn ang="0">
                <a:pos x="connsiteX50951" y="connsiteY50951"/>
              </a:cxn>
              <a:cxn ang="0">
                <a:pos x="connsiteX50952" y="connsiteY50952"/>
              </a:cxn>
              <a:cxn ang="0">
                <a:pos x="connsiteX50953" y="connsiteY50953"/>
              </a:cxn>
              <a:cxn ang="0">
                <a:pos x="connsiteX50954" y="connsiteY50954"/>
              </a:cxn>
              <a:cxn ang="0">
                <a:pos x="connsiteX50955" y="connsiteY50955"/>
              </a:cxn>
              <a:cxn ang="0">
                <a:pos x="connsiteX50956" y="connsiteY50956"/>
              </a:cxn>
              <a:cxn ang="0">
                <a:pos x="connsiteX50957" y="connsiteY50957"/>
              </a:cxn>
              <a:cxn ang="0">
                <a:pos x="connsiteX50958" y="connsiteY50958"/>
              </a:cxn>
              <a:cxn ang="0">
                <a:pos x="connsiteX50959" y="connsiteY50959"/>
              </a:cxn>
              <a:cxn ang="0">
                <a:pos x="connsiteX50960" y="connsiteY50960"/>
              </a:cxn>
              <a:cxn ang="0">
                <a:pos x="connsiteX50961" y="connsiteY50961"/>
              </a:cxn>
              <a:cxn ang="0">
                <a:pos x="connsiteX50962" y="connsiteY50962"/>
              </a:cxn>
              <a:cxn ang="0">
                <a:pos x="connsiteX50963" y="connsiteY50963"/>
              </a:cxn>
              <a:cxn ang="0">
                <a:pos x="connsiteX50964" y="connsiteY50964"/>
              </a:cxn>
              <a:cxn ang="0">
                <a:pos x="connsiteX50965" y="connsiteY50965"/>
              </a:cxn>
              <a:cxn ang="0">
                <a:pos x="connsiteX50966" y="connsiteY50966"/>
              </a:cxn>
              <a:cxn ang="0">
                <a:pos x="connsiteX50967" y="connsiteY50967"/>
              </a:cxn>
              <a:cxn ang="0">
                <a:pos x="connsiteX50968" y="connsiteY50968"/>
              </a:cxn>
              <a:cxn ang="0">
                <a:pos x="connsiteX50969" y="connsiteY50969"/>
              </a:cxn>
              <a:cxn ang="0">
                <a:pos x="connsiteX50970" y="connsiteY50970"/>
              </a:cxn>
              <a:cxn ang="0">
                <a:pos x="connsiteX50971" y="connsiteY50971"/>
              </a:cxn>
              <a:cxn ang="0">
                <a:pos x="connsiteX50972" y="connsiteY50972"/>
              </a:cxn>
              <a:cxn ang="0">
                <a:pos x="connsiteX50973" y="connsiteY50973"/>
              </a:cxn>
              <a:cxn ang="0">
                <a:pos x="connsiteX50974" y="connsiteY50974"/>
              </a:cxn>
              <a:cxn ang="0">
                <a:pos x="connsiteX50975" y="connsiteY50975"/>
              </a:cxn>
              <a:cxn ang="0">
                <a:pos x="connsiteX50976" y="connsiteY50976"/>
              </a:cxn>
              <a:cxn ang="0">
                <a:pos x="connsiteX50977" y="connsiteY50977"/>
              </a:cxn>
              <a:cxn ang="0">
                <a:pos x="connsiteX50978" y="connsiteY50978"/>
              </a:cxn>
              <a:cxn ang="0">
                <a:pos x="connsiteX50979" y="connsiteY50979"/>
              </a:cxn>
              <a:cxn ang="0">
                <a:pos x="connsiteX50980" y="connsiteY50980"/>
              </a:cxn>
              <a:cxn ang="0">
                <a:pos x="connsiteX50981" y="connsiteY50981"/>
              </a:cxn>
              <a:cxn ang="0">
                <a:pos x="connsiteX50982" y="connsiteY50982"/>
              </a:cxn>
              <a:cxn ang="0">
                <a:pos x="connsiteX50983" y="connsiteY50983"/>
              </a:cxn>
              <a:cxn ang="0">
                <a:pos x="connsiteX50984" y="connsiteY50984"/>
              </a:cxn>
              <a:cxn ang="0">
                <a:pos x="connsiteX50985" y="connsiteY50985"/>
              </a:cxn>
              <a:cxn ang="0">
                <a:pos x="connsiteX50986" y="connsiteY50986"/>
              </a:cxn>
              <a:cxn ang="0">
                <a:pos x="connsiteX50987" y="connsiteY50987"/>
              </a:cxn>
              <a:cxn ang="0">
                <a:pos x="connsiteX50988" y="connsiteY50988"/>
              </a:cxn>
              <a:cxn ang="0">
                <a:pos x="connsiteX50989" y="connsiteY50989"/>
              </a:cxn>
              <a:cxn ang="0">
                <a:pos x="connsiteX50990" y="connsiteY50990"/>
              </a:cxn>
              <a:cxn ang="0">
                <a:pos x="connsiteX50991" y="connsiteY50991"/>
              </a:cxn>
              <a:cxn ang="0">
                <a:pos x="connsiteX50992" y="connsiteY50992"/>
              </a:cxn>
              <a:cxn ang="0">
                <a:pos x="connsiteX50993" y="connsiteY50993"/>
              </a:cxn>
              <a:cxn ang="0">
                <a:pos x="connsiteX50994" y="connsiteY50994"/>
              </a:cxn>
              <a:cxn ang="0">
                <a:pos x="connsiteX50995" y="connsiteY50995"/>
              </a:cxn>
              <a:cxn ang="0">
                <a:pos x="connsiteX50996" y="connsiteY50996"/>
              </a:cxn>
              <a:cxn ang="0">
                <a:pos x="connsiteX50997" y="connsiteY50997"/>
              </a:cxn>
              <a:cxn ang="0">
                <a:pos x="connsiteX50998" y="connsiteY50998"/>
              </a:cxn>
              <a:cxn ang="0">
                <a:pos x="connsiteX50999" y="connsiteY50999"/>
              </a:cxn>
              <a:cxn ang="0">
                <a:pos x="connsiteX51000" y="connsiteY51000"/>
              </a:cxn>
              <a:cxn ang="0">
                <a:pos x="connsiteX51001" y="connsiteY51001"/>
              </a:cxn>
              <a:cxn ang="0">
                <a:pos x="connsiteX51002" y="connsiteY51002"/>
              </a:cxn>
              <a:cxn ang="0">
                <a:pos x="connsiteX51003" y="connsiteY51003"/>
              </a:cxn>
              <a:cxn ang="0">
                <a:pos x="connsiteX51004" y="connsiteY51004"/>
              </a:cxn>
              <a:cxn ang="0">
                <a:pos x="connsiteX51005" y="connsiteY51005"/>
              </a:cxn>
              <a:cxn ang="0">
                <a:pos x="connsiteX51006" y="connsiteY51006"/>
              </a:cxn>
              <a:cxn ang="0">
                <a:pos x="connsiteX51007" y="connsiteY51007"/>
              </a:cxn>
              <a:cxn ang="0">
                <a:pos x="connsiteX51008" y="connsiteY51008"/>
              </a:cxn>
              <a:cxn ang="0">
                <a:pos x="connsiteX51009" y="connsiteY51009"/>
              </a:cxn>
              <a:cxn ang="0">
                <a:pos x="connsiteX51010" y="connsiteY51010"/>
              </a:cxn>
              <a:cxn ang="0">
                <a:pos x="connsiteX51011" y="connsiteY51011"/>
              </a:cxn>
              <a:cxn ang="0">
                <a:pos x="connsiteX51012" y="connsiteY51012"/>
              </a:cxn>
              <a:cxn ang="0">
                <a:pos x="connsiteX51013" y="connsiteY51013"/>
              </a:cxn>
              <a:cxn ang="0">
                <a:pos x="connsiteX51014" y="connsiteY51014"/>
              </a:cxn>
              <a:cxn ang="0">
                <a:pos x="connsiteX51015" y="connsiteY51015"/>
              </a:cxn>
              <a:cxn ang="0">
                <a:pos x="connsiteX51016" y="connsiteY51016"/>
              </a:cxn>
              <a:cxn ang="0">
                <a:pos x="connsiteX51017" y="connsiteY51017"/>
              </a:cxn>
              <a:cxn ang="0">
                <a:pos x="connsiteX51018" y="connsiteY51018"/>
              </a:cxn>
              <a:cxn ang="0">
                <a:pos x="connsiteX51019" y="connsiteY51019"/>
              </a:cxn>
              <a:cxn ang="0">
                <a:pos x="connsiteX51020" y="connsiteY51020"/>
              </a:cxn>
              <a:cxn ang="0">
                <a:pos x="connsiteX51021" y="connsiteY51021"/>
              </a:cxn>
              <a:cxn ang="0">
                <a:pos x="connsiteX51022" y="connsiteY51022"/>
              </a:cxn>
              <a:cxn ang="0">
                <a:pos x="connsiteX51023" y="connsiteY51023"/>
              </a:cxn>
              <a:cxn ang="0">
                <a:pos x="connsiteX51024" y="connsiteY51024"/>
              </a:cxn>
              <a:cxn ang="0">
                <a:pos x="connsiteX51025" y="connsiteY51025"/>
              </a:cxn>
              <a:cxn ang="0">
                <a:pos x="connsiteX51026" y="connsiteY51026"/>
              </a:cxn>
              <a:cxn ang="0">
                <a:pos x="connsiteX51027" y="connsiteY51027"/>
              </a:cxn>
              <a:cxn ang="0">
                <a:pos x="connsiteX51028" y="connsiteY51028"/>
              </a:cxn>
              <a:cxn ang="0">
                <a:pos x="connsiteX51029" y="connsiteY51029"/>
              </a:cxn>
              <a:cxn ang="0">
                <a:pos x="connsiteX51030" y="connsiteY51030"/>
              </a:cxn>
              <a:cxn ang="0">
                <a:pos x="connsiteX51031" y="connsiteY51031"/>
              </a:cxn>
              <a:cxn ang="0">
                <a:pos x="connsiteX51032" y="connsiteY51032"/>
              </a:cxn>
              <a:cxn ang="0">
                <a:pos x="connsiteX51033" y="connsiteY51033"/>
              </a:cxn>
              <a:cxn ang="0">
                <a:pos x="connsiteX51034" y="connsiteY51034"/>
              </a:cxn>
              <a:cxn ang="0">
                <a:pos x="connsiteX51035" y="connsiteY51035"/>
              </a:cxn>
              <a:cxn ang="0">
                <a:pos x="connsiteX51036" y="connsiteY51036"/>
              </a:cxn>
              <a:cxn ang="0">
                <a:pos x="connsiteX51037" y="connsiteY51037"/>
              </a:cxn>
              <a:cxn ang="0">
                <a:pos x="connsiteX51038" y="connsiteY51038"/>
              </a:cxn>
              <a:cxn ang="0">
                <a:pos x="connsiteX51039" y="connsiteY51039"/>
              </a:cxn>
              <a:cxn ang="0">
                <a:pos x="connsiteX51040" y="connsiteY51040"/>
              </a:cxn>
              <a:cxn ang="0">
                <a:pos x="connsiteX51041" y="connsiteY51041"/>
              </a:cxn>
              <a:cxn ang="0">
                <a:pos x="connsiteX51042" y="connsiteY51042"/>
              </a:cxn>
              <a:cxn ang="0">
                <a:pos x="connsiteX51043" y="connsiteY51043"/>
              </a:cxn>
              <a:cxn ang="0">
                <a:pos x="connsiteX51044" y="connsiteY51044"/>
              </a:cxn>
              <a:cxn ang="0">
                <a:pos x="connsiteX51045" y="connsiteY51045"/>
              </a:cxn>
              <a:cxn ang="0">
                <a:pos x="connsiteX51046" y="connsiteY51046"/>
              </a:cxn>
              <a:cxn ang="0">
                <a:pos x="connsiteX51047" y="connsiteY51047"/>
              </a:cxn>
              <a:cxn ang="0">
                <a:pos x="connsiteX51048" y="connsiteY51048"/>
              </a:cxn>
              <a:cxn ang="0">
                <a:pos x="connsiteX51049" y="connsiteY51049"/>
              </a:cxn>
              <a:cxn ang="0">
                <a:pos x="connsiteX51050" y="connsiteY51050"/>
              </a:cxn>
              <a:cxn ang="0">
                <a:pos x="connsiteX51051" y="connsiteY51051"/>
              </a:cxn>
              <a:cxn ang="0">
                <a:pos x="connsiteX51052" y="connsiteY51052"/>
              </a:cxn>
              <a:cxn ang="0">
                <a:pos x="connsiteX51053" y="connsiteY51053"/>
              </a:cxn>
              <a:cxn ang="0">
                <a:pos x="connsiteX51054" y="connsiteY51054"/>
              </a:cxn>
              <a:cxn ang="0">
                <a:pos x="connsiteX51055" y="connsiteY51055"/>
              </a:cxn>
              <a:cxn ang="0">
                <a:pos x="connsiteX51056" y="connsiteY51056"/>
              </a:cxn>
              <a:cxn ang="0">
                <a:pos x="connsiteX51057" y="connsiteY51057"/>
              </a:cxn>
              <a:cxn ang="0">
                <a:pos x="connsiteX51058" y="connsiteY51058"/>
              </a:cxn>
              <a:cxn ang="0">
                <a:pos x="connsiteX51059" y="connsiteY51059"/>
              </a:cxn>
              <a:cxn ang="0">
                <a:pos x="connsiteX51060" y="connsiteY51060"/>
              </a:cxn>
              <a:cxn ang="0">
                <a:pos x="connsiteX51061" y="connsiteY51061"/>
              </a:cxn>
              <a:cxn ang="0">
                <a:pos x="connsiteX51062" y="connsiteY51062"/>
              </a:cxn>
              <a:cxn ang="0">
                <a:pos x="connsiteX51063" y="connsiteY51063"/>
              </a:cxn>
              <a:cxn ang="0">
                <a:pos x="connsiteX51064" y="connsiteY51064"/>
              </a:cxn>
              <a:cxn ang="0">
                <a:pos x="connsiteX51065" y="connsiteY51065"/>
              </a:cxn>
              <a:cxn ang="0">
                <a:pos x="connsiteX51066" y="connsiteY51066"/>
              </a:cxn>
              <a:cxn ang="0">
                <a:pos x="connsiteX51067" y="connsiteY51067"/>
              </a:cxn>
              <a:cxn ang="0">
                <a:pos x="connsiteX51068" y="connsiteY51068"/>
              </a:cxn>
              <a:cxn ang="0">
                <a:pos x="connsiteX51069" y="connsiteY51069"/>
              </a:cxn>
              <a:cxn ang="0">
                <a:pos x="connsiteX51070" y="connsiteY51070"/>
              </a:cxn>
              <a:cxn ang="0">
                <a:pos x="connsiteX51071" y="connsiteY51071"/>
              </a:cxn>
              <a:cxn ang="0">
                <a:pos x="connsiteX51072" y="connsiteY51072"/>
              </a:cxn>
              <a:cxn ang="0">
                <a:pos x="connsiteX51073" y="connsiteY51073"/>
              </a:cxn>
              <a:cxn ang="0">
                <a:pos x="connsiteX51074" y="connsiteY51074"/>
              </a:cxn>
              <a:cxn ang="0">
                <a:pos x="connsiteX51075" y="connsiteY51075"/>
              </a:cxn>
              <a:cxn ang="0">
                <a:pos x="connsiteX51076" y="connsiteY51076"/>
              </a:cxn>
              <a:cxn ang="0">
                <a:pos x="connsiteX51077" y="connsiteY51077"/>
              </a:cxn>
              <a:cxn ang="0">
                <a:pos x="connsiteX51078" y="connsiteY51078"/>
              </a:cxn>
              <a:cxn ang="0">
                <a:pos x="connsiteX51079" y="connsiteY51079"/>
              </a:cxn>
              <a:cxn ang="0">
                <a:pos x="connsiteX51080" y="connsiteY51080"/>
              </a:cxn>
              <a:cxn ang="0">
                <a:pos x="connsiteX51081" y="connsiteY51081"/>
              </a:cxn>
              <a:cxn ang="0">
                <a:pos x="connsiteX51082" y="connsiteY51082"/>
              </a:cxn>
              <a:cxn ang="0">
                <a:pos x="connsiteX51083" y="connsiteY51083"/>
              </a:cxn>
              <a:cxn ang="0">
                <a:pos x="connsiteX51084" y="connsiteY51084"/>
              </a:cxn>
              <a:cxn ang="0">
                <a:pos x="connsiteX51085" y="connsiteY51085"/>
              </a:cxn>
              <a:cxn ang="0">
                <a:pos x="connsiteX51086" y="connsiteY51086"/>
              </a:cxn>
              <a:cxn ang="0">
                <a:pos x="connsiteX51087" y="connsiteY51087"/>
              </a:cxn>
              <a:cxn ang="0">
                <a:pos x="connsiteX51088" y="connsiteY51088"/>
              </a:cxn>
              <a:cxn ang="0">
                <a:pos x="connsiteX51089" y="connsiteY51089"/>
              </a:cxn>
              <a:cxn ang="0">
                <a:pos x="connsiteX51090" y="connsiteY51090"/>
              </a:cxn>
              <a:cxn ang="0">
                <a:pos x="connsiteX51091" y="connsiteY51091"/>
              </a:cxn>
              <a:cxn ang="0">
                <a:pos x="connsiteX51092" y="connsiteY51092"/>
              </a:cxn>
              <a:cxn ang="0">
                <a:pos x="connsiteX51093" y="connsiteY51093"/>
              </a:cxn>
              <a:cxn ang="0">
                <a:pos x="connsiteX51094" y="connsiteY51094"/>
              </a:cxn>
              <a:cxn ang="0">
                <a:pos x="connsiteX51095" y="connsiteY51095"/>
              </a:cxn>
              <a:cxn ang="0">
                <a:pos x="connsiteX51096" y="connsiteY51096"/>
              </a:cxn>
              <a:cxn ang="0">
                <a:pos x="connsiteX51097" y="connsiteY51097"/>
              </a:cxn>
              <a:cxn ang="0">
                <a:pos x="connsiteX51098" y="connsiteY51098"/>
              </a:cxn>
              <a:cxn ang="0">
                <a:pos x="connsiteX51099" y="connsiteY51099"/>
              </a:cxn>
              <a:cxn ang="0">
                <a:pos x="connsiteX51100" y="connsiteY51100"/>
              </a:cxn>
              <a:cxn ang="0">
                <a:pos x="connsiteX51101" y="connsiteY51101"/>
              </a:cxn>
              <a:cxn ang="0">
                <a:pos x="connsiteX51102" y="connsiteY51102"/>
              </a:cxn>
              <a:cxn ang="0">
                <a:pos x="connsiteX51103" y="connsiteY51103"/>
              </a:cxn>
              <a:cxn ang="0">
                <a:pos x="connsiteX51104" y="connsiteY51104"/>
              </a:cxn>
              <a:cxn ang="0">
                <a:pos x="connsiteX51105" y="connsiteY51105"/>
              </a:cxn>
              <a:cxn ang="0">
                <a:pos x="connsiteX51106" y="connsiteY51106"/>
              </a:cxn>
              <a:cxn ang="0">
                <a:pos x="connsiteX51107" y="connsiteY51107"/>
              </a:cxn>
              <a:cxn ang="0">
                <a:pos x="connsiteX51108" y="connsiteY51108"/>
              </a:cxn>
              <a:cxn ang="0">
                <a:pos x="connsiteX51109" y="connsiteY51109"/>
              </a:cxn>
              <a:cxn ang="0">
                <a:pos x="connsiteX51110" y="connsiteY51110"/>
              </a:cxn>
              <a:cxn ang="0">
                <a:pos x="connsiteX51111" y="connsiteY51111"/>
              </a:cxn>
              <a:cxn ang="0">
                <a:pos x="connsiteX51112" y="connsiteY51112"/>
              </a:cxn>
              <a:cxn ang="0">
                <a:pos x="connsiteX51113" y="connsiteY51113"/>
              </a:cxn>
              <a:cxn ang="0">
                <a:pos x="connsiteX51114" y="connsiteY51114"/>
              </a:cxn>
              <a:cxn ang="0">
                <a:pos x="connsiteX51115" y="connsiteY51115"/>
              </a:cxn>
              <a:cxn ang="0">
                <a:pos x="connsiteX51116" y="connsiteY51116"/>
              </a:cxn>
              <a:cxn ang="0">
                <a:pos x="connsiteX51117" y="connsiteY51117"/>
              </a:cxn>
              <a:cxn ang="0">
                <a:pos x="connsiteX51118" y="connsiteY51118"/>
              </a:cxn>
              <a:cxn ang="0">
                <a:pos x="connsiteX51119" y="connsiteY51119"/>
              </a:cxn>
              <a:cxn ang="0">
                <a:pos x="connsiteX51120" y="connsiteY51120"/>
              </a:cxn>
              <a:cxn ang="0">
                <a:pos x="connsiteX51121" y="connsiteY51121"/>
              </a:cxn>
              <a:cxn ang="0">
                <a:pos x="connsiteX51122" y="connsiteY51122"/>
              </a:cxn>
              <a:cxn ang="0">
                <a:pos x="connsiteX51123" y="connsiteY51123"/>
              </a:cxn>
              <a:cxn ang="0">
                <a:pos x="connsiteX51124" y="connsiteY51124"/>
              </a:cxn>
              <a:cxn ang="0">
                <a:pos x="connsiteX51125" y="connsiteY51125"/>
              </a:cxn>
              <a:cxn ang="0">
                <a:pos x="connsiteX51126" y="connsiteY51126"/>
              </a:cxn>
              <a:cxn ang="0">
                <a:pos x="connsiteX51127" y="connsiteY51127"/>
              </a:cxn>
              <a:cxn ang="0">
                <a:pos x="connsiteX51128" y="connsiteY51128"/>
              </a:cxn>
              <a:cxn ang="0">
                <a:pos x="connsiteX51129" y="connsiteY51129"/>
              </a:cxn>
              <a:cxn ang="0">
                <a:pos x="connsiteX51130" y="connsiteY51130"/>
              </a:cxn>
              <a:cxn ang="0">
                <a:pos x="connsiteX51131" y="connsiteY51131"/>
              </a:cxn>
              <a:cxn ang="0">
                <a:pos x="connsiteX51132" y="connsiteY51132"/>
              </a:cxn>
              <a:cxn ang="0">
                <a:pos x="connsiteX51133" y="connsiteY51133"/>
              </a:cxn>
              <a:cxn ang="0">
                <a:pos x="connsiteX51134" y="connsiteY51134"/>
              </a:cxn>
              <a:cxn ang="0">
                <a:pos x="connsiteX51135" y="connsiteY51135"/>
              </a:cxn>
              <a:cxn ang="0">
                <a:pos x="connsiteX51136" y="connsiteY51136"/>
              </a:cxn>
              <a:cxn ang="0">
                <a:pos x="connsiteX51137" y="connsiteY51137"/>
              </a:cxn>
              <a:cxn ang="0">
                <a:pos x="connsiteX51138" y="connsiteY51138"/>
              </a:cxn>
              <a:cxn ang="0">
                <a:pos x="connsiteX51139" y="connsiteY51139"/>
              </a:cxn>
              <a:cxn ang="0">
                <a:pos x="connsiteX51140" y="connsiteY51140"/>
              </a:cxn>
              <a:cxn ang="0">
                <a:pos x="connsiteX51141" y="connsiteY51141"/>
              </a:cxn>
              <a:cxn ang="0">
                <a:pos x="connsiteX51142" y="connsiteY51142"/>
              </a:cxn>
              <a:cxn ang="0">
                <a:pos x="connsiteX51143" y="connsiteY51143"/>
              </a:cxn>
              <a:cxn ang="0">
                <a:pos x="connsiteX51144" y="connsiteY51144"/>
              </a:cxn>
              <a:cxn ang="0">
                <a:pos x="connsiteX51145" y="connsiteY51145"/>
              </a:cxn>
              <a:cxn ang="0">
                <a:pos x="connsiteX51146" y="connsiteY51146"/>
              </a:cxn>
              <a:cxn ang="0">
                <a:pos x="connsiteX51147" y="connsiteY51147"/>
              </a:cxn>
              <a:cxn ang="0">
                <a:pos x="connsiteX51148" y="connsiteY51148"/>
              </a:cxn>
              <a:cxn ang="0">
                <a:pos x="connsiteX51149" y="connsiteY51149"/>
              </a:cxn>
              <a:cxn ang="0">
                <a:pos x="connsiteX51150" y="connsiteY51150"/>
              </a:cxn>
              <a:cxn ang="0">
                <a:pos x="connsiteX51151" y="connsiteY51151"/>
              </a:cxn>
              <a:cxn ang="0">
                <a:pos x="connsiteX51152" y="connsiteY51152"/>
              </a:cxn>
              <a:cxn ang="0">
                <a:pos x="connsiteX51153" y="connsiteY51153"/>
              </a:cxn>
              <a:cxn ang="0">
                <a:pos x="connsiteX51154" y="connsiteY51154"/>
              </a:cxn>
              <a:cxn ang="0">
                <a:pos x="connsiteX51155" y="connsiteY51155"/>
              </a:cxn>
              <a:cxn ang="0">
                <a:pos x="connsiteX51156" y="connsiteY51156"/>
              </a:cxn>
              <a:cxn ang="0">
                <a:pos x="connsiteX51157" y="connsiteY51157"/>
              </a:cxn>
              <a:cxn ang="0">
                <a:pos x="connsiteX51158" y="connsiteY51158"/>
              </a:cxn>
              <a:cxn ang="0">
                <a:pos x="connsiteX51159" y="connsiteY51159"/>
              </a:cxn>
              <a:cxn ang="0">
                <a:pos x="connsiteX51160" y="connsiteY51160"/>
              </a:cxn>
              <a:cxn ang="0">
                <a:pos x="connsiteX51161" y="connsiteY51161"/>
              </a:cxn>
              <a:cxn ang="0">
                <a:pos x="connsiteX51162" y="connsiteY51162"/>
              </a:cxn>
              <a:cxn ang="0">
                <a:pos x="connsiteX51163" y="connsiteY51163"/>
              </a:cxn>
              <a:cxn ang="0">
                <a:pos x="connsiteX51164" y="connsiteY51164"/>
              </a:cxn>
              <a:cxn ang="0">
                <a:pos x="connsiteX51165" y="connsiteY51165"/>
              </a:cxn>
              <a:cxn ang="0">
                <a:pos x="connsiteX51166" y="connsiteY51166"/>
              </a:cxn>
              <a:cxn ang="0">
                <a:pos x="connsiteX51167" y="connsiteY51167"/>
              </a:cxn>
              <a:cxn ang="0">
                <a:pos x="connsiteX51168" y="connsiteY51168"/>
              </a:cxn>
              <a:cxn ang="0">
                <a:pos x="connsiteX51169" y="connsiteY51169"/>
              </a:cxn>
              <a:cxn ang="0">
                <a:pos x="connsiteX51170" y="connsiteY51170"/>
              </a:cxn>
              <a:cxn ang="0">
                <a:pos x="connsiteX51171" y="connsiteY51171"/>
              </a:cxn>
              <a:cxn ang="0">
                <a:pos x="connsiteX51172" y="connsiteY51172"/>
              </a:cxn>
              <a:cxn ang="0">
                <a:pos x="connsiteX51173" y="connsiteY51173"/>
              </a:cxn>
              <a:cxn ang="0">
                <a:pos x="connsiteX51174" y="connsiteY51174"/>
              </a:cxn>
              <a:cxn ang="0">
                <a:pos x="connsiteX51175" y="connsiteY51175"/>
              </a:cxn>
              <a:cxn ang="0">
                <a:pos x="connsiteX51176" y="connsiteY51176"/>
              </a:cxn>
              <a:cxn ang="0">
                <a:pos x="connsiteX51177" y="connsiteY51177"/>
              </a:cxn>
              <a:cxn ang="0">
                <a:pos x="connsiteX51178" y="connsiteY51178"/>
              </a:cxn>
              <a:cxn ang="0">
                <a:pos x="connsiteX51179" y="connsiteY51179"/>
              </a:cxn>
              <a:cxn ang="0">
                <a:pos x="connsiteX51180" y="connsiteY51180"/>
              </a:cxn>
              <a:cxn ang="0">
                <a:pos x="connsiteX51181" y="connsiteY51181"/>
              </a:cxn>
              <a:cxn ang="0">
                <a:pos x="connsiteX51182" y="connsiteY51182"/>
              </a:cxn>
              <a:cxn ang="0">
                <a:pos x="connsiteX51183" y="connsiteY51183"/>
              </a:cxn>
              <a:cxn ang="0">
                <a:pos x="connsiteX51184" y="connsiteY51184"/>
              </a:cxn>
              <a:cxn ang="0">
                <a:pos x="connsiteX51185" y="connsiteY51185"/>
              </a:cxn>
              <a:cxn ang="0">
                <a:pos x="connsiteX51186" y="connsiteY51186"/>
              </a:cxn>
              <a:cxn ang="0">
                <a:pos x="connsiteX51187" y="connsiteY51187"/>
              </a:cxn>
              <a:cxn ang="0">
                <a:pos x="connsiteX51188" y="connsiteY51188"/>
              </a:cxn>
              <a:cxn ang="0">
                <a:pos x="connsiteX51189" y="connsiteY51189"/>
              </a:cxn>
              <a:cxn ang="0">
                <a:pos x="connsiteX51190" y="connsiteY51190"/>
              </a:cxn>
              <a:cxn ang="0">
                <a:pos x="connsiteX51191" y="connsiteY51191"/>
              </a:cxn>
              <a:cxn ang="0">
                <a:pos x="connsiteX51192" y="connsiteY51192"/>
              </a:cxn>
              <a:cxn ang="0">
                <a:pos x="connsiteX51193" y="connsiteY51193"/>
              </a:cxn>
              <a:cxn ang="0">
                <a:pos x="connsiteX51194" y="connsiteY51194"/>
              </a:cxn>
              <a:cxn ang="0">
                <a:pos x="connsiteX51195" y="connsiteY51195"/>
              </a:cxn>
              <a:cxn ang="0">
                <a:pos x="connsiteX51196" y="connsiteY51196"/>
              </a:cxn>
              <a:cxn ang="0">
                <a:pos x="connsiteX51197" y="connsiteY51197"/>
              </a:cxn>
              <a:cxn ang="0">
                <a:pos x="connsiteX51198" y="connsiteY51198"/>
              </a:cxn>
              <a:cxn ang="0">
                <a:pos x="connsiteX51199" y="connsiteY51199"/>
              </a:cxn>
              <a:cxn ang="0">
                <a:pos x="connsiteX51200" y="connsiteY51200"/>
              </a:cxn>
              <a:cxn ang="0">
                <a:pos x="connsiteX51201" y="connsiteY51201"/>
              </a:cxn>
              <a:cxn ang="0">
                <a:pos x="connsiteX51202" y="connsiteY51202"/>
              </a:cxn>
              <a:cxn ang="0">
                <a:pos x="connsiteX51203" y="connsiteY51203"/>
              </a:cxn>
              <a:cxn ang="0">
                <a:pos x="connsiteX51204" y="connsiteY51204"/>
              </a:cxn>
              <a:cxn ang="0">
                <a:pos x="connsiteX51205" y="connsiteY51205"/>
              </a:cxn>
              <a:cxn ang="0">
                <a:pos x="connsiteX51206" y="connsiteY51206"/>
              </a:cxn>
              <a:cxn ang="0">
                <a:pos x="connsiteX51207" y="connsiteY51207"/>
              </a:cxn>
              <a:cxn ang="0">
                <a:pos x="connsiteX51208" y="connsiteY51208"/>
              </a:cxn>
              <a:cxn ang="0">
                <a:pos x="connsiteX51209" y="connsiteY51209"/>
              </a:cxn>
              <a:cxn ang="0">
                <a:pos x="connsiteX51210" y="connsiteY51210"/>
              </a:cxn>
              <a:cxn ang="0">
                <a:pos x="connsiteX51211" y="connsiteY51211"/>
              </a:cxn>
              <a:cxn ang="0">
                <a:pos x="connsiteX51212" y="connsiteY51212"/>
              </a:cxn>
              <a:cxn ang="0">
                <a:pos x="connsiteX51213" y="connsiteY51213"/>
              </a:cxn>
              <a:cxn ang="0">
                <a:pos x="connsiteX51214" y="connsiteY51214"/>
              </a:cxn>
              <a:cxn ang="0">
                <a:pos x="connsiteX51215" y="connsiteY51215"/>
              </a:cxn>
              <a:cxn ang="0">
                <a:pos x="connsiteX51216" y="connsiteY51216"/>
              </a:cxn>
              <a:cxn ang="0">
                <a:pos x="connsiteX51217" y="connsiteY51217"/>
              </a:cxn>
              <a:cxn ang="0">
                <a:pos x="connsiteX51218" y="connsiteY51218"/>
              </a:cxn>
              <a:cxn ang="0">
                <a:pos x="connsiteX51219" y="connsiteY51219"/>
              </a:cxn>
              <a:cxn ang="0">
                <a:pos x="connsiteX51220" y="connsiteY51220"/>
              </a:cxn>
              <a:cxn ang="0">
                <a:pos x="connsiteX51221" y="connsiteY51221"/>
              </a:cxn>
              <a:cxn ang="0">
                <a:pos x="connsiteX51222" y="connsiteY51222"/>
              </a:cxn>
              <a:cxn ang="0">
                <a:pos x="connsiteX51223" y="connsiteY51223"/>
              </a:cxn>
              <a:cxn ang="0">
                <a:pos x="connsiteX51224" y="connsiteY51224"/>
              </a:cxn>
              <a:cxn ang="0">
                <a:pos x="connsiteX51225" y="connsiteY51225"/>
              </a:cxn>
              <a:cxn ang="0">
                <a:pos x="connsiteX51226" y="connsiteY51226"/>
              </a:cxn>
              <a:cxn ang="0">
                <a:pos x="connsiteX51227" y="connsiteY51227"/>
              </a:cxn>
              <a:cxn ang="0">
                <a:pos x="connsiteX51228" y="connsiteY51228"/>
              </a:cxn>
              <a:cxn ang="0">
                <a:pos x="connsiteX51229" y="connsiteY51229"/>
              </a:cxn>
              <a:cxn ang="0">
                <a:pos x="connsiteX51230" y="connsiteY51230"/>
              </a:cxn>
              <a:cxn ang="0">
                <a:pos x="connsiteX51231" y="connsiteY51231"/>
              </a:cxn>
              <a:cxn ang="0">
                <a:pos x="connsiteX51232" y="connsiteY51232"/>
              </a:cxn>
              <a:cxn ang="0">
                <a:pos x="connsiteX51233" y="connsiteY51233"/>
              </a:cxn>
              <a:cxn ang="0">
                <a:pos x="connsiteX51234" y="connsiteY51234"/>
              </a:cxn>
              <a:cxn ang="0">
                <a:pos x="connsiteX51235" y="connsiteY51235"/>
              </a:cxn>
              <a:cxn ang="0">
                <a:pos x="connsiteX51236" y="connsiteY51236"/>
              </a:cxn>
              <a:cxn ang="0">
                <a:pos x="connsiteX51237" y="connsiteY51237"/>
              </a:cxn>
              <a:cxn ang="0">
                <a:pos x="connsiteX51238" y="connsiteY51238"/>
              </a:cxn>
              <a:cxn ang="0">
                <a:pos x="connsiteX51239" y="connsiteY51239"/>
              </a:cxn>
              <a:cxn ang="0">
                <a:pos x="connsiteX51240" y="connsiteY51240"/>
              </a:cxn>
              <a:cxn ang="0">
                <a:pos x="connsiteX51241" y="connsiteY51241"/>
              </a:cxn>
              <a:cxn ang="0">
                <a:pos x="connsiteX51242" y="connsiteY51242"/>
              </a:cxn>
              <a:cxn ang="0">
                <a:pos x="connsiteX51243" y="connsiteY51243"/>
              </a:cxn>
              <a:cxn ang="0">
                <a:pos x="connsiteX51244" y="connsiteY51244"/>
              </a:cxn>
              <a:cxn ang="0">
                <a:pos x="connsiteX51245" y="connsiteY51245"/>
              </a:cxn>
              <a:cxn ang="0">
                <a:pos x="connsiteX51246" y="connsiteY51246"/>
              </a:cxn>
              <a:cxn ang="0">
                <a:pos x="connsiteX51247" y="connsiteY51247"/>
              </a:cxn>
              <a:cxn ang="0">
                <a:pos x="connsiteX51248" y="connsiteY51248"/>
              </a:cxn>
              <a:cxn ang="0">
                <a:pos x="connsiteX51249" y="connsiteY51249"/>
              </a:cxn>
              <a:cxn ang="0">
                <a:pos x="connsiteX51250" y="connsiteY51250"/>
              </a:cxn>
              <a:cxn ang="0">
                <a:pos x="connsiteX51251" y="connsiteY51251"/>
              </a:cxn>
              <a:cxn ang="0">
                <a:pos x="connsiteX51252" y="connsiteY51252"/>
              </a:cxn>
              <a:cxn ang="0">
                <a:pos x="connsiteX51253" y="connsiteY51253"/>
              </a:cxn>
              <a:cxn ang="0">
                <a:pos x="connsiteX51254" y="connsiteY51254"/>
              </a:cxn>
              <a:cxn ang="0">
                <a:pos x="connsiteX51255" y="connsiteY51255"/>
              </a:cxn>
              <a:cxn ang="0">
                <a:pos x="connsiteX51256" y="connsiteY51256"/>
              </a:cxn>
              <a:cxn ang="0">
                <a:pos x="connsiteX51257" y="connsiteY51257"/>
              </a:cxn>
              <a:cxn ang="0">
                <a:pos x="connsiteX51258" y="connsiteY51258"/>
              </a:cxn>
              <a:cxn ang="0">
                <a:pos x="connsiteX51259" y="connsiteY51259"/>
              </a:cxn>
              <a:cxn ang="0">
                <a:pos x="connsiteX51260" y="connsiteY51260"/>
              </a:cxn>
              <a:cxn ang="0">
                <a:pos x="connsiteX51261" y="connsiteY51261"/>
              </a:cxn>
              <a:cxn ang="0">
                <a:pos x="connsiteX51262" y="connsiteY51262"/>
              </a:cxn>
              <a:cxn ang="0">
                <a:pos x="connsiteX51263" y="connsiteY51263"/>
              </a:cxn>
              <a:cxn ang="0">
                <a:pos x="connsiteX51264" y="connsiteY51264"/>
              </a:cxn>
              <a:cxn ang="0">
                <a:pos x="connsiteX51265" y="connsiteY51265"/>
              </a:cxn>
              <a:cxn ang="0">
                <a:pos x="connsiteX51266" y="connsiteY51266"/>
              </a:cxn>
              <a:cxn ang="0">
                <a:pos x="connsiteX51267" y="connsiteY51267"/>
              </a:cxn>
              <a:cxn ang="0">
                <a:pos x="connsiteX51268" y="connsiteY51268"/>
              </a:cxn>
              <a:cxn ang="0">
                <a:pos x="connsiteX51269" y="connsiteY51269"/>
              </a:cxn>
              <a:cxn ang="0">
                <a:pos x="connsiteX51270" y="connsiteY51270"/>
              </a:cxn>
              <a:cxn ang="0">
                <a:pos x="connsiteX51271" y="connsiteY51271"/>
              </a:cxn>
              <a:cxn ang="0">
                <a:pos x="connsiteX51272" y="connsiteY51272"/>
              </a:cxn>
              <a:cxn ang="0">
                <a:pos x="connsiteX51273" y="connsiteY51273"/>
              </a:cxn>
              <a:cxn ang="0">
                <a:pos x="connsiteX51274" y="connsiteY51274"/>
              </a:cxn>
              <a:cxn ang="0">
                <a:pos x="connsiteX51275" y="connsiteY51275"/>
              </a:cxn>
              <a:cxn ang="0">
                <a:pos x="connsiteX51276" y="connsiteY51276"/>
              </a:cxn>
              <a:cxn ang="0">
                <a:pos x="connsiteX51277" y="connsiteY51277"/>
              </a:cxn>
              <a:cxn ang="0">
                <a:pos x="connsiteX51278" y="connsiteY51278"/>
              </a:cxn>
              <a:cxn ang="0">
                <a:pos x="connsiteX51279" y="connsiteY51279"/>
              </a:cxn>
              <a:cxn ang="0">
                <a:pos x="connsiteX51280" y="connsiteY51280"/>
              </a:cxn>
              <a:cxn ang="0">
                <a:pos x="connsiteX51281" y="connsiteY51281"/>
              </a:cxn>
              <a:cxn ang="0">
                <a:pos x="connsiteX51282" y="connsiteY51282"/>
              </a:cxn>
              <a:cxn ang="0">
                <a:pos x="connsiteX51283" y="connsiteY51283"/>
              </a:cxn>
              <a:cxn ang="0">
                <a:pos x="connsiteX51284" y="connsiteY51284"/>
              </a:cxn>
              <a:cxn ang="0">
                <a:pos x="connsiteX51285" y="connsiteY51285"/>
              </a:cxn>
              <a:cxn ang="0">
                <a:pos x="connsiteX51286" y="connsiteY51286"/>
              </a:cxn>
              <a:cxn ang="0">
                <a:pos x="connsiteX51287" y="connsiteY51287"/>
              </a:cxn>
              <a:cxn ang="0">
                <a:pos x="connsiteX51288" y="connsiteY51288"/>
              </a:cxn>
              <a:cxn ang="0">
                <a:pos x="connsiteX51289" y="connsiteY51289"/>
              </a:cxn>
              <a:cxn ang="0">
                <a:pos x="connsiteX51290" y="connsiteY51290"/>
              </a:cxn>
              <a:cxn ang="0">
                <a:pos x="connsiteX51291" y="connsiteY51291"/>
              </a:cxn>
              <a:cxn ang="0">
                <a:pos x="connsiteX51292" y="connsiteY51292"/>
              </a:cxn>
              <a:cxn ang="0">
                <a:pos x="connsiteX51293" y="connsiteY51293"/>
              </a:cxn>
              <a:cxn ang="0">
                <a:pos x="connsiteX51294" y="connsiteY51294"/>
              </a:cxn>
              <a:cxn ang="0">
                <a:pos x="connsiteX51295" y="connsiteY51295"/>
              </a:cxn>
              <a:cxn ang="0">
                <a:pos x="connsiteX51296" y="connsiteY51296"/>
              </a:cxn>
              <a:cxn ang="0">
                <a:pos x="connsiteX51297" y="connsiteY51297"/>
              </a:cxn>
              <a:cxn ang="0">
                <a:pos x="connsiteX51298" y="connsiteY51298"/>
              </a:cxn>
              <a:cxn ang="0">
                <a:pos x="connsiteX51299" y="connsiteY51299"/>
              </a:cxn>
              <a:cxn ang="0">
                <a:pos x="connsiteX51300" y="connsiteY51300"/>
              </a:cxn>
              <a:cxn ang="0">
                <a:pos x="connsiteX51301" y="connsiteY51301"/>
              </a:cxn>
              <a:cxn ang="0">
                <a:pos x="connsiteX51302" y="connsiteY51302"/>
              </a:cxn>
              <a:cxn ang="0">
                <a:pos x="connsiteX51303" y="connsiteY51303"/>
              </a:cxn>
              <a:cxn ang="0">
                <a:pos x="connsiteX51304" y="connsiteY51304"/>
              </a:cxn>
              <a:cxn ang="0">
                <a:pos x="connsiteX51305" y="connsiteY51305"/>
              </a:cxn>
              <a:cxn ang="0">
                <a:pos x="connsiteX51306" y="connsiteY51306"/>
              </a:cxn>
              <a:cxn ang="0">
                <a:pos x="connsiteX51307" y="connsiteY51307"/>
              </a:cxn>
              <a:cxn ang="0">
                <a:pos x="connsiteX51308" y="connsiteY51308"/>
              </a:cxn>
              <a:cxn ang="0">
                <a:pos x="connsiteX51309" y="connsiteY51309"/>
              </a:cxn>
              <a:cxn ang="0">
                <a:pos x="connsiteX51310" y="connsiteY51310"/>
              </a:cxn>
              <a:cxn ang="0">
                <a:pos x="connsiteX51311" y="connsiteY51311"/>
              </a:cxn>
              <a:cxn ang="0">
                <a:pos x="connsiteX51312" y="connsiteY51312"/>
              </a:cxn>
              <a:cxn ang="0">
                <a:pos x="connsiteX51313" y="connsiteY51313"/>
              </a:cxn>
              <a:cxn ang="0">
                <a:pos x="connsiteX51314" y="connsiteY51314"/>
              </a:cxn>
              <a:cxn ang="0">
                <a:pos x="connsiteX51315" y="connsiteY51315"/>
              </a:cxn>
              <a:cxn ang="0">
                <a:pos x="connsiteX51316" y="connsiteY51316"/>
              </a:cxn>
              <a:cxn ang="0">
                <a:pos x="connsiteX51317" y="connsiteY51317"/>
              </a:cxn>
              <a:cxn ang="0">
                <a:pos x="connsiteX51318" y="connsiteY51318"/>
              </a:cxn>
              <a:cxn ang="0">
                <a:pos x="connsiteX51319" y="connsiteY51319"/>
              </a:cxn>
              <a:cxn ang="0">
                <a:pos x="connsiteX51320" y="connsiteY51320"/>
              </a:cxn>
              <a:cxn ang="0">
                <a:pos x="connsiteX51321" y="connsiteY51321"/>
              </a:cxn>
              <a:cxn ang="0">
                <a:pos x="connsiteX51322" y="connsiteY51322"/>
              </a:cxn>
              <a:cxn ang="0">
                <a:pos x="connsiteX51323" y="connsiteY51323"/>
              </a:cxn>
              <a:cxn ang="0">
                <a:pos x="connsiteX51324" y="connsiteY51324"/>
              </a:cxn>
              <a:cxn ang="0">
                <a:pos x="connsiteX51325" y="connsiteY51325"/>
              </a:cxn>
              <a:cxn ang="0">
                <a:pos x="connsiteX51326" y="connsiteY51326"/>
              </a:cxn>
              <a:cxn ang="0">
                <a:pos x="connsiteX51327" y="connsiteY51327"/>
              </a:cxn>
              <a:cxn ang="0">
                <a:pos x="connsiteX51328" y="connsiteY51328"/>
              </a:cxn>
              <a:cxn ang="0">
                <a:pos x="connsiteX51329" y="connsiteY51329"/>
              </a:cxn>
              <a:cxn ang="0">
                <a:pos x="connsiteX51330" y="connsiteY51330"/>
              </a:cxn>
              <a:cxn ang="0">
                <a:pos x="connsiteX51331" y="connsiteY51331"/>
              </a:cxn>
              <a:cxn ang="0">
                <a:pos x="connsiteX51332" y="connsiteY51332"/>
              </a:cxn>
              <a:cxn ang="0">
                <a:pos x="connsiteX51333" y="connsiteY51333"/>
              </a:cxn>
              <a:cxn ang="0">
                <a:pos x="connsiteX51334" y="connsiteY51334"/>
              </a:cxn>
              <a:cxn ang="0">
                <a:pos x="connsiteX51335" y="connsiteY51335"/>
              </a:cxn>
              <a:cxn ang="0">
                <a:pos x="connsiteX51336" y="connsiteY51336"/>
              </a:cxn>
              <a:cxn ang="0">
                <a:pos x="connsiteX51337" y="connsiteY51337"/>
              </a:cxn>
              <a:cxn ang="0">
                <a:pos x="connsiteX51338" y="connsiteY51338"/>
              </a:cxn>
              <a:cxn ang="0">
                <a:pos x="connsiteX51339" y="connsiteY51339"/>
              </a:cxn>
              <a:cxn ang="0">
                <a:pos x="connsiteX51340" y="connsiteY51340"/>
              </a:cxn>
              <a:cxn ang="0">
                <a:pos x="connsiteX51341" y="connsiteY51341"/>
              </a:cxn>
              <a:cxn ang="0">
                <a:pos x="connsiteX51342" y="connsiteY51342"/>
              </a:cxn>
              <a:cxn ang="0">
                <a:pos x="connsiteX51343" y="connsiteY51343"/>
              </a:cxn>
              <a:cxn ang="0">
                <a:pos x="connsiteX51344" y="connsiteY51344"/>
              </a:cxn>
              <a:cxn ang="0">
                <a:pos x="connsiteX51345" y="connsiteY51345"/>
              </a:cxn>
              <a:cxn ang="0">
                <a:pos x="connsiteX51346" y="connsiteY51346"/>
              </a:cxn>
              <a:cxn ang="0">
                <a:pos x="connsiteX51347" y="connsiteY51347"/>
              </a:cxn>
              <a:cxn ang="0">
                <a:pos x="connsiteX51348" y="connsiteY51348"/>
              </a:cxn>
              <a:cxn ang="0">
                <a:pos x="connsiteX51349" y="connsiteY51349"/>
              </a:cxn>
              <a:cxn ang="0">
                <a:pos x="connsiteX51350" y="connsiteY51350"/>
              </a:cxn>
              <a:cxn ang="0">
                <a:pos x="connsiteX51351" y="connsiteY51351"/>
              </a:cxn>
              <a:cxn ang="0">
                <a:pos x="connsiteX51352" y="connsiteY51352"/>
              </a:cxn>
              <a:cxn ang="0">
                <a:pos x="connsiteX51353" y="connsiteY51353"/>
              </a:cxn>
              <a:cxn ang="0">
                <a:pos x="connsiteX51354" y="connsiteY51354"/>
              </a:cxn>
              <a:cxn ang="0">
                <a:pos x="connsiteX51355" y="connsiteY51355"/>
              </a:cxn>
              <a:cxn ang="0">
                <a:pos x="connsiteX51356" y="connsiteY51356"/>
              </a:cxn>
              <a:cxn ang="0">
                <a:pos x="connsiteX51357" y="connsiteY51357"/>
              </a:cxn>
              <a:cxn ang="0">
                <a:pos x="connsiteX51358" y="connsiteY51358"/>
              </a:cxn>
              <a:cxn ang="0">
                <a:pos x="connsiteX51359" y="connsiteY51359"/>
              </a:cxn>
              <a:cxn ang="0">
                <a:pos x="connsiteX51360" y="connsiteY51360"/>
              </a:cxn>
              <a:cxn ang="0">
                <a:pos x="connsiteX51361" y="connsiteY51361"/>
              </a:cxn>
              <a:cxn ang="0">
                <a:pos x="connsiteX51362" y="connsiteY51362"/>
              </a:cxn>
              <a:cxn ang="0">
                <a:pos x="connsiteX51363" y="connsiteY51363"/>
              </a:cxn>
              <a:cxn ang="0">
                <a:pos x="connsiteX51364" y="connsiteY51364"/>
              </a:cxn>
              <a:cxn ang="0">
                <a:pos x="connsiteX51365" y="connsiteY51365"/>
              </a:cxn>
              <a:cxn ang="0">
                <a:pos x="connsiteX51366" y="connsiteY51366"/>
              </a:cxn>
              <a:cxn ang="0">
                <a:pos x="connsiteX51367" y="connsiteY51367"/>
              </a:cxn>
              <a:cxn ang="0">
                <a:pos x="connsiteX51368" y="connsiteY51368"/>
              </a:cxn>
              <a:cxn ang="0">
                <a:pos x="connsiteX51369" y="connsiteY51369"/>
              </a:cxn>
              <a:cxn ang="0">
                <a:pos x="connsiteX51370" y="connsiteY51370"/>
              </a:cxn>
              <a:cxn ang="0">
                <a:pos x="connsiteX51371" y="connsiteY51371"/>
              </a:cxn>
              <a:cxn ang="0">
                <a:pos x="connsiteX51372" y="connsiteY51372"/>
              </a:cxn>
              <a:cxn ang="0">
                <a:pos x="connsiteX51373" y="connsiteY51373"/>
              </a:cxn>
              <a:cxn ang="0">
                <a:pos x="connsiteX51374" y="connsiteY51374"/>
              </a:cxn>
              <a:cxn ang="0">
                <a:pos x="connsiteX51375" y="connsiteY51375"/>
              </a:cxn>
              <a:cxn ang="0">
                <a:pos x="connsiteX51376" y="connsiteY51376"/>
              </a:cxn>
              <a:cxn ang="0">
                <a:pos x="connsiteX51377" y="connsiteY51377"/>
              </a:cxn>
              <a:cxn ang="0">
                <a:pos x="connsiteX51378" y="connsiteY51378"/>
              </a:cxn>
              <a:cxn ang="0">
                <a:pos x="connsiteX51379" y="connsiteY51379"/>
              </a:cxn>
              <a:cxn ang="0">
                <a:pos x="connsiteX51380" y="connsiteY51380"/>
              </a:cxn>
              <a:cxn ang="0">
                <a:pos x="connsiteX51381" y="connsiteY51381"/>
              </a:cxn>
              <a:cxn ang="0">
                <a:pos x="connsiteX51382" y="connsiteY51382"/>
              </a:cxn>
              <a:cxn ang="0">
                <a:pos x="connsiteX51383" y="connsiteY51383"/>
              </a:cxn>
              <a:cxn ang="0">
                <a:pos x="connsiteX51384" y="connsiteY51384"/>
              </a:cxn>
              <a:cxn ang="0">
                <a:pos x="connsiteX51385" y="connsiteY51385"/>
              </a:cxn>
              <a:cxn ang="0">
                <a:pos x="connsiteX51386" y="connsiteY51386"/>
              </a:cxn>
              <a:cxn ang="0">
                <a:pos x="connsiteX51387" y="connsiteY51387"/>
              </a:cxn>
              <a:cxn ang="0">
                <a:pos x="connsiteX51388" y="connsiteY51388"/>
              </a:cxn>
              <a:cxn ang="0">
                <a:pos x="connsiteX51389" y="connsiteY51389"/>
              </a:cxn>
              <a:cxn ang="0">
                <a:pos x="connsiteX51390" y="connsiteY51390"/>
              </a:cxn>
              <a:cxn ang="0">
                <a:pos x="connsiteX51391" y="connsiteY51391"/>
              </a:cxn>
              <a:cxn ang="0">
                <a:pos x="connsiteX51392" y="connsiteY51392"/>
              </a:cxn>
              <a:cxn ang="0">
                <a:pos x="connsiteX51393" y="connsiteY51393"/>
              </a:cxn>
              <a:cxn ang="0">
                <a:pos x="connsiteX51394" y="connsiteY51394"/>
              </a:cxn>
              <a:cxn ang="0">
                <a:pos x="connsiteX51395" y="connsiteY51395"/>
              </a:cxn>
              <a:cxn ang="0">
                <a:pos x="connsiteX51396" y="connsiteY51396"/>
              </a:cxn>
              <a:cxn ang="0">
                <a:pos x="connsiteX51397" y="connsiteY51397"/>
              </a:cxn>
              <a:cxn ang="0">
                <a:pos x="connsiteX51398" y="connsiteY51398"/>
              </a:cxn>
              <a:cxn ang="0">
                <a:pos x="connsiteX51399" y="connsiteY51399"/>
              </a:cxn>
              <a:cxn ang="0">
                <a:pos x="connsiteX51400" y="connsiteY51400"/>
              </a:cxn>
              <a:cxn ang="0">
                <a:pos x="connsiteX51401" y="connsiteY51401"/>
              </a:cxn>
              <a:cxn ang="0">
                <a:pos x="connsiteX51402" y="connsiteY51402"/>
              </a:cxn>
              <a:cxn ang="0">
                <a:pos x="connsiteX51403" y="connsiteY51403"/>
              </a:cxn>
              <a:cxn ang="0">
                <a:pos x="connsiteX51404" y="connsiteY51404"/>
              </a:cxn>
              <a:cxn ang="0">
                <a:pos x="connsiteX51405" y="connsiteY51405"/>
              </a:cxn>
              <a:cxn ang="0">
                <a:pos x="connsiteX51406" y="connsiteY51406"/>
              </a:cxn>
              <a:cxn ang="0">
                <a:pos x="connsiteX51407" y="connsiteY51407"/>
              </a:cxn>
              <a:cxn ang="0">
                <a:pos x="connsiteX51408" y="connsiteY51408"/>
              </a:cxn>
              <a:cxn ang="0">
                <a:pos x="connsiteX51409" y="connsiteY51409"/>
              </a:cxn>
              <a:cxn ang="0">
                <a:pos x="connsiteX51410" y="connsiteY51410"/>
              </a:cxn>
              <a:cxn ang="0">
                <a:pos x="connsiteX51411" y="connsiteY51411"/>
              </a:cxn>
              <a:cxn ang="0">
                <a:pos x="connsiteX51412" y="connsiteY51412"/>
              </a:cxn>
              <a:cxn ang="0">
                <a:pos x="connsiteX51413" y="connsiteY51413"/>
              </a:cxn>
              <a:cxn ang="0">
                <a:pos x="connsiteX51414" y="connsiteY51414"/>
              </a:cxn>
              <a:cxn ang="0">
                <a:pos x="connsiteX51415" y="connsiteY51415"/>
              </a:cxn>
              <a:cxn ang="0">
                <a:pos x="connsiteX51416" y="connsiteY51416"/>
              </a:cxn>
              <a:cxn ang="0">
                <a:pos x="connsiteX51417" y="connsiteY51417"/>
              </a:cxn>
              <a:cxn ang="0">
                <a:pos x="connsiteX51418" y="connsiteY51418"/>
              </a:cxn>
              <a:cxn ang="0">
                <a:pos x="connsiteX51419" y="connsiteY51419"/>
              </a:cxn>
              <a:cxn ang="0">
                <a:pos x="connsiteX51420" y="connsiteY51420"/>
              </a:cxn>
              <a:cxn ang="0">
                <a:pos x="connsiteX51421" y="connsiteY51421"/>
              </a:cxn>
              <a:cxn ang="0">
                <a:pos x="connsiteX51422" y="connsiteY51422"/>
              </a:cxn>
              <a:cxn ang="0">
                <a:pos x="connsiteX51423" y="connsiteY51423"/>
              </a:cxn>
              <a:cxn ang="0">
                <a:pos x="connsiteX51424" y="connsiteY51424"/>
              </a:cxn>
              <a:cxn ang="0">
                <a:pos x="connsiteX51425" y="connsiteY51425"/>
              </a:cxn>
              <a:cxn ang="0">
                <a:pos x="connsiteX51426" y="connsiteY51426"/>
              </a:cxn>
              <a:cxn ang="0">
                <a:pos x="connsiteX51427" y="connsiteY51427"/>
              </a:cxn>
              <a:cxn ang="0">
                <a:pos x="connsiteX51428" y="connsiteY51428"/>
              </a:cxn>
              <a:cxn ang="0">
                <a:pos x="connsiteX51429" y="connsiteY51429"/>
              </a:cxn>
              <a:cxn ang="0">
                <a:pos x="connsiteX51430" y="connsiteY51430"/>
              </a:cxn>
              <a:cxn ang="0">
                <a:pos x="connsiteX51431" y="connsiteY51431"/>
              </a:cxn>
              <a:cxn ang="0">
                <a:pos x="connsiteX51432" y="connsiteY51432"/>
              </a:cxn>
              <a:cxn ang="0">
                <a:pos x="connsiteX51433" y="connsiteY51433"/>
              </a:cxn>
              <a:cxn ang="0">
                <a:pos x="connsiteX51434" y="connsiteY51434"/>
              </a:cxn>
              <a:cxn ang="0">
                <a:pos x="connsiteX51435" y="connsiteY51435"/>
              </a:cxn>
              <a:cxn ang="0">
                <a:pos x="connsiteX51436" y="connsiteY51436"/>
              </a:cxn>
              <a:cxn ang="0">
                <a:pos x="connsiteX51437" y="connsiteY51437"/>
              </a:cxn>
              <a:cxn ang="0">
                <a:pos x="connsiteX51438" y="connsiteY51438"/>
              </a:cxn>
              <a:cxn ang="0">
                <a:pos x="connsiteX51439" y="connsiteY51439"/>
              </a:cxn>
              <a:cxn ang="0">
                <a:pos x="connsiteX51440" y="connsiteY51440"/>
              </a:cxn>
              <a:cxn ang="0">
                <a:pos x="connsiteX51441" y="connsiteY51441"/>
              </a:cxn>
              <a:cxn ang="0">
                <a:pos x="connsiteX51442" y="connsiteY51442"/>
              </a:cxn>
              <a:cxn ang="0">
                <a:pos x="connsiteX51443" y="connsiteY51443"/>
              </a:cxn>
              <a:cxn ang="0">
                <a:pos x="connsiteX51444" y="connsiteY51444"/>
              </a:cxn>
              <a:cxn ang="0">
                <a:pos x="connsiteX51445" y="connsiteY51445"/>
              </a:cxn>
              <a:cxn ang="0">
                <a:pos x="connsiteX51446" y="connsiteY51446"/>
              </a:cxn>
              <a:cxn ang="0">
                <a:pos x="connsiteX51447" y="connsiteY51447"/>
              </a:cxn>
              <a:cxn ang="0">
                <a:pos x="connsiteX51448" y="connsiteY51448"/>
              </a:cxn>
              <a:cxn ang="0">
                <a:pos x="connsiteX51449" y="connsiteY51449"/>
              </a:cxn>
              <a:cxn ang="0">
                <a:pos x="connsiteX51450" y="connsiteY51450"/>
              </a:cxn>
              <a:cxn ang="0">
                <a:pos x="connsiteX51451" y="connsiteY51451"/>
              </a:cxn>
              <a:cxn ang="0">
                <a:pos x="connsiteX51452" y="connsiteY51452"/>
              </a:cxn>
              <a:cxn ang="0">
                <a:pos x="connsiteX51453" y="connsiteY51453"/>
              </a:cxn>
              <a:cxn ang="0">
                <a:pos x="connsiteX51454" y="connsiteY51454"/>
              </a:cxn>
              <a:cxn ang="0">
                <a:pos x="connsiteX51455" y="connsiteY51455"/>
              </a:cxn>
              <a:cxn ang="0">
                <a:pos x="connsiteX51456" y="connsiteY51456"/>
              </a:cxn>
              <a:cxn ang="0">
                <a:pos x="connsiteX51457" y="connsiteY51457"/>
              </a:cxn>
              <a:cxn ang="0">
                <a:pos x="connsiteX51458" y="connsiteY51458"/>
              </a:cxn>
              <a:cxn ang="0">
                <a:pos x="connsiteX51459" y="connsiteY51459"/>
              </a:cxn>
              <a:cxn ang="0">
                <a:pos x="connsiteX51460" y="connsiteY51460"/>
              </a:cxn>
              <a:cxn ang="0">
                <a:pos x="connsiteX51461" y="connsiteY51461"/>
              </a:cxn>
              <a:cxn ang="0">
                <a:pos x="connsiteX51462" y="connsiteY51462"/>
              </a:cxn>
              <a:cxn ang="0">
                <a:pos x="connsiteX51463" y="connsiteY51463"/>
              </a:cxn>
              <a:cxn ang="0">
                <a:pos x="connsiteX51464" y="connsiteY51464"/>
              </a:cxn>
              <a:cxn ang="0">
                <a:pos x="connsiteX51465" y="connsiteY51465"/>
              </a:cxn>
              <a:cxn ang="0">
                <a:pos x="connsiteX51466" y="connsiteY51466"/>
              </a:cxn>
              <a:cxn ang="0">
                <a:pos x="connsiteX51467" y="connsiteY51467"/>
              </a:cxn>
              <a:cxn ang="0">
                <a:pos x="connsiteX51468" y="connsiteY51468"/>
              </a:cxn>
              <a:cxn ang="0">
                <a:pos x="connsiteX51469" y="connsiteY51469"/>
              </a:cxn>
              <a:cxn ang="0">
                <a:pos x="connsiteX51470" y="connsiteY51470"/>
              </a:cxn>
              <a:cxn ang="0">
                <a:pos x="connsiteX51471" y="connsiteY51471"/>
              </a:cxn>
              <a:cxn ang="0">
                <a:pos x="connsiteX51472" y="connsiteY51472"/>
              </a:cxn>
              <a:cxn ang="0">
                <a:pos x="connsiteX51473" y="connsiteY51473"/>
              </a:cxn>
              <a:cxn ang="0">
                <a:pos x="connsiteX51474" y="connsiteY51474"/>
              </a:cxn>
              <a:cxn ang="0">
                <a:pos x="connsiteX51475" y="connsiteY51475"/>
              </a:cxn>
              <a:cxn ang="0">
                <a:pos x="connsiteX51476" y="connsiteY51476"/>
              </a:cxn>
              <a:cxn ang="0">
                <a:pos x="connsiteX51477" y="connsiteY51477"/>
              </a:cxn>
              <a:cxn ang="0">
                <a:pos x="connsiteX51478" y="connsiteY51478"/>
              </a:cxn>
              <a:cxn ang="0">
                <a:pos x="connsiteX51479" y="connsiteY51479"/>
              </a:cxn>
              <a:cxn ang="0">
                <a:pos x="connsiteX51480" y="connsiteY51480"/>
              </a:cxn>
              <a:cxn ang="0">
                <a:pos x="connsiteX51481" y="connsiteY51481"/>
              </a:cxn>
              <a:cxn ang="0">
                <a:pos x="connsiteX51482" y="connsiteY51482"/>
              </a:cxn>
              <a:cxn ang="0">
                <a:pos x="connsiteX51483" y="connsiteY51483"/>
              </a:cxn>
              <a:cxn ang="0">
                <a:pos x="connsiteX51484" y="connsiteY51484"/>
              </a:cxn>
              <a:cxn ang="0">
                <a:pos x="connsiteX51485" y="connsiteY51485"/>
              </a:cxn>
              <a:cxn ang="0">
                <a:pos x="connsiteX51486" y="connsiteY51486"/>
              </a:cxn>
              <a:cxn ang="0">
                <a:pos x="connsiteX51487" y="connsiteY51487"/>
              </a:cxn>
              <a:cxn ang="0">
                <a:pos x="connsiteX51488" y="connsiteY51488"/>
              </a:cxn>
              <a:cxn ang="0">
                <a:pos x="connsiteX51489" y="connsiteY51489"/>
              </a:cxn>
              <a:cxn ang="0">
                <a:pos x="connsiteX51490" y="connsiteY51490"/>
              </a:cxn>
              <a:cxn ang="0">
                <a:pos x="connsiteX51491" y="connsiteY51491"/>
              </a:cxn>
              <a:cxn ang="0">
                <a:pos x="connsiteX51492" y="connsiteY51492"/>
              </a:cxn>
              <a:cxn ang="0">
                <a:pos x="connsiteX51493" y="connsiteY51493"/>
              </a:cxn>
              <a:cxn ang="0">
                <a:pos x="connsiteX51494" y="connsiteY51494"/>
              </a:cxn>
              <a:cxn ang="0">
                <a:pos x="connsiteX51495" y="connsiteY51495"/>
              </a:cxn>
              <a:cxn ang="0">
                <a:pos x="connsiteX51496" y="connsiteY51496"/>
              </a:cxn>
              <a:cxn ang="0">
                <a:pos x="connsiteX51497" y="connsiteY51497"/>
              </a:cxn>
              <a:cxn ang="0">
                <a:pos x="connsiteX51498" y="connsiteY51498"/>
              </a:cxn>
              <a:cxn ang="0">
                <a:pos x="connsiteX51499" y="connsiteY51499"/>
              </a:cxn>
              <a:cxn ang="0">
                <a:pos x="connsiteX51500" y="connsiteY51500"/>
              </a:cxn>
              <a:cxn ang="0">
                <a:pos x="connsiteX51501" y="connsiteY51501"/>
              </a:cxn>
              <a:cxn ang="0">
                <a:pos x="connsiteX51502" y="connsiteY51502"/>
              </a:cxn>
              <a:cxn ang="0">
                <a:pos x="connsiteX51503" y="connsiteY51503"/>
              </a:cxn>
              <a:cxn ang="0">
                <a:pos x="connsiteX51504" y="connsiteY51504"/>
              </a:cxn>
              <a:cxn ang="0">
                <a:pos x="connsiteX51505" y="connsiteY51505"/>
              </a:cxn>
              <a:cxn ang="0">
                <a:pos x="connsiteX51506" y="connsiteY51506"/>
              </a:cxn>
              <a:cxn ang="0">
                <a:pos x="connsiteX51507" y="connsiteY51507"/>
              </a:cxn>
              <a:cxn ang="0">
                <a:pos x="connsiteX51508" y="connsiteY51508"/>
              </a:cxn>
              <a:cxn ang="0">
                <a:pos x="connsiteX51509" y="connsiteY51509"/>
              </a:cxn>
              <a:cxn ang="0">
                <a:pos x="connsiteX51510" y="connsiteY51510"/>
              </a:cxn>
              <a:cxn ang="0">
                <a:pos x="connsiteX51511" y="connsiteY51511"/>
              </a:cxn>
              <a:cxn ang="0">
                <a:pos x="connsiteX51512" y="connsiteY51512"/>
              </a:cxn>
              <a:cxn ang="0">
                <a:pos x="connsiteX51513" y="connsiteY51513"/>
              </a:cxn>
              <a:cxn ang="0">
                <a:pos x="connsiteX51514" y="connsiteY51514"/>
              </a:cxn>
              <a:cxn ang="0">
                <a:pos x="connsiteX51515" y="connsiteY51515"/>
              </a:cxn>
              <a:cxn ang="0">
                <a:pos x="connsiteX51516" y="connsiteY51516"/>
              </a:cxn>
              <a:cxn ang="0">
                <a:pos x="connsiteX51517" y="connsiteY51517"/>
              </a:cxn>
              <a:cxn ang="0">
                <a:pos x="connsiteX51518" y="connsiteY51518"/>
              </a:cxn>
              <a:cxn ang="0">
                <a:pos x="connsiteX51519" y="connsiteY51519"/>
              </a:cxn>
              <a:cxn ang="0">
                <a:pos x="connsiteX51520" y="connsiteY51520"/>
              </a:cxn>
              <a:cxn ang="0">
                <a:pos x="connsiteX51521" y="connsiteY51521"/>
              </a:cxn>
              <a:cxn ang="0">
                <a:pos x="connsiteX51522" y="connsiteY51522"/>
              </a:cxn>
              <a:cxn ang="0">
                <a:pos x="connsiteX51523" y="connsiteY51523"/>
              </a:cxn>
              <a:cxn ang="0">
                <a:pos x="connsiteX51524" y="connsiteY51524"/>
              </a:cxn>
              <a:cxn ang="0">
                <a:pos x="connsiteX51525" y="connsiteY51525"/>
              </a:cxn>
              <a:cxn ang="0">
                <a:pos x="connsiteX51526" y="connsiteY51526"/>
              </a:cxn>
              <a:cxn ang="0">
                <a:pos x="connsiteX51527" y="connsiteY51527"/>
              </a:cxn>
              <a:cxn ang="0">
                <a:pos x="connsiteX51528" y="connsiteY51528"/>
              </a:cxn>
              <a:cxn ang="0">
                <a:pos x="connsiteX51529" y="connsiteY51529"/>
              </a:cxn>
              <a:cxn ang="0">
                <a:pos x="connsiteX51530" y="connsiteY51530"/>
              </a:cxn>
              <a:cxn ang="0">
                <a:pos x="connsiteX51531" y="connsiteY51531"/>
              </a:cxn>
              <a:cxn ang="0">
                <a:pos x="connsiteX51532" y="connsiteY51532"/>
              </a:cxn>
              <a:cxn ang="0">
                <a:pos x="connsiteX51533" y="connsiteY51533"/>
              </a:cxn>
              <a:cxn ang="0">
                <a:pos x="connsiteX51534" y="connsiteY51534"/>
              </a:cxn>
              <a:cxn ang="0">
                <a:pos x="connsiteX51535" y="connsiteY51535"/>
              </a:cxn>
              <a:cxn ang="0">
                <a:pos x="connsiteX51536" y="connsiteY51536"/>
              </a:cxn>
              <a:cxn ang="0">
                <a:pos x="connsiteX51537" y="connsiteY51537"/>
              </a:cxn>
              <a:cxn ang="0">
                <a:pos x="connsiteX51538" y="connsiteY51538"/>
              </a:cxn>
              <a:cxn ang="0">
                <a:pos x="connsiteX51539" y="connsiteY51539"/>
              </a:cxn>
              <a:cxn ang="0">
                <a:pos x="connsiteX51540" y="connsiteY51540"/>
              </a:cxn>
              <a:cxn ang="0">
                <a:pos x="connsiteX51541" y="connsiteY51541"/>
              </a:cxn>
              <a:cxn ang="0">
                <a:pos x="connsiteX51542" y="connsiteY51542"/>
              </a:cxn>
              <a:cxn ang="0">
                <a:pos x="connsiteX51543" y="connsiteY51543"/>
              </a:cxn>
              <a:cxn ang="0">
                <a:pos x="connsiteX51544" y="connsiteY51544"/>
              </a:cxn>
              <a:cxn ang="0">
                <a:pos x="connsiteX51545" y="connsiteY51545"/>
              </a:cxn>
              <a:cxn ang="0">
                <a:pos x="connsiteX51546" y="connsiteY51546"/>
              </a:cxn>
              <a:cxn ang="0">
                <a:pos x="connsiteX51547" y="connsiteY51547"/>
              </a:cxn>
              <a:cxn ang="0">
                <a:pos x="connsiteX51548" y="connsiteY51548"/>
              </a:cxn>
              <a:cxn ang="0">
                <a:pos x="connsiteX51549" y="connsiteY51549"/>
              </a:cxn>
              <a:cxn ang="0">
                <a:pos x="connsiteX51550" y="connsiteY51550"/>
              </a:cxn>
              <a:cxn ang="0">
                <a:pos x="connsiteX51551" y="connsiteY51551"/>
              </a:cxn>
              <a:cxn ang="0">
                <a:pos x="connsiteX51552" y="connsiteY51552"/>
              </a:cxn>
              <a:cxn ang="0">
                <a:pos x="connsiteX51553" y="connsiteY51553"/>
              </a:cxn>
              <a:cxn ang="0">
                <a:pos x="connsiteX51554" y="connsiteY51554"/>
              </a:cxn>
              <a:cxn ang="0">
                <a:pos x="connsiteX51555" y="connsiteY51555"/>
              </a:cxn>
              <a:cxn ang="0">
                <a:pos x="connsiteX51556" y="connsiteY51556"/>
              </a:cxn>
              <a:cxn ang="0">
                <a:pos x="connsiteX51557" y="connsiteY51557"/>
              </a:cxn>
              <a:cxn ang="0">
                <a:pos x="connsiteX51558" y="connsiteY51558"/>
              </a:cxn>
              <a:cxn ang="0">
                <a:pos x="connsiteX51559" y="connsiteY51559"/>
              </a:cxn>
              <a:cxn ang="0">
                <a:pos x="connsiteX51560" y="connsiteY51560"/>
              </a:cxn>
              <a:cxn ang="0">
                <a:pos x="connsiteX51561" y="connsiteY51561"/>
              </a:cxn>
              <a:cxn ang="0">
                <a:pos x="connsiteX51562" y="connsiteY51562"/>
              </a:cxn>
              <a:cxn ang="0">
                <a:pos x="connsiteX51563" y="connsiteY51563"/>
              </a:cxn>
              <a:cxn ang="0">
                <a:pos x="connsiteX51564" y="connsiteY51564"/>
              </a:cxn>
              <a:cxn ang="0">
                <a:pos x="connsiteX51565" y="connsiteY51565"/>
              </a:cxn>
              <a:cxn ang="0">
                <a:pos x="connsiteX51566" y="connsiteY51566"/>
              </a:cxn>
              <a:cxn ang="0">
                <a:pos x="connsiteX51567" y="connsiteY51567"/>
              </a:cxn>
              <a:cxn ang="0">
                <a:pos x="connsiteX51568" y="connsiteY51568"/>
              </a:cxn>
              <a:cxn ang="0">
                <a:pos x="connsiteX51569" y="connsiteY51569"/>
              </a:cxn>
              <a:cxn ang="0">
                <a:pos x="connsiteX51570" y="connsiteY51570"/>
              </a:cxn>
              <a:cxn ang="0">
                <a:pos x="connsiteX51571" y="connsiteY51571"/>
              </a:cxn>
              <a:cxn ang="0">
                <a:pos x="connsiteX51572" y="connsiteY51572"/>
              </a:cxn>
              <a:cxn ang="0">
                <a:pos x="connsiteX51573" y="connsiteY51573"/>
              </a:cxn>
              <a:cxn ang="0">
                <a:pos x="connsiteX51574" y="connsiteY51574"/>
              </a:cxn>
              <a:cxn ang="0">
                <a:pos x="connsiteX51575" y="connsiteY51575"/>
              </a:cxn>
              <a:cxn ang="0">
                <a:pos x="connsiteX51576" y="connsiteY51576"/>
              </a:cxn>
              <a:cxn ang="0">
                <a:pos x="connsiteX51577" y="connsiteY51577"/>
              </a:cxn>
              <a:cxn ang="0">
                <a:pos x="connsiteX51578" y="connsiteY51578"/>
              </a:cxn>
              <a:cxn ang="0">
                <a:pos x="connsiteX51579" y="connsiteY51579"/>
              </a:cxn>
              <a:cxn ang="0">
                <a:pos x="connsiteX51580" y="connsiteY51580"/>
              </a:cxn>
              <a:cxn ang="0">
                <a:pos x="connsiteX51581" y="connsiteY51581"/>
              </a:cxn>
              <a:cxn ang="0">
                <a:pos x="connsiteX51582" y="connsiteY51582"/>
              </a:cxn>
              <a:cxn ang="0">
                <a:pos x="connsiteX51583" y="connsiteY51583"/>
              </a:cxn>
              <a:cxn ang="0">
                <a:pos x="connsiteX51584" y="connsiteY51584"/>
              </a:cxn>
              <a:cxn ang="0">
                <a:pos x="connsiteX51585" y="connsiteY51585"/>
              </a:cxn>
              <a:cxn ang="0">
                <a:pos x="connsiteX51586" y="connsiteY51586"/>
              </a:cxn>
              <a:cxn ang="0">
                <a:pos x="connsiteX51587" y="connsiteY51587"/>
              </a:cxn>
              <a:cxn ang="0">
                <a:pos x="connsiteX51588" y="connsiteY51588"/>
              </a:cxn>
              <a:cxn ang="0">
                <a:pos x="connsiteX51589" y="connsiteY51589"/>
              </a:cxn>
              <a:cxn ang="0">
                <a:pos x="connsiteX51590" y="connsiteY51590"/>
              </a:cxn>
              <a:cxn ang="0">
                <a:pos x="connsiteX51591" y="connsiteY51591"/>
              </a:cxn>
              <a:cxn ang="0">
                <a:pos x="connsiteX51592" y="connsiteY51592"/>
              </a:cxn>
              <a:cxn ang="0">
                <a:pos x="connsiteX51593" y="connsiteY51593"/>
              </a:cxn>
              <a:cxn ang="0">
                <a:pos x="connsiteX51594" y="connsiteY51594"/>
              </a:cxn>
              <a:cxn ang="0">
                <a:pos x="connsiteX51595" y="connsiteY51595"/>
              </a:cxn>
              <a:cxn ang="0">
                <a:pos x="connsiteX51596" y="connsiteY51596"/>
              </a:cxn>
              <a:cxn ang="0">
                <a:pos x="connsiteX51597" y="connsiteY51597"/>
              </a:cxn>
              <a:cxn ang="0">
                <a:pos x="connsiteX51598" y="connsiteY51598"/>
              </a:cxn>
              <a:cxn ang="0">
                <a:pos x="connsiteX51599" y="connsiteY51599"/>
              </a:cxn>
              <a:cxn ang="0">
                <a:pos x="connsiteX51600" y="connsiteY51600"/>
              </a:cxn>
              <a:cxn ang="0">
                <a:pos x="connsiteX51601" y="connsiteY51601"/>
              </a:cxn>
              <a:cxn ang="0">
                <a:pos x="connsiteX51602" y="connsiteY51602"/>
              </a:cxn>
              <a:cxn ang="0">
                <a:pos x="connsiteX51603" y="connsiteY51603"/>
              </a:cxn>
              <a:cxn ang="0">
                <a:pos x="connsiteX51604" y="connsiteY51604"/>
              </a:cxn>
              <a:cxn ang="0">
                <a:pos x="connsiteX51605" y="connsiteY51605"/>
              </a:cxn>
              <a:cxn ang="0">
                <a:pos x="connsiteX51606" y="connsiteY51606"/>
              </a:cxn>
              <a:cxn ang="0">
                <a:pos x="connsiteX51607" y="connsiteY51607"/>
              </a:cxn>
              <a:cxn ang="0">
                <a:pos x="connsiteX51608" y="connsiteY51608"/>
              </a:cxn>
              <a:cxn ang="0">
                <a:pos x="connsiteX51609" y="connsiteY51609"/>
              </a:cxn>
              <a:cxn ang="0">
                <a:pos x="connsiteX51610" y="connsiteY51610"/>
              </a:cxn>
              <a:cxn ang="0">
                <a:pos x="connsiteX51611" y="connsiteY51611"/>
              </a:cxn>
              <a:cxn ang="0">
                <a:pos x="connsiteX51612" y="connsiteY51612"/>
              </a:cxn>
              <a:cxn ang="0">
                <a:pos x="connsiteX51613" y="connsiteY51613"/>
              </a:cxn>
              <a:cxn ang="0">
                <a:pos x="connsiteX51614" y="connsiteY51614"/>
              </a:cxn>
              <a:cxn ang="0">
                <a:pos x="connsiteX51615" y="connsiteY51615"/>
              </a:cxn>
              <a:cxn ang="0">
                <a:pos x="connsiteX51616" y="connsiteY51616"/>
              </a:cxn>
              <a:cxn ang="0">
                <a:pos x="connsiteX51617" y="connsiteY51617"/>
              </a:cxn>
              <a:cxn ang="0">
                <a:pos x="connsiteX51618" y="connsiteY51618"/>
              </a:cxn>
              <a:cxn ang="0">
                <a:pos x="connsiteX51619" y="connsiteY51619"/>
              </a:cxn>
              <a:cxn ang="0">
                <a:pos x="connsiteX51620" y="connsiteY51620"/>
              </a:cxn>
              <a:cxn ang="0">
                <a:pos x="connsiteX51621" y="connsiteY51621"/>
              </a:cxn>
              <a:cxn ang="0">
                <a:pos x="connsiteX51622" y="connsiteY51622"/>
              </a:cxn>
              <a:cxn ang="0">
                <a:pos x="connsiteX51623" y="connsiteY51623"/>
              </a:cxn>
              <a:cxn ang="0">
                <a:pos x="connsiteX51624" y="connsiteY51624"/>
              </a:cxn>
              <a:cxn ang="0">
                <a:pos x="connsiteX51625" y="connsiteY51625"/>
              </a:cxn>
              <a:cxn ang="0">
                <a:pos x="connsiteX51626" y="connsiteY51626"/>
              </a:cxn>
              <a:cxn ang="0">
                <a:pos x="connsiteX51627" y="connsiteY51627"/>
              </a:cxn>
              <a:cxn ang="0">
                <a:pos x="connsiteX51628" y="connsiteY51628"/>
              </a:cxn>
              <a:cxn ang="0">
                <a:pos x="connsiteX51629" y="connsiteY51629"/>
              </a:cxn>
              <a:cxn ang="0">
                <a:pos x="connsiteX51630" y="connsiteY51630"/>
              </a:cxn>
              <a:cxn ang="0">
                <a:pos x="connsiteX51631" y="connsiteY51631"/>
              </a:cxn>
              <a:cxn ang="0">
                <a:pos x="connsiteX51632" y="connsiteY51632"/>
              </a:cxn>
              <a:cxn ang="0">
                <a:pos x="connsiteX51633" y="connsiteY51633"/>
              </a:cxn>
              <a:cxn ang="0">
                <a:pos x="connsiteX51634" y="connsiteY51634"/>
              </a:cxn>
              <a:cxn ang="0">
                <a:pos x="connsiteX51635" y="connsiteY51635"/>
              </a:cxn>
              <a:cxn ang="0">
                <a:pos x="connsiteX51636" y="connsiteY51636"/>
              </a:cxn>
              <a:cxn ang="0">
                <a:pos x="connsiteX51637" y="connsiteY51637"/>
              </a:cxn>
              <a:cxn ang="0">
                <a:pos x="connsiteX51638" y="connsiteY51638"/>
              </a:cxn>
              <a:cxn ang="0">
                <a:pos x="connsiteX51639" y="connsiteY51639"/>
              </a:cxn>
              <a:cxn ang="0">
                <a:pos x="connsiteX51640" y="connsiteY51640"/>
              </a:cxn>
              <a:cxn ang="0">
                <a:pos x="connsiteX51641" y="connsiteY51641"/>
              </a:cxn>
              <a:cxn ang="0">
                <a:pos x="connsiteX51642" y="connsiteY51642"/>
              </a:cxn>
              <a:cxn ang="0">
                <a:pos x="connsiteX51643" y="connsiteY51643"/>
              </a:cxn>
              <a:cxn ang="0">
                <a:pos x="connsiteX51644" y="connsiteY51644"/>
              </a:cxn>
              <a:cxn ang="0">
                <a:pos x="connsiteX51645" y="connsiteY51645"/>
              </a:cxn>
              <a:cxn ang="0">
                <a:pos x="connsiteX51646" y="connsiteY51646"/>
              </a:cxn>
              <a:cxn ang="0">
                <a:pos x="connsiteX51647" y="connsiteY51647"/>
              </a:cxn>
              <a:cxn ang="0">
                <a:pos x="connsiteX51648" y="connsiteY51648"/>
              </a:cxn>
              <a:cxn ang="0">
                <a:pos x="connsiteX51649" y="connsiteY51649"/>
              </a:cxn>
              <a:cxn ang="0">
                <a:pos x="connsiteX51650" y="connsiteY51650"/>
              </a:cxn>
              <a:cxn ang="0">
                <a:pos x="connsiteX51651" y="connsiteY51651"/>
              </a:cxn>
              <a:cxn ang="0">
                <a:pos x="connsiteX51652" y="connsiteY51652"/>
              </a:cxn>
              <a:cxn ang="0">
                <a:pos x="connsiteX51653" y="connsiteY51653"/>
              </a:cxn>
              <a:cxn ang="0">
                <a:pos x="connsiteX51654" y="connsiteY51654"/>
              </a:cxn>
              <a:cxn ang="0">
                <a:pos x="connsiteX51655" y="connsiteY51655"/>
              </a:cxn>
              <a:cxn ang="0">
                <a:pos x="connsiteX51656" y="connsiteY51656"/>
              </a:cxn>
              <a:cxn ang="0">
                <a:pos x="connsiteX51657" y="connsiteY51657"/>
              </a:cxn>
              <a:cxn ang="0">
                <a:pos x="connsiteX51658" y="connsiteY51658"/>
              </a:cxn>
              <a:cxn ang="0">
                <a:pos x="connsiteX51659" y="connsiteY51659"/>
              </a:cxn>
              <a:cxn ang="0">
                <a:pos x="connsiteX51660" y="connsiteY51660"/>
              </a:cxn>
              <a:cxn ang="0">
                <a:pos x="connsiteX51661" y="connsiteY51661"/>
              </a:cxn>
              <a:cxn ang="0">
                <a:pos x="connsiteX51662" y="connsiteY51662"/>
              </a:cxn>
              <a:cxn ang="0">
                <a:pos x="connsiteX51663" y="connsiteY51663"/>
              </a:cxn>
              <a:cxn ang="0">
                <a:pos x="connsiteX51664" y="connsiteY51664"/>
              </a:cxn>
              <a:cxn ang="0">
                <a:pos x="connsiteX51665" y="connsiteY51665"/>
              </a:cxn>
              <a:cxn ang="0">
                <a:pos x="connsiteX51666" y="connsiteY51666"/>
              </a:cxn>
              <a:cxn ang="0">
                <a:pos x="connsiteX51667" y="connsiteY51667"/>
              </a:cxn>
              <a:cxn ang="0">
                <a:pos x="connsiteX51668" y="connsiteY51668"/>
              </a:cxn>
              <a:cxn ang="0">
                <a:pos x="connsiteX51669" y="connsiteY51669"/>
              </a:cxn>
              <a:cxn ang="0">
                <a:pos x="connsiteX51670" y="connsiteY51670"/>
              </a:cxn>
              <a:cxn ang="0">
                <a:pos x="connsiteX51671" y="connsiteY51671"/>
              </a:cxn>
              <a:cxn ang="0">
                <a:pos x="connsiteX51672" y="connsiteY51672"/>
              </a:cxn>
              <a:cxn ang="0">
                <a:pos x="connsiteX51673" y="connsiteY51673"/>
              </a:cxn>
              <a:cxn ang="0">
                <a:pos x="connsiteX51674" y="connsiteY51674"/>
              </a:cxn>
              <a:cxn ang="0">
                <a:pos x="connsiteX51675" y="connsiteY51675"/>
              </a:cxn>
              <a:cxn ang="0">
                <a:pos x="connsiteX51676" y="connsiteY51676"/>
              </a:cxn>
              <a:cxn ang="0">
                <a:pos x="connsiteX51677" y="connsiteY51677"/>
              </a:cxn>
              <a:cxn ang="0">
                <a:pos x="connsiteX51678" y="connsiteY51678"/>
              </a:cxn>
              <a:cxn ang="0">
                <a:pos x="connsiteX51679" y="connsiteY51679"/>
              </a:cxn>
              <a:cxn ang="0">
                <a:pos x="connsiteX51680" y="connsiteY51680"/>
              </a:cxn>
              <a:cxn ang="0">
                <a:pos x="connsiteX51681" y="connsiteY51681"/>
              </a:cxn>
              <a:cxn ang="0">
                <a:pos x="connsiteX51682" y="connsiteY51682"/>
              </a:cxn>
              <a:cxn ang="0">
                <a:pos x="connsiteX51683" y="connsiteY51683"/>
              </a:cxn>
              <a:cxn ang="0">
                <a:pos x="connsiteX51684" y="connsiteY51684"/>
              </a:cxn>
              <a:cxn ang="0">
                <a:pos x="connsiteX51685" y="connsiteY51685"/>
              </a:cxn>
              <a:cxn ang="0">
                <a:pos x="connsiteX51686" y="connsiteY51686"/>
              </a:cxn>
              <a:cxn ang="0">
                <a:pos x="connsiteX51687" y="connsiteY51687"/>
              </a:cxn>
              <a:cxn ang="0">
                <a:pos x="connsiteX51688" y="connsiteY51688"/>
              </a:cxn>
              <a:cxn ang="0">
                <a:pos x="connsiteX51689" y="connsiteY51689"/>
              </a:cxn>
              <a:cxn ang="0">
                <a:pos x="connsiteX51690" y="connsiteY51690"/>
              </a:cxn>
              <a:cxn ang="0">
                <a:pos x="connsiteX51691" y="connsiteY51691"/>
              </a:cxn>
              <a:cxn ang="0">
                <a:pos x="connsiteX51692" y="connsiteY51692"/>
              </a:cxn>
              <a:cxn ang="0">
                <a:pos x="connsiteX51693" y="connsiteY51693"/>
              </a:cxn>
              <a:cxn ang="0">
                <a:pos x="connsiteX51694" y="connsiteY51694"/>
              </a:cxn>
              <a:cxn ang="0">
                <a:pos x="connsiteX51695" y="connsiteY51695"/>
              </a:cxn>
              <a:cxn ang="0">
                <a:pos x="connsiteX51696" y="connsiteY51696"/>
              </a:cxn>
              <a:cxn ang="0">
                <a:pos x="connsiteX51697" y="connsiteY51697"/>
              </a:cxn>
              <a:cxn ang="0">
                <a:pos x="connsiteX51698" y="connsiteY51698"/>
              </a:cxn>
              <a:cxn ang="0">
                <a:pos x="connsiteX51699" y="connsiteY51699"/>
              </a:cxn>
              <a:cxn ang="0">
                <a:pos x="connsiteX51700" y="connsiteY51700"/>
              </a:cxn>
              <a:cxn ang="0">
                <a:pos x="connsiteX51701" y="connsiteY51701"/>
              </a:cxn>
              <a:cxn ang="0">
                <a:pos x="connsiteX51702" y="connsiteY51702"/>
              </a:cxn>
              <a:cxn ang="0">
                <a:pos x="connsiteX51703" y="connsiteY51703"/>
              </a:cxn>
              <a:cxn ang="0">
                <a:pos x="connsiteX51704" y="connsiteY51704"/>
              </a:cxn>
              <a:cxn ang="0">
                <a:pos x="connsiteX51705" y="connsiteY51705"/>
              </a:cxn>
              <a:cxn ang="0">
                <a:pos x="connsiteX51706" y="connsiteY51706"/>
              </a:cxn>
              <a:cxn ang="0">
                <a:pos x="connsiteX51707" y="connsiteY51707"/>
              </a:cxn>
              <a:cxn ang="0">
                <a:pos x="connsiteX51708" y="connsiteY51708"/>
              </a:cxn>
              <a:cxn ang="0">
                <a:pos x="connsiteX51709" y="connsiteY51709"/>
              </a:cxn>
              <a:cxn ang="0">
                <a:pos x="connsiteX51710" y="connsiteY51710"/>
              </a:cxn>
              <a:cxn ang="0">
                <a:pos x="connsiteX51711" y="connsiteY51711"/>
              </a:cxn>
              <a:cxn ang="0">
                <a:pos x="connsiteX51712" y="connsiteY51712"/>
              </a:cxn>
              <a:cxn ang="0">
                <a:pos x="connsiteX51713" y="connsiteY51713"/>
              </a:cxn>
              <a:cxn ang="0">
                <a:pos x="connsiteX51714" y="connsiteY51714"/>
              </a:cxn>
              <a:cxn ang="0">
                <a:pos x="connsiteX51715" y="connsiteY51715"/>
              </a:cxn>
              <a:cxn ang="0">
                <a:pos x="connsiteX51716" y="connsiteY51716"/>
              </a:cxn>
              <a:cxn ang="0">
                <a:pos x="connsiteX51717" y="connsiteY51717"/>
              </a:cxn>
              <a:cxn ang="0">
                <a:pos x="connsiteX51718" y="connsiteY51718"/>
              </a:cxn>
              <a:cxn ang="0">
                <a:pos x="connsiteX51719" y="connsiteY51719"/>
              </a:cxn>
              <a:cxn ang="0">
                <a:pos x="connsiteX51720" y="connsiteY51720"/>
              </a:cxn>
              <a:cxn ang="0">
                <a:pos x="connsiteX51721" y="connsiteY51721"/>
              </a:cxn>
              <a:cxn ang="0">
                <a:pos x="connsiteX51722" y="connsiteY51722"/>
              </a:cxn>
              <a:cxn ang="0">
                <a:pos x="connsiteX51723" y="connsiteY51723"/>
              </a:cxn>
              <a:cxn ang="0">
                <a:pos x="connsiteX51724" y="connsiteY51724"/>
              </a:cxn>
              <a:cxn ang="0">
                <a:pos x="connsiteX51725" y="connsiteY51725"/>
              </a:cxn>
              <a:cxn ang="0">
                <a:pos x="connsiteX51726" y="connsiteY51726"/>
              </a:cxn>
              <a:cxn ang="0">
                <a:pos x="connsiteX51727" y="connsiteY51727"/>
              </a:cxn>
              <a:cxn ang="0">
                <a:pos x="connsiteX51728" y="connsiteY51728"/>
              </a:cxn>
              <a:cxn ang="0">
                <a:pos x="connsiteX51729" y="connsiteY51729"/>
              </a:cxn>
              <a:cxn ang="0">
                <a:pos x="connsiteX51730" y="connsiteY51730"/>
              </a:cxn>
              <a:cxn ang="0">
                <a:pos x="connsiteX51731" y="connsiteY51731"/>
              </a:cxn>
              <a:cxn ang="0">
                <a:pos x="connsiteX51732" y="connsiteY51732"/>
              </a:cxn>
              <a:cxn ang="0">
                <a:pos x="connsiteX51733" y="connsiteY51733"/>
              </a:cxn>
              <a:cxn ang="0">
                <a:pos x="connsiteX51734" y="connsiteY51734"/>
              </a:cxn>
              <a:cxn ang="0">
                <a:pos x="connsiteX51735" y="connsiteY51735"/>
              </a:cxn>
              <a:cxn ang="0">
                <a:pos x="connsiteX51736" y="connsiteY51736"/>
              </a:cxn>
              <a:cxn ang="0">
                <a:pos x="connsiteX51737" y="connsiteY51737"/>
              </a:cxn>
              <a:cxn ang="0">
                <a:pos x="connsiteX51738" y="connsiteY51738"/>
              </a:cxn>
              <a:cxn ang="0">
                <a:pos x="connsiteX51739" y="connsiteY51739"/>
              </a:cxn>
              <a:cxn ang="0">
                <a:pos x="connsiteX51740" y="connsiteY51740"/>
              </a:cxn>
              <a:cxn ang="0">
                <a:pos x="connsiteX51741" y="connsiteY51741"/>
              </a:cxn>
              <a:cxn ang="0">
                <a:pos x="connsiteX51742" y="connsiteY51742"/>
              </a:cxn>
              <a:cxn ang="0">
                <a:pos x="connsiteX51743" y="connsiteY51743"/>
              </a:cxn>
              <a:cxn ang="0">
                <a:pos x="connsiteX51744" y="connsiteY51744"/>
              </a:cxn>
              <a:cxn ang="0">
                <a:pos x="connsiteX51745" y="connsiteY51745"/>
              </a:cxn>
              <a:cxn ang="0">
                <a:pos x="connsiteX51746" y="connsiteY51746"/>
              </a:cxn>
              <a:cxn ang="0">
                <a:pos x="connsiteX51747" y="connsiteY51747"/>
              </a:cxn>
              <a:cxn ang="0">
                <a:pos x="connsiteX51748" y="connsiteY51748"/>
              </a:cxn>
              <a:cxn ang="0">
                <a:pos x="connsiteX51749" y="connsiteY51749"/>
              </a:cxn>
              <a:cxn ang="0">
                <a:pos x="connsiteX51750" y="connsiteY51750"/>
              </a:cxn>
              <a:cxn ang="0">
                <a:pos x="connsiteX51751" y="connsiteY51751"/>
              </a:cxn>
              <a:cxn ang="0">
                <a:pos x="connsiteX51752" y="connsiteY51752"/>
              </a:cxn>
              <a:cxn ang="0">
                <a:pos x="connsiteX51753" y="connsiteY51753"/>
              </a:cxn>
              <a:cxn ang="0">
                <a:pos x="connsiteX51754" y="connsiteY51754"/>
              </a:cxn>
              <a:cxn ang="0">
                <a:pos x="connsiteX51755" y="connsiteY51755"/>
              </a:cxn>
              <a:cxn ang="0">
                <a:pos x="connsiteX51756" y="connsiteY51756"/>
              </a:cxn>
              <a:cxn ang="0">
                <a:pos x="connsiteX51757" y="connsiteY51757"/>
              </a:cxn>
              <a:cxn ang="0">
                <a:pos x="connsiteX51758" y="connsiteY51758"/>
              </a:cxn>
              <a:cxn ang="0">
                <a:pos x="connsiteX51759" y="connsiteY51759"/>
              </a:cxn>
              <a:cxn ang="0">
                <a:pos x="connsiteX51760" y="connsiteY51760"/>
              </a:cxn>
              <a:cxn ang="0">
                <a:pos x="connsiteX51761" y="connsiteY51761"/>
              </a:cxn>
              <a:cxn ang="0">
                <a:pos x="connsiteX51762" y="connsiteY51762"/>
              </a:cxn>
              <a:cxn ang="0">
                <a:pos x="connsiteX51763" y="connsiteY51763"/>
              </a:cxn>
              <a:cxn ang="0">
                <a:pos x="connsiteX51764" y="connsiteY51764"/>
              </a:cxn>
              <a:cxn ang="0">
                <a:pos x="connsiteX51765" y="connsiteY51765"/>
              </a:cxn>
              <a:cxn ang="0">
                <a:pos x="connsiteX51766" y="connsiteY51766"/>
              </a:cxn>
              <a:cxn ang="0">
                <a:pos x="connsiteX51767" y="connsiteY51767"/>
              </a:cxn>
              <a:cxn ang="0">
                <a:pos x="connsiteX51768" y="connsiteY51768"/>
              </a:cxn>
              <a:cxn ang="0">
                <a:pos x="connsiteX51769" y="connsiteY51769"/>
              </a:cxn>
              <a:cxn ang="0">
                <a:pos x="connsiteX51770" y="connsiteY51770"/>
              </a:cxn>
              <a:cxn ang="0">
                <a:pos x="connsiteX51771" y="connsiteY51771"/>
              </a:cxn>
              <a:cxn ang="0">
                <a:pos x="connsiteX51772" y="connsiteY51772"/>
              </a:cxn>
              <a:cxn ang="0">
                <a:pos x="connsiteX51773" y="connsiteY51773"/>
              </a:cxn>
              <a:cxn ang="0">
                <a:pos x="connsiteX51774" y="connsiteY51774"/>
              </a:cxn>
              <a:cxn ang="0">
                <a:pos x="connsiteX51775" y="connsiteY51775"/>
              </a:cxn>
              <a:cxn ang="0">
                <a:pos x="connsiteX51776" y="connsiteY51776"/>
              </a:cxn>
              <a:cxn ang="0">
                <a:pos x="connsiteX51777" y="connsiteY51777"/>
              </a:cxn>
              <a:cxn ang="0">
                <a:pos x="connsiteX51778" y="connsiteY51778"/>
              </a:cxn>
              <a:cxn ang="0">
                <a:pos x="connsiteX51779" y="connsiteY51779"/>
              </a:cxn>
              <a:cxn ang="0">
                <a:pos x="connsiteX51780" y="connsiteY51780"/>
              </a:cxn>
              <a:cxn ang="0">
                <a:pos x="connsiteX51781" y="connsiteY51781"/>
              </a:cxn>
              <a:cxn ang="0">
                <a:pos x="connsiteX51782" y="connsiteY51782"/>
              </a:cxn>
              <a:cxn ang="0">
                <a:pos x="connsiteX51783" y="connsiteY51783"/>
              </a:cxn>
              <a:cxn ang="0">
                <a:pos x="connsiteX51784" y="connsiteY51784"/>
              </a:cxn>
              <a:cxn ang="0">
                <a:pos x="connsiteX51785" y="connsiteY51785"/>
              </a:cxn>
              <a:cxn ang="0">
                <a:pos x="connsiteX51786" y="connsiteY51786"/>
              </a:cxn>
              <a:cxn ang="0">
                <a:pos x="connsiteX51787" y="connsiteY51787"/>
              </a:cxn>
              <a:cxn ang="0">
                <a:pos x="connsiteX51788" y="connsiteY51788"/>
              </a:cxn>
              <a:cxn ang="0">
                <a:pos x="connsiteX51789" y="connsiteY51789"/>
              </a:cxn>
              <a:cxn ang="0">
                <a:pos x="connsiteX51790" y="connsiteY51790"/>
              </a:cxn>
              <a:cxn ang="0">
                <a:pos x="connsiteX51791" y="connsiteY51791"/>
              </a:cxn>
              <a:cxn ang="0">
                <a:pos x="connsiteX51792" y="connsiteY51792"/>
              </a:cxn>
              <a:cxn ang="0">
                <a:pos x="connsiteX51793" y="connsiteY51793"/>
              </a:cxn>
              <a:cxn ang="0">
                <a:pos x="connsiteX51794" y="connsiteY51794"/>
              </a:cxn>
              <a:cxn ang="0">
                <a:pos x="connsiteX51795" y="connsiteY51795"/>
              </a:cxn>
              <a:cxn ang="0">
                <a:pos x="connsiteX51796" y="connsiteY51796"/>
              </a:cxn>
              <a:cxn ang="0">
                <a:pos x="connsiteX51797" y="connsiteY51797"/>
              </a:cxn>
              <a:cxn ang="0">
                <a:pos x="connsiteX51798" y="connsiteY51798"/>
              </a:cxn>
              <a:cxn ang="0">
                <a:pos x="connsiteX51799" y="connsiteY51799"/>
              </a:cxn>
              <a:cxn ang="0">
                <a:pos x="connsiteX51800" y="connsiteY51800"/>
              </a:cxn>
              <a:cxn ang="0">
                <a:pos x="connsiteX51801" y="connsiteY51801"/>
              </a:cxn>
              <a:cxn ang="0">
                <a:pos x="connsiteX51802" y="connsiteY51802"/>
              </a:cxn>
              <a:cxn ang="0">
                <a:pos x="connsiteX51803" y="connsiteY51803"/>
              </a:cxn>
              <a:cxn ang="0">
                <a:pos x="connsiteX51804" y="connsiteY51804"/>
              </a:cxn>
              <a:cxn ang="0">
                <a:pos x="connsiteX51805" y="connsiteY51805"/>
              </a:cxn>
              <a:cxn ang="0">
                <a:pos x="connsiteX51806" y="connsiteY51806"/>
              </a:cxn>
              <a:cxn ang="0">
                <a:pos x="connsiteX51807" y="connsiteY51807"/>
              </a:cxn>
              <a:cxn ang="0">
                <a:pos x="connsiteX51808" y="connsiteY51808"/>
              </a:cxn>
              <a:cxn ang="0">
                <a:pos x="connsiteX51809" y="connsiteY51809"/>
              </a:cxn>
              <a:cxn ang="0">
                <a:pos x="connsiteX51810" y="connsiteY51810"/>
              </a:cxn>
              <a:cxn ang="0">
                <a:pos x="connsiteX51811" y="connsiteY51811"/>
              </a:cxn>
              <a:cxn ang="0">
                <a:pos x="connsiteX51812" y="connsiteY51812"/>
              </a:cxn>
              <a:cxn ang="0">
                <a:pos x="connsiteX51813" y="connsiteY51813"/>
              </a:cxn>
              <a:cxn ang="0">
                <a:pos x="connsiteX51814" y="connsiteY51814"/>
              </a:cxn>
              <a:cxn ang="0">
                <a:pos x="connsiteX51815" y="connsiteY51815"/>
              </a:cxn>
              <a:cxn ang="0">
                <a:pos x="connsiteX51816" y="connsiteY51816"/>
              </a:cxn>
              <a:cxn ang="0">
                <a:pos x="connsiteX51817" y="connsiteY51817"/>
              </a:cxn>
              <a:cxn ang="0">
                <a:pos x="connsiteX51818" y="connsiteY51818"/>
              </a:cxn>
              <a:cxn ang="0">
                <a:pos x="connsiteX51819" y="connsiteY51819"/>
              </a:cxn>
              <a:cxn ang="0">
                <a:pos x="connsiteX51820" y="connsiteY51820"/>
              </a:cxn>
              <a:cxn ang="0">
                <a:pos x="connsiteX51821" y="connsiteY51821"/>
              </a:cxn>
              <a:cxn ang="0">
                <a:pos x="connsiteX51822" y="connsiteY51822"/>
              </a:cxn>
              <a:cxn ang="0">
                <a:pos x="connsiteX51823" y="connsiteY51823"/>
              </a:cxn>
              <a:cxn ang="0">
                <a:pos x="connsiteX51824" y="connsiteY51824"/>
              </a:cxn>
              <a:cxn ang="0">
                <a:pos x="connsiteX51825" y="connsiteY51825"/>
              </a:cxn>
              <a:cxn ang="0">
                <a:pos x="connsiteX51826" y="connsiteY51826"/>
              </a:cxn>
              <a:cxn ang="0">
                <a:pos x="connsiteX51827" y="connsiteY51827"/>
              </a:cxn>
              <a:cxn ang="0">
                <a:pos x="connsiteX51828" y="connsiteY51828"/>
              </a:cxn>
              <a:cxn ang="0">
                <a:pos x="connsiteX51829" y="connsiteY51829"/>
              </a:cxn>
              <a:cxn ang="0">
                <a:pos x="connsiteX51830" y="connsiteY51830"/>
              </a:cxn>
              <a:cxn ang="0">
                <a:pos x="connsiteX51831" y="connsiteY51831"/>
              </a:cxn>
              <a:cxn ang="0">
                <a:pos x="connsiteX51832" y="connsiteY51832"/>
              </a:cxn>
              <a:cxn ang="0">
                <a:pos x="connsiteX51833" y="connsiteY51833"/>
              </a:cxn>
              <a:cxn ang="0">
                <a:pos x="connsiteX51834" y="connsiteY51834"/>
              </a:cxn>
              <a:cxn ang="0">
                <a:pos x="connsiteX51835" y="connsiteY51835"/>
              </a:cxn>
              <a:cxn ang="0">
                <a:pos x="connsiteX51836" y="connsiteY51836"/>
              </a:cxn>
              <a:cxn ang="0">
                <a:pos x="connsiteX51837" y="connsiteY51837"/>
              </a:cxn>
              <a:cxn ang="0">
                <a:pos x="connsiteX51838" y="connsiteY51838"/>
              </a:cxn>
              <a:cxn ang="0">
                <a:pos x="connsiteX51839" y="connsiteY51839"/>
              </a:cxn>
              <a:cxn ang="0">
                <a:pos x="connsiteX51840" y="connsiteY51840"/>
              </a:cxn>
              <a:cxn ang="0">
                <a:pos x="connsiteX51841" y="connsiteY51841"/>
              </a:cxn>
              <a:cxn ang="0">
                <a:pos x="connsiteX51842" y="connsiteY51842"/>
              </a:cxn>
              <a:cxn ang="0">
                <a:pos x="connsiteX51843" y="connsiteY51843"/>
              </a:cxn>
              <a:cxn ang="0">
                <a:pos x="connsiteX51844" y="connsiteY51844"/>
              </a:cxn>
              <a:cxn ang="0">
                <a:pos x="connsiteX51845" y="connsiteY51845"/>
              </a:cxn>
              <a:cxn ang="0">
                <a:pos x="connsiteX51846" y="connsiteY51846"/>
              </a:cxn>
              <a:cxn ang="0">
                <a:pos x="connsiteX51847" y="connsiteY51847"/>
              </a:cxn>
              <a:cxn ang="0">
                <a:pos x="connsiteX51848" y="connsiteY51848"/>
              </a:cxn>
              <a:cxn ang="0">
                <a:pos x="connsiteX51849" y="connsiteY51849"/>
              </a:cxn>
              <a:cxn ang="0">
                <a:pos x="connsiteX51850" y="connsiteY51850"/>
              </a:cxn>
              <a:cxn ang="0">
                <a:pos x="connsiteX51851" y="connsiteY51851"/>
              </a:cxn>
              <a:cxn ang="0">
                <a:pos x="connsiteX51852" y="connsiteY51852"/>
              </a:cxn>
              <a:cxn ang="0">
                <a:pos x="connsiteX51853" y="connsiteY51853"/>
              </a:cxn>
              <a:cxn ang="0">
                <a:pos x="connsiteX51854" y="connsiteY51854"/>
              </a:cxn>
              <a:cxn ang="0">
                <a:pos x="connsiteX51855" y="connsiteY51855"/>
              </a:cxn>
              <a:cxn ang="0">
                <a:pos x="connsiteX51856" y="connsiteY51856"/>
              </a:cxn>
              <a:cxn ang="0">
                <a:pos x="connsiteX51857" y="connsiteY51857"/>
              </a:cxn>
              <a:cxn ang="0">
                <a:pos x="connsiteX51858" y="connsiteY51858"/>
              </a:cxn>
              <a:cxn ang="0">
                <a:pos x="connsiteX51859" y="connsiteY51859"/>
              </a:cxn>
              <a:cxn ang="0">
                <a:pos x="connsiteX51860" y="connsiteY51860"/>
              </a:cxn>
              <a:cxn ang="0">
                <a:pos x="connsiteX51861" y="connsiteY51861"/>
              </a:cxn>
              <a:cxn ang="0">
                <a:pos x="connsiteX51862" y="connsiteY51862"/>
              </a:cxn>
              <a:cxn ang="0">
                <a:pos x="connsiteX51863" y="connsiteY51863"/>
              </a:cxn>
              <a:cxn ang="0">
                <a:pos x="connsiteX51864" y="connsiteY51864"/>
              </a:cxn>
              <a:cxn ang="0">
                <a:pos x="connsiteX51865" y="connsiteY51865"/>
              </a:cxn>
              <a:cxn ang="0">
                <a:pos x="connsiteX51866" y="connsiteY51866"/>
              </a:cxn>
              <a:cxn ang="0">
                <a:pos x="connsiteX51867" y="connsiteY51867"/>
              </a:cxn>
              <a:cxn ang="0">
                <a:pos x="connsiteX51868" y="connsiteY51868"/>
              </a:cxn>
              <a:cxn ang="0">
                <a:pos x="connsiteX51869" y="connsiteY51869"/>
              </a:cxn>
              <a:cxn ang="0">
                <a:pos x="connsiteX51870" y="connsiteY51870"/>
              </a:cxn>
              <a:cxn ang="0">
                <a:pos x="connsiteX51871" y="connsiteY51871"/>
              </a:cxn>
              <a:cxn ang="0">
                <a:pos x="connsiteX51872" y="connsiteY51872"/>
              </a:cxn>
              <a:cxn ang="0">
                <a:pos x="connsiteX51873" y="connsiteY51873"/>
              </a:cxn>
              <a:cxn ang="0">
                <a:pos x="connsiteX51874" y="connsiteY51874"/>
              </a:cxn>
              <a:cxn ang="0">
                <a:pos x="connsiteX51875" y="connsiteY51875"/>
              </a:cxn>
              <a:cxn ang="0">
                <a:pos x="connsiteX51876" y="connsiteY51876"/>
              </a:cxn>
              <a:cxn ang="0">
                <a:pos x="connsiteX51877" y="connsiteY51877"/>
              </a:cxn>
              <a:cxn ang="0">
                <a:pos x="connsiteX51878" y="connsiteY51878"/>
              </a:cxn>
              <a:cxn ang="0">
                <a:pos x="connsiteX51879" y="connsiteY51879"/>
              </a:cxn>
              <a:cxn ang="0">
                <a:pos x="connsiteX51880" y="connsiteY51880"/>
              </a:cxn>
              <a:cxn ang="0">
                <a:pos x="connsiteX51881" y="connsiteY51881"/>
              </a:cxn>
              <a:cxn ang="0">
                <a:pos x="connsiteX51882" y="connsiteY51882"/>
              </a:cxn>
              <a:cxn ang="0">
                <a:pos x="connsiteX51883" y="connsiteY51883"/>
              </a:cxn>
              <a:cxn ang="0">
                <a:pos x="connsiteX51884" y="connsiteY51884"/>
              </a:cxn>
              <a:cxn ang="0">
                <a:pos x="connsiteX51885" y="connsiteY51885"/>
              </a:cxn>
              <a:cxn ang="0">
                <a:pos x="connsiteX51886" y="connsiteY51886"/>
              </a:cxn>
              <a:cxn ang="0">
                <a:pos x="connsiteX51887" y="connsiteY51887"/>
              </a:cxn>
              <a:cxn ang="0">
                <a:pos x="connsiteX51888" y="connsiteY51888"/>
              </a:cxn>
              <a:cxn ang="0">
                <a:pos x="connsiteX51889" y="connsiteY51889"/>
              </a:cxn>
              <a:cxn ang="0">
                <a:pos x="connsiteX51890" y="connsiteY51890"/>
              </a:cxn>
              <a:cxn ang="0">
                <a:pos x="connsiteX51891" y="connsiteY51891"/>
              </a:cxn>
              <a:cxn ang="0">
                <a:pos x="connsiteX51892" y="connsiteY51892"/>
              </a:cxn>
              <a:cxn ang="0">
                <a:pos x="connsiteX51893" y="connsiteY51893"/>
              </a:cxn>
              <a:cxn ang="0">
                <a:pos x="connsiteX51894" y="connsiteY51894"/>
              </a:cxn>
              <a:cxn ang="0">
                <a:pos x="connsiteX51895" y="connsiteY51895"/>
              </a:cxn>
              <a:cxn ang="0">
                <a:pos x="connsiteX51896" y="connsiteY51896"/>
              </a:cxn>
              <a:cxn ang="0">
                <a:pos x="connsiteX51897" y="connsiteY51897"/>
              </a:cxn>
              <a:cxn ang="0">
                <a:pos x="connsiteX51898" y="connsiteY51898"/>
              </a:cxn>
              <a:cxn ang="0">
                <a:pos x="connsiteX51899" y="connsiteY51899"/>
              </a:cxn>
              <a:cxn ang="0">
                <a:pos x="connsiteX51900" y="connsiteY51900"/>
              </a:cxn>
              <a:cxn ang="0">
                <a:pos x="connsiteX51901" y="connsiteY51901"/>
              </a:cxn>
              <a:cxn ang="0">
                <a:pos x="connsiteX51902" y="connsiteY51902"/>
              </a:cxn>
              <a:cxn ang="0">
                <a:pos x="connsiteX51903" y="connsiteY51903"/>
              </a:cxn>
              <a:cxn ang="0">
                <a:pos x="connsiteX51904" y="connsiteY51904"/>
              </a:cxn>
              <a:cxn ang="0">
                <a:pos x="connsiteX51905" y="connsiteY51905"/>
              </a:cxn>
              <a:cxn ang="0">
                <a:pos x="connsiteX51906" y="connsiteY51906"/>
              </a:cxn>
              <a:cxn ang="0">
                <a:pos x="connsiteX51907" y="connsiteY51907"/>
              </a:cxn>
              <a:cxn ang="0">
                <a:pos x="connsiteX51908" y="connsiteY51908"/>
              </a:cxn>
              <a:cxn ang="0">
                <a:pos x="connsiteX51909" y="connsiteY51909"/>
              </a:cxn>
              <a:cxn ang="0">
                <a:pos x="connsiteX51910" y="connsiteY51910"/>
              </a:cxn>
              <a:cxn ang="0">
                <a:pos x="connsiteX51911" y="connsiteY51911"/>
              </a:cxn>
              <a:cxn ang="0">
                <a:pos x="connsiteX51912" y="connsiteY51912"/>
              </a:cxn>
              <a:cxn ang="0">
                <a:pos x="connsiteX51913" y="connsiteY51913"/>
              </a:cxn>
              <a:cxn ang="0">
                <a:pos x="connsiteX51914" y="connsiteY51914"/>
              </a:cxn>
              <a:cxn ang="0">
                <a:pos x="connsiteX51915" y="connsiteY51915"/>
              </a:cxn>
              <a:cxn ang="0">
                <a:pos x="connsiteX51916" y="connsiteY51916"/>
              </a:cxn>
              <a:cxn ang="0">
                <a:pos x="connsiteX51917" y="connsiteY51917"/>
              </a:cxn>
              <a:cxn ang="0">
                <a:pos x="connsiteX51918" y="connsiteY51918"/>
              </a:cxn>
              <a:cxn ang="0">
                <a:pos x="connsiteX51919" y="connsiteY51919"/>
              </a:cxn>
              <a:cxn ang="0">
                <a:pos x="connsiteX51920" y="connsiteY51920"/>
              </a:cxn>
              <a:cxn ang="0">
                <a:pos x="connsiteX51921" y="connsiteY51921"/>
              </a:cxn>
              <a:cxn ang="0">
                <a:pos x="connsiteX51922" y="connsiteY51922"/>
              </a:cxn>
              <a:cxn ang="0">
                <a:pos x="connsiteX51923" y="connsiteY51923"/>
              </a:cxn>
              <a:cxn ang="0">
                <a:pos x="connsiteX51924" y="connsiteY51924"/>
              </a:cxn>
              <a:cxn ang="0">
                <a:pos x="connsiteX51925" y="connsiteY51925"/>
              </a:cxn>
              <a:cxn ang="0">
                <a:pos x="connsiteX51926" y="connsiteY51926"/>
              </a:cxn>
              <a:cxn ang="0">
                <a:pos x="connsiteX51927" y="connsiteY51927"/>
              </a:cxn>
              <a:cxn ang="0">
                <a:pos x="connsiteX51928" y="connsiteY51928"/>
              </a:cxn>
              <a:cxn ang="0">
                <a:pos x="connsiteX51929" y="connsiteY51929"/>
              </a:cxn>
              <a:cxn ang="0">
                <a:pos x="connsiteX51930" y="connsiteY51930"/>
              </a:cxn>
              <a:cxn ang="0">
                <a:pos x="connsiteX51931" y="connsiteY51931"/>
              </a:cxn>
              <a:cxn ang="0">
                <a:pos x="connsiteX51932" y="connsiteY51932"/>
              </a:cxn>
              <a:cxn ang="0">
                <a:pos x="connsiteX51933" y="connsiteY51933"/>
              </a:cxn>
              <a:cxn ang="0">
                <a:pos x="connsiteX51934" y="connsiteY51934"/>
              </a:cxn>
              <a:cxn ang="0">
                <a:pos x="connsiteX51935" y="connsiteY51935"/>
              </a:cxn>
              <a:cxn ang="0">
                <a:pos x="connsiteX51936" y="connsiteY51936"/>
              </a:cxn>
              <a:cxn ang="0">
                <a:pos x="connsiteX51937" y="connsiteY51937"/>
              </a:cxn>
              <a:cxn ang="0">
                <a:pos x="connsiteX51938" y="connsiteY51938"/>
              </a:cxn>
              <a:cxn ang="0">
                <a:pos x="connsiteX51939" y="connsiteY51939"/>
              </a:cxn>
              <a:cxn ang="0">
                <a:pos x="connsiteX51940" y="connsiteY51940"/>
              </a:cxn>
              <a:cxn ang="0">
                <a:pos x="connsiteX51941" y="connsiteY51941"/>
              </a:cxn>
              <a:cxn ang="0">
                <a:pos x="connsiteX51942" y="connsiteY51942"/>
              </a:cxn>
              <a:cxn ang="0">
                <a:pos x="connsiteX51943" y="connsiteY51943"/>
              </a:cxn>
              <a:cxn ang="0">
                <a:pos x="connsiteX51944" y="connsiteY51944"/>
              </a:cxn>
              <a:cxn ang="0">
                <a:pos x="connsiteX51945" y="connsiteY51945"/>
              </a:cxn>
              <a:cxn ang="0">
                <a:pos x="connsiteX51946" y="connsiteY51946"/>
              </a:cxn>
              <a:cxn ang="0">
                <a:pos x="connsiteX51947" y="connsiteY51947"/>
              </a:cxn>
              <a:cxn ang="0">
                <a:pos x="connsiteX51948" y="connsiteY51948"/>
              </a:cxn>
              <a:cxn ang="0">
                <a:pos x="connsiteX51949" y="connsiteY51949"/>
              </a:cxn>
              <a:cxn ang="0">
                <a:pos x="connsiteX51950" y="connsiteY51950"/>
              </a:cxn>
              <a:cxn ang="0">
                <a:pos x="connsiteX51951" y="connsiteY51951"/>
              </a:cxn>
              <a:cxn ang="0">
                <a:pos x="connsiteX51952" y="connsiteY51952"/>
              </a:cxn>
              <a:cxn ang="0">
                <a:pos x="connsiteX51953" y="connsiteY51953"/>
              </a:cxn>
              <a:cxn ang="0">
                <a:pos x="connsiteX51954" y="connsiteY51954"/>
              </a:cxn>
              <a:cxn ang="0">
                <a:pos x="connsiteX51955" y="connsiteY51955"/>
              </a:cxn>
              <a:cxn ang="0">
                <a:pos x="connsiteX51956" y="connsiteY51956"/>
              </a:cxn>
              <a:cxn ang="0">
                <a:pos x="connsiteX51957" y="connsiteY51957"/>
              </a:cxn>
              <a:cxn ang="0">
                <a:pos x="connsiteX51958" y="connsiteY51958"/>
              </a:cxn>
              <a:cxn ang="0">
                <a:pos x="connsiteX51959" y="connsiteY51959"/>
              </a:cxn>
              <a:cxn ang="0">
                <a:pos x="connsiteX51960" y="connsiteY51960"/>
              </a:cxn>
              <a:cxn ang="0">
                <a:pos x="connsiteX51961" y="connsiteY51961"/>
              </a:cxn>
              <a:cxn ang="0">
                <a:pos x="connsiteX51962" y="connsiteY51962"/>
              </a:cxn>
              <a:cxn ang="0">
                <a:pos x="connsiteX51963" y="connsiteY51963"/>
              </a:cxn>
              <a:cxn ang="0">
                <a:pos x="connsiteX51964" y="connsiteY51964"/>
              </a:cxn>
              <a:cxn ang="0">
                <a:pos x="connsiteX51965" y="connsiteY51965"/>
              </a:cxn>
              <a:cxn ang="0">
                <a:pos x="connsiteX51966" y="connsiteY51966"/>
              </a:cxn>
              <a:cxn ang="0">
                <a:pos x="connsiteX51967" y="connsiteY51967"/>
              </a:cxn>
              <a:cxn ang="0">
                <a:pos x="connsiteX51968" y="connsiteY51968"/>
              </a:cxn>
              <a:cxn ang="0">
                <a:pos x="connsiteX51969" y="connsiteY51969"/>
              </a:cxn>
              <a:cxn ang="0">
                <a:pos x="connsiteX51970" y="connsiteY51970"/>
              </a:cxn>
              <a:cxn ang="0">
                <a:pos x="connsiteX51971" y="connsiteY51971"/>
              </a:cxn>
              <a:cxn ang="0">
                <a:pos x="connsiteX51972" y="connsiteY51972"/>
              </a:cxn>
              <a:cxn ang="0">
                <a:pos x="connsiteX51973" y="connsiteY51973"/>
              </a:cxn>
              <a:cxn ang="0">
                <a:pos x="connsiteX51974" y="connsiteY51974"/>
              </a:cxn>
              <a:cxn ang="0">
                <a:pos x="connsiteX51975" y="connsiteY51975"/>
              </a:cxn>
              <a:cxn ang="0">
                <a:pos x="connsiteX51976" y="connsiteY51976"/>
              </a:cxn>
              <a:cxn ang="0">
                <a:pos x="connsiteX51977" y="connsiteY51977"/>
              </a:cxn>
              <a:cxn ang="0">
                <a:pos x="connsiteX51978" y="connsiteY51978"/>
              </a:cxn>
              <a:cxn ang="0">
                <a:pos x="connsiteX51979" y="connsiteY51979"/>
              </a:cxn>
              <a:cxn ang="0">
                <a:pos x="connsiteX51980" y="connsiteY51980"/>
              </a:cxn>
              <a:cxn ang="0">
                <a:pos x="connsiteX51981" y="connsiteY51981"/>
              </a:cxn>
              <a:cxn ang="0">
                <a:pos x="connsiteX51982" y="connsiteY51982"/>
              </a:cxn>
              <a:cxn ang="0">
                <a:pos x="connsiteX51983" y="connsiteY51983"/>
              </a:cxn>
              <a:cxn ang="0">
                <a:pos x="connsiteX51984" y="connsiteY51984"/>
              </a:cxn>
              <a:cxn ang="0">
                <a:pos x="connsiteX51985" y="connsiteY51985"/>
              </a:cxn>
              <a:cxn ang="0">
                <a:pos x="connsiteX51986" y="connsiteY51986"/>
              </a:cxn>
              <a:cxn ang="0">
                <a:pos x="connsiteX51987" y="connsiteY51987"/>
              </a:cxn>
              <a:cxn ang="0">
                <a:pos x="connsiteX51988" y="connsiteY51988"/>
              </a:cxn>
              <a:cxn ang="0">
                <a:pos x="connsiteX51989" y="connsiteY51989"/>
              </a:cxn>
              <a:cxn ang="0">
                <a:pos x="connsiteX51990" y="connsiteY51990"/>
              </a:cxn>
              <a:cxn ang="0">
                <a:pos x="connsiteX51991" y="connsiteY51991"/>
              </a:cxn>
              <a:cxn ang="0">
                <a:pos x="connsiteX51992" y="connsiteY51992"/>
              </a:cxn>
              <a:cxn ang="0">
                <a:pos x="connsiteX51993" y="connsiteY51993"/>
              </a:cxn>
              <a:cxn ang="0">
                <a:pos x="connsiteX51994" y="connsiteY51994"/>
              </a:cxn>
              <a:cxn ang="0">
                <a:pos x="connsiteX51995" y="connsiteY51995"/>
              </a:cxn>
              <a:cxn ang="0">
                <a:pos x="connsiteX51996" y="connsiteY51996"/>
              </a:cxn>
              <a:cxn ang="0">
                <a:pos x="connsiteX51997" y="connsiteY51997"/>
              </a:cxn>
              <a:cxn ang="0">
                <a:pos x="connsiteX51998" y="connsiteY51998"/>
              </a:cxn>
              <a:cxn ang="0">
                <a:pos x="connsiteX51999" y="connsiteY51999"/>
              </a:cxn>
              <a:cxn ang="0">
                <a:pos x="connsiteX52000" y="connsiteY52000"/>
              </a:cxn>
              <a:cxn ang="0">
                <a:pos x="connsiteX52001" y="connsiteY52001"/>
              </a:cxn>
              <a:cxn ang="0">
                <a:pos x="connsiteX52002" y="connsiteY52002"/>
              </a:cxn>
              <a:cxn ang="0">
                <a:pos x="connsiteX52003" y="connsiteY52003"/>
              </a:cxn>
              <a:cxn ang="0">
                <a:pos x="connsiteX52004" y="connsiteY52004"/>
              </a:cxn>
              <a:cxn ang="0">
                <a:pos x="connsiteX52005" y="connsiteY52005"/>
              </a:cxn>
              <a:cxn ang="0">
                <a:pos x="connsiteX52006" y="connsiteY52006"/>
              </a:cxn>
              <a:cxn ang="0">
                <a:pos x="connsiteX52007" y="connsiteY52007"/>
              </a:cxn>
              <a:cxn ang="0">
                <a:pos x="connsiteX52008" y="connsiteY52008"/>
              </a:cxn>
              <a:cxn ang="0">
                <a:pos x="connsiteX52009" y="connsiteY52009"/>
              </a:cxn>
              <a:cxn ang="0">
                <a:pos x="connsiteX52010" y="connsiteY52010"/>
              </a:cxn>
              <a:cxn ang="0">
                <a:pos x="connsiteX52011" y="connsiteY52011"/>
              </a:cxn>
              <a:cxn ang="0">
                <a:pos x="connsiteX52012" y="connsiteY52012"/>
              </a:cxn>
              <a:cxn ang="0">
                <a:pos x="connsiteX52013" y="connsiteY52013"/>
              </a:cxn>
              <a:cxn ang="0">
                <a:pos x="connsiteX52014" y="connsiteY52014"/>
              </a:cxn>
              <a:cxn ang="0">
                <a:pos x="connsiteX52015" y="connsiteY52015"/>
              </a:cxn>
              <a:cxn ang="0">
                <a:pos x="connsiteX52016" y="connsiteY52016"/>
              </a:cxn>
              <a:cxn ang="0">
                <a:pos x="connsiteX52017" y="connsiteY52017"/>
              </a:cxn>
              <a:cxn ang="0">
                <a:pos x="connsiteX52018" y="connsiteY52018"/>
              </a:cxn>
              <a:cxn ang="0">
                <a:pos x="connsiteX52019" y="connsiteY52019"/>
              </a:cxn>
              <a:cxn ang="0">
                <a:pos x="connsiteX52020" y="connsiteY52020"/>
              </a:cxn>
              <a:cxn ang="0">
                <a:pos x="connsiteX52021" y="connsiteY52021"/>
              </a:cxn>
              <a:cxn ang="0">
                <a:pos x="connsiteX52022" y="connsiteY52022"/>
              </a:cxn>
              <a:cxn ang="0">
                <a:pos x="connsiteX52023" y="connsiteY52023"/>
              </a:cxn>
              <a:cxn ang="0">
                <a:pos x="connsiteX52024" y="connsiteY52024"/>
              </a:cxn>
              <a:cxn ang="0">
                <a:pos x="connsiteX52025" y="connsiteY52025"/>
              </a:cxn>
              <a:cxn ang="0">
                <a:pos x="connsiteX52026" y="connsiteY52026"/>
              </a:cxn>
              <a:cxn ang="0">
                <a:pos x="connsiteX52027" y="connsiteY52027"/>
              </a:cxn>
              <a:cxn ang="0">
                <a:pos x="connsiteX52028" y="connsiteY52028"/>
              </a:cxn>
              <a:cxn ang="0">
                <a:pos x="connsiteX52029" y="connsiteY52029"/>
              </a:cxn>
              <a:cxn ang="0">
                <a:pos x="connsiteX52030" y="connsiteY52030"/>
              </a:cxn>
              <a:cxn ang="0">
                <a:pos x="connsiteX52031" y="connsiteY52031"/>
              </a:cxn>
              <a:cxn ang="0">
                <a:pos x="connsiteX52032" y="connsiteY52032"/>
              </a:cxn>
              <a:cxn ang="0">
                <a:pos x="connsiteX52033" y="connsiteY52033"/>
              </a:cxn>
              <a:cxn ang="0">
                <a:pos x="connsiteX52034" y="connsiteY52034"/>
              </a:cxn>
              <a:cxn ang="0">
                <a:pos x="connsiteX52035" y="connsiteY52035"/>
              </a:cxn>
              <a:cxn ang="0">
                <a:pos x="connsiteX52036" y="connsiteY52036"/>
              </a:cxn>
              <a:cxn ang="0">
                <a:pos x="connsiteX52037" y="connsiteY52037"/>
              </a:cxn>
              <a:cxn ang="0">
                <a:pos x="connsiteX52038" y="connsiteY52038"/>
              </a:cxn>
              <a:cxn ang="0">
                <a:pos x="connsiteX52039" y="connsiteY52039"/>
              </a:cxn>
              <a:cxn ang="0">
                <a:pos x="connsiteX52040" y="connsiteY52040"/>
              </a:cxn>
              <a:cxn ang="0">
                <a:pos x="connsiteX52041" y="connsiteY52041"/>
              </a:cxn>
              <a:cxn ang="0">
                <a:pos x="connsiteX52042" y="connsiteY52042"/>
              </a:cxn>
              <a:cxn ang="0">
                <a:pos x="connsiteX52043" y="connsiteY52043"/>
              </a:cxn>
              <a:cxn ang="0">
                <a:pos x="connsiteX52044" y="connsiteY52044"/>
              </a:cxn>
              <a:cxn ang="0">
                <a:pos x="connsiteX52045" y="connsiteY52045"/>
              </a:cxn>
              <a:cxn ang="0">
                <a:pos x="connsiteX52046" y="connsiteY52046"/>
              </a:cxn>
              <a:cxn ang="0">
                <a:pos x="connsiteX52047" y="connsiteY52047"/>
              </a:cxn>
              <a:cxn ang="0">
                <a:pos x="connsiteX52048" y="connsiteY52048"/>
              </a:cxn>
              <a:cxn ang="0">
                <a:pos x="connsiteX52049" y="connsiteY52049"/>
              </a:cxn>
              <a:cxn ang="0">
                <a:pos x="connsiteX52050" y="connsiteY52050"/>
              </a:cxn>
              <a:cxn ang="0">
                <a:pos x="connsiteX52051" y="connsiteY52051"/>
              </a:cxn>
              <a:cxn ang="0">
                <a:pos x="connsiteX52052" y="connsiteY52052"/>
              </a:cxn>
              <a:cxn ang="0">
                <a:pos x="connsiteX52053" y="connsiteY52053"/>
              </a:cxn>
              <a:cxn ang="0">
                <a:pos x="connsiteX52054" y="connsiteY52054"/>
              </a:cxn>
              <a:cxn ang="0">
                <a:pos x="connsiteX52055" y="connsiteY52055"/>
              </a:cxn>
              <a:cxn ang="0">
                <a:pos x="connsiteX52056" y="connsiteY52056"/>
              </a:cxn>
              <a:cxn ang="0">
                <a:pos x="connsiteX52057" y="connsiteY52057"/>
              </a:cxn>
              <a:cxn ang="0">
                <a:pos x="connsiteX52058" y="connsiteY52058"/>
              </a:cxn>
              <a:cxn ang="0">
                <a:pos x="connsiteX52059" y="connsiteY52059"/>
              </a:cxn>
              <a:cxn ang="0">
                <a:pos x="connsiteX52060" y="connsiteY52060"/>
              </a:cxn>
              <a:cxn ang="0">
                <a:pos x="connsiteX52061" y="connsiteY52061"/>
              </a:cxn>
              <a:cxn ang="0">
                <a:pos x="connsiteX52062" y="connsiteY52062"/>
              </a:cxn>
              <a:cxn ang="0">
                <a:pos x="connsiteX52063" y="connsiteY52063"/>
              </a:cxn>
              <a:cxn ang="0">
                <a:pos x="connsiteX52064" y="connsiteY52064"/>
              </a:cxn>
              <a:cxn ang="0">
                <a:pos x="connsiteX52065" y="connsiteY52065"/>
              </a:cxn>
              <a:cxn ang="0">
                <a:pos x="connsiteX52066" y="connsiteY52066"/>
              </a:cxn>
              <a:cxn ang="0">
                <a:pos x="connsiteX52067" y="connsiteY52067"/>
              </a:cxn>
              <a:cxn ang="0">
                <a:pos x="connsiteX52068" y="connsiteY52068"/>
              </a:cxn>
              <a:cxn ang="0">
                <a:pos x="connsiteX52069" y="connsiteY52069"/>
              </a:cxn>
              <a:cxn ang="0">
                <a:pos x="connsiteX52070" y="connsiteY52070"/>
              </a:cxn>
              <a:cxn ang="0">
                <a:pos x="connsiteX52071" y="connsiteY52071"/>
              </a:cxn>
              <a:cxn ang="0">
                <a:pos x="connsiteX52072" y="connsiteY52072"/>
              </a:cxn>
              <a:cxn ang="0">
                <a:pos x="connsiteX52073" y="connsiteY52073"/>
              </a:cxn>
              <a:cxn ang="0">
                <a:pos x="connsiteX52074" y="connsiteY52074"/>
              </a:cxn>
              <a:cxn ang="0">
                <a:pos x="connsiteX52075" y="connsiteY52075"/>
              </a:cxn>
              <a:cxn ang="0">
                <a:pos x="connsiteX52076" y="connsiteY52076"/>
              </a:cxn>
              <a:cxn ang="0">
                <a:pos x="connsiteX52077" y="connsiteY52077"/>
              </a:cxn>
              <a:cxn ang="0">
                <a:pos x="connsiteX52078" y="connsiteY52078"/>
              </a:cxn>
              <a:cxn ang="0">
                <a:pos x="connsiteX52079" y="connsiteY52079"/>
              </a:cxn>
              <a:cxn ang="0">
                <a:pos x="connsiteX52080" y="connsiteY52080"/>
              </a:cxn>
              <a:cxn ang="0">
                <a:pos x="connsiteX52081" y="connsiteY52081"/>
              </a:cxn>
              <a:cxn ang="0">
                <a:pos x="connsiteX52082" y="connsiteY52082"/>
              </a:cxn>
              <a:cxn ang="0">
                <a:pos x="connsiteX52083" y="connsiteY52083"/>
              </a:cxn>
              <a:cxn ang="0">
                <a:pos x="connsiteX52084" y="connsiteY52084"/>
              </a:cxn>
              <a:cxn ang="0">
                <a:pos x="connsiteX52085" y="connsiteY52085"/>
              </a:cxn>
              <a:cxn ang="0">
                <a:pos x="connsiteX52086" y="connsiteY52086"/>
              </a:cxn>
              <a:cxn ang="0">
                <a:pos x="connsiteX52087" y="connsiteY52087"/>
              </a:cxn>
              <a:cxn ang="0">
                <a:pos x="connsiteX52088" y="connsiteY52088"/>
              </a:cxn>
              <a:cxn ang="0">
                <a:pos x="connsiteX52089" y="connsiteY52089"/>
              </a:cxn>
              <a:cxn ang="0">
                <a:pos x="connsiteX52090" y="connsiteY52090"/>
              </a:cxn>
              <a:cxn ang="0">
                <a:pos x="connsiteX52091" y="connsiteY52091"/>
              </a:cxn>
              <a:cxn ang="0">
                <a:pos x="connsiteX52092" y="connsiteY52092"/>
              </a:cxn>
              <a:cxn ang="0">
                <a:pos x="connsiteX52093" y="connsiteY52093"/>
              </a:cxn>
              <a:cxn ang="0">
                <a:pos x="connsiteX52094" y="connsiteY52094"/>
              </a:cxn>
              <a:cxn ang="0">
                <a:pos x="connsiteX52095" y="connsiteY52095"/>
              </a:cxn>
              <a:cxn ang="0">
                <a:pos x="connsiteX52096" y="connsiteY52096"/>
              </a:cxn>
              <a:cxn ang="0">
                <a:pos x="connsiteX52097" y="connsiteY52097"/>
              </a:cxn>
              <a:cxn ang="0">
                <a:pos x="connsiteX52098" y="connsiteY52098"/>
              </a:cxn>
              <a:cxn ang="0">
                <a:pos x="connsiteX52099" y="connsiteY52099"/>
              </a:cxn>
              <a:cxn ang="0">
                <a:pos x="connsiteX52100" y="connsiteY52100"/>
              </a:cxn>
              <a:cxn ang="0">
                <a:pos x="connsiteX52101" y="connsiteY52101"/>
              </a:cxn>
              <a:cxn ang="0">
                <a:pos x="connsiteX52102" y="connsiteY52102"/>
              </a:cxn>
              <a:cxn ang="0">
                <a:pos x="connsiteX52103" y="connsiteY52103"/>
              </a:cxn>
              <a:cxn ang="0">
                <a:pos x="connsiteX52104" y="connsiteY52104"/>
              </a:cxn>
              <a:cxn ang="0">
                <a:pos x="connsiteX52105" y="connsiteY52105"/>
              </a:cxn>
              <a:cxn ang="0">
                <a:pos x="connsiteX52106" y="connsiteY52106"/>
              </a:cxn>
              <a:cxn ang="0">
                <a:pos x="connsiteX52107" y="connsiteY52107"/>
              </a:cxn>
              <a:cxn ang="0">
                <a:pos x="connsiteX52108" y="connsiteY52108"/>
              </a:cxn>
              <a:cxn ang="0">
                <a:pos x="connsiteX52109" y="connsiteY52109"/>
              </a:cxn>
              <a:cxn ang="0">
                <a:pos x="connsiteX52110" y="connsiteY52110"/>
              </a:cxn>
              <a:cxn ang="0">
                <a:pos x="connsiteX52111" y="connsiteY52111"/>
              </a:cxn>
              <a:cxn ang="0">
                <a:pos x="connsiteX52112" y="connsiteY52112"/>
              </a:cxn>
              <a:cxn ang="0">
                <a:pos x="connsiteX52113" y="connsiteY52113"/>
              </a:cxn>
              <a:cxn ang="0">
                <a:pos x="connsiteX52114" y="connsiteY52114"/>
              </a:cxn>
              <a:cxn ang="0">
                <a:pos x="connsiteX52115" y="connsiteY52115"/>
              </a:cxn>
              <a:cxn ang="0">
                <a:pos x="connsiteX52116" y="connsiteY52116"/>
              </a:cxn>
              <a:cxn ang="0">
                <a:pos x="connsiteX52117" y="connsiteY52117"/>
              </a:cxn>
              <a:cxn ang="0">
                <a:pos x="connsiteX52118" y="connsiteY52118"/>
              </a:cxn>
              <a:cxn ang="0">
                <a:pos x="connsiteX52119" y="connsiteY52119"/>
              </a:cxn>
              <a:cxn ang="0">
                <a:pos x="connsiteX52120" y="connsiteY52120"/>
              </a:cxn>
              <a:cxn ang="0">
                <a:pos x="connsiteX52121" y="connsiteY52121"/>
              </a:cxn>
              <a:cxn ang="0">
                <a:pos x="connsiteX52122" y="connsiteY52122"/>
              </a:cxn>
              <a:cxn ang="0">
                <a:pos x="connsiteX52123" y="connsiteY52123"/>
              </a:cxn>
              <a:cxn ang="0">
                <a:pos x="connsiteX52124" y="connsiteY52124"/>
              </a:cxn>
              <a:cxn ang="0">
                <a:pos x="connsiteX52125" y="connsiteY52125"/>
              </a:cxn>
              <a:cxn ang="0">
                <a:pos x="connsiteX52126" y="connsiteY52126"/>
              </a:cxn>
            </a:cxnLst>
            <a:rect l="l" t="t" r="r" b="b"/>
            <a:pathLst>
              <a:path w="8079933" h="4687251">
                <a:moveTo>
                  <a:pt x="7607668" y="4671984"/>
                </a:moveTo>
                <a:lnTo>
                  <a:pt x="7610056" y="4672092"/>
                </a:lnTo>
                <a:lnTo>
                  <a:pt x="7609404" y="4676423"/>
                </a:lnTo>
                <a:lnTo>
                  <a:pt x="7606474" y="4680213"/>
                </a:lnTo>
                <a:lnTo>
                  <a:pt x="7608536" y="4684544"/>
                </a:lnTo>
                <a:lnTo>
                  <a:pt x="7607450" y="4687251"/>
                </a:lnTo>
                <a:lnTo>
                  <a:pt x="7602676" y="4685194"/>
                </a:lnTo>
                <a:lnTo>
                  <a:pt x="7598335" y="4686926"/>
                </a:lnTo>
                <a:lnTo>
                  <a:pt x="7595948" y="4683678"/>
                </a:lnTo>
                <a:close/>
                <a:moveTo>
                  <a:pt x="2515090" y="4599009"/>
                </a:moveTo>
                <a:lnTo>
                  <a:pt x="2517477" y="4599009"/>
                </a:lnTo>
                <a:lnTo>
                  <a:pt x="2514221" y="4602258"/>
                </a:lnTo>
                <a:lnTo>
                  <a:pt x="2512160" y="4600742"/>
                </a:lnTo>
                <a:cubicBezTo>
                  <a:pt x="2512268" y="4600959"/>
                  <a:pt x="2515090" y="4599009"/>
                  <a:pt x="2515090" y="4599009"/>
                </a:cubicBezTo>
                <a:close/>
                <a:moveTo>
                  <a:pt x="2519647" y="4589589"/>
                </a:moveTo>
                <a:lnTo>
                  <a:pt x="2522795" y="4590781"/>
                </a:lnTo>
                <a:lnTo>
                  <a:pt x="2523446" y="4594353"/>
                </a:lnTo>
                <a:lnTo>
                  <a:pt x="2523229" y="4598359"/>
                </a:lnTo>
                <a:lnTo>
                  <a:pt x="2520516" y="4598143"/>
                </a:lnTo>
                <a:lnTo>
                  <a:pt x="2518237" y="4595653"/>
                </a:lnTo>
                <a:lnTo>
                  <a:pt x="2520950" y="4592188"/>
                </a:lnTo>
                <a:close/>
                <a:moveTo>
                  <a:pt x="2429470" y="4575623"/>
                </a:moveTo>
                <a:lnTo>
                  <a:pt x="2431423" y="4577247"/>
                </a:lnTo>
                <a:lnTo>
                  <a:pt x="2428711" y="4580279"/>
                </a:lnTo>
                <a:lnTo>
                  <a:pt x="2425564" y="4577464"/>
                </a:lnTo>
                <a:close/>
                <a:moveTo>
                  <a:pt x="2426757" y="4568693"/>
                </a:moveTo>
                <a:lnTo>
                  <a:pt x="2430121" y="4570318"/>
                </a:lnTo>
                <a:lnTo>
                  <a:pt x="2429796" y="4572916"/>
                </a:lnTo>
                <a:lnTo>
                  <a:pt x="2427083" y="4573024"/>
                </a:lnTo>
                <a:lnTo>
                  <a:pt x="2425564" y="4571509"/>
                </a:lnTo>
                <a:close/>
                <a:moveTo>
                  <a:pt x="2494254" y="4567611"/>
                </a:moveTo>
                <a:lnTo>
                  <a:pt x="2501634" y="4568261"/>
                </a:lnTo>
                <a:lnTo>
                  <a:pt x="2507493" y="4567828"/>
                </a:lnTo>
                <a:lnTo>
                  <a:pt x="2514438" y="4567611"/>
                </a:lnTo>
                <a:lnTo>
                  <a:pt x="2518887" y="4568803"/>
                </a:lnTo>
                <a:lnTo>
                  <a:pt x="2519755" y="4572916"/>
                </a:lnTo>
                <a:lnTo>
                  <a:pt x="2522143" y="4575299"/>
                </a:lnTo>
                <a:lnTo>
                  <a:pt x="2519755" y="4577789"/>
                </a:lnTo>
                <a:lnTo>
                  <a:pt x="2516174" y="4580171"/>
                </a:lnTo>
                <a:lnTo>
                  <a:pt x="2513896" y="4577248"/>
                </a:lnTo>
                <a:lnTo>
                  <a:pt x="2511291" y="4576056"/>
                </a:lnTo>
                <a:lnTo>
                  <a:pt x="2506842" y="4579197"/>
                </a:lnTo>
                <a:lnTo>
                  <a:pt x="2501308" y="4579413"/>
                </a:lnTo>
                <a:lnTo>
                  <a:pt x="2499246" y="4576598"/>
                </a:lnTo>
                <a:lnTo>
                  <a:pt x="2497184" y="4572050"/>
                </a:lnTo>
                <a:lnTo>
                  <a:pt x="2493603" y="4571942"/>
                </a:lnTo>
                <a:lnTo>
                  <a:pt x="2489914" y="4575732"/>
                </a:lnTo>
                <a:lnTo>
                  <a:pt x="2487201" y="4575732"/>
                </a:lnTo>
                <a:lnTo>
                  <a:pt x="2481558" y="4576598"/>
                </a:lnTo>
                <a:lnTo>
                  <a:pt x="2486007" y="4579954"/>
                </a:lnTo>
                <a:lnTo>
                  <a:pt x="2487201" y="4579413"/>
                </a:lnTo>
                <a:lnTo>
                  <a:pt x="2492844" y="4580712"/>
                </a:lnTo>
                <a:lnTo>
                  <a:pt x="2494906" y="4582336"/>
                </a:lnTo>
                <a:lnTo>
                  <a:pt x="2493386" y="4584068"/>
                </a:lnTo>
                <a:lnTo>
                  <a:pt x="2497293" y="4585693"/>
                </a:lnTo>
                <a:lnTo>
                  <a:pt x="2502393" y="4590023"/>
                </a:lnTo>
                <a:lnTo>
                  <a:pt x="2502393" y="4594246"/>
                </a:lnTo>
                <a:lnTo>
                  <a:pt x="2500440" y="4593921"/>
                </a:lnTo>
                <a:lnTo>
                  <a:pt x="2495122" y="4589157"/>
                </a:lnTo>
                <a:lnTo>
                  <a:pt x="2491650" y="4588183"/>
                </a:lnTo>
                <a:lnTo>
                  <a:pt x="2488069" y="4590132"/>
                </a:lnTo>
                <a:lnTo>
                  <a:pt x="2484597" y="4587750"/>
                </a:lnTo>
                <a:lnTo>
                  <a:pt x="2483077" y="4583419"/>
                </a:lnTo>
                <a:lnTo>
                  <a:pt x="2478086" y="4583960"/>
                </a:lnTo>
                <a:lnTo>
                  <a:pt x="2477543" y="4586126"/>
                </a:lnTo>
                <a:lnTo>
                  <a:pt x="2481124" y="4588183"/>
                </a:lnTo>
                <a:lnTo>
                  <a:pt x="2480690" y="4591864"/>
                </a:lnTo>
                <a:lnTo>
                  <a:pt x="2478628" y="4591972"/>
                </a:lnTo>
                <a:lnTo>
                  <a:pt x="2473094" y="4589482"/>
                </a:lnTo>
                <a:lnTo>
                  <a:pt x="2469947" y="4590782"/>
                </a:lnTo>
                <a:lnTo>
                  <a:pt x="2468753" y="4588399"/>
                </a:lnTo>
                <a:lnTo>
                  <a:pt x="2465498" y="4587209"/>
                </a:lnTo>
                <a:lnTo>
                  <a:pt x="2467017" y="4583636"/>
                </a:lnTo>
                <a:lnTo>
                  <a:pt x="2463545" y="4586559"/>
                </a:lnTo>
                <a:lnTo>
                  <a:pt x="2459855" y="4583744"/>
                </a:lnTo>
                <a:lnTo>
                  <a:pt x="2459964" y="4581687"/>
                </a:lnTo>
                <a:lnTo>
                  <a:pt x="2463761" y="4579846"/>
                </a:lnTo>
                <a:lnTo>
                  <a:pt x="2470706" y="4577248"/>
                </a:lnTo>
                <a:lnTo>
                  <a:pt x="2466800" y="4575299"/>
                </a:lnTo>
                <a:lnTo>
                  <a:pt x="2463978" y="4576706"/>
                </a:lnTo>
                <a:lnTo>
                  <a:pt x="2461374" y="4574324"/>
                </a:lnTo>
                <a:lnTo>
                  <a:pt x="2464738" y="4572591"/>
                </a:lnTo>
                <a:lnTo>
                  <a:pt x="2468536" y="4572591"/>
                </a:lnTo>
                <a:lnTo>
                  <a:pt x="2471032" y="4572050"/>
                </a:lnTo>
                <a:lnTo>
                  <a:pt x="2476566" y="4572916"/>
                </a:lnTo>
                <a:lnTo>
                  <a:pt x="2488069" y="4570318"/>
                </a:lnTo>
                <a:close/>
                <a:moveTo>
                  <a:pt x="2584759" y="4552236"/>
                </a:moveTo>
                <a:lnTo>
                  <a:pt x="2590293" y="4552561"/>
                </a:lnTo>
                <a:lnTo>
                  <a:pt x="2585952" y="4556567"/>
                </a:lnTo>
                <a:lnTo>
                  <a:pt x="2581069" y="4557758"/>
                </a:lnTo>
                <a:lnTo>
                  <a:pt x="2575860" y="4561114"/>
                </a:lnTo>
                <a:lnTo>
                  <a:pt x="2572062" y="4557758"/>
                </a:lnTo>
                <a:lnTo>
                  <a:pt x="2574992" y="4555918"/>
                </a:lnTo>
                <a:lnTo>
                  <a:pt x="2581503" y="4555593"/>
                </a:lnTo>
                <a:close/>
                <a:moveTo>
                  <a:pt x="2404619" y="4547040"/>
                </a:moveTo>
                <a:lnTo>
                  <a:pt x="2406790" y="4548014"/>
                </a:lnTo>
                <a:lnTo>
                  <a:pt x="2405922" y="4549314"/>
                </a:lnTo>
                <a:lnTo>
                  <a:pt x="2403643" y="4552887"/>
                </a:lnTo>
                <a:lnTo>
                  <a:pt x="2400496" y="4553861"/>
                </a:lnTo>
                <a:lnTo>
                  <a:pt x="2400496" y="4550722"/>
                </a:lnTo>
                <a:lnTo>
                  <a:pt x="2403209" y="4547581"/>
                </a:lnTo>
                <a:close/>
                <a:moveTo>
                  <a:pt x="2435656" y="4544766"/>
                </a:moveTo>
                <a:lnTo>
                  <a:pt x="2440105" y="4547148"/>
                </a:lnTo>
                <a:lnTo>
                  <a:pt x="2448135" y="4550396"/>
                </a:lnTo>
                <a:lnTo>
                  <a:pt x="2450196" y="4551262"/>
                </a:lnTo>
                <a:lnTo>
                  <a:pt x="2452041" y="4549746"/>
                </a:lnTo>
                <a:lnTo>
                  <a:pt x="2450523" y="4547689"/>
                </a:lnTo>
                <a:lnTo>
                  <a:pt x="2450848" y="4545740"/>
                </a:lnTo>
                <a:lnTo>
                  <a:pt x="2456382" y="4547689"/>
                </a:lnTo>
                <a:lnTo>
                  <a:pt x="2468428" y="4551262"/>
                </a:lnTo>
                <a:lnTo>
                  <a:pt x="2476675" y="4554402"/>
                </a:lnTo>
                <a:lnTo>
                  <a:pt x="2481124" y="4557325"/>
                </a:lnTo>
                <a:lnTo>
                  <a:pt x="2483837" y="4557217"/>
                </a:lnTo>
                <a:lnTo>
                  <a:pt x="2486116" y="4566203"/>
                </a:lnTo>
                <a:lnTo>
                  <a:pt x="2480690" y="4566203"/>
                </a:lnTo>
                <a:lnTo>
                  <a:pt x="2481124" y="4568802"/>
                </a:lnTo>
                <a:lnTo>
                  <a:pt x="2478737" y="4570318"/>
                </a:lnTo>
                <a:lnTo>
                  <a:pt x="2459855" y="4565554"/>
                </a:lnTo>
                <a:lnTo>
                  <a:pt x="2455622" y="4567611"/>
                </a:lnTo>
                <a:lnTo>
                  <a:pt x="2445530" y="4571509"/>
                </a:lnTo>
                <a:lnTo>
                  <a:pt x="2448135" y="4573241"/>
                </a:lnTo>
                <a:lnTo>
                  <a:pt x="2451282" y="4573999"/>
                </a:lnTo>
                <a:lnTo>
                  <a:pt x="2450631" y="4576056"/>
                </a:lnTo>
                <a:lnTo>
                  <a:pt x="2447810" y="4578005"/>
                </a:lnTo>
                <a:lnTo>
                  <a:pt x="2444337" y="4576489"/>
                </a:lnTo>
                <a:lnTo>
                  <a:pt x="2443143" y="4576705"/>
                </a:lnTo>
                <a:lnTo>
                  <a:pt x="2443794" y="4579196"/>
                </a:lnTo>
                <a:lnTo>
                  <a:pt x="2448461" y="4582011"/>
                </a:lnTo>
                <a:lnTo>
                  <a:pt x="2451391" y="4584068"/>
                </a:lnTo>
                <a:lnTo>
                  <a:pt x="2450739" y="4585692"/>
                </a:lnTo>
                <a:lnTo>
                  <a:pt x="2447918" y="4585692"/>
                </a:lnTo>
                <a:lnTo>
                  <a:pt x="2444012" y="4581686"/>
                </a:lnTo>
                <a:lnTo>
                  <a:pt x="2441190" y="4580495"/>
                </a:lnTo>
                <a:lnTo>
                  <a:pt x="2438151" y="4580604"/>
                </a:lnTo>
                <a:lnTo>
                  <a:pt x="2435439" y="4577572"/>
                </a:lnTo>
                <a:lnTo>
                  <a:pt x="2437500" y="4573241"/>
                </a:lnTo>
                <a:lnTo>
                  <a:pt x="2440973" y="4571617"/>
                </a:lnTo>
                <a:lnTo>
                  <a:pt x="2438043" y="4569776"/>
                </a:lnTo>
                <a:lnTo>
                  <a:pt x="2438043" y="4567070"/>
                </a:lnTo>
                <a:lnTo>
                  <a:pt x="2436632" y="4565337"/>
                </a:lnTo>
                <a:lnTo>
                  <a:pt x="2434245" y="4566421"/>
                </a:lnTo>
                <a:lnTo>
                  <a:pt x="2429687" y="4563389"/>
                </a:lnTo>
                <a:lnTo>
                  <a:pt x="2426866" y="4562089"/>
                </a:lnTo>
                <a:lnTo>
                  <a:pt x="2425563" y="4563064"/>
                </a:lnTo>
                <a:lnTo>
                  <a:pt x="2424262" y="4565229"/>
                </a:lnTo>
                <a:lnTo>
                  <a:pt x="2420029" y="4565446"/>
                </a:lnTo>
                <a:lnTo>
                  <a:pt x="2414821" y="4564471"/>
                </a:lnTo>
                <a:lnTo>
                  <a:pt x="2414061" y="4561764"/>
                </a:lnTo>
                <a:lnTo>
                  <a:pt x="2418619" y="4560682"/>
                </a:lnTo>
                <a:lnTo>
                  <a:pt x="2422417" y="4561440"/>
                </a:lnTo>
                <a:lnTo>
                  <a:pt x="2423176" y="4560140"/>
                </a:lnTo>
                <a:lnTo>
                  <a:pt x="2421440" y="4558408"/>
                </a:lnTo>
                <a:lnTo>
                  <a:pt x="2423176" y="4557325"/>
                </a:lnTo>
                <a:lnTo>
                  <a:pt x="2431098" y="4556784"/>
                </a:lnTo>
                <a:lnTo>
                  <a:pt x="2433919" y="4556243"/>
                </a:lnTo>
                <a:lnTo>
                  <a:pt x="2433485" y="4553103"/>
                </a:lnTo>
                <a:lnTo>
                  <a:pt x="2435113" y="4551803"/>
                </a:lnTo>
                <a:lnTo>
                  <a:pt x="2439996" y="4554835"/>
                </a:lnTo>
                <a:lnTo>
                  <a:pt x="2441407" y="4557542"/>
                </a:lnTo>
                <a:lnTo>
                  <a:pt x="2443143" y="4557217"/>
                </a:lnTo>
                <a:lnTo>
                  <a:pt x="2443360" y="4555268"/>
                </a:lnTo>
                <a:lnTo>
                  <a:pt x="2444337" y="4554835"/>
                </a:lnTo>
                <a:lnTo>
                  <a:pt x="2447375" y="4554835"/>
                </a:lnTo>
                <a:lnTo>
                  <a:pt x="2446725" y="4552995"/>
                </a:lnTo>
                <a:lnTo>
                  <a:pt x="2436416" y="4548123"/>
                </a:lnTo>
                <a:lnTo>
                  <a:pt x="2434571" y="4545849"/>
                </a:lnTo>
                <a:close/>
                <a:moveTo>
                  <a:pt x="2386606" y="4544332"/>
                </a:moveTo>
                <a:lnTo>
                  <a:pt x="2389102" y="4546714"/>
                </a:lnTo>
                <a:lnTo>
                  <a:pt x="2387366" y="4548338"/>
                </a:lnTo>
                <a:lnTo>
                  <a:pt x="2385303" y="4546930"/>
                </a:lnTo>
                <a:lnTo>
                  <a:pt x="2384110" y="4546173"/>
                </a:lnTo>
                <a:close/>
                <a:moveTo>
                  <a:pt x="2413192" y="4539568"/>
                </a:moveTo>
                <a:lnTo>
                  <a:pt x="2421656" y="4541842"/>
                </a:lnTo>
                <a:lnTo>
                  <a:pt x="2423609" y="4544873"/>
                </a:lnTo>
                <a:lnTo>
                  <a:pt x="2425779" y="4542816"/>
                </a:lnTo>
                <a:lnTo>
                  <a:pt x="2428058" y="4542384"/>
                </a:lnTo>
                <a:lnTo>
                  <a:pt x="2430011" y="4543574"/>
                </a:lnTo>
                <a:lnTo>
                  <a:pt x="2428167" y="4547147"/>
                </a:lnTo>
                <a:lnTo>
                  <a:pt x="2429360" y="4549854"/>
                </a:lnTo>
                <a:lnTo>
                  <a:pt x="2426539" y="4552019"/>
                </a:lnTo>
                <a:lnTo>
                  <a:pt x="2422633" y="4550829"/>
                </a:lnTo>
                <a:lnTo>
                  <a:pt x="2421113" y="4548554"/>
                </a:lnTo>
                <a:lnTo>
                  <a:pt x="2419051" y="4550395"/>
                </a:lnTo>
                <a:lnTo>
                  <a:pt x="2416338" y="4547905"/>
                </a:lnTo>
                <a:lnTo>
                  <a:pt x="2412107" y="4547256"/>
                </a:lnTo>
                <a:lnTo>
                  <a:pt x="2410045" y="4549313"/>
                </a:lnTo>
                <a:lnTo>
                  <a:pt x="2407875" y="4545523"/>
                </a:lnTo>
                <a:lnTo>
                  <a:pt x="2405162" y="4544007"/>
                </a:lnTo>
                <a:lnTo>
                  <a:pt x="2405162" y="4541625"/>
                </a:lnTo>
                <a:lnTo>
                  <a:pt x="2411564" y="4541084"/>
                </a:lnTo>
                <a:close/>
                <a:moveTo>
                  <a:pt x="2352424" y="4525385"/>
                </a:moveTo>
                <a:lnTo>
                  <a:pt x="2352424" y="4525386"/>
                </a:lnTo>
                <a:cubicBezTo>
                  <a:pt x="2353347" y="4526514"/>
                  <a:pt x="2354363" y="4527565"/>
                  <a:pt x="2355461" y="4528525"/>
                </a:cubicBezTo>
                <a:lnTo>
                  <a:pt x="2350362" y="4527009"/>
                </a:lnTo>
                <a:close/>
                <a:moveTo>
                  <a:pt x="2368810" y="4525060"/>
                </a:moveTo>
                <a:lnTo>
                  <a:pt x="2371306" y="4527442"/>
                </a:lnTo>
                <a:lnTo>
                  <a:pt x="2373585" y="4528525"/>
                </a:lnTo>
                <a:lnTo>
                  <a:pt x="2377817" y="4526793"/>
                </a:lnTo>
                <a:lnTo>
                  <a:pt x="2382917" y="4526576"/>
                </a:lnTo>
                <a:lnTo>
                  <a:pt x="2389537" y="4531340"/>
                </a:lnTo>
                <a:lnTo>
                  <a:pt x="2392467" y="4532639"/>
                </a:lnTo>
                <a:lnTo>
                  <a:pt x="2393661" y="4535238"/>
                </a:lnTo>
                <a:lnTo>
                  <a:pt x="2398544" y="4533722"/>
                </a:lnTo>
                <a:lnTo>
                  <a:pt x="2401908" y="4535129"/>
                </a:lnTo>
                <a:lnTo>
                  <a:pt x="2403536" y="4538594"/>
                </a:lnTo>
                <a:lnTo>
                  <a:pt x="2400063" y="4538378"/>
                </a:lnTo>
                <a:lnTo>
                  <a:pt x="2397676" y="4539460"/>
                </a:lnTo>
                <a:lnTo>
                  <a:pt x="2399629" y="4540868"/>
                </a:lnTo>
                <a:lnTo>
                  <a:pt x="2399846" y="4543358"/>
                </a:lnTo>
                <a:lnTo>
                  <a:pt x="2396265" y="4546715"/>
                </a:lnTo>
                <a:lnTo>
                  <a:pt x="2397567" y="4548988"/>
                </a:lnTo>
                <a:lnTo>
                  <a:pt x="2394204" y="4550395"/>
                </a:lnTo>
                <a:lnTo>
                  <a:pt x="2391164" y="4547472"/>
                </a:lnTo>
                <a:lnTo>
                  <a:pt x="2390731" y="4544224"/>
                </a:lnTo>
                <a:lnTo>
                  <a:pt x="2388235" y="4542709"/>
                </a:lnTo>
                <a:lnTo>
                  <a:pt x="2382917" y="4543683"/>
                </a:lnTo>
                <a:lnTo>
                  <a:pt x="2379445" y="4543142"/>
                </a:lnTo>
                <a:lnTo>
                  <a:pt x="2374670" y="4537511"/>
                </a:lnTo>
                <a:lnTo>
                  <a:pt x="2370221" y="4536428"/>
                </a:lnTo>
                <a:lnTo>
                  <a:pt x="2368484" y="4532206"/>
                </a:lnTo>
                <a:lnTo>
                  <a:pt x="2364035" y="4529824"/>
                </a:lnTo>
                <a:lnTo>
                  <a:pt x="2363710" y="4527334"/>
                </a:lnTo>
                <a:lnTo>
                  <a:pt x="2365120" y="4525385"/>
                </a:lnTo>
                <a:close/>
                <a:moveTo>
                  <a:pt x="7729206" y="4521163"/>
                </a:moveTo>
                <a:lnTo>
                  <a:pt x="7728663" y="4523220"/>
                </a:lnTo>
                <a:lnTo>
                  <a:pt x="7726493" y="4522787"/>
                </a:lnTo>
                <a:close/>
                <a:moveTo>
                  <a:pt x="2433051" y="4519322"/>
                </a:moveTo>
                <a:lnTo>
                  <a:pt x="2435872" y="4521055"/>
                </a:lnTo>
                <a:lnTo>
                  <a:pt x="2436740" y="4526035"/>
                </a:lnTo>
                <a:lnTo>
                  <a:pt x="2439780" y="4530583"/>
                </a:lnTo>
                <a:lnTo>
                  <a:pt x="2439237" y="4532315"/>
                </a:lnTo>
                <a:lnTo>
                  <a:pt x="2441298" y="4535021"/>
                </a:lnTo>
                <a:lnTo>
                  <a:pt x="2438151" y="4538161"/>
                </a:lnTo>
                <a:lnTo>
                  <a:pt x="2443360" y="4541951"/>
                </a:lnTo>
                <a:lnTo>
                  <a:pt x="2441624" y="4544116"/>
                </a:lnTo>
                <a:lnTo>
                  <a:pt x="2439997" y="4542600"/>
                </a:lnTo>
                <a:lnTo>
                  <a:pt x="2435438" y="4541410"/>
                </a:lnTo>
                <a:lnTo>
                  <a:pt x="2431206" y="4539028"/>
                </a:lnTo>
                <a:lnTo>
                  <a:pt x="2431206" y="4535455"/>
                </a:lnTo>
                <a:lnTo>
                  <a:pt x="2432834" y="4532640"/>
                </a:lnTo>
                <a:lnTo>
                  <a:pt x="2430664" y="4528526"/>
                </a:lnTo>
                <a:lnTo>
                  <a:pt x="2432292" y="4524086"/>
                </a:lnTo>
                <a:close/>
                <a:moveTo>
                  <a:pt x="8009722" y="4515155"/>
                </a:moveTo>
                <a:lnTo>
                  <a:pt x="8009506" y="4517645"/>
                </a:lnTo>
                <a:lnTo>
                  <a:pt x="8007335" y="4517212"/>
                </a:lnTo>
                <a:lnTo>
                  <a:pt x="8006358" y="4515480"/>
                </a:lnTo>
                <a:close/>
                <a:moveTo>
                  <a:pt x="7713255" y="4510986"/>
                </a:moveTo>
                <a:lnTo>
                  <a:pt x="7717379" y="4515100"/>
                </a:lnTo>
                <a:lnTo>
                  <a:pt x="7719440" y="4520189"/>
                </a:lnTo>
                <a:lnTo>
                  <a:pt x="7720200" y="4521705"/>
                </a:lnTo>
                <a:lnTo>
                  <a:pt x="7719983" y="4522788"/>
                </a:lnTo>
                <a:lnTo>
                  <a:pt x="7717270" y="4523220"/>
                </a:lnTo>
                <a:lnTo>
                  <a:pt x="7716294" y="4522137"/>
                </a:lnTo>
                <a:lnTo>
                  <a:pt x="7714123" y="4523004"/>
                </a:lnTo>
                <a:lnTo>
                  <a:pt x="7715643" y="4523329"/>
                </a:lnTo>
                <a:lnTo>
                  <a:pt x="7717487" y="4525169"/>
                </a:lnTo>
                <a:lnTo>
                  <a:pt x="7719658" y="4526252"/>
                </a:lnTo>
                <a:lnTo>
                  <a:pt x="7720092" y="4528092"/>
                </a:lnTo>
                <a:lnTo>
                  <a:pt x="7718573" y="4529933"/>
                </a:lnTo>
                <a:lnTo>
                  <a:pt x="7716836" y="4529283"/>
                </a:lnTo>
                <a:lnTo>
                  <a:pt x="7711736" y="4531015"/>
                </a:lnTo>
                <a:lnTo>
                  <a:pt x="7709240" y="4532856"/>
                </a:lnTo>
                <a:lnTo>
                  <a:pt x="7706744" y="4532640"/>
                </a:lnTo>
                <a:lnTo>
                  <a:pt x="7705334" y="4531773"/>
                </a:lnTo>
                <a:lnTo>
                  <a:pt x="7703814" y="4532098"/>
                </a:lnTo>
                <a:lnTo>
                  <a:pt x="7700341" y="4536212"/>
                </a:lnTo>
                <a:lnTo>
                  <a:pt x="7698063" y="4535996"/>
                </a:lnTo>
                <a:lnTo>
                  <a:pt x="7697303" y="4533939"/>
                </a:lnTo>
                <a:lnTo>
                  <a:pt x="7701969" y="4529175"/>
                </a:lnTo>
                <a:lnTo>
                  <a:pt x="7703922" y="4527984"/>
                </a:lnTo>
                <a:lnTo>
                  <a:pt x="7703922" y="4525061"/>
                </a:lnTo>
                <a:lnTo>
                  <a:pt x="7707395" y="4524303"/>
                </a:lnTo>
                <a:lnTo>
                  <a:pt x="7708697" y="4520080"/>
                </a:lnTo>
                <a:lnTo>
                  <a:pt x="7708372" y="4515425"/>
                </a:lnTo>
                <a:lnTo>
                  <a:pt x="7709131" y="4512177"/>
                </a:lnTo>
                <a:close/>
                <a:moveTo>
                  <a:pt x="2472009" y="4510119"/>
                </a:moveTo>
                <a:lnTo>
                  <a:pt x="2477217" y="4512068"/>
                </a:lnTo>
                <a:lnTo>
                  <a:pt x="2483077" y="4510986"/>
                </a:lnTo>
                <a:lnTo>
                  <a:pt x="2485681" y="4515749"/>
                </a:lnTo>
                <a:lnTo>
                  <a:pt x="2488394" y="4523653"/>
                </a:lnTo>
                <a:lnTo>
                  <a:pt x="2494580" y="4524411"/>
                </a:lnTo>
                <a:lnTo>
                  <a:pt x="2500657" y="4529500"/>
                </a:lnTo>
                <a:lnTo>
                  <a:pt x="2500983" y="4534913"/>
                </a:lnTo>
                <a:lnTo>
                  <a:pt x="2506083" y="4536645"/>
                </a:lnTo>
                <a:lnTo>
                  <a:pt x="2524748" y="4542708"/>
                </a:lnTo>
                <a:lnTo>
                  <a:pt x="2527026" y="4545307"/>
                </a:lnTo>
                <a:lnTo>
                  <a:pt x="2533863" y="4547364"/>
                </a:lnTo>
                <a:lnTo>
                  <a:pt x="2539723" y="4552669"/>
                </a:lnTo>
                <a:lnTo>
                  <a:pt x="2544715" y="4553210"/>
                </a:lnTo>
                <a:lnTo>
                  <a:pt x="2553504" y="4551153"/>
                </a:lnTo>
                <a:lnTo>
                  <a:pt x="2557628" y="4552669"/>
                </a:lnTo>
                <a:lnTo>
                  <a:pt x="2558496" y="4556783"/>
                </a:lnTo>
                <a:lnTo>
                  <a:pt x="2552528" y="4560248"/>
                </a:lnTo>
                <a:lnTo>
                  <a:pt x="2550249" y="4558299"/>
                </a:lnTo>
                <a:lnTo>
                  <a:pt x="2545040" y="4559815"/>
                </a:lnTo>
                <a:lnTo>
                  <a:pt x="2544063" y="4564038"/>
                </a:lnTo>
                <a:lnTo>
                  <a:pt x="2539723" y="4568260"/>
                </a:lnTo>
                <a:lnTo>
                  <a:pt x="2534406" y="4569667"/>
                </a:lnTo>
                <a:lnTo>
                  <a:pt x="2528871" y="4567827"/>
                </a:lnTo>
                <a:lnTo>
                  <a:pt x="2523554" y="4564904"/>
                </a:lnTo>
                <a:lnTo>
                  <a:pt x="2513679" y="4563821"/>
                </a:lnTo>
                <a:lnTo>
                  <a:pt x="2506843" y="4564362"/>
                </a:lnTo>
                <a:lnTo>
                  <a:pt x="2496859" y="4563496"/>
                </a:lnTo>
                <a:lnTo>
                  <a:pt x="2488720" y="4566202"/>
                </a:lnTo>
                <a:lnTo>
                  <a:pt x="2486116" y="4566202"/>
                </a:lnTo>
                <a:lnTo>
                  <a:pt x="2483837" y="4557216"/>
                </a:lnTo>
                <a:lnTo>
                  <a:pt x="2495231" y="4556783"/>
                </a:lnTo>
                <a:lnTo>
                  <a:pt x="2501633" y="4554510"/>
                </a:lnTo>
                <a:lnTo>
                  <a:pt x="2505540" y="4553752"/>
                </a:lnTo>
                <a:lnTo>
                  <a:pt x="2506408" y="4552128"/>
                </a:lnTo>
                <a:lnTo>
                  <a:pt x="2500006" y="4553427"/>
                </a:lnTo>
                <a:lnTo>
                  <a:pt x="2493386" y="4553427"/>
                </a:lnTo>
                <a:lnTo>
                  <a:pt x="2484922" y="4555051"/>
                </a:lnTo>
                <a:lnTo>
                  <a:pt x="2483186" y="4554618"/>
                </a:lnTo>
                <a:close/>
                <a:moveTo>
                  <a:pt x="2339184" y="4502540"/>
                </a:moveTo>
                <a:lnTo>
                  <a:pt x="2341897" y="4504273"/>
                </a:lnTo>
                <a:lnTo>
                  <a:pt x="2346997" y="4510228"/>
                </a:lnTo>
                <a:lnTo>
                  <a:pt x="2350253" y="4512177"/>
                </a:lnTo>
                <a:lnTo>
                  <a:pt x="2354159" y="4512285"/>
                </a:lnTo>
                <a:lnTo>
                  <a:pt x="2358282" y="4513909"/>
                </a:lnTo>
                <a:lnTo>
                  <a:pt x="2362080" y="4515967"/>
                </a:lnTo>
                <a:lnTo>
                  <a:pt x="2367615" y="4515967"/>
                </a:lnTo>
                <a:lnTo>
                  <a:pt x="2369676" y="4518240"/>
                </a:lnTo>
                <a:lnTo>
                  <a:pt x="2374234" y="4521597"/>
                </a:lnTo>
                <a:lnTo>
                  <a:pt x="2376296" y="4521813"/>
                </a:lnTo>
                <a:lnTo>
                  <a:pt x="2377598" y="4523654"/>
                </a:lnTo>
                <a:lnTo>
                  <a:pt x="2376839" y="4525061"/>
                </a:lnTo>
                <a:lnTo>
                  <a:pt x="2372173" y="4525061"/>
                </a:lnTo>
                <a:lnTo>
                  <a:pt x="2367832" y="4523329"/>
                </a:lnTo>
                <a:lnTo>
                  <a:pt x="2361430" y="4520947"/>
                </a:lnTo>
                <a:lnTo>
                  <a:pt x="2359585" y="4522030"/>
                </a:lnTo>
                <a:lnTo>
                  <a:pt x="2355896" y="4522030"/>
                </a:lnTo>
                <a:lnTo>
                  <a:pt x="2353616" y="4518673"/>
                </a:lnTo>
                <a:lnTo>
                  <a:pt x="2346997" y="4515750"/>
                </a:lnTo>
                <a:lnTo>
                  <a:pt x="2342005" y="4515100"/>
                </a:lnTo>
                <a:lnTo>
                  <a:pt x="2338967" y="4509361"/>
                </a:lnTo>
                <a:lnTo>
                  <a:pt x="2337882" y="4504706"/>
                </a:lnTo>
                <a:close/>
                <a:moveTo>
                  <a:pt x="8013846" y="4492743"/>
                </a:moveTo>
                <a:lnTo>
                  <a:pt x="8013086" y="4495125"/>
                </a:lnTo>
                <a:lnTo>
                  <a:pt x="8012110" y="4493610"/>
                </a:lnTo>
                <a:close/>
                <a:moveTo>
                  <a:pt x="2354486" y="4490955"/>
                </a:moveTo>
                <a:lnTo>
                  <a:pt x="2355896" y="4495502"/>
                </a:lnTo>
                <a:lnTo>
                  <a:pt x="2353509" y="4499400"/>
                </a:lnTo>
                <a:lnTo>
                  <a:pt x="2351447" y="4498318"/>
                </a:lnTo>
                <a:lnTo>
                  <a:pt x="2349060" y="4496152"/>
                </a:lnTo>
                <a:lnTo>
                  <a:pt x="2348191" y="4493662"/>
                </a:lnTo>
                <a:lnTo>
                  <a:pt x="2343634" y="4493986"/>
                </a:lnTo>
                <a:lnTo>
                  <a:pt x="2341898" y="4492471"/>
                </a:lnTo>
                <a:lnTo>
                  <a:pt x="2345479" y="4491063"/>
                </a:lnTo>
                <a:lnTo>
                  <a:pt x="2348734" y="4491821"/>
                </a:lnTo>
                <a:close/>
                <a:moveTo>
                  <a:pt x="8020899" y="4487113"/>
                </a:moveTo>
                <a:lnTo>
                  <a:pt x="8021224" y="4490902"/>
                </a:lnTo>
                <a:lnTo>
                  <a:pt x="8022744" y="4493068"/>
                </a:lnTo>
                <a:lnTo>
                  <a:pt x="8021224" y="4494042"/>
                </a:lnTo>
                <a:lnTo>
                  <a:pt x="8021875" y="4496317"/>
                </a:lnTo>
                <a:lnTo>
                  <a:pt x="8020899" y="4496966"/>
                </a:lnTo>
                <a:lnTo>
                  <a:pt x="8018186" y="4493501"/>
                </a:lnTo>
                <a:close/>
                <a:moveTo>
                  <a:pt x="2464846" y="4481861"/>
                </a:moveTo>
                <a:lnTo>
                  <a:pt x="2471683" y="4508929"/>
                </a:lnTo>
                <a:lnTo>
                  <a:pt x="2471358" y="4509903"/>
                </a:lnTo>
                <a:lnTo>
                  <a:pt x="2472009" y="4510120"/>
                </a:lnTo>
                <a:lnTo>
                  <a:pt x="2483186" y="4554619"/>
                </a:lnTo>
                <a:lnTo>
                  <a:pt x="2477760" y="4553319"/>
                </a:lnTo>
                <a:lnTo>
                  <a:pt x="2466366" y="4545740"/>
                </a:lnTo>
                <a:lnTo>
                  <a:pt x="2458227" y="4542817"/>
                </a:lnTo>
                <a:lnTo>
                  <a:pt x="2454320" y="4543250"/>
                </a:lnTo>
                <a:lnTo>
                  <a:pt x="2449111" y="4540003"/>
                </a:lnTo>
                <a:lnTo>
                  <a:pt x="2444771" y="4535671"/>
                </a:lnTo>
                <a:lnTo>
                  <a:pt x="2444120" y="4533614"/>
                </a:lnTo>
                <a:lnTo>
                  <a:pt x="2444120" y="4531557"/>
                </a:lnTo>
                <a:lnTo>
                  <a:pt x="2451499" y="4527876"/>
                </a:lnTo>
                <a:lnTo>
                  <a:pt x="2452367" y="4525494"/>
                </a:lnTo>
                <a:lnTo>
                  <a:pt x="2457033" y="4524194"/>
                </a:lnTo>
                <a:lnTo>
                  <a:pt x="2460289" y="4518673"/>
                </a:lnTo>
                <a:lnTo>
                  <a:pt x="2458878" y="4514667"/>
                </a:lnTo>
                <a:lnTo>
                  <a:pt x="2453777" y="4514451"/>
                </a:lnTo>
                <a:lnTo>
                  <a:pt x="2446833" y="4518240"/>
                </a:lnTo>
                <a:lnTo>
                  <a:pt x="2443468" y="4522246"/>
                </a:lnTo>
                <a:lnTo>
                  <a:pt x="2439996" y="4522354"/>
                </a:lnTo>
                <a:lnTo>
                  <a:pt x="2435330" y="4516508"/>
                </a:lnTo>
                <a:lnTo>
                  <a:pt x="2435004" y="4510986"/>
                </a:lnTo>
                <a:lnTo>
                  <a:pt x="2433594" y="4508171"/>
                </a:lnTo>
                <a:lnTo>
                  <a:pt x="2437609" y="4504165"/>
                </a:lnTo>
                <a:lnTo>
                  <a:pt x="2438260" y="4500700"/>
                </a:lnTo>
                <a:lnTo>
                  <a:pt x="2434679" y="4501241"/>
                </a:lnTo>
                <a:lnTo>
                  <a:pt x="2431749" y="4499076"/>
                </a:lnTo>
                <a:lnTo>
                  <a:pt x="2434679" y="4494853"/>
                </a:lnTo>
                <a:lnTo>
                  <a:pt x="2437609" y="4495720"/>
                </a:lnTo>
                <a:lnTo>
                  <a:pt x="2442383" y="4498535"/>
                </a:lnTo>
                <a:lnTo>
                  <a:pt x="2443577" y="4496478"/>
                </a:lnTo>
                <a:lnTo>
                  <a:pt x="2447701" y="4492471"/>
                </a:lnTo>
                <a:lnTo>
                  <a:pt x="2448461" y="4489332"/>
                </a:lnTo>
                <a:lnTo>
                  <a:pt x="2447375" y="4485650"/>
                </a:lnTo>
                <a:lnTo>
                  <a:pt x="2449329" y="4481969"/>
                </a:lnTo>
                <a:lnTo>
                  <a:pt x="2452693" y="4482835"/>
                </a:lnTo>
                <a:lnTo>
                  <a:pt x="2456382" y="4486300"/>
                </a:lnTo>
                <a:lnTo>
                  <a:pt x="2458444" y="4484567"/>
                </a:lnTo>
                <a:close/>
                <a:moveTo>
                  <a:pt x="2465824" y="4481536"/>
                </a:moveTo>
                <a:lnTo>
                  <a:pt x="2469405" y="4486841"/>
                </a:lnTo>
                <a:lnTo>
                  <a:pt x="2477218" y="4494528"/>
                </a:lnTo>
                <a:lnTo>
                  <a:pt x="2479605" y="4506222"/>
                </a:lnTo>
                <a:lnTo>
                  <a:pt x="2477001" y="4503623"/>
                </a:lnTo>
                <a:lnTo>
                  <a:pt x="2473420" y="4505247"/>
                </a:lnTo>
                <a:lnTo>
                  <a:pt x="2471683" y="4508928"/>
                </a:lnTo>
                <a:lnTo>
                  <a:pt x="2464847" y="4481860"/>
                </a:lnTo>
                <a:close/>
                <a:moveTo>
                  <a:pt x="2342548" y="4478287"/>
                </a:moveTo>
                <a:lnTo>
                  <a:pt x="2350252" y="4484241"/>
                </a:lnTo>
                <a:lnTo>
                  <a:pt x="2350035" y="4487706"/>
                </a:lnTo>
                <a:lnTo>
                  <a:pt x="2348191" y="4488464"/>
                </a:lnTo>
                <a:lnTo>
                  <a:pt x="2342982" y="4482834"/>
                </a:lnTo>
                <a:lnTo>
                  <a:pt x="2341246" y="4479911"/>
                </a:lnTo>
                <a:close/>
                <a:moveTo>
                  <a:pt x="2333974" y="4476664"/>
                </a:moveTo>
                <a:lnTo>
                  <a:pt x="2335167" y="4479046"/>
                </a:lnTo>
                <a:lnTo>
                  <a:pt x="2332997" y="4484351"/>
                </a:lnTo>
                <a:lnTo>
                  <a:pt x="2330827" y="4485542"/>
                </a:lnTo>
                <a:lnTo>
                  <a:pt x="2330068" y="4483918"/>
                </a:lnTo>
                <a:lnTo>
                  <a:pt x="2331803" y="4482186"/>
                </a:lnTo>
                <a:lnTo>
                  <a:pt x="2331695" y="4477530"/>
                </a:lnTo>
                <a:close/>
                <a:moveTo>
                  <a:pt x="2343742" y="4474498"/>
                </a:moveTo>
                <a:lnTo>
                  <a:pt x="2346998" y="4475255"/>
                </a:lnTo>
                <a:lnTo>
                  <a:pt x="2347865" y="4479045"/>
                </a:lnTo>
                <a:lnTo>
                  <a:pt x="2345912" y="4479262"/>
                </a:lnTo>
                <a:lnTo>
                  <a:pt x="2342223" y="4475689"/>
                </a:lnTo>
                <a:close/>
                <a:moveTo>
                  <a:pt x="2334952" y="4468543"/>
                </a:moveTo>
                <a:lnTo>
                  <a:pt x="2339726" y="4471033"/>
                </a:lnTo>
                <a:lnTo>
                  <a:pt x="2340811" y="4473632"/>
                </a:lnTo>
                <a:lnTo>
                  <a:pt x="2339509" y="4473848"/>
                </a:lnTo>
                <a:lnTo>
                  <a:pt x="2335929" y="4471249"/>
                </a:lnTo>
                <a:close/>
                <a:moveTo>
                  <a:pt x="7698714" y="4467136"/>
                </a:moveTo>
                <a:lnTo>
                  <a:pt x="7702729" y="4467352"/>
                </a:lnTo>
                <a:lnTo>
                  <a:pt x="7702729" y="4470167"/>
                </a:lnTo>
                <a:lnTo>
                  <a:pt x="7700885" y="4470600"/>
                </a:lnTo>
                <a:lnTo>
                  <a:pt x="7698606" y="4469301"/>
                </a:lnTo>
                <a:lnTo>
                  <a:pt x="7697846" y="4468760"/>
                </a:lnTo>
                <a:close/>
                <a:moveTo>
                  <a:pt x="2387751" y="4465107"/>
                </a:moveTo>
                <a:lnTo>
                  <a:pt x="2398869" y="4465945"/>
                </a:lnTo>
                <a:lnTo>
                  <a:pt x="2402884" y="4468219"/>
                </a:lnTo>
                <a:lnTo>
                  <a:pt x="2420138" y="4465296"/>
                </a:lnTo>
                <a:lnTo>
                  <a:pt x="2451065" y="4465296"/>
                </a:lnTo>
                <a:lnTo>
                  <a:pt x="2452693" y="4467244"/>
                </a:lnTo>
                <a:lnTo>
                  <a:pt x="2457793" y="4468002"/>
                </a:lnTo>
                <a:lnTo>
                  <a:pt x="2457793" y="4468002"/>
                </a:lnTo>
                <a:lnTo>
                  <a:pt x="2452693" y="4467244"/>
                </a:lnTo>
                <a:lnTo>
                  <a:pt x="2451065" y="4465295"/>
                </a:lnTo>
                <a:lnTo>
                  <a:pt x="2420138" y="4465295"/>
                </a:lnTo>
                <a:lnTo>
                  <a:pt x="2402883" y="4468218"/>
                </a:lnTo>
                <a:lnTo>
                  <a:pt x="2398869" y="4465944"/>
                </a:lnTo>
                <a:close/>
                <a:moveTo>
                  <a:pt x="2329309" y="4462913"/>
                </a:moveTo>
                <a:lnTo>
                  <a:pt x="2331371" y="4465078"/>
                </a:lnTo>
                <a:lnTo>
                  <a:pt x="2333758" y="4467460"/>
                </a:lnTo>
                <a:lnTo>
                  <a:pt x="2333866" y="4471682"/>
                </a:lnTo>
                <a:lnTo>
                  <a:pt x="2331045" y="4473631"/>
                </a:lnTo>
                <a:lnTo>
                  <a:pt x="2329092" y="4473090"/>
                </a:lnTo>
                <a:lnTo>
                  <a:pt x="2328658" y="4471033"/>
                </a:lnTo>
                <a:lnTo>
                  <a:pt x="2327790" y="4469733"/>
                </a:lnTo>
                <a:lnTo>
                  <a:pt x="2326922" y="4466269"/>
                </a:lnTo>
                <a:lnTo>
                  <a:pt x="2327899" y="4463887"/>
                </a:lnTo>
                <a:close/>
                <a:moveTo>
                  <a:pt x="2324427" y="4460964"/>
                </a:moveTo>
                <a:lnTo>
                  <a:pt x="2326163" y="4464104"/>
                </a:lnTo>
                <a:lnTo>
                  <a:pt x="2325946" y="4468651"/>
                </a:lnTo>
                <a:lnTo>
                  <a:pt x="2323558" y="4470383"/>
                </a:lnTo>
                <a:lnTo>
                  <a:pt x="2325946" y="4474064"/>
                </a:lnTo>
                <a:lnTo>
                  <a:pt x="2323124" y="4473523"/>
                </a:lnTo>
                <a:lnTo>
                  <a:pt x="2320845" y="4472007"/>
                </a:lnTo>
                <a:lnTo>
                  <a:pt x="2319543" y="4468434"/>
                </a:lnTo>
                <a:lnTo>
                  <a:pt x="2320736" y="4466053"/>
                </a:lnTo>
                <a:lnTo>
                  <a:pt x="2322690" y="4464320"/>
                </a:lnTo>
                <a:lnTo>
                  <a:pt x="2321605" y="4463346"/>
                </a:lnTo>
                <a:lnTo>
                  <a:pt x="2320628" y="4461397"/>
                </a:lnTo>
                <a:close/>
                <a:moveTo>
                  <a:pt x="2340270" y="4459232"/>
                </a:moveTo>
                <a:lnTo>
                  <a:pt x="2342766" y="4464862"/>
                </a:lnTo>
                <a:lnTo>
                  <a:pt x="2346889" y="4469301"/>
                </a:lnTo>
                <a:lnTo>
                  <a:pt x="2348083" y="4472008"/>
                </a:lnTo>
                <a:lnTo>
                  <a:pt x="2346672" y="4472116"/>
                </a:lnTo>
                <a:lnTo>
                  <a:pt x="2341029" y="4469409"/>
                </a:lnTo>
                <a:lnTo>
                  <a:pt x="2338316" y="4466378"/>
                </a:lnTo>
                <a:lnTo>
                  <a:pt x="2338208" y="4459340"/>
                </a:lnTo>
                <a:close/>
                <a:moveTo>
                  <a:pt x="2627296" y="4445048"/>
                </a:moveTo>
                <a:lnTo>
                  <a:pt x="2630334" y="4446997"/>
                </a:lnTo>
                <a:lnTo>
                  <a:pt x="2633264" y="4447538"/>
                </a:lnTo>
                <a:lnTo>
                  <a:pt x="2627079" y="4450028"/>
                </a:lnTo>
                <a:lnTo>
                  <a:pt x="2624909" y="4446997"/>
                </a:lnTo>
                <a:close/>
                <a:moveTo>
                  <a:pt x="2316396" y="4442233"/>
                </a:moveTo>
                <a:lnTo>
                  <a:pt x="2319651" y="4445156"/>
                </a:lnTo>
                <a:lnTo>
                  <a:pt x="2322690" y="4444939"/>
                </a:lnTo>
                <a:lnTo>
                  <a:pt x="2329418" y="4449379"/>
                </a:lnTo>
                <a:lnTo>
                  <a:pt x="2329201" y="4451978"/>
                </a:lnTo>
                <a:lnTo>
                  <a:pt x="2325511" y="4452194"/>
                </a:lnTo>
                <a:lnTo>
                  <a:pt x="2324969" y="4453710"/>
                </a:lnTo>
                <a:lnTo>
                  <a:pt x="2320194" y="4454143"/>
                </a:lnTo>
                <a:lnTo>
                  <a:pt x="2313574" y="4455442"/>
                </a:lnTo>
                <a:lnTo>
                  <a:pt x="2311404" y="4453818"/>
                </a:lnTo>
                <a:lnTo>
                  <a:pt x="2313466" y="4451761"/>
                </a:lnTo>
                <a:lnTo>
                  <a:pt x="2315745" y="4446997"/>
                </a:lnTo>
                <a:lnTo>
                  <a:pt x="2313357" y="4442990"/>
                </a:lnTo>
                <a:close/>
                <a:moveTo>
                  <a:pt x="2317806" y="4429999"/>
                </a:moveTo>
                <a:lnTo>
                  <a:pt x="2322907" y="4432814"/>
                </a:lnTo>
                <a:lnTo>
                  <a:pt x="2327790" y="4439851"/>
                </a:lnTo>
                <a:lnTo>
                  <a:pt x="2325837" y="4442991"/>
                </a:lnTo>
                <a:lnTo>
                  <a:pt x="2321821" y="4442774"/>
                </a:lnTo>
                <a:lnTo>
                  <a:pt x="2316721" y="4436711"/>
                </a:lnTo>
                <a:lnTo>
                  <a:pt x="2315528" y="4430648"/>
                </a:lnTo>
                <a:close/>
                <a:moveTo>
                  <a:pt x="2663758" y="4429457"/>
                </a:moveTo>
                <a:lnTo>
                  <a:pt x="2666036" y="4432922"/>
                </a:lnTo>
                <a:lnTo>
                  <a:pt x="2663649" y="4438444"/>
                </a:lnTo>
                <a:lnTo>
                  <a:pt x="2657572" y="4442883"/>
                </a:lnTo>
                <a:lnTo>
                  <a:pt x="2657463" y="4448079"/>
                </a:lnTo>
                <a:lnTo>
                  <a:pt x="2652255" y="4450570"/>
                </a:lnTo>
                <a:lnTo>
                  <a:pt x="2645201" y="4449920"/>
                </a:lnTo>
                <a:lnTo>
                  <a:pt x="2641077" y="4452302"/>
                </a:lnTo>
                <a:lnTo>
                  <a:pt x="2646178" y="4454684"/>
                </a:lnTo>
                <a:lnTo>
                  <a:pt x="2643465" y="4459231"/>
                </a:lnTo>
                <a:lnTo>
                  <a:pt x="2638798" y="4455767"/>
                </a:lnTo>
                <a:lnTo>
                  <a:pt x="2636194" y="4458581"/>
                </a:lnTo>
                <a:lnTo>
                  <a:pt x="2631094" y="4455767"/>
                </a:lnTo>
                <a:lnTo>
                  <a:pt x="2631202" y="4453493"/>
                </a:lnTo>
                <a:lnTo>
                  <a:pt x="2634566" y="4453709"/>
                </a:lnTo>
                <a:lnTo>
                  <a:pt x="2639233" y="4448838"/>
                </a:lnTo>
                <a:lnTo>
                  <a:pt x="2638365" y="4445914"/>
                </a:lnTo>
                <a:lnTo>
                  <a:pt x="2641620" y="4443857"/>
                </a:lnTo>
                <a:lnTo>
                  <a:pt x="2646937" y="4443857"/>
                </a:lnTo>
                <a:lnTo>
                  <a:pt x="2646937" y="4441691"/>
                </a:lnTo>
                <a:lnTo>
                  <a:pt x="2641620" y="4441042"/>
                </a:lnTo>
                <a:lnTo>
                  <a:pt x="2635868" y="4433246"/>
                </a:lnTo>
                <a:lnTo>
                  <a:pt x="2637605" y="4431189"/>
                </a:lnTo>
                <a:lnTo>
                  <a:pt x="2642271" y="4435087"/>
                </a:lnTo>
                <a:lnTo>
                  <a:pt x="2646937" y="4435845"/>
                </a:lnTo>
                <a:lnTo>
                  <a:pt x="2648674" y="4430864"/>
                </a:lnTo>
                <a:lnTo>
                  <a:pt x="2652906" y="4430323"/>
                </a:lnTo>
                <a:lnTo>
                  <a:pt x="2656270" y="4433571"/>
                </a:lnTo>
                <a:lnTo>
                  <a:pt x="2658766" y="4433463"/>
                </a:lnTo>
                <a:lnTo>
                  <a:pt x="2660502" y="4430540"/>
                </a:lnTo>
                <a:close/>
                <a:moveTo>
                  <a:pt x="2641838" y="4426317"/>
                </a:moveTo>
                <a:lnTo>
                  <a:pt x="2647589" y="4428590"/>
                </a:lnTo>
                <a:lnTo>
                  <a:pt x="2643900" y="4429781"/>
                </a:lnTo>
                <a:close/>
                <a:moveTo>
                  <a:pt x="2673958" y="4425668"/>
                </a:moveTo>
                <a:lnTo>
                  <a:pt x="2681012" y="4426967"/>
                </a:lnTo>
                <a:lnTo>
                  <a:pt x="2681121" y="4430431"/>
                </a:lnTo>
                <a:lnTo>
                  <a:pt x="2684484" y="4435088"/>
                </a:lnTo>
                <a:lnTo>
                  <a:pt x="2687414" y="4433572"/>
                </a:lnTo>
                <a:lnTo>
                  <a:pt x="2686004" y="4430973"/>
                </a:lnTo>
                <a:lnTo>
                  <a:pt x="2689476" y="4429674"/>
                </a:lnTo>
                <a:lnTo>
                  <a:pt x="2695228" y="4431298"/>
                </a:lnTo>
                <a:lnTo>
                  <a:pt x="2696964" y="4433788"/>
                </a:lnTo>
                <a:lnTo>
                  <a:pt x="2693600" y="4433572"/>
                </a:lnTo>
                <a:lnTo>
                  <a:pt x="2691212" y="4435521"/>
                </a:lnTo>
                <a:lnTo>
                  <a:pt x="2692298" y="4436603"/>
                </a:lnTo>
                <a:lnTo>
                  <a:pt x="2694685" y="4437577"/>
                </a:lnTo>
                <a:lnTo>
                  <a:pt x="2695336" y="4440392"/>
                </a:lnTo>
                <a:lnTo>
                  <a:pt x="2690887" y="4441584"/>
                </a:lnTo>
                <a:lnTo>
                  <a:pt x="2686655" y="4445265"/>
                </a:lnTo>
                <a:lnTo>
                  <a:pt x="2681012" y="4446239"/>
                </a:lnTo>
                <a:lnTo>
                  <a:pt x="2677214" y="4444940"/>
                </a:lnTo>
                <a:lnTo>
                  <a:pt x="2675043" y="4446456"/>
                </a:lnTo>
                <a:lnTo>
                  <a:pt x="2677540" y="4448513"/>
                </a:lnTo>
                <a:lnTo>
                  <a:pt x="2680903" y="4448621"/>
                </a:lnTo>
                <a:lnTo>
                  <a:pt x="2680686" y="4449812"/>
                </a:lnTo>
                <a:lnTo>
                  <a:pt x="2676345" y="4450786"/>
                </a:lnTo>
                <a:lnTo>
                  <a:pt x="2671679" y="4449920"/>
                </a:lnTo>
                <a:lnTo>
                  <a:pt x="2672005" y="4452952"/>
                </a:lnTo>
                <a:lnTo>
                  <a:pt x="2673958" y="4455550"/>
                </a:lnTo>
                <a:lnTo>
                  <a:pt x="2671788" y="4456417"/>
                </a:lnTo>
                <a:lnTo>
                  <a:pt x="2667664" y="4453818"/>
                </a:lnTo>
                <a:lnTo>
                  <a:pt x="2666145" y="4455443"/>
                </a:lnTo>
                <a:lnTo>
                  <a:pt x="2669184" y="4459664"/>
                </a:lnTo>
                <a:lnTo>
                  <a:pt x="2668966" y="4461397"/>
                </a:lnTo>
                <a:lnTo>
                  <a:pt x="2665711" y="4460856"/>
                </a:lnTo>
                <a:lnTo>
                  <a:pt x="2662346" y="4455117"/>
                </a:lnTo>
                <a:lnTo>
                  <a:pt x="2658983" y="4454143"/>
                </a:lnTo>
                <a:lnTo>
                  <a:pt x="2666796" y="4443208"/>
                </a:lnTo>
                <a:lnTo>
                  <a:pt x="2670485" y="4442450"/>
                </a:lnTo>
                <a:lnTo>
                  <a:pt x="2673307" y="4443966"/>
                </a:lnTo>
                <a:lnTo>
                  <a:pt x="2674284" y="4442125"/>
                </a:lnTo>
                <a:lnTo>
                  <a:pt x="2669834" y="4436278"/>
                </a:lnTo>
                <a:lnTo>
                  <a:pt x="2671245" y="4434113"/>
                </a:lnTo>
                <a:lnTo>
                  <a:pt x="2669943" y="4430973"/>
                </a:lnTo>
                <a:lnTo>
                  <a:pt x="2673307" y="4429457"/>
                </a:lnTo>
                <a:close/>
                <a:moveTo>
                  <a:pt x="2312163" y="4424910"/>
                </a:moveTo>
                <a:lnTo>
                  <a:pt x="2313465" y="4427508"/>
                </a:lnTo>
                <a:lnTo>
                  <a:pt x="2313465" y="4431622"/>
                </a:lnTo>
                <a:lnTo>
                  <a:pt x="2312272" y="4433355"/>
                </a:lnTo>
                <a:lnTo>
                  <a:pt x="2310970" y="4428375"/>
                </a:lnTo>
                <a:close/>
                <a:moveTo>
                  <a:pt x="2656052" y="4423610"/>
                </a:moveTo>
                <a:lnTo>
                  <a:pt x="2658982" y="4426966"/>
                </a:lnTo>
                <a:lnTo>
                  <a:pt x="2649867" y="4424476"/>
                </a:lnTo>
                <a:close/>
                <a:moveTo>
                  <a:pt x="2302831" y="4423503"/>
                </a:moveTo>
                <a:lnTo>
                  <a:pt x="2308365" y="4423503"/>
                </a:lnTo>
                <a:lnTo>
                  <a:pt x="2305218" y="4425776"/>
                </a:lnTo>
                <a:lnTo>
                  <a:pt x="2302831" y="4427508"/>
                </a:lnTo>
                <a:close/>
                <a:moveTo>
                  <a:pt x="2374452" y="4421878"/>
                </a:moveTo>
                <a:lnTo>
                  <a:pt x="2369461" y="4422095"/>
                </a:lnTo>
                <a:lnTo>
                  <a:pt x="2361864" y="4425776"/>
                </a:lnTo>
                <a:lnTo>
                  <a:pt x="2357741" y="4430432"/>
                </a:lnTo>
                <a:lnTo>
                  <a:pt x="2352750" y="4430323"/>
                </a:lnTo>
                <a:lnTo>
                  <a:pt x="2352750" y="4430324"/>
                </a:lnTo>
                <a:lnTo>
                  <a:pt x="2357741" y="4430432"/>
                </a:lnTo>
                <a:lnTo>
                  <a:pt x="2361864" y="4425776"/>
                </a:lnTo>
                <a:lnTo>
                  <a:pt x="2369461" y="4422095"/>
                </a:lnTo>
                <a:lnTo>
                  <a:pt x="2374452" y="4421879"/>
                </a:lnTo>
                <a:close/>
                <a:moveTo>
                  <a:pt x="2317914" y="4420688"/>
                </a:moveTo>
                <a:lnTo>
                  <a:pt x="2321170" y="4423287"/>
                </a:lnTo>
                <a:lnTo>
                  <a:pt x="2324208" y="4423503"/>
                </a:lnTo>
                <a:lnTo>
                  <a:pt x="2328223" y="4429999"/>
                </a:lnTo>
                <a:lnTo>
                  <a:pt x="2329851" y="4435087"/>
                </a:lnTo>
                <a:lnTo>
                  <a:pt x="2323991" y="4429890"/>
                </a:lnTo>
                <a:lnTo>
                  <a:pt x="2319650" y="4428266"/>
                </a:lnTo>
                <a:lnTo>
                  <a:pt x="2315744" y="4422528"/>
                </a:lnTo>
                <a:lnTo>
                  <a:pt x="2315961" y="4420796"/>
                </a:lnTo>
                <a:close/>
                <a:moveTo>
                  <a:pt x="2304676" y="4408560"/>
                </a:moveTo>
                <a:lnTo>
                  <a:pt x="2306846" y="4409643"/>
                </a:lnTo>
                <a:lnTo>
                  <a:pt x="2312272" y="4410400"/>
                </a:lnTo>
                <a:lnTo>
                  <a:pt x="2310210" y="4414407"/>
                </a:lnTo>
                <a:lnTo>
                  <a:pt x="2310427" y="4418521"/>
                </a:lnTo>
                <a:lnTo>
                  <a:pt x="2307714" y="4420686"/>
                </a:lnTo>
                <a:lnTo>
                  <a:pt x="2305652" y="4420578"/>
                </a:lnTo>
                <a:lnTo>
                  <a:pt x="2304351" y="4416897"/>
                </a:lnTo>
                <a:lnTo>
                  <a:pt x="2301529" y="4414731"/>
                </a:lnTo>
                <a:lnTo>
                  <a:pt x="2303374" y="4412349"/>
                </a:lnTo>
                <a:lnTo>
                  <a:pt x="2303482" y="4409534"/>
                </a:lnTo>
                <a:close/>
                <a:moveTo>
                  <a:pt x="2295670" y="4389830"/>
                </a:moveTo>
                <a:lnTo>
                  <a:pt x="2298491" y="4394485"/>
                </a:lnTo>
                <a:lnTo>
                  <a:pt x="2297406" y="4398491"/>
                </a:lnTo>
                <a:lnTo>
                  <a:pt x="2294367" y="4400657"/>
                </a:lnTo>
                <a:lnTo>
                  <a:pt x="2291871" y="4398058"/>
                </a:lnTo>
                <a:lnTo>
                  <a:pt x="2292739" y="4395351"/>
                </a:lnTo>
                <a:lnTo>
                  <a:pt x="2290461" y="4392645"/>
                </a:lnTo>
                <a:close/>
                <a:moveTo>
                  <a:pt x="2289592" y="4365145"/>
                </a:moveTo>
                <a:lnTo>
                  <a:pt x="2290460" y="4366552"/>
                </a:lnTo>
                <a:lnTo>
                  <a:pt x="2295994" y="4369043"/>
                </a:lnTo>
                <a:lnTo>
                  <a:pt x="2297839" y="4372940"/>
                </a:lnTo>
                <a:lnTo>
                  <a:pt x="2295126" y="4373915"/>
                </a:lnTo>
                <a:lnTo>
                  <a:pt x="2291003" y="4380411"/>
                </a:lnTo>
                <a:lnTo>
                  <a:pt x="2289158" y="4379328"/>
                </a:lnTo>
                <a:lnTo>
                  <a:pt x="2289483" y="4375647"/>
                </a:lnTo>
                <a:lnTo>
                  <a:pt x="2286988" y="4367635"/>
                </a:lnTo>
                <a:close/>
                <a:moveTo>
                  <a:pt x="2300445" y="4362330"/>
                </a:moveTo>
                <a:lnTo>
                  <a:pt x="2307172" y="4362330"/>
                </a:lnTo>
                <a:lnTo>
                  <a:pt x="2310211" y="4364603"/>
                </a:lnTo>
                <a:lnTo>
                  <a:pt x="2312706" y="4375106"/>
                </a:lnTo>
                <a:lnTo>
                  <a:pt x="2315419" y="4380195"/>
                </a:lnTo>
                <a:lnTo>
                  <a:pt x="2316070" y="4388964"/>
                </a:lnTo>
                <a:lnTo>
                  <a:pt x="2315094" y="4390697"/>
                </a:lnTo>
                <a:lnTo>
                  <a:pt x="2317698" y="4397301"/>
                </a:lnTo>
                <a:lnTo>
                  <a:pt x="2317481" y="4404447"/>
                </a:lnTo>
                <a:lnTo>
                  <a:pt x="2314225" y="4407046"/>
                </a:lnTo>
                <a:lnTo>
                  <a:pt x="2311621" y="4405530"/>
                </a:lnTo>
                <a:lnTo>
                  <a:pt x="2310753" y="4400333"/>
                </a:lnTo>
                <a:lnTo>
                  <a:pt x="2309342" y="4396219"/>
                </a:lnTo>
                <a:lnTo>
                  <a:pt x="2308149" y="4400983"/>
                </a:lnTo>
                <a:lnTo>
                  <a:pt x="2305979" y="4402607"/>
                </a:lnTo>
                <a:lnTo>
                  <a:pt x="2301855" y="4398817"/>
                </a:lnTo>
                <a:lnTo>
                  <a:pt x="2300228" y="4393079"/>
                </a:lnTo>
                <a:lnTo>
                  <a:pt x="2295453" y="4383660"/>
                </a:lnTo>
                <a:lnTo>
                  <a:pt x="2300228" y="4382793"/>
                </a:lnTo>
                <a:lnTo>
                  <a:pt x="2303699" y="4379870"/>
                </a:lnTo>
                <a:lnTo>
                  <a:pt x="2304025" y="4376622"/>
                </a:lnTo>
                <a:lnTo>
                  <a:pt x="2302181" y="4379328"/>
                </a:lnTo>
                <a:lnTo>
                  <a:pt x="2300119" y="4379545"/>
                </a:lnTo>
                <a:lnTo>
                  <a:pt x="2299359" y="4376946"/>
                </a:lnTo>
                <a:lnTo>
                  <a:pt x="2300770" y="4372832"/>
                </a:lnTo>
                <a:lnTo>
                  <a:pt x="2297948" y="4369908"/>
                </a:lnTo>
                <a:lnTo>
                  <a:pt x="2297840" y="4364603"/>
                </a:lnTo>
                <a:close/>
                <a:moveTo>
                  <a:pt x="2282105" y="4352152"/>
                </a:moveTo>
                <a:lnTo>
                  <a:pt x="2283950" y="4352693"/>
                </a:lnTo>
                <a:lnTo>
                  <a:pt x="2287313" y="4354101"/>
                </a:lnTo>
                <a:lnTo>
                  <a:pt x="2288832" y="4358756"/>
                </a:lnTo>
                <a:lnTo>
                  <a:pt x="2287965" y="4362221"/>
                </a:lnTo>
                <a:lnTo>
                  <a:pt x="2285252" y="4362654"/>
                </a:lnTo>
                <a:lnTo>
                  <a:pt x="2284926" y="4360597"/>
                </a:lnTo>
                <a:lnTo>
                  <a:pt x="2282322" y="4358648"/>
                </a:lnTo>
                <a:close/>
                <a:moveTo>
                  <a:pt x="2282864" y="4339594"/>
                </a:moveTo>
                <a:lnTo>
                  <a:pt x="2286879" y="4340785"/>
                </a:lnTo>
                <a:lnTo>
                  <a:pt x="2293065" y="4350421"/>
                </a:lnTo>
                <a:lnTo>
                  <a:pt x="2297188" y="4356592"/>
                </a:lnTo>
                <a:lnTo>
                  <a:pt x="2296971" y="4361681"/>
                </a:lnTo>
                <a:lnTo>
                  <a:pt x="2295452" y="4364280"/>
                </a:lnTo>
                <a:lnTo>
                  <a:pt x="2291653" y="4362006"/>
                </a:lnTo>
                <a:lnTo>
                  <a:pt x="2289700" y="4354969"/>
                </a:lnTo>
                <a:lnTo>
                  <a:pt x="2290243" y="4353128"/>
                </a:lnTo>
                <a:lnTo>
                  <a:pt x="2287204" y="4350637"/>
                </a:lnTo>
                <a:lnTo>
                  <a:pt x="2282321" y="4349771"/>
                </a:lnTo>
                <a:lnTo>
                  <a:pt x="2281236" y="4344141"/>
                </a:lnTo>
                <a:lnTo>
                  <a:pt x="2281453" y="4341326"/>
                </a:lnTo>
                <a:close/>
                <a:moveTo>
                  <a:pt x="2356335" y="4337271"/>
                </a:moveTo>
                <a:lnTo>
                  <a:pt x="2357198" y="4339918"/>
                </a:lnTo>
                <a:lnTo>
                  <a:pt x="2357863" y="4343415"/>
                </a:lnTo>
                <a:lnTo>
                  <a:pt x="2357198" y="4339917"/>
                </a:lnTo>
                <a:close/>
                <a:moveTo>
                  <a:pt x="2298165" y="4332664"/>
                </a:moveTo>
                <a:lnTo>
                  <a:pt x="2298708" y="4340134"/>
                </a:lnTo>
                <a:lnTo>
                  <a:pt x="2303157" y="4342083"/>
                </a:lnTo>
                <a:lnTo>
                  <a:pt x="2303483" y="4347280"/>
                </a:lnTo>
                <a:lnTo>
                  <a:pt x="2307281" y="4350636"/>
                </a:lnTo>
                <a:lnTo>
                  <a:pt x="2309668" y="4358540"/>
                </a:lnTo>
                <a:lnTo>
                  <a:pt x="2304676" y="4358107"/>
                </a:lnTo>
                <a:lnTo>
                  <a:pt x="2300118" y="4358540"/>
                </a:lnTo>
                <a:lnTo>
                  <a:pt x="2298925" y="4353235"/>
                </a:lnTo>
                <a:lnTo>
                  <a:pt x="2301855" y="4350636"/>
                </a:lnTo>
                <a:lnTo>
                  <a:pt x="2299576" y="4348796"/>
                </a:lnTo>
                <a:lnTo>
                  <a:pt x="2298491" y="4350528"/>
                </a:lnTo>
                <a:lnTo>
                  <a:pt x="2292848" y="4341866"/>
                </a:lnTo>
                <a:lnTo>
                  <a:pt x="2288399" y="4338077"/>
                </a:lnTo>
                <a:lnTo>
                  <a:pt x="2290244" y="4335370"/>
                </a:lnTo>
                <a:lnTo>
                  <a:pt x="2294367" y="4334829"/>
                </a:lnTo>
                <a:close/>
                <a:moveTo>
                  <a:pt x="7289172" y="4317831"/>
                </a:moveTo>
                <a:lnTo>
                  <a:pt x="7290257" y="4320430"/>
                </a:lnTo>
                <a:lnTo>
                  <a:pt x="7288086" y="4323461"/>
                </a:lnTo>
                <a:lnTo>
                  <a:pt x="7286459" y="4330282"/>
                </a:lnTo>
                <a:lnTo>
                  <a:pt x="7283420" y="4328550"/>
                </a:lnTo>
                <a:lnTo>
                  <a:pt x="7286784" y="4323136"/>
                </a:lnTo>
                <a:lnTo>
                  <a:pt x="7286784" y="4318914"/>
                </a:lnTo>
                <a:close/>
                <a:moveTo>
                  <a:pt x="7930395" y="4299641"/>
                </a:moveTo>
                <a:lnTo>
                  <a:pt x="7928551" y="4302347"/>
                </a:lnTo>
                <a:lnTo>
                  <a:pt x="7926272" y="4302455"/>
                </a:lnTo>
                <a:lnTo>
                  <a:pt x="7928334" y="4300182"/>
                </a:lnTo>
                <a:close/>
                <a:moveTo>
                  <a:pt x="7927359" y="4298991"/>
                </a:moveTo>
                <a:lnTo>
                  <a:pt x="7927142" y="4300182"/>
                </a:lnTo>
                <a:lnTo>
                  <a:pt x="7925079" y="4301264"/>
                </a:lnTo>
                <a:lnTo>
                  <a:pt x="7922583" y="4301481"/>
                </a:lnTo>
                <a:close/>
                <a:moveTo>
                  <a:pt x="7314021" y="4298125"/>
                </a:moveTo>
                <a:lnTo>
                  <a:pt x="7316625" y="4300723"/>
                </a:lnTo>
                <a:lnTo>
                  <a:pt x="7314021" y="4302130"/>
                </a:lnTo>
                <a:close/>
                <a:moveTo>
                  <a:pt x="7930722" y="4289031"/>
                </a:moveTo>
                <a:lnTo>
                  <a:pt x="7934520" y="4290005"/>
                </a:lnTo>
                <a:lnTo>
                  <a:pt x="7933651" y="4292278"/>
                </a:lnTo>
                <a:lnTo>
                  <a:pt x="7930613" y="4294011"/>
                </a:lnTo>
                <a:lnTo>
                  <a:pt x="7928442" y="4297259"/>
                </a:lnTo>
                <a:lnTo>
                  <a:pt x="7927249" y="4297476"/>
                </a:lnTo>
                <a:lnTo>
                  <a:pt x="7927792" y="4296176"/>
                </a:lnTo>
                <a:lnTo>
                  <a:pt x="7928009" y="4292712"/>
                </a:lnTo>
                <a:close/>
                <a:moveTo>
                  <a:pt x="7905763" y="4281668"/>
                </a:moveTo>
                <a:lnTo>
                  <a:pt x="7909669" y="4282210"/>
                </a:lnTo>
                <a:lnTo>
                  <a:pt x="7906848" y="4286215"/>
                </a:lnTo>
                <a:lnTo>
                  <a:pt x="7906306" y="4289247"/>
                </a:lnTo>
                <a:lnTo>
                  <a:pt x="7908259" y="4291629"/>
                </a:lnTo>
                <a:lnTo>
                  <a:pt x="7909995" y="4292604"/>
                </a:lnTo>
                <a:lnTo>
                  <a:pt x="7912491" y="4290762"/>
                </a:lnTo>
                <a:lnTo>
                  <a:pt x="7913902" y="4292170"/>
                </a:lnTo>
                <a:lnTo>
                  <a:pt x="7913685" y="4294119"/>
                </a:lnTo>
                <a:lnTo>
                  <a:pt x="7914987" y="4294661"/>
                </a:lnTo>
                <a:lnTo>
                  <a:pt x="7914118" y="4297042"/>
                </a:lnTo>
                <a:lnTo>
                  <a:pt x="7911840" y="4299749"/>
                </a:lnTo>
                <a:lnTo>
                  <a:pt x="7909886" y="4301265"/>
                </a:lnTo>
                <a:lnTo>
                  <a:pt x="7912057" y="4308086"/>
                </a:lnTo>
                <a:lnTo>
                  <a:pt x="7915204" y="4309602"/>
                </a:lnTo>
                <a:lnTo>
                  <a:pt x="7918351" y="4305163"/>
                </a:lnTo>
                <a:lnTo>
                  <a:pt x="7921389" y="4303214"/>
                </a:lnTo>
                <a:lnTo>
                  <a:pt x="7924319" y="4304080"/>
                </a:lnTo>
                <a:lnTo>
                  <a:pt x="7926381" y="4303972"/>
                </a:lnTo>
                <a:lnTo>
                  <a:pt x="7925839" y="4306786"/>
                </a:lnTo>
                <a:lnTo>
                  <a:pt x="7928225" y="4309169"/>
                </a:lnTo>
                <a:lnTo>
                  <a:pt x="7932567" y="4306137"/>
                </a:lnTo>
                <a:lnTo>
                  <a:pt x="7930614" y="4305596"/>
                </a:lnTo>
                <a:lnTo>
                  <a:pt x="7929419" y="4304404"/>
                </a:lnTo>
                <a:lnTo>
                  <a:pt x="7932350" y="4298882"/>
                </a:lnTo>
                <a:lnTo>
                  <a:pt x="7935822" y="4299641"/>
                </a:lnTo>
                <a:lnTo>
                  <a:pt x="7936039" y="4302347"/>
                </a:lnTo>
                <a:lnTo>
                  <a:pt x="7937341" y="4302347"/>
                </a:lnTo>
                <a:lnTo>
                  <a:pt x="7934520" y="4307436"/>
                </a:lnTo>
                <a:lnTo>
                  <a:pt x="7929528" y="4310359"/>
                </a:lnTo>
                <a:lnTo>
                  <a:pt x="7932892" y="4309818"/>
                </a:lnTo>
                <a:lnTo>
                  <a:pt x="7936473" y="4308844"/>
                </a:lnTo>
                <a:lnTo>
                  <a:pt x="7932024" y="4315016"/>
                </a:lnTo>
                <a:lnTo>
                  <a:pt x="7930505" y="4314582"/>
                </a:lnTo>
                <a:lnTo>
                  <a:pt x="7929311" y="4318480"/>
                </a:lnTo>
                <a:lnTo>
                  <a:pt x="7928877" y="4322702"/>
                </a:lnTo>
                <a:lnTo>
                  <a:pt x="7930938" y="4327358"/>
                </a:lnTo>
                <a:lnTo>
                  <a:pt x="7931373" y="4332014"/>
                </a:lnTo>
                <a:lnTo>
                  <a:pt x="7933868" y="4332771"/>
                </a:lnTo>
                <a:lnTo>
                  <a:pt x="7929528" y="4335370"/>
                </a:lnTo>
                <a:lnTo>
                  <a:pt x="7917157" y="4345981"/>
                </a:lnTo>
                <a:lnTo>
                  <a:pt x="7916398" y="4348796"/>
                </a:lnTo>
                <a:lnTo>
                  <a:pt x="7907933" y="4357350"/>
                </a:lnTo>
                <a:lnTo>
                  <a:pt x="7908476" y="4359298"/>
                </a:lnTo>
                <a:lnTo>
                  <a:pt x="7904677" y="4358973"/>
                </a:lnTo>
                <a:lnTo>
                  <a:pt x="7899686" y="4364062"/>
                </a:lnTo>
                <a:lnTo>
                  <a:pt x="7899034" y="4368501"/>
                </a:lnTo>
                <a:lnTo>
                  <a:pt x="7893717" y="4374889"/>
                </a:lnTo>
                <a:lnTo>
                  <a:pt x="7892632" y="4377704"/>
                </a:lnTo>
                <a:lnTo>
                  <a:pt x="7885579" y="4382143"/>
                </a:lnTo>
                <a:lnTo>
                  <a:pt x="7879068" y="4384200"/>
                </a:lnTo>
                <a:lnTo>
                  <a:pt x="7875595" y="4385608"/>
                </a:lnTo>
                <a:lnTo>
                  <a:pt x="7873859" y="4393078"/>
                </a:lnTo>
                <a:lnTo>
                  <a:pt x="7874402" y="4398600"/>
                </a:lnTo>
                <a:lnTo>
                  <a:pt x="7872991" y="4400658"/>
                </a:lnTo>
                <a:lnTo>
                  <a:pt x="7876246" y="4401415"/>
                </a:lnTo>
                <a:lnTo>
                  <a:pt x="7878308" y="4404664"/>
                </a:lnTo>
                <a:lnTo>
                  <a:pt x="7877657" y="4411051"/>
                </a:lnTo>
                <a:lnTo>
                  <a:pt x="7875378" y="4412675"/>
                </a:lnTo>
                <a:lnTo>
                  <a:pt x="7873859" y="4411484"/>
                </a:lnTo>
                <a:lnTo>
                  <a:pt x="7874402" y="4406721"/>
                </a:lnTo>
                <a:lnTo>
                  <a:pt x="7872991" y="4405529"/>
                </a:lnTo>
                <a:lnTo>
                  <a:pt x="7871797" y="4407045"/>
                </a:lnTo>
                <a:lnTo>
                  <a:pt x="7872014" y="4410510"/>
                </a:lnTo>
                <a:lnTo>
                  <a:pt x="7870603" y="4412675"/>
                </a:lnTo>
                <a:lnTo>
                  <a:pt x="7867023" y="4411376"/>
                </a:lnTo>
                <a:lnTo>
                  <a:pt x="7861922" y="4411160"/>
                </a:lnTo>
                <a:lnTo>
                  <a:pt x="7866263" y="4409427"/>
                </a:lnTo>
                <a:lnTo>
                  <a:pt x="7866263" y="4407587"/>
                </a:lnTo>
                <a:lnTo>
                  <a:pt x="7863008" y="4406396"/>
                </a:lnTo>
                <a:lnTo>
                  <a:pt x="7859860" y="4408561"/>
                </a:lnTo>
                <a:lnTo>
                  <a:pt x="7859751" y="4410618"/>
                </a:lnTo>
                <a:lnTo>
                  <a:pt x="7856822" y="4411701"/>
                </a:lnTo>
                <a:lnTo>
                  <a:pt x="7855085" y="4411160"/>
                </a:lnTo>
                <a:lnTo>
                  <a:pt x="7853349" y="4406396"/>
                </a:lnTo>
                <a:lnTo>
                  <a:pt x="7849334" y="4404664"/>
                </a:lnTo>
                <a:lnTo>
                  <a:pt x="7852481" y="4407911"/>
                </a:lnTo>
                <a:lnTo>
                  <a:pt x="7852807" y="4411484"/>
                </a:lnTo>
                <a:lnTo>
                  <a:pt x="7849877" y="4415490"/>
                </a:lnTo>
                <a:lnTo>
                  <a:pt x="7847381" y="4416140"/>
                </a:lnTo>
                <a:lnTo>
                  <a:pt x="7843366" y="4416356"/>
                </a:lnTo>
                <a:lnTo>
                  <a:pt x="7841955" y="4419929"/>
                </a:lnTo>
                <a:lnTo>
                  <a:pt x="7839242" y="4419929"/>
                </a:lnTo>
                <a:lnTo>
                  <a:pt x="7835986" y="4417331"/>
                </a:lnTo>
                <a:lnTo>
                  <a:pt x="7834902" y="4421662"/>
                </a:lnTo>
                <a:lnTo>
                  <a:pt x="7831320" y="4423394"/>
                </a:lnTo>
                <a:lnTo>
                  <a:pt x="7827197" y="4428158"/>
                </a:lnTo>
                <a:lnTo>
                  <a:pt x="7826980" y="4432272"/>
                </a:lnTo>
                <a:lnTo>
                  <a:pt x="7824376" y="4436062"/>
                </a:lnTo>
                <a:lnTo>
                  <a:pt x="7819818" y="4443857"/>
                </a:lnTo>
                <a:lnTo>
                  <a:pt x="7818842" y="4448838"/>
                </a:lnTo>
                <a:lnTo>
                  <a:pt x="7816453" y="4452952"/>
                </a:lnTo>
                <a:lnTo>
                  <a:pt x="7806144" y="4460314"/>
                </a:lnTo>
                <a:lnTo>
                  <a:pt x="7802672" y="4464320"/>
                </a:lnTo>
                <a:lnTo>
                  <a:pt x="7801045" y="4471358"/>
                </a:lnTo>
                <a:lnTo>
                  <a:pt x="7797247" y="4478179"/>
                </a:lnTo>
                <a:lnTo>
                  <a:pt x="7792146" y="4484134"/>
                </a:lnTo>
                <a:lnTo>
                  <a:pt x="7793123" y="4484892"/>
                </a:lnTo>
                <a:lnTo>
                  <a:pt x="7792363" y="4486408"/>
                </a:lnTo>
                <a:lnTo>
                  <a:pt x="7789867" y="4487924"/>
                </a:lnTo>
                <a:lnTo>
                  <a:pt x="7793882" y="4487165"/>
                </a:lnTo>
                <a:lnTo>
                  <a:pt x="7794425" y="4488465"/>
                </a:lnTo>
                <a:lnTo>
                  <a:pt x="7792254" y="4490088"/>
                </a:lnTo>
                <a:lnTo>
                  <a:pt x="7786069" y="4489873"/>
                </a:lnTo>
                <a:lnTo>
                  <a:pt x="7779124" y="4492904"/>
                </a:lnTo>
                <a:lnTo>
                  <a:pt x="7776086" y="4497452"/>
                </a:lnTo>
                <a:lnTo>
                  <a:pt x="7774349" y="4502649"/>
                </a:lnTo>
                <a:lnTo>
                  <a:pt x="7768815" y="4505031"/>
                </a:lnTo>
                <a:lnTo>
                  <a:pt x="7769683" y="4501782"/>
                </a:lnTo>
                <a:lnTo>
                  <a:pt x="7766752" y="4499400"/>
                </a:lnTo>
                <a:lnTo>
                  <a:pt x="7767838" y="4503298"/>
                </a:lnTo>
                <a:lnTo>
                  <a:pt x="7767405" y="4505680"/>
                </a:lnTo>
                <a:lnTo>
                  <a:pt x="7762955" y="4507521"/>
                </a:lnTo>
                <a:lnTo>
                  <a:pt x="7756118" y="4513584"/>
                </a:lnTo>
                <a:lnTo>
                  <a:pt x="7747871" y="4516941"/>
                </a:lnTo>
                <a:lnTo>
                  <a:pt x="7742011" y="4517698"/>
                </a:lnTo>
                <a:lnTo>
                  <a:pt x="7738105" y="4516616"/>
                </a:lnTo>
                <a:lnTo>
                  <a:pt x="7738105" y="4514125"/>
                </a:lnTo>
                <a:lnTo>
                  <a:pt x="7731811" y="4517157"/>
                </a:lnTo>
                <a:lnTo>
                  <a:pt x="7729423" y="4516616"/>
                </a:lnTo>
                <a:lnTo>
                  <a:pt x="7734089" y="4513909"/>
                </a:lnTo>
                <a:lnTo>
                  <a:pt x="7730942" y="4511527"/>
                </a:lnTo>
                <a:lnTo>
                  <a:pt x="7726385" y="4507521"/>
                </a:lnTo>
                <a:lnTo>
                  <a:pt x="7725734" y="4503190"/>
                </a:lnTo>
                <a:lnTo>
                  <a:pt x="7723998" y="4501241"/>
                </a:lnTo>
                <a:lnTo>
                  <a:pt x="7720091" y="4501241"/>
                </a:lnTo>
                <a:lnTo>
                  <a:pt x="7717595" y="4499076"/>
                </a:lnTo>
                <a:lnTo>
                  <a:pt x="7718897" y="4497452"/>
                </a:lnTo>
                <a:lnTo>
                  <a:pt x="7717487" y="4493662"/>
                </a:lnTo>
                <a:lnTo>
                  <a:pt x="7713797" y="4491930"/>
                </a:lnTo>
                <a:lnTo>
                  <a:pt x="7711409" y="4492255"/>
                </a:lnTo>
                <a:lnTo>
                  <a:pt x="7710867" y="4494962"/>
                </a:lnTo>
                <a:lnTo>
                  <a:pt x="7708914" y="4494745"/>
                </a:lnTo>
                <a:lnTo>
                  <a:pt x="7708371" y="4493446"/>
                </a:lnTo>
                <a:lnTo>
                  <a:pt x="7702294" y="4492904"/>
                </a:lnTo>
                <a:lnTo>
                  <a:pt x="7700232" y="4491821"/>
                </a:lnTo>
                <a:lnTo>
                  <a:pt x="7696869" y="4488357"/>
                </a:lnTo>
                <a:lnTo>
                  <a:pt x="7697628" y="4483918"/>
                </a:lnTo>
                <a:lnTo>
                  <a:pt x="7700232" y="4482402"/>
                </a:lnTo>
                <a:lnTo>
                  <a:pt x="7697954" y="4481752"/>
                </a:lnTo>
                <a:lnTo>
                  <a:pt x="7695132" y="4481319"/>
                </a:lnTo>
                <a:lnTo>
                  <a:pt x="7700667" y="4475039"/>
                </a:lnTo>
                <a:lnTo>
                  <a:pt x="7705658" y="4474390"/>
                </a:lnTo>
                <a:lnTo>
                  <a:pt x="7709565" y="4474498"/>
                </a:lnTo>
                <a:lnTo>
                  <a:pt x="7711301" y="4472982"/>
                </a:lnTo>
                <a:lnTo>
                  <a:pt x="7709565" y="4470708"/>
                </a:lnTo>
                <a:lnTo>
                  <a:pt x="7705984" y="4467352"/>
                </a:lnTo>
                <a:lnTo>
                  <a:pt x="7705658" y="4464320"/>
                </a:lnTo>
                <a:lnTo>
                  <a:pt x="7709782" y="4457500"/>
                </a:lnTo>
                <a:lnTo>
                  <a:pt x="7711409" y="4456308"/>
                </a:lnTo>
                <a:lnTo>
                  <a:pt x="7713146" y="4453385"/>
                </a:lnTo>
                <a:lnTo>
                  <a:pt x="7714991" y="4454360"/>
                </a:lnTo>
                <a:lnTo>
                  <a:pt x="7716835" y="4458474"/>
                </a:lnTo>
                <a:lnTo>
                  <a:pt x="7718680" y="4456200"/>
                </a:lnTo>
                <a:lnTo>
                  <a:pt x="7719114" y="4447972"/>
                </a:lnTo>
                <a:lnTo>
                  <a:pt x="7721285" y="4445048"/>
                </a:lnTo>
                <a:lnTo>
                  <a:pt x="7723238" y="4445048"/>
                </a:lnTo>
                <a:lnTo>
                  <a:pt x="7730182" y="4437252"/>
                </a:lnTo>
                <a:lnTo>
                  <a:pt x="7732353" y="4438877"/>
                </a:lnTo>
                <a:lnTo>
                  <a:pt x="7734415" y="4436495"/>
                </a:lnTo>
                <a:lnTo>
                  <a:pt x="7734415" y="4430757"/>
                </a:lnTo>
                <a:lnTo>
                  <a:pt x="7737237" y="4428916"/>
                </a:lnTo>
                <a:lnTo>
                  <a:pt x="7740275" y="4426209"/>
                </a:lnTo>
                <a:lnTo>
                  <a:pt x="7742336" y="4427833"/>
                </a:lnTo>
                <a:lnTo>
                  <a:pt x="7742988" y="4430757"/>
                </a:lnTo>
                <a:lnTo>
                  <a:pt x="7744073" y="4425235"/>
                </a:lnTo>
                <a:lnTo>
                  <a:pt x="7748197" y="4419929"/>
                </a:lnTo>
                <a:lnTo>
                  <a:pt x="7751886" y="4418847"/>
                </a:lnTo>
                <a:lnTo>
                  <a:pt x="7757638" y="4414191"/>
                </a:lnTo>
                <a:lnTo>
                  <a:pt x="7760459" y="4410618"/>
                </a:lnTo>
                <a:lnTo>
                  <a:pt x="7767947" y="4404122"/>
                </a:lnTo>
                <a:lnTo>
                  <a:pt x="7771527" y="4403905"/>
                </a:lnTo>
                <a:lnTo>
                  <a:pt x="7773698" y="4405638"/>
                </a:lnTo>
                <a:lnTo>
                  <a:pt x="7777930" y="4404555"/>
                </a:lnTo>
                <a:lnTo>
                  <a:pt x="7781836" y="4403364"/>
                </a:lnTo>
                <a:lnTo>
                  <a:pt x="7783682" y="4404122"/>
                </a:lnTo>
                <a:lnTo>
                  <a:pt x="7787697" y="4408020"/>
                </a:lnTo>
                <a:lnTo>
                  <a:pt x="7787154" y="4403148"/>
                </a:lnTo>
                <a:lnTo>
                  <a:pt x="7785526" y="4399358"/>
                </a:lnTo>
                <a:lnTo>
                  <a:pt x="7786286" y="4396651"/>
                </a:lnTo>
                <a:lnTo>
                  <a:pt x="7794642" y="4391454"/>
                </a:lnTo>
                <a:lnTo>
                  <a:pt x="7799308" y="4390480"/>
                </a:lnTo>
                <a:lnTo>
                  <a:pt x="7807012" y="4383117"/>
                </a:lnTo>
                <a:lnTo>
                  <a:pt x="7815911" y="4378678"/>
                </a:lnTo>
                <a:lnTo>
                  <a:pt x="7819818" y="4378895"/>
                </a:lnTo>
                <a:lnTo>
                  <a:pt x="7820469" y="4375430"/>
                </a:lnTo>
                <a:lnTo>
                  <a:pt x="7826437" y="4372290"/>
                </a:lnTo>
                <a:lnTo>
                  <a:pt x="7831429" y="4371641"/>
                </a:lnTo>
                <a:lnTo>
                  <a:pt x="7841087" y="4364711"/>
                </a:lnTo>
                <a:lnTo>
                  <a:pt x="7849769" y="4354642"/>
                </a:lnTo>
                <a:lnTo>
                  <a:pt x="7850202" y="4350853"/>
                </a:lnTo>
                <a:lnTo>
                  <a:pt x="7852481" y="4347929"/>
                </a:lnTo>
                <a:lnTo>
                  <a:pt x="7852699" y="4342732"/>
                </a:lnTo>
                <a:lnTo>
                  <a:pt x="7856496" y="4338510"/>
                </a:lnTo>
                <a:lnTo>
                  <a:pt x="7859101" y="4337210"/>
                </a:lnTo>
                <a:lnTo>
                  <a:pt x="7859318" y="4332447"/>
                </a:lnTo>
                <a:lnTo>
                  <a:pt x="7860620" y="4328224"/>
                </a:lnTo>
                <a:lnTo>
                  <a:pt x="7864526" y="4325301"/>
                </a:lnTo>
                <a:lnTo>
                  <a:pt x="7869410" y="4325734"/>
                </a:lnTo>
                <a:lnTo>
                  <a:pt x="7873425" y="4324110"/>
                </a:lnTo>
                <a:lnTo>
                  <a:pt x="7875053" y="4320537"/>
                </a:lnTo>
                <a:lnTo>
                  <a:pt x="7880478" y="4313933"/>
                </a:lnTo>
                <a:lnTo>
                  <a:pt x="7882540" y="4313175"/>
                </a:lnTo>
                <a:lnTo>
                  <a:pt x="7886880" y="4307436"/>
                </a:lnTo>
                <a:lnTo>
                  <a:pt x="7891222" y="4296609"/>
                </a:lnTo>
                <a:lnTo>
                  <a:pt x="7891982" y="4290655"/>
                </a:lnTo>
                <a:lnTo>
                  <a:pt x="7896214" y="4287190"/>
                </a:lnTo>
                <a:lnTo>
                  <a:pt x="7899360" y="4285890"/>
                </a:lnTo>
                <a:close/>
                <a:moveTo>
                  <a:pt x="2284276" y="4260772"/>
                </a:moveTo>
                <a:lnTo>
                  <a:pt x="2284927" y="4264886"/>
                </a:lnTo>
                <a:lnTo>
                  <a:pt x="2282323" y="4264669"/>
                </a:lnTo>
                <a:lnTo>
                  <a:pt x="2282214" y="4260988"/>
                </a:lnTo>
                <a:close/>
                <a:moveTo>
                  <a:pt x="2300769" y="4259256"/>
                </a:moveTo>
                <a:lnTo>
                  <a:pt x="2298164" y="4262288"/>
                </a:lnTo>
                <a:lnTo>
                  <a:pt x="2295886" y="4259364"/>
                </a:lnTo>
                <a:close/>
                <a:moveTo>
                  <a:pt x="2288182" y="4257957"/>
                </a:moveTo>
                <a:lnTo>
                  <a:pt x="2289593" y="4260122"/>
                </a:lnTo>
                <a:lnTo>
                  <a:pt x="2293716" y="4260988"/>
                </a:lnTo>
                <a:lnTo>
                  <a:pt x="2295561" y="4264670"/>
                </a:lnTo>
                <a:lnTo>
                  <a:pt x="2290787" y="4265752"/>
                </a:lnTo>
                <a:lnTo>
                  <a:pt x="2286337" y="4260772"/>
                </a:lnTo>
                <a:close/>
                <a:moveTo>
                  <a:pt x="2293716" y="4253409"/>
                </a:moveTo>
                <a:lnTo>
                  <a:pt x="2293499" y="4257848"/>
                </a:lnTo>
                <a:lnTo>
                  <a:pt x="2289701" y="4253733"/>
                </a:lnTo>
                <a:close/>
                <a:moveTo>
                  <a:pt x="2297188" y="4245614"/>
                </a:moveTo>
                <a:lnTo>
                  <a:pt x="2302288" y="4245614"/>
                </a:lnTo>
                <a:lnTo>
                  <a:pt x="2302831" y="4253192"/>
                </a:lnTo>
                <a:lnTo>
                  <a:pt x="2300227" y="4256873"/>
                </a:lnTo>
                <a:lnTo>
                  <a:pt x="2297188" y="4255249"/>
                </a:lnTo>
                <a:lnTo>
                  <a:pt x="2295560" y="4250161"/>
                </a:lnTo>
                <a:lnTo>
                  <a:pt x="2293065" y="4248104"/>
                </a:lnTo>
                <a:close/>
                <a:moveTo>
                  <a:pt x="2357250" y="4243263"/>
                </a:moveTo>
                <a:lnTo>
                  <a:pt x="2359911" y="4247996"/>
                </a:lnTo>
                <a:lnTo>
                  <a:pt x="2359914" y="4248105"/>
                </a:lnTo>
                <a:lnTo>
                  <a:pt x="2359911" y="4247995"/>
                </a:lnTo>
                <a:close/>
                <a:moveTo>
                  <a:pt x="2297732" y="4240633"/>
                </a:moveTo>
                <a:lnTo>
                  <a:pt x="2297297" y="4244638"/>
                </a:lnTo>
                <a:lnTo>
                  <a:pt x="2291112" y="4244746"/>
                </a:lnTo>
                <a:lnTo>
                  <a:pt x="2288833" y="4242690"/>
                </a:lnTo>
                <a:lnTo>
                  <a:pt x="2294259" y="4240957"/>
                </a:lnTo>
                <a:close/>
                <a:moveTo>
                  <a:pt x="2337448" y="4232189"/>
                </a:moveTo>
                <a:lnTo>
                  <a:pt x="2340487" y="4235004"/>
                </a:lnTo>
                <a:lnTo>
                  <a:pt x="2342006" y="4233596"/>
                </a:lnTo>
                <a:lnTo>
                  <a:pt x="2340487" y="4235003"/>
                </a:lnTo>
                <a:close/>
                <a:moveTo>
                  <a:pt x="2267129" y="4232188"/>
                </a:moveTo>
                <a:lnTo>
                  <a:pt x="2271686" y="4232188"/>
                </a:lnTo>
                <a:lnTo>
                  <a:pt x="2274182" y="4235002"/>
                </a:lnTo>
                <a:lnTo>
                  <a:pt x="2272663" y="4237925"/>
                </a:lnTo>
                <a:lnTo>
                  <a:pt x="2266695" y="4235327"/>
                </a:lnTo>
                <a:close/>
                <a:moveTo>
                  <a:pt x="2286878" y="4232081"/>
                </a:moveTo>
                <a:lnTo>
                  <a:pt x="2296862" y="4232081"/>
                </a:lnTo>
                <a:lnTo>
                  <a:pt x="2294583" y="4234462"/>
                </a:lnTo>
                <a:lnTo>
                  <a:pt x="2288507" y="4235653"/>
                </a:lnTo>
                <a:lnTo>
                  <a:pt x="2287638" y="4237601"/>
                </a:lnTo>
                <a:cubicBezTo>
                  <a:pt x="2286950" y="4237067"/>
                  <a:pt x="2286297" y="4236489"/>
                  <a:pt x="2285685" y="4235869"/>
                </a:cubicBezTo>
                <a:close/>
                <a:moveTo>
                  <a:pt x="2277655" y="4226991"/>
                </a:moveTo>
                <a:lnTo>
                  <a:pt x="2280151" y="4229481"/>
                </a:lnTo>
                <a:lnTo>
                  <a:pt x="2277113" y="4231755"/>
                </a:lnTo>
                <a:lnTo>
                  <a:pt x="2275268" y="4229914"/>
                </a:lnTo>
                <a:close/>
                <a:moveTo>
                  <a:pt x="2300444" y="4225476"/>
                </a:moveTo>
                <a:lnTo>
                  <a:pt x="2301854" y="4230889"/>
                </a:lnTo>
                <a:lnTo>
                  <a:pt x="2298382" y="4230457"/>
                </a:lnTo>
                <a:close/>
                <a:moveTo>
                  <a:pt x="2281779" y="4223311"/>
                </a:moveTo>
                <a:lnTo>
                  <a:pt x="2286662" y="4223419"/>
                </a:lnTo>
                <a:lnTo>
                  <a:pt x="2289049" y="4228075"/>
                </a:lnTo>
                <a:lnTo>
                  <a:pt x="2285469" y="4228832"/>
                </a:lnTo>
                <a:lnTo>
                  <a:pt x="2282539" y="4230024"/>
                </a:lnTo>
                <a:lnTo>
                  <a:pt x="2282864" y="4226234"/>
                </a:lnTo>
                <a:close/>
                <a:moveTo>
                  <a:pt x="2296862" y="4222119"/>
                </a:moveTo>
                <a:lnTo>
                  <a:pt x="2296862" y="4228291"/>
                </a:lnTo>
                <a:lnTo>
                  <a:pt x="2292196" y="4223851"/>
                </a:lnTo>
                <a:close/>
                <a:moveTo>
                  <a:pt x="2312272" y="4221361"/>
                </a:moveTo>
                <a:lnTo>
                  <a:pt x="2316830" y="4222227"/>
                </a:lnTo>
                <a:lnTo>
                  <a:pt x="2317807" y="4225692"/>
                </a:lnTo>
                <a:lnTo>
                  <a:pt x="2321605" y="4229806"/>
                </a:lnTo>
                <a:lnTo>
                  <a:pt x="2319001" y="4233596"/>
                </a:lnTo>
                <a:lnTo>
                  <a:pt x="2317698" y="4236843"/>
                </a:lnTo>
                <a:lnTo>
                  <a:pt x="2314552" y="4237602"/>
                </a:lnTo>
                <a:lnTo>
                  <a:pt x="2312272" y="4236302"/>
                </a:lnTo>
                <a:lnTo>
                  <a:pt x="2309885" y="4235869"/>
                </a:lnTo>
                <a:lnTo>
                  <a:pt x="2306412" y="4239442"/>
                </a:lnTo>
                <a:lnTo>
                  <a:pt x="2306087" y="4234137"/>
                </a:lnTo>
                <a:lnTo>
                  <a:pt x="2305219" y="4230347"/>
                </a:lnTo>
                <a:lnTo>
                  <a:pt x="2307498" y="4223310"/>
                </a:lnTo>
                <a:close/>
                <a:moveTo>
                  <a:pt x="7340934" y="4221254"/>
                </a:moveTo>
                <a:lnTo>
                  <a:pt x="7339849" y="4225151"/>
                </a:lnTo>
                <a:lnTo>
                  <a:pt x="7337461" y="4222444"/>
                </a:lnTo>
                <a:close/>
                <a:moveTo>
                  <a:pt x="7255423" y="4217248"/>
                </a:moveTo>
                <a:lnTo>
                  <a:pt x="7260089" y="4220604"/>
                </a:lnTo>
                <a:lnTo>
                  <a:pt x="7264430" y="4222769"/>
                </a:lnTo>
                <a:lnTo>
                  <a:pt x="7268011" y="4225693"/>
                </a:lnTo>
                <a:lnTo>
                  <a:pt x="7268771" y="4223203"/>
                </a:lnTo>
                <a:lnTo>
                  <a:pt x="7270724" y="4220820"/>
                </a:lnTo>
                <a:lnTo>
                  <a:pt x="7270724" y="4227858"/>
                </a:lnTo>
                <a:lnTo>
                  <a:pt x="7279079" y="4232405"/>
                </a:lnTo>
                <a:lnTo>
                  <a:pt x="7285591" y="4238360"/>
                </a:lnTo>
                <a:lnTo>
                  <a:pt x="7290040" y="4241609"/>
                </a:lnTo>
                <a:lnTo>
                  <a:pt x="7293078" y="4239335"/>
                </a:lnTo>
                <a:lnTo>
                  <a:pt x="7297744" y="4239335"/>
                </a:lnTo>
                <a:lnTo>
                  <a:pt x="7301326" y="4242799"/>
                </a:lnTo>
                <a:lnTo>
                  <a:pt x="7301326" y="4238468"/>
                </a:lnTo>
                <a:lnTo>
                  <a:pt x="7304364" y="4236519"/>
                </a:lnTo>
                <a:lnTo>
                  <a:pt x="7318689" y="4237386"/>
                </a:lnTo>
                <a:lnTo>
                  <a:pt x="7321184" y="4235762"/>
                </a:lnTo>
                <a:lnTo>
                  <a:pt x="7324440" y="4233272"/>
                </a:lnTo>
                <a:lnTo>
                  <a:pt x="7327153" y="4233272"/>
                </a:lnTo>
                <a:lnTo>
                  <a:pt x="7328455" y="4234138"/>
                </a:lnTo>
                <a:lnTo>
                  <a:pt x="7331168" y="4229807"/>
                </a:lnTo>
                <a:lnTo>
                  <a:pt x="7331711" y="4229049"/>
                </a:lnTo>
                <a:lnTo>
                  <a:pt x="7337353" y="4233055"/>
                </a:lnTo>
                <a:lnTo>
                  <a:pt x="7335726" y="4237169"/>
                </a:lnTo>
                <a:lnTo>
                  <a:pt x="7333556" y="4249403"/>
                </a:lnTo>
                <a:lnTo>
                  <a:pt x="7329431" y="4254384"/>
                </a:lnTo>
                <a:lnTo>
                  <a:pt x="7329431" y="4263263"/>
                </a:lnTo>
                <a:lnTo>
                  <a:pt x="7325959" y="4268351"/>
                </a:lnTo>
                <a:lnTo>
                  <a:pt x="7327261" y="4274305"/>
                </a:lnTo>
                <a:lnTo>
                  <a:pt x="7325959" y="4276471"/>
                </a:lnTo>
                <a:lnTo>
                  <a:pt x="7325959" y="4280802"/>
                </a:lnTo>
                <a:lnTo>
                  <a:pt x="7323572" y="4285999"/>
                </a:lnTo>
                <a:lnTo>
                  <a:pt x="7322703" y="4282643"/>
                </a:lnTo>
                <a:lnTo>
                  <a:pt x="7321293" y="4275713"/>
                </a:lnTo>
                <a:lnTo>
                  <a:pt x="7318797" y="4280260"/>
                </a:lnTo>
                <a:lnTo>
                  <a:pt x="7315759" y="4282426"/>
                </a:lnTo>
                <a:lnTo>
                  <a:pt x="7315759" y="4293253"/>
                </a:lnTo>
                <a:lnTo>
                  <a:pt x="7313805" y="4295202"/>
                </a:lnTo>
                <a:lnTo>
                  <a:pt x="7310007" y="4295202"/>
                </a:lnTo>
                <a:lnTo>
                  <a:pt x="7310007" y="4300615"/>
                </a:lnTo>
                <a:lnTo>
                  <a:pt x="7306643" y="4304946"/>
                </a:lnTo>
                <a:lnTo>
                  <a:pt x="7310441" y="4307437"/>
                </a:lnTo>
                <a:lnTo>
                  <a:pt x="7310441" y="4310360"/>
                </a:lnTo>
                <a:lnTo>
                  <a:pt x="7305015" y="4318155"/>
                </a:lnTo>
                <a:lnTo>
                  <a:pt x="7303062" y="4317506"/>
                </a:lnTo>
                <a:lnTo>
                  <a:pt x="7298830" y="4319563"/>
                </a:lnTo>
                <a:lnTo>
                  <a:pt x="7298830" y="4312526"/>
                </a:lnTo>
                <a:lnTo>
                  <a:pt x="7303713" y="4314583"/>
                </a:lnTo>
                <a:lnTo>
                  <a:pt x="7304364" y="4310577"/>
                </a:lnTo>
                <a:lnTo>
                  <a:pt x="7301651" y="4308194"/>
                </a:lnTo>
                <a:lnTo>
                  <a:pt x="7297636" y="4308953"/>
                </a:lnTo>
                <a:lnTo>
                  <a:pt x="7295249" y="4313067"/>
                </a:lnTo>
                <a:lnTo>
                  <a:pt x="7292210" y="4311984"/>
                </a:lnTo>
                <a:lnTo>
                  <a:pt x="7292210" y="4307004"/>
                </a:lnTo>
                <a:lnTo>
                  <a:pt x="7290365" y="4311984"/>
                </a:lnTo>
                <a:lnTo>
                  <a:pt x="7286025" y="4315448"/>
                </a:lnTo>
                <a:lnTo>
                  <a:pt x="7284614" y="4317939"/>
                </a:lnTo>
                <a:lnTo>
                  <a:pt x="7281359" y="4314907"/>
                </a:lnTo>
                <a:lnTo>
                  <a:pt x="7279188" y="4322703"/>
                </a:lnTo>
                <a:lnTo>
                  <a:pt x="7278646" y="4327033"/>
                </a:lnTo>
                <a:lnTo>
                  <a:pt x="7274197" y="4333854"/>
                </a:lnTo>
                <a:lnTo>
                  <a:pt x="7270398" y="4333854"/>
                </a:lnTo>
                <a:lnTo>
                  <a:pt x="7268011" y="4329524"/>
                </a:lnTo>
                <a:lnTo>
                  <a:pt x="7268011" y="4325518"/>
                </a:lnTo>
                <a:lnTo>
                  <a:pt x="7264212" y="4330498"/>
                </a:lnTo>
                <a:lnTo>
                  <a:pt x="7260957" y="4327250"/>
                </a:lnTo>
                <a:lnTo>
                  <a:pt x="7256617" y="4328116"/>
                </a:lnTo>
                <a:lnTo>
                  <a:pt x="7254663" y="4327250"/>
                </a:lnTo>
                <a:lnTo>
                  <a:pt x="7254663" y="4323027"/>
                </a:lnTo>
                <a:lnTo>
                  <a:pt x="7257376" y="4319996"/>
                </a:lnTo>
                <a:lnTo>
                  <a:pt x="7252818" y="4318372"/>
                </a:lnTo>
                <a:lnTo>
                  <a:pt x="7251733" y="4312200"/>
                </a:lnTo>
                <a:lnTo>
                  <a:pt x="7252818" y="4310251"/>
                </a:lnTo>
                <a:lnTo>
                  <a:pt x="7250322" y="4308302"/>
                </a:lnTo>
                <a:lnTo>
                  <a:pt x="7250322" y="4294986"/>
                </a:lnTo>
                <a:lnTo>
                  <a:pt x="7251408" y="4292495"/>
                </a:lnTo>
                <a:lnTo>
                  <a:pt x="7248152" y="4289788"/>
                </a:lnTo>
                <a:lnTo>
                  <a:pt x="7248152" y="4281452"/>
                </a:lnTo>
                <a:lnTo>
                  <a:pt x="7250105" y="4276796"/>
                </a:lnTo>
                <a:lnTo>
                  <a:pt x="7254120" y="4281235"/>
                </a:lnTo>
                <a:lnTo>
                  <a:pt x="7259221" y="4281235"/>
                </a:lnTo>
                <a:lnTo>
                  <a:pt x="7254880" y="4276904"/>
                </a:lnTo>
                <a:lnTo>
                  <a:pt x="7254880" y="4273873"/>
                </a:lnTo>
                <a:lnTo>
                  <a:pt x="7252710" y="4272465"/>
                </a:lnTo>
                <a:lnTo>
                  <a:pt x="7254011" y="4265753"/>
                </a:lnTo>
                <a:lnTo>
                  <a:pt x="7252927" y="4257307"/>
                </a:lnTo>
                <a:lnTo>
                  <a:pt x="7252384" y="4246480"/>
                </a:lnTo>
                <a:lnTo>
                  <a:pt x="7253578" y="4240417"/>
                </a:lnTo>
                <a:lnTo>
                  <a:pt x="7252493" y="4231106"/>
                </a:lnTo>
                <a:lnTo>
                  <a:pt x="7252493" y="4226126"/>
                </a:lnTo>
                <a:lnTo>
                  <a:pt x="7253904" y="4225043"/>
                </a:lnTo>
                <a:lnTo>
                  <a:pt x="7253904" y="4219521"/>
                </a:lnTo>
                <a:close/>
                <a:moveTo>
                  <a:pt x="7264863" y="4216381"/>
                </a:moveTo>
                <a:lnTo>
                  <a:pt x="7268011" y="4219304"/>
                </a:lnTo>
                <a:lnTo>
                  <a:pt x="7265731" y="4221577"/>
                </a:lnTo>
                <a:lnTo>
                  <a:pt x="7262693" y="4220603"/>
                </a:lnTo>
                <a:lnTo>
                  <a:pt x="7261825" y="4217030"/>
                </a:lnTo>
                <a:close/>
                <a:moveTo>
                  <a:pt x="2306412" y="4216381"/>
                </a:moveTo>
                <a:lnTo>
                  <a:pt x="2310644" y="4219629"/>
                </a:lnTo>
                <a:lnTo>
                  <a:pt x="2305760" y="4220062"/>
                </a:lnTo>
                <a:lnTo>
                  <a:pt x="2304567" y="4217680"/>
                </a:lnTo>
                <a:close/>
                <a:moveTo>
                  <a:pt x="2283080" y="4215839"/>
                </a:moveTo>
                <a:lnTo>
                  <a:pt x="2286661" y="4215947"/>
                </a:lnTo>
                <a:lnTo>
                  <a:pt x="2289049" y="4218546"/>
                </a:lnTo>
                <a:lnTo>
                  <a:pt x="2288506" y="4220495"/>
                </a:lnTo>
                <a:lnTo>
                  <a:pt x="2284816" y="4222011"/>
                </a:lnTo>
                <a:lnTo>
                  <a:pt x="2282212" y="4221361"/>
                </a:lnTo>
                <a:lnTo>
                  <a:pt x="2281453" y="4219087"/>
                </a:lnTo>
                <a:close/>
                <a:moveTo>
                  <a:pt x="2351773" y="4214973"/>
                </a:moveTo>
                <a:lnTo>
                  <a:pt x="2348083" y="4217463"/>
                </a:lnTo>
                <a:lnTo>
                  <a:pt x="2343634" y="4216597"/>
                </a:lnTo>
                <a:lnTo>
                  <a:pt x="2343634" y="4216598"/>
                </a:lnTo>
                <a:lnTo>
                  <a:pt x="2348084" y="4217464"/>
                </a:lnTo>
                <a:close/>
                <a:moveTo>
                  <a:pt x="2288617" y="4211833"/>
                </a:moveTo>
                <a:lnTo>
                  <a:pt x="2290678" y="4213240"/>
                </a:lnTo>
                <a:lnTo>
                  <a:pt x="2289810" y="4215838"/>
                </a:lnTo>
                <a:lnTo>
                  <a:pt x="2287640" y="4213132"/>
                </a:lnTo>
                <a:close/>
                <a:moveTo>
                  <a:pt x="7343430" y="4211401"/>
                </a:moveTo>
                <a:lnTo>
                  <a:pt x="7348312" y="4215948"/>
                </a:lnTo>
                <a:lnTo>
                  <a:pt x="7347553" y="4218655"/>
                </a:lnTo>
                <a:lnTo>
                  <a:pt x="7343972" y="4217139"/>
                </a:lnTo>
                <a:lnTo>
                  <a:pt x="7336702" y="4216815"/>
                </a:lnTo>
                <a:lnTo>
                  <a:pt x="7335291" y="4213783"/>
                </a:lnTo>
                <a:lnTo>
                  <a:pt x="7338004" y="4211942"/>
                </a:lnTo>
                <a:close/>
                <a:moveTo>
                  <a:pt x="7266274" y="4207177"/>
                </a:moveTo>
                <a:lnTo>
                  <a:pt x="7266708" y="4211508"/>
                </a:lnTo>
                <a:lnTo>
                  <a:pt x="7263995" y="4211724"/>
                </a:lnTo>
                <a:lnTo>
                  <a:pt x="7263778" y="4208260"/>
                </a:lnTo>
                <a:close/>
                <a:moveTo>
                  <a:pt x="7261610" y="4206529"/>
                </a:moveTo>
                <a:lnTo>
                  <a:pt x="7261827" y="4210643"/>
                </a:lnTo>
                <a:lnTo>
                  <a:pt x="7260307" y="4213891"/>
                </a:lnTo>
                <a:lnTo>
                  <a:pt x="7257051" y="4212051"/>
                </a:lnTo>
                <a:lnTo>
                  <a:pt x="7258354" y="4208369"/>
                </a:lnTo>
                <a:close/>
                <a:moveTo>
                  <a:pt x="2296754" y="4205338"/>
                </a:moveTo>
                <a:lnTo>
                  <a:pt x="2300335" y="4206421"/>
                </a:lnTo>
                <a:lnTo>
                  <a:pt x="2300878" y="4211076"/>
                </a:lnTo>
                <a:lnTo>
                  <a:pt x="2297839" y="4212808"/>
                </a:lnTo>
                <a:lnTo>
                  <a:pt x="2297514" y="4209993"/>
                </a:lnTo>
                <a:lnTo>
                  <a:pt x="2294367" y="4207395"/>
                </a:lnTo>
                <a:close/>
                <a:moveTo>
                  <a:pt x="2308257" y="4203171"/>
                </a:moveTo>
                <a:lnTo>
                  <a:pt x="2308257" y="4206419"/>
                </a:lnTo>
                <a:lnTo>
                  <a:pt x="2305653" y="4208908"/>
                </a:lnTo>
                <a:lnTo>
                  <a:pt x="2304025" y="4205986"/>
                </a:lnTo>
                <a:close/>
                <a:moveTo>
                  <a:pt x="2286988" y="4202414"/>
                </a:moveTo>
                <a:lnTo>
                  <a:pt x="2293282" y="4203821"/>
                </a:lnTo>
                <a:lnTo>
                  <a:pt x="2288508" y="4206961"/>
                </a:lnTo>
                <a:lnTo>
                  <a:pt x="2285795" y="4204255"/>
                </a:lnTo>
                <a:close/>
                <a:moveTo>
                  <a:pt x="2272772" y="4198841"/>
                </a:moveTo>
                <a:lnTo>
                  <a:pt x="2276461" y="4198841"/>
                </a:lnTo>
                <a:lnTo>
                  <a:pt x="2279500" y="4201114"/>
                </a:lnTo>
                <a:lnTo>
                  <a:pt x="2273423" y="4203388"/>
                </a:lnTo>
                <a:lnTo>
                  <a:pt x="2271036" y="4200898"/>
                </a:lnTo>
                <a:close/>
                <a:moveTo>
                  <a:pt x="2336875" y="4195364"/>
                </a:moveTo>
                <a:lnTo>
                  <a:pt x="2336906" y="4196026"/>
                </a:lnTo>
                <a:lnTo>
                  <a:pt x="2341077" y="4205059"/>
                </a:lnTo>
                <a:lnTo>
                  <a:pt x="2336906" y="4196025"/>
                </a:lnTo>
                <a:close/>
                <a:moveTo>
                  <a:pt x="7340608" y="4192669"/>
                </a:moveTo>
                <a:lnTo>
                  <a:pt x="7348312" y="4200356"/>
                </a:lnTo>
                <a:lnTo>
                  <a:pt x="7348312" y="4204579"/>
                </a:lnTo>
                <a:lnTo>
                  <a:pt x="7339848" y="4208368"/>
                </a:lnTo>
                <a:lnTo>
                  <a:pt x="7338329" y="4205012"/>
                </a:lnTo>
                <a:lnTo>
                  <a:pt x="7336702" y="4202197"/>
                </a:lnTo>
                <a:lnTo>
                  <a:pt x="7338547" y="4197866"/>
                </a:lnTo>
                <a:lnTo>
                  <a:pt x="7337136" y="4193860"/>
                </a:lnTo>
                <a:close/>
                <a:moveTo>
                  <a:pt x="2329419" y="4178486"/>
                </a:moveTo>
                <a:lnTo>
                  <a:pt x="2337014" y="4181085"/>
                </a:lnTo>
                <a:lnTo>
                  <a:pt x="2337014" y="4181084"/>
                </a:lnTo>
                <a:close/>
                <a:moveTo>
                  <a:pt x="7252601" y="4174806"/>
                </a:moveTo>
                <a:lnTo>
                  <a:pt x="7255422" y="4177188"/>
                </a:lnTo>
                <a:lnTo>
                  <a:pt x="7254337" y="4184117"/>
                </a:lnTo>
                <a:lnTo>
                  <a:pt x="7255965" y="4187473"/>
                </a:lnTo>
                <a:lnTo>
                  <a:pt x="7252818" y="4192454"/>
                </a:lnTo>
                <a:lnTo>
                  <a:pt x="7251950" y="4195052"/>
                </a:lnTo>
                <a:lnTo>
                  <a:pt x="7248043" y="4198192"/>
                </a:lnTo>
                <a:lnTo>
                  <a:pt x="7244680" y="4196568"/>
                </a:lnTo>
                <a:lnTo>
                  <a:pt x="7245222" y="4193103"/>
                </a:lnTo>
                <a:lnTo>
                  <a:pt x="7244137" y="4189206"/>
                </a:lnTo>
                <a:lnTo>
                  <a:pt x="7247283" y="4185091"/>
                </a:lnTo>
                <a:lnTo>
                  <a:pt x="7246633" y="4180977"/>
                </a:lnTo>
                <a:lnTo>
                  <a:pt x="7249889" y="4176971"/>
                </a:lnTo>
                <a:close/>
                <a:moveTo>
                  <a:pt x="2302287" y="4154558"/>
                </a:moveTo>
                <a:lnTo>
                  <a:pt x="2304675" y="4156940"/>
                </a:lnTo>
                <a:lnTo>
                  <a:pt x="2303047" y="4159538"/>
                </a:lnTo>
                <a:lnTo>
                  <a:pt x="2298924" y="4156074"/>
                </a:lnTo>
                <a:close/>
                <a:moveTo>
                  <a:pt x="7323030" y="4153368"/>
                </a:moveTo>
                <a:lnTo>
                  <a:pt x="7321293" y="4155425"/>
                </a:lnTo>
                <a:lnTo>
                  <a:pt x="7318797" y="4153693"/>
                </a:lnTo>
                <a:close/>
                <a:moveTo>
                  <a:pt x="2279283" y="4141133"/>
                </a:moveTo>
                <a:lnTo>
                  <a:pt x="2284492" y="4141241"/>
                </a:lnTo>
                <a:lnTo>
                  <a:pt x="2288941" y="4143190"/>
                </a:lnTo>
                <a:lnTo>
                  <a:pt x="2293064" y="4149145"/>
                </a:lnTo>
                <a:lnTo>
                  <a:pt x="2292847" y="4155533"/>
                </a:lnTo>
                <a:lnTo>
                  <a:pt x="2293824" y="4157265"/>
                </a:lnTo>
                <a:lnTo>
                  <a:pt x="2293824" y="4161920"/>
                </a:lnTo>
                <a:lnTo>
                  <a:pt x="2288507" y="4160405"/>
                </a:lnTo>
                <a:lnTo>
                  <a:pt x="2294150" y="4164411"/>
                </a:lnTo>
                <a:lnTo>
                  <a:pt x="2295885" y="4166684"/>
                </a:lnTo>
                <a:lnTo>
                  <a:pt x="2295777" y="4167767"/>
                </a:lnTo>
                <a:lnTo>
                  <a:pt x="2291111" y="4165169"/>
                </a:lnTo>
                <a:lnTo>
                  <a:pt x="2288398" y="4165385"/>
                </a:lnTo>
                <a:lnTo>
                  <a:pt x="2288724" y="4168092"/>
                </a:lnTo>
                <a:lnTo>
                  <a:pt x="2294041" y="4173397"/>
                </a:lnTo>
                <a:lnTo>
                  <a:pt x="2291979" y="4175455"/>
                </a:lnTo>
                <a:lnTo>
                  <a:pt x="2297188" y="4180326"/>
                </a:lnTo>
                <a:lnTo>
                  <a:pt x="2296212" y="4181301"/>
                </a:lnTo>
                <a:lnTo>
                  <a:pt x="2291437" y="4179677"/>
                </a:lnTo>
                <a:lnTo>
                  <a:pt x="2289484" y="4183141"/>
                </a:lnTo>
                <a:lnTo>
                  <a:pt x="2289917" y="4188122"/>
                </a:lnTo>
                <a:lnTo>
                  <a:pt x="2289917" y="4190179"/>
                </a:lnTo>
                <a:lnTo>
                  <a:pt x="2281996" y="4190937"/>
                </a:lnTo>
                <a:lnTo>
                  <a:pt x="2276462" y="4188555"/>
                </a:lnTo>
                <a:lnTo>
                  <a:pt x="2278849" y="4183358"/>
                </a:lnTo>
                <a:lnTo>
                  <a:pt x="2277872" y="4168741"/>
                </a:lnTo>
                <a:lnTo>
                  <a:pt x="2275919" y="4162787"/>
                </a:lnTo>
                <a:lnTo>
                  <a:pt x="2274508" y="4161488"/>
                </a:lnTo>
                <a:lnTo>
                  <a:pt x="2273315" y="4158564"/>
                </a:lnTo>
                <a:lnTo>
                  <a:pt x="2274400" y="4154991"/>
                </a:lnTo>
                <a:lnTo>
                  <a:pt x="2277004" y="4152934"/>
                </a:lnTo>
                <a:lnTo>
                  <a:pt x="2277330" y="4149145"/>
                </a:lnTo>
                <a:lnTo>
                  <a:pt x="2275702" y="4146871"/>
                </a:lnTo>
                <a:lnTo>
                  <a:pt x="2275919" y="4144272"/>
                </a:lnTo>
                <a:close/>
                <a:moveTo>
                  <a:pt x="2325837" y="4136585"/>
                </a:moveTo>
                <a:lnTo>
                  <a:pt x="2325837" y="4136586"/>
                </a:lnTo>
                <a:lnTo>
                  <a:pt x="2330395" y="4138751"/>
                </a:lnTo>
                <a:lnTo>
                  <a:pt x="2331878" y="4141647"/>
                </a:lnTo>
                <a:lnTo>
                  <a:pt x="2330395" y="4138751"/>
                </a:lnTo>
                <a:close/>
                <a:moveTo>
                  <a:pt x="7297093" y="4136369"/>
                </a:moveTo>
                <a:lnTo>
                  <a:pt x="7298721" y="4138534"/>
                </a:lnTo>
                <a:lnTo>
                  <a:pt x="7297527" y="4140158"/>
                </a:lnTo>
                <a:lnTo>
                  <a:pt x="7294598" y="4137343"/>
                </a:lnTo>
                <a:close/>
                <a:moveTo>
                  <a:pt x="2323136" y="4089610"/>
                </a:moveTo>
                <a:lnTo>
                  <a:pt x="2324535" y="4091869"/>
                </a:lnTo>
                <a:lnTo>
                  <a:pt x="2324535" y="4091869"/>
                </a:lnTo>
                <a:close/>
                <a:moveTo>
                  <a:pt x="7979013" y="4042173"/>
                </a:moveTo>
                <a:lnTo>
                  <a:pt x="7981291" y="4044555"/>
                </a:lnTo>
                <a:lnTo>
                  <a:pt x="7979989" y="4045096"/>
                </a:lnTo>
                <a:lnTo>
                  <a:pt x="7979989" y="4046612"/>
                </a:lnTo>
                <a:lnTo>
                  <a:pt x="7979664" y="4050726"/>
                </a:lnTo>
                <a:lnTo>
                  <a:pt x="7980857" y="4056789"/>
                </a:lnTo>
                <a:lnTo>
                  <a:pt x="7982811" y="4060038"/>
                </a:lnTo>
                <a:lnTo>
                  <a:pt x="7981508" y="4063827"/>
                </a:lnTo>
                <a:lnTo>
                  <a:pt x="7984547" y="4065126"/>
                </a:lnTo>
                <a:lnTo>
                  <a:pt x="7986609" y="4061770"/>
                </a:lnTo>
                <a:lnTo>
                  <a:pt x="7986500" y="4059280"/>
                </a:lnTo>
                <a:lnTo>
                  <a:pt x="7988996" y="4057547"/>
                </a:lnTo>
                <a:lnTo>
                  <a:pt x="7991383" y="4057872"/>
                </a:lnTo>
                <a:lnTo>
                  <a:pt x="7989756" y="4060687"/>
                </a:lnTo>
                <a:lnTo>
                  <a:pt x="7987910" y="4060687"/>
                </a:lnTo>
                <a:lnTo>
                  <a:pt x="7988562" y="4064801"/>
                </a:lnTo>
                <a:lnTo>
                  <a:pt x="7991492" y="4063611"/>
                </a:lnTo>
                <a:lnTo>
                  <a:pt x="7994531" y="4066317"/>
                </a:lnTo>
                <a:lnTo>
                  <a:pt x="7998980" y="4067400"/>
                </a:lnTo>
                <a:lnTo>
                  <a:pt x="7999631" y="4069998"/>
                </a:lnTo>
                <a:lnTo>
                  <a:pt x="7995833" y="4071622"/>
                </a:lnTo>
                <a:lnTo>
                  <a:pt x="7994096" y="4074437"/>
                </a:lnTo>
                <a:lnTo>
                  <a:pt x="7996050" y="4074762"/>
                </a:lnTo>
                <a:lnTo>
                  <a:pt x="7998545" y="4077144"/>
                </a:lnTo>
                <a:lnTo>
                  <a:pt x="7996050" y="4079418"/>
                </a:lnTo>
                <a:lnTo>
                  <a:pt x="8000281" y="4083748"/>
                </a:lnTo>
                <a:lnTo>
                  <a:pt x="8006033" y="4081258"/>
                </a:lnTo>
                <a:lnTo>
                  <a:pt x="8008095" y="4080501"/>
                </a:lnTo>
                <a:lnTo>
                  <a:pt x="8007336" y="4084398"/>
                </a:lnTo>
                <a:lnTo>
                  <a:pt x="8009072" y="4090570"/>
                </a:lnTo>
                <a:lnTo>
                  <a:pt x="8009072" y="4097282"/>
                </a:lnTo>
                <a:lnTo>
                  <a:pt x="8007336" y="4099015"/>
                </a:lnTo>
                <a:lnTo>
                  <a:pt x="8006467" y="4104212"/>
                </a:lnTo>
                <a:lnTo>
                  <a:pt x="8002561" y="4104970"/>
                </a:lnTo>
                <a:lnTo>
                  <a:pt x="7999631" y="4103345"/>
                </a:lnTo>
                <a:lnTo>
                  <a:pt x="7999088" y="4105727"/>
                </a:lnTo>
                <a:lnTo>
                  <a:pt x="8004080" y="4109300"/>
                </a:lnTo>
                <a:lnTo>
                  <a:pt x="8003754" y="4114606"/>
                </a:lnTo>
                <a:lnTo>
                  <a:pt x="8005382" y="4118612"/>
                </a:lnTo>
                <a:lnTo>
                  <a:pt x="8004297" y="4121210"/>
                </a:lnTo>
                <a:lnTo>
                  <a:pt x="8005816" y="4124783"/>
                </a:lnTo>
                <a:lnTo>
                  <a:pt x="8004839" y="4129655"/>
                </a:lnTo>
                <a:lnTo>
                  <a:pt x="8001150" y="4130521"/>
                </a:lnTo>
                <a:lnTo>
                  <a:pt x="7998437" y="4135827"/>
                </a:lnTo>
                <a:lnTo>
                  <a:pt x="8002235" y="4138858"/>
                </a:lnTo>
                <a:lnTo>
                  <a:pt x="8000824" y="4142106"/>
                </a:lnTo>
                <a:lnTo>
                  <a:pt x="7997244" y="4144272"/>
                </a:lnTo>
                <a:lnTo>
                  <a:pt x="7997568" y="4146653"/>
                </a:lnTo>
                <a:lnTo>
                  <a:pt x="8000499" y="4146112"/>
                </a:lnTo>
                <a:lnTo>
                  <a:pt x="8004297" y="4147845"/>
                </a:lnTo>
                <a:lnTo>
                  <a:pt x="8004297" y="4150010"/>
                </a:lnTo>
                <a:lnTo>
                  <a:pt x="8009072" y="4150768"/>
                </a:lnTo>
                <a:lnTo>
                  <a:pt x="8009614" y="4154666"/>
                </a:lnTo>
                <a:lnTo>
                  <a:pt x="8012327" y="4157806"/>
                </a:lnTo>
                <a:lnTo>
                  <a:pt x="8016125" y="4156614"/>
                </a:lnTo>
                <a:lnTo>
                  <a:pt x="8016125" y="4153800"/>
                </a:lnTo>
                <a:lnTo>
                  <a:pt x="8013087" y="4149902"/>
                </a:lnTo>
                <a:lnTo>
                  <a:pt x="8012870" y="4146653"/>
                </a:lnTo>
                <a:lnTo>
                  <a:pt x="8016559" y="4143189"/>
                </a:lnTo>
                <a:lnTo>
                  <a:pt x="8015800" y="4141457"/>
                </a:lnTo>
                <a:lnTo>
                  <a:pt x="8016017" y="4136801"/>
                </a:lnTo>
                <a:lnTo>
                  <a:pt x="8012544" y="4133445"/>
                </a:lnTo>
                <a:lnTo>
                  <a:pt x="8013738" y="4131496"/>
                </a:lnTo>
                <a:lnTo>
                  <a:pt x="8017536" y="4133770"/>
                </a:lnTo>
                <a:lnTo>
                  <a:pt x="8019272" y="4132579"/>
                </a:lnTo>
                <a:lnTo>
                  <a:pt x="8020466" y="4135502"/>
                </a:lnTo>
                <a:lnTo>
                  <a:pt x="8021117" y="4140807"/>
                </a:lnTo>
                <a:lnTo>
                  <a:pt x="8023613" y="4141349"/>
                </a:lnTo>
                <a:lnTo>
                  <a:pt x="8022311" y="4144596"/>
                </a:lnTo>
                <a:lnTo>
                  <a:pt x="8021876" y="4149252"/>
                </a:lnTo>
                <a:lnTo>
                  <a:pt x="8023396" y="4151743"/>
                </a:lnTo>
                <a:lnTo>
                  <a:pt x="8023396" y="4155532"/>
                </a:lnTo>
                <a:lnTo>
                  <a:pt x="8026977" y="4163002"/>
                </a:lnTo>
                <a:lnTo>
                  <a:pt x="8026217" y="4168308"/>
                </a:lnTo>
                <a:lnTo>
                  <a:pt x="8023722" y="4170907"/>
                </a:lnTo>
                <a:lnTo>
                  <a:pt x="8025133" y="4174155"/>
                </a:lnTo>
                <a:lnTo>
                  <a:pt x="8028713" y="4179243"/>
                </a:lnTo>
                <a:lnTo>
                  <a:pt x="8031643" y="4178810"/>
                </a:lnTo>
                <a:lnTo>
                  <a:pt x="8041301" y="4188771"/>
                </a:lnTo>
                <a:lnTo>
                  <a:pt x="8045642" y="4190612"/>
                </a:lnTo>
                <a:lnTo>
                  <a:pt x="8048681" y="4189096"/>
                </a:lnTo>
                <a:lnTo>
                  <a:pt x="8054431" y="4188554"/>
                </a:lnTo>
                <a:lnTo>
                  <a:pt x="8063113" y="4179459"/>
                </a:lnTo>
                <a:lnTo>
                  <a:pt x="8068104" y="4176212"/>
                </a:lnTo>
                <a:lnTo>
                  <a:pt x="8073639" y="4177186"/>
                </a:lnTo>
                <a:lnTo>
                  <a:pt x="8073205" y="4178593"/>
                </a:lnTo>
                <a:lnTo>
                  <a:pt x="8071468" y="4179243"/>
                </a:lnTo>
                <a:lnTo>
                  <a:pt x="8073530" y="4181950"/>
                </a:lnTo>
                <a:lnTo>
                  <a:pt x="8079173" y="4183899"/>
                </a:lnTo>
                <a:lnTo>
                  <a:pt x="8079933" y="4184981"/>
                </a:lnTo>
                <a:lnTo>
                  <a:pt x="8075810" y="4187580"/>
                </a:lnTo>
                <a:lnTo>
                  <a:pt x="8072011" y="4191911"/>
                </a:lnTo>
                <a:lnTo>
                  <a:pt x="8070275" y="4197541"/>
                </a:lnTo>
                <a:lnTo>
                  <a:pt x="8070384" y="4200789"/>
                </a:lnTo>
                <a:lnTo>
                  <a:pt x="8070492" y="4204037"/>
                </a:lnTo>
                <a:lnTo>
                  <a:pt x="8064306" y="4213998"/>
                </a:lnTo>
                <a:lnTo>
                  <a:pt x="8061702" y="4217679"/>
                </a:lnTo>
                <a:lnTo>
                  <a:pt x="8059640" y="4219736"/>
                </a:lnTo>
                <a:lnTo>
                  <a:pt x="8058555" y="4218112"/>
                </a:lnTo>
                <a:lnTo>
                  <a:pt x="8054648" y="4217896"/>
                </a:lnTo>
                <a:lnTo>
                  <a:pt x="8051935" y="4220927"/>
                </a:lnTo>
                <a:lnTo>
                  <a:pt x="8048897" y="4228398"/>
                </a:lnTo>
                <a:lnTo>
                  <a:pt x="8048354" y="4233054"/>
                </a:lnTo>
                <a:lnTo>
                  <a:pt x="8053889" y="4235327"/>
                </a:lnTo>
                <a:lnTo>
                  <a:pt x="8051067" y="4236951"/>
                </a:lnTo>
                <a:lnTo>
                  <a:pt x="8047052" y="4240849"/>
                </a:lnTo>
                <a:lnTo>
                  <a:pt x="8046510" y="4237493"/>
                </a:lnTo>
                <a:lnTo>
                  <a:pt x="8047378" y="4234461"/>
                </a:lnTo>
                <a:lnTo>
                  <a:pt x="8043363" y="4234137"/>
                </a:lnTo>
                <a:lnTo>
                  <a:pt x="8035658" y="4232945"/>
                </a:lnTo>
                <a:lnTo>
                  <a:pt x="8030992" y="4234678"/>
                </a:lnTo>
                <a:lnTo>
                  <a:pt x="8020249" y="4245938"/>
                </a:lnTo>
                <a:lnTo>
                  <a:pt x="8017319" y="4246804"/>
                </a:lnTo>
                <a:lnTo>
                  <a:pt x="8014064" y="4249619"/>
                </a:lnTo>
                <a:lnTo>
                  <a:pt x="8017210" y="4249078"/>
                </a:lnTo>
                <a:lnTo>
                  <a:pt x="8021117" y="4249727"/>
                </a:lnTo>
                <a:lnTo>
                  <a:pt x="8024806" y="4253192"/>
                </a:lnTo>
                <a:lnTo>
                  <a:pt x="8022311" y="4255466"/>
                </a:lnTo>
                <a:lnTo>
                  <a:pt x="8022311" y="4257523"/>
                </a:lnTo>
                <a:lnTo>
                  <a:pt x="8017536" y="4264669"/>
                </a:lnTo>
                <a:lnTo>
                  <a:pt x="8014497" y="4273980"/>
                </a:lnTo>
                <a:lnTo>
                  <a:pt x="8009831" y="4275929"/>
                </a:lnTo>
                <a:lnTo>
                  <a:pt x="8007986" y="4278311"/>
                </a:lnTo>
                <a:lnTo>
                  <a:pt x="8007661" y="4282100"/>
                </a:lnTo>
                <a:lnTo>
                  <a:pt x="8005707" y="4284590"/>
                </a:lnTo>
                <a:lnTo>
                  <a:pt x="8002777" y="4284807"/>
                </a:lnTo>
                <a:lnTo>
                  <a:pt x="7998328" y="4287730"/>
                </a:lnTo>
                <a:lnTo>
                  <a:pt x="7990190" y="4297800"/>
                </a:lnTo>
                <a:lnTo>
                  <a:pt x="7983570" y="4305378"/>
                </a:lnTo>
                <a:lnTo>
                  <a:pt x="7976517" y="4312741"/>
                </a:lnTo>
                <a:lnTo>
                  <a:pt x="7968813" y="4318912"/>
                </a:lnTo>
                <a:lnTo>
                  <a:pt x="7960131" y="4325300"/>
                </a:lnTo>
                <a:lnTo>
                  <a:pt x="7956441" y="4325733"/>
                </a:lnTo>
                <a:lnTo>
                  <a:pt x="7955464" y="4324326"/>
                </a:lnTo>
                <a:lnTo>
                  <a:pt x="7955682" y="4320536"/>
                </a:lnTo>
                <a:lnTo>
                  <a:pt x="7954270" y="4318804"/>
                </a:lnTo>
                <a:lnTo>
                  <a:pt x="7952426" y="4319454"/>
                </a:lnTo>
                <a:lnTo>
                  <a:pt x="7951124" y="4318804"/>
                </a:lnTo>
                <a:lnTo>
                  <a:pt x="7951557" y="4316422"/>
                </a:lnTo>
                <a:lnTo>
                  <a:pt x="7951340" y="4313065"/>
                </a:lnTo>
                <a:lnTo>
                  <a:pt x="7949279" y="4312957"/>
                </a:lnTo>
                <a:lnTo>
                  <a:pt x="7948303" y="4315664"/>
                </a:lnTo>
                <a:lnTo>
                  <a:pt x="7943419" y="4314581"/>
                </a:lnTo>
                <a:lnTo>
                  <a:pt x="7942768" y="4312091"/>
                </a:lnTo>
                <a:lnTo>
                  <a:pt x="7945264" y="4309059"/>
                </a:lnTo>
                <a:lnTo>
                  <a:pt x="7952317" y="4302780"/>
                </a:lnTo>
                <a:lnTo>
                  <a:pt x="7959045" y="4295742"/>
                </a:lnTo>
                <a:lnTo>
                  <a:pt x="7968486" y="4283833"/>
                </a:lnTo>
                <a:lnTo>
                  <a:pt x="7970548" y="4279394"/>
                </a:lnTo>
                <a:lnTo>
                  <a:pt x="7970548" y="4273763"/>
                </a:lnTo>
                <a:lnTo>
                  <a:pt x="7971742" y="4272680"/>
                </a:lnTo>
                <a:lnTo>
                  <a:pt x="7971199" y="4271598"/>
                </a:lnTo>
                <a:lnTo>
                  <a:pt x="7970114" y="4261312"/>
                </a:lnTo>
                <a:lnTo>
                  <a:pt x="7967618" y="4258713"/>
                </a:lnTo>
                <a:lnTo>
                  <a:pt x="7961216" y="4256656"/>
                </a:lnTo>
                <a:lnTo>
                  <a:pt x="7957961" y="4250485"/>
                </a:lnTo>
                <a:lnTo>
                  <a:pt x="7951124" y="4246262"/>
                </a:lnTo>
                <a:lnTo>
                  <a:pt x="7947109" y="4242798"/>
                </a:lnTo>
                <a:lnTo>
                  <a:pt x="7946023" y="4235327"/>
                </a:lnTo>
                <a:lnTo>
                  <a:pt x="7947326" y="4229913"/>
                </a:lnTo>
                <a:lnTo>
                  <a:pt x="7951449" y="4225366"/>
                </a:lnTo>
                <a:lnTo>
                  <a:pt x="7960565" y="4221036"/>
                </a:lnTo>
                <a:lnTo>
                  <a:pt x="7965014" y="4220494"/>
                </a:lnTo>
                <a:lnTo>
                  <a:pt x="7969029" y="4222010"/>
                </a:lnTo>
                <a:lnTo>
                  <a:pt x="7972502" y="4221686"/>
                </a:lnTo>
                <a:lnTo>
                  <a:pt x="7975865" y="4219195"/>
                </a:lnTo>
                <a:lnTo>
                  <a:pt x="7976408" y="4215189"/>
                </a:lnTo>
                <a:lnTo>
                  <a:pt x="7979555" y="4198299"/>
                </a:lnTo>
                <a:lnTo>
                  <a:pt x="7981617" y="4193102"/>
                </a:lnTo>
                <a:lnTo>
                  <a:pt x="7984547" y="4192885"/>
                </a:lnTo>
                <a:lnTo>
                  <a:pt x="7987368" y="4191369"/>
                </a:lnTo>
                <a:lnTo>
                  <a:pt x="7984656" y="4188663"/>
                </a:lnTo>
                <a:lnTo>
                  <a:pt x="7984764" y="4186389"/>
                </a:lnTo>
                <a:lnTo>
                  <a:pt x="7986826" y="4182708"/>
                </a:lnTo>
                <a:lnTo>
                  <a:pt x="7990081" y="4182383"/>
                </a:lnTo>
                <a:lnTo>
                  <a:pt x="7991058" y="4180651"/>
                </a:lnTo>
                <a:lnTo>
                  <a:pt x="7988670" y="4178161"/>
                </a:lnTo>
                <a:lnTo>
                  <a:pt x="7989972" y="4176753"/>
                </a:lnTo>
                <a:lnTo>
                  <a:pt x="7989864" y="4172530"/>
                </a:lnTo>
                <a:lnTo>
                  <a:pt x="7992578" y="4164410"/>
                </a:lnTo>
                <a:lnTo>
                  <a:pt x="7994096" y="4161054"/>
                </a:lnTo>
                <a:lnTo>
                  <a:pt x="7992469" y="4159430"/>
                </a:lnTo>
                <a:lnTo>
                  <a:pt x="7992578" y="4157697"/>
                </a:lnTo>
                <a:lnTo>
                  <a:pt x="7997351" y="4154557"/>
                </a:lnTo>
                <a:lnTo>
                  <a:pt x="7995073" y="4152934"/>
                </a:lnTo>
                <a:lnTo>
                  <a:pt x="7994747" y="4150659"/>
                </a:lnTo>
                <a:lnTo>
                  <a:pt x="7993011" y="4147520"/>
                </a:lnTo>
                <a:lnTo>
                  <a:pt x="7991383" y="4148386"/>
                </a:lnTo>
                <a:lnTo>
                  <a:pt x="7989322" y="4147737"/>
                </a:lnTo>
                <a:lnTo>
                  <a:pt x="7986066" y="4138533"/>
                </a:lnTo>
                <a:lnTo>
                  <a:pt x="7985090" y="4131279"/>
                </a:lnTo>
                <a:lnTo>
                  <a:pt x="7987043" y="4131279"/>
                </a:lnTo>
                <a:lnTo>
                  <a:pt x="7988779" y="4134094"/>
                </a:lnTo>
                <a:lnTo>
                  <a:pt x="7990516" y="4133553"/>
                </a:lnTo>
                <a:lnTo>
                  <a:pt x="7990841" y="4131279"/>
                </a:lnTo>
                <a:lnTo>
                  <a:pt x="7992034" y="4127490"/>
                </a:lnTo>
                <a:lnTo>
                  <a:pt x="7994638" y="4122834"/>
                </a:lnTo>
                <a:lnTo>
                  <a:pt x="7994205" y="4119478"/>
                </a:lnTo>
                <a:lnTo>
                  <a:pt x="7992794" y="4119911"/>
                </a:lnTo>
                <a:lnTo>
                  <a:pt x="7993445" y="4121319"/>
                </a:lnTo>
                <a:lnTo>
                  <a:pt x="7993011" y="4123267"/>
                </a:lnTo>
                <a:lnTo>
                  <a:pt x="7990407" y="4123700"/>
                </a:lnTo>
                <a:lnTo>
                  <a:pt x="7990407" y="4119586"/>
                </a:lnTo>
                <a:lnTo>
                  <a:pt x="7988670" y="4116988"/>
                </a:lnTo>
                <a:lnTo>
                  <a:pt x="7987151" y="4118178"/>
                </a:lnTo>
                <a:lnTo>
                  <a:pt x="7988345" y="4121102"/>
                </a:lnTo>
                <a:lnTo>
                  <a:pt x="7987368" y="4125325"/>
                </a:lnTo>
                <a:lnTo>
                  <a:pt x="7984873" y="4126624"/>
                </a:lnTo>
                <a:lnTo>
                  <a:pt x="7984656" y="4121643"/>
                </a:lnTo>
                <a:lnTo>
                  <a:pt x="7984764" y="4114389"/>
                </a:lnTo>
                <a:lnTo>
                  <a:pt x="7983679" y="4102263"/>
                </a:lnTo>
                <a:lnTo>
                  <a:pt x="7980857" y="4095767"/>
                </a:lnTo>
                <a:lnTo>
                  <a:pt x="7979555" y="4089920"/>
                </a:lnTo>
                <a:lnTo>
                  <a:pt x="7982920" y="4085914"/>
                </a:lnTo>
                <a:lnTo>
                  <a:pt x="7986283" y="4084831"/>
                </a:lnTo>
                <a:lnTo>
                  <a:pt x="7981400" y="4084831"/>
                </a:lnTo>
                <a:lnTo>
                  <a:pt x="7977818" y="4087430"/>
                </a:lnTo>
                <a:lnTo>
                  <a:pt x="7976408" y="4086023"/>
                </a:lnTo>
                <a:lnTo>
                  <a:pt x="7973587" y="4076170"/>
                </a:lnTo>
                <a:lnTo>
                  <a:pt x="7974455" y="4074870"/>
                </a:lnTo>
                <a:lnTo>
                  <a:pt x="7976300" y="4074870"/>
                </a:lnTo>
                <a:lnTo>
                  <a:pt x="7978253" y="4072921"/>
                </a:lnTo>
                <a:lnTo>
                  <a:pt x="7979013" y="4064909"/>
                </a:lnTo>
                <a:lnTo>
                  <a:pt x="7978253" y="4060579"/>
                </a:lnTo>
                <a:lnTo>
                  <a:pt x="7973152" y="4048128"/>
                </a:lnTo>
                <a:lnTo>
                  <a:pt x="7970114" y="4044771"/>
                </a:lnTo>
                <a:lnTo>
                  <a:pt x="7970222" y="4043364"/>
                </a:lnTo>
                <a:lnTo>
                  <a:pt x="7976625" y="4043797"/>
                </a:lnTo>
                <a:close/>
                <a:moveTo>
                  <a:pt x="7138659" y="4024092"/>
                </a:moveTo>
                <a:lnTo>
                  <a:pt x="7137900" y="4027881"/>
                </a:lnTo>
                <a:lnTo>
                  <a:pt x="7138985" y="4030263"/>
                </a:lnTo>
                <a:lnTo>
                  <a:pt x="7141915" y="4030263"/>
                </a:lnTo>
                <a:lnTo>
                  <a:pt x="7140287" y="4032212"/>
                </a:lnTo>
                <a:lnTo>
                  <a:pt x="7144520" y="4032429"/>
                </a:lnTo>
                <a:lnTo>
                  <a:pt x="7147124" y="4031345"/>
                </a:lnTo>
                <a:lnTo>
                  <a:pt x="7150379" y="4032970"/>
                </a:lnTo>
                <a:lnTo>
                  <a:pt x="7147341" y="4035676"/>
                </a:lnTo>
                <a:lnTo>
                  <a:pt x="7138659" y="4034486"/>
                </a:lnTo>
                <a:lnTo>
                  <a:pt x="7137032" y="4036759"/>
                </a:lnTo>
                <a:lnTo>
                  <a:pt x="7134536" y="4036867"/>
                </a:lnTo>
                <a:lnTo>
                  <a:pt x="7134102" y="4038275"/>
                </a:lnTo>
                <a:lnTo>
                  <a:pt x="7131715" y="4038383"/>
                </a:lnTo>
                <a:lnTo>
                  <a:pt x="7129870" y="4036001"/>
                </a:lnTo>
                <a:lnTo>
                  <a:pt x="7126940" y="4037084"/>
                </a:lnTo>
                <a:lnTo>
                  <a:pt x="7122707" y="4036435"/>
                </a:lnTo>
                <a:lnTo>
                  <a:pt x="7120971" y="4036759"/>
                </a:lnTo>
                <a:lnTo>
                  <a:pt x="7115546" y="4036543"/>
                </a:lnTo>
                <a:lnTo>
                  <a:pt x="7112073" y="4034161"/>
                </a:lnTo>
                <a:lnTo>
                  <a:pt x="7112289" y="4031345"/>
                </a:lnTo>
                <a:lnTo>
                  <a:pt x="7117932" y="4028422"/>
                </a:lnTo>
                <a:lnTo>
                  <a:pt x="7130738" y="4024958"/>
                </a:lnTo>
                <a:lnTo>
                  <a:pt x="7134970" y="4025391"/>
                </a:lnTo>
                <a:close/>
                <a:moveTo>
                  <a:pt x="2326377" y="3999863"/>
                </a:moveTo>
                <a:lnTo>
                  <a:pt x="2326380" y="4000057"/>
                </a:lnTo>
                <a:lnTo>
                  <a:pt x="2326380" y="4000056"/>
                </a:lnTo>
                <a:close/>
                <a:moveTo>
                  <a:pt x="2333301" y="3955120"/>
                </a:moveTo>
                <a:lnTo>
                  <a:pt x="2335712" y="3959130"/>
                </a:lnTo>
                <a:lnTo>
                  <a:pt x="2335712" y="3959129"/>
                </a:lnTo>
                <a:close/>
                <a:moveTo>
                  <a:pt x="2330325" y="3950591"/>
                </a:moveTo>
                <a:lnTo>
                  <a:pt x="2330828" y="3951010"/>
                </a:lnTo>
                <a:lnTo>
                  <a:pt x="2330828" y="3951009"/>
                </a:lnTo>
                <a:close/>
                <a:moveTo>
                  <a:pt x="2331980" y="3870500"/>
                </a:moveTo>
                <a:lnTo>
                  <a:pt x="2333108" y="3872622"/>
                </a:lnTo>
                <a:lnTo>
                  <a:pt x="2333678" y="3875341"/>
                </a:lnTo>
                <a:lnTo>
                  <a:pt x="2333108" y="3872621"/>
                </a:lnTo>
                <a:close/>
                <a:moveTo>
                  <a:pt x="2606298" y="3855430"/>
                </a:moveTo>
                <a:lnTo>
                  <a:pt x="2607437" y="3864718"/>
                </a:lnTo>
                <a:lnTo>
                  <a:pt x="2609063" y="3870863"/>
                </a:lnTo>
                <a:lnTo>
                  <a:pt x="2607438" y="3864718"/>
                </a:lnTo>
                <a:close/>
                <a:moveTo>
                  <a:pt x="2608414" y="3838949"/>
                </a:moveTo>
                <a:lnTo>
                  <a:pt x="2605484" y="3844146"/>
                </a:lnTo>
                <a:lnTo>
                  <a:pt x="2607872" y="3851508"/>
                </a:lnTo>
                <a:lnTo>
                  <a:pt x="2606136" y="3854107"/>
                </a:lnTo>
                <a:lnTo>
                  <a:pt x="2606136" y="3854108"/>
                </a:lnTo>
                <a:lnTo>
                  <a:pt x="2607872" y="3851509"/>
                </a:lnTo>
                <a:lnTo>
                  <a:pt x="2605485" y="3844147"/>
                </a:lnTo>
                <a:lnTo>
                  <a:pt x="2608414" y="3838949"/>
                </a:lnTo>
                <a:close/>
                <a:moveTo>
                  <a:pt x="2610476" y="3820435"/>
                </a:moveTo>
                <a:lnTo>
                  <a:pt x="2609608" y="3831045"/>
                </a:lnTo>
                <a:lnTo>
                  <a:pt x="2607872" y="3834835"/>
                </a:lnTo>
                <a:lnTo>
                  <a:pt x="2608333" y="3838332"/>
                </a:lnTo>
                <a:lnTo>
                  <a:pt x="2607872" y="3834835"/>
                </a:lnTo>
                <a:lnTo>
                  <a:pt x="2609608" y="3831045"/>
                </a:lnTo>
                <a:close/>
                <a:moveTo>
                  <a:pt x="2667589" y="3814913"/>
                </a:moveTo>
                <a:lnTo>
                  <a:pt x="2668424" y="3815021"/>
                </a:lnTo>
                <a:lnTo>
                  <a:pt x="2673959" y="3824008"/>
                </a:lnTo>
                <a:lnTo>
                  <a:pt x="2680470" y="3826931"/>
                </a:lnTo>
                <a:lnTo>
                  <a:pt x="2686113" y="3828122"/>
                </a:lnTo>
                <a:lnTo>
                  <a:pt x="2691647" y="3833644"/>
                </a:lnTo>
                <a:lnTo>
                  <a:pt x="2691972" y="3840141"/>
                </a:lnTo>
                <a:lnTo>
                  <a:pt x="2696638" y="3839166"/>
                </a:lnTo>
                <a:lnTo>
                  <a:pt x="2705971" y="3843281"/>
                </a:lnTo>
                <a:lnTo>
                  <a:pt x="2711505" y="3850210"/>
                </a:lnTo>
                <a:lnTo>
                  <a:pt x="2717317" y="3858799"/>
                </a:lnTo>
                <a:lnTo>
                  <a:pt x="2711505" y="3850101"/>
                </a:lnTo>
                <a:lnTo>
                  <a:pt x="2705970" y="3843172"/>
                </a:lnTo>
                <a:lnTo>
                  <a:pt x="2696638" y="3839057"/>
                </a:lnTo>
                <a:lnTo>
                  <a:pt x="2691972" y="3840032"/>
                </a:lnTo>
                <a:lnTo>
                  <a:pt x="2691972" y="3833536"/>
                </a:lnTo>
                <a:lnTo>
                  <a:pt x="2686437" y="3828014"/>
                </a:lnTo>
                <a:lnTo>
                  <a:pt x="2680794" y="3826824"/>
                </a:lnTo>
                <a:lnTo>
                  <a:pt x="2674284" y="3823900"/>
                </a:lnTo>
                <a:lnTo>
                  <a:pt x="2668749" y="3814913"/>
                </a:lnTo>
                <a:close/>
                <a:moveTo>
                  <a:pt x="2611019" y="3812856"/>
                </a:moveTo>
                <a:lnTo>
                  <a:pt x="2609174" y="3816429"/>
                </a:lnTo>
                <a:lnTo>
                  <a:pt x="2609174" y="3816429"/>
                </a:lnTo>
                <a:lnTo>
                  <a:pt x="2611019" y="3812857"/>
                </a:lnTo>
                <a:close/>
                <a:moveTo>
                  <a:pt x="2649993" y="3803906"/>
                </a:moveTo>
                <a:lnTo>
                  <a:pt x="2652907" y="3810474"/>
                </a:lnTo>
                <a:lnTo>
                  <a:pt x="2658550" y="3819786"/>
                </a:lnTo>
                <a:lnTo>
                  <a:pt x="2658917" y="3819786"/>
                </a:lnTo>
                <a:lnTo>
                  <a:pt x="2653340" y="3810583"/>
                </a:lnTo>
                <a:lnTo>
                  <a:pt x="2650410" y="3804086"/>
                </a:lnTo>
                <a:close/>
                <a:moveTo>
                  <a:pt x="2620218" y="3793368"/>
                </a:moveTo>
                <a:lnTo>
                  <a:pt x="2622522" y="3794667"/>
                </a:lnTo>
                <a:lnTo>
                  <a:pt x="2622741" y="3794601"/>
                </a:lnTo>
                <a:lnTo>
                  <a:pt x="2620459" y="3793368"/>
                </a:lnTo>
                <a:close/>
                <a:moveTo>
                  <a:pt x="2635109" y="3791202"/>
                </a:moveTo>
                <a:lnTo>
                  <a:pt x="2634972" y="3791243"/>
                </a:lnTo>
                <a:lnTo>
                  <a:pt x="2639667" y="3794233"/>
                </a:lnTo>
                <a:lnTo>
                  <a:pt x="2645093" y="3801813"/>
                </a:lnTo>
                <a:lnTo>
                  <a:pt x="2646888" y="3802569"/>
                </a:lnTo>
                <a:lnTo>
                  <a:pt x="2645635" y="3802029"/>
                </a:lnTo>
                <a:lnTo>
                  <a:pt x="2640101" y="3794450"/>
                </a:lnTo>
                <a:close/>
                <a:moveTo>
                  <a:pt x="7567951" y="3781566"/>
                </a:moveTo>
                <a:lnTo>
                  <a:pt x="7569036" y="3786980"/>
                </a:lnTo>
                <a:lnTo>
                  <a:pt x="7566323" y="3790336"/>
                </a:lnTo>
                <a:close/>
                <a:moveTo>
                  <a:pt x="4571046" y="3779497"/>
                </a:moveTo>
                <a:lnTo>
                  <a:pt x="4571046" y="3783081"/>
                </a:lnTo>
                <a:lnTo>
                  <a:pt x="4574519" y="3786005"/>
                </a:lnTo>
                <a:lnTo>
                  <a:pt x="4577015" y="3789470"/>
                </a:lnTo>
                <a:lnTo>
                  <a:pt x="4582549" y="3791743"/>
                </a:lnTo>
                <a:lnTo>
                  <a:pt x="4582875" y="3791743"/>
                </a:lnTo>
                <a:lnTo>
                  <a:pt x="4586890" y="3791743"/>
                </a:lnTo>
                <a:lnTo>
                  <a:pt x="4587002" y="3791537"/>
                </a:lnTo>
                <a:lnTo>
                  <a:pt x="4582875" y="3791743"/>
                </a:lnTo>
                <a:lnTo>
                  <a:pt x="4577340" y="3789469"/>
                </a:lnTo>
                <a:lnTo>
                  <a:pt x="4574845" y="3786005"/>
                </a:lnTo>
                <a:lnTo>
                  <a:pt x="4571372" y="3783081"/>
                </a:lnTo>
                <a:close/>
                <a:moveTo>
                  <a:pt x="4610475" y="3775480"/>
                </a:moveTo>
                <a:lnTo>
                  <a:pt x="4606423" y="3778210"/>
                </a:lnTo>
                <a:lnTo>
                  <a:pt x="4603602" y="3777343"/>
                </a:lnTo>
                <a:lnTo>
                  <a:pt x="4599478" y="3778101"/>
                </a:lnTo>
                <a:lnTo>
                  <a:pt x="4596331" y="3780158"/>
                </a:lnTo>
                <a:lnTo>
                  <a:pt x="4592207" y="3781349"/>
                </a:lnTo>
                <a:lnTo>
                  <a:pt x="4592117" y="3781606"/>
                </a:lnTo>
                <a:lnTo>
                  <a:pt x="4596005" y="3780483"/>
                </a:lnTo>
                <a:lnTo>
                  <a:pt x="4599153" y="3778426"/>
                </a:lnTo>
                <a:lnTo>
                  <a:pt x="4603276" y="3777668"/>
                </a:lnTo>
                <a:lnTo>
                  <a:pt x="4606097" y="3778534"/>
                </a:lnTo>
                <a:lnTo>
                  <a:pt x="4610438" y="3775611"/>
                </a:lnTo>
                <a:close/>
                <a:moveTo>
                  <a:pt x="4615831" y="3762911"/>
                </a:moveTo>
                <a:lnTo>
                  <a:pt x="4613802" y="3764676"/>
                </a:lnTo>
                <a:lnTo>
                  <a:pt x="4609570" y="3766841"/>
                </a:lnTo>
                <a:lnTo>
                  <a:pt x="4609616" y="3767252"/>
                </a:lnTo>
                <a:lnTo>
                  <a:pt x="4613910" y="3765109"/>
                </a:lnTo>
                <a:close/>
                <a:moveTo>
                  <a:pt x="2647914" y="3744645"/>
                </a:moveTo>
                <a:lnTo>
                  <a:pt x="2640318" y="3753848"/>
                </a:lnTo>
                <a:lnTo>
                  <a:pt x="2638908" y="3757529"/>
                </a:lnTo>
                <a:lnTo>
                  <a:pt x="2639125" y="3762835"/>
                </a:lnTo>
                <a:lnTo>
                  <a:pt x="2635652" y="3763809"/>
                </a:lnTo>
                <a:lnTo>
                  <a:pt x="2633807" y="3766732"/>
                </a:lnTo>
                <a:lnTo>
                  <a:pt x="2628924" y="3775503"/>
                </a:lnTo>
                <a:lnTo>
                  <a:pt x="2625451" y="3779184"/>
                </a:lnTo>
                <a:lnTo>
                  <a:pt x="2621545" y="3785680"/>
                </a:lnTo>
                <a:lnTo>
                  <a:pt x="2621545" y="3787954"/>
                </a:lnTo>
                <a:lnTo>
                  <a:pt x="2617095" y="3790986"/>
                </a:lnTo>
                <a:lnTo>
                  <a:pt x="2616445" y="3793150"/>
                </a:lnTo>
                <a:lnTo>
                  <a:pt x="2616010" y="3794450"/>
                </a:lnTo>
                <a:lnTo>
                  <a:pt x="2613732" y="3799755"/>
                </a:lnTo>
                <a:lnTo>
                  <a:pt x="2609499" y="3805277"/>
                </a:lnTo>
                <a:lnTo>
                  <a:pt x="2609499" y="3805277"/>
                </a:lnTo>
                <a:lnTo>
                  <a:pt x="2613732" y="3799755"/>
                </a:lnTo>
                <a:lnTo>
                  <a:pt x="2616011" y="3794450"/>
                </a:lnTo>
                <a:lnTo>
                  <a:pt x="2616445" y="3793151"/>
                </a:lnTo>
                <a:lnTo>
                  <a:pt x="2616939" y="3793166"/>
                </a:lnTo>
                <a:lnTo>
                  <a:pt x="2617530" y="3791202"/>
                </a:lnTo>
                <a:lnTo>
                  <a:pt x="2621979" y="3788062"/>
                </a:lnTo>
                <a:lnTo>
                  <a:pt x="2621979" y="3785788"/>
                </a:lnTo>
                <a:lnTo>
                  <a:pt x="2625885" y="3779292"/>
                </a:lnTo>
                <a:lnTo>
                  <a:pt x="2629358" y="3775719"/>
                </a:lnTo>
                <a:lnTo>
                  <a:pt x="2634241" y="3766950"/>
                </a:lnTo>
                <a:lnTo>
                  <a:pt x="2636086" y="3764026"/>
                </a:lnTo>
                <a:lnTo>
                  <a:pt x="2639558" y="3762944"/>
                </a:lnTo>
                <a:lnTo>
                  <a:pt x="2639558" y="3757639"/>
                </a:lnTo>
                <a:lnTo>
                  <a:pt x="2640969" y="3754066"/>
                </a:lnTo>
                <a:lnTo>
                  <a:pt x="2648566" y="3744754"/>
                </a:lnTo>
                <a:lnTo>
                  <a:pt x="2648651" y="3744754"/>
                </a:lnTo>
                <a:close/>
                <a:moveTo>
                  <a:pt x="4368083" y="3743671"/>
                </a:moveTo>
                <a:lnTo>
                  <a:pt x="4368662" y="3744754"/>
                </a:lnTo>
                <a:lnTo>
                  <a:pt x="4369765" y="3744754"/>
                </a:lnTo>
                <a:lnTo>
                  <a:pt x="4369205" y="3743671"/>
                </a:lnTo>
                <a:close/>
                <a:moveTo>
                  <a:pt x="4608594" y="3741831"/>
                </a:moveTo>
                <a:lnTo>
                  <a:pt x="4604951" y="3742900"/>
                </a:lnTo>
                <a:lnTo>
                  <a:pt x="4605121" y="3743021"/>
                </a:lnTo>
                <a:lnTo>
                  <a:pt x="4608810" y="3742047"/>
                </a:lnTo>
                <a:lnTo>
                  <a:pt x="4613832" y="3745909"/>
                </a:lnTo>
                <a:lnTo>
                  <a:pt x="4613802" y="3745837"/>
                </a:lnTo>
                <a:close/>
                <a:moveTo>
                  <a:pt x="4601431" y="3740423"/>
                </a:moveTo>
                <a:lnTo>
                  <a:pt x="4600098" y="3741446"/>
                </a:lnTo>
                <a:lnTo>
                  <a:pt x="4600346" y="3741614"/>
                </a:lnTo>
                <a:lnTo>
                  <a:pt x="4601618" y="3740557"/>
                </a:lnTo>
                <a:close/>
                <a:moveTo>
                  <a:pt x="4596272" y="3739882"/>
                </a:moveTo>
                <a:lnTo>
                  <a:pt x="4597887" y="3739986"/>
                </a:lnTo>
                <a:lnTo>
                  <a:pt x="4597741" y="3739882"/>
                </a:lnTo>
                <a:close/>
                <a:moveTo>
                  <a:pt x="4594378" y="3739882"/>
                </a:moveTo>
                <a:lnTo>
                  <a:pt x="4593510" y="3741722"/>
                </a:lnTo>
                <a:lnTo>
                  <a:pt x="4590471" y="3743563"/>
                </a:lnTo>
                <a:lnTo>
                  <a:pt x="4588409" y="3745837"/>
                </a:lnTo>
                <a:lnTo>
                  <a:pt x="4579619" y="3747353"/>
                </a:lnTo>
                <a:lnTo>
                  <a:pt x="4574302" y="3752008"/>
                </a:lnTo>
                <a:lnTo>
                  <a:pt x="4572023" y="3758179"/>
                </a:lnTo>
                <a:lnTo>
                  <a:pt x="4565729" y="3763052"/>
                </a:lnTo>
                <a:lnTo>
                  <a:pt x="4562474" y="3765325"/>
                </a:lnTo>
                <a:lnTo>
                  <a:pt x="4564427" y="3769873"/>
                </a:lnTo>
                <a:lnTo>
                  <a:pt x="4567249" y="3772579"/>
                </a:lnTo>
                <a:lnTo>
                  <a:pt x="4567791" y="3775069"/>
                </a:lnTo>
                <a:lnTo>
                  <a:pt x="4570236" y="3777510"/>
                </a:lnTo>
                <a:lnTo>
                  <a:pt x="4568117" y="3775070"/>
                </a:lnTo>
                <a:lnTo>
                  <a:pt x="4567466" y="3772688"/>
                </a:lnTo>
                <a:lnTo>
                  <a:pt x="4564753" y="3769873"/>
                </a:lnTo>
                <a:lnTo>
                  <a:pt x="4562691" y="3765325"/>
                </a:lnTo>
                <a:lnTo>
                  <a:pt x="4565946" y="3763051"/>
                </a:lnTo>
                <a:lnTo>
                  <a:pt x="4572240" y="3758180"/>
                </a:lnTo>
                <a:lnTo>
                  <a:pt x="4574519" y="3752008"/>
                </a:lnTo>
                <a:lnTo>
                  <a:pt x="4579837" y="3747352"/>
                </a:lnTo>
                <a:lnTo>
                  <a:pt x="4588626" y="3745837"/>
                </a:lnTo>
                <a:lnTo>
                  <a:pt x="4590688" y="3743455"/>
                </a:lnTo>
                <a:lnTo>
                  <a:pt x="4593727" y="3741723"/>
                </a:lnTo>
                <a:lnTo>
                  <a:pt x="4594547" y="3739882"/>
                </a:lnTo>
                <a:close/>
                <a:moveTo>
                  <a:pt x="2654751" y="3738137"/>
                </a:moveTo>
                <a:lnTo>
                  <a:pt x="2654425" y="3738257"/>
                </a:lnTo>
                <a:lnTo>
                  <a:pt x="2654107" y="3743972"/>
                </a:lnTo>
                <a:lnTo>
                  <a:pt x="2654751" y="3743779"/>
                </a:lnTo>
                <a:close/>
                <a:moveTo>
                  <a:pt x="4335372" y="3727934"/>
                </a:moveTo>
                <a:lnTo>
                  <a:pt x="4334155" y="3731003"/>
                </a:lnTo>
                <a:lnTo>
                  <a:pt x="4337627" y="3738041"/>
                </a:lnTo>
                <a:lnTo>
                  <a:pt x="4338920" y="3738316"/>
                </a:lnTo>
                <a:lnTo>
                  <a:pt x="4336433" y="3733277"/>
                </a:lnTo>
                <a:lnTo>
                  <a:pt x="4338495" y="3728079"/>
                </a:lnTo>
                <a:close/>
                <a:moveTo>
                  <a:pt x="2672124" y="3725617"/>
                </a:moveTo>
                <a:lnTo>
                  <a:pt x="2672005" y="3725698"/>
                </a:lnTo>
                <a:lnTo>
                  <a:pt x="2670331" y="3728449"/>
                </a:lnTo>
                <a:lnTo>
                  <a:pt x="2670485" y="3728405"/>
                </a:lnTo>
                <a:close/>
                <a:moveTo>
                  <a:pt x="2635869" y="3724832"/>
                </a:moveTo>
                <a:lnTo>
                  <a:pt x="2637064" y="3726132"/>
                </a:lnTo>
                <a:lnTo>
                  <a:pt x="2635870" y="3724832"/>
                </a:lnTo>
                <a:close/>
                <a:moveTo>
                  <a:pt x="4331115" y="3722991"/>
                </a:moveTo>
                <a:lnTo>
                  <a:pt x="4330201" y="3723329"/>
                </a:lnTo>
                <a:lnTo>
                  <a:pt x="4331551" y="3725807"/>
                </a:lnTo>
                <a:lnTo>
                  <a:pt x="4332683" y="3725807"/>
                </a:lnTo>
                <a:close/>
                <a:moveTo>
                  <a:pt x="2687772" y="3715179"/>
                </a:moveTo>
                <a:lnTo>
                  <a:pt x="2687740" y="3715196"/>
                </a:lnTo>
                <a:lnTo>
                  <a:pt x="2686983" y="3716801"/>
                </a:lnTo>
                <a:lnTo>
                  <a:pt x="2687089" y="3716712"/>
                </a:lnTo>
                <a:close/>
                <a:moveTo>
                  <a:pt x="2351540" y="3713684"/>
                </a:moveTo>
                <a:lnTo>
                  <a:pt x="2351555" y="3714006"/>
                </a:lnTo>
                <a:lnTo>
                  <a:pt x="2353726" y="3716387"/>
                </a:lnTo>
                <a:lnTo>
                  <a:pt x="2353726" y="3716387"/>
                </a:lnTo>
                <a:lnTo>
                  <a:pt x="2351555" y="3714005"/>
                </a:lnTo>
                <a:close/>
                <a:moveTo>
                  <a:pt x="2346564" y="3701445"/>
                </a:moveTo>
                <a:lnTo>
                  <a:pt x="2346564" y="3701446"/>
                </a:lnTo>
                <a:lnTo>
                  <a:pt x="2348816" y="3703277"/>
                </a:lnTo>
                <a:close/>
                <a:moveTo>
                  <a:pt x="6608012" y="3699821"/>
                </a:moveTo>
                <a:lnTo>
                  <a:pt x="6610616" y="3707725"/>
                </a:lnTo>
                <a:lnTo>
                  <a:pt x="6608663" y="3714762"/>
                </a:lnTo>
                <a:lnTo>
                  <a:pt x="6605733" y="3705343"/>
                </a:lnTo>
                <a:close/>
                <a:moveTo>
                  <a:pt x="7574353" y="3697440"/>
                </a:moveTo>
                <a:lnTo>
                  <a:pt x="7576632" y="3697764"/>
                </a:lnTo>
                <a:lnTo>
                  <a:pt x="7577501" y="3703178"/>
                </a:lnTo>
                <a:lnTo>
                  <a:pt x="7576415" y="3709891"/>
                </a:lnTo>
                <a:lnTo>
                  <a:pt x="7571098" y="3717145"/>
                </a:lnTo>
                <a:lnTo>
                  <a:pt x="7569904" y="3726780"/>
                </a:lnTo>
                <a:lnTo>
                  <a:pt x="7571315" y="3731436"/>
                </a:lnTo>
                <a:lnTo>
                  <a:pt x="7568493" y="3730570"/>
                </a:lnTo>
                <a:lnTo>
                  <a:pt x="7566323" y="3723533"/>
                </a:lnTo>
                <a:lnTo>
                  <a:pt x="7567191" y="3718660"/>
                </a:lnTo>
                <a:lnTo>
                  <a:pt x="7567625" y="3714438"/>
                </a:lnTo>
                <a:lnTo>
                  <a:pt x="7571749" y="3709566"/>
                </a:lnTo>
                <a:lnTo>
                  <a:pt x="7574353" y="3704369"/>
                </a:lnTo>
                <a:lnTo>
                  <a:pt x="7573051" y="3701121"/>
                </a:lnTo>
                <a:close/>
                <a:moveTo>
                  <a:pt x="2593356" y="3694633"/>
                </a:moveTo>
                <a:lnTo>
                  <a:pt x="2594090" y="3697440"/>
                </a:lnTo>
                <a:lnTo>
                  <a:pt x="2590726" y="3706751"/>
                </a:lnTo>
                <a:lnTo>
                  <a:pt x="2583238" y="3714330"/>
                </a:lnTo>
                <a:lnTo>
                  <a:pt x="2581936" y="3719634"/>
                </a:lnTo>
                <a:lnTo>
                  <a:pt x="2581937" y="3719634"/>
                </a:lnTo>
                <a:lnTo>
                  <a:pt x="2583239" y="3714330"/>
                </a:lnTo>
                <a:lnTo>
                  <a:pt x="2590726" y="3706751"/>
                </a:lnTo>
                <a:lnTo>
                  <a:pt x="2594090" y="3697440"/>
                </a:lnTo>
                <a:close/>
                <a:moveTo>
                  <a:pt x="4684121" y="3692134"/>
                </a:moveTo>
                <a:lnTo>
                  <a:pt x="4684121" y="3692134"/>
                </a:lnTo>
                <a:lnTo>
                  <a:pt x="4684121" y="3692138"/>
                </a:lnTo>
                <a:close/>
                <a:moveTo>
                  <a:pt x="4659748" y="3691422"/>
                </a:moveTo>
                <a:lnTo>
                  <a:pt x="4662201" y="3695924"/>
                </a:lnTo>
                <a:lnTo>
                  <a:pt x="4662387" y="3696027"/>
                </a:lnTo>
                <a:lnTo>
                  <a:pt x="4659814" y="3691484"/>
                </a:lnTo>
                <a:close/>
                <a:moveTo>
                  <a:pt x="6611484" y="3686073"/>
                </a:moveTo>
                <a:lnTo>
                  <a:pt x="6611484" y="3692569"/>
                </a:lnTo>
                <a:cubicBezTo>
                  <a:pt x="6611484" y="3692569"/>
                  <a:pt x="6609639" y="3696900"/>
                  <a:pt x="6609639" y="3696900"/>
                </a:cubicBezTo>
                <a:close/>
                <a:moveTo>
                  <a:pt x="2698049" y="3685541"/>
                </a:moveTo>
                <a:lnTo>
                  <a:pt x="2697832" y="3690943"/>
                </a:lnTo>
                <a:lnTo>
                  <a:pt x="2698917" y="3700254"/>
                </a:lnTo>
                <a:lnTo>
                  <a:pt x="2699776" y="3708715"/>
                </a:lnTo>
                <a:lnTo>
                  <a:pt x="2700003" y="3708159"/>
                </a:lnTo>
                <a:lnTo>
                  <a:pt x="2699134" y="3699605"/>
                </a:lnTo>
                <a:lnTo>
                  <a:pt x="2698049" y="3690294"/>
                </a:lnTo>
                <a:close/>
                <a:moveTo>
                  <a:pt x="2346566" y="3680322"/>
                </a:moveTo>
                <a:lnTo>
                  <a:pt x="2346672" y="3680983"/>
                </a:lnTo>
                <a:lnTo>
                  <a:pt x="2351881" y="3687478"/>
                </a:lnTo>
                <a:lnTo>
                  <a:pt x="2351881" y="3687478"/>
                </a:lnTo>
                <a:lnTo>
                  <a:pt x="2346672" y="3680983"/>
                </a:lnTo>
                <a:close/>
                <a:moveTo>
                  <a:pt x="2676346" y="3676651"/>
                </a:moveTo>
                <a:lnTo>
                  <a:pt x="2676346" y="3676652"/>
                </a:lnTo>
                <a:lnTo>
                  <a:pt x="2676552" y="3677243"/>
                </a:lnTo>
                <a:close/>
                <a:moveTo>
                  <a:pt x="2604399" y="3674594"/>
                </a:moveTo>
                <a:lnTo>
                  <a:pt x="2602880" y="3679791"/>
                </a:lnTo>
                <a:lnTo>
                  <a:pt x="2599299" y="3685422"/>
                </a:lnTo>
                <a:lnTo>
                  <a:pt x="2595175" y="3688561"/>
                </a:lnTo>
                <a:lnTo>
                  <a:pt x="2592788" y="3692459"/>
                </a:lnTo>
                <a:lnTo>
                  <a:pt x="2592788" y="3692459"/>
                </a:lnTo>
                <a:lnTo>
                  <a:pt x="2595175" y="3688562"/>
                </a:lnTo>
                <a:lnTo>
                  <a:pt x="2599299" y="3685422"/>
                </a:lnTo>
                <a:lnTo>
                  <a:pt x="2602880" y="3679792"/>
                </a:lnTo>
                <a:lnTo>
                  <a:pt x="2604399" y="3674596"/>
                </a:lnTo>
                <a:close/>
                <a:moveTo>
                  <a:pt x="2693668" y="3672152"/>
                </a:moveTo>
                <a:lnTo>
                  <a:pt x="2693708" y="3672753"/>
                </a:lnTo>
                <a:lnTo>
                  <a:pt x="2698049" y="3682576"/>
                </a:lnTo>
                <a:lnTo>
                  <a:pt x="2698049" y="3682173"/>
                </a:lnTo>
                <a:close/>
                <a:moveTo>
                  <a:pt x="2678625" y="3665429"/>
                </a:moveTo>
                <a:lnTo>
                  <a:pt x="2678408" y="3666258"/>
                </a:lnTo>
                <a:lnTo>
                  <a:pt x="2678191" y="3669073"/>
                </a:lnTo>
                <a:lnTo>
                  <a:pt x="2682314" y="3666365"/>
                </a:lnTo>
                <a:lnTo>
                  <a:pt x="2693383" y="3667881"/>
                </a:lnTo>
                <a:lnTo>
                  <a:pt x="2693600" y="3671128"/>
                </a:lnTo>
                <a:lnTo>
                  <a:pt x="2693600" y="3667124"/>
                </a:lnTo>
                <a:lnTo>
                  <a:pt x="2682748" y="3665608"/>
                </a:lnTo>
                <a:lnTo>
                  <a:pt x="2678625" y="3668315"/>
                </a:lnTo>
                <a:close/>
                <a:moveTo>
                  <a:pt x="4527206" y="3663768"/>
                </a:moveTo>
                <a:lnTo>
                  <a:pt x="4526784" y="3663828"/>
                </a:lnTo>
                <a:lnTo>
                  <a:pt x="4526989" y="3664093"/>
                </a:lnTo>
                <a:lnTo>
                  <a:pt x="4527643" y="3664359"/>
                </a:lnTo>
                <a:close/>
                <a:moveTo>
                  <a:pt x="2679276" y="3660390"/>
                </a:moveTo>
                <a:lnTo>
                  <a:pt x="2679059" y="3660736"/>
                </a:lnTo>
                <a:lnTo>
                  <a:pt x="2679059" y="3663732"/>
                </a:lnTo>
                <a:lnTo>
                  <a:pt x="2679276" y="3662902"/>
                </a:lnTo>
                <a:close/>
                <a:moveTo>
                  <a:pt x="2342007" y="3659328"/>
                </a:moveTo>
                <a:lnTo>
                  <a:pt x="2342006" y="3659329"/>
                </a:lnTo>
                <a:lnTo>
                  <a:pt x="2346998" y="3663443"/>
                </a:lnTo>
                <a:lnTo>
                  <a:pt x="2346998" y="3663442"/>
                </a:lnTo>
                <a:close/>
                <a:moveTo>
                  <a:pt x="7529536" y="3658571"/>
                </a:moveTo>
                <a:lnTo>
                  <a:pt x="7531814" y="3660195"/>
                </a:lnTo>
                <a:lnTo>
                  <a:pt x="7534745" y="3660520"/>
                </a:lnTo>
                <a:lnTo>
                  <a:pt x="7534310" y="3663551"/>
                </a:lnTo>
                <a:lnTo>
                  <a:pt x="7536155" y="3665717"/>
                </a:lnTo>
                <a:lnTo>
                  <a:pt x="7535179" y="3669939"/>
                </a:lnTo>
                <a:lnTo>
                  <a:pt x="7532791" y="3665717"/>
                </a:lnTo>
                <a:lnTo>
                  <a:pt x="7528451" y="3659761"/>
                </a:lnTo>
                <a:close/>
                <a:moveTo>
                  <a:pt x="4490785" y="3656504"/>
                </a:moveTo>
                <a:lnTo>
                  <a:pt x="4491287" y="3657163"/>
                </a:lnTo>
                <a:lnTo>
                  <a:pt x="4491346" y="3657163"/>
                </a:lnTo>
                <a:lnTo>
                  <a:pt x="4490852" y="3656513"/>
                </a:lnTo>
                <a:close/>
                <a:moveTo>
                  <a:pt x="4410212" y="3649570"/>
                </a:moveTo>
                <a:lnTo>
                  <a:pt x="4412287" y="3655214"/>
                </a:lnTo>
                <a:lnTo>
                  <a:pt x="4418472" y="3668640"/>
                </a:lnTo>
                <a:lnTo>
                  <a:pt x="4418472" y="3675136"/>
                </a:lnTo>
                <a:lnTo>
                  <a:pt x="4415000" y="3682823"/>
                </a:lnTo>
                <a:lnTo>
                  <a:pt x="4415000" y="3687370"/>
                </a:lnTo>
                <a:lnTo>
                  <a:pt x="4417189" y="3687074"/>
                </a:lnTo>
                <a:lnTo>
                  <a:pt x="4417278" y="3685206"/>
                </a:lnTo>
                <a:lnTo>
                  <a:pt x="4420750" y="3677518"/>
                </a:lnTo>
                <a:lnTo>
                  <a:pt x="4420859" y="3671022"/>
                </a:lnTo>
                <a:lnTo>
                  <a:pt x="4414674" y="3657596"/>
                </a:lnTo>
                <a:lnTo>
                  <a:pt x="4412286" y="3651100"/>
                </a:lnTo>
                <a:close/>
                <a:moveTo>
                  <a:pt x="2681545" y="3634320"/>
                </a:moveTo>
                <a:lnTo>
                  <a:pt x="2681229" y="3634860"/>
                </a:lnTo>
                <a:lnTo>
                  <a:pt x="2680578" y="3657269"/>
                </a:lnTo>
                <a:lnTo>
                  <a:pt x="2680903" y="3656405"/>
                </a:lnTo>
                <a:close/>
                <a:moveTo>
                  <a:pt x="7521722" y="3623274"/>
                </a:moveTo>
                <a:lnTo>
                  <a:pt x="7522265" y="3625981"/>
                </a:lnTo>
                <a:lnTo>
                  <a:pt x="7519769" y="3625331"/>
                </a:lnTo>
                <a:close/>
                <a:moveTo>
                  <a:pt x="2444228" y="3591442"/>
                </a:moveTo>
                <a:lnTo>
                  <a:pt x="2441515" y="3595990"/>
                </a:lnTo>
                <a:lnTo>
                  <a:pt x="2444228" y="3591442"/>
                </a:lnTo>
                <a:close/>
                <a:moveTo>
                  <a:pt x="2429677" y="3583645"/>
                </a:moveTo>
                <a:lnTo>
                  <a:pt x="2433594" y="3584297"/>
                </a:lnTo>
                <a:lnTo>
                  <a:pt x="2434571" y="3590468"/>
                </a:lnTo>
                <a:lnTo>
                  <a:pt x="2433594" y="3584296"/>
                </a:lnTo>
                <a:close/>
                <a:moveTo>
                  <a:pt x="2448026" y="3581482"/>
                </a:moveTo>
                <a:lnTo>
                  <a:pt x="2444228" y="3587003"/>
                </a:lnTo>
                <a:lnTo>
                  <a:pt x="2444228" y="3587003"/>
                </a:lnTo>
                <a:close/>
                <a:moveTo>
                  <a:pt x="2398325" y="3580399"/>
                </a:moveTo>
                <a:lnTo>
                  <a:pt x="2392140" y="3582456"/>
                </a:lnTo>
                <a:lnTo>
                  <a:pt x="2382808" y="3592092"/>
                </a:lnTo>
                <a:lnTo>
                  <a:pt x="2378684" y="3600753"/>
                </a:lnTo>
                <a:lnTo>
                  <a:pt x="2375646" y="3604543"/>
                </a:lnTo>
                <a:lnTo>
                  <a:pt x="2371739" y="3605192"/>
                </a:lnTo>
                <a:lnTo>
                  <a:pt x="2370111" y="3608332"/>
                </a:lnTo>
                <a:lnTo>
                  <a:pt x="2363492" y="3608332"/>
                </a:lnTo>
                <a:lnTo>
                  <a:pt x="2363493" y="3608333"/>
                </a:lnTo>
                <a:lnTo>
                  <a:pt x="2370112" y="3608333"/>
                </a:lnTo>
                <a:lnTo>
                  <a:pt x="2371740" y="3605194"/>
                </a:lnTo>
                <a:lnTo>
                  <a:pt x="2375646" y="3604544"/>
                </a:lnTo>
                <a:lnTo>
                  <a:pt x="2376884" y="3607099"/>
                </a:lnTo>
                <a:lnTo>
                  <a:pt x="2375646" y="3604543"/>
                </a:lnTo>
                <a:lnTo>
                  <a:pt x="2378684" y="3600754"/>
                </a:lnTo>
                <a:lnTo>
                  <a:pt x="2382808" y="3592092"/>
                </a:lnTo>
                <a:lnTo>
                  <a:pt x="2392141" y="3582456"/>
                </a:lnTo>
                <a:lnTo>
                  <a:pt x="2398325" y="3580399"/>
                </a:lnTo>
                <a:lnTo>
                  <a:pt x="2404186" y="3585596"/>
                </a:lnTo>
                <a:lnTo>
                  <a:pt x="2411131" y="3584946"/>
                </a:lnTo>
                <a:lnTo>
                  <a:pt x="2415254" y="3583864"/>
                </a:lnTo>
                <a:lnTo>
                  <a:pt x="2420463" y="3585271"/>
                </a:lnTo>
                <a:lnTo>
                  <a:pt x="2429036" y="3583539"/>
                </a:lnTo>
                <a:lnTo>
                  <a:pt x="2429036" y="3583539"/>
                </a:lnTo>
                <a:lnTo>
                  <a:pt x="2420463" y="3585271"/>
                </a:lnTo>
                <a:lnTo>
                  <a:pt x="2415254" y="3583863"/>
                </a:lnTo>
                <a:lnTo>
                  <a:pt x="2411131" y="3584946"/>
                </a:lnTo>
                <a:lnTo>
                  <a:pt x="2404185" y="3585596"/>
                </a:lnTo>
                <a:close/>
                <a:moveTo>
                  <a:pt x="4664045" y="3579209"/>
                </a:moveTo>
                <a:lnTo>
                  <a:pt x="4663668" y="3579265"/>
                </a:lnTo>
                <a:lnTo>
                  <a:pt x="4670882" y="3580724"/>
                </a:lnTo>
                <a:lnTo>
                  <a:pt x="4675440" y="3584513"/>
                </a:lnTo>
                <a:lnTo>
                  <a:pt x="4676850" y="3591010"/>
                </a:lnTo>
                <a:lnTo>
                  <a:pt x="4678261" y="3597181"/>
                </a:lnTo>
                <a:lnTo>
                  <a:pt x="4681082" y="3603027"/>
                </a:lnTo>
                <a:lnTo>
                  <a:pt x="4681082" y="3613855"/>
                </a:lnTo>
                <a:lnTo>
                  <a:pt x="4681082" y="3615263"/>
                </a:lnTo>
                <a:lnTo>
                  <a:pt x="4681082" y="3619809"/>
                </a:lnTo>
                <a:lnTo>
                  <a:pt x="4682602" y="3624357"/>
                </a:lnTo>
                <a:lnTo>
                  <a:pt x="4684012" y="3629771"/>
                </a:lnTo>
                <a:lnTo>
                  <a:pt x="4684012" y="3648393"/>
                </a:lnTo>
                <a:lnTo>
                  <a:pt x="4682275" y="3655755"/>
                </a:lnTo>
                <a:lnTo>
                  <a:pt x="4682275" y="3662685"/>
                </a:lnTo>
                <a:lnTo>
                  <a:pt x="4682275" y="3670805"/>
                </a:lnTo>
                <a:lnTo>
                  <a:pt x="4678369" y="3669073"/>
                </a:lnTo>
                <a:lnTo>
                  <a:pt x="4674571" y="3665824"/>
                </a:lnTo>
                <a:lnTo>
                  <a:pt x="4668495" y="3662360"/>
                </a:lnTo>
                <a:lnTo>
                  <a:pt x="4664370" y="3664417"/>
                </a:lnTo>
                <a:lnTo>
                  <a:pt x="4663394" y="3669073"/>
                </a:lnTo>
                <a:lnTo>
                  <a:pt x="4657534" y="3679900"/>
                </a:lnTo>
                <a:lnTo>
                  <a:pt x="4655472" y="3685638"/>
                </a:lnTo>
                <a:lnTo>
                  <a:pt x="4656883" y="3688562"/>
                </a:lnTo>
                <a:lnTo>
                  <a:pt x="4657193" y="3688845"/>
                </a:lnTo>
                <a:lnTo>
                  <a:pt x="4655907" y="3686178"/>
                </a:lnTo>
                <a:lnTo>
                  <a:pt x="4657969" y="3680441"/>
                </a:lnTo>
                <a:lnTo>
                  <a:pt x="4663828" y="3669613"/>
                </a:lnTo>
                <a:lnTo>
                  <a:pt x="4664805" y="3664958"/>
                </a:lnTo>
                <a:lnTo>
                  <a:pt x="4668929" y="3662901"/>
                </a:lnTo>
                <a:lnTo>
                  <a:pt x="4675006" y="3666366"/>
                </a:lnTo>
                <a:lnTo>
                  <a:pt x="4678804" y="3669613"/>
                </a:lnTo>
                <a:lnTo>
                  <a:pt x="4682710" y="3671346"/>
                </a:lnTo>
                <a:lnTo>
                  <a:pt x="4682927" y="3663335"/>
                </a:lnTo>
                <a:lnTo>
                  <a:pt x="4682926" y="3663387"/>
                </a:lnTo>
                <a:lnTo>
                  <a:pt x="4682927" y="3663335"/>
                </a:lnTo>
                <a:lnTo>
                  <a:pt x="4683252" y="3656406"/>
                </a:lnTo>
                <a:lnTo>
                  <a:pt x="4684988" y="3649043"/>
                </a:lnTo>
                <a:lnTo>
                  <a:pt x="4685205" y="3630421"/>
                </a:lnTo>
                <a:lnTo>
                  <a:pt x="4683795" y="3625008"/>
                </a:lnTo>
                <a:lnTo>
                  <a:pt x="4682167" y="3620460"/>
                </a:lnTo>
                <a:lnTo>
                  <a:pt x="4682058" y="3615804"/>
                </a:lnTo>
                <a:lnTo>
                  <a:pt x="4682492" y="3614505"/>
                </a:lnTo>
                <a:lnTo>
                  <a:pt x="4682275" y="3603353"/>
                </a:lnTo>
                <a:lnTo>
                  <a:pt x="4679454" y="3597506"/>
                </a:lnTo>
                <a:lnTo>
                  <a:pt x="4678043" y="3591227"/>
                </a:lnTo>
                <a:lnTo>
                  <a:pt x="4676632" y="3584731"/>
                </a:lnTo>
                <a:lnTo>
                  <a:pt x="4676624" y="3584723"/>
                </a:lnTo>
                <a:lnTo>
                  <a:pt x="4672109" y="3580968"/>
                </a:lnTo>
                <a:lnTo>
                  <a:pt x="4672075" y="3580941"/>
                </a:lnTo>
                <a:close/>
                <a:moveTo>
                  <a:pt x="4647334" y="3577585"/>
                </a:moveTo>
                <a:lnTo>
                  <a:pt x="4646330" y="3577673"/>
                </a:lnTo>
                <a:lnTo>
                  <a:pt x="4651240" y="3579966"/>
                </a:lnTo>
                <a:lnTo>
                  <a:pt x="4652868" y="3581482"/>
                </a:lnTo>
                <a:lnTo>
                  <a:pt x="4653618" y="3581178"/>
                </a:lnTo>
                <a:lnTo>
                  <a:pt x="4652434" y="3580075"/>
                </a:lnTo>
                <a:close/>
                <a:moveTo>
                  <a:pt x="4640887" y="3574463"/>
                </a:moveTo>
                <a:lnTo>
                  <a:pt x="4642451" y="3577584"/>
                </a:lnTo>
                <a:lnTo>
                  <a:pt x="4643481" y="3577584"/>
                </a:lnTo>
                <a:lnTo>
                  <a:pt x="4642016" y="3574662"/>
                </a:lnTo>
                <a:close/>
                <a:moveTo>
                  <a:pt x="4625994" y="3571996"/>
                </a:moveTo>
                <a:lnTo>
                  <a:pt x="4626389" y="3572496"/>
                </a:lnTo>
                <a:lnTo>
                  <a:pt x="4626709" y="3572865"/>
                </a:lnTo>
                <a:lnTo>
                  <a:pt x="4626390" y="3572496"/>
                </a:lnTo>
                <a:close/>
                <a:moveTo>
                  <a:pt x="4429757" y="3569138"/>
                </a:moveTo>
                <a:lnTo>
                  <a:pt x="4408488" y="3569464"/>
                </a:lnTo>
                <a:lnTo>
                  <a:pt x="4406441" y="3605854"/>
                </a:lnTo>
                <a:lnTo>
                  <a:pt x="4408488" y="3569464"/>
                </a:lnTo>
                <a:lnTo>
                  <a:pt x="4429757" y="3569139"/>
                </a:lnTo>
                <a:close/>
                <a:moveTo>
                  <a:pt x="4624762" y="3567840"/>
                </a:moveTo>
                <a:lnTo>
                  <a:pt x="4624762" y="3570438"/>
                </a:lnTo>
                <a:lnTo>
                  <a:pt x="4624762" y="3570439"/>
                </a:lnTo>
                <a:lnTo>
                  <a:pt x="4624762" y="3567841"/>
                </a:lnTo>
                <a:close/>
                <a:moveTo>
                  <a:pt x="6683432" y="3563833"/>
                </a:moveTo>
                <a:lnTo>
                  <a:pt x="6682997" y="3569138"/>
                </a:lnTo>
                <a:lnTo>
                  <a:pt x="6680393" y="3572387"/>
                </a:lnTo>
                <a:lnTo>
                  <a:pt x="6678982" y="3570005"/>
                </a:lnTo>
                <a:close/>
                <a:moveTo>
                  <a:pt x="2486649" y="3553611"/>
                </a:moveTo>
                <a:lnTo>
                  <a:pt x="2487309" y="3558636"/>
                </a:lnTo>
                <a:lnTo>
                  <a:pt x="2486767" y="3564916"/>
                </a:lnTo>
                <a:lnTo>
                  <a:pt x="2480365" y="3578017"/>
                </a:lnTo>
                <a:lnTo>
                  <a:pt x="2478520" y="3586029"/>
                </a:lnTo>
                <a:lnTo>
                  <a:pt x="2478520" y="3586029"/>
                </a:lnTo>
                <a:lnTo>
                  <a:pt x="2480365" y="3578018"/>
                </a:lnTo>
                <a:lnTo>
                  <a:pt x="2486767" y="3564918"/>
                </a:lnTo>
                <a:lnTo>
                  <a:pt x="2487310" y="3558637"/>
                </a:lnTo>
                <a:close/>
                <a:moveTo>
                  <a:pt x="2331084" y="3545819"/>
                </a:moveTo>
                <a:lnTo>
                  <a:pt x="2334193" y="3550084"/>
                </a:lnTo>
                <a:lnTo>
                  <a:pt x="2345912" y="3561128"/>
                </a:lnTo>
                <a:lnTo>
                  <a:pt x="2352743" y="3579470"/>
                </a:lnTo>
                <a:lnTo>
                  <a:pt x="2345912" y="3561127"/>
                </a:lnTo>
                <a:lnTo>
                  <a:pt x="2334193" y="3550083"/>
                </a:lnTo>
                <a:close/>
                <a:moveTo>
                  <a:pt x="5253400" y="3544238"/>
                </a:moveTo>
                <a:lnTo>
                  <a:pt x="5258284" y="3546403"/>
                </a:lnTo>
                <a:lnTo>
                  <a:pt x="5261322" y="3553224"/>
                </a:lnTo>
                <a:lnTo>
                  <a:pt x="5263926" y="3554523"/>
                </a:lnTo>
                <a:lnTo>
                  <a:pt x="5257524" y="3560045"/>
                </a:lnTo>
                <a:lnTo>
                  <a:pt x="5254703" y="3558746"/>
                </a:lnTo>
                <a:lnTo>
                  <a:pt x="5250036" y="3552466"/>
                </a:lnTo>
                <a:lnTo>
                  <a:pt x="5250579" y="3545428"/>
                </a:lnTo>
                <a:close/>
                <a:moveTo>
                  <a:pt x="4704373" y="3539317"/>
                </a:moveTo>
                <a:lnTo>
                  <a:pt x="4704087" y="3539798"/>
                </a:lnTo>
                <a:lnTo>
                  <a:pt x="4704086" y="3539901"/>
                </a:lnTo>
                <a:lnTo>
                  <a:pt x="4704087" y="3539799"/>
                </a:lnTo>
                <a:close/>
                <a:moveTo>
                  <a:pt x="4588734" y="3536875"/>
                </a:moveTo>
                <a:lnTo>
                  <a:pt x="4587541" y="3540014"/>
                </a:lnTo>
                <a:lnTo>
                  <a:pt x="4588517" y="3545536"/>
                </a:lnTo>
                <a:lnTo>
                  <a:pt x="4588842" y="3549326"/>
                </a:lnTo>
                <a:lnTo>
                  <a:pt x="4590362" y="3553224"/>
                </a:lnTo>
                <a:lnTo>
                  <a:pt x="4592283" y="3554684"/>
                </a:lnTo>
                <a:lnTo>
                  <a:pt x="4590362" y="3553224"/>
                </a:lnTo>
                <a:lnTo>
                  <a:pt x="4588843" y="3549327"/>
                </a:lnTo>
                <a:lnTo>
                  <a:pt x="4588518" y="3545537"/>
                </a:lnTo>
                <a:lnTo>
                  <a:pt x="4587541" y="3540015"/>
                </a:lnTo>
                <a:lnTo>
                  <a:pt x="4588735" y="3536875"/>
                </a:lnTo>
                <a:close/>
                <a:moveTo>
                  <a:pt x="4583461" y="3533587"/>
                </a:moveTo>
                <a:lnTo>
                  <a:pt x="4584936" y="3534168"/>
                </a:lnTo>
                <a:lnTo>
                  <a:pt x="4587870" y="3536259"/>
                </a:lnTo>
                <a:lnTo>
                  <a:pt x="4584937" y="3534168"/>
                </a:lnTo>
                <a:close/>
                <a:moveTo>
                  <a:pt x="2494689" y="3528212"/>
                </a:moveTo>
                <a:lnTo>
                  <a:pt x="2491542" y="3537091"/>
                </a:lnTo>
                <a:lnTo>
                  <a:pt x="2484054" y="3548242"/>
                </a:lnTo>
                <a:lnTo>
                  <a:pt x="2484054" y="3548243"/>
                </a:lnTo>
                <a:lnTo>
                  <a:pt x="2491542" y="3537092"/>
                </a:lnTo>
                <a:lnTo>
                  <a:pt x="2494689" y="3528213"/>
                </a:lnTo>
                <a:close/>
                <a:moveTo>
                  <a:pt x="4580053" y="3527347"/>
                </a:moveTo>
                <a:lnTo>
                  <a:pt x="4580053" y="3528646"/>
                </a:lnTo>
                <a:lnTo>
                  <a:pt x="4579836" y="3530162"/>
                </a:lnTo>
                <a:lnTo>
                  <a:pt x="4580813" y="3532543"/>
                </a:lnTo>
                <a:lnTo>
                  <a:pt x="4580813" y="3532543"/>
                </a:lnTo>
                <a:lnTo>
                  <a:pt x="4579836" y="3530162"/>
                </a:lnTo>
                <a:lnTo>
                  <a:pt x="4580053" y="3528646"/>
                </a:lnTo>
                <a:lnTo>
                  <a:pt x="4580053" y="3527347"/>
                </a:lnTo>
                <a:close/>
                <a:moveTo>
                  <a:pt x="5308200" y="3525289"/>
                </a:moveTo>
                <a:lnTo>
                  <a:pt x="5311347" y="3526913"/>
                </a:lnTo>
                <a:lnTo>
                  <a:pt x="5311890" y="3530702"/>
                </a:lnTo>
                <a:lnTo>
                  <a:pt x="5309285" y="3533084"/>
                </a:lnTo>
                <a:lnTo>
                  <a:pt x="5309828" y="3537740"/>
                </a:lnTo>
                <a:lnTo>
                  <a:pt x="5304619" y="3541204"/>
                </a:lnTo>
                <a:lnTo>
                  <a:pt x="5298108" y="3534924"/>
                </a:lnTo>
                <a:lnTo>
                  <a:pt x="5301146" y="3532435"/>
                </a:lnTo>
                <a:lnTo>
                  <a:pt x="5302123" y="3526696"/>
                </a:lnTo>
                <a:lnTo>
                  <a:pt x="5305270" y="3527021"/>
                </a:lnTo>
                <a:close/>
                <a:moveTo>
                  <a:pt x="4567583" y="3518505"/>
                </a:moveTo>
                <a:lnTo>
                  <a:pt x="4570395" y="3520201"/>
                </a:lnTo>
                <a:lnTo>
                  <a:pt x="4573435" y="3522516"/>
                </a:lnTo>
                <a:lnTo>
                  <a:pt x="4570395" y="3520201"/>
                </a:lnTo>
                <a:close/>
                <a:moveTo>
                  <a:pt x="4563791" y="3514410"/>
                </a:moveTo>
                <a:lnTo>
                  <a:pt x="4565729" y="3517386"/>
                </a:lnTo>
                <a:lnTo>
                  <a:pt x="4565729" y="3517386"/>
                </a:lnTo>
                <a:close/>
                <a:moveTo>
                  <a:pt x="7434801" y="3510781"/>
                </a:moveTo>
                <a:lnTo>
                  <a:pt x="7435452" y="3518576"/>
                </a:lnTo>
                <a:lnTo>
                  <a:pt x="7433499" y="3523340"/>
                </a:lnTo>
                <a:lnTo>
                  <a:pt x="7431220" y="3520525"/>
                </a:lnTo>
                <a:lnTo>
                  <a:pt x="7432848" y="3516627"/>
                </a:lnTo>
                <a:lnTo>
                  <a:pt x="7429375" y="3512621"/>
                </a:lnTo>
                <a:lnTo>
                  <a:pt x="7433282" y="3511647"/>
                </a:lnTo>
                <a:close/>
                <a:moveTo>
                  <a:pt x="4556939" y="3503636"/>
                </a:moveTo>
                <a:lnTo>
                  <a:pt x="4558271" y="3505852"/>
                </a:lnTo>
                <a:lnTo>
                  <a:pt x="4556939" y="3503636"/>
                </a:lnTo>
                <a:close/>
                <a:moveTo>
                  <a:pt x="4549837" y="3495794"/>
                </a:moveTo>
                <a:lnTo>
                  <a:pt x="4552056" y="3498114"/>
                </a:lnTo>
                <a:lnTo>
                  <a:pt x="4553140" y="3501578"/>
                </a:lnTo>
                <a:lnTo>
                  <a:pt x="4553141" y="3501579"/>
                </a:lnTo>
                <a:lnTo>
                  <a:pt x="4552057" y="3498114"/>
                </a:lnTo>
                <a:close/>
                <a:moveTo>
                  <a:pt x="4714287" y="3495299"/>
                </a:moveTo>
                <a:lnTo>
                  <a:pt x="4711358" y="3496381"/>
                </a:lnTo>
                <a:lnTo>
                  <a:pt x="4711358" y="3496382"/>
                </a:lnTo>
                <a:close/>
                <a:moveTo>
                  <a:pt x="4714831" y="3490535"/>
                </a:moveTo>
                <a:lnTo>
                  <a:pt x="4714797" y="3490834"/>
                </a:lnTo>
                <a:lnTo>
                  <a:pt x="4714831" y="3490536"/>
                </a:lnTo>
                <a:close/>
                <a:moveTo>
                  <a:pt x="4546413" y="3487720"/>
                </a:moveTo>
                <a:lnTo>
                  <a:pt x="4548800" y="3491725"/>
                </a:lnTo>
                <a:lnTo>
                  <a:pt x="4549777" y="3495731"/>
                </a:lnTo>
                <a:lnTo>
                  <a:pt x="4549777" y="3495732"/>
                </a:lnTo>
                <a:lnTo>
                  <a:pt x="4548800" y="3491726"/>
                </a:lnTo>
                <a:close/>
                <a:moveTo>
                  <a:pt x="4433990" y="3483388"/>
                </a:moveTo>
                <a:lnTo>
                  <a:pt x="4433990" y="3483389"/>
                </a:lnTo>
                <a:lnTo>
                  <a:pt x="4451895" y="3484147"/>
                </a:lnTo>
                <a:close/>
                <a:moveTo>
                  <a:pt x="4489890" y="3483008"/>
                </a:moveTo>
                <a:lnTo>
                  <a:pt x="4489441" y="3483605"/>
                </a:lnTo>
                <a:lnTo>
                  <a:pt x="4489212" y="3485322"/>
                </a:lnTo>
                <a:lnTo>
                  <a:pt x="4489442" y="3483605"/>
                </a:lnTo>
                <a:close/>
                <a:moveTo>
                  <a:pt x="2319052" y="3482087"/>
                </a:moveTo>
                <a:lnTo>
                  <a:pt x="2320302" y="3483280"/>
                </a:lnTo>
                <a:lnTo>
                  <a:pt x="2320302" y="3483280"/>
                </a:lnTo>
                <a:close/>
                <a:moveTo>
                  <a:pt x="4720147" y="3480249"/>
                </a:moveTo>
                <a:lnTo>
                  <a:pt x="4717379" y="3480710"/>
                </a:lnTo>
                <a:lnTo>
                  <a:pt x="4720147" y="3480250"/>
                </a:lnTo>
                <a:close/>
                <a:moveTo>
                  <a:pt x="7276040" y="3476352"/>
                </a:moveTo>
                <a:lnTo>
                  <a:pt x="7276366" y="3478951"/>
                </a:lnTo>
                <a:lnTo>
                  <a:pt x="7273870" y="3480250"/>
                </a:lnTo>
                <a:lnTo>
                  <a:pt x="7272459" y="3478084"/>
                </a:lnTo>
                <a:close/>
                <a:moveTo>
                  <a:pt x="4486295" y="3475810"/>
                </a:moveTo>
                <a:lnTo>
                  <a:pt x="4485209" y="3476351"/>
                </a:lnTo>
                <a:lnTo>
                  <a:pt x="4482062" y="3476676"/>
                </a:lnTo>
                <a:lnTo>
                  <a:pt x="4475009" y="3478841"/>
                </a:lnTo>
                <a:lnTo>
                  <a:pt x="4482063" y="3476676"/>
                </a:lnTo>
                <a:lnTo>
                  <a:pt x="4485210" y="3476351"/>
                </a:lnTo>
                <a:lnTo>
                  <a:pt x="4486295" y="3475810"/>
                </a:lnTo>
                <a:lnTo>
                  <a:pt x="4487705" y="3476784"/>
                </a:lnTo>
                <a:lnTo>
                  <a:pt x="4488471" y="3478758"/>
                </a:lnTo>
                <a:lnTo>
                  <a:pt x="4487705" y="3476784"/>
                </a:lnTo>
                <a:close/>
                <a:moveTo>
                  <a:pt x="4513423" y="3470504"/>
                </a:moveTo>
                <a:lnTo>
                  <a:pt x="4508215" y="3471154"/>
                </a:lnTo>
                <a:lnTo>
                  <a:pt x="4503440" y="3476026"/>
                </a:lnTo>
                <a:lnTo>
                  <a:pt x="4498882" y="3481764"/>
                </a:lnTo>
                <a:lnTo>
                  <a:pt x="4491069" y="3487286"/>
                </a:lnTo>
                <a:lnTo>
                  <a:pt x="4491069" y="3487286"/>
                </a:lnTo>
                <a:lnTo>
                  <a:pt x="4498882" y="3481764"/>
                </a:lnTo>
                <a:lnTo>
                  <a:pt x="4503440" y="3476027"/>
                </a:lnTo>
                <a:lnTo>
                  <a:pt x="4508215" y="3471154"/>
                </a:lnTo>
                <a:lnTo>
                  <a:pt x="4513424" y="3470505"/>
                </a:lnTo>
                <a:close/>
                <a:moveTo>
                  <a:pt x="4392345" y="3468615"/>
                </a:moveTo>
                <a:lnTo>
                  <a:pt x="4392645" y="3469313"/>
                </a:lnTo>
                <a:lnTo>
                  <a:pt x="4392645" y="3469314"/>
                </a:lnTo>
                <a:close/>
                <a:moveTo>
                  <a:pt x="4559977" y="3468122"/>
                </a:moveTo>
                <a:lnTo>
                  <a:pt x="4554659" y="3468772"/>
                </a:lnTo>
                <a:lnTo>
                  <a:pt x="4550427" y="3471695"/>
                </a:lnTo>
                <a:lnTo>
                  <a:pt x="4548148" y="3471586"/>
                </a:lnTo>
                <a:lnTo>
                  <a:pt x="4546909" y="3470575"/>
                </a:lnTo>
                <a:lnTo>
                  <a:pt x="4548150" y="3471588"/>
                </a:lnTo>
                <a:lnTo>
                  <a:pt x="4550428" y="3471696"/>
                </a:lnTo>
                <a:lnTo>
                  <a:pt x="4554660" y="3468773"/>
                </a:lnTo>
                <a:lnTo>
                  <a:pt x="4559978" y="3468123"/>
                </a:lnTo>
                <a:lnTo>
                  <a:pt x="4562365" y="3469206"/>
                </a:lnTo>
                <a:lnTo>
                  <a:pt x="4563559" y="3469097"/>
                </a:lnTo>
                <a:lnTo>
                  <a:pt x="4564969" y="3469638"/>
                </a:lnTo>
                <a:lnTo>
                  <a:pt x="4565511" y="3469963"/>
                </a:lnTo>
                <a:lnTo>
                  <a:pt x="4565511" y="3469962"/>
                </a:lnTo>
                <a:lnTo>
                  <a:pt x="4564969" y="3469638"/>
                </a:lnTo>
                <a:lnTo>
                  <a:pt x="4563558" y="3469096"/>
                </a:lnTo>
                <a:lnTo>
                  <a:pt x="4562364" y="3469205"/>
                </a:lnTo>
                <a:close/>
                <a:moveTo>
                  <a:pt x="4533400" y="3466625"/>
                </a:moveTo>
                <a:lnTo>
                  <a:pt x="4534476" y="3468880"/>
                </a:lnTo>
                <a:lnTo>
                  <a:pt x="4533825" y="3470937"/>
                </a:lnTo>
                <a:lnTo>
                  <a:pt x="4534259" y="3472670"/>
                </a:lnTo>
                <a:lnTo>
                  <a:pt x="4534476" y="3475269"/>
                </a:lnTo>
                <a:lnTo>
                  <a:pt x="4537840" y="3477867"/>
                </a:lnTo>
                <a:lnTo>
                  <a:pt x="4539576" y="3479708"/>
                </a:lnTo>
                <a:lnTo>
                  <a:pt x="4542614" y="3481657"/>
                </a:lnTo>
                <a:lnTo>
                  <a:pt x="4544568" y="3484363"/>
                </a:lnTo>
                <a:lnTo>
                  <a:pt x="4545111" y="3486853"/>
                </a:lnTo>
                <a:lnTo>
                  <a:pt x="4545111" y="3486854"/>
                </a:lnTo>
                <a:lnTo>
                  <a:pt x="4544569" y="3484364"/>
                </a:lnTo>
                <a:lnTo>
                  <a:pt x="4542615" y="3481657"/>
                </a:lnTo>
                <a:lnTo>
                  <a:pt x="4539577" y="3479708"/>
                </a:lnTo>
                <a:lnTo>
                  <a:pt x="4537841" y="3477867"/>
                </a:lnTo>
                <a:lnTo>
                  <a:pt x="4534476" y="3475269"/>
                </a:lnTo>
                <a:lnTo>
                  <a:pt x="4534260" y="3472670"/>
                </a:lnTo>
                <a:lnTo>
                  <a:pt x="4533825" y="3470938"/>
                </a:lnTo>
                <a:lnTo>
                  <a:pt x="4534476" y="3468881"/>
                </a:lnTo>
                <a:close/>
                <a:moveTo>
                  <a:pt x="4533396" y="3466616"/>
                </a:moveTo>
                <a:lnTo>
                  <a:pt x="4533396" y="3466617"/>
                </a:lnTo>
                <a:lnTo>
                  <a:pt x="4535778" y="3466824"/>
                </a:lnTo>
                <a:lnTo>
                  <a:pt x="4541421" y="3467473"/>
                </a:lnTo>
                <a:lnTo>
                  <a:pt x="4544338" y="3468928"/>
                </a:lnTo>
                <a:lnTo>
                  <a:pt x="4541420" y="3467472"/>
                </a:lnTo>
                <a:lnTo>
                  <a:pt x="4535778" y="3466823"/>
                </a:lnTo>
                <a:close/>
                <a:moveTo>
                  <a:pt x="4533282" y="3466606"/>
                </a:moveTo>
                <a:lnTo>
                  <a:pt x="4533282" y="3466607"/>
                </a:lnTo>
                <a:lnTo>
                  <a:pt x="4528290" y="3468014"/>
                </a:lnTo>
                <a:lnTo>
                  <a:pt x="4520586" y="3470721"/>
                </a:lnTo>
                <a:lnTo>
                  <a:pt x="4517547" y="3472778"/>
                </a:lnTo>
                <a:lnTo>
                  <a:pt x="4514618" y="3472345"/>
                </a:lnTo>
                <a:lnTo>
                  <a:pt x="4513602" y="3470780"/>
                </a:lnTo>
                <a:lnTo>
                  <a:pt x="4514617" y="3472345"/>
                </a:lnTo>
                <a:lnTo>
                  <a:pt x="4517547" y="3472778"/>
                </a:lnTo>
                <a:lnTo>
                  <a:pt x="4520586" y="3470721"/>
                </a:lnTo>
                <a:lnTo>
                  <a:pt x="4528291" y="3468014"/>
                </a:lnTo>
                <a:lnTo>
                  <a:pt x="4533282" y="3466607"/>
                </a:lnTo>
                <a:lnTo>
                  <a:pt x="4533287" y="3466607"/>
                </a:lnTo>
                <a:close/>
                <a:moveTo>
                  <a:pt x="2306698" y="3465702"/>
                </a:moveTo>
                <a:lnTo>
                  <a:pt x="2307715" y="3466824"/>
                </a:lnTo>
                <a:lnTo>
                  <a:pt x="2310753" y="3467257"/>
                </a:lnTo>
                <a:lnTo>
                  <a:pt x="2311295" y="3470288"/>
                </a:lnTo>
                <a:lnTo>
                  <a:pt x="2307932" y="3469530"/>
                </a:lnTo>
                <a:lnTo>
                  <a:pt x="2305544" y="3473428"/>
                </a:lnTo>
                <a:lnTo>
                  <a:pt x="2303917" y="3477650"/>
                </a:lnTo>
                <a:lnTo>
                  <a:pt x="2303917" y="3477651"/>
                </a:lnTo>
                <a:lnTo>
                  <a:pt x="2305545" y="3473429"/>
                </a:lnTo>
                <a:lnTo>
                  <a:pt x="2307932" y="3469531"/>
                </a:lnTo>
                <a:lnTo>
                  <a:pt x="2311296" y="3470288"/>
                </a:lnTo>
                <a:lnTo>
                  <a:pt x="2312380" y="3470613"/>
                </a:lnTo>
                <a:lnTo>
                  <a:pt x="2312380" y="3470612"/>
                </a:lnTo>
                <a:lnTo>
                  <a:pt x="2311295" y="3470288"/>
                </a:lnTo>
                <a:lnTo>
                  <a:pt x="2310753" y="3467256"/>
                </a:lnTo>
                <a:lnTo>
                  <a:pt x="2307714" y="3466823"/>
                </a:lnTo>
                <a:close/>
                <a:moveTo>
                  <a:pt x="4529143" y="3462226"/>
                </a:moveTo>
                <a:lnTo>
                  <a:pt x="4529810" y="3462492"/>
                </a:lnTo>
                <a:lnTo>
                  <a:pt x="4529809" y="3462491"/>
                </a:lnTo>
                <a:close/>
                <a:moveTo>
                  <a:pt x="7273761" y="3461194"/>
                </a:moveTo>
                <a:lnTo>
                  <a:pt x="7279947" y="3462710"/>
                </a:lnTo>
                <a:lnTo>
                  <a:pt x="7279730" y="3464550"/>
                </a:lnTo>
                <a:lnTo>
                  <a:pt x="7274521" y="3465308"/>
                </a:lnTo>
                <a:lnTo>
                  <a:pt x="7271699" y="3468881"/>
                </a:lnTo>
                <a:lnTo>
                  <a:pt x="7268878" y="3469855"/>
                </a:lnTo>
                <a:lnTo>
                  <a:pt x="7266817" y="3467690"/>
                </a:lnTo>
                <a:cubicBezTo>
                  <a:pt x="7267089" y="3466614"/>
                  <a:pt x="7267452" y="3465564"/>
                  <a:pt x="7267902" y="3464550"/>
                </a:cubicBezTo>
                <a:close/>
                <a:moveTo>
                  <a:pt x="4512664" y="3460327"/>
                </a:moveTo>
                <a:lnTo>
                  <a:pt x="4490201" y="3465415"/>
                </a:lnTo>
                <a:lnTo>
                  <a:pt x="4490201" y="3465416"/>
                </a:lnTo>
                <a:lnTo>
                  <a:pt x="4512664" y="3460327"/>
                </a:lnTo>
                <a:close/>
                <a:moveTo>
                  <a:pt x="4520585" y="3459135"/>
                </a:moveTo>
                <a:lnTo>
                  <a:pt x="4515159" y="3460543"/>
                </a:lnTo>
                <a:lnTo>
                  <a:pt x="4520586" y="3459136"/>
                </a:lnTo>
                <a:lnTo>
                  <a:pt x="4522214" y="3460002"/>
                </a:lnTo>
                <a:lnTo>
                  <a:pt x="4523190" y="3460002"/>
                </a:lnTo>
                <a:lnTo>
                  <a:pt x="4524818" y="3461301"/>
                </a:lnTo>
                <a:lnTo>
                  <a:pt x="4523190" y="3460001"/>
                </a:lnTo>
                <a:lnTo>
                  <a:pt x="4522213" y="3460001"/>
                </a:lnTo>
                <a:close/>
                <a:moveTo>
                  <a:pt x="4371593" y="3457729"/>
                </a:moveTo>
                <a:lnTo>
                  <a:pt x="4373980" y="3462276"/>
                </a:lnTo>
                <a:lnTo>
                  <a:pt x="4373980" y="3462276"/>
                </a:lnTo>
                <a:lnTo>
                  <a:pt x="4371593" y="3457729"/>
                </a:lnTo>
                <a:close/>
                <a:moveTo>
                  <a:pt x="4482930" y="3456754"/>
                </a:moveTo>
                <a:lnTo>
                  <a:pt x="4482931" y="3456755"/>
                </a:lnTo>
                <a:lnTo>
                  <a:pt x="4485861" y="3460220"/>
                </a:lnTo>
                <a:lnTo>
                  <a:pt x="4488791" y="3461627"/>
                </a:lnTo>
                <a:lnTo>
                  <a:pt x="4489029" y="3462268"/>
                </a:lnTo>
                <a:lnTo>
                  <a:pt x="4488790" y="3461625"/>
                </a:lnTo>
                <a:lnTo>
                  <a:pt x="4485860" y="3460218"/>
                </a:lnTo>
                <a:close/>
                <a:moveTo>
                  <a:pt x="4257107" y="3450691"/>
                </a:moveTo>
                <a:lnTo>
                  <a:pt x="4256565" y="3452856"/>
                </a:lnTo>
                <a:lnTo>
                  <a:pt x="4257108" y="3450692"/>
                </a:lnTo>
                <a:close/>
                <a:moveTo>
                  <a:pt x="4253961" y="3448093"/>
                </a:moveTo>
                <a:lnTo>
                  <a:pt x="4254204" y="3449227"/>
                </a:lnTo>
                <a:lnTo>
                  <a:pt x="4253961" y="3448094"/>
                </a:lnTo>
                <a:close/>
                <a:moveTo>
                  <a:pt x="4471781" y="3446935"/>
                </a:moveTo>
                <a:lnTo>
                  <a:pt x="4474467" y="3450151"/>
                </a:lnTo>
                <a:lnTo>
                  <a:pt x="4477613" y="3452857"/>
                </a:lnTo>
                <a:lnTo>
                  <a:pt x="4481195" y="3454265"/>
                </a:lnTo>
                <a:lnTo>
                  <a:pt x="4482798" y="3456565"/>
                </a:lnTo>
                <a:lnTo>
                  <a:pt x="4481194" y="3454264"/>
                </a:lnTo>
                <a:lnTo>
                  <a:pt x="4477612" y="3452856"/>
                </a:lnTo>
                <a:lnTo>
                  <a:pt x="4474466" y="3450149"/>
                </a:lnTo>
                <a:close/>
                <a:moveTo>
                  <a:pt x="4718638" y="3443256"/>
                </a:moveTo>
                <a:lnTo>
                  <a:pt x="4720907" y="3443438"/>
                </a:lnTo>
                <a:lnTo>
                  <a:pt x="4720907" y="3443437"/>
                </a:lnTo>
                <a:close/>
                <a:moveTo>
                  <a:pt x="5126001" y="3441055"/>
                </a:moveTo>
                <a:lnTo>
                  <a:pt x="5124699" y="3445169"/>
                </a:lnTo>
                <a:lnTo>
                  <a:pt x="5123179" y="3447984"/>
                </a:lnTo>
                <a:lnTo>
                  <a:pt x="5121118" y="3452423"/>
                </a:lnTo>
                <a:lnTo>
                  <a:pt x="5121009" y="3449283"/>
                </a:lnTo>
                <a:lnTo>
                  <a:pt x="5121334" y="3446251"/>
                </a:lnTo>
                <a:lnTo>
                  <a:pt x="5122745" y="3443870"/>
                </a:lnTo>
                <a:lnTo>
                  <a:pt x="5124156" y="3443870"/>
                </a:lnTo>
                <a:close/>
                <a:moveTo>
                  <a:pt x="7217875" y="3437807"/>
                </a:moveTo>
                <a:lnTo>
                  <a:pt x="7220479" y="3441380"/>
                </a:lnTo>
                <a:lnTo>
                  <a:pt x="7217984" y="3444628"/>
                </a:lnTo>
                <a:lnTo>
                  <a:pt x="7216356" y="3441705"/>
                </a:lnTo>
                <a:close/>
                <a:moveTo>
                  <a:pt x="6910882" y="3434992"/>
                </a:moveTo>
                <a:lnTo>
                  <a:pt x="6913269" y="3438565"/>
                </a:lnTo>
                <a:lnTo>
                  <a:pt x="6913704" y="3443653"/>
                </a:lnTo>
                <a:lnTo>
                  <a:pt x="6911316" y="3442029"/>
                </a:lnTo>
                <a:close/>
                <a:moveTo>
                  <a:pt x="4458406" y="3433476"/>
                </a:moveTo>
                <a:lnTo>
                  <a:pt x="4458407" y="3433477"/>
                </a:lnTo>
                <a:lnTo>
                  <a:pt x="4461661" y="3437375"/>
                </a:lnTo>
                <a:lnTo>
                  <a:pt x="4464483" y="3439973"/>
                </a:lnTo>
                <a:lnTo>
                  <a:pt x="4466545" y="3442572"/>
                </a:lnTo>
                <a:lnTo>
                  <a:pt x="4469583" y="3444303"/>
                </a:lnTo>
                <a:lnTo>
                  <a:pt x="4469583" y="3444303"/>
                </a:lnTo>
                <a:lnTo>
                  <a:pt x="4466544" y="3442570"/>
                </a:lnTo>
                <a:lnTo>
                  <a:pt x="4464482" y="3439972"/>
                </a:lnTo>
                <a:lnTo>
                  <a:pt x="4461660" y="3437373"/>
                </a:lnTo>
                <a:close/>
                <a:moveTo>
                  <a:pt x="2313140" y="3425356"/>
                </a:moveTo>
                <a:lnTo>
                  <a:pt x="2319977" y="3441163"/>
                </a:lnTo>
                <a:lnTo>
                  <a:pt x="2319977" y="3441163"/>
                </a:lnTo>
                <a:close/>
                <a:moveTo>
                  <a:pt x="6914897" y="3424706"/>
                </a:moveTo>
                <a:lnTo>
                  <a:pt x="6918261" y="3428928"/>
                </a:lnTo>
                <a:lnTo>
                  <a:pt x="6914355" y="3429686"/>
                </a:lnTo>
                <a:lnTo>
                  <a:pt x="6912618" y="3427304"/>
                </a:lnTo>
                <a:cubicBezTo>
                  <a:pt x="6912401" y="3427412"/>
                  <a:pt x="6914897" y="3424706"/>
                  <a:pt x="6914897" y="3424706"/>
                </a:cubicBezTo>
                <a:close/>
                <a:moveTo>
                  <a:pt x="4679454" y="3424165"/>
                </a:moveTo>
                <a:lnTo>
                  <a:pt x="4677934" y="3426547"/>
                </a:lnTo>
                <a:lnTo>
                  <a:pt x="4677935" y="3426547"/>
                </a:lnTo>
                <a:close/>
                <a:moveTo>
                  <a:pt x="4789273" y="3423841"/>
                </a:moveTo>
                <a:lnTo>
                  <a:pt x="4786018" y="3426547"/>
                </a:lnTo>
                <a:lnTo>
                  <a:pt x="4783161" y="3427370"/>
                </a:lnTo>
                <a:lnTo>
                  <a:pt x="4786017" y="3426547"/>
                </a:lnTo>
                <a:close/>
                <a:moveTo>
                  <a:pt x="4643535" y="3413662"/>
                </a:moveTo>
                <a:lnTo>
                  <a:pt x="4638652" y="3415502"/>
                </a:lnTo>
                <a:lnTo>
                  <a:pt x="4635396" y="3417018"/>
                </a:lnTo>
                <a:lnTo>
                  <a:pt x="4631598" y="3418101"/>
                </a:lnTo>
                <a:lnTo>
                  <a:pt x="4624978" y="3421565"/>
                </a:lnTo>
                <a:lnTo>
                  <a:pt x="4623025" y="3425138"/>
                </a:lnTo>
                <a:lnTo>
                  <a:pt x="4623676" y="3427304"/>
                </a:lnTo>
                <a:lnTo>
                  <a:pt x="4622482" y="3429686"/>
                </a:lnTo>
                <a:lnTo>
                  <a:pt x="4623025" y="3431852"/>
                </a:lnTo>
                <a:lnTo>
                  <a:pt x="4622591" y="3433583"/>
                </a:lnTo>
                <a:lnTo>
                  <a:pt x="4620529" y="3435208"/>
                </a:lnTo>
                <a:lnTo>
                  <a:pt x="4612499" y="3438023"/>
                </a:lnTo>
                <a:lnTo>
                  <a:pt x="4598392" y="3447550"/>
                </a:lnTo>
                <a:lnTo>
                  <a:pt x="4587106" y="3461517"/>
                </a:lnTo>
                <a:lnTo>
                  <a:pt x="4580052" y="3471695"/>
                </a:lnTo>
                <a:lnTo>
                  <a:pt x="4573541" y="3473752"/>
                </a:lnTo>
                <a:lnTo>
                  <a:pt x="4569092" y="3472778"/>
                </a:lnTo>
                <a:lnTo>
                  <a:pt x="4567302" y="3471371"/>
                </a:lnTo>
                <a:lnTo>
                  <a:pt x="4569093" y="3472779"/>
                </a:lnTo>
                <a:lnTo>
                  <a:pt x="4573542" y="3473753"/>
                </a:lnTo>
                <a:lnTo>
                  <a:pt x="4580053" y="3471696"/>
                </a:lnTo>
                <a:lnTo>
                  <a:pt x="4587107" y="3461518"/>
                </a:lnTo>
                <a:lnTo>
                  <a:pt x="4598393" y="3447552"/>
                </a:lnTo>
                <a:lnTo>
                  <a:pt x="4612500" y="3438024"/>
                </a:lnTo>
                <a:lnTo>
                  <a:pt x="4620530" y="3435208"/>
                </a:lnTo>
                <a:lnTo>
                  <a:pt x="4622592" y="3433585"/>
                </a:lnTo>
                <a:lnTo>
                  <a:pt x="4623026" y="3431852"/>
                </a:lnTo>
                <a:lnTo>
                  <a:pt x="4622483" y="3429687"/>
                </a:lnTo>
                <a:lnTo>
                  <a:pt x="4623677" y="3427304"/>
                </a:lnTo>
                <a:lnTo>
                  <a:pt x="4623026" y="3425140"/>
                </a:lnTo>
                <a:lnTo>
                  <a:pt x="4624979" y="3421567"/>
                </a:lnTo>
                <a:lnTo>
                  <a:pt x="4631598" y="3418102"/>
                </a:lnTo>
                <a:lnTo>
                  <a:pt x="4635396" y="3417019"/>
                </a:lnTo>
                <a:lnTo>
                  <a:pt x="4638652" y="3415503"/>
                </a:lnTo>
                <a:lnTo>
                  <a:pt x="4643536" y="3413663"/>
                </a:lnTo>
                <a:lnTo>
                  <a:pt x="4650047" y="3413771"/>
                </a:lnTo>
                <a:lnTo>
                  <a:pt x="4650046" y="3413770"/>
                </a:lnTo>
                <a:close/>
                <a:moveTo>
                  <a:pt x="4661451" y="3412829"/>
                </a:moveTo>
                <a:lnTo>
                  <a:pt x="4661548" y="3415069"/>
                </a:lnTo>
                <a:lnTo>
                  <a:pt x="4660680" y="3415177"/>
                </a:lnTo>
                <a:lnTo>
                  <a:pt x="4658618" y="3415502"/>
                </a:lnTo>
                <a:lnTo>
                  <a:pt x="4653736" y="3414853"/>
                </a:lnTo>
                <a:lnTo>
                  <a:pt x="4651239" y="3415177"/>
                </a:lnTo>
                <a:lnTo>
                  <a:pt x="4650483" y="3414286"/>
                </a:lnTo>
                <a:lnTo>
                  <a:pt x="4651240" y="3415179"/>
                </a:lnTo>
                <a:lnTo>
                  <a:pt x="4653736" y="3414853"/>
                </a:lnTo>
                <a:lnTo>
                  <a:pt x="4658619" y="3415503"/>
                </a:lnTo>
                <a:lnTo>
                  <a:pt x="4660681" y="3415179"/>
                </a:lnTo>
                <a:lnTo>
                  <a:pt x="4661549" y="3415070"/>
                </a:lnTo>
                <a:close/>
                <a:moveTo>
                  <a:pt x="2313182" y="3411169"/>
                </a:moveTo>
                <a:lnTo>
                  <a:pt x="2313466" y="3412472"/>
                </a:lnTo>
                <a:lnTo>
                  <a:pt x="2313939" y="3413415"/>
                </a:lnTo>
                <a:lnTo>
                  <a:pt x="2313466" y="3412471"/>
                </a:lnTo>
                <a:close/>
                <a:moveTo>
                  <a:pt x="6932369" y="3405759"/>
                </a:moveTo>
                <a:lnTo>
                  <a:pt x="6934322" y="3406083"/>
                </a:lnTo>
                <a:lnTo>
                  <a:pt x="6933780" y="3408573"/>
                </a:lnTo>
                <a:lnTo>
                  <a:pt x="6930958" y="3408248"/>
                </a:lnTo>
                <a:close/>
                <a:moveTo>
                  <a:pt x="4791334" y="3402294"/>
                </a:moveTo>
                <a:lnTo>
                  <a:pt x="4788731" y="3402619"/>
                </a:lnTo>
                <a:lnTo>
                  <a:pt x="4788731" y="3402619"/>
                </a:lnTo>
                <a:lnTo>
                  <a:pt x="4791334" y="3402295"/>
                </a:lnTo>
                <a:close/>
                <a:moveTo>
                  <a:pt x="4761710" y="3397205"/>
                </a:moveTo>
                <a:lnTo>
                  <a:pt x="4761167" y="3402619"/>
                </a:lnTo>
                <a:lnTo>
                  <a:pt x="4756175" y="3408033"/>
                </a:lnTo>
                <a:lnTo>
                  <a:pt x="4754981" y="3413446"/>
                </a:lnTo>
                <a:lnTo>
                  <a:pt x="4751834" y="3417778"/>
                </a:lnTo>
                <a:lnTo>
                  <a:pt x="4752377" y="3421784"/>
                </a:lnTo>
                <a:lnTo>
                  <a:pt x="4754439" y="3427088"/>
                </a:lnTo>
                <a:lnTo>
                  <a:pt x="4754981" y="3430878"/>
                </a:lnTo>
                <a:lnTo>
                  <a:pt x="4759105" y="3435859"/>
                </a:lnTo>
                <a:lnTo>
                  <a:pt x="4763120" y="3439648"/>
                </a:lnTo>
                <a:lnTo>
                  <a:pt x="4766158" y="3441380"/>
                </a:lnTo>
                <a:lnTo>
                  <a:pt x="4768871" y="3443545"/>
                </a:lnTo>
                <a:lnTo>
                  <a:pt x="4772019" y="3447877"/>
                </a:lnTo>
                <a:lnTo>
                  <a:pt x="4770499" y="3450800"/>
                </a:lnTo>
                <a:lnTo>
                  <a:pt x="4771693" y="3454265"/>
                </a:lnTo>
                <a:lnTo>
                  <a:pt x="4776359" y="3453182"/>
                </a:lnTo>
                <a:lnTo>
                  <a:pt x="4776359" y="3453181"/>
                </a:lnTo>
                <a:lnTo>
                  <a:pt x="4771694" y="3454264"/>
                </a:lnTo>
                <a:lnTo>
                  <a:pt x="4770500" y="3450800"/>
                </a:lnTo>
                <a:lnTo>
                  <a:pt x="4772020" y="3447877"/>
                </a:lnTo>
                <a:lnTo>
                  <a:pt x="4768872" y="3443545"/>
                </a:lnTo>
                <a:lnTo>
                  <a:pt x="4766159" y="3441380"/>
                </a:lnTo>
                <a:lnTo>
                  <a:pt x="4763121" y="3439648"/>
                </a:lnTo>
                <a:lnTo>
                  <a:pt x="4759106" y="3435858"/>
                </a:lnTo>
                <a:lnTo>
                  <a:pt x="4754983" y="3430878"/>
                </a:lnTo>
                <a:lnTo>
                  <a:pt x="4754440" y="3427088"/>
                </a:lnTo>
                <a:lnTo>
                  <a:pt x="4752378" y="3421783"/>
                </a:lnTo>
                <a:lnTo>
                  <a:pt x="4751835" y="3417777"/>
                </a:lnTo>
                <a:lnTo>
                  <a:pt x="4754983" y="3413446"/>
                </a:lnTo>
                <a:lnTo>
                  <a:pt x="4756176" y="3408033"/>
                </a:lnTo>
                <a:lnTo>
                  <a:pt x="4761168" y="3402619"/>
                </a:lnTo>
                <a:close/>
                <a:moveTo>
                  <a:pt x="7214077" y="3388436"/>
                </a:moveTo>
                <a:lnTo>
                  <a:pt x="7214186" y="3392225"/>
                </a:lnTo>
                <a:lnTo>
                  <a:pt x="7218093" y="3391142"/>
                </a:lnTo>
                <a:lnTo>
                  <a:pt x="7218636" y="3392117"/>
                </a:lnTo>
                <a:lnTo>
                  <a:pt x="7214621" y="3395907"/>
                </a:lnTo>
                <a:lnTo>
                  <a:pt x="7215706" y="3397206"/>
                </a:lnTo>
                <a:lnTo>
                  <a:pt x="7217659" y="3396773"/>
                </a:lnTo>
                <a:lnTo>
                  <a:pt x="7219396" y="3397530"/>
                </a:lnTo>
                <a:lnTo>
                  <a:pt x="7217985" y="3401213"/>
                </a:lnTo>
                <a:lnTo>
                  <a:pt x="7211691" y="3400238"/>
                </a:lnTo>
                <a:lnTo>
                  <a:pt x="7207892" y="3401645"/>
                </a:lnTo>
                <a:lnTo>
                  <a:pt x="7206265" y="3401320"/>
                </a:lnTo>
                <a:lnTo>
                  <a:pt x="7208652" y="3399263"/>
                </a:lnTo>
                <a:lnTo>
                  <a:pt x="7207025" y="3393958"/>
                </a:lnTo>
                <a:lnTo>
                  <a:pt x="7207892" y="3392983"/>
                </a:lnTo>
                <a:lnTo>
                  <a:pt x="7206916" y="3391684"/>
                </a:lnTo>
                <a:lnTo>
                  <a:pt x="7210605" y="3391901"/>
                </a:lnTo>
                <a:lnTo>
                  <a:pt x="7211365" y="3389735"/>
                </a:lnTo>
                <a:close/>
                <a:moveTo>
                  <a:pt x="4743045" y="3387678"/>
                </a:moveTo>
                <a:lnTo>
                  <a:pt x="4742483" y="3388008"/>
                </a:lnTo>
                <a:lnTo>
                  <a:pt x="4743045" y="3387678"/>
                </a:lnTo>
                <a:lnTo>
                  <a:pt x="4745975" y="3387678"/>
                </a:lnTo>
                <a:lnTo>
                  <a:pt x="4745975" y="3387678"/>
                </a:lnTo>
                <a:close/>
                <a:moveTo>
                  <a:pt x="7202792" y="3387353"/>
                </a:moveTo>
                <a:lnTo>
                  <a:pt x="7205178" y="3390601"/>
                </a:lnTo>
                <a:lnTo>
                  <a:pt x="7202465" y="3393632"/>
                </a:lnTo>
                <a:lnTo>
                  <a:pt x="7201815" y="3391250"/>
                </a:lnTo>
                <a:lnTo>
                  <a:pt x="7200513" y="3392116"/>
                </a:lnTo>
                <a:lnTo>
                  <a:pt x="7200079" y="3389951"/>
                </a:lnTo>
                <a:close/>
                <a:moveTo>
                  <a:pt x="4753029" y="3385296"/>
                </a:moveTo>
                <a:lnTo>
                  <a:pt x="4748037" y="3385512"/>
                </a:lnTo>
                <a:lnTo>
                  <a:pt x="4748037" y="3385513"/>
                </a:lnTo>
                <a:lnTo>
                  <a:pt x="4753028" y="3385296"/>
                </a:lnTo>
                <a:lnTo>
                  <a:pt x="4759430" y="3386812"/>
                </a:lnTo>
                <a:lnTo>
                  <a:pt x="4761710" y="3390601"/>
                </a:lnTo>
                <a:lnTo>
                  <a:pt x="4761710" y="3390601"/>
                </a:lnTo>
                <a:lnTo>
                  <a:pt x="4759431" y="3386811"/>
                </a:lnTo>
                <a:close/>
                <a:moveTo>
                  <a:pt x="4643100" y="3357903"/>
                </a:moveTo>
                <a:lnTo>
                  <a:pt x="4643535" y="3359310"/>
                </a:lnTo>
                <a:lnTo>
                  <a:pt x="4643101" y="3357903"/>
                </a:lnTo>
                <a:close/>
                <a:moveTo>
                  <a:pt x="5096701" y="3356821"/>
                </a:moveTo>
                <a:lnTo>
                  <a:pt x="5097786" y="3358770"/>
                </a:lnTo>
                <a:lnTo>
                  <a:pt x="5096701" y="3360069"/>
                </a:lnTo>
                <a:lnTo>
                  <a:pt x="5096159" y="3358120"/>
                </a:lnTo>
                <a:close/>
                <a:moveTo>
                  <a:pt x="5089322" y="3355955"/>
                </a:moveTo>
                <a:lnTo>
                  <a:pt x="5090190" y="3356929"/>
                </a:lnTo>
                <a:lnTo>
                  <a:pt x="5092794" y="3358445"/>
                </a:lnTo>
                <a:lnTo>
                  <a:pt x="5091818" y="3362992"/>
                </a:lnTo>
                <a:lnTo>
                  <a:pt x="5089322" y="3360718"/>
                </a:lnTo>
                <a:lnTo>
                  <a:pt x="5086067" y="3360611"/>
                </a:lnTo>
                <a:lnTo>
                  <a:pt x="5088454" y="3356929"/>
                </a:lnTo>
                <a:close/>
                <a:moveTo>
                  <a:pt x="5100608" y="3344694"/>
                </a:moveTo>
                <a:lnTo>
                  <a:pt x="5100500" y="3346318"/>
                </a:lnTo>
                <a:lnTo>
                  <a:pt x="5097678" y="3350648"/>
                </a:lnTo>
                <a:lnTo>
                  <a:pt x="5096593" y="3348700"/>
                </a:lnTo>
                <a:close/>
                <a:moveTo>
                  <a:pt x="7186624" y="3343287"/>
                </a:moveTo>
                <a:lnTo>
                  <a:pt x="7186949" y="3344694"/>
                </a:lnTo>
                <a:lnTo>
                  <a:pt x="7182717" y="3346426"/>
                </a:lnTo>
                <a:lnTo>
                  <a:pt x="7180872" y="3345019"/>
                </a:lnTo>
                <a:close/>
                <a:moveTo>
                  <a:pt x="5017049" y="3342530"/>
                </a:moveTo>
                <a:lnTo>
                  <a:pt x="5019979" y="3346211"/>
                </a:lnTo>
                <a:lnTo>
                  <a:pt x="5015530" y="3353465"/>
                </a:lnTo>
                <a:lnTo>
                  <a:pt x="5014011" y="3351408"/>
                </a:lnTo>
                <a:lnTo>
                  <a:pt x="5014879" y="3347077"/>
                </a:lnTo>
                <a:lnTo>
                  <a:pt x="5014336" y="3343179"/>
                </a:lnTo>
                <a:close/>
                <a:moveTo>
                  <a:pt x="7196498" y="3337657"/>
                </a:moveTo>
                <a:lnTo>
                  <a:pt x="7195087" y="3340256"/>
                </a:lnTo>
                <a:lnTo>
                  <a:pt x="7190963" y="3340797"/>
                </a:lnTo>
                <a:lnTo>
                  <a:pt x="7188468" y="3343288"/>
                </a:lnTo>
                <a:lnTo>
                  <a:pt x="7188034" y="3340473"/>
                </a:lnTo>
                <a:lnTo>
                  <a:pt x="7192592" y="3337873"/>
                </a:lnTo>
                <a:close/>
                <a:moveTo>
                  <a:pt x="4639737" y="3335058"/>
                </a:moveTo>
                <a:lnTo>
                  <a:pt x="4641038" y="3337331"/>
                </a:lnTo>
                <a:lnTo>
                  <a:pt x="4639845" y="3337981"/>
                </a:lnTo>
                <a:lnTo>
                  <a:pt x="4630079" y="3337872"/>
                </a:lnTo>
                <a:lnTo>
                  <a:pt x="4629250" y="3336809"/>
                </a:lnTo>
                <a:lnTo>
                  <a:pt x="4630079" y="3337873"/>
                </a:lnTo>
                <a:lnTo>
                  <a:pt x="4639845" y="3337981"/>
                </a:lnTo>
                <a:lnTo>
                  <a:pt x="4641039" y="3337331"/>
                </a:lnTo>
                <a:close/>
                <a:moveTo>
                  <a:pt x="7197366" y="3334300"/>
                </a:moveTo>
                <a:lnTo>
                  <a:pt x="7197366" y="3336573"/>
                </a:lnTo>
                <a:lnTo>
                  <a:pt x="7194544" y="3336356"/>
                </a:lnTo>
                <a:close/>
                <a:moveTo>
                  <a:pt x="4976465" y="3333434"/>
                </a:moveTo>
                <a:lnTo>
                  <a:pt x="4979177" y="3333650"/>
                </a:lnTo>
                <a:lnTo>
                  <a:pt x="4981347" y="3336573"/>
                </a:lnTo>
                <a:lnTo>
                  <a:pt x="4977115" y="3336140"/>
                </a:lnTo>
                <a:lnTo>
                  <a:pt x="4975488" y="3334517"/>
                </a:lnTo>
                <a:close/>
                <a:moveTo>
                  <a:pt x="4597632" y="3333001"/>
                </a:moveTo>
                <a:lnTo>
                  <a:pt x="4606422" y="3335924"/>
                </a:lnTo>
                <a:lnTo>
                  <a:pt x="4611739" y="3339388"/>
                </a:lnTo>
                <a:lnTo>
                  <a:pt x="4606422" y="3335924"/>
                </a:lnTo>
                <a:close/>
                <a:moveTo>
                  <a:pt x="7203226" y="3331810"/>
                </a:moveTo>
                <a:lnTo>
                  <a:pt x="7206048" y="3331810"/>
                </a:lnTo>
                <a:lnTo>
                  <a:pt x="7204528" y="3333650"/>
                </a:lnTo>
                <a:close/>
                <a:moveTo>
                  <a:pt x="4644403" y="3331485"/>
                </a:moveTo>
                <a:lnTo>
                  <a:pt x="4639194" y="3332351"/>
                </a:lnTo>
                <a:lnTo>
                  <a:pt x="4644403" y="3331485"/>
                </a:lnTo>
                <a:lnTo>
                  <a:pt x="4647441" y="3332676"/>
                </a:lnTo>
                <a:close/>
                <a:moveTo>
                  <a:pt x="5001207" y="3329103"/>
                </a:moveTo>
                <a:lnTo>
                  <a:pt x="5003595" y="3333975"/>
                </a:lnTo>
                <a:lnTo>
                  <a:pt x="5001642" y="3336249"/>
                </a:lnTo>
                <a:lnTo>
                  <a:pt x="4998603" y="3333434"/>
                </a:lnTo>
                <a:lnTo>
                  <a:pt x="4995456" y="3331918"/>
                </a:lnTo>
                <a:lnTo>
                  <a:pt x="4999146" y="3331052"/>
                </a:lnTo>
                <a:close/>
                <a:moveTo>
                  <a:pt x="7209195" y="3328887"/>
                </a:moveTo>
                <a:lnTo>
                  <a:pt x="7209629" y="3331485"/>
                </a:lnTo>
                <a:lnTo>
                  <a:pt x="7206916" y="3330078"/>
                </a:lnTo>
                <a:close/>
                <a:moveTo>
                  <a:pt x="4622284" y="3326641"/>
                </a:moveTo>
                <a:lnTo>
                  <a:pt x="4626389" y="3331161"/>
                </a:lnTo>
                <a:lnTo>
                  <a:pt x="4626710" y="3332023"/>
                </a:lnTo>
                <a:lnTo>
                  <a:pt x="4626389" y="3331160"/>
                </a:lnTo>
                <a:close/>
                <a:moveTo>
                  <a:pt x="5116668" y="3326180"/>
                </a:moveTo>
                <a:lnTo>
                  <a:pt x="5118295" y="3330943"/>
                </a:lnTo>
                <a:lnTo>
                  <a:pt x="5115908" y="3335816"/>
                </a:lnTo>
                <a:lnTo>
                  <a:pt x="5120139" y="3337657"/>
                </a:lnTo>
                <a:lnTo>
                  <a:pt x="5120682" y="3342420"/>
                </a:lnTo>
                <a:lnTo>
                  <a:pt x="5124806" y="3347726"/>
                </a:lnTo>
                <a:lnTo>
                  <a:pt x="5126650" y="3346968"/>
                </a:lnTo>
                <a:lnTo>
                  <a:pt x="5128495" y="3350649"/>
                </a:lnTo>
                <a:lnTo>
                  <a:pt x="5128930" y="3361260"/>
                </a:lnTo>
                <a:lnTo>
                  <a:pt x="5132510" y="3365915"/>
                </a:lnTo>
                <a:lnTo>
                  <a:pt x="5131968" y="3378150"/>
                </a:lnTo>
                <a:lnTo>
                  <a:pt x="5130883" y="3380748"/>
                </a:lnTo>
                <a:lnTo>
                  <a:pt x="5132402" y="3387244"/>
                </a:lnTo>
                <a:lnTo>
                  <a:pt x="5132402" y="3392441"/>
                </a:lnTo>
                <a:lnTo>
                  <a:pt x="5131100" y="3394607"/>
                </a:lnTo>
                <a:lnTo>
                  <a:pt x="5132293" y="3398938"/>
                </a:lnTo>
                <a:lnTo>
                  <a:pt x="5136960" y="3405217"/>
                </a:lnTo>
                <a:lnTo>
                  <a:pt x="5137285" y="3410089"/>
                </a:lnTo>
                <a:lnTo>
                  <a:pt x="5135549" y="3411714"/>
                </a:lnTo>
                <a:lnTo>
                  <a:pt x="5135006" y="3415936"/>
                </a:lnTo>
                <a:lnTo>
                  <a:pt x="5133704" y="3417452"/>
                </a:lnTo>
                <a:lnTo>
                  <a:pt x="5133487" y="3421566"/>
                </a:lnTo>
                <a:lnTo>
                  <a:pt x="5131751" y="3424598"/>
                </a:lnTo>
                <a:lnTo>
                  <a:pt x="5128821" y="3423948"/>
                </a:lnTo>
                <a:lnTo>
                  <a:pt x="5124697" y="3418534"/>
                </a:lnTo>
                <a:lnTo>
                  <a:pt x="5123721" y="3413554"/>
                </a:lnTo>
                <a:lnTo>
                  <a:pt x="5121334" y="3411714"/>
                </a:lnTo>
                <a:lnTo>
                  <a:pt x="5118186" y="3413230"/>
                </a:lnTo>
                <a:lnTo>
                  <a:pt x="5118295" y="3418968"/>
                </a:lnTo>
                <a:lnTo>
                  <a:pt x="5120139" y="3420159"/>
                </a:lnTo>
                <a:lnTo>
                  <a:pt x="5120465" y="3426005"/>
                </a:lnTo>
                <a:lnTo>
                  <a:pt x="5118295" y="3430120"/>
                </a:lnTo>
                <a:lnTo>
                  <a:pt x="5120248" y="3431960"/>
                </a:lnTo>
                <a:lnTo>
                  <a:pt x="5121116" y="3437807"/>
                </a:lnTo>
                <a:lnTo>
                  <a:pt x="5117644" y="3441813"/>
                </a:lnTo>
                <a:lnTo>
                  <a:pt x="5118295" y="3445170"/>
                </a:lnTo>
                <a:lnTo>
                  <a:pt x="5113303" y="3451990"/>
                </a:lnTo>
                <a:lnTo>
                  <a:pt x="5112110" y="3457945"/>
                </a:lnTo>
                <a:lnTo>
                  <a:pt x="5114171" y="3461518"/>
                </a:lnTo>
                <a:lnTo>
                  <a:pt x="5112869" y="3468556"/>
                </a:lnTo>
                <a:lnTo>
                  <a:pt x="5110698" y="3471046"/>
                </a:lnTo>
                <a:lnTo>
                  <a:pt x="5108420" y="3480790"/>
                </a:lnTo>
                <a:lnTo>
                  <a:pt x="5105707" y="3494108"/>
                </a:lnTo>
                <a:lnTo>
                  <a:pt x="5100281" y="3502661"/>
                </a:lnTo>
                <a:lnTo>
                  <a:pt x="5099521" y="3506018"/>
                </a:lnTo>
                <a:lnTo>
                  <a:pt x="5094747" y="3514787"/>
                </a:lnTo>
                <a:lnTo>
                  <a:pt x="5094747" y="3523557"/>
                </a:lnTo>
                <a:lnTo>
                  <a:pt x="5090298" y="3530053"/>
                </a:lnTo>
                <a:lnTo>
                  <a:pt x="5084112" y="3549434"/>
                </a:lnTo>
                <a:lnTo>
                  <a:pt x="5077601" y="3560911"/>
                </a:lnTo>
                <a:lnTo>
                  <a:pt x="5075539" y="3570547"/>
                </a:lnTo>
                <a:lnTo>
                  <a:pt x="5071850" y="3574228"/>
                </a:lnTo>
                <a:lnTo>
                  <a:pt x="5069354" y="3582998"/>
                </a:lnTo>
                <a:lnTo>
                  <a:pt x="5065990" y="3599022"/>
                </a:lnTo>
                <a:lnTo>
                  <a:pt x="5061541" y="3606060"/>
                </a:lnTo>
                <a:lnTo>
                  <a:pt x="5059804" y="3606060"/>
                </a:lnTo>
                <a:lnTo>
                  <a:pt x="5060347" y="3607359"/>
                </a:lnTo>
                <a:lnTo>
                  <a:pt x="5058286" y="3615262"/>
                </a:lnTo>
                <a:lnTo>
                  <a:pt x="5054921" y="3617753"/>
                </a:lnTo>
                <a:lnTo>
                  <a:pt x="5056115" y="3618727"/>
                </a:lnTo>
                <a:lnTo>
                  <a:pt x="5056549" y="3625981"/>
                </a:lnTo>
                <a:lnTo>
                  <a:pt x="5051775" y="3628905"/>
                </a:lnTo>
                <a:lnTo>
                  <a:pt x="5051557" y="3633127"/>
                </a:lnTo>
                <a:lnTo>
                  <a:pt x="5047759" y="3639299"/>
                </a:lnTo>
                <a:lnTo>
                  <a:pt x="5045263" y="3646769"/>
                </a:lnTo>
                <a:lnTo>
                  <a:pt x="5041465" y="3647311"/>
                </a:lnTo>
                <a:lnTo>
                  <a:pt x="5039295" y="3651533"/>
                </a:lnTo>
                <a:lnTo>
                  <a:pt x="5031482" y="3654565"/>
                </a:lnTo>
                <a:lnTo>
                  <a:pt x="5026816" y="3653482"/>
                </a:lnTo>
                <a:lnTo>
                  <a:pt x="5011949" y="3654890"/>
                </a:lnTo>
                <a:lnTo>
                  <a:pt x="5007283" y="3660303"/>
                </a:lnTo>
                <a:lnTo>
                  <a:pt x="5001640" y="3663660"/>
                </a:lnTo>
                <a:lnTo>
                  <a:pt x="4996540" y="3663227"/>
                </a:lnTo>
                <a:lnTo>
                  <a:pt x="4993501" y="3665175"/>
                </a:lnTo>
                <a:lnTo>
                  <a:pt x="4992199" y="3664092"/>
                </a:lnTo>
                <a:lnTo>
                  <a:pt x="4992199" y="3661927"/>
                </a:lnTo>
                <a:lnTo>
                  <a:pt x="4989160" y="3661278"/>
                </a:lnTo>
                <a:lnTo>
                  <a:pt x="4985146" y="3655972"/>
                </a:lnTo>
                <a:lnTo>
                  <a:pt x="4981347" y="3655106"/>
                </a:lnTo>
                <a:lnTo>
                  <a:pt x="4980154" y="3653482"/>
                </a:lnTo>
                <a:lnTo>
                  <a:pt x="4976789" y="3654673"/>
                </a:lnTo>
                <a:lnTo>
                  <a:pt x="4973643" y="3650992"/>
                </a:lnTo>
                <a:lnTo>
                  <a:pt x="4971581" y="3647744"/>
                </a:lnTo>
                <a:lnTo>
                  <a:pt x="4968977" y="3646336"/>
                </a:lnTo>
                <a:lnTo>
                  <a:pt x="4965829" y="3641464"/>
                </a:lnTo>
                <a:lnTo>
                  <a:pt x="4963117" y="3639840"/>
                </a:lnTo>
                <a:lnTo>
                  <a:pt x="4962791" y="3636592"/>
                </a:lnTo>
                <a:lnTo>
                  <a:pt x="4961163" y="3634535"/>
                </a:lnTo>
                <a:lnTo>
                  <a:pt x="4961814" y="3624574"/>
                </a:lnTo>
                <a:lnTo>
                  <a:pt x="4961163" y="3616778"/>
                </a:lnTo>
                <a:lnTo>
                  <a:pt x="4960837" y="3611797"/>
                </a:lnTo>
                <a:lnTo>
                  <a:pt x="4965612" y="3610715"/>
                </a:lnTo>
                <a:lnTo>
                  <a:pt x="4967132" y="3609199"/>
                </a:lnTo>
                <a:lnTo>
                  <a:pt x="4965504" y="3609633"/>
                </a:lnTo>
                <a:lnTo>
                  <a:pt x="4962465" y="3607792"/>
                </a:lnTo>
                <a:lnTo>
                  <a:pt x="4961381" y="3604436"/>
                </a:lnTo>
                <a:lnTo>
                  <a:pt x="4962357" y="3598914"/>
                </a:lnTo>
                <a:lnTo>
                  <a:pt x="4956171" y="3591552"/>
                </a:lnTo>
                <a:lnTo>
                  <a:pt x="4955955" y="3583972"/>
                </a:lnTo>
                <a:lnTo>
                  <a:pt x="4954761" y="3581049"/>
                </a:lnTo>
                <a:lnTo>
                  <a:pt x="4956388" y="3577259"/>
                </a:lnTo>
                <a:lnTo>
                  <a:pt x="4955846" y="3570980"/>
                </a:lnTo>
                <a:lnTo>
                  <a:pt x="4961055" y="3565458"/>
                </a:lnTo>
                <a:lnTo>
                  <a:pt x="4960512" y="3557771"/>
                </a:lnTo>
                <a:lnTo>
                  <a:pt x="4962249" y="3555497"/>
                </a:lnTo>
                <a:lnTo>
                  <a:pt x="4969194" y="3553873"/>
                </a:lnTo>
                <a:lnTo>
                  <a:pt x="4972015" y="3550625"/>
                </a:lnTo>
                <a:lnTo>
                  <a:pt x="4972449" y="3541747"/>
                </a:lnTo>
                <a:lnTo>
                  <a:pt x="4976789" y="3538282"/>
                </a:lnTo>
                <a:lnTo>
                  <a:pt x="4978201" y="3534168"/>
                </a:lnTo>
                <a:lnTo>
                  <a:pt x="4981022" y="3533626"/>
                </a:lnTo>
                <a:lnTo>
                  <a:pt x="4982324" y="3527455"/>
                </a:lnTo>
                <a:lnTo>
                  <a:pt x="4987099" y="3524423"/>
                </a:lnTo>
                <a:lnTo>
                  <a:pt x="4989377" y="3513380"/>
                </a:lnTo>
                <a:lnTo>
                  <a:pt x="4988292" y="3510132"/>
                </a:lnTo>
                <a:lnTo>
                  <a:pt x="4991548" y="3506884"/>
                </a:lnTo>
                <a:lnTo>
                  <a:pt x="4991440" y="3504826"/>
                </a:lnTo>
                <a:lnTo>
                  <a:pt x="4987315" y="3500171"/>
                </a:lnTo>
                <a:lnTo>
                  <a:pt x="4987750" y="3496706"/>
                </a:lnTo>
                <a:lnTo>
                  <a:pt x="4981130" y="3484039"/>
                </a:lnTo>
                <a:lnTo>
                  <a:pt x="4981456" y="3478192"/>
                </a:lnTo>
                <a:lnTo>
                  <a:pt x="4979177" y="3471262"/>
                </a:lnTo>
                <a:lnTo>
                  <a:pt x="4982324" y="3466823"/>
                </a:lnTo>
                <a:lnTo>
                  <a:pt x="4978634" y="3463792"/>
                </a:lnTo>
                <a:lnTo>
                  <a:pt x="4978634" y="3460111"/>
                </a:lnTo>
                <a:lnTo>
                  <a:pt x="4985362" y="3453073"/>
                </a:lnTo>
                <a:lnTo>
                  <a:pt x="4985146" y="3451016"/>
                </a:lnTo>
                <a:lnTo>
                  <a:pt x="4992199" y="3439972"/>
                </a:lnTo>
                <a:lnTo>
                  <a:pt x="4991331" y="3432610"/>
                </a:lnTo>
                <a:lnTo>
                  <a:pt x="4993501" y="3429254"/>
                </a:lnTo>
                <a:lnTo>
                  <a:pt x="4998384" y="3429362"/>
                </a:lnTo>
                <a:lnTo>
                  <a:pt x="5000229" y="3431203"/>
                </a:lnTo>
                <a:lnTo>
                  <a:pt x="5002725" y="3430878"/>
                </a:lnTo>
                <a:lnTo>
                  <a:pt x="5012275" y="3422216"/>
                </a:lnTo>
                <a:lnTo>
                  <a:pt x="5014661" y="3426005"/>
                </a:lnTo>
                <a:lnTo>
                  <a:pt x="5017266" y="3422216"/>
                </a:lnTo>
                <a:lnTo>
                  <a:pt x="5019654" y="3423407"/>
                </a:lnTo>
                <a:lnTo>
                  <a:pt x="5019762" y="3426980"/>
                </a:lnTo>
                <a:lnTo>
                  <a:pt x="5021390" y="3426438"/>
                </a:lnTo>
                <a:lnTo>
                  <a:pt x="5023234" y="3426872"/>
                </a:lnTo>
                <a:lnTo>
                  <a:pt x="5022475" y="3420050"/>
                </a:lnTo>
                <a:lnTo>
                  <a:pt x="5024645" y="3419834"/>
                </a:lnTo>
                <a:lnTo>
                  <a:pt x="5025839" y="3417993"/>
                </a:lnTo>
                <a:lnTo>
                  <a:pt x="5032024" y="3422324"/>
                </a:lnTo>
                <a:lnTo>
                  <a:pt x="5037559" y="3416477"/>
                </a:lnTo>
                <a:lnTo>
                  <a:pt x="5039837" y="3416802"/>
                </a:lnTo>
                <a:lnTo>
                  <a:pt x="5039729" y="3422974"/>
                </a:lnTo>
                <a:lnTo>
                  <a:pt x="5041791" y="3424706"/>
                </a:lnTo>
                <a:lnTo>
                  <a:pt x="5044721" y="3425681"/>
                </a:lnTo>
                <a:lnTo>
                  <a:pt x="5046023" y="3422758"/>
                </a:lnTo>
                <a:lnTo>
                  <a:pt x="5044938" y="3420050"/>
                </a:lnTo>
                <a:lnTo>
                  <a:pt x="5046349" y="3413121"/>
                </a:lnTo>
                <a:lnTo>
                  <a:pt x="5055138" y="3405759"/>
                </a:lnTo>
                <a:lnTo>
                  <a:pt x="5057200" y="3407275"/>
                </a:lnTo>
                <a:lnTo>
                  <a:pt x="5054921" y="3411064"/>
                </a:lnTo>
                <a:lnTo>
                  <a:pt x="5057200" y="3411497"/>
                </a:lnTo>
                <a:lnTo>
                  <a:pt x="5057742" y="3414528"/>
                </a:lnTo>
                <a:lnTo>
                  <a:pt x="5061541" y="3411930"/>
                </a:lnTo>
                <a:lnTo>
                  <a:pt x="5064579" y="3411172"/>
                </a:lnTo>
                <a:lnTo>
                  <a:pt x="5064797" y="3408791"/>
                </a:lnTo>
                <a:lnTo>
                  <a:pt x="5061649" y="3407816"/>
                </a:lnTo>
                <a:lnTo>
                  <a:pt x="5059479" y="3403269"/>
                </a:lnTo>
                <a:lnTo>
                  <a:pt x="5065122" y="3400020"/>
                </a:lnTo>
                <a:lnTo>
                  <a:pt x="5066099" y="3397963"/>
                </a:lnTo>
                <a:lnTo>
                  <a:pt x="5063277" y="3396448"/>
                </a:lnTo>
                <a:lnTo>
                  <a:pt x="5067727" y="3392225"/>
                </a:lnTo>
                <a:lnTo>
                  <a:pt x="5069463" y="3395040"/>
                </a:lnTo>
                <a:lnTo>
                  <a:pt x="5068377" y="3396556"/>
                </a:lnTo>
                <a:lnTo>
                  <a:pt x="5068377" y="3401753"/>
                </a:lnTo>
                <a:lnTo>
                  <a:pt x="5074997" y="3396231"/>
                </a:lnTo>
                <a:lnTo>
                  <a:pt x="5075865" y="3393416"/>
                </a:lnTo>
                <a:lnTo>
                  <a:pt x="5079446" y="3392009"/>
                </a:lnTo>
                <a:lnTo>
                  <a:pt x="5081725" y="3394607"/>
                </a:lnTo>
                <a:lnTo>
                  <a:pt x="5083787" y="3392116"/>
                </a:lnTo>
                <a:lnTo>
                  <a:pt x="5083136" y="3389302"/>
                </a:lnTo>
                <a:lnTo>
                  <a:pt x="5078469" y="3387895"/>
                </a:lnTo>
                <a:lnTo>
                  <a:pt x="5077276" y="3383347"/>
                </a:lnTo>
                <a:lnTo>
                  <a:pt x="5082593" y="3382372"/>
                </a:lnTo>
                <a:lnTo>
                  <a:pt x="5084980" y="3383022"/>
                </a:lnTo>
                <a:lnTo>
                  <a:pt x="5086825" y="3381398"/>
                </a:lnTo>
                <a:lnTo>
                  <a:pt x="5085632" y="3379232"/>
                </a:lnTo>
                <a:lnTo>
                  <a:pt x="5080857" y="3374469"/>
                </a:lnTo>
                <a:lnTo>
                  <a:pt x="5081291" y="3368838"/>
                </a:lnTo>
                <a:lnTo>
                  <a:pt x="5084438" y="3365915"/>
                </a:lnTo>
                <a:lnTo>
                  <a:pt x="5086608" y="3366998"/>
                </a:lnTo>
                <a:lnTo>
                  <a:pt x="5087042" y="3372087"/>
                </a:lnTo>
                <a:lnTo>
                  <a:pt x="5089646" y="3373711"/>
                </a:lnTo>
                <a:lnTo>
                  <a:pt x="5092685" y="3371437"/>
                </a:lnTo>
                <a:lnTo>
                  <a:pt x="5093228" y="3367431"/>
                </a:lnTo>
                <a:lnTo>
                  <a:pt x="5097243" y="3362992"/>
                </a:lnTo>
                <a:lnTo>
                  <a:pt x="5100389" y="3364075"/>
                </a:lnTo>
                <a:lnTo>
                  <a:pt x="5103320" y="3359419"/>
                </a:lnTo>
                <a:lnTo>
                  <a:pt x="5103320" y="3352273"/>
                </a:lnTo>
                <a:lnTo>
                  <a:pt x="5108094" y="3347834"/>
                </a:lnTo>
                <a:lnTo>
                  <a:pt x="5108094" y="3346426"/>
                </a:lnTo>
                <a:lnTo>
                  <a:pt x="5105164" y="3343503"/>
                </a:lnTo>
                <a:lnTo>
                  <a:pt x="5105164" y="3340363"/>
                </a:lnTo>
                <a:lnTo>
                  <a:pt x="5101257" y="3335167"/>
                </a:lnTo>
                <a:lnTo>
                  <a:pt x="5103862" y="3335058"/>
                </a:lnTo>
                <a:lnTo>
                  <a:pt x="5107877" y="3337765"/>
                </a:lnTo>
                <a:lnTo>
                  <a:pt x="5112110" y="3334949"/>
                </a:lnTo>
                <a:lnTo>
                  <a:pt x="5110590" y="3331810"/>
                </a:lnTo>
                <a:close/>
                <a:moveTo>
                  <a:pt x="7620038" y="3326072"/>
                </a:moveTo>
                <a:lnTo>
                  <a:pt x="7625030" y="3329753"/>
                </a:lnTo>
                <a:lnTo>
                  <a:pt x="7629046" y="3329536"/>
                </a:lnTo>
                <a:lnTo>
                  <a:pt x="7630130" y="3332243"/>
                </a:lnTo>
                <a:lnTo>
                  <a:pt x="7628610" y="3333326"/>
                </a:lnTo>
                <a:lnTo>
                  <a:pt x="7625789" y="3332027"/>
                </a:lnTo>
                <a:lnTo>
                  <a:pt x="7622751" y="3332135"/>
                </a:lnTo>
                <a:lnTo>
                  <a:pt x="7617108" y="3326180"/>
                </a:lnTo>
                <a:close/>
                <a:moveTo>
                  <a:pt x="4760073" y="3325973"/>
                </a:moveTo>
                <a:lnTo>
                  <a:pt x="4757398" y="3335709"/>
                </a:lnTo>
                <a:lnTo>
                  <a:pt x="4757396" y="3335718"/>
                </a:lnTo>
                <a:close/>
                <a:moveTo>
                  <a:pt x="7065410" y="3324447"/>
                </a:moveTo>
                <a:lnTo>
                  <a:pt x="7067363" y="3333000"/>
                </a:lnTo>
                <a:lnTo>
                  <a:pt x="7071378" y="3334408"/>
                </a:lnTo>
                <a:lnTo>
                  <a:pt x="7072029" y="3335815"/>
                </a:lnTo>
                <a:lnTo>
                  <a:pt x="7066495" y="3334624"/>
                </a:lnTo>
                <a:lnTo>
                  <a:pt x="7064542" y="3334732"/>
                </a:lnTo>
                <a:lnTo>
                  <a:pt x="7059550" y="3333434"/>
                </a:lnTo>
                <a:lnTo>
                  <a:pt x="7059767" y="3330835"/>
                </a:lnTo>
                <a:lnTo>
                  <a:pt x="7061287" y="3330618"/>
                </a:lnTo>
                <a:lnTo>
                  <a:pt x="7063565" y="3331268"/>
                </a:lnTo>
                <a:lnTo>
                  <a:pt x="7063565" y="3329969"/>
                </a:lnTo>
                <a:lnTo>
                  <a:pt x="7062480" y="3329428"/>
                </a:lnTo>
                <a:lnTo>
                  <a:pt x="7062697" y="3326829"/>
                </a:lnTo>
                <a:lnTo>
                  <a:pt x="7062046" y="3326071"/>
                </a:lnTo>
                <a:close/>
                <a:moveTo>
                  <a:pt x="7640005" y="3323040"/>
                </a:moveTo>
                <a:lnTo>
                  <a:pt x="7644130" y="3324014"/>
                </a:lnTo>
                <a:lnTo>
                  <a:pt x="7643370" y="3326828"/>
                </a:lnTo>
                <a:lnTo>
                  <a:pt x="7639572" y="3327478"/>
                </a:lnTo>
                <a:lnTo>
                  <a:pt x="7637185" y="3326937"/>
                </a:lnTo>
                <a:lnTo>
                  <a:pt x="7637076" y="3325638"/>
                </a:lnTo>
                <a:close/>
                <a:moveTo>
                  <a:pt x="7066278" y="3321741"/>
                </a:moveTo>
                <a:lnTo>
                  <a:pt x="7067689" y="3321741"/>
                </a:lnTo>
                <a:lnTo>
                  <a:pt x="7070619" y="3324772"/>
                </a:lnTo>
                <a:lnTo>
                  <a:pt x="7073440" y="3325206"/>
                </a:lnTo>
                <a:lnTo>
                  <a:pt x="7074091" y="3326722"/>
                </a:lnTo>
                <a:lnTo>
                  <a:pt x="7076913" y="3328237"/>
                </a:lnTo>
                <a:lnTo>
                  <a:pt x="7079626" y="3324881"/>
                </a:lnTo>
                <a:lnTo>
                  <a:pt x="7086028" y="3324772"/>
                </a:lnTo>
                <a:lnTo>
                  <a:pt x="7088958" y="3323365"/>
                </a:lnTo>
                <a:lnTo>
                  <a:pt x="7091020" y="3323365"/>
                </a:lnTo>
                <a:lnTo>
                  <a:pt x="7092431" y="3326397"/>
                </a:lnTo>
                <a:lnTo>
                  <a:pt x="7094384" y="3328020"/>
                </a:lnTo>
                <a:lnTo>
                  <a:pt x="7092105" y="3329861"/>
                </a:lnTo>
                <a:lnTo>
                  <a:pt x="7091780" y="3332351"/>
                </a:lnTo>
                <a:lnTo>
                  <a:pt x="7089718" y="3332026"/>
                </a:lnTo>
                <a:lnTo>
                  <a:pt x="7081579" y="3340580"/>
                </a:lnTo>
                <a:lnTo>
                  <a:pt x="7074959" y="3337873"/>
                </a:lnTo>
                <a:lnTo>
                  <a:pt x="7071596" y="3333434"/>
                </a:lnTo>
                <a:lnTo>
                  <a:pt x="7067689" y="3328887"/>
                </a:lnTo>
                <a:lnTo>
                  <a:pt x="7067038" y="3323257"/>
                </a:lnTo>
                <a:close/>
                <a:moveTo>
                  <a:pt x="4806310" y="3318710"/>
                </a:moveTo>
                <a:lnTo>
                  <a:pt x="4805659" y="3320767"/>
                </a:lnTo>
                <a:lnTo>
                  <a:pt x="4805659" y="3320767"/>
                </a:lnTo>
                <a:close/>
                <a:moveTo>
                  <a:pt x="7218311" y="3317843"/>
                </a:moveTo>
                <a:lnTo>
                  <a:pt x="7220155" y="3320116"/>
                </a:lnTo>
                <a:lnTo>
                  <a:pt x="7216031" y="3323906"/>
                </a:lnTo>
                <a:lnTo>
                  <a:pt x="7215163" y="3327587"/>
                </a:lnTo>
                <a:lnTo>
                  <a:pt x="7212016" y="3326071"/>
                </a:lnTo>
                <a:lnTo>
                  <a:pt x="7213427" y="3323148"/>
                </a:lnTo>
                <a:close/>
                <a:moveTo>
                  <a:pt x="7121839" y="3316977"/>
                </a:moveTo>
                <a:lnTo>
                  <a:pt x="7120428" y="3321308"/>
                </a:lnTo>
                <a:lnTo>
                  <a:pt x="7120103" y="3325747"/>
                </a:lnTo>
                <a:lnTo>
                  <a:pt x="7117390" y="3320983"/>
                </a:lnTo>
                <a:lnTo>
                  <a:pt x="7118258" y="3317627"/>
                </a:lnTo>
                <a:close/>
                <a:moveTo>
                  <a:pt x="4584538" y="3316038"/>
                </a:moveTo>
                <a:lnTo>
                  <a:pt x="4583525" y="3316543"/>
                </a:lnTo>
                <a:lnTo>
                  <a:pt x="4580487" y="3317085"/>
                </a:lnTo>
                <a:lnTo>
                  <a:pt x="4583525" y="3316544"/>
                </a:lnTo>
                <a:close/>
                <a:moveTo>
                  <a:pt x="4587195" y="3315960"/>
                </a:moveTo>
                <a:lnTo>
                  <a:pt x="4587648" y="3316111"/>
                </a:lnTo>
                <a:lnTo>
                  <a:pt x="4587648" y="3322931"/>
                </a:lnTo>
                <a:lnTo>
                  <a:pt x="4591229" y="3327154"/>
                </a:lnTo>
                <a:lnTo>
                  <a:pt x="4587649" y="3322931"/>
                </a:lnTo>
                <a:lnTo>
                  <a:pt x="4587649" y="3316111"/>
                </a:lnTo>
                <a:close/>
                <a:moveTo>
                  <a:pt x="4825083" y="3314163"/>
                </a:moveTo>
                <a:lnTo>
                  <a:pt x="4825409" y="3315678"/>
                </a:lnTo>
                <a:lnTo>
                  <a:pt x="4825409" y="3315678"/>
                </a:lnTo>
                <a:lnTo>
                  <a:pt x="4825084" y="3314163"/>
                </a:lnTo>
                <a:close/>
                <a:moveTo>
                  <a:pt x="7358839" y="3313838"/>
                </a:moveTo>
                <a:lnTo>
                  <a:pt x="7358622" y="3316977"/>
                </a:lnTo>
                <a:lnTo>
                  <a:pt x="7363722" y="3318060"/>
                </a:lnTo>
                <a:lnTo>
                  <a:pt x="7365132" y="3324665"/>
                </a:lnTo>
                <a:lnTo>
                  <a:pt x="7366544" y="3327263"/>
                </a:lnTo>
                <a:lnTo>
                  <a:pt x="7364807" y="3338632"/>
                </a:lnTo>
                <a:lnTo>
                  <a:pt x="7367845" y="3341446"/>
                </a:lnTo>
                <a:lnTo>
                  <a:pt x="7371861" y="3340580"/>
                </a:lnTo>
                <a:lnTo>
                  <a:pt x="7375116" y="3342313"/>
                </a:lnTo>
                <a:lnTo>
                  <a:pt x="7372186" y="3345236"/>
                </a:lnTo>
                <a:lnTo>
                  <a:pt x="7371970" y="3351191"/>
                </a:lnTo>
                <a:lnTo>
                  <a:pt x="7374574" y="3352815"/>
                </a:lnTo>
                <a:lnTo>
                  <a:pt x="7374682" y="3357038"/>
                </a:lnTo>
                <a:lnTo>
                  <a:pt x="7378372" y="3361910"/>
                </a:lnTo>
                <a:lnTo>
                  <a:pt x="7376201" y="3366024"/>
                </a:lnTo>
                <a:lnTo>
                  <a:pt x="7377938" y="3370355"/>
                </a:lnTo>
                <a:lnTo>
                  <a:pt x="7379999" y="3369380"/>
                </a:lnTo>
                <a:lnTo>
                  <a:pt x="7381084" y="3380099"/>
                </a:lnTo>
                <a:lnTo>
                  <a:pt x="7379240" y="3388869"/>
                </a:lnTo>
                <a:lnTo>
                  <a:pt x="7382278" y="3395582"/>
                </a:lnTo>
                <a:lnTo>
                  <a:pt x="7381735" y="3399588"/>
                </a:lnTo>
                <a:lnTo>
                  <a:pt x="7386618" y="3406951"/>
                </a:lnTo>
                <a:lnTo>
                  <a:pt x="7390634" y="3406733"/>
                </a:lnTo>
                <a:lnTo>
                  <a:pt x="7393347" y="3401537"/>
                </a:lnTo>
                <a:lnTo>
                  <a:pt x="7395735" y="3403161"/>
                </a:lnTo>
                <a:lnTo>
                  <a:pt x="7400617" y="3399913"/>
                </a:lnTo>
                <a:lnTo>
                  <a:pt x="7406043" y="3405326"/>
                </a:lnTo>
                <a:lnTo>
                  <a:pt x="7404524" y="3407492"/>
                </a:lnTo>
                <a:lnTo>
                  <a:pt x="7409624" y="3410523"/>
                </a:lnTo>
                <a:lnTo>
                  <a:pt x="7417981" y="3418535"/>
                </a:lnTo>
                <a:lnTo>
                  <a:pt x="7417438" y="3422000"/>
                </a:lnTo>
                <a:lnTo>
                  <a:pt x="7415810" y="3423408"/>
                </a:lnTo>
                <a:lnTo>
                  <a:pt x="7417004" y="3428063"/>
                </a:lnTo>
                <a:lnTo>
                  <a:pt x="7415810" y="3432069"/>
                </a:lnTo>
                <a:lnTo>
                  <a:pt x="7416895" y="3446902"/>
                </a:lnTo>
                <a:lnTo>
                  <a:pt x="7419065" y="3449501"/>
                </a:lnTo>
                <a:lnTo>
                  <a:pt x="7418848" y="3452099"/>
                </a:lnTo>
                <a:lnTo>
                  <a:pt x="7417004" y="3453507"/>
                </a:lnTo>
                <a:lnTo>
                  <a:pt x="7417221" y="3465200"/>
                </a:lnTo>
                <a:lnTo>
                  <a:pt x="7421778" y="3474620"/>
                </a:lnTo>
                <a:lnTo>
                  <a:pt x="7425360" y="3474620"/>
                </a:lnTo>
                <a:lnTo>
                  <a:pt x="7428397" y="3477543"/>
                </a:lnTo>
                <a:lnTo>
                  <a:pt x="7425902" y="3478842"/>
                </a:lnTo>
                <a:lnTo>
                  <a:pt x="7428832" y="3484581"/>
                </a:lnTo>
                <a:lnTo>
                  <a:pt x="7431545" y="3497140"/>
                </a:lnTo>
                <a:lnTo>
                  <a:pt x="7429483" y="3506776"/>
                </a:lnTo>
                <a:lnTo>
                  <a:pt x="7427204" y="3507642"/>
                </a:lnTo>
                <a:lnTo>
                  <a:pt x="7426986" y="3512190"/>
                </a:lnTo>
                <a:lnTo>
                  <a:pt x="7429917" y="3517819"/>
                </a:lnTo>
                <a:lnTo>
                  <a:pt x="7430785" y="3526373"/>
                </a:lnTo>
                <a:lnTo>
                  <a:pt x="7435125" y="3535035"/>
                </a:lnTo>
                <a:lnTo>
                  <a:pt x="7445110" y="3540664"/>
                </a:lnTo>
                <a:lnTo>
                  <a:pt x="7447388" y="3540664"/>
                </a:lnTo>
                <a:lnTo>
                  <a:pt x="7448690" y="3543588"/>
                </a:lnTo>
                <a:lnTo>
                  <a:pt x="7452814" y="3543913"/>
                </a:lnTo>
                <a:lnTo>
                  <a:pt x="7458240" y="3543372"/>
                </a:lnTo>
                <a:lnTo>
                  <a:pt x="7459759" y="3546078"/>
                </a:lnTo>
                <a:lnTo>
                  <a:pt x="7459325" y="3549543"/>
                </a:lnTo>
                <a:lnTo>
                  <a:pt x="7454659" y="3550734"/>
                </a:lnTo>
                <a:lnTo>
                  <a:pt x="7451946" y="3555065"/>
                </a:lnTo>
                <a:lnTo>
                  <a:pt x="7455201" y="3552033"/>
                </a:lnTo>
                <a:lnTo>
                  <a:pt x="7460410" y="3553874"/>
                </a:lnTo>
                <a:lnTo>
                  <a:pt x="7462472" y="3556580"/>
                </a:lnTo>
                <a:lnTo>
                  <a:pt x="7464968" y="3553874"/>
                </a:lnTo>
                <a:lnTo>
                  <a:pt x="7469308" y="3557663"/>
                </a:lnTo>
                <a:lnTo>
                  <a:pt x="7472889" y="3557771"/>
                </a:lnTo>
                <a:lnTo>
                  <a:pt x="7477664" y="3564484"/>
                </a:lnTo>
                <a:lnTo>
                  <a:pt x="7481788" y="3565025"/>
                </a:lnTo>
                <a:lnTo>
                  <a:pt x="7483742" y="3563943"/>
                </a:lnTo>
                <a:lnTo>
                  <a:pt x="7487539" y="3570764"/>
                </a:lnTo>
                <a:lnTo>
                  <a:pt x="7487539" y="3575527"/>
                </a:lnTo>
                <a:lnTo>
                  <a:pt x="7483199" y="3574445"/>
                </a:lnTo>
                <a:lnTo>
                  <a:pt x="7483633" y="3579967"/>
                </a:lnTo>
                <a:lnTo>
                  <a:pt x="7485803" y="3584731"/>
                </a:lnTo>
                <a:lnTo>
                  <a:pt x="7493507" y="3591335"/>
                </a:lnTo>
                <a:lnTo>
                  <a:pt x="7492422" y="3595558"/>
                </a:lnTo>
                <a:lnTo>
                  <a:pt x="7495895" y="3598265"/>
                </a:lnTo>
                <a:lnTo>
                  <a:pt x="7494051" y="3602163"/>
                </a:lnTo>
                <a:lnTo>
                  <a:pt x="7498608" y="3605086"/>
                </a:lnTo>
                <a:lnTo>
                  <a:pt x="7498608" y="3608333"/>
                </a:lnTo>
                <a:lnTo>
                  <a:pt x="7497197" y="3609741"/>
                </a:lnTo>
                <a:lnTo>
                  <a:pt x="7498066" y="3623167"/>
                </a:lnTo>
                <a:lnTo>
                  <a:pt x="7500019" y="3626956"/>
                </a:lnTo>
                <a:lnTo>
                  <a:pt x="7500019" y="3631395"/>
                </a:lnTo>
                <a:lnTo>
                  <a:pt x="7502623" y="3628581"/>
                </a:lnTo>
                <a:lnTo>
                  <a:pt x="7507832" y="3634860"/>
                </a:lnTo>
                <a:lnTo>
                  <a:pt x="7505336" y="3627498"/>
                </a:lnTo>
                <a:lnTo>
                  <a:pt x="7506529" y="3623816"/>
                </a:lnTo>
                <a:lnTo>
                  <a:pt x="7506529" y="3620569"/>
                </a:lnTo>
                <a:lnTo>
                  <a:pt x="7508591" y="3619594"/>
                </a:lnTo>
                <a:lnTo>
                  <a:pt x="7510871" y="3625116"/>
                </a:lnTo>
                <a:lnTo>
                  <a:pt x="7521613" y="3634860"/>
                </a:lnTo>
                <a:lnTo>
                  <a:pt x="7523349" y="3632369"/>
                </a:lnTo>
                <a:lnTo>
                  <a:pt x="7521939" y="3630205"/>
                </a:lnTo>
                <a:lnTo>
                  <a:pt x="7522807" y="3627714"/>
                </a:lnTo>
                <a:lnTo>
                  <a:pt x="7526062" y="3629446"/>
                </a:lnTo>
                <a:lnTo>
                  <a:pt x="7525411" y="3634102"/>
                </a:lnTo>
                <a:lnTo>
                  <a:pt x="7526822" y="3637567"/>
                </a:lnTo>
                <a:lnTo>
                  <a:pt x="7525737" y="3644821"/>
                </a:lnTo>
                <a:lnTo>
                  <a:pt x="7521180" y="3650560"/>
                </a:lnTo>
                <a:lnTo>
                  <a:pt x="7524435" y="3656297"/>
                </a:lnTo>
                <a:lnTo>
                  <a:pt x="7523242" y="3659979"/>
                </a:lnTo>
                <a:lnTo>
                  <a:pt x="7525954" y="3662469"/>
                </a:lnTo>
                <a:lnTo>
                  <a:pt x="7531706" y="3667558"/>
                </a:lnTo>
                <a:lnTo>
                  <a:pt x="7532248" y="3671022"/>
                </a:lnTo>
                <a:lnTo>
                  <a:pt x="7534636" y="3671997"/>
                </a:lnTo>
                <a:lnTo>
                  <a:pt x="7535287" y="3678168"/>
                </a:lnTo>
                <a:lnTo>
                  <a:pt x="7538542" y="3681199"/>
                </a:lnTo>
                <a:lnTo>
                  <a:pt x="7542232" y="3679576"/>
                </a:lnTo>
                <a:lnTo>
                  <a:pt x="7545270" y="3679792"/>
                </a:lnTo>
                <a:lnTo>
                  <a:pt x="7548308" y="3685531"/>
                </a:lnTo>
                <a:lnTo>
                  <a:pt x="7549827" y="3692243"/>
                </a:lnTo>
                <a:lnTo>
                  <a:pt x="7553192" y="3699064"/>
                </a:lnTo>
                <a:lnTo>
                  <a:pt x="7558618" y="3703829"/>
                </a:lnTo>
                <a:lnTo>
                  <a:pt x="7558509" y="3709242"/>
                </a:lnTo>
                <a:lnTo>
                  <a:pt x="7560788" y="3713897"/>
                </a:lnTo>
                <a:lnTo>
                  <a:pt x="7565454" y="3715847"/>
                </a:lnTo>
                <a:lnTo>
                  <a:pt x="7562958" y="3721152"/>
                </a:lnTo>
                <a:lnTo>
                  <a:pt x="7565020" y="3721801"/>
                </a:lnTo>
                <a:lnTo>
                  <a:pt x="7564803" y="3731221"/>
                </a:lnTo>
                <a:lnTo>
                  <a:pt x="7566105" y="3736093"/>
                </a:lnTo>
                <a:lnTo>
                  <a:pt x="7568059" y="3738800"/>
                </a:lnTo>
                <a:lnTo>
                  <a:pt x="7565346" y="3743455"/>
                </a:lnTo>
                <a:lnTo>
                  <a:pt x="7565671" y="3757422"/>
                </a:lnTo>
                <a:lnTo>
                  <a:pt x="7566105" y="3759588"/>
                </a:lnTo>
                <a:lnTo>
                  <a:pt x="7561874" y="3766733"/>
                </a:lnTo>
                <a:lnTo>
                  <a:pt x="7561765" y="3772364"/>
                </a:lnTo>
                <a:lnTo>
                  <a:pt x="7560137" y="3774529"/>
                </a:lnTo>
                <a:lnTo>
                  <a:pt x="7560245" y="3779401"/>
                </a:lnTo>
                <a:lnTo>
                  <a:pt x="7561765" y="3782324"/>
                </a:lnTo>
                <a:lnTo>
                  <a:pt x="7565128" y="3791311"/>
                </a:lnTo>
                <a:lnTo>
                  <a:pt x="7564587" y="3797050"/>
                </a:lnTo>
                <a:lnTo>
                  <a:pt x="7568276" y="3807877"/>
                </a:lnTo>
                <a:lnTo>
                  <a:pt x="7564260" y="3812748"/>
                </a:lnTo>
                <a:lnTo>
                  <a:pt x="7566105" y="3819786"/>
                </a:lnTo>
                <a:lnTo>
                  <a:pt x="7563718" y="3826283"/>
                </a:lnTo>
                <a:lnTo>
                  <a:pt x="7557206" y="3831696"/>
                </a:lnTo>
                <a:lnTo>
                  <a:pt x="7552649" y="3842956"/>
                </a:lnTo>
                <a:lnTo>
                  <a:pt x="7553084" y="3848695"/>
                </a:lnTo>
                <a:lnTo>
                  <a:pt x="7544402" y="3864177"/>
                </a:lnTo>
                <a:lnTo>
                  <a:pt x="7542774" y="3872514"/>
                </a:lnTo>
                <a:lnTo>
                  <a:pt x="7536046" y="3887997"/>
                </a:lnTo>
                <a:lnTo>
                  <a:pt x="7535287" y="3891786"/>
                </a:lnTo>
                <a:lnTo>
                  <a:pt x="7537349" y="3894168"/>
                </a:lnTo>
                <a:lnTo>
                  <a:pt x="7534636" y="3901422"/>
                </a:lnTo>
                <a:lnTo>
                  <a:pt x="7535287" y="3905861"/>
                </a:lnTo>
                <a:lnTo>
                  <a:pt x="7530077" y="3914739"/>
                </a:lnTo>
                <a:lnTo>
                  <a:pt x="7524652" y="3916905"/>
                </a:lnTo>
                <a:lnTo>
                  <a:pt x="7524435" y="3921994"/>
                </a:lnTo>
                <a:lnTo>
                  <a:pt x="7516730" y="3927949"/>
                </a:lnTo>
                <a:lnTo>
                  <a:pt x="7515646" y="3932821"/>
                </a:lnTo>
                <a:lnTo>
                  <a:pt x="7516730" y="3935636"/>
                </a:lnTo>
                <a:lnTo>
                  <a:pt x="7515103" y="3941266"/>
                </a:lnTo>
                <a:lnTo>
                  <a:pt x="7507506" y="3946679"/>
                </a:lnTo>
                <a:lnTo>
                  <a:pt x="7498933" y="3947221"/>
                </a:lnTo>
                <a:lnTo>
                  <a:pt x="7497197" y="3949603"/>
                </a:lnTo>
                <a:lnTo>
                  <a:pt x="7504359" y="3949603"/>
                </a:lnTo>
                <a:lnTo>
                  <a:pt x="7500019" y="3951768"/>
                </a:lnTo>
                <a:lnTo>
                  <a:pt x="7492965" y="3953934"/>
                </a:lnTo>
                <a:lnTo>
                  <a:pt x="7489384" y="3961620"/>
                </a:lnTo>
                <a:lnTo>
                  <a:pt x="7486346" y="3964761"/>
                </a:lnTo>
                <a:lnTo>
                  <a:pt x="7481245" y="3972232"/>
                </a:lnTo>
                <a:lnTo>
                  <a:pt x="7473866" y="3975696"/>
                </a:lnTo>
                <a:lnTo>
                  <a:pt x="7476904" y="3978619"/>
                </a:lnTo>
                <a:lnTo>
                  <a:pt x="7473106" y="3987822"/>
                </a:lnTo>
                <a:lnTo>
                  <a:pt x="7468983" y="3989987"/>
                </a:lnTo>
                <a:lnTo>
                  <a:pt x="7469526" y="3995185"/>
                </a:lnTo>
                <a:lnTo>
                  <a:pt x="7463774" y="4000923"/>
                </a:lnTo>
                <a:lnTo>
                  <a:pt x="7460193" y="4011101"/>
                </a:lnTo>
                <a:lnTo>
                  <a:pt x="7454333" y="4018680"/>
                </a:lnTo>
                <a:lnTo>
                  <a:pt x="7451838" y="4028424"/>
                </a:lnTo>
                <a:lnTo>
                  <a:pt x="7447822" y="4029182"/>
                </a:lnTo>
                <a:lnTo>
                  <a:pt x="7433389" y="4047262"/>
                </a:lnTo>
                <a:lnTo>
                  <a:pt x="7433715" y="4051919"/>
                </a:lnTo>
                <a:lnTo>
                  <a:pt x="7429049" y="4054084"/>
                </a:lnTo>
                <a:lnTo>
                  <a:pt x="7427421" y="4063612"/>
                </a:lnTo>
                <a:lnTo>
                  <a:pt x="7423515" y="4069025"/>
                </a:lnTo>
                <a:lnTo>
                  <a:pt x="7423515" y="4083100"/>
                </a:lnTo>
                <a:lnTo>
                  <a:pt x="7415376" y="4091221"/>
                </a:lnTo>
                <a:lnTo>
                  <a:pt x="7415592" y="4096201"/>
                </a:lnTo>
                <a:lnTo>
                  <a:pt x="7417438" y="4105620"/>
                </a:lnTo>
                <a:lnTo>
                  <a:pt x="7413206" y="4114174"/>
                </a:lnTo>
                <a:lnTo>
                  <a:pt x="7408756" y="4117206"/>
                </a:lnTo>
                <a:lnTo>
                  <a:pt x="7404415" y="4117206"/>
                </a:lnTo>
                <a:lnTo>
                  <a:pt x="7404415" y="4121103"/>
                </a:lnTo>
                <a:lnTo>
                  <a:pt x="7398230" y="4124785"/>
                </a:lnTo>
                <a:lnTo>
                  <a:pt x="7383364" y="4121861"/>
                </a:lnTo>
                <a:lnTo>
                  <a:pt x="7364915" y="4125542"/>
                </a:lnTo>
                <a:lnTo>
                  <a:pt x="7355909" y="4128249"/>
                </a:lnTo>
                <a:lnTo>
                  <a:pt x="7349723" y="4128249"/>
                </a:lnTo>
                <a:lnTo>
                  <a:pt x="7345274" y="4128574"/>
                </a:lnTo>
                <a:lnTo>
                  <a:pt x="7349398" y="4129981"/>
                </a:lnTo>
                <a:lnTo>
                  <a:pt x="7348312" y="4131497"/>
                </a:lnTo>
                <a:lnTo>
                  <a:pt x="7351025" y="4129873"/>
                </a:lnTo>
                <a:lnTo>
                  <a:pt x="7354715" y="4129873"/>
                </a:lnTo>
                <a:lnTo>
                  <a:pt x="7347770" y="4135936"/>
                </a:lnTo>
                <a:lnTo>
                  <a:pt x="7335507" y="4143407"/>
                </a:lnTo>
                <a:lnTo>
                  <a:pt x="7329539" y="4151528"/>
                </a:lnTo>
                <a:lnTo>
                  <a:pt x="7327912" y="4154234"/>
                </a:lnTo>
                <a:lnTo>
                  <a:pt x="7326392" y="4151852"/>
                </a:lnTo>
                <a:lnTo>
                  <a:pt x="7314672" y="4151528"/>
                </a:lnTo>
                <a:lnTo>
                  <a:pt x="7311742" y="4154775"/>
                </a:lnTo>
                <a:lnTo>
                  <a:pt x="7312719" y="4157482"/>
                </a:lnTo>
                <a:lnTo>
                  <a:pt x="7316517" y="4154559"/>
                </a:lnTo>
                <a:lnTo>
                  <a:pt x="7316843" y="4161056"/>
                </a:lnTo>
                <a:lnTo>
                  <a:pt x="7313370" y="4167010"/>
                </a:lnTo>
                <a:lnTo>
                  <a:pt x="7310006" y="4161921"/>
                </a:lnTo>
                <a:lnTo>
                  <a:pt x="7309572" y="4157050"/>
                </a:lnTo>
                <a:lnTo>
                  <a:pt x="7306316" y="4156724"/>
                </a:lnTo>
                <a:lnTo>
                  <a:pt x="7304038" y="4158132"/>
                </a:lnTo>
                <a:lnTo>
                  <a:pt x="7302736" y="4150012"/>
                </a:lnTo>
                <a:lnTo>
                  <a:pt x="7296441" y="4142649"/>
                </a:lnTo>
                <a:lnTo>
                  <a:pt x="7300239" y="4138859"/>
                </a:lnTo>
                <a:lnTo>
                  <a:pt x="7303170" y="4138968"/>
                </a:lnTo>
                <a:lnTo>
                  <a:pt x="7303603" y="4134420"/>
                </a:lnTo>
                <a:lnTo>
                  <a:pt x="7298721" y="4131714"/>
                </a:lnTo>
                <a:lnTo>
                  <a:pt x="7294814" y="4134637"/>
                </a:lnTo>
                <a:lnTo>
                  <a:pt x="7291341" y="4138318"/>
                </a:lnTo>
                <a:lnTo>
                  <a:pt x="7288303" y="4137561"/>
                </a:lnTo>
                <a:lnTo>
                  <a:pt x="7286132" y="4133122"/>
                </a:lnTo>
                <a:lnTo>
                  <a:pt x="7295682" y="4127924"/>
                </a:lnTo>
                <a:lnTo>
                  <a:pt x="7295899" y="4122619"/>
                </a:lnTo>
                <a:lnTo>
                  <a:pt x="7288086" y="4117206"/>
                </a:lnTo>
                <a:lnTo>
                  <a:pt x="7278753" y="4123377"/>
                </a:lnTo>
                <a:lnTo>
                  <a:pt x="7277017" y="4126517"/>
                </a:lnTo>
                <a:lnTo>
                  <a:pt x="7282226" y="4128032"/>
                </a:lnTo>
                <a:lnTo>
                  <a:pt x="7283420" y="4130414"/>
                </a:lnTo>
                <a:lnTo>
                  <a:pt x="7281466" y="4132689"/>
                </a:lnTo>
                <a:lnTo>
                  <a:pt x="7277017" y="4131822"/>
                </a:lnTo>
                <a:lnTo>
                  <a:pt x="7270832" y="4137993"/>
                </a:lnTo>
                <a:lnTo>
                  <a:pt x="7265080" y="4138102"/>
                </a:lnTo>
                <a:lnTo>
                  <a:pt x="7262258" y="4142216"/>
                </a:lnTo>
                <a:lnTo>
                  <a:pt x="7253035" y="4146655"/>
                </a:lnTo>
                <a:lnTo>
                  <a:pt x="7251407" y="4149903"/>
                </a:lnTo>
                <a:lnTo>
                  <a:pt x="7247718" y="4149903"/>
                </a:lnTo>
                <a:lnTo>
                  <a:pt x="7242942" y="4144057"/>
                </a:lnTo>
                <a:lnTo>
                  <a:pt x="7238168" y="4142432"/>
                </a:lnTo>
                <a:lnTo>
                  <a:pt x="7237517" y="4137561"/>
                </a:lnTo>
                <a:lnTo>
                  <a:pt x="7231440" y="4132039"/>
                </a:lnTo>
                <a:lnTo>
                  <a:pt x="7226014" y="4131497"/>
                </a:lnTo>
                <a:lnTo>
                  <a:pt x="7221022" y="4125326"/>
                </a:lnTo>
                <a:lnTo>
                  <a:pt x="7214837" y="4123377"/>
                </a:lnTo>
                <a:lnTo>
                  <a:pt x="7211798" y="4124459"/>
                </a:lnTo>
                <a:lnTo>
                  <a:pt x="7210713" y="4126517"/>
                </a:lnTo>
                <a:lnTo>
                  <a:pt x="7205831" y="4126192"/>
                </a:lnTo>
                <a:lnTo>
                  <a:pt x="7203660" y="4120454"/>
                </a:lnTo>
                <a:lnTo>
                  <a:pt x="7199102" y="4117206"/>
                </a:lnTo>
                <a:lnTo>
                  <a:pt x="7192591" y="4115581"/>
                </a:lnTo>
                <a:lnTo>
                  <a:pt x="7184127" y="4104213"/>
                </a:lnTo>
                <a:lnTo>
                  <a:pt x="7183042" y="4096418"/>
                </a:lnTo>
                <a:lnTo>
                  <a:pt x="7179352" y="4090138"/>
                </a:lnTo>
                <a:lnTo>
                  <a:pt x="7175228" y="4086565"/>
                </a:lnTo>
                <a:lnTo>
                  <a:pt x="7176096" y="4078228"/>
                </a:lnTo>
                <a:lnTo>
                  <a:pt x="7175120" y="4075196"/>
                </a:lnTo>
                <a:lnTo>
                  <a:pt x="7180980" y="4068809"/>
                </a:lnTo>
                <a:lnTo>
                  <a:pt x="7181956" y="4057873"/>
                </a:lnTo>
                <a:lnTo>
                  <a:pt x="7181522" y="4048995"/>
                </a:lnTo>
                <a:lnTo>
                  <a:pt x="7178484" y="4041416"/>
                </a:lnTo>
                <a:lnTo>
                  <a:pt x="7176747" y="4036219"/>
                </a:lnTo>
                <a:lnTo>
                  <a:pt x="7172515" y="4030048"/>
                </a:lnTo>
                <a:lnTo>
                  <a:pt x="7173601" y="4027449"/>
                </a:lnTo>
                <a:lnTo>
                  <a:pt x="7177941" y="4027774"/>
                </a:lnTo>
                <a:lnTo>
                  <a:pt x="7180329" y="4023876"/>
                </a:lnTo>
                <a:lnTo>
                  <a:pt x="7182716" y="4019762"/>
                </a:lnTo>
                <a:lnTo>
                  <a:pt x="7179677" y="4020195"/>
                </a:lnTo>
                <a:lnTo>
                  <a:pt x="7175663" y="4019004"/>
                </a:lnTo>
                <a:lnTo>
                  <a:pt x="7170562" y="4023118"/>
                </a:lnTo>
                <a:lnTo>
                  <a:pt x="7166439" y="4024201"/>
                </a:lnTo>
                <a:lnTo>
                  <a:pt x="7163726" y="4026908"/>
                </a:lnTo>
                <a:lnTo>
                  <a:pt x="7157540" y="4026800"/>
                </a:lnTo>
                <a:lnTo>
                  <a:pt x="7151680" y="4027558"/>
                </a:lnTo>
                <a:lnTo>
                  <a:pt x="7150269" y="4024309"/>
                </a:lnTo>
                <a:lnTo>
                  <a:pt x="7159385" y="4020628"/>
                </a:lnTo>
                <a:lnTo>
                  <a:pt x="7164593" y="4010884"/>
                </a:lnTo>
                <a:lnTo>
                  <a:pt x="7163834" y="3999515"/>
                </a:lnTo>
                <a:lnTo>
                  <a:pt x="7166004" y="3998866"/>
                </a:lnTo>
                <a:lnTo>
                  <a:pt x="7163509" y="3992153"/>
                </a:lnTo>
                <a:lnTo>
                  <a:pt x="7163292" y="3980785"/>
                </a:lnTo>
                <a:lnTo>
                  <a:pt x="7161556" y="3978619"/>
                </a:lnTo>
                <a:lnTo>
                  <a:pt x="7154828" y="3985440"/>
                </a:lnTo>
                <a:lnTo>
                  <a:pt x="7152657" y="3997783"/>
                </a:lnTo>
                <a:lnTo>
                  <a:pt x="7144736" y="4011101"/>
                </a:lnTo>
                <a:lnTo>
                  <a:pt x="7136488" y="4008177"/>
                </a:lnTo>
                <a:lnTo>
                  <a:pt x="7129652" y="4011317"/>
                </a:lnTo>
                <a:lnTo>
                  <a:pt x="7122597" y="4013049"/>
                </a:lnTo>
                <a:lnTo>
                  <a:pt x="7122597" y="4011317"/>
                </a:lnTo>
                <a:lnTo>
                  <a:pt x="7125528" y="4006228"/>
                </a:lnTo>
                <a:lnTo>
                  <a:pt x="7127807" y="3999948"/>
                </a:lnTo>
                <a:lnTo>
                  <a:pt x="7139201" y="4001140"/>
                </a:lnTo>
                <a:lnTo>
                  <a:pt x="7143433" y="3989663"/>
                </a:lnTo>
                <a:lnTo>
                  <a:pt x="7141588" y="3987281"/>
                </a:lnTo>
                <a:lnTo>
                  <a:pt x="7147340" y="3979161"/>
                </a:lnTo>
                <a:lnTo>
                  <a:pt x="7147014" y="3973747"/>
                </a:lnTo>
                <a:lnTo>
                  <a:pt x="7149944" y="3969958"/>
                </a:lnTo>
                <a:lnTo>
                  <a:pt x="7151355" y="3964761"/>
                </a:lnTo>
                <a:lnTo>
                  <a:pt x="7161338" y="3958265"/>
                </a:lnTo>
                <a:lnTo>
                  <a:pt x="7162749" y="3946138"/>
                </a:lnTo>
                <a:lnTo>
                  <a:pt x="7165679" y="3942349"/>
                </a:lnTo>
                <a:lnTo>
                  <a:pt x="7165679" y="3936394"/>
                </a:lnTo>
                <a:lnTo>
                  <a:pt x="7165462" y="3930222"/>
                </a:lnTo>
                <a:lnTo>
                  <a:pt x="7162532" y="3923618"/>
                </a:lnTo>
                <a:lnTo>
                  <a:pt x="7161556" y="3929356"/>
                </a:lnTo>
                <a:lnTo>
                  <a:pt x="7163292" y="3934445"/>
                </a:lnTo>
                <a:lnTo>
                  <a:pt x="7160579" y="3938343"/>
                </a:lnTo>
                <a:lnTo>
                  <a:pt x="7153742" y="3939859"/>
                </a:lnTo>
                <a:lnTo>
                  <a:pt x="7147340" y="3949603"/>
                </a:lnTo>
                <a:lnTo>
                  <a:pt x="7145386" y="3956207"/>
                </a:lnTo>
                <a:lnTo>
                  <a:pt x="7137464" y="3959997"/>
                </a:lnTo>
                <a:lnTo>
                  <a:pt x="7135403" y="3959997"/>
                </a:lnTo>
                <a:lnTo>
                  <a:pt x="7134426" y="3963136"/>
                </a:lnTo>
                <a:lnTo>
                  <a:pt x="7124226" y="3968117"/>
                </a:lnTo>
                <a:lnTo>
                  <a:pt x="7119885" y="3973747"/>
                </a:lnTo>
                <a:lnTo>
                  <a:pt x="7118691" y="3977861"/>
                </a:lnTo>
                <a:lnTo>
                  <a:pt x="7114459" y="3979702"/>
                </a:lnTo>
                <a:lnTo>
                  <a:pt x="7112288" y="3983708"/>
                </a:lnTo>
                <a:lnTo>
                  <a:pt x="7108490" y="3984358"/>
                </a:lnTo>
                <a:lnTo>
                  <a:pt x="7106212" y="3989122"/>
                </a:lnTo>
                <a:lnTo>
                  <a:pt x="7103391" y="3991936"/>
                </a:lnTo>
                <a:lnTo>
                  <a:pt x="7105777" y="3995726"/>
                </a:lnTo>
                <a:lnTo>
                  <a:pt x="7105560" y="3999948"/>
                </a:lnTo>
                <a:lnTo>
                  <a:pt x="7101437" y="3996701"/>
                </a:lnTo>
                <a:lnTo>
                  <a:pt x="7097422" y="3998108"/>
                </a:lnTo>
                <a:lnTo>
                  <a:pt x="7095686" y="3993236"/>
                </a:lnTo>
                <a:lnTo>
                  <a:pt x="7091996" y="3991287"/>
                </a:lnTo>
                <a:lnTo>
                  <a:pt x="7088307" y="3986415"/>
                </a:lnTo>
                <a:lnTo>
                  <a:pt x="7089717" y="3984899"/>
                </a:lnTo>
                <a:lnTo>
                  <a:pt x="7092539" y="3986740"/>
                </a:lnTo>
                <a:lnTo>
                  <a:pt x="7094600" y="3983167"/>
                </a:lnTo>
                <a:lnTo>
                  <a:pt x="7095468" y="3976995"/>
                </a:lnTo>
                <a:lnTo>
                  <a:pt x="7093298" y="3974071"/>
                </a:lnTo>
                <a:lnTo>
                  <a:pt x="7095143" y="3968875"/>
                </a:lnTo>
                <a:lnTo>
                  <a:pt x="7089934" y="3957290"/>
                </a:lnTo>
                <a:lnTo>
                  <a:pt x="7090802" y="3952310"/>
                </a:lnTo>
                <a:lnTo>
                  <a:pt x="7089175" y="3945597"/>
                </a:lnTo>
                <a:lnTo>
                  <a:pt x="7084291" y="3940400"/>
                </a:lnTo>
                <a:lnTo>
                  <a:pt x="7079951" y="3939967"/>
                </a:lnTo>
                <a:lnTo>
                  <a:pt x="7075718" y="3930763"/>
                </a:lnTo>
                <a:lnTo>
                  <a:pt x="7076695" y="3927516"/>
                </a:lnTo>
                <a:lnTo>
                  <a:pt x="7080711" y="3927516"/>
                </a:lnTo>
                <a:lnTo>
                  <a:pt x="7082121" y="3924159"/>
                </a:lnTo>
                <a:lnTo>
                  <a:pt x="7078431" y="3920370"/>
                </a:lnTo>
                <a:lnTo>
                  <a:pt x="7075285" y="3920153"/>
                </a:lnTo>
                <a:lnTo>
                  <a:pt x="7076153" y="3915606"/>
                </a:lnTo>
                <a:lnTo>
                  <a:pt x="7065627" y="3908243"/>
                </a:lnTo>
                <a:lnTo>
                  <a:pt x="7063131" y="3909867"/>
                </a:lnTo>
                <a:lnTo>
                  <a:pt x="7056945" y="3908784"/>
                </a:lnTo>
                <a:lnTo>
                  <a:pt x="7052496" y="3902829"/>
                </a:lnTo>
                <a:lnTo>
                  <a:pt x="7047395" y="3901531"/>
                </a:lnTo>
                <a:lnTo>
                  <a:pt x="7044682" y="3902829"/>
                </a:lnTo>
                <a:lnTo>
                  <a:pt x="7042512" y="3900448"/>
                </a:lnTo>
                <a:lnTo>
                  <a:pt x="7039583" y="3901531"/>
                </a:lnTo>
                <a:lnTo>
                  <a:pt x="7036544" y="3904129"/>
                </a:lnTo>
                <a:lnTo>
                  <a:pt x="7032204" y="3902614"/>
                </a:lnTo>
                <a:lnTo>
                  <a:pt x="7026561" y="3893086"/>
                </a:lnTo>
                <a:lnTo>
                  <a:pt x="7019398" y="3886264"/>
                </a:lnTo>
                <a:lnTo>
                  <a:pt x="7013538" y="3885507"/>
                </a:lnTo>
                <a:lnTo>
                  <a:pt x="7006268" y="3887997"/>
                </a:lnTo>
                <a:lnTo>
                  <a:pt x="7000516" y="3887888"/>
                </a:lnTo>
                <a:lnTo>
                  <a:pt x="6992052" y="3885507"/>
                </a:lnTo>
                <a:lnTo>
                  <a:pt x="6965791" y="3887455"/>
                </a:lnTo>
                <a:lnTo>
                  <a:pt x="6955916" y="3888213"/>
                </a:lnTo>
                <a:lnTo>
                  <a:pt x="6949189" y="3893086"/>
                </a:lnTo>
                <a:lnTo>
                  <a:pt x="6945499" y="3893086"/>
                </a:lnTo>
                <a:lnTo>
                  <a:pt x="6939748" y="3897200"/>
                </a:lnTo>
                <a:lnTo>
                  <a:pt x="6931934" y="3899040"/>
                </a:lnTo>
                <a:lnTo>
                  <a:pt x="6918804" y="3903696"/>
                </a:lnTo>
                <a:lnTo>
                  <a:pt x="6909254" y="3903155"/>
                </a:lnTo>
                <a:lnTo>
                  <a:pt x="6904697" y="3904778"/>
                </a:lnTo>
                <a:lnTo>
                  <a:pt x="6898185" y="3904454"/>
                </a:lnTo>
                <a:lnTo>
                  <a:pt x="6891132" y="3901422"/>
                </a:lnTo>
                <a:lnTo>
                  <a:pt x="6886900" y="3901531"/>
                </a:lnTo>
                <a:lnTo>
                  <a:pt x="6883536" y="3901422"/>
                </a:lnTo>
                <a:lnTo>
                  <a:pt x="6879955" y="3902829"/>
                </a:lnTo>
                <a:lnTo>
                  <a:pt x="6872142" y="3910084"/>
                </a:lnTo>
                <a:lnTo>
                  <a:pt x="6859445" y="3917771"/>
                </a:lnTo>
                <a:lnTo>
                  <a:pt x="6849570" y="3921236"/>
                </a:lnTo>
                <a:lnTo>
                  <a:pt x="6846966" y="3919612"/>
                </a:lnTo>
                <a:lnTo>
                  <a:pt x="6840129" y="3921561"/>
                </a:lnTo>
                <a:lnTo>
                  <a:pt x="6834269" y="3926108"/>
                </a:lnTo>
                <a:lnTo>
                  <a:pt x="6831448" y="3934553"/>
                </a:lnTo>
                <a:lnTo>
                  <a:pt x="6826348" y="3939641"/>
                </a:lnTo>
                <a:lnTo>
                  <a:pt x="6823960" y="3940400"/>
                </a:lnTo>
                <a:lnTo>
                  <a:pt x="6821681" y="3946138"/>
                </a:lnTo>
                <a:lnTo>
                  <a:pt x="6815387" y="3950469"/>
                </a:lnTo>
                <a:lnTo>
                  <a:pt x="6810070" y="3949061"/>
                </a:lnTo>
                <a:lnTo>
                  <a:pt x="6804861" y="3954042"/>
                </a:lnTo>
                <a:lnTo>
                  <a:pt x="6803233" y="3953393"/>
                </a:lnTo>
                <a:lnTo>
                  <a:pt x="6803776" y="3949386"/>
                </a:lnTo>
                <a:lnTo>
                  <a:pt x="6794335" y="3949386"/>
                </a:lnTo>
                <a:lnTo>
                  <a:pt x="6790537" y="3951877"/>
                </a:lnTo>
                <a:lnTo>
                  <a:pt x="6788366" y="3949386"/>
                </a:lnTo>
                <a:lnTo>
                  <a:pt x="6784568" y="3951335"/>
                </a:lnTo>
                <a:lnTo>
                  <a:pt x="6781747" y="3951335"/>
                </a:lnTo>
                <a:lnTo>
                  <a:pt x="6779902" y="3946355"/>
                </a:lnTo>
                <a:lnTo>
                  <a:pt x="6775019" y="3948087"/>
                </a:lnTo>
                <a:lnTo>
                  <a:pt x="6771220" y="3947762"/>
                </a:lnTo>
                <a:lnTo>
                  <a:pt x="6768834" y="3946138"/>
                </a:lnTo>
                <a:lnTo>
                  <a:pt x="6760695" y="3947979"/>
                </a:lnTo>
                <a:lnTo>
                  <a:pt x="6759067" y="3945380"/>
                </a:lnTo>
                <a:lnTo>
                  <a:pt x="6746480" y="3948087"/>
                </a:lnTo>
                <a:lnTo>
                  <a:pt x="6742138" y="3951010"/>
                </a:lnTo>
                <a:lnTo>
                  <a:pt x="6738883" y="3949061"/>
                </a:lnTo>
                <a:lnTo>
                  <a:pt x="6733783" y="3948304"/>
                </a:lnTo>
                <a:lnTo>
                  <a:pt x="6720543" y="3956424"/>
                </a:lnTo>
                <a:lnTo>
                  <a:pt x="6719350" y="3962162"/>
                </a:lnTo>
                <a:lnTo>
                  <a:pt x="6716962" y="3963461"/>
                </a:lnTo>
                <a:lnTo>
                  <a:pt x="6715009" y="3962595"/>
                </a:lnTo>
                <a:lnTo>
                  <a:pt x="6711211" y="3967792"/>
                </a:lnTo>
                <a:lnTo>
                  <a:pt x="6707521" y="3964002"/>
                </a:lnTo>
                <a:lnTo>
                  <a:pt x="6703941" y="3964002"/>
                </a:lnTo>
                <a:lnTo>
                  <a:pt x="6699383" y="3966493"/>
                </a:lnTo>
                <a:lnTo>
                  <a:pt x="6699383" y="3970716"/>
                </a:lnTo>
                <a:lnTo>
                  <a:pt x="6692330" y="3969741"/>
                </a:lnTo>
                <a:lnTo>
                  <a:pt x="6688422" y="3975696"/>
                </a:lnTo>
                <a:lnTo>
                  <a:pt x="6684733" y="3976453"/>
                </a:lnTo>
                <a:lnTo>
                  <a:pt x="6684082" y="3979377"/>
                </a:lnTo>
                <a:lnTo>
                  <a:pt x="6678114" y="3979918"/>
                </a:lnTo>
                <a:lnTo>
                  <a:pt x="6671169" y="3981109"/>
                </a:lnTo>
                <a:lnTo>
                  <a:pt x="6669758" y="3980026"/>
                </a:lnTo>
                <a:lnTo>
                  <a:pt x="6667045" y="3982192"/>
                </a:lnTo>
                <a:lnTo>
                  <a:pt x="6665417" y="3978836"/>
                </a:lnTo>
                <a:lnTo>
                  <a:pt x="6659231" y="3980026"/>
                </a:lnTo>
                <a:lnTo>
                  <a:pt x="6654023" y="3979377"/>
                </a:lnTo>
                <a:lnTo>
                  <a:pt x="6652612" y="3977320"/>
                </a:lnTo>
                <a:lnTo>
                  <a:pt x="6649899" y="3977861"/>
                </a:lnTo>
                <a:lnTo>
                  <a:pt x="6642954" y="3976779"/>
                </a:lnTo>
                <a:lnTo>
                  <a:pt x="6640675" y="3973964"/>
                </a:lnTo>
                <a:lnTo>
                  <a:pt x="6635358" y="3972989"/>
                </a:lnTo>
                <a:lnTo>
                  <a:pt x="6633622" y="3970824"/>
                </a:lnTo>
                <a:lnTo>
                  <a:pt x="6633731" y="3967034"/>
                </a:lnTo>
                <a:lnTo>
                  <a:pt x="6623638" y="3956749"/>
                </a:lnTo>
                <a:lnTo>
                  <a:pt x="6619948" y="3956640"/>
                </a:lnTo>
                <a:lnTo>
                  <a:pt x="6616802" y="3953717"/>
                </a:lnTo>
                <a:lnTo>
                  <a:pt x="6616368" y="3938884"/>
                </a:lnTo>
                <a:lnTo>
                  <a:pt x="6622337" y="3929898"/>
                </a:lnTo>
                <a:lnTo>
                  <a:pt x="6625809" y="3932929"/>
                </a:lnTo>
                <a:lnTo>
                  <a:pt x="6633622" y="3926974"/>
                </a:lnTo>
                <a:lnTo>
                  <a:pt x="6632646" y="3920802"/>
                </a:lnTo>
                <a:lnTo>
                  <a:pt x="6636877" y="3917771"/>
                </a:lnTo>
                <a:lnTo>
                  <a:pt x="6638071" y="3911492"/>
                </a:lnTo>
                <a:lnTo>
                  <a:pt x="6636877" y="3908460"/>
                </a:lnTo>
                <a:lnTo>
                  <a:pt x="6641001" y="3904671"/>
                </a:lnTo>
                <a:lnTo>
                  <a:pt x="6641869" y="3894168"/>
                </a:lnTo>
                <a:lnTo>
                  <a:pt x="6643497" y="3887888"/>
                </a:lnTo>
                <a:lnTo>
                  <a:pt x="6641218" y="3885290"/>
                </a:lnTo>
                <a:lnTo>
                  <a:pt x="6645667" y="3882042"/>
                </a:lnTo>
                <a:lnTo>
                  <a:pt x="6645559" y="3876303"/>
                </a:lnTo>
                <a:lnTo>
                  <a:pt x="6640458" y="3864610"/>
                </a:lnTo>
                <a:lnTo>
                  <a:pt x="6640675" y="3856274"/>
                </a:lnTo>
                <a:lnTo>
                  <a:pt x="6638071" y="3848911"/>
                </a:lnTo>
                <a:lnTo>
                  <a:pt x="6639156" y="3845230"/>
                </a:lnTo>
                <a:lnTo>
                  <a:pt x="6638505" y="3818595"/>
                </a:lnTo>
                <a:lnTo>
                  <a:pt x="6641001" y="3812207"/>
                </a:lnTo>
                <a:lnTo>
                  <a:pt x="6633731" y="3794343"/>
                </a:lnTo>
                <a:lnTo>
                  <a:pt x="6631235" y="3780809"/>
                </a:lnTo>
                <a:lnTo>
                  <a:pt x="6627762" y="3776369"/>
                </a:lnTo>
                <a:lnTo>
                  <a:pt x="6628739" y="3752117"/>
                </a:lnTo>
                <a:lnTo>
                  <a:pt x="6623855" y="3738583"/>
                </a:lnTo>
                <a:lnTo>
                  <a:pt x="6615499" y="3728298"/>
                </a:lnTo>
                <a:lnTo>
                  <a:pt x="6611376" y="3720394"/>
                </a:lnTo>
                <a:lnTo>
                  <a:pt x="6614089" y="3718986"/>
                </a:lnTo>
                <a:lnTo>
                  <a:pt x="6616259" y="3715305"/>
                </a:lnTo>
                <a:lnTo>
                  <a:pt x="6617453" y="3723859"/>
                </a:lnTo>
                <a:lnTo>
                  <a:pt x="6622878" y="3731004"/>
                </a:lnTo>
                <a:lnTo>
                  <a:pt x="6629607" y="3729921"/>
                </a:lnTo>
                <a:lnTo>
                  <a:pt x="6625049" y="3720935"/>
                </a:lnTo>
                <a:lnTo>
                  <a:pt x="6618538" y="3714439"/>
                </a:lnTo>
                <a:lnTo>
                  <a:pt x="6617453" y="3703937"/>
                </a:lnTo>
                <a:lnTo>
                  <a:pt x="6620600" y="3698740"/>
                </a:lnTo>
                <a:lnTo>
                  <a:pt x="6625483" y="3709242"/>
                </a:lnTo>
                <a:lnTo>
                  <a:pt x="6625049" y="3716821"/>
                </a:lnTo>
                <a:lnTo>
                  <a:pt x="6626569" y="3718445"/>
                </a:lnTo>
                <a:lnTo>
                  <a:pt x="6629607" y="3713897"/>
                </a:lnTo>
                <a:lnTo>
                  <a:pt x="6629933" y="3722235"/>
                </a:lnTo>
                <a:lnTo>
                  <a:pt x="6632102" y="3726024"/>
                </a:lnTo>
                <a:lnTo>
                  <a:pt x="6637203" y="3723967"/>
                </a:lnTo>
                <a:lnTo>
                  <a:pt x="6635358" y="3717687"/>
                </a:lnTo>
                <a:lnTo>
                  <a:pt x="6638505" y="3710649"/>
                </a:lnTo>
                <a:lnTo>
                  <a:pt x="6635032" y="3706643"/>
                </a:lnTo>
                <a:lnTo>
                  <a:pt x="6634708" y="3701230"/>
                </a:lnTo>
                <a:lnTo>
                  <a:pt x="6626351" y="3687154"/>
                </a:lnTo>
                <a:lnTo>
                  <a:pt x="6627653" y="3675786"/>
                </a:lnTo>
                <a:lnTo>
                  <a:pt x="6625049" y="3667666"/>
                </a:lnTo>
                <a:lnTo>
                  <a:pt x="6628739" y="3651967"/>
                </a:lnTo>
                <a:lnTo>
                  <a:pt x="6637962" y="3640490"/>
                </a:lnTo>
                <a:lnTo>
                  <a:pt x="6637528" y="3629446"/>
                </a:lnTo>
                <a:lnTo>
                  <a:pt x="6640133" y="3623492"/>
                </a:lnTo>
                <a:lnTo>
                  <a:pt x="6636444" y="3616238"/>
                </a:lnTo>
                <a:lnTo>
                  <a:pt x="6641869" y="3605951"/>
                </a:lnTo>
                <a:lnTo>
                  <a:pt x="6643714" y="3598914"/>
                </a:lnTo>
                <a:lnTo>
                  <a:pt x="6651310" y="3593176"/>
                </a:lnTo>
                <a:lnTo>
                  <a:pt x="6651528" y="3597506"/>
                </a:lnTo>
                <a:lnTo>
                  <a:pt x="6648923" y="3603461"/>
                </a:lnTo>
                <a:lnTo>
                  <a:pt x="6649683" y="3607251"/>
                </a:lnTo>
                <a:lnTo>
                  <a:pt x="6647838" y="3609958"/>
                </a:lnTo>
                <a:lnTo>
                  <a:pt x="6651636" y="3612448"/>
                </a:lnTo>
                <a:lnTo>
                  <a:pt x="6657062" y="3607792"/>
                </a:lnTo>
                <a:lnTo>
                  <a:pt x="6657278" y="3600214"/>
                </a:lnTo>
                <a:lnTo>
                  <a:pt x="6663247" y="3591877"/>
                </a:lnTo>
                <a:lnTo>
                  <a:pt x="6676812" y="3587762"/>
                </a:lnTo>
                <a:lnTo>
                  <a:pt x="6687121" y="3582890"/>
                </a:lnTo>
                <a:lnTo>
                  <a:pt x="6695043" y="3575853"/>
                </a:lnTo>
                <a:lnTo>
                  <a:pt x="6697756" y="3575853"/>
                </a:lnTo>
                <a:lnTo>
                  <a:pt x="6698623" y="3573687"/>
                </a:lnTo>
                <a:lnTo>
                  <a:pt x="6708824" y="3571847"/>
                </a:lnTo>
                <a:lnTo>
                  <a:pt x="6712622" y="3566108"/>
                </a:lnTo>
                <a:lnTo>
                  <a:pt x="6716637" y="3564159"/>
                </a:lnTo>
                <a:lnTo>
                  <a:pt x="6718048" y="3566866"/>
                </a:lnTo>
                <a:lnTo>
                  <a:pt x="6721846" y="3566433"/>
                </a:lnTo>
                <a:lnTo>
                  <a:pt x="6725861" y="3568057"/>
                </a:lnTo>
                <a:lnTo>
                  <a:pt x="6733240" y="3568057"/>
                </a:lnTo>
                <a:lnTo>
                  <a:pt x="6743007" y="3564159"/>
                </a:lnTo>
                <a:lnTo>
                  <a:pt x="6744309" y="3559937"/>
                </a:lnTo>
                <a:lnTo>
                  <a:pt x="6748216" y="3557663"/>
                </a:lnTo>
                <a:lnTo>
                  <a:pt x="6763733" y="3558204"/>
                </a:lnTo>
                <a:lnTo>
                  <a:pt x="6768725" y="3555823"/>
                </a:lnTo>
                <a:lnTo>
                  <a:pt x="6769593" y="3551492"/>
                </a:lnTo>
                <a:lnTo>
                  <a:pt x="6776972" y="3548568"/>
                </a:lnTo>
                <a:lnTo>
                  <a:pt x="6782832" y="3550084"/>
                </a:lnTo>
                <a:lnTo>
                  <a:pt x="6788584" y="3548568"/>
                </a:lnTo>
                <a:lnTo>
                  <a:pt x="6795854" y="3548027"/>
                </a:lnTo>
                <a:lnTo>
                  <a:pt x="6800738" y="3546295"/>
                </a:lnTo>
                <a:lnTo>
                  <a:pt x="6813217" y="3545212"/>
                </a:lnTo>
                <a:lnTo>
                  <a:pt x="6827432" y="3536658"/>
                </a:lnTo>
                <a:lnTo>
                  <a:pt x="6834920" y="3526373"/>
                </a:lnTo>
                <a:lnTo>
                  <a:pt x="6837959" y="3523558"/>
                </a:lnTo>
                <a:lnTo>
                  <a:pt x="6837741" y="3517386"/>
                </a:lnTo>
                <a:lnTo>
                  <a:pt x="6843385" y="3513813"/>
                </a:lnTo>
                <a:lnTo>
                  <a:pt x="6842842" y="3511107"/>
                </a:lnTo>
                <a:lnTo>
                  <a:pt x="6849353" y="3509266"/>
                </a:lnTo>
                <a:lnTo>
                  <a:pt x="6851848" y="3504611"/>
                </a:lnTo>
                <a:lnTo>
                  <a:pt x="6856190" y="3502229"/>
                </a:lnTo>
                <a:lnTo>
                  <a:pt x="6856190" y="3497897"/>
                </a:lnTo>
                <a:lnTo>
                  <a:pt x="6853910" y="3496707"/>
                </a:lnTo>
                <a:lnTo>
                  <a:pt x="6853910" y="3484256"/>
                </a:lnTo>
                <a:lnTo>
                  <a:pt x="6852934" y="3478084"/>
                </a:lnTo>
                <a:lnTo>
                  <a:pt x="6856949" y="3474620"/>
                </a:lnTo>
                <a:lnTo>
                  <a:pt x="6859662" y="3471046"/>
                </a:lnTo>
                <a:lnTo>
                  <a:pt x="6864328" y="3471371"/>
                </a:lnTo>
                <a:lnTo>
                  <a:pt x="6864871" y="3468665"/>
                </a:lnTo>
                <a:lnTo>
                  <a:pt x="6868669" y="3467799"/>
                </a:lnTo>
                <a:lnTo>
                  <a:pt x="6869971" y="3461411"/>
                </a:lnTo>
                <a:lnTo>
                  <a:pt x="6875071" y="3457729"/>
                </a:lnTo>
                <a:lnTo>
                  <a:pt x="6876808" y="3455022"/>
                </a:lnTo>
                <a:lnTo>
                  <a:pt x="6875614" y="3460761"/>
                </a:lnTo>
                <a:lnTo>
                  <a:pt x="6878326" y="3464550"/>
                </a:lnTo>
                <a:lnTo>
                  <a:pt x="6883319" y="3474403"/>
                </a:lnTo>
                <a:lnTo>
                  <a:pt x="6890915" y="3490644"/>
                </a:lnTo>
                <a:lnTo>
                  <a:pt x="6891674" y="3484689"/>
                </a:lnTo>
                <a:lnTo>
                  <a:pt x="6893628" y="3479383"/>
                </a:lnTo>
                <a:lnTo>
                  <a:pt x="6892760" y="3474295"/>
                </a:lnTo>
                <a:lnTo>
                  <a:pt x="6895255" y="3474295"/>
                </a:lnTo>
                <a:lnTo>
                  <a:pt x="6897209" y="3476136"/>
                </a:lnTo>
                <a:lnTo>
                  <a:pt x="6897426" y="3471696"/>
                </a:lnTo>
                <a:lnTo>
                  <a:pt x="6899596" y="3467799"/>
                </a:lnTo>
                <a:lnTo>
                  <a:pt x="6894713" y="3468015"/>
                </a:lnTo>
                <a:lnTo>
                  <a:pt x="6889830" y="3463576"/>
                </a:lnTo>
                <a:lnTo>
                  <a:pt x="6892434" y="3458920"/>
                </a:lnTo>
                <a:lnTo>
                  <a:pt x="6894604" y="3457838"/>
                </a:lnTo>
                <a:lnTo>
                  <a:pt x="6888636" y="3453724"/>
                </a:lnTo>
                <a:lnTo>
                  <a:pt x="6891891" y="3451016"/>
                </a:lnTo>
                <a:lnTo>
                  <a:pt x="6896340" y="3453832"/>
                </a:lnTo>
                <a:lnTo>
                  <a:pt x="6897968" y="3457297"/>
                </a:lnTo>
                <a:lnTo>
                  <a:pt x="6901658" y="3454265"/>
                </a:lnTo>
                <a:lnTo>
                  <a:pt x="6905456" y="3456755"/>
                </a:lnTo>
                <a:lnTo>
                  <a:pt x="6907952" y="3460220"/>
                </a:lnTo>
                <a:lnTo>
                  <a:pt x="6912510" y="3461302"/>
                </a:lnTo>
                <a:lnTo>
                  <a:pt x="6913595" y="3459137"/>
                </a:lnTo>
                <a:lnTo>
                  <a:pt x="6918804" y="3456430"/>
                </a:lnTo>
                <a:lnTo>
                  <a:pt x="6910448" y="3455022"/>
                </a:lnTo>
                <a:lnTo>
                  <a:pt x="6912943" y="3451666"/>
                </a:lnTo>
                <a:lnTo>
                  <a:pt x="6916958" y="3449717"/>
                </a:lnTo>
                <a:lnTo>
                  <a:pt x="6914680" y="3446361"/>
                </a:lnTo>
                <a:lnTo>
                  <a:pt x="6918044" y="3441597"/>
                </a:lnTo>
                <a:lnTo>
                  <a:pt x="6915222" y="3442571"/>
                </a:lnTo>
                <a:lnTo>
                  <a:pt x="6914789" y="3439540"/>
                </a:lnTo>
                <a:lnTo>
                  <a:pt x="6913920" y="3436292"/>
                </a:lnTo>
                <a:lnTo>
                  <a:pt x="6912943" y="3432827"/>
                </a:lnTo>
                <a:lnTo>
                  <a:pt x="6917718" y="3432069"/>
                </a:lnTo>
                <a:lnTo>
                  <a:pt x="6921733" y="3427522"/>
                </a:lnTo>
                <a:lnTo>
                  <a:pt x="6926400" y="3433151"/>
                </a:lnTo>
                <a:lnTo>
                  <a:pt x="6929656" y="3432394"/>
                </a:lnTo>
                <a:lnTo>
                  <a:pt x="6931934" y="3428605"/>
                </a:lnTo>
                <a:lnTo>
                  <a:pt x="6925314" y="3427738"/>
                </a:lnTo>
                <a:lnTo>
                  <a:pt x="6924230" y="3424274"/>
                </a:lnTo>
                <a:lnTo>
                  <a:pt x="6929872" y="3420485"/>
                </a:lnTo>
                <a:lnTo>
                  <a:pt x="6934539" y="3422974"/>
                </a:lnTo>
                <a:lnTo>
                  <a:pt x="6940616" y="3417886"/>
                </a:lnTo>
                <a:lnTo>
                  <a:pt x="6933345" y="3415829"/>
                </a:lnTo>
                <a:lnTo>
                  <a:pt x="6934213" y="3410523"/>
                </a:lnTo>
                <a:lnTo>
                  <a:pt x="6936383" y="3407708"/>
                </a:lnTo>
                <a:lnTo>
                  <a:pt x="6941375" y="3406409"/>
                </a:lnTo>
                <a:lnTo>
                  <a:pt x="6943220" y="3401320"/>
                </a:lnTo>
                <a:lnTo>
                  <a:pt x="6946800" y="3401212"/>
                </a:lnTo>
                <a:lnTo>
                  <a:pt x="6943437" y="3405110"/>
                </a:lnTo>
                <a:lnTo>
                  <a:pt x="6944305" y="3407708"/>
                </a:lnTo>
                <a:lnTo>
                  <a:pt x="6947018" y="3407816"/>
                </a:lnTo>
                <a:lnTo>
                  <a:pt x="6949189" y="3411281"/>
                </a:lnTo>
                <a:lnTo>
                  <a:pt x="6954072" y="3408358"/>
                </a:lnTo>
                <a:lnTo>
                  <a:pt x="6952443" y="3405543"/>
                </a:lnTo>
                <a:lnTo>
                  <a:pt x="6954072" y="3400671"/>
                </a:lnTo>
                <a:lnTo>
                  <a:pt x="6958738" y="3397206"/>
                </a:lnTo>
                <a:lnTo>
                  <a:pt x="6955374" y="3395257"/>
                </a:lnTo>
                <a:lnTo>
                  <a:pt x="6956025" y="3391251"/>
                </a:lnTo>
                <a:lnTo>
                  <a:pt x="6958738" y="3392009"/>
                </a:lnTo>
                <a:lnTo>
                  <a:pt x="6961993" y="3398830"/>
                </a:lnTo>
                <a:lnTo>
                  <a:pt x="6963078" y="3395907"/>
                </a:lnTo>
                <a:lnTo>
                  <a:pt x="6967419" y="3394716"/>
                </a:lnTo>
                <a:lnTo>
                  <a:pt x="6966334" y="3397423"/>
                </a:lnTo>
                <a:lnTo>
                  <a:pt x="6969589" y="3397964"/>
                </a:lnTo>
                <a:lnTo>
                  <a:pt x="6972845" y="3393092"/>
                </a:lnTo>
                <a:lnTo>
                  <a:pt x="6975558" y="3392117"/>
                </a:lnTo>
                <a:lnTo>
                  <a:pt x="6973278" y="3389843"/>
                </a:lnTo>
                <a:lnTo>
                  <a:pt x="6976100" y="3388003"/>
                </a:lnTo>
                <a:lnTo>
                  <a:pt x="6980658" y="3390926"/>
                </a:lnTo>
                <a:lnTo>
                  <a:pt x="6987386" y="3392551"/>
                </a:lnTo>
                <a:lnTo>
                  <a:pt x="6990967" y="3397964"/>
                </a:lnTo>
                <a:lnTo>
                  <a:pt x="6997804" y="3410415"/>
                </a:lnTo>
                <a:lnTo>
                  <a:pt x="7001819" y="3410957"/>
                </a:lnTo>
                <a:lnTo>
                  <a:pt x="7004206" y="3413988"/>
                </a:lnTo>
                <a:lnTo>
                  <a:pt x="7000408" y="3418643"/>
                </a:lnTo>
                <a:lnTo>
                  <a:pt x="7000734" y="3426114"/>
                </a:lnTo>
                <a:lnTo>
                  <a:pt x="6997044" y="3430987"/>
                </a:lnTo>
                <a:lnTo>
                  <a:pt x="6991618" y="3433477"/>
                </a:lnTo>
                <a:lnTo>
                  <a:pt x="6998563" y="3432177"/>
                </a:lnTo>
                <a:lnTo>
                  <a:pt x="7003229" y="3429471"/>
                </a:lnTo>
                <a:lnTo>
                  <a:pt x="7003229" y="3427197"/>
                </a:lnTo>
                <a:lnTo>
                  <a:pt x="7005617" y="3426655"/>
                </a:lnTo>
                <a:lnTo>
                  <a:pt x="7006268" y="3428605"/>
                </a:lnTo>
                <a:lnTo>
                  <a:pt x="7007244" y="3425898"/>
                </a:lnTo>
                <a:lnTo>
                  <a:pt x="7003772" y="3421351"/>
                </a:lnTo>
                <a:lnTo>
                  <a:pt x="7005942" y="3418535"/>
                </a:lnTo>
                <a:lnTo>
                  <a:pt x="7007895" y="3418535"/>
                </a:lnTo>
                <a:lnTo>
                  <a:pt x="7010501" y="3420700"/>
                </a:lnTo>
                <a:lnTo>
                  <a:pt x="7012996" y="3418102"/>
                </a:lnTo>
                <a:lnTo>
                  <a:pt x="7010608" y="3415396"/>
                </a:lnTo>
                <a:lnTo>
                  <a:pt x="7018096" y="3413988"/>
                </a:lnTo>
                <a:lnTo>
                  <a:pt x="7028188" y="3420485"/>
                </a:lnTo>
                <a:lnTo>
                  <a:pt x="7028731" y="3424274"/>
                </a:lnTo>
                <a:lnTo>
                  <a:pt x="7030575" y="3421026"/>
                </a:lnTo>
                <a:lnTo>
                  <a:pt x="7030684" y="3418102"/>
                </a:lnTo>
                <a:lnTo>
                  <a:pt x="7035242" y="3418643"/>
                </a:lnTo>
                <a:lnTo>
                  <a:pt x="7039040" y="3425681"/>
                </a:lnTo>
                <a:lnTo>
                  <a:pt x="7045225" y="3430661"/>
                </a:lnTo>
                <a:lnTo>
                  <a:pt x="7041102" y="3425031"/>
                </a:lnTo>
                <a:lnTo>
                  <a:pt x="7041210" y="3419835"/>
                </a:lnTo>
                <a:lnTo>
                  <a:pt x="7037195" y="3416695"/>
                </a:lnTo>
                <a:lnTo>
                  <a:pt x="7037086" y="3413771"/>
                </a:lnTo>
                <a:lnTo>
                  <a:pt x="7039040" y="3416695"/>
                </a:lnTo>
                <a:lnTo>
                  <a:pt x="7045225" y="3417453"/>
                </a:lnTo>
                <a:lnTo>
                  <a:pt x="7049024" y="3415829"/>
                </a:lnTo>
                <a:lnTo>
                  <a:pt x="7039257" y="3412580"/>
                </a:lnTo>
                <a:lnTo>
                  <a:pt x="7041102" y="3409116"/>
                </a:lnTo>
                <a:lnTo>
                  <a:pt x="7044141" y="3408249"/>
                </a:lnTo>
                <a:lnTo>
                  <a:pt x="7036002" y="3406733"/>
                </a:lnTo>
                <a:lnTo>
                  <a:pt x="7032746" y="3403378"/>
                </a:lnTo>
                <a:lnTo>
                  <a:pt x="7036544" y="3400996"/>
                </a:lnTo>
                <a:lnTo>
                  <a:pt x="7037955" y="3394716"/>
                </a:lnTo>
                <a:lnTo>
                  <a:pt x="7041102" y="3393741"/>
                </a:lnTo>
                <a:lnTo>
                  <a:pt x="7044791" y="3386162"/>
                </a:lnTo>
                <a:lnTo>
                  <a:pt x="7049024" y="3379558"/>
                </a:lnTo>
                <a:lnTo>
                  <a:pt x="7053147" y="3379558"/>
                </a:lnTo>
                <a:lnTo>
                  <a:pt x="7056620" y="3376635"/>
                </a:lnTo>
                <a:lnTo>
                  <a:pt x="7060852" y="3379017"/>
                </a:lnTo>
                <a:lnTo>
                  <a:pt x="7059875" y="3376418"/>
                </a:lnTo>
                <a:lnTo>
                  <a:pt x="7056294" y="3372629"/>
                </a:lnTo>
                <a:lnTo>
                  <a:pt x="7055860" y="3369706"/>
                </a:lnTo>
                <a:lnTo>
                  <a:pt x="7059875" y="3367431"/>
                </a:lnTo>
                <a:lnTo>
                  <a:pt x="7062371" y="3366133"/>
                </a:lnTo>
                <a:lnTo>
                  <a:pt x="7060092" y="3363643"/>
                </a:lnTo>
                <a:lnTo>
                  <a:pt x="7063131" y="3360611"/>
                </a:lnTo>
                <a:lnTo>
                  <a:pt x="7069099" y="3362451"/>
                </a:lnTo>
                <a:lnTo>
                  <a:pt x="7069425" y="3360394"/>
                </a:lnTo>
                <a:lnTo>
                  <a:pt x="7067254" y="3357362"/>
                </a:lnTo>
                <a:lnTo>
                  <a:pt x="7069425" y="3354115"/>
                </a:lnTo>
                <a:lnTo>
                  <a:pt x="7075068" y="3355847"/>
                </a:lnTo>
                <a:lnTo>
                  <a:pt x="7076695" y="3358229"/>
                </a:lnTo>
                <a:lnTo>
                  <a:pt x="7075285" y="3351949"/>
                </a:lnTo>
                <a:lnTo>
                  <a:pt x="7079734" y="3352815"/>
                </a:lnTo>
                <a:lnTo>
                  <a:pt x="7079191" y="3348376"/>
                </a:lnTo>
                <a:lnTo>
                  <a:pt x="7084617" y="3346319"/>
                </a:lnTo>
                <a:lnTo>
                  <a:pt x="7085377" y="3344370"/>
                </a:lnTo>
                <a:lnTo>
                  <a:pt x="7090585" y="3348917"/>
                </a:lnTo>
                <a:lnTo>
                  <a:pt x="7104367" y="3348160"/>
                </a:lnTo>
                <a:lnTo>
                  <a:pt x="7108166" y="3345670"/>
                </a:lnTo>
                <a:lnTo>
                  <a:pt x="7111746" y="3346752"/>
                </a:lnTo>
                <a:lnTo>
                  <a:pt x="7113374" y="3349892"/>
                </a:lnTo>
                <a:lnTo>
                  <a:pt x="7115218" y="3344587"/>
                </a:lnTo>
                <a:lnTo>
                  <a:pt x="7120102" y="3344154"/>
                </a:lnTo>
                <a:lnTo>
                  <a:pt x="7118691" y="3336574"/>
                </a:lnTo>
                <a:lnTo>
                  <a:pt x="7119125" y="3333326"/>
                </a:lnTo>
                <a:lnTo>
                  <a:pt x="7112288" y="3327588"/>
                </a:lnTo>
                <a:lnTo>
                  <a:pt x="7108273" y="3329320"/>
                </a:lnTo>
                <a:lnTo>
                  <a:pt x="7103824" y="3328238"/>
                </a:lnTo>
                <a:lnTo>
                  <a:pt x="7105235" y="3327047"/>
                </a:lnTo>
                <a:lnTo>
                  <a:pt x="7100569" y="3323366"/>
                </a:lnTo>
                <a:lnTo>
                  <a:pt x="7104584" y="3320334"/>
                </a:lnTo>
                <a:lnTo>
                  <a:pt x="7107840" y="3322716"/>
                </a:lnTo>
                <a:lnTo>
                  <a:pt x="7108708" y="3320875"/>
                </a:lnTo>
                <a:lnTo>
                  <a:pt x="7115001" y="3324556"/>
                </a:lnTo>
                <a:lnTo>
                  <a:pt x="7119017" y="3325964"/>
                </a:lnTo>
                <a:lnTo>
                  <a:pt x="7120861" y="3330295"/>
                </a:lnTo>
                <a:lnTo>
                  <a:pt x="7128023" y="3328129"/>
                </a:lnTo>
                <a:lnTo>
                  <a:pt x="7127481" y="3326072"/>
                </a:lnTo>
                <a:lnTo>
                  <a:pt x="7129652" y="3325531"/>
                </a:lnTo>
                <a:lnTo>
                  <a:pt x="7133233" y="3330078"/>
                </a:lnTo>
                <a:lnTo>
                  <a:pt x="7132907" y="3333543"/>
                </a:lnTo>
                <a:lnTo>
                  <a:pt x="7138116" y="3335925"/>
                </a:lnTo>
                <a:lnTo>
                  <a:pt x="7143976" y="3336791"/>
                </a:lnTo>
                <a:lnTo>
                  <a:pt x="7149402" y="3334193"/>
                </a:lnTo>
                <a:lnTo>
                  <a:pt x="7152115" y="3339282"/>
                </a:lnTo>
                <a:lnTo>
                  <a:pt x="7154285" y="3339823"/>
                </a:lnTo>
                <a:lnTo>
                  <a:pt x="7156130" y="3343287"/>
                </a:lnTo>
                <a:lnTo>
                  <a:pt x="7158408" y="3341772"/>
                </a:lnTo>
                <a:lnTo>
                  <a:pt x="7162424" y="3343503"/>
                </a:lnTo>
                <a:lnTo>
                  <a:pt x="7167958" y="3340364"/>
                </a:lnTo>
                <a:lnTo>
                  <a:pt x="7170019" y="3340905"/>
                </a:lnTo>
                <a:lnTo>
                  <a:pt x="7173601" y="3345994"/>
                </a:lnTo>
                <a:lnTo>
                  <a:pt x="7173818" y="3348160"/>
                </a:lnTo>
                <a:lnTo>
                  <a:pt x="7178376" y="3348484"/>
                </a:lnTo>
                <a:lnTo>
                  <a:pt x="7179786" y="3350433"/>
                </a:lnTo>
                <a:lnTo>
                  <a:pt x="7182608" y="3349892"/>
                </a:lnTo>
                <a:lnTo>
                  <a:pt x="7183367" y="3347943"/>
                </a:lnTo>
                <a:lnTo>
                  <a:pt x="7188794" y="3346211"/>
                </a:lnTo>
                <a:lnTo>
                  <a:pt x="7191288" y="3343287"/>
                </a:lnTo>
                <a:lnTo>
                  <a:pt x="7194761" y="3341772"/>
                </a:lnTo>
                <a:lnTo>
                  <a:pt x="7193676" y="3344154"/>
                </a:lnTo>
                <a:lnTo>
                  <a:pt x="7190963" y="3347077"/>
                </a:lnTo>
                <a:lnTo>
                  <a:pt x="7190747" y="3350109"/>
                </a:lnTo>
                <a:lnTo>
                  <a:pt x="7194001" y="3349242"/>
                </a:lnTo>
                <a:lnTo>
                  <a:pt x="7195737" y="3346211"/>
                </a:lnTo>
                <a:lnTo>
                  <a:pt x="7197692" y="3348917"/>
                </a:lnTo>
                <a:lnTo>
                  <a:pt x="7198559" y="3351733"/>
                </a:lnTo>
                <a:lnTo>
                  <a:pt x="7202358" y="3354115"/>
                </a:lnTo>
                <a:lnTo>
                  <a:pt x="7206372" y="3352166"/>
                </a:lnTo>
                <a:lnTo>
                  <a:pt x="7206372" y="3348917"/>
                </a:lnTo>
                <a:lnTo>
                  <a:pt x="7203442" y="3347618"/>
                </a:lnTo>
                <a:lnTo>
                  <a:pt x="7209085" y="3340905"/>
                </a:lnTo>
                <a:lnTo>
                  <a:pt x="7213101" y="3339065"/>
                </a:lnTo>
                <a:lnTo>
                  <a:pt x="7213752" y="3347185"/>
                </a:lnTo>
                <a:lnTo>
                  <a:pt x="7216790" y="3348484"/>
                </a:lnTo>
                <a:lnTo>
                  <a:pt x="7219938" y="3344911"/>
                </a:lnTo>
                <a:lnTo>
                  <a:pt x="7224821" y="3347185"/>
                </a:lnTo>
                <a:lnTo>
                  <a:pt x="7224604" y="3349567"/>
                </a:lnTo>
                <a:lnTo>
                  <a:pt x="7221348" y="3353897"/>
                </a:lnTo>
                <a:lnTo>
                  <a:pt x="7218309" y="3355522"/>
                </a:lnTo>
                <a:lnTo>
                  <a:pt x="7215922" y="3363643"/>
                </a:lnTo>
                <a:lnTo>
                  <a:pt x="7212450" y="3362776"/>
                </a:lnTo>
                <a:lnTo>
                  <a:pt x="7209194" y="3365266"/>
                </a:lnTo>
                <a:lnTo>
                  <a:pt x="7213426" y="3368731"/>
                </a:lnTo>
                <a:lnTo>
                  <a:pt x="7211364" y="3374145"/>
                </a:lnTo>
                <a:lnTo>
                  <a:pt x="7205504" y="3376851"/>
                </a:lnTo>
                <a:lnTo>
                  <a:pt x="7201056" y="3375985"/>
                </a:lnTo>
                <a:lnTo>
                  <a:pt x="7199862" y="3374145"/>
                </a:lnTo>
                <a:lnTo>
                  <a:pt x="7196932" y="3375444"/>
                </a:lnTo>
                <a:lnTo>
                  <a:pt x="7194436" y="3375227"/>
                </a:lnTo>
                <a:lnTo>
                  <a:pt x="7195304" y="3380315"/>
                </a:lnTo>
                <a:lnTo>
                  <a:pt x="7190421" y="3383564"/>
                </a:lnTo>
                <a:lnTo>
                  <a:pt x="7193893" y="3389952"/>
                </a:lnTo>
                <a:lnTo>
                  <a:pt x="7198017" y="3386920"/>
                </a:lnTo>
                <a:lnTo>
                  <a:pt x="7196064" y="3391251"/>
                </a:lnTo>
                <a:lnTo>
                  <a:pt x="7194544" y="3397964"/>
                </a:lnTo>
                <a:lnTo>
                  <a:pt x="7189878" y="3401212"/>
                </a:lnTo>
                <a:lnTo>
                  <a:pt x="7188794" y="3406951"/>
                </a:lnTo>
                <a:lnTo>
                  <a:pt x="7184235" y="3414204"/>
                </a:lnTo>
                <a:lnTo>
                  <a:pt x="7184452" y="3420159"/>
                </a:lnTo>
                <a:lnTo>
                  <a:pt x="7189661" y="3426222"/>
                </a:lnTo>
                <a:lnTo>
                  <a:pt x="7193676" y="3426764"/>
                </a:lnTo>
                <a:lnTo>
                  <a:pt x="7199862" y="3433151"/>
                </a:lnTo>
                <a:lnTo>
                  <a:pt x="7200947" y="3437808"/>
                </a:lnTo>
                <a:lnTo>
                  <a:pt x="7206915" y="3442680"/>
                </a:lnTo>
                <a:lnTo>
                  <a:pt x="7205613" y="3444628"/>
                </a:lnTo>
                <a:lnTo>
                  <a:pt x="7209953" y="3445711"/>
                </a:lnTo>
                <a:lnTo>
                  <a:pt x="7215163" y="3445603"/>
                </a:lnTo>
                <a:lnTo>
                  <a:pt x="7217876" y="3447769"/>
                </a:lnTo>
                <a:lnTo>
                  <a:pt x="7221022" y="3448093"/>
                </a:lnTo>
                <a:lnTo>
                  <a:pt x="7221348" y="3451125"/>
                </a:lnTo>
                <a:lnTo>
                  <a:pt x="7226990" y="3454806"/>
                </a:lnTo>
                <a:lnTo>
                  <a:pt x="7233285" y="3455348"/>
                </a:lnTo>
                <a:lnTo>
                  <a:pt x="7238494" y="3461952"/>
                </a:lnTo>
                <a:lnTo>
                  <a:pt x="7239795" y="3465958"/>
                </a:lnTo>
                <a:lnTo>
                  <a:pt x="7246632" y="3470289"/>
                </a:lnTo>
                <a:lnTo>
                  <a:pt x="7254120" y="3470830"/>
                </a:lnTo>
                <a:lnTo>
                  <a:pt x="7258786" y="3472779"/>
                </a:lnTo>
                <a:lnTo>
                  <a:pt x="7264429" y="3473753"/>
                </a:lnTo>
                <a:lnTo>
                  <a:pt x="7265840" y="3478950"/>
                </a:lnTo>
                <a:lnTo>
                  <a:pt x="7267468" y="3481116"/>
                </a:lnTo>
                <a:lnTo>
                  <a:pt x="7267684" y="3484039"/>
                </a:lnTo>
                <a:lnTo>
                  <a:pt x="7273653" y="3488695"/>
                </a:lnTo>
                <a:lnTo>
                  <a:pt x="7276691" y="3492917"/>
                </a:lnTo>
                <a:lnTo>
                  <a:pt x="7282986" y="3493350"/>
                </a:lnTo>
                <a:lnTo>
                  <a:pt x="7289171" y="3497789"/>
                </a:lnTo>
                <a:lnTo>
                  <a:pt x="7304363" y="3491726"/>
                </a:lnTo>
                <a:lnTo>
                  <a:pt x="7311742" y="3486204"/>
                </a:lnTo>
                <a:lnTo>
                  <a:pt x="7312285" y="3477110"/>
                </a:lnTo>
                <a:lnTo>
                  <a:pt x="7316625" y="3472779"/>
                </a:lnTo>
                <a:lnTo>
                  <a:pt x="7319447" y="3465417"/>
                </a:lnTo>
                <a:lnTo>
                  <a:pt x="7317927" y="3460544"/>
                </a:lnTo>
                <a:lnTo>
                  <a:pt x="7322160" y="3455889"/>
                </a:lnTo>
                <a:lnTo>
                  <a:pt x="7323028" y="3442355"/>
                </a:lnTo>
                <a:lnTo>
                  <a:pt x="7327912" y="3433151"/>
                </a:lnTo>
                <a:lnTo>
                  <a:pt x="7327912" y="3429146"/>
                </a:lnTo>
                <a:lnTo>
                  <a:pt x="7332469" y="3425031"/>
                </a:lnTo>
                <a:lnTo>
                  <a:pt x="7332903" y="3417994"/>
                </a:lnTo>
                <a:lnTo>
                  <a:pt x="7330625" y="3411823"/>
                </a:lnTo>
                <a:lnTo>
                  <a:pt x="7332252" y="3403161"/>
                </a:lnTo>
                <a:lnTo>
                  <a:pt x="7330081" y="3395257"/>
                </a:lnTo>
                <a:lnTo>
                  <a:pt x="7332252" y="3383564"/>
                </a:lnTo>
                <a:lnTo>
                  <a:pt x="7334964" y="3381507"/>
                </a:lnTo>
                <a:lnTo>
                  <a:pt x="7338546" y="3383023"/>
                </a:lnTo>
                <a:lnTo>
                  <a:pt x="7338004" y="3379017"/>
                </a:lnTo>
                <a:lnTo>
                  <a:pt x="7334531" y="3373386"/>
                </a:lnTo>
                <a:lnTo>
                  <a:pt x="7337136" y="3368731"/>
                </a:lnTo>
                <a:lnTo>
                  <a:pt x="7339089" y="3363967"/>
                </a:lnTo>
                <a:lnTo>
                  <a:pt x="7342127" y="3364617"/>
                </a:lnTo>
                <a:lnTo>
                  <a:pt x="7345057" y="3362560"/>
                </a:lnTo>
                <a:lnTo>
                  <a:pt x="7340608" y="3358986"/>
                </a:lnTo>
                <a:lnTo>
                  <a:pt x="7336918" y="3355522"/>
                </a:lnTo>
                <a:lnTo>
                  <a:pt x="7341042" y="3349784"/>
                </a:lnTo>
                <a:lnTo>
                  <a:pt x="7344189" y="3341988"/>
                </a:lnTo>
                <a:lnTo>
                  <a:pt x="7346902" y="3342313"/>
                </a:lnTo>
                <a:lnTo>
                  <a:pt x="7347987" y="3337549"/>
                </a:lnTo>
                <a:lnTo>
                  <a:pt x="7347987" y="3335492"/>
                </a:lnTo>
                <a:lnTo>
                  <a:pt x="7350483" y="3328238"/>
                </a:lnTo>
                <a:lnTo>
                  <a:pt x="7350483" y="3319793"/>
                </a:lnTo>
                <a:lnTo>
                  <a:pt x="7353196" y="3316003"/>
                </a:lnTo>
                <a:close/>
                <a:moveTo>
                  <a:pt x="4796274" y="3313282"/>
                </a:moveTo>
                <a:lnTo>
                  <a:pt x="4797845" y="3313730"/>
                </a:lnTo>
                <a:lnTo>
                  <a:pt x="4800775" y="3315787"/>
                </a:lnTo>
                <a:lnTo>
                  <a:pt x="4801475" y="3315883"/>
                </a:lnTo>
                <a:lnTo>
                  <a:pt x="4800776" y="3315787"/>
                </a:lnTo>
                <a:lnTo>
                  <a:pt x="4797846" y="3313729"/>
                </a:lnTo>
                <a:close/>
                <a:moveTo>
                  <a:pt x="4540335" y="3311563"/>
                </a:moveTo>
                <a:lnTo>
                  <a:pt x="4541637" y="3313728"/>
                </a:lnTo>
                <a:lnTo>
                  <a:pt x="4542072" y="3317085"/>
                </a:lnTo>
                <a:lnTo>
                  <a:pt x="4541746" y="3318817"/>
                </a:lnTo>
                <a:lnTo>
                  <a:pt x="4543591" y="3318925"/>
                </a:lnTo>
                <a:lnTo>
                  <a:pt x="4548257" y="3321091"/>
                </a:lnTo>
                <a:lnTo>
                  <a:pt x="4543591" y="3318925"/>
                </a:lnTo>
                <a:lnTo>
                  <a:pt x="4541746" y="3318817"/>
                </a:lnTo>
                <a:lnTo>
                  <a:pt x="4542072" y="3317085"/>
                </a:lnTo>
                <a:lnTo>
                  <a:pt x="4541638" y="3313729"/>
                </a:lnTo>
                <a:close/>
                <a:moveTo>
                  <a:pt x="4794590" y="3310915"/>
                </a:moveTo>
                <a:lnTo>
                  <a:pt x="4794807" y="3312863"/>
                </a:lnTo>
                <a:lnTo>
                  <a:pt x="4794808" y="3312863"/>
                </a:lnTo>
                <a:lnTo>
                  <a:pt x="4794591" y="3310915"/>
                </a:lnTo>
                <a:close/>
                <a:moveTo>
                  <a:pt x="4971473" y="3309073"/>
                </a:moveTo>
                <a:lnTo>
                  <a:pt x="4974077" y="3309397"/>
                </a:lnTo>
                <a:lnTo>
                  <a:pt x="4976248" y="3314053"/>
                </a:lnTo>
                <a:lnTo>
                  <a:pt x="4974512" y="3316435"/>
                </a:lnTo>
                <a:lnTo>
                  <a:pt x="4976031" y="3321091"/>
                </a:lnTo>
                <a:lnTo>
                  <a:pt x="4974186" y="3323797"/>
                </a:lnTo>
                <a:lnTo>
                  <a:pt x="4971907" y="3324447"/>
                </a:lnTo>
                <a:lnTo>
                  <a:pt x="4969628" y="3323473"/>
                </a:lnTo>
                <a:lnTo>
                  <a:pt x="4968977" y="3318059"/>
                </a:lnTo>
                <a:lnTo>
                  <a:pt x="4967892" y="3314919"/>
                </a:lnTo>
                <a:close/>
                <a:moveTo>
                  <a:pt x="4532414" y="3308207"/>
                </a:moveTo>
                <a:lnTo>
                  <a:pt x="4530894" y="3309831"/>
                </a:lnTo>
                <a:lnTo>
                  <a:pt x="4529104" y="3309885"/>
                </a:lnTo>
                <a:lnTo>
                  <a:pt x="4530894" y="3309831"/>
                </a:lnTo>
                <a:close/>
                <a:moveTo>
                  <a:pt x="4852973" y="3308100"/>
                </a:moveTo>
                <a:lnTo>
                  <a:pt x="4856227" y="3310481"/>
                </a:lnTo>
                <a:lnTo>
                  <a:pt x="4856228" y="3310481"/>
                </a:lnTo>
                <a:close/>
                <a:moveTo>
                  <a:pt x="7349398" y="3306259"/>
                </a:moveTo>
                <a:lnTo>
                  <a:pt x="7352437" y="3306801"/>
                </a:lnTo>
                <a:lnTo>
                  <a:pt x="7354174" y="3310590"/>
                </a:lnTo>
                <a:lnTo>
                  <a:pt x="7351785" y="3310806"/>
                </a:lnTo>
                <a:lnTo>
                  <a:pt x="7349507" y="3312106"/>
                </a:lnTo>
                <a:close/>
                <a:moveTo>
                  <a:pt x="4467087" y="3306041"/>
                </a:moveTo>
                <a:lnTo>
                  <a:pt x="4467087" y="3306042"/>
                </a:lnTo>
                <a:lnTo>
                  <a:pt x="4467350" y="3306740"/>
                </a:lnTo>
                <a:close/>
                <a:moveTo>
                  <a:pt x="4475334" y="3304201"/>
                </a:moveTo>
                <a:lnTo>
                  <a:pt x="4474032" y="3305067"/>
                </a:lnTo>
                <a:lnTo>
                  <a:pt x="4471970" y="3305717"/>
                </a:lnTo>
                <a:lnTo>
                  <a:pt x="4470451" y="3307341"/>
                </a:lnTo>
                <a:lnTo>
                  <a:pt x="4467738" y="3307774"/>
                </a:lnTo>
                <a:lnTo>
                  <a:pt x="4467739" y="3307775"/>
                </a:lnTo>
                <a:lnTo>
                  <a:pt x="4470452" y="3307342"/>
                </a:lnTo>
                <a:lnTo>
                  <a:pt x="4471971" y="3305718"/>
                </a:lnTo>
                <a:lnTo>
                  <a:pt x="4474032" y="3305068"/>
                </a:lnTo>
                <a:lnTo>
                  <a:pt x="4475335" y="3304202"/>
                </a:lnTo>
                <a:lnTo>
                  <a:pt x="4477613" y="3304202"/>
                </a:lnTo>
                <a:lnTo>
                  <a:pt x="4480343" y="3306134"/>
                </a:lnTo>
                <a:lnTo>
                  <a:pt x="4477613" y="3304201"/>
                </a:lnTo>
                <a:close/>
                <a:moveTo>
                  <a:pt x="6896884" y="3303552"/>
                </a:moveTo>
                <a:lnTo>
                  <a:pt x="6898077" y="3306258"/>
                </a:lnTo>
                <a:lnTo>
                  <a:pt x="6896558" y="3310048"/>
                </a:lnTo>
                <a:lnTo>
                  <a:pt x="6885707" y="3314595"/>
                </a:lnTo>
                <a:lnTo>
                  <a:pt x="6882343" y="3313296"/>
                </a:lnTo>
                <a:lnTo>
                  <a:pt x="6885924" y="3310048"/>
                </a:lnTo>
                <a:lnTo>
                  <a:pt x="6893303" y="3306475"/>
                </a:lnTo>
                <a:lnTo>
                  <a:pt x="6892435" y="3305609"/>
                </a:lnTo>
                <a:close/>
                <a:moveTo>
                  <a:pt x="4509083" y="3302576"/>
                </a:moveTo>
                <a:lnTo>
                  <a:pt x="4504633" y="3303118"/>
                </a:lnTo>
                <a:lnTo>
                  <a:pt x="4500836" y="3304634"/>
                </a:lnTo>
                <a:lnTo>
                  <a:pt x="4496712" y="3306583"/>
                </a:lnTo>
                <a:lnTo>
                  <a:pt x="4494541" y="3307449"/>
                </a:lnTo>
                <a:lnTo>
                  <a:pt x="4491937" y="3308098"/>
                </a:lnTo>
                <a:lnTo>
                  <a:pt x="4489766" y="3307666"/>
                </a:lnTo>
                <a:lnTo>
                  <a:pt x="4483582" y="3307449"/>
                </a:lnTo>
                <a:lnTo>
                  <a:pt x="4480977" y="3306583"/>
                </a:lnTo>
                <a:lnTo>
                  <a:pt x="4480978" y="3306583"/>
                </a:lnTo>
                <a:lnTo>
                  <a:pt x="4483582" y="3307450"/>
                </a:lnTo>
                <a:lnTo>
                  <a:pt x="4489767" y="3307667"/>
                </a:lnTo>
                <a:lnTo>
                  <a:pt x="4491938" y="3308099"/>
                </a:lnTo>
                <a:lnTo>
                  <a:pt x="4494542" y="3307450"/>
                </a:lnTo>
                <a:lnTo>
                  <a:pt x="4496712" y="3306583"/>
                </a:lnTo>
                <a:lnTo>
                  <a:pt x="4500836" y="3304635"/>
                </a:lnTo>
                <a:lnTo>
                  <a:pt x="4504634" y="3303119"/>
                </a:lnTo>
                <a:lnTo>
                  <a:pt x="4509083" y="3302577"/>
                </a:lnTo>
                <a:close/>
                <a:moveTo>
                  <a:pt x="6861400" y="3302470"/>
                </a:moveTo>
                <a:lnTo>
                  <a:pt x="6864004" y="3304202"/>
                </a:lnTo>
                <a:lnTo>
                  <a:pt x="6864547" y="3306585"/>
                </a:lnTo>
                <a:lnTo>
                  <a:pt x="6861508" y="3308101"/>
                </a:lnTo>
                <a:lnTo>
                  <a:pt x="6857168" y="3307884"/>
                </a:lnTo>
                <a:lnTo>
                  <a:pt x="6859447" y="3303986"/>
                </a:lnTo>
                <a:close/>
                <a:moveTo>
                  <a:pt x="4616297" y="3302468"/>
                </a:moveTo>
                <a:lnTo>
                  <a:pt x="4616622" y="3315678"/>
                </a:lnTo>
                <a:lnTo>
                  <a:pt x="4616948" y="3321849"/>
                </a:lnTo>
                <a:lnTo>
                  <a:pt x="4618710" y="3323182"/>
                </a:lnTo>
                <a:lnTo>
                  <a:pt x="4616948" y="3321848"/>
                </a:lnTo>
                <a:lnTo>
                  <a:pt x="4616622" y="3315677"/>
                </a:lnTo>
                <a:close/>
                <a:moveTo>
                  <a:pt x="2397563" y="3298129"/>
                </a:moveTo>
                <a:lnTo>
                  <a:pt x="2397024" y="3299112"/>
                </a:lnTo>
                <a:lnTo>
                  <a:pt x="2400062" y="3310156"/>
                </a:lnTo>
                <a:lnTo>
                  <a:pt x="2398000" y="3314920"/>
                </a:lnTo>
                <a:lnTo>
                  <a:pt x="2402124" y="3323906"/>
                </a:lnTo>
                <a:lnTo>
                  <a:pt x="2407658" y="3326288"/>
                </a:lnTo>
                <a:lnTo>
                  <a:pt x="2409394" y="3333543"/>
                </a:lnTo>
                <a:lnTo>
                  <a:pt x="2414929" y="3336249"/>
                </a:lnTo>
                <a:lnTo>
                  <a:pt x="2422525" y="3341121"/>
                </a:lnTo>
                <a:lnTo>
                  <a:pt x="2427734" y="3345994"/>
                </a:lnTo>
                <a:lnTo>
                  <a:pt x="2429796" y="3343503"/>
                </a:lnTo>
                <a:lnTo>
                  <a:pt x="2439779" y="3341121"/>
                </a:lnTo>
                <a:lnTo>
                  <a:pt x="2448026" y="3349349"/>
                </a:lnTo>
                <a:lnTo>
                  <a:pt x="2454320" y="3347618"/>
                </a:lnTo>
                <a:lnTo>
                  <a:pt x="2462893" y="3356929"/>
                </a:lnTo>
                <a:lnTo>
                  <a:pt x="2466691" y="3356604"/>
                </a:lnTo>
                <a:lnTo>
                  <a:pt x="2477000" y="3360069"/>
                </a:lnTo>
                <a:lnTo>
                  <a:pt x="2483620" y="3362451"/>
                </a:lnTo>
                <a:lnTo>
                  <a:pt x="2485031" y="3369380"/>
                </a:lnTo>
                <a:lnTo>
                  <a:pt x="2489806" y="3370679"/>
                </a:lnTo>
                <a:lnTo>
                  <a:pt x="2495990" y="3374144"/>
                </a:lnTo>
                <a:lnTo>
                  <a:pt x="2509881" y="3372844"/>
                </a:lnTo>
                <a:lnTo>
                  <a:pt x="2519539" y="3378366"/>
                </a:lnTo>
                <a:lnTo>
                  <a:pt x="2521601" y="3382481"/>
                </a:lnTo>
                <a:lnTo>
                  <a:pt x="2520190" y="3393416"/>
                </a:lnTo>
                <a:lnTo>
                  <a:pt x="2522251" y="3402402"/>
                </a:lnTo>
                <a:lnTo>
                  <a:pt x="2519539" y="3407924"/>
                </a:lnTo>
                <a:lnTo>
                  <a:pt x="2528437" y="3423082"/>
                </a:lnTo>
                <a:lnTo>
                  <a:pt x="2527786" y="3434125"/>
                </a:lnTo>
                <a:lnTo>
                  <a:pt x="2569891" y="3434775"/>
                </a:lnTo>
                <a:lnTo>
                  <a:pt x="2571952" y="3449933"/>
                </a:lnTo>
                <a:lnTo>
                  <a:pt x="2571302" y="3459569"/>
                </a:lnTo>
                <a:lnTo>
                  <a:pt x="2583672" y="3462384"/>
                </a:lnTo>
                <a:lnTo>
                  <a:pt x="2596152" y="3484363"/>
                </a:lnTo>
                <a:lnTo>
                  <a:pt x="2596803" y="3496056"/>
                </a:lnTo>
                <a:lnTo>
                  <a:pt x="2585083" y="3519442"/>
                </a:lnTo>
                <a:lnTo>
                  <a:pt x="2585734" y="3522907"/>
                </a:lnTo>
                <a:lnTo>
                  <a:pt x="2582588" y="3527346"/>
                </a:lnTo>
                <a:lnTo>
                  <a:pt x="2584758" y="3529836"/>
                </a:lnTo>
                <a:lnTo>
                  <a:pt x="2579875" y="3524315"/>
                </a:lnTo>
                <a:lnTo>
                  <a:pt x="2576076" y="3523557"/>
                </a:lnTo>
                <a:lnTo>
                  <a:pt x="2560233" y="3511971"/>
                </a:lnTo>
                <a:lnTo>
                  <a:pt x="2532995" y="3511539"/>
                </a:lnTo>
                <a:lnTo>
                  <a:pt x="2500223" y="3520634"/>
                </a:lnTo>
                <a:lnTo>
                  <a:pt x="2494689" y="3524206"/>
                </a:lnTo>
                <a:lnTo>
                  <a:pt x="2494689" y="3524207"/>
                </a:lnTo>
                <a:lnTo>
                  <a:pt x="2500223" y="3520635"/>
                </a:lnTo>
                <a:lnTo>
                  <a:pt x="2532995" y="3511540"/>
                </a:lnTo>
                <a:lnTo>
                  <a:pt x="2560233" y="3511973"/>
                </a:lnTo>
                <a:lnTo>
                  <a:pt x="2576077" y="3523558"/>
                </a:lnTo>
                <a:lnTo>
                  <a:pt x="2579875" y="3524316"/>
                </a:lnTo>
                <a:lnTo>
                  <a:pt x="2584758" y="3529837"/>
                </a:lnTo>
                <a:lnTo>
                  <a:pt x="2583347" y="3535035"/>
                </a:lnTo>
                <a:lnTo>
                  <a:pt x="2589207" y="3539474"/>
                </a:lnTo>
                <a:lnTo>
                  <a:pt x="2589532" y="3546727"/>
                </a:lnTo>
                <a:lnTo>
                  <a:pt x="2594416" y="3553874"/>
                </a:lnTo>
                <a:lnTo>
                  <a:pt x="2591920" y="3568382"/>
                </a:lnTo>
                <a:lnTo>
                  <a:pt x="2593330" y="3574228"/>
                </a:lnTo>
                <a:lnTo>
                  <a:pt x="2591594" y="3579426"/>
                </a:lnTo>
                <a:lnTo>
                  <a:pt x="2593330" y="3584622"/>
                </a:lnTo>
                <a:lnTo>
                  <a:pt x="2602338" y="3583865"/>
                </a:lnTo>
                <a:lnTo>
                  <a:pt x="2606136" y="3585597"/>
                </a:lnTo>
                <a:lnTo>
                  <a:pt x="2617205" y="3584947"/>
                </a:lnTo>
                <a:lnTo>
                  <a:pt x="2624041" y="3587329"/>
                </a:lnTo>
                <a:lnTo>
                  <a:pt x="2635110" y="3582890"/>
                </a:lnTo>
                <a:lnTo>
                  <a:pt x="2640969" y="3587004"/>
                </a:lnTo>
                <a:lnTo>
                  <a:pt x="2645419" y="3588304"/>
                </a:lnTo>
                <a:lnTo>
                  <a:pt x="2647155" y="3593826"/>
                </a:lnTo>
                <a:lnTo>
                  <a:pt x="2653232" y="3619810"/>
                </a:lnTo>
                <a:lnTo>
                  <a:pt x="2657356" y="3628905"/>
                </a:lnTo>
                <a:lnTo>
                  <a:pt x="2661696" y="3630096"/>
                </a:lnTo>
                <a:lnTo>
                  <a:pt x="2671137" y="3624899"/>
                </a:lnTo>
                <a:lnTo>
                  <a:pt x="2676455" y="3626956"/>
                </a:lnTo>
                <a:lnTo>
                  <a:pt x="2680144" y="3630312"/>
                </a:lnTo>
                <a:lnTo>
                  <a:pt x="2683345" y="3630931"/>
                </a:lnTo>
                <a:lnTo>
                  <a:pt x="2683833" y="3630095"/>
                </a:lnTo>
                <a:lnTo>
                  <a:pt x="2680361" y="3629446"/>
                </a:lnTo>
                <a:lnTo>
                  <a:pt x="2676779" y="3626198"/>
                </a:lnTo>
                <a:lnTo>
                  <a:pt x="2671462" y="3624141"/>
                </a:lnTo>
                <a:lnTo>
                  <a:pt x="2662021" y="3629337"/>
                </a:lnTo>
                <a:lnTo>
                  <a:pt x="2657681" y="3628147"/>
                </a:lnTo>
                <a:lnTo>
                  <a:pt x="2653557" y="3619052"/>
                </a:lnTo>
                <a:lnTo>
                  <a:pt x="2647480" y="3593067"/>
                </a:lnTo>
                <a:lnTo>
                  <a:pt x="2645744" y="3587545"/>
                </a:lnTo>
                <a:lnTo>
                  <a:pt x="2641295" y="3586138"/>
                </a:lnTo>
                <a:lnTo>
                  <a:pt x="2635435" y="3582023"/>
                </a:lnTo>
                <a:lnTo>
                  <a:pt x="2624583" y="3586462"/>
                </a:lnTo>
                <a:lnTo>
                  <a:pt x="2617638" y="3584080"/>
                </a:lnTo>
                <a:lnTo>
                  <a:pt x="2606786" y="3584731"/>
                </a:lnTo>
                <a:lnTo>
                  <a:pt x="2602988" y="3582998"/>
                </a:lnTo>
                <a:lnTo>
                  <a:pt x="2593981" y="3583648"/>
                </a:lnTo>
                <a:lnTo>
                  <a:pt x="2592245" y="3578450"/>
                </a:lnTo>
                <a:lnTo>
                  <a:pt x="2593981" y="3573253"/>
                </a:lnTo>
                <a:lnTo>
                  <a:pt x="2592571" y="3567407"/>
                </a:lnTo>
                <a:lnTo>
                  <a:pt x="2594958" y="3552899"/>
                </a:lnTo>
                <a:lnTo>
                  <a:pt x="2590075" y="3545753"/>
                </a:lnTo>
                <a:lnTo>
                  <a:pt x="2590075" y="3538498"/>
                </a:lnTo>
                <a:lnTo>
                  <a:pt x="2584215" y="3534059"/>
                </a:lnTo>
                <a:lnTo>
                  <a:pt x="2585626" y="3528863"/>
                </a:lnTo>
                <a:lnTo>
                  <a:pt x="2583456" y="3526372"/>
                </a:lnTo>
                <a:lnTo>
                  <a:pt x="2586711" y="3521933"/>
                </a:lnTo>
                <a:lnTo>
                  <a:pt x="2586059" y="3518469"/>
                </a:lnTo>
                <a:lnTo>
                  <a:pt x="2597780" y="3494974"/>
                </a:lnTo>
                <a:lnTo>
                  <a:pt x="2597128" y="3483280"/>
                </a:lnTo>
                <a:lnTo>
                  <a:pt x="2584649" y="3461627"/>
                </a:lnTo>
                <a:lnTo>
                  <a:pt x="2572278" y="3458919"/>
                </a:lnTo>
                <a:lnTo>
                  <a:pt x="2572929" y="3449284"/>
                </a:lnTo>
                <a:lnTo>
                  <a:pt x="2570867" y="3434125"/>
                </a:lnTo>
                <a:lnTo>
                  <a:pt x="2528763" y="3433476"/>
                </a:lnTo>
                <a:lnTo>
                  <a:pt x="2529414" y="3422649"/>
                </a:lnTo>
                <a:lnTo>
                  <a:pt x="2520407" y="3407491"/>
                </a:lnTo>
                <a:lnTo>
                  <a:pt x="2523120" y="3401970"/>
                </a:lnTo>
                <a:lnTo>
                  <a:pt x="2521058" y="3392983"/>
                </a:lnTo>
                <a:lnTo>
                  <a:pt x="2522469" y="3382156"/>
                </a:lnTo>
                <a:lnTo>
                  <a:pt x="2520407" y="3378042"/>
                </a:lnTo>
                <a:lnTo>
                  <a:pt x="2510749" y="3372520"/>
                </a:lnTo>
                <a:lnTo>
                  <a:pt x="2496968" y="3373927"/>
                </a:lnTo>
                <a:lnTo>
                  <a:pt x="2490782" y="3370463"/>
                </a:lnTo>
                <a:lnTo>
                  <a:pt x="2485899" y="3369055"/>
                </a:lnTo>
                <a:lnTo>
                  <a:pt x="2484488" y="3362126"/>
                </a:lnTo>
                <a:lnTo>
                  <a:pt x="2477977" y="3359744"/>
                </a:lnTo>
                <a:lnTo>
                  <a:pt x="2467126" y="3356279"/>
                </a:lnTo>
                <a:lnTo>
                  <a:pt x="2463328" y="3356279"/>
                </a:lnTo>
                <a:lnTo>
                  <a:pt x="2454755" y="3346968"/>
                </a:lnTo>
                <a:lnTo>
                  <a:pt x="2448569" y="3348700"/>
                </a:lnTo>
                <a:lnTo>
                  <a:pt x="2440322" y="3340471"/>
                </a:lnTo>
                <a:lnTo>
                  <a:pt x="2430339" y="3342853"/>
                </a:lnTo>
                <a:lnTo>
                  <a:pt x="2428276" y="3345235"/>
                </a:lnTo>
                <a:lnTo>
                  <a:pt x="2423068" y="3340471"/>
                </a:lnTo>
                <a:lnTo>
                  <a:pt x="2415472" y="3335600"/>
                </a:lnTo>
                <a:lnTo>
                  <a:pt x="2409937" y="3332893"/>
                </a:lnTo>
                <a:lnTo>
                  <a:pt x="2408201" y="3325639"/>
                </a:lnTo>
                <a:lnTo>
                  <a:pt x="2402666" y="3323257"/>
                </a:lnTo>
                <a:lnTo>
                  <a:pt x="2398543" y="3314270"/>
                </a:lnTo>
                <a:lnTo>
                  <a:pt x="2400605" y="3309506"/>
                </a:lnTo>
                <a:lnTo>
                  <a:pt x="2397458" y="3298679"/>
                </a:lnTo>
                <a:close/>
                <a:moveTo>
                  <a:pt x="6896342" y="3295324"/>
                </a:moveTo>
                <a:lnTo>
                  <a:pt x="6898186" y="3295324"/>
                </a:lnTo>
                <a:lnTo>
                  <a:pt x="6896342" y="3300196"/>
                </a:lnTo>
                <a:lnTo>
                  <a:pt x="6893846" y="3299222"/>
                </a:lnTo>
                <a:close/>
                <a:moveTo>
                  <a:pt x="7352763" y="3294024"/>
                </a:moveTo>
                <a:lnTo>
                  <a:pt x="7356018" y="3294457"/>
                </a:lnTo>
                <a:lnTo>
                  <a:pt x="7354065" y="3297056"/>
                </a:lnTo>
                <a:close/>
                <a:moveTo>
                  <a:pt x="4467196" y="3292833"/>
                </a:moveTo>
                <a:lnTo>
                  <a:pt x="4467196" y="3292834"/>
                </a:lnTo>
                <a:lnTo>
                  <a:pt x="4470017" y="3294998"/>
                </a:lnTo>
                <a:lnTo>
                  <a:pt x="4470017" y="3294997"/>
                </a:lnTo>
                <a:close/>
                <a:moveTo>
                  <a:pt x="4624356" y="3287585"/>
                </a:moveTo>
                <a:lnTo>
                  <a:pt x="4624001" y="3289909"/>
                </a:lnTo>
                <a:lnTo>
                  <a:pt x="4623141" y="3290364"/>
                </a:lnTo>
                <a:lnTo>
                  <a:pt x="4624001" y="3289909"/>
                </a:lnTo>
                <a:close/>
                <a:moveTo>
                  <a:pt x="4624721" y="3284652"/>
                </a:moveTo>
                <a:lnTo>
                  <a:pt x="4624761" y="3284929"/>
                </a:lnTo>
                <a:lnTo>
                  <a:pt x="4624761" y="3284928"/>
                </a:lnTo>
                <a:close/>
                <a:moveTo>
                  <a:pt x="7560029" y="3284063"/>
                </a:moveTo>
                <a:lnTo>
                  <a:pt x="7563176" y="3284604"/>
                </a:lnTo>
                <a:lnTo>
                  <a:pt x="7565238" y="3286661"/>
                </a:lnTo>
                <a:lnTo>
                  <a:pt x="7565564" y="3287852"/>
                </a:lnTo>
                <a:lnTo>
                  <a:pt x="7567300" y="3288393"/>
                </a:lnTo>
                <a:lnTo>
                  <a:pt x="7567951" y="3289909"/>
                </a:lnTo>
                <a:lnTo>
                  <a:pt x="7570989" y="3287527"/>
                </a:lnTo>
                <a:lnTo>
                  <a:pt x="7573159" y="3287419"/>
                </a:lnTo>
                <a:lnTo>
                  <a:pt x="7573485" y="3289801"/>
                </a:lnTo>
                <a:lnTo>
                  <a:pt x="7571314" y="3291425"/>
                </a:lnTo>
                <a:lnTo>
                  <a:pt x="7570772" y="3293373"/>
                </a:lnTo>
                <a:lnTo>
                  <a:pt x="7568167" y="3294240"/>
                </a:lnTo>
                <a:lnTo>
                  <a:pt x="7564912" y="3293373"/>
                </a:lnTo>
                <a:lnTo>
                  <a:pt x="7565129" y="3290450"/>
                </a:lnTo>
                <a:lnTo>
                  <a:pt x="7563936" y="3289909"/>
                </a:lnTo>
                <a:lnTo>
                  <a:pt x="7561982" y="3285903"/>
                </a:lnTo>
                <a:lnTo>
                  <a:pt x="7560246" y="3285146"/>
                </a:lnTo>
                <a:close/>
                <a:moveTo>
                  <a:pt x="4464483" y="3280924"/>
                </a:moveTo>
                <a:lnTo>
                  <a:pt x="4467521" y="3283846"/>
                </a:lnTo>
                <a:lnTo>
                  <a:pt x="4467521" y="3283846"/>
                </a:lnTo>
                <a:close/>
                <a:moveTo>
                  <a:pt x="7556665" y="3275834"/>
                </a:moveTo>
                <a:lnTo>
                  <a:pt x="7559378" y="3276375"/>
                </a:lnTo>
                <a:lnTo>
                  <a:pt x="7561224" y="3276375"/>
                </a:lnTo>
                <a:lnTo>
                  <a:pt x="7562091" y="3278324"/>
                </a:lnTo>
                <a:lnTo>
                  <a:pt x="7561440" y="3279190"/>
                </a:lnTo>
                <a:lnTo>
                  <a:pt x="7562959" y="3279190"/>
                </a:lnTo>
                <a:lnTo>
                  <a:pt x="7564261" y="3281247"/>
                </a:lnTo>
                <a:lnTo>
                  <a:pt x="7563068" y="3282871"/>
                </a:lnTo>
                <a:lnTo>
                  <a:pt x="7562091" y="3281464"/>
                </a:lnTo>
                <a:lnTo>
                  <a:pt x="7558835" y="3281788"/>
                </a:lnTo>
                <a:lnTo>
                  <a:pt x="7556557" y="3280597"/>
                </a:lnTo>
                <a:lnTo>
                  <a:pt x="7555689" y="3276483"/>
                </a:lnTo>
                <a:close/>
                <a:moveTo>
                  <a:pt x="4737402" y="3273560"/>
                </a:moveTo>
                <a:lnTo>
                  <a:pt x="4737185" y="3275293"/>
                </a:lnTo>
                <a:lnTo>
                  <a:pt x="4734472" y="3281356"/>
                </a:lnTo>
                <a:lnTo>
                  <a:pt x="4735014" y="3283630"/>
                </a:lnTo>
                <a:lnTo>
                  <a:pt x="4739138" y="3286553"/>
                </a:lnTo>
                <a:lnTo>
                  <a:pt x="4740440" y="3290126"/>
                </a:lnTo>
                <a:lnTo>
                  <a:pt x="4740765" y="3295106"/>
                </a:lnTo>
                <a:lnTo>
                  <a:pt x="4739572" y="3296730"/>
                </a:lnTo>
                <a:lnTo>
                  <a:pt x="4739572" y="3298138"/>
                </a:lnTo>
                <a:lnTo>
                  <a:pt x="4734146" y="3303660"/>
                </a:lnTo>
                <a:lnTo>
                  <a:pt x="4733387" y="3307665"/>
                </a:lnTo>
                <a:lnTo>
                  <a:pt x="4734905" y="3311780"/>
                </a:lnTo>
                <a:lnTo>
                  <a:pt x="4735340" y="3315352"/>
                </a:lnTo>
                <a:lnTo>
                  <a:pt x="4736208" y="3318276"/>
                </a:lnTo>
                <a:lnTo>
                  <a:pt x="4734363" y="3321307"/>
                </a:lnTo>
                <a:lnTo>
                  <a:pt x="4736534" y="3325097"/>
                </a:lnTo>
                <a:lnTo>
                  <a:pt x="4735557" y="3327587"/>
                </a:lnTo>
                <a:lnTo>
                  <a:pt x="4734363" y="3328670"/>
                </a:lnTo>
                <a:lnTo>
                  <a:pt x="4735340" y="3331810"/>
                </a:lnTo>
                <a:lnTo>
                  <a:pt x="4735774" y="3334084"/>
                </a:lnTo>
                <a:lnTo>
                  <a:pt x="4738270" y="3335707"/>
                </a:lnTo>
                <a:lnTo>
                  <a:pt x="4738703" y="3337440"/>
                </a:lnTo>
                <a:lnTo>
                  <a:pt x="4736425" y="3338089"/>
                </a:lnTo>
                <a:lnTo>
                  <a:pt x="4735123" y="3340471"/>
                </a:lnTo>
                <a:lnTo>
                  <a:pt x="4731759" y="3342095"/>
                </a:lnTo>
                <a:lnTo>
                  <a:pt x="4726441" y="3345993"/>
                </a:lnTo>
                <a:lnTo>
                  <a:pt x="4725464" y="3347833"/>
                </a:lnTo>
                <a:lnTo>
                  <a:pt x="4725682" y="3351190"/>
                </a:lnTo>
                <a:lnTo>
                  <a:pt x="4726333" y="3353139"/>
                </a:lnTo>
                <a:lnTo>
                  <a:pt x="4725573" y="3355737"/>
                </a:lnTo>
                <a:lnTo>
                  <a:pt x="4725573" y="3359094"/>
                </a:lnTo>
                <a:lnTo>
                  <a:pt x="4721883" y="3363316"/>
                </a:lnTo>
                <a:lnTo>
                  <a:pt x="4719388" y="3364616"/>
                </a:lnTo>
                <a:lnTo>
                  <a:pt x="4720147" y="3366780"/>
                </a:lnTo>
                <a:lnTo>
                  <a:pt x="4723511" y="3370895"/>
                </a:lnTo>
                <a:lnTo>
                  <a:pt x="4725573" y="3375443"/>
                </a:lnTo>
                <a:lnTo>
                  <a:pt x="4726008" y="3377716"/>
                </a:lnTo>
                <a:lnTo>
                  <a:pt x="4725790" y="3377716"/>
                </a:lnTo>
                <a:lnTo>
                  <a:pt x="4718737" y="3380098"/>
                </a:lnTo>
                <a:lnTo>
                  <a:pt x="4704521" y="3385836"/>
                </a:lnTo>
                <a:lnTo>
                  <a:pt x="4700180" y="3386702"/>
                </a:lnTo>
                <a:lnTo>
                  <a:pt x="4675872" y="3396772"/>
                </a:lnTo>
                <a:lnTo>
                  <a:pt x="4670881" y="3396772"/>
                </a:lnTo>
                <a:lnTo>
                  <a:pt x="4661548" y="3401644"/>
                </a:lnTo>
                <a:lnTo>
                  <a:pt x="4659487" y="3405217"/>
                </a:lnTo>
                <a:lnTo>
                  <a:pt x="4659487" y="3405218"/>
                </a:lnTo>
                <a:lnTo>
                  <a:pt x="4661549" y="3401645"/>
                </a:lnTo>
                <a:lnTo>
                  <a:pt x="4670881" y="3396773"/>
                </a:lnTo>
                <a:lnTo>
                  <a:pt x="4675873" y="3396773"/>
                </a:lnTo>
                <a:lnTo>
                  <a:pt x="4700180" y="3386703"/>
                </a:lnTo>
                <a:lnTo>
                  <a:pt x="4704521" y="3385837"/>
                </a:lnTo>
                <a:lnTo>
                  <a:pt x="4718737" y="3380099"/>
                </a:lnTo>
                <a:lnTo>
                  <a:pt x="4725790" y="3377717"/>
                </a:lnTo>
                <a:lnTo>
                  <a:pt x="4726008" y="3377717"/>
                </a:lnTo>
                <a:lnTo>
                  <a:pt x="4732410" y="3376201"/>
                </a:lnTo>
                <a:lnTo>
                  <a:pt x="4733929" y="3378691"/>
                </a:lnTo>
                <a:lnTo>
                  <a:pt x="4734797" y="3380965"/>
                </a:lnTo>
                <a:lnTo>
                  <a:pt x="4736859" y="3383456"/>
                </a:lnTo>
                <a:lnTo>
                  <a:pt x="4737185" y="3386270"/>
                </a:lnTo>
                <a:lnTo>
                  <a:pt x="4741200" y="3388760"/>
                </a:lnTo>
                <a:lnTo>
                  <a:pt x="4741200" y="3388760"/>
                </a:lnTo>
                <a:lnTo>
                  <a:pt x="4737186" y="3386270"/>
                </a:lnTo>
                <a:lnTo>
                  <a:pt x="4736860" y="3383455"/>
                </a:lnTo>
                <a:lnTo>
                  <a:pt x="4734798" y="3380965"/>
                </a:lnTo>
                <a:lnTo>
                  <a:pt x="4733930" y="3378692"/>
                </a:lnTo>
                <a:lnTo>
                  <a:pt x="4732411" y="3376201"/>
                </a:lnTo>
                <a:lnTo>
                  <a:pt x="4726009" y="3377717"/>
                </a:lnTo>
                <a:lnTo>
                  <a:pt x="4725574" y="3375443"/>
                </a:lnTo>
                <a:lnTo>
                  <a:pt x="4723512" y="3370896"/>
                </a:lnTo>
                <a:lnTo>
                  <a:pt x="4720149" y="3366782"/>
                </a:lnTo>
                <a:lnTo>
                  <a:pt x="4719389" y="3364616"/>
                </a:lnTo>
                <a:lnTo>
                  <a:pt x="4721884" y="3363317"/>
                </a:lnTo>
                <a:lnTo>
                  <a:pt x="4725574" y="3359094"/>
                </a:lnTo>
                <a:lnTo>
                  <a:pt x="4725574" y="3355738"/>
                </a:lnTo>
                <a:lnTo>
                  <a:pt x="4726334" y="3353139"/>
                </a:lnTo>
                <a:lnTo>
                  <a:pt x="4725683" y="3351191"/>
                </a:lnTo>
                <a:lnTo>
                  <a:pt x="4725465" y="3347834"/>
                </a:lnTo>
                <a:lnTo>
                  <a:pt x="4726442" y="3345994"/>
                </a:lnTo>
                <a:lnTo>
                  <a:pt x="4731760" y="3342095"/>
                </a:lnTo>
                <a:lnTo>
                  <a:pt x="4735124" y="3340472"/>
                </a:lnTo>
                <a:lnTo>
                  <a:pt x="4736426" y="3338090"/>
                </a:lnTo>
                <a:lnTo>
                  <a:pt x="4738704" y="3337440"/>
                </a:lnTo>
                <a:lnTo>
                  <a:pt x="4738271" y="3335708"/>
                </a:lnTo>
                <a:lnTo>
                  <a:pt x="4735775" y="3334084"/>
                </a:lnTo>
                <a:lnTo>
                  <a:pt x="4735341" y="3331810"/>
                </a:lnTo>
                <a:lnTo>
                  <a:pt x="4734364" y="3328670"/>
                </a:lnTo>
                <a:lnTo>
                  <a:pt x="4735558" y="3327587"/>
                </a:lnTo>
                <a:lnTo>
                  <a:pt x="4736535" y="3325097"/>
                </a:lnTo>
                <a:lnTo>
                  <a:pt x="4734364" y="3321308"/>
                </a:lnTo>
                <a:lnTo>
                  <a:pt x="4736209" y="3318276"/>
                </a:lnTo>
                <a:lnTo>
                  <a:pt x="4735341" y="3315353"/>
                </a:lnTo>
                <a:lnTo>
                  <a:pt x="4734906" y="3311780"/>
                </a:lnTo>
                <a:lnTo>
                  <a:pt x="4733388" y="3307666"/>
                </a:lnTo>
                <a:lnTo>
                  <a:pt x="4734147" y="3303660"/>
                </a:lnTo>
                <a:lnTo>
                  <a:pt x="4739573" y="3298138"/>
                </a:lnTo>
                <a:lnTo>
                  <a:pt x="4739573" y="3296730"/>
                </a:lnTo>
                <a:lnTo>
                  <a:pt x="4740767" y="3295106"/>
                </a:lnTo>
                <a:lnTo>
                  <a:pt x="4740441" y="3290126"/>
                </a:lnTo>
                <a:lnTo>
                  <a:pt x="4739139" y="3286553"/>
                </a:lnTo>
                <a:lnTo>
                  <a:pt x="4735015" y="3283630"/>
                </a:lnTo>
                <a:lnTo>
                  <a:pt x="4734473" y="3281356"/>
                </a:lnTo>
                <a:lnTo>
                  <a:pt x="4737186" y="3275293"/>
                </a:lnTo>
                <a:lnTo>
                  <a:pt x="4737403" y="3273561"/>
                </a:lnTo>
                <a:close/>
                <a:moveTo>
                  <a:pt x="2378793" y="3273127"/>
                </a:moveTo>
                <a:lnTo>
                  <a:pt x="2371197" y="3276917"/>
                </a:lnTo>
                <a:lnTo>
                  <a:pt x="2363275" y="3278324"/>
                </a:lnTo>
                <a:lnTo>
                  <a:pt x="2352424" y="3285578"/>
                </a:lnTo>
                <a:lnTo>
                  <a:pt x="2348300" y="3296406"/>
                </a:lnTo>
                <a:lnTo>
                  <a:pt x="2341355" y="3298463"/>
                </a:lnTo>
                <a:lnTo>
                  <a:pt x="2335495" y="3298463"/>
                </a:lnTo>
                <a:lnTo>
                  <a:pt x="2330286" y="3302576"/>
                </a:lnTo>
                <a:lnTo>
                  <a:pt x="2326488" y="3302576"/>
                </a:lnTo>
                <a:lnTo>
                  <a:pt x="2319543" y="3306366"/>
                </a:lnTo>
                <a:lnTo>
                  <a:pt x="2312597" y="3306366"/>
                </a:lnTo>
                <a:lnTo>
                  <a:pt x="2297405" y="3306366"/>
                </a:lnTo>
                <a:lnTo>
                  <a:pt x="2296754" y="3306366"/>
                </a:lnTo>
                <a:lnTo>
                  <a:pt x="2294367" y="3305284"/>
                </a:lnTo>
                <a:lnTo>
                  <a:pt x="2291763" y="3305284"/>
                </a:lnTo>
                <a:lnTo>
                  <a:pt x="2286554" y="3305284"/>
                </a:lnTo>
                <a:lnTo>
                  <a:pt x="2281996" y="3306583"/>
                </a:lnTo>
                <a:lnTo>
                  <a:pt x="2277222" y="3307341"/>
                </a:lnTo>
                <a:lnTo>
                  <a:pt x="2275431" y="3305621"/>
                </a:lnTo>
                <a:lnTo>
                  <a:pt x="2275485" y="3307016"/>
                </a:lnTo>
                <a:lnTo>
                  <a:pt x="2278415" y="3309832"/>
                </a:lnTo>
                <a:lnTo>
                  <a:pt x="2283190" y="3308965"/>
                </a:lnTo>
                <a:lnTo>
                  <a:pt x="2287747" y="3307775"/>
                </a:lnTo>
                <a:lnTo>
                  <a:pt x="2292957" y="3307341"/>
                </a:lnTo>
                <a:lnTo>
                  <a:pt x="2295561" y="3307016"/>
                </a:lnTo>
                <a:lnTo>
                  <a:pt x="2297948" y="3308099"/>
                </a:lnTo>
                <a:lnTo>
                  <a:pt x="2298599" y="3308423"/>
                </a:lnTo>
                <a:lnTo>
                  <a:pt x="2313791" y="3308423"/>
                </a:lnTo>
                <a:lnTo>
                  <a:pt x="2320736" y="3308749"/>
                </a:lnTo>
                <a:lnTo>
                  <a:pt x="2327681" y="3304959"/>
                </a:lnTo>
                <a:lnTo>
                  <a:pt x="2331371" y="3304959"/>
                </a:lnTo>
                <a:lnTo>
                  <a:pt x="2336579" y="3300844"/>
                </a:lnTo>
                <a:lnTo>
                  <a:pt x="2342440" y="3300844"/>
                </a:lnTo>
                <a:lnTo>
                  <a:pt x="2349385" y="3298787"/>
                </a:lnTo>
                <a:lnTo>
                  <a:pt x="2353508" y="3288069"/>
                </a:lnTo>
                <a:lnTo>
                  <a:pt x="2364902" y="3280815"/>
                </a:lnTo>
                <a:lnTo>
                  <a:pt x="2372824" y="3279515"/>
                </a:lnTo>
                <a:lnTo>
                  <a:pt x="2380420" y="3275726"/>
                </a:lnTo>
                <a:lnTo>
                  <a:pt x="2385629" y="3275726"/>
                </a:lnTo>
                <a:lnTo>
                  <a:pt x="2390404" y="3279191"/>
                </a:lnTo>
                <a:lnTo>
                  <a:pt x="2395938" y="3275726"/>
                </a:lnTo>
                <a:lnTo>
                  <a:pt x="2397001" y="3276623"/>
                </a:lnTo>
                <a:lnTo>
                  <a:pt x="2397132" y="3275509"/>
                </a:lnTo>
                <a:lnTo>
                  <a:pt x="2394419" y="3273127"/>
                </a:lnTo>
                <a:lnTo>
                  <a:pt x="2388885" y="3276592"/>
                </a:lnTo>
                <a:lnTo>
                  <a:pt x="2384001" y="3273127"/>
                </a:lnTo>
                <a:close/>
                <a:moveTo>
                  <a:pt x="4463072" y="3272044"/>
                </a:moveTo>
                <a:lnTo>
                  <a:pt x="4463073" y="3272045"/>
                </a:lnTo>
                <a:lnTo>
                  <a:pt x="4465025" y="3272370"/>
                </a:lnTo>
                <a:lnTo>
                  <a:pt x="4465025" y="3272369"/>
                </a:lnTo>
                <a:close/>
                <a:moveTo>
                  <a:pt x="6802475" y="3271721"/>
                </a:moveTo>
                <a:lnTo>
                  <a:pt x="6808877" y="3276702"/>
                </a:lnTo>
                <a:lnTo>
                  <a:pt x="6813218" y="3276702"/>
                </a:lnTo>
                <a:lnTo>
                  <a:pt x="6817559" y="3274320"/>
                </a:lnTo>
                <a:lnTo>
                  <a:pt x="6823202" y="3277135"/>
                </a:lnTo>
                <a:lnTo>
                  <a:pt x="6824720" y="3281357"/>
                </a:lnTo>
                <a:lnTo>
                  <a:pt x="6829387" y="3281357"/>
                </a:lnTo>
                <a:lnTo>
                  <a:pt x="6833403" y="3287420"/>
                </a:lnTo>
                <a:lnTo>
                  <a:pt x="6837309" y="3291210"/>
                </a:lnTo>
                <a:lnTo>
                  <a:pt x="6837526" y="3294241"/>
                </a:lnTo>
                <a:lnTo>
                  <a:pt x="6831449" y="3297381"/>
                </a:lnTo>
                <a:lnTo>
                  <a:pt x="6824720" y="3298030"/>
                </a:lnTo>
                <a:lnTo>
                  <a:pt x="6819186" y="3295649"/>
                </a:lnTo>
                <a:lnTo>
                  <a:pt x="6815279" y="3289910"/>
                </a:lnTo>
                <a:lnTo>
                  <a:pt x="6811264" y="3289153"/>
                </a:lnTo>
                <a:lnTo>
                  <a:pt x="6807467" y="3284496"/>
                </a:lnTo>
                <a:lnTo>
                  <a:pt x="6802149" y="3285363"/>
                </a:lnTo>
                <a:lnTo>
                  <a:pt x="6795638" y="3283955"/>
                </a:lnTo>
                <a:lnTo>
                  <a:pt x="6791840" y="3280490"/>
                </a:lnTo>
                <a:lnTo>
                  <a:pt x="6792165" y="3277135"/>
                </a:lnTo>
                <a:close/>
                <a:moveTo>
                  <a:pt x="7547766" y="3270637"/>
                </a:moveTo>
                <a:lnTo>
                  <a:pt x="7550479" y="3272153"/>
                </a:lnTo>
                <a:lnTo>
                  <a:pt x="7553192" y="3276050"/>
                </a:lnTo>
                <a:lnTo>
                  <a:pt x="7552975" y="3279298"/>
                </a:lnTo>
                <a:lnTo>
                  <a:pt x="7551130" y="3278757"/>
                </a:lnTo>
                <a:lnTo>
                  <a:pt x="7549177" y="3276267"/>
                </a:lnTo>
                <a:lnTo>
                  <a:pt x="7547115" y="3276483"/>
                </a:lnTo>
                <a:lnTo>
                  <a:pt x="7545488" y="3272261"/>
                </a:lnTo>
                <a:close/>
                <a:moveTo>
                  <a:pt x="4626063" y="3270420"/>
                </a:moveTo>
                <a:lnTo>
                  <a:pt x="4625738" y="3273235"/>
                </a:lnTo>
                <a:lnTo>
                  <a:pt x="4625243" y="3273729"/>
                </a:lnTo>
                <a:lnTo>
                  <a:pt x="4625738" y="3273236"/>
                </a:lnTo>
                <a:close/>
                <a:moveTo>
                  <a:pt x="5053294" y="3270096"/>
                </a:moveTo>
                <a:lnTo>
                  <a:pt x="5052317" y="3272262"/>
                </a:lnTo>
                <a:lnTo>
                  <a:pt x="5051666" y="3270312"/>
                </a:lnTo>
                <a:close/>
                <a:moveTo>
                  <a:pt x="4460034" y="3268038"/>
                </a:moveTo>
                <a:lnTo>
                  <a:pt x="4460034" y="3268039"/>
                </a:lnTo>
                <a:lnTo>
                  <a:pt x="4461553" y="3269122"/>
                </a:lnTo>
                <a:lnTo>
                  <a:pt x="4461552" y="3269121"/>
                </a:lnTo>
                <a:close/>
                <a:moveTo>
                  <a:pt x="2273423" y="3266523"/>
                </a:moveTo>
                <a:lnTo>
                  <a:pt x="2264850" y="3271503"/>
                </a:lnTo>
                <a:lnTo>
                  <a:pt x="2254759" y="3280706"/>
                </a:lnTo>
                <a:lnTo>
                  <a:pt x="2242605" y="3279948"/>
                </a:lnTo>
                <a:lnTo>
                  <a:pt x="2232999" y="3279948"/>
                </a:lnTo>
                <a:lnTo>
                  <a:pt x="2233489" y="3282114"/>
                </a:lnTo>
                <a:lnTo>
                  <a:pt x="2243798" y="3282547"/>
                </a:lnTo>
                <a:lnTo>
                  <a:pt x="2255952" y="3283305"/>
                </a:lnTo>
                <a:lnTo>
                  <a:pt x="2266044" y="3274102"/>
                </a:lnTo>
                <a:lnTo>
                  <a:pt x="2274508" y="3269121"/>
                </a:lnTo>
                <a:lnTo>
                  <a:pt x="2275582" y="3270239"/>
                </a:lnTo>
                <a:lnTo>
                  <a:pt x="2275811" y="3269121"/>
                </a:lnTo>
                <a:close/>
                <a:moveTo>
                  <a:pt x="2218514" y="3264466"/>
                </a:moveTo>
                <a:lnTo>
                  <a:pt x="2206887" y="3265397"/>
                </a:lnTo>
                <a:lnTo>
                  <a:pt x="2204949" y="3267823"/>
                </a:lnTo>
                <a:lnTo>
                  <a:pt x="2219708" y="3266631"/>
                </a:lnTo>
                <a:lnTo>
                  <a:pt x="2226761" y="3267823"/>
                </a:lnTo>
                <a:lnTo>
                  <a:pt x="2230921" y="3273875"/>
                </a:lnTo>
                <a:lnTo>
                  <a:pt x="2230776" y="3273235"/>
                </a:lnTo>
                <a:lnTo>
                  <a:pt x="2225568" y="3265657"/>
                </a:lnTo>
                <a:close/>
                <a:moveTo>
                  <a:pt x="7605714" y="3263600"/>
                </a:moveTo>
                <a:lnTo>
                  <a:pt x="7612442" y="3269879"/>
                </a:lnTo>
                <a:lnTo>
                  <a:pt x="7612876" y="3272802"/>
                </a:lnTo>
                <a:lnTo>
                  <a:pt x="7607558" y="3269230"/>
                </a:lnTo>
                <a:lnTo>
                  <a:pt x="7605714" y="3269879"/>
                </a:lnTo>
                <a:lnTo>
                  <a:pt x="7604412" y="3267281"/>
                </a:lnTo>
                <a:close/>
                <a:moveTo>
                  <a:pt x="4458525" y="3263408"/>
                </a:moveTo>
                <a:lnTo>
                  <a:pt x="4460034" y="3265441"/>
                </a:lnTo>
                <a:lnTo>
                  <a:pt x="4460034" y="3265440"/>
                </a:lnTo>
                <a:close/>
                <a:moveTo>
                  <a:pt x="4726876" y="3262193"/>
                </a:moveTo>
                <a:lnTo>
                  <a:pt x="4726984" y="3262516"/>
                </a:lnTo>
                <a:lnTo>
                  <a:pt x="4728286" y="3265981"/>
                </a:lnTo>
                <a:lnTo>
                  <a:pt x="4729914" y="3267280"/>
                </a:lnTo>
                <a:lnTo>
                  <a:pt x="4731108" y="3270637"/>
                </a:lnTo>
                <a:lnTo>
                  <a:pt x="4733381" y="3271954"/>
                </a:lnTo>
                <a:lnTo>
                  <a:pt x="4731109" y="3270637"/>
                </a:lnTo>
                <a:lnTo>
                  <a:pt x="4729915" y="3267281"/>
                </a:lnTo>
                <a:lnTo>
                  <a:pt x="4728287" y="3265981"/>
                </a:lnTo>
                <a:lnTo>
                  <a:pt x="4726985" y="3262517"/>
                </a:lnTo>
                <a:lnTo>
                  <a:pt x="4726877" y="3262193"/>
                </a:lnTo>
                <a:close/>
                <a:moveTo>
                  <a:pt x="5048194" y="3260027"/>
                </a:moveTo>
                <a:lnTo>
                  <a:pt x="5051775" y="3261543"/>
                </a:lnTo>
                <a:lnTo>
                  <a:pt x="5053837" y="3262084"/>
                </a:lnTo>
                <a:lnTo>
                  <a:pt x="5052752" y="3263492"/>
                </a:lnTo>
                <a:lnTo>
                  <a:pt x="5048085" y="3264466"/>
                </a:lnTo>
                <a:lnTo>
                  <a:pt x="5045590" y="3263274"/>
                </a:lnTo>
                <a:close/>
                <a:moveTo>
                  <a:pt x="6810180" y="3256563"/>
                </a:moveTo>
                <a:lnTo>
                  <a:pt x="6812242" y="3257862"/>
                </a:lnTo>
                <a:lnTo>
                  <a:pt x="6811808" y="3260786"/>
                </a:lnTo>
                <a:lnTo>
                  <a:pt x="6808552" y="3261327"/>
                </a:lnTo>
                <a:close/>
                <a:moveTo>
                  <a:pt x="6712514" y="3256563"/>
                </a:moveTo>
                <a:lnTo>
                  <a:pt x="6714034" y="3259161"/>
                </a:lnTo>
                <a:lnTo>
                  <a:pt x="6711537" y="3260461"/>
                </a:lnTo>
                <a:lnTo>
                  <a:pt x="6710235" y="3258945"/>
                </a:lnTo>
                <a:close/>
                <a:moveTo>
                  <a:pt x="7390092" y="3254505"/>
                </a:moveTo>
                <a:lnTo>
                  <a:pt x="7390743" y="3256671"/>
                </a:lnTo>
                <a:lnTo>
                  <a:pt x="7388790" y="3255263"/>
                </a:lnTo>
                <a:close/>
                <a:moveTo>
                  <a:pt x="7381628" y="3254505"/>
                </a:moveTo>
                <a:lnTo>
                  <a:pt x="7388356" y="3257319"/>
                </a:lnTo>
                <a:lnTo>
                  <a:pt x="7391503" y="3261000"/>
                </a:lnTo>
                <a:close/>
                <a:moveTo>
                  <a:pt x="6895799" y="3254072"/>
                </a:moveTo>
                <a:lnTo>
                  <a:pt x="6891892" y="3255912"/>
                </a:lnTo>
                <a:lnTo>
                  <a:pt x="6889179" y="3258727"/>
                </a:lnTo>
                <a:lnTo>
                  <a:pt x="6890807" y="3254938"/>
                </a:lnTo>
                <a:close/>
                <a:moveTo>
                  <a:pt x="4719171" y="3253748"/>
                </a:moveTo>
                <a:lnTo>
                  <a:pt x="4720690" y="3257536"/>
                </a:lnTo>
                <a:lnTo>
                  <a:pt x="4725031" y="3262192"/>
                </a:lnTo>
                <a:lnTo>
                  <a:pt x="4720691" y="3257537"/>
                </a:lnTo>
                <a:lnTo>
                  <a:pt x="4719172" y="3253748"/>
                </a:lnTo>
                <a:close/>
                <a:moveTo>
                  <a:pt x="6989883" y="3253531"/>
                </a:moveTo>
                <a:lnTo>
                  <a:pt x="6992162" y="3255804"/>
                </a:lnTo>
                <a:lnTo>
                  <a:pt x="6992053" y="3257753"/>
                </a:lnTo>
                <a:lnTo>
                  <a:pt x="6987387" y="3260893"/>
                </a:lnTo>
                <a:lnTo>
                  <a:pt x="6984674" y="3261218"/>
                </a:lnTo>
                <a:lnTo>
                  <a:pt x="6982829" y="3264141"/>
                </a:lnTo>
                <a:lnTo>
                  <a:pt x="6975885" y="3266090"/>
                </a:lnTo>
                <a:lnTo>
                  <a:pt x="6969156" y="3270204"/>
                </a:lnTo>
                <a:lnTo>
                  <a:pt x="6959390" y="3272045"/>
                </a:lnTo>
                <a:lnTo>
                  <a:pt x="6954941" y="3271720"/>
                </a:lnTo>
                <a:lnTo>
                  <a:pt x="6951034" y="3272912"/>
                </a:lnTo>
                <a:lnTo>
                  <a:pt x="6946585" y="3277242"/>
                </a:lnTo>
                <a:lnTo>
                  <a:pt x="6945934" y="3277567"/>
                </a:lnTo>
                <a:lnTo>
                  <a:pt x="6943438" y="3278541"/>
                </a:lnTo>
                <a:lnTo>
                  <a:pt x="6941268" y="3281465"/>
                </a:lnTo>
                <a:lnTo>
                  <a:pt x="6932261" y="3288177"/>
                </a:lnTo>
                <a:lnTo>
                  <a:pt x="6929331" y="3292616"/>
                </a:lnTo>
                <a:lnTo>
                  <a:pt x="6924882" y="3295865"/>
                </a:lnTo>
                <a:lnTo>
                  <a:pt x="6920975" y="3295540"/>
                </a:lnTo>
                <a:lnTo>
                  <a:pt x="6916743" y="3296839"/>
                </a:lnTo>
                <a:lnTo>
                  <a:pt x="6909907" y="3301279"/>
                </a:lnTo>
                <a:lnTo>
                  <a:pt x="6902093" y="3301711"/>
                </a:lnTo>
                <a:lnTo>
                  <a:pt x="6899706" y="3299871"/>
                </a:lnTo>
                <a:lnTo>
                  <a:pt x="6901117" y="3294890"/>
                </a:lnTo>
                <a:lnTo>
                  <a:pt x="6903070" y="3296298"/>
                </a:lnTo>
                <a:lnTo>
                  <a:pt x="6905674" y="3296298"/>
                </a:lnTo>
                <a:lnTo>
                  <a:pt x="6904915" y="3294241"/>
                </a:lnTo>
                <a:lnTo>
                  <a:pt x="6902961" y="3292508"/>
                </a:lnTo>
                <a:lnTo>
                  <a:pt x="6903612" y="3290451"/>
                </a:lnTo>
                <a:lnTo>
                  <a:pt x="6908170" y="3283089"/>
                </a:lnTo>
                <a:lnTo>
                  <a:pt x="6909798" y="3278108"/>
                </a:lnTo>
                <a:lnTo>
                  <a:pt x="6914464" y="3275293"/>
                </a:lnTo>
                <a:lnTo>
                  <a:pt x="6915875" y="3273994"/>
                </a:lnTo>
                <a:lnTo>
                  <a:pt x="6919672" y="3270421"/>
                </a:lnTo>
                <a:lnTo>
                  <a:pt x="6926075" y="3269663"/>
                </a:lnTo>
                <a:lnTo>
                  <a:pt x="6929005" y="3268797"/>
                </a:lnTo>
                <a:lnTo>
                  <a:pt x="6933129" y="3267606"/>
                </a:lnTo>
                <a:lnTo>
                  <a:pt x="6935191" y="3266631"/>
                </a:lnTo>
                <a:lnTo>
                  <a:pt x="6940834" y="3263816"/>
                </a:lnTo>
                <a:lnTo>
                  <a:pt x="6948430" y="3257104"/>
                </a:lnTo>
                <a:lnTo>
                  <a:pt x="6958413" y="3257645"/>
                </a:lnTo>
                <a:lnTo>
                  <a:pt x="6965033" y="3256562"/>
                </a:lnTo>
                <a:lnTo>
                  <a:pt x="6969807" y="3256562"/>
                </a:lnTo>
                <a:lnTo>
                  <a:pt x="6975125" y="3255480"/>
                </a:lnTo>
                <a:lnTo>
                  <a:pt x="6980876" y="3255696"/>
                </a:lnTo>
                <a:close/>
                <a:moveTo>
                  <a:pt x="6803885" y="3252773"/>
                </a:moveTo>
                <a:lnTo>
                  <a:pt x="6808008" y="3254072"/>
                </a:lnTo>
                <a:lnTo>
                  <a:pt x="6806164" y="3255913"/>
                </a:lnTo>
                <a:lnTo>
                  <a:pt x="6804645" y="3261651"/>
                </a:lnTo>
                <a:lnTo>
                  <a:pt x="6802149" y="3258187"/>
                </a:lnTo>
                <a:close/>
                <a:moveTo>
                  <a:pt x="7387487" y="3252448"/>
                </a:moveTo>
                <a:lnTo>
                  <a:pt x="7386293" y="3253963"/>
                </a:lnTo>
                <a:lnTo>
                  <a:pt x="7383364" y="3252556"/>
                </a:lnTo>
                <a:close/>
                <a:moveTo>
                  <a:pt x="4714076" y="3251371"/>
                </a:moveTo>
                <a:lnTo>
                  <a:pt x="4716024" y="3253314"/>
                </a:lnTo>
                <a:lnTo>
                  <a:pt x="4716024" y="3253314"/>
                </a:lnTo>
                <a:close/>
                <a:moveTo>
                  <a:pt x="7391937" y="3249741"/>
                </a:moveTo>
                <a:lnTo>
                  <a:pt x="7395626" y="3249741"/>
                </a:lnTo>
                <a:lnTo>
                  <a:pt x="7394432" y="3252448"/>
                </a:lnTo>
                <a:cubicBezTo>
                  <a:pt x="7392698" y="3252361"/>
                  <a:pt x="7390959" y="3252361"/>
                  <a:pt x="7389224" y="3252448"/>
                </a:cubicBezTo>
                <a:close/>
                <a:moveTo>
                  <a:pt x="6923471" y="3249634"/>
                </a:moveTo>
                <a:lnTo>
                  <a:pt x="6923905" y="3251691"/>
                </a:lnTo>
                <a:lnTo>
                  <a:pt x="6920216" y="3256671"/>
                </a:lnTo>
                <a:lnTo>
                  <a:pt x="6917828" y="3254505"/>
                </a:lnTo>
                <a:lnTo>
                  <a:pt x="6914573" y="3254505"/>
                </a:lnTo>
                <a:lnTo>
                  <a:pt x="6916743" y="3252340"/>
                </a:lnTo>
                <a:lnTo>
                  <a:pt x="6921084" y="3251799"/>
                </a:lnTo>
                <a:close/>
                <a:moveTo>
                  <a:pt x="7572509" y="3248658"/>
                </a:moveTo>
                <a:lnTo>
                  <a:pt x="7573269" y="3254937"/>
                </a:lnTo>
                <a:lnTo>
                  <a:pt x="7572618" y="3258835"/>
                </a:lnTo>
                <a:lnTo>
                  <a:pt x="7571749" y="3258835"/>
                </a:lnTo>
                <a:lnTo>
                  <a:pt x="7572183" y="3257427"/>
                </a:lnTo>
                <a:lnTo>
                  <a:pt x="7571749" y="3254180"/>
                </a:lnTo>
                <a:lnTo>
                  <a:pt x="7570664" y="3254396"/>
                </a:lnTo>
                <a:lnTo>
                  <a:pt x="7568819" y="3251039"/>
                </a:lnTo>
                <a:lnTo>
                  <a:pt x="7569905" y="3249200"/>
                </a:lnTo>
                <a:close/>
                <a:moveTo>
                  <a:pt x="6730636" y="3247793"/>
                </a:moveTo>
                <a:lnTo>
                  <a:pt x="6738232" y="3250283"/>
                </a:lnTo>
                <a:lnTo>
                  <a:pt x="6737148" y="3255913"/>
                </a:lnTo>
                <a:lnTo>
                  <a:pt x="6734977" y="3258944"/>
                </a:lnTo>
                <a:lnTo>
                  <a:pt x="6735411" y="3262951"/>
                </a:lnTo>
                <a:lnTo>
                  <a:pt x="6732155" y="3261760"/>
                </a:lnTo>
                <a:lnTo>
                  <a:pt x="6727598" y="3263492"/>
                </a:lnTo>
                <a:lnTo>
                  <a:pt x="6719893" y="3261218"/>
                </a:lnTo>
                <a:lnTo>
                  <a:pt x="6718265" y="3259053"/>
                </a:lnTo>
                <a:lnTo>
                  <a:pt x="6720327" y="3257646"/>
                </a:lnTo>
                <a:lnTo>
                  <a:pt x="6724559" y="3257862"/>
                </a:lnTo>
                <a:lnTo>
                  <a:pt x="6725645" y="3251474"/>
                </a:lnTo>
                <a:close/>
                <a:moveTo>
                  <a:pt x="6912184" y="3247684"/>
                </a:moveTo>
                <a:lnTo>
                  <a:pt x="6914030" y="3248875"/>
                </a:lnTo>
                <a:lnTo>
                  <a:pt x="6909146" y="3253422"/>
                </a:lnTo>
                <a:lnTo>
                  <a:pt x="6906867" y="3256129"/>
                </a:lnTo>
                <a:lnTo>
                  <a:pt x="6901984" y="3257103"/>
                </a:lnTo>
                <a:lnTo>
                  <a:pt x="6899814" y="3255371"/>
                </a:lnTo>
                <a:lnTo>
                  <a:pt x="6904480" y="3252014"/>
                </a:lnTo>
                <a:lnTo>
                  <a:pt x="6903503" y="3249849"/>
                </a:lnTo>
                <a:lnTo>
                  <a:pt x="6905565" y="3248983"/>
                </a:lnTo>
                <a:lnTo>
                  <a:pt x="6908929" y="3249524"/>
                </a:lnTo>
                <a:close/>
                <a:moveTo>
                  <a:pt x="6898294" y="3246927"/>
                </a:moveTo>
                <a:lnTo>
                  <a:pt x="6899054" y="3248984"/>
                </a:lnTo>
                <a:lnTo>
                  <a:pt x="6897644" y="3251040"/>
                </a:lnTo>
                <a:lnTo>
                  <a:pt x="6895148" y="3249633"/>
                </a:lnTo>
                <a:close/>
                <a:moveTo>
                  <a:pt x="7036545" y="3246819"/>
                </a:moveTo>
                <a:lnTo>
                  <a:pt x="7038498" y="3248009"/>
                </a:lnTo>
                <a:lnTo>
                  <a:pt x="7034592" y="3248334"/>
                </a:lnTo>
                <a:lnTo>
                  <a:pt x="7032096" y="3247143"/>
                </a:lnTo>
                <a:close/>
                <a:moveTo>
                  <a:pt x="6953530" y="3245736"/>
                </a:moveTo>
                <a:lnTo>
                  <a:pt x="6954832" y="3247360"/>
                </a:lnTo>
                <a:lnTo>
                  <a:pt x="6952987" y="3248768"/>
                </a:lnTo>
                <a:lnTo>
                  <a:pt x="6952119" y="3247793"/>
                </a:lnTo>
                <a:close/>
                <a:moveTo>
                  <a:pt x="7004641" y="3245195"/>
                </a:moveTo>
                <a:lnTo>
                  <a:pt x="7004424" y="3247793"/>
                </a:lnTo>
                <a:lnTo>
                  <a:pt x="7001386" y="3246169"/>
                </a:lnTo>
                <a:close/>
                <a:moveTo>
                  <a:pt x="6931935" y="3245195"/>
                </a:moveTo>
                <a:lnTo>
                  <a:pt x="6933996" y="3246385"/>
                </a:lnTo>
                <a:lnTo>
                  <a:pt x="6940617" y="3245736"/>
                </a:lnTo>
                <a:lnTo>
                  <a:pt x="6943004" y="3247360"/>
                </a:lnTo>
                <a:lnTo>
                  <a:pt x="6940291" y="3250392"/>
                </a:lnTo>
                <a:lnTo>
                  <a:pt x="6932152" y="3253207"/>
                </a:lnTo>
                <a:lnTo>
                  <a:pt x="6927920" y="3252233"/>
                </a:lnTo>
                <a:lnTo>
                  <a:pt x="6927486" y="3250392"/>
                </a:lnTo>
                <a:lnTo>
                  <a:pt x="6929114" y="3248768"/>
                </a:lnTo>
                <a:lnTo>
                  <a:pt x="6927160" y="3247360"/>
                </a:lnTo>
                <a:close/>
                <a:moveTo>
                  <a:pt x="7018966" y="3244003"/>
                </a:moveTo>
                <a:lnTo>
                  <a:pt x="7018966" y="3246493"/>
                </a:lnTo>
                <a:lnTo>
                  <a:pt x="7013323" y="3248442"/>
                </a:lnTo>
                <a:lnTo>
                  <a:pt x="7008656" y="3246168"/>
                </a:lnTo>
                <a:lnTo>
                  <a:pt x="7008005" y="3244219"/>
                </a:lnTo>
                <a:lnTo>
                  <a:pt x="7015059" y="3244760"/>
                </a:lnTo>
                <a:close/>
                <a:moveTo>
                  <a:pt x="6993465" y="3243138"/>
                </a:moveTo>
                <a:lnTo>
                  <a:pt x="6995852" y="3245087"/>
                </a:lnTo>
                <a:lnTo>
                  <a:pt x="6992922" y="3246602"/>
                </a:lnTo>
                <a:lnTo>
                  <a:pt x="6990426" y="3244654"/>
                </a:lnTo>
                <a:close/>
                <a:moveTo>
                  <a:pt x="7388356" y="3242920"/>
                </a:moveTo>
                <a:lnTo>
                  <a:pt x="7392589" y="3243786"/>
                </a:lnTo>
                <a:lnTo>
                  <a:pt x="7391503" y="3244869"/>
                </a:lnTo>
                <a:lnTo>
                  <a:pt x="7389116" y="3244328"/>
                </a:lnTo>
                <a:close/>
                <a:moveTo>
                  <a:pt x="6769920" y="3242704"/>
                </a:moveTo>
                <a:lnTo>
                  <a:pt x="6773826" y="3244436"/>
                </a:lnTo>
                <a:lnTo>
                  <a:pt x="6778275" y="3247143"/>
                </a:lnTo>
                <a:lnTo>
                  <a:pt x="6783159" y="3245410"/>
                </a:lnTo>
                <a:lnTo>
                  <a:pt x="6787933" y="3248334"/>
                </a:lnTo>
                <a:lnTo>
                  <a:pt x="6787933" y="3252448"/>
                </a:lnTo>
                <a:lnTo>
                  <a:pt x="6790321" y="3251474"/>
                </a:lnTo>
                <a:lnTo>
                  <a:pt x="6789669" y="3247685"/>
                </a:lnTo>
                <a:lnTo>
                  <a:pt x="6794661" y="3249092"/>
                </a:lnTo>
                <a:lnTo>
                  <a:pt x="6794661" y="3252665"/>
                </a:lnTo>
                <a:lnTo>
                  <a:pt x="6796072" y="3256995"/>
                </a:lnTo>
                <a:lnTo>
                  <a:pt x="6797808" y="3254938"/>
                </a:lnTo>
                <a:lnTo>
                  <a:pt x="6797808" y="3260136"/>
                </a:lnTo>
                <a:lnTo>
                  <a:pt x="6791623" y="3260136"/>
                </a:lnTo>
                <a:lnTo>
                  <a:pt x="6794770" y="3262734"/>
                </a:lnTo>
                <a:lnTo>
                  <a:pt x="6788042" y="3261868"/>
                </a:lnTo>
                <a:lnTo>
                  <a:pt x="6783593" y="3262517"/>
                </a:lnTo>
                <a:lnTo>
                  <a:pt x="6782073" y="3259269"/>
                </a:lnTo>
                <a:lnTo>
                  <a:pt x="6776865" y="3263708"/>
                </a:lnTo>
                <a:lnTo>
                  <a:pt x="6771982" y="3262842"/>
                </a:lnTo>
                <a:lnTo>
                  <a:pt x="6766773" y="3265116"/>
                </a:lnTo>
                <a:lnTo>
                  <a:pt x="6762432" y="3263600"/>
                </a:lnTo>
                <a:lnTo>
                  <a:pt x="6760370" y="3266307"/>
                </a:lnTo>
                <a:lnTo>
                  <a:pt x="6755271" y="3268039"/>
                </a:lnTo>
                <a:lnTo>
                  <a:pt x="6751798" y="3266632"/>
                </a:lnTo>
                <a:lnTo>
                  <a:pt x="6745613" y="3268039"/>
                </a:lnTo>
                <a:lnTo>
                  <a:pt x="6741271" y="3266199"/>
                </a:lnTo>
                <a:lnTo>
                  <a:pt x="6738667" y="3263492"/>
                </a:lnTo>
                <a:lnTo>
                  <a:pt x="6740078" y="3261434"/>
                </a:lnTo>
                <a:lnTo>
                  <a:pt x="6738342" y="3259702"/>
                </a:lnTo>
                <a:lnTo>
                  <a:pt x="6738993" y="3256779"/>
                </a:lnTo>
                <a:cubicBezTo>
                  <a:pt x="6739939" y="3255434"/>
                  <a:pt x="6740991" y="3254167"/>
                  <a:pt x="6742140" y="3252989"/>
                </a:cubicBezTo>
                <a:lnTo>
                  <a:pt x="6748976" y="3250391"/>
                </a:lnTo>
                <a:lnTo>
                  <a:pt x="6753317" y="3251474"/>
                </a:lnTo>
                <a:lnTo>
                  <a:pt x="6757224" y="3250391"/>
                </a:lnTo>
                <a:lnTo>
                  <a:pt x="6760479" y="3251041"/>
                </a:lnTo>
                <a:lnTo>
                  <a:pt x="6761673" y="3255155"/>
                </a:lnTo>
                <a:lnTo>
                  <a:pt x="6767316" y="3258836"/>
                </a:lnTo>
                <a:lnTo>
                  <a:pt x="6771113" y="3257104"/>
                </a:lnTo>
                <a:lnTo>
                  <a:pt x="6777516" y="3256238"/>
                </a:lnTo>
                <a:lnTo>
                  <a:pt x="6773718" y="3252448"/>
                </a:lnTo>
                <a:lnTo>
                  <a:pt x="6764060" y="3248875"/>
                </a:lnTo>
                <a:lnTo>
                  <a:pt x="6764060" y="3246277"/>
                </a:lnTo>
                <a:close/>
                <a:moveTo>
                  <a:pt x="4692801" y="3242595"/>
                </a:moveTo>
                <a:lnTo>
                  <a:pt x="4693127" y="3244544"/>
                </a:lnTo>
                <a:lnTo>
                  <a:pt x="4693128" y="3244545"/>
                </a:lnTo>
                <a:lnTo>
                  <a:pt x="4692802" y="3242596"/>
                </a:lnTo>
                <a:close/>
                <a:moveTo>
                  <a:pt x="7060529" y="3242487"/>
                </a:moveTo>
                <a:lnTo>
                  <a:pt x="7058466" y="3245085"/>
                </a:lnTo>
                <a:lnTo>
                  <a:pt x="7055536" y="3245085"/>
                </a:lnTo>
                <a:close/>
                <a:moveTo>
                  <a:pt x="7272786" y="3242379"/>
                </a:moveTo>
                <a:lnTo>
                  <a:pt x="7274413" y="3242812"/>
                </a:lnTo>
                <a:lnTo>
                  <a:pt x="7276150" y="3248226"/>
                </a:lnTo>
                <a:lnTo>
                  <a:pt x="7274739" y="3249633"/>
                </a:lnTo>
                <a:lnTo>
                  <a:pt x="7270289" y="3248117"/>
                </a:lnTo>
                <a:lnTo>
                  <a:pt x="7268228" y="3247684"/>
                </a:lnTo>
                <a:lnTo>
                  <a:pt x="7270289" y="3244003"/>
                </a:lnTo>
                <a:close/>
                <a:moveTo>
                  <a:pt x="7088632" y="3242055"/>
                </a:moveTo>
                <a:lnTo>
                  <a:pt x="7091237" y="3242271"/>
                </a:lnTo>
                <a:lnTo>
                  <a:pt x="7090152" y="3243787"/>
                </a:lnTo>
                <a:lnTo>
                  <a:pt x="7087005" y="3246169"/>
                </a:lnTo>
                <a:lnTo>
                  <a:pt x="7083533" y="3246819"/>
                </a:lnTo>
                <a:lnTo>
                  <a:pt x="7084293" y="3244978"/>
                </a:lnTo>
                <a:close/>
                <a:moveTo>
                  <a:pt x="6704702" y="3241838"/>
                </a:moveTo>
                <a:lnTo>
                  <a:pt x="6710996" y="3243245"/>
                </a:lnTo>
                <a:lnTo>
                  <a:pt x="6716205" y="3249416"/>
                </a:lnTo>
                <a:lnTo>
                  <a:pt x="6715011" y="3252123"/>
                </a:lnTo>
                <a:lnTo>
                  <a:pt x="6710671" y="3252989"/>
                </a:lnTo>
                <a:lnTo>
                  <a:pt x="6709151" y="3254722"/>
                </a:lnTo>
                <a:lnTo>
                  <a:pt x="6705353" y="3256562"/>
                </a:lnTo>
                <a:lnTo>
                  <a:pt x="6703291" y="3259594"/>
                </a:lnTo>
                <a:lnTo>
                  <a:pt x="6702098" y="3256779"/>
                </a:lnTo>
                <a:lnTo>
                  <a:pt x="6696238" y="3252340"/>
                </a:lnTo>
                <a:lnTo>
                  <a:pt x="6689618" y="3250932"/>
                </a:lnTo>
                <a:lnTo>
                  <a:pt x="6687448" y="3247793"/>
                </a:lnTo>
                <a:lnTo>
                  <a:pt x="6687448" y="3244220"/>
                </a:lnTo>
                <a:lnTo>
                  <a:pt x="6692766" y="3242704"/>
                </a:lnTo>
                <a:lnTo>
                  <a:pt x="6698082" y="3244111"/>
                </a:lnTo>
                <a:close/>
                <a:moveTo>
                  <a:pt x="6888421" y="3241297"/>
                </a:moveTo>
                <a:lnTo>
                  <a:pt x="6893413" y="3243354"/>
                </a:lnTo>
                <a:lnTo>
                  <a:pt x="6893413" y="3247685"/>
                </a:lnTo>
                <a:lnTo>
                  <a:pt x="6891133" y="3251691"/>
                </a:lnTo>
                <a:lnTo>
                  <a:pt x="6887987" y="3253098"/>
                </a:lnTo>
                <a:lnTo>
                  <a:pt x="6884514" y="3257754"/>
                </a:lnTo>
                <a:lnTo>
                  <a:pt x="6879306" y="3258403"/>
                </a:lnTo>
                <a:lnTo>
                  <a:pt x="6877244" y="3260677"/>
                </a:lnTo>
                <a:lnTo>
                  <a:pt x="6873771" y="3259486"/>
                </a:lnTo>
                <a:lnTo>
                  <a:pt x="6867260" y="3258620"/>
                </a:lnTo>
                <a:lnTo>
                  <a:pt x="6860532" y="3261651"/>
                </a:lnTo>
                <a:lnTo>
                  <a:pt x="6852827" y="3260244"/>
                </a:lnTo>
                <a:lnTo>
                  <a:pt x="6847619" y="3262517"/>
                </a:lnTo>
                <a:lnTo>
                  <a:pt x="6846533" y="3263817"/>
                </a:lnTo>
                <a:lnTo>
                  <a:pt x="6843060" y="3263817"/>
                </a:lnTo>
                <a:lnTo>
                  <a:pt x="6840347" y="3262409"/>
                </a:lnTo>
                <a:lnTo>
                  <a:pt x="6836007" y="3264250"/>
                </a:lnTo>
                <a:lnTo>
                  <a:pt x="6833294" y="3261976"/>
                </a:lnTo>
                <a:lnTo>
                  <a:pt x="6829605" y="3261976"/>
                </a:lnTo>
                <a:lnTo>
                  <a:pt x="6826240" y="3262626"/>
                </a:lnTo>
                <a:lnTo>
                  <a:pt x="6822659" y="3261651"/>
                </a:lnTo>
                <a:lnTo>
                  <a:pt x="6819404" y="3261651"/>
                </a:lnTo>
                <a:lnTo>
                  <a:pt x="6815389" y="3260677"/>
                </a:lnTo>
                <a:lnTo>
                  <a:pt x="6813978" y="3256671"/>
                </a:lnTo>
                <a:cubicBezTo>
                  <a:pt x="6814238" y="3255193"/>
                  <a:pt x="6814637" y="3253743"/>
                  <a:pt x="6815171" y="3252340"/>
                </a:cubicBezTo>
                <a:lnTo>
                  <a:pt x="6822443" y="3248334"/>
                </a:lnTo>
                <a:lnTo>
                  <a:pt x="6834162" y="3245736"/>
                </a:lnTo>
                <a:lnTo>
                  <a:pt x="6840023" y="3248659"/>
                </a:lnTo>
                <a:lnTo>
                  <a:pt x="6843277" y="3247793"/>
                </a:lnTo>
                <a:lnTo>
                  <a:pt x="6849463" y="3249309"/>
                </a:lnTo>
                <a:lnTo>
                  <a:pt x="6855974" y="3253423"/>
                </a:lnTo>
                <a:lnTo>
                  <a:pt x="6860966" y="3251366"/>
                </a:lnTo>
                <a:lnTo>
                  <a:pt x="6867911" y="3251366"/>
                </a:lnTo>
                <a:lnTo>
                  <a:pt x="6871058" y="3253748"/>
                </a:lnTo>
                <a:lnTo>
                  <a:pt x="6876376" y="3253748"/>
                </a:lnTo>
                <a:lnTo>
                  <a:pt x="6879088" y="3250499"/>
                </a:lnTo>
                <a:lnTo>
                  <a:pt x="6883429" y="3249092"/>
                </a:lnTo>
                <a:lnTo>
                  <a:pt x="6886142" y="3244978"/>
                </a:lnTo>
                <a:lnTo>
                  <a:pt x="6884297" y="3244003"/>
                </a:lnTo>
                <a:close/>
                <a:moveTo>
                  <a:pt x="7395192" y="3235017"/>
                </a:moveTo>
                <a:lnTo>
                  <a:pt x="7396711" y="3239997"/>
                </a:lnTo>
                <a:lnTo>
                  <a:pt x="7396060" y="3241946"/>
                </a:lnTo>
                <a:lnTo>
                  <a:pt x="7394325" y="3242054"/>
                </a:lnTo>
                <a:lnTo>
                  <a:pt x="7392371" y="3239672"/>
                </a:lnTo>
                <a:lnTo>
                  <a:pt x="7392588" y="3237398"/>
                </a:lnTo>
                <a:close/>
                <a:moveTo>
                  <a:pt x="7055319" y="3234151"/>
                </a:moveTo>
                <a:lnTo>
                  <a:pt x="7058467" y="3235991"/>
                </a:lnTo>
                <a:lnTo>
                  <a:pt x="7059335" y="3239781"/>
                </a:lnTo>
                <a:lnTo>
                  <a:pt x="7055754" y="3240539"/>
                </a:lnTo>
                <a:lnTo>
                  <a:pt x="7052714" y="3238049"/>
                </a:lnTo>
                <a:lnTo>
                  <a:pt x="7052498" y="3235450"/>
                </a:lnTo>
                <a:close/>
                <a:moveTo>
                  <a:pt x="2192952" y="3234089"/>
                </a:moveTo>
                <a:lnTo>
                  <a:pt x="2192687" y="3234908"/>
                </a:lnTo>
                <a:lnTo>
                  <a:pt x="2199198" y="3241405"/>
                </a:lnTo>
                <a:lnTo>
                  <a:pt x="2209604" y="3258228"/>
                </a:lnTo>
                <a:lnTo>
                  <a:pt x="2209724" y="3258078"/>
                </a:lnTo>
                <a:lnTo>
                  <a:pt x="2198004" y="3239130"/>
                </a:lnTo>
                <a:close/>
                <a:moveTo>
                  <a:pt x="7397145" y="3233284"/>
                </a:moveTo>
                <a:lnTo>
                  <a:pt x="7399315" y="3235016"/>
                </a:lnTo>
                <a:lnTo>
                  <a:pt x="7400835" y="3237723"/>
                </a:lnTo>
                <a:lnTo>
                  <a:pt x="7399207" y="3237182"/>
                </a:lnTo>
                <a:close/>
                <a:moveTo>
                  <a:pt x="7425686" y="3232418"/>
                </a:moveTo>
                <a:cubicBezTo>
                  <a:pt x="7425686" y="3232526"/>
                  <a:pt x="7425686" y="3235990"/>
                  <a:pt x="7425686" y="3235990"/>
                </a:cubicBezTo>
                <a:lnTo>
                  <a:pt x="7424166" y="3233717"/>
                </a:lnTo>
                <a:close/>
                <a:moveTo>
                  <a:pt x="7408865" y="3231768"/>
                </a:moveTo>
                <a:lnTo>
                  <a:pt x="7411035" y="3233392"/>
                </a:lnTo>
                <a:lnTo>
                  <a:pt x="7411361" y="3234800"/>
                </a:lnTo>
                <a:lnTo>
                  <a:pt x="7408540" y="3234367"/>
                </a:lnTo>
                <a:close/>
                <a:moveTo>
                  <a:pt x="7417329" y="3231552"/>
                </a:moveTo>
                <a:lnTo>
                  <a:pt x="7416027" y="3233718"/>
                </a:lnTo>
                <a:lnTo>
                  <a:pt x="7415376" y="3231877"/>
                </a:lnTo>
                <a:close/>
                <a:moveTo>
                  <a:pt x="6980226" y="3228954"/>
                </a:moveTo>
                <a:lnTo>
                  <a:pt x="6984024" y="3230578"/>
                </a:lnTo>
                <a:lnTo>
                  <a:pt x="6985001" y="3233176"/>
                </a:lnTo>
                <a:lnTo>
                  <a:pt x="6981419" y="3235125"/>
                </a:lnTo>
                <a:lnTo>
                  <a:pt x="6977947" y="3237723"/>
                </a:lnTo>
                <a:lnTo>
                  <a:pt x="6976753" y="3239889"/>
                </a:lnTo>
                <a:lnTo>
                  <a:pt x="6974149" y="3237832"/>
                </a:lnTo>
                <a:lnTo>
                  <a:pt x="6966661" y="3236207"/>
                </a:lnTo>
                <a:lnTo>
                  <a:pt x="6961452" y="3239239"/>
                </a:lnTo>
                <a:lnTo>
                  <a:pt x="6960475" y="3237182"/>
                </a:lnTo>
                <a:lnTo>
                  <a:pt x="6962212" y="3232093"/>
                </a:lnTo>
                <a:lnTo>
                  <a:pt x="6965901" y="3230361"/>
                </a:lnTo>
                <a:lnTo>
                  <a:pt x="6968397" y="3232418"/>
                </a:lnTo>
                <a:lnTo>
                  <a:pt x="6976427" y="3231768"/>
                </a:lnTo>
                <a:close/>
                <a:moveTo>
                  <a:pt x="7412664" y="3228196"/>
                </a:moveTo>
                <a:lnTo>
                  <a:pt x="7415051" y="3228520"/>
                </a:lnTo>
                <a:lnTo>
                  <a:pt x="7414074" y="3231877"/>
                </a:lnTo>
                <a:lnTo>
                  <a:pt x="7414400" y="3233933"/>
                </a:lnTo>
                <a:lnTo>
                  <a:pt x="7411361" y="3230685"/>
                </a:lnTo>
                <a:close/>
                <a:moveTo>
                  <a:pt x="7084836" y="3227329"/>
                </a:moveTo>
                <a:lnTo>
                  <a:pt x="7084076" y="3228736"/>
                </a:lnTo>
                <a:lnTo>
                  <a:pt x="7082123" y="3228736"/>
                </a:lnTo>
                <a:close/>
                <a:moveTo>
                  <a:pt x="6997045" y="3226139"/>
                </a:moveTo>
                <a:lnTo>
                  <a:pt x="6999868" y="3227546"/>
                </a:lnTo>
                <a:lnTo>
                  <a:pt x="6995418" y="3230686"/>
                </a:lnTo>
                <a:lnTo>
                  <a:pt x="6995092" y="3227871"/>
                </a:lnTo>
                <a:close/>
                <a:moveTo>
                  <a:pt x="7264539" y="3225165"/>
                </a:moveTo>
                <a:lnTo>
                  <a:pt x="7273112" y="3225165"/>
                </a:lnTo>
                <a:lnTo>
                  <a:pt x="7274631" y="3226573"/>
                </a:lnTo>
                <a:lnTo>
                  <a:pt x="7278212" y="3229279"/>
                </a:lnTo>
                <a:lnTo>
                  <a:pt x="7277344" y="3231012"/>
                </a:lnTo>
                <a:lnTo>
                  <a:pt x="7276367" y="3235018"/>
                </a:lnTo>
                <a:lnTo>
                  <a:pt x="7275282" y="3236209"/>
                </a:lnTo>
                <a:lnTo>
                  <a:pt x="7275065" y="3239781"/>
                </a:lnTo>
                <a:lnTo>
                  <a:pt x="7273221" y="3242163"/>
                </a:lnTo>
                <a:lnTo>
                  <a:pt x="7269531" y="3243138"/>
                </a:lnTo>
                <a:lnTo>
                  <a:pt x="7265842" y="3247469"/>
                </a:lnTo>
                <a:lnTo>
                  <a:pt x="7261935" y="3249310"/>
                </a:lnTo>
                <a:lnTo>
                  <a:pt x="7255858" y="3248336"/>
                </a:lnTo>
                <a:lnTo>
                  <a:pt x="7252602" y="3248985"/>
                </a:lnTo>
                <a:cubicBezTo>
                  <a:pt x="7252602" y="3248985"/>
                  <a:pt x="7244463" y="3248985"/>
                  <a:pt x="7244463" y="3248985"/>
                </a:cubicBezTo>
                <a:lnTo>
                  <a:pt x="7254229" y="3239349"/>
                </a:lnTo>
                <a:lnTo>
                  <a:pt x="7256725" y="3234477"/>
                </a:lnTo>
                <a:lnTo>
                  <a:pt x="7259222" y="3227655"/>
                </a:lnTo>
                <a:close/>
                <a:moveTo>
                  <a:pt x="7090804" y="3225056"/>
                </a:moveTo>
                <a:lnTo>
                  <a:pt x="7090153" y="3226138"/>
                </a:lnTo>
                <a:lnTo>
                  <a:pt x="7087657" y="3226787"/>
                </a:lnTo>
                <a:lnTo>
                  <a:pt x="7084618" y="3225489"/>
                </a:lnTo>
                <a:close/>
                <a:moveTo>
                  <a:pt x="6722824" y="3222241"/>
                </a:moveTo>
                <a:lnTo>
                  <a:pt x="6722498" y="3223540"/>
                </a:lnTo>
                <a:lnTo>
                  <a:pt x="6719026" y="3223540"/>
                </a:lnTo>
                <a:lnTo>
                  <a:pt x="6718158" y="3222349"/>
                </a:lnTo>
                <a:lnTo>
                  <a:pt x="6721739" y="3222457"/>
                </a:lnTo>
                <a:close/>
                <a:moveTo>
                  <a:pt x="4349825" y="3219896"/>
                </a:moveTo>
                <a:lnTo>
                  <a:pt x="4350540" y="3220941"/>
                </a:lnTo>
                <a:lnTo>
                  <a:pt x="4350540" y="3220940"/>
                </a:lnTo>
                <a:close/>
                <a:moveTo>
                  <a:pt x="7101222" y="3219209"/>
                </a:moveTo>
                <a:lnTo>
                  <a:pt x="7103935" y="3219859"/>
                </a:lnTo>
                <a:lnTo>
                  <a:pt x="7104369" y="3221591"/>
                </a:lnTo>
                <a:lnTo>
                  <a:pt x="7103066" y="3224081"/>
                </a:lnTo>
                <a:lnTo>
                  <a:pt x="7104043" y="3227437"/>
                </a:lnTo>
                <a:lnTo>
                  <a:pt x="7102198" y="3233284"/>
                </a:lnTo>
                <a:lnTo>
                  <a:pt x="7096772" y="3240106"/>
                </a:lnTo>
                <a:lnTo>
                  <a:pt x="7093842" y="3240971"/>
                </a:lnTo>
                <a:lnTo>
                  <a:pt x="7090261" y="3238048"/>
                </a:lnTo>
                <a:lnTo>
                  <a:pt x="7090370" y="3234475"/>
                </a:lnTo>
                <a:lnTo>
                  <a:pt x="7092974" y="3232310"/>
                </a:lnTo>
                <a:lnTo>
                  <a:pt x="7092106" y="3230686"/>
                </a:lnTo>
                <a:lnTo>
                  <a:pt x="7092431" y="3228412"/>
                </a:lnTo>
                <a:lnTo>
                  <a:pt x="7098834" y="3222674"/>
                </a:lnTo>
                <a:lnTo>
                  <a:pt x="7098943" y="3220833"/>
                </a:lnTo>
                <a:close/>
                <a:moveTo>
                  <a:pt x="7105345" y="3217585"/>
                </a:moveTo>
                <a:lnTo>
                  <a:pt x="7109685" y="3218342"/>
                </a:lnTo>
                <a:lnTo>
                  <a:pt x="7111314" y="3220724"/>
                </a:lnTo>
                <a:close/>
                <a:moveTo>
                  <a:pt x="7028840" y="3217477"/>
                </a:moveTo>
                <a:lnTo>
                  <a:pt x="7031228" y="3219209"/>
                </a:lnTo>
                <a:lnTo>
                  <a:pt x="7030034" y="3221158"/>
                </a:lnTo>
                <a:lnTo>
                  <a:pt x="7027430" y="3221050"/>
                </a:lnTo>
                <a:lnTo>
                  <a:pt x="7026670" y="3219209"/>
                </a:lnTo>
                <a:close/>
                <a:moveTo>
                  <a:pt x="6835790" y="3217369"/>
                </a:moveTo>
                <a:lnTo>
                  <a:pt x="6839044" y="3219101"/>
                </a:lnTo>
                <a:lnTo>
                  <a:pt x="6836549" y="3221266"/>
                </a:lnTo>
                <a:lnTo>
                  <a:pt x="6833945" y="3219101"/>
                </a:lnTo>
                <a:close/>
                <a:moveTo>
                  <a:pt x="7111964" y="3212821"/>
                </a:moveTo>
                <a:lnTo>
                  <a:pt x="7113267" y="3213578"/>
                </a:lnTo>
                <a:lnTo>
                  <a:pt x="7109469" y="3215635"/>
                </a:lnTo>
                <a:close/>
                <a:moveTo>
                  <a:pt x="6650986" y="3212389"/>
                </a:moveTo>
                <a:lnTo>
                  <a:pt x="6653481" y="3214120"/>
                </a:lnTo>
                <a:lnTo>
                  <a:pt x="6666286" y="3214554"/>
                </a:lnTo>
                <a:lnTo>
                  <a:pt x="6669976" y="3215745"/>
                </a:lnTo>
                <a:lnTo>
                  <a:pt x="6676378" y="3214771"/>
                </a:lnTo>
                <a:lnTo>
                  <a:pt x="6678767" y="3215962"/>
                </a:lnTo>
                <a:lnTo>
                  <a:pt x="6676705" y="3218777"/>
                </a:lnTo>
                <a:lnTo>
                  <a:pt x="6671387" y="3219426"/>
                </a:lnTo>
                <a:lnTo>
                  <a:pt x="6667046" y="3221375"/>
                </a:lnTo>
                <a:lnTo>
                  <a:pt x="6658907" y="3220942"/>
                </a:lnTo>
                <a:lnTo>
                  <a:pt x="6655868" y="3222674"/>
                </a:lnTo>
                <a:lnTo>
                  <a:pt x="6652288" y="3222241"/>
                </a:lnTo>
                <a:lnTo>
                  <a:pt x="6647513" y="3217261"/>
                </a:lnTo>
                <a:close/>
                <a:moveTo>
                  <a:pt x="6706220" y="3212064"/>
                </a:moveTo>
                <a:lnTo>
                  <a:pt x="6710561" y="3212605"/>
                </a:lnTo>
                <a:lnTo>
                  <a:pt x="6713599" y="3213905"/>
                </a:lnTo>
                <a:lnTo>
                  <a:pt x="6714468" y="3215203"/>
                </a:lnTo>
                <a:lnTo>
                  <a:pt x="6712948" y="3215203"/>
                </a:lnTo>
                <a:lnTo>
                  <a:pt x="6710670" y="3214879"/>
                </a:lnTo>
                <a:lnTo>
                  <a:pt x="6707631" y="3218235"/>
                </a:lnTo>
                <a:lnTo>
                  <a:pt x="6704376" y="3215095"/>
                </a:lnTo>
                <a:lnTo>
                  <a:pt x="6704267" y="3213796"/>
                </a:lnTo>
                <a:close/>
                <a:moveTo>
                  <a:pt x="4343378" y="3211847"/>
                </a:moveTo>
                <a:lnTo>
                  <a:pt x="4343378" y="3211847"/>
                </a:lnTo>
                <a:lnTo>
                  <a:pt x="4345440" y="3213362"/>
                </a:lnTo>
                <a:close/>
                <a:moveTo>
                  <a:pt x="4430734" y="3211088"/>
                </a:moveTo>
                <a:lnTo>
                  <a:pt x="4430734" y="3211089"/>
                </a:lnTo>
                <a:lnTo>
                  <a:pt x="4458514" y="3213146"/>
                </a:lnTo>
                <a:lnTo>
                  <a:pt x="4458514" y="3213145"/>
                </a:lnTo>
                <a:close/>
                <a:moveTo>
                  <a:pt x="7051737" y="3206542"/>
                </a:moveTo>
                <a:lnTo>
                  <a:pt x="7052605" y="3208599"/>
                </a:lnTo>
                <a:lnTo>
                  <a:pt x="7049350" y="3208382"/>
                </a:lnTo>
                <a:close/>
                <a:moveTo>
                  <a:pt x="7177834" y="3206109"/>
                </a:moveTo>
                <a:lnTo>
                  <a:pt x="7178376" y="3208057"/>
                </a:lnTo>
                <a:lnTo>
                  <a:pt x="7177291" y="3209248"/>
                </a:lnTo>
                <a:lnTo>
                  <a:pt x="7175989" y="3208166"/>
                </a:lnTo>
                <a:close/>
                <a:moveTo>
                  <a:pt x="6470739" y="3204593"/>
                </a:moveTo>
                <a:lnTo>
                  <a:pt x="6473235" y="3204593"/>
                </a:lnTo>
                <a:lnTo>
                  <a:pt x="6473018" y="3206757"/>
                </a:lnTo>
                <a:lnTo>
                  <a:pt x="6471282" y="3206865"/>
                </a:lnTo>
                <a:close/>
                <a:moveTo>
                  <a:pt x="4424440" y="3202751"/>
                </a:moveTo>
                <a:lnTo>
                  <a:pt x="4424332" y="3204916"/>
                </a:lnTo>
                <a:lnTo>
                  <a:pt x="4401000" y="3205349"/>
                </a:lnTo>
                <a:lnTo>
                  <a:pt x="4400349" y="3212171"/>
                </a:lnTo>
                <a:lnTo>
                  <a:pt x="4398613" y="3215960"/>
                </a:lnTo>
                <a:lnTo>
                  <a:pt x="4396551" y="3217043"/>
                </a:lnTo>
                <a:lnTo>
                  <a:pt x="4397311" y="3221698"/>
                </a:lnTo>
                <a:lnTo>
                  <a:pt x="4397419" y="3228195"/>
                </a:lnTo>
                <a:lnTo>
                  <a:pt x="4379297" y="3229385"/>
                </a:lnTo>
                <a:lnTo>
                  <a:pt x="4376258" y="3231118"/>
                </a:lnTo>
                <a:lnTo>
                  <a:pt x="4368011" y="3230577"/>
                </a:lnTo>
                <a:lnTo>
                  <a:pt x="4365407" y="3229710"/>
                </a:lnTo>
                <a:lnTo>
                  <a:pt x="4360957" y="3230577"/>
                </a:lnTo>
                <a:lnTo>
                  <a:pt x="4354555" y="3230901"/>
                </a:lnTo>
                <a:lnTo>
                  <a:pt x="4351951" y="3229494"/>
                </a:lnTo>
                <a:lnTo>
                  <a:pt x="4351951" y="3229495"/>
                </a:lnTo>
                <a:lnTo>
                  <a:pt x="4354556" y="3230902"/>
                </a:lnTo>
                <a:lnTo>
                  <a:pt x="4360958" y="3230578"/>
                </a:lnTo>
                <a:lnTo>
                  <a:pt x="4365408" y="3229711"/>
                </a:lnTo>
                <a:lnTo>
                  <a:pt x="4368012" y="3230578"/>
                </a:lnTo>
                <a:lnTo>
                  <a:pt x="4376259" y="3231119"/>
                </a:lnTo>
                <a:lnTo>
                  <a:pt x="4379298" y="3229386"/>
                </a:lnTo>
                <a:lnTo>
                  <a:pt x="4397420" y="3228196"/>
                </a:lnTo>
                <a:lnTo>
                  <a:pt x="4397312" y="3221699"/>
                </a:lnTo>
                <a:lnTo>
                  <a:pt x="4396552" y="3217044"/>
                </a:lnTo>
                <a:lnTo>
                  <a:pt x="4398613" y="3215961"/>
                </a:lnTo>
                <a:lnTo>
                  <a:pt x="4400350" y="3212172"/>
                </a:lnTo>
                <a:lnTo>
                  <a:pt x="4401001" y="3205350"/>
                </a:lnTo>
                <a:lnTo>
                  <a:pt x="4424332" y="3204917"/>
                </a:lnTo>
                <a:lnTo>
                  <a:pt x="4424441" y="3202752"/>
                </a:lnTo>
                <a:lnTo>
                  <a:pt x="4431710" y="3203401"/>
                </a:lnTo>
                <a:lnTo>
                  <a:pt x="4431710" y="3203400"/>
                </a:lnTo>
                <a:close/>
                <a:moveTo>
                  <a:pt x="4654899" y="3200766"/>
                </a:moveTo>
                <a:lnTo>
                  <a:pt x="4666106" y="3216177"/>
                </a:lnTo>
                <a:lnTo>
                  <a:pt x="4671857" y="3235016"/>
                </a:lnTo>
                <a:lnTo>
                  <a:pt x="4668494" y="3233283"/>
                </a:lnTo>
                <a:lnTo>
                  <a:pt x="4629427" y="3242811"/>
                </a:lnTo>
                <a:lnTo>
                  <a:pt x="4619661" y="3261434"/>
                </a:lnTo>
                <a:lnTo>
                  <a:pt x="4619661" y="3261434"/>
                </a:lnTo>
                <a:lnTo>
                  <a:pt x="4629427" y="3242812"/>
                </a:lnTo>
                <a:lnTo>
                  <a:pt x="4668493" y="3233284"/>
                </a:lnTo>
                <a:lnTo>
                  <a:pt x="4671857" y="3235016"/>
                </a:lnTo>
                <a:lnTo>
                  <a:pt x="4671858" y="3235017"/>
                </a:lnTo>
                <a:lnTo>
                  <a:pt x="4666107" y="3216177"/>
                </a:lnTo>
                <a:close/>
                <a:moveTo>
                  <a:pt x="7172408" y="3199288"/>
                </a:moveTo>
                <a:lnTo>
                  <a:pt x="7174795" y="3201237"/>
                </a:lnTo>
                <a:lnTo>
                  <a:pt x="7175663" y="3203619"/>
                </a:lnTo>
                <a:lnTo>
                  <a:pt x="7172950" y="3204052"/>
                </a:lnTo>
                <a:lnTo>
                  <a:pt x="7170997" y="3202536"/>
                </a:lnTo>
                <a:lnTo>
                  <a:pt x="7170997" y="3200262"/>
                </a:lnTo>
                <a:cubicBezTo>
                  <a:pt x="7171441" y="3199900"/>
                  <a:pt x="7171912" y="3199575"/>
                  <a:pt x="7172408" y="3199288"/>
                </a:cubicBezTo>
                <a:close/>
                <a:moveTo>
                  <a:pt x="7161990" y="3196256"/>
                </a:moveTo>
                <a:lnTo>
                  <a:pt x="7163835" y="3197663"/>
                </a:lnTo>
                <a:lnTo>
                  <a:pt x="7168175" y="3201345"/>
                </a:lnTo>
                <a:lnTo>
                  <a:pt x="7169695" y="3204592"/>
                </a:lnTo>
                <a:lnTo>
                  <a:pt x="7171865" y="3205892"/>
                </a:lnTo>
                <a:lnTo>
                  <a:pt x="7170997" y="3208057"/>
                </a:lnTo>
                <a:lnTo>
                  <a:pt x="7166656" y="3212063"/>
                </a:lnTo>
                <a:lnTo>
                  <a:pt x="7164269" y="3212388"/>
                </a:lnTo>
                <a:lnTo>
                  <a:pt x="7161990" y="3210222"/>
                </a:lnTo>
                <a:lnTo>
                  <a:pt x="7162424" y="3205784"/>
                </a:lnTo>
                <a:lnTo>
                  <a:pt x="7163943" y="3205892"/>
                </a:lnTo>
                <a:lnTo>
                  <a:pt x="7165680" y="3207516"/>
                </a:lnTo>
                <a:lnTo>
                  <a:pt x="7164594" y="3204918"/>
                </a:lnTo>
                <a:lnTo>
                  <a:pt x="7162641" y="3203185"/>
                </a:lnTo>
                <a:lnTo>
                  <a:pt x="7162533" y="3198205"/>
                </a:lnTo>
                <a:close/>
                <a:moveTo>
                  <a:pt x="7063566" y="3196148"/>
                </a:moveTo>
                <a:lnTo>
                  <a:pt x="7066062" y="3197338"/>
                </a:lnTo>
                <a:lnTo>
                  <a:pt x="7062698" y="3199396"/>
                </a:lnTo>
                <a:close/>
                <a:moveTo>
                  <a:pt x="7163184" y="3191492"/>
                </a:moveTo>
                <a:lnTo>
                  <a:pt x="7165896" y="3192141"/>
                </a:lnTo>
                <a:lnTo>
                  <a:pt x="7166656" y="3194740"/>
                </a:lnTo>
                <a:lnTo>
                  <a:pt x="7170563" y="3198530"/>
                </a:lnTo>
                <a:lnTo>
                  <a:pt x="7169261" y="3199396"/>
                </a:lnTo>
                <a:lnTo>
                  <a:pt x="7166331" y="3197880"/>
                </a:lnTo>
                <a:lnTo>
                  <a:pt x="7162750" y="3193874"/>
                </a:lnTo>
                <a:close/>
                <a:moveTo>
                  <a:pt x="7174795" y="3188569"/>
                </a:moveTo>
                <a:lnTo>
                  <a:pt x="7176098" y="3188893"/>
                </a:lnTo>
                <a:lnTo>
                  <a:pt x="7177508" y="3191059"/>
                </a:lnTo>
                <a:lnTo>
                  <a:pt x="7177075" y="3192358"/>
                </a:lnTo>
                <a:lnTo>
                  <a:pt x="7178160" y="3192899"/>
                </a:lnTo>
                <a:lnTo>
                  <a:pt x="7177617" y="3195606"/>
                </a:lnTo>
                <a:lnTo>
                  <a:pt x="7175230" y="3198530"/>
                </a:lnTo>
                <a:lnTo>
                  <a:pt x="7173168" y="3197122"/>
                </a:lnTo>
                <a:lnTo>
                  <a:pt x="7168176" y="3194415"/>
                </a:lnTo>
                <a:lnTo>
                  <a:pt x="7167416" y="3193116"/>
                </a:lnTo>
                <a:lnTo>
                  <a:pt x="7170780" y="3190085"/>
                </a:lnTo>
                <a:close/>
                <a:moveTo>
                  <a:pt x="6492008" y="3187486"/>
                </a:moveTo>
                <a:lnTo>
                  <a:pt x="6494179" y="3189651"/>
                </a:lnTo>
                <a:lnTo>
                  <a:pt x="6499821" y="3189651"/>
                </a:lnTo>
                <a:lnTo>
                  <a:pt x="6507526" y="3190842"/>
                </a:lnTo>
                <a:lnTo>
                  <a:pt x="6511108" y="3193765"/>
                </a:lnTo>
                <a:lnTo>
                  <a:pt x="6513061" y="3192033"/>
                </a:lnTo>
                <a:lnTo>
                  <a:pt x="6515231" y="3189651"/>
                </a:lnTo>
                <a:lnTo>
                  <a:pt x="6522610" y="3190085"/>
                </a:lnTo>
                <a:lnTo>
                  <a:pt x="6527276" y="3193765"/>
                </a:lnTo>
                <a:lnTo>
                  <a:pt x="6535741" y="3195823"/>
                </a:lnTo>
                <a:lnTo>
                  <a:pt x="6546266" y="3196906"/>
                </a:lnTo>
                <a:lnTo>
                  <a:pt x="6548979" y="3201886"/>
                </a:lnTo>
                <a:lnTo>
                  <a:pt x="6548111" y="3206542"/>
                </a:lnTo>
                <a:lnTo>
                  <a:pt x="6550064" y="3208599"/>
                </a:lnTo>
                <a:lnTo>
                  <a:pt x="6558203" y="3212280"/>
                </a:lnTo>
                <a:lnTo>
                  <a:pt x="6572636" y="3212063"/>
                </a:lnTo>
                <a:lnTo>
                  <a:pt x="6585441" y="3214120"/>
                </a:lnTo>
                <a:lnTo>
                  <a:pt x="6596293" y="3212280"/>
                </a:lnTo>
                <a:lnTo>
                  <a:pt x="6599223" y="3208382"/>
                </a:lnTo>
                <a:lnTo>
                  <a:pt x="6600633" y="3198963"/>
                </a:lnTo>
                <a:lnTo>
                  <a:pt x="6605083" y="3198746"/>
                </a:lnTo>
                <a:lnTo>
                  <a:pt x="6611050" y="3204918"/>
                </a:lnTo>
                <a:lnTo>
                  <a:pt x="6614740" y="3204918"/>
                </a:lnTo>
                <a:lnTo>
                  <a:pt x="6619082" y="3204051"/>
                </a:lnTo>
                <a:lnTo>
                  <a:pt x="6622337" y="3206108"/>
                </a:lnTo>
                <a:lnTo>
                  <a:pt x="6627437" y="3210439"/>
                </a:lnTo>
                <a:lnTo>
                  <a:pt x="6631560" y="3210222"/>
                </a:lnTo>
                <a:lnTo>
                  <a:pt x="6634925" y="3213904"/>
                </a:lnTo>
                <a:lnTo>
                  <a:pt x="6637963" y="3212388"/>
                </a:lnTo>
                <a:lnTo>
                  <a:pt x="6644366" y="3212496"/>
                </a:lnTo>
                <a:lnTo>
                  <a:pt x="6644691" y="3218884"/>
                </a:lnTo>
                <a:lnTo>
                  <a:pt x="6649249" y="3224947"/>
                </a:lnTo>
                <a:lnTo>
                  <a:pt x="6649575" y="3228412"/>
                </a:lnTo>
                <a:lnTo>
                  <a:pt x="6652830" y="3232093"/>
                </a:lnTo>
                <a:lnTo>
                  <a:pt x="6658147" y="3234583"/>
                </a:lnTo>
                <a:lnTo>
                  <a:pt x="6663356" y="3232743"/>
                </a:lnTo>
                <a:lnTo>
                  <a:pt x="6667046" y="3235017"/>
                </a:lnTo>
                <a:lnTo>
                  <a:pt x="6670952" y="3234800"/>
                </a:lnTo>
                <a:lnTo>
                  <a:pt x="6674099" y="3232851"/>
                </a:lnTo>
                <a:lnTo>
                  <a:pt x="6678006" y="3232743"/>
                </a:lnTo>
                <a:lnTo>
                  <a:pt x="6679091" y="3234259"/>
                </a:lnTo>
                <a:lnTo>
                  <a:pt x="6683214" y="3235017"/>
                </a:lnTo>
                <a:lnTo>
                  <a:pt x="6685928" y="3237940"/>
                </a:lnTo>
                <a:lnTo>
                  <a:pt x="6684408" y="3248334"/>
                </a:lnTo>
                <a:lnTo>
                  <a:pt x="6682021" y="3251365"/>
                </a:lnTo>
                <a:lnTo>
                  <a:pt x="6684734" y="3253206"/>
                </a:lnTo>
                <a:lnTo>
                  <a:pt x="6686036" y="3260352"/>
                </a:lnTo>
                <a:lnTo>
                  <a:pt x="6683214" y="3261218"/>
                </a:lnTo>
                <a:lnTo>
                  <a:pt x="6679742" y="3257536"/>
                </a:lnTo>
                <a:lnTo>
                  <a:pt x="6674316" y="3258187"/>
                </a:lnTo>
                <a:lnTo>
                  <a:pt x="6668239" y="3253097"/>
                </a:lnTo>
                <a:lnTo>
                  <a:pt x="6663248" y="3251799"/>
                </a:lnTo>
                <a:lnTo>
                  <a:pt x="6658690" y="3246927"/>
                </a:lnTo>
                <a:lnTo>
                  <a:pt x="6655109" y="3246818"/>
                </a:lnTo>
                <a:lnTo>
                  <a:pt x="6648273" y="3250391"/>
                </a:lnTo>
                <a:lnTo>
                  <a:pt x="6641110" y="3250716"/>
                </a:lnTo>
                <a:lnTo>
                  <a:pt x="6635033" y="3247251"/>
                </a:lnTo>
                <a:lnTo>
                  <a:pt x="6628414" y="3245844"/>
                </a:lnTo>
                <a:lnTo>
                  <a:pt x="6622880" y="3250499"/>
                </a:lnTo>
                <a:lnTo>
                  <a:pt x="6616802" y="3246168"/>
                </a:lnTo>
                <a:lnTo>
                  <a:pt x="6608555" y="3245736"/>
                </a:lnTo>
                <a:lnTo>
                  <a:pt x="6603564" y="3248442"/>
                </a:lnTo>
                <a:lnTo>
                  <a:pt x="6590976" y="3243678"/>
                </a:lnTo>
                <a:lnTo>
                  <a:pt x="6579473" y="3236424"/>
                </a:lnTo>
                <a:lnTo>
                  <a:pt x="6571876" y="3236532"/>
                </a:lnTo>
                <a:lnTo>
                  <a:pt x="6566125" y="3232634"/>
                </a:lnTo>
                <a:lnTo>
                  <a:pt x="6562762" y="3232851"/>
                </a:lnTo>
                <a:lnTo>
                  <a:pt x="6559832" y="3236207"/>
                </a:lnTo>
                <a:lnTo>
                  <a:pt x="6555274" y="3235342"/>
                </a:lnTo>
                <a:lnTo>
                  <a:pt x="6551692" y="3231552"/>
                </a:lnTo>
                <a:lnTo>
                  <a:pt x="6548437" y="3231877"/>
                </a:lnTo>
                <a:lnTo>
                  <a:pt x="6544096" y="3236857"/>
                </a:lnTo>
                <a:lnTo>
                  <a:pt x="6533462" y="3233826"/>
                </a:lnTo>
                <a:lnTo>
                  <a:pt x="6526083" y="3228195"/>
                </a:lnTo>
                <a:lnTo>
                  <a:pt x="6518811" y="3227762"/>
                </a:lnTo>
                <a:lnTo>
                  <a:pt x="6515556" y="3226030"/>
                </a:lnTo>
                <a:lnTo>
                  <a:pt x="6511108" y="3228629"/>
                </a:lnTo>
                <a:lnTo>
                  <a:pt x="6505573" y="3226571"/>
                </a:lnTo>
                <a:lnTo>
                  <a:pt x="6499170" y="3225597"/>
                </a:lnTo>
                <a:lnTo>
                  <a:pt x="6497001" y="3223540"/>
                </a:lnTo>
                <a:lnTo>
                  <a:pt x="6500364" y="3217585"/>
                </a:lnTo>
                <a:lnTo>
                  <a:pt x="6502426" y="3215528"/>
                </a:lnTo>
                <a:lnTo>
                  <a:pt x="6499062" y="3215420"/>
                </a:lnTo>
                <a:lnTo>
                  <a:pt x="6496132" y="3216935"/>
                </a:lnTo>
                <a:lnTo>
                  <a:pt x="6492985" y="3214987"/>
                </a:lnTo>
                <a:lnTo>
                  <a:pt x="6490815" y="3210873"/>
                </a:lnTo>
                <a:lnTo>
                  <a:pt x="6485606" y="3212930"/>
                </a:lnTo>
                <a:lnTo>
                  <a:pt x="6475948" y="3212713"/>
                </a:lnTo>
                <a:lnTo>
                  <a:pt x="6472909" y="3210873"/>
                </a:lnTo>
                <a:lnTo>
                  <a:pt x="6472692" y="3208165"/>
                </a:lnTo>
                <a:lnTo>
                  <a:pt x="6474320" y="3207841"/>
                </a:lnTo>
                <a:lnTo>
                  <a:pt x="6476273" y="3209898"/>
                </a:lnTo>
                <a:lnTo>
                  <a:pt x="6479854" y="3208599"/>
                </a:lnTo>
                <a:lnTo>
                  <a:pt x="6480288" y="3203726"/>
                </a:lnTo>
                <a:lnTo>
                  <a:pt x="6485280" y="3203077"/>
                </a:lnTo>
                <a:lnTo>
                  <a:pt x="6487560" y="3198096"/>
                </a:lnTo>
                <a:lnTo>
                  <a:pt x="6487233" y="3193116"/>
                </a:lnTo>
                <a:close/>
                <a:moveTo>
                  <a:pt x="6834053" y="3185971"/>
                </a:moveTo>
                <a:lnTo>
                  <a:pt x="6837851" y="3193549"/>
                </a:lnTo>
                <a:lnTo>
                  <a:pt x="6836007" y="3197123"/>
                </a:lnTo>
                <a:lnTo>
                  <a:pt x="6834162" y="3202103"/>
                </a:lnTo>
                <a:lnTo>
                  <a:pt x="6833076" y="3198530"/>
                </a:lnTo>
                <a:lnTo>
                  <a:pt x="6831014" y="3195174"/>
                </a:lnTo>
                <a:lnTo>
                  <a:pt x="6832642" y="3192251"/>
                </a:lnTo>
                <a:lnTo>
                  <a:pt x="6832967" y="3188461"/>
                </a:lnTo>
                <a:close/>
                <a:moveTo>
                  <a:pt x="7164270" y="3183372"/>
                </a:moveTo>
                <a:lnTo>
                  <a:pt x="7165572" y="3183372"/>
                </a:lnTo>
                <a:lnTo>
                  <a:pt x="7165572" y="3184996"/>
                </a:lnTo>
                <a:lnTo>
                  <a:pt x="7163619" y="3184996"/>
                </a:lnTo>
                <a:close/>
                <a:moveTo>
                  <a:pt x="7127482" y="3178824"/>
                </a:moveTo>
                <a:lnTo>
                  <a:pt x="7130846" y="3183479"/>
                </a:lnTo>
                <a:lnTo>
                  <a:pt x="7130738" y="3189001"/>
                </a:lnTo>
                <a:lnTo>
                  <a:pt x="7129002" y="3187160"/>
                </a:lnTo>
                <a:lnTo>
                  <a:pt x="7128784" y="3183371"/>
                </a:lnTo>
                <a:close/>
                <a:moveTo>
                  <a:pt x="7169912" y="3177742"/>
                </a:moveTo>
                <a:lnTo>
                  <a:pt x="7172191" y="3178066"/>
                </a:lnTo>
                <a:lnTo>
                  <a:pt x="7175012" y="3180232"/>
                </a:lnTo>
                <a:lnTo>
                  <a:pt x="7176965" y="3180448"/>
                </a:lnTo>
                <a:lnTo>
                  <a:pt x="7177074" y="3184672"/>
                </a:lnTo>
                <a:lnTo>
                  <a:pt x="7175989" y="3186837"/>
                </a:lnTo>
                <a:lnTo>
                  <a:pt x="7173168" y="3186729"/>
                </a:lnTo>
                <a:lnTo>
                  <a:pt x="7169912" y="3189111"/>
                </a:lnTo>
                <a:lnTo>
                  <a:pt x="7168176" y="3189219"/>
                </a:lnTo>
                <a:lnTo>
                  <a:pt x="7167525" y="3186404"/>
                </a:lnTo>
                <a:lnTo>
                  <a:pt x="7170779" y="3184130"/>
                </a:lnTo>
                <a:lnTo>
                  <a:pt x="7168502" y="3184563"/>
                </a:lnTo>
                <a:lnTo>
                  <a:pt x="7168176" y="3182615"/>
                </a:lnTo>
                <a:lnTo>
                  <a:pt x="7165680" y="3181965"/>
                </a:lnTo>
                <a:lnTo>
                  <a:pt x="7167850" y="3181315"/>
                </a:lnTo>
                <a:close/>
                <a:moveTo>
                  <a:pt x="7175121" y="3176334"/>
                </a:moveTo>
                <a:lnTo>
                  <a:pt x="7177075" y="3179257"/>
                </a:lnTo>
                <a:lnTo>
                  <a:pt x="7175338" y="3179149"/>
                </a:lnTo>
                <a:lnTo>
                  <a:pt x="7173059" y="3176550"/>
                </a:lnTo>
                <a:close/>
                <a:moveTo>
                  <a:pt x="7493942" y="3175793"/>
                </a:moveTo>
                <a:lnTo>
                  <a:pt x="7497740" y="3178932"/>
                </a:lnTo>
                <a:lnTo>
                  <a:pt x="7498934" y="3183264"/>
                </a:lnTo>
                <a:lnTo>
                  <a:pt x="7497740" y="3185429"/>
                </a:lnTo>
                <a:lnTo>
                  <a:pt x="7493508" y="3182939"/>
                </a:lnTo>
                <a:lnTo>
                  <a:pt x="7491012" y="3179041"/>
                </a:lnTo>
                <a:close/>
                <a:moveTo>
                  <a:pt x="7140395" y="3174169"/>
                </a:moveTo>
                <a:lnTo>
                  <a:pt x="7138225" y="3178391"/>
                </a:lnTo>
                <a:lnTo>
                  <a:pt x="7134969" y="3188244"/>
                </a:lnTo>
                <a:lnTo>
                  <a:pt x="7131823" y="3189435"/>
                </a:lnTo>
                <a:lnTo>
                  <a:pt x="7133559" y="3186620"/>
                </a:lnTo>
                <a:lnTo>
                  <a:pt x="7135621" y="3176659"/>
                </a:lnTo>
                <a:close/>
                <a:moveTo>
                  <a:pt x="6400203" y="3172545"/>
                </a:moveTo>
                <a:lnTo>
                  <a:pt x="6403242" y="3174819"/>
                </a:lnTo>
                <a:lnTo>
                  <a:pt x="6403350" y="3178176"/>
                </a:lnTo>
                <a:lnTo>
                  <a:pt x="6397273" y="3173736"/>
                </a:lnTo>
                <a:close/>
                <a:moveTo>
                  <a:pt x="7477339" y="3169621"/>
                </a:moveTo>
                <a:lnTo>
                  <a:pt x="7480270" y="3171678"/>
                </a:lnTo>
                <a:lnTo>
                  <a:pt x="7480270" y="3175792"/>
                </a:lnTo>
                <a:lnTo>
                  <a:pt x="7477339" y="3176550"/>
                </a:lnTo>
                <a:lnTo>
                  <a:pt x="7475277" y="3173627"/>
                </a:lnTo>
                <a:close/>
                <a:moveTo>
                  <a:pt x="6868236" y="3167998"/>
                </a:moveTo>
                <a:lnTo>
                  <a:pt x="6871058" y="3172112"/>
                </a:lnTo>
                <a:lnTo>
                  <a:pt x="6872251" y="3176875"/>
                </a:lnTo>
                <a:lnTo>
                  <a:pt x="6868671" y="3179257"/>
                </a:lnTo>
                <a:lnTo>
                  <a:pt x="6866609" y="3178391"/>
                </a:lnTo>
                <a:lnTo>
                  <a:pt x="6864872" y="3173195"/>
                </a:lnTo>
                <a:lnTo>
                  <a:pt x="6866283" y="3171787"/>
                </a:lnTo>
                <a:lnTo>
                  <a:pt x="6866283" y="3168755"/>
                </a:lnTo>
                <a:close/>
                <a:moveTo>
                  <a:pt x="4238334" y="3162368"/>
                </a:moveTo>
                <a:lnTo>
                  <a:pt x="4238767" y="3171029"/>
                </a:lnTo>
                <a:lnTo>
                  <a:pt x="4238768" y="3171028"/>
                </a:lnTo>
                <a:close/>
                <a:moveTo>
                  <a:pt x="7550914" y="3159985"/>
                </a:moveTo>
                <a:lnTo>
                  <a:pt x="7554061" y="3164641"/>
                </a:lnTo>
                <a:lnTo>
                  <a:pt x="7551457" y="3167563"/>
                </a:lnTo>
                <a:lnTo>
                  <a:pt x="7546682" y="3162800"/>
                </a:lnTo>
                <a:lnTo>
                  <a:pt x="7547550" y="3160310"/>
                </a:lnTo>
                <a:close/>
                <a:moveTo>
                  <a:pt x="6886141" y="3159769"/>
                </a:moveTo>
                <a:lnTo>
                  <a:pt x="6888312" y="3163775"/>
                </a:lnTo>
                <a:lnTo>
                  <a:pt x="6888312" y="3166265"/>
                </a:lnTo>
                <a:lnTo>
                  <a:pt x="6885273" y="3169405"/>
                </a:lnTo>
                <a:lnTo>
                  <a:pt x="6885273" y="3173411"/>
                </a:lnTo>
                <a:lnTo>
                  <a:pt x="6883428" y="3173411"/>
                </a:lnTo>
                <a:lnTo>
                  <a:pt x="6882886" y="3175360"/>
                </a:lnTo>
                <a:lnTo>
                  <a:pt x="6878762" y="3175360"/>
                </a:lnTo>
                <a:lnTo>
                  <a:pt x="6876917" y="3173844"/>
                </a:lnTo>
                <a:cubicBezTo>
                  <a:pt x="6876917" y="3173844"/>
                  <a:pt x="6876157" y="3172653"/>
                  <a:pt x="6876157" y="3172653"/>
                </a:cubicBezTo>
                <a:lnTo>
                  <a:pt x="6880389" y="3167889"/>
                </a:lnTo>
                <a:lnTo>
                  <a:pt x="6878979" y="3165074"/>
                </a:lnTo>
                <a:lnTo>
                  <a:pt x="6882126" y="3161826"/>
                </a:lnTo>
                <a:close/>
                <a:moveTo>
                  <a:pt x="7453792" y="3154355"/>
                </a:moveTo>
                <a:lnTo>
                  <a:pt x="7453249" y="3157278"/>
                </a:lnTo>
                <a:lnTo>
                  <a:pt x="7449994" y="3159876"/>
                </a:lnTo>
                <a:lnTo>
                  <a:pt x="7448474" y="3156412"/>
                </a:lnTo>
                <a:close/>
                <a:moveTo>
                  <a:pt x="6896341" y="3153056"/>
                </a:moveTo>
                <a:lnTo>
                  <a:pt x="6899814" y="3153597"/>
                </a:lnTo>
                <a:lnTo>
                  <a:pt x="6899814" y="3156629"/>
                </a:lnTo>
                <a:lnTo>
                  <a:pt x="6901333" y="3159877"/>
                </a:lnTo>
                <a:lnTo>
                  <a:pt x="6901116" y="3162042"/>
                </a:lnTo>
                <a:lnTo>
                  <a:pt x="6899922" y="3160202"/>
                </a:lnTo>
                <a:lnTo>
                  <a:pt x="6899162" y="3162259"/>
                </a:lnTo>
                <a:lnTo>
                  <a:pt x="6896341" y="3164424"/>
                </a:lnTo>
                <a:lnTo>
                  <a:pt x="6894930" y="3166266"/>
                </a:lnTo>
                <a:lnTo>
                  <a:pt x="6896015" y="3169838"/>
                </a:lnTo>
                <a:lnTo>
                  <a:pt x="6899814" y="3170812"/>
                </a:lnTo>
                <a:lnTo>
                  <a:pt x="6900574" y="3172870"/>
                </a:lnTo>
                <a:lnTo>
                  <a:pt x="6898945" y="3174927"/>
                </a:lnTo>
                <a:lnTo>
                  <a:pt x="6896015" y="3175793"/>
                </a:lnTo>
                <a:lnTo>
                  <a:pt x="6893411" y="3180449"/>
                </a:lnTo>
                <a:lnTo>
                  <a:pt x="6890373" y="3181965"/>
                </a:lnTo>
                <a:lnTo>
                  <a:pt x="6887117" y="3180233"/>
                </a:lnTo>
                <a:lnTo>
                  <a:pt x="6887768" y="3176659"/>
                </a:lnTo>
                <a:lnTo>
                  <a:pt x="6891784" y="3169730"/>
                </a:lnTo>
                <a:lnTo>
                  <a:pt x="6893953" y="3162259"/>
                </a:lnTo>
                <a:lnTo>
                  <a:pt x="6894388" y="3154788"/>
                </a:lnTo>
                <a:close/>
                <a:moveTo>
                  <a:pt x="5268374" y="3149375"/>
                </a:moveTo>
                <a:lnTo>
                  <a:pt x="5272281" y="3151215"/>
                </a:lnTo>
                <a:lnTo>
                  <a:pt x="5273801" y="3153814"/>
                </a:lnTo>
                <a:lnTo>
                  <a:pt x="5268592" y="3155654"/>
                </a:lnTo>
                <a:lnTo>
                  <a:pt x="5265770" y="3152622"/>
                </a:lnTo>
                <a:close/>
                <a:moveTo>
                  <a:pt x="4298886" y="3147858"/>
                </a:moveTo>
                <a:lnTo>
                  <a:pt x="4298886" y="3147858"/>
                </a:lnTo>
                <a:lnTo>
                  <a:pt x="4295413" y="3153055"/>
                </a:lnTo>
                <a:lnTo>
                  <a:pt x="4291923" y="3154529"/>
                </a:lnTo>
                <a:lnTo>
                  <a:pt x="4295413" y="3153055"/>
                </a:lnTo>
                <a:close/>
                <a:moveTo>
                  <a:pt x="7600940" y="3143853"/>
                </a:moveTo>
                <a:lnTo>
                  <a:pt x="7606258" y="3148508"/>
                </a:lnTo>
                <a:lnTo>
                  <a:pt x="7606475" y="3159335"/>
                </a:lnTo>
                <a:lnTo>
                  <a:pt x="7600723" y="3164641"/>
                </a:lnTo>
                <a:lnTo>
                  <a:pt x="7598119" y="3163234"/>
                </a:lnTo>
                <a:lnTo>
                  <a:pt x="7594863" y="3165182"/>
                </a:lnTo>
                <a:lnTo>
                  <a:pt x="7595189" y="3168430"/>
                </a:lnTo>
                <a:lnTo>
                  <a:pt x="7600397" y="3173194"/>
                </a:lnTo>
                <a:lnTo>
                  <a:pt x="7597576" y="3177525"/>
                </a:lnTo>
                <a:lnTo>
                  <a:pt x="7591824" y="3179258"/>
                </a:lnTo>
                <a:lnTo>
                  <a:pt x="7588678" y="3176876"/>
                </a:lnTo>
                <a:lnTo>
                  <a:pt x="7585205" y="3177742"/>
                </a:lnTo>
                <a:lnTo>
                  <a:pt x="7585205" y="3181098"/>
                </a:lnTo>
                <a:lnTo>
                  <a:pt x="7576741" y="3191600"/>
                </a:lnTo>
                <a:lnTo>
                  <a:pt x="7570555" y="3191816"/>
                </a:lnTo>
                <a:lnTo>
                  <a:pt x="7570772" y="3195281"/>
                </a:lnTo>
                <a:lnTo>
                  <a:pt x="7568819" y="3197879"/>
                </a:lnTo>
                <a:lnTo>
                  <a:pt x="7563068" y="3195389"/>
                </a:lnTo>
                <a:lnTo>
                  <a:pt x="7559053" y="3197122"/>
                </a:lnTo>
                <a:lnTo>
                  <a:pt x="7554387" y="3195715"/>
                </a:lnTo>
                <a:lnTo>
                  <a:pt x="7545597" y="3197447"/>
                </a:lnTo>
                <a:lnTo>
                  <a:pt x="7541798" y="3198205"/>
                </a:lnTo>
                <a:lnTo>
                  <a:pt x="7536155" y="3197338"/>
                </a:lnTo>
                <a:lnTo>
                  <a:pt x="7533768" y="3192791"/>
                </a:lnTo>
                <a:lnTo>
                  <a:pt x="7525738" y="3192466"/>
                </a:lnTo>
                <a:lnTo>
                  <a:pt x="7522374" y="3195065"/>
                </a:lnTo>
                <a:lnTo>
                  <a:pt x="7521506" y="3192358"/>
                </a:lnTo>
                <a:lnTo>
                  <a:pt x="7513693" y="3186078"/>
                </a:lnTo>
                <a:lnTo>
                  <a:pt x="7508592" y="3185645"/>
                </a:lnTo>
                <a:lnTo>
                  <a:pt x="7504577" y="3180665"/>
                </a:lnTo>
                <a:lnTo>
                  <a:pt x="7508050" y="3174277"/>
                </a:lnTo>
                <a:lnTo>
                  <a:pt x="7512716" y="3177092"/>
                </a:lnTo>
                <a:lnTo>
                  <a:pt x="7518575" y="3175685"/>
                </a:lnTo>
                <a:lnTo>
                  <a:pt x="7522808" y="3175685"/>
                </a:lnTo>
                <a:lnTo>
                  <a:pt x="7526172" y="3177308"/>
                </a:lnTo>
                <a:lnTo>
                  <a:pt x="7530295" y="3177525"/>
                </a:lnTo>
                <a:lnTo>
                  <a:pt x="7535830" y="3175251"/>
                </a:lnTo>
                <a:lnTo>
                  <a:pt x="7540605" y="3175793"/>
                </a:lnTo>
                <a:lnTo>
                  <a:pt x="7544186" y="3173411"/>
                </a:lnTo>
                <a:lnTo>
                  <a:pt x="7543535" y="3170163"/>
                </a:lnTo>
                <a:lnTo>
                  <a:pt x="7545922" y="3167781"/>
                </a:lnTo>
                <a:lnTo>
                  <a:pt x="7549612" y="3169621"/>
                </a:lnTo>
                <a:lnTo>
                  <a:pt x="7548526" y="3173411"/>
                </a:lnTo>
                <a:lnTo>
                  <a:pt x="7549937" y="3179365"/>
                </a:lnTo>
                <a:lnTo>
                  <a:pt x="7552976" y="3180123"/>
                </a:lnTo>
                <a:lnTo>
                  <a:pt x="7556448" y="3175793"/>
                </a:lnTo>
                <a:lnTo>
                  <a:pt x="7559378" y="3175685"/>
                </a:lnTo>
                <a:lnTo>
                  <a:pt x="7562526" y="3179040"/>
                </a:lnTo>
                <a:lnTo>
                  <a:pt x="7565889" y="3176876"/>
                </a:lnTo>
                <a:lnTo>
                  <a:pt x="7568385" y="3177850"/>
                </a:lnTo>
                <a:lnTo>
                  <a:pt x="7571315" y="3175685"/>
                </a:lnTo>
                <a:lnTo>
                  <a:pt x="7573051" y="3171029"/>
                </a:lnTo>
                <a:lnTo>
                  <a:pt x="7582167" y="3163558"/>
                </a:lnTo>
                <a:lnTo>
                  <a:pt x="7586725" y="3163775"/>
                </a:lnTo>
                <a:lnTo>
                  <a:pt x="7589220" y="3161176"/>
                </a:lnTo>
                <a:lnTo>
                  <a:pt x="7587484" y="3159335"/>
                </a:lnTo>
                <a:lnTo>
                  <a:pt x="7585096" y="3149050"/>
                </a:lnTo>
                <a:lnTo>
                  <a:pt x="7587484" y="3145369"/>
                </a:lnTo>
                <a:lnTo>
                  <a:pt x="7593127" y="3145585"/>
                </a:lnTo>
                <a:lnTo>
                  <a:pt x="7596274" y="3147967"/>
                </a:lnTo>
                <a:lnTo>
                  <a:pt x="7598010" y="3145910"/>
                </a:lnTo>
                <a:close/>
                <a:moveTo>
                  <a:pt x="2046081" y="3143636"/>
                </a:moveTo>
                <a:lnTo>
                  <a:pt x="2046081" y="3143637"/>
                </a:lnTo>
                <a:lnTo>
                  <a:pt x="2048251" y="3147209"/>
                </a:lnTo>
                <a:lnTo>
                  <a:pt x="2055522" y="3148725"/>
                </a:lnTo>
                <a:lnTo>
                  <a:pt x="2059754" y="3150457"/>
                </a:lnTo>
                <a:lnTo>
                  <a:pt x="2066699" y="3160202"/>
                </a:lnTo>
                <a:lnTo>
                  <a:pt x="2069846" y="3160202"/>
                </a:lnTo>
                <a:lnTo>
                  <a:pt x="2069846" y="3160201"/>
                </a:lnTo>
                <a:lnTo>
                  <a:pt x="2066699" y="3160201"/>
                </a:lnTo>
                <a:lnTo>
                  <a:pt x="2059754" y="3150457"/>
                </a:lnTo>
                <a:lnTo>
                  <a:pt x="2055522" y="3148725"/>
                </a:lnTo>
                <a:lnTo>
                  <a:pt x="2048252" y="3147209"/>
                </a:lnTo>
                <a:close/>
                <a:moveTo>
                  <a:pt x="2276462" y="3143550"/>
                </a:moveTo>
                <a:lnTo>
                  <a:pt x="2276462" y="3144502"/>
                </a:lnTo>
                <a:lnTo>
                  <a:pt x="2278001" y="3144918"/>
                </a:lnTo>
                <a:lnTo>
                  <a:pt x="2278089" y="3144610"/>
                </a:lnTo>
                <a:close/>
                <a:moveTo>
                  <a:pt x="4242999" y="3142120"/>
                </a:moveTo>
                <a:lnTo>
                  <a:pt x="4238985" y="3145476"/>
                </a:lnTo>
                <a:lnTo>
                  <a:pt x="4235512" y="3146126"/>
                </a:lnTo>
                <a:lnTo>
                  <a:pt x="4235512" y="3146127"/>
                </a:lnTo>
                <a:lnTo>
                  <a:pt x="4238984" y="3145477"/>
                </a:lnTo>
                <a:lnTo>
                  <a:pt x="4243000" y="3142121"/>
                </a:lnTo>
                <a:lnTo>
                  <a:pt x="4245062" y="3142121"/>
                </a:lnTo>
                <a:lnTo>
                  <a:pt x="4247557" y="3144286"/>
                </a:lnTo>
                <a:lnTo>
                  <a:pt x="4249837" y="3147426"/>
                </a:lnTo>
                <a:lnTo>
                  <a:pt x="4249945" y="3151323"/>
                </a:lnTo>
                <a:lnTo>
                  <a:pt x="4249837" y="3147425"/>
                </a:lnTo>
                <a:lnTo>
                  <a:pt x="4247558" y="3144285"/>
                </a:lnTo>
                <a:lnTo>
                  <a:pt x="4245062" y="3142120"/>
                </a:lnTo>
                <a:close/>
                <a:moveTo>
                  <a:pt x="4284314" y="3141366"/>
                </a:moveTo>
                <a:lnTo>
                  <a:pt x="4284236" y="3141795"/>
                </a:lnTo>
                <a:lnTo>
                  <a:pt x="4283145" y="3143885"/>
                </a:lnTo>
                <a:lnTo>
                  <a:pt x="4284236" y="3141795"/>
                </a:lnTo>
                <a:close/>
                <a:moveTo>
                  <a:pt x="4310280" y="3134757"/>
                </a:moveTo>
                <a:lnTo>
                  <a:pt x="4308652" y="3138438"/>
                </a:lnTo>
                <a:lnTo>
                  <a:pt x="4299491" y="3147275"/>
                </a:lnTo>
                <a:lnTo>
                  <a:pt x="4308653" y="3138439"/>
                </a:lnTo>
                <a:close/>
                <a:moveTo>
                  <a:pt x="2279500" y="3132592"/>
                </a:moveTo>
                <a:lnTo>
                  <a:pt x="2273423" y="3133134"/>
                </a:lnTo>
                <a:lnTo>
                  <a:pt x="2268106" y="3133675"/>
                </a:lnTo>
                <a:lnTo>
                  <a:pt x="2268106" y="3133675"/>
                </a:lnTo>
                <a:lnTo>
                  <a:pt x="2273423" y="3133134"/>
                </a:lnTo>
                <a:lnTo>
                  <a:pt x="2279500" y="3132592"/>
                </a:lnTo>
                <a:lnTo>
                  <a:pt x="2283081" y="3136490"/>
                </a:lnTo>
                <a:lnTo>
                  <a:pt x="2283223" y="3137107"/>
                </a:lnTo>
                <a:lnTo>
                  <a:pt x="2283595" y="3138729"/>
                </a:lnTo>
                <a:lnTo>
                  <a:pt x="2283596" y="3138728"/>
                </a:lnTo>
                <a:lnTo>
                  <a:pt x="2283082" y="3136489"/>
                </a:lnTo>
                <a:close/>
                <a:moveTo>
                  <a:pt x="7026127" y="3131944"/>
                </a:moveTo>
                <a:lnTo>
                  <a:pt x="7028514" y="3131944"/>
                </a:lnTo>
                <a:lnTo>
                  <a:pt x="7028949" y="3134217"/>
                </a:lnTo>
                <a:lnTo>
                  <a:pt x="7026561" y="3134217"/>
                </a:lnTo>
                <a:close/>
                <a:moveTo>
                  <a:pt x="7033290" y="3131185"/>
                </a:moveTo>
                <a:lnTo>
                  <a:pt x="7033399" y="3133026"/>
                </a:lnTo>
                <a:lnTo>
                  <a:pt x="7031662" y="3133567"/>
                </a:lnTo>
                <a:lnTo>
                  <a:pt x="7030577" y="3131618"/>
                </a:lnTo>
                <a:close/>
                <a:moveTo>
                  <a:pt x="7021787" y="3130968"/>
                </a:moveTo>
                <a:lnTo>
                  <a:pt x="7024283" y="3132159"/>
                </a:lnTo>
                <a:lnTo>
                  <a:pt x="7021353" y="3137247"/>
                </a:lnTo>
                <a:lnTo>
                  <a:pt x="7020593" y="3134973"/>
                </a:lnTo>
                <a:lnTo>
                  <a:pt x="7017012" y="3137139"/>
                </a:lnTo>
                <a:lnTo>
                  <a:pt x="7013865" y="3134432"/>
                </a:lnTo>
                <a:lnTo>
                  <a:pt x="7019399" y="3132700"/>
                </a:lnTo>
                <a:close/>
                <a:moveTo>
                  <a:pt x="6735194" y="3128586"/>
                </a:moveTo>
                <a:lnTo>
                  <a:pt x="6736388" y="3129669"/>
                </a:lnTo>
                <a:lnTo>
                  <a:pt x="6735845" y="3136057"/>
                </a:lnTo>
                <a:lnTo>
                  <a:pt x="6734542" y="3136490"/>
                </a:lnTo>
                <a:lnTo>
                  <a:pt x="6734326" y="3130426"/>
                </a:lnTo>
                <a:close/>
                <a:moveTo>
                  <a:pt x="4673342" y="3127733"/>
                </a:moveTo>
                <a:lnTo>
                  <a:pt x="4670773" y="3129886"/>
                </a:lnTo>
                <a:lnTo>
                  <a:pt x="4664588" y="3136707"/>
                </a:lnTo>
                <a:lnTo>
                  <a:pt x="4660355" y="3142662"/>
                </a:lnTo>
                <a:lnTo>
                  <a:pt x="4652434" y="3144827"/>
                </a:lnTo>
                <a:lnTo>
                  <a:pt x="4652434" y="3144827"/>
                </a:lnTo>
                <a:lnTo>
                  <a:pt x="4660356" y="3142662"/>
                </a:lnTo>
                <a:lnTo>
                  <a:pt x="4664588" y="3136707"/>
                </a:lnTo>
                <a:lnTo>
                  <a:pt x="4670774" y="3129886"/>
                </a:lnTo>
                <a:close/>
                <a:moveTo>
                  <a:pt x="6731939" y="3126963"/>
                </a:moveTo>
                <a:lnTo>
                  <a:pt x="6733133" y="3128803"/>
                </a:lnTo>
                <a:lnTo>
                  <a:pt x="6733458" y="3137141"/>
                </a:lnTo>
                <a:lnTo>
                  <a:pt x="6732156" y="3141904"/>
                </a:lnTo>
                <a:lnTo>
                  <a:pt x="6728466" y="3144503"/>
                </a:lnTo>
                <a:lnTo>
                  <a:pt x="6726621" y="3142121"/>
                </a:lnTo>
                <a:lnTo>
                  <a:pt x="6727272" y="3135192"/>
                </a:lnTo>
                <a:lnTo>
                  <a:pt x="6729768" y="3128371"/>
                </a:lnTo>
                <a:close/>
                <a:moveTo>
                  <a:pt x="7012021" y="3119817"/>
                </a:moveTo>
                <a:lnTo>
                  <a:pt x="7012021" y="3122849"/>
                </a:lnTo>
                <a:lnTo>
                  <a:pt x="7009308" y="3122307"/>
                </a:lnTo>
                <a:close/>
                <a:moveTo>
                  <a:pt x="6979464" y="3119493"/>
                </a:moveTo>
                <a:lnTo>
                  <a:pt x="6988580" y="3119926"/>
                </a:lnTo>
                <a:lnTo>
                  <a:pt x="6995308" y="3122741"/>
                </a:lnTo>
                <a:lnTo>
                  <a:pt x="6995633" y="3125448"/>
                </a:lnTo>
                <a:lnTo>
                  <a:pt x="6999757" y="3130212"/>
                </a:lnTo>
                <a:lnTo>
                  <a:pt x="6999431" y="3133893"/>
                </a:lnTo>
                <a:lnTo>
                  <a:pt x="6995525" y="3133677"/>
                </a:lnTo>
                <a:lnTo>
                  <a:pt x="6990642" y="3138007"/>
                </a:lnTo>
                <a:lnTo>
                  <a:pt x="6985107" y="3137466"/>
                </a:lnTo>
                <a:lnTo>
                  <a:pt x="6979464" y="3138007"/>
                </a:lnTo>
                <a:lnTo>
                  <a:pt x="6977402" y="3136059"/>
                </a:lnTo>
                <a:lnTo>
                  <a:pt x="6970350" y="3134760"/>
                </a:lnTo>
                <a:lnTo>
                  <a:pt x="6966551" y="3129562"/>
                </a:lnTo>
                <a:lnTo>
                  <a:pt x="6967202" y="3123499"/>
                </a:lnTo>
                <a:lnTo>
                  <a:pt x="6971217" y="3120792"/>
                </a:lnTo>
                <a:lnTo>
                  <a:pt x="6975666" y="3122741"/>
                </a:lnTo>
                <a:close/>
                <a:moveTo>
                  <a:pt x="4217715" y="3119058"/>
                </a:moveTo>
                <a:lnTo>
                  <a:pt x="4219804" y="3120705"/>
                </a:lnTo>
                <a:lnTo>
                  <a:pt x="4217716" y="3119058"/>
                </a:lnTo>
                <a:close/>
                <a:moveTo>
                  <a:pt x="6512085" y="3116135"/>
                </a:moveTo>
                <a:lnTo>
                  <a:pt x="6514256" y="3117651"/>
                </a:lnTo>
                <a:lnTo>
                  <a:pt x="6511434" y="3120140"/>
                </a:lnTo>
                <a:close/>
                <a:moveTo>
                  <a:pt x="2094881" y="3115317"/>
                </a:moveTo>
                <a:lnTo>
                  <a:pt x="2092960" y="3117109"/>
                </a:lnTo>
                <a:lnTo>
                  <a:pt x="2092388" y="3118292"/>
                </a:lnTo>
                <a:lnTo>
                  <a:pt x="2092960" y="3117110"/>
                </a:lnTo>
                <a:close/>
                <a:moveTo>
                  <a:pt x="7017121" y="3114945"/>
                </a:moveTo>
                <a:lnTo>
                  <a:pt x="7016361" y="3117110"/>
                </a:lnTo>
                <a:lnTo>
                  <a:pt x="7013974" y="3117327"/>
                </a:lnTo>
                <a:lnTo>
                  <a:pt x="7012998" y="3115161"/>
                </a:lnTo>
                <a:close/>
                <a:moveTo>
                  <a:pt x="6352999" y="3113646"/>
                </a:moveTo>
                <a:lnTo>
                  <a:pt x="6357990" y="3117435"/>
                </a:lnTo>
                <a:lnTo>
                  <a:pt x="6357665" y="3121441"/>
                </a:lnTo>
                <a:lnTo>
                  <a:pt x="6358749" y="3126097"/>
                </a:lnTo>
                <a:lnTo>
                  <a:pt x="6349960" y="3117977"/>
                </a:lnTo>
                <a:close/>
                <a:moveTo>
                  <a:pt x="7051954" y="3112021"/>
                </a:moveTo>
                <a:lnTo>
                  <a:pt x="7057164" y="3112563"/>
                </a:lnTo>
                <a:lnTo>
                  <a:pt x="7061939" y="3116568"/>
                </a:lnTo>
                <a:lnTo>
                  <a:pt x="7071814" y="3118409"/>
                </a:lnTo>
                <a:lnTo>
                  <a:pt x="7083642" y="3125122"/>
                </a:lnTo>
                <a:lnTo>
                  <a:pt x="7085921" y="3134108"/>
                </a:lnTo>
                <a:lnTo>
                  <a:pt x="7084076" y="3138330"/>
                </a:lnTo>
                <a:lnTo>
                  <a:pt x="7079084" y="3138330"/>
                </a:lnTo>
                <a:lnTo>
                  <a:pt x="7073875" y="3132808"/>
                </a:lnTo>
                <a:lnTo>
                  <a:pt x="7069534" y="3131943"/>
                </a:lnTo>
                <a:lnTo>
                  <a:pt x="7060093" y="3126312"/>
                </a:lnTo>
                <a:lnTo>
                  <a:pt x="7055211" y="3126312"/>
                </a:lnTo>
                <a:lnTo>
                  <a:pt x="7053040" y="3129453"/>
                </a:lnTo>
                <a:lnTo>
                  <a:pt x="7042731" y="3128153"/>
                </a:lnTo>
                <a:lnTo>
                  <a:pt x="7040127" y="3123714"/>
                </a:lnTo>
                <a:lnTo>
                  <a:pt x="7037196" y="3123714"/>
                </a:lnTo>
                <a:lnTo>
                  <a:pt x="7032748" y="3128153"/>
                </a:lnTo>
                <a:lnTo>
                  <a:pt x="7028406" y="3128586"/>
                </a:lnTo>
                <a:lnTo>
                  <a:pt x="7026345" y="3125447"/>
                </a:lnTo>
                <a:lnTo>
                  <a:pt x="7022656" y="3121549"/>
                </a:lnTo>
                <a:lnTo>
                  <a:pt x="7018423" y="3128370"/>
                </a:lnTo>
                <a:lnTo>
                  <a:pt x="7015601" y="3128370"/>
                </a:lnTo>
                <a:lnTo>
                  <a:pt x="7014408" y="3125230"/>
                </a:lnTo>
                <a:lnTo>
                  <a:pt x="7016035" y="3121115"/>
                </a:lnTo>
                <a:lnTo>
                  <a:pt x="7019943" y="3119816"/>
                </a:lnTo>
                <a:lnTo>
                  <a:pt x="7020267" y="3117002"/>
                </a:lnTo>
                <a:lnTo>
                  <a:pt x="7022330" y="3114294"/>
                </a:lnTo>
                <a:lnTo>
                  <a:pt x="7032205" y="3114403"/>
                </a:lnTo>
                <a:lnTo>
                  <a:pt x="7039259" y="3113970"/>
                </a:lnTo>
                <a:lnTo>
                  <a:pt x="7042731" y="3115377"/>
                </a:lnTo>
                <a:lnTo>
                  <a:pt x="7047723" y="3115810"/>
                </a:lnTo>
                <a:close/>
                <a:moveTo>
                  <a:pt x="6345945" y="3108990"/>
                </a:moveTo>
                <a:lnTo>
                  <a:pt x="6350285" y="3110938"/>
                </a:lnTo>
                <a:lnTo>
                  <a:pt x="6346705" y="3114186"/>
                </a:lnTo>
                <a:close/>
                <a:moveTo>
                  <a:pt x="2042500" y="3107474"/>
                </a:moveTo>
                <a:lnTo>
                  <a:pt x="2042825" y="3108664"/>
                </a:lnTo>
                <a:lnTo>
                  <a:pt x="2041523" y="3111913"/>
                </a:lnTo>
                <a:lnTo>
                  <a:pt x="2041849" y="3114837"/>
                </a:lnTo>
                <a:lnTo>
                  <a:pt x="2040113" y="3118301"/>
                </a:lnTo>
                <a:lnTo>
                  <a:pt x="2037291" y="3119167"/>
                </a:lnTo>
                <a:lnTo>
                  <a:pt x="2035880" y="3117327"/>
                </a:lnTo>
                <a:lnTo>
                  <a:pt x="2035555" y="3115594"/>
                </a:lnTo>
                <a:lnTo>
                  <a:pt x="2038159" y="3111372"/>
                </a:lnTo>
                <a:close/>
                <a:moveTo>
                  <a:pt x="6529990" y="3106391"/>
                </a:moveTo>
                <a:lnTo>
                  <a:pt x="6538019" y="3107907"/>
                </a:lnTo>
                <a:lnTo>
                  <a:pt x="6545941" y="3112995"/>
                </a:lnTo>
                <a:lnTo>
                  <a:pt x="6548111" y="3117759"/>
                </a:lnTo>
                <a:lnTo>
                  <a:pt x="6544531" y="3119491"/>
                </a:lnTo>
                <a:lnTo>
                  <a:pt x="6543011" y="3122848"/>
                </a:lnTo>
                <a:lnTo>
                  <a:pt x="6539431" y="3122090"/>
                </a:lnTo>
                <a:lnTo>
                  <a:pt x="6536935" y="3118409"/>
                </a:lnTo>
                <a:lnTo>
                  <a:pt x="6532811" y="3124689"/>
                </a:lnTo>
                <a:lnTo>
                  <a:pt x="6529230" y="3120899"/>
                </a:lnTo>
                <a:lnTo>
                  <a:pt x="6529338" y="3114186"/>
                </a:lnTo>
                <a:lnTo>
                  <a:pt x="6526192" y="3115811"/>
                </a:lnTo>
                <a:lnTo>
                  <a:pt x="6526300" y="3117327"/>
                </a:lnTo>
                <a:lnTo>
                  <a:pt x="6522502" y="3117110"/>
                </a:lnTo>
                <a:lnTo>
                  <a:pt x="6524130" y="3114728"/>
                </a:lnTo>
                <a:lnTo>
                  <a:pt x="6529013" y="3113537"/>
                </a:lnTo>
                <a:lnTo>
                  <a:pt x="6529230" y="3111263"/>
                </a:lnTo>
                <a:lnTo>
                  <a:pt x="6527494" y="3107148"/>
                </a:lnTo>
                <a:close/>
                <a:moveTo>
                  <a:pt x="4635613" y="3105091"/>
                </a:moveTo>
                <a:lnTo>
                  <a:pt x="4636047" y="3110396"/>
                </a:lnTo>
                <a:lnTo>
                  <a:pt x="4636047" y="3116568"/>
                </a:lnTo>
                <a:lnTo>
                  <a:pt x="4640388" y="3144610"/>
                </a:lnTo>
                <a:lnTo>
                  <a:pt x="4643535" y="3164748"/>
                </a:lnTo>
                <a:lnTo>
                  <a:pt x="4648393" y="3188983"/>
                </a:lnTo>
                <a:lnTo>
                  <a:pt x="4649178" y="3192899"/>
                </a:lnTo>
                <a:lnTo>
                  <a:pt x="4649178" y="3192898"/>
                </a:lnTo>
                <a:lnTo>
                  <a:pt x="4648393" y="3188983"/>
                </a:lnTo>
                <a:lnTo>
                  <a:pt x="4643536" y="3164749"/>
                </a:lnTo>
                <a:lnTo>
                  <a:pt x="4640389" y="3144611"/>
                </a:lnTo>
                <a:lnTo>
                  <a:pt x="4640388" y="3144611"/>
                </a:lnTo>
                <a:lnTo>
                  <a:pt x="4636048" y="3116568"/>
                </a:lnTo>
                <a:lnTo>
                  <a:pt x="4636048" y="3110397"/>
                </a:lnTo>
                <a:lnTo>
                  <a:pt x="4635613" y="3105092"/>
                </a:lnTo>
                <a:close/>
                <a:moveTo>
                  <a:pt x="4673555" y="3105074"/>
                </a:moveTo>
                <a:lnTo>
                  <a:pt x="4675765" y="3106283"/>
                </a:lnTo>
                <a:lnTo>
                  <a:pt x="4676741" y="3109315"/>
                </a:lnTo>
                <a:lnTo>
                  <a:pt x="4679780" y="3109748"/>
                </a:lnTo>
                <a:lnTo>
                  <a:pt x="4681082" y="3116785"/>
                </a:lnTo>
                <a:lnTo>
                  <a:pt x="4680648" y="3120250"/>
                </a:lnTo>
                <a:lnTo>
                  <a:pt x="4676741" y="3124148"/>
                </a:lnTo>
                <a:lnTo>
                  <a:pt x="4673584" y="3127509"/>
                </a:lnTo>
                <a:lnTo>
                  <a:pt x="4673486" y="3127613"/>
                </a:lnTo>
                <a:lnTo>
                  <a:pt x="4673487" y="3127612"/>
                </a:lnTo>
                <a:lnTo>
                  <a:pt x="4673584" y="3127509"/>
                </a:lnTo>
                <a:lnTo>
                  <a:pt x="4676742" y="3124148"/>
                </a:lnTo>
                <a:lnTo>
                  <a:pt x="4680649" y="3120250"/>
                </a:lnTo>
                <a:lnTo>
                  <a:pt x="4681082" y="3116786"/>
                </a:lnTo>
                <a:lnTo>
                  <a:pt x="4679781" y="3109748"/>
                </a:lnTo>
                <a:lnTo>
                  <a:pt x="4676742" y="3109315"/>
                </a:lnTo>
                <a:lnTo>
                  <a:pt x="4675765" y="3106283"/>
                </a:lnTo>
                <a:close/>
                <a:moveTo>
                  <a:pt x="7567843" y="3104983"/>
                </a:moveTo>
                <a:lnTo>
                  <a:pt x="7578477" y="3111371"/>
                </a:lnTo>
                <a:lnTo>
                  <a:pt x="7585965" y="3113428"/>
                </a:lnTo>
                <a:lnTo>
                  <a:pt x="7594755" y="3120791"/>
                </a:lnTo>
                <a:lnTo>
                  <a:pt x="7601374" y="3122198"/>
                </a:lnTo>
                <a:lnTo>
                  <a:pt x="7605063" y="3126313"/>
                </a:lnTo>
                <a:lnTo>
                  <a:pt x="7610598" y="3128911"/>
                </a:lnTo>
                <a:lnTo>
                  <a:pt x="7614722" y="3135732"/>
                </a:lnTo>
                <a:lnTo>
                  <a:pt x="7617977" y="3135948"/>
                </a:lnTo>
                <a:lnTo>
                  <a:pt x="7619822" y="3146017"/>
                </a:lnTo>
                <a:lnTo>
                  <a:pt x="7622426" y="3146884"/>
                </a:lnTo>
                <a:lnTo>
                  <a:pt x="7622643" y="3151107"/>
                </a:lnTo>
                <a:lnTo>
                  <a:pt x="7620364" y="3155654"/>
                </a:lnTo>
                <a:lnTo>
                  <a:pt x="7618629" y="3161609"/>
                </a:lnTo>
                <a:lnTo>
                  <a:pt x="7613854" y="3156195"/>
                </a:lnTo>
                <a:lnTo>
                  <a:pt x="7612443" y="3151107"/>
                </a:lnTo>
                <a:lnTo>
                  <a:pt x="7614179" y="3147100"/>
                </a:lnTo>
                <a:lnTo>
                  <a:pt x="7610707" y="3134866"/>
                </a:lnTo>
                <a:lnTo>
                  <a:pt x="7602242" y="3126204"/>
                </a:lnTo>
                <a:lnTo>
                  <a:pt x="7596599" y="3125662"/>
                </a:lnTo>
                <a:lnTo>
                  <a:pt x="7588026" y="3120791"/>
                </a:lnTo>
                <a:lnTo>
                  <a:pt x="7571424" y="3111154"/>
                </a:lnTo>
                <a:lnTo>
                  <a:pt x="7568494" y="3108230"/>
                </a:lnTo>
                <a:close/>
                <a:moveTo>
                  <a:pt x="4218728" y="3104345"/>
                </a:moveTo>
                <a:lnTo>
                  <a:pt x="4219994" y="3105308"/>
                </a:lnTo>
                <a:lnTo>
                  <a:pt x="4224118" y="3108340"/>
                </a:lnTo>
                <a:lnTo>
                  <a:pt x="4224660" y="3120250"/>
                </a:lnTo>
                <a:lnTo>
                  <a:pt x="4224443" y="3124363"/>
                </a:lnTo>
                <a:lnTo>
                  <a:pt x="4224444" y="3124363"/>
                </a:lnTo>
                <a:lnTo>
                  <a:pt x="4224661" y="3120249"/>
                </a:lnTo>
                <a:lnTo>
                  <a:pt x="4224118" y="3108339"/>
                </a:lnTo>
                <a:lnTo>
                  <a:pt x="4219995" y="3105308"/>
                </a:lnTo>
                <a:close/>
                <a:moveTo>
                  <a:pt x="4217715" y="3103575"/>
                </a:moveTo>
                <a:lnTo>
                  <a:pt x="4214026" y="3104442"/>
                </a:lnTo>
                <a:lnTo>
                  <a:pt x="4210336" y="3105632"/>
                </a:lnTo>
                <a:lnTo>
                  <a:pt x="4210336" y="3105633"/>
                </a:lnTo>
                <a:lnTo>
                  <a:pt x="4214026" y="3104442"/>
                </a:lnTo>
                <a:close/>
                <a:moveTo>
                  <a:pt x="7554603" y="3102276"/>
                </a:moveTo>
                <a:lnTo>
                  <a:pt x="7557858" y="3104333"/>
                </a:lnTo>
                <a:lnTo>
                  <a:pt x="7557858" y="3108989"/>
                </a:lnTo>
                <a:lnTo>
                  <a:pt x="7552976" y="3110288"/>
                </a:lnTo>
                <a:lnTo>
                  <a:pt x="7549395" y="3108123"/>
                </a:lnTo>
                <a:lnTo>
                  <a:pt x="7549069" y="3104333"/>
                </a:lnTo>
                <a:close/>
                <a:moveTo>
                  <a:pt x="2282430" y="3101302"/>
                </a:moveTo>
                <a:lnTo>
                  <a:pt x="2278785" y="3102486"/>
                </a:lnTo>
                <a:lnTo>
                  <a:pt x="2282430" y="3101302"/>
                </a:lnTo>
                <a:lnTo>
                  <a:pt x="2282756" y="3104550"/>
                </a:lnTo>
                <a:close/>
                <a:moveTo>
                  <a:pt x="4650590" y="3101194"/>
                </a:moveTo>
                <a:lnTo>
                  <a:pt x="4648962" y="3101735"/>
                </a:lnTo>
                <a:lnTo>
                  <a:pt x="4648961" y="3101735"/>
                </a:lnTo>
                <a:lnTo>
                  <a:pt x="4650589" y="3101194"/>
                </a:lnTo>
                <a:lnTo>
                  <a:pt x="4652868" y="3103576"/>
                </a:lnTo>
                <a:lnTo>
                  <a:pt x="4657643" y="3101952"/>
                </a:lnTo>
                <a:lnTo>
                  <a:pt x="4657643" y="3101951"/>
                </a:lnTo>
                <a:lnTo>
                  <a:pt x="4652868" y="3103575"/>
                </a:lnTo>
                <a:close/>
                <a:moveTo>
                  <a:pt x="4639086" y="3096863"/>
                </a:moveTo>
                <a:lnTo>
                  <a:pt x="4641582" y="3097838"/>
                </a:lnTo>
                <a:lnTo>
                  <a:pt x="4643427" y="3101735"/>
                </a:lnTo>
                <a:lnTo>
                  <a:pt x="4647551" y="3103251"/>
                </a:lnTo>
                <a:lnTo>
                  <a:pt x="4648815" y="3101892"/>
                </a:lnTo>
                <a:lnTo>
                  <a:pt x="4647551" y="3103251"/>
                </a:lnTo>
                <a:lnTo>
                  <a:pt x="4643427" y="3101735"/>
                </a:lnTo>
                <a:lnTo>
                  <a:pt x="4641582" y="3097837"/>
                </a:lnTo>
                <a:lnTo>
                  <a:pt x="4639087" y="3096863"/>
                </a:lnTo>
                <a:close/>
                <a:moveTo>
                  <a:pt x="4222227" y="3096456"/>
                </a:moveTo>
                <a:lnTo>
                  <a:pt x="4221188" y="3097296"/>
                </a:lnTo>
                <a:lnTo>
                  <a:pt x="4221188" y="3097296"/>
                </a:lnTo>
                <a:close/>
                <a:moveTo>
                  <a:pt x="4210390" y="3096375"/>
                </a:moveTo>
                <a:lnTo>
                  <a:pt x="4209251" y="3097512"/>
                </a:lnTo>
                <a:lnTo>
                  <a:pt x="4211096" y="3100977"/>
                </a:lnTo>
                <a:lnTo>
                  <a:pt x="4210432" y="3105047"/>
                </a:lnTo>
                <a:lnTo>
                  <a:pt x="4211096" y="3100977"/>
                </a:lnTo>
                <a:lnTo>
                  <a:pt x="4209251" y="3097512"/>
                </a:lnTo>
                <a:close/>
                <a:moveTo>
                  <a:pt x="2240543" y="3094047"/>
                </a:moveTo>
                <a:lnTo>
                  <a:pt x="2232946" y="3097512"/>
                </a:lnTo>
                <a:lnTo>
                  <a:pt x="2230560" y="3099569"/>
                </a:lnTo>
                <a:lnTo>
                  <a:pt x="2224699" y="3099786"/>
                </a:lnTo>
                <a:lnTo>
                  <a:pt x="2220576" y="3098703"/>
                </a:lnTo>
                <a:lnTo>
                  <a:pt x="2215584" y="3099894"/>
                </a:lnTo>
                <a:lnTo>
                  <a:pt x="2211135" y="3098054"/>
                </a:lnTo>
                <a:lnTo>
                  <a:pt x="2209724" y="3094589"/>
                </a:lnTo>
                <a:lnTo>
                  <a:pt x="2209879" y="3094347"/>
                </a:lnTo>
                <a:lnTo>
                  <a:pt x="2209724" y="3094590"/>
                </a:lnTo>
                <a:lnTo>
                  <a:pt x="2211135" y="3098055"/>
                </a:lnTo>
                <a:lnTo>
                  <a:pt x="2215584" y="3099895"/>
                </a:lnTo>
                <a:lnTo>
                  <a:pt x="2220576" y="3098704"/>
                </a:lnTo>
                <a:lnTo>
                  <a:pt x="2224699" y="3099787"/>
                </a:lnTo>
                <a:lnTo>
                  <a:pt x="2230559" y="3099570"/>
                </a:lnTo>
                <a:lnTo>
                  <a:pt x="2232947" y="3097513"/>
                </a:lnTo>
                <a:lnTo>
                  <a:pt x="2240543" y="3094048"/>
                </a:lnTo>
                <a:lnTo>
                  <a:pt x="2247054" y="3095239"/>
                </a:lnTo>
                <a:lnTo>
                  <a:pt x="2252805" y="3098055"/>
                </a:lnTo>
                <a:lnTo>
                  <a:pt x="2261053" y="3094482"/>
                </a:lnTo>
                <a:lnTo>
                  <a:pt x="2265393" y="3094482"/>
                </a:lnTo>
                <a:lnTo>
                  <a:pt x="2267238" y="3097188"/>
                </a:lnTo>
                <a:lnTo>
                  <a:pt x="2270059" y="3096972"/>
                </a:lnTo>
                <a:lnTo>
                  <a:pt x="2275376" y="3099570"/>
                </a:lnTo>
                <a:lnTo>
                  <a:pt x="2277764" y="3102818"/>
                </a:lnTo>
                <a:lnTo>
                  <a:pt x="2277764" y="3102818"/>
                </a:lnTo>
                <a:lnTo>
                  <a:pt x="2275377" y="3099569"/>
                </a:lnTo>
                <a:lnTo>
                  <a:pt x="2270060" y="3096971"/>
                </a:lnTo>
                <a:lnTo>
                  <a:pt x="2267238" y="3097187"/>
                </a:lnTo>
                <a:lnTo>
                  <a:pt x="2265393" y="3094481"/>
                </a:lnTo>
                <a:lnTo>
                  <a:pt x="2261052" y="3094481"/>
                </a:lnTo>
                <a:lnTo>
                  <a:pt x="2252805" y="3098054"/>
                </a:lnTo>
                <a:lnTo>
                  <a:pt x="2247054" y="3095239"/>
                </a:lnTo>
                <a:close/>
                <a:moveTo>
                  <a:pt x="6966769" y="3093940"/>
                </a:moveTo>
                <a:lnTo>
                  <a:pt x="6966769" y="3097729"/>
                </a:lnTo>
                <a:lnTo>
                  <a:pt x="6970025" y="3103034"/>
                </a:lnTo>
                <a:lnTo>
                  <a:pt x="6969916" y="3105308"/>
                </a:lnTo>
                <a:lnTo>
                  <a:pt x="6967963" y="3104442"/>
                </a:lnTo>
                <a:lnTo>
                  <a:pt x="6965901" y="3098812"/>
                </a:lnTo>
                <a:lnTo>
                  <a:pt x="6965033" y="3094914"/>
                </a:lnTo>
                <a:close/>
                <a:moveTo>
                  <a:pt x="6337155" y="3093940"/>
                </a:moveTo>
                <a:lnTo>
                  <a:pt x="6342907" y="3101952"/>
                </a:lnTo>
                <a:lnTo>
                  <a:pt x="6337481" y="3100328"/>
                </a:lnTo>
                <a:lnTo>
                  <a:pt x="6334768" y="3096646"/>
                </a:lnTo>
                <a:close/>
                <a:moveTo>
                  <a:pt x="4272408" y="3092965"/>
                </a:moveTo>
                <a:lnTo>
                  <a:pt x="4273818" y="3096213"/>
                </a:lnTo>
                <a:lnTo>
                  <a:pt x="4273819" y="3096213"/>
                </a:lnTo>
                <a:lnTo>
                  <a:pt x="4272408" y="3092965"/>
                </a:lnTo>
                <a:close/>
                <a:moveTo>
                  <a:pt x="4667307" y="3090947"/>
                </a:moveTo>
                <a:lnTo>
                  <a:pt x="4668277" y="3093940"/>
                </a:lnTo>
                <a:lnTo>
                  <a:pt x="4670990" y="3095456"/>
                </a:lnTo>
                <a:lnTo>
                  <a:pt x="4670990" y="3096863"/>
                </a:lnTo>
                <a:lnTo>
                  <a:pt x="4670990" y="3099245"/>
                </a:lnTo>
                <a:lnTo>
                  <a:pt x="4672400" y="3101194"/>
                </a:lnTo>
                <a:lnTo>
                  <a:pt x="4672400" y="3104442"/>
                </a:lnTo>
                <a:lnTo>
                  <a:pt x="4672402" y="3104443"/>
                </a:lnTo>
                <a:lnTo>
                  <a:pt x="4672402" y="3101194"/>
                </a:lnTo>
                <a:lnTo>
                  <a:pt x="4670990" y="3099245"/>
                </a:lnTo>
                <a:lnTo>
                  <a:pt x="4670990" y="3096864"/>
                </a:lnTo>
                <a:lnTo>
                  <a:pt x="4671967" y="3097946"/>
                </a:lnTo>
                <a:lnTo>
                  <a:pt x="4674571" y="3098488"/>
                </a:lnTo>
                <a:lnTo>
                  <a:pt x="4677068" y="3096972"/>
                </a:lnTo>
                <a:lnTo>
                  <a:pt x="4679021" y="3095023"/>
                </a:lnTo>
                <a:lnTo>
                  <a:pt x="4679021" y="3095022"/>
                </a:lnTo>
                <a:lnTo>
                  <a:pt x="4677067" y="3096971"/>
                </a:lnTo>
                <a:lnTo>
                  <a:pt x="4674572" y="3098486"/>
                </a:lnTo>
                <a:lnTo>
                  <a:pt x="4671968" y="3097945"/>
                </a:lnTo>
                <a:lnTo>
                  <a:pt x="4670991" y="3096863"/>
                </a:lnTo>
                <a:lnTo>
                  <a:pt x="4670991" y="3095455"/>
                </a:lnTo>
                <a:lnTo>
                  <a:pt x="4668278" y="3093939"/>
                </a:lnTo>
                <a:close/>
                <a:moveTo>
                  <a:pt x="4267633" y="3090908"/>
                </a:moveTo>
                <a:lnTo>
                  <a:pt x="4269502" y="3091713"/>
                </a:lnTo>
                <a:lnTo>
                  <a:pt x="4267633" y="3090908"/>
                </a:lnTo>
                <a:close/>
                <a:moveTo>
                  <a:pt x="6901116" y="3090259"/>
                </a:moveTo>
                <a:cubicBezTo>
                  <a:pt x="6901116" y="3090367"/>
                  <a:pt x="6900139" y="3092966"/>
                  <a:pt x="6900139" y="3092966"/>
                </a:cubicBezTo>
                <a:lnTo>
                  <a:pt x="6897535" y="3091775"/>
                </a:lnTo>
                <a:close/>
                <a:moveTo>
                  <a:pt x="4681191" y="3088634"/>
                </a:moveTo>
                <a:lnTo>
                  <a:pt x="4680078" y="3091504"/>
                </a:lnTo>
                <a:lnTo>
                  <a:pt x="4681191" y="3088635"/>
                </a:lnTo>
                <a:close/>
                <a:moveTo>
                  <a:pt x="7476037" y="3088201"/>
                </a:moveTo>
                <a:lnTo>
                  <a:pt x="7478967" y="3090258"/>
                </a:lnTo>
                <a:lnTo>
                  <a:pt x="7482548" y="3089392"/>
                </a:lnTo>
                <a:lnTo>
                  <a:pt x="7485370" y="3091666"/>
                </a:lnTo>
                <a:lnTo>
                  <a:pt x="7480161" y="3095996"/>
                </a:lnTo>
                <a:lnTo>
                  <a:pt x="7474084" y="3095996"/>
                </a:lnTo>
                <a:lnTo>
                  <a:pt x="7472023" y="3094048"/>
                </a:lnTo>
                <a:lnTo>
                  <a:pt x="7468224" y="3094048"/>
                </a:lnTo>
                <a:lnTo>
                  <a:pt x="7466705" y="3090583"/>
                </a:lnTo>
                <a:lnTo>
                  <a:pt x="7468224" y="3089392"/>
                </a:lnTo>
                <a:lnTo>
                  <a:pt x="7472023" y="3089392"/>
                </a:lnTo>
                <a:close/>
                <a:moveTo>
                  <a:pt x="4660247" y="3087984"/>
                </a:moveTo>
                <a:lnTo>
                  <a:pt x="4660247" y="3087985"/>
                </a:lnTo>
                <a:lnTo>
                  <a:pt x="4662200" y="3087985"/>
                </a:lnTo>
                <a:lnTo>
                  <a:pt x="4664370" y="3089825"/>
                </a:lnTo>
                <a:lnTo>
                  <a:pt x="4665831" y="3090058"/>
                </a:lnTo>
                <a:lnTo>
                  <a:pt x="4664371" y="3089825"/>
                </a:lnTo>
                <a:lnTo>
                  <a:pt x="4662201" y="3087984"/>
                </a:lnTo>
                <a:close/>
                <a:moveTo>
                  <a:pt x="4275121" y="3087552"/>
                </a:moveTo>
                <a:lnTo>
                  <a:pt x="4275121" y="3087552"/>
                </a:lnTo>
                <a:lnTo>
                  <a:pt x="4276314" y="3091883"/>
                </a:lnTo>
                <a:lnTo>
                  <a:pt x="4276097" y="3096213"/>
                </a:lnTo>
                <a:lnTo>
                  <a:pt x="4276098" y="3096213"/>
                </a:lnTo>
                <a:lnTo>
                  <a:pt x="4276315" y="3091882"/>
                </a:lnTo>
                <a:close/>
                <a:moveTo>
                  <a:pt x="6906217" y="3087335"/>
                </a:moveTo>
                <a:lnTo>
                  <a:pt x="6907628" y="3089717"/>
                </a:lnTo>
                <a:lnTo>
                  <a:pt x="6904155" y="3089176"/>
                </a:lnTo>
                <a:close/>
                <a:moveTo>
                  <a:pt x="6963187" y="3086795"/>
                </a:moveTo>
                <a:lnTo>
                  <a:pt x="6972086" y="3087985"/>
                </a:lnTo>
                <a:lnTo>
                  <a:pt x="6976861" y="3088852"/>
                </a:lnTo>
                <a:lnTo>
                  <a:pt x="6971218" y="3090260"/>
                </a:lnTo>
                <a:lnTo>
                  <a:pt x="6960801" y="3092642"/>
                </a:lnTo>
                <a:lnTo>
                  <a:pt x="6955591" y="3091234"/>
                </a:lnTo>
                <a:lnTo>
                  <a:pt x="6955483" y="3089393"/>
                </a:lnTo>
                <a:lnTo>
                  <a:pt x="6953530" y="3088203"/>
                </a:lnTo>
                <a:lnTo>
                  <a:pt x="6956134" y="3087011"/>
                </a:lnTo>
                <a:lnTo>
                  <a:pt x="6959824" y="3088311"/>
                </a:lnTo>
                <a:close/>
                <a:moveTo>
                  <a:pt x="7071704" y="3085062"/>
                </a:moveTo>
                <a:lnTo>
                  <a:pt x="7073766" y="3087119"/>
                </a:lnTo>
                <a:lnTo>
                  <a:pt x="7074201" y="3090800"/>
                </a:lnTo>
                <a:lnTo>
                  <a:pt x="7076045" y="3091775"/>
                </a:lnTo>
                <a:lnTo>
                  <a:pt x="7069426" y="3093832"/>
                </a:lnTo>
                <a:lnTo>
                  <a:pt x="7061830" y="3091233"/>
                </a:lnTo>
                <a:lnTo>
                  <a:pt x="7059768" y="3089284"/>
                </a:lnTo>
                <a:lnTo>
                  <a:pt x="7062914" y="3087227"/>
                </a:lnTo>
                <a:close/>
                <a:moveTo>
                  <a:pt x="6938230" y="3084954"/>
                </a:moveTo>
                <a:lnTo>
                  <a:pt x="6943005" y="3086145"/>
                </a:lnTo>
                <a:lnTo>
                  <a:pt x="6946043" y="3087769"/>
                </a:lnTo>
                <a:lnTo>
                  <a:pt x="6949081" y="3085496"/>
                </a:lnTo>
                <a:lnTo>
                  <a:pt x="6952120" y="3086578"/>
                </a:lnTo>
                <a:lnTo>
                  <a:pt x="6952228" y="3090692"/>
                </a:lnTo>
                <a:lnTo>
                  <a:pt x="6948539" y="3090259"/>
                </a:lnTo>
                <a:lnTo>
                  <a:pt x="6944306" y="3092208"/>
                </a:lnTo>
                <a:lnTo>
                  <a:pt x="6940942" y="3091341"/>
                </a:lnTo>
                <a:lnTo>
                  <a:pt x="6935734" y="3094481"/>
                </a:lnTo>
                <a:lnTo>
                  <a:pt x="6931284" y="3093507"/>
                </a:lnTo>
                <a:lnTo>
                  <a:pt x="6929548" y="3090908"/>
                </a:lnTo>
                <a:lnTo>
                  <a:pt x="6929873" y="3088635"/>
                </a:lnTo>
                <a:lnTo>
                  <a:pt x="6932912" y="3085496"/>
                </a:lnTo>
                <a:lnTo>
                  <a:pt x="6935299" y="3086145"/>
                </a:lnTo>
                <a:close/>
                <a:moveTo>
                  <a:pt x="6562327" y="3084846"/>
                </a:moveTo>
                <a:lnTo>
                  <a:pt x="6564281" y="3086903"/>
                </a:lnTo>
                <a:lnTo>
                  <a:pt x="6562653" y="3088959"/>
                </a:lnTo>
                <a:lnTo>
                  <a:pt x="6559071" y="3087335"/>
                </a:lnTo>
                <a:lnTo>
                  <a:pt x="6558746" y="3084954"/>
                </a:lnTo>
                <a:close/>
                <a:moveTo>
                  <a:pt x="6912402" y="3082464"/>
                </a:moveTo>
                <a:lnTo>
                  <a:pt x="6913270" y="3085712"/>
                </a:lnTo>
                <a:lnTo>
                  <a:pt x="6909689" y="3084521"/>
                </a:lnTo>
                <a:close/>
                <a:moveTo>
                  <a:pt x="6484846" y="3082247"/>
                </a:moveTo>
                <a:lnTo>
                  <a:pt x="6487775" y="3082247"/>
                </a:lnTo>
                <a:lnTo>
                  <a:pt x="6491248" y="3083871"/>
                </a:lnTo>
                <a:lnTo>
                  <a:pt x="6491899" y="3087877"/>
                </a:lnTo>
                <a:lnTo>
                  <a:pt x="6493744" y="3089609"/>
                </a:lnTo>
                <a:lnTo>
                  <a:pt x="6495697" y="3100436"/>
                </a:lnTo>
                <a:lnTo>
                  <a:pt x="6500689" y="3106066"/>
                </a:lnTo>
                <a:lnTo>
                  <a:pt x="6508610" y="3107799"/>
                </a:lnTo>
                <a:lnTo>
                  <a:pt x="6506114" y="3113645"/>
                </a:lnTo>
                <a:lnTo>
                  <a:pt x="6507742" y="3118517"/>
                </a:lnTo>
                <a:lnTo>
                  <a:pt x="6505355" y="3122090"/>
                </a:lnTo>
                <a:lnTo>
                  <a:pt x="6503076" y="3120142"/>
                </a:lnTo>
                <a:lnTo>
                  <a:pt x="6501557" y="3115485"/>
                </a:lnTo>
                <a:lnTo>
                  <a:pt x="6496782" y="3116027"/>
                </a:lnTo>
                <a:lnTo>
                  <a:pt x="6491465" y="3112562"/>
                </a:lnTo>
                <a:lnTo>
                  <a:pt x="6489946" y="3106175"/>
                </a:lnTo>
                <a:lnTo>
                  <a:pt x="6487342" y="3104442"/>
                </a:lnTo>
                <a:lnTo>
                  <a:pt x="6487124" y="3099787"/>
                </a:lnTo>
                <a:lnTo>
                  <a:pt x="6484846" y="3097404"/>
                </a:lnTo>
                <a:lnTo>
                  <a:pt x="6476056" y="3096755"/>
                </a:lnTo>
                <a:lnTo>
                  <a:pt x="6473126" y="3092857"/>
                </a:lnTo>
                <a:lnTo>
                  <a:pt x="6477575" y="3089501"/>
                </a:lnTo>
                <a:lnTo>
                  <a:pt x="6477684" y="3085603"/>
                </a:lnTo>
                <a:lnTo>
                  <a:pt x="6479311" y="3084737"/>
                </a:lnTo>
                <a:lnTo>
                  <a:pt x="6482350" y="3087985"/>
                </a:lnTo>
                <a:lnTo>
                  <a:pt x="6486907" y="3089609"/>
                </a:lnTo>
                <a:lnTo>
                  <a:pt x="6485280" y="3086469"/>
                </a:lnTo>
                <a:close/>
                <a:moveTo>
                  <a:pt x="7196607" y="3082139"/>
                </a:moveTo>
                <a:lnTo>
                  <a:pt x="7205396" y="3085279"/>
                </a:lnTo>
                <a:lnTo>
                  <a:pt x="7210280" y="3082896"/>
                </a:lnTo>
                <a:lnTo>
                  <a:pt x="7217550" y="3084954"/>
                </a:lnTo>
                <a:lnTo>
                  <a:pt x="7221457" y="3083980"/>
                </a:lnTo>
                <a:lnTo>
                  <a:pt x="7229596" y="3085712"/>
                </a:lnTo>
                <a:lnTo>
                  <a:pt x="7226883" y="3087336"/>
                </a:lnTo>
                <a:lnTo>
                  <a:pt x="7216899" y="3088852"/>
                </a:lnTo>
                <a:lnTo>
                  <a:pt x="7206048" y="3087336"/>
                </a:lnTo>
                <a:lnTo>
                  <a:pt x="7198452" y="3084196"/>
                </a:lnTo>
                <a:cubicBezTo>
                  <a:pt x="7197888" y="3083466"/>
                  <a:pt x="7197271" y="3082778"/>
                  <a:pt x="7196607" y="3082139"/>
                </a:cubicBezTo>
                <a:close/>
                <a:moveTo>
                  <a:pt x="4679941" y="3081747"/>
                </a:moveTo>
                <a:lnTo>
                  <a:pt x="4680540" y="3083870"/>
                </a:lnTo>
                <a:lnTo>
                  <a:pt x="4680978" y="3087074"/>
                </a:lnTo>
                <a:lnTo>
                  <a:pt x="4680540" y="3083871"/>
                </a:lnTo>
                <a:close/>
                <a:moveTo>
                  <a:pt x="4237885" y="3081625"/>
                </a:moveTo>
                <a:lnTo>
                  <a:pt x="4237031" y="3082679"/>
                </a:lnTo>
                <a:lnTo>
                  <a:pt x="4237899" y="3088418"/>
                </a:lnTo>
                <a:lnTo>
                  <a:pt x="4236815" y="3092315"/>
                </a:lnTo>
                <a:lnTo>
                  <a:pt x="4237900" y="3088418"/>
                </a:lnTo>
                <a:lnTo>
                  <a:pt x="4237032" y="3082679"/>
                </a:lnTo>
                <a:close/>
                <a:moveTo>
                  <a:pt x="7187058" y="3080731"/>
                </a:moveTo>
                <a:lnTo>
                  <a:pt x="7193244" y="3080731"/>
                </a:lnTo>
                <a:lnTo>
                  <a:pt x="7190531" y="3081922"/>
                </a:lnTo>
                <a:close/>
                <a:moveTo>
                  <a:pt x="4243619" y="3080376"/>
                </a:moveTo>
                <a:lnTo>
                  <a:pt x="4243867" y="3080406"/>
                </a:lnTo>
                <a:lnTo>
                  <a:pt x="4247774" y="3090041"/>
                </a:lnTo>
                <a:lnTo>
                  <a:pt x="4247775" y="3090042"/>
                </a:lnTo>
                <a:lnTo>
                  <a:pt x="4243868" y="3080406"/>
                </a:lnTo>
                <a:close/>
                <a:moveTo>
                  <a:pt x="2203643" y="3078344"/>
                </a:moveTo>
                <a:lnTo>
                  <a:pt x="2203538" y="3083762"/>
                </a:lnTo>
                <a:lnTo>
                  <a:pt x="2205274" y="3084304"/>
                </a:lnTo>
                <a:lnTo>
                  <a:pt x="2209181" y="3086145"/>
                </a:lnTo>
                <a:lnTo>
                  <a:pt x="2210909" y="3091223"/>
                </a:lnTo>
                <a:lnTo>
                  <a:pt x="2209182" y="3086144"/>
                </a:lnTo>
                <a:lnTo>
                  <a:pt x="2205275" y="3084303"/>
                </a:lnTo>
                <a:lnTo>
                  <a:pt x="2203539" y="3083762"/>
                </a:lnTo>
                <a:close/>
                <a:moveTo>
                  <a:pt x="7009415" y="3077916"/>
                </a:moveTo>
                <a:lnTo>
                  <a:pt x="7015166" y="3078240"/>
                </a:lnTo>
                <a:lnTo>
                  <a:pt x="7021026" y="3084087"/>
                </a:lnTo>
                <a:lnTo>
                  <a:pt x="7019723" y="3086902"/>
                </a:lnTo>
                <a:lnTo>
                  <a:pt x="7016793" y="3086902"/>
                </a:lnTo>
                <a:lnTo>
                  <a:pt x="7012778" y="3086902"/>
                </a:lnTo>
                <a:lnTo>
                  <a:pt x="7009523" y="3087552"/>
                </a:lnTo>
                <a:lnTo>
                  <a:pt x="7005400" y="3085712"/>
                </a:lnTo>
                <a:lnTo>
                  <a:pt x="7002687" y="3082896"/>
                </a:lnTo>
                <a:close/>
                <a:moveTo>
                  <a:pt x="6897753" y="3073694"/>
                </a:moveTo>
                <a:lnTo>
                  <a:pt x="6904372" y="3074235"/>
                </a:lnTo>
                <a:lnTo>
                  <a:pt x="6904805" y="3076292"/>
                </a:lnTo>
                <a:lnTo>
                  <a:pt x="6903287" y="3078999"/>
                </a:lnTo>
                <a:lnTo>
                  <a:pt x="6906976" y="3078241"/>
                </a:lnTo>
                <a:lnTo>
                  <a:pt x="6908604" y="3075318"/>
                </a:lnTo>
                <a:lnTo>
                  <a:pt x="6912077" y="3077808"/>
                </a:lnTo>
                <a:lnTo>
                  <a:pt x="6911208" y="3081489"/>
                </a:lnTo>
                <a:lnTo>
                  <a:pt x="6906976" y="3082464"/>
                </a:lnTo>
                <a:lnTo>
                  <a:pt x="6905565" y="3080732"/>
                </a:lnTo>
                <a:lnTo>
                  <a:pt x="6903287" y="3084088"/>
                </a:lnTo>
                <a:lnTo>
                  <a:pt x="6899380" y="3081057"/>
                </a:lnTo>
                <a:lnTo>
                  <a:pt x="6896233" y="3083872"/>
                </a:lnTo>
                <a:lnTo>
                  <a:pt x="6892651" y="3081273"/>
                </a:lnTo>
                <a:lnTo>
                  <a:pt x="6892435" y="3076942"/>
                </a:lnTo>
                <a:close/>
                <a:moveTo>
                  <a:pt x="6574806" y="3071311"/>
                </a:moveTo>
                <a:lnTo>
                  <a:pt x="6580665" y="3071527"/>
                </a:lnTo>
                <a:lnTo>
                  <a:pt x="6584138" y="3074017"/>
                </a:lnTo>
                <a:lnTo>
                  <a:pt x="6579581" y="3078781"/>
                </a:lnTo>
                <a:lnTo>
                  <a:pt x="6576542" y="3079647"/>
                </a:lnTo>
                <a:lnTo>
                  <a:pt x="6574589" y="3077157"/>
                </a:lnTo>
                <a:lnTo>
                  <a:pt x="6575240" y="3074125"/>
                </a:lnTo>
                <a:close/>
                <a:moveTo>
                  <a:pt x="7534962" y="3069362"/>
                </a:moveTo>
                <a:lnTo>
                  <a:pt x="7539195" y="3069578"/>
                </a:lnTo>
                <a:lnTo>
                  <a:pt x="7542016" y="3073693"/>
                </a:lnTo>
                <a:lnTo>
                  <a:pt x="7541799" y="3076616"/>
                </a:lnTo>
                <a:lnTo>
                  <a:pt x="7535830" y="3072719"/>
                </a:lnTo>
                <a:close/>
                <a:moveTo>
                  <a:pt x="4336758" y="3068820"/>
                </a:moveTo>
                <a:lnTo>
                  <a:pt x="4332200" y="3074451"/>
                </a:lnTo>
                <a:lnTo>
                  <a:pt x="4332092" y="3079647"/>
                </a:lnTo>
                <a:lnTo>
                  <a:pt x="4324821" y="3087226"/>
                </a:lnTo>
                <a:lnTo>
                  <a:pt x="4322217" y="3092315"/>
                </a:lnTo>
                <a:lnTo>
                  <a:pt x="4323194" y="3099028"/>
                </a:lnTo>
                <a:lnTo>
                  <a:pt x="4324604" y="3100977"/>
                </a:lnTo>
                <a:lnTo>
                  <a:pt x="4323736" y="3113969"/>
                </a:lnTo>
                <a:lnTo>
                  <a:pt x="4322109" y="3120574"/>
                </a:lnTo>
                <a:lnTo>
                  <a:pt x="4323737" y="3113969"/>
                </a:lnTo>
                <a:lnTo>
                  <a:pt x="4324605" y="3100977"/>
                </a:lnTo>
                <a:lnTo>
                  <a:pt x="4323194" y="3099028"/>
                </a:lnTo>
                <a:lnTo>
                  <a:pt x="4322217" y="3092315"/>
                </a:lnTo>
                <a:lnTo>
                  <a:pt x="4324822" y="3087227"/>
                </a:lnTo>
                <a:lnTo>
                  <a:pt x="4332092" y="3079648"/>
                </a:lnTo>
                <a:lnTo>
                  <a:pt x="4332201" y="3074450"/>
                </a:lnTo>
                <a:close/>
                <a:moveTo>
                  <a:pt x="6316211" y="3068281"/>
                </a:moveTo>
                <a:lnTo>
                  <a:pt x="6321528" y="3070012"/>
                </a:lnTo>
                <a:lnTo>
                  <a:pt x="6328583" y="3080190"/>
                </a:lnTo>
                <a:lnTo>
                  <a:pt x="6328583" y="3089068"/>
                </a:lnTo>
                <a:lnTo>
                  <a:pt x="6322505" y="3087228"/>
                </a:lnTo>
                <a:lnTo>
                  <a:pt x="6316320" y="3077916"/>
                </a:lnTo>
                <a:lnTo>
                  <a:pt x="6311220" y="3076076"/>
                </a:lnTo>
                <a:lnTo>
                  <a:pt x="6311220" y="3072287"/>
                </a:lnTo>
                <a:close/>
                <a:moveTo>
                  <a:pt x="4647764" y="3068173"/>
                </a:moveTo>
                <a:lnTo>
                  <a:pt x="4641365" y="3073909"/>
                </a:lnTo>
                <a:lnTo>
                  <a:pt x="4636915" y="3079323"/>
                </a:lnTo>
                <a:lnTo>
                  <a:pt x="4633334" y="3093722"/>
                </a:lnTo>
                <a:lnTo>
                  <a:pt x="4632792" y="3097403"/>
                </a:lnTo>
                <a:lnTo>
                  <a:pt x="4632466" y="3100111"/>
                </a:lnTo>
                <a:lnTo>
                  <a:pt x="4633458" y="3101680"/>
                </a:lnTo>
                <a:lnTo>
                  <a:pt x="4632467" y="3100111"/>
                </a:lnTo>
                <a:lnTo>
                  <a:pt x="4632792" y="3097405"/>
                </a:lnTo>
                <a:lnTo>
                  <a:pt x="4634069" y="3097086"/>
                </a:lnTo>
                <a:lnTo>
                  <a:pt x="4632793" y="3097404"/>
                </a:lnTo>
                <a:lnTo>
                  <a:pt x="4633335" y="3093723"/>
                </a:lnTo>
                <a:lnTo>
                  <a:pt x="4636916" y="3079323"/>
                </a:lnTo>
                <a:lnTo>
                  <a:pt x="4641365" y="3073909"/>
                </a:lnTo>
                <a:lnTo>
                  <a:pt x="4645343" y="3070354"/>
                </a:lnTo>
                <a:lnTo>
                  <a:pt x="4641365" y="3073909"/>
                </a:lnTo>
                <a:lnTo>
                  <a:pt x="4647638" y="3068288"/>
                </a:lnTo>
                <a:close/>
                <a:moveTo>
                  <a:pt x="4655689" y="3065789"/>
                </a:moveTo>
                <a:lnTo>
                  <a:pt x="4651782" y="3068929"/>
                </a:lnTo>
                <a:lnTo>
                  <a:pt x="4647876" y="3069686"/>
                </a:lnTo>
                <a:lnTo>
                  <a:pt x="4646574" y="3069254"/>
                </a:lnTo>
                <a:lnTo>
                  <a:pt x="4647877" y="3069687"/>
                </a:lnTo>
                <a:lnTo>
                  <a:pt x="4651783" y="3068929"/>
                </a:lnTo>
                <a:close/>
                <a:moveTo>
                  <a:pt x="7182718" y="3065574"/>
                </a:moveTo>
                <a:lnTo>
                  <a:pt x="7185647" y="3068713"/>
                </a:lnTo>
                <a:lnTo>
                  <a:pt x="7182610" y="3069363"/>
                </a:lnTo>
                <a:lnTo>
                  <a:pt x="7179788" y="3066548"/>
                </a:lnTo>
                <a:close/>
                <a:moveTo>
                  <a:pt x="7089284" y="3065357"/>
                </a:moveTo>
                <a:lnTo>
                  <a:pt x="7092974" y="3066764"/>
                </a:lnTo>
                <a:lnTo>
                  <a:pt x="7091781" y="3074776"/>
                </a:lnTo>
                <a:lnTo>
                  <a:pt x="7089501" y="3076400"/>
                </a:lnTo>
                <a:lnTo>
                  <a:pt x="7084402" y="3075317"/>
                </a:lnTo>
                <a:lnTo>
                  <a:pt x="7084402" y="3068930"/>
                </a:lnTo>
                <a:close/>
                <a:moveTo>
                  <a:pt x="6569814" y="3063733"/>
                </a:moveTo>
                <a:lnTo>
                  <a:pt x="6576000" y="3064816"/>
                </a:lnTo>
                <a:lnTo>
                  <a:pt x="6578604" y="3067306"/>
                </a:lnTo>
                <a:lnTo>
                  <a:pt x="6580558" y="3067955"/>
                </a:lnTo>
                <a:lnTo>
                  <a:pt x="6580666" y="3069687"/>
                </a:lnTo>
                <a:lnTo>
                  <a:pt x="6575023" y="3069363"/>
                </a:lnTo>
                <a:lnTo>
                  <a:pt x="6572744" y="3069471"/>
                </a:lnTo>
                <a:lnTo>
                  <a:pt x="6569380" y="3065573"/>
                </a:lnTo>
                <a:close/>
                <a:moveTo>
                  <a:pt x="7081689" y="3063408"/>
                </a:moveTo>
                <a:lnTo>
                  <a:pt x="7086572" y="3065248"/>
                </a:lnTo>
                <a:lnTo>
                  <a:pt x="7080929" y="3066331"/>
                </a:lnTo>
                <a:lnTo>
                  <a:pt x="7077130" y="3064382"/>
                </a:lnTo>
                <a:close/>
                <a:moveTo>
                  <a:pt x="4669470" y="3063299"/>
                </a:moveTo>
                <a:lnTo>
                  <a:pt x="4665564" y="3064056"/>
                </a:lnTo>
                <a:lnTo>
                  <a:pt x="4665456" y="3067305"/>
                </a:lnTo>
                <a:lnTo>
                  <a:pt x="4663719" y="3068929"/>
                </a:lnTo>
                <a:lnTo>
                  <a:pt x="4663720" y="3068929"/>
                </a:lnTo>
                <a:lnTo>
                  <a:pt x="4665456" y="3067305"/>
                </a:lnTo>
                <a:lnTo>
                  <a:pt x="4665565" y="3064056"/>
                </a:lnTo>
                <a:close/>
                <a:moveTo>
                  <a:pt x="2160113" y="3063149"/>
                </a:moveTo>
                <a:lnTo>
                  <a:pt x="2159589" y="3065573"/>
                </a:lnTo>
                <a:lnTo>
                  <a:pt x="2158504" y="3067738"/>
                </a:lnTo>
                <a:lnTo>
                  <a:pt x="2159589" y="3065574"/>
                </a:lnTo>
                <a:close/>
                <a:moveTo>
                  <a:pt x="7090043" y="3061784"/>
                </a:moveTo>
                <a:lnTo>
                  <a:pt x="7088199" y="3064707"/>
                </a:lnTo>
                <a:lnTo>
                  <a:pt x="7086137" y="3062433"/>
                </a:lnTo>
                <a:close/>
                <a:moveTo>
                  <a:pt x="6998240" y="3060918"/>
                </a:moveTo>
                <a:lnTo>
                  <a:pt x="6999759" y="3062109"/>
                </a:lnTo>
                <a:lnTo>
                  <a:pt x="7001496" y="3065573"/>
                </a:lnTo>
                <a:lnTo>
                  <a:pt x="6996503" y="3064166"/>
                </a:lnTo>
                <a:close/>
                <a:moveTo>
                  <a:pt x="7196065" y="3057561"/>
                </a:moveTo>
                <a:lnTo>
                  <a:pt x="7202793" y="3058752"/>
                </a:lnTo>
                <a:lnTo>
                  <a:pt x="7206590" y="3058752"/>
                </a:lnTo>
                <a:lnTo>
                  <a:pt x="7210498" y="3061350"/>
                </a:lnTo>
                <a:lnTo>
                  <a:pt x="7213644" y="3066331"/>
                </a:lnTo>
                <a:lnTo>
                  <a:pt x="7217008" y="3068063"/>
                </a:lnTo>
                <a:lnTo>
                  <a:pt x="7219070" y="3070121"/>
                </a:lnTo>
                <a:lnTo>
                  <a:pt x="7213644" y="3071095"/>
                </a:lnTo>
                <a:lnTo>
                  <a:pt x="7211474" y="3070121"/>
                </a:lnTo>
                <a:lnTo>
                  <a:pt x="7210172" y="3070121"/>
                </a:lnTo>
                <a:lnTo>
                  <a:pt x="7206590" y="3069363"/>
                </a:lnTo>
                <a:lnTo>
                  <a:pt x="7207242" y="3066331"/>
                </a:lnTo>
                <a:lnTo>
                  <a:pt x="7203118" y="3060809"/>
                </a:lnTo>
                <a:lnTo>
                  <a:pt x="7200623" y="3060701"/>
                </a:lnTo>
                <a:lnTo>
                  <a:pt x="7200840" y="3063408"/>
                </a:lnTo>
                <a:lnTo>
                  <a:pt x="7196933" y="3059402"/>
                </a:lnTo>
                <a:close/>
                <a:moveTo>
                  <a:pt x="2180096" y="3057150"/>
                </a:moveTo>
                <a:lnTo>
                  <a:pt x="2180424" y="3059834"/>
                </a:lnTo>
                <a:lnTo>
                  <a:pt x="2184439" y="3067305"/>
                </a:lnTo>
                <a:lnTo>
                  <a:pt x="2187478" y="3067305"/>
                </a:lnTo>
                <a:lnTo>
                  <a:pt x="2198872" y="3070987"/>
                </a:lnTo>
                <a:lnTo>
                  <a:pt x="2203647" y="3078132"/>
                </a:lnTo>
                <a:lnTo>
                  <a:pt x="2203647" y="3078131"/>
                </a:lnTo>
                <a:lnTo>
                  <a:pt x="2198872" y="3070986"/>
                </a:lnTo>
                <a:lnTo>
                  <a:pt x="2187478" y="3067305"/>
                </a:lnTo>
                <a:lnTo>
                  <a:pt x="2184440" y="3067305"/>
                </a:lnTo>
                <a:lnTo>
                  <a:pt x="2180424" y="3059834"/>
                </a:lnTo>
                <a:close/>
                <a:moveTo>
                  <a:pt x="6454679" y="3056262"/>
                </a:moveTo>
                <a:lnTo>
                  <a:pt x="6458694" y="3056262"/>
                </a:lnTo>
                <a:lnTo>
                  <a:pt x="6460323" y="3060701"/>
                </a:lnTo>
                <a:lnTo>
                  <a:pt x="6456090" y="3063191"/>
                </a:lnTo>
                <a:lnTo>
                  <a:pt x="6452292" y="3059402"/>
                </a:lnTo>
                <a:close/>
                <a:moveTo>
                  <a:pt x="7006812" y="3054530"/>
                </a:moveTo>
                <a:lnTo>
                  <a:pt x="7009416" y="3056479"/>
                </a:lnTo>
                <a:lnTo>
                  <a:pt x="7009198" y="3060052"/>
                </a:lnTo>
                <a:lnTo>
                  <a:pt x="7012562" y="3061460"/>
                </a:lnTo>
                <a:lnTo>
                  <a:pt x="7013865" y="3063408"/>
                </a:lnTo>
                <a:lnTo>
                  <a:pt x="7011586" y="3065682"/>
                </a:lnTo>
                <a:lnTo>
                  <a:pt x="7009090" y="3063300"/>
                </a:lnTo>
                <a:lnTo>
                  <a:pt x="7004967" y="3063408"/>
                </a:lnTo>
                <a:lnTo>
                  <a:pt x="7002363" y="3059403"/>
                </a:lnTo>
                <a:lnTo>
                  <a:pt x="7002037" y="3056587"/>
                </a:lnTo>
                <a:lnTo>
                  <a:pt x="7003556" y="3055179"/>
                </a:lnTo>
                <a:close/>
                <a:moveTo>
                  <a:pt x="6863896" y="3054530"/>
                </a:moveTo>
                <a:lnTo>
                  <a:pt x="6866066" y="3054530"/>
                </a:lnTo>
                <a:lnTo>
                  <a:pt x="6869322" y="3056479"/>
                </a:lnTo>
                <a:lnTo>
                  <a:pt x="6865958" y="3057237"/>
                </a:lnTo>
                <a:close/>
                <a:moveTo>
                  <a:pt x="6307964" y="3054530"/>
                </a:moveTo>
                <a:lnTo>
                  <a:pt x="6311763" y="3056154"/>
                </a:lnTo>
                <a:lnTo>
                  <a:pt x="6311763" y="3059619"/>
                </a:lnTo>
                <a:lnTo>
                  <a:pt x="6308507" y="3062975"/>
                </a:lnTo>
                <a:lnTo>
                  <a:pt x="6305577" y="3059727"/>
                </a:lnTo>
                <a:close/>
                <a:moveTo>
                  <a:pt x="6567536" y="3053339"/>
                </a:moveTo>
                <a:lnTo>
                  <a:pt x="6573396" y="3055071"/>
                </a:lnTo>
                <a:lnTo>
                  <a:pt x="6574264" y="3056370"/>
                </a:lnTo>
                <a:lnTo>
                  <a:pt x="6571877" y="3057778"/>
                </a:lnTo>
                <a:lnTo>
                  <a:pt x="6567536" y="3056262"/>
                </a:lnTo>
                <a:lnTo>
                  <a:pt x="6566668" y="3053988"/>
                </a:lnTo>
                <a:close/>
                <a:moveTo>
                  <a:pt x="4281198" y="3053230"/>
                </a:moveTo>
                <a:lnTo>
                  <a:pt x="4281198" y="3053230"/>
                </a:lnTo>
                <a:lnTo>
                  <a:pt x="4283693" y="3055612"/>
                </a:lnTo>
                <a:lnTo>
                  <a:pt x="4283588" y="3057987"/>
                </a:lnTo>
                <a:lnTo>
                  <a:pt x="4283694" y="3055612"/>
                </a:lnTo>
                <a:close/>
                <a:moveTo>
                  <a:pt x="6996828" y="3052472"/>
                </a:moveTo>
                <a:lnTo>
                  <a:pt x="6999541" y="3052580"/>
                </a:lnTo>
                <a:lnTo>
                  <a:pt x="6999650" y="3054961"/>
                </a:lnTo>
                <a:lnTo>
                  <a:pt x="6998347" y="3058209"/>
                </a:lnTo>
                <a:lnTo>
                  <a:pt x="6995417" y="3057127"/>
                </a:lnTo>
                <a:close/>
                <a:moveTo>
                  <a:pt x="6871165" y="3052365"/>
                </a:moveTo>
                <a:lnTo>
                  <a:pt x="6871057" y="3054963"/>
                </a:lnTo>
                <a:lnTo>
                  <a:pt x="6867259" y="3053448"/>
                </a:lnTo>
                <a:close/>
                <a:moveTo>
                  <a:pt x="7129328" y="3050308"/>
                </a:moveTo>
                <a:lnTo>
                  <a:pt x="7141590" y="3054963"/>
                </a:lnTo>
                <a:lnTo>
                  <a:pt x="7149186" y="3060160"/>
                </a:lnTo>
                <a:lnTo>
                  <a:pt x="7156891" y="3059835"/>
                </a:lnTo>
                <a:lnTo>
                  <a:pt x="7164813" y="3060485"/>
                </a:lnTo>
                <a:lnTo>
                  <a:pt x="7166766" y="3062542"/>
                </a:lnTo>
                <a:lnTo>
                  <a:pt x="7165139" y="3065141"/>
                </a:lnTo>
                <a:lnTo>
                  <a:pt x="7165139" y="3070987"/>
                </a:lnTo>
                <a:lnTo>
                  <a:pt x="7169261" y="3074344"/>
                </a:lnTo>
                <a:lnTo>
                  <a:pt x="7170889" y="3078675"/>
                </a:lnTo>
                <a:lnTo>
                  <a:pt x="7167959" y="3083005"/>
                </a:lnTo>
                <a:lnTo>
                  <a:pt x="7165355" y="3087444"/>
                </a:lnTo>
                <a:lnTo>
                  <a:pt x="7167092" y="3093832"/>
                </a:lnTo>
                <a:lnTo>
                  <a:pt x="7167416" y="3104768"/>
                </a:lnTo>
                <a:lnTo>
                  <a:pt x="7170564" y="3110181"/>
                </a:lnTo>
                <a:lnTo>
                  <a:pt x="7173277" y="3113538"/>
                </a:lnTo>
                <a:lnTo>
                  <a:pt x="7175230" y="3113754"/>
                </a:lnTo>
                <a:lnTo>
                  <a:pt x="7174687" y="3107799"/>
                </a:lnTo>
                <a:lnTo>
                  <a:pt x="7176857" y="3105309"/>
                </a:lnTo>
                <a:lnTo>
                  <a:pt x="7179679" y="3107042"/>
                </a:lnTo>
                <a:lnTo>
                  <a:pt x="7179462" y="3111914"/>
                </a:lnTo>
                <a:lnTo>
                  <a:pt x="7181090" y="3116569"/>
                </a:lnTo>
                <a:lnTo>
                  <a:pt x="7182609" y="3115487"/>
                </a:lnTo>
                <a:lnTo>
                  <a:pt x="7184129" y="3119817"/>
                </a:lnTo>
                <a:lnTo>
                  <a:pt x="7189446" y="3124040"/>
                </a:lnTo>
                <a:lnTo>
                  <a:pt x="7192268" y="3126963"/>
                </a:lnTo>
                <a:lnTo>
                  <a:pt x="7196174" y="3126963"/>
                </a:lnTo>
                <a:lnTo>
                  <a:pt x="7200840" y="3124906"/>
                </a:lnTo>
                <a:lnTo>
                  <a:pt x="7202033" y="3120684"/>
                </a:lnTo>
                <a:lnTo>
                  <a:pt x="7204638" y="3118518"/>
                </a:lnTo>
                <a:lnTo>
                  <a:pt x="7207351" y="3117544"/>
                </a:lnTo>
                <a:lnTo>
                  <a:pt x="7207351" y="3111589"/>
                </a:lnTo>
                <a:lnTo>
                  <a:pt x="7210390" y="3106717"/>
                </a:lnTo>
                <a:lnTo>
                  <a:pt x="7215056" y="3106283"/>
                </a:lnTo>
                <a:lnTo>
                  <a:pt x="7219613" y="3103577"/>
                </a:lnTo>
                <a:lnTo>
                  <a:pt x="7220156" y="3099246"/>
                </a:lnTo>
                <a:lnTo>
                  <a:pt x="7221784" y="3096755"/>
                </a:lnTo>
                <a:lnTo>
                  <a:pt x="7223954" y="3097730"/>
                </a:lnTo>
                <a:lnTo>
                  <a:pt x="7226884" y="3097514"/>
                </a:lnTo>
                <a:lnTo>
                  <a:pt x="7231333" y="3095889"/>
                </a:lnTo>
                <a:lnTo>
                  <a:pt x="7238279" y="3095024"/>
                </a:lnTo>
                <a:lnTo>
                  <a:pt x="7239146" y="3091559"/>
                </a:lnTo>
                <a:lnTo>
                  <a:pt x="7236976" y="3087336"/>
                </a:lnTo>
                <a:lnTo>
                  <a:pt x="7237844" y="3085063"/>
                </a:lnTo>
                <a:lnTo>
                  <a:pt x="7249673" y="3078025"/>
                </a:lnTo>
                <a:lnTo>
                  <a:pt x="7255316" y="3078566"/>
                </a:lnTo>
                <a:lnTo>
                  <a:pt x="7259222" y="3082140"/>
                </a:lnTo>
                <a:lnTo>
                  <a:pt x="7266493" y="3085279"/>
                </a:lnTo>
                <a:lnTo>
                  <a:pt x="7274957" y="3087228"/>
                </a:lnTo>
                <a:lnTo>
                  <a:pt x="7279515" y="3091017"/>
                </a:lnTo>
                <a:lnTo>
                  <a:pt x="7284290" y="3091450"/>
                </a:lnTo>
                <a:lnTo>
                  <a:pt x="7290366" y="3093183"/>
                </a:lnTo>
                <a:lnTo>
                  <a:pt x="7304148" y="3099462"/>
                </a:lnTo>
                <a:lnTo>
                  <a:pt x="7307729" y="3098813"/>
                </a:lnTo>
                <a:lnTo>
                  <a:pt x="7310984" y="3099354"/>
                </a:lnTo>
                <a:lnTo>
                  <a:pt x="7316953" y="3100762"/>
                </a:lnTo>
                <a:lnTo>
                  <a:pt x="7321293" y="3100654"/>
                </a:lnTo>
                <a:lnTo>
                  <a:pt x="7324766" y="3103144"/>
                </a:lnTo>
                <a:lnTo>
                  <a:pt x="7324115" y="3105201"/>
                </a:lnTo>
                <a:lnTo>
                  <a:pt x="7324332" y="3107799"/>
                </a:lnTo>
                <a:lnTo>
                  <a:pt x="7327370" y="3108774"/>
                </a:lnTo>
                <a:lnTo>
                  <a:pt x="7331277" y="3107691"/>
                </a:lnTo>
                <a:lnTo>
                  <a:pt x="7331384" y="3107691"/>
                </a:lnTo>
                <a:lnTo>
                  <a:pt x="7331384" y="3107690"/>
                </a:lnTo>
                <a:lnTo>
                  <a:pt x="7335616" y="3107906"/>
                </a:lnTo>
                <a:lnTo>
                  <a:pt x="7343429" y="3111263"/>
                </a:lnTo>
                <a:lnTo>
                  <a:pt x="7348096" y="3112995"/>
                </a:lnTo>
                <a:lnTo>
                  <a:pt x="7350267" y="3115269"/>
                </a:lnTo>
                <a:lnTo>
                  <a:pt x="7359599" y="3119058"/>
                </a:lnTo>
                <a:lnTo>
                  <a:pt x="7361226" y="3118192"/>
                </a:lnTo>
                <a:lnTo>
                  <a:pt x="7363614" y="3118192"/>
                </a:lnTo>
                <a:lnTo>
                  <a:pt x="7366110" y="3121332"/>
                </a:lnTo>
                <a:lnTo>
                  <a:pt x="7371101" y="3123389"/>
                </a:lnTo>
                <a:lnTo>
                  <a:pt x="7384015" y="3124580"/>
                </a:lnTo>
                <a:lnTo>
                  <a:pt x="7392805" y="3129885"/>
                </a:lnTo>
                <a:lnTo>
                  <a:pt x="7398231" y="3131185"/>
                </a:lnTo>
                <a:lnTo>
                  <a:pt x="7403221" y="3135082"/>
                </a:lnTo>
                <a:lnTo>
                  <a:pt x="7408540" y="3135516"/>
                </a:lnTo>
                <a:lnTo>
                  <a:pt x="7412988" y="3137789"/>
                </a:lnTo>
                <a:lnTo>
                  <a:pt x="7414942" y="3137139"/>
                </a:lnTo>
                <a:lnTo>
                  <a:pt x="7417546" y="3140604"/>
                </a:lnTo>
                <a:lnTo>
                  <a:pt x="7422538" y="3141579"/>
                </a:lnTo>
                <a:lnTo>
                  <a:pt x="7423949" y="3145044"/>
                </a:lnTo>
                <a:lnTo>
                  <a:pt x="7428290" y="3148183"/>
                </a:lnTo>
                <a:lnTo>
                  <a:pt x="7430135" y="3151864"/>
                </a:lnTo>
                <a:lnTo>
                  <a:pt x="7432956" y="3150673"/>
                </a:lnTo>
                <a:lnTo>
                  <a:pt x="7435018" y="3150348"/>
                </a:lnTo>
                <a:lnTo>
                  <a:pt x="7443699" y="3159443"/>
                </a:lnTo>
                <a:lnTo>
                  <a:pt x="7446737" y="3163341"/>
                </a:lnTo>
                <a:lnTo>
                  <a:pt x="7446195" y="3167563"/>
                </a:lnTo>
                <a:lnTo>
                  <a:pt x="7442939" y="3172977"/>
                </a:lnTo>
                <a:lnTo>
                  <a:pt x="7444133" y="3176225"/>
                </a:lnTo>
                <a:lnTo>
                  <a:pt x="7455744" y="3180339"/>
                </a:lnTo>
                <a:lnTo>
                  <a:pt x="7460519" y="3179798"/>
                </a:lnTo>
                <a:lnTo>
                  <a:pt x="7464751" y="3184345"/>
                </a:lnTo>
                <a:lnTo>
                  <a:pt x="7473324" y="3187918"/>
                </a:lnTo>
                <a:lnTo>
                  <a:pt x="7478749" y="3190517"/>
                </a:lnTo>
                <a:lnTo>
                  <a:pt x="7480920" y="3189001"/>
                </a:lnTo>
                <a:lnTo>
                  <a:pt x="7485912" y="3189976"/>
                </a:lnTo>
                <a:lnTo>
                  <a:pt x="7492748" y="3197121"/>
                </a:lnTo>
                <a:lnTo>
                  <a:pt x="7493183" y="3202101"/>
                </a:lnTo>
                <a:lnTo>
                  <a:pt x="7490687" y="3206325"/>
                </a:lnTo>
                <a:lnTo>
                  <a:pt x="7482113" y="3210764"/>
                </a:lnTo>
                <a:lnTo>
                  <a:pt x="7472347" y="3209897"/>
                </a:lnTo>
                <a:lnTo>
                  <a:pt x="7471804" y="3211846"/>
                </a:lnTo>
                <a:lnTo>
                  <a:pt x="7474517" y="3216826"/>
                </a:lnTo>
                <a:lnTo>
                  <a:pt x="7478207" y="3219858"/>
                </a:lnTo>
                <a:lnTo>
                  <a:pt x="7479292" y="3225380"/>
                </a:lnTo>
                <a:lnTo>
                  <a:pt x="7484501" y="3230793"/>
                </a:lnTo>
                <a:lnTo>
                  <a:pt x="7487105" y="3235882"/>
                </a:lnTo>
                <a:lnTo>
                  <a:pt x="7490470" y="3237723"/>
                </a:lnTo>
                <a:lnTo>
                  <a:pt x="7495678" y="3237723"/>
                </a:lnTo>
                <a:lnTo>
                  <a:pt x="7496980" y="3241296"/>
                </a:lnTo>
                <a:lnTo>
                  <a:pt x="7499259" y="3242270"/>
                </a:lnTo>
                <a:lnTo>
                  <a:pt x="7503599" y="3252880"/>
                </a:lnTo>
                <a:lnTo>
                  <a:pt x="7507181" y="3254613"/>
                </a:lnTo>
                <a:lnTo>
                  <a:pt x="7508049" y="3261217"/>
                </a:lnTo>
                <a:lnTo>
                  <a:pt x="7512281" y="3265765"/>
                </a:lnTo>
                <a:lnTo>
                  <a:pt x="7514886" y="3265657"/>
                </a:lnTo>
                <a:lnTo>
                  <a:pt x="7518575" y="3266523"/>
                </a:lnTo>
                <a:lnTo>
                  <a:pt x="7520420" y="3264898"/>
                </a:lnTo>
                <a:lnTo>
                  <a:pt x="7523458" y="3265007"/>
                </a:lnTo>
                <a:lnTo>
                  <a:pt x="7526063" y="3267714"/>
                </a:lnTo>
                <a:lnTo>
                  <a:pt x="7524760" y="3270745"/>
                </a:lnTo>
                <a:lnTo>
                  <a:pt x="7522048" y="3273777"/>
                </a:lnTo>
                <a:lnTo>
                  <a:pt x="7522156" y="3277350"/>
                </a:lnTo>
                <a:lnTo>
                  <a:pt x="7525195" y="3279948"/>
                </a:lnTo>
                <a:lnTo>
                  <a:pt x="7533008" y="3281139"/>
                </a:lnTo>
                <a:lnTo>
                  <a:pt x="7541038" y="3281139"/>
                </a:lnTo>
                <a:lnTo>
                  <a:pt x="7544293" y="3283088"/>
                </a:lnTo>
                <a:lnTo>
                  <a:pt x="7542124" y="3284820"/>
                </a:lnTo>
                <a:lnTo>
                  <a:pt x="7538759" y="3284604"/>
                </a:lnTo>
                <a:lnTo>
                  <a:pt x="7533116" y="3286986"/>
                </a:lnTo>
                <a:lnTo>
                  <a:pt x="7535396" y="3289692"/>
                </a:lnTo>
                <a:lnTo>
                  <a:pt x="7541689" y="3293049"/>
                </a:lnTo>
                <a:lnTo>
                  <a:pt x="7551998" y="3294348"/>
                </a:lnTo>
                <a:lnTo>
                  <a:pt x="7561005" y="3296081"/>
                </a:lnTo>
                <a:lnTo>
                  <a:pt x="7556882" y="3298896"/>
                </a:lnTo>
                <a:lnTo>
                  <a:pt x="7552975" y="3297271"/>
                </a:lnTo>
                <a:lnTo>
                  <a:pt x="7548743" y="3298787"/>
                </a:lnTo>
                <a:lnTo>
                  <a:pt x="7548743" y="3300844"/>
                </a:lnTo>
                <a:lnTo>
                  <a:pt x="7550587" y="3300953"/>
                </a:lnTo>
                <a:lnTo>
                  <a:pt x="7556448" y="3304418"/>
                </a:lnTo>
                <a:lnTo>
                  <a:pt x="7555037" y="3307449"/>
                </a:lnTo>
                <a:lnTo>
                  <a:pt x="7549611" y="3308856"/>
                </a:lnTo>
                <a:lnTo>
                  <a:pt x="7544185" y="3305608"/>
                </a:lnTo>
                <a:lnTo>
                  <a:pt x="7539411" y="3304418"/>
                </a:lnTo>
                <a:lnTo>
                  <a:pt x="7542124" y="3302360"/>
                </a:lnTo>
                <a:lnTo>
                  <a:pt x="7541364" y="3300844"/>
                </a:lnTo>
                <a:lnTo>
                  <a:pt x="7536480" y="3301061"/>
                </a:lnTo>
                <a:lnTo>
                  <a:pt x="7534093" y="3298138"/>
                </a:lnTo>
                <a:lnTo>
                  <a:pt x="7528776" y="3299004"/>
                </a:lnTo>
                <a:lnTo>
                  <a:pt x="7525303" y="3296947"/>
                </a:lnTo>
                <a:lnTo>
                  <a:pt x="7517924" y="3295648"/>
                </a:lnTo>
                <a:lnTo>
                  <a:pt x="7513692" y="3295973"/>
                </a:lnTo>
                <a:lnTo>
                  <a:pt x="7508700" y="3294023"/>
                </a:lnTo>
                <a:lnTo>
                  <a:pt x="7501430" y="3295106"/>
                </a:lnTo>
                <a:lnTo>
                  <a:pt x="7497632" y="3293591"/>
                </a:lnTo>
                <a:lnTo>
                  <a:pt x="7495244" y="3293591"/>
                </a:lnTo>
                <a:lnTo>
                  <a:pt x="7492640" y="3294565"/>
                </a:lnTo>
                <a:lnTo>
                  <a:pt x="7485912" y="3292291"/>
                </a:lnTo>
                <a:lnTo>
                  <a:pt x="7481571" y="3289367"/>
                </a:lnTo>
                <a:lnTo>
                  <a:pt x="7481245" y="3285795"/>
                </a:lnTo>
                <a:lnTo>
                  <a:pt x="7470177" y="3274426"/>
                </a:lnTo>
                <a:lnTo>
                  <a:pt x="7469308" y="3271720"/>
                </a:lnTo>
                <a:lnTo>
                  <a:pt x="7466813" y="3267930"/>
                </a:lnTo>
                <a:lnTo>
                  <a:pt x="7462255" y="3266739"/>
                </a:lnTo>
                <a:lnTo>
                  <a:pt x="7461279" y="3263491"/>
                </a:lnTo>
                <a:lnTo>
                  <a:pt x="7454876" y="3255371"/>
                </a:lnTo>
                <a:lnTo>
                  <a:pt x="7452922" y="3248766"/>
                </a:lnTo>
                <a:lnTo>
                  <a:pt x="7449341" y="3244435"/>
                </a:lnTo>
                <a:lnTo>
                  <a:pt x="7445435" y="3242270"/>
                </a:lnTo>
                <a:lnTo>
                  <a:pt x="7432412" y="3239239"/>
                </a:lnTo>
                <a:lnTo>
                  <a:pt x="7429375" y="3236099"/>
                </a:lnTo>
                <a:lnTo>
                  <a:pt x="7426879" y="3235449"/>
                </a:lnTo>
                <a:lnTo>
                  <a:pt x="7426770" y="3232525"/>
                </a:lnTo>
                <a:lnTo>
                  <a:pt x="7427096" y="3229278"/>
                </a:lnTo>
                <a:lnTo>
                  <a:pt x="7424817" y="3232092"/>
                </a:lnTo>
                <a:lnTo>
                  <a:pt x="7423297" y="3230793"/>
                </a:lnTo>
                <a:lnTo>
                  <a:pt x="7420367" y="3231010"/>
                </a:lnTo>
                <a:lnTo>
                  <a:pt x="7417221" y="3230360"/>
                </a:lnTo>
                <a:lnTo>
                  <a:pt x="7415919" y="3226896"/>
                </a:lnTo>
                <a:lnTo>
                  <a:pt x="7410058" y="3224946"/>
                </a:lnTo>
                <a:lnTo>
                  <a:pt x="7407996" y="3222457"/>
                </a:lnTo>
                <a:lnTo>
                  <a:pt x="7406586" y="3227437"/>
                </a:lnTo>
                <a:lnTo>
                  <a:pt x="7407996" y="3230144"/>
                </a:lnTo>
                <a:lnTo>
                  <a:pt x="7407780" y="3233392"/>
                </a:lnTo>
                <a:lnTo>
                  <a:pt x="7405827" y="3233717"/>
                </a:lnTo>
                <a:lnTo>
                  <a:pt x="7404633" y="3229494"/>
                </a:lnTo>
                <a:lnTo>
                  <a:pt x="7403439" y="3228411"/>
                </a:lnTo>
                <a:lnTo>
                  <a:pt x="7404307" y="3231660"/>
                </a:lnTo>
                <a:lnTo>
                  <a:pt x="7404090" y="3233933"/>
                </a:lnTo>
                <a:lnTo>
                  <a:pt x="7400508" y="3233067"/>
                </a:lnTo>
                <a:lnTo>
                  <a:pt x="7395842" y="3228736"/>
                </a:lnTo>
                <a:lnTo>
                  <a:pt x="7394215" y="3225813"/>
                </a:lnTo>
                <a:lnTo>
                  <a:pt x="7390092" y="3223972"/>
                </a:lnTo>
                <a:lnTo>
                  <a:pt x="7390092" y="3225596"/>
                </a:lnTo>
                <a:lnTo>
                  <a:pt x="7393673" y="3228845"/>
                </a:lnTo>
                <a:lnTo>
                  <a:pt x="7394106" y="3232525"/>
                </a:lnTo>
                <a:lnTo>
                  <a:pt x="7393781" y="3235124"/>
                </a:lnTo>
                <a:lnTo>
                  <a:pt x="7391503" y="3236749"/>
                </a:lnTo>
                <a:lnTo>
                  <a:pt x="7391394" y="3240213"/>
                </a:lnTo>
                <a:lnTo>
                  <a:pt x="7393565" y="3242812"/>
                </a:lnTo>
                <a:lnTo>
                  <a:pt x="7389115" y="3242053"/>
                </a:lnTo>
                <a:lnTo>
                  <a:pt x="7385534" y="3237939"/>
                </a:lnTo>
                <a:lnTo>
                  <a:pt x="7380867" y="3239130"/>
                </a:lnTo>
                <a:lnTo>
                  <a:pt x="7378155" y="3236640"/>
                </a:lnTo>
                <a:lnTo>
                  <a:pt x="7379891" y="3239996"/>
                </a:lnTo>
                <a:lnTo>
                  <a:pt x="7383147" y="3239563"/>
                </a:lnTo>
                <a:lnTo>
                  <a:pt x="7384883" y="3242919"/>
                </a:lnTo>
                <a:lnTo>
                  <a:pt x="7388355" y="3245085"/>
                </a:lnTo>
                <a:lnTo>
                  <a:pt x="7389549" y="3247143"/>
                </a:lnTo>
                <a:lnTo>
                  <a:pt x="7385534" y="3248333"/>
                </a:lnTo>
                <a:lnTo>
                  <a:pt x="7380867" y="3248117"/>
                </a:lnTo>
                <a:lnTo>
                  <a:pt x="7374139" y="3249741"/>
                </a:lnTo>
                <a:lnTo>
                  <a:pt x="7368497" y="3249524"/>
                </a:lnTo>
                <a:lnTo>
                  <a:pt x="7366001" y="3249957"/>
                </a:lnTo>
                <a:lnTo>
                  <a:pt x="7362745" y="3247034"/>
                </a:lnTo>
                <a:lnTo>
                  <a:pt x="7356669" y="3245302"/>
                </a:lnTo>
                <a:lnTo>
                  <a:pt x="7354824" y="3245085"/>
                </a:lnTo>
                <a:lnTo>
                  <a:pt x="7354281" y="3240321"/>
                </a:lnTo>
                <a:lnTo>
                  <a:pt x="7353413" y="3236315"/>
                </a:lnTo>
                <a:lnTo>
                  <a:pt x="7348096" y="3232850"/>
                </a:lnTo>
                <a:lnTo>
                  <a:pt x="7345274" y="3232092"/>
                </a:lnTo>
                <a:lnTo>
                  <a:pt x="7344081" y="3228628"/>
                </a:lnTo>
                <a:lnTo>
                  <a:pt x="7340717" y="3226571"/>
                </a:lnTo>
                <a:lnTo>
                  <a:pt x="7343429" y="3229278"/>
                </a:lnTo>
                <a:lnTo>
                  <a:pt x="7344406" y="3232525"/>
                </a:lnTo>
                <a:lnTo>
                  <a:pt x="7348855" y="3234583"/>
                </a:lnTo>
                <a:lnTo>
                  <a:pt x="7352979" y="3239996"/>
                </a:lnTo>
                <a:lnTo>
                  <a:pt x="7354064" y="3245735"/>
                </a:lnTo>
                <a:lnTo>
                  <a:pt x="7356560" y="3247684"/>
                </a:lnTo>
                <a:lnTo>
                  <a:pt x="7358079" y="3247575"/>
                </a:lnTo>
                <a:lnTo>
                  <a:pt x="7361661" y="3248875"/>
                </a:lnTo>
                <a:lnTo>
                  <a:pt x="7364156" y="3251040"/>
                </a:lnTo>
                <a:lnTo>
                  <a:pt x="7370016" y="3252014"/>
                </a:lnTo>
                <a:lnTo>
                  <a:pt x="7376961" y="3254937"/>
                </a:lnTo>
                <a:lnTo>
                  <a:pt x="7383147" y="3259702"/>
                </a:lnTo>
                <a:lnTo>
                  <a:pt x="7383472" y="3266414"/>
                </a:lnTo>
                <a:lnTo>
                  <a:pt x="7381302" y="3269013"/>
                </a:lnTo>
                <a:lnTo>
                  <a:pt x="7379131" y="3267280"/>
                </a:lnTo>
                <a:lnTo>
                  <a:pt x="7378481" y="3269554"/>
                </a:lnTo>
                <a:lnTo>
                  <a:pt x="7370016" y="3271936"/>
                </a:lnTo>
                <a:lnTo>
                  <a:pt x="7364915" y="3274968"/>
                </a:lnTo>
                <a:lnTo>
                  <a:pt x="7361118" y="3273993"/>
                </a:lnTo>
                <a:lnTo>
                  <a:pt x="7358188" y="3270962"/>
                </a:lnTo>
                <a:lnTo>
                  <a:pt x="7356994" y="3267930"/>
                </a:lnTo>
                <a:lnTo>
                  <a:pt x="7353847" y="3268796"/>
                </a:lnTo>
                <a:lnTo>
                  <a:pt x="7341151" y="3268363"/>
                </a:lnTo>
                <a:lnTo>
                  <a:pt x="7336810" y="3269554"/>
                </a:lnTo>
                <a:lnTo>
                  <a:pt x="7334206" y="3267930"/>
                </a:lnTo>
                <a:lnTo>
                  <a:pt x="7325959" y="3267822"/>
                </a:lnTo>
                <a:lnTo>
                  <a:pt x="7325959" y="3267823"/>
                </a:lnTo>
                <a:lnTo>
                  <a:pt x="7324549" y="3267823"/>
                </a:lnTo>
                <a:lnTo>
                  <a:pt x="7318689" y="3265766"/>
                </a:lnTo>
                <a:lnTo>
                  <a:pt x="7312069" y="3258512"/>
                </a:lnTo>
                <a:lnTo>
                  <a:pt x="7310442" y="3255048"/>
                </a:lnTo>
                <a:lnTo>
                  <a:pt x="7310659" y="3253532"/>
                </a:lnTo>
                <a:lnTo>
                  <a:pt x="7305776" y="3249201"/>
                </a:lnTo>
                <a:lnTo>
                  <a:pt x="7303605" y="3247793"/>
                </a:lnTo>
                <a:lnTo>
                  <a:pt x="7302737" y="3244112"/>
                </a:lnTo>
                <a:lnTo>
                  <a:pt x="7304907" y="3240647"/>
                </a:lnTo>
                <a:lnTo>
                  <a:pt x="7304690" y="3235342"/>
                </a:lnTo>
                <a:lnTo>
                  <a:pt x="7303605" y="3240647"/>
                </a:lnTo>
                <a:lnTo>
                  <a:pt x="7300458" y="3242596"/>
                </a:lnTo>
                <a:lnTo>
                  <a:pt x="7293296" y="3242055"/>
                </a:lnTo>
                <a:lnTo>
                  <a:pt x="7289281" y="3244220"/>
                </a:lnTo>
                <a:lnTo>
                  <a:pt x="7285917" y="3244112"/>
                </a:lnTo>
                <a:lnTo>
                  <a:pt x="7283747" y="3242055"/>
                </a:lnTo>
                <a:lnTo>
                  <a:pt x="7278212" y="3245087"/>
                </a:lnTo>
                <a:lnTo>
                  <a:pt x="7275282" y="3241730"/>
                </a:lnTo>
                <a:lnTo>
                  <a:pt x="7277452" y="3240322"/>
                </a:lnTo>
                <a:lnTo>
                  <a:pt x="7278864" y="3236641"/>
                </a:lnTo>
                <a:lnTo>
                  <a:pt x="7278864" y="3233935"/>
                </a:lnTo>
                <a:lnTo>
                  <a:pt x="7280057" y="3232310"/>
                </a:lnTo>
                <a:lnTo>
                  <a:pt x="7280925" y="3226247"/>
                </a:lnTo>
                <a:lnTo>
                  <a:pt x="7277887" y="3224948"/>
                </a:lnTo>
                <a:lnTo>
                  <a:pt x="7275174" y="3221592"/>
                </a:lnTo>
                <a:lnTo>
                  <a:pt x="7277778" y="3220942"/>
                </a:lnTo>
                <a:lnTo>
                  <a:pt x="7279948" y="3221700"/>
                </a:lnTo>
                <a:lnTo>
                  <a:pt x="7284614" y="3219751"/>
                </a:lnTo>
                <a:lnTo>
                  <a:pt x="7287653" y="3219426"/>
                </a:lnTo>
                <a:lnTo>
                  <a:pt x="7284181" y="3218452"/>
                </a:lnTo>
                <a:lnTo>
                  <a:pt x="7278972" y="3219210"/>
                </a:lnTo>
                <a:lnTo>
                  <a:pt x="7274740" y="3217261"/>
                </a:lnTo>
                <a:lnTo>
                  <a:pt x="7270725" y="3214229"/>
                </a:lnTo>
                <a:lnTo>
                  <a:pt x="7272027" y="3211090"/>
                </a:lnTo>
                <a:lnTo>
                  <a:pt x="7274198" y="3210873"/>
                </a:lnTo>
                <a:lnTo>
                  <a:pt x="7277887" y="3211306"/>
                </a:lnTo>
                <a:lnTo>
                  <a:pt x="7275934" y="3208816"/>
                </a:lnTo>
                <a:lnTo>
                  <a:pt x="7269748" y="3204376"/>
                </a:lnTo>
                <a:lnTo>
                  <a:pt x="7265624" y="3201562"/>
                </a:lnTo>
                <a:lnTo>
                  <a:pt x="7264213" y="3198530"/>
                </a:lnTo>
                <a:lnTo>
                  <a:pt x="7265408" y="3193549"/>
                </a:lnTo>
                <a:lnTo>
                  <a:pt x="7260091" y="3188028"/>
                </a:lnTo>
                <a:lnTo>
                  <a:pt x="7260091" y="3185971"/>
                </a:lnTo>
                <a:lnTo>
                  <a:pt x="7264973" y="3181965"/>
                </a:lnTo>
                <a:lnTo>
                  <a:pt x="7260415" y="3182398"/>
                </a:lnTo>
                <a:lnTo>
                  <a:pt x="7257702" y="3180449"/>
                </a:lnTo>
                <a:lnTo>
                  <a:pt x="7258679" y="3178717"/>
                </a:lnTo>
                <a:lnTo>
                  <a:pt x="7256834" y="3176551"/>
                </a:lnTo>
                <a:lnTo>
                  <a:pt x="7260307" y="3173736"/>
                </a:lnTo>
                <a:lnTo>
                  <a:pt x="7254772" y="3174819"/>
                </a:lnTo>
                <a:lnTo>
                  <a:pt x="7253254" y="3172870"/>
                </a:lnTo>
                <a:lnTo>
                  <a:pt x="7250649" y="3173953"/>
                </a:lnTo>
                <a:lnTo>
                  <a:pt x="7248804" y="3172545"/>
                </a:lnTo>
                <a:lnTo>
                  <a:pt x="7252711" y="3167890"/>
                </a:lnTo>
                <a:lnTo>
                  <a:pt x="7249238" y="3169947"/>
                </a:lnTo>
                <a:lnTo>
                  <a:pt x="7244898" y="3170163"/>
                </a:lnTo>
                <a:lnTo>
                  <a:pt x="7238604" y="3167564"/>
                </a:lnTo>
                <a:lnTo>
                  <a:pt x="7236868" y="3163125"/>
                </a:lnTo>
                <a:lnTo>
                  <a:pt x="7230248" y="3160852"/>
                </a:lnTo>
                <a:lnTo>
                  <a:pt x="7226125" y="3161610"/>
                </a:lnTo>
                <a:lnTo>
                  <a:pt x="7212017" y="3157062"/>
                </a:lnTo>
                <a:lnTo>
                  <a:pt x="7197367" y="3152623"/>
                </a:lnTo>
                <a:lnTo>
                  <a:pt x="7190206" y="3152190"/>
                </a:lnTo>
                <a:lnTo>
                  <a:pt x="7184563" y="3149484"/>
                </a:lnTo>
                <a:lnTo>
                  <a:pt x="7183369" y="3147427"/>
                </a:lnTo>
                <a:lnTo>
                  <a:pt x="7182826" y="3145477"/>
                </a:lnTo>
                <a:lnTo>
                  <a:pt x="7177726" y="3144395"/>
                </a:lnTo>
                <a:lnTo>
                  <a:pt x="7177943" y="3140930"/>
                </a:lnTo>
                <a:lnTo>
                  <a:pt x="7181416" y="3140497"/>
                </a:lnTo>
                <a:lnTo>
                  <a:pt x="7183369" y="3140930"/>
                </a:lnTo>
                <a:lnTo>
                  <a:pt x="7183043" y="3139848"/>
                </a:lnTo>
                <a:lnTo>
                  <a:pt x="7179570" y="3139198"/>
                </a:lnTo>
                <a:lnTo>
                  <a:pt x="7175447" y="3140930"/>
                </a:lnTo>
                <a:lnTo>
                  <a:pt x="7172300" y="3139631"/>
                </a:lnTo>
                <a:lnTo>
                  <a:pt x="7170672" y="3137682"/>
                </a:lnTo>
                <a:lnTo>
                  <a:pt x="7169370" y="3137249"/>
                </a:lnTo>
                <a:lnTo>
                  <a:pt x="7167308" y="3139631"/>
                </a:lnTo>
                <a:lnTo>
                  <a:pt x="7166332" y="3134975"/>
                </a:lnTo>
                <a:lnTo>
                  <a:pt x="7164486" y="3133676"/>
                </a:lnTo>
                <a:lnTo>
                  <a:pt x="7162642" y="3134542"/>
                </a:lnTo>
                <a:lnTo>
                  <a:pt x="7161449" y="3136491"/>
                </a:lnTo>
                <a:lnTo>
                  <a:pt x="7158736" y="3133568"/>
                </a:lnTo>
                <a:lnTo>
                  <a:pt x="7157325" y="3127721"/>
                </a:lnTo>
                <a:lnTo>
                  <a:pt x="7155154" y="3122741"/>
                </a:lnTo>
                <a:lnTo>
                  <a:pt x="7158084" y="3118952"/>
                </a:lnTo>
                <a:lnTo>
                  <a:pt x="7158084" y="3113213"/>
                </a:lnTo>
                <a:lnTo>
                  <a:pt x="7155697" y="3117868"/>
                </a:lnTo>
                <a:lnTo>
                  <a:pt x="7153852" y="3123066"/>
                </a:lnTo>
                <a:lnTo>
                  <a:pt x="7153092" y="3126638"/>
                </a:lnTo>
                <a:lnTo>
                  <a:pt x="7151031" y="3127721"/>
                </a:lnTo>
                <a:lnTo>
                  <a:pt x="7147450" y="3134217"/>
                </a:lnTo>
                <a:lnTo>
                  <a:pt x="7147993" y="3138223"/>
                </a:lnTo>
                <a:lnTo>
                  <a:pt x="7143109" y="3144178"/>
                </a:lnTo>
                <a:lnTo>
                  <a:pt x="7138334" y="3145261"/>
                </a:lnTo>
                <a:lnTo>
                  <a:pt x="7133994" y="3143854"/>
                </a:lnTo>
                <a:lnTo>
                  <a:pt x="7130413" y="3135733"/>
                </a:lnTo>
                <a:lnTo>
                  <a:pt x="7130522" y="3132810"/>
                </a:lnTo>
                <a:lnTo>
                  <a:pt x="7132583" y="3131944"/>
                </a:lnTo>
                <a:lnTo>
                  <a:pt x="7133126" y="3128695"/>
                </a:lnTo>
                <a:lnTo>
                  <a:pt x="7132475" y="3125448"/>
                </a:lnTo>
                <a:lnTo>
                  <a:pt x="7129545" y="3126422"/>
                </a:lnTo>
                <a:lnTo>
                  <a:pt x="7127809" y="3124797"/>
                </a:lnTo>
                <a:lnTo>
                  <a:pt x="7125421" y="3118952"/>
                </a:lnTo>
                <a:lnTo>
                  <a:pt x="7121080" y="3116677"/>
                </a:lnTo>
                <a:lnTo>
                  <a:pt x="7115546" y="3115811"/>
                </a:lnTo>
                <a:lnTo>
                  <a:pt x="7113809" y="3113429"/>
                </a:lnTo>
                <a:lnTo>
                  <a:pt x="7116739" y="3109856"/>
                </a:lnTo>
                <a:lnTo>
                  <a:pt x="7122491" y="3109315"/>
                </a:lnTo>
                <a:lnTo>
                  <a:pt x="7124336" y="3111156"/>
                </a:lnTo>
                <a:lnTo>
                  <a:pt x="7129328" y="3111697"/>
                </a:lnTo>
                <a:lnTo>
                  <a:pt x="7133018" y="3113538"/>
                </a:lnTo>
                <a:lnTo>
                  <a:pt x="7137575" y="3110831"/>
                </a:lnTo>
                <a:lnTo>
                  <a:pt x="7139203" y="3105201"/>
                </a:lnTo>
                <a:lnTo>
                  <a:pt x="7142783" y="3104010"/>
                </a:lnTo>
                <a:lnTo>
                  <a:pt x="7150163" y="3107366"/>
                </a:lnTo>
                <a:lnTo>
                  <a:pt x="7153092" y="3111697"/>
                </a:lnTo>
                <a:lnTo>
                  <a:pt x="7155154" y="3107042"/>
                </a:lnTo>
                <a:lnTo>
                  <a:pt x="7157759" y="3103577"/>
                </a:lnTo>
                <a:lnTo>
                  <a:pt x="7160146" y="3104443"/>
                </a:lnTo>
                <a:lnTo>
                  <a:pt x="7160906" y="3099354"/>
                </a:lnTo>
                <a:lnTo>
                  <a:pt x="7159495" y="3096214"/>
                </a:lnTo>
                <a:lnTo>
                  <a:pt x="7147450" y="3094807"/>
                </a:lnTo>
                <a:lnTo>
                  <a:pt x="7149186" y="3097297"/>
                </a:lnTo>
                <a:lnTo>
                  <a:pt x="7146256" y="3097947"/>
                </a:lnTo>
                <a:lnTo>
                  <a:pt x="7143869" y="3097297"/>
                </a:lnTo>
                <a:lnTo>
                  <a:pt x="7136381" y="3098813"/>
                </a:lnTo>
                <a:lnTo>
                  <a:pt x="7133451" y="3097838"/>
                </a:lnTo>
                <a:lnTo>
                  <a:pt x="7130738" y="3099138"/>
                </a:lnTo>
                <a:lnTo>
                  <a:pt x="7127809" y="3097405"/>
                </a:lnTo>
                <a:lnTo>
                  <a:pt x="7123468" y="3098488"/>
                </a:lnTo>
                <a:lnTo>
                  <a:pt x="7119019" y="3097838"/>
                </a:lnTo>
                <a:lnTo>
                  <a:pt x="7114027" y="3093616"/>
                </a:lnTo>
                <a:lnTo>
                  <a:pt x="7112616" y="3088203"/>
                </a:lnTo>
                <a:lnTo>
                  <a:pt x="7113701" y="3086795"/>
                </a:lnTo>
                <a:lnTo>
                  <a:pt x="7111096" y="3082356"/>
                </a:lnTo>
                <a:lnTo>
                  <a:pt x="7104368" y="3078566"/>
                </a:lnTo>
                <a:lnTo>
                  <a:pt x="7101764" y="3075751"/>
                </a:lnTo>
                <a:lnTo>
                  <a:pt x="7100462" y="3077700"/>
                </a:lnTo>
                <a:lnTo>
                  <a:pt x="7096556" y="3079757"/>
                </a:lnTo>
                <a:lnTo>
                  <a:pt x="7091130" y="3078891"/>
                </a:lnTo>
                <a:lnTo>
                  <a:pt x="7091998" y="3075968"/>
                </a:lnTo>
                <a:lnTo>
                  <a:pt x="7097641" y="3072287"/>
                </a:lnTo>
                <a:lnTo>
                  <a:pt x="7098184" y="3068930"/>
                </a:lnTo>
                <a:lnTo>
                  <a:pt x="7096448" y="3065790"/>
                </a:lnTo>
                <a:lnTo>
                  <a:pt x="7100028" y="3062759"/>
                </a:lnTo>
                <a:lnTo>
                  <a:pt x="7106648" y="3062542"/>
                </a:lnTo>
                <a:lnTo>
                  <a:pt x="7109903" y="3059402"/>
                </a:lnTo>
                <a:lnTo>
                  <a:pt x="7113701" y="3058428"/>
                </a:lnTo>
                <a:lnTo>
                  <a:pt x="7119887" y="3053555"/>
                </a:lnTo>
                <a:lnTo>
                  <a:pt x="7121732" y="3051932"/>
                </a:lnTo>
                <a:close/>
                <a:moveTo>
                  <a:pt x="2175088" y="3049692"/>
                </a:moveTo>
                <a:lnTo>
                  <a:pt x="2179882" y="3055396"/>
                </a:lnTo>
                <a:lnTo>
                  <a:pt x="2179882" y="3055395"/>
                </a:lnTo>
                <a:close/>
                <a:moveTo>
                  <a:pt x="2744493" y="3049549"/>
                </a:moveTo>
                <a:lnTo>
                  <a:pt x="2745578" y="3050632"/>
                </a:lnTo>
                <a:lnTo>
                  <a:pt x="2744384" y="3053663"/>
                </a:lnTo>
                <a:lnTo>
                  <a:pt x="2740803" y="3054421"/>
                </a:lnTo>
                <a:lnTo>
                  <a:pt x="2739393" y="3053988"/>
                </a:lnTo>
                <a:lnTo>
                  <a:pt x="2741238" y="3051606"/>
                </a:lnTo>
                <a:close/>
                <a:moveTo>
                  <a:pt x="6458476" y="3045868"/>
                </a:moveTo>
                <a:lnTo>
                  <a:pt x="6462383" y="3046842"/>
                </a:lnTo>
                <a:lnTo>
                  <a:pt x="6469545" y="3053555"/>
                </a:lnTo>
                <a:lnTo>
                  <a:pt x="6467700" y="3055179"/>
                </a:lnTo>
                <a:lnTo>
                  <a:pt x="6462166" y="3052147"/>
                </a:lnTo>
                <a:lnTo>
                  <a:pt x="6458259" y="3053446"/>
                </a:lnTo>
                <a:lnTo>
                  <a:pt x="6455872" y="3050523"/>
                </a:lnTo>
                <a:close/>
                <a:moveTo>
                  <a:pt x="2283282" y="3044228"/>
                </a:moveTo>
                <a:lnTo>
                  <a:pt x="2283299" y="3044568"/>
                </a:lnTo>
                <a:lnTo>
                  <a:pt x="2287422" y="3049873"/>
                </a:lnTo>
                <a:lnTo>
                  <a:pt x="2295748" y="3056279"/>
                </a:lnTo>
                <a:lnTo>
                  <a:pt x="2294801" y="3054529"/>
                </a:lnTo>
                <a:lnTo>
                  <a:pt x="2285903" y="3047599"/>
                </a:lnTo>
                <a:close/>
                <a:moveTo>
                  <a:pt x="7086680" y="3044027"/>
                </a:moveTo>
                <a:lnTo>
                  <a:pt x="7094711" y="3044027"/>
                </a:lnTo>
                <a:lnTo>
                  <a:pt x="7100462" y="3047492"/>
                </a:lnTo>
                <a:lnTo>
                  <a:pt x="7101331" y="3050739"/>
                </a:lnTo>
                <a:lnTo>
                  <a:pt x="7097424" y="3052147"/>
                </a:lnTo>
                <a:lnTo>
                  <a:pt x="7094385" y="3051064"/>
                </a:lnTo>
                <a:lnTo>
                  <a:pt x="7087440" y="3047167"/>
                </a:lnTo>
                <a:lnTo>
                  <a:pt x="7085812" y="3048141"/>
                </a:lnTo>
                <a:lnTo>
                  <a:pt x="7086464" y="3049116"/>
                </a:lnTo>
                <a:lnTo>
                  <a:pt x="7090262" y="3050739"/>
                </a:lnTo>
                <a:lnTo>
                  <a:pt x="7090370" y="3052689"/>
                </a:lnTo>
                <a:lnTo>
                  <a:pt x="7086464" y="3053338"/>
                </a:lnTo>
                <a:lnTo>
                  <a:pt x="7082014" y="3051281"/>
                </a:lnTo>
                <a:lnTo>
                  <a:pt x="7075069" y="3050306"/>
                </a:lnTo>
                <a:lnTo>
                  <a:pt x="7078325" y="3049332"/>
                </a:lnTo>
                <a:lnTo>
                  <a:pt x="7076806" y="3047708"/>
                </a:lnTo>
                <a:lnTo>
                  <a:pt x="7078325" y="3046842"/>
                </a:lnTo>
                <a:lnTo>
                  <a:pt x="7083099" y="3046733"/>
                </a:lnTo>
                <a:close/>
                <a:moveTo>
                  <a:pt x="7046637" y="3041429"/>
                </a:moveTo>
                <a:lnTo>
                  <a:pt x="7055752" y="3045976"/>
                </a:lnTo>
                <a:lnTo>
                  <a:pt x="7056403" y="3048358"/>
                </a:lnTo>
                <a:lnTo>
                  <a:pt x="7049892" y="3044894"/>
                </a:lnTo>
                <a:close/>
                <a:moveTo>
                  <a:pt x="2748509" y="3040346"/>
                </a:moveTo>
                <a:lnTo>
                  <a:pt x="2749485" y="3042187"/>
                </a:lnTo>
                <a:lnTo>
                  <a:pt x="2745470" y="3046409"/>
                </a:lnTo>
                <a:lnTo>
                  <a:pt x="2742974" y="3046626"/>
                </a:lnTo>
                <a:lnTo>
                  <a:pt x="2737657" y="3051714"/>
                </a:lnTo>
                <a:lnTo>
                  <a:pt x="2736898" y="3053447"/>
                </a:lnTo>
                <a:lnTo>
                  <a:pt x="2735053" y="3053880"/>
                </a:lnTo>
                <a:lnTo>
                  <a:pt x="2737874" y="3046193"/>
                </a:lnTo>
                <a:lnTo>
                  <a:pt x="2742323" y="3041645"/>
                </a:lnTo>
                <a:lnTo>
                  <a:pt x="2744602" y="3040670"/>
                </a:lnTo>
                <a:lnTo>
                  <a:pt x="2746772" y="3040887"/>
                </a:lnTo>
                <a:close/>
                <a:moveTo>
                  <a:pt x="4270369" y="3040178"/>
                </a:moveTo>
                <a:lnTo>
                  <a:pt x="4271865" y="3041970"/>
                </a:lnTo>
                <a:lnTo>
                  <a:pt x="4272733" y="3043919"/>
                </a:lnTo>
                <a:lnTo>
                  <a:pt x="4275555" y="3045218"/>
                </a:lnTo>
                <a:lnTo>
                  <a:pt x="4276423" y="3047384"/>
                </a:lnTo>
                <a:lnTo>
                  <a:pt x="4280112" y="3050415"/>
                </a:lnTo>
                <a:lnTo>
                  <a:pt x="4280988" y="3052685"/>
                </a:lnTo>
                <a:lnTo>
                  <a:pt x="4280113" y="3050414"/>
                </a:lnTo>
                <a:lnTo>
                  <a:pt x="4276423" y="3047382"/>
                </a:lnTo>
                <a:lnTo>
                  <a:pt x="4275555" y="3045218"/>
                </a:lnTo>
                <a:lnTo>
                  <a:pt x="4272733" y="3043918"/>
                </a:lnTo>
                <a:lnTo>
                  <a:pt x="4271865" y="3041969"/>
                </a:lnTo>
                <a:close/>
                <a:moveTo>
                  <a:pt x="2156117" y="3040129"/>
                </a:moveTo>
                <a:lnTo>
                  <a:pt x="2154381" y="3040237"/>
                </a:lnTo>
                <a:lnTo>
                  <a:pt x="2154381" y="3040238"/>
                </a:lnTo>
                <a:lnTo>
                  <a:pt x="2156117" y="3040130"/>
                </a:lnTo>
                <a:lnTo>
                  <a:pt x="2158938" y="3042836"/>
                </a:lnTo>
                <a:lnTo>
                  <a:pt x="2167511" y="3044893"/>
                </a:lnTo>
                <a:lnTo>
                  <a:pt x="2172828" y="3046085"/>
                </a:lnTo>
                <a:lnTo>
                  <a:pt x="2173991" y="3048226"/>
                </a:lnTo>
                <a:lnTo>
                  <a:pt x="2172828" y="3046084"/>
                </a:lnTo>
                <a:lnTo>
                  <a:pt x="2167511" y="3044893"/>
                </a:lnTo>
                <a:lnTo>
                  <a:pt x="2158938" y="3042835"/>
                </a:lnTo>
                <a:close/>
                <a:moveTo>
                  <a:pt x="6313824" y="3038073"/>
                </a:moveTo>
                <a:lnTo>
                  <a:pt x="6319467" y="3040022"/>
                </a:lnTo>
                <a:lnTo>
                  <a:pt x="6318924" y="3043162"/>
                </a:lnTo>
                <a:lnTo>
                  <a:pt x="6316862" y="3041646"/>
                </a:lnTo>
                <a:lnTo>
                  <a:pt x="6311220" y="3041538"/>
                </a:lnTo>
                <a:close/>
                <a:moveTo>
                  <a:pt x="2778785" y="3037098"/>
                </a:moveTo>
                <a:lnTo>
                  <a:pt x="2781389" y="3039155"/>
                </a:lnTo>
                <a:lnTo>
                  <a:pt x="2779762" y="3041862"/>
                </a:lnTo>
                <a:lnTo>
                  <a:pt x="2774336" y="3042187"/>
                </a:lnTo>
                <a:lnTo>
                  <a:pt x="2770864" y="3040887"/>
                </a:lnTo>
                <a:lnTo>
                  <a:pt x="2774444" y="3039372"/>
                </a:lnTo>
                <a:lnTo>
                  <a:pt x="2775530" y="3037314"/>
                </a:lnTo>
                <a:close/>
                <a:moveTo>
                  <a:pt x="2752090" y="3033525"/>
                </a:moveTo>
                <a:lnTo>
                  <a:pt x="2755020" y="3034933"/>
                </a:lnTo>
                <a:lnTo>
                  <a:pt x="2755671" y="3036882"/>
                </a:lnTo>
                <a:lnTo>
                  <a:pt x="2755454" y="3039156"/>
                </a:lnTo>
                <a:lnTo>
                  <a:pt x="2753066" y="3038289"/>
                </a:lnTo>
                <a:lnTo>
                  <a:pt x="2751656" y="3036232"/>
                </a:lnTo>
                <a:close/>
                <a:moveTo>
                  <a:pt x="2104572" y="3032225"/>
                </a:moveTo>
                <a:lnTo>
                  <a:pt x="2104572" y="3032226"/>
                </a:lnTo>
                <a:lnTo>
                  <a:pt x="2111951" y="3032875"/>
                </a:lnTo>
                <a:lnTo>
                  <a:pt x="2120307" y="3036989"/>
                </a:lnTo>
                <a:lnTo>
                  <a:pt x="2121133" y="3037560"/>
                </a:lnTo>
                <a:lnTo>
                  <a:pt x="2120306" y="3036989"/>
                </a:lnTo>
                <a:lnTo>
                  <a:pt x="2111950" y="3032874"/>
                </a:lnTo>
                <a:close/>
                <a:moveTo>
                  <a:pt x="4753951" y="3031900"/>
                </a:moveTo>
                <a:lnTo>
                  <a:pt x="4753463" y="3035256"/>
                </a:lnTo>
                <a:lnTo>
                  <a:pt x="4747169" y="3058534"/>
                </a:lnTo>
                <a:lnTo>
                  <a:pt x="4714180" y="3060267"/>
                </a:lnTo>
                <a:lnTo>
                  <a:pt x="4696492" y="3060809"/>
                </a:lnTo>
                <a:lnTo>
                  <a:pt x="4696508" y="3060809"/>
                </a:lnTo>
                <a:lnTo>
                  <a:pt x="4714180" y="3060268"/>
                </a:lnTo>
                <a:lnTo>
                  <a:pt x="4704956" y="3060809"/>
                </a:lnTo>
                <a:lnTo>
                  <a:pt x="4704815" y="3060809"/>
                </a:lnTo>
                <a:lnTo>
                  <a:pt x="4675874" y="3060917"/>
                </a:lnTo>
                <a:lnTo>
                  <a:pt x="4695949" y="3060809"/>
                </a:lnTo>
                <a:lnTo>
                  <a:pt x="4695948" y="3060809"/>
                </a:lnTo>
                <a:lnTo>
                  <a:pt x="4675873" y="3060916"/>
                </a:lnTo>
                <a:lnTo>
                  <a:pt x="4673812" y="3062973"/>
                </a:lnTo>
                <a:lnTo>
                  <a:pt x="4671641" y="3062540"/>
                </a:lnTo>
                <a:lnTo>
                  <a:pt x="4670230" y="3064381"/>
                </a:lnTo>
                <a:lnTo>
                  <a:pt x="4670091" y="3064183"/>
                </a:lnTo>
                <a:lnTo>
                  <a:pt x="4670231" y="3064382"/>
                </a:lnTo>
                <a:lnTo>
                  <a:pt x="4670231" y="3064382"/>
                </a:lnTo>
                <a:lnTo>
                  <a:pt x="4671642" y="3062542"/>
                </a:lnTo>
                <a:lnTo>
                  <a:pt x="4673812" y="3062975"/>
                </a:lnTo>
                <a:lnTo>
                  <a:pt x="4675874" y="3060918"/>
                </a:lnTo>
                <a:lnTo>
                  <a:pt x="4704956" y="3060809"/>
                </a:lnTo>
                <a:lnTo>
                  <a:pt x="4714180" y="3060268"/>
                </a:lnTo>
                <a:lnTo>
                  <a:pt x="4747169" y="3058536"/>
                </a:lnTo>
                <a:lnTo>
                  <a:pt x="4753897" y="3058103"/>
                </a:lnTo>
                <a:lnTo>
                  <a:pt x="4841687" y="3109315"/>
                </a:lnTo>
                <a:lnTo>
                  <a:pt x="4843010" y="3111486"/>
                </a:lnTo>
                <a:lnTo>
                  <a:pt x="4841687" y="3109314"/>
                </a:lnTo>
                <a:lnTo>
                  <a:pt x="4753897" y="3058102"/>
                </a:lnTo>
                <a:lnTo>
                  <a:pt x="4747169" y="3058535"/>
                </a:lnTo>
                <a:lnTo>
                  <a:pt x="4753463" y="3035256"/>
                </a:lnTo>
                <a:close/>
                <a:moveTo>
                  <a:pt x="4366483" y="3031789"/>
                </a:moveTo>
                <a:lnTo>
                  <a:pt x="4363996" y="3032874"/>
                </a:lnTo>
                <a:lnTo>
                  <a:pt x="4361934" y="3040778"/>
                </a:lnTo>
                <a:lnTo>
                  <a:pt x="4361826" y="3048898"/>
                </a:lnTo>
                <a:lnTo>
                  <a:pt x="4354230" y="3061349"/>
                </a:lnTo>
                <a:lnTo>
                  <a:pt x="4349563" y="3062649"/>
                </a:lnTo>
                <a:lnTo>
                  <a:pt x="4345439" y="3065897"/>
                </a:lnTo>
                <a:lnTo>
                  <a:pt x="4345440" y="3065897"/>
                </a:lnTo>
                <a:lnTo>
                  <a:pt x="4349563" y="3062649"/>
                </a:lnTo>
                <a:lnTo>
                  <a:pt x="4354230" y="3061350"/>
                </a:lnTo>
                <a:lnTo>
                  <a:pt x="4361826" y="3048899"/>
                </a:lnTo>
                <a:lnTo>
                  <a:pt x="4361934" y="3040779"/>
                </a:lnTo>
                <a:lnTo>
                  <a:pt x="4363996" y="3032875"/>
                </a:lnTo>
                <a:close/>
                <a:moveTo>
                  <a:pt x="2768694" y="3031035"/>
                </a:moveTo>
                <a:lnTo>
                  <a:pt x="2771298" y="3033200"/>
                </a:lnTo>
                <a:lnTo>
                  <a:pt x="2770430" y="3036232"/>
                </a:lnTo>
                <a:lnTo>
                  <a:pt x="2767282" y="3037748"/>
                </a:lnTo>
                <a:lnTo>
                  <a:pt x="2765438" y="3036556"/>
                </a:lnTo>
                <a:lnTo>
                  <a:pt x="2759578" y="3036449"/>
                </a:lnTo>
                <a:lnTo>
                  <a:pt x="2757408" y="3035258"/>
                </a:lnTo>
                <a:lnTo>
                  <a:pt x="2758385" y="3033200"/>
                </a:lnTo>
                <a:lnTo>
                  <a:pt x="2761966" y="3032767"/>
                </a:lnTo>
                <a:close/>
                <a:moveTo>
                  <a:pt x="4273276" y="3030817"/>
                </a:moveTo>
                <a:lnTo>
                  <a:pt x="4273276" y="3030818"/>
                </a:lnTo>
                <a:lnTo>
                  <a:pt x="4274469" y="3032225"/>
                </a:lnTo>
                <a:lnTo>
                  <a:pt x="4275333" y="3034654"/>
                </a:lnTo>
                <a:lnTo>
                  <a:pt x="4274470" y="3032225"/>
                </a:lnTo>
                <a:close/>
                <a:moveTo>
                  <a:pt x="2137018" y="3030276"/>
                </a:moveTo>
                <a:lnTo>
                  <a:pt x="2133545" y="3033092"/>
                </a:lnTo>
                <a:lnTo>
                  <a:pt x="2133762" y="3037963"/>
                </a:lnTo>
                <a:lnTo>
                  <a:pt x="2130832" y="3040670"/>
                </a:lnTo>
                <a:lnTo>
                  <a:pt x="2123128" y="3038938"/>
                </a:lnTo>
                <a:lnTo>
                  <a:pt x="2123128" y="3038938"/>
                </a:lnTo>
                <a:lnTo>
                  <a:pt x="2130833" y="3040671"/>
                </a:lnTo>
                <a:lnTo>
                  <a:pt x="2133763" y="3037964"/>
                </a:lnTo>
                <a:lnTo>
                  <a:pt x="2133546" y="3033092"/>
                </a:lnTo>
                <a:lnTo>
                  <a:pt x="2137018" y="3030277"/>
                </a:lnTo>
                <a:lnTo>
                  <a:pt x="2138646" y="3030385"/>
                </a:lnTo>
                <a:lnTo>
                  <a:pt x="2145917" y="3032875"/>
                </a:lnTo>
                <a:lnTo>
                  <a:pt x="2149606" y="3034932"/>
                </a:lnTo>
                <a:lnTo>
                  <a:pt x="2149801" y="3035497"/>
                </a:lnTo>
                <a:lnTo>
                  <a:pt x="2149606" y="3034932"/>
                </a:lnTo>
                <a:lnTo>
                  <a:pt x="2145916" y="3032874"/>
                </a:lnTo>
                <a:lnTo>
                  <a:pt x="2138646" y="3030384"/>
                </a:lnTo>
                <a:close/>
                <a:moveTo>
                  <a:pt x="4096503" y="3027787"/>
                </a:moveTo>
                <a:lnTo>
                  <a:pt x="4100735" y="3030386"/>
                </a:lnTo>
                <a:lnTo>
                  <a:pt x="4098999" y="3033850"/>
                </a:lnTo>
                <a:lnTo>
                  <a:pt x="4096286" y="3035582"/>
                </a:lnTo>
                <a:lnTo>
                  <a:pt x="4094441" y="3035258"/>
                </a:lnTo>
                <a:lnTo>
                  <a:pt x="4093681" y="3030818"/>
                </a:lnTo>
                <a:close/>
                <a:moveTo>
                  <a:pt x="4273602" y="3027461"/>
                </a:moveTo>
                <a:lnTo>
                  <a:pt x="4273601" y="3027462"/>
                </a:lnTo>
                <a:lnTo>
                  <a:pt x="4273307" y="3030504"/>
                </a:lnTo>
                <a:close/>
                <a:moveTo>
                  <a:pt x="4367143" y="3023238"/>
                </a:moveTo>
                <a:lnTo>
                  <a:pt x="4367143" y="3023239"/>
                </a:lnTo>
                <a:lnTo>
                  <a:pt x="4368120" y="3024646"/>
                </a:lnTo>
                <a:lnTo>
                  <a:pt x="4368120" y="3024645"/>
                </a:lnTo>
                <a:close/>
                <a:moveTo>
                  <a:pt x="2303115" y="3022474"/>
                </a:moveTo>
                <a:lnTo>
                  <a:pt x="2302723" y="3022914"/>
                </a:lnTo>
                <a:lnTo>
                  <a:pt x="2303841" y="3024073"/>
                </a:lnTo>
                <a:lnTo>
                  <a:pt x="2304025" y="3023455"/>
                </a:lnTo>
                <a:close/>
                <a:moveTo>
                  <a:pt x="2763158" y="3021183"/>
                </a:moveTo>
                <a:lnTo>
                  <a:pt x="2765328" y="3021507"/>
                </a:lnTo>
                <a:lnTo>
                  <a:pt x="2763266" y="3024864"/>
                </a:lnTo>
                <a:lnTo>
                  <a:pt x="2760663" y="3025730"/>
                </a:lnTo>
                <a:lnTo>
                  <a:pt x="2758275" y="3029411"/>
                </a:lnTo>
                <a:lnTo>
                  <a:pt x="2755671" y="3032010"/>
                </a:lnTo>
                <a:lnTo>
                  <a:pt x="2754803" y="3027787"/>
                </a:lnTo>
                <a:lnTo>
                  <a:pt x="2757516" y="3024756"/>
                </a:lnTo>
                <a:lnTo>
                  <a:pt x="2759903" y="3023565"/>
                </a:lnTo>
                <a:close/>
                <a:moveTo>
                  <a:pt x="2094815" y="3019669"/>
                </a:moveTo>
                <a:lnTo>
                  <a:pt x="2098929" y="3019775"/>
                </a:lnTo>
                <a:lnTo>
                  <a:pt x="2103897" y="3024922"/>
                </a:lnTo>
                <a:lnTo>
                  <a:pt x="2098928" y="3019774"/>
                </a:lnTo>
                <a:close/>
                <a:moveTo>
                  <a:pt x="4282174" y="3016743"/>
                </a:moveTo>
                <a:lnTo>
                  <a:pt x="4283693" y="3019233"/>
                </a:lnTo>
                <a:lnTo>
                  <a:pt x="4283042" y="3023672"/>
                </a:lnTo>
                <a:lnTo>
                  <a:pt x="4283043" y="3023672"/>
                </a:lnTo>
                <a:lnTo>
                  <a:pt x="4283694" y="3019232"/>
                </a:lnTo>
                <a:close/>
                <a:moveTo>
                  <a:pt x="4765616" y="3015010"/>
                </a:moveTo>
                <a:lnTo>
                  <a:pt x="4761710" y="3018691"/>
                </a:lnTo>
                <a:lnTo>
                  <a:pt x="4758997" y="3024213"/>
                </a:lnTo>
                <a:lnTo>
                  <a:pt x="4756718" y="3026378"/>
                </a:lnTo>
                <a:lnTo>
                  <a:pt x="4758997" y="3024213"/>
                </a:lnTo>
                <a:lnTo>
                  <a:pt x="4761710" y="3018691"/>
                </a:lnTo>
                <a:close/>
                <a:moveTo>
                  <a:pt x="6410729" y="3014036"/>
                </a:moveTo>
                <a:lnTo>
                  <a:pt x="6416915" y="3015226"/>
                </a:lnTo>
                <a:lnTo>
                  <a:pt x="6422123" y="3019666"/>
                </a:lnTo>
                <a:lnTo>
                  <a:pt x="6423643" y="3026595"/>
                </a:lnTo>
                <a:lnTo>
                  <a:pt x="6421906" y="3028111"/>
                </a:lnTo>
                <a:lnTo>
                  <a:pt x="6416264" y="3025404"/>
                </a:lnTo>
                <a:lnTo>
                  <a:pt x="6408016" y="3024430"/>
                </a:lnTo>
                <a:lnTo>
                  <a:pt x="6407148" y="3019991"/>
                </a:lnTo>
                <a:close/>
                <a:moveTo>
                  <a:pt x="4174635" y="3013061"/>
                </a:moveTo>
                <a:lnTo>
                  <a:pt x="4172413" y="3013505"/>
                </a:lnTo>
                <a:lnTo>
                  <a:pt x="4174634" y="3013062"/>
                </a:lnTo>
                <a:lnTo>
                  <a:pt x="4175936" y="3014036"/>
                </a:lnTo>
                <a:close/>
                <a:moveTo>
                  <a:pt x="4367794" y="3013061"/>
                </a:moveTo>
                <a:lnTo>
                  <a:pt x="4367794" y="3013061"/>
                </a:lnTo>
                <a:lnTo>
                  <a:pt x="4368445" y="3015984"/>
                </a:lnTo>
                <a:lnTo>
                  <a:pt x="4367400" y="3021805"/>
                </a:lnTo>
                <a:lnTo>
                  <a:pt x="4368445" y="3015984"/>
                </a:lnTo>
                <a:close/>
                <a:moveTo>
                  <a:pt x="6447625" y="3011546"/>
                </a:moveTo>
                <a:lnTo>
                  <a:pt x="6448602" y="3014902"/>
                </a:lnTo>
                <a:lnTo>
                  <a:pt x="6446214" y="3019558"/>
                </a:lnTo>
                <a:lnTo>
                  <a:pt x="6441114" y="3017934"/>
                </a:lnTo>
                <a:close/>
                <a:moveTo>
                  <a:pt x="6461407" y="3011006"/>
                </a:moveTo>
                <a:lnTo>
                  <a:pt x="6459453" y="3014795"/>
                </a:lnTo>
                <a:lnTo>
                  <a:pt x="6461841" y="3017286"/>
                </a:lnTo>
                <a:lnTo>
                  <a:pt x="6460322" y="3024540"/>
                </a:lnTo>
                <a:lnTo>
                  <a:pt x="6457283" y="3025623"/>
                </a:lnTo>
                <a:lnTo>
                  <a:pt x="6455764" y="3019668"/>
                </a:lnTo>
                <a:lnTo>
                  <a:pt x="6450664" y="3018260"/>
                </a:lnTo>
                <a:lnTo>
                  <a:pt x="6452834" y="3013496"/>
                </a:lnTo>
                <a:lnTo>
                  <a:pt x="6456523" y="3013712"/>
                </a:lnTo>
                <a:lnTo>
                  <a:pt x="6458802" y="3011655"/>
                </a:lnTo>
                <a:close/>
                <a:moveTo>
                  <a:pt x="4283643" y="3009299"/>
                </a:moveTo>
                <a:lnTo>
                  <a:pt x="4283910" y="3013711"/>
                </a:lnTo>
                <a:lnTo>
                  <a:pt x="4282992" y="3015315"/>
                </a:lnTo>
                <a:lnTo>
                  <a:pt x="4283911" y="3013711"/>
                </a:lnTo>
                <a:close/>
                <a:moveTo>
                  <a:pt x="2291876" y="3008982"/>
                </a:moveTo>
                <a:lnTo>
                  <a:pt x="2292739" y="3011221"/>
                </a:lnTo>
                <a:lnTo>
                  <a:pt x="2301702" y="3013535"/>
                </a:lnTo>
                <a:lnTo>
                  <a:pt x="2300444" y="3011221"/>
                </a:lnTo>
                <a:close/>
                <a:moveTo>
                  <a:pt x="6661836" y="3006889"/>
                </a:moveTo>
                <a:lnTo>
                  <a:pt x="6650225" y="3007214"/>
                </a:lnTo>
                <a:lnTo>
                  <a:pt x="6646643" y="3010354"/>
                </a:lnTo>
                <a:lnTo>
                  <a:pt x="6633405" y="3015767"/>
                </a:lnTo>
                <a:lnTo>
                  <a:pt x="6620274" y="3015010"/>
                </a:lnTo>
                <a:lnTo>
                  <a:pt x="6616909" y="3016742"/>
                </a:lnTo>
                <a:lnTo>
                  <a:pt x="6610942" y="3016308"/>
                </a:lnTo>
                <a:lnTo>
                  <a:pt x="6610182" y="3019124"/>
                </a:lnTo>
                <a:lnTo>
                  <a:pt x="6603237" y="3020964"/>
                </a:lnTo>
                <a:lnTo>
                  <a:pt x="6599767" y="3020532"/>
                </a:lnTo>
                <a:lnTo>
                  <a:pt x="6599767" y="3020533"/>
                </a:lnTo>
                <a:lnTo>
                  <a:pt x="6603239" y="3020966"/>
                </a:lnTo>
                <a:lnTo>
                  <a:pt x="6610184" y="3019125"/>
                </a:lnTo>
                <a:lnTo>
                  <a:pt x="6610944" y="3016310"/>
                </a:lnTo>
                <a:lnTo>
                  <a:pt x="6616912" y="3016743"/>
                </a:lnTo>
                <a:lnTo>
                  <a:pt x="6620276" y="3015011"/>
                </a:lnTo>
                <a:lnTo>
                  <a:pt x="6633407" y="3015769"/>
                </a:lnTo>
                <a:lnTo>
                  <a:pt x="6646646" y="3010355"/>
                </a:lnTo>
                <a:lnTo>
                  <a:pt x="6650227" y="3007215"/>
                </a:lnTo>
                <a:lnTo>
                  <a:pt x="6661838" y="3006891"/>
                </a:lnTo>
                <a:lnTo>
                  <a:pt x="6667913" y="3009813"/>
                </a:lnTo>
                <a:lnTo>
                  <a:pt x="6667913" y="3009812"/>
                </a:lnTo>
                <a:close/>
                <a:moveTo>
                  <a:pt x="6283982" y="3006675"/>
                </a:moveTo>
                <a:lnTo>
                  <a:pt x="6287129" y="3007865"/>
                </a:lnTo>
                <a:lnTo>
                  <a:pt x="6290710" y="3014579"/>
                </a:lnTo>
                <a:lnTo>
                  <a:pt x="6296244" y="3018909"/>
                </a:lnTo>
                <a:lnTo>
                  <a:pt x="6294725" y="3022266"/>
                </a:lnTo>
                <a:lnTo>
                  <a:pt x="6293748" y="3028546"/>
                </a:lnTo>
                <a:lnTo>
                  <a:pt x="6291578" y="3029520"/>
                </a:lnTo>
                <a:lnTo>
                  <a:pt x="6287129" y="3021075"/>
                </a:lnTo>
                <a:lnTo>
                  <a:pt x="6283656" y="3020209"/>
                </a:lnTo>
                <a:lnTo>
                  <a:pt x="6282572" y="3014903"/>
                </a:lnTo>
                <a:lnTo>
                  <a:pt x="6277037" y="3009381"/>
                </a:lnTo>
                <a:lnTo>
                  <a:pt x="6281703" y="3009273"/>
                </a:lnTo>
                <a:close/>
                <a:moveTo>
                  <a:pt x="6399662" y="3006458"/>
                </a:moveTo>
                <a:lnTo>
                  <a:pt x="6405956" y="3008731"/>
                </a:lnTo>
                <a:lnTo>
                  <a:pt x="6408452" y="3012304"/>
                </a:lnTo>
                <a:lnTo>
                  <a:pt x="6405414" y="3017501"/>
                </a:lnTo>
                <a:lnTo>
                  <a:pt x="6403135" y="3015444"/>
                </a:lnTo>
                <a:lnTo>
                  <a:pt x="6397166" y="3006674"/>
                </a:lnTo>
                <a:close/>
                <a:moveTo>
                  <a:pt x="2558279" y="3006239"/>
                </a:moveTo>
                <a:lnTo>
                  <a:pt x="2557278" y="3006506"/>
                </a:lnTo>
                <a:lnTo>
                  <a:pt x="2557303" y="3006565"/>
                </a:lnTo>
                <a:lnTo>
                  <a:pt x="2558419" y="3006565"/>
                </a:lnTo>
                <a:close/>
                <a:moveTo>
                  <a:pt x="4769740" y="3006132"/>
                </a:moveTo>
                <a:lnTo>
                  <a:pt x="4769957" y="3008189"/>
                </a:lnTo>
                <a:lnTo>
                  <a:pt x="4769741" y="3006132"/>
                </a:lnTo>
                <a:close/>
                <a:moveTo>
                  <a:pt x="4273276" y="3004616"/>
                </a:moveTo>
                <a:lnTo>
                  <a:pt x="4268067" y="3006564"/>
                </a:lnTo>
                <a:lnTo>
                  <a:pt x="4262750" y="3007972"/>
                </a:lnTo>
                <a:lnTo>
                  <a:pt x="4259386" y="3007106"/>
                </a:lnTo>
                <a:lnTo>
                  <a:pt x="4255697" y="3009163"/>
                </a:lnTo>
                <a:lnTo>
                  <a:pt x="4253309" y="3007864"/>
                </a:lnTo>
                <a:lnTo>
                  <a:pt x="4253633" y="3006895"/>
                </a:lnTo>
                <a:lnTo>
                  <a:pt x="4253309" y="3007864"/>
                </a:lnTo>
                <a:lnTo>
                  <a:pt x="4255696" y="3009164"/>
                </a:lnTo>
                <a:lnTo>
                  <a:pt x="4259386" y="3007107"/>
                </a:lnTo>
                <a:lnTo>
                  <a:pt x="4262750" y="3007973"/>
                </a:lnTo>
                <a:lnTo>
                  <a:pt x="4268067" y="3006566"/>
                </a:lnTo>
                <a:lnTo>
                  <a:pt x="4273276" y="3004617"/>
                </a:lnTo>
                <a:lnTo>
                  <a:pt x="4280872" y="3004725"/>
                </a:lnTo>
                <a:lnTo>
                  <a:pt x="4283476" y="3006565"/>
                </a:lnTo>
                <a:lnTo>
                  <a:pt x="4283476" y="3006564"/>
                </a:lnTo>
                <a:lnTo>
                  <a:pt x="4280872" y="3004724"/>
                </a:lnTo>
                <a:close/>
                <a:moveTo>
                  <a:pt x="6943112" y="3003426"/>
                </a:moveTo>
                <a:lnTo>
                  <a:pt x="6949840" y="3004942"/>
                </a:lnTo>
                <a:lnTo>
                  <a:pt x="6950382" y="3007756"/>
                </a:lnTo>
                <a:lnTo>
                  <a:pt x="6952553" y="3010138"/>
                </a:lnTo>
                <a:lnTo>
                  <a:pt x="6950382" y="3011871"/>
                </a:lnTo>
                <a:lnTo>
                  <a:pt x="6948211" y="3015227"/>
                </a:lnTo>
                <a:lnTo>
                  <a:pt x="6946693" y="3019450"/>
                </a:lnTo>
                <a:lnTo>
                  <a:pt x="6943437" y="3021615"/>
                </a:lnTo>
                <a:lnTo>
                  <a:pt x="6940832" y="3024755"/>
                </a:lnTo>
                <a:lnTo>
                  <a:pt x="6937795" y="3025080"/>
                </a:lnTo>
                <a:lnTo>
                  <a:pt x="6935733" y="3028978"/>
                </a:lnTo>
                <a:lnTo>
                  <a:pt x="6928137" y="3034175"/>
                </a:lnTo>
                <a:lnTo>
                  <a:pt x="6910014" y="3038289"/>
                </a:lnTo>
                <a:lnTo>
                  <a:pt x="6905239" y="3036774"/>
                </a:lnTo>
                <a:lnTo>
                  <a:pt x="6904045" y="3034391"/>
                </a:lnTo>
                <a:lnTo>
                  <a:pt x="6900247" y="3032226"/>
                </a:lnTo>
                <a:lnTo>
                  <a:pt x="6894497" y="3032117"/>
                </a:lnTo>
                <a:lnTo>
                  <a:pt x="6893520" y="3033525"/>
                </a:lnTo>
                <a:lnTo>
                  <a:pt x="6888094" y="3033850"/>
                </a:lnTo>
                <a:lnTo>
                  <a:pt x="6878002" y="3032767"/>
                </a:lnTo>
                <a:lnTo>
                  <a:pt x="6875071" y="3034175"/>
                </a:lnTo>
                <a:lnTo>
                  <a:pt x="6870080" y="3034175"/>
                </a:lnTo>
                <a:lnTo>
                  <a:pt x="6868019" y="3031468"/>
                </a:lnTo>
                <a:lnTo>
                  <a:pt x="6862267" y="3030710"/>
                </a:lnTo>
                <a:lnTo>
                  <a:pt x="6853694" y="3035041"/>
                </a:lnTo>
                <a:lnTo>
                  <a:pt x="6845989" y="3034824"/>
                </a:lnTo>
                <a:lnTo>
                  <a:pt x="6839370" y="3031793"/>
                </a:lnTo>
                <a:lnTo>
                  <a:pt x="6833836" y="3033633"/>
                </a:lnTo>
                <a:lnTo>
                  <a:pt x="6829603" y="3037964"/>
                </a:lnTo>
                <a:lnTo>
                  <a:pt x="6825806" y="3046951"/>
                </a:lnTo>
                <a:lnTo>
                  <a:pt x="6825046" y="3056154"/>
                </a:lnTo>
                <a:lnTo>
                  <a:pt x="6828410" y="3064599"/>
                </a:lnTo>
                <a:lnTo>
                  <a:pt x="6834595" y="3069904"/>
                </a:lnTo>
                <a:lnTo>
                  <a:pt x="6840781" y="3076833"/>
                </a:lnTo>
                <a:lnTo>
                  <a:pt x="6841974" y="3078999"/>
                </a:lnTo>
                <a:lnTo>
                  <a:pt x="6846966" y="3079757"/>
                </a:lnTo>
                <a:lnTo>
                  <a:pt x="6851632" y="3077375"/>
                </a:lnTo>
                <a:lnTo>
                  <a:pt x="6854888" y="3069362"/>
                </a:lnTo>
                <a:lnTo>
                  <a:pt x="6859554" y="3063408"/>
                </a:lnTo>
                <a:lnTo>
                  <a:pt x="6863895" y="3064599"/>
                </a:lnTo>
                <a:lnTo>
                  <a:pt x="6868343" y="3067305"/>
                </a:lnTo>
                <a:lnTo>
                  <a:pt x="6871816" y="3066548"/>
                </a:lnTo>
                <a:lnTo>
                  <a:pt x="6876265" y="3066872"/>
                </a:lnTo>
                <a:lnTo>
                  <a:pt x="6880389" y="3062542"/>
                </a:lnTo>
                <a:lnTo>
                  <a:pt x="6883862" y="3061567"/>
                </a:lnTo>
                <a:lnTo>
                  <a:pt x="6890915" y="3061567"/>
                </a:lnTo>
                <a:lnTo>
                  <a:pt x="6895581" y="3058211"/>
                </a:lnTo>
                <a:lnTo>
                  <a:pt x="6906216" y="3057236"/>
                </a:lnTo>
                <a:lnTo>
                  <a:pt x="6911208" y="3059077"/>
                </a:lnTo>
                <a:lnTo>
                  <a:pt x="6911208" y="3062867"/>
                </a:lnTo>
                <a:lnTo>
                  <a:pt x="6907084" y="3068713"/>
                </a:lnTo>
                <a:lnTo>
                  <a:pt x="6904154" y="3068388"/>
                </a:lnTo>
                <a:lnTo>
                  <a:pt x="6899488" y="3066006"/>
                </a:lnTo>
                <a:lnTo>
                  <a:pt x="6894388" y="3067198"/>
                </a:lnTo>
                <a:lnTo>
                  <a:pt x="6894171" y="3070445"/>
                </a:lnTo>
                <a:lnTo>
                  <a:pt x="6889830" y="3072719"/>
                </a:lnTo>
                <a:lnTo>
                  <a:pt x="6886575" y="3078241"/>
                </a:lnTo>
                <a:lnTo>
                  <a:pt x="6879738" y="3083546"/>
                </a:lnTo>
                <a:lnTo>
                  <a:pt x="6870080" y="3087011"/>
                </a:lnTo>
                <a:lnTo>
                  <a:pt x="6868995" y="3089934"/>
                </a:lnTo>
                <a:lnTo>
                  <a:pt x="6865197" y="3092749"/>
                </a:lnTo>
                <a:lnTo>
                  <a:pt x="6860964" y="3092641"/>
                </a:lnTo>
                <a:lnTo>
                  <a:pt x="6859880" y="3090259"/>
                </a:lnTo>
                <a:lnTo>
                  <a:pt x="6858034" y="3090043"/>
                </a:lnTo>
                <a:lnTo>
                  <a:pt x="6857492" y="3091883"/>
                </a:lnTo>
                <a:lnTo>
                  <a:pt x="6859880" y="3096214"/>
                </a:lnTo>
                <a:lnTo>
                  <a:pt x="6863895" y="3099029"/>
                </a:lnTo>
                <a:lnTo>
                  <a:pt x="6870405" y="3106391"/>
                </a:lnTo>
                <a:lnTo>
                  <a:pt x="6871599" y="3110830"/>
                </a:lnTo>
                <a:lnTo>
                  <a:pt x="6874312" y="3111047"/>
                </a:lnTo>
                <a:lnTo>
                  <a:pt x="6878436" y="3113753"/>
                </a:lnTo>
                <a:lnTo>
                  <a:pt x="6878978" y="3116352"/>
                </a:lnTo>
                <a:lnTo>
                  <a:pt x="6877676" y="3118518"/>
                </a:lnTo>
                <a:lnTo>
                  <a:pt x="6880932" y="3119600"/>
                </a:lnTo>
                <a:lnTo>
                  <a:pt x="6883102" y="3121874"/>
                </a:lnTo>
                <a:lnTo>
                  <a:pt x="6882126" y="3124256"/>
                </a:lnTo>
                <a:lnTo>
                  <a:pt x="6880064" y="3124581"/>
                </a:lnTo>
                <a:lnTo>
                  <a:pt x="6881366" y="3127504"/>
                </a:lnTo>
                <a:lnTo>
                  <a:pt x="6879738" y="3126855"/>
                </a:lnTo>
                <a:lnTo>
                  <a:pt x="6878653" y="3129020"/>
                </a:lnTo>
                <a:lnTo>
                  <a:pt x="6875940" y="3131835"/>
                </a:lnTo>
                <a:lnTo>
                  <a:pt x="6877242" y="3134758"/>
                </a:lnTo>
                <a:lnTo>
                  <a:pt x="6881366" y="3135949"/>
                </a:lnTo>
                <a:lnTo>
                  <a:pt x="6881583" y="3138548"/>
                </a:lnTo>
                <a:lnTo>
                  <a:pt x="6883645" y="3137248"/>
                </a:lnTo>
                <a:lnTo>
                  <a:pt x="6885707" y="3137790"/>
                </a:lnTo>
                <a:lnTo>
                  <a:pt x="6885598" y="3140063"/>
                </a:lnTo>
                <a:lnTo>
                  <a:pt x="6887768" y="3140388"/>
                </a:lnTo>
                <a:lnTo>
                  <a:pt x="6888094" y="3143853"/>
                </a:lnTo>
                <a:lnTo>
                  <a:pt x="6892651" y="3143312"/>
                </a:lnTo>
                <a:lnTo>
                  <a:pt x="6894713" y="3143961"/>
                </a:lnTo>
                <a:lnTo>
                  <a:pt x="6896558" y="3143203"/>
                </a:lnTo>
                <a:lnTo>
                  <a:pt x="6902743" y="3143636"/>
                </a:lnTo>
                <a:lnTo>
                  <a:pt x="6903503" y="3145693"/>
                </a:lnTo>
                <a:lnTo>
                  <a:pt x="6901441" y="3149158"/>
                </a:lnTo>
                <a:lnTo>
                  <a:pt x="6897969" y="3149158"/>
                </a:lnTo>
                <a:lnTo>
                  <a:pt x="6896124" y="3148184"/>
                </a:lnTo>
                <a:lnTo>
                  <a:pt x="6893520" y="3150890"/>
                </a:lnTo>
                <a:lnTo>
                  <a:pt x="6886466" y="3150349"/>
                </a:lnTo>
                <a:lnTo>
                  <a:pt x="6880714" y="3153597"/>
                </a:lnTo>
                <a:lnTo>
                  <a:pt x="6876591" y="3154680"/>
                </a:lnTo>
                <a:lnTo>
                  <a:pt x="6872468" y="3158469"/>
                </a:lnTo>
                <a:lnTo>
                  <a:pt x="6873878" y="3161934"/>
                </a:lnTo>
                <a:lnTo>
                  <a:pt x="6874204" y="3163558"/>
                </a:lnTo>
                <a:lnTo>
                  <a:pt x="6870188" y="3164316"/>
                </a:lnTo>
                <a:lnTo>
                  <a:pt x="6864871" y="3162042"/>
                </a:lnTo>
                <a:lnTo>
                  <a:pt x="6862267" y="3162909"/>
                </a:lnTo>
                <a:lnTo>
                  <a:pt x="6858794" y="3161718"/>
                </a:lnTo>
                <a:lnTo>
                  <a:pt x="6857167" y="3156953"/>
                </a:lnTo>
                <a:lnTo>
                  <a:pt x="6858360" y="3148184"/>
                </a:lnTo>
                <a:lnTo>
                  <a:pt x="6860205" y="3148508"/>
                </a:lnTo>
                <a:lnTo>
                  <a:pt x="6859337" y="3143961"/>
                </a:lnTo>
                <a:lnTo>
                  <a:pt x="6853911" y="3140713"/>
                </a:lnTo>
                <a:lnTo>
                  <a:pt x="6850982" y="3137140"/>
                </a:lnTo>
                <a:lnTo>
                  <a:pt x="6847617" y="3136599"/>
                </a:lnTo>
                <a:lnTo>
                  <a:pt x="6845121" y="3131835"/>
                </a:lnTo>
                <a:lnTo>
                  <a:pt x="6846098" y="3127504"/>
                </a:lnTo>
                <a:lnTo>
                  <a:pt x="6849896" y="3123173"/>
                </a:lnTo>
                <a:lnTo>
                  <a:pt x="6849896" y="3118409"/>
                </a:lnTo>
                <a:lnTo>
                  <a:pt x="6847617" y="3114404"/>
                </a:lnTo>
                <a:lnTo>
                  <a:pt x="6848160" y="3112021"/>
                </a:lnTo>
                <a:lnTo>
                  <a:pt x="6843385" y="3110289"/>
                </a:lnTo>
                <a:lnTo>
                  <a:pt x="6838502" y="3111372"/>
                </a:lnTo>
                <a:lnTo>
                  <a:pt x="6836440" y="3114620"/>
                </a:lnTo>
                <a:lnTo>
                  <a:pt x="6831232" y="3117868"/>
                </a:lnTo>
                <a:lnTo>
                  <a:pt x="6831232" y="3120141"/>
                </a:lnTo>
                <a:lnTo>
                  <a:pt x="6834378" y="3122849"/>
                </a:lnTo>
                <a:lnTo>
                  <a:pt x="6835789" y="3130211"/>
                </a:lnTo>
                <a:lnTo>
                  <a:pt x="6834162" y="3136491"/>
                </a:lnTo>
                <a:lnTo>
                  <a:pt x="6829603" y="3143312"/>
                </a:lnTo>
                <a:lnTo>
                  <a:pt x="6831449" y="3145369"/>
                </a:lnTo>
                <a:lnTo>
                  <a:pt x="6832316" y="3152731"/>
                </a:lnTo>
                <a:lnTo>
                  <a:pt x="6831232" y="3160743"/>
                </a:lnTo>
                <a:lnTo>
                  <a:pt x="6828736" y="3164966"/>
                </a:lnTo>
                <a:lnTo>
                  <a:pt x="6829387" y="3171137"/>
                </a:lnTo>
                <a:lnTo>
                  <a:pt x="6832642" y="3173411"/>
                </a:lnTo>
                <a:lnTo>
                  <a:pt x="6833185" y="3178283"/>
                </a:lnTo>
                <a:lnTo>
                  <a:pt x="6832316" y="3181964"/>
                </a:lnTo>
                <a:lnTo>
                  <a:pt x="6829387" y="3179799"/>
                </a:lnTo>
                <a:lnTo>
                  <a:pt x="6825480" y="3180448"/>
                </a:lnTo>
                <a:lnTo>
                  <a:pt x="6820922" y="3179365"/>
                </a:lnTo>
                <a:lnTo>
                  <a:pt x="6818752" y="3181964"/>
                </a:lnTo>
                <a:lnTo>
                  <a:pt x="6813760" y="3182181"/>
                </a:lnTo>
                <a:lnTo>
                  <a:pt x="6810396" y="3180124"/>
                </a:lnTo>
                <a:lnTo>
                  <a:pt x="6807900" y="3180124"/>
                </a:lnTo>
                <a:lnTo>
                  <a:pt x="6807140" y="3172003"/>
                </a:lnTo>
                <a:lnTo>
                  <a:pt x="6807684" y="3161718"/>
                </a:lnTo>
                <a:lnTo>
                  <a:pt x="6811155" y="3156737"/>
                </a:lnTo>
                <a:lnTo>
                  <a:pt x="6812458" y="3150565"/>
                </a:lnTo>
                <a:lnTo>
                  <a:pt x="6814194" y="3147859"/>
                </a:lnTo>
                <a:lnTo>
                  <a:pt x="6810070" y="3136816"/>
                </a:lnTo>
                <a:lnTo>
                  <a:pt x="6808551" y="3130752"/>
                </a:lnTo>
                <a:lnTo>
                  <a:pt x="6806164" y="3129561"/>
                </a:lnTo>
                <a:lnTo>
                  <a:pt x="6803559" y="3131510"/>
                </a:lnTo>
                <a:lnTo>
                  <a:pt x="6799978" y="3131510"/>
                </a:lnTo>
                <a:lnTo>
                  <a:pt x="6798242" y="3132485"/>
                </a:lnTo>
                <a:lnTo>
                  <a:pt x="6795638" y="3128695"/>
                </a:lnTo>
                <a:lnTo>
                  <a:pt x="6792816" y="3120467"/>
                </a:lnTo>
                <a:lnTo>
                  <a:pt x="6794986" y="3117759"/>
                </a:lnTo>
                <a:lnTo>
                  <a:pt x="6794119" y="3115811"/>
                </a:lnTo>
                <a:lnTo>
                  <a:pt x="6795746" y="3109639"/>
                </a:lnTo>
                <a:lnTo>
                  <a:pt x="6801281" y="3105308"/>
                </a:lnTo>
                <a:lnTo>
                  <a:pt x="6801172" y="3099353"/>
                </a:lnTo>
                <a:lnTo>
                  <a:pt x="6804211" y="3097946"/>
                </a:lnTo>
                <a:lnTo>
                  <a:pt x="6804971" y="3093940"/>
                </a:lnTo>
                <a:lnTo>
                  <a:pt x="6806164" y="3091774"/>
                </a:lnTo>
                <a:lnTo>
                  <a:pt x="6804971" y="3081814"/>
                </a:lnTo>
                <a:lnTo>
                  <a:pt x="6806598" y="3078241"/>
                </a:lnTo>
                <a:lnTo>
                  <a:pt x="6805947" y="3072719"/>
                </a:lnTo>
                <a:lnTo>
                  <a:pt x="6806815" y="3068064"/>
                </a:lnTo>
                <a:lnTo>
                  <a:pt x="6810613" y="3066006"/>
                </a:lnTo>
                <a:lnTo>
                  <a:pt x="6813760" y="3062217"/>
                </a:lnTo>
                <a:lnTo>
                  <a:pt x="6816798" y="3061351"/>
                </a:lnTo>
                <a:lnTo>
                  <a:pt x="6818209" y="3064923"/>
                </a:lnTo>
                <a:lnTo>
                  <a:pt x="6820054" y="3067305"/>
                </a:lnTo>
                <a:lnTo>
                  <a:pt x="6819402" y="3062867"/>
                </a:lnTo>
                <a:lnTo>
                  <a:pt x="6817016" y="3057236"/>
                </a:lnTo>
                <a:lnTo>
                  <a:pt x="6818209" y="3054421"/>
                </a:lnTo>
                <a:lnTo>
                  <a:pt x="6818535" y="3046517"/>
                </a:lnTo>
                <a:lnTo>
                  <a:pt x="6817341" y="3042620"/>
                </a:lnTo>
                <a:lnTo>
                  <a:pt x="6817341" y="3035691"/>
                </a:lnTo>
                <a:lnTo>
                  <a:pt x="6823310" y="3030060"/>
                </a:lnTo>
                <a:lnTo>
                  <a:pt x="6822875" y="3028329"/>
                </a:lnTo>
                <a:lnTo>
                  <a:pt x="6825046" y="3025730"/>
                </a:lnTo>
                <a:lnTo>
                  <a:pt x="6830797" y="3024430"/>
                </a:lnTo>
                <a:lnTo>
                  <a:pt x="6836982" y="3026379"/>
                </a:lnTo>
                <a:lnTo>
                  <a:pt x="6840021" y="3023672"/>
                </a:lnTo>
                <a:lnTo>
                  <a:pt x="6842083" y="3019233"/>
                </a:lnTo>
                <a:lnTo>
                  <a:pt x="6845772" y="3016852"/>
                </a:lnTo>
                <a:lnTo>
                  <a:pt x="6845772" y="3011654"/>
                </a:lnTo>
                <a:lnTo>
                  <a:pt x="6850113" y="3011438"/>
                </a:lnTo>
                <a:lnTo>
                  <a:pt x="6857167" y="3012846"/>
                </a:lnTo>
                <a:lnTo>
                  <a:pt x="6861833" y="3017285"/>
                </a:lnTo>
                <a:lnTo>
                  <a:pt x="6865413" y="3019450"/>
                </a:lnTo>
                <a:lnTo>
                  <a:pt x="6868669" y="3017285"/>
                </a:lnTo>
                <a:lnTo>
                  <a:pt x="6874855" y="3018367"/>
                </a:lnTo>
                <a:lnTo>
                  <a:pt x="6879413" y="3019450"/>
                </a:lnTo>
                <a:lnTo>
                  <a:pt x="6883536" y="3019233"/>
                </a:lnTo>
                <a:lnTo>
                  <a:pt x="6887117" y="3019558"/>
                </a:lnTo>
                <a:lnTo>
                  <a:pt x="6891784" y="3023672"/>
                </a:lnTo>
                <a:lnTo>
                  <a:pt x="6893954" y="3023348"/>
                </a:lnTo>
                <a:lnTo>
                  <a:pt x="6895690" y="3020749"/>
                </a:lnTo>
                <a:lnTo>
                  <a:pt x="6905348" y="3021615"/>
                </a:lnTo>
                <a:lnTo>
                  <a:pt x="6916743" y="3023889"/>
                </a:lnTo>
                <a:lnTo>
                  <a:pt x="6922385" y="3022482"/>
                </a:lnTo>
                <a:lnTo>
                  <a:pt x="6924881" y="3018801"/>
                </a:lnTo>
                <a:lnTo>
                  <a:pt x="6928679" y="3018367"/>
                </a:lnTo>
                <a:lnTo>
                  <a:pt x="6933671" y="3014794"/>
                </a:lnTo>
                <a:lnTo>
                  <a:pt x="6933996" y="3012304"/>
                </a:lnTo>
                <a:lnTo>
                  <a:pt x="6937577" y="3009597"/>
                </a:lnTo>
                <a:lnTo>
                  <a:pt x="6938446" y="3004942"/>
                </a:lnTo>
                <a:close/>
                <a:moveTo>
                  <a:pt x="2353253" y="2997911"/>
                </a:moveTo>
                <a:lnTo>
                  <a:pt x="2355787" y="3004292"/>
                </a:lnTo>
                <a:lnTo>
                  <a:pt x="2356163" y="3008317"/>
                </a:lnTo>
                <a:lnTo>
                  <a:pt x="2356164" y="3008318"/>
                </a:lnTo>
                <a:lnTo>
                  <a:pt x="2355788" y="3004291"/>
                </a:lnTo>
                <a:close/>
                <a:moveTo>
                  <a:pt x="4372485" y="2995387"/>
                </a:moveTo>
                <a:lnTo>
                  <a:pt x="4372243" y="2996279"/>
                </a:lnTo>
                <a:lnTo>
                  <a:pt x="4371918" y="3001584"/>
                </a:lnTo>
                <a:lnTo>
                  <a:pt x="4368445" y="3006023"/>
                </a:lnTo>
                <a:lnTo>
                  <a:pt x="4367843" y="3012535"/>
                </a:lnTo>
                <a:lnTo>
                  <a:pt x="4368445" y="3006024"/>
                </a:lnTo>
                <a:lnTo>
                  <a:pt x="4371918" y="3001584"/>
                </a:lnTo>
                <a:lnTo>
                  <a:pt x="4372243" y="2996279"/>
                </a:lnTo>
                <a:close/>
                <a:moveTo>
                  <a:pt x="4320264" y="2992491"/>
                </a:moveTo>
                <a:lnTo>
                  <a:pt x="4320914" y="2993897"/>
                </a:lnTo>
                <a:lnTo>
                  <a:pt x="4320915" y="2993897"/>
                </a:lnTo>
                <a:lnTo>
                  <a:pt x="4320265" y="2992491"/>
                </a:lnTo>
                <a:close/>
                <a:moveTo>
                  <a:pt x="6387615" y="2991732"/>
                </a:moveTo>
                <a:lnTo>
                  <a:pt x="6391956" y="2996604"/>
                </a:lnTo>
                <a:lnTo>
                  <a:pt x="6387615" y="3001477"/>
                </a:lnTo>
                <a:lnTo>
                  <a:pt x="6383274" y="3002126"/>
                </a:lnTo>
                <a:lnTo>
                  <a:pt x="6380670" y="2994980"/>
                </a:lnTo>
                <a:lnTo>
                  <a:pt x="6384793" y="2994222"/>
                </a:lnTo>
                <a:close/>
                <a:moveTo>
                  <a:pt x="2613426" y="2991360"/>
                </a:moveTo>
                <a:lnTo>
                  <a:pt x="2613949" y="2991732"/>
                </a:lnTo>
                <a:lnTo>
                  <a:pt x="2615200" y="2992066"/>
                </a:lnTo>
                <a:lnTo>
                  <a:pt x="2614274" y="2991407"/>
                </a:lnTo>
                <a:close/>
                <a:moveTo>
                  <a:pt x="6280293" y="2990109"/>
                </a:moveTo>
                <a:lnTo>
                  <a:pt x="6282355" y="2993141"/>
                </a:lnTo>
                <a:lnTo>
                  <a:pt x="6276820" y="2991300"/>
                </a:lnTo>
                <a:close/>
                <a:moveTo>
                  <a:pt x="2598105" y="2989891"/>
                </a:moveTo>
                <a:lnTo>
                  <a:pt x="2596892" y="2989947"/>
                </a:lnTo>
                <a:lnTo>
                  <a:pt x="2598105" y="2991298"/>
                </a:lnTo>
                <a:lnTo>
                  <a:pt x="2599218" y="2991132"/>
                </a:lnTo>
                <a:close/>
                <a:moveTo>
                  <a:pt x="2343633" y="2989350"/>
                </a:moveTo>
                <a:lnTo>
                  <a:pt x="2342769" y="2989576"/>
                </a:lnTo>
                <a:lnTo>
                  <a:pt x="2343417" y="2991407"/>
                </a:lnTo>
                <a:lnTo>
                  <a:pt x="2347431" y="2996279"/>
                </a:lnTo>
                <a:lnTo>
                  <a:pt x="2348408" y="3001585"/>
                </a:lnTo>
                <a:lnTo>
                  <a:pt x="2348408" y="3008081"/>
                </a:lnTo>
                <a:lnTo>
                  <a:pt x="2349740" y="3007920"/>
                </a:lnTo>
                <a:lnTo>
                  <a:pt x="2349819" y="3003100"/>
                </a:lnTo>
                <a:lnTo>
                  <a:pt x="2348843" y="2997903"/>
                </a:lnTo>
                <a:lnTo>
                  <a:pt x="2344936" y="2993031"/>
                </a:lnTo>
                <a:close/>
                <a:moveTo>
                  <a:pt x="7018967" y="2988485"/>
                </a:moveTo>
                <a:lnTo>
                  <a:pt x="7018424" y="2992274"/>
                </a:lnTo>
                <a:lnTo>
                  <a:pt x="7014734" y="2996389"/>
                </a:lnTo>
                <a:lnTo>
                  <a:pt x="7015602" y="2998987"/>
                </a:lnTo>
                <a:lnTo>
                  <a:pt x="7019726" y="3000611"/>
                </a:lnTo>
                <a:lnTo>
                  <a:pt x="7019726" y="3007866"/>
                </a:lnTo>
                <a:lnTo>
                  <a:pt x="7017881" y="3013929"/>
                </a:lnTo>
                <a:lnTo>
                  <a:pt x="7014083" y="3014037"/>
                </a:lnTo>
                <a:lnTo>
                  <a:pt x="7010610" y="3017502"/>
                </a:lnTo>
                <a:lnTo>
                  <a:pt x="7012672" y="3021399"/>
                </a:lnTo>
                <a:lnTo>
                  <a:pt x="7015494" y="3020966"/>
                </a:lnTo>
                <a:lnTo>
                  <a:pt x="7017013" y="3017177"/>
                </a:lnTo>
                <a:lnTo>
                  <a:pt x="7021137" y="3015228"/>
                </a:lnTo>
                <a:lnTo>
                  <a:pt x="7023198" y="3012846"/>
                </a:lnTo>
                <a:lnTo>
                  <a:pt x="7020811" y="3012738"/>
                </a:lnTo>
                <a:lnTo>
                  <a:pt x="7021354" y="3009382"/>
                </a:lnTo>
                <a:lnTo>
                  <a:pt x="7028516" y="3005808"/>
                </a:lnTo>
                <a:lnTo>
                  <a:pt x="7036112" y="3003101"/>
                </a:lnTo>
                <a:lnTo>
                  <a:pt x="7038933" y="3006025"/>
                </a:lnTo>
                <a:lnTo>
                  <a:pt x="7039258" y="3009382"/>
                </a:lnTo>
                <a:lnTo>
                  <a:pt x="7035569" y="3017827"/>
                </a:lnTo>
                <a:lnTo>
                  <a:pt x="7026996" y="3020750"/>
                </a:lnTo>
                <a:lnTo>
                  <a:pt x="7023850" y="3024431"/>
                </a:lnTo>
                <a:lnTo>
                  <a:pt x="7025803" y="3027679"/>
                </a:lnTo>
                <a:lnTo>
                  <a:pt x="7028949" y="3028004"/>
                </a:lnTo>
                <a:lnTo>
                  <a:pt x="7034918" y="3032227"/>
                </a:lnTo>
                <a:lnTo>
                  <a:pt x="7035786" y="3035691"/>
                </a:lnTo>
                <a:lnTo>
                  <a:pt x="7038065" y="3037640"/>
                </a:lnTo>
                <a:lnTo>
                  <a:pt x="7033399" y="3037964"/>
                </a:lnTo>
                <a:lnTo>
                  <a:pt x="7030143" y="3035366"/>
                </a:lnTo>
                <a:lnTo>
                  <a:pt x="7023850" y="3035258"/>
                </a:lnTo>
                <a:lnTo>
                  <a:pt x="7018424" y="3033525"/>
                </a:lnTo>
                <a:lnTo>
                  <a:pt x="7014951" y="3034717"/>
                </a:lnTo>
                <a:lnTo>
                  <a:pt x="7014951" y="3043595"/>
                </a:lnTo>
                <a:lnTo>
                  <a:pt x="7018967" y="3051390"/>
                </a:lnTo>
                <a:lnTo>
                  <a:pt x="7020811" y="3058104"/>
                </a:lnTo>
                <a:lnTo>
                  <a:pt x="7026996" y="3063517"/>
                </a:lnTo>
                <a:lnTo>
                  <a:pt x="7028407" y="3065790"/>
                </a:lnTo>
                <a:lnTo>
                  <a:pt x="7026454" y="3066549"/>
                </a:lnTo>
                <a:lnTo>
                  <a:pt x="7026128" y="3069363"/>
                </a:lnTo>
                <a:lnTo>
                  <a:pt x="7025152" y="3065574"/>
                </a:lnTo>
                <a:lnTo>
                  <a:pt x="7021028" y="3063950"/>
                </a:lnTo>
                <a:lnTo>
                  <a:pt x="7017231" y="3056154"/>
                </a:lnTo>
                <a:lnTo>
                  <a:pt x="7012130" y="3053123"/>
                </a:lnTo>
                <a:lnTo>
                  <a:pt x="7009091" y="3047709"/>
                </a:lnTo>
                <a:lnTo>
                  <a:pt x="7010936" y="3042729"/>
                </a:lnTo>
                <a:lnTo>
                  <a:pt x="7010177" y="3040022"/>
                </a:lnTo>
                <a:lnTo>
                  <a:pt x="7010827" y="3037099"/>
                </a:lnTo>
                <a:lnTo>
                  <a:pt x="7006161" y="3033309"/>
                </a:lnTo>
                <a:lnTo>
                  <a:pt x="7007030" y="3028545"/>
                </a:lnTo>
                <a:lnTo>
                  <a:pt x="7008874" y="3025405"/>
                </a:lnTo>
                <a:lnTo>
                  <a:pt x="7006161" y="3020425"/>
                </a:lnTo>
                <a:lnTo>
                  <a:pt x="7003774" y="3017285"/>
                </a:lnTo>
                <a:lnTo>
                  <a:pt x="7005293" y="3011330"/>
                </a:lnTo>
                <a:lnTo>
                  <a:pt x="7008223" y="3009056"/>
                </a:lnTo>
                <a:lnTo>
                  <a:pt x="7007681" y="3003101"/>
                </a:lnTo>
                <a:lnTo>
                  <a:pt x="7009309" y="2996172"/>
                </a:lnTo>
                <a:lnTo>
                  <a:pt x="7016471" y="2989134"/>
                </a:lnTo>
                <a:close/>
                <a:moveTo>
                  <a:pt x="2676275" y="2986649"/>
                </a:moveTo>
                <a:lnTo>
                  <a:pt x="2676779" y="2988159"/>
                </a:lnTo>
                <a:lnTo>
                  <a:pt x="2678516" y="2988917"/>
                </a:lnTo>
                <a:lnTo>
                  <a:pt x="2678516" y="2995197"/>
                </a:lnTo>
                <a:lnTo>
                  <a:pt x="2681338" y="2996171"/>
                </a:lnTo>
                <a:lnTo>
                  <a:pt x="2681395" y="2996129"/>
                </a:lnTo>
                <a:lnTo>
                  <a:pt x="2680577" y="2995847"/>
                </a:lnTo>
                <a:lnTo>
                  <a:pt x="2680360" y="2989567"/>
                </a:lnTo>
                <a:lnTo>
                  <a:pt x="2678624" y="2988809"/>
                </a:lnTo>
                <a:lnTo>
                  <a:pt x="2677973" y="2986861"/>
                </a:lnTo>
                <a:close/>
                <a:moveTo>
                  <a:pt x="4208708" y="2985995"/>
                </a:moveTo>
                <a:lnTo>
                  <a:pt x="4208708" y="2986102"/>
                </a:lnTo>
                <a:lnTo>
                  <a:pt x="4208708" y="3014469"/>
                </a:lnTo>
                <a:lnTo>
                  <a:pt x="4208708" y="3014469"/>
                </a:lnTo>
                <a:lnTo>
                  <a:pt x="4208708" y="2986102"/>
                </a:lnTo>
                <a:lnTo>
                  <a:pt x="4208709" y="2986101"/>
                </a:lnTo>
                <a:lnTo>
                  <a:pt x="4208709" y="2985995"/>
                </a:lnTo>
                <a:close/>
                <a:moveTo>
                  <a:pt x="4252983" y="2985669"/>
                </a:moveTo>
                <a:lnTo>
                  <a:pt x="4251789" y="2990542"/>
                </a:lnTo>
                <a:lnTo>
                  <a:pt x="4253417" y="2995089"/>
                </a:lnTo>
                <a:lnTo>
                  <a:pt x="4253417" y="2995088"/>
                </a:lnTo>
                <a:lnTo>
                  <a:pt x="4251790" y="2990540"/>
                </a:lnTo>
                <a:lnTo>
                  <a:pt x="4252984" y="2985669"/>
                </a:lnTo>
                <a:close/>
                <a:moveTo>
                  <a:pt x="7030035" y="2983937"/>
                </a:moveTo>
                <a:lnTo>
                  <a:pt x="7033181" y="2985994"/>
                </a:lnTo>
                <a:lnTo>
                  <a:pt x="7034593" y="2989675"/>
                </a:lnTo>
                <a:lnTo>
                  <a:pt x="7031120" y="2993032"/>
                </a:lnTo>
                <a:lnTo>
                  <a:pt x="7027538" y="2992707"/>
                </a:lnTo>
                <a:lnTo>
                  <a:pt x="7024826" y="2995089"/>
                </a:lnTo>
                <a:lnTo>
                  <a:pt x="7023415" y="2987510"/>
                </a:lnTo>
                <a:lnTo>
                  <a:pt x="7026996" y="2986210"/>
                </a:lnTo>
                <a:close/>
                <a:moveTo>
                  <a:pt x="4242023" y="2983071"/>
                </a:moveTo>
                <a:lnTo>
                  <a:pt x="4242457" y="2984154"/>
                </a:lnTo>
                <a:lnTo>
                  <a:pt x="4248535" y="2984587"/>
                </a:lnTo>
                <a:lnTo>
                  <a:pt x="4242458" y="2984153"/>
                </a:lnTo>
                <a:lnTo>
                  <a:pt x="4242024" y="2983071"/>
                </a:lnTo>
                <a:close/>
                <a:moveTo>
                  <a:pt x="4225095" y="2982638"/>
                </a:moveTo>
                <a:lnTo>
                  <a:pt x="4232583" y="2983071"/>
                </a:lnTo>
                <a:lnTo>
                  <a:pt x="4233591" y="2983423"/>
                </a:lnTo>
                <a:lnTo>
                  <a:pt x="4232583" y="2983071"/>
                </a:lnTo>
                <a:close/>
                <a:moveTo>
                  <a:pt x="6621795" y="2981988"/>
                </a:moveTo>
                <a:lnTo>
                  <a:pt x="6622988" y="2984261"/>
                </a:lnTo>
                <a:lnTo>
                  <a:pt x="6619082" y="2985885"/>
                </a:lnTo>
                <a:close/>
                <a:moveTo>
                  <a:pt x="6623856" y="2980797"/>
                </a:moveTo>
                <a:lnTo>
                  <a:pt x="6626460" y="2982962"/>
                </a:lnTo>
                <a:lnTo>
                  <a:pt x="6623856" y="2984045"/>
                </a:lnTo>
                <a:lnTo>
                  <a:pt x="6622879" y="2981988"/>
                </a:lnTo>
                <a:close/>
                <a:moveTo>
                  <a:pt x="2752307" y="2979931"/>
                </a:moveTo>
                <a:lnTo>
                  <a:pt x="2755020" y="2981880"/>
                </a:lnTo>
                <a:lnTo>
                  <a:pt x="2758492" y="2988051"/>
                </a:lnTo>
                <a:lnTo>
                  <a:pt x="2758492" y="2991299"/>
                </a:lnTo>
                <a:lnTo>
                  <a:pt x="2755888" y="2991299"/>
                </a:lnTo>
                <a:lnTo>
                  <a:pt x="2753501" y="2987726"/>
                </a:lnTo>
                <a:lnTo>
                  <a:pt x="2751656" y="2981663"/>
                </a:lnTo>
                <a:close/>
                <a:moveTo>
                  <a:pt x="2346181" y="2978302"/>
                </a:moveTo>
                <a:lnTo>
                  <a:pt x="2347106" y="2978848"/>
                </a:lnTo>
                <a:lnTo>
                  <a:pt x="2347757" y="2980061"/>
                </a:lnTo>
                <a:lnTo>
                  <a:pt x="2347106" y="2978847"/>
                </a:lnTo>
                <a:close/>
                <a:moveTo>
                  <a:pt x="2601188" y="2977182"/>
                </a:moveTo>
                <a:lnTo>
                  <a:pt x="2601686" y="2977764"/>
                </a:lnTo>
                <a:lnTo>
                  <a:pt x="2602233" y="2981218"/>
                </a:lnTo>
                <a:lnTo>
                  <a:pt x="2601687" y="2977765"/>
                </a:lnTo>
                <a:close/>
                <a:moveTo>
                  <a:pt x="6623421" y="2976141"/>
                </a:moveTo>
                <a:lnTo>
                  <a:pt x="6623421" y="2976357"/>
                </a:lnTo>
                <a:lnTo>
                  <a:pt x="6623205" y="2980147"/>
                </a:lnTo>
                <a:lnTo>
                  <a:pt x="6622337" y="2980580"/>
                </a:lnTo>
                <a:lnTo>
                  <a:pt x="6621794" y="2979172"/>
                </a:lnTo>
                <a:close/>
                <a:moveTo>
                  <a:pt x="6629173" y="2975492"/>
                </a:moveTo>
                <a:lnTo>
                  <a:pt x="6630692" y="2981013"/>
                </a:lnTo>
                <a:lnTo>
                  <a:pt x="6627653" y="2982529"/>
                </a:lnTo>
                <a:lnTo>
                  <a:pt x="6624290" y="2979065"/>
                </a:lnTo>
                <a:lnTo>
                  <a:pt x="6624290" y="2976682"/>
                </a:lnTo>
                <a:lnTo>
                  <a:pt x="6625700" y="2976358"/>
                </a:lnTo>
                <a:lnTo>
                  <a:pt x="6625918" y="2976358"/>
                </a:lnTo>
                <a:close/>
                <a:moveTo>
                  <a:pt x="4783304" y="2974517"/>
                </a:moveTo>
                <a:lnTo>
                  <a:pt x="4782012" y="2976349"/>
                </a:lnTo>
                <a:lnTo>
                  <a:pt x="4783305" y="2974517"/>
                </a:lnTo>
                <a:close/>
                <a:moveTo>
                  <a:pt x="2416491" y="2974491"/>
                </a:moveTo>
                <a:lnTo>
                  <a:pt x="2416340" y="2975274"/>
                </a:lnTo>
                <a:lnTo>
                  <a:pt x="2427300" y="2978956"/>
                </a:lnTo>
                <a:lnTo>
                  <a:pt x="2434896" y="2978090"/>
                </a:lnTo>
                <a:lnTo>
                  <a:pt x="2441298" y="2979367"/>
                </a:lnTo>
                <a:lnTo>
                  <a:pt x="2441298" y="2978306"/>
                </a:lnTo>
                <a:lnTo>
                  <a:pt x="2433702" y="2976790"/>
                </a:lnTo>
                <a:lnTo>
                  <a:pt x="2426106" y="2977657"/>
                </a:lnTo>
                <a:close/>
                <a:moveTo>
                  <a:pt x="2665385" y="2973110"/>
                </a:moveTo>
                <a:lnTo>
                  <a:pt x="2659634" y="2977007"/>
                </a:lnTo>
                <a:lnTo>
                  <a:pt x="2658440" y="2976790"/>
                </a:lnTo>
                <a:lnTo>
                  <a:pt x="2656404" y="2976316"/>
                </a:lnTo>
                <a:lnTo>
                  <a:pt x="2657246" y="2978523"/>
                </a:lnTo>
                <a:lnTo>
                  <a:pt x="2658766" y="2982421"/>
                </a:lnTo>
                <a:lnTo>
                  <a:pt x="2660068" y="2983504"/>
                </a:lnTo>
                <a:lnTo>
                  <a:pt x="2660068" y="2985885"/>
                </a:lnTo>
                <a:lnTo>
                  <a:pt x="2663324" y="2989567"/>
                </a:lnTo>
                <a:lnTo>
                  <a:pt x="2665198" y="2989911"/>
                </a:lnTo>
                <a:lnTo>
                  <a:pt x="2662021" y="2986319"/>
                </a:lnTo>
                <a:lnTo>
                  <a:pt x="2662021" y="2984045"/>
                </a:lnTo>
                <a:lnTo>
                  <a:pt x="2660719" y="2982854"/>
                </a:lnTo>
                <a:lnTo>
                  <a:pt x="2659308" y="2978957"/>
                </a:lnTo>
                <a:lnTo>
                  <a:pt x="2658440" y="2976791"/>
                </a:lnTo>
                <a:lnTo>
                  <a:pt x="2659634" y="2977008"/>
                </a:lnTo>
                <a:close/>
                <a:moveTo>
                  <a:pt x="2342658" y="2972568"/>
                </a:moveTo>
                <a:lnTo>
                  <a:pt x="2340378" y="2974192"/>
                </a:lnTo>
                <a:lnTo>
                  <a:pt x="2339145" y="2973833"/>
                </a:lnTo>
                <a:lnTo>
                  <a:pt x="2340378" y="2974192"/>
                </a:lnTo>
                <a:lnTo>
                  <a:pt x="2342657" y="2972568"/>
                </a:lnTo>
                <a:lnTo>
                  <a:pt x="2343379" y="2973288"/>
                </a:lnTo>
                <a:close/>
                <a:moveTo>
                  <a:pt x="2648938" y="2971619"/>
                </a:moveTo>
                <a:lnTo>
                  <a:pt x="2653123" y="2975600"/>
                </a:lnTo>
                <a:lnTo>
                  <a:pt x="2655156" y="2976005"/>
                </a:lnTo>
                <a:lnTo>
                  <a:pt x="2650519" y="2971702"/>
                </a:lnTo>
                <a:close/>
                <a:moveTo>
                  <a:pt x="6244266" y="2970295"/>
                </a:moveTo>
                <a:lnTo>
                  <a:pt x="6247846" y="2972893"/>
                </a:lnTo>
                <a:lnTo>
                  <a:pt x="6251102" y="2977332"/>
                </a:lnTo>
                <a:lnTo>
                  <a:pt x="6245568" y="2978090"/>
                </a:lnTo>
                <a:lnTo>
                  <a:pt x="6241010" y="2975275"/>
                </a:lnTo>
                <a:lnTo>
                  <a:pt x="6242312" y="2972352"/>
                </a:lnTo>
                <a:close/>
                <a:moveTo>
                  <a:pt x="6496565" y="2968779"/>
                </a:moveTo>
                <a:lnTo>
                  <a:pt x="6499061" y="2971269"/>
                </a:lnTo>
                <a:lnTo>
                  <a:pt x="6496565" y="2972676"/>
                </a:lnTo>
                <a:close/>
                <a:moveTo>
                  <a:pt x="2339158" y="2966172"/>
                </a:moveTo>
                <a:lnTo>
                  <a:pt x="2337123" y="2969861"/>
                </a:lnTo>
                <a:lnTo>
                  <a:pt x="2337123" y="2969861"/>
                </a:lnTo>
                <a:close/>
                <a:moveTo>
                  <a:pt x="6485063" y="2964665"/>
                </a:moveTo>
                <a:lnTo>
                  <a:pt x="6488862" y="2966181"/>
                </a:lnTo>
                <a:lnTo>
                  <a:pt x="6484195" y="2971161"/>
                </a:lnTo>
                <a:lnTo>
                  <a:pt x="6481590" y="2969537"/>
                </a:lnTo>
                <a:lnTo>
                  <a:pt x="6482133" y="2965422"/>
                </a:lnTo>
                <a:close/>
                <a:moveTo>
                  <a:pt x="4386401" y="2963570"/>
                </a:moveTo>
                <a:lnTo>
                  <a:pt x="4382986" y="2965313"/>
                </a:lnTo>
                <a:lnTo>
                  <a:pt x="4381901" y="2969644"/>
                </a:lnTo>
                <a:lnTo>
                  <a:pt x="4376747" y="2976249"/>
                </a:lnTo>
                <a:lnTo>
                  <a:pt x="4381901" y="2969645"/>
                </a:lnTo>
                <a:lnTo>
                  <a:pt x="4382987" y="2965314"/>
                </a:lnTo>
                <a:close/>
                <a:moveTo>
                  <a:pt x="4772676" y="2962065"/>
                </a:moveTo>
                <a:lnTo>
                  <a:pt x="4774406" y="2963690"/>
                </a:lnTo>
                <a:lnTo>
                  <a:pt x="4775608" y="2966710"/>
                </a:lnTo>
                <a:lnTo>
                  <a:pt x="4774407" y="2963690"/>
                </a:lnTo>
                <a:close/>
                <a:moveTo>
                  <a:pt x="6497108" y="2960984"/>
                </a:moveTo>
                <a:lnTo>
                  <a:pt x="6498845" y="2964232"/>
                </a:lnTo>
                <a:lnTo>
                  <a:pt x="6495698" y="2963799"/>
                </a:lnTo>
                <a:close/>
                <a:moveTo>
                  <a:pt x="4338234" y="2959609"/>
                </a:moveTo>
                <a:lnTo>
                  <a:pt x="4327643" y="2977115"/>
                </a:lnTo>
                <a:lnTo>
                  <a:pt x="4327643" y="2977116"/>
                </a:lnTo>
                <a:lnTo>
                  <a:pt x="4327119" y="2978059"/>
                </a:lnTo>
                <a:lnTo>
                  <a:pt x="4327131" y="2978037"/>
                </a:lnTo>
                <a:lnTo>
                  <a:pt x="4327644" y="2977117"/>
                </a:lnTo>
                <a:lnTo>
                  <a:pt x="4337578" y="2960700"/>
                </a:lnTo>
                <a:close/>
                <a:moveTo>
                  <a:pt x="6765145" y="2956437"/>
                </a:moveTo>
                <a:lnTo>
                  <a:pt x="6767424" y="2957736"/>
                </a:lnTo>
                <a:lnTo>
                  <a:pt x="6767424" y="2961958"/>
                </a:lnTo>
                <a:lnTo>
                  <a:pt x="6765796" y="2961417"/>
                </a:lnTo>
                <a:close/>
                <a:moveTo>
                  <a:pt x="2669183" y="2955029"/>
                </a:moveTo>
                <a:lnTo>
                  <a:pt x="2665386" y="2958709"/>
                </a:lnTo>
                <a:lnTo>
                  <a:pt x="2665386" y="2958710"/>
                </a:lnTo>
                <a:close/>
                <a:moveTo>
                  <a:pt x="6496131" y="2954596"/>
                </a:moveTo>
                <a:lnTo>
                  <a:pt x="6499061" y="2956003"/>
                </a:lnTo>
                <a:lnTo>
                  <a:pt x="6496565" y="2958818"/>
                </a:lnTo>
                <a:close/>
                <a:moveTo>
                  <a:pt x="2590834" y="2954378"/>
                </a:moveTo>
                <a:lnTo>
                  <a:pt x="2592679" y="2955894"/>
                </a:lnTo>
                <a:lnTo>
                  <a:pt x="2593547" y="2959358"/>
                </a:lnTo>
                <a:lnTo>
                  <a:pt x="2595501" y="2966613"/>
                </a:lnTo>
                <a:lnTo>
                  <a:pt x="2593547" y="2959359"/>
                </a:lnTo>
                <a:lnTo>
                  <a:pt x="2592679" y="2955894"/>
                </a:lnTo>
                <a:close/>
                <a:moveTo>
                  <a:pt x="4387435" y="2953295"/>
                </a:moveTo>
                <a:lnTo>
                  <a:pt x="4387652" y="2962931"/>
                </a:lnTo>
                <a:lnTo>
                  <a:pt x="4387653" y="2962931"/>
                </a:lnTo>
                <a:close/>
                <a:moveTo>
                  <a:pt x="6770245" y="2951565"/>
                </a:moveTo>
                <a:lnTo>
                  <a:pt x="6768943" y="2953731"/>
                </a:lnTo>
                <a:lnTo>
                  <a:pt x="6765362" y="2952756"/>
                </a:lnTo>
                <a:close/>
                <a:moveTo>
                  <a:pt x="4683164" y="2950980"/>
                </a:moveTo>
                <a:lnTo>
                  <a:pt x="4683143" y="2951022"/>
                </a:lnTo>
                <a:lnTo>
                  <a:pt x="4681950" y="2955461"/>
                </a:lnTo>
                <a:lnTo>
                  <a:pt x="4679562" y="2958601"/>
                </a:lnTo>
                <a:lnTo>
                  <a:pt x="4679562" y="2965314"/>
                </a:lnTo>
                <a:lnTo>
                  <a:pt x="4678152" y="2973434"/>
                </a:lnTo>
                <a:lnTo>
                  <a:pt x="4677609" y="2979497"/>
                </a:lnTo>
                <a:lnTo>
                  <a:pt x="4680322" y="2981446"/>
                </a:lnTo>
                <a:lnTo>
                  <a:pt x="4682601" y="2984478"/>
                </a:lnTo>
                <a:lnTo>
                  <a:pt x="4684445" y="2988484"/>
                </a:lnTo>
                <a:lnTo>
                  <a:pt x="4684012" y="2991190"/>
                </a:lnTo>
                <a:lnTo>
                  <a:pt x="4671749" y="3007431"/>
                </a:lnTo>
                <a:lnTo>
                  <a:pt x="4664153" y="3015876"/>
                </a:lnTo>
                <a:lnTo>
                  <a:pt x="4662091" y="3019449"/>
                </a:lnTo>
                <a:lnTo>
                  <a:pt x="4652759" y="3036123"/>
                </a:lnTo>
                <a:lnTo>
                  <a:pt x="4651023" y="3039046"/>
                </a:lnTo>
                <a:lnTo>
                  <a:pt x="4650914" y="3045217"/>
                </a:lnTo>
                <a:lnTo>
                  <a:pt x="4650154" y="3053987"/>
                </a:lnTo>
                <a:lnTo>
                  <a:pt x="4647116" y="3062649"/>
                </a:lnTo>
                <a:lnTo>
                  <a:pt x="4647767" y="3068171"/>
                </a:lnTo>
                <a:lnTo>
                  <a:pt x="4647767" y="3068170"/>
                </a:lnTo>
                <a:lnTo>
                  <a:pt x="4647116" y="3062649"/>
                </a:lnTo>
                <a:lnTo>
                  <a:pt x="4650155" y="3053987"/>
                </a:lnTo>
                <a:lnTo>
                  <a:pt x="4650914" y="3045217"/>
                </a:lnTo>
                <a:lnTo>
                  <a:pt x="4651023" y="3039046"/>
                </a:lnTo>
                <a:lnTo>
                  <a:pt x="4652759" y="3036123"/>
                </a:lnTo>
                <a:lnTo>
                  <a:pt x="4662091" y="3019449"/>
                </a:lnTo>
                <a:lnTo>
                  <a:pt x="4664153" y="3015876"/>
                </a:lnTo>
                <a:lnTo>
                  <a:pt x="4671750" y="3007431"/>
                </a:lnTo>
                <a:lnTo>
                  <a:pt x="4684012" y="2991190"/>
                </a:lnTo>
                <a:lnTo>
                  <a:pt x="4684446" y="2988484"/>
                </a:lnTo>
                <a:lnTo>
                  <a:pt x="4682601" y="2984478"/>
                </a:lnTo>
                <a:lnTo>
                  <a:pt x="4680323" y="2981446"/>
                </a:lnTo>
                <a:lnTo>
                  <a:pt x="4677609" y="2979497"/>
                </a:lnTo>
                <a:lnTo>
                  <a:pt x="4678152" y="2973434"/>
                </a:lnTo>
                <a:lnTo>
                  <a:pt x="4679563" y="2965314"/>
                </a:lnTo>
                <a:lnTo>
                  <a:pt x="4679563" y="2958601"/>
                </a:lnTo>
                <a:lnTo>
                  <a:pt x="4681950" y="2955461"/>
                </a:lnTo>
                <a:lnTo>
                  <a:pt x="4683144" y="2951022"/>
                </a:lnTo>
                <a:lnTo>
                  <a:pt x="4683165" y="2950980"/>
                </a:lnTo>
                <a:close/>
                <a:moveTo>
                  <a:pt x="4768058" y="2950968"/>
                </a:moveTo>
                <a:lnTo>
                  <a:pt x="4768872" y="2953621"/>
                </a:lnTo>
                <a:lnTo>
                  <a:pt x="4768872" y="2953620"/>
                </a:lnTo>
                <a:close/>
                <a:moveTo>
                  <a:pt x="6955809" y="2948966"/>
                </a:moveTo>
                <a:lnTo>
                  <a:pt x="6960693" y="2954380"/>
                </a:lnTo>
                <a:lnTo>
                  <a:pt x="6962213" y="2959360"/>
                </a:lnTo>
                <a:lnTo>
                  <a:pt x="6960151" y="2961850"/>
                </a:lnTo>
                <a:lnTo>
                  <a:pt x="6955809" y="2958060"/>
                </a:lnTo>
                <a:lnTo>
                  <a:pt x="6954941" y="2951997"/>
                </a:lnTo>
                <a:close/>
                <a:moveTo>
                  <a:pt x="4878474" y="2948857"/>
                </a:moveTo>
                <a:lnTo>
                  <a:pt x="4882706" y="2950373"/>
                </a:lnTo>
                <a:lnTo>
                  <a:pt x="4886070" y="2950373"/>
                </a:lnTo>
                <a:lnTo>
                  <a:pt x="4890844" y="2950048"/>
                </a:lnTo>
                <a:lnTo>
                  <a:pt x="4890845" y="2950048"/>
                </a:lnTo>
                <a:lnTo>
                  <a:pt x="4886071" y="2950372"/>
                </a:lnTo>
                <a:lnTo>
                  <a:pt x="4882707" y="2950372"/>
                </a:lnTo>
                <a:lnTo>
                  <a:pt x="4878474" y="2948857"/>
                </a:lnTo>
                <a:close/>
                <a:moveTo>
                  <a:pt x="2584365" y="2948222"/>
                </a:moveTo>
                <a:lnTo>
                  <a:pt x="2584757" y="2948748"/>
                </a:lnTo>
                <a:lnTo>
                  <a:pt x="2584975" y="2951780"/>
                </a:lnTo>
                <a:lnTo>
                  <a:pt x="2584758" y="2948749"/>
                </a:lnTo>
                <a:close/>
                <a:moveTo>
                  <a:pt x="4866754" y="2947449"/>
                </a:moveTo>
                <a:lnTo>
                  <a:pt x="4871962" y="2949832"/>
                </a:lnTo>
                <a:lnTo>
                  <a:pt x="4876640" y="2949131"/>
                </a:lnTo>
                <a:lnTo>
                  <a:pt x="4871963" y="2949831"/>
                </a:lnTo>
                <a:lnTo>
                  <a:pt x="4866755" y="2947449"/>
                </a:lnTo>
                <a:close/>
                <a:moveTo>
                  <a:pt x="4764531" y="2943551"/>
                </a:moveTo>
                <a:lnTo>
                  <a:pt x="4764097" y="2947666"/>
                </a:lnTo>
                <a:lnTo>
                  <a:pt x="4765919" y="2948042"/>
                </a:lnTo>
                <a:lnTo>
                  <a:pt x="4764098" y="2947665"/>
                </a:lnTo>
                <a:close/>
                <a:moveTo>
                  <a:pt x="6985433" y="2943445"/>
                </a:moveTo>
                <a:lnTo>
                  <a:pt x="6988037" y="2944094"/>
                </a:lnTo>
                <a:lnTo>
                  <a:pt x="6989556" y="2948534"/>
                </a:lnTo>
                <a:lnTo>
                  <a:pt x="6987712" y="2948534"/>
                </a:lnTo>
                <a:close/>
                <a:moveTo>
                  <a:pt x="4149350" y="2943119"/>
                </a:moveTo>
                <a:lnTo>
                  <a:pt x="4150977" y="2944743"/>
                </a:lnTo>
                <a:lnTo>
                  <a:pt x="4151412" y="2951564"/>
                </a:lnTo>
                <a:lnTo>
                  <a:pt x="4148048" y="2960875"/>
                </a:lnTo>
                <a:lnTo>
                  <a:pt x="4143382" y="2960117"/>
                </a:lnTo>
                <a:lnTo>
                  <a:pt x="4138933" y="2957735"/>
                </a:lnTo>
                <a:lnTo>
                  <a:pt x="4139258" y="2954055"/>
                </a:lnTo>
                <a:lnTo>
                  <a:pt x="4142405" y="2953838"/>
                </a:lnTo>
                <a:lnTo>
                  <a:pt x="4144250" y="2948316"/>
                </a:lnTo>
                <a:close/>
                <a:moveTo>
                  <a:pt x="6767423" y="2940845"/>
                </a:moveTo>
                <a:lnTo>
                  <a:pt x="6768725" y="2943335"/>
                </a:lnTo>
                <a:lnTo>
                  <a:pt x="6766338" y="2942252"/>
                </a:lnTo>
                <a:close/>
                <a:moveTo>
                  <a:pt x="4947597" y="2940087"/>
                </a:moveTo>
                <a:lnTo>
                  <a:pt x="4925353" y="2961200"/>
                </a:lnTo>
                <a:lnTo>
                  <a:pt x="4924918" y="3055611"/>
                </a:lnTo>
                <a:lnTo>
                  <a:pt x="4924919" y="3055612"/>
                </a:lnTo>
                <a:lnTo>
                  <a:pt x="4925353" y="2961200"/>
                </a:lnTo>
                <a:lnTo>
                  <a:pt x="4947599" y="2940087"/>
                </a:lnTo>
                <a:close/>
                <a:moveTo>
                  <a:pt x="4386784" y="2940087"/>
                </a:moveTo>
                <a:lnTo>
                  <a:pt x="4386430" y="2941000"/>
                </a:lnTo>
                <a:lnTo>
                  <a:pt x="4385482" y="2943443"/>
                </a:lnTo>
                <a:lnTo>
                  <a:pt x="4385479" y="2943498"/>
                </a:lnTo>
                <a:lnTo>
                  <a:pt x="4385482" y="2943443"/>
                </a:lnTo>
                <a:lnTo>
                  <a:pt x="4386430" y="2941000"/>
                </a:lnTo>
                <a:lnTo>
                  <a:pt x="4386784" y="2940087"/>
                </a:lnTo>
                <a:close/>
                <a:moveTo>
                  <a:pt x="4948141" y="2939871"/>
                </a:moveTo>
                <a:lnTo>
                  <a:pt x="4947276" y="2940086"/>
                </a:lnTo>
                <a:lnTo>
                  <a:pt x="4947277" y="2940086"/>
                </a:lnTo>
                <a:close/>
                <a:moveTo>
                  <a:pt x="4670242" y="2939810"/>
                </a:moveTo>
                <a:lnTo>
                  <a:pt x="4671206" y="2942035"/>
                </a:lnTo>
                <a:lnTo>
                  <a:pt x="4672726" y="2943876"/>
                </a:lnTo>
                <a:lnTo>
                  <a:pt x="4673377" y="2945608"/>
                </a:lnTo>
                <a:lnTo>
                  <a:pt x="4672726" y="2943876"/>
                </a:lnTo>
                <a:lnTo>
                  <a:pt x="4671207" y="2942035"/>
                </a:lnTo>
                <a:close/>
                <a:moveTo>
                  <a:pt x="2409287" y="2939449"/>
                </a:moveTo>
                <a:lnTo>
                  <a:pt x="2410155" y="2941061"/>
                </a:lnTo>
                <a:lnTo>
                  <a:pt x="2415146" y="2942902"/>
                </a:lnTo>
                <a:lnTo>
                  <a:pt x="2419595" y="2947151"/>
                </a:lnTo>
                <a:lnTo>
                  <a:pt x="2419161" y="2946042"/>
                </a:lnTo>
                <a:lnTo>
                  <a:pt x="2413952" y="2941170"/>
                </a:lnTo>
                <a:close/>
                <a:moveTo>
                  <a:pt x="2338208" y="2938517"/>
                </a:moveTo>
                <a:lnTo>
                  <a:pt x="2339510" y="2940412"/>
                </a:lnTo>
                <a:lnTo>
                  <a:pt x="2339615" y="2943016"/>
                </a:lnTo>
                <a:lnTo>
                  <a:pt x="2339510" y="2940411"/>
                </a:lnTo>
                <a:close/>
                <a:moveTo>
                  <a:pt x="2724047" y="2938472"/>
                </a:moveTo>
                <a:lnTo>
                  <a:pt x="2723959" y="2938588"/>
                </a:lnTo>
                <a:lnTo>
                  <a:pt x="2723984" y="2938571"/>
                </a:lnTo>
                <a:close/>
                <a:moveTo>
                  <a:pt x="6767533" y="2938247"/>
                </a:moveTo>
                <a:lnTo>
                  <a:pt x="6772633" y="2940087"/>
                </a:lnTo>
                <a:lnTo>
                  <a:pt x="6772742" y="2941711"/>
                </a:lnTo>
                <a:lnTo>
                  <a:pt x="6768726" y="2941603"/>
                </a:lnTo>
                <a:lnTo>
                  <a:pt x="6767424" y="2939221"/>
                </a:lnTo>
                <a:close/>
                <a:moveTo>
                  <a:pt x="2537444" y="2938029"/>
                </a:moveTo>
                <a:lnTo>
                  <a:pt x="2537010" y="2938060"/>
                </a:lnTo>
                <a:lnTo>
                  <a:pt x="2537010" y="2939221"/>
                </a:lnTo>
                <a:lnTo>
                  <a:pt x="2532670" y="2944526"/>
                </a:lnTo>
                <a:lnTo>
                  <a:pt x="2531150" y="2951022"/>
                </a:lnTo>
                <a:lnTo>
                  <a:pt x="2526484" y="2959143"/>
                </a:lnTo>
                <a:lnTo>
                  <a:pt x="2526484" y="2964339"/>
                </a:lnTo>
                <a:lnTo>
                  <a:pt x="2524748" y="2967804"/>
                </a:lnTo>
                <a:lnTo>
                  <a:pt x="2524096" y="2972135"/>
                </a:lnTo>
                <a:lnTo>
                  <a:pt x="2525291" y="2974517"/>
                </a:lnTo>
                <a:lnTo>
                  <a:pt x="2524205" y="2977765"/>
                </a:lnTo>
                <a:lnTo>
                  <a:pt x="2524205" y="2982637"/>
                </a:lnTo>
                <a:lnTo>
                  <a:pt x="2528546" y="2987077"/>
                </a:lnTo>
                <a:lnTo>
                  <a:pt x="2533755" y="2992273"/>
                </a:lnTo>
                <a:lnTo>
                  <a:pt x="2533755" y="2995738"/>
                </a:lnTo>
                <a:lnTo>
                  <a:pt x="2537227" y="3000069"/>
                </a:lnTo>
                <a:lnTo>
                  <a:pt x="2546668" y="3008189"/>
                </a:lnTo>
                <a:lnTo>
                  <a:pt x="2547334" y="3008455"/>
                </a:lnTo>
                <a:lnTo>
                  <a:pt x="2538855" y="3001259"/>
                </a:lnTo>
                <a:lnTo>
                  <a:pt x="2535382" y="2996928"/>
                </a:lnTo>
                <a:lnTo>
                  <a:pt x="2535165" y="2993464"/>
                </a:lnTo>
                <a:lnTo>
                  <a:pt x="2530065" y="2988375"/>
                </a:lnTo>
                <a:lnTo>
                  <a:pt x="2525724" y="2983936"/>
                </a:lnTo>
                <a:lnTo>
                  <a:pt x="2525182" y="2979064"/>
                </a:lnTo>
                <a:lnTo>
                  <a:pt x="2526267" y="2975815"/>
                </a:lnTo>
                <a:lnTo>
                  <a:pt x="2525073" y="2973434"/>
                </a:lnTo>
                <a:lnTo>
                  <a:pt x="2525724" y="2969103"/>
                </a:lnTo>
                <a:lnTo>
                  <a:pt x="2527460" y="2965638"/>
                </a:lnTo>
                <a:lnTo>
                  <a:pt x="2527135" y="2960550"/>
                </a:lnTo>
                <a:lnTo>
                  <a:pt x="2531801" y="2952429"/>
                </a:lnTo>
                <a:lnTo>
                  <a:pt x="2533320" y="2945824"/>
                </a:lnTo>
                <a:lnTo>
                  <a:pt x="2537552" y="2940520"/>
                </a:lnTo>
                <a:close/>
                <a:moveTo>
                  <a:pt x="6760043" y="2934348"/>
                </a:moveTo>
                <a:lnTo>
                  <a:pt x="6753316" y="2934565"/>
                </a:lnTo>
                <a:lnTo>
                  <a:pt x="6753317" y="2934566"/>
                </a:lnTo>
                <a:lnTo>
                  <a:pt x="6760045" y="2934349"/>
                </a:lnTo>
                <a:close/>
                <a:moveTo>
                  <a:pt x="6542903" y="2933916"/>
                </a:moveTo>
                <a:lnTo>
                  <a:pt x="6548329" y="2941169"/>
                </a:lnTo>
                <a:lnTo>
                  <a:pt x="6546376" y="2947882"/>
                </a:lnTo>
                <a:lnTo>
                  <a:pt x="6542794" y="2947882"/>
                </a:lnTo>
                <a:lnTo>
                  <a:pt x="6543771" y="2944201"/>
                </a:lnTo>
                <a:lnTo>
                  <a:pt x="6541167" y="2944201"/>
                </a:lnTo>
                <a:lnTo>
                  <a:pt x="6536392" y="2939654"/>
                </a:lnTo>
                <a:lnTo>
                  <a:pt x="6538779" y="2936298"/>
                </a:lnTo>
                <a:close/>
                <a:moveTo>
                  <a:pt x="6731012" y="2932430"/>
                </a:moveTo>
                <a:lnTo>
                  <a:pt x="6732699" y="2933158"/>
                </a:lnTo>
                <a:lnTo>
                  <a:pt x="6740187" y="2932509"/>
                </a:lnTo>
                <a:lnTo>
                  <a:pt x="6750712" y="2932616"/>
                </a:lnTo>
                <a:lnTo>
                  <a:pt x="6750711" y="2932616"/>
                </a:lnTo>
                <a:lnTo>
                  <a:pt x="6740184" y="2932508"/>
                </a:lnTo>
                <a:lnTo>
                  <a:pt x="6732697" y="2933157"/>
                </a:lnTo>
                <a:close/>
                <a:moveTo>
                  <a:pt x="4921881" y="2932291"/>
                </a:moveTo>
                <a:lnTo>
                  <a:pt x="4925353" y="2934024"/>
                </a:lnTo>
                <a:lnTo>
                  <a:pt x="4928174" y="2939220"/>
                </a:lnTo>
                <a:lnTo>
                  <a:pt x="4932297" y="2941494"/>
                </a:lnTo>
                <a:lnTo>
                  <a:pt x="4937649" y="2940594"/>
                </a:lnTo>
                <a:lnTo>
                  <a:pt x="4932299" y="2941494"/>
                </a:lnTo>
                <a:lnTo>
                  <a:pt x="4928175" y="2939220"/>
                </a:lnTo>
                <a:lnTo>
                  <a:pt x="4925354" y="2934024"/>
                </a:lnTo>
                <a:lnTo>
                  <a:pt x="4921882" y="2932291"/>
                </a:lnTo>
                <a:close/>
                <a:moveTo>
                  <a:pt x="4964962" y="2931642"/>
                </a:moveTo>
                <a:lnTo>
                  <a:pt x="4957909" y="2932724"/>
                </a:lnTo>
                <a:lnTo>
                  <a:pt x="4957908" y="2932725"/>
                </a:lnTo>
                <a:lnTo>
                  <a:pt x="4964961" y="2931642"/>
                </a:lnTo>
                <a:close/>
                <a:moveTo>
                  <a:pt x="6728681" y="2931425"/>
                </a:moveTo>
                <a:lnTo>
                  <a:pt x="6723690" y="2937488"/>
                </a:lnTo>
                <a:lnTo>
                  <a:pt x="6724015" y="2940520"/>
                </a:lnTo>
                <a:lnTo>
                  <a:pt x="6721628" y="2944742"/>
                </a:lnTo>
                <a:lnTo>
                  <a:pt x="6721628" y="2948315"/>
                </a:lnTo>
                <a:lnTo>
                  <a:pt x="6716419" y="2966721"/>
                </a:lnTo>
                <a:lnTo>
                  <a:pt x="6709257" y="2977548"/>
                </a:lnTo>
                <a:lnTo>
                  <a:pt x="6705459" y="2987617"/>
                </a:lnTo>
                <a:lnTo>
                  <a:pt x="6695909" y="3001909"/>
                </a:lnTo>
                <a:lnTo>
                  <a:pt x="6696669" y="3005590"/>
                </a:lnTo>
                <a:lnTo>
                  <a:pt x="6685275" y="3007214"/>
                </a:lnTo>
                <a:lnTo>
                  <a:pt x="6675400" y="3012627"/>
                </a:lnTo>
                <a:lnTo>
                  <a:pt x="6669758" y="3012736"/>
                </a:lnTo>
                <a:lnTo>
                  <a:pt x="6669759" y="3012737"/>
                </a:lnTo>
                <a:lnTo>
                  <a:pt x="6675403" y="3012629"/>
                </a:lnTo>
                <a:lnTo>
                  <a:pt x="6685278" y="3007215"/>
                </a:lnTo>
                <a:lnTo>
                  <a:pt x="6696672" y="3005592"/>
                </a:lnTo>
                <a:lnTo>
                  <a:pt x="6695912" y="3001910"/>
                </a:lnTo>
                <a:lnTo>
                  <a:pt x="6705461" y="2987619"/>
                </a:lnTo>
                <a:lnTo>
                  <a:pt x="6709260" y="2977549"/>
                </a:lnTo>
                <a:lnTo>
                  <a:pt x="6716422" y="2966723"/>
                </a:lnTo>
                <a:lnTo>
                  <a:pt x="6721631" y="2948316"/>
                </a:lnTo>
                <a:lnTo>
                  <a:pt x="6721631" y="2944743"/>
                </a:lnTo>
                <a:lnTo>
                  <a:pt x="6724018" y="2940520"/>
                </a:lnTo>
                <a:lnTo>
                  <a:pt x="6723692" y="2937489"/>
                </a:lnTo>
                <a:lnTo>
                  <a:pt x="6728684" y="2931426"/>
                </a:lnTo>
                <a:close/>
                <a:moveTo>
                  <a:pt x="4384506" y="2930235"/>
                </a:moveTo>
                <a:lnTo>
                  <a:pt x="4384506" y="2932942"/>
                </a:lnTo>
                <a:lnTo>
                  <a:pt x="4388304" y="2938030"/>
                </a:lnTo>
                <a:lnTo>
                  <a:pt x="4388304" y="2938029"/>
                </a:lnTo>
                <a:lnTo>
                  <a:pt x="4384506" y="2932941"/>
                </a:lnTo>
                <a:lnTo>
                  <a:pt x="4384506" y="2930235"/>
                </a:lnTo>
                <a:close/>
                <a:moveTo>
                  <a:pt x="6987280" y="2930127"/>
                </a:moveTo>
                <a:lnTo>
                  <a:pt x="6990426" y="2932184"/>
                </a:lnTo>
                <a:lnTo>
                  <a:pt x="6991620" y="2936731"/>
                </a:lnTo>
                <a:lnTo>
                  <a:pt x="6989667" y="2940845"/>
                </a:lnTo>
                <a:lnTo>
                  <a:pt x="6987280" y="2941928"/>
                </a:lnTo>
                <a:lnTo>
                  <a:pt x="6986737" y="2937489"/>
                </a:lnTo>
                <a:lnTo>
                  <a:pt x="6985000" y="2931643"/>
                </a:lnTo>
                <a:close/>
                <a:moveTo>
                  <a:pt x="4473706" y="2928394"/>
                </a:moveTo>
                <a:lnTo>
                  <a:pt x="4474140" y="2930992"/>
                </a:lnTo>
                <a:lnTo>
                  <a:pt x="4476636" y="2933049"/>
                </a:lnTo>
                <a:lnTo>
                  <a:pt x="4475768" y="2934997"/>
                </a:lnTo>
                <a:lnTo>
                  <a:pt x="4476636" y="2933049"/>
                </a:lnTo>
                <a:lnTo>
                  <a:pt x="4474141" y="2930991"/>
                </a:lnTo>
                <a:close/>
                <a:moveTo>
                  <a:pt x="6690376" y="2928178"/>
                </a:moveTo>
                <a:lnTo>
                  <a:pt x="6694499" y="2935215"/>
                </a:lnTo>
                <a:lnTo>
                  <a:pt x="6697361" y="2937406"/>
                </a:lnTo>
                <a:lnTo>
                  <a:pt x="6694500" y="2935215"/>
                </a:lnTo>
                <a:close/>
                <a:moveTo>
                  <a:pt x="2337045" y="2927893"/>
                </a:moveTo>
                <a:lnTo>
                  <a:pt x="2336689" y="2929043"/>
                </a:lnTo>
                <a:lnTo>
                  <a:pt x="2336689" y="2929043"/>
                </a:lnTo>
                <a:close/>
                <a:moveTo>
                  <a:pt x="4655655" y="2926341"/>
                </a:moveTo>
                <a:lnTo>
                  <a:pt x="4656665" y="2928393"/>
                </a:lnTo>
                <a:lnTo>
                  <a:pt x="4659378" y="2931533"/>
                </a:lnTo>
                <a:lnTo>
                  <a:pt x="4660680" y="2933590"/>
                </a:lnTo>
                <a:lnTo>
                  <a:pt x="4659378" y="2931533"/>
                </a:lnTo>
                <a:lnTo>
                  <a:pt x="4656665" y="2928394"/>
                </a:lnTo>
                <a:close/>
                <a:moveTo>
                  <a:pt x="4830956" y="2925851"/>
                </a:moveTo>
                <a:lnTo>
                  <a:pt x="4834633" y="2928177"/>
                </a:lnTo>
                <a:lnTo>
                  <a:pt x="4844725" y="2937705"/>
                </a:lnTo>
                <a:lnTo>
                  <a:pt x="4850585" y="2941711"/>
                </a:lnTo>
                <a:lnTo>
                  <a:pt x="4854492" y="2946258"/>
                </a:lnTo>
                <a:lnTo>
                  <a:pt x="4858290" y="2947449"/>
                </a:lnTo>
                <a:lnTo>
                  <a:pt x="4858291" y="2947449"/>
                </a:lnTo>
                <a:lnTo>
                  <a:pt x="4854493" y="2946258"/>
                </a:lnTo>
                <a:lnTo>
                  <a:pt x="4850586" y="2941711"/>
                </a:lnTo>
                <a:lnTo>
                  <a:pt x="4844726" y="2937704"/>
                </a:lnTo>
                <a:lnTo>
                  <a:pt x="4834634" y="2928177"/>
                </a:lnTo>
                <a:close/>
                <a:moveTo>
                  <a:pt x="4389715" y="2925795"/>
                </a:moveTo>
                <a:lnTo>
                  <a:pt x="4389714" y="2925796"/>
                </a:lnTo>
                <a:lnTo>
                  <a:pt x="4389714" y="2928394"/>
                </a:lnTo>
                <a:lnTo>
                  <a:pt x="4389715" y="2928393"/>
                </a:lnTo>
                <a:close/>
                <a:moveTo>
                  <a:pt x="4608126" y="2925644"/>
                </a:moveTo>
                <a:lnTo>
                  <a:pt x="4608375" y="2925903"/>
                </a:lnTo>
                <a:lnTo>
                  <a:pt x="4608376" y="2925903"/>
                </a:lnTo>
                <a:close/>
                <a:moveTo>
                  <a:pt x="4975922" y="2925470"/>
                </a:moveTo>
                <a:lnTo>
                  <a:pt x="4972536" y="2927435"/>
                </a:lnTo>
                <a:lnTo>
                  <a:pt x="4975922" y="2925471"/>
                </a:lnTo>
                <a:close/>
                <a:moveTo>
                  <a:pt x="2659591" y="2923041"/>
                </a:moveTo>
                <a:lnTo>
                  <a:pt x="2659851" y="2923738"/>
                </a:lnTo>
                <a:lnTo>
                  <a:pt x="2659540" y="2926838"/>
                </a:lnTo>
                <a:lnTo>
                  <a:pt x="2659851" y="2923739"/>
                </a:lnTo>
                <a:close/>
                <a:moveTo>
                  <a:pt x="4601911" y="2921093"/>
                </a:moveTo>
                <a:lnTo>
                  <a:pt x="4602841" y="2922222"/>
                </a:lnTo>
                <a:lnTo>
                  <a:pt x="4601912" y="2921094"/>
                </a:lnTo>
                <a:close/>
                <a:moveTo>
                  <a:pt x="6808226" y="2919841"/>
                </a:moveTo>
                <a:lnTo>
                  <a:pt x="6809420" y="2923306"/>
                </a:lnTo>
                <a:lnTo>
                  <a:pt x="6809420" y="2927095"/>
                </a:lnTo>
                <a:lnTo>
                  <a:pt x="6807358" y="2922765"/>
                </a:lnTo>
                <a:close/>
                <a:moveTo>
                  <a:pt x="4392428" y="2919732"/>
                </a:moveTo>
                <a:lnTo>
                  <a:pt x="4392427" y="2919733"/>
                </a:lnTo>
                <a:lnTo>
                  <a:pt x="4391884" y="2923089"/>
                </a:lnTo>
                <a:lnTo>
                  <a:pt x="4391136" y="2924022"/>
                </a:lnTo>
                <a:lnTo>
                  <a:pt x="4391885" y="2923088"/>
                </a:lnTo>
                <a:close/>
                <a:moveTo>
                  <a:pt x="4987967" y="2917242"/>
                </a:moveTo>
                <a:lnTo>
                  <a:pt x="4983844" y="2917567"/>
                </a:lnTo>
                <a:lnTo>
                  <a:pt x="4983843" y="2917567"/>
                </a:lnTo>
                <a:lnTo>
                  <a:pt x="4987967" y="2917242"/>
                </a:lnTo>
                <a:close/>
                <a:moveTo>
                  <a:pt x="2524639" y="2915296"/>
                </a:moveTo>
                <a:lnTo>
                  <a:pt x="2524639" y="2920057"/>
                </a:lnTo>
                <a:lnTo>
                  <a:pt x="2521709" y="2924713"/>
                </a:lnTo>
                <a:lnTo>
                  <a:pt x="2519648" y="2927636"/>
                </a:lnTo>
                <a:lnTo>
                  <a:pt x="2521042" y="2928331"/>
                </a:lnTo>
                <a:lnTo>
                  <a:pt x="2522143" y="2926769"/>
                </a:lnTo>
                <a:lnTo>
                  <a:pt x="2525073" y="2922114"/>
                </a:lnTo>
                <a:lnTo>
                  <a:pt x="2525073" y="2915834"/>
                </a:lnTo>
                <a:close/>
                <a:moveTo>
                  <a:pt x="4151931" y="2915264"/>
                </a:moveTo>
                <a:lnTo>
                  <a:pt x="4146095" y="2922005"/>
                </a:lnTo>
                <a:lnTo>
                  <a:pt x="4146095" y="2922006"/>
                </a:lnTo>
                <a:close/>
                <a:moveTo>
                  <a:pt x="4598750" y="2914851"/>
                </a:moveTo>
                <a:lnTo>
                  <a:pt x="4598717" y="2915184"/>
                </a:lnTo>
                <a:lnTo>
                  <a:pt x="4598717" y="2915184"/>
                </a:lnTo>
                <a:lnTo>
                  <a:pt x="4598751" y="2914852"/>
                </a:lnTo>
                <a:close/>
                <a:moveTo>
                  <a:pt x="5007393" y="2913777"/>
                </a:moveTo>
                <a:lnTo>
                  <a:pt x="4992526" y="2914426"/>
                </a:lnTo>
                <a:lnTo>
                  <a:pt x="4992525" y="2914427"/>
                </a:lnTo>
                <a:lnTo>
                  <a:pt x="5007391" y="2913778"/>
                </a:lnTo>
                <a:lnTo>
                  <a:pt x="5022041" y="2914210"/>
                </a:lnTo>
                <a:lnTo>
                  <a:pt x="5022042" y="2914210"/>
                </a:lnTo>
                <a:close/>
                <a:moveTo>
                  <a:pt x="4154776" y="2908905"/>
                </a:moveTo>
                <a:lnTo>
                  <a:pt x="4153707" y="2911456"/>
                </a:lnTo>
                <a:lnTo>
                  <a:pt x="4154776" y="2908906"/>
                </a:lnTo>
                <a:close/>
                <a:moveTo>
                  <a:pt x="4547227" y="2908062"/>
                </a:moveTo>
                <a:lnTo>
                  <a:pt x="4547063" y="2909447"/>
                </a:lnTo>
                <a:lnTo>
                  <a:pt x="4548040" y="2911071"/>
                </a:lnTo>
                <a:lnTo>
                  <a:pt x="4548040" y="2911070"/>
                </a:lnTo>
                <a:lnTo>
                  <a:pt x="4547063" y="2909446"/>
                </a:lnTo>
                <a:close/>
                <a:moveTo>
                  <a:pt x="6828193" y="2907714"/>
                </a:moveTo>
                <a:lnTo>
                  <a:pt x="6828627" y="2911287"/>
                </a:lnTo>
                <a:lnTo>
                  <a:pt x="6823093" y="2915184"/>
                </a:lnTo>
                <a:lnTo>
                  <a:pt x="6817884" y="2916375"/>
                </a:lnTo>
                <a:lnTo>
                  <a:pt x="6816581" y="2914860"/>
                </a:lnTo>
                <a:lnTo>
                  <a:pt x="6824503" y="2908363"/>
                </a:lnTo>
                <a:close/>
                <a:moveTo>
                  <a:pt x="4798388" y="2906523"/>
                </a:moveTo>
                <a:lnTo>
                  <a:pt x="4798388" y="2920923"/>
                </a:lnTo>
                <a:lnTo>
                  <a:pt x="4802512" y="2925471"/>
                </a:lnTo>
                <a:lnTo>
                  <a:pt x="4807178" y="2926445"/>
                </a:lnTo>
                <a:lnTo>
                  <a:pt x="4812604" y="2924604"/>
                </a:lnTo>
                <a:lnTo>
                  <a:pt x="4818573" y="2926120"/>
                </a:lnTo>
                <a:lnTo>
                  <a:pt x="4823988" y="2925766"/>
                </a:lnTo>
                <a:lnTo>
                  <a:pt x="4818573" y="2926120"/>
                </a:lnTo>
                <a:lnTo>
                  <a:pt x="4812605" y="2924604"/>
                </a:lnTo>
                <a:lnTo>
                  <a:pt x="4807178" y="2926444"/>
                </a:lnTo>
                <a:lnTo>
                  <a:pt x="4802512" y="2925470"/>
                </a:lnTo>
                <a:lnTo>
                  <a:pt x="4798389" y="2920922"/>
                </a:lnTo>
                <a:lnTo>
                  <a:pt x="4798389" y="2906523"/>
                </a:lnTo>
                <a:close/>
                <a:moveTo>
                  <a:pt x="2345045" y="2906414"/>
                </a:moveTo>
                <a:lnTo>
                  <a:pt x="2339294" y="2908147"/>
                </a:lnTo>
                <a:lnTo>
                  <a:pt x="2339294" y="2908147"/>
                </a:lnTo>
                <a:lnTo>
                  <a:pt x="2345044" y="2906415"/>
                </a:lnTo>
                <a:close/>
                <a:moveTo>
                  <a:pt x="4786214" y="2903880"/>
                </a:moveTo>
                <a:lnTo>
                  <a:pt x="4785693" y="2904465"/>
                </a:lnTo>
                <a:lnTo>
                  <a:pt x="4785693" y="2904465"/>
                </a:lnTo>
                <a:close/>
                <a:moveTo>
                  <a:pt x="2346564" y="2903491"/>
                </a:moveTo>
                <a:lnTo>
                  <a:pt x="2345762" y="2905034"/>
                </a:lnTo>
                <a:lnTo>
                  <a:pt x="2346564" y="2903492"/>
                </a:lnTo>
                <a:close/>
                <a:moveTo>
                  <a:pt x="6345944" y="2902626"/>
                </a:moveTo>
                <a:lnTo>
                  <a:pt x="6348006" y="2903168"/>
                </a:lnTo>
                <a:lnTo>
                  <a:pt x="6350503" y="2906524"/>
                </a:lnTo>
                <a:lnTo>
                  <a:pt x="6351370" y="2909772"/>
                </a:lnTo>
                <a:lnTo>
                  <a:pt x="6349417" y="2911071"/>
                </a:lnTo>
                <a:lnTo>
                  <a:pt x="6346921" y="2907606"/>
                </a:lnTo>
                <a:close/>
                <a:moveTo>
                  <a:pt x="4787429" y="2902517"/>
                </a:moveTo>
                <a:lnTo>
                  <a:pt x="4787429" y="2902517"/>
                </a:lnTo>
                <a:lnTo>
                  <a:pt x="4790033" y="2906956"/>
                </a:lnTo>
                <a:lnTo>
                  <a:pt x="4794699" y="2905982"/>
                </a:lnTo>
                <a:lnTo>
                  <a:pt x="4796696" y="2906275"/>
                </a:lnTo>
                <a:lnTo>
                  <a:pt x="4794699" y="2905981"/>
                </a:lnTo>
                <a:lnTo>
                  <a:pt x="4790033" y="2906955"/>
                </a:lnTo>
                <a:close/>
                <a:moveTo>
                  <a:pt x="6233956" y="2901544"/>
                </a:moveTo>
                <a:lnTo>
                  <a:pt x="6243831" y="2902951"/>
                </a:lnTo>
                <a:lnTo>
                  <a:pt x="6254792" y="2910531"/>
                </a:lnTo>
                <a:lnTo>
                  <a:pt x="6258264" y="2912695"/>
                </a:lnTo>
                <a:lnTo>
                  <a:pt x="6265317" y="2910855"/>
                </a:lnTo>
                <a:lnTo>
                  <a:pt x="6271395" y="2911072"/>
                </a:lnTo>
                <a:lnTo>
                  <a:pt x="6273999" y="2912695"/>
                </a:lnTo>
                <a:lnTo>
                  <a:pt x="6277255" y="2911505"/>
                </a:lnTo>
                <a:lnTo>
                  <a:pt x="6282246" y="2911505"/>
                </a:lnTo>
                <a:lnTo>
                  <a:pt x="6287780" y="2913562"/>
                </a:lnTo>
                <a:lnTo>
                  <a:pt x="6291253" y="2919733"/>
                </a:lnTo>
                <a:lnTo>
                  <a:pt x="6293206" y="2920491"/>
                </a:lnTo>
                <a:lnTo>
                  <a:pt x="6296028" y="2926338"/>
                </a:lnTo>
                <a:lnTo>
                  <a:pt x="6300803" y="2928828"/>
                </a:lnTo>
                <a:lnTo>
                  <a:pt x="6302104" y="2936407"/>
                </a:lnTo>
                <a:lnTo>
                  <a:pt x="6303624" y="2940088"/>
                </a:lnTo>
                <a:lnTo>
                  <a:pt x="6309266" y="2940955"/>
                </a:lnTo>
                <a:lnTo>
                  <a:pt x="6314910" y="2947234"/>
                </a:lnTo>
                <a:lnTo>
                  <a:pt x="6319576" y="2947775"/>
                </a:lnTo>
                <a:lnTo>
                  <a:pt x="6333358" y="2956870"/>
                </a:lnTo>
                <a:lnTo>
                  <a:pt x="6335311" y="2960118"/>
                </a:lnTo>
                <a:lnTo>
                  <a:pt x="6340411" y="2961201"/>
                </a:lnTo>
                <a:lnTo>
                  <a:pt x="6344752" y="2966723"/>
                </a:lnTo>
                <a:lnTo>
                  <a:pt x="6345078" y="2973761"/>
                </a:lnTo>
                <a:lnTo>
                  <a:pt x="6347573" y="2977225"/>
                </a:lnTo>
                <a:lnTo>
                  <a:pt x="6350828" y="2973977"/>
                </a:lnTo>
                <a:lnTo>
                  <a:pt x="6352240" y="2980257"/>
                </a:lnTo>
                <a:lnTo>
                  <a:pt x="6354953" y="2982206"/>
                </a:lnTo>
                <a:lnTo>
                  <a:pt x="6356146" y="2979932"/>
                </a:lnTo>
                <a:lnTo>
                  <a:pt x="6361789" y="2980257"/>
                </a:lnTo>
                <a:lnTo>
                  <a:pt x="6370796" y="2985237"/>
                </a:lnTo>
                <a:lnTo>
                  <a:pt x="6377633" y="2992166"/>
                </a:lnTo>
                <a:lnTo>
                  <a:pt x="6378826" y="3000936"/>
                </a:lnTo>
                <a:lnTo>
                  <a:pt x="6382624" y="3003968"/>
                </a:lnTo>
                <a:lnTo>
                  <a:pt x="6385771" y="3002993"/>
                </a:lnTo>
                <a:lnTo>
                  <a:pt x="6389027" y="3003751"/>
                </a:lnTo>
                <a:lnTo>
                  <a:pt x="6399119" y="3013604"/>
                </a:lnTo>
                <a:lnTo>
                  <a:pt x="6399878" y="3019775"/>
                </a:lnTo>
                <a:lnTo>
                  <a:pt x="6399878" y="3022915"/>
                </a:lnTo>
                <a:lnTo>
                  <a:pt x="6405847" y="3027895"/>
                </a:lnTo>
                <a:lnTo>
                  <a:pt x="6414203" y="3027571"/>
                </a:lnTo>
                <a:lnTo>
                  <a:pt x="6419629" y="3030169"/>
                </a:lnTo>
                <a:lnTo>
                  <a:pt x="6420714" y="3033201"/>
                </a:lnTo>
                <a:lnTo>
                  <a:pt x="6418434" y="3036449"/>
                </a:lnTo>
                <a:lnTo>
                  <a:pt x="6416156" y="3037099"/>
                </a:lnTo>
                <a:lnTo>
                  <a:pt x="6413877" y="3039156"/>
                </a:lnTo>
                <a:lnTo>
                  <a:pt x="6410513" y="3039914"/>
                </a:lnTo>
                <a:lnTo>
                  <a:pt x="6416481" y="3039481"/>
                </a:lnTo>
                <a:lnTo>
                  <a:pt x="6421473" y="3036449"/>
                </a:lnTo>
                <a:lnTo>
                  <a:pt x="6427008" y="3032767"/>
                </a:lnTo>
                <a:lnTo>
                  <a:pt x="6431131" y="3033309"/>
                </a:lnTo>
                <a:lnTo>
                  <a:pt x="6438511" y="3041430"/>
                </a:lnTo>
                <a:lnTo>
                  <a:pt x="6439921" y="3046301"/>
                </a:lnTo>
                <a:lnTo>
                  <a:pt x="6432759" y="3047493"/>
                </a:lnTo>
                <a:lnTo>
                  <a:pt x="6427116" y="3051715"/>
                </a:lnTo>
                <a:lnTo>
                  <a:pt x="6423427" y="3055072"/>
                </a:lnTo>
                <a:lnTo>
                  <a:pt x="6428635" y="3053123"/>
                </a:lnTo>
                <a:lnTo>
                  <a:pt x="6431456" y="3054313"/>
                </a:lnTo>
                <a:lnTo>
                  <a:pt x="6436666" y="3053448"/>
                </a:lnTo>
                <a:lnTo>
                  <a:pt x="6440247" y="3055397"/>
                </a:lnTo>
                <a:lnTo>
                  <a:pt x="6434712" y="3058536"/>
                </a:lnTo>
                <a:lnTo>
                  <a:pt x="6429829" y="3060701"/>
                </a:lnTo>
                <a:lnTo>
                  <a:pt x="6429720" y="3064707"/>
                </a:lnTo>
                <a:lnTo>
                  <a:pt x="6437751" y="3070229"/>
                </a:lnTo>
                <a:lnTo>
                  <a:pt x="6447083" y="3070338"/>
                </a:lnTo>
                <a:lnTo>
                  <a:pt x="6449579" y="3072611"/>
                </a:lnTo>
                <a:lnTo>
                  <a:pt x="6455222" y="3070338"/>
                </a:lnTo>
                <a:lnTo>
                  <a:pt x="6455872" y="3082031"/>
                </a:lnTo>
                <a:lnTo>
                  <a:pt x="6457826" y="3087228"/>
                </a:lnTo>
                <a:lnTo>
                  <a:pt x="6455548" y="3091884"/>
                </a:lnTo>
                <a:lnTo>
                  <a:pt x="6458694" y="3089935"/>
                </a:lnTo>
                <a:lnTo>
                  <a:pt x="6462167" y="3094590"/>
                </a:lnTo>
                <a:lnTo>
                  <a:pt x="6462818" y="3101628"/>
                </a:lnTo>
                <a:lnTo>
                  <a:pt x="6467484" y="3102386"/>
                </a:lnTo>
                <a:lnTo>
                  <a:pt x="6474646" y="3101412"/>
                </a:lnTo>
                <a:lnTo>
                  <a:pt x="6479204" y="3103360"/>
                </a:lnTo>
                <a:lnTo>
                  <a:pt x="6480506" y="3107150"/>
                </a:lnTo>
                <a:lnTo>
                  <a:pt x="6483437" y="3108666"/>
                </a:lnTo>
                <a:lnTo>
                  <a:pt x="6485390" y="3114188"/>
                </a:lnTo>
                <a:lnTo>
                  <a:pt x="6489622" y="3117652"/>
                </a:lnTo>
                <a:lnTo>
                  <a:pt x="6493311" y="3119384"/>
                </a:lnTo>
                <a:lnTo>
                  <a:pt x="6493962" y="3123823"/>
                </a:lnTo>
                <a:lnTo>
                  <a:pt x="6492118" y="3127288"/>
                </a:lnTo>
                <a:lnTo>
                  <a:pt x="6487776" y="3129129"/>
                </a:lnTo>
                <a:lnTo>
                  <a:pt x="6487452" y="3136708"/>
                </a:lnTo>
                <a:lnTo>
                  <a:pt x="6489513" y="3140281"/>
                </a:lnTo>
                <a:lnTo>
                  <a:pt x="6485499" y="3149808"/>
                </a:lnTo>
                <a:lnTo>
                  <a:pt x="6488103" y="3158579"/>
                </a:lnTo>
                <a:lnTo>
                  <a:pt x="6485715" y="3171571"/>
                </a:lnTo>
                <a:lnTo>
                  <a:pt x="6486258" y="3182289"/>
                </a:lnTo>
                <a:lnTo>
                  <a:pt x="6483002" y="3185538"/>
                </a:lnTo>
                <a:lnTo>
                  <a:pt x="6480180" y="3184347"/>
                </a:lnTo>
                <a:lnTo>
                  <a:pt x="6475840" y="3177634"/>
                </a:lnTo>
                <a:lnTo>
                  <a:pt x="6471933" y="3176768"/>
                </a:lnTo>
                <a:lnTo>
                  <a:pt x="6469980" y="3180016"/>
                </a:lnTo>
                <a:lnTo>
                  <a:pt x="6469872" y="3186187"/>
                </a:lnTo>
                <a:lnTo>
                  <a:pt x="6467919" y="3187811"/>
                </a:lnTo>
                <a:lnTo>
                  <a:pt x="6458694" y="3179150"/>
                </a:lnTo>
                <a:lnTo>
                  <a:pt x="6454354" y="3178283"/>
                </a:lnTo>
                <a:lnTo>
                  <a:pt x="6454354" y="3180882"/>
                </a:lnTo>
                <a:lnTo>
                  <a:pt x="6455764" y="3183264"/>
                </a:lnTo>
                <a:lnTo>
                  <a:pt x="6455764" y="3187920"/>
                </a:lnTo>
                <a:lnTo>
                  <a:pt x="6454028" y="3189977"/>
                </a:lnTo>
                <a:lnTo>
                  <a:pt x="6450773" y="3184455"/>
                </a:lnTo>
                <a:lnTo>
                  <a:pt x="6447626" y="3183156"/>
                </a:lnTo>
                <a:lnTo>
                  <a:pt x="6446432" y="3178175"/>
                </a:lnTo>
                <a:lnTo>
                  <a:pt x="6432325" y="3165724"/>
                </a:lnTo>
                <a:lnTo>
                  <a:pt x="6425380" y="3163883"/>
                </a:lnTo>
                <a:lnTo>
                  <a:pt x="6422992" y="3158686"/>
                </a:lnTo>
                <a:lnTo>
                  <a:pt x="6412357" y="3151974"/>
                </a:lnTo>
                <a:lnTo>
                  <a:pt x="6406064" y="3145153"/>
                </a:lnTo>
                <a:lnTo>
                  <a:pt x="6400964" y="3141904"/>
                </a:lnTo>
                <a:lnTo>
                  <a:pt x="6400096" y="3134975"/>
                </a:lnTo>
                <a:lnTo>
                  <a:pt x="6394236" y="3131186"/>
                </a:lnTo>
                <a:lnTo>
                  <a:pt x="6391848" y="3128479"/>
                </a:lnTo>
                <a:lnTo>
                  <a:pt x="6385121" y="3127071"/>
                </a:lnTo>
                <a:lnTo>
                  <a:pt x="6382624" y="3121225"/>
                </a:lnTo>
                <a:lnTo>
                  <a:pt x="6373943" y="3110398"/>
                </a:lnTo>
                <a:lnTo>
                  <a:pt x="6365262" y="3103902"/>
                </a:lnTo>
                <a:lnTo>
                  <a:pt x="6363091" y="3097839"/>
                </a:lnTo>
                <a:lnTo>
                  <a:pt x="6363525" y="3091125"/>
                </a:lnTo>
                <a:lnTo>
                  <a:pt x="6354627" y="3074668"/>
                </a:lnTo>
                <a:lnTo>
                  <a:pt x="6353541" y="3062975"/>
                </a:lnTo>
                <a:lnTo>
                  <a:pt x="6348116" y="3058861"/>
                </a:lnTo>
                <a:lnTo>
                  <a:pt x="6342147" y="3048576"/>
                </a:lnTo>
                <a:lnTo>
                  <a:pt x="6342147" y="3044461"/>
                </a:lnTo>
                <a:lnTo>
                  <a:pt x="6335094" y="3039589"/>
                </a:lnTo>
                <a:lnTo>
                  <a:pt x="6328908" y="3037640"/>
                </a:lnTo>
                <a:lnTo>
                  <a:pt x="6326630" y="3030819"/>
                </a:lnTo>
                <a:lnTo>
                  <a:pt x="6321855" y="3018152"/>
                </a:lnTo>
                <a:lnTo>
                  <a:pt x="6322072" y="3016527"/>
                </a:lnTo>
                <a:lnTo>
                  <a:pt x="6319793" y="3010573"/>
                </a:lnTo>
                <a:lnTo>
                  <a:pt x="6316754" y="3007216"/>
                </a:lnTo>
                <a:lnTo>
                  <a:pt x="6318600" y="3003859"/>
                </a:lnTo>
                <a:lnTo>
                  <a:pt x="6317731" y="3001261"/>
                </a:lnTo>
                <a:lnTo>
                  <a:pt x="6314910" y="3001694"/>
                </a:lnTo>
                <a:lnTo>
                  <a:pt x="6311654" y="2999854"/>
                </a:lnTo>
                <a:lnTo>
                  <a:pt x="6305252" y="2991841"/>
                </a:lnTo>
                <a:lnTo>
                  <a:pt x="6300260" y="2991841"/>
                </a:lnTo>
                <a:lnTo>
                  <a:pt x="6297221" y="2989135"/>
                </a:lnTo>
                <a:lnTo>
                  <a:pt x="6296353" y="2982963"/>
                </a:lnTo>
                <a:lnTo>
                  <a:pt x="6294075" y="2981123"/>
                </a:lnTo>
                <a:lnTo>
                  <a:pt x="6294075" y="2974951"/>
                </a:lnTo>
                <a:lnTo>
                  <a:pt x="6291687" y="2974951"/>
                </a:lnTo>
                <a:lnTo>
                  <a:pt x="6283223" y="2966831"/>
                </a:lnTo>
                <a:lnTo>
                  <a:pt x="6274867" y="2953406"/>
                </a:lnTo>
                <a:lnTo>
                  <a:pt x="6267054" y="2946909"/>
                </a:lnTo>
                <a:lnTo>
                  <a:pt x="6264015" y="2948100"/>
                </a:lnTo>
                <a:lnTo>
                  <a:pt x="6260326" y="2946801"/>
                </a:lnTo>
                <a:lnTo>
                  <a:pt x="6254032" y="2938898"/>
                </a:lnTo>
                <a:lnTo>
                  <a:pt x="6250885" y="2938898"/>
                </a:lnTo>
                <a:lnTo>
                  <a:pt x="6240576" y="2927529"/>
                </a:lnTo>
                <a:lnTo>
                  <a:pt x="6236778" y="2925796"/>
                </a:lnTo>
                <a:lnTo>
                  <a:pt x="6230700" y="2912804"/>
                </a:lnTo>
                <a:lnTo>
                  <a:pt x="6229507" y="2905875"/>
                </a:lnTo>
                <a:lnTo>
                  <a:pt x="6230592" y="2903276"/>
                </a:lnTo>
                <a:close/>
                <a:moveTo>
                  <a:pt x="2595609" y="2898619"/>
                </a:moveTo>
                <a:lnTo>
                  <a:pt x="2594416" y="2903383"/>
                </a:lnTo>
                <a:lnTo>
                  <a:pt x="2594524" y="2906739"/>
                </a:lnTo>
                <a:lnTo>
                  <a:pt x="2591160" y="2910637"/>
                </a:lnTo>
                <a:lnTo>
                  <a:pt x="2586820" y="2912910"/>
                </a:lnTo>
                <a:lnTo>
                  <a:pt x="2580959" y="2913127"/>
                </a:lnTo>
                <a:lnTo>
                  <a:pt x="2577921" y="2918973"/>
                </a:lnTo>
                <a:lnTo>
                  <a:pt x="2577704" y="2924062"/>
                </a:lnTo>
                <a:lnTo>
                  <a:pt x="2573689" y="2934023"/>
                </a:lnTo>
                <a:lnTo>
                  <a:pt x="2574123" y="2937055"/>
                </a:lnTo>
                <a:lnTo>
                  <a:pt x="2574123" y="2937055"/>
                </a:lnTo>
                <a:lnTo>
                  <a:pt x="2573689" y="2934023"/>
                </a:lnTo>
                <a:lnTo>
                  <a:pt x="2577704" y="2924063"/>
                </a:lnTo>
                <a:lnTo>
                  <a:pt x="2577921" y="2918974"/>
                </a:lnTo>
                <a:lnTo>
                  <a:pt x="2580959" y="2913127"/>
                </a:lnTo>
                <a:lnTo>
                  <a:pt x="2586820" y="2912911"/>
                </a:lnTo>
                <a:lnTo>
                  <a:pt x="2591160" y="2910637"/>
                </a:lnTo>
                <a:lnTo>
                  <a:pt x="2594524" y="2906739"/>
                </a:lnTo>
                <a:lnTo>
                  <a:pt x="2594416" y="2903383"/>
                </a:lnTo>
                <a:lnTo>
                  <a:pt x="2595609" y="2898619"/>
                </a:lnTo>
                <a:close/>
                <a:moveTo>
                  <a:pt x="3877299" y="2897646"/>
                </a:moveTo>
                <a:lnTo>
                  <a:pt x="3882833" y="2899270"/>
                </a:lnTo>
                <a:lnTo>
                  <a:pt x="3885112" y="2903168"/>
                </a:lnTo>
                <a:lnTo>
                  <a:pt x="3885112" y="2903167"/>
                </a:lnTo>
                <a:lnTo>
                  <a:pt x="3882833" y="2899269"/>
                </a:lnTo>
                <a:close/>
                <a:moveTo>
                  <a:pt x="4589533" y="2897634"/>
                </a:moveTo>
                <a:lnTo>
                  <a:pt x="4588950" y="2899378"/>
                </a:lnTo>
                <a:lnTo>
                  <a:pt x="4589818" y="2906631"/>
                </a:lnTo>
                <a:lnTo>
                  <a:pt x="4589839" y="2906647"/>
                </a:lnTo>
                <a:lnTo>
                  <a:pt x="4589839" y="2906646"/>
                </a:lnTo>
                <a:lnTo>
                  <a:pt x="4589819" y="2906631"/>
                </a:lnTo>
                <a:lnTo>
                  <a:pt x="4588951" y="2899377"/>
                </a:lnTo>
                <a:close/>
                <a:moveTo>
                  <a:pt x="4156404" y="2896346"/>
                </a:moveTo>
                <a:lnTo>
                  <a:pt x="4153583" y="2898186"/>
                </a:lnTo>
                <a:lnTo>
                  <a:pt x="4153583" y="2898187"/>
                </a:lnTo>
                <a:lnTo>
                  <a:pt x="4156404" y="2896347"/>
                </a:lnTo>
                <a:close/>
                <a:moveTo>
                  <a:pt x="6384251" y="2894504"/>
                </a:moveTo>
                <a:lnTo>
                  <a:pt x="6379910" y="2895046"/>
                </a:lnTo>
                <a:lnTo>
                  <a:pt x="6374593" y="2899593"/>
                </a:lnTo>
                <a:lnTo>
                  <a:pt x="6368191" y="2898078"/>
                </a:lnTo>
                <a:lnTo>
                  <a:pt x="6368191" y="2898079"/>
                </a:lnTo>
                <a:lnTo>
                  <a:pt x="6374593" y="2899594"/>
                </a:lnTo>
                <a:lnTo>
                  <a:pt x="6379910" y="2895047"/>
                </a:lnTo>
                <a:lnTo>
                  <a:pt x="6384252" y="2894506"/>
                </a:lnTo>
                <a:lnTo>
                  <a:pt x="6387506" y="2897212"/>
                </a:lnTo>
                <a:lnTo>
                  <a:pt x="6390762" y="2894830"/>
                </a:lnTo>
                <a:lnTo>
                  <a:pt x="6390762" y="2894830"/>
                </a:lnTo>
                <a:lnTo>
                  <a:pt x="6387506" y="2897212"/>
                </a:lnTo>
                <a:close/>
                <a:moveTo>
                  <a:pt x="4781869" y="2893516"/>
                </a:moveTo>
                <a:lnTo>
                  <a:pt x="4781869" y="2893517"/>
                </a:lnTo>
                <a:lnTo>
                  <a:pt x="4784172" y="2896129"/>
                </a:lnTo>
                <a:lnTo>
                  <a:pt x="4784388" y="2897317"/>
                </a:lnTo>
                <a:lnTo>
                  <a:pt x="4784390" y="2897319"/>
                </a:lnTo>
                <a:lnTo>
                  <a:pt x="4785006" y="2900700"/>
                </a:lnTo>
                <a:lnTo>
                  <a:pt x="4784174" y="2896129"/>
                </a:lnTo>
                <a:close/>
                <a:moveTo>
                  <a:pt x="6850547" y="2890391"/>
                </a:moveTo>
                <a:lnTo>
                  <a:pt x="6855973" y="2891474"/>
                </a:lnTo>
                <a:lnTo>
                  <a:pt x="6856081" y="2893531"/>
                </a:lnTo>
                <a:lnTo>
                  <a:pt x="6852717" y="2895263"/>
                </a:lnTo>
                <a:lnTo>
                  <a:pt x="6850547" y="2893964"/>
                </a:lnTo>
                <a:lnTo>
                  <a:pt x="6848594" y="2895371"/>
                </a:lnTo>
                <a:lnTo>
                  <a:pt x="6844470" y="2895263"/>
                </a:lnTo>
                <a:lnTo>
                  <a:pt x="6843059" y="2893639"/>
                </a:lnTo>
                <a:lnTo>
                  <a:pt x="6844904" y="2891582"/>
                </a:lnTo>
                <a:close/>
                <a:moveTo>
                  <a:pt x="4575930" y="2889817"/>
                </a:moveTo>
                <a:lnTo>
                  <a:pt x="4575928" y="2889850"/>
                </a:lnTo>
                <a:lnTo>
                  <a:pt x="4575930" y="2889852"/>
                </a:lnTo>
                <a:lnTo>
                  <a:pt x="4575930" y="2889850"/>
                </a:lnTo>
                <a:lnTo>
                  <a:pt x="4575929" y="2889849"/>
                </a:lnTo>
                <a:lnTo>
                  <a:pt x="4575930" y="2889837"/>
                </a:lnTo>
                <a:close/>
                <a:moveTo>
                  <a:pt x="2347179" y="2887371"/>
                </a:moveTo>
                <a:lnTo>
                  <a:pt x="2348517" y="2895479"/>
                </a:lnTo>
                <a:lnTo>
                  <a:pt x="2346564" y="2899269"/>
                </a:lnTo>
                <a:lnTo>
                  <a:pt x="2348517" y="2895479"/>
                </a:lnTo>
                <a:close/>
                <a:moveTo>
                  <a:pt x="2319379" y="2886229"/>
                </a:moveTo>
                <a:lnTo>
                  <a:pt x="2321930" y="2887684"/>
                </a:lnTo>
                <a:lnTo>
                  <a:pt x="2323371" y="2886897"/>
                </a:lnTo>
                <a:lnTo>
                  <a:pt x="2321931" y="2887683"/>
                </a:lnTo>
                <a:close/>
                <a:moveTo>
                  <a:pt x="2314009" y="2884544"/>
                </a:moveTo>
                <a:lnTo>
                  <a:pt x="2313407" y="2884756"/>
                </a:lnTo>
                <a:lnTo>
                  <a:pt x="2314009" y="2884544"/>
                </a:lnTo>
                <a:lnTo>
                  <a:pt x="2317259" y="2885481"/>
                </a:lnTo>
                <a:close/>
                <a:moveTo>
                  <a:pt x="3963353" y="2884437"/>
                </a:moveTo>
                <a:lnTo>
                  <a:pt x="3965848" y="2885519"/>
                </a:lnTo>
                <a:lnTo>
                  <a:pt x="3965849" y="2885519"/>
                </a:lnTo>
                <a:close/>
                <a:moveTo>
                  <a:pt x="2343091" y="2884219"/>
                </a:moveTo>
                <a:lnTo>
                  <a:pt x="2339181" y="2884425"/>
                </a:lnTo>
                <a:lnTo>
                  <a:pt x="2343091" y="2884220"/>
                </a:lnTo>
                <a:lnTo>
                  <a:pt x="2345320" y="2885393"/>
                </a:lnTo>
                <a:close/>
                <a:moveTo>
                  <a:pt x="3752938" y="2883029"/>
                </a:moveTo>
                <a:lnTo>
                  <a:pt x="3755760" y="2886493"/>
                </a:lnTo>
                <a:lnTo>
                  <a:pt x="3752939" y="2883029"/>
                </a:lnTo>
                <a:close/>
                <a:moveTo>
                  <a:pt x="6363742" y="2881296"/>
                </a:moveTo>
                <a:lnTo>
                  <a:pt x="6363742" y="2881296"/>
                </a:lnTo>
                <a:lnTo>
                  <a:pt x="6368733" y="2881296"/>
                </a:lnTo>
                <a:lnTo>
                  <a:pt x="6371880" y="2884327"/>
                </a:lnTo>
                <a:lnTo>
                  <a:pt x="6371880" y="2884327"/>
                </a:lnTo>
                <a:lnTo>
                  <a:pt x="6368733" y="2881296"/>
                </a:lnTo>
                <a:close/>
                <a:moveTo>
                  <a:pt x="6838502" y="2879456"/>
                </a:moveTo>
                <a:lnTo>
                  <a:pt x="6839587" y="2881621"/>
                </a:lnTo>
                <a:lnTo>
                  <a:pt x="6838285" y="2884003"/>
                </a:lnTo>
                <a:lnTo>
                  <a:pt x="6835464" y="2883029"/>
                </a:lnTo>
                <a:close/>
                <a:moveTo>
                  <a:pt x="3741762" y="2878156"/>
                </a:moveTo>
                <a:lnTo>
                  <a:pt x="3741761" y="2878157"/>
                </a:lnTo>
                <a:lnTo>
                  <a:pt x="3743064" y="2882813"/>
                </a:lnTo>
                <a:lnTo>
                  <a:pt x="3744343" y="2883273"/>
                </a:lnTo>
                <a:lnTo>
                  <a:pt x="3743064" y="2882813"/>
                </a:lnTo>
                <a:close/>
                <a:moveTo>
                  <a:pt x="6356037" y="2876640"/>
                </a:moveTo>
                <a:lnTo>
                  <a:pt x="6356037" y="2876641"/>
                </a:lnTo>
                <a:lnTo>
                  <a:pt x="6362548" y="2878481"/>
                </a:lnTo>
                <a:lnTo>
                  <a:pt x="6362982" y="2879504"/>
                </a:lnTo>
                <a:lnTo>
                  <a:pt x="6362548" y="2878480"/>
                </a:lnTo>
                <a:close/>
                <a:moveTo>
                  <a:pt x="3872741" y="2876532"/>
                </a:moveTo>
                <a:lnTo>
                  <a:pt x="3870680" y="2877940"/>
                </a:lnTo>
                <a:lnTo>
                  <a:pt x="3872741" y="2876533"/>
                </a:lnTo>
                <a:close/>
                <a:moveTo>
                  <a:pt x="4173240" y="2874944"/>
                </a:moveTo>
                <a:lnTo>
                  <a:pt x="4173658" y="2878697"/>
                </a:lnTo>
                <a:lnTo>
                  <a:pt x="4166496" y="2883894"/>
                </a:lnTo>
                <a:lnTo>
                  <a:pt x="4164434" y="2886493"/>
                </a:lnTo>
                <a:lnTo>
                  <a:pt x="4160310" y="2889200"/>
                </a:lnTo>
                <a:lnTo>
                  <a:pt x="4156404" y="2892881"/>
                </a:lnTo>
                <a:lnTo>
                  <a:pt x="4156404" y="2892882"/>
                </a:lnTo>
                <a:lnTo>
                  <a:pt x="4160311" y="2889200"/>
                </a:lnTo>
                <a:lnTo>
                  <a:pt x="4164434" y="2886494"/>
                </a:lnTo>
                <a:lnTo>
                  <a:pt x="4166496" y="2883895"/>
                </a:lnTo>
                <a:lnTo>
                  <a:pt x="4173658" y="2878698"/>
                </a:lnTo>
                <a:close/>
                <a:moveTo>
                  <a:pt x="6334115" y="2874584"/>
                </a:moveTo>
                <a:lnTo>
                  <a:pt x="6335851" y="2875341"/>
                </a:lnTo>
                <a:lnTo>
                  <a:pt x="6336503" y="2878373"/>
                </a:lnTo>
                <a:lnTo>
                  <a:pt x="6334767" y="2879023"/>
                </a:lnTo>
                <a:lnTo>
                  <a:pt x="6332922" y="2875233"/>
                </a:lnTo>
                <a:close/>
                <a:moveTo>
                  <a:pt x="6873010" y="2873826"/>
                </a:moveTo>
                <a:lnTo>
                  <a:pt x="6875940" y="2875666"/>
                </a:lnTo>
                <a:lnTo>
                  <a:pt x="6878653" y="2876641"/>
                </a:lnTo>
                <a:lnTo>
                  <a:pt x="6878219" y="2878373"/>
                </a:lnTo>
                <a:lnTo>
                  <a:pt x="6872143" y="2883787"/>
                </a:lnTo>
                <a:lnTo>
                  <a:pt x="6869430" y="2882920"/>
                </a:lnTo>
                <a:lnTo>
                  <a:pt x="6866608" y="2878698"/>
                </a:lnTo>
                <a:lnTo>
                  <a:pt x="6866391" y="2876316"/>
                </a:lnTo>
                <a:lnTo>
                  <a:pt x="6870623" y="2875991"/>
                </a:lnTo>
                <a:close/>
                <a:moveTo>
                  <a:pt x="4567268" y="2872958"/>
                </a:moveTo>
                <a:lnTo>
                  <a:pt x="4567465" y="2877169"/>
                </a:lnTo>
                <a:lnTo>
                  <a:pt x="4567465" y="2877157"/>
                </a:lnTo>
                <a:lnTo>
                  <a:pt x="4567268" y="2872959"/>
                </a:lnTo>
                <a:close/>
                <a:moveTo>
                  <a:pt x="4771910" y="2872851"/>
                </a:moveTo>
                <a:lnTo>
                  <a:pt x="4774732" y="2876532"/>
                </a:lnTo>
                <a:lnTo>
                  <a:pt x="4776685" y="2880213"/>
                </a:lnTo>
                <a:lnTo>
                  <a:pt x="4780699" y="2884544"/>
                </a:lnTo>
                <a:lnTo>
                  <a:pt x="4780834" y="2885646"/>
                </a:lnTo>
                <a:lnTo>
                  <a:pt x="4780836" y="2885647"/>
                </a:lnTo>
                <a:lnTo>
                  <a:pt x="4780701" y="2884544"/>
                </a:lnTo>
                <a:lnTo>
                  <a:pt x="4776686" y="2880213"/>
                </a:lnTo>
                <a:lnTo>
                  <a:pt x="4774733" y="2876531"/>
                </a:lnTo>
                <a:lnTo>
                  <a:pt x="4771911" y="2872851"/>
                </a:lnTo>
                <a:close/>
                <a:moveTo>
                  <a:pt x="2507603" y="2871660"/>
                </a:moveTo>
                <a:lnTo>
                  <a:pt x="2507602" y="2871660"/>
                </a:lnTo>
                <a:lnTo>
                  <a:pt x="2511725" y="2873175"/>
                </a:lnTo>
                <a:lnTo>
                  <a:pt x="2511726" y="2873175"/>
                </a:lnTo>
                <a:close/>
                <a:moveTo>
                  <a:pt x="4765725" y="2871226"/>
                </a:moveTo>
                <a:lnTo>
                  <a:pt x="4765725" y="2871228"/>
                </a:lnTo>
                <a:lnTo>
                  <a:pt x="4767352" y="2872850"/>
                </a:lnTo>
                <a:lnTo>
                  <a:pt x="4767353" y="2872850"/>
                </a:lnTo>
                <a:close/>
                <a:moveTo>
                  <a:pt x="4191997" y="2871118"/>
                </a:moveTo>
                <a:lnTo>
                  <a:pt x="4189502" y="2871336"/>
                </a:lnTo>
                <a:lnTo>
                  <a:pt x="4191997" y="2871119"/>
                </a:lnTo>
                <a:lnTo>
                  <a:pt x="4194651" y="2872443"/>
                </a:lnTo>
                <a:close/>
                <a:moveTo>
                  <a:pt x="4765616" y="2869061"/>
                </a:moveTo>
                <a:lnTo>
                  <a:pt x="4765554" y="2870173"/>
                </a:lnTo>
                <a:lnTo>
                  <a:pt x="4765555" y="2870174"/>
                </a:lnTo>
                <a:lnTo>
                  <a:pt x="4765617" y="2869061"/>
                </a:lnTo>
                <a:close/>
                <a:moveTo>
                  <a:pt x="4181905" y="2868087"/>
                </a:moveTo>
                <a:lnTo>
                  <a:pt x="4179627" y="2871118"/>
                </a:lnTo>
                <a:lnTo>
                  <a:pt x="4174309" y="2871336"/>
                </a:lnTo>
                <a:lnTo>
                  <a:pt x="4173116" y="2873825"/>
                </a:lnTo>
                <a:lnTo>
                  <a:pt x="4173116" y="2873826"/>
                </a:lnTo>
                <a:lnTo>
                  <a:pt x="4174309" y="2871336"/>
                </a:lnTo>
                <a:lnTo>
                  <a:pt x="4179627" y="2871119"/>
                </a:lnTo>
                <a:lnTo>
                  <a:pt x="4181905" y="2868087"/>
                </a:lnTo>
                <a:lnTo>
                  <a:pt x="4182990" y="2869278"/>
                </a:lnTo>
                <a:lnTo>
                  <a:pt x="4187127" y="2870585"/>
                </a:lnTo>
                <a:lnTo>
                  <a:pt x="4182990" y="2869278"/>
                </a:lnTo>
                <a:close/>
                <a:moveTo>
                  <a:pt x="6752013" y="2867654"/>
                </a:moveTo>
                <a:lnTo>
                  <a:pt x="6756895" y="2870686"/>
                </a:lnTo>
                <a:lnTo>
                  <a:pt x="6757004" y="2877182"/>
                </a:lnTo>
                <a:lnTo>
                  <a:pt x="6761454" y="2881404"/>
                </a:lnTo>
                <a:lnTo>
                  <a:pt x="6763624" y="2879996"/>
                </a:lnTo>
                <a:lnTo>
                  <a:pt x="6769267" y="2883786"/>
                </a:lnTo>
                <a:lnTo>
                  <a:pt x="6769484" y="2886818"/>
                </a:lnTo>
                <a:lnTo>
                  <a:pt x="6765251" y="2888441"/>
                </a:lnTo>
                <a:lnTo>
                  <a:pt x="6765143" y="2895479"/>
                </a:lnTo>
                <a:lnTo>
                  <a:pt x="6766988" y="2896345"/>
                </a:lnTo>
                <a:lnTo>
                  <a:pt x="6769050" y="2898835"/>
                </a:lnTo>
                <a:lnTo>
                  <a:pt x="6772306" y="2894396"/>
                </a:lnTo>
                <a:lnTo>
                  <a:pt x="6774476" y="2893747"/>
                </a:lnTo>
                <a:lnTo>
                  <a:pt x="6776972" y="2896887"/>
                </a:lnTo>
                <a:lnTo>
                  <a:pt x="6771871" y="2901326"/>
                </a:lnTo>
                <a:lnTo>
                  <a:pt x="6774150" y="2903383"/>
                </a:lnTo>
                <a:lnTo>
                  <a:pt x="6777840" y="2899702"/>
                </a:lnTo>
                <a:lnTo>
                  <a:pt x="6781204" y="2899702"/>
                </a:lnTo>
                <a:lnTo>
                  <a:pt x="6786955" y="2905440"/>
                </a:lnTo>
                <a:lnTo>
                  <a:pt x="6791187" y="2905116"/>
                </a:lnTo>
                <a:lnTo>
                  <a:pt x="6795311" y="2908797"/>
                </a:lnTo>
                <a:lnTo>
                  <a:pt x="6800845" y="2909879"/>
                </a:lnTo>
                <a:lnTo>
                  <a:pt x="6804535" y="2909879"/>
                </a:lnTo>
                <a:lnTo>
                  <a:pt x="6805620" y="2913669"/>
                </a:lnTo>
                <a:lnTo>
                  <a:pt x="6800628" y="2917458"/>
                </a:lnTo>
                <a:lnTo>
                  <a:pt x="6792706" y="2919299"/>
                </a:lnTo>
                <a:lnTo>
                  <a:pt x="6783048" y="2918541"/>
                </a:lnTo>
                <a:lnTo>
                  <a:pt x="6780118" y="2920598"/>
                </a:lnTo>
                <a:lnTo>
                  <a:pt x="6780118" y="2926769"/>
                </a:lnTo>
                <a:lnTo>
                  <a:pt x="6786521" y="2932075"/>
                </a:lnTo>
                <a:lnTo>
                  <a:pt x="6786521" y="2934781"/>
                </a:lnTo>
                <a:lnTo>
                  <a:pt x="6780335" y="2936081"/>
                </a:lnTo>
                <a:lnTo>
                  <a:pt x="6775344" y="2938571"/>
                </a:lnTo>
                <a:lnTo>
                  <a:pt x="6771329" y="2937597"/>
                </a:lnTo>
                <a:lnTo>
                  <a:pt x="6765686" y="2933807"/>
                </a:lnTo>
                <a:lnTo>
                  <a:pt x="6765251" y="2935972"/>
                </a:lnTo>
                <a:lnTo>
                  <a:pt x="6765254" y="2935973"/>
                </a:lnTo>
                <a:lnTo>
                  <a:pt x="6764929" y="2937272"/>
                </a:lnTo>
                <a:lnTo>
                  <a:pt x="6762541" y="2937705"/>
                </a:lnTo>
                <a:lnTo>
                  <a:pt x="6762867" y="2939979"/>
                </a:lnTo>
                <a:lnTo>
                  <a:pt x="6761348" y="2942362"/>
                </a:lnTo>
                <a:lnTo>
                  <a:pt x="6766340" y="2944310"/>
                </a:lnTo>
                <a:lnTo>
                  <a:pt x="6771006" y="2949724"/>
                </a:lnTo>
                <a:lnTo>
                  <a:pt x="6765688" y="2951131"/>
                </a:lnTo>
                <a:lnTo>
                  <a:pt x="6760262" y="2950265"/>
                </a:lnTo>
                <a:lnTo>
                  <a:pt x="6758092" y="2951672"/>
                </a:lnTo>
                <a:lnTo>
                  <a:pt x="6761890" y="2956111"/>
                </a:lnTo>
                <a:lnTo>
                  <a:pt x="6763844" y="2957303"/>
                </a:lnTo>
                <a:lnTo>
                  <a:pt x="6764386" y="2959901"/>
                </a:lnTo>
                <a:lnTo>
                  <a:pt x="6762324" y="2960442"/>
                </a:lnTo>
                <a:lnTo>
                  <a:pt x="6760697" y="2964015"/>
                </a:lnTo>
                <a:lnTo>
                  <a:pt x="6764603" y="2967480"/>
                </a:lnTo>
                <a:lnTo>
                  <a:pt x="6766123" y="2972460"/>
                </a:lnTo>
                <a:lnTo>
                  <a:pt x="6774153" y="2980689"/>
                </a:lnTo>
                <a:lnTo>
                  <a:pt x="6777734" y="2983937"/>
                </a:lnTo>
                <a:lnTo>
                  <a:pt x="6775346" y="2988485"/>
                </a:lnTo>
                <a:lnTo>
                  <a:pt x="6769053" y="2989784"/>
                </a:lnTo>
                <a:lnTo>
                  <a:pt x="6768184" y="2992707"/>
                </a:lnTo>
                <a:lnTo>
                  <a:pt x="6770246" y="2994439"/>
                </a:lnTo>
                <a:lnTo>
                  <a:pt x="6771331" y="2998554"/>
                </a:lnTo>
                <a:lnTo>
                  <a:pt x="6774912" y="3000611"/>
                </a:lnTo>
                <a:lnTo>
                  <a:pt x="6785113" y="3010139"/>
                </a:lnTo>
                <a:lnTo>
                  <a:pt x="6788586" y="3010139"/>
                </a:lnTo>
                <a:lnTo>
                  <a:pt x="6792492" y="3014578"/>
                </a:lnTo>
                <a:lnTo>
                  <a:pt x="6793903" y="3017502"/>
                </a:lnTo>
                <a:lnTo>
                  <a:pt x="6797701" y="3018368"/>
                </a:lnTo>
                <a:lnTo>
                  <a:pt x="6796507" y="3022698"/>
                </a:lnTo>
                <a:lnTo>
                  <a:pt x="6793577" y="3023890"/>
                </a:lnTo>
                <a:lnTo>
                  <a:pt x="6790430" y="3022698"/>
                </a:lnTo>
                <a:lnTo>
                  <a:pt x="6786849" y="3025188"/>
                </a:lnTo>
                <a:lnTo>
                  <a:pt x="6781314" y="3024539"/>
                </a:lnTo>
                <a:lnTo>
                  <a:pt x="6773610" y="3016960"/>
                </a:lnTo>
                <a:lnTo>
                  <a:pt x="6775130" y="3023348"/>
                </a:lnTo>
                <a:lnTo>
                  <a:pt x="6773719" y="3025730"/>
                </a:lnTo>
                <a:lnTo>
                  <a:pt x="6771440" y="3022807"/>
                </a:lnTo>
                <a:lnTo>
                  <a:pt x="6766448" y="3027787"/>
                </a:lnTo>
                <a:lnTo>
                  <a:pt x="6766448" y="3031252"/>
                </a:lnTo>
                <a:lnTo>
                  <a:pt x="6764278" y="3033850"/>
                </a:lnTo>
                <a:lnTo>
                  <a:pt x="6763410" y="3042945"/>
                </a:lnTo>
                <a:lnTo>
                  <a:pt x="6761348" y="3046193"/>
                </a:lnTo>
                <a:lnTo>
                  <a:pt x="6759611" y="3054421"/>
                </a:lnTo>
                <a:lnTo>
                  <a:pt x="6753209" y="3059402"/>
                </a:lnTo>
                <a:lnTo>
                  <a:pt x="6755596" y="3065574"/>
                </a:lnTo>
                <a:lnTo>
                  <a:pt x="6752667" y="3069904"/>
                </a:lnTo>
                <a:lnTo>
                  <a:pt x="6748543" y="3074235"/>
                </a:lnTo>
                <a:lnTo>
                  <a:pt x="6746590" y="3069688"/>
                </a:lnTo>
                <a:lnTo>
                  <a:pt x="6744202" y="3068497"/>
                </a:lnTo>
                <a:lnTo>
                  <a:pt x="6745504" y="3071745"/>
                </a:lnTo>
                <a:lnTo>
                  <a:pt x="6745070" y="3076833"/>
                </a:lnTo>
                <a:lnTo>
                  <a:pt x="6741055" y="3081489"/>
                </a:lnTo>
                <a:lnTo>
                  <a:pt x="6740296" y="3085712"/>
                </a:lnTo>
                <a:lnTo>
                  <a:pt x="6736280" y="3087336"/>
                </a:lnTo>
                <a:lnTo>
                  <a:pt x="6732699" y="3086794"/>
                </a:lnTo>
                <a:lnTo>
                  <a:pt x="6733567" y="3088960"/>
                </a:lnTo>
                <a:lnTo>
                  <a:pt x="6731723" y="3091667"/>
                </a:lnTo>
                <a:lnTo>
                  <a:pt x="6737474" y="3091342"/>
                </a:lnTo>
                <a:lnTo>
                  <a:pt x="6738451" y="3092316"/>
                </a:lnTo>
                <a:lnTo>
                  <a:pt x="6737800" y="3096539"/>
                </a:lnTo>
                <a:lnTo>
                  <a:pt x="6734979" y="3098488"/>
                </a:lnTo>
                <a:lnTo>
                  <a:pt x="6736497" y="3099571"/>
                </a:lnTo>
                <a:lnTo>
                  <a:pt x="6739319" y="3099245"/>
                </a:lnTo>
                <a:lnTo>
                  <a:pt x="6739970" y="3102602"/>
                </a:lnTo>
                <a:lnTo>
                  <a:pt x="6738451" y="3106283"/>
                </a:lnTo>
                <a:lnTo>
                  <a:pt x="6734653" y="3105200"/>
                </a:lnTo>
                <a:lnTo>
                  <a:pt x="6733893" y="3104226"/>
                </a:lnTo>
                <a:lnTo>
                  <a:pt x="6733676" y="3106067"/>
                </a:lnTo>
                <a:lnTo>
                  <a:pt x="6735846" y="3108124"/>
                </a:lnTo>
                <a:lnTo>
                  <a:pt x="6737365" y="3109532"/>
                </a:lnTo>
                <a:lnTo>
                  <a:pt x="6733676" y="3117218"/>
                </a:lnTo>
                <a:lnTo>
                  <a:pt x="6731180" y="3117218"/>
                </a:lnTo>
                <a:lnTo>
                  <a:pt x="6730204" y="3115378"/>
                </a:lnTo>
                <a:lnTo>
                  <a:pt x="6728793" y="3121333"/>
                </a:lnTo>
                <a:lnTo>
                  <a:pt x="6728793" y="3124581"/>
                </a:lnTo>
                <a:lnTo>
                  <a:pt x="6723801" y="3133676"/>
                </a:lnTo>
                <a:lnTo>
                  <a:pt x="6715662" y="3139198"/>
                </a:lnTo>
                <a:lnTo>
                  <a:pt x="6708825" y="3140389"/>
                </a:lnTo>
                <a:lnTo>
                  <a:pt x="6698951" y="3145044"/>
                </a:lnTo>
                <a:lnTo>
                  <a:pt x="6694284" y="3145694"/>
                </a:lnTo>
                <a:lnTo>
                  <a:pt x="6692983" y="3139198"/>
                </a:lnTo>
                <a:lnTo>
                  <a:pt x="6693742" y="3135625"/>
                </a:lnTo>
                <a:lnTo>
                  <a:pt x="6691354" y="3131943"/>
                </a:lnTo>
                <a:lnTo>
                  <a:pt x="6690486" y="3130211"/>
                </a:lnTo>
                <a:lnTo>
                  <a:pt x="6688316" y="3131294"/>
                </a:lnTo>
                <a:lnTo>
                  <a:pt x="6685711" y="3127830"/>
                </a:lnTo>
                <a:lnTo>
                  <a:pt x="6683433" y="3129020"/>
                </a:lnTo>
                <a:lnTo>
                  <a:pt x="6679635" y="3128046"/>
                </a:lnTo>
                <a:lnTo>
                  <a:pt x="6677573" y="3124256"/>
                </a:lnTo>
                <a:lnTo>
                  <a:pt x="6675945" y="3128046"/>
                </a:lnTo>
                <a:lnTo>
                  <a:pt x="6677573" y="3131186"/>
                </a:lnTo>
                <a:lnTo>
                  <a:pt x="6673124" y="3129995"/>
                </a:lnTo>
                <a:lnTo>
                  <a:pt x="6671171" y="3127504"/>
                </a:lnTo>
                <a:lnTo>
                  <a:pt x="6671171" y="3123715"/>
                </a:lnTo>
                <a:lnTo>
                  <a:pt x="6668675" y="3121549"/>
                </a:lnTo>
                <a:lnTo>
                  <a:pt x="6665853" y="3123173"/>
                </a:lnTo>
                <a:lnTo>
                  <a:pt x="6661621" y="3120683"/>
                </a:lnTo>
                <a:lnTo>
                  <a:pt x="6659017" y="3121008"/>
                </a:lnTo>
                <a:lnTo>
                  <a:pt x="6655327" y="3124906"/>
                </a:lnTo>
                <a:lnTo>
                  <a:pt x="6649468" y="3125772"/>
                </a:lnTo>
                <a:lnTo>
                  <a:pt x="6648491" y="3128154"/>
                </a:lnTo>
                <a:lnTo>
                  <a:pt x="6645018" y="3128587"/>
                </a:lnTo>
                <a:lnTo>
                  <a:pt x="6642522" y="3126422"/>
                </a:lnTo>
                <a:lnTo>
                  <a:pt x="6639700" y="3127179"/>
                </a:lnTo>
                <a:lnTo>
                  <a:pt x="6634166" y="3134000"/>
                </a:lnTo>
                <a:lnTo>
                  <a:pt x="6630694" y="3134000"/>
                </a:lnTo>
                <a:lnTo>
                  <a:pt x="6631236" y="3130103"/>
                </a:lnTo>
                <a:lnTo>
                  <a:pt x="6630585" y="3122091"/>
                </a:lnTo>
                <a:lnTo>
                  <a:pt x="6628523" y="3116244"/>
                </a:lnTo>
                <a:lnTo>
                  <a:pt x="6629500" y="3112130"/>
                </a:lnTo>
                <a:lnTo>
                  <a:pt x="6628089" y="3108882"/>
                </a:lnTo>
                <a:lnTo>
                  <a:pt x="6628523" y="3111481"/>
                </a:lnTo>
                <a:lnTo>
                  <a:pt x="6626353" y="3116136"/>
                </a:lnTo>
                <a:lnTo>
                  <a:pt x="6623314" y="3118085"/>
                </a:lnTo>
                <a:lnTo>
                  <a:pt x="6620385" y="3116028"/>
                </a:lnTo>
                <a:lnTo>
                  <a:pt x="6616261" y="3118951"/>
                </a:lnTo>
                <a:lnTo>
                  <a:pt x="6610293" y="3119492"/>
                </a:lnTo>
                <a:lnTo>
                  <a:pt x="6606603" y="3118085"/>
                </a:lnTo>
                <a:lnTo>
                  <a:pt x="6601611" y="3117760"/>
                </a:lnTo>
                <a:lnTo>
                  <a:pt x="6600092" y="3114728"/>
                </a:lnTo>
                <a:lnTo>
                  <a:pt x="6596402" y="3117869"/>
                </a:lnTo>
                <a:lnTo>
                  <a:pt x="6593689" y="3117869"/>
                </a:lnTo>
                <a:lnTo>
                  <a:pt x="6590976" y="3111264"/>
                </a:lnTo>
                <a:lnTo>
                  <a:pt x="6590868" y="3105525"/>
                </a:lnTo>
                <a:lnTo>
                  <a:pt x="6589566" y="3094915"/>
                </a:lnTo>
                <a:lnTo>
                  <a:pt x="6585442" y="3092208"/>
                </a:lnTo>
                <a:lnTo>
                  <a:pt x="6584248" y="3089284"/>
                </a:lnTo>
                <a:lnTo>
                  <a:pt x="6586961" y="3086145"/>
                </a:lnTo>
                <a:lnTo>
                  <a:pt x="6590217" y="3081381"/>
                </a:lnTo>
                <a:lnTo>
                  <a:pt x="6589566" y="3077159"/>
                </a:lnTo>
                <a:lnTo>
                  <a:pt x="6587287" y="3072936"/>
                </a:lnTo>
                <a:lnTo>
                  <a:pt x="6580451" y="3066115"/>
                </a:lnTo>
                <a:lnTo>
                  <a:pt x="6574590" y="3062759"/>
                </a:lnTo>
                <a:lnTo>
                  <a:pt x="6568948" y="3061351"/>
                </a:lnTo>
                <a:lnTo>
                  <a:pt x="6568731" y="3059510"/>
                </a:lnTo>
                <a:lnTo>
                  <a:pt x="6573071" y="3058969"/>
                </a:lnTo>
                <a:lnTo>
                  <a:pt x="6576761" y="3055721"/>
                </a:lnTo>
                <a:lnTo>
                  <a:pt x="6585117" y="3053772"/>
                </a:lnTo>
                <a:lnTo>
                  <a:pt x="6590759" y="3049333"/>
                </a:lnTo>
                <a:lnTo>
                  <a:pt x="6595426" y="3049658"/>
                </a:lnTo>
                <a:lnTo>
                  <a:pt x="6591085" y="3048358"/>
                </a:lnTo>
                <a:lnTo>
                  <a:pt x="6584683" y="3052365"/>
                </a:lnTo>
                <a:lnTo>
                  <a:pt x="6577195" y="3053447"/>
                </a:lnTo>
                <a:lnTo>
                  <a:pt x="6574156" y="3054205"/>
                </a:lnTo>
                <a:lnTo>
                  <a:pt x="6569273" y="3052690"/>
                </a:lnTo>
                <a:lnTo>
                  <a:pt x="6566235" y="3047167"/>
                </a:lnTo>
                <a:lnTo>
                  <a:pt x="6567754" y="3045760"/>
                </a:lnTo>
                <a:lnTo>
                  <a:pt x="6570467" y="3047059"/>
                </a:lnTo>
                <a:lnTo>
                  <a:pt x="6568297" y="3043486"/>
                </a:lnTo>
                <a:lnTo>
                  <a:pt x="6561243" y="3034608"/>
                </a:lnTo>
                <a:lnTo>
                  <a:pt x="6560592" y="3025513"/>
                </a:lnTo>
                <a:lnTo>
                  <a:pt x="6563847" y="3023564"/>
                </a:lnTo>
                <a:lnTo>
                  <a:pt x="6564390" y="3020749"/>
                </a:lnTo>
                <a:lnTo>
                  <a:pt x="6563088" y="3017502"/>
                </a:lnTo>
                <a:lnTo>
                  <a:pt x="6563414" y="3014253"/>
                </a:lnTo>
                <a:lnTo>
                  <a:pt x="6567103" y="3007756"/>
                </a:lnTo>
                <a:lnTo>
                  <a:pt x="6572854" y="3000178"/>
                </a:lnTo>
                <a:lnTo>
                  <a:pt x="6575242" y="2996497"/>
                </a:lnTo>
                <a:lnTo>
                  <a:pt x="6578930" y="2995306"/>
                </a:lnTo>
                <a:lnTo>
                  <a:pt x="6578929" y="2995304"/>
                </a:lnTo>
                <a:lnTo>
                  <a:pt x="6580774" y="2994763"/>
                </a:lnTo>
                <a:lnTo>
                  <a:pt x="6584897" y="2999418"/>
                </a:lnTo>
                <a:lnTo>
                  <a:pt x="6587501" y="3003208"/>
                </a:lnTo>
                <a:lnTo>
                  <a:pt x="6594338" y="3003100"/>
                </a:lnTo>
                <a:lnTo>
                  <a:pt x="6604214" y="3006673"/>
                </a:lnTo>
                <a:lnTo>
                  <a:pt x="6613655" y="3007863"/>
                </a:lnTo>
                <a:lnTo>
                  <a:pt x="6613546" y="3006023"/>
                </a:lnTo>
                <a:lnTo>
                  <a:pt x="6617669" y="3000284"/>
                </a:lnTo>
                <a:lnTo>
                  <a:pt x="6617778" y="2993464"/>
                </a:lnTo>
                <a:lnTo>
                  <a:pt x="6619297" y="2988483"/>
                </a:lnTo>
                <a:lnTo>
                  <a:pt x="6621901" y="2985235"/>
                </a:lnTo>
                <a:lnTo>
                  <a:pt x="6627544" y="2984586"/>
                </a:lnTo>
                <a:lnTo>
                  <a:pt x="6630908" y="2982853"/>
                </a:lnTo>
                <a:lnTo>
                  <a:pt x="6633947" y="2983936"/>
                </a:lnTo>
                <a:lnTo>
                  <a:pt x="6631668" y="2981446"/>
                </a:lnTo>
                <a:lnTo>
                  <a:pt x="6630366" y="2975166"/>
                </a:lnTo>
                <a:lnTo>
                  <a:pt x="6632428" y="2974192"/>
                </a:lnTo>
                <a:lnTo>
                  <a:pt x="6651961" y="2969536"/>
                </a:lnTo>
                <a:lnTo>
                  <a:pt x="6658363" y="2964014"/>
                </a:lnTo>
                <a:lnTo>
                  <a:pt x="6664223" y="2956868"/>
                </a:lnTo>
                <a:lnTo>
                  <a:pt x="6665742" y="2952538"/>
                </a:lnTo>
                <a:lnTo>
                  <a:pt x="6672470" y="2946150"/>
                </a:lnTo>
                <a:lnTo>
                  <a:pt x="6674641" y="2941386"/>
                </a:lnTo>
                <a:lnTo>
                  <a:pt x="6680826" y="2936081"/>
                </a:lnTo>
                <a:lnTo>
                  <a:pt x="6681043" y="2930342"/>
                </a:lnTo>
                <a:lnTo>
                  <a:pt x="6684298" y="2926336"/>
                </a:lnTo>
                <a:lnTo>
                  <a:pt x="6684299" y="2926337"/>
                </a:lnTo>
                <a:lnTo>
                  <a:pt x="6685385" y="2924821"/>
                </a:lnTo>
                <a:lnTo>
                  <a:pt x="6694174" y="2922223"/>
                </a:lnTo>
                <a:lnTo>
                  <a:pt x="6699818" y="2918000"/>
                </a:lnTo>
                <a:lnTo>
                  <a:pt x="6704484" y="2916268"/>
                </a:lnTo>
                <a:lnTo>
                  <a:pt x="6704809" y="2921032"/>
                </a:lnTo>
                <a:lnTo>
                  <a:pt x="6704700" y="2922764"/>
                </a:lnTo>
                <a:lnTo>
                  <a:pt x="6704699" y="2922764"/>
                </a:lnTo>
                <a:lnTo>
                  <a:pt x="6704699" y="2923846"/>
                </a:lnTo>
                <a:lnTo>
                  <a:pt x="6705459" y="2923630"/>
                </a:lnTo>
                <a:lnTo>
                  <a:pt x="6706436" y="2927960"/>
                </a:lnTo>
                <a:lnTo>
                  <a:pt x="6706870" y="2933915"/>
                </a:lnTo>
                <a:lnTo>
                  <a:pt x="6710125" y="2935648"/>
                </a:lnTo>
                <a:lnTo>
                  <a:pt x="6710126" y="2935646"/>
                </a:lnTo>
                <a:lnTo>
                  <a:pt x="6706870" y="2933914"/>
                </a:lnTo>
                <a:lnTo>
                  <a:pt x="6706437" y="2927960"/>
                </a:lnTo>
                <a:lnTo>
                  <a:pt x="6705460" y="2923629"/>
                </a:lnTo>
                <a:lnTo>
                  <a:pt x="6707630" y="2923088"/>
                </a:lnTo>
                <a:lnTo>
                  <a:pt x="6708823" y="2921465"/>
                </a:lnTo>
                <a:lnTo>
                  <a:pt x="6708823" y="2921464"/>
                </a:lnTo>
                <a:lnTo>
                  <a:pt x="6709474" y="2920598"/>
                </a:lnTo>
                <a:lnTo>
                  <a:pt x="6713273" y="2918649"/>
                </a:lnTo>
                <a:lnTo>
                  <a:pt x="6715551" y="2915185"/>
                </a:lnTo>
                <a:lnTo>
                  <a:pt x="6710017" y="2916808"/>
                </a:lnTo>
                <a:lnTo>
                  <a:pt x="6707738" y="2915942"/>
                </a:lnTo>
                <a:lnTo>
                  <a:pt x="6709474" y="2913343"/>
                </a:lnTo>
                <a:lnTo>
                  <a:pt x="6706870" y="2913452"/>
                </a:lnTo>
                <a:lnTo>
                  <a:pt x="6709257" y="2910420"/>
                </a:lnTo>
                <a:lnTo>
                  <a:pt x="6716202" y="2907822"/>
                </a:lnTo>
                <a:lnTo>
                  <a:pt x="6720326" y="2907822"/>
                </a:lnTo>
                <a:lnTo>
                  <a:pt x="6728899" y="2898728"/>
                </a:lnTo>
                <a:lnTo>
                  <a:pt x="6729767" y="2892556"/>
                </a:lnTo>
                <a:lnTo>
                  <a:pt x="6734759" y="2881080"/>
                </a:lnTo>
                <a:lnTo>
                  <a:pt x="6738231" y="2880105"/>
                </a:lnTo>
                <a:lnTo>
                  <a:pt x="6741487" y="2869494"/>
                </a:lnTo>
                <a:lnTo>
                  <a:pt x="6744634" y="2869711"/>
                </a:lnTo>
                <a:lnTo>
                  <a:pt x="6745501" y="2873609"/>
                </a:lnTo>
                <a:lnTo>
                  <a:pt x="6743982" y="2877939"/>
                </a:lnTo>
                <a:lnTo>
                  <a:pt x="6746044" y="2878264"/>
                </a:lnTo>
                <a:lnTo>
                  <a:pt x="6751144" y="2873284"/>
                </a:lnTo>
                <a:lnTo>
                  <a:pt x="6749843" y="2868953"/>
                </a:lnTo>
                <a:close/>
                <a:moveTo>
                  <a:pt x="2253348" y="2864838"/>
                </a:moveTo>
                <a:lnTo>
                  <a:pt x="2249441" y="2866787"/>
                </a:lnTo>
                <a:lnTo>
                  <a:pt x="2245576" y="2864943"/>
                </a:lnTo>
                <a:lnTo>
                  <a:pt x="2249441" y="2866788"/>
                </a:lnTo>
                <a:lnTo>
                  <a:pt x="2253348" y="2864839"/>
                </a:lnTo>
                <a:lnTo>
                  <a:pt x="2259425" y="2865055"/>
                </a:lnTo>
                <a:lnTo>
                  <a:pt x="2265285" y="2866788"/>
                </a:lnTo>
                <a:lnTo>
                  <a:pt x="2266153" y="2866030"/>
                </a:lnTo>
                <a:lnTo>
                  <a:pt x="2265284" y="2866787"/>
                </a:lnTo>
                <a:lnTo>
                  <a:pt x="2259425" y="2865055"/>
                </a:lnTo>
                <a:close/>
                <a:moveTo>
                  <a:pt x="3874694" y="2862566"/>
                </a:moveTo>
                <a:lnTo>
                  <a:pt x="3872416" y="2865814"/>
                </a:lnTo>
                <a:lnTo>
                  <a:pt x="3872416" y="2865814"/>
                </a:lnTo>
                <a:close/>
                <a:moveTo>
                  <a:pt x="3747407" y="2861045"/>
                </a:moveTo>
                <a:lnTo>
                  <a:pt x="3747405" y="2861049"/>
                </a:lnTo>
                <a:lnTo>
                  <a:pt x="3747404" y="2861050"/>
                </a:lnTo>
                <a:lnTo>
                  <a:pt x="3749032" y="2865597"/>
                </a:lnTo>
                <a:lnTo>
                  <a:pt x="3745125" y="2874584"/>
                </a:lnTo>
                <a:lnTo>
                  <a:pt x="3741880" y="2878031"/>
                </a:lnTo>
                <a:lnTo>
                  <a:pt x="3745125" y="2874584"/>
                </a:lnTo>
                <a:lnTo>
                  <a:pt x="3749032" y="2865597"/>
                </a:lnTo>
                <a:lnTo>
                  <a:pt x="3747405" y="2861050"/>
                </a:lnTo>
                <a:close/>
                <a:moveTo>
                  <a:pt x="4222331" y="2860991"/>
                </a:moveTo>
                <a:lnTo>
                  <a:pt x="4222599" y="2863756"/>
                </a:lnTo>
                <a:lnTo>
                  <a:pt x="4219777" y="2868087"/>
                </a:lnTo>
                <a:lnTo>
                  <a:pt x="4216088" y="2869278"/>
                </a:lnTo>
                <a:lnTo>
                  <a:pt x="4214243" y="2871985"/>
                </a:lnTo>
                <a:lnTo>
                  <a:pt x="4214243" y="2874042"/>
                </a:lnTo>
                <a:lnTo>
                  <a:pt x="4211096" y="2879347"/>
                </a:lnTo>
                <a:lnTo>
                  <a:pt x="4205996" y="2882271"/>
                </a:lnTo>
                <a:lnTo>
                  <a:pt x="4203283" y="2881188"/>
                </a:lnTo>
                <a:lnTo>
                  <a:pt x="4199160" y="2878156"/>
                </a:lnTo>
                <a:lnTo>
                  <a:pt x="4203283" y="2881188"/>
                </a:lnTo>
                <a:lnTo>
                  <a:pt x="4205996" y="2882271"/>
                </a:lnTo>
                <a:lnTo>
                  <a:pt x="4211096" y="2879348"/>
                </a:lnTo>
                <a:lnTo>
                  <a:pt x="4214244" y="2874043"/>
                </a:lnTo>
                <a:lnTo>
                  <a:pt x="4214244" y="2871986"/>
                </a:lnTo>
                <a:lnTo>
                  <a:pt x="4216088" y="2869278"/>
                </a:lnTo>
                <a:lnTo>
                  <a:pt x="4219778" y="2868087"/>
                </a:lnTo>
                <a:lnTo>
                  <a:pt x="4222599" y="2863756"/>
                </a:lnTo>
                <a:close/>
                <a:moveTo>
                  <a:pt x="6194563" y="2860292"/>
                </a:moveTo>
                <a:lnTo>
                  <a:pt x="6197276" y="2862782"/>
                </a:lnTo>
                <a:lnTo>
                  <a:pt x="6196951" y="2867329"/>
                </a:lnTo>
                <a:lnTo>
                  <a:pt x="6198362" y="2871335"/>
                </a:lnTo>
                <a:lnTo>
                  <a:pt x="6195540" y="2874691"/>
                </a:lnTo>
                <a:cubicBezTo>
                  <a:pt x="6195540" y="2874691"/>
                  <a:pt x="6193696" y="2869820"/>
                  <a:pt x="6193695" y="2869820"/>
                </a:cubicBezTo>
                <a:cubicBezTo>
                  <a:pt x="6192930" y="2869242"/>
                  <a:pt x="6192091" y="2868768"/>
                  <a:pt x="6191200" y="2868412"/>
                </a:cubicBezTo>
                <a:lnTo>
                  <a:pt x="6191200" y="2863648"/>
                </a:lnTo>
                <a:close/>
                <a:moveTo>
                  <a:pt x="6755486" y="2858993"/>
                </a:moveTo>
                <a:lnTo>
                  <a:pt x="6757657" y="2859642"/>
                </a:lnTo>
                <a:lnTo>
                  <a:pt x="6757548" y="2863107"/>
                </a:lnTo>
                <a:lnTo>
                  <a:pt x="6752339" y="2864623"/>
                </a:lnTo>
                <a:lnTo>
                  <a:pt x="6751146" y="2863107"/>
                </a:lnTo>
                <a:close/>
                <a:moveTo>
                  <a:pt x="6749301" y="2858884"/>
                </a:moveTo>
                <a:lnTo>
                  <a:pt x="6749192" y="2860616"/>
                </a:lnTo>
                <a:lnTo>
                  <a:pt x="6746153" y="2862349"/>
                </a:lnTo>
                <a:lnTo>
                  <a:pt x="6743115" y="2862457"/>
                </a:lnTo>
                <a:close/>
                <a:moveTo>
                  <a:pt x="4756718" y="2858884"/>
                </a:moveTo>
                <a:lnTo>
                  <a:pt x="4761384" y="2867112"/>
                </a:lnTo>
                <a:lnTo>
                  <a:pt x="4761385" y="2867112"/>
                </a:lnTo>
                <a:lnTo>
                  <a:pt x="4756718" y="2858884"/>
                </a:lnTo>
                <a:close/>
                <a:moveTo>
                  <a:pt x="6191525" y="2854554"/>
                </a:moveTo>
                <a:lnTo>
                  <a:pt x="6194347" y="2854662"/>
                </a:lnTo>
                <a:lnTo>
                  <a:pt x="6190548" y="2859101"/>
                </a:lnTo>
                <a:lnTo>
                  <a:pt x="6189029" y="2857694"/>
                </a:lnTo>
                <a:close/>
                <a:moveTo>
                  <a:pt x="3644749" y="2853687"/>
                </a:moveTo>
                <a:lnTo>
                  <a:pt x="3647244" y="2854336"/>
                </a:lnTo>
                <a:lnTo>
                  <a:pt x="3649197" y="2856502"/>
                </a:lnTo>
                <a:lnTo>
                  <a:pt x="3649631" y="2859859"/>
                </a:lnTo>
                <a:lnTo>
                  <a:pt x="3647570" y="2859642"/>
                </a:lnTo>
                <a:lnTo>
                  <a:pt x="3644314" y="2857693"/>
                </a:lnTo>
                <a:lnTo>
                  <a:pt x="3643772" y="2855528"/>
                </a:lnTo>
                <a:close/>
                <a:moveTo>
                  <a:pt x="3876756" y="2853471"/>
                </a:moveTo>
                <a:lnTo>
                  <a:pt x="3875739" y="2855502"/>
                </a:lnTo>
                <a:lnTo>
                  <a:pt x="3876756" y="2853471"/>
                </a:lnTo>
                <a:close/>
                <a:moveTo>
                  <a:pt x="6317948" y="2851847"/>
                </a:moveTo>
                <a:lnTo>
                  <a:pt x="6319141" y="2852063"/>
                </a:lnTo>
                <a:lnTo>
                  <a:pt x="6319467" y="2854120"/>
                </a:lnTo>
                <a:lnTo>
                  <a:pt x="6318816" y="2856719"/>
                </a:lnTo>
                <a:close/>
                <a:moveTo>
                  <a:pt x="2228918" y="2851075"/>
                </a:moveTo>
                <a:lnTo>
                  <a:pt x="2227738" y="2853037"/>
                </a:lnTo>
                <a:lnTo>
                  <a:pt x="2228063" y="2856502"/>
                </a:lnTo>
                <a:lnTo>
                  <a:pt x="2233489" y="2860941"/>
                </a:lnTo>
                <a:lnTo>
                  <a:pt x="2236741" y="2862353"/>
                </a:lnTo>
                <a:lnTo>
                  <a:pt x="2233489" y="2860941"/>
                </a:lnTo>
                <a:lnTo>
                  <a:pt x="2228064" y="2856502"/>
                </a:lnTo>
                <a:lnTo>
                  <a:pt x="2227738" y="2853038"/>
                </a:lnTo>
                <a:close/>
                <a:moveTo>
                  <a:pt x="4747602" y="2847299"/>
                </a:moveTo>
                <a:lnTo>
                  <a:pt x="4749881" y="2850222"/>
                </a:lnTo>
                <a:lnTo>
                  <a:pt x="4754222" y="2854444"/>
                </a:lnTo>
                <a:lnTo>
                  <a:pt x="4754981" y="2857801"/>
                </a:lnTo>
                <a:lnTo>
                  <a:pt x="4756451" y="2858717"/>
                </a:lnTo>
                <a:lnTo>
                  <a:pt x="4754982" y="2857801"/>
                </a:lnTo>
                <a:lnTo>
                  <a:pt x="4754223" y="2854445"/>
                </a:lnTo>
                <a:lnTo>
                  <a:pt x="4749882" y="2850222"/>
                </a:lnTo>
                <a:lnTo>
                  <a:pt x="4747603" y="2847299"/>
                </a:lnTo>
                <a:close/>
                <a:moveTo>
                  <a:pt x="4734684" y="2846356"/>
                </a:moveTo>
                <a:lnTo>
                  <a:pt x="4737618" y="2847407"/>
                </a:lnTo>
                <a:lnTo>
                  <a:pt x="4747377" y="2847301"/>
                </a:lnTo>
                <a:lnTo>
                  <a:pt x="4737619" y="2847407"/>
                </a:lnTo>
                <a:close/>
                <a:moveTo>
                  <a:pt x="2516392" y="2844314"/>
                </a:moveTo>
                <a:lnTo>
                  <a:pt x="2515741" y="2844808"/>
                </a:lnTo>
                <a:lnTo>
                  <a:pt x="2512160" y="2844484"/>
                </a:lnTo>
                <a:lnTo>
                  <a:pt x="2515741" y="2844809"/>
                </a:lnTo>
                <a:close/>
                <a:moveTo>
                  <a:pt x="4337627" y="2843834"/>
                </a:moveTo>
                <a:lnTo>
                  <a:pt x="4336433" y="2845026"/>
                </a:lnTo>
                <a:lnTo>
                  <a:pt x="4337627" y="2843835"/>
                </a:lnTo>
                <a:lnTo>
                  <a:pt x="4340122" y="2846109"/>
                </a:lnTo>
                <a:lnTo>
                  <a:pt x="4341750" y="2851631"/>
                </a:lnTo>
                <a:lnTo>
                  <a:pt x="4343811" y="2853688"/>
                </a:lnTo>
                <a:lnTo>
                  <a:pt x="4348261" y="2853038"/>
                </a:lnTo>
                <a:lnTo>
                  <a:pt x="4348261" y="2853037"/>
                </a:lnTo>
                <a:lnTo>
                  <a:pt x="4343813" y="2853687"/>
                </a:lnTo>
                <a:lnTo>
                  <a:pt x="4341751" y="2851630"/>
                </a:lnTo>
                <a:lnTo>
                  <a:pt x="4340123" y="2846108"/>
                </a:lnTo>
                <a:close/>
                <a:moveTo>
                  <a:pt x="4732085" y="2843380"/>
                </a:moveTo>
                <a:lnTo>
                  <a:pt x="4732085" y="2843380"/>
                </a:lnTo>
                <a:lnTo>
                  <a:pt x="4733387" y="2845891"/>
                </a:lnTo>
                <a:close/>
                <a:moveTo>
                  <a:pt x="6185340" y="2842644"/>
                </a:moveTo>
                <a:lnTo>
                  <a:pt x="6187728" y="2847300"/>
                </a:lnTo>
                <a:lnTo>
                  <a:pt x="6185449" y="2848816"/>
                </a:lnTo>
                <a:lnTo>
                  <a:pt x="6182302" y="2846758"/>
                </a:lnTo>
                <a:lnTo>
                  <a:pt x="6181108" y="2843510"/>
                </a:lnTo>
                <a:close/>
                <a:moveTo>
                  <a:pt x="6301236" y="2839936"/>
                </a:moveTo>
                <a:cubicBezTo>
                  <a:pt x="6302175" y="2839881"/>
                  <a:pt x="6303118" y="2839881"/>
                  <a:pt x="6304057" y="2839936"/>
                </a:cubicBezTo>
                <a:lnTo>
                  <a:pt x="6304057" y="2845675"/>
                </a:lnTo>
                <a:lnTo>
                  <a:pt x="6301236" y="2849897"/>
                </a:lnTo>
                <a:lnTo>
                  <a:pt x="6301236" y="2845026"/>
                </a:lnTo>
                <a:lnTo>
                  <a:pt x="6300151" y="2843077"/>
                </a:lnTo>
                <a:close/>
                <a:moveTo>
                  <a:pt x="6750060" y="2838963"/>
                </a:moveTo>
                <a:lnTo>
                  <a:pt x="6751579" y="2840154"/>
                </a:lnTo>
                <a:lnTo>
                  <a:pt x="6750819" y="2842103"/>
                </a:lnTo>
                <a:lnTo>
                  <a:pt x="6750712" y="2848165"/>
                </a:lnTo>
                <a:lnTo>
                  <a:pt x="6748433" y="2848165"/>
                </a:lnTo>
                <a:lnTo>
                  <a:pt x="6745720" y="2843726"/>
                </a:lnTo>
                <a:lnTo>
                  <a:pt x="6745829" y="2840479"/>
                </a:lnTo>
                <a:close/>
                <a:moveTo>
                  <a:pt x="2230568" y="2838199"/>
                </a:moveTo>
                <a:lnTo>
                  <a:pt x="2231536" y="2841886"/>
                </a:lnTo>
                <a:lnTo>
                  <a:pt x="2229040" y="2846974"/>
                </a:lnTo>
                <a:lnTo>
                  <a:pt x="2229366" y="2850330"/>
                </a:lnTo>
                <a:lnTo>
                  <a:pt x="2229041" y="2846974"/>
                </a:lnTo>
                <a:lnTo>
                  <a:pt x="2231536" y="2841885"/>
                </a:lnTo>
                <a:close/>
                <a:moveTo>
                  <a:pt x="4389873" y="2835557"/>
                </a:moveTo>
                <a:lnTo>
                  <a:pt x="4387436" y="2838312"/>
                </a:lnTo>
                <a:lnTo>
                  <a:pt x="4381359" y="2838312"/>
                </a:lnTo>
                <a:lnTo>
                  <a:pt x="4367035" y="2841561"/>
                </a:lnTo>
                <a:lnTo>
                  <a:pt x="4361066" y="2845674"/>
                </a:lnTo>
                <a:lnTo>
                  <a:pt x="4354906" y="2848194"/>
                </a:lnTo>
                <a:lnTo>
                  <a:pt x="4361066" y="2845675"/>
                </a:lnTo>
                <a:lnTo>
                  <a:pt x="4367034" y="2841562"/>
                </a:lnTo>
                <a:lnTo>
                  <a:pt x="4381358" y="2838313"/>
                </a:lnTo>
                <a:lnTo>
                  <a:pt x="4387436" y="2838313"/>
                </a:lnTo>
                <a:close/>
                <a:moveTo>
                  <a:pt x="5856860" y="2834848"/>
                </a:moveTo>
                <a:lnTo>
                  <a:pt x="5856534" y="2835931"/>
                </a:lnTo>
                <a:lnTo>
                  <a:pt x="5855232" y="2836580"/>
                </a:lnTo>
                <a:lnTo>
                  <a:pt x="5856101" y="2840262"/>
                </a:lnTo>
                <a:lnTo>
                  <a:pt x="5853605" y="2845675"/>
                </a:lnTo>
                <a:lnTo>
                  <a:pt x="5854365" y="2840153"/>
                </a:lnTo>
                <a:lnTo>
                  <a:pt x="5854039" y="2836039"/>
                </a:lnTo>
                <a:close/>
                <a:moveTo>
                  <a:pt x="3888801" y="2834415"/>
                </a:moveTo>
                <a:lnTo>
                  <a:pt x="3883919" y="2837447"/>
                </a:lnTo>
                <a:lnTo>
                  <a:pt x="3880664" y="2842226"/>
                </a:lnTo>
                <a:lnTo>
                  <a:pt x="3883919" y="2837447"/>
                </a:lnTo>
                <a:lnTo>
                  <a:pt x="3888801" y="2834416"/>
                </a:lnTo>
                <a:close/>
                <a:moveTo>
                  <a:pt x="6188053" y="2834199"/>
                </a:moveTo>
                <a:lnTo>
                  <a:pt x="6189790" y="2835931"/>
                </a:lnTo>
                <a:lnTo>
                  <a:pt x="6190006" y="2839612"/>
                </a:lnTo>
                <a:lnTo>
                  <a:pt x="6188162" y="2841669"/>
                </a:lnTo>
                <a:lnTo>
                  <a:pt x="6186100" y="2838205"/>
                </a:lnTo>
                <a:close/>
                <a:moveTo>
                  <a:pt x="6756789" y="2833332"/>
                </a:moveTo>
                <a:lnTo>
                  <a:pt x="6757873" y="2836364"/>
                </a:lnTo>
                <a:lnTo>
                  <a:pt x="6755269" y="2835065"/>
                </a:lnTo>
                <a:close/>
                <a:moveTo>
                  <a:pt x="6754401" y="2832683"/>
                </a:moveTo>
                <a:lnTo>
                  <a:pt x="6754076" y="2834631"/>
                </a:lnTo>
                <a:lnTo>
                  <a:pt x="6752014" y="2834955"/>
                </a:lnTo>
                <a:close/>
                <a:moveTo>
                  <a:pt x="4737983" y="2831955"/>
                </a:moveTo>
                <a:lnTo>
                  <a:pt x="4737837" y="2834282"/>
                </a:lnTo>
                <a:lnTo>
                  <a:pt x="4737837" y="2834299"/>
                </a:lnTo>
                <a:lnTo>
                  <a:pt x="4737984" y="2831955"/>
                </a:lnTo>
                <a:close/>
                <a:moveTo>
                  <a:pt x="6175465" y="2831167"/>
                </a:moveTo>
                <a:lnTo>
                  <a:pt x="6178829" y="2832033"/>
                </a:lnTo>
                <a:lnTo>
                  <a:pt x="6180674" y="2838421"/>
                </a:lnTo>
                <a:lnTo>
                  <a:pt x="6176767" y="2834740"/>
                </a:lnTo>
                <a:cubicBezTo>
                  <a:pt x="6176767" y="2834740"/>
                  <a:pt x="6175465" y="2831167"/>
                  <a:pt x="6175465" y="2831167"/>
                </a:cubicBezTo>
                <a:close/>
                <a:moveTo>
                  <a:pt x="4397636" y="2830084"/>
                </a:moveTo>
                <a:lnTo>
                  <a:pt x="4390691" y="2834631"/>
                </a:lnTo>
                <a:lnTo>
                  <a:pt x="4390691" y="2834632"/>
                </a:lnTo>
                <a:lnTo>
                  <a:pt x="4397636" y="2830085"/>
                </a:lnTo>
                <a:close/>
                <a:moveTo>
                  <a:pt x="3714199" y="2826836"/>
                </a:moveTo>
                <a:lnTo>
                  <a:pt x="3703998" y="2830084"/>
                </a:lnTo>
                <a:lnTo>
                  <a:pt x="3701937" y="2829326"/>
                </a:lnTo>
                <a:lnTo>
                  <a:pt x="3696404" y="2831815"/>
                </a:lnTo>
                <a:lnTo>
                  <a:pt x="3696404" y="2831816"/>
                </a:lnTo>
                <a:lnTo>
                  <a:pt x="3701936" y="2829327"/>
                </a:lnTo>
                <a:lnTo>
                  <a:pt x="3703997" y="2830085"/>
                </a:lnTo>
                <a:lnTo>
                  <a:pt x="3714198" y="2826837"/>
                </a:lnTo>
                <a:lnTo>
                  <a:pt x="3718756" y="2828894"/>
                </a:lnTo>
                <a:lnTo>
                  <a:pt x="3721686" y="2834416"/>
                </a:lnTo>
                <a:lnTo>
                  <a:pt x="3726352" y="2836906"/>
                </a:lnTo>
                <a:lnTo>
                  <a:pt x="3725809" y="2846326"/>
                </a:lnTo>
                <a:lnTo>
                  <a:pt x="3724941" y="2851414"/>
                </a:lnTo>
                <a:lnTo>
                  <a:pt x="3731127" y="2858452"/>
                </a:lnTo>
                <a:lnTo>
                  <a:pt x="3733840" y="2857585"/>
                </a:lnTo>
                <a:lnTo>
                  <a:pt x="3741002" y="2852281"/>
                </a:lnTo>
                <a:lnTo>
                  <a:pt x="3743606" y="2853038"/>
                </a:lnTo>
                <a:lnTo>
                  <a:pt x="3747187" y="2856395"/>
                </a:lnTo>
                <a:lnTo>
                  <a:pt x="3748327" y="2858875"/>
                </a:lnTo>
                <a:lnTo>
                  <a:pt x="3748327" y="2858874"/>
                </a:lnTo>
                <a:lnTo>
                  <a:pt x="3748327" y="2858873"/>
                </a:lnTo>
                <a:lnTo>
                  <a:pt x="3748598" y="2858234"/>
                </a:lnTo>
                <a:lnTo>
                  <a:pt x="3752722" y="2856936"/>
                </a:lnTo>
                <a:lnTo>
                  <a:pt x="3759233" y="2842860"/>
                </a:lnTo>
                <a:lnTo>
                  <a:pt x="3752722" y="2856935"/>
                </a:lnTo>
                <a:lnTo>
                  <a:pt x="3748598" y="2858234"/>
                </a:lnTo>
                <a:lnTo>
                  <a:pt x="3748327" y="2858873"/>
                </a:lnTo>
                <a:lnTo>
                  <a:pt x="3747188" y="2856393"/>
                </a:lnTo>
                <a:lnTo>
                  <a:pt x="3743607" y="2853037"/>
                </a:lnTo>
                <a:lnTo>
                  <a:pt x="3741002" y="2852279"/>
                </a:lnTo>
                <a:lnTo>
                  <a:pt x="3733840" y="2857585"/>
                </a:lnTo>
                <a:lnTo>
                  <a:pt x="3731127" y="2858451"/>
                </a:lnTo>
                <a:lnTo>
                  <a:pt x="3724942" y="2851413"/>
                </a:lnTo>
                <a:lnTo>
                  <a:pt x="3725810" y="2846325"/>
                </a:lnTo>
                <a:lnTo>
                  <a:pt x="3726353" y="2836905"/>
                </a:lnTo>
                <a:lnTo>
                  <a:pt x="3721686" y="2834415"/>
                </a:lnTo>
                <a:lnTo>
                  <a:pt x="3718756" y="2828893"/>
                </a:lnTo>
                <a:close/>
                <a:moveTo>
                  <a:pt x="4509042" y="2824129"/>
                </a:moveTo>
                <a:lnTo>
                  <a:pt x="4508215" y="2825212"/>
                </a:lnTo>
                <a:lnTo>
                  <a:pt x="4508042" y="2825209"/>
                </a:lnTo>
                <a:lnTo>
                  <a:pt x="4508041" y="2825210"/>
                </a:lnTo>
                <a:lnTo>
                  <a:pt x="4508214" y="2825213"/>
                </a:lnTo>
                <a:lnTo>
                  <a:pt x="4509042" y="2824129"/>
                </a:lnTo>
                <a:close/>
                <a:moveTo>
                  <a:pt x="3760969" y="2823155"/>
                </a:moveTo>
                <a:lnTo>
                  <a:pt x="3760535" y="2826402"/>
                </a:lnTo>
                <a:lnTo>
                  <a:pt x="3756629" y="2825970"/>
                </a:lnTo>
                <a:lnTo>
                  <a:pt x="3753590" y="2827594"/>
                </a:lnTo>
                <a:lnTo>
                  <a:pt x="3753590" y="2830734"/>
                </a:lnTo>
                <a:lnTo>
                  <a:pt x="3755203" y="2832493"/>
                </a:lnTo>
                <a:lnTo>
                  <a:pt x="3753590" y="2830734"/>
                </a:lnTo>
                <a:lnTo>
                  <a:pt x="3753590" y="2827594"/>
                </a:lnTo>
                <a:lnTo>
                  <a:pt x="3756629" y="2825970"/>
                </a:lnTo>
                <a:lnTo>
                  <a:pt x="3760536" y="2826403"/>
                </a:lnTo>
                <a:close/>
                <a:moveTo>
                  <a:pt x="1983358" y="2822938"/>
                </a:moveTo>
                <a:lnTo>
                  <a:pt x="1979560" y="2825861"/>
                </a:lnTo>
                <a:lnTo>
                  <a:pt x="1979560" y="2825862"/>
                </a:lnTo>
                <a:lnTo>
                  <a:pt x="1983358" y="2822938"/>
                </a:lnTo>
                <a:close/>
                <a:moveTo>
                  <a:pt x="4294397" y="2822127"/>
                </a:moveTo>
                <a:lnTo>
                  <a:pt x="4301925" y="2830409"/>
                </a:lnTo>
                <a:lnTo>
                  <a:pt x="4305614" y="2833549"/>
                </a:lnTo>
                <a:lnTo>
                  <a:pt x="4309196" y="2839612"/>
                </a:lnTo>
                <a:lnTo>
                  <a:pt x="4313319" y="2846000"/>
                </a:lnTo>
                <a:lnTo>
                  <a:pt x="4313427" y="2850114"/>
                </a:lnTo>
                <a:lnTo>
                  <a:pt x="4313427" y="2850115"/>
                </a:lnTo>
                <a:lnTo>
                  <a:pt x="4316032" y="2853038"/>
                </a:lnTo>
                <a:lnTo>
                  <a:pt x="4317008" y="2857802"/>
                </a:lnTo>
                <a:lnTo>
                  <a:pt x="4321566" y="2857802"/>
                </a:lnTo>
                <a:lnTo>
                  <a:pt x="4325473" y="2856936"/>
                </a:lnTo>
                <a:lnTo>
                  <a:pt x="4331875" y="2856719"/>
                </a:lnTo>
                <a:lnTo>
                  <a:pt x="4332058" y="2856386"/>
                </a:lnTo>
                <a:lnTo>
                  <a:pt x="4331875" y="2856718"/>
                </a:lnTo>
                <a:lnTo>
                  <a:pt x="4325473" y="2856935"/>
                </a:lnTo>
                <a:lnTo>
                  <a:pt x="4321566" y="2857801"/>
                </a:lnTo>
                <a:lnTo>
                  <a:pt x="4317008" y="2857801"/>
                </a:lnTo>
                <a:lnTo>
                  <a:pt x="4316032" y="2853037"/>
                </a:lnTo>
                <a:lnTo>
                  <a:pt x="4313427" y="2850114"/>
                </a:lnTo>
                <a:lnTo>
                  <a:pt x="4313319" y="2845999"/>
                </a:lnTo>
                <a:lnTo>
                  <a:pt x="4309196" y="2839611"/>
                </a:lnTo>
                <a:lnTo>
                  <a:pt x="4305614" y="2833548"/>
                </a:lnTo>
                <a:lnTo>
                  <a:pt x="4301925" y="2830409"/>
                </a:lnTo>
                <a:close/>
                <a:moveTo>
                  <a:pt x="3959230" y="2819366"/>
                </a:moveTo>
                <a:lnTo>
                  <a:pt x="3961508" y="2821206"/>
                </a:lnTo>
                <a:lnTo>
                  <a:pt x="3961508" y="2821206"/>
                </a:lnTo>
                <a:close/>
                <a:moveTo>
                  <a:pt x="3888801" y="2818391"/>
                </a:moveTo>
                <a:lnTo>
                  <a:pt x="3890863" y="2824346"/>
                </a:lnTo>
                <a:lnTo>
                  <a:pt x="3888801" y="2829652"/>
                </a:lnTo>
                <a:lnTo>
                  <a:pt x="3890864" y="2824346"/>
                </a:lnTo>
                <a:close/>
                <a:moveTo>
                  <a:pt x="3693256" y="2814927"/>
                </a:moveTo>
                <a:lnTo>
                  <a:pt x="3697813" y="2819257"/>
                </a:lnTo>
                <a:lnTo>
                  <a:pt x="3697813" y="2819257"/>
                </a:lnTo>
                <a:close/>
                <a:moveTo>
                  <a:pt x="4498837" y="2814233"/>
                </a:moveTo>
                <a:lnTo>
                  <a:pt x="4498556" y="2815035"/>
                </a:lnTo>
                <a:lnTo>
                  <a:pt x="4498773" y="2822289"/>
                </a:lnTo>
                <a:lnTo>
                  <a:pt x="4499317" y="2822744"/>
                </a:lnTo>
                <a:lnTo>
                  <a:pt x="4499317" y="2822743"/>
                </a:lnTo>
                <a:lnTo>
                  <a:pt x="4498774" y="2822289"/>
                </a:lnTo>
                <a:lnTo>
                  <a:pt x="4498557" y="2815034"/>
                </a:lnTo>
                <a:close/>
                <a:moveTo>
                  <a:pt x="4432121" y="2813929"/>
                </a:moveTo>
                <a:lnTo>
                  <a:pt x="4428672" y="2816550"/>
                </a:lnTo>
                <a:lnTo>
                  <a:pt x="4419666" y="2817741"/>
                </a:lnTo>
                <a:lnTo>
                  <a:pt x="4413046" y="2818607"/>
                </a:lnTo>
                <a:lnTo>
                  <a:pt x="4406752" y="2817741"/>
                </a:lnTo>
                <a:lnTo>
                  <a:pt x="4402846" y="2816117"/>
                </a:lnTo>
                <a:lnTo>
                  <a:pt x="4397420" y="2816766"/>
                </a:lnTo>
                <a:lnTo>
                  <a:pt x="4393730" y="2815901"/>
                </a:lnTo>
                <a:lnTo>
                  <a:pt x="4390474" y="2817958"/>
                </a:lnTo>
                <a:lnTo>
                  <a:pt x="4393729" y="2815901"/>
                </a:lnTo>
                <a:lnTo>
                  <a:pt x="4397419" y="2816767"/>
                </a:lnTo>
                <a:lnTo>
                  <a:pt x="4402845" y="2816118"/>
                </a:lnTo>
                <a:lnTo>
                  <a:pt x="4406751" y="2817742"/>
                </a:lnTo>
                <a:lnTo>
                  <a:pt x="4413045" y="2818608"/>
                </a:lnTo>
                <a:lnTo>
                  <a:pt x="4419665" y="2817742"/>
                </a:lnTo>
                <a:lnTo>
                  <a:pt x="4428672" y="2816551"/>
                </a:lnTo>
                <a:close/>
                <a:moveTo>
                  <a:pt x="2214499" y="2813627"/>
                </a:moveTo>
                <a:lnTo>
                  <a:pt x="2216561" y="2813735"/>
                </a:lnTo>
                <a:lnTo>
                  <a:pt x="2220967" y="2821769"/>
                </a:lnTo>
                <a:lnTo>
                  <a:pt x="2216561" y="2813735"/>
                </a:lnTo>
                <a:close/>
                <a:moveTo>
                  <a:pt x="4758564" y="2813154"/>
                </a:moveTo>
                <a:lnTo>
                  <a:pt x="4758564" y="2813167"/>
                </a:lnTo>
                <a:lnTo>
                  <a:pt x="4758780" y="2816875"/>
                </a:lnTo>
                <a:lnTo>
                  <a:pt x="4757912" y="2828135"/>
                </a:lnTo>
                <a:lnTo>
                  <a:pt x="4757727" y="2828281"/>
                </a:lnTo>
                <a:lnTo>
                  <a:pt x="4757727" y="2828281"/>
                </a:lnTo>
                <a:lnTo>
                  <a:pt x="4757913" y="2828135"/>
                </a:lnTo>
                <a:lnTo>
                  <a:pt x="4758781" y="2816875"/>
                </a:lnTo>
                <a:close/>
                <a:moveTo>
                  <a:pt x="4018846" y="2812703"/>
                </a:moveTo>
                <a:lnTo>
                  <a:pt x="4018479" y="2812761"/>
                </a:lnTo>
                <a:lnTo>
                  <a:pt x="4017249" y="2813252"/>
                </a:lnTo>
                <a:lnTo>
                  <a:pt x="4018480" y="2812761"/>
                </a:lnTo>
                <a:close/>
                <a:moveTo>
                  <a:pt x="4246167" y="2812382"/>
                </a:moveTo>
                <a:lnTo>
                  <a:pt x="4246906" y="2817958"/>
                </a:lnTo>
                <a:lnTo>
                  <a:pt x="4245062" y="2821422"/>
                </a:lnTo>
                <a:lnTo>
                  <a:pt x="4244628" y="2826403"/>
                </a:lnTo>
                <a:lnTo>
                  <a:pt x="4239745" y="2829651"/>
                </a:lnTo>
                <a:lnTo>
                  <a:pt x="4233559" y="2836255"/>
                </a:lnTo>
                <a:lnTo>
                  <a:pt x="4231280" y="2839937"/>
                </a:lnTo>
                <a:lnTo>
                  <a:pt x="4232474" y="2843402"/>
                </a:lnTo>
                <a:lnTo>
                  <a:pt x="4231497" y="2847299"/>
                </a:lnTo>
                <a:lnTo>
                  <a:pt x="4224118" y="2854553"/>
                </a:lnTo>
                <a:lnTo>
                  <a:pt x="4222273" y="2860400"/>
                </a:lnTo>
                <a:lnTo>
                  <a:pt x="4222273" y="2860401"/>
                </a:lnTo>
                <a:lnTo>
                  <a:pt x="4224119" y="2854554"/>
                </a:lnTo>
                <a:lnTo>
                  <a:pt x="4231498" y="2847299"/>
                </a:lnTo>
                <a:lnTo>
                  <a:pt x="4232474" y="2843402"/>
                </a:lnTo>
                <a:lnTo>
                  <a:pt x="4231281" y="2839937"/>
                </a:lnTo>
                <a:lnTo>
                  <a:pt x="4233559" y="2836256"/>
                </a:lnTo>
                <a:lnTo>
                  <a:pt x="4239745" y="2829652"/>
                </a:lnTo>
                <a:lnTo>
                  <a:pt x="4244628" y="2826403"/>
                </a:lnTo>
                <a:lnTo>
                  <a:pt x="4245062" y="2821423"/>
                </a:lnTo>
                <a:lnTo>
                  <a:pt x="4246907" y="2817958"/>
                </a:lnTo>
                <a:close/>
                <a:moveTo>
                  <a:pt x="6169714" y="2812220"/>
                </a:moveTo>
                <a:lnTo>
                  <a:pt x="6168194" y="2815143"/>
                </a:lnTo>
                <a:lnTo>
                  <a:pt x="6165265" y="2813627"/>
                </a:lnTo>
                <a:close/>
                <a:moveTo>
                  <a:pt x="4280439" y="2812003"/>
                </a:moveTo>
                <a:lnTo>
                  <a:pt x="4280439" y="2812003"/>
                </a:lnTo>
                <a:lnTo>
                  <a:pt x="4283060" y="2812966"/>
                </a:lnTo>
                <a:close/>
                <a:moveTo>
                  <a:pt x="1981297" y="2810919"/>
                </a:moveTo>
                <a:lnTo>
                  <a:pt x="1978367" y="2814168"/>
                </a:lnTo>
                <a:lnTo>
                  <a:pt x="1978367" y="2814168"/>
                </a:lnTo>
                <a:lnTo>
                  <a:pt x="1981297" y="2810920"/>
                </a:lnTo>
                <a:close/>
                <a:moveTo>
                  <a:pt x="6909256" y="2808430"/>
                </a:moveTo>
                <a:lnTo>
                  <a:pt x="6910776" y="2809620"/>
                </a:lnTo>
                <a:lnTo>
                  <a:pt x="6910341" y="2812436"/>
                </a:lnTo>
                <a:lnTo>
                  <a:pt x="6906543" y="2813951"/>
                </a:lnTo>
                <a:lnTo>
                  <a:pt x="6903504" y="2811677"/>
                </a:lnTo>
                <a:lnTo>
                  <a:pt x="6904915" y="2808971"/>
                </a:lnTo>
                <a:close/>
                <a:moveTo>
                  <a:pt x="4277401" y="2807564"/>
                </a:moveTo>
                <a:lnTo>
                  <a:pt x="4279787" y="2809405"/>
                </a:lnTo>
                <a:lnTo>
                  <a:pt x="4280184" y="2810987"/>
                </a:lnTo>
                <a:lnTo>
                  <a:pt x="4279788" y="2809404"/>
                </a:lnTo>
                <a:close/>
                <a:moveTo>
                  <a:pt x="5864348" y="2806914"/>
                </a:moveTo>
                <a:lnTo>
                  <a:pt x="5869666" y="2808321"/>
                </a:lnTo>
                <a:lnTo>
                  <a:pt x="5869231" y="2810161"/>
                </a:lnTo>
                <a:lnTo>
                  <a:pt x="5872379" y="2811245"/>
                </a:lnTo>
                <a:lnTo>
                  <a:pt x="5873573" y="2809620"/>
                </a:lnTo>
                <a:lnTo>
                  <a:pt x="5880517" y="2812111"/>
                </a:lnTo>
                <a:lnTo>
                  <a:pt x="5880517" y="2814818"/>
                </a:lnTo>
                <a:lnTo>
                  <a:pt x="5881929" y="2816658"/>
                </a:lnTo>
                <a:lnTo>
                  <a:pt x="5883339" y="2821206"/>
                </a:lnTo>
                <a:lnTo>
                  <a:pt x="5885726" y="2820989"/>
                </a:lnTo>
                <a:lnTo>
                  <a:pt x="5888764" y="2826619"/>
                </a:lnTo>
                <a:lnTo>
                  <a:pt x="5890826" y="2827485"/>
                </a:lnTo>
                <a:lnTo>
                  <a:pt x="5891477" y="2829651"/>
                </a:lnTo>
                <a:lnTo>
                  <a:pt x="5886811" y="2832141"/>
                </a:lnTo>
                <a:lnTo>
                  <a:pt x="5890393" y="2832574"/>
                </a:lnTo>
                <a:lnTo>
                  <a:pt x="5890610" y="2833440"/>
                </a:lnTo>
                <a:lnTo>
                  <a:pt x="5894733" y="2832899"/>
                </a:lnTo>
                <a:lnTo>
                  <a:pt x="5897880" y="2840261"/>
                </a:lnTo>
                <a:lnTo>
                  <a:pt x="5901786" y="2850981"/>
                </a:lnTo>
                <a:lnTo>
                  <a:pt x="5905368" y="2854012"/>
                </a:lnTo>
                <a:lnTo>
                  <a:pt x="5904174" y="2857693"/>
                </a:lnTo>
                <a:lnTo>
                  <a:pt x="5906128" y="2860616"/>
                </a:lnTo>
                <a:lnTo>
                  <a:pt x="5906345" y="2867113"/>
                </a:lnTo>
                <a:lnTo>
                  <a:pt x="5905259" y="2868412"/>
                </a:lnTo>
                <a:lnTo>
                  <a:pt x="5905693" y="2872418"/>
                </a:lnTo>
                <a:lnTo>
                  <a:pt x="5904065" y="2876641"/>
                </a:lnTo>
                <a:lnTo>
                  <a:pt x="5900702" y="2883462"/>
                </a:lnTo>
                <a:lnTo>
                  <a:pt x="5892997" y="2891474"/>
                </a:lnTo>
                <a:lnTo>
                  <a:pt x="5885401" y="2893748"/>
                </a:lnTo>
                <a:lnTo>
                  <a:pt x="5877262" y="2894830"/>
                </a:lnTo>
                <a:lnTo>
                  <a:pt x="5872487" y="2896021"/>
                </a:lnTo>
                <a:lnTo>
                  <a:pt x="5866845" y="2892990"/>
                </a:lnTo>
                <a:lnTo>
                  <a:pt x="5863480" y="2887359"/>
                </a:lnTo>
                <a:lnTo>
                  <a:pt x="5859682" y="2874583"/>
                </a:lnTo>
                <a:lnTo>
                  <a:pt x="5856535" y="2863323"/>
                </a:lnTo>
                <a:lnTo>
                  <a:pt x="5857404" y="2859967"/>
                </a:lnTo>
                <a:lnTo>
                  <a:pt x="5855233" y="2850981"/>
                </a:lnTo>
                <a:lnTo>
                  <a:pt x="5856427" y="2849681"/>
                </a:lnTo>
                <a:lnTo>
                  <a:pt x="5855884" y="2846650"/>
                </a:lnTo>
                <a:lnTo>
                  <a:pt x="5857404" y="2835930"/>
                </a:lnTo>
                <a:lnTo>
                  <a:pt x="5859031" y="2833549"/>
                </a:lnTo>
                <a:lnTo>
                  <a:pt x="5858922" y="2827161"/>
                </a:lnTo>
                <a:lnTo>
                  <a:pt x="5856969" y="2822613"/>
                </a:lnTo>
                <a:lnTo>
                  <a:pt x="5857946" y="2821422"/>
                </a:lnTo>
                <a:lnTo>
                  <a:pt x="5856427" y="2819257"/>
                </a:lnTo>
                <a:lnTo>
                  <a:pt x="5853931" y="2818065"/>
                </a:lnTo>
                <a:lnTo>
                  <a:pt x="5853931" y="2816875"/>
                </a:lnTo>
                <a:lnTo>
                  <a:pt x="5856969" y="2817200"/>
                </a:lnTo>
                <a:lnTo>
                  <a:pt x="5859466" y="2819581"/>
                </a:lnTo>
                <a:lnTo>
                  <a:pt x="5860876" y="2820231"/>
                </a:lnTo>
                <a:lnTo>
                  <a:pt x="5863372" y="2815900"/>
                </a:lnTo>
                <a:lnTo>
                  <a:pt x="5863589" y="2812652"/>
                </a:lnTo>
                <a:lnTo>
                  <a:pt x="5863046" y="2811028"/>
                </a:lnTo>
                <a:lnTo>
                  <a:pt x="5864456" y="2810812"/>
                </a:lnTo>
                <a:lnTo>
                  <a:pt x="5865108" y="2809837"/>
                </a:lnTo>
                <a:lnTo>
                  <a:pt x="5864240" y="2808213"/>
                </a:lnTo>
                <a:close/>
                <a:moveTo>
                  <a:pt x="6932368" y="2806157"/>
                </a:moveTo>
                <a:lnTo>
                  <a:pt x="6936599" y="2809621"/>
                </a:lnTo>
                <a:lnTo>
                  <a:pt x="6935948" y="2813735"/>
                </a:lnTo>
                <a:lnTo>
                  <a:pt x="6932477" y="2811462"/>
                </a:lnTo>
                <a:lnTo>
                  <a:pt x="6931500" y="2808538"/>
                </a:lnTo>
                <a:close/>
                <a:moveTo>
                  <a:pt x="4502418" y="2805630"/>
                </a:moveTo>
                <a:lnTo>
                  <a:pt x="4501812" y="2808213"/>
                </a:lnTo>
                <a:lnTo>
                  <a:pt x="4501812" y="2808213"/>
                </a:lnTo>
                <a:close/>
                <a:moveTo>
                  <a:pt x="4276423" y="2804965"/>
                </a:moveTo>
                <a:lnTo>
                  <a:pt x="4276423" y="2804966"/>
                </a:lnTo>
                <a:lnTo>
                  <a:pt x="4276980" y="2806446"/>
                </a:lnTo>
                <a:close/>
                <a:moveTo>
                  <a:pt x="3957992" y="2802663"/>
                </a:moveTo>
                <a:lnTo>
                  <a:pt x="3959013" y="2803450"/>
                </a:lnTo>
                <a:lnTo>
                  <a:pt x="3961073" y="2804208"/>
                </a:lnTo>
                <a:lnTo>
                  <a:pt x="3959012" y="2803449"/>
                </a:lnTo>
                <a:close/>
                <a:moveTo>
                  <a:pt x="4027684" y="2802417"/>
                </a:moveTo>
                <a:lnTo>
                  <a:pt x="4025532" y="2806157"/>
                </a:lnTo>
                <a:lnTo>
                  <a:pt x="4024398" y="2808539"/>
                </a:lnTo>
                <a:lnTo>
                  <a:pt x="4025533" y="2806156"/>
                </a:lnTo>
                <a:close/>
                <a:moveTo>
                  <a:pt x="3984441" y="2802162"/>
                </a:moveTo>
                <a:lnTo>
                  <a:pt x="3985923" y="2809404"/>
                </a:lnTo>
                <a:lnTo>
                  <a:pt x="3985707" y="2816118"/>
                </a:lnTo>
                <a:lnTo>
                  <a:pt x="3985924" y="2809405"/>
                </a:lnTo>
                <a:close/>
                <a:moveTo>
                  <a:pt x="6341930" y="2801176"/>
                </a:moveTo>
                <a:lnTo>
                  <a:pt x="6343342" y="2804641"/>
                </a:lnTo>
                <a:lnTo>
                  <a:pt x="6342365" y="2809405"/>
                </a:lnTo>
                <a:lnTo>
                  <a:pt x="6338892" y="2806481"/>
                </a:lnTo>
                <a:lnTo>
                  <a:pt x="6338566" y="2803341"/>
                </a:lnTo>
                <a:close/>
                <a:moveTo>
                  <a:pt x="5868255" y="2799877"/>
                </a:moveTo>
                <a:lnTo>
                  <a:pt x="5871727" y="2800743"/>
                </a:lnTo>
                <a:lnTo>
                  <a:pt x="5872595" y="2804316"/>
                </a:lnTo>
                <a:lnTo>
                  <a:pt x="5878130" y="2807780"/>
                </a:lnTo>
                <a:lnTo>
                  <a:pt x="5879107" y="2810054"/>
                </a:lnTo>
                <a:lnTo>
                  <a:pt x="5876719" y="2808213"/>
                </a:lnTo>
                <a:lnTo>
                  <a:pt x="5872812" y="2808321"/>
                </a:lnTo>
                <a:lnTo>
                  <a:pt x="5870641" y="2806373"/>
                </a:lnTo>
                <a:lnTo>
                  <a:pt x="5865758" y="2804316"/>
                </a:lnTo>
                <a:lnTo>
                  <a:pt x="5866084" y="2802583"/>
                </a:lnTo>
                <a:lnTo>
                  <a:pt x="5868797" y="2802258"/>
                </a:lnTo>
                <a:lnTo>
                  <a:pt x="5867386" y="2801393"/>
                </a:lnTo>
                <a:close/>
                <a:moveTo>
                  <a:pt x="3885112" y="2798469"/>
                </a:moveTo>
                <a:lnTo>
                  <a:pt x="3883267" y="2806048"/>
                </a:lnTo>
                <a:lnTo>
                  <a:pt x="3883268" y="2806049"/>
                </a:lnTo>
                <a:lnTo>
                  <a:pt x="3885112" y="2798470"/>
                </a:lnTo>
                <a:close/>
                <a:moveTo>
                  <a:pt x="5864347" y="2797928"/>
                </a:moveTo>
                <a:lnTo>
                  <a:pt x="5865542" y="2798794"/>
                </a:lnTo>
                <a:lnTo>
                  <a:pt x="5863805" y="2802908"/>
                </a:lnTo>
                <a:lnTo>
                  <a:pt x="5862394" y="2803233"/>
                </a:lnTo>
                <a:lnTo>
                  <a:pt x="5862829" y="2805290"/>
                </a:lnTo>
                <a:lnTo>
                  <a:pt x="5856644" y="2801284"/>
                </a:lnTo>
                <a:lnTo>
                  <a:pt x="5856535" y="2798361"/>
                </a:lnTo>
                <a:close/>
                <a:moveTo>
                  <a:pt x="4441911" y="2797711"/>
                </a:moveTo>
                <a:lnTo>
                  <a:pt x="4438439" y="2800093"/>
                </a:lnTo>
                <a:lnTo>
                  <a:pt x="4438439" y="2800094"/>
                </a:lnTo>
                <a:lnTo>
                  <a:pt x="4441911" y="2797712"/>
                </a:lnTo>
                <a:close/>
                <a:moveTo>
                  <a:pt x="6963621" y="2797386"/>
                </a:moveTo>
                <a:lnTo>
                  <a:pt x="6966008" y="2799443"/>
                </a:lnTo>
                <a:lnTo>
                  <a:pt x="6965140" y="2802366"/>
                </a:lnTo>
                <a:lnTo>
                  <a:pt x="6963078" y="2800092"/>
                </a:lnTo>
                <a:close/>
                <a:moveTo>
                  <a:pt x="2214120" y="2796423"/>
                </a:moveTo>
                <a:lnTo>
                  <a:pt x="2213522" y="2803774"/>
                </a:lnTo>
                <a:lnTo>
                  <a:pt x="2209941" y="2811462"/>
                </a:lnTo>
                <a:lnTo>
                  <a:pt x="2209398" y="2813843"/>
                </a:lnTo>
                <a:lnTo>
                  <a:pt x="2209399" y="2813843"/>
                </a:lnTo>
                <a:lnTo>
                  <a:pt x="2209941" y="2811461"/>
                </a:lnTo>
                <a:lnTo>
                  <a:pt x="2213522" y="2803774"/>
                </a:lnTo>
                <a:close/>
                <a:moveTo>
                  <a:pt x="6950708" y="2796304"/>
                </a:moveTo>
                <a:lnTo>
                  <a:pt x="6954507" y="2797170"/>
                </a:lnTo>
                <a:lnTo>
                  <a:pt x="6956026" y="2796737"/>
                </a:lnTo>
                <a:lnTo>
                  <a:pt x="6957002" y="2800743"/>
                </a:lnTo>
                <a:lnTo>
                  <a:pt x="6963622" y="2806048"/>
                </a:lnTo>
                <a:lnTo>
                  <a:pt x="6968288" y="2810704"/>
                </a:lnTo>
                <a:lnTo>
                  <a:pt x="6971327" y="2807997"/>
                </a:lnTo>
                <a:lnTo>
                  <a:pt x="6971218" y="2811570"/>
                </a:lnTo>
                <a:lnTo>
                  <a:pt x="6974582" y="2816659"/>
                </a:lnTo>
                <a:lnTo>
                  <a:pt x="6974582" y="2822722"/>
                </a:lnTo>
                <a:lnTo>
                  <a:pt x="6971327" y="2822181"/>
                </a:lnTo>
                <a:lnTo>
                  <a:pt x="6970675" y="2824779"/>
                </a:lnTo>
                <a:lnTo>
                  <a:pt x="6973388" y="2828244"/>
                </a:lnTo>
                <a:lnTo>
                  <a:pt x="6975341" y="2828460"/>
                </a:lnTo>
                <a:lnTo>
                  <a:pt x="6975016" y="2831275"/>
                </a:lnTo>
                <a:lnTo>
                  <a:pt x="6975125" y="2837013"/>
                </a:lnTo>
                <a:lnTo>
                  <a:pt x="6976861" y="2834199"/>
                </a:lnTo>
                <a:lnTo>
                  <a:pt x="6977620" y="2839720"/>
                </a:lnTo>
                <a:lnTo>
                  <a:pt x="6977620" y="2845026"/>
                </a:lnTo>
                <a:lnTo>
                  <a:pt x="6980116" y="2849032"/>
                </a:lnTo>
                <a:lnTo>
                  <a:pt x="6982938" y="2853579"/>
                </a:lnTo>
                <a:lnTo>
                  <a:pt x="6983806" y="2861266"/>
                </a:lnTo>
                <a:lnTo>
                  <a:pt x="6981310" y="2867654"/>
                </a:lnTo>
                <a:lnTo>
                  <a:pt x="6979356" y="2867438"/>
                </a:lnTo>
                <a:lnTo>
                  <a:pt x="6979465" y="2870361"/>
                </a:lnTo>
                <a:lnTo>
                  <a:pt x="6977838" y="2867221"/>
                </a:lnTo>
                <a:lnTo>
                  <a:pt x="6975125" y="2867654"/>
                </a:lnTo>
                <a:lnTo>
                  <a:pt x="6974257" y="2870578"/>
                </a:lnTo>
                <a:lnTo>
                  <a:pt x="6975993" y="2877507"/>
                </a:lnTo>
                <a:lnTo>
                  <a:pt x="6975450" y="2882812"/>
                </a:lnTo>
                <a:lnTo>
                  <a:pt x="6975341" y="2886168"/>
                </a:lnTo>
                <a:lnTo>
                  <a:pt x="6973714" y="2882812"/>
                </a:lnTo>
                <a:lnTo>
                  <a:pt x="6971544" y="2875666"/>
                </a:lnTo>
                <a:lnTo>
                  <a:pt x="6971761" y="2871335"/>
                </a:lnTo>
                <a:lnTo>
                  <a:pt x="6969482" y="2867654"/>
                </a:lnTo>
                <a:lnTo>
                  <a:pt x="6968288" y="2862999"/>
                </a:lnTo>
                <a:lnTo>
                  <a:pt x="6964925" y="2858234"/>
                </a:lnTo>
                <a:lnTo>
                  <a:pt x="6961777" y="2860076"/>
                </a:lnTo>
                <a:lnTo>
                  <a:pt x="6955917" y="2870361"/>
                </a:lnTo>
                <a:lnTo>
                  <a:pt x="6954940" y="2874150"/>
                </a:lnTo>
                <a:lnTo>
                  <a:pt x="6959064" y="2877290"/>
                </a:lnTo>
                <a:lnTo>
                  <a:pt x="6961669" y="2883570"/>
                </a:lnTo>
                <a:lnTo>
                  <a:pt x="6963839" y="2886601"/>
                </a:lnTo>
                <a:lnTo>
                  <a:pt x="6963622" y="2891474"/>
                </a:lnTo>
                <a:lnTo>
                  <a:pt x="6957002" y="2899919"/>
                </a:lnTo>
                <a:lnTo>
                  <a:pt x="6953638" y="2902409"/>
                </a:lnTo>
                <a:lnTo>
                  <a:pt x="6952119" y="2900461"/>
                </a:lnTo>
                <a:lnTo>
                  <a:pt x="6950600" y="2896021"/>
                </a:lnTo>
                <a:lnTo>
                  <a:pt x="6952336" y="2893314"/>
                </a:lnTo>
                <a:lnTo>
                  <a:pt x="6950817" y="2891365"/>
                </a:lnTo>
                <a:lnTo>
                  <a:pt x="6948321" y="2893098"/>
                </a:lnTo>
                <a:lnTo>
                  <a:pt x="6947778" y="2895696"/>
                </a:lnTo>
                <a:lnTo>
                  <a:pt x="6943872" y="2897970"/>
                </a:lnTo>
                <a:lnTo>
                  <a:pt x="6938880" y="2895913"/>
                </a:lnTo>
                <a:lnTo>
                  <a:pt x="6934756" y="2892123"/>
                </a:lnTo>
                <a:lnTo>
                  <a:pt x="6929439" y="2892123"/>
                </a:lnTo>
                <a:lnTo>
                  <a:pt x="6924881" y="2886927"/>
                </a:lnTo>
                <a:lnTo>
                  <a:pt x="6924122" y="2882920"/>
                </a:lnTo>
                <a:lnTo>
                  <a:pt x="6920757" y="2878481"/>
                </a:lnTo>
                <a:lnTo>
                  <a:pt x="6921843" y="2875450"/>
                </a:lnTo>
                <a:lnTo>
                  <a:pt x="6921300" y="2871768"/>
                </a:lnTo>
                <a:lnTo>
                  <a:pt x="6919021" y="2869062"/>
                </a:lnTo>
                <a:lnTo>
                  <a:pt x="6921191" y="2866354"/>
                </a:lnTo>
                <a:lnTo>
                  <a:pt x="6920975" y="2863865"/>
                </a:lnTo>
                <a:lnTo>
                  <a:pt x="6922820" y="2862890"/>
                </a:lnTo>
                <a:lnTo>
                  <a:pt x="6927052" y="2864406"/>
                </a:lnTo>
                <a:lnTo>
                  <a:pt x="6923253" y="2860725"/>
                </a:lnTo>
                <a:lnTo>
                  <a:pt x="6922277" y="2856719"/>
                </a:lnTo>
                <a:lnTo>
                  <a:pt x="6917718" y="2852929"/>
                </a:lnTo>
                <a:lnTo>
                  <a:pt x="6913704" y="2852172"/>
                </a:lnTo>
                <a:lnTo>
                  <a:pt x="6909146" y="2848166"/>
                </a:lnTo>
                <a:lnTo>
                  <a:pt x="6906976" y="2848057"/>
                </a:lnTo>
                <a:lnTo>
                  <a:pt x="6905023" y="2850114"/>
                </a:lnTo>
                <a:lnTo>
                  <a:pt x="6906107" y="2852280"/>
                </a:lnTo>
                <a:lnTo>
                  <a:pt x="6904480" y="2854337"/>
                </a:lnTo>
                <a:lnTo>
                  <a:pt x="6907084" y="2858018"/>
                </a:lnTo>
                <a:lnTo>
                  <a:pt x="6905131" y="2857802"/>
                </a:lnTo>
                <a:lnTo>
                  <a:pt x="6901333" y="2854986"/>
                </a:lnTo>
                <a:lnTo>
                  <a:pt x="6898837" y="2855311"/>
                </a:lnTo>
                <a:lnTo>
                  <a:pt x="6900030" y="2852388"/>
                </a:lnTo>
                <a:lnTo>
                  <a:pt x="6897644" y="2851522"/>
                </a:lnTo>
                <a:lnTo>
                  <a:pt x="6895799" y="2852929"/>
                </a:lnTo>
                <a:lnTo>
                  <a:pt x="6895473" y="2857260"/>
                </a:lnTo>
                <a:lnTo>
                  <a:pt x="6893086" y="2855852"/>
                </a:lnTo>
                <a:lnTo>
                  <a:pt x="6890915" y="2857044"/>
                </a:lnTo>
                <a:lnTo>
                  <a:pt x="6889505" y="2855636"/>
                </a:lnTo>
                <a:lnTo>
                  <a:pt x="6890481" y="2850764"/>
                </a:lnTo>
                <a:lnTo>
                  <a:pt x="6887334" y="2847732"/>
                </a:lnTo>
                <a:lnTo>
                  <a:pt x="6884730" y="2848923"/>
                </a:lnTo>
                <a:lnTo>
                  <a:pt x="6882125" y="2854770"/>
                </a:lnTo>
                <a:lnTo>
                  <a:pt x="6879412" y="2857152"/>
                </a:lnTo>
                <a:lnTo>
                  <a:pt x="6875831" y="2867221"/>
                </a:lnTo>
                <a:lnTo>
                  <a:pt x="6873878" y="2870361"/>
                </a:lnTo>
                <a:lnTo>
                  <a:pt x="6868886" y="2865056"/>
                </a:lnTo>
                <a:lnTo>
                  <a:pt x="6872142" y="2858343"/>
                </a:lnTo>
                <a:lnTo>
                  <a:pt x="6873552" y="2851413"/>
                </a:lnTo>
                <a:lnTo>
                  <a:pt x="6871925" y="2848057"/>
                </a:lnTo>
                <a:lnTo>
                  <a:pt x="6876265" y="2842860"/>
                </a:lnTo>
                <a:lnTo>
                  <a:pt x="6880932" y="2841669"/>
                </a:lnTo>
                <a:lnTo>
                  <a:pt x="6884404" y="2838205"/>
                </a:lnTo>
                <a:lnTo>
                  <a:pt x="6888853" y="2839612"/>
                </a:lnTo>
                <a:lnTo>
                  <a:pt x="6895581" y="2838205"/>
                </a:lnTo>
                <a:lnTo>
                  <a:pt x="6893519" y="2834199"/>
                </a:lnTo>
                <a:lnTo>
                  <a:pt x="6895690" y="2829976"/>
                </a:lnTo>
                <a:lnTo>
                  <a:pt x="6901224" y="2827594"/>
                </a:lnTo>
                <a:lnTo>
                  <a:pt x="6904046" y="2823371"/>
                </a:lnTo>
                <a:lnTo>
                  <a:pt x="6907844" y="2823046"/>
                </a:lnTo>
                <a:lnTo>
                  <a:pt x="6914138" y="2828460"/>
                </a:lnTo>
                <a:lnTo>
                  <a:pt x="6914464" y="2836364"/>
                </a:lnTo>
                <a:lnTo>
                  <a:pt x="6909580" y="2843835"/>
                </a:lnTo>
                <a:lnTo>
                  <a:pt x="6913812" y="2839612"/>
                </a:lnTo>
                <a:lnTo>
                  <a:pt x="6918370" y="2838529"/>
                </a:lnTo>
                <a:lnTo>
                  <a:pt x="6923796" y="2835715"/>
                </a:lnTo>
                <a:lnTo>
                  <a:pt x="6926400" y="2827594"/>
                </a:lnTo>
                <a:lnTo>
                  <a:pt x="6931392" y="2825537"/>
                </a:lnTo>
                <a:lnTo>
                  <a:pt x="6933779" y="2830842"/>
                </a:lnTo>
                <a:lnTo>
                  <a:pt x="6936710" y="2829434"/>
                </a:lnTo>
                <a:lnTo>
                  <a:pt x="6937252" y="2825645"/>
                </a:lnTo>
                <a:lnTo>
                  <a:pt x="6935407" y="2824238"/>
                </a:lnTo>
                <a:lnTo>
                  <a:pt x="6937795" y="2815034"/>
                </a:lnTo>
                <a:lnTo>
                  <a:pt x="6942895" y="2817092"/>
                </a:lnTo>
                <a:lnTo>
                  <a:pt x="6945825" y="2819258"/>
                </a:lnTo>
                <a:lnTo>
                  <a:pt x="6947019" y="2817092"/>
                </a:lnTo>
                <a:lnTo>
                  <a:pt x="6947019" y="2810920"/>
                </a:lnTo>
                <a:lnTo>
                  <a:pt x="6948755" y="2810487"/>
                </a:lnTo>
                <a:lnTo>
                  <a:pt x="6952444" y="2814493"/>
                </a:lnTo>
                <a:lnTo>
                  <a:pt x="6952553" y="2810920"/>
                </a:lnTo>
                <a:lnTo>
                  <a:pt x="6950491" y="2801609"/>
                </a:lnTo>
                <a:close/>
                <a:moveTo>
                  <a:pt x="6340844" y="2796088"/>
                </a:moveTo>
                <a:lnTo>
                  <a:pt x="6339651" y="2798578"/>
                </a:lnTo>
                <a:lnTo>
                  <a:pt x="6336504" y="2797712"/>
                </a:lnTo>
                <a:close/>
                <a:moveTo>
                  <a:pt x="4303414" y="2794911"/>
                </a:moveTo>
                <a:lnTo>
                  <a:pt x="4304312" y="2795004"/>
                </a:lnTo>
                <a:lnTo>
                  <a:pt x="4306917" y="2796520"/>
                </a:lnTo>
                <a:lnTo>
                  <a:pt x="4307434" y="2796606"/>
                </a:lnTo>
                <a:lnTo>
                  <a:pt x="4306917" y="2796520"/>
                </a:lnTo>
                <a:lnTo>
                  <a:pt x="4304313" y="2795004"/>
                </a:lnTo>
                <a:close/>
                <a:moveTo>
                  <a:pt x="4260905" y="2794788"/>
                </a:moveTo>
                <a:lnTo>
                  <a:pt x="4260037" y="2800310"/>
                </a:lnTo>
                <a:lnTo>
                  <a:pt x="4255914" y="2805507"/>
                </a:lnTo>
                <a:lnTo>
                  <a:pt x="4249403" y="2807347"/>
                </a:lnTo>
                <a:lnTo>
                  <a:pt x="4245930" y="2810595"/>
                </a:lnTo>
                <a:lnTo>
                  <a:pt x="4245930" y="2810596"/>
                </a:lnTo>
                <a:lnTo>
                  <a:pt x="4249403" y="2807348"/>
                </a:lnTo>
                <a:lnTo>
                  <a:pt x="4255914" y="2805507"/>
                </a:lnTo>
                <a:lnTo>
                  <a:pt x="4260037" y="2800310"/>
                </a:lnTo>
                <a:lnTo>
                  <a:pt x="4260905" y="2794789"/>
                </a:lnTo>
                <a:close/>
                <a:moveTo>
                  <a:pt x="4287599" y="2794749"/>
                </a:moveTo>
                <a:lnTo>
                  <a:pt x="4288252" y="2795004"/>
                </a:lnTo>
                <a:lnTo>
                  <a:pt x="4288252" y="2795004"/>
                </a:lnTo>
                <a:close/>
                <a:moveTo>
                  <a:pt x="3755072" y="2794401"/>
                </a:moveTo>
                <a:lnTo>
                  <a:pt x="3755977" y="2804641"/>
                </a:lnTo>
                <a:lnTo>
                  <a:pt x="3755272" y="2806373"/>
                </a:lnTo>
                <a:lnTo>
                  <a:pt x="3755978" y="2804640"/>
                </a:lnTo>
                <a:close/>
                <a:moveTo>
                  <a:pt x="4033211" y="2794040"/>
                </a:moveTo>
                <a:lnTo>
                  <a:pt x="4030199" y="2796845"/>
                </a:lnTo>
                <a:lnTo>
                  <a:pt x="4029077" y="2799830"/>
                </a:lnTo>
                <a:lnTo>
                  <a:pt x="4030200" y="2796845"/>
                </a:lnTo>
                <a:close/>
                <a:moveTo>
                  <a:pt x="4306433" y="2790763"/>
                </a:moveTo>
                <a:lnTo>
                  <a:pt x="4310823" y="2794463"/>
                </a:lnTo>
                <a:lnTo>
                  <a:pt x="4312884" y="2795221"/>
                </a:lnTo>
                <a:lnTo>
                  <a:pt x="4312885" y="2795221"/>
                </a:lnTo>
                <a:lnTo>
                  <a:pt x="4310824" y="2794463"/>
                </a:lnTo>
                <a:close/>
                <a:moveTo>
                  <a:pt x="4445167" y="2790132"/>
                </a:moveTo>
                <a:lnTo>
                  <a:pt x="4442538" y="2793083"/>
                </a:lnTo>
                <a:lnTo>
                  <a:pt x="4445166" y="2790133"/>
                </a:lnTo>
                <a:lnTo>
                  <a:pt x="4447011" y="2791324"/>
                </a:lnTo>
                <a:lnTo>
                  <a:pt x="4449507" y="2791107"/>
                </a:lnTo>
                <a:lnTo>
                  <a:pt x="4449507" y="2791107"/>
                </a:lnTo>
                <a:lnTo>
                  <a:pt x="4447012" y="2791323"/>
                </a:lnTo>
                <a:close/>
                <a:moveTo>
                  <a:pt x="2213360" y="2789265"/>
                </a:moveTo>
                <a:lnTo>
                  <a:pt x="2212654" y="2791648"/>
                </a:lnTo>
                <a:lnTo>
                  <a:pt x="2214173" y="2795762"/>
                </a:lnTo>
                <a:lnTo>
                  <a:pt x="2214173" y="2795762"/>
                </a:lnTo>
                <a:lnTo>
                  <a:pt x="2212654" y="2791647"/>
                </a:lnTo>
                <a:close/>
                <a:moveTo>
                  <a:pt x="6945824" y="2787101"/>
                </a:moveTo>
                <a:lnTo>
                  <a:pt x="6948211" y="2791431"/>
                </a:lnTo>
                <a:lnTo>
                  <a:pt x="6948211" y="2795004"/>
                </a:lnTo>
                <a:lnTo>
                  <a:pt x="6944956" y="2791215"/>
                </a:lnTo>
                <a:close/>
                <a:moveTo>
                  <a:pt x="6966986" y="2786776"/>
                </a:moveTo>
                <a:lnTo>
                  <a:pt x="6969264" y="2791214"/>
                </a:lnTo>
                <a:lnTo>
                  <a:pt x="6971001" y="2795761"/>
                </a:lnTo>
                <a:lnTo>
                  <a:pt x="6967637" y="2796952"/>
                </a:lnTo>
                <a:lnTo>
                  <a:pt x="6965358" y="2793921"/>
                </a:lnTo>
                <a:lnTo>
                  <a:pt x="6966118" y="2791972"/>
                </a:lnTo>
                <a:close/>
                <a:moveTo>
                  <a:pt x="6926725" y="2786343"/>
                </a:moveTo>
                <a:lnTo>
                  <a:pt x="6929329" y="2788725"/>
                </a:lnTo>
                <a:lnTo>
                  <a:pt x="6929764" y="2793814"/>
                </a:lnTo>
                <a:lnTo>
                  <a:pt x="6927918" y="2796953"/>
                </a:lnTo>
                <a:lnTo>
                  <a:pt x="6920756" y="2800310"/>
                </a:lnTo>
                <a:lnTo>
                  <a:pt x="6914788" y="2800635"/>
                </a:lnTo>
                <a:lnTo>
                  <a:pt x="6915222" y="2798361"/>
                </a:lnTo>
                <a:lnTo>
                  <a:pt x="6912943" y="2795221"/>
                </a:lnTo>
                <a:lnTo>
                  <a:pt x="6915765" y="2791323"/>
                </a:lnTo>
                <a:lnTo>
                  <a:pt x="6924012" y="2786451"/>
                </a:lnTo>
                <a:close/>
                <a:moveTo>
                  <a:pt x="4456669" y="2783095"/>
                </a:moveTo>
                <a:lnTo>
                  <a:pt x="4453848" y="2784177"/>
                </a:lnTo>
                <a:lnTo>
                  <a:pt x="4453848" y="2784178"/>
                </a:lnTo>
                <a:lnTo>
                  <a:pt x="4456669" y="2783095"/>
                </a:lnTo>
                <a:close/>
                <a:moveTo>
                  <a:pt x="4034270" y="2782482"/>
                </a:moveTo>
                <a:lnTo>
                  <a:pt x="4033237" y="2784178"/>
                </a:lnTo>
                <a:lnTo>
                  <a:pt x="4032912" y="2786343"/>
                </a:lnTo>
                <a:lnTo>
                  <a:pt x="4038012" y="2791865"/>
                </a:lnTo>
                <a:lnTo>
                  <a:pt x="4038012" y="2791864"/>
                </a:lnTo>
                <a:lnTo>
                  <a:pt x="4032913" y="2786343"/>
                </a:lnTo>
                <a:lnTo>
                  <a:pt x="4033238" y="2784177"/>
                </a:lnTo>
                <a:close/>
                <a:moveTo>
                  <a:pt x="6436665" y="2780496"/>
                </a:moveTo>
                <a:lnTo>
                  <a:pt x="6438075" y="2783743"/>
                </a:lnTo>
                <a:lnTo>
                  <a:pt x="6439594" y="2784394"/>
                </a:lnTo>
                <a:lnTo>
                  <a:pt x="6438510" y="2791539"/>
                </a:lnTo>
                <a:lnTo>
                  <a:pt x="6435905" y="2792839"/>
                </a:lnTo>
                <a:lnTo>
                  <a:pt x="6433843" y="2788941"/>
                </a:lnTo>
                <a:lnTo>
                  <a:pt x="6434928" y="2786451"/>
                </a:lnTo>
                <a:lnTo>
                  <a:pt x="6432215" y="2783202"/>
                </a:lnTo>
                <a:close/>
                <a:moveTo>
                  <a:pt x="3774099" y="2779197"/>
                </a:moveTo>
                <a:lnTo>
                  <a:pt x="3771060" y="2779413"/>
                </a:lnTo>
                <a:lnTo>
                  <a:pt x="3764116" y="2783310"/>
                </a:lnTo>
                <a:lnTo>
                  <a:pt x="3764116" y="2783312"/>
                </a:lnTo>
                <a:lnTo>
                  <a:pt x="3762177" y="2784494"/>
                </a:lnTo>
                <a:lnTo>
                  <a:pt x="3762218" y="2784470"/>
                </a:lnTo>
                <a:lnTo>
                  <a:pt x="3764117" y="2783312"/>
                </a:lnTo>
                <a:lnTo>
                  <a:pt x="3770978" y="2779461"/>
                </a:lnTo>
                <a:lnTo>
                  <a:pt x="3771061" y="2779414"/>
                </a:lnTo>
                <a:lnTo>
                  <a:pt x="3774100" y="2779197"/>
                </a:lnTo>
                <a:close/>
                <a:moveTo>
                  <a:pt x="3791787" y="2778764"/>
                </a:moveTo>
                <a:lnTo>
                  <a:pt x="3791570" y="2780821"/>
                </a:lnTo>
                <a:lnTo>
                  <a:pt x="3789508" y="2782662"/>
                </a:lnTo>
                <a:lnTo>
                  <a:pt x="3789509" y="2782662"/>
                </a:lnTo>
                <a:lnTo>
                  <a:pt x="3791571" y="2780821"/>
                </a:lnTo>
                <a:lnTo>
                  <a:pt x="3791788" y="2778764"/>
                </a:lnTo>
                <a:close/>
                <a:moveTo>
                  <a:pt x="6956785" y="2778223"/>
                </a:moveTo>
                <a:lnTo>
                  <a:pt x="6957978" y="2780929"/>
                </a:lnTo>
                <a:lnTo>
                  <a:pt x="6956242" y="2782012"/>
                </a:lnTo>
                <a:lnTo>
                  <a:pt x="6956242" y="2786451"/>
                </a:lnTo>
                <a:lnTo>
                  <a:pt x="6959498" y="2790457"/>
                </a:lnTo>
                <a:lnTo>
                  <a:pt x="6958412" y="2795870"/>
                </a:lnTo>
                <a:lnTo>
                  <a:pt x="6956567" y="2795546"/>
                </a:lnTo>
                <a:lnTo>
                  <a:pt x="6955590" y="2793272"/>
                </a:lnTo>
                <a:lnTo>
                  <a:pt x="6956242" y="2790349"/>
                </a:lnTo>
                <a:lnTo>
                  <a:pt x="6953529" y="2784502"/>
                </a:lnTo>
                <a:lnTo>
                  <a:pt x="6954397" y="2779197"/>
                </a:lnTo>
                <a:close/>
                <a:moveTo>
                  <a:pt x="3799601" y="2777140"/>
                </a:moveTo>
                <a:lnTo>
                  <a:pt x="3797915" y="2777490"/>
                </a:lnTo>
                <a:lnTo>
                  <a:pt x="3799601" y="2777140"/>
                </a:lnTo>
                <a:close/>
                <a:moveTo>
                  <a:pt x="3945448" y="2775083"/>
                </a:moveTo>
                <a:lnTo>
                  <a:pt x="3945448" y="2775083"/>
                </a:lnTo>
                <a:lnTo>
                  <a:pt x="3950657" y="2779848"/>
                </a:lnTo>
                <a:lnTo>
                  <a:pt x="3952719" y="2782771"/>
                </a:lnTo>
                <a:lnTo>
                  <a:pt x="3957710" y="2786451"/>
                </a:lnTo>
                <a:lnTo>
                  <a:pt x="3957710" y="2786451"/>
                </a:lnTo>
                <a:lnTo>
                  <a:pt x="3952718" y="2782770"/>
                </a:lnTo>
                <a:lnTo>
                  <a:pt x="3950656" y="2779847"/>
                </a:lnTo>
                <a:close/>
                <a:moveTo>
                  <a:pt x="4485359" y="2774305"/>
                </a:moveTo>
                <a:lnTo>
                  <a:pt x="4484774" y="2775083"/>
                </a:lnTo>
                <a:lnTo>
                  <a:pt x="4489875" y="2779306"/>
                </a:lnTo>
                <a:lnTo>
                  <a:pt x="4490743" y="2781796"/>
                </a:lnTo>
                <a:lnTo>
                  <a:pt x="4497146" y="2790241"/>
                </a:lnTo>
                <a:lnTo>
                  <a:pt x="4501269" y="2799552"/>
                </a:lnTo>
                <a:lnTo>
                  <a:pt x="4503005" y="2803125"/>
                </a:lnTo>
                <a:lnTo>
                  <a:pt x="4503006" y="2803124"/>
                </a:lnTo>
                <a:lnTo>
                  <a:pt x="4501270" y="2799551"/>
                </a:lnTo>
                <a:lnTo>
                  <a:pt x="4497146" y="2790240"/>
                </a:lnTo>
                <a:lnTo>
                  <a:pt x="4490743" y="2781795"/>
                </a:lnTo>
                <a:lnTo>
                  <a:pt x="4489875" y="2779305"/>
                </a:lnTo>
                <a:lnTo>
                  <a:pt x="4484775" y="2775082"/>
                </a:lnTo>
                <a:close/>
                <a:moveTo>
                  <a:pt x="6814520" y="2773676"/>
                </a:moveTo>
                <a:lnTo>
                  <a:pt x="6815931" y="2775841"/>
                </a:lnTo>
                <a:lnTo>
                  <a:pt x="6817776" y="2777357"/>
                </a:lnTo>
                <a:lnTo>
                  <a:pt x="6817668" y="2780063"/>
                </a:lnTo>
                <a:lnTo>
                  <a:pt x="6814086" y="2780280"/>
                </a:lnTo>
                <a:lnTo>
                  <a:pt x="6810722" y="2779955"/>
                </a:lnTo>
                <a:lnTo>
                  <a:pt x="6811915" y="2776924"/>
                </a:lnTo>
                <a:lnTo>
                  <a:pt x="6813761" y="2775625"/>
                </a:lnTo>
                <a:close/>
                <a:moveTo>
                  <a:pt x="4770297" y="2772545"/>
                </a:moveTo>
                <a:lnTo>
                  <a:pt x="4769848" y="2772592"/>
                </a:lnTo>
                <a:lnTo>
                  <a:pt x="4768980" y="2775840"/>
                </a:lnTo>
                <a:lnTo>
                  <a:pt x="4763879" y="2782012"/>
                </a:lnTo>
                <a:lnTo>
                  <a:pt x="4762034" y="2786992"/>
                </a:lnTo>
                <a:lnTo>
                  <a:pt x="4763771" y="2789698"/>
                </a:lnTo>
                <a:lnTo>
                  <a:pt x="4763879" y="2794896"/>
                </a:lnTo>
                <a:lnTo>
                  <a:pt x="4759973" y="2800851"/>
                </a:lnTo>
                <a:lnTo>
                  <a:pt x="4758237" y="2807563"/>
                </a:lnTo>
                <a:lnTo>
                  <a:pt x="4758316" y="2808920"/>
                </a:lnTo>
                <a:lnTo>
                  <a:pt x="4758317" y="2808921"/>
                </a:lnTo>
                <a:lnTo>
                  <a:pt x="4758238" y="2807564"/>
                </a:lnTo>
                <a:lnTo>
                  <a:pt x="4759974" y="2800850"/>
                </a:lnTo>
                <a:lnTo>
                  <a:pt x="4763881" y="2794896"/>
                </a:lnTo>
                <a:lnTo>
                  <a:pt x="4763772" y="2789699"/>
                </a:lnTo>
                <a:lnTo>
                  <a:pt x="4762036" y="2786992"/>
                </a:lnTo>
                <a:lnTo>
                  <a:pt x="4763881" y="2782012"/>
                </a:lnTo>
                <a:lnTo>
                  <a:pt x="4768981" y="2775840"/>
                </a:lnTo>
                <a:lnTo>
                  <a:pt x="4769849" y="2772592"/>
                </a:lnTo>
                <a:close/>
                <a:moveTo>
                  <a:pt x="6882775" y="2772268"/>
                </a:moveTo>
                <a:lnTo>
                  <a:pt x="6884511" y="2773351"/>
                </a:lnTo>
                <a:lnTo>
                  <a:pt x="6884295" y="2776382"/>
                </a:lnTo>
                <a:lnTo>
                  <a:pt x="6880172" y="2780713"/>
                </a:lnTo>
                <a:lnTo>
                  <a:pt x="6877350" y="2778331"/>
                </a:lnTo>
                <a:lnTo>
                  <a:pt x="6878869" y="2773567"/>
                </a:lnTo>
                <a:close/>
                <a:moveTo>
                  <a:pt x="6161793" y="2771510"/>
                </a:moveTo>
                <a:lnTo>
                  <a:pt x="6163312" y="2777032"/>
                </a:lnTo>
                <a:lnTo>
                  <a:pt x="6160924" y="2783204"/>
                </a:lnTo>
                <a:lnTo>
                  <a:pt x="6156258" y="2783204"/>
                </a:lnTo>
                <a:lnTo>
                  <a:pt x="6156258" y="2779089"/>
                </a:lnTo>
                <a:lnTo>
                  <a:pt x="6156258" y="2773892"/>
                </a:lnTo>
                <a:close/>
                <a:moveTo>
                  <a:pt x="4294872" y="2771510"/>
                </a:moveTo>
                <a:lnTo>
                  <a:pt x="4294871" y="2771510"/>
                </a:lnTo>
                <a:lnTo>
                  <a:pt x="4295088" y="2776057"/>
                </a:lnTo>
                <a:lnTo>
                  <a:pt x="4299320" y="2782229"/>
                </a:lnTo>
                <a:lnTo>
                  <a:pt x="4303118" y="2783961"/>
                </a:lnTo>
                <a:lnTo>
                  <a:pt x="4303625" y="2785827"/>
                </a:lnTo>
                <a:lnTo>
                  <a:pt x="4303118" y="2783960"/>
                </a:lnTo>
                <a:lnTo>
                  <a:pt x="4299320" y="2782228"/>
                </a:lnTo>
                <a:lnTo>
                  <a:pt x="4295088" y="2776057"/>
                </a:lnTo>
                <a:close/>
                <a:moveTo>
                  <a:pt x="2504563" y="2771510"/>
                </a:moveTo>
                <a:lnTo>
                  <a:pt x="2504889" y="2773350"/>
                </a:lnTo>
                <a:lnTo>
                  <a:pt x="2499463" y="2778872"/>
                </a:lnTo>
                <a:lnTo>
                  <a:pt x="2501959" y="2783095"/>
                </a:lnTo>
                <a:lnTo>
                  <a:pt x="2502068" y="2788292"/>
                </a:lnTo>
                <a:lnTo>
                  <a:pt x="2497184" y="2792406"/>
                </a:lnTo>
                <a:lnTo>
                  <a:pt x="2485464" y="2794355"/>
                </a:lnTo>
                <a:lnTo>
                  <a:pt x="2479930" y="2792189"/>
                </a:lnTo>
                <a:lnTo>
                  <a:pt x="2484922" y="2790240"/>
                </a:lnTo>
                <a:lnTo>
                  <a:pt x="2489588" y="2786234"/>
                </a:lnTo>
                <a:lnTo>
                  <a:pt x="2489263" y="2781904"/>
                </a:lnTo>
                <a:lnTo>
                  <a:pt x="2484596" y="2777898"/>
                </a:lnTo>
                <a:lnTo>
                  <a:pt x="2486115" y="2775083"/>
                </a:lnTo>
                <a:lnTo>
                  <a:pt x="2491432" y="2773459"/>
                </a:lnTo>
                <a:lnTo>
                  <a:pt x="2495774" y="2775299"/>
                </a:lnTo>
                <a:close/>
                <a:moveTo>
                  <a:pt x="6923253" y="2771185"/>
                </a:moveTo>
                <a:lnTo>
                  <a:pt x="6923144" y="2775840"/>
                </a:lnTo>
                <a:lnTo>
                  <a:pt x="6921517" y="2773350"/>
                </a:lnTo>
                <a:close/>
                <a:moveTo>
                  <a:pt x="1948850" y="2771044"/>
                </a:moveTo>
                <a:lnTo>
                  <a:pt x="1948850" y="2772592"/>
                </a:lnTo>
                <a:lnTo>
                  <a:pt x="1948958" y="2772687"/>
                </a:lnTo>
                <a:lnTo>
                  <a:pt x="1948958" y="2771077"/>
                </a:lnTo>
                <a:close/>
                <a:moveTo>
                  <a:pt x="6956243" y="2770968"/>
                </a:moveTo>
                <a:lnTo>
                  <a:pt x="6959281" y="2772700"/>
                </a:lnTo>
                <a:lnTo>
                  <a:pt x="6958088" y="2774757"/>
                </a:lnTo>
                <a:lnTo>
                  <a:pt x="6956459" y="2773567"/>
                </a:lnTo>
                <a:close/>
                <a:moveTo>
                  <a:pt x="4482604" y="2769344"/>
                </a:moveTo>
                <a:lnTo>
                  <a:pt x="4476420" y="2772051"/>
                </a:lnTo>
                <a:lnTo>
                  <a:pt x="4473382" y="2770210"/>
                </a:lnTo>
                <a:lnTo>
                  <a:pt x="4467630" y="2770210"/>
                </a:lnTo>
                <a:lnTo>
                  <a:pt x="4463289" y="2773242"/>
                </a:lnTo>
                <a:lnTo>
                  <a:pt x="4457321" y="2776707"/>
                </a:lnTo>
                <a:lnTo>
                  <a:pt x="4457321" y="2776708"/>
                </a:lnTo>
                <a:lnTo>
                  <a:pt x="4463288" y="2773243"/>
                </a:lnTo>
                <a:lnTo>
                  <a:pt x="4467629" y="2770211"/>
                </a:lnTo>
                <a:lnTo>
                  <a:pt x="4473380" y="2770211"/>
                </a:lnTo>
                <a:lnTo>
                  <a:pt x="4476419" y="2772051"/>
                </a:lnTo>
                <a:lnTo>
                  <a:pt x="4482604" y="2769345"/>
                </a:lnTo>
                <a:close/>
                <a:moveTo>
                  <a:pt x="3942843" y="2769344"/>
                </a:moveTo>
                <a:lnTo>
                  <a:pt x="3942843" y="2769345"/>
                </a:lnTo>
                <a:lnTo>
                  <a:pt x="3944905" y="2771510"/>
                </a:lnTo>
                <a:lnTo>
                  <a:pt x="3944905" y="2771509"/>
                </a:lnTo>
                <a:close/>
                <a:moveTo>
                  <a:pt x="4957365" y="2769020"/>
                </a:moveTo>
                <a:lnTo>
                  <a:pt x="4951722" y="2772701"/>
                </a:lnTo>
                <a:lnTo>
                  <a:pt x="4951724" y="2772701"/>
                </a:lnTo>
                <a:lnTo>
                  <a:pt x="4957365" y="2769020"/>
                </a:lnTo>
                <a:close/>
                <a:moveTo>
                  <a:pt x="4483473" y="2767287"/>
                </a:moveTo>
                <a:lnTo>
                  <a:pt x="4483473" y="2767288"/>
                </a:lnTo>
                <a:lnTo>
                  <a:pt x="4486077" y="2770103"/>
                </a:lnTo>
                <a:lnTo>
                  <a:pt x="4486077" y="2773350"/>
                </a:lnTo>
                <a:lnTo>
                  <a:pt x="4486077" y="2773350"/>
                </a:lnTo>
                <a:lnTo>
                  <a:pt x="4486077" y="2770102"/>
                </a:lnTo>
                <a:close/>
                <a:moveTo>
                  <a:pt x="3753589" y="2767070"/>
                </a:moveTo>
                <a:lnTo>
                  <a:pt x="3750659" y="2767287"/>
                </a:lnTo>
                <a:lnTo>
                  <a:pt x="3748163" y="2770535"/>
                </a:lnTo>
                <a:lnTo>
                  <a:pt x="3744040" y="2770968"/>
                </a:lnTo>
                <a:lnTo>
                  <a:pt x="3748164" y="2770535"/>
                </a:lnTo>
                <a:lnTo>
                  <a:pt x="3750660" y="2767288"/>
                </a:lnTo>
                <a:lnTo>
                  <a:pt x="3753589" y="2767071"/>
                </a:lnTo>
                <a:close/>
                <a:moveTo>
                  <a:pt x="6478334" y="2766962"/>
                </a:moveTo>
                <a:lnTo>
                  <a:pt x="6467157" y="2769669"/>
                </a:lnTo>
                <a:lnTo>
                  <a:pt x="6467158" y="2769669"/>
                </a:lnTo>
                <a:close/>
                <a:moveTo>
                  <a:pt x="6895038" y="2766529"/>
                </a:moveTo>
                <a:lnTo>
                  <a:pt x="6898076" y="2768045"/>
                </a:lnTo>
                <a:lnTo>
                  <a:pt x="6900355" y="2766637"/>
                </a:lnTo>
                <a:lnTo>
                  <a:pt x="6904044" y="2769452"/>
                </a:lnTo>
                <a:lnTo>
                  <a:pt x="6903828" y="2773350"/>
                </a:lnTo>
                <a:lnTo>
                  <a:pt x="6899487" y="2777898"/>
                </a:lnTo>
                <a:lnTo>
                  <a:pt x="6896557" y="2791431"/>
                </a:lnTo>
                <a:lnTo>
                  <a:pt x="6897209" y="2800743"/>
                </a:lnTo>
                <a:lnTo>
                  <a:pt x="6900355" y="2806806"/>
                </a:lnTo>
                <a:lnTo>
                  <a:pt x="6900247" y="2811028"/>
                </a:lnTo>
                <a:lnTo>
                  <a:pt x="6895906" y="2813627"/>
                </a:lnTo>
                <a:lnTo>
                  <a:pt x="6892217" y="2811678"/>
                </a:lnTo>
                <a:lnTo>
                  <a:pt x="6892108" y="2806265"/>
                </a:lnTo>
                <a:lnTo>
                  <a:pt x="6887225" y="2805831"/>
                </a:lnTo>
                <a:lnTo>
                  <a:pt x="6881799" y="2802475"/>
                </a:lnTo>
                <a:lnTo>
                  <a:pt x="6878435" y="2801933"/>
                </a:lnTo>
                <a:lnTo>
                  <a:pt x="6877133" y="2794571"/>
                </a:lnTo>
                <a:lnTo>
                  <a:pt x="6879195" y="2791647"/>
                </a:lnTo>
                <a:lnTo>
                  <a:pt x="6886791" y="2789699"/>
                </a:lnTo>
                <a:lnTo>
                  <a:pt x="6889287" y="2784177"/>
                </a:lnTo>
                <a:lnTo>
                  <a:pt x="6888527" y="2777898"/>
                </a:lnTo>
                <a:lnTo>
                  <a:pt x="6891240" y="2773567"/>
                </a:lnTo>
                <a:lnTo>
                  <a:pt x="6891240" y="2769127"/>
                </a:lnTo>
                <a:close/>
                <a:moveTo>
                  <a:pt x="6959390" y="2766097"/>
                </a:moveTo>
                <a:lnTo>
                  <a:pt x="6960692" y="2767613"/>
                </a:lnTo>
                <a:lnTo>
                  <a:pt x="6958521" y="2768263"/>
                </a:lnTo>
                <a:lnTo>
                  <a:pt x="6957545" y="2766313"/>
                </a:lnTo>
                <a:close/>
                <a:moveTo>
                  <a:pt x="2511834" y="2765447"/>
                </a:moveTo>
                <a:lnTo>
                  <a:pt x="2510966" y="2769344"/>
                </a:lnTo>
                <a:lnTo>
                  <a:pt x="2506951" y="2767612"/>
                </a:lnTo>
                <a:close/>
                <a:moveTo>
                  <a:pt x="2434678" y="2764364"/>
                </a:moveTo>
                <a:lnTo>
                  <a:pt x="2436740" y="2767504"/>
                </a:lnTo>
                <a:lnTo>
                  <a:pt x="2432942" y="2772159"/>
                </a:lnTo>
                <a:lnTo>
                  <a:pt x="2428059" y="2770860"/>
                </a:lnTo>
                <a:lnTo>
                  <a:pt x="2422958" y="2771943"/>
                </a:lnTo>
                <a:cubicBezTo>
                  <a:pt x="2422163" y="2771282"/>
                  <a:pt x="2421329" y="2770668"/>
                  <a:pt x="2420463" y="2770102"/>
                </a:cubicBezTo>
                <a:lnTo>
                  <a:pt x="2425346" y="2766529"/>
                </a:lnTo>
                <a:lnTo>
                  <a:pt x="2427625" y="2769669"/>
                </a:lnTo>
                <a:close/>
                <a:moveTo>
                  <a:pt x="2235480" y="2763586"/>
                </a:moveTo>
                <a:lnTo>
                  <a:pt x="2233381" y="2766204"/>
                </a:lnTo>
                <a:lnTo>
                  <a:pt x="2229148" y="2767287"/>
                </a:lnTo>
                <a:lnTo>
                  <a:pt x="2225350" y="2772809"/>
                </a:lnTo>
                <a:lnTo>
                  <a:pt x="2223506" y="2774433"/>
                </a:lnTo>
                <a:lnTo>
                  <a:pt x="2225351" y="2772809"/>
                </a:lnTo>
                <a:lnTo>
                  <a:pt x="2229149" y="2767287"/>
                </a:lnTo>
                <a:lnTo>
                  <a:pt x="2233381" y="2766204"/>
                </a:lnTo>
                <a:close/>
                <a:moveTo>
                  <a:pt x="3942626" y="2762523"/>
                </a:moveTo>
                <a:lnTo>
                  <a:pt x="3967476" y="2768802"/>
                </a:lnTo>
                <a:lnTo>
                  <a:pt x="3966174" y="2771834"/>
                </a:lnTo>
                <a:lnTo>
                  <a:pt x="3966174" y="2771835"/>
                </a:lnTo>
                <a:lnTo>
                  <a:pt x="3968453" y="2766638"/>
                </a:lnTo>
                <a:lnTo>
                  <a:pt x="3974638" y="2765231"/>
                </a:lnTo>
                <a:lnTo>
                  <a:pt x="3974638" y="2765229"/>
                </a:lnTo>
                <a:lnTo>
                  <a:pt x="3968453" y="2766637"/>
                </a:lnTo>
                <a:lnTo>
                  <a:pt x="3968435" y="2766678"/>
                </a:lnTo>
                <a:lnTo>
                  <a:pt x="3966174" y="2771834"/>
                </a:lnTo>
                <a:lnTo>
                  <a:pt x="3967476" y="2768803"/>
                </a:lnTo>
                <a:lnTo>
                  <a:pt x="3967476" y="2768802"/>
                </a:lnTo>
                <a:lnTo>
                  <a:pt x="3942627" y="2762523"/>
                </a:lnTo>
                <a:close/>
                <a:moveTo>
                  <a:pt x="3939045" y="2762414"/>
                </a:moveTo>
                <a:lnTo>
                  <a:pt x="3933511" y="2765013"/>
                </a:lnTo>
                <a:lnTo>
                  <a:pt x="3928085" y="2765229"/>
                </a:lnTo>
                <a:lnTo>
                  <a:pt x="3919078" y="2766637"/>
                </a:lnTo>
                <a:lnTo>
                  <a:pt x="3906707" y="2766637"/>
                </a:lnTo>
                <a:lnTo>
                  <a:pt x="3904537" y="2767503"/>
                </a:lnTo>
                <a:lnTo>
                  <a:pt x="3886957" y="2767503"/>
                </a:lnTo>
                <a:lnTo>
                  <a:pt x="3878601" y="2767936"/>
                </a:lnTo>
                <a:lnTo>
                  <a:pt x="3877950" y="2773242"/>
                </a:lnTo>
                <a:lnTo>
                  <a:pt x="3877950" y="2773242"/>
                </a:lnTo>
                <a:lnTo>
                  <a:pt x="3878601" y="2767938"/>
                </a:lnTo>
                <a:lnTo>
                  <a:pt x="3886957" y="2767505"/>
                </a:lnTo>
                <a:lnTo>
                  <a:pt x="3904537" y="2767505"/>
                </a:lnTo>
                <a:lnTo>
                  <a:pt x="3906707" y="2766638"/>
                </a:lnTo>
                <a:lnTo>
                  <a:pt x="3919078" y="2766638"/>
                </a:lnTo>
                <a:lnTo>
                  <a:pt x="3928085" y="2765231"/>
                </a:lnTo>
                <a:lnTo>
                  <a:pt x="3933511" y="2765014"/>
                </a:lnTo>
                <a:lnTo>
                  <a:pt x="3939045" y="2762416"/>
                </a:lnTo>
                <a:lnTo>
                  <a:pt x="3940890" y="2762957"/>
                </a:lnTo>
                <a:lnTo>
                  <a:pt x="3940890" y="2762956"/>
                </a:lnTo>
                <a:close/>
                <a:moveTo>
                  <a:pt x="3820978" y="2761766"/>
                </a:moveTo>
                <a:lnTo>
                  <a:pt x="3820761" y="2766638"/>
                </a:lnTo>
                <a:lnTo>
                  <a:pt x="3822822" y="2770211"/>
                </a:lnTo>
                <a:lnTo>
                  <a:pt x="3821412" y="2775949"/>
                </a:lnTo>
                <a:lnTo>
                  <a:pt x="3818482" y="2778006"/>
                </a:lnTo>
                <a:lnTo>
                  <a:pt x="3814141" y="2784719"/>
                </a:lnTo>
                <a:lnTo>
                  <a:pt x="3813506" y="2784529"/>
                </a:lnTo>
                <a:lnTo>
                  <a:pt x="3814143" y="2784719"/>
                </a:lnTo>
                <a:lnTo>
                  <a:pt x="3818483" y="2778006"/>
                </a:lnTo>
                <a:lnTo>
                  <a:pt x="3818518" y="2777982"/>
                </a:lnTo>
                <a:lnTo>
                  <a:pt x="3821414" y="2775949"/>
                </a:lnTo>
                <a:lnTo>
                  <a:pt x="3822166" y="2775520"/>
                </a:lnTo>
                <a:lnTo>
                  <a:pt x="3822172" y="2775516"/>
                </a:lnTo>
                <a:lnTo>
                  <a:pt x="3822173" y="2775516"/>
                </a:lnTo>
                <a:lnTo>
                  <a:pt x="3829009" y="2781037"/>
                </a:lnTo>
                <a:lnTo>
                  <a:pt x="3838016" y="2785801"/>
                </a:lnTo>
                <a:lnTo>
                  <a:pt x="3841380" y="2785801"/>
                </a:lnTo>
                <a:lnTo>
                  <a:pt x="3844202" y="2787642"/>
                </a:lnTo>
                <a:lnTo>
                  <a:pt x="3847891" y="2787642"/>
                </a:lnTo>
                <a:lnTo>
                  <a:pt x="3852883" y="2790024"/>
                </a:lnTo>
                <a:lnTo>
                  <a:pt x="3855488" y="2793597"/>
                </a:lnTo>
                <a:lnTo>
                  <a:pt x="3862975" y="2797495"/>
                </a:lnTo>
                <a:lnTo>
                  <a:pt x="3868726" y="2796412"/>
                </a:lnTo>
                <a:lnTo>
                  <a:pt x="3873284" y="2793272"/>
                </a:lnTo>
                <a:lnTo>
                  <a:pt x="3876431" y="2793381"/>
                </a:lnTo>
                <a:lnTo>
                  <a:pt x="3879904" y="2795762"/>
                </a:lnTo>
                <a:lnTo>
                  <a:pt x="3885004" y="2796628"/>
                </a:lnTo>
                <a:lnTo>
                  <a:pt x="3885004" y="2796628"/>
                </a:lnTo>
                <a:lnTo>
                  <a:pt x="3879904" y="2795762"/>
                </a:lnTo>
                <a:lnTo>
                  <a:pt x="3876431" y="2793379"/>
                </a:lnTo>
                <a:lnTo>
                  <a:pt x="3873284" y="2793271"/>
                </a:lnTo>
                <a:lnTo>
                  <a:pt x="3868726" y="2796411"/>
                </a:lnTo>
                <a:lnTo>
                  <a:pt x="3862975" y="2797494"/>
                </a:lnTo>
                <a:lnTo>
                  <a:pt x="3855488" y="2793596"/>
                </a:lnTo>
                <a:lnTo>
                  <a:pt x="3852883" y="2790024"/>
                </a:lnTo>
                <a:lnTo>
                  <a:pt x="3847891" y="2787642"/>
                </a:lnTo>
                <a:lnTo>
                  <a:pt x="3844202" y="2787642"/>
                </a:lnTo>
                <a:lnTo>
                  <a:pt x="3841380" y="2785800"/>
                </a:lnTo>
                <a:lnTo>
                  <a:pt x="3838016" y="2785800"/>
                </a:lnTo>
                <a:lnTo>
                  <a:pt x="3829009" y="2781037"/>
                </a:lnTo>
                <a:lnTo>
                  <a:pt x="3822173" y="2775516"/>
                </a:lnTo>
                <a:lnTo>
                  <a:pt x="3822172" y="2775515"/>
                </a:lnTo>
                <a:lnTo>
                  <a:pt x="3821413" y="2775948"/>
                </a:lnTo>
                <a:lnTo>
                  <a:pt x="3822824" y="2770210"/>
                </a:lnTo>
                <a:lnTo>
                  <a:pt x="3820762" y="2766637"/>
                </a:lnTo>
                <a:lnTo>
                  <a:pt x="3820979" y="2761766"/>
                </a:lnTo>
                <a:close/>
                <a:moveTo>
                  <a:pt x="3601617" y="2761055"/>
                </a:moveTo>
                <a:lnTo>
                  <a:pt x="3597435" y="2761982"/>
                </a:lnTo>
                <a:lnTo>
                  <a:pt x="3595261" y="2766404"/>
                </a:lnTo>
                <a:lnTo>
                  <a:pt x="3597436" y="2761982"/>
                </a:lnTo>
                <a:close/>
                <a:moveTo>
                  <a:pt x="6916200" y="2760358"/>
                </a:moveTo>
                <a:lnTo>
                  <a:pt x="6916417" y="2769452"/>
                </a:lnTo>
                <a:lnTo>
                  <a:pt x="6914681" y="2772376"/>
                </a:lnTo>
                <a:lnTo>
                  <a:pt x="6915332" y="2776599"/>
                </a:lnTo>
                <a:lnTo>
                  <a:pt x="6914138" y="2781254"/>
                </a:lnTo>
                <a:lnTo>
                  <a:pt x="6907626" y="2788725"/>
                </a:lnTo>
                <a:lnTo>
                  <a:pt x="6905890" y="2798794"/>
                </a:lnTo>
                <a:lnTo>
                  <a:pt x="6902309" y="2802909"/>
                </a:lnTo>
                <a:lnTo>
                  <a:pt x="6901224" y="2799011"/>
                </a:lnTo>
                <a:lnTo>
                  <a:pt x="6901440" y="2794031"/>
                </a:lnTo>
                <a:lnTo>
                  <a:pt x="6905022" y="2789591"/>
                </a:lnTo>
                <a:lnTo>
                  <a:pt x="6907084" y="2782662"/>
                </a:lnTo>
                <a:lnTo>
                  <a:pt x="6907626" y="2777140"/>
                </a:lnTo>
                <a:lnTo>
                  <a:pt x="6912076" y="2769994"/>
                </a:lnTo>
                <a:lnTo>
                  <a:pt x="6913704" y="2761332"/>
                </a:lnTo>
                <a:close/>
                <a:moveTo>
                  <a:pt x="4297809" y="2760254"/>
                </a:moveTo>
                <a:lnTo>
                  <a:pt x="4299646" y="2762307"/>
                </a:lnTo>
                <a:lnTo>
                  <a:pt x="4299646" y="2762307"/>
                </a:lnTo>
                <a:close/>
                <a:moveTo>
                  <a:pt x="4485341" y="2758302"/>
                </a:moveTo>
                <a:lnTo>
                  <a:pt x="4486077" y="2759491"/>
                </a:lnTo>
                <a:lnTo>
                  <a:pt x="4486077" y="2759491"/>
                </a:lnTo>
                <a:close/>
                <a:moveTo>
                  <a:pt x="6925858" y="2756135"/>
                </a:moveTo>
                <a:lnTo>
                  <a:pt x="6930199" y="2758084"/>
                </a:lnTo>
                <a:lnTo>
                  <a:pt x="6935082" y="2756459"/>
                </a:lnTo>
                <a:lnTo>
                  <a:pt x="6935949" y="2758408"/>
                </a:lnTo>
                <a:lnTo>
                  <a:pt x="6938555" y="2764363"/>
                </a:lnTo>
                <a:lnTo>
                  <a:pt x="6939314" y="2771618"/>
                </a:lnTo>
                <a:lnTo>
                  <a:pt x="6942570" y="2773783"/>
                </a:lnTo>
                <a:lnTo>
                  <a:pt x="6946802" y="2781037"/>
                </a:lnTo>
                <a:lnTo>
                  <a:pt x="6946367" y="2784718"/>
                </a:lnTo>
                <a:lnTo>
                  <a:pt x="6942244" y="2785801"/>
                </a:lnTo>
                <a:lnTo>
                  <a:pt x="6939640" y="2782336"/>
                </a:lnTo>
                <a:lnTo>
                  <a:pt x="6939206" y="2788941"/>
                </a:lnTo>
                <a:lnTo>
                  <a:pt x="6935299" y="2786234"/>
                </a:lnTo>
                <a:lnTo>
                  <a:pt x="6934540" y="2779196"/>
                </a:lnTo>
                <a:lnTo>
                  <a:pt x="6932260" y="2774974"/>
                </a:lnTo>
                <a:lnTo>
                  <a:pt x="6932586" y="2768694"/>
                </a:lnTo>
                <a:lnTo>
                  <a:pt x="6929873" y="2766204"/>
                </a:lnTo>
                <a:lnTo>
                  <a:pt x="6927486" y="2768586"/>
                </a:lnTo>
                <a:lnTo>
                  <a:pt x="6924556" y="2765663"/>
                </a:lnTo>
                <a:lnTo>
                  <a:pt x="6924556" y="2760790"/>
                </a:lnTo>
                <a:lnTo>
                  <a:pt x="6922711" y="2756243"/>
                </a:lnTo>
                <a:close/>
                <a:moveTo>
                  <a:pt x="6802691" y="2755703"/>
                </a:moveTo>
                <a:lnTo>
                  <a:pt x="6803233" y="2762632"/>
                </a:lnTo>
                <a:lnTo>
                  <a:pt x="6802908" y="2767071"/>
                </a:lnTo>
                <a:lnTo>
                  <a:pt x="6806272" y="2771294"/>
                </a:lnTo>
                <a:lnTo>
                  <a:pt x="6808876" y="2777140"/>
                </a:lnTo>
                <a:lnTo>
                  <a:pt x="6806815" y="2781146"/>
                </a:lnTo>
                <a:lnTo>
                  <a:pt x="6803016" y="2781796"/>
                </a:lnTo>
                <a:lnTo>
                  <a:pt x="6799544" y="2785260"/>
                </a:lnTo>
                <a:lnTo>
                  <a:pt x="6797807" y="2790024"/>
                </a:lnTo>
                <a:lnTo>
                  <a:pt x="6790646" y="2790566"/>
                </a:lnTo>
                <a:lnTo>
                  <a:pt x="6787825" y="2793814"/>
                </a:lnTo>
                <a:lnTo>
                  <a:pt x="6787825" y="2801068"/>
                </a:lnTo>
                <a:lnTo>
                  <a:pt x="6784569" y="2804965"/>
                </a:lnTo>
                <a:lnTo>
                  <a:pt x="6784243" y="2807455"/>
                </a:lnTo>
                <a:lnTo>
                  <a:pt x="6780445" y="2810704"/>
                </a:lnTo>
                <a:lnTo>
                  <a:pt x="6774911" y="2812544"/>
                </a:lnTo>
                <a:lnTo>
                  <a:pt x="6769593" y="2820665"/>
                </a:lnTo>
                <a:lnTo>
                  <a:pt x="6764493" y="2822614"/>
                </a:lnTo>
                <a:lnTo>
                  <a:pt x="6761347" y="2825861"/>
                </a:lnTo>
                <a:lnTo>
                  <a:pt x="6758199" y="2826403"/>
                </a:lnTo>
                <a:lnTo>
                  <a:pt x="6753642" y="2830084"/>
                </a:lnTo>
                <a:lnTo>
                  <a:pt x="6753099" y="2828460"/>
                </a:lnTo>
                <a:lnTo>
                  <a:pt x="6754292" y="2825970"/>
                </a:lnTo>
                <a:lnTo>
                  <a:pt x="6761129" y="2817092"/>
                </a:lnTo>
                <a:lnTo>
                  <a:pt x="6763951" y="2816225"/>
                </a:lnTo>
                <a:lnTo>
                  <a:pt x="6767423" y="2809621"/>
                </a:lnTo>
                <a:lnTo>
                  <a:pt x="6771112" y="2809188"/>
                </a:lnTo>
                <a:lnTo>
                  <a:pt x="6778057" y="2802475"/>
                </a:lnTo>
                <a:lnTo>
                  <a:pt x="6782832" y="2792298"/>
                </a:lnTo>
                <a:lnTo>
                  <a:pt x="6787716" y="2789591"/>
                </a:lnTo>
                <a:lnTo>
                  <a:pt x="6788042" y="2785910"/>
                </a:lnTo>
                <a:lnTo>
                  <a:pt x="6792382" y="2780929"/>
                </a:lnTo>
                <a:lnTo>
                  <a:pt x="6795421" y="2781255"/>
                </a:lnTo>
                <a:lnTo>
                  <a:pt x="6799436" y="2776599"/>
                </a:lnTo>
                <a:lnTo>
                  <a:pt x="6799544" y="2773243"/>
                </a:lnTo>
                <a:lnTo>
                  <a:pt x="6796614" y="2768587"/>
                </a:lnTo>
                <a:lnTo>
                  <a:pt x="6800303" y="2770860"/>
                </a:lnTo>
                <a:lnTo>
                  <a:pt x="6799544" y="2763931"/>
                </a:lnTo>
                <a:lnTo>
                  <a:pt x="6800629" y="2756569"/>
                </a:lnTo>
                <a:close/>
                <a:moveTo>
                  <a:pt x="3618483" y="2754419"/>
                </a:moveTo>
                <a:lnTo>
                  <a:pt x="3616968" y="2755594"/>
                </a:lnTo>
                <a:lnTo>
                  <a:pt x="3608721" y="2757218"/>
                </a:lnTo>
                <a:lnTo>
                  <a:pt x="3606141" y="2758702"/>
                </a:lnTo>
                <a:lnTo>
                  <a:pt x="3608721" y="2757218"/>
                </a:lnTo>
                <a:lnTo>
                  <a:pt x="3616968" y="2755594"/>
                </a:lnTo>
                <a:close/>
                <a:moveTo>
                  <a:pt x="6150615" y="2754294"/>
                </a:moveTo>
                <a:lnTo>
                  <a:pt x="6152568" y="2757542"/>
                </a:lnTo>
                <a:lnTo>
                  <a:pt x="6147142" y="2756135"/>
                </a:lnTo>
                <a:close/>
                <a:moveTo>
                  <a:pt x="4285567" y="2751773"/>
                </a:moveTo>
                <a:lnTo>
                  <a:pt x="4286623" y="2755594"/>
                </a:lnTo>
                <a:lnTo>
                  <a:pt x="4286190" y="2758625"/>
                </a:lnTo>
                <a:lnTo>
                  <a:pt x="4280655" y="2761116"/>
                </a:lnTo>
                <a:lnTo>
                  <a:pt x="4277400" y="2764689"/>
                </a:lnTo>
                <a:lnTo>
                  <a:pt x="4274687" y="2764580"/>
                </a:lnTo>
                <a:lnTo>
                  <a:pt x="4270129" y="2768154"/>
                </a:lnTo>
                <a:lnTo>
                  <a:pt x="4269369" y="2770211"/>
                </a:lnTo>
                <a:lnTo>
                  <a:pt x="4266873" y="2772376"/>
                </a:lnTo>
                <a:lnTo>
                  <a:pt x="4262967" y="2780387"/>
                </a:lnTo>
                <a:lnTo>
                  <a:pt x="4260254" y="2784935"/>
                </a:lnTo>
                <a:lnTo>
                  <a:pt x="4260905" y="2788617"/>
                </a:lnTo>
                <a:lnTo>
                  <a:pt x="4260255" y="2784936"/>
                </a:lnTo>
                <a:lnTo>
                  <a:pt x="4262968" y="2780388"/>
                </a:lnTo>
                <a:lnTo>
                  <a:pt x="4266875" y="2772376"/>
                </a:lnTo>
                <a:lnTo>
                  <a:pt x="4269370" y="2770211"/>
                </a:lnTo>
                <a:lnTo>
                  <a:pt x="4270129" y="2768154"/>
                </a:lnTo>
                <a:lnTo>
                  <a:pt x="4274687" y="2764581"/>
                </a:lnTo>
                <a:lnTo>
                  <a:pt x="4277401" y="2764689"/>
                </a:lnTo>
                <a:lnTo>
                  <a:pt x="4280655" y="2761116"/>
                </a:lnTo>
                <a:lnTo>
                  <a:pt x="4286190" y="2758626"/>
                </a:lnTo>
                <a:lnTo>
                  <a:pt x="4286624" y="2755594"/>
                </a:lnTo>
                <a:close/>
                <a:moveTo>
                  <a:pt x="3823257" y="2749639"/>
                </a:moveTo>
                <a:lnTo>
                  <a:pt x="3823257" y="2749639"/>
                </a:lnTo>
                <a:lnTo>
                  <a:pt x="3824885" y="2753970"/>
                </a:lnTo>
                <a:lnTo>
                  <a:pt x="3825535" y="2760899"/>
                </a:lnTo>
                <a:lnTo>
                  <a:pt x="3825537" y="2760898"/>
                </a:lnTo>
                <a:lnTo>
                  <a:pt x="3824885" y="2753969"/>
                </a:lnTo>
                <a:close/>
                <a:moveTo>
                  <a:pt x="4032349" y="2749590"/>
                </a:moveTo>
                <a:lnTo>
                  <a:pt x="4032152" y="2749748"/>
                </a:lnTo>
                <a:lnTo>
                  <a:pt x="4031067" y="2754728"/>
                </a:lnTo>
                <a:lnTo>
                  <a:pt x="4032152" y="2758517"/>
                </a:lnTo>
                <a:lnTo>
                  <a:pt x="4038663" y="2763715"/>
                </a:lnTo>
                <a:lnTo>
                  <a:pt x="4038771" y="2769561"/>
                </a:lnTo>
                <a:lnTo>
                  <a:pt x="4041159" y="2778115"/>
                </a:lnTo>
                <a:lnTo>
                  <a:pt x="4040291" y="2780821"/>
                </a:lnTo>
                <a:lnTo>
                  <a:pt x="4039694" y="2780858"/>
                </a:lnTo>
                <a:lnTo>
                  <a:pt x="4040292" y="2780821"/>
                </a:lnTo>
                <a:lnTo>
                  <a:pt x="4041160" y="2778114"/>
                </a:lnTo>
                <a:lnTo>
                  <a:pt x="4038772" y="2769561"/>
                </a:lnTo>
                <a:lnTo>
                  <a:pt x="4038664" y="2763714"/>
                </a:lnTo>
                <a:lnTo>
                  <a:pt x="4032153" y="2758517"/>
                </a:lnTo>
                <a:lnTo>
                  <a:pt x="4031068" y="2754728"/>
                </a:lnTo>
                <a:lnTo>
                  <a:pt x="4032153" y="2749748"/>
                </a:lnTo>
                <a:close/>
                <a:moveTo>
                  <a:pt x="6929113" y="2748990"/>
                </a:moveTo>
                <a:lnTo>
                  <a:pt x="6928136" y="2753537"/>
                </a:lnTo>
                <a:lnTo>
                  <a:pt x="6924446" y="2753970"/>
                </a:lnTo>
                <a:lnTo>
                  <a:pt x="6920974" y="2751696"/>
                </a:lnTo>
                <a:lnTo>
                  <a:pt x="6923470" y="2749856"/>
                </a:lnTo>
                <a:close/>
                <a:moveTo>
                  <a:pt x="3996234" y="2747798"/>
                </a:moveTo>
                <a:lnTo>
                  <a:pt x="3992110" y="2748014"/>
                </a:lnTo>
                <a:lnTo>
                  <a:pt x="3984514" y="2751912"/>
                </a:lnTo>
                <a:lnTo>
                  <a:pt x="3982018" y="2750721"/>
                </a:lnTo>
                <a:lnTo>
                  <a:pt x="3977135" y="2753104"/>
                </a:lnTo>
                <a:lnTo>
                  <a:pt x="3982018" y="2750722"/>
                </a:lnTo>
                <a:lnTo>
                  <a:pt x="3984513" y="2751913"/>
                </a:lnTo>
                <a:lnTo>
                  <a:pt x="3992109" y="2748015"/>
                </a:lnTo>
                <a:lnTo>
                  <a:pt x="3996233" y="2747799"/>
                </a:lnTo>
                <a:close/>
                <a:moveTo>
                  <a:pt x="2255234" y="2747484"/>
                </a:moveTo>
                <a:lnTo>
                  <a:pt x="2254976" y="2747690"/>
                </a:lnTo>
                <a:lnTo>
                  <a:pt x="2242713" y="2752454"/>
                </a:lnTo>
                <a:lnTo>
                  <a:pt x="2236735" y="2761672"/>
                </a:lnTo>
                <a:lnTo>
                  <a:pt x="2242713" y="2752454"/>
                </a:lnTo>
                <a:lnTo>
                  <a:pt x="2254975" y="2747690"/>
                </a:lnTo>
                <a:close/>
                <a:moveTo>
                  <a:pt x="6484519" y="2746283"/>
                </a:moveTo>
                <a:lnTo>
                  <a:pt x="6479745" y="2749747"/>
                </a:lnTo>
                <a:lnTo>
                  <a:pt x="6480722" y="2758192"/>
                </a:lnTo>
                <a:lnTo>
                  <a:pt x="6486039" y="2759708"/>
                </a:lnTo>
                <a:lnTo>
                  <a:pt x="6490379" y="2764147"/>
                </a:lnTo>
                <a:lnTo>
                  <a:pt x="6489511" y="2767395"/>
                </a:lnTo>
                <a:lnTo>
                  <a:pt x="6491790" y="2772376"/>
                </a:lnTo>
                <a:lnTo>
                  <a:pt x="6484195" y="2772917"/>
                </a:lnTo>
                <a:lnTo>
                  <a:pt x="6484195" y="2772917"/>
                </a:lnTo>
                <a:lnTo>
                  <a:pt x="6491791" y="2772376"/>
                </a:lnTo>
                <a:lnTo>
                  <a:pt x="6489512" y="2767396"/>
                </a:lnTo>
                <a:lnTo>
                  <a:pt x="6490380" y="2764147"/>
                </a:lnTo>
                <a:lnTo>
                  <a:pt x="6486040" y="2759708"/>
                </a:lnTo>
                <a:lnTo>
                  <a:pt x="6480723" y="2758192"/>
                </a:lnTo>
                <a:lnTo>
                  <a:pt x="6479745" y="2749747"/>
                </a:lnTo>
                <a:lnTo>
                  <a:pt x="6484520" y="2746283"/>
                </a:lnTo>
                <a:close/>
                <a:moveTo>
                  <a:pt x="4295400" y="2744454"/>
                </a:moveTo>
                <a:lnTo>
                  <a:pt x="4295522" y="2744984"/>
                </a:lnTo>
                <a:lnTo>
                  <a:pt x="4296177" y="2746491"/>
                </a:lnTo>
                <a:lnTo>
                  <a:pt x="4295522" y="2744983"/>
                </a:lnTo>
                <a:close/>
                <a:moveTo>
                  <a:pt x="4283680" y="2744278"/>
                </a:moveTo>
                <a:lnTo>
                  <a:pt x="4284670" y="2746716"/>
                </a:lnTo>
                <a:lnTo>
                  <a:pt x="4284852" y="2748881"/>
                </a:lnTo>
                <a:lnTo>
                  <a:pt x="4284671" y="2746716"/>
                </a:lnTo>
                <a:close/>
                <a:moveTo>
                  <a:pt x="4472929" y="2741501"/>
                </a:moveTo>
                <a:lnTo>
                  <a:pt x="4473598" y="2742710"/>
                </a:lnTo>
                <a:lnTo>
                  <a:pt x="4473923" y="2748881"/>
                </a:lnTo>
                <a:lnTo>
                  <a:pt x="4474328" y="2751053"/>
                </a:lnTo>
                <a:lnTo>
                  <a:pt x="4473923" y="2748880"/>
                </a:lnTo>
                <a:lnTo>
                  <a:pt x="4473598" y="2742709"/>
                </a:lnTo>
                <a:close/>
                <a:moveTo>
                  <a:pt x="6808878" y="2740978"/>
                </a:moveTo>
                <a:lnTo>
                  <a:pt x="6813761" y="2742277"/>
                </a:lnTo>
                <a:lnTo>
                  <a:pt x="6815280" y="2745850"/>
                </a:lnTo>
                <a:lnTo>
                  <a:pt x="6813544" y="2747041"/>
                </a:lnTo>
                <a:lnTo>
                  <a:pt x="6811916" y="2749206"/>
                </a:lnTo>
                <a:lnTo>
                  <a:pt x="6809746" y="2749206"/>
                </a:lnTo>
                <a:lnTo>
                  <a:pt x="6808335" y="2743793"/>
                </a:lnTo>
                <a:close/>
                <a:moveTo>
                  <a:pt x="5191219" y="2740870"/>
                </a:moveTo>
                <a:lnTo>
                  <a:pt x="5197513" y="2742710"/>
                </a:lnTo>
                <a:lnTo>
                  <a:pt x="5192413" y="2743468"/>
                </a:lnTo>
                <a:lnTo>
                  <a:pt x="5186227" y="2742494"/>
                </a:lnTo>
                <a:close/>
                <a:moveTo>
                  <a:pt x="6866607" y="2740762"/>
                </a:moveTo>
                <a:lnTo>
                  <a:pt x="6871165" y="2745309"/>
                </a:lnTo>
                <a:lnTo>
                  <a:pt x="6874637" y="2746825"/>
                </a:lnTo>
                <a:lnTo>
                  <a:pt x="6873769" y="2748666"/>
                </a:lnTo>
                <a:lnTo>
                  <a:pt x="6876373" y="2748990"/>
                </a:lnTo>
                <a:lnTo>
                  <a:pt x="6881366" y="2748557"/>
                </a:lnTo>
                <a:lnTo>
                  <a:pt x="6884729" y="2749532"/>
                </a:lnTo>
                <a:lnTo>
                  <a:pt x="6887551" y="2753971"/>
                </a:lnTo>
                <a:lnTo>
                  <a:pt x="6890698" y="2750073"/>
                </a:lnTo>
                <a:lnTo>
                  <a:pt x="6893519" y="2748233"/>
                </a:lnTo>
                <a:lnTo>
                  <a:pt x="6895690" y="2751697"/>
                </a:lnTo>
                <a:lnTo>
                  <a:pt x="6894930" y="2755703"/>
                </a:lnTo>
                <a:lnTo>
                  <a:pt x="6892325" y="2757760"/>
                </a:lnTo>
                <a:lnTo>
                  <a:pt x="6890046" y="2762849"/>
                </a:lnTo>
                <a:lnTo>
                  <a:pt x="6884296" y="2767505"/>
                </a:lnTo>
                <a:lnTo>
                  <a:pt x="6882450" y="2770753"/>
                </a:lnTo>
                <a:lnTo>
                  <a:pt x="6879846" y="2770753"/>
                </a:lnTo>
                <a:lnTo>
                  <a:pt x="6879304" y="2772269"/>
                </a:lnTo>
                <a:lnTo>
                  <a:pt x="6876157" y="2772161"/>
                </a:lnTo>
                <a:lnTo>
                  <a:pt x="6870839" y="2775517"/>
                </a:lnTo>
                <a:lnTo>
                  <a:pt x="6869320" y="2777466"/>
                </a:lnTo>
                <a:lnTo>
                  <a:pt x="6867150" y="2778332"/>
                </a:lnTo>
                <a:lnTo>
                  <a:pt x="6865305" y="2770320"/>
                </a:lnTo>
                <a:lnTo>
                  <a:pt x="6867041" y="2764582"/>
                </a:lnTo>
                <a:lnTo>
                  <a:pt x="6866824" y="2756461"/>
                </a:lnTo>
                <a:lnTo>
                  <a:pt x="6867800" y="2752022"/>
                </a:lnTo>
                <a:lnTo>
                  <a:pt x="6867909" y="2747366"/>
                </a:lnTo>
                <a:lnTo>
                  <a:pt x="6865630" y="2746825"/>
                </a:lnTo>
                <a:lnTo>
                  <a:pt x="6860747" y="2744984"/>
                </a:lnTo>
                <a:lnTo>
                  <a:pt x="6861615" y="2742061"/>
                </a:lnTo>
                <a:close/>
                <a:moveTo>
                  <a:pt x="6323999" y="2740336"/>
                </a:moveTo>
                <a:lnTo>
                  <a:pt x="6325001" y="2742060"/>
                </a:lnTo>
                <a:lnTo>
                  <a:pt x="6325001" y="2742060"/>
                </a:lnTo>
                <a:close/>
                <a:moveTo>
                  <a:pt x="3691409" y="2740219"/>
                </a:moveTo>
                <a:lnTo>
                  <a:pt x="3686092" y="2742493"/>
                </a:lnTo>
                <a:lnTo>
                  <a:pt x="3686093" y="2742493"/>
                </a:lnTo>
                <a:lnTo>
                  <a:pt x="3691410" y="2740220"/>
                </a:lnTo>
                <a:close/>
                <a:moveTo>
                  <a:pt x="2490782" y="2738813"/>
                </a:moveTo>
                <a:lnTo>
                  <a:pt x="2492736" y="2741736"/>
                </a:lnTo>
                <a:lnTo>
                  <a:pt x="2489805" y="2745742"/>
                </a:lnTo>
                <a:lnTo>
                  <a:pt x="2484054" y="2745525"/>
                </a:lnTo>
                <a:lnTo>
                  <a:pt x="2485790" y="2739895"/>
                </a:lnTo>
                <a:close/>
                <a:moveTo>
                  <a:pt x="6387941" y="2737188"/>
                </a:moveTo>
                <a:lnTo>
                  <a:pt x="6394236" y="2743576"/>
                </a:lnTo>
                <a:lnTo>
                  <a:pt x="6391740" y="2744117"/>
                </a:lnTo>
                <a:lnTo>
                  <a:pt x="6388375" y="2741302"/>
                </a:lnTo>
                <a:close/>
                <a:moveTo>
                  <a:pt x="4959535" y="2737188"/>
                </a:moveTo>
                <a:lnTo>
                  <a:pt x="4955467" y="2738348"/>
                </a:lnTo>
                <a:lnTo>
                  <a:pt x="4955221" y="2738418"/>
                </a:lnTo>
                <a:lnTo>
                  <a:pt x="4955130" y="2738444"/>
                </a:lnTo>
                <a:lnTo>
                  <a:pt x="4954219" y="2738703"/>
                </a:lnTo>
                <a:lnTo>
                  <a:pt x="4954219" y="2738704"/>
                </a:lnTo>
                <a:lnTo>
                  <a:pt x="4955130" y="2738444"/>
                </a:lnTo>
                <a:lnTo>
                  <a:pt x="4955467" y="2738348"/>
                </a:lnTo>
                <a:lnTo>
                  <a:pt x="4959535" y="2737188"/>
                </a:lnTo>
                <a:close/>
                <a:moveTo>
                  <a:pt x="2328875" y="2736431"/>
                </a:moveTo>
                <a:lnTo>
                  <a:pt x="2333324" y="2740870"/>
                </a:lnTo>
                <a:lnTo>
                  <a:pt x="2332348" y="2744876"/>
                </a:lnTo>
                <a:lnTo>
                  <a:pt x="2329526" y="2741303"/>
                </a:lnTo>
                <a:lnTo>
                  <a:pt x="2326271" y="2740761"/>
                </a:lnTo>
                <a:lnTo>
                  <a:pt x="2324209" y="2736756"/>
                </a:lnTo>
                <a:close/>
                <a:moveTo>
                  <a:pt x="6165591" y="2736214"/>
                </a:moveTo>
                <a:lnTo>
                  <a:pt x="6165591" y="2738487"/>
                </a:lnTo>
                <a:lnTo>
                  <a:pt x="6162878" y="2740869"/>
                </a:lnTo>
                <a:lnTo>
                  <a:pt x="6161250" y="2746066"/>
                </a:lnTo>
                <a:lnTo>
                  <a:pt x="6162986" y="2749098"/>
                </a:lnTo>
                <a:lnTo>
                  <a:pt x="6163529" y="2753537"/>
                </a:lnTo>
                <a:lnTo>
                  <a:pt x="6160056" y="2761116"/>
                </a:lnTo>
                <a:lnTo>
                  <a:pt x="6158753" y="2757868"/>
                </a:lnTo>
                <a:lnTo>
                  <a:pt x="6160056" y="2753970"/>
                </a:lnTo>
                <a:lnTo>
                  <a:pt x="6157560" y="2748448"/>
                </a:lnTo>
                <a:lnTo>
                  <a:pt x="6159080" y="2745308"/>
                </a:lnTo>
                <a:lnTo>
                  <a:pt x="6159080" y="2738487"/>
                </a:lnTo>
                <a:close/>
                <a:moveTo>
                  <a:pt x="4008387" y="2736105"/>
                </a:moveTo>
                <a:lnTo>
                  <a:pt x="4004046" y="2737512"/>
                </a:lnTo>
                <a:lnTo>
                  <a:pt x="4001551" y="2737729"/>
                </a:lnTo>
                <a:lnTo>
                  <a:pt x="4001551" y="2737730"/>
                </a:lnTo>
                <a:lnTo>
                  <a:pt x="4004046" y="2737513"/>
                </a:lnTo>
                <a:lnTo>
                  <a:pt x="4008387" y="2736106"/>
                </a:lnTo>
                <a:close/>
                <a:moveTo>
                  <a:pt x="2308365" y="2734698"/>
                </a:moveTo>
                <a:lnTo>
                  <a:pt x="2312815" y="2739894"/>
                </a:lnTo>
                <a:lnTo>
                  <a:pt x="2316938" y="2740328"/>
                </a:lnTo>
                <a:lnTo>
                  <a:pt x="2314551" y="2742926"/>
                </a:lnTo>
                <a:lnTo>
                  <a:pt x="2309234" y="2741735"/>
                </a:lnTo>
                <a:lnTo>
                  <a:pt x="2306955" y="2737080"/>
                </a:lnTo>
                <a:close/>
                <a:moveTo>
                  <a:pt x="3723096" y="2734698"/>
                </a:moveTo>
                <a:lnTo>
                  <a:pt x="3718538" y="2734915"/>
                </a:lnTo>
                <a:lnTo>
                  <a:pt x="3713872" y="2741627"/>
                </a:lnTo>
                <a:lnTo>
                  <a:pt x="3710725" y="2741844"/>
                </a:lnTo>
                <a:lnTo>
                  <a:pt x="3705842" y="2745309"/>
                </a:lnTo>
                <a:lnTo>
                  <a:pt x="3705843" y="2745309"/>
                </a:lnTo>
                <a:lnTo>
                  <a:pt x="3710726" y="2741844"/>
                </a:lnTo>
                <a:lnTo>
                  <a:pt x="3713873" y="2741627"/>
                </a:lnTo>
                <a:lnTo>
                  <a:pt x="3718539" y="2734915"/>
                </a:lnTo>
                <a:lnTo>
                  <a:pt x="3723097" y="2734698"/>
                </a:lnTo>
                <a:lnTo>
                  <a:pt x="3725779" y="2735877"/>
                </a:lnTo>
                <a:close/>
                <a:moveTo>
                  <a:pt x="3736010" y="2734265"/>
                </a:moveTo>
                <a:lnTo>
                  <a:pt x="3731669" y="2735672"/>
                </a:lnTo>
                <a:lnTo>
                  <a:pt x="3729499" y="2737513"/>
                </a:lnTo>
                <a:lnTo>
                  <a:pt x="3729499" y="2737513"/>
                </a:lnTo>
                <a:lnTo>
                  <a:pt x="3731670" y="2735672"/>
                </a:lnTo>
                <a:lnTo>
                  <a:pt x="3736010" y="2734265"/>
                </a:lnTo>
                <a:close/>
                <a:moveTo>
                  <a:pt x="3671010" y="2734048"/>
                </a:moveTo>
                <a:lnTo>
                  <a:pt x="3671009" y="2734048"/>
                </a:lnTo>
                <a:lnTo>
                  <a:pt x="3675567" y="2734265"/>
                </a:lnTo>
                <a:lnTo>
                  <a:pt x="3677846" y="2736756"/>
                </a:lnTo>
                <a:lnTo>
                  <a:pt x="3682946" y="2737188"/>
                </a:lnTo>
                <a:lnTo>
                  <a:pt x="3683380" y="2740867"/>
                </a:lnTo>
                <a:lnTo>
                  <a:pt x="3683380" y="2740865"/>
                </a:lnTo>
                <a:lnTo>
                  <a:pt x="3682947" y="2737188"/>
                </a:lnTo>
                <a:lnTo>
                  <a:pt x="3677847" y="2736755"/>
                </a:lnTo>
                <a:lnTo>
                  <a:pt x="3675568" y="2734265"/>
                </a:lnTo>
                <a:close/>
                <a:moveTo>
                  <a:pt x="4965504" y="2733831"/>
                </a:moveTo>
                <a:lnTo>
                  <a:pt x="4961490" y="2734914"/>
                </a:lnTo>
                <a:lnTo>
                  <a:pt x="4961489" y="2734915"/>
                </a:lnTo>
                <a:lnTo>
                  <a:pt x="4965503" y="2733832"/>
                </a:lnTo>
                <a:close/>
                <a:moveTo>
                  <a:pt x="3561842" y="2732424"/>
                </a:moveTo>
                <a:lnTo>
                  <a:pt x="3555059" y="2735808"/>
                </a:lnTo>
                <a:lnTo>
                  <a:pt x="3561842" y="2732424"/>
                </a:lnTo>
                <a:lnTo>
                  <a:pt x="3577902" y="2733832"/>
                </a:lnTo>
                <a:lnTo>
                  <a:pt x="3577903" y="2733832"/>
                </a:lnTo>
                <a:close/>
                <a:moveTo>
                  <a:pt x="4472730" y="2731557"/>
                </a:moveTo>
                <a:lnTo>
                  <a:pt x="4470017" y="2733398"/>
                </a:lnTo>
                <a:lnTo>
                  <a:pt x="4470017" y="2733398"/>
                </a:lnTo>
                <a:lnTo>
                  <a:pt x="4472730" y="2731558"/>
                </a:lnTo>
                <a:close/>
                <a:moveTo>
                  <a:pt x="2494580" y="2731234"/>
                </a:moveTo>
                <a:lnTo>
                  <a:pt x="2496968" y="2735673"/>
                </a:lnTo>
                <a:lnTo>
                  <a:pt x="2493387" y="2735673"/>
                </a:lnTo>
                <a:cubicBezTo>
                  <a:pt x="2493387" y="2735673"/>
                  <a:pt x="2494580" y="2731234"/>
                  <a:pt x="2494580" y="2731234"/>
                </a:cubicBezTo>
                <a:close/>
                <a:moveTo>
                  <a:pt x="3994714" y="2731016"/>
                </a:moveTo>
                <a:lnTo>
                  <a:pt x="3994714" y="2731016"/>
                </a:lnTo>
                <a:lnTo>
                  <a:pt x="3995676" y="2732295"/>
                </a:lnTo>
                <a:close/>
                <a:moveTo>
                  <a:pt x="6809636" y="2730800"/>
                </a:moveTo>
                <a:lnTo>
                  <a:pt x="6813434" y="2731341"/>
                </a:lnTo>
                <a:lnTo>
                  <a:pt x="6816256" y="2734590"/>
                </a:lnTo>
                <a:lnTo>
                  <a:pt x="6821139" y="2735564"/>
                </a:lnTo>
                <a:lnTo>
                  <a:pt x="6822116" y="2738054"/>
                </a:lnTo>
                <a:lnTo>
                  <a:pt x="6820054" y="2740544"/>
                </a:lnTo>
                <a:lnTo>
                  <a:pt x="6816907" y="2739137"/>
                </a:lnTo>
                <a:lnTo>
                  <a:pt x="6811806" y="2738812"/>
                </a:lnTo>
                <a:lnTo>
                  <a:pt x="6809636" y="2736322"/>
                </a:lnTo>
                <a:lnTo>
                  <a:pt x="6808008" y="2732749"/>
                </a:lnTo>
                <a:close/>
                <a:moveTo>
                  <a:pt x="4944301" y="2730043"/>
                </a:moveTo>
                <a:lnTo>
                  <a:pt x="4947708" y="2730150"/>
                </a:lnTo>
                <a:lnTo>
                  <a:pt x="4948773" y="2731548"/>
                </a:lnTo>
                <a:lnTo>
                  <a:pt x="4947708" y="2730150"/>
                </a:lnTo>
                <a:close/>
                <a:moveTo>
                  <a:pt x="2285686" y="2729501"/>
                </a:moveTo>
                <a:lnTo>
                  <a:pt x="2289266" y="2729934"/>
                </a:lnTo>
                <a:lnTo>
                  <a:pt x="2293390" y="2733724"/>
                </a:lnTo>
                <a:lnTo>
                  <a:pt x="2288724" y="2733832"/>
                </a:lnTo>
                <a:close/>
                <a:moveTo>
                  <a:pt x="4009798" y="2728959"/>
                </a:moveTo>
                <a:lnTo>
                  <a:pt x="4008944" y="2730798"/>
                </a:lnTo>
                <a:lnTo>
                  <a:pt x="4009798" y="2728960"/>
                </a:lnTo>
                <a:lnTo>
                  <a:pt x="4017611" y="2735456"/>
                </a:lnTo>
                <a:lnTo>
                  <a:pt x="4021951" y="2741411"/>
                </a:lnTo>
                <a:lnTo>
                  <a:pt x="4027486" y="2742494"/>
                </a:lnTo>
                <a:lnTo>
                  <a:pt x="4032694" y="2749314"/>
                </a:lnTo>
                <a:lnTo>
                  <a:pt x="4032695" y="2749314"/>
                </a:lnTo>
                <a:lnTo>
                  <a:pt x="4036385" y="2746391"/>
                </a:lnTo>
                <a:lnTo>
                  <a:pt x="4036168" y="2743793"/>
                </a:lnTo>
                <a:lnTo>
                  <a:pt x="4036167" y="2743793"/>
                </a:lnTo>
                <a:lnTo>
                  <a:pt x="4036385" y="2746391"/>
                </a:lnTo>
                <a:lnTo>
                  <a:pt x="4032695" y="2749314"/>
                </a:lnTo>
                <a:lnTo>
                  <a:pt x="4027486" y="2742493"/>
                </a:lnTo>
                <a:lnTo>
                  <a:pt x="4021951" y="2741410"/>
                </a:lnTo>
                <a:lnTo>
                  <a:pt x="4017611" y="2735455"/>
                </a:lnTo>
                <a:close/>
                <a:moveTo>
                  <a:pt x="4276722" y="2728770"/>
                </a:moveTo>
                <a:lnTo>
                  <a:pt x="4276721" y="2728770"/>
                </a:lnTo>
                <a:lnTo>
                  <a:pt x="4276966" y="2730150"/>
                </a:lnTo>
                <a:lnTo>
                  <a:pt x="4276748" y="2737405"/>
                </a:lnTo>
                <a:lnTo>
                  <a:pt x="4278810" y="2741627"/>
                </a:lnTo>
                <a:lnTo>
                  <a:pt x="4279865" y="2741897"/>
                </a:lnTo>
                <a:lnTo>
                  <a:pt x="4278811" y="2741627"/>
                </a:lnTo>
                <a:lnTo>
                  <a:pt x="4276749" y="2737405"/>
                </a:lnTo>
                <a:lnTo>
                  <a:pt x="4276966" y="2730151"/>
                </a:lnTo>
                <a:close/>
                <a:moveTo>
                  <a:pt x="6321369" y="2728124"/>
                </a:moveTo>
                <a:lnTo>
                  <a:pt x="6322179" y="2729827"/>
                </a:lnTo>
                <a:lnTo>
                  <a:pt x="6322179" y="2729826"/>
                </a:lnTo>
                <a:close/>
                <a:moveTo>
                  <a:pt x="4470017" y="2727443"/>
                </a:moveTo>
                <a:lnTo>
                  <a:pt x="4472730" y="2728093"/>
                </a:lnTo>
                <a:lnTo>
                  <a:pt x="4472730" y="2728093"/>
                </a:lnTo>
                <a:close/>
                <a:moveTo>
                  <a:pt x="3997427" y="2727443"/>
                </a:moveTo>
                <a:lnTo>
                  <a:pt x="3995619" y="2729825"/>
                </a:lnTo>
                <a:lnTo>
                  <a:pt x="3997427" y="2727444"/>
                </a:lnTo>
                <a:close/>
                <a:moveTo>
                  <a:pt x="5221929" y="2727335"/>
                </a:moveTo>
                <a:lnTo>
                  <a:pt x="5224968" y="2727768"/>
                </a:lnTo>
                <a:lnTo>
                  <a:pt x="5226269" y="2730258"/>
                </a:lnTo>
                <a:lnTo>
                  <a:pt x="5229308" y="2730908"/>
                </a:lnTo>
                <a:lnTo>
                  <a:pt x="5232672" y="2729933"/>
                </a:lnTo>
                <a:lnTo>
                  <a:pt x="5237339" y="2728959"/>
                </a:lnTo>
                <a:lnTo>
                  <a:pt x="5240594" y="2730583"/>
                </a:lnTo>
                <a:lnTo>
                  <a:pt x="5244392" y="2731341"/>
                </a:lnTo>
                <a:lnTo>
                  <a:pt x="5244718" y="2733181"/>
                </a:lnTo>
                <a:lnTo>
                  <a:pt x="5242873" y="2735347"/>
                </a:lnTo>
                <a:lnTo>
                  <a:pt x="5239292" y="2735563"/>
                </a:lnTo>
                <a:lnTo>
                  <a:pt x="5234083" y="2738920"/>
                </a:lnTo>
                <a:lnTo>
                  <a:pt x="5226921" y="2740002"/>
                </a:lnTo>
                <a:lnTo>
                  <a:pt x="5221820" y="2739028"/>
                </a:lnTo>
                <a:lnTo>
                  <a:pt x="5218890" y="2736646"/>
                </a:lnTo>
                <a:lnTo>
                  <a:pt x="5215852" y="2734914"/>
                </a:lnTo>
                <a:lnTo>
                  <a:pt x="5218782" y="2733398"/>
                </a:lnTo>
                <a:lnTo>
                  <a:pt x="5219216" y="2729717"/>
                </a:lnTo>
                <a:close/>
                <a:moveTo>
                  <a:pt x="6878219" y="2726361"/>
                </a:moveTo>
                <a:lnTo>
                  <a:pt x="6881475" y="2727985"/>
                </a:lnTo>
                <a:lnTo>
                  <a:pt x="6881149" y="2730367"/>
                </a:lnTo>
                <a:lnTo>
                  <a:pt x="6876700" y="2730692"/>
                </a:lnTo>
                <a:lnTo>
                  <a:pt x="6876049" y="2727985"/>
                </a:lnTo>
                <a:close/>
                <a:moveTo>
                  <a:pt x="4795459" y="2725711"/>
                </a:moveTo>
                <a:lnTo>
                  <a:pt x="4795458" y="2725711"/>
                </a:lnTo>
                <a:lnTo>
                  <a:pt x="4794807" y="2729825"/>
                </a:lnTo>
                <a:lnTo>
                  <a:pt x="4788947" y="2739353"/>
                </a:lnTo>
                <a:lnTo>
                  <a:pt x="4788839" y="2743034"/>
                </a:lnTo>
                <a:lnTo>
                  <a:pt x="4782111" y="2747906"/>
                </a:lnTo>
                <a:lnTo>
                  <a:pt x="4779181" y="2755377"/>
                </a:lnTo>
                <a:lnTo>
                  <a:pt x="4774515" y="2773133"/>
                </a:lnTo>
                <a:lnTo>
                  <a:pt x="4773725" y="2772904"/>
                </a:lnTo>
                <a:lnTo>
                  <a:pt x="4774515" y="2773134"/>
                </a:lnTo>
                <a:lnTo>
                  <a:pt x="4779181" y="2755377"/>
                </a:lnTo>
                <a:lnTo>
                  <a:pt x="4782112" y="2747906"/>
                </a:lnTo>
                <a:lnTo>
                  <a:pt x="4788840" y="2743034"/>
                </a:lnTo>
                <a:lnTo>
                  <a:pt x="4788948" y="2739353"/>
                </a:lnTo>
                <a:lnTo>
                  <a:pt x="4794808" y="2729826"/>
                </a:lnTo>
                <a:close/>
                <a:moveTo>
                  <a:pt x="3623154" y="2725387"/>
                </a:moveTo>
                <a:lnTo>
                  <a:pt x="3618596" y="2726253"/>
                </a:lnTo>
                <a:lnTo>
                  <a:pt x="3623154" y="2725387"/>
                </a:lnTo>
                <a:lnTo>
                  <a:pt x="3638346" y="2725603"/>
                </a:lnTo>
                <a:lnTo>
                  <a:pt x="3648004" y="2730367"/>
                </a:lnTo>
                <a:lnTo>
                  <a:pt x="3652127" y="2733615"/>
                </a:lnTo>
                <a:lnTo>
                  <a:pt x="3659507" y="2733182"/>
                </a:lnTo>
                <a:lnTo>
                  <a:pt x="3667103" y="2736322"/>
                </a:lnTo>
                <a:lnTo>
                  <a:pt x="3667104" y="2736322"/>
                </a:lnTo>
                <a:lnTo>
                  <a:pt x="3659507" y="2733182"/>
                </a:lnTo>
                <a:lnTo>
                  <a:pt x="3652128" y="2733615"/>
                </a:lnTo>
                <a:lnTo>
                  <a:pt x="3648004" y="2730367"/>
                </a:lnTo>
                <a:lnTo>
                  <a:pt x="3638346" y="2725603"/>
                </a:lnTo>
                <a:close/>
                <a:moveTo>
                  <a:pt x="3612628" y="2724845"/>
                </a:moveTo>
                <a:lnTo>
                  <a:pt x="3618596" y="2726469"/>
                </a:lnTo>
                <a:lnTo>
                  <a:pt x="3618596" y="2726469"/>
                </a:lnTo>
                <a:close/>
                <a:moveTo>
                  <a:pt x="6894279" y="2724412"/>
                </a:moveTo>
                <a:lnTo>
                  <a:pt x="6897643" y="2725386"/>
                </a:lnTo>
                <a:lnTo>
                  <a:pt x="6897209" y="2727010"/>
                </a:lnTo>
                <a:lnTo>
                  <a:pt x="6898945" y="2726794"/>
                </a:lnTo>
                <a:lnTo>
                  <a:pt x="6903069" y="2730691"/>
                </a:lnTo>
                <a:lnTo>
                  <a:pt x="6906215" y="2731233"/>
                </a:lnTo>
                <a:lnTo>
                  <a:pt x="6913594" y="2735997"/>
                </a:lnTo>
                <a:lnTo>
                  <a:pt x="6916416" y="2739677"/>
                </a:lnTo>
                <a:lnTo>
                  <a:pt x="6916416" y="2742601"/>
                </a:lnTo>
                <a:lnTo>
                  <a:pt x="6912618" y="2743034"/>
                </a:lnTo>
                <a:lnTo>
                  <a:pt x="6906758" y="2740652"/>
                </a:lnTo>
                <a:lnTo>
                  <a:pt x="6901658" y="2734156"/>
                </a:lnTo>
                <a:lnTo>
                  <a:pt x="6898076" y="2734481"/>
                </a:lnTo>
                <a:lnTo>
                  <a:pt x="6894279" y="2740760"/>
                </a:lnTo>
                <a:lnTo>
                  <a:pt x="6893193" y="2738054"/>
                </a:lnTo>
                <a:lnTo>
                  <a:pt x="6893302" y="2735238"/>
                </a:lnTo>
                <a:lnTo>
                  <a:pt x="6895363" y="2733398"/>
                </a:lnTo>
                <a:lnTo>
                  <a:pt x="6894387" y="2729608"/>
                </a:lnTo>
                <a:close/>
                <a:moveTo>
                  <a:pt x="4281313" y="2724189"/>
                </a:moveTo>
                <a:lnTo>
                  <a:pt x="4281312" y="2724189"/>
                </a:lnTo>
                <a:lnTo>
                  <a:pt x="4285973" y="2726578"/>
                </a:lnTo>
                <a:lnTo>
                  <a:pt x="4291399" y="2731666"/>
                </a:lnTo>
                <a:lnTo>
                  <a:pt x="4285973" y="2726577"/>
                </a:lnTo>
                <a:close/>
                <a:moveTo>
                  <a:pt x="6902092" y="2723546"/>
                </a:moveTo>
                <a:lnTo>
                  <a:pt x="6905348" y="2724628"/>
                </a:lnTo>
                <a:lnTo>
                  <a:pt x="6909364" y="2729718"/>
                </a:lnTo>
                <a:lnTo>
                  <a:pt x="6907302" y="2729718"/>
                </a:lnTo>
                <a:lnTo>
                  <a:pt x="6903503" y="2725928"/>
                </a:lnTo>
                <a:close/>
                <a:moveTo>
                  <a:pt x="6935081" y="2723113"/>
                </a:moveTo>
                <a:lnTo>
                  <a:pt x="6937252" y="2724196"/>
                </a:lnTo>
                <a:lnTo>
                  <a:pt x="6938879" y="2723438"/>
                </a:lnTo>
                <a:lnTo>
                  <a:pt x="6941700" y="2723763"/>
                </a:lnTo>
                <a:lnTo>
                  <a:pt x="6944196" y="2728094"/>
                </a:lnTo>
                <a:lnTo>
                  <a:pt x="6948211" y="2733507"/>
                </a:lnTo>
                <a:lnTo>
                  <a:pt x="6950164" y="2735023"/>
                </a:lnTo>
                <a:lnTo>
                  <a:pt x="6949622" y="2737621"/>
                </a:lnTo>
                <a:lnTo>
                  <a:pt x="6950490" y="2746066"/>
                </a:lnTo>
                <a:lnTo>
                  <a:pt x="6950164" y="2752887"/>
                </a:lnTo>
                <a:lnTo>
                  <a:pt x="6952769" y="2755269"/>
                </a:lnTo>
                <a:lnTo>
                  <a:pt x="6954180" y="2759600"/>
                </a:lnTo>
                <a:lnTo>
                  <a:pt x="6956458" y="2762415"/>
                </a:lnTo>
                <a:lnTo>
                  <a:pt x="6953963" y="2761332"/>
                </a:lnTo>
                <a:lnTo>
                  <a:pt x="6952877" y="2762523"/>
                </a:lnTo>
                <a:lnTo>
                  <a:pt x="6951467" y="2761873"/>
                </a:lnTo>
                <a:lnTo>
                  <a:pt x="6944413" y="2761440"/>
                </a:lnTo>
                <a:lnTo>
                  <a:pt x="6943003" y="2758192"/>
                </a:lnTo>
                <a:lnTo>
                  <a:pt x="6939097" y="2755702"/>
                </a:lnTo>
                <a:lnTo>
                  <a:pt x="6937360" y="2754511"/>
                </a:lnTo>
                <a:lnTo>
                  <a:pt x="6936492" y="2753104"/>
                </a:lnTo>
                <a:lnTo>
                  <a:pt x="6934213" y="2753970"/>
                </a:lnTo>
                <a:lnTo>
                  <a:pt x="6934973" y="2752887"/>
                </a:lnTo>
                <a:lnTo>
                  <a:pt x="6937252" y="2749964"/>
                </a:lnTo>
                <a:lnTo>
                  <a:pt x="6937903" y="2747798"/>
                </a:lnTo>
                <a:lnTo>
                  <a:pt x="6935515" y="2746282"/>
                </a:lnTo>
                <a:lnTo>
                  <a:pt x="6929981" y="2739894"/>
                </a:lnTo>
                <a:lnTo>
                  <a:pt x="6924013" y="2735131"/>
                </a:lnTo>
                <a:lnTo>
                  <a:pt x="6920215" y="2727552"/>
                </a:lnTo>
                <a:lnTo>
                  <a:pt x="6920323" y="2724304"/>
                </a:lnTo>
                <a:lnTo>
                  <a:pt x="6922385" y="2725278"/>
                </a:lnTo>
                <a:lnTo>
                  <a:pt x="6926074" y="2725170"/>
                </a:lnTo>
                <a:lnTo>
                  <a:pt x="6930958" y="2725386"/>
                </a:lnTo>
                <a:lnTo>
                  <a:pt x="6932585" y="2723654"/>
                </a:lnTo>
                <a:close/>
                <a:moveTo>
                  <a:pt x="4148157" y="2723004"/>
                </a:moveTo>
                <a:lnTo>
                  <a:pt x="4148157" y="2723004"/>
                </a:lnTo>
                <a:lnTo>
                  <a:pt x="4153040" y="2723654"/>
                </a:lnTo>
                <a:lnTo>
                  <a:pt x="4162806" y="2727227"/>
                </a:lnTo>
                <a:lnTo>
                  <a:pt x="4167147" y="2728310"/>
                </a:lnTo>
                <a:lnTo>
                  <a:pt x="4173007" y="2724412"/>
                </a:lnTo>
                <a:lnTo>
                  <a:pt x="4167147" y="2728310"/>
                </a:lnTo>
                <a:lnTo>
                  <a:pt x="4162807" y="2727227"/>
                </a:lnTo>
                <a:lnTo>
                  <a:pt x="4153040" y="2723654"/>
                </a:lnTo>
                <a:close/>
                <a:moveTo>
                  <a:pt x="3996567" y="2722363"/>
                </a:moveTo>
                <a:lnTo>
                  <a:pt x="3996993" y="2722788"/>
                </a:lnTo>
                <a:lnTo>
                  <a:pt x="3997138" y="2724340"/>
                </a:lnTo>
                <a:lnTo>
                  <a:pt x="3996993" y="2722788"/>
                </a:lnTo>
                <a:close/>
                <a:moveTo>
                  <a:pt x="6868886" y="2720731"/>
                </a:moveTo>
                <a:lnTo>
                  <a:pt x="6867801" y="2726253"/>
                </a:lnTo>
                <a:lnTo>
                  <a:pt x="6869430" y="2730475"/>
                </a:lnTo>
                <a:lnTo>
                  <a:pt x="6867584" y="2736322"/>
                </a:lnTo>
                <a:lnTo>
                  <a:pt x="6864655" y="2737296"/>
                </a:lnTo>
                <a:lnTo>
                  <a:pt x="6862158" y="2731125"/>
                </a:lnTo>
                <a:lnTo>
                  <a:pt x="6865088" y="2727119"/>
                </a:lnTo>
                <a:lnTo>
                  <a:pt x="6867150" y="2722463"/>
                </a:lnTo>
                <a:close/>
                <a:moveTo>
                  <a:pt x="4235408" y="2720614"/>
                </a:moveTo>
                <a:lnTo>
                  <a:pt x="4235404" y="2720622"/>
                </a:lnTo>
                <a:lnTo>
                  <a:pt x="4231823" y="2721488"/>
                </a:lnTo>
                <a:lnTo>
                  <a:pt x="4231789" y="2721464"/>
                </a:lnTo>
                <a:lnTo>
                  <a:pt x="4231823" y="2721489"/>
                </a:lnTo>
                <a:lnTo>
                  <a:pt x="4235404" y="2720622"/>
                </a:lnTo>
                <a:close/>
                <a:moveTo>
                  <a:pt x="4109480" y="2719456"/>
                </a:moveTo>
                <a:lnTo>
                  <a:pt x="4107680" y="2720081"/>
                </a:lnTo>
                <a:lnTo>
                  <a:pt x="4107680" y="2720081"/>
                </a:lnTo>
                <a:close/>
                <a:moveTo>
                  <a:pt x="4135569" y="2716941"/>
                </a:moveTo>
                <a:lnTo>
                  <a:pt x="4135569" y="2716941"/>
                </a:lnTo>
                <a:lnTo>
                  <a:pt x="4140452" y="2718674"/>
                </a:lnTo>
                <a:lnTo>
                  <a:pt x="4140452" y="2718673"/>
                </a:lnTo>
                <a:close/>
                <a:moveTo>
                  <a:pt x="3991892" y="2716616"/>
                </a:moveTo>
                <a:lnTo>
                  <a:pt x="3981584" y="2722138"/>
                </a:lnTo>
                <a:lnTo>
                  <a:pt x="3991893" y="2716617"/>
                </a:lnTo>
                <a:close/>
                <a:moveTo>
                  <a:pt x="6316428" y="2715534"/>
                </a:moveTo>
                <a:lnTo>
                  <a:pt x="6316428" y="2715534"/>
                </a:lnTo>
                <a:lnTo>
                  <a:pt x="6319141" y="2718458"/>
                </a:lnTo>
                <a:lnTo>
                  <a:pt x="6319245" y="2719204"/>
                </a:lnTo>
                <a:lnTo>
                  <a:pt x="6319141" y="2718457"/>
                </a:lnTo>
                <a:close/>
                <a:moveTo>
                  <a:pt x="6393547" y="2715317"/>
                </a:moveTo>
                <a:lnTo>
                  <a:pt x="6394234" y="2718457"/>
                </a:lnTo>
                <a:lnTo>
                  <a:pt x="6398358" y="2720623"/>
                </a:lnTo>
                <a:lnTo>
                  <a:pt x="6399118" y="2722210"/>
                </a:lnTo>
                <a:lnTo>
                  <a:pt x="6398358" y="2720622"/>
                </a:lnTo>
                <a:lnTo>
                  <a:pt x="6394234" y="2718457"/>
                </a:lnTo>
                <a:close/>
                <a:moveTo>
                  <a:pt x="4038989" y="2713802"/>
                </a:moveTo>
                <a:lnTo>
                  <a:pt x="4038663" y="2715209"/>
                </a:lnTo>
                <a:lnTo>
                  <a:pt x="4037686" y="2717049"/>
                </a:lnTo>
                <a:lnTo>
                  <a:pt x="4038771" y="2721381"/>
                </a:lnTo>
                <a:lnTo>
                  <a:pt x="4040399" y="2723330"/>
                </a:lnTo>
                <a:lnTo>
                  <a:pt x="4040616" y="2726685"/>
                </a:lnTo>
                <a:lnTo>
                  <a:pt x="4036276" y="2726794"/>
                </a:lnTo>
                <a:lnTo>
                  <a:pt x="4031284" y="2731883"/>
                </a:lnTo>
                <a:lnTo>
                  <a:pt x="4032260" y="2734373"/>
                </a:lnTo>
                <a:lnTo>
                  <a:pt x="4030633" y="2736863"/>
                </a:lnTo>
                <a:lnTo>
                  <a:pt x="4033455" y="2743684"/>
                </a:lnTo>
                <a:lnTo>
                  <a:pt x="4030633" y="2736863"/>
                </a:lnTo>
                <a:lnTo>
                  <a:pt x="4032261" y="2734373"/>
                </a:lnTo>
                <a:lnTo>
                  <a:pt x="4031284" y="2731883"/>
                </a:lnTo>
                <a:lnTo>
                  <a:pt x="4036276" y="2726794"/>
                </a:lnTo>
                <a:lnTo>
                  <a:pt x="4040617" y="2726686"/>
                </a:lnTo>
                <a:lnTo>
                  <a:pt x="4040400" y="2723330"/>
                </a:lnTo>
                <a:lnTo>
                  <a:pt x="4038772" y="2721381"/>
                </a:lnTo>
                <a:lnTo>
                  <a:pt x="4037687" y="2717049"/>
                </a:lnTo>
                <a:lnTo>
                  <a:pt x="4038664" y="2715209"/>
                </a:lnTo>
                <a:close/>
                <a:moveTo>
                  <a:pt x="4201872" y="2712718"/>
                </a:moveTo>
                <a:lnTo>
                  <a:pt x="4196664" y="2715317"/>
                </a:lnTo>
                <a:lnTo>
                  <a:pt x="4184184" y="2714451"/>
                </a:lnTo>
                <a:lnTo>
                  <a:pt x="4179084" y="2715859"/>
                </a:lnTo>
                <a:lnTo>
                  <a:pt x="4179084" y="2715859"/>
                </a:lnTo>
                <a:lnTo>
                  <a:pt x="4184184" y="2714451"/>
                </a:lnTo>
                <a:lnTo>
                  <a:pt x="4196664" y="2715318"/>
                </a:lnTo>
                <a:lnTo>
                  <a:pt x="4201872" y="2712719"/>
                </a:lnTo>
                <a:lnTo>
                  <a:pt x="4212507" y="2714018"/>
                </a:lnTo>
                <a:lnTo>
                  <a:pt x="4220212" y="2717699"/>
                </a:lnTo>
                <a:lnTo>
                  <a:pt x="4226939" y="2717916"/>
                </a:lnTo>
                <a:lnTo>
                  <a:pt x="4226956" y="2717928"/>
                </a:lnTo>
                <a:lnTo>
                  <a:pt x="4226940" y="2717916"/>
                </a:lnTo>
                <a:lnTo>
                  <a:pt x="4220212" y="2717699"/>
                </a:lnTo>
                <a:lnTo>
                  <a:pt x="4212507" y="2714018"/>
                </a:lnTo>
                <a:close/>
                <a:moveTo>
                  <a:pt x="4126453" y="2712610"/>
                </a:moveTo>
                <a:lnTo>
                  <a:pt x="4119726" y="2713910"/>
                </a:lnTo>
                <a:lnTo>
                  <a:pt x="4116144" y="2715642"/>
                </a:lnTo>
                <a:lnTo>
                  <a:pt x="4112780" y="2715967"/>
                </a:lnTo>
                <a:lnTo>
                  <a:pt x="4111478" y="2717591"/>
                </a:lnTo>
                <a:lnTo>
                  <a:pt x="4112781" y="2715967"/>
                </a:lnTo>
                <a:lnTo>
                  <a:pt x="4116144" y="2715642"/>
                </a:lnTo>
                <a:lnTo>
                  <a:pt x="4119726" y="2713910"/>
                </a:lnTo>
                <a:lnTo>
                  <a:pt x="4126453" y="2712610"/>
                </a:lnTo>
                <a:close/>
                <a:moveTo>
                  <a:pt x="3672744" y="2712069"/>
                </a:moveTo>
                <a:lnTo>
                  <a:pt x="3671681" y="2712254"/>
                </a:lnTo>
                <a:lnTo>
                  <a:pt x="3672745" y="2712069"/>
                </a:lnTo>
                <a:close/>
                <a:moveTo>
                  <a:pt x="4127430" y="2711636"/>
                </a:moveTo>
                <a:lnTo>
                  <a:pt x="4126757" y="2712308"/>
                </a:lnTo>
                <a:lnTo>
                  <a:pt x="4127430" y="2711636"/>
                </a:lnTo>
                <a:lnTo>
                  <a:pt x="4131336" y="2711853"/>
                </a:lnTo>
                <a:lnTo>
                  <a:pt x="4135569" y="2715101"/>
                </a:lnTo>
                <a:lnTo>
                  <a:pt x="4135569" y="2715101"/>
                </a:lnTo>
                <a:lnTo>
                  <a:pt x="4131337" y="2711853"/>
                </a:lnTo>
                <a:close/>
                <a:moveTo>
                  <a:pt x="2540157" y="2711095"/>
                </a:moveTo>
                <a:lnTo>
                  <a:pt x="2544498" y="2715209"/>
                </a:lnTo>
                <a:lnTo>
                  <a:pt x="2544606" y="2719648"/>
                </a:lnTo>
                <a:lnTo>
                  <a:pt x="2538638" y="2719866"/>
                </a:lnTo>
                <a:lnTo>
                  <a:pt x="2535600" y="2715642"/>
                </a:lnTo>
                <a:close/>
                <a:moveTo>
                  <a:pt x="4246183" y="2710842"/>
                </a:moveTo>
                <a:lnTo>
                  <a:pt x="4244085" y="2711420"/>
                </a:lnTo>
                <a:lnTo>
                  <a:pt x="4243919" y="2711778"/>
                </a:lnTo>
                <a:lnTo>
                  <a:pt x="4244085" y="2711420"/>
                </a:lnTo>
                <a:close/>
                <a:moveTo>
                  <a:pt x="4247232" y="2710553"/>
                </a:moveTo>
                <a:lnTo>
                  <a:pt x="4250813" y="2712069"/>
                </a:lnTo>
                <a:lnTo>
                  <a:pt x="4247233" y="2710553"/>
                </a:lnTo>
                <a:close/>
                <a:moveTo>
                  <a:pt x="6888311" y="2709579"/>
                </a:moveTo>
                <a:lnTo>
                  <a:pt x="6893086" y="2714560"/>
                </a:lnTo>
                <a:lnTo>
                  <a:pt x="6893737" y="2717266"/>
                </a:lnTo>
                <a:lnTo>
                  <a:pt x="6892543" y="2719540"/>
                </a:lnTo>
                <a:lnTo>
                  <a:pt x="6886358" y="2712719"/>
                </a:lnTo>
                <a:lnTo>
                  <a:pt x="6886466" y="2710012"/>
                </a:lnTo>
                <a:close/>
                <a:moveTo>
                  <a:pt x="2498704" y="2709579"/>
                </a:moveTo>
                <a:lnTo>
                  <a:pt x="2500874" y="2714884"/>
                </a:lnTo>
                <a:lnTo>
                  <a:pt x="2497185" y="2722030"/>
                </a:lnTo>
                <a:close/>
                <a:moveTo>
                  <a:pt x="3851255" y="2709254"/>
                </a:moveTo>
                <a:lnTo>
                  <a:pt x="3851254" y="2709254"/>
                </a:lnTo>
                <a:lnTo>
                  <a:pt x="3845828" y="2718674"/>
                </a:lnTo>
                <a:lnTo>
                  <a:pt x="3845612" y="2722138"/>
                </a:lnTo>
                <a:lnTo>
                  <a:pt x="3840511" y="2728960"/>
                </a:lnTo>
                <a:lnTo>
                  <a:pt x="3833566" y="2741627"/>
                </a:lnTo>
                <a:lnTo>
                  <a:pt x="3827597" y="2746174"/>
                </a:lnTo>
                <a:lnTo>
                  <a:pt x="3824902" y="2748326"/>
                </a:lnTo>
                <a:lnTo>
                  <a:pt x="3827598" y="2746174"/>
                </a:lnTo>
                <a:lnTo>
                  <a:pt x="3833567" y="2741627"/>
                </a:lnTo>
                <a:lnTo>
                  <a:pt x="3840512" y="2728959"/>
                </a:lnTo>
                <a:lnTo>
                  <a:pt x="3845612" y="2722138"/>
                </a:lnTo>
                <a:lnTo>
                  <a:pt x="3845829" y="2718674"/>
                </a:lnTo>
                <a:close/>
                <a:moveTo>
                  <a:pt x="3600108" y="2707990"/>
                </a:moveTo>
                <a:lnTo>
                  <a:pt x="3604164" y="2709363"/>
                </a:lnTo>
                <a:lnTo>
                  <a:pt x="3605867" y="2710070"/>
                </a:lnTo>
                <a:lnTo>
                  <a:pt x="3604163" y="2709362"/>
                </a:lnTo>
                <a:close/>
                <a:moveTo>
                  <a:pt x="3592987" y="2707197"/>
                </a:moveTo>
                <a:lnTo>
                  <a:pt x="3592987" y="2707197"/>
                </a:lnTo>
                <a:lnTo>
                  <a:pt x="3598087" y="2707305"/>
                </a:lnTo>
                <a:lnTo>
                  <a:pt x="3598086" y="2707305"/>
                </a:lnTo>
                <a:close/>
                <a:moveTo>
                  <a:pt x="3617077" y="2706764"/>
                </a:moveTo>
                <a:lnTo>
                  <a:pt x="3618921" y="2709795"/>
                </a:lnTo>
                <a:lnTo>
                  <a:pt x="3617293" y="2712827"/>
                </a:lnTo>
                <a:lnTo>
                  <a:pt x="3615422" y="2712751"/>
                </a:lnTo>
                <a:lnTo>
                  <a:pt x="3617294" y="2712827"/>
                </a:lnTo>
                <a:lnTo>
                  <a:pt x="3618921" y="2709796"/>
                </a:lnTo>
                <a:close/>
                <a:moveTo>
                  <a:pt x="6315886" y="2705790"/>
                </a:moveTo>
                <a:lnTo>
                  <a:pt x="6315886" y="2705790"/>
                </a:lnTo>
                <a:lnTo>
                  <a:pt x="6316862" y="2710337"/>
                </a:lnTo>
                <a:lnTo>
                  <a:pt x="6316862" y="2710337"/>
                </a:lnTo>
                <a:close/>
                <a:moveTo>
                  <a:pt x="3855486" y="2704924"/>
                </a:moveTo>
                <a:lnTo>
                  <a:pt x="3854510" y="2708171"/>
                </a:lnTo>
                <a:lnTo>
                  <a:pt x="3851304" y="2709238"/>
                </a:lnTo>
                <a:lnTo>
                  <a:pt x="3854511" y="2708172"/>
                </a:lnTo>
                <a:lnTo>
                  <a:pt x="3855488" y="2704924"/>
                </a:lnTo>
                <a:close/>
                <a:moveTo>
                  <a:pt x="3584956" y="2704490"/>
                </a:moveTo>
                <a:lnTo>
                  <a:pt x="3584955" y="2704490"/>
                </a:lnTo>
                <a:lnTo>
                  <a:pt x="3581375" y="2707305"/>
                </a:lnTo>
                <a:lnTo>
                  <a:pt x="3581375" y="2707305"/>
                </a:lnTo>
                <a:close/>
                <a:moveTo>
                  <a:pt x="3563036" y="2703949"/>
                </a:moveTo>
                <a:lnTo>
                  <a:pt x="3563035" y="2703949"/>
                </a:lnTo>
                <a:lnTo>
                  <a:pt x="3567267" y="2703949"/>
                </a:lnTo>
                <a:lnTo>
                  <a:pt x="3567268" y="2703949"/>
                </a:lnTo>
                <a:close/>
                <a:moveTo>
                  <a:pt x="4466327" y="2703732"/>
                </a:moveTo>
                <a:lnTo>
                  <a:pt x="4466327" y="2703732"/>
                </a:lnTo>
                <a:lnTo>
                  <a:pt x="4469139" y="2705415"/>
                </a:lnTo>
                <a:close/>
                <a:moveTo>
                  <a:pt x="4256674" y="2703624"/>
                </a:moveTo>
                <a:lnTo>
                  <a:pt x="4256674" y="2703624"/>
                </a:lnTo>
                <a:lnTo>
                  <a:pt x="4261122" y="2705357"/>
                </a:lnTo>
                <a:lnTo>
                  <a:pt x="4264269" y="2706547"/>
                </a:lnTo>
                <a:lnTo>
                  <a:pt x="4269935" y="2713887"/>
                </a:lnTo>
                <a:lnTo>
                  <a:pt x="4269935" y="2713886"/>
                </a:lnTo>
                <a:lnTo>
                  <a:pt x="4264269" y="2706547"/>
                </a:lnTo>
                <a:lnTo>
                  <a:pt x="4261123" y="2705356"/>
                </a:lnTo>
                <a:lnTo>
                  <a:pt x="4261123" y="2705356"/>
                </a:lnTo>
                <a:close/>
                <a:moveTo>
                  <a:pt x="4084458" y="2703516"/>
                </a:moveTo>
                <a:lnTo>
                  <a:pt x="4088364" y="2704274"/>
                </a:lnTo>
                <a:lnTo>
                  <a:pt x="4093490" y="2706133"/>
                </a:lnTo>
                <a:lnTo>
                  <a:pt x="4088364" y="2704273"/>
                </a:lnTo>
                <a:close/>
                <a:moveTo>
                  <a:pt x="3587342" y="2703516"/>
                </a:moveTo>
                <a:lnTo>
                  <a:pt x="3585012" y="2704467"/>
                </a:lnTo>
                <a:lnTo>
                  <a:pt x="3587343" y="2703516"/>
                </a:lnTo>
                <a:close/>
                <a:moveTo>
                  <a:pt x="3966608" y="2701980"/>
                </a:moveTo>
                <a:lnTo>
                  <a:pt x="3972794" y="2706114"/>
                </a:lnTo>
                <a:lnTo>
                  <a:pt x="3972924" y="2708973"/>
                </a:lnTo>
                <a:lnTo>
                  <a:pt x="3972794" y="2706114"/>
                </a:lnTo>
                <a:close/>
                <a:moveTo>
                  <a:pt x="6167544" y="2701676"/>
                </a:moveTo>
                <a:lnTo>
                  <a:pt x="6168521" y="2704382"/>
                </a:lnTo>
                <a:lnTo>
                  <a:pt x="6167001" y="2708388"/>
                </a:lnTo>
                <a:lnTo>
                  <a:pt x="6168521" y="2710121"/>
                </a:lnTo>
                <a:lnTo>
                  <a:pt x="6168303" y="2715101"/>
                </a:lnTo>
                <a:lnTo>
                  <a:pt x="6164723" y="2720406"/>
                </a:lnTo>
                <a:lnTo>
                  <a:pt x="6167978" y="2722463"/>
                </a:lnTo>
                <a:lnTo>
                  <a:pt x="6167978" y="2729176"/>
                </a:lnTo>
                <a:lnTo>
                  <a:pt x="6162660" y="2733291"/>
                </a:lnTo>
                <a:lnTo>
                  <a:pt x="6160490" y="2731233"/>
                </a:lnTo>
                <a:lnTo>
                  <a:pt x="6163203" y="2720947"/>
                </a:lnTo>
                <a:lnTo>
                  <a:pt x="6162335" y="2717700"/>
                </a:lnTo>
                <a:lnTo>
                  <a:pt x="6163746" y="2714885"/>
                </a:lnTo>
                <a:lnTo>
                  <a:pt x="6162877" y="2706981"/>
                </a:lnTo>
                <a:close/>
                <a:moveTo>
                  <a:pt x="4076786" y="2701178"/>
                </a:moveTo>
                <a:lnTo>
                  <a:pt x="4081636" y="2701892"/>
                </a:lnTo>
                <a:lnTo>
                  <a:pt x="4081636" y="2701892"/>
                </a:lnTo>
                <a:close/>
                <a:moveTo>
                  <a:pt x="3604598" y="2700701"/>
                </a:moveTo>
                <a:lnTo>
                  <a:pt x="3615014" y="2707089"/>
                </a:lnTo>
                <a:lnTo>
                  <a:pt x="3615015" y="2707089"/>
                </a:lnTo>
                <a:close/>
                <a:moveTo>
                  <a:pt x="4072055" y="2699963"/>
                </a:moveTo>
                <a:lnTo>
                  <a:pt x="4068506" y="2700159"/>
                </a:lnTo>
                <a:lnTo>
                  <a:pt x="4066444" y="2702000"/>
                </a:lnTo>
                <a:lnTo>
                  <a:pt x="4059173" y="2701892"/>
                </a:lnTo>
                <a:lnTo>
                  <a:pt x="4057220" y="2702000"/>
                </a:lnTo>
                <a:lnTo>
                  <a:pt x="4053422" y="2701783"/>
                </a:lnTo>
                <a:lnTo>
                  <a:pt x="4048538" y="2702866"/>
                </a:lnTo>
                <a:lnTo>
                  <a:pt x="4046694" y="2703949"/>
                </a:lnTo>
                <a:lnTo>
                  <a:pt x="4044089" y="2705031"/>
                </a:lnTo>
                <a:lnTo>
                  <a:pt x="4038771" y="2709363"/>
                </a:lnTo>
                <a:lnTo>
                  <a:pt x="4038012" y="2711744"/>
                </a:lnTo>
                <a:lnTo>
                  <a:pt x="4038772" y="2709363"/>
                </a:lnTo>
                <a:lnTo>
                  <a:pt x="4044090" y="2705032"/>
                </a:lnTo>
                <a:lnTo>
                  <a:pt x="4046694" y="2703949"/>
                </a:lnTo>
                <a:lnTo>
                  <a:pt x="4048538" y="2702867"/>
                </a:lnTo>
                <a:lnTo>
                  <a:pt x="4053422" y="2701784"/>
                </a:lnTo>
                <a:lnTo>
                  <a:pt x="4057220" y="2702000"/>
                </a:lnTo>
                <a:lnTo>
                  <a:pt x="4059173" y="2701892"/>
                </a:lnTo>
                <a:lnTo>
                  <a:pt x="4066444" y="2702000"/>
                </a:lnTo>
                <a:lnTo>
                  <a:pt x="4068506" y="2700159"/>
                </a:lnTo>
                <a:close/>
                <a:moveTo>
                  <a:pt x="4072412" y="2699943"/>
                </a:moveTo>
                <a:lnTo>
                  <a:pt x="4073714" y="2700430"/>
                </a:lnTo>
                <a:lnTo>
                  <a:pt x="4072412" y="2699943"/>
                </a:lnTo>
                <a:close/>
                <a:moveTo>
                  <a:pt x="4906905" y="2699401"/>
                </a:moveTo>
                <a:lnTo>
                  <a:pt x="4906906" y="2699402"/>
                </a:lnTo>
                <a:lnTo>
                  <a:pt x="4913136" y="2700372"/>
                </a:lnTo>
                <a:close/>
                <a:moveTo>
                  <a:pt x="6825046" y="2699294"/>
                </a:moveTo>
                <a:lnTo>
                  <a:pt x="6830580" y="2701351"/>
                </a:lnTo>
                <a:lnTo>
                  <a:pt x="6836332" y="2700052"/>
                </a:lnTo>
                <a:lnTo>
                  <a:pt x="6846315" y="2708822"/>
                </a:lnTo>
                <a:lnTo>
                  <a:pt x="6851090" y="2710663"/>
                </a:lnTo>
                <a:lnTo>
                  <a:pt x="6851090" y="2714993"/>
                </a:lnTo>
                <a:lnTo>
                  <a:pt x="6849354" y="2718241"/>
                </a:lnTo>
                <a:lnTo>
                  <a:pt x="6851741" y="2721814"/>
                </a:lnTo>
                <a:lnTo>
                  <a:pt x="6851741" y="2725929"/>
                </a:lnTo>
                <a:lnTo>
                  <a:pt x="6849571" y="2727445"/>
                </a:lnTo>
                <a:lnTo>
                  <a:pt x="6849571" y="2731234"/>
                </a:lnTo>
                <a:lnTo>
                  <a:pt x="6845230" y="2734916"/>
                </a:lnTo>
                <a:lnTo>
                  <a:pt x="6841324" y="2734157"/>
                </a:lnTo>
                <a:lnTo>
                  <a:pt x="6836657" y="2728527"/>
                </a:lnTo>
                <a:lnTo>
                  <a:pt x="6836440" y="2724196"/>
                </a:lnTo>
                <a:lnTo>
                  <a:pt x="6832642" y="2722031"/>
                </a:lnTo>
                <a:lnTo>
                  <a:pt x="6832642" y="2714561"/>
                </a:lnTo>
                <a:lnTo>
                  <a:pt x="6829603" y="2710446"/>
                </a:lnTo>
                <a:lnTo>
                  <a:pt x="6826240" y="2709255"/>
                </a:lnTo>
                <a:lnTo>
                  <a:pt x="6825046" y="2703625"/>
                </a:lnTo>
                <a:lnTo>
                  <a:pt x="6821791" y="2703733"/>
                </a:lnTo>
                <a:lnTo>
                  <a:pt x="6820705" y="2701567"/>
                </a:lnTo>
                <a:close/>
                <a:moveTo>
                  <a:pt x="6859446" y="2697453"/>
                </a:moveTo>
                <a:lnTo>
                  <a:pt x="6863895" y="2699077"/>
                </a:lnTo>
                <a:lnTo>
                  <a:pt x="6866282" y="2703083"/>
                </a:lnTo>
                <a:lnTo>
                  <a:pt x="6864329" y="2705573"/>
                </a:lnTo>
                <a:lnTo>
                  <a:pt x="6863244" y="2708171"/>
                </a:lnTo>
                <a:lnTo>
                  <a:pt x="6857710" y="2704382"/>
                </a:lnTo>
                <a:lnTo>
                  <a:pt x="6856950" y="2700918"/>
                </a:lnTo>
                <a:close/>
                <a:moveTo>
                  <a:pt x="7408757" y="2697344"/>
                </a:moveTo>
                <a:lnTo>
                  <a:pt x="7410494" y="2698535"/>
                </a:lnTo>
                <a:lnTo>
                  <a:pt x="7406370" y="2706114"/>
                </a:lnTo>
                <a:lnTo>
                  <a:pt x="7402897" y="2707197"/>
                </a:lnTo>
                <a:lnTo>
                  <a:pt x="7401052" y="2705464"/>
                </a:lnTo>
                <a:lnTo>
                  <a:pt x="7401920" y="2702540"/>
                </a:lnTo>
                <a:lnTo>
                  <a:pt x="7404091" y="2698535"/>
                </a:lnTo>
                <a:close/>
                <a:moveTo>
                  <a:pt x="3879795" y="2696911"/>
                </a:moveTo>
                <a:lnTo>
                  <a:pt x="3879794" y="2696912"/>
                </a:lnTo>
                <a:lnTo>
                  <a:pt x="3877732" y="2701675"/>
                </a:lnTo>
                <a:lnTo>
                  <a:pt x="3877733" y="2701675"/>
                </a:lnTo>
                <a:close/>
                <a:moveTo>
                  <a:pt x="3582569" y="2694638"/>
                </a:moveTo>
                <a:lnTo>
                  <a:pt x="3586583" y="2695829"/>
                </a:lnTo>
                <a:lnTo>
                  <a:pt x="3592660" y="2696046"/>
                </a:lnTo>
                <a:lnTo>
                  <a:pt x="3600148" y="2700701"/>
                </a:lnTo>
                <a:lnTo>
                  <a:pt x="3600148" y="2700701"/>
                </a:lnTo>
                <a:lnTo>
                  <a:pt x="3592661" y="2696045"/>
                </a:lnTo>
                <a:lnTo>
                  <a:pt x="3586584" y="2695829"/>
                </a:lnTo>
                <a:close/>
                <a:moveTo>
                  <a:pt x="6396794" y="2693667"/>
                </a:moveTo>
                <a:lnTo>
                  <a:pt x="6396622" y="2694421"/>
                </a:lnTo>
                <a:lnTo>
                  <a:pt x="6394017" y="2697958"/>
                </a:lnTo>
                <a:lnTo>
                  <a:pt x="6396622" y="2694422"/>
                </a:lnTo>
                <a:close/>
                <a:moveTo>
                  <a:pt x="1861168" y="2693663"/>
                </a:moveTo>
                <a:lnTo>
                  <a:pt x="1857153" y="2694096"/>
                </a:lnTo>
                <a:lnTo>
                  <a:pt x="1856067" y="2696804"/>
                </a:lnTo>
                <a:lnTo>
                  <a:pt x="1855200" y="2698968"/>
                </a:lnTo>
                <a:lnTo>
                  <a:pt x="1855200" y="2698969"/>
                </a:lnTo>
                <a:lnTo>
                  <a:pt x="1856068" y="2696803"/>
                </a:lnTo>
                <a:lnTo>
                  <a:pt x="1857153" y="2694097"/>
                </a:lnTo>
                <a:lnTo>
                  <a:pt x="1861168" y="2693663"/>
                </a:lnTo>
                <a:close/>
                <a:moveTo>
                  <a:pt x="2505432" y="2692797"/>
                </a:moveTo>
                <a:lnTo>
                  <a:pt x="2507059" y="2700376"/>
                </a:lnTo>
                <a:lnTo>
                  <a:pt x="2504564" y="2706873"/>
                </a:lnTo>
                <a:lnTo>
                  <a:pt x="2500657" y="2704924"/>
                </a:lnTo>
                <a:lnTo>
                  <a:pt x="2499789" y="2700376"/>
                </a:lnTo>
                <a:close/>
                <a:moveTo>
                  <a:pt x="1823404" y="2691497"/>
                </a:moveTo>
                <a:lnTo>
                  <a:pt x="1819281" y="2692688"/>
                </a:lnTo>
                <a:lnTo>
                  <a:pt x="1813421" y="2693988"/>
                </a:lnTo>
                <a:lnTo>
                  <a:pt x="1808972" y="2698860"/>
                </a:lnTo>
                <a:lnTo>
                  <a:pt x="1808940" y="2699216"/>
                </a:lnTo>
                <a:lnTo>
                  <a:pt x="1808972" y="2698861"/>
                </a:lnTo>
                <a:lnTo>
                  <a:pt x="1813421" y="2693989"/>
                </a:lnTo>
                <a:lnTo>
                  <a:pt x="1819281" y="2692689"/>
                </a:lnTo>
                <a:lnTo>
                  <a:pt x="1823404" y="2691498"/>
                </a:lnTo>
                <a:close/>
                <a:moveTo>
                  <a:pt x="6812566" y="2691173"/>
                </a:moveTo>
                <a:lnTo>
                  <a:pt x="6815713" y="2691173"/>
                </a:lnTo>
                <a:lnTo>
                  <a:pt x="6820162" y="2695829"/>
                </a:lnTo>
                <a:lnTo>
                  <a:pt x="6818969" y="2697020"/>
                </a:lnTo>
                <a:lnTo>
                  <a:pt x="6813109" y="2694530"/>
                </a:lnTo>
                <a:close/>
                <a:moveTo>
                  <a:pt x="1843697" y="2689441"/>
                </a:moveTo>
                <a:lnTo>
                  <a:pt x="1839031" y="2690091"/>
                </a:lnTo>
                <a:lnTo>
                  <a:pt x="1843697" y="2689441"/>
                </a:lnTo>
                <a:close/>
                <a:moveTo>
                  <a:pt x="4815100" y="2689224"/>
                </a:moveTo>
                <a:lnTo>
                  <a:pt x="4813906" y="2690956"/>
                </a:lnTo>
                <a:lnTo>
                  <a:pt x="4811302" y="2698211"/>
                </a:lnTo>
                <a:lnTo>
                  <a:pt x="4811302" y="2706438"/>
                </a:lnTo>
                <a:lnTo>
                  <a:pt x="4804791" y="2717482"/>
                </a:lnTo>
                <a:lnTo>
                  <a:pt x="4802077" y="2725061"/>
                </a:lnTo>
                <a:lnTo>
                  <a:pt x="4802079" y="2725061"/>
                </a:lnTo>
                <a:lnTo>
                  <a:pt x="4804792" y="2717482"/>
                </a:lnTo>
                <a:lnTo>
                  <a:pt x="4811303" y="2706439"/>
                </a:lnTo>
                <a:lnTo>
                  <a:pt x="4811303" y="2698210"/>
                </a:lnTo>
                <a:lnTo>
                  <a:pt x="4813907" y="2690956"/>
                </a:lnTo>
                <a:lnTo>
                  <a:pt x="4815101" y="2689224"/>
                </a:lnTo>
                <a:close/>
                <a:moveTo>
                  <a:pt x="4471536" y="2686409"/>
                </a:moveTo>
                <a:lnTo>
                  <a:pt x="4471753" y="2689765"/>
                </a:lnTo>
                <a:lnTo>
                  <a:pt x="4472926" y="2690935"/>
                </a:lnTo>
                <a:lnTo>
                  <a:pt x="4471753" y="2689765"/>
                </a:lnTo>
                <a:close/>
                <a:moveTo>
                  <a:pt x="6472288" y="2686264"/>
                </a:moveTo>
                <a:lnTo>
                  <a:pt x="6473450" y="2686301"/>
                </a:lnTo>
                <a:lnTo>
                  <a:pt x="6477792" y="2693338"/>
                </a:lnTo>
                <a:lnTo>
                  <a:pt x="6485279" y="2696045"/>
                </a:lnTo>
                <a:lnTo>
                  <a:pt x="6477794" y="2693338"/>
                </a:lnTo>
                <a:lnTo>
                  <a:pt x="6473453" y="2686301"/>
                </a:lnTo>
                <a:close/>
                <a:moveTo>
                  <a:pt x="4891213" y="2685990"/>
                </a:moveTo>
                <a:lnTo>
                  <a:pt x="4892799" y="2687492"/>
                </a:lnTo>
                <a:lnTo>
                  <a:pt x="4896705" y="2688249"/>
                </a:lnTo>
                <a:lnTo>
                  <a:pt x="4905061" y="2695720"/>
                </a:lnTo>
                <a:lnTo>
                  <a:pt x="4905061" y="2695720"/>
                </a:lnTo>
                <a:lnTo>
                  <a:pt x="4896705" y="2688249"/>
                </a:lnTo>
                <a:lnTo>
                  <a:pt x="4892798" y="2687491"/>
                </a:lnTo>
                <a:close/>
                <a:moveTo>
                  <a:pt x="6915657" y="2684893"/>
                </a:moveTo>
                <a:lnTo>
                  <a:pt x="6919129" y="2688466"/>
                </a:lnTo>
                <a:lnTo>
                  <a:pt x="6921409" y="2693338"/>
                </a:lnTo>
                <a:lnTo>
                  <a:pt x="6919672" y="2698318"/>
                </a:lnTo>
                <a:lnTo>
                  <a:pt x="6913378" y="2699617"/>
                </a:lnTo>
                <a:lnTo>
                  <a:pt x="6911208" y="2697019"/>
                </a:lnTo>
                <a:lnTo>
                  <a:pt x="6912836" y="2695719"/>
                </a:lnTo>
                <a:lnTo>
                  <a:pt x="6914246" y="2692039"/>
                </a:lnTo>
                <a:lnTo>
                  <a:pt x="6913378" y="2686733"/>
                </a:lnTo>
                <a:close/>
                <a:moveTo>
                  <a:pt x="1829373" y="2684461"/>
                </a:moveTo>
                <a:lnTo>
                  <a:pt x="1827539" y="2685859"/>
                </a:lnTo>
                <a:lnTo>
                  <a:pt x="1827528" y="2685868"/>
                </a:lnTo>
                <a:lnTo>
                  <a:pt x="1823790" y="2688616"/>
                </a:lnTo>
                <a:lnTo>
                  <a:pt x="1827529" y="2685869"/>
                </a:lnTo>
                <a:lnTo>
                  <a:pt x="1829374" y="2684461"/>
                </a:lnTo>
                <a:lnTo>
                  <a:pt x="1831012" y="2684814"/>
                </a:lnTo>
                <a:close/>
                <a:moveTo>
                  <a:pt x="1829430" y="2684390"/>
                </a:moveTo>
                <a:lnTo>
                  <a:pt x="1823405" y="2688899"/>
                </a:lnTo>
                <a:lnTo>
                  <a:pt x="1823405" y="2688899"/>
                </a:lnTo>
                <a:lnTo>
                  <a:pt x="1823416" y="2688892"/>
                </a:lnTo>
                <a:close/>
                <a:moveTo>
                  <a:pt x="4883683" y="2682511"/>
                </a:moveTo>
                <a:lnTo>
                  <a:pt x="4879776" y="2683268"/>
                </a:lnTo>
                <a:lnTo>
                  <a:pt x="4879125" y="2684676"/>
                </a:lnTo>
                <a:lnTo>
                  <a:pt x="4879125" y="2684676"/>
                </a:lnTo>
                <a:lnTo>
                  <a:pt x="4879777" y="2683269"/>
                </a:lnTo>
                <a:lnTo>
                  <a:pt x="4883683" y="2682511"/>
                </a:lnTo>
                <a:close/>
                <a:moveTo>
                  <a:pt x="3903358" y="2682413"/>
                </a:moveTo>
                <a:lnTo>
                  <a:pt x="3892924" y="2688142"/>
                </a:lnTo>
                <a:lnTo>
                  <a:pt x="3884050" y="2694070"/>
                </a:lnTo>
                <a:lnTo>
                  <a:pt x="3892926" y="2688141"/>
                </a:lnTo>
                <a:close/>
                <a:moveTo>
                  <a:pt x="7419283" y="2681212"/>
                </a:moveTo>
                <a:lnTo>
                  <a:pt x="7420802" y="2684136"/>
                </a:lnTo>
                <a:lnTo>
                  <a:pt x="7418089" y="2684461"/>
                </a:lnTo>
                <a:lnTo>
                  <a:pt x="7414942" y="2683810"/>
                </a:lnTo>
                <a:close/>
                <a:moveTo>
                  <a:pt x="6506114" y="2680779"/>
                </a:moveTo>
                <a:lnTo>
                  <a:pt x="6509044" y="2688141"/>
                </a:lnTo>
                <a:lnTo>
                  <a:pt x="6513277" y="2690415"/>
                </a:lnTo>
                <a:lnTo>
                  <a:pt x="6517400" y="2700051"/>
                </a:lnTo>
                <a:lnTo>
                  <a:pt x="6516423" y="2707414"/>
                </a:lnTo>
                <a:lnTo>
                  <a:pt x="6518159" y="2712069"/>
                </a:lnTo>
                <a:lnTo>
                  <a:pt x="6516532" y="2718457"/>
                </a:lnTo>
                <a:lnTo>
                  <a:pt x="6517400" y="2723979"/>
                </a:lnTo>
                <a:lnTo>
                  <a:pt x="6514036" y="2731017"/>
                </a:lnTo>
                <a:lnTo>
                  <a:pt x="6510238" y="2732532"/>
                </a:lnTo>
                <a:lnTo>
                  <a:pt x="6509153" y="2735672"/>
                </a:lnTo>
                <a:lnTo>
                  <a:pt x="6502641" y="2737513"/>
                </a:lnTo>
                <a:lnTo>
                  <a:pt x="6495697" y="2742060"/>
                </a:lnTo>
                <a:lnTo>
                  <a:pt x="6493309" y="2746607"/>
                </a:lnTo>
                <a:lnTo>
                  <a:pt x="6493310" y="2746607"/>
                </a:lnTo>
                <a:lnTo>
                  <a:pt x="6495698" y="2742060"/>
                </a:lnTo>
                <a:lnTo>
                  <a:pt x="6502642" y="2737513"/>
                </a:lnTo>
                <a:lnTo>
                  <a:pt x="6509154" y="2735672"/>
                </a:lnTo>
                <a:lnTo>
                  <a:pt x="6510239" y="2732532"/>
                </a:lnTo>
                <a:lnTo>
                  <a:pt x="6514037" y="2731017"/>
                </a:lnTo>
                <a:lnTo>
                  <a:pt x="6517401" y="2723979"/>
                </a:lnTo>
                <a:lnTo>
                  <a:pt x="6516533" y="2718457"/>
                </a:lnTo>
                <a:lnTo>
                  <a:pt x="6518160" y="2712069"/>
                </a:lnTo>
                <a:lnTo>
                  <a:pt x="6516424" y="2707414"/>
                </a:lnTo>
                <a:lnTo>
                  <a:pt x="6517401" y="2700051"/>
                </a:lnTo>
                <a:lnTo>
                  <a:pt x="6513278" y="2690415"/>
                </a:lnTo>
                <a:lnTo>
                  <a:pt x="6509045" y="2688141"/>
                </a:lnTo>
                <a:lnTo>
                  <a:pt x="6506115" y="2680779"/>
                </a:lnTo>
                <a:close/>
                <a:moveTo>
                  <a:pt x="1759982" y="2680080"/>
                </a:moveTo>
                <a:lnTo>
                  <a:pt x="1759271" y="2681970"/>
                </a:lnTo>
                <a:lnTo>
                  <a:pt x="1759220" y="2682014"/>
                </a:lnTo>
                <a:lnTo>
                  <a:pt x="1759272" y="2681970"/>
                </a:lnTo>
                <a:close/>
                <a:moveTo>
                  <a:pt x="6859012" y="2679046"/>
                </a:moveTo>
                <a:lnTo>
                  <a:pt x="6862376" y="2681319"/>
                </a:lnTo>
                <a:lnTo>
                  <a:pt x="6863245" y="2685001"/>
                </a:lnTo>
                <a:lnTo>
                  <a:pt x="6859880" y="2683052"/>
                </a:lnTo>
                <a:close/>
                <a:moveTo>
                  <a:pt x="3953130" y="2678678"/>
                </a:moveTo>
                <a:lnTo>
                  <a:pt x="3953044" y="2679263"/>
                </a:lnTo>
                <a:lnTo>
                  <a:pt x="3951579" y="2681645"/>
                </a:lnTo>
                <a:lnTo>
                  <a:pt x="3953044" y="2679263"/>
                </a:lnTo>
                <a:close/>
                <a:moveTo>
                  <a:pt x="1944526" y="2678519"/>
                </a:moveTo>
                <a:lnTo>
                  <a:pt x="1945160" y="2680021"/>
                </a:lnTo>
                <a:lnTo>
                  <a:pt x="1945488" y="2679972"/>
                </a:lnTo>
                <a:lnTo>
                  <a:pt x="1945051" y="2678939"/>
                </a:lnTo>
                <a:close/>
                <a:moveTo>
                  <a:pt x="4867405" y="2678505"/>
                </a:moveTo>
                <a:lnTo>
                  <a:pt x="4865669" y="2680345"/>
                </a:lnTo>
                <a:lnTo>
                  <a:pt x="4865670" y="2680346"/>
                </a:lnTo>
                <a:lnTo>
                  <a:pt x="4867406" y="2678505"/>
                </a:lnTo>
                <a:close/>
                <a:moveTo>
                  <a:pt x="4862305" y="2677314"/>
                </a:moveTo>
                <a:lnTo>
                  <a:pt x="4857639" y="2677855"/>
                </a:lnTo>
                <a:lnTo>
                  <a:pt x="4853298" y="2681753"/>
                </a:lnTo>
                <a:lnTo>
                  <a:pt x="4853299" y="2681753"/>
                </a:lnTo>
                <a:lnTo>
                  <a:pt x="4857639" y="2677855"/>
                </a:lnTo>
                <a:lnTo>
                  <a:pt x="4862305" y="2677314"/>
                </a:lnTo>
                <a:lnTo>
                  <a:pt x="4864445" y="2679242"/>
                </a:lnTo>
                <a:close/>
                <a:moveTo>
                  <a:pt x="6418083" y="2676995"/>
                </a:moveTo>
                <a:lnTo>
                  <a:pt x="6407907" y="2680346"/>
                </a:lnTo>
                <a:lnTo>
                  <a:pt x="6403241" y="2680346"/>
                </a:lnTo>
                <a:lnTo>
                  <a:pt x="6402000" y="2682069"/>
                </a:lnTo>
                <a:lnTo>
                  <a:pt x="6403241" y="2680346"/>
                </a:lnTo>
                <a:lnTo>
                  <a:pt x="6407907" y="2680346"/>
                </a:lnTo>
                <a:close/>
                <a:moveTo>
                  <a:pt x="6419085" y="2676665"/>
                </a:moveTo>
                <a:lnTo>
                  <a:pt x="6419084" y="2676665"/>
                </a:lnTo>
                <a:lnTo>
                  <a:pt x="6422689" y="2676779"/>
                </a:lnTo>
                <a:close/>
                <a:moveTo>
                  <a:pt x="6434710" y="2676448"/>
                </a:moveTo>
                <a:lnTo>
                  <a:pt x="6427982" y="2678938"/>
                </a:lnTo>
                <a:lnTo>
                  <a:pt x="6426608" y="2677567"/>
                </a:lnTo>
                <a:lnTo>
                  <a:pt x="6427982" y="2678939"/>
                </a:lnTo>
                <a:lnTo>
                  <a:pt x="6434710" y="2676449"/>
                </a:lnTo>
                <a:lnTo>
                  <a:pt x="6439920" y="2676449"/>
                </a:lnTo>
                <a:lnTo>
                  <a:pt x="6445019" y="2677856"/>
                </a:lnTo>
                <a:lnTo>
                  <a:pt x="6439920" y="2676448"/>
                </a:lnTo>
                <a:close/>
                <a:moveTo>
                  <a:pt x="1762589" y="2676129"/>
                </a:moveTo>
                <a:lnTo>
                  <a:pt x="1762418" y="2677747"/>
                </a:lnTo>
                <a:lnTo>
                  <a:pt x="1762418" y="2677747"/>
                </a:lnTo>
                <a:close/>
                <a:moveTo>
                  <a:pt x="6297463" y="2675574"/>
                </a:moveTo>
                <a:lnTo>
                  <a:pt x="6300693" y="2679589"/>
                </a:lnTo>
                <a:lnTo>
                  <a:pt x="6307964" y="2685218"/>
                </a:lnTo>
                <a:lnTo>
                  <a:pt x="6314475" y="2691607"/>
                </a:lnTo>
                <a:lnTo>
                  <a:pt x="6317513" y="2701784"/>
                </a:lnTo>
                <a:lnTo>
                  <a:pt x="6317513" y="2701784"/>
                </a:lnTo>
                <a:lnTo>
                  <a:pt x="6314475" y="2691606"/>
                </a:lnTo>
                <a:lnTo>
                  <a:pt x="6307964" y="2685218"/>
                </a:lnTo>
                <a:lnTo>
                  <a:pt x="6300693" y="2679588"/>
                </a:lnTo>
                <a:close/>
                <a:moveTo>
                  <a:pt x="4835393" y="2674066"/>
                </a:moveTo>
                <a:lnTo>
                  <a:pt x="4828882" y="2687708"/>
                </a:lnTo>
                <a:lnTo>
                  <a:pt x="4825084" y="2687925"/>
                </a:lnTo>
                <a:lnTo>
                  <a:pt x="4823348" y="2690739"/>
                </a:lnTo>
                <a:lnTo>
                  <a:pt x="4823348" y="2690739"/>
                </a:lnTo>
                <a:lnTo>
                  <a:pt x="4825084" y="2687925"/>
                </a:lnTo>
                <a:lnTo>
                  <a:pt x="4828882" y="2687708"/>
                </a:lnTo>
                <a:lnTo>
                  <a:pt x="4835393" y="2674066"/>
                </a:lnTo>
                <a:close/>
                <a:moveTo>
                  <a:pt x="1761008" y="2673200"/>
                </a:moveTo>
                <a:lnTo>
                  <a:pt x="1761007" y="2673201"/>
                </a:lnTo>
                <a:lnTo>
                  <a:pt x="1761984" y="2675041"/>
                </a:lnTo>
                <a:lnTo>
                  <a:pt x="1762635" y="2675691"/>
                </a:lnTo>
                <a:lnTo>
                  <a:pt x="1762635" y="2675690"/>
                </a:lnTo>
                <a:lnTo>
                  <a:pt x="1761984" y="2675041"/>
                </a:lnTo>
                <a:close/>
                <a:moveTo>
                  <a:pt x="6492118" y="2673092"/>
                </a:moveTo>
                <a:lnTo>
                  <a:pt x="6492116" y="2673092"/>
                </a:lnTo>
                <a:lnTo>
                  <a:pt x="6494395" y="2676881"/>
                </a:lnTo>
                <a:lnTo>
                  <a:pt x="6497759" y="2677856"/>
                </a:lnTo>
                <a:lnTo>
                  <a:pt x="6502641" y="2680996"/>
                </a:lnTo>
                <a:lnTo>
                  <a:pt x="6502643" y="2680996"/>
                </a:lnTo>
                <a:lnTo>
                  <a:pt x="6497761" y="2677856"/>
                </a:lnTo>
                <a:lnTo>
                  <a:pt x="6494396" y="2676881"/>
                </a:lnTo>
                <a:close/>
                <a:moveTo>
                  <a:pt x="2495449" y="2672551"/>
                </a:moveTo>
                <a:lnTo>
                  <a:pt x="2505323" y="2675041"/>
                </a:lnTo>
                <a:lnTo>
                  <a:pt x="2507711" y="2683702"/>
                </a:lnTo>
                <a:lnTo>
                  <a:pt x="2507385" y="2687926"/>
                </a:lnTo>
                <a:lnTo>
                  <a:pt x="2503587" y="2686085"/>
                </a:lnTo>
                <a:lnTo>
                  <a:pt x="2500440" y="2685760"/>
                </a:lnTo>
                <a:lnTo>
                  <a:pt x="2501525" y="2682404"/>
                </a:lnTo>
                <a:lnTo>
                  <a:pt x="2495449" y="2676232"/>
                </a:lnTo>
                <a:close/>
                <a:moveTo>
                  <a:pt x="4265268" y="2671064"/>
                </a:moveTo>
                <a:lnTo>
                  <a:pt x="4265138" y="2671359"/>
                </a:lnTo>
                <a:lnTo>
                  <a:pt x="4263920" y="2671782"/>
                </a:lnTo>
                <a:lnTo>
                  <a:pt x="4265138" y="2671360"/>
                </a:lnTo>
                <a:close/>
                <a:moveTo>
                  <a:pt x="3955539" y="2669410"/>
                </a:moveTo>
                <a:lnTo>
                  <a:pt x="3955461" y="2669578"/>
                </a:lnTo>
                <a:lnTo>
                  <a:pt x="3955540" y="2669411"/>
                </a:lnTo>
                <a:close/>
                <a:moveTo>
                  <a:pt x="3977676" y="2669194"/>
                </a:moveTo>
                <a:lnTo>
                  <a:pt x="3961074" y="2670818"/>
                </a:lnTo>
                <a:lnTo>
                  <a:pt x="3977677" y="2669194"/>
                </a:lnTo>
                <a:close/>
                <a:moveTo>
                  <a:pt x="1970986" y="2669086"/>
                </a:moveTo>
                <a:lnTo>
                  <a:pt x="1971746" y="2670602"/>
                </a:lnTo>
                <a:lnTo>
                  <a:pt x="1972181" y="2670602"/>
                </a:lnTo>
                <a:lnTo>
                  <a:pt x="1971421" y="2669086"/>
                </a:lnTo>
                <a:close/>
                <a:moveTo>
                  <a:pt x="3924612" y="2668978"/>
                </a:moveTo>
                <a:lnTo>
                  <a:pt x="3917233" y="2673092"/>
                </a:lnTo>
                <a:lnTo>
                  <a:pt x="3912367" y="2677152"/>
                </a:lnTo>
                <a:lnTo>
                  <a:pt x="3917234" y="2673091"/>
                </a:lnTo>
                <a:close/>
                <a:moveTo>
                  <a:pt x="3989396" y="2666596"/>
                </a:moveTo>
                <a:lnTo>
                  <a:pt x="3985265" y="2668620"/>
                </a:lnTo>
                <a:lnTo>
                  <a:pt x="3989397" y="2666596"/>
                </a:lnTo>
                <a:close/>
                <a:moveTo>
                  <a:pt x="4008868" y="2663723"/>
                </a:moveTo>
                <a:lnTo>
                  <a:pt x="4004480" y="2666596"/>
                </a:lnTo>
                <a:lnTo>
                  <a:pt x="4004481" y="2666596"/>
                </a:lnTo>
                <a:close/>
                <a:moveTo>
                  <a:pt x="4486295" y="2663455"/>
                </a:moveTo>
                <a:lnTo>
                  <a:pt x="4486295" y="2663456"/>
                </a:lnTo>
                <a:lnTo>
                  <a:pt x="4488790" y="2666595"/>
                </a:lnTo>
                <a:close/>
                <a:moveTo>
                  <a:pt x="1841636" y="2663239"/>
                </a:moveTo>
                <a:lnTo>
                  <a:pt x="1841636" y="2663239"/>
                </a:lnTo>
                <a:lnTo>
                  <a:pt x="1845325" y="2663456"/>
                </a:lnTo>
                <a:lnTo>
                  <a:pt x="1845325" y="2663455"/>
                </a:lnTo>
                <a:close/>
                <a:moveTo>
                  <a:pt x="3395920" y="2662698"/>
                </a:moveTo>
                <a:lnTo>
                  <a:pt x="3398199" y="2665405"/>
                </a:lnTo>
                <a:lnTo>
                  <a:pt x="3395378" y="2666488"/>
                </a:lnTo>
                <a:lnTo>
                  <a:pt x="3394401" y="2664106"/>
                </a:lnTo>
                <a:close/>
                <a:moveTo>
                  <a:pt x="3381270" y="2662481"/>
                </a:moveTo>
                <a:lnTo>
                  <a:pt x="3385177" y="2663563"/>
                </a:lnTo>
                <a:lnTo>
                  <a:pt x="3390059" y="2668869"/>
                </a:lnTo>
                <a:lnTo>
                  <a:pt x="3388865" y="2672442"/>
                </a:lnTo>
                <a:lnTo>
                  <a:pt x="3383548" y="2671467"/>
                </a:lnTo>
                <a:lnTo>
                  <a:pt x="3383332" y="2665946"/>
                </a:lnTo>
                <a:close/>
                <a:moveTo>
                  <a:pt x="3637586" y="2660207"/>
                </a:moveTo>
                <a:lnTo>
                  <a:pt x="3637586" y="2660208"/>
                </a:lnTo>
                <a:lnTo>
                  <a:pt x="3642904" y="2661182"/>
                </a:lnTo>
                <a:lnTo>
                  <a:pt x="3644314" y="2666163"/>
                </a:lnTo>
                <a:lnTo>
                  <a:pt x="3646583" y="2667056"/>
                </a:lnTo>
                <a:lnTo>
                  <a:pt x="3644314" y="2666162"/>
                </a:lnTo>
                <a:lnTo>
                  <a:pt x="3642904" y="2661182"/>
                </a:lnTo>
                <a:close/>
                <a:moveTo>
                  <a:pt x="6290818" y="2659342"/>
                </a:moveTo>
                <a:lnTo>
                  <a:pt x="6294291" y="2667571"/>
                </a:lnTo>
                <a:lnTo>
                  <a:pt x="6294296" y="2667675"/>
                </a:lnTo>
                <a:lnTo>
                  <a:pt x="6294291" y="2667570"/>
                </a:lnTo>
                <a:close/>
                <a:moveTo>
                  <a:pt x="6860531" y="2657718"/>
                </a:moveTo>
                <a:lnTo>
                  <a:pt x="6863677" y="2659991"/>
                </a:lnTo>
                <a:lnTo>
                  <a:pt x="6861290" y="2662373"/>
                </a:lnTo>
                <a:lnTo>
                  <a:pt x="6860747" y="2669519"/>
                </a:lnTo>
                <a:lnTo>
                  <a:pt x="6857492" y="2672659"/>
                </a:lnTo>
                <a:lnTo>
                  <a:pt x="6856624" y="2669411"/>
                </a:lnTo>
                <a:lnTo>
                  <a:pt x="6857275" y="2667354"/>
                </a:lnTo>
                <a:lnTo>
                  <a:pt x="6854888" y="2660966"/>
                </a:lnTo>
                <a:close/>
                <a:moveTo>
                  <a:pt x="6295843" y="2656259"/>
                </a:moveTo>
                <a:lnTo>
                  <a:pt x="6295810" y="2656418"/>
                </a:lnTo>
                <a:lnTo>
                  <a:pt x="6294449" y="2657216"/>
                </a:lnTo>
                <a:lnTo>
                  <a:pt x="6295810" y="2656419"/>
                </a:lnTo>
                <a:close/>
                <a:moveTo>
                  <a:pt x="1766844" y="2655824"/>
                </a:moveTo>
                <a:lnTo>
                  <a:pt x="1760573" y="2665730"/>
                </a:lnTo>
                <a:lnTo>
                  <a:pt x="1761007" y="2669519"/>
                </a:lnTo>
                <a:lnTo>
                  <a:pt x="1761333" y="2670710"/>
                </a:lnTo>
                <a:lnTo>
                  <a:pt x="1761333" y="2670709"/>
                </a:lnTo>
                <a:lnTo>
                  <a:pt x="1761007" y="2669519"/>
                </a:lnTo>
                <a:lnTo>
                  <a:pt x="1760574" y="2665729"/>
                </a:lnTo>
                <a:close/>
                <a:moveTo>
                  <a:pt x="3725375" y="2655444"/>
                </a:moveTo>
                <a:lnTo>
                  <a:pt x="3728197" y="2659125"/>
                </a:lnTo>
                <a:lnTo>
                  <a:pt x="3730692" y="2660208"/>
                </a:lnTo>
                <a:lnTo>
                  <a:pt x="3815769" y="2659883"/>
                </a:lnTo>
                <a:lnTo>
                  <a:pt x="3815769" y="2659883"/>
                </a:lnTo>
                <a:lnTo>
                  <a:pt x="3730693" y="2660207"/>
                </a:lnTo>
                <a:lnTo>
                  <a:pt x="3728198" y="2659125"/>
                </a:lnTo>
                <a:lnTo>
                  <a:pt x="3725376" y="2655444"/>
                </a:lnTo>
                <a:close/>
                <a:moveTo>
                  <a:pt x="2495991" y="2654361"/>
                </a:moveTo>
                <a:lnTo>
                  <a:pt x="2499572" y="2658150"/>
                </a:lnTo>
                <a:lnTo>
                  <a:pt x="2499572" y="2664863"/>
                </a:lnTo>
                <a:lnTo>
                  <a:pt x="2495123" y="2665946"/>
                </a:lnTo>
                <a:lnTo>
                  <a:pt x="2493387" y="2658475"/>
                </a:lnTo>
                <a:close/>
                <a:moveTo>
                  <a:pt x="3672896" y="2651265"/>
                </a:moveTo>
                <a:lnTo>
                  <a:pt x="3671443" y="2651762"/>
                </a:lnTo>
                <a:lnTo>
                  <a:pt x="3671443" y="2651763"/>
                </a:lnTo>
                <a:close/>
                <a:moveTo>
                  <a:pt x="3632595" y="2650355"/>
                </a:moveTo>
                <a:lnTo>
                  <a:pt x="3632595" y="2650355"/>
                </a:lnTo>
                <a:lnTo>
                  <a:pt x="3637586" y="2654686"/>
                </a:lnTo>
                <a:close/>
                <a:moveTo>
                  <a:pt x="7428290" y="2650139"/>
                </a:moveTo>
                <a:lnTo>
                  <a:pt x="7429592" y="2652629"/>
                </a:lnTo>
                <a:lnTo>
                  <a:pt x="7427205" y="2655769"/>
                </a:lnTo>
                <a:lnTo>
                  <a:pt x="7427422" y="2660750"/>
                </a:lnTo>
                <a:lnTo>
                  <a:pt x="7423732" y="2653712"/>
                </a:lnTo>
                <a:close/>
                <a:moveTo>
                  <a:pt x="3680494" y="2649339"/>
                </a:moveTo>
                <a:lnTo>
                  <a:pt x="3684464" y="2649489"/>
                </a:lnTo>
                <a:lnTo>
                  <a:pt x="3685224" y="2655443"/>
                </a:lnTo>
                <a:lnTo>
                  <a:pt x="3689347" y="2663239"/>
                </a:lnTo>
                <a:lnTo>
                  <a:pt x="3691843" y="2664863"/>
                </a:lnTo>
                <a:lnTo>
                  <a:pt x="3691843" y="2664863"/>
                </a:lnTo>
                <a:lnTo>
                  <a:pt x="3689348" y="2663239"/>
                </a:lnTo>
                <a:lnTo>
                  <a:pt x="3685225" y="2655444"/>
                </a:lnTo>
                <a:lnTo>
                  <a:pt x="3684465" y="2649489"/>
                </a:lnTo>
                <a:close/>
                <a:moveTo>
                  <a:pt x="3709749" y="2648298"/>
                </a:moveTo>
                <a:lnTo>
                  <a:pt x="3709749" y="2648298"/>
                </a:lnTo>
                <a:lnTo>
                  <a:pt x="3715283" y="2650355"/>
                </a:lnTo>
                <a:lnTo>
                  <a:pt x="3715500" y="2657284"/>
                </a:lnTo>
                <a:lnTo>
                  <a:pt x="3718213" y="2660208"/>
                </a:lnTo>
                <a:lnTo>
                  <a:pt x="3718214" y="2660207"/>
                </a:lnTo>
                <a:lnTo>
                  <a:pt x="3715501" y="2657284"/>
                </a:lnTo>
                <a:lnTo>
                  <a:pt x="3715284" y="2650355"/>
                </a:lnTo>
                <a:close/>
                <a:moveTo>
                  <a:pt x="2501633" y="2644942"/>
                </a:moveTo>
                <a:lnTo>
                  <a:pt x="2501199" y="2649273"/>
                </a:lnTo>
                <a:lnTo>
                  <a:pt x="2497727" y="2647758"/>
                </a:lnTo>
                <a:close/>
                <a:moveTo>
                  <a:pt x="4818830" y="2644717"/>
                </a:moveTo>
                <a:lnTo>
                  <a:pt x="4817053" y="2655552"/>
                </a:lnTo>
                <a:lnTo>
                  <a:pt x="4813255" y="2661398"/>
                </a:lnTo>
                <a:lnTo>
                  <a:pt x="4812929" y="2665404"/>
                </a:lnTo>
                <a:lnTo>
                  <a:pt x="4810434" y="2668111"/>
                </a:lnTo>
                <a:lnTo>
                  <a:pt x="4809999" y="2673850"/>
                </a:lnTo>
                <a:lnTo>
                  <a:pt x="4812929" y="2683918"/>
                </a:lnTo>
                <a:lnTo>
                  <a:pt x="4813906" y="2688683"/>
                </a:lnTo>
                <a:lnTo>
                  <a:pt x="4814811" y="2689093"/>
                </a:lnTo>
                <a:lnTo>
                  <a:pt x="4813907" y="2688683"/>
                </a:lnTo>
                <a:lnTo>
                  <a:pt x="4818303" y="2690502"/>
                </a:lnTo>
                <a:lnTo>
                  <a:pt x="4818344" y="2690518"/>
                </a:lnTo>
                <a:lnTo>
                  <a:pt x="4813906" y="2688682"/>
                </a:lnTo>
                <a:lnTo>
                  <a:pt x="4812930" y="2683919"/>
                </a:lnTo>
                <a:lnTo>
                  <a:pt x="4810000" y="2673849"/>
                </a:lnTo>
                <a:lnTo>
                  <a:pt x="4810434" y="2668111"/>
                </a:lnTo>
                <a:lnTo>
                  <a:pt x="4812930" y="2665404"/>
                </a:lnTo>
                <a:lnTo>
                  <a:pt x="4813255" y="2661398"/>
                </a:lnTo>
                <a:lnTo>
                  <a:pt x="4817053" y="2655552"/>
                </a:lnTo>
                <a:close/>
                <a:moveTo>
                  <a:pt x="3629556" y="2642560"/>
                </a:moveTo>
                <a:lnTo>
                  <a:pt x="3625758" y="2643101"/>
                </a:lnTo>
                <a:lnTo>
                  <a:pt x="3629556" y="2642560"/>
                </a:lnTo>
                <a:close/>
                <a:moveTo>
                  <a:pt x="3624130" y="2641910"/>
                </a:moveTo>
                <a:lnTo>
                  <a:pt x="3619898" y="2643534"/>
                </a:lnTo>
                <a:lnTo>
                  <a:pt x="3616752" y="2642126"/>
                </a:lnTo>
                <a:lnTo>
                  <a:pt x="3616752" y="2642127"/>
                </a:lnTo>
                <a:lnTo>
                  <a:pt x="3619898" y="2643535"/>
                </a:lnTo>
                <a:lnTo>
                  <a:pt x="3624131" y="2641910"/>
                </a:lnTo>
                <a:lnTo>
                  <a:pt x="3625037" y="2642573"/>
                </a:lnTo>
                <a:close/>
                <a:moveTo>
                  <a:pt x="6293748" y="2640611"/>
                </a:moveTo>
                <a:lnTo>
                  <a:pt x="6293748" y="2640611"/>
                </a:lnTo>
                <a:lnTo>
                  <a:pt x="6294017" y="2641766"/>
                </a:lnTo>
                <a:close/>
                <a:moveTo>
                  <a:pt x="3401997" y="2638229"/>
                </a:moveTo>
                <a:lnTo>
                  <a:pt x="3404819" y="2639312"/>
                </a:lnTo>
                <a:lnTo>
                  <a:pt x="3405687" y="2643209"/>
                </a:lnTo>
                <a:lnTo>
                  <a:pt x="3403625" y="2644833"/>
                </a:lnTo>
                <a:lnTo>
                  <a:pt x="3401129" y="2644833"/>
                </a:lnTo>
                <a:lnTo>
                  <a:pt x="3398850" y="2641369"/>
                </a:lnTo>
                <a:close/>
                <a:moveTo>
                  <a:pt x="6456631" y="2637363"/>
                </a:moveTo>
                <a:lnTo>
                  <a:pt x="6460755" y="2638987"/>
                </a:lnTo>
                <a:lnTo>
                  <a:pt x="6459235" y="2641585"/>
                </a:lnTo>
                <a:lnTo>
                  <a:pt x="6465205" y="2645591"/>
                </a:lnTo>
                <a:lnTo>
                  <a:pt x="6466289" y="2648839"/>
                </a:lnTo>
                <a:lnTo>
                  <a:pt x="6464661" y="2654144"/>
                </a:lnTo>
                <a:lnTo>
                  <a:pt x="6465096" y="2657284"/>
                </a:lnTo>
                <a:lnTo>
                  <a:pt x="6463359" y="2661723"/>
                </a:lnTo>
                <a:lnTo>
                  <a:pt x="6465096" y="2665513"/>
                </a:lnTo>
                <a:lnTo>
                  <a:pt x="6464661" y="2674066"/>
                </a:lnTo>
                <a:lnTo>
                  <a:pt x="6461623" y="2677531"/>
                </a:lnTo>
                <a:lnTo>
                  <a:pt x="6459226" y="2678704"/>
                </a:lnTo>
                <a:lnTo>
                  <a:pt x="6461624" y="2677531"/>
                </a:lnTo>
                <a:lnTo>
                  <a:pt x="6459019" y="2678830"/>
                </a:lnTo>
                <a:lnTo>
                  <a:pt x="6455929" y="2680317"/>
                </a:lnTo>
                <a:lnTo>
                  <a:pt x="6455871" y="2680346"/>
                </a:lnTo>
                <a:lnTo>
                  <a:pt x="6451748" y="2676990"/>
                </a:lnTo>
                <a:lnTo>
                  <a:pt x="6451747" y="2676990"/>
                </a:lnTo>
                <a:lnTo>
                  <a:pt x="6455871" y="2680346"/>
                </a:lnTo>
                <a:lnTo>
                  <a:pt x="6459019" y="2678830"/>
                </a:lnTo>
                <a:lnTo>
                  <a:pt x="6464552" y="2682836"/>
                </a:lnTo>
                <a:lnTo>
                  <a:pt x="6466614" y="2686084"/>
                </a:lnTo>
                <a:lnTo>
                  <a:pt x="6466616" y="2686084"/>
                </a:lnTo>
                <a:lnTo>
                  <a:pt x="6464554" y="2682836"/>
                </a:lnTo>
                <a:lnTo>
                  <a:pt x="6459020" y="2678830"/>
                </a:lnTo>
                <a:lnTo>
                  <a:pt x="6461624" y="2677531"/>
                </a:lnTo>
                <a:lnTo>
                  <a:pt x="6464663" y="2674066"/>
                </a:lnTo>
                <a:lnTo>
                  <a:pt x="6465097" y="2665513"/>
                </a:lnTo>
                <a:lnTo>
                  <a:pt x="6463360" y="2661724"/>
                </a:lnTo>
                <a:lnTo>
                  <a:pt x="6465097" y="2657285"/>
                </a:lnTo>
                <a:lnTo>
                  <a:pt x="6464663" y="2654145"/>
                </a:lnTo>
                <a:lnTo>
                  <a:pt x="6466290" y="2648839"/>
                </a:lnTo>
                <a:lnTo>
                  <a:pt x="6465206" y="2645591"/>
                </a:lnTo>
                <a:lnTo>
                  <a:pt x="6459237" y="2641585"/>
                </a:lnTo>
                <a:lnTo>
                  <a:pt x="6460756" y="2638987"/>
                </a:lnTo>
                <a:lnTo>
                  <a:pt x="6456633" y="2637363"/>
                </a:lnTo>
                <a:close/>
                <a:moveTo>
                  <a:pt x="4042851" y="2635986"/>
                </a:moveTo>
                <a:lnTo>
                  <a:pt x="4039965" y="2637796"/>
                </a:lnTo>
                <a:lnTo>
                  <a:pt x="4039205" y="2646024"/>
                </a:lnTo>
                <a:lnTo>
                  <a:pt x="4037577" y="2651330"/>
                </a:lnTo>
                <a:lnTo>
                  <a:pt x="4037453" y="2651399"/>
                </a:lnTo>
                <a:lnTo>
                  <a:pt x="4037578" y="2651329"/>
                </a:lnTo>
                <a:lnTo>
                  <a:pt x="4039206" y="2646024"/>
                </a:lnTo>
                <a:lnTo>
                  <a:pt x="4039966" y="2637796"/>
                </a:lnTo>
                <a:close/>
                <a:moveTo>
                  <a:pt x="3612812" y="2634751"/>
                </a:moveTo>
                <a:lnTo>
                  <a:pt x="3616751" y="2639853"/>
                </a:lnTo>
                <a:lnTo>
                  <a:pt x="3616751" y="2639852"/>
                </a:lnTo>
                <a:close/>
                <a:moveTo>
                  <a:pt x="6504108" y="2634272"/>
                </a:moveTo>
                <a:lnTo>
                  <a:pt x="6504705" y="2635089"/>
                </a:lnTo>
                <a:lnTo>
                  <a:pt x="6506303" y="2635524"/>
                </a:lnTo>
                <a:lnTo>
                  <a:pt x="6504705" y="2635089"/>
                </a:lnTo>
                <a:close/>
                <a:moveTo>
                  <a:pt x="2490348" y="2634006"/>
                </a:moveTo>
                <a:lnTo>
                  <a:pt x="2494797" y="2639095"/>
                </a:lnTo>
                <a:lnTo>
                  <a:pt x="2491650" y="2648082"/>
                </a:lnTo>
                <a:lnTo>
                  <a:pt x="2485682" y="2638987"/>
                </a:lnTo>
                <a:lnTo>
                  <a:pt x="2487201" y="2634114"/>
                </a:lnTo>
                <a:close/>
                <a:moveTo>
                  <a:pt x="6511758" y="2633898"/>
                </a:moveTo>
                <a:lnTo>
                  <a:pt x="6507092" y="2635738"/>
                </a:lnTo>
                <a:lnTo>
                  <a:pt x="6507093" y="2635739"/>
                </a:lnTo>
                <a:lnTo>
                  <a:pt x="6511758" y="2633899"/>
                </a:lnTo>
                <a:close/>
                <a:moveTo>
                  <a:pt x="6496458" y="2630758"/>
                </a:moveTo>
                <a:lnTo>
                  <a:pt x="6496458" y="2630758"/>
                </a:lnTo>
                <a:lnTo>
                  <a:pt x="6501774" y="2631083"/>
                </a:lnTo>
                <a:lnTo>
                  <a:pt x="6501774" y="2631082"/>
                </a:lnTo>
                <a:close/>
                <a:moveTo>
                  <a:pt x="2499464" y="2629134"/>
                </a:moveTo>
                <a:lnTo>
                  <a:pt x="2502936" y="2639095"/>
                </a:lnTo>
                <a:lnTo>
                  <a:pt x="2497402" y="2638662"/>
                </a:lnTo>
                <a:lnTo>
                  <a:pt x="2494581" y="2633681"/>
                </a:lnTo>
                <a:close/>
                <a:moveTo>
                  <a:pt x="3596612" y="2628953"/>
                </a:moveTo>
                <a:lnTo>
                  <a:pt x="3605466" y="2631841"/>
                </a:lnTo>
                <a:lnTo>
                  <a:pt x="3611651" y="2633249"/>
                </a:lnTo>
                <a:lnTo>
                  <a:pt x="3611651" y="2633248"/>
                </a:lnTo>
                <a:lnTo>
                  <a:pt x="3605465" y="2631840"/>
                </a:lnTo>
                <a:close/>
                <a:moveTo>
                  <a:pt x="3378990" y="2627618"/>
                </a:moveTo>
                <a:lnTo>
                  <a:pt x="3382354" y="2630324"/>
                </a:lnTo>
                <a:lnTo>
                  <a:pt x="3378882" y="2631732"/>
                </a:lnTo>
                <a:lnTo>
                  <a:pt x="3377255" y="2629458"/>
                </a:lnTo>
                <a:close/>
                <a:moveTo>
                  <a:pt x="3369550" y="2627510"/>
                </a:moveTo>
                <a:lnTo>
                  <a:pt x="3372263" y="2627510"/>
                </a:lnTo>
                <a:lnTo>
                  <a:pt x="3374650" y="2628918"/>
                </a:lnTo>
                <a:lnTo>
                  <a:pt x="3374867" y="2630325"/>
                </a:lnTo>
                <a:lnTo>
                  <a:pt x="3373782" y="2630650"/>
                </a:lnTo>
                <a:lnTo>
                  <a:pt x="3372263" y="2630650"/>
                </a:lnTo>
                <a:lnTo>
                  <a:pt x="3371069" y="2631408"/>
                </a:lnTo>
                <a:lnTo>
                  <a:pt x="3368573" y="2629350"/>
                </a:lnTo>
                <a:close/>
                <a:moveTo>
                  <a:pt x="2477000" y="2623937"/>
                </a:moveTo>
                <a:lnTo>
                  <a:pt x="2478736" y="2627943"/>
                </a:lnTo>
                <a:lnTo>
                  <a:pt x="2475264" y="2628592"/>
                </a:lnTo>
                <a:close/>
                <a:moveTo>
                  <a:pt x="5031743" y="2623399"/>
                </a:moveTo>
                <a:lnTo>
                  <a:pt x="5043094" y="2628917"/>
                </a:lnTo>
                <a:lnTo>
                  <a:pt x="5043116" y="2629406"/>
                </a:lnTo>
                <a:lnTo>
                  <a:pt x="5043094" y="2628917"/>
                </a:lnTo>
                <a:close/>
                <a:moveTo>
                  <a:pt x="6491791" y="2622854"/>
                </a:moveTo>
                <a:lnTo>
                  <a:pt x="6489730" y="2623612"/>
                </a:lnTo>
                <a:lnTo>
                  <a:pt x="6491792" y="2622855"/>
                </a:lnTo>
                <a:lnTo>
                  <a:pt x="6493307" y="2623496"/>
                </a:lnTo>
                <a:close/>
                <a:moveTo>
                  <a:pt x="3404058" y="2622313"/>
                </a:moveTo>
                <a:lnTo>
                  <a:pt x="3404058" y="2626428"/>
                </a:lnTo>
                <a:lnTo>
                  <a:pt x="3402648" y="2628485"/>
                </a:lnTo>
                <a:lnTo>
                  <a:pt x="3401563" y="2624695"/>
                </a:lnTo>
                <a:close/>
                <a:moveTo>
                  <a:pt x="3355768" y="2620364"/>
                </a:moveTo>
                <a:lnTo>
                  <a:pt x="3358047" y="2621013"/>
                </a:lnTo>
                <a:lnTo>
                  <a:pt x="3358047" y="2623721"/>
                </a:lnTo>
                <a:lnTo>
                  <a:pt x="3355877" y="2625236"/>
                </a:lnTo>
                <a:lnTo>
                  <a:pt x="3354358" y="2622313"/>
                </a:lnTo>
                <a:close/>
                <a:moveTo>
                  <a:pt x="4969411" y="2618090"/>
                </a:moveTo>
                <a:lnTo>
                  <a:pt x="4969411" y="2618090"/>
                </a:lnTo>
                <a:lnTo>
                  <a:pt x="4973751" y="2626102"/>
                </a:lnTo>
                <a:lnTo>
                  <a:pt x="4967457" y="2630217"/>
                </a:lnTo>
                <a:lnTo>
                  <a:pt x="4964853" y="2635088"/>
                </a:lnTo>
                <a:lnTo>
                  <a:pt x="4964854" y="2635089"/>
                </a:lnTo>
                <a:lnTo>
                  <a:pt x="4967458" y="2630216"/>
                </a:lnTo>
                <a:lnTo>
                  <a:pt x="4973752" y="2626102"/>
                </a:lnTo>
                <a:close/>
                <a:moveTo>
                  <a:pt x="3349800" y="2615817"/>
                </a:moveTo>
                <a:lnTo>
                  <a:pt x="3353272" y="2615817"/>
                </a:lnTo>
                <a:lnTo>
                  <a:pt x="3354466" y="2618307"/>
                </a:lnTo>
                <a:lnTo>
                  <a:pt x="3349257" y="2621555"/>
                </a:lnTo>
                <a:lnTo>
                  <a:pt x="3346002" y="2621555"/>
                </a:lnTo>
                <a:lnTo>
                  <a:pt x="3344700" y="2617874"/>
                </a:lnTo>
                <a:lnTo>
                  <a:pt x="3346653" y="2617224"/>
                </a:lnTo>
                <a:close/>
                <a:moveTo>
                  <a:pt x="6287238" y="2614843"/>
                </a:moveTo>
                <a:lnTo>
                  <a:pt x="6287238" y="2614843"/>
                </a:lnTo>
                <a:lnTo>
                  <a:pt x="6291035" y="2616142"/>
                </a:lnTo>
                <a:lnTo>
                  <a:pt x="6293748" y="2622314"/>
                </a:lnTo>
                <a:lnTo>
                  <a:pt x="6294616" y="2627510"/>
                </a:lnTo>
                <a:lnTo>
                  <a:pt x="6299608" y="2629892"/>
                </a:lnTo>
                <a:lnTo>
                  <a:pt x="6294616" y="2627510"/>
                </a:lnTo>
                <a:lnTo>
                  <a:pt x="6293748" y="2622313"/>
                </a:lnTo>
                <a:lnTo>
                  <a:pt x="6291035" y="2616142"/>
                </a:lnTo>
                <a:close/>
                <a:moveTo>
                  <a:pt x="1782060" y="2614302"/>
                </a:moveTo>
                <a:lnTo>
                  <a:pt x="1785532" y="2617225"/>
                </a:lnTo>
                <a:lnTo>
                  <a:pt x="1786834" y="2619606"/>
                </a:lnTo>
                <a:lnTo>
                  <a:pt x="1790632" y="2624371"/>
                </a:lnTo>
                <a:lnTo>
                  <a:pt x="1794430" y="2626861"/>
                </a:lnTo>
                <a:lnTo>
                  <a:pt x="1797143" y="2626861"/>
                </a:lnTo>
                <a:lnTo>
                  <a:pt x="1798988" y="2630109"/>
                </a:lnTo>
                <a:lnTo>
                  <a:pt x="1799422" y="2633465"/>
                </a:lnTo>
                <a:lnTo>
                  <a:pt x="1801050" y="2635306"/>
                </a:lnTo>
                <a:lnTo>
                  <a:pt x="1805173" y="2635630"/>
                </a:lnTo>
                <a:lnTo>
                  <a:pt x="1807778" y="2637038"/>
                </a:lnTo>
                <a:lnTo>
                  <a:pt x="1807886" y="2640178"/>
                </a:lnTo>
                <a:lnTo>
                  <a:pt x="1807887" y="2640177"/>
                </a:lnTo>
                <a:lnTo>
                  <a:pt x="1807778" y="2637037"/>
                </a:lnTo>
                <a:lnTo>
                  <a:pt x="1805174" y="2635630"/>
                </a:lnTo>
                <a:lnTo>
                  <a:pt x="1801050" y="2635305"/>
                </a:lnTo>
                <a:lnTo>
                  <a:pt x="1799423" y="2633464"/>
                </a:lnTo>
                <a:lnTo>
                  <a:pt x="1798989" y="2630108"/>
                </a:lnTo>
                <a:lnTo>
                  <a:pt x="1797144" y="2626860"/>
                </a:lnTo>
                <a:lnTo>
                  <a:pt x="1794431" y="2626860"/>
                </a:lnTo>
                <a:lnTo>
                  <a:pt x="1790633" y="2624370"/>
                </a:lnTo>
                <a:lnTo>
                  <a:pt x="1786835" y="2619606"/>
                </a:lnTo>
                <a:lnTo>
                  <a:pt x="1785533" y="2617224"/>
                </a:lnTo>
                <a:lnTo>
                  <a:pt x="1782061" y="2614302"/>
                </a:lnTo>
                <a:close/>
                <a:moveTo>
                  <a:pt x="2483619" y="2612460"/>
                </a:moveTo>
                <a:lnTo>
                  <a:pt x="2490781" y="2617115"/>
                </a:lnTo>
                <a:lnTo>
                  <a:pt x="2485464" y="2619064"/>
                </a:lnTo>
                <a:lnTo>
                  <a:pt x="2483294" y="2616466"/>
                </a:lnTo>
                <a:close/>
                <a:moveTo>
                  <a:pt x="4835079" y="2610058"/>
                </a:moveTo>
                <a:lnTo>
                  <a:pt x="4831268" y="2610835"/>
                </a:lnTo>
                <a:lnTo>
                  <a:pt x="4830943" y="2613218"/>
                </a:lnTo>
                <a:lnTo>
                  <a:pt x="4832028" y="2615492"/>
                </a:lnTo>
                <a:lnTo>
                  <a:pt x="4831486" y="2618198"/>
                </a:lnTo>
                <a:lnTo>
                  <a:pt x="4825083" y="2618198"/>
                </a:lnTo>
                <a:lnTo>
                  <a:pt x="4822370" y="2619930"/>
                </a:lnTo>
                <a:lnTo>
                  <a:pt x="4822370" y="2624802"/>
                </a:lnTo>
                <a:lnTo>
                  <a:pt x="4820091" y="2630324"/>
                </a:lnTo>
                <a:lnTo>
                  <a:pt x="4822262" y="2631732"/>
                </a:lnTo>
                <a:lnTo>
                  <a:pt x="4823564" y="2633897"/>
                </a:lnTo>
                <a:lnTo>
                  <a:pt x="4821719" y="2636279"/>
                </a:lnTo>
                <a:lnTo>
                  <a:pt x="4819446" y="2642448"/>
                </a:lnTo>
                <a:lnTo>
                  <a:pt x="4821719" y="2636279"/>
                </a:lnTo>
                <a:lnTo>
                  <a:pt x="4823564" y="2633897"/>
                </a:lnTo>
                <a:lnTo>
                  <a:pt x="4822262" y="2631732"/>
                </a:lnTo>
                <a:lnTo>
                  <a:pt x="4820092" y="2630324"/>
                </a:lnTo>
                <a:lnTo>
                  <a:pt x="4822371" y="2624803"/>
                </a:lnTo>
                <a:lnTo>
                  <a:pt x="4822371" y="2619930"/>
                </a:lnTo>
                <a:lnTo>
                  <a:pt x="4825084" y="2618199"/>
                </a:lnTo>
                <a:lnTo>
                  <a:pt x="4831487" y="2618199"/>
                </a:lnTo>
                <a:lnTo>
                  <a:pt x="4832028" y="2615491"/>
                </a:lnTo>
                <a:lnTo>
                  <a:pt x="4830943" y="2613218"/>
                </a:lnTo>
                <a:lnTo>
                  <a:pt x="4831269" y="2610836"/>
                </a:lnTo>
                <a:close/>
                <a:moveTo>
                  <a:pt x="4838973" y="2607371"/>
                </a:moveTo>
                <a:lnTo>
                  <a:pt x="4836043" y="2609861"/>
                </a:lnTo>
                <a:lnTo>
                  <a:pt x="4836044" y="2609861"/>
                </a:lnTo>
                <a:lnTo>
                  <a:pt x="4838974" y="2607371"/>
                </a:lnTo>
                <a:close/>
                <a:moveTo>
                  <a:pt x="2463761" y="2606506"/>
                </a:moveTo>
                <a:lnTo>
                  <a:pt x="2467885" y="2613110"/>
                </a:lnTo>
                <a:lnTo>
                  <a:pt x="2462893" y="2612461"/>
                </a:lnTo>
                <a:lnTo>
                  <a:pt x="2460289" y="2608888"/>
                </a:lnTo>
                <a:close/>
                <a:moveTo>
                  <a:pt x="4975436" y="2605456"/>
                </a:moveTo>
                <a:lnTo>
                  <a:pt x="4972558" y="2606722"/>
                </a:lnTo>
                <a:lnTo>
                  <a:pt x="4969905" y="2616305"/>
                </a:lnTo>
                <a:lnTo>
                  <a:pt x="4972559" y="2606722"/>
                </a:lnTo>
                <a:close/>
                <a:moveTo>
                  <a:pt x="4849686" y="2603865"/>
                </a:moveTo>
                <a:lnTo>
                  <a:pt x="4846027" y="2604556"/>
                </a:lnTo>
                <a:lnTo>
                  <a:pt x="4844291" y="2607912"/>
                </a:lnTo>
                <a:lnTo>
                  <a:pt x="4844291" y="2607912"/>
                </a:lnTo>
                <a:lnTo>
                  <a:pt x="4846027" y="2604556"/>
                </a:lnTo>
                <a:close/>
                <a:moveTo>
                  <a:pt x="1792956" y="2601701"/>
                </a:moveTo>
                <a:lnTo>
                  <a:pt x="1792043" y="2613434"/>
                </a:lnTo>
                <a:lnTo>
                  <a:pt x="1792044" y="2613434"/>
                </a:lnTo>
                <a:close/>
                <a:moveTo>
                  <a:pt x="2487092" y="2598602"/>
                </a:moveTo>
                <a:lnTo>
                  <a:pt x="2488937" y="2602500"/>
                </a:lnTo>
                <a:lnTo>
                  <a:pt x="2487743" y="2606831"/>
                </a:lnTo>
                <a:lnTo>
                  <a:pt x="2483620" y="2603041"/>
                </a:lnTo>
                <a:close/>
                <a:moveTo>
                  <a:pt x="2420897" y="2598170"/>
                </a:moveTo>
                <a:lnTo>
                  <a:pt x="2423502" y="2600768"/>
                </a:lnTo>
                <a:lnTo>
                  <a:pt x="2415906" y="2601852"/>
                </a:lnTo>
                <a:close/>
                <a:moveTo>
                  <a:pt x="1843046" y="2597844"/>
                </a:moveTo>
                <a:lnTo>
                  <a:pt x="1843046" y="2597844"/>
                </a:lnTo>
                <a:lnTo>
                  <a:pt x="1842562" y="2598508"/>
                </a:lnTo>
                <a:close/>
                <a:moveTo>
                  <a:pt x="1836774" y="2596765"/>
                </a:moveTo>
                <a:lnTo>
                  <a:pt x="1834907" y="2598061"/>
                </a:lnTo>
                <a:lnTo>
                  <a:pt x="1834473" y="2601524"/>
                </a:lnTo>
                <a:lnTo>
                  <a:pt x="1834474" y="2601524"/>
                </a:lnTo>
                <a:lnTo>
                  <a:pt x="1834908" y="2598061"/>
                </a:lnTo>
                <a:close/>
                <a:moveTo>
                  <a:pt x="2403752" y="2592323"/>
                </a:moveTo>
                <a:lnTo>
                  <a:pt x="2410371" y="2594163"/>
                </a:lnTo>
                <a:lnTo>
                  <a:pt x="2408526" y="2595679"/>
                </a:lnTo>
                <a:lnTo>
                  <a:pt x="2399737" y="2596221"/>
                </a:lnTo>
                <a:close/>
                <a:moveTo>
                  <a:pt x="6363307" y="2591564"/>
                </a:moveTo>
                <a:lnTo>
                  <a:pt x="6359311" y="2592450"/>
                </a:lnTo>
                <a:lnTo>
                  <a:pt x="6363307" y="2591565"/>
                </a:lnTo>
                <a:close/>
                <a:moveTo>
                  <a:pt x="2327574" y="2588858"/>
                </a:moveTo>
                <a:lnTo>
                  <a:pt x="2330287" y="2591672"/>
                </a:lnTo>
                <a:lnTo>
                  <a:pt x="2334085" y="2592214"/>
                </a:lnTo>
                <a:lnTo>
                  <a:pt x="2331155" y="2594380"/>
                </a:lnTo>
                <a:lnTo>
                  <a:pt x="2327791" y="2592972"/>
                </a:lnTo>
                <a:lnTo>
                  <a:pt x="2326055" y="2589615"/>
                </a:lnTo>
                <a:close/>
                <a:moveTo>
                  <a:pt x="2462567" y="2587883"/>
                </a:moveTo>
                <a:lnTo>
                  <a:pt x="2458986" y="2591997"/>
                </a:lnTo>
                <a:lnTo>
                  <a:pt x="2458769" y="2597195"/>
                </a:lnTo>
                <a:lnTo>
                  <a:pt x="2453126" y="2593297"/>
                </a:lnTo>
                <a:lnTo>
                  <a:pt x="2452367" y="2591022"/>
                </a:lnTo>
                <a:lnTo>
                  <a:pt x="2456382" y="2588099"/>
                </a:lnTo>
                <a:close/>
                <a:moveTo>
                  <a:pt x="6384360" y="2587017"/>
                </a:moveTo>
                <a:lnTo>
                  <a:pt x="6388483" y="2592214"/>
                </a:lnTo>
                <a:lnTo>
                  <a:pt x="6388484" y="2592214"/>
                </a:lnTo>
                <a:lnTo>
                  <a:pt x="6384361" y="2587017"/>
                </a:lnTo>
                <a:close/>
                <a:moveTo>
                  <a:pt x="1850100" y="2586800"/>
                </a:moveTo>
                <a:lnTo>
                  <a:pt x="1850099" y="2586800"/>
                </a:lnTo>
                <a:lnTo>
                  <a:pt x="1849122" y="2588641"/>
                </a:lnTo>
                <a:lnTo>
                  <a:pt x="1848146" y="2592214"/>
                </a:lnTo>
                <a:lnTo>
                  <a:pt x="1847386" y="2593244"/>
                </a:lnTo>
                <a:lnTo>
                  <a:pt x="1848147" y="2592214"/>
                </a:lnTo>
                <a:lnTo>
                  <a:pt x="1849123" y="2588641"/>
                </a:lnTo>
                <a:close/>
                <a:moveTo>
                  <a:pt x="6371556" y="2583227"/>
                </a:moveTo>
                <a:lnTo>
                  <a:pt x="6371555" y="2583228"/>
                </a:lnTo>
                <a:lnTo>
                  <a:pt x="6379476" y="2587450"/>
                </a:lnTo>
                <a:lnTo>
                  <a:pt x="6379478" y="2587449"/>
                </a:lnTo>
                <a:close/>
                <a:moveTo>
                  <a:pt x="2364902" y="2582470"/>
                </a:moveTo>
                <a:lnTo>
                  <a:pt x="2382264" y="2583986"/>
                </a:lnTo>
                <a:lnTo>
                  <a:pt x="2392140" y="2582578"/>
                </a:lnTo>
                <a:lnTo>
                  <a:pt x="2395069" y="2583986"/>
                </a:lnTo>
                <a:lnTo>
                  <a:pt x="2396263" y="2586909"/>
                </a:lnTo>
                <a:lnTo>
                  <a:pt x="2400712" y="2588209"/>
                </a:lnTo>
                <a:lnTo>
                  <a:pt x="2394526" y="2594921"/>
                </a:lnTo>
                <a:lnTo>
                  <a:pt x="2386605" y="2598603"/>
                </a:lnTo>
                <a:lnTo>
                  <a:pt x="2383458" y="2596978"/>
                </a:lnTo>
                <a:lnTo>
                  <a:pt x="2375211" y="2599144"/>
                </a:lnTo>
                <a:lnTo>
                  <a:pt x="2372064" y="2598062"/>
                </a:lnTo>
                <a:lnTo>
                  <a:pt x="2360779" y="2597520"/>
                </a:lnTo>
                <a:lnTo>
                  <a:pt x="2358717" y="2593513"/>
                </a:lnTo>
                <a:lnTo>
                  <a:pt x="2359368" y="2591132"/>
                </a:lnTo>
                <a:lnTo>
                  <a:pt x="2358825" y="2587884"/>
                </a:lnTo>
                <a:lnTo>
                  <a:pt x="2362949" y="2585827"/>
                </a:lnTo>
                <a:close/>
                <a:moveTo>
                  <a:pt x="2115205" y="2581928"/>
                </a:moveTo>
                <a:lnTo>
                  <a:pt x="2133436" y="2582902"/>
                </a:lnTo>
                <a:lnTo>
                  <a:pt x="2137994" y="2590373"/>
                </a:lnTo>
                <a:lnTo>
                  <a:pt x="2143962" y="2591456"/>
                </a:lnTo>
                <a:lnTo>
                  <a:pt x="2147977" y="2595679"/>
                </a:lnTo>
                <a:lnTo>
                  <a:pt x="2147434" y="2597844"/>
                </a:lnTo>
                <a:lnTo>
                  <a:pt x="2139513" y="2597844"/>
                </a:lnTo>
                <a:lnTo>
                  <a:pt x="2136257" y="2596112"/>
                </a:lnTo>
                <a:lnTo>
                  <a:pt x="2134412" y="2600118"/>
                </a:lnTo>
                <a:lnTo>
                  <a:pt x="2131917" y="2600767"/>
                </a:lnTo>
                <a:lnTo>
                  <a:pt x="2130072" y="2598602"/>
                </a:lnTo>
                <a:lnTo>
                  <a:pt x="2125948" y="2598602"/>
                </a:lnTo>
                <a:lnTo>
                  <a:pt x="2125731" y="2603583"/>
                </a:lnTo>
                <a:lnTo>
                  <a:pt x="2120088" y="2603365"/>
                </a:lnTo>
                <a:lnTo>
                  <a:pt x="2116290" y="2600442"/>
                </a:lnTo>
                <a:lnTo>
                  <a:pt x="2110756" y="2600659"/>
                </a:lnTo>
                <a:lnTo>
                  <a:pt x="2107501" y="2598060"/>
                </a:lnTo>
                <a:lnTo>
                  <a:pt x="2104788" y="2591889"/>
                </a:lnTo>
                <a:lnTo>
                  <a:pt x="2101749" y="2590481"/>
                </a:lnTo>
                <a:lnTo>
                  <a:pt x="2098711" y="2591456"/>
                </a:lnTo>
                <a:lnTo>
                  <a:pt x="2094262" y="2588099"/>
                </a:lnTo>
                <a:lnTo>
                  <a:pt x="2096975" y="2584093"/>
                </a:lnTo>
                <a:lnTo>
                  <a:pt x="2100881" y="2583227"/>
                </a:lnTo>
                <a:lnTo>
                  <a:pt x="2106307" y="2583769"/>
                </a:lnTo>
                <a:close/>
                <a:moveTo>
                  <a:pt x="6262387" y="2579547"/>
                </a:moveTo>
                <a:lnTo>
                  <a:pt x="6262930" y="2583336"/>
                </a:lnTo>
                <a:lnTo>
                  <a:pt x="6266619" y="2584419"/>
                </a:lnTo>
                <a:lnTo>
                  <a:pt x="6270526" y="2591239"/>
                </a:lnTo>
                <a:lnTo>
                  <a:pt x="6273998" y="2594488"/>
                </a:lnTo>
                <a:lnTo>
                  <a:pt x="6275301" y="2598169"/>
                </a:lnTo>
                <a:lnTo>
                  <a:pt x="6281594" y="2602392"/>
                </a:lnTo>
                <a:lnTo>
                  <a:pt x="6282398" y="2604166"/>
                </a:lnTo>
                <a:lnTo>
                  <a:pt x="6281594" y="2602391"/>
                </a:lnTo>
                <a:lnTo>
                  <a:pt x="6275301" y="2598169"/>
                </a:lnTo>
                <a:lnTo>
                  <a:pt x="6273998" y="2594488"/>
                </a:lnTo>
                <a:lnTo>
                  <a:pt x="6270526" y="2591239"/>
                </a:lnTo>
                <a:lnTo>
                  <a:pt x="6266619" y="2584418"/>
                </a:lnTo>
                <a:lnTo>
                  <a:pt x="6262930" y="2583336"/>
                </a:lnTo>
                <a:close/>
                <a:moveTo>
                  <a:pt x="6411599" y="2578788"/>
                </a:moveTo>
                <a:lnTo>
                  <a:pt x="6411598" y="2578788"/>
                </a:lnTo>
                <a:lnTo>
                  <a:pt x="6422340" y="2581604"/>
                </a:lnTo>
                <a:lnTo>
                  <a:pt x="6425813" y="2588424"/>
                </a:lnTo>
                <a:lnTo>
                  <a:pt x="6436121" y="2595895"/>
                </a:lnTo>
                <a:lnTo>
                  <a:pt x="6441982" y="2600226"/>
                </a:lnTo>
                <a:lnTo>
                  <a:pt x="6444369" y="2605314"/>
                </a:lnTo>
                <a:lnTo>
                  <a:pt x="6443501" y="2609429"/>
                </a:lnTo>
                <a:lnTo>
                  <a:pt x="6441765" y="2612352"/>
                </a:lnTo>
                <a:lnTo>
                  <a:pt x="6444369" y="2618091"/>
                </a:lnTo>
                <a:lnTo>
                  <a:pt x="6444043" y="2624803"/>
                </a:lnTo>
                <a:lnTo>
                  <a:pt x="6442849" y="2628376"/>
                </a:lnTo>
                <a:lnTo>
                  <a:pt x="6447191" y="2631516"/>
                </a:lnTo>
                <a:lnTo>
                  <a:pt x="6452182" y="2636930"/>
                </a:lnTo>
                <a:lnTo>
                  <a:pt x="6452184" y="2636930"/>
                </a:lnTo>
                <a:lnTo>
                  <a:pt x="6447192" y="2631516"/>
                </a:lnTo>
                <a:lnTo>
                  <a:pt x="6442851" y="2628376"/>
                </a:lnTo>
                <a:lnTo>
                  <a:pt x="6444045" y="2624803"/>
                </a:lnTo>
                <a:lnTo>
                  <a:pt x="6444370" y="2618090"/>
                </a:lnTo>
                <a:lnTo>
                  <a:pt x="6441766" y="2612352"/>
                </a:lnTo>
                <a:lnTo>
                  <a:pt x="6443503" y="2609429"/>
                </a:lnTo>
                <a:lnTo>
                  <a:pt x="6444370" y="2605314"/>
                </a:lnTo>
                <a:lnTo>
                  <a:pt x="6441983" y="2600226"/>
                </a:lnTo>
                <a:lnTo>
                  <a:pt x="6436123" y="2595895"/>
                </a:lnTo>
                <a:lnTo>
                  <a:pt x="6425814" y="2588424"/>
                </a:lnTo>
                <a:lnTo>
                  <a:pt x="6422341" y="2581603"/>
                </a:lnTo>
                <a:close/>
                <a:moveTo>
                  <a:pt x="6436936" y="2570963"/>
                </a:moveTo>
                <a:lnTo>
                  <a:pt x="6442634" y="2574025"/>
                </a:lnTo>
                <a:lnTo>
                  <a:pt x="6446058" y="2574404"/>
                </a:lnTo>
                <a:lnTo>
                  <a:pt x="6442633" y="2574024"/>
                </a:lnTo>
                <a:close/>
                <a:moveTo>
                  <a:pt x="4308473" y="2570188"/>
                </a:moveTo>
                <a:lnTo>
                  <a:pt x="4305180" y="2593297"/>
                </a:lnTo>
                <a:lnTo>
                  <a:pt x="4306048" y="2628160"/>
                </a:lnTo>
                <a:lnTo>
                  <a:pt x="4289152" y="2645387"/>
                </a:lnTo>
                <a:lnTo>
                  <a:pt x="4306049" y="2628160"/>
                </a:lnTo>
                <a:lnTo>
                  <a:pt x="4305181" y="2593297"/>
                </a:lnTo>
                <a:close/>
                <a:moveTo>
                  <a:pt x="6166459" y="2569911"/>
                </a:moveTo>
                <a:lnTo>
                  <a:pt x="6170257" y="2573700"/>
                </a:lnTo>
                <a:lnTo>
                  <a:pt x="6169063" y="2577815"/>
                </a:lnTo>
                <a:lnTo>
                  <a:pt x="6164180" y="2575000"/>
                </a:lnTo>
                <a:lnTo>
                  <a:pt x="6162769" y="2571643"/>
                </a:lnTo>
                <a:close/>
                <a:moveTo>
                  <a:pt x="6271394" y="2569802"/>
                </a:moveTo>
                <a:lnTo>
                  <a:pt x="6271394" y="2569802"/>
                </a:lnTo>
                <a:lnTo>
                  <a:pt x="6273130" y="2573700"/>
                </a:lnTo>
                <a:close/>
                <a:moveTo>
                  <a:pt x="6428202" y="2569801"/>
                </a:moveTo>
                <a:lnTo>
                  <a:pt x="6428202" y="2569802"/>
                </a:lnTo>
                <a:lnTo>
                  <a:pt x="6435580" y="2570235"/>
                </a:lnTo>
                <a:lnTo>
                  <a:pt x="6435579" y="2570234"/>
                </a:lnTo>
                <a:close/>
                <a:moveTo>
                  <a:pt x="4041165" y="2569489"/>
                </a:moveTo>
                <a:lnTo>
                  <a:pt x="4037579" y="2570667"/>
                </a:lnTo>
                <a:lnTo>
                  <a:pt x="4028489" y="2571745"/>
                </a:lnTo>
                <a:lnTo>
                  <a:pt x="4037577" y="2570668"/>
                </a:lnTo>
                <a:close/>
                <a:moveTo>
                  <a:pt x="2222202" y="2568935"/>
                </a:moveTo>
                <a:lnTo>
                  <a:pt x="2226869" y="2572400"/>
                </a:lnTo>
                <a:lnTo>
                  <a:pt x="2227954" y="2576081"/>
                </a:lnTo>
                <a:lnTo>
                  <a:pt x="2221226" y="2573699"/>
                </a:lnTo>
                <a:lnTo>
                  <a:pt x="2218079" y="2571100"/>
                </a:lnTo>
                <a:close/>
                <a:moveTo>
                  <a:pt x="6825045" y="2567962"/>
                </a:moveTo>
                <a:lnTo>
                  <a:pt x="6834161" y="2569694"/>
                </a:lnTo>
                <a:lnTo>
                  <a:pt x="6838176" y="2574133"/>
                </a:lnTo>
                <a:lnTo>
                  <a:pt x="6841648" y="2576407"/>
                </a:lnTo>
                <a:lnTo>
                  <a:pt x="6842842" y="2574025"/>
                </a:lnTo>
                <a:lnTo>
                  <a:pt x="6849570" y="2574025"/>
                </a:lnTo>
                <a:lnTo>
                  <a:pt x="6852826" y="2571210"/>
                </a:lnTo>
                <a:lnTo>
                  <a:pt x="6853151" y="2569045"/>
                </a:lnTo>
                <a:lnTo>
                  <a:pt x="6855429" y="2568178"/>
                </a:lnTo>
                <a:lnTo>
                  <a:pt x="6858468" y="2572293"/>
                </a:lnTo>
                <a:lnTo>
                  <a:pt x="6858142" y="2575757"/>
                </a:lnTo>
                <a:lnTo>
                  <a:pt x="6855429" y="2579005"/>
                </a:lnTo>
                <a:lnTo>
                  <a:pt x="6854344" y="2588317"/>
                </a:lnTo>
                <a:lnTo>
                  <a:pt x="6858685" y="2595679"/>
                </a:lnTo>
                <a:lnTo>
                  <a:pt x="6861398" y="2596653"/>
                </a:lnTo>
                <a:lnTo>
                  <a:pt x="6863026" y="2602717"/>
                </a:lnTo>
                <a:lnTo>
                  <a:pt x="6865413" y="2605640"/>
                </a:lnTo>
                <a:lnTo>
                  <a:pt x="6863135" y="2616792"/>
                </a:lnTo>
                <a:lnTo>
                  <a:pt x="6860204" y="2623613"/>
                </a:lnTo>
                <a:lnTo>
                  <a:pt x="6861615" y="2629351"/>
                </a:lnTo>
                <a:lnTo>
                  <a:pt x="6857600" y="2635739"/>
                </a:lnTo>
                <a:lnTo>
                  <a:pt x="6857274" y="2633357"/>
                </a:lnTo>
                <a:lnTo>
                  <a:pt x="6858793" y="2629892"/>
                </a:lnTo>
                <a:lnTo>
                  <a:pt x="6855972" y="2631625"/>
                </a:lnTo>
                <a:lnTo>
                  <a:pt x="6848484" y="2638663"/>
                </a:lnTo>
                <a:lnTo>
                  <a:pt x="6846748" y="2642885"/>
                </a:lnTo>
                <a:lnTo>
                  <a:pt x="6847291" y="2648299"/>
                </a:lnTo>
                <a:lnTo>
                  <a:pt x="6844904" y="2651871"/>
                </a:lnTo>
                <a:lnTo>
                  <a:pt x="6844035" y="2657718"/>
                </a:lnTo>
                <a:lnTo>
                  <a:pt x="6846640" y="2659775"/>
                </a:lnTo>
                <a:lnTo>
                  <a:pt x="6849028" y="2665946"/>
                </a:lnTo>
                <a:lnTo>
                  <a:pt x="6852174" y="2669411"/>
                </a:lnTo>
                <a:lnTo>
                  <a:pt x="6850221" y="2672118"/>
                </a:lnTo>
                <a:lnTo>
                  <a:pt x="6850221" y="2677315"/>
                </a:lnTo>
                <a:lnTo>
                  <a:pt x="6853910" y="2680238"/>
                </a:lnTo>
                <a:lnTo>
                  <a:pt x="6856189" y="2684894"/>
                </a:lnTo>
                <a:lnTo>
                  <a:pt x="6861615" y="2686734"/>
                </a:lnTo>
                <a:lnTo>
                  <a:pt x="6865413" y="2685435"/>
                </a:lnTo>
                <a:lnTo>
                  <a:pt x="6866498" y="2681754"/>
                </a:lnTo>
                <a:lnTo>
                  <a:pt x="6872900" y="2676666"/>
                </a:lnTo>
                <a:lnTo>
                  <a:pt x="6877567" y="2676558"/>
                </a:lnTo>
                <a:lnTo>
                  <a:pt x="6884620" y="2680996"/>
                </a:lnTo>
                <a:lnTo>
                  <a:pt x="6887550" y="2686626"/>
                </a:lnTo>
                <a:lnTo>
                  <a:pt x="6886900" y="2691607"/>
                </a:lnTo>
                <a:lnTo>
                  <a:pt x="6889178" y="2693989"/>
                </a:lnTo>
                <a:lnTo>
                  <a:pt x="6892325" y="2691932"/>
                </a:lnTo>
                <a:lnTo>
                  <a:pt x="6891999" y="2687276"/>
                </a:lnTo>
                <a:lnTo>
                  <a:pt x="6894061" y="2685544"/>
                </a:lnTo>
                <a:lnTo>
                  <a:pt x="6896774" y="2690199"/>
                </a:lnTo>
                <a:lnTo>
                  <a:pt x="6902417" y="2690416"/>
                </a:lnTo>
                <a:lnTo>
                  <a:pt x="6907083" y="2693447"/>
                </a:lnTo>
                <a:lnTo>
                  <a:pt x="6908168" y="2695072"/>
                </a:lnTo>
                <a:lnTo>
                  <a:pt x="6904697" y="2695613"/>
                </a:lnTo>
                <a:lnTo>
                  <a:pt x="6902308" y="2694205"/>
                </a:lnTo>
                <a:lnTo>
                  <a:pt x="6899922" y="2695829"/>
                </a:lnTo>
                <a:lnTo>
                  <a:pt x="6900898" y="2699944"/>
                </a:lnTo>
                <a:lnTo>
                  <a:pt x="6904153" y="2708280"/>
                </a:lnTo>
                <a:lnTo>
                  <a:pt x="6904044" y="2711529"/>
                </a:lnTo>
                <a:lnTo>
                  <a:pt x="6908819" y="2711529"/>
                </a:lnTo>
                <a:lnTo>
                  <a:pt x="6912292" y="2713261"/>
                </a:lnTo>
                <a:lnTo>
                  <a:pt x="6916199" y="2713044"/>
                </a:lnTo>
                <a:lnTo>
                  <a:pt x="6918152" y="2715643"/>
                </a:lnTo>
                <a:lnTo>
                  <a:pt x="6916091" y="2717700"/>
                </a:lnTo>
                <a:lnTo>
                  <a:pt x="6916632" y="2720623"/>
                </a:lnTo>
                <a:lnTo>
                  <a:pt x="6914896" y="2727445"/>
                </a:lnTo>
                <a:lnTo>
                  <a:pt x="6910665" y="2726145"/>
                </a:lnTo>
                <a:lnTo>
                  <a:pt x="6906757" y="2721381"/>
                </a:lnTo>
                <a:lnTo>
                  <a:pt x="6910556" y="2719107"/>
                </a:lnTo>
                <a:lnTo>
                  <a:pt x="6910881" y="2716617"/>
                </a:lnTo>
                <a:lnTo>
                  <a:pt x="6906975" y="2715859"/>
                </a:lnTo>
                <a:lnTo>
                  <a:pt x="6907083" y="2717592"/>
                </a:lnTo>
                <a:lnTo>
                  <a:pt x="6902960" y="2718782"/>
                </a:lnTo>
                <a:lnTo>
                  <a:pt x="6897642" y="2712503"/>
                </a:lnTo>
                <a:lnTo>
                  <a:pt x="6893952" y="2711312"/>
                </a:lnTo>
                <a:lnTo>
                  <a:pt x="6893952" y="2706223"/>
                </a:lnTo>
                <a:lnTo>
                  <a:pt x="6892108" y="2701676"/>
                </a:lnTo>
                <a:lnTo>
                  <a:pt x="6885271" y="2699186"/>
                </a:lnTo>
                <a:lnTo>
                  <a:pt x="6882125" y="2693664"/>
                </a:lnTo>
                <a:lnTo>
                  <a:pt x="6878977" y="2692040"/>
                </a:lnTo>
                <a:lnTo>
                  <a:pt x="6876265" y="2689333"/>
                </a:lnTo>
                <a:lnTo>
                  <a:pt x="6873660" y="2688791"/>
                </a:lnTo>
                <a:lnTo>
                  <a:pt x="6873009" y="2691282"/>
                </a:lnTo>
                <a:lnTo>
                  <a:pt x="6878001" y="2700052"/>
                </a:lnTo>
                <a:lnTo>
                  <a:pt x="6879521" y="2707956"/>
                </a:lnTo>
                <a:lnTo>
                  <a:pt x="6877675" y="2708280"/>
                </a:lnTo>
                <a:lnTo>
                  <a:pt x="6873009" y="2700376"/>
                </a:lnTo>
                <a:lnTo>
                  <a:pt x="6867692" y="2696587"/>
                </a:lnTo>
                <a:lnTo>
                  <a:pt x="6865738" y="2692906"/>
                </a:lnTo>
                <a:lnTo>
                  <a:pt x="6855972" y="2689009"/>
                </a:lnTo>
                <a:lnTo>
                  <a:pt x="6850438" y="2689550"/>
                </a:lnTo>
                <a:lnTo>
                  <a:pt x="6848376" y="2692581"/>
                </a:lnTo>
                <a:lnTo>
                  <a:pt x="6849353" y="2695938"/>
                </a:lnTo>
                <a:lnTo>
                  <a:pt x="6844904" y="2698644"/>
                </a:lnTo>
                <a:lnTo>
                  <a:pt x="6839369" y="2693123"/>
                </a:lnTo>
                <a:lnTo>
                  <a:pt x="6836114" y="2696046"/>
                </a:lnTo>
                <a:lnTo>
                  <a:pt x="6832315" y="2696912"/>
                </a:lnTo>
                <a:lnTo>
                  <a:pt x="6834594" y="2692906"/>
                </a:lnTo>
                <a:lnTo>
                  <a:pt x="6832641" y="2688791"/>
                </a:lnTo>
                <a:lnTo>
                  <a:pt x="6829928" y="2689874"/>
                </a:lnTo>
                <a:lnTo>
                  <a:pt x="6828518" y="2694638"/>
                </a:lnTo>
                <a:lnTo>
                  <a:pt x="6825479" y="2689333"/>
                </a:lnTo>
                <a:lnTo>
                  <a:pt x="6825913" y="2683703"/>
                </a:lnTo>
                <a:lnTo>
                  <a:pt x="6825479" y="2680888"/>
                </a:lnTo>
                <a:lnTo>
                  <a:pt x="6827975" y="2677856"/>
                </a:lnTo>
                <a:lnTo>
                  <a:pt x="6833184" y="2671144"/>
                </a:lnTo>
                <a:lnTo>
                  <a:pt x="6829060" y="2668004"/>
                </a:lnTo>
                <a:lnTo>
                  <a:pt x="6823852" y="2667571"/>
                </a:lnTo>
                <a:lnTo>
                  <a:pt x="6823743" y="2670385"/>
                </a:lnTo>
                <a:lnTo>
                  <a:pt x="6826239" y="2673201"/>
                </a:lnTo>
                <a:lnTo>
                  <a:pt x="6823526" y="2676774"/>
                </a:lnTo>
                <a:lnTo>
                  <a:pt x="6820379" y="2676666"/>
                </a:lnTo>
                <a:lnTo>
                  <a:pt x="6815821" y="2670603"/>
                </a:lnTo>
                <a:lnTo>
                  <a:pt x="6815604" y="2665838"/>
                </a:lnTo>
                <a:lnTo>
                  <a:pt x="6813759" y="2665081"/>
                </a:lnTo>
                <a:lnTo>
                  <a:pt x="6812023" y="2666488"/>
                </a:lnTo>
                <a:lnTo>
                  <a:pt x="6809852" y="2664972"/>
                </a:lnTo>
                <a:lnTo>
                  <a:pt x="6809745" y="2656310"/>
                </a:lnTo>
                <a:lnTo>
                  <a:pt x="6806163" y="2649814"/>
                </a:lnTo>
                <a:lnTo>
                  <a:pt x="6804427" y="2642885"/>
                </a:lnTo>
                <a:lnTo>
                  <a:pt x="6806163" y="2639637"/>
                </a:lnTo>
                <a:lnTo>
                  <a:pt x="6805295" y="2637904"/>
                </a:lnTo>
                <a:lnTo>
                  <a:pt x="6802473" y="2637797"/>
                </a:lnTo>
                <a:lnTo>
                  <a:pt x="6801280" y="2632599"/>
                </a:lnTo>
                <a:lnTo>
                  <a:pt x="6802040" y="2626753"/>
                </a:lnTo>
                <a:lnTo>
                  <a:pt x="6805295" y="2630759"/>
                </a:lnTo>
                <a:lnTo>
                  <a:pt x="6809419" y="2631408"/>
                </a:lnTo>
                <a:lnTo>
                  <a:pt x="6812891" y="2629568"/>
                </a:lnTo>
                <a:lnTo>
                  <a:pt x="6812891" y="2626428"/>
                </a:lnTo>
                <a:lnTo>
                  <a:pt x="6809093" y="2618524"/>
                </a:lnTo>
                <a:lnTo>
                  <a:pt x="6811264" y="2612894"/>
                </a:lnTo>
                <a:lnTo>
                  <a:pt x="6814085" y="2600984"/>
                </a:lnTo>
                <a:lnTo>
                  <a:pt x="6813868" y="2591240"/>
                </a:lnTo>
                <a:lnTo>
                  <a:pt x="6812458" y="2585285"/>
                </a:lnTo>
                <a:lnTo>
                  <a:pt x="6817340" y="2575757"/>
                </a:lnTo>
                <a:lnTo>
                  <a:pt x="6818209" y="2570344"/>
                </a:lnTo>
                <a:close/>
                <a:moveTo>
                  <a:pt x="4046477" y="2567744"/>
                </a:moveTo>
                <a:lnTo>
                  <a:pt x="4046476" y="2567745"/>
                </a:lnTo>
                <a:lnTo>
                  <a:pt x="4046584" y="2567853"/>
                </a:lnTo>
                <a:lnTo>
                  <a:pt x="4045390" y="2613976"/>
                </a:lnTo>
                <a:lnTo>
                  <a:pt x="4043763" y="2635414"/>
                </a:lnTo>
                <a:lnTo>
                  <a:pt x="4043764" y="2635413"/>
                </a:lnTo>
                <a:lnTo>
                  <a:pt x="4045391" y="2613976"/>
                </a:lnTo>
                <a:lnTo>
                  <a:pt x="4046585" y="2567853"/>
                </a:lnTo>
                <a:lnTo>
                  <a:pt x="4046586" y="2567853"/>
                </a:lnTo>
                <a:close/>
                <a:moveTo>
                  <a:pt x="6420931" y="2563522"/>
                </a:moveTo>
                <a:lnTo>
                  <a:pt x="6420931" y="2563522"/>
                </a:lnTo>
                <a:lnTo>
                  <a:pt x="6424728" y="2563522"/>
                </a:lnTo>
                <a:lnTo>
                  <a:pt x="6424728" y="2563522"/>
                </a:lnTo>
                <a:close/>
                <a:moveTo>
                  <a:pt x="6830797" y="2560924"/>
                </a:moveTo>
                <a:lnTo>
                  <a:pt x="6836766" y="2560924"/>
                </a:lnTo>
                <a:lnTo>
                  <a:pt x="6832967" y="2562981"/>
                </a:lnTo>
                <a:close/>
                <a:moveTo>
                  <a:pt x="2028935" y="2560599"/>
                </a:moveTo>
                <a:lnTo>
                  <a:pt x="2027308" y="2563955"/>
                </a:lnTo>
                <a:lnTo>
                  <a:pt x="2022533" y="2564713"/>
                </a:lnTo>
                <a:lnTo>
                  <a:pt x="2024052" y="2560707"/>
                </a:lnTo>
                <a:close/>
                <a:moveTo>
                  <a:pt x="4083047" y="2559083"/>
                </a:moveTo>
                <a:lnTo>
                  <a:pt x="4053361" y="2566223"/>
                </a:lnTo>
                <a:lnTo>
                  <a:pt x="4083047" y="2559083"/>
                </a:lnTo>
                <a:close/>
                <a:moveTo>
                  <a:pt x="6848158" y="2555943"/>
                </a:moveTo>
                <a:lnTo>
                  <a:pt x="6849787" y="2558325"/>
                </a:lnTo>
                <a:lnTo>
                  <a:pt x="6847942" y="2561790"/>
                </a:lnTo>
                <a:lnTo>
                  <a:pt x="6845229" y="2559516"/>
                </a:lnTo>
                <a:close/>
                <a:moveTo>
                  <a:pt x="6848158" y="2555943"/>
                </a:moveTo>
                <a:lnTo>
                  <a:pt x="6848159" y="2555943"/>
                </a:lnTo>
                <a:lnTo>
                  <a:pt x="6848158" y="2555943"/>
                </a:lnTo>
                <a:close/>
                <a:moveTo>
                  <a:pt x="5225318" y="2550811"/>
                </a:moveTo>
                <a:lnTo>
                  <a:pt x="5177871" y="2564929"/>
                </a:lnTo>
                <a:lnTo>
                  <a:pt x="5150212" y="2573178"/>
                </a:lnTo>
                <a:lnTo>
                  <a:pt x="5177872" y="2564929"/>
                </a:lnTo>
                <a:close/>
                <a:moveTo>
                  <a:pt x="6827649" y="2550638"/>
                </a:moveTo>
                <a:lnTo>
                  <a:pt x="6830905" y="2553777"/>
                </a:lnTo>
                <a:lnTo>
                  <a:pt x="6826456" y="2554536"/>
                </a:lnTo>
                <a:close/>
                <a:moveTo>
                  <a:pt x="6342365" y="2547931"/>
                </a:moveTo>
                <a:lnTo>
                  <a:pt x="6351153" y="2548148"/>
                </a:lnTo>
                <a:lnTo>
                  <a:pt x="6351370" y="2552262"/>
                </a:lnTo>
                <a:lnTo>
                  <a:pt x="6348549" y="2557676"/>
                </a:lnTo>
                <a:lnTo>
                  <a:pt x="6351370" y="2562331"/>
                </a:lnTo>
                <a:lnTo>
                  <a:pt x="6351153" y="2566121"/>
                </a:lnTo>
                <a:lnTo>
                  <a:pt x="6348441" y="2569802"/>
                </a:lnTo>
                <a:lnTo>
                  <a:pt x="6350503" y="2575649"/>
                </a:lnTo>
                <a:lnTo>
                  <a:pt x="6350503" y="2583877"/>
                </a:lnTo>
                <a:lnTo>
                  <a:pt x="6350936" y="2596328"/>
                </a:lnTo>
                <a:lnTo>
                  <a:pt x="6350937" y="2596328"/>
                </a:lnTo>
                <a:lnTo>
                  <a:pt x="6350504" y="2583877"/>
                </a:lnTo>
                <a:lnTo>
                  <a:pt x="6350504" y="2575648"/>
                </a:lnTo>
                <a:lnTo>
                  <a:pt x="6348442" y="2569802"/>
                </a:lnTo>
                <a:lnTo>
                  <a:pt x="6351154" y="2566121"/>
                </a:lnTo>
                <a:lnTo>
                  <a:pt x="6351371" y="2562331"/>
                </a:lnTo>
                <a:lnTo>
                  <a:pt x="6348550" y="2557676"/>
                </a:lnTo>
                <a:lnTo>
                  <a:pt x="6351371" y="2552262"/>
                </a:lnTo>
                <a:lnTo>
                  <a:pt x="6351154" y="2548148"/>
                </a:lnTo>
                <a:close/>
                <a:moveTo>
                  <a:pt x="2272230" y="2545982"/>
                </a:moveTo>
                <a:lnTo>
                  <a:pt x="2292197" y="2550313"/>
                </a:lnTo>
                <a:lnTo>
                  <a:pt x="2295235" y="2552478"/>
                </a:lnTo>
                <a:lnTo>
                  <a:pt x="2297406" y="2551612"/>
                </a:lnTo>
                <a:lnTo>
                  <a:pt x="2301638" y="2551612"/>
                </a:lnTo>
                <a:lnTo>
                  <a:pt x="2305436" y="2558975"/>
                </a:lnTo>
                <a:lnTo>
                  <a:pt x="2313140" y="2560598"/>
                </a:lnTo>
                <a:lnTo>
                  <a:pt x="2315962" y="2560057"/>
                </a:lnTo>
                <a:lnTo>
                  <a:pt x="2319109" y="2562439"/>
                </a:lnTo>
                <a:lnTo>
                  <a:pt x="2314877" y="2563955"/>
                </a:lnTo>
                <a:lnTo>
                  <a:pt x="2304567" y="2562980"/>
                </a:lnTo>
                <a:lnTo>
                  <a:pt x="2297840" y="2561031"/>
                </a:lnTo>
                <a:lnTo>
                  <a:pt x="2294584" y="2562331"/>
                </a:lnTo>
                <a:lnTo>
                  <a:pt x="2299251" y="2562331"/>
                </a:lnTo>
                <a:lnTo>
                  <a:pt x="2305979" y="2566229"/>
                </a:lnTo>
                <a:lnTo>
                  <a:pt x="2312381" y="2569369"/>
                </a:lnTo>
                <a:lnTo>
                  <a:pt x="2316288" y="2569152"/>
                </a:lnTo>
                <a:lnTo>
                  <a:pt x="2322148" y="2571101"/>
                </a:lnTo>
                <a:lnTo>
                  <a:pt x="2325729" y="2571101"/>
                </a:lnTo>
                <a:lnTo>
                  <a:pt x="2335386" y="2576623"/>
                </a:lnTo>
                <a:lnTo>
                  <a:pt x="2337448" y="2579979"/>
                </a:lnTo>
                <a:lnTo>
                  <a:pt x="2335278" y="2583769"/>
                </a:lnTo>
                <a:lnTo>
                  <a:pt x="2332348" y="2583769"/>
                </a:lnTo>
                <a:lnTo>
                  <a:pt x="2330937" y="2587559"/>
                </a:lnTo>
                <a:lnTo>
                  <a:pt x="2324209" y="2585826"/>
                </a:lnTo>
                <a:lnTo>
                  <a:pt x="2318675" y="2585501"/>
                </a:lnTo>
                <a:lnTo>
                  <a:pt x="2315203" y="2582686"/>
                </a:lnTo>
                <a:lnTo>
                  <a:pt x="2310645" y="2584527"/>
                </a:lnTo>
                <a:lnTo>
                  <a:pt x="2303157" y="2583444"/>
                </a:lnTo>
                <a:lnTo>
                  <a:pt x="2296320" y="2584635"/>
                </a:lnTo>
                <a:lnTo>
                  <a:pt x="2289918" y="2590482"/>
                </a:lnTo>
                <a:lnTo>
                  <a:pt x="2283624" y="2592214"/>
                </a:lnTo>
                <a:lnTo>
                  <a:pt x="2280803" y="2590482"/>
                </a:lnTo>
                <a:lnTo>
                  <a:pt x="2280477" y="2585826"/>
                </a:lnTo>
                <a:lnTo>
                  <a:pt x="2277005" y="2583769"/>
                </a:lnTo>
                <a:lnTo>
                  <a:pt x="2274075" y="2589615"/>
                </a:lnTo>
                <a:lnTo>
                  <a:pt x="2270819" y="2589290"/>
                </a:lnTo>
                <a:lnTo>
                  <a:pt x="2267997" y="2586692"/>
                </a:lnTo>
                <a:lnTo>
                  <a:pt x="2265936" y="2590157"/>
                </a:lnTo>
                <a:lnTo>
                  <a:pt x="2266696" y="2592539"/>
                </a:lnTo>
                <a:lnTo>
                  <a:pt x="2260835" y="2600226"/>
                </a:lnTo>
                <a:lnTo>
                  <a:pt x="2257905" y="2607372"/>
                </a:lnTo>
                <a:lnTo>
                  <a:pt x="2254758" y="2605748"/>
                </a:lnTo>
                <a:lnTo>
                  <a:pt x="2253565" y="2603366"/>
                </a:lnTo>
                <a:lnTo>
                  <a:pt x="2249224" y="2601633"/>
                </a:lnTo>
                <a:lnTo>
                  <a:pt x="2250852" y="2597735"/>
                </a:lnTo>
                <a:lnTo>
                  <a:pt x="2248247" y="2592431"/>
                </a:lnTo>
                <a:lnTo>
                  <a:pt x="2245643" y="2592214"/>
                </a:lnTo>
                <a:lnTo>
                  <a:pt x="2245209" y="2589507"/>
                </a:lnTo>
                <a:lnTo>
                  <a:pt x="2250849" y="2583555"/>
                </a:lnTo>
                <a:lnTo>
                  <a:pt x="2245101" y="2588857"/>
                </a:lnTo>
                <a:lnTo>
                  <a:pt x="2245101" y="2591564"/>
                </a:lnTo>
                <a:lnTo>
                  <a:pt x="2241520" y="2591564"/>
                </a:lnTo>
                <a:lnTo>
                  <a:pt x="2237613" y="2589615"/>
                </a:lnTo>
                <a:lnTo>
                  <a:pt x="2235226" y="2591131"/>
                </a:lnTo>
                <a:lnTo>
                  <a:pt x="2222096" y="2591131"/>
                </a:lnTo>
                <a:lnTo>
                  <a:pt x="2217646" y="2588748"/>
                </a:lnTo>
                <a:lnTo>
                  <a:pt x="2206794" y="2588748"/>
                </a:lnTo>
                <a:lnTo>
                  <a:pt x="2204190" y="2590806"/>
                </a:lnTo>
                <a:lnTo>
                  <a:pt x="2204190" y="2594921"/>
                </a:lnTo>
                <a:lnTo>
                  <a:pt x="2201586" y="2594054"/>
                </a:lnTo>
                <a:lnTo>
                  <a:pt x="2195726" y="2587341"/>
                </a:lnTo>
                <a:lnTo>
                  <a:pt x="2190083" y="2586584"/>
                </a:lnTo>
                <a:lnTo>
                  <a:pt x="2188347" y="2582577"/>
                </a:lnTo>
                <a:lnTo>
                  <a:pt x="2190300" y="2579654"/>
                </a:lnTo>
                <a:lnTo>
                  <a:pt x="2195292" y="2577056"/>
                </a:lnTo>
                <a:lnTo>
                  <a:pt x="2199307" y="2580845"/>
                </a:lnTo>
                <a:lnTo>
                  <a:pt x="2206686" y="2579005"/>
                </a:lnTo>
                <a:lnTo>
                  <a:pt x="2208748" y="2579871"/>
                </a:lnTo>
                <a:lnTo>
                  <a:pt x="2208748" y="2582252"/>
                </a:lnTo>
                <a:lnTo>
                  <a:pt x="2214608" y="2579871"/>
                </a:lnTo>
                <a:lnTo>
                  <a:pt x="2219600" y="2581928"/>
                </a:lnTo>
                <a:lnTo>
                  <a:pt x="2225243" y="2581928"/>
                </a:lnTo>
                <a:lnTo>
                  <a:pt x="2229366" y="2583119"/>
                </a:lnTo>
                <a:lnTo>
                  <a:pt x="2231211" y="2581711"/>
                </a:lnTo>
                <a:lnTo>
                  <a:pt x="2240978" y="2581711"/>
                </a:lnTo>
                <a:lnTo>
                  <a:pt x="2242171" y="2578788"/>
                </a:lnTo>
                <a:lnTo>
                  <a:pt x="2236962" y="2574132"/>
                </a:lnTo>
                <a:lnTo>
                  <a:pt x="2232513" y="2572942"/>
                </a:lnTo>
                <a:lnTo>
                  <a:pt x="2230234" y="2568827"/>
                </a:lnTo>
                <a:lnTo>
                  <a:pt x="2231970" y="2562872"/>
                </a:lnTo>
                <a:lnTo>
                  <a:pt x="2230234" y="2559083"/>
                </a:lnTo>
                <a:lnTo>
                  <a:pt x="2231645" y="2556701"/>
                </a:lnTo>
                <a:lnTo>
                  <a:pt x="2218948" y="2552370"/>
                </a:lnTo>
                <a:lnTo>
                  <a:pt x="2214065" y="2549555"/>
                </a:lnTo>
                <a:lnTo>
                  <a:pt x="2215476" y="2546957"/>
                </a:lnTo>
                <a:lnTo>
                  <a:pt x="2224483" y="2546957"/>
                </a:lnTo>
                <a:lnTo>
                  <a:pt x="2228607" y="2548364"/>
                </a:lnTo>
                <a:lnTo>
                  <a:pt x="2231537" y="2546632"/>
                </a:lnTo>
                <a:lnTo>
                  <a:pt x="2241737" y="2547822"/>
                </a:lnTo>
                <a:lnTo>
                  <a:pt x="2245861" y="2551937"/>
                </a:lnTo>
                <a:lnTo>
                  <a:pt x="2249984" y="2551071"/>
                </a:lnTo>
                <a:lnTo>
                  <a:pt x="2254325" y="2552153"/>
                </a:lnTo>
                <a:lnTo>
                  <a:pt x="2254976" y="2554536"/>
                </a:lnTo>
                <a:lnTo>
                  <a:pt x="2252588" y="2558975"/>
                </a:lnTo>
                <a:lnTo>
                  <a:pt x="2254542" y="2562764"/>
                </a:lnTo>
                <a:lnTo>
                  <a:pt x="2253023" y="2567961"/>
                </a:lnTo>
                <a:lnTo>
                  <a:pt x="2249225" y="2569801"/>
                </a:lnTo>
                <a:lnTo>
                  <a:pt x="2248574" y="2571642"/>
                </a:lnTo>
                <a:lnTo>
                  <a:pt x="2250852" y="2576623"/>
                </a:lnTo>
                <a:lnTo>
                  <a:pt x="2250852" y="2580628"/>
                </a:lnTo>
                <a:lnTo>
                  <a:pt x="2250852" y="2583549"/>
                </a:lnTo>
                <a:lnTo>
                  <a:pt x="2251286" y="2580521"/>
                </a:lnTo>
                <a:lnTo>
                  <a:pt x="2251394" y="2576623"/>
                </a:lnTo>
                <a:lnTo>
                  <a:pt x="2249224" y="2571643"/>
                </a:lnTo>
                <a:lnTo>
                  <a:pt x="2249875" y="2569802"/>
                </a:lnTo>
                <a:lnTo>
                  <a:pt x="2253673" y="2567853"/>
                </a:lnTo>
                <a:lnTo>
                  <a:pt x="2255192" y="2562656"/>
                </a:lnTo>
                <a:lnTo>
                  <a:pt x="2253347" y="2558975"/>
                </a:lnTo>
                <a:lnTo>
                  <a:pt x="2255735" y="2554427"/>
                </a:lnTo>
                <a:lnTo>
                  <a:pt x="2255084" y="2552045"/>
                </a:lnTo>
                <a:lnTo>
                  <a:pt x="2257580" y="2547498"/>
                </a:lnTo>
                <a:lnTo>
                  <a:pt x="2265501" y="2546090"/>
                </a:lnTo>
                <a:lnTo>
                  <a:pt x="2269950" y="2547281"/>
                </a:lnTo>
                <a:close/>
                <a:moveTo>
                  <a:pt x="6837851" y="2544034"/>
                </a:moveTo>
                <a:lnTo>
                  <a:pt x="6837091" y="2549230"/>
                </a:lnTo>
                <a:lnTo>
                  <a:pt x="6834162" y="2546632"/>
                </a:lnTo>
                <a:close/>
                <a:moveTo>
                  <a:pt x="4000249" y="2541976"/>
                </a:moveTo>
                <a:lnTo>
                  <a:pt x="3992076" y="2542379"/>
                </a:lnTo>
                <a:lnTo>
                  <a:pt x="4000247" y="2541977"/>
                </a:lnTo>
                <a:lnTo>
                  <a:pt x="4007084" y="2544250"/>
                </a:lnTo>
                <a:lnTo>
                  <a:pt x="4011425" y="2549555"/>
                </a:lnTo>
                <a:lnTo>
                  <a:pt x="4017176" y="2551179"/>
                </a:lnTo>
                <a:lnTo>
                  <a:pt x="4021733" y="2555185"/>
                </a:lnTo>
                <a:lnTo>
                  <a:pt x="4021517" y="2558975"/>
                </a:lnTo>
                <a:lnTo>
                  <a:pt x="4019238" y="2566229"/>
                </a:lnTo>
                <a:lnTo>
                  <a:pt x="4020865" y="2569910"/>
                </a:lnTo>
                <a:lnTo>
                  <a:pt x="4026617" y="2571967"/>
                </a:lnTo>
                <a:lnTo>
                  <a:pt x="4026618" y="2571967"/>
                </a:lnTo>
                <a:lnTo>
                  <a:pt x="4020867" y="2569910"/>
                </a:lnTo>
                <a:lnTo>
                  <a:pt x="4019239" y="2566228"/>
                </a:lnTo>
                <a:lnTo>
                  <a:pt x="4021518" y="2558975"/>
                </a:lnTo>
                <a:lnTo>
                  <a:pt x="4021735" y="2555185"/>
                </a:lnTo>
                <a:lnTo>
                  <a:pt x="4017177" y="2551179"/>
                </a:lnTo>
                <a:lnTo>
                  <a:pt x="4011426" y="2549555"/>
                </a:lnTo>
                <a:lnTo>
                  <a:pt x="4007085" y="2544250"/>
                </a:lnTo>
                <a:close/>
                <a:moveTo>
                  <a:pt x="2231319" y="2539052"/>
                </a:moveTo>
                <a:lnTo>
                  <a:pt x="2239675" y="2543924"/>
                </a:lnTo>
                <a:lnTo>
                  <a:pt x="2230668" y="2544033"/>
                </a:lnTo>
                <a:lnTo>
                  <a:pt x="2227087" y="2541434"/>
                </a:lnTo>
                <a:close/>
                <a:moveTo>
                  <a:pt x="6571985" y="2529850"/>
                </a:moveTo>
                <a:lnTo>
                  <a:pt x="6577193" y="2531691"/>
                </a:lnTo>
                <a:lnTo>
                  <a:pt x="6582185" y="2534939"/>
                </a:lnTo>
                <a:lnTo>
                  <a:pt x="6584247" y="2541110"/>
                </a:lnTo>
                <a:lnTo>
                  <a:pt x="6580666" y="2546957"/>
                </a:lnTo>
                <a:lnTo>
                  <a:pt x="6579689" y="2550421"/>
                </a:lnTo>
                <a:lnTo>
                  <a:pt x="6577302" y="2552370"/>
                </a:lnTo>
                <a:lnTo>
                  <a:pt x="6574915" y="2559733"/>
                </a:lnTo>
                <a:lnTo>
                  <a:pt x="6575782" y="2563847"/>
                </a:lnTo>
                <a:lnTo>
                  <a:pt x="6572309" y="2567420"/>
                </a:lnTo>
                <a:lnTo>
                  <a:pt x="6567861" y="2568286"/>
                </a:lnTo>
                <a:lnTo>
                  <a:pt x="6567861" y="2570994"/>
                </a:lnTo>
                <a:lnTo>
                  <a:pt x="6564930" y="2574783"/>
                </a:lnTo>
                <a:lnTo>
                  <a:pt x="6560915" y="2573808"/>
                </a:lnTo>
                <a:lnTo>
                  <a:pt x="6557118" y="2574458"/>
                </a:lnTo>
                <a:lnTo>
                  <a:pt x="6555924" y="2578789"/>
                </a:lnTo>
                <a:lnTo>
                  <a:pt x="6552994" y="2580305"/>
                </a:lnTo>
                <a:lnTo>
                  <a:pt x="6548653" y="2577382"/>
                </a:lnTo>
                <a:lnTo>
                  <a:pt x="6545180" y="2577382"/>
                </a:lnTo>
                <a:lnTo>
                  <a:pt x="6541925" y="2574783"/>
                </a:lnTo>
                <a:lnTo>
                  <a:pt x="6536933" y="2574783"/>
                </a:lnTo>
                <a:lnTo>
                  <a:pt x="6532375" y="2570994"/>
                </a:lnTo>
                <a:lnTo>
                  <a:pt x="6532375" y="2568286"/>
                </a:lnTo>
                <a:lnTo>
                  <a:pt x="6529663" y="2563631"/>
                </a:lnTo>
                <a:lnTo>
                  <a:pt x="6529663" y="2554753"/>
                </a:lnTo>
                <a:lnTo>
                  <a:pt x="6527384" y="2550963"/>
                </a:lnTo>
                <a:lnTo>
                  <a:pt x="6533570" y="2544466"/>
                </a:lnTo>
                <a:lnTo>
                  <a:pt x="6540731" y="2540136"/>
                </a:lnTo>
                <a:lnTo>
                  <a:pt x="6541708" y="2535697"/>
                </a:lnTo>
                <a:lnTo>
                  <a:pt x="6546049" y="2535047"/>
                </a:lnTo>
                <a:lnTo>
                  <a:pt x="6550715" y="2532665"/>
                </a:lnTo>
                <a:lnTo>
                  <a:pt x="6555165" y="2532665"/>
                </a:lnTo>
                <a:lnTo>
                  <a:pt x="6558528" y="2530392"/>
                </a:lnTo>
                <a:lnTo>
                  <a:pt x="6561024" y="2531149"/>
                </a:lnTo>
                <a:lnTo>
                  <a:pt x="6565907" y="2530175"/>
                </a:lnTo>
                <a:cubicBezTo>
                  <a:pt x="6565690" y="2530283"/>
                  <a:pt x="6568512" y="2532232"/>
                  <a:pt x="6568512" y="2532232"/>
                </a:cubicBezTo>
                <a:close/>
                <a:moveTo>
                  <a:pt x="6328908" y="2527468"/>
                </a:moveTo>
                <a:lnTo>
                  <a:pt x="6328907" y="2527468"/>
                </a:lnTo>
                <a:lnTo>
                  <a:pt x="6333574" y="2532990"/>
                </a:lnTo>
                <a:lnTo>
                  <a:pt x="6334767" y="2541219"/>
                </a:lnTo>
                <a:lnTo>
                  <a:pt x="6330969" y="2543925"/>
                </a:lnTo>
                <a:lnTo>
                  <a:pt x="6334442" y="2549988"/>
                </a:lnTo>
                <a:lnTo>
                  <a:pt x="6338240" y="2551396"/>
                </a:lnTo>
                <a:lnTo>
                  <a:pt x="6338241" y="2551395"/>
                </a:lnTo>
                <a:lnTo>
                  <a:pt x="6334443" y="2549988"/>
                </a:lnTo>
                <a:lnTo>
                  <a:pt x="6330970" y="2543925"/>
                </a:lnTo>
                <a:lnTo>
                  <a:pt x="6334768" y="2541219"/>
                </a:lnTo>
                <a:lnTo>
                  <a:pt x="6333575" y="2532989"/>
                </a:lnTo>
                <a:close/>
                <a:moveTo>
                  <a:pt x="6439684" y="2526880"/>
                </a:moveTo>
                <a:lnTo>
                  <a:pt x="6441547" y="2527359"/>
                </a:lnTo>
                <a:lnTo>
                  <a:pt x="6441547" y="2527359"/>
                </a:lnTo>
                <a:close/>
                <a:moveTo>
                  <a:pt x="6322505" y="2517291"/>
                </a:moveTo>
                <a:lnTo>
                  <a:pt x="6319792" y="2523354"/>
                </a:lnTo>
                <a:lnTo>
                  <a:pt x="6322505" y="2528984"/>
                </a:lnTo>
                <a:lnTo>
                  <a:pt x="6322506" y="2528984"/>
                </a:lnTo>
                <a:lnTo>
                  <a:pt x="6319793" y="2523354"/>
                </a:lnTo>
                <a:lnTo>
                  <a:pt x="6322506" y="2517291"/>
                </a:lnTo>
                <a:close/>
                <a:moveTo>
                  <a:pt x="6431824" y="2516210"/>
                </a:moveTo>
                <a:lnTo>
                  <a:pt x="6434060" y="2516641"/>
                </a:lnTo>
                <a:lnTo>
                  <a:pt x="6434060" y="2516641"/>
                </a:lnTo>
                <a:close/>
                <a:moveTo>
                  <a:pt x="6396955" y="2512531"/>
                </a:moveTo>
                <a:lnTo>
                  <a:pt x="6406498" y="2512635"/>
                </a:lnTo>
                <a:lnTo>
                  <a:pt x="6407533" y="2512941"/>
                </a:lnTo>
                <a:lnTo>
                  <a:pt x="6406497" y="2512635"/>
                </a:lnTo>
                <a:close/>
                <a:moveTo>
                  <a:pt x="4301241" y="2511219"/>
                </a:moveTo>
                <a:lnTo>
                  <a:pt x="4301057" y="2513934"/>
                </a:lnTo>
                <a:lnTo>
                  <a:pt x="4300351" y="2515288"/>
                </a:lnTo>
                <a:lnTo>
                  <a:pt x="4301057" y="2513934"/>
                </a:lnTo>
                <a:close/>
                <a:moveTo>
                  <a:pt x="6417675" y="2511119"/>
                </a:moveTo>
                <a:lnTo>
                  <a:pt x="6412357" y="2514367"/>
                </a:lnTo>
                <a:lnTo>
                  <a:pt x="6412358" y="2514367"/>
                </a:lnTo>
                <a:lnTo>
                  <a:pt x="6417675" y="2511119"/>
                </a:lnTo>
                <a:lnTo>
                  <a:pt x="6424402" y="2511119"/>
                </a:lnTo>
                <a:lnTo>
                  <a:pt x="6424402" y="2511119"/>
                </a:lnTo>
                <a:close/>
                <a:moveTo>
                  <a:pt x="2226652" y="2509712"/>
                </a:moveTo>
                <a:lnTo>
                  <a:pt x="2226652" y="2515342"/>
                </a:lnTo>
                <a:lnTo>
                  <a:pt x="2222746" y="2520647"/>
                </a:lnTo>
                <a:lnTo>
                  <a:pt x="2210375" y="2522055"/>
                </a:lnTo>
                <a:lnTo>
                  <a:pt x="2211568" y="2515017"/>
                </a:lnTo>
                <a:lnTo>
                  <a:pt x="2217211" y="2511444"/>
                </a:lnTo>
                <a:lnTo>
                  <a:pt x="2222094" y="2514151"/>
                </a:lnTo>
                <a:lnTo>
                  <a:pt x="2225024" y="2510686"/>
                </a:lnTo>
                <a:close/>
                <a:moveTo>
                  <a:pt x="6571334" y="2505056"/>
                </a:moveTo>
                <a:lnTo>
                  <a:pt x="6575675" y="2506788"/>
                </a:lnTo>
                <a:lnTo>
                  <a:pt x="6575675" y="2508846"/>
                </a:lnTo>
                <a:lnTo>
                  <a:pt x="6571009" y="2507980"/>
                </a:lnTo>
                <a:lnTo>
                  <a:pt x="6567753" y="2508196"/>
                </a:lnTo>
                <a:lnTo>
                  <a:pt x="6565583" y="2505814"/>
                </a:lnTo>
                <a:close/>
                <a:moveTo>
                  <a:pt x="2229256" y="2502783"/>
                </a:moveTo>
                <a:lnTo>
                  <a:pt x="2229256" y="2507114"/>
                </a:lnTo>
                <a:lnTo>
                  <a:pt x="2226652" y="2505598"/>
                </a:lnTo>
                <a:close/>
                <a:moveTo>
                  <a:pt x="6330645" y="2502024"/>
                </a:moveTo>
                <a:lnTo>
                  <a:pt x="6330644" y="2502024"/>
                </a:lnTo>
                <a:lnTo>
                  <a:pt x="6330535" y="2506464"/>
                </a:lnTo>
                <a:lnTo>
                  <a:pt x="6327714" y="2510254"/>
                </a:lnTo>
                <a:lnTo>
                  <a:pt x="6329993" y="2513393"/>
                </a:lnTo>
                <a:lnTo>
                  <a:pt x="6325218" y="2517291"/>
                </a:lnTo>
                <a:lnTo>
                  <a:pt x="6325219" y="2517291"/>
                </a:lnTo>
                <a:lnTo>
                  <a:pt x="6329994" y="2513393"/>
                </a:lnTo>
                <a:lnTo>
                  <a:pt x="6327715" y="2510253"/>
                </a:lnTo>
                <a:lnTo>
                  <a:pt x="6330536" y="2506463"/>
                </a:lnTo>
                <a:close/>
                <a:moveTo>
                  <a:pt x="6136943" y="2501807"/>
                </a:moveTo>
                <a:lnTo>
                  <a:pt x="6136942" y="2501808"/>
                </a:lnTo>
                <a:lnTo>
                  <a:pt x="6138895" y="2503107"/>
                </a:lnTo>
                <a:lnTo>
                  <a:pt x="6138895" y="2503106"/>
                </a:lnTo>
                <a:close/>
                <a:moveTo>
                  <a:pt x="6354164" y="2501006"/>
                </a:moveTo>
                <a:lnTo>
                  <a:pt x="6357556" y="2501808"/>
                </a:lnTo>
                <a:lnTo>
                  <a:pt x="6357556" y="2501807"/>
                </a:lnTo>
                <a:close/>
                <a:moveTo>
                  <a:pt x="6353432" y="2500833"/>
                </a:moveTo>
                <a:lnTo>
                  <a:pt x="6347247" y="2502674"/>
                </a:lnTo>
                <a:lnTo>
                  <a:pt x="6347247" y="2502674"/>
                </a:lnTo>
                <a:lnTo>
                  <a:pt x="6353433" y="2500834"/>
                </a:lnTo>
                <a:close/>
                <a:moveTo>
                  <a:pt x="6337438" y="2500560"/>
                </a:moveTo>
                <a:lnTo>
                  <a:pt x="6337372" y="2500617"/>
                </a:lnTo>
                <a:lnTo>
                  <a:pt x="6332259" y="2501687"/>
                </a:lnTo>
                <a:lnTo>
                  <a:pt x="6337373" y="2500617"/>
                </a:lnTo>
                <a:close/>
                <a:moveTo>
                  <a:pt x="6344473" y="2498262"/>
                </a:moveTo>
                <a:lnTo>
                  <a:pt x="6345185" y="2498776"/>
                </a:lnTo>
                <a:lnTo>
                  <a:pt x="6345485" y="2499344"/>
                </a:lnTo>
                <a:lnTo>
                  <a:pt x="6345185" y="2498776"/>
                </a:lnTo>
                <a:close/>
                <a:moveTo>
                  <a:pt x="6043834" y="2496179"/>
                </a:moveTo>
                <a:lnTo>
                  <a:pt x="6045354" y="2498669"/>
                </a:lnTo>
                <a:lnTo>
                  <a:pt x="6043834" y="2500293"/>
                </a:lnTo>
                <a:close/>
                <a:moveTo>
                  <a:pt x="6034827" y="2495420"/>
                </a:moveTo>
                <a:lnTo>
                  <a:pt x="6037214" y="2497693"/>
                </a:lnTo>
                <a:lnTo>
                  <a:pt x="6037866" y="2501916"/>
                </a:lnTo>
                <a:lnTo>
                  <a:pt x="6035261" y="2500075"/>
                </a:lnTo>
                <a:close/>
                <a:moveTo>
                  <a:pt x="6041447" y="2494446"/>
                </a:moveTo>
                <a:lnTo>
                  <a:pt x="6041772" y="2496936"/>
                </a:lnTo>
                <a:lnTo>
                  <a:pt x="6041229" y="2499860"/>
                </a:lnTo>
                <a:lnTo>
                  <a:pt x="6039602" y="2498668"/>
                </a:lnTo>
                <a:lnTo>
                  <a:pt x="6038625" y="2495962"/>
                </a:lnTo>
                <a:close/>
                <a:moveTo>
                  <a:pt x="6314844" y="2493312"/>
                </a:moveTo>
                <a:lnTo>
                  <a:pt x="6315017" y="2493796"/>
                </a:lnTo>
                <a:lnTo>
                  <a:pt x="6320451" y="2496454"/>
                </a:lnTo>
                <a:lnTo>
                  <a:pt x="6315017" y="2493795"/>
                </a:lnTo>
                <a:close/>
                <a:moveTo>
                  <a:pt x="1992690" y="2493146"/>
                </a:moveTo>
                <a:lnTo>
                  <a:pt x="1997030" y="2494012"/>
                </a:lnTo>
                <a:lnTo>
                  <a:pt x="2001262" y="2498993"/>
                </a:lnTo>
                <a:lnTo>
                  <a:pt x="2000503" y="2503324"/>
                </a:lnTo>
                <a:lnTo>
                  <a:pt x="1993775" y="2505273"/>
                </a:lnTo>
                <a:lnTo>
                  <a:pt x="1988458" y="2503215"/>
                </a:lnTo>
                <a:lnTo>
                  <a:pt x="1987807" y="2500725"/>
                </a:lnTo>
                <a:lnTo>
                  <a:pt x="1989869" y="2502132"/>
                </a:lnTo>
                <a:lnTo>
                  <a:pt x="1992256" y="2502566"/>
                </a:lnTo>
                <a:lnTo>
                  <a:pt x="1994535" y="2500725"/>
                </a:lnTo>
                <a:lnTo>
                  <a:pt x="1992256" y="2499317"/>
                </a:lnTo>
                <a:lnTo>
                  <a:pt x="1990954" y="2496503"/>
                </a:lnTo>
                <a:close/>
                <a:moveTo>
                  <a:pt x="6508828" y="2492171"/>
                </a:moveTo>
                <a:lnTo>
                  <a:pt x="6508828" y="2492172"/>
                </a:lnTo>
                <a:lnTo>
                  <a:pt x="6508937" y="2492172"/>
                </a:lnTo>
                <a:lnTo>
                  <a:pt x="6508936" y="2492171"/>
                </a:lnTo>
                <a:close/>
                <a:moveTo>
                  <a:pt x="6030703" y="2490440"/>
                </a:moveTo>
                <a:lnTo>
                  <a:pt x="6032222" y="2492822"/>
                </a:lnTo>
                <a:lnTo>
                  <a:pt x="6029944" y="2498560"/>
                </a:lnTo>
                <a:lnTo>
                  <a:pt x="6028208" y="2499426"/>
                </a:lnTo>
                <a:lnTo>
                  <a:pt x="6028099" y="2496936"/>
                </a:lnTo>
                <a:close/>
                <a:moveTo>
                  <a:pt x="6355822" y="2490157"/>
                </a:moveTo>
                <a:lnTo>
                  <a:pt x="6356144" y="2495852"/>
                </a:lnTo>
                <a:lnTo>
                  <a:pt x="6357513" y="2501625"/>
                </a:lnTo>
                <a:lnTo>
                  <a:pt x="6356146" y="2495853"/>
                </a:lnTo>
                <a:close/>
                <a:moveTo>
                  <a:pt x="6139979" y="2489589"/>
                </a:moveTo>
                <a:lnTo>
                  <a:pt x="6140632" y="2490656"/>
                </a:lnTo>
                <a:lnTo>
                  <a:pt x="6141225" y="2491247"/>
                </a:lnTo>
                <a:lnTo>
                  <a:pt x="6140632" y="2490655"/>
                </a:lnTo>
                <a:close/>
                <a:moveTo>
                  <a:pt x="6499929" y="2489140"/>
                </a:moveTo>
                <a:lnTo>
                  <a:pt x="6496306" y="2490265"/>
                </a:lnTo>
                <a:lnTo>
                  <a:pt x="6499930" y="2489140"/>
                </a:lnTo>
                <a:close/>
                <a:moveTo>
                  <a:pt x="6339976" y="2488815"/>
                </a:moveTo>
                <a:lnTo>
                  <a:pt x="6329124" y="2493362"/>
                </a:lnTo>
                <a:lnTo>
                  <a:pt x="6323807" y="2493362"/>
                </a:lnTo>
                <a:lnTo>
                  <a:pt x="6320551" y="2496502"/>
                </a:lnTo>
                <a:lnTo>
                  <a:pt x="6320552" y="2496503"/>
                </a:lnTo>
                <a:lnTo>
                  <a:pt x="6323808" y="2493363"/>
                </a:lnTo>
                <a:lnTo>
                  <a:pt x="6329124" y="2493363"/>
                </a:lnTo>
                <a:lnTo>
                  <a:pt x="6339976" y="2488816"/>
                </a:lnTo>
                <a:lnTo>
                  <a:pt x="6344642" y="2490332"/>
                </a:lnTo>
                <a:lnTo>
                  <a:pt x="6344642" y="2490331"/>
                </a:lnTo>
                <a:close/>
                <a:moveTo>
                  <a:pt x="2228280" y="2480695"/>
                </a:moveTo>
                <a:lnTo>
                  <a:pt x="2235443" y="2484809"/>
                </a:lnTo>
                <a:lnTo>
                  <a:pt x="2235117" y="2486650"/>
                </a:lnTo>
                <a:lnTo>
                  <a:pt x="2230668" y="2484593"/>
                </a:lnTo>
                <a:lnTo>
                  <a:pt x="2226218" y="2484917"/>
                </a:lnTo>
                <a:lnTo>
                  <a:pt x="2224157" y="2482535"/>
                </a:lnTo>
                <a:close/>
                <a:moveTo>
                  <a:pt x="6311545" y="2478638"/>
                </a:moveTo>
                <a:lnTo>
                  <a:pt x="6307963" y="2481885"/>
                </a:lnTo>
                <a:lnTo>
                  <a:pt x="6306662" y="2480478"/>
                </a:lnTo>
                <a:lnTo>
                  <a:pt x="6299174" y="2479612"/>
                </a:lnTo>
                <a:lnTo>
                  <a:pt x="6295749" y="2481321"/>
                </a:lnTo>
                <a:lnTo>
                  <a:pt x="6299174" y="2479613"/>
                </a:lnTo>
                <a:lnTo>
                  <a:pt x="6306661" y="2480479"/>
                </a:lnTo>
                <a:lnTo>
                  <a:pt x="6307964" y="2481887"/>
                </a:lnTo>
                <a:lnTo>
                  <a:pt x="6311545" y="2478638"/>
                </a:lnTo>
                <a:lnTo>
                  <a:pt x="6314800" y="2482969"/>
                </a:lnTo>
                <a:lnTo>
                  <a:pt x="6314800" y="2482968"/>
                </a:lnTo>
                <a:close/>
                <a:moveTo>
                  <a:pt x="6294616" y="2478097"/>
                </a:moveTo>
                <a:lnTo>
                  <a:pt x="6295484" y="2481453"/>
                </a:lnTo>
                <a:lnTo>
                  <a:pt x="6295485" y="2481452"/>
                </a:lnTo>
                <a:close/>
                <a:moveTo>
                  <a:pt x="6150072" y="2476256"/>
                </a:moveTo>
                <a:lnTo>
                  <a:pt x="6147359" y="2484158"/>
                </a:lnTo>
                <a:lnTo>
                  <a:pt x="6144755" y="2485458"/>
                </a:lnTo>
                <a:lnTo>
                  <a:pt x="6142476" y="2484484"/>
                </a:lnTo>
                <a:lnTo>
                  <a:pt x="6142279" y="2485380"/>
                </a:lnTo>
                <a:lnTo>
                  <a:pt x="6142476" y="2484485"/>
                </a:lnTo>
                <a:lnTo>
                  <a:pt x="6144755" y="2485459"/>
                </a:lnTo>
                <a:lnTo>
                  <a:pt x="6147359" y="2484160"/>
                </a:lnTo>
                <a:lnTo>
                  <a:pt x="6150072" y="2476256"/>
                </a:lnTo>
                <a:close/>
                <a:moveTo>
                  <a:pt x="6473596" y="2475967"/>
                </a:moveTo>
                <a:lnTo>
                  <a:pt x="6474537" y="2479288"/>
                </a:lnTo>
                <a:lnTo>
                  <a:pt x="6480976" y="2481597"/>
                </a:lnTo>
                <a:lnTo>
                  <a:pt x="6474537" y="2479287"/>
                </a:lnTo>
                <a:close/>
                <a:moveTo>
                  <a:pt x="5243744" y="2473435"/>
                </a:moveTo>
                <a:lnTo>
                  <a:pt x="5243741" y="2473441"/>
                </a:lnTo>
                <a:lnTo>
                  <a:pt x="5243742" y="2473437"/>
                </a:lnTo>
                <a:lnTo>
                  <a:pt x="5243740" y="2473441"/>
                </a:lnTo>
                <a:lnTo>
                  <a:pt x="5249275" y="2492713"/>
                </a:lnTo>
                <a:lnTo>
                  <a:pt x="5245911" y="2544683"/>
                </a:lnTo>
                <a:lnTo>
                  <a:pt x="5245912" y="2544683"/>
                </a:lnTo>
                <a:lnTo>
                  <a:pt x="5249276" y="2492713"/>
                </a:lnTo>
                <a:lnTo>
                  <a:pt x="5243742" y="2473441"/>
                </a:lnTo>
                <a:close/>
                <a:moveTo>
                  <a:pt x="6470413" y="2473332"/>
                </a:moveTo>
                <a:lnTo>
                  <a:pt x="6470413" y="2473333"/>
                </a:lnTo>
                <a:lnTo>
                  <a:pt x="6472222" y="2473982"/>
                </a:lnTo>
                <a:close/>
                <a:moveTo>
                  <a:pt x="6366020" y="2471059"/>
                </a:moveTo>
                <a:lnTo>
                  <a:pt x="6357013" y="2471383"/>
                </a:lnTo>
                <a:lnTo>
                  <a:pt x="6357013" y="2474848"/>
                </a:lnTo>
                <a:lnTo>
                  <a:pt x="6353758" y="2477122"/>
                </a:lnTo>
                <a:lnTo>
                  <a:pt x="6354083" y="2485134"/>
                </a:lnTo>
                <a:lnTo>
                  <a:pt x="6355653" y="2489637"/>
                </a:lnTo>
                <a:lnTo>
                  <a:pt x="6354084" y="2485134"/>
                </a:lnTo>
                <a:lnTo>
                  <a:pt x="6353759" y="2477122"/>
                </a:lnTo>
                <a:lnTo>
                  <a:pt x="6357014" y="2474848"/>
                </a:lnTo>
                <a:lnTo>
                  <a:pt x="6357014" y="2471384"/>
                </a:lnTo>
                <a:lnTo>
                  <a:pt x="6366020" y="2471059"/>
                </a:lnTo>
                <a:close/>
                <a:moveTo>
                  <a:pt x="6107534" y="2470843"/>
                </a:moveTo>
                <a:lnTo>
                  <a:pt x="6109054" y="2472467"/>
                </a:lnTo>
                <a:lnTo>
                  <a:pt x="6108510" y="2475823"/>
                </a:lnTo>
                <a:lnTo>
                  <a:pt x="6106232" y="2476906"/>
                </a:lnTo>
                <a:lnTo>
                  <a:pt x="6105581" y="2471925"/>
                </a:lnTo>
                <a:close/>
                <a:moveTo>
                  <a:pt x="2211026" y="2470843"/>
                </a:moveTo>
                <a:lnTo>
                  <a:pt x="2211894" y="2473117"/>
                </a:lnTo>
                <a:lnTo>
                  <a:pt x="2211568" y="2478639"/>
                </a:lnTo>
                <a:lnTo>
                  <a:pt x="2201151" y="2484594"/>
                </a:lnTo>
                <a:lnTo>
                  <a:pt x="2198764" y="2484485"/>
                </a:lnTo>
                <a:lnTo>
                  <a:pt x="2199306" y="2481886"/>
                </a:lnTo>
                <a:lnTo>
                  <a:pt x="2201911" y="2481453"/>
                </a:lnTo>
                <a:lnTo>
                  <a:pt x="2206685" y="2476148"/>
                </a:lnTo>
                <a:lnTo>
                  <a:pt x="2206360" y="2472251"/>
                </a:lnTo>
                <a:close/>
                <a:moveTo>
                  <a:pt x="6051866" y="2470678"/>
                </a:moveTo>
                <a:lnTo>
                  <a:pt x="6051973" y="2477121"/>
                </a:lnTo>
                <a:lnTo>
                  <a:pt x="6053311" y="2480413"/>
                </a:lnTo>
                <a:lnTo>
                  <a:pt x="6051974" y="2477122"/>
                </a:lnTo>
                <a:close/>
                <a:moveTo>
                  <a:pt x="6096573" y="2469002"/>
                </a:moveTo>
                <a:lnTo>
                  <a:pt x="6103084" y="2473333"/>
                </a:lnTo>
                <a:lnTo>
                  <a:pt x="6104278" y="2477122"/>
                </a:lnTo>
                <a:lnTo>
                  <a:pt x="6101022" y="2483294"/>
                </a:lnTo>
                <a:lnTo>
                  <a:pt x="6098960" y="2480154"/>
                </a:lnTo>
                <a:lnTo>
                  <a:pt x="6098960" y="2476256"/>
                </a:lnTo>
                <a:lnTo>
                  <a:pt x="6096573" y="2471276"/>
                </a:lnTo>
                <a:cubicBezTo>
                  <a:pt x="6096661" y="2470520"/>
                  <a:pt x="6096661" y="2469757"/>
                  <a:pt x="6096573" y="2469002"/>
                </a:cubicBezTo>
                <a:close/>
                <a:moveTo>
                  <a:pt x="6091797" y="2467810"/>
                </a:moveTo>
                <a:lnTo>
                  <a:pt x="6094728" y="2471924"/>
                </a:lnTo>
                <a:lnTo>
                  <a:pt x="6095270" y="2478963"/>
                </a:lnTo>
                <a:lnTo>
                  <a:pt x="6090930" y="2478746"/>
                </a:lnTo>
                <a:lnTo>
                  <a:pt x="6087674" y="2471708"/>
                </a:lnTo>
                <a:lnTo>
                  <a:pt x="6087457" y="2469651"/>
                </a:lnTo>
                <a:close/>
                <a:moveTo>
                  <a:pt x="6381538" y="2467053"/>
                </a:moveTo>
                <a:lnTo>
                  <a:pt x="6381538" y="2467053"/>
                </a:lnTo>
                <a:lnTo>
                  <a:pt x="6383600" y="2468785"/>
                </a:lnTo>
                <a:lnTo>
                  <a:pt x="6385282" y="2468731"/>
                </a:lnTo>
                <a:lnTo>
                  <a:pt x="6383600" y="2468785"/>
                </a:lnTo>
                <a:close/>
                <a:moveTo>
                  <a:pt x="2197244" y="2466944"/>
                </a:moveTo>
                <a:lnTo>
                  <a:pt x="2202887" y="2469975"/>
                </a:lnTo>
                <a:lnTo>
                  <a:pt x="2203430" y="2473981"/>
                </a:lnTo>
                <a:lnTo>
                  <a:pt x="2199849" y="2473223"/>
                </a:lnTo>
                <a:lnTo>
                  <a:pt x="2196919" y="2469867"/>
                </a:lnTo>
                <a:close/>
                <a:moveTo>
                  <a:pt x="6149747" y="2465537"/>
                </a:moveTo>
                <a:lnTo>
                  <a:pt x="6149563" y="2466772"/>
                </a:lnTo>
                <a:lnTo>
                  <a:pt x="6149747" y="2465538"/>
                </a:lnTo>
                <a:close/>
                <a:moveTo>
                  <a:pt x="6378716" y="2463046"/>
                </a:moveTo>
                <a:lnTo>
                  <a:pt x="6373617" y="2464995"/>
                </a:lnTo>
                <a:lnTo>
                  <a:pt x="6371011" y="2467269"/>
                </a:lnTo>
                <a:lnTo>
                  <a:pt x="6370030" y="2469228"/>
                </a:lnTo>
                <a:lnTo>
                  <a:pt x="6371012" y="2467269"/>
                </a:lnTo>
                <a:lnTo>
                  <a:pt x="6373617" y="2464996"/>
                </a:lnTo>
                <a:lnTo>
                  <a:pt x="6378717" y="2463047"/>
                </a:lnTo>
                <a:lnTo>
                  <a:pt x="6381863" y="2463372"/>
                </a:lnTo>
                <a:lnTo>
                  <a:pt x="6381863" y="2463371"/>
                </a:lnTo>
                <a:close/>
                <a:moveTo>
                  <a:pt x="6398684" y="2462830"/>
                </a:moveTo>
                <a:lnTo>
                  <a:pt x="6397436" y="2464508"/>
                </a:lnTo>
                <a:lnTo>
                  <a:pt x="6398684" y="2462830"/>
                </a:lnTo>
                <a:lnTo>
                  <a:pt x="6401396" y="2463047"/>
                </a:lnTo>
                <a:lnTo>
                  <a:pt x="6401396" y="2463046"/>
                </a:lnTo>
                <a:close/>
                <a:moveTo>
                  <a:pt x="6476589" y="2462328"/>
                </a:moveTo>
                <a:lnTo>
                  <a:pt x="6476273" y="2464021"/>
                </a:lnTo>
                <a:lnTo>
                  <a:pt x="6475226" y="2464184"/>
                </a:lnTo>
                <a:lnTo>
                  <a:pt x="6476273" y="2464021"/>
                </a:lnTo>
                <a:close/>
                <a:moveTo>
                  <a:pt x="4314404" y="2460231"/>
                </a:moveTo>
                <a:lnTo>
                  <a:pt x="4287275" y="2471492"/>
                </a:lnTo>
                <a:lnTo>
                  <a:pt x="4266006" y="2480261"/>
                </a:lnTo>
                <a:lnTo>
                  <a:pt x="4262099" y="2476147"/>
                </a:lnTo>
                <a:lnTo>
                  <a:pt x="4220104" y="2465754"/>
                </a:lnTo>
                <a:lnTo>
                  <a:pt x="4220104" y="2465754"/>
                </a:lnTo>
                <a:lnTo>
                  <a:pt x="4262099" y="2476148"/>
                </a:lnTo>
                <a:lnTo>
                  <a:pt x="4266006" y="2480262"/>
                </a:lnTo>
                <a:lnTo>
                  <a:pt x="4287275" y="2471493"/>
                </a:lnTo>
                <a:lnTo>
                  <a:pt x="4287275" y="2471492"/>
                </a:lnTo>
                <a:lnTo>
                  <a:pt x="4314404" y="2460232"/>
                </a:lnTo>
                <a:lnTo>
                  <a:pt x="4507130" y="2558000"/>
                </a:lnTo>
                <a:lnTo>
                  <a:pt x="4507130" y="2558000"/>
                </a:lnTo>
                <a:close/>
                <a:moveTo>
                  <a:pt x="3654190" y="2459798"/>
                </a:moveTo>
                <a:lnTo>
                  <a:pt x="3648329" y="2460664"/>
                </a:lnTo>
                <a:lnTo>
                  <a:pt x="3643121" y="2464346"/>
                </a:lnTo>
                <a:lnTo>
                  <a:pt x="3643121" y="2464346"/>
                </a:lnTo>
                <a:lnTo>
                  <a:pt x="3648330" y="2460665"/>
                </a:lnTo>
                <a:lnTo>
                  <a:pt x="3654189" y="2459799"/>
                </a:lnTo>
                <a:lnTo>
                  <a:pt x="3662545" y="2459799"/>
                </a:lnTo>
                <a:lnTo>
                  <a:pt x="3662545" y="2459798"/>
                </a:lnTo>
                <a:close/>
                <a:moveTo>
                  <a:pt x="6148879" y="2459256"/>
                </a:moveTo>
                <a:lnTo>
                  <a:pt x="6148879" y="2459257"/>
                </a:lnTo>
                <a:lnTo>
                  <a:pt x="6153870" y="2459907"/>
                </a:lnTo>
                <a:lnTo>
                  <a:pt x="6153870" y="2459906"/>
                </a:lnTo>
                <a:close/>
                <a:moveTo>
                  <a:pt x="2017215" y="2459149"/>
                </a:moveTo>
                <a:lnTo>
                  <a:pt x="2028175" y="2461098"/>
                </a:lnTo>
                <a:lnTo>
                  <a:pt x="2032515" y="2466186"/>
                </a:lnTo>
                <a:lnTo>
                  <a:pt x="2039895" y="2467702"/>
                </a:lnTo>
                <a:lnTo>
                  <a:pt x="2045754" y="2465537"/>
                </a:lnTo>
                <a:lnTo>
                  <a:pt x="2063551" y="2468135"/>
                </a:lnTo>
                <a:lnTo>
                  <a:pt x="2065830" y="2470842"/>
                </a:lnTo>
                <a:lnTo>
                  <a:pt x="2070062" y="2469867"/>
                </a:lnTo>
                <a:lnTo>
                  <a:pt x="2075597" y="2475822"/>
                </a:lnTo>
                <a:lnTo>
                  <a:pt x="2077333" y="2481020"/>
                </a:lnTo>
                <a:lnTo>
                  <a:pt x="2082216" y="2483185"/>
                </a:lnTo>
                <a:lnTo>
                  <a:pt x="2095455" y="2483943"/>
                </a:lnTo>
                <a:lnTo>
                  <a:pt x="2101423" y="2488598"/>
                </a:lnTo>
                <a:lnTo>
                  <a:pt x="2106958" y="2491630"/>
                </a:lnTo>
                <a:lnTo>
                  <a:pt x="2113035" y="2497368"/>
                </a:lnTo>
                <a:lnTo>
                  <a:pt x="2122150" y="2499426"/>
                </a:lnTo>
                <a:lnTo>
                  <a:pt x="2125080" y="2502457"/>
                </a:lnTo>
                <a:lnTo>
                  <a:pt x="2126599" y="2499534"/>
                </a:lnTo>
                <a:lnTo>
                  <a:pt x="2129204" y="2500724"/>
                </a:lnTo>
                <a:lnTo>
                  <a:pt x="2128119" y="2503648"/>
                </a:lnTo>
                <a:lnTo>
                  <a:pt x="2130072" y="2505922"/>
                </a:lnTo>
                <a:lnTo>
                  <a:pt x="2133870" y="2501916"/>
                </a:lnTo>
                <a:lnTo>
                  <a:pt x="2140164" y="2506788"/>
                </a:lnTo>
                <a:lnTo>
                  <a:pt x="2143962" y="2510252"/>
                </a:lnTo>
                <a:lnTo>
                  <a:pt x="2146458" y="2507979"/>
                </a:lnTo>
                <a:lnTo>
                  <a:pt x="2155030" y="2514367"/>
                </a:lnTo>
                <a:lnTo>
                  <a:pt x="2159480" y="2514691"/>
                </a:lnTo>
                <a:lnTo>
                  <a:pt x="2163495" y="2513175"/>
                </a:lnTo>
                <a:lnTo>
                  <a:pt x="2166425" y="2514150"/>
                </a:lnTo>
                <a:lnTo>
                  <a:pt x="2164689" y="2519997"/>
                </a:lnTo>
                <a:lnTo>
                  <a:pt x="2162084" y="2522379"/>
                </a:lnTo>
                <a:lnTo>
                  <a:pt x="2165339" y="2523678"/>
                </a:lnTo>
                <a:lnTo>
                  <a:pt x="2177819" y="2523678"/>
                </a:lnTo>
                <a:lnTo>
                  <a:pt x="2188345" y="2527901"/>
                </a:lnTo>
                <a:lnTo>
                  <a:pt x="2191167" y="2534505"/>
                </a:lnTo>
                <a:lnTo>
                  <a:pt x="2195507" y="2534938"/>
                </a:lnTo>
                <a:lnTo>
                  <a:pt x="2197569" y="2537211"/>
                </a:lnTo>
                <a:lnTo>
                  <a:pt x="2194965" y="2541976"/>
                </a:lnTo>
                <a:lnTo>
                  <a:pt x="2188996" y="2543599"/>
                </a:lnTo>
                <a:lnTo>
                  <a:pt x="2180858" y="2542517"/>
                </a:lnTo>
                <a:lnTo>
                  <a:pt x="2177385" y="2545332"/>
                </a:lnTo>
                <a:lnTo>
                  <a:pt x="2174455" y="2544791"/>
                </a:lnTo>
                <a:lnTo>
                  <a:pt x="2172827" y="2547389"/>
                </a:lnTo>
                <a:lnTo>
                  <a:pt x="2160565" y="2550313"/>
                </a:lnTo>
                <a:lnTo>
                  <a:pt x="2152318" y="2546631"/>
                </a:lnTo>
                <a:lnTo>
                  <a:pt x="2145807" y="2545765"/>
                </a:lnTo>
                <a:lnTo>
                  <a:pt x="2134195" y="2548472"/>
                </a:lnTo>
                <a:lnTo>
                  <a:pt x="2129964" y="2546739"/>
                </a:lnTo>
                <a:lnTo>
                  <a:pt x="2124429" y="2549663"/>
                </a:lnTo>
                <a:lnTo>
                  <a:pt x="2116073" y="2548255"/>
                </a:lnTo>
                <a:lnTo>
                  <a:pt x="2116290" y="2543925"/>
                </a:lnTo>
                <a:lnTo>
                  <a:pt x="2124212" y="2536779"/>
                </a:lnTo>
                <a:lnTo>
                  <a:pt x="2130289" y="2535263"/>
                </a:lnTo>
                <a:lnTo>
                  <a:pt x="2130940" y="2530607"/>
                </a:lnTo>
                <a:lnTo>
                  <a:pt x="2127034" y="2529308"/>
                </a:lnTo>
                <a:lnTo>
                  <a:pt x="2125839" y="2526818"/>
                </a:lnTo>
                <a:lnTo>
                  <a:pt x="2117267" y="2526818"/>
                </a:lnTo>
                <a:lnTo>
                  <a:pt x="2111950" y="2523570"/>
                </a:lnTo>
                <a:lnTo>
                  <a:pt x="2110214" y="2525085"/>
                </a:lnTo>
                <a:lnTo>
                  <a:pt x="2106307" y="2525085"/>
                </a:lnTo>
                <a:lnTo>
                  <a:pt x="2098385" y="2515666"/>
                </a:lnTo>
                <a:lnTo>
                  <a:pt x="2094478" y="2501483"/>
                </a:lnTo>
                <a:lnTo>
                  <a:pt x="2091657" y="2500400"/>
                </a:lnTo>
                <a:lnTo>
                  <a:pt x="2084929" y="2502673"/>
                </a:lnTo>
                <a:lnTo>
                  <a:pt x="2081456" y="2501050"/>
                </a:lnTo>
                <a:lnTo>
                  <a:pt x="2076898" y="2501699"/>
                </a:lnTo>
                <a:lnTo>
                  <a:pt x="2072884" y="2498234"/>
                </a:lnTo>
                <a:lnTo>
                  <a:pt x="2070279" y="2499750"/>
                </a:lnTo>
                <a:lnTo>
                  <a:pt x="2064094" y="2498667"/>
                </a:lnTo>
                <a:lnTo>
                  <a:pt x="2056389" y="2493146"/>
                </a:lnTo>
                <a:lnTo>
                  <a:pt x="2056063" y="2490547"/>
                </a:lnTo>
                <a:lnTo>
                  <a:pt x="2052917" y="2488165"/>
                </a:lnTo>
                <a:lnTo>
                  <a:pt x="2051180" y="2490764"/>
                </a:lnTo>
                <a:lnTo>
                  <a:pt x="2047925" y="2490981"/>
                </a:lnTo>
                <a:lnTo>
                  <a:pt x="2041197" y="2490114"/>
                </a:lnTo>
                <a:lnTo>
                  <a:pt x="2037398" y="2486866"/>
                </a:lnTo>
                <a:lnTo>
                  <a:pt x="2033058" y="2486866"/>
                </a:lnTo>
                <a:lnTo>
                  <a:pt x="2030128" y="2487840"/>
                </a:lnTo>
                <a:lnTo>
                  <a:pt x="2016021" y="2485675"/>
                </a:lnTo>
                <a:lnTo>
                  <a:pt x="2012332" y="2482751"/>
                </a:lnTo>
                <a:lnTo>
                  <a:pt x="2016021" y="2480153"/>
                </a:lnTo>
                <a:lnTo>
                  <a:pt x="2021338" y="2480694"/>
                </a:lnTo>
                <a:lnTo>
                  <a:pt x="2024051" y="2478421"/>
                </a:lnTo>
                <a:lnTo>
                  <a:pt x="2021338" y="2475822"/>
                </a:lnTo>
                <a:lnTo>
                  <a:pt x="2010812" y="2474631"/>
                </a:lnTo>
                <a:lnTo>
                  <a:pt x="2006146" y="2474848"/>
                </a:lnTo>
                <a:lnTo>
                  <a:pt x="1999635" y="2473765"/>
                </a:lnTo>
                <a:lnTo>
                  <a:pt x="1996705" y="2477014"/>
                </a:lnTo>
                <a:lnTo>
                  <a:pt x="1992582" y="2477879"/>
                </a:lnTo>
                <a:lnTo>
                  <a:pt x="1985528" y="2486433"/>
                </a:lnTo>
                <a:lnTo>
                  <a:pt x="1980645" y="2487407"/>
                </a:lnTo>
                <a:lnTo>
                  <a:pt x="1977606" y="2484917"/>
                </a:lnTo>
                <a:lnTo>
                  <a:pt x="1975110" y="2486975"/>
                </a:lnTo>
                <a:lnTo>
                  <a:pt x="1968925" y="2485783"/>
                </a:lnTo>
                <a:lnTo>
                  <a:pt x="1964150" y="2493146"/>
                </a:lnTo>
                <a:lnTo>
                  <a:pt x="1960026" y="2493579"/>
                </a:lnTo>
                <a:lnTo>
                  <a:pt x="1954167" y="2496935"/>
                </a:lnTo>
                <a:lnTo>
                  <a:pt x="1953949" y="2493146"/>
                </a:lnTo>
                <a:lnTo>
                  <a:pt x="1952214" y="2492171"/>
                </a:lnTo>
                <a:lnTo>
                  <a:pt x="1947439" y="2497693"/>
                </a:lnTo>
                <a:lnTo>
                  <a:pt x="1942881" y="2495420"/>
                </a:lnTo>
                <a:lnTo>
                  <a:pt x="1943098" y="2492279"/>
                </a:lnTo>
                <a:lnTo>
                  <a:pt x="1946571" y="2493362"/>
                </a:lnTo>
                <a:lnTo>
                  <a:pt x="1955035" y="2488382"/>
                </a:lnTo>
                <a:lnTo>
                  <a:pt x="1958942" y="2490655"/>
                </a:lnTo>
                <a:lnTo>
                  <a:pt x="1960135" y="2488382"/>
                </a:lnTo>
                <a:lnTo>
                  <a:pt x="1957422" y="2484809"/>
                </a:lnTo>
                <a:lnTo>
                  <a:pt x="1958073" y="2479287"/>
                </a:lnTo>
                <a:lnTo>
                  <a:pt x="1962414" y="2476905"/>
                </a:lnTo>
                <a:lnTo>
                  <a:pt x="1965886" y="2472683"/>
                </a:lnTo>
                <a:lnTo>
                  <a:pt x="1975978" y="2469867"/>
                </a:lnTo>
                <a:lnTo>
                  <a:pt x="1979668" y="2466512"/>
                </a:lnTo>
                <a:lnTo>
                  <a:pt x="1989651" y="2464129"/>
                </a:lnTo>
                <a:lnTo>
                  <a:pt x="2002673" y="2463480"/>
                </a:lnTo>
                <a:lnTo>
                  <a:pt x="2007557" y="2459474"/>
                </a:lnTo>
                <a:close/>
                <a:moveTo>
                  <a:pt x="6469816" y="2457417"/>
                </a:moveTo>
                <a:lnTo>
                  <a:pt x="6466615" y="2458716"/>
                </a:lnTo>
                <a:lnTo>
                  <a:pt x="6466311" y="2458346"/>
                </a:lnTo>
                <a:lnTo>
                  <a:pt x="6466615" y="2458716"/>
                </a:lnTo>
                <a:close/>
                <a:moveTo>
                  <a:pt x="6474517" y="2457298"/>
                </a:moveTo>
                <a:lnTo>
                  <a:pt x="6477141" y="2459366"/>
                </a:lnTo>
                <a:lnTo>
                  <a:pt x="6477141" y="2459365"/>
                </a:lnTo>
                <a:close/>
                <a:moveTo>
                  <a:pt x="6044060" y="2454908"/>
                </a:moveTo>
                <a:lnTo>
                  <a:pt x="6045028" y="2460881"/>
                </a:lnTo>
                <a:lnTo>
                  <a:pt x="6049225" y="2466863"/>
                </a:lnTo>
                <a:lnTo>
                  <a:pt x="6045029" y="2460881"/>
                </a:lnTo>
                <a:close/>
                <a:moveTo>
                  <a:pt x="6452310" y="2454238"/>
                </a:moveTo>
                <a:lnTo>
                  <a:pt x="6453810" y="2456443"/>
                </a:lnTo>
                <a:lnTo>
                  <a:pt x="6461133" y="2456369"/>
                </a:lnTo>
                <a:lnTo>
                  <a:pt x="6453810" y="2456442"/>
                </a:lnTo>
                <a:close/>
                <a:moveTo>
                  <a:pt x="6446431" y="2452328"/>
                </a:moveTo>
                <a:lnTo>
                  <a:pt x="6446431" y="2452328"/>
                </a:lnTo>
                <a:lnTo>
                  <a:pt x="6450298" y="2453115"/>
                </a:lnTo>
                <a:close/>
                <a:moveTo>
                  <a:pt x="6292229" y="2451354"/>
                </a:moveTo>
                <a:lnTo>
                  <a:pt x="6294182" y="2454385"/>
                </a:lnTo>
                <a:lnTo>
                  <a:pt x="6294942" y="2452545"/>
                </a:lnTo>
                <a:lnTo>
                  <a:pt x="6301670" y="2451679"/>
                </a:lnTo>
                <a:lnTo>
                  <a:pt x="6306552" y="2454710"/>
                </a:lnTo>
                <a:lnTo>
                  <a:pt x="6306552" y="2458391"/>
                </a:lnTo>
                <a:lnTo>
                  <a:pt x="6305767" y="2459959"/>
                </a:lnTo>
                <a:lnTo>
                  <a:pt x="6306553" y="2458391"/>
                </a:lnTo>
                <a:lnTo>
                  <a:pt x="6306553" y="2454710"/>
                </a:lnTo>
                <a:lnTo>
                  <a:pt x="6301670" y="2451678"/>
                </a:lnTo>
                <a:lnTo>
                  <a:pt x="6294942" y="2452544"/>
                </a:lnTo>
                <a:lnTo>
                  <a:pt x="6294182" y="2454385"/>
                </a:lnTo>
                <a:close/>
                <a:moveTo>
                  <a:pt x="6427007" y="2451354"/>
                </a:moveTo>
                <a:lnTo>
                  <a:pt x="6427331" y="2458716"/>
                </a:lnTo>
                <a:lnTo>
                  <a:pt x="6419302" y="2461314"/>
                </a:lnTo>
                <a:lnTo>
                  <a:pt x="6414636" y="2458608"/>
                </a:lnTo>
                <a:lnTo>
                  <a:pt x="6408775" y="2460340"/>
                </a:lnTo>
                <a:lnTo>
                  <a:pt x="6407907" y="2463913"/>
                </a:lnTo>
                <a:lnTo>
                  <a:pt x="6405252" y="2465211"/>
                </a:lnTo>
                <a:lnTo>
                  <a:pt x="6407908" y="2463913"/>
                </a:lnTo>
                <a:lnTo>
                  <a:pt x="6408776" y="2460340"/>
                </a:lnTo>
                <a:lnTo>
                  <a:pt x="6414636" y="2458608"/>
                </a:lnTo>
                <a:lnTo>
                  <a:pt x="6419302" y="2461314"/>
                </a:lnTo>
                <a:lnTo>
                  <a:pt x="6427332" y="2458716"/>
                </a:lnTo>
                <a:close/>
                <a:moveTo>
                  <a:pt x="6154416" y="2451181"/>
                </a:moveTo>
                <a:lnTo>
                  <a:pt x="6154413" y="2451353"/>
                </a:lnTo>
                <a:lnTo>
                  <a:pt x="6154365" y="2452116"/>
                </a:lnTo>
                <a:lnTo>
                  <a:pt x="6154413" y="2451354"/>
                </a:lnTo>
                <a:close/>
                <a:moveTo>
                  <a:pt x="2178580" y="2448106"/>
                </a:moveTo>
                <a:lnTo>
                  <a:pt x="2182812" y="2455685"/>
                </a:lnTo>
                <a:lnTo>
                  <a:pt x="2184114" y="2461532"/>
                </a:lnTo>
                <a:lnTo>
                  <a:pt x="2188346" y="2469110"/>
                </a:lnTo>
                <a:lnTo>
                  <a:pt x="2185308" y="2468785"/>
                </a:lnTo>
                <a:lnTo>
                  <a:pt x="2182486" y="2465212"/>
                </a:lnTo>
                <a:lnTo>
                  <a:pt x="2178471" y="2458824"/>
                </a:lnTo>
                <a:lnTo>
                  <a:pt x="2181076" y="2457092"/>
                </a:lnTo>
                <a:lnTo>
                  <a:pt x="2177929" y="2451030"/>
                </a:lnTo>
                <a:close/>
                <a:moveTo>
                  <a:pt x="6104279" y="2448031"/>
                </a:moveTo>
                <a:lnTo>
                  <a:pt x="6105039" y="2448755"/>
                </a:lnTo>
                <a:lnTo>
                  <a:pt x="6106015" y="2451137"/>
                </a:lnTo>
                <a:lnTo>
                  <a:pt x="6108047" y="2453105"/>
                </a:lnTo>
                <a:lnTo>
                  <a:pt x="6106015" y="2451136"/>
                </a:lnTo>
                <a:lnTo>
                  <a:pt x="6105039" y="2448754"/>
                </a:lnTo>
                <a:close/>
                <a:moveTo>
                  <a:pt x="6287238" y="2447673"/>
                </a:moveTo>
                <a:lnTo>
                  <a:pt x="6287238" y="2447673"/>
                </a:lnTo>
                <a:lnTo>
                  <a:pt x="6293422" y="2449080"/>
                </a:lnTo>
                <a:lnTo>
                  <a:pt x="6293422" y="2449079"/>
                </a:lnTo>
                <a:close/>
                <a:moveTo>
                  <a:pt x="2161542" y="2445940"/>
                </a:moveTo>
                <a:lnTo>
                  <a:pt x="2164472" y="2449838"/>
                </a:lnTo>
                <a:lnTo>
                  <a:pt x="2160674" y="2449838"/>
                </a:lnTo>
                <a:close/>
                <a:moveTo>
                  <a:pt x="6441331" y="2445073"/>
                </a:moveTo>
                <a:lnTo>
                  <a:pt x="6437966" y="2448430"/>
                </a:lnTo>
                <a:lnTo>
                  <a:pt x="6432215" y="2448430"/>
                </a:lnTo>
                <a:lnTo>
                  <a:pt x="6428901" y="2450291"/>
                </a:lnTo>
                <a:lnTo>
                  <a:pt x="6432215" y="2448431"/>
                </a:lnTo>
                <a:lnTo>
                  <a:pt x="6437967" y="2448431"/>
                </a:lnTo>
                <a:lnTo>
                  <a:pt x="6441331" y="2445074"/>
                </a:lnTo>
                <a:lnTo>
                  <a:pt x="6444731" y="2447889"/>
                </a:lnTo>
                <a:close/>
                <a:moveTo>
                  <a:pt x="6120427" y="2442906"/>
                </a:moveTo>
                <a:lnTo>
                  <a:pt x="6122510" y="2444316"/>
                </a:lnTo>
                <a:lnTo>
                  <a:pt x="6126633" y="2443991"/>
                </a:lnTo>
                <a:lnTo>
                  <a:pt x="6126633" y="2443991"/>
                </a:lnTo>
                <a:lnTo>
                  <a:pt x="6122510" y="2444315"/>
                </a:lnTo>
                <a:close/>
                <a:moveTo>
                  <a:pt x="6119470" y="2442258"/>
                </a:moveTo>
                <a:lnTo>
                  <a:pt x="6117300" y="2443991"/>
                </a:lnTo>
                <a:lnTo>
                  <a:pt x="6118711" y="2446264"/>
                </a:lnTo>
                <a:lnTo>
                  <a:pt x="6117409" y="2448430"/>
                </a:lnTo>
                <a:lnTo>
                  <a:pt x="6117300" y="2451028"/>
                </a:lnTo>
                <a:lnTo>
                  <a:pt x="6114804" y="2454601"/>
                </a:lnTo>
                <a:lnTo>
                  <a:pt x="6116324" y="2455792"/>
                </a:lnTo>
                <a:lnTo>
                  <a:pt x="6115890" y="2459581"/>
                </a:lnTo>
                <a:lnTo>
                  <a:pt x="6113503" y="2459689"/>
                </a:lnTo>
                <a:lnTo>
                  <a:pt x="6113503" y="2459690"/>
                </a:lnTo>
                <a:lnTo>
                  <a:pt x="6115890" y="2459582"/>
                </a:lnTo>
                <a:lnTo>
                  <a:pt x="6116325" y="2455793"/>
                </a:lnTo>
                <a:lnTo>
                  <a:pt x="6114805" y="2454601"/>
                </a:lnTo>
                <a:lnTo>
                  <a:pt x="6117301" y="2451028"/>
                </a:lnTo>
                <a:lnTo>
                  <a:pt x="6117409" y="2448430"/>
                </a:lnTo>
                <a:lnTo>
                  <a:pt x="6118712" y="2446265"/>
                </a:lnTo>
                <a:lnTo>
                  <a:pt x="6117301" y="2443991"/>
                </a:lnTo>
                <a:lnTo>
                  <a:pt x="6119471" y="2442259"/>
                </a:lnTo>
                <a:close/>
                <a:moveTo>
                  <a:pt x="4181146" y="2438686"/>
                </a:moveTo>
                <a:lnTo>
                  <a:pt x="4181146" y="2438686"/>
                </a:lnTo>
                <a:lnTo>
                  <a:pt x="4190804" y="2438686"/>
                </a:lnTo>
                <a:lnTo>
                  <a:pt x="4199703" y="2439336"/>
                </a:lnTo>
                <a:lnTo>
                  <a:pt x="4199702" y="2439335"/>
                </a:lnTo>
                <a:lnTo>
                  <a:pt x="4190804" y="2438686"/>
                </a:lnTo>
                <a:close/>
                <a:moveTo>
                  <a:pt x="5155080" y="2436532"/>
                </a:moveTo>
                <a:lnTo>
                  <a:pt x="5154865" y="2444532"/>
                </a:lnTo>
                <a:lnTo>
                  <a:pt x="5160617" y="2451354"/>
                </a:lnTo>
                <a:lnTo>
                  <a:pt x="5165826" y="2469976"/>
                </a:lnTo>
                <a:lnTo>
                  <a:pt x="5235819" y="2480695"/>
                </a:lnTo>
                <a:lnTo>
                  <a:pt x="5243795" y="2473274"/>
                </a:lnTo>
                <a:lnTo>
                  <a:pt x="5243795" y="2473274"/>
                </a:lnTo>
                <a:lnTo>
                  <a:pt x="5235819" y="2480694"/>
                </a:lnTo>
                <a:lnTo>
                  <a:pt x="5165826" y="2469975"/>
                </a:lnTo>
                <a:lnTo>
                  <a:pt x="5160617" y="2451353"/>
                </a:lnTo>
                <a:lnTo>
                  <a:pt x="5154866" y="2444532"/>
                </a:lnTo>
                <a:close/>
                <a:moveTo>
                  <a:pt x="2198764" y="2436087"/>
                </a:moveTo>
                <a:lnTo>
                  <a:pt x="2200391" y="2439226"/>
                </a:lnTo>
                <a:lnTo>
                  <a:pt x="2198221" y="2443124"/>
                </a:lnTo>
                <a:lnTo>
                  <a:pt x="2195834" y="2440959"/>
                </a:lnTo>
                <a:close/>
                <a:moveTo>
                  <a:pt x="6284849" y="2435654"/>
                </a:moveTo>
                <a:lnTo>
                  <a:pt x="6278697" y="2437163"/>
                </a:lnTo>
                <a:lnTo>
                  <a:pt x="6284849" y="2435655"/>
                </a:lnTo>
                <a:lnTo>
                  <a:pt x="6286043" y="2439769"/>
                </a:lnTo>
                <a:lnTo>
                  <a:pt x="6285377" y="2441575"/>
                </a:lnTo>
                <a:lnTo>
                  <a:pt x="6286044" y="2439769"/>
                </a:lnTo>
                <a:close/>
                <a:moveTo>
                  <a:pt x="6719133" y="2435546"/>
                </a:moveTo>
                <a:lnTo>
                  <a:pt x="6722064" y="2438361"/>
                </a:lnTo>
                <a:lnTo>
                  <a:pt x="6720435" y="2439768"/>
                </a:lnTo>
                <a:lnTo>
                  <a:pt x="6716203" y="2439551"/>
                </a:lnTo>
                <a:lnTo>
                  <a:pt x="6715552" y="2437278"/>
                </a:lnTo>
                <a:close/>
                <a:moveTo>
                  <a:pt x="4178477" y="2435502"/>
                </a:moveTo>
                <a:lnTo>
                  <a:pt x="4178650" y="2436195"/>
                </a:lnTo>
                <a:lnTo>
                  <a:pt x="4181018" y="2438558"/>
                </a:lnTo>
                <a:lnTo>
                  <a:pt x="4178650" y="2436195"/>
                </a:lnTo>
                <a:close/>
                <a:moveTo>
                  <a:pt x="2125732" y="2435222"/>
                </a:moveTo>
                <a:lnTo>
                  <a:pt x="2127577" y="2437171"/>
                </a:lnTo>
                <a:lnTo>
                  <a:pt x="2127033" y="2440527"/>
                </a:lnTo>
                <a:lnTo>
                  <a:pt x="2128336" y="2443559"/>
                </a:lnTo>
                <a:lnTo>
                  <a:pt x="2126166" y="2447781"/>
                </a:lnTo>
                <a:lnTo>
                  <a:pt x="2122151" y="2448539"/>
                </a:lnTo>
                <a:lnTo>
                  <a:pt x="2119764" y="2442693"/>
                </a:lnTo>
                <a:lnTo>
                  <a:pt x="2119547" y="2438579"/>
                </a:lnTo>
                <a:close/>
                <a:moveTo>
                  <a:pt x="6275734" y="2434788"/>
                </a:moveTo>
                <a:lnTo>
                  <a:pt x="6275734" y="2434789"/>
                </a:lnTo>
                <a:lnTo>
                  <a:pt x="6278664" y="2437171"/>
                </a:lnTo>
                <a:lnTo>
                  <a:pt x="6278665" y="2437170"/>
                </a:lnTo>
                <a:close/>
                <a:moveTo>
                  <a:pt x="2119981" y="2433706"/>
                </a:moveTo>
                <a:lnTo>
                  <a:pt x="2120415" y="2436738"/>
                </a:lnTo>
                <a:lnTo>
                  <a:pt x="2117811" y="2435547"/>
                </a:lnTo>
                <a:close/>
                <a:moveTo>
                  <a:pt x="6151592" y="2433380"/>
                </a:moveTo>
                <a:lnTo>
                  <a:pt x="6151592" y="2433381"/>
                </a:lnTo>
                <a:lnTo>
                  <a:pt x="6156692" y="2433706"/>
                </a:lnTo>
                <a:lnTo>
                  <a:pt x="6160815" y="2435114"/>
                </a:lnTo>
                <a:lnTo>
                  <a:pt x="6167109" y="2435005"/>
                </a:lnTo>
                <a:lnTo>
                  <a:pt x="6167109" y="2435004"/>
                </a:lnTo>
                <a:lnTo>
                  <a:pt x="6160815" y="2435112"/>
                </a:lnTo>
                <a:lnTo>
                  <a:pt x="6156692" y="2433705"/>
                </a:lnTo>
                <a:close/>
                <a:moveTo>
                  <a:pt x="6038941" y="2430952"/>
                </a:moveTo>
                <a:lnTo>
                  <a:pt x="6042424" y="2435328"/>
                </a:lnTo>
                <a:lnTo>
                  <a:pt x="6042424" y="2443232"/>
                </a:lnTo>
                <a:lnTo>
                  <a:pt x="6044594" y="2449295"/>
                </a:lnTo>
                <a:lnTo>
                  <a:pt x="6043835" y="2453518"/>
                </a:lnTo>
                <a:lnTo>
                  <a:pt x="6043835" y="2453519"/>
                </a:lnTo>
                <a:lnTo>
                  <a:pt x="6044595" y="2449296"/>
                </a:lnTo>
                <a:lnTo>
                  <a:pt x="6042425" y="2443233"/>
                </a:lnTo>
                <a:lnTo>
                  <a:pt x="6042425" y="2435329"/>
                </a:lnTo>
                <a:close/>
                <a:moveTo>
                  <a:pt x="2125298" y="2430782"/>
                </a:moveTo>
                <a:lnTo>
                  <a:pt x="2122585" y="2434355"/>
                </a:lnTo>
                <a:lnTo>
                  <a:pt x="2121066" y="2432081"/>
                </a:lnTo>
                <a:close/>
                <a:moveTo>
                  <a:pt x="6276276" y="2428075"/>
                </a:moveTo>
                <a:lnTo>
                  <a:pt x="6265425" y="2430349"/>
                </a:lnTo>
                <a:lnTo>
                  <a:pt x="6259674" y="2434463"/>
                </a:lnTo>
                <a:lnTo>
                  <a:pt x="6257395" y="2428941"/>
                </a:lnTo>
                <a:lnTo>
                  <a:pt x="6257395" y="2428941"/>
                </a:lnTo>
                <a:lnTo>
                  <a:pt x="6259674" y="2434463"/>
                </a:lnTo>
                <a:lnTo>
                  <a:pt x="6265425" y="2430349"/>
                </a:lnTo>
                <a:lnTo>
                  <a:pt x="6276276" y="2428076"/>
                </a:lnTo>
                <a:close/>
                <a:moveTo>
                  <a:pt x="5617697" y="2426453"/>
                </a:moveTo>
                <a:lnTo>
                  <a:pt x="5618341" y="2427208"/>
                </a:lnTo>
                <a:lnTo>
                  <a:pt x="5618341" y="2427208"/>
                </a:lnTo>
                <a:close/>
                <a:moveTo>
                  <a:pt x="5608140" y="2425909"/>
                </a:moveTo>
                <a:lnTo>
                  <a:pt x="5602714" y="2427533"/>
                </a:lnTo>
                <a:lnTo>
                  <a:pt x="5602063" y="2428219"/>
                </a:lnTo>
                <a:lnTo>
                  <a:pt x="5602714" y="2427534"/>
                </a:lnTo>
                <a:lnTo>
                  <a:pt x="5608140" y="2425909"/>
                </a:lnTo>
                <a:close/>
                <a:moveTo>
                  <a:pt x="6171356" y="2424012"/>
                </a:moveTo>
                <a:lnTo>
                  <a:pt x="6170907" y="2426018"/>
                </a:lnTo>
                <a:lnTo>
                  <a:pt x="6169759" y="2428735"/>
                </a:lnTo>
                <a:lnTo>
                  <a:pt x="6170907" y="2426018"/>
                </a:lnTo>
                <a:close/>
                <a:moveTo>
                  <a:pt x="2172611" y="2422878"/>
                </a:moveTo>
                <a:lnTo>
                  <a:pt x="2177277" y="2426343"/>
                </a:lnTo>
                <a:lnTo>
                  <a:pt x="2178579" y="2431431"/>
                </a:lnTo>
                <a:lnTo>
                  <a:pt x="2182268" y="2438144"/>
                </a:lnTo>
                <a:lnTo>
                  <a:pt x="2182051" y="2440959"/>
                </a:lnTo>
                <a:lnTo>
                  <a:pt x="2176409" y="2441392"/>
                </a:lnTo>
                <a:lnTo>
                  <a:pt x="2174347" y="2438794"/>
                </a:lnTo>
                <a:lnTo>
                  <a:pt x="2176409" y="2436520"/>
                </a:lnTo>
                <a:lnTo>
                  <a:pt x="2175432" y="2430024"/>
                </a:lnTo>
                <a:lnTo>
                  <a:pt x="2171743" y="2425802"/>
                </a:lnTo>
                <a:close/>
                <a:moveTo>
                  <a:pt x="6256881" y="2422123"/>
                </a:moveTo>
                <a:lnTo>
                  <a:pt x="6258155" y="2423312"/>
                </a:lnTo>
                <a:lnTo>
                  <a:pt x="6258155" y="2423312"/>
                </a:lnTo>
                <a:close/>
                <a:moveTo>
                  <a:pt x="1651839" y="2419197"/>
                </a:moveTo>
                <a:lnTo>
                  <a:pt x="1652056" y="2422770"/>
                </a:lnTo>
                <a:lnTo>
                  <a:pt x="1649778" y="2426885"/>
                </a:lnTo>
                <a:close/>
                <a:moveTo>
                  <a:pt x="1347667" y="2417682"/>
                </a:moveTo>
                <a:lnTo>
                  <a:pt x="1350055" y="2418331"/>
                </a:lnTo>
                <a:lnTo>
                  <a:pt x="1349404" y="2420931"/>
                </a:lnTo>
                <a:lnTo>
                  <a:pt x="1347342" y="2420713"/>
                </a:lnTo>
                <a:close/>
                <a:moveTo>
                  <a:pt x="6249039" y="2415408"/>
                </a:moveTo>
                <a:lnTo>
                  <a:pt x="6249039" y="2415408"/>
                </a:lnTo>
                <a:lnTo>
                  <a:pt x="6253054" y="2417032"/>
                </a:lnTo>
                <a:lnTo>
                  <a:pt x="6253563" y="2417953"/>
                </a:lnTo>
                <a:lnTo>
                  <a:pt x="6253054" y="2417032"/>
                </a:lnTo>
                <a:close/>
                <a:moveTo>
                  <a:pt x="1653142" y="2413134"/>
                </a:moveTo>
                <a:lnTo>
                  <a:pt x="1654445" y="2413134"/>
                </a:lnTo>
                <a:lnTo>
                  <a:pt x="1653251" y="2417140"/>
                </a:lnTo>
                <a:lnTo>
                  <a:pt x="1652600" y="2416490"/>
                </a:lnTo>
                <a:close/>
                <a:moveTo>
                  <a:pt x="6878545" y="2410536"/>
                </a:moveTo>
                <a:lnTo>
                  <a:pt x="6879738" y="2413459"/>
                </a:lnTo>
                <a:lnTo>
                  <a:pt x="6878111" y="2415083"/>
                </a:lnTo>
                <a:lnTo>
                  <a:pt x="6874856" y="2415083"/>
                </a:lnTo>
                <a:lnTo>
                  <a:pt x="6875832" y="2410644"/>
                </a:lnTo>
                <a:close/>
                <a:moveTo>
                  <a:pt x="2116182" y="2410536"/>
                </a:moveTo>
                <a:lnTo>
                  <a:pt x="2119437" y="2411835"/>
                </a:lnTo>
                <a:lnTo>
                  <a:pt x="2120523" y="2417465"/>
                </a:lnTo>
                <a:lnTo>
                  <a:pt x="2124646" y="2424935"/>
                </a:lnTo>
                <a:lnTo>
                  <a:pt x="2119004" y="2428725"/>
                </a:lnTo>
                <a:lnTo>
                  <a:pt x="2117918" y="2424502"/>
                </a:lnTo>
                <a:lnTo>
                  <a:pt x="2113903" y="2426668"/>
                </a:lnTo>
                <a:lnTo>
                  <a:pt x="2110648" y="2423528"/>
                </a:lnTo>
                <a:lnTo>
                  <a:pt x="2114338" y="2416924"/>
                </a:lnTo>
                <a:close/>
                <a:moveTo>
                  <a:pt x="2135173" y="2408262"/>
                </a:moveTo>
                <a:lnTo>
                  <a:pt x="2140708" y="2409561"/>
                </a:lnTo>
                <a:lnTo>
                  <a:pt x="2138755" y="2413135"/>
                </a:lnTo>
                <a:lnTo>
                  <a:pt x="2132243" y="2413026"/>
                </a:lnTo>
                <a:lnTo>
                  <a:pt x="2129205" y="2411510"/>
                </a:lnTo>
                <a:close/>
                <a:moveTo>
                  <a:pt x="1655854" y="2407288"/>
                </a:moveTo>
                <a:lnTo>
                  <a:pt x="1654986" y="2409994"/>
                </a:lnTo>
                <a:lnTo>
                  <a:pt x="1653576" y="2410645"/>
                </a:lnTo>
                <a:lnTo>
                  <a:pt x="1654226" y="2407396"/>
                </a:lnTo>
                <a:close/>
                <a:moveTo>
                  <a:pt x="6885489" y="2406746"/>
                </a:moveTo>
                <a:lnTo>
                  <a:pt x="6887767" y="2408803"/>
                </a:lnTo>
                <a:lnTo>
                  <a:pt x="6886466" y="2413134"/>
                </a:lnTo>
                <a:lnTo>
                  <a:pt x="6883970" y="2412484"/>
                </a:lnTo>
                <a:lnTo>
                  <a:pt x="6882885" y="2409452"/>
                </a:lnTo>
                <a:close/>
                <a:moveTo>
                  <a:pt x="6249960" y="2405926"/>
                </a:moveTo>
                <a:lnTo>
                  <a:pt x="6251209" y="2407829"/>
                </a:lnTo>
                <a:lnTo>
                  <a:pt x="6249583" y="2410506"/>
                </a:lnTo>
                <a:lnTo>
                  <a:pt x="6251210" y="2407829"/>
                </a:lnTo>
                <a:close/>
                <a:moveTo>
                  <a:pt x="6120773" y="2404688"/>
                </a:moveTo>
                <a:lnTo>
                  <a:pt x="6120774" y="2404689"/>
                </a:lnTo>
                <a:lnTo>
                  <a:pt x="6122419" y="2405435"/>
                </a:lnTo>
                <a:close/>
                <a:moveTo>
                  <a:pt x="2153404" y="2402523"/>
                </a:moveTo>
                <a:lnTo>
                  <a:pt x="2160024" y="2406313"/>
                </a:lnTo>
                <a:lnTo>
                  <a:pt x="2164256" y="2412376"/>
                </a:lnTo>
                <a:lnTo>
                  <a:pt x="2162303" y="2419847"/>
                </a:lnTo>
                <a:lnTo>
                  <a:pt x="2159698" y="2420605"/>
                </a:lnTo>
                <a:lnTo>
                  <a:pt x="2157637" y="2418223"/>
                </a:lnTo>
                <a:lnTo>
                  <a:pt x="2160458" y="2416707"/>
                </a:lnTo>
                <a:lnTo>
                  <a:pt x="2162085" y="2413134"/>
                </a:lnTo>
                <a:lnTo>
                  <a:pt x="2158505" y="2408153"/>
                </a:lnTo>
                <a:lnTo>
                  <a:pt x="2152862" y="2405988"/>
                </a:lnTo>
                <a:close/>
                <a:moveTo>
                  <a:pt x="6116649" y="2400465"/>
                </a:moveTo>
                <a:lnTo>
                  <a:pt x="6113937" y="2401116"/>
                </a:lnTo>
                <a:lnTo>
                  <a:pt x="6113937" y="2401116"/>
                </a:lnTo>
                <a:lnTo>
                  <a:pt x="6116649" y="2400466"/>
                </a:lnTo>
                <a:lnTo>
                  <a:pt x="6120345" y="2404249"/>
                </a:lnTo>
                <a:close/>
                <a:moveTo>
                  <a:pt x="5607164" y="2400249"/>
                </a:moveTo>
                <a:lnTo>
                  <a:pt x="5607164" y="2400249"/>
                </a:lnTo>
                <a:lnTo>
                  <a:pt x="5611830" y="2406421"/>
                </a:lnTo>
                <a:lnTo>
                  <a:pt x="5612556" y="2408490"/>
                </a:lnTo>
                <a:lnTo>
                  <a:pt x="5611830" y="2406420"/>
                </a:lnTo>
                <a:close/>
                <a:moveTo>
                  <a:pt x="6035153" y="2400249"/>
                </a:moveTo>
                <a:lnTo>
                  <a:pt x="6031681" y="2402306"/>
                </a:lnTo>
                <a:lnTo>
                  <a:pt x="6029619" y="2408694"/>
                </a:lnTo>
                <a:lnTo>
                  <a:pt x="6025170" y="2409669"/>
                </a:lnTo>
                <a:lnTo>
                  <a:pt x="6024953" y="2419196"/>
                </a:lnTo>
                <a:lnTo>
                  <a:pt x="6025170" y="2409669"/>
                </a:lnTo>
                <a:lnTo>
                  <a:pt x="6029619" y="2408694"/>
                </a:lnTo>
                <a:lnTo>
                  <a:pt x="6031681" y="2402306"/>
                </a:lnTo>
                <a:lnTo>
                  <a:pt x="6035154" y="2400249"/>
                </a:lnTo>
                <a:close/>
                <a:moveTo>
                  <a:pt x="6041231" y="2398841"/>
                </a:moveTo>
                <a:lnTo>
                  <a:pt x="6038083" y="2401332"/>
                </a:lnTo>
                <a:lnTo>
                  <a:pt x="6035634" y="2400427"/>
                </a:lnTo>
                <a:lnTo>
                  <a:pt x="6038083" y="2401332"/>
                </a:lnTo>
                <a:lnTo>
                  <a:pt x="6041231" y="2398842"/>
                </a:lnTo>
                <a:close/>
                <a:moveTo>
                  <a:pt x="6073336" y="2398778"/>
                </a:moveTo>
                <a:lnTo>
                  <a:pt x="6077042" y="2400466"/>
                </a:lnTo>
                <a:lnTo>
                  <a:pt x="6083227" y="2400466"/>
                </a:lnTo>
                <a:lnTo>
                  <a:pt x="6092885" y="2399708"/>
                </a:lnTo>
                <a:lnTo>
                  <a:pt x="6100156" y="2400575"/>
                </a:lnTo>
                <a:lnTo>
                  <a:pt x="6108186" y="2400249"/>
                </a:lnTo>
                <a:lnTo>
                  <a:pt x="6112200" y="2399925"/>
                </a:lnTo>
                <a:lnTo>
                  <a:pt x="6112200" y="2399924"/>
                </a:lnTo>
                <a:lnTo>
                  <a:pt x="6108185" y="2400249"/>
                </a:lnTo>
                <a:lnTo>
                  <a:pt x="6100155" y="2400574"/>
                </a:lnTo>
                <a:lnTo>
                  <a:pt x="6092884" y="2399708"/>
                </a:lnTo>
                <a:lnTo>
                  <a:pt x="6083227" y="2400465"/>
                </a:lnTo>
                <a:lnTo>
                  <a:pt x="6077041" y="2400465"/>
                </a:lnTo>
                <a:close/>
                <a:moveTo>
                  <a:pt x="1342350" y="2398193"/>
                </a:moveTo>
                <a:lnTo>
                  <a:pt x="1345063" y="2401982"/>
                </a:lnTo>
                <a:lnTo>
                  <a:pt x="1345823" y="2405447"/>
                </a:lnTo>
                <a:lnTo>
                  <a:pt x="1343219" y="2407179"/>
                </a:lnTo>
                <a:lnTo>
                  <a:pt x="1342350" y="2402307"/>
                </a:lnTo>
                <a:lnTo>
                  <a:pt x="1341157" y="2400250"/>
                </a:lnTo>
                <a:close/>
                <a:moveTo>
                  <a:pt x="6072049" y="2398192"/>
                </a:moveTo>
                <a:lnTo>
                  <a:pt x="6067600" y="2398517"/>
                </a:lnTo>
                <a:lnTo>
                  <a:pt x="6067601" y="2398517"/>
                </a:lnTo>
                <a:lnTo>
                  <a:pt x="6072050" y="2398192"/>
                </a:lnTo>
                <a:close/>
                <a:moveTo>
                  <a:pt x="3663630" y="2396893"/>
                </a:moveTo>
                <a:lnTo>
                  <a:pt x="3663017" y="2432455"/>
                </a:lnTo>
                <a:lnTo>
                  <a:pt x="3663630" y="2396894"/>
                </a:lnTo>
                <a:lnTo>
                  <a:pt x="3739375" y="2398193"/>
                </a:lnTo>
                <a:lnTo>
                  <a:pt x="3739375" y="2398192"/>
                </a:lnTo>
                <a:close/>
                <a:moveTo>
                  <a:pt x="6063042" y="2396784"/>
                </a:moveTo>
                <a:lnTo>
                  <a:pt x="6063042" y="2396785"/>
                </a:lnTo>
                <a:lnTo>
                  <a:pt x="6066838" y="2398227"/>
                </a:lnTo>
                <a:close/>
                <a:moveTo>
                  <a:pt x="5607346" y="2396127"/>
                </a:moveTo>
                <a:lnTo>
                  <a:pt x="5608357" y="2397001"/>
                </a:lnTo>
                <a:lnTo>
                  <a:pt x="5607336" y="2399781"/>
                </a:lnTo>
                <a:lnTo>
                  <a:pt x="5608358" y="2397001"/>
                </a:lnTo>
                <a:close/>
                <a:moveTo>
                  <a:pt x="6905348" y="2393104"/>
                </a:moveTo>
                <a:lnTo>
                  <a:pt x="6910774" y="2395702"/>
                </a:lnTo>
                <a:lnTo>
                  <a:pt x="6909905" y="2400141"/>
                </a:lnTo>
                <a:lnTo>
                  <a:pt x="6906650" y="2399816"/>
                </a:lnTo>
                <a:lnTo>
                  <a:pt x="6904805" y="2398085"/>
                </a:lnTo>
                <a:close/>
                <a:moveTo>
                  <a:pt x="5594507" y="2390786"/>
                </a:moveTo>
                <a:lnTo>
                  <a:pt x="5600436" y="2394619"/>
                </a:lnTo>
                <a:lnTo>
                  <a:pt x="5605102" y="2394186"/>
                </a:lnTo>
                <a:lnTo>
                  <a:pt x="5605102" y="2394186"/>
                </a:lnTo>
                <a:lnTo>
                  <a:pt x="5600436" y="2394619"/>
                </a:lnTo>
                <a:close/>
                <a:moveTo>
                  <a:pt x="6040796" y="2389747"/>
                </a:moveTo>
                <a:lnTo>
                  <a:pt x="6039820" y="2392670"/>
                </a:lnTo>
                <a:lnTo>
                  <a:pt x="6039820" y="2392670"/>
                </a:lnTo>
                <a:close/>
                <a:moveTo>
                  <a:pt x="5591646" y="2380868"/>
                </a:moveTo>
                <a:lnTo>
                  <a:pt x="5591646" y="2380869"/>
                </a:lnTo>
                <a:lnTo>
                  <a:pt x="5591711" y="2381391"/>
                </a:lnTo>
                <a:close/>
                <a:moveTo>
                  <a:pt x="6814519" y="2378488"/>
                </a:moveTo>
                <a:lnTo>
                  <a:pt x="6819837" y="2380329"/>
                </a:lnTo>
                <a:lnTo>
                  <a:pt x="6822441" y="2385742"/>
                </a:lnTo>
                <a:lnTo>
                  <a:pt x="6823960" y="2385742"/>
                </a:lnTo>
                <a:lnTo>
                  <a:pt x="6828083" y="2388774"/>
                </a:lnTo>
                <a:lnTo>
                  <a:pt x="6828952" y="2392888"/>
                </a:lnTo>
                <a:lnTo>
                  <a:pt x="6827216" y="2393213"/>
                </a:lnTo>
                <a:lnTo>
                  <a:pt x="6825696" y="2399601"/>
                </a:lnTo>
                <a:lnTo>
                  <a:pt x="6824503" y="2412052"/>
                </a:lnTo>
                <a:lnTo>
                  <a:pt x="6821898" y="2417032"/>
                </a:lnTo>
                <a:lnTo>
                  <a:pt x="6822983" y="2423853"/>
                </a:lnTo>
                <a:lnTo>
                  <a:pt x="6822441" y="2430242"/>
                </a:lnTo>
                <a:lnTo>
                  <a:pt x="6821030" y="2439336"/>
                </a:lnTo>
                <a:lnTo>
                  <a:pt x="6823310" y="2440203"/>
                </a:lnTo>
                <a:lnTo>
                  <a:pt x="6821573" y="2441935"/>
                </a:lnTo>
                <a:lnTo>
                  <a:pt x="6821356" y="2447781"/>
                </a:lnTo>
                <a:lnTo>
                  <a:pt x="6815387" y="2456877"/>
                </a:lnTo>
                <a:lnTo>
                  <a:pt x="6811372" y="2462181"/>
                </a:lnTo>
                <a:lnTo>
                  <a:pt x="6813760" y="2469219"/>
                </a:lnTo>
                <a:lnTo>
                  <a:pt x="6812566" y="2474957"/>
                </a:lnTo>
                <a:lnTo>
                  <a:pt x="6813651" y="2479722"/>
                </a:lnTo>
                <a:lnTo>
                  <a:pt x="6810179" y="2478530"/>
                </a:lnTo>
                <a:lnTo>
                  <a:pt x="6806706" y="2479722"/>
                </a:lnTo>
                <a:lnTo>
                  <a:pt x="6806380" y="2475824"/>
                </a:lnTo>
                <a:lnTo>
                  <a:pt x="6806706" y="2470302"/>
                </a:lnTo>
                <a:lnTo>
                  <a:pt x="6803343" y="2465105"/>
                </a:lnTo>
                <a:lnTo>
                  <a:pt x="6796615" y="2462940"/>
                </a:lnTo>
                <a:lnTo>
                  <a:pt x="6795855" y="2459800"/>
                </a:lnTo>
                <a:lnTo>
                  <a:pt x="6793359" y="2459150"/>
                </a:lnTo>
                <a:lnTo>
                  <a:pt x="6790755" y="2455144"/>
                </a:lnTo>
                <a:lnTo>
                  <a:pt x="6790863" y="2452220"/>
                </a:lnTo>
                <a:lnTo>
                  <a:pt x="6791949" y="2451896"/>
                </a:lnTo>
                <a:lnTo>
                  <a:pt x="6791297" y="2449189"/>
                </a:lnTo>
                <a:lnTo>
                  <a:pt x="6788801" y="2447565"/>
                </a:lnTo>
                <a:lnTo>
                  <a:pt x="6788150" y="2437929"/>
                </a:lnTo>
                <a:lnTo>
                  <a:pt x="6787933" y="2428618"/>
                </a:lnTo>
                <a:lnTo>
                  <a:pt x="6786414" y="2426452"/>
                </a:lnTo>
                <a:lnTo>
                  <a:pt x="6788150" y="2425045"/>
                </a:lnTo>
                <a:lnTo>
                  <a:pt x="6790755" y="2415625"/>
                </a:lnTo>
                <a:lnTo>
                  <a:pt x="6795855" y="2406530"/>
                </a:lnTo>
                <a:lnTo>
                  <a:pt x="6797916" y="2404581"/>
                </a:lnTo>
                <a:lnTo>
                  <a:pt x="6798785" y="2401333"/>
                </a:lnTo>
                <a:lnTo>
                  <a:pt x="6797591" y="2399168"/>
                </a:lnTo>
                <a:lnTo>
                  <a:pt x="6802474" y="2390831"/>
                </a:lnTo>
                <a:lnTo>
                  <a:pt x="6807574" y="2384984"/>
                </a:lnTo>
                <a:lnTo>
                  <a:pt x="6811915" y="2383469"/>
                </a:lnTo>
                <a:lnTo>
                  <a:pt x="6811372" y="2380220"/>
                </a:lnTo>
                <a:close/>
                <a:moveTo>
                  <a:pt x="5398702" y="2378272"/>
                </a:moveTo>
                <a:lnTo>
                  <a:pt x="5396206" y="2382927"/>
                </a:lnTo>
                <a:lnTo>
                  <a:pt x="5397509" y="2387041"/>
                </a:lnTo>
                <a:lnTo>
                  <a:pt x="5397510" y="2387040"/>
                </a:lnTo>
                <a:lnTo>
                  <a:pt x="5396207" y="2382926"/>
                </a:lnTo>
                <a:close/>
                <a:moveTo>
                  <a:pt x="6182302" y="2376647"/>
                </a:moveTo>
                <a:lnTo>
                  <a:pt x="6179046" y="2386174"/>
                </a:lnTo>
                <a:lnTo>
                  <a:pt x="6176484" y="2390297"/>
                </a:lnTo>
                <a:lnTo>
                  <a:pt x="6179046" y="2386175"/>
                </a:lnTo>
                <a:lnTo>
                  <a:pt x="6182302" y="2376647"/>
                </a:lnTo>
                <a:close/>
                <a:moveTo>
                  <a:pt x="6768400" y="2374699"/>
                </a:moveTo>
                <a:lnTo>
                  <a:pt x="6770136" y="2376540"/>
                </a:lnTo>
                <a:lnTo>
                  <a:pt x="6770028" y="2380005"/>
                </a:lnTo>
                <a:lnTo>
                  <a:pt x="6767532" y="2380871"/>
                </a:lnTo>
                <a:lnTo>
                  <a:pt x="6766555" y="2375565"/>
                </a:lnTo>
                <a:close/>
                <a:moveTo>
                  <a:pt x="6036022" y="2374264"/>
                </a:moveTo>
                <a:lnTo>
                  <a:pt x="6036022" y="2374264"/>
                </a:lnTo>
                <a:lnTo>
                  <a:pt x="6041013" y="2374914"/>
                </a:lnTo>
                <a:lnTo>
                  <a:pt x="6041014" y="2374914"/>
                </a:lnTo>
                <a:close/>
                <a:moveTo>
                  <a:pt x="5407327" y="2373875"/>
                </a:moveTo>
                <a:lnTo>
                  <a:pt x="5405973" y="2375348"/>
                </a:lnTo>
                <a:lnTo>
                  <a:pt x="5405974" y="2375347"/>
                </a:lnTo>
                <a:close/>
                <a:moveTo>
                  <a:pt x="6040037" y="2371666"/>
                </a:moveTo>
                <a:lnTo>
                  <a:pt x="6043400" y="2373723"/>
                </a:lnTo>
                <a:lnTo>
                  <a:pt x="6041549" y="2374647"/>
                </a:lnTo>
                <a:lnTo>
                  <a:pt x="6043401" y="2373723"/>
                </a:lnTo>
                <a:close/>
                <a:moveTo>
                  <a:pt x="6045788" y="2371435"/>
                </a:moveTo>
                <a:lnTo>
                  <a:pt x="6046548" y="2372099"/>
                </a:lnTo>
                <a:lnTo>
                  <a:pt x="6048935" y="2374481"/>
                </a:lnTo>
                <a:lnTo>
                  <a:pt x="6053601" y="2375996"/>
                </a:lnTo>
                <a:lnTo>
                  <a:pt x="6053927" y="2374264"/>
                </a:lnTo>
                <a:lnTo>
                  <a:pt x="6056314" y="2373723"/>
                </a:lnTo>
                <a:lnTo>
                  <a:pt x="6059678" y="2379570"/>
                </a:lnTo>
                <a:lnTo>
                  <a:pt x="6060655" y="2385308"/>
                </a:lnTo>
                <a:lnTo>
                  <a:pt x="6061306" y="2388231"/>
                </a:lnTo>
                <a:lnTo>
                  <a:pt x="6063259" y="2393320"/>
                </a:lnTo>
                <a:lnTo>
                  <a:pt x="6063259" y="2393320"/>
                </a:lnTo>
                <a:lnTo>
                  <a:pt x="6061306" y="2388231"/>
                </a:lnTo>
                <a:lnTo>
                  <a:pt x="6060655" y="2385308"/>
                </a:lnTo>
                <a:lnTo>
                  <a:pt x="6059678" y="2379569"/>
                </a:lnTo>
                <a:lnTo>
                  <a:pt x="6056314" y="2373723"/>
                </a:lnTo>
                <a:lnTo>
                  <a:pt x="6053927" y="2374264"/>
                </a:lnTo>
                <a:lnTo>
                  <a:pt x="6053601" y="2375996"/>
                </a:lnTo>
                <a:lnTo>
                  <a:pt x="6048935" y="2374480"/>
                </a:lnTo>
                <a:lnTo>
                  <a:pt x="6046548" y="2372098"/>
                </a:lnTo>
                <a:close/>
                <a:moveTo>
                  <a:pt x="6032549" y="2369933"/>
                </a:moveTo>
                <a:lnTo>
                  <a:pt x="6032549" y="2369933"/>
                </a:lnTo>
                <a:lnTo>
                  <a:pt x="6033086" y="2370603"/>
                </a:lnTo>
                <a:close/>
                <a:moveTo>
                  <a:pt x="6026689" y="2369825"/>
                </a:moveTo>
                <a:lnTo>
                  <a:pt x="6024518" y="2375996"/>
                </a:lnTo>
                <a:lnTo>
                  <a:pt x="6019852" y="2381302"/>
                </a:lnTo>
                <a:lnTo>
                  <a:pt x="6019093" y="2387040"/>
                </a:lnTo>
                <a:lnTo>
                  <a:pt x="6019853" y="2381302"/>
                </a:lnTo>
                <a:lnTo>
                  <a:pt x="6024519" y="2375996"/>
                </a:lnTo>
                <a:close/>
                <a:moveTo>
                  <a:pt x="3747258" y="2369152"/>
                </a:moveTo>
                <a:lnTo>
                  <a:pt x="3827056" y="2422662"/>
                </a:lnTo>
                <a:lnTo>
                  <a:pt x="3827056" y="2422771"/>
                </a:lnTo>
                <a:lnTo>
                  <a:pt x="3826839" y="2422554"/>
                </a:lnTo>
                <a:lnTo>
                  <a:pt x="3826838" y="2422554"/>
                </a:lnTo>
                <a:lnTo>
                  <a:pt x="3827055" y="2422770"/>
                </a:lnTo>
                <a:lnTo>
                  <a:pt x="3983645" y="2526385"/>
                </a:lnTo>
                <a:lnTo>
                  <a:pt x="3986466" y="2537754"/>
                </a:lnTo>
                <a:lnTo>
                  <a:pt x="3991458" y="2542409"/>
                </a:lnTo>
                <a:lnTo>
                  <a:pt x="3991459" y="2542409"/>
                </a:lnTo>
                <a:lnTo>
                  <a:pt x="3986467" y="2537753"/>
                </a:lnTo>
                <a:lnTo>
                  <a:pt x="3983646" y="2526385"/>
                </a:lnTo>
                <a:lnTo>
                  <a:pt x="3827056" y="2422770"/>
                </a:lnTo>
                <a:lnTo>
                  <a:pt x="3827056" y="2422662"/>
                </a:lnTo>
                <a:close/>
                <a:moveTo>
                  <a:pt x="5584050" y="2367443"/>
                </a:moveTo>
                <a:lnTo>
                  <a:pt x="5581446" y="2368742"/>
                </a:lnTo>
                <a:lnTo>
                  <a:pt x="5584050" y="2367443"/>
                </a:lnTo>
                <a:lnTo>
                  <a:pt x="5588607" y="2367552"/>
                </a:lnTo>
                <a:lnTo>
                  <a:pt x="5589453" y="2369403"/>
                </a:lnTo>
                <a:lnTo>
                  <a:pt x="5588607" y="2367551"/>
                </a:lnTo>
                <a:close/>
                <a:moveTo>
                  <a:pt x="5574688" y="2366964"/>
                </a:moveTo>
                <a:lnTo>
                  <a:pt x="5571896" y="2367118"/>
                </a:lnTo>
                <a:lnTo>
                  <a:pt x="5571896" y="2367119"/>
                </a:lnTo>
                <a:close/>
                <a:moveTo>
                  <a:pt x="3740351" y="2364521"/>
                </a:moveTo>
                <a:lnTo>
                  <a:pt x="3740351" y="2364735"/>
                </a:lnTo>
                <a:lnTo>
                  <a:pt x="3740351" y="2364736"/>
                </a:lnTo>
                <a:lnTo>
                  <a:pt x="3740351" y="2364521"/>
                </a:lnTo>
                <a:close/>
                <a:moveTo>
                  <a:pt x="2115422" y="2363979"/>
                </a:moveTo>
                <a:lnTo>
                  <a:pt x="2122801" y="2363979"/>
                </a:lnTo>
                <a:lnTo>
                  <a:pt x="2128010" y="2368742"/>
                </a:lnTo>
                <a:lnTo>
                  <a:pt x="2124212" y="2368201"/>
                </a:lnTo>
                <a:lnTo>
                  <a:pt x="2119546" y="2367227"/>
                </a:lnTo>
                <a:lnTo>
                  <a:pt x="2110539" y="2373507"/>
                </a:lnTo>
                <a:lnTo>
                  <a:pt x="2105764" y="2372640"/>
                </a:lnTo>
                <a:lnTo>
                  <a:pt x="2099688" y="2366036"/>
                </a:lnTo>
                <a:lnTo>
                  <a:pt x="2105764" y="2366036"/>
                </a:lnTo>
                <a:lnTo>
                  <a:pt x="2108694" y="2368093"/>
                </a:lnTo>
                <a:close/>
                <a:moveTo>
                  <a:pt x="2135173" y="2360948"/>
                </a:moveTo>
                <a:lnTo>
                  <a:pt x="2142444" y="2366037"/>
                </a:lnTo>
                <a:lnTo>
                  <a:pt x="2143313" y="2370584"/>
                </a:lnTo>
                <a:lnTo>
                  <a:pt x="2146785" y="2372858"/>
                </a:lnTo>
                <a:lnTo>
                  <a:pt x="2146785" y="2379354"/>
                </a:lnTo>
                <a:lnTo>
                  <a:pt x="2142119" y="2382277"/>
                </a:lnTo>
                <a:lnTo>
                  <a:pt x="2142444" y="2386500"/>
                </a:lnTo>
                <a:lnTo>
                  <a:pt x="2138429" y="2390505"/>
                </a:lnTo>
                <a:lnTo>
                  <a:pt x="2140165" y="2382602"/>
                </a:lnTo>
                <a:lnTo>
                  <a:pt x="2138863" y="2378162"/>
                </a:lnTo>
                <a:lnTo>
                  <a:pt x="2141902" y="2375239"/>
                </a:lnTo>
                <a:lnTo>
                  <a:pt x="2136584" y="2368419"/>
                </a:lnTo>
                <a:lnTo>
                  <a:pt x="2135716" y="2363546"/>
                </a:lnTo>
                <a:lnTo>
                  <a:pt x="2128554" y="2361164"/>
                </a:lnTo>
                <a:close/>
                <a:moveTo>
                  <a:pt x="6027557" y="2360839"/>
                </a:moveTo>
                <a:lnTo>
                  <a:pt x="6026147" y="2364303"/>
                </a:lnTo>
                <a:lnTo>
                  <a:pt x="6024085" y="2364520"/>
                </a:lnTo>
                <a:lnTo>
                  <a:pt x="6026147" y="2364304"/>
                </a:lnTo>
                <a:lnTo>
                  <a:pt x="6027558" y="2360840"/>
                </a:lnTo>
                <a:close/>
                <a:moveTo>
                  <a:pt x="3740351" y="2357838"/>
                </a:moveTo>
                <a:lnTo>
                  <a:pt x="3740350" y="2357937"/>
                </a:lnTo>
                <a:lnTo>
                  <a:pt x="3740351" y="2357838"/>
                </a:lnTo>
                <a:close/>
                <a:moveTo>
                  <a:pt x="6098675" y="2355150"/>
                </a:moveTo>
                <a:lnTo>
                  <a:pt x="6095163" y="2356291"/>
                </a:lnTo>
                <a:lnTo>
                  <a:pt x="6092766" y="2356135"/>
                </a:lnTo>
                <a:lnTo>
                  <a:pt x="6095163" y="2356292"/>
                </a:lnTo>
                <a:close/>
                <a:moveTo>
                  <a:pt x="6033673" y="2353575"/>
                </a:moveTo>
                <a:lnTo>
                  <a:pt x="6035370" y="2356292"/>
                </a:lnTo>
                <a:lnTo>
                  <a:pt x="6041717" y="2357575"/>
                </a:lnTo>
                <a:lnTo>
                  <a:pt x="6035370" y="2356291"/>
                </a:lnTo>
                <a:close/>
                <a:moveTo>
                  <a:pt x="3526140" y="2352719"/>
                </a:moveTo>
                <a:lnTo>
                  <a:pt x="3527659" y="2353152"/>
                </a:lnTo>
                <a:lnTo>
                  <a:pt x="3527659" y="2356184"/>
                </a:lnTo>
                <a:lnTo>
                  <a:pt x="3525923" y="2357483"/>
                </a:lnTo>
                <a:lnTo>
                  <a:pt x="3524621" y="2356833"/>
                </a:lnTo>
                <a:lnTo>
                  <a:pt x="3523644" y="2354451"/>
                </a:lnTo>
                <a:close/>
                <a:moveTo>
                  <a:pt x="6104604" y="2349362"/>
                </a:moveTo>
                <a:lnTo>
                  <a:pt x="6104604" y="2349362"/>
                </a:lnTo>
                <a:lnTo>
                  <a:pt x="6104821" y="2353151"/>
                </a:lnTo>
                <a:close/>
                <a:moveTo>
                  <a:pt x="4169147" y="2348776"/>
                </a:moveTo>
                <a:lnTo>
                  <a:pt x="4169752" y="2350229"/>
                </a:lnTo>
                <a:lnTo>
                  <a:pt x="4169752" y="2350228"/>
                </a:lnTo>
                <a:close/>
                <a:moveTo>
                  <a:pt x="6263689" y="2347305"/>
                </a:moveTo>
                <a:lnTo>
                  <a:pt x="6263689" y="2347305"/>
                </a:lnTo>
                <a:lnTo>
                  <a:pt x="6267596" y="2355317"/>
                </a:lnTo>
                <a:close/>
                <a:moveTo>
                  <a:pt x="1668768" y="2346656"/>
                </a:moveTo>
                <a:lnTo>
                  <a:pt x="1666272" y="2358024"/>
                </a:lnTo>
                <a:lnTo>
                  <a:pt x="1665621" y="2368851"/>
                </a:lnTo>
                <a:lnTo>
                  <a:pt x="1667791" y="2376538"/>
                </a:lnTo>
                <a:cubicBezTo>
                  <a:pt x="1667140" y="2374806"/>
                  <a:pt x="1664428" y="2368310"/>
                  <a:pt x="1664428" y="2368310"/>
                </a:cubicBezTo>
                <a:lnTo>
                  <a:pt x="1664428" y="2357483"/>
                </a:lnTo>
                <a:close/>
                <a:moveTo>
                  <a:pt x="6014101" y="2346006"/>
                </a:moveTo>
                <a:lnTo>
                  <a:pt x="6014101" y="2346007"/>
                </a:lnTo>
                <a:lnTo>
                  <a:pt x="6018550" y="2355318"/>
                </a:lnTo>
                <a:lnTo>
                  <a:pt x="6018550" y="2355317"/>
                </a:lnTo>
                <a:close/>
                <a:moveTo>
                  <a:pt x="5582476" y="2345681"/>
                </a:moveTo>
                <a:lnTo>
                  <a:pt x="5579275" y="2350228"/>
                </a:lnTo>
                <a:lnTo>
                  <a:pt x="5578081" y="2350625"/>
                </a:lnTo>
                <a:lnTo>
                  <a:pt x="5579275" y="2350228"/>
                </a:lnTo>
                <a:close/>
                <a:moveTo>
                  <a:pt x="6200918" y="2344685"/>
                </a:moveTo>
                <a:lnTo>
                  <a:pt x="6200098" y="2346655"/>
                </a:lnTo>
                <a:lnTo>
                  <a:pt x="6194347" y="2353693"/>
                </a:lnTo>
                <a:lnTo>
                  <a:pt x="6189030" y="2355533"/>
                </a:lnTo>
                <a:lnTo>
                  <a:pt x="6181108" y="2367984"/>
                </a:lnTo>
                <a:lnTo>
                  <a:pt x="6180749" y="2369676"/>
                </a:lnTo>
                <a:lnTo>
                  <a:pt x="6181108" y="2367986"/>
                </a:lnTo>
                <a:lnTo>
                  <a:pt x="6189030" y="2355534"/>
                </a:lnTo>
                <a:lnTo>
                  <a:pt x="6194347" y="2353694"/>
                </a:lnTo>
                <a:lnTo>
                  <a:pt x="6200098" y="2346656"/>
                </a:lnTo>
                <a:close/>
                <a:moveTo>
                  <a:pt x="6032476" y="2344622"/>
                </a:moveTo>
                <a:lnTo>
                  <a:pt x="6032441" y="2344923"/>
                </a:lnTo>
                <a:lnTo>
                  <a:pt x="6030704" y="2348821"/>
                </a:lnTo>
                <a:lnTo>
                  <a:pt x="6030704" y="2348821"/>
                </a:lnTo>
                <a:lnTo>
                  <a:pt x="6032441" y="2344923"/>
                </a:lnTo>
                <a:close/>
                <a:moveTo>
                  <a:pt x="3576491" y="2343949"/>
                </a:moveTo>
                <a:lnTo>
                  <a:pt x="3580940" y="2343949"/>
                </a:lnTo>
                <a:lnTo>
                  <a:pt x="3584955" y="2345140"/>
                </a:lnTo>
                <a:lnTo>
                  <a:pt x="3585823" y="2350661"/>
                </a:lnTo>
                <a:lnTo>
                  <a:pt x="3583002" y="2351744"/>
                </a:lnTo>
                <a:lnTo>
                  <a:pt x="3578878" y="2354451"/>
                </a:lnTo>
                <a:lnTo>
                  <a:pt x="3574430" y="2350878"/>
                </a:lnTo>
                <a:close/>
                <a:moveTo>
                  <a:pt x="3540898" y="2343842"/>
                </a:moveTo>
                <a:lnTo>
                  <a:pt x="3542851" y="2343842"/>
                </a:lnTo>
                <a:lnTo>
                  <a:pt x="3543502" y="2345899"/>
                </a:lnTo>
                <a:cubicBezTo>
                  <a:pt x="3543502" y="2345899"/>
                  <a:pt x="3542526" y="2347307"/>
                  <a:pt x="3542526" y="2347307"/>
                </a:cubicBezTo>
                <a:lnTo>
                  <a:pt x="3540898" y="2345791"/>
                </a:lnTo>
                <a:close/>
                <a:moveTo>
                  <a:pt x="5607183" y="2338358"/>
                </a:moveTo>
                <a:lnTo>
                  <a:pt x="5603908" y="2340051"/>
                </a:lnTo>
                <a:lnTo>
                  <a:pt x="5602751" y="2339834"/>
                </a:lnTo>
                <a:lnTo>
                  <a:pt x="5603908" y="2340051"/>
                </a:lnTo>
                <a:close/>
                <a:moveTo>
                  <a:pt x="3563252" y="2335721"/>
                </a:moveTo>
                <a:lnTo>
                  <a:pt x="3568026" y="2336696"/>
                </a:lnTo>
                <a:lnTo>
                  <a:pt x="3566832" y="2343084"/>
                </a:lnTo>
                <a:lnTo>
                  <a:pt x="3561841" y="2342975"/>
                </a:lnTo>
                <a:lnTo>
                  <a:pt x="3554245" y="2348497"/>
                </a:lnTo>
                <a:lnTo>
                  <a:pt x="3550447" y="2346007"/>
                </a:lnTo>
                <a:lnTo>
                  <a:pt x="3547843" y="2342109"/>
                </a:lnTo>
                <a:lnTo>
                  <a:pt x="3551641" y="2339186"/>
                </a:lnTo>
                <a:lnTo>
                  <a:pt x="3555981" y="2339511"/>
                </a:lnTo>
                <a:lnTo>
                  <a:pt x="3561299" y="2337453"/>
                </a:lnTo>
                <a:close/>
                <a:moveTo>
                  <a:pt x="1673217" y="2334963"/>
                </a:moveTo>
                <a:lnTo>
                  <a:pt x="1673434" y="2337345"/>
                </a:lnTo>
                <a:lnTo>
                  <a:pt x="1671155" y="2343192"/>
                </a:lnTo>
                <a:lnTo>
                  <a:pt x="1669528" y="2344275"/>
                </a:lnTo>
                <a:close/>
                <a:moveTo>
                  <a:pt x="6096465" y="2334637"/>
                </a:moveTo>
                <a:lnTo>
                  <a:pt x="6096465" y="2334638"/>
                </a:lnTo>
                <a:lnTo>
                  <a:pt x="6097225" y="2339401"/>
                </a:lnTo>
                <a:lnTo>
                  <a:pt x="6104604" y="2342650"/>
                </a:lnTo>
                <a:lnTo>
                  <a:pt x="6104604" y="2342649"/>
                </a:lnTo>
                <a:lnTo>
                  <a:pt x="6097225" y="2339401"/>
                </a:lnTo>
                <a:close/>
                <a:moveTo>
                  <a:pt x="6255045" y="2334459"/>
                </a:moveTo>
                <a:lnTo>
                  <a:pt x="6255225" y="2335396"/>
                </a:lnTo>
                <a:lnTo>
                  <a:pt x="6259348" y="2335288"/>
                </a:lnTo>
                <a:lnTo>
                  <a:pt x="6263689" y="2340052"/>
                </a:lnTo>
                <a:lnTo>
                  <a:pt x="6263689" y="2340051"/>
                </a:lnTo>
                <a:lnTo>
                  <a:pt x="6259348" y="2335287"/>
                </a:lnTo>
                <a:lnTo>
                  <a:pt x="6255225" y="2335395"/>
                </a:lnTo>
                <a:close/>
                <a:moveTo>
                  <a:pt x="6216919" y="2333662"/>
                </a:moveTo>
                <a:lnTo>
                  <a:pt x="6210191" y="2338535"/>
                </a:lnTo>
                <a:lnTo>
                  <a:pt x="6202486" y="2340917"/>
                </a:lnTo>
                <a:lnTo>
                  <a:pt x="6202486" y="2340917"/>
                </a:lnTo>
                <a:lnTo>
                  <a:pt x="6210191" y="2338536"/>
                </a:lnTo>
                <a:lnTo>
                  <a:pt x="6216919" y="2333664"/>
                </a:lnTo>
                <a:lnTo>
                  <a:pt x="6220934" y="2337020"/>
                </a:lnTo>
                <a:lnTo>
                  <a:pt x="6225600" y="2339077"/>
                </a:lnTo>
                <a:lnTo>
                  <a:pt x="6225600" y="2339076"/>
                </a:lnTo>
                <a:lnTo>
                  <a:pt x="6220934" y="2337019"/>
                </a:lnTo>
                <a:close/>
                <a:moveTo>
                  <a:pt x="5594250" y="2332472"/>
                </a:moveTo>
                <a:lnTo>
                  <a:pt x="5592160" y="2333982"/>
                </a:lnTo>
                <a:lnTo>
                  <a:pt x="5594251" y="2332472"/>
                </a:lnTo>
                <a:close/>
                <a:moveTo>
                  <a:pt x="3619896" y="2332257"/>
                </a:moveTo>
                <a:lnTo>
                  <a:pt x="3620222" y="2337995"/>
                </a:lnTo>
                <a:lnTo>
                  <a:pt x="3615122" y="2345141"/>
                </a:lnTo>
                <a:lnTo>
                  <a:pt x="3610022" y="2346549"/>
                </a:lnTo>
                <a:lnTo>
                  <a:pt x="3606984" y="2345682"/>
                </a:lnTo>
                <a:lnTo>
                  <a:pt x="3612192" y="2339294"/>
                </a:lnTo>
                <a:lnTo>
                  <a:pt x="3612518" y="2336046"/>
                </a:lnTo>
                <a:close/>
                <a:moveTo>
                  <a:pt x="6966118" y="2330524"/>
                </a:moveTo>
                <a:lnTo>
                  <a:pt x="6968180" y="2335396"/>
                </a:lnTo>
                <a:lnTo>
                  <a:pt x="6965900" y="2338320"/>
                </a:lnTo>
                <a:lnTo>
                  <a:pt x="6965791" y="2342434"/>
                </a:lnTo>
                <a:lnTo>
                  <a:pt x="6959932" y="2346006"/>
                </a:lnTo>
                <a:lnTo>
                  <a:pt x="6959715" y="2350338"/>
                </a:lnTo>
                <a:lnTo>
                  <a:pt x="6957328" y="2351204"/>
                </a:lnTo>
                <a:lnTo>
                  <a:pt x="6955483" y="2344816"/>
                </a:lnTo>
                <a:lnTo>
                  <a:pt x="6959932" y="2341676"/>
                </a:lnTo>
                <a:lnTo>
                  <a:pt x="6960583" y="2339510"/>
                </a:lnTo>
                <a:lnTo>
                  <a:pt x="6959607" y="2337778"/>
                </a:lnTo>
                <a:lnTo>
                  <a:pt x="6963730" y="2335396"/>
                </a:lnTo>
                <a:close/>
                <a:moveTo>
                  <a:pt x="6098092" y="2328791"/>
                </a:moveTo>
                <a:lnTo>
                  <a:pt x="6097008" y="2328899"/>
                </a:lnTo>
                <a:lnTo>
                  <a:pt x="6097008" y="2328899"/>
                </a:lnTo>
                <a:lnTo>
                  <a:pt x="6098093" y="2328791"/>
                </a:lnTo>
                <a:lnTo>
                  <a:pt x="6098093" y="2328791"/>
                </a:lnTo>
                <a:close/>
                <a:moveTo>
                  <a:pt x="6043075" y="2326626"/>
                </a:moveTo>
                <a:lnTo>
                  <a:pt x="6037757" y="2337128"/>
                </a:lnTo>
                <a:lnTo>
                  <a:pt x="6035562" y="2338198"/>
                </a:lnTo>
                <a:lnTo>
                  <a:pt x="6037758" y="2337128"/>
                </a:lnTo>
                <a:close/>
                <a:moveTo>
                  <a:pt x="3529612" y="2325328"/>
                </a:moveTo>
                <a:cubicBezTo>
                  <a:pt x="3530769" y="2325852"/>
                  <a:pt x="3531861" y="2326506"/>
                  <a:pt x="3532868" y="2327277"/>
                </a:cubicBezTo>
                <a:lnTo>
                  <a:pt x="3532325" y="2334205"/>
                </a:lnTo>
                <a:cubicBezTo>
                  <a:pt x="3532325" y="2334205"/>
                  <a:pt x="3529612" y="2336046"/>
                  <a:pt x="3529612" y="2336046"/>
                </a:cubicBezTo>
                <a:lnTo>
                  <a:pt x="3529612" y="2330741"/>
                </a:lnTo>
                <a:lnTo>
                  <a:pt x="3528093" y="2328034"/>
                </a:lnTo>
                <a:cubicBezTo>
                  <a:pt x="3528093" y="2328034"/>
                  <a:pt x="3528744" y="2325328"/>
                  <a:pt x="3529612" y="2325328"/>
                </a:cubicBezTo>
                <a:close/>
                <a:moveTo>
                  <a:pt x="3755355" y="2325027"/>
                </a:moveTo>
                <a:lnTo>
                  <a:pt x="3751854" y="2329658"/>
                </a:lnTo>
                <a:lnTo>
                  <a:pt x="3740785" y="2337453"/>
                </a:lnTo>
                <a:lnTo>
                  <a:pt x="3740459" y="2357808"/>
                </a:lnTo>
                <a:lnTo>
                  <a:pt x="3740427" y="2357841"/>
                </a:lnTo>
                <a:lnTo>
                  <a:pt x="3740460" y="2357808"/>
                </a:lnTo>
                <a:lnTo>
                  <a:pt x="3740785" y="2337453"/>
                </a:lnTo>
                <a:lnTo>
                  <a:pt x="3751854" y="2329658"/>
                </a:lnTo>
                <a:close/>
                <a:moveTo>
                  <a:pt x="6084212" y="2324677"/>
                </a:moveTo>
                <a:lnTo>
                  <a:pt x="6080838" y="2325976"/>
                </a:lnTo>
                <a:lnTo>
                  <a:pt x="6080839" y="2325976"/>
                </a:lnTo>
                <a:close/>
                <a:moveTo>
                  <a:pt x="6228964" y="2324460"/>
                </a:moveTo>
                <a:lnTo>
                  <a:pt x="6224407" y="2328790"/>
                </a:lnTo>
                <a:lnTo>
                  <a:pt x="6224407" y="2328791"/>
                </a:lnTo>
                <a:lnTo>
                  <a:pt x="6228964" y="2324460"/>
                </a:lnTo>
                <a:close/>
                <a:moveTo>
                  <a:pt x="1685371" y="2319806"/>
                </a:moveTo>
                <a:lnTo>
                  <a:pt x="1682007" y="2324353"/>
                </a:lnTo>
                <a:lnTo>
                  <a:pt x="1676907" y="2330524"/>
                </a:lnTo>
                <a:lnTo>
                  <a:pt x="1674954" y="2331932"/>
                </a:lnTo>
                <a:lnTo>
                  <a:pt x="1680488" y="2323379"/>
                </a:lnTo>
                <a:close/>
                <a:moveTo>
                  <a:pt x="4165411" y="2319804"/>
                </a:moveTo>
                <a:lnTo>
                  <a:pt x="4165411" y="2319805"/>
                </a:lnTo>
                <a:lnTo>
                  <a:pt x="4165438" y="2320163"/>
                </a:lnTo>
                <a:close/>
                <a:moveTo>
                  <a:pt x="3627494" y="2319697"/>
                </a:moveTo>
                <a:lnTo>
                  <a:pt x="3631401" y="2322512"/>
                </a:lnTo>
                <a:lnTo>
                  <a:pt x="3626626" y="2323162"/>
                </a:lnTo>
                <a:lnTo>
                  <a:pt x="3621417" y="2326085"/>
                </a:lnTo>
                <a:lnTo>
                  <a:pt x="3623695" y="2319913"/>
                </a:lnTo>
                <a:close/>
                <a:moveTo>
                  <a:pt x="6062390" y="2318722"/>
                </a:moveTo>
                <a:lnTo>
                  <a:pt x="6060818" y="2318946"/>
                </a:lnTo>
                <a:lnTo>
                  <a:pt x="6062390" y="2318722"/>
                </a:lnTo>
                <a:close/>
                <a:moveTo>
                  <a:pt x="6229721" y="2318592"/>
                </a:moveTo>
                <a:lnTo>
                  <a:pt x="6227445" y="2319696"/>
                </a:lnTo>
                <a:lnTo>
                  <a:pt x="6227445" y="2319696"/>
                </a:lnTo>
                <a:close/>
                <a:moveTo>
                  <a:pt x="6231460" y="2317748"/>
                </a:moveTo>
                <a:lnTo>
                  <a:pt x="6231459" y="2317748"/>
                </a:lnTo>
                <a:lnTo>
                  <a:pt x="6236994" y="2320130"/>
                </a:lnTo>
                <a:lnTo>
                  <a:pt x="6240575" y="2318073"/>
                </a:lnTo>
                <a:lnTo>
                  <a:pt x="6246109" y="2318289"/>
                </a:lnTo>
                <a:lnTo>
                  <a:pt x="6246109" y="2318289"/>
                </a:lnTo>
                <a:lnTo>
                  <a:pt x="6240575" y="2318072"/>
                </a:lnTo>
                <a:lnTo>
                  <a:pt x="6236994" y="2320129"/>
                </a:lnTo>
                <a:close/>
                <a:moveTo>
                  <a:pt x="6120012" y="2317748"/>
                </a:moveTo>
                <a:lnTo>
                  <a:pt x="6116432" y="2320346"/>
                </a:lnTo>
                <a:lnTo>
                  <a:pt x="6114044" y="2326192"/>
                </a:lnTo>
                <a:lnTo>
                  <a:pt x="6114045" y="2326192"/>
                </a:lnTo>
                <a:lnTo>
                  <a:pt x="6116433" y="2320345"/>
                </a:lnTo>
                <a:close/>
                <a:moveTo>
                  <a:pt x="5045707" y="2317236"/>
                </a:moveTo>
                <a:lnTo>
                  <a:pt x="5054053" y="2319805"/>
                </a:lnTo>
                <a:lnTo>
                  <a:pt x="5055464" y="2328575"/>
                </a:lnTo>
                <a:lnTo>
                  <a:pt x="5055465" y="2328574"/>
                </a:lnTo>
                <a:lnTo>
                  <a:pt x="5054054" y="2319805"/>
                </a:lnTo>
                <a:close/>
                <a:moveTo>
                  <a:pt x="3771496" y="2317079"/>
                </a:moveTo>
                <a:lnTo>
                  <a:pt x="3763465" y="2318722"/>
                </a:lnTo>
                <a:lnTo>
                  <a:pt x="3757824" y="2322592"/>
                </a:lnTo>
                <a:lnTo>
                  <a:pt x="3763465" y="2318723"/>
                </a:lnTo>
                <a:close/>
                <a:moveTo>
                  <a:pt x="6123812" y="2315799"/>
                </a:moveTo>
                <a:lnTo>
                  <a:pt x="6123811" y="2315799"/>
                </a:lnTo>
                <a:lnTo>
                  <a:pt x="6123705" y="2318886"/>
                </a:lnTo>
                <a:close/>
                <a:moveTo>
                  <a:pt x="5962304" y="2313645"/>
                </a:moveTo>
                <a:lnTo>
                  <a:pt x="5958648" y="2317748"/>
                </a:lnTo>
                <a:lnTo>
                  <a:pt x="5953548" y="2319264"/>
                </a:lnTo>
                <a:lnTo>
                  <a:pt x="5950618" y="2321862"/>
                </a:lnTo>
                <a:lnTo>
                  <a:pt x="5943890" y="2318613"/>
                </a:lnTo>
                <a:lnTo>
                  <a:pt x="5939875" y="2319480"/>
                </a:lnTo>
                <a:lnTo>
                  <a:pt x="5937162" y="2313958"/>
                </a:lnTo>
                <a:lnTo>
                  <a:pt x="5937162" y="2313959"/>
                </a:lnTo>
                <a:lnTo>
                  <a:pt x="5939875" y="2319481"/>
                </a:lnTo>
                <a:lnTo>
                  <a:pt x="5943890" y="2318614"/>
                </a:lnTo>
                <a:lnTo>
                  <a:pt x="5950618" y="2321862"/>
                </a:lnTo>
                <a:lnTo>
                  <a:pt x="5953548" y="2319264"/>
                </a:lnTo>
                <a:lnTo>
                  <a:pt x="5958648" y="2317748"/>
                </a:lnTo>
                <a:close/>
                <a:moveTo>
                  <a:pt x="5962990" y="2312875"/>
                </a:moveTo>
                <a:lnTo>
                  <a:pt x="5962989" y="2312876"/>
                </a:lnTo>
                <a:lnTo>
                  <a:pt x="5971996" y="2313959"/>
                </a:lnTo>
                <a:lnTo>
                  <a:pt x="5977747" y="2316882"/>
                </a:lnTo>
                <a:lnTo>
                  <a:pt x="5979158" y="2322512"/>
                </a:lnTo>
                <a:lnTo>
                  <a:pt x="5986212" y="2325327"/>
                </a:lnTo>
                <a:lnTo>
                  <a:pt x="5991095" y="2331823"/>
                </a:lnTo>
                <a:lnTo>
                  <a:pt x="5995218" y="2332906"/>
                </a:lnTo>
                <a:lnTo>
                  <a:pt x="6001187" y="2330307"/>
                </a:lnTo>
                <a:lnTo>
                  <a:pt x="6003683" y="2331282"/>
                </a:lnTo>
                <a:lnTo>
                  <a:pt x="6010194" y="2329225"/>
                </a:lnTo>
                <a:lnTo>
                  <a:pt x="6014534" y="2329550"/>
                </a:lnTo>
                <a:lnTo>
                  <a:pt x="6016163" y="2334638"/>
                </a:lnTo>
                <a:lnTo>
                  <a:pt x="6016163" y="2334637"/>
                </a:lnTo>
                <a:lnTo>
                  <a:pt x="6014535" y="2329549"/>
                </a:lnTo>
                <a:lnTo>
                  <a:pt x="6010194" y="2329225"/>
                </a:lnTo>
                <a:lnTo>
                  <a:pt x="6003683" y="2331282"/>
                </a:lnTo>
                <a:lnTo>
                  <a:pt x="6001187" y="2330307"/>
                </a:lnTo>
                <a:lnTo>
                  <a:pt x="5995218" y="2332905"/>
                </a:lnTo>
                <a:lnTo>
                  <a:pt x="5991095" y="2331823"/>
                </a:lnTo>
                <a:lnTo>
                  <a:pt x="5986212" y="2325327"/>
                </a:lnTo>
                <a:lnTo>
                  <a:pt x="5979158" y="2322511"/>
                </a:lnTo>
                <a:lnTo>
                  <a:pt x="5977747" y="2316881"/>
                </a:lnTo>
                <a:lnTo>
                  <a:pt x="5971996" y="2313958"/>
                </a:lnTo>
                <a:close/>
                <a:moveTo>
                  <a:pt x="6130431" y="2309518"/>
                </a:moveTo>
                <a:lnTo>
                  <a:pt x="6130430" y="2309519"/>
                </a:lnTo>
                <a:lnTo>
                  <a:pt x="6128980" y="2313860"/>
                </a:lnTo>
                <a:close/>
                <a:moveTo>
                  <a:pt x="6213663" y="2306162"/>
                </a:moveTo>
                <a:lnTo>
                  <a:pt x="6211783" y="2308252"/>
                </a:lnTo>
                <a:lnTo>
                  <a:pt x="6213663" y="2306162"/>
                </a:lnTo>
                <a:close/>
                <a:moveTo>
                  <a:pt x="3819062" y="2305116"/>
                </a:moveTo>
                <a:lnTo>
                  <a:pt x="3806112" y="2312767"/>
                </a:lnTo>
                <a:lnTo>
                  <a:pt x="3796671" y="2314824"/>
                </a:lnTo>
                <a:lnTo>
                  <a:pt x="3792013" y="2314935"/>
                </a:lnTo>
                <a:lnTo>
                  <a:pt x="3796671" y="2314825"/>
                </a:lnTo>
                <a:lnTo>
                  <a:pt x="3806112" y="2312768"/>
                </a:lnTo>
                <a:close/>
                <a:moveTo>
                  <a:pt x="6979139" y="2303023"/>
                </a:moveTo>
                <a:lnTo>
                  <a:pt x="6982177" y="2305513"/>
                </a:lnTo>
                <a:lnTo>
                  <a:pt x="6983045" y="2309411"/>
                </a:lnTo>
                <a:lnTo>
                  <a:pt x="6981635" y="2310386"/>
                </a:lnTo>
                <a:lnTo>
                  <a:pt x="6978162" y="2307570"/>
                </a:lnTo>
                <a:lnTo>
                  <a:pt x="6977946" y="2304647"/>
                </a:lnTo>
                <a:close/>
                <a:moveTo>
                  <a:pt x="4806788" y="2302500"/>
                </a:moveTo>
                <a:lnTo>
                  <a:pt x="4803380" y="2303023"/>
                </a:lnTo>
                <a:lnTo>
                  <a:pt x="4786126" y="2319805"/>
                </a:lnTo>
                <a:lnTo>
                  <a:pt x="4786126" y="2319805"/>
                </a:lnTo>
                <a:lnTo>
                  <a:pt x="4803381" y="2303023"/>
                </a:lnTo>
                <a:close/>
                <a:moveTo>
                  <a:pt x="4163995" y="2301539"/>
                </a:moveTo>
                <a:lnTo>
                  <a:pt x="4165411" y="2304214"/>
                </a:lnTo>
                <a:lnTo>
                  <a:pt x="4165411" y="2304214"/>
                </a:lnTo>
                <a:close/>
                <a:moveTo>
                  <a:pt x="4160094" y="2296851"/>
                </a:moveTo>
                <a:lnTo>
                  <a:pt x="4160094" y="2296852"/>
                </a:lnTo>
                <a:lnTo>
                  <a:pt x="4162373" y="2298476"/>
                </a:lnTo>
                <a:lnTo>
                  <a:pt x="4162373" y="2298475"/>
                </a:lnTo>
                <a:close/>
                <a:moveTo>
                  <a:pt x="5825282" y="2295118"/>
                </a:moveTo>
                <a:lnTo>
                  <a:pt x="5820870" y="2301679"/>
                </a:lnTo>
                <a:lnTo>
                  <a:pt x="5825282" y="2295120"/>
                </a:lnTo>
                <a:close/>
                <a:moveTo>
                  <a:pt x="5039513" y="2291331"/>
                </a:moveTo>
                <a:lnTo>
                  <a:pt x="5039512" y="2291331"/>
                </a:lnTo>
                <a:lnTo>
                  <a:pt x="5034303" y="2303024"/>
                </a:lnTo>
                <a:lnTo>
                  <a:pt x="5028986" y="2312984"/>
                </a:lnTo>
                <a:lnTo>
                  <a:pt x="5028987" y="2312984"/>
                </a:lnTo>
                <a:lnTo>
                  <a:pt x="5034304" y="2303023"/>
                </a:lnTo>
                <a:close/>
                <a:moveTo>
                  <a:pt x="5364195" y="2291113"/>
                </a:moveTo>
                <a:lnTo>
                  <a:pt x="5364194" y="2291114"/>
                </a:lnTo>
                <a:lnTo>
                  <a:pt x="5376565" y="2307571"/>
                </a:lnTo>
                <a:lnTo>
                  <a:pt x="5379386" y="2313093"/>
                </a:lnTo>
                <a:lnTo>
                  <a:pt x="5385572" y="2319589"/>
                </a:lnTo>
                <a:lnTo>
                  <a:pt x="5391649" y="2322837"/>
                </a:lnTo>
                <a:lnTo>
                  <a:pt x="5393711" y="2325327"/>
                </a:lnTo>
                <a:lnTo>
                  <a:pt x="5401632" y="2325977"/>
                </a:lnTo>
                <a:lnTo>
                  <a:pt x="5406082" y="2327709"/>
                </a:lnTo>
                <a:lnTo>
                  <a:pt x="5406841" y="2330308"/>
                </a:lnTo>
                <a:lnTo>
                  <a:pt x="5413353" y="2330957"/>
                </a:lnTo>
                <a:lnTo>
                  <a:pt x="5413569" y="2339077"/>
                </a:lnTo>
                <a:lnTo>
                  <a:pt x="5415197" y="2344491"/>
                </a:lnTo>
                <a:lnTo>
                  <a:pt x="5415522" y="2351095"/>
                </a:lnTo>
                <a:lnTo>
                  <a:pt x="5416825" y="2355318"/>
                </a:lnTo>
                <a:lnTo>
                  <a:pt x="5422685" y="2354993"/>
                </a:lnTo>
                <a:lnTo>
                  <a:pt x="5428870" y="2359107"/>
                </a:lnTo>
                <a:lnTo>
                  <a:pt x="5429521" y="2368419"/>
                </a:lnTo>
                <a:lnTo>
                  <a:pt x="5429522" y="2368418"/>
                </a:lnTo>
                <a:lnTo>
                  <a:pt x="5428871" y="2359107"/>
                </a:lnTo>
                <a:lnTo>
                  <a:pt x="5422685" y="2354992"/>
                </a:lnTo>
                <a:lnTo>
                  <a:pt x="5416826" y="2355317"/>
                </a:lnTo>
                <a:lnTo>
                  <a:pt x="5415523" y="2351095"/>
                </a:lnTo>
                <a:lnTo>
                  <a:pt x="5415198" y="2344490"/>
                </a:lnTo>
                <a:lnTo>
                  <a:pt x="5413570" y="2339077"/>
                </a:lnTo>
                <a:lnTo>
                  <a:pt x="5413353" y="2330956"/>
                </a:lnTo>
                <a:lnTo>
                  <a:pt x="5406842" y="2330306"/>
                </a:lnTo>
                <a:lnTo>
                  <a:pt x="5406083" y="2327708"/>
                </a:lnTo>
                <a:lnTo>
                  <a:pt x="5401633" y="2325975"/>
                </a:lnTo>
                <a:lnTo>
                  <a:pt x="5393711" y="2325326"/>
                </a:lnTo>
                <a:lnTo>
                  <a:pt x="5391649" y="2322836"/>
                </a:lnTo>
                <a:lnTo>
                  <a:pt x="5385573" y="2319588"/>
                </a:lnTo>
                <a:lnTo>
                  <a:pt x="5379387" y="2313091"/>
                </a:lnTo>
                <a:lnTo>
                  <a:pt x="5376565" y="2307569"/>
                </a:lnTo>
                <a:lnTo>
                  <a:pt x="5364195" y="2291113"/>
                </a:lnTo>
                <a:close/>
                <a:moveTo>
                  <a:pt x="6202218" y="2290840"/>
                </a:moveTo>
                <a:lnTo>
                  <a:pt x="6201292" y="2292628"/>
                </a:lnTo>
                <a:lnTo>
                  <a:pt x="6201292" y="2292628"/>
                </a:lnTo>
                <a:close/>
                <a:moveTo>
                  <a:pt x="1545276" y="2290247"/>
                </a:moveTo>
                <a:lnTo>
                  <a:pt x="1543851" y="2290654"/>
                </a:lnTo>
                <a:lnTo>
                  <a:pt x="1545276" y="2290248"/>
                </a:lnTo>
                <a:close/>
                <a:moveTo>
                  <a:pt x="6153328" y="2289922"/>
                </a:moveTo>
                <a:lnTo>
                  <a:pt x="6153327" y="2289922"/>
                </a:lnTo>
                <a:lnTo>
                  <a:pt x="6153762" y="2295011"/>
                </a:lnTo>
                <a:lnTo>
                  <a:pt x="6151445" y="2297877"/>
                </a:lnTo>
                <a:lnTo>
                  <a:pt x="6153763" y="2295010"/>
                </a:lnTo>
                <a:close/>
                <a:moveTo>
                  <a:pt x="5654458" y="2288829"/>
                </a:moveTo>
                <a:lnTo>
                  <a:pt x="5652524" y="2291545"/>
                </a:lnTo>
                <a:lnTo>
                  <a:pt x="5652129" y="2294380"/>
                </a:lnTo>
                <a:lnTo>
                  <a:pt x="5652524" y="2291546"/>
                </a:lnTo>
                <a:close/>
                <a:moveTo>
                  <a:pt x="4760407" y="2286783"/>
                </a:moveTo>
                <a:lnTo>
                  <a:pt x="4758562" y="2292737"/>
                </a:lnTo>
                <a:lnTo>
                  <a:pt x="4758562" y="2298151"/>
                </a:lnTo>
                <a:lnTo>
                  <a:pt x="4756283" y="2300533"/>
                </a:lnTo>
                <a:lnTo>
                  <a:pt x="4756478" y="2303351"/>
                </a:lnTo>
                <a:lnTo>
                  <a:pt x="4756284" y="2300533"/>
                </a:lnTo>
                <a:lnTo>
                  <a:pt x="4758563" y="2298151"/>
                </a:lnTo>
                <a:lnTo>
                  <a:pt x="4758563" y="2292738"/>
                </a:lnTo>
                <a:close/>
                <a:moveTo>
                  <a:pt x="1519015" y="2286133"/>
                </a:moveTo>
                <a:lnTo>
                  <a:pt x="1523898" y="2288624"/>
                </a:lnTo>
                <a:lnTo>
                  <a:pt x="1524550" y="2290248"/>
                </a:lnTo>
                <a:lnTo>
                  <a:pt x="1528565" y="2291547"/>
                </a:lnTo>
                <a:lnTo>
                  <a:pt x="1533339" y="2294037"/>
                </a:lnTo>
                <a:lnTo>
                  <a:pt x="1534750" y="2295661"/>
                </a:lnTo>
                <a:lnTo>
                  <a:pt x="1536812" y="2295986"/>
                </a:lnTo>
                <a:lnTo>
                  <a:pt x="1536812" y="2295986"/>
                </a:lnTo>
                <a:lnTo>
                  <a:pt x="1534751" y="2295661"/>
                </a:lnTo>
                <a:lnTo>
                  <a:pt x="1533340" y="2294037"/>
                </a:lnTo>
                <a:lnTo>
                  <a:pt x="1528565" y="2291547"/>
                </a:lnTo>
                <a:lnTo>
                  <a:pt x="1524550" y="2290247"/>
                </a:lnTo>
                <a:lnTo>
                  <a:pt x="1523899" y="2288624"/>
                </a:lnTo>
                <a:lnTo>
                  <a:pt x="1519016" y="2286133"/>
                </a:lnTo>
                <a:close/>
                <a:moveTo>
                  <a:pt x="6162117" y="2285375"/>
                </a:moveTo>
                <a:lnTo>
                  <a:pt x="6161319" y="2285944"/>
                </a:lnTo>
                <a:lnTo>
                  <a:pt x="6162117" y="2285375"/>
                </a:lnTo>
                <a:close/>
                <a:moveTo>
                  <a:pt x="5490470" y="2284256"/>
                </a:moveTo>
                <a:lnTo>
                  <a:pt x="5489640" y="2287648"/>
                </a:lnTo>
                <a:lnTo>
                  <a:pt x="5489641" y="2287648"/>
                </a:lnTo>
                <a:close/>
                <a:moveTo>
                  <a:pt x="4170077" y="2283209"/>
                </a:moveTo>
                <a:lnTo>
                  <a:pt x="4166387" y="2285482"/>
                </a:lnTo>
                <a:lnTo>
                  <a:pt x="4164977" y="2286782"/>
                </a:lnTo>
                <a:lnTo>
                  <a:pt x="4162048" y="2286782"/>
                </a:lnTo>
                <a:lnTo>
                  <a:pt x="4162048" y="2286782"/>
                </a:lnTo>
                <a:lnTo>
                  <a:pt x="4164977" y="2286782"/>
                </a:lnTo>
                <a:lnTo>
                  <a:pt x="4166387" y="2285483"/>
                </a:lnTo>
                <a:close/>
                <a:moveTo>
                  <a:pt x="5826621" y="2282641"/>
                </a:moveTo>
                <a:lnTo>
                  <a:pt x="5825282" y="2287107"/>
                </a:lnTo>
                <a:lnTo>
                  <a:pt x="5825282" y="2287108"/>
                </a:lnTo>
                <a:close/>
                <a:moveTo>
                  <a:pt x="6997371" y="2282344"/>
                </a:moveTo>
                <a:lnTo>
                  <a:pt x="6994658" y="2286999"/>
                </a:lnTo>
                <a:lnTo>
                  <a:pt x="6990316" y="2289923"/>
                </a:lnTo>
                <a:lnTo>
                  <a:pt x="6990100" y="2292846"/>
                </a:lnTo>
                <a:lnTo>
                  <a:pt x="6988906" y="2294254"/>
                </a:lnTo>
                <a:lnTo>
                  <a:pt x="6986953" y="2292629"/>
                </a:lnTo>
                <a:lnTo>
                  <a:pt x="6983046" y="2292521"/>
                </a:lnTo>
                <a:lnTo>
                  <a:pt x="6981744" y="2291438"/>
                </a:lnTo>
                <a:lnTo>
                  <a:pt x="6983480" y="2288082"/>
                </a:lnTo>
                <a:lnTo>
                  <a:pt x="6987603" y="2286242"/>
                </a:lnTo>
                <a:lnTo>
                  <a:pt x="6988906" y="2285809"/>
                </a:lnTo>
                <a:lnTo>
                  <a:pt x="6989775" y="2284401"/>
                </a:lnTo>
                <a:lnTo>
                  <a:pt x="6992379" y="2284185"/>
                </a:lnTo>
                <a:lnTo>
                  <a:pt x="6993898" y="2283210"/>
                </a:lnTo>
                <a:close/>
                <a:moveTo>
                  <a:pt x="1548872" y="2281671"/>
                </a:moveTo>
                <a:lnTo>
                  <a:pt x="1547447" y="2284292"/>
                </a:lnTo>
                <a:lnTo>
                  <a:pt x="1545385" y="2286999"/>
                </a:lnTo>
                <a:lnTo>
                  <a:pt x="1547447" y="2284293"/>
                </a:lnTo>
                <a:close/>
                <a:moveTo>
                  <a:pt x="6194021" y="2280069"/>
                </a:moveTo>
                <a:lnTo>
                  <a:pt x="6183712" y="2286132"/>
                </a:lnTo>
                <a:lnTo>
                  <a:pt x="6184363" y="2290355"/>
                </a:lnTo>
                <a:lnTo>
                  <a:pt x="6183550" y="2291133"/>
                </a:lnTo>
                <a:lnTo>
                  <a:pt x="6184364" y="2290354"/>
                </a:lnTo>
                <a:lnTo>
                  <a:pt x="6183713" y="2286132"/>
                </a:lnTo>
                <a:close/>
                <a:moveTo>
                  <a:pt x="5488772" y="2278553"/>
                </a:moveTo>
                <a:lnTo>
                  <a:pt x="5488772" y="2278554"/>
                </a:lnTo>
                <a:lnTo>
                  <a:pt x="5490726" y="2283209"/>
                </a:lnTo>
                <a:lnTo>
                  <a:pt x="5490726" y="2283209"/>
                </a:lnTo>
                <a:close/>
                <a:moveTo>
                  <a:pt x="1506425" y="2277175"/>
                </a:moveTo>
                <a:lnTo>
                  <a:pt x="1506318" y="2278446"/>
                </a:lnTo>
                <a:lnTo>
                  <a:pt x="1507730" y="2278446"/>
                </a:lnTo>
                <a:lnTo>
                  <a:pt x="1509683" y="2280395"/>
                </a:lnTo>
                <a:lnTo>
                  <a:pt x="1511202" y="2280287"/>
                </a:lnTo>
                <a:lnTo>
                  <a:pt x="1513481" y="2281261"/>
                </a:lnTo>
                <a:lnTo>
                  <a:pt x="1514349" y="2282993"/>
                </a:lnTo>
                <a:lnTo>
                  <a:pt x="1514674" y="2284509"/>
                </a:lnTo>
                <a:lnTo>
                  <a:pt x="1516302" y="2286133"/>
                </a:lnTo>
                <a:lnTo>
                  <a:pt x="1516303" y="2286133"/>
                </a:lnTo>
                <a:lnTo>
                  <a:pt x="1514675" y="2284509"/>
                </a:lnTo>
                <a:lnTo>
                  <a:pt x="1514350" y="2282993"/>
                </a:lnTo>
                <a:lnTo>
                  <a:pt x="1513481" y="2281261"/>
                </a:lnTo>
                <a:lnTo>
                  <a:pt x="1511202" y="2280286"/>
                </a:lnTo>
                <a:lnTo>
                  <a:pt x="1509683" y="2280394"/>
                </a:lnTo>
                <a:lnTo>
                  <a:pt x="1507730" y="2278446"/>
                </a:lnTo>
                <a:lnTo>
                  <a:pt x="1506319" y="2278446"/>
                </a:lnTo>
                <a:close/>
                <a:moveTo>
                  <a:pt x="4174201" y="2276821"/>
                </a:moveTo>
                <a:lnTo>
                  <a:pt x="4173799" y="2277376"/>
                </a:lnTo>
                <a:lnTo>
                  <a:pt x="4174201" y="2276821"/>
                </a:lnTo>
                <a:close/>
                <a:moveTo>
                  <a:pt x="4520477" y="2276713"/>
                </a:moveTo>
                <a:lnTo>
                  <a:pt x="4517114" y="2284941"/>
                </a:lnTo>
                <a:lnTo>
                  <a:pt x="4514292" y="2292521"/>
                </a:lnTo>
                <a:lnTo>
                  <a:pt x="4517114" y="2284942"/>
                </a:lnTo>
                <a:lnTo>
                  <a:pt x="4520477" y="2276713"/>
                </a:lnTo>
                <a:close/>
                <a:moveTo>
                  <a:pt x="5060239" y="2275739"/>
                </a:moveTo>
                <a:lnTo>
                  <a:pt x="5060239" y="2275740"/>
                </a:lnTo>
                <a:lnTo>
                  <a:pt x="5062304" y="2277166"/>
                </a:lnTo>
                <a:close/>
                <a:moveTo>
                  <a:pt x="1556128" y="2274440"/>
                </a:moveTo>
                <a:lnTo>
                  <a:pt x="1556128" y="2274440"/>
                </a:lnTo>
                <a:lnTo>
                  <a:pt x="1557972" y="2274873"/>
                </a:lnTo>
                <a:lnTo>
                  <a:pt x="1558407" y="2275523"/>
                </a:lnTo>
                <a:lnTo>
                  <a:pt x="1560252" y="2275198"/>
                </a:lnTo>
                <a:lnTo>
                  <a:pt x="1558408" y="2275522"/>
                </a:lnTo>
                <a:lnTo>
                  <a:pt x="1557973" y="2274873"/>
                </a:lnTo>
                <a:close/>
                <a:moveTo>
                  <a:pt x="1580544" y="2274332"/>
                </a:moveTo>
                <a:lnTo>
                  <a:pt x="1578879" y="2274619"/>
                </a:lnTo>
                <a:lnTo>
                  <a:pt x="1580544" y="2274332"/>
                </a:lnTo>
                <a:lnTo>
                  <a:pt x="1583691" y="2275956"/>
                </a:lnTo>
                <a:lnTo>
                  <a:pt x="1585753" y="2279529"/>
                </a:lnTo>
                <a:lnTo>
                  <a:pt x="1590419" y="2283318"/>
                </a:lnTo>
                <a:lnTo>
                  <a:pt x="1594109" y="2289057"/>
                </a:lnTo>
                <a:lnTo>
                  <a:pt x="1595954" y="2294037"/>
                </a:lnTo>
                <a:lnTo>
                  <a:pt x="1597256" y="2296095"/>
                </a:lnTo>
                <a:lnTo>
                  <a:pt x="1597798" y="2299775"/>
                </a:lnTo>
                <a:lnTo>
                  <a:pt x="1598124" y="2305405"/>
                </a:lnTo>
                <a:lnTo>
                  <a:pt x="1600728" y="2306705"/>
                </a:lnTo>
                <a:lnTo>
                  <a:pt x="1601922" y="2309953"/>
                </a:lnTo>
                <a:lnTo>
                  <a:pt x="1605068" y="2318614"/>
                </a:lnTo>
                <a:lnTo>
                  <a:pt x="1607022" y="2319914"/>
                </a:lnTo>
                <a:lnTo>
                  <a:pt x="1608107" y="2322946"/>
                </a:lnTo>
                <a:lnTo>
                  <a:pt x="1611797" y="2325003"/>
                </a:lnTo>
                <a:lnTo>
                  <a:pt x="1612882" y="2329550"/>
                </a:lnTo>
                <a:lnTo>
                  <a:pt x="1615161" y="2333556"/>
                </a:lnTo>
                <a:lnTo>
                  <a:pt x="1619176" y="2337670"/>
                </a:lnTo>
                <a:lnTo>
                  <a:pt x="1618742" y="2342001"/>
                </a:lnTo>
                <a:lnTo>
                  <a:pt x="1618308" y="2346332"/>
                </a:lnTo>
                <a:lnTo>
                  <a:pt x="1618199" y="2347631"/>
                </a:lnTo>
                <a:lnTo>
                  <a:pt x="1618634" y="2349039"/>
                </a:lnTo>
                <a:lnTo>
                  <a:pt x="1623408" y="2363005"/>
                </a:lnTo>
                <a:lnTo>
                  <a:pt x="1623191" y="2369177"/>
                </a:lnTo>
                <a:lnTo>
                  <a:pt x="1625253" y="2371558"/>
                </a:lnTo>
                <a:lnTo>
                  <a:pt x="1625795" y="2372209"/>
                </a:lnTo>
                <a:lnTo>
                  <a:pt x="1628617" y="2373291"/>
                </a:lnTo>
                <a:lnTo>
                  <a:pt x="1628618" y="2373291"/>
                </a:lnTo>
                <a:lnTo>
                  <a:pt x="1625796" y="2372208"/>
                </a:lnTo>
                <a:lnTo>
                  <a:pt x="1625254" y="2371558"/>
                </a:lnTo>
                <a:lnTo>
                  <a:pt x="1623192" y="2369177"/>
                </a:lnTo>
                <a:lnTo>
                  <a:pt x="1623409" y="2363005"/>
                </a:lnTo>
                <a:lnTo>
                  <a:pt x="1618634" y="2349038"/>
                </a:lnTo>
                <a:lnTo>
                  <a:pt x="1618200" y="2347631"/>
                </a:lnTo>
                <a:lnTo>
                  <a:pt x="1618308" y="2346332"/>
                </a:lnTo>
                <a:lnTo>
                  <a:pt x="1618742" y="2342001"/>
                </a:lnTo>
                <a:lnTo>
                  <a:pt x="1619176" y="2337670"/>
                </a:lnTo>
                <a:lnTo>
                  <a:pt x="1615161" y="2333556"/>
                </a:lnTo>
                <a:lnTo>
                  <a:pt x="1612883" y="2329550"/>
                </a:lnTo>
                <a:lnTo>
                  <a:pt x="1611798" y="2325003"/>
                </a:lnTo>
                <a:lnTo>
                  <a:pt x="1608108" y="2322945"/>
                </a:lnTo>
                <a:lnTo>
                  <a:pt x="1607023" y="2319914"/>
                </a:lnTo>
                <a:lnTo>
                  <a:pt x="1605069" y="2318614"/>
                </a:lnTo>
                <a:lnTo>
                  <a:pt x="1601922" y="2309953"/>
                </a:lnTo>
                <a:lnTo>
                  <a:pt x="1600729" y="2306705"/>
                </a:lnTo>
                <a:lnTo>
                  <a:pt x="1598124" y="2305405"/>
                </a:lnTo>
                <a:lnTo>
                  <a:pt x="1597799" y="2299775"/>
                </a:lnTo>
                <a:lnTo>
                  <a:pt x="1597256" y="2296094"/>
                </a:lnTo>
                <a:lnTo>
                  <a:pt x="1595954" y="2294037"/>
                </a:lnTo>
                <a:lnTo>
                  <a:pt x="1594109" y="2289057"/>
                </a:lnTo>
                <a:lnTo>
                  <a:pt x="1590420" y="2283318"/>
                </a:lnTo>
                <a:lnTo>
                  <a:pt x="1585754" y="2279528"/>
                </a:lnTo>
                <a:lnTo>
                  <a:pt x="1583692" y="2275955"/>
                </a:lnTo>
                <a:close/>
                <a:moveTo>
                  <a:pt x="1505342" y="2273790"/>
                </a:moveTo>
                <a:lnTo>
                  <a:pt x="1506427" y="2277147"/>
                </a:lnTo>
                <a:lnTo>
                  <a:pt x="1506427" y="2277147"/>
                </a:lnTo>
                <a:close/>
                <a:moveTo>
                  <a:pt x="4174902" y="2273778"/>
                </a:moveTo>
                <a:lnTo>
                  <a:pt x="4173984" y="2274764"/>
                </a:lnTo>
                <a:lnTo>
                  <a:pt x="4174189" y="2276708"/>
                </a:lnTo>
                <a:lnTo>
                  <a:pt x="4173984" y="2274764"/>
                </a:lnTo>
                <a:close/>
                <a:moveTo>
                  <a:pt x="5871650" y="2273497"/>
                </a:moveTo>
                <a:lnTo>
                  <a:pt x="5874874" y="2275740"/>
                </a:lnTo>
                <a:lnTo>
                  <a:pt x="5881927" y="2283210"/>
                </a:lnTo>
                <a:lnTo>
                  <a:pt x="5887461" y="2283318"/>
                </a:lnTo>
                <a:lnTo>
                  <a:pt x="5892671" y="2285917"/>
                </a:lnTo>
                <a:lnTo>
                  <a:pt x="5894624" y="2289057"/>
                </a:lnTo>
                <a:lnTo>
                  <a:pt x="5898856" y="2294037"/>
                </a:lnTo>
                <a:lnTo>
                  <a:pt x="5900918" y="2299126"/>
                </a:lnTo>
                <a:lnTo>
                  <a:pt x="5903305" y="2298151"/>
                </a:lnTo>
                <a:lnTo>
                  <a:pt x="5903848" y="2291114"/>
                </a:lnTo>
                <a:lnTo>
                  <a:pt x="5906669" y="2288515"/>
                </a:lnTo>
                <a:lnTo>
                  <a:pt x="5908297" y="2290572"/>
                </a:lnTo>
                <a:lnTo>
                  <a:pt x="5913289" y="2290572"/>
                </a:lnTo>
                <a:lnTo>
                  <a:pt x="5918389" y="2293604"/>
                </a:lnTo>
                <a:lnTo>
                  <a:pt x="5919040" y="2300208"/>
                </a:lnTo>
                <a:lnTo>
                  <a:pt x="5924900" y="2305405"/>
                </a:lnTo>
                <a:lnTo>
                  <a:pt x="5932496" y="2303348"/>
                </a:lnTo>
                <a:lnTo>
                  <a:pt x="5938573" y="2304106"/>
                </a:lnTo>
                <a:lnTo>
                  <a:pt x="5938573" y="2304105"/>
                </a:lnTo>
                <a:lnTo>
                  <a:pt x="5932496" y="2303348"/>
                </a:lnTo>
                <a:lnTo>
                  <a:pt x="5924900" y="2305405"/>
                </a:lnTo>
                <a:lnTo>
                  <a:pt x="5919040" y="2300208"/>
                </a:lnTo>
                <a:lnTo>
                  <a:pt x="5918389" y="2293603"/>
                </a:lnTo>
                <a:lnTo>
                  <a:pt x="5913289" y="2290571"/>
                </a:lnTo>
                <a:lnTo>
                  <a:pt x="5908297" y="2290571"/>
                </a:lnTo>
                <a:lnTo>
                  <a:pt x="5906669" y="2288514"/>
                </a:lnTo>
                <a:lnTo>
                  <a:pt x="5903848" y="2291113"/>
                </a:lnTo>
                <a:lnTo>
                  <a:pt x="5903305" y="2298150"/>
                </a:lnTo>
                <a:lnTo>
                  <a:pt x="5900918" y="2299125"/>
                </a:lnTo>
                <a:lnTo>
                  <a:pt x="5898856" y="2294036"/>
                </a:lnTo>
                <a:lnTo>
                  <a:pt x="5894624" y="2289056"/>
                </a:lnTo>
                <a:lnTo>
                  <a:pt x="5892671" y="2285916"/>
                </a:lnTo>
                <a:lnTo>
                  <a:pt x="5887461" y="2283318"/>
                </a:lnTo>
                <a:lnTo>
                  <a:pt x="5881927" y="2283209"/>
                </a:lnTo>
                <a:lnTo>
                  <a:pt x="5874874" y="2275738"/>
                </a:lnTo>
                <a:close/>
                <a:moveTo>
                  <a:pt x="1574576" y="2272599"/>
                </a:moveTo>
                <a:lnTo>
                  <a:pt x="1570835" y="2272955"/>
                </a:lnTo>
                <a:lnTo>
                  <a:pt x="1574576" y="2272600"/>
                </a:lnTo>
                <a:lnTo>
                  <a:pt x="1576421" y="2273574"/>
                </a:lnTo>
                <a:lnTo>
                  <a:pt x="1577397" y="2274873"/>
                </a:lnTo>
                <a:lnTo>
                  <a:pt x="1577398" y="2274873"/>
                </a:lnTo>
                <a:lnTo>
                  <a:pt x="1576421" y="2273574"/>
                </a:lnTo>
                <a:close/>
                <a:moveTo>
                  <a:pt x="1561663" y="2272383"/>
                </a:moveTo>
                <a:lnTo>
                  <a:pt x="1561663" y="2272383"/>
                </a:lnTo>
                <a:lnTo>
                  <a:pt x="1566003" y="2272383"/>
                </a:lnTo>
                <a:lnTo>
                  <a:pt x="1570018" y="2273032"/>
                </a:lnTo>
                <a:lnTo>
                  <a:pt x="1570018" y="2273032"/>
                </a:lnTo>
                <a:lnTo>
                  <a:pt x="1566004" y="2272383"/>
                </a:lnTo>
                <a:close/>
                <a:moveTo>
                  <a:pt x="3869452" y="2271109"/>
                </a:moveTo>
                <a:lnTo>
                  <a:pt x="3867641" y="2275198"/>
                </a:lnTo>
                <a:lnTo>
                  <a:pt x="3857711" y="2281997"/>
                </a:lnTo>
                <a:lnTo>
                  <a:pt x="3867642" y="2275197"/>
                </a:lnTo>
                <a:close/>
                <a:moveTo>
                  <a:pt x="5665944" y="2268303"/>
                </a:moveTo>
                <a:lnTo>
                  <a:pt x="5668042" y="2269892"/>
                </a:lnTo>
                <a:lnTo>
                  <a:pt x="5668043" y="2269945"/>
                </a:lnTo>
                <a:lnTo>
                  <a:pt x="5668042" y="2269891"/>
                </a:lnTo>
                <a:close/>
                <a:moveTo>
                  <a:pt x="5829405" y="2264803"/>
                </a:moveTo>
                <a:lnTo>
                  <a:pt x="5828428" y="2266210"/>
                </a:lnTo>
                <a:lnTo>
                  <a:pt x="5828104" y="2266643"/>
                </a:lnTo>
                <a:lnTo>
                  <a:pt x="5828104" y="2266644"/>
                </a:lnTo>
                <a:lnTo>
                  <a:pt x="5828429" y="2266210"/>
                </a:lnTo>
                <a:lnTo>
                  <a:pt x="5828429" y="2266210"/>
                </a:lnTo>
                <a:lnTo>
                  <a:pt x="5829405" y="2264804"/>
                </a:lnTo>
                <a:lnTo>
                  <a:pt x="5836459" y="2268377"/>
                </a:lnTo>
                <a:lnTo>
                  <a:pt x="5838195" y="2270975"/>
                </a:lnTo>
                <a:lnTo>
                  <a:pt x="5843079" y="2270759"/>
                </a:lnTo>
                <a:lnTo>
                  <a:pt x="5845574" y="2271950"/>
                </a:lnTo>
                <a:lnTo>
                  <a:pt x="5848613" y="2267728"/>
                </a:lnTo>
                <a:lnTo>
                  <a:pt x="5854473" y="2267186"/>
                </a:lnTo>
                <a:lnTo>
                  <a:pt x="5863153" y="2270434"/>
                </a:lnTo>
                <a:lnTo>
                  <a:pt x="5865650" y="2272924"/>
                </a:lnTo>
                <a:lnTo>
                  <a:pt x="5871293" y="2273249"/>
                </a:lnTo>
                <a:lnTo>
                  <a:pt x="5871292" y="2273248"/>
                </a:lnTo>
                <a:lnTo>
                  <a:pt x="5865650" y="2272924"/>
                </a:lnTo>
                <a:lnTo>
                  <a:pt x="5863154" y="2270434"/>
                </a:lnTo>
                <a:lnTo>
                  <a:pt x="5854472" y="2267185"/>
                </a:lnTo>
                <a:lnTo>
                  <a:pt x="5848613" y="2267726"/>
                </a:lnTo>
                <a:lnTo>
                  <a:pt x="5845574" y="2271949"/>
                </a:lnTo>
                <a:lnTo>
                  <a:pt x="5843079" y="2270758"/>
                </a:lnTo>
                <a:lnTo>
                  <a:pt x="5838195" y="2270975"/>
                </a:lnTo>
                <a:lnTo>
                  <a:pt x="5836459" y="2268376"/>
                </a:lnTo>
                <a:close/>
                <a:moveTo>
                  <a:pt x="4762689" y="2264640"/>
                </a:moveTo>
                <a:lnTo>
                  <a:pt x="4762903" y="2268268"/>
                </a:lnTo>
                <a:lnTo>
                  <a:pt x="4761818" y="2273574"/>
                </a:lnTo>
                <a:lnTo>
                  <a:pt x="4761818" y="2278770"/>
                </a:lnTo>
                <a:lnTo>
                  <a:pt x="4760299" y="2279745"/>
                </a:lnTo>
                <a:lnTo>
                  <a:pt x="4760299" y="2279745"/>
                </a:lnTo>
                <a:lnTo>
                  <a:pt x="4761818" y="2278771"/>
                </a:lnTo>
                <a:lnTo>
                  <a:pt x="4761818" y="2273574"/>
                </a:lnTo>
                <a:lnTo>
                  <a:pt x="4762904" y="2268269"/>
                </a:lnTo>
                <a:close/>
                <a:moveTo>
                  <a:pt x="4762687" y="2264582"/>
                </a:moveTo>
                <a:lnTo>
                  <a:pt x="4762686" y="2264587"/>
                </a:lnTo>
                <a:lnTo>
                  <a:pt x="4762686" y="2264587"/>
                </a:lnTo>
                <a:close/>
                <a:moveTo>
                  <a:pt x="5384053" y="2263721"/>
                </a:moveTo>
                <a:lnTo>
                  <a:pt x="5382099" y="2266645"/>
                </a:lnTo>
                <a:lnTo>
                  <a:pt x="5364199" y="2291107"/>
                </a:lnTo>
                <a:lnTo>
                  <a:pt x="5364196" y="2291112"/>
                </a:lnTo>
                <a:lnTo>
                  <a:pt x="5364198" y="2291109"/>
                </a:lnTo>
                <a:lnTo>
                  <a:pt x="5364199" y="2291107"/>
                </a:lnTo>
                <a:lnTo>
                  <a:pt x="5381868" y="2266963"/>
                </a:lnTo>
                <a:lnTo>
                  <a:pt x="5382100" y="2266644"/>
                </a:lnTo>
                <a:lnTo>
                  <a:pt x="5384053" y="2263721"/>
                </a:lnTo>
                <a:close/>
                <a:moveTo>
                  <a:pt x="5668313" y="2263720"/>
                </a:moveTo>
                <a:lnTo>
                  <a:pt x="5664895" y="2267509"/>
                </a:lnTo>
                <a:lnTo>
                  <a:pt x="5664895" y="2267509"/>
                </a:lnTo>
                <a:close/>
                <a:moveTo>
                  <a:pt x="1501224" y="2262152"/>
                </a:moveTo>
                <a:lnTo>
                  <a:pt x="1500675" y="2262530"/>
                </a:lnTo>
                <a:lnTo>
                  <a:pt x="1497962" y="2263288"/>
                </a:lnTo>
                <a:lnTo>
                  <a:pt x="1497962" y="2265020"/>
                </a:lnTo>
                <a:lnTo>
                  <a:pt x="1502087" y="2269892"/>
                </a:lnTo>
                <a:lnTo>
                  <a:pt x="1497963" y="2265020"/>
                </a:lnTo>
                <a:lnTo>
                  <a:pt x="1497963" y="2263288"/>
                </a:lnTo>
                <a:lnTo>
                  <a:pt x="1500676" y="2262530"/>
                </a:lnTo>
                <a:close/>
                <a:moveTo>
                  <a:pt x="5487036" y="2259282"/>
                </a:moveTo>
                <a:lnTo>
                  <a:pt x="5487469" y="2265778"/>
                </a:lnTo>
                <a:lnTo>
                  <a:pt x="5489097" y="2273574"/>
                </a:lnTo>
                <a:lnTo>
                  <a:pt x="5489097" y="2273573"/>
                </a:lnTo>
                <a:lnTo>
                  <a:pt x="5487470" y="2265777"/>
                </a:lnTo>
                <a:close/>
                <a:moveTo>
                  <a:pt x="4734942" y="2258776"/>
                </a:moveTo>
                <a:lnTo>
                  <a:pt x="4738053" y="2263396"/>
                </a:lnTo>
                <a:lnTo>
                  <a:pt x="4740548" y="2272166"/>
                </a:lnTo>
                <a:lnTo>
                  <a:pt x="4744530" y="2278189"/>
                </a:lnTo>
                <a:lnTo>
                  <a:pt x="4740549" y="2272166"/>
                </a:lnTo>
                <a:lnTo>
                  <a:pt x="4738053" y="2263396"/>
                </a:lnTo>
                <a:close/>
                <a:moveTo>
                  <a:pt x="4173501" y="2255499"/>
                </a:moveTo>
                <a:lnTo>
                  <a:pt x="4173332" y="2256791"/>
                </a:lnTo>
                <a:lnTo>
                  <a:pt x="4172464" y="2260039"/>
                </a:lnTo>
                <a:lnTo>
                  <a:pt x="4174852" y="2267510"/>
                </a:lnTo>
                <a:lnTo>
                  <a:pt x="4175394" y="2273248"/>
                </a:lnTo>
                <a:lnTo>
                  <a:pt x="4175395" y="2273248"/>
                </a:lnTo>
                <a:lnTo>
                  <a:pt x="4174852" y="2267510"/>
                </a:lnTo>
                <a:lnTo>
                  <a:pt x="4172465" y="2260039"/>
                </a:lnTo>
                <a:lnTo>
                  <a:pt x="4173333" y="2256791"/>
                </a:lnTo>
                <a:close/>
                <a:moveTo>
                  <a:pt x="4805442" y="2252028"/>
                </a:moveTo>
                <a:lnTo>
                  <a:pt x="4832463" y="2281261"/>
                </a:lnTo>
                <a:lnTo>
                  <a:pt x="4805442" y="2252028"/>
                </a:lnTo>
                <a:close/>
                <a:moveTo>
                  <a:pt x="4177022" y="2251811"/>
                </a:moveTo>
                <a:lnTo>
                  <a:pt x="4174089" y="2253982"/>
                </a:lnTo>
                <a:lnTo>
                  <a:pt x="4177022" y="2251811"/>
                </a:lnTo>
                <a:lnTo>
                  <a:pt x="4182556" y="2252027"/>
                </a:lnTo>
                <a:close/>
                <a:moveTo>
                  <a:pt x="5049581" y="2248088"/>
                </a:moveTo>
                <a:lnTo>
                  <a:pt x="5049278" y="2254627"/>
                </a:lnTo>
                <a:lnTo>
                  <a:pt x="5051123" y="2261015"/>
                </a:lnTo>
                <a:lnTo>
                  <a:pt x="5058719" y="2261015"/>
                </a:lnTo>
                <a:lnTo>
                  <a:pt x="5059602" y="2269570"/>
                </a:lnTo>
                <a:lnTo>
                  <a:pt x="5058720" y="2261014"/>
                </a:lnTo>
                <a:lnTo>
                  <a:pt x="5051123" y="2261014"/>
                </a:lnTo>
                <a:lnTo>
                  <a:pt x="5049279" y="2254627"/>
                </a:lnTo>
                <a:close/>
                <a:moveTo>
                  <a:pt x="4753788" y="2247263"/>
                </a:moveTo>
                <a:lnTo>
                  <a:pt x="4752702" y="2254626"/>
                </a:lnTo>
                <a:lnTo>
                  <a:pt x="4753630" y="2255552"/>
                </a:lnTo>
                <a:lnTo>
                  <a:pt x="4752703" y="2254627"/>
                </a:lnTo>
                <a:lnTo>
                  <a:pt x="4753788" y="2247264"/>
                </a:lnTo>
                <a:close/>
                <a:moveTo>
                  <a:pt x="5497453" y="2246398"/>
                </a:moveTo>
                <a:lnTo>
                  <a:pt x="5496491" y="2248378"/>
                </a:lnTo>
                <a:lnTo>
                  <a:pt x="5497454" y="2246398"/>
                </a:lnTo>
                <a:close/>
                <a:moveTo>
                  <a:pt x="3882508" y="2244016"/>
                </a:moveTo>
                <a:lnTo>
                  <a:pt x="3876756" y="2253110"/>
                </a:lnTo>
                <a:lnTo>
                  <a:pt x="3871765" y="2257549"/>
                </a:lnTo>
                <a:lnTo>
                  <a:pt x="3869797" y="2262223"/>
                </a:lnTo>
                <a:lnTo>
                  <a:pt x="3871765" y="2257550"/>
                </a:lnTo>
                <a:lnTo>
                  <a:pt x="3876757" y="2253111"/>
                </a:lnTo>
                <a:lnTo>
                  <a:pt x="3882508" y="2244016"/>
                </a:lnTo>
                <a:close/>
                <a:moveTo>
                  <a:pt x="5378742" y="2240210"/>
                </a:moveTo>
                <a:lnTo>
                  <a:pt x="5382099" y="2247698"/>
                </a:lnTo>
                <a:lnTo>
                  <a:pt x="5381665" y="2254302"/>
                </a:lnTo>
                <a:lnTo>
                  <a:pt x="5383816" y="2262785"/>
                </a:lnTo>
                <a:lnTo>
                  <a:pt x="5381666" y="2254301"/>
                </a:lnTo>
                <a:lnTo>
                  <a:pt x="5382100" y="2247697"/>
                </a:lnTo>
                <a:close/>
                <a:moveTo>
                  <a:pt x="4191909" y="2240108"/>
                </a:moveTo>
                <a:lnTo>
                  <a:pt x="4186897" y="2243257"/>
                </a:lnTo>
                <a:lnTo>
                  <a:pt x="4186897" y="2243258"/>
                </a:lnTo>
                <a:close/>
                <a:moveTo>
                  <a:pt x="5513623" y="2238493"/>
                </a:moveTo>
                <a:lnTo>
                  <a:pt x="5513622" y="2238494"/>
                </a:lnTo>
                <a:lnTo>
                  <a:pt x="5517528" y="2239685"/>
                </a:lnTo>
                <a:lnTo>
                  <a:pt x="5517529" y="2239684"/>
                </a:lnTo>
                <a:close/>
                <a:moveTo>
                  <a:pt x="6803560" y="2238169"/>
                </a:moveTo>
                <a:lnTo>
                  <a:pt x="6805513" y="2238926"/>
                </a:lnTo>
                <a:lnTo>
                  <a:pt x="6808335" y="2238602"/>
                </a:lnTo>
                <a:lnTo>
                  <a:pt x="6812892" y="2241308"/>
                </a:lnTo>
                <a:lnTo>
                  <a:pt x="6812784" y="2245206"/>
                </a:lnTo>
                <a:lnTo>
                  <a:pt x="6809419" y="2242932"/>
                </a:lnTo>
                <a:lnTo>
                  <a:pt x="6804753" y="2241417"/>
                </a:lnTo>
                <a:close/>
                <a:moveTo>
                  <a:pt x="3919187" y="2236761"/>
                </a:moveTo>
                <a:lnTo>
                  <a:pt x="3919729" y="2238169"/>
                </a:lnTo>
                <a:lnTo>
                  <a:pt x="3919729" y="2238169"/>
                </a:lnTo>
                <a:close/>
                <a:moveTo>
                  <a:pt x="1487941" y="2235831"/>
                </a:moveTo>
                <a:lnTo>
                  <a:pt x="1487653" y="2237737"/>
                </a:lnTo>
                <a:lnTo>
                  <a:pt x="1486460" y="2239577"/>
                </a:lnTo>
                <a:lnTo>
                  <a:pt x="1489390" y="2240443"/>
                </a:lnTo>
                <a:lnTo>
                  <a:pt x="1492646" y="2242608"/>
                </a:lnTo>
                <a:lnTo>
                  <a:pt x="1494816" y="2246073"/>
                </a:lnTo>
                <a:lnTo>
                  <a:pt x="1495359" y="2251270"/>
                </a:lnTo>
                <a:lnTo>
                  <a:pt x="1496986" y="2253219"/>
                </a:lnTo>
                <a:lnTo>
                  <a:pt x="1498397" y="2253544"/>
                </a:lnTo>
                <a:lnTo>
                  <a:pt x="1499157" y="2255384"/>
                </a:lnTo>
                <a:lnTo>
                  <a:pt x="1501978" y="2257875"/>
                </a:lnTo>
                <a:lnTo>
                  <a:pt x="1502087" y="2261555"/>
                </a:lnTo>
                <a:lnTo>
                  <a:pt x="1501979" y="2257874"/>
                </a:lnTo>
                <a:lnTo>
                  <a:pt x="1499157" y="2255384"/>
                </a:lnTo>
                <a:lnTo>
                  <a:pt x="1498398" y="2253543"/>
                </a:lnTo>
                <a:lnTo>
                  <a:pt x="1496986" y="2253219"/>
                </a:lnTo>
                <a:lnTo>
                  <a:pt x="1495359" y="2251270"/>
                </a:lnTo>
                <a:lnTo>
                  <a:pt x="1494816" y="2246073"/>
                </a:lnTo>
                <a:lnTo>
                  <a:pt x="1492646" y="2242608"/>
                </a:lnTo>
                <a:lnTo>
                  <a:pt x="1489390" y="2240443"/>
                </a:lnTo>
                <a:lnTo>
                  <a:pt x="1486461" y="2239577"/>
                </a:lnTo>
                <a:lnTo>
                  <a:pt x="1487654" y="2237736"/>
                </a:lnTo>
                <a:close/>
                <a:moveTo>
                  <a:pt x="5675963" y="2233886"/>
                </a:moveTo>
                <a:lnTo>
                  <a:pt x="5677483" y="2239468"/>
                </a:lnTo>
                <a:lnTo>
                  <a:pt x="5677483" y="2239467"/>
                </a:lnTo>
                <a:close/>
                <a:moveTo>
                  <a:pt x="4141276" y="2232609"/>
                </a:moveTo>
                <a:lnTo>
                  <a:pt x="4147180" y="2239144"/>
                </a:lnTo>
                <a:lnTo>
                  <a:pt x="4147180" y="2239143"/>
                </a:lnTo>
                <a:close/>
                <a:moveTo>
                  <a:pt x="4849614" y="2232107"/>
                </a:moveTo>
                <a:lnTo>
                  <a:pt x="4851875" y="2232379"/>
                </a:lnTo>
                <a:lnTo>
                  <a:pt x="4849615" y="2232107"/>
                </a:lnTo>
                <a:close/>
                <a:moveTo>
                  <a:pt x="4137414" y="2231672"/>
                </a:moveTo>
                <a:lnTo>
                  <a:pt x="4137414" y="2231673"/>
                </a:lnTo>
                <a:lnTo>
                  <a:pt x="4141212" y="2232539"/>
                </a:lnTo>
                <a:lnTo>
                  <a:pt x="4141212" y="2232538"/>
                </a:lnTo>
                <a:close/>
                <a:moveTo>
                  <a:pt x="4765182" y="2230266"/>
                </a:moveTo>
                <a:lnTo>
                  <a:pt x="4765616" y="2233081"/>
                </a:lnTo>
                <a:lnTo>
                  <a:pt x="4764748" y="2235354"/>
                </a:lnTo>
                <a:lnTo>
                  <a:pt x="4764314" y="2241742"/>
                </a:lnTo>
                <a:lnTo>
                  <a:pt x="4764748" y="2235355"/>
                </a:lnTo>
                <a:lnTo>
                  <a:pt x="4765617" y="2233081"/>
                </a:lnTo>
                <a:close/>
                <a:moveTo>
                  <a:pt x="4765073" y="2228641"/>
                </a:moveTo>
                <a:lnTo>
                  <a:pt x="4762252" y="2231240"/>
                </a:lnTo>
                <a:lnTo>
                  <a:pt x="4759756" y="2230915"/>
                </a:lnTo>
                <a:lnTo>
                  <a:pt x="4759756" y="2230915"/>
                </a:lnTo>
                <a:lnTo>
                  <a:pt x="4762253" y="2231240"/>
                </a:lnTo>
                <a:lnTo>
                  <a:pt x="4765073" y="2228642"/>
                </a:lnTo>
                <a:lnTo>
                  <a:pt x="4765073" y="2228642"/>
                </a:lnTo>
                <a:close/>
                <a:moveTo>
                  <a:pt x="5524148" y="2228534"/>
                </a:moveTo>
                <a:lnTo>
                  <a:pt x="5522629" y="2231565"/>
                </a:lnTo>
                <a:lnTo>
                  <a:pt x="5522630" y="2231564"/>
                </a:lnTo>
                <a:close/>
                <a:moveTo>
                  <a:pt x="4132355" y="2228040"/>
                </a:moveTo>
                <a:lnTo>
                  <a:pt x="4135135" y="2229183"/>
                </a:lnTo>
                <a:lnTo>
                  <a:pt x="4135134" y="2229182"/>
                </a:lnTo>
                <a:close/>
                <a:moveTo>
                  <a:pt x="5538764" y="2227353"/>
                </a:moveTo>
                <a:lnTo>
                  <a:pt x="5538472" y="2230264"/>
                </a:lnTo>
                <a:lnTo>
                  <a:pt x="5538473" y="2230264"/>
                </a:lnTo>
                <a:close/>
                <a:moveTo>
                  <a:pt x="4753570" y="2227126"/>
                </a:moveTo>
                <a:lnTo>
                  <a:pt x="4752377" y="2233622"/>
                </a:lnTo>
                <a:lnTo>
                  <a:pt x="4753617" y="2235809"/>
                </a:lnTo>
                <a:lnTo>
                  <a:pt x="4752378" y="2233622"/>
                </a:lnTo>
                <a:lnTo>
                  <a:pt x="4753571" y="2227126"/>
                </a:lnTo>
                <a:lnTo>
                  <a:pt x="4759322" y="2227126"/>
                </a:lnTo>
                <a:lnTo>
                  <a:pt x="4759343" y="2227308"/>
                </a:lnTo>
                <a:lnTo>
                  <a:pt x="4759322" y="2227126"/>
                </a:lnTo>
                <a:close/>
                <a:moveTo>
                  <a:pt x="3912466" y="2225593"/>
                </a:moveTo>
                <a:lnTo>
                  <a:pt x="3914737" y="2226259"/>
                </a:lnTo>
                <a:lnTo>
                  <a:pt x="3917124" y="2228425"/>
                </a:lnTo>
                <a:lnTo>
                  <a:pt x="3919729" y="2228533"/>
                </a:lnTo>
                <a:lnTo>
                  <a:pt x="3921899" y="2230157"/>
                </a:lnTo>
                <a:lnTo>
                  <a:pt x="3919800" y="2235268"/>
                </a:lnTo>
                <a:lnTo>
                  <a:pt x="3921900" y="2230157"/>
                </a:lnTo>
                <a:lnTo>
                  <a:pt x="3919729" y="2228533"/>
                </a:lnTo>
                <a:lnTo>
                  <a:pt x="3917125" y="2228424"/>
                </a:lnTo>
                <a:lnTo>
                  <a:pt x="3914738" y="2226259"/>
                </a:lnTo>
                <a:close/>
                <a:moveTo>
                  <a:pt x="4204472" y="2225063"/>
                </a:moveTo>
                <a:lnTo>
                  <a:pt x="4205996" y="2226583"/>
                </a:lnTo>
                <a:lnTo>
                  <a:pt x="4202186" y="2232324"/>
                </a:lnTo>
                <a:lnTo>
                  <a:pt x="4205996" y="2226583"/>
                </a:lnTo>
                <a:close/>
                <a:moveTo>
                  <a:pt x="7007897" y="2221170"/>
                </a:moveTo>
                <a:lnTo>
                  <a:pt x="7010827" y="2224743"/>
                </a:lnTo>
                <a:lnTo>
                  <a:pt x="7011696" y="2227991"/>
                </a:lnTo>
                <a:lnTo>
                  <a:pt x="7010502" y="2230048"/>
                </a:lnTo>
                <a:lnTo>
                  <a:pt x="7006378" y="2229398"/>
                </a:lnTo>
                <a:lnTo>
                  <a:pt x="7003665" y="2224635"/>
                </a:lnTo>
                <a:lnTo>
                  <a:pt x="7004858" y="2221711"/>
                </a:lnTo>
                <a:close/>
                <a:moveTo>
                  <a:pt x="4771368" y="2221063"/>
                </a:moveTo>
                <a:lnTo>
                  <a:pt x="4768438" y="2223661"/>
                </a:lnTo>
                <a:lnTo>
                  <a:pt x="4771368" y="2221063"/>
                </a:lnTo>
                <a:lnTo>
                  <a:pt x="4771368" y="2221063"/>
                </a:lnTo>
                <a:close/>
                <a:moveTo>
                  <a:pt x="5039132" y="2220576"/>
                </a:moveTo>
                <a:lnTo>
                  <a:pt x="5040597" y="2221604"/>
                </a:lnTo>
                <a:lnTo>
                  <a:pt x="5045155" y="2230049"/>
                </a:lnTo>
                <a:lnTo>
                  <a:pt x="5049604" y="2232432"/>
                </a:lnTo>
                <a:lnTo>
                  <a:pt x="5054596" y="2243150"/>
                </a:lnTo>
                <a:lnTo>
                  <a:pt x="5054596" y="2243150"/>
                </a:lnTo>
                <a:lnTo>
                  <a:pt x="5049604" y="2232431"/>
                </a:lnTo>
                <a:lnTo>
                  <a:pt x="5045155" y="2230049"/>
                </a:lnTo>
                <a:lnTo>
                  <a:pt x="5040597" y="2221604"/>
                </a:lnTo>
                <a:close/>
                <a:moveTo>
                  <a:pt x="3553594" y="2219546"/>
                </a:moveTo>
                <a:lnTo>
                  <a:pt x="3556089" y="2223444"/>
                </a:lnTo>
                <a:cubicBezTo>
                  <a:pt x="3555104" y="2223970"/>
                  <a:pt x="3554090" y="2224440"/>
                  <a:pt x="3553050" y="2224852"/>
                </a:cubicBezTo>
                <a:lnTo>
                  <a:pt x="3548601" y="2223011"/>
                </a:lnTo>
                <a:lnTo>
                  <a:pt x="3547191" y="2220412"/>
                </a:lnTo>
                <a:close/>
                <a:moveTo>
                  <a:pt x="4119928" y="2214817"/>
                </a:moveTo>
                <a:lnTo>
                  <a:pt x="4121028" y="2215216"/>
                </a:lnTo>
                <a:lnTo>
                  <a:pt x="4121027" y="2215215"/>
                </a:lnTo>
                <a:close/>
                <a:moveTo>
                  <a:pt x="5549433" y="2214566"/>
                </a:moveTo>
                <a:lnTo>
                  <a:pt x="5549433" y="2214567"/>
                </a:lnTo>
                <a:lnTo>
                  <a:pt x="5551277" y="2225177"/>
                </a:lnTo>
                <a:lnTo>
                  <a:pt x="5549763" y="2227381"/>
                </a:lnTo>
                <a:lnTo>
                  <a:pt x="5551278" y="2225176"/>
                </a:lnTo>
                <a:close/>
                <a:moveTo>
                  <a:pt x="1427211" y="2211535"/>
                </a:moveTo>
                <a:lnTo>
                  <a:pt x="1465950" y="2212726"/>
                </a:lnTo>
                <a:lnTo>
                  <a:pt x="1470400" y="2215541"/>
                </a:lnTo>
                <a:lnTo>
                  <a:pt x="1474198" y="2220955"/>
                </a:lnTo>
                <a:lnTo>
                  <a:pt x="1476259" y="2223445"/>
                </a:lnTo>
                <a:lnTo>
                  <a:pt x="1476694" y="2225610"/>
                </a:lnTo>
                <a:lnTo>
                  <a:pt x="1479189" y="2225718"/>
                </a:lnTo>
                <a:lnTo>
                  <a:pt x="1481360" y="2228858"/>
                </a:lnTo>
                <a:lnTo>
                  <a:pt x="1480600" y="2231240"/>
                </a:lnTo>
                <a:lnTo>
                  <a:pt x="1484290" y="2232539"/>
                </a:lnTo>
                <a:lnTo>
                  <a:pt x="1487980" y="2235571"/>
                </a:lnTo>
                <a:lnTo>
                  <a:pt x="1487980" y="2235570"/>
                </a:lnTo>
                <a:lnTo>
                  <a:pt x="1484291" y="2232539"/>
                </a:lnTo>
                <a:lnTo>
                  <a:pt x="1480601" y="2231240"/>
                </a:lnTo>
                <a:lnTo>
                  <a:pt x="1481361" y="2228858"/>
                </a:lnTo>
                <a:lnTo>
                  <a:pt x="1479190" y="2225718"/>
                </a:lnTo>
                <a:lnTo>
                  <a:pt x="1476695" y="2225610"/>
                </a:lnTo>
                <a:lnTo>
                  <a:pt x="1476260" y="2223445"/>
                </a:lnTo>
                <a:lnTo>
                  <a:pt x="1474198" y="2220954"/>
                </a:lnTo>
                <a:lnTo>
                  <a:pt x="1470400" y="2215541"/>
                </a:lnTo>
                <a:lnTo>
                  <a:pt x="1465951" y="2212725"/>
                </a:lnTo>
                <a:close/>
                <a:moveTo>
                  <a:pt x="5009186" y="2209720"/>
                </a:moveTo>
                <a:lnTo>
                  <a:pt x="5010863" y="2210994"/>
                </a:lnTo>
                <a:lnTo>
                  <a:pt x="5010863" y="2210994"/>
                </a:lnTo>
                <a:close/>
                <a:moveTo>
                  <a:pt x="5017374" y="2208937"/>
                </a:moveTo>
                <a:lnTo>
                  <a:pt x="5035171" y="2220630"/>
                </a:lnTo>
                <a:lnTo>
                  <a:pt x="5037667" y="2219547"/>
                </a:lnTo>
                <a:lnTo>
                  <a:pt x="5037667" y="2219547"/>
                </a:lnTo>
                <a:lnTo>
                  <a:pt x="5035171" y="2220629"/>
                </a:lnTo>
                <a:lnTo>
                  <a:pt x="5017375" y="2208937"/>
                </a:lnTo>
                <a:close/>
                <a:moveTo>
                  <a:pt x="7013865" y="2208611"/>
                </a:moveTo>
                <a:lnTo>
                  <a:pt x="7016577" y="2210885"/>
                </a:lnTo>
                <a:lnTo>
                  <a:pt x="7017011" y="2214891"/>
                </a:lnTo>
                <a:lnTo>
                  <a:pt x="7015926" y="2218139"/>
                </a:lnTo>
                <a:lnTo>
                  <a:pt x="7014732" y="2219438"/>
                </a:lnTo>
                <a:lnTo>
                  <a:pt x="7013756" y="2211750"/>
                </a:lnTo>
                <a:close/>
                <a:moveTo>
                  <a:pt x="5691265" y="2205579"/>
                </a:moveTo>
                <a:lnTo>
                  <a:pt x="5685513" y="2207744"/>
                </a:lnTo>
                <a:lnTo>
                  <a:pt x="5678243" y="2206229"/>
                </a:lnTo>
                <a:lnTo>
                  <a:pt x="5677964" y="2205652"/>
                </a:lnTo>
                <a:lnTo>
                  <a:pt x="5678243" y="2206229"/>
                </a:lnTo>
                <a:lnTo>
                  <a:pt x="5685513" y="2207744"/>
                </a:lnTo>
                <a:close/>
                <a:moveTo>
                  <a:pt x="4767352" y="2203739"/>
                </a:moveTo>
                <a:lnTo>
                  <a:pt x="4766050" y="2206554"/>
                </a:lnTo>
                <a:lnTo>
                  <a:pt x="4764856" y="2212617"/>
                </a:lnTo>
                <a:lnTo>
                  <a:pt x="4763554" y="2219655"/>
                </a:lnTo>
                <a:lnTo>
                  <a:pt x="4764531" y="2223877"/>
                </a:lnTo>
                <a:lnTo>
                  <a:pt x="4765616" y="2225934"/>
                </a:lnTo>
                <a:lnTo>
                  <a:pt x="4764965" y="2225934"/>
                </a:lnTo>
                <a:lnTo>
                  <a:pt x="4764965" y="2225935"/>
                </a:lnTo>
                <a:lnTo>
                  <a:pt x="4765092" y="2225942"/>
                </a:lnTo>
                <a:lnTo>
                  <a:pt x="4764966" y="2225935"/>
                </a:lnTo>
                <a:lnTo>
                  <a:pt x="4765616" y="2225935"/>
                </a:lnTo>
                <a:lnTo>
                  <a:pt x="4766787" y="2226042"/>
                </a:lnTo>
                <a:lnTo>
                  <a:pt x="4766810" y="2226043"/>
                </a:lnTo>
                <a:lnTo>
                  <a:pt x="4766810" y="2226043"/>
                </a:lnTo>
                <a:lnTo>
                  <a:pt x="4765617" y="2225935"/>
                </a:lnTo>
                <a:lnTo>
                  <a:pt x="4764532" y="2223877"/>
                </a:lnTo>
                <a:lnTo>
                  <a:pt x="4763555" y="2219655"/>
                </a:lnTo>
                <a:lnTo>
                  <a:pt x="4764857" y="2212617"/>
                </a:lnTo>
                <a:lnTo>
                  <a:pt x="4766050" y="2206554"/>
                </a:lnTo>
                <a:lnTo>
                  <a:pt x="4767353" y="2203739"/>
                </a:lnTo>
                <a:close/>
                <a:moveTo>
                  <a:pt x="4767570" y="2203739"/>
                </a:moveTo>
                <a:lnTo>
                  <a:pt x="4768872" y="2205471"/>
                </a:lnTo>
                <a:lnTo>
                  <a:pt x="4772235" y="2208827"/>
                </a:lnTo>
                <a:lnTo>
                  <a:pt x="4772235" y="2208827"/>
                </a:lnTo>
                <a:lnTo>
                  <a:pt x="4768872" y="2205470"/>
                </a:lnTo>
                <a:close/>
                <a:moveTo>
                  <a:pt x="5005329" y="2202549"/>
                </a:moveTo>
                <a:lnTo>
                  <a:pt x="5006740" y="2204281"/>
                </a:lnTo>
                <a:lnTo>
                  <a:pt x="5006332" y="2205655"/>
                </a:lnTo>
                <a:lnTo>
                  <a:pt x="5006740" y="2204281"/>
                </a:lnTo>
                <a:close/>
                <a:moveTo>
                  <a:pt x="5779272" y="2198974"/>
                </a:moveTo>
                <a:lnTo>
                  <a:pt x="5779271" y="2198975"/>
                </a:lnTo>
                <a:lnTo>
                  <a:pt x="5783285" y="2200274"/>
                </a:lnTo>
                <a:lnTo>
                  <a:pt x="5784154" y="2203630"/>
                </a:lnTo>
                <a:lnTo>
                  <a:pt x="5784155" y="2203629"/>
                </a:lnTo>
                <a:lnTo>
                  <a:pt x="5783287" y="2200274"/>
                </a:lnTo>
                <a:close/>
                <a:moveTo>
                  <a:pt x="4183859" y="2194969"/>
                </a:moveTo>
                <a:lnTo>
                  <a:pt x="4188200" y="2194969"/>
                </a:lnTo>
                <a:lnTo>
                  <a:pt x="4190045" y="2197134"/>
                </a:lnTo>
                <a:lnTo>
                  <a:pt x="4187006" y="2199624"/>
                </a:lnTo>
                <a:lnTo>
                  <a:pt x="4183208" y="2196701"/>
                </a:lnTo>
                <a:close/>
                <a:moveTo>
                  <a:pt x="5750696" y="2192746"/>
                </a:moveTo>
                <a:lnTo>
                  <a:pt x="5754095" y="2194102"/>
                </a:lnTo>
                <a:lnTo>
                  <a:pt x="5756591" y="2200706"/>
                </a:lnTo>
                <a:lnTo>
                  <a:pt x="5756592" y="2200706"/>
                </a:lnTo>
                <a:lnTo>
                  <a:pt x="5754096" y="2194102"/>
                </a:lnTo>
                <a:close/>
                <a:moveTo>
                  <a:pt x="6777516" y="2191396"/>
                </a:moveTo>
                <a:lnTo>
                  <a:pt x="6783268" y="2192371"/>
                </a:lnTo>
                <a:lnTo>
                  <a:pt x="6785437" y="2193778"/>
                </a:lnTo>
                <a:lnTo>
                  <a:pt x="6789452" y="2193453"/>
                </a:lnTo>
                <a:lnTo>
                  <a:pt x="6789995" y="2198543"/>
                </a:lnTo>
                <a:lnTo>
                  <a:pt x="6784895" y="2196269"/>
                </a:lnTo>
                <a:lnTo>
                  <a:pt x="6779795" y="2196160"/>
                </a:lnTo>
                <a:lnTo>
                  <a:pt x="6776973" y="2193237"/>
                </a:lnTo>
                <a:close/>
                <a:moveTo>
                  <a:pt x="5001600" y="2191065"/>
                </a:moveTo>
                <a:lnTo>
                  <a:pt x="5002182" y="2193129"/>
                </a:lnTo>
                <a:lnTo>
                  <a:pt x="5007608" y="2197568"/>
                </a:lnTo>
                <a:lnTo>
                  <a:pt x="5006732" y="2199482"/>
                </a:lnTo>
                <a:lnTo>
                  <a:pt x="5007608" y="2197568"/>
                </a:lnTo>
                <a:lnTo>
                  <a:pt x="5002182" y="2193129"/>
                </a:lnTo>
                <a:close/>
                <a:moveTo>
                  <a:pt x="4995997" y="2188581"/>
                </a:moveTo>
                <a:lnTo>
                  <a:pt x="4995997" y="2188582"/>
                </a:lnTo>
                <a:lnTo>
                  <a:pt x="5001205" y="2189665"/>
                </a:lnTo>
                <a:lnTo>
                  <a:pt x="5001205" y="2189664"/>
                </a:lnTo>
                <a:close/>
                <a:moveTo>
                  <a:pt x="5354861" y="2183926"/>
                </a:moveTo>
                <a:lnTo>
                  <a:pt x="5347483" y="2193129"/>
                </a:lnTo>
                <a:lnTo>
                  <a:pt x="5346289" y="2199300"/>
                </a:lnTo>
                <a:lnTo>
                  <a:pt x="5352692" y="2211643"/>
                </a:lnTo>
                <a:lnTo>
                  <a:pt x="5356164" y="2222795"/>
                </a:lnTo>
                <a:lnTo>
                  <a:pt x="5354428" y="2226043"/>
                </a:lnTo>
                <a:lnTo>
                  <a:pt x="5356815" y="2230374"/>
                </a:lnTo>
                <a:lnTo>
                  <a:pt x="5357466" y="2239144"/>
                </a:lnTo>
                <a:lnTo>
                  <a:pt x="5357467" y="2239144"/>
                </a:lnTo>
                <a:lnTo>
                  <a:pt x="5356816" y="2230373"/>
                </a:lnTo>
                <a:lnTo>
                  <a:pt x="5354429" y="2226043"/>
                </a:lnTo>
                <a:lnTo>
                  <a:pt x="5356165" y="2222795"/>
                </a:lnTo>
                <a:lnTo>
                  <a:pt x="5352692" y="2211643"/>
                </a:lnTo>
                <a:lnTo>
                  <a:pt x="5346290" y="2199300"/>
                </a:lnTo>
                <a:lnTo>
                  <a:pt x="5347484" y="2193129"/>
                </a:lnTo>
                <a:lnTo>
                  <a:pt x="5354862" y="2183926"/>
                </a:lnTo>
                <a:close/>
                <a:moveTo>
                  <a:pt x="1276698" y="2177105"/>
                </a:moveTo>
                <a:lnTo>
                  <a:pt x="1277891" y="2179162"/>
                </a:lnTo>
                <a:lnTo>
                  <a:pt x="1277023" y="2181003"/>
                </a:lnTo>
                <a:lnTo>
                  <a:pt x="1358411" y="2218139"/>
                </a:lnTo>
                <a:lnTo>
                  <a:pt x="1426776" y="2220196"/>
                </a:lnTo>
                <a:lnTo>
                  <a:pt x="1358411" y="2218139"/>
                </a:lnTo>
                <a:lnTo>
                  <a:pt x="1277023" y="2181003"/>
                </a:lnTo>
                <a:lnTo>
                  <a:pt x="1277892" y="2179162"/>
                </a:lnTo>
                <a:close/>
                <a:moveTo>
                  <a:pt x="3903235" y="2175047"/>
                </a:moveTo>
                <a:lnTo>
                  <a:pt x="3903669" y="2182735"/>
                </a:lnTo>
                <a:lnTo>
                  <a:pt x="3903560" y="2192046"/>
                </a:lnTo>
                <a:lnTo>
                  <a:pt x="3904537" y="2195835"/>
                </a:lnTo>
                <a:lnTo>
                  <a:pt x="3906490" y="2213484"/>
                </a:lnTo>
                <a:lnTo>
                  <a:pt x="3909854" y="2220521"/>
                </a:lnTo>
                <a:lnTo>
                  <a:pt x="3911048" y="2225176"/>
                </a:lnTo>
                <a:lnTo>
                  <a:pt x="3911048" y="2225177"/>
                </a:lnTo>
                <a:lnTo>
                  <a:pt x="3909855" y="2220521"/>
                </a:lnTo>
                <a:lnTo>
                  <a:pt x="3906490" y="2213483"/>
                </a:lnTo>
                <a:lnTo>
                  <a:pt x="3904537" y="2195835"/>
                </a:lnTo>
                <a:lnTo>
                  <a:pt x="3903560" y="2192046"/>
                </a:lnTo>
                <a:lnTo>
                  <a:pt x="3903669" y="2182735"/>
                </a:lnTo>
                <a:close/>
                <a:moveTo>
                  <a:pt x="5557138" y="2168659"/>
                </a:moveTo>
                <a:lnTo>
                  <a:pt x="5557137" y="2168659"/>
                </a:lnTo>
                <a:lnTo>
                  <a:pt x="5559742" y="2174831"/>
                </a:lnTo>
                <a:lnTo>
                  <a:pt x="5564733" y="2177646"/>
                </a:lnTo>
                <a:lnTo>
                  <a:pt x="5567772" y="2184142"/>
                </a:lnTo>
                <a:lnTo>
                  <a:pt x="5566919" y="2187376"/>
                </a:lnTo>
                <a:lnTo>
                  <a:pt x="5567773" y="2184142"/>
                </a:lnTo>
                <a:lnTo>
                  <a:pt x="5564734" y="2177645"/>
                </a:lnTo>
                <a:lnTo>
                  <a:pt x="5559742" y="2174830"/>
                </a:lnTo>
                <a:close/>
                <a:moveTo>
                  <a:pt x="6981418" y="2165845"/>
                </a:moveTo>
                <a:lnTo>
                  <a:pt x="6982829" y="2166495"/>
                </a:lnTo>
                <a:lnTo>
                  <a:pt x="6981093" y="2169418"/>
                </a:lnTo>
                <a:lnTo>
                  <a:pt x="6979574" y="2167902"/>
                </a:lnTo>
                <a:close/>
                <a:moveTo>
                  <a:pt x="5583652" y="2163786"/>
                </a:moveTo>
                <a:lnTo>
                  <a:pt x="5580577" y="2168334"/>
                </a:lnTo>
                <a:lnTo>
                  <a:pt x="5580578" y="2168334"/>
                </a:lnTo>
                <a:close/>
                <a:moveTo>
                  <a:pt x="4130230" y="2162599"/>
                </a:moveTo>
                <a:lnTo>
                  <a:pt x="4132639" y="2165086"/>
                </a:lnTo>
                <a:lnTo>
                  <a:pt x="4132639" y="2165086"/>
                </a:lnTo>
                <a:close/>
                <a:moveTo>
                  <a:pt x="4887263" y="2161405"/>
                </a:moveTo>
                <a:lnTo>
                  <a:pt x="4883465" y="2166926"/>
                </a:lnTo>
                <a:lnTo>
                  <a:pt x="4881295" y="2170607"/>
                </a:lnTo>
                <a:lnTo>
                  <a:pt x="4838756" y="2200815"/>
                </a:lnTo>
                <a:lnTo>
                  <a:pt x="4838648" y="2201031"/>
                </a:lnTo>
                <a:lnTo>
                  <a:pt x="4791551" y="2230590"/>
                </a:lnTo>
                <a:lnTo>
                  <a:pt x="4788187" y="2228532"/>
                </a:lnTo>
                <a:lnTo>
                  <a:pt x="4786451" y="2228532"/>
                </a:lnTo>
                <a:lnTo>
                  <a:pt x="4781676" y="2224743"/>
                </a:lnTo>
                <a:lnTo>
                  <a:pt x="4773755" y="2221278"/>
                </a:lnTo>
                <a:lnTo>
                  <a:pt x="4773736" y="2221277"/>
                </a:lnTo>
                <a:lnTo>
                  <a:pt x="4773755" y="2221279"/>
                </a:lnTo>
                <a:lnTo>
                  <a:pt x="4773744" y="2221278"/>
                </a:lnTo>
                <a:lnTo>
                  <a:pt x="4773755" y="2221279"/>
                </a:lnTo>
                <a:lnTo>
                  <a:pt x="4781677" y="2224744"/>
                </a:lnTo>
                <a:lnTo>
                  <a:pt x="4786451" y="2228534"/>
                </a:lnTo>
                <a:lnTo>
                  <a:pt x="4788188" y="2228534"/>
                </a:lnTo>
                <a:lnTo>
                  <a:pt x="4791551" y="2230591"/>
                </a:lnTo>
                <a:lnTo>
                  <a:pt x="4838648" y="2201033"/>
                </a:lnTo>
                <a:lnTo>
                  <a:pt x="4838648" y="2201033"/>
                </a:lnTo>
                <a:lnTo>
                  <a:pt x="4838756" y="2200816"/>
                </a:lnTo>
                <a:lnTo>
                  <a:pt x="4881295" y="2170609"/>
                </a:lnTo>
                <a:lnTo>
                  <a:pt x="4883465" y="2166927"/>
                </a:lnTo>
                <a:lnTo>
                  <a:pt x="4887263" y="2161406"/>
                </a:lnTo>
                <a:close/>
                <a:moveTo>
                  <a:pt x="6984675" y="2156316"/>
                </a:moveTo>
                <a:lnTo>
                  <a:pt x="6986411" y="2157290"/>
                </a:lnTo>
                <a:lnTo>
                  <a:pt x="6985977" y="2160213"/>
                </a:lnTo>
                <a:lnTo>
                  <a:pt x="6983589" y="2160430"/>
                </a:lnTo>
                <a:lnTo>
                  <a:pt x="6983264" y="2157832"/>
                </a:lnTo>
                <a:close/>
                <a:moveTo>
                  <a:pt x="6977729" y="2155559"/>
                </a:moveTo>
                <a:lnTo>
                  <a:pt x="6978813" y="2155775"/>
                </a:lnTo>
                <a:lnTo>
                  <a:pt x="6978922" y="2157291"/>
                </a:lnTo>
                <a:lnTo>
                  <a:pt x="6981526" y="2161838"/>
                </a:lnTo>
                <a:lnTo>
                  <a:pt x="6980550" y="2165736"/>
                </a:lnTo>
                <a:lnTo>
                  <a:pt x="6978380" y="2165736"/>
                </a:lnTo>
                <a:lnTo>
                  <a:pt x="6976643" y="2162379"/>
                </a:lnTo>
                <a:lnTo>
                  <a:pt x="6975884" y="2157832"/>
                </a:lnTo>
                <a:close/>
                <a:moveTo>
                  <a:pt x="4995454" y="2155126"/>
                </a:moveTo>
                <a:lnTo>
                  <a:pt x="4994586" y="2162488"/>
                </a:lnTo>
                <a:lnTo>
                  <a:pt x="4992090" y="2164762"/>
                </a:lnTo>
                <a:lnTo>
                  <a:pt x="4991873" y="2173532"/>
                </a:lnTo>
                <a:lnTo>
                  <a:pt x="4990462" y="2176780"/>
                </a:lnTo>
                <a:lnTo>
                  <a:pt x="4992090" y="2179162"/>
                </a:lnTo>
                <a:lnTo>
                  <a:pt x="4990710" y="2180999"/>
                </a:lnTo>
                <a:lnTo>
                  <a:pt x="4992091" y="2179162"/>
                </a:lnTo>
                <a:lnTo>
                  <a:pt x="4990463" y="2176780"/>
                </a:lnTo>
                <a:lnTo>
                  <a:pt x="4991873" y="2173532"/>
                </a:lnTo>
                <a:lnTo>
                  <a:pt x="4992091" y="2164762"/>
                </a:lnTo>
                <a:lnTo>
                  <a:pt x="4994586" y="2162489"/>
                </a:lnTo>
                <a:lnTo>
                  <a:pt x="4995454" y="2155126"/>
                </a:lnTo>
                <a:close/>
                <a:moveTo>
                  <a:pt x="5340430" y="2155126"/>
                </a:moveTo>
                <a:lnTo>
                  <a:pt x="5340429" y="2155126"/>
                </a:lnTo>
                <a:lnTo>
                  <a:pt x="5342491" y="2158374"/>
                </a:lnTo>
                <a:lnTo>
                  <a:pt x="5346506" y="2161405"/>
                </a:lnTo>
                <a:lnTo>
                  <a:pt x="5342057" y="2167793"/>
                </a:lnTo>
                <a:lnTo>
                  <a:pt x="5343142" y="2168876"/>
                </a:lnTo>
                <a:lnTo>
                  <a:pt x="5344770" y="2177430"/>
                </a:lnTo>
                <a:lnTo>
                  <a:pt x="5344770" y="2182085"/>
                </a:lnTo>
                <a:lnTo>
                  <a:pt x="5344771" y="2182085"/>
                </a:lnTo>
                <a:lnTo>
                  <a:pt x="5344771" y="2177429"/>
                </a:lnTo>
                <a:lnTo>
                  <a:pt x="5343143" y="2168876"/>
                </a:lnTo>
                <a:lnTo>
                  <a:pt x="5342058" y="2167794"/>
                </a:lnTo>
                <a:lnTo>
                  <a:pt x="5346507" y="2161406"/>
                </a:lnTo>
                <a:lnTo>
                  <a:pt x="5342492" y="2158374"/>
                </a:lnTo>
                <a:close/>
                <a:moveTo>
                  <a:pt x="4129675" y="2149932"/>
                </a:moveTo>
                <a:lnTo>
                  <a:pt x="4130035" y="2151445"/>
                </a:lnTo>
                <a:lnTo>
                  <a:pt x="4132170" y="2153869"/>
                </a:lnTo>
                <a:lnTo>
                  <a:pt x="4130035" y="2151444"/>
                </a:lnTo>
                <a:close/>
                <a:moveTo>
                  <a:pt x="5639937" y="2149147"/>
                </a:moveTo>
                <a:lnTo>
                  <a:pt x="5640044" y="2156424"/>
                </a:lnTo>
                <a:lnTo>
                  <a:pt x="5644386" y="2163462"/>
                </a:lnTo>
                <a:lnTo>
                  <a:pt x="5648183" y="2179703"/>
                </a:lnTo>
                <a:lnTo>
                  <a:pt x="5649377" y="2186740"/>
                </a:lnTo>
                <a:lnTo>
                  <a:pt x="5657950" y="2194535"/>
                </a:lnTo>
                <a:lnTo>
                  <a:pt x="5666956" y="2196701"/>
                </a:lnTo>
                <a:lnTo>
                  <a:pt x="5668881" y="2197499"/>
                </a:lnTo>
                <a:lnTo>
                  <a:pt x="5666956" y="2196701"/>
                </a:lnTo>
                <a:lnTo>
                  <a:pt x="5657951" y="2194535"/>
                </a:lnTo>
                <a:lnTo>
                  <a:pt x="5649377" y="2186740"/>
                </a:lnTo>
                <a:lnTo>
                  <a:pt x="5648183" y="2179702"/>
                </a:lnTo>
                <a:lnTo>
                  <a:pt x="5644386" y="2163462"/>
                </a:lnTo>
                <a:lnTo>
                  <a:pt x="5640045" y="2156424"/>
                </a:lnTo>
                <a:close/>
                <a:moveTo>
                  <a:pt x="6948321" y="2148088"/>
                </a:moveTo>
                <a:lnTo>
                  <a:pt x="6948647" y="2150903"/>
                </a:lnTo>
                <a:lnTo>
                  <a:pt x="6951468" y="2152419"/>
                </a:lnTo>
                <a:lnTo>
                  <a:pt x="6953096" y="2155667"/>
                </a:lnTo>
                <a:lnTo>
                  <a:pt x="6950383" y="2157941"/>
                </a:lnTo>
                <a:lnTo>
                  <a:pt x="6947236" y="2157508"/>
                </a:lnTo>
                <a:lnTo>
                  <a:pt x="6945608" y="2152419"/>
                </a:lnTo>
                <a:lnTo>
                  <a:pt x="6945825" y="2149279"/>
                </a:lnTo>
                <a:close/>
                <a:moveTo>
                  <a:pt x="5643843" y="2147330"/>
                </a:moveTo>
                <a:lnTo>
                  <a:pt x="5639936" y="2149061"/>
                </a:lnTo>
                <a:lnTo>
                  <a:pt x="5639936" y="2149062"/>
                </a:lnTo>
                <a:close/>
                <a:moveTo>
                  <a:pt x="6950708" y="2145706"/>
                </a:moveTo>
                <a:lnTo>
                  <a:pt x="6954072" y="2146247"/>
                </a:lnTo>
                <a:lnTo>
                  <a:pt x="6951251" y="2147872"/>
                </a:lnTo>
                <a:close/>
                <a:moveTo>
                  <a:pt x="5352692" y="2145273"/>
                </a:moveTo>
                <a:lnTo>
                  <a:pt x="5351498" y="2146464"/>
                </a:lnTo>
                <a:lnTo>
                  <a:pt x="5351823" y="2149604"/>
                </a:lnTo>
                <a:lnTo>
                  <a:pt x="5345638" y="2153718"/>
                </a:lnTo>
                <a:lnTo>
                  <a:pt x="5342051" y="2154688"/>
                </a:lnTo>
                <a:lnTo>
                  <a:pt x="5345639" y="2153718"/>
                </a:lnTo>
                <a:lnTo>
                  <a:pt x="5351824" y="2149604"/>
                </a:lnTo>
                <a:lnTo>
                  <a:pt x="5351499" y="2146464"/>
                </a:lnTo>
                <a:close/>
                <a:moveTo>
                  <a:pt x="4482713" y="2144840"/>
                </a:moveTo>
                <a:lnTo>
                  <a:pt x="4483798" y="2145165"/>
                </a:lnTo>
                <a:lnTo>
                  <a:pt x="4484666" y="2148738"/>
                </a:lnTo>
                <a:lnTo>
                  <a:pt x="4488247" y="2148521"/>
                </a:lnTo>
                <a:lnTo>
                  <a:pt x="4489658" y="2147330"/>
                </a:lnTo>
                <a:lnTo>
                  <a:pt x="4488464" y="2147005"/>
                </a:lnTo>
                <a:lnTo>
                  <a:pt x="4487704" y="2145165"/>
                </a:lnTo>
                <a:lnTo>
                  <a:pt x="4491394" y="2144840"/>
                </a:lnTo>
                <a:lnTo>
                  <a:pt x="4493130" y="2147763"/>
                </a:lnTo>
                <a:lnTo>
                  <a:pt x="4491177" y="2149495"/>
                </a:lnTo>
                <a:lnTo>
                  <a:pt x="4493999" y="2149171"/>
                </a:lnTo>
                <a:lnTo>
                  <a:pt x="4495735" y="2151011"/>
                </a:lnTo>
                <a:lnTo>
                  <a:pt x="4499425" y="2152960"/>
                </a:lnTo>
                <a:lnTo>
                  <a:pt x="4503656" y="2151769"/>
                </a:lnTo>
                <a:lnTo>
                  <a:pt x="4509299" y="2148305"/>
                </a:lnTo>
                <a:lnTo>
                  <a:pt x="4516027" y="2147979"/>
                </a:lnTo>
                <a:lnTo>
                  <a:pt x="4521128" y="2150254"/>
                </a:lnTo>
                <a:lnTo>
                  <a:pt x="4527638" y="2151120"/>
                </a:lnTo>
                <a:lnTo>
                  <a:pt x="4529917" y="2151011"/>
                </a:lnTo>
                <a:lnTo>
                  <a:pt x="4531219" y="2154151"/>
                </a:lnTo>
                <a:lnTo>
                  <a:pt x="4530677" y="2156317"/>
                </a:lnTo>
                <a:lnTo>
                  <a:pt x="4533172" y="2156750"/>
                </a:lnTo>
                <a:lnTo>
                  <a:pt x="4535669" y="2155775"/>
                </a:lnTo>
                <a:lnTo>
                  <a:pt x="4537730" y="2157616"/>
                </a:lnTo>
                <a:lnTo>
                  <a:pt x="4540660" y="2155126"/>
                </a:lnTo>
                <a:lnTo>
                  <a:pt x="4540768" y="2152744"/>
                </a:lnTo>
                <a:lnTo>
                  <a:pt x="4542071" y="2150903"/>
                </a:lnTo>
                <a:lnTo>
                  <a:pt x="4542071" y="2152960"/>
                </a:lnTo>
                <a:lnTo>
                  <a:pt x="4542939" y="2156208"/>
                </a:lnTo>
                <a:lnTo>
                  <a:pt x="4541420" y="2159565"/>
                </a:lnTo>
                <a:lnTo>
                  <a:pt x="4537947" y="2161730"/>
                </a:lnTo>
                <a:lnTo>
                  <a:pt x="4531979" y="2161513"/>
                </a:lnTo>
                <a:lnTo>
                  <a:pt x="4523081" y="2161838"/>
                </a:lnTo>
                <a:lnTo>
                  <a:pt x="4517655" y="2161297"/>
                </a:lnTo>
                <a:lnTo>
                  <a:pt x="4512663" y="2164437"/>
                </a:lnTo>
                <a:lnTo>
                  <a:pt x="4506694" y="2164654"/>
                </a:lnTo>
                <a:lnTo>
                  <a:pt x="4506152" y="2161513"/>
                </a:lnTo>
                <a:lnTo>
                  <a:pt x="4500943" y="2158482"/>
                </a:lnTo>
                <a:lnTo>
                  <a:pt x="4496168" y="2157183"/>
                </a:lnTo>
                <a:lnTo>
                  <a:pt x="4493022" y="2158265"/>
                </a:lnTo>
                <a:lnTo>
                  <a:pt x="4489766" y="2157399"/>
                </a:lnTo>
                <a:lnTo>
                  <a:pt x="4481736" y="2158374"/>
                </a:lnTo>
                <a:lnTo>
                  <a:pt x="4478263" y="2156858"/>
                </a:lnTo>
                <a:lnTo>
                  <a:pt x="4477830" y="2153285"/>
                </a:lnTo>
                <a:lnTo>
                  <a:pt x="4479349" y="2150254"/>
                </a:lnTo>
                <a:lnTo>
                  <a:pt x="4479566" y="2146897"/>
                </a:lnTo>
                <a:lnTo>
                  <a:pt x="4481085" y="2149820"/>
                </a:lnTo>
                <a:lnTo>
                  <a:pt x="4482929" y="2149171"/>
                </a:lnTo>
                <a:lnTo>
                  <a:pt x="4482279" y="2146789"/>
                </a:lnTo>
                <a:close/>
                <a:moveTo>
                  <a:pt x="5583897" y="2143106"/>
                </a:moveTo>
                <a:lnTo>
                  <a:pt x="5580902" y="2147005"/>
                </a:lnTo>
                <a:lnTo>
                  <a:pt x="5586871" y="2152527"/>
                </a:lnTo>
                <a:lnTo>
                  <a:pt x="5586871" y="2152526"/>
                </a:lnTo>
                <a:lnTo>
                  <a:pt x="5580903" y="2147004"/>
                </a:lnTo>
                <a:close/>
                <a:moveTo>
                  <a:pt x="6956460" y="2142783"/>
                </a:moveTo>
                <a:lnTo>
                  <a:pt x="6955591" y="2144083"/>
                </a:lnTo>
                <a:lnTo>
                  <a:pt x="6953638" y="2143216"/>
                </a:lnTo>
                <a:close/>
                <a:moveTo>
                  <a:pt x="4733604" y="2142025"/>
                </a:moveTo>
                <a:lnTo>
                  <a:pt x="4734906" y="2143324"/>
                </a:lnTo>
                <a:lnTo>
                  <a:pt x="4732411" y="2145273"/>
                </a:lnTo>
                <a:lnTo>
                  <a:pt x="4726876" y="2148737"/>
                </a:lnTo>
                <a:lnTo>
                  <a:pt x="4721559" y="2154909"/>
                </a:lnTo>
                <a:lnTo>
                  <a:pt x="4723403" y="2159131"/>
                </a:lnTo>
                <a:lnTo>
                  <a:pt x="4723078" y="2163679"/>
                </a:lnTo>
                <a:lnTo>
                  <a:pt x="4716676" y="2162921"/>
                </a:lnTo>
                <a:lnTo>
                  <a:pt x="4713095" y="2164654"/>
                </a:lnTo>
                <a:lnTo>
                  <a:pt x="4708103" y="2169309"/>
                </a:lnTo>
                <a:lnTo>
                  <a:pt x="4702569" y="2170500"/>
                </a:lnTo>
                <a:lnTo>
                  <a:pt x="4699856" y="2172774"/>
                </a:lnTo>
                <a:lnTo>
                  <a:pt x="4697034" y="2171041"/>
                </a:lnTo>
                <a:lnTo>
                  <a:pt x="4690523" y="2171367"/>
                </a:lnTo>
                <a:lnTo>
                  <a:pt x="4684989" y="2168118"/>
                </a:lnTo>
                <a:lnTo>
                  <a:pt x="4681842" y="2163679"/>
                </a:lnTo>
                <a:lnTo>
                  <a:pt x="4681842" y="2158266"/>
                </a:lnTo>
                <a:lnTo>
                  <a:pt x="4684664" y="2157616"/>
                </a:lnTo>
                <a:lnTo>
                  <a:pt x="4687593" y="2154151"/>
                </a:lnTo>
                <a:lnTo>
                  <a:pt x="4692259" y="2156100"/>
                </a:lnTo>
                <a:lnTo>
                  <a:pt x="4695515" y="2155017"/>
                </a:lnTo>
                <a:lnTo>
                  <a:pt x="4696926" y="2151986"/>
                </a:lnTo>
                <a:lnTo>
                  <a:pt x="4697034" y="2148846"/>
                </a:lnTo>
                <a:lnTo>
                  <a:pt x="4701700" y="2148846"/>
                </a:lnTo>
                <a:lnTo>
                  <a:pt x="4706475" y="2151228"/>
                </a:lnTo>
                <a:lnTo>
                  <a:pt x="4712769" y="2150903"/>
                </a:lnTo>
                <a:lnTo>
                  <a:pt x="4723403" y="2146789"/>
                </a:lnTo>
                <a:lnTo>
                  <a:pt x="4730783" y="2142133"/>
                </a:lnTo>
                <a:close/>
                <a:moveTo>
                  <a:pt x="4999457" y="2141689"/>
                </a:moveTo>
                <a:lnTo>
                  <a:pt x="4999686" y="2144299"/>
                </a:lnTo>
                <a:lnTo>
                  <a:pt x="5001531" y="2145490"/>
                </a:lnTo>
                <a:lnTo>
                  <a:pt x="5001531" y="2145490"/>
                </a:lnTo>
                <a:lnTo>
                  <a:pt x="4999687" y="2144299"/>
                </a:lnTo>
                <a:close/>
                <a:moveTo>
                  <a:pt x="4561063" y="2141592"/>
                </a:moveTo>
                <a:lnTo>
                  <a:pt x="4561714" y="2144407"/>
                </a:lnTo>
                <a:lnTo>
                  <a:pt x="4563993" y="2147439"/>
                </a:lnTo>
                <a:lnTo>
                  <a:pt x="4562257" y="2151877"/>
                </a:lnTo>
                <a:lnTo>
                  <a:pt x="4560737" y="2152527"/>
                </a:lnTo>
                <a:lnTo>
                  <a:pt x="4559977" y="2147763"/>
                </a:lnTo>
                <a:lnTo>
                  <a:pt x="4558567" y="2144840"/>
                </a:lnTo>
                <a:close/>
                <a:moveTo>
                  <a:pt x="6956459" y="2140401"/>
                </a:moveTo>
                <a:lnTo>
                  <a:pt x="6958087" y="2140617"/>
                </a:lnTo>
                <a:lnTo>
                  <a:pt x="6957327" y="2141701"/>
                </a:lnTo>
                <a:close/>
                <a:moveTo>
                  <a:pt x="4264271" y="2138669"/>
                </a:moveTo>
                <a:lnTo>
                  <a:pt x="4271433" y="2139752"/>
                </a:lnTo>
                <a:lnTo>
                  <a:pt x="4271541" y="2143432"/>
                </a:lnTo>
                <a:lnTo>
                  <a:pt x="4268937" y="2146140"/>
                </a:lnTo>
                <a:lnTo>
                  <a:pt x="4264054" y="2142134"/>
                </a:lnTo>
                <a:close/>
                <a:moveTo>
                  <a:pt x="5000415" y="2137835"/>
                </a:moveTo>
                <a:lnTo>
                  <a:pt x="4999144" y="2138127"/>
                </a:lnTo>
                <a:lnTo>
                  <a:pt x="4999144" y="2138128"/>
                </a:lnTo>
                <a:close/>
                <a:moveTo>
                  <a:pt x="4562365" y="2137261"/>
                </a:moveTo>
                <a:lnTo>
                  <a:pt x="4562365" y="2139534"/>
                </a:lnTo>
                <a:lnTo>
                  <a:pt x="4561823" y="2140401"/>
                </a:lnTo>
                <a:lnTo>
                  <a:pt x="4561063" y="2139318"/>
                </a:lnTo>
                <a:close/>
                <a:moveTo>
                  <a:pt x="6958956" y="2136287"/>
                </a:moveTo>
                <a:lnTo>
                  <a:pt x="6961885" y="2138236"/>
                </a:lnTo>
                <a:lnTo>
                  <a:pt x="6960258" y="2139211"/>
                </a:lnTo>
                <a:lnTo>
                  <a:pt x="6957761" y="2137261"/>
                </a:lnTo>
                <a:lnTo>
                  <a:pt x="6957545" y="2136395"/>
                </a:lnTo>
                <a:close/>
                <a:moveTo>
                  <a:pt x="5007002" y="2135677"/>
                </a:moveTo>
                <a:lnTo>
                  <a:pt x="5006632" y="2135962"/>
                </a:lnTo>
                <a:lnTo>
                  <a:pt x="5003183" y="2137082"/>
                </a:lnTo>
                <a:lnTo>
                  <a:pt x="5006631" y="2135962"/>
                </a:lnTo>
                <a:close/>
                <a:moveTo>
                  <a:pt x="5003810" y="2132497"/>
                </a:moveTo>
                <a:lnTo>
                  <a:pt x="5005980" y="2133580"/>
                </a:lnTo>
                <a:lnTo>
                  <a:pt x="5006966" y="2134201"/>
                </a:lnTo>
                <a:lnTo>
                  <a:pt x="5005980" y="2133580"/>
                </a:lnTo>
                <a:close/>
                <a:moveTo>
                  <a:pt x="5373527" y="2127625"/>
                </a:moveTo>
                <a:lnTo>
                  <a:pt x="5378845" y="2131523"/>
                </a:lnTo>
                <a:lnTo>
                  <a:pt x="5380255" y="2134988"/>
                </a:lnTo>
                <a:lnTo>
                  <a:pt x="5382317" y="2136936"/>
                </a:lnTo>
                <a:lnTo>
                  <a:pt x="5380256" y="2134988"/>
                </a:lnTo>
                <a:lnTo>
                  <a:pt x="5378845" y="2131523"/>
                </a:lnTo>
                <a:lnTo>
                  <a:pt x="5373528" y="2127625"/>
                </a:lnTo>
                <a:close/>
                <a:moveTo>
                  <a:pt x="6895148" y="2127084"/>
                </a:moveTo>
                <a:lnTo>
                  <a:pt x="6899814" y="2127842"/>
                </a:lnTo>
                <a:lnTo>
                  <a:pt x="6900140" y="2130982"/>
                </a:lnTo>
                <a:lnTo>
                  <a:pt x="6896993" y="2136504"/>
                </a:lnTo>
                <a:lnTo>
                  <a:pt x="6888637" y="2138019"/>
                </a:lnTo>
                <a:lnTo>
                  <a:pt x="6883971" y="2137153"/>
                </a:lnTo>
                <a:lnTo>
                  <a:pt x="6882235" y="2133580"/>
                </a:lnTo>
                <a:lnTo>
                  <a:pt x="6884948" y="2130115"/>
                </a:lnTo>
                <a:close/>
                <a:moveTo>
                  <a:pt x="4983348" y="2126548"/>
                </a:moveTo>
                <a:lnTo>
                  <a:pt x="4985905" y="2126868"/>
                </a:lnTo>
                <a:lnTo>
                  <a:pt x="4994043" y="2131523"/>
                </a:lnTo>
                <a:lnTo>
                  <a:pt x="4996906" y="2132237"/>
                </a:lnTo>
                <a:lnTo>
                  <a:pt x="4994044" y="2131523"/>
                </a:lnTo>
                <a:lnTo>
                  <a:pt x="4985905" y="2126867"/>
                </a:lnTo>
                <a:close/>
                <a:moveTo>
                  <a:pt x="4463289" y="2124485"/>
                </a:moveTo>
                <a:lnTo>
                  <a:pt x="4464157" y="2127624"/>
                </a:lnTo>
                <a:lnTo>
                  <a:pt x="4466544" y="2130873"/>
                </a:lnTo>
                <a:lnTo>
                  <a:pt x="4464808" y="2134338"/>
                </a:lnTo>
                <a:lnTo>
                  <a:pt x="4462529" y="2133146"/>
                </a:lnTo>
                <a:lnTo>
                  <a:pt x="4462637" y="2130656"/>
                </a:lnTo>
                <a:lnTo>
                  <a:pt x="4461227" y="2128383"/>
                </a:lnTo>
                <a:lnTo>
                  <a:pt x="4462529" y="2125459"/>
                </a:lnTo>
                <a:close/>
                <a:moveTo>
                  <a:pt x="4586238" y="2122861"/>
                </a:moveTo>
                <a:lnTo>
                  <a:pt x="4586021" y="2125351"/>
                </a:lnTo>
                <a:lnTo>
                  <a:pt x="4584285" y="2126650"/>
                </a:lnTo>
                <a:lnTo>
                  <a:pt x="4583417" y="2129140"/>
                </a:lnTo>
                <a:lnTo>
                  <a:pt x="4582114" y="2131306"/>
                </a:lnTo>
                <a:lnTo>
                  <a:pt x="4582223" y="2132822"/>
                </a:lnTo>
                <a:lnTo>
                  <a:pt x="4580053" y="2132930"/>
                </a:lnTo>
                <a:lnTo>
                  <a:pt x="4577449" y="2135420"/>
                </a:lnTo>
                <a:lnTo>
                  <a:pt x="4575278" y="2138018"/>
                </a:lnTo>
                <a:lnTo>
                  <a:pt x="4573325" y="2138343"/>
                </a:lnTo>
                <a:lnTo>
                  <a:pt x="4571806" y="2136828"/>
                </a:lnTo>
                <a:lnTo>
                  <a:pt x="4573000" y="2134229"/>
                </a:lnTo>
                <a:lnTo>
                  <a:pt x="4572240" y="2133255"/>
                </a:lnTo>
                <a:lnTo>
                  <a:pt x="4572565" y="2130765"/>
                </a:lnTo>
                <a:lnTo>
                  <a:pt x="4577774" y="2126434"/>
                </a:lnTo>
                <a:lnTo>
                  <a:pt x="4583200" y="2124160"/>
                </a:lnTo>
                <a:close/>
                <a:moveTo>
                  <a:pt x="4977216" y="2121864"/>
                </a:moveTo>
                <a:lnTo>
                  <a:pt x="4978091" y="2123944"/>
                </a:lnTo>
                <a:lnTo>
                  <a:pt x="4982432" y="2126434"/>
                </a:lnTo>
                <a:lnTo>
                  <a:pt x="4978092" y="2123944"/>
                </a:lnTo>
                <a:close/>
                <a:moveTo>
                  <a:pt x="4462204" y="2121021"/>
                </a:moveTo>
                <a:lnTo>
                  <a:pt x="4463506" y="2123078"/>
                </a:lnTo>
                <a:lnTo>
                  <a:pt x="4461770" y="2122970"/>
                </a:lnTo>
                <a:close/>
                <a:moveTo>
                  <a:pt x="5397618" y="2120155"/>
                </a:moveTo>
                <a:lnTo>
                  <a:pt x="5398812" y="2123511"/>
                </a:lnTo>
                <a:lnTo>
                  <a:pt x="5398812" y="2123511"/>
                </a:lnTo>
                <a:close/>
                <a:moveTo>
                  <a:pt x="4572349" y="2118422"/>
                </a:moveTo>
                <a:lnTo>
                  <a:pt x="4574302" y="2118530"/>
                </a:lnTo>
                <a:lnTo>
                  <a:pt x="4574844" y="2120263"/>
                </a:lnTo>
                <a:lnTo>
                  <a:pt x="4572783" y="2120804"/>
                </a:lnTo>
                <a:lnTo>
                  <a:pt x="4570721" y="2120154"/>
                </a:lnTo>
                <a:close/>
                <a:moveTo>
                  <a:pt x="4495301" y="2117880"/>
                </a:moveTo>
                <a:lnTo>
                  <a:pt x="4498340" y="2117988"/>
                </a:lnTo>
                <a:lnTo>
                  <a:pt x="4497689" y="2120478"/>
                </a:lnTo>
                <a:lnTo>
                  <a:pt x="4495085" y="2121453"/>
                </a:lnTo>
                <a:lnTo>
                  <a:pt x="4493023" y="2121128"/>
                </a:lnTo>
                <a:close/>
                <a:moveTo>
                  <a:pt x="4544134" y="2117664"/>
                </a:moveTo>
                <a:lnTo>
                  <a:pt x="4546087" y="2118530"/>
                </a:lnTo>
                <a:lnTo>
                  <a:pt x="4544243" y="2121346"/>
                </a:lnTo>
                <a:cubicBezTo>
                  <a:pt x="4543204" y="2121758"/>
                  <a:pt x="4542190" y="2122228"/>
                  <a:pt x="4541205" y="2122754"/>
                </a:cubicBezTo>
                <a:lnTo>
                  <a:pt x="4539360" y="2120804"/>
                </a:lnTo>
                <a:lnTo>
                  <a:pt x="4540445" y="2119071"/>
                </a:lnTo>
                <a:close/>
                <a:moveTo>
                  <a:pt x="4971312" y="2114013"/>
                </a:moveTo>
                <a:lnTo>
                  <a:pt x="4973425" y="2114525"/>
                </a:lnTo>
                <a:lnTo>
                  <a:pt x="4974619" y="2116527"/>
                </a:lnTo>
                <a:lnTo>
                  <a:pt x="4973426" y="2114524"/>
                </a:lnTo>
                <a:close/>
                <a:moveTo>
                  <a:pt x="5728159" y="2113116"/>
                </a:moveTo>
                <a:lnTo>
                  <a:pt x="5718718" y="2113332"/>
                </a:lnTo>
                <a:lnTo>
                  <a:pt x="5718488" y="2113304"/>
                </a:lnTo>
                <a:lnTo>
                  <a:pt x="5718720" y="2113333"/>
                </a:lnTo>
                <a:lnTo>
                  <a:pt x="5728160" y="2113116"/>
                </a:lnTo>
                <a:close/>
                <a:moveTo>
                  <a:pt x="5625070" y="2110192"/>
                </a:moveTo>
                <a:lnTo>
                  <a:pt x="5625069" y="2110193"/>
                </a:lnTo>
                <a:lnTo>
                  <a:pt x="5629952" y="2116255"/>
                </a:lnTo>
                <a:lnTo>
                  <a:pt x="5636463" y="2121777"/>
                </a:lnTo>
                <a:lnTo>
                  <a:pt x="5641145" y="2124549"/>
                </a:lnTo>
                <a:lnTo>
                  <a:pt x="5636464" y="2121777"/>
                </a:lnTo>
                <a:lnTo>
                  <a:pt x="5629953" y="2116256"/>
                </a:lnTo>
                <a:close/>
                <a:moveTo>
                  <a:pt x="5613350" y="2110084"/>
                </a:moveTo>
                <a:lnTo>
                  <a:pt x="5616821" y="2113332"/>
                </a:lnTo>
                <a:lnTo>
                  <a:pt x="5616822" y="2113332"/>
                </a:lnTo>
                <a:close/>
                <a:moveTo>
                  <a:pt x="4967565" y="2109002"/>
                </a:moveTo>
                <a:lnTo>
                  <a:pt x="4967565" y="2109003"/>
                </a:lnTo>
                <a:lnTo>
                  <a:pt x="4968705" y="2111330"/>
                </a:lnTo>
                <a:close/>
                <a:moveTo>
                  <a:pt x="5581337" y="2106729"/>
                </a:moveTo>
                <a:lnTo>
                  <a:pt x="5581337" y="2106729"/>
                </a:lnTo>
                <a:lnTo>
                  <a:pt x="5591646" y="2121886"/>
                </a:lnTo>
                <a:lnTo>
                  <a:pt x="5592297" y="2132172"/>
                </a:lnTo>
                <a:lnTo>
                  <a:pt x="5592297" y="2132171"/>
                </a:lnTo>
                <a:lnTo>
                  <a:pt x="5591646" y="2121886"/>
                </a:lnTo>
                <a:close/>
                <a:moveTo>
                  <a:pt x="6949515" y="2105863"/>
                </a:moveTo>
                <a:lnTo>
                  <a:pt x="6953205" y="2106079"/>
                </a:lnTo>
                <a:lnTo>
                  <a:pt x="6951902" y="2109220"/>
                </a:lnTo>
                <a:lnTo>
                  <a:pt x="6949949" y="2111169"/>
                </a:lnTo>
                <a:lnTo>
                  <a:pt x="6947996" y="2111494"/>
                </a:lnTo>
                <a:lnTo>
                  <a:pt x="6947453" y="2108787"/>
                </a:lnTo>
                <a:close/>
                <a:moveTo>
                  <a:pt x="4512122" y="2104996"/>
                </a:moveTo>
                <a:lnTo>
                  <a:pt x="4514509" y="2104996"/>
                </a:lnTo>
                <a:lnTo>
                  <a:pt x="4515594" y="2107486"/>
                </a:lnTo>
                <a:lnTo>
                  <a:pt x="4513315" y="2110627"/>
                </a:lnTo>
                <a:lnTo>
                  <a:pt x="4511145" y="2108786"/>
                </a:lnTo>
                <a:close/>
                <a:moveTo>
                  <a:pt x="4497038" y="2104888"/>
                </a:moveTo>
                <a:lnTo>
                  <a:pt x="4497038" y="2107920"/>
                </a:lnTo>
                <a:lnTo>
                  <a:pt x="4494867" y="2106404"/>
                </a:lnTo>
                <a:close/>
                <a:moveTo>
                  <a:pt x="4520803" y="2104130"/>
                </a:moveTo>
                <a:lnTo>
                  <a:pt x="4522973" y="2104563"/>
                </a:lnTo>
                <a:lnTo>
                  <a:pt x="4523516" y="2107054"/>
                </a:lnTo>
                <a:lnTo>
                  <a:pt x="4521345" y="2109761"/>
                </a:lnTo>
                <a:lnTo>
                  <a:pt x="4519067" y="2109652"/>
                </a:lnTo>
                <a:lnTo>
                  <a:pt x="4517439" y="2107054"/>
                </a:lnTo>
                <a:close/>
                <a:moveTo>
                  <a:pt x="4908485" y="2102064"/>
                </a:moveTo>
                <a:lnTo>
                  <a:pt x="4907122" y="2104346"/>
                </a:lnTo>
                <a:lnTo>
                  <a:pt x="4904843" y="2104346"/>
                </a:lnTo>
                <a:lnTo>
                  <a:pt x="4899852" y="2108677"/>
                </a:lnTo>
                <a:lnTo>
                  <a:pt x="4890520" y="2110626"/>
                </a:lnTo>
                <a:lnTo>
                  <a:pt x="4890519" y="2110627"/>
                </a:lnTo>
                <a:lnTo>
                  <a:pt x="4899851" y="2108678"/>
                </a:lnTo>
                <a:lnTo>
                  <a:pt x="4904842" y="2104347"/>
                </a:lnTo>
                <a:lnTo>
                  <a:pt x="4907122" y="2104347"/>
                </a:lnTo>
                <a:close/>
                <a:moveTo>
                  <a:pt x="5335764" y="2100732"/>
                </a:moveTo>
                <a:lnTo>
                  <a:pt x="5338910" y="2100990"/>
                </a:lnTo>
                <a:lnTo>
                  <a:pt x="5344879" y="2103481"/>
                </a:lnTo>
                <a:lnTo>
                  <a:pt x="5348677" y="2110194"/>
                </a:lnTo>
                <a:lnTo>
                  <a:pt x="5347048" y="2113875"/>
                </a:lnTo>
                <a:lnTo>
                  <a:pt x="5349110" y="2119722"/>
                </a:lnTo>
                <a:lnTo>
                  <a:pt x="5348893" y="2123294"/>
                </a:lnTo>
                <a:lnTo>
                  <a:pt x="5350846" y="2127084"/>
                </a:lnTo>
                <a:lnTo>
                  <a:pt x="5351172" y="2127625"/>
                </a:lnTo>
                <a:lnTo>
                  <a:pt x="5350738" y="2134338"/>
                </a:lnTo>
                <a:lnTo>
                  <a:pt x="5351281" y="2137586"/>
                </a:lnTo>
                <a:lnTo>
                  <a:pt x="5349545" y="2141159"/>
                </a:lnTo>
                <a:lnTo>
                  <a:pt x="5352273" y="2144725"/>
                </a:lnTo>
                <a:lnTo>
                  <a:pt x="5349546" y="2141158"/>
                </a:lnTo>
                <a:lnTo>
                  <a:pt x="5351282" y="2137586"/>
                </a:lnTo>
                <a:lnTo>
                  <a:pt x="5350739" y="2134338"/>
                </a:lnTo>
                <a:lnTo>
                  <a:pt x="5351173" y="2127625"/>
                </a:lnTo>
                <a:lnTo>
                  <a:pt x="5350847" y="2127084"/>
                </a:lnTo>
                <a:lnTo>
                  <a:pt x="5348894" y="2123294"/>
                </a:lnTo>
                <a:lnTo>
                  <a:pt x="5349111" y="2119722"/>
                </a:lnTo>
                <a:lnTo>
                  <a:pt x="5347049" y="2113875"/>
                </a:lnTo>
                <a:lnTo>
                  <a:pt x="5348678" y="2110194"/>
                </a:lnTo>
                <a:lnTo>
                  <a:pt x="5344879" y="2103481"/>
                </a:lnTo>
                <a:lnTo>
                  <a:pt x="5338911" y="2100990"/>
                </a:lnTo>
                <a:close/>
                <a:moveTo>
                  <a:pt x="5164307" y="2100233"/>
                </a:moveTo>
                <a:lnTo>
                  <a:pt x="5152370" y="2101749"/>
                </a:lnTo>
                <a:lnTo>
                  <a:pt x="5151689" y="2101939"/>
                </a:lnTo>
                <a:lnTo>
                  <a:pt x="5162569" y="2100557"/>
                </a:lnTo>
                <a:lnTo>
                  <a:pt x="5176352" y="2101749"/>
                </a:lnTo>
                <a:lnTo>
                  <a:pt x="5181669" y="2102831"/>
                </a:lnTo>
                <a:lnTo>
                  <a:pt x="5181846" y="2102189"/>
                </a:lnTo>
                <a:lnTo>
                  <a:pt x="5178088" y="2101424"/>
                </a:lnTo>
                <a:close/>
                <a:moveTo>
                  <a:pt x="4961055" y="2098392"/>
                </a:moveTo>
                <a:lnTo>
                  <a:pt x="4960512" y="2098500"/>
                </a:lnTo>
                <a:lnTo>
                  <a:pt x="4960512" y="2098500"/>
                </a:lnTo>
                <a:lnTo>
                  <a:pt x="4960513" y="2098500"/>
                </a:lnTo>
                <a:lnTo>
                  <a:pt x="4961055" y="2098392"/>
                </a:lnTo>
                <a:lnTo>
                  <a:pt x="4955321" y="2100087"/>
                </a:lnTo>
                <a:lnTo>
                  <a:pt x="4955312" y="2100090"/>
                </a:lnTo>
                <a:lnTo>
                  <a:pt x="4961054" y="2098392"/>
                </a:lnTo>
                <a:lnTo>
                  <a:pt x="4965503" y="2098717"/>
                </a:lnTo>
                <a:lnTo>
                  <a:pt x="4967782" y="2104672"/>
                </a:lnTo>
                <a:lnTo>
                  <a:pt x="4967571" y="2108883"/>
                </a:lnTo>
                <a:lnTo>
                  <a:pt x="4967783" y="2104672"/>
                </a:lnTo>
                <a:lnTo>
                  <a:pt x="4965503" y="2098717"/>
                </a:lnTo>
                <a:lnTo>
                  <a:pt x="4961055" y="2098392"/>
                </a:lnTo>
                <a:close/>
                <a:moveTo>
                  <a:pt x="4493891" y="2098175"/>
                </a:moveTo>
                <a:lnTo>
                  <a:pt x="4496062" y="2098717"/>
                </a:lnTo>
                <a:lnTo>
                  <a:pt x="4496062" y="2100882"/>
                </a:lnTo>
                <a:cubicBezTo>
                  <a:pt x="4495399" y="2101319"/>
                  <a:pt x="4494710" y="2101717"/>
                  <a:pt x="4494000" y="2102073"/>
                </a:cubicBezTo>
                <a:close/>
                <a:moveTo>
                  <a:pt x="6879737" y="2097959"/>
                </a:moveTo>
                <a:lnTo>
                  <a:pt x="6880932" y="2100449"/>
                </a:lnTo>
                <a:lnTo>
                  <a:pt x="6881257" y="2104563"/>
                </a:lnTo>
                <a:lnTo>
                  <a:pt x="6879521" y="2104563"/>
                </a:lnTo>
                <a:lnTo>
                  <a:pt x="6877676" y="2105755"/>
                </a:lnTo>
                <a:lnTo>
                  <a:pt x="6875614" y="2102398"/>
                </a:lnTo>
                <a:lnTo>
                  <a:pt x="6876591" y="2100774"/>
                </a:lnTo>
                <a:lnTo>
                  <a:pt x="6878110" y="2100774"/>
                </a:lnTo>
                <a:close/>
                <a:moveTo>
                  <a:pt x="4517873" y="2097309"/>
                </a:moveTo>
                <a:lnTo>
                  <a:pt x="4519935" y="2097850"/>
                </a:lnTo>
                <a:lnTo>
                  <a:pt x="4517765" y="2099150"/>
                </a:lnTo>
                <a:close/>
                <a:moveTo>
                  <a:pt x="7061070" y="2096985"/>
                </a:moveTo>
                <a:lnTo>
                  <a:pt x="7067256" y="2097310"/>
                </a:lnTo>
                <a:lnTo>
                  <a:pt x="7070729" y="2099909"/>
                </a:lnTo>
                <a:lnTo>
                  <a:pt x="7074309" y="2100017"/>
                </a:lnTo>
                <a:lnTo>
                  <a:pt x="7079518" y="2104131"/>
                </a:lnTo>
                <a:lnTo>
                  <a:pt x="7080494" y="2107487"/>
                </a:lnTo>
                <a:lnTo>
                  <a:pt x="7082231" y="2109111"/>
                </a:lnTo>
                <a:lnTo>
                  <a:pt x="7081688" y="2112251"/>
                </a:lnTo>
                <a:lnTo>
                  <a:pt x="7076371" y="2117232"/>
                </a:lnTo>
                <a:lnTo>
                  <a:pt x="7074201" y="2125677"/>
                </a:lnTo>
                <a:lnTo>
                  <a:pt x="7071270" y="2127084"/>
                </a:lnTo>
                <a:lnTo>
                  <a:pt x="7069317" y="2123728"/>
                </a:lnTo>
                <a:lnTo>
                  <a:pt x="7062589" y="2119505"/>
                </a:lnTo>
                <a:lnTo>
                  <a:pt x="7057272" y="2118747"/>
                </a:lnTo>
                <a:lnTo>
                  <a:pt x="7055753" y="2121346"/>
                </a:lnTo>
                <a:lnTo>
                  <a:pt x="7050001" y="2124811"/>
                </a:lnTo>
                <a:lnTo>
                  <a:pt x="7047939" y="2131631"/>
                </a:lnTo>
                <a:lnTo>
                  <a:pt x="7045877" y="2135854"/>
                </a:lnTo>
                <a:lnTo>
                  <a:pt x="7050219" y="2140401"/>
                </a:lnTo>
                <a:lnTo>
                  <a:pt x="7050543" y="2143325"/>
                </a:lnTo>
                <a:lnTo>
                  <a:pt x="7048265" y="2144082"/>
                </a:lnTo>
                <a:lnTo>
                  <a:pt x="7045335" y="2143000"/>
                </a:lnTo>
                <a:lnTo>
                  <a:pt x="7043815" y="2144733"/>
                </a:lnTo>
                <a:lnTo>
                  <a:pt x="7041862" y="2143866"/>
                </a:lnTo>
                <a:lnTo>
                  <a:pt x="7042297" y="2140943"/>
                </a:lnTo>
                <a:lnTo>
                  <a:pt x="7036436" y="2140293"/>
                </a:lnTo>
                <a:lnTo>
                  <a:pt x="7032639" y="2134554"/>
                </a:lnTo>
                <a:lnTo>
                  <a:pt x="7032639" y="2132173"/>
                </a:lnTo>
                <a:lnTo>
                  <a:pt x="7034049" y="2130874"/>
                </a:lnTo>
                <a:lnTo>
                  <a:pt x="7032747" y="2126218"/>
                </a:lnTo>
                <a:lnTo>
                  <a:pt x="7026127" y="2124486"/>
                </a:lnTo>
                <a:lnTo>
                  <a:pt x="7027104" y="2119613"/>
                </a:lnTo>
                <a:lnTo>
                  <a:pt x="7031227" y="2116690"/>
                </a:lnTo>
                <a:lnTo>
                  <a:pt x="7031445" y="2112468"/>
                </a:lnTo>
                <a:lnTo>
                  <a:pt x="7037738" y="2105213"/>
                </a:lnTo>
                <a:lnTo>
                  <a:pt x="7040018" y="2104997"/>
                </a:lnTo>
                <a:lnTo>
                  <a:pt x="7042839" y="2111385"/>
                </a:lnTo>
                <a:lnTo>
                  <a:pt x="7045010" y="2112035"/>
                </a:lnTo>
                <a:lnTo>
                  <a:pt x="7048590" y="2109544"/>
                </a:lnTo>
                <a:lnTo>
                  <a:pt x="7052931" y="2108137"/>
                </a:lnTo>
                <a:lnTo>
                  <a:pt x="7055210" y="2104672"/>
                </a:lnTo>
                <a:lnTo>
                  <a:pt x="7055210" y="2101749"/>
                </a:lnTo>
                <a:close/>
                <a:moveTo>
                  <a:pt x="5618981" y="2096140"/>
                </a:moveTo>
                <a:lnTo>
                  <a:pt x="5612373" y="2100556"/>
                </a:lnTo>
                <a:lnTo>
                  <a:pt x="5612373" y="2100557"/>
                </a:lnTo>
                <a:close/>
                <a:moveTo>
                  <a:pt x="4951396" y="2093520"/>
                </a:moveTo>
                <a:lnTo>
                  <a:pt x="4951180" y="2098175"/>
                </a:lnTo>
                <a:lnTo>
                  <a:pt x="4951180" y="2098175"/>
                </a:lnTo>
                <a:lnTo>
                  <a:pt x="4951397" y="2093520"/>
                </a:lnTo>
                <a:close/>
                <a:moveTo>
                  <a:pt x="4492372" y="2093086"/>
                </a:moveTo>
                <a:lnTo>
                  <a:pt x="4494108" y="2095468"/>
                </a:lnTo>
                <a:lnTo>
                  <a:pt x="4491721" y="2096551"/>
                </a:lnTo>
                <a:lnTo>
                  <a:pt x="4490961" y="2094926"/>
                </a:lnTo>
                <a:close/>
                <a:moveTo>
                  <a:pt x="4513098" y="2092437"/>
                </a:moveTo>
                <a:lnTo>
                  <a:pt x="4515159" y="2094386"/>
                </a:lnTo>
                <a:lnTo>
                  <a:pt x="4515594" y="2096659"/>
                </a:lnTo>
                <a:lnTo>
                  <a:pt x="4512881" y="2095468"/>
                </a:lnTo>
                <a:lnTo>
                  <a:pt x="4510928" y="2093194"/>
                </a:lnTo>
                <a:close/>
                <a:moveTo>
                  <a:pt x="6952661" y="2091680"/>
                </a:moveTo>
                <a:lnTo>
                  <a:pt x="6953530" y="2093629"/>
                </a:lnTo>
                <a:lnTo>
                  <a:pt x="6954398" y="2096985"/>
                </a:lnTo>
                <a:lnTo>
                  <a:pt x="6952010" y="2101857"/>
                </a:lnTo>
                <a:lnTo>
                  <a:pt x="6950165" y="2103482"/>
                </a:lnTo>
                <a:lnTo>
                  <a:pt x="6949080" y="2100125"/>
                </a:lnTo>
                <a:lnTo>
                  <a:pt x="6949189" y="2096119"/>
                </a:lnTo>
                <a:lnTo>
                  <a:pt x="6950491" y="2093088"/>
                </a:lnTo>
                <a:close/>
                <a:moveTo>
                  <a:pt x="4536538" y="2091680"/>
                </a:moveTo>
                <a:lnTo>
                  <a:pt x="4535779" y="2094062"/>
                </a:lnTo>
                <a:lnTo>
                  <a:pt x="4532414" y="2097202"/>
                </a:lnTo>
                <a:lnTo>
                  <a:pt x="4530787" y="2095253"/>
                </a:lnTo>
                <a:lnTo>
                  <a:pt x="4531546" y="2092654"/>
                </a:lnTo>
                <a:close/>
                <a:moveTo>
                  <a:pt x="5602064" y="2091246"/>
                </a:moveTo>
                <a:lnTo>
                  <a:pt x="5602063" y="2091246"/>
                </a:lnTo>
                <a:lnTo>
                  <a:pt x="5600804" y="2092319"/>
                </a:lnTo>
                <a:close/>
                <a:moveTo>
                  <a:pt x="7067364" y="2090055"/>
                </a:moveTo>
                <a:lnTo>
                  <a:pt x="7070402" y="2090705"/>
                </a:lnTo>
                <a:lnTo>
                  <a:pt x="7070293" y="2093087"/>
                </a:lnTo>
                <a:lnTo>
                  <a:pt x="7067255" y="2094602"/>
                </a:lnTo>
                <a:lnTo>
                  <a:pt x="7063674" y="2093628"/>
                </a:lnTo>
                <a:close/>
                <a:moveTo>
                  <a:pt x="3772319" y="2089721"/>
                </a:moveTo>
                <a:lnTo>
                  <a:pt x="3772256" y="2089838"/>
                </a:lnTo>
                <a:lnTo>
                  <a:pt x="3775728" y="2095359"/>
                </a:lnTo>
                <a:lnTo>
                  <a:pt x="3775728" y="2095143"/>
                </a:lnTo>
                <a:close/>
                <a:moveTo>
                  <a:pt x="5622357" y="2088756"/>
                </a:moveTo>
                <a:lnTo>
                  <a:pt x="5622356" y="2088756"/>
                </a:lnTo>
                <a:lnTo>
                  <a:pt x="5623193" y="2091021"/>
                </a:lnTo>
                <a:lnTo>
                  <a:pt x="5623128" y="2090844"/>
                </a:lnTo>
                <a:close/>
                <a:moveTo>
                  <a:pt x="5584266" y="2087889"/>
                </a:moveTo>
                <a:lnTo>
                  <a:pt x="5584266" y="2087889"/>
                </a:lnTo>
                <a:lnTo>
                  <a:pt x="5588607" y="2089622"/>
                </a:lnTo>
                <a:close/>
                <a:moveTo>
                  <a:pt x="5090795" y="2087673"/>
                </a:moveTo>
                <a:lnTo>
                  <a:pt x="5092251" y="2092654"/>
                </a:lnTo>
                <a:lnTo>
                  <a:pt x="5095940" y="2097093"/>
                </a:lnTo>
                <a:lnTo>
                  <a:pt x="5107986" y="2101965"/>
                </a:lnTo>
                <a:lnTo>
                  <a:pt x="5113304" y="2102398"/>
                </a:lnTo>
                <a:lnTo>
                  <a:pt x="5127736" y="2106621"/>
                </a:lnTo>
                <a:lnTo>
                  <a:pt x="5134790" y="2106621"/>
                </a:lnTo>
                <a:lnTo>
                  <a:pt x="5136298" y="2106188"/>
                </a:lnTo>
                <a:lnTo>
                  <a:pt x="5129472" y="2106188"/>
                </a:lnTo>
                <a:lnTo>
                  <a:pt x="5115040" y="2102073"/>
                </a:lnTo>
                <a:lnTo>
                  <a:pt x="5109722" y="2102073"/>
                </a:lnTo>
                <a:lnTo>
                  <a:pt x="5097677" y="2097310"/>
                </a:lnTo>
                <a:lnTo>
                  <a:pt x="5094096" y="2092871"/>
                </a:lnTo>
                <a:lnTo>
                  <a:pt x="5092576" y="2087673"/>
                </a:lnTo>
                <a:close/>
                <a:moveTo>
                  <a:pt x="6913921" y="2086807"/>
                </a:moveTo>
                <a:lnTo>
                  <a:pt x="6916308" y="2089189"/>
                </a:lnTo>
                <a:lnTo>
                  <a:pt x="6912728" y="2090597"/>
                </a:lnTo>
                <a:lnTo>
                  <a:pt x="6911642" y="2088431"/>
                </a:lnTo>
                <a:close/>
                <a:moveTo>
                  <a:pt x="7082664" y="2086374"/>
                </a:moveTo>
                <a:lnTo>
                  <a:pt x="7083641" y="2089298"/>
                </a:lnTo>
                <a:lnTo>
                  <a:pt x="7083097" y="2092762"/>
                </a:lnTo>
                <a:lnTo>
                  <a:pt x="7083857" y="2094819"/>
                </a:lnTo>
                <a:lnTo>
                  <a:pt x="7083097" y="2097743"/>
                </a:lnTo>
                <a:lnTo>
                  <a:pt x="7080601" y="2097852"/>
                </a:lnTo>
                <a:lnTo>
                  <a:pt x="7078431" y="2093087"/>
                </a:lnTo>
                <a:lnTo>
                  <a:pt x="7078540" y="2089298"/>
                </a:lnTo>
                <a:lnTo>
                  <a:pt x="7080168" y="2086807"/>
                </a:lnTo>
                <a:close/>
                <a:moveTo>
                  <a:pt x="4544676" y="2085617"/>
                </a:moveTo>
                <a:lnTo>
                  <a:pt x="4547498" y="2085942"/>
                </a:lnTo>
                <a:lnTo>
                  <a:pt x="4550319" y="2088215"/>
                </a:lnTo>
                <a:lnTo>
                  <a:pt x="4551079" y="2087241"/>
                </a:lnTo>
                <a:lnTo>
                  <a:pt x="4552381" y="2087566"/>
                </a:lnTo>
                <a:lnTo>
                  <a:pt x="4552923" y="2089298"/>
                </a:lnTo>
                <a:lnTo>
                  <a:pt x="4550211" y="2090597"/>
                </a:lnTo>
                <a:lnTo>
                  <a:pt x="4549126" y="2092005"/>
                </a:lnTo>
                <a:lnTo>
                  <a:pt x="4546847" y="2091897"/>
                </a:lnTo>
                <a:lnTo>
                  <a:pt x="4544785" y="2089623"/>
                </a:lnTo>
                <a:lnTo>
                  <a:pt x="4542180" y="2089839"/>
                </a:lnTo>
                <a:lnTo>
                  <a:pt x="4539685" y="2090597"/>
                </a:lnTo>
                <a:lnTo>
                  <a:pt x="4540770" y="2088865"/>
                </a:lnTo>
                <a:close/>
                <a:moveTo>
                  <a:pt x="5311251" y="2084971"/>
                </a:moveTo>
                <a:lnTo>
                  <a:pt x="5318726" y="2086699"/>
                </a:lnTo>
                <a:lnTo>
                  <a:pt x="5328383" y="2100124"/>
                </a:lnTo>
                <a:lnTo>
                  <a:pt x="5328384" y="2100124"/>
                </a:lnTo>
                <a:lnTo>
                  <a:pt x="5318727" y="2086699"/>
                </a:lnTo>
                <a:close/>
                <a:moveTo>
                  <a:pt x="5073154" y="2084750"/>
                </a:moveTo>
                <a:lnTo>
                  <a:pt x="5076082" y="2085725"/>
                </a:lnTo>
                <a:lnTo>
                  <a:pt x="5076402" y="2085608"/>
                </a:lnTo>
                <a:lnTo>
                  <a:pt x="5074020" y="2084750"/>
                </a:lnTo>
                <a:close/>
                <a:moveTo>
                  <a:pt x="5083570" y="2084100"/>
                </a:moveTo>
                <a:lnTo>
                  <a:pt x="5082799" y="2084382"/>
                </a:lnTo>
                <a:lnTo>
                  <a:pt x="5087259" y="2087349"/>
                </a:lnTo>
                <a:lnTo>
                  <a:pt x="5088669" y="2087393"/>
                </a:lnTo>
                <a:close/>
                <a:moveTo>
                  <a:pt x="4408054" y="2083884"/>
                </a:moveTo>
                <a:lnTo>
                  <a:pt x="4410984" y="2085183"/>
                </a:lnTo>
                <a:lnTo>
                  <a:pt x="4413154" y="2088106"/>
                </a:lnTo>
                <a:lnTo>
                  <a:pt x="4414999" y="2090272"/>
                </a:lnTo>
                <a:lnTo>
                  <a:pt x="4412069" y="2089730"/>
                </a:lnTo>
                <a:lnTo>
                  <a:pt x="4411418" y="2091355"/>
                </a:lnTo>
                <a:lnTo>
                  <a:pt x="4408705" y="2090596"/>
                </a:lnTo>
                <a:lnTo>
                  <a:pt x="4405450" y="2087349"/>
                </a:lnTo>
                <a:lnTo>
                  <a:pt x="4406209" y="2084750"/>
                </a:lnTo>
                <a:close/>
                <a:moveTo>
                  <a:pt x="4502463" y="2083667"/>
                </a:moveTo>
                <a:lnTo>
                  <a:pt x="4504417" y="2086591"/>
                </a:lnTo>
                <a:lnTo>
                  <a:pt x="4508432" y="2090272"/>
                </a:lnTo>
                <a:lnTo>
                  <a:pt x="4508324" y="2092762"/>
                </a:lnTo>
                <a:lnTo>
                  <a:pt x="4506370" y="2092654"/>
                </a:lnTo>
                <a:lnTo>
                  <a:pt x="4501270" y="2087673"/>
                </a:lnTo>
                <a:lnTo>
                  <a:pt x="4499100" y="2085941"/>
                </a:lnTo>
                <a:lnTo>
                  <a:pt x="4500293" y="2083883"/>
                </a:lnTo>
                <a:close/>
                <a:moveTo>
                  <a:pt x="5427678" y="2083234"/>
                </a:moveTo>
                <a:lnTo>
                  <a:pt x="5427678" y="2083235"/>
                </a:lnTo>
                <a:lnTo>
                  <a:pt x="5429207" y="2084455"/>
                </a:lnTo>
                <a:close/>
                <a:moveTo>
                  <a:pt x="5582589" y="2082426"/>
                </a:moveTo>
                <a:lnTo>
                  <a:pt x="5584266" y="2084642"/>
                </a:lnTo>
                <a:lnTo>
                  <a:pt x="5584266" y="2084641"/>
                </a:lnTo>
                <a:close/>
                <a:moveTo>
                  <a:pt x="6932043" y="2080635"/>
                </a:moveTo>
                <a:lnTo>
                  <a:pt x="6933888" y="2081826"/>
                </a:lnTo>
                <a:lnTo>
                  <a:pt x="6934214" y="2085940"/>
                </a:lnTo>
                <a:lnTo>
                  <a:pt x="6932585" y="2088430"/>
                </a:lnTo>
                <a:lnTo>
                  <a:pt x="6930307" y="2089296"/>
                </a:lnTo>
                <a:lnTo>
                  <a:pt x="6928896" y="2086048"/>
                </a:lnTo>
                <a:lnTo>
                  <a:pt x="6928679" y="2083341"/>
                </a:lnTo>
                <a:close/>
                <a:moveTo>
                  <a:pt x="5062062" y="2079770"/>
                </a:moveTo>
                <a:lnTo>
                  <a:pt x="5066424" y="2084425"/>
                </a:lnTo>
                <a:lnTo>
                  <a:pt x="5068072" y="2084425"/>
                </a:lnTo>
                <a:lnTo>
                  <a:pt x="5063711" y="2079770"/>
                </a:lnTo>
                <a:close/>
                <a:moveTo>
                  <a:pt x="3356745" y="2079553"/>
                </a:moveTo>
                <a:lnTo>
                  <a:pt x="3359458" y="2080202"/>
                </a:lnTo>
                <a:lnTo>
                  <a:pt x="3361194" y="2082584"/>
                </a:lnTo>
                <a:lnTo>
                  <a:pt x="3359349" y="2083884"/>
                </a:lnTo>
                <a:lnTo>
                  <a:pt x="3353164" y="2082910"/>
                </a:lnTo>
                <a:lnTo>
                  <a:pt x="3352513" y="2080852"/>
                </a:lnTo>
                <a:close/>
                <a:moveTo>
                  <a:pt x="5297728" y="2076470"/>
                </a:moveTo>
                <a:lnTo>
                  <a:pt x="5301146" y="2077063"/>
                </a:lnTo>
                <a:lnTo>
                  <a:pt x="5302557" y="2084100"/>
                </a:lnTo>
                <a:lnTo>
                  <a:pt x="5304727" y="2085833"/>
                </a:lnTo>
                <a:lnTo>
                  <a:pt x="5304728" y="2085833"/>
                </a:lnTo>
                <a:lnTo>
                  <a:pt x="5302558" y="2084100"/>
                </a:lnTo>
                <a:lnTo>
                  <a:pt x="5301147" y="2077063"/>
                </a:lnTo>
                <a:close/>
                <a:moveTo>
                  <a:pt x="5666956" y="2072623"/>
                </a:moveTo>
                <a:lnTo>
                  <a:pt x="5664569" y="2074355"/>
                </a:lnTo>
                <a:lnTo>
                  <a:pt x="5664570" y="2074355"/>
                </a:lnTo>
                <a:lnTo>
                  <a:pt x="5666956" y="2072623"/>
                </a:lnTo>
                <a:lnTo>
                  <a:pt x="5668022" y="2072709"/>
                </a:lnTo>
                <a:close/>
                <a:moveTo>
                  <a:pt x="4285322" y="2072407"/>
                </a:moveTo>
                <a:lnTo>
                  <a:pt x="4289012" y="2076738"/>
                </a:lnTo>
                <a:lnTo>
                  <a:pt x="4288035" y="2083017"/>
                </a:lnTo>
                <a:lnTo>
                  <a:pt x="4283695" y="2087023"/>
                </a:lnTo>
                <a:lnTo>
                  <a:pt x="4279354" y="2098608"/>
                </a:lnTo>
                <a:lnTo>
                  <a:pt x="4283695" y="2104563"/>
                </a:lnTo>
                <a:lnTo>
                  <a:pt x="4284237" y="2109760"/>
                </a:lnTo>
                <a:lnTo>
                  <a:pt x="4281958" y="2112684"/>
                </a:lnTo>
                <a:lnTo>
                  <a:pt x="4282284" y="2118638"/>
                </a:lnTo>
                <a:lnTo>
                  <a:pt x="4277727" y="2119288"/>
                </a:lnTo>
                <a:lnTo>
                  <a:pt x="4266766" y="2114957"/>
                </a:lnTo>
                <a:lnTo>
                  <a:pt x="4265789" y="2111168"/>
                </a:lnTo>
                <a:lnTo>
                  <a:pt x="4261123" y="2107811"/>
                </a:lnTo>
                <a:lnTo>
                  <a:pt x="4258953" y="2109219"/>
                </a:lnTo>
                <a:lnTo>
                  <a:pt x="4248318" y="2105213"/>
                </a:lnTo>
                <a:lnTo>
                  <a:pt x="4243760" y="2100341"/>
                </a:lnTo>
                <a:lnTo>
                  <a:pt x="4238877" y="2099150"/>
                </a:lnTo>
                <a:lnTo>
                  <a:pt x="4229871" y="2092978"/>
                </a:lnTo>
                <a:lnTo>
                  <a:pt x="4224770" y="2093844"/>
                </a:lnTo>
                <a:lnTo>
                  <a:pt x="4219670" y="2089189"/>
                </a:lnTo>
                <a:lnTo>
                  <a:pt x="4220430" y="2081393"/>
                </a:lnTo>
                <a:lnTo>
                  <a:pt x="4226181" y="2078686"/>
                </a:lnTo>
                <a:lnTo>
                  <a:pt x="4227917" y="2080852"/>
                </a:lnTo>
                <a:lnTo>
                  <a:pt x="4230739" y="2078578"/>
                </a:lnTo>
                <a:lnTo>
                  <a:pt x="4236055" y="2078037"/>
                </a:lnTo>
                <a:lnTo>
                  <a:pt x="4240505" y="2081068"/>
                </a:lnTo>
                <a:lnTo>
                  <a:pt x="4246799" y="2082260"/>
                </a:lnTo>
                <a:lnTo>
                  <a:pt x="4255697" y="2079661"/>
                </a:lnTo>
                <a:lnTo>
                  <a:pt x="4266549" y="2080311"/>
                </a:lnTo>
                <a:lnTo>
                  <a:pt x="4271649" y="2074897"/>
                </a:lnTo>
                <a:lnTo>
                  <a:pt x="4276858" y="2077821"/>
                </a:lnTo>
                <a:lnTo>
                  <a:pt x="4279354" y="2078145"/>
                </a:lnTo>
                <a:close/>
                <a:moveTo>
                  <a:pt x="5286497" y="2072190"/>
                </a:moveTo>
                <a:lnTo>
                  <a:pt x="5286497" y="2072191"/>
                </a:lnTo>
                <a:lnTo>
                  <a:pt x="5296154" y="2076196"/>
                </a:lnTo>
                <a:lnTo>
                  <a:pt x="5296155" y="2076197"/>
                </a:lnTo>
                <a:close/>
                <a:moveTo>
                  <a:pt x="5656755" y="2071216"/>
                </a:moveTo>
                <a:lnTo>
                  <a:pt x="5654585" y="2072623"/>
                </a:lnTo>
                <a:lnTo>
                  <a:pt x="5651004" y="2071649"/>
                </a:lnTo>
                <a:lnTo>
                  <a:pt x="5654585" y="2072623"/>
                </a:lnTo>
                <a:lnTo>
                  <a:pt x="5654801" y="2072623"/>
                </a:lnTo>
                <a:lnTo>
                  <a:pt x="5650027" y="2080852"/>
                </a:lnTo>
                <a:lnTo>
                  <a:pt x="5650028" y="2080851"/>
                </a:lnTo>
                <a:lnTo>
                  <a:pt x="5654803" y="2072623"/>
                </a:lnTo>
                <a:lnTo>
                  <a:pt x="5654586" y="2072623"/>
                </a:lnTo>
                <a:close/>
                <a:moveTo>
                  <a:pt x="5464030" y="2070566"/>
                </a:moveTo>
                <a:lnTo>
                  <a:pt x="5465658" y="2072191"/>
                </a:lnTo>
                <a:lnTo>
                  <a:pt x="5465659" y="2072190"/>
                </a:lnTo>
                <a:lnTo>
                  <a:pt x="5465658" y="2072190"/>
                </a:lnTo>
                <a:close/>
                <a:moveTo>
                  <a:pt x="5522846" y="2070565"/>
                </a:moveTo>
                <a:lnTo>
                  <a:pt x="5520133" y="2073056"/>
                </a:lnTo>
                <a:lnTo>
                  <a:pt x="5517420" y="2073597"/>
                </a:lnTo>
                <a:lnTo>
                  <a:pt x="5514815" y="2077387"/>
                </a:lnTo>
                <a:lnTo>
                  <a:pt x="5509607" y="2080310"/>
                </a:lnTo>
                <a:lnTo>
                  <a:pt x="5501685" y="2082042"/>
                </a:lnTo>
                <a:lnTo>
                  <a:pt x="5498104" y="2080526"/>
                </a:lnTo>
                <a:lnTo>
                  <a:pt x="5492895" y="2073814"/>
                </a:lnTo>
                <a:lnTo>
                  <a:pt x="5494957" y="2076412"/>
                </a:lnTo>
                <a:lnTo>
                  <a:pt x="5494957" y="2076411"/>
                </a:lnTo>
                <a:lnTo>
                  <a:pt x="5492896" y="2073814"/>
                </a:lnTo>
                <a:lnTo>
                  <a:pt x="5492895" y="2073814"/>
                </a:lnTo>
                <a:lnTo>
                  <a:pt x="5498104" y="2080527"/>
                </a:lnTo>
                <a:lnTo>
                  <a:pt x="5501685" y="2082043"/>
                </a:lnTo>
                <a:lnTo>
                  <a:pt x="5509607" y="2080311"/>
                </a:lnTo>
                <a:lnTo>
                  <a:pt x="5514816" y="2077387"/>
                </a:lnTo>
                <a:lnTo>
                  <a:pt x="5517420" y="2073598"/>
                </a:lnTo>
                <a:lnTo>
                  <a:pt x="5520133" y="2073056"/>
                </a:lnTo>
                <a:lnTo>
                  <a:pt x="5522846" y="2070566"/>
                </a:lnTo>
                <a:lnTo>
                  <a:pt x="5525342" y="2072191"/>
                </a:lnTo>
                <a:lnTo>
                  <a:pt x="5527946" y="2075655"/>
                </a:lnTo>
                <a:lnTo>
                  <a:pt x="5536194" y="2076413"/>
                </a:lnTo>
                <a:lnTo>
                  <a:pt x="5535977" y="2072623"/>
                </a:lnTo>
                <a:lnTo>
                  <a:pt x="5535423" y="2072044"/>
                </a:lnTo>
                <a:lnTo>
                  <a:pt x="5535976" y="2072623"/>
                </a:lnTo>
                <a:lnTo>
                  <a:pt x="5536193" y="2076412"/>
                </a:lnTo>
                <a:lnTo>
                  <a:pt x="5527946" y="2075655"/>
                </a:lnTo>
                <a:lnTo>
                  <a:pt x="5525342" y="2072190"/>
                </a:lnTo>
                <a:close/>
                <a:moveTo>
                  <a:pt x="5660120" y="2070349"/>
                </a:moveTo>
                <a:lnTo>
                  <a:pt x="5658073" y="2070876"/>
                </a:lnTo>
                <a:lnTo>
                  <a:pt x="5660121" y="2070350"/>
                </a:lnTo>
                <a:close/>
                <a:moveTo>
                  <a:pt x="5473472" y="2070133"/>
                </a:moveTo>
                <a:lnTo>
                  <a:pt x="5473431" y="2070144"/>
                </a:lnTo>
                <a:lnTo>
                  <a:pt x="5473471" y="2070133"/>
                </a:lnTo>
                <a:lnTo>
                  <a:pt x="5478680" y="2072623"/>
                </a:lnTo>
                <a:lnTo>
                  <a:pt x="5480561" y="2075438"/>
                </a:lnTo>
                <a:lnTo>
                  <a:pt x="5478680" y="2072623"/>
                </a:lnTo>
                <a:close/>
                <a:moveTo>
                  <a:pt x="5675854" y="2068617"/>
                </a:moveTo>
                <a:lnTo>
                  <a:pt x="5673684" y="2070998"/>
                </a:lnTo>
                <a:lnTo>
                  <a:pt x="5670971" y="2072948"/>
                </a:lnTo>
                <a:lnTo>
                  <a:pt x="5670972" y="2072948"/>
                </a:lnTo>
                <a:lnTo>
                  <a:pt x="5673685" y="2070999"/>
                </a:lnTo>
                <a:lnTo>
                  <a:pt x="5675855" y="2068617"/>
                </a:lnTo>
                <a:lnTo>
                  <a:pt x="5678893" y="2068833"/>
                </a:lnTo>
                <a:lnTo>
                  <a:pt x="5678893" y="2068833"/>
                </a:lnTo>
                <a:close/>
                <a:moveTo>
                  <a:pt x="5534132" y="2067101"/>
                </a:moveTo>
                <a:lnTo>
                  <a:pt x="5533806" y="2070349"/>
                </a:lnTo>
                <a:lnTo>
                  <a:pt x="5533806" y="2070349"/>
                </a:lnTo>
                <a:close/>
                <a:moveTo>
                  <a:pt x="5265010" y="2066235"/>
                </a:moveTo>
                <a:lnTo>
                  <a:pt x="5278900" y="2075006"/>
                </a:lnTo>
                <a:lnTo>
                  <a:pt x="5278901" y="2075006"/>
                </a:lnTo>
                <a:lnTo>
                  <a:pt x="5265011" y="2066236"/>
                </a:lnTo>
                <a:close/>
                <a:moveTo>
                  <a:pt x="5579600" y="2065694"/>
                </a:moveTo>
                <a:lnTo>
                  <a:pt x="5580251" y="2070566"/>
                </a:lnTo>
                <a:lnTo>
                  <a:pt x="5580262" y="2070890"/>
                </a:lnTo>
                <a:lnTo>
                  <a:pt x="5580251" y="2070565"/>
                </a:lnTo>
                <a:close/>
                <a:moveTo>
                  <a:pt x="4404472" y="2065369"/>
                </a:moveTo>
                <a:lnTo>
                  <a:pt x="4407077" y="2067643"/>
                </a:lnTo>
                <a:lnTo>
                  <a:pt x="4408596" y="2070999"/>
                </a:lnTo>
                <a:lnTo>
                  <a:pt x="4407945" y="2072948"/>
                </a:lnTo>
                <a:lnTo>
                  <a:pt x="4410007" y="2075114"/>
                </a:lnTo>
                <a:lnTo>
                  <a:pt x="4410658" y="2077387"/>
                </a:lnTo>
                <a:lnTo>
                  <a:pt x="4411634" y="2078687"/>
                </a:lnTo>
                <a:lnTo>
                  <a:pt x="4410115" y="2080961"/>
                </a:lnTo>
                <a:lnTo>
                  <a:pt x="4407294" y="2079445"/>
                </a:lnTo>
                <a:lnTo>
                  <a:pt x="4404038" y="2079012"/>
                </a:lnTo>
                <a:lnTo>
                  <a:pt x="4404038" y="2076305"/>
                </a:lnTo>
                <a:lnTo>
                  <a:pt x="4402844" y="2075114"/>
                </a:lnTo>
                <a:lnTo>
                  <a:pt x="4402844" y="2077496"/>
                </a:lnTo>
                <a:lnTo>
                  <a:pt x="4401651" y="2078795"/>
                </a:lnTo>
                <a:lnTo>
                  <a:pt x="4399481" y="2076630"/>
                </a:lnTo>
                <a:lnTo>
                  <a:pt x="4399481" y="2071540"/>
                </a:lnTo>
                <a:lnTo>
                  <a:pt x="4402302" y="2070783"/>
                </a:lnTo>
                <a:lnTo>
                  <a:pt x="4404364" y="2071108"/>
                </a:lnTo>
                <a:close/>
                <a:moveTo>
                  <a:pt x="5658199" y="2065091"/>
                </a:moveTo>
                <a:lnTo>
                  <a:pt x="5658274" y="2065369"/>
                </a:lnTo>
                <a:lnTo>
                  <a:pt x="5658274" y="2065369"/>
                </a:lnTo>
                <a:close/>
                <a:moveTo>
                  <a:pt x="3775765" y="2062950"/>
                </a:moveTo>
                <a:lnTo>
                  <a:pt x="3775728" y="2062987"/>
                </a:lnTo>
                <a:lnTo>
                  <a:pt x="3779093" y="2069916"/>
                </a:lnTo>
                <a:lnTo>
                  <a:pt x="3784190" y="2070234"/>
                </a:lnTo>
                <a:lnTo>
                  <a:pt x="3784300" y="2069482"/>
                </a:lnTo>
                <a:lnTo>
                  <a:pt x="3779091" y="2069482"/>
                </a:lnTo>
                <a:close/>
                <a:moveTo>
                  <a:pt x="5626805" y="2062771"/>
                </a:moveTo>
                <a:lnTo>
                  <a:pt x="5615953" y="2069700"/>
                </a:lnTo>
                <a:lnTo>
                  <a:pt x="5612697" y="2072514"/>
                </a:lnTo>
                <a:lnTo>
                  <a:pt x="5611721" y="2076845"/>
                </a:lnTo>
                <a:lnTo>
                  <a:pt x="5607814" y="2080310"/>
                </a:lnTo>
                <a:lnTo>
                  <a:pt x="5599567" y="2084100"/>
                </a:lnTo>
                <a:lnTo>
                  <a:pt x="5598699" y="2086481"/>
                </a:lnTo>
                <a:lnTo>
                  <a:pt x="5594575" y="2089622"/>
                </a:lnTo>
                <a:lnTo>
                  <a:pt x="5598699" y="2086482"/>
                </a:lnTo>
                <a:lnTo>
                  <a:pt x="5599567" y="2084100"/>
                </a:lnTo>
                <a:lnTo>
                  <a:pt x="5607814" y="2080311"/>
                </a:lnTo>
                <a:lnTo>
                  <a:pt x="5611721" y="2076846"/>
                </a:lnTo>
                <a:lnTo>
                  <a:pt x="5612697" y="2072515"/>
                </a:lnTo>
                <a:lnTo>
                  <a:pt x="5615954" y="2069700"/>
                </a:lnTo>
                <a:close/>
                <a:moveTo>
                  <a:pt x="5646989" y="2061363"/>
                </a:moveTo>
                <a:lnTo>
                  <a:pt x="5643842" y="2065152"/>
                </a:lnTo>
                <a:lnTo>
                  <a:pt x="5634944" y="2066235"/>
                </a:lnTo>
                <a:lnTo>
                  <a:pt x="5634944" y="2066236"/>
                </a:lnTo>
                <a:lnTo>
                  <a:pt x="5643842" y="2065153"/>
                </a:lnTo>
                <a:close/>
                <a:moveTo>
                  <a:pt x="4528616" y="2061363"/>
                </a:moveTo>
                <a:lnTo>
                  <a:pt x="4531546" y="2062554"/>
                </a:lnTo>
                <a:lnTo>
                  <a:pt x="4532739" y="2063637"/>
                </a:lnTo>
                <a:lnTo>
                  <a:pt x="4533716" y="2069484"/>
                </a:lnTo>
                <a:lnTo>
                  <a:pt x="4532848" y="2073382"/>
                </a:lnTo>
                <a:lnTo>
                  <a:pt x="4529593" y="2074898"/>
                </a:lnTo>
                <a:lnTo>
                  <a:pt x="4526988" y="2072949"/>
                </a:lnTo>
                <a:lnTo>
                  <a:pt x="4526988" y="2071000"/>
                </a:lnTo>
                <a:lnTo>
                  <a:pt x="4529158" y="2070241"/>
                </a:lnTo>
                <a:lnTo>
                  <a:pt x="4528941" y="2066669"/>
                </a:lnTo>
                <a:lnTo>
                  <a:pt x="4525903" y="2064287"/>
                </a:lnTo>
                <a:lnTo>
                  <a:pt x="4525903" y="2062771"/>
                </a:lnTo>
                <a:close/>
                <a:moveTo>
                  <a:pt x="5465333" y="2061255"/>
                </a:moveTo>
                <a:lnTo>
                  <a:pt x="5465333" y="2061255"/>
                </a:lnTo>
                <a:lnTo>
                  <a:pt x="5465666" y="2064000"/>
                </a:lnTo>
                <a:close/>
                <a:moveTo>
                  <a:pt x="5223449" y="2060497"/>
                </a:moveTo>
                <a:lnTo>
                  <a:pt x="5223448" y="2060497"/>
                </a:lnTo>
                <a:lnTo>
                  <a:pt x="5232455" y="2062447"/>
                </a:lnTo>
                <a:lnTo>
                  <a:pt x="5232455" y="2062446"/>
                </a:lnTo>
                <a:close/>
                <a:moveTo>
                  <a:pt x="5552688" y="2060064"/>
                </a:moveTo>
                <a:lnTo>
                  <a:pt x="5549432" y="2065152"/>
                </a:lnTo>
                <a:lnTo>
                  <a:pt x="5544333" y="2065694"/>
                </a:lnTo>
                <a:lnTo>
                  <a:pt x="5549433" y="2065153"/>
                </a:lnTo>
                <a:lnTo>
                  <a:pt x="5552688" y="2060064"/>
                </a:lnTo>
                <a:close/>
                <a:moveTo>
                  <a:pt x="3291201" y="2057899"/>
                </a:moveTo>
                <a:lnTo>
                  <a:pt x="3294999" y="2058440"/>
                </a:lnTo>
                <a:lnTo>
                  <a:pt x="3299340" y="2062229"/>
                </a:lnTo>
                <a:lnTo>
                  <a:pt x="3296519" y="2062879"/>
                </a:lnTo>
                <a:lnTo>
                  <a:pt x="3291634" y="2062554"/>
                </a:lnTo>
                <a:close/>
                <a:moveTo>
                  <a:pt x="4407512" y="2057682"/>
                </a:moveTo>
                <a:lnTo>
                  <a:pt x="4408163" y="2061688"/>
                </a:lnTo>
                <a:lnTo>
                  <a:pt x="4406752" y="2063529"/>
                </a:lnTo>
                <a:lnTo>
                  <a:pt x="4405233" y="2063854"/>
                </a:lnTo>
                <a:lnTo>
                  <a:pt x="4404039" y="2063421"/>
                </a:lnTo>
                <a:lnTo>
                  <a:pt x="4403714" y="2061796"/>
                </a:lnTo>
                <a:lnTo>
                  <a:pt x="4405884" y="2057898"/>
                </a:lnTo>
                <a:close/>
                <a:moveTo>
                  <a:pt x="5248950" y="2057249"/>
                </a:moveTo>
                <a:lnTo>
                  <a:pt x="5257522" y="2064178"/>
                </a:lnTo>
                <a:lnTo>
                  <a:pt x="5264960" y="2066222"/>
                </a:lnTo>
                <a:lnTo>
                  <a:pt x="5257523" y="2064178"/>
                </a:lnTo>
                <a:close/>
                <a:moveTo>
                  <a:pt x="4944127" y="2056817"/>
                </a:moveTo>
                <a:lnTo>
                  <a:pt x="4944127" y="2056817"/>
                </a:lnTo>
                <a:lnTo>
                  <a:pt x="4949660" y="2057466"/>
                </a:lnTo>
                <a:lnTo>
                  <a:pt x="4949660" y="2057466"/>
                </a:lnTo>
                <a:close/>
                <a:moveTo>
                  <a:pt x="5238967" y="2055517"/>
                </a:moveTo>
                <a:lnTo>
                  <a:pt x="5238966" y="2055517"/>
                </a:lnTo>
                <a:lnTo>
                  <a:pt x="5243632" y="2057466"/>
                </a:lnTo>
                <a:lnTo>
                  <a:pt x="5243633" y="2057466"/>
                </a:lnTo>
                <a:close/>
                <a:moveTo>
                  <a:pt x="5574173" y="2055063"/>
                </a:moveTo>
                <a:lnTo>
                  <a:pt x="5574283" y="2055408"/>
                </a:lnTo>
                <a:lnTo>
                  <a:pt x="5578189" y="2055192"/>
                </a:lnTo>
                <a:lnTo>
                  <a:pt x="5579926" y="2059739"/>
                </a:lnTo>
                <a:lnTo>
                  <a:pt x="5579926" y="2059739"/>
                </a:lnTo>
                <a:lnTo>
                  <a:pt x="5578189" y="2055191"/>
                </a:lnTo>
                <a:lnTo>
                  <a:pt x="5574283" y="2055408"/>
                </a:lnTo>
                <a:close/>
                <a:moveTo>
                  <a:pt x="3299774" y="2053677"/>
                </a:moveTo>
                <a:lnTo>
                  <a:pt x="3302703" y="2054110"/>
                </a:lnTo>
                <a:lnTo>
                  <a:pt x="3304114" y="2056710"/>
                </a:lnTo>
                <a:close/>
                <a:moveTo>
                  <a:pt x="3321476" y="2052810"/>
                </a:moveTo>
                <a:lnTo>
                  <a:pt x="3323755" y="2054218"/>
                </a:lnTo>
                <a:lnTo>
                  <a:pt x="3323538" y="2056058"/>
                </a:lnTo>
                <a:lnTo>
                  <a:pt x="3320283" y="2053676"/>
                </a:lnTo>
                <a:close/>
                <a:moveTo>
                  <a:pt x="4495192" y="2051186"/>
                </a:moveTo>
                <a:lnTo>
                  <a:pt x="4497146" y="2053351"/>
                </a:lnTo>
                <a:lnTo>
                  <a:pt x="4499533" y="2054109"/>
                </a:lnTo>
                <a:lnTo>
                  <a:pt x="4499967" y="2058115"/>
                </a:lnTo>
                <a:lnTo>
                  <a:pt x="4498448" y="2058765"/>
                </a:lnTo>
                <a:lnTo>
                  <a:pt x="4497146" y="2056057"/>
                </a:lnTo>
                <a:lnTo>
                  <a:pt x="4495951" y="2055733"/>
                </a:lnTo>
                <a:lnTo>
                  <a:pt x="4493456" y="2051727"/>
                </a:lnTo>
                <a:close/>
                <a:moveTo>
                  <a:pt x="4465135" y="2050970"/>
                </a:moveTo>
                <a:lnTo>
                  <a:pt x="4468716" y="2054976"/>
                </a:lnTo>
                <a:lnTo>
                  <a:pt x="4472948" y="2056492"/>
                </a:lnTo>
                <a:lnTo>
                  <a:pt x="4476962" y="2058657"/>
                </a:lnTo>
                <a:lnTo>
                  <a:pt x="4477505" y="2059631"/>
                </a:lnTo>
                <a:lnTo>
                  <a:pt x="4480544" y="2059740"/>
                </a:lnTo>
                <a:lnTo>
                  <a:pt x="4481087" y="2058982"/>
                </a:lnTo>
                <a:lnTo>
                  <a:pt x="4486729" y="2064721"/>
                </a:lnTo>
                <a:lnTo>
                  <a:pt x="4488791" y="2068294"/>
                </a:lnTo>
                <a:lnTo>
                  <a:pt x="4488900" y="2070243"/>
                </a:lnTo>
                <a:lnTo>
                  <a:pt x="4489551" y="2072733"/>
                </a:lnTo>
                <a:lnTo>
                  <a:pt x="4489116" y="2076197"/>
                </a:lnTo>
                <a:lnTo>
                  <a:pt x="4492372" y="2079337"/>
                </a:lnTo>
                <a:lnTo>
                  <a:pt x="4493674" y="2078363"/>
                </a:lnTo>
                <a:lnTo>
                  <a:pt x="4497906" y="2078796"/>
                </a:lnTo>
                <a:lnTo>
                  <a:pt x="4496170" y="2083560"/>
                </a:lnTo>
                <a:lnTo>
                  <a:pt x="4494000" y="2082369"/>
                </a:lnTo>
                <a:lnTo>
                  <a:pt x="4491938" y="2083452"/>
                </a:lnTo>
                <a:lnTo>
                  <a:pt x="4488465" y="2081178"/>
                </a:lnTo>
                <a:lnTo>
                  <a:pt x="4487163" y="2078796"/>
                </a:lnTo>
                <a:lnTo>
                  <a:pt x="4487598" y="2076197"/>
                </a:lnTo>
                <a:lnTo>
                  <a:pt x="4485644" y="2074357"/>
                </a:lnTo>
                <a:lnTo>
                  <a:pt x="4482605" y="2069809"/>
                </a:lnTo>
                <a:lnTo>
                  <a:pt x="4481412" y="2067752"/>
                </a:lnTo>
                <a:lnTo>
                  <a:pt x="4478374" y="2068077"/>
                </a:lnTo>
                <a:lnTo>
                  <a:pt x="4474033" y="2065695"/>
                </a:lnTo>
                <a:lnTo>
                  <a:pt x="4472079" y="2062772"/>
                </a:lnTo>
                <a:lnTo>
                  <a:pt x="4469150" y="2062122"/>
                </a:lnTo>
                <a:lnTo>
                  <a:pt x="4467305" y="2059523"/>
                </a:lnTo>
                <a:lnTo>
                  <a:pt x="4465135" y="2058549"/>
                </a:lnTo>
                <a:lnTo>
                  <a:pt x="4464158" y="2057033"/>
                </a:lnTo>
                <a:lnTo>
                  <a:pt x="4461879" y="2055084"/>
                </a:lnTo>
                <a:lnTo>
                  <a:pt x="4457756" y="2055301"/>
                </a:lnTo>
                <a:lnTo>
                  <a:pt x="4455694" y="2054868"/>
                </a:lnTo>
                <a:lnTo>
                  <a:pt x="4459057" y="2051945"/>
                </a:lnTo>
                <a:close/>
                <a:moveTo>
                  <a:pt x="3979087" y="2049129"/>
                </a:moveTo>
                <a:lnTo>
                  <a:pt x="3980932" y="2052160"/>
                </a:lnTo>
                <a:lnTo>
                  <a:pt x="3978328" y="2054759"/>
                </a:lnTo>
                <a:lnTo>
                  <a:pt x="3975614" y="2058549"/>
                </a:lnTo>
                <a:lnTo>
                  <a:pt x="3972143" y="2055300"/>
                </a:lnTo>
                <a:lnTo>
                  <a:pt x="3972902" y="2050970"/>
                </a:lnTo>
                <a:close/>
                <a:moveTo>
                  <a:pt x="5451551" y="2047992"/>
                </a:moveTo>
                <a:lnTo>
                  <a:pt x="5452962" y="2049562"/>
                </a:lnTo>
                <a:lnTo>
                  <a:pt x="5456760" y="2048913"/>
                </a:lnTo>
                <a:lnTo>
                  <a:pt x="5460820" y="2051728"/>
                </a:lnTo>
                <a:lnTo>
                  <a:pt x="5456760" y="2048912"/>
                </a:lnTo>
                <a:lnTo>
                  <a:pt x="5452962" y="2049562"/>
                </a:lnTo>
                <a:close/>
                <a:moveTo>
                  <a:pt x="4472187" y="2045880"/>
                </a:moveTo>
                <a:lnTo>
                  <a:pt x="4474684" y="2046746"/>
                </a:lnTo>
                <a:lnTo>
                  <a:pt x="4475443" y="2049777"/>
                </a:lnTo>
                <a:lnTo>
                  <a:pt x="4474684" y="2051402"/>
                </a:lnTo>
                <a:lnTo>
                  <a:pt x="4470777" y="2046313"/>
                </a:lnTo>
                <a:close/>
                <a:moveTo>
                  <a:pt x="4468173" y="2045123"/>
                </a:moveTo>
                <a:lnTo>
                  <a:pt x="4469149" y="2046097"/>
                </a:lnTo>
                <a:lnTo>
                  <a:pt x="4467955" y="2048480"/>
                </a:lnTo>
                <a:lnTo>
                  <a:pt x="4466328" y="2046422"/>
                </a:lnTo>
                <a:close/>
                <a:moveTo>
                  <a:pt x="5437335" y="2044365"/>
                </a:moveTo>
                <a:lnTo>
                  <a:pt x="5437336" y="2044365"/>
                </a:lnTo>
                <a:lnTo>
                  <a:pt x="5444023" y="2045439"/>
                </a:lnTo>
                <a:close/>
                <a:moveTo>
                  <a:pt x="5004678" y="2044040"/>
                </a:moveTo>
                <a:lnTo>
                  <a:pt x="5000447" y="2045988"/>
                </a:lnTo>
                <a:lnTo>
                  <a:pt x="4997084" y="2044797"/>
                </a:lnTo>
                <a:lnTo>
                  <a:pt x="4997082" y="2044798"/>
                </a:lnTo>
                <a:lnTo>
                  <a:pt x="4994113" y="2045354"/>
                </a:lnTo>
                <a:lnTo>
                  <a:pt x="4997082" y="2044798"/>
                </a:lnTo>
                <a:lnTo>
                  <a:pt x="5000446" y="2045989"/>
                </a:lnTo>
                <a:lnTo>
                  <a:pt x="5004678" y="2044040"/>
                </a:lnTo>
                <a:close/>
                <a:moveTo>
                  <a:pt x="4537841" y="2038951"/>
                </a:moveTo>
                <a:lnTo>
                  <a:pt x="4538600" y="2040141"/>
                </a:lnTo>
                <a:lnTo>
                  <a:pt x="4537623" y="2042849"/>
                </a:lnTo>
                <a:lnTo>
                  <a:pt x="4538708" y="2043065"/>
                </a:lnTo>
                <a:lnTo>
                  <a:pt x="4539576" y="2046421"/>
                </a:lnTo>
                <a:lnTo>
                  <a:pt x="4539468" y="2051510"/>
                </a:lnTo>
                <a:lnTo>
                  <a:pt x="4534693" y="2051835"/>
                </a:lnTo>
                <a:lnTo>
                  <a:pt x="4531437" y="2050319"/>
                </a:lnTo>
                <a:lnTo>
                  <a:pt x="4532740" y="2048371"/>
                </a:lnTo>
                <a:lnTo>
                  <a:pt x="4534693" y="2046746"/>
                </a:lnTo>
                <a:lnTo>
                  <a:pt x="4535019" y="2043823"/>
                </a:lnTo>
                <a:lnTo>
                  <a:pt x="4531546" y="2043931"/>
                </a:lnTo>
                <a:lnTo>
                  <a:pt x="4530461" y="2046638"/>
                </a:lnTo>
                <a:lnTo>
                  <a:pt x="4529918" y="2049453"/>
                </a:lnTo>
                <a:lnTo>
                  <a:pt x="4527748" y="2049994"/>
                </a:lnTo>
                <a:lnTo>
                  <a:pt x="4526229" y="2049886"/>
                </a:lnTo>
                <a:lnTo>
                  <a:pt x="4522648" y="2046963"/>
                </a:lnTo>
                <a:lnTo>
                  <a:pt x="4524818" y="2043282"/>
                </a:lnTo>
                <a:lnTo>
                  <a:pt x="4530244" y="2041333"/>
                </a:lnTo>
                <a:lnTo>
                  <a:pt x="4532740" y="2039709"/>
                </a:lnTo>
                <a:close/>
                <a:moveTo>
                  <a:pt x="5007175" y="2038951"/>
                </a:moveTo>
                <a:lnTo>
                  <a:pt x="5007174" y="2038952"/>
                </a:lnTo>
                <a:lnTo>
                  <a:pt x="5009561" y="2038952"/>
                </a:lnTo>
                <a:lnTo>
                  <a:pt x="5009562" y="2038951"/>
                </a:lnTo>
                <a:close/>
                <a:moveTo>
                  <a:pt x="4998338" y="2038499"/>
                </a:moveTo>
                <a:lnTo>
                  <a:pt x="4997407" y="2039601"/>
                </a:lnTo>
                <a:lnTo>
                  <a:pt x="4997407" y="2044689"/>
                </a:lnTo>
                <a:lnTo>
                  <a:pt x="4997409" y="2044688"/>
                </a:lnTo>
                <a:lnTo>
                  <a:pt x="4997409" y="2039600"/>
                </a:lnTo>
                <a:close/>
                <a:moveTo>
                  <a:pt x="7025693" y="2038085"/>
                </a:moveTo>
                <a:lnTo>
                  <a:pt x="7027864" y="2040359"/>
                </a:lnTo>
                <a:lnTo>
                  <a:pt x="7026127" y="2041333"/>
                </a:lnTo>
                <a:lnTo>
                  <a:pt x="7024825" y="2040683"/>
                </a:lnTo>
                <a:close/>
                <a:moveTo>
                  <a:pt x="5498183" y="2037773"/>
                </a:moveTo>
                <a:lnTo>
                  <a:pt x="5498430" y="2038410"/>
                </a:lnTo>
                <a:lnTo>
                  <a:pt x="5501620" y="2039754"/>
                </a:lnTo>
                <a:lnTo>
                  <a:pt x="5498430" y="2038410"/>
                </a:lnTo>
                <a:close/>
                <a:moveTo>
                  <a:pt x="5168686" y="2036907"/>
                </a:moveTo>
                <a:lnTo>
                  <a:pt x="5170167" y="2041551"/>
                </a:lnTo>
                <a:lnTo>
                  <a:pt x="5170167" y="2048371"/>
                </a:lnTo>
                <a:lnTo>
                  <a:pt x="5170817" y="2052160"/>
                </a:lnTo>
                <a:lnTo>
                  <a:pt x="5170817" y="2064395"/>
                </a:lnTo>
                <a:lnTo>
                  <a:pt x="5170832" y="2064427"/>
                </a:lnTo>
                <a:lnTo>
                  <a:pt x="5171252" y="2052594"/>
                </a:lnTo>
                <a:lnTo>
                  <a:pt x="5170492" y="2048804"/>
                </a:lnTo>
                <a:lnTo>
                  <a:pt x="5170709" y="2041983"/>
                </a:lnTo>
                <a:lnTo>
                  <a:pt x="5169081" y="2037111"/>
                </a:lnTo>
                <a:close/>
                <a:moveTo>
                  <a:pt x="5565699" y="2036607"/>
                </a:moveTo>
                <a:lnTo>
                  <a:pt x="5569617" y="2039385"/>
                </a:lnTo>
                <a:lnTo>
                  <a:pt x="5573957" y="2041658"/>
                </a:lnTo>
                <a:lnTo>
                  <a:pt x="5573957" y="2041657"/>
                </a:lnTo>
                <a:lnTo>
                  <a:pt x="5569617" y="2039384"/>
                </a:lnTo>
                <a:close/>
                <a:moveTo>
                  <a:pt x="5559742" y="2036460"/>
                </a:moveTo>
                <a:lnTo>
                  <a:pt x="5557354" y="2040791"/>
                </a:lnTo>
                <a:lnTo>
                  <a:pt x="5556486" y="2047612"/>
                </a:lnTo>
                <a:lnTo>
                  <a:pt x="5553556" y="2050211"/>
                </a:lnTo>
                <a:lnTo>
                  <a:pt x="5551494" y="2053459"/>
                </a:lnTo>
                <a:lnTo>
                  <a:pt x="5551494" y="2053459"/>
                </a:lnTo>
                <a:lnTo>
                  <a:pt x="5553556" y="2050211"/>
                </a:lnTo>
                <a:lnTo>
                  <a:pt x="5556486" y="2047612"/>
                </a:lnTo>
                <a:lnTo>
                  <a:pt x="5557354" y="2040792"/>
                </a:lnTo>
                <a:lnTo>
                  <a:pt x="5559742" y="2036461"/>
                </a:lnTo>
                <a:lnTo>
                  <a:pt x="5565493" y="2036461"/>
                </a:lnTo>
                <a:lnTo>
                  <a:pt x="5565492" y="2036460"/>
                </a:lnTo>
                <a:close/>
                <a:moveTo>
                  <a:pt x="5035380" y="2034708"/>
                </a:moveTo>
                <a:lnTo>
                  <a:pt x="5034954" y="2035054"/>
                </a:lnTo>
                <a:lnTo>
                  <a:pt x="5036257" y="2037436"/>
                </a:lnTo>
                <a:lnTo>
                  <a:pt x="5041790" y="2040900"/>
                </a:lnTo>
                <a:lnTo>
                  <a:pt x="5041792" y="2040899"/>
                </a:lnTo>
                <a:lnTo>
                  <a:pt x="5036258" y="2037435"/>
                </a:lnTo>
                <a:lnTo>
                  <a:pt x="5034956" y="2035053"/>
                </a:lnTo>
                <a:close/>
                <a:moveTo>
                  <a:pt x="7033181" y="2032888"/>
                </a:moveTo>
                <a:lnTo>
                  <a:pt x="7033941" y="2036678"/>
                </a:lnTo>
                <a:lnTo>
                  <a:pt x="7031987" y="2038519"/>
                </a:lnTo>
                <a:lnTo>
                  <a:pt x="7029925" y="2038302"/>
                </a:lnTo>
                <a:lnTo>
                  <a:pt x="7028406" y="2036461"/>
                </a:lnTo>
                <a:lnTo>
                  <a:pt x="7030251" y="2033321"/>
                </a:lnTo>
                <a:close/>
                <a:moveTo>
                  <a:pt x="5054597" y="2032454"/>
                </a:moveTo>
                <a:lnTo>
                  <a:pt x="5052644" y="2034186"/>
                </a:lnTo>
                <a:lnTo>
                  <a:pt x="5051233" y="2037976"/>
                </a:lnTo>
                <a:lnTo>
                  <a:pt x="5052969" y="2044147"/>
                </a:lnTo>
                <a:lnTo>
                  <a:pt x="5052535" y="2047937"/>
                </a:lnTo>
                <a:lnTo>
                  <a:pt x="5053729" y="2049994"/>
                </a:lnTo>
                <a:lnTo>
                  <a:pt x="5053512" y="2059088"/>
                </a:lnTo>
                <a:lnTo>
                  <a:pt x="5051450" y="2060388"/>
                </a:lnTo>
                <a:lnTo>
                  <a:pt x="5047543" y="2059522"/>
                </a:lnTo>
                <a:lnTo>
                  <a:pt x="5046024" y="2056815"/>
                </a:lnTo>
                <a:lnTo>
                  <a:pt x="5042009" y="2054866"/>
                </a:lnTo>
                <a:lnTo>
                  <a:pt x="5034087" y="2046097"/>
                </a:lnTo>
                <a:lnTo>
                  <a:pt x="5034086" y="2046097"/>
                </a:lnTo>
                <a:lnTo>
                  <a:pt x="5042008" y="2054868"/>
                </a:lnTo>
                <a:lnTo>
                  <a:pt x="5046023" y="2056816"/>
                </a:lnTo>
                <a:lnTo>
                  <a:pt x="5047543" y="2059523"/>
                </a:lnTo>
                <a:lnTo>
                  <a:pt x="5051449" y="2060390"/>
                </a:lnTo>
                <a:lnTo>
                  <a:pt x="5053511" y="2059090"/>
                </a:lnTo>
                <a:lnTo>
                  <a:pt x="5053511" y="2060497"/>
                </a:lnTo>
                <a:lnTo>
                  <a:pt x="5056984" y="2065478"/>
                </a:lnTo>
                <a:lnTo>
                  <a:pt x="5057634" y="2071108"/>
                </a:lnTo>
                <a:lnTo>
                  <a:pt x="5056657" y="2076629"/>
                </a:lnTo>
                <a:lnTo>
                  <a:pt x="5058177" y="2078903"/>
                </a:lnTo>
                <a:lnTo>
                  <a:pt x="5059706" y="2079134"/>
                </a:lnTo>
                <a:lnTo>
                  <a:pt x="5058611" y="2077496"/>
                </a:lnTo>
                <a:lnTo>
                  <a:pt x="5059588" y="2071974"/>
                </a:lnTo>
                <a:lnTo>
                  <a:pt x="5058937" y="2066344"/>
                </a:lnTo>
                <a:lnTo>
                  <a:pt x="5055464" y="2061364"/>
                </a:lnTo>
                <a:lnTo>
                  <a:pt x="5055464" y="2050537"/>
                </a:lnTo>
                <a:lnTo>
                  <a:pt x="5054270" y="2048480"/>
                </a:lnTo>
                <a:lnTo>
                  <a:pt x="5054270" y="2044690"/>
                </a:lnTo>
                <a:lnTo>
                  <a:pt x="5052534" y="2038519"/>
                </a:lnTo>
                <a:lnTo>
                  <a:pt x="5053945" y="2034729"/>
                </a:lnTo>
                <a:lnTo>
                  <a:pt x="5055466" y="2033379"/>
                </a:lnTo>
                <a:close/>
                <a:moveTo>
                  <a:pt x="4960078" y="2032130"/>
                </a:moveTo>
                <a:lnTo>
                  <a:pt x="4960078" y="2032131"/>
                </a:lnTo>
                <a:lnTo>
                  <a:pt x="4970495" y="2037760"/>
                </a:lnTo>
                <a:lnTo>
                  <a:pt x="4970495" y="2037759"/>
                </a:lnTo>
                <a:close/>
                <a:moveTo>
                  <a:pt x="4995672" y="2031264"/>
                </a:moveTo>
                <a:lnTo>
                  <a:pt x="4995671" y="2031264"/>
                </a:lnTo>
                <a:lnTo>
                  <a:pt x="4999144" y="2037544"/>
                </a:lnTo>
                <a:lnTo>
                  <a:pt x="4999144" y="2037543"/>
                </a:lnTo>
                <a:close/>
                <a:moveTo>
                  <a:pt x="3771611" y="2030508"/>
                </a:moveTo>
                <a:lnTo>
                  <a:pt x="3771171" y="2030614"/>
                </a:lnTo>
                <a:lnTo>
                  <a:pt x="3777465" y="2042307"/>
                </a:lnTo>
                <a:lnTo>
                  <a:pt x="3782999" y="2045771"/>
                </a:lnTo>
                <a:lnTo>
                  <a:pt x="3783215" y="2052152"/>
                </a:lnTo>
                <a:lnTo>
                  <a:pt x="3783215" y="2045446"/>
                </a:lnTo>
                <a:lnTo>
                  <a:pt x="3777681" y="2041982"/>
                </a:lnTo>
                <a:close/>
                <a:moveTo>
                  <a:pt x="4001768" y="2030505"/>
                </a:moveTo>
                <a:lnTo>
                  <a:pt x="4007302" y="2031371"/>
                </a:lnTo>
                <a:lnTo>
                  <a:pt x="4012185" y="2031696"/>
                </a:lnTo>
                <a:lnTo>
                  <a:pt x="4006759" y="2036568"/>
                </a:lnTo>
                <a:lnTo>
                  <a:pt x="4004698" y="2042740"/>
                </a:lnTo>
                <a:lnTo>
                  <a:pt x="4000900" y="2039276"/>
                </a:lnTo>
                <a:lnTo>
                  <a:pt x="3996125" y="2037760"/>
                </a:lnTo>
                <a:lnTo>
                  <a:pt x="3997102" y="2033645"/>
                </a:lnTo>
                <a:close/>
                <a:moveTo>
                  <a:pt x="5018064" y="2029913"/>
                </a:moveTo>
                <a:lnTo>
                  <a:pt x="5016507" y="2032021"/>
                </a:lnTo>
                <a:lnTo>
                  <a:pt x="5013686" y="2033212"/>
                </a:lnTo>
                <a:lnTo>
                  <a:pt x="5013685" y="2033213"/>
                </a:lnTo>
                <a:lnTo>
                  <a:pt x="5016507" y="2032022"/>
                </a:lnTo>
                <a:close/>
                <a:moveTo>
                  <a:pt x="4981130" y="2029640"/>
                </a:moveTo>
                <a:lnTo>
                  <a:pt x="4991764" y="2045771"/>
                </a:lnTo>
                <a:lnTo>
                  <a:pt x="4990462" y="2049561"/>
                </a:lnTo>
                <a:lnTo>
                  <a:pt x="4983734" y="2045771"/>
                </a:lnTo>
                <a:lnTo>
                  <a:pt x="4977549" y="2045555"/>
                </a:lnTo>
                <a:lnTo>
                  <a:pt x="4971364" y="2042416"/>
                </a:lnTo>
                <a:lnTo>
                  <a:pt x="4971364" y="2042416"/>
                </a:lnTo>
                <a:lnTo>
                  <a:pt x="4977549" y="2045556"/>
                </a:lnTo>
                <a:lnTo>
                  <a:pt x="4983735" y="2045772"/>
                </a:lnTo>
                <a:lnTo>
                  <a:pt x="4990463" y="2049562"/>
                </a:lnTo>
                <a:lnTo>
                  <a:pt x="4991764" y="2045772"/>
                </a:lnTo>
                <a:lnTo>
                  <a:pt x="4991766" y="2045772"/>
                </a:lnTo>
                <a:lnTo>
                  <a:pt x="4981253" y="2029825"/>
                </a:lnTo>
                <a:close/>
                <a:moveTo>
                  <a:pt x="5159797" y="2029365"/>
                </a:moveTo>
                <a:lnTo>
                  <a:pt x="5162244" y="2033538"/>
                </a:lnTo>
                <a:lnTo>
                  <a:pt x="5162746" y="2033793"/>
                </a:lnTo>
                <a:lnTo>
                  <a:pt x="5160183" y="2029424"/>
                </a:lnTo>
                <a:close/>
                <a:moveTo>
                  <a:pt x="3782033" y="2028755"/>
                </a:moveTo>
                <a:lnTo>
                  <a:pt x="3781470" y="2029530"/>
                </a:lnTo>
                <a:lnTo>
                  <a:pt x="3781479" y="2029531"/>
                </a:lnTo>
                <a:close/>
                <a:moveTo>
                  <a:pt x="4383312" y="2028124"/>
                </a:moveTo>
                <a:lnTo>
                  <a:pt x="4385483" y="2029423"/>
                </a:lnTo>
                <a:lnTo>
                  <a:pt x="4385265" y="2034187"/>
                </a:lnTo>
                <a:lnTo>
                  <a:pt x="4387978" y="2037110"/>
                </a:lnTo>
                <a:lnTo>
                  <a:pt x="4391017" y="2038301"/>
                </a:lnTo>
                <a:lnTo>
                  <a:pt x="4391559" y="2039925"/>
                </a:lnTo>
                <a:lnTo>
                  <a:pt x="4390474" y="2040791"/>
                </a:lnTo>
                <a:lnTo>
                  <a:pt x="4386568" y="2038950"/>
                </a:lnTo>
                <a:lnTo>
                  <a:pt x="4382336" y="2034511"/>
                </a:lnTo>
                <a:lnTo>
                  <a:pt x="4382010" y="2033104"/>
                </a:lnTo>
                <a:lnTo>
                  <a:pt x="4379514" y="2032130"/>
                </a:lnTo>
                <a:lnTo>
                  <a:pt x="4379189" y="2029640"/>
                </a:lnTo>
                <a:close/>
                <a:moveTo>
                  <a:pt x="5154540" y="2027366"/>
                </a:moveTo>
                <a:lnTo>
                  <a:pt x="5151719" y="2028016"/>
                </a:lnTo>
                <a:lnTo>
                  <a:pt x="5151730" y="2028127"/>
                </a:lnTo>
                <a:lnTo>
                  <a:pt x="5153998" y="2027584"/>
                </a:lnTo>
                <a:lnTo>
                  <a:pt x="5156059" y="2029099"/>
                </a:lnTo>
                <a:lnTo>
                  <a:pt x="5158034" y="2029099"/>
                </a:lnTo>
                <a:lnTo>
                  <a:pt x="5156602" y="2028882"/>
                </a:lnTo>
                <a:close/>
                <a:moveTo>
                  <a:pt x="5023019" y="2027257"/>
                </a:moveTo>
                <a:lnTo>
                  <a:pt x="5019546" y="2027907"/>
                </a:lnTo>
                <a:lnTo>
                  <a:pt x="5019545" y="2027908"/>
                </a:lnTo>
                <a:lnTo>
                  <a:pt x="5023018" y="2027258"/>
                </a:lnTo>
                <a:close/>
                <a:moveTo>
                  <a:pt x="5027468" y="2023901"/>
                </a:moveTo>
                <a:lnTo>
                  <a:pt x="5027466" y="2023902"/>
                </a:lnTo>
                <a:lnTo>
                  <a:pt x="5029962" y="2024011"/>
                </a:lnTo>
                <a:lnTo>
                  <a:pt x="5030396" y="2025309"/>
                </a:lnTo>
                <a:lnTo>
                  <a:pt x="5032675" y="2025850"/>
                </a:lnTo>
                <a:lnTo>
                  <a:pt x="5034737" y="2029424"/>
                </a:lnTo>
                <a:lnTo>
                  <a:pt x="5037884" y="2032671"/>
                </a:lnTo>
                <a:lnTo>
                  <a:pt x="5037885" y="2032670"/>
                </a:lnTo>
                <a:lnTo>
                  <a:pt x="5034738" y="2029423"/>
                </a:lnTo>
                <a:lnTo>
                  <a:pt x="5032676" y="2025850"/>
                </a:lnTo>
                <a:lnTo>
                  <a:pt x="5030398" y="2025308"/>
                </a:lnTo>
                <a:lnTo>
                  <a:pt x="5029963" y="2024009"/>
                </a:lnTo>
                <a:close/>
                <a:moveTo>
                  <a:pt x="5157482" y="2023137"/>
                </a:moveTo>
                <a:lnTo>
                  <a:pt x="5155802" y="2023539"/>
                </a:lnTo>
                <a:lnTo>
                  <a:pt x="5155843" y="2023577"/>
                </a:lnTo>
                <a:close/>
                <a:moveTo>
                  <a:pt x="4026401" y="2022060"/>
                </a:moveTo>
                <a:lnTo>
                  <a:pt x="4031285" y="2027041"/>
                </a:lnTo>
                <a:lnTo>
                  <a:pt x="4030091" y="2029531"/>
                </a:lnTo>
                <a:lnTo>
                  <a:pt x="4026293" y="2027474"/>
                </a:lnTo>
                <a:lnTo>
                  <a:pt x="4018480" y="2026715"/>
                </a:lnTo>
                <a:lnTo>
                  <a:pt x="4019565" y="2023468"/>
                </a:lnTo>
                <a:close/>
                <a:moveTo>
                  <a:pt x="5153130" y="2021845"/>
                </a:moveTo>
                <a:lnTo>
                  <a:pt x="5148680" y="2025417"/>
                </a:lnTo>
                <a:lnTo>
                  <a:pt x="5148680" y="2029748"/>
                </a:lnTo>
                <a:lnTo>
                  <a:pt x="5151285" y="2033755"/>
                </a:lnTo>
                <a:lnTo>
                  <a:pt x="5151285" y="2032036"/>
                </a:lnTo>
                <a:lnTo>
                  <a:pt x="5149657" y="2029532"/>
                </a:lnTo>
                <a:lnTo>
                  <a:pt x="5149331" y="2025309"/>
                </a:lnTo>
                <a:lnTo>
                  <a:pt x="5153317" y="2022012"/>
                </a:lnTo>
                <a:close/>
                <a:moveTo>
                  <a:pt x="5496910" y="2021519"/>
                </a:moveTo>
                <a:lnTo>
                  <a:pt x="5490182" y="2021735"/>
                </a:lnTo>
                <a:lnTo>
                  <a:pt x="5486059" y="2023901"/>
                </a:lnTo>
                <a:lnTo>
                  <a:pt x="5485005" y="2022388"/>
                </a:lnTo>
                <a:lnTo>
                  <a:pt x="5486059" y="2023901"/>
                </a:lnTo>
                <a:lnTo>
                  <a:pt x="5490183" y="2021736"/>
                </a:lnTo>
                <a:lnTo>
                  <a:pt x="5496910" y="2021520"/>
                </a:lnTo>
                <a:close/>
                <a:moveTo>
                  <a:pt x="4952645" y="2020977"/>
                </a:moveTo>
                <a:lnTo>
                  <a:pt x="4955737" y="2024660"/>
                </a:lnTo>
                <a:lnTo>
                  <a:pt x="4958775" y="2024335"/>
                </a:lnTo>
                <a:lnTo>
                  <a:pt x="4960403" y="2028666"/>
                </a:lnTo>
                <a:lnTo>
                  <a:pt x="4960403" y="2028665"/>
                </a:lnTo>
                <a:lnTo>
                  <a:pt x="4958776" y="2024335"/>
                </a:lnTo>
                <a:lnTo>
                  <a:pt x="4955737" y="2024659"/>
                </a:lnTo>
                <a:close/>
                <a:moveTo>
                  <a:pt x="4971472" y="2020329"/>
                </a:moveTo>
                <a:lnTo>
                  <a:pt x="4973278" y="2023932"/>
                </a:lnTo>
                <a:lnTo>
                  <a:pt x="4971472" y="2020329"/>
                </a:lnTo>
                <a:close/>
                <a:moveTo>
                  <a:pt x="4967349" y="2020329"/>
                </a:moveTo>
                <a:lnTo>
                  <a:pt x="4964636" y="2022710"/>
                </a:lnTo>
                <a:lnTo>
                  <a:pt x="4964636" y="2022710"/>
                </a:lnTo>
                <a:close/>
                <a:moveTo>
                  <a:pt x="4951059" y="2020167"/>
                </a:moveTo>
                <a:lnTo>
                  <a:pt x="4951397" y="2020654"/>
                </a:lnTo>
                <a:lnTo>
                  <a:pt x="4952373" y="2020654"/>
                </a:lnTo>
                <a:lnTo>
                  <a:pt x="4952373" y="2020653"/>
                </a:lnTo>
                <a:lnTo>
                  <a:pt x="4951397" y="2020653"/>
                </a:lnTo>
                <a:close/>
                <a:moveTo>
                  <a:pt x="5160834" y="2018056"/>
                </a:moveTo>
                <a:lnTo>
                  <a:pt x="5160275" y="2018283"/>
                </a:lnTo>
                <a:lnTo>
                  <a:pt x="5163330" y="2022278"/>
                </a:lnTo>
                <a:lnTo>
                  <a:pt x="5162165" y="2023887"/>
                </a:lnTo>
                <a:lnTo>
                  <a:pt x="5162570" y="2024010"/>
                </a:lnTo>
                <a:lnTo>
                  <a:pt x="5163981" y="2022170"/>
                </a:lnTo>
                <a:close/>
                <a:moveTo>
                  <a:pt x="4511689" y="2017730"/>
                </a:moveTo>
                <a:lnTo>
                  <a:pt x="4514184" y="2019029"/>
                </a:lnTo>
                <a:lnTo>
                  <a:pt x="4511145" y="2022277"/>
                </a:lnTo>
                <a:lnTo>
                  <a:pt x="4510603" y="2026825"/>
                </a:lnTo>
                <a:lnTo>
                  <a:pt x="4507890" y="2025634"/>
                </a:lnTo>
                <a:lnTo>
                  <a:pt x="4505936" y="2025959"/>
                </a:lnTo>
                <a:lnTo>
                  <a:pt x="4503766" y="2024118"/>
                </a:lnTo>
                <a:lnTo>
                  <a:pt x="4502681" y="2020545"/>
                </a:lnTo>
                <a:lnTo>
                  <a:pt x="4503875" y="2018704"/>
                </a:lnTo>
                <a:lnTo>
                  <a:pt x="4507673" y="2018596"/>
                </a:lnTo>
                <a:lnTo>
                  <a:pt x="4509301" y="2020004"/>
                </a:lnTo>
                <a:close/>
                <a:moveTo>
                  <a:pt x="3783647" y="2016860"/>
                </a:moveTo>
                <a:lnTo>
                  <a:pt x="3783325" y="2017188"/>
                </a:lnTo>
                <a:lnTo>
                  <a:pt x="3787394" y="2021248"/>
                </a:lnTo>
                <a:lnTo>
                  <a:pt x="3787665" y="2020870"/>
                </a:lnTo>
                <a:close/>
                <a:moveTo>
                  <a:pt x="4947445" y="2015087"/>
                </a:moveTo>
                <a:lnTo>
                  <a:pt x="4948575" y="2016215"/>
                </a:lnTo>
                <a:lnTo>
                  <a:pt x="4948575" y="2016214"/>
                </a:lnTo>
                <a:close/>
                <a:moveTo>
                  <a:pt x="4975271" y="2011342"/>
                </a:moveTo>
                <a:lnTo>
                  <a:pt x="4975270" y="2011343"/>
                </a:lnTo>
                <a:lnTo>
                  <a:pt x="4978417" y="2018596"/>
                </a:lnTo>
                <a:lnTo>
                  <a:pt x="4989052" y="2024443"/>
                </a:lnTo>
                <a:lnTo>
                  <a:pt x="4995997" y="2024768"/>
                </a:lnTo>
                <a:lnTo>
                  <a:pt x="5001531" y="2029964"/>
                </a:lnTo>
                <a:lnTo>
                  <a:pt x="5001532" y="2029964"/>
                </a:lnTo>
                <a:lnTo>
                  <a:pt x="4995998" y="2024766"/>
                </a:lnTo>
                <a:lnTo>
                  <a:pt x="4989053" y="2024442"/>
                </a:lnTo>
                <a:lnTo>
                  <a:pt x="4978418" y="2018595"/>
                </a:lnTo>
                <a:close/>
                <a:moveTo>
                  <a:pt x="4524818" y="2009718"/>
                </a:moveTo>
                <a:lnTo>
                  <a:pt x="4527097" y="2011234"/>
                </a:lnTo>
                <a:lnTo>
                  <a:pt x="4526446" y="2013832"/>
                </a:lnTo>
                <a:lnTo>
                  <a:pt x="4521672" y="2015132"/>
                </a:lnTo>
                <a:lnTo>
                  <a:pt x="4517982" y="2013616"/>
                </a:lnTo>
                <a:lnTo>
                  <a:pt x="4518850" y="2011775"/>
                </a:lnTo>
                <a:lnTo>
                  <a:pt x="4522322" y="2011667"/>
                </a:lnTo>
                <a:close/>
                <a:moveTo>
                  <a:pt x="5145534" y="2008744"/>
                </a:moveTo>
                <a:lnTo>
                  <a:pt x="5145286" y="2009029"/>
                </a:lnTo>
                <a:lnTo>
                  <a:pt x="5151935" y="2010152"/>
                </a:lnTo>
                <a:lnTo>
                  <a:pt x="5152312" y="2009889"/>
                </a:lnTo>
                <a:close/>
                <a:moveTo>
                  <a:pt x="4925570" y="2007987"/>
                </a:moveTo>
                <a:lnTo>
                  <a:pt x="4925570" y="2007987"/>
                </a:lnTo>
                <a:lnTo>
                  <a:pt x="4932406" y="2012101"/>
                </a:lnTo>
                <a:lnTo>
                  <a:pt x="4939894" y="2012426"/>
                </a:lnTo>
                <a:lnTo>
                  <a:pt x="4944452" y="2012101"/>
                </a:lnTo>
                <a:lnTo>
                  <a:pt x="4944451" y="2012100"/>
                </a:lnTo>
                <a:lnTo>
                  <a:pt x="4939894" y="2012425"/>
                </a:lnTo>
                <a:lnTo>
                  <a:pt x="4932406" y="2012100"/>
                </a:lnTo>
                <a:close/>
                <a:moveTo>
                  <a:pt x="5155843" y="2007770"/>
                </a:moveTo>
                <a:lnTo>
                  <a:pt x="5155394" y="2008069"/>
                </a:lnTo>
                <a:lnTo>
                  <a:pt x="5157036" y="2009610"/>
                </a:lnTo>
                <a:lnTo>
                  <a:pt x="5155842" y="2014374"/>
                </a:lnTo>
                <a:lnTo>
                  <a:pt x="5157253" y="2019354"/>
                </a:lnTo>
                <a:lnTo>
                  <a:pt x="5157867" y="2019105"/>
                </a:lnTo>
                <a:lnTo>
                  <a:pt x="5156602" y="2014266"/>
                </a:lnTo>
                <a:lnTo>
                  <a:pt x="5157796" y="2009393"/>
                </a:lnTo>
                <a:close/>
                <a:moveTo>
                  <a:pt x="4518307" y="2004197"/>
                </a:moveTo>
                <a:lnTo>
                  <a:pt x="4521237" y="2004954"/>
                </a:lnTo>
                <a:lnTo>
                  <a:pt x="4521345" y="2007121"/>
                </a:lnTo>
                <a:lnTo>
                  <a:pt x="4518741" y="2008095"/>
                </a:lnTo>
                <a:lnTo>
                  <a:pt x="4514292" y="2006254"/>
                </a:lnTo>
                <a:lnTo>
                  <a:pt x="4515052" y="2004630"/>
                </a:lnTo>
                <a:close/>
                <a:moveTo>
                  <a:pt x="5364504" y="2000565"/>
                </a:moveTo>
                <a:lnTo>
                  <a:pt x="5371465" y="2003764"/>
                </a:lnTo>
                <a:lnTo>
                  <a:pt x="5387309" y="2013725"/>
                </a:lnTo>
                <a:lnTo>
                  <a:pt x="5403261" y="2025417"/>
                </a:lnTo>
                <a:lnTo>
                  <a:pt x="5421166" y="2033430"/>
                </a:lnTo>
                <a:lnTo>
                  <a:pt x="5431893" y="2040684"/>
                </a:lnTo>
                <a:lnTo>
                  <a:pt x="5421166" y="2033429"/>
                </a:lnTo>
                <a:lnTo>
                  <a:pt x="5403261" y="2025417"/>
                </a:lnTo>
                <a:lnTo>
                  <a:pt x="5387309" y="2013724"/>
                </a:lnTo>
                <a:lnTo>
                  <a:pt x="5371466" y="2003763"/>
                </a:lnTo>
                <a:close/>
                <a:moveTo>
                  <a:pt x="4494216" y="1997483"/>
                </a:moveTo>
                <a:lnTo>
                  <a:pt x="4497471" y="1999107"/>
                </a:lnTo>
                <a:lnTo>
                  <a:pt x="4497905" y="2001705"/>
                </a:lnTo>
                <a:lnTo>
                  <a:pt x="4494867" y="2003221"/>
                </a:lnTo>
                <a:lnTo>
                  <a:pt x="4493564" y="2002354"/>
                </a:lnTo>
                <a:lnTo>
                  <a:pt x="4490961" y="2002462"/>
                </a:lnTo>
                <a:lnTo>
                  <a:pt x="4492371" y="1998132"/>
                </a:lnTo>
                <a:close/>
                <a:moveTo>
                  <a:pt x="4429974" y="1990555"/>
                </a:moveTo>
                <a:lnTo>
                  <a:pt x="4429649" y="1992611"/>
                </a:lnTo>
                <a:lnTo>
                  <a:pt x="4429649" y="1992611"/>
                </a:lnTo>
                <a:lnTo>
                  <a:pt x="4429975" y="1990555"/>
                </a:lnTo>
                <a:close/>
                <a:moveTo>
                  <a:pt x="5072693" y="1990446"/>
                </a:moveTo>
                <a:lnTo>
                  <a:pt x="5078362" y="1992827"/>
                </a:lnTo>
                <a:lnTo>
                  <a:pt x="5081726" y="1997807"/>
                </a:lnTo>
                <a:lnTo>
                  <a:pt x="5078145" y="1997266"/>
                </a:lnTo>
                <a:lnTo>
                  <a:pt x="5074889" y="1999648"/>
                </a:lnTo>
                <a:lnTo>
                  <a:pt x="5068487" y="1999973"/>
                </a:lnTo>
                <a:lnTo>
                  <a:pt x="5061217" y="2006036"/>
                </a:lnTo>
                <a:lnTo>
                  <a:pt x="5061759" y="2012207"/>
                </a:lnTo>
                <a:lnTo>
                  <a:pt x="5062627" y="2017188"/>
                </a:lnTo>
                <a:lnTo>
                  <a:pt x="5060457" y="2020111"/>
                </a:lnTo>
                <a:lnTo>
                  <a:pt x="5059914" y="2024442"/>
                </a:lnTo>
                <a:lnTo>
                  <a:pt x="5061434" y="2026933"/>
                </a:lnTo>
                <a:lnTo>
                  <a:pt x="5061434" y="2030397"/>
                </a:lnTo>
                <a:lnTo>
                  <a:pt x="5059155" y="2032454"/>
                </a:lnTo>
                <a:lnTo>
                  <a:pt x="5059155" y="2040682"/>
                </a:lnTo>
                <a:lnTo>
                  <a:pt x="5058276" y="2042801"/>
                </a:lnTo>
                <a:lnTo>
                  <a:pt x="5059153" y="2044365"/>
                </a:lnTo>
                <a:lnTo>
                  <a:pt x="5060564" y="2041225"/>
                </a:lnTo>
                <a:lnTo>
                  <a:pt x="5060564" y="2032997"/>
                </a:lnTo>
                <a:lnTo>
                  <a:pt x="5062843" y="2030939"/>
                </a:lnTo>
                <a:lnTo>
                  <a:pt x="5062843" y="2027475"/>
                </a:lnTo>
                <a:lnTo>
                  <a:pt x="5061324" y="2024876"/>
                </a:lnTo>
                <a:lnTo>
                  <a:pt x="5061324" y="2020546"/>
                </a:lnTo>
                <a:lnTo>
                  <a:pt x="5063603" y="2017622"/>
                </a:lnTo>
                <a:lnTo>
                  <a:pt x="5062734" y="2012642"/>
                </a:lnTo>
                <a:lnTo>
                  <a:pt x="5062734" y="2006470"/>
                </a:lnTo>
                <a:lnTo>
                  <a:pt x="5070005" y="2000407"/>
                </a:lnTo>
                <a:lnTo>
                  <a:pt x="5076408" y="2000407"/>
                </a:lnTo>
                <a:lnTo>
                  <a:pt x="5079663" y="1998025"/>
                </a:lnTo>
                <a:lnTo>
                  <a:pt x="5083244" y="1998025"/>
                </a:lnTo>
                <a:lnTo>
                  <a:pt x="5079772" y="1993045"/>
                </a:lnTo>
                <a:lnTo>
                  <a:pt x="5073586" y="1990446"/>
                </a:lnTo>
                <a:close/>
                <a:moveTo>
                  <a:pt x="3788350" y="1990424"/>
                </a:moveTo>
                <a:lnTo>
                  <a:pt x="3788100" y="1990662"/>
                </a:lnTo>
                <a:lnTo>
                  <a:pt x="3789185" y="1996942"/>
                </a:lnTo>
                <a:lnTo>
                  <a:pt x="3788431" y="2011876"/>
                </a:lnTo>
                <a:lnTo>
                  <a:pt x="3788750" y="2011558"/>
                </a:lnTo>
                <a:lnTo>
                  <a:pt x="3789401" y="1996400"/>
                </a:lnTo>
                <a:close/>
                <a:moveTo>
                  <a:pt x="4139911" y="1986656"/>
                </a:moveTo>
                <a:lnTo>
                  <a:pt x="4144142" y="1989904"/>
                </a:lnTo>
                <a:lnTo>
                  <a:pt x="4145878" y="1988172"/>
                </a:lnTo>
                <a:lnTo>
                  <a:pt x="4149351" y="1994451"/>
                </a:lnTo>
                <a:lnTo>
                  <a:pt x="4152390" y="1997916"/>
                </a:lnTo>
                <a:lnTo>
                  <a:pt x="4153692" y="2003438"/>
                </a:lnTo>
                <a:lnTo>
                  <a:pt x="4152933" y="2007119"/>
                </a:lnTo>
                <a:lnTo>
                  <a:pt x="4147723" y="2010476"/>
                </a:lnTo>
                <a:lnTo>
                  <a:pt x="4153909" y="2015889"/>
                </a:lnTo>
                <a:lnTo>
                  <a:pt x="4152064" y="2024551"/>
                </a:lnTo>
                <a:lnTo>
                  <a:pt x="4153150" y="2034186"/>
                </a:lnTo>
                <a:lnTo>
                  <a:pt x="4152282" y="2036677"/>
                </a:lnTo>
                <a:lnTo>
                  <a:pt x="4152282" y="2045555"/>
                </a:lnTo>
                <a:lnTo>
                  <a:pt x="4150437" y="2048912"/>
                </a:lnTo>
                <a:lnTo>
                  <a:pt x="4147723" y="2048912"/>
                </a:lnTo>
                <a:lnTo>
                  <a:pt x="4144794" y="2046096"/>
                </a:lnTo>
                <a:lnTo>
                  <a:pt x="4140344" y="2045663"/>
                </a:lnTo>
                <a:lnTo>
                  <a:pt x="4138825" y="2048912"/>
                </a:lnTo>
                <a:lnTo>
                  <a:pt x="4138499" y="2054325"/>
                </a:lnTo>
                <a:lnTo>
                  <a:pt x="4135136" y="2055841"/>
                </a:lnTo>
                <a:lnTo>
                  <a:pt x="4132748" y="2054758"/>
                </a:lnTo>
                <a:lnTo>
                  <a:pt x="4130904" y="2055841"/>
                </a:lnTo>
                <a:lnTo>
                  <a:pt x="4127322" y="2052051"/>
                </a:lnTo>
                <a:lnTo>
                  <a:pt x="4124935" y="2042307"/>
                </a:lnTo>
                <a:lnTo>
                  <a:pt x="4122982" y="2039167"/>
                </a:lnTo>
                <a:lnTo>
                  <a:pt x="4125152" y="2030830"/>
                </a:lnTo>
                <a:lnTo>
                  <a:pt x="4127973" y="2027474"/>
                </a:lnTo>
                <a:lnTo>
                  <a:pt x="4127973" y="2025525"/>
                </a:lnTo>
                <a:lnTo>
                  <a:pt x="4123307" y="2025092"/>
                </a:lnTo>
                <a:lnTo>
                  <a:pt x="4121896" y="2022276"/>
                </a:lnTo>
                <a:lnTo>
                  <a:pt x="4125260" y="2018596"/>
                </a:lnTo>
                <a:lnTo>
                  <a:pt x="4125260" y="2013074"/>
                </a:lnTo>
                <a:lnTo>
                  <a:pt x="4122222" y="2010367"/>
                </a:lnTo>
                <a:lnTo>
                  <a:pt x="4121354" y="2006686"/>
                </a:lnTo>
                <a:lnTo>
                  <a:pt x="4117556" y="2002896"/>
                </a:lnTo>
                <a:lnTo>
                  <a:pt x="4118424" y="1999540"/>
                </a:lnTo>
                <a:lnTo>
                  <a:pt x="4118424" y="1994235"/>
                </a:lnTo>
                <a:lnTo>
                  <a:pt x="4123850" y="1997483"/>
                </a:lnTo>
                <a:lnTo>
                  <a:pt x="4127648" y="1997374"/>
                </a:lnTo>
                <a:lnTo>
                  <a:pt x="4136330" y="1987089"/>
                </a:lnTo>
                <a:close/>
                <a:moveTo>
                  <a:pt x="4120593" y="1985357"/>
                </a:moveTo>
                <a:lnTo>
                  <a:pt x="4122438" y="1986981"/>
                </a:lnTo>
                <a:lnTo>
                  <a:pt x="4120485" y="1989147"/>
                </a:lnTo>
                <a:lnTo>
                  <a:pt x="4120051" y="1991312"/>
                </a:lnTo>
                <a:lnTo>
                  <a:pt x="4118532" y="1991529"/>
                </a:lnTo>
                <a:lnTo>
                  <a:pt x="4118315" y="1988497"/>
                </a:lnTo>
                <a:lnTo>
                  <a:pt x="4119833" y="1987631"/>
                </a:lnTo>
                <a:close/>
                <a:moveTo>
                  <a:pt x="4919819" y="1985033"/>
                </a:moveTo>
                <a:lnTo>
                  <a:pt x="4924159" y="1986116"/>
                </a:lnTo>
                <a:lnTo>
                  <a:pt x="4924159" y="1986115"/>
                </a:lnTo>
                <a:close/>
                <a:moveTo>
                  <a:pt x="5353218" y="1981905"/>
                </a:moveTo>
                <a:lnTo>
                  <a:pt x="5355948" y="1983842"/>
                </a:lnTo>
                <a:lnTo>
                  <a:pt x="5357684" y="1990013"/>
                </a:lnTo>
                <a:lnTo>
                  <a:pt x="5358530" y="1991536"/>
                </a:lnTo>
                <a:lnTo>
                  <a:pt x="5357684" y="1990013"/>
                </a:lnTo>
                <a:lnTo>
                  <a:pt x="5355948" y="1983841"/>
                </a:lnTo>
                <a:close/>
                <a:moveTo>
                  <a:pt x="4956146" y="1978843"/>
                </a:moveTo>
                <a:lnTo>
                  <a:pt x="4956170" y="1978866"/>
                </a:lnTo>
                <a:lnTo>
                  <a:pt x="4956280" y="1978970"/>
                </a:lnTo>
                <a:lnTo>
                  <a:pt x="4964961" y="1980052"/>
                </a:lnTo>
                <a:lnTo>
                  <a:pt x="4969736" y="1984816"/>
                </a:lnTo>
                <a:lnTo>
                  <a:pt x="4968000" y="1990338"/>
                </a:lnTo>
                <a:lnTo>
                  <a:pt x="4968434" y="1995210"/>
                </a:lnTo>
                <a:lnTo>
                  <a:pt x="4978091" y="2003114"/>
                </a:lnTo>
                <a:lnTo>
                  <a:pt x="4978417" y="2007878"/>
                </a:lnTo>
                <a:lnTo>
                  <a:pt x="4977193" y="2009226"/>
                </a:lnTo>
                <a:lnTo>
                  <a:pt x="4978418" y="2007876"/>
                </a:lnTo>
                <a:lnTo>
                  <a:pt x="4978092" y="2003113"/>
                </a:lnTo>
                <a:lnTo>
                  <a:pt x="4968435" y="1995209"/>
                </a:lnTo>
                <a:lnTo>
                  <a:pt x="4968000" y="1990337"/>
                </a:lnTo>
                <a:lnTo>
                  <a:pt x="4969737" y="1984815"/>
                </a:lnTo>
                <a:lnTo>
                  <a:pt x="4964962" y="1980051"/>
                </a:lnTo>
                <a:lnTo>
                  <a:pt x="4956281" y="1978968"/>
                </a:lnTo>
                <a:close/>
                <a:moveTo>
                  <a:pt x="4492372" y="1978752"/>
                </a:moveTo>
                <a:lnTo>
                  <a:pt x="4493022" y="1982650"/>
                </a:lnTo>
                <a:lnTo>
                  <a:pt x="4493023" y="1982650"/>
                </a:lnTo>
                <a:lnTo>
                  <a:pt x="4492372" y="1978752"/>
                </a:lnTo>
                <a:close/>
                <a:moveTo>
                  <a:pt x="4915521" y="1977833"/>
                </a:moveTo>
                <a:lnTo>
                  <a:pt x="4915520" y="1977834"/>
                </a:lnTo>
                <a:lnTo>
                  <a:pt x="4919493" y="1982109"/>
                </a:lnTo>
                <a:lnTo>
                  <a:pt x="4919493" y="1982109"/>
                </a:lnTo>
                <a:lnTo>
                  <a:pt x="4919464" y="1982077"/>
                </a:lnTo>
                <a:close/>
                <a:moveTo>
                  <a:pt x="5517095" y="1975504"/>
                </a:moveTo>
                <a:lnTo>
                  <a:pt x="5517095" y="1975505"/>
                </a:lnTo>
                <a:lnTo>
                  <a:pt x="5524474" y="1979077"/>
                </a:lnTo>
                <a:lnTo>
                  <a:pt x="5524474" y="1979077"/>
                </a:lnTo>
                <a:close/>
                <a:moveTo>
                  <a:pt x="4977637" y="1974963"/>
                </a:moveTo>
                <a:lnTo>
                  <a:pt x="4983376" y="1975170"/>
                </a:lnTo>
                <a:lnTo>
                  <a:pt x="4982977" y="1974963"/>
                </a:lnTo>
                <a:close/>
                <a:moveTo>
                  <a:pt x="4933601" y="1972906"/>
                </a:moveTo>
                <a:lnTo>
                  <a:pt x="4922749" y="1975288"/>
                </a:lnTo>
                <a:lnTo>
                  <a:pt x="4915531" y="1977830"/>
                </a:lnTo>
                <a:lnTo>
                  <a:pt x="4915804" y="1978103"/>
                </a:lnTo>
                <a:lnTo>
                  <a:pt x="4923182" y="1975505"/>
                </a:lnTo>
                <a:lnTo>
                  <a:pt x="4933925" y="1973123"/>
                </a:lnTo>
                <a:lnTo>
                  <a:pt x="4936963" y="1973772"/>
                </a:lnTo>
                <a:lnTo>
                  <a:pt x="4945965" y="1973555"/>
                </a:lnTo>
                <a:lnTo>
                  <a:pt x="4936748" y="1973555"/>
                </a:lnTo>
                <a:close/>
                <a:moveTo>
                  <a:pt x="4533515" y="1970973"/>
                </a:moveTo>
                <a:lnTo>
                  <a:pt x="4533499" y="1971065"/>
                </a:lnTo>
                <a:lnTo>
                  <a:pt x="4533499" y="1971065"/>
                </a:lnTo>
                <a:close/>
                <a:moveTo>
                  <a:pt x="4884442" y="1967926"/>
                </a:moveTo>
                <a:lnTo>
                  <a:pt x="4882164" y="1970849"/>
                </a:lnTo>
                <a:lnTo>
                  <a:pt x="4879480" y="1969992"/>
                </a:lnTo>
                <a:lnTo>
                  <a:pt x="4879559" y="1970308"/>
                </a:lnTo>
                <a:lnTo>
                  <a:pt x="4882272" y="1971174"/>
                </a:lnTo>
                <a:lnTo>
                  <a:pt x="4884550" y="1968251"/>
                </a:lnTo>
                <a:lnTo>
                  <a:pt x="4890736" y="1970633"/>
                </a:lnTo>
                <a:lnTo>
                  <a:pt x="4892499" y="1970307"/>
                </a:lnTo>
                <a:lnTo>
                  <a:pt x="4890628" y="1970307"/>
                </a:lnTo>
                <a:close/>
                <a:moveTo>
                  <a:pt x="4960513" y="1967384"/>
                </a:moveTo>
                <a:lnTo>
                  <a:pt x="4951506" y="1970849"/>
                </a:lnTo>
                <a:lnTo>
                  <a:pt x="4951506" y="1974472"/>
                </a:lnTo>
                <a:lnTo>
                  <a:pt x="4951730" y="1974682"/>
                </a:lnTo>
                <a:lnTo>
                  <a:pt x="4952157" y="1970740"/>
                </a:lnTo>
                <a:lnTo>
                  <a:pt x="4960662" y="1967468"/>
                </a:lnTo>
                <a:close/>
                <a:moveTo>
                  <a:pt x="4400241" y="1966301"/>
                </a:moveTo>
                <a:lnTo>
                  <a:pt x="4400241" y="1966302"/>
                </a:lnTo>
                <a:lnTo>
                  <a:pt x="4401327" y="1968468"/>
                </a:lnTo>
                <a:lnTo>
                  <a:pt x="4401327" y="1968469"/>
                </a:lnTo>
                <a:lnTo>
                  <a:pt x="4401760" y="1969226"/>
                </a:lnTo>
                <a:lnTo>
                  <a:pt x="4403713" y="1967277"/>
                </a:lnTo>
                <a:lnTo>
                  <a:pt x="4403713" y="1967277"/>
                </a:lnTo>
                <a:lnTo>
                  <a:pt x="4401761" y="1969225"/>
                </a:lnTo>
                <a:lnTo>
                  <a:pt x="4400382" y="1966572"/>
                </a:lnTo>
                <a:lnTo>
                  <a:pt x="4401760" y="1969225"/>
                </a:lnTo>
                <a:lnTo>
                  <a:pt x="4401326" y="1968466"/>
                </a:lnTo>
                <a:close/>
                <a:moveTo>
                  <a:pt x="3784951" y="1962728"/>
                </a:moveTo>
                <a:lnTo>
                  <a:pt x="3780502" y="1967167"/>
                </a:lnTo>
                <a:lnTo>
                  <a:pt x="3767372" y="1964460"/>
                </a:lnTo>
                <a:lnTo>
                  <a:pt x="3759450" y="1968575"/>
                </a:lnTo>
                <a:lnTo>
                  <a:pt x="3757434" y="1965186"/>
                </a:lnTo>
                <a:lnTo>
                  <a:pt x="3757389" y="1965543"/>
                </a:lnTo>
                <a:lnTo>
                  <a:pt x="3759451" y="1969008"/>
                </a:lnTo>
                <a:lnTo>
                  <a:pt x="3767373" y="1964894"/>
                </a:lnTo>
                <a:lnTo>
                  <a:pt x="3780504" y="1967601"/>
                </a:lnTo>
                <a:lnTo>
                  <a:pt x="3785061" y="1963162"/>
                </a:lnTo>
                <a:lnTo>
                  <a:pt x="3795843" y="1964493"/>
                </a:lnTo>
                <a:lnTo>
                  <a:pt x="3795803" y="1964135"/>
                </a:lnTo>
                <a:close/>
                <a:moveTo>
                  <a:pt x="4408001" y="1960901"/>
                </a:moveTo>
                <a:lnTo>
                  <a:pt x="4403389" y="1963378"/>
                </a:lnTo>
                <a:lnTo>
                  <a:pt x="4403389" y="1963378"/>
                </a:lnTo>
                <a:close/>
                <a:moveTo>
                  <a:pt x="5546234" y="1959597"/>
                </a:moveTo>
                <a:lnTo>
                  <a:pt x="5547371" y="1960779"/>
                </a:lnTo>
                <a:lnTo>
                  <a:pt x="5549324" y="1964244"/>
                </a:lnTo>
                <a:lnTo>
                  <a:pt x="5549325" y="1964244"/>
                </a:lnTo>
                <a:lnTo>
                  <a:pt x="5547372" y="1960780"/>
                </a:lnTo>
                <a:lnTo>
                  <a:pt x="5547371" y="1960779"/>
                </a:lnTo>
                <a:lnTo>
                  <a:pt x="5547371" y="1960779"/>
                </a:lnTo>
                <a:close/>
                <a:moveTo>
                  <a:pt x="4415016" y="1958196"/>
                </a:moveTo>
                <a:lnTo>
                  <a:pt x="4414023" y="1958939"/>
                </a:lnTo>
                <a:lnTo>
                  <a:pt x="4409032" y="1960347"/>
                </a:lnTo>
                <a:lnTo>
                  <a:pt x="4409030" y="1960348"/>
                </a:lnTo>
                <a:lnTo>
                  <a:pt x="4414022" y="1958940"/>
                </a:lnTo>
                <a:close/>
                <a:moveTo>
                  <a:pt x="2309451" y="1956990"/>
                </a:moveTo>
                <a:lnTo>
                  <a:pt x="2309559" y="1958289"/>
                </a:lnTo>
                <a:lnTo>
                  <a:pt x="2307823" y="1960346"/>
                </a:lnTo>
                <a:lnTo>
                  <a:pt x="2306087" y="1962836"/>
                </a:lnTo>
                <a:lnTo>
                  <a:pt x="2310753" y="1960779"/>
                </a:lnTo>
                <a:lnTo>
                  <a:pt x="2313248" y="1961971"/>
                </a:lnTo>
                <a:lnTo>
                  <a:pt x="2317155" y="1960563"/>
                </a:lnTo>
                <a:lnTo>
                  <a:pt x="2314551" y="1963053"/>
                </a:lnTo>
                <a:lnTo>
                  <a:pt x="2308149" y="1965002"/>
                </a:lnTo>
                <a:lnTo>
                  <a:pt x="2306087" y="1964569"/>
                </a:lnTo>
                <a:lnTo>
                  <a:pt x="2304351" y="1966193"/>
                </a:lnTo>
                <a:lnTo>
                  <a:pt x="2297623" y="1965868"/>
                </a:lnTo>
                <a:lnTo>
                  <a:pt x="2294041" y="1968033"/>
                </a:lnTo>
                <a:lnTo>
                  <a:pt x="2286120" y="1968141"/>
                </a:lnTo>
                <a:lnTo>
                  <a:pt x="2281236" y="1969657"/>
                </a:lnTo>
                <a:lnTo>
                  <a:pt x="2276028" y="1969874"/>
                </a:lnTo>
                <a:lnTo>
                  <a:pt x="2274508" y="1971390"/>
                </a:lnTo>
                <a:lnTo>
                  <a:pt x="2271036" y="1972472"/>
                </a:lnTo>
                <a:lnTo>
                  <a:pt x="2272990" y="1970740"/>
                </a:lnTo>
                <a:lnTo>
                  <a:pt x="2269951" y="1970524"/>
                </a:lnTo>
                <a:lnTo>
                  <a:pt x="2269300" y="1968467"/>
                </a:lnTo>
                <a:lnTo>
                  <a:pt x="2272013" y="1965110"/>
                </a:lnTo>
                <a:lnTo>
                  <a:pt x="2277221" y="1964244"/>
                </a:lnTo>
                <a:lnTo>
                  <a:pt x="2284058" y="1961429"/>
                </a:lnTo>
                <a:lnTo>
                  <a:pt x="2289050" y="1962620"/>
                </a:lnTo>
                <a:lnTo>
                  <a:pt x="2295127" y="1960779"/>
                </a:lnTo>
                <a:lnTo>
                  <a:pt x="2302723" y="1960779"/>
                </a:lnTo>
                <a:close/>
                <a:moveTo>
                  <a:pt x="7134969" y="1956774"/>
                </a:moveTo>
                <a:lnTo>
                  <a:pt x="7135729" y="1960131"/>
                </a:lnTo>
                <a:lnTo>
                  <a:pt x="7135402" y="1963595"/>
                </a:lnTo>
                <a:lnTo>
                  <a:pt x="7138659" y="1964678"/>
                </a:lnTo>
                <a:lnTo>
                  <a:pt x="7139527" y="1967168"/>
                </a:lnTo>
                <a:lnTo>
                  <a:pt x="7138333" y="1972473"/>
                </a:lnTo>
                <a:lnTo>
                  <a:pt x="7135729" y="1975072"/>
                </a:lnTo>
                <a:lnTo>
                  <a:pt x="7133992" y="1975613"/>
                </a:lnTo>
                <a:lnTo>
                  <a:pt x="7134209" y="1971066"/>
                </a:lnTo>
                <a:lnTo>
                  <a:pt x="7135729" y="1968359"/>
                </a:lnTo>
                <a:lnTo>
                  <a:pt x="7134643" y="1967601"/>
                </a:lnTo>
                <a:lnTo>
                  <a:pt x="7131713" y="1969333"/>
                </a:lnTo>
                <a:lnTo>
                  <a:pt x="7131279" y="1966302"/>
                </a:lnTo>
                <a:lnTo>
                  <a:pt x="7133341" y="1958398"/>
                </a:lnTo>
                <a:close/>
                <a:moveTo>
                  <a:pt x="4399338" y="1956376"/>
                </a:moveTo>
                <a:lnTo>
                  <a:pt x="4400350" y="1958940"/>
                </a:lnTo>
                <a:lnTo>
                  <a:pt x="4400241" y="1966301"/>
                </a:lnTo>
                <a:lnTo>
                  <a:pt x="4400241" y="1966302"/>
                </a:lnTo>
                <a:lnTo>
                  <a:pt x="4400350" y="1958939"/>
                </a:lnTo>
                <a:close/>
                <a:moveTo>
                  <a:pt x="5478740" y="1955772"/>
                </a:moveTo>
                <a:lnTo>
                  <a:pt x="5486167" y="1956774"/>
                </a:lnTo>
                <a:lnTo>
                  <a:pt x="5486167" y="1956774"/>
                </a:lnTo>
                <a:close/>
                <a:moveTo>
                  <a:pt x="5478136" y="1955691"/>
                </a:moveTo>
                <a:lnTo>
                  <a:pt x="5471083" y="1957099"/>
                </a:lnTo>
                <a:lnTo>
                  <a:pt x="5460340" y="1962837"/>
                </a:lnTo>
                <a:lnTo>
                  <a:pt x="5460341" y="1962837"/>
                </a:lnTo>
                <a:lnTo>
                  <a:pt x="5471084" y="1957099"/>
                </a:lnTo>
                <a:lnTo>
                  <a:pt x="5478138" y="1955691"/>
                </a:lnTo>
                <a:close/>
                <a:moveTo>
                  <a:pt x="4982976" y="1953094"/>
                </a:moveTo>
                <a:lnTo>
                  <a:pt x="4982976" y="1954393"/>
                </a:lnTo>
                <a:lnTo>
                  <a:pt x="4980350" y="1954682"/>
                </a:lnTo>
                <a:lnTo>
                  <a:pt x="4981878" y="1955597"/>
                </a:lnTo>
                <a:cubicBezTo>
                  <a:pt x="4983600" y="1955664"/>
                  <a:pt x="4985147" y="1955150"/>
                  <a:pt x="4985364" y="1954825"/>
                </a:cubicBezTo>
                <a:lnTo>
                  <a:pt x="4983302" y="1962187"/>
                </a:lnTo>
                <a:lnTo>
                  <a:pt x="4989487" y="1965977"/>
                </a:lnTo>
                <a:lnTo>
                  <a:pt x="4992960" y="1970740"/>
                </a:lnTo>
                <a:lnTo>
                  <a:pt x="4991567" y="1979291"/>
                </a:lnTo>
                <a:lnTo>
                  <a:pt x="4992200" y="1979618"/>
                </a:lnTo>
                <a:lnTo>
                  <a:pt x="4993610" y="1971065"/>
                </a:lnTo>
                <a:lnTo>
                  <a:pt x="4990138" y="1966193"/>
                </a:lnTo>
                <a:lnTo>
                  <a:pt x="4983952" y="1962403"/>
                </a:lnTo>
                <a:lnTo>
                  <a:pt x="4986340" y="1953850"/>
                </a:lnTo>
                <a:lnTo>
                  <a:pt x="4990530" y="1954248"/>
                </a:lnTo>
                <a:lnTo>
                  <a:pt x="4989920" y="1953743"/>
                </a:lnTo>
                <a:close/>
                <a:moveTo>
                  <a:pt x="4438440" y="1952984"/>
                </a:moveTo>
                <a:lnTo>
                  <a:pt x="4431712" y="1954500"/>
                </a:lnTo>
                <a:lnTo>
                  <a:pt x="4427262" y="1953742"/>
                </a:lnTo>
                <a:lnTo>
                  <a:pt x="4421530" y="1955139"/>
                </a:lnTo>
                <a:lnTo>
                  <a:pt x="4427261" y="1953743"/>
                </a:lnTo>
                <a:lnTo>
                  <a:pt x="4431711" y="1954501"/>
                </a:lnTo>
                <a:lnTo>
                  <a:pt x="4438438" y="1952985"/>
                </a:lnTo>
                <a:lnTo>
                  <a:pt x="4441911" y="1952985"/>
                </a:lnTo>
                <a:lnTo>
                  <a:pt x="4451569" y="1960456"/>
                </a:lnTo>
                <a:lnTo>
                  <a:pt x="4457863" y="1971716"/>
                </a:lnTo>
                <a:lnTo>
                  <a:pt x="4458731" y="1977346"/>
                </a:lnTo>
                <a:lnTo>
                  <a:pt x="4459599" y="1982109"/>
                </a:lnTo>
                <a:lnTo>
                  <a:pt x="4459599" y="1982109"/>
                </a:lnTo>
                <a:lnTo>
                  <a:pt x="4458731" y="1977345"/>
                </a:lnTo>
                <a:lnTo>
                  <a:pt x="4457863" y="1971714"/>
                </a:lnTo>
                <a:lnTo>
                  <a:pt x="4451570" y="1960455"/>
                </a:lnTo>
                <a:lnTo>
                  <a:pt x="4441912" y="1952984"/>
                </a:lnTo>
                <a:close/>
                <a:moveTo>
                  <a:pt x="5037341" y="1952444"/>
                </a:moveTo>
                <a:lnTo>
                  <a:pt x="5036789" y="1953109"/>
                </a:lnTo>
                <a:lnTo>
                  <a:pt x="5040815" y="1956015"/>
                </a:lnTo>
                <a:lnTo>
                  <a:pt x="5048195" y="1965651"/>
                </a:lnTo>
                <a:lnTo>
                  <a:pt x="5048520" y="1970307"/>
                </a:lnTo>
                <a:lnTo>
                  <a:pt x="5051667" y="1976911"/>
                </a:lnTo>
                <a:lnTo>
                  <a:pt x="5059697" y="1982650"/>
                </a:lnTo>
                <a:lnTo>
                  <a:pt x="5060565" y="1986439"/>
                </a:lnTo>
                <a:lnTo>
                  <a:pt x="5065774" y="1990337"/>
                </a:lnTo>
                <a:lnTo>
                  <a:pt x="5067010" y="1990316"/>
                </a:lnTo>
                <a:lnTo>
                  <a:pt x="5061975" y="1986548"/>
                </a:lnTo>
                <a:lnTo>
                  <a:pt x="5061107" y="1982759"/>
                </a:lnTo>
                <a:lnTo>
                  <a:pt x="5052968" y="1977020"/>
                </a:lnTo>
                <a:lnTo>
                  <a:pt x="5049821" y="1970308"/>
                </a:lnTo>
                <a:lnTo>
                  <a:pt x="5049821" y="1965652"/>
                </a:lnTo>
                <a:lnTo>
                  <a:pt x="5042442" y="1956016"/>
                </a:lnTo>
                <a:close/>
                <a:moveTo>
                  <a:pt x="4181255" y="1951793"/>
                </a:moveTo>
                <a:lnTo>
                  <a:pt x="4182123" y="1953959"/>
                </a:lnTo>
                <a:lnTo>
                  <a:pt x="4179410" y="1952659"/>
                </a:lnTo>
                <a:close/>
                <a:moveTo>
                  <a:pt x="2348408" y="1948437"/>
                </a:moveTo>
                <a:lnTo>
                  <a:pt x="2352314" y="1948437"/>
                </a:lnTo>
                <a:lnTo>
                  <a:pt x="2354484" y="1950710"/>
                </a:lnTo>
                <a:lnTo>
                  <a:pt x="2351120" y="1950710"/>
                </a:lnTo>
                <a:lnTo>
                  <a:pt x="2349058" y="1952659"/>
                </a:lnTo>
                <a:lnTo>
                  <a:pt x="2346455" y="1952984"/>
                </a:lnTo>
                <a:lnTo>
                  <a:pt x="2345478" y="1951143"/>
                </a:lnTo>
                <a:lnTo>
                  <a:pt x="2347431" y="1949736"/>
                </a:lnTo>
                <a:close/>
                <a:moveTo>
                  <a:pt x="3995311" y="1947272"/>
                </a:moveTo>
                <a:lnTo>
                  <a:pt x="3984683" y="1948302"/>
                </a:lnTo>
                <a:lnTo>
                  <a:pt x="3984731" y="1948328"/>
                </a:lnTo>
                <a:close/>
                <a:moveTo>
                  <a:pt x="3952473" y="1946933"/>
                </a:moveTo>
                <a:lnTo>
                  <a:pt x="3952171" y="1947243"/>
                </a:lnTo>
                <a:lnTo>
                  <a:pt x="3952176" y="1947245"/>
                </a:lnTo>
                <a:close/>
                <a:moveTo>
                  <a:pt x="4966264" y="1946922"/>
                </a:moveTo>
                <a:lnTo>
                  <a:pt x="4940865" y="1955854"/>
                </a:lnTo>
                <a:lnTo>
                  <a:pt x="4942825" y="1956990"/>
                </a:lnTo>
                <a:lnTo>
                  <a:pt x="4968091" y="1948105"/>
                </a:lnTo>
                <a:close/>
                <a:moveTo>
                  <a:pt x="4386855" y="1945129"/>
                </a:moveTo>
                <a:lnTo>
                  <a:pt x="4386854" y="1945130"/>
                </a:lnTo>
                <a:lnTo>
                  <a:pt x="4388630" y="1946380"/>
                </a:lnTo>
                <a:lnTo>
                  <a:pt x="4391777" y="1951685"/>
                </a:lnTo>
                <a:lnTo>
                  <a:pt x="4394056" y="1952227"/>
                </a:lnTo>
                <a:lnTo>
                  <a:pt x="4398939" y="1955366"/>
                </a:lnTo>
                <a:lnTo>
                  <a:pt x="4398939" y="1955366"/>
                </a:lnTo>
                <a:lnTo>
                  <a:pt x="4394056" y="1952227"/>
                </a:lnTo>
                <a:lnTo>
                  <a:pt x="4391777" y="1951685"/>
                </a:lnTo>
                <a:lnTo>
                  <a:pt x="4388631" y="1946380"/>
                </a:lnTo>
                <a:close/>
                <a:moveTo>
                  <a:pt x="3977569" y="1944540"/>
                </a:moveTo>
                <a:lnTo>
                  <a:pt x="3971227" y="1945162"/>
                </a:lnTo>
                <a:lnTo>
                  <a:pt x="3971274" y="1945188"/>
                </a:lnTo>
                <a:lnTo>
                  <a:pt x="3977601" y="1944557"/>
                </a:lnTo>
                <a:close/>
                <a:moveTo>
                  <a:pt x="4440653" y="1943311"/>
                </a:moveTo>
                <a:lnTo>
                  <a:pt x="4440718" y="1943782"/>
                </a:lnTo>
                <a:lnTo>
                  <a:pt x="4442804" y="1947126"/>
                </a:lnTo>
                <a:lnTo>
                  <a:pt x="4440718" y="1943781"/>
                </a:lnTo>
                <a:close/>
                <a:moveTo>
                  <a:pt x="5535868" y="1943131"/>
                </a:moveTo>
                <a:lnTo>
                  <a:pt x="5535869" y="1943132"/>
                </a:lnTo>
                <a:lnTo>
                  <a:pt x="5540337" y="1944451"/>
                </a:lnTo>
                <a:close/>
                <a:moveTo>
                  <a:pt x="5295685" y="1942049"/>
                </a:moveTo>
                <a:lnTo>
                  <a:pt x="5296264" y="1943890"/>
                </a:lnTo>
                <a:lnTo>
                  <a:pt x="5314169" y="1953526"/>
                </a:lnTo>
                <a:lnTo>
                  <a:pt x="5328276" y="1960671"/>
                </a:lnTo>
                <a:lnTo>
                  <a:pt x="5332182" y="1958290"/>
                </a:lnTo>
                <a:lnTo>
                  <a:pt x="5336957" y="1959048"/>
                </a:lnTo>
                <a:lnTo>
                  <a:pt x="5346941" y="1966193"/>
                </a:lnTo>
                <a:lnTo>
                  <a:pt x="5347271" y="1967328"/>
                </a:lnTo>
                <a:lnTo>
                  <a:pt x="5346941" y="1966193"/>
                </a:lnTo>
                <a:lnTo>
                  <a:pt x="5336957" y="1959048"/>
                </a:lnTo>
                <a:lnTo>
                  <a:pt x="5332182" y="1958289"/>
                </a:lnTo>
                <a:lnTo>
                  <a:pt x="5328276" y="1960671"/>
                </a:lnTo>
                <a:lnTo>
                  <a:pt x="5314169" y="1953526"/>
                </a:lnTo>
                <a:lnTo>
                  <a:pt x="5296264" y="1943889"/>
                </a:lnTo>
                <a:close/>
                <a:moveTo>
                  <a:pt x="5559958" y="1940749"/>
                </a:moveTo>
                <a:lnTo>
                  <a:pt x="5559307" y="1947462"/>
                </a:lnTo>
                <a:lnTo>
                  <a:pt x="5555183" y="1951901"/>
                </a:lnTo>
                <a:lnTo>
                  <a:pt x="5555185" y="1951901"/>
                </a:lnTo>
                <a:lnTo>
                  <a:pt x="5559308" y="1947462"/>
                </a:lnTo>
                <a:lnTo>
                  <a:pt x="5559959" y="1940750"/>
                </a:lnTo>
                <a:lnTo>
                  <a:pt x="5562998" y="1941399"/>
                </a:lnTo>
                <a:lnTo>
                  <a:pt x="5562997" y="1941399"/>
                </a:lnTo>
                <a:close/>
                <a:moveTo>
                  <a:pt x="5531311" y="1940425"/>
                </a:moveTo>
                <a:lnTo>
                  <a:pt x="5531311" y="1940425"/>
                </a:lnTo>
                <a:lnTo>
                  <a:pt x="5535508" y="1942918"/>
                </a:lnTo>
                <a:close/>
                <a:moveTo>
                  <a:pt x="4166821" y="1935444"/>
                </a:moveTo>
                <a:lnTo>
                  <a:pt x="4169101" y="1938150"/>
                </a:lnTo>
                <a:lnTo>
                  <a:pt x="4169643" y="1940750"/>
                </a:lnTo>
                <a:lnTo>
                  <a:pt x="4165845" y="1940533"/>
                </a:lnTo>
                <a:lnTo>
                  <a:pt x="4160961" y="1942265"/>
                </a:lnTo>
                <a:lnTo>
                  <a:pt x="4158357" y="1941183"/>
                </a:lnTo>
                <a:lnTo>
                  <a:pt x="4160419" y="1939017"/>
                </a:lnTo>
                <a:lnTo>
                  <a:pt x="4165736" y="1936960"/>
                </a:lnTo>
                <a:close/>
                <a:moveTo>
                  <a:pt x="5234992" y="1934992"/>
                </a:moveTo>
                <a:lnTo>
                  <a:pt x="5232348" y="1935228"/>
                </a:lnTo>
                <a:lnTo>
                  <a:pt x="5227247" y="1945622"/>
                </a:lnTo>
                <a:lnTo>
                  <a:pt x="5227247" y="1945622"/>
                </a:lnTo>
                <a:lnTo>
                  <a:pt x="5232348" y="1935228"/>
                </a:lnTo>
                <a:close/>
                <a:moveTo>
                  <a:pt x="4308653" y="1934254"/>
                </a:moveTo>
                <a:cubicBezTo>
                  <a:pt x="4308978" y="1934254"/>
                  <a:pt x="4316900" y="1934254"/>
                  <a:pt x="4316900" y="1934254"/>
                </a:cubicBezTo>
                <a:lnTo>
                  <a:pt x="4320047" y="1937177"/>
                </a:lnTo>
                <a:lnTo>
                  <a:pt x="4312776" y="1936527"/>
                </a:lnTo>
                <a:close/>
                <a:moveTo>
                  <a:pt x="4142514" y="1931979"/>
                </a:moveTo>
                <a:lnTo>
                  <a:pt x="4144793" y="1931979"/>
                </a:lnTo>
                <a:lnTo>
                  <a:pt x="4146095" y="1938908"/>
                </a:lnTo>
                <a:lnTo>
                  <a:pt x="4145552" y="1944971"/>
                </a:lnTo>
                <a:lnTo>
                  <a:pt x="4148048" y="1954608"/>
                </a:lnTo>
                <a:lnTo>
                  <a:pt x="4145227" y="1965543"/>
                </a:lnTo>
                <a:lnTo>
                  <a:pt x="4145335" y="1971715"/>
                </a:lnTo>
                <a:lnTo>
                  <a:pt x="4142839" y="1979293"/>
                </a:lnTo>
                <a:lnTo>
                  <a:pt x="4138281" y="1981459"/>
                </a:lnTo>
                <a:lnTo>
                  <a:pt x="4131119" y="1978428"/>
                </a:lnTo>
                <a:lnTo>
                  <a:pt x="4129817" y="1976262"/>
                </a:lnTo>
                <a:lnTo>
                  <a:pt x="4131445" y="1973663"/>
                </a:lnTo>
                <a:lnTo>
                  <a:pt x="4133290" y="1973989"/>
                </a:lnTo>
                <a:lnTo>
                  <a:pt x="4131987" y="1971931"/>
                </a:lnTo>
                <a:lnTo>
                  <a:pt x="4130359" y="1971931"/>
                </a:lnTo>
                <a:lnTo>
                  <a:pt x="4130577" y="1968683"/>
                </a:lnTo>
                <a:lnTo>
                  <a:pt x="4127321" y="1966842"/>
                </a:lnTo>
                <a:lnTo>
                  <a:pt x="4125802" y="1964460"/>
                </a:lnTo>
                <a:lnTo>
                  <a:pt x="4127646" y="1963377"/>
                </a:lnTo>
                <a:lnTo>
                  <a:pt x="4127646" y="1961645"/>
                </a:lnTo>
                <a:lnTo>
                  <a:pt x="4124174" y="1959805"/>
                </a:lnTo>
                <a:lnTo>
                  <a:pt x="4123306" y="1956340"/>
                </a:lnTo>
                <a:lnTo>
                  <a:pt x="4126019" y="1956340"/>
                </a:lnTo>
                <a:lnTo>
                  <a:pt x="4126996" y="1954175"/>
                </a:lnTo>
                <a:lnTo>
                  <a:pt x="4124174" y="1951685"/>
                </a:lnTo>
                <a:lnTo>
                  <a:pt x="4127538" y="1945946"/>
                </a:lnTo>
                <a:lnTo>
                  <a:pt x="4134700" y="1943348"/>
                </a:lnTo>
                <a:lnTo>
                  <a:pt x="4137630" y="1940532"/>
                </a:lnTo>
                <a:lnTo>
                  <a:pt x="4140560" y="1943564"/>
                </a:lnTo>
                <a:lnTo>
                  <a:pt x="4142296" y="1943564"/>
                </a:lnTo>
                <a:lnTo>
                  <a:pt x="4143056" y="1939233"/>
                </a:lnTo>
                <a:lnTo>
                  <a:pt x="4141537" y="1936201"/>
                </a:lnTo>
                <a:close/>
                <a:moveTo>
                  <a:pt x="4383096" y="1931748"/>
                </a:moveTo>
                <a:lnTo>
                  <a:pt x="4384724" y="1933279"/>
                </a:lnTo>
                <a:lnTo>
                  <a:pt x="4390692" y="1934362"/>
                </a:lnTo>
                <a:lnTo>
                  <a:pt x="4390711" y="1934676"/>
                </a:lnTo>
                <a:lnTo>
                  <a:pt x="4390692" y="1934362"/>
                </a:lnTo>
                <a:lnTo>
                  <a:pt x="4384724" y="1933279"/>
                </a:lnTo>
                <a:close/>
                <a:moveTo>
                  <a:pt x="4303119" y="1929274"/>
                </a:moveTo>
                <a:lnTo>
                  <a:pt x="4315381" y="1929490"/>
                </a:lnTo>
                <a:lnTo>
                  <a:pt x="4310389" y="1931872"/>
                </a:lnTo>
                <a:close/>
                <a:moveTo>
                  <a:pt x="5246100" y="1927209"/>
                </a:moveTo>
                <a:lnTo>
                  <a:pt x="5243416" y="1928732"/>
                </a:lnTo>
                <a:lnTo>
                  <a:pt x="5242035" y="1930858"/>
                </a:lnTo>
                <a:lnTo>
                  <a:pt x="5243416" y="1928732"/>
                </a:lnTo>
                <a:close/>
                <a:moveTo>
                  <a:pt x="5123627" y="1925654"/>
                </a:moveTo>
                <a:lnTo>
                  <a:pt x="5123504" y="1925917"/>
                </a:lnTo>
                <a:lnTo>
                  <a:pt x="5123504" y="1928299"/>
                </a:lnTo>
                <a:lnTo>
                  <a:pt x="5122636" y="1935012"/>
                </a:lnTo>
                <a:lnTo>
                  <a:pt x="5119923" y="1941616"/>
                </a:lnTo>
                <a:lnTo>
                  <a:pt x="5121226" y="1947246"/>
                </a:lnTo>
                <a:lnTo>
                  <a:pt x="5121226" y="1953418"/>
                </a:lnTo>
                <a:lnTo>
                  <a:pt x="5121226" y="1955258"/>
                </a:lnTo>
                <a:lnTo>
                  <a:pt x="5124806" y="1958940"/>
                </a:lnTo>
                <a:lnTo>
                  <a:pt x="5126434" y="1962404"/>
                </a:lnTo>
                <a:lnTo>
                  <a:pt x="5130340" y="1965436"/>
                </a:lnTo>
                <a:lnTo>
                  <a:pt x="5131752" y="1969658"/>
                </a:lnTo>
                <a:lnTo>
                  <a:pt x="5136960" y="1977670"/>
                </a:lnTo>
                <a:lnTo>
                  <a:pt x="5135875" y="1984708"/>
                </a:lnTo>
                <a:lnTo>
                  <a:pt x="5132945" y="1989689"/>
                </a:lnTo>
                <a:lnTo>
                  <a:pt x="5133922" y="2001707"/>
                </a:lnTo>
                <a:lnTo>
                  <a:pt x="5136635" y="2005280"/>
                </a:lnTo>
                <a:lnTo>
                  <a:pt x="5137828" y="2008852"/>
                </a:lnTo>
                <a:lnTo>
                  <a:pt x="5146076" y="2016539"/>
                </a:lnTo>
                <a:lnTo>
                  <a:pt x="5146076" y="2015225"/>
                </a:lnTo>
                <a:lnTo>
                  <a:pt x="5138914" y="2008636"/>
                </a:lnTo>
                <a:lnTo>
                  <a:pt x="5137720" y="2004954"/>
                </a:lnTo>
                <a:lnTo>
                  <a:pt x="5135007" y="2001381"/>
                </a:lnTo>
                <a:lnTo>
                  <a:pt x="5134031" y="1989364"/>
                </a:lnTo>
                <a:lnTo>
                  <a:pt x="5136961" y="1984383"/>
                </a:lnTo>
                <a:lnTo>
                  <a:pt x="5137937" y="1977346"/>
                </a:lnTo>
                <a:lnTo>
                  <a:pt x="5132728" y="1969334"/>
                </a:lnTo>
                <a:lnTo>
                  <a:pt x="5131426" y="1965111"/>
                </a:lnTo>
                <a:lnTo>
                  <a:pt x="5127520" y="1962079"/>
                </a:lnTo>
                <a:lnTo>
                  <a:pt x="5125892" y="1958614"/>
                </a:lnTo>
                <a:lnTo>
                  <a:pt x="5122202" y="1954825"/>
                </a:lnTo>
                <a:lnTo>
                  <a:pt x="5122094" y="1952985"/>
                </a:lnTo>
                <a:lnTo>
                  <a:pt x="5136852" y="1939775"/>
                </a:lnTo>
                <a:lnTo>
                  <a:pt x="5148572" y="1935553"/>
                </a:lnTo>
                <a:lnTo>
                  <a:pt x="5154749" y="1936544"/>
                </a:lnTo>
                <a:lnTo>
                  <a:pt x="5148571" y="1935552"/>
                </a:lnTo>
                <a:lnTo>
                  <a:pt x="5136851" y="1939775"/>
                </a:lnTo>
                <a:lnTo>
                  <a:pt x="5122093" y="1952984"/>
                </a:lnTo>
                <a:lnTo>
                  <a:pt x="5121550" y="1946813"/>
                </a:lnTo>
                <a:lnTo>
                  <a:pt x="5120248" y="1941183"/>
                </a:lnTo>
                <a:lnTo>
                  <a:pt x="5122961" y="1934578"/>
                </a:lnTo>
                <a:lnTo>
                  <a:pt x="5123830" y="1927866"/>
                </a:lnTo>
                <a:close/>
                <a:moveTo>
                  <a:pt x="5248951" y="1925592"/>
                </a:moveTo>
                <a:lnTo>
                  <a:pt x="5248950" y="1925592"/>
                </a:lnTo>
                <a:lnTo>
                  <a:pt x="5254810" y="1928732"/>
                </a:lnTo>
                <a:lnTo>
                  <a:pt x="5257632" y="1927000"/>
                </a:lnTo>
                <a:lnTo>
                  <a:pt x="5254810" y="1928732"/>
                </a:lnTo>
                <a:close/>
                <a:moveTo>
                  <a:pt x="4303336" y="1923752"/>
                </a:moveTo>
                <a:lnTo>
                  <a:pt x="4312777" y="1923752"/>
                </a:lnTo>
                <a:lnTo>
                  <a:pt x="4314839" y="1925160"/>
                </a:lnTo>
                <a:lnTo>
                  <a:pt x="4310172" y="1927434"/>
                </a:lnTo>
                <a:lnTo>
                  <a:pt x="4305506" y="1926676"/>
                </a:lnTo>
                <a:close/>
                <a:moveTo>
                  <a:pt x="5253399" y="1921153"/>
                </a:moveTo>
                <a:lnTo>
                  <a:pt x="5253399" y="1921153"/>
                </a:lnTo>
                <a:lnTo>
                  <a:pt x="5257424" y="1921507"/>
                </a:lnTo>
                <a:close/>
                <a:moveTo>
                  <a:pt x="5539778" y="1917352"/>
                </a:moveTo>
                <a:lnTo>
                  <a:pt x="5539778" y="1917352"/>
                </a:lnTo>
                <a:lnTo>
                  <a:pt x="5542271" y="1917688"/>
                </a:lnTo>
                <a:lnTo>
                  <a:pt x="5542282" y="1917864"/>
                </a:lnTo>
                <a:lnTo>
                  <a:pt x="5542271" y="1917687"/>
                </a:lnTo>
                <a:close/>
                <a:moveTo>
                  <a:pt x="5538254" y="1917147"/>
                </a:moveTo>
                <a:lnTo>
                  <a:pt x="5533480" y="1923318"/>
                </a:lnTo>
                <a:lnTo>
                  <a:pt x="5529356" y="1925050"/>
                </a:lnTo>
                <a:lnTo>
                  <a:pt x="5520024" y="1936311"/>
                </a:lnTo>
                <a:lnTo>
                  <a:pt x="5516768" y="1942807"/>
                </a:lnTo>
                <a:lnTo>
                  <a:pt x="5513946" y="1946055"/>
                </a:lnTo>
                <a:lnTo>
                  <a:pt x="5509172" y="1955041"/>
                </a:lnTo>
                <a:lnTo>
                  <a:pt x="5499515" y="1963919"/>
                </a:lnTo>
                <a:lnTo>
                  <a:pt x="5499516" y="1963920"/>
                </a:lnTo>
                <a:lnTo>
                  <a:pt x="5509174" y="1955042"/>
                </a:lnTo>
                <a:lnTo>
                  <a:pt x="5513948" y="1946055"/>
                </a:lnTo>
                <a:lnTo>
                  <a:pt x="5516770" y="1942807"/>
                </a:lnTo>
                <a:lnTo>
                  <a:pt x="5520025" y="1936310"/>
                </a:lnTo>
                <a:lnTo>
                  <a:pt x="5529357" y="1925050"/>
                </a:lnTo>
                <a:lnTo>
                  <a:pt x="5533482" y="1923318"/>
                </a:lnTo>
                <a:lnTo>
                  <a:pt x="5538256" y="1917147"/>
                </a:lnTo>
                <a:close/>
                <a:moveTo>
                  <a:pt x="4369856" y="1916822"/>
                </a:moveTo>
                <a:lnTo>
                  <a:pt x="4368229" y="1918446"/>
                </a:lnTo>
                <a:lnTo>
                  <a:pt x="4367795" y="1918879"/>
                </a:lnTo>
                <a:close/>
                <a:moveTo>
                  <a:pt x="4359953" y="1914881"/>
                </a:moveTo>
                <a:lnTo>
                  <a:pt x="4363997" y="1917689"/>
                </a:lnTo>
                <a:lnTo>
                  <a:pt x="4367795" y="1918879"/>
                </a:lnTo>
                <a:lnTo>
                  <a:pt x="4368229" y="1918446"/>
                </a:lnTo>
                <a:lnTo>
                  <a:pt x="4372931" y="1922938"/>
                </a:lnTo>
                <a:lnTo>
                  <a:pt x="4368229" y="1918446"/>
                </a:lnTo>
                <a:lnTo>
                  <a:pt x="4369857" y="1916822"/>
                </a:lnTo>
                <a:lnTo>
                  <a:pt x="4369856" y="1916821"/>
                </a:lnTo>
                <a:lnTo>
                  <a:pt x="4367795" y="1918878"/>
                </a:lnTo>
                <a:lnTo>
                  <a:pt x="4363996" y="1917688"/>
                </a:lnTo>
                <a:close/>
                <a:moveTo>
                  <a:pt x="4359004" y="1914223"/>
                </a:moveTo>
                <a:lnTo>
                  <a:pt x="4356075" y="1916280"/>
                </a:lnTo>
                <a:lnTo>
                  <a:pt x="4356291" y="1919961"/>
                </a:lnTo>
                <a:lnTo>
                  <a:pt x="4356293" y="1919962"/>
                </a:lnTo>
                <a:lnTo>
                  <a:pt x="4356075" y="1916281"/>
                </a:lnTo>
                <a:lnTo>
                  <a:pt x="4359006" y="1914224"/>
                </a:lnTo>
                <a:close/>
                <a:moveTo>
                  <a:pt x="5544006" y="1909026"/>
                </a:moveTo>
                <a:lnTo>
                  <a:pt x="5544006" y="1909026"/>
                </a:lnTo>
                <a:lnTo>
                  <a:pt x="5545742" y="1911841"/>
                </a:lnTo>
                <a:lnTo>
                  <a:pt x="5545742" y="1911841"/>
                </a:lnTo>
                <a:close/>
                <a:moveTo>
                  <a:pt x="4492809" y="1908427"/>
                </a:moveTo>
                <a:lnTo>
                  <a:pt x="4495953" y="1909568"/>
                </a:lnTo>
                <a:lnTo>
                  <a:pt x="4500185" y="1909568"/>
                </a:lnTo>
                <a:lnTo>
                  <a:pt x="4506004" y="1910275"/>
                </a:lnTo>
                <a:lnTo>
                  <a:pt x="4500184" y="1909567"/>
                </a:lnTo>
                <a:lnTo>
                  <a:pt x="4495952" y="1909567"/>
                </a:lnTo>
                <a:close/>
                <a:moveTo>
                  <a:pt x="4463368" y="1907343"/>
                </a:moveTo>
                <a:lnTo>
                  <a:pt x="4465025" y="1909135"/>
                </a:lnTo>
                <a:lnTo>
                  <a:pt x="4467413" y="1908376"/>
                </a:lnTo>
                <a:lnTo>
                  <a:pt x="4475660" y="1911517"/>
                </a:lnTo>
                <a:lnTo>
                  <a:pt x="4482497" y="1908268"/>
                </a:lnTo>
                <a:lnTo>
                  <a:pt x="4487163" y="1909568"/>
                </a:lnTo>
                <a:lnTo>
                  <a:pt x="4490107" y="1908297"/>
                </a:lnTo>
                <a:lnTo>
                  <a:pt x="4487163" y="1909567"/>
                </a:lnTo>
                <a:lnTo>
                  <a:pt x="4482497" y="1908268"/>
                </a:lnTo>
                <a:lnTo>
                  <a:pt x="4475660" y="1911516"/>
                </a:lnTo>
                <a:lnTo>
                  <a:pt x="4467413" y="1908376"/>
                </a:lnTo>
                <a:lnTo>
                  <a:pt x="4465025" y="1909134"/>
                </a:lnTo>
                <a:close/>
                <a:moveTo>
                  <a:pt x="4456018" y="1905995"/>
                </a:moveTo>
                <a:lnTo>
                  <a:pt x="4450159" y="1909783"/>
                </a:lnTo>
                <a:lnTo>
                  <a:pt x="4450159" y="1909784"/>
                </a:lnTo>
                <a:close/>
                <a:moveTo>
                  <a:pt x="4447555" y="1905453"/>
                </a:moveTo>
                <a:lnTo>
                  <a:pt x="4447554" y="1905453"/>
                </a:lnTo>
                <a:lnTo>
                  <a:pt x="4448663" y="1907297"/>
                </a:lnTo>
                <a:close/>
                <a:moveTo>
                  <a:pt x="5548563" y="1904263"/>
                </a:moveTo>
                <a:lnTo>
                  <a:pt x="5545594" y="1907367"/>
                </a:lnTo>
                <a:lnTo>
                  <a:pt x="5548564" y="1904263"/>
                </a:lnTo>
                <a:close/>
                <a:moveTo>
                  <a:pt x="4371355" y="1902026"/>
                </a:moveTo>
                <a:lnTo>
                  <a:pt x="4372678" y="1903396"/>
                </a:lnTo>
                <a:lnTo>
                  <a:pt x="4370942" y="1906211"/>
                </a:lnTo>
                <a:lnTo>
                  <a:pt x="4366818" y="1903937"/>
                </a:lnTo>
                <a:lnTo>
                  <a:pt x="4364539" y="1905453"/>
                </a:lnTo>
                <a:lnTo>
                  <a:pt x="4364539" y="1905454"/>
                </a:lnTo>
                <a:lnTo>
                  <a:pt x="4366818" y="1903938"/>
                </a:lnTo>
                <a:lnTo>
                  <a:pt x="4370942" y="1906211"/>
                </a:lnTo>
                <a:lnTo>
                  <a:pt x="4372679" y="1903397"/>
                </a:lnTo>
                <a:close/>
                <a:moveTo>
                  <a:pt x="4565725" y="1901990"/>
                </a:moveTo>
                <a:lnTo>
                  <a:pt x="4568984" y="1903504"/>
                </a:lnTo>
                <a:lnTo>
                  <a:pt x="4568984" y="1903504"/>
                </a:lnTo>
                <a:close/>
                <a:moveTo>
                  <a:pt x="4266440" y="1901447"/>
                </a:moveTo>
                <a:lnTo>
                  <a:pt x="4271215" y="1905344"/>
                </a:lnTo>
                <a:lnTo>
                  <a:pt x="4272408" y="1909567"/>
                </a:lnTo>
                <a:close/>
                <a:moveTo>
                  <a:pt x="4101534" y="1900979"/>
                </a:moveTo>
                <a:lnTo>
                  <a:pt x="4099433" y="1905995"/>
                </a:lnTo>
                <a:lnTo>
                  <a:pt x="4099433" y="1905996"/>
                </a:lnTo>
                <a:close/>
                <a:moveTo>
                  <a:pt x="4562690" y="1900581"/>
                </a:moveTo>
                <a:lnTo>
                  <a:pt x="4558133" y="1902313"/>
                </a:lnTo>
                <a:lnTo>
                  <a:pt x="4562690" y="1900581"/>
                </a:lnTo>
                <a:close/>
                <a:moveTo>
                  <a:pt x="4449327" y="1899035"/>
                </a:moveTo>
                <a:lnTo>
                  <a:pt x="4449616" y="1899282"/>
                </a:lnTo>
                <a:lnTo>
                  <a:pt x="4449616" y="1899281"/>
                </a:lnTo>
                <a:close/>
                <a:moveTo>
                  <a:pt x="5427676" y="1898957"/>
                </a:moveTo>
                <a:lnTo>
                  <a:pt x="5419321" y="1901556"/>
                </a:lnTo>
                <a:lnTo>
                  <a:pt x="5419321" y="1901556"/>
                </a:lnTo>
                <a:lnTo>
                  <a:pt x="5427676" y="1898958"/>
                </a:lnTo>
                <a:close/>
                <a:moveTo>
                  <a:pt x="2159646" y="1898427"/>
                </a:moveTo>
                <a:lnTo>
                  <a:pt x="2153295" y="1900473"/>
                </a:lnTo>
                <a:lnTo>
                  <a:pt x="2110837" y="1911848"/>
                </a:lnTo>
                <a:lnTo>
                  <a:pt x="2153295" y="1900473"/>
                </a:lnTo>
                <a:close/>
                <a:moveTo>
                  <a:pt x="4552107" y="1898139"/>
                </a:moveTo>
                <a:lnTo>
                  <a:pt x="4555637" y="1899607"/>
                </a:lnTo>
                <a:lnTo>
                  <a:pt x="4555636" y="1899606"/>
                </a:lnTo>
                <a:close/>
                <a:moveTo>
                  <a:pt x="5756700" y="1897438"/>
                </a:moveTo>
                <a:lnTo>
                  <a:pt x="5754311" y="1899065"/>
                </a:lnTo>
                <a:lnTo>
                  <a:pt x="5754528" y="1905345"/>
                </a:lnTo>
                <a:lnTo>
                  <a:pt x="5752733" y="1906326"/>
                </a:lnTo>
                <a:lnTo>
                  <a:pt x="5754529" y="1905345"/>
                </a:lnTo>
                <a:lnTo>
                  <a:pt x="5754312" y="1899065"/>
                </a:lnTo>
                <a:close/>
                <a:moveTo>
                  <a:pt x="4534259" y="1896683"/>
                </a:moveTo>
                <a:lnTo>
                  <a:pt x="4520152" y="1903287"/>
                </a:lnTo>
                <a:lnTo>
                  <a:pt x="4518090" y="1906644"/>
                </a:lnTo>
                <a:lnTo>
                  <a:pt x="4512013" y="1908593"/>
                </a:lnTo>
                <a:lnTo>
                  <a:pt x="4509083" y="1910650"/>
                </a:lnTo>
                <a:lnTo>
                  <a:pt x="4512013" y="1908593"/>
                </a:lnTo>
                <a:lnTo>
                  <a:pt x="4518091" y="1906645"/>
                </a:lnTo>
                <a:lnTo>
                  <a:pt x="4520152" y="1903288"/>
                </a:lnTo>
                <a:close/>
                <a:moveTo>
                  <a:pt x="4540444" y="1895709"/>
                </a:moveTo>
                <a:lnTo>
                  <a:pt x="4537495" y="1896173"/>
                </a:lnTo>
                <a:lnTo>
                  <a:pt x="4540445" y="1895709"/>
                </a:lnTo>
                <a:close/>
                <a:moveTo>
                  <a:pt x="5005437" y="1894518"/>
                </a:moveTo>
                <a:lnTo>
                  <a:pt x="5003050" y="1896792"/>
                </a:lnTo>
                <a:lnTo>
                  <a:pt x="5001860" y="1896047"/>
                </a:lnTo>
                <a:lnTo>
                  <a:pt x="5001097" y="1897659"/>
                </a:lnTo>
                <a:lnTo>
                  <a:pt x="4999904" y="1902098"/>
                </a:lnTo>
                <a:lnTo>
                  <a:pt x="4997516" y="1901016"/>
                </a:lnTo>
                <a:lnTo>
                  <a:pt x="4997516" y="1905130"/>
                </a:lnTo>
                <a:lnTo>
                  <a:pt x="5000772" y="1905130"/>
                </a:lnTo>
                <a:lnTo>
                  <a:pt x="5001423" y="1907728"/>
                </a:lnTo>
                <a:lnTo>
                  <a:pt x="5002834" y="1910976"/>
                </a:lnTo>
                <a:lnTo>
                  <a:pt x="5002834" y="1917906"/>
                </a:lnTo>
                <a:lnTo>
                  <a:pt x="5006415" y="1922020"/>
                </a:lnTo>
                <a:lnTo>
                  <a:pt x="5007934" y="1928841"/>
                </a:lnTo>
                <a:lnTo>
                  <a:pt x="5016941" y="1939668"/>
                </a:lnTo>
                <a:lnTo>
                  <a:pt x="5029637" y="1950495"/>
                </a:lnTo>
                <a:lnTo>
                  <a:pt x="5031808" y="1952011"/>
                </a:lnTo>
                <a:lnTo>
                  <a:pt x="5023777" y="1961755"/>
                </a:lnTo>
                <a:lnTo>
                  <a:pt x="5016833" y="1965545"/>
                </a:lnTo>
                <a:lnTo>
                  <a:pt x="5014771" y="1969659"/>
                </a:lnTo>
                <a:lnTo>
                  <a:pt x="5007159" y="1968900"/>
                </a:lnTo>
                <a:lnTo>
                  <a:pt x="5007392" y="1969332"/>
                </a:lnTo>
                <a:lnTo>
                  <a:pt x="5018461" y="1970415"/>
                </a:lnTo>
                <a:lnTo>
                  <a:pt x="5020522" y="1966193"/>
                </a:lnTo>
                <a:lnTo>
                  <a:pt x="5027359" y="1962403"/>
                </a:lnTo>
                <a:lnTo>
                  <a:pt x="5035715" y="1952334"/>
                </a:lnTo>
                <a:lnTo>
                  <a:pt x="5036755" y="1953085"/>
                </a:lnTo>
                <a:lnTo>
                  <a:pt x="5037016" y="1952768"/>
                </a:lnTo>
                <a:lnTo>
                  <a:pt x="5034846" y="1951252"/>
                </a:lnTo>
                <a:lnTo>
                  <a:pt x="5022149" y="1940425"/>
                </a:lnTo>
                <a:lnTo>
                  <a:pt x="5013142" y="1929598"/>
                </a:lnTo>
                <a:lnTo>
                  <a:pt x="5011623" y="1922777"/>
                </a:lnTo>
                <a:lnTo>
                  <a:pt x="5008042" y="1918663"/>
                </a:lnTo>
                <a:lnTo>
                  <a:pt x="5008042" y="1911733"/>
                </a:lnTo>
                <a:lnTo>
                  <a:pt x="5006631" y="1908485"/>
                </a:lnTo>
                <a:lnTo>
                  <a:pt x="5005981" y="1905886"/>
                </a:lnTo>
                <a:lnTo>
                  <a:pt x="5002724" y="1905886"/>
                </a:lnTo>
                <a:lnTo>
                  <a:pt x="5002724" y="1901773"/>
                </a:lnTo>
                <a:lnTo>
                  <a:pt x="5005112" y="1902855"/>
                </a:lnTo>
                <a:lnTo>
                  <a:pt x="5006306" y="1898416"/>
                </a:lnTo>
                <a:lnTo>
                  <a:pt x="5008150" y="1894518"/>
                </a:lnTo>
                <a:close/>
                <a:moveTo>
                  <a:pt x="2087767" y="1893762"/>
                </a:moveTo>
                <a:lnTo>
                  <a:pt x="2087317" y="1894843"/>
                </a:lnTo>
                <a:lnTo>
                  <a:pt x="2086291" y="1896892"/>
                </a:lnTo>
                <a:lnTo>
                  <a:pt x="2087317" y="1894843"/>
                </a:lnTo>
                <a:close/>
                <a:moveTo>
                  <a:pt x="4260364" y="1893544"/>
                </a:moveTo>
                <a:lnTo>
                  <a:pt x="4264054" y="1895060"/>
                </a:lnTo>
                <a:lnTo>
                  <a:pt x="4264596" y="1898525"/>
                </a:lnTo>
                <a:close/>
                <a:moveTo>
                  <a:pt x="4269261" y="1893327"/>
                </a:moveTo>
                <a:lnTo>
                  <a:pt x="4271974" y="1894084"/>
                </a:lnTo>
                <a:lnTo>
                  <a:pt x="4275012" y="1898199"/>
                </a:lnTo>
                <a:lnTo>
                  <a:pt x="4273276" y="1899390"/>
                </a:lnTo>
                <a:close/>
                <a:moveTo>
                  <a:pt x="5759521" y="1893219"/>
                </a:moveTo>
                <a:lnTo>
                  <a:pt x="5759520" y="1893219"/>
                </a:lnTo>
                <a:lnTo>
                  <a:pt x="5758760" y="1896034"/>
                </a:lnTo>
                <a:lnTo>
                  <a:pt x="5758761" y="1896033"/>
                </a:lnTo>
                <a:close/>
                <a:moveTo>
                  <a:pt x="6315887" y="1891379"/>
                </a:moveTo>
                <a:lnTo>
                  <a:pt x="6315885" y="1891380"/>
                </a:lnTo>
                <a:lnTo>
                  <a:pt x="6316753" y="1894951"/>
                </a:lnTo>
                <a:lnTo>
                  <a:pt x="6316753" y="1897549"/>
                </a:lnTo>
                <a:lnTo>
                  <a:pt x="6316754" y="1897550"/>
                </a:lnTo>
                <a:lnTo>
                  <a:pt x="6316754" y="1894951"/>
                </a:lnTo>
                <a:close/>
                <a:moveTo>
                  <a:pt x="5598373" y="1891054"/>
                </a:moveTo>
                <a:lnTo>
                  <a:pt x="5598916" y="1896142"/>
                </a:lnTo>
                <a:lnTo>
                  <a:pt x="5600326" y="1901556"/>
                </a:lnTo>
                <a:lnTo>
                  <a:pt x="5600434" y="1907835"/>
                </a:lnTo>
                <a:lnTo>
                  <a:pt x="5600435" y="1907835"/>
                </a:lnTo>
                <a:lnTo>
                  <a:pt x="5600326" y="1901555"/>
                </a:lnTo>
                <a:lnTo>
                  <a:pt x="5598916" y="1896142"/>
                </a:lnTo>
                <a:close/>
                <a:moveTo>
                  <a:pt x="6288757" y="1891054"/>
                </a:moveTo>
                <a:lnTo>
                  <a:pt x="6290255" y="1891819"/>
                </a:lnTo>
                <a:lnTo>
                  <a:pt x="6288758" y="1891054"/>
                </a:lnTo>
                <a:close/>
                <a:moveTo>
                  <a:pt x="5657948" y="1890837"/>
                </a:moveTo>
                <a:lnTo>
                  <a:pt x="5655594" y="1892945"/>
                </a:lnTo>
                <a:lnTo>
                  <a:pt x="5657948" y="1890837"/>
                </a:lnTo>
                <a:close/>
                <a:moveTo>
                  <a:pt x="2165191" y="1888655"/>
                </a:moveTo>
                <a:lnTo>
                  <a:pt x="2163713" y="1897117"/>
                </a:lnTo>
                <a:lnTo>
                  <a:pt x="2163713" y="1897117"/>
                </a:lnTo>
                <a:close/>
                <a:moveTo>
                  <a:pt x="5757567" y="1887480"/>
                </a:moveTo>
                <a:lnTo>
                  <a:pt x="5757567" y="1887481"/>
                </a:lnTo>
                <a:lnTo>
                  <a:pt x="5761690" y="1892136"/>
                </a:lnTo>
                <a:lnTo>
                  <a:pt x="5761691" y="1892135"/>
                </a:lnTo>
                <a:close/>
                <a:moveTo>
                  <a:pt x="4265356" y="1887048"/>
                </a:moveTo>
                <a:lnTo>
                  <a:pt x="4269696" y="1891487"/>
                </a:lnTo>
                <a:lnTo>
                  <a:pt x="4265247" y="1890296"/>
                </a:lnTo>
                <a:close/>
                <a:moveTo>
                  <a:pt x="4425851" y="1883149"/>
                </a:moveTo>
                <a:lnTo>
                  <a:pt x="4420860" y="1885206"/>
                </a:lnTo>
                <a:lnTo>
                  <a:pt x="4420860" y="1885207"/>
                </a:lnTo>
                <a:lnTo>
                  <a:pt x="4425852" y="1883150"/>
                </a:lnTo>
                <a:lnTo>
                  <a:pt x="4428457" y="1885526"/>
                </a:lnTo>
                <a:close/>
                <a:moveTo>
                  <a:pt x="4433664" y="1881200"/>
                </a:moveTo>
                <a:lnTo>
                  <a:pt x="4429649" y="1886614"/>
                </a:lnTo>
                <a:lnTo>
                  <a:pt x="4429650" y="1886614"/>
                </a:lnTo>
                <a:lnTo>
                  <a:pt x="4433665" y="1881201"/>
                </a:lnTo>
                <a:lnTo>
                  <a:pt x="4441911" y="1882933"/>
                </a:lnTo>
                <a:lnTo>
                  <a:pt x="4441911" y="1882933"/>
                </a:lnTo>
                <a:close/>
                <a:moveTo>
                  <a:pt x="4252008" y="1880660"/>
                </a:moveTo>
                <a:lnTo>
                  <a:pt x="4257976" y="1884882"/>
                </a:lnTo>
                <a:lnTo>
                  <a:pt x="4260038" y="1891162"/>
                </a:lnTo>
                <a:lnTo>
                  <a:pt x="4258193" y="1891487"/>
                </a:lnTo>
                <a:lnTo>
                  <a:pt x="4253962" y="1887048"/>
                </a:lnTo>
                <a:lnTo>
                  <a:pt x="4255046" y="1885641"/>
                </a:lnTo>
                <a:close/>
                <a:moveTo>
                  <a:pt x="4989920" y="1880227"/>
                </a:moveTo>
                <a:lnTo>
                  <a:pt x="4986990" y="1881093"/>
                </a:lnTo>
                <a:lnTo>
                  <a:pt x="4986060" y="1881093"/>
                </a:lnTo>
                <a:lnTo>
                  <a:pt x="4987859" y="1883259"/>
                </a:lnTo>
                <a:lnTo>
                  <a:pt x="4992308" y="1884666"/>
                </a:lnTo>
                <a:lnTo>
                  <a:pt x="4992308" y="1892570"/>
                </a:lnTo>
                <a:lnTo>
                  <a:pt x="4997842" y="1896035"/>
                </a:lnTo>
                <a:lnTo>
                  <a:pt x="4999428" y="1894525"/>
                </a:lnTo>
                <a:lnTo>
                  <a:pt x="4997516" y="1893328"/>
                </a:lnTo>
                <a:lnTo>
                  <a:pt x="4997516" y="1885424"/>
                </a:lnTo>
                <a:lnTo>
                  <a:pt x="4993067" y="1884016"/>
                </a:lnTo>
                <a:close/>
                <a:moveTo>
                  <a:pt x="4413518" y="1879517"/>
                </a:moveTo>
                <a:lnTo>
                  <a:pt x="4418580" y="1881201"/>
                </a:lnTo>
                <a:lnTo>
                  <a:pt x="4418580" y="1881200"/>
                </a:lnTo>
                <a:close/>
                <a:moveTo>
                  <a:pt x="4364647" y="1878169"/>
                </a:moveTo>
                <a:lnTo>
                  <a:pt x="4363996" y="1884340"/>
                </a:lnTo>
                <a:lnTo>
                  <a:pt x="4359221" y="1891594"/>
                </a:lnTo>
                <a:lnTo>
                  <a:pt x="4359330" y="1894843"/>
                </a:lnTo>
                <a:lnTo>
                  <a:pt x="4363150" y="1897880"/>
                </a:lnTo>
                <a:lnTo>
                  <a:pt x="4359331" y="1894843"/>
                </a:lnTo>
                <a:lnTo>
                  <a:pt x="4359222" y="1891595"/>
                </a:lnTo>
                <a:lnTo>
                  <a:pt x="4363997" y="1884340"/>
                </a:lnTo>
                <a:lnTo>
                  <a:pt x="4364648" y="1878169"/>
                </a:lnTo>
                <a:close/>
                <a:moveTo>
                  <a:pt x="5401089" y="1877953"/>
                </a:moveTo>
                <a:lnTo>
                  <a:pt x="5361806" y="1878061"/>
                </a:lnTo>
                <a:lnTo>
                  <a:pt x="5326215" y="1881850"/>
                </a:lnTo>
                <a:lnTo>
                  <a:pt x="5326215" y="1881851"/>
                </a:lnTo>
                <a:lnTo>
                  <a:pt x="5361808" y="1878061"/>
                </a:lnTo>
                <a:close/>
                <a:moveTo>
                  <a:pt x="6248168" y="1874317"/>
                </a:moveTo>
                <a:lnTo>
                  <a:pt x="6251752" y="1877844"/>
                </a:lnTo>
                <a:lnTo>
                  <a:pt x="6251753" y="1877845"/>
                </a:lnTo>
                <a:close/>
                <a:moveTo>
                  <a:pt x="4292375" y="1871239"/>
                </a:moveTo>
                <a:lnTo>
                  <a:pt x="4294220" y="1874488"/>
                </a:lnTo>
                <a:lnTo>
                  <a:pt x="4294220" y="1874488"/>
                </a:lnTo>
                <a:close/>
                <a:moveTo>
                  <a:pt x="4255914" y="1871023"/>
                </a:moveTo>
                <a:lnTo>
                  <a:pt x="4262425" y="1881309"/>
                </a:lnTo>
                <a:lnTo>
                  <a:pt x="4258953" y="1882717"/>
                </a:lnTo>
                <a:lnTo>
                  <a:pt x="4256999" y="1880334"/>
                </a:lnTo>
                <a:lnTo>
                  <a:pt x="4253527" y="1879468"/>
                </a:lnTo>
                <a:lnTo>
                  <a:pt x="4253527" y="1872755"/>
                </a:lnTo>
                <a:cubicBezTo>
                  <a:pt x="4254260" y="1872095"/>
                  <a:pt x="4255060" y="1871515"/>
                  <a:pt x="4255914" y="1871023"/>
                </a:cubicBezTo>
                <a:close/>
                <a:moveTo>
                  <a:pt x="4331116" y="1870698"/>
                </a:moveTo>
                <a:lnTo>
                  <a:pt x="4331115" y="1870699"/>
                </a:lnTo>
                <a:lnTo>
                  <a:pt x="4331994" y="1871893"/>
                </a:lnTo>
                <a:close/>
                <a:moveTo>
                  <a:pt x="4297473" y="1870649"/>
                </a:moveTo>
                <a:lnTo>
                  <a:pt x="4297367" y="1873838"/>
                </a:lnTo>
                <a:lnTo>
                  <a:pt x="4295793" y="1874163"/>
                </a:lnTo>
                <a:lnTo>
                  <a:pt x="4297367" y="1873838"/>
                </a:lnTo>
                <a:close/>
                <a:moveTo>
                  <a:pt x="4364647" y="1870373"/>
                </a:moveTo>
                <a:lnTo>
                  <a:pt x="4364647" y="1872322"/>
                </a:lnTo>
                <a:lnTo>
                  <a:pt x="4362477" y="1872322"/>
                </a:lnTo>
                <a:lnTo>
                  <a:pt x="4357810" y="1874054"/>
                </a:lnTo>
                <a:lnTo>
                  <a:pt x="4358349" y="1877811"/>
                </a:lnTo>
                <a:lnTo>
                  <a:pt x="4358350" y="1877812"/>
                </a:lnTo>
                <a:lnTo>
                  <a:pt x="4357811" y="1874055"/>
                </a:lnTo>
                <a:lnTo>
                  <a:pt x="4362478" y="1872322"/>
                </a:lnTo>
                <a:lnTo>
                  <a:pt x="4364648" y="1872322"/>
                </a:lnTo>
                <a:lnTo>
                  <a:pt x="4364648" y="1870373"/>
                </a:lnTo>
                <a:close/>
                <a:moveTo>
                  <a:pt x="4322000" y="1870373"/>
                </a:moveTo>
                <a:lnTo>
                  <a:pt x="4318853" y="1872647"/>
                </a:lnTo>
                <a:lnTo>
                  <a:pt x="4318853" y="1872647"/>
                </a:lnTo>
                <a:lnTo>
                  <a:pt x="4322001" y="1870374"/>
                </a:lnTo>
                <a:lnTo>
                  <a:pt x="4327119" y="1872249"/>
                </a:lnTo>
                <a:close/>
                <a:moveTo>
                  <a:pt x="5062518" y="1870158"/>
                </a:moveTo>
                <a:lnTo>
                  <a:pt x="5060456" y="1872648"/>
                </a:lnTo>
                <a:lnTo>
                  <a:pt x="5060456" y="1874813"/>
                </a:lnTo>
                <a:lnTo>
                  <a:pt x="5063386" y="1878386"/>
                </a:lnTo>
                <a:lnTo>
                  <a:pt x="5067184" y="1878386"/>
                </a:lnTo>
                <a:lnTo>
                  <a:pt x="5071307" y="1880010"/>
                </a:lnTo>
                <a:lnTo>
                  <a:pt x="5073043" y="1883692"/>
                </a:lnTo>
                <a:lnTo>
                  <a:pt x="5075757" y="1885315"/>
                </a:lnTo>
                <a:lnTo>
                  <a:pt x="5077493" y="1890404"/>
                </a:lnTo>
                <a:lnTo>
                  <a:pt x="5079446" y="1891054"/>
                </a:lnTo>
                <a:lnTo>
                  <a:pt x="5080748" y="1893977"/>
                </a:lnTo>
                <a:lnTo>
                  <a:pt x="5087368" y="1901773"/>
                </a:lnTo>
                <a:lnTo>
                  <a:pt x="5087368" y="1906428"/>
                </a:lnTo>
                <a:lnTo>
                  <a:pt x="5087368" y="1912275"/>
                </a:lnTo>
                <a:lnTo>
                  <a:pt x="5089430" y="1912275"/>
                </a:lnTo>
                <a:lnTo>
                  <a:pt x="5093879" y="1911192"/>
                </a:lnTo>
                <a:lnTo>
                  <a:pt x="5095507" y="1910326"/>
                </a:lnTo>
                <a:lnTo>
                  <a:pt x="5097677" y="1911517"/>
                </a:lnTo>
                <a:lnTo>
                  <a:pt x="5099739" y="1915414"/>
                </a:lnTo>
                <a:lnTo>
                  <a:pt x="5101693" y="1917255"/>
                </a:lnTo>
                <a:lnTo>
                  <a:pt x="5103537" y="1921261"/>
                </a:lnTo>
                <a:lnTo>
                  <a:pt x="5105599" y="1922020"/>
                </a:lnTo>
                <a:lnTo>
                  <a:pt x="5109180" y="1920504"/>
                </a:lnTo>
                <a:lnTo>
                  <a:pt x="5113520" y="1921586"/>
                </a:lnTo>
                <a:lnTo>
                  <a:pt x="5117318" y="1923210"/>
                </a:lnTo>
                <a:lnTo>
                  <a:pt x="5122527" y="1923210"/>
                </a:lnTo>
                <a:lnTo>
                  <a:pt x="5124190" y="1924247"/>
                </a:lnTo>
                <a:lnTo>
                  <a:pt x="5124371" y="1923860"/>
                </a:lnTo>
                <a:lnTo>
                  <a:pt x="5122635" y="1922669"/>
                </a:lnTo>
                <a:lnTo>
                  <a:pt x="5117426" y="1922993"/>
                </a:lnTo>
                <a:lnTo>
                  <a:pt x="5113737" y="1921369"/>
                </a:lnTo>
                <a:lnTo>
                  <a:pt x="5109396" y="1920287"/>
                </a:lnTo>
                <a:lnTo>
                  <a:pt x="5105816" y="1921803"/>
                </a:lnTo>
                <a:lnTo>
                  <a:pt x="5103753" y="1921044"/>
                </a:lnTo>
                <a:lnTo>
                  <a:pt x="5101909" y="1917038"/>
                </a:lnTo>
                <a:lnTo>
                  <a:pt x="5099847" y="1915198"/>
                </a:lnTo>
                <a:lnTo>
                  <a:pt x="5097785" y="1911300"/>
                </a:lnTo>
                <a:lnTo>
                  <a:pt x="5095615" y="1910109"/>
                </a:lnTo>
                <a:lnTo>
                  <a:pt x="5093987" y="1910975"/>
                </a:lnTo>
                <a:lnTo>
                  <a:pt x="5089646" y="1912058"/>
                </a:lnTo>
                <a:lnTo>
                  <a:pt x="5087584" y="1911950"/>
                </a:lnTo>
                <a:lnTo>
                  <a:pt x="5088019" y="1906103"/>
                </a:lnTo>
                <a:lnTo>
                  <a:pt x="5087584" y="1901448"/>
                </a:lnTo>
                <a:lnTo>
                  <a:pt x="5080856" y="1893652"/>
                </a:lnTo>
                <a:lnTo>
                  <a:pt x="5079555" y="1890729"/>
                </a:lnTo>
                <a:lnTo>
                  <a:pt x="5077710" y="1889971"/>
                </a:lnTo>
                <a:lnTo>
                  <a:pt x="5075974" y="1884882"/>
                </a:lnTo>
                <a:lnTo>
                  <a:pt x="5073261" y="1883258"/>
                </a:lnTo>
                <a:lnTo>
                  <a:pt x="5071524" y="1879577"/>
                </a:lnTo>
                <a:lnTo>
                  <a:pt x="5067401" y="1878061"/>
                </a:lnTo>
                <a:lnTo>
                  <a:pt x="5063603" y="1877845"/>
                </a:lnTo>
                <a:lnTo>
                  <a:pt x="5060673" y="1874271"/>
                </a:lnTo>
                <a:lnTo>
                  <a:pt x="5060998" y="1872106"/>
                </a:lnTo>
                <a:lnTo>
                  <a:pt x="5062590" y="1870183"/>
                </a:lnTo>
                <a:close/>
                <a:moveTo>
                  <a:pt x="4312312" y="1868491"/>
                </a:moveTo>
                <a:lnTo>
                  <a:pt x="4310931" y="1869723"/>
                </a:lnTo>
                <a:lnTo>
                  <a:pt x="4310932" y="1869723"/>
                </a:lnTo>
                <a:close/>
                <a:moveTo>
                  <a:pt x="4307133" y="1867450"/>
                </a:moveTo>
                <a:lnTo>
                  <a:pt x="4304746" y="1870048"/>
                </a:lnTo>
                <a:lnTo>
                  <a:pt x="4301816" y="1869940"/>
                </a:lnTo>
                <a:lnTo>
                  <a:pt x="4298633" y="1870417"/>
                </a:lnTo>
                <a:lnTo>
                  <a:pt x="4301816" y="1869941"/>
                </a:lnTo>
                <a:lnTo>
                  <a:pt x="4304746" y="1870048"/>
                </a:lnTo>
                <a:lnTo>
                  <a:pt x="4307134" y="1867450"/>
                </a:lnTo>
                <a:close/>
                <a:moveTo>
                  <a:pt x="4286623" y="1867017"/>
                </a:moveTo>
                <a:lnTo>
                  <a:pt x="4285775" y="1868012"/>
                </a:lnTo>
                <a:lnTo>
                  <a:pt x="4286624" y="1867017"/>
                </a:lnTo>
                <a:close/>
                <a:moveTo>
                  <a:pt x="6110636" y="1866214"/>
                </a:moveTo>
                <a:lnTo>
                  <a:pt x="6114912" y="1874488"/>
                </a:lnTo>
                <a:lnTo>
                  <a:pt x="6114914" y="1874488"/>
                </a:lnTo>
                <a:close/>
                <a:moveTo>
                  <a:pt x="4090561" y="1865713"/>
                </a:moveTo>
                <a:lnTo>
                  <a:pt x="4089775" y="1870482"/>
                </a:lnTo>
                <a:lnTo>
                  <a:pt x="4084241" y="1871240"/>
                </a:lnTo>
                <a:lnTo>
                  <a:pt x="4080768" y="1875030"/>
                </a:lnTo>
                <a:lnTo>
                  <a:pt x="4084240" y="1871241"/>
                </a:lnTo>
                <a:lnTo>
                  <a:pt x="4089775" y="1870483"/>
                </a:lnTo>
                <a:close/>
                <a:moveTo>
                  <a:pt x="4356944" y="1863547"/>
                </a:moveTo>
                <a:lnTo>
                  <a:pt x="4357810" y="1867342"/>
                </a:lnTo>
                <a:lnTo>
                  <a:pt x="4360198" y="1869399"/>
                </a:lnTo>
                <a:lnTo>
                  <a:pt x="4360198" y="1869399"/>
                </a:lnTo>
                <a:lnTo>
                  <a:pt x="4357811" y="1867342"/>
                </a:lnTo>
                <a:close/>
                <a:moveTo>
                  <a:pt x="4400024" y="1862145"/>
                </a:moveTo>
                <a:lnTo>
                  <a:pt x="4400024" y="1862146"/>
                </a:lnTo>
                <a:lnTo>
                  <a:pt x="4406209" y="1865393"/>
                </a:lnTo>
                <a:close/>
                <a:moveTo>
                  <a:pt x="6836986" y="1860731"/>
                </a:moveTo>
                <a:lnTo>
                  <a:pt x="6839262" y="1861929"/>
                </a:lnTo>
                <a:lnTo>
                  <a:pt x="6842626" y="1864961"/>
                </a:lnTo>
                <a:lnTo>
                  <a:pt x="6846750" y="1863337"/>
                </a:lnTo>
                <a:lnTo>
                  <a:pt x="6851854" y="1865352"/>
                </a:lnTo>
                <a:lnTo>
                  <a:pt x="6846749" y="1863336"/>
                </a:lnTo>
                <a:lnTo>
                  <a:pt x="6842625" y="1864960"/>
                </a:lnTo>
                <a:lnTo>
                  <a:pt x="6839261" y="1861928"/>
                </a:lnTo>
                <a:close/>
                <a:moveTo>
                  <a:pt x="4563821" y="1857591"/>
                </a:moveTo>
                <a:lnTo>
                  <a:pt x="4565213" y="1860053"/>
                </a:lnTo>
                <a:lnTo>
                  <a:pt x="4565295" y="1860196"/>
                </a:lnTo>
                <a:close/>
                <a:moveTo>
                  <a:pt x="2091658" y="1857165"/>
                </a:moveTo>
                <a:lnTo>
                  <a:pt x="2091542" y="1859056"/>
                </a:lnTo>
                <a:lnTo>
                  <a:pt x="2091658" y="1857165"/>
                </a:lnTo>
                <a:close/>
                <a:moveTo>
                  <a:pt x="4353470" y="1854133"/>
                </a:moveTo>
                <a:lnTo>
                  <a:pt x="4354264" y="1856039"/>
                </a:lnTo>
                <a:lnTo>
                  <a:pt x="4353470" y="1854133"/>
                </a:lnTo>
                <a:close/>
                <a:moveTo>
                  <a:pt x="6869309" y="1854040"/>
                </a:moveTo>
                <a:lnTo>
                  <a:pt x="6870622" y="1855323"/>
                </a:lnTo>
                <a:lnTo>
                  <a:pt x="6870948" y="1858788"/>
                </a:lnTo>
                <a:lnTo>
                  <a:pt x="6867801" y="1865393"/>
                </a:lnTo>
                <a:lnTo>
                  <a:pt x="6861616" y="1864310"/>
                </a:lnTo>
                <a:lnTo>
                  <a:pt x="6851957" y="1865393"/>
                </a:lnTo>
                <a:lnTo>
                  <a:pt x="6851959" y="1865393"/>
                </a:lnTo>
                <a:lnTo>
                  <a:pt x="6861617" y="1864311"/>
                </a:lnTo>
                <a:lnTo>
                  <a:pt x="6867802" y="1865393"/>
                </a:lnTo>
                <a:lnTo>
                  <a:pt x="6870949" y="1858789"/>
                </a:lnTo>
                <a:lnTo>
                  <a:pt x="6870624" y="1855325"/>
                </a:lnTo>
                <a:close/>
                <a:moveTo>
                  <a:pt x="2236505" y="1853878"/>
                </a:moveTo>
                <a:lnTo>
                  <a:pt x="2235225" y="1854133"/>
                </a:lnTo>
                <a:lnTo>
                  <a:pt x="2230776" y="1857382"/>
                </a:lnTo>
                <a:lnTo>
                  <a:pt x="2210701" y="1872323"/>
                </a:lnTo>
                <a:lnTo>
                  <a:pt x="2230777" y="1857382"/>
                </a:lnTo>
                <a:lnTo>
                  <a:pt x="2235226" y="1854133"/>
                </a:lnTo>
                <a:close/>
                <a:moveTo>
                  <a:pt x="4561177" y="1852951"/>
                </a:moveTo>
                <a:lnTo>
                  <a:pt x="4563509" y="1857054"/>
                </a:lnTo>
                <a:lnTo>
                  <a:pt x="4561187" y="1852969"/>
                </a:lnTo>
                <a:close/>
                <a:moveTo>
                  <a:pt x="4564969" y="1850994"/>
                </a:moveTo>
                <a:lnTo>
                  <a:pt x="4561497" y="1853483"/>
                </a:lnTo>
                <a:lnTo>
                  <a:pt x="4561498" y="1853484"/>
                </a:lnTo>
                <a:lnTo>
                  <a:pt x="4564970" y="1850994"/>
                </a:lnTo>
                <a:lnTo>
                  <a:pt x="4567097" y="1851643"/>
                </a:lnTo>
                <a:close/>
                <a:moveTo>
                  <a:pt x="4088039" y="1850236"/>
                </a:moveTo>
                <a:lnTo>
                  <a:pt x="4088364" y="1850344"/>
                </a:lnTo>
                <a:lnTo>
                  <a:pt x="4093573" y="1852293"/>
                </a:lnTo>
                <a:close/>
                <a:moveTo>
                  <a:pt x="6100382" y="1849034"/>
                </a:moveTo>
                <a:lnTo>
                  <a:pt x="6102541" y="1851643"/>
                </a:lnTo>
                <a:lnTo>
                  <a:pt x="6105528" y="1856111"/>
                </a:lnTo>
                <a:lnTo>
                  <a:pt x="6102543" y="1851643"/>
                </a:lnTo>
                <a:close/>
                <a:moveTo>
                  <a:pt x="4390800" y="1848827"/>
                </a:moveTo>
                <a:lnTo>
                  <a:pt x="4392390" y="1850704"/>
                </a:lnTo>
                <a:lnTo>
                  <a:pt x="4390800" y="1848828"/>
                </a:lnTo>
                <a:close/>
                <a:moveTo>
                  <a:pt x="4361826" y="1847312"/>
                </a:moveTo>
                <a:lnTo>
                  <a:pt x="4356292" y="1850127"/>
                </a:lnTo>
                <a:lnTo>
                  <a:pt x="4353036" y="1853808"/>
                </a:lnTo>
                <a:lnTo>
                  <a:pt x="4351722" y="1853098"/>
                </a:lnTo>
                <a:lnTo>
                  <a:pt x="4353036" y="1853808"/>
                </a:lnTo>
                <a:lnTo>
                  <a:pt x="4353468" y="1854132"/>
                </a:lnTo>
                <a:lnTo>
                  <a:pt x="4353469" y="1854132"/>
                </a:lnTo>
                <a:lnTo>
                  <a:pt x="4353037" y="1853808"/>
                </a:lnTo>
                <a:lnTo>
                  <a:pt x="4356292" y="1850127"/>
                </a:lnTo>
                <a:close/>
                <a:moveTo>
                  <a:pt x="4384941" y="1844389"/>
                </a:moveTo>
                <a:lnTo>
                  <a:pt x="4384940" y="1844389"/>
                </a:lnTo>
                <a:lnTo>
                  <a:pt x="4389390" y="1845905"/>
                </a:lnTo>
                <a:lnTo>
                  <a:pt x="4389389" y="1845904"/>
                </a:lnTo>
                <a:close/>
                <a:moveTo>
                  <a:pt x="4122547" y="1842332"/>
                </a:moveTo>
                <a:lnTo>
                  <a:pt x="4122547" y="1842332"/>
                </a:lnTo>
                <a:lnTo>
                  <a:pt x="4130143" y="1846014"/>
                </a:lnTo>
                <a:lnTo>
                  <a:pt x="4132531" y="1850886"/>
                </a:lnTo>
                <a:lnTo>
                  <a:pt x="4134422" y="1847497"/>
                </a:lnTo>
                <a:lnTo>
                  <a:pt x="4132531" y="1850885"/>
                </a:lnTo>
                <a:lnTo>
                  <a:pt x="4130143" y="1846013"/>
                </a:lnTo>
                <a:close/>
                <a:moveTo>
                  <a:pt x="5106901" y="1841899"/>
                </a:moveTo>
                <a:lnTo>
                  <a:pt x="5104969" y="1843116"/>
                </a:lnTo>
                <a:lnTo>
                  <a:pt x="5105056" y="1843198"/>
                </a:lnTo>
                <a:lnTo>
                  <a:pt x="5107117" y="1841899"/>
                </a:lnTo>
                <a:close/>
                <a:moveTo>
                  <a:pt x="5090515" y="1841358"/>
                </a:moveTo>
                <a:lnTo>
                  <a:pt x="5086282" y="1842874"/>
                </a:lnTo>
                <a:lnTo>
                  <a:pt x="5081074" y="1844389"/>
                </a:lnTo>
                <a:lnTo>
                  <a:pt x="5078253" y="1847421"/>
                </a:lnTo>
                <a:lnTo>
                  <a:pt x="5078904" y="1849586"/>
                </a:lnTo>
                <a:lnTo>
                  <a:pt x="5078904" y="1853376"/>
                </a:lnTo>
                <a:lnTo>
                  <a:pt x="5076625" y="1854891"/>
                </a:lnTo>
                <a:lnTo>
                  <a:pt x="5076625" y="1857274"/>
                </a:lnTo>
                <a:lnTo>
                  <a:pt x="5081291" y="1862687"/>
                </a:lnTo>
                <a:lnTo>
                  <a:pt x="5081291" y="1866151"/>
                </a:lnTo>
                <a:lnTo>
                  <a:pt x="5082702" y="1867126"/>
                </a:lnTo>
                <a:lnTo>
                  <a:pt x="5087477" y="1867126"/>
                </a:lnTo>
                <a:lnTo>
                  <a:pt x="5088670" y="1869508"/>
                </a:lnTo>
                <a:lnTo>
                  <a:pt x="5088293" y="1869947"/>
                </a:lnTo>
                <a:lnTo>
                  <a:pt x="5089213" y="1869183"/>
                </a:lnTo>
                <a:lnTo>
                  <a:pt x="5088019" y="1866801"/>
                </a:lnTo>
                <a:lnTo>
                  <a:pt x="5083353" y="1867018"/>
                </a:lnTo>
                <a:lnTo>
                  <a:pt x="5081942" y="1866151"/>
                </a:lnTo>
                <a:lnTo>
                  <a:pt x="5081942" y="1862686"/>
                </a:lnTo>
                <a:lnTo>
                  <a:pt x="5077275" y="1857273"/>
                </a:lnTo>
                <a:lnTo>
                  <a:pt x="5076842" y="1854783"/>
                </a:lnTo>
                <a:lnTo>
                  <a:pt x="5079120" y="1853375"/>
                </a:lnTo>
                <a:lnTo>
                  <a:pt x="5079120" y="1849586"/>
                </a:lnTo>
                <a:lnTo>
                  <a:pt x="5078469" y="1847421"/>
                </a:lnTo>
                <a:lnTo>
                  <a:pt x="5081291" y="1844389"/>
                </a:lnTo>
                <a:lnTo>
                  <a:pt x="5086500" y="1842873"/>
                </a:lnTo>
                <a:lnTo>
                  <a:pt x="5090604" y="1841403"/>
                </a:lnTo>
                <a:close/>
                <a:moveTo>
                  <a:pt x="5102777" y="1841249"/>
                </a:moveTo>
                <a:lnTo>
                  <a:pt x="5098762" y="1841899"/>
                </a:lnTo>
                <a:lnTo>
                  <a:pt x="5094236" y="1843159"/>
                </a:lnTo>
                <a:lnTo>
                  <a:pt x="5094312" y="1843198"/>
                </a:lnTo>
                <a:lnTo>
                  <a:pt x="5098979" y="1841899"/>
                </a:lnTo>
                <a:lnTo>
                  <a:pt x="5102809" y="1841279"/>
                </a:lnTo>
                <a:close/>
                <a:moveTo>
                  <a:pt x="4372894" y="1840816"/>
                </a:moveTo>
                <a:lnTo>
                  <a:pt x="4367252" y="1845688"/>
                </a:lnTo>
                <a:lnTo>
                  <a:pt x="4365733" y="1847853"/>
                </a:lnTo>
                <a:lnTo>
                  <a:pt x="4365733" y="1847853"/>
                </a:lnTo>
                <a:lnTo>
                  <a:pt x="4367253" y="1845688"/>
                </a:lnTo>
                <a:lnTo>
                  <a:pt x="4372895" y="1840816"/>
                </a:lnTo>
                <a:close/>
                <a:moveTo>
                  <a:pt x="4061127" y="1840275"/>
                </a:moveTo>
                <a:lnTo>
                  <a:pt x="4061126" y="1840275"/>
                </a:lnTo>
                <a:lnTo>
                  <a:pt x="4061669" y="1844065"/>
                </a:lnTo>
                <a:lnTo>
                  <a:pt x="4066769" y="1844606"/>
                </a:lnTo>
                <a:lnTo>
                  <a:pt x="4072629" y="1842223"/>
                </a:lnTo>
                <a:lnTo>
                  <a:pt x="4066770" y="1844605"/>
                </a:lnTo>
                <a:lnTo>
                  <a:pt x="4061669" y="1844064"/>
                </a:lnTo>
                <a:close/>
                <a:moveTo>
                  <a:pt x="4573542" y="1839625"/>
                </a:moveTo>
                <a:lnTo>
                  <a:pt x="4569093" y="1847854"/>
                </a:lnTo>
                <a:lnTo>
                  <a:pt x="4568882" y="1852075"/>
                </a:lnTo>
                <a:lnTo>
                  <a:pt x="4569093" y="1847854"/>
                </a:lnTo>
                <a:lnTo>
                  <a:pt x="4573542" y="1839626"/>
                </a:lnTo>
                <a:lnTo>
                  <a:pt x="4575667" y="1839915"/>
                </a:lnTo>
                <a:close/>
                <a:moveTo>
                  <a:pt x="4390284" y="1839337"/>
                </a:moveTo>
                <a:lnTo>
                  <a:pt x="4389714" y="1839516"/>
                </a:lnTo>
                <a:lnTo>
                  <a:pt x="4388344" y="1840915"/>
                </a:lnTo>
                <a:lnTo>
                  <a:pt x="4389715" y="1839516"/>
                </a:lnTo>
                <a:close/>
                <a:moveTo>
                  <a:pt x="4083465" y="1839261"/>
                </a:moveTo>
                <a:lnTo>
                  <a:pt x="4084891" y="1844065"/>
                </a:lnTo>
                <a:lnTo>
                  <a:pt x="4087604" y="1846338"/>
                </a:lnTo>
                <a:lnTo>
                  <a:pt x="4088364" y="1850344"/>
                </a:lnTo>
                <a:lnTo>
                  <a:pt x="4088039" y="1850235"/>
                </a:lnTo>
                <a:lnTo>
                  <a:pt x="4087629" y="1850709"/>
                </a:lnTo>
                <a:lnTo>
                  <a:pt x="4088038" y="1850236"/>
                </a:lnTo>
                <a:lnTo>
                  <a:pt x="4093573" y="1852293"/>
                </a:lnTo>
                <a:lnTo>
                  <a:pt x="4102796" y="1845364"/>
                </a:lnTo>
                <a:lnTo>
                  <a:pt x="4109091" y="1848179"/>
                </a:lnTo>
                <a:lnTo>
                  <a:pt x="4109091" y="1848178"/>
                </a:lnTo>
                <a:lnTo>
                  <a:pt x="4102797" y="1845363"/>
                </a:lnTo>
                <a:lnTo>
                  <a:pt x="4093573" y="1852293"/>
                </a:lnTo>
                <a:lnTo>
                  <a:pt x="4088365" y="1850344"/>
                </a:lnTo>
                <a:lnTo>
                  <a:pt x="4087605" y="1846338"/>
                </a:lnTo>
                <a:lnTo>
                  <a:pt x="4084892" y="1844064"/>
                </a:lnTo>
                <a:close/>
                <a:moveTo>
                  <a:pt x="7159819" y="1838434"/>
                </a:moveTo>
                <a:lnTo>
                  <a:pt x="7162098" y="1838650"/>
                </a:lnTo>
                <a:lnTo>
                  <a:pt x="7166330" y="1840599"/>
                </a:lnTo>
                <a:lnTo>
                  <a:pt x="7167415" y="1842007"/>
                </a:lnTo>
                <a:lnTo>
                  <a:pt x="7169585" y="1841682"/>
                </a:lnTo>
                <a:lnTo>
                  <a:pt x="7172407" y="1839950"/>
                </a:lnTo>
                <a:lnTo>
                  <a:pt x="7171973" y="1842440"/>
                </a:lnTo>
                <a:lnTo>
                  <a:pt x="7172515" y="1849694"/>
                </a:lnTo>
                <a:lnTo>
                  <a:pt x="7174469" y="1857056"/>
                </a:lnTo>
                <a:lnTo>
                  <a:pt x="7177073" y="1861929"/>
                </a:lnTo>
                <a:lnTo>
                  <a:pt x="7186840" y="1872756"/>
                </a:lnTo>
                <a:lnTo>
                  <a:pt x="7191289" y="1876870"/>
                </a:lnTo>
                <a:lnTo>
                  <a:pt x="7191831" y="1887047"/>
                </a:lnTo>
                <a:lnTo>
                  <a:pt x="7194436" y="1888455"/>
                </a:lnTo>
                <a:lnTo>
                  <a:pt x="7196823" y="1888455"/>
                </a:lnTo>
                <a:lnTo>
                  <a:pt x="7201164" y="1896034"/>
                </a:lnTo>
                <a:lnTo>
                  <a:pt x="7202465" y="1905237"/>
                </a:lnTo>
                <a:lnTo>
                  <a:pt x="7204419" y="1908701"/>
                </a:lnTo>
                <a:lnTo>
                  <a:pt x="7203334" y="1911625"/>
                </a:lnTo>
                <a:lnTo>
                  <a:pt x="7203660" y="1917471"/>
                </a:lnTo>
                <a:lnTo>
                  <a:pt x="7205071" y="1919637"/>
                </a:lnTo>
                <a:lnTo>
                  <a:pt x="7204527" y="1923318"/>
                </a:lnTo>
                <a:lnTo>
                  <a:pt x="7204636" y="1924725"/>
                </a:lnTo>
                <a:lnTo>
                  <a:pt x="7202900" y="1927649"/>
                </a:lnTo>
                <a:lnTo>
                  <a:pt x="7203009" y="1931330"/>
                </a:lnTo>
                <a:lnTo>
                  <a:pt x="7202683" y="1933712"/>
                </a:lnTo>
                <a:lnTo>
                  <a:pt x="7203877" y="1938476"/>
                </a:lnTo>
                <a:lnTo>
                  <a:pt x="7205395" y="1940316"/>
                </a:lnTo>
                <a:lnTo>
                  <a:pt x="7206264" y="1943998"/>
                </a:lnTo>
                <a:lnTo>
                  <a:pt x="7207458" y="1949411"/>
                </a:lnTo>
                <a:lnTo>
                  <a:pt x="7206155" y="1951143"/>
                </a:lnTo>
                <a:lnTo>
                  <a:pt x="7204202" y="1947896"/>
                </a:lnTo>
                <a:lnTo>
                  <a:pt x="7200621" y="1947896"/>
                </a:lnTo>
                <a:lnTo>
                  <a:pt x="7193242" y="1951360"/>
                </a:lnTo>
                <a:lnTo>
                  <a:pt x="7191831" y="1959047"/>
                </a:lnTo>
                <a:lnTo>
                  <a:pt x="7192374" y="1965218"/>
                </a:lnTo>
                <a:lnTo>
                  <a:pt x="7198234" y="1973231"/>
                </a:lnTo>
                <a:lnTo>
                  <a:pt x="7202358" y="1989796"/>
                </a:lnTo>
                <a:lnTo>
                  <a:pt x="7202032" y="1998999"/>
                </a:lnTo>
                <a:lnTo>
                  <a:pt x="7200296" y="2012424"/>
                </a:lnTo>
                <a:lnTo>
                  <a:pt x="7201815" y="2023901"/>
                </a:lnTo>
                <a:lnTo>
                  <a:pt x="7203660" y="2029531"/>
                </a:lnTo>
                <a:lnTo>
                  <a:pt x="7209194" y="2037111"/>
                </a:lnTo>
                <a:lnTo>
                  <a:pt x="7211799" y="2039492"/>
                </a:lnTo>
                <a:lnTo>
                  <a:pt x="7212450" y="2042632"/>
                </a:lnTo>
                <a:lnTo>
                  <a:pt x="7207349" y="2047396"/>
                </a:lnTo>
                <a:lnTo>
                  <a:pt x="7208326" y="2051402"/>
                </a:lnTo>
                <a:lnTo>
                  <a:pt x="7206698" y="2057574"/>
                </a:lnTo>
                <a:lnTo>
                  <a:pt x="7202141" y="2062446"/>
                </a:lnTo>
                <a:lnTo>
                  <a:pt x="7198234" y="2062770"/>
                </a:lnTo>
                <a:lnTo>
                  <a:pt x="7196172" y="2067209"/>
                </a:lnTo>
                <a:lnTo>
                  <a:pt x="7193025" y="2069266"/>
                </a:lnTo>
                <a:lnTo>
                  <a:pt x="7190747" y="2068184"/>
                </a:lnTo>
                <a:lnTo>
                  <a:pt x="7189444" y="2054650"/>
                </a:lnTo>
                <a:lnTo>
                  <a:pt x="7190638" y="2048154"/>
                </a:lnTo>
                <a:lnTo>
                  <a:pt x="7192808" y="2044905"/>
                </a:lnTo>
                <a:lnTo>
                  <a:pt x="7191831" y="2042307"/>
                </a:lnTo>
                <a:lnTo>
                  <a:pt x="7187382" y="2041441"/>
                </a:lnTo>
                <a:lnTo>
                  <a:pt x="7184452" y="2043282"/>
                </a:lnTo>
                <a:lnTo>
                  <a:pt x="7183259" y="2049020"/>
                </a:lnTo>
                <a:lnTo>
                  <a:pt x="7185429" y="2051727"/>
                </a:lnTo>
                <a:lnTo>
                  <a:pt x="7184452" y="2054001"/>
                </a:lnTo>
                <a:lnTo>
                  <a:pt x="7181088" y="2054109"/>
                </a:lnTo>
                <a:lnTo>
                  <a:pt x="7175336" y="2058548"/>
                </a:lnTo>
                <a:lnTo>
                  <a:pt x="7173927" y="2063745"/>
                </a:lnTo>
                <a:lnTo>
                  <a:pt x="7176639" y="2071974"/>
                </a:lnTo>
                <a:lnTo>
                  <a:pt x="7173058" y="2076954"/>
                </a:lnTo>
                <a:lnTo>
                  <a:pt x="7169368" y="2077387"/>
                </a:lnTo>
                <a:lnTo>
                  <a:pt x="7167524" y="2073922"/>
                </a:lnTo>
                <a:lnTo>
                  <a:pt x="7168934" y="2069484"/>
                </a:lnTo>
                <a:lnTo>
                  <a:pt x="7168066" y="2064611"/>
                </a:lnTo>
                <a:lnTo>
                  <a:pt x="7164051" y="2063962"/>
                </a:lnTo>
                <a:lnTo>
                  <a:pt x="7158951" y="2066560"/>
                </a:lnTo>
                <a:lnTo>
                  <a:pt x="7157757" y="2071974"/>
                </a:lnTo>
                <a:lnTo>
                  <a:pt x="7158951" y="2076845"/>
                </a:lnTo>
                <a:lnTo>
                  <a:pt x="7160579" y="2078361"/>
                </a:lnTo>
                <a:lnTo>
                  <a:pt x="7154393" y="2079119"/>
                </a:lnTo>
                <a:lnTo>
                  <a:pt x="7142347" y="2078037"/>
                </a:lnTo>
                <a:lnTo>
                  <a:pt x="7136488" y="2081176"/>
                </a:lnTo>
                <a:lnTo>
                  <a:pt x="7132798" y="2082151"/>
                </a:lnTo>
                <a:lnTo>
                  <a:pt x="7131279" y="2081393"/>
                </a:lnTo>
                <a:lnTo>
                  <a:pt x="7131822" y="2080202"/>
                </a:lnTo>
                <a:lnTo>
                  <a:pt x="7136162" y="2079119"/>
                </a:lnTo>
                <a:lnTo>
                  <a:pt x="7137030" y="2077062"/>
                </a:lnTo>
                <a:lnTo>
                  <a:pt x="7135403" y="2076629"/>
                </a:lnTo>
                <a:lnTo>
                  <a:pt x="7132907" y="2077496"/>
                </a:lnTo>
                <a:lnTo>
                  <a:pt x="7130520" y="2075763"/>
                </a:lnTo>
                <a:lnTo>
                  <a:pt x="7127264" y="2075005"/>
                </a:lnTo>
                <a:lnTo>
                  <a:pt x="7126179" y="2076413"/>
                </a:lnTo>
                <a:lnTo>
                  <a:pt x="7124009" y="2077928"/>
                </a:lnTo>
                <a:lnTo>
                  <a:pt x="7122381" y="2076521"/>
                </a:lnTo>
                <a:lnTo>
                  <a:pt x="7121838" y="2071323"/>
                </a:lnTo>
                <a:lnTo>
                  <a:pt x="7122814" y="2069375"/>
                </a:lnTo>
                <a:lnTo>
                  <a:pt x="7120970" y="2069916"/>
                </a:lnTo>
                <a:lnTo>
                  <a:pt x="7118257" y="2072298"/>
                </a:lnTo>
                <a:lnTo>
                  <a:pt x="7116412" y="2078794"/>
                </a:lnTo>
                <a:lnTo>
                  <a:pt x="7117498" y="2081176"/>
                </a:lnTo>
                <a:lnTo>
                  <a:pt x="7126070" y="2084858"/>
                </a:lnTo>
                <a:lnTo>
                  <a:pt x="7127047" y="2089729"/>
                </a:lnTo>
                <a:lnTo>
                  <a:pt x="7128241" y="2091462"/>
                </a:lnTo>
                <a:lnTo>
                  <a:pt x="7126830" y="2093952"/>
                </a:lnTo>
                <a:lnTo>
                  <a:pt x="7123140" y="2093952"/>
                </a:lnTo>
                <a:lnTo>
                  <a:pt x="7119017" y="2094494"/>
                </a:lnTo>
                <a:lnTo>
                  <a:pt x="7115978" y="2100340"/>
                </a:lnTo>
                <a:lnTo>
                  <a:pt x="7116847" y="2103480"/>
                </a:lnTo>
                <a:lnTo>
                  <a:pt x="7116195" y="2105862"/>
                </a:lnTo>
                <a:lnTo>
                  <a:pt x="7113591" y="2107486"/>
                </a:lnTo>
                <a:lnTo>
                  <a:pt x="7113157" y="2112034"/>
                </a:lnTo>
                <a:lnTo>
                  <a:pt x="7108490" y="2119071"/>
                </a:lnTo>
                <a:lnTo>
                  <a:pt x="7105560" y="2120587"/>
                </a:lnTo>
                <a:lnTo>
                  <a:pt x="7101111" y="2119288"/>
                </a:lnTo>
                <a:lnTo>
                  <a:pt x="7094383" y="2113116"/>
                </a:lnTo>
                <a:lnTo>
                  <a:pt x="7089609" y="2110951"/>
                </a:lnTo>
                <a:lnTo>
                  <a:pt x="7088416" y="2106404"/>
                </a:lnTo>
                <a:lnTo>
                  <a:pt x="7089066" y="2104563"/>
                </a:lnTo>
                <a:lnTo>
                  <a:pt x="7088740" y="2100124"/>
                </a:lnTo>
                <a:lnTo>
                  <a:pt x="7088198" y="2095793"/>
                </a:lnTo>
                <a:lnTo>
                  <a:pt x="7086027" y="2094386"/>
                </a:lnTo>
                <a:lnTo>
                  <a:pt x="7087113" y="2090271"/>
                </a:lnTo>
                <a:lnTo>
                  <a:pt x="7090693" y="2085182"/>
                </a:lnTo>
                <a:lnTo>
                  <a:pt x="7090693" y="2081284"/>
                </a:lnTo>
                <a:lnTo>
                  <a:pt x="7088740" y="2079553"/>
                </a:lnTo>
                <a:lnTo>
                  <a:pt x="7084617" y="2080635"/>
                </a:lnTo>
                <a:lnTo>
                  <a:pt x="7077455" y="2079336"/>
                </a:lnTo>
                <a:lnTo>
                  <a:pt x="7071703" y="2081284"/>
                </a:lnTo>
                <a:lnTo>
                  <a:pt x="7066169" y="2085832"/>
                </a:lnTo>
                <a:lnTo>
                  <a:pt x="7064975" y="2088431"/>
                </a:lnTo>
                <a:lnTo>
                  <a:pt x="7060092" y="2091137"/>
                </a:lnTo>
                <a:lnTo>
                  <a:pt x="7059875" y="2092653"/>
                </a:lnTo>
                <a:lnTo>
                  <a:pt x="7057271" y="2093952"/>
                </a:lnTo>
                <a:lnTo>
                  <a:pt x="7055426" y="2093086"/>
                </a:lnTo>
                <a:lnTo>
                  <a:pt x="7050542" y="2093303"/>
                </a:lnTo>
                <a:lnTo>
                  <a:pt x="7043055" y="2095684"/>
                </a:lnTo>
                <a:lnTo>
                  <a:pt x="7035242" y="2097200"/>
                </a:lnTo>
                <a:lnTo>
                  <a:pt x="7031227" y="2099366"/>
                </a:lnTo>
                <a:lnTo>
                  <a:pt x="7028188" y="2099149"/>
                </a:lnTo>
                <a:lnTo>
                  <a:pt x="7026235" y="2096334"/>
                </a:lnTo>
                <a:lnTo>
                  <a:pt x="7022979" y="2096551"/>
                </a:lnTo>
                <a:lnTo>
                  <a:pt x="7021569" y="2099149"/>
                </a:lnTo>
                <a:lnTo>
                  <a:pt x="7022328" y="2102506"/>
                </a:lnTo>
                <a:lnTo>
                  <a:pt x="7021895" y="2107270"/>
                </a:lnTo>
                <a:lnTo>
                  <a:pt x="7022111" y="2110518"/>
                </a:lnTo>
                <a:lnTo>
                  <a:pt x="7021352" y="2112575"/>
                </a:lnTo>
                <a:lnTo>
                  <a:pt x="7017771" y="2110951"/>
                </a:lnTo>
                <a:lnTo>
                  <a:pt x="7010717" y="2108461"/>
                </a:lnTo>
                <a:lnTo>
                  <a:pt x="7004206" y="2109651"/>
                </a:lnTo>
                <a:lnTo>
                  <a:pt x="6996827" y="2113333"/>
                </a:lnTo>
                <a:lnTo>
                  <a:pt x="6996067" y="2116689"/>
                </a:lnTo>
                <a:lnTo>
                  <a:pt x="7001276" y="2122428"/>
                </a:lnTo>
                <a:lnTo>
                  <a:pt x="7004640" y="2122861"/>
                </a:lnTo>
                <a:lnTo>
                  <a:pt x="7007895" y="2120587"/>
                </a:lnTo>
                <a:lnTo>
                  <a:pt x="7007895" y="2119071"/>
                </a:lnTo>
                <a:lnTo>
                  <a:pt x="7011694" y="2118313"/>
                </a:lnTo>
                <a:lnTo>
                  <a:pt x="7014732" y="2120262"/>
                </a:lnTo>
                <a:lnTo>
                  <a:pt x="7015926" y="2126433"/>
                </a:lnTo>
                <a:lnTo>
                  <a:pt x="7014732" y="2129465"/>
                </a:lnTo>
                <a:lnTo>
                  <a:pt x="7010934" y="2131739"/>
                </a:lnTo>
                <a:lnTo>
                  <a:pt x="7012019" y="2133471"/>
                </a:lnTo>
                <a:lnTo>
                  <a:pt x="7019833" y="2133363"/>
                </a:lnTo>
                <a:lnTo>
                  <a:pt x="7019073" y="2136503"/>
                </a:lnTo>
                <a:lnTo>
                  <a:pt x="7021569" y="2137044"/>
                </a:lnTo>
                <a:lnTo>
                  <a:pt x="7021786" y="2141483"/>
                </a:lnTo>
                <a:lnTo>
                  <a:pt x="7024173" y="2142133"/>
                </a:lnTo>
                <a:lnTo>
                  <a:pt x="7025150" y="2145814"/>
                </a:lnTo>
                <a:lnTo>
                  <a:pt x="7020701" y="2150253"/>
                </a:lnTo>
                <a:lnTo>
                  <a:pt x="7018205" y="2154584"/>
                </a:lnTo>
                <a:lnTo>
                  <a:pt x="7018639" y="2161730"/>
                </a:lnTo>
                <a:lnTo>
                  <a:pt x="7018313" y="2175372"/>
                </a:lnTo>
                <a:lnTo>
                  <a:pt x="7019724" y="2179162"/>
                </a:lnTo>
                <a:lnTo>
                  <a:pt x="7019833" y="2186632"/>
                </a:lnTo>
                <a:lnTo>
                  <a:pt x="7018639" y="2191504"/>
                </a:lnTo>
                <a:lnTo>
                  <a:pt x="7016577" y="2189988"/>
                </a:lnTo>
                <a:lnTo>
                  <a:pt x="7013104" y="2188905"/>
                </a:lnTo>
                <a:lnTo>
                  <a:pt x="7010934" y="2189988"/>
                </a:lnTo>
                <a:lnTo>
                  <a:pt x="7011043" y="2192479"/>
                </a:lnTo>
                <a:lnTo>
                  <a:pt x="7015383" y="2196809"/>
                </a:lnTo>
                <a:lnTo>
                  <a:pt x="7010717" y="2203305"/>
                </a:lnTo>
                <a:lnTo>
                  <a:pt x="7006268" y="2206013"/>
                </a:lnTo>
                <a:lnTo>
                  <a:pt x="7005726" y="2202656"/>
                </a:lnTo>
                <a:lnTo>
                  <a:pt x="7006919" y="2198866"/>
                </a:lnTo>
                <a:lnTo>
                  <a:pt x="7005508" y="2192479"/>
                </a:lnTo>
                <a:lnTo>
                  <a:pt x="7001819" y="2188689"/>
                </a:lnTo>
                <a:lnTo>
                  <a:pt x="7001927" y="2186415"/>
                </a:lnTo>
                <a:lnTo>
                  <a:pt x="7003338" y="2184358"/>
                </a:lnTo>
                <a:lnTo>
                  <a:pt x="7000842" y="2182409"/>
                </a:lnTo>
                <a:lnTo>
                  <a:pt x="6998780" y="2184791"/>
                </a:lnTo>
                <a:lnTo>
                  <a:pt x="6998780" y="2192479"/>
                </a:lnTo>
                <a:lnTo>
                  <a:pt x="7002253" y="2197892"/>
                </a:lnTo>
                <a:lnTo>
                  <a:pt x="7002253" y="2200491"/>
                </a:lnTo>
                <a:lnTo>
                  <a:pt x="7000733" y="2202223"/>
                </a:lnTo>
                <a:lnTo>
                  <a:pt x="6997478" y="2200382"/>
                </a:lnTo>
                <a:lnTo>
                  <a:pt x="6993680" y="2200923"/>
                </a:lnTo>
                <a:lnTo>
                  <a:pt x="6990642" y="2197134"/>
                </a:lnTo>
                <a:lnTo>
                  <a:pt x="6992704" y="2194644"/>
                </a:lnTo>
                <a:lnTo>
                  <a:pt x="6992704" y="2190638"/>
                </a:lnTo>
                <a:lnTo>
                  <a:pt x="6988797" y="2185982"/>
                </a:lnTo>
                <a:lnTo>
                  <a:pt x="6987278" y="2177646"/>
                </a:lnTo>
                <a:lnTo>
                  <a:pt x="6983588" y="2171366"/>
                </a:lnTo>
                <a:lnTo>
                  <a:pt x="6982612" y="2168659"/>
                </a:lnTo>
                <a:lnTo>
                  <a:pt x="6986735" y="2168226"/>
                </a:lnTo>
                <a:lnTo>
                  <a:pt x="6990207" y="2160647"/>
                </a:lnTo>
                <a:lnTo>
                  <a:pt x="6989882" y="2152526"/>
                </a:lnTo>
                <a:lnTo>
                  <a:pt x="6987820" y="2150145"/>
                </a:lnTo>
                <a:lnTo>
                  <a:pt x="6987278" y="2144840"/>
                </a:lnTo>
                <a:lnTo>
                  <a:pt x="6983045" y="2137802"/>
                </a:lnTo>
                <a:lnTo>
                  <a:pt x="6979139" y="2136286"/>
                </a:lnTo>
                <a:lnTo>
                  <a:pt x="6977185" y="2138885"/>
                </a:lnTo>
                <a:lnTo>
                  <a:pt x="6978162" y="2142457"/>
                </a:lnTo>
                <a:lnTo>
                  <a:pt x="6976968" y="2144515"/>
                </a:lnTo>
                <a:lnTo>
                  <a:pt x="6976751" y="2146463"/>
                </a:lnTo>
                <a:lnTo>
                  <a:pt x="6980983" y="2145273"/>
                </a:lnTo>
                <a:lnTo>
                  <a:pt x="6983588" y="2147655"/>
                </a:lnTo>
                <a:lnTo>
                  <a:pt x="6984022" y="2152093"/>
                </a:lnTo>
                <a:lnTo>
                  <a:pt x="6980333" y="2153177"/>
                </a:lnTo>
                <a:lnTo>
                  <a:pt x="6978597" y="2151877"/>
                </a:lnTo>
                <a:lnTo>
                  <a:pt x="6980441" y="2150145"/>
                </a:lnTo>
                <a:lnTo>
                  <a:pt x="6978053" y="2149279"/>
                </a:lnTo>
                <a:lnTo>
                  <a:pt x="6974472" y="2150469"/>
                </a:lnTo>
                <a:lnTo>
                  <a:pt x="6972845" y="2153718"/>
                </a:lnTo>
                <a:lnTo>
                  <a:pt x="6970458" y="2155016"/>
                </a:lnTo>
                <a:lnTo>
                  <a:pt x="6972085" y="2151985"/>
                </a:lnTo>
                <a:lnTo>
                  <a:pt x="6971542" y="2149170"/>
                </a:lnTo>
                <a:lnTo>
                  <a:pt x="6968504" y="2147871"/>
                </a:lnTo>
                <a:lnTo>
                  <a:pt x="6967310" y="2143648"/>
                </a:lnTo>
                <a:lnTo>
                  <a:pt x="6968396" y="2139751"/>
                </a:lnTo>
                <a:lnTo>
                  <a:pt x="6970349" y="2142674"/>
                </a:lnTo>
                <a:lnTo>
                  <a:pt x="6971217" y="2146355"/>
                </a:lnTo>
                <a:lnTo>
                  <a:pt x="6972845" y="2144840"/>
                </a:lnTo>
                <a:lnTo>
                  <a:pt x="6970783" y="2139210"/>
                </a:lnTo>
                <a:lnTo>
                  <a:pt x="6969155" y="2134987"/>
                </a:lnTo>
                <a:lnTo>
                  <a:pt x="6966876" y="2134662"/>
                </a:lnTo>
                <a:lnTo>
                  <a:pt x="6964706" y="2134662"/>
                </a:lnTo>
                <a:lnTo>
                  <a:pt x="6969047" y="2132280"/>
                </a:lnTo>
                <a:lnTo>
                  <a:pt x="6972954" y="2132280"/>
                </a:lnTo>
                <a:lnTo>
                  <a:pt x="6974581" y="2128490"/>
                </a:lnTo>
                <a:lnTo>
                  <a:pt x="6979139" y="2123618"/>
                </a:lnTo>
                <a:lnTo>
                  <a:pt x="6982177" y="2121237"/>
                </a:lnTo>
                <a:lnTo>
                  <a:pt x="6983479" y="2118530"/>
                </a:lnTo>
                <a:lnTo>
                  <a:pt x="6988471" y="2114632"/>
                </a:lnTo>
                <a:lnTo>
                  <a:pt x="6992486" y="2114307"/>
                </a:lnTo>
                <a:lnTo>
                  <a:pt x="6993897" y="2111817"/>
                </a:lnTo>
                <a:lnTo>
                  <a:pt x="6993137" y="2109110"/>
                </a:lnTo>
                <a:lnTo>
                  <a:pt x="6990751" y="2107811"/>
                </a:lnTo>
                <a:lnTo>
                  <a:pt x="6989231" y="2100340"/>
                </a:lnTo>
                <a:lnTo>
                  <a:pt x="6991510" y="2096984"/>
                </a:lnTo>
                <a:lnTo>
                  <a:pt x="6997803" y="2095684"/>
                </a:lnTo>
                <a:lnTo>
                  <a:pt x="7001385" y="2092112"/>
                </a:lnTo>
                <a:lnTo>
                  <a:pt x="7002469" y="2088972"/>
                </a:lnTo>
                <a:lnTo>
                  <a:pt x="7005942" y="2084208"/>
                </a:lnTo>
                <a:lnTo>
                  <a:pt x="7009957" y="2082692"/>
                </a:lnTo>
                <a:lnTo>
                  <a:pt x="7016469" y="2075329"/>
                </a:lnTo>
                <a:lnTo>
                  <a:pt x="7017229" y="2071865"/>
                </a:lnTo>
                <a:lnTo>
                  <a:pt x="7020592" y="2069592"/>
                </a:lnTo>
                <a:lnTo>
                  <a:pt x="7022219" y="2063962"/>
                </a:lnTo>
                <a:lnTo>
                  <a:pt x="7031118" y="2057790"/>
                </a:lnTo>
                <a:lnTo>
                  <a:pt x="7036219" y="2057140"/>
                </a:lnTo>
                <a:lnTo>
                  <a:pt x="7038280" y="2058440"/>
                </a:lnTo>
                <a:lnTo>
                  <a:pt x="7044140" y="2056707"/>
                </a:lnTo>
                <a:lnTo>
                  <a:pt x="7050217" y="2056274"/>
                </a:lnTo>
                <a:lnTo>
                  <a:pt x="7055643" y="2054325"/>
                </a:lnTo>
                <a:lnTo>
                  <a:pt x="7061178" y="2052268"/>
                </a:lnTo>
                <a:lnTo>
                  <a:pt x="7071487" y="2048587"/>
                </a:lnTo>
                <a:lnTo>
                  <a:pt x="7072897" y="2049670"/>
                </a:lnTo>
                <a:lnTo>
                  <a:pt x="7075827" y="2049562"/>
                </a:lnTo>
                <a:lnTo>
                  <a:pt x="7078974" y="2047288"/>
                </a:lnTo>
                <a:lnTo>
                  <a:pt x="7080384" y="2047937"/>
                </a:lnTo>
                <a:lnTo>
                  <a:pt x="7081253" y="2053026"/>
                </a:lnTo>
                <a:lnTo>
                  <a:pt x="7083314" y="2053784"/>
                </a:lnTo>
                <a:lnTo>
                  <a:pt x="7086787" y="2051185"/>
                </a:lnTo>
                <a:lnTo>
                  <a:pt x="7089283" y="2053135"/>
                </a:lnTo>
                <a:lnTo>
                  <a:pt x="7092864" y="2051619"/>
                </a:lnTo>
                <a:lnTo>
                  <a:pt x="7091345" y="2049453"/>
                </a:lnTo>
                <a:lnTo>
                  <a:pt x="7093624" y="2049237"/>
                </a:lnTo>
                <a:lnTo>
                  <a:pt x="7094818" y="2046313"/>
                </a:lnTo>
                <a:lnTo>
                  <a:pt x="7093841" y="2044905"/>
                </a:lnTo>
                <a:lnTo>
                  <a:pt x="7095360" y="2043607"/>
                </a:lnTo>
                <a:lnTo>
                  <a:pt x="7095035" y="2040142"/>
                </a:lnTo>
                <a:lnTo>
                  <a:pt x="7092973" y="2037868"/>
                </a:lnTo>
                <a:lnTo>
                  <a:pt x="7093732" y="2029423"/>
                </a:lnTo>
                <a:lnTo>
                  <a:pt x="7095686" y="2027258"/>
                </a:lnTo>
                <a:lnTo>
                  <a:pt x="7095794" y="2024118"/>
                </a:lnTo>
                <a:lnTo>
                  <a:pt x="7101328" y="2018487"/>
                </a:lnTo>
                <a:lnTo>
                  <a:pt x="7102088" y="2013074"/>
                </a:lnTo>
                <a:lnTo>
                  <a:pt x="7101328" y="2001814"/>
                </a:lnTo>
                <a:lnTo>
                  <a:pt x="7097965" y="1996075"/>
                </a:lnTo>
                <a:lnTo>
                  <a:pt x="7098941" y="1991528"/>
                </a:lnTo>
                <a:lnTo>
                  <a:pt x="7104041" y="1989579"/>
                </a:lnTo>
                <a:lnTo>
                  <a:pt x="7107948" y="1985465"/>
                </a:lnTo>
                <a:lnTo>
                  <a:pt x="7113482" y="1984166"/>
                </a:lnTo>
                <a:lnTo>
                  <a:pt x="7113808" y="1985465"/>
                </a:lnTo>
                <a:lnTo>
                  <a:pt x="7110878" y="1988389"/>
                </a:lnTo>
                <a:lnTo>
                  <a:pt x="7111312" y="1990879"/>
                </a:lnTo>
                <a:lnTo>
                  <a:pt x="7108816" y="1995318"/>
                </a:lnTo>
                <a:lnTo>
                  <a:pt x="7106212" y="1996509"/>
                </a:lnTo>
                <a:lnTo>
                  <a:pt x="7106103" y="1999432"/>
                </a:lnTo>
                <a:lnTo>
                  <a:pt x="7111746" y="2006361"/>
                </a:lnTo>
                <a:lnTo>
                  <a:pt x="7117498" y="2009609"/>
                </a:lnTo>
                <a:lnTo>
                  <a:pt x="7119776" y="2005062"/>
                </a:lnTo>
                <a:lnTo>
                  <a:pt x="7124226" y="2003763"/>
                </a:lnTo>
                <a:lnTo>
                  <a:pt x="7135620" y="1996942"/>
                </a:lnTo>
                <a:lnTo>
                  <a:pt x="7141371" y="1991528"/>
                </a:lnTo>
                <a:lnTo>
                  <a:pt x="7142239" y="1986765"/>
                </a:lnTo>
                <a:lnTo>
                  <a:pt x="7145169" y="1982109"/>
                </a:lnTo>
                <a:lnTo>
                  <a:pt x="7144736" y="1974205"/>
                </a:lnTo>
                <a:lnTo>
                  <a:pt x="7147339" y="1967167"/>
                </a:lnTo>
                <a:lnTo>
                  <a:pt x="7153200" y="1964136"/>
                </a:lnTo>
                <a:lnTo>
                  <a:pt x="7155153" y="1956882"/>
                </a:lnTo>
                <a:lnTo>
                  <a:pt x="7153959" y="1950494"/>
                </a:lnTo>
                <a:lnTo>
                  <a:pt x="7158083" y="1933820"/>
                </a:lnTo>
                <a:lnTo>
                  <a:pt x="7157540" y="1922452"/>
                </a:lnTo>
                <a:lnTo>
                  <a:pt x="7158516" y="1916064"/>
                </a:lnTo>
                <a:lnTo>
                  <a:pt x="7156780" y="1904588"/>
                </a:lnTo>
                <a:lnTo>
                  <a:pt x="7152223" y="1894085"/>
                </a:lnTo>
                <a:lnTo>
                  <a:pt x="7149075" y="1897550"/>
                </a:lnTo>
                <a:lnTo>
                  <a:pt x="7145495" y="1898415"/>
                </a:lnTo>
                <a:lnTo>
                  <a:pt x="7142023" y="1894085"/>
                </a:lnTo>
                <a:lnTo>
                  <a:pt x="7142782" y="1891486"/>
                </a:lnTo>
                <a:lnTo>
                  <a:pt x="7146472" y="1892244"/>
                </a:lnTo>
                <a:lnTo>
                  <a:pt x="7149727" y="1890187"/>
                </a:lnTo>
                <a:lnTo>
                  <a:pt x="7151788" y="1883691"/>
                </a:lnTo>
                <a:lnTo>
                  <a:pt x="7149727" y="1880118"/>
                </a:lnTo>
                <a:lnTo>
                  <a:pt x="7143867" y="1874055"/>
                </a:lnTo>
                <a:lnTo>
                  <a:pt x="7143759" y="1871348"/>
                </a:lnTo>
                <a:lnTo>
                  <a:pt x="7146580" y="1867125"/>
                </a:lnTo>
                <a:lnTo>
                  <a:pt x="7149402" y="1866043"/>
                </a:lnTo>
                <a:lnTo>
                  <a:pt x="7149293" y="1861171"/>
                </a:lnTo>
                <a:lnTo>
                  <a:pt x="7147556" y="1854242"/>
                </a:lnTo>
                <a:lnTo>
                  <a:pt x="7148425" y="1850452"/>
                </a:lnTo>
                <a:lnTo>
                  <a:pt x="7151029" y="1851859"/>
                </a:lnTo>
                <a:lnTo>
                  <a:pt x="7153959" y="1850885"/>
                </a:lnTo>
                <a:lnTo>
                  <a:pt x="7155478" y="1853375"/>
                </a:lnTo>
                <a:lnTo>
                  <a:pt x="7156238" y="1858139"/>
                </a:lnTo>
                <a:lnTo>
                  <a:pt x="7156998" y="1862362"/>
                </a:lnTo>
                <a:lnTo>
                  <a:pt x="7160362" y="1863661"/>
                </a:lnTo>
                <a:lnTo>
                  <a:pt x="7162532" y="1861387"/>
                </a:lnTo>
                <a:lnTo>
                  <a:pt x="7161121" y="1855757"/>
                </a:lnTo>
                <a:lnTo>
                  <a:pt x="7162206" y="1855757"/>
                </a:lnTo>
                <a:lnTo>
                  <a:pt x="7165245" y="1858139"/>
                </a:lnTo>
                <a:lnTo>
                  <a:pt x="7168175" y="1856299"/>
                </a:lnTo>
                <a:lnTo>
                  <a:pt x="7169911" y="1851968"/>
                </a:lnTo>
                <a:lnTo>
                  <a:pt x="7167524" y="1846013"/>
                </a:lnTo>
                <a:lnTo>
                  <a:pt x="7162206" y="1850777"/>
                </a:lnTo>
                <a:lnTo>
                  <a:pt x="7159927" y="1851751"/>
                </a:lnTo>
                <a:lnTo>
                  <a:pt x="7157866" y="1849803"/>
                </a:lnTo>
                <a:lnTo>
                  <a:pt x="7157757" y="1845797"/>
                </a:lnTo>
                <a:lnTo>
                  <a:pt x="7160145" y="1839950"/>
                </a:lnTo>
                <a:close/>
                <a:moveTo>
                  <a:pt x="5253398" y="1837568"/>
                </a:moveTo>
                <a:lnTo>
                  <a:pt x="5190242" y="1849478"/>
                </a:lnTo>
                <a:lnTo>
                  <a:pt x="5209666" y="1963162"/>
                </a:lnTo>
                <a:lnTo>
                  <a:pt x="5206194" y="1963486"/>
                </a:lnTo>
                <a:lnTo>
                  <a:pt x="5196536" y="1965543"/>
                </a:lnTo>
                <a:lnTo>
                  <a:pt x="5196537" y="1965544"/>
                </a:lnTo>
                <a:lnTo>
                  <a:pt x="5206195" y="1963487"/>
                </a:lnTo>
                <a:lnTo>
                  <a:pt x="5209667" y="1963162"/>
                </a:lnTo>
                <a:lnTo>
                  <a:pt x="5220627" y="1962079"/>
                </a:lnTo>
                <a:lnTo>
                  <a:pt x="5230611" y="1963812"/>
                </a:lnTo>
                <a:lnTo>
                  <a:pt x="5233107" y="1958290"/>
                </a:lnTo>
                <a:lnTo>
                  <a:pt x="5230611" y="1963811"/>
                </a:lnTo>
                <a:lnTo>
                  <a:pt x="5220627" y="1962079"/>
                </a:lnTo>
                <a:lnTo>
                  <a:pt x="5209667" y="1963162"/>
                </a:lnTo>
                <a:lnTo>
                  <a:pt x="5190243" y="1849478"/>
                </a:lnTo>
                <a:lnTo>
                  <a:pt x="5253398" y="1837568"/>
                </a:lnTo>
                <a:close/>
                <a:moveTo>
                  <a:pt x="4302613" y="1837397"/>
                </a:moveTo>
                <a:lnTo>
                  <a:pt x="4302682" y="1838092"/>
                </a:lnTo>
                <a:lnTo>
                  <a:pt x="4302684" y="1838109"/>
                </a:lnTo>
                <a:close/>
                <a:moveTo>
                  <a:pt x="5744111" y="1837026"/>
                </a:moveTo>
                <a:lnTo>
                  <a:pt x="5744110" y="1837027"/>
                </a:lnTo>
                <a:lnTo>
                  <a:pt x="5746389" y="1844064"/>
                </a:lnTo>
                <a:lnTo>
                  <a:pt x="5746715" y="1847745"/>
                </a:lnTo>
                <a:lnTo>
                  <a:pt x="5748776" y="1850777"/>
                </a:lnTo>
                <a:lnTo>
                  <a:pt x="5749645" y="1855757"/>
                </a:lnTo>
                <a:lnTo>
                  <a:pt x="5754094" y="1863012"/>
                </a:lnTo>
                <a:lnTo>
                  <a:pt x="5754962" y="1867018"/>
                </a:lnTo>
                <a:lnTo>
                  <a:pt x="5760171" y="1870698"/>
                </a:lnTo>
                <a:lnTo>
                  <a:pt x="5762015" y="1880551"/>
                </a:lnTo>
                <a:lnTo>
                  <a:pt x="5759930" y="1882401"/>
                </a:lnTo>
                <a:lnTo>
                  <a:pt x="5762016" y="1880551"/>
                </a:lnTo>
                <a:lnTo>
                  <a:pt x="5760172" y="1870698"/>
                </a:lnTo>
                <a:lnTo>
                  <a:pt x="5754963" y="1867017"/>
                </a:lnTo>
                <a:lnTo>
                  <a:pt x="5754094" y="1863011"/>
                </a:lnTo>
                <a:lnTo>
                  <a:pt x="5749645" y="1855757"/>
                </a:lnTo>
                <a:lnTo>
                  <a:pt x="5748778" y="1850776"/>
                </a:lnTo>
                <a:lnTo>
                  <a:pt x="5746715" y="1847745"/>
                </a:lnTo>
                <a:lnTo>
                  <a:pt x="5746390" y="1844064"/>
                </a:lnTo>
                <a:close/>
                <a:moveTo>
                  <a:pt x="6095271" y="1836810"/>
                </a:moveTo>
                <a:lnTo>
                  <a:pt x="6095596" y="1839841"/>
                </a:lnTo>
                <a:lnTo>
                  <a:pt x="6097134" y="1843558"/>
                </a:lnTo>
                <a:lnTo>
                  <a:pt x="6095597" y="1839842"/>
                </a:lnTo>
                <a:lnTo>
                  <a:pt x="6095272" y="1836811"/>
                </a:lnTo>
                <a:close/>
                <a:moveTo>
                  <a:pt x="4137306" y="1835727"/>
                </a:moveTo>
                <a:lnTo>
                  <a:pt x="4137306" y="1835728"/>
                </a:lnTo>
                <a:lnTo>
                  <a:pt x="4147723" y="1838543"/>
                </a:lnTo>
                <a:lnTo>
                  <a:pt x="4151846" y="1838110"/>
                </a:lnTo>
                <a:lnTo>
                  <a:pt x="4155970" y="1841575"/>
                </a:lnTo>
                <a:lnTo>
                  <a:pt x="4155970" y="1841573"/>
                </a:lnTo>
                <a:lnTo>
                  <a:pt x="4151847" y="1838109"/>
                </a:lnTo>
                <a:lnTo>
                  <a:pt x="4147723" y="1838542"/>
                </a:lnTo>
                <a:close/>
                <a:moveTo>
                  <a:pt x="4988835" y="1834537"/>
                </a:moveTo>
                <a:lnTo>
                  <a:pt x="4988835" y="1837569"/>
                </a:lnTo>
                <a:lnTo>
                  <a:pt x="4986665" y="1841358"/>
                </a:lnTo>
                <a:lnTo>
                  <a:pt x="4985688" y="1846664"/>
                </a:lnTo>
                <a:lnTo>
                  <a:pt x="4983084" y="1848395"/>
                </a:lnTo>
                <a:lnTo>
                  <a:pt x="4981564" y="1853376"/>
                </a:lnTo>
                <a:lnTo>
                  <a:pt x="4979611" y="1857166"/>
                </a:lnTo>
                <a:lnTo>
                  <a:pt x="4979611" y="1865936"/>
                </a:lnTo>
                <a:lnTo>
                  <a:pt x="4977006" y="1867776"/>
                </a:lnTo>
                <a:lnTo>
                  <a:pt x="4975488" y="1872107"/>
                </a:lnTo>
                <a:lnTo>
                  <a:pt x="4977766" y="1880335"/>
                </a:lnTo>
                <a:lnTo>
                  <a:pt x="4981781" y="1880335"/>
                </a:lnTo>
                <a:lnTo>
                  <a:pt x="4982691" y="1880067"/>
                </a:lnTo>
                <a:lnTo>
                  <a:pt x="4980696" y="1872864"/>
                </a:lnTo>
                <a:lnTo>
                  <a:pt x="4982215" y="1868533"/>
                </a:lnTo>
                <a:lnTo>
                  <a:pt x="4984819" y="1866693"/>
                </a:lnTo>
                <a:lnTo>
                  <a:pt x="4984819" y="1857923"/>
                </a:lnTo>
                <a:lnTo>
                  <a:pt x="4986772" y="1854133"/>
                </a:lnTo>
                <a:lnTo>
                  <a:pt x="4988292" y="1849153"/>
                </a:lnTo>
                <a:lnTo>
                  <a:pt x="4990897" y="1847421"/>
                </a:lnTo>
                <a:lnTo>
                  <a:pt x="4991873" y="1842115"/>
                </a:lnTo>
                <a:lnTo>
                  <a:pt x="4994044" y="1838326"/>
                </a:lnTo>
                <a:lnTo>
                  <a:pt x="4994044" y="1837052"/>
                </a:lnTo>
                <a:lnTo>
                  <a:pt x="4993502" y="1837352"/>
                </a:lnTo>
                <a:lnTo>
                  <a:pt x="4991222" y="1835403"/>
                </a:lnTo>
                <a:close/>
                <a:moveTo>
                  <a:pt x="4073715" y="1833454"/>
                </a:moveTo>
                <a:lnTo>
                  <a:pt x="4080768" y="1833778"/>
                </a:lnTo>
                <a:lnTo>
                  <a:pt x="4082952" y="1837840"/>
                </a:lnTo>
                <a:lnTo>
                  <a:pt x="4080769" y="1833778"/>
                </a:lnTo>
                <a:close/>
                <a:moveTo>
                  <a:pt x="4117664" y="1833346"/>
                </a:moveTo>
                <a:lnTo>
                  <a:pt x="4117664" y="1833346"/>
                </a:lnTo>
                <a:lnTo>
                  <a:pt x="4123198" y="1836811"/>
                </a:lnTo>
                <a:lnTo>
                  <a:pt x="4122651" y="1841453"/>
                </a:lnTo>
                <a:lnTo>
                  <a:pt x="4123198" y="1836810"/>
                </a:lnTo>
                <a:close/>
                <a:moveTo>
                  <a:pt x="4166387" y="1830530"/>
                </a:moveTo>
                <a:lnTo>
                  <a:pt x="4157056" y="1832587"/>
                </a:lnTo>
                <a:lnTo>
                  <a:pt x="4157056" y="1832587"/>
                </a:lnTo>
                <a:lnTo>
                  <a:pt x="4166388" y="1830531"/>
                </a:lnTo>
                <a:close/>
                <a:moveTo>
                  <a:pt x="5011190" y="1827933"/>
                </a:moveTo>
                <a:lnTo>
                  <a:pt x="5008323" y="1828690"/>
                </a:lnTo>
                <a:lnTo>
                  <a:pt x="5010538" y="1828690"/>
                </a:lnTo>
                <a:cubicBezTo>
                  <a:pt x="5011203" y="1829132"/>
                  <a:pt x="5011936" y="1829461"/>
                  <a:pt x="5012709" y="1829664"/>
                </a:cubicBezTo>
                <a:lnTo>
                  <a:pt x="5012879" y="1829619"/>
                </a:lnTo>
                <a:close/>
                <a:moveTo>
                  <a:pt x="5003051" y="1827933"/>
                </a:moveTo>
                <a:lnTo>
                  <a:pt x="5006524" y="1829232"/>
                </a:lnTo>
                <a:lnTo>
                  <a:pt x="5007174" y="1831181"/>
                </a:lnTo>
                <a:lnTo>
                  <a:pt x="5003919" y="1833563"/>
                </a:lnTo>
                <a:lnTo>
                  <a:pt x="5000772" y="1833563"/>
                </a:lnTo>
                <a:lnTo>
                  <a:pt x="4998493" y="1835403"/>
                </a:lnTo>
                <a:lnTo>
                  <a:pt x="4996540" y="1833455"/>
                </a:lnTo>
                <a:lnTo>
                  <a:pt x="4995611" y="1835864"/>
                </a:lnTo>
                <a:lnTo>
                  <a:pt x="4996431" y="1836161"/>
                </a:lnTo>
                <a:lnTo>
                  <a:pt x="4998710" y="1838109"/>
                </a:lnTo>
                <a:lnTo>
                  <a:pt x="5000663" y="1837027"/>
                </a:lnTo>
                <a:lnTo>
                  <a:pt x="5001748" y="1834211"/>
                </a:lnTo>
                <a:lnTo>
                  <a:pt x="5003701" y="1836161"/>
                </a:lnTo>
                <a:lnTo>
                  <a:pt x="5005981" y="1834320"/>
                </a:lnTo>
                <a:lnTo>
                  <a:pt x="5009127" y="1834320"/>
                </a:lnTo>
                <a:lnTo>
                  <a:pt x="5012383" y="1831938"/>
                </a:lnTo>
                <a:lnTo>
                  <a:pt x="5011732" y="1829989"/>
                </a:lnTo>
                <a:lnTo>
                  <a:pt x="5008286" y="1828700"/>
                </a:lnTo>
                <a:lnTo>
                  <a:pt x="5007501" y="1828907"/>
                </a:lnTo>
                <a:cubicBezTo>
                  <a:pt x="5006728" y="1828703"/>
                  <a:pt x="5005994" y="1828374"/>
                  <a:pt x="5005330" y="1827933"/>
                </a:cubicBezTo>
                <a:close/>
                <a:moveTo>
                  <a:pt x="2363173" y="1825488"/>
                </a:moveTo>
                <a:lnTo>
                  <a:pt x="2362081" y="1826199"/>
                </a:lnTo>
                <a:lnTo>
                  <a:pt x="2362082" y="1826199"/>
                </a:lnTo>
                <a:close/>
                <a:moveTo>
                  <a:pt x="2354810" y="1825334"/>
                </a:moveTo>
                <a:lnTo>
                  <a:pt x="2352640" y="1826958"/>
                </a:lnTo>
                <a:lnTo>
                  <a:pt x="2352641" y="1826958"/>
                </a:lnTo>
                <a:lnTo>
                  <a:pt x="2354811" y="1825334"/>
                </a:lnTo>
                <a:close/>
                <a:moveTo>
                  <a:pt x="5731307" y="1824683"/>
                </a:moveTo>
                <a:lnTo>
                  <a:pt x="5731306" y="1824684"/>
                </a:lnTo>
                <a:lnTo>
                  <a:pt x="5731197" y="1828040"/>
                </a:lnTo>
                <a:lnTo>
                  <a:pt x="5735212" y="1831180"/>
                </a:lnTo>
                <a:lnTo>
                  <a:pt x="5741831" y="1830747"/>
                </a:lnTo>
                <a:lnTo>
                  <a:pt x="5747366" y="1831505"/>
                </a:lnTo>
                <a:lnTo>
                  <a:pt x="5747475" y="1833670"/>
                </a:lnTo>
                <a:lnTo>
                  <a:pt x="5747367" y="1831504"/>
                </a:lnTo>
                <a:lnTo>
                  <a:pt x="5741832" y="1830746"/>
                </a:lnTo>
                <a:lnTo>
                  <a:pt x="5735213" y="1831180"/>
                </a:lnTo>
                <a:lnTo>
                  <a:pt x="5731198" y="1828039"/>
                </a:lnTo>
                <a:close/>
                <a:moveTo>
                  <a:pt x="6084202" y="1824576"/>
                </a:moveTo>
                <a:lnTo>
                  <a:pt x="6084853" y="1828798"/>
                </a:lnTo>
                <a:lnTo>
                  <a:pt x="6085830" y="1831504"/>
                </a:lnTo>
                <a:lnTo>
                  <a:pt x="6085831" y="1831505"/>
                </a:lnTo>
                <a:lnTo>
                  <a:pt x="6084854" y="1828798"/>
                </a:lnTo>
                <a:lnTo>
                  <a:pt x="6084203" y="1824576"/>
                </a:lnTo>
                <a:close/>
                <a:moveTo>
                  <a:pt x="4559109" y="1824034"/>
                </a:moveTo>
                <a:lnTo>
                  <a:pt x="4558024" y="1846445"/>
                </a:lnTo>
                <a:lnTo>
                  <a:pt x="4558024" y="1846446"/>
                </a:lnTo>
                <a:lnTo>
                  <a:pt x="4559110" y="1824034"/>
                </a:lnTo>
                <a:close/>
                <a:moveTo>
                  <a:pt x="4296716" y="1821977"/>
                </a:moveTo>
                <a:lnTo>
                  <a:pt x="4295631" y="1822301"/>
                </a:lnTo>
                <a:lnTo>
                  <a:pt x="4289771" y="1824250"/>
                </a:lnTo>
                <a:lnTo>
                  <a:pt x="4279353" y="1830097"/>
                </a:lnTo>
                <a:lnTo>
                  <a:pt x="4276857" y="1829772"/>
                </a:lnTo>
                <a:lnTo>
                  <a:pt x="4273385" y="1830205"/>
                </a:lnTo>
                <a:lnTo>
                  <a:pt x="4267959" y="1832695"/>
                </a:lnTo>
                <a:lnTo>
                  <a:pt x="4262750" y="1832695"/>
                </a:lnTo>
                <a:lnTo>
                  <a:pt x="4257107" y="1834969"/>
                </a:lnTo>
                <a:lnTo>
                  <a:pt x="4253961" y="1831288"/>
                </a:lnTo>
                <a:lnTo>
                  <a:pt x="4257107" y="1834969"/>
                </a:lnTo>
                <a:lnTo>
                  <a:pt x="4262750" y="1832696"/>
                </a:lnTo>
                <a:lnTo>
                  <a:pt x="4267959" y="1832696"/>
                </a:lnTo>
                <a:lnTo>
                  <a:pt x="4273384" y="1830206"/>
                </a:lnTo>
                <a:lnTo>
                  <a:pt x="4276857" y="1829773"/>
                </a:lnTo>
                <a:lnTo>
                  <a:pt x="4279354" y="1830097"/>
                </a:lnTo>
                <a:lnTo>
                  <a:pt x="4289771" y="1824251"/>
                </a:lnTo>
                <a:lnTo>
                  <a:pt x="4295631" y="1822302"/>
                </a:lnTo>
                <a:lnTo>
                  <a:pt x="4301599" y="1829231"/>
                </a:lnTo>
                <a:lnTo>
                  <a:pt x="4301623" y="1829424"/>
                </a:lnTo>
                <a:lnTo>
                  <a:pt x="4302247" y="1834406"/>
                </a:lnTo>
                <a:lnTo>
                  <a:pt x="4301599" y="1829231"/>
                </a:lnTo>
                <a:lnTo>
                  <a:pt x="4295631" y="1822302"/>
                </a:lnTo>
                <a:close/>
                <a:moveTo>
                  <a:pt x="5010430" y="1821328"/>
                </a:moveTo>
                <a:lnTo>
                  <a:pt x="5007283" y="1821977"/>
                </a:lnTo>
                <a:lnTo>
                  <a:pt x="5014228" y="1825984"/>
                </a:lnTo>
                <a:lnTo>
                  <a:pt x="5015205" y="1828691"/>
                </a:lnTo>
                <a:lnTo>
                  <a:pt x="5014689" y="1829141"/>
                </a:lnTo>
                <a:lnTo>
                  <a:pt x="5016398" y="1828690"/>
                </a:lnTo>
                <a:lnTo>
                  <a:pt x="5018676" y="1830964"/>
                </a:lnTo>
                <a:lnTo>
                  <a:pt x="5020413" y="1829448"/>
                </a:lnTo>
                <a:lnTo>
                  <a:pt x="5019436" y="1826741"/>
                </a:lnTo>
                <a:lnTo>
                  <a:pt x="5012492" y="1822735"/>
                </a:lnTo>
                <a:lnTo>
                  <a:pt x="5014294" y="1822363"/>
                </a:lnTo>
                <a:close/>
                <a:moveTo>
                  <a:pt x="5735538" y="1820678"/>
                </a:moveTo>
                <a:lnTo>
                  <a:pt x="5735537" y="1820678"/>
                </a:lnTo>
                <a:lnTo>
                  <a:pt x="5732055" y="1823975"/>
                </a:lnTo>
                <a:close/>
                <a:moveTo>
                  <a:pt x="5739552" y="1819054"/>
                </a:moveTo>
                <a:lnTo>
                  <a:pt x="5737240" y="1819989"/>
                </a:lnTo>
                <a:lnTo>
                  <a:pt x="5739552" y="1819054"/>
                </a:lnTo>
                <a:close/>
                <a:moveTo>
                  <a:pt x="4201872" y="1818837"/>
                </a:moveTo>
                <a:lnTo>
                  <a:pt x="4201872" y="1818838"/>
                </a:lnTo>
                <a:lnTo>
                  <a:pt x="4213700" y="1825767"/>
                </a:lnTo>
                <a:lnTo>
                  <a:pt x="4228133" y="1828474"/>
                </a:lnTo>
                <a:lnTo>
                  <a:pt x="4236055" y="1827824"/>
                </a:lnTo>
                <a:lnTo>
                  <a:pt x="4239527" y="1830964"/>
                </a:lnTo>
                <a:lnTo>
                  <a:pt x="4239527" y="1830963"/>
                </a:lnTo>
                <a:lnTo>
                  <a:pt x="4243217" y="1831396"/>
                </a:lnTo>
                <a:lnTo>
                  <a:pt x="4239528" y="1830963"/>
                </a:lnTo>
                <a:lnTo>
                  <a:pt x="4236055" y="1827823"/>
                </a:lnTo>
                <a:lnTo>
                  <a:pt x="4228133" y="1828473"/>
                </a:lnTo>
                <a:lnTo>
                  <a:pt x="4213700" y="1825766"/>
                </a:lnTo>
                <a:close/>
                <a:moveTo>
                  <a:pt x="2368141" y="1818662"/>
                </a:moveTo>
                <a:lnTo>
                  <a:pt x="2366205" y="1820786"/>
                </a:lnTo>
                <a:lnTo>
                  <a:pt x="2365121" y="1823761"/>
                </a:lnTo>
                <a:lnTo>
                  <a:pt x="2364903" y="1824359"/>
                </a:lnTo>
                <a:lnTo>
                  <a:pt x="2364903" y="1824359"/>
                </a:lnTo>
                <a:lnTo>
                  <a:pt x="2365121" y="1823761"/>
                </a:lnTo>
                <a:lnTo>
                  <a:pt x="2366205" y="1820786"/>
                </a:lnTo>
                <a:close/>
                <a:moveTo>
                  <a:pt x="5753938" y="1817608"/>
                </a:moveTo>
                <a:lnTo>
                  <a:pt x="5753226" y="1817754"/>
                </a:lnTo>
                <a:lnTo>
                  <a:pt x="5753226" y="1817754"/>
                </a:lnTo>
                <a:lnTo>
                  <a:pt x="5753225" y="1817754"/>
                </a:lnTo>
                <a:lnTo>
                  <a:pt x="5751480" y="1818420"/>
                </a:lnTo>
                <a:lnTo>
                  <a:pt x="5753226" y="1817754"/>
                </a:lnTo>
                <a:close/>
                <a:moveTo>
                  <a:pt x="4075840" y="1816720"/>
                </a:moveTo>
                <a:lnTo>
                  <a:pt x="4073823" y="1817429"/>
                </a:lnTo>
                <a:lnTo>
                  <a:pt x="4067637" y="1827282"/>
                </a:lnTo>
                <a:lnTo>
                  <a:pt x="4066661" y="1834537"/>
                </a:lnTo>
                <a:lnTo>
                  <a:pt x="4066661" y="1839083"/>
                </a:lnTo>
                <a:lnTo>
                  <a:pt x="4066662" y="1839083"/>
                </a:lnTo>
                <a:lnTo>
                  <a:pt x="4066662" y="1834536"/>
                </a:lnTo>
                <a:lnTo>
                  <a:pt x="4067638" y="1827282"/>
                </a:lnTo>
                <a:lnTo>
                  <a:pt x="4073823" y="1817430"/>
                </a:lnTo>
                <a:close/>
                <a:moveTo>
                  <a:pt x="6059243" y="1814831"/>
                </a:moveTo>
                <a:lnTo>
                  <a:pt x="6067279" y="1820572"/>
                </a:lnTo>
                <a:lnTo>
                  <a:pt x="6059244" y="1814831"/>
                </a:lnTo>
                <a:close/>
                <a:moveTo>
                  <a:pt x="6895742" y="1814058"/>
                </a:moveTo>
                <a:lnTo>
                  <a:pt x="6897535" y="1816130"/>
                </a:lnTo>
                <a:lnTo>
                  <a:pt x="6905132" y="1817863"/>
                </a:lnTo>
                <a:lnTo>
                  <a:pt x="6905131" y="1817862"/>
                </a:lnTo>
                <a:lnTo>
                  <a:pt x="6897535" y="1816130"/>
                </a:lnTo>
                <a:close/>
                <a:moveTo>
                  <a:pt x="5781874" y="1813532"/>
                </a:moveTo>
                <a:lnTo>
                  <a:pt x="5780664" y="1814304"/>
                </a:lnTo>
                <a:lnTo>
                  <a:pt x="5781875" y="1813532"/>
                </a:lnTo>
                <a:close/>
                <a:moveTo>
                  <a:pt x="4189176" y="1813315"/>
                </a:moveTo>
                <a:lnTo>
                  <a:pt x="4176697" y="1820569"/>
                </a:lnTo>
                <a:lnTo>
                  <a:pt x="4168775" y="1817105"/>
                </a:lnTo>
                <a:lnTo>
                  <a:pt x="4168775" y="1817106"/>
                </a:lnTo>
                <a:lnTo>
                  <a:pt x="4168775" y="1817105"/>
                </a:lnTo>
                <a:lnTo>
                  <a:pt x="4176697" y="1820570"/>
                </a:lnTo>
                <a:lnTo>
                  <a:pt x="4189176" y="1813316"/>
                </a:lnTo>
                <a:lnTo>
                  <a:pt x="4194276" y="1814724"/>
                </a:lnTo>
                <a:lnTo>
                  <a:pt x="4202632" y="1814074"/>
                </a:lnTo>
                <a:lnTo>
                  <a:pt x="4202632" y="1814073"/>
                </a:lnTo>
                <a:lnTo>
                  <a:pt x="4194276" y="1814722"/>
                </a:lnTo>
                <a:close/>
                <a:moveTo>
                  <a:pt x="4162915" y="1813315"/>
                </a:moveTo>
                <a:lnTo>
                  <a:pt x="4158792" y="1817105"/>
                </a:lnTo>
                <a:lnTo>
                  <a:pt x="4158792" y="1817105"/>
                </a:lnTo>
                <a:lnTo>
                  <a:pt x="4162916" y="1813315"/>
                </a:lnTo>
                <a:lnTo>
                  <a:pt x="4166713" y="1813315"/>
                </a:lnTo>
                <a:lnTo>
                  <a:pt x="4166713" y="1813315"/>
                </a:lnTo>
                <a:close/>
                <a:moveTo>
                  <a:pt x="4596331" y="1811258"/>
                </a:moveTo>
                <a:lnTo>
                  <a:pt x="4597090" y="1815589"/>
                </a:lnTo>
                <a:lnTo>
                  <a:pt x="4596113" y="1819487"/>
                </a:lnTo>
                <a:lnTo>
                  <a:pt x="4599043" y="1823710"/>
                </a:lnTo>
                <a:lnTo>
                  <a:pt x="4598175" y="1826200"/>
                </a:lnTo>
                <a:lnTo>
                  <a:pt x="4591122" y="1826416"/>
                </a:lnTo>
                <a:lnTo>
                  <a:pt x="4587324" y="1823276"/>
                </a:lnTo>
                <a:lnTo>
                  <a:pt x="4581138" y="1825333"/>
                </a:lnTo>
                <a:lnTo>
                  <a:pt x="4576472" y="1825550"/>
                </a:lnTo>
                <a:lnTo>
                  <a:pt x="4575821" y="1834104"/>
                </a:lnTo>
                <a:lnTo>
                  <a:pt x="4575929" y="1839950"/>
                </a:lnTo>
                <a:lnTo>
                  <a:pt x="4575930" y="1839950"/>
                </a:lnTo>
                <a:lnTo>
                  <a:pt x="4575821" y="1834104"/>
                </a:lnTo>
                <a:lnTo>
                  <a:pt x="4576473" y="1825550"/>
                </a:lnTo>
                <a:lnTo>
                  <a:pt x="4581139" y="1825334"/>
                </a:lnTo>
                <a:lnTo>
                  <a:pt x="4587324" y="1823277"/>
                </a:lnTo>
                <a:lnTo>
                  <a:pt x="4591122" y="1826417"/>
                </a:lnTo>
                <a:lnTo>
                  <a:pt x="4598176" y="1826200"/>
                </a:lnTo>
                <a:lnTo>
                  <a:pt x="4599044" y="1823710"/>
                </a:lnTo>
                <a:lnTo>
                  <a:pt x="4596114" y="1819487"/>
                </a:lnTo>
                <a:lnTo>
                  <a:pt x="4597091" y="1815589"/>
                </a:lnTo>
                <a:lnTo>
                  <a:pt x="4596331" y="1811259"/>
                </a:lnTo>
                <a:close/>
                <a:moveTo>
                  <a:pt x="6047849" y="1810717"/>
                </a:moveTo>
                <a:lnTo>
                  <a:pt x="6049384" y="1812843"/>
                </a:lnTo>
                <a:lnTo>
                  <a:pt x="6049802" y="1813423"/>
                </a:lnTo>
                <a:lnTo>
                  <a:pt x="6049802" y="1813423"/>
                </a:lnTo>
                <a:lnTo>
                  <a:pt x="6049384" y="1812843"/>
                </a:lnTo>
                <a:lnTo>
                  <a:pt x="6047850" y="1810717"/>
                </a:lnTo>
                <a:close/>
                <a:moveTo>
                  <a:pt x="7116847" y="1809742"/>
                </a:moveTo>
                <a:lnTo>
                  <a:pt x="7115870" y="1814073"/>
                </a:lnTo>
                <a:lnTo>
                  <a:pt x="7115653" y="1818079"/>
                </a:lnTo>
                <a:lnTo>
                  <a:pt x="7112940" y="1820028"/>
                </a:lnTo>
                <a:lnTo>
                  <a:pt x="7110988" y="1817754"/>
                </a:lnTo>
                <a:lnTo>
                  <a:pt x="7110445" y="1814073"/>
                </a:lnTo>
                <a:lnTo>
                  <a:pt x="7114243" y="1810717"/>
                </a:lnTo>
                <a:close/>
                <a:moveTo>
                  <a:pt x="4144328" y="1807686"/>
                </a:moveTo>
                <a:lnTo>
                  <a:pt x="4143165" y="1810392"/>
                </a:lnTo>
                <a:lnTo>
                  <a:pt x="4144685" y="1813207"/>
                </a:lnTo>
                <a:lnTo>
                  <a:pt x="4147072" y="1813315"/>
                </a:lnTo>
                <a:lnTo>
                  <a:pt x="4150871" y="1813532"/>
                </a:lnTo>
                <a:lnTo>
                  <a:pt x="4153800" y="1812341"/>
                </a:lnTo>
                <a:lnTo>
                  <a:pt x="4153799" y="1812340"/>
                </a:lnTo>
                <a:lnTo>
                  <a:pt x="4150870" y="1813532"/>
                </a:lnTo>
                <a:lnTo>
                  <a:pt x="4147071" y="1813315"/>
                </a:lnTo>
                <a:lnTo>
                  <a:pt x="4147071" y="1813315"/>
                </a:lnTo>
                <a:lnTo>
                  <a:pt x="4144685" y="1813207"/>
                </a:lnTo>
                <a:lnTo>
                  <a:pt x="4143166" y="1810392"/>
                </a:lnTo>
                <a:close/>
                <a:moveTo>
                  <a:pt x="6907193" y="1806819"/>
                </a:moveTo>
                <a:lnTo>
                  <a:pt x="6904480" y="1808442"/>
                </a:lnTo>
                <a:lnTo>
                  <a:pt x="6904424" y="1808738"/>
                </a:lnTo>
                <a:lnTo>
                  <a:pt x="6905999" y="1807795"/>
                </a:lnTo>
                <a:lnTo>
                  <a:pt x="6911642" y="1808444"/>
                </a:lnTo>
                <a:lnTo>
                  <a:pt x="6913270" y="1808444"/>
                </a:lnTo>
                <a:lnTo>
                  <a:pt x="6913270" y="1807252"/>
                </a:lnTo>
                <a:lnTo>
                  <a:pt x="6912836" y="1807360"/>
                </a:lnTo>
                <a:close/>
                <a:moveTo>
                  <a:pt x="4144576" y="1806711"/>
                </a:moveTo>
                <a:lnTo>
                  <a:pt x="4144576" y="1806711"/>
                </a:lnTo>
                <a:lnTo>
                  <a:pt x="4147289" y="1808876"/>
                </a:lnTo>
                <a:close/>
                <a:moveTo>
                  <a:pt x="5787397" y="1805590"/>
                </a:moveTo>
                <a:lnTo>
                  <a:pt x="5785455" y="1809742"/>
                </a:lnTo>
                <a:lnTo>
                  <a:pt x="5785035" y="1813408"/>
                </a:lnTo>
                <a:lnTo>
                  <a:pt x="5785456" y="1809742"/>
                </a:lnTo>
                <a:close/>
                <a:moveTo>
                  <a:pt x="6891349" y="1805411"/>
                </a:moveTo>
                <a:lnTo>
                  <a:pt x="6888202" y="1806819"/>
                </a:lnTo>
                <a:lnTo>
                  <a:pt x="6888202" y="1812015"/>
                </a:lnTo>
                <a:lnTo>
                  <a:pt x="6887876" y="1816780"/>
                </a:lnTo>
                <a:lnTo>
                  <a:pt x="6889613" y="1820244"/>
                </a:lnTo>
                <a:lnTo>
                  <a:pt x="6887876" y="1824683"/>
                </a:lnTo>
                <a:lnTo>
                  <a:pt x="6882993" y="1825441"/>
                </a:lnTo>
                <a:lnTo>
                  <a:pt x="6879195" y="1830529"/>
                </a:lnTo>
                <a:lnTo>
                  <a:pt x="6879195" y="1835727"/>
                </a:lnTo>
                <a:lnTo>
                  <a:pt x="6869971" y="1843306"/>
                </a:lnTo>
                <a:lnTo>
                  <a:pt x="6864437" y="1843955"/>
                </a:lnTo>
                <a:lnTo>
                  <a:pt x="6860205" y="1846445"/>
                </a:lnTo>
                <a:lnTo>
                  <a:pt x="6860206" y="1846446"/>
                </a:lnTo>
                <a:lnTo>
                  <a:pt x="6864438" y="1843956"/>
                </a:lnTo>
                <a:lnTo>
                  <a:pt x="6869973" y="1843307"/>
                </a:lnTo>
                <a:lnTo>
                  <a:pt x="6879196" y="1835728"/>
                </a:lnTo>
                <a:lnTo>
                  <a:pt x="6879196" y="1830530"/>
                </a:lnTo>
                <a:lnTo>
                  <a:pt x="6882995" y="1825442"/>
                </a:lnTo>
                <a:lnTo>
                  <a:pt x="6887877" y="1824684"/>
                </a:lnTo>
                <a:lnTo>
                  <a:pt x="6889614" y="1820245"/>
                </a:lnTo>
                <a:lnTo>
                  <a:pt x="6887877" y="1816781"/>
                </a:lnTo>
                <a:lnTo>
                  <a:pt x="6888203" y="1812016"/>
                </a:lnTo>
                <a:lnTo>
                  <a:pt x="6888203" y="1806820"/>
                </a:lnTo>
                <a:lnTo>
                  <a:pt x="6891350" y="1805412"/>
                </a:lnTo>
                <a:lnTo>
                  <a:pt x="6894224" y="1807826"/>
                </a:lnTo>
                <a:close/>
                <a:moveTo>
                  <a:pt x="4080701" y="1801159"/>
                </a:moveTo>
                <a:lnTo>
                  <a:pt x="4085543" y="1803680"/>
                </a:lnTo>
                <a:lnTo>
                  <a:pt x="4086411" y="1808227"/>
                </a:lnTo>
                <a:lnTo>
                  <a:pt x="4086412" y="1808226"/>
                </a:lnTo>
                <a:lnTo>
                  <a:pt x="4085543" y="1803679"/>
                </a:lnTo>
                <a:close/>
                <a:moveTo>
                  <a:pt x="4151708" y="1800008"/>
                </a:moveTo>
                <a:lnTo>
                  <a:pt x="4153474" y="1801946"/>
                </a:lnTo>
                <a:lnTo>
                  <a:pt x="4153475" y="1801947"/>
                </a:lnTo>
                <a:close/>
                <a:moveTo>
                  <a:pt x="4582657" y="1799241"/>
                </a:moveTo>
                <a:lnTo>
                  <a:pt x="4583526" y="1801839"/>
                </a:lnTo>
                <a:lnTo>
                  <a:pt x="4583526" y="1801839"/>
                </a:lnTo>
                <a:lnTo>
                  <a:pt x="4582658" y="1799241"/>
                </a:lnTo>
                <a:close/>
                <a:moveTo>
                  <a:pt x="4102579" y="1798158"/>
                </a:moveTo>
                <a:lnTo>
                  <a:pt x="4102577" y="1798159"/>
                </a:lnTo>
                <a:lnTo>
                  <a:pt x="4102471" y="1798265"/>
                </a:lnTo>
                <a:lnTo>
                  <a:pt x="4094970" y="1800617"/>
                </a:lnTo>
                <a:lnTo>
                  <a:pt x="4094908" y="1800637"/>
                </a:lnTo>
                <a:lnTo>
                  <a:pt x="4102472" y="1798265"/>
                </a:lnTo>
                <a:close/>
                <a:moveTo>
                  <a:pt x="2701847" y="1798157"/>
                </a:moveTo>
                <a:lnTo>
                  <a:pt x="2702064" y="1800430"/>
                </a:lnTo>
                <a:lnTo>
                  <a:pt x="2700544" y="1802596"/>
                </a:lnTo>
                <a:lnTo>
                  <a:pt x="2699351" y="1801188"/>
                </a:lnTo>
                <a:lnTo>
                  <a:pt x="2700002" y="1798806"/>
                </a:lnTo>
                <a:close/>
                <a:moveTo>
                  <a:pt x="6447625" y="1796967"/>
                </a:moveTo>
                <a:lnTo>
                  <a:pt x="6458369" y="1804005"/>
                </a:lnTo>
                <a:lnTo>
                  <a:pt x="6468134" y="1810067"/>
                </a:lnTo>
                <a:lnTo>
                  <a:pt x="6468134" y="1810066"/>
                </a:lnTo>
                <a:lnTo>
                  <a:pt x="6458368" y="1804003"/>
                </a:lnTo>
                <a:close/>
                <a:moveTo>
                  <a:pt x="4089232" y="1796966"/>
                </a:moveTo>
                <a:lnTo>
                  <a:pt x="4083698" y="1797399"/>
                </a:lnTo>
                <a:lnTo>
                  <a:pt x="4080551" y="1801081"/>
                </a:lnTo>
                <a:lnTo>
                  <a:pt x="4080551" y="1801081"/>
                </a:lnTo>
                <a:lnTo>
                  <a:pt x="4083699" y="1797400"/>
                </a:lnTo>
                <a:lnTo>
                  <a:pt x="4089232" y="1796967"/>
                </a:lnTo>
                <a:close/>
                <a:moveTo>
                  <a:pt x="5054812" y="1796533"/>
                </a:moveTo>
                <a:lnTo>
                  <a:pt x="5052099" y="1800323"/>
                </a:lnTo>
                <a:lnTo>
                  <a:pt x="5049496" y="1799998"/>
                </a:lnTo>
                <a:lnTo>
                  <a:pt x="5047433" y="1803030"/>
                </a:lnTo>
                <a:lnTo>
                  <a:pt x="5043418" y="1806386"/>
                </a:lnTo>
                <a:lnTo>
                  <a:pt x="5041248" y="1806061"/>
                </a:lnTo>
                <a:lnTo>
                  <a:pt x="5040380" y="1808876"/>
                </a:lnTo>
                <a:lnTo>
                  <a:pt x="5038644" y="1810717"/>
                </a:lnTo>
                <a:lnTo>
                  <a:pt x="5037016" y="1808876"/>
                </a:lnTo>
                <a:lnTo>
                  <a:pt x="5034845" y="1808660"/>
                </a:lnTo>
                <a:lnTo>
                  <a:pt x="5033326" y="1811150"/>
                </a:lnTo>
                <a:lnTo>
                  <a:pt x="5030071" y="1811042"/>
                </a:lnTo>
                <a:lnTo>
                  <a:pt x="5028878" y="1808660"/>
                </a:lnTo>
                <a:lnTo>
                  <a:pt x="5027249" y="1808768"/>
                </a:lnTo>
                <a:lnTo>
                  <a:pt x="5027033" y="1808660"/>
                </a:lnTo>
                <a:lnTo>
                  <a:pt x="5021172" y="1804870"/>
                </a:lnTo>
                <a:lnTo>
                  <a:pt x="5018183" y="1805917"/>
                </a:lnTo>
                <a:lnTo>
                  <a:pt x="5022258" y="1808552"/>
                </a:lnTo>
                <a:lnTo>
                  <a:pt x="5022258" y="1810393"/>
                </a:lnTo>
                <a:lnTo>
                  <a:pt x="5022258" y="1812883"/>
                </a:lnTo>
                <a:lnTo>
                  <a:pt x="5018677" y="1813532"/>
                </a:lnTo>
                <a:lnTo>
                  <a:pt x="5020739" y="1815373"/>
                </a:lnTo>
                <a:lnTo>
                  <a:pt x="5020739" y="1818621"/>
                </a:lnTo>
                <a:lnTo>
                  <a:pt x="5018135" y="1818621"/>
                </a:lnTo>
                <a:lnTo>
                  <a:pt x="5020414" y="1820137"/>
                </a:lnTo>
                <a:lnTo>
                  <a:pt x="5020414" y="1822952"/>
                </a:lnTo>
                <a:lnTo>
                  <a:pt x="5016615" y="1821977"/>
                </a:lnTo>
                <a:lnTo>
                  <a:pt x="5015979" y="1822176"/>
                </a:lnTo>
                <a:lnTo>
                  <a:pt x="5020088" y="1823276"/>
                </a:lnTo>
                <a:lnTo>
                  <a:pt x="5021824" y="1822735"/>
                </a:lnTo>
                <a:lnTo>
                  <a:pt x="5025622" y="1823709"/>
                </a:lnTo>
                <a:lnTo>
                  <a:pt x="5025622" y="1820895"/>
                </a:lnTo>
                <a:lnTo>
                  <a:pt x="5023343" y="1819379"/>
                </a:lnTo>
                <a:lnTo>
                  <a:pt x="5025947" y="1819379"/>
                </a:lnTo>
                <a:lnTo>
                  <a:pt x="5025947" y="1816672"/>
                </a:lnTo>
                <a:lnTo>
                  <a:pt x="5023886" y="1814831"/>
                </a:lnTo>
                <a:lnTo>
                  <a:pt x="5027467" y="1814182"/>
                </a:lnTo>
                <a:lnTo>
                  <a:pt x="5027467" y="1811691"/>
                </a:lnTo>
                <a:lnTo>
                  <a:pt x="5027467" y="1809850"/>
                </a:lnTo>
                <a:lnTo>
                  <a:pt x="5029420" y="1809850"/>
                </a:lnTo>
                <a:lnTo>
                  <a:pt x="5030614" y="1812232"/>
                </a:lnTo>
                <a:lnTo>
                  <a:pt x="5033869" y="1812232"/>
                </a:lnTo>
                <a:lnTo>
                  <a:pt x="5035388" y="1809743"/>
                </a:lnTo>
                <a:lnTo>
                  <a:pt x="5037450" y="1809743"/>
                </a:lnTo>
                <a:lnTo>
                  <a:pt x="5039078" y="1811583"/>
                </a:lnTo>
                <a:lnTo>
                  <a:pt x="5040923" y="1809743"/>
                </a:lnTo>
                <a:lnTo>
                  <a:pt x="5041683" y="1806927"/>
                </a:lnTo>
                <a:lnTo>
                  <a:pt x="5043961" y="1806927"/>
                </a:lnTo>
                <a:lnTo>
                  <a:pt x="5047976" y="1803571"/>
                </a:lnTo>
                <a:lnTo>
                  <a:pt x="5049930" y="1800540"/>
                </a:lnTo>
                <a:lnTo>
                  <a:pt x="5052534" y="1800540"/>
                </a:lnTo>
                <a:lnTo>
                  <a:pt x="5055247" y="1796750"/>
                </a:lnTo>
                <a:lnTo>
                  <a:pt x="5057342" y="1796750"/>
                </a:lnTo>
                <a:lnTo>
                  <a:pt x="5057092" y="1796533"/>
                </a:lnTo>
                <a:close/>
                <a:moveTo>
                  <a:pt x="5085306" y="1796209"/>
                </a:moveTo>
                <a:lnTo>
                  <a:pt x="5082484" y="1796317"/>
                </a:lnTo>
                <a:lnTo>
                  <a:pt x="5081131" y="1797667"/>
                </a:lnTo>
                <a:lnTo>
                  <a:pt x="5081616" y="1798266"/>
                </a:lnTo>
                <a:lnTo>
                  <a:pt x="5083136" y="1796750"/>
                </a:lnTo>
                <a:lnTo>
                  <a:pt x="5085396" y="1796750"/>
                </a:lnTo>
                <a:close/>
                <a:moveTo>
                  <a:pt x="4539467" y="1795775"/>
                </a:moveTo>
                <a:lnTo>
                  <a:pt x="4540444" y="1800647"/>
                </a:lnTo>
                <a:lnTo>
                  <a:pt x="4553249" y="1810608"/>
                </a:lnTo>
                <a:lnTo>
                  <a:pt x="4554848" y="1816589"/>
                </a:lnTo>
                <a:lnTo>
                  <a:pt x="4553250" y="1810609"/>
                </a:lnTo>
                <a:lnTo>
                  <a:pt x="4540445" y="1800648"/>
                </a:lnTo>
                <a:lnTo>
                  <a:pt x="4539468" y="1795776"/>
                </a:lnTo>
                <a:close/>
                <a:moveTo>
                  <a:pt x="4118071" y="1794842"/>
                </a:moveTo>
                <a:lnTo>
                  <a:pt x="4118315" y="1796208"/>
                </a:lnTo>
                <a:lnTo>
                  <a:pt x="4116579" y="1799024"/>
                </a:lnTo>
                <a:lnTo>
                  <a:pt x="4110719" y="1796967"/>
                </a:lnTo>
                <a:lnTo>
                  <a:pt x="4110719" y="1796967"/>
                </a:lnTo>
                <a:lnTo>
                  <a:pt x="4116579" y="1799024"/>
                </a:lnTo>
                <a:lnTo>
                  <a:pt x="4118316" y="1796208"/>
                </a:lnTo>
                <a:close/>
                <a:moveTo>
                  <a:pt x="4129710" y="1794801"/>
                </a:moveTo>
                <a:lnTo>
                  <a:pt x="4127213" y="1796967"/>
                </a:lnTo>
                <a:lnTo>
                  <a:pt x="4129710" y="1794801"/>
                </a:lnTo>
                <a:lnTo>
                  <a:pt x="4132965" y="1794910"/>
                </a:lnTo>
                <a:lnTo>
                  <a:pt x="4139476" y="1799781"/>
                </a:lnTo>
                <a:lnTo>
                  <a:pt x="4132965" y="1794909"/>
                </a:lnTo>
                <a:close/>
                <a:moveTo>
                  <a:pt x="4200354" y="1794585"/>
                </a:moveTo>
                <a:lnTo>
                  <a:pt x="4200353" y="1794585"/>
                </a:lnTo>
                <a:lnTo>
                  <a:pt x="4205888" y="1796208"/>
                </a:lnTo>
                <a:close/>
                <a:moveTo>
                  <a:pt x="5094205" y="1794149"/>
                </a:moveTo>
                <a:lnTo>
                  <a:pt x="5094095" y="1794476"/>
                </a:lnTo>
                <a:lnTo>
                  <a:pt x="5091491" y="1795884"/>
                </a:lnTo>
                <a:lnTo>
                  <a:pt x="5091382" y="1798158"/>
                </a:lnTo>
                <a:lnTo>
                  <a:pt x="5088995" y="1799456"/>
                </a:lnTo>
                <a:lnTo>
                  <a:pt x="5085957" y="1798284"/>
                </a:lnTo>
                <a:lnTo>
                  <a:pt x="5085957" y="1798699"/>
                </a:lnTo>
                <a:lnTo>
                  <a:pt x="5089321" y="1799998"/>
                </a:lnTo>
                <a:lnTo>
                  <a:pt x="5091600" y="1798699"/>
                </a:lnTo>
                <a:lnTo>
                  <a:pt x="5091600" y="1796317"/>
                </a:lnTo>
                <a:lnTo>
                  <a:pt x="5094205" y="1794909"/>
                </a:lnTo>
                <a:close/>
                <a:moveTo>
                  <a:pt x="2385847" y="1793285"/>
                </a:moveTo>
                <a:lnTo>
                  <a:pt x="2385846" y="1793285"/>
                </a:lnTo>
                <a:lnTo>
                  <a:pt x="2385087" y="1798591"/>
                </a:lnTo>
                <a:lnTo>
                  <a:pt x="2384066" y="1801219"/>
                </a:lnTo>
                <a:lnTo>
                  <a:pt x="2385087" y="1798591"/>
                </a:lnTo>
                <a:close/>
                <a:moveTo>
                  <a:pt x="5972369" y="1793277"/>
                </a:moveTo>
                <a:lnTo>
                  <a:pt x="5974926" y="1797182"/>
                </a:lnTo>
                <a:lnTo>
                  <a:pt x="5974927" y="1797183"/>
                </a:lnTo>
                <a:close/>
                <a:moveTo>
                  <a:pt x="5097785" y="1791878"/>
                </a:moveTo>
                <a:lnTo>
                  <a:pt x="5094639" y="1792852"/>
                </a:lnTo>
                <a:lnTo>
                  <a:pt x="5094523" y="1793198"/>
                </a:lnTo>
                <a:lnTo>
                  <a:pt x="5097351" y="1792419"/>
                </a:lnTo>
                <a:lnTo>
                  <a:pt x="5100390" y="1793069"/>
                </a:lnTo>
                <a:lnTo>
                  <a:pt x="5108637" y="1793069"/>
                </a:lnTo>
                <a:lnTo>
                  <a:pt x="5109288" y="1795126"/>
                </a:lnTo>
                <a:lnTo>
                  <a:pt x="5111133" y="1798266"/>
                </a:lnTo>
                <a:lnTo>
                  <a:pt x="5114280" y="1798915"/>
                </a:lnTo>
                <a:lnTo>
                  <a:pt x="5114280" y="1800322"/>
                </a:lnTo>
                <a:lnTo>
                  <a:pt x="5112327" y="1803354"/>
                </a:lnTo>
                <a:lnTo>
                  <a:pt x="5113412" y="1806062"/>
                </a:lnTo>
                <a:lnTo>
                  <a:pt x="5117101" y="1809743"/>
                </a:lnTo>
                <a:lnTo>
                  <a:pt x="5117101" y="1813315"/>
                </a:lnTo>
                <a:lnTo>
                  <a:pt x="5114388" y="1818188"/>
                </a:lnTo>
                <a:lnTo>
                  <a:pt x="5115148" y="1820462"/>
                </a:lnTo>
                <a:lnTo>
                  <a:pt x="5116668" y="1822519"/>
                </a:lnTo>
                <a:lnTo>
                  <a:pt x="5118186" y="1823926"/>
                </a:lnTo>
                <a:lnTo>
                  <a:pt x="5116342" y="1826199"/>
                </a:lnTo>
                <a:lnTo>
                  <a:pt x="5113195" y="1827607"/>
                </a:lnTo>
                <a:lnTo>
                  <a:pt x="5112435" y="1832913"/>
                </a:lnTo>
                <a:lnTo>
                  <a:pt x="5115583" y="1839192"/>
                </a:lnTo>
                <a:lnTo>
                  <a:pt x="5120140" y="1840275"/>
                </a:lnTo>
                <a:lnTo>
                  <a:pt x="5123612" y="1841466"/>
                </a:lnTo>
                <a:lnTo>
                  <a:pt x="5122853" y="1843631"/>
                </a:lnTo>
                <a:lnTo>
                  <a:pt x="5117862" y="1846121"/>
                </a:lnTo>
                <a:lnTo>
                  <a:pt x="5118078" y="1846121"/>
                </a:lnTo>
                <a:lnTo>
                  <a:pt x="5123070" y="1843631"/>
                </a:lnTo>
                <a:lnTo>
                  <a:pt x="5123830" y="1841466"/>
                </a:lnTo>
                <a:lnTo>
                  <a:pt x="5120465" y="1840275"/>
                </a:lnTo>
                <a:lnTo>
                  <a:pt x="5115907" y="1839192"/>
                </a:lnTo>
                <a:lnTo>
                  <a:pt x="5112760" y="1832912"/>
                </a:lnTo>
                <a:lnTo>
                  <a:pt x="5113520" y="1827607"/>
                </a:lnTo>
                <a:lnTo>
                  <a:pt x="5116667" y="1826200"/>
                </a:lnTo>
                <a:lnTo>
                  <a:pt x="5118404" y="1823926"/>
                </a:lnTo>
                <a:lnTo>
                  <a:pt x="5116993" y="1822518"/>
                </a:lnTo>
                <a:lnTo>
                  <a:pt x="5115365" y="1820353"/>
                </a:lnTo>
                <a:lnTo>
                  <a:pt x="5114605" y="1818188"/>
                </a:lnTo>
                <a:lnTo>
                  <a:pt x="5117318" y="1813207"/>
                </a:lnTo>
                <a:lnTo>
                  <a:pt x="5117752" y="1809742"/>
                </a:lnTo>
                <a:lnTo>
                  <a:pt x="5114062" y="1806061"/>
                </a:lnTo>
                <a:lnTo>
                  <a:pt x="5112977" y="1803354"/>
                </a:lnTo>
                <a:lnTo>
                  <a:pt x="5114931" y="1800323"/>
                </a:lnTo>
                <a:lnTo>
                  <a:pt x="5114713" y="1798915"/>
                </a:lnTo>
                <a:lnTo>
                  <a:pt x="5111567" y="1798266"/>
                </a:lnTo>
                <a:lnTo>
                  <a:pt x="5109722" y="1795017"/>
                </a:lnTo>
                <a:lnTo>
                  <a:pt x="5109071" y="1792960"/>
                </a:lnTo>
                <a:lnTo>
                  <a:pt x="5100823" y="1792527"/>
                </a:lnTo>
                <a:close/>
                <a:moveTo>
                  <a:pt x="4122656" y="1791553"/>
                </a:moveTo>
                <a:lnTo>
                  <a:pt x="4117773" y="1793177"/>
                </a:lnTo>
                <a:lnTo>
                  <a:pt x="4117773" y="1793177"/>
                </a:lnTo>
                <a:close/>
                <a:moveTo>
                  <a:pt x="4097080" y="1791512"/>
                </a:moveTo>
                <a:lnTo>
                  <a:pt x="4100409" y="1793610"/>
                </a:lnTo>
                <a:lnTo>
                  <a:pt x="4102065" y="1797078"/>
                </a:lnTo>
                <a:lnTo>
                  <a:pt x="4100410" y="1793610"/>
                </a:lnTo>
                <a:close/>
                <a:moveTo>
                  <a:pt x="4577883" y="1790795"/>
                </a:moveTo>
                <a:lnTo>
                  <a:pt x="4577340" y="1796533"/>
                </a:lnTo>
                <a:lnTo>
                  <a:pt x="4577341" y="1796534"/>
                </a:lnTo>
                <a:lnTo>
                  <a:pt x="4577883" y="1790796"/>
                </a:lnTo>
                <a:close/>
                <a:moveTo>
                  <a:pt x="5070764" y="1790254"/>
                </a:moveTo>
                <a:lnTo>
                  <a:pt x="5064471" y="1790362"/>
                </a:lnTo>
                <a:lnTo>
                  <a:pt x="5061107" y="1793719"/>
                </a:lnTo>
                <a:lnTo>
                  <a:pt x="5060022" y="1797183"/>
                </a:lnTo>
                <a:lnTo>
                  <a:pt x="5058772" y="1797911"/>
                </a:lnTo>
                <a:lnTo>
                  <a:pt x="5059153" y="1798266"/>
                </a:lnTo>
                <a:lnTo>
                  <a:pt x="5060456" y="1797508"/>
                </a:lnTo>
                <a:lnTo>
                  <a:pt x="5061541" y="1794044"/>
                </a:lnTo>
                <a:lnTo>
                  <a:pt x="5064905" y="1790687"/>
                </a:lnTo>
                <a:lnTo>
                  <a:pt x="5071090" y="1790687"/>
                </a:lnTo>
                <a:lnTo>
                  <a:pt x="5073369" y="1792203"/>
                </a:lnTo>
                <a:lnTo>
                  <a:pt x="5076408" y="1792203"/>
                </a:lnTo>
                <a:lnTo>
                  <a:pt x="5078209" y="1790723"/>
                </a:lnTo>
                <a:lnTo>
                  <a:pt x="5077818" y="1790254"/>
                </a:lnTo>
                <a:lnTo>
                  <a:pt x="5075974" y="1791878"/>
                </a:lnTo>
                <a:lnTo>
                  <a:pt x="5072935" y="1791878"/>
                </a:lnTo>
                <a:close/>
                <a:moveTo>
                  <a:pt x="4212399" y="1788521"/>
                </a:moveTo>
                <a:lnTo>
                  <a:pt x="4212399" y="1788522"/>
                </a:lnTo>
                <a:lnTo>
                  <a:pt x="4218258" y="1791553"/>
                </a:lnTo>
                <a:close/>
                <a:moveTo>
                  <a:pt x="4307676" y="1786356"/>
                </a:moveTo>
                <a:lnTo>
                  <a:pt x="4308327" y="1791120"/>
                </a:lnTo>
                <a:lnTo>
                  <a:pt x="4307459" y="1795992"/>
                </a:lnTo>
                <a:lnTo>
                  <a:pt x="4297150" y="1795775"/>
                </a:lnTo>
                <a:lnTo>
                  <a:pt x="4296065" y="1797832"/>
                </a:lnTo>
                <a:lnTo>
                  <a:pt x="4300405" y="1802812"/>
                </a:lnTo>
                <a:lnTo>
                  <a:pt x="4298344" y="1808334"/>
                </a:lnTo>
                <a:lnTo>
                  <a:pt x="4297801" y="1812882"/>
                </a:lnTo>
                <a:lnTo>
                  <a:pt x="4300405" y="1817321"/>
                </a:lnTo>
                <a:lnTo>
                  <a:pt x="4298226" y="1820071"/>
                </a:lnTo>
                <a:lnTo>
                  <a:pt x="4300406" y="1817321"/>
                </a:lnTo>
                <a:lnTo>
                  <a:pt x="4297801" y="1812882"/>
                </a:lnTo>
                <a:lnTo>
                  <a:pt x="4298344" y="1808335"/>
                </a:lnTo>
                <a:lnTo>
                  <a:pt x="4300406" y="1802813"/>
                </a:lnTo>
                <a:lnTo>
                  <a:pt x="4296065" y="1797833"/>
                </a:lnTo>
                <a:lnTo>
                  <a:pt x="4297150" y="1795776"/>
                </a:lnTo>
                <a:lnTo>
                  <a:pt x="4307459" y="1795992"/>
                </a:lnTo>
                <a:lnTo>
                  <a:pt x="4308327" y="1791119"/>
                </a:lnTo>
                <a:close/>
                <a:moveTo>
                  <a:pt x="2604181" y="1785814"/>
                </a:moveTo>
                <a:lnTo>
                  <a:pt x="2604616" y="1787763"/>
                </a:lnTo>
                <a:lnTo>
                  <a:pt x="2602445" y="1791119"/>
                </a:lnTo>
                <a:lnTo>
                  <a:pt x="2606569" y="1791552"/>
                </a:lnTo>
                <a:lnTo>
                  <a:pt x="2606678" y="1794692"/>
                </a:lnTo>
                <a:lnTo>
                  <a:pt x="2601469" y="1803571"/>
                </a:lnTo>
                <a:lnTo>
                  <a:pt x="2598322" y="1806494"/>
                </a:lnTo>
                <a:lnTo>
                  <a:pt x="2603205" y="1808226"/>
                </a:lnTo>
                <a:lnTo>
                  <a:pt x="2605158" y="1811691"/>
                </a:lnTo>
                <a:lnTo>
                  <a:pt x="2602880" y="1814830"/>
                </a:lnTo>
                <a:lnTo>
                  <a:pt x="2604507" y="1816779"/>
                </a:lnTo>
                <a:lnTo>
                  <a:pt x="2607437" y="1814830"/>
                </a:lnTo>
                <a:lnTo>
                  <a:pt x="2607437" y="1811366"/>
                </a:lnTo>
                <a:lnTo>
                  <a:pt x="2610259" y="1810608"/>
                </a:lnTo>
                <a:lnTo>
                  <a:pt x="2614924" y="1812232"/>
                </a:lnTo>
                <a:lnTo>
                  <a:pt x="2615792" y="1817537"/>
                </a:lnTo>
                <a:lnTo>
                  <a:pt x="2617095" y="1819595"/>
                </a:lnTo>
                <a:lnTo>
                  <a:pt x="2612537" y="1821002"/>
                </a:lnTo>
                <a:lnTo>
                  <a:pt x="2610150" y="1822951"/>
                </a:lnTo>
                <a:lnTo>
                  <a:pt x="2603531" y="1823817"/>
                </a:lnTo>
                <a:lnTo>
                  <a:pt x="2596152" y="1829339"/>
                </a:lnTo>
                <a:lnTo>
                  <a:pt x="2591919" y="1829339"/>
                </a:lnTo>
                <a:lnTo>
                  <a:pt x="2590184" y="1826740"/>
                </a:lnTo>
                <a:lnTo>
                  <a:pt x="2588447" y="1827498"/>
                </a:lnTo>
                <a:lnTo>
                  <a:pt x="2587471" y="1831938"/>
                </a:lnTo>
                <a:lnTo>
                  <a:pt x="2586168" y="1832912"/>
                </a:lnTo>
                <a:lnTo>
                  <a:pt x="2584432" y="1829555"/>
                </a:lnTo>
                <a:lnTo>
                  <a:pt x="2577053" y="1826091"/>
                </a:lnTo>
                <a:lnTo>
                  <a:pt x="2576619" y="1819595"/>
                </a:lnTo>
                <a:lnTo>
                  <a:pt x="2574883" y="1816563"/>
                </a:lnTo>
                <a:lnTo>
                  <a:pt x="2576728" y="1813098"/>
                </a:lnTo>
                <a:lnTo>
                  <a:pt x="2583347" y="1809309"/>
                </a:lnTo>
                <a:lnTo>
                  <a:pt x="2588447" y="1801838"/>
                </a:lnTo>
                <a:lnTo>
                  <a:pt x="2590617" y="1799565"/>
                </a:lnTo>
                <a:lnTo>
                  <a:pt x="2593005" y="1794584"/>
                </a:lnTo>
                <a:lnTo>
                  <a:pt x="2598539" y="1790145"/>
                </a:lnTo>
                <a:lnTo>
                  <a:pt x="2600601" y="1786463"/>
                </a:lnTo>
                <a:close/>
                <a:moveTo>
                  <a:pt x="4433106" y="1783068"/>
                </a:moveTo>
                <a:lnTo>
                  <a:pt x="4433121" y="1783108"/>
                </a:lnTo>
                <a:lnTo>
                  <a:pt x="4433121" y="1783107"/>
                </a:lnTo>
                <a:close/>
                <a:moveTo>
                  <a:pt x="2696096" y="1782566"/>
                </a:moveTo>
                <a:lnTo>
                  <a:pt x="2695770" y="1784298"/>
                </a:lnTo>
                <a:lnTo>
                  <a:pt x="2697399" y="1786139"/>
                </a:lnTo>
                <a:lnTo>
                  <a:pt x="2697182" y="1788954"/>
                </a:lnTo>
                <a:lnTo>
                  <a:pt x="2695553" y="1790361"/>
                </a:lnTo>
                <a:lnTo>
                  <a:pt x="2695662" y="1792527"/>
                </a:lnTo>
                <a:lnTo>
                  <a:pt x="2697073" y="1793826"/>
                </a:lnTo>
                <a:lnTo>
                  <a:pt x="2697941" y="1795775"/>
                </a:lnTo>
                <a:lnTo>
                  <a:pt x="2696422" y="1798915"/>
                </a:lnTo>
                <a:lnTo>
                  <a:pt x="2695228" y="1799023"/>
                </a:lnTo>
                <a:lnTo>
                  <a:pt x="2694034" y="1796316"/>
                </a:lnTo>
                <a:lnTo>
                  <a:pt x="2695119" y="1793068"/>
                </a:lnTo>
                <a:lnTo>
                  <a:pt x="2694359" y="1789387"/>
                </a:lnTo>
                <a:lnTo>
                  <a:pt x="2692949" y="1786247"/>
                </a:lnTo>
                <a:lnTo>
                  <a:pt x="2694468" y="1784190"/>
                </a:lnTo>
                <a:close/>
                <a:moveTo>
                  <a:pt x="2526375" y="1780726"/>
                </a:moveTo>
                <a:lnTo>
                  <a:pt x="2527352" y="1784840"/>
                </a:lnTo>
                <a:lnTo>
                  <a:pt x="2524314" y="1787872"/>
                </a:lnTo>
                <a:lnTo>
                  <a:pt x="2524205" y="1789604"/>
                </a:lnTo>
                <a:lnTo>
                  <a:pt x="2526050" y="1791986"/>
                </a:lnTo>
                <a:lnTo>
                  <a:pt x="2526158" y="1796101"/>
                </a:lnTo>
                <a:lnTo>
                  <a:pt x="2529848" y="1798158"/>
                </a:lnTo>
                <a:lnTo>
                  <a:pt x="2530500" y="1795126"/>
                </a:lnTo>
                <a:lnTo>
                  <a:pt x="2534080" y="1795018"/>
                </a:lnTo>
                <a:lnTo>
                  <a:pt x="2540157" y="1799781"/>
                </a:lnTo>
                <a:lnTo>
                  <a:pt x="2542762" y="1799781"/>
                </a:lnTo>
                <a:lnTo>
                  <a:pt x="2544932" y="1801947"/>
                </a:lnTo>
                <a:lnTo>
                  <a:pt x="2551878" y="1801730"/>
                </a:lnTo>
                <a:lnTo>
                  <a:pt x="2553722" y="1799565"/>
                </a:lnTo>
                <a:lnTo>
                  <a:pt x="2557846" y="1800864"/>
                </a:lnTo>
                <a:lnTo>
                  <a:pt x="2564682" y="1801081"/>
                </a:lnTo>
                <a:lnTo>
                  <a:pt x="2562620" y="1802597"/>
                </a:lnTo>
                <a:lnTo>
                  <a:pt x="2557520" y="1803571"/>
                </a:lnTo>
                <a:lnTo>
                  <a:pt x="2556001" y="1808010"/>
                </a:lnTo>
                <a:lnTo>
                  <a:pt x="2556761" y="1810934"/>
                </a:lnTo>
                <a:lnTo>
                  <a:pt x="2555024" y="1815589"/>
                </a:lnTo>
                <a:lnTo>
                  <a:pt x="2551551" y="1816889"/>
                </a:lnTo>
                <a:lnTo>
                  <a:pt x="2545908" y="1814290"/>
                </a:lnTo>
                <a:lnTo>
                  <a:pt x="2544607" y="1809418"/>
                </a:lnTo>
                <a:lnTo>
                  <a:pt x="2533863" y="1808118"/>
                </a:lnTo>
                <a:lnTo>
                  <a:pt x="2530825" y="1806603"/>
                </a:lnTo>
                <a:lnTo>
                  <a:pt x="2530391" y="1803896"/>
                </a:lnTo>
                <a:lnTo>
                  <a:pt x="2528220" y="1801514"/>
                </a:lnTo>
                <a:lnTo>
                  <a:pt x="2526375" y="1801406"/>
                </a:lnTo>
                <a:lnTo>
                  <a:pt x="2524639" y="1798483"/>
                </a:lnTo>
                <a:lnTo>
                  <a:pt x="2521817" y="1797508"/>
                </a:lnTo>
                <a:lnTo>
                  <a:pt x="2521817" y="1793935"/>
                </a:lnTo>
                <a:lnTo>
                  <a:pt x="2519647" y="1791877"/>
                </a:lnTo>
                <a:lnTo>
                  <a:pt x="2517151" y="1792419"/>
                </a:lnTo>
                <a:lnTo>
                  <a:pt x="2515741" y="1790687"/>
                </a:lnTo>
                <a:lnTo>
                  <a:pt x="2517586" y="1786897"/>
                </a:lnTo>
                <a:close/>
                <a:moveTo>
                  <a:pt x="4515214" y="1778546"/>
                </a:moveTo>
                <a:lnTo>
                  <a:pt x="4512783" y="1778967"/>
                </a:lnTo>
                <a:lnTo>
                  <a:pt x="4512758" y="1778972"/>
                </a:lnTo>
                <a:close/>
                <a:moveTo>
                  <a:pt x="4430843" y="1777261"/>
                </a:moveTo>
                <a:lnTo>
                  <a:pt x="4430852" y="1777285"/>
                </a:lnTo>
                <a:lnTo>
                  <a:pt x="4430846" y="1777270"/>
                </a:lnTo>
                <a:close/>
                <a:moveTo>
                  <a:pt x="4367578" y="1776719"/>
                </a:moveTo>
                <a:lnTo>
                  <a:pt x="4359873" y="1783215"/>
                </a:lnTo>
                <a:lnTo>
                  <a:pt x="4353145" y="1785489"/>
                </a:lnTo>
                <a:lnTo>
                  <a:pt x="4353145" y="1785490"/>
                </a:lnTo>
                <a:lnTo>
                  <a:pt x="4359872" y="1783216"/>
                </a:lnTo>
                <a:lnTo>
                  <a:pt x="4367577" y="1776720"/>
                </a:lnTo>
                <a:lnTo>
                  <a:pt x="4374306" y="1783757"/>
                </a:lnTo>
                <a:lnTo>
                  <a:pt x="4374306" y="1783756"/>
                </a:lnTo>
                <a:close/>
                <a:moveTo>
                  <a:pt x="4567492" y="1776571"/>
                </a:moveTo>
                <a:lnTo>
                  <a:pt x="4570287" y="1779319"/>
                </a:lnTo>
                <a:lnTo>
                  <a:pt x="4571485" y="1779927"/>
                </a:lnTo>
                <a:lnTo>
                  <a:pt x="4570287" y="1779319"/>
                </a:lnTo>
                <a:close/>
                <a:moveTo>
                  <a:pt x="4378331" y="1776538"/>
                </a:moveTo>
                <a:lnTo>
                  <a:pt x="4374849" y="1779317"/>
                </a:lnTo>
                <a:lnTo>
                  <a:pt x="4374849" y="1779318"/>
                </a:lnTo>
                <a:close/>
                <a:moveTo>
                  <a:pt x="4526989" y="1776503"/>
                </a:moveTo>
                <a:lnTo>
                  <a:pt x="4526988" y="1776503"/>
                </a:lnTo>
                <a:lnTo>
                  <a:pt x="4529701" y="1787221"/>
                </a:lnTo>
                <a:lnTo>
                  <a:pt x="4529702" y="1787222"/>
                </a:lnTo>
                <a:close/>
                <a:moveTo>
                  <a:pt x="4429351" y="1776260"/>
                </a:moveTo>
                <a:lnTo>
                  <a:pt x="4430843" y="1777261"/>
                </a:lnTo>
                <a:lnTo>
                  <a:pt x="4430846" y="1777270"/>
                </a:lnTo>
                <a:lnTo>
                  <a:pt x="4430869" y="1777329"/>
                </a:lnTo>
                <a:lnTo>
                  <a:pt x="4430843" y="1777261"/>
                </a:lnTo>
                <a:lnTo>
                  <a:pt x="4430843" y="1777261"/>
                </a:lnTo>
                <a:close/>
                <a:moveTo>
                  <a:pt x="4098348" y="1775854"/>
                </a:moveTo>
                <a:lnTo>
                  <a:pt x="4098348" y="1775854"/>
                </a:lnTo>
                <a:lnTo>
                  <a:pt x="4095852" y="1784082"/>
                </a:lnTo>
                <a:lnTo>
                  <a:pt x="4096276" y="1790847"/>
                </a:lnTo>
                <a:lnTo>
                  <a:pt x="4095853" y="1784082"/>
                </a:lnTo>
                <a:close/>
                <a:moveTo>
                  <a:pt x="4516680" y="1772281"/>
                </a:moveTo>
                <a:lnTo>
                  <a:pt x="4516680" y="1772281"/>
                </a:lnTo>
                <a:lnTo>
                  <a:pt x="4517374" y="1776958"/>
                </a:lnTo>
                <a:close/>
                <a:moveTo>
                  <a:pt x="4391235" y="1768815"/>
                </a:moveTo>
                <a:lnTo>
                  <a:pt x="4383313" y="1769465"/>
                </a:lnTo>
                <a:lnTo>
                  <a:pt x="4381993" y="1771510"/>
                </a:lnTo>
                <a:lnTo>
                  <a:pt x="4383312" y="1769466"/>
                </a:lnTo>
                <a:lnTo>
                  <a:pt x="4391234" y="1768816"/>
                </a:lnTo>
                <a:lnTo>
                  <a:pt x="4396769" y="1770332"/>
                </a:lnTo>
                <a:lnTo>
                  <a:pt x="4406426" y="1769682"/>
                </a:lnTo>
                <a:lnTo>
                  <a:pt x="4413806" y="1771415"/>
                </a:lnTo>
                <a:lnTo>
                  <a:pt x="4413871" y="1771372"/>
                </a:lnTo>
                <a:lnTo>
                  <a:pt x="4413806" y="1771414"/>
                </a:lnTo>
                <a:lnTo>
                  <a:pt x="4406427" y="1769681"/>
                </a:lnTo>
                <a:lnTo>
                  <a:pt x="4396769" y="1770331"/>
                </a:lnTo>
                <a:close/>
                <a:moveTo>
                  <a:pt x="2580308" y="1768383"/>
                </a:moveTo>
                <a:lnTo>
                  <a:pt x="2581176" y="1768491"/>
                </a:lnTo>
                <a:lnTo>
                  <a:pt x="2580850" y="1769682"/>
                </a:lnTo>
                <a:lnTo>
                  <a:pt x="2580742" y="1769032"/>
                </a:lnTo>
                <a:lnTo>
                  <a:pt x="2577161" y="1771956"/>
                </a:lnTo>
                <a:lnTo>
                  <a:pt x="2576076" y="1774879"/>
                </a:lnTo>
                <a:lnTo>
                  <a:pt x="2574449" y="1775746"/>
                </a:lnTo>
                <a:lnTo>
                  <a:pt x="2575317" y="1777478"/>
                </a:lnTo>
                <a:lnTo>
                  <a:pt x="2577270" y="1777695"/>
                </a:lnTo>
                <a:lnTo>
                  <a:pt x="2576402" y="1778778"/>
                </a:lnTo>
                <a:lnTo>
                  <a:pt x="2574882" y="1778128"/>
                </a:lnTo>
                <a:lnTo>
                  <a:pt x="2573472" y="1775638"/>
                </a:lnTo>
                <a:lnTo>
                  <a:pt x="2576185" y="1771740"/>
                </a:lnTo>
                <a:close/>
                <a:moveTo>
                  <a:pt x="4517195" y="1767422"/>
                </a:moveTo>
                <a:lnTo>
                  <a:pt x="4517548" y="1769466"/>
                </a:lnTo>
                <a:lnTo>
                  <a:pt x="4517548" y="1769466"/>
                </a:lnTo>
                <a:close/>
                <a:moveTo>
                  <a:pt x="2406140" y="1767409"/>
                </a:moveTo>
                <a:lnTo>
                  <a:pt x="2406139" y="1767409"/>
                </a:lnTo>
                <a:lnTo>
                  <a:pt x="2404294" y="1771198"/>
                </a:lnTo>
                <a:lnTo>
                  <a:pt x="2395830" y="1780618"/>
                </a:lnTo>
                <a:lnTo>
                  <a:pt x="2391598" y="1786032"/>
                </a:lnTo>
                <a:lnTo>
                  <a:pt x="2391923" y="1790038"/>
                </a:lnTo>
                <a:lnTo>
                  <a:pt x="2389004" y="1791598"/>
                </a:lnTo>
                <a:lnTo>
                  <a:pt x="2391924" y="1790037"/>
                </a:lnTo>
                <a:lnTo>
                  <a:pt x="2391598" y="1786031"/>
                </a:lnTo>
                <a:lnTo>
                  <a:pt x="2395831" y="1780618"/>
                </a:lnTo>
                <a:lnTo>
                  <a:pt x="2404295" y="1771198"/>
                </a:lnTo>
                <a:close/>
                <a:moveTo>
                  <a:pt x="5783267" y="1767374"/>
                </a:moveTo>
                <a:lnTo>
                  <a:pt x="5782959" y="1772389"/>
                </a:lnTo>
                <a:lnTo>
                  <a:pt x="5780680" y="1786140"/>
                </a:lnTo>
                <a:lnTo>
                  <a:pt x="5780680" y="1796858"/>
                </a:lnTo>
                <a:lnTo>
                  <a:pt x="5779487" y="1800431"/>
                </a:lnTo>
                <a:lnTo>
                  <a:pt x="5782200" y="1802488"/>
                </a:lnTo>
                <a:lnTo>
                  <a:pt x="5787734" y="1804870"/>
                </a:lnTo>
                <a:lnTo>
                  <a:pt x="5787734" y="1804870"/>
                </a:lnTo>
                <a:lnTo>
                  <a:pt x="5782201" y="1802487"/>
                </a:lnTo>
                <a:lnTo>
                  <a:pt x="5779488" y="1800430"/>
                </a:lnTo>
                <a:lnTo>
                  <a:pt x="5780681" y="1796858"/>
                </a:lnTo>
                <a:lnTo>
                  <a:pt x="5780681" y="1786138"/>
                </a:lnTo>
                <a:lnTo>
                  <a:pt x="5782960" y="1772389"/>
                </a:lnTo>
                <a:close/>
                <a:moveTo>
                  <a:pt x="2707815" y="1766759"/>
                </a:moveTo>
                <a:lnTo>
                  <a:pt x="2708900" y="1768383"/>
                </a:lnTo>
                <a:lnTo>
                  <a:pt x="2707924" y="1769466"/>
                </a:lnTo>
                <a:lnTo>
                  <a:pt x="2706622" y="1769033"/>
                </a:lnTo>
                <a:close/>
                <a:moveTo>
                  <a:pt x="2431423" y="1766543"/>
                </a:moveTo>
                <a:lnTo>
                  <a:pt x="2429362" y="1768491"/>
                </a:lnTo>
                <a:lnTo>
                  <a:pt x="2431423" y="1766543"/>
                </a:lnTo>
                <a:close/>
                <a:moveTo>
                  <a:pt x="4979610" y="1766434"/>
                </a:moveTo>
                <a:lnTo>
                  <a:pt x="4979310" y="1767017"/>
                </a:lnTo>
                <a:lnTo>
                  <a:pt x="4990029" y="1770008"/>
                </a:lnTo>
                <a:lnTo>
                  <a:pt x="5000881" y="1780835"/>
                </a:lnTo>
                <a:lnTo>
                  <a:pt x="5010538" y="1796967"/>
                </a:lnTo>
                <a:lnTo>
                  <a:pt x="5001423" y="1796967"/>
                </a:lnTo>
                <a:lnTo>
                  <a:pt x="5001423" y="1800974"/>
                </a:lnTo>
                <a:lnTo>
                  <a:pt x="5010213" y="1806820"/>
                </a:lnTo>
                <a:lnTo>
                  <a:pt x="5013201" y="1805826"/>
                </a:lnTo>
                <a:lnTo>
                  <a:pt x="5006197" y="1801081"/>
                </a:lnTo>
                <a:lnTo>
                  <a:pt x="5006740" y="1797183"/>
                </a:lnTo>
                <a:lnTo>
                  <a:pt x="5015855" y="1797183"/>
                </a:lnTo>
                <a:lnTo>
                  <a:pt x="5006197" y="1781050"/>
                </a:lnTo>
                <a:lnTo>
                  <a:pt x="4995129" y="1770657"/>
                </a:lnTo>
                <a:close/>
                <a:moveTo>
                  <a:pt x="6910991" y="1766414"/>
                </a:moveTo>
                <a:lnTo>
                  <a:pt x="6910990" y="1766434"/>
                </a:lnTo>
                <a:lnTo>
                  <a:pt x="6910991" y="1766444"/>
                </a:lnTo>
                <a:close/>
                <a:moveTo>
                  <a:pt x="4306243" y="1765841"/>
                </a:moveTo>
                <a:lnTo>
                  <a:pt x="4305831" y="1773038"/>
                </a:lnTo>
                <a:lnTo>
                  <a:pt x="4307242" y="1783108"/>
                </a:lnTo>
                <a:lnTo>
                  <a:pt x="4307242" y="1783108"/>
                </a:lnTo>
                <a:lnTo>
                  <a:pt x="4323194" y="1792311"/>
                </a:lnTo>
                <a:lnTo>
                  <a:pt x="4331658" y="1793935"/>
                </a:lnTo>
                <a:lnTo>
                  <a:pt x="4339689" y="1791119"/>
                </a:lnTo>
                <a:lnTo>
                  <a:pt x="4352493" y="1789929"/>
                </a:lnTo>
                <a:lnTo>
                  <a:pt x="4339689" y="1791119"/>
                </a:lnTo>
                <a:lnTo>
                  <a:pt x="4331659" y="1793934"/>
                </a:lnTo>
                <a:lnTo>
                  <a:pt x="4323194" y="1792310"/>
                </a:lnTo>
                <a:lnTo>
                  <a:pt x="4307242" y="1783107"/>
                </a:lnTo>
                <a:lnTo>
                  <a:pt x="4305832" y="1773038"/>
                </a:lnTo>
                <a:close/>
                <a:moveTo>
                  <a:pt x="4103086" y="1765013"/>
                </a:moveTo>
                <a:lnTo>
                  <a:pt x="4101603" y="1769141"/>
                </a:lnTo>
                <a:lnTo>
                  <a:pt x="4101603" y="1772823"/>
                </a:lnTo>
                <a:lnTo>
                  <a:pt x="4101604" y="1772822"/>
                </a:lnTo>
                <a:lnTo>
                  <a:pt x="4101604" y="1769141"/>
                </a:lnTo>
                <a:close/>
                <a:moveTo>
                  <a:pt x="4520639" y="1764174"/>
                </a:moveTo>
                <a:lnTo>
                  <a:pt x="4520260" y="1764702"/>
                </a:lnTo>
                <a:lnTo>
                  <a:pt x="4520261" y="1764702"/>
                </a:lnTo>
                <a:close/>
                <a:moveTo>
                  <a:pt x="4318745" y="1761778"/>
                </a:moveTo>
                <a:lnTo>
                  <a:pt x="4313211" y="1761886"/>
                </a:lnTo>
                <a:lnTo>
                  <a:pt x="4311677" y="1762926"/>
                </a:lnTo>
                <a:lnTo>
                  <a:pt x="4313211" y="1761886"/>
                </a:lnTo>
                <a:lnTo>
                  <a:pt x="4318745" y="1761778"/>
                </a:lnTo>
                <a:close/>
                <a:moveTo>
                  <a:pt x="4534585" y="1761563"/>
                </a:moveTo>
                <a:lnTo>
                  <a:pt x="4534585" y="1761563"/>
                </a:lnTo>
                <a:lnTo>
                  <a:pt x="4534851" y="1761986"/>
                </a:lnTo>
                <a:close/>
                <a:moveTo>
                  <a:pt x="4234753" y="1761237"/>
                </a:moveTo>
                <a:lnTo>
                  <a:pt x="4246906" y="1768166"/>
                </a:lnTo>
                <a:lnTo>
                  <a:pt x="4246907" y="1768166"/>
                </a:lnTo>
                <a:close/>
                <a:moveTo>
                  <a:pt x="5972322" y="1760479"/>
                </a:moveTo>
                <a:lnTo>
                  <a:pt x="5971236" y="1763510"/>
                </a:lnTo>
                <a:lnTo>
                  <a:pt x="5972430" y="1769140"/>
                </a:lnTo>
                <a:lnTo>
                  <a:pt x="5975143" y="1772280"/>
                </a:lnTo>
                <a:lnTo>
                  <a:pt x="5973624" y="1776611"/>
                </a:lnTo>
                <a:lnTo>
                  <a:pt x="5970260" y="1779318"/>
                </a:lnTo>
                <a:lnTo>
                  <a:pt x="5968741" y="1781808"/>
                </a:lnTo>
                <a:lnTo>
                  <a:pt x="5968741" y="1785273"/>
                </a:lnTo>
                <a:lnTo>
                  <a:pt x="5969459" y="1788406"/>
                </a:lnTo>
                <a:lnTo>
                  <a:pt x="5968742" y="1785273"/>
                </a:lnTo>
                <a:lnTo>
                  <a:pt x="5968742" y="1781809"/>
                </a:lnTo>
                <a:lnTo>
                  <a:pt x="5970261" y="1779318"/>
                </a:lnTo>
                <a:lnTo>
                  <a:pt x="5973624" y="1776612"/>
                </a:lnTo>
                <a:lnTo>
                  <a:pt x="5975144" y="1772281"/>
                </a:lnTo>
                <a:lnTo>
                  <a:pt x="5972431" y="1769141"/>
                </a:lnTo>
                <a:lnTo>
                  <a:pt x="5971238" y="1763511"/>
                </a:lnTo>
                <a:lnTo>
                  <a:pt x="5972322" y="1760479"/>
                </a:lnTo>
                <a:close/>
                <a:moveTo>
                  <a:pt x="4292809" y="1760262"/>
                </a:moveTo>
                <a:lnTo>
                  <a:pt x="4286515" y="1761561"/>
                </a:lnTo>
                <a:lnTo>
                  <a:pt x="4292809" y="1760263"/>
                </a:lnTo>
                <a:lnTo>
                  <a:pt x="4296933" y="1763294"/>
                </a:lnTo>
                <a:lnTo>
                  <a:pt x="4300291" y="1764073"/>
                </a:lnTo>
                <a:lnTo>
                  <a:pt x="4296933" y="1763294"/>
                </a:lnTo>
                <a:close/>
                <a:moveTo>
                  <a:pt x="4334401" y="1759778"/>
                </a:moveTo>
                <a:lnTo>
                  <a:pt x="4330031" y="1760370"/>
                </a:lnTo>
                <a:lnTo>
                  <a:pt x="4322983" y="1762882"/>
                </a:lnTo>
                <a:lnTo>
                  <a:pt x="4330031" y="1760370"/>
                </a:lnTo>
                <a:close/>
                <a:moveTo>
                  <a:pt x="4265138" y="1756798"/>
                </a:moveTo>
                <a:lnTo>
                  <a:pt x="4273927" y="1757122"/>
                </a:lnTo>
                <a:lnTo>
                  <a:pt x="4279787" y="1761237"/>
                </a:lnTo>
                <a:lnTo>
                  <a:pt x="4273928" y="1757122"/>
                </a:lnTo>
                <a:close/>
                <a:moveTo>
                  <a:pt x="5971996" y="1755065"/>
                </a:moveTo>
                <a:lnTo>
                  <a:pt x="5972306" y="1760220"/>
                </a:lnTo>
                <a:lnTo>
                  <a:pt x="5971997" y="1755066"/>
                </a:lnTo>
                <a:close/>
                <a:moveTo>
                  <a:pt x="4345224" y="1752792"/>
                </a:moveTo>
                <a:lnTo>
                  <a:pt x="4338820" y="1759179"/>
                </a:lnTo>
                <a:lnTo>
                  <a:pt x="4338821" y="1759179"/>
                </a:lnTo>
                <a:close/>
                <a:moveTo>
                  <a:pt x="4083156" y="1750951"/>
                </a:moveTo>
                <a:lnTo>
                  <a:pt x="4080070" y="1752033"/>
                </a:lnTo>
                <a:lnTo>
                  <a:pt x="4083156" y="1750952"/>
                </a:lnTo>
                <a:lnTo>
                  <a:pt x="4087279" y="1750952"/>
                </a:lnTo>
                <a:lnTo>
                  <a:pt x="4090426" y="1752142"/>
                </a:lnTo>
                <a:lnTo>
                  <a:pt x="4087280" y="1750951"/>
                </a:lnTo>
                <a:close/>
                <a:moveTo>
                  <a:pt x="4094658" y="1750735"/>
                </a:moveTo>
                <a:lnTo>
                  <a:pt x="4091356" y="1751833"/>
                </a:lnTo>
                <a:lnTo>
                  <a:pt x="4094658" y="1750735"/>
                </a:lnTo>
                <a:lnTo>
                  <a:pt x="4100409" y="1753334"/>
                </a:lnTo>
                <a:lnTo>
                  <a:pt x="4104859" y="1753334"/>
                </a:lnTo>
                <a:lnTo>
                  <a:pt x="4109525" y="1756473"/>
                </a:lnTo>
                <a:lnTo>
                  <a:pt x="4104859" y="1753333"/>
                </a:lnTo>
                <a:lnTo>
                  <a:pt x="4100410" y="1753333"/>
                </a:lnTo>
                <a:close/>
                <a:moveTo>
                  <a:pt x="5787410" y="1749436"/>
                </a:moveTo>
                <a:lnTo>
                  <a:pt x="5787408" y="1749436"/>
                </a:lnTo>
                <a:lnTo>
                  <a:pt x="5785346" y="1760263"/>
                </a:lnTo>
                <a:lnTo>
                  <a:pt x="5783760" y="1765512"/>
                </a:lnTo>
                <a:lnTo>
                  <a:pt x="5785347" y="1760262"/>
                </a:lnTo>
                <a:close/>
                <a:moveTo>
                  <a:pt x="5835807" y="1749003"/>
                </a:moveTo>
                <a:lnTo>
                  <a:pt x="5831683" y="1753875"/>
                </a:lnTo>
                <a:lnTo>
                  <a:pt x="5831256" y="1754021"/>
                </a:lnTo>
                <a:lnTo>
                  <a:pt x="5831685" y="1753874"/>
                </a:lnTo>
                <a:close/>
                <a:moveTo>
                  <a:pt x="4075017" y="1748894"/>
                </a:moveTo>
                <a:lnTo>
                  <a:pt x="4075017" y="1748895"/>
                </a:lnTo>
                <a:lnTo>
                  <a:pt x="4079140" y="1752359"/>
                </a:lnTo>
                <a:lnTo>
                  <a:pt x="4079141" y="1752359"/>
                </a:lnTo>
                <a:close/>
                <a:moveTo>
                  <a:pt x="4219414" y="1748039"/>
                </a:moveTo>
                <a:lnTo>
                  <a:pt x="4221840" y="1749652"/>
                </a:lnTo>
                <a:lnTo>
                  <a:pt x="4231498" y="1760696"/>
                </a:lnTo>
                <a:lnTo>
                  <a:pt x="4221840" y="1749652"/>
                </a:lnTo>
                <a:close/>
                <a:moveTo>
                  <a:pt x="5967114" y="1747271"/>
                </a:moveTo>
                <a:lnTo>
                  <a:pt x="5970043" y="1752142"/>
                </a:lnTo>
                <a:lnTo>
                  <a:pt x="5971776" y="1754735"/>
                </a:lnTo>
                <a:lnTo>
                  <a:pt x="5970044" y="1752143"/>
                </a:lnTo>
                <a:close/>
                <a:moveTo>
                  <a:pt x="4381920" y="1743253"/>
                </a:moveTo>
                <a:lnTo>
                  <a:pt x="4383855" y="1743480"/>
                </a:lnTo>
                <a:lnTo>
                  <a:pt x="4389607" y="1743480"/>
                </a:lnTo>
                <a:lnTo>
                  <a:pt x="4389606" y="1743480"/>
                </a:lnTo>
                <a:lnTo>
                  <a:pt x="4383854" y="1743480"/>
                </a:lnTo>
                <a:close/>
                <a:moveTo>
                  <a:pt x="4380165" y="1743047"/>
                </a:moveTo>
                <a:lnTo>
                  <a:pt x="4376367" y="1744346"/>
                </a:lnTo>
                <a:lnTo>
                  <a:pt x="4373545" y="1748677"/>
                </a:lnTo>
                <a:lnTo>
                  <a:pt x="4373546" y="1748677"/>
                </a:lnTo>
                <a:lnTo>
                  <a:pt x="4376368" y="1744346"/>
                </a:lnTo>
                <a:close/>
                <a:moveTo>
                  <a:pt x="4396008" y="1742722"/>
                </a:moveTo>
                <a:lnTo>
                  <a:pt x="4392971" y="1745753"/>
                </a:lnTo>
                <a:lnTo>
                  <a:pt x="4392971" y="1745754"/>
                </a:lnTo>
                <a:lnTo>
                  <a:pt x="4396009" y="1742722"/>
                </a:lnTo>
                <a:close/>
                <a:moveTo>
                  <a:pt x="4406534" y="1742506"/>
                </a:moveTo>
                <a:lnTo>
                  <a:pt x="4403605" y="1743913"/>
                </a:lnTo>
                <a:lnTo>
                  <a:pt x="4403605" y="1743913"/>
                </a:lnTo>
                <a:lnTo>
                  <a:pt x="4406535" y="1742506"/>
                </a:lnTo>
                <a:close/>
                <a:moveTo>
                  <a:pt x="4061126" y="1742181"/>
                </a:moveTo>
                <a:lnTo>
                  <a:pt x="4067095" y="1743373"/>
                </a:lnTo>
                <a:lnTo>
                  <a:pt x="4070567" y="1742507"/>
                </a:lnTo>
                <a:lnTo>
                  <a:pt x="4074195" y="1745331"/>
                </a:lnTo>
                <a:lnTo>
                  <a:pt x="4070568" y="1742506"/>
                </a:lnTo>
                <a:lnTo>
                  <a:pt x="4070567" y="1742506"/>
                </a:lnTo>
                <a:lnTo>
                  <a:pt x="4067096" y="1743372"/>
                </a:lnTo>
                <a:lnTo>
                  <a:pt x="4068669" y="1742967"/>
                </a:lnTo>
                <a:lnTo>
                  <a:pt x="4067095" y="1743372"/>
                </a:lnTo>
                <a:close/>
                <a:moveTo>
                  <a:pt x="4366508" y="1742044"/>
                </a:moveTo>
                <a:lnTo>
                  <a:pt x="4366510" y="1742051"/>
                </a:lnTo>
                <a:lnTo>
                  <a:pt x="4367794" y="1748136"/>
                </a:lnTo>
                <a:lnTo>
                  <a:pt x="4367794" y="1748352"/>
                </a:lnTo>
                <a:lnTo>
                  <a:pt x="4356726" y="1747270"/>
                </a:lnTo>
                <a:lnTo>
                  <a:pt x="4351625" y="1751925"/>
                </a:lnTo>
                <a:lnTo>
                  <a:pt x="4349272" y="1752135"/>
                </a:lnTo>
                <a:lnTo>
                  <a:pt x="4351626" y="1751925"/>
                </a:lnTo>
                <a:lnTo>
                  <a:pt x="4356726" y="1747270"/>
                </a:lnTo>
                <a:lnTo>
                  <a:pt x="4367794" y="1748352"/>
                </a:lnTo>
                <a:lnTo>
                  <a:pt x="4367795" y="1748352"/>
                </a:lnTo>
                <a:lnTo>
                  <a:pt x="4367795" y="1748137"/>
                </a:lnTo>
                <a:lnTo>
                  <a:pt x="4367794" y="1748136"/>
                </a:lnTo>
                <a:close/>
                <a:moveTo>
                  <a:pt x="6549800" y="1740229"/>
                </a:moveTo>
                <a:lnTo>
                  <a:pt x="6549848" y="1740774"/>
                </a:lnTo>
                <a:lnTo>
                  <a:pt x="6549848" y="1740773"/>
                </a:lnTo>
                <a:close/>
                <a:moveTo>
                  <a:pt x="5958593" y="1739306"/>
                </a:moveTo>
                <a:lnTo>
                  <a:pt x="5959734" y="1742397"/>
                </a:lnTo>
                <a:lnTo>
                  <a:pt x="5963531" y="1745538"/>
                </a:lnTo>
                <a:lnTo>
                  <a:pt x="5964278" y="1745899"/>
                </a:lnTo>
                <a:lnTo>
                  <a:pt x="5963533" y="1745538"/>
                </a:lnTo>
                <a:lnTo>
                  <a:pt x="5959735" y="1742398"/>
                </a:lnTo>
                <a:close/>
                <a:moveTo>
                  <a:pt x="4356400" y="1738067"/>
                </a:moveTo>
                <a:lnTo>
                  <a:pt x="4354338" y="1740449"/>
                </a:lnTo>
                <a:lnTo>
                  <a:pt x="4353118" y="1740385"/>
                </a:lnTo>
                <a:lnTo>
                  <a:pt x="4354338" y="1740449"/>
                </a:lnTo>
                <a:close/>
                <a:moveTo>
                  <a:pt x="4057979" y="1737742"/>
                </a:moveTo>
                <a:lnTo>
                  <a:pt x="4057979" y="1737742"/>
                </a:lnTo>
                <a:lnTo>
                  <a:pt x="4057980" y="1737742"/>
                </a:lnTo>
                <a:lnTo>
                  <a:pt x="4058305" y="1737742"/>
                </a:lnTo>
                <a:lnTo>
                  <a:pt x="4058305" y="1737742"/>
                </a:lnTo>
                <a:close/>
                <a:moveTo>
                  <a:pt x="7269963" y="1735252"/>
                </a:moveTo>
                <a:lnTo>
                  <a:pt x="7269203" y="1738825"/>
                </a:lnTo>
                <a:lnTo>
                  <a:pt x="7264971" y="1741640"/>
                </a:lnTo>
                <a:lnTo>
                  <a:pt x="7262802" y="1740882"/>
                </a:lnTo>
                <a:lnTo>
                  <a:pt x="7266491" y="1736768"/>
                </a:lnTo>
                <a:close/>
                <a:moveTo>
                  <a:pt x="4203067" y="1734819"/>
                </a:moveTo>
                <a:lnTo>
                  <a:pt x="4203067" y="1734819"/>
                </a:lnTo>
                <a:lnTo>
                  <a:pt x="4203316" y="1735501"/>
                </a:lnTo>
                <a:close/>
                <a:moveTo>
                  <a:pt x="4054507" y="1728107"/>
                </a:moveTo>
                <a:lnTo>
                  <a:pt x="4054507" y="1728107"/>
                </a:lnTo>
                <a:lnTo>
                  <a:pt x="4056134" y="1730164"/>
                </a:lnTo>
                <a:lnTo>
                  <a:pt x="4056134" y="1733412"/>
                </a:lnTo>
                <a:lnTo>
                  <a:pt x="4057979" y="1735144"/>
                </a:lnTo>
                <a:lnTo>
                  <a:pt x="4057979" y="1735143"/>
                </a:lnTo>
                <a:lnTo>
                  <a:pt x="4056135" y="1733411"/>
                </a:lnTo>
                <a:lnTo>
                  <a:pt x="4056135" y="1730163"/>
                </a:lnTo>
                <a:close/>
                <a:moveTo>
                  <a:pt x="4067312" y="1727564"/>
                </a:moveTo>
                <a:lnTo>
                  <a:pt x="4068289" y="1732653"/>
                </a:lnTo>
                <a:lnTo>
                  <a:pt x="4070893" y="1734927"/>
                </a:lnTo>
                <a:lnTo>
                  <a:pt x="4070459" y="1742506"/>
                </a:lnTo>
                <a:lnTo>
                  <a:pt x="4070460" y="1742506"/>
                </a:lnTo>
                <a:lnTo>
                  <a:pt x="4070894" y="1734927"/>
                </a:lnTo>
                <a:lnTo>
                  <a:pt x="4068289" y="1732653"/>
                </a:lnTo>
                <a:lnTo>
                  <a:pt x="4067312" y="1727565"/>
                </a:lnTo>
                <a:close/>
                <a:moveTo>
                  <a:pt x="5953657" y="1726698"/>
                </a:moveTo>
                <a:lnTo>
                  <a:pt x="5954308" y="1730488"/>
                </a:lnTo>
                <a:lnTo>
                  <a:pt x="5955719" y="1734710"/>
                </a:lnTo>
                <a:lnTo>
                  <a:pt x="5955720" y="1734711"/>
                </a:lnTo>
                <a:lnTo>
                  <a:pt x="5955720" y="1734712"/>
                </a:lnTo>
                <a:lnTo>
                  <a:pt x="5955809" y="1734839"/>
                </a:lnTo>
                <a:lnTo>
                  <a:pt x="5955720" y="1734711"/>
                </a:lnTo>
                <a:lnTo>
                  <a:pt x="5954309" y="1730489"/>
                </a:lnTo>
                <a:lnTo>
                  <a:pt x="5953658" y="1726699"/>
                </a:lnTo>
                <a:close/>
                <a:moveTo>
                  <a:pt x="4028869" y="1726212"/>
                </a:moveTo>
                <a:lnTo>
                  <a:pt x="4027160" y="1727348"/>
                </a:lnTo>
                <a:lnTo>
                  <a:pt x="4027161" y="1727348"/>
                </a:lnTo>
                <a:close/>
                <a:moveTo>
                  <a:pt x="4330208" y="1721715"/>
                </a:moveTo>
                <a:lnTo>
                  <a:pt x="4331224" y="1722043"/>
                </a:lnTo>
                <a:lnTo>
                  <a:pt x="4338494" y="1727294"/>
                </a:lnTo>
                <a:lnTo>
                  <a:pt x="4331224" y="1722043"/>
                </a:lnTo>
                <a:close/>
                <a:moveTo>
                  <a:pt x="6914355" y="1721068"/>
                </a:moveTo>
                <a:lnTo>
                  <a:pt x="6912510" y="1721501"/>
                </a:lnTo>
                <a:lnTo>
                  <a:pt x="6908061" y="1728322"/>
                </a:lnTo>
                <a:lnTo>
                  <a:pt x="6907084" y="1731571"/>
                </a:lnTo>
                <a:lnTo>
                  <a:pt x="6904805" y="1734602"/>
                </a:lnTo>
                <a:lnTo>
                  <a:pt x="6901984" y="1734818"/>
                </a:lnTo>
                <a:lnTo>
                  <a:pt x="6899054" y="1736767"/>
                </a:lnTo>
                <a:lnTo>
                  <a:pt x="6898077" y="1738933"/>
                </a:lnTo>
                <a:lnTo>
                  <a:pt x="6898309" y="1739454"/>
                </a:lnTo>
                <a:lnTo>
                  <a:pt x="6898837" y="1738285"/>
                </a:lnTo>
                <a:lnTo>
                  <a:pt x="6901767" y="1736336"/>
                </a:lnTo>
                <a:lnTo>
                  <a:pt x="6904480" y="1736336"/>
                </a:lnTo>
                <a:lnTo>
                  <a:pt x="6906758" y="1733304"/>
                </a:lnTo>
                <a:lnTo>
                  <a:pt x="6907735" y="1730056"/>
                </a:lnTo>
                <a:lnTo>
                  <a:pt x="6912184" y="1723235"/>
                </a:lnTo>
                <a:lnTo>
                  <a:pt x="6914029" y="1723235"/>
                </a:lnTo>
                <a:lnTo>
                  <a:pt x="6917827" y="1724209"/>
                </a:lnTo>
                <a:lnTo>
                  <a:pt x="6920757" y="1725400"/>
                </a:lnTo>
                <a:lnTo>
                  <a:pt x="6935950" y="1728107"/>
                </a:lnTo>
                <a:lnTo>
                  <a:pt x="6938228" y="1728865"/>
                </a:lnTo>
                <a:lnTo>
                  <a:pt x="6940941" y="1728865"/>
                </a:lnTo>
                <a:lnTo>
                  <a:pt x="6942894" y="1726483"/>
                </a:lnTo>
                <a:lnTo>
                  <a:pt x="6942660" y="1725201"/>
                </a:lnTo>
                <a:lnTo>
                  <a:pt x="6941375" y="1726698"/>
                </a:lnTo>
                <a:lnTo>
                  <a:pt x="6938662" y="1726698"/>
                </a:lnTo>
                <a:lnTo>
                  <a:pt x="6936383" y="1726049"/>
                </a:lnTo>
                <a:lnTo>
                  <a:pt x="6921082" y="1723234"/>
                </a:lnTo>
                <a:lnTo>
                  <a:pt x="6918153" y="1722043"/>
                </a:lnTo>
                <a:close/>
                <a:moveTo>
                  <a:pt x="4021342" y="1718021"/>
                </a:moveTo>
                <a:lnTo>
                  <a:pt x="4021843" y="1718254"/>
                </a:lnTo>
                <a:lnTo>
                  <a:pt x="4021843" y="1718254"/>
                </a:lnTo>
                <a:close/>
                <a:moveTo>
                  <a:pt x="4293243" y="1717062"/>
                </a:moveTo>
                <a:lnTo>
                  <a:pt x="4291921" y="1718444"/>
                </a:lnTo>
                <a:lnTo>
                  <a:pt x="4293243" y="1717062"/>
                </a:lnTo>
                <a:close/>
                <a:moveTo>
                  <a:pt x="4805225" y="1716522"/>
                </a:moveTo>
                <a:lnTo>
                  <a:pt x="4801644" y="1720096"/>
                </a:lnTo>
                <a:lnTo>
                  <a:pt x="4795056" y="1718820"/>
                </a:lnTo>
                <a:lnTo>
                  <a:pt x="4796652" y="1719770"/>
                </a:lnTo>
                <a:lnTo>
                  <a:pt x="4803923" y="1721178"/>
                </a:lnTo>
                <a:lnTo>
                  <a:pt x="4806138" y="1718967"/>
                </a:lnTo>
                <a:close/>
                <a:moveTo>
                  <a:pt x="5941828" y="1715872"/>
                </a:moveTo>
                <a:lnTo>
                  <a:pt x="5943673" y="1718686"/>
                </a:lnTo>
                <a:lnTo>
                  <a:pt x="5941829" y="1715872"/>
                </a:lnTo>
                <a:close/>
                <a:moveTo>
                  <a:pt x="7243812" y="1715222"/>
                </a:moveTo>
                <a:lnTo>
                  <a:pt x="7246200" y="1717495"/>
                </a:lnTo>
                <a:lnTo>
                  <a:pt x="7248804" y="1718362"/>
                </a:lnTo>
                <a:lnTo>
                  <a:pt x="7252276" y="1717495"/>
                </a:lnTo>
                <a:lnTo>
                  <a:pt x="7253688" y="1717495"/>
                </a:lnTo>
                <a:lnTo>
                  <a:pt x="7252602" y="1722693"/>
                </a:lnTo>
                <a:lnTo>
                  <a:pt x="7246742" y="1728215"/>
                </a:lnTo>
                <a:lnTo>
                  <a:pt x="7244680" y="1729297"/>
                </a:lnTo>
                <a:lnTo>
                  <a:pt x="7242619" y="1740774"/>
                </a:lnTo>
                <a:cubicBezTo>
                  <a:pt x="7242619" y="1740774"/>
                  <a:pt x="7242619" y="1747487"/>
                  <a:pt x="7242619" y="1747487"/>
                </a:cubicBezTo>
                <a:lnTo>
                  <a:pt x="7238278" y="1742506"/>
                </a:lnTo>
                <a:lnTo>
                  <a:pt x="7237301" y="1739583"/>
                </a:lnTo>
                <a:lnTo>
                  <a:pt x="7239471" y="1734603"/>
                </a:lnTo>
                <a:lnTo>
                  <a:pt x="7240340" y="1727565"/>
                </a:lnTo>
                <a:lnTo>
                  <a:pt x="7241534" y="1722585"/>
                </a:lnTo>
                <a:lnTo>
                  <a:pt x="7242401" y="1716954"/>
                </a:lnTo>
                <a:close/>
                <a:moveTo>
                  <a:pt x="4788188" y="1714898"/>
                </a:moveTo>
                <a:lnTo>
                  <a:pt x="4783371" y="1715699"/>
                </a:lnTo>
                <a:lnTo>
                  <a:pt x="4785258" y="1716847"/>
                </a:lnTo>
                <a:lnTo>
                  <a:pt x="4790196" y="1716128"/>
                </a:lnTo>
                <a:close/>
                <a:moveTo>
                  <a:pt x="6941300" y="1714722"/>
                </a:moveTo>
                <a:lnTo>
                  <a:pt x="6940832" y="1715655"/>
                </a:lnTo>
                <a:lnTo>
                  <a:pt x="6941043" y="1717268"/>
                </a:lnTo>
                <a:lnTo>
                  <a:pt x="6941701" y="1715872"/>
                </a:lnTo>
                <a:close/>
                <a:moveTo>
                  <a:pt x="4015657" y="1714356"/>
                </a:moveTo>
                <a:lnTo>
                  <a:pt x="4012728" y="1714464"/>
                </a:lnTo>
                <a:lnTo>
                  <a:pt x="4015658" y="1714356"/>
                </a:lnTo>
                <a:close/>
                <a:moveTo>
                  <a:pt x="4191781" y="1713923"/>
                </a:moveTo>
                <a:lnTo>
                  <a:pt x="4192106" y="1717496"/>
                </a:lnTo>
                <a:lnTo>
                  <a:pt x="4198401" y="1721285"/>
                </a:lnTo>
                <a:lnTo>
                  <a:pt x="4203392" y="1729080"/>
                </a:lnTo>
                <a:lnTo>
                  <a:pt x="4203392" y="1729080"/>
                </a:lnTo>
                <a:lnTo>
                  <a:pt x="4198401" y="1721284"/>
                </a:lnTo>
                <a:lnTo>
                  <a:pt x="4192106" y="1717495"/>
                </a:lnTo>
                <a:close/>
                <a:moveTo>
                  <a:pt x="5922903" y="1712563"/>
                </a:moveTo>
                <a:lnTo>
                  <a:pt x="5923055" y="1712840"/>
                </a:lnTo>
                <a:lnTo>
                  <a:pt x="5923055" y="1712839"/>
                </a:lnTo>
                <a:close/>
                <a:moveTo>
                  <a:pt x="4763555" y="1711217"/>
                </a:moveTo>
                <a:lnTo>
                  <a:pt x="4761545" y="1713222"/>
                </a:lnTo>
                <a:lnTo>
                  <a:pt x="4762578" y="1715331"/>
                </a:lnTo>
                <a:lnTo>
                  <a:pt x="4765833" y="1712083"/>
                </a:lnTo>
                <a:lnTo>
                  <a:pt x="4774406" y="1713923"/>
                </a:lnTo>
                <a:lnTo>
                  <a:pt x="4780280" y="1714123"/>
                </a:lnTo>
                <a:lnTo>
                  <a:pt x="4778530" y="1713058"/>
                </a:lnTo>
                <a:lnTo>
                  <a:pt x="4772127" y="1713058"/>
                </a:lnTo>
                <a:close/>
                <a:moveTo>
                  <a:pt x="4293026" y="1708292"/>
                </a:moveTo>
                <a:lnTo>
                  <a:pt x="4290747" y="1709808"/>
                </a:lnTo>
                <a:lnTo>
                  <a:pt x="4296282" y="1717062"/>
                </a:lnTo>
                <a:lnTo>
                  <a:pt x="4290748" y="1709808"/>
                </a:lnTo>
                <a:close/>
                <a:moveTo>
                  <a:pt x="5839582" y="1705657"/>
                </a:moveTo>
                <a:lnTo>
                  <a:pt x="5839062" y="1706020"/>
                </a:lnTo>
                <a:lnTo>
                  <a:pt x="5838194" y="1711541"/>
                </a:lnTo>
                <a:lnTo>
                  <a:pt x="5838520" y="1721718"/>
                </a:lnTo>
                <a:lnTo>
                  <a:pt x="5843187" y="1731138"/>
                </a:lnTo>
                <a:lnTo>
                  <a:pt x="5847744" y="1737201"/>
                </a:lnTo>
                <a:lnTo>
                  <a:pt x="5846984" y="1740449"/>
                </a:lnTo>
                <a:lnTo>
                  <a:pt x="5842454" y="1745544"/>
                </a:lnTo>
                <a:lnTo>
                  <a:pt x="5846985" y="1740449"/>
                </a:lnTo>
                <a:lnTo>
                  <a:pt x="5847745" y="1737200"/>
                </a:lnTo>
                <a:lnTo>
                  <a:pt x="5843187" y="1731137"/>
                </a:lnTo>
                <a:lnTo>
                  <a:pt x="5838521" y="1721718"/>
                </a:lnTo>
                <a:lnTo>
                  <a:pt x="5838195" y="1711540"/>
                </a:lnTo>
                <a:lnTo>
                  <a:pt x="5839064" y="1706018"/>
                </a:lnTo>
                <a:close/>
                <a:moveTo>
                  <a:pt x="5898314" y="1705586"/>
                </a:moveTo>
                <a:lnTo>
                  <a:pt x="5898314" y="1705586"/>
                </a:lnTo>
                <a:lnTo>
                  <a:pt x="5899155" y="1706615"/>
                </a:lnTo>
                <a:lnTo>
                  <a:pt x="5901677" y="1709700"/>
                </a:lnTo>
                <a:lnTo>
                  <a:pt x="5901786" y="1711324"/>
                </a:lnTo>
                <a:lnTo>
                  <a:pt x="5902979" y="1714896"/>
                </a:lnTo>
                <a:lnTo>
                  <a:pt x="5902980" y="1714897"/>
                </a:lnTo>
                <a:lnTo>
                  <a:pt x="5901787" y="1711325"/>
                </a:lnTo>
                <a:lnTo>
                  <a:pt x="5901678" y="1709701"/>
                </a:lnTo>
                <a:lnTo>
                  <a:pt x="5899155" y="1706615"/>
                </a:lnTo>
                <a:close/>
                <a:moveTo>
                  <a:pt x="3913001" y="1704720"/>
                </a:moveTo>
                <a:lnTo>
                  <a:pt x="3915280" y="1706452"/>
                </a:lnTo>
                <a:lnTo>
                  <a:pt x="3917667" y="1706236"/>
                </a:lnTo>
                <a:lnTo>
                  <a:pt x="3916148" y="1708834"/>
                </a:lnTo>
                <a:lnTo>
                  <a:pt x="3916148" y="1710567"/>
                </a:lnTo>
                <a:lnTo>
                  <a:pt x="3913001" y="1711108"/>
                </a:lnTo>
                <a:lnTo>
                  <a:pt x="3909746" y="1708726"/>
                </a:lnTo>
                <a:lnTo>
                  <a:pt x="3906599" y="1708077"/>
                </a:lnTo>
                <a:close/>
                <a:moveTo>
                  <a:pt x="2749703" y="1704071"/>
                </a:moveTo>
                <a:lnTo>
                  <a:pt x="2750571" y="1704396"/>
                </a:lnTo>
                <a:lnTo>
                  <a:pt x="2751222" y="1706995"/>
                </a:lnTo>
                <a:lnTo>
                  <a:pt x="2749269" y="1710350"/>
                </a:lnTo>
                <a:lnTo>
                  <a:pt x="2745797" y="1711975"/>
                </a:lnTo>
                <a:lnTo>
                  <a:pt x="2743735" y="1710567"/>
                </a:lnTo>
                <a:lnTo>
                  <a:pt x="2743952" y="1708618"/>
                </a:lnTo>
                <a:lnTo>
                  <a:pt x="2744820" y="1707536"/>
                </a:lnTo>
                <a:lnTo>
                  <a:pt x="2747316" y="1708510"/>
                </a:lnTo>
                <a:lnTo>
                  <a:pt x="2748943" y="1708077"/>
                </a:lnTo>
                <a:lnTo>
                  <a:pt x="2750028" y="1705479"/>
                </a:lnTo>
                <a:close/>
                <a:moveTo>
                  <a:pt x="2755237" y="1702879"/>
                </a:moveTo>
                <a:lnTo>
                  <a:pt x="2756865" y="1702879"/>
                </a:lnTo>
                <a:lnTo>
                  <a:pt x="2757841" y="1704179"/>
                </a:lnTo>
                <a:lnTo>
                  <a:pt x="2759035" y="1703312"/>
                </a:lnTo>
                <a:lnTo>
                  <a:pt x="2761422" y="1704936"/>
                </a:lnTo>
                <a:lnTo>
                  <a:pt x="2761422" y="1706885"/>
                </a:lnTo>
                <a:lnTo>
                  <a:pt x="2758709" y="1709051"/>
                </a:lnTo>
                <a:lnTo>
                  <a:pt x="2756214" y="1709051"/>
                </a:lnTo>
                <a:lnTo>
                  <a:pt x="2755237" y="1704179"/>
                </a:lnTo>
                <a:close/>
                <a:moveTo>
                  <a:pt x="6943458" y="1702700"/>
                </a:moveTo>
                <a:lnTo>
                  <a:pt x="6942352" y="1703961"/>
                </a:lnTo>
                <a:lnTo>
                  <a:pt x="6940290" y="1708726"/>
                </a:lnTo>
                <a:lnTo>
                  <a:pt x="6940529" y="1709872"/>
                </a:lnTo>
                <a:lnTo>
                  <a:pt x="6942243" y="1705912"/>
                </a:lnTo>
                <a:lnTo>
                  <a:pt x="6943763" y="1704180"/>
                </a:lnTo>
                <a:close/>
                <a:moveTo>
                  <a:pt x="6603781" y="1700714"/>
                </a:moveTo>
                <a:lnTo>
                  <a:pt x="6605950" y="1702986"/>
                </a:lnTo>
                <a:lnTo>
                  <a:pt x="6605951" y="1702987"/>
                </a:lnTo>
                <a:close/>
                <a:moveTo>
                  <a:pt x="6944726" y="1693612"/>
                </a:moveTo>
                <a:lnTo>
                  <a:pt x="6942352" y="1694759"/>
                </a:lnTo>
                <a:lnTo>
                  <a:pt x="6941701" y="1696166"/>
                </a:lnTo>
                <a:lnTo>
                  <a:pt x="6942146" y="1696918"/>
                </a:lnTo>
                <a:lnTo>
                  <a:pt x="6942243" y="1696709"/>
                </a:lnTo>
                <a:lnTo>
                  <a:pt x="6945499" y="1695085"/>
                </a:lnTo>
                <a:close/>
                <a:moveTo>
                  <a:pt x="4741526" y="1693460"/>
                </a:moveTo>
                <a:lnTo>
                  <a:pt x="4733387" y="1699632"/>
                </a:lnTo>
                <a:lnTo>
                  <a:pt x="4728178" y="1698658"/>
                </a:lnTo>
                <a:lnTo>
                  <a:pt x="4722644" y="1700174"/>
                </a:lnTo>
                <a:lnTo>
                  <a:pt x="4715915" y="1696601"/>
                </a:lnTo>
                <a:lnTo>
                  <a:pt x="4712059" y="1700930"/>
                </a:lnTo>
                <a:lnTo>
                  <a:pt x="4713962" y="1702772"/>
                </a:lnTo>
                <a:lnTo>
                  <a:pt x="4718303" y="1698008"/>
                </a:lnTo>
                <a:lnTo>
                  <a:pt x="4725032" y="1701580"/>
                </a:lnTo>
                <a:lnTo>
                  <a:pt x="4730458" y="1700065"/>
                </a:lnTo>
                <a:lnTo>
                  <a:pt x="4735666" y="1701039"/>
                </a:lnTo>
                <a:lnTo>
                  <a:pt x="4743805" y="1694868"/>
                </a:lnTo>
                <a:lnTo>
                  <a:pt x="4745857" y="1694634"/>
                </a:lnTo>
                <a:lnTo>
                  <a:pt x="4745324" y="1693460"/>
                </a:lnTo>
                <a:close/>
                <a:moveTo>
                  <a:pt x="4454093" y="1690656"/>
                </a:moveTo>
                <a:lnTo>
                  <a:pt x="4455258" y="1691402"/>
                </a:lnTo>
                <a:lnTo>
                  <a:pt x="4453196" y="1694001"/>
                </a:lnTo>
                <a:lnTo>
                  <a:pt x="4453848" y="1697790"/>
                </a:lnTo>
                <a:lnTo>
                  <a:pt x="4455584" y="1700713"/>
                </a:lnTo>
                <a:lnTo>
                  <a:pt x="4454281" y="1707751"/>
                </a:lnTo>
                <a:lnTo>
                  <a:pt x="4450375" y="1707968"/>
                </a:lnTo>
                <a:lnTo>
                  <a:pt x="4446685" y="1711757"/>
                </a:lnTo>
                <a:lnTo>
                  <a:pt x="4444624" y="1718903"/>
                </a:lnTo>
                <a:lnTo>
                  <a:pt x="4429974" y="1735251"/>
                </a:lnTo>
                <a:lnTo>
                  <a:pt x="4431059" y="1741856"/>
                </a:lnTo>
                <a:lnTo>
                  <a:pt x="4430733" y="1749002"/>
                </a:lnTo>
                <a:lnTo>
                  <a:pt x="4425529" y="1748677"/>
                </a:lnTo>
                <a:lnTo>
                  <a:pt x="4425535" y="1748679"/>
                </a:lnTo>
                <a:lnTo>
                  <a:pt x="4430734" y="1749003"/>
                </a:lnTo>
                <a:lnTo>
                  <a:pt x="4426177" y="1748786"/>
                </a:lnTo>
                <a:lnTo>
                  <a:pt x="4421185" y="1759179"/>
                </a:lnTo>
                <a:lnTo>
                  <a:pt x="4420208" y="1767299"/>
                </a:lnTo>
                <a:lnTo>
                  <a:pt x="4420196" y="1767307"/>
                </a:lnTo>
                <a:lnTo>
                  <a:pt x="4420208" y="1767300"/>
                </a:lnTo>
                <a:lnTo>
                  <a:pt x="4420172" y="1767323"/>
                </a:lnTo>
                <a:lnTo>
                  <a:pt x="4420209" y="1767301"/>
                </a:lnTo>
                <a:lnTo>
                  <a:pt x="4421186" y="1759181"/>
                </a:lnTo>
                <a:lnTo>
                  <a:pt x="4426177" y="1748787"/>
                </a:lnTo>
                <a:lnTo>
                  <a:pt x="4430735" y="1749003"/>
                </a:lnTo>
                <a:lnTo>
                  <a:pt x="4431060" y="1741857"/>
                </a:lnTo>
                <a:lnTo>
                  <a:pt x="4429975" y="1735253"/>
                </a:lnTo>
                <a:lnTo>
                  <a:pt x="4444625" y="1718904"/>
                </a:lnTo>
                <a:lnTo>
                  <a:pt x="4446687" y="1711758"/>
                </a:lnTo>
                <a:lnTo>
                  <a:pt x="4450376" y="1707968"/>
                </a:lnTo>
                <a:lnTo>
                  <a:pt x="4454283" y="1707752"/>
                </a:lnTo>
                <a:lnTo>
                  <a:pt x="4455585" y="1700715"/>
                </a:lnTo>
                <a:lnTo>
                  <a:pt x="4453849" y="1697791"/>
                </a:lnTo>
                <a:lnTo>
                  <a:pt x="4453198" y="1694002"/>
                </a:lnTo>
                <a:lnTo>
                  <a:pt x="4455259" y="1691403"/>
                </a:lnTo>
                <a:close/>
                <a:moveTo>
                  <a:pt x="7135512" y="1690103"/>
                </a:moveTo>
                <a:lnTo>
                  <a:pt x="7140829" y="1690103"/>
                </a:lnTo>
                <a:lnTo>
                  <a:pt x="7142566" y="1693676"/>
                </a:lnTo>
                <a:lnTo>
                  <a:pt x="7150270" y="1700064"/>
                </a:lnTo>
                <a:lnTo>
                  <a:pt x="7156782" y="1701363"/>
                </a:lnTo>
                <a:lnTo>
                  <a:pt x="7160145" y="1707751"/>
                </a:lnTo>
                <a:lnTo>
                  <a:pt x="7170997" y="1718470"/>
                </a:lnTo>
                <a:lnTo>
                  <a:pt x="7176965" y="1722692"/>
                </a:lnTo>
                <a:lnTo>
                  <a:pt x="7178919" y="1726157"/>
                </a:lnTo>
                <a:lnTo>
                  <a:pt x="7183585" y="1727240"/>
                </a:lnTo>
                <a:lnTo>
                  <a:pt x="7187708" y="1731679"/>
                </a:lnTo>
                <a:lnTo>
                  <a:pt x="7194762" y="1735144"/>
                </a:lnTo>
                <a:lnTo>
                  <a:pt x="7200622" y="1735793"/>
                </a:lnTo>
                <a:lnTo>
                  <a:pt x="7205288" y="1740232"/>
                </a:lnTo>
                <a:lnTo>
                  <a:pt x="7208869" y="1739583"/>
                </a:lnTo>
                <a:lnTo>
                  <a:pt x="7210605" y="1740774"/>
                </a:lnTo>
                <a:lnTo>
                  <a:pt x="7216574" y="1739907"/>
                </a:lnTo>
                <a:lnTo>
                  <a:pt x="7224387" y="1734711"/>
                </a:lnTo>
                <a:lnTo>
                  <a:pt x="7228186" y="1729622"/>
                </a:lnTo>
                <a:lnTo>
                  <a:pt x="7229162" y="1725399"/>
                </a:lnTo>
                <a:lnTo>
                  <a:pt x="7230247" y="1723992"/>
                </a:lnTo>
                <a:lnTo>
                  <a:pt x="7231550" y="1725941"/>
                </a:lnTo>
                <a:lnTo>
                  <a:pt x="7231550" y="1729946"/>
                </a:lnTo>
                <a:lnTo>
                  <a:pt x="7229053" y="1737092"/>
                </a:lnTo>
                <a:lnTo>
                  <a:pt x="7229053" y="1743589"/>
                </a:lnTo>
                <a:lnTo>
                  <a:pt x="7230682" y="1745754"/>
                </a:lnTo>
                <a:lnTo>
                  <a:pt x="7236432" y="1749435"/>
                </a:lnTo>
                <a:lnTo>
                  <a:pt x="7240447" y="1754307"/>
                </a:lnTo>
                <a:lnTo>
                  <a:pt x="7240773" y="1757989"/>
                </a:lnTo>
                <a:lnTo>
                  <a:pt x="7240231" y="1760370"/>
                </a:lnTo>
                <a:lnTo>
                  <a:pt x="7243812" y="1760370"/>
                </a:lnTo>
                <a:lnTo>
                  <a:pt x="7246090" y="1756798"/>
                </a:lnTo>
                <a:lnTo>
                  <a:pt x="7249563" y="1753441"/>
                </a:lnTo>
                <a:lnTo>
                  <a:pt x="7252493" y="1753117"/>
                </a:lnTo>
                <a:lnTo>
                  <a:pt x="7250865" y="1756582"/>
                </a:lnTo>
                <a:lnTo>
                  <a:pt x="7248695" y="1757989"/>
                </a:lnTo>
                <a:lnTo>
                  <a:pt x="7248370" y="1762645"/>
                </a:lnTo>
                <a:lnTo>
                  <a:pt x="7245439" y="1764810"/>
                </a:lnTo>
                <a:lnTo>
                  <a:pt x="7241207" y="1766543"/>
                </a:lnTo>
                <a:lnTo>
                  <a:pt x="7240447" y="1770115"/>
                </a:lnTo>
                <a:lnTo>
                  <a:pt x="7238711" y="1772713"/>
                </a:lnTo>
                <a:lnTo>
                  <a:pt x="7235348" y="1772930"/>
                </a:lnTo>
                <a:lnTo>
                  <a:pt x="7233719" y="1771523"/>
                </a:lnTo>
                <a:lnTo>
                  <a:pt x="7230355" y="1774121"/>
                </a:lnTo>
                <a:lnTo>
                  <a:pt x="7230790" y="1776503"/>
                </a:lnTo>
                <a:lnTo>
                  <a:pt x="7224713" y="1776503"/>
                </a:lnTo>
                <a:lnTo>
                  <a:pt x="7220047" y="1775312"/>
                </a:lnTo>
                <a:lnTo>
                  <a:pt x="7216140" y="1776503"/>
                </a:lnTo>
                <a:lnTo>
                  <a:pt x="7209737" y="1785490"/>
                </a:lnTo>
                <a:lnTo>
                  <a:pt x="7207350" y="1795126"/>
                </a:lnTo>
                <a:lnTo>
                  <a:pt x="7206265" y="1803029"/>
                </a:lnTo>
                <a:lnTo>
                  <a:pt x="7207676" y="1808335"/>
                </a:lnTo>
                <a:lnTo>
                  <a:pt x="7206807" y="1812233"/>
                </a:lnTo>
                <a:lnTo>
                  <a:pt x="7207133" y="1815914"/>
                </a:lnTo>
                <a:lnTo>
                  <a:pt x="7203010" y="1814181"/>
                </a:lnTo>
                <a:lnTo>
                  <a:pt x="7200622" y="1810933"/>
                </a:lnTo>
                <a:lnTo>
                  <a:pt x="7193243" y="1808984"/>
                </a:lnTo>
                <a:lnTo>
                  <a:pt x="7185972" y="1805195"/>
                </a:lnTo>
                <a:lnTo>
                  <a:pt x="7179569" y="1799565"/>
                </a:lnTo>
                <a:lnTo>
                  <a:pt x="7175446" y="1794909"/>
                </a:lnTo>
                <a:lnTo>
                  <a:pt x="7171106" y="1795559"/>
                </a:lnTo>
                <a:lnTo>
                  <a:pt x="7167307" y="1794801"/>
                </a:lnTo>
                <a:lnTo>
                  <a:pt x="7165462" y="1792852"/>
                </a:lnTo>
                <a:lnTo>
                  <a:pt x="7161013" y="1792635"/>
                </a:lnTo>
                <a:lnTo>
                  <a:pt x="7155588" y="1796641"/>
                </a:lnTo>
                <a:lnTo>
                  <a:pt x="7149945" y="1804329"/>
                </a:lnTo>
                <a:lnTo>
                  <a:pt x="7147557" y="1802813"/>
                </a:lnTo>
                <a:lnTo>
                  <a:pt x="7141480" y="1799024"/>
                </a:lnTo>
                <a:lnTo>
                  <a:pt x="7138225" y="1799349"/>
                </a:lnTo>
                <a:lnTo>
                  <a:pt x="7135078" y="1802163"/>
                </a:lnTo>
                <a:lnTo>
                  <a:pt x="7135078" y="1806819"/>
                </a:lnTo>
                <a:lnTo>
                  <a:pt x="7136706" y="1810608"/>
                </a:lnTo>
                <a:lnTo>
                  <a:pt x="7141698" y="1813315"/>
                </a:lnTo>
                <a:lnTo>
                  <a:pt x="7146906" y="1811908"/>
                </a:lnTo>
                <a:lnTo>
                  <a:pt x="7152875" y="1818620"/>
                </a:lnTo>
                <a:lnTo>
                  <a:pt x="7158083" y="1820028"/>
                </a:lnTo>
                <a:lnTo>
                  <a:pt x="7163509" y="1820028"/>
                </a:lnTo>
                <a:lnTo>
                  <a:pt x="7165462" y="1822735"/>
                </a:lnTo>
                <a:lnTo>
                  <a:pt x="7161881" y="1827607"/>
                </a:lnTo>
                <a:lnTo>
                  <a:pt x="7160579" y="1831072"/>
                </a:lnTo>
                <a:lnTo>
                  <a:pt x="7157324" y="1828473"/>
                </a:lnTo>
                <a:lnTo>
                  <a:pt x="7151030" y="1828040"/>
                </a:lnTo>
                <a:lnTo>
                  <a:pt x="7148534" y="1829773"/>
                </a:lnTo>
                <a:lnTo>
                  <a:pt x="7149077" y="1833237"/>
                </a:lnTo>
                <a:lnTo>
                  <a:pt x="7147341" y="1837243"/>
                </a:lnTo>
                <a:lnTo>
                  <a:pt x="7141806" y="1843631"/>
                </a:lnTo>
                <a:lnTo>
                  <a:pt x="7137791" y="1841141"/>
                </a:lnTo>
                <a:lnTo>
                  <a:pt x="7135838" y="1837243"/>
                </a:lnTo>
                <a:lnTo>
                  <a:pt x="7137356" y="1836161"/>
                </a:lnTo>
                <a:lnTo>
                  <a:pt x="7135838" y="1827607"/>
                </a:lnTo>
                <a:lnTo>
                  <a:pt x="7132908" y="1819487"/>
                </a:lnTo>
                <a:lnTo>
                  <a:pt x="7129327" y="1816130"/>
                </a:lnTo>
                <a:lnTo>
                  <a:pt x="7125202" y="1813315"/>
                </a:lnTo>
                <a:lnTo>
                  <a:pt x="7122382" y="1813207"/>
                </a:lnTo>
                <a:lnTo>
                  <a:pt x="7121839" y="1810067"/>
                </a:lnTo>
                <a:lnTo>
                  <a:pt x="7122273" y="1803571"/>
                </a:lnTo>
                <a:lnTo>
                  <a:pt x="7121079" y="1798807"/>
                </a:lnTo>
                <a:lnTo>
                  <a:pt x="7122816" y="1794909"/>
                </a:lnTo>
                <a:lnTo>
                  <a:pt x="7125638" y="1793394"/>
                </a:lnTo>
                <a:lnTo>
                  <a:pt x="7126397" y="1791228"/>
                </a:lnTo>
                <a:lnTo>
                  <a:pt x="7129544" y="1790686"/>
                </a:lnTo>
                <a:lnTo>
                  <a:pt x="7131605" y="1785923"/>
                </a:lnTo>
                <a:lnTo>
                  <a:pt x="7133341" y="1783541"/>
                </a:lnTo>
                <a:lnTo>
                  <a:pt x="7132799" y="1781484"/>
                </a:lnTo>
                <a:lnTo>
                  <a:pt x="7128024" y="1777911"/>
                </a:lnTo>
                <a:lnTo>
                  <a:pt x="7126179" y="1777586"/>
                </a:lnTo>
                <a:lnTo>
                  <a:pt x="7124769" y="1775853"/>
                </a:lnTo>
                <a:lnTo>
                  <a:pt x="7126505" y="1772280"/>
                </a:lnTo>
                <a:lnTo>
                  <a:pt x="7129977" y="1771523"/>
                </a:lnTo>
                <a:lnTo>
                  <a:pt x="7137465" y="1775637"/>
                </a:lnTo>
                <a:lnTo>
                  <a:pt x="7145495" y="1776936"/>
                </a:lnTo>
                <a:lnTo>
                  <a:pt x="7148208" y="1774771"/>
                </a:lnTo>
                <a:lnTo>
                  <a:pt x="7148534" y="1771198"/>
                </a:lnTo>
                <a:lnTo>
                  <a:pt x="7150054" y="1769682"/>
                </a:lnTo>
                <a:lnTo>
                  <a:pt x="7148534" y="1766217"/>
                </a:lnTo>
                <a:lnTo>
                  <a:pt x="7146364" y="1765027"/>
                </a:lnTo>
                <a:lnTo>
                  <a:pt x="7145495" y="1762753"/>
                </a:lnTo>
                <a:lnTo>
                  <a:pt x="7142891" y="1758422"/>
                </a:lnTo>
                <a:lnTo>
                  <a:pt x="7141480" y="1754091"/>
                </a:lnTo>
                <a:lnTo>
                  <a:pt x="7145061" y="1749976"/>
                </a:lnTo>
                <a:lnTo>
                  <a:pt x="7147124" y="1749652"/>
                </a:lnTo>
                <a:lnTo>
                  <a:pt x="7147557" y="1747703"/>
                </a:lnTo>
                <a:lnTo>
                  <a:pt x="7145821" y="1743047"/>
                </a:lnTo>
                <a:lnTo>
                  <a:pt x="7143434" y="1735793"/>
                </a:lnTo>
                <a:lnTo>
                  <a:pt x="7144302" y="1732545"/>
                </a:lnTo>
                <a:lnTo>
                  <a:pt x="7143759" y="1723558"/>
                </a:lnTo>
                <a:lnTo>
                  <a:pt x="7141806" y="1718145"/>
                </a:lnTo>
                <a:lnTo>
                  <a:pt x="7133558" y="1705369"/>
                </a:lnTo>
                <a:lnTo>
                  <a:pt x="7132257" y="1699631"/>
                </a:lnTo>
                <a:lnTo>
                  <a:pt x="7130195" y="1696599"/>
                </a:lnTo>
                <a:lnTo>
                  <a:pt x="7131388" y="1695083"/>
                </a:lnTo>
                <a:lnTo>
                  <a:pt x="7133558" y="1695083"/>
                </a:lnTo>
                <a:lnTo>
                  <a:pt x="7136054" y="1692160"/>
                </a:lnTo>
                <a:close/>
                <a:moveTo>
                  <a:pt x="4967783" y="1689671"/>
                </a:moveTo>
                <a:lnTo>
                  <a:pt x="4964311" y="1694110"/>
                </a:lnTo>
                <a:lnTo>
                  <a:pt x="4964311" y="1700174"/>
                </a:lnTo>
                <a:lnTo>
                  <a:pt x="4957908" y="1708077"/>
                </a:lnTo>
                <a:lnTo>
                  <a:pt x="4953242" y="1710351"/>
                </a:lnTo>
                <a:lnTo>
                  <a:pt x="4954435" y="1722044"/>
                </a:lnTo>
                <a:lnTo>
                  <a:pt x="4958016" y="1725617"/>
                </a:lnTo>
                <a:lnTo>
                  <a:pt x="4955955" y="1740450"/>
                </a:lnTo>
                <a:lnTo>
                  <a:pt x="4952374" y="1748679"/>
                </a:lnTo>
                <a:lnTo>
                  <a:pt x="4962249" y="1752468"/>
                </a:lnTo>
                <a:lnTo>
                  <a:pt x="4966372" y="1759181"/>
                </a:lnTo>
                <a:lnTo>
                  <a:pt x="4964853" y="1762754"/>
                </a:lnTo>
                <a:lnTo>
                  <a:pt x="4972558" y="1769250"/>
                </a:lnTo>
                <a:lnTo>
                  <a:pt x="4973900" y="1766794"/>
                </a:lnTo>
                <a:lnTo>
                  <a:pt x="4969952" y="1763511"/>
                </a:lnTo>
                <a:lnTo>
                  <a:pt x="4971581" y="1759830"/>
                </a:lnTo>
                <a:lnTo>
                  <a:pt x="4967457" y="1753225"/>
                </a:lnTo>
                <a:lnTo>
                  <a:pt x="4957582" y="1749436"/>
                </a:lnTo>
                <a:lnTo>
                  <a:pt x="4961163" y="1741099"/>
                </a:lnTo>
                <a:lnTo>
                  <a:pt x="4963333" y="1726374"/>
                </a:lnTo>
                <a:lnTo>
                  <a:pt x="4959644" y="1722801"/>
                </a:lnTo>
                <a:lnTo>
                  <a:pt x="4958450" y="1711000"/>
                </a:lnTo>
                <a:lnTo>
                  <a:pt x="4963116" y="1708834"/>
                </a:lnTo>
                <a:lnTo>
                  <a:pt x="4969410" y="1700931"/>
                </a:lnTo>
                <a:lnTo>
                  <a:pt x="4969410" y="1694867"/>
                </a:lnTo>
                <a:lnTo>
                  <a:pt x="4971117" y="1692685"/>
                </a:lnTo>
                <a:close/>
                <a:moveTo>
                  <a:pt x="5883354" y="1689146"/>
                </a:moveTo>
                <a:lnTo>
                  <a:pt x="5883555" y="1692051"/>
                </a:lnTo>
                <a:lnTo>
                  <a:pt x="5884640" y="1695083"/>
                </a:lnTo>
                <a:lnTo>
                  <a:pt x="5887049" y="1697278"/>
                </a:lnTo>
                <a:lnTo>
                  <a:pt x="5884641" y="1695084"/>
                </a:lnTo>
                <a:lnTo>
                  <a:pt x="5883556" y="1692053"/>
                </a:lnTo>
                <a:close/>
                <a:moveTo>
                  <a:pt x="4051468" y="1687288"/>
                </a:moveTo>
                <a:lnTo>
                  <a:pt x="4049166" y="1687444"/>
                </a:lnTo>
                <a:lnTo>
                  <a:pt x="4051468" y="1687289"/>
                </a:lnTo>
                <a:close/>
                <a:moveTo>
                  <a:pt x="2537661" y="1686747"/>
                </a:moveTo>
                <a:lnTo>
                  <a:pt x="2541892" y="1688479"/>
                </a:lnTo>
                <a:lnTo>
                  <a:pt x="2552961" y="1692269"/>
                </a:lnTo>
                <a:lnTo>
                  <a:pt x="2559255" y="1692810"/>
                </a:lnTo>
                <a:lnTo>
                  <a:pt x="2564898" y="1694975"/>
                </a:lnTo>
                <a:lnTo>
                  <a:pt x="2569456" y="1699956"/>
                </a:lnTo>
                <a:lnTo>
                  <a:pt x="2571518" y="1700281"/>
                </a:lnTo>
                <a:lnTo>
                  <a:pt x="2576943" y="1704287"/>
                </a:lnTo>
                <a:lnTo>
                  <a:pt x="2580742" y="1708834"/>
                </a:lnTo>
                <a:lnTo>
                  <a:pt x="2583888" y="1709808"/>
                </a:lnTo>
                <a:lnTo>
                  <a:pt x="2586384" y="1711865"/>
                </a:lnTo>
                <a:lnTo>
                  <a:pt x="2587578" y="1714139"/>
                </a:lnTo>
                <a:lnTo>
                  <a:pt x="2590291" y="1716629"/>
                </a:lnTo>
                <a:lnTo>
                  <a:pt x="2589748" y="1719444"/>
                </a:lnTo>
                <a:lnTo>
                  <a:pt x="2584105" y="1721285"/>
                </a:lnTo>
                <a:lnTo>
                  <a:pt x="2579656" y="1719444"/>
                </a:lnTo>
                <a:lnTo>
                  <a:pt x="2576401" y="1719011"/>
                </a:lnTo>
                <a:lnTo>
                  <a:pt x="2572819" y="1716196"/>
                </a:lnTo>
                <a:lnTo>
                  <a:pt x="2568153" y="1715114"/>
                </a:lnTo>
                <a:lnTo>
                  <a:pt x="2561425" y="1715114"/>
                </a:lnTo>
                <a:lnTo>
                  <a:pt x="2552310" y="1708401"/>
                </a:lnTo>
                <a:lnTo>
                  <a:pt x="2549815" y="1707968"/>
                </a:lnTo>
                <a:lnTo>
                  <a:pt x="2548512" y="1706019"/>
                </a:lnTo>
                <a:lnTo>
                  <a:pt x="2547535" y="1701688"/>
                </a:lnTo>
                <a:lnTo>
                  <a:pt x="2539614" y="1695733"/>
                </a:lnTo>
                <a:lnTo>
                  <a:pt x="2534948" y="1693568"/>
                </a:lnTo>
                <a:lnTo>
                  <a:pt x="2532886" y="1689345"/>
                </a:lnTo>
                <a:close/>
                <a:moveTo>
                  <a:pt x="5882037" y="1686423"/>
                </a:moveTo>
                <a:lnTo>
                  <a:pt x="5882037" y="1686423"/>
                </a:lnTo>
                <a:lnTo>
                  <a:pt x="5882500" y="1687309"/>
                </a:lnTo>
                <a:close/>
                <a:moveTo>
                  <a:pt x="5855158" y="1685804"/>
                </a:moveTo>
                <a:lnTo>
                  <a:pt x="5852193" y="1688913"/>
                </a:lnTo>
                <a:lnTo>
                  <a:pt x="5851976" y="1692702"/>
                </a:lnTo>
                <a:lnTo>
                  <a:pt x="5853387" y="1695192"/>
                </a:lnTo>
                <a:lnTo>
                  <a:pt x="5850927" y="1699557"/>
                </a:lnTo>
                <a:lnTo>
                  <a:pt x="5850458" y="1700388"/>
                </a:lnTo>
                <a:lnTo>
                  <a:pt x="5850458" y="1700388"/>
                </a:lnTo>
                <a:lnTo>
                  <a:pt x="5850927" y="1699557"/>
                </a:lnTo>
                <a:lnTo>
                  <a:pt x="5853388" y="1695192"/>
                </a:lnTo>
                <a:lnTo>
                  <a:pt x="5851977" y="1692701"/>
                </a:lnTo>
                <a:lnTo>
                  <a:pt x="5852194" y="1688912"/>
                </a:lnTo>
                <a:close/>
                <a:moveTo>
                  <a:pt x="5877139" y="1685108"/>
                </a:moveTo>
                <a:lnTo>
                  <a:pt x="5877587" y="1685555"/>
                </a:lnTo>
                <a:lnTo>
                  <a:pt x="5879323" y="1688587"/>
                </a:lnTo>
                <a:lnTo>
                  <a:pt x="5879324" y="1688587"/>
                </a:lnTo>
                <a:lnTo>
                  <a:pt x="5877588" y="1685556"/>
                </a:lnTo>
                <a:close/>
                <a:moveTo>
                  <a:pt x="4038217" y="1683921"/>
                </a:moveTo>
                <a:lnTo>
                  <a:pt x="4038663" y="1684366"/>
                </a:lnTo>
                <a:lnTo>
                  <a:pt x="4042895" y="1684366"/>
                </a:lnTo>
                <a:lnTo>
                  <a:pt x="4042895" y="1684365"/>
                </a:lnTo>
                <a:lnTo>
                  <a:pt x="4038663" y="1684365"/>
                </a:lnTo>
                <a:close/>
                <a:moveTo>
                  <a:pt x="4027811" y="1681442"/>
                </a:moveTo>
                <a:lnTo>
                  <a:pt x="4026509" y="1684907"/>
                </a:lnTo>
                <a:lnTo>
                  <a:pt x="4023037" y="1685231"/>
                </a:lnTo>
                <a:lnTo>
                  <a:pt x="4021952" y="1686855"/>
                </a:lnTo>
                <a:lnTo>
                  <a:pt x="4020469" y="1687144"/>
                </a:lnTo>
                <a:lnTo>
                  <a:pt x="4021952" y="1686856"/>
                </a:lnTo>
                <a:lnTo>
                  <a:pt x="4023037" y="1685231"/>
                </a:lnTo>
                <a:lnTo>
                  <a:pt x="4026509" y="1684907"/>
                </a:lnTo>
                <a:lnTo>
                  <a:pt x="4027812" y="1681442"/>
                </a:lnTo>
                <a:close/>
                <a:moveTo>
                  <a:pt x="6946150" y="1680871"/>
                </a:moveTo>
                <a:lnTo>
                  <a:pt x="6943871" y="1682523"/>
                </a:lnTo>
                <a:lnTo>
                  <a:pt x="6942894" y="1685664"/>
                </a:lnTo>
                <a:lnTo>
                  <a:pt x="6943232" y="1686181"/>
                </a:lnTo>
                <a:lnTo>
                  <a:pt x="6943763" y="1684474"/>
                </a:lnTo>
                <a:lnTo>
                  <a:pt x="6946150" y="1682742"/>
                </a:lnTo>
                <a:close/>
                <a:moveTo>
                  <a:pt x="3957276" y="1680034"/>
                </a:moveTo>
                <a:lnTo>
                  <a:pt x="3959555" y="1680034"/>
                </a:lnTo>
                <a:lnTo>
                  <a:pt x="3960965" y="1681766"/>
                </a:lnTo>
                <a:lnTo>
                  <a:pt x="3958470" y="1682416"/>
                </a:lnTo>
                <a:lnTo>
                  <a:pt x="3955648" y="1680900"/>
                </a:lnTo>
                <a:close/>
                <a:moveTo>
                  <a:pt x="5876018" y="1676865"/>
                </a:moveTo>
                <a:lnTo>
                  <a:pt x="5876393" y="1678735"/>
                </a:lnTo>
                <a:lnTo>
                  <a:pt x="5876176" y="1684148"/>
                </a:lnTo>
                <a:lnTo>
                  <a:pt x="5876177" y="1684149"/>
                </a:lnTo>
                <a:lnTo>
                  <a:pt x="5876394" y="1678735"/>
                </a:lnTo>
                <a:close/>
                <a:moveTo>
                  <a:pt x="4695902" y="1676139"/>
                </a:moveTo>
                <a:lnTo>
                  <a:pt x="4696057" y="1677328"/>
                </a:lnTo>
                <a:lnTo>
                  <a:pt x="4698119" y="1677679"/>
                </a:lnTo>
                <a:lnTo>
                  <a:pt x="4698119" y="1676462"/>
                </a:lnTo>
                <a:close/>
                <a:moveTo>
                  <a:pt x="4015875" y="1673213"/>
                </a:moveTo>
                <a:lnTo>
                  <a:pt x="4017720" y="1675703"/>
                </a:lnTo>
                <a:lnTo>
                  <a:pt x="4015333" y="1676353"/>
                </a:lnTo>
                <a:lnTo>
                  <a:pt x="4014465" y="1675161"/>
                </a:lnTo>
                <a:lnTo>
                  <a:pt x="4011752" y="1675053"/>
                </a:lnTo>
                <a:close/>
                <a:moveTo>
                  <a:pt x="6598939" y="1672167"/>
                </a:moveTo>
                <a:lnTo>
                  <a:pt x="6602804" y="1677003"/>
                </a:lnTo>
                <a:lnTo>
                  <a:pt x="6611702" y="1683390"/>
                </a:lnTo>
                <a:lnTo>
                  <a:pt x="6611702" y="1683390"/>
                </a:lnTo>
                <a:lnTo>
                  <a:pt x="6602804" y="1677002"/>
                </a:lnTo>
                <a:close/>
                <a:moveTo>
                  <a:pt x="5218457" y="1670724"/>
                </a:moveTo>
                <a:lnTo>
                  <a:pt x="5216394" y="1672131"/>
                </a:lnTo>
                <a:lnTo>
                  <a:pt x="5212665" y="1670922"/>
                </a:lnTo>
                <a:lnTo>
                  <a:pt x="5213138" y="1671481"/>
                </a:lnTo>
                <a:lnTo>
                  <a:pt x="5217371" y="1672888"/>
                </a:lnTo>
                <a:lnTo>
                  <a:pt x="5219541" y="1671481"/>
                </a:lnTo>
                <a:lnTo>
                  <a:pt x="5222796" y="1673430"/>
                </a:lnTo>
                <a:lnTo>
                  <a:pt x="5229783" y="1673113"/>
                </a:lnTo>
                <a:lnTo>
                  <a:pt x="5228983" y="1672673"/>
                </a:lnTo>
                <a:lnTo>
                  <a:pt x="5221712" y="1672673"/>
                </a:lnTo>
                <a:close/>
                <a:moveTo>
                  <a:pt x="4013814" y="1670181"/>
                </a:moveTo>
                <a:lnTo>
                  <a:pt x="4017177" y="1670289"/>
                </a:lnTo>
                <a:lnTo>
                  <a:pt x="4021518" y="1672022"/>
                </a:lnTo>
                <a:lnTo>
                  <a:pt x="4020650" y="1673213"/>
                </a:lnTo>
                <a:lnTo>
                  <a:pt x="4018263" y="1672672"/>
                </a:lnTo>
                <a:lnTo>
                  <a:pt x="4017503" y="1671264"/>
                </a:lnTo>
                <a:lnTo>
                  <a:pt x="4014573" y="1672239"/>
                </a:lnTo>
                <a:close/>
                <a:moveTo>
                  <a:pt x="2733968" y="1667691"/>
                </a:moveTo>
                <a:lnTo>
                  <a:pt x="2735595" y="1668124"/>
                </a:lnTo>
                <a:lnTo>
                  <a:pt x="2735595" y="1670615"/>
                </a:lnTo>
                <a:lnTo>
                  <a:pt x="2734076" y="1670722"/>
                </a:lnTo>
                <a:lnTo>
                  <a:pt x="2733208" y="1671589"/>
                </a:lnTo>
                <a:lnTo>
                  <a:pt x="2731906" y="1670939"/>
                </a:lnTo>
                <a:lnTo>
                  <a:pt x="2731798" y="1668340"/>
                </a:lnTo>
                <a:close/>
                <a:moveTo>
                  <a:pt x="7294381" y="1667150"/>
                </a:moveTo>
                <a:lnTo>
                  <a:pt x="7296008" y="1671805"/>
                </a:lnTo>
                <a:lnTo>
                  <a:pt x="7296334" y="1676570"/>
                </a:lnTo>
                <a:lnTo>
                  <a:pt x="7292536" y="1678952"/>
                </a:lnTo>
                <a:lnTo>
                  <a:pt x="7287219" y="1679493"/>
                </a:lnTo>
                <a:lnTo>
                  <a:pt x="7282552" y="1685123"/>
                </a:lnTo>
                <a:lnTo>
                  <a:pt x="7278971" y="1692160"/>
                </a:lnTo>
                <a:lnTo>
                  <a:pt x="7275715" y="1695300"/>
                </a:lnTo>
                <a:lnTo>
                  <a:pt x="7273219" y="1694217"/>
                </a:lnTo>
                <a:lnTo>
                  <a:pt x="7271049" y="1695950"/>
                </a:lnTo>
                <a:lnTo>
                  <a:pt x="7270723" y="1698549"/>
                </a:lnTo>
                <a:lnTo>
                  <a:pt x="7268445" y="1700606"/>
                </a:lnTo>
                <a:lnTo>
                  <a:pt x="7269205" y="1706777"/>
                </a:lnTo>
                <a:lnTo>
                  <a:pt x="7265949" y="1709700"/>
                </a:lnTo>
                <a:lnTo>
                  <a:pt x="7264538" y="1714789"/>
                </a:lnTo>
                <a:lnTo>
                  <a:pt x="7262150" y="1715764"/>
                </a:lnTo>
                <a:lnTo>
                  <a:pt x="7260957" y="1710458"/>
                </a:lnTo>
                <a:lnTo>
                  <a:pt x="7261825" y="1706777"/>
                </a:lnTo>
                <a:lnTo>
                  <a:pt x="7263779" y="1705153"/>
                </a:lnTo>
                <a:lnTo>
                  <a:pt x="7261500" y="1702771"/>
                </a:lnTo>
                <a:lnTo>
                  <a:pt x="7262043" y="1699956"/>
                </a:lnTo>
                <a:lnTo>
                  <a:pt x="7265840" y="1697899"/>
                </a:lnTo>
                <a:lnTo>
                  <a:pt x="7267143" y="1693243"/>
                </a:lnTo>
                <a:lnTo>
                  <a:pt x="7266709" y="1690537"/>
                </a:lnTo>
                <a:lnTo>
                  <a:pt x="7268879" y="1690645"/>
                </a:lnTo>
                <a:lnTo>
                  <a:pt x="7271700" y="1685772"/>
                </a:lnTo>
                <a:lnTo>
                  <a:pt x="7273545" y="1682633"/>
                </a:lnTo>
                <a:lnTo>
                  <a:pt x="7272026" y="1680034"/>
                </a:lnTo>
                <a:lnTo>
                  <a:pt x="7273654" y="1676028"/>
                </a:lnTo>
                <a:lnTo>
                  <a:pt x="7274739" y="1675487"/>
                </a:lnTo>
                <a:lnTo>
                  <a:pt x="7276475" y="1679060"/>
                </a:lnTo>
                <a:lnTo>
                  <a:pt x="7278971" y="1680034"/>
                </a:lnTo>
                <a:lnTo>
                  <a:pt x="7282336" y="1677760"/>
                </a:lnTo>
                <a:lnTo>
                  <a:pt x="7285265" y="1677436"/>
                </a:lnTo>
                <a:lnTo>
                  <a:pt x="7286242" y="1673754"/>
                </a:lnTo>
                <a:lnTo>
                  <a:pt x="7291342" y="1668016"/>
                </a:lnTo>
                <a:close/>
                <a:moveTo>
                  <a:pt x="4065576" y="1666934"/>
                </a:moveTo>
                <a:lnTo>
                  <a:pt x="4065575" y="1666934"/>
                </a:lnTo>
                <a:lnTo>
                  <a:pt x="4062645" y="1671698"/>
                </a:lnTo>
                <a:lnTo>
                  <a:pt x="4059606" y="1675488"/>
                </a:lnTo>
                <a:lnTo>
                  <a:pt x="4061017" y="1682417"/>
                </a:lnTo>
                <a:lnTo>
                  <a:pt x="4059389" y="1690320"/>
                </a:lnTo>
                <a:lnTo>
                  <a:pt x="4057436" y="1695517"/>
                </a:lnTo>
                <a:lnTo>
                  <a:pt x="4056555" y="1695263"/>
                </a:lnTo>
                <a:lnTo>
                  <a:pt x="4057437" y="1695517"/>
                </a:lnTo>
                <a:lnTo>
                  <a:pt x="4057979" y="1695734"/>
                </a:lnTo>
                <a:lnTo>
                  <a:pt x="4056460" y="1699199"/>
                </a:lnTo>
                <a:lnTo>
                  <a:pt x="4060041" y="1706561"/>
                </a:lnTo>
                <a:lnTo>
                  <a:pt x="4059932" y="1709484"/>
                </a:lnTo>
                <a:lnTo>
                  <a:pt x="4062862" y="1713923"/>
                </a:lnTo>
                <a:lnTo>
                  <a:pt x="4060042" y="1720527"/>
                </a:lnTo>
                <a:lnTo>
                  <a:pt x="4062863" y="1713923"/>
                </a:lnTo>
                <a:lnTo>
                  <a:pt x="4059933" y="1709484"/>
                </a:lnTo>
                <a:lnTo>
                  <a:pt x="4060042" y="1706560"/>
                </a:lnTo>
                <a:lnTo>
                  <a:pt x="4056461" y="1699198"/>
                </a:lnTo>
                <a:lnTo>
                  <a:pt x="4057980" y="1695733"/>
                </a:lnTo>
                <a:lnTo>
                  <a:pt x="4057438" y="1695517"/>
                </a:lnTo>
                <a:lnTo>
                  <a:pt x="4059391" y="1690319"/>
                </a:lnTo>
                <a:lnTo>
                  <a:pt x="4061019" y="1682415"/>
                </a:lnTo>
                <a:lnTo>
                  <a:pt x="4059608" y="1675486"/>
                </a:lnTo>
                <a:lnTo>
                  <a:pt x="4062646" y="1671697"/>
                </a:lnTo>
                <a:close/>
                <a:moveTo>
                  <a:pt x="4688136" y="1666718"/>
                </a:moveTo>
                <a:lnTo>
                  <a:pt x="4675933" y="1668414"/>
                </a:lnTo>
                <a:lnTo>
                  <a:pt x="4677284" y="1670182"/>
                </a:lnTo>
                <a:lnTo>
                  <a:pt x="4690022" y="1668307"/>
                </a:lnTo>
                <a:close/>
                <a:moveTo>
                  <a:pt x="4574628" y="1665417"/>
                </a:moveTo>
                <a:lnTo>
                  <a:pt x="4569637" y="1665634"/>
                </a:lnTo>
                <a:lnTo>
                  <a:pt x="4569636" y="1665635"/>
                </a:lnTo>
                <a:lnTo>
                  <a:pt x="4574628" y="1665419"/>
                </a:lnTo>
                <a:lnTo>
                  <a:pt x="4578751" y="1668017"/>
                </a:lnTo>
                <a:lnTo>
                  <a:pt x="4585588" y="1665960"/>
                </a:lnTo>
                <a:lnTo>
                  <a:pt x="4589712" y="1669641"/>
                </a:lnTo>
                <a:lnTo>
                  <a:pt x="4594920" y="1668883"/>
                </a:lnTo>
                <a:lnTo>
                  <a:pt x="4594920" y="1668882"/>
                </a:lnTo>
                <a:lnTo>
                  <a:pt x="4589712" y="1669640"/>
                </a:lnTo>
                <a:lnTo>
                  <a:pt x="4585589" y="1665958"/>
                </a:lnTo>
                <a:lnTo>
                  <a:pt x="4578752" y="1668016"/>
                </a:lnTo>
                <a:close/>
                <a:moveTo>
                  <a:pt x="5247539" y="1664444"/>
                </a:moveTo>
                <a:lnTo>
                  <a:pt x="5245152" y="1666718"/>
                </a:lnTo>
                <a:lnTo>
                  <a:pt x="5245152" y="1671374"/>
                </a:lnTo>
                <a:lnTo>
                  <a:pt x="5242764" y="1676354"/>
                </a:lnTo>
                <a:lnTo>
                  <a:pt x="5237724" y="1677277"/>
                </a:lnTo>
                <a:lnTo>
                  <a:pt x="5238423" y="1677653"/>
                </a:lnTo>
                <a:lnTo>
                  <a:pt x="5243741" y="1676678"/>
                </a:lnTo>
                <a:lnTo>
                  <a:pt x="5246236" y="1671698"/>
                </a:lnTo>
                <a:lnTo>
                  <a:pt x="5246562" y="1667042"/>
                </a:lnTo>
                <a:lnTo>
                  <a:pt x="5248612" y="1665089"/>
                </a:lnTo>
                <a:close/>
                <a:moveTo>
                  <a:pt x="4553793" y="1664334"/>
                </a:moveTo>
                <a:lnTo>
                  <a:pt x="4546305" y="1668882"/>
                </a:lnTo>
                <a:lnTo>
                  <a:pt x="4543050" y="1667366"/>
                </a:lnTo>
                <a:lnTo>
                  <a:pt x="4535779" y="1666391"/>
                </a:lnTo>
                <a:lnTo>
                  <a:pt x="4533744" y="1668423"/>
                </a:lnTo>
                <a:lnTo>
                  <a:pt x="4535779" y="1666393"/>
                </a:lnTo>
                <a:lnTo>
                  <a:pt x="4543049" y="1667367"/>
                </a:lnTo>
                <a:lnTo>
                  <a:pt x="4546305" y="1668883"/>
                </a:lnTo>
                <a:lnTo>
                  <a:pt x="4553793" y="1664336"/>
                </a:lnTo>
                <a:lnTo>
                  <a:pt x="4560303" y="1665201"/>
                </a:lnTo>
                <a:lnTo>
                  <a:pt x="4561280" y="1669749"/>
                </a:lnTo>
                <a:lnTo>
                  <a:pt x="4565187" y="1671048"/>
                </a:lnTo>
                <a:lnTo>
                  <a:pt x="4565187" y="1671048"/>
                </a:lnTo>
                <a:lnTo>
                  <a:pt x="4561280" y="1669748"/>
                </a:lnTo>
                <a:lnTo>
                  <a:pt x="4560304" y="1665201"/>
                </a:lnTo>
                <a:close/>
                <a:moveTo>
                  <a:pt x="5272997" y="1663932"/>
                </a:moveTo>
                <a:lnTo>
                  <a:pt x="5269785" y="1666826"/>
                </a:lnTo>
                <a:lnTo>
                  <a:pt x="5261646" y="1669533"/>
                </a:lnTo>
                <a:lnTo>
                  <a:pt x="5255758" y="1668964"/>
                </a:lnTo>
                <a:lnTo>
                  <a:pt x="5256328" y="1669315"/>
                </a:lnTo>
                <a:lnTo>
                  <a:pt x="5263056" y="1669965"/>
                </a:lnTo>
                <a:lnTo>
                  <a:pt x="5271195" y="1667259"/>
                </a:lnTo>
                <a:close/>
                <a:moveTo>
                  <a:pt x="6945345" y="1663834"/>
                </a:moveTo>
                <a:lnTo>
                  <a:pt x="6945391" y="1664226"/>
                </a:lnTo>
                <a:lnTo>
                  <a:pt x="6944305" y="1665200"/>
                </a:lnTo>
                <a:lnTo>
                  <a:pt x="6942786" y="1665850"/>
                </a:lnTo>
                <a:lnTo>
                  <a:pt x="6943003" y="1669609"/>
                </a:lnTo>
                <a:lnTo>
                  <a:pt x="6943003" y="1667801"/>
                </a:lnTo>
                <a:lnTo>
                  <a:pt x="6944522" y="1667151"/>
                </a:lnTo>
                <a:lnTo>
                  <a:pt x="6945608" y="1666068"/>
                </a:lnTo>
                <a:lnTo>
                  <a:pt x="6945608" y="1664228"/>
                </a:lnTo>
                <a:close/>
                <a:moveTo>
                  <a:pt x="6944218" y="1659684"/>
                </a:moveTo>
                <a:lnTo>
                  <a:pt x="6944088" y="1660761"/>
                </a:lnTo>
                <a:lnTo>
                  <a:pt x="6944522" y="1661411"/>
                </a:lnTo>
                <a:lnTo>
                  <a:pt x="6944522" y="1659897"/>
                </a:lnTo>
                <a:close/>
                <a:moveTo>
                  <a:pt x="4081053" y="1658712"/>
                </a:moveTo>
                <a:lnTo>
                  <a:pt x="4078814" y="1660330"/>
                </a:lnTo>
                <a:lnTo>
                  <a:pt x="4081418" y="1664768"/>
                </a:lnTo>
                <a:lnTo>
                  <a:pt x="4077947" y="1666717"/>
                </a:lnTo>
                <a:lnTo>
                  <a:pt x="4081419" y="1664768"/>
                </a:lnTo>
                <a:lnTo>
                  <a:pt x="4078815" y="1660329"/>
                </a:lnTo>
                <a:close/>
                <a:moveTo>
                  <a:pt x="5167236" y="1658381"/>
                </a:moveTo>
                <a:lnTo>
                  <a:pt x="5163439" y="1659572"/>
                </a:lnTo>
                <a:lnTo>
                  <a:pt x="5163439" y="1664011"/>
                </a:lnTo>
                <a:lnTo>
                  <a:pt x="5158447" y="1664011"/>
                </a:lnTo>
                <a:lnTo>
                  <a:pt x="5158447" y="1672889"/>
                </a:lnTo>
                <a:lnTo>
                  <a:pt x="5152587" y="1677328"/>
                </a:lnTo>
                <a:lnTo>
                  <a:pt x="5148789" y="1675813"/>
                </a:lnTo>
                <a:lnTo>
                  <a:pt x="5146076" y="1671374"/>
                </a:lnTo>
                <a:lnTo>
                  <a:pt x="5136961" y="1669966"/>
                </a:lnTo>
                <a:lnTo>
                  <a:pt x="5133705" y="1665311"/>
                </a:lnTo>
                <a:lnTo>
                  <a:pt x="5129038" y="1668017"/>
                </a:lnTo>
                <a:lnTo>
                  <a:pt x="5129038" y="1674080"/>
                </a:lnTo>
                <a:lnTo>
                  <a:pt x="5125892" y="1678736"/>
                </a:lnTo>
                <a:lnTo>
                  <a:pt x="5123783" y="1678063"/>
                </a:lnTo>
                <a:lnTo>
                  <a:pt x="5123830" y="1678843"/>
                </a:lnTo>
                <a:lnTo>
                  <a:pt x="5126651" y="1679818"/>
                </a:lnTo>
                <a:lnTo>
                  <a:pt x="5129689" y="1675162"/>
                </a:lnTo>
                <a:lnTo>
                  <a:pt x="5129255" y="1669099"/>
                </a:lnTo>
                <a:lnTo>
                  <a:pt x="5133812" y="1666392"/>
                </a:lnTo>
                <a:lnTo>
                  <a:pt x="5137177" y="1670939"/>
                </a:lnTo>
                <a:lnTo>
                  <a:pt x="5146292" y="1672347"/>
                </a:lnTo>
                <a:lnTo>
                  <a:pt x="5149005" y="1676894"/>
                </a:lnTo>
                <a:lnTo>
                  <a:pt x="5152803" y="1678410"/>
                </a:lnTo>
                <a:lnTo>
                  <a:pt x="5158663" y="1673863"/>
                </a:lnTo>
                <a:lnTo>
                  <a:pt x="5159205" y="1664985"/>
                </a:lnTo>
                <a:lnTo>
                  <a:pt x="5164198" y="1664443"/>
                </a:lnTo>
                <a:lnTo>
                  <a:pt x="5164523" y="1660004"/>
                </a:lnTo>
                <a:lnTo>
                  <a:pt x="5167710" y="1659005"/>
                </a:lnTo>
                <a:close/>
                <a:moveTo>
                  <a:pt x="5177546" y="1657190"/>
                </a:moveTo>
                <a:lnTo>
                  <a:pt x="5172011" y="1658056"/>
                </a:lnTo>
                <a:lnTo>
                  <a:pt x="5170260" y="1661367"/>
                </a:lnTo>
                <a:lnTo>
                  <a:pt x="5171034" y="1662386"/>
                </a:lnTo>
                <a:lnTo>
                  <a:pt x="5173095" y="1658488"/>
                </a:lnTo>
                <a:lnTo>
                  <a:pt x="5178098" y="1657706"/>
                </a:lnTo>
                <a:close/>
                <a:moveTo>
                  <a:pt x="4488792" y="1657081"/>
                </a:moveTo>
                <a:lnTo>
                  <a:pt x="4488791" y="1657081"/>
                </a:lnTo>
                <a:lnTo>
                  <a:pt x="4491721" y="1657189"/>
                </a:lnTo>
                <a:lnTo>
                  <a:pt x="4497581" y="1660546"/>
                </a:lnTo>
                <a:lnTo>
                  <a:pt x="4511363" y="1662603"/>
                </a:lnTo>
                <a:lnTo>
                  <a:pt x="4517222" y="1665527"/>
                </a:lnTo>
                <a:lnTo>
                  <a:pt x="4518199" y="1668233"/>
                </a:lnTo>
                <a:lnTo>
                  <a:pt x="4526555" y="1664985"/>
                </a:lnTo>
                <a:lnTo>
                  <a:pt x="4530461" y="1668558"/>
                </a:lnTo>
                <a:lnTo>
                  <a:pt x="4533717" y="1668450"/>
                </a:lnTo>
                <a:lnTo>
                  <a:pt x="4533718" y="1668449"/>
                </a:lnTo>
                <a:lnTo>
                  <a:pt x="4530462" y="1668557"/>
                </a:lnTo>
                <a:lnTo>
                  <a:pt x="4526555" y="1664984"/>
                </a:lnTo>
                <a:lnTo>
                  <a:pt x="4518199" y="1668232"/>
                </a:lnTo>
                <a:lnTo>
                  <a:pt x="4517223" y="1665526"/>
                </a:lnTo>
                <a:lnTo>
                  <a:pt x="4511363" y="1662603"/>
                </a:lnTo>
                <a:lnTo>
                  <a:pt x="4497581" y="1660545"/>
                </a:lnTo>
                <a:lnTo>
                  <a:pt x="4491722" y="1657189"/>
                </a:lnTo>
                <a:close/>
                <a:moveTo>
                  <a:pt x="5203373" y="1655241"/>
                </a:moveTo>
                <a:lnTo>
                  <a:pt x="5200768" y="1658489"/>
                </a:lnTo>
                <a:lnTo>
                  <a:pt x="5195451" y="1658489"/>
                </a:lnTo>
                <a:lnTo>
                  <a:pt x="5191653" y="1659680"/>
                </a:lnTo>
                <a:lnTo>
                  <a:pt x="5192521" y="1665527"/>
                </a:lnTo>
                <a:lnTo>
                  <a:pt x="5186673" y="1666092"/>
                </a:lnTo>
                <a:lnTo>
                  <a:pt x="5186878" y="1666501"/>
                </a:lnTo>
                <a:lnTo>
                  <a:pt x="5193605" y="1665851"/>
                </a:lnTo>
                <a:lnTo>
                  <a:pt x="5192846" y="1660004"/>
                </a:lnTo>
                <a:lnTo>
                  <a:pt x="5196535" y="1658813"/>
                </a:lnTo>
                <a:lnTo>
                  <a:pt x="5201961" y="1659247"/>
                </a:lnTo>
                <a:lnTo>
                  <a:pt x="5204457" y="1655998"/>
                </a:lnTo>
                <a:lnTo>
                  <a:pt x="5210209" y="1659139"/>
                </a:lnTo>
                <a:lnTo>
                  <a:pt x="5212427" y="1660245"/>
                </a:lnTo>
                <a:lnTo>
                  <a:pt x="5212488" y="1660113"/>
                </a:lnTo>
                <a:lnTo>
                  <a:pt x="5209016" y="1658381"/>
                </a:lnTo>
                <a:close/>
                <a:moveTo>
                  <a:pt x="5093330" y="1651658"/>
                </a:moveTo>
                <a:lnTo>
                  <a:pt x="5094530" y="1653508"/>
                </a:lnTo>
                <a:lnTo>
                  <a:pt x="5097351" y="1653617"/>
                </a:lnTo>
                <a:lnTo>
                  <a:pt x="5102126" y="1659788"/>
                </a:lnTo>
                <a:lnTo>
                  <a:pt x="5107334" y="1659788"/>
                </a:lnTo>
                <a:lnTo>
                  <a:pt x="5111132" y="1664768"/>
                </a:lnTo>
                <a:lnTo>
                  <a:pt x="5117861" y="1669749"/>
                </a:lnTo>
                <a:lnTo>
                  <a:pt x="5121659" y="1670182"/>
                </a:lnTo>
                <a:lnTo>
                  <a:pt x="5123179" y="1672858"/>
                </a:lnTo>
                <a:lnTo>
                  <a:pt x="5123179" y="1672348"/>
                </a:lnTo>
                <a:lnTo>
                  <a:pt x="5121334" y="1669099"/>
                </a:lnTo>
                <a:lnTo>
                  <a:pt x="5117536" y="1669099"/>
                </a:lnTo>
                <a:lnTo>
                  <a:pt x="5110808" y="1664119"/>
                </a:lnTo>
                <a:lnTo>
                  <a:pt x="5107010" y="1659139"/>
                </a:lnTo>
                <a:lnTo>
                  <a:pt x="5101801" y="1659139"/>
                </a:lnTo>
                <a:lnTo>
                  <a:pt x="5096918" y="1652968"/>
                </a:lnTo>
                <a:lnTo>
                  <a:pt x="5094205" y="1652968"/>
                </a:lnTo>
                <a:close/>
                <a:moveTo>
                  <a:pt x="5022475" y="1651126"/>
                </a:moveTo>
                <a:lnTo>
                  <a:pt x="5018894" y="1653942"/>
                </a:lnTo>
                <a:lnTo>
                  <a:pt x="5016615" y="1660330"/>
                </a:lnTo>
                <a:lnTo>
                  <a:pt x="5013360" y="1660330"/>
                </a:lnTo>
                <a:lnTo>
                  <a:pt x="5006306" y="1664769"/>
                </a:lnTo>
                <a:lnTo>
                  <a:pt x="5004787" y="1670291"/>
                </a:lnTo>
                <a:lnTo>
                  <a:pt x="5008260" y="1674621"/>
                </a:lnTo>
                <a:lnTo>
                  <a:pt x="5008260" y="1679711"/>
                </a:lnTo>
                <a:lnTo>
                  <a:pt x="5000555" y="1679711"/>
                </a:lnTo>
                <a:lnTo>
                  <a:pt x="4993176" y="1680576"/>
                </a:lnTo>
                <a:lnTo>
                  <a:pt x="4998710" y="1699632"/>
                </a:lnTo>
                <a:lnTo>
                  <a:pt x="4995780" y="1702014"/>
                </a:lnTo>
                <a:lnTo>
                  <a:pt x="4996648" y="1709268"/>
                </a:lnTo>
                <a:lnTo>
                  <a:pt x="4992737" y="1709613"/>
                </a:lnTo>
                <a:lnTo>
                  <a:pt x="4994477" y="1710675"/>
                </a:lnTo>
                <a:lnTo>
                  <a:pt x="5001856" y="1710026"/>
                </a:lnTo>
                <a:lnTo>
                  <a:pt x="5000988" y="1702771"/>
                </a:lnTo>
                <a:lnTo>
                  <a:pt x="5003918" y="1700389"/>
                </a:lnTo>
                <a:lnTo>
                  <a:pt x="4998383" y="1681333"/>
                </a:lnTo>
                <a:lnTo>
                  <a:pt x="5005871" y="1680468"/>
                </a:lnTo>
                <a:lnTo>
                  <a:pt x="5013576" y="1680468"/>
                </a:lnTo>
                <a:lnTo>
                  <a:pt x="5013576" y="1674837"/>
                </a:lnTo>
                <a:lnTo>
                  <a:pt x="5010104" y="1670507"/>
                </a:lnTo>
                <a:lnTo>
                  <a:pt x="5011731" y="1664985"/>
                </a:lnTo>
                <a:lnTo>
                  <a:pt x="5018785" y="1660546"/>
                </a:lnTo>
                <a:lnTo>
                  <a:pt x="5022040" y="1660329"/>
                </a:lnTo>
                <a:lnTo>
                  <a:pt x="5024320" y="1653941"/>
                </a:lnTo>
                <a:lnTo>
                  <a:pt x="5026530" y="1652270"/>
                </a:lnTo>
                <a:close/>
                <a:moveTo>
                  <a:pt x="6570356" y="1650151"/>
                </a:moveTo>
                <a:lnTo>
                  <a:pt x="6567970" y="1652208"/>
                </a:lnTo>
                <a:lnTo>
                  <a:pt x="6561350" y="1654265"/>
                </a:lnTo>
                <a:lnTo>
                  <a:pt x="6561024" y="1658704"/>
                </a:lnTo>
                <a:lnTo>
                  <a:pt x="6561784" y="1663901"/>
                </a:lnTo>
                <a:lnTo>
                  <a:pt x="6555816" y="1672888"/>
                </a:lnTo>
                <a:lnTo>
                  <a:pt x="6551041" y="1668015"/>
                </a:lnTo>
                <a:lnTo>
                  <a:pt x="6540732" y="1666283"/>
                </a:lnTo>
                <a:lnTo>
                  <a:pt x="6531074" y="1666283"/>
                </a:lnTo>
                <a:lnTo>
                  <a:pt x="6523478" y="1672129"/>
                </a:lnTo>
                <a:lnTo>
                  <a:pt x="6512084" y="1666717"/>
                </a:lnTo>
                <a:lnTo>
                  <a:pt x="6512084" y="1666717"/>
                </a:lnTo>
                <a:lnTo>
                  <a:pt x="6523479" y="1672131"/>
                </a:lnTo>
                <a:lnTo>
                  <a:pt x="6531074" y="1666284"/>
                </a:lnTo>
                <a:lnTo>
                  <a:pt x="6540732" y="1666284"/>
                </a:lnTo>
                <a:lnTo>
                  <a:pt x="6551042" y="1668017"/>
                </a:lnTo>
                <a:lnTo>
                  <a:pt x="6555816" y="1672889"/>
                </a:lnTo>
                <a:lnTo>
                  <a:pt x="6561785" y="1663902"/>
                </a:lnTo>
                <a:lnTo>
                  <a:pt x="6561025" y="1658705"/>
                </a:lnTo>
                <a:lnTo>
                  <a:pt x="6561351" y="1654266"/>
                </a:lnTo>
                <a:lnTo>
                  <a:pt x="6567970" y="1652209"/>
                </a:lnTo>
                <a:lnTo>
                  <a:pt x="6570358" y="1650152"/>
                </a:lnTo>
                <a:lnTo>
                  <a:pt x="6581100" y="1652858"/>
                </a:lnTo>
                <a:lnTo>
                  <a:pt x="6581100" y="1652858"/>
                </a:lnTo>
                <a:close/>
                <a:moveTo>
                  <a:pt x="6942322" y="1648712"/>
                </a:moveTo>
                <a:lnTo>
                  <a:pt x="6942134" y="1651017"/>
                </a:lnTo>
                <a:lnTo>
                  <a:pt x="6940832" y="1654482"/>
                </a:lnTo>
                <a:lnTo>
                  <a:pt x="6941334" y="1655252"/>
                </a:lnTo>
                <a:lnTo>
                  <a:pt x="6942352" y="1652751"/>
                </a:lnTo>
                <a:lnTo>
                  <a:pt x="6942352" y="1648745"/>
                </a:lnTo>
                <a:close/>
                <a:moveTo>
                  <a:pt x="5074177" y="1648706"/>
                </a:moveTo>
                <a:lnTo>
                  <a:pt x="5074237" y="1648852"/>
                </a:lnTo>
                <a:lnTo>
                  <a:pt x="5079555" y="1652425"/>
                </a:lnTo>
                <a:lnTo>
                  <a:pt x="5088236" y="1649719"/>
                </a:lnTo>
                <a:lnTo>
                  <a:pt x="5092106" y="1649826"/>
                </a:lnTo>
                <a:lnTo>
                  <a:pt x="5091818" y="1649395"/>
                </a:lnTo>
                <a:lnTo>
                  <a:pt x="5087802" y="1649395"/>
                </a:lnTo>
                <a:lnTo>
                  <a:pt x="5079229" y="1652101"/>
                </a:lnTo>
                <a:close/>
                <a:moveTo>
                  <a:pt x="2731906" y="1642356"/>
                </a:moveTo>
                <a:lnTo>
                  <a:pt x="2731906" y="1643980"/>
                </a:lnTo>
                <a:lnTo>
                  <a:pt x="2731906" y="1646362"/>
                </a:lnTo>
                <a:lnTo>
                  <a:pt x="2733968" y="1646362"/>
                </a:lnTo>
                <a:lnTo>
                  <a:pt x="2733968" y="1644738"/>
                </a:lnTo>
                <a:lnTo>
                  <a:pt x="2736681" y="1643655"/>
                </a:lnTo>
                <a:lnTo>
                  <a:pt x="2739828" y="1643655"/>
                </a:lnTo>
                <a:lnTo>
                  <a:pt x="2739828" y="1649610"/>
                </a:lnTo>
                <a:lnTo>
                  <a:pt x="2738200" y="1652209"/>
                </a:lnTo>
                <a:lnTo>
                  <a:pt x="2736356" y="1653183"/>
                </a:lnTo>
                <a:lnTo>
                  <a:pt x="2732883" y="1651234"/>
                </a:lnTo>
                <a:lnTo>
                  <a:pt x="2729410" y="1650476"/>
                </a:lnTo>
                <a:lnTo>
                  <a:pt x="2727023" y="1651018"/>
                </a:lnTo>
                <a:lnTo>
                  <a:pt x="2725938" y="1653183"/>
                </a:lnTo>
                <a:lnTo>
                  <a:pt x="2727348" y="1654590"/>
                </a:lnTo>
                <a:lnTo>
                  <a:pt x="2727999" y="1657947"/>
                </a:lnTo>
                <a:lnTo>
                  <a:pt x="2730061" y="1656323"/>
                </a:lnTo>
                <a:lnTo>
                  <a:pt x="2731689" y="1656323"/>
                </a:lnTo>
                <a:lnTo>
                  <a:pt x="2733208" y="1658488"/>
                </a:lnTo>
                <a:lnTo>
                  <a:pt x="2732014" y="1660978"/>
                </a:lnTo>
                <a:lnTo>
                  <a:pt x="2727565" y="1665417"/>
                </a:lnTo>
                <a:lnTo>
                  <a:pt x="2724853" y="1669965"/>
                </a:lnTo>
                <a:lnTo>
                  <a:pt x="2723550" y="1668016"/>
                </a:lnTo>
                <a:lnTo>
                  <a:pt x="2724201" y="1665959"/>
                </a:lnTo>
                <a:lnTo>
                  <a:pt x="2724201" y="1663360"/>
                </a:lnTo>
                <a:lnTo>
                  <a:pt x="2722899" y="1666176"/>
                </a:lnTo>
                <a:lnTo>
                  <a:pt x="2721380" y="1668774"/>
                </a:lnTo>
                <a:lnTo>
                  <a:pt x="2721380" y="1670831"/>
                </a:lnTo>
                <a:lnTo>
                  <a:pt x="2720729" y="1672347"/>
                </a:lnTo>
                <a:lnTo>
                  <a:pt x="2718450" y="1673105"/>
                </a:lnTo>
                <a:lnTo>
                  <a:pt x="2716605" y="1675811"/>
                </a:lnTo>
                <a:lnTo>
                  <a:pt x="2713892" y="1677761"/>
                </a:lnTo>
                <a:lnTo>
                  <a:pt x="2711831" y="1681767"/>
                </a:lnTo>
                <a:lnTo>
                  <a:pt x="2710311" y="1683282"/>
                </a:lnTo>
                <a:lnTo>
                  <a:pt x="2708141" y="1685339"/>
                </a:lnTo>
                <a:lnTo>
                  <a:pt x="2708141" y="1687180"/>
                </a:lnTo>
                <a:lnTo>
                  <a:pt x="2705103" y="1690320"/>
                </a:lnTo>
                <a:lnTo>
                  <a:pt x="2703149" y="1694326"/>
                </a:lnTo>
                <a:lnTo>
                  <a:pt x="2703149" y="1696600"/>
                </a:lnTo>
                <a:lnTo>
                  <a:pt x="2700979" y="1699955"/>
                </a:lnTo>
                <a:lnTo>
                  <a:pt x="2700328" y="1703096"/>
                </a:lnTo>
                <a:lnTo>
                  <a:pt x="2700328" y="1706885"/>
                </a:lnTo>
                <a:lnTo>
                  <a:pt x="2702932" y="1704070"/>
                </a:lnTo>
                <a:lnTo>
                  <a:pt x="2706296" y="1701904"/>
                </a:lnTo>
                <a:lnTo>
                  <a:pt x="2707165" y="1699306"/>
                </a:lnTo>
                <a:lnTo>
                  <a:pt x="2709443" y="1697791"/>
                </a:lnTo>
                <a:lnTo>
                  <a:pt x="2712373" y="1694651"/>
                </a:lnTo>
                <a:lnTo>
                  <a:pt x="2714326" y="1691727"/>
                </a:lnTo>
                <a:lnTo>
                  <a:pt x="2717256" y="1689453"/>
                </a:lnTo>
                <a:lnTo>
                  <a:pt x="2719752" y="1688804"/>
                </a:lnTo>
                <a:lnTo>
                  <a:pt x="2719752" y="1689778"/>
                </a:lnTo>
                <a:lnTo>
                  <a:pt x="2718450" y="1690969"/>
                </a:lnTo>
                <a:lnTo>
                  <a:pt x="2716605" y="1694975"/>
                </a:lnTo>
                <a:lnTo>
                  <a:pt x="2718450" y="1693568"/>
                </a:lnTo>
                <a:lnTo>
                  <a:pt x="2720404" y="1693568"/>
                </a:lnTo>
                <a:lnTo>
                  <a:pt x="2723985" y="1696383"/>
                </a:lnTo>
                <a:lnTo>
                  <a:pt x="2726371" y="1697141"/>
                </a:lnTo>
                <a:lnTo>
                  <a:pt x="2730387" y="1695950"/>
                </a:lnTo>
                <a:lnTo>
                  <a:pt x="2731689" y="1695300"/>
                </a:lnTo>
                <a:lnTo>
                  <a:pt x="2731689" y="1697249"/>
                </a:lnTo>
                <a:lnTo>
                  <a:pt x="2729627" y="1699523"/>
                </a:lnTo>
                <a:lnTo>
                  <a:pt x="2726155" y="1700281"/>
                </a:lnTo>
                <a:lnTo>
                  <a:pt x="2724310" y="1701363"/>
                </a:lnTo>
                <a:lnTo>
                  <a:pt x="2720295" y="1701363"/>
                </a:lnTo>
                <a:lnTo>
                  <a:pt x="2716605" y="1704503"/>
                </a:lnTo>
                <a:lnTo>
                  <a:pt x="2714869" y="1707426"/>
                </a:lnTo>
                <a:lnTo>
                  <a:pt x="2718124" y="1704828"/>
                </a:lnTo>
                <a:lnTo>
                  <a:pt x="2719969" y="1704828"/>
                </a:lnTo>
                <a:lnTo>
                  <a:pt x="2721488" y="1704828"/>
                </a:lnTo>
                <a:lnTo>
                  <a:pt x="2720404" y="1707968"/>
                </a:lnTo>
                <a:lnTo>
                  <a:pt x="2717907" y="1711865"/>
                </a:lnTo>
                <a:lnTo>
                  <a:pt x="2714001" y="1714464"/>
                </a:lnTo>
                <a:lnTo>
                  <a:pt x="2714001" y="1715547"/>
                </a:lnTo>
                <a:lnTo>
                  <a:pt x="2715846" y="1715547"/>
                </a:lnTo>
                <a:lnTo>
                  <a:pt x="2719427" y="1712624"/>
                </a:lnTo>
                <a:lnTo>
                  <a:pt x="2720512" y="1712624"/>
                </a:lnTo>
                <a:lnTo>
                  <a:pt x="2721814" y="1716305"/>
                </a:lnTo>
                <a:lnTo>
                  <a:pt x="2723442" y="1716305"/>
                </a:lnTo>
                <a:lnTo>
                  <a:pt x="2727348" y="1712732"/>
                </a:lnTo>
                <a:lnTo>
                  <a:pt x="2730387" y="1712191"/>
                </a:lnTo>
                <a:lnTo>
                  <a:pt x="2730387" y="1713165"/>
                </a:lnTo>
                <a:lnTo>
                  <a:pt x="2729736" y="1715655"/>
                </a:lnTo>
                <a:lnTo>
                  <a:pt x="2728108" y="1717279"/>
                </a:lnTo>
                <a:lnTo>
                  <a:pt x="2728976" y="1718903"/>
                </a:lnTo>
                <a:lnTo>
                  <a:pt x="2731581" y="1716196"/>
                </a:lnTo>
                <a:lnTo>
                  <a:pt x="2732774" y="1713922"/>
                </a:lnTo>
                <a:lnTo>
                  <a:pt x="2735379" y="1712840"/>
                </a:lnTo>
                <a:lnTo>
                  <a:pt x="2736464" y="1713489"/>
                </a:lnTo>
                <a:lnTo>
                  <a:pt x="2733859" y="1717928"/>
                </a:lnTo>
                <a:lnTo>
                  <a:pt x="2733317" y="1723883"/>
                </a:lnTo>
                <a:lnTo>
                  <a:pt x="2731038" y="1726373"/>
                </a:lnTo>
                <a:lnTo>
                  <a:pt x="2734185" y="1724100"/>
                </a:lnTo>
                <a:lnTo>
                  <a:pt x="2734836" y="1719553"/>
                </a:lnTo>
                <a:lnTo>
                  <a:pt x="2737983" y="1717496"/>
                </a:lnTo>
                <a:lnTo>
                  <a:pt x="2739502" y="1719011"/>
                </a:lnTo>
                <a:lnTo>
                  <a:pt x="2741998" y="1718037"/>
                </a:lnTo>
                <a:lnTo>
                  <a:pt x="2743300" y="1716521"/>
                </a:lnTo>
                <a:lnTo>
                  <a:pt x="2744711" y="1717928"/>
                </a:lnTo>
                <a:lnTo>
                  <a:pt x="2746013" y="1717496"/>
                </a:lnTo>
                <a:lnTo>
                  <a:pt x="2747641" y="1715005"/>
                </a:lnTo>
                <a:lnTo>
                  <a:pt x="2750896" y="1712515"/>
                </a:lnTo>
                <a:lnTo>
                  <a:pt x="2752416" y="1712515"/>
                </a:lnTo>
                <a:lnTo>
                  <a:pt x="2750788" y="1715763"/>
                </a:lnTo>
                <a:lnTo>
                  <a:pt x="2749703" y="1718037"/>
                </a:lnTo>
                <a:lnTo>
                  <a:pt x="2750788" y="1719553"/>
                </a:lnTo>
                <a:lnTo>
                  <a:pt x="2750137" y="1723450"/>
                </a:lnTo>
                <a:lnTo>
                  <a:pt x="2748509" y="1725508"/>
                </a:lnTo>
                <a:lnTo>
                  <a:pt x="2751114" y="1723559"/>
                </a:lnTo>
                <a:lnTo>
                  <a:pt x="2751982" y="1719769"/>
                </a:lnTo>
                <a:lnTo>
                  <a:pt x="2753718" y="1716412"/>
                </a:lnTo>
                <a:lnTo>
                  <a:pt x="2753718" y="1714031"/>
                </a:lnTo>
                <a:lnTo>
                  <a:pt x="2755671" y="1714031"/>
                </a:lnTo>
                <a:lnTo>
                  <a:pt x="2759687" y="1713057"/>
                </a:lnTo>
                <a:lnTo>
                  <a:pt x="2763593" y="1713057"/>
                </a:lnTo>
                <a:lnTo>
                  <a:pt x="2767608" y="1716846"/>
                </a:lnTo>
                <a:lnTo>
                  <a:pt x="2770429" y="1718470"/>
                </a:lnTo>
                <a:lnTo>
                  <a:pt x="2770429" y="1720852"/>
                </a:lnTo>
                <a:lnTo>
                  <a:pt x="2768693" y="1722476"/>
                </a:lnTo>
                <a:lnTo>
                  <a:pt x="2768693" y="1725508"/>
                </a:lnTo>
                <a:lnTo>
                  <a:pt x="2766414" y="1727024"/>
                </a:lnTo>
                <a:lnTo>
                  <a:pt x="2764135" y="1727024"/>
                </a:lnTo>
                <a:lnTo>
                  <a:pt x="2762725" y="1728756"/>
                </a:lnTo>
                <a:lnTo>
                  <a:pt x="2759578" y="1730272"/>
                </a:lnTo>
                <a:lnTo>
                  <a:pt x="2755562" y="1731030"/>
                </a:lnTo>
                <a:lnTo>
                  <a:pt x="2758059" y="1732870"/>
                </a:lnTo>
                <a:lnTo>
                  <a:pt x="2753718" y="1732870"/>
                </a:lnTo>
                <a:lnTo>
                  <a:pt x="2758167" y="1733520"/>
                </a:lnTo>
                <a:lnTo>
                  <a:pt x="2760988" y="1732546"/>
                </a:lnTo>
                <a:lnTo>
                  <a:pt x="2762508" y="1732546"/>
                </a:lnTo>
                <a:lnTo>
                  <a:pt x="2762508" y="1735144"/>
                </a:lnTo>
                <a:lnTo>
                  <a:pt x="2761531" y="1737634"/>
                </a:lnTo>
                <a:lnTo>
                  <a:pt x="2763376" y="1735577"/>
                </a:lnTo>
                <a:lnTo>
                  <a:pt x="2765003" y="1736335"/>
                </a:lnTo>
                <a:lnTo>
                  <a:pt x="2763593" y="1739691"/>
                </a:lnTo>
                <a:lnTo>
                  <a:pt x="2761640" y="1741423"/>
                </a:lnTo>
                <a:lnTo>
                  <a:pt x="2763376" y="1742506"/>
                </a:lnTo>
                <a:lnTo>
                  <a:pt x="2762291" y="1743913"/>
                </a:lnTo>
                <a:lnTo>
                  <a:pt x="2759903" y="1746295"/>
                </a:lnTo>
                <a:lnTo>
                  <a:pt x="2757516" y="1747595"/>
                </a:lnTo>
                <a:lnTo>
                  <a:pt x="2759903" y="1747595"/>
                </a:lnTo>
                <a:lnTo>
                  <a:pt x="2761423" y="1746079"/>
                </a:lnTo>
                <a:lnTo>
                  <a:pt x="2761423" y="1748894"/>
                </a:lnTo>
                <a:lnTo>
                  <a:pt x="2760663" y="1750843"/>
                </a:lnTo>
                <a:lnTo>
                  <a:pt x="2762291" y="1750085"/>
                </a:lnTo>
                <a:lnTo>
                  <a:pt x="2762291" y="1747703"/>
                </a:lnTo>
                <a:lnTo>
                  <a:pt x="2764569" y="1746295"/>
                </a:lnTo>
                <a:lnTo>
                  <a:pt x="2767608" y="1744022"/>
                </a:lnTo>
                <a:lnTo>
                  <a:pt x="2769453" y="1744022"/>
                </a:lnTo>
                <a:lnTo>
                  <a:pt x="2771298" y="1743048"/>
                </a:lnTo>
                <a:lnTo>
                  <a:pt x="2771298" y="1739907"/>
                </a:lnTo>
                <a:lnTo>
                  <a:pt x="2771298" y="1737959"/>
                </a:lnTo>
                <a:lnTo>
                  <a:pt x="2773902" y="1737959"/>
                </a:lnTo>
                <a:lnTo>
                  <a:pt x="2774553" y="1739475"/>
                </a:lnTo>
                <a:lnTo>
                  <a:pt x="2776940" y="1737959"/>
                </a:lnTo>
                <a:lnTo>
                  <a:pt x="2779979" y="1734710"/>
                </a:lnTo>
                <a:lnTo>
                  <a:pt x="2781173" y="1737093"/>
                </a:lnTo>
                <a:lnTo>
                  <a:pt x="2781173" y="1740449"/>
                </a:lnTo>
                <a:lnTo>
                  <a:pt x="2779762" y="1743481"/>
                </a:lnTo>
                <a:lnTo>
                  <a:pt x="2775421" y="1746187"/>
                </a:lnTo>
                <a:lnTo>
                  <a:pt x="2774336" y="1744888"/>
                </a:lnTo>
                <a:lnTo>
                  <a:pt x="2770755" y="1744888"/>
                </a:lnTo>
                <a:lnTo>
                  <a:pt x="2769236" y="1748894"/>
                </a:lnTo>
                <a:lnTo>
                  <a:pt x="2765655" y="1751817"/>
                </a:lnTo>
                <a:lnTo>
                  <a:pt x="2764461" y="1752791"/>
                </a:lnTo>
                <a:lnTo>
                  <a:pt x="2760446" y="1752791"/>
                </a:lnTo>
                <a:lnTo>
                  <a:pt x="2759143" y="1753658"/>
                </a:lnTo>
                <a:lnTo>
                  <a:pt x="2759143" y="1754839"/>
                </a:lnTo>
                <a:lnTo>
                  <a:pt x="2763485" y="1756149"/>
                </a:lnTo>
                <a:lnTo>
                  <a:pt x="2762834" y="1757773"/>
                </a:lnTo>
                <a:lnTo>
                  <a:pt x="2760759" y="1757773"/>
                </a:lnTo>
                <a:lnTo>
                  <a:pt x="2760988" y="1757989"/>
                </a:lnTo>
                <a:lnTo>
                  <a:pt x="2764787" y="1758746"/>
                </a:lnTo>
                <a:lnTo>
                  <a:pt x="2761097" y="1758746"/>
                </a:lnTo>
                <a:lnTo>
                  <a:pt x="2758818" y="1758746"/>
                </a:lnTo>
                <a:lnTo>
                  <a:pt x="2762400" y="1760046"/>
                </a:lnTo>
                <a:lnTo>
                  <a:pt x="2764244" y="1760046"/>
                </a:lnTo>
                <a:lnTo>
                  <a:pt x="2761531" y="1764268"/>
                </a:lnTo>
                <a:lnTo>
                  <a:pt x="2760012" y="1764268"/>
                </a:lnTo>
                <a:lnTo>
                  <a:pt x="2758275" y="1761670"/>
                </a:lnTo>
                <a:lnTo>
                  <a:pt x="2758275" y="1764485"/>
                </a:lnTo>
                <a:lnTo>
                  <a:pt x="2759361" y="1767191"/>
                </a:lnTo>
                <a:lnTo>
                  <a:pt x="2759361" y="1769574"/>
                </a:lnTo>
                <a:lnTo>
                  <a:pt x="2762616" y="1772389"/>
                </a:lnTo>
                <a:lnTo>
                  <a:pt x="2764895" y="1770764"/>
                </a:lnTo>
                <a:lnTo>
                  <a:pt x="2764895" y="1769032"/>
                </a:lnTo>
                <a:lnTo>
                  <a:pt x="2769670" y="1765351"/>
                </a:lnTo>
                <a:lnTo>
                  <a:pt x="2770321" y="1762970"/>
                </a:lnTo>
                <a:lnTo>
                  <a:pt x="2773251" y="1760262"/>
                </a:lnTo>
                <a:lnTo>
                  <a:pt x="2775964" y="1760262"/>
                </a:lnTo>
                <a:lnTo>
                  <a:pt x="2778894" y="1758746"/>
                </a:lnTo>
                <a:lnTo>
                  <a:pt x="2780521" y="1758746"/>
                </a:lnTo>
                <a:lnTo>
                  <a:pt x="2782583" y="1756906"/>
                </a:lnTo>
                <a:lnTo>
                  <a:pt x="2783560" y="1759288"/>
                </a:lnTo>
                <a:lnTo>
                  <a:pt x="2781824" y="1760262"/>
                </a:lnTo>
                <a:lnTo>
                  <a:pt x="2780630" y="1760262"/>
                </a:lnTo>
                <a:lnTo>
                  <a:pt x="2777049" y="1763511"/>
                </a:lnTo>
                <a:lnTo>
                  <a:pt x="2776180" y="1765134"/>
                </a:lnTo>
                <a:lnTo>
                  <a:pt x="2772166" y="1768274"/>
                </a:lnTo>
                <a:lnTo>
                  <a:pt x="2772166" y="1771956"/>
                </a:lnTo>
                <a:lnTo>
                  <a:pt x="2771514" y="1775312"/>
                </a:lnTo>
                <a:lnTo>
                  <a:pt x="2773034" y="1778235"/>
                </a:lnTo>
                <a:lnTo>
                  <a:pt x="2774987" y="1777586"/>
                </a:lnTo>
                <a:lnTo>
                  <a:pt x="2777808" y="1774337"/>
                </a:lnTo>
                <a:lnTo>
                  <a:pt x="2781064" y="1772172"/>
                </a:lnTo>
                <a:lnTo>
                  <a:pt x="2782692" y="1768599"/>
                </a:lnTo>
                <a:lnTo>
                  <a:pt x="2782692" y="1766867"/>
                </a:lnTo>
                <a:lnTo>
                  <a:pt x="2783994" y="1766867"/>
                </a:lnTo>
                <a:lnTo>
                  <a:pt x="2783994" y="1769357"/>
                </a:lnTo>
                <a:lnTo>
                  <a:pt x="2783994" y="1776286"/>
                </a:lnTo>
                <a:lnTo>
                  <a:pt x="2781607" y="1780076"/>
                </a:lnTo>
                <a:lnTo>
                  <a:pt x="2777592" y="1785489"/>
                </a:lnTo>
                <a:lnTo>
                  <a:pt x="2776615" y="1789279"/>
                </a:lnTo>
                <a:lnTo>
                  <a:pt x="2777808" y="1791661"/>
                </a:lnTo>
                <a:lnTo>
                  <a:pt x="2777049" y="1793718"/>
                </a:lnTo>
                <a:lnTo>
                  <a:pt x="2776072" y="1793718"/>
                </a:lnTo>
                <a:lnTo>
                  <a:pt x="2776072" y="1794368"/>
                </a:lnTo>
                <a:lnTo>
                  <a:pt x="2775204" y="1796641"/>
                </a:lnTo>
                <a:lnTo>
                  <a:pt x="2773794" y="1796641"/>
                </a:lnTo>
                <a:lnTo>
                  <a:pt x="2773794" y="1799023"/>
                </a:lnTo>
                <a:lnTo>
                  <a:pt x="2770646" y="1801080"/>
                </a:lnTo>
                <a:lnTo>
                  <a:pt x="2768585" y="1800431"/>
                </a:lnTo>
                <a:cubicBezTo>
                  <a:pt x="2768585" y="1800431"/>
                  <a:pt x="2766631" y="1797291"/>
                  <a:pt x="2766631" y="1797291"/>
                </a:cubicBezTo>
                <a:lnTo>
                  <a:pt x="2764461" y="1797291"/>
                </a:lnTo>
                <a:lnTo>
                  <a:pt x="2762400" y="1799565"/>
                </a:lnTo>
                <a:lnTo>
                  <a:pt x="2761748" y="1802813"/>
                </a:lnTo>
                <a:lnTo>
                  <a:pt x="2759469" y="1800755"/>
                </a:lnTo>
                <a:lnTo>
                  <a:pt x="2759469" y="1796533"/>
                </a:lnTo>
                <a:lnTo>
                  <a:pt x="2758493" y="1795017"/>
                </a:lnTo>
                <a:lnTo>
                  <a:pt x="2759469" y="1791769"/>
                </a:lnTo>
                <a:lnTo>
                  <a:pt x="2759469" y="1788954"/>
                </a:lnTo>
                <a:lnTo>
                  <a:pt x="2763485" y="1784731"/>
                </a:lnTo>
                <a:lnTo>
                  <a:pt x="2766306" y="1784082"/>
                </a:lnTo>
                <a:lnTo>
                  <a:pt x="2766306" y="1782458"/>
                </a:lnTo>
                <a:lnTo>
                  <a:pt x="2762508" y="1782458"/>
                </a:lnTo>
                <a:lnTo>
                  <a:pt x="2761856" y="1780942"/>
                </a:lnTo>
                <a:lnTo>
                  <a:pt x="2760120" y="1783432"/>
                </a:lnTo>
                <a:lnTo>
                  <a:pt x="2756865" y="1787330"/>
                </a:lnTo>
                <a:lnTo>
                  <a:pt x="2755129" y="1787330"/>
                </a:lnTo>
                <a:lnTo>
                  <a:pt x="2751982" y="1793502"/>
                </a:lnTo>
                <a:lnTo>
                  <a:pt x="2748509" y="1795559"/>
                </a:lnTo>
                <a:lnTo>
                  <a:pt x="2746230" y="1794801"/>
                </a:lnTo>
                <a:lnTo>
                  <a:pt x="2746230" y="1791986"/>
                </a:lnTo>
                <a:lnTo>
                  <a:pt x="2747641" y="1790686"/>
                </a:lnTo>
                <a:lnTo>
                  <a:pt x="2747641" y="1787546"/>
                </a:lnTo>
                <a:lnTo>
                  <a:pt x="2750246" y="1780725"/>
                </a:lnTo>
                <a:lnTo>
                  <a:pt x="2753826" y="1777802"/>
                </a:lnTo>
                <a:lnTo>
                  <a:pt x="2754912" y="1775312"/>
                </a:lnTo>
                <a:lnTo>
                  <a:pt x="2753718" y="1773038"/>
                </a:lnTo>
                <a:lnTo>
                  <a:pt x="2754369" y="1769682"/>
                </a:lnTo>
                <a:lnTo>
                  <a:pt x="2755129" y="1766975"/>
                </a:lnTo>
                <a:lnTo>
                  <a:pt x="2755129" y="1762319"/>
                </a:lnTo>
                <a:lnTo>
                  <a:pt x="2753392" y="1760803"/>
                </a:lnTo>
                <a:lnTo>
                  <a:pt x="2751873" y="1760803"/>
                </a:lnTo>
                <a:lnTo>
                  <a:pt x="2750137" y="1759180"/>
                </a:lnTo>
                <a:lnTo>
                  <a:pt x="2748726" y="1759180"/>
                </a:lnTo>
                <a:lnTo>
                  <a:pt x="2747641" y="1760587"/>
                </a:lnTo>
                <a:lnTo>
                  <a:pt x="2747641" y="1765027"/>
                </a:lnTo>
                <a:lnTo>
                  <a:pt x="2745362" y="1769682"/>
                </a:lnTo>
                <a:lnTo>
                  <a:pt x="2743517" y="1775095"/>
                </a:lnTo>
                <a:lnTo>
                  <a:pt x="2741455" y="1776611"/>
                </a:lnTo>
                <a:lnTo>
                  <a:pt x="2738960" y="1776611"/>
                </a:lnTo>
                <a:lnTo>
                  <a:pt x="2741673" y="1774987"/>
                </a:lnTo>
                <a:lnTo>
                  <a:pt x="2738525" y="1774987"/>
                </a:lnTo>
                <a:lnTo>
                  <a:pt x="2736572" y="1773472"/>
                </a:lnTo>
                <a:lnTo>
                  <a:pt x="2734619" y="1774662"/>
                </a:lnTo>
                <a:lnTo>
                  <a:pt x="2730604" y="1779210"/>
                </a:lnTo>
                <a:lnTo>
                  <a:pt x="2728868" y="1779859"/>
                </a:lnTo>
                <a:lnTo>
                  <a:pt x="2728216" y="1782891"/>
                </a:lnTo>
                <a:lnTo>
                  <a:pt x="2727240" y="1785489"/>
                </a:lnTo>
                <a:lnTo>
                  <a:pt x="2726263" y="1785489"/>
                </a:lnTo>
                <a:lnTo>
                  <a:pt x="2724853" y="1788196"/>
                </a:lnTo>
                <a:lnTo>
                  <a:pt x="2722790" y="1790470"/>
                </a:lnTo>
                <a:lnTo>
                  <a:pt x="2719318" y="1791769"/>
                </a:lnTo>
                <a:lnTo>
                  <a:pt x="2717799" y="1790362"/>
                </a:lnTo>
                <a:lnTo>
                  <a:pt x="2717799" y="1788413"/>
                </a:lnTo>
                <a:lnTo>
                  <a:pt x="2715954" y="1788413"/>
                </a:lnTo>
                <a:lnTo>
                  <a:pt x="2714435" y="1789929"/>
                </a:lnTo>
                <a:lnTo>
                  <a:pt x="2713132" y="1791769"/>
                </a:lnTo>
                <a:lnTo>
                  <a:pt x="2710094" y="1791769"/>
                </a:lnTo>
                <a:lnTo>
                  <a:pt x="2709118" y="1790253"/>
                </a:lnTo>
                <a:lnTo>
                  <a:pt x="2708033" y="1788846"/>
                </a:lnTo>
                <a:lnTo>
                  <a:pt x="2708683" y="1787005"/>
                </a:lnTo>
                <a:lnTo>
                  <a:pt x="2712156" y="1784298"/>
                </a:lnTo>
                <a:lnTo>
                  <a:pt x="2716280" y="1783215"/>
                </a:lnTo>
                <a:lnTo>
                  <a:pt x="2717907" y="1781700"/>
                </a:lnTo>
                <a:lnTo>
                  <a:pt x="2718992" y="1780076"/>
                </a:lnTo>
                <a:lnTo>
                  <a:pt x="2720620" y="1779426"/>
                </a:lnTo>
                <a:lnTo>
                  <a:pt x="2723550" y="1779426"/>
                </a:lnTo>
                <a:lnTo>
                  <a:pt x="2724310" y="1777586"/>
                </a:lnTo>
                <a:lnTo>
                  <a:pt x="2725612" y="1776936"/>
                </a:lnTo>
                <a:lnTo>
                  <a:pt x="2725612" y="1775095"/>
                </a:lnTo>
                <a:lnTo>
                  <a:pt x="2727891" y="1772605"/>
                </a:lnTo>
                <a:lnTo>
                  <a:pt x="2731906" y="1772605"/>
                </a:lnTo>
                <a:lnTo>
                  <a:pt x="2735921" y="1770873"/>
                </a:lnTo>
                <a:lnTo>
                  <a:pt x="2735921" y="1769357"/>
                </a:lnTo>
                <a:lnTo>
                  <a:pt x="2738634" y="1767625"/>
                </a:lnTo>
                <a:lnTo>
                  <a:pt x="2735487" y="1767625"/>
                </a:lnTo>
                <a:lnTo>
                  <a:pt x="2733208" y="1769032"/>
                </a:lnTo>
                <a:lnTo>
                  <a:pt x="2730604" y="1769682"/>
                </a:lnTo>
                <a:lnTo>
                  <a:pt x="2728759" y="1767625"/>
                </a:lnTo>
                <a:lnTo>
                  <a:pt x="2725178" y="1766975"/>
                </a:lnTo>
                <a:lnTo>
                  <a:pt x="2723225" y="1765676"/>
                </a:lnTo>
                <a:lnTo>
                  <a:pt x="2723225" y="1768166"/>
                </a:lnTo>
                <a:lnTo>
                  <a:pt x="2721705" y="1771414"/>
                </a:lnTo>
                <a:lnTo>
                  <a:pt x="2718992" y="1772064"/>
                </a:lnTo>
                <a:lnTo>
                  <a:pt x="2717256" y="1773363"/>
                </a:lnTo>
                <a:lnTo>
                  <a:pt x="2716171" y="1771956"/>
                </a:lnTo>
                <a:lnTo>
                  <a:pt x="2713458" y="1771956"/>
                </a:lnTo>
                <a:lnTo>
                  <a:pt x="2712590" y="1770548"/>
                </a:lnTo>
                <a:lnTo>
                  <a:pt x="2709877" y="1770548"/>
                </a:lnTo>
                <a:lnTo>
                  <a:pt x="2708575" y="1771306"/>
                </a:lnTo>
                <a:lnTo>
                  <a:pt x="2707273" y="1770331"/>
                </a:lnTo>
                <a:lnTo>
                  <a:pt x="2711722" y="1768491"/>
                </a:lnTo>
                <a:lnTo>
                  <a:pt x="2716388" y="1765568"/>
                </a:lnTo>
                <a:lnTo>
                  <a:pt x="2716388" y="1764593"/>
                </a:lnTo>
                <a:lnTo>
                  <a:pt x="2715194" y="1764593"/>
                </a:lnTo>
                <a:lnTo>
                  <a:pt x="2712264" y="1765243"/>
                </a:lnTo>
                <a:lnTo>
                  <a:pt x="2712264" y="1763402"/>
                </a:lnTo>
                <a:lnTo>
                  <a:pt x="2713784" y="1760912"/>
                </a:lnTo>
                <a:lnTo>
                  <a:pt x="2713784" y="1758097"/>
                </a:lnTo>
                <a:lnTo>
                  <a:pt x="2712807" y="1758097"/>
                </a:lnTo>
                <a:lnTo>
                  <a:pt x="2710203" y="1760803"/>
                </a:lnTo>
                <a:lnTo>
                  <a:pt x="2709118" y="1763185"/>
                </a:lnTo>
                <a:lnTo>
                  <a:pt x="2708250" y="1762103"/>
                </a:lnTo>
                <a:lnTo>
                  <a:pt x="2709443" y="1757556"/>
                </a:lnTo>
                <a:lnTo>
                  <a:pt x="2710528" y="1756473"/>
                </a:lnTo>
                <a:lnTo>
                  <a:pt x="2708901" y="1756473"/>
                </a:lnTo>
                <a:lnTo>
                  <a:pt x="2707381" y="1759180"/>
                </a:lnTo>
                <a:lnTo>
                  <a:pt x="2706079" y="1757772"/>
                </a:lnTo>
                <a:lnTo>
                  <a:pt x="2706079" y="1761345"/>
                </a:lnTo>
                <a:lnTo>
                  <a:pt x="2706079" y="1763294"/>
                </a:lnTo>
                <a:lnTo>
                  <a:pt x="2705211" y="1765351"/>
                </a:lnTo>
                <a:lnTo>
                  <a:pt x="2702932" y="1764268"/>
                </a:lnTo>
                <a:lnTo>
                  <a:pt x="2700653" y="1764268"/>
                </a:lnTo>
                <a:lnTo>
                  <a:pt x="2699134" y="1766001"/>
                </a:lnTo>
                <a:lnTo>
                  <a:pt x="2697181" y="1766001"/>
                </a:lnTo>
                <a:lnTo>
                  <a:pt x="2695879" y="1764701"/>
                </a:lnTo>
                <a:lnTo>
                  <a:pt x="2692189" y="1764701"/>
                </a:lnTo>
                <a:lnTo>
                  <a:pt x="2692189" y="1766217"/>
                </a:lnTo>
                <a:lnTo>
                  <a:pt x="2690236" y="1767625"/>
                </a:lnTo>
                <a:lnTo>
                  <a:pt x="2687523" y="1767625"/>
                </a:lnTo>
                <a:lnTo>
                  <a:pt x="2686655" y="1766217"/>
                </a:lnTo>
                <a:lnTo>
                  <a:pt x="2685135" y="1766867"/>
                </a:lnTo>
                <a:lnTo>
                  <a:pt x="2680903" y="1766867"/>
                </a:lnTo>
                <a:lnTo>
                  <a:pt x="2679167" y="1764918"/>
                </a:lnTo>
                <a:lnTo>
                  <a:pt x="2678407" y="1763294"/>
                </a:lnTo>
                <a:lnTo>
                  <a:pt x="2674609" y="1764377"/>
                </a:lnTo>
                <a:lnTo>
                  <a:pt x="2668424" y="1764377"/>
                </a:lnTo>
                <a:lnTo>
                  <a:pt x="2666796" y="1761995"/>
                </a:lnTo>
                <a:lnTo>
                  <a:pt x="2663215" y="1763402"/>
                </a:lnTo>
                <a:lnTo>
                  <a:pt x="2658332" y="1762428"/>
                </a:lnTo>
                <a:lnTo>
                  <a:pt x="2660610" y="1759180"/>
                </a:lnTo>
                <a:lnTo>
                  <a:pt x="2660610" y="1757664"/>
                </a:lnTo>
                <a:lnTo>
                  <a:pt x="2659742" y="1759613"/>
                </a:lnTo>
                <a:lnTo>
                  <a:pt x="2656596" y="1762319"/>
                </a:lnTo>
                <a:lnTo>
                  <a:pt x="2652580" y="1762319"/>
                </a:lnTo>
                <a:lnTo>
                  <a:pt x="2649325" y="1764918"/>
                </a:lnTo>
                <a:lnTo>
                  <a:pt x="2644007" y="1765676"/>
                </a:lnTo>
                <a:lnTo>
                  <a:pt x="2639341" y="1764160"/>
                </a:lnTo>
                <a:lnTo>
                  <a:pt x="2636737" y="1764160"/>
                </a:lnTo>
                <a:lnTo>
                  <a:pt x="2635978" y="1762319"/>
                </a:lnTo>
                <a:lnTo>
                  <a:pt x="2636954" y="1758855"/>
                </a:lnTo>
                <a:lnTo>
                  <a:pt x="2635869" y="1756364"/>
                </a:lnTo>
                <a:lnTo>
                  <a:pt x="2636846" y="1753983"/>
                </a:lnTo>
                <a:lnTo>
                  <a:pt x="2639559" y="1753983"/>
                </a:lnTo>
                <a:lnTo>
                  <a:pt x="2644116" y="1749977"/>
                </a:lnTo>
                <a:lnTo>
                  <a:pt x="2649542" y="1747162"/>
                </a:lnTo>
                <a:lnTo>
                  <a:pt x="2652255" y="1742723"/>
                </a:lnTo>
                <a:lnTo>
                  <a:pt x="2656704" y="1737201"/>
                </a:lnTo>
                <a:lnTo>
                  <a:pt x="2659851" y="1734061"/>
                </a:lnTo>
                <a:lnTo>
                  <a:pt x="2654643" y="1734061"/>
                </a:lnTo>
                <a:lnTo>
                  <a:pt x="2648023" y="1734819"/>
                </a:lnTo>
                <a:lnTo>
                  <a:pt x="2644658" y="1735901"/>
                </a:lnTo>
                <a:lnTo>
                  <a:pt x="2642922" y="1735901"/>
                </a:lnTo>
                <a:lnTo>
                  <a:pt x="2645201" y="1730163"/>
                </a:lnTo>
                <a:lnTo>
                  <a:pt x="2650736" y="1726915"/>
                </a:lnTo>
                <a:lnTo>
                  <a:pt x="2654099" y="1724533"/>
                </a:lnTo>
                <a:lnTo>
                  <a:pt x="2655184" y="1723234"/>
                </a:lnTo>
                <a:lnTo>
                  <a:pt x="2654208" y="1725508"/>
                </a:lnTo>
                <a:lnTo>
                  <a:pt x="2651495" y="1727456"/>
                </a:lnTo>
                <a:lnTo>
                  <a:pt x="2650844" y="1729405"/>
                </a:lnTo>
                <a:lnTo>
                  <a:pt x="2652689" y="1732437"/>
                </a:lnTo>
                <a:lnTo>
                  <a:pt x="2654208" y="1729189"/>
                </a:lnTo>
                <a:lnTo>
                  <a:pt x="2654208" y="1732653"/>
                </a:lnTo>
                <a:lnTo>
                  <a:pt x="2655619" y="1732653"/>
                </a:lnTo>
                <a:lnTo>
                  <a:pt x="2657897" y="1729514"/>
                </a:lnTo>
                <a:lnTo>
                  <a:pt x="2660285" y="1724642"/>
                </a:lnTo>
                <a:lnTo>
                  <a:pt x="2663107" y="1721826"/>
                </a:lnTo>
                <a:lnTo>
                  <a:pt x="2663107" y="1719661"/>
                </a:lnTo>
                <a:lnTo>
                  <a:pt x="2664191" y="1718253"/>
                </a:lnTo>
                <a:lnTo>
                  <a:pt x="2669292" y="1719769"/>
                </a:lnTo>
                <a:lnTo>
                  <a:pt x="2672004" y="1717712"/>
                </a:lnTo>
                <a:lnTo>
                  <a:pt x="2672004" y="1715330"/>
                </a:lnTo>
                <a:lnTo>
                  <a:pt x="2673524" y="1714031"/>
                </a:lnTo>
                <a:lnTo>
                  <a:pt x="2671788" y="1712406"/>
                </a:lnTo>
                <a:lnTo>
                  <a:pt x="2669292" y="1712406"/>
                </a:lnTo>
                <a:lnTo>
                  <a:pt x="2669292" y="1710567"/>
                </a:lnTo>
                <a:lnTo>
                  <a:pt x="2670920" y="1707426"/>
                </a:lnTo>
                <a:lnTo>
                  <a:pt x="2675261" y="1705369"/>
                </a:lnTo>
                <a:lnTo>
                  <a:pt x="2676671" y="1705369"/>
                </a:lnTo>
                <a:lnTo>
                  <a:pt x="2677648" y="1706669"/>
                </a:lnTo>
                <a:lnTo>
                  <a:pt x="2679167" y="1706669"/>
                </a:lnTo>
                <a:lnTo>
                  <a:pt x="2679167" y="1704286"/>
                </a:lnTo>
                <a:lnTo>
                  <a:pt x="2677322" y="1702338"/>
                </a:lnTo>
                <a:lnTo>
                  <a:pt x="2677322" y="1699955"/>
                </a:lnTo>
                <a:lnTo>
                  <a:pt x="2682314" y="1692485"/>
                </a:lnTo>
                <a:lnTo>
                  <a:pt x="2682965" y="1689995"/>
                </a:lnTo>
                <a:lnTo>
                  <a:pt x="2685678" y="1685988"/>
                </a:lnTo>
                <a:lnTo>
                  <a:pt x="2688391" y="1685988"/>
                </a:lnTo>
                <a:lnTo>
                  <a:pt x="2690778" y="1684581"/>
                </a:lnTo>
                <a:lnTo>
                  <a:pt x="2689368" y="1683824"/>
                </a:lnTo>
                <a:lnTo>
                  <a:pt x="2688174" y="1683824"/>
                </a:lnTo>
                <a:lnTo>
                  <a:pt x="2688174" y="1681983"/>
                </a:lnTo>
                <a:lnTo>
                  <a:pt x="2690453" y="1678627"/>
                </a:lnTo>
                <a:lnTo>
                  <a:pt x="2693491" y="1678627"/>
                </a:lnTo>
                <a:lnTo>
                  <a:pt x="2695227" y="1677111"/>
                </a:lnTo>
                <a:lnTo>
                  <a:pt x="2693274" y="1676028"/>
                </a:lnTo>
                <a:lnTo>
                  <a:pt x="2693274" y="1673755"/>
                </a:lnTo>
                <a:lnTo>
                  <a:pt x="2695227" y="1673755"/>
                </a:lnTo>
                <a:lnTo>
                  <a:pt x="2696421" y="1672130"/>
                </a:lnTo>
                <a:lnTo>
                  <a:pt x="2695770" y="1670939"/>
                </a:lnTo>
                <a:lnTo>
                  <a:pt x="2698266" y="1669532"/>
                </a:lnTo>
                <a:lnTo>
                  <a:pt x="2702498" y="1666392"/>
                </a:lnTo>
                <a:lnTo>
                  <a:pt x="2704668" y="1663794"/>
                </a:lnTo>
                <a:lnTo>
                  <a:pt x="2704668" y="1661412"/>
                </a:lnTo>
                <a:lnTo>
                  <a:pt x="2703475" y="1659896"/>
                </a:lnTo>
                <a:lnTo>
                  <a:pt x="2703475" y="1659138"/>
                </a:lnTo>
                <a:lnTo>
                  <a:pt x="2705537" y="1659788"/>
                </a:lnTo>
                <a:lnTo>
                  <a:pt x="2707924" y="1659788"/>
                </a:lnTo>
                <a:lnTo>
                  <a:pt x="2707924" y="1656106"/>
                </a:lnTo>
                <a:lnTo>
                  <a:pt x="2712156" y="1652966"/>
                </a:lnTo>
                <a:lnTo>
                  <a:pt x="2716280" y="1650260"/>
                </a:lnTo>
                <a:lnTo>
                  <a:pt x="2720186" y="1650260"/>
                </a:lnTo>
                <a:lnTo>
                  <a:pt x="2723008" y="1648094"/>
                </a:lnTo>
                <a:lnTo>
                  <a:pt x="2724635" y="1646037"/>
                </a:lnTo>
                <a:lnTo>
                  <a:pt x="2727565" y="1646037"/>
                </a:lnTo>
                <a:lnTo>
                  <a:pt x="2729844" y="1643655"/>
                </a:lnTo>
                <a:close/>
                <a:moveTo>
                  <a:pt x="5066967" y="1642140"/>
                </a:moveTo>
                <a:lnTo>
                  <a:pt x="5056658" y="1646471"/>
                </a:lnTo>
                <a:lnTo>
                  <a:pt x="5051992" y="1646471"/>
                </a:lnTo>
                <a:lnTo>
                  <a:pt x="5051341" y="1649395"/>
                </a:lnTo>
                <a:lnTo>
                  <a:pt x="5048193" y="1652642"/>
                </a:lnTo>
                <a:lnTo>
                  <a:pt x="5048193" y="1648528"/>
                </a:lnTo>
                <a:lnTo>
                  <a:pt x="5045706" y="1650101"/>
                </a:lnTo>
                <a:lnTo>
                  <a:pt x="5045589" y="1650585"/>
                </a:lnTo>
                <a:lnTo>
                  <a:pt x="5044505" y="1651882"/>
                </a:lnTo>
                <a:lnTo>
                  <a:pt x="5043744" y="1654158"/>
                </a:lnTo>
                <a:lnTo>
                  <a:pt x="5042649" y="1654798"/>
                </a:lnTo>
                <a:lnTo>
                  <a:pt x="5044721" y="1656864"/>
                </a:lnTo>
                <a:lnTo>
                  <a:pt x="5049278" y="1654266"/>
                </a:lnTo>
                <a:lnTo>
                  <a:pt x="5050472" y="1650693"/>
                </a:lnTo>
                <a:lnTo>
                  <a:pt x="5053727" y="1648636"/>
                </a:lnTo>
                <a:lnTo>
                  <a:pt x="5053944" y="1652750"/>
                </a:lnTo>
                <a:lnTo>
                  <a:pt x="5056983" y="1649502"/>
                </a:lnTo>
                <a:lnTo>
                  <a:pt x="5057742" y="1646579"/>
                </a:lnTo>
                <a:lnTo>
                  <a:pt x="5062300" y="1646037"/>
                </a:lnTo>
                <a:lnTo>
                  <a:pt x="5067292" y="1642681"/>
                </a:lnTo>
                <a:lnTo>
                  <a:pt x="5071444" y="1642474"/>
                </a:lnTo>
                <a:lnTo>
                  <a:pt x="5071308" y="1642140"/>
                </a:lnTo>
                <a:close/>
                <a:moveTo>
                  <a:pt x="5028119" y="1640732"/>
                </a:moveTo>
                <a:lnTo>
                  <a:pt x="5026924" y="1643873"/>
                </a:lnTo>
                <a:lnTo>
                  <a:pt x="5028119" y="1648203"/>
                </a:lnTo>
                <a:lnTo>
                  <a:pt x="5027632" y="1651437"/>
                </a:lnTo>
                <a:lnTo>
                  <a:pt x="5027901" y="1651234"/>
                </a:lnTo>
                <a:lnTo>
                  <a:pt x="5032892" y="1652642"/>
                </a:lnTo>
                <a:lnTo>
                  <a:pt x="5033544" y="1648311"/>
                </a:lnTo>
                <a:lnTo>
                  <a:pt x="5032349" y="1643980"/>
                </a:lnTo>
                <a:lnTo>
                  <a:pt x="5032599" y="1643346"/>
                </a:lnTo>
                <a:close/>
                <a:moveTo>
                  <a:pt x="4077077" y="1640191"/>
                </a:moveTo>
                <a:lnTo>
                  <a:pt x="4075016" y="1644847"/>
                </a:lnTo>
                <a:lnTo>
                  <a:pt x="4075775" y="1647987"/>
                </a:lnTo>
                <a:lnTo>
                  <a:pt x="4081635" y="1647770"/>
                </a:lnTo>
                <a:lnTo>
                  <a:pt x="4084022" y="1650044"/>
                </a:lnTo>
                <a:lnTo>
                  <a:pt x="4082612" y="1652967"/>
                </a:lnTo>
                <a:lnTo>
                  <a:pt x="4081960" y="1658056"/>
                </a:lnTo>
                <a:lnTo>
                  <a:pt x="4081962" y="1658055"/>
                </a:lnTo>
                <a:lnTo>
                  <a:pt x="4082613" y="1652966"/>
                </a:lnTo>
                <a:lnTo>
                  <a:pt x="4084024" y="1650042"/>
                </a:lnTo>
                <a:lnTo>
                  <a:pt x="4081637" y="1647769"/>
                </a:lnTo>
                <a:lnTo>
                  <a:pt x="4075776" y="1647986"/>
                </a:lnTo>
                <a:lnTo>
                  <a:pt x="4075017" y="1644846"/>
                </a:lnTo>
                <a:lnTo>
                  <a:pt x="4077078" y="1640192"/>
                </a:lnTo>
                <a:close/>
                <a:moveTo>
                  <a:pt x="4441990" y="1639262"/>
                </a:moveTo>
                <a:lnTo>
                  <a:pt x="4440826" y="1639649"/>
                </a:lnTo>
                <a:lnTo>
                  <a:pt x="4437244" y="1645604"/>
                </a:lnTo>
                <a:lnTo>
                  <a:pt x="4439089" y="1652642"/>
                </a:lnTo>
                <a:lnTo>
                  <a:pt x="4443972" y="1660329"/>
                </a:lnTo>
                <a:lnTo>
                  <a:pt x="4443756" y="1662711"/>
                </a:lnTo>
                <a:lnTo>
                  <a:pt x="4443430" y="1666717"/>
                </a:lnTo>
                <a:lnTo>
                  <a:pt x="4443756" y="1677652"/>
                </a:lnTo>
                <a:lnTo>
                  <a:pt x="4446685" y="1680792"/>
                </a:lnTo>
                <a:lnTo>
                  <a:pt x="4449507" y="1687721"/>
                </a:lnTo>
                <a:lnTo>
                  <a:pt x="4449508" y="1687722"/>
                </a:lnTo>
                <a:lnTo>
                  <a:pt x="4446687" y="1680793"/>
                </a:lnTo>
                <a:lnTo>
                  <a:pt x="4443757" y="1677652"/>
                </a:lnTo>
                <a:lnTo>
                  <a:pt x="4443432" y="1666717"/>
                </a:lnTo>
                <a:lnTo>
                  <a:pt x="4443757" y="1662711"/>
                </a:lnTo>
                <a:lnTo>
                  <a:pt x="4447555" y="1662278"/>
                </a:lnTo>
                <a:lnTo>
                  <a:pt x="4455368" y="1666176"/>
                </a:lnTo>
                <a:lnTo>
                  <a:pt x="4459492" y="1663903"/>
                </a:lnTo>
                <a:lnTo>
                  <a:pt x="4476203" y="1661521"/>
                </a:lnTo>
                <a:lnTo>
                  <a:pt x="4483800" y="1661195"/>
                </a:lnTo>
                <a:lnTo>
                  <a:pt x="4487387" y="1658239"/>
                </a:lnTo>
                <a:lnTo>
                  <a:pt x="4483799" y="1661195"/>
                </a:lnTo>
                <a:lnTo>
                  <a:pt x="4476203" y="1661520"/>
                </a:lnTo>
                <a:lnTo>
                  <a:pt x="4459492" y="1663901"/>
                </a:lnTo>
                <a:lnTo>
                  <a:pt x="4455368" y="1666175"/>
                </a:lnTo>
                <a:lnTo>
                  <a:pt x="4447555" y="1662277"/>
                </a:lnTo>
                <a:lnTo>
                  <a:pt x="4443757" y="1662711"/>
                </a:lnTo>
                <a:lnTo>
                  <a:pt x="4443974" y="1660329"/>
                </a:lnTo>
                <a:lnTo>
                  <a:pt x="4439091" y="1652642"/>
                </a:lnTo>
                <a:lnTo>
                  <a:pt x="4437246" y="1645604"/>
                </a:lnTo>
                <a:lnTo>
                  <a:pt x="4440827" y="1639649"/>
                </a:lnTo>
                <a:close/>
                <a:moveTo>
                  <a:pt x="4626932" y="1639109"/>
                </a:moveTo>
                <a:lnTo>
                  <a:pt x="4623351" y="1642357"/>
                </a:lnTo>
                <a:lnTo>
                  <a:pt x="4623351" y="1647338"/>
                </a:lnTo>
                <a:lnTo>
                  <a:pt x="4617817" y="1648528"/>
                </a:lnTo>
                <a:lnTo>
                  <a:pt x="4616733" y="1648281"/>
                </a:lnTo>
                <a:lnTo>
                  <a:pt x="4616733" y="1648636"/>
                </a:lnTo>
                <a:lnTo>
                  <a:pt x="4616082" y="1648419"/>
                </a:lnTo>
                <a:lnTo>
                  <a:pt x="4605881" y="1651017"/>
                </a:lnTo>
                <a:lnTo>
                  <a:pt x="4598827" y="1651775"/>
                </a:lnTo>
                <a:lnTo>
                  <a:pt x="4598827" y="1651776"/>
                </a:lnTo>
                <a:lnTo>
                  <a:pt x="4605880" y="1651019"/>
                </a:lnTo>
                <a:lnTo>
                  <a:pt x="4616081" y="1648420"/>
                </a:lnTo>
                <a:lnTo>
                  <a:pt x="4616732" y="1648636"/>
                </a:lnTo>
                <a:lnTo>
                  <a:pt x="4620530" y="1649503"/>
                </a:lnTo>
                <a:lnTo>
                  <a:pt x="4626065" y="1648311"/>
                </a:lnTo>
                <a:lnTo>
                  <a:pt x="4625522" y="1643331"/>
                </a:lnTo>
                <a:lnTo>
                  <a:pt x="4629211" y="1640083"/>
                </a:lnTo>
                <a:lnTo>
                  <a:pt x="4641040" y="1643981"/>
                </a:lnTo>
                <a:lnTo>
                  <a:pt x="4653302" y="1643981"/>
                </a:lnTo>
                <a:lnTo>
                  <a:pt x="4659379" y="1640732"/>
                </a:lnTo>
                <a:lnTo>
                  <a:pt x="4662918" y="1640945"/>
                </a:lnTo>
                <a:lnTo>
                  <a:pt x="4662525" y="1639758"/>
                </a:lnTo>
                <a:lnTo>
                  <a:pt x="4656991" y="1639758"/>
                </a:lnTo>
                <a:lnTo>
                  <a:pt x="4651023" y="1643006"/>
                </a:lnTo>
                <a:lnTo>
                  <a:pt x="4638760" y="1643006"/>
                </a:lnTo>
                <a:close/>
                <a:moveTo>
                  <a:pt x="6074304" y="1637593"/>
                </a:moveTo>
                <a:lnTo>
                  <a:pt x="6074762" y="1637809"/>
                </a:lnTo>
                <a:lnTo>
                  <a:pt x="6076581" y="1637593"/>
                </a:lnTo>
                <a:close/>
                <a:moveTo>
                  <a:pt x="6079754" y="1636402"/>
                </a:moveTo>
                <a:lnTo>
                  <a:pt x="6078921" y="1637315"/>
                </a:lnTo>
                <a:lnTo>
                  <a:pt x="6079320" y="1637268"/>
                </a:lnTo>
                <a:lnTo>
                  <a:pt x="6079992" y="1636448"/>
                </a:lnTo>
                <a:close/>
                <a:moveTo>
                  <a:pt x="6060462" y="1635752"/>
                </a:moveTo>
                <a:lnTo>
                  <a:pt x="6070666" y="1635964"/>
                </a:lnTo>
                <a:lnTo>
                  <a:pt x="6070204" y="1635752"/>
                </a:lnTo>
                <a:close/>
                <a:moveTo>
                  <a:pt x="6059352" y="1635752"/>
                </a:moveTo>
                <a:lnTo>
                  <a:pt x="6056380" y="1636684"/>
                </a:lnTo>
                <a:lnTo>
                  <a:pt x="6056749" y="1636943"/>
                </a:lnTo>
                <a:lnTo>
                  <a:pt x="6060437" y="1635752"/>
                </a:lnTo>
                <a:close/>
                <a:moveTo>
                  <a:pt x="1221354" y="1635752"/>
                </a:moveTo>
                <a:lnTo>
                  <a:pt x="1222765" y="1637917"/>
                </a:lnTo>
                <a:lnTo>
                  <a:pt x="1220052" y="1639000"/>
                </a:lnTo>
                <a:lnTo>
                  <a:pt x="1219184" y="1643006"/>
                </a:lnTo>
                <a:lnTo>
                  <a:pt x="1221897" y="1651884"/>
                </a:lnTo>
                <a:lnTo>
                  <a:pt x="1219943" y="1653400"/>
                </a:lnTo>
                <a:lnTo>
                  <a:pt x="1216688" y="1646254"/>
                </a:lnTo>
                <a:lnTo>
                  <a:pt x="1216796" y="1639650"/>
                </a:lnTo>
                <a:close/>
                <a:moveTo>
                  <a:pt x="7327586" y="1634561"/>
                </a:moveTo>
                <a:lnTo>
                  <a:pt x="7322594" y="1641273"/>
                </a:lnTo>
                <a:lnTo>
                  <a:pt x="7321183" y="1646362"/>
                </a:lnTo>
                <a:lnTo>
                  <a:pt x="7320967" y="1651126"/>
                </a:lnTo>
                <a:lnTo>
                  <a:pt x="7317928" y="1653399"/>
                </a:lnTo>
                <a:lnTo>
                  <a:pt x="7314455" y="1659030"/>
                </a:lnTo>
                <a:lnTo>
                  <a:pt x="7309464" y="1664118"/>
                </a:lnTo>
                <a:lnTo>
                  <a:pt x="7306860" y="1663252"/>
                </a:lnTo>
                <a:lnTo>
                  <a:pt x="7308487" y="1656215"/>
                </a:lnTo>
                <a:lnTo>
                  <a:pt x="7311960" y="1652425"/>
                </a:lnTo>
                <a:lnTo>
                  <a:pt x="7312828" y="1649610"/>
                </a:lnTo>
                <a:lnTo>
                  <a:pt x="7314672" y="1647661"/>
                </a:lnTo>
                <a:lnTo>
                  <a:pt x="7316084" y="1643330"/>
                </a:lnTo>
                <a:lnTo>
                  <a:pt x="7317928" y="1641598"/>
                </a:lnTo>
                <a:lnTo>
                  <a:pt x="7320316" y="1636726"/>
                </a:lnTo>
                <a:lnTo>
                  <a:pt x="7325199" y="1635860"/>
                </a:lnTo>
                <a:close/>
                <a:moveTo>
                  <a:pt x="6947018" y="1634466"/>
                </a:moveTo>
                <a:lnTo>
                  <a:pt x="6946259" y="1636076"/>
                </a:lnTo>
                <a:lnTo>
                  <a:pt x="6942569" y="1636725"/>
                </a:lnTo>
                <a:lnTo>
                  <a:pt x="6939313" y="1640731"/>
                </a:lnTo>
                <a:lnTo>
                  <a:pt x="6939313" y="1642332"/>
                </a:lnTo>
                <a:lnTo>
                  <a:pt x="6942460" y="1638459"/>
                </a:lnTo>
                <a:lnTo>
                  <a:pt x="6946041" y="1637810"/>
                </a:lnTo>
                <a:lnTo>
                  <a:pt x="6947018" y="1635969"/>
                </a:lnTo>
                <a:close/>
                <a:moveTo>
                  <a:pt x="6043291" y="1633154"/>
                </a:moveTo>
                <a:lnTo>
                  <a:pt x="6038082" y="1636943"/>
                </a:lnTo>
                <a:lnTo>
                  <a:pt x="6033199" y="1638675"/>
                </a:lnTo>
                <a:lnTo>
                  <a:pt x="6030120" y="1640371"/>
                </a:lnTo>
                <a:lnTo>
                  <a:pt x="6031356" y="1640949"/>
                </a:lnTo>
                <a:lnTo>
                  <a:pt x="6034503" y="1639217"/>
                </a:lnTo>
                <a:lnTo>
                  <a:pt x="6039278" y="1637484"/>
                </a:lnTo>
                <a:lnTo>
                  <a:pt x="6044486" y="1633695"/>
                </a:lnTo>
                <a:lnTo>
                  <a:pt x="6047807" y="1633259"/>
                </a:lnTo>
                <a:lnTo>
                  <a:pt x="6047415" y="1633154"/>
                </a:lnTo>
                <a:close/>
                <a:moveTo>
                  <a:pt x="5243090" y="1630613"/>
                </a:moveTo>
                <a:lnTo>
                  <a:pt x="5243090" y="1632829"/>
                </a:lnTo>
                <a:lnTo>
                  <a:pt x="5248733" y="1632829"/>
                </a:lnTo>
                <a:lnTo>
                  <a:pt x="5251988" y="1635969"/>
                </a:lnTo>
                <a:lnTo>
                  <a:pt x="5257306" y="1637160"/>
                </a:lnTo>
                <a:lnTo>
                  <a:pt x="5258174" y="1639758"/>
                </a:lnTo>
                <a:lnTo>
                  <a:pt x="5262623" y="1643332"/>
                </a:lnTo>
                <a:lnTo>
                  <a:pt x="5269676" y="1643332"/>
                </a:lnTo>
                <a:lnTo>
                  <a:pt x="5271956" y="1645063"/>
                </a:lnTo>
                <a:lnTo>
                  <a:pt x="5273141" y="1663666"/>
                </a:lnTo>
                <a:lnTo>
                  <a:pt x="5273365" y="1663252"/>
                </a:lnTo>
                <a:lnTo>
                  <a:pt x="5272280" y="1644521"/>
                </a:lnTo>
                <a:lnTo>
                  <a:pt x="5270002" y="1642789"/>
                </a:lnTo>
                <a:lnTo>
                  <a:pt x="5262947" y="1642681"/>
                </a:lnTo>
                <a:lnTo>
                  <a:pt x="5258390" y="1639000"/>
                </a:lnTo>
                <a:lnTo>
                  <a:pt x="5257521" y="1636401"/>
                </a:lnTo>
                <a:lnTo>
                  <a:pt x="5252205" y="1635211"/>
                </a:lnTo>
                <a:lnTo>
                  <a:pt x="5248949" y="1632179"/>
                </a:lnTo>
                <a:lnTo>
                  <a:pt x="5243306" y="1632179"/>
                </a:lnTo>
                <a:close/>
                <a:moveTo>
                  <a:pt x="5748125" y="1630468"/>
                </a:moveTo>
                <a:lnTo>
                  <a:pt x="5743786" y="1632179"/>
                </a:lnTo>
                <a:lnTo>
                  <a:pt x="5739771" y="1631313"/>
                </a:lnTo>
                <a:lnTo>
                  <a:pt x="5739348" y="1631532"/>
                </a:lnTo>
                <a:lnTo>
                  <a:pt x="5743351" y="1632503"/>
                </a:lnTo>
                <a:lnTo>
                  <a:pt x="5748017" y="1630663"/>
                </a:lnTo>
                <a:close/>
                <a:moveTo>
                  <a:pt x="5929017" y="1628059"/>
                </a:moveTo>
                <a:lnTo>
                  <a:pt x="5927070" y="1629797"/>
                </a:lnTo>
                <a:lnTo>
                  <a:pt x="5923815" y="1634454"/>
                </a:lnTo>
                <a:lnTo>
                  <a:pt x="5919800" y="1635428"/>
                </a:lnTo>
                <a:lnTo>
                  <a:pt x="5915784" y="1639217"/>
                </a:lnTo>
                <a:lnTo>
                  <a:pt x="5915784" y="1642465"/>
                </a:lnTo>
                <a:lnTo>
                  <a:pt x="5909599" y="1645389"/>
                </a:lnTo>
                <a:lnTo>
                  <a:pt x="5907863" y="1650152"/>
                </a:lnTo>
                <a:lnTo>
                  <a:pt x="5907863" y="1654916"/>
                </a:lnTo>
                <a:lnTo>
                  <a:pt x="5900267" y="1657623"/>
                </a:lnTo>
                <a:lnTo>
                  <a:pt x="5896142" y="1662062"/>
                </a:lnTo>
                <a:lnTo>
                  <a:pt x="5894624" y="1664444"/>
                </a:lnTo>
                <a:lnTo>
                  <a:pt x="5883772" y="1664444"/>
                </a:lnTo>
                <a:lnTo>
                  <a:pt x="5879432" y="1666718"/>
                </a:lnTo>
                <a:lnTo>
                  <a:pt x="5875633" y="1675487"/>
                </a:lnTo>
                <a:lnTo>
                  <a:pt x="5875633" y="1676029"/>
                </a:lnTo>
                <a:lnTo>
                  <a:pt x="5873572" y="1676029"/>
                </a:lnTo>
                <a:lnTo>
                  <a:pt x="5868797" y="1674297"/>
                </a:lnTo>
                <a:lnTo>
                  <a:pt x="5865867" y="1674297"/>
                </a:lnTo>
                <a:lnTo>
                  <a:pt x="5864674" y="1672889"/>
                </a:lnTo>
                <a:lnTo>
                  <a:pt x="5857619" y="1670507"/>
                </a:lnTo>
                <a:lnTo>
                  <a:pt x="5852302" y="1665852"/>
                </a:lnTo>
                <a:lnTo>
                  <a:pt x="5848874" y="1664996"/>
                </a:lnTo>
                <a:lnTo>
                  <a:pt x="5849046" y="1665526"/>
                </a:lnTo>
                <a:lnTo>
                  <a:pt x="5852519" y="1666392"/>
                </a:lnTo>
                <a:lnTo>
                  <a:pt x="5857836" y="1670939"/>
                </a:lnTo>
                <a:lnTo>
                  <a:pt x="5864890" y="1673430"/>
                </a:lnTo>
                <a:lnTo>
                  <a:pt x="5866083" y="1674729"/>
                </a:lnTo>
                <a:lnTo>
                  <a:pt x="5866625" y="1675487"/>
                </a:lnTo>
                <a:lnTo>
                  <a:pt x="5866626" y="1675486"/>
                </a:lnTo>
                <a:lnTo>
                  <a:pt x="5866084" y="1674728"/>
                </a:lnTo>
                <a:lnTo>
                  <a:pt x="5869014" y="1674837"/>
                </a:lnTo>
                <a:lnTo>
                  <a:pt x="5873897" y="1676569"/>
                </a:lnTo>
                <a:lnTo>
                  <a:pt x="5875959" y="1676569"/>
                </a:lnTo>
                <a:lnTo>
                  <a:pt x="5875743" y="1676029"/>
                </a:lnTo>
                <a:lnTo>
                  <a:pt x="5879541" y="1667259"/>
                </a:lnTo>
                <a:lnTo>
                  <a:pt x="5883882" y="1664985"/>
                </a:lnTo>
                <a:lnTo>
                  <a:pt x="5894950" y="1665527"/>
                </a:lnTo>
                <a:lnTo>
                  <a:pt x="5896469" y="1663036"/>
                </a:lnTo>
                <a:lnTo>
                  <a:pt x="5900593" y="1658597"/>
                </a:lnTo>
                <a:lnTo>
                  <a:pt x="5908190" y="1655890"/>
                </a:lnTo>
                <a:lnTo>
                  <a:pt x="5908514" y="1651018"/>
                </a:lnTo>
                <a:lnTo>
                  <a:pt x="5910251" y="1646254"/>
                </a:lnTo>
                <a:lnTo>
                  <a:pt x="5916436" y="1643331"/>
                </a:lnTo>
                <a:lnTo>
                  <a:pt x="5916654" y="1640083"/>
                </a:lnTo>
                <a:lnTo>
                  <a:pt x="5920561" y="1636293"/>
                </a:lnTo>
                <a:lnTo>
                  <a:pt x="5924575" y="1635211"/>
                </a:lnTo>
                <a:lnTo>
                  <a:pt x="5927831" y="1630555"/>
                </a:lnTo>
                <a:lnTo>
                  <a:pt x="5929893" y="1628714"/>
                </a:lnTo>
                <a:close/>
                <a:moveTo>
                  <a:pt x="2750679" y="1626873"/>
                </a:moveTo>
                <a:lnTo>
                  <a:pt x="2750679" y="1629904"/>
                </a:lnTo>
                <a:lnTo>
                  <a:pt x="2749377" y="1633045"/>
                </a:lnTo>
                <a:lnTo>
                  <a:pt x="2746989" y="1634561"/>
                </a:lnTo>
                <a:cubicBezTo>
                  <a:pt x="2746989" y="1634561"/>
                  <a:pt x="2745904" y="1633586"/>
                  <a:pt x="2745904" y="1633586"/>
                </a:cubicBezTo>
                <a:lnTo>
                  <a:pt x="2747749" y="1629147"/>
                </a:lnTo>
                <a:close/>
                <a:moveTo>
                  <a:pt x="6947993" y="1626809"/>
                </a:moveTo>
                <a:lnTo>
                  <a:pt x="6947344" y="1630121"/>
                </a:lnTo>
                <a:lnTo>
                  <a:pt x="6947328" y="1630434"/>
                </a:lnTo>
                <a:lnTo>
                  <a:pt x="6948103" y="1626874"/>
                </a:lnTo>
                <a:close/>
                <a:moveTo>
                  <a:pt x="6896047" y="1626742"/>
                </a:moveTo>
                <a:lnTo>
                  <a:pt x="6896015" y="1626874"/>
                </a:lnTo>
                <a:lnTo>
                  <a:pt x="6896015" y="1629327"/>
                </a:lnTo>
                <a:lnTo>
                  <a:pt x="6896450" y="1629146"/>
                </a:lnTo>
                <a:close/>
                <a:moveTo>
                  <a:pt x="4088898" y="1626668"/>
                </a:moveTo>
                <a:lnTo>
                  <a:pt x="4087495" y="1628390"/>
                </a:lnTo>
                <a:lnTo>
                  <a:pt x="4087170" y="1631097"/>
                </a:lnTo>
                <a:lnTo>
                  <a:pt x="4085325" y="1635211"/>
                </a:lnTo>
                <a:lnTo>
                  <a:pt x="4085216" y="1639867"/>
                </a:lnTo>
                <a:lnTo>
                  <a:pt x="4082178" y="1642464"/>
                </a:lnTo>
                <a:lnTo>
                  <a:pt x="4082179" y="1642464"/>
                </a:lnTo>
                <a:lnTo>
                  <a:pt x="4085217" y="1639866"/>
                </a:lnTo>
                <a:lnTo>
                  <a:pt x="4085326" y="1635210"/>
                </a:lnTo>
                <a:lnTo>
                  <a:pt x="4087171" y="1631095"/>
                </a:lnTo>
                <a:lnTo>
                  <a:pt x="4087497" y="1628389"/>
                </a:lnTo>
                <a:close/>
                <a:moveTo>
                  <a:pt x="5241612" y="1626613"/>
                </a:moveTo>
                <a:lnTo>
                  <a:pt x="5241570" y="1626765"/>
                </a:lnTo>
                <a:lnTo>
                  <a:pt x="5242917" y="1629356"/>
                </a:lnTo>
                <a:lnTo>
                  <a:pt x="5242873" y="1629039"/>
                </a:lnTo>
                <a:close/>
                <a:moveTo>
                  <a:pt x="6328426" y="1625782"/>
                </a:moveTo>
                <a:lnTo>
                  <a:pt x="6332055" y="1629689"/>
                </a:lnTo>
                <a:lnTo>
                  <a:pt x="6332096" y="1629691"/>
                </a:lnTo>
                <a:lnTo>
                  <a:pt x="6328474" y="1625791"/>
                </a:lnTo>
                <a:close/>
                <a:moveTo>
                  <a:pt x="5697557" y="1625574"/>
                </a:moveTo>
                <a:lnTo>
                  <a:pt x="5697557" y="1626008"/>
                </a:lnTo>
                <a:lnTo>
                  <a:pt x="5698600" y="1626954"/>
                </a:lnTo>
                <a:lnTo>
                  <a:pt x="5698751" y="1626548"/>
                </a:lnTo>
                <a:close/>
                <a:moveTo>
                  <a:pt x="6897125" y="1622423"/>
                </a:moveTo>
                <a:lnTo>
                  <a:pt x="6897101" y="1622435"/>
                </a:lnTo>
                <a:lnTo>
                  <a:pt x="6896897" y="1623268"/>
                </a:lnTo>
                <a:close/>
                <a:moveTo>
                  <a:pt x="5756916" y="1622110"/>
                </a:moveTo>
                <a:lnTo>
                  <a:pt x="5748994" y="1623193"/>
                </a:lnTo>
                <a:lnTo>
                  <a:pt x="5748899" y="1623466"/>
                </a:lnTo>
                <a:lnTo>
                  <a:pt x="5756481" y="1622326"/>
                </a:lnTo>
                <a:lnTo>
                  <a:pt x="5764946" y="1622326"/>
                </a:lnTo>
                <a:lnTo>
                  <a:pt x="5772216" y="1624275"/>
                </a:lnTo>
                <a:lnTo>
                  <a:pt x="5779270" y="1629472"/>
                </a:lnTo>
                <a:lnTo>
                  <a:pt x="5783176" y="1636293"/>
                </a:lnTo>
                <a:lnTo>
                  <a:pt x="5785672" y="1641815"/>
                </a:lnTo>
                <a:lnTo>
                  <a:pt x="5787951" y="1642031"/>
                </a:lnTo>
                <a:lnTo>
                  <a:pt x="5792943" y="1643439"/>
                </a:lnTo>
                <a:lnTo>
                  <a:pt x="5798585" y="1646903"/>
                </a:lnTo>
                <a:lnTo>
                  <a:pt x="5800322" y="1646903"/>
                </a:lnTo>
                <a:lnTo>
                  <a:pt x="5803903" y="1648636"/>
                </a:lnTo>
                <a:lnTo>
                  <a:pt x="5804120" y="1651343"/>
                </a:lnTo>
                <a:lnTo>
                  <a:pt x="5803252" y="1653617"/>
                </a:lnTo>
                <a:lnTo>
                  <a:pt x="5803360" y="1657514"/>
                </a:lnTo>
                <a:lnTo>
                  <a:pt x="5804662" y="1660654"/>
                </a:lnTo>
                <a:lnTo>
                  <a:pt x="5806941" y="1662927"/>
                </a:lnTo>
                <a:lnTo>
                  <a:pt x="5808026" y="1664119"/>
                </a:lnTo>
                <a:lnTo>
                  <a:pt x="5810197" y="1664010"/>
                </a:lnTo>
                <a:lnTo>
                  <a:pt x="5814863" y="1665959"/>
                </a:lnTo>
                <a:lnTo>
                  <a:pt x="5818553" y="1667692"/>
                </a:lnTo>
                <a:lnTo>
                  <a:pt x="5819855" y="1665526"/>
                </a:lnTo>
                <a:lnTo>
                  <a:pt x="5823653" y="1663469"/>
                </a:lnTo>
                <a:lnTo>
                  <a:pt x="5834939" y="1662711"/>
                </a:lnTo>
                <a:lnTo>
                  <a:pt x="5840148" y="1661195"/>
                </a:lnTo>
                <a:lnTo>
                  <a:pt x="5842535" y="1657081"/>
                </a:lnTo>
                <a:lnTo>
                  <a:pt x="5847201" y="1654482"/>
                </a:lnTo>
                <a:lnTo>
                  <a:pt x="5849395" y="1655486"/>
                </a:lnTo>
                <a:lnTo>
                  <a:pt x="5849481" y="1655241"/>
                </a:lnTo>
                <a:lnTo>
                  <a:pt x="5846877" y="1654050"/>
                </a:lnTo>
                <a:lnTo>
                  <a:pt x="5842210" y="1656648"/>
                </a:lnTo>
                <a:lnTo>
                  <a:pt x="5839822" y="1660763"/>
                </a:lnTo>
                <a:lnTo>
                  <a:pt x="5834723" y="1662279"/>
                </a:lnTo>
                <a:lnTo>
                  <a:pt x="5823871" y="1663036"/>
                </a:lnTo>
                <a:lnTo>
                  <a:pt x="5820073" y="1665093"/>
                </a:lnTo>
                <a:lnTo>
                  <a:pt x="5818771" y="1667259"/>
                </a:lnTo>
                <a:lnTo>
                  <a:pt x="5815190" y="1665527"/>
                </a:lnTo>
                <a:lnTo>
                  <a:pt x="5810415" y="1663578"/>
                </a:lnTo>
                <a:lnTo>
                  <a:pt x="5808245" y="1663578"/>
                </a:lnTo>
                <a:lnTo>
                  <a:pt x="5807160" y="1662387"/>
                </a:lnTo>
                <a:lnTo>
                  <a:pt x="5804880" y="1660113"/>
                </a:lnTo>
                <a:lnTo>
                  <a:pt x="5803579" y="1656973"/>
                </a:lnTo>
                <a:lnTo>
                  <a:pt x="5803579" y="1653184"/>
                </a:lnTo>
                <a:lnTo>
                  <a:pt x="5804447" y="1650910"/>
                </a:lnTo>
                <a:lnTo>
                  <a:pt x="5804447" y="1648203"/>
                </a:lnTo>
                <a:lnTo>
                  <a:pt x="5800866" y="1646579"/>
                </a:lnTo>
                <a:lnTo>
                  <a:pt x="5799129" y="1646579"/>
                </a:lnTo>
                <a:lnTo>
                  <a:pt x="5793486" y="1643006"/>
                </a:lnTo>
                <a:lnTo>
                  <a:pt x="5788495" y="1641599"/>
                </a:lnTo>
                <a:lnTo>
                  <a:pt x="5786107" y="1641599"/>
                </a:lnTo>
                <a:lnTo>
                  <a:pt x="5783611" y="1636077"/>
                </a:lnTo>
                <a:lnTo>
                  <a:pt x="5779704" y="1629148"/>
                </a:lnTo>
                <a:lnTo>
                  <a:pt x="5772652" y="1623951"/>
                </a:lnTo>
                <a:lnTo>
                  <a:pt x="5765380" y="1622110"/>
                </a:lnTo>
                <a:close/>
                <a:moveTo>
                  <a:pt x="5707927" y="1621986"/>
                </a:moveTo>
                <a:lnTo>
                  <a:pt x="5707215" y="1625033"/>
                </a:lnTo>
                <a:lnTo>
                  <a:pt x="5707541" y="1627473"/>
                </a:lnTo>
                <a:lnTo>
                  <a:pt x="5707541" y="1625358"/>
                </a:lnTo>
                <a:lnTo>
                  <a:pt x="5708192" y="1622110"/>
                </a:lnTo>
                <a:close/>
                <a:moveTo>
                  <a:pt x="3845612" y="1616588"/>
                </a:moveTo>
                <a:lnTo>
                  <a:pt x="3847565" y="1620486"/>
                </a:lnTo>
                <a:lnTo>
                  <a:pt x="3851580" y="1620486"/>
                </a:lnTo>
                <a:lnTo>
                  <a:pt x="3846046" y="1624492"/>
                </a:lnTo>
                <a:lnTo>
                  <a:pt x="3839535" y="1621243"/>
                </a:lnTo>
                <a:cubicBezTo>
                  <a:pt x="3839828" y="1619891"/>
                  <a:pt x="3840191" y="1618554"/>
                  <a:pt x="3840620" y="1617237"/>
                </a:cubicBezTo>
                <a:close/>
                <a:moveTo>
                  <a:pt x="5993916" y="1615289"/>
                </a:moveTo>
                <a:lnTo>
                  <a:pt x="5990336" y="1617671"/>
                </a:lnTo>
                <a:lnTo>
                  <a:pt x="5985995" y="1617671"/>
                </a:lnTo>
                <a:lnTo>
                  <a:pt x="5983390" y="1618538"/>
                </a:lnTo>
                <a:lnTo>
                  <a:pt x="5978658" y="1618538"/>
                </a:lnTo>
                <a:lnTo>
                  <a:pt x="5979702" y="1619620"/>
                </a:lnTo>
                <a:lnTo>
                  <a:pt x="5984693" y="1619295"/>
                </a:lnTo>
                <a:lnTo>
                  <a:pt x="5987298" y="1618320"/>
                </a:lnTo>
                <a:lnTo>
                  <a:pt x="5991530" y="1618753"/>
                </a:lnTo>
                <a:lnTo>
                  <a:pt x="5995219" y="1616371"/>
                </a:lnTo>
                <a:lnTo>
                  <a:pt x="6001759" y="1615905"/>
                </a:lnTo>
                <a:lnTo>
                  <a:pt x="6001512" y="1615289"/>
                </a:lnTo>
                <a:close/>
                <a:moveTo>
                  <a:pt x="4608811" y="1612581"/>
                </a:moveTo>
                <a:lnTo>
                  <a:pt x="4608317" y="1613489"/>
                </a:lnTo>
                <a:lnTo>
                  <a:pt x="4611631" y="1616589"/>
                </a:lnTo>
                <a:lnTo>
                  <a:pt x="4612905" y="1616411"/>
                </a:lnTo>
                <a:close/>
                <a:moveTo>
                  <a:pt x="6314541" y="1612232"/>
                </a:moveTo>
                <a:lnTo>
                  <a:pt x="6317080" y="1619620"/>
                </a:lnTo>
                <a:lnTo>
                  <a:pt x="6317402" y="1619839"/>
                </a:lnTo>
                <a:lnTo>
                  <a:pt x="6314909" y="1612583"/>
                </a:lnTo>
                <a:close/>
                <a:moveTo>
                  <a:pt x="6939734" y="1609104"/>
                </a:moveTo>
                <a:lnTo>
                  <a:pt x="6937903" y="1610848"/>
                </a:lnTo>
                <a:lnTo>
                  <a:pt x="6938400" y="1612213"/>
                </a:lnTo>
                <a:lnTo>
                  <a:pt x="6940399" y="1610309"/>
                </a:lnTo>
                <a:close/>
                <a:moveTo>
                  <a:pt x="6217352" y="1608901"/>
                </a:moveTo>
                <a:lnTo>
                  <a:pt x="6214097" y="1611175"/>
                </a:lnTo>
                <a:lnTo>
                  <a:pt x="6206826" y="1611175"/>
                </a:lnTo>
                <a:lnTo>
                  <a:pt x="6205090" y="1612799"/>
                </a:lnTo>
                <a:lnTo>
                  <a:pt x="6202168" y="1612799"/>
                </a:lnTo>
                <a:lnTo>
                  <a:pt x="6202378" y="1612907"/>
                </a:lnTo>
                <a:lnTo>
                  <a:pt x="6205742" y="1613015"/>
                </a:lnTo>
                <a:lnTo>
                  <a:pt x="6207478" y="1611391"/>
                </a:lnTo>
                <a:lnTo>
                  <a:pt x="6214749" y="1611716"/>
                </a:lnTo>
                <a:lnTo>
                  <a:pt x="6218004" y="1609550"/>
                </a:lnTo>
                <a:lnTo>
                  <a:pt x="6221585" y="1609659"/>
                </a:lnTo>
                <a:lnTo>
                  <a:pt x="6224515" y="1610742"/>
                </a:lnTo>
                <a:lnTo>
                  <a:pt x="6227554" y="1609767"/>
                </a:lnTo>
                <a:lnTo>
                  <a:pt x="6227620" y="1609696"/>
                </a:lnTo>
                <a:lnTo>
                  <a:pt x="6223863" y="1609984"/>
                </a:lnTo>
                <a:lnTo>
                  <a:pt x="6220934" y="1608901"/>
                </a:lnTo>
                <a:close/>
                <a:moveTo>
                  <a:pt x="5971562" y="1608901"/>
                </a:moveTo>
                <a:lnTo>
                  <a:pt x="5967982" y="1611175"/>
                </a:lnTo>
                <a:lnTo>
                  <a:pt x="5962447" y="1611175"/>
                </a:lnTo>
                <a:lnTo>
                  <a:pt x="5958540" y="1611175"/>
                </a:lnTo>
                <a:lnTo>
                  <a:pt x="5953874" y="1612366"/>
                </a:lnTo>
                <a:lnTo>
                  <a:pt x="5945410" y="1613449"/>
                </a:lnTo>
                <a:lnTo>
                  <a:pt x="5941611" y="1614965"/>
                </a:lnTo>
                <a:lnTo>
                  <a:pt x="5939224" y="1621136"/>
                </a:lnTo>
                <a:lnTo>
                  <a:pt x="5935969" y="1622868"/>
                </a:lnTo>
                <a:lnTo>
                  <a:pt x="5928046" y="1620595"/>
                </a:lnTo>
                <a:lnTo>
                  <a:pt x="5926528" y="1622652"/>
                </a:lnTo>
                <a:lnTo>
                  <a:pt x="5926528" y="1626116"/>
                </a:lnTo>
                <a:lnTo>
                  <a:pt x="5927285" y="1626651"/>
                </a:lnTo>
                <a:lnTo>
                  <a:pt x="5927180" y="1623409"/>
                </a:lnTo>
                <a:lnTo>
                  <a:pt x="5928699" y="1621352"/>
                </a:lnTo>
                <a:lnTo>
                  <a:pt x="5936621" y="1623517"/>
                </a:lnTo>
                <a:lnTo>
                  <a:pt x="5939876" y="1621785"/>
                </a:lnTo>
                <a:lnTo>
                  <a:pt x="5942264" y="1615614"/>
                </a:lnTo>
                <a:lnTo>
                  <a:pt x="5946062" y="1614098"/>
                </a:lnTo>
                <a:lnTo>
                  <a:pt x="5954525" y="1613015"/>
                </a:lnTo>
                <a:lnTo>
                  <a:pt x="5959192" y="1611824"/>
                </a:lnTo>
                <a:lnTo>
                  <a:pt x="5963099" y="1611716"/>
                </a:lnTo>
                <a:lnTo>
                  <a:pt x="5968633" y="1612040"/>
                </a:lnTo>
                <a:lnTo>
                  <a:pt x="5972322" y="1609767"/>
                </a:lnTo>
                <a:lnTo>
                  <a:pt x="5973516" y="1609983"/>
                </a:lnTo>
                <a:lnTo>
                  <a:pt x="5974667" y="1611514"/>
                </a:lnTo>
                <a:lnTo>
                  <a:pt x="5972755" y="1608901"/>
                </a:lnTo>
                <a:close/>
                <a:moveTo>
                  <a:pt x="5246236" y="1607959"/>
                </a:moveTo>
                <a:lnTo>
                  <a:pt x="5246236" y="1609551"/>
                </a:lnTo>
                <a:lnTo>
                  <a:pt x="5249818" y="1609551"/>
                </a:lnTo>
                <a:lnTo>
                  <a:pt x="5250784" y="1614020"/>
                </a:lnTo>
                <a:lnTo>
                  <a:pt x="5250902" y="1613881"/>
                </a:lnTo>
                <a:lnTo>
                  <a:pt x="5249600" y="1608468"/>
                </a:lnTo>
                <a:close/>
                <a:moveTo>
                  <a:pt x="6848604" y="1606417"/>
                </a:moveTo>
                <a:lnTo>
                  <a:pt x="6848702" y="1606842"/>
                </a:lnTo>
                <a:lnTo>
                  <a:pt x="6849877" y="1610092"/>
                </a:lnTo>
                <a:lnTo>
                  <a:pt x="6849896" y="1609984"/>
                </a:lnTo>
                <a:close/>
                <a:moveTo>
                  <a:pt x="6244814" y="1602663"/>
                </a:moveTo>
                <a:lnTo>
                  <a:pt x="6239056" y="1603055"/>
                </a:lnTo>
                <a:lnTo>
                  <a:pt x="6238783" y="1603141"/>
                </a:lnTo>
                <a:close/>
                <a:moveTo>
                  <a:pt x="6843554" y="1601863"/>
                </a:moveTo>
                <a:lnTo>
                  <a:pt x="6843710" y="1602836"/>
                </a:lnTo>
                <a:lnTo>
                  <a:pt x="6847683" y="1602622"/>
                </a:lnTo>
                <a:lnTo>
                  <a:pt x="6847508" y="1601863"/>
                </a:lnTo>
                <a:close/>
                <a:moveTo>
                  <a:pt x="6287211" y="1601430"/>
                </a:moveTo>
                <a:lnTo>
                  <a:pt x="6291687" y="1607926"/>
                </a:lnTo>
                <a:lnTo>
                  <a:pt x="6292115" y="1608091"/>
                </a:lnTo>
                <a:lnTo>
                  <a:pt x="6287454" y="1601430"/>
                </a:lnTo>
                <a:close/>
                <a:moveTo>
                  <a:pt x="6178843" y="1600023"/>
                </a:moveTo>
                <a:lnTo>
                  <a:pt x="6181204" y="1600110"/>
                </a:lnTo>
                <a:lnTo>
                  <a:pt x="6181108" y="1600023"/>
                </a:lnTo>
                <a:close/>
                <a:moveTo>
                  <a:pt x="4434843" y="1598808"/>
                </a:moveTo>
                <a:lnTo>
                  <a:pt x="4434858" y="1598831"/>
                </a:lnTo>
                <a:lnTo>
                  <a:pt x="4438438" y="1609767"/>
                </a:lnTo>
                <a:lnTo>
                  <a:pt x="4441694" y="1614747"/>
                </a:lnTo>
                <a:lnTo>
                  <a:pt x="4442779" y="1620594"/>
                </a:lnTo>
                <a:lnTo>
                  <a:pt x="4445492" y="1623084"/>
                </a:lnTo>
                <a:lnTo>
                  <a:pt x="4445709" y="1638025"/>
                </a:lnTo>
                <a:lnTo>
                  <a:pt x="4445710" y="1638024"/>
                </a:lnTo>
                <a:lnTo>
                  <a:pt x="4445493" y="1623083"/>
                </a:lnTo>
                <a:lnTo>
                  <a:pt x="4442780" y="1620593"/>
                </a:lnTo>
                <a:lnTo>
                  <a:pt x="4441695" y="1614747"/>
                </a:lnTo>
                <a:lnTo>
                  <a:pt x="4438440" y="1609766"/>
                </a:lnTo>
                <a:lnTo>
                  <a:pt x="4434858" y="1598831"/>
                </a:lnTo>
                <a:close/>
                <a:moveTo>
                  <a:pt x="7349072" y="1598290"/>
                </a:moveTo>
                <a:lnTo>
                  <a:pt x="7350700" y="1598615"/>
                </a:lnTo>
                <a:lnTo>
                  <a:pt x="7350049" y="1606410"/>
                </a:lnTo>
                <a:lnTo>
                  <a:pt x="7348205" y="1609008"/>
                </a:lnTo>
                <a:lnTo>
                  <a:pt x="7346577" y="1608467"/>
                </a:lnTo>
                <a:lnTo>
                  <a:pt x="7348639" y="1602296"/>
                </a:lnTo>
                <a:close/>
                <a:moveTo>
                  <a:pt x="6265642" y="1597749"/>
                </a:moveTo>
                <a:lnTo>
                  <a:pt x="6265552" y="1597776"/>
                </a:lnTo>
                <a:lnTo>
                  <a:pt x="6269408" y="1599853"/>
                </a:lnTo>
                <a:close/>
                <a:moveTo>
                  <a:pt x="6843494" y="1596403"/>
                </a:moveTo>
                <a:lnTo>
                  <a:pt x="6843168" y="1596882"/>
                </a:lnTo>
                <a:lnTo>
                  <a:pt x="6843276" y="1600130"/>
                </a:lnTo>
                <a:lnTo>
                  <a:pt x="6843494" y="1601490"/>
                </a:lnTo>
                <a:lnTo>
                  <a:pt x="6843494" y="1599157"/>
                </a:lnTo>
                <a:close/>
                <a:moveTo>
                  <a:pt x="4438981" y="1593310"/>
                </a:moveTo>
                <a:lnTo>
                  <a:pt x="4438981" y="1593310"/>
                </a:lnTo>
                <a:lnTo>
                  <a:pt x="4437555" y="1594298"/>
                </a:lnTo>
                <a:close/>
                <a:moveTo>
                  <a:pt x="2221443" y="1592552"/>
                </a:moveTo>
                <a:lnTo>
                  <a:pt x="2222637" y="1596342"/>
                </a:lnTo>
                <a:lnTo>
                  <a:pt x="2217320" y="1599265"/>
                </a:lnTo>
                <a:lnTo>
                  <a:pt x="2214715" y="1598507"/>
                </a:lnTo>
                <a:lnTo>
                  <a:pt x="2216343" y="1594717"/>
                </a:lnTo>
                <a:lnTo>
                  <a:pt x="2219815" y="1593960"/>
                </a:lnTo>
                <a:close/>
                <a:moveTo>
                  <a:pt x="6845555" y="1592030"/>
                </a:moveTo>
                <a:lnTo>
                  <a:pt x="6845326" y="1593311"/>
                </a:lnTo>
                <a:lnTo>
                  <a:pt x="6845555" y="1592985"/>
                </a:lnTo>
                <a:close/>
                <a:moveTo>
                  <a:pt x="6516571" y="1591722"/>
                </a:moveTo>
                <a:lnTo>
                  <a:pt x="6516967" y="1592119"/>
                </a:lnTo>
                <a:lnTo>
                  <a:pt x="6516967" y="1592118"/>
                </a:lnTo>
                <a:close/>
                <a:moveTo>
                  <a:pt x="4460032" y="1590603"/>
                </a:moveTo>
                <a:lnTo>
                  <a:pt x="4454420" y="1593354"/>
                </a:lnTo>
                <a:lnTo>
                  <a:pt x="4460033" y="1590603"/>
                </a:lnTo>
                <a:close/>
                <a:moveTo>
                  <a:pt x="6514391" y="1589335"/>
                </a:moveTo>
                <a:lnTo>
                  <a:pt x="6516533" y="1591685"/>
                </a:lnTo>
                <a:lnTo>
                  <a:pt x="6516618" y="1591661"/>
                </a:lnTo>
                <a:close/>
                <a:moveTo>
                  <a:pt x="7353087" y="1587788"/>
                </a:moveTo>
                <a:lnTo>
                  <a:pt x="7355475" y="1588763"/>
                </a:lnTo>
                <a:lnTo>
                  <a:pt x="7354824" y="1591253"/>
                </a:lnTo>
                <a:lnTo>
                  <a:pt x="7352654" y="1590603"/>
                </a:lnTo>
                <a:lnTo>
                  <a:pt x="7352111" y="1588871"/>
                </a:lnTo>
                <a:close/>
                <a:moveTo>
                  <a:pt x="4610075" y="1586667"/>
                </a:moveTo>
                <a:lnTo>
                  <a:pt x="4610113" y="1586813"/>
                </a:lnTo>
                <a:lnTo>
                  <a:pt x="4615833" y="1588278"/>
                </a:lnTo>
                <a:lnTo>
                  <a:pt x="4615646" y="1588114"/>
                </a:lnTo>
                <a:close/>
                <a:moveTo>
                  <a:pt x="5273149" y="1583607"/>
                </a:moveTo>
                <a:lnTo>
                  <a:pt x="5273149" y="1588005"/>
                </a:lnTo>
                <a:lnTo>
                  <a:pt x="5272716" y="1588827"/>
                </a:lnTo>
                <a:lnTo>
                  <a:pt x="5273257" y="1588438"/>
                </a:lnTo>
                <a:lnTo>
                  <a:pt x="5273365" y="1583673"/>
                </a:lnTo>
                <a:close/>
                <a:moveTo>
                  <a:pt x="4461769" y="1583349"/>
                </a:moveTo>
                <a:lnTo>
                  <a:pt x="4464156" y="1590278"/>
                </a:lnTo>
                <a:lnTo>
                  <a:pt x="4464158" y="1590277"/>
                </a:lnTo>
                <a:lnTo>
                  <a:pt x="4461771" y="1583349"/>
                </a:lnTo>
                <a:close/>
                <a:moveTo>
                  <a:pt x="3844636" y="1583133"/>
                </a:moveTo>
                <a:lnTo>
                  <a:pt x="3843768" y="1587139"/>
                </a:lnTo>
                <a:lnTo>
                  <a:pt x="3844636" y="1589629"/>
                </a:lnTo>
                <a:lnTo>
                  <a:pt x="3838993" y="1595367"/>
                </a:lnTo>
                <a:lnTo>
                  <a:pt x="3834978" y="1596017"/>
                </a:lnTo>
                <a:lnTo>
                  <a:pt x="3836823" y="1589845"/>
                </a:lnTo>
                <a:close/>
                <a:moveTo>
                  <a:pt x="7356452" y="1580642"/>
                </a:moveTo>
                <a:lnTo>
                  <a:pt x="7358948" y="1580750"/>
                </a:lnTo>
                <a:lnTo>
                  <a:pt x="7357320" y="1583565"/>
                </a:lnTo>
                <a:close/>
                <a:moveTo>
                  <a:pt x="1191946" y="1579775"/>
                </a:moveTo>
                <a:lnTo>
                  <a:pt x="1197047" y="1583781"/>
                </a:lnTo>
                <a:lnTo>
                  <a:pt x="1201387" y="1589952"/>
                </a:lnTo>
                <a:lnTo>
                  <a:pt x="1199977" y="1592334"/>
                </a:lnTo>
                <a:lnTo>
                  <a:pt x="1193139" y="1586163"/>
                </a:lnTo>
                <a:close/>
                <a:moveTo>
                  <a:pt x="4471102" y="1576745"/>
                </a:moveTo>
                <a:lnTo>
                  <a:pt x="4471101" y="1576745"/>
                </a:lnTo>
                <a:lnTo>
                  <a:pt x="4468714" y="1583024"/>
                </a:lnTo>
                <a:lnTo>
                  <a:pt x="4468715" y="1583024"/>
                </a:lnTo>
                <a:close/>
                <a:moveTo>
                  <a:pt x="5246996" y="1576183"/>
                </a:moveTo>
                <a:lnTo>
                  <a:pt x="5246996" y="1578261"/>
                </a:lnTo>
                <a:lnTo>
                  <a:pt x="5247355" y="1578261"/>
                </a:lnTo>
                <a:close/>
                <a:moveTo>
                  <a:pt x="6569970" y="1575832"/>
                </a:moveTo>
                <a:lnTo>
                  <a:pt x="6566342" y="1579451"/>
                </a:lnTo>
                <a:lnTo>
                  <a:pt x="6557769" y="1580967"/>
                </a:lnTo>
                <a:lnTo>
                  <a:pt x="6552343" y="1584757"/>
                </a:lnTo>
                <a:lnTo>
                  <a:pt x="6540949" y="1595585"/>
                </a:lnTo>
                <a:lnTo>
                  <a:pt x="6538236" y="1595585"/>
                </a:lnTo>
                <a:lnTo>
                  <a:pt x="6534763" y="1592661"/>
                </a:lnTo>
                <a:lnTo>
                  <a:pt x="6527818" y="1591686"/>
                </a:lnTo>
                <a:lnTo>
                  <a:pt x="6523477" y="1592444"/>
                </a:lnTo>
                <a:lnTo>
                  <a:pt x="6522718" y="1590820"/>
                </a:lnTo>
                <a:lnTo>
                  <a:pt x="6519355" y="1590820"/>
                </a:lnTo>
                <a:lnTo>
                  <a:pt x="6517435" y="1591433"/>
                </a:lnTo>
                <a:lnTo>
                  <a:pt x="6519246" y="1590927"/>
                </a:lnTo>
                <a:lnTo>
                  <a:pt x="6522610" y="1591360"/>
                </a:lnTo>
                <a:lnTo>
                  <a:pt x="6523369" y="1592984"/>
                </a:lnTo>
                <a:lnTo>
                  <a:pt x="6527709" y="1592226"/>
                </a:lnTo>
                <a:lnTo>
                  <a:pt x="6534764" y="1593201"/>
                </a:lnTo>
                <a:lnTo>
                  <a:pt x="6538127" y="1596124"/>
                </a:lnTo>
                <a:lnTo>
                  <a:pt x="6540840" y="1595691"/>
                </a:lnTo>
                <a:lnTo>
                  <a:pt x="6552234" y="1584864"/>
                </a:lnTo>
                <a:lnTo>
                  <a:pt x="6557660" y="1581074"/>
                </a:lnTo>
                <a:lnTo>
                  <a:pt x="6566234" y="1579667"/>
                </a:lnTo>
                <a:lnTo>
                  <a:pt x="6569923" y="1575985"/>
                </a:lnTo>
                <a:close/>
                <a:moveTo>
                  <a:pt x="4212941" y="1573929"/>
                </a:moveTo>
                <a:lnTo>
                  <a:pt x="4214569" y="1574795"/>
                </a:lnTo>
                <a:lnTo>
                  <a:pt x="4216196" y="1573929"/>
                </a:lnTo>
                <a:lnTo>
                  <a:pt x="4219669" y="1574687"/>
                </a:lnTo>
                <a:lnTo>
                  <a:pt x="4218692" y="1578585"/>
                </a:lnTo>
                <a:lnTo>
                  <a:pt x="4220754" y="1582266"/>
                </a:lnTo>
                <a:lnTo>
                  <a:pt x="4220428" y="1584432"/>
                </a:lnTo>
                <a:lnTo>
                  <a:pt x="4217498" y="1583566"/>
                </a:lnTo>
                <a:lnTo>
                  <a:pt x="4214460" y="1587789"/>
                </a:lnTo>
                <a:lnTo>
                  <a:pt x="4209577" y="1586164"/>
                </a:lnTo>
                <a:lnTo>
                  <a:pt x="4208275" y="1584432"/>
                </a:lnTo>
                <a:lnTo>
                  <a:pt x="4209360" y="1581076"/>
                </a:lnTo>
                <a:lnTo>
                  <a:pt x="4212290" y="1579343"/>
                </a:lnTo>
                <a:lnTo>
                  <a:pt x="4213267" y="1578043"/>
                </a:lnTo>
                <a:lnTo>
                  <a:pt x="4209577" y="1577719"/>
                </a:lnTo>
                <a:lnTo>
                  <a:pt x="4209360" y="1574795"/>
                </a:lnTo>
                <a:close/>
                <a:moveTo>
                  <a:pt x="5249058" y="1573281"/>
                </a:moveTo>
                <a:lnTo>
                  <a:pt x="5246996" y="1575121"/>
                </a:lnTo>
                <a:lnTo>
                  <a:pt x="5246996" y="1575456"/>
                </a:lnTo>
                <a:lnTo>
                  <a:pt x="5248949" y="1573713"/>
                </a:lnTo>
                <a:lnTo>
                  <a:pt x="5255352" y="1573496"/>
                </a:lnTo>
                <a:lnTo>
                  <a:pt x="5255271" y="1573281"/>
                </a:lnTo>
                <a:close/>
                <a:moveTo>
                  <a:pt x="7358080" y="1570789"/>
                </a:moveTo>
                <a:lnTo>
                  <a:pt x="7359057" y="1573387"/>
                </a:lnTo>
                <a:lnTo>
                  <a:pt x="7357755" y="1576961"/>
                </a:lnTo>
                <a:lnTo>
                  <a:pt x="7356452" y="1573063"/>
                </a:lnTo>
                <a:close/>
                <a:moveTo>
                  <a:pt x="6148736" y="1569645"/>
                </a:moveTo>
                <a:lnTo>
                  <a:pt x="6149313" y="1569924"/>
                </a:lnTo>
                <a:lnTo>
                  <a:pt x="6153437" y="1570573"/>
                </a:lnTo>
                <a:lnTo>
                  <a:pt x="6162723" y="1570274"/>
                </a:lnTo>
                <a:lnTo>
                  <a:pt x="6162659" y="1570249"/>
                </a:lnTo>
                <a:lnTo>
                  <a:pt x="6152568" y="1570249"/>
                </a:lnTo>
                <a:close/>
                <a:moveTo>
                  <a:pt x="6782339" y="1568639"/>
                </a:moveTo>
                <a:lnTo>
                  <a:pt x="6781964" y="1569056"/>
                </a:lnTo>
                <a:lnTo>
                  <a:pt x="6783483" y="1570463"/>
                </a:lnTo>
                <a:lnTo>
                  <a:pt x="6788800" y="1570897"/>
                </a:lnTo>
                <a:lnTo>
                  <a:pt x="6791188" y="1572196"/>
                </a:lnTo>
                <a:lnTo>
                  <a:pt x="6792816" y="1574036"/>
                </a:lnTo>
                <a:lnTo>
                  <a:pt x="6795746" y="1575985"/>
                </a:lnTo>
                <a:lnTo>
                  <a:pt x="6796397" y="1574036"/>
                </a:lnTo>
                <a:lnTo>
                  <a:pt x="6798784" y="1573062"/>
                </a:lnTo>
                <a:lnTo>
                  <a:pt x="6801280" y="1573820"/>
                </a:lnTo>
                <a:lnTo>
                  <a:pt x="6802257" y="1570897"/>
                </a:lnTo>
                <a:lnTo>
                  <a:pt x="6804644" y="1570572"/>
                </a:lnTo>
                <a:lnTo>
                  <a:pt x="6806489" y="1572304"/>
                </a:lnTo>
                <a:lnTo>
                  <a:pt x="6807466" y="1575011"/>
                </a:lnTo>
                <a:lnTo>
                  <a:pt x="6809853" y="1577826"/>
                </a:lnTo>
                <a:lnTo>
                  <a:pt x="6812458" y="1578151"/>
                </a:lnTo>
                <a:lnTo>
                  <a:pt x="6813217" y="1580533"/>
                </a:lnTo>
                <a:lnTo>
                  <a:pt x="6815714" y="1582590"/>
                </a:lnTo>
                <a:lnTo>
                  <a:pt x="6817015" y="1582481"/>
                </a:lnTo>
                <a:lnTo>
                  <a:pt x="6819185" y="1584755"/>
                </a:lnTo>
                <a:lnTo>
                  <a:pt x="6819728" y="1587029"/>
                </a:lnTo>
                <a:lnTo>
                  <a:pt x="6824937" y="1589411"/>
                </a:lnTo>
                <a:lnTo>
                  <a:pt x="6826130" y="1590494"/>
                </a:lnTo>
                <a:lnTo>
                  <a:pt x="6828409" y="1590818"/>
                </a:lnTo>
                <a:lnTo>
                  <a:pt x="6830905" y="1592659"/>
                </a:lnTo>
                <a:lnTo>
                  <a:pt x="6834161" y="1593309"/>
                </a:lnTo>
                <a:lnTo>
                  <a:pt x="6836657" y="1592551"/>
                </a:lnTo>
                <a:lnTo>
                  <a:pt x="6839478" y="1592226"/>
                </a:lnTo>
                <a:lnTo>
                  <a:pt x="6841974" y="1590385"/>
                </a:lnTo>
                <a:lnTo>
                  <a:pt x="6843927" y="1589952"/>
                </a:lnTo>
                <a:lnTo>
                  <a:pt x="6845555" y="1590716"/>
                </a:lnTo>
                <a:lnTo>
                  <a:pt x="6845555" y="1589846"/>
                </a:lnTo>
                <a:lnTo>
                  <a:pt x="6843710" y="1588979"/>
                </a:lnTo>
                <a:lnTo>
                  <a:pt x="6841865" y="1588979"/>
                </a:lnTo>
                <a:lnTo>
                  <a:pt x="6839370" y="1590820"/>
                </a:lnTo>
                <a:lnTo>
                  <a:pt x="6836548" y="1590820"/>
                </a:lnTo>
                <a:lnTo>
                  <a:pt x="6834053" y="1591578"/>
                </a:lnTo>
                <a:lnTo>
                  <a:pt x="6830796" y="1590928"/>
                </a:lnTo>
                <a:lnTo>
                  <a:pt x="6828410" y="1588979"/>
                </a:lnTo>
                <a:lnTo>
                  <a:pt x="6826130" y="1588979"/>
                </a:lnTo>
                <a:lnTo>
                  <a:pt x="6824937" y="1587896"/>
                </a:lnTo>
                <a:lnTo>
                  <a:pt x="6819728" y="1585623"/>
                </a:lnTo>
                <a:lnTo>
                  <a:pt x="6819077" y="1583349"/>
                </a:lnTo>
                <a:lnTo>
                  <a:pt x="6816907" y="1581076"/>
                </a:lnTo>
                <a:lnTo>
                  <a:pt x="6815604" y="1581076"/>
                </a:lnTo>
                <a:lnTo>
                  <a:pt x="6813108" y="1579018"/>
                </a:lnTo>
                <a:lnTo>
                  <a:pt x="6812349" y="1576745"/>
                </a:lnTo>
                <a:lnTo>
                  <a:pt x="6809744" y="1576745"/>
                </a:lnTo>
                <a:lnTo>
                  <a:pt x="6807248" y="1573930"/>
                </a:lnTo>
                <a:lnTo>
                  <a:pt x="6806272" y="1571224"/>
                </a:lnTo>
                <a:lnTo>
                  <a:pt x="6804428" y="1569491"/>
                </a:lnTo>
                <a:lnTo>
                  <a:pt x="6802040" y="1569491"/>
                </a:lnTo>
                <a:lnTo>
                  <a:pt x="6801063" y="1572306"/>
                </a:lnTo>
                <a:lnTo>
                  <a:pt x="6798567" y="1571656"/>
                </a:lnTo>
                <a:lnTo>
                  <a:pt x="6796180" y="1572631"/>
                </a:lnTo>
                <a:lnTo>
                  <a:pt x="6795529" y="1574471"/>
                </a:lnTo>
                <a:lnTo>
                  <a:pt x="6792599" y="1572631"/>
                </a:lnTo>
                <a:lnTo>
                  <a:pt x="6791080" y="1570790"/>
                </a:lnTo>
                <a:lnTo>
                  <a:pt x="6788692" y="1569599"/>
                </a:lnTo>
                <a:lnTo>
                  <a:pt x="6783375" y="1569599"/>
                </a:lnTo>
                <a:close/>
                <a:moveTo>
                  <a:pt x="4131652" y="1568558"/>
                </a:moveTo>
                <a:lnTo>
                  <a:pt x="4129817" y="1568840"/>
                </a:lnTo>
                <a:lnTo>
                  <a:pt x="4129818" y="1568840"/>
                </a:lnTo>
                <a:close/>
                <a:moveTo>
                  <a:pt x="6139502" y="1567389"/>
                </a:moveTo>
                <a:lnTo>
                  <a:pt x="6139763" y="1567649"/>
                </a:lnTo>
                <a:lnTo>
                  <a:pt x="6145697" y="1568273"/>
                </a:lnTo>
                <a:lnTo>
                  <a:pt x="6145080" y="1567975"/>
                </a:lnTo>
                <a:close/>
                <a:moveTo>
                  <a:pt x="4149460" y="1566458"/>
                </a:moveTo>
                <a:lnTo>
                  <a:pt x="4154668" y="1568407"/>
                </a:lnTo>
                <a:lnTo>
                  <a:pt x="4153041" y="1570031"/>
                </a:lnTo>
                <a:close/>
                <a:moveTo>
                  <a:pt x="6085504" y="1566135"/>
                </a:moveTo>
                <a:lnTo>
                  <a:pt x="6081598" y="1567542"/>
                </a:lnTo>
                <a:lnTo>
                  <a:pt x="6079211" y="1571548"/>
                </a:lnTo>
                <a:lnTo>
                  <a:pt x="6079211" y="1575121"/>
                </a:lnTo>
                <a:lnTo>
                  <a:pt x="6074328" y="1580643"/>
                </a:lnTo>
                <a:lnTo>
                  <a:pt x="6074328" y="1592336"/>
                </a:lnTo>
                <a:lnTo>
                  <a:pt x="6076064" y="1598183"/>
                </a:lnTo>
                <a:lnTo>
                  <a:pt x="6083117" y="1600023"/>
                </a:lnTo>
                <a:lnTo>
                  <a:pt x="6085504" y="1603163"/>
                </a:lnTo>
                <a:lnTo>
                  <a:pt x="6089954" y="1604679"/>
                </a:lnTo>
                <a:lnTo>
                  <a:pt x="6090822" y="1607818"/>
                </a:lnTo>
                <a:lnTo>
                  <a:pt x="6089411" y="1615506"/>
                </a:lnTo>
                <a:lnTo>
                  <a:pt x="6089411" y="1622760"/>
                </a:lnTo>
                <a:lnTo>
                  <a:pt x="6094185" y="1626008"/>
                </a:lnTo>
                <a:lnTo>
                  <a:pt x="6096791" y="1628932"/>
                </a:lnTo>
                <a:lnTo>
                  <a:pt x="6092441" y="1636022"/>
                </a:lnTo>
                <a:lnTo>
                  <a:pt x="6092884" y="1635968"/>
                </a:lnTo>
                <a:lnTo>
                  <a:pt x="6097334" y="1628714"/>
                </a:lnTo>
                <a:lnTo>
                  <a:pt x="6094729" y="1625791"/>
                </a:lnTo>
                <a:lnTo>
                  <a:pt x="6089955" y="1622543"/>
                </a:lnTo>
                <a:lnTo>
                  <a:pt x="6090172" y="1615289"/>
                </a:lnTo>
                <a:lnTo>
                  <a:pt x="6091474" y="1607602"/>
                </a:lnTo>
                <a:lnTo>
                  <a:pt x="6090606" y="1604462"/>
                </a:lnTo>
                <a:lnTo>
                  <a:pt x="6086156" y="1602946"/>
                </a:lnTo>
                <a:lnTo>
                  <a:pt x="6083770" y="1599806"/>
                </a:lnTo>
                <a:lnTo>
                  <a:pt x="6076715" y="1597965"/>
                </a:lnTo>
                <a:lnTo>
                  <a:pt x="6074979" y="1592119"/>
                </a:lnTo>
                <a:lnTo>
                  <a:pt x="6075088" y="1580426"/>
                </a:lnTo>
                <a:lnTo>
                  <a:pt x="6079971" y="1574904"/>
                </a:lnTo>
                <a:lnTo>
                  <a:pt x="6079971" y="1571331"/>
                </a:lnTo>
                <a:lnTo>
                  <a:pt x="6082358" y="1567325"/>
                </a:lnTo>
                <a:lnTo>
                  <a:pt x="6085627" y="1566179"/>
                </a:lnTo>
                <a:close/>
                <a:moveTo>
                  <a:pt x="5245336" y="1565524"/>
                </a:moveTo>
                <a:lnTo>
                  <a:pt x="5243198" y="1567759"/>
                </a:lnTo>
                <a:lnTo>
                  <a:pt x="5243275" y="1567780"/>
                </a:lnTo>
                <a:lnTo>
                  <a:pt x="5245368" y="1565593"/>
                </a:lnTo>
                <a:close/>
                <a:moveTo>
                  <a:pt x="6562544" y="1564942"/>
                </a:moveTo>
                <a:lnTo>
                  <a:pt x="6562544" y="1565268"/>
                </a:lnTo>
                <a:lnTo>
                  <a:pt x="6563981" y="1565268"/>
                </a:lnTo>
                <a:close/>
                <a:moveTo>
                  <a:pt x="4168883" y="1564835"/>
                </a:moveTo>
                <a:lnTo>
                  <a:pt x="4173224" y="1571006"/>
                </a:lnTo>
                <a:lnTo>
                  <a:pt x="4176262" y="1570031"/>
                </a:lnTo>
                <a:lnTo>
                  <a:pt x="4178757" y="1570031"/>
                </a:lnTo>
                <a:lnTo>
                  <a:pt x="4180277" y="1566459"/>
                </a:lnTo>
                <a:lnTo>
                  <a:pt x="4184183" y="1566676"/>
                </a:lnTo>
                <a:lnTo>
                  <a:pt x="4185052" y="1565918"/>
                </a:lnTo>
                <a:lnTo>
                  <a:pt x="4185811" y="1569274"/>
                </a:lnTo>
                <a:lnTo>
                  <a:pt x="4183641" y="1573388"/>
                </a:lnTo>
                <a:lnTo>
                  <a:pt x="4183749" y="1577286"/>
                </a:lnTo>
                <a:lnTo>
                  <a:pt x="4182555" y="1576636"/>
                </a:lnTo>
                <a:lnTo>
                  <a:pt x="4181362" y="1572955"/>
                </a:lnTo>
                <a:lnTo>
                  <a:pt x="4179083" y="1575986"/>
                </a:lnTo>
                <a:lnTo>
                  <a:pt x="4172355" y="1576528"/>
                </a:lnTo>
                <a:lnTo>
                  <a:pt x="4165519" y="1574255"/>
                </a:lnTo>
                <a:lnTo>
                  <a:pt x="4163566" y="1571547"/>
                </a:lnTo>
                <a:lnTo>
                  <a:pt x="4166279" y="1570573"/>
                </a:lnTo>
                <a:lnTo>
                  <a:pt x="4164651" y="1568408"/>
                </a:lnTo>
                <a:lnTo>
                  <a:pt x="4166604" y="1565376"/>
                </a:lnTo>
                <a:close/>
                <a:moveTo>
                  <a:pt x="6119364" y="1562994"/>
                </a:moveTo>
                <a:lnTo>
                  <a:pt x="6119688" y="1563102"/>
                </a:lnTo>
                <a:lnTo>
                  <a:pt x="6125656" y="1563643"/>
                </a:lnTo>
                <a:lnTo>
                  <a:pt x="6133874" y="1563336"/>
                </a:lnTo>
                <a:lnTo>
                  <a:pt x="6133361" y="1562994"/>
                </a:lnTo>
                <a:lnTo>
                  <a:pt x="6124788" y="1562994"/>
                </a:lnTo>
                <a:close/>
                <a:moveTo>
                  <a:pt x="4477288" y="1562669"/>
                </a:moveTo>
                <a:lnTo>
                  <a:pt x="4477287" y="1562669"/>
                </a:lnTo>
                <a:lnTo>
                  <a:pt x="4475876" y="1569923"/>
                </a:lnTo>
                <a:lnTo>
                  <a:pt x="4482170" y="1573063"/>
                </a:lnTo>
                <a:lnTo>
                  <a:pt x="4482170" y="1578151"/>
                </a:lnTo>
                <a:lnTo>
                  <a:pt x="4482172" y="1578151"/>
                </a:lnTo>
                <a:lnTo>
                  <a:pt x="4482172" y="1573062"/>
                </a:lnTo>
                <a:lnTo>
                  <a:pt x="4475878" y="1569922"/>
                </a:lnTo>
                <a:close/>
                <a:moveTo>
                  <a:pt x="1185760" y="1561153"/>
                </a:moveTo>
                <a:lnTo>
                  <a:pt x="1183373" y="1569057"/>
                </a:lnTo>
                <a:lnTo>
                  <a:pt x="1182288" y="1562235"/>
                </a:lnTo>
                <a:close/>
                <a:moveTo>
                  <a:pt x="4192215" y="1561045"/>
                </a:moveTo>
                <a:lnTo>
                  <a:pt x="4192866" y="1563643"/>
                </a:lnTo>
                <a:lnTo>
                  <a:pt x="4189719" y="1564185"/>
                </a:lnTo>
                <a:lnTo>
                  <a:pt x="4187549" y="1567324"/>
                </a:lnTo>
                <a:lnTo>
                  <a:pt x="4186789" y="1565483"/>
                </a:lnTo>
                <a:lnTo>
                  <a:pt x="4188742" y="1562452"/>
                </a:lnTo>
                <a:close/>
                <a:moveTo>
                  <a:pt x="4160202" y="1558772"/>
                </a:moveTo>
                <a:cubicBezTo>
                  <a:pt x="4161132" y="1560030"/>
                  <a:pt x="4162186" y="1561190"/>
                  <a:pt x="4163349" y="1562237"/>
                </a:cubicBezTo>
                <a:lnTo>
                  <a:pt x="4160636" y="1567759"/>
                </a:lnTo>
                <a:lnTo>
                  <a:pt x="4157923" y="1571331"/>
                </a:lnTo>
                <a:lnTo>
                  <a:pt x="4157055" y="1569057"/>
                </a:lnTo>
                <a:lnTo>
                  <a:pt x="4159008" y="1565268"/>
                </a:lnTo>
                <a:close/>
                <a:moveTo>
                  <a:pt x="5244609" y="1558122"/>
                </a:moveTo>
                <a:lnTo>
                  <a:pt x="5242873" y="1559638"/>
                </a:lnTo>
                <a:lnTo>
                  <a:pt x="5242947" y="1559803"/>
                </a:lnTo>
                <a:lnTo>
                  <a:pt x="5244500" y="1558447"/>
                </a:lnTo>
                <a:lnTo>
                  <a:pt x="5248322" y="1558122"/>
                </a:lnTo>
                <a:close/>
                <a:moveTo>
                  <a:pt x="7358731" y="1557256"/>
                </a:moveTo>
                <a:lnTo>
                  <a:pt x="7361011" y="1558772"/>
                </a:lnTo>
                <a:lnTo>
                  <a:pt x="7359057" y="1560180"/>
                </a:lnTo>
                <a:lnTo>
                  <a:pt x="7357212" y="1558122"/>
                </a:lnTo>
                <a:close/>
                <a:moveTo>
                  <a:pt x="5262732" y="1557148"/>
                </a:moveTo>
                <a:lnTo>
                  <a:pt x="5262545" y="1557170"/>
                </a:lnTo>
                <a:lnTo>
                  <a:pt x="5266854" y="1560287"/>
                </a:lnTo>
                <a:lnTo>
                  <a:pt x="5266935" y="1560189"/>
                </a:lnTo>
                <a:close/>
                <a:moveTo>
                  <a:pt x="5253787" y="1555199"/>
                </a:moveTo>
                <a:lnTo>
                  <a:pt x="5255460" y="1555307"/>
                </a:lnTo>
                <a:lnTo>
                  <a:pt x="5257088" y="1557906"/>
                </a:lnTo>
                <a:lnTo>
                  <a:pt x="5261335" y="1557312"/>
                </a:lnTo>
                <a:lnTo>
                  <a:pt x="5257197" y="1557798"/>
                </a:lnTo>
                <a:lnTo>
                  <a:pt x="5255678" y="1555199"/>
                </a:lnTo>
                <a:close/>
                <a:moveTo>
                  <a:pt x="6091907" y="1552709"/>
                </a:moveTo>
                <a:lnTo>
                  <a:pt x="6088868" y="1555415"/>
                </a:lnTo>
                <a:lnTo>
                  <a:pt x="6088217" y="1559097"/>
                </a:lnTo>
                <a:lnTo>
                  <a:pt x="6089628" y="1563103"/>
                </a:lnTo>
                <a:lnTo>
                  <a:pt x="6088096" y="1566543"/>
                </a:lnTo>
                <a:lnTo>
                  <a:pt x="6088761" y="1566784"/>
                </a:lnTo>
                <a:lnTo>
                  <a:pt x="6090497" y="1562886"/>
                </a:lnTo>
                <a:lnTo>
                  <a:pt x="6089086" y="1558880"/>
                </a:lnTo>
                <a:lnTo>
                  <a:pt x="6089737" y="1555198"/>
                </a:lnTo>
                <a:lnTo>
                  <a:pt x="6092532" y="1552709"/>
                </a:lnTo>
                <a:close/>
                <a:moveTo>
                  <a:pt x="4488917" y="1552412"/>
                </a:moveTo>
                <a:lnTo>
                  <a:pt x="4485209" y="1554115"/>
                </a:lnTo>
                <a:lnTo>
                  <a:pt x="4480759" y="1562019"/>
                </a:lnTo>
                <a:lnTo>
                  <a:pt x="4480761" y="1562019"/>
                </a:lnTo>
                <a:lnTo>
                  <a:pt x="4485211" y="1554115"/>
                </a:lnTo>
                <a:close/>
                <a:moveTo>
                  <a:pt x="5273041" y="1552384"/>
                </a:moveTo>
                <a:lnTo>
                  <a:pt x="5273033" y="1552389"/>
                </a:lnTo>
                <a:lnTo>
                  <a:pt x="5277163" y="1552600"/>
                </a:lnTo>
                <a:lnTo>
                  <a:pt x="5279984" y="1556822"/>
                </a:lnTo>
                <a:lnTo>
                  <a:pt x="5280079" y="1556690"/>
                </a:lnTo>
                <a:lnTo>
                  <a:pt x="5277381" y="1552384"/>
                </a:lnTo>
                <a:close/>
                <a:moveTo>
                  <a:pt x="6749626" y="1551926"/>
                </a:moveTo>
                <a:lnTo>
                  <a:pt x="6749517" y="1552599"/>
                </a:lnTo>
                <a:lnTo>
                  <a:pt x="6752122" y="1557146"/>
                </a:lnTo>
                <a:lnTo>
                  <a:pt x="6757440" y="1562668"/>
                </a:lnTo>
                <a:lnTo>
                  <a:pt x="6761455" y="1564075"/>
                </a:lnTo>
                <a:lnTo>
                  <a:pt x="6763191" y="1567216"/>
                </a:lnTo>
                <a:lnTo>
                  <a:pt x="6766230" y="1567649"/>
                </a:lnTo>
                <a:lnTo>
                  <a:pt x="6768617" y="1566783"/>
                </a:lnTo>
                <a:lnTo>
                  <a:pt x="6771112" y="1568190"/>
                </a:lnTo>
                <a:lnTo>
                  <a:pt x="6772957" y="1567216"/>
                </a:lnTo>
                <a:lnTo>
                  <a:pt x="6777949" y="1567865"/>
                </a:lnTo>
                <a:lnTo>
                  <a:pt x="6780554" y="1565808"/>
                </a:lnTo>
                <a:lnTo>
                  <a:pt x="6783810" y="1565808"/>
                </a:lnTo>
                <a:lnTo>
                  <a:pt x="6783810" y="1564943"/>
                </a:lnTo>
                <a:lnTo>
                  <a:pt x="6780553" y="1564943"/>
                </a:lnTo>
                <a:lnTo>
                  <a:pt x="6777949" y="1567000"/>
                </a:lnTo>
                <a:lnTo>
                  <a:pt x="6772958" y="1566351"/>
                </a:lnTo>
                <a:lnTo>
                  <a:pt x="6771112" y="1567325"/>
                </a:lnTo>
                <a:lnTo>
                  <a:pt x="6768726" y="1565918"/>
                </a:lnTo>
                <a:lnTo>
                  <a:pt x="6766338" y="1566784"/>
                </a:lnTo>
                <a:lnTo>
                  <a:pt x="6763191" y="1566784"/>
                </a:lnTo>
                <a:lnTo>
                  <a:pt x="6761455" y="1563644"/>
                </a:lnTo>
                <a:lnTo>
                  <a:pt x="6757548" y="1562237"/>
                </a:lnTo>
                <a:lnTo>
                  <a:pt x="6752231" y="1556715"/>
                </a:lnTo>
                <a:lnTo>
                  <a:pt x="6749626" y="1552059"/>
                </a:lnTo>
                <a:close/>
                <a:moveTo>
                  <a:pt x="4242566" y="1551409"/>
                </a:moveTo>
                <a:lnTo>
                  <a:pt x="4246907" y="1554007"/>
                </a:lnTo>
                <a:lnTo>
                  <a:pt x="4251031" y="1560612"/>
                </a:lnTo>
                <a:lnTo>
                  <a:pt x="4250163" y="1564619"/>
                </a:lnTo>
                <a:lnTo>
                  <a:pt x="4242566" y="1562020"/>
                </a:lnTo>
                <a:lnTo>
                  <a:pt x="4241373" y="1557689"/>
                </a:lnTo>
                <a:close/>
                <a:moveTo>
                  <a:pt x="2181943" y="1550217"/>
                </a:moveTo>
                <a:lnTo>
                  <a:pt x="2186609" y="1550217"/>
                </a:lnTo>
                <a:lnTo>
                  <a:pt x="2187694" y="1552166"/>
                </a:lnTo>
                <a:lnTo>
                  <a:pt x="2191601" y="1551733"/>
                </a:lnTo>
                <a:lnTo>
                  <a:pt x="2197135" y="1556388"/>
                </a:lnTo>
                <a:lnTo>
                  <a:pt x="2198111" y="1561369"/>
                </a:lnTo>
                <a:lnTo>
                  <a:pt x="2199414" y="1563534"/>
                </a:lnTo>
                <a:lnTo>
                  <a:pt x="2198329" y="1567107"/>
                </a:lnTo>
                <a:lnTo>
                  <a:pt x="2187152" y="1564833"/>
                </a:lnTo>
                <a:lnTo>
                  <a:pt x="2183246" y="1562343"/>
                </a:lnTo>
                <a:lnTo>
                  <a:pt x="2179013" y="1562127"/>
                </a:lnTo>
                <a:lnTo>
                  <a:pt x="2178796" y="1565050"/>
                </a:lnTo>
                <a:lnTo>
                  <a:pt x="2179231" y="1566782"/>
                </a:lnTo>
                <a:lnTo>
                  <a:pt x="2176626" y="1564292"/>
                </a:lnTo>
                <a:lnTo>
                  <a:pt x="2176192" y="1562019"/>
                </a:lnTo>
                <a:lnTo>
                  <a:pt x="2172068" y="1562451"/>
                </a:lnTo>
                <a:lnTo>
                  <a:pt x="2170658" y="1560503"/>
                </a:lnTo>
                <a:lnTo>
                  <a:pt x="2175324" y="1554764"/>
                </a:lnTo>
                <a:lnTo>
                  <a:pt x="2179231" y="1555414"/>
                </a:lnTo>
                <a:lnTo>
                  <a:pt x="2179556" y="1552058"/>
                </a:lnTo>
                <a:close/>
                <a:moveTo>
                  <a:pt x="3784626" y="1549676"/>
                </a:moveTo>
                <a:lnTo>
                  <a:pt x="3788099" y="1552815"/>
                </a:lnTo>
                <a:lnTo>
                  <a:pt x="3793199" y="1555523"/>
                </a:lnTo>
                <a:lnTo>
                  <a:pt x="3788967" y="1558013"/>
                </a:lnTo>
                <a:lnTo>
                  <a:pt x="3784192" y="1561694"/>
                </a:lnTo>
                <a:lnTo>
                  <a:pt x="3786363" y="1561261"/>
                </a:lnTo>
                <a:lnTo>
                  <a:pt x="3784083" y="1563751"/>
                </a:lnTo>
                <a:lnTo>
                  <a:pt x="3780828" y="1565483"/>
                </a:lnTo>
                <a:lnTo>
                  <a:pt x="3779526" y="1569598"/>
                </a:lnTo>
                <a:lnTo>
                  <a:pt x="3774642" y="1570247"/>
                </a:lnTo>
                <a:lnTo>
                  <a:pt x="3769434" y="1580966"/>
                </a:lnTo>
                <a:lnTo>
                  <a:pt x="3769434" y="1580966"/>
                </a:lnTo>
                <a:lnTo>
                  <a:pt x="3774642" y="1570248"/>
                </a:lnTo>
                <a:lnTo>
                  <a:pt x="3779526" y="1569598"/>
                </a:lnTo>
                <a:lnTo>
                  <a:pt x="3780828" y="1565484"/>
                </a:lnTo>
                <a:lnTo>
                  <a:pt x="3784083" y="1563751"/>
                </a:lnTo>
                <a:lnTo>
                  <a:pt x="3786363" y="1561261"/>
                </a:lnTo>
                <a:lnTo>
                  <a:pt x="3790811" y="1560395"/>
                </a:lnTo>
                <a:lnTo>
                  <a:pt x="3792331" y="1558771"/>
                </a:lnTo>
                <a:lnTo>
                  <a:pt x="3795044" y="1558447"/>
                </a:lnTo>
                <a:lnTo>
                  <a:pt x="3799493" y="1555523"/>
                </a:lnTo>
                <a:lnTo>
                  <a:pt x="3806763" y="1556281"/>
                </a:lnTo>
                <a:lnTo>
                  <a:pt x="3810345" y="1558121"/>
                </a:lnTo>
                <a:lnTo>
                  <a:pt x="3810779" y="1562561"/>
                </a:lnTo>
                <a:lnTo>
                  <a:pt x="3817724" y="1572413"/>
                </a:lnTo>
                <a:lnTo>
                  <a:pt x="3814143" y="1575012"/>
                </a:lnTo>
                <a:lnTo>
                  <a:pt x="3820653" y="1575337"/>
                </a:lnTo>
                <a:lnTo>
                  <a:pt x="3822064" y="1585731"/>
                </a:lnTo>
                <a:lnTo>
                  <a:pt x="3819352" y="1577610"/>
                </a:lnTo>
                <a:lnTo>
                  <a:pt x="3816747" y="1578043"/>
                </a:lnTo>
                <a:lnTo>
                  <a:pt x="3818049" y="1580750"/>
                </a:lnTo>
                <a:lnTo>
                  <a:pt x="3816747" y="1584431"/>
                </a:lnTo>
                <a:lnTo>
                  <a:pt x="3820220" y="1585189"/>
                </a:lnTo>
                <a:lnTo>
                  <a:pt x="3819460" y="1589087"/>
                </a:lnTo>
                <a:lnTo>
                  <a:pt x="3813817" y="1588329"/>
                </a:lnTo>
                <a:lnTo>
                  <a:pt x="3813491" y="1591686"/>
                </a:lnTo>
                <a:lnTo>
                  <a:pt x="3809802" y="1594609"/>
                </a:lnTo>
                <a:lnTo>
                  <a:pt x="3807631" y="1594067"/>
                </a:lnTo>
                <a:lnTo>
                  <a:pt x="3808066" y="1597641"/>
                </a:lnTo>
                <a:lnTo>
                  <a:pt x="3807089" y="1597424"/>
                </a:lnTo>
                <a:lnTo>
                  <a:pt x="3807086" y="1597422"/>
                </a:lnTo>
                <a:lnTo>
                  <a:pt x="3804159" y="1596990"/>
                </a:lnTo>
                <a:lnTo>
                  <a:pt x="3802423" y="1599804"/>
                </a:lnTo>
                <a:lnTo>
                  <a:pt x="3806004" y="1602403"/>
                </a:lnTo>
                <a:lnTo>
                  <a:pt x="3805136" y="1607167"/>
                </a:lnTo>
                <a:lnTo>
                  <a:pt x="3808174" y="1611931"/>
                </a:lnTo>
                <a:lnTo>
                  <a:pt x="3808174" y="1616695"/>
                </a:lnTo>
                <a:lnTo>
                  <a:pt x="3804810" y="1618969"/>
                </a:lnTo>
                <a:lnTo>
                  <a:pt x="3807632" y="1620701"/>
                </a:lnTo>
                <a:lnTo>
                  <a:pt x="3809476" y="1631419"/>
                </a:lnTo>
                <a:lnTo>
                  <a:pt x="3808174" y="1636183"/>
                </a:lnTo>
                <a:lnTo>
                  <a:pt x="3804376" y="1640406"/>
                </a:lnTo>
                <a:lnTo>
                  <a:pt x="3805136" y="1644303"/>
                </a:lnTo>
                <a:lnTo>
                  <a:pt x="3801446" y="1648743"/>
                </a:lnTo>
                <a:lnTo>
                  <a:pt x="3798082" y="1650150"/>
                </a:lnTo>
                <a:lnTo>
                  <a:pt x="3802748" y="1656213"/>
                </a:lnTo>
                <a:lnTo>
                  <a:pt x="3795912" y="1656321"/>
                </a:lnTo>
                <a:lnTo>
                  <a:pt x="3793091" y="1655239"/>
                </a:lnTo>
                <a:lnTo>
                  <a:pt x="3790269" y="1657946"/>
                </a:lnTo>
                <a:lnTo>
                  <a:pt x="3788207" y="1654481"/>
                </a:lnTo>
                <a:lnTo>
                  <a:pt x="3787122" y="1657404"/>
                </a:lnTo>
                <a:lnTo>
                  <a:pt x="3773774" y="1658920"/>
                </a:lnTo>
                <a:lnTo>
                  <a:pt x="3772580" y="1663359"/>
                </a:lnTo>
                <a:lnTo>
                  <a:pt x="3769434" y="1663143"/>
                </a:lnTo>
                <a:lnTo>
                  <a:pt x="3764985" y="1667798"/>
                </a:lnTo>
                <a:lnTo>
                  <a:pt x="3760318" y="1667798"/>
                </a:lnTo>
                <a:lnTo>
                  <a:pt x="3761621" y="1665092"/>
                </a:lnTo>
                <a:lnTo>
                  <a:pt x="3757063" y="1664658"/>
                </a:lnTo>
                <a:lnTo>
                  <a:pt x="3759016" y="1669314"/>
                </a:lnTo>
                <a:lnTo>
                  <a:pt x="3753047" y="1673320"/>
                </a:lnTo>
                <a:lnTo>
                  <a:pt x="3745451" y="1675594"/>
                </a:lnTo>
                <a:lnTo>
                  <a:pt x="3737422" y="1676568"/>
                </a:lnTo>
                <a:lnTo>
                  <a:pt x="3734383" y="1674403"/>
                </a:lnTo>
                <a:lnTo>
                  <a:pt x="3728523" y="1675918"/>
                </a:lnTo>
                <a:lnTo>
                  <a:pt x="3729608" y="1673645"/>
                </a:lnTo>
                <a:lnTo>
                  <a:pt x="3726027" y="1673645"/>
                </a:lnTo>
                <a:lnTo>
                  <a:pt x="3732538" y="1670505"/>
                </a:lnTo>
                <a:lnTo>
                  <a:pt x="3732972" y="1667582"/>
                </a:lnTo>
                <a:lnTo>
                  <a:pt x="3725268" y="1671804"/>
                </a:lnTo>
                <a:lnTo>
                  <a:pt x="3719299" y="1671804"/>
                </a:lnTo>
                <a:lnTo>
                  <a:pt x="3722771" y="1668881"/>
                </a:lnTo>
                <a:lnTo>
                  <a:pt x="3731236" y="1663359"/>
                </a:lnTo>
                <a:lnTo>
                  <a:pt x="3720058" y="1667041"/>
                </a:lnTo>
                <a:lnTo>
                  <a:pt x="3719190" y="1664225"/>
                </a:lnTo>
                <a:lnTo>
                  <a:pt x="3715284" y="1664225"/>
                </a:lnTo>
                <a:lnTo>
                  <a:pt x="3717345" y="1659137"/>
                </a:lnTo>
                <a:lnTo>
                  <a:pt x="3723531" y="1657729"/>
                </a:lnTo>
                <a:lnTo>
                  <a:pt x="3728414" y="1653615"/>
                </a:lnTo>
                <a:lnTo>
                  <a:pt x="3713765" y="1654481"/>
                </a:lnTo>
                <a:lnTo>
                  <a:pt x="3713114" y="1652749"/>
                </a:lnTo>
                <a:lnTo>
                  <a:pt x="3719516" y="1649392"/>
                </a:lnTo>
                <a:lnTo>
                  <a:pt x="3720601" y="1650692"/>
                </a:lnTo>
                <a:lnTo>
                  <a:pt x="3721795" y="1648851"/>
                </a:lnTo>
                <a:lnTo>
                  <a:pt x="3725051" y="1651666"/>
                </a:lnTo>
                <a:lnTo>
                  <a:pt x="3728849" y="1650908"/>
                </a:lnTo>
                <a:lnTo>
                  <a:pt x="3726678" y="1650258"/>
                </a:lnTo>
                <a:lnTo>
                  <a:pt x="3727763" y="1647985"/>
                </a:lnTo>
                <a:lnTo>
                  <a:pt x="3726027" y="1645495"/>
                </a:lnTo>
                <a:lnTo>
                  <a:pt x="3731127" y="1643762"/>
                </a:lnTo>
                <a:lnTo>
                  <a:pt x="3733081" y="1640731"/>
                </a:lnTo>
                <a:lnTo>
                  <a:pt x="3740894" y="1640406"/>
                </a:lnTo>
                <a:lnTo>
                  <a:pt x="3751529" y="1637591"/>
                </a:lnTo>
                <a:lnTo>
                  <a:pt x="3746754" y="1637158"/>
                </a:lnTo>
                <a:lnTo>
                  <a:pt x="3746428" y="1635425"/>
                </a:lnTo>
                <a:lnTo>
                  <a:pt x="3742630" y="1639215"/>
                </a:lnTo>
                <a:lnTo>
                  <a:pt x="3736987" y="1638999"/>
                </a:lnTo>
                <a:lnTo>
                  <a:pt x="3734274" y="1637374"/>
                </a:lnTo>
                <a:lnTo>
                  <a:pt x="3729717" y="1640297"/>
                </a:lnTo>
                <a:lnTo>
                  <a:pt x="3726353" y="1640297"/>
                </a:lnTo>
                <a:lnTo>
                  <a:pt x="3734709" y="1634668"/>
                </a:lnTo>
                <a:lnTo>
                  <a:pt x="3738615" y="1629146"/>
                </a:lnTo>
                <a:lnTo>
                  <a:pt x="3736445" y="1629362"/>
                </a:lnTo>
                <a:lnTo>
                  <a:pt x="3741328" y="1621350"/>
                </a:lnTo>
                <a:lnTo>
                  <a:pt x="3744366" y="1623083"/>
                </a:lnTo>
                <a:lnTo>
                  <a:pt x="3748490" y="1618860"/>
                </a:lnTo>
                <a:lnTo>
                  <a:pt x="3735577" y="1619077"/>
                </a:lnTo>
                <a:lnTo>
                  <a:pt x="3734165" y="1613230"/>
                </a:lnTo>
                <a:lnTo>
                  <a:pt x="3728740" y="1614313"/>
                </a:lnTo>
                <a:lnTo>
                  <a:pt x="3730368" y="1612040"/>
                </a:lnTo>
                <a:lnTo>
                  <a:pt x="3727546" y="1613122"/>
                </a:lnTo>
                <a:lnTo>
                  <a:pt x="3723965" y="1610957"/>
                </a:lnTo>
                <a:lnTo>
                  <a:pt x="3726353" y="1609982"/>
                </a:lnTo>
                <a:lnTo>
                  <a:pt x="3724833" y="1605976"/>
                </a:lnTo>
                <a:lnTo>
                  <a:pt x="3731561" y="1605868"/>
                </a:lnTo>
                <a:lnTo>
                  <a:pt x="3729825" y="1603486"/>
                </a:lnTo>
                <a:lnTo>
                  <a:pt x="3730585" y="1600779"/>
                </a:lnTo>
                <a:lnTo>
                  <a:pt x="3736553" y="1599589"/>
                </a:lnTo>
                <a:lnTo>
                  <a:pt x="3735034" y="1595907"/>
                </a:lnTo>
                <a:lnTo>
                  <a:pt x="3730368" y="1597098"/>
                </a:lnTo>
                <a:lnTo>
                  <a:pt x="3723531" y="1592226"/>
                </a:lnTo>
                <a:lnTo>
                  <a:pt x="3729391" y="1592010"/>
                </a:lnTo>
                <a:lnTo>
                  <a:pt x="3729934" y="1594283"/>
                </a:lnTo>
                <a:lnTo>
                  <a:pt x="3732538" y="1594175"/>
                </a:lnTo>
                <a:lnTo>
                  <a:pt x="3731127" y="1590277"/>
                </a:lnTo>
                <a:lnTo>
                  <a:pt x="3729825" y="1589519"/>
                </a:lnTo>
                <a:lnTo>
                  <a:pt x="3729174" y="1585513"/>
                </a:lnTo>
                <a:lnTo>
                  <a:pt x="3726136" y="1588545"/>
                </a:lnTo>
                <a:lnTo>
                  <a:pt x="3727221" y="1581940"/>
                </a:lnTo>
                <a:lnTo>
                  <a:pt x="3733297" y="1583565"/>
                </a:lnTo>
                <a:lnTo>
                  <a:pt x="3733297" y="1581616"/>
                </a:lnTo>
                <a:lnTo>
                  <a:pt x="3744258" y="1583239"/>
                </a:lnTo>
                <a:lnTo>
                  <a:pt x="3745669" y="1587679"/>
                </a:lnTo>
                <a:lnTo>
                  <a:pt x="3748708" y="1584214"/>
                </a:lnTo>
                <a:lnTo>
                  <a:pt x="3752179" y="1585838"/>
                </a:lnTo>
                <a:lnTo>
                  <a:pt x="3758908" y="1584539"/>
                </a:lnTo>
                <a:lnTo>
                  <a:pt x="3756520" y="1582373"/>
                </a:lnTo>
                <a:lnTo>
                  <a:pt x="3763356" y="1579775"/>
                </a:lnTo>
                <a:lnTo>
                  <a:pt x="3768782" y="1574037"/>
                </a:lnTo>
                <a:lnTo>
                  <a:pt x="3765961" y="1574037"/>
                </a:lnTo>
                <a:lnTo>
                  <a:pt x="3761838" y="1575444"/>
                </a:lnTo>
                <a:lnTo>
                  <a:pt x="3762597" y="1574037"/>
                </a:lnTo>
                <a:lnTo>
                  <a:pt x="3757497" y="1574037"/>
                </a:lnTo>
                <a:lnTo>
                  <a:pt x="3756195" y="1570247"/>
                </a:lnTo>
                <a:lnTo>
                  <a:pt x="3760861" y="1569056"/>
                </a:lnTo>
                <a:lnTo>
                  <a:pt x="3760535" y="1567216"/>
                </a:lnTo>
                <a:lnTo>
                  <a:pt x="3763900" y="1567108"/>
                </a:lnTo>
                <a:lnTo>
                  <a:pt x="3764768" y="1565267"/>
                </a:lnTo>
                <a:lnTo>
                  <a:pt x="3761512" y="1563967"/>
                </a:lnTo>
                <a:lnTo>
                  <a:pt x="3763031" y="1560070"/>
                </a:lnTo>
                <a:lnTo>
                  <a:pt x="3765201" y="1559961"/>
                </a:lnTo>
                <a:lnTo>
                  <a:pt x="3765201" y="1556821"/>
                </a:lnTo>
                <a:lnTo>
                  <a:pt x="3771712" y="1555198"/>
                </a:lnTo>
                <a:lnTo>
                  <a:pt x="3773774" y="1557147"/>
                </a:lnTo>
                <a:lnTo>
                  <a:pt x="3777464" y="1557038"/>
                </a:lnTo>
                <a:lnTo>
                  <a:pt x="3775619" y="1554331"/>
                </a:lnTo>
                <a:lnTo>
                  <a:pt x="3778766" y="1553682"/>
                </a:lnTo>
                <a:lnTo>
                  <a:pt x="3781045" y="1557796"/>
                </a:lnTo>
                <a:lnTo>
                  <a:pt x="3779200" y="1560070"/>
                </a:lnTo>
                <a:lnTo>
                  <a:pt x="3778766" y="1563426"/>
                </a:lnTo>
                <a:lnTo>
                  <a:pt x="3782130" y="1558446"/>
                </a:lnTo>
                <a:lnTo>
                  <a:pt x="3781371" y="1553032"/>
                </a:lnTo>
                <a:lnTo>
                  <a:pt x="3786254" y="1553032"/>
                </a:lnTo>
                <a:close/>
                <a:moveTo>
                  <a:pt x="5290620" y="1547512"/>
                </a:moveTo>
                <a:lnTo>
                  <a:pt x="5282373" y="1550110"/>
                </a:lnTo>
                <a:lnTo>
                  <a:pt x="5282373" y="1552400"/>
                </a:lnTo>
                <a:lnTo>
                  <a:pt x="5282698" y="1550326"/>
                </a:lnTo>
                <a:lnTo>
                  <a:pt x="5290945" y="1547728"/>
                </a:lnTo>
                <a:lnTo>
                  <a:pt x="5293150" y="1547512"/>
                </a:lnTo>
                <a:close/>
                <a:moveTo>
                  <a:pt x="1163514" y="1545562"/>
                </a:moveTo>
                <a:lnTo>
                  <a:pt x="1163839" y="1549244"/>
                </a:lnTo>
                <a:lnTo>
                  <a:pt x="1157112" y="1546320"/>
                </a:lnTo>
                <a:close/>
                <a:moveTo>
                  <a:pt x="4145660" y="1545237"/>
                </a:moveTo>
                <a:lnTo>
                  <a:pt x="4150869" y="1548052"/>
                </a:lnTo>
                <a:lnTo>
                  <a:pt x="4154124" y="1547510"/>
                </a:lnTo>
                <a:lnTo>
                  <a:pt x="4157162" y="1554223"/>
                </a:lnTo>
                <a:lnTo>
                  <a:pt x="4158356" y="1558013"/>
                </a:lnTo>
                <a:lnTo>
                  <a:pt x="4155535" y="1563643"/>
                </a:lnTo>
                <a:lnTo>
                  <a:pt x="4150869" y="1564509"/>
                </a:lnTo>
                <a:lnTo>
                  <a:pt x="4148264" y="1562777"/>
                </a:lnTo>
                <a:lnTo>
                  <a:pt x="4144249" y="1562235"/>
                </a:lnTo>
                <a:lnTo>
                  <a:pt x="4139800" y="1557688"/>
                </a:lnTo>
                <a:lnTo>
                  <a:pt x="4137413" y="1552491"/>
                </a:lnTo>
                <a:lnTo>
                  <a:pt x="4138390" y="1546645"/>
                </a:lnTo>
                <a:close/>
                <a:moveTo>
                  <a:pt x="6746985" y="1544697"/>
                </a:moveTo>
                <a:lnTo>
                  <a:pt x="6748636" y="1545055"/>
                </a:lnTo>
                <a:lnTo>
                  <a:pt x="6748542" y="1544697"/>
                </a:lnTo>
                <a:close/>
                <a:moveTo>
                  <a:pt x="5543683" y="1543753"/>
                </a:moveTo>
                <a:lnTo>
                  <a:pt x="5543464" y="1543831"/>
                </a:lnTo>
                <a:lnTo>
                  <a:pt x="5544233" y="1548090"/>
                </a:lnTo>
                <a:lnTo>
                  <a:pt x="5544440" y="1547945"/>
                </a:lnTo>
                <a:close/>
                <a:moveTo>
                  <a:pt x="2218405" y="1543505"/>
                </a:moveTo>
                <a:lnTo>
                  <a:pt x="2218405" y="1549027"/>
                </a:lnTo>
                <a:lnTo>
                  <a:pt x="2217320" y="1551301"/>
                </a:lnTo>
                <a:lnTo>
                  <a:pt x="2216126" y="1549676"/>
                </a:lnTo>
                <a:lnTo>
                  <a:pt x="2215801" y="1544696"/>
                </a:lnTo>
                <a:lnTo>
                  <a:pt x="2217103" y="1544371"/>
                </a:lnTo>
                <a:close/>
                <a:moveTo>
                  <a:pt x="4195795" y="1540582"/>
                </a:moveTo>
                <a:lnTo>
                  <a:pt x="4197315" y="1546645"/>
                </a:lnTo>
                <a:lnTo>
                  <a:pt x="4194060" y="1545563"/>
                </a:lnTo>
                <a:close/>
                <a:moveTo>
                  <a:pt x="3827490" y="1540149"/>
                </a:moveTo>
                <a:lnTo>
                  <a:pt x="3830746" y="1546753"/>
                </a:lnTo>
                <a:lnTo>
                  <a:pt x="3829335" y="1551518"/>
                </a:lnTo>
                <a:lnTo>
                  <a:pt x="3824886" y="1549677"/>
                </a:lnTo>
                <a:lnTo>
                  <a:pt x="3823692" y="1542747"/>
                </a:lnTo>
                <a:close/>
                <a:moveTo>
                  <a:pt x="1164818" y="1537117"/>
                </a:moveTo>
                <a:lnTo>
                  <a:pt x="1167747" y="1539282"/>
                </a:lnTo>
                <a:lnTo>
                  <a:pt x="1164166" y="1542530"/>
                </a:lnTo>
                <a:lnTo>
                  <a:pt x="1160043" y="1542855"/>
                </a:lnTo>
                <a:lnTo>
                  <a:pt x="1160368" y="1539282"/>
                </a:lnTo>
                <a:lnTo>
                  <a:pt x="1163515" y="1539066"/>
                </a:lnTo>
                <a:close/>
                <a:moveTo>
                  <a:pt x="3829335" y="1534410"/>
                </a:moveTo>
                <a:lnTo>
                  <a:pt x="3831288" y="1536467"/>
                </a:lnTo>
                <a:lnTo>
                  <a:pt x="3831505" y="1539824"/>
                </a:lnTo>
                <a:lnTo>
                  <a:pt x="3828901" y="1537658"/>
                </a:lnTo>
                <a:close/>
                <a:moveTo>
                  <a:pt x="5519569" y="1534372"/>
                </a:moveTo>
                <a:lnTo>
                  <a:pt x="5517962" y="1538200"/>
                </a:lnTo>
                <a:lnTo>
                  <a:pt x="5515032" y="1540798"/>
                </a:lnTo>
                <a:lnTo>
                  <a:pt x="5514923" y="1546970"/>
                </a:lnTo>
                <a:lnTo>
                  <a:pt x="5515141" y="1547253"/>
                </a:lnTo>
                <a:lnTo>
                  <a:pt x="5515141" y="1541882"/>
                </a:lnTo>
                <a:lnTo>
                  <a:pt x="5518071" y="1539284"/>
                </a:lnTo>
                <a:lnTo>
                  <a:pt x="5520025" y="1534627"/>
                </a:lnTo>
                <a:close/>
                <a:moveTo>
                  <a:pt x="3809043" y="1533002"/>
                </a:moveTo>
                <a:lnTo>
                  <a:pt x="3810996" y="1540689"/>
                </a:lnTo>
                <a:lnTo>
                  <a:pt x="3806113" y="1543720"/>
                </a:lnTo>
                <a:lnTo>
                  <a:pt x="3806656" y="1539065"/>
                </a:lnTo>
                <a:lnTo>
                  <a:pt x="3802316" y="1541879"/>
                </a:lnTo>
                <a:lnTo>
                  <a:pt x="3802207" y="1535817"/>
                </a:lnTo>
                <a:close/>
                <a:moveTo>
                  <a:pt x="5496809" y="1532695"/>
                </a:moveTo>
                <a:lnTo>
                  <a:pt x="5496368" y="1532787"/>
                </a:lnTo>
                <a:lnTo>
                  <a:pt x="5497670" y="1535494"/>
                </a:lnTo>
                <a:lnTo>
                  <a:pt x="5499707" y="1536426"/>
                </a:lnTo>
                <a:lnTo>
                  <a:pt x="5500382" y="1535710"/>
                </a:lnTo>
                <a:lnTo>
                  <a:pt x="5497669" y="1534411"/>
                </a:lnTo>
                <a:close/>
                <a:moveTo>
                  <a:pt x="1158849" y="1531812"/>
                </a:moveTo>
                <a:lnTo>
                  <a:pt x="1160694" y="1535926"/>
                </a:lnTo>
                <a:lnTo>
                  <a:pt x="1155919" y="1535493"/>
                </a:lnTo>
                <a:close/>
                <a:moveTo>
                  <a:pt x="4154234" y="1530838"/>
                </a:moveTo>
                <a:lnTo>
                  <a:pt x="4155970" y="1536901"/>
                </a:lnTo>
                <a:lnTo>
                  <a:pt x="4155536" y="1540257"/>
                </a:lnTo>
                <a:lnTo>
                  <a:pt x="4151847" y="1541015"/>
                </a:lnTo>
                <a:lnTo>
                  <a:pt x="4154234" y="1537334"/>
                </a:lnTo>
                <a:close/>
                <a:moveTo>
                  <a:pt x="5334623" y="1530587"/>
                </a:moveTo>
                <a:lnTo>
                  <a:pt x="5334461" y="1530730"/>
                </a:lnTo>
                <a:lnTo>
                  <a:pt x="5334461" y="1534591"/>
                </a:lnTo>
                <a:lnTo>
                  <a:pt x="5334786" y="1534302"/>
                </a:lnTo>
                <a:close/>
                <a:moveTo>
                  <a:pt x="4192540" y="1529321"/>
                </a:moveTo>
                <a:lnTo>
                  <a:pt x="4193951" y="1533219"/>
                </a:lnTo>
                <a:lnTo>
                  <a:pt x="4194384" y="1538415"/>
                </a:lnTo>
                <a:lnTo>
                  <a:pt x="4192866" y="1544046"/>
                </a:lnTo>
                <a:lnTo>
                  <a:pt x="4187874" y="1546428"/>
                </a:lnTo>
                <a:lnTo>
                  <a:pt x="4187874" y="1548160"/>
                </a:lnTo>
                <a:lnTo>
                  <a:pt x="4192214" y="1551084"/>
                </a:lnTo>
                <a:lnTo>
                  <a:pt x="4193082" y="1554007"/>
                </a:lnTo>
                <a:lnTo>
                  <a:pt x="4190586" y="1556281"/>
                </a:lnTo>
                <a:lnTo>
                  <a:pt x="4185594" y="1558338"/>
                </a:lnTo>
                <a:lnTo>
                  <a:pt x="4185812" y="1561586"/>
                </a:lnTo>
                <a:lnTo>
                  <a:pt x="4183967" y="1564076"/>
                </a:lnTo>
                <a:lnTo>
                  <a:pt x="4180387" y="1564293"/>
                </a:lnTo>
                <a:lnTo>
                  <a:pt x="4178541" y="1561803"/>
                </a:lnTo>
                <a:lnTo>
                  <a:pt x="4180603" y="1559313"/>
                </a:lnTo>
                <a:lnTo>
                  <a:pt x="4179735" y="1557147"/>
                </a:lnTo>
                <a:lnTo>
                  <a:pt x="4174201" y="1555631"/>
                </a:lnTo>
                <a:lnTo>
                  <a:pt x="4171162" y="1555631"/>
                </a:lnTo>
                <a:lnTo>
                  <a:pt x="4168449" y="1552275"/>
                </a:lnTo>
                <a:lnTo>
                  <a:pt x="4168666" y="1547403"/>
                </a:lnTo>
                <a:lnTo>
                  <a:pt x="4166822" y="1544479"/>
                </a:lnTo>
                <a:lnTo>
                  <a:pt x="4166171" y="1541015"/>
                </a:lnTo>
                <a:lnTo>
                  <a:pt x="4169101" y="1540148"/>
                </a:lnTo>
                <a:lnTo>
                  <a:pt x="4170945" y="1536575"/>
                </a:lnTo>
                <a:lnTo>
                  <a:pt x="4173224" y="1534951"/>
                </a:lnTo>
                <a:lnTo>
                  <a:pt x="4175394" y="1537766"/>
                </a:lnTo>
                <a:lnTo>
                  <a:pt x="4175612" y="1540040"/>
                </a:lnTo>
                <a:lnTo>
                  <a:pt x="4179952" y="1542963"/>
                </a:lnTo>
                <a:lnTo>
                  <a:pt x="4180928" y="1541772"/>
                </a:lnTo>
                <a:lnTo>
                  <a:pt x="4183425" y="1542422"/>
                </a:lnTo>
                <a:lnTo>
                  <a:pt x="4183750" y="1539931"/>
                </a:lnTo>
                <a:lnTo>
                  <a:pt x="4180060" y="1537441"/>
                </a:lnTo>
                <a:lnTo>
                  <a:pt x="4178433" y="1535276"/>
                </a:lnTo>
                <a:lnTo>
                  <a:pt x="4180712" y="1531053"/>
                </a:lnTo>
                <a:lnTo>
                  <a:pt x="4187006" y="1529537"/>
                </a:lnTo>
                <a:close/>
                <a:moveTo>
                  <a:pt x="6562251" y="1528573"/>
                </a:moveTo>
                <a:lnTo>
                  <a:pt x="6562218" y="1528672"/>
                </a:lnTo>
                <a:lnTo>
                  <a:pt x="6562978" y="1533870"/>
                </a:lnTo>
                <a:lnTo>
                  <a:pt x="6565764" y="1536756"/>
                </a:lnTo>
                <a:lnTo>
                  <a:pt x="6565799" y="1536467"/>
                </a:lnTo>
                <a:lnTo>
                  <a:pt x="6562978" y="1533543"/>
                </a:lnTo>
                <a:close/>
                <a:moveTo>
                  <a:pt x="1126076" y="1527589"/>
                </a:moveTo>
                <a:lnTo>
                  <a:pt x="1130417" y="1528563"/>
                </a:lnTo>
                <a:lnTo>
                  <a:pt x="1133347" y="1533760"/>
                </a:lnTo>
                <a:lnTo>
                  <a:pt x="1138882" y="1533436"/>
                </a:lnTo>
                <a:lnTo>
                  <a:pt x="1140075" y="1537875"/>
                </a:lnTo>
                <a:lnTo>
                  <a:pt x="1143548" y="1541989"/>
                </a:lnTo>
                <a:lnTo>
                  <a:pt x="1151035" y="1546103"/>
                </a:lnTo>
                <a:lnTo>
                  <a:pt x="1153097" y="1550217"/>
                </a:lnTo>
                <a:lnTo>
                  <a:pt x="1158523" y="1552275"/>
                </a:lnTo>
                <a:lnTo>
                  <a:pt x="1163298" y="1552275"/>
                </a:lnTo>
                <a:lnTo>
                  <a:pt x="1171762" y="1556822"/>
                </a:lnTo>
                <a:lnTo>
                  <a:pt x="1176754" y="1557472"/>
                </a:lnTo>
                <a:lnTo>
                  <a:pt x="1179358" y="1560178"/>
                </a:lnTo>
                <a:lnTo>
                  <a:pt x="1179467" y="1568515"/>
                </a:lnTo>
                <a:lnTo>
                  <a:pt x="1185218" y="1577068"/>
                </a:lnTo>
                <a:lnTo>
                  <a:pt x="1186195" y="1590819"/>
                </a:lnTo>
                <a:lnTo>
                  <a:pt x="1197047" y="1598182"/>
                </a:lnTo>
                <a:lnTo>
                  <a:pt x="1201061" y="1603703"/>
                </a:lnTo>
                <a:lnTo>
                  <a:pt x="1199976" y="1613015"/>
                </a:lnTo>
                <a:lnTo>
                  <a:pt x="1201713" y="1616804"/>
                </a:lnTo>
                <a:lnTo>
                  <a:pt x="1200845" y="1622976"/>
                </a:lnTo>
                <a:lnTo>
                  <a:pt x="1204100" y="1635210"/>
                </a:lnTo>
                <a:lnTo>
                  <a:pt x="1199868" y="1634669"/>
                </a:lnTo>
                <a:lnTo>
                  <a:pt x="1197372" y="1636402"/>
                </a:lnTo>
                <a:lnTo>
                  <a:pt x="1182831" y="1627956"/>
                </a:lnTo>
                <a:lnTo>
                  <a:pt x="1180878" y="1624492"/>
                </a:lnTo>
                <a:lnTo>
                  <a:pt x="1177730" y="1623625"/>
                </a:lnTo>
                <a:lnTo>
                  <a:pt x="1168832" y="1614531"/>
                </a:lnTo>
                <a:lnTo>
                  <a:pt x="1175560" y="1607493"/>
                </a:lnTo>
                <a:lnTo>
                  <a:pt x="1171220" y="1607493"/>
                </a:lnTo>
                <a:lnTo>
                  <a:pt x="1168941" y="1605111"/>
                </a:lnTo>
                <a:lnTo>
                  <a:pt x="1165359" y="1608359"/>
                </a:lnTo>
                <a:lnTo>
                  <a:pt x="1160043" y="1603487"/>
                </a:lnTo>
                <a:lnTo>
                  <a:pt x="1161561" y="1599048"/>
                </a:lnTo>
                <a:lnTo>
                  <a:pt x="1159825" y="1594609"/>
                </a:lnTo>
                <a:lnTo>
                  <a:pt x="1156787" y="1594067"/>
                </a:lnTo>
                <a:lnTo>
                  <a:pt x="1157221" y="1590170"/>
                </a:lnTo>
                <a:lnTo>
                  <a:pt x="1148974" y="1591036"/>
                </a:lnTo>
                <a:lnTo>
                  <a:pt x="1147563" y="1585297"/>
                </a:lnTo>
                <a:lnTo>
                  <a:pt x="1145176" y="1586164"/>
                </a:lnTo>
                <a:lnTo>
                  <a:pt x="1144850" y="1582266"/>
                </a:lnTo>
                <a:lnTo>
                  <a:pt x="1148866" y="1578584"/>
                </a:lnTo>
                <a:lnTo>
                  <a:pt x="1150384" y="1572954"/>
                </a:lnTo>
                <a:lnTo>
                  <a:pt x="1144199" y="1574687"/>
                </a:lnTo>
                <a:lnTo>
                  <a:pt x="1143656" y="1578909"/>
                </a:lnTo>
                <a:lnTo>
                  <a:pt x="1140184" y="1580100"/>
                </a:lnTo>
                <a:lnTo>
                  <a:pt x="1137254" y="1574362"/>
                </a:lnTo>
                <a:lnTo>
                  <a:pt x="1143656" y="1566891"/>
                </a:lnTo>
                <a:lnTo>
                  <a:pt x="1138665" y="1569706"/>
                </a:lnTo>
                <a:lnTo>
                  <a:pt x="1133999" y="1566458"/>
                </a:lnTo>
                <a:lnTo>
                  <a:pt x="1133782" y="1561803"/>
                </a:lnTo>
                <a:lnTo>
                  <a:pt x="1128681" y="1562127"/>
                </a:lnTo>
                <a:lnTo>
                  <a:pt x="1128030" y="1557688"/>
                </a:lnTo>
                <a:lnTo>
                  <a:pt x="1122496" y="1559529"/>
                </a:lnTo>
                <a:lnTo>
                  <a:pt x="1121085" y="1558013"/>
                </a:lnTo>
                <a:lnTo>
                  <a:pt x="1123689" y="1552275"/>
                </a:lnTo>
                <a:lnTo>
                  <a:pt x="1120868" y="1550542"/>
                </a:lnTo>
                <a:lnTo>
                  <a:pt x="1124340" y="1545346"/>
                </a:lnTo>
                <a:lnTo>
                  <a:pt x="1130201" y="1545670"/>
                </a:lnTo>
                <a:lnTo>
                  <a:pt x="1135084" y="1542855"/>
                </a:lnTo>
                <a:lnTo>
                  <a:pt x="1123364" y="1541556"/>
                </a:lnTo>
                <a:lnTo>
                  <a:pt x="1121302" y="1535709"/>
                </a:lnTo>
                <a:lnTo>
                  <a:pt x="1119132" y="1535385"/>
                </a:lnTo>
                <a:lnTo>
                  <a:pt x="1117070" y="1528780"/>
                </a:lnTo>
                <a:lnTo>
                  <a:pt x="1124232" y="1529321"/>
                </a:lnTo>
                <a:close/>
                <a:moveTo>
                  <a:pt x="5565382" y="1527168"/>
                </a:moveTo>
                <a:lnTo>
                  <a:pt x="5564950" y="1527590"/>
                </a:lnTo>
                <a:lnTo>
                  <a:pt x="5564950" y="1529847"/>
                </a:lnTo>
                <a:lnTo>
                  <a:pt x="5565058" y="1529755"/>
                </a:lnTo>
                <a:close/>
                <a:moveTo>
                  <a:pt x="4480434" y="1526724"/>
                </a:moveTo>
                <a:lnTo>
                  <a:pt x="4485969" y="1534194"/>
                </a:lnTo>
                <a:lnTo>
                  <a:pt x="4492913" y="1534519"/>
                </a:lnTo>
                <a:lnTo>
                  <a:pt x="4495192" y="1536576"/>
                </a:lnTo>
                <a:lnTo>
                  <a:pt x="4489766" y="1543721"/>
                </a:lnTo>
                <a:lnTo>
                  <a:pt x="4493456" y="1545454"/>
                </a:lnTo>
                <a:lnTo>
                  <a:pt x="4493456" y="1550326"/>
                </a:lnTo>
                <a:lnTo>
                  <a:pt x="4493458" y="1550325"/>
                </a:lnTo>
                <a:lnTo>
                  <a:pt x="4493458" y="1545453"/>
                </a:lnTo>
                <a:lnTo>
                  <a:pt x="4489768" y="1543721"/>
                </a:lnTo>
                <a:lnTo>
                  <a:pt x="4495193" y="1536576"/>
                </a:lnTo>
                <a:lnTo>
                  <a:pt x="4492916" y="1534519"/>
                </a:lnTo>
                <a:lnTo>
                  <a:pt x="4485970" y="1534194"/>
                </a:lnTo>
                <a:lnTo>
                  <a:pt x="4480436" y="1526724"/>
                </a:lnTo>
                <a:close/>
                <a:moveTo>
                  <a:pt x="4570544" y="1526074"/>
                </a:moveTo>
                <a:lnTo>
                  <a:pt x="4571156" y="1526831"/>
                </a:lnTo>
                <a:lnTo>
                  <a:pt x="4573863" y="1526831"/>
                </a:lnTo>
                <a:lnTo>
                  <a:pt x="4571697" y="1526074"/>
                </a:lnTo>
                <a:close/>
                <a:moveTo>
                  <a:pt x="3808390" y="1526074"/>
                </a:moveTo>
                <a:lnTo>
                  <a:pt x="3809041" y="1528456"/>
                </a:lnTo>
                <a:lnTo>
                  <a:pt x="3806980" y="1530621"/>
                </a:lnTo>
                <a:close/>
                <a:moveTo>
                  <a:pt x="3818700" y="1525856"/>
                </a:moveTo>
                <a:lnTo>
                  <a:pt x="3815119" y="1533868"/>
                </a:lnTo>
                <a:lnTo>
                  <a:pt x="3812189" y="1537658"/>
                </a:lnTo>
                <a:lnTo>
                  <a:pt x="3810561" y="1533435"/>
                </a:lnTo>
                <a:close/>
                <a:moveTo>
                  <a:pt x="5460014" y="1524262"/>
                </a:moveTo>
                <a:lnTo>
                  <a:pt x="5456433" y="1525208"/>
                </a:lnTo>
                <a:lnTo>
                  <a:pt x="5456737" y="1525845"/>
                </a:lnTo>
                <a:lnTo>
                  <a:pt x="5460014" y="1524884"/>
                </a:lnTo>
                <a:close/>
                <a:moveTo>
                  <a:pt x="5587889" y="1523007"/>
                </a:moveTo>
                <a:lnTo>
                  <a:pt x="5584373" y="1523908"/>
                </a:lnTo>
                <a:lnTo>
                  <a:pt x="5584385" y="1523931"/>
                </a:lnTo>
                <a:lnTo>
                  <a:pt x="5587847" y="1523043"/>
                </a:lnTo>
                <a:close/>
                <a:moveTo>
                  <a:pt x="4565512" y="1522609"/>
                </a:moveTo>
                <a:lnTo>
                  <a:pt x="4558567" y="1524666"/>
                </a:lnTo>
                <a:lnTo>
                  <a:pt x="4554086" y="1528118"/>
                </a:lnTo>
                <a:lnTo>
                  <a:pt x="4555312" y="1530295"/>
                </a:lnTo>
                <a:lnTo>
                  <a:pt x="4561497" y="1525531"/>
                </a:lnTo>
                <a:lnTo>
                  <a:pt x="4566613" y="1524016"/>
                </a:lnTo>
                <a:close/>
                <a:moveTo>
                  <a:pt x="5480401" y="1521630"/>
                </a:moveTo>
                <a:lnTo>
                  <a:pt x="5480090" y="1521852"/>
                </a:lnTo>
                <a:lnTo>
                  <a:pt x="5481932" y="1526715"/>
                </a:lnTo>
                <a:lnTo>
                  <a:pt x="5482042" y="1525966"/>
                </a:lnTo>
                <a:close/>
                <a:moveTo>
                  <a:pt x="7367737" y="1521526"/>
                </a:moveTo>
                <a:lnTo>
                  <a:pt x="7369257" y="1523258"/>
                </a:lnTo>
                <a:lnTo>
                  <a:pt x="7368931" y="1527589"/>
                </a:lnTo>
                <a:lnTo>
                  <a:pt x="7367195" y="1529863"/>
                </a:lnTo>
                <a:lnTo>
                  <a:pt x="7365458" y="1530946"/>
                </a:lnTo>
                <a:lnTo>
                  <a:pt x="7366326" y="1524991"/>
                </a:lnTo>
                <a:close/>
                <a:moveTo>
                  <a:pt x="4542723" y="1520877"/>
                </a:moveTo>
                <a:lnTo>
                  <a:pt x="4538692" y="1522739"/>
                </a:lnTo>
                <a:lnTo>
                  <a:pt x="4539794" y="1524449"/>
                </a:lnTo>
                <a:lnTo>
                  <a:pt x="4545654" y="1521742"/>
                </a:lnTo>
                <a:lnTo>
                  <a:pt x="4548235" y="1522064"/>
                </a:lnTo>
                <a:lnTo>
                  <a:pt x="4547932" y="1521527"/>
                </a:lnTo>
                <a:close/>
                <a:moveTo>
                  <a:pt x="5591753" y="1518864"/>
                </a:moveTo>
                <a:lnTo>
                  <a:pt x="5588788" y="1522235"/>
                </a:lnTo>
                <a:lnTo>
                  <a:pt x="5591753" y="1519686"/>
                </a:lnTo>
                <a:close/>
                <a:moveTo>
                  <a:pt x="4469149" y="1518820"/>
                </a:moveTo>
                <a:lnTo>
                  <a:pt x="4475334" y="1525965"/>
                </a:lnTo>
                <a:lnTo>
                  <a:pt x="4477404" y="1526273"/>
                </a:lnTo>
                <a:lnTo>
                  <a:pt x="4475336" y="1525965"/>
                </a:lnTo>
                <a:lnTo>
                  <a:pt x="4469150" y="1518820"/>
                </a:lnTo>
                <a:close/>
                <a:moveTo>
                  <a:pt x="4443323" y="1517629"/>
                </a:moveTo>
                <a:lnTo>
                  <a:pt x="4443321" y="1517629"/>
                </a:lnTo>
                <a:lnTo>
                  <a:pt x="4445453" y="1518692"/>
                </a:lnTo>
                <a:close/>
                <a:moveTo>
                  <a:pt x="7360792" y="1517087"/>
                </a:moveTo>
                <a:lnTo>
                  <a:pt x="7362637" y="1517736"/>
                </a:lnTo>
                <a:lnTo>
                  <a:pt x="7363396" y="1519252"/>
                </a:lnTo>
                <a:lnTo>
                  <a:pt x="7362094" y="1519902"/>
                </a:lnTo>
                <a:lnTo>
                  <a:pt x="7359815" y="1519143"/>
                </a:lnTo>
                <a:close/>
                <a:moveTo>
                  <a:pt x="4523643" y="1517021"/>
                </a:moveTo>
                <a:lnTo>
                  <a:pt x="4523722" y="1517641"/>
                </a:lnTo>
                <a:lnTo>
                  <a:pt x="4524356" y="1517489"/>
                </a:lnTo>
                <a:close/>
                <a:moveTo>
                  <a:pt x="4532089" y="1516005"/>
                </a:moveTo>
                <a:lnTo>
                  <a:pt x="4527706" y="1518647"/>
                </a:lnTo>
                <a:lnTo>
                  <a:pt x="4529702" y="1520009"/>
                </a:lnTo>
                <a:lnTo>
                  <a:pt x="4533260" y="1517865"/>
                </a:lnTo>
                <a:close/>
                <a:moveTo>
                  <a:pt x="4453307" y="1513731"/>
                </a:moveTo>
                <a:lnTo>
                  <a:pt x="4453306" y="1513731"/>
                </a:lnTo>
                <a:lnTo>
                  <a:pt x="4461660" y="1517629"/>
                </a:lnTo>
                <a:lnTo>
                  <a:pt x="4464654" y="1518105"/>
                </a:lnTo>
                <a:lnTo>
                  <a:pt x="4461662" y="1517629"/>
                </a:lnTo>
                <a:close/>
                <a:moveTo>
                  <a:pt x="4431928" y="1513406"/>
                </a:moveTo>
                <a:lnTo>
                  <a:pt x="4435834" y="1517845"/>
                </a:lnTo>
                <a:lnTo>
                  <a:pt x="4435835" y="1517845"/>
                </a:lnTo>
                <a:lnTo>
                  <a:pt x="4431929" y="1513406"/>
                </a:lnTo>
                <a:close/>
                <a:moveTo>
                  <a:pt x="6563563" y="1513284"/>
                </a:moveTo>
                <a:lnTo>
                  <a:pt x="6563412" y="1513407"/>
                </a:lnTo>
                <a:lnTo>
                  <a:pt x="6560699" y="1518170"/>
                </a:lnTo>
                <a:lnTo>
                  <a:pt x="6560699" y="1521742"/>
                </a:lnTo>
                <a:lnTo>
                  <a:pt x="6560699" y="1522068"/>
                </a:lnTo>
                <a:lnTo>
                  <a:pt x="6563016" y="1525957"/>
                </a:lnTo>
                <a:lnTo>
                  <a:pt x="6563086" y="1525748"/>
                </a:lnTo>
                <a:lnTo>
                  <a:pt x="6560699" y="1521742"/>
                </a:lnTo>
                <a:lnTo>
                  <a:pt x="6561024" y="1517844"/>
                </a:lnTo>
                <a:close/>
                <a:moveTo>
                  <a:pt x="3794068" y="1512431"/>
                </a:moveTo>
                <a:lnTo>
                  <a:pt x="3797866" y="1512647"/>
                </a:lnTo>
                <a:lnTo>
                  <a:pt x="3793634" y="1515788"/>
                </a:lnTo>
                <a:close/>
                <a:moveTo>
                  <a:pt x="4414132" y="1511998"/>
                </a:moveTo>
                <a:lnTo>
                  <a:pt x="4414131" y="1511999"/>
                </a:lnTo>
                <a:lnTo>
                  <a:pt x="4417277" y="1514597"/>
                </a:lnTo>
                <a:lnTo>
                  <a:pt x="4417278" y="1514596"/>
                </a:lnTo>
                <a:close/>
                <a:moveTo>
                  <a:pt x="4400134" y="1511457"/>
                </a:moveTo>
                <a:lnTo>
                  <a:pt x="4400133" y="1511457"/>
                </a:lnTo>
                <a:lnTo>
                  <a:pt x="4402422" y="1511695"/>
                </a:lnTo>
                <a:close/>
                <a:moveTo>
                  <a:pt x="4426720" y="1510267"/>
                </a:moveTo>
                <a:lnTo>
                  <a:pt x="4426719" y="1510267"/>
                </a:lnTo>
                <a:lnTo>
                  <a:pt x="4427803" y="1513189"/>
                </a:lnTo>
                <a:lnTo>
                  <a:pt x="4427805" y="1513189"/>
                </a:lnTo>
                <a:close/>
                <a:moveTo>
                  <a:pt x="3810344" y="1508859"/>
                </a:moveTo>
                <a:lnTo>
                  <a:pt x="3814142" y="1513082"/>
                </a:lnTo>
                <a:lnTo>
                  <a:pt x="3817073" y="1513514"/>
                </a:lnTo>
                <a:lnTo>
                  <a:pt x="3818809" y="1517412"/>
                </a:lnTo>
                <a:lnTo>
                  <a:pt x="3814577" y="1520553"/>
                </a:lnTo>
                <a:lnTo>
                  <a:pt x="3814251" y="1519145"/>
                </a:lnTo>
                <a:lnTo>
                  <a:pt x="3805461" y="1521094"/>
                </a:lnTo>
                <a:lnTo>
                  <a:pt x="3809584" y="1518171"/>
                </a:lnTo>
                <a:lnTo>
                  <a:pt x="3808716" y="1516763"/>
                </a:lnTo>
                <a:lnTo>
                  <a:pt x="3812081" y="1514922"/>
                </a:lnTo>
                <a:lnTo>
                  <a:pt x="3806003" y="1511890"/>
                </a:lnTo>
                <a:close/>
                <a:moveTo>
                  <a:pt x="7368714" y="1507776"/>
                </a:moveTo>
                <a:lnTo>
                  <a:pt x="7372186" y="1509075"/>
                </a:lnTo>
                <a:lnTo>
                  <a:pt x="7372946" y="1511999"/>
                </a:lnTo>
                <a:lnTo>
                  <a:pt x="7370667" y="1513082"/>
                </a:lnTo>
                <a:lnTo>
                  <a:pt x="7368171" y="1510807"/>
                </a:lnTo>
                <a:lnTo>
                  <a:pt x="7367303" y="1508751"/>
                </a:lnTo>
                <a:close/>
                <a:moveTo>
                  <a:pt x="3803616" y="1506043"/>
                </a:moveTo>
                <a:lnTo>
                  <a:pt x="3802640" y="1509616"/>
                </a:lnTo>
                <a:lnTo>
                  <a:pt x="3799493" y="1511023"/>
                </a:lnTo>
                <a:close/>
                <a:moveTo>
                  <a:pt x="4121787" y="1500846"/>
                </a:moveTo>
                <a:lnTo>
                  <a:pt x="4121136" y="1503877"/>
                </a:lnTo>
                <a:lnTo>
                  <a:pt x="4117339" y="1508209"/>
                </a:lnTo>
                <a:lnTo>
                  <a:pt x="4114951" y="1509400"/>
                </a:lnTo>
                <a:lnTo>
                  <a:pt x="4114517" y="1504419"/>
                </a:lnTo>
                <a:lnTo>
                  <a:pt x="4117989" y="1501062"/>
                </a:lnTo>
                <a:close/>
                <a:moveTo>
                  <a:pt x="6570762" y="1500617"/>
                </a:moveTo>
                <a:lnTo>
                  <a:pt x="6570465" y="1500847"/>
                </a:lnTo>
                <a:lnTo>
                  <a:pt x="6567319" y="1505503"/>
                </a:lnTo>
                <a:lnTo>
                  <a:pt x="6566377" y="1510825"/>
                </a:lnTo>
                <a:lnTo>
                  <a:pt x="6566667" y="1510590"/>
                </a:lnTo>
                <a:lnTo>
                  <a:pt x="6567753" y="1505068"/>
                </a:lnTo>
                <a:close/>
                <a:moveTo>
                  <a:pt x="5393435" y="1499719"/>
                </a:moveTo>
                <a:lnTo>
                  <a:pt x="5392951" y="1499981"/>
                </a:lnTo>
                <a:lnTo>
                  <a:pt x="5395154" y="1503435"/>
                </a:lnTo>
                <a:lnTo>
                  <a:pt x="5395121" y="1502362"/>
                </a:lnTo>
                <a:close/>
                <a:moveTo>
                  <a:pt x="3809042" y="1499439"/>
                </a:moveTo>
                <a:lnTo>
                  <a:pt x="3811320" y="1499439"/>
                </a:lnTo>
                <a:lnTo>
                  <a:pt x="3809150" y="1501605"/>
                </a:lnTo>
                <a:close/>
                <a:moveTo>
                  <a:pt x="3806981" y="1494999"/>
                </a:moveTo>
                <a:lnTo>
                  <a:pt x="3808174" y="1497597"/>
                </a:lnTo>
                <a:lnTo>
                  <a:pt x="3806547" y="1499113"/>
                </a:lnTo>
                <a:lnTo>
                  <a:pt x="3804702" y="1495432"/>
                </a:lnTo>
                <a:close/>
                <a:moveTo>
                  <a:pt x="1140075" y="1494350"/>
                </a:moveTo>
                <a:lnTo>
                  <a:pt x="1141052" y="1498464"/>
                </a:lnTo>
                <a:lnTo>
                  <a:pt x="1139750" y="1505068"/>
                </a:lnTo>
                <a:lnTo>
                  <a:pt x="1137145" y="1502145"/>
                </a:lnTo>
                <a:lnTo>
                  <a:pt x="1136820" y="1497815"/>
                </a:lnTo>
                <a:close/>
                <a:moveTo>
                  <a:pt x="3785277" y="1494242"/>
                </a:moveTo>
                <a:lnTo>
                  <a:pt x="3786470" y="1497166"/>
                </a:lnTo>
                <a:lnTo>
                  <a:pt x="3783216" y="1499115"/>
                </a:lnTo>
                <a:lnTo>
                  <a:pt x="3783433" y="1496624"/>
                </a:lnTo>
                <a:close/>
                <a:moveTo>
                  <a:pt x="5448294" y="1493593"/>
                </a:moveTo>
                <a:lnTo>
                  <a:pt x="5450030" y="1498790"/>
                </a:lnTo>
                <a:lnTo>
                  <a:pt x="5450031" y="1498791"/>
                </a:lnTo>
                <a:lnTo>
                  <a:pt x="5448295" y="1493593"/>
                </a:lnTo>
                <a:close/>
                <a:moveTo>
                  <a:pt x="7368172" y="1491427"/>
                </a:moveTo>
                <a:lnTo>
                  <a:pt x="7369582" y="1492077"/>
                </a:lnTo>
                <a:lnTo>
                  <a:pt x="7369582" y="1496191"/>
                </a:lnTo>
                <a:lnTo>
                  <a:pt x="7371862" y="1500847"/>
                </a:lnTo>
                <a:cubicBezTo>
                  <a:pt x="7371862" y="1500847"/>
                  <a:pt x="7369799" y="1503878"/>
                  <a:pt x="7369799" y="1503878"/>
                </a:cubicBezTo>
                <a:lnTo>
                  <a:pt x="7366652" y="1500414"/>
                </a:lnTo>
                <a:lnTo>
                  <a:pt x="7368172" y="1495758"/>
                </a:lnTo>
                <a:close/>
                <a:moveTo>
                  <a:pt x="4284671" y="1487313"/>
                </a:moveTo>
                <a:lnTo>
                  <a:pt x="4287275" y="1490128"/>
                </a:lnTo>
                <a:lnTo>
                  <a:pt x="4286407" y="1497166"/>
                </a:lnTo>
                <a:lnTo>
                  <a:pt x="4284019" y="1505178"/>
                </a:lnTo>
                <a:lnTo>
                  <a:pt x="4283151" y="1513081"/>
                </a:lnTo>
                <a:lnTo>
                  <a:pt x="4280547" y="1520660"/>
                </a:lnTo>
                <a:lnTo>
                  <a:pt x="4278811" y="1524775"/>
                </a:lnTo>
                <a:lnTo>
                  <a:pt x="4277292" y="1523259"/>
                </a:lnTo>
                <a:lnTo>
                  <a:pt x="4277292" y="1520010"/>
                </a:lnTo>
                <a:lnTo>
                  <a:pt x="4276641" y="1515571"/>
                </a:lnTo>
                <a:lnTo>
                  <a:pt x="4278268" y="1502579"/>
                </a:lnTo>
                <a:lnTo>
                  <a:pt x="4280872" y="1500955"/>
                </a:lnTo>
                <a:lnTo>
                  <a:pt x="4282501" y="1493809"/>
                </a:lnTo>
                <a:lnTo>
                  <a:pt x="4281741" y="1491752"/>
                </a:lnTo>
                <a:close/>
                <a:moveTo>
                  <a:pt x="4159768" y="1483956"/>
                </a:moveTo>
                <a:lnTo>
                  <a:pt x="4164977" y="1483956"/>
                </a:lnTo>
                <a:lnTo>
                  <a:pt x="4161070" y="1486771"/>
                </a:lnTo>
                <a:lnTo>
                  <a:pt x="4157598" y="1486880"/>
                </a:lnTo>
                <a:close/>
                <a:moveTo>
                  <a:pt x="3786796" y="1483307"/>
                </a:moveTo>
                <a:lnTo>
                  <a:pt x="3789184" y="1483740"/>
                </a:lnTo>
                <a:lnTo>
                  <a:pt x="3789727" y="1486555"/>
                </a:lnTo>
                <a:lnTo>
                  <a:pt x="3788533" y="1488721"/>
                </a:lnTo>
                <a:lnTo>
                  <a:pt x="3789401" y="1492727"/>
                </a:lnTo>
                <a:lnTo>
                  <a:pt x="3786579" y="1492076"/>
                </a:lnTo>
                <a:lnTo>
                  <a:pt x="3785711" y="1488937"/>
                </a:lnTo>
                <a:lnTo>
                  <a:pt x="3787013" y="1486013"/>
                </a:lnTo>
                <a:close/>
                <a:moveTo>
                  <a:pt x="1145285" y="1481032"/>
                </a:moveTo>
                <a:lnTo>
                  <a:pt x="1147129" y="1483089"/>
                </a:lnTo>
                <a:lnTo>
                  <a:pt x="1144091" y="1488936"/>
                </a:lnTo>
                <a:lnTo>
                  <a:pt x="1140619" y="1488936"/>
                </a:lnTo>
                <a:lnTo>
                  <a:pt x="1138557" y="1488936"/>
                </a:lnTo>
                <a:lnTo>
                  <a:pt x="1139642" y="1484280"/>
                </a:lnTo>
                <a:close/>
                <a:moveTo>
                  <a:pt x="3790812" y="1479409"/>
                </a:moveTo>
                <a:lnTo>
                  <a:pt x="3789618" y="1482658"/>
                </a:lnTo>
                <a:lnTo>
                  <a:pt x="3786580" y="1481466"/>
                </a:lnTo>
                <a:lnTo>
                  <a:pt x="3786580" y="1480058"/>
                </a:lnTo>
                <a:close/>
                <a:moveTo>
                  <a:pt x="4505589" y="1474899"/>
                </a:moveTo>
                <a:lnTo>
                  <a:pt x="4505176" y="1475511"/>
                </a:lnTo>
                <a:lnTo>
                  <a:pt x="4505177" y="1475511"/>
                </a:lnTo>
                <a:lnTo>
                  <a:pt x="4507028" y="1475804"/>
                </a:lnTo>
                <a:lnTo>
                  <a:pt x="4506913" y="1475079"/>
                </a:lnTo>
                <a:close/>
                <a:moveTo>
                  <a:pt x="4499281" y="1474721"/>
                </a:moveTo>
                <a:lnTo>
                  <a:pt x="4507034" y="1475846"/>
                </a:lnTo>
                <a:lnTo>
                  <a:pt x="4507034" y="1475845"/>
                </a:lnTo>
                <a:close/>
                <a:moveTo>
                  <a:pt x="6702340" y="1474646"/>
                </a:moveTo>
                <a:lnTo>
                  <a:pt x="6702964" y="1477243"/>
                </a:lnTo>
                <a:lnTo>
                  <a:pt x="6701553" y="1480382"/>
                </a:lnTo>
                <a:lnTo>
                  <a:pt x="6701771" y="1481426"/>
                </a:lnTo>
                <a:lnTo>
                  <a:pt x="6701771" y="1480601"/>
                </a:lnTo>
                <a:lnTo>
                  <a:pt x="6703182" y="1477352"/>
                </a:lnTo>
                <a:lnTo>
                  <a:pt x="6702422" y="1474646"/>
                </a:lnTo>
                <a:close/>
                <a:moveTo>
                  <a:pt x="4498014" y="1474536"/>
                </a:moveTo>
                <a:lnTo>
                  <a:pt x="4489659" y="1477892"/>
                </a:lnTo>
                <a:lnTo>
                  <a:pt x="4489660" y="1477894"/>
                </a:lnTo>
                <a:lnTo>
                  <a:pt x="4498015" y="1474537"/>
                </a:lnTo>
                <a:lnTo>
                  <a:pt x="4498022" y="1474538"/>
                </a:lnTo>
                <a:lnTo>
                  <a:pt x="4502860" y="1475196"/>
                </a:lnTo>
                <a:close/>
                <a:moveTo>
                  <a:pt x="1143005" y="1474212"/>
                </a:moveTo>
                <a:lnTo>
                  <a:pt x="1144307" y="1476161"/>
                </a:lnTo>
                <a:lnTo>
                  <a:pt x="1142571" y="1479409"/>
                </a:lnTo>
                <a:lnTo>
                  <a:pt x="1141160" y="1479517"/>
                </a:lnTo>
                <a:lnTo>
                  <a:pt x="1140835" y="1475620"/>
                </a:lnTo>
                <a:close/>
                <a:moveTo>
                  <a:pt x="3786363" y="1473995"/>
                </a:moveTo>
                <a:lnTo>
                  <a:pt x="3792222" y="1474644"/>
                </a:lnTo>
                <a:lnTo>
                  <a:pt x="3791896" y="1477243"/>
                </a:lnTo>
                <a:lnTo>
                  <a:pt x="3787773" y="1478326"/>
                </a:lnTo>
                <a:lnTo>
                  <a:pt x="3784518" y="1474969"/>
                </a:lnTo>
                <a:close/>
                <a:moveTo>
                  <a:pt x="3808284" y="1473887"/>
                </a:moveTo>
                <a:lnTo>
                  <a:pt x="3810779" y="1478001"/>
                </a:lnTo>
                <a:lnTo>
                  <a:pt x="3810237" y="1486013"/>
                </a:lnTo>
                <a:lnTo>
                  <a:pt x="3815012" y="1488612"/>
                </a:lnTo>
                <a:lnTo>
                  <a:pt x="3817725" y="1487962"/>
                </a:lnTo>
                <a:lnTo>
                  <a:pt x="3819461" y="1489262"/>
                </a:lnTo>
                <a:lnTo>
                  <a:pt x="3816206" y="1491102"/>
                </a:lnTo>
                <a:lnTo>
                  <a:pt x="3814795" y="1495217"/>
                </a:lnTo>
                <a:lnTo>
                  <a:pt x="3812950" y="1495542"/>
                </a:lnTo>
                <a:lnTo>
                  <a:pt x="3812516" y="1490994"/>
                </a:lnTo>
                <a:lnTo>
                  <a:pt x="3806981" y="1491535"/>
                </a:lnTo>
                <a:lnTo>
                  <a:pt x="3803835" y="1485905"/>
                </a:lnTo>
                <a:lnTo>
                  <a:pt x="3804485" y="1484389"/>
                </a:lnTo>
                <a:lnTo>
                  <a:pt x="3802749" y="1483090"/>
                </a:lnTo>
                <a:lnTo>
                  <a:pt x="3802640" y="1484822"/>
                </a:lnTo>
                <a:lnTo>
                  <a:pt x="3798300" y="1481683"/>
                </a:lnTo>
                <a:lnTo>
                  <a:pt x="3800036" y="1479950"/>
                </a:lnTo>
                <a:lnTo>
                  <a:pt x="3801664" y="1481032"/>
                </a:lnTo>
                <a:lnTo>
                  <a:pt x="3801447" y="1476918"/>
                </a:lnTo>
                <a:lnTo>
                  <a:pt x="3806548" y="1480383"/>
                </a:lnTo>
                <a:lnTo>
                  <a:pt x="3806005" y="1474969"/>
                </a:lnTo>
                <a:close/>
                <a:moveTo>
                  <a:pt x="4152389" y="1469989"/>
                </a:moveTo>
                <a:lnTo>
                  <a:pt x="4153040" y="1471721"/>
                </a:lnTo>
                <a:lnTo>
                  <a:pt x="4149568" y="1477893"/>
                </a:lnTo>
                <a:lnTo>
                  <a:pt x="4150653" y="1482656"/>
                </a:lnTo>
                <a:lnTo>
                  <a:pt x="4149785" y="1484713"/>
                </a:lnTo>
                <a:lnTo>
                  <a:pt x="4150870" y="1489694"/>
                </a:lnTo>
                <a:lnTo>
                  <a:pt x="4146203" y="1497815"/>
                </a:lnTo>
                <a:lnTo>
                  <a:pt x="4143599" y="1499005"/>
                </a:lnTo>
                <a:lnTo>
                  <a:pt x="4139584" y="1497273"/>
                </a:lnTo>
                <a:lnTo>
                  <a:pt x="4134918" y="1497273"/>
                </a:lnTo>
                <a:lnTo>
                  <a:pt x="4131553" y="1498464"/>
                </a:lnTo>
                <a:lnTo>
                  <a:pt x="4126345" y="1497489"/>
                </a:lnTo>
                <a:lnTo>
                  <a:pt x="4122438" y="1498139"/>
                </a:lnTo>
                <a:lnTo>
                  <a:pt x="4121353" y="1497273"/>
                </a:lnTo>
                <a:lnTo>
                  <a:pt x="4113431" y="1502254"/>
                </a:lnTo>
                <a:lnTo>
                  <a:pt x="4112346" y="1505501"/>
                </a:lnTo>
                <a:lnTo>
                  <a:pt x="4113431" y="1511782"/>
                </a:lnTo>
                <a:lnTo>
                  <a:pt x="4108439" y="1506043"/>
                </a:lnTo>
                <a:lnTo>
                  <a:pt x="4106377" y="1507234"/>
                </a:lnTo>
                <a:lnTo>
                  <a:pt x="4104099" y="1505393"/>
                </a:lnTo>
                <a:lnTo>
                  <a:pt x="4107789" y="1501821"/>
                </a:lnTo>
                <a:lnTo>
                  <a:pt x="4109307" y="1496623"/>
                </a:lnTo>
                <a:lnTo>
                  <a:pt x="4112780" y="1496407"/>
                </a:lnTo>
                <a:lnTo>
                  <a:pt x="4114516" y="1497598"/>
                </a:lnTo>
                <a:lnTo>
                  <a:pt x="4120485" y="1492834"/>
                </a:lnTo>
                <a:lnTo>
                  <a:pt x="4125694" y="1492834"/>
                </a:lnTo>
                <a:lnTo>
                  <a:pt x="4130360" y="1489586"/>
                </a:lnTo>
                <a:lnTo>
                  <a:pt x="4132748" y="1484064"/>
                </a:lnTo>
                <a:lnTo>
                  <a:pt x="4135677" y="1479625"/>
                </a:lnTo>
                <a:lnTo>
                  <a:pt x="4139909" y="1479083"/>
                </a:lnTo>
                <a:lnTo>
                  <a:pt x="4145987" y="1476377"/>
                </a:lnTo>
                <a:close/>
                <a:moveTo>
                  <a:pt x="1167748" y="1469448"/>
                </a:moveTo>
                <a:lnTo>
                  <a:pt x="1167097" y="1472046"/>
                </a:lnTo>
                <a:lnTo>
                  <a:pt x="1160043" y="1478543"/>
                </a:lnTo>
                <a:lnTo>
                  <a:pt x="1156353" y="1479085"/>
                </a:lnTo>
                <a:lnTo>
                  <a:pt x="1151253" y="1483740"/>
                </a:lnTo>
                <a:lnTo>
                  <a:pt x="1148432" y="1484065"/>
                </a:lnTo>
                <a:lnTo>
                  <a:pt x="1154183" y="1475944"/>
                </a:lnTo>
                <a:lnTo>
                  <a:pt x="1157765" y="1475836"/>
                </a:lnTo>
                <a:lnTo>
                  <a:pt x="1161237" y="1471722"/>
                </a:lnTo>
                <a:close/>
                <a:moveTo>
                  <a:pt x="6694300" y="1468230"/>
                </a:moveTo>
                <a:lnTo>
                  <a:pt x="6695150" y="1470313"/>
                </a:lnTo>
                <a:lnTo>
                  <a:pt x="6695150" y="1472587"/>
                </a:lnTo>
                <a:lnTo>
                  <a:pt x="6695368" y="1472949"/>
                </a:lnTo>
                <a:lnTo>
                  <a:pt x="6695368" y="1470748"/>
                </a:lnTo>
                <a:close/>
                <a:moveTo>
                  <a:pt x="4325582" y="1465983"/>
                </a:moveTo>
                <a:lnTo>
                  <a:pt x="4328294" y="1467391"/>
                </a:lnTo>
                <a:lnTo>
                  <a:pt x="4326341" y="1469231"/>
                </a:lnTo>
                <a:lnTo>
                  <a:pt x="4325799" y="1471938"/>
                </a:lnTo>
                <a:lnTo>
                  <a:pt x="4323846" y="1475944"/>
                </a:lnTo>
                <a:lnTo>
                  <a:pt x="4327209" y="1478976"/>
                </a:lnTo>
                <a:lnTo>
                  <a:pt x="4327752" y="1481141"/>
                </a:lnTo>
                <a:lnTo>
                  <a:pt x="4324388" y="1485255"/>
                </a:lnTo>
                <a:lnTo>
                  <a:pt x="4323628" y="1488395"/>
                </a:lnTo>
                <a:lnTo>
                  <a:pt x="4318094" y="1492726"/>
                </a:lnTo>
                <a:lnTo>
                  <a:pt x="4317226" y="1495649"/>
                </a:lnTo>
                <a:lnTo>
                  <a:pt x="4318853" y="1496840"/>
                </a:lnTo>
                <a:lnTo>
                  <a:pt x="4317768" y="1499655"/>
                </a:lnTo>
                <a:lnTo>
                  <a:pt x="4312234" y="1501280"/>
                </a:lnTo>
                <a:lnTo>
                  <a:pt x="4311800" y="1499222"/>
                </a:lnTo>
                <a:lnTo>
                  <a:pt x="4314622" y="1495758"/>
                </a:lnTo>
                <a:lnTo>
                  <a:pt x="4315707" y="1491752"/>
                </a:lnTo>
                <a:lnTo>
                  <a:pt x="4313753" y="1492401"/>
                </a:lnTo>
                <a:lnTo>
                  <a:pt x="4309087" y="1485580"/>
                </a:lnTo>
                <a:lnTo>
                  <a:pt x="4310823" y="1484389"/>
                </a:lnTo>
                <a:lnTo>
                  <a:pt x="4309304" y="1478976"/>
                </a:lnTo>
                <a:lnTo>
                  <a:pt x="4312451" y="1475619"/>
                </a:lnTo>
                <a:lnTo>
                  <a:pt x="4314730" y="1471397"/>
                </a:lnTo>
                <a:lnTo>
                  <a:pt x="4317985" y="1467391"/>
                </a:lnTo>
                <a:lnTo>
                  <a:pt x="4323086" y="1467391"/>
                </a:lnTo>
                <a:close/>
                <a:moveTo>
                  <a:pt x="3797540" y="1465875"/>
                </a:moveTo>
                <a:lnTo>
                  <a:pt x="3801229" y="1467391"/>
                </a:lnTo>
                <a:lnTo>
                  <a:pt x="3796020" y="1472047"/>
                </a:lnTo>
                <a:lnTo>
                  <a:pt x="3792982" y="1469773"/>
                </a:lnTo>
                <a:lnTo>
                  <a:pt x="3794610" y="1468799"/>
                </a:lnTo>
                <a:lnTo>
                  <a:pt x="3795586" y="1466958"/>
                </a:lnTo>
                <a:close/>
                <a:moveTo>
                  <a:pt x="6692382" y="1461885"/>
                </a:moveTo>
                <a:lnTo>
                  <a:pt x="6693741" y="1464142"/>
                </a:lnTo>
                <a:lnTo>
                  <a:pt x="6693957" y="1467390"/>
                </a:lnTo>
                <a:lnTo>
                  <a:pt x="6694174" y="1467922"/>
                </a:lnTo>
                <a:lnTo>
                  <a:pt x="6694174" y="1464685"/>
                </a:lnTo>
                <a:lnTo>
                  <a:pt x="6692546" y="1461978"/>
                </a:lnTo>
                <a:close/>
                <a:moveTo>
                  <a:pt x="4336108" y="1461328"/>
                </a:moveTo>
                <a:lnTo>
                  <a:pt x="4337193" y="1462952"/>
                </a:lnTo>
                <a:lnTo>
                  <a:pt x="4332961" y="1464143"/>
                </a:lnTo>
                <a:lnTo>
                  <a:pt x="4330356" y="1466634"/>
                </a:lnTo>
                <a:lnTo>
                  <a:pt x="4328729" y="1464359"/>
                </a:lnTo>
                <a:lnTo>
                  <a:pt x="4331224" y="1461436"/>
                </a:lnTo>
                <a:close/>
                <a:moveTo>
                  <a:pt x="4468607" y="1460244"/>
                </a:moveTo>
                <a:lnTo>
                  <a:pt x="4468608" y="1460245"/>
                </a:lnTo>
                <a:lnTo>
                  <a:pt x="4471646" y="1460353"/>
                </a:lnTo>
                <a:lnTo>
                  <a:pt x="4471645" y="1460353"/>
                </a:lnTo>
                <a:close/>
                <a:moveTo>
                  <a:pt x="6553466" y="1458429"/>
                </a:moveTo>
                <a:lnTo>
                  <a:pt x="6551583" y="1462087"/>
                </a:lnTo>
                <a:lnTo>
                  <a:pt x="6549630" y="1464468"/>
                </a:lnTo>
                <a:lnTo>
                  <a:pt x="6549630" y="1466850"/>
                </a:lnTo>
                <a:lnTo>
                  <a:pt x="6548111" y="1468907"/>
                </a:lnTo>
                <a:lnTo>
                  <a:pt x="6548111" y="1475837"/>
                </a:lnTo>
                <a:lnTo>
                  <a:pt x="6549630" y="1477786"/>
                </a:lnTo>
                <a:lnTo>
                  <a:pt x="6552018" y="1477786"/>
                </a:lnTo>
                <a:lnTo>
                  <a:pt x="6557335" y="1474538"/>
                </a:lnTo>
                <a:lnTo>
                  <a:pt x="6560591" y="1473130"/>
                </a:lnTo>
                <a:lnTo>
                  <a:pt x="6563520" y="1473780"/>
                </a:lnTo>
                <a:lnTo>
                  <a:pt x="6566993" y="1479410"/>
                </a:lnTo>
                <a:lnTo>
                  <a:pt x="6568838" y="1483848"/>
                </a:lnTo>
                <a:lnTo>
                  <a:pt x="6572310" y="1486447"/>
                </a:lnTo>
                <a:lnTo>
                  <a:pt x="6572310" y="1490021"/>
                </a:lnTo>
                <a:lnTo>
                  <a:pt x="6573396" y="1492944"/>
                </a:lnTo>
                <a:lnTo>
                  <a:pt x="6573396" y="1498567"/>
                </a:lnTo>
                <a:lnTo>
                  <a:pt x="6573829" y="1498247"/>
                </a:lnTo>
                <a:lnTo>
                  <a:pt x="6574155" y="1492509"/>
                </a:lnTo>
                <a:lnTo>
                  <a:pt x="6573069" y="1489586"/>
                </a:lnTo>
                <a:lnTo>
                  <a:pt x="6573069" y="1486013"/>
                </a:lnTo>
                <a:lnTo>
                  <a:pt x="6569598" y="1483414"/>
                </a:lnTo>
                <a:lnTo>
                  <a:pt x="6567753" y="1478975"/>
                </a:lnTo>
                <a:lnTo>
                  <a:pt x="6564280" y="1473345"/>
                </a:lnTo>
                <a:lnTo>
                  <a:pt x="6561350" y="1472587"/>
                </a:lnTo>
                <a:lnTo>
                  <a:pt x="6558095" y="1473995"/>
                </a:lnTo>
                <a:lnTo>
                  <a:pt x="6552777" y="1477243"/>
                </a:lnTo>
                <a:lnTo>
                  <a:pt x="6550390" y="1476918"/>
                </a:lnTo>
                <a:lnTo>
                  <a:pt x="6548762" y="1474969"/>
                </a:lnTo>
                <a:lnTo>
                  <a:pt x="6548762" y="1469123"/>
                </a:lnTo>
                <a:lnTo>
                  <a:pt x="6550390" y="1467065"/>
                </a:lnTo>
                <a:lnTo>
                  <a:pt x="6550390" y="1464683"/>
                </a:lnTo>
                <a:lnTo>
                  <a:pt x="6552234" y="1462301"/>
                </a:lnTo>
                <a:close/>
                <a:moveTo>
                  <a:pt x="6689725" y="1457900"/>
                </a:moveTo>
                <a:lnTo>
                  <a:pt x="6689725" y="1460136"/>
                </a:lnTo>
                <a:lnTo>
                  <a:pt x="6690268" y="1460431"/>
                </a:lnTo>
                <a:lnTo>
                  <a:pt x="6690268" y="1458405"/>
                </a:lnTo>
                <a:close/>
                <a:moveTo>
                  <a:pt x="4171271" y="1456564"/>
                </a:moveTo>
                <a:lnTo>
                  <a:pt x="4170294" y="1460570"/>
                </a:lnTo>
                <a:lnTo>
                  <a:pt x="4167907" y="1460678"/>
                </a:lnTo>
                <a:lnTo>
                  <a:pt x="4168232" y="1457321"/>
                </a:lnTo>
                <a:close/>
                <a:moveTo>
                  <a:pt x="1140727" y="1454182"/>
                </a:moveTo>
                <a:lnTo>
                  <a:pt x="1142246" y="1456888"/>
                </a:lnTo>
                <a:lnTo>
                  <a:pt x="1140401" y="1459704"/>
                </a:lnTo>
                <a:lnTo>
                  <a:pt x="1134867" y="1457105"/>
                </a:lnTo>
                <a:close/>
                <a:moveTo>
                  <a:pt x="4463397" y="1454181"/>
                </a:moveTo>
                <a:lnTo>
                  <a:pt x="4462420" y="1458295"/>
                </a:lnTo>
                <a:lnTo>
                  <a:pt x="4459274" y="1458728"/>
                </a:lnTo>
                <a:lnTo>
                  <a:pt x="4459275" y="1458729"/>
                </a:lnTo>
                <a:lnTo>
                  <a:pt x="4462422" y="1458296"/>
                </a:lnTo>
                <a:lnTo>
                  <a:pt x="4463398" y="1454182"/>
                </a:lnTo>
                <a:close/>
                <a:moveTo>
                  <a:pt x="6681197" y="1449012"/>
                </a:moveTo>
                <a:lnTo>
                  <a:pt x="6681912" y="1451150"/>
                </a:lnTo>
                <a:lnTo>
                  <a:pt x="6680610" y="1453423"/>
                </a:lnTo>
                <a:lnTo>
                  <a:pt x="6681695" y="1455480"/>
                </a:lnTo>
                <a:lnTo>
                  <a:pt x="6682134" y="1455611"/>
                </a:lnTo>
                <a:lnTo>
                  <a:pt x="6681152" y="1453750"/>
                </a:lnTo>
                <a:lnTo>
                  <a:pt x="6682454" y="1451368"/>
                </a:lnTo>
                <a:lnTo>
                  <a:pt x="6681695" y="1449094"/>
                </a:lnTo>
                <a:close/>
                <a:moveTo>
                  <a:pt x="1147997" y="1448768"/>
                </a:moveTo>
                <a:lnTo>
                  <a:pt x="1149516" y="1453640"/>
                </a:lnTo>
                <a:lnTo>
                  <a:pt x="1146912" y="1455481"/>
                </a:lnTo>
                <a:lnTo>
                  <a:pt x="1146912" y="1457105"/>
                </a:lnTo>
                <a:lnTo>
                  <a:pt x="1144850" y="1458513"/>
                </a:lnTo>
                <a:lnTo>
                  <a:pt x="1144850" y="1453099"/>
                </a:lnTo>
                <a:close/>
                <a:moveTo>
                  <a:pt x="6674508" y="1448661"/>
                </a:moveTo>
                <a:lnTo>
                  <a:pt x="6675401" y="1450175"/>
                </a:lnTo>
                <a:lnTo>
                  <a:pt x="6675721" y="1449939"/>
                </a:lnTo>
                <a:lnTo>
                  <a:pt x="6674967" y="1448661"/>
                </a:lnTo>
                <a:close/>
                <a:moveTo>
                  <a:pt x="2259291" y="1446637"/>
                </a:moveTo>
                <a:lnTo>
                  <a:pt x="2256386" y="1450501"/>
                </a:lnTo>
                <a:lnTo>
                  <a:pt x="2256494" y="1450501"/>
                </a:lnTo>
                <a:close/>
                <a:moveTo>
                  <a:pt x="3809910" y="1446495"/>
                </a:moveTo>
                <a:lnTo>
                  <a:pt x="3810670" y="1452666"/>
                </a:lnTo>
                <a:lnTo>
                  <a:pt x="3806546" y="1456456"/>
                </a:lnTo>
                <a:lnTo>
                  <a:pt x="3805244" y="1459920"/>
                </a:lnTo>
                <a:lnTo>
                  <a:pt x="3806655" y="1461003"/>
                </a:lnTo>
                <a:lnTo>
                  <a:pt x="3803725" y="1465226"/>
                </a:lnTo>
                <a:lnTo>
                  <a:pt x="3799493" y="1464144"/>
                </a:lnTo>
                <a:lnTo>
                  <a:pt x="3795478" y="1464793"/>
                </a:lnTo>
                <a:lnTo>
                  <a:pt x="3793308" y="1462952"/>
                </a:lnTo>
                <a:lnTo>
                  <a:pt x="3795369" y="1461328"/>
                </a:lnTo>
                <a:lnTo>
                  <a:pt x="3792874" y="1458621"/>
                </a:lnTo>
                <a:lnTo>
                  <a:pt x="3795478" y="1455373"/>
                </a:lnTo>
                <a:lnTo>
                  <a:pt x="3800469" y="1457647"/>
                </a:lnTo>
                <a:lnTo>
                  <a:pt x="3799276" y="1454074"/>
                </a:lnTo>
                <a:close/>
                <a:moveTo>
                  <a:pt x="1128030" y="1442814"/>
                </a:moveTo>
                <a:lnTo>
                  <a:pt x="1131286" y="1447253"/>
                </a:lnTo>
                <a:lnTo>
                  <a:pt x="1133130" y="1452559"/>
                </a:lnTo>
                <a:lnTo>
                  <a:pt x="1130418" y="1457106"/>
                </a:lnTo>
                <a:lnTo>
                  <a:pt x="1130201" y="1453641"/>
                </a:lnTo>
                <a:lnTo>
                  <a:pt x="1127271" y="1451584"/>
                </a:lnTo>
                <a:close/>
                <a:moveTo>
                  <a:pt x="3863627" y="1442272"/>
                </a:moveTo>
                <a:lnTo>
                  <a:pt x="3868293" y="1442272"/>
                </a:lnTo>
                <a:lnTo>
                  <a:pt x="3868509" y="1444113"/>
                </a:lnTo>
                <a:lnTo>
                  <a:pt x="3866665" y="1447036"/>
                </a:lnTo>
                <a:lnTo>
                  <a:pt x="3868293" y="1448768"/>
                </a:lnTo>
                <a:lnTo>
                  <a:pt x="3866773" y="1452990"/>
                </a:lnTo>
                <a:lnTo>
                  <a:pt x="3863627" y="1454074"/>
                </a:lnTo>
                <a:lnTo>
                  <a:pt x="3860914" y="1458621"/>
                </a:lnTo>
                <a:lnTo>
                  <a:pt x="3851581" y="1465658"/>
                </a:lnTo>
                <a:lnTo>
                  <a:pt x="3850821" y="1468473"/>
                </a:lnTo>
                <a:lnTo>
                  <a:pt x="3848868" y="1469772"/>
                </a:lnTo>
                <a:lnTo>
                  <a:pt x="3852232" y="1470963"/>
                </a:lnTo>
                <a:lnTo>
                  <a:pt x="3854945" y="1469448"/>
                </a:lnTo>
                <a:lnTo>
                  <a:pt x="3851147" y="1475511"/>
                </a:lnTo>
                <a:lnTo>
                  <a:pt x="3847675" y="1479517"/>
                </a:lnTo>
                <a:lnTo>
                  <a:pt x="3848434" y="1480383"/>
                </a:lnTo>
                <a:lnTo>
                  <a:pt x="3851038" y="1478218"/>
                </a:lnTo>
                <a:lnTo>
                  <a:pt x="3852666" y="1478326"/>
                </a:lnTo>
                <a:lnTo>
                  <a:pt x="3856573" y="1476161"/>
                </a:lnTo>
                <a:lnTo>
                  <a:pt x="3860154" y="1475078"/>
                </a:lnTo>
                <a:lnTo>
                  <a:pt x="3860479" y="1473778"/>
                </a:lnTo>
                <a:lnTo>
                  <a:pt x="3863083" y="1473670"/>
                </a:lnTo>
                <a:lnTo>
                  <a:pt x="3866665" y="1474970"/>
                </a:lnTo>
                <a:lnTo>
                  <a:pt x="3869486" y="1474970"/>
                </a:lnTo>
                <a:lnTo>
                  <a:pt x="3871222" y="1473778"/>
                </a:lnTo>
                <a:lnTo>
                  <a:pt x="3877191" y="1474861"/>
                </a:lnTo>
                <a:lnTo>
                  <a:pt x="3886740" y="1474537"/>
                </a:lnTo>
                <a:lnTo>
                  <a:pt x="3887934" y="1473562"/>
                </a:lnTo>
                <a:lnTo>
                  <a:pt x="3893468" y="1478651"/>
                </a:lnTo>
                <a:lnTo>
                  <a:pt x="3893468" y="1482332"/>
                </a:lnTo>
                <a:lnTo>
                  <a:pt x="3889670" y="1485580"/>
                </a:lnTo>
                <a:lnTo>
                  <a:pt x="3887717" y="1491318"/>
                </a:lnTo>
                <a:lnTo>
                  <a:pt x="3888585" y="1492726"/>
                </a:lnTo>
                <a:lnTo>
                  <a:pt x="3886306" y="1496840"/>
                </a:lnTo>
                <a:lnTo>
                  <a:pt x="3886523" y="1498897"/>
                </a:lnTo>
                <a:lnTo>
                  <a:pt x="3884570" y="1501712"/>
                </a:lnTo>
                <a:lnTo>
                  <a:pt x="3881423" y="1507884"/>
                </a:lnTo>
                <a:lnTo>
                  <a:pt x="3879252" y="1509291"/>
                </a:lnTo>
                <a:lnTo>
                  <a:pt x="3878710" y="1511781"/>
                </a:lnTo>
                <a:lnTo>
                  <a:pt x="3875563" y="1514488"/>
                </a:lnTo>
                <a:lnTo>
                  <a:pt x="3870029" y="1514163"/>
                </a:lnTo>
                <a:lnTo>
                  <a:pt x="3865580" y="1517520"/>
                </a:lnTo>
                <a:lnTo>
                  <a:pt x="3866556" y="1518711"/>
                </a:lnTo>
                <a:lnTo>
                  <a:pt x="3872416" y="1515571"/>
                </a:lnTo>
                <a:lnTo>
                  <a:pt x="3874153" y="1516871"/>
                </a:lnTo>
                <a:lnTo>
                  <a:pt x="3874478" y="1519361"/>
                </a:lnTo>
                <a:lnTo>
                  <a:pt x="3878710" y="1521418"/>
                </a:lnTo>
                <a:lnTo>
                  <a:pt x="3874478" y="1524557"/>
                </a:lnTo>
                <a:lnTo>
                  <a:pt x="3869920" y="1524341"/>
                </a:lnTo>
                <a:lnTo>
                  <a:pt x="3868509" y="1527914"/>
                </a:lnTo>
                <a:lnTo>
                  <a:pt x="3864060" y="1529430"/>
                </a:lnTo>
                <a:lnTo>
                  <a:pt x="3858634" y="1528997"/>
                </a:lnTo>
                <a:lnTo>
                  <a:pt x="3855922" y="1527589"/>
                </a:lnTo>
                <a:lnTo>
                  <a:pt x="3857224" y="1530079"/>
                </a:lnTo>
                <a:lnTo>
                  <a:pt x="3861782" y="1531487"/>
                </a:lnTo>
                <a:lnTo>
                  <a:pt x="3864495" y="1531162"/>
                </a:lnTo>
                <a:lnTo>
                  <a:pt x="3870029" y="1533002"/>
                </a:lnTo>
                <a:lnTo>
                  <a:pt x="3874044" y="1530404"/>
                </a:lnTo>
                <a:lnTo>
                  <a:pt x="3876106" y="1528563"/>
                </a:lnTo>
                <a:lnTo>
                  <a:pt x="3881097" y="1530512"/>
                </a:lnTo>
                <a:lnTo>
                  <a:pt x="3884245" y="1533111"/>
                </a:lnTo>
                <a:lnTo>
                  <a:pt x="3888260" y="1533977"/>
                </a:lnTo>
                <a:lnTo>
                  <a:pt x="3894879" y="1543938"/>
                </a:lnTo>
                <a:lnTo>
                  <a:pt x="3897158" y="1543938"/>
                </a:lnTo>
                <a:lnTo>
                  <a:pt x="3899437" y="1547619"/>
                </a:lnTo>
                <a:lnTo>
                  <a:pt x="3901498" y="1558663"/>
                </a:lnTo>
                <a:lnTo>
                  <a:pt x="3904320" y="1563318"/>
                </a:lnTo>
                <a:lnTo>
                  <a:pt x="3906925" y="1571980"/>
                </a:lnTo>
                <a:lnTo>
                  <a:pt x="3908661" y="1573062"/>
                </a:lnTo>
                <a:lnTo>
                  <a:pt x="3909095" y="1576203"/>
                </a:lnTo>
                <a:lnTo>
                  <a:pt x="3917017" y="1578043"/>
                </a:lnTo>
                <a:lnTo>
                  <a:pt x="3922659" y="1580966"/>
                </a:lnTo>
                <a:lnTo>
                  <a:pt x="3926458" y="1587787"/>
                </a:lnTo>
                <a:lnTo>
                  <a:pt x="3927760" y="1588004"/>
                </a:lnTo>
                <a:lnTo>
                  <a:pt x="3929170" y="1590386"/>
                </a:lnTo>
                <a:lnTo>
                  <a:pt x="3932317" y="1592119"/>
                </a:lnTo>
                <a:lnTo>
                  <a:pt x="3930581" y="1592768"/>
                </a:lnTo>
                <a:lnTo>
                  <a:pt x="3928736" y="1595799"/>
                </a:lnTo>
                <a:lnTo>
                  <a:pt x="3931666" y="1599589"/>
                </a:lnTo>
                <a:lnTo>
                  <a:pt x="3938069" y="1607601"/>
                </a:lnTo>
                <a:lnTo>
                  <a:pt x="3935790" y="1607060"/>
                </a:lnTo>
                <a:lnTo>
                  <a:pt x="3933294" y="1607493"/>
                </a:lnTo>
                <a:lnTo>
                  <a:pt x="3931449" y="1605544"/>
                </a:lnTo>
                <a:lnTo>
                  <a:pt x="3929279" y="1604570"/>
                </a:lnTo>
                <a:lnTo>
                  <a:pt x="3925698" y="1605327"/>
                </a:lnTo>
                <a:lnTo>
                  <a:pt x="3923636" y="1604786"/>
                </a:lnTo>
                <a:lnTo>
                  <a:pt x="3920380" y="1605652"/>
                </a:lnTo>
                <a:lnTo>
                  <a:pt x="3922117" y="1605652"/>
                </a:lnTo>
                <a:lnTo>
                  <a:pt x="3925047" y="1606627"/>
                </a:lnTo>
                <a:lnTo>
                  <a:pt x="3926675" y="1606085"/>
                </a:lnTo>
                <a:lnTo>
                  <a:pt x="3929170" y="1605652"/>
                </a:lnTo>
                <a:lnTo>
                  <a:pt x="3931124" y="1609009"/>
                </a:lnTo>
                <a:lnTo>
                  <a:pt x="3935899" y="1611715"/>
                </a:lnTo>
                <a:lnTo>
                  <a:pt x="3938069" y="1612148"/>
                </a:lnTo>
                <a:lnTo>
                  <a:pt x="3943495" y="1620918"/>
                </a:lnTo>
                <a:lnTo>
                  <a:pt x="3943495" y="1625141"/>
                </a:lnTo>
                <a:lnTo>
                  <a:pt x="3936658" y="1631962"/>
                </a:lnTo>
                <a:lnTo>
                  <a:pt x="3940999" y="1633045"/>
                </a:lnTo>
                <a:lnTo>
                  <a:pt x="3944580" y="1637159"/>
                </a:lnTo>
                <a:lnTo>
                  <a:pt x="3946425" y="1634127"/>
                </a:lnTo>
                <a:lnTo>
                  <a:pt x="3946967" y="1629039"/>
                </a:lnTo>
                <a:lnTo>
                  <a:pt x="3953912" y="1628822"/>
                </a:lnTo>
                <a:lnTo>
                  <a:pt x="3964981" y="1629363"/>
                </a:lnTo>
                <a:lnTo>
                  <a:pt x="3972902" y="1635535"/>
                </a:lnTo>
                <a:lnTo>
                  <a:pt x="3973987" y="1641382"/>
                </a:lnTo>
                <a:lnTo>
                  <a:pt x="3976049" y="1643980"/>
                </a:lnTo>
                <a:lnTo>
                  <a:pt x="3973445" y="1650368"/>
                </a:lnTo>
                <a:lnTo>
                  <a:pt x="3973011" y="1657297"/>
                </a:lnTo>
                <a:lnTo>
                  <a:pt x="3970298" y="1658380"/>
                </a:lnTo>
                <a:lnTo>
                  <a:pt x="3967476" y="1662061"/>
                </a:lnTo>
                <a:lnTo>
                  <a:pt x="3966826" y="1660220"/>
                </a:lnTo>
                <a:lnTo>
                  <a:pt x="3964330" y="1659679"/>
                </a:lnTo>
                <a:lnTo>
                  <a:pt x="3962810" y="1662169"/>
                </a:lnTo>
                <a:lnTo>
                  <a:pt x="3966717" y="1662602"/>
                </a:lnTo>
                <a:lnTo>
                  <a:pt x="3965632" y="1664335"/>
                </a:lnTo>
                <a:lnTo>
                  <a:pt x="3967259" y="1664659"/>
                </a:lnTo>
                <a:lnTo>
                  <a:pt x="3965849" y="1666716"/>
                </a:lnTo>
                <a:lnTo>
                  <a:pt x="3962485" y="1669207"/>
                </a:lnTo>
                <a:lnTo>
                  <a:pt x="3960315" y="1667367"/>
                </a:lnTo>
                <a:lnTo>
                  <a:pt x="3958361" y="1669315"/>
                </a:lnTo>
                <a:lnTo>
                  <a:pt x="3955648" y="1671697"/>
                </a:lnTo>
                <a:lnTo>
                  <a:pt x="3959338" y="1671697"/>
                </a:lnTo>
                <a:lnTo>
                  <a:pt x="3960315" y="1674837"/>
                </a:lnTo>
                <a:lnTo>
                  <a:pt x="3956734" y="1676569"/>
                </a:lnTo>
                <a:lnTo>
                  <a:pt x="3953695" y="1676245"/>
                </a:lnTo>
                <a:lnTo>
                  <a:pt x="3949138" y="1679384"/>
                </a:lnTo>
                <a:lnTo>
                  <a:pt x="3952393" y="1678193"/>
                </a:lnTo>
                <a:lnTo>
                  <a:pt x="3956082" y="1679168"/>
                </a:lnTo>
                <a:lnTo>
                  <a:pt x="3955757" y="1679926"/>
                </a:lnTo>
                <a:lnTo>
                  <a:pt x="3954455" y="1680142"/>
                </a:lnTo>
                <a:lnTo>
                  <a:pt x="3953044" y="1681549"/>
                </a:lnTo>
                <a:lnTo>
                  <a:pt x="3954563" y="1681875"/>
                </a:lnTo>
                <a:lnTo>
                  <a:pt x="3958687" y="1683390"/>
                </a:lnTo>
                <a:lnTo>
                  <a:pt x="3961292" y="1682957"/>
                </a:lnTo>
                <a:lnTo>
                  <a:pt x="3965740" y="1681225"/>
                </a:lnTo>
                <a:lnTo>
                  <a:pt x="3971926" y="1681008"/>
                </a:lnTo>
                <a:lnTo>
                  <a:pt x="3970841" y="1683932"/>
                </a:lnTo>
                <a:lnTo>
                  <a:pt x="3971818" y="1686314"/>
                </a:lnTo>
                <a:lnTo>
                  <a:pt x="3971600" y="1689887"/>
                </a:lnTo>
                <a:lnTo>
                  <a:pt x="3968128" y="1690644"/>
                </a:lnTo>
                <a:lnTo>
                  <a:pt x="3962593" y="1694434"/>
                </a:lnTo>
                <a:lnTo>
                  <a:pt x="3963136" y="1697032"/>
                </a:lnTo>
                <a:lnTo>
                  <a:pt x="3960748" y="1696491"/>
                </a:lnTo>
                <a:lnTo>
                  <a:pt x="3958361" y="1696708"/>
                </a:lnTo>
                <a:lnTo>
                  <a:pt x="3954889" y="1699848"/>
                </a:lnTo>
                <a:lnTo>
                  <a:pt x="3951091" y="1700605"/>
                </a:lnTo>
                <a:lnTo>
                  <a:pt x="3947509" y="1703528"/>
                </a:lnTo>
                <a:lnTo>
                  <a:pt x="3945231" y="1703095"/>
                </a:lnTo>
                <a:lnTo>
                  <a:pt x="3940456" y="1701580"/>
                </a:lnTo>
                <a:lnTo>
                  <a:pt x="3935573" y="1702554"/>
                </a:lnTo>
                <a:lnTo>
                  <a:pt x="3927760" y="1702663"/>
                </a:lnTo>
                <a:lnTo>
                  <a:pt x="3924395" y="1704936"/>
                </a:lnTo>
                <a:lnTo>
                  <a:pt x="3921357" y="1703204"/>
                </a:lnTo>
                <a:lnTo>
                  <a:pt x="3920706" y="1701471"/>
                </a:lnTo>
                <a:lnTo>
                  <a:pt x="3918210" y="1703312"/>
                </a:lnTo>
                <a:lnTo>
                  <a:pt x="3916365" y="1703528"/>
                </a:lnTo>
                <a:lnTo>
                  <a:pt x="3912892" y="1702771"/>
                </a:lnTo>
                <a:lnTo>
                  <a:pt x="3907901" y="1706019"/>
                </a:lnTo>
                <a:lnTo>
                  <a:pt x="3904428" y="1705044"/>
                </a:lnTo>
                <a:lnTo>
                  <a:pt x="3899220" y="1707643"/>
                </a:lnTo>
                <a:lnTo>
                  <a:pt x="3897809" y="1711216"/>
                </a:lnTo>
                <a:lnTo>
                  <a:pt x="3894771" y="1710133"/>
                </a:lnTo>
                <a:lnTo>
                  <a:pt x="3889128" y="1709916"/>
                </a:lnTo>
                <a:lnTo>
                  <a:pt x="3887283" y="1710675"/>
                </a:lnTo>
                <a:lnTo>
                  <a:pt x="3882183" y="1707102"/>
                </a:lnTo>
                <a:lnTo>
                  <a:pt x="3877625" y="1706777"/>
                </a:lnTo>
                <a:lnTo>
                  <a:pt x="3869161" y="1708726"/>
                </a:lnTo>
                <a:lnTo>
                  <a:pt x="3868293" y="1710350"/>
                </a:lnTo>
                <a:lnTo>
                  <a:pt x="3866122" y="1710675"/>
                </a:lnTo>
                <a:lnTo>
                  <a:pt x="3863518" y="1713165"/>
                </a:lnTo>
                <a:lnTo>
                  <a:pt x="3864277" y="1717387"/>
                </a:lnTo>
                <a:lnTo>
                  <a:pt x="3863518" y="1719661"/>
                </a:lnTo>
                <a:lnTo>
                  <a:pt x="3860479" y="1721068"/>
                </a:lnTo>
                <a:lnTo>
                  <a:pt x="3861239" y="1723450"/>
                </a:lnTo>
                <a:lnTo>
                  <a:pt x="3857441" y="1723667"/>
                </a:lnTo>
                <a:lnTo>
                  <a:pt x="3854186" y="1720960"/>
                </a:lnTo>
                <a:lnTo>
                  <a:pt x="3851798" y="1721177"/>
                </a:lnTo>
                <a:lnTo>
                  <a:pt x="3849844" y="1718470"/>
                </a:lnTo>
                <a:lnTo>
                  <a:pt x="3847783" y="1719553"/>
                </a:lnTo>
                <a:lnTo>
                  <a:pt x="3845070" y="1719120"/>
                </a:lnTo>
                <a:lnTo>
                  <a:pt x="3841597" y="1720744"/>
                </a:lnTo>
                <a:lnTo>
                  <a:pt x="3837148" y="1719553"/>
                </a:lnTo>
                <a:lnTo>
                  <a:pt x="3835737" y="1723017"/>
                </a:lnTo>
                <a:lnTo>
                  <a:pt x="3833784" y="1723017"/>
                </a:lnTo>
                <a:lnTo>
                  <a:pt x="3830963" y="1725832"/>
                </a:lnTo>
                <a:lnTo>
                  <a:pt x="3829769" y="1724316"/>
                </a:lnTo>
                <a:lnTo>
                  <a:pt x="3827382" y="1727456"/>
                </a:lnTo>
                <a:lnTo>
                  <a:pt x="3828575" y="1729297"/>
                </a:lnTo>
                <a:lnTo>
                  <a:pt x="3825971" y="1731679"/>
                </a:lnTo>
                <a:lnTo>
                  <a:pt x="3823909" y="1727889"/>
                </a:lnTo>
                <a:lnTo>
                  <a:pt x="3818700" y="1726590"/>
                </a:lnTo>
                <a:lnTo>
                  <a:pt x="3818484" y="1729838"/>
                </a:lnTo>
                <a:lnTo>
                  <a:pt x="3814251" y="1729513"/>
                </a:lnTo>
                <a:lnTo>
                  <a:pt x="3814251" y="1725940"/>
                </a:lnTo>
                <a:lnTo>
                  <a:pt x="3818158" y="1723234"/>
                </a:lnTo>
                <a:lnTo>
                  <a:pt x="3820653" y="1724100"/>
                </a:lnTo>
                <a:lnTo>
                  <a:pt x="3826297" y="1720094"/>
                </a:lnTo>
                <a:lnTo>
                  <a:pt x="3827382" y="1717604"/>
                </a:lnTo>
                <a:lnTo>
                  <a:pt x="3829335" y="1717495"/>
                </a:lnTo>
                <a:lnTo>
                  <a:pt x="3830529" y="1712840"/>
                </a:lnTo>
                <a:lnTo>
                  <a:pt x="3835195" y="1712082"/>
                </a:lnTo>
                <a:lnTo>
                  <a:pt x="3836280" y="1709916"/>
                </a:lnTo>
                <a:lnTo>
                  <a:pt x="3840404" y="1706127"/>
                </a:lnTo>
                <a:lnTo>
                  <a:pt x="3841055" y="1698007"/>
                </a:lnTo>
                <a:lnTo>
                  <a:pt x="3844962" y="1698007"/>
                </a:lnTo>
                <a:lnTo>
                  <a:pt x="3847891" y="1695083"/>
                </a:lnTo>
                <a:lnTo>
                  <a:pt x="3847783" y="1691510"/>
                </a:lnTo>
                <a:lnTo>
                  <a:pt x="3854945" y="1689670"/>
                </a:lnTo>
                <a:lnTo>
                  <a:pt x="3864820" y="1690753"/>
                </a:lnTo>
                <a:lnTo>
                  <a:pt x="3868401" y="1692702"/>
                </a:lnTo>
                <a:lnTo>
                  <a:pt x="3871440" y="1691510"/>
                </a:lnTo>
                <a:lnTo>
                  <a:pt x="3875346" y="1691727"/>
                </a:lnTo>
                <a:lnTo>
                  <a:pt x="3875563" y="1685339"/>
                </a:lnTo>
                <a:lnTo>
                  <a:pt x="3881315" y="1679818"/>
                </a:lnTo>
                <a:lnTo>
                  <a:pt x="3886957" y="1673213"/>
                </a:lnTo>
                <a:lnTo>
                  <a:pt x="3882833" y="1675161"/>
                </a:lnTo>
                <a:lnTo>
                  <a:pt x="3880989" y="1677977"/>
                </a:lnTo>
                <a:lnTo>
                  <a:pt x="3875997" y="1679818"/>
                </a:lnTo>
                <a:lnTo>
                  <a:pt x="3872308" y="1681333"/>
                </a:lnTo>
                <a:lnTo>
                  <a:pt x="3870571" y="1684365"/>
                </a:lnTo>
                <a:lnTo>
                  <a:pt x="3862867" y="1684473"/>
                </a:lnTo>
                <a:lnTo>
                  <a:pt x="3859829" y="1680900"/>
                </a:lnTo>
                <a:lnTo>
                  <a:pt x="3856356" y="1676894"/>
                </a:lnTo>
                <a:lnTo>
                  <a:pt x="3852991" y="1677869"/>
                </a:lnTo>
                <a:lnTo>
                  <a:pt x="3852991" y="1679168"/>
                </a:lnTo>
                <a:lnTo>
                  <a:pt x="3846263" y="1678951"/>
                </a:lnTo>
                <a:lnTo>
                  <a:pt x="3846806" y="1676677"/>
                </a:lnTo>
                <a:lnTo>
                  <a:pt x="3850713" y="1675595"/>
                </a:lnTo>
                <a:lnTo>
                  <a:pt x="3845830" y="1674404"/>
                </a:lnTo>
                <a:lnTo>
                  <a:pt x="3845287" y="1671589"/>
                </a:lnTo>
                <a:lnTo>
                  <a:pt x="3839102" y="1673646"/>
                </a:lnTo>
                <a:lnTo>
                  <a:pt x="3835412" y="1675920"/>
                </a:lnTo>
                <a:lnTo>
                  <a:pt x="3832048" y="1676894"/>
                </a:lnTo>
                <a:lnTo>
                  <a:pt x="3829878" y="1675595"/>
                </a:lnTo>
                <a:lnTo>
                  <a:pt x="3831288" y="1674187"/>
                </a:lnTo>
                <a:lnTo>
                  <a:pt x="3825537" y="1673213"/>
                </a:lnTo>
                <a:lnTo>
                  <a:pt x="3828793" y="1671697"/>
                </a:lnTo>
                <a:lnTo>
                  <a:pt x="3828466" y="1668341"/>
                </a:lnTo>
                <a:lnTo>
                  <a:pt x="3823909" y="1667691"/>
                </a:lnTo>
                <a:lnTo>
                  <a:pt x="3829661" y="1664010"/>
                </a:lnTo>
                <a:lnTo>
                  <a:pt x="3833241" y="1664010"/>
                </a:lnTo>
                <a:lnTo>
                  <a:pt x="3838125" y="1660978"/>
                </a:lnTo>
                <a:lnTo>
                  <a:pt x="3839970" y="1660870"/>
                </a:lnTo>
                <a:lnTo>
                  <a:pt x="3843768" y="1658055"/>
                </a:lnTo>
                <a:lnTo>
                  <a:pt x="3847566" y="1656756"/>
                </a:lnTo>
                <a:lnTo>
                  <a:pt x="3852775" y="1646686"/>
                </a:lnTo>
                <a:lnTo>
                  <a:pt x="3850930" y="1646253"/>
                </a:lnTo>
                <a:lnTo>
                  <a:pt x="3849193" y="1643006"/>
                </a:lnTo>
                <a:lnTo>
                  <a:pt x="3852232" y="1640840"/>
                </a:lnTo>
                <a:lnTo>
                  <a:pt x="3849411" y="1637917"/>
                </a:lnTo>
                <a:lnTo>
                  <a:pt x="3850062" y="1633694"/>
                </a:lnTo>
                <a:lnTo>
                  <a:pt x="3842032" y="1635860"/>
                </a:lnTo>
                <a:lnTo>
                  <a:pt x="3841489" y="1637917"/>
                </a:lnTo>
                <a:lnTo>
                  <a:pt x="3839644" y="1637267"/>
                </a:lnTo>
                <a:lnTo>
                  <a:pt x="3836063" y="1637917"/>
                </a:lnTo>
                <a:lnTo>
                  <a:pt x="3838559" y="1634452"/>
                </a:lnTo>
                <a:lnTo>
                  <a:pt x="3844202" y="1630879"/>
                </a:lnTo>
                <a:lnTo>
                  <a:pt x="3848325" y="1625141"/>
                </a:lnTo>
                <a:lnTo>
                  <a:pt x="3856139" y="1621351"/>
                </a:lnTo>
                <a:lnTo>
                  <a:pt x="3859611" y="1621784"/>
                </a:lnTo>
                <a:lnTo>
                  <a:pt x="3867207" y="1619402"/>
                </a:lnTo>
                <a:lnTo>
                  <a:pt x="3870138" y="1622434"/>
                </a:lnTo>
                <a:lnTo>
                  <a:pt x="3873935" y="1623192"/>
                </a:lnTo>
                <a:lnTo>
                  <a:pt x="3871548" y="1621784"/>
                </a:lnTo>
                <a:lnTo>
                  <a:pt x="3869378" y="1617995"/>
                </a:lnTo>
                <a:lnTo>
                  <a:pt x="3871982" y="1617021"/>
                </a:lnTo>
                <a:lnTo>
                  <a:pt x="3874695" y="1620918"/>
                </a:lnTo>
                <a:lnTo>
                  <a:pt x="3877842" y="1620702"/>
                </a:lnTo>
                <a:lnTo>
                  <a:pt x="3879795" y="1619294"/>
                </a:lnTo>
                <a:lnTo>
                  <a:pt x="3876974" y="1618970"/>
                </a:lnTo>
                <a:lnTo>
                  <a:pt x="3873501" y="1616046"/>
                </a:lnTo>
                <a:lnTo>
                  <a:pt x="3870680" y="1612257"/>
                </a:lnTo>
                <a:lnTo>
                  <a:pt x="3873176" y="1607384"/>
                </a:lnTo>
                <a:lnTo>
                  <a:pt x="3871765" y="1600996"/>
                </a:lnTo>
                <a:lnTo>
                  <a:pt x="3876431" y="1597315"/>
                </a:lnTo>
                <a:lnTo>
                  <a:pt x="3874912" y="1596341"/>
                </a:lnTo>
                <a:lnTo>
                  <a:pt x="3876648" y="1590711"/>
                </a:lnTo>
                <a:lnTo>
                  <a:pt x="3871873" y="1589953"/>
                </a:lnTo>
                <a:lnTo>
                  <a:pt x="3868075" y="1594609"/>
                </a:lnTo>
                <a:lnTo>
                  <a:pt x="3868075" y="1589087"/>
                </a:lnTo>
                <a:lnTo>
                  <a:pt x="3865145" y="1590711"/>
                </a:lnTo>
                <a:lnTo>
                  <a:pt x="3859394" y="1580317"/>
                </a:lnTo>
                <a:lnTo>
                  <a:pt x="3864060" y="1566891"/>
                </a:lnTo>
                <a:lnTo>
                  <a:pt x="3871873" y="1564834"/>
                </a:lnTo>
                <a:lnTo>
                  <a:pt x="3860045" y="1564293"/>
                </a:lnTo>
                <a:lnTo>
                  <a:pt x="3858852" y="1568299"/>
                </a:lnTo>
                <a:lnTo>
                  <a:pt x="3854511" y="1568191"/>
                </a:lnTo>
                <a:lnTo>
                  <a:pt x="3854511" y="1570139"/>
                </a:lnTo>
                <a:lnTo>
                  <a:pt x="3849736" y="1570897"/>
                </a:lnTo>
                <a:lnTo>
                  <a:pt x="3843009" y="1566783"/>
                </a:lnTo>
                <a:lnTo>
                  <a:pt x="3840838" y="1567324"/>
                </a:lnTo>
                <a:lnTo>
                  <a:pt x="3844310" y="1570031"/>
                </a:lnTo>
                <a:lnTo>
                  <a:pt x="3844093" y="1574795"/>
                </a:lnTo>
                <a:lnTo>
                  <a:pt x="3835737" y="1568732"/>
                </a:lnTo>
                <a:lnTo>
                  <a:pt x="3832482" y="1569706"/>
                </a:lnTo>
                <a:lnTo>
                  <a:pt x="3834001" y="1575769"/>
                </a:lnTo>
                <a:lnTo>
                  <a:pt x="3829226" y="1569165"/>
                </a:lnTo>
                <a:lnTo>
                  <a:pt x="3829010" y="1564185"/>
                </a:lnTo>
                <a:lnTo>
                  <a:pt x="3832482" y="1566458"/>
                </a:lnTo>
                <a:lnTo>
                  <a:pt x="3831614" y="1561803"/>
                </a:lnTo>
                <a:lnTo>
                  <a:pt x="3835521" y="1551517"/>
                </a:lnTo>
                <a:lnTo>
                  <a:pt x="3839427" y="1547619"/>
                </a:lnTo>
                <a:lnTo>
                  <a:pt x="3837908" y="1543505"/>
                </a:lnTo>
                <a:lnTo>
                  <a:pt x="3835303" y="1542855"/>
                </a:lnTo>
                <a:lnTo>
                  <a:pt x="3834218" y="1538199"/>
                </a:lnTo>
                <a:lnTo>
                  <a:pt x="3835846" y="1531812"/>
                </a:lnTo>
                <a:lnTo>
                  <a:pt x="3840187" y="1533002"/>
                </a:lnTo>
                <a:lnTo>
                  <a:pt x="3835086" y="1529213"/>
                </a:lnTo>
                <a:lnTo>
                  <a:pt x="3835954" y="1524232"/>
                </a:lnTo>
                <a:lnTo>
                  <a:pt x="3833892" y="1525207"/>
                </a:lnTo>
                <a:lnTo>
                  <a:pt x="3834436" y="1529105"/>
                </a:lnTo>
                <a:lnTo>
                  <a:pt x="3832048" y="1534626"/>
                </a:lnTo>
                <a:lnTo>
                  <a:pt x="3830637" y="1529971"/>
                </a:lnTo>
                <a:lnTo>
                  <a:pt x="3827707" y="1532461"/>
                </a:lnTo>
                <a:lnTo>
                  <a:pt x="3827273" y="1535385"/>
                </a:lnTo>
                <a:lnTo>
                  <a:pt x="3825645" y="1534193"/>
                </a:lnTo>
                <a:lnTo>
                  <a:pt x="3826080" y="1529213"/>
                </a:lnTo>
                <a:lnTo>
                  <a:pt x="3830637" y="1522392"/>
                </a:lnTo>
                <a:lnTo>
                  <a:pt x="3824669" y="1529538"/>
                </a:lnTo>
                <a:lnTo>
                  <a:pt x="3822824" y="1529538"/>
                </a:lnTo>
                <a:lnTo>
                  <a:pt x="3824777" y="1537983"/>
                </a:lnTo>
                <a:lnTo>
                  <a:pt x="3822173" y="1541231"/>
                </a:lnTo>
                <a:lnTo>
                  <a:pt x="3822390" y="1544371"/>
                </a:lnTo>
                <a:lnTo>
                  <a:pt x="3820219" y="1549352"/>
                </a:lnTo>
                <a:lnTo>
                  <a:pt x="3820871" y="1552924"/>
                </a:lnTo>
                <a:lnTo>
                  <a:pt x="3815771" y="1552924"/>
                </a:lnTo>
                <a:lnTo>
                  <a:pt x="3815662" y="1551300"/>
                </a:lnTo>
                <a:lnTo>
                  <a:pt x="3817940" y="1549026"/>
                </a:lnTo>
                <a:lnTo>
                  <a:pt x="3818484" y="1542206"/>
                </a:lnTo>
                <a:lnTo>
                  <a:pt x="3821522" y="1537442"/>
                </a:lnTo>
                <a:lnTo>
                  <a:pt x="3819785" y="1538199"/>
                </a:lnTo>
                <a:lnTo>
                  <a:pt x="3818484" y="1536034"/>
                </a:lnTo>
                <a:lnTo>
                  <a:pt x="3820219" y="1533436"/>
                </a:lnTo>
                <a:lnTo>
                  <a:pt x="3819569" y="1528997"/>
                </a:lnTo>
                <a:lnTo>
                  <a:pt x="3822173" y="1522284"/>
                </a:lnTo>
                <a:lnTo>
                  <a:pt x="3820871" y="1521526"/>
                </a:lnTo>
                <a:lnTo>
                  <a:pt x="3823909" y="1515787"/>
                </a:lnTo>
                <a:lnTo>
                  <a:pt x="3823584" y="1514488"/>
                </a:lnTo>
                <a:lnTo>
                  <a:pt x="3825971" y="1508858"/>
                </a:lnTo>
                <a:lnTo>
                  <a:pt x="3828793" y="1507775"/>
                </a:lnTo>
                <a:lnTo>
                  <a:pt x="3827382" y="1506910"/>
                </a:lnTo>
                <a:lnTo>
                  <a:pt x="3828901" y="1503986"/>
                </a:lnTo>
                <a:lnTo>
                  <a:pt x="3819243" y="1513730"/>
                </a:lnTo>
                <a:lnTo>
                  <a:pt x="3817398" y="1511781"/>
                </a:lnTo>
                <a:lnTo>
                  <a:pt x="3816204" y="1512214"/>
                </a:lnTo>
                <a:lnTo>
                  <a:pt x="3812514" y="1508750"/>
                </a:lnTo>
                <a:lnTo>
                  <a:pt x="3815227" y="1508750"/>
                </a:lnTo>
                <a:lnTo>
                  <a:pt x="3815771" y="1507667"/>
                </a:lnTo>
                <a:lnTo>
                  <a:pt x="3813383" y="1507018"/>
                </a:lnTo>
                <a:lnTo>
                  <a:pt x="3809802" y="1507234"/>
                </a:lnTo>
                <a:lnTo>
                  <a:pt x="3808283" y="1506259"/>
                </a:lnTo>
                <a:lnTo>
                  <a:pt x="3810019" y="1504311"/>
                </a:lnTo>
                <a:lnTo>
                  <a:pt x="3814251" y="1504202"/>
                </a:lnTo>
                <a:lnTo>
                  <a:pt x="3816313" y="1502686"/>
                </a:lnTo>
                <a:lnTo>
                  <a:pt x="3817289" y="1500846"/>
                </a:lnTo>
                <a:lnTo>
                  <a:pt x="3815553" y="1499655"/>
                </a:lnTo>
                <a:lnTo>
                  <a:pt x="3816313" y="1496840"/>
                </a:lnTo>
                <a:lnTo>
                  <a:pt x="3820653" y="1498464"/>
                </a:lnTo>
                <a:lnTo>
                  <a:pt x="3820002" y="1496516"/>
                </a:lnTo>
                <a:lnTo>
                  <a:pt x="3817398" y="1495541"/>
                </a:lnTo>
                <a:lnTo>
                  <a:pt x="3818917" y="1493375"/>
                </a:lnTo>
                <a:lnTo>
                  <a:pt x="3821087" y="1493051"/>
                </a:lnTo>
                <a:lnTo>
                  <a:pt x="3819569" y="1491968"/>
                </a:lnTo>
                <a:lnTo>
                  <a:pt x="3820437" y="1489369"/>
                </a:lnTo>
                <a:lnTo>
                  <a:pt x="3821522" y="1488612"/>
                </a:lnTo>
                <a:lnTo>
                  <a:pt x="3824344" y="1489802"/>
                </a:lnTo>
                <a:lnTo>
                  <a:pt x="3822824" y="1487853"/>
                </a:lnTo>
                <a:lnTo>
                  <a:pt x="3823692" y="1486879"/>
                </a:lnTo>
                <a:lnTo>
                  <a:pt x="3819894" y="1488287"/>
                </a:lnTo>
                <a:lnTo>
                  <a:pt x="3818592" y="1487529"/>
                </a:lnTo>
                <a:lnTo>
                  <a:pt x="3819026" y="1486446"/>
                </a:lnTo>
                <a:lnTo>
                  <a:pt x="3822932" y="1484498"/>
                </a:lnTo>
                <a:lnTo>
                  <a:pt x="3816964" y="1485472"/>
                </a:lnTo>
                <a:lnTo>
                  <a:pt x="3817072" y="1483739"/>
                </a:lnTo>
                <a:lnTo>
                  <a:pt x="3816313" y="1478434"/>
                </a:lnTo>
                <a:lnTo>
                  <a:pt x="3819569" y="1480275"/>
                </a:lnTo>
                <a:lnTo>
                  <a:pt x="3822824" y="1479084"/>
                </a:lnTo>
                <a:lnTo>
                  <a:pt x="3820111" y="1478976"/>
                </a:lnTo>
                <a:lnTo>
                  <a:pt x="3817289" y="1475835"/>
                </a:lnTo>
                <a:lnTo>
                  <a:pt x="3818700" y="1473887"/>
                </a:lnTo>
                <a:lnTo>
                  <a:pt x="3816856" y="1471829"/>
                </a:lnTo>
                <a:lnTo>
                  <a:pt x="3818484" y="1468149"/>
                </a:lnTo>
                <a:lnTo>
                  <a:pt x="3820328" y="1471721"/>
                </a:lnTo>
                <a:lnTo>
                  <a:pt x="3821413" y="1469989"/>
                </a:lnTo>
                <a:lnTo>
                  <a:pt x="3820545" y="1467824"/>
                </a:lnTo>
                <a:lnTo>
                  <a:pt x="3820653" y="1466200"/>
                </a:lnTo>
                <a:lnTo>
                  <a:pt x="3824126" y="1468473"/>
                </a:lnTo>
                <a:lnTo>
                  <a:pt x="3825862" y="1466957"/>
                </a:lnTo>
                <a:lnTo>
                  <a:pt x="3830529" y="1469339"/>
                </a:lnTo>
                <a:lnTo>
                  <a:pt x="3828901" y="1466416"/>
                </a:lnTo>
                <a:lnTo>
                  <a:pt x="3824344" y="1462302"/>
                </a:lnTo>
                <a:lnTo>
                  <a:pt x="3826188" y="1462194"/>
                </a:lnTo>
                <a:lnTo>
                  <a:pt x="3827816" y="1458945"/>
                </a:lnTo>
                <a:lnTo>
                  <a:pt x="3825971" y="1455806"/>
                </a:lnTo>
                <a:lnTo>
                  <a:pt x="3829878" y="1454939"/>
                </a:lnTo>
                <a:lnTo>
                  <a:pt x="3829661" y="1451150"/>
                </a:lnTo>
                <a:lnTo>
                  <a:pt x="3830746" y="1451150"/>
                </a:lnTo>
                <a:lnTo>
                  <a:pt x="3830203" y="1448119"/>
                </a:lnTo>
                <a:lnTo>
                  <a:pt x="3832048" y="1446711"/>
                </a:lnTo>
                <a:lnTo>
                  <a:pt x="3832916" y="1443354"/>
                </a:lnTo>
                <a:lnTo>
                  <a:pt x="3838234" y="1445845"/>
                </a:lnTo>
                <a:lnTo>
                  <a:pt x="3837039" y="1448876"/>
                </a:lnTo>
                <a:lnTo>
                  <a:pt x="3840946" y="1445411"/>
                </a:lnTo>
                <a:lnTo>
                  <a:pt x="3842900" y="1446278"/>
                </a:lnTo>
                <a:lnTo>
                  <a:pt x="3842465" y="1448335"/>
                </a:lnTo>
                <a:lnTo>
                  <a:pt x="3844527" y="1446494"/>
                </a:lnTo>
                <a:lnTo>
                  <a:pt x="3846480" y="1446386"/>
                </a:lnTo>
                <a:lnTo>
                  <a:pt x="3850062" y="1444978"/>
                </a:lnTo>
                <a:lnTo>
                  <a:pt x="3854186" y="1445411"/>
                </a:lnTo>
                <a:lnTo>
                  <a:pt x="3858634" y="1443354"/>
                </a:lnTo>
                <a:lnTo>
                  <a:pt x="3861673" y="1444329"/>
                </a:lnTo>
                <a:close/>
                <a:moveTo>
                  <a:pt x="6670155" y="1441445"/>
                </a:moveTo>
                <a:lnTo>
                  <a:pt x="6671494" y="1443354"/>
                </a:lnTo>
                <a:lnTo>
                  <a:pt x="6670843" y="1445844"/>
                </a:lnTo>
                <a:lnTo>
                  <a:pt x="6671602" y="1448334"/>
                </a:lnTo>
                <a:lnTo>
                  <a:pt x="6672150" y="1448334"/>
                </a:lnTo>
                <a:lnTo>
                  <a:pt x="6671494" y="1446279"/>
                </a:lnTo>
                <a:lnTo>
                  <a:pt x="6672146" y="1443789"/>
                </a:lnTo>
                <a:lnTo>
                  <a:pt x="6670627" y="1441623"/>
                </a:lnTo>
                <a:close/>
                <a:moveTo>
                  <a:pt x="4328947" y="1441082"/>
                </a:moveTo>
                <a:lnTo>
                  <a:pt x="4331442" y="1443139"/>
                </a:lnTo>
                <a:lnTo>
                  <a:pt x="4328947" y="1446278"/>
                </a:lnTo>
                <a:lnTo>
                  <a:pt x="4326885" y="1442381"/>
                </a:lnTo>
                <a:close/>
                <a:moveTo>
                  <a:pt x="2262029" y="1440431"/>
                </a:moveTo>
                <a:lnTo>
                  <a:pt x="2255626" y="1446927"/>
                </a:lnTo>
                <a:lnTo>
                  <a:pt x="2255554" y="1447325"/>
                </a:lnTo>
                <a:lnTo>
                  <a:pt x="2261773" y="1441014"/>
                </a:lnTo>
                <a:close/>
                <a:moveTo>
                  <a:pt x="2272122" y="1440216"/>
                </a:moveTo>
                <a:lnTo>
                  <a:pt x="2273532" y="1440216"/>
                </a:lnTo>
                <a:lnTo>
                  <a:pt x="2273532" y="1445846"/>
                </a:lnTo>
                <a:lnTo>
                  <a:pt x="2269735" y="1447904"/>
                </a:lnTo>
                <a:lnTo>
                  <a:pt x="2267890" y="1447904"/>
                </a:lnTo>
                <a:lnTo>
                  <a:pt x="2271037" y="1443897"/>
                </a:lnTo>
                <a:close/>
                <a:moveTo>
                  <a:pt x="6662596" y="1437726"/>
                </a:moveTo>
                <a:lnTo>
                  <a:pt x="6662286" y="1437880"/>
                </a:lnTo>
                <a:lnTo>
                  <a:pt x="6664441" y="1440322"/>
                </a:lnTo>
                <a:lnTo>
                  <a:pt x="6664931" y="1440258"/>
                </a:lnTo>
                <a:close/>
                <a:moveTo>
                  <a:pt x="6655326" y="1437726"/>
                </a:moveTo>
                <a:lnTo>
                  <a:pt x="6655316" y="1437732"/>
                </a:lnTo>
                <a:lnTo>
                  <a:pt x="6656844" y="1438374"/>
                </a:lnTo>
                <a:lnTo>
                  <a:pt x="6656869" y="1438374"/>
                </a:lnTo>
                <a:close/>
                <a:moveTo>
                  <a:pt x="7377287" y="1436859"/>
                </a:moveTo>
                <a:lnTo>
                  <a:pt x="7384883" y="1443463"/>
                </a:lnTo>
                <a:lnTo>
                  <a:pt x="7386294" y="1448119"/>
                </a:lnTo>
                <a:lnTo>
                  <a:pt x="7383689" y="1450501"/>
                </a:lnTo>
                <a:lnTo>
                  <a:pt x="7382929" y="1454291"/>
                </a:lnTo>
                <a:lnTo>
                  <a:pt x="7383255" y="1459271"/>
                </a:lnTo>
                <a:lnTo>
                  <a:pt x="7380434" y="1463601"/>
                </a:lnTo>
                <a:lnTo>
                  <a:pt x="7376527" y="1465550"/>
                </a:lnTo>
                <a:lnTo>
                  <a:pt x="7375876" y="1469340"/>
                </a:lnTo>
                <a:lnTo>
                  <a:pt x="7375767" y="1474754"/>
                </a:lnTo>
                <a:lnTo>
                  <a:pt x="7374031" y="1474536"/>
                </a:lnTo>
                <a:lnTo>
                  <a:pt x="7372513" y="1472046"/>
                </a:lnTo>
                <a:lnTo>
                  <a:pt x="7368171" y="1472263"/>
                </a:lnTo>
                <a:lnTo>
                  <a:pt x="7367086" y="1470748"/>
                </a:lnTo>
                <a:lnTo>
                  <a:pt x="7369799" y="1469232"/>
                </a:lnTo>
                <a:lnTo>
                  <a:pt x="7369799" y="1465550"/>
                </a:lnTo>
                <a:lnTo>
                  <a:pt x="7366218" y="1461328"/>
                </a:lnTo>
                <a:lnTo>
                  <a:pt x="7366652" y="1460028"/>
                </a:lnTo>
                <a:lnTo>
                  <a:pt x="7369582" y="1459704"/>
                </a:lnTo>
                <a:lnTo>
                  <a:pt x="7372295" y="1455265"/>
                </a:lnTo>
                <a:lnTo>
                  <a:pt x="7376310" y="1453749"/>
                </a:lnTo>
                <a:lnTo>
                  <a:pt x="7376853" y="1448985"/>
                </a:lnTo>
                <a:lnTo>
                  <a:pt x="7376202" y="1440648"/>
                </a:lnTo>
                <a:close/>
                <a:moveTo>
                  <a:pt x="4396443" y="1434260"/>
                </a:moveTo>
                <a:lnTo>
                  <a:pt x="4398504" y="1435343"/>
                </a:lnTo>
                <a:lnTo>
                  <a:pt x="4405775" y="1435992"/>
                </a:lnTo>
                <a:lnTo>
                  <a:pt x="4409465" y="1438699"/>
                </a:lnTo>
                <a:lnTo>
                  <a:pt x="4411744" y="1440107"/>
                </a:lnTo>
                <a:lnTo>
                  <a:pt x="4412829" y="1441514"/>
                </a:lnTo>
                <a:lnTo>
                  <a:pt x="4411635" y="1442164"/>
                </a:lnTo>
                <a:lnTo>
                  <a:pt x="4408488" y="1441514"/>
                </a:lnTo>
                <a:lnTo>
                  <a:pt x="4405775" y="1445629"/>
                </a:lnTo>
                <a:lnTo>
                  <a:pt x="4402737" y="1449093"/>
                </a:lnTo>
                <a:lnTo>
                  <a:pt x="4396226" y="1450393"/>
                </a:lnTo>
                <a:lnTo>
                  <a:pt x="4392970" y="1456780"/>
                </a:lnTo>
                <a:lnTo>
                  <a:pt x="4393078" y="1459271"/>
                </a:lnTo>
                <a:lnTo>
                  <a:pt x="4389388" y="1462303"/>
                </a:lnTo>
                <a:lnTo>
                  <a:pt x="4387435" y="1461870"/>
                </a:lnTo>
                <a:lnTo>
                  <a:pt x="4389280" y="1455915"/>
                </a:lnTo>
                <a:lnTo>
                  <a:pt x="4391233" y="1456131"/>
                </a:lnTo>
                <a:lnTo>
                  <a:pt x="4392536" y="1452558"/>
                </a:lnTo>
                <a:lnTo>
                  <a:pt x="4388846" y="1448985"/>
                </a:lnTo>
                <a:lnTo>
                  <a:pt x="4385157" y="1448011"/>
                </a:lnTo>
                <a:lnTo>
                  <a:pt x="4385157" y="1445303"/>
                </a:lnTo>
                <a:lnTo>
                  <a:pt x="4387544" y="1443572"/>
                </a:lnTo>
                <a:lnTo>
                  <a:pt x="4387544" y="1441189"/>
                </a:lnTo>
                <a:lnTo>
                  <a:pt x="4384397" y="1440215"/>
                </a:lnTo>
                <a:lnTo>
                  <a:pt x="4386784" y="1439240"/>
                </a:lnTo>
                <a:lnTo>
                  <a:pt x="4386675" y="1437291"/>
                </a:lnTo>
                <a:lnTo>
                  <a:pt x="4389172" y="1438050"/>
                </a:lnTo>
                <a:lnTo>
                  <a:pt x="4390365" y="1440431"/>
                </a:lnTo>
                <a:lnTo>
                  <a:pt x="4392645" y="1437617"/>
                </a:lnTo>
                <a:lnTo>
                  <a:pt x="4394163" y="1437075"/>
                </a:lnTo>
                <a:close/>
                <a:moveTo>
                  <a:pt x="3863627" y="1433827"/>
                </a:moveTo>
                <a:lnTo>
                  <a:pt x="3865254" y="1436209"/>
                </a:lnTo>
                <a:lnTo>
                  <a:pt x="3864169" y="1438374"/>
                </a:lnTo>
                <a:lnTo>
                  <a:pt x="3861565" y="1434260"/>
                </a:lnTo>
                <a:close/>
                <a:moveTo>
                  <a:pt x="7363613" y="1432961"/>
                </a:moveTo>
                <a:lnTo>
                  <a:pt x="7368171" y="1436750"/>
                </a:lnTo>
                <a:lnTo>
                  <a:pt x="7367302" y="1439998"/>
                </a:lnTo>
                <a:lnTo>
                  <a:pt x="7362528" y="1440324"/>
                </a:lnTo>
                <a:lnTo>
                  <a:pt x="7360467" y="1438483"/>
                </a:lnTo>
                <a:lnTo>
                  <a:pt x="7360792" y="1434693"/>
                </a:lnTo>
                <a:close/>
                <a:moveTo>
                  <a:pt x="1141377" y="1432853"/>
                </a:moveTo>
                <a:lnTo>
                  <a:pt x="1146803" y="1435777"/>
                </a:lnTo>
                <a:lnTo>
                  <a:pt x="1145935" y="1446928"/>
                </a:lnTo>
                <a:lnTo>
                  <a:pt x="1141052" y="1452125"/>
                </a:lnTo>
                <a:lnTo>
                  <a:pt x="1140401" y="1447578"/>
                </a:lnTo>
                <a:lnTo>
                  <a:pt x="1142788" y="1442165"/>
                </a:lnTo>
                <a:lnTo>
                  <a:pt x="1138122" y="1446820"/>
                </a:lnTo>
                <a:lnTo>
                  <a:pt x="1134541" y="1446062"/>
                </a:lnTo>
                <a:lnTo>
                  <a:pt x="1134323" y="1442489"/>
                </a:lnTo>
                <a:lnTo>
                  <a:pt x="1135518" y="1439349"/>
                </a:lnTo>
                <a:lnTo>
                  <a:pt x="1131828" y="1438700"/>
                </a:lnTo>
                <a:lnTo>
                  <a:pt x="1136603" y="1434044"/>
                </a:lnTo>
                <a:close/>
                <a:moveTo>
                  <a:pt x="4408380" y="1431877"/>
                </a:moveTo>
                <a:lnTo>
                  <a:pt x="4414565" y="1432093"/>
                </a:lnTo>
                <a:lnTo>
                  <a:pt x="4416627" y="1437290"/>
                </a:lnTo>
                <a:lnTo>
                  <a:pt x="4414131" y="1438914"/>
                </a:lnTo>
                <a:lnTo>
                  <a:pt x="4408597" y="1434692"/>
                </a:lnTo>
                <a:close/>
                <a:moveTo>
                  <a:pt x="2254107" y="1431877"/>
                </a:moveTo>
                <a:lnTo>
                  <a:pt x="2251286" y="1437399"/>
                </a:lnTo>
                <a:lnTo>
                  <a:pt x="2245101" y="1441513"/>
                </a:lnTo>
                <a:lnTo>
                  <a:pt x="2241302" y="1442920"/>
                </a:lnTo>
                <a:lnTo>
                  <a:pt x="2240109" y="1442054"/>
                </a:lnTo>
                <a:lnTo>
                  <a:pt x="2242279" y="1437182"/>
                </a:lnTo>
                <a:lnTo>
                  <a:pt x="2245534" y="1437073"/>
                </a:lnTo>
                <a:lnTo>
                  <a:pt x="2246945" y="1435666"/>
                </a:lnTo>
                <a:lnTo>
                  <a:pt x="2248573" y="1435666"/>
                </a:lnTo>
                <a:lnTo>
                  <a:pt x="2251937" y="1433609"/>
                </a:lnTo>
                <a:close/>
                <a:moveTo>
                  <a:pt x="7386185" y="1431661"/>
                </a:moveTo>
                <a:lnTo>
                  <a:pt x="7388789" y="1434585"/>
                </a:lnTo>
                <a:lnTo>
                  <a:pt x="7389766" y="1438699"/>
                </a:lnTo>
                <a:lnTo>
                  <a:pt x="7387813" y="1440973"/>
                </a:lnTo>
                <a:lnTo>
                  <a:pt x="7385859" y="1440973"/>
                </a:lnTo>
                <a:lnTo>
                  <a:pt x="7382821" y="1437291"/>
                </a:lnTo>
                <a:lnTo>
                  <a:pt x="7382821" y="1434259"/>
                </a:lnTo>
                <a:close/>
                <a:moveTo>
                  <a:pt x="2263765" y="1430687"/>
                </a:moveTo>
                <a:lnTo>
                  <a:pt x="2267237" y="1432528"/>
                </a:lnTo>
                <a:lnTo>
                  <a:pt x="2267237" y="1435884"/>
                </a:lnTo>
                <a:lnTo>
                  <a:pt x="2268648" y="1435884"/>
                </a:lnTo>
                <a:lnTo>
                  <a:pt x="2270601" y="1438050"/>
                </a:lnTo>
                <a:lnTo>
                  <a:pt x="2269842" y="1443246"/>
                </a:lnTo>
                <a:lnTo>
                  <a:pt x="2267888" y="1444979"/>
                </a:lnTo>
                <a:lnTo>
                  <a:pt x="2262571" y="1451583"/>
                </a:lnTo>
                <a:lnTo>
                  <a:pt x="2259858" y="1453423"/>
                </a:lnTo>
                <a:lnTo>
                  <a:pt x="2261377" y="1449850"/>
                </a:lnTo>
                <a:lnTo>
                  <a:pt x="2267563" y="1442921"/>
                </a:lnTo>
                <a:lnTo>
                  <a:pt x="2267563" y="1439890"/>
                </a:lnTo>
                <a:lnTo>
                  <a:pt x="2265935" y="1439890"/>
                </a:lnTo>
                <a:lnTo>
                  <a:pt x="2264741" y="1443030"/>
                </a:lnTo>
                <a:lnTo>
                  <a:pt x="2259207" y="1450609"/>
                </a:lnTo>
                <a:cubicBezTo>
                  <a:pt x="2259099" y="1450501"/>
                  <a:pt x="2255626" y="1455048"/>
                  <a:pt x="2255626" y="1455048"/>
                </a:cubicBezTo>
                <a:lnTo>
                  <a:pt x="2253130" y="1455048"/>
                </a:lnTo>
                <a:lnTo>
                  <a:pt x="2249983" y="1456997"/>
                </a:lnTo>
                <a:lnTo>
                  <a:pt x="2248464" y="1456997"/>
                </a:lnTo>
                <a:lnTo>
                  <a:pt x="2251611" y="1452125"/>
                </a:lnTo>
                <a:lnTo>
                  <a:pt x="2252805" y="1449093"/>
                </a:lnTo>
                <a:lnTo>
                  <a:pt x="2250417" y="1449743"/>
                </a:lnTo>
                <a:lnTo>
                  <a:pt x="2245752" y="1456022"/>
                </a:lnTo>
                <a:lnTo>
                  <a:pt x="2244015" y="1456022"/>
                </a:lnTo>
                <a:lnTo>
                  <a:pt x="2242930" y="1453099"/>
                </a:lnTo>
                <a:lnTo>
                  <a:pt x="2246402" y="1448876"/>
                </a:lnTo>
                <a:lnTo>
                  <a:pt x="2247053" y="1446386"/>
                </a:lnTo>
                <a:lnTo>
                  <a:pt x="2252371" y="1441189"/>
                </a:lnTo>
                <a:lnTo>
                  <a:pt x="2255192" y="1435559"/>
                </a:lnTo>
                <a:lnTo>
                  <a:pt x="2258231" y="1433285"/>
                </a:lnTo>
                <a:lnTo>
                  <a:pt x="2259099" y="1434693"/>
                </a:lnTo>
                <a:lnTo>
                  <a:pt x="2257688" y="1438807"/>
                </a:lnTo>
                <a:lnTo>
                  <a:pt x="2253890" y="1442272"/>
                </a:lnTo>
                <a:lnTo>
                  <a:pt x="2253021" y="1445411"/>
                </a:lnTo>
                <a:lnTo>
                  <a:pt x="2256603" y="1443030"/>
                </a:lnTo>
                <a:lnTo>
                  <a:pt x="2260075" y="1439673"/>
                </a:lnTo>
                <a:lnTo>
                  <a:pt x="2262137" y="1433069"/>
                </a:lnTo>
                <a:close/>
                <a:moveTo>
                  <a:pt x="1128573" y="1430255"/>
                </a:moveTo>
                <a:lnTo>
                  <a:pt x="1131068" y="1434152"/>
                </a:lnTo>
                <a:lnTo>
                  <a:pt x="1128573" y="1436318"/>
                </a:lnTo>
                <a:close/>
                <a:moveTo>
                  <a:pt x="2266695" y="1427547"/>
                </a:moveTo>
                <a:lnTo>
                  <a:pt x="2267346" y="1428846"/>
                </a:lnTo>
                <a:lnTo>
                  <a:pt x="2266261" y="1430037"/>
                </a:lnTo>
                <a:lnTo>
                  <a:pt x="2265285" y="1427872"/>
                </a:lnTo>
                <a:close/>
                <a:moveTo>
                  <a:pt x="3865471" y="1426140"/>
                </a:moveTo>
                <a:lnTo>
                  <a:pt x="3868293" y="1428846"/>
                </a:lnTo>
                <a:lnTo>
                  <a:pt x="3866556" y="1430904"/>
                </a:lnTo>
                <a:lnTo>
                  <a:pt x="3871765" y="1430362"/>
                </a:lnTo>
                <a:lnTo>
                  <a:pt x="3871657" y="1433936"/>
                </a:lnTo>
                <a:lnTo>
                  <a:pt x="3869161" y="1432420"/>
                </a:lnTo>
                <a:lnTo>
                  <a:pt x="3864712" y="1432961"/>
                </a:lnTo>
                <a:lnTo>
                  <a:pt x="3864494" y="1429605"/>
                </a:lnTo>
                <a:lnTo>
                  <a:pt x="3863518" y="1432420"/>
                </a:lnTo>
                <a:lnTo>
                  <a:pt x="3861890" y="1430687"/>
                </a:lnTo>
                <a:lnTo>
                  <a:pt x="3861890" y="1426356"/>
                </a:lnTo>
                <a:close/>
                <a:moveTo>
                  <a:pt x="1134324" y="1426140"/>
                </a:moveTo>
                <a:lnTo>
                  <a:pt x="1136277" y="1428846"/>
                </a:lnTo>
                <a:lnTo>
                  <a:pt x="1135083" y="1431662"/>
                </a:lnTo>
                <a:lnTo>
                  <a:pt x="1131828" y="1427980"/>
                </a:lnTo>
                <a:close/>
                <a:moveTo>
                  <a:pt x="3869051" y="1424299"/>
                </a:moveTo>
                <a:lnTo>
                  <a:pt x="3868617" y="1426681"/>
                </a:lnTo>
                <a:lnTo>
                  <a:pt x="3866773" y="1424624"/>
                </a:lnTo>
                <a:close/>
                <a:moveTo>
                  <a:pt x="4045500" y="1420402"/>
                </a:moveTo>
                <a:lnTo>
                  <a:pt x="4048647" y="1423541"/>
                </a:lnTo>
                <a:lnTo>
                  <a:pt x="4044958" y="1424841"/>
                </a:lnTo>
                <a:close/>
                <a:moveTo>
                  <a:pt x="4412503" y="1419427"/>
                </a:moveTo>
                <a:lnTo>
                  <a:pt x="4413697" y="1421809"/>
                </a:lnTo>
                <a:lnTo>
                  <a:pt x="4409248" y="1422459"/>
                </a:lnTo>
                <a:lnTo>
                  <a:pt x="4408380" y="1419752"/>
                </a:lnTo>
                <a:close/>
                <a:moveTo>
                  <a:pt x="4397203" y="1418886"/>
                </a:moveTo>
                <a:lnTo>
                  <a:pt x="4399807" y="1419319"/>
                </a:lnTo>
                <a:lnTo>
                  <a:pt x="4402195" y="1421592"/>
                </a:lnTo>
                <a:lnTo>
                  <a:pt x="4406427" y="1421917"/>
                </a:lnTo>
                <a:lnTo>
                  <a:pt x="4408272" y="1426573"/>
                </a:lnTo>
                <a:lnTo>
                  <a:pt x="4405451" y="1425599"/>
                </a:lnTo>
                <a:lnTo>
                  <a:pt x="4401435" y="1428306"/>
                </a:lnTo>
                <a:lnTo>
                  <a:pt x="4399916" y="1431013"/>
                </a:lnTo>
                <a:lnTo>
                  <a:pt x="4396986" y="1426249"/>
                </a:lnTo>
                <a:lnTo>
                  <a:pt x="4392971" y="1426573"/>
                </a:lnTo>
                <a:lnTo>
                  <a:pt x="4388847" y="1428414"/>
                </a:lnTo>
                <a:lnTo>
                  <a:pt x="4387111" y="1427115"/>
                </a:lnTo>
                <a:lnTo>
                  <a:pt x="4394599" y="1423541"/>
                </a:lnTo>
                <a:lnTo>
                  <a:pt x="4396877" y="1420618"/>
                </a:lnTo>
                <a:close/>
                <a:moveTo>
                  <a:pt x="1147346" y="1412064"/>
                </a:moveTo>
                <a:lnTo>
                  <a:pt x="1149733" y="1412389"/>
                </a:lnTo>
                <a:lnTo>
                  <a:pt x="1148214" y="1416286"/>
                </a:lnTo>
                <a:lnTo>
                  <a:pt x="1143656" y="1418018"/>
                </a:lnTo>
                <a:lnTo>
                  <a:pt x="1140618" y="1420400"/>
                </a:lnTo>
                <a:lnTo>
                  <a:pt x="1142463" y="1414770"/>
                </a:lnTo>
                <a:close/>
                <a:moveTo>
                  <a:pt x="1111644" y="1406759"/>
                </a:moveTo>
                <a:lnTo>
                  <a:pt x="1121411" y="1418236"/>
                </a:lnTo>
                <a:lnTo>
                  <a:pt x="1124992" y="1425057"/>
                </a:lnTo>
                <a:lnTo>
                  <a:pt x="1122930" y="1428955"/>
                </a:lnTo>
                <a:lnTo>
                  <a:pt x="1119349" y="1427439"/>
                </a:lnTo>
                <a:lnTo>
                  <a:pt x="1119349" y="1422133"/>
                </a:lnTo>
                <a:lnTo>
                  <a:pt x="1112296" y="1414337"/>
                </a:lnTo>
                <a:lnTo>
                  <a:pt x="1110234" y="1409682"/>
                </a:lnTo>
                <a:cubicBezTo>
                  <a:pt x="1110234" y="1409682"/>
                  <a:pt x="1111644" y="1406759"/>
                  <a:pt x="1111644" y="1406759"/>
                </a:cubicBezTo>
                <a:close/>
                <a:moveTo>
                  <a:pt x="4310498" y="1402645"/>
                </a:moveTo>
                <a:lnTo>
                  <a:pt x="4316249" y="1402645"/>
                </a:lnTo>
                <a:lnTo>
                  <a:pt x="4316141" y="1406543"/>
                </a:lnTo>
                <a:lnTo>
                  <a:pt x="4311474" y="1410657"/>
                </a:lnTo>
                <a:lnTo>
                  <a:pt x="4311366" y="1416505"/>
                </a:lnTo>
                <a:lnTo>
                  <a:pt x="4309521" y="1414989"/>
                </a:lnTo>
                <a:lnTo>
                  <a:pt x="4305940" y="1409358"/>
                </a:lnTo>
                <a:close/>
                <a:moveTo>
                  <a:pt x="1122278" y="1400155"/>
                </a:moveTo>
                <a:lnTo>
                  <a:pt x="1124558" y="1400804"/>
                </a:lnTo>
                <a:lnTo>
                  <a:pt x="1126728" y="1407192"/>
                </a:lnTo>
                <a:lnTo>
                  <a:pt x="1131068" y="1416504"/>
                </a:lnTo>
                <a:lnTo>
                  <a:pt x="1130417" y="1424083"/>
                </a:lnTo>
                <a:lnTo>
                  <a:pt x="1125534" y="1420077"/>
                </a:lnTo>
                <a:lnTo>
                  <a:pt x="1124883" y="1413363"/>
                </a:lnTo>
                <a:lnTo>
                  <a:pt x="1121410" y="1407734"/>
                </a:lnTo>
                <a:lnTo>
                  <a:pt x="1120868" y="1401779"/>
                </a:lnTo>
                <a:close/>
                <a:moveTo>
                  <a:pt x="4174526" y="1398530"/>
                </a:moveTo>
                <a:lnTo>
                  <a:pt x="4171162" y="1400262"/>
                </a:lnTo>
                <a:lnTo>
                  <a:pt x="4169317" y="1404377"/>
                </a:lnTo>
                <a:lnTo>
                  <a:pt x="4169859" y="1405344"/>
                </a:lnTo>
                <a:lnTo>
                  <a:pt x="4169317" y="1404377"/>
                </a:lnTo>
                <a:lnTo>
                  <a:pt x="4171162" y="1400263"/>
                </a:lnTo>
                <a:lnTo>
                  <a:pt x="4174526" y="1398531"/>
                </a:lnTo>
                <a:close/>
                <a:moveTo>
                  <a:pt x="4037361" y="1392901"/>
                </a:moveTo>
                <a:lnTo>
                  <a:pt x="4039965" y="1395608"/>
                </a:lnTo>
                <a:lnTo>
                  <a:pt x="4038230" y="1399073"/>
                </a:lnTo>
                <a:lnTo>
                  <a:pt x="4034649" y="1393767"/>
                </a:lnTo>
                <a:cubicBezTo>
                  <a:pt x="4034540" y="1393117"/>
                  <a:pt x="4037361" y="1392901"/>
                  <a:pt x="4037361" y="1392901"/>
                </a:cubicBezTo>
                <a:close/>
                <a:moveTo>
                  <a:pt x="1121084" y="1389003"/>
                </a:moveTo>
                <a:lnTo>
                  <a:pt x="1125208" y="1392251"/>
                </a:lnTo>
                <a:lnTo>
                  <a:pt x="1122929" y="1397774"/>
                </a:lnTo>
                <a:lnTo>
                  <a:pt x="1119565" y="1397774"/>
                </a:lnTo>
                <a:lnTo>
                  <a:pt x="1119348" y="1395174"/>
                </a:lnTo>
                <a:lnTo>
                  <a:pt x="1112512" y="1395174"/>
                </a:lnTo>
                <a:lnTo>
                  <a:pt x="1115225" y="1391601"/>
                </a:lnTo>
                <a:close/>
                <a:moveTo>
                  <a:pt x="4183099" y="1386620"/>
                </a:moveTo>
                <a:lnTo>
                  <a:pt x="4181037" y="1390301"/>
                </a:lnTo>
                <a:lnTo>
                  <a:pt x="4173658" y="1390951"/>
                </a:lnTo>
                <a:lnTo>
                  <a:pt x="4172030" y="1393658"/>
                </a:lnTo>
                <a:lnTo>
                  <a:pt x="4172030" y="1393659"/>
                </a:lnTo>
                <a:lnTo>
                  <a:pt x="4173658" y="1390952"/>
                </a:lnTo>
                <a:lnTo>
                  <a:pt x="4181037" y="1390302"/>
                </a:lnTo>
                <a:lnTo>
                  <a:pt x="4183099" y="1386621"/>
                </a:lnTo>
                <a:close/>
                <a:moveTo>
                  <a:pt x="4043004" y="1384564"/>
                </a:moveTo>
                <a:lnTo>
                  <a:pt x="4042787" y="1388353"/>
                </a:lnTo>
                <a:lnTo>
                  <a:pt x="4040943" y="1388786"/>
                </a:lnTo>
                <a:close/>
                <a:moveTo>
                  <a:pt x="3909421" y="1384131"/>
                </a:moveTo>
                <a:lnTo>
                  <a:pt x="3910831" y="1385430"/>
                </a:lnTo>
                <a:lnTo>
                  <a:pt x="3907359" y="1388029"/>
                </a:lnTo>
                <a:close/>
                <a:moveTo>
                  <a:pt x="4038880" y="1382290"/>
                </a:moveTo>
                <a:lnTo>
                  <a:pt x="4038121" y="1386404"/>
                </a:lnTo>
                <a:lnTo>
                  <a:pt x="4034540" y="1385755"/>
                </a:lnTo>
                <a:close/>
                <a:moveTo>
                  <a:pt x="4399482" y="1379041"/>
                </a:moveTo>
                <a:lnTo>
                  <a:pt x="4400458" y="1382614"/>
                </a:lnTo>
                <a:lnTo>
                  <a:pt x="4397311" y="1384672"/>
                </a:lnTo>
                <a:lnTo>
                  <a:pt x="4395575" y="1382614"/>
                </a:lnTo>
                <a:lnTo>
                  <a:pt x="4397853" y="1381315"/>
                </a:lnTo>
                <a:close/>
                <a:moveTo>
                  <a:pt x="1068345" y="1377309"/>
                </a:moveTo>
                <a:lnTo>
                  <a:pt x="1075941" y="1379582"/>
                </a:lnTo>
                <a:lnTo>
                  <a:pt x="1074748" y="1385429"/>
                </a:lnTo>
                <a:lnTo>
                  <a:pt x="1077461" y="1384130"/>
                </a:lnTo>
                <a:lnTo>
                  <a:pt x="1080607" y="1381423"/>
                </a:lnTo>
                <a:lnTo>
                  <a:pt x="1083863" y="1382939"/>
                </a:lnTo>
                <a:lnTo>
                  <a:pt x="1084080" y="1386079"/>
                </a:lnTo>
                <a:lnTo>
                  <a:pt x="1083537" y="1391601"/>
                </a:lnTo>
                <a:lnTo>
                  <a:pt x="1079414" y="1395499"/>
                </a:lnTo>
                <a:lnTo>
                  <a:pt x="1070407" y="1398963"/>
                </a:lnTo>
                <a:lnTo>
                  <a:pt x="1073228" y="1401237"/>
                </a:lnTo>
                <a:lnTo>
                  <a:pt x="1073879" y="1403835"/>
                </a:lnTo>
                <a:lnTo>
                  <a:pt x="1079197" y="1402536"/>
                </a:lnTo>
                <a:lnTo>
                  <a:pt x="1082344" y="1395174"/>
                </a:lnTo>
                <a:lnTo>
                  <a:pt x="1088203" y="1388136"/>
                </a:lnTo>
                <a:lnTo>
                  <a:pt x="1095583" y="1384563"/>
                </a:lnTo>
                <a:lnTo>
                  <a:pt x="1097861" y="1384996"/>
                </a:lnTo>
                <a:lnTo>
                  <a:pt x="1089180" y="1394632"/>
                </a:lnTo>
                <a:lnTo>
                  <a:pt x="1087335" y="1402103"/>
                </a:lnTo>
                <a:lnTo>
                  <a:pt x="1082995" y="1407192"/>
                </a:lnTo>
                <a:lnTo>
                  <a:pt x="1082452" y="1415096"/>
                </a:lnTo>
                <a:lnTo>
                  <a:pt x="1077135" y="1419427"/>
                </a:lnTo>
                <a:lnTo>
                  <a:pt x="1072794" y="1419427"/>
                </a:lnTo>
                <a:lnTo>
                  <a:pt x="1069430" y="1423433"/>
                </a:lnTo>
                <a:lnTo>
                  <a:pt x="1073337" y="1423541"/>
                </a:lnTo>
                <a:lnTo>
                  <a:pt x="1076267" y="1421809"/>
                </a:lnTo>
                <a:lnTo>
                  <a:pt x="1081584" y="1422566"/>
                </a:lnTo>
                <a:lnTo>
                  <a:pt x="1082127" y="1428197"/>
                </a:lnTo>
                <a:lnTo>
                  <a:pt x="1075833" y="1427980"/>
                </a:lnTo>
                <a:lnTo>
                  <a:pt x="1072794" y="1433935"/>
                </a:lnTo>
                <a:lnTo>
                  <a:pt x="1074422" y="1438807"/>
                </a:lnTo>
                <a:lnTo>
                  <a:pt x="1073554" y="1445520"/>
                </a:lnTo>
                <a:lnTo>
                  <a:pt x="1076158" y="1453640"/>
                </a:lnTo>
                <a:lnTo>
                  <a:pt x="1077461" y="1459704"/>
                </a:lnTo>
                <a:lnTo>
                  <a:pt x="1080933" y="1459487"/>
                </a:lnTo>
                <a:lnTo>
                  <a:pt x="1082995" y="1462411"/>
                </a:lnTo>
                <a:lnTo>
                  <a:pt x="1080390" y="1466417"/>
                </a:lnTo>
                <a:lnTo>
                  <a:pt x="1074205" y="1465009"/>
                </a:lnTo>
                <a:lnTo>
                  <a:pt x="1067043" y="1449526"/>
                </a:lnTo>
                <a:lnTo>
                  <a:pt x="1066283" y="1442813"/>
                </a:lnTo>
                <a:lnTo>
                  <a:pt x="1067694" y="1439565"/>
                </a:lnTo>
                <a:lnTo>
                  <a:pt x="1062160" y="1438482"/>
                </a:lnTo>
                <a:lnTo>
                  <a:pt x="1060749" y="1434368"/>
                </a:lnTo>
                <a:lnTo>
                  <a:pt x="1062702" y="1430903"/>
                </a:lnTo>
                <a:lnTo>
                  <a:pt x="1068237" y="1431661"/>
                </a:lnTo>
                <a:lnTo>
                  <a:pt x="1063896" y="1426789"/>
                </a:lnTo>
                <a:lnTo>
                  <a:pt x="1060966" y="1425598"/>
                </a:lnTo>
                <a:lnTo>
                  <a:pt x="1063679" y="1420617"/>
                </a:lnTo>
                <a:lnTo>
                  <a:pt x="1060098" y="1416503"/>
                </a:lnTo>
                <a:lnTo>
                  <a:pt x="1060749" y="1413905"/>
                </a:lnTo>
                <a:lnTo>
                  <a:pt x="1064764" y="1414446"/>
                </a:lnTo>
                <a:lnTo>
                  <a:pt x="1067043" y="1415854"/>
                </a:lnTo>
                <a:lnTo>
                  <a:pt x="1066826" y="1411739"/>
                </a:lnTo>
                <a:lnTo>
                  <a:pt x="1063679" y="1407950"/>
                </a:lnTo>
                <a:lnTo>
                  <a:pt x="1059772" y="1407084"/>
                </a:lnTo>
                <a:lnTo>
                  <a:pt x="1059447" y="1402752"/>
                </a:lnTo>
                <a:lnTo>
                  <a:pt x="1062160" y="1398097"/>
                </a:lnTo>
                <a:lnTo>
                  <a:pt x="1060966" y="1389652"/>
                </a:lnTo>
                <a:close/>
                <a:moveTo>
                  <a:pt x="4186138" y="1374278"/>
                </a:moveTo>
                <a:lnTo>
                  <a:pt x="4182773" y="1381640"/>
                </a:lnTo>
                <a:lnTo>
                  <a:pt x="4182773" y="1381641"/>
                </a:lnTo>
                <a:lnTo>
                  <a:pt x="4186138" y="1374278"/>
                </a:lnTo>
                <a:close/>
                <a:moveTo>
                  <a:pt x="4393078" y="1374170"/>
                </a:moveTo>
                <a:lnTo>
                  <a:pt x="4394489" y="1377527"/>
                </a:lnTo>
                <a:lnTo>
                  <a:pt x="4392536" y="1377527"/>
                </a:lnTo>
                <a:close/>
                <a:moveTo>
                  <a:pt x="4032478" y="1373196"/>
                </a:moveTo>
                <a:lnTo>
                  <a:pt x="4031067" y="1378392"/>
                </a:lnTo>
                <a:lnTo>
                  <a:pt x="4028029" y="1374603"/>
                </a:lnTo>
                <a:close/>
                <a:moveTo>
                  <a:pt x="4037579" y="1372329"/>
                </a:moveTo>
                <a:lnTo>
                  <a:pt x="4041160" y="1376985"/>
                </a:lnTo>
                <a:lnTo>
                  <a:pt x="4039640" y="1381425"/>
                </a:lnTo>
                <a:close/>
                <a:moveTo>
                  <a:pt x="3908445" y="1369298"/>
                </a:moveTo>
                <a:lnTo>
                  <a:pt x="3911158" y="1370597"/>
                </a:lnTo>
                <a:lnTo>
                  <a:pt x="3914413" y="1371788"/>
                </a:lnTo>
                <a:lnTo>
                  <a:pt x="3912460" y="1373845"/>
                </a:lnTo>
                <a:lnTo>
                  <a:pt x="3913002" y="1376444"/>
                </a:lnTo>
                <a:lnTo>
                  <a:pt x="3910833" y="1378718"/>
                </a:lnTo>
                <a:lnTo>
                  <a:pt x="3911917" y="1382508"/>
                </a:lnTo>
                <a:lnTo>
                  <a:pt x="3909313" y="1381641"/>
                </a:lnTo>
                <a:lnTo>
                  <a:pt x="3907468" y="1377851"/>
                </a:lnTo>
                <a:lnTo>
                  <a:pt x="3901717" y="1377635"/>
                </a:lnTo>
                <a:lnTo>
                  <a:pt x="3899872" y="1375253"/>
                </a:lnTo>
                <a:lnTo>
                  <a:pt x="3902802" y="1374062"/>
                </a:lnTo>
                <a:lnTo>
                  <a:pt x="3907685" y="1374495"/>
                </a:lnTo>
                <a:lnTo>
                  <a:pt x="3908228" y="1372329"/>
                </a:lnTo>
                <a:lnTo>
                  <a:pt x="3907143" y="1370597"/>
                </a:lnTo>
                <a:close/>
                <a:moveTo>
                  <a:pt x="4028788" y="1367891"/>
                </a:moveTo>
                <a:lnTo>
                  <a:pt x="4032260" y="1367999"/>
                </a:lnTo>
                <a:lnTo>
                  <a:pt x="4030524" y="1370057"/>
                </a:lnTo>
                <a:close/>
                <a:moveTo>
                  <a:pt x="4390691" y="1367566"/>
                </a:moveTo>
                <a:lnTo>
                  <a:pt x="4390148" y="1370273"/>
                </a:lnTo>
                <a:lnTo>
                  <a:pt x="4385916" y="1373738"/>
                </a:lnTo>
                <a:lnTo>
                  <a:pt x="4382552" y="1371897"/>
                </a:lnTo>
                <a:lnTo>
                  <a:pt x="4383420" y="1368974"/>
                </a:lnTo>
                <a:close/>
                <a:moveTo>
                  <a:pt x="1122496" y="1366266"/>
                </a:moveTo>
                <a:lnTo>
                  <a:pt x="1122604" y="1370813"/>
                </a:lnTo>
                <a:lnTo>
                  <a:pt x="1119674" y="1373412"/>
                </a:lnTo>
                <a:lnTo>
                  <a:pt x="1118915" y="1368540"/>
                </a:lnTo>
                <a:close/>
                <a:moveTo>
                  <a:pt x="3906925" y="1364967"/>
                </a:moveTo>
                <a:lnTo>
                  <a:pt x="3906491" y="1370598"/>
                </a:lnTo>
                <a:lnTo>
                  <a:pt x="3902910" y="1368649"/>
                </a:lnTo>
                <a:lnTo>
                  <a:pt x="3903778" y="1365725"/>
                </a:lnTo>
                <a:close/>
                <a:moveTo>
                  <a:pt x="4514726" y="1364642"/>
                </a:moveTo>
                <a:lnTo>
                  <a:pt x="4519284" y="1368973"/>
                </a:lnTo>
                <a:lnTo>
                  <a:pt x="4517765" y="1371355"/>
                </a:lnTo>
                <a:lnTo>
                  <a:pt x="4512990" y="1368865"/>
                </a:lnTo>
                <a:cubicBezTo>
                  <a:pt x="4512990" y="1368865"/>
                  <a:pt x="4514726" y="1364642"/>
                  <a:pt x="4514726" y="1364642"/>
                </a:cubicBezTo>
                <a:close/>
                <a:moveTo>
                  <a:pt x="4336867" y="1363559"/>
                </a:moveTo>
                <a:lnTo>
                  <a:pt x="4343921" y="1368323"/>
                </a:lnTo>
                <a:lnTo>
                  <a:pt x="4344572" y="1372004"/>
                </a:lnTo>
                <a:lnTo>
                  <a:pt x="4341208" y="1371463"/>
                </a:lnTo>
                <a:lnTo>
                  <a:pt x="4339580" y="1373195"/>
                </a:lnTo>
                <a:lnTo>
                  <a:pt x="4342076" y="1377309"/>
                </a:lnTo>
                <a:lnTo>
                  <a:pt x="4345657" y="1376985"/>
                </a:lnTo>
                <a:lnTo>
                  <a:pt x="4346742" y="1381099"/>
                </a:lnTo>
                <a:lnTo>
                  <a:pt x="4343379" y="1382940"/>
                </a:lnTo>
                <a:lnTo>
                  <a:pt x="4339472" y="1379150"/>
                </a:lnTo>
                <a:lnTo>
                  <a:pt x="4334806" y="1377634"/>
                </a:lnTo>
                <a:lnTo>
                  <a:pt x="4332093" y="1374494"/>
                </a:lnTo>
                <a:lnTo>
                  <a:pt x="4329163" y="1372329"/>
                </a:lnTo>
                <a:lnTo>
                  <a:pt x="4331008" y="1369947"/>
                </a:lnTo>
                <a:lnTo>
                  <a:pt x="4336542" y="1371896"/>
                </a:lnTo>
                <a:lnTo>
                  <a:pt x="4337844" y="1369730"/>
                </a:lnTo>
                <a:lnTo>
                  <a:pt x="4334263" y="1367348"/>
                </a:lnTo>
                <a:lnTo>
                  <a:pt x="4334371" y="1363775"/>
                </a:lnTo>
                <a:close/>
                <a:moveTo>
                  <a:pt x="4362695" y="1363127"/>
                </a:moveTo>
                <a:lnTo>
                  <a:pt x="4367252" y="1363776"/>
                </a:lnTo>
                <a:lnTo>
                  <a:pt x="4364540" y="1364859"/>
                </a:lnTo>
                <a:close/>
                <a:moveTo>
                  <a:pt x="3038032" y="1361503"/>
                </a:moveTo>
                <a:lnTo>
                  <a:pt x="3039551" y="1362802"/>
                </a:lnTo>
                <a:lnTo>
                  <a:pt x="3038032" y="1365292"/>
                </a:lnTo>
                <a:lnTo>
                  <a:pt x="3035102" y="1365508"/>
                </a:lnTo>
                <a:lnTo>
                  <a:pt x="3033149" y="1366700"/>
                </a:lnTo>
                <a:lnTo>
                  <a:pt x="3031304" y="1365833"/>
                </a:lnTo>
                <a:lnTo>
                  <a:pt x="3034559" y="1361828"/>
                </a:lnTo>
                <a:close/>
                <a:moveTo>
                  <a:pt x="4373546" y="1361070"/>
                </a:moveTo>
                <a:lnTo>
                  <a:pt x="4378429" y="1365293"/>
                </a:lnTo>
                <a:lnTo>
                  <a:pt x="4375499" y="1367242"/>
                </a:lnTo>
                <a:lnTo>
                  <a:pt x="4373546" y="1364968"/>
                </a:lnTo>
                <a:close/>
                <a:moveTo>
                  <a:pt x="3911374" y="1359121"/>
                </a:moveTo>
                <a:lnTo>
                  <a:pt x="3913111" y="1360420"/>
                </a:lnTo>
                <a:lnTo>
                  <a:pt x="3913219" y="1365725"/>
                </a:lnTo>
                <a:lnTo>
                  <a:pt x="3911700" y="1367457"/>
                </a:lnTo>
                <a:lnTo>
                  <a:pt x="3909204" y="1364859"/>
                </a:lnTo>
                <a:lnTo>
                  <a:pt x="3911049" y="1362152"/>
                </a:lnTo>
                <a:close/>
                <a:moveTo>
                  <a:pt x="4030524" y="1358904"/>
                </a:moveTo>
                <a:cubicBezTo>
                  <a:pt x="4030524" y="1358904"/>
                  <a:pt x="4030524" y="1363559"/>
                  <a:pt x="4030524" y="1364209"/>
                </a:cubicBezTo>
                <a:lnTo>
                  <a:pt x="4026943" y="1361827"/>
                </a:lnTo>
                <a:close/>
                <a:moveTo>
                  <a:pt x="3918101" y="1354248"/>
                </a:moveTo>
                <a:lnTo>
                  <a:pt x="3916365" y="1359662"/>
                </a:lnTo>
                <a:lnTo>
                  <a:pt x="3915063" y="1357388"/>
                </a:lnTo>
                <a:close/>
                <a:moveTo>
                  <a:pt x="4028030" y="1350675"/>
                </a:moveTo>
                <a:lnTo>
                  <a:pt x="4028789" y="1352948"/>
                </a:lnTo>
                <a:lnTo>
                  <a:pt x="4026402" y="1355330"/>
                </a:lnTo>
                <a:lnTo>
                  <a:pt x="4024014" y="1353706"/>
                </a:lnTo>
                <a:close/>
                <a:moveTo>
                  <a:pt x="3035102" y="1350675"/>
                </a:moveTo>
                <a:lnTo>
                  <a:pt x="3038465" y="1351108"/>
                </a:lnTo>
                <a:lnTo>
                  <a:pt x="3046170" y="1355438"/>
                </a:lnTo>
                <a:lnTo>
                  <a:pt x="3042698" y="1357171"/>
                </a:lnTo>
                <a:lnTo>
                  <a:pt x="3039985" y="1357171"/>
                </a:lnTo>
                <a:lnTo>
                  <a:pt x="3035102" y="1352083"/>
                </a:lnTo>
                <a:close/>
                <a:moveTo>
                  <a:pt x="1118155" y="1350134"/>
                </a:moveTo>
                <a:lnTo>
                  <a:pt x="1121628" y="1352407"/>
                </a:lnTo>
                <a:lnTo>
                  <a:pt x="1118372" y="1356197"/>
                </a:lnTo>
                <a:lnTo>
                  <a:pt x="1114249" y="1353057"/>
                </a:lnTo>
                <a:close/>
                <a:moveTo>
                  <a:pt x="2500765" y="1345695"/>
                </a:moveTo>
                <a:lnTo>
                  <a:pt x="2500873" y="1348077"/>
                </a:lnTo>
                <a:lnTo>
                  <a:pt x="2499680" y="1348185"/>
                </a:lnTo>
                <a:close/>
                <a:moveTo>
                  <a:pt x="2503479" y="1345045"/>
                </a:moveTo>
                <a:lnTo>
                  <a:pt x="2504998" y="1348943"/>
                </a:lnTo>
                <a:lnTo>
                  <a:pt x="2504455" y="1353057"/>
                </a:lnTo>
                <a:lnTo>
                  <a:pt x="2502936" y="1353490"/>
                </a:lnTo>
                <a:lnTo>
                  <a:pt x="2503154" y="1351541"/>
                </a:lnTo>
                <a:lnTo>
                  <a:pt x="2502177" y="1347535"/>
                </a:lnTo>
                <a:close/>
                <a:moveTo>
                  <a:pt x="2498270" y="1345045"/>
                </a:moveTo>
                <a:lnTo>
                  <a:pt x="2498921" y="1346128"/>
                </a:lnTo>
                <a:lnTo>
                  <a:pt x="2497619" y="1347318"/>
                </a:lnTo>
                <a:close/>
                <a:moveTo>
                  <a:pt x="1079089" y="1343097"/>
                </a:moveTo>
                <a:lnTo>
                  <a:pt x="1082237" y="1345046"/>
                </a:lnTo>
                <a:lnTo>
                  <a:pt x="1081585" y="1347752"/>
                </a:lnTo>
                <a:lnTo>
                  <a:pt x="1084949" y="1353383"/>
                </a:lnTo>
                <a:lnTo>
                  <a:pt x="1081260" y="1359230"/>
                </a:lnTo>
                <a:lnTo>
                  <a:pt x="1079524" y="1357281"/>
                </a:lnTo>
                <a:lnTo>
                  <a:pt x="1079415" y="1352842"/>
                </a:lnTo>
                <a:lnTo>
                  <a:pt x="1075834" y="1346995"/>
                </a:lnTo>
                <a:lnTo>
                  <a:pt x="1077136" y="1343746"/>
                </a:lnTo>
                <a:close/>
                <a:moveTo>
                  <a:pt x="3008189" y="1342663"/>
                </a:moveTo>
                <a:lnTo>
                  <a:pt x="3010359" y="1342771"/>
                </a:lnTo>
                <a:lnTo>
                  <a:pt x="3010467" y="1345803"/>
                </a:lnTo>
                <a:lnTo>
                  <a:pt x="3008080" y="1349159"/>
                </a:lnTo>
                <a:lnTo>
                  <a:pt x="3007971" y="1350892"/>
                </a:lnTo>
                <a:lnTo>
                  <a:pt x="3006018" y="1350892"/>
                </a:lnTo>
                <a:lnTo>
                  <a:pt x="3005368" y="1346453"/>
                </a:lnTo>
                <a:lnTo>
                  <a:pt x="3007321" y="1344612"/>
                </a:lnTo>
                <a:close/>
                <a:moveTo>
                  <a:pt x="6911425" y="1342555"/>
                </a:moveTo>
                <a:lnTo>
                  <a:pt x="6913921" y="1344720"/>
                </a:lnTo>
                <a:lnTo>
                  <a:pt x="6912944" y="1347644"/>
                </a:lnTo>
                <a:lnTo>
                  <a:pt x="6910123" y="1349702"/>
                </a:lnTo>
                <a:lnTo>
                  <a:pt x="6909255" y="1348510"/>
                </a:lnTo>
                <a:lnTo>
                  <a:pt x="6911100" y="1345478"/>
                </a:lnTo>
                <a:lnTo>
                  <a:pt x="6910666" y="1343746"/>
                </a:lnTo>
                <a:close/>
                <a:moveTo>
                  <a:pt x="6905565" y="1341797"/>
                </a:moveTo>
                <a:lnTo>
                  <a:pt x="6906867" y="1342988"/>
                </a:lnTo>
                <a:lnTo>
                  <a:pt x="6907084" y="1346452"/>
                </a:lnTo>
                <a:lnTo>
                  <a:pt x="6905999" y="1348834"/>
                </a:lnTo>
                <a:lnTo>
                  <a:pt x="6904154" y="1345695"/>
                </a:lnTo>
                <a:lnTo>
                  <a:pt x="6904263" y="1342988"/>
                </a:lnTo>
                <a:close/>
                <a:moveTo>
                  <a:pt x="1087553" y="1339198"/>
                </a:moveTo>
                <a:lnTo>
                  <a:pt x="1089289" y="1341904"/>
                </a:lnTo>
                <a:lnTo>
                  <a:pt x="1088204" y="1344612"/>
                </a:lnTo>
                <a:lnTo>
                  <a:pt x="1086468" y="1342446"/>
                </a:lnTo>
                <a:close/>
                <a:moveTo>
                  <a:pt x="1119891" y="1338440"/>
                </a:moveTo>
                <a:lnTo>
                  <a:pt x="1122279" y="1343962"/>
                </a:lnTo>
                <a:lnTo>
                  <a:pt x="1117830" y="1348293"/>
                </a:lnTo>
                <a:lnTo>
                  <a:pt x="1114357" y="1345803"/>
                </a:lnTo>
                <a:lnTo>
                  <a:pt x="1116962" y="1343420"/>
                </a:lnTo>
                <a:lnTo>
                  <a:pt x="1115876" y="1340172"/>
                </a:lnTo>
                <a:close/>
                <a:moveTo>
                  <a:pt x="1079848" y="1336167"/>
                </a:moveTo>
                <a:lnTo>
                  <a:pt x="1082018" y="1336708"/>
                </a:lnTo>
                <a:lnTo>
                  <a:pt x="1083429" y="1340064"/>
                </a:lnTo>
                <a:lnTo>
                  <a:pt x="1079631" y="1341689"/>
                </a:lnTo>
                <a:lnTo>
                  <a:pt x="1077895" y="1337357"/>
                </a:lnTo>
                <a:close/>
                <a:moveTo>
                  <a:pt x="1114901" y="1329563"/>
                </a:moveTo>
                <a:lnTo>
                  <a:pt x="1118481" y="1334651"/>
                </a:lnTo>
                <a:lnTo>
                  <a:pt x="1114358" y="1338441"/>
                </a:lnTo>
                <a:lnTo>
                  <a:pt x="1114901" y="1334327"/>
                </a:lnTo>
                <a:lnTo>
                  <a:pt x="1112839" y="1331945"/>
                </a:lnTo>
                <a:close/>
                <a:moveTo>
                  <a:pt x="4190152" y="1329237"/>
                </a:moveTo>
                <a:lnTo>
                  <a:pt x="4187874" y="1334542"/>
                </a:lnTo>
                <a:lnTo>
                  <a:pt x="4187765" y="1342337"/>
                </a:lnTo>
                <a:lnTo>
                  <a:pt x="4176914" y="1345910"/>
                </a:lnTo>
                <a:lnTo>
                  <a:pt x="4176588" y="1349916"/>
                </a:lnTo>
                <a:lnTo>
                  <a:pt x="4176588" y="1349917"/>
                </a:lnTo>
                <a:lnTo>
                  <a:pt x="4176914" y="1345911"/>
                </a:lnTo>
                <a:lnTo>
                  <a:pt x="4187765" y="1342339"/>
                </a:lnTo>
                <a:lnTo>
                  <a:pt x="4187874" y="1334543"/>
                </a:lnTo>
                <a:lnTo>
                  <a:pt x="4190153" y="1329238"/>
                </a:lnTo>
                <a:close/>
                <a:moveTo>
                  <a:pt x="7018315" y="1328913"/>
                </a:moveTo>
                <a:lnTo>
                  <a:pt x="7019942" y="1330970"/>
                </a:lnTo>
                <a:lnTo>
                  <a:pt x="7023306" y="1337683"/>
                </a:lnTo>
                <a:lnTo>
                  <a:pt x="7030468" y="1340498"/>
                </a:lnTo>
                <a:lnTo>
                  <a:pt x="7033290" y="1343529"/>
                </a:lnTo>
                <a:lnTo>
                  <a:pt x="7032964" y="1351433"/>
                </a:lnTo>
                <a:lnTo>
                  <a:pt x="7036220" y="1356739"/>
                </a:lnTo>
                <a:lnTo>
                  <a:pt x="7045877" y="1364534"/>
                </a:lnTo>
                <a:lnTo>
                  <a:pt x="7047180" y="1368648"/>
                </a:lnTo>
                <a:lnTo>
                  <a:pt x="7049242" y="1368648"/>
                </a:lnTo>
                <a:lnTo>
                  <a:pt x="7054776" y="1374494"/>
                </a:lnTo>
                <a:lnTo>
                  <a:pt x="7060310" y="1382723"/>
                </a:lnTo>
                <a:lnTo>
                  <a:pt x="7062372" y="1388787"/>
                </a:lnTo>
                <a:lnTo>
                  <a:pt x="7057923" y="1382182"/>
                </a:lnTo>
                <a:lnTo>
                  <a:pt x="7053473" y="1377743"/>
                </a:lnTo>
                <a:lnTo>
                  <a:pt x="7051303" y="1378284"/>
                </a:lnTo>
                <a:lnTo>
                  <a:pt x="7051303" y="1380666"/>
                </a:lnTo>
                <a:lnTo>
                  <a:pt x="7053908" y="1383265"/>
                </a:lnTo>
                <a:lnTo>
                  <a:pt x="7054450" y="1386296"/>
                </a:lnTo>
                <a:lnTo>
                  <a:pt x="7059442" y="1391818"/>
                </a:lnTo>
                <a:lnTo>
                  <a:pt x="7064326" y="1393875"/>
                </a:lnTo>
                <a:lnTo>
                  <a:pt x="7065519" y="1399289"/>
                </a:lnTo>
                <a:lnTo>
                  <a:pt x="7066496" y="1406976"/>
                </a:lnTo>
                <a:lnTo>
                  <a:pt x="7067689" y="1413905"/>
                </a:lnTo>
                <a:lnTo>
                  <a:pt x="7066713" y="1412931"/>
                </a:lnTo>
                <a:lnTo>
                  <a:pt x="7065519" y="1416828"/>
                </a:lnTo>
                <a:lnTo>
                  <a:pt x="7066170" y="1421917"/>
                </a:lnTo>
                <a:lnTo>
                  <a:pt x="7068557" y="1425599"/>
                </a:lnTo>
                <a:lnTo>
                  <a:pt x="7070945" y="1432095"/>
                </a:lnTo>
                <a:lnTo>
                  <a:pt x="7075285" y="1437291"/>
                </a:lnTo>
                <a:lnTo>
                  <a:pt x="7079734" y="1439999"/>
                </a:lnTo>
                <a:lnTo>
                  <a:pt x="7081146" y="1443463"/>
                </a:lnTo>
                <a:lnTo>
                  <a:pt x="7080169" y="1447361"/>
                </a:lnTo>
                <a:lnTo>
                  <a:pt x="7081146" y="1449309"/>
                </a:lnTo>
                <a:lnTo>
                  <a:pt x="7084076" y="1449634"/>
                </a:lnTo>
                <a:lnTo>
                  <a:pt x="7084293" y="1447577"/>
                </a:lnTo>
                <a:lnTo>
                  <a:pt x="7087331" y="1448768"/>
                </a:lnTo>
                <a:lnTo>
                  <a:pt x="7090152" y="1453207"/>
                </a:lnTo>
                <a:lnTo>
                  <a:pt x="7090152" y="1458187"/>
                </a:lnTo>
                <a:lnTo>
                  <a:pt x="7093516" y="1460570"/>
                </a:lnTo>
                <a:lnTo>
                  <a:pt x="7097857" y="1468907"/>
                </a:lnTo>
                <a:lnTo>
                  <a:pt x="7106321" y="1480058"/>
                </a:lnTo>
                <a:lnTo>
                  <a:pt x="7107841" y="1485905"/>
                </a:lnTo>
                <a:lnTo>
                  <a:pt x="7114460" y="1497598"/>
                </a:lnTo>
                <a:lnTo>
                  <a:pt x="7121514" y="1506043"/>
                </a:lnTo>
                <a:lnTo>
                  <a:pt x="7122165" y="1510699"/>
                </a:lnTo>
                <a:lnTo>
                  <a:pt x="7125420" y="1512323"/>
                </a:lnTo>
                <a:lnTo>
                  <a:pt x="7127482" y="1517845"/>
                </a:lnTo>
                <a:lnTo>
                  <a:pt x="7132040" y="1526290"/>
                </a:lnTo>
                <a:lnTo>
                  <a:pt x="7134753" y="1528672"/>
                </a:lnTo>
                <a:lnTo>
                  <a:pt x="7134753" y="1531812"/>
                </a:lnTo>
                <a:lnTo>
                  <a:pt x="7138876" y="1537659"/>
                </a:lnTo>
                <a:lnTo>
                  <a:pt x="7142675" y="1544155"/>
                </a:lnTo>
                <a:lnTo>
                  <a:pt x="7149620" y="1549135"/>
                </a:lnTo>
                <a:lnTo>
                  <a:pt x="7154394" y="1555198"/>
                </a:lnTo>
                <a:lnTo>
                  <a:pt x="7156673" y="1561369"/>
                </a:lnTo>
                <a:lnTo>
                  <a:pt x="7154069" y="1560179"/>
                </a:lnTo>
                <a:lnTo>
                  <a:pt x="7149728" y="1553357"/>
                </a:lnTo>
                <a:lnTo>
                  <a:pt x="7145279" y="1550543"/>
                </a:lnTo>
                <a:lnTo>
                  <a:pt x="7140287" y="1548702"/>
                </a:lnTo>
                <a:lnTo>
                  <a:pt x="7137031" y="1541881"/>
                </a:lnTo>
                <a:lnTo>
                  <a:pt x="7131931" y="1538524"/>
                </a:lnTo>
                <a:lnTo>
                  <a:pt x="7126289" y="1537767"/>
                </a:lnTo>
                <a:lnTo>
                  <a:pt x="7120754" y="1539066"/>
                </a:lnTo>
                <a:lnTo>
                  <a:pt x="7118041" y="1538524"/>
                </a:lnTo>
                <a:lnTo>
                  <a:pt x="7115762" y="1538849"/>
                </a:lnTo>
                <a:lnTo>
                  <a:pt x="7115871" y="1541556"/>
                </a:lnTo>
                <a:lnTo>
                  <a:pt x="7115003" y="1545129"/>
                </a:lnTo>
                <a:lnTo>
                  <a:pt x="7112832" y="1548269"/>
                </a:lnTo>
                <a:lnTo>
                  <a:pt x="7116088" y="1554332"/>
                </a:lnTo>
                <a:lnTo>
                  <a:pt x="7116522" y="1558988"/>
                </a:lnTo>
                <a:lnTo>
                  <a:pt x="7115437" y="1567000"/>
                </a:lnTo>
                <a:lnTo>
                  <a:pt x="7118366" y="1571871"/>
                </a:lnTo>
                <a:lnTo>
                  <a:pt x="7119234" y="1581075"/>
                </a:lnTo>
                <a:lnTo>
                  <a:pt x="7119018" y="1588870"/>
                </a:lnTo>
                <a:lnTo>
                  <a:pt x="7120754" y="1594717"/>
                </a:lnTo>
                <a:lnTo>
                  <a:pt x="7124444" y="1600888"/>
                </a:lnTo>
                <a:lnTo>
                  <a:pt x="7126505" y="1609117"/>
                </a:lnTo>
                <a:lnTo>
                  <a:pt x="7130304" y="1613772"/>
                </a:lnTo>
                <a:lnTo>
                  <a:pt x="7133885" y="1614639"/>
                </a:lnTo>
                <a:lnTo>
                  <a:pt x="7139744" y="1619836"/>
                </a:lnTo>
                <a:lnTo>
                  <a:pt x="7142891" y="1625358"/>
                </a:lnTo>
                <a:lnTo>
                  <a:pt x="7143868" y="1632395"/>
                </a:lnTo>
                <a:lnTo>
                  <a:pt x="7150379" y="1636509"/>
                </a:lnTo>
                <a:lnTo>
                  <a:pt x="7153527" y="1636509"/>
                </a:lnTo>
                <a:lnTo>
                  <a:pt x="7156999" y="1634777"/>
                </a:lnTo>
                <a:lnTo>
                  <a:pt x="7158735" y="1638674"/>
                </a:lnTo>
                <a:lnTo>
                  <a:pt x="7159929" y="1645062"/>
                </a:lnTo>
                <a:lnTo>
                  <a:pt x="7164378" y="1648852"/>
                </a:lnTo>
                <a:lnTo>
                  <a:pt x="7164378" y="1654374"/>
                </a:lnTo>
                <a:lnTo>
                  <a:pt x="7164052" y="1659354"/>
                </a:lnTo>
                <a:lnTo>
                  <a:pt x="7165029" y="1661953"/>
                </a:lnTo>
                <a:lnTo>
                  <a:pt x="7164921" y="1665201"/>
                </a:lnTo>
                <a:lnTo>
                  <a:pt x="7162099" y="1662278"/>
                </a:lnTo>
                <a:lnTo>
                  <a:pt x="7161448" y="1657947"/>
                </a:lnTo>
                <a:lnTo>
                  <a:pt x="7156456" y="1652641"/>
                </a:lnTo>
                <a:lnTo>
                  <a:pt x="7156131" y="1649068"/>
                </a:lnTo>
                <a:lnTo>
                  <a:pt x="7157324" y="1647336"/>
                </a:lnTo>
                <a:lnTo>
                  <a:pt x="7155805" y="1644954"/>
                </a:lnTo>
                <a:lnTo>
                  <a:pt x="7153527" y="1645388"/>
                </a:lnTo>
                <a:lnTo>
                  <a:pt x="7152550" y="1647661"/>
                </a:lnTo>
                <a:lnTo>
                  <a:pt x="7143217" y="1648527"/>
                </a:lnTo>
                <a:lnTo>
                  <a:pt x="7140396" y="1646578"/>
                </a:lnTo>
                <a:lnTo>
                  <a:pt x="7140396" y="1643222"/>
                </a:lnTo>
                <a:lnTo>
                  <a:pt x="7138225" y="1642139"/>
                </a:lnTo>
                <a:lnTo>
                  <a:pt x="7133885" y="1645929"/>
                </a:lnTo>
                <a:lnTo>
                  <a:pt x="7132800" y="1653724"/>
                </a:lnTo>
                <a:lnTo>
                  <a:pt x="7134427" y="1659138"/>
                </a:lnTo>
                <a:lnTo>
                  <a:pt x="7136489" y="1663685"/>
                </a:lnTo>
                <a:lnTo>
                  <a:pt x="7135621" y="1668774"/>
                </a:lnTo>
                <a:lnTo>
                  <a:pt x="7136272" y="1674188"/>
                </a:lnTo>
                <a:lnTo>
                  <a:pt x="7130304" y="1670506"/>
                </a:lnTo>
                <a:lnTo>
                  <a:pt x="7126831" y="1663361"/>
                </a:lnTo>
                <a:lnTo>
                  <a:pt x="7121839" y="1659679"/>
                </a:lnTo>
                <a:lnTo>
                  <a:pt x="7119777" y="1653724"/>
                </a:lnTo>
                <a:lnTo>
                  <a:pt x="7120429" y="1643655"/>
                </a:lnTo>
                <a:lnTo>
                  <a:pt x="7121839" y="1636184"/>
                </a:lnTo>
                <a:lnTo>
                  <a:pt x="7121079" y="1632503"/>
                </a:lnTo>
                <a:lnTo>
                  <a:pt x="7114786" y="1624275"/>
                </a:lnTo>
                <a:lnTo>
                  <a:pt x="7113592" y="1619294"/>
                </a:lnTo>
                <a:lnTo>
                  <a:pt x="7109577" y="1611932"/>
                </a:lnTo>
                <a:lnTo>
                  <a:pt x="7108383" y="1604028"/>
                </a:lnTo>
                <a:lnTo>
                  <a:pt x="7109252" y="1594067"/>
                </a:lnTo>
                <a:lnTo>
                  <a:pt x="7105562" y="1587463"/>
                </a:lnTo>
                <a:lnTo>
                  <a:pt x="7105562" y="1582807"/>
                </a:lnTo>
                <a:lnTo>
                  <a:pt x="7096880" y="1571871"/>
                </a:lnTo>
                <a:lnTo>
                  <a:pt x="7092214" y="1567757"/>
                </a:lnTo>
                <a:lnTo>
                  <a:pt x="7091455" y="1561369"/>
                </a:lnTo>
                <a:lnTo>
                  <a:pt x="7092540" y="1557905"/>
                </a:lnTo>
                <a:lnTo>
                  <a:pt x="7088742" y="1548594"/>
                </a:lnTo>
                <a:lnTo>
                  <a:pt x="7087657" y="1540690"/>
                </a:lnTo>
                <a:lnTo>
                  <a:pt x="7088416" y="1536143"/>
                </a:lnTo>
                <a:lnTo>
                  <a:pt x="7086680" y="1533002"/>
                </a:lnTo>
                <a:lnTo>
                  <a:pt x="7086029" y="1524233"/>
                </a:lnTo>
                <a:lnTo>
                  <a:pt x="7083533" y="1517737"/>
                </a:lnTo>
                <a:lnTo>
                  <a:pt x="7082340" y="1512323"/>
                </a:lnTo>
                <a:lnTo>
                  <a:pt x="7077021" y="1503986"/>
                </a:lnTo>
                <a:lnTo>
                  <a:pt x="7076479" y="1500305"/>
                </a:lnTo>
                <a:lnTo>
                  <a:pt x="7077890" y="1498898"/>
                </a:lnTo>
                <a:lnTo>
                  <a:pt x="7073441" y="1494025"/>
                </a:lnTo>
                <a:lnTo>
                  <a:pt x="7069426" y="1491210"/>
                </a:lnTo>
                <a:lnTo>
                  <a:pt x="7069426" y="1486446"/>
                </a:lnTo>
                <a:lnTo>
                  <a:pt x="7065627" y="1480058"/>
                </a:lnTo>
                <a:lnTo>
                  <a:pt x="7066170" y="1473887"/>
                </a:lnTo>
                <a:lnTo>
                  <a:pt x="7064651" y="1465983"/>
                </a:lnTo>
                <a:lnTo>
                  <a:pt x="7059117" y="1457863"/>
                </a:lnTo>
                <a:lnTo>
                  <a:pt x="7055102" y="1456456"/>
                </a:lnTo>
                <a:lnTo>
                  <a:pt x="7043382" y="1444979"/>
                </a:lnTo>
                <a:lnTo>
                  <a:pt x="7045661" y="1443463"/>
                </a:lnTo>
                <a:lnTo>
                  <a:pt x="7045117" y="1441189"/>
                </a:lnTo>
                <a:lnTo>
                  <a:pt x="7040018" y="1438483"/>
                </a:lnTo>
                <a:lnTo>
                  <a:pt x="7036220" y="1430904"/>
                </a:lnTo>
                <a:lnTo>
                  <a:pt x="7033072" y="1419536"/>
                </a:lnTo>
                <a:lnTo>
                  <a:pt x="7032096" y="1411956"/>
                </a:lnTo>
                <a:lnTo>
                  <a:pt x="7030360" y="1409791"/>
                </a:lnTo>
                <a:lnTo>
                  <a:pt x="7029817" y="1399614"/>
                </a:lnTo>
                <a:lnTo>
                  <a:pt x="7025694" y="1392035"/>
                </a:lnTo>
                <a:lnTo>
                  <a:pt x="7020810" y="1386188"/>
                </a:lnTo>
                <a:lnTo>
                  <a:pt x="7019508" y="1380558"/>
                </a:lnTo>
                <a:lnTo>
                  <a:pt x="7015167" y="1375686"/>
                </a:lnTo>
                <a:lnTo>
                  <a:pt x="7017772" y="1369298"/>
                </a:lnTo>
                <a:lnTo>
                  <a:pt x="7020810" y="1366374"/>
                </a:lnTo>
                <a:lnTo>
                  <a:pt x="7023740" y="1370380"/>
                </a:lnTo>
                <a:lnTo>
                  <a:pt x="7027430" y="1371030"/>
                </a:lnTo>
                <a:lnTo>
                  <a:pt x="7031228" y="1368865"/>
                </a:lnTo>
                <a:lnTo>
                  <a:pt x="7030034" y="1363992"/>
                </a:lnTo>
                <a:lnTo>
                  <a:pt x="7026344" y="1363884"/>
                </a:lnTo>
                <a:lnTo>
                  <a:pt x="7025476" y="1360745"/>
                </a:lnTo>
                <a:lnTo>
                  <a:pt x="7028732" y="1359337"/>
                </a:lnTo>
                <a:lnTo>
                  <a:pt x="7030686" y="1357172"/>
                </a:lnTo>
                <a:lnTo>
                  <a:pt x="7029492" y="1353815"/>
                </a:lnTo>
                <a:lnTo>
                  <a:pt x="7026670" y="1354249"/>
                </a:lnTo>
                <a:lnTo>
                  <a:pt x="7024500" y="1356305"/>
                </a:lnTo>
                <a:lnTo>
                  <a:pt x="7025151" y="1350892"/>
                </a:lnTo>
                <a:lnTo>
                  <a:pt x="7022763" y="1347102"/>
                </a:lnTo>
                <a:lnTo>
                  <a:pt x="7014517" y="1342339"/>
                </a:lnTo>
                <a:lnTo>
                  <a:pt x="7008331" y="1335842"/>
                </a:lnTo>
                <a:lnTo>
                  <a:pt x="7012237" y="1335409"/>
                </a:lnTo>
                <a:lnTo>
                  <a:pt x="7015710" y="1337899"/>
                </a:lnTo>
                <a:lnTo>
                  <a:pt x="7018423" y="1336817"/>
                </a:lnTo>
                <a:lnTo>
                  <a:pt x="7018315" y="1333352"/>
                </a:lnTo>
                <a:lnTo>
                  <a:pt x="7016579" y="1331295"/>
                </a:lnTo>
                <a:close/>
                <a:moveTo>
                  <a:pt x="1078872" y="1328479"/>
                </a:moveTo>
                <a:lnTo>
                  <a:pt x="1079089" y="1333785"/>
                </a:lnTo>
                <a:lnTo>
                  <a:pt x="1075834" y="1332052"/>
                </a:lnTo>
                <a:close/>
                <a:moveTo>
                  <a:pt x="3796562" y="1327397"/>
                </a:moveTo>
                <a:lnTo>
                  <a:pt x="3800360" y="1329238"/>
                </a:lnTo>
                <a:lnTo>
                  <a:pt x="3799817" y="1331728"/>
                </a:lnTo>
                <a:lnTo>
                  <a:pt x="3800360" y="1336493"/>
                </a:lnTo>
                <a:close/>
                <a:moveTo>
                  <a:pt x="2607" y="1325448"/>
                </a:moveTo>
                <a:lnTo>
                  <a:pt x="4668" y="1328697"/>
                </a:lnTo>
                <a:lnTo>
                  <a:pt x="0" y="1330212"/>
                </a:lnTo>
                <a:close/>
                <a:moveTo>
                  <a:pt x="1072361" y="1324906"/>
                </a:moveTo>
                <a:lnTo>
                  <a:pt x="1075942" y="1326314"/>
                </a:lnTo>
                <a:lnTo>
                  <a:pt x="1071819" y="1331078"/>
                </a:lnTo>
                <a:close/>
                <a:moveTo>
                  <a:pt x="3066680" y="1322742"/>
                </a:moveTo>
                <a:lnTo>
                  <a:pt x="3067547" y="1324907"/>
                </a:lnTo>
                <a:lnTo>
                  <a:pt x="3065703" y="1325991"/>
                </a:lnTo>
                <a:lnTo>
                  <a:pt x="3062448" y="1323825"/>
                </a:lnTo>
                <a:lnTo>
                  <a:pt x="3064401" y="1322850"/>
                </a:lnTo>
                <a:close/>
                <a:moveTo>
                  <a:pt x="6883537" y="1320576"/>
                </a:moveTo>
                <a:lnTo>
                  <a:pt x="6884622" y="1323499"/>
                </a:lnTo>
                <a:lnTo>
                  <a:pt x="6882777" y="1326314"/>
                </a:lnTo>
                <a:lnTo>
                  <a:pt x="6884187" y="1329670"/>
                </a:lnTo>
                <a:lnTo>
                  <a:pt x="6882560" y="1330862"/>
                </a:lnTo>
                <a:lnTo>
                  <a:pt x="6879847" y="1329129"/>
                </a:lnTo>
                <a:lnTo>
                  <a:pt x="6878327" y="1330753"/>
                </a:lnTo>
                <a:lnTo>
                  <a:pt x="6878327" y="1331945"/>
                </a:lnTo>
                <a:lnTo>
                  <a:pt x="6876591" y="1332811"/>
                </a:lnTo>
                <a:lnTo>
                  <a:pt x="6874638" y="1329454"/>
                </a:lnTo>
                <a:lnTo>
                  <a:pt x="6874747" y="1325556"/>
                </a:lnTo>
                <a:lnTo>
                  <a:pt x="6879413" y="1323824"/>
                </a:lnTo>
                <a:lnTo>
                  <a:pt x="6882126" y="1320792"/>
                </a:lnTo>
                <a:close/>
                <a:moveTo>
                  <a:pt x="2955233" y="1320034"/>
                </a:moveTo>
                <a:lnTo>
                  <a:pt x="2958814" y="1320900"/>
                </a:lnTo>
                <a:lnTo>
                  <a:pt x="2960224" y="1324364"/>
                </a:lnTo>
                <a:lnTo>
                  <a:pt x="2956860" y="1325772"/>
                </a:lnTo>
                <a:lnTo>
                  <a:pt x="2955775" y="1323390"/>
                </a:lnTo>
                <a:lnTo>
                  <a:pt x="2953822" y="1322957"/>
                </a:lnTo>
                <a:lnTo>
                  <a:pt x="2953280" y="1321333"/>
                </a:lnTo>
                <a:close/>
                <a:moveTo>
                  <a:pt x="2980952" y="1317436"/>
                </a:moveTo>
                <a:lnTo>
                  <a:pt x="2982905" y="1318736"/>
                </a:lnTo>
                <a:lnTo>
                  <a:pt x="2982688" y="1321118"/>
                </a:lnTo>
                <a:lnTo>
                  <a:pt x="2979758" y="1321118"/>
                </a:lnTo>
                <a:lnTo>
                  <a:pt x="2979107" y="1318519"/>
                </a:lnTo>
                <a:close/>
                <a:moveTo>
                  <a:pt x="4026293" y="1317328"/>
                </a:moveTo>
                <a:lnTo>
                  <a:pt x="4031827" y="1319926"/>
                </a:lnTo>
                <a:lnTo>
                  <a:pt x="4027270" y="1320793"/>
                </a:lnTo>
                <a:close/>
                <a:moveTo>
                  <a:pt x="6895363" y="1317111"/>
                </a:moveTo>
                <a:lnTo>
                  <a:pt x="6898728" y="1318843"/>
                </a:lnTo>
                <a:lnTo>
                  <a:pt x="6903828" y="1317869"/>
                </a:lnTo>
                <a:lnTo>
                  <a:pt x="6905130" y="1318843"/>
                </a:lnTo>
                <a:lnTo>
                  <a:pt x="6904804" y="1320684"/>
                </a:lnTo>
                <a:lnTo>
                  <a:pt x="6902851" y="1323715"/>
                </a:lnTo>
                <a:lnTo>
                  <a:pt x="6903828" y="1325015"/>
                </a:lnTo>
                <a:lnTo>
                  <a:pt x="6906324" y="1323391"/>
                </a:lnTo>
                <a:lnTo>
                  <a:pt x="6907192" y="1321225"/>
                </a:lnTo>
                <a:lnTo>
                  <a:pt x="6911099" y="1321225"/>
                </a:lnTo>
                <a:lnTo>
                  <a:pt x="6910230" y="1323391"/>
                </a:lnTo>
                <a:lnTo>
                  <a:pt x="6907517" y="1325989"/>
                </a:lnTo>
                <a:lnTo>
                  <a:pt x="6907410" y="1329021"/>
                </a:lnTo>
                <a:lnTo>
                  <a:pt x="6909037" y="1331511"/>
                </a:lnTo>
                <a:lnTo>
                  <a:pt x="6907626" y="1334326"/>
                </a:lnTo>
                <a:lnTo>
                  <a:pt x="6905021" y="1336925"/>
                </a:lnTo>
                <a:lnTo>
                  <a:pt x="6901115" y="1335842"/>
                </a:lnTo>
                <a:lnTo>
                  <a:pt x="6898076" y="1332486"/>
                </a:lnTo>
                <a:lnTo>
                  <a:pt x="6895906" y="1331944"/>
                </a:lnTo>
                <a:lnTo>
                  <a:pt x="6894496" y="1333460"/>
                </a:lnTo>
                <a:lnTo>
                  <a:pt x="6893845" y="1335733"/>
                </a:lnTo>
                <a:lnTo>
                  <a:pt x="6892326" y="1336383"/>
                </a:lnTo>
                <a:lnTo>
                  <a:pt x="6888527" y="1329995"/>
                </a:lnTo>
                <a:lnTo>
                  <a:pt x="6888527" y="1326422"/>
                </a:lnTo>
                <a:lnTo>
                  <a:pt x="6891566" y="1323823"/>
                </a:lnTo>
                <a:lnTo>
                  <a:pt x="6892868" y="1319493"/>
                </a:lnTo>
                <a:close/>
                <a:moveTo>
                  <a:pt x="2994407" y="1317111"/>
                </a:moveTo>
                <a:lnTo>
                  <a:pt x="2995058" y="1318627"/>
                </a:lnTo>
                <a:lnTo>
                  <a:pt x="2992129" y="1320359"/>
                </a:lnTo>
                <a:lnTo>
                  <a:pt x="2989308" y="1320468"/>
                </a:lnTo>
                <a:lnTo>
                  <a:pt x="2988331" y="1319601"/>
                </a:lnTo>
                <a:lnTo>
                  <a:pt x="2990935" y="1317327"/>
                </a:lnTo>
                <a:close/>
                <a:moveTo>
                  <a:pt x="3799276" y="1316354"/>
                </a:moveTo>
                <a:lnTo>
                  <a:pt x="3800795" y="1318627"/>
                </a:lnTo>
                <a:lnTo>
                  <a:pt x="3800578" y="1321876"/>
                </a:lnTo>
                <a:lnTo>
                  <a:pt x="3797106" y="1317762"/>
                </a:lnTo>
                <a:close/>
                <a:moveTo>
                  <a:pt x="6078" y="1315271"/>
                </a:moveTo>
                <a:lnTo>
                  <a:pt x="10526" y="1317112"/>
                </a:lnTo>
                <a:lnTo>
                  <a:pt x="5643" y="1320902"/>
                </a:lnTo>
                <a:lnTo>
                  <a:pt x="2931" y="1317545"/>
                </a:lnTo>
                <a:close/>
                <a:moveTo>
                  <a:pt x="135104" y="1313539"/>
                </a:moveTo>
                <a:lnTo>
                  <a:pt x="146605" y="1315812"/>
                </a:lnTo>
                <a:lnTo>
                  <a:pt x="149861" y="1314947"/>
                </a:lnTo>
                <a:lnTo>
                  <a:pt x="153551" y="1317653"/>
                </a:lnTo>
                <a:lnTo>
                  <a:pt x="147910" y="1319061"/>
                </a:lnTo>
                <a:lnTo>
                  <a:pt x="137057" y="1316354"/>
                </a:lnTo>
                <a:lnTo>
                  <a:pt x="133150" y="1317436"/>
                </a:lnTo>
                <a:lnTo>
                  <a:pt x="130654" y="1314838"/>
                </a:lnTo>
                <a:close/>
                <a:moveTo>
                  <a:pt x="1135953" y="1311481"/>
                </a:moveTo>
                <a:lnTo>
                  <a:pt x="1137798" y="1316461"/>
                </a:lnTo>
                <a:lnTo>
                  <a:pt x="1135953" y="1321766"/>
                </a:lnTo>
                <a:lnTo>
                  <a:pt x="1137472" y="1325772"/>
                </a:lnTo>
                <a:lnTo>
                  <a:pt x="1131287" y="1334650"/>
                </a:lnTo>
                <a:lnTo>
                  <a:pt x="1124016" y="1340497"/>
                </a:lnTo>
                <a:lnTo>
                  <a:pt x="1121846" y="1338115"/>
                </a:lnTo>
                <a:lnTo>
                  <a:pt x="1124884" y="1332810"/>
                </a:lnTo>
                <a:lnTo>
                  <a:pt x="1129659" y="1329345"/>
                </a:lnTo>
                <a:lnTo>
                  <a:pt x="1129659" y="1327288"/>
                </a:lnTo>
                <a:lnTo>
                  <a:pt x="1120869" y="1331619"/>
                </a:lnTo>
                <a:lnTo>
                  <a:pt x="1119350" y="1328804"/>
                </a:lnTo>
                <a:lnTo>
                  <a:pt x="1123365" y="1324907"/>
                </a:lnTo>
                <a:lnTo>
                  <a:pt x="1122931" y="1322633"/>
                </a:lnTo>
                <a:lnTo>
                  <a:pt x="1125426" y="1316136"/>
                </a:lnTo>
                <a:lnTo>
                  <a:pt x="1130202" y="1314079"/>
                </a:lnTo>
                <a:lnTo>
                  <a:pt x="1130419" y="1311697"/>
                </a:lnTo>
                <a:close/>
                <a:moveTo>
                  <a:pt x="4027813" y="1309099"/>
                </a:moveTo>
                <a:lnTo>
                  <a:pt x="4032262" y="1312022"/>
                </a:lnTo>
                <a:lnTo>
                  <a:pt x="4030091" y="1314946"/>
                </a:lnTo>
                <a:close/>
                <a:moveTo>
                  <a:pt x="4174643" y="1308019"/>
                </a:moveTo>
                <a:lnTo>
                  <a:pt x="4174960" y="1316678"/>
                </a:lnTo>
                <a:lnTo>
                  <a:pt x="4174961" y="1316678"/>
                </a:lnTo>
                <a:close/>
                <a:moveTo>
                  <a:pt x="1085058" y="1306826"/>
                </a:moveTo>
                <a:lnTo>
                  <a:pt x="1086794" y="1309749"/>
                </a:lnTo>
                <a:lnTo>
                  <a:pt x="1084407" y="1311481"/>
                </a:lnTo>
                <a:lnTo>
                  <a:pt x="1082345" y="1308775"/>
                </a:lnTo>
                <a:close/>
                <a:moveTo>
                  <a:pt x="65760" y="1306826"/>
                </a:moveTo>
                <a:lnTo>
                  <a:pt x="68040" y="1307584"/>
                </a:lnTo>
                <a:lnTo>
                  <a:pt x="69775" y="1313755"/>
                </a:lnTo>
                <a:lnTo>
                  <a:pt x="64026" y="1318845"/>
                </a:lnTo>
                <a:lnTo>
                  <a:pt x="58925" y="1318845"/>
                </a:lnTo>
                <a:lnTo>
                  <a:pt x="61745" y="1312998"/>
                </a:lnTo>
                <a:lnTo>
                  <a:pt x="64242" y="1312132"/>
                </a:lnTo>
                <a:close/>
                <a:moveTo>
                  <a:pt x="54910" y="1305634"/>
                </a:moveTo>
                <a:lnTo>
                  <a:pt x="56539" y="1306825"/>
                </a:lnTo>
                <a:lnTo>
                  <a:pt x="53932" y="1310723"/>
                </a:lnTo>
                <a:lnTo>
                  <a:pt x="53392" y="1315054"/>
                </a:lnTo>
                <a:lnTo>
                  <a:pt x="47639" y="1318626"/>
                </a:lnTo>
                <a:lnTo>
                  <a:pt x="44927" y="1317111"/>
                </a:lnTo>
                <a:lnTo>
                  <a:pt x="48834" y="1314187"/>
                </a:lnTo>
                <a:lnTo>
                  <a:pt x="50571" y="1309965"/>
                </a:lnTo>
                <a:close/>
                <a:moveTo>
                  <a:pt x="170263" y="1304769"/>
                </a:moveTo>
                <a:lnTo>
                  <a:pt x="174711" y="1307692"/>
                </a:lnTo>
                <a:lnTo>
                  <a:pt x="169503" y="1310291"/>
                </a:lnTo>
                <a:lnTo>
                  <a:pt x="162775" y="1310291"/>
                </a:lnTo>
                <a:lnTo>
                  <a:pt x="164402" y="1305418"/>
                </a:lnTo>
                <a:close/>
                <a:moveTo>
                  <a:pt x="1157981" y="1304444"/>
                </a:moveTo>
                <a:lnTo>
                  <a:pt x="1157981" y="1304444"/>
                </a:lnTo>
                <a:lnTo>
                  <a:pt x="1158516" y="1304700"/>
                </a:lnTo>
                <a:close/>
                <a:moveTo>
                  <a:pt x="3787882" y="1302820"/>
                </a:moveTo>
                <a:lnTo>
                  <a:pt x="3792222" y="1308234"/>
                </a:lnTo>
                <a:lnTo>
                  <a:pt x="3788533" y="1307042"/>
                </a:lnTo>
                <a:close/>
                <a:moveTo>
                  <a:pt x="15843" y="1302387"/>
                </a:moveTo>
                <a:lnTo>
                  <a:pt x="15194" y="1307151"/>
                </a:lnTo>
                <a:lnTo>
                  <a:pt x="12046" y="1304119"/>
                </a:lnTo>
                <a:close/>
                <a:moveTo>
                  <a:pt x="33099" y="1301304"/>
                </a:moveTo>
                <a:lnTo>
                  <a:pt x="36678" y="1301737"/>
                </a:lnTo>
                <a:lnTo>
                  <a:pt x="42214" y="1307692"/>
                </a:lnTo>
                <a:lnTo>
                  <a:pt x="39283" y="1309316"/>
                </a:lnTo>
                <a:lnTo>
                  <a:pt x="36354" y="1312997"/>
                </a:lnTo>
                <a:lnTo>
                  <a:pt x="32773" y="1313863"/>
                </a:lnTo>
                <a:lnTo>
                  <a:pt x="31469" y="1310182"/>
                </a:lnTo>
                <a:lnTo>
                  <a:pt x="35487" y="1309208"/>
                </a:lnTo>
                <a:lnTo>
                  <a:pt x="30494" y="1306934"/>
                </a:lnTo>
                <a:lnTo>
                  <a:pt x="29517" y="1304335"/>
                </a:lnTo>
                <a:close/>
                <a:moveTo>
                  <a:pt x="199019" y="1300005"/>
                </a:moveTo>
                <a:lnTo>
                  <a:pt x="201081" y="1305960"/>
                </a:lnTo>
                <a:lnTo>
                  <a:pt x="196958" y="1304444"/>
                </a:lnTo>
                <a:close/>
                <a:moveTo>
                  <a:pt x="4041266" y="1299463"/>
                </a:moveTo>
                <a:lnTo>
                  <a:pt x="4042677" y="1303252"/>
                </a:lnTo>
                <a:lnTo>
                  <a:pt x="4038120" y="1303361"/>
                </a:lnTo>
                <a:close/>
                <a:moveTo>
                  <a:pt x="126312" y="1299247"/>
                </a:moveTo>
                <a:lnTo>
                  <a:pt x="129676" y="1300438"/>
                </a:lnTo>
                <a:lnTo>
                  <a:pt x="130546" y="1305418"/>
                </a:lnTo>
                <a:lnTo>
                  <a:pt x="127074" y="1307691"/>
                </a:lnTo>
                <a:lnTo>
                  <a:pt x="127290" y="1311805"/>
                </a:lnTo>
                <a:lnTo>
                  <a:pt x="121538" y="1311048"/>
                </a:lnTo>
                <a:lnTo>
                  <a:pt x="115789" y="1313213"/>
                </a:lnTo>
                <a:lnTo>
                  <a:pt x="110796" y="1312672"/>
                </a:lnTo>
                <a:lnTo>
                  <a:pt x="108299" y="1313646"/>
                </a:lnTo>
                <a:lnTo>
                  <a:pt x="104828" y="1311048"/>
                </a:lnTo>
                <a:lnTo>
                  <a:pt x="106238" y="1308774"/>
                </a:lnTo>
                <a:lnTo>
                  <a:pt x="110037" y="1309857"/>
                </a:lnTo>
                <a:lnTo>
                  <a:pt x="113182" y="1309965"/>
                </a:lnTo>
                <a:lnTo>
                  <a:pt x="116764" y="1306393"/>
                </a:lnTo>
                <a:lnTo>
                  <a:pt x="119150" y="1307367"/>
                </a:lnTo>
                <a:lnTo>
                  <a:pt x="121430" y="1306067"/>
                </a:lnTo>
                <a:lnTo>
                  <a:pt x="121646" y="1302387"/>
                </a:lnTo>
                <a:close/>
                <a:moveTo>
                  <a:pt x="1116745" y="1298922"/>
                </a:moveTo>
                <a:lnTo>
                  <a:pt x="1119349" y="1299571"/>
                </a:lnTo>
                <a:lnTo>
                  <a:pt x="1119349" y="1304660"/>
                </a:lnTo>
                <a:lnTo>
                  <a:pt x="1115876" y="1306826"/>
                </a:lnTo>
                <a:lnTo>
                  <a:pt x="1113381" y="1306176"/>
                </a:lnTo>
                <a:close/>
                <a:moveTo>
                  <a:pt x="1069106" y="1298922"/>
                </a:moveTo>
                <a:lnTo>
                  <a:pt x="1072470" y="1300654"/>
                </a:lnTo>
                <a:lnTo>
                  <a:pt x="1070083" y="1302712"/>
                </a:lnTo>
                <a:close/>
                <a:moveTo>
                  <a:pt x="4176262" y="1298922"/>
                </a:moveTo>
                <a:lnTo>
                  <a:pt x="4174635" y="1307799"/>
                </a:lnTo>
                <a:lnTo>
                  <a:pt x="4174635" y="1307800"/>
                </a:lnTo>
                <a:lnTo>
                  <a:pt x="4176262" y="1298922"/>
                </a:lnTo>
                <a:close/>
                <a:moveTo>
                  <a:pt x="3792873" y="1298706"/>
                </a:moveTo>
                <a:lnTo>
                  <a:pt x="3798842" y="1308667"/>
                </a:lnTo>
                <a:lnTo>
                  <a:pt x="3803399" y="1312132"/>
                </a:lnTo>
                <a:lnTo>
                  <a:pt x="3799492" y="1312023"/>
                </a:lnTo>
                <a:lnTo>
                  <a:pt x="3793199" y="1305743"/>
                </a:lnTo>
                <a:lnTo>
                  <a:pt x="3791354" y="1300655"/>
                </a:lnTo>
                <a:close/>
                <a:moveTo>
                  <a:pt x="3795261" y="1297947"/>
                </a:moveTo>
                <a:lnTo>
                  <a:pt x="3797757" y="1297947"/>
                </a:lnTo>
                <a:lnTo>
                  <a:pt x="3802314" y="1301087"/>
                </a:lnTo>
                <a:lnTo>
                  <a:pt x="3802314" y="1305094"/>
                </a:lnTo>
                <a:lnTo>
                  <a:pt x="3799168" y="1304010"/>
                </a:lnTo>
                <a:close/>
                <a:moveTo>
                  <a:pt x="3802314" y="1297730"/>
                </a:moveTo>
                <a:lnTo>
                  <a:pt x="3804159" y="1297838"/>
                </a:lnTo>
                <a:lnTo>
                  <a:pt x="3805027" y="1300979"/>
                </a:lnTo>
                <a:close/>
                <a:moveTo>
                  <a:pt x="4045609" y="1296540"/>
                </a:moveTo>
                <a:lnTo>
                  <a:pt x="4048973" y="1297514"/>
                </a:lnTo>
                <a:lnTo>
                  <a:pt x="4050601" y="1300330"/>
                </a:lnTo>
                <a:lnTo>
                  <a:pt x="4045718" y="1303253"/>
                </a:lnTo>
                <a:close/>
                <a:moveTo>
                  <a:pt x="228104" y="1295024"/>
                </a:moveTo>
                <a:lnTo>
                  <a:pt x="230817" y="1297406"/>
                </a:lnTo>
                <a:lnTo>
                  <a:pt x="228428" y="1298706"/>
                </a:lnTo>
                <a:lnTo>
                  <a:pt x="225174" y="1297189"/>
                </a:lnTo>
                <a:close/>
                <a:moveTo>
                  <a:pt x="1091134" y="1294375"/>
                </a:moveTo>
                <a:lnTo>
                  <a:pt x="1094172" y="1296973"/>
                </a:lnTo>
                <a:lnTo>
                  <a:pt x="1091459" y="1300005"/>
                </a:lnTo>
                <a:lnTo>
                  <a:pt x="1088854" y="1300005"/>
                </a:lnTo>
                <a:lnTo>
                  <a:pt x="1085708" y="1302279"/>
                </a:lnTo>
                <a:lnTo>
                  <a:pt x="1083321" y="1301304"/>
                </a:lnTo>
                <a:lnTo>
                  <a:pt x="1087010" y="1295783"/>
                </a:lnTo>
                <a:close/>
                <a:moveTo>
                  <a:pt x="214538" y="1294158"/>
                </a:moveTo>
                <a:lnTo>
                  <a:pt x="218986" y="1298272"/>
                </a:lnTo>
                <a:lnTo>
                  <a:pt x="215190" y="1297948"/>
                </a:lnTo>
                <a:lnTo>
                  <a:pt x="209980" y="1302171"/>
                </a:lnTo>
                <a:lnTo>
                  <a:pt x="210416" y="1297948"/>
                </a:lnTo>
                <a:close/>
                <a:moveTo>
                  <a:pt x="2548514" y="1293508"/>
                </a:moveTo>
                <a:lnTo>
                  <a:pt x="2549057" y="1295240"/>
                </a:lnTo>
                <a:lnTo>
                  <a:pt x="2548623" y="1297730"/>
                </a:lnTo>
                <a:lnTo>
                  <a:pt x="2549816" y="1298597"/>
                </a:lnTo>
                <a:lnTo>
                  <a:pt x="2549599" y="1300762"/>
                </a:lnTo>
                <a:lnTo>
                  <a:pt x="2546127" y="1303360"/>
                </a:lnTo>
                <a:lnTo>
                  <a:pt x="2544391" y="1305851"/>
                </a:lnTo>
                <a:lnTo>
                  <a:pt x="2541243" y="1305959"/>
                </a:lnTo>
                <a:lnTo>
                  <a:pt x="2536903" y="1309424"/>
                </a:lnTo>
                <a:lnTo>
                  <a:pt x="2535058" y="1309424"/>
                </a:lnTo>
                <a:lnTo>
                  <a:pt x="2534407" y="1306608"/>
                </a:lnTo>
                <a:lnTo>
                  <a:pt x="2535817" y="1302602"/>
                </a:lnTo>
                <a:lnTo>
                  <a:pt x="2537771" y="1300437"/>
                </a:lnTo>
                <a:lnTo>
                  <a:pt x="2538205" y="1298271"/>
                </a:lnTo>
                <a:lnTo>
                  <a:pt x="2543088" y="1294157"/>
                </a:lnTo>
                <a:close/>
                <a:moveTo>
                  <a:pt x="1152068" y="1292851"/>
                </a:moveTo>
                <a:lnTo>
                  <a:pt x="1155267" y="1295025"/>
                </a:lnTo>
                <a:lnTo>
                  <a:pt x="1156137" y="1296760"/>
                </a:lnTo>
                <a:lnTo>
                  <a:pt x="1155267" y="1295024"/>
                </a:lnTo>
                <a:close/>
                <a:moveTo>
                  <a:pt x="1118480" y="1291885"/>
                </a:moveTo>
                <a:lnTo>
                  <a:pt x="1118480" y="1295133"/>
                </a:lnTo>
                <a:lnTo>
                  <a:pt x="1116093" y="1297515"/>
                </a:lnTo>
                <a:lnTo>
                  <a:pt x="1113488" y="1301522"/>
                </a:lnTo>
                <a:lnTo>
                  <a:pt x="1110125" y="1300763"/>
                </a:lnTo>
                <a:lnTo>
                  <a:pt x="1110776" y="1296865"/>
                </a:lnTo>
                <a:close/>
                <a:moveTo>
                  <a:pt x="238630" y="1290802"/>
                </a:moveTo>
                <a:lnTo>
                  <a:pt x="240476" y="1293400"/>
                </a:lnTo>
                <a:lnTo>
                  <a:pt x="237112" y="1295674"/>
                </a:lnTo>
                <a:lnTo>
                  <a:pt x="233637" y="1292967"/>
                </a:lnTo>
                <a:close/>
                <a:moveTo>
                  <a:pt x="1124232" y="1290368"/>
                </a:moveTo>
                <a:lnTo>
                  <a:pt x="1125751" y="1291667"/>
                </a:lnTo>
                <a:lnTo>
                  <a:pt x="1125534" y="1296864"/>
                </a:lnTo>
                <a:lnTo>
                  <a:pt x="1122821" y="1300329"/>
                </a:lnTo>
                <a:lnTo>
                  <a:pt x="1120217" y="1296756"/>
                </a:lnTo>
                <a:lnTo>
                  <a:pt x="1121953" y="1294266"/>
                </a:lnTo>
                <a:close/>
                <a:moveTo>
                  <a:pt x="1094714" y="1287228"/>
                </a:moveTo>
                <a:lnTo>
                  <a:pt x="1098730" y="1288311"/>
                </a:lnTo>
                <a:lnTo>
                  <a:pt x="1101768" y="1293291"/>
                </a:lnTo>
                <a:lnTo>
                  <a:pt x="1098730" y="1297730"/>
                </a:lnTo>
                <a:lnTo>
                  <a:pt x="1097645" y="1300437"/>
                </a:lnTo>
                <a:lnTo>
                  <a:pt x="1100466" y="1303360"/>
                </a:lnTo>
                <a:lnTo>
                  <a:pt x="1101660" y="1302711"/>
                </a:lnTo>
                <a:lnTo>
                  <a:pt x="1106978" y="1305850"/>
                </a:lnTo>
                <a:lnTo>
                  <a:pt x="1107194" y="1312888"/>
                </a:lnTo>
                <a:lnTo>
                  <a:pt x="1103830" y="1313213"/>
                </a:lnTo>
                <a:lnTo>
                  <a:pt x="1107846" y="1317544"/>
                </a:lnTo>
                <a:lnTo>
                  <a:pt x="1107846" y="1320900"/>
                </a:lnTo>
                <a:lnTo>
                  <a:pt x="1104373" y="1321225"/>
                </a:lnTo>
                <a:lnTo>
                  <a:pt x="1103179" y="1320034"/>
                </a:lnTo>
                <a:lnTo>
                  <a:pt x="1101117" y="1324581"/>
                </a:lnTo>
                <a:lnTo>
                  <a:pt x="1106434" y="1328371"/>
                </a:lnTo>
                <a:lnTo>
                  <a:pt x="1108822" y="1332485"/>
                </a:lnTo>
                <a:lnTo>
                  <a:pt x="1104047" y="1335409"/>
                </a:lnTo>
                <a:lnTo>
                  <a:pt x="1103505" y="1336924"/>
                </a:lnTo>
                <a:lnTo>
                  <a:pt x="1106760" y="1336383"/>
                </a:lnTo>
                <a:lnTo>
                  <a:pt x="1108714" y="1337466"/>
                </a:lnTo>
                <a:lnTo>
                  <a:pt x="1108714" y="1340822"/>
                </a:lnTo>
                <a:lnTo>
                  <a:pt x="1104373" y="1343745"/>
                </a:lnTo>
                <a:lnTo>
                  <a:pt x="1101660" y="1344503"/>
                </a:lnTo>
                <a:lnTo>
                  <a:pt x="1099598" y="1348293"/>
                </a:lnTo>
                <a:lnTo>
                  <a:pt x="1101660" y="1348401"/>
                </a:lnTo>
                <a:lnTo>
                  <a:pt x="1103505" y="1350891"/>
                </a:lnTo>
                <a:lnTo>
                  <a:pt x="1101443" y="1352948"/>
                </a:lnTo>
                <a:lnTo>
                  <a:pt x="1103396" y="1356197"/>
                </a:lnTo>
                <a:lnTo>
                  <a:pt x="1100792" y="1358578"/>
                </a:lnTo>
                <a:lnTo>
                  <a:pt x="1096777" y="1358795"/>
                </a:lnTo>
                <a:lnTo>
                  <a:pt x="1094606" y="1356846"/>
                </a:lnTo>
                <a:lnTo>
                  <a:pt x="1095909" y="1352948"/>
                </a:lnTo>
                <a:lnTo>
                  <a:pt x="1091459" y="1349268"/>
                </a:lnTo>
                <a:lnTo>
                  <a:pt x="1092110" y="1345694"/>
                </a:lnTo>
                <a:lnTo>
                  <a:pt x="1095257" y="1342987"/>
                </a:lnTo>
                <a:lnTo>
                  <a:pt x="1092653" y="1340064"/>
                </a:lnTo>
                <a:lnTo>
                  <a:pt x="1093521" y="1337466"/>
                </a:lnTo>
                <a:lnTo>
                  <a:pt x="1096994" y="1335409"/>
                </a:lnTo>
                <a:lnTo>
                  <a:pt x="1095040" y="1333135"/>
                </a:lnTo>
                <a:lnTo>
                  <a:pt x="1092002" y="1333784"/>
                </a:lnTo>
                <a:lnTo>
                  <a:pt x="1090591" y="1336275"/>
                </a:lnTo>
                <a:lnTo>
                  <a:pt x="1088746" y="1334001"/>
                </a:lnTo>
                <a:lnTo>
                  <a:pt x="1085273" y="1334001"/>
                </a:lnTo>
                <a:lnTo>
                  <a:pt x="1083863" y="1331619"/>
                </a:lnTo>
                <a:lnTo>
                  <a:pt x="1085599" y="1329021"/>
                </a:lnTo>
                <a:lnTo>
                  <a:pt x="1088203" y="1329021"/>
                </a:lnTo>
                <a:lnTo>
                  <a:pt x="1089397" y="1325772"/>
                </a:lnTo>
                <a:lnTo>
                  <a:pt x="1089397" y="1323715"/>
                </a:lnTo>
                <a:lnTo>
                  <a:pt x="1094172" y="1320034"/>
                </a:lnTo>
                <a:lnTo>
                  <a:pt x="1094172" y="1317869"/>
                </a:lnTo>
                <a:lnTo>
                  <a:pt x="1091459" y="1317111"/>
                </a:lnTo>
                <a:lnTo>
                  <a:pt x="1088746" y="1317977"/>
                </a:lnTo>
                <a:lnTo>
                  <a:pt x="1087553" y="1316136"/>
                </a:lnTo>
                <a:lnTo>
                  <a:pt x="1088854" y="1314079"/>
                </a:lnTo>
                <a:lnTo>
                  <a:pt x="1093304" y="1312888"/>
                </a:lnTo>
                <a:lnTo>
                  <a:pt x="1094606" y="1308340"/>
                </a:lnTo>
                <a:lnTo>
                  <a:pt x="1094172" y="1304876"/>
                </a:lnTo>
                <a:lnTo>
                  <a:pt x="1096342" y="1298163"/>
                </a:lnTo>
                <a:lnTo>
                  <a:pt x="1095257" y="1293724"/>
                </a:lnTo>
                <a:lnTo>
                  <a:pt x="1092002" y="1289718"/>
                </a:lnTo>
                <a:close/>
                <a:moveTo>
                  <a:pt x="231360" y="1287228"/>
                </a:moveTo>
                <a:lnTo>
                  <a:pt x="232551" y="1289934"/>
                </a:lnTo>
                <a:lnTo>
                  <a:pt x="228104" y="1290152"/>
                </a:lnTo>
                <a:close/>
                <a:moveTo>
                  <a:pt x="4173292" y="1284978"/>
                </a:moveTo>
                <a:lnTo>
                  <a:pt x="4174960" y="1289393"/>
                </a:lnTo>
                <a:lnTo>
                  <a:pt x="4176133" y="1297974"/>
                </a:lnTo>
                <a:lnTo>
                  <a:pt x="4174961" y="1289394"/>
                </a:lnTo>
                <a:close/>
                <a:moveTo>
                  <a:pt x="1109256" y="1284955"/>
                </a:moveTo>
                <a:lnTo>
                  <a:pt x="1116744" y="1285712"/>
                </a:lnTo>
                <a:lnTo>
                  <a:pt x="1116093" y="1288744"/>
                </a:lnTo>
                <a:lnTo>
                  <a:pt x="1111644" y="1294483"/>
                </a:lnTo>
                <a:lnTo>
                  <a:pt x="1107628" y="1292750"/>
                </a:lnTo>
                <a:lnTo>
                  <a:pt x="1105241" y="1288961"/>
                </a:lnTo>
                <a:close/>
                <a:moveTo>
                  <a:pt x="1134216" y="1278567"/>
                </a:moveTo>
                <a:lnTo>
                  <a:pt x="1134216" y="1278568"/>
                </a:lnTo>
                <a:lnTo>
                  <a:pt x="1138231" y="1278676"/>
                </a:lnTo>
                <a:lnTo>
                  <a:pt x="1141486" y="1279975"/>
                </a:lnTo>
                <a:lnTo>
                  <a:pt x="1141486" y="1279975"/>
                </a:lnTo>
                <a:lnTo>
                  <a:pt x="1138230" y="1278675"/>
                </a:lnTo>
                <a:close/>
                <a:moveTo>
                  <a:pt x="3087840" y="1275753"/>
                </a:moveTo>
                <a:lnTo>
                  <a:pt x="3087298" y="1277485"/>
                </a:lnTo>
                <a:lnTo>
                  <a:pt x="3086538" y="1276077"/>
                </a:lnTo>
                <a:close/>
                <a:moveTo>
                  <a:pt x="4174526" y="1275427"/>
                </a:moveTo>
                <a:lnTo>
                  <a:pt x="4172464" y="1282789"/>
                </a:lnTo>
                <a:lnTo>
                  <a:pt x="4172464" y="1282789"/>
                </a:lnTo>
                <a:lnTo>
                  <a:pt x="4174526" y="1275428"/>
                </a:lnTo>
                <a:close/>
                <a:moveTo>
                  <a:pt x="3090227" y="1269255"/>
                </a:moveTo>
                <a:lnTo>
                  <a:pt x="3090119" y="1271637"/>
                </a:lnTo>
                <a:lnTo>
                  <a:pt x="3088600" y="1272612"/>
                </a:lnTo>
                <a:lnTo>
                  <a:pt x="3089034" y="1270013"/>
                </a:lnTo>
                <a:close/>
                <a:moveTo>
                  <a:pt x="1119674" y="1268823"/>
                </a:moveTo>
                <a:lnTo>
                  <a:pt x="1122170" y="1276402"/>
                </a:lnTo>
                <a:lnTo>
                  <a:pt x="1119240" y="1280840"/>
                </a:lnTo>
                <a:lnTo>
                  <a:pt x="1113489" y="1282465"/>
                </a:lnTo>
                <a:lnTo>
                  <a:pt x="1111753" y="1280191"/>
                </a:lnTo>
                <a:lnTo>
                  <a:pt x="1111753" y="1277268"/>
                </a:lnTo>
                <a:lnTo>
                  <a:pt x="1116310" y="1270555"/>
                </a:lnTo>
                <a:close/>
                <a:moveTo>
                  <a:pt x="288980" y="1267308"/>
                </a:moveTo>
                <a:lnTo>
                  <a:pt x="290500" y="1272288"/>
                </a:lnTo>
                <a:lnTo>
                  <a:pt x="293649" y="1272938"/>
                </a:lnTo>
                <a:lnTo>
                  <a:pt x="288980" y="1274886"/>
                </a:lnTo>
                <a:lnTo>
                  <a:pt x="287462" y="1279326"/>
                </a:lnTo>
                <a:lnTo>
                  <a:pt x="280408" y="1281925"/>
                </a:lnTo>
                <a:lnTo>
                  <a:pt x="272813" y="1290370"/>
                </a:lnTo>
                <a:lnTo>
                  <a:pt x="266410" y="1290370"/>
                </a:lnTo>
                <a:lnTo>
                  <a:pt x="261201" y="1296217"/>
                </a:lnTo>
                <a:lnTo>
                  <a:pt x="252196" y="1296217"/>
                </a:lnTo>
                <a:lnTo>
                  <a:pt x="256862" y="1292102"/>
                </a:lnTo>
                <a:lnTo>
                  <a:pt x="259572" y="1292102"/>
                </a:lnTo>
                <a:lnTo>
                  <a:pt x="262830" y="1286797"/>
                </a:lnTo>
                <a:lnTo>
                  <a:pt x="265762" y="1285064"/>
                </a:lnTo>
                <a:lnTo>
                  <a:pt x="265762" y="1282682"/>
                </a:lnTo>
                <a:lnTo>
                  <a:pt x="271619" y="1277702"/>
                </a:lnTo>
                <a:lnTo>
                  <a:pt x="276285" y="1276836"/>
                </a:lnTo>
                <a:lnTo>
                  <a:pt x="278130" y="1272397"/>
                </a:lnTo>
                <a:lnTo>
                  <a:pt x="276936" y="1269690"/>
                </a:lnTo>
                <a:lnTo>
                  <a:pt x="284533" y="1269690"/>
                </a:lnTo>
                <a:cubicBezTo>
                  <a:pt x="286084" y="1269030"/>
                  <a:pt x="287573" y="1268233"/>
                  <a:pt x="288980" y="1267308"/>
                </a:cubicBezTo>
                <a:close/>
                <a:moveTo>
                  <a:pt x="4092271" y="1262110"/>
                </a:moveTo>
                <a:lnTo>
                  <a:pt x="4093465" y="1267307"/>
                </a:lnTo>
                <a:lnTo>
                  <a:pt x="4091077" y="1269473"/>
                </a:lnTo>
                <a:lnTo>
                  <a:pt x="4088039" y="1266874"/>
                </a:lnTo>
                <a:close/>
                <a:moveTo>
                  <a:pt x="3093157" y="1261244"/>
                </a:moveTo>
                <a:lnTo>
                  <a:pt x="3092506" y="1263084"/>
                </a:lnTo>
                <a:lnTo>
                  <a:pt x="3091313" y="1263301"/>
                </a:lnTo>
                <a:lnTo>
                  <a:pt x="3090879" y="1261893"/>
                </a:lnTo>
                <a:lnTo>
                  <a:pt x="3091530" y="1261352"/>
                </a:lnTo>
                <a:close/>
                <a:moveTo>
                  <a:pt x="2611778" y="1258862"/>
                </a:moveTo>
                <a:lnTo>
                  <a:pt x="2618832" y="1259945"/>
                </a:lnTo>
                <a:lnTo>
                  <a:pt x="2623390" y="1262543"/>
                </a:lnTo>
                <a:lnTo>
                  <a:pt x="2623715" y="1264492"/>
                </a:lnTo>
                <a:lnTo>
                  <a:pt x="2621437" y="1266116"/>
                </a:lnTo>
                <a:lnTo>
                  <a:pt x="2621002" y="1268823"/>
                </a:lnTo>
                <a:lnTo>
                  <a:pt x="2619266" y="1270339"/>
                </a:lnTo>
                <a:lnTo>
                  <a:pt x="2618289" y="1272829"/>
                </a:lnTo>
                <a:lnTo>
                  <a:pt x="2617204" y="1273154"/>
                </a:lnTo>
                <a:lnTo>
                  <a:pt x="2615468" y="1271421"/>
                </a:lnTo>
                <a:lnTo>
                  <a:pt x="2615251" y="1268715"/>
                </a:lnTo>
                <a:lnTo>
                  <a:pt x="2612972" y="1266982"/>
                </a:lnTo>
                <a:lnTo>
                  <a:pt x="2610476" y="1266441"/>
                </a:lnTo>
                <a:lnTo>
                  <a:pt x="2607546" y="1262976"/>
                </a:lnTo>
                <a:lnTo>
                  <a:pt x="2607546" y="1260486"/>
                </a:lnTo>
                <a:lnTo>
                  <a:pt x="2609499" y="1260053"/>
                </a:lnTo>
                <a:close/>
                <a:moveTo>
                  <a:pt x="1087662" y="1256263"/>
                </a:moveTo>
                <a:lnTo>
                  <a:pt x="1089940" y="1256263"/>
                </a:lnTo>
                <a:lnTo>
                  <a:pt x="1094064" y="1262001"/>
                </a:lnTo>
                <a:lnTo>
                  <a:pt x="1092111" y="1265791"/>
                </a:lnTo>
                <a:lnTo>
                  <a:pt x="1092653" y="1268714"/>
                </a:lnTo>
                <a:lnTo>
                  <a:pt x="1095041" y="1265899"/>
                </a:lnTo>
                <a:lnTo>
                  <a:pt x="1096668" y="1268281"/>
                </a:lnTo>
                <a:lnTo>
                  <a:pt x="1092979" y="1277809"/>
                </a:lnTo>
                <a:lnTo>
                  <a:pt x="1085925" y="1285171"/>
                </a:lnTo>
                <a:lnTo>
                  <a:pt x="1086034" y="1289285"/>
                </a:lnTo>
                <a:lnTo>
                  <a:pt x="1083646" y="1292750"/>
                </a:lnTo>
                <a:lnTo>
                  <a:pt x="1078871" y="1294266"/>
                </a:lnTo>
                <a:lnTo>
                  <a:pt x="1080608" y="1289826"/>
                </a:lnTo>
                <a:lnTo>
                  <a:pt x="1079089" y="1287228"/>
                </a:lnTo>
                <a:lnTo>
                  <a:pt x="1076267" y="1295673"/>
                </a:lnTo>
                <a:lnTo>
                  <a:pt x="1074531" y="1293399"/>
                </a:lnTo>
                <a:lnTo>
                  <a:pt x="1075073" y="1289935"/>
                </a:lnTo>
                <a:lnTo>
                  <a:pt x="1077135" y="1286254"/>
                </a:lnTo>
                <a:lnTo>
                  <a:pt x="1076810" y="1283655"/>
                </a:lnTo>
                <a:lnTo>
                  <a:pt x="1078763" y="1280191"/>
                </a:lnTo>
                <a:lnTo>
                  <a:pt x="1081476" y="1282464"/>
                </a:lnTo>
                <a:lnTo>
                  <a:pt x="1083864" y="1279866"/>
                </a:lnTo>
                <a:lnTo>
                  <a:pt x="1084080" y="1276726"/>
                </a:lnTo>
                <a:lnTo>
                  <a:pt x="1080282" y="1274128"/>
                </a:lnTo>
                <a:lnTo>
                  <a:pt x="1083646" y="1269363"/>
                </a:lnTo>
                <a:lnTo>
                  <a:pt x="1081259" y="1267306"/>
                </a:lnTo>
                <a:lnTo>
                  <a:pt x="1081802" y="1262326"/>
                </a:lnTo>
                <a:lnTo>
                  <a:pt x="1083646" y="1259403"/>
                </a:lnTo>
                <a:lnTo>
                  <a:pt x="1087878" y="1261135"/>
                </a:lnTo>
                <a:close/>
                <a:moveTo>
                  <a:pt x="4083046" y="1255505"/>
                </a:moveTo>
                <a:lnTo>
                  <a:pt x="4088037" y="1255505"/>
                </a:lnTo>
                <a:lnTo>
                  <a:pt x="4089448" y="1259078"/>
                </a:lnTo>
                <a:lnTo>
                  <a:pt x="4087603" y="1260595"/>
                </a:lnTo>
                <a:close/>
                <a:moveTo>
                  <a:pt x="4349998" y="1253557"/>
                </a:moveTo>
                <a:lnTo>
                  <a:pt x="4352819" y="1255939"/>
                </a:lnTo>
                <a:lnTo>
                  <a:pt x="4355858" y="1254423"/>
                </a:lnTo>
                <a:lnTo>
                  <a:pt x="4355423" y="1258429"/>
                </a:lnTo>
                <a:lnTo>
                  <a:pt x="4351192" y="1260812"/>
                </a:lnTo>
                <a:lnTo>
                  <a:pt x="4348479" y="1257563"/>
                </a:lnTo>
                <a:close/>
                <a:moveTo>
                  <a:pt x="362663" y="1253232"/>
                </a:moveTo>
                <a:lnTo>
                  <a:pt x="365049" y="1255398"/>
                </a:lnTo>
                <a:lnTo>
                  <a:pt x="360167" y="1255290"/>
                </a:lnTo>
                <a:close/>
                <a:moveTo>
                  <a:pt x="340416" y="1253232"/>
                </a:moveTo>
                <a:lnTo>
                  <a:pt x="343999" y="1255397"/>
                </a:lnTo>
                <a:lnTo>
                  <a:pt x="344105" y="1258104"/>
                </a:lnTo>
                <a:lnTo>
                  <a:pt x="339984" y="1256155"/>
                </a:lnTo>
                <a:close/>
                <a:moveTo>
                  <a:pt x="1102855" y="1252040"/>
                </a:moveTo>
                <a:lnTo>
                  <a:pt x="1107629" y="1257345"/>
                </a:lnTo>
                <a:lnTo>
                  <a:pt x="1112079" y="1257345"/>
                </a:lnTo>
                <a:lnTo>
                  <a:pt x="1115443" y="1261568"/>
                </a:lnTo>
                <a:lnTo>
                  <a:pt x="1115443" y="1267631"/>
                </a:lnTo>
                <a:lnTo>
                  <a:pt x="1111754" y="1273694"/>
                </a:lnTo>
                <a:lnTo>
                  <a:pt x="1109583" y="1274344"/>
                </a:lnTo>
                <a:lnTo>
                  <a:pt x="1108823" y="1268172"/>
                </a:lnTo>
                <a:lnTo>
                  <a:pt x="1106219" y="1269146"/>
                </a:lnTo>
                <a:lnTo>
                  <a:pt x="1106219" y="1274344"/>
                </a:lnTo>
                <a:lnTo>
                  <a:pt x="1104374" y="1276401"/>
                </a:lnTo>
                <a:lnTo>
                  <a:pt x="1106979" y="1280407"/>
                </a:lnTo>
                <a:lnTo>
                  <a:pt x="1103831" y="1282464"/>
                </a:lnTo>
                <a:lnTo>
                  <a:pt x="1101987" y="1280840"/>
                </a:lnTo>
                <a:lnTo>
                  <a:pt x="1099165" y="1284305"/>
                </a:lnTo>
                <a:lnTo>
                  <a:pt x="1096127" y="1283655"/>
                </a:lnTo>
                <a:lnTo>
                  <a:pt x="1096344" y="1277808"/>
                </a:lnTo>
                <a:lnTo>
                  <a:pt x="1099165" y="1266981"/>
                </a:lnTo>
                <a:lnTo>
                  <a:pt x="1101444" y="1263733"/>
                </a:lnTo>
                <a:lnTo>
                  <a:pt x="1097104" y="1262001"/>
                </a:lnTo>
                <a:lnTo>
                  <a:pt x="1098189" y="1257995"/>
                </a:lnTo>
                <a:lnTo>
                  <a:pt x="1096344" y="1255288"/>
                </a:lnTo>
                <a:lnTo>
                  <a:pt x="1096778" y="1252148"/>
                </a:lnTo>
                <a:close/>
                <a:moveTo>
                  <a:pt x="367764" y="1252040"/>
                </a:moveTo>
                <a:lnTo>
                  <a:pt x="372106" y="1252148"/>
                </a:lnTo>
                <a:lnTo>
                  <a:pt x="373516" y="1254530"/>
                </a:lnTo>
                <a:lnTo>
                  <a:pt x="369175" y="1255180"/>
                </a:lnTo>
                <a:lnTo>
                  <a:pt x="368307" y="1254421"/>
                </a:lnTo>
                <a:close/>
                <a:moveTo>
                  <a:pt x="329024" y="1251283"/>
                </a:moveTo>
                <a:lnTo>
                  <a:pt x="330650" y="1254314"/>
                </a:lnTo>
                <a:lnTo>
                  <a:pt x="335859" y="1255830"/>
                </a:lnTo>
                <a:lnTo>
                  <a:pt x="337054" y="1260053"/>
                </a:lnTo>
                <a:lnTo>
                  <a:pt x="332387" y="1263518"/>
                </a:lnTo>
                <a:lnTo>
                  <a:pt x="336185" y="1264601"/>
                </a:lnTo>
                <a:lnTo>
                  <a:pt x="336294" y="1266550"/>
                </a:lnTo>
                <a:lnTo>
                  <a:pt x="329890" y="1269689"/>
                </a:lnTo>
                <a:lnTo>
                  <a:pt x="326203" y="1274236"/>
                </a:lnTo>
                <a:lnTo>
                  <a:pt x="323706" y="1274886"/>
                </a:lnTo>
                <a:lnTo>
                  <a:pt x="322513" y="1272179"/>
                </a:lnTo>
                <a:lnTo>
                  <a:pt x="319691" y="1271313"/>
                </a:lnTo>
                <a:lnTo>
                  <a:pt x="318389" y="1275103"/>
                </a:lnTo>
                <a:lnTo>
                  <a:pt x="316760" y="1279650"/>
                </a:lnTo>
                <a:lnTo>
                  <a:pt x="314266" y="1278675"/>
                </a:lnTo>
                <a:lnTo>
                  <a:pt x="313723" y="1274453"/>
                </a:lnTo>
                <a:lnTo>
                  <a:pt x="308622" y="1280408"/>
                </a:lnTo>
                <a:lnTo>
                  <a:pt x="301895" y="1282357"/>
                </a:lnTo>
                <a:lnTo>
                  <a:pt x="294300" y="1282465"/>
                </a:lnTo>
                <a:lnTo>
                  <a:pt x="291153" y="1279434"/>
                </a:lnTo>
                <a:lnTo>
                  <a:pt x="294190" y="1278892"/>
                </a:lnTo>
                <a:lnTo>
                  <a:pt x="298423" y="1279001"/>
                </a:lnTo>
                <a:lnTo>
                  <a:pt x="304064" y="1274995"/>
                </a:lnTo>
                <a:lnTo>
                  <a:pt x="306777" y="1274778"/>
                </a:lnTo>
                <a:lnTo>
                  <a:pt x="311011" y="1269581"/>
                </a:lnTo>
                <a:lnTo>
                  <a:pt x="313396" y="1268823"/>
                </a:lnTo>
                <a:lnTo>
                  <a:pt x="312964" y="1265791"/>
                </a:lnTo>
                <a:lnTo>
                  <a:pt x="317195" y="1262218"/>
                </a:lnTo>
                <a:lnTo>
                  <a:pt x="322077" y="1264601"/>
                </a:lnTo>
                <a:lnTo>
                  <a:pt x="323922" y="1263193"/>
                </a:lnTo>
                <a:lnTo>
                  <a:pt x="320126" y="1259511"/>
                </a:lnTo>
                <a:lnTo>
                  <a:pt x="320126" y="1255830"/>
                </a:lnTo>
                <a:lnTo>
                  <a:pt x="324790" y="1251824"/>
                </a:lnTo>
                <a:close/>
                <a:moveTo>
                  <a:pt x="3088925" y="1250849"/>
                </a:moveTo>
                <a:lnTo>
                  <a:pt x="3091312" y="1252798"/>
                </a:lnTo>
                <a:lnTo>
                  <a:pt x="3095436" y="1252906"/>
                </a:lnTo>
                <a:lnTo>
                  <a:pt x="3097606" y="1254746"/>
                </a:lnTo>
                <a:lnTo>
                  <a:pt x="3097171" y="1256154"/>
                </a:lnTo>
                <a:lnTo>
                  <a:pt x="3092180" y="1256371"/>
                </a:lnTo>
                <a:lnTo>
                  <a:pt x="3090878" y="1254963"/>
                </a:lnTo>
                <a:lnTo>
                  <a:pt x="3087948" y="1254530"/>
                </a:lnTo>
                <a:lnTo>
                  <a:pt x="3086755" y="1251824"/>
                </a:lnTo>
                <a:close/>
                <a:moveTo>
                  <a:pt x="4107898" y="1249876"/>
                </a:moveTo>
                <a:lnTo>
                  <a:pt x="4110394" y="1252582"/>
                </a:lnTo>
                <a:lnTo>
                  <a:pt x="4106921" y="1256804"/>
                </a:lnTo>
                <a:lnTo>
                  <a:pt x="4101495" y="1256480"/>
                </a:lnTo>
                <a:lnTo>
                  <a:pt x="4098348" y="1258212"/>
                </a:lnTo>
                <a:lnTo>
                  <a:pt x="4095201" y="1258104"/>
                </a:lnTo>
                <a:lnTo>
                  <a:pt x="4098131" y="1252690"/>
                </a:lnTo>
                <a:lnTo>
                  <a:pt x="4102797" y="1252582"/>
                </a:lnTo>
                <a:lnTo>
                  <a:pt x="4104208" y="1250092"/>
                </a:lnTo>
                <a:close/>
                <a:moveTo>
                  <a:pt x="3535798" y="1249009"/>
                </a:moveTo>
                <a:lnTo>
                  <a:pt x="3536557" y="1253989"/>
                </a:lnTo>
                <a:lnTo>
                  <a:pt x="3533518" y="1256155"/>
                </a:lnTo>
                <a:lnTo>
                  <a:pt x="3532108" y="1252907"/>
                </a:lnTo>
                <a:lnTo>
                  <a:pt x="3533410" y="1249550"/>
                </a:lnTo>
                <a:close/>
                <a:moveTo>
                  <a:pt x="4352602" y="1247602"/>
                </a:moveTo>
                <a:lnTo>
                  <a:pt x="4355424" y="1250092"/>
                </a:lnTo>
                <a:lnTo>
                  <a:pt x="4353470" y="1252041"/>
                </a:lnTo>
                <a:lnTo>
                  <a:pt x="4352060" y="1250741"/>
                </a:lnTo>
                <a:close/>
                <a:moveTo>
                  <a:pt x="2617422" y="1246518"/>
                </a:moveTo>
                <a:lnTo>
                  <a:pt x="2619592" y="1249550"/>
                </a:lnTo>
                <a:lnTo>
                  <a:pt x="2620243" y="1251715"/>
                </a:lnTo>
                <a:lnTo>
                  <a:pt x="2622305" y="1254421"/>
                </a:lnTo>
                <a:lnTo>
                  <a:pt x="2622739" y="1257994"/>
                </a:lnTo>
                <a:lnTo>
                  <a:pt x="2621654" y="1258644"/>
                </a:lnTo>
                <a:lnTo>
                  <a:pt x="2617313" y="1255287"/>
                </a:lnTo>
                <a:lnTo>
                  <a:pt x="2617313" y="1252364"/>
                </a:lnTo>
                <a:lnTo>
                  <a:pt x="2615360" y="1250740"/>
                </a:lnTo>
                <a:lnTo>
                  <a:pt x="2615360" y="1248467"/>
                </a:lnTo>
                <a:close/>
                <a:moveTo>
                  <a:pt x="4538434" y="1246465"/>
                </a:moveTo>
                <a:lnTo>
                  <a:pt x="4540445" y="1249333"/>
                </a:lnTo>
                <a:lnTo>
                  <a:pt x="4546630" y="1251390"/>
                </a:lnTo>
                <a:lnTo>
                  <a:pt x="4555463" y="1260997"/>
                </a:lnTo>
                <a:lnTo>
                  <a:pt x="4555311" y="1260270"/>
                </a:lnTo>
                <a:lnTo>
                  <a:pt x="4544460" y="1248469"/>
                </a:lnTo>
                <a:close/>
                <a:moveTo>
                  <a:pt x="349535" y="1246302"/>
                </a:moveTo>
                <a:lnTo>
                  <a:pt x="351378" y="1249658"/>
                </a:lnTo>
                <a:lnTo>
                  <a:pt x="353982" y="1250632"/>
                </a:lnTo>
                <a:lnTo>
                  <a:pt x="352791" y="1252906"/>
                </a:lnTo>
                <a:lnTo>
                  <a:pt x="349317" y="1254963"/>
                </a:lnTo>
                <a:lnTo>
                  <a:pt x="345085" y="1251391"/>
                </a:lnTo>
                <a:lnTo>
                  <a:pt x="344758" y="1247818"/>
                </a:lnTo>
                <a:close/>
                <a:moveTo>
                  <a:pt x="3108567" y="1244029"/>
                </a:moveTo>
                <a:lnTo>
                  <a:pt x="3109001" y="1246952"/>
                </a:lnTo>
                <a:lnTo>
                  <a:pt x="3107265" y="1249119"/>
                </a:lnTo>
                <a:lnTo>
                  <a:pt x="3107265" y="1245329"/>
                </a:lnTo>
                <a:close/>
                <a:moveTo>
                  <a:pt x="424517" y="1243595"/>
                </a:moveTo>
                <a:lnTo>
                  <a:pt x="429075" y="1247926"/>
                </a:lnTo>
                <a:lnTo>
                  <a:pt x="425603" y="1249983"/>
                </a:lnTo>
                <a:lnTo>
                  <a:pt x="421804" y="1246301"/>
                </a:lnTo>
                <a:close/>
                <a:moveTo>
                  <a:pt x="358108" y="1243488"/>
                </a:moveTo>
                <a:lnTo>
                  <a:pt x="360058" y="1244137"/>
                </a:lnTo>
                <a:lnTo>
                  <a:pt x="361253" y="1248902"/>
                </a:lnTo>
                <a:lnTo>
                  <a:pt x="357238" y="1250851"/>
                </a:lnTo>
                <a:lnTo>
                  <a:pt x="358216" y="1247277"/>
                </a:lnTo>
                <a:close/>
                <a:moveTo>
                  <a:pt x="4101494" y="1242513"/>
                </a:moveTo>
                <a:lnTo>
                  <a:pt x="4104641" y="1245436"/>
                </a:lnTo>
                <a:lnTo>
                  <a:pt x="4099758" y="1248792"/>
                </a:lnTo>
                <a:lnTo>
                  <a:pt x="4094007" y="1249009"/>
                </a:lnTo>
                <a:close/>
                <a:moveTo>
                  <a:pt x="1080934" y="1235368"/>
                </a:moveTo>
                <a:lnTo>
                  <a:pt x="1084406" y="1235584"/>
                </a:lnTo>
                <a:lnTo>
                  <a:pt x="1083104" y="1238941"/>
                </a:lnTo>
                <a:close/>
                <a:moveTo>
                  <a:pt x="1063788" y="1235150"/>
                </a:moveTo>
                <a:lnTo>
                  <a:pt x="1065198" y="1238615"/>
                </a:lnTo>
                <a:lnTo>
                  <a:pt x="1064004" y="1241862"/>
                </a:lnTo>
                <a:lnTo>
                  <a:pt x="1063462" y="1246843"/>
                </a:lnTo>
                <a:lnTo>
                  <a:pt x="1059448" y="1248142"/>
                </a:lnTo>
                <a:lnTo>
                  <a:pt x="1058471" y="1245652"/>
                </a:lnTo>
                <a:lnTo>
                  <a:pt x="1061183" y="1242837"/>
                </a:lnTo>
                <a:lnTo>
                  <a:pt x="1060207" y="1241321"/>
                </a:lnTo>
                <a:lnTo>
                  <a:pt x="1060749" y="1237532"/>
                </a:lnTo>
                <a:close/>
                <a:moveTo>
                  <a:pt x="511006" y="1233743"/>
                </a:moveTo>
                <a:lnTo>
                  <a:pt x="511222" y="1236991"/>
                </a:lnTo>
                <a:lnTo>
                  <a:pt x="509269" y="1239157"/>
                </a:lnTo>
                <a:lnTo>
                  <a:pt x="508618" y="1236233"/>
                </a:lnTo>
                <a:close/>
                <a:moveTo>
                  <a:pt x="1075725" y="1232444"/>
                </a:moveTo>
                <a:lnTo>
                  <a:pt x="1078329" y="1233418"/>
                </a:lnTo>
                <a:lnTo>
                  <a:pt x="1080282" y="1239915"/>
                </a:lnTo>
                <a:lnTo>
                  <a:pt x="1080825" y="1248143"/>
                </a:lnTo>
                <a:lnTo>
                  <a:pt x="1079414" y="1255830"/>
                </a:lnTo>
                <a:lnTo>
                  <a:pt x="1077353" y="1257887"/>
                </a:lnTo>
                <a:lnTo>
                  <a:pt x="1076051" y="1266333"/>
                </a:lnTo>
                <a:lnTo>
                  <a:pt x="1073338" y="1269256"/>
                </a:lnTo>
                <a:lnTo>
                  <a:pt x="1071493" y="1275536"/>
                </a:lnTo>
                <a:lnTo>
                  <a:pt x="1070733" y="1281382"/>
                </a:lnTo>
                <a:lnTo>
                  <a:pt x="1069431" y="1285064"/>
                </a:lnTo>
                <a:lnTo>
                  <a:pt x="1067478" y="1286038"/>
                </a:lnTo>
                <a:lnTo>
                  <a:pt x="1066827" y="1282682"/>
                </a:lnTo>
                <a:lnTo>
                  <a:pt x="1067695" y="1279001"/>
                </a:lnTo>
                <a:lnTo>
                  <a:pt x="1065525" y="1277376"/>
                </a:lnTo>
                <a:lnTo>
                  <a:pt x="1064005" y="1270988"/>
                </a:lnTo>
                <a:lnTo>
                  <a:pt x="1065959" y="1267415"/>
                </a:lnTo>
                <a:lnTo>
                  <a:pt x="1069105" y="1266766"/>
                </a:lnTo>
                <a:lnTo>
                  <a:pt x="1071493" y="1264817"/>
                </a:lnTo>
                <a:lnTo>
                  <a:pt x="1070950" y="1262652"/>
                </a:lnTo>
                <a:lnTo>
                  <a:pt x="1068237" y="1264168"/>
                </a:lnTo>
                <a:lnTo>
                  <a:pt x="1065959" y="1264168"/>
                </a:lnTo>
                <a:lnTo>
                  <a:pt x="1065633" y="1261244"/>
                </a:lnTo>
                <a:lnTo>
                  <a:pt x="1067695" y="1260053"/>
                </a:lnTo>
                <a:lnTo>
                  <a:pt x="1068888" y="1257779"/>
                </a:lnTo>
                <a:lnTo>
                  <a:pt x="1063680" y="1256372"/>
                </a:lnTo>
                <a:lnTo>
                  <a:pt x="1063897" y="1254315"/>
                </a:lnTo>
                <a:lnTo>
                  <a:pt x="1068020" y="1253665"/>
                </a:lnTo>
                <a:lnTo>
                  <a:pt x="1070299" y="1250309"/>
                </a:lnTo>
                <a:lnTo>
                  <a:pt x="1070842" y="1245653"/>
                </a:lnTo>
                <a:lnTo>
                  <a:pt x="1073555" y="1242730"/>
                </a:lnTo>
                <a:lnTo>
                  <a:pt x="1070082" y="1239589"/>
                </a:lnTo>
                <a:lnTo>
                  <a:pt x="1069431" y="1236666"/>
                </a:lnTo>
                <a:lnTo>
                  <a:pt x="1073663" y="1234934"/>
                </a:lnTo>
                <a:close/>
                <a:moveTo>
                  <a:pt x="509272" y="1226488"/>
                </a:moveTo>
                <a:lnTo>
                  <a:pt x="509272" y="1230710"/>
                </a:lnTo>
                <a:lnTo>
                  <a:pt x="506232" y="1232010"/>
                </a:lnTo>
                <a:close/>
                <a:moveTo>
                  <a:pt x="444267" y="1225298"/>
                </a:moveTo>
                <a:lnTo>
                  <a:pt x="445137" y="1228763"/>
                </a:lnTo>
                <a:lnTo>
                  <a:pt x="441989" y="1232335"/>
                </a:lnTo>
                <a:lnTo>
                  <a:pt x="439709" y="1228546"/>
                </a:lnTo>
                <a:close/>
                <a:moveTo>
                  <a:pt x="501566" y="1224865"/>
                </a:moveTo>
                <a:lnTo>
                  <a:pt x="498092" y="1228113"/>
                </a:lnTo>
                <a:lnTo>
                  <a:pt x="496900" y="1231144"/>
                </a:lnTo>
                <a:lnTo>
                  <a:pt x="490387" y="1234393"/>
                </a:lnTo>
                <a:lnTo>
                  <a:pt x="487241" y="1237965"/>
                </a:lnTo>
                <a:lnTo>
                  <a:pt x="489846" y="1231577"/>
                </a:lnTo>
                <a:lnTo>
                  <a:pt x="495055" y="1227138"/>
                </a:lnTo>
                <a:lnTo>
                  <a:pt x="495271" y="1225190"/>
                </a:lnTo>
                <a:close/>
                <a:moveTo>
                  <a:pt x="4201655" y="1223673"/>
                </a:moveTo>
                <a:lnTo>
                  <a:pt x="4197532" y="1229412"/>
                </a:lnTo>
                <a:lnTo>
                  <a:pt x="4189501" y="1228870"/>
                </a:lnTo>
                <a:lnTo>
                  <a:pt x="4183099" y="1227463"/>
                </a:lnTo>
                <a:lnTo>
                  <a:pt x="4177890" y="1230603"/>
                </a:lnTo>
                <a:lnTo>
                  <a:pt x="4172573" y="1240022"/>
                </a:lnTo>
                <a:lnTo>
                  <a:pt x="4170836" y="1250632"/>
                </a:lnTo>
                <a:lnTo>
                  <a:pt x="4172473" y="1259418"/>
                </a:lnTo>
                <a:lnTo>
                  <a:pt x="4170837" y="1250633"/>
                </a:lnTo>
                <a:lnTo>
                  <a:pt x="4172573" y="1240023"/>
                </a:lnTo>
                <a:lnTo>
                  <a:pt x="4177890" y="1230604"/>
                </a:lnTo>
                <a:lnTo>
                  <a:pt x="4183099" y="1227463"/>
                </a:lnTo>
                <a:lnTo>
                  <a:pt x="4189501" y="1228871"/>
                </a:lnTo>
                <a:lnTo>
                  <a:pt x="4197532" y="1229412"/>
                </a:lnTo>
                <a:lnTo>
                  <a:pt x="4201655" y="1223674"/>
                </a:lnTo>
                <a:close/>
                <a:moveTo>
                  <a:pt x="2637279" y="1223349"/>
                </a:moveTo>
                <a:lnTo>
                  <a:pt x="2639883" y="1224324"/>
                </a:lnTo>
                <a:lnTo>
                  <a:pt x="2639558" y="1226597"/>
                </a:lnTo>
                <a:lnTo>
                  <a:pt x="2638256" y="1228438"/>
                </a:lnTo>
                <a:lnTo>
                  <a:pt x="2637496" y="1231578"/>
                </a:lnTo>
                <a:lnTo>
                  <a:pt x="2635326" y="1232986"/>
                </a:lnTo>
                <a:lnTo>
                  <a:pt x="2631203" y="1229088"/>
                </a:lnTo>
                <a:lnTo>
                  <a:pt x="2627513" y="1228979"/>
                </a:lnTo>
                <a:lnTo>
                  <a:pt x="2626428" y="1228113"/>
                </a:lnTo>
                <a:lnTo>
                  <a:pt x="2629791" y="1225947"/>
                </a:lnTo>
                <a:lnTo>
                  <a:pt x="2634024" y="1224757"/>
                </a:lnTo>
                <a:close/>
                <a:moveTo>
                  <a:pt x="459786" y="1220100"/>
                </a:moveTo>
                <a:lnTo>
                  <a:pt x="462498" y="1223131"/>
                </a:lnTo>
                <a:lnTo>
                  <a:pt x="458808" y="1225190"/>
                </a:lnTo>
                <a:lnTo>
                  <a:pt x="457181" y="1220533"/>
                </a:lnTo>
                <a:close/>
                <a:moveTo>
                  <a:pt x="410954" y="1216636"/>
                </a:moveTo>
                <a:lnTo>
                  <a:pt x="417466" y="1217069"/>
                </a:lnTo>
                <a:lnTo>
                  <a:pt x="420502" y="1221291"/>
                </a:lnTo>
                <a:lnTo>
                  <a:pt x="418225" y="1225514"/>
                </a:lnTo>
                <a:lnTo>
                  <a:pt x="424628" y="1231577"/>
                </a:lnTo>
                <a:lnTo>
                  <a:pt x="424520" y="1234067"/>
                </a:lnTo>
                <a:lnTo>
                  <a:pt x="418441" y="1232660"/>
                </a:lnTo>
                <a:lnTo>
                  <a:pt x="414861" y="1235691"/>
                </a:lnTo>
                <a:lnTo>
                  <a:pt x="407591" y="1236666"/>
                </a:lnTo>
                <a:lnTo>
                  <a:pt x="402490" y="1235150"/>
                </a:lnTo>
                <a:lnTo>
                  <a:pt x="393917" y="1235366"/>
                </a:lnTo>
                <a:lnTo>
                  <a:pt x="388927" y="1240888"/>
                </a:lnTo>
                <a:lnTo>
                  <a:pt x="386862" y="1240455"/>
                </a:lnTo>
                <a:lnTo>
                  <a:pt x="383391" y="1242188"/>
                </a:lnTo>
                <a:lnTo>
                  <a:pt x="378833" y="1239589"/>
                </a:lnTo>
                <a:lnTo>
                  <a:pt x="377748" y="1235583"/>
                </a:lnTo>
                <a:lnTo>
                  <a:pt x="379049" y="1231360"/>
                </a:lnTo>
                <a:lnTo>
                  <a:pt x="381003" y="1228978"/>
                </a:lnTo>
                <a:lnTo>
                  <a:pt x="383283" y="1229736"/>
                </a:lnTo>
                <a:lnTo>
                  <a:pt x="387298" y="1226813"/>
                </a:lnTo>
                <a:lnTo>
                  <a:pt x="389143" y="1225622"/>
                </a:lnTo>
                <a:lnTo>
                  <a:pt x="393050" y="1217827"/>
                </a:lnTo>
                <a:lnTo>
                  <a:pt x="394785" y="1218044"/>
                </a:lnTo>
                <a:lnTo>
                  <a:pt x="399234" y="1221832"/>
                </a:lnTo>
                <a:lnTo>
                  <a:pt x="401515" y="1219884"/>
                </a:lnTo>
                <a:lnTo>
                  <a:pt x="405853" y="1220425"/>
                </a:lnTo>
                <a:lnTo>
                  <a:pt x="409652" y="1218693"/>
                </a:lnTo>
                <a:close/>
                <a:moveTo>
                  <a:pt x="489627" y="1215878"/>
                </a:moveTo>
                <a:lnTo>
                  <a:pt x="492883" y="1217502"/>
                </a:lnTo>
                <a:lnTo>
                  <a:pt x="490062" y="1220100"/>
                </a:lnTo>
                <a:close/>
                <a:moveTo>
                  <a:pt x="483659" y="1214146"/>
                </a:moveTo>
                <a:lnTo>
                  <a:pt x="486590" y="1216636"/>
                </a:lnTo>
                <a:lnTo>
                  <a:pt x="484529" y="1220534"/>
                </a:lnTo>
                <a:lnTo>
                  <a:pt x="483986" y="1223241"/>
                </a:lnTo>
                <a:lnTo>
                  <a:pt x="480946" y="1223458"/>
                </a:lnTo>
                <a:lnTo>
                  <a:pt x="478777" y="1220426"/>
                </a:lnTo>
                <a:lnTo>
                  <a:pt x="480295" y="1215878"/>
                </a:lnTo>
                <a:close/>
                <a:moveTo>
                  <a:pt x="497114" y="1213063"/>
                </a:moveTo>
                <a:lnTo>
                  <a:pt x="498199" y="1215661"/>
                </a:lnTo>
                <a:lnTo>
                  <a:pt x="495163" y="1214579"/>
                </a:lnTo>
                <a:cubicBezTo>
                  <a:pt x="495055" y="1214470"/>
                  <a:pt x="497114" y="1213063"/>
                  <a:pt x="497114" y="1213063"/>
                </a:cubicBezTo>
                <a:close/>
                <a:moveTo>
                  <a:pt x="609324" y="1210248"/>
                </a:moveTo>
                <a:lnTo>
                  <a:pt x="608345" y="1213929"/>
                </a:lnTo>
                <a:lnTo>
                  <a:pt x="605741" y="1215012"/>
                </a:lnTo>
                <a:lnTo>
                  <a:pt x="603679" y="1214795"/>
                </a:lnTo>
                <a:lnTo>
                  <a:pt x="604115" y="1211980"/>
                </a:lnTo>
                <a:close/>
                <a:moveTo>
                  <a:pt x="4527843" y="1206523"/>
                </a:moveTo>
                <a:lnTo>
                  <a:pt x="4528834" y="1208624"/>
                </a:lnTo>
                <a:lnTo>
                  <a:pt x="4533824" y="1212094"/>
                </a:lnTo>
                <a:lnTo>
                  <a:pt x="4533824" y="1210682"/>
                </a:lnTo>
                <a:close/>
                <a:moveTo>
                  <a:pt x="7555362" y="1204618"/>
                </a:moveTo>
                <a:lnTo>
                  <a:pt x="7561222" y="1206242"/>
                </a:lnTo>
                <a:lnTo>
                  <a:pt x="7564478" y="1210140"/>
                </a:lnTo>
                <a:lnTo>
                  <a:pt x="7569252" y="1210681"/>
                </a:lnTo>
                <a:lnTo>
                  <a:pt x="7572399" y="1213280"/>
                </a:lnTo>
                <a:lnTo>
                  <a:pt x="7579669" y="1216204"/>
                </a:lnTo>
                <a:lnTo>
                  <a:pt x="7581515" y="1217935"/>
                </a:lnTo>
                <a:lnTo>
                  <a:pt x="7575112" y="1219235"/>
                </a:lnTo>
                <a:lnTo>
                  <a:pt x="7572616" y="1217069"/>
                </a:lnTo>
                <a:lnTo>
                  <a:pt x="7565345" y="1214796"/>
                </a:lnTo>
                <a:lnTo>
                  <a:pt x="7560136" y="1210140"/>
                </a:lnTo>
                <a:lnTo>
                  <a:pt x="7555687" y="1209924"/>
                </a:lnTo>
                <a:lnTo>
                  <a:pt x="7553300" y="1206242"/>
                </a:lnTo>
                <a:close/>
                <a:moveTo>
                  <a:pt x="2507385" y="1195848"/>
                </a:moveTo>
                <a:lnTo>
                  <a:pt x="2510532" y="1195956"/>
                </a:lnTo>
                <a:lnTo>
                  <a:pt x="2514765" y="1198446"/>
                </a:lnTo>
                <a:lnTo>
                  <a:pt x="2515850" y="1199529"/>
                </a:lnTo>
                <a:lnTo>
                  <a:pt x="2518888" y="1201045"/>
                </a:lnTo>
                <a:lnTo>
                  <a:pt x="2521818" y="1203643"/>
                </a:lnTo>
                <a:lnTo>
                  <a:pt x="2522035" y="1206567"/>
                </a:lnTo>
                <a:lnTo>
                  <a:pt x="2521167" y="1207000"/>
                </a:lnTo>
                <a:lnTo>
                  <a:pt x="2520299" y="1208407"/>
                </a:lnTo>
                <a:lnTo>
                  <a:pt x="2517478" y="1208732"/>
                </a:lnTo>
                <a:lnTo>
                  <a:pt x="2515633" y="1207325"/>
                </a:lnTo>
                <a:lnTo>
                  <a:pt x="2512703" y="1205809"/>
                </a:lnTo>
                <a:lnTo>
                  <a:pt x="2512268" y="1202777"/>
                </a:lnTo>
                <a:lnTo>
                  <a:pt x="2512594" y="1201478"/>
                </a:lnTo>
                <a:lnTo>
                  <a:pt x="2511835" y="1198880"/>
                </a:lnTo>
                <a:lnTo>
                  <a:pt x="2506952" y="1197472"/>
                </a:lnTo>
                <a:lnTo>
                  <a:pt x="2505975" y="1196064"/>
                </a:lnTo>
                <a:close/>
                <a:moveTo>
                  <a:pt x="4160094" y="1192925"/>
                </a:moveTo>
                <a:lnTo>
                  <a:pt x="4154668" y="1199637"/>
                </a:lnTo>
                <a:lnTo>
                  <a:pt x="4152172" y="1201803"/>
                </a:lnTo>
                <a:lnTo>
                  <a:pt x="4150544" y="1198880"/>
                </a:lnTo>
                <a:lnTo>
                  <a:pt x="4146204" y="1199205"/>
                </a:lnTo>
                <a:lnTo>
                  <a:pt x="4149894" y="1195198"/>
                </a:lnTo>
                <a:lnTo>
                  <a:pt x="4156513" y="1194441"/>
                </a:lnTo>
                <a:close/>
                <a:moveTo>
                  <a:pt x="1078112" y="1192817"/>
                </a:moveTo>
                <a:lnTo>
                  <a:pt x="1082887" y="1195415"/>
                </a:lnTo>
                <a:lnTo>
                  <a:pt x="1082887" y="1199205"/>
                </a:lnTo>
                <a:lnTo>
                  <a:pt x="1080608" y="1202345"/>
                </a:lnTo>
                <a:lnTo>
                  <a:pt x="1082019" y="1205268"/>
                </a:lnTo>
                <a:lnTo>
                  <a:pt x="1083864" y="1202670"/>
                </a:lnTo>
                <a:lnTo>
                  <a:pt x="1087662" y="1201154"/>
                </a:lnTo>
                <a:lnTo>
                  <a:pt x="1092870" y="1205268"/>
                </a:lnTo>
                <a:lnTo>
                  <a:pt x="1092870" y="1208841"/>
                </a:lnTo>
                <a:lnTo>
                  <a:pt x="1088530" y="1209924"/>
                </a:lnTo>
                <a:lnTo>
                  <a:pt x="1089940" y="1212847"/>
                </a:lnTo>
                <a:lnTo>
                  <a:pt x="1087336" y="1215337"/>
                </a:lnTo>
                <a:lnTo>
                  <a:pt x="1083864" y="1214363"/>
                </a:lnTo>
                <a:lnTo>
                  <a:pt x="1080391" y="1209166"/>
                </a:lnTo>
                <a:lnTo>
                  <a:pt x="1074965" y="1204186"/>
                </a:lnTo>
                <a:lnTo>
                  <a:pt x="1074531" y="1205376"/>
                </a:lnTo>
                <a:lnTo>
                  <a:pt x="1080391" y="1214688"/>
                </a:lnTo>
                <a:lnTo>
                  <a:pt x="1080391" y="1218478"/>
                </a:lnTo>
                <a:lnTo>
                  <a:pt x="1085600" y="1219127"/>
                </a:lnTo>
                <a:lnTo>
                  <a:pt x="1087987" y="1222917"/>
                </a:lnTo>
                <a:lnTo>
                  <a:pt x="1085600" y="1225299"/>
                </a:lnTo>
                <a:lnTo>
                  <a:pt x="1085274" y="1232119"/>
                </a:lnTo>
                <a:lnTo>
                  <a:pt x="1082344" y="1232553"/>
                </a:lnTo>
                <a:lnTo>
                  <a:pt x="1077678" y="1227464"/>
                </a:lnTo>
                <a:lnTo>
                  <a:pt x="1077461" y="1222808"/>
                </a:lnTo>
                <a:lnTo>
                  <a:pt x="1071818" y="1212631"/>
                </a:lnTo>
                <a:lnTo>
                  <a:pt x="1070841" y="1217286"/>
                </a:lnTo>
                <a:lnTo>
                  <a:pt x="1073663" y="1223999"/>
                </a:lnTo>
                <a:lnTo>
                  <a:pt x="1073880" y="1229088"/>
                </a:lnTo>
                <a:lnTo>
                  <a:pt x="1070950" y="1232770"/>
                </a:lnTo>
                <a:lnTo>
                  <a:pt x="1066609" y="1232445"/>
                </a:lnTo>
                <a:lnTo>
                  <a:pt x="1062702" y="1227464"/>
                </a:lnTo>
                <a:lnTo>
                  <a:pt x="1065415" y="1223783"/>
                </a:lnTo>
                <a:lnTo>
                  <a:pt x="1062486" y="1221617"/>
                </a:lnTo>
                <a:lnTo>
                  <a:pt x="1063679" y="1216962"/>
                </a:lnTo>
                <a:lnTo>
                  <a:pt x="1060424" y="1210790"/>
                </a:lnTo>
                <a:lnTo>
                  <a:pt x="1063028" y="1206135"/>
                </a:lnTo>
                <a:lnTo>
                  <a:pt x="1065632" y="1208517"/>
                </a:lnTo>
                <a:lnTo>
                  <a:pt x="1067477" y="1205701"/>
                </a:lnTo>
                <a:lnTo>
                  <a:pt x="1064764" y="1203860"/>
                </a:lnTo>
                <a:lnTo>
                  <a:pt x="1064114" y="1198231"/>
                </a:lnTo>
                <a:lnTo>
                  <a:pt x="1066284" y="1193033"/>
                </a:lnTo>
                <a:lnTo>
                  <a:pt x="1068345" y="1197689"/>
                </a:lnTo>
                <a:lnTo>
                  <a:pt x="1070841" y="1196823"/>
                </a:lnTo>
                <a:lnTo>
                  <a:pt x="1071601" y="1194333"/>
                </a:lnTo>
                <a:close/>
                <a:moveTo>
                  <a:pt x="1101226" y="1192384"/>
                </a:moveTo>
                <a:lnTo>
                  <a:pt x="1102854" y="1194766"/>
                </a:lnTo>
                <a:lnTo>
                  <a:pt x="1102854" y="1199205"/>
                </a:lnTo>
                <a:lnTo>
                  <a:pt x="1108822" y="1203211"/>
                </a:lnTo>
                <a:lnTo>
                  <a:pt x="1111752" y="1207000"/>
                </a:lnTo>
                <a:lnTo>
                  <a:pt x="1112946" y="1224324"/>
                </a:lnTo>
                <a:lnTo>
                  <a:pt x="1110233" y="1231253"/>
                </a:lnTo>
                <a:lnTo>
                  <a:pt x="1108171" y="1229629"/>
                </a:lnTo>
                <a:lnTo>
                  <a:pt x="1109257" y="1219018"/>
                </a:lnTo>
                <a:lnTo>
                  <a:pt x="1107303" y="1209166"/>
                </a:lnTo>
                <a:lnTo>
                  <a:pt x="1106109" y="1213714"/>
                </a:lnTo>
                <a:lnTo>
                  <a:pt x="1105784" y="1229953"/>
                </a:lnTo>
                <a:lnTo>
                  <a:pt x="1104373" y="1232985"/>
                </a:lnTo>
                <a:lnTo>
                  <a:pt x="1103831" y="1236991"/>
                </a:lnTo>
                <a:lnTo>
                  <a:pt x="1101443" y="1239048"/>
                </a:lnTo>
                <a:lnTo>
                  <a:pt x="1097862" y="1237532"/>
                </a:lnTo>
                <a:lnTo>
                  <a:pt x="1096560" y="1244570"/>
                </a:lnTo>
                <a:lnTo>
                  <a:pt x="1089724" y="1248576"/>
                </a:lnTo>
                <a:lnTo>
                  <a:pt x="1085816" y="1252149"/>
                </a:lnTo>
                <a:lnTo>
                  <a:pt x="1083321" y="1248685"/>
                </a:lnTo>
                <a:lnTo>
                  <a:pt x="1085925" y="1243704"/>
                </a:lnTo>
                <a:lnTo>
                  <a:pt x="1086251" y="1238399"/>
                </a:lnTo>
                <a:lnTo>
                  <a:pt x="1089397" y="1235475"/>
                </a:lnTo>
                <a:lnTo>
                  <a:pt x="1094932" y="1235692"/>
                </a:lnTo>
                <a:lnTo>
                  <a:pt x="1093196" y="1232769"/>
                </a:lnTo>
                <a:lnTo>
                  <a:pt x="1095367" y="1229845"/>
                </a:lnTo>
                <a:lnTo>
                  <a:pt x="1091460" y="1227788"/>
                </a:lnTo>
                <a:lnTo>
                  <a:pt x="1092328" y="1219885"/>
                </a:lnTo>
                <a:lnTo>
                  <a:pt x="1096994" y="1213496"/>
                </a:lnTo>
                <a:lnTo>
                  <a:pt x="1097971" y="1198663"/>
                </a:lnTo>
                <a:close/>
                <a:moveTo>
                  <a:pt x="2432618" y="1191193"/>
                </a:moveTo>
                <a:lnTo>
                  <a:pt x="2435548" y="1191734"/>
                </a:lnTo>
                <a:lnTo>
                  <a:pt x="2440865" y="1195957"/>
                </a:lnTo>
                <a:lnTo>
                  <a:pt x="2444663" y="1197906"/>
                </a:lnTo>
                <a:lnTo>
                  <a:pt x="2446183" y="1199747"/>
                </a:lnTo>
                <a:lnTo>
                  <a:pt x="2441408" y="1198123"/>
                </a:lnTo>
                <a:lnTo>
                  <a:pt x="2437826" y="1197581"/>
                </a:lnTo>
                <a:lnTo>
                  <a:pt x="2434680" y="1194225"/>
                </a:lnTo>
                <a:lnTo>
                  <a:pt x="2430990" y="1191626"/>
                </a:lnTo>
                <a:close/>
                <a:moveTo>
                  <a:pt x="2321061" y="1189136"/>
                </a:moveTo>
                <a:lnTo>
                  <a:pt x="2322689" y="1189894"/>
                </a:lnTo>
                <a:lnTo>
                  <a:pt x="2325076" y="1192601"/>
                </a:lnTo>
                <a:lnTo>
                  <a:pt x="2327139" y="1192601"/>
                </a:lnTo>
                <a:lnTo>
                  <a:pt x="2329417" y="1191518"/>
                </a:lnTo>
                <a:lnTo>
                  <a:pt x="2330937" y="1193034"/>
                </a:lnTo>
                <a:lnTo>
                  <a:pt x="2331045" y="1195957"/>
                </a:lnTo>
                <a:lnTo>
                  <a:pt x="2331913" y="1198447"/>
                </a:lnTo>
                <a:lnTo>
                  <a:pt x="2329851" y="1201479"/>
                </a:lnTo>
                <a:lnTo>
                  <a:pt x="2327681" y="1203752"/>
                </a:lnTo>
                <a:lnTo>
                  <a:pt x="2328224" y="1206568"/>
                </a:lnTo>
                <a:lnTo>
                  <a:pt x="2328441" y="1208191"/>
                </a:lnTo>
                <a:lnTo>
                  <a:pt x="2327464" y="1209383"/>
                </a:lnTo>
                <a:lnTo>
                  <a:pt x="2324968" y="1209924"/>
                </a:lnTo>
                <a:lnTo>
                  <a:pt x="2322255" y="1213821"/>
                </a:lnTo>
                <a:lnTo>
                  <a:pt x="2318023" y="1217286"/>
                </a:lnTo>
                <a:lnTo>
                  <a:pt x="2317263" y="1219343"/>
                </a:lnTo>
                <a:lnTo>
                  <a:pt x="2318457" y="1220426"/>
                </a:lnTo>
                <a:lnTo>
                  <a:pt x="2318023" y="1222483"/>
                </a:lnTo>
                <a:lnTo>
                  <a:pt x="2316395" y="1224757"/>
                </a:lnTo>
                <a:lnTo>
                  <a:pt x="2315853" y="1226597"/>
                </a:lnTo>
                <a:lnTo>
                  <a:pt x="2314550" y="1228438"/>
                </a:lnTo>
                <a:lnTo>
                  <a:pt x="2313249" y="1228330"/>
                </a:lnTo>
                <a:lnTo>
                  <a:pt x="2312380" y="1224757"/>
                </a:lnTo>
                <a:lnTo>
                  <a:pt x="2310752" y="1223782"/>
                </a:lnTo>
                <a:lnTo>
                  <a:pt x="2309451" y="1220859"/>
                </a:lnTo>
                <a:lnTo>
                  <a:pt x="2305978" y="1220209"/>
                </a:lnTo>
                <a:lnTo>
                  <a:pt x="2304676" y="1218477"/>
                </a:lnTo>
                <a:lnTo>
                  <a:pt x="2306629" y="1215770"/>
                </a:lnTo>
                <a:lnTo>
                  <a:pt x="2306086" y="1211656"/>
                </a:lnTo>
                <a:lnTo>
                  <a:pt x="2307389" y="1208841"/>
                </a:lnTo>
                <a:lnTo>
                  <a:pt x="2310210" y="1207001"/>
                </a:lnTo>
                <a:lnTo>
                  <a:pt x="2309125" y="1203536"/>
                </a:lnTo>
                <a:lnTo>
                  <a:pt x="2309993" y="1199313"/>
                </a:lnTo>
                <a:lnTo>
                  <a:pt x="2312814" y="1196499"/>
                </a:lnTo>
                <a:lnTo>
                  <a:pt x="2314659" y="1196065"/>
                </a:lnTo>
                <a:lnTo>
                  <a:pt x="2319217" y="1191734"/>
                </a:lnTo>
                <a:close/>
                <a:moveTo>
                  <a:pt x="2362190" y="1188811"/>
                </a:moveTo>
                <a:lnTo>
                  <a:pt x="2367073" y="1189569"/>
                </a:lnTo>
                <a:cubicBezTo>
                  <a:pt x="2367073" y="1189569"/>
                  <a:pt x="2366422" y="1191193"/>
                  <a:pt x="2366422" y="1191193"/>
                </a:cubicBezTo>
                <a:lnTo>
                  <a:pt x="2362298" y="1191193"/>
                </a:lnTo>
                <a:lnTo>
                  <a:pt x="2361105" y="1189460"/>
                </a:lnTo>
                <a:close/>
                <a:moveTo>
                  <a:pt x="7513150" y="1186645"/>
                </a:moveTo>
                <a:lnTo>
                  <a:pt x="7518142" y="1187078"/>
                </a:lnTo>
                <a:lnTo>
                  <a:pt x="7515862" y="1189135"/>
                </a:lnTo>
                <a:lnTo>
                  <a:pt x="7515862" y="1190867"/>
                </a:lnTo>
                <a:lnTo>
                  <a:pt x="7520203" y="1197363"/>
                </a:lnTo>
                <a:lnTo>
                  <a:pt x="7524652" y="1197796"/>
                </a:lnTo>
                <a:lnTo>
                  <a:pt x="7526389" y="1202236"/>
                </a:lnTo>
                <a:lnTo>
                  <a:pt x="7532900" y="1207000"/>
                </a:lnTo>
                <a:lnTo>
                  <a:pt x="7537892" y="1208732"/>
                </a:lnTo>
                <a:lnTo>
                  <a:pt x="7540713" y="1214146"/>
                </a:lnTo>
                <a:lnTo>
                  <a:pt x="7539628" y="1215986"/>
                </a:lnTo>
                <a:lnTo>
                  <a:pt x="7534527" y="1215336"/>
                </a:lnTo>
                <a:lnTo>
                  <a:pt x="7529970" y="1210789"/>
                </a:lnTo>
                <a:lnTo>
                  <a:pt x="7527908" y="1211872"/>
                </a:lnTo>
                <a:lnTo>
                  <a:pt x="7525738" y="1211547"/>
                </a:lnTo>
                <a:lnTo>
                  <a:pt x="7521723" y="1207000"/>
                </a:lnTo>
                <a:lnTo>
                  <a:pt x="7518359" y="1206350"/>
                </a:lnTo>
                <a:lnTo>
                  <a:pt x="7513584" y="1200504"/>
                </a:lnTo>
                <a:lnTo>
                  <a:pt x="7514018" y="1198771"/>
                </a:lnTo>
                <a:lnTo>
                  <a:pt x="7511414" y="1196065"/>
                </a:lnTo>
                <a:lnTo>
                  <a:pt x="7507398" y="1196173"/>
                </a:lnTo>
                <a:lnTo>
                  <a:pt x="7503600" y="1194440"/>
                </a:lnTo>
                <a:lnTo>
                  <a:pt x="7503492" y="1191734"/>
                </a:lnTo>
                <a:lnTo>
                  <a:pt x="7506965" y="1187620"/>
                </a:lnTo>
                <a:lnTo>
                  <a:pt x="7510220" y="1187620"/>
                </a:lnTo>
                <a:close/>
                <a:moveTo>
                  <a:pt x="4165086" y="1185778"/>
                </a:moveTo>
                <a:lnTo>
                  <a:pt x="4160203" y="1191625"/>
                </a:lnTo>
                <a:lnTo>
                  <a:pt x="4157273" y="1190325"/>
                </a:lnTo>
                <a:lnTo>
                  <a:pt x="4159009" y="1186861"/>
                </a:lnTo>
                <a:close/>
                <a:moveTo>
                  <a:pt x="1077029" y="1185455"/>
                </a:moveTo>
                <a:lnTo>
                  <a:pt x="1078656" y="1188161"/>
                </a:lnTo>
                <a:lnTo>
                  <a:pt x="1075184" y="1190761"/>
                </a:lnTo>
                <a:lnTo>
                  <a:pt x="1072579" y="1189245"/>
                </a:lnTo>
                <a:close/>
                <a:moveTo>
                  <a:pt x="4517006" y="1182481"/>
                </a:moveTo>
                <a:lnTo>
                  <a:pt x="4517006" y="1182639"/>
                </a:lnTo>
                <a:lnTo>
                  <a:pt x="4520152" y="1186645"/>
                </a:lnTo>
                <a:lnTo>
                  <a:pt x="4525130" y="1187473"/>
                </a:lnTo>
                <a:lnTo>
                  <a:pt x="4523842" y="1184697"/>
                </a:lnTo>
                <a:lnTo>
                  <a:pt x="4517981" y="1183723"/>
                </a:lnTo>
                <a:close/>
                <a:moveTo>
                  <a:pt x="655008" y="1182207"/>
                </a:moveTo>
                <a:lnTo>
                  <a:pt x="653163" y="1185130"/>
                </a:lnTo>
                <a:lnTo>
                  <a:pt x="651644" y="1182748"/>
                </a:lnTo>
                <a:close/>
                <a:moveTo>
                  <a:pt x="651425" y="1178417"/>
                </a:moveTo>
                <a:lnTo>
                  <a:pt x="642312" y="1187512"/>
                </a:lnTo>
                <a:lnTo>
                  <a:pt x="637970" y="1188054"/>
                </a:lnTo>
                <a:lnTo>
                  <a:pt x="641661" y="1181882"/>
                </a:lnTo>
                <a:close/>
                <a:moveTo>
                  <a:pt x="4414566" y="1176901"/>
                </a:moveTo>
                <a:lnTo>
                  <a:pt x="4421728" y="1178092"/>
                </a:lnTo>
                <a:lnTo>
                  <a:pt x="4421402" y="1180149"/>
                </a:lnTo>
                <a:lnTo>
                  <a:pt x="4417062" y="1180258"/>
                </a:lnTo>
                <a:lnTo>
                  <a:pt x="4419340" y="1182856"/>
                </a:lnTo>
                <a:lnTo>
                  <a:pt x="4417495" y="1185130"/>
                </a:lnTo>
                <a:lnTo>
                  <a:pt x="4413372" y="1184805"/>
                </a:lnTo>
                <a:lnTo>
                  <a:pt x="4410008" y="1180149"/>
                </a:lnTo>
                <a:close/>
                <a:moveTo>
                  <a:pt x="2651387" y="1176576"/>
                </a:moveTo>
                <a:lnTo>
                  <a:pt x="2653015" y="1178092"/>
                </a:lnTo>
                <a:lnTo>
                  <a:pt x="2653666" y="1182856"/>
                </a:lnTo>
                <a:lnTo>
                  <a:pt x="2652147" y="1188270"/>
                </a:lnTo>
                <a:lnTo>
                  <a:pt x="2652907" y="1191409"/>
                </a:lnTo>
                <a:lnTo>
                  <a:pt x="2651387" y="1193250"/>
                </a:lnTo>
                <a:lnTo>
                  <a:pt x="2649217" y="1189460"/>
                </a:lnTo>
                <a:lnTo>
                  <a:pt x="2650519" y="1184155"/>
                </a:lnTo>
                <a:close/>
                <a:moveTo>
                  <a:pt x="592719" y="1172029"/>
                </a:moveTo>
                <a:lnTo>
                  <a:pt x="595215" y="1174735"/>
                </a:lnTo>
                <a:lnTo>
                  <a:pt x="591960" y="1176251"/>
                </a:lnTo>
                <a:lnTo>
                  <a:pt x="587944" y="1172137"/>
                </a:lnTo>
                <a:close/>
                <a:moveTo>
                  <a:pt x="2929407" y="1167156"/>
                </a:moveTo>
                <a:lnTo>
                  <a:pt x="2925934" y="1172028"/>
                </a:lnTo>
                <a:lnTo>
                  <a:pt x="2922136" y="1175060"/>
                </a:lnTo>
                <a:lnTo>
                  <a:pt x="2920183" y="1175385"/>
                </a:lnTo>
                <a:lnTo>
                  <a:pt x="2925066" y="1170729"/>
                </a:lnTo>
                <a:lnTo>
                  <a:pt x="2927345" y="1168022"/>
                </a:lnTo>
                <a:close/>
                <a:moveTo>
                  <a:pt x="4515594" y="1166845"/>
                </a:moveTo>
                <a:lnTo>
                  <a:pt x="4515594" y="1169213"/>
                </a:lnTo>
                <a:lnTo>
                  <a:pt x="4516596" y="1169469"/>
                </a:lnTo>
                <a:lnTo>
                  <a:pt x="4518090" y="1167482"/>
                </a:lnTo>
                <a:close/>
                <a:moveTo>
                  <a:pt x="2923873" y="1166183"/>
                </a:moveTo>
                <a:lnTo>
                  <a:pt x="2925609" y="1166183"/>
                </a:lnTo>
                <a:lnTo>
                  <a:pt x="2923981" y="1168997"/>
                </a:lnTo>
                <a:lnTo>
                  <a:pt x="2921593" y="1170946"/>
                </a:lnTo>
                <a:lnTo>
                  <a:pt x="2919966" y="1171704"/>
                </a:lnTo>
                <a:cubicBezTo>
                  <a:pt x="2919966" y="1171704"/>
                  <a:pt x="2919966" y="1170405"/>
                  <a:pt x="2919966" y="1170405"/>
                </a:cubicBezTo>
                <a:close/>
                <a:moveTo>
                  <a:pt x="2261053" y="1164342"/>
                </a:moveTo>
                <a:lnTo>
                  <a:pt x="2262463" y="1168673"/>
                </a:lnTo>
                <a:lnTo>
                  <a:pt x="2266261" y="1170621"/>
                </a:lnTo>
                <a:lnTo>
                  <a:pt x="2269191" y="1167157"/>
                </a:lnTo>
                <a:lnTo>
                  <a:pt x="2271579" y="1166291"/>
                </a:lnTo>
                <a:lnTo>
                  <a:pt x="2273424" y="1167698"/>
                </a:lnTo>
                <a:lnTo>
                  <a:pt x="2277005" y="1165858"/>
                </a:lnTo>
                <a:lnTo>
                  <a:pt x="2280260" y="1165858"/>
                </a:lnTo>
                <a:lnTo>
                  <a:pt x="2282322" y="1167266"/>
                </a:lnTo>
                <a:lnTo>
                  <a:pt x="2286663" y="1167266"/>
                </a:lnTo>
                <a:lnTo>
                  <a:pt x="2288399" y="1168673"/>
                </a:lnTo>
                <a:lnTo>
                  <a:pt x="2284601" y="1173111"/>
                </a:lnTo>
                <a:lnTo>
                  <a:pt x="2284601" y="1176360"/>
                </a:lnTo>
                <a:lnTo>
                  <a:pt x="2279067" y="1180366"/>
                </a:lnTo>
                <a:lnTo>
                  <a:pt x="2275377" y="1180582"/>
                </a:lnTo>
                <a:lnTo>
                  <a:pt x="2271579" y="1186212"/>
                </a:lnTo>
                <a:lnTo>
                  <a:pt x="2267455" y="1188919"/>
                </a:lnTo>
                <a:lnTo>
                  <a:pt x="2263983" y="1190002"/>
                </a:lnTo>
                <a:lnTo>
                  <a:pt x="2257472" y="1195523"/>
                </a:lnTo>
                <a:lnTo>
                  <a:pt x="2253999" y="1195523"/>
                </a:lnTo>
                <a:lnTo>
                  <a:pt x="2253348" y="1192925"/>
                </a:lnTo>
                <a:lnTo>
                  <a:pt x="2251069" y="1192275"/>
                </a:lnTo>
                <a:lnTo>
                  <a:pt x="2247922" y="1192275"/>
                </a:lnTo>
                <a:lnTo>
                  <a:pt x="2243798" y="1197472"/>
                </a:lnTo>
                <a:lnTo>
                  <a:pt x="2241954" y="1198339"/>
                </a:lnTo>
                <a:cubicBezTo>
                  <a:pt x="2241954" y="1198339"/>
                  <a:pt x="2240869" y="1196931"/>
                  <a:pt x="2240869" y="1196931"/>
                </a:cubicBezTo>
                <a:lnTo>
                  <a:pt x="2240869" y="1192600"/>
                </a:lnTo>
                <a:lnTo>
                  <a:pt x="2242279" y="1189135"/>
                </a:lnTo>
                <a:lnTo>
                  <a:pt x="2240869" y="1184480"/>
                </a:lnTo>
                <a:lnTo>
                  <a:pt x="2238807" y="1182639"/>
                </a:lnTo>
                <a:lnTo>
                  <a:pt x="2239675" y="1179716"/>
                </a:lnTo>
                <a:lnTo>
                  <a:pt x="2248140" y="1177442"/>
                </a:lnTo>
                <a:lnTo>
                  <a:pt x="2249984" y="1175060"/>
                </a:lnTo>
                <a:lnTo>
                  <a:pt x="2249984" y="1172787"/>
                </a:lnTo>
                <a:lnTo>
                  <a:pt x="2254976" y="1166615"/>
                </a:lnTo>
                <a:lnTo>
                  <a:pt x="2259317" y="1165425"/>
                </a:lnTo>
                <a:close/>
                <a:moveTo>
                  <a:pt x="4628560" y="1163475"/>
                </a:moveTo>
                <a:lnTo>
                  <a:pt x="4631708" y="1164124"/>
                </a:lnTo>
                <a:lnTo>
                  <a:pt x="4632250" y="1167048"/>
                </a:lnTo>
                <a:lnTo>
                  <a:pt x="4630622" y="1168997"/>
                </a:lnTo>
                <a:lnTo>
                  <a:pt x="4632793" y="1173003"/>
                </a:lnTo>
                <a:lnTo>
                  <a:pt x="4632250" y="1175276"/>
                </a:lnTo>
                <a:lnTo>
                  <a:pt x="4630297" y="1175385"/>
                </a:lnTo>
                <a:lnTo>
                  <a:pt x="4629212" y="1173219"/>
                </a:lnTo>
                <a:lnTo>
                  <a:pt x="4625631" y="1169971"/>
                </a:lnTo>
                <a:lnTo>
                  <a:pt x="4625522" y="1166723"/>
                </a:lnTo>
                <a:close/>
                <a:moveTo>
                  <a:pt x="3136348" y="1163367"/>
                </a:moveTo>
                <a:lnTo>
                  <a:pt x="3138084" y="1165208"/>
                </a:lnTo>
                <a:lnTo>
                  <a:pt x="3139711" y="1169646"/>
                </a:lnTo>
                <a:lnTo>
                  <a:pt x="3141665" y="1171812"/>
                </a:lnTo>
                <a:lnTo>
                  <a:pt x="3141014" y="1176793"/>
                </a:lnTo>
                <a:lnTo>
                  <a:pt x="3141882" y="1181881"/>
                </a:lnTo>
                <a:lnTo>
                  <a:pt x="3139386" y="1181231"/>
                </a:lnTo>
                <a:lnTo>
                  <a:pt x="3137650" y="1177658"/>
                </a:lnTo>
                <a:lnTo>
                  <a:pt x="3138193" y="1172028"/>
                </a:lnTo>
                <a:lnTo>
                  <a:pt x="3136131" y="1168781"/>
                </a:lnTo>
                <a:lnTo>
                  <a:pt x="3135480" y="1165099"/>
                </a:lnTo>
                <a:close/>
                <a:moveTo>
                  <a:pt x="4163891" y="1161635"/>
                </a:moveTo>
                <a:lnTo>
                  <a:pt x="4165844" y="1162934"/>
                </a:lnTo>
                <a:lnTo>
                  <a:pt x="4166061" y="1165749"/>
                </a:lnTo>
                <a:lnTo>
                  <a:pt x="4163565" y="1168023"/>
                </a:lnTo>
                <a:lnTo>
                  <a:pt x="4161504" y="1165425"/>
                </a:lnTo>
                <a:close/>
                <a:moveTo>
                  <a:pt x="4212399" y="1157303"/>
                </a:moveTo>
                <a:lnTo>
                  <a:pt x="4210011" y="1163366"/>
                </a:lnTo>
                <a:lnTo>
                  <a:pt x="4207515" y="1174194"/>
                </a:lnTo>
                <a:lnTo>
                  <a:pt x="4207190" y="1185562"/>
                </a:lnTo>
                <a:lnTo>
                  <a:pt x="4199160" y="1205267"/>
                </a:lnTo>
                <a:lnTo>
                  <a:pt x="4198725" y="1211114"/>
                </a:lnTo>
                <a:lnTo>
                  <a:pt x="4198725" y="1211114"/>
                </a:lnTo>
                <a:lnTo>
                  <a:pt x="4199160" y="1205268"/>
                </a:lnTo>
                <a:lnTo>
                  <a:pt x="4207190" y="1185562"/>
                </a:lnTo>
                <a:lnTo>
                  <a:pt x="4207515" y="1174194"/>
                </a:lnTo>
                <a:lnTo>
                  <a:pt x="4210011" y="1163367"/>
                </a:lnTo>
                <a:lnTo>
                  <a:pt x="4212399" y="1157304"/>
                </a:lnTo>
                <a:close/>
                <a:moveTo>
                  <a:pt x="3159678" y="1150483"/>
                </a:moveTo>
                <a:lnTo>
                  <a:pt x="3161523" y="1152324"/>
                </a:lnTo>
                <a:lnTo>
                  <a:pt x="3160980" y="1154165"/>
                </a:lnTo>
                <a:lnTo>
                  <a:pt x="3158701" y="1152865"/>
                </a:lnTo>
                <a:lnTo>
                  <a:pt x="3157942" y="1150699"/>
                </a:lnTo>
                <a:close/>
                <a:moveTo>
                  <a:pt x="4174961" y="1150267"/>
                </a:moveTo>
                <a:lnTo>
                  <a:pt x="4179410" y="1150916"/>
                </a:lnTo>
                <a:lnTo>
                  <a:pt x="4173767" y="1155573"/>
                </a:lnTo>
                <a:lnTo>
                  <a:pt x="4172899" y="1152649"/>
                </a:lnTo>
                <a:close/>
                <a:moveTo>
                  <a:pt x="2368484" y="1149833"/>
                </a:moveTo>
                <a:lnTo>
                  <a:pt x="2371414" y="1152865"/>
                </a:lnTo>
                <a:lnTo>
                  <a:pt x="2373802" y="1155138"/>
                </a:lnTo>
                <a:lnTo>
                  <a:pt x="2378793" y="1155571"/>
                </a:lnTo>
                <a:lnTo>
                  <a:pt x="2380963" y="1156762"/>
                </a:lnTo>
                <a:lnTo>
                  <a:pt x="2381289" y="1162934"/>
                </a:lnTo>
                <a:lnTo>
                  <a:pt x="2380855" y="1164557"/>
                </a:lnTo>
                <a:lnTo>
                  <a:pt x="2380855" y="1167048"/>
                </a:lnTo>
                <a:lnTo>
                  <a:pt x="2378793" y="1168455"/>
                </a:lnTo>
                <a:lnTo>
                  <a:pt x="2376188" y="1168888"/>
                </a:lnTo>
                <a:lnTo>
                  <a:pt x="2374019" y="1170404"/>
                </a:lnTo>
                <a:lnTo>
                  <a:pt x="2370329" y="1170945"/>
                </a:lnTo>
                <a:lnTo>
                  <a:pt x="2368376" y="1169321"/>
                </a:lnTo>
                <a:lnTo>
                  <a:pt x="2367724" y="1165748"/>
                </a:lnTo>
                <a:lnTo>
                  <a:pt x="2365988" y="1164232"/>
                </a:lnTo>
                <a:lnTo>
                  <a:pt x="2364035" y="1159469"/>
                </a:lnTo>
                <a:lnTo>
                  <a:pt x="2360563" y="1156762"/>
                </a:lnTo>
                <a:lnTo>
                  <a:pt x="2359803" y="1152648"/>
                </a:lnTo>
                <a:lnTo>
                  <a:pt x="2360563" y="1150266"/>
                </a:lnTo>
                <a:lnTo>
                  <a:pt x="2362733" y="1151457"/>
                </a:lnTo>
                <a:lnTo>
                  <a:pt x="2366856" y="1151241"/>
                </a:lnTo>
                <a:close/>
                <a:moveTo>
                  <a:pt x="1073889" y="1147565"/>
                </a:moveTo>
                <a:lnTo>
                  <a:pt x="1067585" y="1148426"/>
                </a:lnTo>
                <a:lnTo>
                  <a:pt x="1058361" y="1149942"/>
                </a:lnTo>
                <a:lnTo>
                  <a:pt x="1056734" y="1150266"/>
                </a:lnTo>
                <a:lnTo>
                  <a:pt x="1056734" y="1150267"/>
                </a:lnTo>
                <a:lnTo>
                  <a:pt x="1058362" y="1149942"/>
                </a:lnTo>
                <a:lnTo>
                  <a:pt x="1067586" y="1148426"/>
                </a:lnTo>
                <a:close/>
                <a:moveTo>
                  <a:pt x="2647480" y="1146910"/>
                </a:moveTo>
                <a:lnTo>
                  <a:pt x="2648782" y="1148209"/>
                </a:lnTo>
                <a:lnTo>
                  <a:pt x="2648674" y="1151349"/>
                </a:lnTo>
                <a:lnTo>
                  <a:pt x="2647154" y="1151024"/>
                </a:lnTo>
                <a:lnTo>
                  <a:pt x="2645635" y="1148859"/>
                </a:lnTo>
                <a:close/>
                <a:moveTo>
                  <a:pt x="2391163" y="1144745"/>
                </a:moveTo>
                <a:lnTo>
                  <a:pt x="2393333" y="1146044"/>
                </a:lnTo>
                <a:lnTo>
                  <a:pt x="2395612" y="1145828"/>
                </a:lnTo>
                <a:lnTo>
                  <a:pt x="2396806" y="1147127"/>
                </a:lnTo>
                <a:lnTo>
                  <a:pt x="2397240" y="1148643"/>
                </a:lnTo>
                <a:lnTo>
                  <a:pt x="2400712" y="1148967"/>
                </a:lnTo>
                <a:lnTo>
                  <a:pt x="2404727" y="1152324"/>
                </a:lnTo>
                <a:lnTo>
                  <a:pt x="2404727" y="1153515"/>
                </a:lnTo>
                <a:lnTo>
                  <a:pt x="2402557" y="1155031"/>
                </a:lnTo>
                <a:lnTo>
                  <a:pt x="2405161" y="1156655"/>
                </a:lnTo>
                <a:lnTo>
                  <a:pt x="2404619" y="1158929"/>
                </a:lnTo>
                <a:lnTo>
                  <a:pt x="2403208" y="1159362"/>
                </a:lnTo>
                <a:lnTo>
                  <a:pt x="2402774" y="1160878"/>
                </a:lnTo>
                <a:lnTo>
                  <a:pt x="2400604" y="1161960"/>
                </a:lnTo>
                <a:lnTo>
                  <a:pt x="2398868" y="1160445"/>
                </a:lnTo>
                <a:lnTo>
                  <a:pt x="2396155" y="1160445"/>
                </a:lnTo>
                <a:lnTo>
                  <a:pt x="2395178" y="1159470"/>
                </a:lnTo>
                <a:lnTo>
                  <a:pt x="2394744" y="1156005"/>
                </a:lnTo>
                <a:lnTo>
                  <a:pt x="2392683" y="1153515"/>
                </a:lnTo>
                <a:lnTo>
                  <a:pt x="2391272" y="1151025"/>
                </a:lnTo>
                <a:lnTo>
                  <a:pt x="2389318" y="1149942"/>
                </a:lnTo>
                <a:lnTo>
                  <a:pt x="2388016" y="1149833"/>
                </a:lnTo>
                <a:lnTo>
                  <a:pt x="2386823" y="1147019"/>
                </a:lnTo>
                <a:lnTo>
                  <a:pt x="2388016" y="1145828"/>
                </a:lnTo>
                <a:close/>
                <a:moveTo>
                  <a:pt x="3164670" y="1143770"/>
                </a:moveTo>
                <a:lnTo>
                  <a:pt x="3166406" y="1145286"/>
                </a:lnTo>
                <a:lnTo>
                  <a:pt x="3165972" y="1147127"/>
                </a:lnTo>
                <a:lnTo>
                  <a:pt x="3164670" y="1145178"/>
                </a:lnTo>
                <a:close/>
                <a:moveTo>
                  <a:pt x="4174093" y="1139547"/>
                </a:moveTo>
                <a:lnTo>
                  <a:pt x="4175069" y="1144094"/>
                </a:lnTo>
                <a:lnTo>
                  <a:pt x="4171271" y="1150049"/>
                </a:lnTo>
                <a:lnTo>
                  <a:pt x="4169752" y="1144202"/>
                </a:lnTo>
                <a:close/>
                <a:moveTo>
                  <a:pt x="3217626" y="1134350"/>
                </a:moveTo>
                <a:lnTo>
                  <a:pt x="3216325" y="1136732"/>
                </a:lnTo>
                <a:lnTo>
                  <a:pt x="3217626" y="1139439"/>
                </a:lnTo>
                <a:lnTo>
                  <a:pt x="3216866" y="1140522"/>
                </a:lnTo>
                <a:lnTo>
                  <a:pt x="3215131" y="1138898"/>
                </a:lnTo>
                <a:lnTo>
                  <a:pt x="3215131" y="1136191"/>
                </a:lnTo>
                <a:close/>
                <a:moveTo>
                  <a:pt x="1092521" y="1129611"/>
                </a:moveTo>
                <a:lnTo>
                  <a:pt x="1087879" y="1134242"/>
                </a:lnTo>
                <a:lnTo>
                  <a:pt x="1081151" y="1144312"/>
                </a:lnTo>
                <a:lnTo>
                  <a:pt x="1075508" y="1147343"/>
                </a:lnTo>
                <a:lnTo>
                  <a:pt x="1081151" y="1144312"/>
                </a:lnTo>
                <a:lnTo>
                  <a:pt x="1087879" y="1134243"/>
                </a:lnTo>
                <a:close/>
                <a:moveTo>
                  <a:pt x="2646612" y="1129262"/>
                </a:moveTo>
                <a:lnTo>
                  <a:pt x="2647263" y="1131860"/>
                </a:lnTo>
                <a:lnTo>
                  <a:pt x="2643791" y="1134567"/>
                </a:lnTo>
                <a:lnTo>
                  <a:pt x="2642055" y="1136625"/>
                </a:lnTo>
                <a:lnTo>
                  <a:pt x="2639776" y="1135974"/>
                </a:lnTo>
                <a:lnTo>
                  <a:pt x="2643031" y="1130994"/>
                </a:lnTo>
                <a:close/>
                <a:moveTo>
                  <a:pt x="3203736" y="1128179"/>
                </a:moveTo>
                <a:lnTo>
                  <a:pt x="3205039" y="1130994"/>
                </a:lnTo>
                <a:lnTo>
                  <a:pt x="3206775" y="1131860"/>
                </a:lnTo>
                <a:lnTo>
                  <a:pt x="3209813" y="1137057"/>
                </a:lnTo>
                <a:lnTo>
                  <a:pt x="3208945" y="1139547"/>
                </a:lnTo>
                <a:lnTo>
                  <a:pt x="3205256" y="1139222"/>
                </a:lnTo>
                <a:lnTo>
                  <a:pt x="3202760" y="1141605"/>
                </a:lnTo>
                <a:lnTo>
                  <a:pt x="3200590" y="1141388"/>
                </a:lnTo>
                <a:lnTo>
                  <a:pt x="3199613" y="1139222"/>
                </a:lnTo>
                <a:lnTo>
                  <a:pt x="3196683" y="1136732"/>
                </a:lnTo>
                <a:lnTo>
                  <a:pt x="3197660" y="1134350"/>
                </a:lnTo>
                <a:lnTo>
                  <a:pt x="3197985" y="1131752"/>
                </a:lnTo>
                <a:lnTo>
                  <a:pt x="3201023" y="1128395"/>
                </a:lnTo>
                <a:close/>
                <a:moveTo>
                  <a:pt x="2388342" y="1127962"/>
                </a:moveTo>
                <a:lnTo>
                  <a:pt x="2390621" y="1130235"/>
                </a:lnTo>
                <a:lnTo>
                  <a:pt x="2388885" y="1131427"/>
                </a:lnTo>
                <a:lnTo>
                  <a:pt x="2383677" y="1130885"/>
                </a:lnTo>
                <a:lnTo>
                  <a:pt x="2385087" y="1128503"/>
                </a:lnTo>
                <a:close/>
                <a:moveTo>
                  <a:pt x="1103059" y="1125444"/>
                </a:moveTo>
                <a:lnTo>
                  <a:pt x="1101769" y="1126230"/>
                </a:lnTo>
                <a:lnTo>
                  <a:pt x="1097709" y="1127512"/>
                </a:lnTo>
                <a:lnTo>
                  <a:pt x="1101769" y="1126231"/>
                </a:lnTo>
                <a:close/>
                <a:moveTo>
                  <a:pt x="4388088" y="1124125"/>
                </a:moveTo>
                <a:lnTo>
                  <a:pt x="4386784" y="1127097"/>
                </a:lnTo>
                <a:lnTo>
                  <a:pt x="4387110" y="1128027"/>
                </a:lnTo>
                <a:lnTo>
                  <a:pt x="4388088" y="1125797"/>
                </a:lnTo>
                <a:close/>
                <a:moveTo>
                  <a:pt x="3496514" y="1122657"/>
                </a:moveTo>
                <a:lnTo>
                  <a:pt x="3501507" y="1124173"/>
                </a:lnTo>
                <a:lnTo>
                  <a:pt x="3505847" y="1123090"/>
                </a:lnTo>
                <a:lnTo>
                  <a:pt x="3508235" y="1127529"/>
                </a:lnTo>
                <a:lnTo>
                  <a:pt x="3508343" y="1131643"/>
                </a:lnTo>
                <a:lnTo>
                  <a:pt x="3514202" y="1134891"/>
                </a:lnTo>
                <a:lnTo>
                  <a:pt x="3516482" y="1138573"/>
                </a:lnTo>
                <a:lnTo>
                  <a:pt x="3519086" y="1136516"/>
                </a:lnTo>
                <a:lnTo>
                  <a:pt x="3522667" y="1140413"/>
                </a:lnTo>
                <a:lnTo>
                  <a:pt x="3518652" y="1143336"/>
                </a:lnTo>
                <a:lnTo>
                  <a:pt x="3523210" y="1145394"/>
                </a:lnTo>
                <a:lnTo>
                  <a:pt x="3524187" y="1148209"/>
                </a:lnTo>
                <a:lnTo>
                  <a:pt x="3520388" y="1152106"/>
                </a:lnTo>
                <a:lnTo>
                  <a:pt x="3517024" y="1149941"/>
                </a:lnTo>
                <a:lnTo>
                  <a:pt x="3519737" y="1155355"/>
                </a:lnTo>
                <a:lnTo>
                  <a:pt x="3517459" y="1158495"/>
                </a:lnTo>
                <a:lnTo>
                  <a:pt x="3522775" y="1158495"/>
                </a:lnTo>
                <a:lnTo>
                  <a:pt x="3522775" y="1162067"/>
                </a:lnTo>
                <a:lnTo>
                  <a:pt x="3519412" y="1166615"/>
                </a:lnTo>
                <a:lnTo>
                  <a:pt x="3518652" y="1170187"/>
                </a:lnTo>
                <a:lnTo>
                  <a:pt x="3522125" y="1170512"/>
                </a:lnTo>
                <a:lnTo>
                  <a:pt x="3525380" y="1177875"/>
                </a:lnTo>
                <a:lnTo>
                  <a:pt x="3525597" y="1170296"/>
                </a:lnTo>
                <a:lnTo>
                  <a:pt x="3528527" y="1168455"/>
                </a:lnTo>
                <a:lnTo>
                  <a:pt x="3530371" y="1162717"/>
                </a:lnTo>
                <a:lnTo>
                  <a:pt x="3535255" y="1160335"/>
                </a:lnTo>
                <a:lnTo>
                  <a:pt x="3535364" y="1166073"/>
                </a:lnTo>
                <a:lnTo>
                  <a:pt x="3539595" y="1165857"/>
                </a:lnTo>
                <a:lnTo>
                  <a:pt x="3542417" y="1162067"/>
                </a:lnTo>
                <a:lnTo>
                  <a:pt x="3542851" y="1154489"/>
                </a:lnTo>
                <a:lnTo>
                  <a:pt x="3540355" y="1151240"/>
                </a:lnTo>
                <a:lnTo>
                  <a:pt x="3539595" y="1140413"/>
                </a:lnTo>
                <a:lnTo>
                  <a:pt x="3545346" y="1135433"/>
                </a:lnTo>
                <a:lnTo>
                  <a:pt x="3548711" y="1138032"/>
                </a:lnTo>
                <a:lnTo>
                  <a:pt x="3549362" y="1147775"/>
                </a:lnTo>
                <a:lnTo>
                  <a:pt x="3552618" y="1149183"/>
                </a:lnTo>
                <a:lnTo>
                  <a:pt x="3553160" y="1156220"/>
                </a:lnTo>
                <a:lnTo>
                  <a:pt x="3556959" y="1156220"/>
                </a:lnTo>
                <a:lnTo>
                  <a:pt x="3560865" y="1149941"/>
                </a:lnTo>
                <a:lnTo>
                  <a:pt x="3559237" y="1145935"/>
                </a:lnTo>
                <a:lnTo>
                  <a:pt x="3560539" y="1140738"/>
                </a:lnTo>
                <a:lnTo>
                  <a:pt x="3569871" y="1134783"/>
                </a:lnTo>
                <a:lnTo>
                  <a:pt x="3574646" y="1137706"/>
                </a:lnTo>
                <a:lnTo>
                  <a:pt x="3574212" y="1142471"/>
                </a:lnTo>
                <a:lnTo>
                  <a:pt x="3576057" y="1144420"/>
                </a:lnTo>
                <a:lnTo>
                  <a:pt x="3576057" y="1148209"/>
                </a:lnTo>
                <a:lnTo>
                  <a:pt x="3580723" y="1155246"/>
                </a:lnTo>
                <a:lnTo>
                  <a:pt x="3578878" y="1165532"/>
                </a:lnTo>
                <a:lnTo>
                  <a:pt x="3583978" y="1153514"/>
                </a:lnTo>
                <a:lnTo>
                  <a:pt x="3579747" y="1145069"/>
                </a:lnTo>
                <a:lnTo>
                  <a:pt x="3581266" y="1137165"/>
                </a:lnTo>
                <a:lnTo>
                  <a:pt x="3584847" y="1136840"/>
                </a:lnTo>
                <a:lnTo>
                  <a:pt x="3586366" y="1138032"/>
                </a:lnTo>
                <a:lnTo>
                  <a:pt x="3589839" y="1137165"/>
                </a:lnTo>
                <a:lnTo>
                  <a:pt x="3594288" y="1144852"/>
                </a:lnTo>
                <a:lnTo>
                  <a:pt x="3598954" y="1145069"/>
                </a:lnTo>
                <a:lnTo>
                  <a:pt x="3601559" y="1139006"/>
                </a:lnTo>
                <a:lnTo>
                  <a:pt x="3604380" y="1135000"/>
                </a:lnTo>
                <a:lnTo>
                  <a:pt x="3606876" y="1136840"/>
                </a:lnTo>
                <a:lnTo>
                  <a:pt x="3606985" y="1140738"/>
                </a:lnTo>
                <a:lnTo>
                  <a:pt x="3611651" y="1138681"/>
                </a:lnTo>
                <a:lnTo>
                  <a:pt x="3616317" y="1138248"/>
                </a:lnTo>
                <a:lnTo>
                  <a:pt x="3618053" y="1134891"/>
                </a:lnTo>
                <a:lnTo>
                  <a:pt x="3616208" y="1130344"/>
                </a:lnTo>
                <a:lnTo>
                  <a:pt x="3618379" y="1126338"/>
                </a:lnTo>
                <a:lnTo>
                  <a:pt x="3621200" y="1127637"/>
                </a:lnTo>
                <a:lnTo>
                  <a:pt x="3624890" y="1125255"/>
                </a:lnTo>
                <a:lnTo>
                  <a:pt x="3629447" y="1126555"/>
                </a:lnTo>
                <a:lnTo>
                  <a:pt x="3630207" y="1130777"/>
                </a:lnTo>
                <a:lnTo>
                  <a:pt x="3632486" y="1133159"/>
                </a:lnTo>
                <a:lnTo>
                  <a:pt x="3630641" y="1135974"/>
                </a:lnTo>
                <a:lnTo>
                  <a:pt x="3633679" y="1140630"/>
                </a:lnTo>
                <a:lnTo>
                  <a:pt x="3636500" y="1140197"/>
                </a:lnTo>
                <a:lnTo>
                  <a:pt x="3637912" y="1136191"/>
                </a:lnTo>
                <a:lnTo>
                  <a:pt x="3645508" y="1129045"/>
                </a:lnTo>
                <a:lnTo>
                  <a:pt x="3649197" y="1128071"/>
                </a:lnTo>
                <a:lnTo>
                  <a:pt x="3653972" y="1130128"/>
                </a:lnTo>
                <a:lnTo>
                  <a:pt x="3649523" y="1131318"/>
                </a:lnTo>
                <a:lnTo>
                  <a:pt x="3647352" y="1133159"/>
                </a:lnTo>
                <a:lnTo>
                  <a:pt x="3646810" y="1136732"/>
                </a:lnTo>
                <a:lnTo>
                  <a:pt x="3642578" y="1138681"/>
                </a:lnTo>
                <a:lnTo>
                  <a:pt x="3644423" y="1143012"/>
                </a:lnTo>
                <a:lnTo>
                  <a:pt x="3648329" y="1144636"/>
                </a:lnTo>
                <a:lnTo>
                  <a:pt x="3651476" y="1142146"/>
                </a:lnTo>
                <a:lnTo>
                  <a:pt x="3653864" y="1143553"/>
                </a:lnTo>
                <a:lnTo>
                  <a:pt x="3654623" y="1149724"/>
                </a:lnTo>
                <a:lnTo>
                  <a:pt x="3651042" y="1150916"/>
                </a:lnTo>
                <a:lnTo>
                  <a:pt x="3647678" y="1155030"/>
                </a:lnTo>
                <a:lnTo>
                  <a:pt x="3649414" y="1159361"/>
                </a:lnTo>
                <a:lnTo>
                  <a:pt x="3650825" y="1158169"/>
                </a:lnTo>
                <a:lnTo>
                  <a:pt x="3656142" y="1158603"/>
                </a:lnTo>
                <a:lnTo>
                  <a:pt x="3656794" y="1162067"/>
                </a:lnTo>
                <a:lnTo>
                  <a:pt x="3654297" y="1166399"/>
                </a:lnTo>
                <a:lnTo>
                  <a:pt x="3657227" y="1164124"/>
                </a:lnTo>
                <a:lnTo>
                  <a:pt x="3666777" y="1164883"/>
                </a:lnTo>
                <a:lnTo>
                  <a:pt x="3670792" y="1168780"/>
                </a:lnTo>
                <a:lnTo>
                  <a:pt x="3668513" y="1172136"/>
                </a:lnTo>
                <a:lnTo>
                  <a:pt x="3664823" y="1172136"/>
                </a:lnTo>
                <a:lnTo>
                  <a:pt x="3660591" y="1174302"/>
                </a:lnTo>
                <a:lnTo>
                  <a:pt x="3661025" y="1178633"/>
                </a:lnTo>
                <a:lnTo>
                  <a:pt x="3658421" y="1180799"/>
                </a:lnTo>
                <a:lnTo>
                  <a:pt x="3658530" y="1185562"/>
                </a:lnTo>
                <a:lnTo>
                  <a:pt x="3662870" y="1190001"/>
                </a:lnTo>
                <a:lnTo>
                  <a:pt x="3664173" y="1194224"/>
                </a:lnTo>
                <a:lnTo>
                  <a:pt x="3661568" y="1199313"/>
                </a:lnTo>
                <a:lnTo>
                  <a:pt x="3657662" y="1199854"/>
                </a:lnTo>
                <a:lnTo>
                  <a:pt x="3656902" y="1196064"/>
                </a:lnTo>
                <a:lnTo>
                  <a:pt x="3652778" y="1193574"/>
                </a:lnTo>
                <a:lnTo>
                  <a:pt x="3650934" y="1195848"/>
                </a:lnTo>
                <a:lnTo>
                  <a:pt x="3652996" y="1201695"/>
                </a:lnTo>
                <a:lnTo>
                  <a:pt x="3650174" y="1202452"/>
                </a:lnTo>
                <a:lnTo>
                  <a:pt x="3649631" y="1205484"/>
                </a:lnTo>
                <a:lnTo>
                  <a:pt x="3651151" y="1207108"/>
                </a:lnTo>
                <a:lnTo>
                  <a:pt x="3650499" y="1210031"/>
                </a:lnTo>
                <a:lnTo>
                  <a:pt x="3647135" y="1213821"/>
                </a:lnTo>
                <a:lnTo>
                  <a:pt x="3641167" y="1211764"/>
                </a:lnTo>
                <a:lnTo>
                  <a:pt x="3640082" y="1208191"/>
                </a:lnTo>
                <a:lnTo>
                  <a:pt x="3637912" y="1207974"/>
                </a:lnTo>
                <a:lnTo>
                  <a:pt x="3637260" y="1211114"/>
                </a:lnTo>
                <a:lnTo>
                  <a:pt x="3638345" y="1213279"/>
                </a:lnTo>
                <a:lnTo>
                  <a:pt x="3636067" y="1216203"/>
                </a:lnTo>
                <a:lnTo>
                  <a:pt x="3624130" y="1218476"/>
                </a:lnTo>
                <a:lnTo>
                  <a:pt x="3620332" y="1223674"/>
                </a:lnTo>
                <a:lnTo>
                  <a:pt x="3610348" y="1232443"/>
                </a:lnTo>
                <a:lnTo>
                  <a:pt x="3608286" y="1233635"/>
                </a:lnTo>
                <a:lnTo>
                  <a:pt x="3608395" y="1232443"/>
                </a:lnTo>
                <a:lnTo>
                  <a:pt x="3604380" y="1232119"/>
                </a:lnTo>
                <a:lnTo>
                  <a:pt x="3602861" y="1232660"/>
                </a:lnTo>
                <a:lnTo>
                  <a:pt x="3600582" y="1231360"/>
                </a:lnTo>
                <a:lnTo>
                  <a:pt x="3596241" y="1236991"/>
                </a:lnTo>
                <a:lnTo>
                  <a:pt x="3592552" y="1237749"/>
                </a:lnTo>
                <a:lnTo>
                  <a:pt x="3590707" y="1240023"/>
                </a:lnTo>
                <a:lnTo>
                  <a:pt x="3588971" y="1237749"/>
                </a:lnTo>
                <a:lnTo>
                  <a:pt x="3591249" y="1234825"/>
                </a:lnTo>
                <a:lnTo>
                  <a:pt x="3585064" y="1235475"/>
                </a:lnTo>
                <a:lnTo>
                  <a:pt x="3584630" y="1241321"/>
                </a:lnTo>
                <a:lnTo>
                  <a:pt x="3579530" y="1246302"/>
                </a:lnTo>
                <a:lnTo>
                  <a:pt x="3574212" y="1244895"/>
                </a:lnTo>
                <a:lnTo>
                  <a:pt x="3572910" y="1242080"/>
                </a:lnTo>
                <a:lnTo>
                  <a:pt x="3571391" y="1244245"/>
                </a:lnTo>
                <a:lnTo>
                  <a:pt x="3572259" y="1249550"/>
                </a:lnTo>
                <a:lnTo>
                  <a:pt x="3565857" y="1251499"/>
                </a:lnTo>
                <a:lnTo>
                  <a:pt x="3561950" y="1249875"/>
                </a:lnTo>
                <a:lnTo>
                  <a:pt x="3551966" y="1250092"/>
                </a:lnTo>
                <a:lnTo>
                  <a:pt x="3544370" y="1242946"/>
                </a:lnTo>
                <a:lnTo>
                  <a:pt x="3539921" y="1242513"/>
                </a:lnTo>
                <a:lnTo>
                  <a:pt x="3536123" y="1245760"/>
                </a:lnTo>
                <a:lnTo>
                  <a:pt x="3532325" y="1243920"/>
                </a:lnTo>
                <a:lnTo>
                  <a:pt x="3527008" y="1238615"/>
                </a:lnTo>
                <a:lnTo>
                  <a:pt x="3527441" y="1233635"/>
                </a:lnTo>
                <a:lnTo>
                  <a:pt x="3522450" y="1235366"/>
                </a:lnTo>
                <a:lnTo>
                  <a:pt x="3519520" y="1234501"/>
                </a:lnTo>
                <a:lnTo>
                  <a:pt x="3518652" y="1231794"/>
                </a:lnTo>
                <a:lnTo>
                  <a:pt x="3515071" y="1234068"/>
                </a:lnTo>
                <a:lnTo>
                  <a:pt x="3510296" y="1231469"/>
                </a:lnTo>
                <a:lnTo>
                  <a:pt x="3504653" y="1235800"/>
                </a:lnTo>
                <a:lnTo>
                  <a:pt x="3496840" y="1234825"/>
                </a:lnTo>
                <a:lnTo>
                  <a:pt x="3493151" y="1232660"/>
                </a:lnTo>
                <a:lnTo>
                  <a:pt x="3491631" y="1234501"/>
                </a:lnTo>
                <a:lnTo>
                  <a:pt x="3485988" y="1234501"/>
                </a:lnTo>
                <a:lnTo>
                  <a:pt x="3486639" y="1226813"/>
                </a:lnTo>
                <a:lnTo>
                  <a:pt x="3488376" y="1225514"/>
                </a:lnTo>
                <a:lnTo>
                  <a:pt x="3486097" y="1224431"/>
                </a:lnTo>
                <a:lnTo>
                  <a:pt x="3485120" y="1218801"/>
                </a:lnTo>
                <a:lnTo>
                  <a:pt x="3486857" y="1218801"/>
                </a:lnTo>
                <a:lnTo>
                  <a:pt x="3486965" y="1216744"/>
                </a:lnTo>
                <a:lnTo>
                  <a:pt x="3490980" y="1219451"/>
                </a:lnTo>
                <a:lnTo>
                  <a:pt x="3492391" y="1222482"/>
                </a:lnTo>
                <a:lnTo>
                  <a:pt x="3495429" y="1220750"/>
                </a:lnTo>
                <a:lnTo>
                  <a:pt x="3498034" y="1221399"/>
                </a:lnTo>
                <a:lnTo>
                  <a:pt x="3500312" y="1218585"/>
                </a:lnTo>
                <a:lnTo>
                  <a:pt x="3500530" y="1215337"/>
                </a:lnTo>
                <a:lnTo>
                  <a:pt x="3504979" y="1215228"/>
                </a:lnTo>
                <a:lnTo>
                  <a:pt x="3508343" y="1212305"/>
                </a:lnTo>
                <a:lnTo>
                  <a:pt x="3513009" y="1210681"/>
                </a:lnTo>
                <a:lnTo>
                  <a:pt x="3516047" y="1212522"/>
                </a:lnTo>
                <a:lnTo>
                  <a:pt x="3514854" y="1209815"/>
                </a:lnTo>
                <a:lnTo>
                  <a:pt x="3509753" y="1208191"/>
                </a:lnTo>
                <a:lnTo>
                  <a:pt x="3503243" y="1213388"/>
                </a:lnTo>
                <a:lnTo>
                  <a:pt x="3499662" y="1210789"/>
                </a:lnTo>
                <a:lnTo>
                  <a:pt x="3501940" y="1207325"/>
                </a:lnTo>
                <a:lnTo>
                  <a:pt x="3506281" y="1204185"/>
                </a:lnTo>
                <a:lnTo>
                  <a:pt x="3507258" y="1201153"/>
                </a:lnTo>
                <a:lnTo>
                  <a:pt x="3501289" y="1205268"/>
                </a:lnTo>
                <a:lnTo>
                  <a:pt x="3498468" y="1205809"/>
                </a:lnTo>
                <a:lnTo>
                  <a:pt x="3497491" y="1202669"/>
                </a:lnTo>
                <a:lnTo>
                  <a:pt x="3493151" y="1199638"/>
                </a:lnTo>
                <a:lnTo>
                  <a:pt x="3493259" y="1197147"/>
                </a:lnTo>
                <a:lnTo>
                  <a:pt x="3496406" y="1195090"/>
                </a:lnTo>
                <a:lnTo>
                  <a:pt x="3496732" y="1192925"/>
                </a:lnTo>
                <a:lnTo>
                  <a:pt x="3491631" y="1192491"/>
                </a:lnTo>
                <a:lnTo>
                  <a:pt x="3482625" y="1193141"/>
                </a:lnTo>
                <a:lnTo>
                  <a:pt x="3474920" y="1191084"/>
                </a:lnTo>
                <a:lnTo>
                  <a:pt x="3474920" y="1192600"/>
                </a:lnTo>
                <a:lnTo>
                  <a:pt x="3468734" y="1192167"/>
                </a:lnTo>
                <a:lnTo>
                  <a:pt x="3466890" y="1187944"/>
                </a:lnTo>
                <a:lnTo>
                  <a:pt x="3463634" y="1182856"/>
                </a:lnTo>
                <a:lnTo>
                  <a:pt x="3465913" y="1183180"/>
                </a:lnTo>
                <a:lnTo>
                  <a:pt x="3469168" y="1181881"/>
                </a:lnTo>
                <a:lnTo>
                  <a:pt x="3473943" y="1183722"/>
                </a:lnTo>
                <a:lnTo>
                  <a:pt x="3478067" y="1181664"/>
                </a:lnTo>
                <a:lnTo>
                  <a:pt x="3482082" y="1181340"/>
                </a:lnTo>
                <a:lnTo>
                  <a:pt x="3484903" y="1182856"/>
                </a:lnTo>
                <a:lnTo>
                  <a:pt x="3488593" y="1180257"/>
                </a:lnTo>
                <a:lnTo>
                  <a:pt x="3487725" y="1178308"/>
                </a:lnTo>
                <a:lnTo>
                  <a:pt x="3488484" y="1177117"/>
                </a:lnTo>
                <a:lnTo>
                  <a:pt x="3490871" y="1177875"/>
                </a:lnTo>
                <a:lnTo>
                  <a:pt x="3490980" y="1179824"/>
                </a:lnTo>
                <a:lnTo>
                  <a:pt x="3492391" y="1181340"/>
                </a:lnTo>
                <a:lnTo>
                  <a:pt x="3494344" y="1183613"/>
                </a:lnTo>
                <a:lnTo>
                  <a:pt x="3498142" y="1180040"/>
                </a:lnTo>
                <a:lnTo>
                  <a:pt x="3500855" y="1180799"/>
                </a:lnTo>
                <a:lnTo>
                  <a:pt x="3509103" y="1179824"/>
                </a:lnTo>
                <a:lnTo>
                  <a:pt x="3511816" y="1176142"/>
                </a:lnTo>
                <a:lnTo>
                  <a:pt x="3512033" y="1172353"/>
                </a:lnTo>
                <a:lnTo>
                  <a:pt x="3509320" y="1173436"/>
                </a:lnTo>
                <a:lnTo>
                  <a:pt x="3507583" y="1176359"/>
                </a:lnTo>
                <a:lnTo>
                  <a:pt x="3503243" y="1177009"/>
                </a:lnTo>
                <a:lnTo>
                  <a:pt x="3495321" y="1174735"/>
                </a:lnTo>
                <a:lnTo>
                  <a:pt x="3495755" y="1173003"/>
                </a:lnTo>
                <a:lnTo>
                  <a:pt x="3501940" y="1170296"/>
                </a:lnTo>
                <a:lnTo>
                  <a:pt x="3505847" y="1169971"/>
                </a:lnTo>
                <a:lnTo>
                  <a:pt x="3509211" y="1167481"/>
                </a:lnTo>
                <a:lnTo>
                  <a:pt x="3511924" y="1167481"/>
                </a:lnTo>
                <a:lnTo>
                  <a:pt x="3514637" y="1166290"/>
                </a:lnTo>
                <a:lnTo>
                  <a:pt x="3509645" y="1163367"/>
                </a:lnTo>
                <a:lnTo>
                  <a:pt x="3506390" y="1166073"/>
                </a:lnTo>
                <a:lnTo>
                  <a:pt x="3504328" y="1164450"/>
                </a:lnTo>
                <a:lnTo>
                  <a:pt x="3505847" y="1160660"/>
                </a:lnTo>
                <a:lnTo>
                  <a:pt x="3506173" y="1158495"/>
                </a:lnTo>
                <a:lnTo>
                  <a:pt x="3501289" y="1162393"/>
                </a:lnTo>
                <a:lnTo>
                  <a:pt x="3499878" y="1162501"/>
                </a:lnTo>
                <a:lnTo>
                  <a:pt x="3499444" y="1157736"/>
                </a:lnTo>
                <a:lnTo>
                  <a:pt x="3498250" y="1160227"/>
                </a:lnTo>
                <a:lnTo>
                  <a:pt x="3494452" y="1163258"/>
                </a:lnTo>
                <a:lnTo>
                  <a:pt x="3492499" y="1163258"/>
                </a:lnTo>
                <a:lnTo>
                  <a:pt x="3491631" y="1158711"/>
                </a:lnTo>
                <a:lnTo>
                  <a:pt x="3488593" y="1160660"/>
                </a:lnTo>
                <a:lnTo>
                  <a:pt x="3485988" y="1160660"/>
                </a:lnTo>
                <a:lnTo>
                  <a:pt x="3485880" y="1158278"/>
                </a:lnTo>
                <a:lnTo>
                  <a:pt x="3484361" y="1155896"/>
                </a:lnTo>
                <a:lnTo>
                  <a:pt x="3482190" y="1160010"/>
                </a:lnTo>
                <a:lnTo>
                  <a:pt x="3476982" y="1161526"/>
                </a:lnTo>
                <a:lnTo>
                  <a:pt x="3474052" y="1166181"/>
                </a:lnTo>
                <a:lnTo>
                  <a:pt x="3468192" y="1164991"/>
                </a:lnTo>
                <a:lnTo>
                  <a:pt x="3464177" y="1160660"/>
                </a:lnTo>
                <a:lnTo>
                  <a:pt x="3459185" y="1158603"/>
                </a:lnTo>
                <a:lnTo>
                  <a:pt x="3461680" y="1153947"/>
                </a:lnTo>
                <a:lnTo>
                  <a:pt x="3465696" y="1155138"/>
                </a:lnTo>
                <a:lnTo>
                  <a:pt x="3469711" y="1160552"/>
                </a:lnTo>
                <a:lnTo>
                  <a:pt x="3471556" y="1159794"/>
                </a:lnTo>
                <a:lnTo>
                  <a:pt x="3469711" y="1156438"/>
                </a:lnTo>
                <a:lnTo>
                  <a:pt x="3466781" y="1151024"/>
                </a:lnTo>
                <a:lnTo>
                  <a:pt x="3469060" y="1148642"/>
                </a:lnTo>
                <a:lnTo>
                  <a:pt x="3471121" y="1149075"/>
                </a:lnTo>
                <a:lnTo>
                  <a:pt x="3477850" y="1155246"/>
                </a:lnTo>
                <a:lnTo>
                  <a:pt x="3479260" y="1154922"/>
                </a:lnTo>
                <a:lnTo>
                  <a:pt x="3478175" y="1152214"/>
                </a:lnTo>
                <a:lnTo>
                  <a:pt x="3479477" y="1151132"/>
                </a:lnTo>
                <a:lnTo>
                  <a:pt x="3482516" y="1150591"/>
                </a:lnTo>
                <a:lnTo>
                  <a:pt x="3476222" y="1148750"/>
                </a:lnTo>
                <a:lnTo>
                  <a:pt x="3473618" y="1144961"/>
                </a:lnTo>
                <a:lnTo>
                  <a:pt x="3477850" y="1143228"/>
                </a:lnTo>
                <a:lnTo>
                  <a:pt x="3482190" y="1144961"/>
                </a:lnTo>
                <a:lnTo>
                  <a:pt x="3480562" y="1142579"/>
                </a:lnTo>
                <a:lnTo>
                  <a:pt x="3477850" y="1140955"/>
                </a:lnTo>
                <a:lnTo>
                  <a:pt x="3475137" y="1137490"/>
                </a:lnTo>
                <a:lnTo>
                  <a:pt x="3476331" y="1134675"/>
                </a:lnTo>
                <a:lnTo>
                  <a:pt x="3480129" y="1135866"/>
                </a:lnTo>
                <a:lnTo>
                  <a:pt x="3482950" y="1139980"/>
                </a:lnTo>
                <a:lnTo>
                  <a:pt x="3483926" y="1137490"/>
                </a:lnTo>
                <a:lnTo>
                  <a:pt x="3480562" y="1133051"/>
                </a:lnTo>
                <a:lnTo>
                  <a:pt x="3483926" y="1130994"/>
                </a:lnTo>
                <a:lnTo>
                  <a:pt x="3488593" y="1132943"/>
                </a:lnTo>
                <a:lnTo>
                  <a:pt x="3492391" y="1137814"/>
                </a:lnTo>
                <a:lnTo>
                  <a:pt x="3491089" y="1140738"/>
                </a:lnTo>
                <a:lnTo>
                  <a:pt x="3493802" y="1141604"/>
                </a:lnTo>
                <a:lnTo>
                  <a:pt x="3497057" y="1138681"/>
                </a:lnTo>
                <a:lnTo>
                  <a:pt x="3501940" y="1142038"/>
                </a:lnTo>
                <a:lnTo>
                  <a:pt x="3501940" y="1144961"/>
                </a:lnTo>
                <a:lnTo>
                  <a:pt x="3504111" y="1144528"/>
                </a:lnTo>
                <a:lnTo>
                  <a:pt x="3505304" y="1141171"/>
                </a:lnTo>
                <a:lnTo>
                  <a:pt x="3500964" y="1135974"/>
                </a:lnTo>
                <a:lnTo>
                  <a:pt x="3494452" y="1131643"/>
                </a:lnTo>
                <a:lnTo>
                  <a:pt x="3493802" y="1130128"/>
                </a:lnTo>
                <a:lnTo>
                  <a:pt x="3498034" y="1130020"/>
                </a:lnTo>
                <a:lnTo>
                  <a:pt x="3502266" y="1131318"/>
                </a:lnTo>
                <a:lnTo>
                  <a:pt x="3504219" y="1129045"/>
                </a:lnTo>
                <a:lnTo>
                  <a:pt x="3500312" y="1127746"/>
                </a:lnTo>
                <a:lnTo>
                  <a:pt x="3497600" y="1125905"/>
                </a:lnTo>
                <a:lnTo>
                  <a:pt x="3494127" y="1125797"/>
                </a:lnTo>
                <a:lnTo>
                  <a:pt x="3493584" y="1127853"/>
                </a:lnTo>
                <a:lnTo>
                  <a:pt x="3490763" y="1128071"/>
                </a:lnTo>
                <a:lnTo>
                  <a:pt x="3488810" y="1125147"/>
                </a:lnTo>
                <a:lnTo>
                  <a:pt x="3489461" y="1123198"/>
                </a:lnTo>
                <a:close/>
                <a:moveTo>
                  <a:pt x="1119239" y="1122116"/>
                </a:moveTo>
                <a:lnTo>
                  <a:pt x="1115184" y="1122358"/>
                </a:lnTo>
                <a:lnTo>
                  <a:pt x="1119240" y="1122116"/>
                </a:lnTo>
                <a:close/>
                <a:moveTo>
                  <a:pt x="2901299" y="1120925"/>
                </a:moveTo>
                <a:lnTo>
                  <a:pt x="2902928" y="1121250"/>
                </a:lnTo>
                <a:lnTo>
                  <a:pt x="2903579" y="1123199"/>
                </a:lnTo>
                <a:lnTo>
                  <a:pt x="2899672" y="1124282"/>
                </a:lnTo>
                <a:lnTo>
                  <a:pt x="2898153" y="1124065"/>
                </a:lnTo>
                <a:lnTo>
                  <a:pt x="2899998" y="1121250"/>
                </a:lnTo>
                <a:close/>
                <a:moveTo>
                  <a:pt x="705901" y="1120383"/>
                </a:moveTo>
                <a:lnTo>
                  <a:pt x="710025" y="1123306"/>
                </a:lnTo>
                <a:lnTo>
                  <a:pt x="710025" y="1126879"/>
                </a:lnTo>
                <a:lnTo>
                  <a:pt x="707854" y="1128503"/>
                </a:lnTo>
                <a:lnTo>
                  <a:pt x="707854" y="1130236"/>
                </a:lnTo>
                <a:lnTo>
                  <a:pt x="710568" y="1130993"/>
                </a:lnTo>
                <a:lnTo>
                  <a:pt x="714908" y="1125905"/>
                </a:lnTo>
                <a:lnTo>
                  <a:pt x="719142" y="1125038"/>
                </a:lnTo>
                <a:lnTo>
                  <a:pt x="722287" y="1126121"/>
                </a:lnTo>
                <a:lnTo>
                  <a:pt x="724240" y="1131101"/>
                </a:lnTo>
                <a:lnTo>
                  <a:pt x="720117" y="1132293"/>
                </a:lnTo>
                <a:lnTo>
                  <a:pt x="715776" y="1132293"/>
                </a:lnTo>
                <a:lnTo>
                  <a:pt x="715560" y="1135107"/>
                </a:lnTo>
                <a:lnTo>
                  <a:pt x="717838" y="1136515"/>
                </a:lnTo>
                <a:lnTo>
                  <a:pt x="719250" y="1139655"/>
                </a:lnTo>
                <a:lnTo>
                  <a:pt x="716103" y="1144636"/>
                </a:lnTo>
                <a:lnTo>
                  <a:pt x="712521" y="1144094"/>
                </a:lnTo>
                <a:lnTo>
                  <a:pt x="711327" y="1141820"/>
                </a:lnTo>
                <a:lnTo>
                  <a:pt x="708289" y="1142903"/>
                </a:lnTo>
                <a:lnTo>
                  <a:pt x="705141" y="1141279"/>
                </a:lnTo>
                <a:lnTo>
                  <a:pt x="701562" y="1141712"/>
                </a:lnTo>
                <a:lnTo>
                  <a:pt x="699390" y="1143986"/>
                </a:lnTo>
                <a:lnTo>
                  <a:pt x="703950" y="1145068"/>
                </a:lnTo>
                <a:lnTo>
                  <a:pt x="706228" y="1150049"/>
                </a:lnTo>
                <a:lnTo>
                  <a:pt x="703405" y="1154164"/>
                </a:lnTo>
                <a:lnTo>
                  <a:pt x="699718" y="1153838"/>
                </a:lnTo>
                <a:lnTo>
                  <a:pt x="696896" y="1149183"/>
                </a:lnTo>
                <a:lnTo>
                  <a:pt x="690928" y="1148750"/>
                </a:lnTo>
                <a:lnTo>
                  <a:pt x="687345" y="1150158"/>
                </a:lnTo>
                <a:lnTo>
                  <a:pt x="692228" y="1152323"/>
                </a:lnTo>
                <a:lnTo>
                  <a:pt x="693530" y="1155354"/>
                </a:lnTo>
                <a:lnTo>
                  <a:pt x="690928" y="1157411"/>
                </a:lnTo>
                <a:lnTo>
                  <a:pt x="687019" y="1156437"/>
                </a:lnTo>
                <a:lnTo>
                  <a:pt x="682571" y="1157628"/>
                </a:lnTo>
                <a:lnTo>
                  <a:pt x="680402" y="1156978"/>
                </a:lnTo>
                <a:lnTo>
                  <a:pt x="677905" y="1162175"/>
                </a:lnTo>
                <a:lnTo>
                  <a:pt x="675733" y="1162392"/>
                </a:lnTo>
                <a:lnTo>
                  <a:pt x="673131" y="1164341"/>
                </a:lnTo>
                <a:lnTo>
                  <a:pt x="674432" y="1166939"/>
                </a:lnTo>
                <a:lnTo>
                  <a:pt x="669116" y="1169862"/>
                </a:lnTo>
                <a:lnTo>
                  <a:pt x="669005" y="1173002"/>
                </a:lnTo>
                <a:lnTo>
                  <a:pt x="666077" y="1174735"/>
                </a:lnTo>
                <a:lnTo>
                  <a:pt x="664015" y="1177658"/>
                </a:lnTo>
                <a:lnTo>
                  <a:pt x="659130" y="1176792"/>
                </a:lnTo>
                <a:lnTo>
                  <a:pt x="659781" y="1174627"/>
                </a:lnTo>
                <a:lnTo>
                  <a:pt x="668246" y="1167913"/>
                </a:lnTo>
                <a:lnTo>
                  <a:pt x="668246" y="1165315"/>
                </a:lnTo>
                <a:lnTo>
                  <a:pt x="671070" y="1161093"/>
                </a:lnTo>
                <a:lnTo>
                  <a:pt x="669332" y="1160876"/>
                </a:lnTo>
                <a:lnTo>
                  <a:pt x="665643" y="1163907"/>
                </a:lnTo>
                <a:lnTo>
                  <a:pt x="663797" y="1161958"/>
                </a:lnTo>
                <a:lnTo>
                  <a:pt x="665207" y="1159685"/>
                </a:lnTo>
                <a:lnTo>
                  <a:pt x="659999" y="1159468"/>
                </a:lnTo>
                <a:lnTo>
                  <a:pt x="657612" y="1161958"/>
                </a:lnTo>
                <a:lnTo>
                  <a:pt x="659891" y="1162609"/>
                </a:lnTo>
                <a:lnTo>
                  <a:pt x="661084" y="1164124"/>
                </a:lnTo>
                <a:lnTo>
                  <a:pt x="660325" y="1166831"/>
                </a:lnTo>
                <a:lnTo>
                  <a:pt x="657285" y="1167589"/>
                </a:lnTo>
                <a:lnTo>
                  <a:pt x="654246" y="1165748"/>
                </a:lnTo>
                <a:lnTo>
                  <a:pt x="653705" y="1160984"/>
                </a:lnTo>
                <a:lnTo>
                  <a:pt x="655984" y="1158170"/>
                </a:lnTo>
                <a:lnTo>
                  <a:pt x="657069" y="1153297"/>
                </a:lnTo>
                <a:lnTo>
                  <a:pt x="656742" y="1147450"/>
                </a:lnTo>
                <a:lnTo>
                  <a:pt x="655335" y="1145068"/>
                </a:lnTo>
                <a:lnTo>
                  <a:pt x="656418" y="1142254"/>
                </a:lnTo>
                <a:lnTo>
                  <a:pt x="662711" y="1137381"/>
                </a:lnTo>
                <a:lnTo>
                  <a:pt x="673131" y="1132293"/>
                </a:lnTo>
                <a:lnTo>
                  <a:pt x="679099" y="1131534"/>
                </a:lnTo>
                <a:lnTo>
                  <a:pt x="680834" y="1132617"/>
                </a:lnTo>
                <a:lnTo>
                  <a:pt x="681161" y="1141929"/>
                </a:lnTo>
                <a:lnTo>
                  <a:pt x="682898" y="1142903"/>
                </a:lnTo>
                <a:lnTo>
                  <a:pt x="687019" y="1137706"/>
                </a:lnTo>
                <a:lnTo>
                  <a:pt x="685500" y="1133375"/>
                </a:lnTo>
                <a:lnTo>
                  <a:pt x="686695" y="1132617"/>
                </a:lnTo>
                <a:lnTo>
                  <a:pt x="689841" y="1134783"/>
                </a:lnTo>
                <a:lnTo>
                  <a:pt x="691144" y="1130993"/>
                </a:lnTo>
                <a:lnTo>
                  <a:pt x="687129" y="1128070"/>
                </a:lnTo>
                <a:lnTo>
                  <a:pt x="686043" y="1125905"/>
                </a:lnTo>
                <a:lnTo>
                  <a:pt x="690385" y="1121141"/>
                </a:lnTo>
                <a:lnTo>
                  <a:pt x="693530" y="1120816"/>
                </a:lnTo>
                <a:lnTo>
                  <a:pt x="696680" y="1123198"/>
                </a:lnTo>
                <a:lnTo>
                  <a:pt x="696461" y="1127962"/>
                </a:lnTo>
                <a:lnTo>
                  <a:pt x="694725" y="1130127"/>
                </a:lnTo>
                <a:lnTo>
                  <a:pt x="694725" y="1133592"/>
                </a:lnTo>
                <a:lnTo>
                  <a:pt x="697436" y="1132834"/>
                </a:lnTo>
                <a:lnTo>
                  <a:pt x="699608" y="1128936"/>
                </a:lnTo>
                <a:lnTo>
                  <a:pt x="701562" y="1127962"/>
                </a:lnTo>
                <a:lnTo>
                  <a:pt x="704056" y="1129369"/>
                </a:lnTo>
                <a:lnTo>
                  <a:pt x="704817" y="1125038"/>
                </a:lnTo>
                <a:lnTo>
                  <a:pt x="703515" y="1122115"/>
                </a:lnTo>
                <a:close/>
                <a:moveTo>
                  <a:pt x="2900433" y="1113995"/>
                </a:moveTo>
                <a:lnTo>
                  <a:pt x="2902711" y="1114861"/>
                </a:lnTo>
                <a:lnTo>
                  <a:pt x="2902494" y="1118434"/>
                </a:lnTo>
                <a:lnTo>
                  <a:pt x="2899022" y="1117893"/>
                </a:lnTo>
                <a:lnTo>
                  <a:pt x="2897503" y="1115403"/>
                </a:lnTo>
                <a:close/>
                <a:moveTo>
                  <a:pt x="4388063" y="1108152"/>
                </a:moveTo>
                <a:lnTo>
                  <a:pt x="4387218" y="1110748"/>
                </a:lnTo>
                <a:lnTo>
                  <a:pt x="4387435" y="1111462"/>
                </a:lnTo>
                <a:lnTo>
                  <a:pt x="4388197" y="1108907"/>
                </a:lnTo>
                <a:close/>
                <a:moveTo>
                  <a:pt x="4244303" y="1101653"/>
                </a:moveTo>
                <a:lnTo>
                  <a:pt x="4242023" y="1107066"/>
                </a:lnTo>
                <a:lnTo>
                  <a:pt x="4235295" y="1116377"/>
                </a:lnTo>
                <a:lnTo>
                  <a:pt x="4228784" y="1127962"/>
                </a:lnTo>
                <a:lnTo>
                  <a:pt x="4228459" y="1132726"/>
                </a:lnTo>
                <a:lnTo>
                  <a:pt x="4224661" y="1135974"/>
                </a:lnTo>
                <a:lnTo>
                  <a:pt x="4216522" y="1137706"/>
                </a:lnTo>
                <a:lnTo>
                  <a:pt x="4208926" y="1142254"/>
                </a:lnTo>
                <a:lnTo>
                  <a:pt x="4208818" y="1147017"/>
                </a:lnTo>
                <a:lnTo>
                  <a:pt x="4208926" y="1142254"/>
                </a:lnTo>
                <a:lnTo>
                  <a:pt x="4216522" y="1137707"/>
                </a:lnTo>
                <a:lnTo>
                  <a:pt x="4224661" y="1135975"/>
                </a:lnTo>
                <a:lnTo>
                  <a:pt x="4228459" y="1132726"/>
                </a:lnTo>
                <a:lnTo>
                  <a:pt x="4228784" y="1127963"/>
                </a:lnTo>
                <a:lnTo>
                  <a:pt x="4235295" y="1116378"/>
                </a:lnTo>
                <a:lnTo>
                  <a:pt x="4242023" y="1107067"/>
                </a:lnTo>
                <a:lnTo>
                  <a:pt x="4244303" y="1101653"/>
                </a:lnTo>
                <a:close/>
                <a:moveTo>
                  <a:pt x="727278" y="1100137"/>
                </a:moveTo>
                <a:lnTo>
                  <a:pt x="729884" y="1101220"/>
                </a:lnTo>
                <a:lnTo>
                  <a:pt x="728907" y="1105551"/>
                </a:lnTo>
                <a:lnTo>
                  <a:pt x="731076" y="1106092"/>
                </a:lnTo>
                <a:lnTo>
                  <a:pt x="732270" y="1103818"/>
                </a:lnTo>
                <a:lnTo>
                  <a:pt x="735201" y="1102952"/>
                </a:lnTo>
                <a:lnTo>
                  <a:pt x="737047" y="1106525"/>
                </a:lnTo>
                <a:lnTo>
                  <a:pt x="734767" y="1108690"/>
                </a:lnTo>
                <a:lnTo>
                  <a:pt x="733032" y="1112047"/>
                </a:lnTo>
                <a:lnTo>
                  <a:pt x="735853" y="1113021"/>
                </a:lnTo>
                <a:lnTo>
                  <a:pt x="737371" y="1115944"/>
                </a:lnTo>
                <a:lnTo>
                  <a:pt x="733789" y="1116918"/>
                </a:lnTo>
                <a:lnTo>
                  <a:pt x="731403" y="1114970"/>
                </a:lnTo>
                <a:lnTo>
                  <a:pt x="727713" y="1118759"/>
                </a:lnTo>
                <a:lnTo>
                  <a:pt x="725107" y="1118759"/>
                </a:lnTo>
                <a:lnTo>
                  <a:pt x="724024" y="1115728"/>
                </a:lnTo>
                <a:lnTo>
                  <a:pt x="719574" y="1119517"/>
                </a:lnTo>
                <a:lnTo>
                  <a:pt x="716211" y="1119626"/>
                </a:lnTo>
                <a:lnTo>
                  <a:pt x="710786" y="1114428"/>
                </a:lnTo>
                <a:lnTo>
                  <a:pt x="709915" y="1112371"/>
                </a:lnTo>
                <a:lnTo>
                  <a:pt x="711980" y="1110206"/>
                </a:lnTo>
                <a:lnTo>
                  <a:pt x="715016" y="1111614"/>
                </a:lnTo>
                <a:lnTo>
                  <a:pt x="717186" y="1109773"/>
                </a:lnTo>
                <a:lnTo>
                  <a:pt x="719899" y="1111072"/>
                </a:lnTo>
                <a:lnTo>
                  <a:pt x="722612" y="1106958"/>
                </a:lnTo>
                <a:lnTo>
                  <a:pt x="720658" y="1104576"/>
                </a:lnTo>
                <a:lnTo>
                  <a:pt x="722722" y="1101436"/>
                </a:lnTo>
                <a:close/>
                <a:moveTo>
                  <a:pt x="4200897" y="1098730"/>
                </a:moveTo>
                <a:lnTo>
                  <a:pt x="4203610" y="1099271"/>
                </a:lnTo>
                <a:lnTo>
                  <a:pt x="4201656" y="1103169"/>
                </a:lnTo>
                <a:lnTo>
                  <a:pt x="4199378" y="1101112"/>
                </a:lnTo>
                <a:close/>
                <a:moveTo>
                  <a:pt x="4492529" y="1092350"/>
                </a:moveTo>
                <a:lnTo>
                  <a:pt x="4492372" y="1092774"/>
                </a:lnTo>
                <a:lnTo>
                  <a:pt x="4496224" y="1096908"/>
                </a:lnTo>
                <a:lnTo>
                  <a:pt x="4495953" y="1096024"/>
                </a:lnTo>
                <a:close/>
                <a:moveTo>
                  <a:pt x="732379" y="1091042"/>
                </a:moveTo>
                <a:lnTo>
                  <a:pt x="735853" y="1091258"/>
                </a:lnTo>
                <a:lnTo>
                  <a:pt x="735526" y="1094940"/>
                </a:lnTo>
                <a:lnTo>
                  <a:pt x="731838" y="1097538"/>
                </a:lnTo>
                <a:lnTo>
                  <a:pt x="729125" y="1095373"/>
                </a:lnTo>
                <a:lnTo>
                  <a:pt x="730316" y="1091475"/>
                </a:lnTo>
                <a:close/>
                <a:moveTo>
                  <a:pt x="4756175" y="1088660"/>
                </a:moveTo>
                <a:lnTo>
                  <a:pt x="4758779" y="1091691"/>
                </a:lnTo>
                <a:lnTo>
                  <a:pt x="4759105" y="1094182"/>
                </a:lnTo>
                <a:lnTo>
                  <a:pt x="4756717" y="1094507"/>
                </a:lnTo>
                <a:lnTo>
                  <a:pt x="4753679" y="1091583"/>
                </a:lnTo>
                <a:lnTo>
                  <a:pt x="4753679" y="1089093"/>
                </a:lnTo>
                <a:close/>
                <a:moveTo>
                  <a:pt x="880070" y="1085629"/>
                </a:moveTo>
                <a:lnTo>
                  <a:pt x="882783" y="1087795"/>
                </a:lnTo>
                <a:lnTo>
                  <a:pt x="875729" y="1088336"/>
                </a:lnTo>
                <a:close/>
                <a:moveTo>
                  <a:pt x="4385170" y="1085051"/>
                </a:moveTo>
                <a:lnTo>
                  <a:pt x="4383420" y="1087794"/>
                </a:lnTo>
                <a:lnTo>
                  <a:pt x="4383588" y="1089250"/>
                </a:lnTo>
                <a:lnTo>
                  <a:pt x="4385484" y="1086278"/>
                </a:lnTo>
                <a:close/>
                <a:moveTo>
                  <a:pt x="1047655" y="1084195"/>
                </a:moveTo>
                <a:lnTo>
                  <a:pt x="1045666" y="1088336"/>
                </a:lnTo>
                <a:lnTo>
                  <a:pt x="1045666" y="1088336"/>
                </a:lnTo>
                <a:close/>
                <a:moveTo>
                  <a:pt x="1008988" y="1078592"/>
                </a:moveTo>
                <a:lnTo>
                  <a:pt x="1008987" y="1078592"/>
                </a:lnTo>
                <a:lnTo>
                  <a:pt x="1024614" y="1078808"/>
                </a:lnTo>
                <a:lnTo>
                  <a:pt x="1029052" y="1081022"/>
                </a:lnTo>
                <a:lnTo>
                  <a:pt x="1024613" y="1078808"/>
                </a:lnTo>
                <a:close/>
                <a:moveTo>
                  <a:pt x="7094276" y="1077942"/>
                </a:moveTo>
                <a:lnTo>
                  <a:pt x="7094059" y="1081299"/>
                </a:lnTo>
                <a:lnTo>
                  <a:pt x="7090803" y="1086171"/>
                </a:lnTo>
                <a:lnTo>
                  <a:pt x="7088633" y="1085846"/>
                </a:lnTo>
                <a:lnTo>
                  <a:pt x="7088959" y="1082165"/>
                </a:lnTo>
                <a:lnTo>
                  <a:pt x="7091346" y="1078591"/>
                </a:lnTo>
                <a:close/>
                <a:moveTo>
                  <a:pt x="4170729" y="1076643"/>
                </a:moveTo>
                <a:lnTo>
                  <a:pt x="4172791" y="1079133"/>
                </a:lnTo>
                <a:lnTo>
                  <a:pt x="4171488" y="1081515"/>
                </a:lnTo>
                <a:lnTo>
                  <a:pt x="4168993" y="1080000"/>
                </a:lnTo>
                <a:close/>
                <a:moveTo>
                  <a:pt x="1038720" y="1076318"/>
                </a:moveTo>
                <a:lnTo>
                  <a:pt x="1029605" y="1081298"/>
                </a:lnTo>
                <a:lnTo>
                  <a:pt x="1029605" y="1081298"/>
                </a:lnTo>
                <a:lnTo>
                  <a:pt x="1038721" y="1076318"/>
                </a:lnTo>
                <a:close/>
                <a:moveTo>
                  <a:pt x="934006" y="1073394"/>
                </a:moveTo>
                <a:lnTo>
                  <a:pt x="937044" y="1073394"/>
                </a:lnTo>
                <a:lnTo>
                  <a:pt x="932812" y="1078374"/>
                </a:lnTo>
                <a:lnTo>
                  <a:pt x="928144" y="1079566"/>
                </a:lnTo>
                <a:lnTo>
                  <a:pt x="928254" y="1075668"/>
                </a:lnTo>
                <a:close/>
                <a:moveTo>
                  <a:pt x="4379492" y="1068147"/>
                </a:moveTo>
                <a:lnTo>
                  <a:pt x="4377452" y="1073611"/>
                </a:lnTo>
                <a:lnTo>
                  <a:pt x="4377779" y="1077119"/>
                </a:lnTo>
                <a:lnTo>
                  <a:pt x="4377779" y="1075992"/>
                </a:lnTo>
                <a:lnTo>
                  <a:pt x="4379949" y="1070579"/>
                </a:lnTo>
                <a:close/>
                <a:moveTo>
                  <a:pt x="2904231" y="1067115"/>
                </a:moveTo>
                <a:lnTo>
                  <a:pt x="2906509" y="1067981"/>
                </a:lnTo>
                <a:lnTo>
                  <a:pt x="2904882" y="1070039"/>
                </a:lnTo>
                <a:lnTo>
                  <a:pt x="2900541" y="1068847"/>
                </a:lnTo>
                <a:close/>
                <a:moveTo>
                  <a:pt x="2906619" y="1062135"/>
                </a:moveTo>
                <a:lnTo>
                  <a:pt x="2911068" y="1063651"/>
                </a:lnTo>
                <a:lnTo>
                  <a:pt x="2908355" y="1065275"/>
                </a:lnTo>
                <a:lnTo>
                  <a:pt x="2904882" y="1065275"/>
                </a:lnTo>
                <a:lnTo>
                  <a:pt x="2902712" y="1064083"/>
                </a:lnTo>
                <a:lnTo>
                  <a:pt x="2903363" y="1063110"/>
                </a:lnTo>
                <a:close/>
                <a:moveTo>
                  <a:pt x="2895332" y="1061809"/>
                </a:moveTo>
                <a:lnTo>
                  <a:pt x="2896743" y="1062134"/>
                </a:lnTo>
                <a:lnTo>
                  <a:pt x="2897394" y="1063758"/>
                </a:lnTo>
                <a:lnTo>
                  <a:pt x="2895332" y="1064841"/>
                </a:lnTo>
                <a:lnTo>
                  <a:pt x="2894247" y="1062242"/>
                </a:lnTo>
                <a:close/>
                <a:moveTo>
                  <a:pt x="4252255" y="1061328"/>
                </a:moveTo>
                <a:lnTo>
                  <a:pt x="4249402" y="1067439"/>
                </a:lnTo>
                <a:lnTo>
                  <a:pt x="4246147" y="1069171"/>
                </a:lnTo>
                <a:lnTo>
                  <a:pt x="4244736" y="1075018"/>
                </a:lnTo>
                <a:lnTo>
                  <a:pt x="4241807" y="1078915"/>
                </a:lnTo>
                <a:lnTo>
                  <a:pt x="4238768" y="1080540"/>
                </a:lnTo>
                <a:lnTo>
                  <a:pt x="4238768" y="1080541"/>
                </a:lnTo>
                <a:lnTo>
                  <a:pt x="4241807" y="1078916"/>
                </a:lnTo>
                <a:lnTo>
                  <a:pt x="4244736" y="1075019"/>
                </a:lnTo>
                <a:lnTo>
                  <a:pt x="4246147" y="1069172"/>
                </a:lnTo>
                <a:lnTo>
                  <a:pt x="4249402" y="1067439"/>
                </a:lnTo>
                <a:close/>
                <a:moveTo>
                  <a:pt x="4379569" y="1058081"/>
                </a:moveTo>
                <a:lnTo>
                  <a:pt x="4378211" y="1061268"/>
                </a:lnTo>
                <a:lnTo>
                  <a:pt x="4378660" y="1063618"/>
                </a:lnTo>
                <a:lnTo>
                  <a:pt x="4380383" y="1059319"/>
                </a:lnTo>
                <a:close/>
                <a:moveTo>
                  <a:pt x="4177564" y="1057912"/>
                </a:moveTo>
                <a:lnTo>
                  <a:pt x="4178758" y="1064625"/>
                </a:lnTo>
                <a:lnTo>
                  <a:pt x="4173224" y="1069931"/>
                </a:lnTo>
                <a:lnTo>
                  <a:pt x="4173224" y="1065275"/>
                </a:lnTo>
                <a:close/>
                <a:moveTo>
                  <a:pt x="4182231" y="1055854"/>
                </a:moveTo>
                <a:lnTo>
                  <a:pt x="4184184" y="1057045"/>
                </a:lnTo>
                <a:lnTo>
                  <a:pt x="4182231" y="1061051"/>
                </a:lnTo>
                <a:lnTo>
                  <a:pt x="4180278" y="1058235"/>
                </a:lnTo>
                <a:close/>
                <a:moveTo>
                  <a:pt x="4258084" y="1055746"/>
                </a:moveTo>
                <a:lnTo>
                  <a:pt x="4253092" y="1059535"/>
                </a:lnTo>
                <a:lnTo>
                  <a:pt x="4253092" y="1059536"/>
                </a:lnTo>
                <a:lnTo>
                  <a:pt x="4258084" y="1055747"/>
                </a:lnTo>
                <a:lnTo>
                  <a:pt x="4263401" y="1058129"/>
                </a:lnTo>
                <a:lnTo>
                  <a:pt x="4265571" y="1060727"/>
                </a:lnTo>
                <a:lnTo>
                  <a:pt x="4268719" y="1060186"/>
                </a:lnTo>
                <a:lnTo>
                  <a:pt x="4272299" y="1056937"/>
                </a:lnTo>
                <a:lnTo>
                  <a:pt x="4272299" y="1056937"/>
                </a:lnTo>
                <a:lnTo>
                  <a:pt x="4268719" y="1060185"/>
                </a:lnTo>
                <a:lnTo>
                  <a:pt x="4265571" y="1060726"/>
                </a:lnTo>
                <a:lnTo>
                  <a:pt x="4263401" y="1058128"/>
                </a:lnTo>
                <a:close/>
                <a:moveTo>
                  <a:pt x="4488790" y="1055495"/>
                </a:moveTo>
                <a:lnTo>
                  <a:pt x="4489659" y="1057587"/>
                </a:lnTo>
                <a:lnTo>
                  <a:pt x="4500510" y="1064516"/>
                </a:lnTo>
                <a:lnTo>
                  <a:pt x="4501041" y="1065006"/>
                </a:lnTo>
                <a:lnTo>
                  <a:pt x="4501270" y="1064300"/>
                </a:lnTo>
                <a:lnTo>
                  <a:pt x="4498340" y="1061594"/>
                </a:lnTo>
                <a:close/>
                <a:moveTo>
                  <a:pt x="863360" y="1051090"/>
                </a:moveTo>
                <a:lnTo>
                  <a:pt x="863360" y="1054663"/>
                </a:lnTo>
                <a:lnTo>
                  <a:pt x="859345" y="1057262"/>
                </a:lnTo>
                <a:cubicBezTo>
                  <a:pt x="858502" y="1056964"/>
                  <a:pt x="857702" y="1056564"/>
                  <a:pt x="856957" y="1056070"/>
                </a:cubicBezTo>
                <a:close/>
                <a:moveTo>
                  <a:pt x="4196013" y="1050332"/>
                </a:moveTo>
                <a:lnTo>
                  <a:pt x="4195470" y="1054338"/>
                </a:lnTo>
                <a:lnTo>
                  <a:pt x="4186789" y="1060834"/>
                </a:lnTo>
                <a:lnTo>
                  <a:pt x="4188199" y="1052389"/>
                </a:lnTo>
                <a:close/>
                <a:moveTo>
                  <a:pt x="733899" y="1050008"/>
                </a:moveTo>
                <a:lnTo>
                  <a:pt x="737371" y="1051198"/>
                </a:lnTo>
                <a:lnTo>
                  <a:pt x="733789" y="1053147"/>
                </a:lnTo>
                <a:lnTo>
                  <a:pt x="730209" y="1050874"/>
                </a:lnTo>
                <a:close/>
                <a:moveTo>
                  <a:pt x="4272191" y="1049357"/>
                </a:moveTo>
                <a:lnTo>
                  <a:pt x="4269369" y="1051956"/>
                </a:lnTo>
                <a:lnTo>
                  <a:pt x="4269369" y="1051957"/>
                </a:lnTo>
                <a:lnTo>
                  <a:pt x="4272191" y="1049358"/>
                </a:lnTo>
                <a:close/>
                <a:moveTo>
                  <a:pt x="573403" y="1049033"/>
                </a:moveTo>
                <a:lnTo>
                  <a:pt x="572101" y="1051739"/>
                </a:lnTo>
                <a:lnTo>
                  <a:pt x="570364" y="1052498"/>
                </a:lnTo>
                <a:lnTo>
                  <a:pt x="569063" y="1050657"/>
                </a:lnTo>
                <a:close/>
                <a:moveTo>
                  <a:pt x="4273385" y="1044161"/>
                </a:moveTo>
                <a:lnTo>
                  <a:pt x="4272191" y="1046759"/>
                </a:lnTo>
                <a:lnTo>
                  <a:pt x="4272191" y="1046760"/>
                </a:lnTo>
                <a:lnTo>
                  <a:pt x="4273385" y="1044162"/>
                </a:lnTo>
                <a:close/>
                <a:moveTo>
                  <a:pt x="568411" y="1043511"/>
                </a:moveTo>
                <a:lnTo>
                  <a:pt x="568954" y="1045893"/>
                </a:lnTo>
                <a:lnTo>
                  <a:pt x="563637" y="1052389"/>
                </a:lnTo>
                <a:lnTo>
                  <a:pt x="560708" y="1054664"/>
                </a:lnTo>
                <a:lnTo>
                  <a:pt x="558320" y="1053472"/>
                </a:lnTo>
                <a:lnTo>
                  <a:pt x="558755" y="1049358"/>
                </a:lnTo>
                <a:lnTo>
                  <a:pt x="564396" y="1045785"/>
                </a:lnTo>
                <a:close/>
                <a:moveTo>
                  <a:pt x="4209903" y="1041780"/>
                </a:moveTo>
                <a:lnTo>
                  <a:pt x="4209795" y="1051200"/>
                </a:lnTo>
                <a:lnTo>
                  <a:pt x="4204803" y="1048817"/>
                </a:lnTo>
                <a:lnTo>
                  <a:pt x="4198400" y="1052932"/>
                </a:lnTo>
                <a:lnTo>
                  <a:pt x="4199051" y="1048276"/>
                </a:lnTo>
                <a:close/>
                <a:moveTo>
                  <a:pt x="4473245" y="1041130"/>
                </a:moveTo>
                <a:lnTo>
                  <a:pt x="4474358" y="1044053"/>
                </a:lnTo>
                <a:lnTo>
                  <a:pt x="4477614" y="1044053"/>
                </a:lnTo>
                <a:lnTo>
                  <a:pt x="4483780" y="1047437"/>
                </a:lnTo>
                <a:lnTo>
                  <a:pt x="4481954" y="1044704"/>
                </a:lnTo>
                <a:lnTo>
                  <a:pt x="4475443" y="1041130"/>
                </a:lnTo>
                <a:close/>
                <a:moveTo>
                  <a:pt x="888319" y="1040047"/>
                </a:moveTo>
                <a:lnTo>
                  <a:pt x="889187" y="1042645"/>
                </a:lnTo>
                <a:lnTo>
                  <a:pt x="887992" y="1045244"/>
                </a:lnTo>
                <a:lnTo>
                  <a:pt x="890272" y="1047084"/>
                </a:lnTo>
                <a:lnTo>
                  <a:pt x="887666" y="1049467"/>
                </a:lnTo>
                <a:lnTo>
                  <a:pt x="882351" y="1051524"/>
                </a:lnTo>
                <a:lnTo>
                  <a:pt x="875188" y="1059644"/>
                </a:lnTo>
                <a:lnTo>
                  <a:pt x="870954" y="1061051"/>
                </a:lnTo>
                <a:lnTo>
                  <a:pt x="871823" y="1063867"/>
                </a:lnTo>
                <a:lnTo>
                  <a:pt x="870630" y="1066465"/>
                </a:lnTo>
                <a:lnTo>
                  <a:pt x="865203" y="1065274"/>
                </a:lnTo>
                <a:lnTo>
                  <a:pt x="862490" y="1067223"/>
                </a:lnTo>
                <a:lnTo>
                  <a:pt x="857608" y="1067223"/>
                </a:lnTo>
                <a:lnTo>
                  <a:pt x="857825" y="1065166"/>
                </a:lnTo>
                <a:lnTo>
                  <a:pt x="861188" y="1064300"/>
                </a:lnTo>
                <a:lnTo>
                  <a:pt x="863033" y="1063109"/>
                </a:lnTo>
                <a:lnTo>
                  <a:pt x="863684" y="1060510"/>
                </a:lnTo>
                <a:lnTo>
                  <a:pt x="872476" y="1053365"/>
                </a:lnTo>
                <a:lnTo>
                  <a:pt x="876598" y="1052065"/>
                </a:lnTo>
                <a:lnTo>
                  <a:pt x="881481" y="1046651"/>
                </a:lnTo>
                <a:lnTo>
                  <a:pt x="883651" y="1046002"/>
                </a:lnTo>
                <a:close/>
                <a:moveTo>
                  <a:pt x="899170" y="1036258"/>
                </a:moveTo>
                <a:lnTo>
                  <a:pt x="902100" y="1037666"/>
                </a:lnTo>
                <a:lnTo>
                  <a:pt x="902317" y="1041780"/>
                </a:lnTo>
                <a:lnTo>
                  <a:pt x="905354" y="1041780"/>
                </a:lnTo>
                <a:lnTo>
                  <a:pt x="906982" y="1045027"/>
                </a:lnTo>
                <a:lnTo>
                  <a:pt x="902750" y="1046976"/>
                </a:lnTo>
                <a:lnTo>
                  <a:pt x="896241" y="1045894"/>
                </a:lnTo>
                <a:lnTo>
                  <a:pt x="896132" y="1038315"/>
                </a:lnTo>
                <a:close/>
                <a:moveTo>
                  <a:pt x="4206322" y="1035717"/>
                </a:moveTo>
                <a:lnTo>
                  <a:pt x="4210445" y="1039182"/>
                </a:lnTo>
                <a:lnTo>
                  <a:pt x="4203718" y="1040048"/>
                </a:lnTo>
                <a:close/>
                <a:moveTo>
                  <a:pt x="5277056" y="1035608"/>
                </a:moveTo>
                <a:lnTo>
                  <a:pt x="5280312" y="1035608"/>
                </a:lnTo>
                <a:lnTo>
                  <a:pt x="5283675" y="1036799"/>
                </a:lnTo>
                <a:lnTo>
                  <a:pt x="5287365" y="1035716"/>
                </a:lnTo>
                <a:lnTo>
                  <a:pt x="5291164" y="1036799"/>
                </a:lnTo>
                <a:lnTo>
                  <a:pt x="5293009" y="1041238"/>
                </a:lnTo>
                <a:lnTo>
                  <a:pt x="5291164" y="1043295"/>
                </a:lnTo>
                <a:lnTo>
                  <a:pt x="5286280" y="1045028"/>
                </a:lnTo>
                <a:lnTo>
                  <a:pt x="5280962" y="1041671"/>
                </a:lnTo>
                <a:lnTo>
                  <a:pt x="5280637" y="1038748"/>
                </a:lnTo>
                <a:lnTo>
                  <a:pt x="5277490" y="1037773"/>
                </a:lnTo>
                <a:close/>
                <a:moveTo>
                  <a:pt x="4284019" y="1034091"/>
                </a:moveTo>
                <a:lnTo>
                  <a:pt x="4278919" y="1036798"/>
                </a:lnTo>
                <a:lnTo>
                  <a:pt x="4271974" y="1036690"/>
                </a:lnTo>
                <a:lnTo>
                  <a:pt x="4269587" y="1038206"/>
                </a:lnTo>
                <a:lnTo>
                  <a:pt x="4269587" y="1038206"/>
                </a:lnTo>
                <a:lnTo>
                  <a:pt x="4271974" y="1036691"/>
                </a:lnTo>
                <a:lnTo>
                  <a:pt x="4278919" y="1036799"/>
                </a:lnTo>
                <a:lnTo>
                  <a:pt x="4284019" y="1034092"/>
                </a:lnTo>
                <a:lnTo>
                  <a:pt x="4291941" y="1036150"/>
                </a:lnTo>
                <a:lnTo>
                  <a:pt x="4296824" y="1039398"/>
                </a:lnTo>
                <a:lnTo>
                  <a:pt x="4302358" y="1039939"/>
                </a:lnTo>
                <a:lnTo>
                  <a:pt x="4305397" y="1042537"/>
                </a:lnTo>
                <a:lnTo>
                  <a:pt x="4307893" y="1041672"/>
                </a:lnTo>
                <a:lnTo>
                  <a:pt x="4310063" y="1042970"/>
                </a:lnTo>
                <a:lnTo>
                  <a:pt x="4310063" y="1042969"/>
                </a:lnTo>
                <a:lnTo>
                  <a:pt x="4307893" y="1041671"/>
                </a:lnTo>
                <a:lnTo>
                  <a:pt x="4305397" y="1042536"/>
                </a:lnTo>
                <a:lnTo>
                  <a:pt x="4302359" y="1039938"/>
                </a:lnTo>
                <a:lnTo>
                  <a:pt x="4296825" y="1039397"/>
                </a:lnTo>
                <a:lnTo>
                  <a:pt x="4291941" y="1036149"/>
                </a:lnTo>
                <a:close/>
                <a:moveTo>
                  <a:pt x="4307597" y="1031996"/>
                </a:moveTo>
                <a:lnTo>
                  <a:pt x="4307459" y="1033334"/>
                </a:lnTo>
                <a:lnTo>
                  <a:pt x="4307459" y="1033334"/>
                </a:lnTo>
                <a:close/>
                <a:moveTo>
                  <a:pt x="878768" y="1031602"/>
                </a:moveTo>
                <a:lnTo>
                  <a:pt x="881700" y="1031818"/>
                </a:lnTo>
                <a:lnTo>
                  <a:pt x="882892" y="1033875"/>
                </a:lnTo>
                <a:lnTo>
                  <a:pt x="879636" y="1037232"/>
                </a:lnTo>
                <a:lnTo>
                  <a:pt x="877577" y="1040480"/>
                </a:lnTo>
                <a:lnTo>
                  <a:pt x="872909" y="1044594"/>
                </a:lnTo>
                <a:lnTo>
                  <a:pt x="872149" y="1047085"/>
                </a:lnTo>
                <a:lnTo>
                  <a:pt x="869872" y="1046868"/>
                </a:lnTo>
                <a:lnTo>
                  <a:pt x="868677" y="1044594"/>
                </a:lnTo>
                <a:lnTo>
                  <a:pt x="875296" y="1037881"/>
                </a:lnTo>
                <a:lnTo>
                  <a:pt x="875839" y="1034850"/>
                </a:lnTo>
                <a:close/>
                <a:moveTo>
                  <a:pt x="4467034" y="1029070"/>
                </a:moveTo>
                <a:lnTo>
                  <a:pt x="4466979" y="1029328"/>
                </a:lnTo>
                <a:lnTo>
                  <a:pt x="4468290" y="1030897"/>
                </a:lnTo>
                <a:lnTo>
                  <a:pt x="4468063" y="1030303"/>
                </a:lnTo>
                <a:close/>
                <a:moveTo>
                  <a:pt x="2261486" y="1025431"/>
                </a:moveTo>
                <a:lnTo>
                  <a:pt x="2263765" y="1026405"/>
                </a:lnTo>
                <a:lnTo>
                  <a:pt x="2260293" y="1030845"/>
                </a:lnTo>
                <a:lnTo>
                  <a:pt x="2260293" y="1033984"/>
                </a:lnTo>
                <a:lnTo>
                  <a:pt x="2264416" y="1032902"/>
                </a:lnTo>
                <a:lnTo>
                  <a:pt x="2265609" y="1037232"/>
                </a:lnTo>
                <a:lnTo>
                  <a:pt x="2264741" y="1041022"/>
                </a:lnTo>
                <a:lnTo>
                  <a:pt x="2265936" y="1044053"/>
                </a:lnTo>
                <a:lnTo>
                  <a:pt x="2262680" y="1044053"/>
                </a:lnTo>
                <a:lnTo>
                  <a:pt x="2260293" y="1044053"/>
                </a:lnTo>
                <a:lnTo>
                  <a:pt x="2259641" y="1046760"/>
                </a:lnTo>
                <a:lnTo>
                  <a:pt x="2261703" y="1051199"/>
                </a:lnTo>
                <a:lnTo>
                  <a:pt x="2261703" y="1057045"/>
                </a:lnTo>
                <a:lnTo>
                  <a:pt x="2263765" y="1058886"/>
                </a:lnTo>
                <a:lnTo>
                  <a:pt x="2266369" y="1056612"/>
                </a:lnTo>
                <a:lnTo>
                  <a:pt x="2267237" y="1052498"/>
                </a:lnTo>
                <a:lnTo>
                  <a:pt x="2271578" y="1047302"/>
                </a:lnTo>
                <a:lnTo>
                  <a:pt x="2273097" y="1047302"/>
                </a:lnTo>
                <a:lnTo>
                  <a:pt x="2274182" y="1050549"/>
                </a:lnTo>
                <a:lnTo>
                  <a:pt x="2277763" y="1053256"/>
                </a:lnTo>
                <a:lnTo>
                  <a:pt x="2277763" y="1055638"/>
                </a:lnTo>
                <a:lnTo>
                  <a:pt x="2275810" y="1058020"/>
                </a:lnTo>
                <a:lnTo>
                  <a:pt x="2278089" y="1062676"/>
                </a:lnTo>
                <a:lnTo>
                  <a:pt x="2285794" y="1065599"/>
                </a:lnTo>
                <a:lnTo>
                  <a:pt x="2291654" y="1065599"/>
                </a:lnTo>
                <a:lnTo>
                  <a:pt x="2293173" y="1069063"/>
                </a:lnTo>
                <a:lnTo>
                  <a:pt x="2292305" y="1074585"/>
                </a:lnTo>
                <a:lnTo>
                  <a:pt x="2293498" y="1077509"/>
                </a:lnTo>
                <a:lnTo>
                  <a:pt x="2296754" y="1077509"/>
                </a:lnTo>
                <a:lnTo>
                  <a:pt x="2298273" y="1083030"/>
                </a:lnTo>
                <a:lnTo>
                  <a:pt x="2298273" y="1085087"/>
                </a:lnTo>
                <a:lnTo>
                  <a:pt x="2304133" y="1087469"/>
                </a:lnTo>
                <a:lnTo>
                  <a:pt x="2310427" y="1094399"/>
                </a:lnTo>
                <a:lnTo>
                  <a:pt x="2310427" y="1097647"/>
                </a:lnTo>
                <a:lnTo>
                  <a:pt x="2313032" y="1099921"/>
                </a:lnTo>
                <a:lnTo>
                  <a:pt x="2313032" y="1102303"/>
                </a:lnTo>
                <a:lnTo>
                  <a:pt x="2311512" y="1105117"/>
                </a:lnTo>
                <a:lnTo>
                  <a:pt x="2311512" y="1110206"/>
                </a:lnTo>
                <a:lnTo>
                  <a:pt x="2313032" y="1111613"/>
                </a:lnTo>
                <a:lnTo>
                  <a:pt x="2313032" y="1114754"/>
                </a:lnTo>
                <a:lnTo>
                  <a:pt x="2309559" y="1117352"/>
                </a:lnTo>
                <a:lnTo>
                  <a:pt x="2306412" y="1117352"/>
                </a:lnTo>
                <a:lnTo>
                  <a:pt x="2302288" y="1119842"/>
                </a:lnTo>
                <a:lnTo>
                  <a:pt x="2305436" y="1122441"/>
                </a:lnTo>
                <a:lnTo>
                  <a:pt x="2312815" y="1122441"/>
                </a:lnTo>
                <a:lnTo>
                  <a:pt x="2315962" y="1119084"/>
                </a:lnTo>
                <a:lnTo>
                  <a:pt x="2317589" y="1118326"/>
                </a:lnTo>
                <a:lnTo>
                  <a:pt x="2317589" y="1121358"/>
                </a:lnTo>
                <a:lnTo>
                  <a:pt x="2321604" y="1123199"/>
                </a:lnTo>
                <a:lnTo>
                  <a:pt x="2323449" y="1124389"/>
                </a:lnTo>
                <a:lnTo>
                  <a:pt x="2325294" y="1123090"/>
                </a:lnTo>
                <a:lnTo>
                  <a:pt x="2325294" y="1120275"/>
                </a:lnTo>
                <a:lnTo>
                  <a:pt x="2327030" y="1119517"/>
                </a:lnTo>
                <a:lnTo>
                  <a:pt x="2328875" y="1123199"/>
                </a:lnTo>
                <a:lnTo>
                  <a:pt x="2331697" y="1124389"/>
                </a:lnTo>
                <a:lnTo>
                  <a:pt x="2330177" y="1127096"/>
                </a:lnTo>
                <a:lnTo>
                  <a:pt x="2327355" y="1128070"/>
                </a:lnTo>
                <a:lnTo>
                  <a:pt x="2329635" y="1130994"/>
                </a:lnTo>
                <a:lnTo>
                  <a:pt x="2332456" y="1132618"/>
                </a:lnTo>
                <a:lnTo>
                  <a:pt x="2331480" y="1134892"/>
                </a:lnTo>
                <a:lnTo>
                  <a:pt x="2327464" y="1134892"/>
                </a:lnTo>
                <a:lnTo>
                  <a:pt x="2323774" y="1138790"/>
                </a:lnTo>
                <a:lnTo>
                  <a:pt x="2321062" y="1139764"/>
                </a:lnTo>
                <a:lnTo>
                  <a:pt x="2318458" y="1145178"/>
                </a:lnTo>
                <a:lnTo>
                  <a:pt x="2316396" y="1146476"/>
                </a:lnTo>
                <a:lnTo>
                  <a:pt x="2310644" y="1143012"/>
                </a:lnTo>
                <a:lnTo>
                  <a:pt x="2308040" y="1143012"/>
                </a:lnTo>
                <a:lnTo>
                  <a:pt x="2305436" y="1140630"/>
                </a:lnTo>
                <a:lnTo>
                  <a:pt x="2301203" y="1140630"/>
                </a:lnTo>
                <a:lnTo>
                  <a:pt x="2299793" y="1137707"/>
                </a:lnTo>
                <a:lnTo>
                  <a:pt x="2296971" y="1138356"/>
                </a:lnTo>
                <a:lnTo>
                  <a:pt x="2295452" y="1136949"/>
                </a:lnTo>
                <a:lnTo>
                  <a:pt x="2292305" y="1136949"/>
                </a:lnTo>
                <a:lnTo>
                  <a:pt x="2290352" y="1138248"/>
                </a:lnTo>
                <a:lnTo>
                  <a:pt x="2287422" y="1136840"/>
                </a:lnTo>
                <a:lnTo>
                  <a:pt x="2287422" y="1131211"/>
                </a:lnTo>
                <a:lnTo>
                  <a:pt x="2290352" y="1130345"/>
                </a:lnTo>
                <a:lnTo>
                  <a:pt x="2293173" y="1125905"/>
                </a:lnTo>
                <a:lnTo>
                  <a:pt x="2292088" y="1122549"/>
                </a:lnTo>
                <a:lnTo>
                  <a:pt x="2288941" y="1121358"/>
                </a:lnTo>
                <a:lnTo>
                  <a:pt x="2284166" y="1121358"/>
                </a:lnTo>
                <a:lnTo>
                  <a:pt x="2280476" y="1118976"/>
                </a:lnTo>
                <a:lnTo>
                  <a:pt x="2282429" y="1116378"/>
                </a:lnTo>
                <a:lnTo>
                  <a:pt x="2285468" y="1113779"/>
                </a:lnTo>
                <a:lnTo>
                  <a:pt x="2284817" y="1109990"/>
                </a:lnTo>
                <a:lnTo>
                  <a:pt x="2282538" y="1108799"/>
                </a:lnTo>
                <a:lnTo>
                  <a:pt x="2279825" y="1109881"/>
                </a:lnTo>
                <a:lnTo>
                  <a:pt x="2277546" y="1112264"/>
                </a:lnTo>
                <a:lnTo>
                  <a:pt x="2275376" y="1110315"/>
                </a:lnTo>
                <a:lnTo>
                  <a:pt x="2272447" y="1110315"/>
                </a:lnTo>
                <a:lnTo>
                  <a:pt x="2270927" y="1113346"/>
                </a:lnTo>
                <a:lnTo>
                  <a:pt x="2266912" y="1116052"/>
                </a:lnTo>
                <a:lnTo>
                  <a:pt x="2266912" y="1121791"/>
                </a:lnTo>
                <a:lnTo>
                  <a:pt x="2265176" y="1127854"/>
                </a:lnTo>
                <a:lnTo>
                  <a:pt x="2262354" y="1127854"/>
                </a:lnTo>
                <a:lnTo>
                  <a:pt x="2260075" y="1129370"/>
                </a:lnTo>
                <a:lnTo>
                  <a:pt x="2256603" y="1131860"/>
                </a:lnTo>
                <a:lnTo>
                  <a:pt x="2254432" y="1129695"/>
                </a:lnTo>
                <a:lnTo>
                  <a:pt x="2252370" y="1129695"/>
                </a:lnTo>
                <a:lnTo>
                  <a:pt x="2250092" y="1133268"/>
                </a:lnTo>
                <a:lnTo>
                  <a:pt x="2246945" y="1135974"/>
                </a:lnTo>
                <a:lnTo>
                  <a:pt x="2245642" y="1141063"/>
                </a:lnTo>
                <a:lnTo>
                  <a:pt x="2241736" y="1144636"/>
                </a:lnTo>
                <a:lnTo>
                  <a:pt x="2238480" y="1144636"/>
                </a:lnTo>
                <a:lnTo>
                  <a:pt x="2235008" y="1146585"/>
                </a:lnTo>
                <a:lnTo>
                  <a:pt x="2233923" y="1148533"/>
                </a:lnTo>
                <a:lnTo>
                  <a:pt x="2230016" y="1148533"/>
                </a:lnTo>
                <a:lnTo>
                  <a:pt x="2227412" y="1150266"/>
                </a:lnTo>
                <a:lnTo>
                  <a:pt x="2223939" y="1150266"/>
                </a:lnTo>
                <a:lnTo>
                  <a:pt x="2222203" y="1148967"/>
                </a:lnTo>
                <a:lnTo>
                  <a:pt x="2219598" y="1150266"/>
                </a:lnTo>
                <a:lnTo>
                  <a:pt x="2218622" y="1148318"/>
                </a:lnTo>
                <a:lnTo>
                  <a:pt x="2218622" y="1141929"/>
                </a:lnTo>
                <a:lnTo>
                  <a:pt x="2221335" y="1138140"/>
                </a:lnTo>
                <a:lnTo>
                  <a:pt x="2220575" y="1134351"/>
                </a:lnTo>
                <a:lnTo>
                  <a:pt x="2224156" y="1129695"/>
                </a:lnTo>
                <a:lnTo>
                  <a:pt x="2223505" y="1126880"/>
                </a:lnTo>
                <a:lnTo>
                  <a:pt x="2220901" y="1125147"/>
                </a:lnTo>
                <a:lnTo>
                  <a:pt x="2218622" y="1125147"/>
                </a:lnTo>
                <a:lnTo>
                  <a:pt x="2216777" y="1126231"/>
                </a:lnTo>
                <a:lnTo>
                  <a:pt x="2213087" y="1126231"/>
                </a:lnTo>
                <a:lnTo>
                  <a:pt x="2210049" y="1124498"/>
                </a:lnTo>
                <a:lnTo>
                  <a:pt x="2208421" y="1123307"/>
                </a:lnTo>
                <a:lnTo>
                  <a:pt x="2206142" y="1124173"/>
                </a:lnTo>
                <a:lnTo>
                  <a:pt x="2205166" y="1128179"/>
                </a:lnTo>
                <a:lnTo>
                  <a:pt x="2203104" y="1128179"/>
                </a:lnTo>
                <a:lnTo>
                  <a:pt x="2202236" y="1123199"/>
                </a:lnTo>
                <a:lnTo>
                  <a:pt x="2204623" y="1115078"/>
                </a:lnTo>
                <a:lnTo>
                  <a:pt x="2204623" y="1110748"/>
                </a:lnTo>
                <a:lnTo>
                  <a:pt x="2212328" y="1107607"/>
                </a:lnTo>
                <a:lnTo>
                  <a:pt x="2218188" y="1107607"/>
                </a:lnTo>
                <a:lnTo>
                  <a:pt x="2220901" y="1104685"/>
                </a:lnTo>
                <a:lnTo>
                  <a:pt x="2220901" y="1097864"/>
                </a:lnTo>
                <a:lnTo>
                  <a:pt x="2222094" y="1095265"/>
                </a:lnTo>
                <a:lnTo>
                  <a:pt x="2222094" y="1088769"/>
                </a:lnTo>
                <a:lnTo>
                  <a:pt x="2224156" y="1084763"/>
                </a:lnTo>
                <a:lnTo>
                  <a:pt x="2230125" y="1079457"/>
                </a:lnTo>
                <a:lnTo>
                  <a:pt x="2230125" y="1075668"/>
                </a:lnTo>
                <a:lnTo>
                  <a:pt x="2231319" y="1071337"/>
                </a:lnTo>
                <a:lnTo>
                  <a:pt x="2233923" y="1069930"/>
                </a:lnTo>
                <a:lnTo>
                  <a:pt x="2232187" y="1066682"/>
                </a:lnTo>
                <a:lnTo>
                  <a:pt x="2236853" y="1059102"/>
                </a:lnTo>
                <a:lnTo>
                  <a:pt x="2236853" y="1056179"/>
                </a:lnTo>
                <a:lnTo>
                  <a:pt x="2239783" y="1052173"/>
                </a:lnTo>
                <a:lnTo>
                  <a:pt x="2239783" y="1048709"/>
                </a:lnTo>
                <a:lnTo>
                  <a:pt x="2244123" y="1042321"/>
                </a:lnTo>
                <a:lnTo>
                  <a:pt x="2247704" y="1033226"/>
                </a:lnTo>
                <a:lnTo>
                  <a:pt x="2252370" y="1029220"/>
                </a:lnTo>
                <a:close/>
                <a:moveTo>
                  <a:pt x="4312017" y="1023914"/>
                </a:moveTo>
                <a:lnTo>
                  <a:pt x="4308219" y="1025971"/>
                </a:lnTo>
                <a:lnTo>
                  <a:pt x="4308219" y="1025972"/>
                </a:lnTo>
                <a:lnTo>
                  <a:pt x="4312017" y="1023915"/>
                </a:lnTo>
                <a:close/>
                <a:moveTo>
                  <a:pt x="890597" y="1023590"/>
                </a:moveTo>
                <a:lnTo>
                  <a:pt x="894071" y="1023915"/>
                </a:lnTo>
                <a:lnTo>
                  <a:pt x="894503" y="1027488"/>
                </a:lnTo>
                <a:lnTo>
                  <a:pt x="889837" y="1026838"/>
                </a:lnTo>
                <a:close/>
                <a:moveTo>
                  <a:pt x="2730604" y="1022940"/>
                </a:moveTo>
                <a:lnTo>
                  <a:pt x="2732883" y="1024348"/>
                </a:lnTo>
                <a:lnTo>
                  <a:pt x="2730279" y="1028787"/>
                </a:lnTo>
                <a:lnTo>
                  <a:pt x="2727457" y="1029761"/>
                </a:lnTo>
                <a:cubicBezTo>
                  <a:pt x="2727457" y="1029761"/>
                  <a:pt x="2725504" y="1030736"/>
                  <a:pt x="2725504" y="1030736"/>
                </a:cubicBezTo>
                <a:lnTo>
                  <a:pt x="2725504" y="1026188"/>
                </a:lnTo>
                <a:lnTo>
                  <a:pt x="2728976" y="1024239"/>
                </a:lnTo>
                <a:close/>
                <a:moveTo>
                  <a:pt x="4247884" y="1020017"/>
                </a:moveTo>
                <a:lnTo>
                  <a:pt x="4250488" y="1024023"/>
                </a:lnTo>
                <a:lnTo>
                  <a:pt x="4246256" y="1025864"/>
                </a:lnTo>
                <a:close/>
                <a:moveTo>
                  <a:pt x="2272012" y="1019692"/>
                </a:moveTo>
                <a:lnTo>
                  <a:pt x="2274942" y="1019800"/>
                </a:lnTo>
                <a:lnTo>
                  <a:pt x="2275810" y="1023806"/>
                </a:lnTo>
                <a:lnTo>
                  <a:pt x="2273965" y="1025106"/>
                </a:lnTo>
                <a:lnTo>
                  <a:pt x="2274291" y="1028029"/>
                </a:lnTo>
                <a:lnTo>
                  <a:pt x="2276353" y="1031277"/>
                </a:lnTo>
                <a:lnTo>
                  <a:pt x="2273097" y="1039073"/>
                </a:lnTo>
                <a:lnTo>
                  <a:pt x="2270384" y="1039939"/>
                </a:lnTo>
                <a:lnTo>
                  <a:pt x="2270710" y="1035608"/>
                </a:lnTo>
                <a:lnTo>
                  <a:pt x="2269625" y="1033010"/>
                </a:lnTo>
                <a:lnTo>
                  <a:pt x="2270493" y="1029978"/>
                </a:lnTo>
                <a:lnTo>
                  <a:pt x="2270493" y="1023481"/>
                </a:lnTo>
                <a:close/>
                <a:moveTo>
                  <a:pt x="4224769" y="1018609"/>
                </a:moveTo>
                <a:lnTo>
                  <a:pt x="4221839" y="1031060"/>
                </a:lnTo>
                <a:lnTo>
                  <a:pt x="4223033" y="1035607"/>
                </a:lnTo>
                <a:lnTo>
                  <a:pt x="4226288" y="1029544"/>
                </a:lnTo>
                <a:lnTo>
                  <a:pt x="4233884" y="1029219"/>
                </a:lnTo>
                <a:lnTo>
                  <a:pt x="4230954" y="1025105"/>
                </a:lnTo>
                <a:lnTo>
                  <a:pt x="4230737" y="1021640"/>
                </a:lnTo>
                <a:lnTo>
                  <a:pt x="4233992" y="1024131"/>
                </a:lnTo>
                <a:lnTo>
                  <a:pt x="4240069" y="1029977"/>
                </a:lnTo>
                <a:lnTo>
                  <a:pt x="4231931" y="1038855"/>
                </a:lnTo>
                <a:lnTo>
                  <a:pt x="4226396" y="1041994"/>
                </a:lnTo>
                <a:lnTo>
                  <a:pt x="4224552" y="1045784"/>
                </a:lnTo>
                <a:lnTo>
                  <a:pt x="4220862" y="1044485"/>
                </a:lnTo>
                <a:lnTo>
                  <a:pt x="4221405" y="1039829"/>
                </a:lnTo>
                <a:lnTo>
                  <a:pt x="4215762" y="1047300"/>
                </a:lnTo>
                <a:lnTo>
                  <a:pt x="4213158" y="1047300"/>
                </a:lnTo>
                <a:lnTo>
                  <a:pt x="4214026" y="1041453"/>
                </a:lnTo>
                <a:lnTo>
                  <a:pt x="4216521" y="1040046"/>
                </a:lnTo>
                <a:lnTo>
                  <a:pt x="4215762" y="1035715"/>
                </a:lnTo>
                <a:lnTo>
                  <a:pt x="4219018" y="1031818"/>
                </a:lnTo>
                <a:lnTo>
                  <a:pt x="4219018" y="1027378"/>
                </a:lnTo>
                <a:close/>
                <a:moveTo>
                  <a:pt x="4213049" y="1018609"/>
                </a:moveTo>
                <a:lnTo>
                  <a:pt x="4214568" y="1024889"/>
                </a:lnTo>
                <a:lnTo>
                  <a:pt x="4214785" y="1032793"/>
                </a:lnTo>
                <a:lnTo>
                  <a:pt x="4208382" y="1034742"/>
                </a:lnTo>
                <a:lnTo>
                  <a:pt x="4205778" y="1032468"/>
                </a:lnTo>
                <a:lnTo>
                  <a:pt x="4211638" y="1028354"/>
                </a:lnTo>
                <a:lnTo>
                  <a:pt x="4208382" y="1028245"/>
                </a:lnTo>
                <a:lnTo>
                  <a:pt x="4202306" y="1033009"/>
                </a:lnTo>
                <a:lnTo>
                  <a:pt x="4200461" y="1029870"/>
                </a:lnTo>
                <a:lnTo>
                  <a:pt x="4202197" y="1025105"/>
                </a:lnTo>
                <a:lnTo>
                  <a:pt x="4206646" y="1026080"/>
                </a:lnTo>
                <a:lnTo>
                  <a:pt x="4210770" y="1021315"/>
                </a:lnTo>
                <a:lnTo>
                  <a:pt x="4209902" y="1019042"/>
                </a:lnTo>
                <a:close/>
                <a:moveTo>
                  <a:pt x="2909440" y="1018609"/>
                </a:moveTo>
                <a:lnTo>
                  <a:pt x="2911719" y="1018609"/>
                </a:lnTo>
                <a:lnTo>
                  <a:pt x="2911393" y="1020558"/>
                </a:lnTo>
                <a:lnTo>
                  <a:pt x="2908680" y="1023589"/>
                </a:lnTo>
                <a:lnTo>
                  <a:pt x="2906510" y="1024023"/>
                </a:lnTo>
                <a:lnTo>
                  <a:pt x="2905317" y="1022831"/>
                </a:lnTo>
                <a:lnTo>
                  <a:pt x="2906402" y="1021424"/>
                </a:lnTo>
                <a:close/>
                <a:moveTo>
                  <a:pt x="4235295" y="1015903"/>
                </a:moveTo>
                <a:lnTo>
                  <a:pt x="4240070" y="1018393"/>
                </a:lnTo>
                <a:lnTo>
                  <a:pt x="4240070" y="1021641"/>
                </a:lnTo>
                <a:lnTo>
                  <a:pt x="4233233" y="1018825"/>
                </a:lnTo>
                <a:lnTo>
                  <a:pt x="4231823" y="1017310"/>
                </a:lnTo>
                <a:close/>
                <a:moveTo>
                  <a:pt x="2289158" y="1015578"/>
                </a:moveTo>
                <a:lnTo>
                  <a:pt x="2290460" y="1020341"/>
                </a:lnTo>
                <a:lnTo>
                  <a:pt x="2294801" y="1022074"/>
                </a:lnTo>
                <a:lnTo>
                  <a:pt x="2295777" y="1025106"/>
                </a:lnTo>
                <a:lnTo>
                  <a:pt x="2298599" y="1027379"/>
                </a:lnTo>
                <a:lnTo>
                  <a:pt x="2298599" y="1034092"/>
                </a:lnTo>
                <a:lnTo>
                  <a:pt x="2303373" y="1036473"/>
                </a:lnTo>
                <a:lnTo>
                  <a:pt x="2306629" y="1036798"/>
                </a:lnTo>
                <a:lnTo>
                  <a:pt x="2305978" y="1041671"/>
                </a:lnTo>
                <a:lnTo>
                  <a:pt x="2301312" y="1040588"/>
                </a:lnTo>
                <a:lnTo>
                  <a:pt x="2298056" y="1041454"/>
                </a:lnTo>
                <a:lnTo>
                  <a:pt x="2298056" y="1038206"/>
                </a:lnTo>
                <a:lnTo>
                  <a:pt x="2295452" y="1035499"/>
                </a:lnTo>
                <a:lnTo>
                  <a:pt x="2291003" y="1033009"/>
                </a:lnTo>
                <a:lnTo>
                  <a:pt x="2291654" y="1030086"/>
                </a:lnTo>
                <a:lnTo>
                  <a:pt x="2290352" y="1025863"/>
                </a:lnTo>
                <a:lnTo>
                  <a:pt x="2287422" y="1023482"/>
                </a:lnTo>
                <a:lnTo>
                  <a:pt x="2287747" y="1017202"/>
                </a:lnTo>
                <a:close/>
                <a:moveTo>
                  <a:pt x="901339" y="1014820"/>
                </a:moveTo>
                <a:lnTo>
                  <a:pt x="904594" y="1016010"/>
                </a:lnTo>
                <a:lnTo>
                  <a:pt x="902207" y="1018177"/>
                </a:lnTo>
                <a:lnTo>
                  <a:pt x="898953" y="1016985"/>
                </a:lnTo>
                <a:close/>
                <a:moveTo>
                  <a:pt x="2314985" y="1014062"/>
                </a:moveTo>
                <a:lnTo>
                  <a:pt x="2317155" y="1014387"/>
                </a:lnTo>
                <a:lnTo>
                  <a:pt x="2319868" y="1016443"/>
                </a:lnTo>
                <a:lnTo>
                  <a:pt x="2319651" y="1018176"/>
                </a:lnTo>
                <a:lnTo>
                  <a:pt x="2317155" y="1017634"/>
                </a:lnTo>
                <a:lnTo>
                  <a:pt x="2313683" y="1014928"/>
                </a:lnTo>
                <a:close/>
                <a:moveTo>
                  <a:pt x="4467534" y="1012459"/>
                </a:moveTo>
                <a:lnTo>
                  <a:pt x="4466003" y="1013520"/>
                </a:lnTo>
                <a:lnTo>
                  <a:pt x="4467280" y="1013957"/>
                </a:lnTo>
                <a:close/>
                <a:moveTo>
                  <a:pt x="4319288" y="1011896"/>
                </a:moveTo>
                <a:lnTo>
                  <a:pt x="4317551" y="1012762"/>
                </a:lnTo>
                <a:lnTo>
                  <a:pt x="4312125" y="1013737"/>
                </a:lnTo>
                <a:lnTo>
                  <a:pt x="4306699" y="1012112"/>
                </a:lnTo>
                <a:lnTo>
                  <a:pt x="4306699" y="1012114"/>
                </a:lnTo>
                <a:lnTo>
                  <a:pt x="4312125" y="1013738"/>
                </a:lnTo>
                <a:lnTo>
                  <a:pt x="4317551" y="1012763"/>
                </a:lnTo>
                <a:lnTo>
                  <a:pt x="4319287" y="1011897"/>
                </a:lnTo>
                <a:lnTo>
                  <a:pt x="4320412" y="1013237"/>
                </a:lnTo>
                <a:lnTo>
                  <a:pt x="4320412" y="1013236"/>
                </a:lnTo>
                <a:lnTo>
                  <a:pt x="4319288" y="1011896"/>
                </a:lnTo>
                <a:close/>
                <a:moveTo>
                  <a:pt x="878441" y="1010489"/>
                </a:moveTo>
                <a:lnTo>
                  <a:pt x="881698" y="1012005"/>
                </a:lnTo>
                <a:lnTo>
                  <a:pt x="880829" y="1014820"/>
                </a:lnTo>
                <a:lnTo>
                  <a:pt x="881480" y="1017310"/>
                </a:lnTo>
                <a:lnTo>
                  <a:pt x="879854" y="1019584"/>
                </a:lnTo>
                <a:lnTo>
                  <a:pt x="875729" y="1013954"/>
                </a:lnTo>
                <a:close/>
                <a:moveTo>
                  <a:pt x="4320264" y="1010380"/>
                </a:moveTo>
                <a:lnTo>
                  <a:pt x="4319288" y="1011788"/>
                </a:lnTo>
                <a:lnTo>
                  <a:pt x="4319288" y="1011788"/>
                </a:lnTo>
                <a:lnTo>
                  <a:pt x="4320441" y="1013195"/>
                </a:lnTo>
                <a:lnTo>
                  <a:pt x="4320591" y="1012979"/>
                </a:lnTo>
                <a:lnTo>
                  <a:pt x="4322652" y="1013954"/>
                </a:lnTo>
                <a:lnTo>
                  <a:pt x="4324280" y="1012871"/>
                </a:lnTo>
                <a:lnTo>
                  <a:pt x="4323377" y="1010584"/>
                </a:lnTo>
                <a:lnTo>
                  <a:pt x="4322217" y="1011355"/>
                </a:lnTo>
                <a:close/>
                <a:moveTo>
                  <a:pt x="786962" y="1009623"/>
                </a:moveTo>
                <a:lnTo>
                  <a:pt x="790544" y="1009623"/>
                </a:lnTo>
                <a:lnTo>
                  <a:pt x="790764" y="1013304"/>
                </a:lnTo>
                <a:lnTo>
                  <a:pt x="784684" y="1017311"/>
                </a:lnTo>
                <a:lnTo>
                  <a:pt x="780237" y="1016878"/>
                </a:lnTo>
                <a:close/>
                <a:moveTo>
                  <a:pt x="7383580" y="1007024"/>
                </a:moveTo>
                <a:lnTo>
                  <a:pt x="7386186" y="1007890"/>
                </a:lnTo>
                <a:lnTo>
                  <a:pt x="7391719" y="1014169"/>
                </a:lnTo>
                <a:lnTo>
                  <a:pt x="7394215" y="1020124"/>
                </a:lnTo>
                <a:lnTo>
                  <a:pt x="7395518" y="1025321"/>
                </a:lnTo>
                <a:lnTo>
                  <a:pt x="7393238" y="1026513"/>
                </a:lnTo>
                <a:lnTo>
                  <a:pt x="7387379" y="1030843"/>
                </a:lnTo>
                <a:lnTo>
                  <a:pt x="7383689" y="1035066"/>
                </a:lnTo>
                <a:lnTo>
                  <a:pt x="7381194" y="1040696"/>
                </a:lnTo>
                <a:lnTo>
                  <a:pt x="7381194" y="1044052"/>
                </a:lnTo>
                <a:lnTo>
                  <a:pt x="7379782" y="1046325"/>
                </a:lnTo>
                <a:lnTo>
                  <a:pt x="7381953" y="1050765"/>
                </a:lnTo>
                <a:lnTo>
                  <a:pt x="7382604" y="1056070"/>
                </a:lnTo>
                <a:lnTo>
                  <a:pt x="7381085" y="1055420"/>
                </a:lnTo>
                <a:lnTo>
                  <a:pt x="7376852" y="1050982"/>
                </a:lnTo>
                <a:lnTo>
                  <a:pt x="7375985" y="1048383"/>
                </a:lnTo>
                <a:lnTo>
                  <a:pt x="7378155" y="1045351"/>
                </a:lnTo>
                <a:lnTo>
                  <a:pt x="7377829" y="1040046"/>
                </a:lnTo>
                <a:lnTo>
                  <a:pt x="7375225" y="1036473"/>
                </a:lnTo>
                <a:lnTo>
                  <a:pt x="7373597" y="1028894"/>
                </a:lnTo>
                <a:lnTo>
                  <a:pt x="7375008" y="1024672"/>
                </a:lnTo>
                <a:lnTo>
                  <a:pt x="7374465" y="1023914"/>
                </a:lnTo>
                <a:lnTo>
                  <a:pt x="7370016" y="1025538"/>
                </a:lnTo>
                <a:lnTo>
                  <a:pt x="7367303" y="1025863"/>
                </a:lnTo>
                <a:lnTo>
                  <a:pt x="7370125" y="1021315"/>
                </a:lnTo>
                <a:lnTo>
                  <a:pt x="7372512" y="1020233"/>
                </a:lnTo>
                <a:lnTo>
                  <a:pt x="7378372" y="1013303"/>
                </a:lnTo>
                <a:lnTo>
                  <a:pt x="7380325" y="1012004"/>
                </a:lnTo>
                <a:lnTo>
                  <a:pt x="7381085" y="1009622"/>
                </a:lnTo>
                <a:close/>
                <a:moveTo>
                  <a:pt x="2948614" y="1002044"/>
                </a:moveTo>
                <a:lnTo>
                  <a:pt x="2954149" y="1003343"/>
                </a:lnTo>
                <a:lnTo>
                  <a:pt x="2954582" y="1005725"/>
                </a:lnTo>
                <a:lnTo>
                  <a:pt x="2948289" y="1006591"/>
                </a:lnTo>
                <a:lnTo>
                  <a:pt x="2945034" y="1004967"/>
                </a:lnTo>
                <a:lnTo>
                  <a:pt x="2945034" y="1003127"/>
                </a:lnTo>
                <a:close/>
                <a:moveTo>
                  <a:pt x="4228892" y="1000854"/>
                </a:moveTo>
                <a:lnTo>
                  <a:pt x="4230086" y="1005293"/>
                </a:lnTo>
                <a:lnTo>
                  <a:pt x="4225094" y="1008974"/>
                </a:lnTo>
                <a:lnTo>
                  <a:pt x="4224551" y="1013738"/>
                </a:lnTo>
                <a:lnTo>
                  <a:pt x="4218149" y="1021317"/>
                </a:lnTo>
                <a:lnTo>
                  <a:pt x="4215762" y="1019584"/>
                </a:lnTo>
                <a:lnTo>
                  <a:pt x="4216087" y="1012655"/>
                </a:lnTo>
                <a:lnTo>
                  <a:pt x="4222490" y="1007566"/>
                </a:lnTo>
                <a:lnTo>
                  <a:pt x="4222707" y="1003236"/>
                </a:lnTo>
                <a:close/>
                <a:moveTo>
                  <a:pt x="4326666" y="999878"/>
                </a:moveTo>
                <a:lnTo>
                  <a:pt x="4323302" y="1002584"/>
                </a:lnTo>
                <a:lnTo>
                  <a:pt x="4322434" y="1006699"/>
                </a:lnTo>
                <a:lnTo>
                  <a:pt x="4323075" y="1008322"/>
                </a:lnTo>
                <a:lnTo>
                  <a:pt x="4323737" y="1005184"/>
                </a:lnTo>
                <a:lnTo>
                  <a:pt x="4326993" y="1002477"/>
                </a:lnTo>
                <a:lnTo>
                  <a:pt x="4331442" y="1003126"/>
                </a:lnTo>
                <a:lnTo>
                  <a:pt x="4335023" y="1008432"/>
                </a:lnTo>
                <a:lnTo>
                  <a:pt x="4345223" y="1016660"/>
                </a:lnTo>
                <a:lnTo>
                  <a:pt x="4347177" y="1021641"/>
                </a:lnTo>
                <a:lnTo>
                  <a:pt x="4350975" y="1026838"/>
                </a:lnTo>
                <a:lnTo>
                  <a:pt x="4357703" y="1029544"/>
                </a:lnTo>
                <a:lnTo>
                  <a:pt x="4368555" y="1029544"/>
                </a:lnTo>
                <a:lnTo>
                  <a:pt x="4374414" y="1023914"/>
                </a:lnTo>
                <a:lnTo>
                  <a:pt x="4377670" y="1020450"/>
                </a:lnTo>
                <a:lnTo>
                  <a:pt x="4382662" y="1020450"/>
                </a:lnTo>
                <a:lnTo>
                  <a:pt x="4390583" y="1025971"/>
                </a:lnTo>
                <a:lnTo>
                  <a:pt x="4395901" y="1026838"/>
                </a:lnTo>
                <a:lnTo>
                  <a:pt x="4398614" y="1021641"/>
                </a:lnTo>
                <a:lnTo>
                  <a:pt x="4401761" y="1019908"/>
                </a:lnTo>
                <a:lnTo>
                  <a:pt x="4405558" y="1016336"/>
                </a:lnTo>
                <a:lnTo>
                  <a:pt x="4409683" y="1016336"/>
                </a:lnTo>
                <a:lnTo>
                  <a:pt x="4413806" y="1013629"/>
                </a:lnTo>
                <a:lnTo>
                  <a:pt x="4415543" y="1010489"/>
                </a:lnTo>
                <a:lnTo>
                  <a:pt x="4415127" y="1009505"/>
                </a:lnTo>
                <a:lnTo>
                  <a:pt x="4413805" y="1011896"/>
                </a:lnTo>
                <a:lnTo>
                  <a:pt x="4409682" y="1014602"/>
                </a:lnTo>
                <a:lnTo>
                  <a:pt x="4405558" y="1014278"/>
                </a:lnTo>
                <a:lnTo>
                  <a:pt x="4401760" y="1017959"/>
                </a:lnTo>
                <a:lnTo>
                  <a:pt x="4398613" y="1019583"/>
                </a:lnTo>
                <a:lnTo>
                  <a:pt x="4395900" y="1024780"/>
                </a:lnTo>
                <a:lnTo>
                  <a:pt x="4390583" y="1023914"/>
                </a:lnTo>
                <a:lnTo>
                  <a:pt x="4382661" y="1018392"/>
                </a:lnTo>
                <a:lnTo>
                  <a:pt x="4377670" y="1018284"/>
                </a:lnTo>
                <a:lnTo>
                  <a:pt x="4374305" y="1021640"/>
                </a:lnTo>
                <a:lnTo>
                  <a:pt x="4368445" y="1027379"/>
                </a:lnTo>
                <a:lnTo>
                  <a:pt x="4357268" y="1027054"/>
                </a:lnTo>
                <a:lnTo>
                  <a:pt x="4350540" y="1024239"/>
                </a:lnTo>
                <a:lnTo>
                  <a:pt x="4346742" y="1019150"/>
                </a:lnTo>
                <a:lnTo>
                  <a:pt x="4344898" y="1014170"/>
                </a:lnTo>
                <a:lnTo>
                  <a:pt x="4334697" y="1005833"/>
                </a:lnTo>
                <a:lnTo>
                  <a:pt x="4331115" y="1000527"/>
                </a:lnTo>
                <a:close/>
                <a:moveTo>
                  <a:pt x="2708358" y="999554"/>
                </a:moveTo>
                <a:lnTo>
                  <a:pt x="2711180" y="1002152"/>
                </a:lnTo>
                <a:lnTo>
                  <a:pt x="2711505" y="1007024"/>
                </a:lnTo>
                <a:lnTo>
                  <a:pt x="2709010" y="1008107"/>
                </a:lnTo>
                <a:lnTo>
                  <a:pt x="2706513" y="1008215"/>
                </a:lnTo>
                <a:lnTo>
                  <a:pt x="2705320" y="1002585"/>
                </a:lnTo>
                <a:close/>
                <a:moveTo>
                  <a:pt x="4900612" y="995007"/>
                </a:moveTo>
                <a:lnTo>
                  <a:pt x="4906580" y="995656"/>
                </a:lnTo>
                <a:lnTo>
                  <a:pt x="4904084" y="997389"/>
                </a:lnTo>
                <a:lnTo>
                  <a:pt x="4898767" y="998472"/>
                </a:lnTo>
                <a:lnTo>
                  <a:pt x="4897573" y="999879"/>
                </a:lnTo>
                <a:lnTo>
                  <a:pt x="4895946" y="999879"/>
                </a:lnTo>
                <a:lnTo>
                  <a:pt x="4896163" y="997281"/>
                </a:lnTo>
                <a:close/>
                <a:moveTo>
                  <a:pt x="4959645" y="994681"/>
                </a:moveTo>
                <a:lnTo>
                  <a:pt x="4961272" y="997171"/>
                </a:lnTo>
                <a:lnTo>
                  <a:pt x="4959102" y="999877"/>
                </a:lnTo>
                <a:lnTo>
                  <a:pt x="4955630" y="999444"/>
                </a:lnTo>
                <a:lnTo>
                  <a:pt x="4957257" y="995655"/>
                </a:lnTo>
                <a:close/>
                <a:moveTo>
                  <a:pt x="4969628" y="992408"/>
                </a:moveTo>
                <a:lnTo>
                  <a:pt x="4969845" y="995873"/>
                </a:lnTo>
                <a:lnTo>
                  <a:pt x="4966481" y="1000312"/>
                </a:lnTo>
                <a:lnTo>
                  <a:pt x="4964853" y="998471"/>
                </a:lnTo>
                <a:lnTo>
                  <a:pt x="4964636" y="996089"/>
                </a:lnTo>
                <a:lnTo>
                  <a:pt x="4966481" y="992949"/>
                </a:lnTo>
                <a:close/>
                <a:moveTo>
                  <a:pt x="4249946" y="989160"/>
                </a:moveTo>
                <a:lnTo>
                  <a:pt x="4257108" y="989918"/>
                </a:lnTo>
                <a:lnTo>
                  <a:pt x="4257977" y="993707"/>
                </a:lnTo>
                <a:lnTo>
                  <a:pt x="4261231" y="994790"/>
                </a:lnTo>
                <a:lnTo>
                  <a:pt x="4262534" y="1000203"/>
                </a:lnTo>
                <a:lnTo>
                  <a:pt x="4261666" y="1002910"/>
                </a:lnTo>
                <a:lnTo>
                  <a:pt x="4262751" y="1006700"/>
                </a:lnTo>
                <a:lnTo>
                  <a:pt x="4257650" y="1007891"/>
                </a:lnTo>
                <a:lnTo>
                  <a:pt x="4255806" y="1010490"/>
                </a:lnTo>
                <a:lnTo>
                  <a:pt x="4250272" y="1010056"/>
                </a:lnTo>
                <a:lnTo>
                  <a:pt x="4249078" y="1015903"/>
                </a:lnTo>
                <a:lnTo>
                  <a:pt x="4246907" y="1016011"/>
                </a:lnTo>
                <a:lnTo>
                  <a:pt x="4246691" y="1011572"/>
                </a:lnTo>
                <a:lnTo>
                  <a:pt x="4242784" y="1011031"/>
                </a:lnTo>
                <a:lnTo>
                  <a:pt x="4246582" y="1005942"/>
                </a:lnTo>
                <a:lnTo>
                  <a:pt x="4241916" y="1005509"/>
                </a:lnTo>
                <a:lnTo>
                  <a:pt x="4243978" y="999987"/>
                </a:lnTo>
                <a:lnTo>
                  <a:pt x="4250054" y="999446"/>
                </a:lnTo>
                <a:lnTo>
                  <a:pt x="4244520" y="996631"/>
                </a:lnTo>
                <a:lnTo>
                  <a:pt x="4247450" y="991433"/>
                </a:lnTo>
                <a:lnTo>
                  <a:pt x="4251031" y="994249"/>
                </a:lnTo>
                <a:close/>
                <a:moveTo>
                  <a:pt x="2932445" y="982664"/>
                </a:moveTo>
                <a:lnTo>
                  <a:pt x="2936569" y="982989"/>
                </a:lnTo>
                <a:lnTo>
                  <a:pt x="2937437" y="985586"/>
                </a:lnTo>
                <a:lnTo>
                  <a:pt x="2930600" y="986778"/>
                </a:lnTo>
                <a:lnTo>
                  <a:pt x="2929190" y="985154"/>
                </a:lnTo>
                <a:lnTo>
                  <a:pt x="2929732" y="983205"/>
                </a:lnTo>
                <a:close/>
                <a:moveTo>
                  <a:pt x="4413906" y="982573"/>
                </a:moveTo>
                <a:lnTo>
                  <a:pt x="4412828" y="985261"/>
                </a:lnTo>
                <a:lnTo>
                  <a:pt x="4411527" y="997496"/>
                </a:lnTo>
                <a:lnTo>
                  <a:pt x="4411648" y="997878"/>
                </a:lnTo>
                <a:lnTo>
                  <a:pt x="4412721" y="986886"/>
                </a:lnTo>
                <a:lnTo>
                  <a:pt x="4414240" y="983096"/>
                </a:lnTo>
                <a:close/>
                <a:moveTo>
                  <a:pt x="2952412" y="980498"/>
                </a:moveTo>
                <a:lnTo>
                  <a:pt x="2956427" y="982122"/>
                </a:lnTo>
                <a:lnTo>
                  <a:pt x="2953823" y="983529"/>
                </a:lnTo>
                <a:lnTo>
                  <a:pt x="2949916" y="983747"/>
                </a:lnTo>
                <a:lnTo>
                  <a:pt x="2948614" y="981689"/>
                </a:lnTo>
                <a:close/>
                <a:moveTo>
                  <a:pt x="4497906" y="978657"/>
                </a:moveTo>
                <a:lnTo>
                  <a:pt x="4497275" y="978710"/>
                </a:lnTo>
                <a:lnTo>
                  <a:pt x="4501487" y="980391"/>
                </a:lnTo>
                <a:lnTo>
                  <a:pt x="4501621" y="980222"/>
                </a:lnTo>
                <a:close/>
                <a:moveTo>
                  <a:pt x="3504111" y="978441"/>
                </a:moveTo>
                <a:lnTo>
                  <a:pt x="3504653" y="980498"/>
                </a:lnTo>
                <a:lnTo>
                  <a:pt x="3502049" y="982014"/>
                </a:lnTo>
                <a:lnTo>
                  <a:pt x="3500313" y="981797"/>
                </a:lnTo>
                <a:lnTo>
                  <a:pt x="3500638" y="979848"/>
                </a:lnTo>
                <a:close/>
                <a:moveTo>
                  <a:pt x="4277617" y="978332"/>
                </a:moveTo>
                <a:lnTo>
                  <a:pt x="4280764" y="982987"/>
                </a:lnTo>
                <a:lnTo>
                  <a:pt x="4277400" y="987102"/>
                </a:lnTo>
                <a:lnTo>
                  <a:pt x="4277617" y="990567"/>
                </a:lnTo>
                <a:lnTo>
                  <a:pt x="4271974" y="990675"/>
                </a:lnTo>
                <a:lnTo>
                  <a:pt x="4267417" y="992408"/>
                </a:lnTo>
                <a:lnTo>
                  <a:pt x="4262642" y="986236"/>
                </a:lnTo>
                <a:lnTo>
                  <a:pt x="4269044" y="985911"/>
                </a:lnTo>
                <a:lnTo>
                  <a:pt x="4269262" y="982338"/>
                </a:lnTo>
                <a:lnTo>
                  <a:pt x="4274904" y="982122"/>
                </a:lnTo>
                <a:close/>
                <a:moveTo>
                  <a:pt x="2942212" y="975409"/>
                </a:moveTo>
                <a:lnTo>
                  <a:pt x="2946878" y="976600"/>
                </a:lnTo>
                <a:lnTo>
                  <a:pt x="2949591" y="978115"/>
                </a:lnTo>
                <a:lnTo>
                  <a:pt x="2946552" y="980498"/>
                </a:lnTo>
                <a:lnTo>
                  <a:pt x="2943297" y="980931"/>
                </a:lnTo>
                <a:lnTo>
                  <a:pt x="2937654" y="978441"/>
                </a:lnTo>
                <a:lnTo>
                  <a:pt x="2938088" y="976925"/>
                </a:lnTo>
                <a:close/>
                <a:moveTo>
                  <a:pt x="4290530" y="971295"/>
                </a:moveTo>
                <a:lnTo>
                  <a:pt x="4292592" y="975734"/>
                </a:lnTo>
                <a:lnTo>
                  <a:pt x="4289120" y="977683"/>
                </a:lnTo>
                <a:close/>
                <a:moveTo>
                  <a:pt x="4418472" y="971118"/>
                </a:moveTo>
                <a:lnTo>
                  <a:pt x="4414781" y="976166"/>
                </a:lnTo>
                <a:lnTo>
                  <a:pt x="4412069" y="977899"/>
                </a:lnTo>
                <a:lnTo>
                  <a:pt x="4412774" y="979005"/>
                </a:lnTo>
                <a:lnTo>
                  <a:pt x="4414675" y="977791"/>
                </a:lnTo>
                <a:lnTo>
                  <a:pt x="4418472" y="972594"/>
                </a:lnTo>
                <a:close/>
                <a:moveTo>
                  <a:pt x="2672222" y="970104"/>
                </a:moveTo>
                <a:lnTo>
                  <a:pt x="2674826" y="970212"/>
                </a:lnTo>
                <a:lnTo>
                  <a:pt x="2675694" y="973135"/>
                </a:lnTo>
                <a:lnTo>
                  <a:pt x="2673958" y="974435"/>
                </a:lnTo>
                <a:lnTo>
                  <a:pt x="2669509" y="971620"/>
                </a:lnTo>
                <a:cubicBezTo>
                  <a:pt x="2670370" y="971042"/>
                  <a:pt x="2671278" y="970535"/>
                  <a:pt x="2672222" y="970104"/>
                </a:cubicBezTo>
                <a:close/>
                <a:moveTo>
                  <a:pt x="4991874" y="968914"/>
                </a:moveTo>
                <a:lnTo>
                  <a:pt x="4995454" y="970754"/>
                </a:lnTo>
                <a:lnTo>
                  <a:pt x="4994695" y="973136"/>
                </a:lnTo>
                <a:lnTo>
                  <a:pt x="4991765" y="973028"/>
                </a:lnTo>
                <a:lnTo>
                  <a:pt x="4989595" y="970430"/>
                </a:lnTo>
                <a:close/>
                <a:moveTo>
                  <a:pt x="5021282" y="968372"/>
                </a:moveTo>
                <a:lnTo>
                  <a:pt x="5025622" y="969563"/>
                </a:lnTo>
                <a:lnTo>
                  <a:pt x="5023886" y="971837"/>
                </a:lnTo>
                <a:lnTo>
                  <a:pt x="5017158" y="974002"/>
                </a:lnTo>
                <a:lnTo>
                  <a:pt x="5014554" y="975951"/>
                </a:lnTo>
                <a:lnTo>
                  <a:pt x="5012601" y="975409"/>
                </a:lnTo>
                <a:lnTo>
                  <a:pt x="5014988" y="971512"/>
                </a:lnTo>
                <a:close/>
                <a:moveTo>
                  <a:pt x="4971147" y="967830"/>
                </a:moveTo>
                <a:lnTo>
                  <a:pt x="4973426" y="968696"/>
                </a:lnTo>
                <a:lnTo>
                  <a:pt x="4971473" y="971187"/>
                </a:lnTo>
                <a:lnTo>
                  <a:pt x="4968543" y="971187"/>
                </a:lnTo>
                <a:lnTo>
                  <a:pt x="4967892" y="969779"/>
                </a:lnTo>
                <a:close/>
                <a:moveTo>
                  <a:pt x="4978636" y="967073"/>
                </a:moveTo>
                <a:lnTo>
                  <a:pt x="4982868" y="968914"/>
                </a:lnTo>
                <a:lnTo>
                  <a:pt x="4984821" y="973569"/>
                </a:lnTo>
                <a:lnTo>
                  <a:pt x="4980372" y="972487"/>
                </a:lnTo>
                <a:lnTo>
                  <a:pt x="4978310" y="970321"/>
                </a:lnTo>
                <a:lnTo>
                  <a:pt x="4975163" y="969455"/>
                </a:lnTo>
                <a:close/>
                <a:moveTo>
                  <a:pt x="4283477" y="965990"/>
                </a:moveTo>
                <a:lnTo>
                  <a:pt x="4285213" y="968696"/>
                </a:lnTo>
                <a:lnTo>
                  <a:pt x="4289337" y="968047"/>
                </a:lnTo>
                <a:lnTo>
                  <a:pt x="4289988" y="969347"/>
                </a:lnTo>
                <a:lnTo>
                  <a:pt x="4286299" y="972161"/>
                </a:lnTo>
                <a:lnTo>
                  <a:pt x="4286732" y="976276"/>
                </a:lnTo>
                <a:lnTo>
                  <a:pt x="4285431" y="978333"/>
                </a:lnTo>
                <a:lnTo>
                  <a:pt x="4282066" y="978333"/>
                </a:lnTo>
                <a:lnTo>
                  <a:pt x="4276098" y="972161"/>
                </a:lnTo>
                <a:close/>
                <a:moveTo>
                  <a:pt x="4279895" y="961876"/>
                </a:moveTo>
                <a:lnTo>
                  <a:pt x="4279678" y="965124"/>
                </a:lnTo>
                <a:cubicBezTo>
                  <a:pt x="4279678" y="965124"/>
                  <a:pt x="4273710" y="969130"/>
                  <a:pt x="4273710" y="969130"/>
                </a:cubicBezTo>
                <a:lnTo>
                  <a:pt x="4273710" y="963608"/>
                </a:lnTo>
                <a:close/>
                <a:moveTo>
                  <a:pt x="4446903" y="959818"/>
                </a:moveTo>
                <a:lnTo>
                  <a:pt x="4436703" y="959926"/>
                </a:lnTo>
                <a:lnTo>
                  <a:pt x="4432796" y="964257"/>
                </a:lnTo>
                <a:lnTo>
                  <a:pt x="4433121" y="966314"/>
                </a:lnTo>
                <a:lnTo>
                  <a:pt x="4429540" y="967180"/>
                </a:lnTo>
                <a:lnTo>
                  <a:pt x="4423246" y="965989"/>
                </a:lnTo>
                <a:lnTo>
                  <a:pt x="4418254" y="968263"/>
                </a:lnTo>
                <a:lnTo>
                  <a:pt x="4418472" y="970074"/>
                </a:lnTo>
                <a:lnTo>
                  <a:pt x="4418472" y="969888"/>
                </a:lnTo>
                <a:lnTo>
                  <a:pt x="4423464" y="967614"/>
                </a:lnTo>
                <a:lnTo>
                  <a:pt x="4429649" y="968805"/>
                </a:lnTo>
                <a:lnTo>
                  <a:pt x="4433231" y="967939"/>
                </a:lnTo>
                <a:lnTo>
                  <a:pt x="4433231" y="965882"/>
                </a:lnTo>
                <a:lnTo>
                  <a:pt x="4437246" y="961551"/>
                </a:lnTo>
                <a:lnTo>
                  <a:pt x="4447446" y="961551"/>
                </a:lnTo>
                <a:lnTo>
                  <a:pt x="4451896" y="964582"/>
                </a:lnTo>
                <a:lnTo>
                  <a:pt x="4457647" y="971945"/>
                </a:lnTo>
                <a:lnTo>
                  <a:pt x="4461011" y="975410"/>
                </a:lnTo>
                <a:lnTo>
                  <a:pt x="4466220" y="977359"/>
                </a:lnTo>
                <a:lnTo>
                  <a:pt x="4474141" y="978224"/>
                </a:lnTo>
                <a:lnTo>
                  <a:pt x="4475552" y="982122"/>
                </a:lnTo>
                <a:lnTo>
                  <a:pt x="4479627" y="986373"/>
                </a:lnTo>
                <a:lnTo>
                  <a:pt x="4479784" y="985370"/>
                </a:lnTo>
                <a:lnTo>
                  <a:pt x="4475009" y="980281"/>
                </a:lnTo>
                <a:lnTo>
                  <a:pt x="4473707" y="976492"/>
                </a:lnTo>
                <a:lnTo>
                  <a:pt x="4465676" y="975625"/>
                </a:lnTo>
                <a:lnTo>
                  <a:pt x="4460576" y="973676"/>
                </a:lnTo>
                <a:lnTo>
                  <a:pt x="4457212" y="970212"/>
                </a:lnTo>
                <a:lnTo>
                  <a:pt x="4451352" y="962849"/>
                </a:lnTo>
                <a:close/>
                <a:moveTo>
                  <a:pt x="4309087" y="955812"/>
                </a:moveTo>
                <a:lnTo>
                  <a:pt x="4313971" y="959601"/>
                </a:lnTo>
                <a:lnTo>
                  <a:pt x="4311909" y="964257"/>
                </a:lnTo>
                <a:lnTo>
                  <a:pt x="4314730" y="968047"/>
                </a:lnTo>
                <a:lnTo>
                  <a:pt x="4312560" y="972161"/>
                </a:lnTo>
                <a:lnTo>
                  <a:pt x="4309955" y="968155"/>
                </a:lnTo>
                <a:lnTo>
                  <a:pt x="4306374" y="966855"/>
                </a:lnTo>
                <a:lnTo>
                  <a:pt x="4305832" y="958952"/>
                </a:lnTo>
                <a:close/>
                <a:moveTo>
                  <a:pt x="4284887" y="955163"/>
                </a:moveTo>
                <a:lnTo>
                  <a:pt x="4281957" y="959818"/>
                </a:lnTo>
                <a:lnTo>
                  <a:pt x="4280764" y="956462"/>
                </a:lnTo>
                <a:close/>
                <a:moveTo>
                  <a:pt x="4845703" y="953971"/>
                </a:moveTo>
                <a:lnTo>
                  <a:pt x="4853624" y="955379"/>
                </a:lnTo>
                <a:lnTo>
                  <a:pt x="4870879" y="962632"/>
                </a:lnTo>
                <a:lnTo>
                  <a:pt x="4875328" y="967721"/>
                </a:lnTo>
                <a:lnTo>
                  <a:pt x="4875328" y="973243"/>
                </a:lnTo>
                <a:lnTo>
                  <a:pt x="4871856" y="979198"/>
                </a:lnTo>
                <a:lnTo>
                  <a:pt x="4873266" y="972701"/>
                </a:lnTo>
                <a:lnTo>
                  <a:pt x="4871530" y="968587"/>
                </a:lnTo>
                <a:lnTo>
                  <a:pt x="4868600" y="971727"/>
                </a:lnTo>
                <a:lnTo>
                  <a:pt x="4868600" y="979956"/>
                </a:lnTo>
                <a:lnTo>
                  <a:pt x="4864368" y="985261"/>
                </a:lnTo>
                <a:lnTo>
                  <a:pt x="4857965" y="990566"/>
                </a:lnTo>
                <a:lnTo>
                  <a:pt x="4852973" y="990999"/>
                </a:lnTo>
                <a:lnTo>
                  <a:pt x="4849392" y="994248"/>
                </a:lnTo>
                <a:lnTo>
                  <a:pt x="4845703" y="994248"/>
                </a:lnTo>
                <a:lnTo>
                  <a:pt x="4847113" y="990999"/>
                </a:lnTo>
                <a:lnTo>
                  <a:pt x="4843423" y="988834"/>
                </a:lnTo>
                <a:lnTo>
                  <a:pt x="4841904" y="990133"/>
                </a:lnTo>
                <a:lnTo>
                  <a:pt x="4840494" y="984070"/>
                </a:lnTo>
                <a:lnTo>
                  <a:pt x="4837564" y="978765"/>
                </a:lnTo>
                <a:lnTo>
                  <a:pt x="4837781" y="966855"/>
                </a:lnTo>
                <a:lnTo>
                  <a:pt x="4840710" y="957111"/>
                </a:lnTo>
                <a:close/>
                <a:moveTo>
                  <a:pt x="2517803" y="952131"/>
                </a:moveTo>
                <a:lnTo>
                  <a:pt x="2518019" y="954729"/>
                </a:lnTo>
                <a:lnTo>
                  <a:pt x="2518128" y="957220"/>
                </a:lnTo>
                <a:lnTo>
                  <a:pt x="2519756" y="956353"/>
                </a:lnTo>
                <a:lnTo>
                  <a:pt x="2523445" y="956678"/>
                </a:lnTo>
                <a:lnTo>
                  <a:pt x="2525616" y="960143"/>
                </a:lnTo>
                <a:lnTo>
                  <a:pt x="2530282" y="960468"/>
                </a:lnTo>
                <a:lnTo>
                  <a:pt x="2530065" y="965340"/>
                </a:lnTo>
                <a:lnTo>
                  <a:pt x="2531476" y="968047"/>
                </a:lnTo>
                <a:lnTo>
                  <a:pt x="2529740" y="971078"/>
                </a:lnTo>
                <a:lnTo>
                  <a:pt x="2525507" y="969671"/>
                </a:lnTo>
                <a:lnTo>
                  <a:pt x="2521601" y="970428"/>
                </a:lnTo>
                <a:lnTo>
                  <a:pt x="2519214" y="969345"/>
                </a:lnTo>
                <a:lnTo>
                  <a:pt x="2514873" y="968155"/>
                </a:lnTo>
                <a:lnTo>
                  <a:pt x="2512377" y="969237"/>
                </a:lnTo>
                <a:lnTo>
                  <a:pt x="2510315" y="967830"/>
                </a:lnTo>
                <a:lnTo>
                  <a:pt x="2509447" y="961984"/>
                </a:lnTo>
                <a:lnTo>
                  <a:pt x="2508145" y="957653"/>
                </a:lnTo>
                <a:lnTo>
                  <a:pt x="2509013" y="955920"/>
                </a:lnTo>
                <a:lnTo>
                  <a:pt x="2512051" y="956029"/>
                </a:lnTo>
                <a:lnTo>
                  <a:pt x="2514330" y="955596"/>
                </a:lnTo>
                <a:lnTo>
                  <a:pt x="2516066" y="952780"/>
                </a:lnTo>
                <a:close/>
                <a:moveTo>
                  <a:pt x="4292701" y="952023"/>
                </a:moveTo>
                <a:lnTo>
                  <a:pt x="4293678" y="958627"/>
                </a:lnTo>
                <a:lnTo>
                  <a:pt x="4298126" y="962200"/>
                </a:lnTo>
                <a:lnTo>
                  <a:pt x="4299429" y="965015"/>
                </a:lnTo>
                <a:lnTo>
                  <a:pt x="4297258" y="966747"/>
                </a:lnTo>
                <a:lnTo>
                  <a:pt x="4291942" y="964473"/>
                </a:lnTo>
                <a:lnTo>
                  <a:pt x="4291724" y="960143"/>
                </a:lnTo>
                <a:lnTo>
                  <a:pt x="4289988" y="953863"/>
                </a:lnTo>
                <a:close/>
                <a:moveTo>
                  <a:pt x="5054161" y="950616"/>
                </a:moveTo>
                <a:cubicBezTo>
                  <a:pt x="5053093" y="951729"/>
                  <a:pt x="5052114" y="952924"/>
                  <a:pt x="5051232" y="954189"/>
                </a:cubicBezTo>
                <a:lnTo>
                  <a:pt x="5050364" y="951265"/>
                </a:lnTo>
                <a:close/>
                <a:moveTo>
                  <a:pt x="2653232" y="949749"/>
                </a:moveTo>
                <a:lnTo>
                  <a:pt x="2655294" y="951265"/>
                </a:lnTo>
                <a:lnTo>
                  <a:pt x="2652907" y="952131"/>
                </a:lnTo>
                <a:lnTo>
                  <a:pt x="2649977" y="950074"/>
                </a:lnTo>
                <a:close/>
                <a:moveTo>
                  <a:pt x="4342076" y="946826"/>
                </a:moveTo>
                <a:lnTo>
                  <a:pt x="4347176" y="947259"/>
                </a:lnTo>
                <a:lnTo>
                  <a:pt x="4349455" y="949641"/>
                </a:lnTo>
                <a:lnTo>
                  <a:pt x="4348479" y="954081"/>
                </a:lnTo>
                <a:lnTo>
                  <a:pt x="4343812" y="952023"/>
                </a:lnTo>
                <a:lnTo>
                  <a:pt x="4338604" y="949424"/>
                </a:lnTo>
                <a:close/>
                <a:moveTo>
                  <a:pt x="2524747" y="940438"/>
                </a:moveTo>
                <a:lnTo>
                  <a:pt x="2525941" y="941304"/>
                </a:lnTo>
                <a:lnTo>
                  <a:pt x="2526158" y="944876"/>
                </a:lnTo>
                <a:lnTo>
                  <a:pt x="2524747" y="946176"/>
                </a:lnTo>
                <a:lnTo>
                  <a:pt x="2523120" y="943469"/>
                </a:lnTo>
                <a:close/>
                <a:moveTo>
                  <a:pt x="494944" y="940114"/>
                </a:moveTo>
                <a:lnTo>
                  <a:pt x="494512" y="943795"/>
                </a:lnTo>
                <a:lnTo>
                  <a:pt x="499937" y="947693"/>
                </a:lnTo>
                <a:lnTo>
                  <a:pt x="500480" y="951699"/>
                </a:lnTo>
                <a:lnTo>
                  <a:pt x="496030" y="958195"/>
                </a:lnTo>
                <a:lnTo>
                  <a:pt x="494296" y="964042"/>
                </a:lnTo>
                <a:lnTo>
                  <a:pt x="487893" y="964042"/>
                </a:lnTo>
                <a:lnTo>
                  <a:pt x="483443" y="962310"/>
                </a:lnTo>
                <a:lnTo>
                  <a:pt x="479320" y="965233"/>
                </a:lnTo>
                <a:lnTo>
                  <a:pt x="474978" y="961985"/>
                </a:lnTo>
                <a:lnTo>
                  <a:pt x="470312" y="961119"/>
                </a:lnTo>
                <a:lnTo>
                  <a:pt x="465320" y="952565"/>
                </a:lnTo>
                <a:lnTo>
                  <a:pt x="462934" y="943579"/>
                </a:lnTo>
                <a:lnTo>
                  <a:pt x="468686" y="943254"/>
                </a:lnTo>
                <a:lnTo>
                  <a:pt x="474327" y="945203"/>
                </a:lnTo>
                <a:lnTo>
                  <a:pt x="478993" y="944769"/>
                </a:lnTo>
                <a:lnTo>
                  <a:pt x="482791" y="946502"/>
                </a:lnTo>
                <a:lnTo>
                  <a:pt x="488433" y="941522"/>
                </a:lnTo>
                <a:close/>
                <a:moveTo>
                  <a:pt x="3452022" y="938706"/>
                </a:moveTo>
                <a:lnTo>
                  <a:pt x="3455603" y="939355"/>
                </a:lnTo>
                <a:lnTo>
                  <a:pt x="3455603" y="941196"/>
                </a:lnTo>
                <a:lnTo>
                  <a:pt x="3452347" y="941846"/>
                </a:lnTo>
                <a:lnTo>
                  <a:pt x="3450069" y="940763"/>
                </a:lnTo>
                <a:cubicBezTo>
                  <a:pt x="3450668" y="940030"/>
                  <a:pt x="3451321" y="939342"/>
                  <a:pt x="3452022" y="938706"/>
                </a:cubicBezTo>
                <a:close/>
                <a:moveTo>
                  <a:pt x="2489696" y="936324"/>
                </a:moveTo>
                <a:lnTo>
                  <a:pt x="2494688" y="937840"/>
                </a:lnTo>
                <a:lnTo>
                  <a:pt x="2496858" y="940979"/>
                </a:lnTo>
                <a:lnTo>
                  <a:pt x="2499462" y="940979"/>
                </a:lnTo>
                <a:lnTo>
                  <a:pt x="2502718" y="944553"/>
                </a:lnTo>
                <a:lnTo>
                  <a:pt x="2504454" y="949208"/>
                </a:lnTo>
                <a:lnTo>
                  <a:pt x="2504346" y="952781"/>
                </a:lnTo>
                <a:lnTo>
                  <a:pt x="2500222" y="956246"/>
                </a:lnTo>
                <a:lnTo>
                  <a:pt x="2498160" y="960902"/>
                </a:lnTo>
                <a:lnTo>
                  <a:pt x="2497726" y="965665"/>
                </a:lnTo>
                <a:lnTo>
                  <a:pt x="2491541" y="975302"/>
                </a:lnTo>
                <a:lnTo>
                  <a:pt x="2489479" y="978875"/>
                </a:lnTo>
                <a:lnTo>
                  <a:pt x="2485681" y="980065"/>
                </a:lnTo>
                <a:lnTo>
                  <a:pt x="2479821" y="982989"/>
                </a:lnTo>
                <a:lnTo>
                  <a:pt x="2478519" y="984613"/>
                </a:lnTo>
                <a:lnTo>
                  <a:pt x="2475046" y="985046"/>
                </a:lnTo>
                <a:lnTo>
                  <a:pt x="2469838" y="987320"/>
                </a:lnTo>
                <a:lnTo>
                  <a:pt x="2467125" y="985479"/>
                </a:lnTo>
                <a:lnTo>
                  <a:pt x="2460397" y="986779"/>
                </a:lnTo>
                <a:lnTo>
                  <a:pt x="2456599" y="985479"/>
                </a:lnTo>
                <a:lnTo>
                  <a:pt x="2453669" y="985587"/>
                </a:lnTo>
                <a:lnTo>
                  <a:pt x="2452909" y="984071"/>
                </a:lnTo>
                <a:lnTo>
                  <a:pt x="2454536" y="978767"/>
                </a:lnTo>
                <a:lnTo>
                  <a:pt x="2453126" y="976818"/>
                </a:lnTo>
                <a:lnTo>
                  <a:pt x="2453669" y="971512"/>
                </a:lnTo>
                <a:lnTo>
                  <a:pt x="2454211" y="966207"/>
                </a:lnTo>
                <a:lnTo>
                  <a:pt x="2460397" y="960036"/>
                </a:lnTo>
                <a:lnTo>
                  <a:pt x="2463001" y="954622"/>
                </a:lnTo>
                <a:lnTo>
                  <a:pt x="2466582" y="952240"/>
                </a:lnTo>
                <a:lnTo>
                  <a:pt x="2473527" y="942279"/>
                </a:lnTo>
                <a:lnTo>
                  <a:pt x="2478085" y="939355"/>
                </a:lnTo>
                <a:lnTo>
                  <a:pt x="2480364" y="939355"/>
                </a:lnTo>
                <a:lnTo>
                  <a:pt x="2482208" y="937298"/>
                </a:lnTo>
                <a:lnTo>
                  <a:pt x="2485030" y="938706"/>
                </a:lnTo>
                <a:close/>
                <a:moveTo>
                  <a:pt x="4357811" y="936215"/>
                </a:moveTo>
                <a:lnTo>
                  <a:pt x="4359222" y="941520"/>
                </a:lnTo>
                <a:lnTo>
                  <a:pt x="4355424" y="946067"/>
                </a:lnTo>
                <a:lnTo>
                  <a:pt x="4354664" y="950182"/>
                </a:lnTo>
                <a:lnTo>
                  <a:pt x="4349347" y="943577"/>
                </a:lnTo>
                <a:close/>
                <a:moveTo>
                  <a:pt x="5035606" y="934592"/>
                </a:moveTo>
                <a:lnTo>
                  <a:pt x="5038644" y="937840"/>
                </a:lnTo>
                <a:lnTo>
                  <a:pt x="5046241" y="941738"/>
                </a:lnTo>
                <a:lnTo>
                  <a:pt x="5047109" y="947151"/>
                </a:lnTo>
                <a:lnTo>
                  <a:pt x="5039404" y="941629"/>
                </a:lnTo>
                <a:lnTo>
                  <a:pt x="5034521" y="936974"/>
                </a:lnTo>
                <a:close/>
                <a:moveTo>
                  <a:pt x="2435222" y="929177"/>
                </a:moveTo>
                <a:lnTo>
                  <a:pt x="2436523" y="930152"/>
                </a:lnTo>
                <a:lnTo>
                  <a:pt x="2440539" y="930476"/>
                </a:lnTo>
                <a:lnTo>
                  <a:pt x="2440431" y="933508"/>
                </a:lnTo>
                <a:lnTo>
                  <a:pt x="2436958" y="934266"/>
                </a:lnTo>
                <a:lnTo>
                  <a:pt x="2436523" y="937297"/>
                </a:lnTo>
                <a:lnTo>
                  <a:pt x="2434896" y="938489"/>
                </a:lnTo>
                <a:lnTo>
                  <a:pt x="2433160" y="932858"/>
                </a:lnTo>
                <a:close/>
                <a:moveTo>
                  <a:pt x="5028227" y="929070"/>
                </a:moveTo>
                <a:lnTo>
                  <a:pt x="5030614" y="930478"/>
                </a:lnTo>
                <a:lnTo>
                  <a:pt x="5029855" y="934050"/>
                </a:lnTo>
                <a:lnTo>
                  <a:pt x="5028010" y="934917"/>
                </a:lnTo>
                <a:close/>
                <a:moveTo>
                  <a:pt x="4365734" y="929070"/>
                </a:moveTo>
                <a:lnTo>
                  <a:pt x="4371268" y="933184"/>
                </a:lnTo>
                <a:lnTo>
                  <a:pt x="4369640" y="937299"/>
                </a:lnTo>
                <a:lnTo>
                  <a:pt x="4363237" y="939681"/>
                </a:lnTo>
                <a:lnTo>
                  <a:pt x="4362695" y="935133"/>
                </a:lnTo>
                <a:lnTo>
                  <a:pt x="4359114" y="931452"/>
                </a:lnTo>
                <a:close/>
                <a:moveTo>
                  <a:pt x="2518345" y="927337"/>
                </a:moveTo>
                <a:lnTo>
                  <a:pt x="2519755" y="931884"/>
                </a:lnTo>
                <a:lnTo>
                  <a:pt x="2521275" y="934591"/>
                </a:lnTo>
                <a:lnTo>
                  <a:pt x="2519864" y="936540"/>
                </a:lnTo>
                <a:lnTo>
                  <a:pt x="2518129" y="936322"/>
                </a:lnTo>
                <a:lnTo>
                  <a:pt x="2517152" y="932642"/>
                </a:lnTo>
                <a:close/>
                <a:moveTo>
                  <a:pt x="2271903" y="926796"/>
                </a:moveTo>
                <a:lnTo>
                  <a:pt x="2276353" y="927553"/>
                </a:lnTo>
                <a:lnTo>
                  <a:pt x="2277112" y="929394"/>
                </a:lnTo>
                <a:lnTo>
                  <a:pt x="2274073" y="932534"/>
                </a:lnTo>
                <a:lnTo>
                  <a:pt x="2269082" y="932534"/>
                </a:lnTo>
                <a:lnTo>
                  <a:pt x="2267780" y="931342"/>
                </a:lnTo>
                <a:lnTo>
                  <a:pt x="2268322" y="927012"/>
                </a:lnTo>
                <a:close/>
                <a:moveTo>
                  <a:pt x="2986487" y="926038"/>
                </a:moveTo>
                <a:lnTo>
                  <a:pt x="2987681" y="927770"/>
                </a:lnTo>
                <a:lnTo>
                  <a:pt x="2984209" y="931018"/>
                </a:lnTo>
                <a:lnTo>
                  <a:pt x="2982472" y="937840"/>
                </a:lnTo>
                <a:lnTo>
                  <a:pt x="2979433" y="940114"/>
                </a:lnTo>
                <a:lnTo>
                  <a:pt x="2977697" y="938056"/>
                </a:lnTo>
                <a:lnTo>
                  <a:pt x="2978999" y="933401"/>
                </a:lnTo>
                <a:lnTo>
                  <a:pt x="2978674" y="930477"/>
                </a:lnTo>
                <a:lnTo>
                  <a:pt x="2976178" y="930910"/>
                </a:lnTo>
                <a:lnTo>
                  <a:pt x="2976178" y="929395"/>
                </a:lnTo>
                <a:lnTo>
                  <a:pt x="2979759" y="926254"/>
                </a:lnTo>
                <a:lnTo>
                  <a:pt x="2984100" y="926579"/>
                </a:lnTo>
                <a:close/>
                <a:moveTo>
                  <a:pt x="4355859" y="925713"/>
                </a:moveTo>
                <a:lnTo>
                  <a:pt x="4356727" y="928853"/>
                </a:lnTo>
                <a:lnTo>
                  <a:pt x="4344356" y="941304"/>
                </a:lnTo>
                <a:lnTo>
                  <a:pt x="4341209" y="941954"/>
                </a:lnTo>
                <a:lnTo>
                  <a:pt x="4333613" y="939680"/>
                </a:lnTo>
                <a:lnTo>
                  <a:pt x="4331768" y="934699"/>
                </a:lnTo>
                <a:lnTo>
                  <a:pt x="4336000" y="935674"/>
                </a:lnTo>
                <a:lnTo>
                  <a:pt x="4340015" y="932534"/>
                </a:lnTo>
                <a:lnTo>
                  <a:pt x="4342837" y="935782"/>
                </a:lnTo>
                <a:lnTo>
                  <a:pt x="4345224" y="931018"/>
                </a:lnTo>
                <a:lnTo>
                  <a:pt x="4348263" y="932750"/>
                </a:lnTo>
                <a:close/>
                <a:moveTo>
                  <a:pt x="2512051" y="922789"/>
                </a:moveTo>
                <a:lnTo>
                  <a:pt x="2514547" y="926579"/>
                </a:lnTo>
                <a:lnTo>
                  <a:pt x="2513679" y="932967"/>
                </a:lnTo>
                <a:lnTo>
                  <a:pt x="2514547" y="939788"/>
                </a:lnTo>
                <a:lnTo>
                  <a:pt x="2512485" y="940654"/>
                </a:lnTo>
                <a:lnTo>
                  <a:pt x="2510098" y="942387"/>
                </a:lnTo>
                <a:lnTo>
                  <a:pt x="2509446" y="939030"/>
                </a:lnTo>
                <a:lnTo>
                  <a:pt x="2507710" y="936864"/>
                </a:lnTo>
                <a:lnTo>
                  <a:pt x="2506951" y="932425"/>
                </a:lnTo>
                <a:lnTo>
                  <a:pt x="2509338" y="927553"/>
                </a:lnTo>
                <a:lnTo>
                  <a:pt x="2509664" y="923547"/>
                </a:lnTo>
                <a:close/>
                <a:moveTo>
                  <a:pt x="3434552" y="918892"/>
                </a:moveTo>
                <a:lnTo>
                  <a:pt x="3433249" y="921382"/>
                </a:lnTo>
                <a:lnTo>
                  <a:pt x="3430645" y="922032"/>
                </a:lnTo>
                <a:lnTo>
                  <a:pt x="3429126" y="921490"/>
                </a:lnTo>
                <a:lnTo>
                  <a:pt x="3431404" y="919325"/>
                </a:lnTo>
                <a:close/>
                <a:moveTo>
                  <a:pt x="4369856" y="917160"/>
                </a:moveTo>
                <a:lnTo>
                  <a:pt x="4372135" y="919975"/>
                </a:lnTo>
                <a:lnTo>
                  <a:pt x="4370724" y="922357"/>
                </a:lnTo>
                <a:lnTo>
                  <a:pt x="4368662" y="923007"/>
                </a:lnTo>
                <a:lnTo>
                  <a:pt x="4365624" y="918243"/>
                </a:lnTo>
                <a:close/>
                <a:moveTo>
                  <a:pt x="5192304" y="915753"/>
                </a:moveTo>
                <a:lnTo>
                  <a:pt x="5194583" y="918351"/>
                </a:lnTo>
                <a:lnTo>
                  <a:pt x="5194583" y="921924"/>
                </a:lnTo>
                <a:lnTo>
                  <a:pt x="5192413" y="925173"/>
                </a:lnTo>
                <a:lnTo>
                  <a:pt x="5189157" y="924090"/>
                </a:lnTo>
                <a:cubicBezTo>
                  <a:pt x="5189157" y="924090"/>
                  <a:pt x="5188072" y="922032"/>
                  <a:pt x="5188072" y="922032"/>
                </a:cubicBezTo>
                <a:lnTo>
                  <a:pt x="5189374" y="919867"/>
                </a:lnTo>
                <a:lnTo>
                  <a:pt x="5189374" y="917594"/>
                </a:lnTo>
                <a:close/>
                <a:moveTo>
                  <a:pt x="2439888" y="914778"/>
                </a:moveTo>
                <a:lnTo>
                  <a:pt x="2442168" y="915644"/>
                </a:lnTo>
                <a:lnTo>
                  <a:pt x="2444772" y="917592"/>
                </a:lnTo>
                <a:lnTo>
                  <a:pt x="2443687" y="920516"/>
                </a:lnTo>
                <a:lnTo>
                  <a:pt x="2443144" y="923655"/>
                </a:lnTo>
                <a:lnTo>
                  <a:pt x="2439346" y="923981"/>
                </a:lnTo>
                <a:lnTo>
                  <a:pt x="2439346" y="921490"/>
                </a:lnTo>
                <a:lnTo>
                  <a:pt x="2441191" y="919325"/>
                </a:lnTo>
                <a:close/>
                <a:moveTo>
                  <a:pt x="3465152" y="911639"/>
                </a:moveTo>
                <a:lnTo>
                  <a:pt x="3468951" y="911855"/>
                </a:lnTo>
                <a:lnTo>
                  <a:pt x="3470904" y="916294"/>
                </a:lnTo>
                <a:lnTo>
                  <a:pt x="3474268" y="919434"/>
                </a:lnTo>
                <a:lnTo>
                  <a:pt x="3473833" y="932318"/>
                </a:lnTo>
                <a:lnTo>
                  <a:pt x="3468082" y="936649"/>
                </a:lnTo>
                <a:lnTo>
                  <a:pt x="3465478" y="935891"/>
                </a:lnTo>
                <a:lnTo>
                  <a:pt x="3460052" y="938057"/>
                </a:lnTo>
                <a:lnTo>
                  <a:pt x="3454843" y="934917"/>
                </a:lnTo>
                <a:lnTo>
                  <a:pt x="3450394" y="935891"/>
                </a:lnTo>
                <a:lnTo>
                  <a:pt x="3447247" y="939248"/>
                </a:lnTo>
                <a:lnTo>
                  <a:pt x="3436938" y="936974"/>
                </a:lnTo>
                <a:lnTo>
                  <a:pt x="3426412" y="939248"/>
                </a:lnTo>
                <a:lnTo>
                  <a:pt x="3420769" y="940114"/>
                </a:lnTo>
                <a:lnTo>
                  <a:pt x="3419901" y="937840"/>
                </a:lnTo>
                <a:lnTo>
                  <a:pt x="3421637" y="934592"/>
                </a:lnTo>
                <a:lnTo>
                  <a:pt x="3422288" y="931452"/>
                </a:lnTo>
                <a:lnTo>
                  <a:pt x="3427497" y="930586"/>
                </a:lnTo>
                <a:lnTo>
                  <a:pt x="3430210" y="925822"/>
                </a:lnTo>
                <a:lnTo>
                  <a:pt x="3434876" y="923549"/>
                </a:lnTo>
                <a:lnTo>
                  <a:pt x="3438348" y="919651"/>
                </a:lnTo>
                <a:lnTo>
                  <a:pt x="3451262" y="918027"/>
                </a:lnTo>
                <a:close/>
                <a:moveTo>
                  <a:pt x="4380817" y="909147"/>
                </a:moveTo>
                <a:lnTo>
                  <a:pt x="4384181" y="909147"/>
                </a:lnTo>
                <a:lnTo>
                  <a:pt x="4382445" y="912504"/>
                </a:lnTo>
                <a:lnTo>
                  <a:pt x="4379189" y="912504"/>
                </a:lnTo>
                <a:close/>
                <a:moveTo>
                  <a:pt x="2279934" y="908606"/>
                </a:moveTo>
                <a:lnTo>
                  <a:pt x="2280694" y="910014"/>
                </a:lnTo>
                <a:lnTo>
                  <a:pt x="2280694" y="914777"/>
                </a:lnTo>
                <a:lnTo>
                  <a:pt x="2279609" y="919649"/>
                </a:lnTo>
                <a:lnTo>
                  <a:pt x="2279609" y="924089"/>
                </a:lnTo>
                <a:lnTo>
                  <a:pt x="2275702" y="925496"/>
                </a:lnTo>
                <a:lnTo>
                  <a:pt x="2269300" y="925063"/>
                </a:lnTo>
                <a:lnTo>
                  <a:pt x="2271579" y="920949"/>
                </a:lnTo>
                <a:lnTo>
                  <a:pt x="2271362" y="916185"/>
                </a:lnTo>
                <a:lnTo>
                  <a:pt x="2276679" y="911530"/>
                </a:lnTo>
                <a:close/>
                <a:moveTo>
                  <a:pt x="3472857" y="907957"/>
                </a:moveTo>
                <a:lnTo>
                  <a:pt x="3474919" y="909473"/>
                </a:lnTo>
                <a:lnTo>
                  <a:pt x="3475353" y="912612"/>
                </a:lnTo>
                <a:lnTo>
                  <a:pt x="3474160" y="914236"/>
                </a:lnTo>
                <a:lnTo>
                  <a:pt x="3472098" y="912395"/>
                </a:lnTo>
                <a:lnTo>
                  <a:pt x="3472315" y="909473"/>
                </a:lnTo>
                <a:close/>
                <a:moveTo>
                  <a:pt x="4397093" y="906224"/>
                </a:moveTo>
                <a:lnTo>
                  <a:pt x="4399806" y="908497"/>
                </a:lnTo>
                <a:lnTo>
                  <a:pt x="4403604" y="909472"/>
                </a:lnTo>
                <a:lnTo>
                  <a:pt x="4400565" y="913370"/>
                </a:lnTo>
                <a:lnTo>
                  <a:pt x="4406317" y="913370"/>
                </a:lnTo>
                <a:lnTo>
                  <a:pt x="4404255" y="918783"/>
                </a:lnTo>
                <a:lnTo>
                  <a:pt x="4399372" y="919866"/>
                </a:lnTo>
                <a:lnTo>
                  <a:pt x="4394271" y="915860"/>
                </a:lnTo>
                <a:lnTo>
                  <a:pt x="4389063" y="915101"/>
                </a:lnTo>
                <a:lnTo>
                  <a:pt x="4389388" y="912720"/>
                </a:lnTo>
                <a:lnTo>
                  <a:pt x="4391450" y="910771"/>
                </a:lnTo>
                <a:lnTo>
                  <a:pt x="4394271" y="912070"/>
                </a:lnTo>
                <a:lnTo>
                  <a:pt x="4396551" y="910013"/>
                </a:lnTo>
                <a:close/>
                <a:moveTo>
                  <a:pt x="2675261" y="899620"/>
                </a:moveTo>
                <a:lnTo>
                  <a:pt x="2678950" y="900919"/>
                </a:lnTo>
                <a:lnTo>
                  <a:pt x="2676455" y="903518"/>
                </a:lnTo>
                <a:lnTo>
                  <a:pt x="2673633" y="903518"/>
                </a:lnTo>
                <a:lnTo>
                  <a:pt x="2672765" y="902326"/>
                </a:lnTo>
                <a:close/>
                <a:moveTo>
                  <a:pt x="356586" y="897671"/>
                </a:moveTo>
                <a:lnTo>
                  <a:pt x="359299" y="899620"/>
                </a:lnTo>
                <a:lnTo>
                  <a:pt x="359518" y="903734"/>
                </a:lnTo>
                <a:lnTo>
                  <a:pt x="366027" y="910554"/>
                </a:lnTo>
                <a:lnTo>
                  <a:pt x="365160" y="914453"/>
                </a:lnTo>
                <a:lnTo>
                  <a:pt x="356479" y="907740"/>
                </a:lnTo>
                <a:lnTo>
                  <a:pt x="355611" y="902976"/>
                </a:lnTo>
                <a:lnTo>
                  <a:pt x="354093" y="899511"/>
                </a:lnTo>
                <a:cubicBezTo>
                  <a:pt x="354869" y="898827"/>
                  <a:pt x="355703" y="898211"/>
                  <a:pt x="356586" y="897671"/>
                </a:cubicBezTo>
                <a:close/>
                <a:moveTo>
                  <a:pt x="2921050" y="896371"/>
                </a:moveTo>
                <a:lnTo>
                  <a:pt x="2926260" y="898428"/>
                </a:lnTo>
                <a:lnTo>
                  <a:pt x="2933313" y="899186"/>
                </a:lnTo>
                <a:lnTo>
                  <a:pt x="2937762" y="904166"/>
                </a:lnTo>
                <a:lnTo>
                  <a:pt x="2945250" y="905899"/>
                </a:lnTo>
                <a:lnTo>
                  <a:pt x="2949699" y="913586"/>
                </a:lnTo>
                <a:lnTo>
                  <a:pt x="2952738" y="924954"/>
                </a:lnTo>
                <a:lnTo>
                  <a:pt x="2957295" y="927011"/>
                </a:lnTo>
                <a:lnTo>
                  <a:pt x="2961853" y="927336"/>
                </a:lnTo>
                <a:lnTo>
                  <a:pt x="2964675" y="933399"/>
                </a:lnTo>
                <a:lnTo>
                  <a:pt x="2966085" y="940437"/>
                </a:lnTo>
                <a:lnTo>
                  <a:pt x="2957730" y="947583"/>
                </a:lnTo>
                <a:lnTo>
                  <a:pt x="2950567" y="947583"/>
                </a:lnTo>
                <a:lnTo>
                  <a:pt x="2937762" y="949856"/>
                </a:lnTo>
                <a:lnTo>
                  <a:pt x="2934833" y="952130"/>
                </a:lnTo>
                <a:lnTo>
                  <a:pt x="2930600" y="951264"/>
                </a:lnTo>
                <a:lnTo>
                  <a:pt x="2929298" y="947799"/>
                </a:lnTo>
                <a:lnTo>
                  <a:pt x="2922244" y="946933"/>
                </a:lnTo>
                <a:lnTo>
                  <a:pt x="2919749" y="944984"/>
                </a:lnTo>
                <a:lnTo>
                  <a:pt x="2920074" y="940762"/>
                </a:lnTo>
                <a:lnTo>
                  <a:pt x="2922787" y="940112"/>
                </a:lnTo>
                <a:lnTo>
                  <a:pt x="2929515" y="942603"/>
                </a:lnTo>
                <a:lnTo>
                  <a:pt x="2933530" y="942494"/>
                </a:lnTo>
                <a:lnTo>
                  <a:pt x="2938847" y="935781"/>
                </a:lnTo>
                <a:lnTo>
                  <a:pt x="2931360" y="940437"/>
                </a:lnTo>
                <a:lnTo>
                  <a:pt x="2928321" y="939354"/>
                </a:lnTo>
                <a:lnTo>
                  <a:pt x="2926585" y="937189"/>
                </a:lnTo>
                <a:lnTo>
                  <a:pt x="2915191" y="934374"/>
                </a:lnTo>
                <a:lnTo>
                  <a:pt x="2913346" y="930476"/>
                </a:lnTo>
                <a:lnTo>
                  <a:pt x="2914756" y="928744"/>
                </a:lnTo>
                <a:lnTo>
                  <a:pt x="2918881" y="927553"/>
                </a:lnTo>
                <a:lnTo>
                  <a:pt x="2912478" y="923872"/>
                </a:lnTo>
                <a:lnTo>
                  <a:pt x="2913997" y="920299"/>
                </a:lnTo>
                <a:lnTo>
                  <a:pt x="2913997" y="916726"/>
                </a:lnTo>
                <a:lnTo>
                  <a:pt x="2918012" y="914993"/>
                </a:lnTo>
                <a:lnTo>
                  <a:pt x="2922461" y="917701"/>
                </a:lnTo>
                <a:lnTo>
                  <a:pt x="2920399" y="913261"/>
                </a:lnTo>
                <a:lnTo>
                  <a:pt x="2915191" y="910338"/>
                </a:lnTo>
                <a:lnTo>
                  <a:pt x="2915191" y="904491"/>
                </a:lnTo>
                <a:lnTo>
                  <a:pt x="2920725" y="899294"/>
                </a:lnTo>
                <a:close/>
                <a:moveTo>
                  <a:pt x="2670594" y="895614"/>
                </a:moveTo>
                <a:lnTo>
                  <a:pt x="2672005" y="897779"/>
                </a:lnTo>
                <a:lnTo>
                  <a:pt x="2668316" y="902218"/>
                </a:lnTo>
                <a:lnTo>
                  <a:pt x="2665168" y="902435"/>
                </a:lnTo>
                <a:lnTo>
                  <a:pt x="2663975" y="900811"/>
                </a:lnTo>
                <a:lnTo>
                  <a:pt x="2664083" y="897779"/>
                </a:lnTo>
                <a:lnTo>
                  <a:pt x="2668966" y="897022"/>
                </a:lnTo>
                <a:close/>
                <a:moveTo>
                  <a:pt x="7288304" y="890633"/>
                </a:moveTo>
                <a:lnTo>
                  <a:pt x="7289714" y="892041"/>
                </a:lnTo>
                <a:lnTo>
                  <a:pt x="7289606" y="894855"/>
                </a:lnTo>
                <a:lnTo>
                  <a:pt x="7287435" y="897562"/>
                </a:lnTo>
                <a:lnTo>
                  <a:pt x="7285808" y="892690"/>
                </a:lnTo>
                <a:lnTo>
                  <a:pt x="7287327" y="891932"/>
                </a:lnTo>
                <a:close/>
                <a:moveTo>
                  <a:pt x="358324" y="890417"/>
                </a:moveTo>
                <a:lnTo>
                  <a:pt x="359842" y="893882"/>
                </a:lnTo>
                <a:lnTo>
                  <a:pt x="357238" y="894748"/>
                </a:lnTo>
                <a:lnTo>
                  <a:pt x="356152" y="892907"/>
                </a:lnTo>
                <a:close/>
                <a:moveTo>
                  <a:pt x="2486224" y="886952"/>
                </a:moveTo>
                <a:lnTo>
                  <a:pt x="2488829" y="887493"/>
                </a:lnTo>
                <a:lnTo>
                  <a:pt x="2494146" y="888035"/>
                </a:lnTo>
                <a:lnTo>
                  <a:pt x="2495014" y="893340"/>
                </a:lnTo>
                <a:lnTo>
                  <a:pt x="2492952" y="897238"/>
                </a:lnTo>
                <a:lnTo>
                  <a:pt x="2490022" y="897563"/>
                </a:lnTo>
                <a:lnTo>
                  <a:pt x="2487093" y="901569"/>
                </a:lnTo>
                <a:lnTo>
                  <a:pt x="2483294" y="900919"/>
                </a:lnTo>
                <a:lnTo>
                  <a:pt x="2482101" y="893989"/>
                </a:lnTo>
                <a:lnTo>
                  <a:pt x="2483837" y="892041"/>
                </a:lnTo>
                <a:close/>
                <a:moveTo>
                  <a:pt x="2979758" y="885545"/>
                </a:moveTo>
                <a:lnTo>
                  <a:pt x="2982036" y="886302"/>
                </a:lnTo>
                <a:lnTo>
                  <a:pt x="2983990" y="888793"/>
                </a:lnTo>
                <a:lnTo>
                  <a:pt x="2982796" y="891283"/>
                </a:lnTo>
                <a:lnTo>
                  <a:pt x="2980626" y="889226"/>
                </a:lnTo>
                <a:close/>
                <a:moveTo>
                  <a:pt x="2922786" y="884029"/>
                </a:moveTo>
                <a:lnTo>
                  <a:pt x="2925390" y="888793"/>
                </a:lnTo>
                <a:lnTo>
                  <a:pt x="2924414" y="891392"/>
                </a:lnTo>
                <a:lnTo>
                  <a:pt x="2921158" y="890417"/>
                </a:lnTo>
                <a:lnTo>
                  <a:pt x="2918880" y="886411"/>
                </a:lnTo>
                <a:lnTo>
                  <a:pt x="2920398" y="884137"/>
                </a:lnTo>
                <a:close/>
                <a:moveTo>
                  <a:pt x="5020414" y="883704"/>
                </a:moveTo>
                <a:lnTo>
                  <a:pt x="5023669" y="883920"/>
                </a:lnTo>
                <a:lnTo>
                  <a:pt x="5029746" y="888359"/>
                </a:lnTo>
                <a:lnTo>
                  <a:pt x="5031266" y="891608"/>
                </a:lnTo>
                <a:lnTo>
                  <a:pt x="5036257" y="894314"/>
                </a:lnTo>
                <a:lnTo>
                  <a:pt x="5041466" y="899620"/>
                </a:lnTo>
                <a:lnTo>
                  <a:pt x="5046240" y="900161"/>
                </a:lnTo>
                <a:lnTo>
                  <a:pt x="5051774" y="906332"/>
                </a:lnTo>
                <a:lnTo>
                  <a:pt x="5060564" y="911854"/>
                </a:lnTo>
                <a:lnTo>
                  <a:pt x="5061758" y="919433"/>
                </a:lnTo>
                <a:lnTo>
                  <a:pt x="5059371" y="924089"/>
                </a:lnTo>
                <a:lnTo>
                  <a:pt x="5054379" y="922681"/>
                </a:lnTo>
                <a:lnTo>
                  <a:pt x="5051992" y="925930"/>
                </a:lnTo>
                <a:lnTo>
                  <a:pt x="5045806" y="924955"/>
                </a:lnTo>
                <a:lnTo>
                  <a:pt x="5042985" y="922140"/>
                </a:lnTo>
                <a:lnTo>
                  <a:pt x="5043853" y="920083"/>
                </a:lnTo>
                <a:lnTo>
                  <a:pt x="5042333" y="914236"/>
                </a:lnTo>
                <a:lnTo>
                  <a:pt x="5040923" y="912396"/>
                </a:lnTo>
                <a:lnTo>
                  <a:pt x="5036800" y="912937"/>
                </a:lnTo>
                <a:lnTo>
                  <a:pt x="5033327" y="911313"/>
                </a:lnTo>
                <a:lnTo>
                  <a:pt x="5033002" y="916726"/>
                </a:lnTo>
                <a:lnTo>
                  <a:pt x="5030722" y="916402"/>
                </a:lnTo>
                <a:lnTo>
                  <a:pt x="5027684" y="912071"/>
                </a:lnTo>
                <a:lnTo>
                  <a:pt x="5023018" y="909473"/>
                </a:lnTo>
                <a:lnTo>
                  <a:pt x="5014771" y="900161"/>
                </a:lnTo>
                <a:lnTo>
                  <a:pt x="5013035" y="896263"/>
                </a:lnTo>
                <a:lnTo>
                  <a:pt x="5014880" y="895938"/>
                </a:lnTo>
                <a:lnTo>
                  <a:pt x="5018352" y="898861"/>
                </a:lnTo>
                <a:lnTo>
                  <a:pt x="5020740" y="897996"/>
                </a:lnTo>
                <a:lnTo>
                  <a:pt x="5021608" y="895722"/>
                </a:lnTo>
                <a:lnTo>
                  <a:pt x="5017701" y="895073"/>
                </a:lnTo>
                <a:lnTo>
                  <a:pt x="5014880" y="891067"/>
                </a:lnTo>
                <a:lnTo>
                  <a:pt x="5018243" y="888359"/>
                </a:lnTo>
                <a:lnTo>
                  <a:pt x="5017810" y="885761"/>
                </a:lnTo>
                <a:close/>
                <a:moveTo>
                  <a:pt x="2463436" y="881647"/>
                </a:moveTo>
                <a:lnTo>
                  <a:pt x="2465715" y="882838"/>
                </a:lnTo>
                <a:lnTo>
                  <a:pt x="2466040" y="887494"/>
                </a:lnTo>
                <a:lnTo>
                  <a:pt x="2462134" y="890741"/>
                </a:lnTo>
                <a:lnTo>
                  <a:pt x="2458119" y="894639"/>
                </a:lnTo>
                <a:lnTo>
                  <a:pt x="2455732" y="894639"/>
                </a:lnTo>
                <a:lnTo>
                  <a:pt x="2453778" y="897996"/>
                </a:lnTo>
                <a:lnTo>
                  <a:pt x="2444880" y="905359"/>
                </a:lnTo>
                <a:lnTo>
                  <a:pt x="2441733" y="905359"/>
                </a:lnTo>
                <a:lnTo>
                  <a:pt x="2437284" y="904276"/>
                </a:lnTo>
                <a:lnTo>
                  <a:pt x="2435547" y="905684"/>
                </a:lnTo>
                <a:lnTo>
                  <a:pt x="2434137" y="900378"/>
                </a:lnTo>
                <a:lnTo>
                  <a:pt x="2437609" y="897996"/>
                </a:lnTo>
                <a:lnTo>
                  <a:pt x="2439345" y="894206"/>
                </a:lnTo>
                <a:lnTo>
                  <a:pt x="2442818" y="892257"/>
                </a:lnTo>
                <a:lnTo>
                  <a:pt x="2449003" y="892474"/>
                </a:lnTo>
                <a:lnTo>
                  <a:pt x="2452584" y="890741"/>
                </a:lnTo>
                <a:lnTo>
                  <a:pt x="2456708" y="886302"/>
                </a:lnTo>
                <a:lnTo>
                  <a:pt x="2458987" y="886302"/>
                </a:lnTo>
                <a:lnTo>
                  <a:pt x="2459855" y="882513"/>
                </a:lnTo>
                <a:close/>
                <a:moveTo>
                  <a:pt x="7285048" y="880023"/>
                </a:moveTo>
                <a:lnTo>
                  <a:pt x="7288304" y="884570"/>
                </a:lnTo>
                <a:lnTo>
                  <a:pt x="7288087" y="886735"/>
                </a:lnTo>
                <a:lnTo>
                  <a:pt x="7285916" y="887386"/>
                </a:lnTo>
                <a:lnTo>
                  <a:pt x="7280925" y="882621"/>
                </a:lnTo>
                <a:lnTo>
                  <a:pt x="7281901" y="880348"/>
                </a:lnTo>
                <a:close/>
                <a:moveTo>
                  <a:pt x="2976828" y="874284"/>
                </a:moveTo>
                <a:lnTo>
                  <a:pt x="2981169" y="875908"/>
                </a:lnTo>
                <a:lnTo>
                  <a:pt x="2982580" y="880022"/>
                </a:lnTo>
                <a:lnTo>
                  <a:pt x="2980301" y="880022"/>
                </a:lnTo>
                <a:lnTo>
                  <a:pt x="2975526" y="876774"/>
                </a:lnTo>
                <a:close/>
                <a:moveTo>
                  <a:pt x="2037942" y="872011"/>
                </a:moveTo>
                <a:lnTo>
                  <a:pt x="2042174" y="872011"/>
                </a:lnTo>
                <a:lnTo>
                  <a:pt x="2042174" y="876125"/>
                </a:lnTo>
                <a:lnTo>
                  <a:pt x="2039461" y="877642"/>
                </a:lnTo>
                <a:lnTo>
                  <a:pt x="2038050" y="875801"/>
                </a:lnTo>
                <a:close/>
                <a:moveTo>
                  <a:pt x="1840442" y="869737"/>
                </a:moveTo>
                <a:lnTo>
                  <a:pt x="1841853" y="872335"/>
                </a:lnTo>
                <a:lnTo>
                  <a:pt x="1840767" y="875476"/>
                </a:lnTo>
                <a:lnTo>
                  <a:pt x="1842721" y="877533"/>
                </a:lnTo>
                <a:lnTo>
                  <a:pt x="1841310" y="880023"/>
                </a:lnTo>
                <a:lnTo>
                  <a:pt x="1842721" y="882947"/>
                </a:lnTo>
                <a:lnTo>
                  <a:pt x="1839574" y="884678"/>
                </a:lnTo>
                <a:lnTo>
                  <a:pt x="1838597" y="887494"/>
                </a:lnTo>
                <a:lnTo>
                  <a:pt x="1836318" y="888793"/>
                </a:lnTo>
                <a:lnTo>
                  <a:pt x="1834799" y="881214"/>
                </a:lnTo>
                <a:lnTo>
                  <a:pt x="1836969" y="878723"/>
                </a:lnTo>
                <a:lnTo>
                  <a:pt x="1837404" y="875043"/>
                </a:lnTo>
                <a:close/>
                <a:moveTo>
                  <a:pt x="2401257" y="869088"/>
                </a:moveTo>
                <a:lnTo>
                  <a:pt x="2403861" y="870820"/>
                </a:lnTo>
                <a:lnTo>
                  <a:pt x="2403644" y="873527"/>
                </a:lnTo>
                <a:lnTo>
                  <a:pt x="2400605" y="872228"/>
                </a:lnTo>
                <a:lnTo>
                  <a:pt x="2398110" y="872553"/>
                </a:lnTo>
                <a:lnTo>
                  <a:pt x="2396482" y="870387"/>
                </a:lnTo>
                <a:lnTo>
                  <a:pt x="2397567" y="869304"/>
                </a:lnTo>
                <a:close/>
                <a:moveTo>
                  <a:pt x="2475048" y="865623"/>
                </a:moveTo>
                <a:lnTo>
                  <a:pt x="2477001" y="868113"/>
                </a:lnTo>
                <a:lnTo>
                  <a:pt x="2476567" y="870278"/>
                </a:lnTo>
                <a:lnTo>
                  <a:pt x="2472009" y="872335"/>
                </a:lnTo>
                <a:lnTo>
                  <a:pt x="2468103" y="875367"/>
                </a:lnTo>
                <a:lnTo>
                  <a:pt x="2464739" y="875584"/>
                </a:lnTo>
                <a:lnTo>
                  <a:pt x="2462460" y="876125"/>
                </a:lnTo>
                <a:lnTo>
                  <a:pt x="2465390" y="873094"/>
                </a:lnTo>
                <a:lnTo>
                  <a:pt x="2467886" y="868871"/>
                </a:lnTo>
                <a:lnTo>
                  <a:pt x="2471358" y="868979"/>
                </a:lnTo>
                <a:lnTo>
                  <a:pt x="2473312" y="865948"/>
                </a:lnTo>
                <a:close/>
                <a:moveTo>
                  <a:pt x="2400170" y="864324"/>
                </a:moveTo>
                <a:lnTo>
                  <a:pt x="2402341" y="864649"/>
                </a:lnTo>
                <a:lnTo>
                  <a:pt x="2401690" y="866381"/>
                </a:lnTo>
                <a:close/>
                <a:moveTo>
                  <a:pt x="2392792" y="863025"/>
                </a:moveTo>
                <a:lnTo>
                  <a:pt x="2395287" y="864324"/>
                </a:lnTo>
                <a:lnTo>
                  <a:pt x="2395830" y="865948"/>
                </a:lnTo>
                <a:lnTo>
                  <a:pt x="2395071" y="867139"/>
                </a:lnTo>
                <a:close/>
                <a:moveTo>
                  <a:pt x="1848038" y="858261"/>
                </a:moveTo>
                <a:lnTo>
                  <a:pt x="1850968" y="858261"/>
                </a:lnTo>
                <a:lnTo>
                  <a:pt x="1848689" y="860859"/>
                </a:lnTo>
                <a:lnTo>
                  <a:pt x="1850100" y="862592"/>
                </a:lnTo>
                <a:lnTo>
                  <a:pt x="1846627" y="866815"/>
                </a:lnTo>
                <a:lnTo>
                  <a:pt x="1844782" y="866165"/>
                </a:lnTo>
                <a:lnTo>
                  <a:pt x="1842829" y="860102"/>
                </a:lnTo>
                <a:lnTo>
                  <a:pt x="1845107" y="859236"/>
                </a:lnTo>
                <a:lnTo>
                  <a:pt x="1846519" y="860968"/>
                </a:lnTo>
                <a:close/>
                <a:moveTo>
                  <a:pt x="4897681" y="856311"/>
                </a:moveTo>
                <a:lnTo>
                  <a:pt x="4900828" y="858043"/>
                </a:lnTo>
                <a:lnTo>
                  <a:pt x="4901913" y="861183"/>
                </a:lnTo>
                <a:lnTo>
                  <a:pt x="4907230" y="862915"/>
                </a:lnTo>
                <a:lnTo>
                  <a:pt x="4908750" y="866489"/>
                </a:lnTo>
                <a:lnTo>
                  <a:pt x="4906579" y="870278"/>
                </a:lnTo>
                <a:lnTo>
                  <a:pt x="4908750" y="873201"/>
                </a:lnTo>
                <a:lnTo>
                  <a:pt x="4908424" y="875909"/>
                </a:lnTo>
                <a:lnTo>
                  <a:pt x="4906579" y="875042"/>
                </a:lnTo>
                <a:lnTo>
                  <a:pt x="4903107" y="870062"/>
                </a:lnTo>
                <a:lnTo>
                  <a:pt x="4899092" y="869195"/>
                </a:lnTo>
                <a:lnTo>
                  <a:pt x="4898766" y="864973"/>
                </a:lnTo>
                <a:lnTo>
                  <a:pt x="4895294" y="863565"/>
                </a:lnTo>
                <a:lnTo>
                  <a:pt x="4892907" y="864431"/>
                </a:lnTo>
                <a:lnTo>
                  <a:pt x="4889651" y="862699"/>
                </a:lnTo>
                <a:lnTo>
                  <a:pt x="4889000" y="860101"/>
                </a:lnTo>
                <a:lnTo>
                  <a:pt x="4892255" y="856852"/>
                </a:lnTo>
                <a:close/>
                <a:moveTo>
                  <a:pt x="2431424" y="852847"/>
                </a:moveTo>
                <a:lnTo>
                  <a:pt x="2435655" y="853496"/>
                </a:lnTo>
                <a:lnTo>
                  <a:pt x="2439128" y="856745"/>
                </a:lnTo>
                <a:lnTo>
                  <a:pt x="2445096" y="857178"/>
                </a:lnTo>
                <a:lnTo>
                  <a:pt x="2447375" y="860318"/>
                </a:lnTo>
                <a:lnTo>
                  <a:pt x="2444771" y="862916"/>
                </a:lnTo>
                <a:lnTo>
                  <a:pt x="2443034" y="862916"/>
                </a:lnTo>
                <a:lnTo>
                  <a:pt x="2439453" y="863782"/>
                </a:lnTo>
                <a:lnTo>
                  <a:pt x="2436523" y="862592"/>
                </a:lnTo>
                <a:lnTo>
                  <a:pt x="2436523" y="865840"/>
                </a:lnTo>
                <a:lnTo>
                  <a:pt x="2433810" y="866923"/>
                </a:lnTo>
                <a:lnTo>
                  <a:pt x="2432725" y="864649"/>
                </a:lnTo>
                <a:lnTo>
                  <a:pt x="2433377" y="862592"/>
                </a:lnTo>
                <a:lnTo>
                  <a:pt x="2432183" y="861076"/>
                </a:lnTo>
                <a:lnTo>
                  <a:pt x="2431206" y="858694"/>
                </a:lnTo>
                <a:lnTo>
                  <a:pt x="2427734" y="857935"/>
                </a:lnTo>
                <a:cubicBezTo>
                  <a:pt x="2428906" y="856991"/>
                  <a:pt x="2430138" y="856123"/>
                  <a:pt x="2431424" y="855337"/>
                </a:cubicBezTo>
                <a:close/>
                <a:moveTo>
                  <a:pt x="2968690" y="851115"/>
                </a:moveTo>
                <a:lnTo>
                  <a:pt x="2973139" y="852847"/>
                </a:lnTo>
                <a:lnTo>
                  <a:pt x="2973790" y="857719"/>
                </a:lnTo>
                <a:lnTo>
                  <a:pt x="2970209" y="861617"/>
                </a:lnTo>
                <a:lnTo>
                  <a:pt x="2965977" y="862158"/>
                </a:lnTo>
                <a:lnTo>
                  <a:pt x="2963915" y="860426"/>
                </a:lnTo>
                <a:lnTo>
                  <a:pt x="2965651" y="852414"/>
                </a:lnTo>
                <a:close/>
                <a:moveTo>
                  <a:pt x="2956970" y="850574"/>
                </a:moveTo>
                <a:lnTo>
                  <a:pt x="2955559" y="857178"/>
                </a:lnTo>
                <a:lnTo>
                  <a:pt x="2956102" y="859994"/>
                </a:lnTo>
                <a:lnTo>
                  <a:pt x="2952954" y="863784"/>
                </a:lnTo>
                <a:lnTo>
                  <a:pt x="2949048" y="861617"/>
                </a:lnTo>
                <a:lnTo>
                  <a:pt x="2948723" y="856745"/>
                </a:lnTo>
                <a:lnTo>
                  <a:pt x="2950676" y="853605"/>
                </a:lnTo>
                <a:close/>
                <a:moveTo>
                  <a:pt x="2484270" y="850140"/>
                </a:moveTo>
                <a:lnTo>
                  <a:pt x="2483076" y="853605"/>
                </a:lnTo>
                <a:lnTo>
                  <a:pt x="2481232" y="854146"/>
                </a:lnTo>
                <a:lnTo>
                  <a:pt x="2481991" y="851115"/>
                </a:lnTo>
                <a:close/>
                <a:moveTo>
                  <a:pt x="2383785" y="846026"/>
                </a:moveTo>
                <a:lnTo>
                  <a:pt x="2387474" y="846026"/>
                </a:lnTo>
                <a:lnTo>
                  <a:pt x="2387908" y="847217"/>
                </a:lnTo>
                <a:lnTo>
                  <a:pt x="2391489" y="849274"/>
                </a:lnTo>
                <a:lnTo>
                  <a:pt x="2391597" y="851331"/>
                </a:lnTo>
                <a:lnTo>
                  <a:pt x="2388993" y="851764"/>
                </a:lnTo>
                <a:lnTo>
                  <a:pt x="2387148" y="849923"/>
                </a:lnTo>
                <a:lnTo>
                  <a:pt x="2384218" y="849490"/>
                </a:lnTo>
                <a:lnTo>
                  <a:pt x="2382808" y="848299"/>
                </a:lnTo>
                <a:close/>
                <a:moveTo>
                  <a:pt x="2378576" y="845701"/>
                </a:moveTo>
                <a:lnTo>
                  <a:pt x="2379987" y="848191"/>
                </a:lnTo>
                <a:lnTo>
                  <a:pt x="2376406" y="847109"/>
                </a:lnTo>
                <a:close/>
                <a:moveTo>
                  <a:pt x="1835667" y="843319"/>
                </a:moveTo>
                <a:lnTo>
                  <a:pt x="1836860" y="847217"/>
                </a:lnTo>
                <a:lnTo>
                  <a:pt x="1835124" y="847000"/>
                </a:lnTo>
                <a:lnTo>
                  <a:pt x="1834582" y="844294"/>
                </a:lnTo>
                <a:close/>
                <a:moveTo>
                  <a:pt x="1832194" y="843103"/>
                </a:moveTo>
                <a:lnTo>
                  <a:pt x="1835341" y="849166"/>
                </a:lnTo>
                <a:lnTo>
                  <a:pt x="1832736" y="847542"/>
                </a:lnTo>
                <a:lnTo>
                  <a:pt x="1831001" y="845160"/>
                </a:lnTo>
                <a:close/>
                <a:moveTo>
                  <a:pt x="2365988" y="841695"/>
                </a:moveTo>
                <a:lnTo>
                  <a:pt x="2368701" y="842778"/>
                </a:lnTo>
                <a:lnTo>
                  <a:pt x="2371522" y="842778"/>
                </a:lnTo>
                <a:lnTo>
                  <a:pt x="2372282" y="845376"/>
                </a:lnTo>
                <a:lnTo>
                  <a:pt x="2370980" y="846459"/>
                </a:lnTo>
                <a:lnTo>
                  <a:pt x="2367941" y="846351"/>
                </a:lnTo>
                <a:close/>
                <a:moveTo>
                  <a:pt x="2227954" y="841046"/>
                </a:moveTo>
                <a:lnTo>
                  <a:pt x="2229473" y="842995"/>
                </a:lnTo>
                <a:lnTo>
                  <a:pt x="2229799" y="849382"/>
                </a:lnTo>
                <a:lnTo>
                  <a:pt x="2228605" y="851223"/>
                </a:lnTo>
                <a:lnTo>
                  <a:pt x="2227303" y="849923"/>
                </a:lnTo>
                <a:lnTo>
                  <a:pt x="2227411" y="847650"/>
                </a:lnTo>
                <a:lnTo>
                  <a:pt x="2225350" y="845160"/>
                </a:lnTo>
                <a:lnTo>
                  <a:pt x="2226869" y="842020"/>
                </a:lnTo>
                <a:close/>
                <a:moveTo>
                  <a:pt x="2233489" y="839746"/>
                </a:moveTo>
                <a:lnTo>
                  <a:pt x="2235659" y="841262"/>
                </a:lnTo>
                <a:lnTo>
                  <a:pt x="2235442" y="845051"/>
                </a:lnTo>
                <a:lnTo>
                  <a:pt x="2234248" y="845160"/>
                </a:lnTo>
                <a:lnTo>
                  <a:pt x="2231535" y="847650"/>
                </a:lnTo>
                <a:lnTo>
                  <a:pt x="2231210" y="841803"/>
                </a:lnTo>
                <a:close/>
                <a:moveTo>
                  <a:pt x="2966954" y="833574"/>
                </a:moveTo>
                <a:lnTo>
                  <a:pt x="2970100" y="835631"/>
                </a:lnTo>
                <a:lnTo>
                  <a:pt x="2974007" y="835847"/>
                </a:lnTo>
                <a:lnTo>
                  <a:pt x="2973899" y="837688"/>
                </a:lnTo>
                <a:lnTo>
                  <a:pt x="2970317" y="838988"/>
                </a:lnTo>
                <a:lnTo>
                  <a:pt x="2966845" y="842560"/>
                </a:lnTo>
                <a:lnTo>
                  <a:pt x="2963589" y="842452"/>
                </a:lnTo>
                <a:lnTo>
                  <a:pt x="2962504" y="839204"/>
                </a:lnTo>
                <a:lnTo>
                  <a:pt x="2963697" y="835739"/>
                </a:lnTo>
                <a:close/>
                <a:moveTo>
                  <a:pt x="1829590" y="827295"/>
                </a:moveTo>
                <a:lnTo>
                  <a:pt x="1832520" y="827944"/>
                </a:lnTo>
                <a:lnTo>
                  <a:pt x="1833280" y="829894"/>
                </a:lnTo>
                <a:lnTo>
                  <a:pt x="1828071" y="830002"/>
                </a:lnTo>
                <a:close/>
                <a:moveTo>
                  <a:pt x="1992691" y="826645"/>
                </a:moveTo>
                <a:lnTo>
                  <a:pt x="1993558" y="827511"/>
                </a:lnTo>
                <a:lnTo>
                  <a:pt x="1992799" y="830326"/>
                </a:lnTo>
                <a:lnTo>
                  <a:pt x="1993124" y="832924"/>
                </a:lnTo>
                <a:lnTo>
                  <a:pt x="1992148" y="835739"/>
                </a:lnTo>
                <a:lnTo>
                  <a:pt x="1988458" y="837905"/>
                </a:lnTo>
                <a:lnTo>
                  <a:pt x="1986180" y="836497"/>
                </a:lnTo>
                <a:lnTo>
                  <a:pt x="1983033" y="832383"/>
                </a:lnTo>
                <a:lnTo>
                  <a:pt x="1984010" y="830326"/>
                </a:lnTo>
                <a:lnTo>
                  <a:pt x="1988675" y="830542"/>
                </a:lnTo>
                <a:lnTo>
                  <a:pt x="1989326" y="828918"/>
                </a:lnTo>
                <a:close/>
                <a:moveTo>
                  <a:pt x="1846084" y="820799"/>
                </a:moveTo>
                <a:lnTo>
                  <a:pt x="1849556" y="820799"/>
                </a:lnTo>
                <a:lnTo>
                  <a:pt x="1846518" y="823072"/>
                </a:lnTo>
                <a:lnTo>
                  <a:pt x="1843805" y="823072"/>
                </a:lnTo>
                <a:close/>
                <a:moveTo>
                  <a:pt x="2032734" y="817551"/>
                </a:moveTo>
                <a:lnTo>
                  <a:pt x="2035664" y="818092"/>
                </a:lnTo>
                <a:lnTo>
                  <a:pt x="2035772" y="820799"/>
                </a:lnTo>
                <a:lnTo>
                  <a:pt x="2038919" y="824697"/>
                </a:lnTo>
                <a:lnTo>
                  <a:pt x="2036206" y="829461"/>
                </a:lnTo>
                <a:lnTo>
                  <a:pt x="2031757" y="832059"/>
                </a:lnTo>
                <a:lnTo>
                  <a:pt x="2031106" y="834766"/>
                </a:lnTo>
                <a:lnTo>
                  <a:pt x="2029261" y="837149"/>
                </a:lnTo>
                <a:lnTo>
                  <a:pt x="2026440" y="832817"/>
                </a:lnTo>
                <a:lnTo>
                  <a:pt x="2026331" y="830219"/>
                </a:lnTo>
                <a:lnTo>
                  <a:pt x="2030780" y="823506"/>
                </a:lnTo>
                <a:lnTo>
                  <a:pt x="2030563" y="820149"/>
                </a:lnTo>
                <a:close/>
                <a:moveTo>
                  <a:pt x="3502916" y="817334"/>
                </a:moveTo>
                <a:lnTo>
                  <a:pt x="3508125" y="818092"/>
                </a:lnTo>
                <a:lnTo>
                  <a:pt x="3510295" y="819175"/>
                </a:lnTo>
                <a:lnTo>
                  <a:pt x="3513876" y="819066"/>
                </a:lnTo>
                <a:lnTo>
                  <a:pt x="3519845" y="822856"/>
                </a:lnTo>
                <a:lnTo>
                  <a:pt x="3523968" y="822748"/>
                </a:lnTo>
                <a:lnTo>
                  <a:pt x="3526247" y="823938"/>
                </a:lnTo>
                <a:lnTo>
                  <a:pt x="3530045" y="830651"/>
                </a:lnTo>
                <a:lnTo>
                  <a:pt x="3541439" y="835956"/>
                </a:lnTo>
                <a:lnTo>
                  <a:pt x="3543501" y="840503"/>
                </a:lnTo>
                <a:lnTo>
                  <a:pt x="3542307" y="842128"/>
                </a:lnTo>
                <a:lnTo>
                  <a:pt x="3540680" y="840612"/>
                </a:lnTo>
                <a:lnTo>
                  <a:pt x="3535688" y="840071"/>
                </a:lnTo>
                <a:lnTo>
                  <a:pt x="3531890" y="837148"/>
                </a:lnTo>
                <a:lnTo>
                  <a:pt x="3529286" y="836389"/>
                </a:lnTo>
                <a:lnTo>
                  <a:pt x="3527875" y="838555"/>
                </a:lnTo>
                <a:lnTo>
                  <a:pt x="3526247" y="839962"/>
                </a:lnTo>
                <a:lnTo>
                  <a:pt x="3528743" y="842994"/>
                </a:lnTo>
                <a:lnTo>
                  <a:pt x="3530696" y="842994"/>
                </a:lnTo>
                <a:lnTo>
                  <a:pt x="3535688" y="844943"/>
                </a:lnTo>
                <a:lnTo>
                  <a:pt x="3538943" y="849707"/>
                </a:lnTo>
                <a:lnTo>
                  <a:pt x="3536339" y="851656"/>
                </a:lnTo>
                <a:lnTo>
                  <a:pt x="3536556" y="854470"/>
                </a:lnTo>
                <a:lnTo>
                  <a:pt x="3535470" y="856203"/>
                </a:lnTo>
                <a:lnTo>
                  <a:pt x="3530588" y="854362"/>
                </a:lnTo>
                <a:lnTo>
                  <a:pt x="3529503" y="851872"/>
                </a:lnTo>
                <a:lnTo>
                  <a:pt x="3526790" y="851547"/>
                </a:lnTo>
                <a:lnTo>
                  <a:pt x="3522231" y="849382"/>
                </a:lnTo>
                <a:lnTo>
                  <a:pt x="3518651" y="844293"/>
                </a:lnTo>
                <a:lnTo>
                  <a:pt x="3513225" y="839854"/>
                </a:lnTo>
                <a:lnTo>
                  <a:pt x="3507148" y="838122"/>
                </a:lnTo>
                <a:lnTo>
                  <a:pt x="3504978" y="833142"/>
                </a:lnTo>
                <a:lnTo>
                  <a:pt x="3501722" y="827295"/>
                </a:lnTo>
                <a:lnTo>
                  <a:pt x="3502048" y="823722"/>
                </a:lnTo>
                <a:lnTo>
                  <a:pt x="3500963" y="822206"/>
                </a:lnTo>
                <a:lnTo>
                  <a:pt x="3500963" y="819066"/>
                </a:lnTo>
                <a:close/>
                <a:moveTo>
                  <a:pt x="2616661" y="814736"/>
                </a:moveTo>
                <a:lnTo>
                  <a:pt x="2620242" y="815818"/>
                </a:lnTo>
                <a:lnTo>
                  <a:pt x="2621110" y="819067"/>
                </a:lnTo>
                <a:lnTo>
                  <a:pt x="2624257" y="819067"/>
                </a:lnTo>
                <a:lnTo>
                  <a:pt x="2626428" y="821016"/>
                </a:lnTo>
                <a:lnTo>
                  <a:pt x="2623715" y="824697"/>
                </a:lnTo>
                <a:lnTo>
                  <a:pt x="2619808" y="825780"/>
                </a:lnTo>
                <a:lnTo>
                  <a:pt x="2617855" y="824481"/>
                </a:lnTo>
                <a:lnTo>
                  <a:pt x="2615034" y="825888"/>
                </a:lnTo>
                <a:lnTo>
                  <a:pt x="2613514" y="828271"/>
                </a:lnTo>
                <a:lnTo>
                  <a:pt x="2611778" y="827296"/>
                </a:lnTo>
                <a:lnTo>
                  <a:pt x="2611778" y="823614"/>
                </a:lnTo>
                <a:lnTo>
                  <a:pt x="2610259" y="821232"/>
                </a:lnTo>
                <a:lnTo>
                  <a:pt x="2612538" y="817334"/>
                </a:lnTo>
                <a:close/>
                <a:moveTo>
                  <a:pt x="5479222" y="814628"/>
                </a:moveTo>
                <a:lnTo>
                  <a:pt x="5481067" y="814953"/>
                </a:lnTo>
                <a:lnTo>
                  <a:pt x="5482694" y="818309"/>
                </a:lnTo>
                <a:lnTo>
                  <a:pt x="5481610" y="822857"/>
                </a:lnTo>
                <a:lnTo>
                  <a:pt x="5479330" y="819934"/>
                </a:lnTo>
                <a:close/>
                <a:moveTo>
                  <a:pt x="3494344" y="814195"/>
                </a:moveTo>
                <a:lnTo>
                  <a:pt x="3492065" y="817119"/>
                </a:lnTo>
                <a:lnTo>
                  <a:pt x="3492391" y="819934"/>
                </a:lnTo>
                <a:lnTo>
                  <a:pt x="3490220" y="821342"/>
                </a:lnTo>
                <a:lnTo>
                  <a:pt x="3487942" y="819717"/>
                </a:lnTo>
                <a:lnTo>
                  <a:pt x="3488267" y="816902"/>
                </a:lnTo>
                <a:close/>
                <a:moveTo>
                  <a:pt x="2928322" y="813870"/>
                </a:moveTo>
                <a:lnTo>
                  <a:pt x="2931577" y="816901"/>
                </a:lnTo>
                <a:lnTo>
                  <a:pt x="2929950" y="819176"/>
                </a:lnTo>
                <a:lnTo>
                  <a:pt x="2927453" y="818309"/>
                </a:lnTo>
                <a:lnTo>
                  <a:pt x="2926260" y="814303"/>
                </a:lnTo>
                <a:close/>
                <a:moveTo>
                  <a:pt x="2310970" y="813870"/>
                </a:moveTo>
                <a:lnTo>
                  <a:pt x="2314768" y="813870"/>
                </a:lnTo>
                <a:lnTo>
                  <a:pt x="2317264" y="817659"/>
                </a:lnTo>
                <a:lnTo>
                  <a:pt x="2322256" y="818525"/>
                </a:lnTo>
                <a:lnTo>
                  <a:pt x="2323015" y="822423"/>
                </a:lnTo>
                <a:lnTo>
                  <a:pt x="2321496" y="825129"/>
                </a:lnTo>
                <a:lnTo>
                  <a:pt x="2318566" y="825780"/>
                </a:lnTo>
                <a:lnTo>
                  <a:pt x="2317264" y="823614"/>
                </a:lnTo>
                <a:lnTo>
                  <a:pt x="2313792" y="823614"/>
                </a:lnTo>
                <a:lnTo>
                  <a:pt x="2311079" y="820907"/>
                </a:lnTo>
                <a:lnTo>
                  <a:pt x="2310102" y="822856"/>
                </a:lnTo>
                <a:lnTo>
                  <a:pt x="2307172" y="822207"/>
                </a:lnTo>
                <a:lnTo>
                  <a:pt x="2307172" y="818092"/>
                </a:lnTo>
                <a:lnTo>
                  <a:pt x="2305219" y="816576"/>
                </a:lnTo>
                <a:lnTo>
                  <a:pt x="2310102" y="815386"/>
                </a:lnTo>
                <a:close/>
                <a:moveTo>
                  <a:pt x="2217537" y="813328"/>
                </a:moveTo>
                <a:lnTo>
                  <a:pt x="2220684" y="813328"/>
                </a:lnTo>
                <a:lnTo>
                  <a:pt x="2222528" y="814627"/>
                </a:lnTo>
                <a:lnTo>
                  <a:pt x="2221443" y="816901"/>
                </a:lnTo>
                <a:lnTo>
                  <a:pt x="2219381" y="817009"/>
                </a:lnTo>
                <a:lnTo>
                  <a:pt x="2216994" y="817767"/>
                </a:lnTo>
                <a:lnTo>
                  <a:pt x="2215801" y="815601"/>
                </a:lnTo>
                <a:close/>
                <a:moveTo>
                  <a:pt x="2137559" y="812354"/>
                </a:moveTo>
                <a:lnTo>
                  <a:pt x="2143202" y="814303"/>
                </a:lnTo>
                <a:lnTo>
                  <a:pt x="2143202" y="818417"/>
                </a:lnTo>
                <a:lnTo>
                  <a:pt x="2138536" y="826104"/>
                </a:lnTo>
                <a:lnTo>
                  <a:pt x="2135172" y="827403"/>
                </a:lnTo>
                <a:lnTo>
                  <a:pt x="2135823" y="823831"/>
                </a:lnTo>
                <a:lnTo>
                  <a:pt x="2135823" y="819716"/>
                </a:lnTo>
                <a:lnTo>
                  <a:pt x="2134087" y="822098"/>
                </a:lnTo>
                <a:lnTo>
                  <a:pt x="2133436" y="824805"/>
                </a:lnTo>
                <a:cubicBezTo>
                  <a:pt x="2132388" y="824890"/>
                  <a:pt x="2131336" y="824890"/>
                  <a:pt x="2130289" y="824805"/>
                </a:cubicBezTo>
                <a:lnTo>
                  <a:pt x="2132567" y="817009"/>
                </a:lnTo>
                <a:close/>
                <a:moveTo>
                  <a:pt x="2044886" y="811921"/>
                </a:moveTo>
                <a:lnTo>
                  <a:pt x="2047382" y="816360"/>
                </a:lnTo>
                <a:lnTo>
                  <a:pt x="2044995" y="819284"/>
                </a:lnTo>
                <a:lnTo>
                  <a:pt x="2044235" y="823181"/>
                </a:lnTo>
                <a:lnTo>
                  <a:pt x="2041957" y="823940"/>
                </a:lnTo>
                <a:lnTo>
                  <a:pt x="2041305" y="820907"/>
                </a:lnTo>
                <a:lnTo>
                  <a:pt x="2039678" y="819176"/>
                </a:lnTo>
                <a:lnTo>
                  <a:pt x="2042933" y="812679"/>
                </a:lnTo>
                <a:close/>
                <a:moveTo>
                  <a:pt x="3526031" y="809539"/>
                </a:moveTo>
                <a:lnTo>
                  <a:pt x="3532217" y="809539"/>
                </a:lnTo>
                <a:lnTo>
                  <a:pt x="3538185" y="813220"/>
                </a:lnTo>
                <a:lnTo>
                  <a:pt x="3542092" y="813870"/>
                </a:lnTo>
                <a:lnTo>
                  <a:pt x="3547734" y="818092"/>
                </a:lnTo>
                <a:lnTo>
                  <a:pt x="3544696" y="819500"/>
                </a:lnTo>
                <a:lnTo>
                  <a:pt x="3543611" y="822748"/>
                </a:lnTo>
                <a:lnTo>
                  <a:pt x="3545022" y="824914"/>
                </a:lnTo>
                <a:lnTo>
                  <a:pt x="3545022" y="827512"/>
                </a:lnTo>
                <a:lnTo>
                  <a:pt x="3541766" y="828378"/>
                </a:lnTo>
                <a:lnTo>
                  <a:pt x="3539053" y="827296"/>
                </a:lnTo>
                <a:lnTo>
                  <a:pt x="3534604" y="827296"/>
                </a:lnTo>
                <a:lnTo>
                  <a:pt x="3531891" y="825347"/>
                </a:lnTo>
                <a:lnTo>
                  <a:pt x="3531891" y="822639"/>
                </a:lnTo>
                <a:lnTo>
                  <a:pt x="3529938" y="821665"/>
                </a:lnTo>
                <a:lnTo>
                  <a:pt x="3526357" y="821665"/>
                </a:lnTo>
                <a:lnTo>
                  <a:pt x="3521039" y="818850"/>
                </a:lnTo>
                <a:lnTo>
                  <a:pt x="3514854" y="817767"/>
                </a:lnTo>
                <a:lnTo>
                  <a:pt x="3510405" y="815277"/>
                </a:lnTo>
                <a:lnTo>
                  <a:pt x="3502809" y="815277"/>
                </a:lnTo>
                <a:lnTo>
                  <a:pt x="3499879" y="812787"/>
                </a:lnTo>
                <a:cubicBezTo>
                  <a:pt x="3500460" y="812039"/>
                  <a:pt x="3501115" y="811350"/>
                  <a:pt x="3501832" y="810730"/>
                </a:cubicBezTo>
                <a:lnTo>
                  <a:pt x="3505955" y="810730"/>
                </a:lnTo>
                <a:lnTo>
                  <a:pt x="3513009" y="810080"/>
                </a:lnTo>
                <a:lnTo>
                  <a:pt x="3517784" y="811704"/>
                </a:lnTo>
                <a:close/>
                <a:moveTo>
                  <a:pt x="2128337" y="809106"/>
                </a:moveTo>
                <a:lnTo>
                  <a:pt x="2131158" y="814520"/>
                </a:lnTo>
                <a:lnTo>
                  <a:pt x="2128553" y="819717"/>
                </a:lnTo>
                <a:lnTo>
                  <a:pt x="2126492" y="819067"/>
                </a:lnTo>
                <a:lnTo>
                  <a:pt x="2126275" y="812354"/>
                </a:lnTo>
                <a:close/>
                <a:moveTo>
                  <a:pt x="603026" y="805641"/>
                </a:moveTo>
                <a:lnTo>
                  <a:pt x="605306" y="807590"/>
                </a:lnTo>
                <a:lnTo>
                  <a:pt x="605087" y="817226"/>
                </a:lnTo>
                <a:lnTo>
                  <a:pt x="602483" y="822747"/>
                </a:lnTo>
                <a:lnTo>
                  <a:pt x="601507" y="833250"/>
                </a:lnTo>
                <a:lnTo>
                  <a:pt x="598035" y="831192"/>
                </a:lnTo>
                <a:lnTo>
                  <a:pt x="598252" y="828052"/>
                </a:lnTo>
                <a:lnTo>
                  <a:pt x="594780" y="825995"/>
                </a:lnTo>
                <a:lnTo>
                  <a:pt x="589244" y="827619"/>
                </a:lnTo>
                <a:lnTo>
                  <a:pt x="584578" y="824371"/>
                </a:lnTo>
                <a:lnTo>
                  <a:pt x="584686" y="821556"/>
                </a:lnTo>
                <a:lnTo>
                  <a:pt x="597493" y="808564"/>
                </a:lnTo>
                <a:close/>
                <a:moveTo>
                  <a:pt x="3559236" y="805316"/>
                </a:moveTo>
                <a:lnTo>
                  <a:pt x="3559453" y="808022"/>
                </a:lnTo>
                <a:lnTo>
                  <a:pt x="3557066" y="809538"/>
                </a:lnTo>
                <a:lnTo>
                  <a:pt x="3554896" y="808130"/>
                </a:lnTo>
                <a:lnTo>
                  <a:pt x="3556198" y="806291"/>
                </a:lnTo>
                <a:close/>
                <a:moveTo>
                  <a:pt x="5471518" y="800120"/>
                </a:moveTo>
                <a:lnTo>
                  <a:pt x="5474556" y="806075"/>
                </a:lnTo>
                <a:lnTo>
                  <a:pt x="5475859" y="818958"/>
                </a:lnTo>
                <a:lnTo>
                  <a:pt x="5473146" y="823289"/>
                </a:lnTo>
                <a:lnTo>
                  <a:pt x="5471626" y="821556"/>
                </a:lnTo>
                <a:lnTo>
                  <a:pt x="5472278" y="813870"/>
                </a:lnTo>
                <a:lnTo>
                  <a:pt x="5469890" y="808673"/>
                </a:lnTo>
                <a:lnTo>
                  <a:pt x="5469890" y="800228"/>
                </a:lnTo>
                <a:close/>
                <a:moveTo>
                  <a:pt x="618979" y="798495"/>
                </a:moveTo>
                <a:lnTo>
                  <a:pt x="627336" y="804017"/>
                </a:lnTo>
                <a:lnTo>
                  <a:pt x="627336" y="807048"/>
                </a:lnTo>
                <a:lnTo>
                  <a:pt x="622235" y="809322"/>
                </a:lnTo>
                <a:lnTo>
                  <a:pt x="612468" y="818093"/>
                </a:lnTo>
                <a:lnTo>
                  <a:pt x="609432" y="816901"/>
                </a:lnTo>
                <a:cubicBezTo>
                  <a:pt x="609104" y="816793"/>
                  <a:pt x="611817" y="814519"/>
                  <a:pt x="611817" y="814519"/>
                </a:cubicBezTo>
                <a:lnTo>
                  <a:pt x="611817" y="812029"/>
                </a:lnTo>
                <a:lnTo>
                  <a:pt x="608996" y="809105"/>
                </a:lnTo>
                <a:lnTo>
                  <a:pt x="610299" y="805316"/>
                </a:lnTo>
                <a:lnTo>
                  <a:pt x="606282" y="801201"/>
                </a:lnTo>
                <a:lnTo>
                  <a:pt x="609864" y="799253"/>
                </a:lnTo>
                <a:close/>
                <a:moveTo>
                  <a:pt x="2940151" y="794598"/>
                </a:moveTo>
                <a:lnTo>
                  <a:pt x="2941995" y="795681"/>
                </a:lnTo>
                <a:lnTo>
                  <a:pt x="2940910" y="798171"/>
                </a:lnTo>
                <a:lnTo>
                  <a:pt x="2936244" y="799687"/>
                </a:lnTo>
                <a:lnTo>
                  <a:pt x="2932880" y="803910"/>
                </a:lnTo>
                <a:lnTo>
                  <a:pt x="2929733" y="803910"/>
                </a:lnTo>
                <a:lnTo>
                  <a:pt x="2929950" y="799903"/>
                </a:lnTo>
                <a:cubicBezTo>
                  <a:pt x="2930627" y="799590"/>
                  <a:pt x="2931279" y="799228"/>
                  <a:pt x="2931903" y="798820"/>
                </a:cubicBezTo>
                <a:lnTo>
                  <a:pt x="2932988" y="795897"/>
                </a:lnTo>
                <a:lnTo>
                  <a:pt x="2937871" y="795897"/>
                </a:lnTo>
                <a:close/>
                <a:moveTo>
                  <a:pt x="5465224" y="790483"/>
                </a:moveTo>
                <a:lnTo>
                  <a:pt x="5468263" y="793623"/>
                </a:lnTo>
                <a:lnTo>
                  <a:pt x="5468155" y="797412"/>
                </a:lnTo>
                <a:lnTo>
                  <a:pt x="5465659" y="796221"/>
                </a:lnTo>
                <a:lnTo>
                  <a:pt x="5463271" y="791241"/>
                </a:lnTo>
                <a:close/>
                <a:moveTo>
                  <a:pt x="2033601" y="788318"/>
                </a:moveTo>
                <a:lnTo>
                  <a:pt x="2033601" y="791349"/>
                </a:lnTo>
                <a:lnTo>
                  <a:pt x="2035880" y="793515"/>
                </a:lnTo>
                <a:lnTo>
                  <a:pt x="2035880" y="796222"/>
                </a:lnTo>
                <a:lnTo>
                  <a:pt x="2034036" y="799037"/>
                </a:lnTo>
                <a:lnTo>
                  <a:pt x="2032191" y="798604"/>
                </a:lnTo>
                <a:lnTo>
                  <a:pt x="2030671" y="801202"/>
                </a:lnTo>
                <a:lnTo>
                  <a:pt x="2028935" y="800877"/>
                </a:lnTo>
                <a:lnTo>
                  <a:pt x="2028176" y="798604"/>
                </a:lnTo>
                <a:lnTo>
                  <a:pt x="2029044" y="795897"/>
                </a:lnTo>
                <a:lnTo>
                  <a:pt x="2032299" y="794814"/>
                </a:lnTo>
                <a:lnTo>
                  <a:pt x="2029912" y="791566"/>
                </a:lnTo>
                <a:lnTo>
                  <a:pt x="2031323" y="788751"/>
                </a:lnTo>
                <a:close/>
                <a:moveTo>
                  <a:pt x="3494235" y="787885"/>
                </a:moveTo>
                <a:lnTo>
                  <a:pt x="3508560" y="790483"/>
                </a:lnTo>
                <a:lnTo>
                  <a:pt x="3518651" y="797629"/>
                </a:lnTo>
                <a:lnTo>
                  <a:pt x="3521039" y="800444"/>
                </a:lnTo>
                <a:lnTo>
                  <a:pt x="3518435" y="800769"/>
                </a:lnTo>
                <a:lnTo>
                  <a:pt x="3509753" y="799362"/>
                </a:lnTo>
                <a:lnTo>
                  <a:pt x="3502483" y="793948"/>
                </a:lnTo>
                <a:lnTo>
                  <a:pt x="3499228" y="793840"/>
                </a:lnTo>
                <a:lnTo>
                  <a:pt x="3497166" y="795572"/>
                </a:lnTo>
                <a:lnTo>
                  <a:pt x="3499228" y="798279"/>
                </a:lnTo>
                <a:lnTo>
                  <a:pt x="3503894" y="798928"/>
                </a:lnTo>
                <a:lnTo>
                  <a:pt x="3510296" y="802393"/>
                </a:lnTo>
                <a:lnTo>
                  <a:pt x="3514853" y="804342"/>
                </a:lnTo>
                <a:lnTo>
                  <a:pt x="3526248" y="803909"/>
                </a:lnTo>
                <a:lnTo>
                  <a:pt x="3531782" y="804883"/>
                </a:lnTo>
                <a:lnTo>
                  <a:pt x="3531999" y="807049"/>
                </a:lnTo>
                <a:lnTo>
                  <a:pt x="3526139" y="808456"/>
                </a:lnTo>
                <a:lnTo>
                  <a:pt x="3512466" y="807591"/>
                </a:lnTo>
                <a:lnTo>
                  <a:pt x="3502917" y="808673"/>
                </a:lnTo>
                <a:lnTo>
                  <a:pt x="3496298" y="806075"/>
                </a:lnTo>
                <a:lnTo>
                  <a:pt x="3491088" y="800336"/>
                </a:lnTo>
                <a:lnTo>
                  <a:pt x="3484686" y="799470"/>
                </a:lnTo>
                <a:lnTo>
                  <a:pt x="3481431" y="796330"/>
                </a:lnTo>
                <a:lnTo>
                  <a:pt x="3484252" y="793840"/>
                </a:lnTo>
                <a:lnTo>
                  <a:pt x="3490655" y="791783"/>
                </a:lnTo>
                <a:lnTo>
                  <a:pt x="3490763" y="789076"/>
                </a:lnTo>
                <a:close/>
                <a:moveTo>
                  <a:pt x="2110867" y="785177"/>
                </a:moveTo>
                <a:lnTo>
                  <a:pt x="2110867" y="790374"/>
                </a:lnTo>
                <a:lnTo>
                  <a:pt x="2110215" y="794163"/>
                </a:lnTo>
                <a:lnTo>
                  <a:pt x="2112277" y="799036"/>
                </a:lnTo>
                <a:lnTo>
                  <a:pt x="2108804" y="802067"/>
                </a:lnTo>
                <a:lnTo>
                  <a:pt x="2108479" y="807589"/>
                </a:lnTo>
                <a:lnTo>
                  <a:pt x="2112277" y="802717"/>
                </a:lnTo>
                <a:lnTo>
                  <a:pt x="2116075" y="803150"/>
                </a:lnTo>
                <a:lnTo>
                  <a:pt x="2116075" y="807914"/>
                </a:lnTo>
                <a:lnTo>
                  <a:pt x="2122586" y="812461"/>
                </a:lnTo>
                <a:lnTo>
                  <a:pt x="2125082" y="828268"/>
                </a:lnTo>
                <a:lnTo>
                  <a:pt x="2121609" y="839312"/>
                </a:lnTo>
                <a:lnTo>
                  <a:pt x="2121935" y="843751"/>
                </a:lnTo>
                <a:lnTo>
                  <a:pt x="2125299" y="836713"/>
                </a:lnTo>
                <a:lnTo>
                  <a:pt x="2130616" y="833682"/>
                </a:lnTo>
                <a:lnTo>
                  <a:pt x="2129205" y="838337"/>
                </a:lnTo>
                <a:lnTo>
                  <a:pt x="2124431" y="848298"/>
                </a:lnTo>
                <a:lnTo>
                  <a:pt x="2126818" y="851872"/>
                </a:lnTo>
                <a:lnTo>
                  <a:pt x="2132352" y="849814"/>
                </a:lnTo>
                <a:lnTo>
                  <a:pt x="2132135" y="853387"/>
                </a:lnTo>
                <a:lnTo>
                  <a:pt x="2125407" y="857935"/>
                </a:lnTo>
                <a:lnTo>
                  <a:pt x="2123346" y="860208"/>
                </a:lnTo>
                <a:lnTo>
                  <a:pt x="2121284" y="856527"/>
                </a:lnTo>
                <a:lnTo>
                  <a:pt x="2115750" y="860641"/>
                </a:lnTo>
                <a:lnTo>
                  <a:pt x="2112277" y="861291"/>
                </a:lnTo>
                <a:lnTo>
                  <a:pt x="2107394" y="866163"/>
                </a:lnTo>
                <a:lnTo>
                  <a:pt x="2102944" y="866163"/>
                </a:lnTo>
                <a:lnTo>
                  <a:pt x="2099472" y="866488"/>
                </a:lnTo>
                <a:lnTo>
                  <a:pt x="2093286" y="861291"/>
                </a:lnTo>
                <a:lnTo>
                  <a:pt x="2092961" y="856852"/>
                </a:lnTo>
                <a:lnTo>
                  <a:pt x="2089163" y="862698"/>
                </a:lnTo>
                <a:lnTo>
                  <a:pt x="2086016" y="859233"/>
                </a:lnTo>
                <a:lnTo>
                  <a:pt x="2083629" y="852304"/>
                </a:lnTo>
                <a:lnTo>
                  <a:pt x="2079179" y="851330"/>
                </a:lnTo>
                <a:lnTo>
                  <a:pt x="2073645" y="845159"/>
                </a:lnTo>
                <a:lnTo>
                  <a:pt x="2075381" y="840936"/>
                </a:lnTo>
                <a:lnTo>
                  <a:pt x="2073645" y="837905"/>
                </a:lnTo>
                <a:lnTo>
                  <a:pt x="2070824" y="842668"/>
                </a:lnTo>
                <a:lnTo>
                  <a:pt x="2065615" y="838554"/>
                </a:lnTo>
                <a:lnTo>
                  <a:pt x="2067351" y="832058"/>
                </a:lnTo>
                <a:lnTo>
                  <a:pt x="2062902" y="828268"/>
                </a:lnTo>
                <a:lnTo>
                  <a:pt x="2061491" y="831625"/>
                </a:lnTo>
                <a:lnTo>
                  <a:pt x="2062576" y="834440"/>
                </a:lnTo>
                <a:lnTo>
                  <a:pt x="2058453" y="836822"/>
                </a:lnTo>
                <a:lnTo>
                  <a:pt x="2053570" y="830650"/>
                </a:lnTo>
                <a:lnTo>
                  <a:pt x="2052593" y="825886"/>
                </a:lnTo>
                <a:lnTo>
                  <a:pt x="2063227" y="819282"/>
                </a:lnTo>
                <a:lnTo>
                  <a:pt x="2066374" y="819932"/>
                </a:lnTo>
                <a:lnTo>
                  <a:pt x="2069522" y="818633"/>
                </a:lnTo>
                <a:lnTo>
                  <a:pt x="2077118" y="819282"/>
                </a:lnTo>
                <a:lnTo>
                  <a:pt x="2079831" y="815168"/>
                </a:lnTo>
                <a:lnTo>
                  <a:pt x="2083629" y="815168"/>
                </a:lnTo>
                <a:lnTo>
                  <a:pt x="2086342" y="811054"/>
                </a:lnTo>
                <a:lnTo>
                  <a:pt x="2083954" y="806615"/>
                </a:lnTo>
                <a:lnTo>
                  <a:pt x="2087101" y="806181"/>
                </a:lnTo>
                <a:lnTo>
                  <a:pt x="2088078" y="800660"/>
                </a:lnTo>
                <a:lnTo>
                  <a:pt x="2090140" y="800984"/>
                </a:lnTo>
                <a:lnTo>
                  <a:pt x="2091876" y="807264"/>
                </a:lnTo>
                <a:lnTo>
                  <a:pt x="2095674" y="808672"/>
                </a:lnTo>
                <a:lnTo>
                  <a:pt x="2093938" y="801417"/>
                </a:lnTo>
                <a:lnTo>
                  <a:pt x="2097085" y="793081"/>
                </a:lnTo>
                <a:lnTo>
                  <a:pt x="2104029" y="787234"/>
                </a:lnTo>
                <a:close/>
                <a:moveTo>
                  <a:pt x="662713" y="784853"/>
                </a:moveTo>
                <a:lnTo>
                  <a:pt x="665426" y="788534"/>
                </a:lnTo>
                <a:lnTo>
                  <a:pt x="663905" y="791999"/>
                </a:lnTo>
                <a:lnTo>
                  <a:pt x="660976" y="792541"/>
                </a:lnTo>
                <a:lnTo>
                  <a:pt x="654900" y="786802"/>
                </a:lnTo>
                <a:lnTo>
                  <a:pt x="657069" y="785286"/>
                </a:lnTo>
                <a:close/>
                <a:moveTo>
                  <a:pt x="2601686" y="783878"/>
                </a:moveTo>
                <a:lnTo>
                  <a:pt x="2603314" y="787126"/>
                </a:lnTo>
                <a:lnTo>
                  <a:pt x="2604833" y="786693"/>
                </a:lnTo>
                <a:lnTo>
                  <a:pt x="2607438" y="788317"/>
                </a:lnTo>
                <a:lnTo>
                  <a:pt x="2603857" y="791023"/>
                </a:lnTo>
                <a:lnTo>
                  <a:pt x="2602012" y="795355"/>
                </a:lnTo>
                <a:lnTo>
                  <a:pt x="2600492" y="796221"/>
                </a:lnTo>
                <a:lnTo>
                  <a:pt x="2598756" y="792539"/>
                </a:lnTo>
                <a:lnTo>
                  <a:pt x="2599733" y="790374"/>
                </a:lnTo>
                <a:lnTo>
                  <a:pt x="2599407" y="785719"/>
                </a:lnTo>
                <a:close/>
                <a:moveTo>
                  <a:pt x="2938088" y="780631"/>
                </a:moveTo>
                <a:lnTo>
                  <a:pt x="2940150" y="781931"/>
                </a:lnTo>
                <a:lnTo>
                  <a:pt x="2937763" y="784313"/>
                </a:lnTo>
                <a:lnTo>
                  <a:pt x="2936461" y="783771"/>
                </a:lnTo>
                <a:lnTo>
                  <a:pt x="2936461" y="781714"/>
                </a:lnTo>
                <a:close/>
                <a:moveTo>
                  <a:pt x="2946335" y="779006"/>
                </a:moveTo>
                <a:lnTo>
                  <a:pt x="2946986" y="781279"/>
                </a:lnTo>
                <a:lnTo>
                  <a:pt x="2944381" y="781930"/>
                </a:lnTo>
                <a:lnTo>
                  <a:pt x="2944056" y="780197"/>
                </a:lnTo>
                <a:close/>
                <a:moveTo>
                  <a:pt x="2609933" y="776408"/>
                </a:moveTo>
                <a:lnTo>
                  <a:pt x="2611777" y="779548"/>
                </a:lnTo>
                <a:lnTo>
                  <a:pt x="2610584" y="783337"/>
                </a:lnTo>
                <a:lnTo>
                  <a:pt x="2608522" y="783987"/>
                </a:lnTo>
                <a:lnTo>
                  <a:pt x="2607437" y="781279"/>
                </a:lnTo>
                <a:lnTo>
                  <a:pt x="2607437" y="778032"/>
                </a:lnTo>
                <a:close/>
                <a:moveTo>
                  <a:pt x="2015587" y="776083"/>
                </a:moveTo>
                <a:lnTo>
                  <a:pt x="2016130" y="778140"/>
                </a:lnTo>
                <a:lnTo>
                  <a:pt x="2015262" y="780847"/>
                </a:lnTo>
                <a:lnTo>
                  <a:pt x="2013852" y="780197"/>
                </a:lnTo>
                <a:lnTo>
                  <a:pt x="2013960" y="777815"/>
                </a:lnTo>
                <a:close/>
                <a:moveTo>
                  <a:pt x="2603423" y="774459"/>
                </a:moveTo>
                <a:lnTo>
                  <a:pt x="2603531" y="779006"/>
                </a:lnTo>
                <a:lnTo>
                  <a:pt x="2601903" y="779873"/>
                </a:lnTo>
                <a:lnTo>
                  <a:pt x="2601578" y="776408"/>
                </a:lnTo>
                <a:close/>
                <a:moveTo>
                  <a:pt x="2951001" y="773918"/>
                </a:moveTo>
                <a:lnTo>
                  <a:pt x="2950784" y="775759"/>
                </a:lnTo>
                <a:lnTo>
                  <a:pt x="2948723" y="777167"/>
                </a:lnTo>
                <a:lnTo>
                  <a:pt x="2947529" y="777058"/>
                </a:lnTo>
                <a:close/>
                <a:moveTo>
                  <a:pt x="2937220" y="766988"/>
                </a:moveTo>
                <a:lnTo>
                  <a:pt x="2937437" y="768937"/>
                </a:lnTo>
                <a:lnTo>
                  <a:pt x="2936026" y="769045"/>
                </a:lnTo>
                <a:lnTo>
                  <a:pt x="2932336" y="770670"/>
                </a:lnTo>
                <a:lnTo>
                  <a:pt x="2930600" y="769262"/>
                </a:lnTo>
                <a:lnTo>
                  <a:pt x="2932445" y="767096"/>
                </a:lnTo>
                <a:close/>
                <a:moveTo>
                  <a:pt x="2947746" y="766230"/>
                </a:moveTo>
                <a:lnTo>
                  <a:pt x="2951544" y="766230"/>
                </a:lnTo>
                <a:lnTo>
                  <a:pt x="2951761" y="768720"/>
                </a:lnTo>
                <a:lnTo>
                  <a:pt x="2947420" y="772509"/>
                </a:lnTo>
                <a:lnTo>
                  <a:pt x="2939716" y="778572"/>
                </a:lnTo>
                <a:lnTo>
                  <a:pt x="2938631" y="779331"/>
                </a:lnTo>
                <a:lnTo>
                  <a:pt x="2937328" y="779222"/>
                </a:lnTo>
                <a:lnTo>
                  <a:pt x="2937437" y="777056"/>
                </a:lnTo>
                <a:lnTo>
                  <a:pt x="2937003" y="774350"/>
                </a:lnTo>
                <a:lnTo>
                  <a:pt x="2938848" y="773050"/>
                </a:lnTo>
                <a:lnTo>
                  <a:pt x="2940584" y="770128"/>
                </a:lnTo>
                <a:lnTo>
                  <a:pt x="2943623" y="769803"/>
                </a:lnTo>
                <a:close/>
                <a:moveTo>
                  <a:pt x="2948614" y="755078"/>
                </a:moveTo>
                <a:lnTo>
                  <a:pt x="2950893" y="756268"/>
                </a:lnTo>
                <a:lnTo>
                  <a:pt x="2949917" y="758651"/>
                </a:lnTo>
                <a:lnTo>
                  <a:pt x="2947638" y="758651"/>
                </a:lnTo>
                <a:cubicBezTo>
                  <a:pt x="2946913" y="758364"/>
                  <a:pt x="2946222" y="758001"/>
                  <a:pt x="2945576" y="757568"/>
                </a:cubicBezTo>
                <a:close/>
                <a:moveTo>
                  <a:pt x="2939173" y="753022"/>
                </a:moveTo>
                <a:lnTo>
                  <a:pt x="2942211" y="753347"/>
                </a:lnTo>
                <a:lnTo>
                  <a:pt x="2944381" y="753347"/>
                </a:lnTo>
                <a:lnTo>
                  <a:pt x="2943513" y="754863"/>
                </a:lnTo>
                <a:lnTo>
                  <a:pt x="2939933" y="754972"/>
                </a:lnTo>
                <a:close/>
                <a:moveTo>
                  <a:pt x="2942862" y="744251"/>
                </a:moveTo>
                <a:lnTo>
                  <a:pt x="2942536" y="745767"/>
                </a:lnTo>
                <a:lnTo>
                  <a:pt x="2940258" y="746741"/>
                </a:lnTo>
                <a:lnTo>
                  <a:pt x="2940909" y="744467"/>
                </a:lnTo>
                <a:close/>
                <a:moveTo>
                  <a:pt x="4901913" y="743061"/>
                </a:moveTo>
                <a:lnTo>
                  <a:pt x="4905712" y="743061"/>
                </a:lnTo>
                <a:lnTo>
                  <a:pt x="4910161" y="745985"/>
                </a:lnTo>
                <a:lnTo>
                  <a:pt x="4921664" y="747716"/>
                </a:lnTo>
                <a:lnTo>
                  <a:pt x="4930453" y="747716"/>
                </a:lnTo>
                <a:lnTo>
                  <a:pt x="4932407" y="749773"/>
                </a:lnTo>
                <a:lnTo>
                  <a:pt x="4931213" y="752481"/>
                </a:lnTo>
                <a:lnTo>
                  <a:pt x="4924811" y="754971"/>
                </a:lnTo>
                <a:lnTo>
                  <a:pt x="4923075" y="757028"/>
                </a:lnTo>
                <a:lnTo>
                  <a:pt x="4927415" y="755728"/>
                </a:lnTo>
                <a:lnTo>
                  <a:pt x="4931539" y="754971"/>
                </a:lnTo>
                <a:lnTo>
                  <a:pt x="4932516" y="759085"/>
                </a:lnTo>
                <a:lnTo>
                  <a:pt x="4931647" y="768179"/>
                </a:lnTo>
                <a:lnTo>
                  <a:pt x="4926330" y="771428"/>
                </a:lnTo>
                <a:lnTo>
                  <a:pt x="4919818" y="770887"/>
                </a:lnTo>
                <a:lnTo>
                  <a:pt x="4918733" y="772510"/>
                </a:lnTo>
                <a:lnTo>
                  <a:pt x="4921664" y="774676"/>
                </a:lnTo>
                <a:lnTo>
                  <a:pt x="4925353" y="772944"/>
                </a:lnTo>
                <a:lnTo>
                  <a:pt x="4929477" y="774026"/>
                </a:lnTo>
                <a:lnTo>
                  <a:pt x="4930019" y="776950"/>
                </a:lnTo>
                <a:lnTo>
                  <a:pt x="4927741" y="780956"/>
                </a:lnTo>
                <a:lnTo>
                  <a:pt x="4928826" y="783987"/>
                </a:lnTo>
                <a:lnTo>
                  <a:pt x="4930888" y="797088"/>
                </a:lnTo>
                <a:lnTo>
                  <a:pt x="4934360" y="803909"/>
                </a:lnTo>
                <a:lnTo>
                  <a:pt x="4934685" y="815711"/>
                </a:lnTo>
                <a:lnTo>
                  <a:pt x="4939135" y="823289"/>
                </a:lnTo>
                <a:lnTo>
                  <a:pt x="4942282" y="833576"/>
                </a:lnTo>
                <a:lnTo>
                  <a:pt x="4950529" y="843536"/>
                </a:lnTo>
                <a:lnTo>
                  <a:pt x="4956497" y="853930"/>
                </a:lnTo>
                <a:lnTo>
                  <a:pt x="4961598" y="853930"/>
                </a:lnTo>
                <a:lnTo>
                  <a:pt x="4964420" y="858694"/>
                </a:lnTo>
                <a:lnTo>
                  <a:pt x="4972341" y="864865"/>
                </a:lnTo>
                <a:lnTo>
                  <a:pt x="4977115" y="864865"/>
                </a:lnTo>
                <a:lnTo>
                  <a:pt x="4980588" y="871145"/>
                </a:lnTo>
                <a:lnTo>
                  <a:pt x="4984386" y="872120"/>
                </a:lnTo>
                <a:lnTo>
                  <a:pt x="4987099" y="870820"/>
                </a:lnTo>
                <a:lnTo>
                  <a:pt x="4992308" y="874610"/>
                </a:lnTo>
                <a:lnTo>
                  <a:pt x="4992525" y="877100"/>
                </a:lnTo>
                <a:lnTo>
                  <a:pt x="4991331" y="880023"/>
                </a:lnTo>
                <a:lnTo>
                  <a:pt x="4988184" y="884029"/>
                </a:lnTo>
                <a:lnTo>
                  <a:pt x="4985471" y="884029"/>
                </a:lnTo>
                <a:lnTo>
                  <a:pt x="4983193" y="882947"/>
                </a:lnTo>
                <a:lnTo>
                  <a:pt x="4982325" y="884571"/>
                </a:lnTo>
                <a:lnTo>
                  <a:pt x="4984712" y="886520"/>
                </a:lnTo>
                <a:lnTo>
                  <a:pt x="4987642" y="886736"/>
                </a:lnTo>
                <a:lnTo>
                  <a:pt x="4989595" y="890309"/>
                </a:lnTo>
                <a:lnTo>
                  <a:pt x="4988727" y="894098"/>
                </a:lnTo>
                <a:lnTo>
                  <a:pt x="4986556" y="895290"/>
                </a:lnTo>
                <a:lnTo>
                  <a:pt x="4983626" y="893341"/>
                </a:lnTo>
                <a:lnTo>
                  <a:pt x="4982108" y="888902"/>
                </a:lnTo>
                <a:lnTo>
                  <a:pt x="4980805" y="888793"/>
                </a:lnTo>
                <a:lnTo>
                  <a:pt x="4978960" y="886520"/>
                </a:lnTo>
                <a:lnTo>
                  <a:pt x="4974077" y="883921"/>
                </a:lnTo>
                <a:lnTo>
                  <a:pt x="4972124" y="884787"/>
                </a:lnTo>
                <a:lnTo>
                  <a:pt x="4972124" y="886845"/>
                </a:lnTo>
                <a:lnTo>
                  <a:pt x="4976139" y="890092"/>
                </a:lnTo>
                <a:lnTo>
                  <a:pt x="4976139" y="892908"/>
                </a:lnTo>
                <a:lnTo>
                  <a:pt x="4972775" y="893232"/>
                </a:lnTo>
                <a:lnTo>
                  <a:pt x="4967458" y="890634"/>
                </a:lnTo>
                <a:lnTo>
                  <a:pt x="4964636" y="886845"/>
                </a:lnTo>
                <a:lnTo>
                  <a:pt x="4962791" y="887602"/>
                </a:lnTo>
                <a:lnTo>
                  <a:pt x="4961707" y="891716"/>
                </a:lnTo>
                <a:lnTo>
                  <a:pt x="4959970" y="891933"/>
                </a:lnTo>
                <a:lnTo>
                  <a:pt x="4957800" y="887169"/>
                </a:lnTo>
                <a:lnTo>
                  <a:pt x="4955738" y="883704"/>
                </a:lnTo>
                <a:lnTo>
                  <a:pt x="4951072" y="880890"/>
                </a:lnTo>
                <a:lnTo>
                  <a:pt x="4947599" y="880023"/>
                </a:lnTo>
                <a:lnTo>
                  <a:pt x="4945537" y="881214"/>
                </a:lnTo>
                <a:lnTo>
                  <a:pt x="4947708" y="882622"/>
                </a:lnTo>
                <a:lnTo>
                  <a:pt x="4953893" y="885437"/>
                </a:lnTo>
                <a:lnTo>
                  <a:pt x="4954978" y="890309"/>
                </a:lnTo>
                <a:lnTo>
                  <a:pt x="4951722" y="894207"/>
                </a:lnTo>
                <a:lnTo>
                  <a:pt x="4948468" y="894423"/>
                </a:lnTo>
                <a:lnTo>
                  <a:pt x="4944778" y="891392"/>
                </a:lnTo>
                <a:lnTo>
                  <a:pt x="4942933" y="884896"/>
                </a:lnTo>
                <a:lnTo>
                  <a:pt x="4941305" y="881972"/>
                </a:lnTo>
                <a:lnTo>
                  <a:pt x="4938592" y="881106"/>
                </a:lnTo>
                <a:lnTo>
                  <a:pt x="4938918" y="885437"/>
                </a:lnTo>
                <a:lnTo>
                  <a:pt x="4932949" y="882947"/>
                </a:lnTo>
                <a:lnTo>
                  <a:pt x="4928066" y="884246"/>
                </a:lnTo>
                <a:lnTo>
                  <a:pt x="4923291" y="881972"/>
                </a:lnTo>
                <a:lnTo>
                  <a:pt x="4916237" y="881214"/>
                </a:lnTo>
                <a:lnTo>
                  <a:pt x="4913634" y="878724"/>
                </a:lnTo>
                <a:lnTo>
                  <a:pt x="4913416" y="875801"/>
                </a:lnTo>
                <a:lnTo>
                  <a:pt x="4916237" y="876667"/>
                </a:lnTo>
                <a:lnTo>
                  <a:pt x="4918950" y="876451"/>
                </a:lnTo>
                <a:lnTo>
                  <a:pt x="4918625" y="872986"/>
                </a:lnTo>
                <a:lnTo>
                  <a:pt x="4914284" y="869196"/>
                </a:lnTo>
                <a:lnTo>
                  <a:pt x="4915152" y="866490"/>
                </a:lnTo>
                <a:lnTo>
                  <a:pt x="4918408" y="864433"/>
                </a:lnTo>
                <a:lnTo>
                  <a:pt x="4919927" y="861509"/>
                </a:lnTo>
                <a:lnTo>
                  <a:pt x="4922532" y="861509"/>
                </a:lnTo>
                <a:lnTo>
                  <a:pt x="4923725" y="859560"/>
                </a:lnTo>
                <a:lnTo>
                  <a:pt x="4921555" y="858369"/>
                </a:lnTo>
                <a:lnTo>
                  <a:pt x="4918300" y="860643"/>
                </a:lnTo>
                <a:lnTo>
                  <a:pt x="4914502" y="860859"/>
                </a:lnTo>
                <a:lnTo>
                  <a:pt x="4908967" y="857503"/>
                </a:lnTo>
                <a:lnTo>
                  <a:pt x="4904301" y="850357"/>
                </a:lnTo>
                <a:lnTo>
                  <a:pt x="4904084" y="846027"/>
                </a:lnTo>
                <a:lnTo>
                  <a:pt x="4904843" y="843969"/>
                </a:lnTo>
                <a:lnTo>
                  <a:pt x="4903650" y="841588"/>
                </a:lnTo>
                <a:lnTo>
                  <a:pt x="4901045" y="846351"/>
                </a:lnTo>
                <a:lnTo>
                  <a:pt x="4901045" y="849599"/>
                </a:lnTo>
                <a:lnTo>
                  <a:pt x="4897899" y="851873"/>
                </a:lnTo>
                <a:lnTo>
                  <a:pt x="4894969" y="851007"/>
                </a:lnTo>
                <a:lnTo>
                  <a:pt x="4893233" y="844835"/>
                </a:lnTo>
                <a:lnTo>
                  <a:pt x="4891171" y="841588"/>
                </a:lnTo>
                <a:lnTo>
                  <a:pt x="4891387" y="838123"/>
                </a:lnTo>
                <a:lnTo>
                  <a:pt x="4893666" y="832601"/>
                </a:lnTo>
                <a:lnTo>
                  <a:pt x="4890736" y="836931"/>
                </a:lnTo>
                <a:lnTo>
                  <a:pt x="4889651" y="841588"/>
                </a:lnTo>
                <a:lnTo>
                  <a:pt x="4891171" y="847867"/>
                </a:lnTo>
                <a:lnTo>
                  <a:pt x="4887264" y="853930"/>
                </a:lnTo>
                <a:lnTo>
                  <a:pt x="4883466" y="855013"/>
                </a:lnTo>
                <a:lnTo>
                  <a:pt x="4881078" y="856312"/>
                </a:lnTo>
                <a:lnTo>
                  <a:pt x="4876737" y="854580"/>
                </a:lnTo>
                <a:lnTo>
                  <a:pt x="4870335" y="849599"/>
                </a:lnTo>
                <a:lnTo>
                  <a:pt x="4870226" y="846676"/>
                </a:lnTo>
                <a:lnTo>
                  <a:pt x="4863824" y="841370"/>
                </a:lnTo>
                <a:lnTo>
                  <a:pt x="4862630" y="837040"/>
                </a:lnTo>
                <a:lnTo>
                  <a:pt x="4863607" y="831735"/>
                </a:lnTo>
                <a:lnTo>
                  <a:pt x="4862197" y="825780"/>
                </a:lnTo>
                <a:lnTo>
                  <a:pt x="4862088" y="820907"/>
                </a:lnTo>
                <a:lnTo>
                  <a:pt x="4866211" y="815819"/>
                </a:lnTo>
                <a:lnTo>
                  <a:pt x="4869250" y="815386"/>
                </a:lnTo>
                <a:lnTo>
                  <a:pt x="4872722" y="817335"/>
                </a:lnTo>
                <a:lnTo>
                  <a:pt x="4877063" y="816144"/>
                </a:lnTo>
                <a:lnTo>
                  <a:pt x="4879450" y="817335"/>
                </a:lnTo>
                <a:lnTo>
                  <a:pt x="4881512" y="815602"/>
                </a:lnTo>
                <a:lnTo>
                  <a:pt x="4879017" y="810838"/>
                </a:lnTo>
                <a:lnTo>
                  <a:pt x="4878799" y="807482"/>
                </a:lnTo>
                <a:lnTo>
                  <a:pt x="4881947" y="804558"/>
                </a:lnTo>
                <a:lnTo>
                  <a:pt x="4885202" y="804450"/>
                </a:lnTo>
                <a:lnTo>
                  <a:pt x="4887915" y="802935"/>
                </a:lnTo>
                <a:lnTo>
                  <a:pt x="4883140" y="802935"/>
                </a:lnTo>
                <a:lnTo>
                  <a:pt x="4879667" y="799145"/>
                </a:lnTo>
                <a:lnTo>
                  <a:pt x="4880535" y="795681"/>
                </a:lnTo>
                <a:lnTo>
                  <a:pt x="4884334" y="792216"/>
                </a:lnTo>
                <a:lnTo>
                  <a:pt x="4883248" y="790159"/>
                </a:lnTo>
                <a:lnTo>
                  <a:pt x="4880210" y="791025"/>
                </a:lnTo>
                <a:lnTo>
                  <a:pt x="4877063" y="794815"/>
                </a:lnTo>
                <a:lnTo>
                  <a:pt x="4874459" y="794815"/>
                </a:lnTo>
                <a:lnTo>
                  <a:pt x="4875327" y="790809"/>
                </a:lnTo>
                <a:lnTo>
                  <a:pt x="4879667" y="787019"/>
                </a:lnTo>
                <a:lnTo>
                  <a:pt x="4878582" y="784962"/>
                </a:lnTo>
                <a:lnTo>
                  <a:pt x="4872614" y="788318"/>
                </a:lnTo>
                <a:lnTo>
                  <a:pt x="4868816" y="789509"/>
                </a:lnTo>
                <a:lnTo>
                  <a:pt x="4866537" y="786911"/>
                </a:lnTo>
                <a:lnTo>
                  <a:pt x="4866863" y="781605"/>
                </a:lnTo>
                <a:lnTo>
                  <a:pt x="4870877" y="774676"/>
                </a:lnTo>
                <a:lnTo>
                  <a:pt x="4875869" y="773160"/>
                </a:lnTo>
                <a:lnTo>
                  <a:pt x="4880210" y="773269"/>
                </a:lnTo>
                <a:lnTo>
                  <a:pt x="4881187" y="770778"/>
                </a:lnTo>
                <a:lnTo>
                  <a:pt x="4879450" y="769046"/>
                </a:lnTo>
                <a:lnTo>
                  <a:pt x="4875327" y="768505"/>
                </a:lnTo>
                <a:lnTo>
                  <a:pt x="4874133" y="763849"/>
                </a:lnTo>
                <a:lnTo>
                  <a:pt x="4875652" y="760817"/>
                </a:lnTo>
                <a:lnTo>
                  <a:pt x="4876195" y="755404"/>
                </a:lnTo>
                <a:lnTo>
                  <a:pt x="4882380" y="750965"/>
                </a:lnTo>
                <a:lnTo>
                  <a:pt x="4885310" y="748583"/>
                </a:lnTo>
                <a:lnTo>
                  <a:pt x="4893449" y="748583"/>
                </a:lnTo>
                <a:close/>
                <a:moveTo>
                  <a:pt x="2942863" y="738947"/>
                </a:moveTo>
                <a:lnTo>
                  <a:pt x="2944925" y="740030"/>
                </a:lnTo>
                <a:lnTo>
                  <a:pt x="2943622" y="741437"/>
                </a:lnTo>
                <a:lnTo>
                  <a:pt x="2942212" y="740571"/>
                </a:lnTo>
                <a:close/>
                <a:moveTo>
                  <a:pt x="2949700" y="738838"/>
                </a:moveTo>
                <a:lnTo>
                  <a:pt x="2950893" y="739054"/>
                </a:lnTo>
                <a:lnTo>
                  <a:pt x="2951327" y="740246"/>
                </a:lnTo>
                <a:lnTo>
                  <a:pt x="2950459" y="740246"/>
                </a:lnTo>
                <a:close/>
                <a:moveTo>
                  <a:pt x="2936677" y="738405"/>
                </a:moveTo>
                <a:lnTo>
                  <a:pt x="2937546" y="740245"/>
                </a:lnTo>
                <a:lnTo>
                  <a:pt x="2935918" y="741870"/>
                </a:lnTo>
                <a:lnTo>
                  <a:pt x="2935375" y="740570"/>
                </a:lnTo>
                <a:close/>
                <a:moveTo>
                  <a:pt x="4253961" y="738296"/>
                </a:moveTo>
                <a:lnTo>
                  <a:pt x="4258302" y="738621"/>
                </a:lnTo>
                <a:lnTo>
                  <a:pt x="4261557" y="742085"/>
                </a:lnTo>
                <a:lnTo>
                  <a:pt x="4261015" y="748473"/>
                </a:lnTo>
                <a:lnTo>
                  <a:pt x="4259170" y="751396"/>
                </a:lnTo>
                <a:lnTo>
                  <a:pt x="4257433" y="750314"/>
                </a:lnTo>
                <a:lnTo>
                  <a:pt x="4256891" y="747282"/>
                </a:lnTo>
                <a:lnTo>
                  <a:pt x="4253852" y="744900"/>
                </a:lnTo>
                <a:lnTo>
                  <a:pt x="4252659" y="741219"/>
                </a:lnTo>
                <a:close/>
                <a:moveTo>
                  <a:pt x="3572041" y="734507"/>
                </a:moveTo>
                <a:lnTo>
                  <a:pt x="3581590" y="740137"/>
                </a:lnTo>
                <a:lnTo>
                  <a:pt x="3581807" y="746200"/>
                </a:lnTo>
                <a:lnTo>
                  <a:pt x="3580071" y="749123"/>
                </a:lnTo>
                <a:lnTo>
                  <a:pt x="3579203" y="753562"/>
                </a:lnTo>
                <a:lnTo>
                  <a:pt x="3575297" y="755945"/>
                </a:lnTo>
                <a:lnTo>
                  <a:pt x="3569979" y="755294"/>
                </a:lnTo>
                <a:lnTo>
                  <a:pt x="3566615" y="755294"/>
                </a:lnTo>
                <a:lnTo>
                  <a:pt x="3562166" y="750964"/>
                </a:lnTo>
                <a:lnTo>
                  <a:pt x="3558693" y="749773"/>
                </a:lnTo>
                <a:lnTo>
                  <a:pt x="3555439" y="747499"/>
                </a:lnTo>
                <a:lnTo>
                  <a:pt x="3555330" y="743602"/>
                </a:lnTo>
                <a:lnTo>
                  <a:pt x="3559020" y="736889"/>
                </a:lnTo>
                <a:lnTo>
                  <a:pt x="3565639" y="735698"/>
                </a:lnTo>
                <a:close/>
                <a:moveTo>
                  <a:pt x="2074404" y="729635"/>
                </a:moveTo>
                <a:lnTo>
                  <a:pt x="2076032" y="731584"/>
                </a:lnTo>
                <a:lnTo>
                  <a:pt x="2075706" y="733857"/>
                </a:lnTo>
                <a:lnTo>
                  <a:pt x="2077985" y="736456"/>
                </a:lnTo>
                <a:lnTo>
                  <a:pt x="2075598" y="739163"/>
                </a:lnTo>
                <a:lnTo>
                  <a:pt x="2075164" y="743926"/>
                </a:lnTo>
                <a:lnTo>
                  <a:pt x="2072993" y="744143"/>
                </a:lnTo>
                <a:lnTo>
                  <a:pt x="2072017" y="738188"/>
                </a:lnTo>
                <a:lnTo>
                  <a:pt x="2070498" y="736456"/>
                </a:lnTo>
                <a:lnTo>
                  <a:pt x="2071583" y="730718"/>
                </a:lnTo>
                <a:close/>
                <a:moveTo>
                  <a:pt x="3609697" y="726928"/>
                </a:moveTo>
                <a:lnTo>
                  <a:pt x="3609914" y="729526"/>
                </a:lnTo>
                <a:lnTo>
                  <a:pt x="3606550" y="733207"/>
                </a:lnTo>
                <a:lnTo>
                  <a:pt x="3604055" y="732882"/>
                </a:lnTo>
                <a:lnTo>
                  <a:pt x="3604272" y="729309"/>
                </a:lnTo>
                <a:lnTo>
                  <a:pt x="3607202" y="727144"/>
                </a:lnTo>
                <a:close/>
                <a:moveTo>
                  <a:pt x="2943946" y="726712"/>
                </a:moveTo>
                <a:lnTo>
                  <a:pt x="2945031" y="729635"/>
                </a:lnTo>
                <a:lnTo>
                  <a:pt x="2946550" y="732559"/>
                </a:lnTo>
                <a:lnTo>
                  <a:pt x="2945357" y="734075"/>
                </a:lnTo>
                <a:lnTo>
                  <a:pt x="2943404" y="733749"/>
                </a:lnTo>
                <a:lnTo>
                  <a:pt x="2943296" y="728661"/>
                </a:lnTo>
                <a:close/>
                <a:moveTo>
                  <a:pt x="482573" y="722164"/>
                </a:moveTo>
                <a:lnTo>
                  <a:pt x="485396" y="722164"/>
                </a:lnTo>
                <a:lnTo>
                  <a:pt x="485396" y="731150"/>
                </a:lnTo>
                <a:lnTo>
                  <a:pt x="483227" y="734182"/>
                </a:lnTo>
                <a:lnTo>
                  <a:pt x="489303" y="736456"/>
                </a:lnTo>
                <a:lnTo>
                  <a:pt x="489522" y="739596"/>
                </a:lnTo>
                <a:lnTo>
                  <a:pt x="494947" y="740245"/>
                </a:lnTo>
                <a:lnTo>
                  <a:pt x="497441" y="737972"/>
                </a:lnTo>
                <a:lnTo>
                  <a:pt x="506340" y="738837"/>
                </a:lnTo>
                <a:lnTo>
                  <a:pt x="511006" y="743385"/>
                </a:lnTo>
                <a:lnTo>
                  <a:pt x="510463" y="746308"/>
                </a:lnTo>
                <a:lnTo>
                  <a:pt x="507750" y="748798"/>
                </a:lnTo>
                <a:lnTo>
                  <a:pt x="510463" y="754862"/>
                </a:lnTo>
                <a:lnTo>
                  <a:pt x="515130" y="758110"/>
                </a:lnTo>
                <a:lnTo>
                  <a:pt x="515021" y="762982"/>
                </a:lnTo>
                <a:lnTo>
                  <a:pt x="523810" y="771319"/>
                </a:lnTo>
                <a:lnTo>
                  <a:pt x="525115" y="775867"/>
                </a:lnTo>
                <a:lnTo>
                  <a:pt x="521206" y="778573"/>
                </a:lnTo>
                <a:lnTo>
                  <a:pt x="515021" y="774675"/>
                </a:lnTo>
                <a:lnTo>
                  <a:pt x="512417" y="775650"/>
                </a:lnTo>
                <a:lnTo>
                  <a:pt x="510463" y="778032"/>
                </a:lnTo>
                <a:lnTo>
                  <a:pt x="505689" y="778249"/>
                </a:lnTo>
                <a:lnTo>
                  <a:pt x="498962" y="783770"/>
                </a:lnTo>
                <a:lnTo>
                  <a:pt x="494947" y="781821"/>
                </a:lnTo>
                <a:lnTo>
                  <a:pt x="499286" y="775650"/>
                </a:lnTo>
                <a:lnTo>
                  <a:pt x="497875" y="770020"/>
                </a:lnTo>
                <a:lnTo>
                  <a:pt x="492558" y="767205"/>
                </a:lnTo>
                <a:lnTo>
                  <a:pt x="493753" y="761250"/>
                </a:lnTo>
                <a:lnTo>
                  <a:pt x="492015" y="753346"/>
                </a:lnTo>
                <a:lnTo>
                  <a:pt x="486914" y="749231"/>
                </a:lnTo>
                <a:lnTo>
                  <a:pt x="478993" y="749015"/>
                </a:lnTo>
                <a:lnTo>
                  <a:pt x="477258" y="753021"/>
                </a:lnTo>
                <a:lnTo>
                  <a:pt x="472373" y="753129"/>
                </a:lnTo>
                <a:lnTo>
                  <a:pt x="467599" y="747500"/>
                </a:lnTo>
                <a:lnTo>
                  <a:pt x="467599" y="741436"/>
                </a:lnTo>
                <a:lnTo>
                  <a:pt x="478669" y="731475"/>
                </a:lnTo>
                <a:close/>
                <a:moveTo>
                  <a:pt x="5329904" y="717834"/>
                </a:moveTo>
                <a:lnTo>
                  <a:pt x="5334787" y="718483"/>
                </a:lnTo>
                <a:lnTo>
                  <a:pt x="5337066" y="719783"/>
                </a:lnTo>
                <a:lnTo>
                  <a:pt x="5337500" y="723464"/>
                </a:lnTo>
                <a:lnTo>
                  <a:pt x="5333376" y="728877"/>
                </a:lnTo>
                <a:lnTo>
                  <a:pt x="5329578" y="730610"/>
                </a:lnTo>
                <a:lnTo>
                  <a:pt x="5326323" y="735915"/>
                </a:lnTo>
                <a:lnTo>
                  <a:pt x="5323284" y="737431"/>
                </a:lnTo>
                <a:lnTo>
                  <a:pt x="5318509" y="741546"/>
                </a:lnTo>
                <a:lnTo>
                  <a:pt x="5315905" y="741979"/>
                </a:lnTo>
                <a:lnTo>
                  <a:pt x="5313626" y="738947"/>
                </a:lnTo>
                <a:lnTo>
                  <a:pt x="5314386" y="734508"/>
                </a:lnTo>
                <a:lnTo>
                  <a:pt x="5317099" y="732559"/>
                </a:lnTo>
                <a:lnTo>
                  <a:pt x="5320245" y="728228"/>
                </a:lnTo>
                <a:lnTo>
                  <a:pt x="5319703" y="723681"/>
                </a:lnTo>
                <a:lnTo>
                  <a:pt x="5322958" y="719783"/>
                </a:lnTo>
                <a:close/>
                <a:moveTo>
                  <a:pt x="2938088" y="713286"/>
                </a:moveTo>
                <a:lnTo>
                  <a:pt x="2939824" y="714261"/>
                </a:lnTo>
                <a:lnTo>
                  <a:pt x="2944707" y="715126"/>
                </a:lnTo>
                <a:lnTo>
                  <a:pt x="2941669" y="717508"/>
                </a:lnTo>
                <a:lnTo>
                  <a:pt x="2938088" y="716750"/>
                </a:lnTo>
                <a:lnTo>
                  <a:pt x="2937003" y="714693"/>
                </a:lnTo>
                <a:close/>
                <a:moveTo>
                  <a:pt x="2511834" y="712529"/>
                </a:moveTo>
                <a:lnTo>
                  <a:pt x="2515089" y="715235"/>
                </a:lnTo>
                <a:lnTo>
                  <a:pt x="2513570" y="716643"/>
                </a:lnTo>
                <a:lnTo>
                  <a:pt x="2510314" y="715777"/>
                </a:lnTo>
                <a:lnTo>
                  <a:pt x="2509772" y="712962"/>
                </a:lnTo>
                <a:close/>
                <a:moveTo>
                  <a:pt x="2501308" y="711988"/>
                </a:moveTo>
                <a:lnTo>
                  <a:pt x="2503045" y="712204"/>
                </a:lnTo>
                <a:lnTo>
                  <a:pt x="2503587" y="715452"/>
                </a:lnTo>
                <a:lnTo>
                  <a:pt x="2501091" y="716643"/>
                </a:lnTo>
                <a:lnTo>
                  <a:pt x="2499355" y="713720"/>
                </a:lnTo>
                <a:close/>
                <a:moveTo>
                  <a:pt x="2163604" y="710363"/>
                </a:moveTo>
                <a:lnTo>
                  <a:pt x="2163604" y="714910"/>
                </a:lnTo>
                <a:lnTo>
                  <a:pt x="2161868" y="715669"/>
                </a:lnTo>
                <a:lnTo>
                  <a:pt x="2160349" y="714044"/>
                </a:lnTo>
                <a:lnTo>
                  <a:pt x="2161542" y="711121"/>
                </a:lnTo>
                <a:close/>
                <a:moveTo>
                  <a:pt x="3584196" y="706141"/>
                </a:moveTo>
                <a:lnTo>
                  <a:pt x="3587342" y="706682"/>
                </a:lnTo>
                <a:lnTo>
                  <a:pt x="3591792" y="709822"/>
                </a:lnTo>
                <a:lnTo>
                  <a:pt x="3592443" y="714045"/>
                </a:lnTo>
                <a:lnTo>
                  <a:pt x="3590381" y="716535"/>
                </a:lnTo>
                <a:lnTo>
                  <a:pt x="3590055" y="720432"/>
                </a:lnTo>
                <a:lnTo>
                  <a:pt x="3587886" y="722057"/>
                </a:lnTo>
                <a:lnTo>
                  <a:pt x="3583979" y="719133"/>
                </a:lnTo>
                <a:lnTo>
                  <a:pt x="3582351" y="715344"/>
                </a:lnTo>
                <a:lnTo>
                  <a:pt x="3582460" y="709172"/>
                </a:lnTo>
                <a:close/>
                <a:moveTo>
                  <a:pt x="2495230" y="705166"/>
                </a:moveTo>
                <a:lnTo>
                  <a:pt x="2496750" y="707223"/>
                </a:lnTo>
                <a:lnTo>
                  <a:pt x="2496750" y="710146"/>
                </a:lnTo>
                <a:lnTo>
                  <a:pt x="2493929" y="712421"/>
                </a:lnTo>
                <a:lnTo>
                  <a:pt x="2493495" y="707656"/>
                </a:lnTo>
                <a:close/>
                <a:moveTo>
                  <a:pt x="5254158" y="701593"/>
                </a:moveTo>
                <a:lnTo>
                  <a:pt x="5258390" y="702784"/>
                </a:lnTo>
                <a:lnTo>
                  <a:pt x="5259909" y="706032"/>
                </a:lnTo>
                <a:lnTo>
                  <a:pt x="5257522" y="708089"/>
                </a:lnTo>
                <a:lnTo>
                  <a:pt x="5257413" y="711338"/>
                </a:lnTo>
                <a:lnTo>
                  <a:pt x="5259909" y="713936"/>
                </a:lnTo>
                <a:lnTo>
                  <a:pt x="5260886" y="718592"/>
                </a:lnTo>
                <a:lnTo>
                  <a:pt x="5257413" y="718375"/>
                </a:lnTo>
                <a:lnTo>
                  <a:pt x="5254809" y="715344"/>
                </a:lnTo>
                <a:lnTo>
                  <a:pt x="5250903" y="714910"/>
                </a:lnTo>
                <a:lnTo>
                  <a:pt x="5249058" y="711554"/>
                </a:lnTo>
                <a:lnTo>
                  <a:pt x="5250468" y="703434"/>
                </a:lnTo>
                <a:close/>
                <a:moveTo>
                  <a:pt x="2945250" y="701376"/>
                </a:moveTo>
                <a:lnTo>
                  <a:pt x="2949590" y="704191"/>
                </a:lnTo>
                <a:lnTo>
                  <a:pt x="2951001" y="707007"/>
                </a:lnTo>
                <a:lnTo>
                  <a:pt x="2948289" y="708523"/>
                </a:lnTo>
                <a:lnTo>
                  <a:pt x="2946444" y="705815"/>
                </a:lnTo>
                <a:lnTo>
                  <a:pt x="2942971" y="705815"/>
                </a:lnTo>
                <a:lnTo>
                  <a:pt x="2941669" y="703433"/>
                </a:lnTo>
                <a:lnTo>
                  <a:pt x="2942646" y="701917"/>
                </a:lnTo>
                <a:close/>
                <a:moveTo>
                  <a:pt x="5181994" y="688600"/>
                </a:moveTo>
                <a:lnTo>
                  <a:pt x="5184707" y="690332"/>
                </a:lnTo>
                <a:lnTo>
                  <a:pt x="5188831" y="695421"/>
                </a:lnTo>
                <a:lnTo>
                  <a:pt x="5189699" y="699210"/>
                </a:lnTo>
                <a:lnTo>
                  <a:pt x="5196101" y="702459"/>
                </a:lnTo>
                <a:lnTo>
                  <a:pt x="5198489" y="707439"/>
                </a:lnTo>
                <a:lnTo>
                  <a:pt x="5197837" y="709930"/>
                </a:lnTo>
                <a:lnTo>
                  <a:pt x="5193063" y="711553"/>
                </a:lnTo>
                <a:lnTo>
                  <a:pt x="5188614" y="715451"/>
                </a:lnTo>
                <a:lnTo>
                  <a:pt x="5186878" y="719349"/>
                </a:lnTo>
                <a:lnTo>
                  <a:pt x="5183297" y="720216"/>
                </a:lnTo>
                <a:lnTo>
                  <a:pt x="5181452" y="719241"/>
                </a:lnTo>
                <a:lnTo>
                  <a:pt x="5178847" y="720432"/>
                </a:lnTo>
                <a:lnTo>
                  <a:pt x="5176894" y="715992"/>
                </a:lnTo>
                <a:lnTo>
                  <a:pt x="5174072" y="716210"/>
                </a:lnTo>
                <a:lnTo>
                  <a:pt x="5173747" y="719024"/>
                </a:lnTo>
                <a:lnTo>
                  <a:pt x="5174941" y="721731"/>
                </a:lnTo>
                <a:lnTo>
                  <a:pt x="5173096" y="721406"/>
                </a:lnTo>
                <a:lnTo>
                  <a:pt x="5168972" y="717833"/>
                </a:lnTo>
                <a:lnTo>
                  <a:pt x="5169623" y="711229"/>
                </a:lnTo>
                <a:lnTo>
                  <a:pt x="5168972" y="706790"/>
                </a:lnTo>
                <a:lnTo>
                  <a:pt x="5165825" y="702242"/>
                </a:lnTo>
                <a:lnTo>
                  <a:pt x="5165500" y="698669"/>
                </a:lnTo>
                <a:lnTo>
                  <a:pt x="5170275" y="694555"/>
                </a:lnTo>
                <a:lnTo>
                  <a:pt x="5174181" y="694230"/>
                </a:lnTo>
                <a:lnTo>
                  <a:pt x="5178413" y="690224"/>
                </a:lnTo>
                <a:close/>
                <a:moveTo>
                  <a:pt x="5276406" y="688275"/>
                </a:moveTo>
                <a:lnTo>
                  <a:pt x="5280855" y="690224"/>
                </a:lnTo>
                <a:lnTo>
                  <a:pt x="5287691" y="691198"/>
                </a:lnTo>
                <a:lnTo>
                  <a:pt x="5287908" y="693905"/>
                </a:lnTo>
                <a:lnTo>
                  <a:pt x="5284653" y="694663"/>
                </a:lnTo>
                <a:lnTo>
                  <a:pt x="5278467" y="693797"/>
                </a:lnTo>
                <a:lnTo>
                  <a:pt x="5273584" y="689574"/>
                </a:lnTo>
                <a:close/>
                <a:moveTo>
                  <a:pt x="3626625" y="683187"/>
                </a:moveTo>
                <a:lnTo>
                  <a:pt x="3629664" y="684811"/>
                </a:lnTo>
                <a:lnTo>
                  <a:pt x="3629338" y="688601"/>
                </a:lnTo>
                <a:lnTo>
                  <a:pt x="3627167" y="688601"/>
                </a:lnTo>
                <a:lnTo>
                  <a:pt x="3624889" y="690658"/>
                </a:lnTo>
                <a:lnTo>
                  <a:pt x="3628035" y="694447"/>
                </a:lnTo>
                <a:lnTo>
                  <a:pt x="3627602" y="697478"/>
                </a:lnTo>
                <a:lnTo>
                  <a:pt x="3630532" y="702134"/>
                </a:lnTo>
                <a:lnTo>
                  <a:pt x="3633461" y="703866"/>
                </a:lnTo>
                <a:lnTo>
                  <a:pt x="3633461" y="700943"/>
                </a:lnTo>
                <a:lnTo>
                  <a:pt x="3634655" y="697911"/>
                </a:lnTo>
                <a:lnTo>
                  <a:pt x="3637585" y="699752"/>
                </a:lnTo>
                <a:lnTo>
                  <a:pt x="3637585" y="706573"/>
                </a:lnTo>
                <a:lnTo>
                  <a:pt x="3635523" y="707980"/>
                </a:lnTo>
                <a:lnTo>
                  <a:pt x="3633353" y="712745"/>
                </a:lnTo>
                <a:lnTo>
                  <a:pt x="3630098" y="711229"/>
                </a:lnTo>
                <a:lnTo>
                  <a:pt x="3629230" y="707980"/>
                </a:lnTo>
                <a:lnTo>
                  <a:pt x="3627276" y="709496"/>
                </a:lnTo>
                <a:lnTo>
                  <a:pt x="3622284" y="709496"/>
                </a:lnTo>
                <a:lnTo>
                  <a:pt x="3617293" y="710579"/>
                </a:lnTo>
                <a:lnTo>
                  <a:pt x="3613169" y="707114"/>
                </a:lnTo>
                <a:lnTo>
                  <a:pt x="3611650" y="703000"/>
                </a:lnTo>
                <a:lnTo>
                  <a:pt x="3613386" y="697911"/>
                </a:lnTo>
                <a:lnTo>
                  <a:pt x="3613386" y="687842"/>
                </a:lnTo>
                <a:lnTo>
                  <a:pt x="3617076" y="687301"/>
                </a:lnTo>
                <a:lnTo>
                  <a:pt x="3618812" y="686219"/>
                </a:lnTo>
                <a:lnTo>
                  <a:pt x="3622501" y="686976"/>
                </a:lnTo>
                <a:close/>
                <a:moveTo>
                  <a:pt x="591198" y="681130"/>
                </a:moveTo>
                <a:lnTo>
                  <a:pt x="594672" y="681779"/>
                </a:lnTo>
                <a:lnTo>
                  <a:pt x="591308" y="685352"/>
                </a:lnTo>
                <a:lnTo>
                  <a:pt x="587726" y="681887"/>
                </a:lnTo>
                <a:close/>
                <a:moveTo>
                  <a:pt x="5336957" y="680155"/>
                </a:moveTo>
                <a:lnTo>
                  <a:pt x="5339344" y="685352"/>
                </a:lnTo>
                <a:lnTo>
                  <a:pt x="5344879" y="690116"/>
                </a:lnTo>
                <a:lnTo>
                  <a:pt x="5345856" y="696612"/>
                </a:lnTo>
                <a:lnTo>
                  <a:pt x="5349654" y="703542"/>
                </a:lnTo>
                <a:lnTo>
                  <a:pt x="5349545" y="706573"/>
                </a:lnTo>
                <a:lnTo>
                  <a:pt x="5345530" y="707981"/>
                </a:lnTo>
                <a:lnTo>
                  <a:pt x="5341623" y="706248"/>
                </a:lnTo>
                <a:lnTo>
                  <a:pt x="5336740" y="705707"/>
                </a:lnTo>
                <a:lnTo>
                  <a:pt x="5334895" y="703324"/>
                </a:lnTo>
                <a:lnTo>
                  <a:pt x="5329361" y="702459"/>
                </a:lnTo>
                <a:lnTo>
                  <a:pt x="5328710" y="698994"/>
                </a:lnTo>
                <a:lnTo>
                  <a:pt x="5331640" y="693255"/>
                </a:lnTo>
                <a:lnTo>
                  <a:pt x="5332833" y="685677"/>
                </a:lnTo>
                <a:close/>
                <a:moveTo>
                  <a:pt x="2942753" y="672252"/>
                </a:moveTo>
                <a:lnTo>
                  <a:pt x="2943296" y="674202"/>
                </a:lnTo>
                <a:lnTo>
                  <a:pt x="2941668" y="674202"/>
                </a:lnTo>
                <a:lnTo>
                  <a:pt x="2940475" y="672685"/>
                </a:lnTo>
                <a:close/>
                <a:moveTo>
                  <a:pt x="5265335" y="669762"/>
                </a:moveTo>
                <a:lnTo>
                  <a:pt x="5266637" y="671061"/>
                </a:lnTo>
                <a:lnTo>
                  <a:pt x="5264033" y="672576"/>
                </a:lnTo>
                <a:lnTo>
                  <a:pt x="5263273" y="675067"/>
                </a:lnTo>
                <a:lnTo>
                  <a:pt x="5264250" y="677665"/>
                </a:lnTo>
                <a:lnTo>
                  <a:pt x="5260018" y="680805"/>
                </a:lnTo>
                <a:lnTo>
                  <a:pt x="5257197" y="679398"/>
                </a:lnTo>
                <a:lnTo>
                  <a:pt x="5252856" y="683945"/>
                </a:lnTo>
                <a:lnTo>
                  <a:pt x="5252639" y="680372"/>
                </a:lnTo>
                <a:lnTo>
                  <a:pt x="5255243" y="674959"/>
                </a:lnTo>
                <a:lnTo>
                  <a:pt x="5261755" y="670087"/>
                </a:lnTo>
                <a:close/>
                <a:moveTo>
                  <a:pt x="2938305" y="661641"/>
                </a:moveTo>
                <a:lnTo>
                  <a:pt x="2942754" y="664456"/>
                </a:lnTo>
                <a:lnTo>
                  <a:pt x="2944816" y="663049"/>
                </a:lnTo>
                <a:lnTo>
                  <a:pt x="2950676" y="664239"/>
                </a:lnTo>
                <a:lnTo>
                  <a:pt x="2954040" y="667704"/>
                </a:lnTo>
                <a:lnTo>
                  <a:pt x="2952737" y="670953"/>
                </a:lnTo>
                <a:lnTo>
                  <a:pt x="2951436" y="669112"/>
                </a:lnTo>
                <a:lnTo>
                  <a:pt x="2948180" y="667379"/>
                </a:lnTo>
                <a:lnTo>
                  <a:pt x="2940150" y="667812"/>
                </a:lnTo>
                <a:lnTo>
                  <a:pt x="2937762" y="666513"/>
                </a:lnTo>
                <a:lnTo>
                  <a:pt x="2934290" y="665863"/>
                </a:lnTo>
                <a:lnTo>
                  <a:pt x="2933422" y="663698"/>
                </a:lnTo>
                <a:lnTo>
                  <a:pt x="2935484" y="661857"/>
                </a:lnTo>
                <a:close/>
                <a:moveTo>
                  <a:pt x="1362752" y="653737"/>
                </a:moveTo>
                <a:lnTo>
                  <a:pt x="1369045" y="659800"/>
                </a:lnTo>
                <a:lnTo>
                  <a:pt x="1374146" y="659800"/>
                </a:lnTo>
                <a:lnTo>
                  <a:pt x="1374146" y="667163"/>
                </a:lnTo>
                <a:lnTo>
                  <a:pt x="1376967" y="675066"/>
                </a:lnTo>
                <a:lnTo>
                  <a:pt x="1374363" y="679181"/>
                </a:lnTo>
                <a:lnTo>
                  <a:pt x="1367635" y="670844"/>
                </a:lnTo>
                <a:lnTo>
                  <a:pt x="1362643" y="666838"/>
                </a:lnTo>
                <a:lnTo>
                  <a:pt x="1362643" y="664131"/>
                </a:lnTo>
                <a:lnTo>
                  <a:pt x="1368828" y="664997"/>
                </a:lnTo>
                <a:lnTo>
                  <a:pt x="1360039" y="657527"/>
                </a:lnTo>
                <a:lnTo>
                  <a:pt x="1360039" y="654278"/>
                </a:lnTo>
                <a:close/>
                <a:moveTo>
                  <a:pt x="2935375" y="644534"/>
                </a:moveTo>
                <a:lnTo>
                  <a:pt x="2937111" y="646266"/>
                </a:lnTo>
                <a:lnTo>
                  <a:pt x="2934832" y="649189"/>
                </a:lnTo>
                <a:lnTo>
                  <a:pt x="2933096" y="648215"/>
                </a:lnTo>
                <a:lnTo>
                  <a:pt x="2933964" y="645075"/>
                </a:lnTo>
                <a:close/>
                <a:moveTo>
                  <a:pt x="1608650" y="643235"/>
                </a:moveTo>
                <a:lnTo>
                  <a:pt x="1613967" y="643884"/>
                </a:lnTo>
                <a:lnTo>
                  <a:pt x="1611689" y="645076"/>
                </a:lnTo>
                <a:lnTo>
                  <a:pt x="1611797" y="647241"/>
                </a:lnTo>
                <a:lnTo>
                  <a:pt x="1609627" y="648325"/>
                </a:lnTo>
                <a:lnTo>
                  <a:pt x="1606697" y="645833"/>
                </a:lnTo>
                <a:close/>
                <a:moveTo>
                  <a:pt x="1367417" y="637713"/>
                </a:moveTo>
                <a:lnTo>
                  <a:pt x="1367417" y="647349"/>
                </a:lnTo>
                <a:lnTo>
                  <a:pt x="1365898" y="651680"/>
                </a:lnTo>
                <a:lnTo>
                  <a:pt x="1361449" y="649514"/>
                </a:lnTo>
                <a:lnTo>
                  <a:pt x="1359713" y="647998"/>
                </a:lnTo>
                <a:lnTo>
                  <a:pt x="1361558" y="646482"/>
                </a:lnTo>
                <a:lnTo>
                  <a:pt x="1362426" y="642152"/>
                </a:lnTo>
                <a:close/>
                <a:moveTo>
                  <a:pt x="2518454" y="636522"/>
                </a:moveTo>
                <a:lnTo>
                  <a:pt x="2521493" y="639446"/>
                </a:lnTo>
                <a:lnTo>
                  <a:pt x="2522578" y="643343"/>
                </a:lnTo>
                <a:lnTo>
                  <a:pt x="2531693" y="646483"/>
                </a:lnTo>
                <a:lnTo>
                  <a:pt x="2535166" y="650056"/>
                </a:lnTo>
                <a:lnTo>
                  <a:pt x="2540483" y="651463"/>
                </a:lnTo>
                <a:lnTo>
                  <a:pt x="2542328" y="649514"/>
                </a:lnTo>
                <a:lnTo>
                  <a:pt x="2551009" y="652438"/>
                </a:lnTo>
                <a:lnTo>
                  <a:pt x="2557846" y="652329"/>
                </a:lnTo>
                <a:lnTo>
                  <a:pt x="2560884" y="654495"/>
                </a:lnTo>
                <a:lnTo>
                  <a:pt x="2561969" y="658825"/>
                </a:lnTo>
                <a:lnTo>
                  <a:pt x="2568697" y="662940"/>
                </a:lnTo>
                <a:lnTo>
                  <a:pt x="2570976" y="667812"/>
                </a:lnTo>
                <a:lnTo>
                  <a:pt x="2569132" y="672901"/>
                </a:lnTo>
                <a:lnTo>
                  <a:pt x="2569457" y="675824"/>
                </a:lnTo>
                <a:lnTo>
                  <a:pt x="2573364" y="678747"/>
                </a:lnTo>
                <a:lnTo>
                  <a:pt x="2572387" y="681346"/>
                </a:lnTo>
                <a:lnTo>
                  <a:pt x="2573364" y="685460"/>
                </a:lnTo>
                <a:lnTo>
                  <a:pt x="2573038" y="688383"/>
                </a:lnTo>
                <a:lnTo>
                  <a:pt x="2575426" y="693688"/>
                </a:lnTo>
                <a:lnTo>
                  <a:pt x="2574558" y="697153"/>
                </a:lnTo>
                <a:lnTo>
                  <a:pt x="2572387" y="700401"/>
                </a:lnTo>
                <a:lnTo>
                  <a:pt x="2578247" y="702133"/>
                </a:lnTo>
                <a:lnTo>
                  <a:pt x="2578247" y="704515"/>
                </a:lnTo>
                <a:lnTo>
                  <a:pt x="2575317" y="706789"/>
                </a:lnTo>
                <a:lnTo>
                  <a:pt x="2573798" y="709388"/>
                </a:lnTo>
                <a:lnTo>
                  <a:pt x="2564791" y="707439"/>
                </a:lnTo>
                <a:lnTo>
                  <a:pt x="2563380" y="705706"/>
                </a:lnTo>
                <a:lnTo>
                  <a:pt x="2554590" y="703649"/>
                </a:lnTo>
                <a:lnTo>
                  <a:pt x="2551877" y="701267"/>
                </a:lnTo>
                <a:lnTo>
                  <a:pt x="2545692" y="700076"/>
                </a:lnTo>
                <a:lnTo>
                  <a:pt x="2543304" y="700076"/>
                </a:lnTo>
                <a:lnTo>
                  <a:pt x="2539506" y="697694"/>
                </a:lnTo>
                <a:lnTo>
                  <a:pt x="2532778" y="699751"/>
                </a:lnTo>
                <a:lnTo>
                  <a:pt x="2528546" y="700076"/>
                </a:lnTo>
                <a:lnTo>
                  <a:pt x="2523988" y="704407"/>
                </a:lnTo>
                <a:lnTo>
                  <a:pt x="2521384" y="704949"/>
                </a:lnTo>
                <a:lnTo>
                  <a:pt x="2514981" y="701592"/>
                </a:lnTo>
                <a:lnTo>
                  <a:pt x="2509989" y="700293"/>
                </a:lnTo>
                <a:lnTo>
                  <a:pt x="2507927" y="694555"/>
                </a:lnTo>
                <a:lnTo>
                  <a:pt x="2504998" y="693039"/>
                </a:lnTo>
                <a:lnTo>
                  <a:pt x="2502936" y="688600"/>
                </a:lnTo>
                <a:lnTo>
                  <a:pt x="2504455" y="682537"/>
                </a:lnTo>
                <a:lnTo>
                  <a:pt x="2509339" y="679613"/>
                </a:lnTo>
                <a:lnTo>
                  <a:pt x="2508796" y="676040"/>
                </a:lnTo>
                <a:lnTo>
                  <a:pt x="2511400" y="672792"/>
                </a:lnTo>
                <a:lnTo>
                  <a:pt x="2510532" y="669003"/>
                </a:lnTo>
                <a:lnTo>
                  <a:pt x="2506409" y="668245"/>
                </a:lnTo>
                <a:lnTo>
                  <a:pt x="2501851" y="664672"/>
                </a:lnTo>
                <a:lnTo>
                  <a:pt x="2506409" y="654819"/>
                </a:lnTo>
                <a:lnTo>
                  <a:pt x="2509447" y="655361"/>
                </a:lnTo>
                <a:lnTo>
                  <a:pt x="2510857" y="652329"/>
                </a:lnTo>
                <a:lnTo>
                  <a:pt x="2509989" y="647782"/>
                </a:lnTo>
                <a:lnTo>
                  <a:pt x="2512702" y="644426"/>
                </a:lnTo>
                <a:lnTo>
                  <a:pt x="2514330" y="638039"/>
                </a:lnTo>
                <a:close/>
                <a:moveTo>
                  <a:pt x="1378160" y="630567"/>
                </a:moveTo>
                <a:lnTo>
                  <a:pt x="1380222" y="635764"/>
                </a:lnTo>
                <a:lnTo>
                  <a:pt x="1379571" y="647240"/>
                </a:lnTo>
                <a:lnTo>
                  <a:pt x="1377075" y="650813"/>
                </a:lnTo>
                <a:lnTo>
                  <a:pt x="1379137" y="654603"/>
                </a:lnTo>
                <a:lnTo>
                  <a:pt x="1372844" y="657959"/>
                </a:lnTo>
                <a:lnTo>
                  <a:pt x="1366984" y="654928"/>
                </a:lnTo>
                <a:lnTo>
                  <a:pt x="1370022" y="653303"/>
                </a:lnTo>
                <a:lnTo>
                  <a:pt x="1371650" y="650164"/>
                </a:lnTo>
                <a:lnTo>
                  <a:pt x="1369371" y="645075"/>
                </a:lnTo>
                <a:lnTo>
                  <a:pt x="1369697" y="636089"/>
                </a:lnTo>
                <a:lnTo>
                  <a:pt x="1372409" y="633165"/>
                </a:lnTo>
                <a:lnTo>
                  <a:pt x="1374905" y="634898"/>
                </a:lnTo>
                <a:lnTo>
                  <a:pt x="1375557" y="631759"/>
                </a:lnTo>
                <a:close/>
                <a:moveTo>
                  <a:pt x="2211677" y="622123"/>
                </a:moveTo>
                <a:lnTo>
                  <a:pt x="2209507" y="627969"/>
                </a:lnTo>
                <a:lnTo>
                  <a:pt x="2207337" y="629701"/>
                </a:lnTo>
                <a:lnTo>
                  <a:pt x="2204407" y="628401"/>
                </a:lnTo>
                <a:lnTo>
                  <a:pt x="2204732" y="625262"/>
                </a:lnTo>
                <a:lnTo>
                  <a:pt x="2208205" y="622339"/>
                </a:lnTo>
                <a:close/>
                <a:moveTo>
                  <a:pt x="3585281" y="622015"/>
                </a:moveTo>
                <a:lnTo>
                  <a:pt x="3589296" y="622772"/>
                </a:lnTo>
                <a:lnTo>
                  <a:pt x="3591466" y="625479"/>
                </a:lnTo>
                <a:lnTo>
                  <a:pt x="3588862" y="628294"/>
                </a:lnTo>
                <a:lnTo>
                  <a:pt x="3584087" y="628403"/>
                </a:lnTo>
                <a:lnTo>
                  <a:pt x="3582351" y="627103"/>
                </a:lnTo>
                <a:lnTo>
                  <a:pt x="3583653" y="623639"/>
                </a:lnTo>
                <a:close/>
                <a:moveTo>
                  <a:pt x="1393027" y="619091"/>
                </a:moveTo>
                <a:lnTo>
                  <a:pt x="1394329" y="621473"/>
                </a:lnTo>
                <a:lnTo>
                  <a:pt x="1391725" y="622556"/>
                </a:lnTo>
                <a:lnTo>
                  <a:pt x="1390640" y="620282"/>
                </a:lnTo>
                <a:close/>
                <a:moveTo>
                  <a:pt x="1413321" y="618225"/>
                </a:moveTo>
                <a:lnTo>
                  <a:pt x="1414298" y="626453"/>
                </a:lnTo>
                <a:lnTo>
                  <a:pt x="1416902" y="628510"/>
                </a:lnTo>
                <a:lnTo>
                  <a:pt x="1419832" y="626995"/>
                </a:lnTo>
                <a:lnTo>
                  <a:pt x="1416793" y="632841"/>
                </a:lnTo>
                <a:lnTo>
                  <a:pt x="1409632" y="636631"/>
                </a:lnTo>
                <a:lnTo>
                  <a:pt x="1393680" y="649839"/>
                </a:lnTo>
                <a:lnTo>
                  <a:pt x="1389556" y="650164"/>
                </a:lnTo>
                <a:lnTo>
                  <a:pt x="1386300" y="652979"/>
                </a:lnTo>
                <a:lnTo>
                  <a:pt x="1381634" y="652762"/>
                </a:lnTo>
                <a:lnTo>
                  <a:pt x="1380766" y="648432"/>
                </a:lnTo>
                <a:lnTo>
                  <a:pt x="1383479" y="644534"/>
                </a:lnTo>
                <a:lnTo>
                  <a:pt x="1383153" y="637064"/>
                </a:lnTo>
                <a:lnTo>
                  <a:pt x="1385757" y="634032"/>
                </a:lnTo>
                <a:lnTo>
                  <a:pt x="1387928" y="628835"/>
                </a:lnTo>
                <a:lnTo>
                  <a:pt x="1389664" y="629918"/>
                </a:lnTo>
                <a:lnTo>
                  <a:pt x="1392594" y="626237"/>
                </a:lnTo>
                <a:lnTo>
                  <a:pt x="1395524" y="629052"/>
                </a:lnTo>
                <a:lnTo>
                  <a:pt x="1393680" y="631434"/>
                </a:lnTo>
                <a:lnTo>
                  <a:pt x="1395850" y="635548"/>
                </a:lnTo>
                <a:lnTo>
                  <a:pt x="1397586" y="631434"/>
                </a:lnTo>
                <a:lnTo>
                  <a:pt x="1399323" y="629918"/>
                </a:lnTo>
                <a:lnTo>
                  <a:pt x="1403121" y="630243"/>
                </a:lnTo>
                <a:lnTo>
                  <a:pt x="1402252" y="626453"/>
                </a:lnTo>
                <a:lnTo>
                  <a:pt x="1406919" y="624613"/>
                </a:lnTo>
                <a:lnTo>
                  <a:pt x="1409848" y="618766"/>
                </a:lnTo>
                <a:close/>
                <a:moveTo>
                  <a:pt x="5398811" y="617793"/>
                </a:moveTo>
                <a:lnTo>
                  <a:pt x="5403585" y="620282"/>
                </a:lnTo>
                <a:lnTo>
                  <a:pt x="5401415" y="621798"/>
                </a:lnTo>
                <a:lnTo>
                  <a:pt x="5394687" y="621474"/>
                </a:lnTo>
                <a:lnTo>
                  <a:pt x="5392951" y="620066"/>
                </a:lnTo>
                <a:close/>
                <a:moveTo>
                  <a:pt x="5367666" y="614869"/>
                </a:moveTo>
                <a:lnTo>
                  <a:pt x="5369620" y="617035"/>
                </a:lnTo>
                <a:lnTo>
                  <a:pt x="5365930" y="622448"/>
                </a:lnTo>
                <a:lnTo>
                  <a:pt x="5362349" y="621798"/>
                </a:lnTo>
                <a:lnTo>
                  <a:pt x="5360613" y="617900"/>
                </a:lnTo>
                <a:lnTo>
                  <a:pt x="5363651" y="615193"/>
                </a:lnTo>
                <a:close/>
                <a:moveTo>
                  <a:pt x="3581050" y="614544"/>
                </a:moveTo>
                <a:lnTo>
                  <a:pt x="3582786" y="617901"/>
                </a:lnTo>
                <a:lnTo>
                  <a:pt x="3580073" y="619199"/>
                </a:lnTo>
                <a:lnTo>
                  <a:pt x="3577794" y="615952"/>
                </a:lnTo>
                <a:lnTo>
                  <a:pt x="3578987" y="614761"/>
                </a:lnTo>
                <a:close/>
                <a:moveTo>
                  <a:pt x="3619464" y="612162"/>
                </a:moveTo>
                <a:lnTo>
                  <a:pt x="3621634" y="614653"/>
                </a:lnTo>
                <a:lnTo>
                  <a:pt x="3622611" y="618442"/>
                </a:lnTo>
                <a:lnTo>
                  <a:pt x="3621091" y="623423"/>
                </a:lnTo>
                <a:lnTo>
                  <a:pt x="3621959" y="632626"/>
                </a:lnTo>
                <a:lnTo>
                  <a:pt x="3624781" y="637715"/>
                </a:lnTo>
                <a:lnTo>
                  <a:pt x="3625432" y="644535"/>
                </a:lnTo>
                <a:lnTo>
                  <a:pt x="3623262" y="646700"/>
                </a:lnTo>
                <a:lnTo>
                  <a:pt x="3622502" y="653413"/>
                </a:lnTo>
                <a:lnTo>
                  <a:pt x="3620658" y="655904"/>
                </a:lnTo>
                <a:lnTo>
                  <a:pt x="3618921" y="653629"/>
                </a:lnTo>
                <a:lnTo>
                  <a:pt x="3619030" y="648324"/>
                </a:lnTo>
                <a:lnTo>
                  <a:pt x="3620658" y="643235"/>
                </a:lnTo>
                <a:lnTo>
                  <a:pt x="3620332" y="635766"/>
                </a:lnTo>
                <a:lnTo>
                  <a:pt x="3617402" y="630461"/>
                </a:lnTo>
                <a:lnTo>
                  <a:pt x="3617510" y="624289"/>
                </a:lnTo>
                <a:lnTo>
                  <a:pt x="3619572" y="622015"/>
                </a:lnTo>
                <a:lnTo>
                  <a:pt x="3619030" y="619199"/>
                </a:lnTo>
                <a:lnTo>
                  <a:pt x="3616425" y="616926"/>
                </a:lnTo>
                <a:lnTo>
                  <a:pt x="3615883" y="615086"/>
                </a:lnTo>
                <a:close/>
                <a:moveTo>
                  <a:pt x="5379061" y="611838"/>
                </a:moveTo>
                <a:lnTo>
                  <a:pt x="5384271" y="612596"/>
                </a:lnTo>
                <a:lnTo>
                  <a:pt x="5383294" y="615736"/>
                </a:lnTo>
                <a:lnTo>
                  <a:pt x="5380146" y="618660"/>
                </a:lnTo>
                <a:lnTo>
                  <a:pt x="5375046" y="617037"/>
                </a:lnTo>
                <a:lnTo>
                  <a:pt x="5373310" y="614871"/>
                </a:lnTo>
                <a:lnTo>
                  <a:pt x="5377000" y="613464"/>
                </a:lnTo>
                <a:close/>
                <a:moveTo>
                  <a:pt x="1395415" y="611404"/>
                </a:moveTo>
                <a:lnTo>
                  <a:pt x="1397477" y="612054"/>
                </a:lnTo>
                <a:lnTo>
                  <a:pt x="1394981" y="615843"/>
                </a:lnTo>
                <a:lnTo>
                  <a:pt x="1392594" y="614435"/>
                </a:lnTo>
                <a:close/>
                <a:moveTo>
                  <a:pt x="2405597" y="611079"/>
                </a:moveTo>
                <a:lnTo>
                  <a:pt x="2411782" y="612271"/>
                </a:lnTo>
                <a:lnTo>
                  <a:pt x="2415364" y="611079"/>
                </a:lnTo>
                <a:lnTo>
                  <a:pt x="2417968" y="612053"/>
                </a:lnTo>
                <a:lnTo>
                  <a:pt x="2425564" y="612271"/>
                </a:lnTo>
                <a:lnTo>
                  <a:pt x="2430556" y="615735"/>
                </a:lnTo>
                <a:lnTo>
                  <a:pt x="2440540" y="620499"/>
                </a:lnTo>
                <a:lnTo>
                  <a:pt x="2441299" y="623422"/>
                </a:lnTo>
                <a:lnTo>
                  <a:pt x="2439997" y="627212"/>
                </a:lnTo>
                <a:lnTo>
                  <a:pt x="2434029" y="629810"/>
                </a:lnTo>
                <a:lnTo>
                  <a:pt x="2426215" y="632842"/>
                </a:lnTo>
                <a:lnTo>
                  <a:pt x="2421658" y="632734"/>
                </a:lnTo>
                <a:lnTo>
                  <a:pt x="2419378" y="636307"/>
                </a:lnTo>
                <a:lnTo>
                  <a:pt x="2415364" y="641287"/>
                </a:lnTo>
                <a:lnTo>
                  <a:pt x="2410263" y="642694"/>
                </a:lnTo>
                <a:lnTo>
                  <a:pt x="2401473" y="651139"/>
                </a:lnTo>
                <a:lnTo>
                  <a:pt x="2393009" y="661533"/>
                </a:lnTo>
                <a:lnTo>
                  <a:pt x="2385956" y="666189"/>
                </a:lnTo>
                <a:lnTo>
                  <a:pt x="2383243" y="667596"/>
                </a:lnTo>
                <a:lnTo>
                  <a:pt x="2378685" y="676691"/>
                </a:lnTo>
                <a:lnTo>
                  <a:pt x="2378034" y="682213"/>
                </a:lnTo>
                <a:lnTo>
                  <a:pt x="2379878" y="686868"/>
                </a:lnTo>
                <a:lnTo>
                  <a:pt x="2382483" y="690117"/>
                </a:lnTo>
                <a:lnTo>
                  <a:pt x="2382483" y="694231"/>
                </a:lnTo>
                <a:lnTo>
                  <a:pt x="2378577" y="696288"/>
                </a:lnTo>
                <a:lnTo>
                  <a:pt x="2375104" y="700943"/>
                </a:lnTo>
                <a:lnTo>
                  <a:pt x="2370763" y="705708"/>
                </a:lnTo>
                <a:lnTo>
                  <a:pt x="2370438" y="710580"/>
                </a:lnTo>
                <a:lnTo>
                  <a:pt x="2367508" y="716643"/>
                </a:lnTo>
                <a:lnTo>
                  <a:pt x="2365120" y="718267"/>
                </a:lnTo>
                <a:lnTo>
                  <a:pt x="2364795" y="721948"/>
                </a:lnTo>
                <a:lnTo>
                  <a:pt x="2366965" y="726063"/>
                </a:lnTo>
                <a:lnTo>
                  <a:pt x="2368050" y="732883"/>
                </a:lnTo>
                <a:lnTo>
                  <a:pt x="2369786" y="736023"/>
                </a:lnTo>
                <a:lnTo>
                  <a:pt x="2369786" y="742195"/>
                </a:lnTo>
                <a:lnTo>
                  <a:pt x="2373910" y="747716"/>
                </a:lnTo>
                <a:lnTo>
                  <a:pt x="2374778" y="750098"/>
                </a:lnTo>
                <a:lnTo>
                  <a:pt x="2379227" y="752697"/>
                </a:lnTo>
                <a:lnTo>
                  <a:pt x="2379227" y="757461"/>
                </a:lnTo>
                <a:lnTo>
                  <a:pt x="2377274" y="761791"/>
                </a:lnTo>
                <a:lnTo>
                  <a:pt x="2375755" y="757894"/>
                </a:lnTo>
                <a:lnTo>
                  <a:pt x="2373367" y="757894"/>
                </a:lnTo>
                <a:lnTo>
                  <a:pt x="2373042" y="760059"/>
                </a:lnTo>
                <a:lnTo>
                  <a:pt x="2370112" y="760384"/>
                </a:lnTo>
                <a:lnTo>
                  <a:pt x="2366965" y="761575"/>
                </a:lnTo>
                <a:lnTo>
                  <a:pt x="2364686" y="762549"/>
                </a:lnTo>
                <a:lnTo>
                  <a:pt x="2366423" y="763740"/>
                </a:lnTo>
                <a:lnTo>
                  <a:pt x="2369461" y="767313"/>
                </a:lnTo>
                <a:lnTo>
                  <a:pt x="2372825" y="766881"/>
                </a:lnTo>
                <a:lnTo>
                  <a:pt x="2373693" y="765906"/>
                </a:lnTo>
                <a:lnTo>
                  <a:pt x="2375321" y="767638"/>
                </a:lnTo>
                <a:lnTo>
                  <a:pt x="2371631" y="771211"/>
                </a:lnTo>
                <a:lnTo>
                  <a:pt x="2369895" y="778032"/>
                </a:lnTo>
                <a:lnTo>
                  <a:pt x="2369786" y="782471"/>
                </a:lnTo>
                <a:lnTo>
                  <a:pt x="2368593" y="785070"/>
                </a:lnTo>
                <a:lnTo>
                  <a:pt x="2374452" y="779332"/>
                </a:lnTo>
                <a:lnTo>
                  <a:pt x="2374452" y="776191"/>
                </a:lnTo>
                <a:lnTo>
                  <a:pt x="2379445" y="767422"/>
                </a:lnTo>
                <a:lnTo>
                  <a:pt x="2381723" y="765256"/>
                </a:lnTo>
                <a:lnTo>
                  <a:pt x="2383025" y="756595"/>
                </a:lnTo>
                <a:lnTo>
                  <a:pt x="2385088" y="753563"/>
                </a:lnTo>
                <a:lnTo>
                  <a:pt x="2389211" y="750748"/>
                </a:lnTo>
                <a:lnTo>
                  <a:pt x="2389211" y="746309"/>
                </a:lnTo>
                <a:lnTo>
                  <a:pt x="2387909" y="743385"/>
                </a:lnTo>
                <a:lnTo>
                  <a:pt x="2388777" y="740354"/>
                </a:lnTo>
                <a:lnTo>
                  <a:pt x="2385738" y="738189"/>
                </a:lnTo>
                <a:lnTo>
                  <a:pt x="2382808" y="737539"/>
                </a:lnTo>
                <a:lnTo>
                  <a:pt x="2382591" y="731584"/>
                </a:lnTo>
                <a:lnTo>
                  <a:pt x="2381615" y="730177"/>
                </a:lnTo>
                <a:lnTo>
                  <a:pt x="2381289" y="724222"/>
                </a:lnTo>
                <a:lnTo>
                  <a:pt x="2378794" y="719458"/>
                </a:lnTo>
                <a:lnTo>
                  <a:pt x="2378142" y="714802"/>
                </a:lnTo>
                <a:lnTo>
                  <a:pt x="2380204" y="713611"/>
                </a:lnTo>
                <a:lnTo>
                  <a:pt x="2381723" y="717076"/>
                </a:lnTo>
                <a:lnTo>
                  <a:pt x="2383893" y="715127"/>
                </a:lnTo>
                <a:lnTo>
                  <a:pt x="2388777" y="713719"/>
                </a:lnTo>
                <a:lnTo>
                  <a:pt x="2391381" y="710255"/>
                </a:lnTo>
                <a:lnTo>
                  <a:pt x="2390404" y="707223"/>
                </a:lnTo>
                <a:lnTo>
                  <a:pt x="2392900" y="703217"/>
                </a:lnTo>
                <a:lnTo>
                  <a:pt x="2396482" y="704408"/>
                </a:lnTo>
                <a:lnTo>
                  <a:pt x="2399412" y="710580"/>
                </a:lnTo>
                <a:lnTo>
                  <a:pt x="2398218" y="713286"/>
                </a:lnTo>
                <a:lnTo>
                  <a:pt x="2400388" y="715019"/>
                </a:lnTo>
                <a:lnTo>
                  <a:pt x="2403535" y="711445"/>
                </a:lnTo>
                <a:lnTo>
                  <a:pt x="2403535" y="707115"/>
                </a:lnTo>
                <a:lnTo>
                  <a:pt x="2406791" y="703217"/>
                </a:lnTo>
                <a:lnTo>
                  <a:pt x="2409938" y="703217"/>
                </a:lnTo>
                <a:lnTo>
                  <a:pt x="2409395" y="700619"/>
                </a:lnTo>
                <a:lnTo>
                  <a:pt x="2411240" y="698994"/>
                </a:lnTo>
                <a:lnTo>
                  <a:pt x="2415580" y="697696"/>
                </a:lnTo>
                <a:lnTo>
                  <a:pt x="2414061" y="695097"/>
                </a:lnTo>
                <a:lnTo>
                  <a:pt x="2410806" y="694555"/>
                </a:lnTo>
                <a:lnTo>
                  <a:pt x="2402993" y="700077"/>
                </a:lnTo>
                <a:lnTo>
                  <a:pt x="2399737" y="699861"/>
                </a:lnTo>
                <a:lnTo>
                  <a:pt x="2398327" y="695313"/>
                </a:lnTo>
                <a:lnTo>
                  <a:pt x="2395830" y="692715"/>
                </a:lnTo>
                <a:lnTo>
                  <a:pt x="2396156" y="689900"/>
                </a:lnTo>
                <a:lnTo>
                  <a:pt x="2401148" y="688168"/>
                </a:lnTo>
                <a:lnTo>
                  <a:pt x="2398218" y="684270"/>
                </a:lnTo>
                <a:lnTo>
                  <a:pt x="2399954" y="677774"/>
                </a:lnTo>
                <a:lnTo>
                  <a:pt x="2403318" y="671386"/>
                </a:lnTo>
                <a:lnTo>
                  <a:pt x="2403861" y="667813"/>
                </a:lnTo>
                <a:lnTo>
                  <a:pt x="2407442" y="664131"/>
                </a:lnTo>
                <a:lnTo>
                  <a:pt x="2413193" y="664673"/>
                </a:lnTo>
                <a:lnTo>
                  <a:pt x="2417100" y="669004"/>
                </a:lnTo>
                <a:lnTo>
                  <a:pt x="2417642" y="672035"/>
                </a:lnTo>
                <a:lnTo>
                  <a:pt x="2424045" y="675500"/>
                </a:lnTo>
                <a:lnTo>
                  <a:pt x="2426974" y="679831"/>
                </a:lnTo>
                <a:lnTo>
                  <a:pt x="2431424" y="680156"/>
                </a:lnTo>
                <a:lnTo>
                  <a:pt x="2427843" y="677233"/>
                </a:lnTo>
                <a:lnTo>
                  <a:pt x="2426974" y="673768"/>
                </a:lnTo>
                <a:lnTo>
                  <a:pt x="2420247" y="669329"/>
                </a:lnTo>
                <a:lnTo>
                  <a:pt x="2419053" y="664564"/>
                </a:lnTo>
                <a:lnTo>
                  <a:pt x="2417859" y="661966"/>
                </a:lnTo>
                <a:lnTo>
                  <a:pt x="2412759" y="661966"/>
                </a:lnTo>
                <a:lnTo>
                  <a:pt x="2410806" y="659692"/>
                </a:lnTo>
                <a:lnTo>
                  <a:pt x="2412325" y="659043"/>
                </a:lnTo>
                <a:lnTo>
                  <a:pt x="2420355" y="658501"/>
                </a:lnTo>
                <a:lnTo>
                  <a:pt x="2421766" y="656228"/>
                </a:lnTo>
                <a:lnTo>
                  <a:pt x="2423828" y="656228"/>
                </a:lnTo>
                <a:lnTo>
                  <a:pt x="2431207" y="664348"/>
                </a:lnTo>
                <a:lnTo>
                  <a:pt x="2437610" y="667921"/>
                </a:lnTo>
                <a:lnTo>
                  <a:pt x="2439888" y="667813"/>
                </a:lnTo>
                <a:lnTo>
                  <a:pt x="2434029" y="664348"/>
                </a:lnTo>
                <a:lnTo>
                  <a:pt x="2429904" y="657419"/>
                </a:lnTo>
                <a:lnTo>
                  <a:pt x="2424370" y="653521"/>
                </a:lnTo>
                <a:lnTo>
                  <a:pt x="2424153" y="650597"/>
                </a:lnTo>
                <a:lnTo>
                  <a:pt x="2426106" y="646267"/>
                </a:lnTo>
                <a:lnTo>
                  <a:pt x="2432943" y="644860"/>
                </a:lnTo>
                <a:lnTo>
                  <a:pt x="2435439" y="645942"/>
                </a:lnTo>
                <a:lnTo>
                  <a:pt x="2434679" y="650056"/>
                </a:lnTo>
                <a:lnTo>
                  <a:pt x="2435439" y="653305"/>
                </a:lnTo>
                <a:lnTo>
                  <a:pt x="2437501" y="651247"/>
                </a:lnTo>
                <a:lnTo>
                  <a:pt x="2437284" y="647999"/>
                </a:lnTo>
                <a:lnTo>
                  <a:pt x="2439997" y="644534"/>
                </a:lnTo>
                <a:lnTo>
                  <a:pt x="2445423" y="644534"/>
                </a:lnTo>
                <a:lnTo>
                  <a:pt x="2447919" y="649731"/>
                </a:lnTo>
                <a:lnTo>
                  <a:pt x="2450089" y="651464"/>
                </a:lnTo>
                <a:lnTo>
                  <a:pt x="2451717" y="657419"/>
                </a:lnTo>
                <a:lnTo>
                  <a:pt x="2453995" y="654821"/>
                </a:lnTo>
                <a:lnTo>
                  <a:pt x="2453995" y="651247"/>
                </a:lnTo>
                <a:lnTo>
                  <a:pt x="2449546" y="645942"/>
                </a:lnTo>
                <a:lnTo>
                  <a:pt x="2450849" y="643235"/>
                </a:lnTo>
                <a:lnTo>
                  <a:pt x="2462785" y="640420"/>
                </a:lnTo>
                <a:lnTo>
                  <a:pt x="2469730" y="637389"/>
                </a:lnTo>
                <a:lnTo>
                  <a:pt x="2475590" y="636848"/>
                </a:lnTo>
                <a:lnTo>
                  <a:pt x="2480908" y="633058"/>
                </a:lnTo>
                <a:lnTo>
                  <a:pt x="2487744" y="635440"/>
                </a:lnTo>
                <a:lnTo>
                  <a:pt x="2495340" y="635765"/>
                </a:lnTo>
                <a:lnTo>
                  <a:pt x="2502611" y="637497"/>
                </a:lnTo>
                <a:lnTo>
                  <a:pt x="2503262" y="640312"/>
                </a:lnTo>
                <a:lnTo>
                  <a:pt x="2501851" y="642153"/>
                </a:lnTo>
                <a:lnTo>
                  <a:pt x="2500983" y="652546"/>
                </a:lnTo>
                <a:lnTo>
                  <a:pt x="2499790" y="655362"/>
                </a:lnTo>
                <a:lnTo>
                  <a:pt x="2496751" y="658935"/>
                </a:lnTo>
                <a:lnTo>
                  <a:pt x="2493495" y="664889"/>
                </a:lnTo>
                <a:lnTo>
                  <a:pt x="2494689" y="667380"/>
                </a:lnTo>
                <a:lnTo>
                  <a:pt x="2498921" y="669329"/>
                </a:lnTo>
                <a:lnTo>
                  <a:pt x="2500658" y="673118"/>
                </a:lnTo>
                <a:lnTo>
                  <a:pt x="2499790" y="675608"/>
                </a:lnTo>
                <a:lnTo>
                  <a:pt x="2493278" y="682862"/>
                </a:lnTo>
                <a:lnTo>
                  <a:pt x="2492085" y="685786"/>
                </a:lnTo>
                <a:lnTo>
                  <a:pt x="2491542" y="690441"/>
                </a:lnTo>
                <a:lnTo>
                  <a:pt x="2495340" y="693906"/>
                </a:lnTo>
                <a:lnTo>
                  <a:pt x="2495232" y="696180"/>
                </a:lnTo>
                <a:lnTo>
                  <a:pt x="2492085" y="701160"/>
                </a:lnTo>
                <a:lnTo>
                  <a:pt x="2488395" y="701484"/>
                </a:lnTo>
                <a:lnTo>
                  <a:pt x="2485139" y="705274"/>
                </a:lnTo>
                <a:lnTo>
                  <a:pt x="2481016" y="706465"/>
                </a:lnTo>
                <a:lnTo>
                  <a:pt x="2477760" y="709497"/>
                </a:lnTo>
                <a:lnTo>
                  <a:pt x="2474830" y="713719"/>
                </a:lnTo>
                <a:lnTo>
                  <a:pt x="2471792" y="717292"/>
                </a:lnTo>
                <a:lnTo>
                  <a:pt x="2475047" y="716967"/>
                </a:lnTo>
                <a:lnTo>
                  <a:pt x="2480040" y="711987"/>
                </a:lnTo>
                <a:lnTo>
                  <a:pt x="2486008" y="707331"/>
                </a:lnTo>
                <a:lnTo>
                  <a:pt x="2488395" y="707439"/>
                </a:lnTo>
                <a:lnTo>
                  <a:pt x="2490565" y="707115"/>
                </a:lnTo>
                <a:lnTo>
                  <a:pt x="2487419" y="710580"/>
                </a:lnTo>
                <a:lnTo>
                  <a:pt x="2486442" y="714044"/>
                </a:lnTo>
                <a:lnTo>
                  <a:pt x="2479714" y="720216"/>
                </a:lnTo>
                <a:lnTo>
                  <a:pt x="2475156" y="722381"/>
                </a:lnTo>
                <a:lnTo>
                  <a:pt x="2474830" y="724114"/>
                </a:lnTo>
                <a:lnTo>
                  <a:pt x="2475156" y="726387"/>
                </a:lnTo>
                <a:lnTo>
                  <a:pt x="2474505" y="728769"/>
                </a:lnTo>
                <a:lnTo>
                  <a:pt x="2472117" y="727470"/>
                </a:lnTo>
                <a:lnTo>
                  <a:pt x="2468971" y="727794"/>
                </a:lnTo>
                <a:lnTo>
                  <a:pt x="2469187" y="730285"/>
                </a:lnTo>
                <a:lnTo>
                  <a:pt x="2471249" y="730502"/>
                </a:lnTo>
                <a:lnTo>
                  <a:pt x="2473094" y="732559"/>
                </a:lnTo>
                <a:lnTo>
                  <a:pt x="2472769" y="736240"/>
                </a:lnTo>
                <a:lnTo>
                  <a:pt x="2469079" y="738947"/>
                </a:lnTo>
                <a:lnTo>
                  <a:pt x="2472986" y="738947"/>
                </a:lnTo>
                <a:lnTo>
                  <a:pt x="2474939" y="736131"/>
                </a:lnTo>
                <a:lnTo>
                  <a:pt x="2478303" y="734941"/>
                </a:lnTo>
                <a:lnTo>
                  <a:pt x="2481341" y="730610"/>
                </a:lnTo>
                <a:lnTo>
                  <a:pt x="2481450" y="727253"/>
                </a:lnTo>
                <a:lnTo>
                  <a:pt x="2485791" y="725629"/>
                </a:lnTo>
                <a:lnTo>
                  <a:pt x="2487527" y="721731"/>
                </a:lnTo>
                <a:lnTo>
                  <a:pt x="2488938" y="722922"/>
                </a:lnTo>
                <a:lnTo>
                  <a:pt x="2488938" y="728986"/>
                </a:lnTo>
                <a:lnTo>
                  <a:pt x="2491651" y="730610"/>
                </a:lnTo>
                <a:lnTo>
                  <a:pt x="2491651" y="725304"/>
                </a:lnTo>
                <a:lnTo>
                  <a:pt x="2490457" y="720432"/>
                </a:lnTo>
                <a:lnTo>
                  <a:pt x="2491325" y="716967"/>
                </a:lnTo>
                <a:lnTo>
                  <a:pt x="2493495" y="715451"/>
                </a:lnTo>
                <a:lnTo>
                  <a:pt x="2497945" y="716643"/>
                </a:lnTo>
                <a:lnTo>
                  <a:pt x="2497293" y="721948"/>
                </a:lnTo>
                <a:lnTo>
                  <a:pt x="2498813" y="724547"/>
                </a:lnTo>
                <a:lnTo>
                  <a:pt x="2501200" y="722057"/>
                </a:lnTo>
                <a:lnTo>
                  <a:pt x="2506192" y="716967"/>
                </a:lnTo>
                <a:lnTo>
                  <a:pt x="2507603" y="721082"/>
                </a:lnTo>
                <a:lnTo>
                  <a:pt x="2510641" y="724547"/>
                </a:lnTo>
                <a:lnTo>
                  <a:pt x="2509339" y="728444"/>
                </a:lnTo>
                <a:lnTo>
                  <a:pt x="2503479" y="736565"/>
                </a:lnTo>
                <a:lnTo>
                  <a:pt x="2498813" y="740137"/>
                </a:lnTo>
                <a:lnTo>
                  <a:pt x="2496534" y="743385"/>
                </a:lnTo>
                <a:lnTo>
                  <a:pt x="2501091" y="744469"/>
                </a:lnTo>
                <a:lnTo>
                  <a:pt x="2505215" y="746526"/>
                </a:lnTo>
                <a:lnTo>
                  <a:pt x="2508254" y="744469"/>
                </a:lnTo>
                <a:lnTo>
                  <a:pt x="2505649" y="741328"/>
                </a:lnTo>
                <a:lnTo>
                  <a:pt x="2507711" y="736673"/>
                </a:lnTo>
                <a:lnTo>
                  <a:pt x="2511509" y="732234"/>
                </a:lnTo>
                <a:lnTo>
                  <a:pt x="2514873" y="738297"/>
                </a:lnTo>
                <a:lnTo>
                  <a:pt x="2514982" y="742520"/>
                </a:lnTo>
                <a:lnTo>
                  <a:pt x="2516175" y="739488"/>
                </a:lnTo>
                <a:lnTo>
                  <a:pt x="2515524" y="733641"/>
                </a:lnTo>
                <a:lnTo>
                  <a:pt x="2513137" y="729094"/>
                </a:lnTo>
                <a:lnTo>
                  <a:pt x="2512920" y="720324"/>
                </a:lnTo>
                <a:lnTo>
                  <a:pt x="2514873" y="719349"/>
                </a:lnTo>
                <a:lnTo>
                  <a:pt x="2519865" y="721623"/>
                </a:lnTo>
                <a:lnTo>
                  <a:pt x="2518780" y="726063"/>
                </a:lnTo>
                <a:lnTo>
                  <a:pt x="2517260" y="729635"/>
                </a:lnTo>
                <a:lnTo>
                  <a:pt x="2519865" y="728444"/>
                </a:lnTo>
                <a:lnTo>
                  <a:pt x="2523663" y="727794"/>
                </a:lnTo>
                <a:lnTo>
                  <a:pt x="2531367" y="735157"/>
                </a:lnTo>
                <a:lnTo>
                  <a:pt x="2531367" y="738297"/>
                </a:lnTo>
                <a:lnTo>
                  <a:pt x="2536685" y="738297"/>
                </a:lnTo>
                <a:lnTo>
                  <a:pt x="2540158" y="740354"/>
                </a:lnTo>
                <a:lnTo>
                  <a:pt x="2542328" y="740354"/>
                </a:lnTo>
                <a:lnTo>
                  <a:pt x="2540158" y="735482"/>
                </a:lnTo>
                <a:lnTo>
                  <a:pt x="2536902" y="734832"/>
                </a:lnTo>
                <a:lnTo>
                  <a:pt x="2535491" y="732559"/>
                </a:lnTo>
                <a:lnTo>
                  <a:pt x="2526919" y="724980"/>
                </a:lnTo>
                <a:lnTo>
                  <a:pt x="2523663" y="724005"/>
                </a:lnTo>
                <a:lnTo>
                  <a:pt x="2522035" y="721731"/>
                </a:lnTo>
                <a:lnTo>
                  <a:pt x="2526919" y="714586"/>
                </a:lnTo>
                <a:lnTo>
                  <a:pt x="2532236" y="714369"/>
                </a:lnTo>
                <a:lnTo>
                  <a:pt x="2536685" y="710255"/>
                </a:lnTo>
                <a:lnTo>
                  <a:pt x="2543739" y="708955"/>
                </a:lnTo>
                <a:lnTo>
                  <a:pt x="2549599" y="709497"/>
                </a:lnTo>
                <a:lnTo>
                  <a:pt x="2551660" y="711770"/>
                </a:lnTo>
                <a:lnTo>
                  <a:pt x="2553939" y="711445"/>
                </a:lnTo>
                <a:lnTo>
                  <a:pt x="2560450" y="714586"/>
                </a:lnTo>
                <a:lnTo>
                  <a:pt x="2560885" y="717400"/>
                </a:lnTo>
                <a:lnTo>
                  <a:pt x="2564574" y="720649"/>
                </a:lnTo>
                <a:lnTo>
                  <a:pt x="2567504" y="721948"/>
                </a:lnTo>
                <a:lnTo>
                  <a:pt x="2568046" y="725737"/>
                </a:lnTo>
                <a:lnTo>
                  <a:pt x="2570434" y="725521"/>
                </a:lnTo>
                <a:lnTo>
                  <a:pt x="2571519" y="723680"/>
                </a:lnTo>
                <a:lnTo>
                  <a:pt x="2575317" y="724330"/>
                </a:lnTo>
                <a:lnTo>
                  <a:pt x="2577053" y="728120"/>
                </a:lnTo>
                <a:lnTo>
                  <a:pt x="2582153" y="730502"/>
                </a:lnTo>
                <a:lnTo>
                  <a:pt x="2582371" y="733641"/>
                </a:lnTo>
                <a:lnTo>
                  <a:pt x="2582045" y="736889"/>
                </a:lnTo>
                <a:lnTo>
                  <a:pt x="2583239" y="739271"/>
                </a:lnTo>
                <a:lnTo>
                  <a:pt x="2583781" y="742411"/>
                </a:lnTo>
                <a:lnTo>
                  <a:pt x="2579658" y="747175"/>
                </a:lnTo>
                <a:lnTo>
                  <a:pt x="2575860" y="746526"/>
                </a:lnTo>
                <a:lnTo>
                  <a:pt x="2571519" y="745334"/>
                </a:lnTo>
                <a:lnTo>
                  <a:pt x="2564791" y="747175"/>
                </a:lnTo>
                <a:lnTo>
                  <a:pt x="2557520" y="753888"/>
                </a:lnTo>
                <a:lnTo>
                  <a:pt x="2565659" y="748691"/>
                </a:lnTo>
                <a:lnTo>
                  <a:pt x="2573364" y="748257"/>
                </a:lnTo>
                <a:lnTo>
                  <a:pt x="2574991" y="750640"/>
                </a:lnTo>
                <a:lnTo>
                  <a:pt x="2571627" y="753888"/>
                </a:lnTo>
                <a:lnTo>
                  <a:pt x="2566527" y="757136"/>
                </a:lnTo>
                <a:lnTo>
                  <a:pt x="2561210" y="764932"/>
                </a:lnTo>
                <a:lnTo>
                  <a:pt x="2557412" y="767855"/>
                </a:lnTo>
                <a:lnTo>
                  <a:pt x="2554807" y="768179"/>
                </a:lnTo>
                <a:lnTo>
                  <a:pt x="2554156" y="771752"/>
                </a:lnTo>
                <a:lnTo>
                  <a:pt x="2556543" y="772077"/>
                </a:lnTo>
                <a:lnTo>
                  <a:pt x="2565116" y="763307"/>
                </a:lnTo>
                <a:lnTo>
                  <a:pt x="2568697" y="757677"/>
                </a:lnTo>
                <a:lnTo>
                  <a:pt x="2574991" y="755404"/>
                </a:lnTo>
                <a:lnTo>
                  <a:pt x="2579983" y="750640"/>
                </a:lnTo>
                <a:lnTo>
                  <a:pt x="2584758" y="752155"/>
                </a:lnTo>
                <a:lnTo>
                  <a:pt x="2586820" y="754212"/>
                </a:lnTo>
                <a:lnTo>
                  <a:pt x="2590075" y="754538"/>
                </a:lnTo>
                <a:lnTo>
                  <a:pt x="2590075" y="758002"/>
                </a:lnTo>
                <a:lnTo>
                  <a:pt x="2588230" y="761575"/>
                </a:lnTo>
                <a:lnTo>
                  <a:pt x="2588556" y="765256"/>
                </a:lnTo>
                <a:lnTo>
                  <a:pt x="2583347" y="766989"/>
                </a:lnTo>
                <a:lnTo>
                  <a:pt x="2580960" y="771752"/>
                </a:lnTo>
                <a:lnTo>
                  <a:pt x="2575968" y="772077"/>
                </a:lnTo>
                <a:lnTo>
                  <a:pt x="2573798" y="770345"/>
                </a:lnTo>
                <a:lnTo>
                  <a:pt x="2569457" y="770345"/>
                </a:lnTo>
                <a:lnTo>
                  <a:pt x="2567070" y="773485"/>
                </a:lnTo>
                <a:lnTo>
                  <a:pt x="2571844" y="773485"/>
                </a:lnTo>
                <a:lnTo>
                  <a:pt x="2572930" y="776083"/>
                </a:lnTo>
                <a:lnTo>
                  <a:pt x="2564574" y="780522"/>
                </a:lnTo>
                <a:lnTo>
                  <a:pt x="2567721" y="781280"/>
                </a:lnTo>
                <a:lnTo>
                  <a:pt x="2570434" y="778465"/>
                </a:lnTo>
                <a:lnTo>
                  <a:pt x="2575643" y="776950"/>
                </a:lnTo>
                <a:lnTo>
                  <a:pt x="2578355" y="775326"/>
                </a:lnTo>
                <a:lnTo>
                  <a:pt x="2579115" y="777599"/>
                </a:lnTo>
                <a:lnTo>
                  <a:pt x="2577162" y="780197"/>
                </a:lnTo>
                <a:lnTo>
                  <a:pt x="2572170" y="781280"/>
                </a:lnTo>
                <a:lnTo>
                  <a:pt x="2567721" y="784853"/>
                </a:lnTo>
                <a:lnTo>
                  <a:pt x="2571194" y="784312"/>
                </a:lnTo>
                <a:lnTo>
                  <a:pt x="2572495" y="785395"/>
                </a:lnTo>
                <a:lnTo>
                  <a:pt x="2569891" y="789509"/>
                </a:lnTo>
                <a:lnTo>
                  <a:pt x="2565008" y="793731"/>
                </a:lnTo>
                <a:lnTo>
                  <a:pt x="2561535" y="796654"/>
                </a:lnTo>
                <a:lnTo>
                  <a:pt x="2564574" y="797196"/>
                </a:lnTo>
                <a:lnTo>
                  <a:pt x="2570108" y="793623"/>
                </a:lnTo>
                <a:lnTo>
                  <a:pt x="2573907" y="786261"/>
                </a:lnTo>
                <a:lnTo>
                  <a:pt x="2577053" y="782471"/>
                </a:lnTo>
                <a:lnTo>
                  <a:pt x="2584216" y="777058"/>
                </a:lnTo>
                <a:lnTo>
                  <a:pt x="2585409" y="778790"/>
                </a:lnTo>
                <a:lnTo>
                  <a:pt x="2585409" y="781280"/>
                </a:lnTo>
                <a:lnTo>
                  <a:pt x="2589424" y="779332"/>
                </a:lnTo>
                <a:lnTo>
                  <a:pt x="2590075" y="776083"/>
                </a:lnTo>
                <a:lnTo>
                  <a:pt x="2595935" y="772294"/>
                </a:lnTo>
                <a:lnTo>
                  <a:pt x="2599082" y="772618"/>
                </a:lnTo>
                <a:lnTo>
                  <a:pt x="2598756" y="775542"/>
                </a:lnTo>
                <a:lnTo>
                  <a:pt x="2591486" y="781713"/>
                </a:lnTo>
                <a:lnTo>
                  <a:pt x="2583347" y="787019"/>
                </a:lnTo>
                <a:lnTo>
                  <a:pt x="2580091" y="787885"/>
                </a:lnTo>
                <a:lnTo>
                  <a:pt x="2580091" y="790158"/>
                </a:lnTo>
                <a:lnTo>
                  <a:pt x="2582153" y="791241"/>
                </a:lnTo>
                <a:lnTo>
                  <a:pt x="2579766" y="795356"/>
                </a:lnTo>
                <a:lnTo>
                  <a:pt x="2578790" y="799578"/>
                </a:lnTo>
                <a:lnTo>
                  <a:pt x="2580309" y="800228"/>
                </a:lnTo>
                <a:lnTo>
                  <a:pt x="2583021" y="796330"/>
                </a:lnTo>
                <a:lnTo>
                  <a:pt x="2583998" y="792107"/>
                </a:lnTo>
                <a:lnTo>
                  <a:pt x="2590509" y="786694"/>
                </a:lnTo>
                <a:lnTo>
                  <a:pt x="2595501" y="783554"/>
                </a:lnTo>
                <a:lnTo>
                  <a:pt x="2595284" y="786694"/>
                </a:lnTo>
                <a:lnTo>
                  <a:pt x="2595935" y="789401"/>
                </a:lnTo>
                <a:lnTo>
                  <a:pt x="2593548" y="792432"/>
                </a:lnTo>
                <a:lnTo>
                  <a:pt x="2587796" y="797954"/>
                </a:lnTo>
                <a:lnTo>
                  <a:pt x="2587146" y="800877"/>
                </a:lnTo>
                <a:lnTo>
                  <a:pt x="2583456" y="807265"/>
                </a:lnTo>
                <a:lnTo>
                  <a:pt x="2580960" y="809431"/>
                </a:lnTo>
                <a:lnTo>
                  <a:pt x="2581286" y="810621"/>
                </a:lnTo>
                <a:lnTo>
                  <a:pt x="2585517" y="809431"/>
                </a:lnTo>
                <a:lnTo>
                  <a:pt x="2587362" y="805858"/>
                </a:lnTo>
                <a:lnTo>
                  <a:pt x="2593222" y="797954"/>
                </a:lnTo>
                <a:lnTo>
                  <a:pt x="2596912" y="796330"/>
                </a:lnTo>
                <a:lnTo>
                  <a:pt x="2598865" y="799362"/>
                </a:lnTo>
                <a:lnTo>
                  <a:pt x="2600059" y="800228"/>
                </a:lnTo>
                <a:lnTo>
                  <a:pt x="2599841" y="802718"/>
                </a:lnTo>
                <a:lnTo>
                  <a:pt x="2596695" y="803909"/>
                </a:lnTo>
                <a:lnTo>
                  <a:pt x="2592463" y="810080"/>
                </a:lnTo>
                <a:lnTo>
                  <a:pt x="2591269" y="816035"/>
                </a:lnTo>
                <a:lnTo>
                  <a:pt x="2593114" y="816793"/>
                </a:lnTo>
                <a:lnTo>
                  <a:pt x="2594850" y="813545"/>
                </a:lnTo>
                <a:lnTo>
                  <a:pt x="2595827" y="809864"/>
                </a:lnTo>
                <a:lnTo>
                  <a:pt x="2598973" y="805208"/>
                </a:lnTo>
                <a:lnTo>
                  <a:pt x="2603857" y="803042"/>
                </a:lnTo>
                <a:lnTo>
                  <a:pt x="2603857" y="798387"/>
                </a:lnTo>
                <a:lnTo>
                  <a:pt x="2605702" y="794706"/>
                </a:lnTo>
                <a:lnTo>
                  <a:pt x="2609391" y="792865"/>
                </a:lnTo>
                <a:lnTo>
                  <a:pt x="2609934" y="789401"/>
                </a:lnTo>
                <a:lnTo>
                  <a:pt x="2611236" y="787019"/>
                </a:lnTo>
                <a:lnTo>
                  <a:pt x="2613298" y="786152"/>
                </a:lnTo>
                <a:lnTo>
                  <a:pt x="2615468" y="782796"/>
                </a:lnTo>
                <a:lnTo>
                  <a:pt x="2615793" y="779440"/>
                </a:lnTo>
                <a:lnTo>
                  <a:pt x="2617747" y="778573"/>
                </a:lnTo>
                <a:lnTo>
                  <a:pt x="2621328" y="785828"/>
                </a:lnTo>
                <a:lnTo>
                  <a:pt x="2624692" y="787885"/>
                </a:lnTo>
                <a:lnTo>
                  <a:pt x="2628815" y="792107"/>
                </a:lnTo>
                <a:lnTo>
                  <a:pt x="2629792" y="796438"/>
                </a:lnTo>
                <a:lnTo>
                  <a:pt x="2630769" y="800985"/>
                </a:lnTo>
                <a:lnTo>
                  <a:pt x="2635218" y="805858"/>
                </a:lnTo>
                <a:lnTo>
                  <a:pt x="2635543" y="807915"/>
                </a:lnTo>
                <a:lnTo>
                  <a:pt x="2632397" y="811054"/>
                </a:lnTo>
                <a:lnTo>
                  <a:pt x="2627839" y="816685"/>
                </a:lnTo>
                <a:lnTo>
                  <a:pt x="2625126" y="816793"/>
                </a:lnTo>
                <a:lnTo>
                  <a:pt x="2621979" y="814195"/>
                </a:lnTo>
                <a:lnTo>
                  <a:pt x="2617964" y="810730"/>
                </a:lnTo>
                <a:lnTo>
                  <a:pt x="2615685" y="811054"/>
                </a:lnTo>
                <a:lnTo>
                  <a:pt x="2613515" y="812787"/>
                </a:lnTo>
                <a:lnTo>
                  <a:pt x="2610694" y="813870"/>
                </a:lnTo>
                <a:lnTo>
                  <a:pt x="2608523" y="818201"/>
                </a:lnTo>
                <a:lnTo>
                  <a:pt x="2605159" y="820150"/>
                </a:lnTo>
                <a:lnTo>
                  <a:pt x="2602338" y="820041"/>
                </a:lnTo>
                <a:lnTo>
                  <a:pt x="2599733" y="823181"/>
                </a:lnTo>
                <a:lnTo>
                  <a:pt x="2604942" y="822423"/>
                </a:lnTo>
                <a:lnTo>
                  <a:pt x="2607329" y="822423"/>
                </a:lnTo>
                <a:lnTo>
                  <a:pt x="2608414" y="825238"/>
                </a:lnTo>
                <a:lnTo>
                  <a:pt x="2604725" y="829352"/>
                </a:lnTo>
                <a:lnTo>
                  <a:pt x="2600818" y="831301"/>
                </a:lnTo>
                <a:lnTo>
                  <a:pt x="2597020" y="833250"/>
                </a:lnTo>
                <a:lnTo>
                  <a:pt x="2602663" y="833358"/>
                </a:lnTo>
                <a:lnTo>
                  <a:pt x="2606461" y="831085"/>
                </a:lnTo>
                <a:lnTo>
                  <a:pt x="2611562" y="830327"/>
                </a:lnTo>
                <a:lnTo>
                  <a:pt x="2615360" y="830976"/>
                </a:lnTo>
                <a:lnTo>
                  <a:pt x="2619483" y="827620"/>
                </a:lnTo>
                <a:lnTo>
                  <a:pt x="2623716" y="827728"/>
                </a:lnTo>
                <a:lnTo>
                  <a:pt x="2626429" y="829894"/>
                </a:lnTo>
                <a:lnTo>
                  <a:pt x="2626862" y="832059"/>
                </a:lnTo>
                <a:lnTo>
                  <a:pt x="2626102" y="833683"/>
                </a:lnTo>
                <a:lnTo>
                  <a:pt x="2628056" y="832492"/>
                </a:lnTo>
                <a:lnTo>
                  <a:pt x="2629250" y="827187"/>
                </a:lnTo>
                <a:lnTo>
                  <a:pt x="2628815" y="823181"/>
                </a:lnTo>
                <a:lnTo>
                  <a:pt x="2631529" y="819717"/>
                </a:lnTo>
                <a:lnTo>
                  <a:pt x="2638365" y="816468"/>
                </a:lnTo>
                <a:lnTo>
                  <a:pt x="2639559" y="817659"/>
                </a:lnTo>
                <a:lnTo>
                  <a:pt x="2639016" y="820799"/>
                </a:lnTo>
                <a:lnTo>
                  <a:pt x="2640318" y="824697"/>
                </a:lnTo>
                <a:lnTo>
                  <a:pt x="2638148" y="828811"/>
                </a:lnTo>
                <a:lnTo>
                  <a:pt x="2633916" y="834441"/>
                </a:lnTo>
                <a:lnTo>
                  <a:pt x="2629141" y="836282"/>
                </a:lnTo>
                <a:lnTo>
                  <a:pt x="2625777" y="839205"/>
                </a:lnTo>
                <a:lnTo>
                  <a:pt x="2624909" y="841262"/>
                </a:lnTo>
                <a:lnTo>
                  <a:pt x="2620568" y="841154"/>
                </a:lnTo>
                <a:lnTo>
                  <a:pt x="2617964" y="839963"/>
                </a:lnTo>
                <a:lnTo>
                  <a:pt x="2615143" y="840071"/>
                </a:lnTo>
                <a:lnTo>
                  <a:pt x="2612755" y="842994"/>
                </a:lnTo>
                <a:lnTo>
                  <a:pt x="2611995" y="846243"/>
                </a:lnTo>
                <a:lnTo>
                  <a:pt x="2607764" y="850465"/>
                </a:lnTo>
                <a:lnTo>
                  <a:pt x="2607112" y="853280"/>
                </a:lnTo>
                <a:lnTo>
                  <a:pt x="2605811" y="855987"/>
                </a:lnTo>
                <a:lnTo>
                  <a:pt x="2608197" y="855554"/>
                </a:lnTo>
                <a:lnTo>
                  <a:pt x="2613623" y="849707"/>
                </a:lnTo>
                <a:lnTo>
                  <a:pt x="2617096" y="843752"/>
                </a:lnTo>
                <a:lnTo>
                  <a:pt x="2619591" y="842670"/>
                </a:lnTo>
                <a:lnTo>
                  <a:pt x="2620894" y="843969"/>
                </a:lnTo>
                <a:lnTo>
                  <a:pt x="2622630" y="844186"/>
                </a:lnTo>
                <a:lnTo>
                  <a:pt x="2623173" y="846026"/>
                </a:lnTo>
                <a:lnTo>
                  <a:pt x="2621003" y="848408"/>
                </a:lnTo>
                <a:lnTo>
                  <a:pt x="2618181" y="853605"/>
                </a:lnTo>
                <a:lnTo>
                  <a:pt x="2612321" y="859452"/>
                </a:lnTo>
                <a:lnTo>
                  <a:pt x="2608740" y="862916"/>
                </a:lnTo>
                <a:lnTo>
                  <a:pt x="2608849" y="864324"/>
                </a:lnTo>
                <a:lnTo>
                  <a:pt x="2616336" y="860318"/>
                </a:lnTo>
                <a:lnTo>
                  <a:pt x="2624258" y="851439"/>
                </a:lnTo>
                <a:lnTo>
                  <a:pt x="2627405" y="844077"/>
                </a:lnTo>
                <a:lnTo>
                  <a:pt x="2628165" y="840937"/>
                </a:lnTo>
                <a:lnTo>
                  <a:pt x="2630118" y="838447"/>
                </a:lnTo>
                <a:lnTo>
                  <a:pt x="2632722" y="838447"/>
                </a:lnTo>
                <a:lnTo>
                  <a:pt x="2639559" y="833683"/>
                </a:lnTo>
                <a:lnTo>
                  <a:pt x="2645744" y="831193"/>
                </a:lnTo>
                <a:lnTo>
                  <a:pt x="2648783" y="830219"/>
                </a:lnTo>
                <a:lnTo>
                  <a:pt x="2649217" y="831843"/>
                </a:lnTo>
                <a:lnTo>
                  <a:pt x="2647480" y="834658"/>
                </a:lnTo>
                <a:lnTo>
                  <a:pt x="2642597" y="839746"/>
                </a:lnTo>
                <a:lnTo>
                  <a:pt x="2637931" y="839746"/>
                </a:lnTo>
                <a:lnTo>
                  <a:pt x="2635218" y="842020"/>
                </a:lnTo>
                <a:lnTo>
                  <a:pt x="2634567" y="846026"/>
                </a:lnTo>
                <a:lnTo>
                  <a:pt x="2635652" y="846892"/>
                </a:lnTo>
                <a:lnTo>
                  <a:pt x="2638799" y="843644"/>
                </a:lnTo>
                <a:lnTo>
                  <a:pt x="2643574" y="843103"/>
                </a:lnTo>
                <a:lnTo>
                  <a:pt x="2647806" y="839421"/>
                </a:lnTo>
                <a:lnTo>
                  <a:pt x="2651170" y="838339"/>
                </a:lnTo>
                <a:lnTo>
                  <a:pt x="2653449" y="836390"/>
                </a:lnTo>
                <a:lnTo>
                  <a:pt x="2656813" y="834225"/>
                </a:lnTo>
                <a:lnTo>
                  <a:pt x="2660068" y="834658"/>
                </a:lnTo>
                <a:lnTo>
                  <a:pt x="2662131" y="838988"/>
                </a:lnTo>
                <a:lnTo>
                  <a:pt x="2667230" y="844727"/>
                </a:lnTo>
                <a:lnTo>
                  <a:pt x="2669835" y="848841"/>
                </a:lnTo>
                <a:lnTo>
                  <a:pt x="2673525" y="850682"/>
                </a:lnTo>
                <a:lnTo>
                  <a:pt x="2674393" y="853280"/>
                </a:lnTo>
                <a:lnTo>
                  <a:pt x="2673742" y="857178"/>
                </a:lnTo>
                <a:lnTo>
                  <a:pt x="2669075" y="861617"/>
                </a:lnTo>
                <a:lnTo>
                  <a:pt x="2667230" y="860535"/>
                </a:lnTo>
                <a:lnTo>
                  <a:pt x="2667665" y="855878"/>
                </a:lnTo>
                <a:lnTo>
                  <a:pt x="2664734" y="856637"/>
                </a:lnTo>
                <a:lnTo>
                  <a:pt x="2663975" y="858910"/>
                </a:lnTo>
                <a:lnTo>
                  <a:pt x="2661804" y="861509"/>
                </a:lnTo>
                <a:lnTo>
                  <a:pt x="2658766" y="864324"/>
                </a:lnTo>
                <a:lnTo>
                  <a:pt x="2651279" y="864865"/>
                </a:lnTo>
                <a:lnTo>
                  <a:pt x="2647915" y="866381"/>
                </a:lnTo>
                <a:lnTo>
                  <a:pt x="2642923" y="866164"/>
                </a:lnTo>
                <a:lnTo>
                  <a:pt x="2636520" y="870387"/>
                </a:lnTo>
                <a:lnTo>
                  <a:pt x="2632614" y="870712"/>
                </a:lnTo>
                <a:lnTo>
                  <a:pt x="2625994" y="874501"/>
                </a:lnTo>
                <a:lnTo>
                  <a:pt x="2630227" y="873960"/>
                </a:lnTo>
                <a:lnTo>
                  <a:pt x="2632505" y="875151"/>
                </a:lnTo>
                <a:lnTo>
                  <a:pt x="2631203" y="878290"/>
                </a:lnTo>
                <a:lnTo>
                  <a:pt x="2625234" y="879590"/>
                </a:lnTo>
                <a:lnTo>
                  <a:pt x="2623498" y="881755"/>
                </a:lnTo>
                <a:lnTo>
                  <a:pt x="2631529" y="880672"/>
                </a:lnTo>
                <a:lnTo>
                  <a:pt x="2636195" y="875800"/>
                </a:lnTo>
                <a:lnTo>
                  <a:pt x="2643140" y="869737"/>
                </a:lnTo>
                <a:lnTo>
                  <a:pt x="2648240" y="869304"/>
                </a:lnTo>
                <a:lnTo>
                  <a:pt x="2651821" y="870387"/>
                </a:lnTo>
                <a:lnTo>
                  <a:pt x="2655077" y="869088"/>
                </a:lnTo>
                <a:lnTo>
                  <a:pt x="2658115" y="868980"/>
                </a:lnTo>
                <a:lnTo>
                  <a:pt x="2658332" y="870712"/>
                </a:lnTo>
                <a:lnTo>
                  <a:pt x="2657898" y="875692"/>
                </a:lnTo>
                <a:lnTo>
                  <a:pt x="2654751" y="877857"/>
                </a:lnTo>
                <a:lnTo>
                  <a:pt x="2650627" y="880456"/>
                </a:lnTo>
                <a:lnTo>
                  <a:pt x="2648023" y="880348"/>
                </a:lnTo>
                <a:lnTo>
                  <a:pt x="2644442" y="881972"/>
                </a:lnTo>
                <a:lnTo>
                  <a:pt x="2641729" y="886194"/>
                </a:lnTo>
                <a:lnTo>
                  <a:pt x="2637931" y="887818"/>
                </a:lnTo>
                <a:lnTo>
                  <a:pt x="2634242" y="885870"/>
                </a:lnTo>
                <a:lnTo>
                  <a:pt x="2631637" y="886953"/>
                </a:lnTo>
                <a:lnTo>
                  <a:pt x="2627622" y="890850"/>
                </a:lnTo>
                <a:lnTo>
                  <a:pt x="2630118" y="890309"/>
                </a:lnTo>
                <a:lnTo>
                  <a:pt x="2634133" y="888793"/>
                </a:lnTo>
                <a:lnTo>
                  <a:pt x="2637388" y="889659"/>
                </a:lnTo>
                <a:lnTo>
                  <a:pt x="2639668" y="891067"/>
                </a:lnTo>
                <a:lnTo>
                  <a:pt x="2644442" y="887169"/>
                </a:lnTo>
                <a:lnTo>
                  <a:pt x="2647480" y="882838"/>
                </a:lnTo>
                <a:lnTo>
                  <a:pt x="2651604" y="881431"/>
                </a:lnTo>
                <a:lnTo>
                  <a:pt x="2654643" y="882621"/>
                </a:lnTo>
                <a:lnTo>
                  <a:pt x="2658875" y="883488"/>
                </a:lnTo>
                <a:lnTo>
                  <a:pt x="2661913" y="879915"/>
                </a:lnTo>
                <a:lnTo>
                  <a:pt x="2666471" y="877857"/>
                </a:lnTo>
                <a:lnTo>
                  <a:pt x="2668207" y="876450"/>
                </a:lnTo>
                <a:lnTo>
                  <a:pt x="2668207" y="873635"/>
                </a:lnTo>
                <a:lnTo>
                  <a:pt x="2666579" y="872227"/>
                </a:lnTo>
                <a:lnTo>
                  <a:pt x="2669292" y="868329"/>
                </a:lnTo>
                <a:lnTo>
                  <a:pt x="2669401" y="865839"/>
                </a:lnTo>
                <a:lnTo>
                  <a:pt x="2672548" y="864974"/>
                </a:lnTo>
                <a:lnTo>
                  <a:pt x="2673633" y="865948"/>
                </a:lnTo>
                <a:lnTo>
                  <a:pt x="2675478" y="865298"/>
                </a:lnTo>
                <a:lnTo>
                  <a:pt x="2676888" y="870278"/>
                </a:lnTo>
                <a:lnTo>
                  <a:pt x="2681121" y="879698"/>
                </a:lnTo>
                <a:lnTo>
                  <a:pt x="2682314" y="885437"/>
                </a:lnTo>
                <a:lnTo>
                  <a:pt x="2684919" y="888901"/>
                </a:lnTo>
                <a:lnTo>
                  <a:pt x="2684051" y="892582"/>
                </a:lnTo>
                <a:lnTo>
                  <a:pt x="2681989" y="895831"/>
                </a:lnTo>
                <a:lnTo>
                  <a:pt x="2676888" y="895614"/>
                </a:lnTo>
                <a:lnTo>
                  <a:pt x="2673742" y="893340"/>
                </a:lnTo>
                <a:lnTo>
                  <a:pt x="2667230" y="892799"/>
                </a:lnTo>
                <a:lnTo>
                  <a:pt x="2663758" y="894639"/>
                </a:lnTo>
                <a:lnTo>
                  <a:pt x="2660068" y="897130"/>
                </a:lnTo>
                <a:lnTo>
                  <a:pt x="2657138" y="897238"/>
                </a:lnTo>
                <a:lnTo>
                  <a:pt x="2655728" y="896047"/>
                </a:lnTo>
                <a:lnTo>
                  <a:pt x="2652038" y="896263"/>
                </a:lnTo>
                <a:lnTo>
                  <a:pt x="2649108" y="899079"/>
                </a:lnTo>
                <a:lnTo>
                  <a:pt x="2641838" y="900161"/>
                </a:lnTo>
                <a:lnTo>
                  <a:pt x="2644984" y="901353"/>
                </a:lnTo>
                <a:lnTo>
                  <a:pt x="2653232" y="900161"/>
                </a:lnTo>
                <a:lnTo>
                  <a:pt x="2657464" y="901461"/>
                </a:lnTo>
                <a:lnTo>
                  <a:pt x="2663867" y="907416"/>
                </a:lnTo>
                <a:lnTo>
                  <a:pt x="2667122" y="909256"/>
                </a:lnTo>
                <a:lnTo>
                  <a:pt x="2669618" y="907957"/>
                </a:lnTo>
                <a:lnTo>
                  <a:pt x="2672331" y="907199"/>
                </a:lnTo>
                <a:lnTo>
                  <a:pt x="2674610" y="908823"/>
                </a:lnTo>
                <a:lnTo>
                  <a:pt x="2678408" y="911205"/>
                </a:lnTo>
                <a:lnTo>
                  <a:pt x="2683182" y="913045"/>
                </a:lnTo>
                <a:lnTo>
                  <a:pt x="2683725" y="916402"/>
                </a:lnTo>
                <a:lnTo>
                  <a:pt x="2686004" y="920191"/>
                </a:lnTo>
                <a:lnTo>
                  <a:pt x="2686221" y="925280"/>
                </a:lnTo>
                <a:lnTo>
                  <a:pt x="2684376" y="926796"/>
                </a:lnTo>
                <a:lnTo>
                  <a:pt x="2681121" y="926688"/>
                </a:lnTo>
                <a:lnTo>
                  <a:pt x="2678842" y="922898"/>
                </a:lnTo>
                <a:lnTo>
                  <a:pt x="2677214" y="923223"/>
                </a:lnTo>
                <a:lnTo>
                  <a:pt x="2675152" y="925713"/>
                </a:lnTo>
                <a:lnTo>
                  <a:pt x="2672982" y="924630"/>
                </a:lnTo>
                <a:lnTo>
                  <a:pt x="2671463" y="922140"/>
                </a:lnTo>
                <a:lnTo>
                  <a:pt x="2668967" y="923440"/>
                </a:lnTo>
                <a:lnTo>
                  <a:pt x="2666037" y="922681"/>
                </a:lnTo>
                <a:lnTo>
                  <a:pt x="2660503" y="916510"/>
                </a:lnTo>
                <a:lnTo>
                  <a:pt x="2658224" y="915752"/>
                </a:lnTo>
                <a:lnTo>
                  <a:pt x="2655077" y="916185"/>
                </a:lnTo>
                <a:lnTo>
                  <a:pt x="2651170" y="916618"/>
                </a:lnTo>
                <a:lnTo>
                  <a:pt x="2647589" y="914886"/>
                </a:lnTo>
                <a:lnTo>
                  <a:pt x="2649000" y="916943"/>
                </a:lnTo>
                <a:lnTo>
                  <a:pt x="2653557" y="918351"/>
                </a:lnTo>
                <a:lnTo>
                  <a:pt x="2657247" y="919108"/>
                </a:lnTo>
                <a:lnTo>
                  <a:pt x="2656053" y="921166"/>
                </a:lnTo>
                <a:lnTo>
                  <a:pt x="2650410" y="921599"/>
                </a:lnTo>
                <a:lnTo>
                  <a:pt x="2648023" y="922790"/>
                </a:lnTo>
                <a:lnTo>
                  <a:pt x="2642814" y="922790"/>
                </a:lnTo>
                <a:lnTo>
                  <a:pt x="2639016" y="925280"/>
                </a:lnTo>
                <a:lnTo>
                  <a:pt x="2639668" y="928312"/>
                </a:lnTo>
                <a:lnTo>
                  <a:pt x="2641946" y="927879"/>
                </a:lnTo>
                <a:lnTo>
                  <a:pt x="2643031" y="925822"/>
                </a:lnTo>
                <a:lnTo>
                  <a:pt x="2648891" y="925930"/>
                </a:lnTo>
                <a:lnTo>
                  <a:pt x="2652581" y="923873"/>
                </a:lnTo>
                <a:lnTo>
                  <a:pt x="2656162" y="923223"/>
                </a:lnTo>
                <a:lnTo>
                  <a:pt x="2658549" y="926579"/>
                </a:lnTo>
                <a:lnTo>
                  <a:pt x="2658658" y="928312"/>
                </a:lnTo>
                <a:lnTo>
                  <a:pt x="2661479" y="929611"/>
                </a:lnTo>
                <a:lnTo>
                  <a:pt x="2661913" y="931235"/>
                </a:lnTo>
                <a:lnTo>
                  <a:pt x="2660828" y="931777"/>
                </a:lnTo>
                <a:lnTo>
                  <a:pt x="2656379" y="931777"/>
                </a:lnTo>
                <a:lnTo>
                  <a:pt x="2654208" y="933400"/>
                </a:lnTo>
                <a:lnTo>
                  <a:pt x="2652255" y="932101"/>
                </a:lnTo>
                <a:lnTo>
                  <a:pt x="2651062" y="930369"/>
                </a:lnTo>
                <a:lnTo>
                  <a:pt x="2648457" y="930585"/>
                </a:lnTo>
                <a:lnTo>
                  <a:pt x="2647264" y="931560"/>
                </a:lnTo>
                <a:lnTo>
                  <a:pt x="2650736" y="934158"/>
                </a:lnTo>
                <a:lnTo>
                  <a:pt x="2654100" y="935566"/>
                </a:lnTo>
                <a:lnTo>
                  <a:pt x="2655945" y="937623"/>
                </a:lnTo>
                <a:lnTo>
                  <a:pt x="2655836" y="940546"/>
                </a:lnTo>
                <a:lnTo>
                  <a:pt x="2657356" y="942603"/>
                </a:lnTo>
                <a:lnTo>
                  <a:pt x="2654860" y="942928"/>
                </a:lnTo>
                <a:lnTo>
                  <a:pt x="2645744" y="940438"/>
                </a:lnTo>
                <a:lnTo>
                  <a:pt x="2640101" y="940222"/>
                </a:lnTo>
                <a:lnTo>
                  <a:pt x="2631312" y="936973"/>
                </a:lnTo>
                <a:lnTo>
                  <a:pt x="2627622" y="937514"/>
                </a:lnTo>
                <a:lnTo>
                  <a:pt x="2628815" y="939030"/>
                </a:lnTo>
                <a:lnTo>
                  <a:pt x="2634025" y="940438"/>
                </a:lnTo>
                <a:lnTo>
                  <a:pt x="2646287" y="946393"/>
                </a:lnTo>
                <a:lnTo>
                  <a:pt x="2646938" y="948883"/>
                </a:lnTo>
                <a:lnTo>
                  <a:pt x="2644876" y="949316"/>
                </a:lnTo>
                <a:lnTo>
                  <a:pt x="2638148" y="945202"/>
                </a:lnTo>
                <a:lnTo>
                  <a:pt x="2636086" y="945852"/>
                </a:lnTo>
                <a:lnTo>
                  <a:pt x="2632831" y="949532"/>
                </a:lnTo>
                <a:lnTo>
                  <a:pt x="2635978" y="948991"/>
                </a:lnTo>
                <a:lnTo>
                  <a:pt x="2638040" y="950399"/>
                </a:lnTo>
                <a:lnTo>
                  <a:pt x="2640536" y="952564"/>
                </a:lnTo>
                <a:lnTo>
                  <a:pt x="2642163" y="951698"/>
                </a:lnTo>
                <a:lnTo>
                  <a:pt x="2644225" y="952781"/>
                </a:lnTo>
                <a:lnTo>
                  <a:pt x="2644551" y="955921"/>
                </a:lnTo>
                <a:lnTo>
                  <a:pt x="2646070" y="958411"/>
                </a:lnTo>
                <a:lnTo>
                  <a:pt x="2647806" y="957220"/>
                </a:lnTo>
                <a:lnTo>
                  <a:pt x="2648349" y="954622"/>
                </a:lnTo>
                <a:lnTo>
                  <a:pt x="2652255" y="954622"/>
                </a:lnTo>
                <a:lnTo>
                  <a:pt x="2651930" y="957112"/>
                </a:lnTo>
                <a:lnTo>
                  <a:pt x="2650410" y="958952"/>
                </a:lnTo>
                <a:lnTo>
                  <a:pt x="2650410" y="960901"/>
                </a:lnTo>
                <a:lnTo>
                  <a:pt x="2653015" y="960685"/>
                </a:lnTo>
                <a:lnTo>
                  <a:pt x="2653123" y="956354"/>
                </a:lnTo>
                <a:lnTo>
                  <a:pt x="2656379" y="956354"/>
                </a:lnTo>
                <a:lnTo>
                  <a:pt x="2661045" y="958844"/>
                </a:lnTo>
                <a:lnTo>
                  <a:pt x="2665386" y="960144"/>
                </a:lnTo>
                <a:lnTo>
                  <a:pt x="2669075" y="960035"/>
                </a:lnTo>
                <a:lnTo>
                  <a:pt x="2667447" y="963824"/>
                </a:lnTo>
                <a:lnTo>
                  <a:pt x="2666797" y="965881"/>
                </a:lnTo>
                <a:lnTo>
                  <a:pt x="2662673" y="964474"/>
                </a:lnTo>
                <a:lnTo>
                  <a:pt x="2660068" y="962742"/>
                </a:lnTo>
                <a:lnTo>
                  <a:pt x="2654751" y="963608"/>
                </a:lnTo>
                <a:lnTo>
                  <a:pt x="2647480" y="967073"/>
                </a:lnTo>
                <a:lnTo>
                  <a:pt x="2647264" y="970429"/>
                </a:lnTo>
                <a:lnTo>
                  <a:pt x="2650410" y="967181"/>
                </a:lnTo>
                <a:lnTo>
                  <a:pt x="2656053" y="967181"/>
                </a:lnTo>
                <a:lnTo>
                  <a:pt x="2660286" y="968372"/>
                </a:lnTo>
                <a:lnTo>
                  <a:pt x="2656379" y="969130"/>
                </a:lnTo>
                <a:lnTo>
                  <a:pt x="2655077" y="972053"/>
                </a:lnTo>
                <a:lnTo>
                  <a:pt x="2658006" y="970646"/>
                </a:lnTo>
                <a:lnTo>
                  <a:pt x="2663867" y="970862"/>
                </a:lnTo>
                <a:lnTo>
                  <a:pt x="2665929" y="972919"/>
                </a:lnTo>
                <a:lnTo>
                  <a:pt x="2664734" y="974219"/>
                </a:lnTo>
                <a:lnTo>
                  <a:pt x="2668641" y="975842"/>
                </a:lnTo>
                <a:lnTo>
                  <a:pt x="2670377" y="978766"/>
                </a:lnTo>
                <a:lnTo>
                  <a:pt x="2669075" y="981364"/>
                </a:lnTo>
                <a:lnTo>
                  <a:pt x="2666797" y="986670"/>
                </a:lnTo>
                <a:lnTo>
                  <a:pt x="2667339" y="989593"/>
                </a:lnTo>
                <a:lnTo>
                  <a:pt x="2668859" y="988185"/>
                </a:lnTo>
                <a:lnTo>
                  <a:pt x="2669401" y="984937"/>
                </a:lnTo>
                <a:lnTo>
                  <a:pt x="2672440" y="981689"/>
                </a:lnTo>
                <a:lnTo>
                  <a:pt x="2675695" y="981364"/>
                </a:lnTo>
                <a:lnTo>
                  <a:pt x="2676455" y="984937"/>
                </a:lnTo>
                <a:lnTo>
                  <a:pt x="2674718" y="987536"/>
                </a:lnTo>
                <a:lnTo>
                  <a:pt x="2670269" y="995007"/>
                </a:lnTo>
                <a:lnTo>
                  <a:pt x="2668424" y="999229"/>
                </a:lnTo>
                <a:lnTo>
                  <a:pt x="2668424" y="1002585"/>
                </a:lnTo>
                <a:lnTo>
                  <a:pt x="2670595" y="1001286"/>
                </a:lnTo>
                <a:lnTo>
                  <a:pt x="2673850" y="995548"/>
                </a:lnTo>
                <a:lnTo>
                  <a:pt x="2673850" y="992841"/>
                </a:lnTo>
                <a:lnTo>
                  <a:pt x="2676129" y="989809"/>
                </a:lnTo>
                <a:lnTo>
                  <a:pt x="2680469" y="987752"/>
                </a:lnTo>
                <a:lnTo>
                  <a:pt x="2680144" y="986562"/>
                </a:lnTo>
                <a:lnTo>
                  <a:pt x="2681772" y="983421"/>
                </a:lnTo>
                <a:lnTo>
                  <a:pt x="2685136" y="980931"/>
                </a:lnTo>
                <a:lnTo>
                  <a:pt x="2686329" y="982014"/>
                </a:lnTo>
                <a:lnTo>
                  <a:pt x="2685027" y="985370"/>
                </a:lnTo>
                <a:lnTo>
                  <a:pt x="2680795" y="991109"/>
                </a:lnTo>
                <a:lnTo>
                  <a:pt x="2678733" y="994465"/>
                </a:lnTo>
                <a:lnTo>
                  <a:pt x="2678625" y="998796"/>
                </a:lnTo>
                <a:lnTo>
                  <a:pt x="2679059" y="1003127"/>
                </a:lnTo>
                <a:lnTo>
                  <a:pt x="2681012" y="1001719"/>
                </a:lnTo>
                <a:lnTo>
                  <a:pt x="2680686" y="998904"/>
                </a:lnTo>
                <a:lnTo>
                  <a:pt x="2681121" y="994682"/>
                </a:lnTo>
                <a:lnTo>
                  <a:pt x="2684159" y="992083"/>
                </a:lnTo>
                <a:lnTo>
                  <a:pt x="2686764" y="988619"/>
                </a:lnTo>
                <a:lnTo>
                  <a:pt x="2692190" y="984179"/>
                </a:lnTo>
                <a:lnTo>
                  <a:pt x="2695879" y="981256"/>
                </a:lnTo>
                <a:lnTo>
                  <a:pt x="2696856" y="982988"/>
                </a:lnTo>
                <a:lnTo>
                  <a:pt x="2696638" y="988185"/>
                </a:lnTo>
                <a:lnTo>
                  <a:pt x="2694577" y="990351"/>
                </a:lnTo>
                <a:lnTo>
                  <a:pt x="2689368" y="991542"/>
                </a:lnTo>
                <a:lnTo>
                  <a:pt x="2688717" y="995331"/>
                </a:lnTo>
                <a:lnTo>
                  <a:pt x="2686980" y="999121"/>
                </a:lnTo>
                <a:lnTo>
                  <a:pt x="2688392" y="999987"/>
                </a:lnTo>
                <a:lnTo>
                  <a:pt x="2689802" y="998471"/>
                </a:lnTo>
                <a:lnTo>
                  <a:pt x="2691972" y="999987"/>
                </a:lnTo>
                <a:lnTo>
                  <a:pt x="2694360" y="998254"/>
                </a:lnTo>
                <a:lnTo>
                  <a:pt x="2699786" y="996305"/>
                </a:lnTo>
                <a:lnTo>
                  <a:pt x="2701413" y="998904"/>
                </a:lnTo>
                <a:lnTo>
                  <a:pt x="2702824" y="1004643"/>
                </a:lnTo>
                <a:lnTo>
                  <a:pt x="2702499" y="1007349"/>
                </a:lnTo>
                <a:lnTo>
                  <a:pt x="2698918" y="1008974"/>
                </a:lnTo>
                <a:lnTo>
                  <a:pt x="2698918" y="1010381"/>
                </a:lnTo>
                <a:lnTo>
                  <a:pt x="2701739" y="1011031"/>
                </a:lnTo>
                <a:lnTo>
                  <a:pt x="2703909" y="1014820"/>
                </a:lnTo>
                <a:lnTo>
                  <a:pt x="2700545" y="1015903"/>
                </a:lnTo>
                <a:lnTo>
                  <a:pt x="2697615" y="1015361"/>
                </a:lnTo>
                <a:lnTo>
                  <a:pt x="2700545" y="1017202"/>
                </a:lnTo>
                <a:lnTo>
                  <a:pt x="2704343" y="1018935"/>
                </a:lnTo>
                <a:lnTo>
                  <a:pt x="2695228" y="1020992"/>
                </a:lnTo>
                <a:lnTo>
                  <a:pt x="2690779" y="1020666"/>
                </a:lnTo>
                <a:lnTo>
                  <a:pt x="2692949" y="1022941"/>
                </a:lnTo>
                <a:lnTo>
                  <a:pt x="2697398" y="1022615"/>
                </a:lnTo>
                <a:lnTo>
                  <a:pt x="2703692" y="1023915"/>
                </a:lnTo>
                <a:lnTo>
                  <a:pt x="2705537" y="1021858"/>
                </a:lnTo>
                <a:lnTo>
                  <a:pt x="2709878" y="1020992"/>
                </a:lnTo>
                <a:lnTo>
                  <a:pt x="2710854" y="1021316"/>
                </a:lnTo>
                <a:lnTo>
                  <a:pt x="2707490" y="1025972"/>
                </a:lnTo>
                <a:lnTo>
                  <a:pt x="2705537" y="1030627"/>
                </a:lnTo>
                <a:lnTo>
                  <a:pt x="2709660" y="1026513"/>
                </a:lnTo>
                <a:lnTo>
                  <a:pt x="2713242" y="1025322"/>
                </a:lnTo>
                <a:lnTo>
                  <a:pt x="2716063" y="1022182"/>
                </a:lnTo>
                <a:lnTo>
                  <a:pt x="2720512" y="1018935"/>
                </a:lnTo>
                <a:lnTo>
                  <a:pt x="2723985" y="1020017"/>
                </a:lnTo>
                <a:lnTo>
                  <a:pt x="2723117" y="1022182"/>
                </a:lnTo>
                <a:lnTo>
                  <a:pt x="2720404" y="1025322"/>
                </a:lnTo>
                <a:lnTo>
                  <a:pt x="2718451" y="1025539"/>
                </a:lnTo>
                <a:lnTo>
                  <a:pt x="2716388" y="1029112"/>
                </a:lnTo>
                <a:lnTo>
                  <a:pt x="2714327" y="1033767"/>
                </a:lnTo>
                <a:lnTo>
                  <a:pt x="2709010" y="1035825"/>
                </a:lnTo>
                <a:lnTo>
                  <a:pt x="2706730" y="1039939"/>
                </a:lnTo>
                <a:lnTo>
                  <a:pt x="2706947" y="1042862"/>
                </a:lnTo>
                <a:lnTo>
                  <a:pt x="2709660" y="1043404"/>
                </a:lnTo>
                <a:lnTo>
                  <a:pt x="2713133" y="1039722"/>
                </a:lnTo>
                <a:lnTo>
                  <a:pt x="2713133" y="1037882"/>
                </a:lnTo>
                <a:lnTo>
                  <a:pt x="2717799" y="1032143"/>
                </a:lnTo>
                <a:lnTo>
                  <a:pt x="2721923" y="1030627"/>
                </a:lnTo>
                <a:lnTo>
                  <a:pt x="2721597" y="1033876"/>
                </a:lnTo>
                <a:lnTo>
                  <a:pt x="2718451" y="1039072"/>
                </a:lnTo>
                <a:lnTo>
                  <a:pt x="2717908" y="1044053"/>
                </a:lnTo>
                <a:lnTo>
                  <a:pt x="2716606" y="1047193"/>
                </a:lnTo>
                <a:lnTo>
                  <a:pt x="2719101" y="1045244"/>
                </a:lnTo>
                <a:lnTo>
                  <a:pt x="2722466" y="1039398"/>
                </a:lnTo>
                <a:lnTo>
                  <a:pt x="2722574" y="1036474"/>
                </a:lnTo>
                <a:lnTo>
                  <a:pt x="2724311" y="1035608"/>
                </a:lnTo>
                <a:lnTo>
                  <a:pt x="2725721" y="1036690"/>
                </a:lnTo>
                <a:lnTo>
                  <a:pt x="2726264" y="1043186"/>
                </a:lnTo>
                <a:lnTo>
                  <a:pt x="2728651" y="1045244"/>
                </a:lnTo>
                <a:lnTo>
                  <a:pt x="2730170" y="1045135"/>
                </a:lnTo>
                <a:lnTo>
                  <a:pt x="2729519" y="1040047"/>
                </a:lnTo>
                <a:lnTo>
                  <a:pt x="2731255" y="1037232"/>
                </a:lnTo>
                <a:lnTo>
                  <a:pt x="2737115" y="1034092"/>
                </a:lnTo>
                <a:lnTo>
                  <a:pt x="2738309" y="1035608"/>
                </a:lnTo>
                <a:lnTo>
                  <a:pt x="2736247" y="1038423"/>
                </a:lnTo>
                <a:lnTo>
                  <a:pt x="2737549" y="1038856"/>
                </a:lnTo>
                <a:lnTo>
                  <a:pt x="2741347" y="1038748"/>
                </a:lnTo>
                <a:lnTo>
                  <a:pt x="2743626" y="1041671"/>
                </a:lnTo>
                <a:lnTo>
                  <a:pt x="2741890" y="1046435"/>
                </a:lnTo>
                <a:lnTo>
                  <a:pt x="2745905" y="1046002"/>
                </a:lnTo>
                <a:lnTo>
                  <a:pt x="2747424" y="1048167"/>
                </a:lnTo>
                <a:lnTo>
                  <a:pt x="2747750" y="1051307"/>
                </a:lnTo>
                <a:lnTo>
                  <a:pt x="2750572" y="1053689"/>
                </a:lnTo>
                <a:lnTo>
                  <a:pt x="2751222" y="1056504"/>
                </a:lnTo>
                <a:lnTo>
                  <a:pt x="2749920" y="1057912"/>
                </a:lnTo>
                <a:lnTo>
                  <a:pt x="2748075" y="1059427"/>
                </a:lnTo>
                <a:lnTo>
                  <a:pt x="2743192" y="1059427"/>
                </a:lnTo>
                <a:lnTo>
                  <a:pt x="2743409" y="1056504"/>
                </a:lnTo>
                <a:lnTo>
                  <a:pt x="2741347" y="1053473"/>
                </a:lnTo>
                <a:lnTo>
                  <a:pt x="2738851" y="1052173"/>
                </a:lnTo>
                <a:lnTo>
                  <a:pt x="2737333" y="1050874"/>
                </a:lnTo>
                <a:lnTo>
                  <a:pt x="2735271" y="1052715"/>
                </a:lnTo>
                <a:lnTo>
                  <a:pt x="2732775" y="1055963"/>
                </a:lnTo>
                <a:lnTo>
                  <a:pt x="2735813" y="1054663"/>
                </a:lnTo>
                <a:lnTo>
                  <a:pt x="2738092" y="1055205"/>
                </a:lnTo>
                <a:lnTo>
                  <a:pt x="2739719" y="1057262"/>
                </a:lnTo>
                <a:lnTo>
                  <a:pt x="2738092" y="1058128"/>
                </a:lnTo>
                <a:lnTo>
                  <a:pt x="2740262" y="1059319"/>
                </a:lnTo>
                <a:lnTo>
                  <a:pt x="2741239" y="1061810"/>
                </a:lnTo>
                <a:lnTo>
                  <a:pt x="2739286" y="1062675"/>
                </a:lnTo>
                <a:lnTo>
                  <a:pt x="2735921" y="1061810"/>
                </a:lnTo>
                <a:lnTo>
                  <a:pt x="2733208" y="1063433"/>
                </a:lnTo>
                <a:lnTo>
                  <a:pt x="2734728" y="1064733"/>
                </a:lnTo>
                <a:lnTo>
                  <a:pt x="2740696" y="1064841"/>
                </a:lnTo>
                <a:lnTo>
                  <a:pt x="2742867" y="1064841"/>
                </a:lnTo>
                <a:lnTo>
                  <a:pt x="2743192" y="1066573"/>
                </a:lnTo>
                <a:lnTo>
                  <a:pt x="2741022" y="1069388"/>
                </a:lnTo>
                <a:lnTo>
                  <a:pt x="2737333" y="1069388"/>
                </a:lnTo>
                <a:lnTo>
                  <a:pt x="2733968" y="1070146"/>
                </a:lnTo>
                <a:lnTo>
                  <a:pt x="2729410" y="1069496"/>
                </a:lnTo>
                <a:lnTo>
                  <a:pt x="2725612" y="1068739"/>
                </a:lnTo>
                <a:lnTo>
                  <a:pt x="2726697" y="1065274"/>
                </a:lnTo>
                <a:lnTo>
                  <a:pt x="2726372" y="1063217"/>
                </a:lnTo>
                <a:lnTo>
                  <a:pt x="2723225" y="1061484"/>
                </a:lnTo>
                <a:lnTo>
                  <a:pt x="2721923" y="1059861"/>
                </a:lnTo>
                <a:lnTo>
                  <a:pt x="2719969" y="1060510"/>
                </a:lnTo>
                <a:lnTo>
                  <a:pt x="2720404" y="1063000"/>
                </a:lnTo>
                <a:lnTo>
                  <a:pt x="2722466" y="1064516"/>
                </a:lnTo>
                <a:lnTo>
                  <a:pt x="2723442" y="1068197"/>
                </a:lnTo>
                <a:lnTo>
                  <a:pt x="2722791" y="1070038"/>
                </a:lnTo>
                <a:lnTo>
                  <a:pt x="2719644" y="1070363"/>
                </a:lnTo>
                <a:lnTo>
                  <a:pt x="2716280" y="1068197"/>
                </a:lnTo>
                <a:lnTo>
                  <a:pt x="2715520" y="1065816"/>
                </a:lnTo>
                <a:lnTo>
                  <a:pt x="2714869" y="1070038"/>
                </a:lnTo>
                <a:lnTo>
                  <a:pt x="2717256" y="1072528"/>
                </a:lnTo>
                <a:lnTo>
                  <a:pt x="2721923" y="1072528"/>
                </a:lnTo>
                <a:lnTo>
                  <a:pt x="2724311" y="1074694"/>
                </a:lnTo>
                <a:lnTo>
                  <a:pt x="2727024" y="1075559"/>
                </a:lnTo>
                <a:lnTo>
                  <a:pt x="2727566" y="1078267"/>
                </a:lnTo>
                <a:lnTo>
                  <a:pt x="2726264" y="1081514"/>
                </a:lnTo>
                <a:lnTo>
                  <a:pt x="2719536" y="1081298"/>
                </a:lnTo>
                <a:lnTo>
                  <a:pt x="2717908" y="1078483"/>
                </a:lnTo>
                <a:lnTo>
                  <a:pt x="2713676" y="1075776"/>
                </a:lnTo>
                <a:lnTo>
                  <a:pt x="2711722" y="1073719"/>
                </a:lnTo>
                <a:lnTo>
                  <a:pt x="2710420" y="1073828"/>
                </a:lnTo>
                <a:lnTo>
                  <a:pt x="2711614" y="1075776"/>
                </a:lnTo>
                <a:lnTo>
                  <a:pt x="2716280" y="1079241"/>
                </a:lnTo>
                <a:lnTo>
                  <a:pt x="2718016" y="1082814"/>
                </a:lnTo>
                <a:lnTo>
                  <a:pt x="2717908" y="1087902"/>
                </a:lnTo>
                <a:lnTo>
                  <a:pt x="2716388" y="1090609"/>
                </a:lnTo>
                <a:lnTo>
                  <a:pt x="2714218" y="1090285"/>
                </a:lnTo>
                <a:lnTo>
                  <a:pt x="2713025" y="1087036"/>
                </a:lnTo>
                <a:lnTo>
                  <a:pt x="2710203" y="1084763"/>
                </a:lnTo>
                <a:lnTo>
                  <a:pt x="2706947" y="1083572"/>
                </a:lnTo>
                <a:lnTo>
                  <a:pt x="2707707" y="1084871"/>
                </a:lnTo>
                <a:lnTo>
                  <a:pt x="2709335" y="1086387"/>
                </a:lnTo>
                <a:lnTo>
                  <a:pt x="2709227" y="1090609"/>
                </a:lnTo>
                <a:lnTo>
                  <a:pt x="2709010" y="1096240"/>
                </a:lnTo>
                <a:lnTo>
                  <a:pt x="2707815" y="1097106"/>
                </a:lnTo>
                <a:lnTo>
                  <a:pt x="2705537" y="1097106"/>
                </a:lnTo>
                <a:lnTo>
                  <a:pt x="2704017" y="1095590"/>
                </a:lnTo>
                <a:lnTo>
                  <a:pt x="2704235" y="1091259"/>
                </a:lnTo>
                <a:lnTo>
                  <a:pt x="2702499" y="1092017"/>
                </a:lnTo>
                <a:lnTo>
                  <a:pt x="2701847" y="1094616"/>
                </a:lnTo>
                <a:lnTo>
                  <a:pt x="2698592" y="1095373"/>
                </a:lnTo>
                <a:lnTo>
                  <a:pt x="2696530" y="1094507"/>
                </a:lnTo>
                <a:lnTo>
                  <a:pt x="2697181" y="1091367"/>
                </a:lnTo>
                <a:lnTo>
                  <a:pt x="2695988" y="1088010"/>
                </a:lnTo>
                <a:lnTo>
                  <a:pt x="2695770" y="1084438"/>
                </a:lnTo>
                <a:lnTo>
                  <a:pt x="2694251" y="1082706"/>
                </a:lnTo>
                <a:lnTo>
                  <a:pt x="2693600" y="1085196"/>
                </a:lnTo>
                <a:lnTo>
                  <a:pt x="2693600" y="1091584"/>
                </a:lnTo>
                <a:lnTo>
                  <a:pt x="2691538" y="1093316"/>
                </a:lnTo>
                <a:lnTo>
                  <a:pt x="2688500" y="1093424"/>
                </a:lnTo>
                <a:lnTo>
                  <a:pt x="2689585" y="1094616"/>
                </a:lnTo>
                <a:lnTo>
                  <a:pt x="2692190" y="1095048"/>
                </a:lnTo>
                <a:lnTo>
                  <a:pt x="2692840" y="1096997"/>
                </a:lnTo>
                <a:lnTo>
                  <a:pt x="2690887" y="1099487"/>
                </a:lnTo>
                <a:lnTo>
                  <a:pt x="2688066" y="1098838"/>
                </a:lnTo>
                <a:lnTo>
                  <a:pt x="2686872" y="1098080"/>
                </a:lnTo>
                <a:lnTo>
                  <a:pt x="2686547" y="1099487"/>
                </a:lnTo>
                <a:lnTo>
                  <a:pt x="2689151" y="1101545"/>
                </a:lnTo>
                <a:lnTo>
                  <a:pt x="2691104" y="1101545"/>
                </a:lnTo>
                <a:lnTo>
                  <a:pt x="2691538" y="1103493"/>
                </a:lnTo>
                <a:lnTo>
                  <a:pt x="2691104" y="1106308"/>
                </a:lnTo>
                <a:lnTo>
                  <a:pt x="2689151" y="1106958"/>
                </a:lnTo>
                <a:lnTo>
                  <a:pt x="2688717" y="1109124"/>
                </a:lnTo>
                <a:lnTo>
                  <a:pt x="2690127" y="1112480"/>
                </a:lnTo>
                <a:lnTo>
                  <a:pt x="2690127" y="1115079"/>
                </a:lnTo>
                <a:lnTo>
                  <a:pt x="2688717" y="1115079"/>
                </a:lnTo>
                <a:lnTo>
                  <a:pt x="2686764" y="1113671"/>
                </a:lnTo>
                <a:lnTo>
                  <a:pt x="2685787" y="1114104"/>
                </a:lnTo>
                <a:lnTo>
                  <a:pt x="2688825" y="1117352"/>
                </a:lnTo>
                <a:lnTo>
                  <a:pt x="2689259" y="1119951"/>
                </a:lnTo>
                <a:lnTo>
                  <a:pt x="2688717" y="1123524"/>
                </a:lnTo>
                <a:lnTo>
                  <a:pt x="2684051" y="1125040"/>
                </a:lnTo>
                <a:lnTo>
                  <a:pt x="2682966" y="1126880"/>
                </a:lnTo>
                <a:lnTo>
                  <a:pt x="2681121" y="1126122"/>
                </a:lnTo>
                <a:lnTo>
                  <a:pt x="2680686" y="1124173"/>
                </a:lnTo>
                <a:lnTo>
                  <a:pt x="2679710" y="1123199"/>
                </a:lnTo>
                <a:lnTo>
                  <a:pt x="2679927" y="1121250"/>
                </a:lnTo>
                <a:lnTo>
                  <a:pt x="2677431" y="1120383"/>
                </a:lnTo>
                <a:lnTo>
                  <a:pt x="2676888" y="1118760"/>
                </a:lnTo>
                <a:lnTo>
                  <a:pt x="2678516" y="1116377"/>
                </a:lnTo>
                <a:lnTo>
                  <a:pt x="2678516" y="1114429"/>
                </a:lnTo>
                <a:lnTo>
                  <a:pt x="2677106" y="1114646"/>
                </a:lnTo>
                <a:lnTo>
                  <a:pt x="2673850" y="1116053"/>
                </a:lnTo>
                <a:lnTo>
                  <a:pt x="2672765" y="1118543"/>
                </a:lnTo>
                <a:lnTo>
                  <a:pt x="2671245" y="1118326"/>
                </a:lnTo>
                <a:lnTo>
                  <a:pt x="2669075" y="1115620"/>
                </a:lnTo>
                <a:lnTo>
                  <a:pt x="2670595" y="1113454"/>
                </a:lnTo>
                <a:lnTo>
                  <a:pt x="2668967" y="1111289"/>
                </a:lnTo>
                <a:lnTo>
                  <a:pt x="2668967" y="1109773"/>
                </a:lnTo>
                <a:lnTo>
                  <a:pt x="2670595" y="1108257"/>
                </a:lnTo>
                <a:lnTo>
                  <a:pt x="2670812" y="1106417"/>
                </a:lnTo>
                <a:lnTo>
                  <a:pt x="2671463" y="1104360"/>
                </a:lnTo>
                <a:lnTo>
                  <a:pt x="2670595" y="1103926"/>
                </a:lnTo>
                <a:lnTo>
                  <a:pt x="2668207" y="1106417"/>
                </a:lnTo>
                <a:lnTo>
                  <a:pt x="2666254" y="1110964"/>
                </a:lnTo>
                <a:lnTo>
                  <a:pt x="2663649" y="1113887"/>
                </a:lnTo>
                <a:lnTo>
                  <a:pt x="2662890" y="1112805"/>
                </a:lnTo>
                <a:lnTo>
                  <a:pt x="2662781" y="1110098"/>
                </a:lnTo>
                <a:lnTo>
                  <a:pt x="2661045" y="1107175"/>
                </a:lnTo>
                <a:lnTo>
                  <a:pt x="2660177" y="1104360"/>
                </a:lnTo>
                <a:lnTo>
                  <a:pt x="2661804" y="1102628"/>
                </a:lnTo>
                <a:lnTo>
                  <a:pt x="2666037" y="1100895"/>
                </a:lnTo>
                <a:lnTo>
                  <a:pt x="2666037" y="1099812"/>
                </a:lnTo>
                <a:lnTo>
                  <a:pt x="2668424" y="1098946"/>
                </a:lnTo>
                <a:lnTo>
                  <a:pt x="2667556" y="1097755"/>
                </a:lnTo>
                <a:lnTo>
                  <a:pt x="2664084" y="1097430"/>
                </a:lnTo>
                <a:lnTo>
                  <a:pt x="2661154" y="1098188"/>
                </a:lnTo>
                <a:lnTo>
                  <a:pt x="2658006" y="1097430"/>
                </a:lnTo>
                <a:lnTo>
                  <a:pt x="2657247" y="1095914"/>
                </a:lnTo>
                <a:lnTo>
                  <a:pt x="2658224" y="1093749"/>
                </a:lnTo>
                <a:lnTo>
                  <a:pt x="2661804" y="1092883"/>
                </a:lnTo>
                <a:lnTo>
                  <a:pt x="2664952" y="1088877"/>
                </a:lnTo>
                <a:lnTo>
                  <a:pt x="2662890" y="1089526"/>
                </a:lnTo>
                <a:lnTo>
                  <a:pt x="2660068" y="1090718"/>
                </a:lnTo>
                <a:lnTo>
                  <a:pt x="2658006" y="1089743"/>
                </a:lnTo>
                <a:lnTo>
                  <a:pt x="2657681" y="1087469"/>
                </a:lnTo>
                <a:lnTo>
                  <a:pt x="2660068" y="1086495"/>
                </a:lnTo>
                <a:lnTo>
                  <a:pt x="2663216" y="1085196"/>
                </a:lnTo>
                <a:lnTo>
                  <a:pt x="2666362" y="1084222"/>
                </a:lnTo>
                <a:lnTo>
                  <a:pt x="2663649" y="1083030"/>
                </a:lnTo>
                <a:lnTo>
                  <a:pt x="2660177" y="1083139"/>
                </a:lnTo>
                <a:lnTo>
                  <a:pt x="2657898" y="1084655"/>
                </a:lnTo>
                <a:lnTo>
                  <a:pt x="2656270" y="1083572"/>
                </a:lnTo>
                <a:lnTo>
                  <a:pt x="2656705" y="1081514"/>
                </a:lnTo>
                <a:lnTo>
                  <a:pt x="2660286" y="1076426"/>
                </a:lnTo>
                <a:lnTo>
                  <a:pt x="2662564" y="1075559"/>
                </a:lnTo>
                <a:lnTo>
                  <a:pt x="2667339" y="1074694"/>
                </a:lnTo>
                <a:lnTo>
                  <a:pt x="2671137" y="1071553"/>
                </a:lnTo>
                <a:lnTo>
                  <a:pt x="2674176" y="1069605"/>
                </a:lnTo>
                <a:lnTo>
                  <a:pt x="2676020" y="1065816"/>
                </a:lnTo>
                <a:lnTo>
                  <a:pt x="2679493" y="1061918"/>
                </a:lnTo>
                <a:lnTo>
                  <a:pt x="2681446" y="1060835"/>
                </a:lnTo>
                <a:lnTo>
                  <a:pt x="2681012" y="1059211"/>
                </a:lnTo>
                <a:lnTo>
                  <a:pt x="2679059" y="1059535"/>
                </a:lnTo>
                <a:lnTo>
                  <a:pt x="2674718" y="1063000"/>
                </a:lnTo>
                <a:lnTo>
                  <a:pt x="2672331" y="1064300"/>
                </a:lnTo>
                <a:lnTo>
                  <a:pt x="2670269" y="1067765"/>
                </a:lnTo>
                <a:lnTo>
                  <a:pt x="2664734" y="1070363"/>
                </a:lnTo>
                <a:lnTo>
                  <a:pt x="2661804" y="1070363"/>
                </a:lnTo>
                <a:lnTo>
                  <a:pt x="2655620" y="1074694"/>
                </a:lnTo>
                <a:lnTo>
                  <a:pt x="2651170" y="1075343"/>
                </a:lnTo>
                <a:lnTo>
                  <a:pt x="2648132" y="1074152"/>
                </a:lnTo>
                <a:lnTo>
                  <a:pt x="2648240" y="1072420"/>
                </a:lnTo>
                <a:lnTo>
                  <a:pt x="2654643" y="1065707"/>
                </a:lnTo>
                <a:lnTo>
                  <a:pt x="2659418" y="1063108"/>
                </a:lnTo>
                <a:lnTo>
                  <a:pt x="2660719" y="1060835"/>
                </a:lnTo>
                <a:lnTo>
                  <a:pt x="2662456" y="1058886"/>
                </a:lnTo>
                <a:lnTo>
                  <a:pt x="2662131" y="1055638"/>
                </a:lnTo>
                <a:lnTo>
                  <a:pt x="2658766" y="1060618"/>
                </a:lnTo>
                <a:lnTo>
                  <a:pt x="2649759" y="1066032"/>
                </a:lnTo>
                <a:lnTo>
                  <a:pt x="2646829" y="1067547"/>
                </a:lnTo>
                <a:lnTo>
                  <a:pt x="2644659" y="1066790"/>
                </a:lnTo>
                <a:lnTo>
                  <a:pt x="2643574" y="1065057"/>
                </a:lnTo>
                <a:lnTo>
                  <a:pt x="2644116" y="1061810"/>
                </a:lnTo>
                <a:lnTo>
                  <a:pt x="2642923" y="1060185"/>
                </a:lnTo>
                <a:lnTo>
                  <a:pt x="2640427" y="1060943"/>
                </a:lnTo>
                <a:lnTo>
                  <a:pt x="2638148" y="1059535"/>
                </a:lnTo>
                <a:lnTo>
                  <a:pt x="2639341" y="1057804"/>
                </a:lnTo>
                <a:lnTo>
                  <a:pt x="2641621" y="1057045"/>
                </a:lnTo>
                <a:lnTo>
                  <a:pt x="2641621" y="1054772"/>
                </a:lnTo>
                <a:lnTo>
                  <a:pt x="2639884" y="1053473"/>
                </a:lnTo>
                <a:lnTo>
                  <a:pt x="2637606" y="1053473"/>
                </a:lnTo>
                <a:lnTo>
                  <a:pt x="2637171" y="1052282"/>
                </a:lnTo>
                <a:lnTo>
                  <a:pt x="2637714" y="1047843"/>
                </a:lnTo>
                <a:lnTo>
                  <a:pt x="2639341" y="1046868"/>
                </a:lnTo>
                <a:lnTo>
                  <a:pt x="2639450" y="1044270"/>
                </a:lnTo>
                <a:lnTo>
                  <a:pt x="2636955" y="1042862"/>
                </a:lnTo>
                <a:lnTo>
                  <a:pt x="2635110" y="1040480"/>
                </a:lnTo>
                <a:lnTo>
                  <a:pt x="2634133" y="1040696"/>
                </a:lnTo>
                <a:lnTo>
                  <a:pt x="2634025" y="1043837"/>
                </a:lnTo>
                <a:lnTo>
                  <a:pt x="2634784" y="1046327"/>
                </a:lnTo>
                <a:lnTo>
                  <a:pt x="2631095" y="1047734"/>
                </a:lnTo>
                <a:lnTo>
                  <a:pt x="2629032" y="1045785"/>
                </a:lnTo>
                <a:lnTo>
                  <a:pt x="2626646" y="1043512"/>
                </a:lnTo>
                <a:lnTo>
                  <a:pt x="2622630" y="1043620"/>
                </a:lnTo>
                <a:lnTo>
                  <a:pt x="2627079" y="1046327"/>
                </a:lnTo>
                <a:lnTo>
                  <a:pt x="2629684" y="1050766"/>
                </a:lnTo>
                <a:lnTo>
                  <a:pt x="2630227" y="1054772"/>
                </a:lnTo>
                <a:lnTo>
                  <a:pt x="2627297" y="1054014"/>
                </a:lnTo>
                <a:lnTo>
                  <a:pt x="2626537" y="1055313"/>
                </a:lnTo>
                <a:lnTo>
                  <a:pt x="2627188" y="1056504"/>
                </a:lnTo>
                <a:lnTo>
                  <a:pt x="2623607" y="1057045"/>
                </a:lnTo>
                <a:lnTo>
                  <a:pt x="2621436" y="1054447"/>
                </a:lnTo>
                <a:lnTo>
                  <a:pt x="2620351" y="1049792"/>
                </a:lnTo>
                <a:lnTo>
                  <a:pt x="2618398" y="1048384"/>
                </a:lnTo>
                <a:lnTo>
                  <a:pt x="2617096" y="1049683"/>
                </a:lnTo>
                <a:lnTo>
                  <a:pt x="2619591" y="1052173"/>
                </a:lnTo>
                <a:lnTo>
                  <a:pt x="2620026" y="1055313"/>
                </a:lnTo>
                <a:lnTo>
                  <a:pt x="2618615" y="1058669"/>
                </a:lnTo>
                <a:lnTo>
                  <a:pt x="2621545" y="1059319"/>
                </a:lnTo>
                <a:lnTo>
                  <a:pt x="2624475" y="1062892"/>
                </a:lnTo>
                <a:lnTo>
                  <a:pt x="2625994" y="1066898"/>
                </a:lnTo>
                <a:lnTo>
                  <a:pt x="2625560" y="1069930"/>
                </a:lnTo>
                <a:lnTo>
                  <a:pt x="2627514" y="1070471"/>
                </a:lnTo>
                <a:lnTo>
                  <a:pt x="2627079" y="1072528"/>
                </a:lnTo>
                <a:lnTo>
                  <a:pt x="2624475" y="1073394"/>
                </a:lnTo>
                <a:lnTo>
                  <a:pt x="2619591" y="1072853"/>
                </a:lnTo>
                <a:lnTo>
                  <a:pt x="2617530" y="1070255"/>
                </a:lnTo>
                <a:lnTo>
                  <a:pt x="2616228" y="1074369"/>
                </a:lnTo>
                <a:lnTo>
                  <a:pt x="2614708" y="1074369"/>
                </a:lnTo>
                <a:lnTo>
                  <a:pt x="2610259" y="1069280"/>
                </a:lnTo>
                <a:lnTo>
                  <a:pt x="2609500" y="1066140"/>
                </a:lnTo>
                <a:lnTo>
                  <a:pt x="2611127" y="1063433"/>
                </a:lnTo>
                <a:lnTo>
                  <a:pt x="2610259" y="1060618"/>
                </a:lnTo>
                <a:lnTo>
                  <a:pt x="2606461" y="1058237"/>
                </a:lnTo>
                <a:lnTo>
                  <a:pt x="2602663" y="1058453"/>
                </a:lnTo>
                <a:lnTo>
                  <a:pt x="2602012" y="1055963"/>
                </a:lnTo>
                <a:lnTo>
                  <a:pt x="2600276" y="1052715"/>
                </a:lnTo>
                <a:lnTo>
                  <a:pt x="2597888" y="1054447"/>
                </a:lnTo>
                <a:lnTo>
                  <a:pt x="2593765" y="1055529"/>
                </a:lnTo>
                <a:lnTo>
                  <a:pt x="2588447" y="1055096"/>
                </a:lnTo>
                <a:lnTo>
                  <a:pt x="2590509" y="1057587"/>
                </a:lnTo>
                <a:lnTo>
                  <a:pt x="2596261" y="1058020"/>
                </a:lnTo>
                <a:lnTo>
                  <a:pt x="2599841" y="1059535"/>
                </a:lnTo>
                <a:lnTo>
                  <a:pt x="2604834" y="1061051"/>
                </a:lnTo>
                <a:lnTo>
                  <a:pt x="2604834" y="1065816"/>
                </a:lnTo>
                <a:lnTo>
                  <a:pt x="2602229" y="1069063"/>
                </a:lnTo>
                <a:lnTo>
                  <a:pt x="2602338" y="1071770"/>
                </a:lnTo>
                <a:lnTo>
                  <a:pt x="2604942" y="1071229"/>
                </a:lnTo>
                <a:lnTo>
                  <a:pt x="2606461" y="1073394"/>
                </a:lnTo>
                <a:lnTo>
                  <a:pt x="2604725" y="1075885"/>
                </a:lnTo>
                <a:lnTo>
                  <a:pt x="2606679" y="1076751"/>
                </a:lnTo>
                <a:lnTo>
                  <a:pt x="2610585" y="1076751"/>
                </a:lnTo>
                <a:lnTo>
                  <a:pt x="2610802" y="1078808"/>
                </a:lnTo>
                <a:lnTo>
                  <a:pt x="2608197" y="1082922"/>
                </a:lnTo>
                <a:lnTo>
                  <a:pt x="2601904" y="1088336"/>
                </a:lnTo>
                <a:lnTo>
                  <a:pt x="2597997" y="1091584"/>
                </a:lnTo>
                <a:lnTo>
                  <a:pt x="2606461" y="1089526"/>
                </a:lnTo>
                <a:lnTo>
                  <a:pt x="2609065" y="1086495"/>
                </a:lnTo>
                <a:lnTo>
                  <a:pt x="2609934" y="1084438"/>
                </a:lnTo>
                <a:lnTo>
                  <a:pt x="2616553" y="1084546"/>
                </a:lnTo>
                <a:lnTo>
                  <a:pt x="2618506" y="1086712"/>
                </a:lnTo>
                <a:lnTo>
                  <a:pt x="2618506" y="1088336"/>
                </a:lnTo>
                <a:lnTo>
                  <a:pt x="2614383" y="1090501"/>
                </a:lnTo>
                <a:lnTo>
                  <a:pt x="2612321" y="1093424"/>
                </a:lnTo>
                <a:lnTo>
                  <a:pt x="2614057" y="1094724"/>
                </a:lnTo>
                <a:lnTo>
                  <a:pt x="2618073" y="1095265"/>
                </a:lnTo>
                <a:lnTo>
                  <a:pt x="2620677" y="1097863"/>
                </a:lnTo>
                <a:lnTo>
                  <a:pt x="2618398" y="1099271"/>
                </a:lnTo>
                <a:lnTo>
                  <a:pt x="2614166" y="1099812"/>
                </a:lnTo>
                <a:lnTo>
                  <a:pt x="2612864" y="1101761"/>
                </a:lnTo>
                <a:lnTo>
                  <a:pt x="2615143" y="1102519"/>
                </a:lnTo>
                <a:lnTo>
                  <a:pt x="2615902" y="1105334"/>
                </a:lnTo>
                <a:lnTo>
                  <a:pt x="2615360" y="1105875"/>
                </a:lnTo>
                <a:lnTo>
                  <a:pt x="2615793" y="1107391"/>
                </a:lnTo>
                <a:lnTo>
                  <a:pt x="2617530" y="1107391"/>
                </a:lnTo>
                <a:lnTo>
                  <a:pt x="2616770" y="1111181"/>
                </a:lnTo>
                <a:lnTo>
                  <a:pt x="2618723" y="1111614"/>
                </a:lnTo>
                <a:lnTo>
                  <a:pt x="2619591" y="1114862"/>
                </a:lnTo>
                <a:lnTo>
                  <a:pt x="2620134" y="1120601"/>
                </a:lnTo>
                <a:lnTo>
                  <a:pt x="2621219" y="1121358"/>
                </a:lnTo>
                <a:lnTo>
                  <a:pt x="2622522" y="1118760"/>
                </a:lnTo>
                <a:lnTo>
                  <a:pt x="2622956" y="1114320"/>
                </a:lnTo>
                <a:lnTo>
                  <a:pt x="2625017" y="1113021"/>
                </a:lnTo>
                <a:lnTo>
                  <a:pt x="2627730" y="1115512"/>
                </a:lnTo>
                <a:lnTo>
                  <a:pt x="2628382" y="1120383"/>
                </a:lnTo>
                <a:lnTo>
                  <a:pt x="2630227" y="1122549"/>
                </a:lnTo>
                <a:lnTo>
                  <a:pt x="2629250" y="1124173"/>
                </a:lnTo>
                <a:lnTo>
                  <a:pt x="2625777" y="1126338"/>
                </a:lnTo>
                <a:lnTo>
                  <a:pt x="2626537" y="1128071"/>
                </a:lnTo>
                <a:lnTo>
                  <a:pt x="2632288" y="1127205"/>
                </a:lnTo>
                <a:lnTo>
                  <a:pt x="2633590" y="1126122"/>
                </a:lnTo>
                <a:lnTo>
                  <a:pt x="2633916" y="1129154"/>
                </a:lnTo>
                <a:lnTo>
                  <a:pt x="2635978" y="1126014"/>
                </a:lnTo>
                <a:lnTo>
                  <a:pt x="2636086" y="1123524"/>
                </a:lnTo>
                <a:lnTo>
                  <a:pt x="2638691" y="1123848"/>
                </a:lnTo>
                <a:lnTo>
                  <a:pt x="2640753" y="1127313"/>
                </a:lnTo>
                <a:lnTo>
                  <a:pt x="2639884" y="1131319"/>
                </a:lnTo>
                <a:lnTo>
                  <a:pt x="2636846" y="1134350"/>
                </a:lnTo>
                <a:lnTo>
                  <a:pt x="2636195" y="1137058"/>
                </a:lnTo>
                <a:lnTo>
                  <a:pt x="2635218" y="1138465"/>
                </a:lnTo>
                <a:lnTo>
                  <a:pt x="2637497" y="1140522"/>
                </a:lnTo>
                <a:lnTo>
                  <a:pt x="2643140" y="1139981"/>
                </a:lnTo>
                <a:lnTo>
                  <a:pt x="2645961" y="1138573"/>
                </a:lnTo>
                <a:lnTo>
                  <a:pt x="2647915" y="1140414"/>
                </a:lnTo>
                <a:lnTo>
                  <a:pt x="2644225" y="1143121"/>
                </a:lnTo>
                <a:lnTo>
                  <a:pt x="2643248" y="1144744"/>
                </a:lnTo>
                <a:lnTo>
                  <a:pt x="2638148" y="1145611"/>
                </a:lnTo>
                <a:lnTo>
                  <a:pt x="2640969" y="1148859"/>
                </a:lnTo>
                <a:lnTo>
                  <a:pt x="2643682" y="1153839"/>
                </a:lnTo>
                <a:lnTo>
                  <a:pt x="2642706" y="1157304"/>
                </a:lnTo>
                <a:lnTo>
                  <a:pt x="2644876" y="1157845"/>
                </a:lnTo>
                <a:lnTo>
                  <a:pt x="2645744" y="1163692"/>
                </a:lnTo>
                <a:lnTo>
                  <a:pt x="2650953" y="1171812"/>
                </a:lnTo>
                <a:lnTo>
                  <a:pt x="2652472" y="1173111"/>
                </a:lnTo>
                <a:lnTo>
                  <a:pt x="2649434" y="1174844"/>
                </a:lnTo>
                <a:lnTo>
                  <a:pt x="2648891" y="1181448"/>
                </a:lnTo>
                <a:lnTo>
                  <a:pt x="2646612" y="1186212"/>
                </a:lnTo>
                <a:lnTo>
                  <a:pt x="2647697" y="1191193"/>
                </a:lnTo>
                <a:lnTo>
                  <a:pt x="2646287" y="1192925"/>
                </a:lnTo>
                <a:lnTo>
                  <a:pt x="2640210" y="1186104"/>
                </a:lnTo>
                <a:lnTo>
                  <a:pt x="2638908" y="1180690"/>
                </a:lnTo>
                <a:lnTo>
                  <a:pt x="2639559" y="1175927"/>
                </a:lnTo>
                <a:lnTo>
                  <a:pt x="2638040" y="1169213"/>
                </a:lnTo>
                <a:lnTo>
                  <a:pt x="2637497" y="1175168"/>
                </a:lnTo>
                <a:lnTo>
                  <a:pt x="2636629" y="1181882"/>
                </a:lnTo>
                <a:lnTo>
                  <a:pt x="2639559" y="1189785"/>
                </a:lnTo>
                <a:lnTo>
                  <a:pt x="2639016" y="1197256"/>
                </a:lnTo>
                <a:lnTo>
                  <a:pt x="2637497" y="1201045"/>
                </a:lnTo>
                <a:lnTo>
                  <a:pt x="2640101" y="1205484"/>
                </a:lnTo>
                <a:lnTo>
                  <a:pt x="2638691" y="1207000"/>
                </a:lnTo>
                <a:lnTo>
                  <a:pt x="2634567" y="1206134"/>
                </a:lnTo>
                <a:lnTo>
                  <a:pt x="2632505" y="1202669"/>
                </a:lnTo>
                <a:lnTo>
                  <a:pt x="2628707" y="1202669"/>
                </a:lnTo>
                <a:lnTo>
                  <a:pt x="2631312" y="1211439"/>
                </a:lnTo>
                <a:lnTo>
                  <a:pt x="2630986" y="1217178"/>
                </a:lnTo>
                <a:lnTo>
                  <a:pt x="2632288" y="1218585"/>
                </a:lnTo>
                <a:lnTo>
                  <a:pt x="2632288" y="1221617"/>
                </a:lnTo>
                <a:lnTo>
                  <a:pt x="2628056" y="1221075"/>
                </a:lnTo>
                <a:lnTo>
                  <a:pt x="2625452" y="1218152"/>
                </a:lnTo>
                <a:lnTo>
                  <a:pt x="2623716" y="1210790"/>
                </a:lnTo>
                <a:lnTo>
                  <a:pt x="2625234" y="1208624"/>
                </a:lnTo>
                <a:lnTo>
                  <a:pt x="2625234" y="1203968"/>
                </a:lnTo>
                <a:lnTo>
                  <a:pt x="2623173" y="1206459"/>
                </a:lnTo>
                <a:lnTo>
                  <a:pt x="2619917" y="1207000"/>
                </a:lnTo>
                <a:lnTo>
                  <a:pt x="2617964" y="1204294"/>
                </a:lnTo>
                <a:lnTo>
                  <a:pt x="2617964" y="1197364"/>
                </a:lnTo>
                <a:lnTo>
                  <a:pt x="2615468" y="1198880"/>
                </a:lnTo>
                <a:lnTo>
                  <a:pt x="2615143" y="1202345"/>
                </a:lnTo>
                <a:lnTo>
                  <a:pt x="2614057" y="1200829"/>
                </a:lnTo>
                <a:lnTo>
                  <a:pt x="2614275" y="1197905"/>
                </a:lnTo>
                <a:lnTo>
                  <a:pt x="2612647" y="1193574"/>
                </a:lnTo>
                <a:lnTo>
                  <a:pt x="2609717" y="1192925"/>
                </a:lnTo>
                <a:lnTo>
                  <a:pt x="2609717" y="1194766"/>
                </a:lnTo>
                <a:lnTo>
                  <a:pt x="2611453" y="1197039"/>
                </a:lnTo>
                <a:lnTo>
                  <a:pt x="2610150" y="1199746"/>
                </a:lnTo>
                <a:lnTo>
                  <a:pt x="2607112" y="1197689"/>
                </a:lnTo>
                <a:lnTo>
                  <a:pt x="2604942" y="1197039"/>
                </a:lnTo>
                <a:lnTo>
                  <a:pt x="2604399" y="1193250"/>
                </a:lnTo>
                <a:lnTo>
                  <a:pt x="2604942" y="1189135"/>
                </a:lnTo>
                <a:lnTo>
                  <a:pt x="2602338" y="1181882"/>
                </a:lnTo>
                <a:lnTo>
                  <a:pt x="2602338" y="1178958"/>
                </a:lnTo>
                <a:lnTo>
                  <a:pt x="2601144" y="1183180"/>
                </a:lnTo>
                <a:lnTo>
                  <a:pt x="2601469" y="1190218"/>
                </a:lnTo>
                <a:lnTo>
                  <a:pt x="2602663" y="1194657"/>
                </a:lnTo>
                <a:lnTo>
                  <a:pt x="2600059" y="1197364"/>
                </a:lnTo>
                <a:lnTo>
                  <a:pt x="2596803" y="1189677"/>
                </a:lnTo>
                <a:lnTo>
                  <a:pt x="2593548" y="1186429"/>
                </a:lnTo>
                <a:lnTo>
                  <a:pt x="2593548" y="1184155"/>
                </a:lnTo>
                <a:lnTo>
                  <a:pt x="2590292" y="1183505"/>
                </a:lnTo>
                <a:lnTo>
                  <a:pt x="2588014" y="1176035"/>
                </a:lnTo>
                <a:lnTo>
                  <a:pt x="2585952" y="1174194"/>
                </a:lnTo>
                <a:lnTo>
                  <a:pt x="2585952" y="1171812"/>
                </a:lnTo>
                <a:lnTo>
                  <a:pt x="2583889" y="1168348"/>
                </a:lnTo>
                <a:lnTo>
                  <a:pt x="2581503" y="1169755"/>
                </a:lnTo>
                <a:lnTo>
                  <a:pt x="2581177" y="1171812"/>
                </a:lnTo>
                <a:lnTo>
                  <a:pt x="2583347" y="1177334"/>
                </a:lnTo>
                <a:lnTo>
                  <a:pt x="2583781" y="1181015"/>
                </a:lnTo>
                <a:lnTo>
                  <a:pt x="2581719" y="1178958"/>
                </a:lnTo>
                <a:lnTo>
                  <a:pt x="2581286" y="1175927"/>
                </a:lnTo>
                <a:lnTo>
                  <a:pt x="2578898" y="1173870"/>
                </a:lnTo>
                <a:lnTo>
                  <a:pt x="2573580" y="1171271"/>
                </a:lnTo>
                <a:lnTo>
                  <a:pt x="2570434" y="1165316"/>
                </a:lnTo>
                <a:lnTo>
                  <a:pt x="2570108" y="1160768"/>
                </a:lnTo>
                <a:lnTo>
                  <a:pt x="2565442" y="1159686"/>
                </a:lnTo>
                <a:lnTo>
                  <a:pt x="2563598" y="1162826"/>
                </a:lnTo>
                <a:lnTo>
                  <a:pt x="2560450" y="1161093"/>
                </a:lnTo>
                <a:lnTo>
                  <a:pt x="2559908" y="1165099"/>
                </a:lnTo>
                <a:lnTo>
                  <a:pt x="2561210" y="1170946"/>
                </a:lnTo>
                <a:lnTo>
                  <a:pt x="2567721" y="1176468"/>
                </a:lnTo>
                <a:lnTo>
                  <a:pt x="2567829" y="1178633"/>
                </a:lnTo>
                <a:lnTo>
                  <a:pt x="2568372" y="1181882"/>
                </a:lnTo>
                <a:lnTo>
                  <a:pt x="2568914" y="1187619"/>
                </a:lnTo>
                <a:lnTo>
                  <a:pt x="2570868" y="1187295"/>
                </a:lnTo>
                <a:lnTo>
                  <a:pt x="2576293" y="1188270"/>
                </a:lnTo>
                <a:lnTo>
                  <a:pt x="2579223" y="1192276"/>
                </a:lnTo>
                <a:lnTo>
                  <a:pt x="2578030" y="1194766"/>
                </a:lnTo>
                <a:lnTo>
                  <a:pt x="2580091" y="1194441"/>
                </a:lnTo>
                <a:lnTo>
                  <a:pt x="2583239" y="1195199"/>
                </a:lnTo>
                <a:lnTo>
                  <a:pt x="2580634" y="1198555"/>
                </a:lnTo>
                <a:lnTo>
                  <a:pt x="2584975" y="1198772"/>
                </a:lnTo>
                <a:lnTo>
                  <a:pt x="2586494" y="1201803"/>
                </a:lnTo>
                <a:lnTo>
                  <a:pt x="2588882" y="1206351"/>
                </a:lnTo>
                <a:lnTo>
                  <a:pt x="2588014" y="1210249"/>
                </a:lnTo>
                <a:lnTo>
                  <a:pt x="2591812" y="1209815"/>
                </a:lnTo>
                <a:lnTo>
                  <a:pt x="2594307" y="1210790"/>
                </a:lnTo>
                <a:lnTo>
                  <a:pt x="2595501" y="1216204"/>
                </a:lnTo>
                <a:lnTo>
                  <a:pt x="2591703" y="1220426"/>
                </a:lnTo>
                <a:lnTo>
                  <a:pt x="2594199" y="1220318"/>
                </a:lnTo>
                <a:lnTo>
                  <a:pt x="2595393" y="1223349"/>
                </a:lnTo>
                <a:lnTo>
                  <a:pt x="2595610" y="1225623"/>
                </a:lnTo>
                <a:lnTo>
                  <a:pt x="2599516" y="1221833"/>
                </a:lnTo>
                <a:lnTo>
                  <a:pt x="2600601" y="1222916"/>
                </a:lnTo>
                <a:lnTo>
                  <a:pt x="2600059" y="1227896"/>
                </a:lnTo>
                <a:lnTo>
                  <a:pt x="2601469" y="1229737"/>
                </a:lnTo>
                <a:lnTo>
                  <a:pt x="2603314" y="1228546"/>
                </a:lnTo>
                <a:lnTo>
                  <a:pt x="2604725" y="1231253"/>
                </a:lnTo>
                <a:lnTo>
                  <a:pt x="2603423" y="1234176"/>
                </a:lnTo>
                <a:lnTo>
                  <a:pt x="2599841" y="1233310"/>
                </a:lnTo>
                <a:lnTo>
                  <a:pt x="2597997" y="1235367"/>
                </a:lnTo>
                <a:lnTo>
                  <a:pt x="2599733" y="1238398"/>
                </a:lnTo>
                <a:lnTo>
                  <a:pt x="2602663" y="1241647"/>
                </a:lnTo>
                <a:lnTo>
                  <a:pt x="2602446" y="1244353"/>
                </a:lnTo>
                <a:lnTo>
                  <a:pt x="2601469" y="1245545"/>
                </a:lnTo>
                <a:lnTo>
                  <a:pt x="2597237" y="1245545"/>
                </a:lnTo>
                <a:lnTo>
                  <a:pt x="2593005" y="1242946"/>
                </a:lnTo>
                <a:lnTo>
                  <a:pt x="2585734" y="1240455"/>
                </a:lnTo>
                <a:lnTo>
                  <a:pt x="2582371" y="1237857"/>
                </a:lnTo>
                <a:lnTo>
                  <a:pt x="2579115" y="1237316"/>
                </a:lnTo>
                <a:lnTo>
                  <a:pt x="2572604" y="1231686"/>
                </a:lnTo>
                <a:lnTo>
                  <a:pt x="2571410" y="1228979"/>
                </a:lnTo>
                <a:lnTo>
                  <a:pt x="2567937" y="1227030"/>
                </a:lnTo>
                <a:lnTo>
                  <a:pt x="2565116" y="1227355"/>
                </a:lnTo>
                <a:lnTo>
                  <a:pt x="2562512" y="1226272"/>
                </a:lnTo>
                <a:lnTo>
                  <a:pt x="2560667" y="1227788"/>
                </a:lnTo>
                <a:lnTo>
                  <a:pt x="2553505" y="1224757"/>
                </a:lnTo>
                <a:lnTo>
                  <a:pt x="2552637" y="1222266"/>
                </a:lnTo>
                <a:lnTo>
                  <a:pt x="2550032" y="1219776"/>
                </a:lnTo>
                <a:lnTo>
                  <a:pt x="2546777" y="1219776"/>
                </a:lnTo>
                <a:lnTo>
                  <a:pt x="2541894" y="1214146"/>
                </a:lnTo>
                <a:lnTo>
                  <a:pt x="2542003" y="1211006"/>
                </a:lnTo>
                <a:lnTo>
                  <a:pt x="2539723" y="1211223"/>
                </a:lnTo>
                <a:lnTo>
                  <a:pt x="2536902" y="1209274"/>
                </a:lnTo>
                <a:lnTo>
                  <a:pt x="2534840" y="1205160"/>
                </a:lnTo>
                <a:lnTo>
                  <a:pt x="2536793" y="1203319"/>
                </a:lnTo>
                <a:lnTo>
                  <a:pt x="2539073" y="1201803"/>
                </a:lnTo>
                <a:lnTo>
                  <a:pt x="2534732" y="1199963"/>
                </a:lnTo>
                <a:lnTo>
                  <a:pt x="2533212" y="1201045"/>
                </a:lnTo>
                <a:lnTo>
                  <a:pt x="2532019" y="1202778"/>
                </a:lnTo>
                <a:lnTo>
                  <a:pt x="2529523" y="1201262"/>
                </a:lnTo>
                <a:lnTo>
                  <a:pt x="2529632" y="1199313"/>
                </a:lnTo>
                <a:lnTo>
                  <a:pt x="2525725" y="1199313"/>
                </a:lnTo>
                <a:lnTo>
                  <a:pt x="2518346" y="1194333"/>
                </a:lnTo>
                <a:lnTo>
                  <a:pt x="2515307" y="1194116"/>
                </a:lnTo>
                <a:lnTo>
                  <a:pt x="2512920" y="1191843"/>
                </a:lnTo>
                <a:lnTo>
                  <a:pt x="2508579" y="1188270"/>
                </a:lnTo>
                <a:lnTo>
                  <a:pt x="2508905" y="1185779"/>
                </a:lnTo>
                <a:lnTo>
                  <a:pt x="2505866" y="1185346"/>
                </a:lnTo>
                <a:lnTo>
                  <a:pt x="2503153" y="1181990"/>
                </a:lnTo>
                <a:lnTo>
                  <a:pt x="2500223" y="1178092"/>
                </a:lnTo>
                <a:lnTo>
                  <a:pt x="2499790" y="1172462"/>
                </a:lnTo>
                <a:lnTo>
                  <a:pt x="2495340" y="1170188"/>
                </a:lnTo>
                <a:lnTo>
                  <a:pt x="2496860" y="1168348"/>
                </a:lnTo>
                <a:lnTo>
                  <a:pt x="2503262" y="1168672"/>
                </a:lnTo>
                <a:lnTo>
                  <a:pt x="2511835" y="1162826"/>
                </a:lnTo>
                <a:lnTo>
                  <a:pt x="2513571" y="1160444"/>
                </a:lnTo>
                <a:lnTo>
                  <a:pt x="2506734" y="1161310"/>
                </a:lnTo>
                <a:lnTo>
                  <a:pt x="2503479" y="1156329"/>
                </a:lnTo>
                <a:lnTo>
                  <a:pt x="2501851" y="1151133"/>
                </a:lnTo>
                <a:lnTo>
                  <a:pt x="2502936" y="1149292"/>
                </a:lnTo>
                <a:lnTo>
                  <a:pt x="2500332" y="1150483"/>
                </a:lnTo>
                <a:lnTo>
                  <a:pt x="2498162" y="1154814"/>
                </a:lnTo>
                <a:lnTo>
                  <a:pt x="2497619" y="1158170"/>
                </a:lnTo>
                <a:lnTo>
                  <a:pt x="2493604" y="1154272"/>
                </a:lnTo>
                <a:lnTo>
                  <a:pt x="2496425" y="1150807"/>
                </a:lnTo>
                <a:lnTo>
                  <a:pt x="2497293" y="1143554"/>
                </a:lnTo>
                <a:lnTo>
                  <a:pt x="2494255" y="1148750"/>
                </a:lnTo>
                <a:lnTo>
                  <a:pt x="2492302" y="1146693"/>
                </a:lnTo>
                <a:lnTo>
                  <a:pt x="2492302" y="1141497"/>
                </a:lnTo>
                <a:lnTo>
                  <a:pt x="2488395" y="1142254"/>
                </a:lnTo>
                <a:lnTo>
                  <a:pt x="2487419" y="1137924"/>
                </a:lnTo>
                <a:lnTo>
                  <a:pt x="2487744" y="1133809"/>
                </a:lnTo>
                <a:lnTo>
                  <a:pt x="2485465" y="1127638"/>
                </a:lnTo>
                <a:lnTo>
                  <a:pt x="2481885" y="1125581"/>
                </a:lnTo>
                <a:lnTo>
                  <a:pt x="2482101" y="1121899"/>
                </a:lnTo>
                <a:lnTo>
                  <a:pt x="2487093" y="1117136"/>
                </a:lnTo>
                <a:lnTo>
                  <a:pt x="2485899" y="1114862"/>
                </a:lnTo>
                <a:lnTo>
                  <a:pt x="2477760" y="1121791"/>
                </a:lnTo>
                <a:lnTo>
                  <a:pt x="2477435" y="1125905"/>
                </a:lnTo>
                <a:lnTo>
                  <a:pt x="2476024" y="1122658"/>
                </a:lnTo>
                <a:lnTo>
                  <a:pt x="2478846" y="1117136"/>
                </a:lnTo>
                <a:lnTo>
                  <a:pt x="2475156" y="1115944"/>
                </a:lnTo>
                <a:lnTo>
                  <a:pt x="2472986" y="1117244"/>
                </a:lnTo>
                <a:lnTo>
                  <a:pt x="2471792" y="1116053"/>
                </a:lnTo>
                <a:lnTo>
                  <a:pt x="2469187" y="1123957"/>
                </a:lnTo>
                <a:lnTo>
                  <a:pt x="2465173" y="1126447"/>
                </a:lnTo>
                <a:lnTo>
                  <a:pt x="2464847" y="1121466"/>
                </a:lnTo>
                <a:lnTo>
                  <a:pt x="2468103" y="1117460"/>
                </a:lnTo>
                <a:lnTo>
                  <a:pt x="2467777" y="1112805"/>
                </a:lnTo>
                <a:lnTo>
                  <a:pt x="2468645" y="1109881"/>
                </a:lnTo>
                <a:lnTo>
                  <a:pt x="2464738" y="1111289"/>
                </a:lnTo>
                <a:lnTo>
                  <a:pt x="2461049" y="1114862"/>
                </a:lnTo>
                <a:lnTo>
                  <a:pt x="2458878" y="1115079"/>
                </a:lnTo>
                <a:lnTo>
                  <a:pt x="2456057" y="1118868"/>
                </a:lnTo>
                <a:lnTo>
                  <a:pt x="2454538" y="1121575"/>
                </a:lnTo>
                <a:lnTo>
                  <a:pt x="2448787" y="1120383"/>
                </a:lnTo>
                <a:lnTo>
                  <a:pt x="2445965" y="1116919"/>
                </a:lnTo>
                <a:lnTo>
                  <a:pt x="2442493" y="1116919"/>
                </a:lnTo>
                <a:lnTo>
                  <a:pt x="2437826" y="1109232"/>
                </a:lnTo>
                <a:lnTo>
                  <a:pt x="2435873" y="1109015"/>
                </a:lnTo>
                <a:lnTo>
                  <a:pt x="2434571" y="1112480"/>
                </a:lnTo>
                <a:lnTo>
                  <a:pt x="2434571" y="1117136"/>
                </a:lnTo>
                <a:lnTo>
                  <a:pt x="2432292" y="1119409"/>
                </a:lnTo>
                <a:lnTo>
                  <a:pt x="2428494" y="1118002"/>
                </a:lnTo>
                <a:lnTo>
                  <a:pt x="2425564" y="1119193"/>
                </a:lnTo>
                <a:lnTo>
                  <a:pt x="2420572" y="1119409"/>
                </a:lnTo>
                <a:lnTo>
                  <a:pt x="2418836" y="1121791"/>
                </a:lnTo>
                <a:lnTo>
                  <a:pt x="2414170" y="1121466"/>
                </a:lnTo>
                <a:lnTo>
                  <a:pt x="2412108" y="1123632"/>
                </a:lnTo>
                <a:lnTo>
                  <a:pt x="2407768" y="1122116"/>
                </a:lnTo>
                <a:lnTo>
                  <a:pt x="2400713" y="1121575"/>
                </a:lnTo>
                <a:lnTo>
                  <a:pt x="2401582" y="1118652"/>
                </a:lnTo>
                <a:lnTo>
                  <a:pt x="2396807" y="1113130"/>
                </a:lnTo>
                <a:lnTo>
                  <a:pt x="2394529" y="1114754"/>
                </a:lnTo>
                <a:lnTo>
                  <a:pt x="2390404" y="1110748"/>
                </a:lnTo>
                <a:lnTo>
                  <a:pt x="2387366" y="1101653"/>
                </a:lnTo>
                <a:lnTo>
                  <a:pt x="2389103" y="1096348"/>
                </a:lnTo>
                <a:lnTo>
                  <a:pt x="2392684" y="1093857"/>
                </a:lnTo>
                <a:lnTo>
                  <a:pt x="2392684" y="1089418"/>
                </a:lnTo>
                <a:lnTo>
                  <a:pt x="2396156" y="1085845"/>
                </a:lnTo>
                <a:lnTo>
                  <a:pt x="2401256" y="1085304"/>
                </a:lnTo>
                <a:lnTo>
                  <a:pt x="2404078" y="1082164"/>
                </a:lnTo>
                <a:lnTo>
                  <a:pt x="2408527" y="1081406"/>
                </a:lnTo>
                <a:lnTo>
                  <a:pt x="2410589" y="1081731"/>
                </a:lnTo>
                <a:lnTo>
                  <a:pt x="2411240" y="1077941"/>
                </a:lnTo>
                <a:lnTo>
                  <a:pt x="2409286" y="1074910"/>
                </a:lnTo>
                <a:lnTo>
                  <a:pt x="2409069" y="1071987"/>
                </a:lnTo>
                <a:lnTo>
                  <a:pt x="2410154" y="1071120"/>
                </a:lnTo>
                <a:lnTo>
                  <a:pt x="2412759" y="1071770"/>
                </a:lnTo>
                <a:lnTo>
                  <a:pt x="2413519" y="1069605"/>
                </a:lnTo>
                <a:lnTo>
                  <a:pt x="2413085" y="1066790"/>
                </a:lnTo>
                <a:lnTo>
                  <a:pt x="2414604" y="1064949"/>
                </a:lnTo>
                <a:lnTo>
                  <a:pt x="2419595" y="1072420"/>
                </a:lnTo>
                <a:lnTo>
                  <a:pt x="2424479" y="1073286"/>
                </a:lnTo>
                <a:lnTo>
                  <a:pt x="2429471" y="1076859"/>
                </a:lnTo>
                <a:lnTo>
                  <a:pt x="2432943" y="1080757"/>
                </a:lnTo>
                <a:lnTo>
                  <a:pt x="2435439" y="1081406"/>
                </a:lnTo>
                <a:lnTo>
                  <a:pt x="2440648" y="1083896"/>
                </a:lnTo>
                <a:lnTo>
                  <a:pt x="2443686" y="1081190"/>
                </a:lnTo>
                <a:lnTo>
                  <a:pt x="2447159" y="1081298"/>
                </a:lnTo>
                <a:lnTo>
                  <a:pt x="2449004" y="1083896"/>
                </a:lnTo>
                <a:lnTo>
                  <a:pt x="2452151" y="1084005"/>
                </a:lnTo>
                <a:lnTo>
                  <a:pt x="2457468" y="1085087"/>
                </a:lnTo>
                <a:lnTo>
                  <a:pt x="2460723" y="1081514"/>
                </a:lnTo>
                <a:lnTo>
                  <a:pt x="2463003" y="1077075"/>
                </a:lnTo>
                <a:lnTo>
                  <a:pt x="2468971" y="1077075"/>
                </a:lnTo>
                <a:lnTo>
                  <a:pt x="2468971" y="1078916"/>
                </a:lnTo>
                <a:lnTo>
                  <a:pt x="2467669" y="1080865"/>
                </a:lnTo>
                <a:lnTo>
                  <a:pt x="2470924" y="1082706"/>
                </a:lnTo>
                <a:lnTo>
                  <a:pt x="2475373" y="1078916"/>
                </a:lnTo>
                <a:lnTo>
                  <a:pt x="2477218" y="1074694"/>
                </a:lnTo>
                <a:lnTo>
                  <a:pt x="2481776" y="1072095"/>
                </a:lnTo>
                <a:lnTo>
                  <a:pt x="2483621" y="1074694"/>
                </a:lnTo>
                <a:lnTo>
                  <a:pt x="2483838" y="1081190"/>
                </a:lnTo>
                <a:lnTo>
                  <a:pt x="2485139" y="1085087"/>
                </a:lnTo>
                <a:lnTo>
                  <a:pt x="2486008" y="1080324"/>
                </a:lnTo>
                <a:lnTo>
                  <a:pt x="2488612" y="1078267"/>
                </a:lnTo>
                <a:lnTo>
                  <a:pt x="2490891" y="1079457"/>
                </a:lnTo>
                <a:lnTo>
                  <a:pt x="2493062" y="1077400"/>
                </a:lnTo>
                <a:lnTo>
                  <a:pt x="2491867" y="1065598"/>
                </a:lnTo>
                <a:lnTo>
                  <a:pt x="2487961" y="1059535"/>
                </a:lnTo>
                <a:lnTo>
                  <a:pt x="2487310" y="1055422"/>
                </a:lnTo>
                <a:lnTo>
                  <a:pt x="2484380" y="1051090"/>
                </a:lnTo>
                <a:lnTo>
                  <a:pt x="2485682" y="1045569"/>
                </a:lnTo>
                <a:lnTo>
                  <a:pt x="2487744" y="1043512"/>
                </a:lnTo>
                <a:lnTo>
                  <a:pt x="2490349" y="1043404"/>
                </a:lnTo>
                <a:lnTo>
                  <a:pt x="2497293" y="1037882"/>
                </a:lnTo>
                <a:lnTo>
                  <a:pt x="2505541" y="1032901"/>
                </a:lnTo>
                <a:lnTo>
                  <a:pt x="2508796" y="1030952"/>
                </a:lnTo>
                <a:lnTo>
                  <a:pt x="2514656" y="1024997"/>
                </a:lnTo>
                <a:lnTo>
                  <a:pt x="2517043" y="1024997"/>
                </a:lnTo>
                <a:lnTo>
                  <a:pt x="2519865" y="1027271"/>
                </a:lnTo>
                <a:lnTo>
                  <a:pt x="2523229" y="1026188"/>
                </a:lnTo>
                <a:lnTo>
                  <a:pt x="2525508" y="1025864"/>
                </a:lnTo>
                <a:lnTo>
                  <a:pt x="2519323" y="1022399"/>
                </a:lnTo>
                <a:lnTo>
                  <a:pt x="2519105" y="1018826"/>
                </a:lnTo>
                <a:lnTo>
                  <a:pt x="2527787" y="1011897"/>
                </a:lnTo>
                <a:lnTo>
                  <a:pt x="2528764" y="1008432"/>
                </a:lnTo>
                <a:lnTo>
                  <a:pt x="2531367" y="1006916"/>
                </a:lnTo>
                <a:lnTo>
                  <a:pt x="2538313" y="1008432"/>
                </a:lnTo>
                <a:lnTo>
                  <a:pt x="2545366" y="1006050"/>
                </a:lnTo>
                <a:lnTo>
                  <a:pt x="2546126" y="1003019"/>
                </a:lnTo>
                <a:lnTo>
                  <a:pt x="2543630" y="998471"/>
                </a:lnTo>
                <a:lnTo>
                  <a:pt x="2546017" y="995115"/>
                </a:lnTo>
                <a:lnTo>
                  <a:pt x="2546994" y="986453"/>
                </a:lnTo>
                <a:lnTo>
                  <a:pt x="2547428" y="984829"/>
                </a:lnTo>
                <a:lnTo>
                  <a:pt x="2546451" y="983421"/>
                </a:lnTo>
                <a:lnTo>
                  <a:pt x="2546451" y="979632"/>
                </a:lnTo>
                <a:lnTo>
                  <a:pt x="2548947" y="975193"/>
                </a:lnTo>
                <a:lnTo>
                  <a:pt x="2549056" y="970970"/>
                </a:lnTo>
                <a:lnTo>
                  <a:pt x="2545692" y="969887"/>
                </a:lnTo>
                <a:lnTo>
                  <a:pt x="2545584" y="967938"/>
                </a:lnTo>
                <a:lnTo>
                  <a:pt x="2547646" y="961442"/>
                </a:lnTo>
                <a:lnTo>
                  <a:pt x="2550901" y="960793"/>
                </a:lnTo>
                <a:lnTo>
                  <a:pt x="2551443" y="957328"/>
                </a:lnTo>
                <a:lnTo>
                  <a:pt x="2553722" y="953322"/>
                </a:lnTo>
                <a:lnTo>
                  <a:pt x="2553288" y="950615"/>
                </a:lnTo>
                <a:lnTo>
                  <a:pt x="2550901" y="951048"/>
                </a:lnTo>
                <a:lnTo>
                  <a:pt x="2548405" y="953972"/>
                </a:lnTo>
                <a:lnTo>
                  <a:pt x="2548296" y="956679"/>
                </a:lnTo>
                <a:lnTo>
                  <a:pt x="2546343" y="957436"/>
                </a:lnTo>
                <a:lnTo>
                  <a:pt x="2546017" y="954405"/>
                </a:lnTo>
                <a:lnTo>
                  <a:pt x="2546343" y="950291"/>
                </a:lnTo>
                <a:lnTo>
                  <a:pt x="2544607" y="949100"/>
                </a:lnTo>
                <a:lnTo>
                  <a:pt x="2535166" y="948775"/>
                </a:lnTo>
                <a:lnTo>
                  <a:pt x="2532127" y="945635"/>
                </a:lnTo>
                <a:lnTo>
                  <a:pt x="2533104" y="943578"/>
                </a:lnTo>
                <a:lnTo>
                  <a:pt x="2539941" y="940763"/>
                </a:lnTo>
                <a:lnTo>
                  <a:pt x="2539073" y="938922"/>
                </a:lnTo>
                <a:lnTo>
                  <a:pt x="2535600" y="936865"/>
                </a:lnTo>
                <a:lnTo>
                  <a:pt x="2538096" y="932534"/>
                </a:lnTo>
                <a:lnTo>
                  <a:pt x="2538096" y="929286"/>
                </a:lnTo>
                <a:lnTo>
                  <a:pt x="2532887" y="925497"/>
                </a:lnTo>
                <a:lnTo>
                  <a:pt x="2530934" y="926255"/>
                </a:lnTo>
                <a:lnTo>
                  <a:pt x="2530500" y="929178"/>
                </a:lnTo>
                <a:lnTo>
                  <a:pt x="2532127" y="932101"/>
                </a:lnTo>
                <a:lnTo>
                  <a:pt x="2530934" y="934700"/>
                </a:lnTo>
                <a:lnTo>
                  <a:pt x="2525399" y="935999"/>
                </a:lnTo>
                <a:lnTo>
                  <a:pt x="2523446" y="931777"/>
                </a:lnTo>
                <a:lnTo>
                  <a:pt x="2521385" y="931018"/>
                </a:lnTo>
                <a:lnTo>
                  <a:pt x="2520625" y="925389"/>
                </a:lnTo>
                <a:lnTo>
                  <a:pt x="2524423" y="921707"/>
                </a:lnTo>
                <a:lnTo>
                  <a:pt x="2523229" y="918675"/>
                </a:lnTo>
                <a:lnTo>
                  <a:pt x="2517043" y="919434"/>
                </a:lnTo>
                <a:lnTo>
                  <a:pt x="2517586" y="918026"/>
                </a:lnTo>
                <a:lnTo>
                  <a:pt x="2522578" y="916402"/>
                </a:lnTo>
                <a:lnTo>
                  <a:pt x="2523012" y="914345"/>
                </a:lnTo>
                <a:lnTo>
                  <a:pt x="2520408" y="913371"/>
                </a:lnTo>
                <a:lnTo>
                  <a:pt x="2522903" y="911530"/>
                </a:lnTo>
                <a:lnTo>
                  <a:pt x="2525725" y="910122"/>
                </a:lnTo>
                <a:lnTo>
                  <a:pt x="2526159" y="907632"/>
                </a:lnTo>
                <a:lnTo>
                  <a:pt x="2523771" y="905683"/>
                </a:lnTo>
                <a:lnTo>
                  <a:pt x="2519648" y="908823"/>
                </a:lnTo>
                <a:lnTo>
                  <a:pt x="2516392" y="914020"/>
                </a:lnTo>
                <a:lnTo>
                  <a:pt x="2513245" y="916077"/>
                </a:lnTo>
                <a:lnTo>
                  <a:pt x="2511617" y="914561"/>
                </a:lnTo>
                <a:lnTo>
                  <a:pt x="2511075" y="909256"/>
                </a:lnTo>
                <a:lnTo>
                  <a:pt x="2508796" y="910663"/>
                </a:lnTo>
                <a:lnTo>
                  <a:pt x="2506517" y="914778"/>
                </a:lnTo>
                <a:lnTo>
                  <a:pt x="2502936" y="914886"/>
                </a:lnTo>
                <a:lnTo>
                  <a:pt x="2500006" y="916943"/>
                </a:lnTo>
                <a:lnTo>
                  <a:pt x="2495665" y="916835"/>
                </a:lnTo>
                <a:lnTo>
                  <a:pt x="2492627" y="918026"/>
                </a:lnTo>
                <a:lnTo>
                  <a:pt x="2492085" y="919542"/>
                </a:lnTo>
                <a:lnTo>
                  <a:pt x="2489589" y="919542"/>
                </a:lnTo>
                <a:lnTo>
                  <a:pt x="2488829" y="917051"/>
                </a:lnTo>
                <a:lnTo>
                  <a:pt x="2491434" y="913912"/>
                </a:lnTo>
                <a:lnTo>
                  <a:pt x="2490999" y="911746"/>
                </a:lnTo>
                <a:lnTo>
                  <a:pt x="2489155" y="910555"/>
                </a:lnTo>
                <a:lnTo>
                  <a:pt x="2492519" y="905791"/>
                </a:lnTo>
                <a:lnTo>
                  <a:pt x="2494689" y="905033"/>
                </a:lnTo>
                <a:lnTo>
                  <a:pt x="2497619" y="906441"/>
                </a:lnTo>
                <a:lnTo>
                  <a:pt x="2500115" y="907957"/>
                </a:lnTo>
                <a:lnTo>
                  <a:pt x="2502503" y="906766"/>
                </a:lnTo>
                <a:lnTo>
                  <a:pt x="2505324" y="906441"/>
                </a:lnTo>
                <a:lnTo>
                  <a:pt x="2509122" y="902977"/>
                </a:lnTo>
                <a:lnTo>
                  <a:pt x="2510424" y="898862"/>
                </a:lnTo>
                <a:lnTo>
                  <a:pt x="2508905" y="896155"/>
                </a:lnTo>
                <a:lnTo>
                  <a:pt x="2506192" y="893340"/>
                </a:lnTo>
                <a:lnTo>
                  <a:pt x="2501634" y="891824"/>
                </a:lnTo>
                <a:lnTo>
                  <a:pt x="2499681" y="888468"/>
                </a:lnTo>
                <a:lnTo>
                  <a:pt x="2499464" y="885437"/>
                </a:lnTo>
                <a:lnTo>
                  <a:pt x="2498053" y="883488"/>
                </a:lnTo>
                <a:lnTo>
                  <a:pt x="2498162" y="880348"/>
                </a:lnTo>
                <a:lnTo>
                  <a:pt x="2493604" y="879806"/>
                </a:lnTo>
                <a:lnTo>
                  <a:pt x="2492953" y="878616"/>
                </a:lnTo>
                <a:lnTo>
                  <a:pt x="2490240" y="876992"/>
                </a:lnTo>
                <a:lnTo>
                  <a:pt x="2489372" y="874068"/>
                </a:lnTo>
                <a:lnTo>
                  <a:pt x="2492953" y="872553"/>
                </a:lnTo>
                <a:lnTo>
                  <a:pt x="2494580" y="874826"/>
                </a:lnTo>
                <a:lnTo>
                  <a:pt x="2496425" y="873635"/>
                </a:lnTo>
                <a:lnTo>
                  <a:pt x="2497185" y="871037"/>
                </a:lnTo>
                <a:lnTo>
                  <a:pt x="2501417" y="868871"/>
                </a:lnTo>
                <a:lnTo>
                  <a:pt x="2495232" y="867680"/>
                </a:lnTo>
                <a:lnTo>
                  <a:pt x="2492627" y="864757"/>
                </a:lnTo>
                <a:lnTo>
                  <a:pt x="2489697" y="864649"/>
                </a:lnTo>
                <a:lnTo>
                  <a:pt x="2489372" y="863241"/>
                </a:lnTo>
                <a:lnTo>
                  <a:pt x="2485465" y="862266"/>
                </a:lnTo>
                <a:lnTo>
                  <a:pt x="2483621" y="866381"/>
                </a:lnTo>
                <a:lnTo>
                  <a:pt x="2482101" y="866814"/>
                </a:lnTo>
                <a:lnTo>
                  <a:pt x="2482101" y="864107"/>
                </a:lnTo>
                <a:lnTo>
                  <a:pt x="2485465" y="856637"/>
                </a:lnTo>
                <a:lnTo>
                  <a:pt x="2489481" y="850249"/>
                </a:lnTo>
                <a:lnTo>
                  <a:pt x="2489806" y="848408"/>
                </a:lnTo>
                <a:lnTo>
                  <a:pt x="2492302" y="842129"/>
                </a:lnTo>
                <a:lnTo>
                  <a:pt x="2492410" y="837581"/>
                </a:lnTo>
                <a:lnTo>
                  <a:pt x="2493821" y="835091"/>
                </a:lnTo>
                <a:lnTo>
                  <a:pt x="2492302" y="832492"/>
                </a:lnTo>
                <a:lnTo>
                  <a:pt x="2488069" y="834874"/>
                </a:lnTo>
                <a:lnTo>
                  <a:pt x="2485465" y="833033"/>
                </a:lnTo>
                <a:lnTo>
                  <a:pt x="2483838" y="834008"/>
                </a:lnTo>
                <a:lnTo>
                  <a:pt x="2483403" y="836715"/>
                </a:lnTo>
                <a:lnTo>
                  <a:pt x="2480908" y="836065"/>
                </a:lnTo>
                <a:lnTo>
                  <a:pt x="2475047" y="829894"/>
                </a:lnTo>
                <a:lnTo>
                  <a:pt x="2474722" y="826537"/>
                </a:lnTo>
                <a:lnTo>
                  <a:pt x="2472552" y="823723"/>
                </a:lnTo>
                <a:lnTo>
                  <a:pt x="2470490" y="822640"/>
                </a:lnTo>
                <a:lnTo>
                  <a:pt x="2471358" y="817442"/>
                </a:lnTo>
                <a:lnTo>
                  <a:pt x="2475807" y="815494"/>
                </a:lnTo>
                <a:lnTo>
                  <a:pt x="2476675" y="813328"/>
                </a:lnTo>
                <a:lnTo>
                  <a:pt x="2475265" y="810621"/>
                </a:lnTo>
                <a:lnTo>
                  <a:pt x="2474830" y="805858"/>
                </a:lnTo>
                <a:lnTo>
                  <a:pt x="2472226" y="806507"/>
                </a:lnTo>
                <a:lnTo>
                  <a:pt x="2469622" y="809106"/>
                </a:lnTo>
                <a:lnTo>
                  <a:pt x="2469405" y="815927"/>
                </a:lnTo>
                <a:lnTo>
                  <a:pt x="2466909" y="819825"/>
                </a:lnTo>
                <a:lnTo>
                  <a:pt x="2465715" y="815602"/>
                </a:lnTo>
                <a:lnTo>
                  <a:pt x="2463436" y="813762"/>
                </a:lnTo>
                <a:lnTo>
                  <a:pt x="2462243" y="814736"/>
                </a:lnTo>
                <a:lnTo>
                  <a:pt x="2461917" y="817659"/>
                </a:lnTo>
                <a:lnTo>
                  <a:pt x="2459747" y="818417"/>
                </a:lnTo>
                <a:lnTo>
                  <a:pt x="2458878" y="823505"/>
                </a:lnTo>
                <a:lnTo>
                  <a:pt x="2462676" y="828703"/>
                </a:lnTo>
                <a:lnTo>
                  <a:pt x="2465389" y="828270"/>
                </a:lnTo>
                <a:lnTo>
                  <a:pt x="2469079" y="836715"/>
                </a:lnTo>
                <a:lnTo>
                  <a:pt x="2471467" y="839313"/>
                </a:lnTo>
                <a:lnTo>
                  <a:pt x="2469947" y="843860"/>
                </a:lnTo>
                <a:lnTo>
                  <a:pt x="2469622" y="847650"/>
                </a:lnTo>
                <a:lnTo>
                  <a:pt x="2466474" y="852522"/>
                </a:lnTo>
                <a:lnTo>
                  <a:pt x="2463220" y="854904"/>
                </a:lnTo>
                <a:lnTo>
                  <a:pt x="2452694" y="854688"/>
                </a:lnTo>
                <a:lnTo>
                  <a:pt x="2451282" y="853388"/>
                </a:lnTo>
                <a:lnTo>
                  <a:pt x="2447159" y="853713"/>
                </a:lnTo>
                <a:lnTo>
                  <a:pt x="2442384" y="850682"/>
                </a:lnTo>
                <a:lnTo>
                  <a:pt x="2443578" y="848949"/>
                </a:lnTo>
                <a:lnTo>
                  <a:pt x="2443578" y="844619"/>
                </a:lnTo>
                <a:lnTo>
                  <a:pt x="2436090" y="844727"/>
                </a:lnTo>
                <a:lnTo>
                  <a:pt x="2428277" y="840829"/>
                </a:lnTo>
                <a:lnTo>
                  <a:pt x="2421658" y="840180"/>
                </a:lnTo>
                <a:lnTo>
                  <a:pt x="2424804" y="848733"/>
                </a:lnTo>
                <a:lnTo>
                  <a:pt x="2426974" y="853930"/>
                </a:lnTo>
                <a:lnTo>
                  <a:pt x="2425998" y="854904"/>
                </a:lnTo>
                <a:lnTo>
                  <a:pt x="2422200" y="854796"/>
                </a:lnTo>
                <a:lnTo>
                  <a:pt x="2420030" y="850140"/>
                </a:lnTo>
                <a:lnTo>
                  <a:pt x="2416123" y="845917"/>
                </a:lnTo>
                <a:lnTo>
                  <a:pt x="2414495" y="845160"/>
                </a:lnTo>
                <a:lnTo>
                  <a:pt x="2413302" y="841803"/>
                </a:lnTo>
                <a:lnTo>
                  <a:pt x="2408744" y="837040"/>
                </a:lnTo>
                <a:lnTo>
                  <a:pt x="2405271" y="832817"/>
                </a:lnTo>
                <a:lnTo>
                  <a:pt x="2404511" y="830435"/>
                </a:lnTo>
                <a:lnTo>
                  <a:pt x="2401256" y="829677"/>
                </a:lnTo>
                <a:lnTo>
                  <a:pt x="2397350" y="824697"/>
                </a:lnTo>
                <a:lnTo>
                  <a:pt x="2394420" y="823505"/>
                </a:lnTo>
                <a:lnTo>
                  <a:pt x="2393009" y="821665"/>
                </a:lnTo>
                <a:lnTo>
                  <a:pt x="2389211" y="819608"/>
                </a:lnTo>
                <a:lnTo>
                  <a:pt x="2390079" y="823181"/>
                </a:lnTo>
                <a:lnTo>
                  <a:pt x="2399195" y="830435"/>
                </a:lnTo>
                <a:lnTo>
                  <a:pt x="2401256" y="834008"/>
                </a:lnTo>
                <a:lnTo>
                  <a:pt x="2404511" y="837906"/>
                </a:lnTo>
                <a:lnTo>
                  <a:pt x="2408201" y="840396"/>
                </a:lnTo>
                <a:lnTo>
                  <a:pt x="2409504" y="843752"/>
                </a:lnTo>
                <a:lnTo>
                  <a:pt x="2407116" y="846892"/>
                </a:lnTo>
                <a:lnTo>
                  <a:pt x="2405380" y="845376"/>
                </a:lnTo>
                <a:lnTo>
                  <a:pt x="2402993" y="847758"/>
                </a:lnTo>
                <a:lnTo>
                  <a:pt x="2396265" y="843427"/>
                </a:lnTo>
                <a:lnTo>
                  <a:pt x="2393660" y="844186"/>
                </a:lnTo>
                <a:lnTo>
                  <a:pt x="2391490" y="840504"/>
                </a:lnTo>
                <a:lnTo>
                  <a:pt x="2387149" y="838988"/>
                </a:lnTo>
                <a:lnTo>
                  <a:pt x="2385413" y="834982"/>
                </a:lnTo>
                <a:lnTo>
                  <a:pt x="2377708" y="836065"/>
                </a:lnTo>
                <a:lnTo>
                  <a:pt x="2373693" y="838339"/>
                </a:lnTo>
                <a:lnTo>
                  <a:pt x="2370221" y="835415"/>
                </a:lnTo>
                <a:lnTo>
                  <a:pt x="2365120" y="834333"/>
                </a:lnTo>
                <a:lnTo>
                  <a:pt x="2360780" y="834658"/>
                </a:lnTo>
                <a:lnTo>
                  <a:pt x="2358392" y="831409"/>
                </a:lnTo>
                <a:lnTo>
                  <a:pt x="2352858" y="827837"/>
                </a:lnTo>
                <a:lnTo>
                  <a:pt x="2352749" y="824913"/>
                </a:lnTo>
                <a:lnTo>
                  <a:pt x="2359369" y="818742"/>
                </a:lnTo>
                <a:lnTo>
                  <a:pt x="2362190" y="817334"/>
                </a:lnTo>
                <a:lnTo>
                  <a:pt x="2361973" y="815385"/>
                </a:lnTo>
                <a:lnTo>
                  <a:pt x="2358935" y="815602"/>
                </a:lnTo>
                <a:lnTo>
                  <a:pt x="2354811" y="819933"/>
                </a:lnTo>
                <a:lnTo>
                  <a:pt x="2351447" y="823723"/>
                </a:lnTo>
                <a:lnTo>
                  <a:pt x="2349060" y="824588"/>
                </a:lnTo>
                <a:lnTo>
                  <a:pt x="2345261" y="821448"/>
                </a:lnTo>
                <a:lnTo>
                  <a:pt x="2340813" y="820582"/>
                </a:lnTo>
                <a:lnTo>
                  <a:pt x="2338859" y="821232"/>
                </a:lnTo>
                <a:lnTo>
                  <a:pt x="2342875" y="824047"/>
                </a:lnTo>
                <a:lnTo>
                  <a:pt x="2340595" y="825780"/>
                </a:lnTo>
                <a:lnTo>
                  <a:pt x="2334410" y="825346"/>
                </a:lnTo>
                <a:lnTo>
                  <a:pt x="2328550" y="820474"/>
                </a:lnTo>
                <a:lnTo>
                  <a:pt x="2327682" y="814086"/>
                </a:lnTo>
                <a:lnTo>
                  <a:pt x="2323558" y="810946"/>
                </a:lnTo>
                <a:lnTo>
                  <a:pt x="2324318" y="807048"/>
                </a:lnTo>
                <a:lnTo>
                  <a:pt x="2332348" y="802934"/>
                </a:lnTo>
                <a:lnTo>
                  <a:pt x="2334302" y="800011"/>
                </a:lnTo>
                <a:lnTo>
                  <a:pt x="2332674" y="798928"/>
                </a:lnTo>
                <a:lnTo>
                  <a:pt x="2329093" y="801635"/>
                </a:lnTo>
                <a:lnTo>
                  <a:pt x="2323450" y="802393"/>
                </a:lnTo>
                <a:lnTo>
                  <a:pt x="2321388" y="807374"/>
                </a:lnTo>
                <a:lnTo>
                  <a:pt x="2318892" y="807915"/>
                </a:lnTo>
                <a:lnTo>
                  <a:pt x="2318024" y="804450"/>
                </a:lnTo>
                <a:lnTo>
                  <a:pt x="2319109" y="800661"/>
                </a:lnTo>
                <a:lnTo>
                  <a:pt x="2317156" y="798928"/>
                </a:lnTo>
                <a:lnTo>
                  <a:pt x="2314877" y="799470"/>
                </a:lnTo>
                <a:lnTo>
                  <a:pt x="2314009" y="802501"/>
                </a:lnTo>
                <a:lnTo>
                  <a:pt x="2314660" y="804991"/>
                </a:lnTo>
                <a:lnTo>
                  <a:pt x="2313466" y="807482"/>
                </a:lnTo>
                <a:lnTo>
                  <a:pt x="2310103" y="806507"/>
                </a:lnTo>
                <a:lnTo>
                  <a:pt x="2307281" y="803260"/>
                </a:lnTo>
                <a:lnTo>
                  <a:pt x="2303375" y="802393"/>
                </a:lnTo>
                <a:lnTo>
                  <a:pt x="2300227" y="803260"/>
                </a:lnTo>
                <a:lnTo>
                  <a:pt x="2299793" y="806183"/>
                </a:lnTo>
                <a:lnTo>
                  <a:pt x="2297297" y="806291"/>
                </a:lnTo>
                <a:lnTo>
                  <a:pt x="2294151" y="802501"/>
                </a:lnTo>
                <a:lnTo>
                  <a:pt x="2292848" y="798712"/>
                </a:lnTo>
                <a:lnTo>
                  <a:pt x="2294259" y="798928"/>
                </a:lnTo>
                <a:lnTo>
                  <a:pt x="2296646" y="800661"/>
                </a:lnTo>
                <a:lnTo>
                  <a:pt x="2296537" y="798928"/>
                </a:lnTo>
                <a:lnTo>
                  <a:pt x="2292089" y="794706"/>
                </a:lnTo>
                <a:lnTo>
                  <a:pt x="2286446" y="791458"/>
                </a:lnTo>
                <a:lnTo>
                  <a:pt x="2285795" y="787452"/>
                </a:lnTo>
                <a:lnTo>
                  <a:pt x="2286555" y="782363"/>
                </a:lnTo>
                <a:lnTo>
                  <a:pt x="2285903" y="776516"/>
                </a:lnTo>
                <a:lnTo>
                  <a:pt x="2283733" y="769371"/>
                </a:lnTo>
                <a:lnTo>
                  <a:pt x="2285143" y="765906"/>
                </a:lnTo>
                <a:lnTo>
                  <a:pt x="2288073" y="765906"/>
                </a:lnTo>
                <a:lnTo>
                  <a:pt x="2288073" y="763199"/>
                </a:lnTo>
                <a:lnTo>
                  <a:pt x="2286337" y="757677"/>
                </a:lnTo>
                <a:lnTo>
                  <a:pt x="2287096" y="755728"/>
                </a:lnTo>
                <a:lnTo>
                  <a:pt x="2291546" y="757028"/>
                </a:lnTo>
                <a:lnTo>
                  <a:pt x="2293282" y="759410"/>
                </a:lnTo>
                <a:lnTo>
                  <a:pt x="2300987" y="759951"/>
                </a:lnTo>
                <a:lnTo>
                  <a:pt x="2305111" y="763199"/>
                </a:lnTo>
                <a:lnTo>
                  <a:pt x="2306521" y="767638"/>
                </a:lnTo>
                <a:lnTo>
                  <a:pt x="2314986" y="770887"/>
                </a:lnTo>
                <a:lnTo>
                  <a:pt x="2322582" y="770887"/>
                </a:lnTo>
                <a:lnTo>
                  <a:pt x="2324752" y="769587"/>
                </a:lnTo>
                <a:lnTo>
                  <a:pt x="2331480" y="769371"/>
                </a:lnTo>
                <a:lnTo>
                  <a:pt x="2328550" y="766989"/>
                </a:lnTo>
                <a:lnTo>
                  <a:pt x="2327899" y="763849"/>
                </a:lnTo>
                <a:lnTo>
                  <a:pt x="2321713" y="760059"/>
                </a:lnTo>
                <a:lnTo>
                  <a:pt x="2320954" y="753671"/>
                </a:lnTo>
                <a:lnTo>
                  <a:pt x="2314769" y="753671"/>
                </a:lnTo>
                <a:lnTo>
                  <a:pt x="2309451" y="750423"/>
                </a:lnTo>
                <a:lnTo>
                  <a:pt x="2305870" y="750423"/>
                </a:lnTo>
                <a:lnTo>
                  <a:pt x="2300336" y="746850"/>
                </a:lnTo>
                <a:lnTo>
                  <a:pt x="2295669" y="746634"/>
                </a:lnTo>
                <a:lnTo>
                  <a:pt x="2287205" y="741978"/>
                </a:lnTo>
                <a:lnTo>
                  <a:pt x="2284926" y="737755"/>
                </a:lnTo>
                <a:lnTo>
                  <a:pt x="2286663" y="730177"/>
                </a:lnTo>
                <a:lnTo>
                  <a:pt x="2290678" y="727578"/>
                </a:lnTo>
                <a:lnTo>
                  <a:pt x="2290352" y="724114"/>
                </a:lnTo>
                <a:lnTo>
                  <a:pt x="2291871" y="718808"/>
                </a:lnTo>
                <a:lnTo>
                  <a:pt x="2295669" y="718808"/>
                </a:lnTo>
                <a:lnTo>
                  <a:pt x="2298057" y="714153"/>
                </a:lnTo>
                <a:lnTo>
                  <a:pt x="2298057" y="705708"/>
                </a:lnTo>
                <a:lnTo>
                  <a:pt x="2299685" y="702351"/>
                </a:lnTo>
                <a:lnTo>
                  <a:pt x="2303048" y="701268"/>
                </a:lnTo>
                <a:lnTo>
                  <a:pt x="2304243" y="697154"/>
                </a:lnTo>
                <a:lnTo>
                  <a:pt x="2310645" y="693690"/>
                </a:lnTo>
                <a:lnTo>
                  <a:pt x="2314443" y="693364"/>
                </a:lnTo>
                <a:lnTo>
                  <a:pt x="2315528" y="690117"/>
                </a:lnTo>
                <a:lnTo>
                  <a:pt x="2313900" y="690333"/>
                </a:lnTo>
                <a:lnTo>
                  <a:pt x="2311730" y="691199"/>
                </a:lnTo>
                <a:lnTo>
                  <a:pt x="2311187" y="687301"/>
                </a:lnTo>
                <a:lnTo>
                  <a:pt x="2315962" y="680156"/>
                </a:lnTo>
                <a:lnTo>
                  <a:pt x="2319652" y="673227"/>
                </a:lnTo>
                <a:lnTo>
                  <a:pt x="2321388" y="671602"/>
                </a:lnTo>
                <a:lnTo>
                  <a:pt x="2324969" y="666946"/>
                </a:lnTo>
                <a:lnTo>
                  <a:pt x="2328441" y="666946"/>
                </a:lnTo>
                <a:lnTo>
                  <a:pt x="2330178" y="667380"/>
                </a:lnTo>
                <a:lnTo>
                  <a:pt x="2332239" y="660017"/>
                </a:lnTo>
                <a:lnTo>
                  <a:pt x="2334410" y="660342"/>
                </a:lnTo>
                <a:lnTo>
                  <a:pt x="2336146" y="664023"/>
                </a:lnTo>
                <a:lnTo>
                  <a:pt x="2338534" y="660667"/>
                </a:lnTo>
                <a:lnTo>
                  <a:pt x="2336797" y="657635"/>
                </a:lnTo>
                <a:lnTo>
                  <a:pt x="2342332" y="649082"/>
                </a:lnTo>
                <a:lnTo>
                  <a:pt x="2346130" y="649190"/>
                </a:lnTo>
                <a:lnTo>
                  <a:pt x="2345804" y="644860"/>
                </a:lnTo>
                <a:lnTo>
                  <a:pt x="2349711" y="639446"/>
                </a:lnTo>
                <a:lnTo>
                  <a:pt x="2354811" y="639229"/>
                </a:lnTo>
                <a:lnTo>
                  <a:pt x="2357632" y="635116"/>
                </a:lnTo>
                <a:lnTo>
                  <a:pt x="2361322" y="635224"/>
                </a:lnTo>
                <a:lnTo>
                  <a:pt x="2364252" y="636848"/>
                </a:lnTo>
                <a:lnTo>
                  <a:pt x="2362733" y="632517"/>
                </a:lnTo>
                <a:lnTo>
                  <a:pt x="2363926" y="628078"/>
                </a:lnTo>
                <a:lnTo>
                  <a:pt x="2372391" y="624289"/>
                </a:lnTo>
                <a:lnTo>
                  <a:pt x="2380421" y="617251"/>
                </a:lnTo>
                <a:lnTo>
                  <a:pt x="2393334" y="612920"/>
                </a:lnTo>
                <a:lnTo>
                  <a:pt x="2401908" y="612379"/>
                </a:lnTo>
                <a:close/>
                <a:moveTo>
                  <a:pt x="5435707" y="610865"/>
                </a:moveTo>
                <a:lnTo>
                  <a:pt x="5439397" y="612381"/>
                </a:lnTo>
                <a:lnTo>
                  <a:pt x="5442327" y="615520"/>
                </a:lnTo>
                <a:lnTo>
                  <a:pt x="5440157" y="618119"/>
                </a:lnTo>
                <a:lnTo>
                  <a:pt x="5437769" y="616820"/>
                </a:lnTo>
                <a:close/>
                <a:moveTo>
                  <a:pt x="2214282" y="604582"/>
                </a:moveTo>
                <a:lnTo>
                  <a:pt x="2215475" y="608372"/>
                </a:lnTo>
                <a:lnTo>
                  <a:pt x="2216886" y="610429"/>
                </a:lnTo>
                <a:lnTo>
                  <a:pt x="2216343" y="613677"/>
                </a:lnTo>
                <a:lnTo>
                  <a:pt x="2212437" y="618657"/>
                </a:lnTo>
                <a:lnTo>
                  <a:pt x="2210158" y="619415"/>
                </a:lnTo>
                <a:lnTo>
                  <a:pt x="2207879" y="616709"/>
                </a:lnTo>
                <a:lnTo>
                  <a:pt x="2207337" y="611295"/>
                </a:lnTo>
                <a:lnTo>
                  <a:pt x="2209832" y="609671"/>
                </a:lnTo>
                <a:lnTo>
                  <a:pt x="2211026" y="605990"/>
                </a:lnTo>
                <a:close/>
                <a:moveTo>
                  <a:pt x="5419538" y="602094"/>
                </a:moveTo>
                <a:lnTo>
                  <a:pt x="5423662" y="603611"/>
                </a:lnTo>
                <a:lnTo>
                  <a:pt x="5420949" y="607182"/>
                </a:lnTo>
                <a:lnTo>
                  <a:pt x="5415740" y="607507"/>
                </a:lnTo>
                <a:lnTo>
                  <a:pt x="5417042" y="605233"/>
                </a:lnTo>
                <a:lnTo>
                  <a:pt x="5416717" y="602959"/>
                </a:lnTo>
                <a:close/>
                <a:moveTo>
                  <a:pt x="2213630" y="599928"/>
                </a:moveTo>
                <a:lnTo>
                  <a:pt x="2216559" y="600252"/>
                </a:lnTo>
                <a:lnTo>
                  <a:pt x="2215583" y="602525"/>
                </a:lnTo>
                <a:lnTo>
                  <a:pt x="2213305" y="602202"/>
                </a:lnTo>
                <a:close/>
                <a:moveTo>
                  <a:pt x="1568283" y="593863"/>
                </a:moveTo>
                <a:lnTo>
                  <a:pt x="1568391" y="599169"/>
                </a:lnTo>
                <a:lnTo>
                  <a:pt x="1563834" y="601551"/>
                </a:lnTo>
                <a:lnTo>
                  <a:pt x="1560904" y="599927"/>
                </a:lnTo>
                <a:lnTo>
                  <a:pt x="1563074" y="596678"/>
                </a:lnTo>
                <a:close/>
                <a:moveTo>
                  <a:pt x="5299952" y="592242"/>
                </a:moveTo>
                <a:lnTo>
                  <a:pt x="5303316" y="593649"/>
                </a:lnTo>
                <a:lnTo>
                  <a:pt x="5302991" y="596464"/>
                </a:lnTo>
                <a:lnTo>
                  <a:pt x="5304185" y="600362"/>
                </a:lnTo>
                <a:lnTo>
                  <a:pt x="5301038" y="602419"/>
                </a:lnTo>
                <a:lnTo>
                  <a:pt x="5297240" y="600578"/>
                </a:lnTo>
                <a:lnTo>
                  <a:pt x="5296263" y="597006"/>
                </a:lnTo>
                <a:lnTo>
                  <a:pt x="5293767" y="595381"/>
                </a:lnTo>
                <a:lnTo>
                  <a:pt x="5294852" y="593107"/>
                </a:lnTo>
                <a:close/>
                <a:moveTo>
                  <a:pt x="1324011" y="590183"/>
                </a:moveTo>
                <a:lnTo>
                  <a:pt x="1328677" y="591807"/>
                </a:lnTo>
                <a:lnTo>
                  <a:pt x="1333560" y="598519"/>
                </a:lnTo>
                <a:lnTo>
                  <a:pt x="1331824" y="599711"/>
                </a:lnTo>
                <a:lnTo>
                  <a:pt x="1327483" y="597220"/>
                </a:lnTo>
                <a:lnTo>
                  <a:pt x="1324445" y="598195"/>
                </a:lnTo>
                <a:lnTo>
                  <a:pt x="1320864" y="592673"/>
                </a:lnTo>
                <a:close/>
                <a:moveTo>
                  <a:pt x="5397618" y="584770"/>
                </a:moveTo>
                <a:lnTo>
                  <a:pt x="5400331" y="584987"/>
                </a:lnTo>
                <a:lnTo>
                  <a:pt x="5400222" y="587152"/>
                </a:lnTo>
                <a:lnTo>
                  <a:pt x="5397184" y="588885"/>
                </a:lnTo>
                <a:lnTo>
                  <a:pt x="5396533" y="590292"/>
                </a:lnTo>
                <a:lnTo>
                  <a:pt x="5397510" y="591917"/>
                </a:lnTo>
                <a:lnTo>
                  <a:pt x="5396316" y="593649"/>
                </a:lnTo>
                <a:lnTo>
                  <a:pt x="5391975" y="591699"/>
                </a:lnTo>
                <a:lnTo>
                  <a:pt x="5391975" y="588993"/>
                </a:lnTo>
                <a:close/>
                <a:moveTo>
                  <a:pt x="4923074" y="582065"/>
                </a:moveTo>
                <a:lnTo>
                  <a:pt x="4924593" y="582173"/>
                </a:lnTo>
                <a:lnTo>
                  <a:pt x="4923833" y="585529"/>
                </a:lnTo>
                <a:lnTo>
                  <a:pt x="4917323" y="589860"/>
                </a:lnTo>
                <a:lnTo>
                  <a:pt x="4916021" y="592350"/>
                </a:lnTo>
                <a:lnTo>
                  <a:pt x="4914176" y="592782"/>
                </a:lnTo>
                <a:lnTo>
                  <a:pt x="4912331" y="589860"/>
                </a:lnTo>
                <a:lnTo>
                  <a:pt x="4914935" y="586720"/>
                </a:lnTo>
                <a:lnTo>
                  <a:pt x="4917865" y="585746"/>
                </a:lnTo>
                <a:close/>
                <a:moveTo>
                  <a:pt x="2357198" y="581196"/>
                </a:moveTo>
                <a:lnTo>
                  <a:pt x="2363383" y="582929"/>
                </a:lnTo>
                <a:lnTo>
                  <a:pt x="2364143" y="584986"/>
                </a:lnTo>
                <a:lnTo>
                  <a:pt x="2361213" y="586827"/>
                </a:lnTo>
                <a:lnTo>
                  <a:pt x="2358934" y="586285"/>
                </a:lnTo>
                <a:lnTo>
                  <a:pt x="2355896" y="583037"/>
                </a:lnTo>
                <a:close/>
                <a:moveTo>
                  <a:pt x="5406842" y="580657"/>
                </a:moveTo>
                <a:lnTo>
                  <a:pt x="5411834" y="580874"/>
                </a:lnTo>
                <a:lnTo>
                  <a:pt x="5412810" y="583798"/>
                </a:lnTo>
                <a:lnTo>
                  <a:pt x="5412267" y="585421"/>
                </a:lnTo>
                <a:lnTo>
                  <a:pt x="5409772" y="587045"/>
                </a:lnTo>
                <a:lnTo>
                  <a:pt x="5406299" y="586828"/>
                </a:lnTo>
                <a:lnTo>
                  <a:pt x="5405431" y="582821"/>
                </a:lnTo>
                <a:close/>
                <a:moveTo>
                  <a:pt x="5420406" y="576867"/>
                </a:moveTo>
                <a:lnTo>
                  <a:pt x="5422577" y="579575"/>
                </a:lnTo>
                <a:lnTo>
                  <a:pt x="5422251" y="582716"/>
                </a:lnTo>
                <a:lnTo>
                  <a:pt x="5417801" y="586504"/>
                </a:lnTo>
                <a:lnTo>
                  <a:pt x="5415848" y="587261"/>
                </a:lnTo>
                <a:lnTo>
                  <a:pt x="5414763" y="586178"/>
                </a:lnTo>
                <a:lnTo>
                  <a:pt x="5416282" y="583254"/>
                </a:lnTo>
                <a:lnTo>
                  <a:pt x="5415522" y="580441"/>
                </a:lnTo>
                <a:lnTo>
                  <a:pt x="5416065" y="577083"/>
                </a:lnTo>
                <a:close/>
                <a:moveTo>
                  <a:pt x="5399680" y="564524"/>
                </a:moveTo>
                <a:lnTo>
                  <a:pt x="5402827" y="565391"/>
                </a:lnTo>
                <a:lnTo>
                  <a:pt x="5403913" y="567230"/>
                </a:lnTo>
                <a:lnTo>
                  <a:pt x="5400331" y="571886"/>
                </a:lnTo>
                <a:lnTo>
                  <a:pt x="5398269" y="570047"/>
                </a:lnTo>
                <a:lnTo>
                  <a:pt x="5392409" y="568206"/>
                </a:lnTo>
                <a:lnTo>
                  <a:pt x="5392192" y="566905"/>
                </a:lnTo>
                <a:lnTo>
                  <a:pt x="5396099" y="565932"/>
                </a:lnTo>
                <a:close/>
                <a:moveTo>
                  <a:pt x="2287097" y="559759"/>
                </a:moveTo>
                <a:lnTo>
                  <a:pt x="2289375" y="561492"/>
                </a:lnTo>
                <a:lnTo>
                  <a:pt x="2293716" y="561492"/>
                </a:lnTo>
                <a:lnTo>
                  <a:pt x="2294910" y="564956"/>
                </a:lnTo>
                <a:lnTo>
                  <a:pt x="2298165" y="562249"/>
                </a:lnTo>
                <a:lnTo>
                  <a:pt x="2304243" y="562249"/>
                </a:lnTo>
                <a:lnTo>
                  <a:pt x="2307389" y="567555"/>
                </a:lnTo>
                <a:lnTo>
                  <a:pt x="2312055" y="568962"/>
                </a:lnTo>
                <a:lnTo>
                  <a:pt x="2313032" y="570153"/>
                </a:lnTo>
                <a:lnTo>
                  <a:pt x="2315311" y="570153"/>
                </a:lnTo>
                <a:lnTo>
                  <a:pt x="2317915" y="574592"/>
                </a:lnTo>
                <a:lnTo>
                  <a:pt x="2317915" y="578381"/>
                </a:lnTo>
                <a:lnTo>
                  <a:pt x="2319760" y="579897"/>
                </a:lnTo>
                <a:lnTo>
                  <a:pt x="2323016" y="578381"/>
                </a:lnTo>
                <a:lnTo>
                  <a:pt x="2329744" y="579031"/>
                </a:lnTo>
                <a:lnTo>
                  <a:pt x="2340595" y="580439"/>
                </a:lnTo>
                <a:lnTo>
                  <a:pt x="2346998" y="584445"/>
                </a:lnTo>
                <a:lnTo>
                  <a:pt x="2346998" y="588234"/>
                </a:lnTo>
                <a:lnTo>
                  <a:pt x="2349927" y="590291"/>
                </a:lnTo>
                <a:lnTo>
                  <a:pt x="2351121" y="594081"/>
                </a:lnTo>
                <a:lnTo>
                  <a:pt x="2349277" y="592890"/>
                </a:lnTo>
                <a:lnTo>
                  <a:pt x="2347214" y="592890"/>
                </a:lnTo>
                <a:lnTo>
                  <a:pt x="2344936" y="598195"/>
                </a:lnTo>
                <a:lnTo>
                  <a:pt x="2337991" y="604583"/>
                </a:lnTo>
                <a:lnTo>
                  <a:pt x="2334410" y="609780"/>
                </a:lnTo>
                <a:lnTo>
                  <a:pt x="2330286" y="610971"/>
                </a:lnTo>
                <a:lnTo>
                  <a:pt x="2330286" y="612811"/>
                </a:lnTo>
                <a:lnTo>
                  <a:pt x="2320411" y="620390"/>
                </a:lnTo>
                <a:lnTo>
                  <a:pt x="2315420" y="627320"/>
                </a:lnTo>
                <a:lnTo>
                  <a:pt x="2310102" y="627320"/>
                </a:lnTo>
                <a:lnTo>
                  <a:pt x="2309451" y="629593"/>
                </a:lnTo>
                <a:lnTo>
                  <a:pt x="2311187" y="631109"/>
                </a:lnTo>
                <a:lnTo>
                  <a:pt x="2308800" y="634574"/>
                </a:lnTo>
                <a:lnTo>
                  <a:pt x="2301529" y="639879"/>
                </a:lnTo>
                <a:lnTo>
                  <a:pt x="2295670" y="645942"/>
                </a:lnTo>
                <a:lnTo>
                  <a:pt x="2287097" y="651572"/>
                </a:lnTo>
                <a:lnTo>
                  <a:pt x="2281454" y="655037"/>
                </a:lnTo>
                <a:lnTo>
                  <a:pt x="2278632" y="653629"/>
                </a:lnTo>
                <a:lnTo>
                  <a:pt x="2277656" y="651464"/>
                </a:lnTo>
                <a:lnTo>
                  <a:pt x="2274617" y="651464"/>
                </a:lnTo>
                <a:lnTo>
                  <a:pt x="2268323" y="646375"/>
                </a:lnTo>
                <a:lnTo>
                  <a:pt x="2267672" y="642369"/>
                </a:lnTo>
                <a:lnTo>
                  <a:pt x="2264308" y="640854"/>
                </a:lnTo>
                <a:lnTo>
                  <a:pt x="2260944" y="642694"/>
                </a:lnTo>
                <a:lnTo>
                  <a:pt x="2256387" y="641503"/>
                </a:lnTo>
                <a:lnTo>
                  <a:pt x="2252588" y="641503"/>
                </a:lnTo>
                <a:lnTo>
                  <a:pt x="2249224" y="639554"/>
                </a:lnTo>
                <a:lnTo>
                  <a:pt x="2245643" y="639554"/>
                </a:lnTo>
                <a:lnTo>
                  <a:pt x="2244992" y="642478"/>
                </a:lnTo>
                <a:lnTo>
                  <a:pt x="2246837" y="644751"/>
                </a:lnTo>
                <a:lnTo>
                  <a:pt x="2255952" y="644751"/>
                </a:lnTo>
                <a:lnTo>
                  <a:pt x="2254433" y="648215"/>
                </a:lnTo>
                <a:lnTo>
                  <a:pt x="2251177" y="651788"/>
                </a:lnTo>
                <a:lnTo>
                  <a:pt x="2253674" y="654278"/>
                </a:lnTo>
                <a:lnTo>
                  <a:pt x="2253674" y="659476"/>
                </a:lnTo>
                <a:lnTo>
                  <a:pt x="2251395" y="663807"/>
                </a:lnTo>
                <a:lnTo>
                  <a:pt x="2248247" y="665864"/>
                </a:lnTo>
                <a:lnTo>
                  <a:pt x="2245534" y="668896"/>
                </a:lnTo>
                <a:lnTo>
                  <a:pt x="2240977" y="668896"/>
                </a:lnTo>
                <a:lnTo>
                  <a:pt x="2238047" y="671277"/>
                </a:lnTo>
                <a:lnTo>
                  <a:pt x="2235768" y="675825"/>
                </a:lnTo>
                <a:lnTo>
                  <a:pt x="2232187" y="679289"/>
                </a:lnTo>
                <a:lnTo>
                  <a:pt x="2228715" y="679289"/>
                </a:lnTo>
                <a:lnTo>
                  <a:pt x="2228715" y="683620"/>
                </a:lnTo>
                <a:cubicBezTo>
                  <a:pt x="2228202" y="684161"/>
                  <a:pt x="2227730" y="684741"/>
                  <a:pt x="2227304" y="685353"/>
                </a:cubicBezTo>
                <a:lnTo>
                  <a:pt x="2220033" y="679181"/>
                </a:lnTo>
                <a:lnTo>
                  <a:pt x="2216561" y="680588"/>
                </a:lnTo>
                <a:lnTo>
                  <a:pt x="2208314" y="679614"/>
                </a:lnTo>
                <a:lnTo>
                  <a:pt x="2211569" y="674526"/>
                </a:lnTo>
                <a:lnTo>
                  <a:pt x="2215367" y="672793"/>
                </a:lnTo>
                <a:lnTo>
                  <a:pt x="2218080" y="673984"/>
                </a:lnTo>
                <a:lnTo>
                  <a:pt x="2219600" y="672468"/>
                </a:lnTo>
                <a:lnTo>
                  <a:pt x="2218948" y="670411"/>
                </a:lnTo>
                <a:lnTo>
                  <a:pt x="2214825" y="670411"/>
                </a:lnTo>
                <a:lnTo>
                  <a:pt x="2213631" y="668679"/>
                </a:lnTo>
                <a:lnTo>
                  <a:pt x="2219491" y="660775"/>
                </a:lnTo>
                <a:lnTo>
                  <a:pt x="2222095" y="652871"/>
                </a:lnTo>
                <a:lnTo>
                  <a:pt x="2222095" y="648541"/>
                </a:lnTo>
                <a:lnTo>
                  <a:pt x="2224483" y="647133"/>
                </a:lnTo>
                <a:lnTo>
                  <a:pt x="2224483" y="644426"/>
                </a:lnTo>
                <a:lnTo>
                  <a:pt x="2220685" y="641503"/>
                </a:lnTo>
                <a:lnTo>
                  <a:pt x="2223072" y="638255"/>
                </a:lnTo>
                <a:lnTo>
                  <a:pt x="2223072" y="632733"/>
                </a:lnTo>
                <a:lnTo>
                  <a:pt x="2227413" y="623097"/>
                </a:lnTo>
                <a:lnTo>
                  <a:pt x="2230668" y="620824"/>
                </a:lnTo>
                <a:lnTo>
                  <a:pt x="2230668" y="616493"/>
                </a:lnTo>
                <a:lnTo>
                  <a:pt x="2234683" y="613569"/>
                </a:lnTo>
                <a:lnTo>
                  <a:pt x="2236311" y="608914"/>
                </a:lnTo>
                <a:lnTo>
                  <a:pt x="2237830" y="605774"/>
                </a:lnTo>
                <a:lnTo>
                  <a:pt x="2238481" y="600577"/>
                </a:lnTo>
                <a:lnTo>
                  <a:pt x="2244558" y="594081"/>
                </a:lnTo>
                <a:lnTo>
                  <a:pt x="2245969" y="587585"/>
                </a:lnTo>
                <a:lnTo>
                  <a:pt x="2249984" y="586935"/>
                </a:lnTo>
                <a:lnTo>
                  <a:pt x="2249984" y="583795"/>
                </a:lnTo>
                <a:lnTo>
                  <a:pt x="2248791" y="581955"/>
                </a:lnTo>
                <a:lnTo>
                  <a:pt x="2252263" y="576108"/>
                </a:lnTo>
                <a:lnTo>
                  <a:pt x="2255193" y="577191"/>
                </a:lnTo>
                <a:lnTo>
                  <a:pt x="2258991" y="582821"/>
                </a:lnTo>
                <a:lnTo>
                  <a:pt x="2260185" y="587260"/>
                </a:lnTo>
                <a:lnTo>
                  <a:pt x="2265176" y="587260"/>
                </a:lnTo>
                <a:lnTo>
                  <a:pt x="2264308" y="582063"/>
                </a:lnTo>
                <a:lnTo>
                  <a:pt x="2260727" y="577949"/>
                </a:lnTo>
                <a:lnTo>
                  <a:pt x="2261378" y="575891"/>
                </a:lnTo>
                <a:lnTo>
                  <a:pt x="2264851" y="574700"/>
                </a:lnTo>
                <a:lnTo>
                  <a:pt x="2261053" y="570045"/>
                </a:lnTo>
                <a:lnTo>
                  <a:pt x="2265176" y="563548"/>
                </a:lnTo>
                <a:lnTo>
                  <a:pt x="2276028" y="561167"/>
                </a:lnTo>
                <a:lnTo>
                  <a:pt x="2283081" y="561167"/>
                </a:lnTo>
                <a:close/>
                <a:moveTo>
                  <a:pt x="2178798" y="548931"/>
                </a:moveTo>
                <a:lnTo>
                  <a:pt x="2184984" y="549580"/>
                </a:lnTo>
                <a:lnTo>
                  <a:pt x="2186394" y="551855"/>
                </a:lnTo>
                <a:lnTo>
                  <a:pt x="2184332" y="553586"/>
                </a:lnTo>
                <a:lnTo>
                  <a:pt x="2184332" y="556510"/>
                </a:lnTo>
                <a:lnTo>
                  <a:pt x="2187588" y="558784"/>
                </a:lnTo>
                <a:lnTo>
                  <a:pt x="2190843" y="563439"/>
                </a:lnTo>
                <a:lnTo>
                  <a:pt x="2194641" y="562032"/>
                </a:lnTo>
                <a:lnTo>
                  <a:pt x="2199416" y="564306"/>
                </a:lnTo>
                <a:lnTo>
                  <a:pt x="2205059" y="564306"/>
                </a:lnTo>
                <a:lnTo>
                  <a:pt x="2207447" y="562032"/>
                </a:lnTo>
                <a:lnTo>
                  <a:pt x="2211028" y="562898"/>
                </a:lnTo>
                <a:lnTo>
                  <a:pt x="2221879" y="562898"/>
                </a:lnTo>
                <a:lnTo>
                  <a:pt x="2225460" y="566904"/>
                </a:lnTo>
                <a:lnTo>
                  <a:pt x="2228390" y="566038"/>
                </a:lnTo>
                <a:lnTo>
                  <a:pt x="2229258" y="568961"/>
                </a:lnTo>
                <a:lnTo>
                  <a:pt x="2228607" y="571559"/>
                </a:lnTo>
                <a:lnTo>
                  <a:pt x="2229801" y="575025"/>
                </a:lnTo>
                <a:lnTo>
                  <a:pt x="2227522" y="578814"/>
                </a:lnTo>
                <a:lnTo>
                  <a:pt x="2221445" y="582386"/>
                </a:lnTo>
                <a:lnTo>
                  <a:pt x="2217864" y="580871"/>
                </a:lnTo>
                <a:lnTo>
                  <a:pt x="2216996" y="578598"/>
                </a:lnTo>
                <a:lnTo>
                  <a:pt x="2214608" y="580979"/>
                </a:lnTo>
                <a:lnTo>
                  <a:pt x="2211678" y="581954"/>
                </a:lnTo>
                <a:lnTo>
                  <a:pt x="2212764" y="584552"/>
                </a:lnTo>
                <a:lnTo>
                  <a:pt x="2217973" y="587800"/>
                </a:lnTo>
                <a:lnTo>
                  <a:pt x="2216236" y="590724"/>
                </a:lnTo>
                <a:lnTo>
                  <a:pt x="2215368" y="596679"/>
                </a:lnTo>
                <a:lnTo>
                  <a:pt x="2212981" y="597869"/>
                </a:lnTo>
                <a:lnTo>
                  <a:pt x="2211245" y="596137"/>
                </a:lnTo>
                <a:lnTo>
                  <a:pt x="2207772" y="596137"/>
                </a:lnTo>
                <a:lnTo>
                  <a:pt x="2202780" y="597328"/>
                </a:lnTo>
                <a:lnTo>
                  <a:pt x="2201044" y="599927"/>
                </a:lnTo>
                <a:lnTo>
                  <a:pt x="2191928" y="601984"/>
                </a:lnTo>
                <a:lnTo>
                  <a:pt x="2186394" y="606423"/>
                </a:lnTo>
                <a:lnTo>
                  <a:pt x="2183681" y="606423"/>
                </a:lnTo>
                <a:lnTo>
                  <a:pt x="2179883" y="612269"/>
                </a:lnTo>
                <a:lnTo>
                  <a:pt x="2179883" y="614976"/>
                </a:lnTo>
                <a:lnTo>
                  <a:pt x="2183031" y="614976"/>
                </a:lnTo>
                <a:lnTo>
                  <a:pt x="2184224" y="612920"/>
                </a:lnTo>
                <a:lnTo>
                  <a:pt x="2191277" y="611404"/>
                </a:lnTo>
                <a:lnTo>
                  <a:pt x="2193882" y="610320"/>
                </a:lnTo>
                <a:lnTo>
                  <a:pt x="2201152" y="614435"/>
                </a:lnTo>
                <a:lnTo>
                  <a:pt x="2202563" y="619416"/>
                </a:lnTo>
                <a:lnTo>
                  <a:pt x="2200501" y="620931"/>
                </a:lnTo>
                <a:lnTo>
                  <a:pt x="2197354" y="620931"/>
                </a:lnTo>
                <a:lnTo>
                  <a:pt x="2200827" y="622447"/>
                </a:lnTo>
                <a:lnTo>
                  <a:pt x="2201695" y="626236"/>
                </a:lnTo>
                <a:lnTo>
                  <a:pt x="2201695" y="630675"/>
                </a:lnTo>
                <a:lnTo>
                  <a:pt x="2198114" y="633057"/>
                </a:lnTo>
                <a:lnTo>
                  <a:pt x="2198114" y="637930"/>
                </a:lnTo>
                <a:lnTo>
                  <a:pt x="2199524" y="639987"/>
                </a:lnTo>
                <a:lnTo>
                  <a:pt x="2202237" y="634681"/>
                </a:lnTo>
                <a:lnTo>
                  <a:pt x="2207447" y="632733"/>
                </a:lnTo>
                <a:lnTo>
                  <a:pt x="2209183" y="630675"/>
                </a:lnTo>
                <a:lnTo>
                  <a:pt x="2211896" y="630675"/>
                </a:lnTo>
                <a:lnTo>
                  <a:pt x="2209292" y="633815"/>
                </a:lnTo>
                <a:lnTo>
                  <a:pt x="2209292" y="640636"/>
                </a:lnTo>
                <a:lnTo>
                  <a:pt x="2206579" y="647891"/>
                </a:lnTo>
                <a:lnTo>
                  <a:pt x="2206579" y="652221"/>
                </a:lnTo>
                <a:lnTo>
                  <a:pt x="2198656" y="656877"/>
                </a:lnTo>
                <a:lnTo>
                  <a:pt x="2195510" y="656660"/>
                </a:lnTo>
                <a:lnTo>
                  <a:pt x="2194099" y="658934"/>
                </a:lnTo>
                <a:lnTo>
                  <a:pt x="2195618" y="661532"/>
                </a:lnTo>
                <a:lnTo>
                  <a:pt x="2193556" y="667921"/>
                </a:lnTo>
                <a:lnTo>
                  <a:pt x="2190952" y="668570"/>
                </a:lnTo>
                <a:lnTo>
                  <a:pt x="2189758" y="666513"/>
                </a:lnTo>
                <a:lnTo>
                  <a:pt x="2186611" y="668245"/>
                </a:lnTo>
                <a:lnTo>
                  <a:pt x="2186611" y="670303"/>
                </a:lnTo>
                <a:lnTo>
                  <a:pt x="2192688" y="673550"/>
                </a:lnTo>
                <a:lnTo>
                  <a:pt x="2191495" y="675932"/>
                </a:lnTo>
                <a:lnTo>
                  <a:pt x="2186828" y="675932"/>
                </a:lnTo>
                <a:lnTo>
                  <a:pt x="2189541" y="680264"/>
                </a:lnTo>
                <a:lnTo>
                  <a:pt x="2184332" y="684703"/>
                </a:lnTo>
                <a:lnTo>
                  <a:pt x="2182271" y="682645"/>
                </a:lnTo>
                <a:lnTo>
                  <a:pt x="2179341" y="685244"/>
                </a:lnTo>
                <a:lnTo>
                  <a:pt x="2174891" y="685244"/>
                </a:lnTo>
                <a:lnTo>
                  <a:pt x="2169357" y="687842"/>
                </a:lnTo>
                <a:lnTo>
                  <a:pt x="2169357" y="691415"/>
                </a:lnTo>
                <a:lnTo>
                  <a:pt x="2162846" y="693472"/>
                </a:lnTo>
                <a:lnTo>
                  <a:pt x="2157311" y="689683"/>
                </a:lnTo>
                <a:lnTo>
                  <a:pt x="2152645" y="692282"/>
                </a:lnTo>
                <a:lnTo>
                  <a:pt x="2149498" y="691199"/>
                </a:lnTo>
                <a:lnTo>
                  <a:pt x="2147654" y="681887"/>
                </a:lnTo>
                <a:lnTo>
                  <a:pt x="2151777" y="676041"/>
                </a:lnTo>
                <a:lnTo>
                  <a:pt x="2151777" y="672576"/>
                </a:lnTo>
                <a:lnTo>
                  <a:pt x="2143856" y="680155"/>
                </a:lnTo>
                <a:lnTo>
                  <a:pt x="2143204" y="684594"/>
                </a:lnTo>
                <a:lnTo>
                  <a:pt x="2146677" y="693472"/>
                </a:lnTo>
                <a:lnTo>
                  <a:pt x="2149064" y="695854"/>
                </a:lnTo>
                <a:lnTo>
                  <a:pt x="2147870" y="700185"/>
                </a:lnTo>
                <a:lnTo>
                  <a:pt x="2141902" y="706790"/>
                </a:lnTo>
                <a:lnTo>
                  <a:pt x="2139623" y="711770"/>
                </a:lnTo>
                <a:lnTo>
                  <a:pt x="2133221" y="713719"/>
                </a:lnTo>
                <a:lnTo>
                  <a:pt x="2130291" y="711337"/>
                </a:lnTo>
                <a:lnTo>
                  <a:pt x="2130291" y="706031"/>
                </a:lnTo>
                <a:lnTo>
                  <a:pt x="2128337" y="703974"/>
                </a:lnTo>
                <a:lnTo>
                  <a:pt x="2125407" y="706573"/>
                </a:lnTo>
                <a:lnTo>
                  <a:pt x="2124322" y="703974"/>
                </a:lnTo>
                <a:lnTo>
                  <a:pt x="2125516" y="699319"/>
                </a:lnTo>
                <a:lnTo>
                  <a:pt x="2124431" y="694339"/>
                </a:lnTo>
                <a:lnTo>
                  <a:pt x="2121176" y="690874"/>
                </a:lnTo>
                <a:lnTo>
                  <a:pt x="2123888" y="685568"/>
                </a:lnTo>
                <a:lnTo>
                  <a:pt x="2123020" y="678748"/>
                </a:lnTo>
                <a:lnTo>
                  <a:pt x="2124539" y="675824"/>
                </a:lnTo>
                <a:lnTo>
                  <a:pt x="2121067" y="674091"/>
                </a:lnTo>
                <a:lnTo>
                  <a:pt x="2119005" y="669978"/>
                </a:lnTo>
                <a:lnTo>
                  <a:pt x="2119005" y="666188"/>
                </a:lnTo>
                <a:lnTo>
                  <a:pt x="2115098" y="661207"/>
                </a:lnTo>
                <a:lnTo>
                  <a:pt x="2115098" y="653845"/>
                </a:lnTo>
                <a:lnTo>
                  <a:pt x="2111952" y="648215"/>
                </a:lnTo>
                <a:lnTo>
                  <a:pt x="2109564" y="648215"/>
                </a:lnTo>
                <a:lnTo>
                  <a:pt x="2108045" y="645942"/>
                </a:lnTo>
                <a:lnTo>
                  <a:pt x="2108045" y="640636"/>
                </a:lnTo>
                <a:lnTo>
                  <a:pt x="2105441" y="639229"/>
                </a:lnTo>
                <a:lnTo>
                  <a:pt x="2101859" y="641503"/>
                </a:lnTo>
                <a:lnTo>
                  <a:pt x="2099906" y="639662"/>
                </a:lnTo>
                <a:lnTo>
                  <a:pt x="2096433" y="640312"/>
                </a:lnTo>
                <a:lnTo>
                  <a:pt x="2094155" y="638038"/>
                </a:lnTo>
                <a:lnTo>
                  <a:pt x="2094155" y="632841"/>
                </a:lnTo>
                <a:lnTo>
                  <a:pt x="2099038" y="630243"/>
                </a:lnTo>
                <a:lnTo>
                  <a:pt x="2100015" y="623530"/>
                </a:lnTo>
                <a:lnTo>
                  <a:pt x="2097627" y="620282"/>
                </a:lnTo>
                <a:lnTo>
                  <a:pt x="2098821" y="617575"/>
                </a:lnTo>
                <a:lnTo>
                  <a:pt x="2098821" y="609454"/>
                </a:lnTo>
                <a:lnTo>
                  <a:pt x="2097085" y="606206"/>
                </a:lnTo>
                <a:lnTo>
                  <a:pt x="2102728" y="598953"/>
                </a:lnTo>
                <a:lnTo>
                  <a:pt x="2107394" y="597220"/>
                </a:lnTo>
                <a:lnTo>
                  <a:pt x="2109239" y="594080"/>
                </a:lnTo>
                <a:lnTo>
                  <a:pt x="2111626" y="593430"/>
                </a:lnTo>
                <a:lnTo>
                  <a:pt x="2113037" y="595704"/>
                </a:lnTo>
                <a:lnTo>
                  <a:pt x="2120090" y="593430"/>
                </a:lnTo>
                <a:lnTo>
                  <a:pt x="2124214" y="594621"/>
                </a:lnTo>
                <a:lnTo>
                  <a:pt x="2126276" y="597545"/>
                </a:lnTo>
                <a:lnTo>
                  <a:pt x="2124431" y="599818"/>
                </a:lnTo>
                <a:lnTo>
                  <a:pt x="2122369" y="600468"/>
                </a:lnTo>
                <a:lnTo>
                  <a:pt x="2122369" y="602849"/>
                </a:lnTo>
                <a:lnTo>
                  <a:pt x="2126384" y="603499"/>
                </a:lnTo>
                <a:lnTo>
                  <a:pt x="2127252" y="606206"/>
                </a:lnTo>
                <a:lnTo>
                  <a:pt x="2127252" y="610320"/>
                </a:lnTo>
                <a:lnTo>
                  <a:pt x="2133112" y="616708"/>
                </a:lnTo>
                <a:lnTo>
                  <a:pt x="2133112" y="620822"/>
                </a:lnTo>
                <a:lnTo>
                  <a:pt x="2135825" y="624829"/>
                </a:lnTo>
                <a:lnTo>
                  <a:pt x="2140274" y="625479"/>
                </a:lnTo>
                <a:lnTo>
                  <a:pt x="2142336" y="623746"/>
                </a:lnTo>
                <a:lnTo>
                  <a:pt x="2141468" y="619740"/>
                </a:lnTo>
                <a:lnTo>
                  <a:pt x="2144072" y="617900"/>
                </a:lnTo>
                <a:lnTo>
                  <a:pt x="2147219" y="612702"/>
                </a:lnTo>
                <a:lnTo>
                  <a:pt x="2146351" y="609563"/>
                </a:lnTo>
                <a:lnTo>
                  <a:pt x="2149607" y="606423"/>
                </a:lnTo>
                <a:lnTo>
                  <a:pt x="2150258" y="602959"/>
                </a:lnTo>
                <a:lnTo>
                  <a:pt x="2148522" y="598844"/>
                </a:lnTo>
                <a:lnTo>
                  <a:pt x="2150258" y="596786"/>
                </a:lnTo>
                <a:lnTo>
                  <a:pt x="2154598" y="595812"/>
                </a:lnTo>
                <a:lnTo>
                  <a:pt x="2157746" y="597003"/>
                </a:lnTo>
                <a:lnTo>
                  <a:pt x="2160024" y="601767"/>
                </a:lnTo>
                <a:lnTo>
                  <a:pt x="2163280" y="601767"/>
                </a:lnTo>
                <a:lnTo>
                  <a:pt x="2163280" y="598844"/>
                </a:lnTo>
                <a:lnTo>
                  <a:pt x="2159808" y="593214"/>
                </a:lnTo>
                <a:lnTo>
                  <a:pt x="2158723" y="588775"/>
                </a:lnTo>
                <a:lnTo>
                  <a:pt x="2156986" y="588775"/>
                </a:lnTo>
                <a:lnTo>
                  <a:pt x="2154707" y="593106"/>
                </a:lnTo>
                <a:lnTo>
                  <a:pt x="2149390" y="593106"/>
                </a:lnTo>
                <a:lnTo>
                  <a:pt x="2145266" y="587259"/>
                </a:lnTo>
                <a:lnTo>
                  <a:pt x="2145266" y="584119"/>
                </a:lnTo>
                <a:lnTo>
                  <a:pt x="2141468" y="579355"/>
                </a:lnTo>
                <a:lnTo>
                  <a:pt x="2141468" y="573833"/>
                </a:lnTo>
                <a:lnTo>
                  <a:pt x="2144398" y="570910"/>
                </a:lnTo>
                <a:lnTo>
                  <a:pt x="2147979" y="570910"/>
                </a:lnTo>
                <a:lnTo>
                  <a:pt x="2149064" y="567121"/>
                </a:lnTo>
                <a:lnTo>
                  <a:pt x="2152645" y="569178"/>
                </a:lnTo>
                <a:lnTo>
                  <a:pt x="2155033" y="573292"/>
                </a:lnTo>
                <a:lnTo>
                  <a:pt x="2156552" y="582604"/>
                </a:lnTo>
                <a:lnTo>
                  <a:pt x="2157637" y="582604"/>
                </a:lnTo>
                <a:lnTo>
                  <a:pt x="2158614" y="577623"/>
                </a:lnTo>
                <a:lnTo>
                  <a:pt x="2160350" y="575349"/>
                </a:lnTo>
                <a:lnTo>
                  <a:pt x="2160350" y="570368"/>
                </a:lnTo>
                <a:lnTo>
                  <a:pt x="2156878" y="568528"/>
                </a:lnTo>
                <a:lnTo>
                  <a:pt x="2156878" y="564089"/>
                </a:lnTo>
                <a:lnTo>
                  <a:pt x="2155901" y="559433"/>
                </a:lnTo>
                <a:lnTo>
                  <a:pt x="2157963" y="558243"/>
                </a:lnTo>
                <a:lnTo>
                  <a:pt x="2159373" y="553478"/>
                </a:lnTo>
                <a:lnTo>
                  <a:pt x="2163822" y="551746"/>
                </a:lnTo>
                <a:lnTo>
                  <a:pt x="2165884" y="552829"/>
                </a:lnTo>
                <a:lnTo>
                  <a:pt x="2168163" y="552180"/>
                </a:lnTo>
                <a:lnTo>
                  <a:pt x="2171636" y="557376"/>
                </a:lnTo>
                <a:lnTo>
                  <a:pt x="2177279" y="558784"/>
                </a:lnTo>
                <a:lnTo>
                  <a:pt x="2179558" y="554778"/>
                </a:lnTo>
                <a:lnTo>
                  <a:pt x="2174891" y="554778"/>
                </a:lnTo>
                <a:lnTo>
                  <a:pt x="2172830" y="552504"/>
                </a:lnTo>
                <a:lnTo>
                  <a:pt x="2175217" y="550664"/>
                </a:lnTo>
                <a:close/>
                <a:moveTo>
                  <a:pt x="5417911" y="548501"/>
                </a:moveTo>
                <a:lnTo>
                  <a:pt x="5423662" y="549259"/>
                </a:lnTo>
                <a:lnTo>
                  <a:pt x="5426701" y="552723"/>
                </a:lnTo>
                <a:lnTo>
                  <a:pt x="5426484" y="554673"/>
                </a:lnTo>
                <a:lnTo>
                  <a:pt x="5422794" y="555430"/>
                </a:lnTo>
                <a:lnTo>
                  <a:pt x="5424639" y="558136"/>
                </a:lnTo>
                <a:lnTo>
                  <a:pt x="5424965" y="559761"/>
                </a:lnTo>
                <a:lnTo>
                  <a:pt x="5422903" y="560735"/>
                </a:lnTo>
                <a:lnTo>
                  <a:pt x="5419430" y="558355"/>
                </a:lnTo>
                <a:lnTo>
                  <a:pt x="5414764" y="558136"/>
                </a:lnTo>
                <a:lnTo>
                  <a:pt x="5412159" y="556404"/>
                </a:lnTo>
                <a:lnTo>
                  <a:pt x="5409772" y="552399"/>
                </a:lnTo>
                <a:lnTo>
                  <a:pt x="5411183" y="551423"/>
                </a:lnTo>
                <a:lnTo>
                  <a:pt x="5414655" y="553481"/>
                </a:lnTo>
                <a:lnTo>
                  <a:pt x="5415957" y="553156"/>
                </a:lnTo>
                <a:lnTo>
                  <a:pt x="5415523" y="550016"/>
                </a:lnTo>
                <a:close/>
                <a:moveTo>
                  <a:pt x="2223614" y="544384"/>
                </a:moveTo>
                <a:lnTo>
                  <a:pt x="2230450" y="548390"/>
                </a:lnTo>
                <a:lnTo>
                  <a:pt x="2230993" y="551963"/>
                </a:lnTo>
                <a:lnTo>
                  <a:pt x="2225133" y="551639"/>
                </a:lnTo>
                <a:lnTo>
                  <a:pt x="2221769" y="555212"/>
                </a:lnTo>
                <a:lnTo>
                  <a:pt x="2218405" y="556078"/>
                </a:lnTo>
                <a:lnTo>
                  <a:pt x="2214824" y="554670"/>
                </a:lnTo>
                <a:lnTo>
                  <a:pt x="2209073" y="557594"/>
                </a:lnTo>
                <a:lnTo>
                  <a:pt x="2204732" y="555970"/>
                </a:lnTo>
                <a:lnTo>
                  <a:pt x="2202671" y="558460"/>
                </a:lnTo>
                <a:lnTo>
                  <a:pt x="2196485" y="553913"/>
                </a:lnTo>
                <a:lnTo>
                  <a:pt x="2190625" y="552288"/>
                </a:lnTo>
                <a:lnTo>
                  <a:pt x="2188672" y="549256"/>
                </a:lnTo>
                <a:lnTo>
                  <a:pt x="2190191" y="548607"/>
                </a:lnTo>
                <a:lnTo>
                  <a:pt x="2195725" y="549148"/>
                </a:lnTo>
                <a:lnTo>
                  <a:pt x="2200608" y="545684"/>
                </a:lnTo>
                <a:lnTo>
                  <a:pt x="2207011" y="548715"/>
                </a:lnTo>
                <a:lnTo>
                  <a:pt x="2211786" y="546009"/>
                </a:lnTo>
                <a:lnTo>
                  <a:pt x="2214173" y="547308"/>
                </a:lnTo>
                <a:lnTo>
                  <a:pt x="2219708" y="546550"/>
                </a:lnTo>
                <a:close/>
                <a:moveTo>
                  <a:pt x="3646919" y="541028"/>
                </a:moveTo>
                <a:lnTo>
                  <a:pt x="3646919" y="545899"/>
                </a:lnTo>
                <a:lnTo>
                  <a:pt x="3645399" y="548606"/>
                </a:lnTo>
                <a:lnTo>
                  <a:pt x="3644857" y="553262"/>
                </a:lnTo>
                <a:lnTo>
                  <a:pt x="3645616" y="555860"/>
                </a:lnTo>
                <a:lnTo>
                  <a:pt x="3644206" y="558350"/>
                </a:lnTo>
                <a:lnTo>
                  <a:pt x="3640625" y="558351"/>
                </a:lnTo>
                <a:cubicBezTo>
                  <a:pt x="3640243" y="557506"/>
                  <a:pt x="3639917" y="556639"/>
                  <a:pt x="3639648" y="555752"/>
                </a:cubicBezTo>
                <a:lnTo>
                  <a:pt x="3642144" y="551746"/>
                </a:lnTo>
                <a:lnTo>
                  <a:pt x="3642144" y="547091"/>
                </a:lnTo>
                <a:close/>
                <a:moveTo>
                  <a:pt x="3609806" y="536156"/>
                </a:moveTo>
                <a:lnTo>
                  <a:pt x="3611759" y="536373"/>
                </a:lnTo>
                <a:lnTo>
                  <a:pt x="3615124" y="540920"/>
                </a:lnTo>
                <a:lnTo>
                  <a:pt x="3618488" y="542760"/>
                </a:lnTo>
                <a:lnTo>
                  <a:pt x="3618596" y="545576"/>
                </a:lnTo>
                <a:lnTo>
                  <a:pt x="3615774" y="545251"/>
                </a:lnTo>
                <a:lnTo>
                  <a:pt x="3612302" y="543085"/>
                </a:lnTo>
                <a:lnTo>
                  <a:pt x="3608938" y="537455"/>
                </a:lnTo>
                <a:close/>
                <a:moveTo>
                  <a:pt x="5322742" y="529445"/>
                </a:moveTo>
                <a:lnTo>
                  <a:pt x="5323935" y="533344"/>
                </a:lnTo>
                <a:lnTo>
                  <a:pt x="5323935" y="536374"/>
                </a:lnTo>
                <a:lnTo>
                  <a:pt x="5327300" y="539623"/>
                </a:lnTo>
                <a:lnTo>
                  <a:pt x="5327300" y="542220"/>
                </a:lnTo>
                <a:lnTo>
                  <a:pt x="5324044" y="544386"/>
                </a:lnTo>
                <a:lnTo>
                  <a:pt x="5325563" y="549800"/>
                </a:lnTo>
                <a:lnTo>
                  <a:pt x="5325129" y="554563"/>
                </a:lnTo>
                <a:lnTo>
                  <a:pt x="5322850" y="551857"/>
                </a:lnTo>
                <a:lnTo>
                  <a:pt x="5322308" y="546878"/>
                </a:lnTo>
                <a:lnTo>
                  <a:pt x="5320463" y="545470"/>
                </a:lnTo>
                <a:lnTo>
                  <a:pt x="5317967" y="547634"/>
                </a:lnTo>
                <a:lnTo>
                  <a:pt x="5314820" y="546552"/>
                </a:lnTo>
                <a:lnTo>
                  <a:pt x="5314386" y="537565"/>
                </a:lnTo>
                <a:lnTo>
                  <a:pt x="5316339" y="539730"/>
                </a:lnTo>
                <a:lnTo>
                  <a:pt x="5318509" y="540705"/>
                </a:lnTo>
                <a:lnTo>
                  <a:pt x="5319161" y="537132"/>
                </a:lnTo>
                <a:lnTo>
                  <a:pt x="5315688" y="533451"/>
                </a:lnTo>
                <a:lnTo>
                  <a:pt x="5317207" y="531502"/>
                </a:lnTo>
                <a:lnTo>
                  <a:pt x="5319377" y="531502"/>
                </a:lnTo>
                <a:close/>
                <a:moveTo>
                  <a:pt x="2062358" y="526953"/>
                </a:moveTo>
                <a:lnTo>
                  <a:pt x="2065940" y="529875"/>
                </a:lnTo>
                <a:lnTo>
                  <a:pt x="2069304" y="530092"/>
                </a:lnTo>
                <a:lnTo>
                  <a:pt x="2073427" y="532799"/>
                </a:lnTo>
                <a:lnTo>
                  <a:pt x="2076140" y="531933"/>
                </a:lnTo>
                <a:lnTo>
                  <a:pt x="2080807" y="533881"/>
                </a:lnTo>
                <a:lnTo>
                  <a:pt x="2083520" y="533016"/>
                </a:lnTo>
                <a:lnTo>
                  <a:pt x="2086992" y="533124"/>
                </a:lnTo>
                <a:lnTo>
                  <a:pt x="2091332" y="539187"/>
                </a:lnTo>
                <a:lnTo>
                  <a:pt x="2091116" y="542652"/>
                </a:lnTo>
                <a:lnTo>
                  <a:pt x="2089922" y="544709"/>
                </a:lnTo>
                <a:lnTo>
                  <a:pt x="2092743" y="549473"/>
                </a:lnTo>
                <a:lnTo>
                  <a:pt x="2092743" y="552396"/>
                </a:lnTo>
                <a:lnTo>
                  <a:pt x="2090681" y="554345"/>
                </a:lnTo>
                <a:lnTo>
                  <a:pt x="2090464" y="557917"/>
                </a:lnTo>
                <a:lnTo>
                  <a:pt x="2084930" y="563440"/>
                </a:lnTo>
                <a:lnTo>
                  <a:pt x="2082543" y="563440"/>
                </a:lnTo>
                <a:lnTo>
                  <a:pt x="2075815" y="569827"/>
                </a:lnTo>
                <a:lnTo>
                  <a:pt x="2069846" y="573617"/>
                </a:lnTo>
                <a:lnTo>
                  <a:pt x="2064312" y="580221"/>
                </a:lnTo>
                <a:lnTo>
                  <a:pt x="2059754" y="580221"/>
                </a:lnTo>
                <a:lnTo>
                  <a:pt x="2056824" y="582279"/>
                </a:lnTo>
                <a:lnTo>
                  <a:pt x="2057150" y="585743"/>
                </a:lnTo>
                <a:lnTo>
                  <a:pt x="2055522" y="587151"/>
                </a:lnTo>
                <a:lnTo>
                  <a:pt x="2052049" y="582821"/>
                </a:lnTo>
                <a:lnTo>
                  <a:pt x="2051507" y="573076"/>
                </a:lnTo>
                <a:lnTo>
                  <a:pt x="2048794" y="568203"/>
                </a:lnTo>
                <a:lnTo>
                  <a:pt x="2048794" y="564414"/>
                </a:lnTo>
                <a:lnTo>
                  <a:pt x="2049663" y="561924"/>
                </a:lnTo>
                <a:lnTo>
                  <a:pt x="2048251" y="556402"/>
                </a:lnTo>
                <a:lnTo>
                  <a:pt x="2048251" y="550880"/>
                </a:lnTo>
                <a:lnTo>
                  <a:pt x="2044453" y="545358"/>
                </a:lnTo>
                <a:lnTo>
                  <a:pt x="2040330" y="541785"/>
                </a:lnTo>
                <a:lnTo>
                  <a:pt x="2040438" y="539187"/>
                </a:lnTo>
                <a:lnTo>
                  <a:pt x="2047926" y="533341"/>
                </a:lnTo>
                <a:lnTo>
                  <a:pt x="2051507" y="531933"/>
                </a:lnTo>
                <a:lnTo>
                  <a:pt x="2055956" y="527710"/>
                </a:lnTo>
                <a:close/>
                <a:moveTo>
                  <a:pt x="2026548" y="526629"/>
                </a:moveTo>
                <a:lnTo>
                  <a:pt x="2032191" y="527495"/>
                </a:lnTo>
                <a:lnTo>
                  <a:pt x="2034144" y="530310"/>
                </a:lnTo>
                <a:lnTo>
                  <a:pt x="2032517" y="532150"/>
                </a:lnTo>
                <a:lnTo>
                  <a:pt x="2029152" y="530742"/>
                </a:lnTo>
                <a:lnTo>
                  <a:pt x="2026331" y="531934"/>
                </a:lnTo>
                <a:lnTo>
                  <a:pt x="2024921" y="530418"/>
                </a:lnTo>
                <a:lnTo>
                  <a:pt x="2024812" y="527603"/>
                </a:lnTo>
                <a:close/>
                <a:moveTo>
                  <a:pt x="2281019" y="522405"/>
                </a:moveTo>
                <a:lnTo>
                  <a:pt x="2282972" y="523379"/>
                </a:lnTo>
                <a:lnTo>
                  <a:pt x="2284817" y="526953"/>
                </a:lnTo>
                <a:lnTo>
                  <a:pt x="2283514" y="531176"/>
                </a:lnTo>
                <a:lnTo>
                  <a:pt x="2281887" y="532475"/>
                </a:lnTo>
                <a:lnTo>
                  <a:pt x="2280259" y="530202"/>
                </a:lnTo>
                <a:lnTo>
                  <a:pt x="2278849" y="524895"/>
                </a:lnTo>
                <a:close/>
                <a:moveTo>
                  <a:pt x="3629555" y="520672"/>
                </a:moveTo>
                <a:lnTo>
                  <a:pt x="3629881" y="523595"/>
                </a:lnTo>
                <a:lnTo>
                  <a:pt x="3628470" y="528360"/>
                </a:lnTo>
                <a:lnTo>
                  <a:pt x="3626517" y="529442"/>
                </a:lnTo>
                <a:lnTo>
                  <a:pt x="3625432" y="528468"/>
                </a:lnTo>
                <a:lnTo>
                  <a:pt x="3628036" y="522296"/>
                </a:lnTo>
                <a:close/>
                <a:moveTo>
                  <a:pt x="2242712" y="515801"/>
                </a:moveTo>
                <a:lnTo>
                  <a:pt x="2245968" y="518075"/>
                </a:lnTo>
                <a:lnTo>
                  <a:pt x="2244557" y="520890"/>
                </a:lnTo>
                <a:lnTo>
                  <a:pt x="2241193" y="521108"/>
                </a:lnTo>
                <a:lnTo>
                  <a:pt x="2237829" y="523489"/>
                </a:lnTo>
                <a:lnTo>
                  <a:pt x="2234031" y="523056"/>
                </a:lnTo>
                <a:lnTo>
                  <a:pt x="2237069" y="518075"/>
                </a:lnTo>
                <a:close/>
                <a:moveTo>
                  <a:pt x="1898715" y="513202"/>
                </a:moveTo>
                <a:lnTo>
                  <a:pt x="1902622" y="513419"/>
                </a:lnTo>
                <a:lnTo>
                  <a:pt x="1904032" y="517641"/>
                </a:lnTo>
                <a:lnTo>
                  <a:pt x="1902839" y="521430"/>
                </a:lnTo>
                <a:lnTo>
                  <a:pt x="1903381" y="528577"/>
                </a:lnTo>
                <a:lnTo>
                  <a:pt x="1899909" y="535289"/>
                </a:lnTo>
                <a:lnTo>
                  <a:pt x="1896111" y="535289"/>
                </a:lnTo>
                <a:lnTo>
                  <a:pt x="1894266" y="537779"/>
                </a:lnTo>
                <a:lnTo>
                  <a:pt x="1893940" y="543301"/>
                </a:lnTo>
                <a:lnTo>
                  <a:pt x="1890468" y="547957"/>
                </a:lnTo>
                <a:lnTo>
                  <a:pt x="1887538" y="547308"/>
                </a:lnTo>
                <a:lnTo>
                  <a:pt x="1883522" y="548823"/>
                </a:lnTo>
                <a:lnTo>
                  <a:pt x="1881786" y="552938"/>
                </a:lnTo>
                <a:lnTo>
                  <a:pt x="1874949" y="554453"/>
                </a:lnTo>
                <a:lnTo>
                  <a:pt x="1873213" y="556185"/>
                </a:lnTo>
                <a:lnTo>
                  <a:pt x="1875058" y="557918"/>
                </a:lnTo>
                <a:lnTo>
                  <a:pt x="1879941" y="558134"/>
                </a:lnTo>
                <a:lnTo>
                  <a:pt x="1882003" y="556185"/>
                </a:lnTo>
                <a:lnTo>
                  <a:pt x="1886670" y="555861"/>
                </a:lnTo>
                <a:lnTo>
                  <a:pt x="1890142" y="558243"/>
                </a:lnTo>
                <a:lnTo>
                  <a:pt x="1893723" y="557593"/>
                </a:lnTo>
                <a:lnTo>
                  <a:pt x="1893940" y="559650"/>
                </a:lnTo>
                <a:lnTo>
                  <a:pt x="1897196" y="558134"/>
                </a:lnTo>
                <a:lnTo>
                  <a:pt x="1900126" y="557052"/>
                </a:lnTo>
                <a:lnTo>
                  <a:pt x="1900234" y="554020"/>
                </a:lnTo>
                <a:lnTo>
                  <a:pt x="1898389" y="552288"/>
                </a:lnTo>
                <a:lnTo>
                  <a:pt x="1905877" y="544492"/>
                </a:lnTo>
                <a:lnTo>
                  <a:pt x="1909024" y="544167"/>
                </a:lnTo>
                <a:lnTo>
                  <a:pt x="1914232" y="540378"/>
                </a:lnTo>
                <a:lnTo>
                  <a:pt x="1918139" y="540378"/>
                </a:lnTo>
                <a:lnTo>
                  <a:pt x="1919224" y="542977"/>
                </a:lnTo>
                <a:lnTo>
                  <a:pt x="1926495" y="549690"/>
                </a:lnTo>
                <a:lnTo>
                  <a:pt x="1927146" y="552938"/>
                </a:lnTo>
                <a:lnTo>
                  <a:pt x="1932463" y="554670"/>
                </a:lnTo>
                <a:lnTo>
                  <a:pt x="1936479" y="562573"/>
                </a:lnTo>
                <a:lnTo>
                  <a:pt x="1939517" y="565281"/>
                </a:lnTo>
                <a:lnTo>
                  <a:pt x="1938649" y="568095"/>
                </a:lnTo>
                <a:lnTo>
                  <a:pt x="1938649" y="571993"/>
                </a:lnTo>
                <a:lnTo>
                  <a:pt x="1933874" y="576107"/>
                </a:lnTo>
                <a:lnTo>
                  <a:pt x="1930619" y="575132"/>
                </a:lnTo>
                <a:lnTo>
                  <a:pt x="1927471" y="576107"/>
                </a:lnTo>
                <a:lnTo>
                  <a:pt x="1927146" y="579030"/>
                </a:lnTo>
                <a:lnTo>
                  <a:pt x="1921829" y="580438"/>
                </a:lnTo>
                <a:lnTo>
                  <a:pt x="1918899" y="579464"/>
                </a:lnTo>
                <a:lnTo>
                  <a:pt x="1912822" y="580114"/>
                </a:lnTo>
                <a:lnTo>
                  <a:pt x="1909024" y="583578"/>
                </a:lnTo>
                <a:lnTo>
                  <a:pt x="1911303" y="585635"/>
                </a:lnTo>
                <a:lnTo>
                  <a:pt x="1916620" y="584769"/>
                </a:lnTo>
                <a:lnTo>
                  <a:pt x="1917705" y="587367"/>
                </a:lnTo>
                <a:lnTo>
                  <a:pt x="1923022" y="587151"/>
                </a:lnTo>
                <a:lnTo>
                  <a:pt x="1925952" y="584228"/>
                </a:lnTo>
                <a:lnTo>
                  <a:pt x="1928991" y="583903"/>
                </a:lnTo>
                <a:lnTo>
                  <a:pt x="1932246" y="589533"/>
                </a:lnTo>
                <a:lnTo>
                  <a:pt x="1937672" y="584444"/>
                </a:lnTo>
                <a:lnTo>
                  <a:pt x="1943858" y="581954"/>
                </a:lnTo>
                <a:lnTo>
                  <a:pt x="1945268" y="583036"/>
                </a:lnTo>
                <a:lnTo>
                  <a:pt x="1942339" y="586068"/>
                </a:lnTo>
                <a:lnTo>
                  <a:pt x="1942339" y="591049"/>
                </a:lnTo>
                <a:lnTo>
                  <a:pt x="1944183" y="591915"/>
                </a:lnTo>
                <a:lnTo>
                  <a:pt x="1946788" y="587151"/>
                </a:lnTo>
                <a:lnTo>
                  <a:pt x="1949718" y="586609"/>
                </a:lnTo>
                <a:lnTo>
                  <a:pt x="1949718" y="590615"/>
                </a:lnTo>
                <a:lnTo>
                  <a:pt x="1953624" y="593647"/>
                </a:lnTo>
                <a:lnTo>
                  <a:pt x="1954926" y="588233"/>
                </a:lnTo>
                <a:lnTo>
                  <a:pt x="1956988" y="590291"/>
                </a:lnTo>
                <a:lnTo>
                  <a:pt x="1957639" y="592131"/>
                </a:lnTo>
                <a:lnTo>
                  <a:pt x="1960027" y="590399"/>
                </a:lnTo>
                <a:lnTo>
                  <a:pt x="1958291" y="584769"/>
                </a:lnTo>
                <a:lnTo>
                  <a:pt x="1957097" y="580763"/>
                </a:lnTo>
                <a:lnTo>
                  <a:pt x="1955035" y="579464"/>
                </a:lnTo>
                <a:lnTo>
                  <a:pt x="1956771" y="574266"/>
                </a:lnTo>
                <a:lnTo>
                  <a:pt x="1960027" y="574266"/>
                </a:lnTo>
                <a:lnTo>
                  <a:pt x="1961546" y="578706"/>
                </a:lnTo>
                <a:lnTo>
                  <a:pt x="1964693" y="578598"/>
                </a:lnTo>
                <a:lnTo>
                  <a:pt x="1964693" y="574916"/>
                </a:lnTo>
                <a:lnTo>
                  <a:pt x="1962305" y="571993"/>
                </a:lnTo>
                <a:lnTo>
                  <a:pt x="1962414" y="567879"/>
                </a:lnTo>
                <a:lnTo>
                  <a:pt x="1957965" y="564414"/>
                </a:lnTo>
                <a:lnTo>
                  <a:pt x="1959484" y="559434"/>
                </a:lnTo>
                <a:lnTo>
                  <a:pt x="1966212" y="557268"/>
                </a:lnTo>
                <a:lnTo>
                  <a:pt x="1970553" y="562898"/>
                </a:lnTo>
                <a:lnTo>
                  <a:pt x="1973483" y="563440"/>
                </a:lnTo>
                <a:lnTo>
                  <a:pt x="1973157" y="569069"/>
                </a:lnTo>
                <a:lnTo>
                  <a:pt x="1971638" y="571018"/>
                </a:lnTo>
                <a:lnTo>
                  <a:pt x="1973700" y="576540"/>
                </a:lnTo>
                <a:lnTo>
                  <a:pt x="1976196" y="578164"/>
                </a:lnTo>
                <a:lnTo>
                  <a:pt x="1975762" y="588017"/>
                </a:lnTo>
                <a:lnTo>
                  <a:pt x="1972832" y="591265"/>
                </a:lnTo>
                <a:lnTo>
                  <a:pt x="1972397" y="594730"/>
                </a:lnTo>
                <a:lnTo>
                  <a:pt x="1974676" y="595271"/>
                </a:lnTo>
                <a:lnTo>
                  <a:pt x="1977389" y="594730"/>
                </a:lnTo>
                <a:lnTo>
                  <a:pt x="1976955" y="600360"/>
                </a:lnTo>
                <a:lnTo>
                  <a:pt x="1971421" y="603283"/>
                </a:lnTo>
                <a:lnTo>
                  <a:pt x="1968816" y="613244"/>
                </a:lnTo>
                <a:lnTo>
                  <a:pt x="1967623" y="617250"/>
                </a:lnTo>
                <a:lnTo>
                  <a:pt x="1967297" y="621148"/>
                </a:lnTo>
                <a:lnTo>
                  <a:pt x="1964042" y="623963"/>
                </a:lnTo>
                <a:lnTo>
                  <a:pt x="1963174" y="629809"/>
                </a:lnTo>
                <a:lnTo>
                  <a:pt x="1959701" y="636847"/>
                </a:lnTo>
                <a:lnTo>
                  <a:pt x="1959810" y="643884"/>
                </a:lnTo>
                <a:lnTo>
                  <a:pt x="1962414" y="647024"/>
                </a:lnTo>
                <a:lnTo>
                  <a:pt x="1961112" y="650597"/>
                </a:lnTo>
                <a:lnTo>
                  <a:pt x="1961546" y="655361"/>
                </a:lnTo>
                <a:lnTo>
                  <a:pt x="1964801" y="657310"/>
                </a:lnTo>
                <a:lnTo>
                  <a:pt x="1966971" y="655253"/>
                </a:lnTo>
                <a:lnTo>
                  <a:pt x="1966538" y="650597"/>
                </a:lnTo>
                <a:lnTo>
                  <a:pt x="1968708" y="648323"/>
                </a:lnTo>
                <a:lnTo>
                  <a:pt x="1971638" y="649406"/>
                </a:lnTo>
                <a:lnTo>
                  <a:pt x="1975327" y="646808"/>
                </a:lnTo>
                <a:lnTo>
                  <a:pt x="1978474" y="646050"/>
                </a:lnTo>
                <a:lnTo>
                  <a:pt x="1981405" y="647457"/>
                </a:lnTo>
                <a:lnTo>
                  <a:pt x="1981405" y="643343"/>
                </a:lnTo>
                <a:lnTo>
                  <a:pt x="1977281" y="641503"/>
                </a:lnTo>
                <a:lnTo>
                  <a:pt x="1975327" y="639229"/>
                </a:lnTo>
                <a:lnTo>
                  <a:pt x="1980428" y="639229"/>
                </a:lnTo>
                <a:lnTo>
                  <a:pt x="1981079" y="635764"/>
                </a:lnTo>
                <a:lnTo>
                  <a:pt x="1978692" y="632191"/>
                </a:lnTo>
                <a:lnTo>
                  <a:pt x="1982055" y="627752"/>
                </a:lnTo>
                <a:lnTo>
                  <a:pt x="1982598" y="622880"/>
                </a:lnTo>
                <a:lnTo>
                  <a:pt x="1984009" y="618441"/>
                </a:lnTo>
                <a:lnTo>
                  <a:pt x="1982490" y="615734"/>
                </a:lnTo>
                <a:lnTo>
                  <a:pt x="1985745" y="607939"/>
                </a:lnTo>
                <a:lnTo>
                  <a:pt x="1987807" y="608805"/>
                </a:lnTo>
                <a:lnTo>
                  <a:pt x="1991388" y="606423"/>
                </a:lnTo>
                <a:lnTo>
                  <a:pt x="1991931" y="596787"/>
                </a:lnTo>
                <a:lnTo>
                  <a:pt x="1995403" y="594513"/>
                </a:lnTo>
                <a:lnTo>
                  <a:pt x="1995729" y="590615"/>
                </a:lnTo>
                <a:lnTo>
                  <a:pt x="1997248" y="589208"/>
                </a:lnTo>
                <a:lnTo>
                  <a:pt x="1997574" y="583578"/>
                </a:lnTo>
                <a:lnTo>
                  <a:pt x="2000178" y="579789"/>
                </a:lnTo>
                <a:lnTo>
                  <a:pt x="2000178" y="574916"/>
                </a:lnTo>
                <a:lnTo>
                  <a:pt x="2003976" y="563440"/>
                </a:lnTo>
                <a:lnTo>
                  <a:pt x="2006906" y="561707"/>
                </a:lnTo>
                <a:lnTo>
                  <a:pt x="2006906" y="558784"/>
                </a:lnTo>
                <a:lnTo>
                  <a:pt x="2009293" y="553154"/>
                </a:lnTo>
                <a:lnTo>
                  <a:pt x="2012549" y="554020"/>
                </a:lnTo>
                <a:lnTo>
                  <a:pt x="2014285" y="552720"/>
                </a:lnTo>
                <a:lnTo>
                  <a:pt x="2013417" y="546766"/>
                </a:lnTo>
                <a:lnTo>
                  <a:pt x="2016564" y="545034"/>
                </a:lnTo>
                <a:lnTo>
                  <a:pt x="2019820" y="548823"/>
                </a:lnTo>
                <a:lnTo>
                  <a:pt x="2022966" y="549364"/>
                </a:lnTo>
                <a:lnTo>
                  <a:pt x="2027958" y="558459"/>
                </a:lnTo>
                <a:lnTo>
                  <a:pt x="2030129" y="558567"/>
                </a:lnTo>
                <a:lnTo>
                  <a:pt x="2030997" y="552396"/>
                </a:lnTo>
                <a:lnTo>
                  <a:pt x="2032950" y="552071"/>
                </a:lnTo>
                <a:lnTo>
                  <a:pt x="2034795" y="554128"/>
                </a:lnTo>
                <a:lnTo>
                  <a:pt x="2039135" y="554994"/>
                </a:lnTo>
                <a:lnTo>
                  <a:pt x="2042391" y="563115"/>
                </a:lnTo>
                <a:lnTo>
                  <a:pt x="2040872" y="565281"/>
                </a:lnTo>
                <a:lnTo>
                  <a:pt x="2042933" y="572210"/>
                </a:lnTo>
                <a:lnTo>
                  <a:pt x="2047057" y="574375"/>
                </a:lnTo>
                <a:lnTo>
                  <a:pt x="2047057" y="578056"/>
                </a:lnTo>
                <a:lnTo>
                  <a:pt x="2046298" y="580979"/>
                </a:lnTo>
                <a:lnTo>
                  <a:pt x="2048793" y="585960"/>
                </a:lnTo>
                <a:lnTo>
                  <a:pt x="2048468" y="590615"/>
                </a:lnTo>
                <a:lnTo>
                  <a:pt x="2045321" y="591481"/>
                </a:lnTo>
                <a:lnTo>
                  <a:pt x="2044778" y="594730"/>
                </a:lnTo>
                <a:lnTo>
                  <a:pt x="2045321" y="599927"/>
                </a:lnTo>
                <a:lnTo>
                  <a:pt x="2040112" y="605665"/>
                </a:lnTo>
                <a:lnTo>
                  <a:pt x="2040112" y="610213"/>
                </a:lnTo>
                <a:lnTo>
                  <a:pt x="2037182" y="611403"/>
                </a:lnTo>
                <a:lnTo>
                  <a:pt x="2037182" y="620499"/>
                </a:lnTo>
                <a:lnTo>
                  <a:pt x="2034686" y="623638"/>
                </a:lnTo>
                <a:lnTo>
                  <a:pt x="2034144" y="627536"/>
                </a:lnTo>
                <a:lnTo>
                  <a:pt x="2029261" y="634032"/>
                </a:lnTo>
                <a:lnTo>
                  <a:pt x="2028935" y="640961"/>
                </a:lnTo>
                <a:lnTo>
                  <a:pt x="2026005" y="641503"/>
                </a:lnTo>
                <a:lnTo>
                  <a:pt x="2024268" y="647024"/>
                </a:lnTo>
                <a:lnTo>
                  <a:pt x="2027741" y="654712"/>
                </a:lnTo>
                <a:lnTo>
                  <a:pt x="2026765" y="657310"/>
                </a:lnTo>
                <a:lnTo>
                  <a:pt x="2026765" y="663481"/>
                </a:lnTo>
                <a:lnTo>
                  <a:pt x="2022423" y="672792"/>
                </a:lnTo>
                <a:lnTo>
                  <a:pt x="2022207" y="676907"/>
                </a:lnTo>
                <a:lnTo>
                  <a:pt x="2019169" y="678964"/>
                </a:lnTo>
                <a:lnTo>
                  <a:pt x="2018300" y="677557"/>
                </a:lnTo>
                <a:lnTo>
                  <a:pt x="2015153" y="677557"/>
                </a:lnTo>
                <a:lnTo>
                  <a:pt x="2013634" y="682537"/>
                </a:lnTo>
                <a:lnTo>
                  <a:pt x="2008859" y="683078"/>
                </a:lnTo>
                <a:lnTo>
                  <a:pt x="2008859" y="686326"/>
                </a:lnTo>
                <a:lnTo>
                  <a:pt x="2010487" y="689466"/>
                </a:lnTo>
                <a:lnTo>
                  <a:pt x="2010704" y="694014"/>
                </a:lnTo>
                <a:lnTo>
                  <a:pt x="2013959" y="698344"/>
                </a:lnTo>
                <a:lnTo>
                  <a:pt x="2014827" y="706140"/>
                </a:lnTo>
                <a:lnTo>
                  <a:pt x="2017757" y="707872"/>
                </a:lnTo>
                <a:lnTo>
                  <a:pt x="2019169" y="717616"/>
                </a:lnTo>
                <a:lnTo>
                  <a:pt x="2024160" y="720323"/>
                </a:lnTo>
                <a:lnTo>
                  <a:pt x="2027741" y="725412"/>
                </a:lnTo>
                <a:lnTo>
                  <a:pt x="2027416" y="720648"/>
                </a:lnTo>
                <a:lnTo>
                  <a:pt x="2030129" y="715234"/>
                </a:lnTo>
                <a:lnTo>
                  <a:pt x="2032299" y="722164"/>
                </a:lnTo>
                <a:lnTo>
                  <a:pt x="2030129" y="727252"/>
                </a:lnTo>
                <a:lnTo>
                  <a:pt x="2030671" y="733099"/>
                </a:lnTo>
                <a:lnTo>
                  <a:pt x="2034035" y="740354"/>
                </a:lnTo>
                <a:lnTo>
                  <a:pt x="2034035" y="743818"/>
                </a:lnTo>
                <a:lnTo>
                  <a:pt x="2038375" y="747391"/>
                </a:lnTo>
                <a:lnTo>
                  <a:pt x="2039135" y="749448"/>
                </a:lnTo>
                <a:lnTo>
                  <a:pt x="2043585" y="748907"/>
                </a:lnTo>
                <a:lnTo>
                  <a:pt x="2044995" y="751289"/>
                </a:lnTo>
                <a:lnTo>
                  <a:pt x="2042933" y="752696"/>
                </a:lnTo>
                <a:lnTo>
                  <a:pt x="2042933" y="757893"/>
                </a:lnTo>
                <a:lnTo>
                  <a:pt x="2045646" y="755728"/>
                </a:lnTo>
                <a:lnTo>
                  <a:pt x="2048251" y="757027"/>
                </a:lnTo>
                <a:lnTo>
                  <a:pt x="2050964" y="756702"/>
                </a:lnTo>
                <a:lnTo>
                  <a:pt x="2051723" y="759084"/>
                </a:lnTo>
                <a:lnTo>
                  <a:pt x="2049987" y="761141"/>
                </a:lnTo>
                <a:lnTo>
                  <a:pt x="2051181" y="766230"/>
                </a:lnTo>
                <a:lnTo>
                  <a:pt x="2048902" y="771211"/>
                </a:lnTo>
                <a:lnTo>
                  <a:pt x="2047274" y="778140"/>
                </a:lnTo>
                <a:lnTo>
                  <a:pt x="2041848" y="782796"/>
                </a:lnTo>
                <a:lnTo>
                  <a:pt x="2039787" y="786043"/>
                </a:lnTo>
                <a:lnTo>
                  <a:pt x="2036857" y="784095"/>
                </a:lnTo>
                <a:lnTo>
                  <a:pt x="2033384" y="783986"/>
                </a:lnTo>
                <a:lnTo>
                  <a:pt x="2032407" y="776624"/>
                </a:lnTo>
                <a:lnTo>
                  <a:pt x="2036205" y="772076"/>
                </a:lnTo>
                <a:lnTo>
                  <a:pt x="2037182" y="767096"/>
                </a:lnTo>
                <a:lnTo>
                  <a:pt x="2034252" y="768287"/>
                </a:lnTo>
                <a:lnTo>
                  <a:pt x="2030671" y="775325"/>
                </a:lnTo>
                <a:lnTo>
                  <a:pt x="2028284" y="777057"/>
                </a:lnTo>
                <a:lnTo>
                  <a:pt x="2026222" y="782254"/>
                </a:lnTo>
                <a:lnTo>
                  <a:pt x="2023292" y="782254"/>
                </a:lnTo>
                <a:lnTo>
                  <a:pt x="2025354" y="778464"/>
                </a:lnTo>
                <a:lnTo>
                  <a:pt x="2023292" y="777274"/>
                </a:lnTo>
                <a:lnTo>
                  <a:pt x="2021339" y="778356"/>
                </a:lnTo>
                <a:lnTo>
                  <a:pt x="2021013" y="772293"/>
                </a:lnTo>
                <a:lnTo>
                  <a:pt x="2024486" y="764714"/>
                </a:lnTo>
                <a:lnTo>
                  <a:pt x="2020470" y="768287"/>
                </a:lnTo>
                <a:lnTo>
                  <a:pt x="2018734" y="768179"/>
                </a:lnTo>
                <a:lnTo>
                  <a:pt x="2017975" y="764064"/>
                </a:lnTo>
                <a:lnTo>
                  <a:pt x="2016347" y="769045"/>
                </a:lnTo>
                <a:lnTo>
                  <a:pt x="2012549" y="772618"/>
                </a:lnTo>
                <a:lnTo>
                  <a:pt x="2010161" y="773268"/>
                </a:lnTo>
                <a:lnTo>
                  <a:pt x="2008643" y="771644"/>
                </a:lnTo>
                <a:lnTo>
                  <a:pt x="2005387" y="771752"/>
                </a:lnTo>
                <a:lnTo>
                  <a:pt x="2005170" y="773701"/>
                </a:lnTo>
                <a:lnTo>
                  <a:pt x="2007774" y="775866"/>
                </a:lnTo>
                <a:lnTo>
                  <a:pt x="2005495" y="781280"/>
                </a:lnTo>
                <a:lnTo>
                  <a:pt x="2000720" y="781388"/>
                </a:lnTo>
                <a:lnTo>
                  <a:pt x="1998442" y="782470"/>
                </a:lnTo>
                <a:lnTo>
                  <a:pt x="1995403" y="779331"/>
                </a:lnTo>
                <a:lnTo>
                  <a:pt x="1993341" y="772835"/>
                </a:lnTo>
                <a:lnTo>
                  <a:pt x="1993992" y="770236"/>
                </a:lnTo>
                <a:lnTo>
                  <a:pt x="1990737" y="770019"/>
                </a:lnTo>
                <a:lnTo>
                  <a:pt x="1987916" y="773701"/>
                </a:lnTo>
                <a:lnTo>
                  <a:pt x="1991062" y="779547"/>
                </a:lnTo>
                <a:lnTo>
                  <a:pt x="1987048" y="782470"/>
                </a:lnTo>
                <a:lnTo>
                  <a:pt x="1987265" y="786260"/>
                </a:lnTo>
                <a:lnTo>
                  <a:pt x="1989326" y="787235"/>
                </a:lnTo>
                <a:lnTo>
                  <a:pt x="1991279" y="784095"/>
                </a:lnTo>
                <a:lnTo>
                  <a:pt x="1991388" y="789508"/>
                </a:lnTo>
                <a:lnTo>
                  <a:pt x="1988784" y="792865"/>
                </a:lnTo>
                <a:lnTo>
                  <a:pt x="1983683" y="796004"/>
                </a:lnTo>
                <a:lnTo>
                  <a:pt x="1983575" y="798062"/>
                </a:lnTo>
                <a:lnTo>
                  <a:pt x="1988133" y="795139"/>
                </a:lnTo>
                <a:lnTo>
                  <a:pt x="1993776" y="789292"/>
                </a:lnTo>
                <a:lnTo>
                  <a:pt x="1999527" y="789508"/>
                </a:lnTo>
                <a:lnTo>
                  <a:pt x="2002348" y="791132"/>
                </a:lnTo>
                <a:lnTo>
                  <a:pt x="2004085" y="789400"/>
                </a:lnTo>
                <a:lnTo>
                  <a:pt x="2004410" y="786476"/>
                </a:lnTo>
                <a:lnTo>
                  <a:pt x="2007448" y="785394"/>
                </a:lnTo>
                <a:lnTo>
                  <a:pt x="2012223" y="788101"/>
                </a:lnTo>
                <a:lnTo>
                  <a:pt x="2011789" y="792107"/>
                </a:lnTo>
                <a:lnTo>
                  <a:pt x="2008100" y="792865"/>
                </a:lnTo>
                <a:lnTo>
                  <a:pt x="2006580" y="796654"/>
                </a:lnTo>
                <a:lnTo>
                  <a:pt x="2007448" y="800227"/>
                </a:lnTo>
                <a:lnTo>
                  <a:pt x="2011138" y="800335"/>
                </a:lnTo>
                <a:lnTo>
                  <a:pt x="2011355" y="803475"/>
                </a:lnTo>
                <a:lnTo>
                  <a:pt x="2009184" y="806182"/>
                </a:lnTo>
                <a:lnTo>
                  <a:pt x="2009184" y="808131"/>
                </a:lnTo>
                <a:lnTo>
                  <a:pt x="2006255" y="811487"/>
                </a:lnTo>
                <a:lnTo>
                  <a:pt x="2007123" y="814194"/>
                </a:lnTo>
                <a:lnTo>
                  <a:pt x="2006580" y="815926"/>
                </a:lnTo>
                <a:lnTo>
                  <a:pt x="2004627" y="816792"/>
                </a:lnTo>
                <a:lnTo>
                  <a:pt x="2002782" y="816035"/>
                </a:lnTo>
                <a:lnTo>
                  <a:pt x="2001805" y="814410"/>
                </a:lnTo>
                <a:lnTo>
                  <a:pt x="1998659" y="814086"/>
                </a:lnTo>
                <a:lnTo>
                  <a:pt x="1996054" y="816792"/>
                </a:lnTo>
                <a:lnTo>
                  <a:pt x="1994861" y="817333"/>
                </a:lnTo>
                <a:lnTo>
                  <a:pt x="1993341" y="819391"/>
                </a:lnTo>
                <a:lnTo>
                  <a:pt x="1991388" y="819499"/>
                </a:lnTo>
                <a:lnTo>
                  <a:pt x="1990628" y="816576"/>
                </a:lnTo>
                <a:lnTo>
                  <a:pt x="1988784" y="815493"/>
                </a:lnTo>
                <a:lnTo>
                  <a:pt x="1986288" y="818958"/>
                </a:lnTo>
                <a:lnTo>
                  <a:pt x="1982598" y="820041"/>
                </a:lnTo>
                <a:lnTo>
                  <a:pt x="1980970" y="819066"/>
                </a:lnTo>
                <a:lnTo>
                  <a:pt x="1981187" y="815818"/>
                </a:lnTo>
                <a:lnTo>
                  <a:pt x="1979342" y="814302"/>
                </a:lnTo>
                <a:lnTo>
                  <a:pt x="1976087" y="815493"/>
                </a:lnTo>
                <a:lnTo>
                  <a:pt x="1973917" y="815493"/>
                </a:lnTo>
                <a:lnTo>
                  <a:pt x="1974134" y="819282"/>
                </a:lnTo>
                <a:lnTo>
                  <a:pt x="1972397" y="819174"/>
                </a:lnTo>
                <a:lnTo>
                  <a:pt x="1970336" y="816684"/>
                </a:lnTo>
                <a:lnTo>
                  <a:pt x="1966863" y="816684"/>
                </a:lnTo>
                <a:lnTo>
                  <a:pt x="1964801" y="813653"/>
                </a:lnTo>
                <a:lnTo>
                  <a:pt x="1961112" y="812678"/>
                </a:lnTo>
                <a:lnTo>
                  <a:pt x="1958399" y="814519"/>
                </a:lnTo>
                <a:lnTo>
                  <a:pt x="1955578" y="813653"/>
                </a:lnTo>
                <a:lnTo>
                  <a:pt x="1952973" y="808997"/>
                </a:lnTo>
                <a:lnTo>
                  <a:pt x="1953299" y="805099"/>
                </a:lnTo>
                <a:lnTo>
                  <a:pt x="1951779" y="804991"/>
                </a:lnTo>
                <a:lnTo>
                  <a:pt x="1948306" y="809755"/>
                </a:lnTo>
                <a:lnTo>
                  <a:pt x="1945377" y="810729"/>
                </a:lnTo>
                <a:lnTo>
                  <a:pt x="1941687" y="807590"/>
                </a:lnTo>
                <a:lnTo>
                  <a:pt x="1938757" y="806939"/>
                </a:lnTo>
                <a:lnTo>
                  <a:pt x="1936262" y="806939"/>
                </a:lnTo>
                <a:lnTo>
                  <a:pt x="1935719" y="804666"/>
                </a:lnTo>
                <a:lnTo>
                  <a:pt x="1938324" y="801418"/>
                </a:lnTo>
                <a:lnTo>
                  <a:pt x="1941796" y="801418"/>
                </a:lnTo>
                <a:lnTo>
                  <a:pt x="1944726" y="798603"/>
                </a:lnTo>
                <a:lnTo>
                  <a:pt x="1944726" y="795571"/>
                </a:lnTo>
                <a:lnTo>
                  <a:pt x="1941796" y="794272"/>
                </a:lnTo>
                <a:lnTo>
                  <a:pt x="1940385" y="795680"/>
                </a:lnTo>
                <a:lnTo>
                  <a:pt x="1940168" y="797737"/>
                </a:lnTo>
                <a:lnTo>
                  <a:pt x="1938215" y="795896"/>
                </a:lnTo>
                <a:lnTo>
                  <a:pt x="1936804" y="791674"/>
                </a:lnTo>
                <a:lnTo>
                  <a:pt x="1932898" y="789725"/>
                </a:lnTo>
                <a:lnTo>
                  <a:pt x="1929968" y="790049"/>
                </a:lnTo>
                <a:lnTo>
                  <a:pt x="1928557" y="791241"/>
                </a:lnTo>
                <a:lnTo>
                  <a:pt x="1924976" y="788317"/>
                </a:lnTo>
                <a:lnTo>
                  <a:pt x="1921829" y="787668"/>
                </a:lnTo>
                <a:lnTo>
                  <a:pt x="1921504" y="786043"/>
                </a:lnTo>
                <a:lnTo>
                  <a:pt x="1923782" y="784419"/>
                </a:lnTo>
                <a:lnTo>
                  <a:pt x="1925735" y="781496"/>
                </a:lnTo>
                <a:lnTo>
                  <a:pt x="1925735" y="778573"/>
                </a:lnTo>
                <a:lnTo>
                  <a:pt x="1929208" y="776299"/>
                </a:lnTo>
                <a:lnTo>
                  <a:pt x="1927580" y="773917"/>
                </a:lnTo>
                <a:lnTo>
                  <a:pt x="1927580" y="771644"/>
                </a:lnTo>
                <a:lnTo>
                  <a:pt x="1926061" y="768937"/>
                </a:lnTo>
                <a:lnTo>
                  <a:pt x="1923890" y="769370"/>
                </a:lnTo>
                <a:lnTo>
                  <a:pt x="1921829" y="768504"/>
                </a:lnTo>
                <a:lnTo>
                  <a:pt x="1922263" y="770886"/>
                </a:lnTo>
                <a:lnTo>
                  <a:pt x="1920635" y="773376"/>
                </a:lnTo>
                <a:lnTo>
                  <a:pt x="1917705" y="773809"/>
                </a:lnTo>
                <a:lnTo>
                  <a:pt x="1915861" y="773051"/>
                </a:lnTo>
                <a:lnTo>
                  <a:pt x="1914449" y="774892"/>
                </a:lnTo>
                <a:lnTo>
                  <a:pt x="1914667" y="777815"/>
                </a:lnTo>
                <a:lnTo>
                  <a:pt x="1910977" y="779980"/>
                </a:lnTo>
                <a:lnTo>
                  <a:pt x="1909566" y="782579"/>
                </a:lnTo>
                <a:lnTo>
                  <a:pt x="1908047" y="780955"/>
                </a:lnTo>
                <a:lnTo>
                  <a:pt x="1906311" y="781063"/>
                </a:lnTo>
                <a:lnTo>
                  <a:pt x="1904792" y="783986"/>
                </a:lnTo>
                <a:lnTo>
                  <a:pt x="1895351" y="790158"/>
                </a:lnTo>
                <a:lnTo>
                  <a:pt x="1886235" y="790158"/>
                </a:lnTo>
                <a:lnTo>
                  <a:pt x="1882980" y="788425"/>
                </a:lnTo>
                <a:lnTo>
                  <a:pt x="1879724" y="788967"/>
                </a:lnTo>
                <a:lnTo>
                  <a:pt x="1874949" y="788101"/>
                </a:lnTo>
                <a:lnTo>
                  <a:pt x="1871694" y="787992"/>
                </a:lnTo>
                <a:lnTo>
                  <a:pt x="1870609" y="790049"/>
                </a:lnTo>
                <a:lnTo>
                  <a:pt x="1866593" y="791024"/>
                </a:lnTo>
                <a:lnTo>
                  <a:pt x="1860951" y="793514"/>
                </a:lnTo>
                <a:lnTo>
                  <a:pt x="1856068" y="798278"/>
                </a:lnTo>
                <a:lnTo>
                  <a:pt x="1852595" y="798278"/>
                </a:lnTo>
                <a:lnTo>
                  <a:pt x="1848797" y="799577"/>
                </a:lnTo>
                <a:lnTo>
                  <a:pt x="1846084" y="802500"/>
                </a:lnTo>
                <a:lnTo>
                  <a:pt x="1840116" y="803151"/>
                </a:lnTo>
                <a:lnTo>
                  <a:pt x="1838162" y="805208"/>
                </a:lnTo>
                <a:lnTo>
                  <a:pt x="1835775" y="805316"/>
                </a:lnTo>
                <a:lnTo>
                  <a:pt x="1834907" y="801743"/>
                </a:lnTo>
                <a:lnTo>
                  <a:pt x="1832736" y="800335"/>
                </a:lnTo>
                <a:lnTo>
                  <a:pt x="1831000" y="801418"/>
                </a:lnTo>
                <a:lnTo>
                  <a:pt x="1828287" y="801851"/>
                </a:lnTo>
                <a:lnTo>
                  <a:pt x="1827636" y="799036"/>
                </a:lnTo>
                <a:lnTo>
                  <a:pt x="1825466" y="798170"/>
                </a:lnTo>
                <a:lnTo>
                  <a:pt x="1821994" y="799036"/>
                </a:lnTo>
                <a:lnTo>
                  <a:pt x="1820257" y="800227"/>
                </a:lnTo>
                <a:lnTo>
                  <a:pt x="1818955" y="799794"/>
                </a:lnTo>
                <a:lnTo>
                  <a:pt x="1817761" y="797629"/>
                </a:lnTo>
                <a:lnTo>
                  <a:pt x="1811685" y="797304"/>
                </a:lnTo>
                <a:lnTo>
                  <a:pt x="1808755" y="800768"/>
                </a:lnTo>
                <a:lnTo>
                  <a:pt x="1801267" y="797304"/>
                </a:lnTo>
                <a:lnTo>
                  <a:pt x="1795298" y="797304"/>
                </a:lnTo>
                <a:lnTo>
                  <a:pt x="1793236" y="796004"/>
                </a:lnTo>
                <a:lnTo>
                  <a:pt x="1790632" y="796437"/>
                </a:lnTo>
                <a:lnTo>
                  <a:pt x="1788679" y="799145"/>
                </a:lnTo>
                <a:lnTo>
                  <a:pt x="1787160" y="797520"/>
                </a:lnTo>
                <a:lnTo>
                  <a:pt x="1784880" y="797196"/>
                </a:lnTo>
                <a:lnTo>
                  <a:pt x="1781734" y="798062"/>
                </a:lnTo>
                <a:lnTo>
                  <a:pt x="1773812" y="796546"/>
                </a:lnTo>
                <a:lnTo>
                  <a:pt x="1772185" y="794597"/>
                </a:lnTo>
                <a:lnTo>
                  <a:pt x="1777719" y="793406"/>
                </a:lnTo>
                <a:lnTo>
                  <a:pt x="1778153" y="790482"/>
                </a:lnTo>
                <a:lnTo>
                  <a:pt x="1775656" y="784961"/>
                </a:lnTo>
                <a:lnTo>
                  <a:pt x="1775440" y="779331"/>
                </a:lnTo>
                <a:lnTo>
                  <a:pt x="1771750" y="776732"/>
                </a:lnTo>
                <a:lnTo>
                  <a:pt x="1773486" y="773701"/>
                </a:lnTo>
                <a:lnTo>
                  <a:pt x="1773812" y="771319"/>
                </a:lnTo>
                <a:lnTo>
                  <a:pt x="1779563" y="768395"/>
                </a:lnTo>
                <a:lnTo>
                  <a:pt x="1781299" y="765364"/>
                </a:lnTo>
                <a:lnTo>
                  <a:pt x="1780974" y="762982"/>
                </a:lnTo>
                <a:lnTo>
                  <a:pt x="1783253" y="760600"/>
                </a:lnTo>
                <a:lnTo>
                  <a:pt x="1782710" y="757785"/>
                </a:lnTo>
                <a:lnTo>
                  <a:pt x="1787810" y="756161"/>
                </a:lnTo>
                <a:lnTo>
                  <a:pt x="1786834" y="753562"/>
                </a:lnTo>
                <a:lnTo>
                  <a:pt x="1784012" y="752588"/>
                </a:lnTo>
                <a:lnTo>
                  <a:pt x="1780974" y="747283"/>
                </a:lnTo>
                <a:lnTo>
                  <a:pt x="1775874" y="747283"/>
                </a:lnTo>
                <a:lnTo>
                  <a:pt x="1772510" y="743710"/>
                </a:lnTo>
                <a:lnTo>
                  <a:pt x="1769472" y="743601"/>
                </a:lnTo>
                <a:lnTo>
                  <a:pt x="1764588" y="745767"/>
                </a:lnTo>
                <a:lnTo>
                  <a:pt x="1761441" y="745009"/>
                </a:lnTo>
                <a:lnTo>
                  <a:pt x="1758945" y="742303"/>
                </a:lnTo>
                <a:lnTo>
                  <a:pt x="1755038" y="743277"/>
                </a:lnTo>
                <a:lnTo>
                  <a:pt x="1752976" y="741111"/>
                </a:lnTo>
                <a:lnTo>
                  <a:pt x="1746140" y="737105"/>
                </a:lnTo>
                <a:lnTo>
                  <a:pt x="1745055" y="734832"/>
                </a:lnTo>
                <a:lnTo>
                  <a:pt x="1741583" y="731908"/>
                </a:lnTo>
                <a:lnTo>
                  <a:pt x="1738327" y="722056"/>
                </a:lnTo>
                <a:lnTo>
                  <a:pt x="1740063" y="720648"/>
                </a:lnTo>
                <a:lnTo>
                  <a:pt x="1740931" y="718050"/>
                </a:lnTo>
                <a:lnTo>
                  <a:pt x="1737676" y="716642"/>
                </a:lnTo>
                <a:lnTo>
                  <a:pt x="1736591" y="714152"/>
                </a:lnTo>
                <a:lnTo>
                  <a:pt x="1738110" y="711337"/>
                </a:lnTo>
                <a:lnTo>
                  <a:pt x="1736808" y="704083"/>
                </a:lnTo>
                <a:lnTo>
                  <a:pt x="1740931" y="697587"/>
                </a:lnTo>
                <a:lnTo>
                  <a:pt x="1741366" y="690332"/>
                </a:lnTo>
                <a:lnTo>
                  <a:pt x="1743970" y="686651"/>
                </a:lnTo>
                <a:lnTo>
                  <a:pt x="1749504" y="685244"/>
                </a:lnTo>
                <a:lnTo>
                  <a:pt x="1752543" y="683944"/>
                </a:lnTo>
                <a:lnTo>
                  <a:pt x="1771316" y="684269"/>
                </a:lnTo>
                <a:lnTo>
                  <a:pt x="1775983" y="685677"/>
                </a:lnTo>
                <a:lnTo>
                  <a:pt x="1782276" y="686218"/>
                </a:lnTo>
                <a:lnTo>
                  <a:pt x="1792803" y="685785"/>
                </a:lnTo>
                <a:lnTo>
                  <a:pt x="1795081" y="687084"/>
                </a:lnTo>
                <a:lnTo>
                  <a:pt x="1800182" y="686759"/>
                </a:lnTo>
                <a:lnTo>
                  <a:pt x="1802786" y="687842"/>
                </a:lnTo>
                <a:lnTo>
                  <a:pt x="1804631" y="687842"/>
                </a:lnTo>
                <a:lnTo>
                  <a:pt x="1805499" y="691524"/>
                </a:lnTo>
                <a:lnTo>
                  <a:pt x="1810708" y="693473"/>
                </a:lnTo>
                <a:lnTo>
                  <a:pt x="1812878" y="695530"/>
                </a:lnTo>
                <a:lnTo>
                  <a:pt x="1815591" y="696287"/>
                </a:lnTo>
                <a:lnTo>
                  <a:pt x="1820583" y="695638"/>
                </a:lnTo>
                <a:lnTo>
                  <a:pt x="1822753" y="696396"/>
                </a:lnTo>
                <a:lnTo>
                  <a:pt x="1825466" y="700402"/>
                </a:lnTo>
                <a:lnTo>
                  <a:pt x="1828505" y="700510"/>
                </a:lnTo>
                <a:lnTo>
                  <a:pt x="1831868" y="704408"/>
                </a:lnTo>
                <a:lnTo>
                  <a:pt x="1835233" y="704408"/>
                </a:lnTo>
                <a:lnTo>
                  <a:pt x="1836318" y="703433"/>
                </a:lnTo>
                <a:lnTo>
                  <a:pt x="1839899" y="704624"/>
                </a:lnTo>
                <a:lnTo>
                  <a:pt x="1843371" y="703433"/>
                </a:lnTo>
                <a:lnTo>
                  <a:pt x="1850316" y="705491"/>
                </a:lnTo>
                <a:lnTo>
                  <a:pt x="1858564" y="707439"/>
                </a:lnTo>
                <a:lnTo>
                  <a:pt x="1860842" y="708630"/>
                </a:lnTo>
                <a:lnTo>
                  <a:pt x="1859757" y="706032"/>
                </a:lnTo>
                <a:lnTo>
                  <a:pt x="1860951" y="704732"/>
                </a:lnTo>
                <a:lnTo>
                  <a:pt x="1860842" y="702134"/>
                </a:lnTo>
                <a:lnTo>
                  <a:pt x="1854766" y="698236"/>
                </a:lnTo>
                <a:lnTo>
                  <a:pt x="1850533" y="693797"/>
                </a:lnTo>
                <a:lnTo>
                  <a:pt x="1850968" y="690332"/>
                </a:lnTo>
                <a:lnTo>
                  <a:pt x="1851618" y="688600"/>
                </a:lnTo>
                <a:lnTo>
                  <a:pt x="1848905" y="685569"/>
                </a:lnTo>
                <a:lnTo>
                  <a:pt x="1846302" y="684810"/>
                </a:lnTo>
                <a:lnTo>
                  <a:pt x="1845216" y="681563"/>
                </a:lnTo>
                <a:lnTo>
                  <a:pt x="1842395" y="680155"/>
                </a:lnTo>
                <a:lnTo>
                  <a:pt x="1837946" y="680155"/>
                </a:lnTo>
                <a:lnTo>
                  <a:pt x="1836426" y="678098"/>
                </a:lnTo>
                <a:lnTo>
                  <a:pt x="1836209" y="676257"/>
                </a:lnTo>
                <a:lnTo>
                  <a:pt x="1832194" y="673009"/>
                </a:lnTo>
                <a:lnTo>
                  <a:pt x="1831543" y="669003"/>
                </a:lnTo>
                <a:lnTo>
                  <a:pt x="1828613" y="670952"/>
                </a:lnTo>
                <a:lnTo>
                  <a:pt x="1827093" y="667596"/>
                </a:lnTo>
                <a:lnTo>
                  <a:pt x="1823296" y="665863"/>
                </a:lnTo>
                <a:lnTo>
                  <a:pt x="1818413" y="667163"/>
                </a:lnTo>
                <a:lnTo>
                  <a:pt x="1812770" y="666621"/>
                </a:lnTo>
                <a:lnTo>
                  <a:pt x="1809948" y="665430"/>
                </a:lnTo>
                <a:lnTo>
                  <a:pt x="1806042" y="667379"/>
                </a:lnTo>
                <a:lnTo>
                  <a:pt x="1801701" y="665539"/>
                </a:lnTo>
                <a:lnTo>
                  <a:pt x="1798337" y="666188"/>
                </a:lnTo>
                <a:lnTo>
                  <a:pt x="1793236" y="665971"/>
                </a:lnTo>
                <a:lnTo>
                  <a:pt x="1791283" y="664023"/>
                </a:lnTo>
                <a:lnTo>
                  <a:pt x="1788462" y="663914"/>
                </a:lnTo>
                <a:lnTo>
                  <a:pt x="1784664" y="664997"/>
                </a:lnTo>
                <a:lnTo>
                  <a:pt x="1781734" y="664131"/>
                </a:lnTo>
                <a:lnTo>
                  <a:pt x="1781299" y="661424"/>
                </a:lnTo>
                <a:lnTo>
                  <a:pt x="1778587" y="658934"/>
                </a:lnTo>
                <a:lnTo>
                  <a:pt x="1776199" y="659800"/>
                </a:lnTo>
                <a:lnTo>
                  <a:pt x="1774355" y="658068"/>
                </a:lnTo>
                <a:lnTo>
                  <a:pt x="1771316" y="656552"/>
                </a:lnTo>
                <a:lnTo>
                  <a:pt x="1770340" y="656985"/>
                </a:lnTo>
                <a:lnTo>
                  <a:pt x="1769146" y="658934"/>
                </a:lnTo>
                <a:lnTo>
                  <a:pt x="1764914" y="658826"/>
                </a:lnTo>
                <a:lnTo>
                  <a:pt x="1762201" y="656769"/>
                </a:lnTo>
                <a:lnTo>
                  <a:pt x="1759705" y="656769"/>
                </a:lnTo>
                <a:lnTo>
                  <a:pt x="1755581" y="657418"/>
                </a:lnTo>
                <a:lnTo>
                  <a:pt x="1753520" y="655578"/>
                </a:lnTo>
                <a:lnTo>
                  <a:pt x="1752976" y="652113"/>
                </a:lnTo>
                <a:lnTo>
                  <a:pt x="1754822" y="650922"/>
                </a:lnTo>
                <a:lnTo>
                  <a:pt x="1754822" y="645941"/>
                </a:lnTo>
                <a:lnTo>
                  <a:pt x="1753736" y="643343"/>
                </a:lnTo>
                <a:lnTo>
                  <a:pt x="1752435" y="630351"/>
                </a:lnTo>
                <a:lnTo>
                  <a:pt x="1753953" y="625262"/>
                </a:lnTo>
                <a:lnTo>
                  <a:pt x="1762961" y="623638"/>
                </a:lnTo>
                <a:lnTo>
                  <a:pt x="1764805" y="622013"/>
                </a:lnTo>
                <a:lnTo>
                  <a:pt x="1776091" y="621364"/>
                </a:lnTo>
                <a:lnTo>
                  <a:pt x="1779672" y="621689"/>
                </a:lnTo>
                <a:lnTo>
                  <a:pt x="1783253" y="620715"/>
                </a:lnTo>
                <a:lnTo>
                  <a:pt x="1786074" y="620715"/>
                </a:lnTo>
                <a:lnTo>
                  <a:pt x="1789113" y="622555"/>
                </a:lnTo>
                <a:lnTo>
                  <a:pt x="1791935" y="619957"/>
                </a:lnTo>
                <a:lnTo>
                  <a:pt x="1802352" y="618766"/>
                </a:lnTo>
                <a:lnTo>
                  <a:pt x="1805824" y="621689"/>
                </a:lnTo>
                <a:lnTo>
                  <a:pt x="1813638" y="621689"/>
                </a:lnTo>
                <a:lnTo>
                  <a:pt x="1812227" y="619091"/>
                </a:lnTo>
                <a:lnTo>
                  <a:pt x="1806367" y="617033"/>
                </a:lnTo>
                <a:lnTo>
                  <a:pt x="1808103" y="615301"/>
                </a:lnTo>
                <a:lnTo>
                  <a:pt x="1817219" y="615517"/>
                </a:lnTo>
                <a:lnTo>
                  <a:pt x="1823730" y="619848"/>
                </a:lnTo>
                <a:lnTo>
                  <a:pt x="1827202" y="619848"/>
                </a:lnTo>
                <a:lnTo>
                  <a:pt x="1828722" y="617358"/>
                </a:lnTo>
                <a:lnTo>
                  <a:pt x="1825140" y="616925"/>
                </a:lnTo>
                <a:lnTo>
                  <a:pt x="1822427" y="613027"/>
                </a:lnTo>
                <a:lnTo>
                  <a:pt x="1817761" y="610970"/>
                </a:lnTo>
                <a:lnTo>
                  <a:pt x="1812661" y="611945"/>
                </a:lnTo>
                <a:lnTo>
                  <a:pt x="1805933" y="609022"/>
                </a:lnTo>
                <a:lnTo>
                  <a:pt x="1801375" y="609022"/>
                </a:lnTo>
                <a:lnTo>
                  <a:pt x="1793996" y="611078"/>
                </a:lnTo>
                <a:lnTo>
                  <a:pt x="1786074" y="609671"/>
                </a:lnTo>
                <a:lnTo>
                  <a:pt x="1782276" y="610104"/>
                </a:lnTo>
                <a:lnTo>
                  <a:pt x="1784121" y="606748"/>
                </a:lnTo>
                <a:lnTo>
                  <a:pt x="1782494" y="604474"/>
                </a:lnTo>
                <a:lnTo>
                  <a:pt x="1779781" y="604582"/>
                </a:lnTo>
                <a:lnTo>
                  <a:pt x="1778804" y="608048"/>
                </a:lnTo>
                <a:lnTo>
                  <a:pt x="1776091" y="609779"/>
                </a:lnTo>
                <a:lnTo>
                  <a:pt x="1767844" y="605556"/>
                </a:lnTo>
                <a:lnTo>
                  <a:pt x="1766867" y="601226"/>
                </a:lnTo>
                <a:lnTo>
                  <a:pt x="1770448" y="599277"/>
                </a:lnTo>
                <a:lnTo>
                  <a:pt x="1775656" y="602200"/>
                </a:lnTo>
                <a:lnTo>
                  <a:pt x="1781083" y="599927"/>
                </a:lnTo>
                <a:lnTo>
                  <a:pt x="1782602" y="596354"/>
                </a:lnTo>
                <a:lnTo>
                  <a:pt x="1778912" y="593972"/>
                </a:lnTo>
                <a:lnTo>
                  <a:pt x="1774463" y="593539"/>
                </a:lnTo>
                <a:lnTo>
                  <a:pt x="1770340" y="596029"/>
                </a:lnTo>
                <a:lnTo>
                  <a:pt x="1767518" y="596570"/>
                </a:lnTo>
                <a:lnTo>
                  <a:pt x="1766107" y="595379"/>
                </a:lnTo>
                <a:lnTo>
                  <a:pt x="1767844" y="592348"/>
                </a:lnTo>
                <a:lnTo>
                  <a:pt x="1764697" y="589641"/>
                </a:lnTo>
                <a:lnTo>
                  <a:pt x="1761332" y="591373"/>
                </a:lnTo>
                <a:lnTo>
                  <a:pt x="1761549" y="585527"/>
                </a:lnTo>
                <a:lnTo>
                  <a:pt x="1764479" y="581738"/>
                </a:lnTo>
                <a:lnTo>
                  <a:pt x="1770882" y="576973"/>
                </a:lnTo>
                <a:lnTo>
                  <a:pt x="1772076" y="572751"/>
                </a:lnTo>
                <a:lnTo>
                  <a:pt x="1775331" y="569936"/>
                </a:lnTo>
                <a:lnTo>
                  <a:pt x="1781951" y="569611"/>
                </a:lnTo>
                <a:lnTo>
                  <a:pt x="1789438" y="562790"/>
                </a:lnTo>
                <a:lnTo>
                  <a:pt x="1793996" y="562790"/>
                </a:lnTo>
                <a:lnTo>
                  <a:pt x="1798662" y="559325"/>
                </a:lnTo>
                <a:lnTo>
                  <a:pt x="1796166" y="557377"/>
                </a:lnTo>
                <a:lnTo>
                  <a:pt x="1792260" y="557052"/>
                </a:lnTo>
                <a:lnTo>
                  <a:pt x="1792803" y="553479"/>
                </a:lnTo>
                <a:lnTo>
                  <a:pt x="1798771" y="547957"/>
                </a:lnTo>
                <a:lnTo>
                  <a:pt x="1816134" y="539837"/>
                </a:lnTo>
                <a:lnTo>
                  <a:pt x="1829264" y="536805"/>
                </a:lnTo>
                <a:lnTo>
                  <a:pt x="1834798" y="531933"/>
                </a:lnTo>
                <a:lnTo>
                  <a:pt x="1856176" y="523704"/>
                </a:lnTo>
                <a:lnTo>
                  <a:pt x="1873539" y="520998"/>
                </a:lnTo>
                <a:lnTo>
                  <a:pt x="1882654" y="517316"/>
                </a:lnTo>
                <a:lnTo>
                  <a:pt x="1891444" y="515476"/>
                </a:lnTo>
                <a:close/>
                <a:moveTo>
                  <a:pt x="3630424" y="511254"/>
                </a:moveTo>
                <a:lnTo>
                  <a:pt x="3630207" y="513420"/>
                </a:lnTo>
                <a:lnTo>
                  <a:pt x="3629122" y="514503"/>
                </a:lnTo>
                <a:lnTo>
                  <a:pt x="3627277" y="512987"/>
                </a:lnTo>
                <a:lnTo>
                  <a:pt x="3628254" y="511363"/>
                </a:lnTo>
                <a:close/>
                <a:moveTo>
                  <a:pt x="5300387" y="507141"/>
                </a:moveTo>
                <a:lnTo>
                  <a:pt x="5303208" y="508006"/>
                </a:lnTo>
                <a:lnTo>
                  <a:pt x="5304836" y="510822"/>
                </a:lnTo>
                <a:lnTo>
                  <a:pt x="5311021" y="512446"/>
                </a:lnTo>
                <a:lnTo>
                  <a:pt x="5309176" y="514830"/>
                </a:lnTo>
                <a:lnTo>
                  <a:pt x="5304510" y="514612"/>
                </a:lnTo>
                <a:lnTo>
                  <a:pt x="5298976" y="512121"/>
                </a:lnTo>
                <a:lnTo>
                  <a:pt x="5298325" y="509090"/>
                </a:lnTo>
                <a:close/>
                <a:moveTo>
                  <a:pt x="4295415" y="506382"/>
                </a:moveTo>
                <a:lnTo>
                  <a:pt x="4297151" y="511687"/>
                </a:lnTo>
                <a:lnTo>
                  <a:pt x="4300949" y="517317"/>
                </a:lnTo>
                <a:lnTo>
                  <a:pt x="4300624" y="519808"/>
                </a:lnTo>
                <a:lnTo>
                  <a:pt x="4296934" y="520783"/>
                </a:lnTo>
                <a:lnTo>
                  <a:pt x="4295415" y="523055"/>
                </a:lnTo>
                <a:lnTo>
                  <a:pt x="4296500" y="528902"/>
                </a:lnTo>
                <a:lnTo>
                  <a:pt x="4302034" y="534748"/>
                </a:lnTo>
                <a:lnTo>
                  <a:pt x="4307460" y="538214"/>
                </a:lnTo>
                <a:lnTo>
                  <a:pt x="4310607" y="535398"/>
                </a:lnTo>
                <a:lnTo>
                  <a:pt x="4316141" y="532476"/>
                </a:lnTo>
                <a:lnTo>
                  <a:pt x="4320048" y="534532"/>
                </a:lnTo>
                <a:lnTo>
                  <a:pt x="4322111" y="537132"/>
                </a:lnTo>
                <a:lnTo>
                  <a:pt x="4326668" y="539187"/>
                </a:lnTo>
                <a:lnTo>
                  <a:pt x="4324932" y="540920"/>
                </a:lnTo>
                <a:lnTo>
                  <a:pt x="4319723" y="542978"/>
                </a:lnTo>
                <a:lnTo>
                  <a:pt x="4315382" y="549798"/>
                </a:lnTo>
                <a:lnTo>
                  <a:pt x="4314731" y="554129"/>
                </a:lnTo>
                <a:lnTo>
                  <a:pt x="4311584" y="563765"/>
                </a:lnTo>
                <a:lnTo>
                  <a:pt x="4307894" y="564849"/>
                </a:lnTo>
                <a:lnTo>
                  <a:pt x="4303554" y="567338"/>
                </a:lnTo>
                <a:lnTo>
                  <a:pt x="4301166" y="571020"/>
                </a:lnTo>
                <a:lnTo>
                  <a:pt x="4301166" y="574917"/>
                </a:lnTo>
                <a:lnTo>
                  <a:pt x="4297476" y="577840"/>
                </a:lnTo>
                <a:lnTo>
                  <a:pt x="4294763" y="577732"/>
                </a:lnTo>
                <a:lnTo>
                  <a:pt x="4293245" y="573726"/>
                </a:lnTo>
                <a:lnTo>
                  <a:pt x="4295849" y="570152"/>
                </a:lnTo>
                <a:lnTo>
                  <a:pt x="4294981" y="564631"/>
                </a:lnTo>
                <a:lnTo>
                  <a:pt x="4296934" y="557702"/>
                </a:lnTo>
                <a:lnTo>
                  <a:pt x="4296934" y="552722"/>
                </a:lnTo>
                <a:lnTo>
                  <a:pt x="4294981" y="554346"/>
                </a:lnTo>
                <a:lnTo>
                  <a:pt x="4291508" y="553589"/>
                </a:lnTo>
                <a:lnTo>
                  <a:pt x="4289120" y="555320"/>
                </a:lnTo>
                <a:lnTo>
                  <a:pt x="4286299" y="560842"/>
                </a:lnTo>
                <a:lnTo>
                  <a:pt x="4283261" y="563441"/>
                </a:lnTo>
                <a:lnTo>
                  <a:pt x="4279788" y="563224"/>
                </a:lnTo>
                <a:lnTo>
                  <a:pt x="4275230" y="567555"/>
                </a:lnTo>
                <a:lnTo>
                  <a:pt x="4270781" y="568096"/>
                </a:lnTo>
                <a:lnTo>
                  <a:pt x="4266874" y="570152"/>
                </a:lnTo>
                <a:lnTo>
                  <a:pt x="4264921" y="569829"/>
                </a:lnTo>
                <a:lnTo>
                  <a:pt x="4264379" y="566147"/>
                </a:lnTo>
                <a:lnTo>
                  <a:pt x="4265789" y="563765"/>
                </a:lnTo>
                <a:lnTo>
                  <a:pt x="4265247" y="559435"/>
                </a:lnTo>
                <a:lnTo>
                  <a:pt x="4268719" y="556945"/>
                </a:lnTo>
                <a:lnTo>
                  <a:pt x="4269805" y="549798"/>
                </a:lnTo>
                <a:lnTo>
                  <a:pt x="4273277" y="543627"/>
                </a:lnTo>
                <a:lnTo>
                  <a:pt x="4273385" y="538971"/>
                </a:lnTo>
                <a:lnTo>
                  <a:pt x="4274471" y="536156"/>
                </a:lnTo>
                <a:lnTo>
                  <a:pt x="4273603" y="533558"/>
                </a:lnTo>
                <a:lnTo>
                  <a:pt x="4269370" y="533558"/>
                </a:lnTo>
                <a:lnTo>
                  <a:pt x="4265681" y="529552"/>
                </a:lnTo>
                <a:lnTo>
                  <a:pt x="4261666" y="527169"/>
                </a:lnTo>
                <a:lnTo>
                  <a:pt x="4263944" y="522298"/>
                </a:lnTo>
                <a:lnTo>
                  <a:pt x="4268177" y="518617"/>
                </a:lnTo>
                <a:lnTo>
                  <a:pt x="4277509" y="516451"/>
                </a:lnTo>
                <a:lnTo>
                  <a:pt x="4282718" y="516019"/>
                </a:lnTo>
                <a:lnTo>
                  <a:pt x="4288687" y="510821"/>
                </a:lnTo>
                <a:close/>
                <a:moveTo>
                  <a:pt x="2612863" y="502374"/>
                </a:moveTo>
                <a:lnTo>
                  <a:pt x="2610042" y="507139"/>
                </a:lnTo>
                <a:lnTo>
                  <a:pt x="2603205" y="512552"/>
                </a:lnTo>
                <a:lnTo>
                  <a:pt x="2601795" y="516125"/>
                </a:lnTo>
                <a:lnTo>
                  <a:pt x="2603531" y="519048"/>
                </a:lnTo>
                <a:lnTo>
                  <a:pt x="2602988" y="521539"/>
                </a:lnTo>
                <a:lnTo>
                  <a:pt x="2600601" y="520889"/>
                </a:lnTo>
                <a:lnTo>
                  <a:pt x="2598756" y="517858"/>
                </a:lnTo>
                <a:lnTo>
                  <a:pt x="2596586" y="519373"/>
                </a:lnTo>
                <a:lnTo>
                  <a:pt x="2595066" y="521647"/>
                </a:lnTo>
                <a:lnTo>
                  <a:pt x="2593005" y="521430"/>
                </a:lnTo>
                <a:lnTo>
                  <a:pt x="2592571" y="515801"/>
                </a:lnTo>
                <a:lnTo>
                  <a:pt x="2594958" y="514393"/>
                </a:lnTo>
                <a:lnTo>
                  <a:pt x="2597888" y="510062"/>
                </a:lnTo>
                <a:lnTo>
                  <a:pt x="2608631" y="503240"/>
                </a:lnTo>
                <a:close/>
                <a:moveTo>
                  <a:pt x="5317316" y="501186"/>
                </a:moveTo>
                <a:lnTo>
                  <a:pt x="5320571" y="503135"/>
                </a:lnTo>
                <a:lnTo>
                  <a:pt x="5327951" y="504216"/>
                </a:lnTo>
                <a:lnTo>
                  <a:pt x="5327299" y="506057"/>
                </a:lnTo>
                <a:lnTo>
                  <a:pt x="5323067" y="507790"/>
                </a:lnTo>
                <a:lnTo>
                  <a:pt x="5319486" y="507790"/>
                </a:lnTo>
                <a:lnTo>
                  <a:pt x="5313951" y="508765"/>
                </a:lnTo>
                <a:cubicBezTo>
                  <a:pt x="5313189" y="508317"/>
                  <a:pt x="5312463" y="507810"/>
                  <a:pt x="5311781" y="507248"/>
                </a:cubicBezTo>
                <a:lnTo>
                  <a:pt x="5314385" y="502052"/>
                </a:lnTo>
                <a:close/>
                <a:moveTo>
                  <a:pt x="6051756" y="498913"/>
                </a:moveTo>
                <a:lnTo>
                  <a:pt x="6055446" y="498913"/>
                </a:lnTo>
                <a:lnTo>
                  <a:pt x="6060330" y="502377"/>
                </a:lnTo>
                <a:lnTo>
                  <a:pt x="6063368" y="505409"/>
                </a:lnTo>
                <a:lnTo>
                  <a:pt x="6063368" y="507356"/>
                </a:lnTo>
                <a:lnTo>
                  <a:pt x="6061415" y="507356"/>
                </a:lnTo>
                <a:lnTo>
                  <a:pt x="6059570" y="508874"/>
                </a:lnTo>
                <a:lnTo>
                  <a:pt x="6053385" y="508874"/>
                </a:lnTo>
                <a:lnTo>
                  <a:pt x="6053385" y="505300"/>
                </a:lnTo>
                <a:lnTo>
                  <a:pt x="6049586" y="503026"/>
                </a:lnTo>
                <a:lnTo>
                  <a:pt x="6049586" y="500861"/>
                </a:lnTo>
                <a:close/>
                <a:moveTo>
                  <a:pt x="2574014" y="496747"/>
                </a:moveTo>
                <a:lnTo>
                  <a:pt x="2575425" y="498587"/>
                </a:lnTo>
                <a:lnTo>
                  <a:pt x="2573689" y="501186"/>
                </a:lnTo>
                <a:lnTo>
                  <a:pt x="2571301" y="501186"/>
                </a:lnTo>
                <a:cubicBezTo>
                  <a:pt x="2570608" y="500464"/>
                  <a:pt x="2569956" y="499706"/>
                  <a:pt x="2569348" y="498912"/>
                </a:cubicBezTo>
                <a:close/>
                <a:moveTo>
                  <a:pt x="5053946" y="492308"/>
                </a:moveTo>
                <a:lnTo>
                  <a:pt x="5055791" y="494798"/>
                </a:lnTo>
                <a:lnTo>
                  <a:pt x="5055791" y="498697"/>
                </a:lnTo>
                <a:lnTo>
                  <a:pt x="5058395" y="502161"/>
                </a:lnTo>
                <a:lnTo>
                  <a:pt x="5062844" y="502811"/>
                </a:lnTo>
                <a:lnTo>
                  <a:pt x="5065232" y="505409"/>
                </a:lnTo>
                <a:lnTo>
                  <a:pt x="5070115" y="506058"/>
                </a:lnTo>
                <a:lnTo>
                  <a:pt x="5071525" y="508116"/>
                </a:lnTo>
                <a:lnTo>
                  <a:pt x="5069138" y="513963"/>
                </a:lnTo>
                <a:lnTo>
                  <a:pt x="5069138" y="520027"/>
                </a:lnTo>
                <a:lnTo>
                  <a:pt x="5072285" y="520027"/>
                </a:lnTo>
                <a:lnTo>
                  <a:pt x="5073804" y="521218"/>
                </a:lnTo>
                <a:lnTo>
                  <a:pt x="5073804" y="527712"/>
                </a:lnTo>
                <a:lnTo>
                  <a:pt x="5074455" y="531719"/>
                </a:lnTo>
                <a:lnTo>
                  <a:pt x="5072177" y="536159"/>
                </a:lnTo>
                <a:lnTo>
                  <a:pt x="5073587" y="538432"/>
                </a:lnTo>
                <a:lnTo>
                  <a:pt x="5073587" y="541572"/>
                </a:lnTo>
                <a:lnTo>
                  <a:pt x="5070006" y="543088"/>
                </a:lnTo>
                <a:lnTo>
                  <a:pt x="5067402" y="543088"/>
                </a:lnTo>
                <a:lnTo>
                  <a:pt x="5063604" y="545469"/>
                </a:lnTo>
                <a:lnTo>
                  <a:pt x="5056876" y="553698"/>
                </a:lnTo>
                <a:lnTo>
                  <a:pt x="5052426" y="557272"/>
                </a:lnTo>
                <a:lnTo>
                  <a:pt x="5044830" y="559544"/>
                </a:lnTo>
                <a:lnTo>
                  <a:pt x="5038428" y="565066"/>
                </a:lnTo>
                <a:lnTo>
                  <a:pt x="5035715" y="565066"/>
                </a:lnTo>
                <a:lnTo>
                  <a:pt x="5028010" y="571238"/>
                </a:lnTo>
                <a:lnTo>
                  <a:pt x="5018352" y="582065"/>
                </a:lnTo>
                <a:lnTo>
                  <a:pt x="5009562" y="588561"/>
                </a:lnTo>
                <a:lnTo>
                  <a:pt x="5005764" y="588561"/>
                </a:lnTo>
                <a:lnTo>
                  <a:pt x="5003051" y="597114"/>
                </a:lnTo>
                <a:lnTo>
                  <a:pt x="4999253" y="603828"/>
                </a:lnTo>
                <a:lnTo>
                  <a:pt x="4992308" y="608158"/>
                </a:lnTo>
                <a:lnTo>
                  <a:pt x="4991657" y="614004"/>
                </a:lnTo>
                <a:lnTo>
                  <a:pt x="4988944" y="616603"/>
                </a:lnTo>
                <a:lnTo>
                  <a:pt x="4987208" y="621908"/>
                </a:lnTo>
                <a:lnTo>
                  <a:pt x="4980479" y="630462"/>
                </a:lnTo>
                <a:lnTo>
                  <a:pt x="4977550" y="632844"/>
                </a:lnTo>
                <a:lnTo>
                  <a:pt x="4975271" y="628729"/>
                </a:lnTo>
                <a:lnTo>
                  <a:pt x="4972883" y="632844"/>
                </a:lnTo>
                <a:lnTo>
                  <a:pt x="4974837" y="636308"/>
                </a:lnTo>
                <a:lnTo>
                  <a:pt x="4978743" y="638906"/>
                </a:lnTo>
                <a:lnTo>
                  <a:pt x="4977550" y="642370"/>
                </a:lnTo>
                <a:lnTo>
                  <a:pt x="4971364" y="645293"/>
                </a:lnTo>
                <a:lnTo>
                  <a:pt x="4970496" y="647242"/>
                </a:lnTo>
                <a:lnTo>
                  <a:pt x="4972015" y="648974"/>
                </a:lnTo>
                <a:lnTo>
                  <a:pt x="4972015" y="653738"/>
                </a:lnTo>
                <a:lnTo>
                  <a:pt x="4968543" y="656878"/>
                </a:lnTo>
                <a:lnTo>
                  <a:pt x="4965830" y="655470"/>
                </a:lnTo>
                <a:lnTo>
                  <a:pt x="4962032" y="655470"/>
                </a:lnTo>
                <a:lnTo>
                  <a:pt x="4962032" y="658069"/>
                </a:lnTo>
                <a:lnTo>
                  <a:pt x="4965504" y="660343"/>
                </a:lnTo>
                <a:lnTo>
                  <a:pt x="4963551" y="663050"/>
                </a:lnTo>
                <a:lnTo>
                  <a:pt x="4957366" y="660668"/>
                </a:lnTo>
                <a:lnTo>
                  <a:pt x="4953242" y="657744"/>
                </a:lnTo>
                <a:lnTo>
                  <a:pt x="4950312" y="658611"/>
                </a:lnTo>
                <a:lnTo>
                  <a:pt x="4950312" y="664566"/>
                </a:lnTo>
                <a:lnTo>
                  <a:pt x="4953459" y="664566"/>
                </a:lnTo>
                <a:lnTo>
                  <a:pt x="4954653" y="665973"/>
                </a:lnTo>
                <a:lnTo>
                  <a:pt x="4952808" y="671170"/>
                </a:lnTo>
                <a:lnTo>
                  <a:pt x="4949552" y="672036"/>
                </a:lnTo>
                <a:lnTo>
                  <a:pt x="4945754" y="668572"/>
                </a:lnTo>
                <a:lnTo>
                  <a:pt x="4942282" y="668572"/>
                </a:lnTo>
                <a:lnTo>
                  <a:pt x="4947274" y="674743"/>
                </a:lnTo>
                <a:lnTo>
                  <a:pt x="4950855" y="679182"/>
                </a:lnTo>
                <a:lnTo>
                  <a:pt x="4950855" y="683621"/>
                </a:lnTo>
                <a:lnTo>
                  <a:pt x="4948142" y="688385"/>
                </a:lnTo>
                <a:lnTo>
                  <a:pt x="4948142" y="691308"/>
                </a:lnTo>
                <a:lnTo>
                  <a:pt x="4949987" y="693149"/>
                </a:lnTo>
                <a:lnTo>
                  <a:pt x="4949987" y="696288"/>
                </a:lnTo>
                <a:lnTo>
                  <a:pt x="4948793" y="698996"/>
                </a:lnTo>
                <a:lnTo>
                  <a:pt x="4944669" y="697804"/>
                </a:lnTo>
                <a:lnTo>
                  <a:pt x="4940220" y="695747"/>
                </a:lnTo>
                <a:lnTo>
                  <a:pt x="4939569" y="692282"/>
                </a:lnTo>
                <a:lnTo>
                  <a:pt x="4936313" y="688493"/>
                </a:lnTo>
                <a:lnTo>
                  <a:pt x="4934903" y="691092"/>
                </a:lnTo>
                <a:lnTo>
                  <a:pt x="4939569" y="697588"/>
                </a:lnTo>
                <a:lnTo>
                  <a:pt x="4944561" y="704301"/>
                </a:lnTo>
                <a:lnTo>
                  <a:pt x="4946406" y="711338"/>
                </a:lnTo>
                <a:lnTo>
                  <a:pt x="4944126" y="714478"/>
                </a:lnTo>
                <a:lnTo>
                  <a:pt x="4941739" y="713071"/>
                </a:lnTo>
                <a:lnTo>
                  <a:pt x="4941739" y="710147"/>
                </a:lnTo>
                <a:lnTo>
                  <a:pt x="4939135" y="706358"/>
                </a:lnTo>
                <a:lnTo>
                  <a:pt x="4935988" y="707441"/>
                </a:lnTo>
                <a:lnTo>
                  <a:pt x="4932190" y="706358"/>
                </a:lnTo>
                <a:lnTo>
                  <a:pt x="4929477" y="707765"/>
                </a:lnTo>
                <a:lnTo>
                  <a:pt x="4931213" y="710039"/>
                </a:lnTo>
                <a:lnTo>
                  <a:pt x="4934469" y="710039"/>
                </a:lnTo>
                <a:lnTo>
                  <a:pt x="4938918" y="711121"/>
                </a:lnTo>
                <a:lnTo>
                  <a:pt x="4941523" y="716968"/>
                </a:lnTo>
                <a:lnTo>
                  <a:pt x="4944777" y="719892"/>
                </a:lnTo>
                <a:lnTo>
                  <a:pt x="4944126" y="724222"/>
                </a:lnTo>
                <a:lnTo>
                  <a:pt x="4940980" y="729419"/>
                </a:lnTo>
                <a:lnTo>
                  <a:pt x="4940980" y="734616"/>
                </a:lnTo>
                <a:lnTo>
                  <a:pt x="4938592" y="740463"/>
                </a:lnTo>
                <a:lnTo>
                  <a:pt x="4935011" y="741329"/>
                </a:lnTo>
                <a:lnTo>
                  <a:pt x="4933817" y="743928"/>
                </a:lnTo>
                <a:lnTo>
                  <a:pt x="4926872" y="743928"/>
                </a:lnTo>
                <a:lnTo>
                  <a:pt x="4922858" y="741871"/>
                </a:lnTo>
                <a:lnTo>
                  <a:pt x="4920578" y="737215"/>
                </a:lnTo>
                <a:lnTo>
                  <a:pt x="4918517" y="736565"/>
                </a:lnTo>
                <a:lnTo>
                  <a:pt x="4918517" y="740030"/>
                </a:lnTo>
                <a:lnTo>
                  <a:pt x="4920578" y="742628"/>
                </a:lnTo>
                <a:lnTo>
                  <a:pt x="4916997" y="744686"/>
                </a:lnTo>
                <a:lnTo>
                  <a:pt x="4911680" y="743494"/>
                </a:lnTo>
                <a:lnTo>
                  <a:pt x="4909401" y="740788"/>
                </a:lnTo>
                <a:lnTo>
                  <a:pt x="4904952" y="739705"/>
                </a:lnTo>
                <a:lnTo>
                  <a:pt x="4899309" y="742304"/>
                </a:lnTo>
                <a:lnTo>
                  <a:pt x="4892472" y="745769"/>
                </a:lnTo>
                <a:lnTo>
                  <a:pt x="4885419" y="745769"/>
                </a:lnTo>
                <a:cubicBezTo>
                  <a:pt x="4885482" y="745012"/>
                  <a:pt x="4885482" y="744251"/>
                  <a:pt x="4885419" y="743494"/>
                </a:cubicBezTo>
                <a:lnTo>
                  <a:pt x="4886504" y="741546"/>
                </a:lnTo>
                <a:lnTo>
                  <a:pt x="4885202" y="737539"/>
                </a:lnTo>
                <a:lnTo>
                  <a:pt x="4886179" y="733426"/>
                </a:lnTo>
                <a:lnTo>
                  <a:pt x="4888783" y="729528"/>
                </a:lnTo>
                <a:lnTo>
                  <a:pt x="4895185" y="725738"/>
                </a:lnTo>
                <a:lnTo>
                  <a:pt x="4896813" y="723031"/>
                </a:lnTo>
                <a:lnTo>
                  <a:pt x="4899526" y="723031"/>
                </a:lnTo>
                <a:lnTo>
                  <a:pt x="4902456" y="725414"/>
                </a:lnTo>
                <a:lnTo>
                  <a:pt x="4904518" y="725414"/>
                </a:lnTo>
                <a:lnTo>
                  <a:pt x="4904518" y="723139"/>
                </a:lnTo>
                <a:lnTo>
                  <a:pt x="4902239" y="721082"/>
                </a:lnTo>
                <a:lnTo>
                  <a:pt x="4897356" y="721082"/>
                </a:lnTo>
                <a:lnTo>
                  <a:pt x="4892472" y="722815"/>
                </a:lnTo>
                <a:lnTo>
                  <a:pt x="4886396" y="727687"/>
                </a:lnTo>
                <a:lnTo>
                  <a:pt x="4883140" y="729528"/>
                </a:lnTo>
                <a:lnTo>
                  <a:pt x="4881946" y="732235"/>
                </a:lnTo>
                <a:lnTo>
                  <a:pt x="4879993" y="733534"/>
                </a:lnTo>
                <a:lnTo>
                  <a:pt x="4875652" y="731260"/>
                </a:lnTo>
                <a:lnTo>
                  <a:pt x="4870444" y="726063"/>
                </a:lnTo>
                <a:lnTo>
                  <a:pt x="4870444" y="724547"/>
                </a:lnTo>
                <a:lnTo>
                  <a:pt x="4874459" y="723465"/>
                </a:lnTo>
                <a:lnTo>
                  <a:pt x="4875870" y="721516"/>
                </a:lnTo>
                <a:lnTo>
                  <a:pt x="4875110" y="719783"/>
                </a:lnTo>
                <a:lnTo>
                  <a:pt x="4876520" y="715994"/>
                </a:lnTo>
                <a:lnTo>
                  <a:pt x="4879342" y="712529"/>
                </a:lnTo>
                <a:lnTo>
                  <a:pt x="4881513" y="712529"/>
                </a:lnTo>
                <a:lnTo>
                  <a:pt x="4884334" y="711880"/>
                </a:lnTo>
                <a:lnTo>
                  <a:pt x="4884985" y="709714"/>
                </a:lnTo>
                <a:lnTo>
                  <a:pt x="4883249" y="707657"/>
                </a:lnTo>
                <a:lnTo>
                  <a:pt x="4883249" y="705058"/>
                </a:lnTo>
                <a:lnTo>
                  <a:pt x="4885093" y="703326"/>
                </a:lnTo>
                <a:lnTo>
                  <a:pt x="4885853" y="700186"/>
                </a:lnTo>
                <a:lnTo>
                  <a:pt x="4888566" y="697480"/>
                </a:lnTo>
                <a:lnTo>
                  <a:pt x="4892690" y="697480"/>
                </a:lnTo>
                <a:lnTo>
                  <a:pt x="4896596" y="699862"/>
                </a:lnTo>
                <a:lnTo>
                  <a:pt x="4900828" y="699862"/>
                </a:lnTo>
                <a:lnTo>
                  <a:pt x="4905603" y="701919"/>
                </a:lnTo>
                <a:lnTo>
                  <a:pt x="4908751" y="705600"/>
                </a:lnTo>
                <a:lnTo>
                  <a:pt x="4908751" y="702568"/>
                </a:lnTo>
                <a:lnTo>
                  <a:pt x="4908751" y="701161"/>
                </a:lnTo>
                <a:lnTo>
                  <a:pt x="4904952" y="699645"/>
                </a:lnTo>
                <a:lnTo>
                  <a:pt x="4898333" y="695423"/>
                </a:lnTo>
                <a:lnTo>
                  <a:pt x="4892472" y="694665"/>
                </a:lnTo>
                <a:lnTo>
                  <a:pt x="4890954" y="693690"/>
                </a:lnTo>
                <a:lnTo>
                  <a:pt x="4890954" y="691200"/>
                </a:lnTo>
                <a:lnTo>
                  <a:pt x="4895728" y="690442"/>
                </a:lnTo>
                <a:lnTo>
                  <a:pt x="4898658" y="689359"/>
                </a:lnTo>
                <a:lnTo>
                  <a:pt x="4898658" y="687411"/>
                </a:lnTo>
                <a:lnTo>
                  <a:pt x="4893883" y="687411"/>
                </a:lnTo>
                <a:lnTo>
                  <a:pt x="4889759" y="688060"/>
                </a:lnTo>
                <a:lnTo>
                  <a:pt x="4887481" y="686436"/>
                </a:lnTo>
                <a:lnTo>
                  <a:pt x="4887481" y="683837"/>
                </a:lnTo>
                <a:lnTo>
                  <a:pt x="4890194" y="681889"/>
                </a:lnTo>
                <a:lnTo>
                  <a:pt x="4895837" y="681889"/>
                </a:lnTo>
                <a:lnTo>
                  <a:pt x="4901154" y="679615"/>
                </a:lnTo>
                <a:lnTo>
                  <a:pt x="4902239" y="677774"/>
                </a:lnTo>
                <a:lnTo>
                  <a:pt x="4900720" y="676258"/>
                </a:lnTo>
                <a:lnTo>
                  <a:pt x="4897573" y="677558"/>
                </a:lnTo>
                <a:lnTo>
                  <a:pt x="4894426" y="676908"/>
                </a:lnTo>
                <a:lnTo>
                  <a:pt x="4890736" y="674851"/>
                </a:lnTo>
                <a:lnTo>
                  <a:pt x="4889217" y="669870"/>
                </a:lnTo>
                <a:lnTo>
                  <a:pt x="4890954" y="666839"/>
                </a:lnTo>
                <a:lnTo>
                  <a:pt x="4893666" y="667922"/>
                </a:lnTo>
                <a:lnTo>
                  <a:pt x="4895837" y="665215"/>
                </a:lnTo>
                <a:lnTo>
                  <a:pt x="4901588" y="665215"/>
                </a:lnTo>
                <a:lnTo>
                  <a:pt x="4905278" y="664349"/>
                </a:lnTo>
                <a:lnTo>
                  <a:pt x="4906906" y="661101"/>
                </a:lnTo>
                <a:lnTo>
                  <a:pt x="4905494" y="659909"/>
                </a:lnTo>
                <a:lnTo>
                  <a:pt x="4902456" y="661967"/>
                </a:lnTo>
                <a:lnTo>
                  <a:pt x="4897681" y="661967"/>
                </a:lnTo>
                <a:lnTo>
                  <a:pt x="4895728" y="660560"/>
                </a:lnTo>
                <a:lnTo>
                  <a:pt x="4893666" y="660560"/>
                </a:lnTo>
                <a:lnTo>
                  <a:pt x="4891279" y="663374"/>
                </a:lnTo>
                <a:lnTo>
                  <a:pt x="4888349" y="661858"/>
                </a:lnTo>
                <a:lnTo>
                  <a:pt x="4887698" y="659585"/>
                </a:lnTo>
                <a:lnTo>
                  <a:pt x="4889977" y="654605"/>
                </a:lnTo>
                <a:lnTo>
                  <a:pt x="4889977" y="651464"/>
                </a:lnTo>
                <a:lnTo>
                  <a:pt x="4888457" y="650815"/>
                </a:lnTo>
                <a:lnTo>
                  <a:pt x="4885419" y="651789"/>
                </a:lnTo>
                <a:lnTo>
                  <a:pt x="4881187" y="648325"/>
                </a:lnTo>
                <a:lnTo>
                  <a:pt x="4880210" y="643128"/>
                </a:lnTo>
                <a:lnTo>
                  <a:pt x="4881513" y="637067"/>
                </a:lnTo>
                <a:lnTo>
                  <a:pt x="4883357" y="636093"/>
                </a:lnTo>
                <a:lnTo>
                  <a:pt x="4884551" y="639340"/>
                </a:lnTo>
                <a:lnTo>
                  <a:pt x="4887047" y="642478"/>
                </a:lnTo>
                <a:lnTo>
                  <a:pt x="4890411" y="644319"/>
                </a:lnTo>
                <a:lnTo>
                  <a:pt x="4894752" y="640639"/>
                </a:lnTo>
                <a:lnTo>
                  <a:pt x="4896813" y="636634"/>
                </a:lnTo>
                <a:lnTo>
                  <a:pt x="4896813" y="633277"/>
                </a:lnTo>
                <a:lnTo>
                  <a:pt x="4898115" y="630029"/>
                </a:lnTo>
                <a:lnTo>
                  <a:pt x="4903216" y="627322"/>
                </a:lnTo>
                <a:lnTo>
                  <a:pt x="4908967" y="628622"/>
                </a:lnTo>
                <a:lnTo>
                  <a:pt x="4911897" y="629704"/>
                </a:lnTo>
                <a:lnTo>
                  <a:pt x="4915044" y="627105"/>
                </a:lnTo>
                <a:lnTo>
                  <a:pt x="4915044" y="623100"/>
                </a:lnTo>
                <a:lnTo>
                  <a:pt x="4915804" y="620718"/>
                </a:lnTo>
                <a:lnTo>
                  <a:pt x="4914393" y="618769"/>
                </a:lnTo>
                <a:lnTo>
                  <a:pt x="4910920" y="619418"/>
                </a:lnTo>
                <a:lnTo>
                  <a:pt x="4908642" y="619418"/>
                </a:lnTo>
                <a:lnTo>
                  <a:pt x="4907882" y="615845"/>
                </a:lnTo>
                <a:lnTo>
                  <a:pt x="4908859" y="609674"/>
                </a:lnTo>
                <a:lnTo>
                  <a:pt x="4911463" y="607617"/>
                </a:lnTo>
                <a:lnTo>
                  <a:pt x="4918517" y="607617"/>
                </a:lnTo>
                <a:lnTo>
                  <a:pt x="4921990" y="604260"/>
                </a:lnTo>
                <a:lnTo>
                  <a:pt x="4919168" y="604260"/>
                </a:lnTo>
                <a:lnTo>
                  <a:pt x="4917865" y="602744"/>
                </a:lnTo>
                <a:lnTo>
                  <a:pt x="4918842" y="596140"/>
                </a:lnTo>
                <a:lnTo>
                  <a:pt x="4921555" y="593325"/>
                </a:lnTo>
                <a:lnTo>
                  <a:pt x="4925896" y="591917"/>
                </a:lnTo>
                <a:lnTo>
                  <a:pt x="4926547" y="589103"/>
                </a:lnTo>
                <a:lnTo>
                  <a:pt x="4929477" y="586720"/>
                </a:lnTo>
                <a:lnTo>
                  <a:pt x="4934794" y="586720"/>
                </a:lnTo>
                <a:lnTo>
                  <a:pt x="4936639" y="582930"/>
                </a:lnTo>
                <a:lnTo>
                  <a:pt x="4939026" y="580982"/>
                </a:lnTo>
                <a:lnTo>
                  <a:pt x="4935988" y="579466"/>
                </a:lnTo>
                <a:lnTo>
                  <a:pt x="4935988" y="576109"/>
                </a:lnTo>
                <a:lnTo>
                  <a:pt x="4939460" y="573620"/>
                </a:lnTo>
                <a:lnTo>
                  <a:pt x="4943367" y="568314"/>
                </a:lnTo>
                <a:lnTo>
                  <a:pt x="4946406" y="568314"/>
                </a:lnTo>
                <a:lnTo>
                  <a:pt x="4946406" y="571671"/>
                </a:lnTo>
                <a:lnTo>
                  <a:pt x="4944669" y="573620"/>
                </a:lnTo>
                <a:lnTo>
                  <a:pt x="4944669" y="576326"/>
                </a:lnTo>
                <a:lnTo>
                  <a:pt x="4946622" y="576976"/>
                </a:lnTo>
                <a:lnTo>
                  <a:pt x="4949552" y="572862"/>
                </a:lnTo>
                <a:lnTo>
                  <a:pt x="4951832" y="571996"/>
                </a:lnTo>
                <a:lnTo>
                  <a:pt x="4951832" y="569938"/>
                </a:lnTo>
                <a:lnTo>
                  <a:pt x="4949878" y="567991"/>
                </a:lnTo>
                <a:lnTo>
                  <a:pt x="4947165" y="561927"/>
                </a:lnTo>
                <a:lnTo>
                  <a:pt x="4948575" y="559436"/>
                </a:lnTo>
                <a:lnTo>
                  <a:pt x="4952048" y="558787"/>
                </a:lnTo>
                <a:lnTo>
                  <a:pt x="4953893" y="557055"/>
                </a:lnTo>
                <a:lnTo>
                  <a:pt x="4962900" y="554673"/>
                </a:lnTo>
                <a:lnTo>
                  <a:pt x="4970170" y="553914"/>
                </a:lnTo>
                <a:lnTo>
                  <a:pt x="4972450" y="557920"/>
                </a:lnTo>
                <a:lnTo>
                  <a:pt x="4973968" y="562034"/>
                </a:lnTo>
                <a:lnTo>
                  <a:pt x="4975488" y="560409"/>
                </a:lnTo>
                <a:lnTo>
                  <a:pt x="4974728" y="555105"/>
                </a:lnTo>
                <a:lnTo>
                  <a:pt x="4975488" y="551966"/>
                </a:lnTo>
                <a:lnTo>
                  <a:pt x="4977333" y="551966"/>
                </a:lnTo>
                <a:lnTo>
                  <a:pt x="4978852" y="555430"/>
                </a:lnTo>
                <a:lnTo>
                  <a:pt x="4980697" y="556730"/>
                </a:lnTo>
                <a:lnTo>
                  <a:pt x="4984278" y="554347"/>
                </a:lnTo>
                <a:lnTo>
                  <a:pt x="4988184" y="548392"/>
                </a:lnTo>
                <a:lnTo>
                  <a:pt x="4991765" y="545685"/>
                </a:lnTo>
                <a:lnTo>
                  <a:pt x="4995781" y="545685"/>
                </a:lnTo>
                <a:lnTo>
                  <a:pt x="4997625" y="546552"/>
                </a:lnTo>
                <a:lnTo>
                  <a:pt x="5000556" y="544170"/>
                </a:lnTo>
                <a:lnTo>
                  <a:pt x="5008803" y="538757"/>
                </a:lnTo>
                <a:lnTo>
                  <a:pt x="5011515" y="535184"/>
                </a:lnTo>
                <a:lnTo>
                  <a:pt x="5013795" y="533559"/>
                </a:lnTo>
                <a:lnTo>
                  <a:pt x="5013795" y="530095"/>
                </a:lnTo>
                <a:lnTo>
                  <a:pt x="5015856" y="527712"/>
                </a:lnTo>
                <a:lnTo>
                  <a:pt x="5019871" y="527712"/>
                </a:lnTo>
                <a:lnTo>
                  <a:pt x="5019871" y="524572"/>
                </a:lnTo>
                <a:lnTo>
                  <a:pt x="5017050" y="519809"/>
                </a:lnTo>
                <a:lnTo>
                  <a:pt x="5017050" y="517426"/>
                </a:lnTo>
                <a:lnTo>
                  <a:pt x="5020631" y="513530"/>
                </a:lnTo>
                <a:lnTo>
                  <a:pt x="5020631" y="510174"/>
                </a:lnTo>
                <a:lnTo>
                  <a:pt x="5023452" y="507250"/>
                </a:lnTo>
                <a:lnTo>
                  <a:pt x="5026925" y="506600"/>
                </a:lnTo>
                <a:lnTo>
                  <a:pt x="5029747" y="504327"/>
                </a:lnTo>
                <a:lnTo>
                  <a:pt x="5031048" y="500212"/>
                </a:lnTo>
                <a:lnTo>
                  <a:pt x="5036908" y="496423"/>
                </a:lnTo>
                <a:lnTo>
                  <a:pt x="5040924" y="495340"/>
                </a:lnTo>
                <a:lnTo>
                  <a:pt x="5044614" y="497072"/>
                </a:lnTo>
                <a:lnTo>
                  <a:pt x="5047543" y="498155"/>
                </a:lnTo>
                <a:lnTo>
                  <a:pt x="5048520" y="495773"/>
                </a:lnTo>
                <a:close/>
                <a:moveTo>
                  <a:pt x="6438510" y="490033"/>
                </a:moveTo>
                <a:lnTo>
                  <a:pt x="6440355" y="495338"/>
                </a:lnTo>
                <a:lnTo>
                  <a:pt x="6442091" y="498479"/>
                </a:lnTo>
                <a:lnTo>
                  <a:pt x="6440680" y="500752"/>
                </a:lnTo>
                <a:lnTo>
                  <a:pt x="6434277" y="502701"/>
                </a:lnTo>
                <a:lnTo>
                  <a:pt x="6434277" y="505300"/>
                </a:lnTo>
                <a:lnTo>
                  <a:pt x="6430045" y="503676"/>
                </a:lnTo>
                <a:lnTo>
                  <a:pt x="6425704" y="498046"/>
                </a:lnTo>
                <a:cubicBezTo>
                  <a:pt x="6427545" y="498226"/>
                  <a:pt x="6429398" y="498226"/>
                  <a:pt x="6431239" y="498046"/>
                </a:cubicBezTo>
                <a:lnTo>
                  <a:pt x="6435689" y="494907"/>
                </a:lnTo>
                <a:lnTo>
                  <a:pt x="6436557" y="490900"/>
                </a:lnTo>
                <a:close/>
                <a:moveTo>
                  <a:pt x="4275773" y="486678"/>
                </a:moveTo>
                <a:lnTo>
                  <a:pt x="4277509" y="487543"/>
                </a:lnTo>
                <a:lnTo>
                  <a:pt x="4279137" y="490141"/>
                </a:lnTo>
                <a:lnTo>
                  <a:pt x="4282827" y="490683"/>
                </a:lnTo>
                <a:lnTo>
                  <a:pt x="4284563" y="494365"/>
                </a:lnTo>
                <a:lnTo>
                  <a:pt x="4282935" y="498262"/>
                </a:lnTo>
                <a:lnTo>
                  <a:pt x="4280114" y="500104"/>
                </a:lnTo>
                <a:lnTo>
                  <a:pt x="4279462" y="506166"/>
                </a:lnTo>
                <a:lnTo>
                  <a:pt x="4280114" y="508765"/>
                </a:lnTo>
                <a:lnTo>
                  <a:pt x="4277184" y="511362"/>
                </a:lnTo>
                <a:lnTo>
                  <a:pt x="4274036" y="511362"/>
                </a:lnTo>
                <a:lnTo>
                  <a:pt x="4267743" y="515152"/>
                </a:lnTo>
                <a:lnTo>
                  <a:pt x="4265898" y="516994"/>
                </a:lnTo>
                <a:lnTo>
                  <a:pt x="4263511" y="516018"/>
                </a:lnTo>
                <a:lnTo>
                  <a:pt x="4260472" y="516452"/>
                </a:lnTo>
                <a:lnTo>
                  <a:pt x="4262534" y="512770"/>
                </a:lnTo>
                <a:lnTo>
                  <a:pt x="4260364" y="511362"/>
                </a:lnTo>
                <a:lnTo>
                  <a:pt x="4260689" y="508765"/>
                </a:lnTo>
                <a:lnTo>
                  <a:pt x="4259170" y="506275"/>
                </a:lnTo>
                <a:lnTo>
                  <a:pt x="4257325" y="502161"/>
                </a:lnTo>
                <a:lnTo>
                  <a:pt x="4252442" y="502052"/>
                </a:lnTo>
                <a:lnTo>
                  <a:pt x="4248427" y="499995"/>
                </a:lnTo>
                <a:lnTo>
                  <a:pt x="4251682" y="497829"/>
                </a:lnTo>
                <a:lnTo>
                  <a:pt x="4254395" y="494473"/>
                </a:lnTo>
                <a:lnTo>
                  <a:pt x="4258085" y="495230"/>
                </a:lnTo>
                <a:lnTo>
                  <a:pt x="4260038" y="493606"/>
                </a:lnTo>
                <a:lnTo>
                  <a:pt x="4260581" y="490900"/>
                </a:lnTo>
                <a:lnTo>
                  <a:pt x="4263945" y="488626"/>
                </a:lnTo>
                <a:lnTo>
                  <a:pt x="4266007" y="489600"/>
                </a:lnTo>
                <a:lnTo>
                  <a:pt x="4266657" y="491983"/>
                </a:lnTo>
                <a:lnTo>
                  <a:pt x="4273495" y="488843"/>
                </a:lnTo>
                <a:close/>
                <a:moveTo>
                  <a:pt x="4096829" y="479098"/>
                </a:moveTo>
                <a:lnTo>
                  <a:pt x="4099107" y="479856"/>
                </a:lnTo>
                <a:lnTo>
                  <a:pt x="4103773" y="485378"/>
                </a:lnTo>
                <a:lnTo>
                  <a:pt x="4103773" y="489925"/>
                </a:lnTo>
                <a:lnTo>
                  <a:pt x="4103122" y="494690"/>
                </a:lnTo>
                <a:lnTo>
                  <a:pt x="4106704" y="500103"/>
                </a:lnTo>
                <a:lnTo>
                  <a:pt x="4109308" y="502485"/>
                </a:lnTo>
                <a:lnTo>
                  <a:pt x="4111044" y="502485"/>
                </a:lnTo>
                <a:lnTo>
                  <a:pt x="4111695" y="503892"/>
                </a:lnTo>
                <a:lnTo>
                  <a:pt x="4113540" y="503892"/>
                </a:lnTo>
                <a:lnTo>
                  <a:pt x="4115168" y="508656"/>
                </a:lnTo>
                <a:lnTo>
                  <a:pt x="4118966" y="514828"/>
                </a:lnTo>
                <a:lnTo>
                  <a:pt x="4120376" y="519266"/>
                </a:lnTo>
                <a:lnTo>
                  <a:pt x="4119725" y="522191"/>
                </a:lnTo>
                <a:lnTo>
                  <a:pt x="4117446" y="522839"/>
                </a:lnTo>
                <a:cubicBezTo>
                  <a:pt x="4117446" y="522839"/>
                  <a:pt x="4115602" y="521215"/>
                  <a:pt x="4115602" y="521215"/>
                </a:cubicBezTo>
                <a:lnTo>
                  <a:pt x="4113323" y="515369"/>
                </a:lnTo>
                <a:lnTo>
                  <a:pt x="4111695" y="514503"/>
                </a:lnTo>
                <a:lnTo>
                  <a:pt x="4110068" y="510064"/>
                </a:lnTo>
                <a:lnTo>
                  <a:pt x="4105727" y="506708"/>
                </a:lnTo>
                <a:lnTo>
                  <a:pt x="4102146" y="506708"/>
                </a:lnTo>
                <a:lnTo>
                  <a:pt x="4099759" y="503135"/>
                </a:lnTo>
                <a:lnTo>
                  <a:pt x="4099759" y="495338"/>
                </a:lnTo>
                <a:lnTo>
                  <a:pt x="4097697" y="490900"/>
                </a:lnTo>
                <a:lnTo>
                  <a:pt x="4094984" y="487436"/>
                </a:lnTo>
                <a:lnTo>
                  <a:pt x="4094984" y="481589"/>
                </a:lnTo>
                <a:close/>
                <a:moveTo>
                  <a:pt x="2272773" y="473576"/>
                </a:moveTo>
                <a:lnTo>
                  <a:pt x="2273749" y="475091"/>
                </a:lnTo>
                <a:lnTo>
                  <a:pt x="2272773" y="477473"/>
                </a:lnTo>
                <a:lnTo>
                  <a:pt x="2271362" y="478231"/>
                </a:lnTo>
                <a:lnTo>
                  <a:pt x="2270928" y="474658"/>
                </a:lnTo>
                <a:close/>
                <a:moveTo>
                  <a:pt x="4346634" y="472277"/>
                </a:moveTo>
                <a:lnTo>
                  <a:pt x="4348045" y="472710"/>
                </a:lnTo>
                <a:lnTo>
                  <a:pt x="4348913" y="478016"/>
                </a:lnTo>
                <a:lnTo>
                  <a:pt x="4352494" y="481264"/>
                </a:lnTo>
                <a:lnTo>
                  <a:pt x="4352386" y="483754"/>
                </a:lnTo>
                <a:lnTo>
                  <a:pt x="4349130" y="487651"/>
                </a:lnTo>
                <a:lnTo>
                  <a:pt x="4346743" y="487003"/>
                </a:lnTo>
                <a:lnTo>
                  <a:pt x="4346417" y="483320"/>
                </a:lnTo>
                <a:lnTo>
                  <a:pt x="4344030" y="479424"/>
                </a:lnTo>
                <a:lnTo>
                  <a:pt x="4344030" y="475418"/>
                </a:lnTo>
                <a:lnTo>
                  <a:pt x="4345332" y="474226"/>
                </a:lnTo>
                <a:close/>
                <a:moveTo>
                  <a:pt x="2318240" y="469353"/>
                </a:moveTo>
                <a:lnTo>
                  <a:pt x="2324534" y="472276"/>
                </a:lnTo>
                <a:lnTo>
                  <a:pt x="2325619" y="476174"/>
                </a:lnTo>
                <a:lnTo>
                  <a:pt x="2327681" y="478557"/>
                </a:lnTo>
                <a:lnTo>
                  <a:pt x="2327681" y="483321"/>
                </a:lnTo>
                <a:lnTo>
                  <a:pt x="2331371" y="486677"/>
                </a:lnTo>
                <a:lnTo>
                  <a:pt x="2332781" y="491333"/>
                </a:lnTo>
                <a:lnTo>
                  <a:pt x="2331045" y="493065"/>
                </a:lnTo>
                <a:lnTo>
                  <a:pt x="2330937" y="499020"/>
                </a:lnTo>
                <a:lnTo>
                  <a:pt x="2328441" y="507032"/>
                </a:lnTo>
                <a:lnTo>
                  <a:pt x="2326813" y="508764"/>
                </a:lnTo>
                <a:lnTo>
                  <a:pt x="2323340" y="515261"/>
                </a:lnTo>
                <a:lnTo>
                  <a:pt x="2324426" y="520241"/>
                </a:lnTo>
                <a:lnTo>
                  <a:pt x="2322038" y="526520"/>
                </a:lnTo>
                <a:lnTo>
                  <a:pt x="2318023" y="527820"/>
                </a:lnTo>
                <a:lnTo>
                  <a:pt x="2319217" y="531067"/>
                </a:lnTo>
                <a:lnTo>
                  <a:pt x="2317915" y="532583"/>
                </a:lnTo>
                <a:lnTo>
                  <a:pt x="2316504" y="531067"/>
                </a:lnTo>
                <a:lnTo>
                  <a:pt x="2312163" y="531176"/>
                </a:lnTo>
                <a:lnTo>
                  <a:pt x="2306412" y="527711"/>
                </a:lnTo>
                <a:lnTo>
                  <a:pt x="2301963" y="527820"/>
                </a:lnTo>
                <a:lnTo>
                  <a:pt x="2300878" y="523164"/>
                </a:lnTo>
                <a:lnTo>
                  <a:pt x="2296428" y="524030"/>
                </a:lnTo>
                <a:lnTo>
                  <a:pt x="2295560" y="521756"/>
                </a:lnTo>
                <a:lnTo>
                  <a:pt x="2295886" y="515585"/>
                </a:lnTo>
                <a:lnTo>
                  <a:pt x="2292956" y="514935"/>
                </a:lnTo>
                <a:lnTo>
                  <a:pt x="2291219" y="517534"/>
                </a:lnTo>
                <a:lnTo>
                  <a:pt x="2289701" y="517751"/>
                </a:lnTo>
                <a:lnTo>
                  <a:pt x="2289158" y="513528"/>
                </a:lnTo>
                <a:lnTo>
                  <a:pt x="2287638" y="512445"/>
                </a:lnTo>
                <a:lnTo>
                  <a:pt x="2285685" y="513419"/>
                </a:lnTo>
                <a:lnTo>
                  <a:pt x="2282321" y="511363"/>
                </a:lnTo>
                <a:lnTo>
                  <a:pt x="2281670" y="509197"/>
                </a:lnTo>
                <a:lnTo>
                  <a:pt x="2283406" y="504325"/>
                </a:lnTo>
                <a:lnTo>
                  <a:pt x="2282321" y="503675"/>
                </a:lnTo>
                <a:lnTo>
                  <a:pt x="2279283" y="507140"/>
                </a:lnTo>
                <a:lnTo>
                  <a:pt x="2278197" y="506815"/>
                </a:lnTo>
                <a:lnTo>
                  <a:pt x="2278523" y="503892"/>
                </a:lnTo>
                <a:lnTo>
                  <a:pt x="2279500" y="501510"/>
                </a:lnTo>
                <a:lnTo>
                  <a:pt x="2277438" y="501077"/>
                </a:lnTo>
                <a:lnTo>
                  <a:pt x="2276570" y="499778"/>
                </a:lnTo>
                <a:lnTo>
                  <a:pt x="2277980" y="498261"/>
                </a:lnTo>
                <a:lnTo>
                  <a:pt x="2279934" y="493714"/>
                </a:lnTo>
                <a:lnTo>
                  <a:pt x="2283623" y="490358"/>
                </a:lnTo>
                <a:lnTo>
                  <a:pt x="2289049" y="488951"/>
                </a:lnTo>
                <a:lnTo>
                  <a:pt x="2294041" y="490683"/>
                </a:lnTo>
                <a:lnTo>
                  <a:pt x="2294258" y="488951"/>
                </a:lnTo>
                <a:lnTo>
                  <a:pt x="2293173" y="488517"/>
                </a:lnTo>
                <a:lnTo>
                  <a:pt x="2291002" y="483862"/>
                </a:lnTo>
                <a:lnTo>
                  <a:pt x="2293064" y="482563"/>
                </a:lnTo>
                <a:lnTo>
                  <a:pt x="2299250" y="481804"/>
                </a:lnTo>
                <a:lnTo>
                  <a:pt x="2299792" y="479964"/>
                </a:lnTo>
                <a:lnTo>
                  <a:pt x="2298165" y="478015"/>
                </a:lnTo>
                <a:lnTo>
                  <a:pt x="2294041" y="477907"/>
                </a:lnTo>
                <a:lnTo>
                  <a:pt x="2295669" y="475308"/>
                </a:lnTo>
                <a:lnTo>
                  <a:pt x="2299358" y="475633"/>
                </a:lnTo>
                <a:lnTo>
                  <a:pt x="2303265" y="478665"/>
                </a:lnTo>
                <a:lnTo>
                  <a:pt x="2305110" y="478881"/>
                </a:lnTo>
                <a:lnTo>
                  <a:pt x="2304893" y="476391"/>
                </a:lnTo>
                <a:lnTo>
                  <a:pt x="2302180" y="472926"/>
                </a:lnTo>
                <a:lnTo>
                  <a:pt x="2303590" y="470653"/>
                </a:lnTo>
                <a:lnTo>
                  <a:pt x="2309451" y="470111"/>
                </a:lnTo>
                <a:lnTo>
                  <a:pt x="2313574" y="471303"/>
                </a:lnTo>
                <a:close/>
                <a:moveTo>
                  <a:pt x="2286988" y="464264"/>
                </a:moveTo>
                <a:lnTo>
                  <a:pt x="2289592" y="465889"/>
                </a:lnTo>
                <a:lnTo>
                  <a:pt x="2290894" y="467295"/>
                </a:lnTo>
                <a:lnTo>
                  <a:pt x="2289700" y="469461"/>
                </a:lnTo>
                <a:lnTo>
                  <a:pt x="2289918" y="472385"/>
                </a:lnTo>
                <a:lnTo>
                  <a:pt x="2286988" y="473142"/>
                </a:lnTo>
                <a:lnTo>
                  <a:pt x="2285685" y="475199"/>
                </a:lnTo>
                <a:lnTo>
                  <a:pt x="2283949" y="475849"/>
                </a:lnTo>
                <a:lnTo>
                  <a:pt x="2281128" y="474117"/>
                </a:lnTo>
                <a:lnTo>
                  <a:pt x="2280260" y="467837"/>
                </a:lnTo>
                <a:lnTo>
                  <a:pt x="2282105" y="466538"/>
                </a:lnTo>
                <a:lnTo>
                  <a:pt x="2284058" y="464806"/>
                </a:lnTo>
                <a:close/>
                <a:moveTo>
                  <a:pt x="2295126" y="462315"/>
                </a:moveTo>
                <a:lnTo>
                  <a:pt x="2297514" y="464590"/>
                </a:lnTo>
                <a:lnTo>
                  <a:pt x="2299250" y="467838"/>
                </a:lnTo>
                <a:lnTo>
                  <a:pt x="2295343" y="471085"/>
                </a:lnTo>
                <a:lnTo>
                  <a:pt x="2293281" y="471410"/>
                </a:lnTo>
                <a:lnTo>
                  <a:pt x="2294040" y="468379"/>
                </a:lnTo>
                <a:lnTo>
                  <a:pt x="2292630" y="466646"/>
                </a:lnTo>
                <a:lnTo>
                  <a:pt x="2293390" y="462748"/>
                </a:lnTo>
                <a:close/>
                <a:moveTo>
                  <a:pt x="6954397" y="461018"/>
                </a:moveTo>
                <a:lnTo>
                  <a:pt x="6958630" y="464482"/>
                </a:lnTo>
                <a:lnTo>
                  <a:pt x="6960366" y="470653"/>
                </a:lnTo>
                <a:lnTo>
                  <a:pt x="6959063" y="472711"/>
                </a:lnTo>
                <a:lnTo>
                  <a:pt x="6956677" y="468164"/>
                </a:lnTo>
                <a:lnTo>
                  <a:pt x="6952770" y="462966"/>
                </a:lnTo>
                <a:lnTo>
                  <a:pt x="6952444" y="461125"/>
                </a:lnTo>
                <a:close/>
                <a:moveTo>
                  <a:pt x="4378536" y="459610"/>
                </a:moveTo>
                <a:lnTo>
                  <a:pt x="4379838" y="462207"/>
                </a:lnTo>
                <a:lnTo>
                  <a:pt x="4386675" y="462966"/>
                </a:lnTo>
                <a:lnTo>
                  <a:pt x="4389713" y="462641"/>
                </a:lnTo>
                <a:lnTo>
                  <a:pt x="4388303" y="465889"/>
                </a:lnTo>
                <a:lnTo>
                  <a:pt x="4384179" y="468162"/>
                </a:lnTo>
                <a:lnTo>
                  <a:pt x="4378536" y="465132"/>
                </a:lnTo>
                <a:lnTo>
                  <a:pt x="4375390" y="465132"/>
                </a:lnTo>
                <a:lnTo>
                  <a:pt x="4373110" y="466757"/>
                </a:lnTo>
                <a:lnTo>
                  <a:pt x="4370615" y="466863"/>
                </a:lnTo>
                <a:lnTo>
                  <a:pt x="4366600" y="471844"/>
                </a:lnTo>
                <a:lnTo>
                  <a:pt x="4364864" y="471520"/>
                </a:lnTo>
                <a:lnTo>
                  <a:pt x="4368445" y="464697"/>
                </a:lnTo>
                <a:lnTo>
                  <a:pt x="4372894" y="461666"/>
                </a:lnTo>
                <a:lnTo>
                  <a:pt x="4375390" y="461666"/>
                </a:lnTo>
                <a:close/>
                <a:moveTo>
                  <a:pt x="6944848" y="457335"/>
                </a:moveTo>
                <a:lnTo>
                  <a:pt x="6947778" y="458852"/>
                </a:lnTo>
                <a:lnTo>
                  <a:pt x="6949080" y="463940"/>
                </a:lnTo>
                <a:lnTo>
                  <a:pt x="6947778" y="464590"/>
                </a:lnTo>
                <a:lnTo>
                  <a:pt x="6946367" y="467188"/>
                </a:lnTo>
                <a:lnTo>
                  <a:pt x="6943329" y="465023"/>
                </a:lnTo>
                <a:lnTo>
                  <a:pt x="6940724" y="460042"/>
                </a:lnTo>
                <a:lnTo>
                  <a:pt x="6944197" y="458635"/>
                </a:lnTo>
                <a:close/>
                <a:moveTo>
                  <a:pt x="2290677" y="456902"/>
                </a:moveTo>
                <a:lnTo>
                  <a:pt x="2288615" y="459825"/>
                </a:lnTo>
                <a:lnTo>
                  <a:pt x="2286770" y="460908"/>
                </a:lnTo>
                <a:lnTo>
                  <a:pt x="2285902" y="459068"/>
                </a:lnTo>
                <a:lnTo>
                  <a:pt x="2288724" y="457119"/>
                </a:lnTo>
                <a:close/>
                <a:moveTo>
                  <a:pt x="4241264" y="455603"/>
                </a:moveTo>
                <a:lnTo>
                  <a:pt x="4249620" y="457336"/>
                </a:lnTo>
                <a:lnTo>
                  <a:pt x="4252333" y="460583"/>
                </a:lnTo>
                <a:lnTo>
                  <a:pt x="4252333" y="464807"/>
                </a:lnTo>
                <a:lnTo>
                  <a:pt x="4248101" y="466104"/>
                </a:lnTo>
                <a:lnTo>
                  <a:pt x="4243868" y="465781"/>
                </a:lnTo>
                <a:lnTo>
                  <a:pt x="4241047" y="462425"/>
                </a:lnTo>
                <a:lnTo>
                  <a:pt x="4239745" y="457878"/>
                </a:lnTo>
                <a:lnTo>
                  <a:pt x="4239745" y="456470"/>
                </a:lnTo>
                <a:close/>
                <a:moveTo>
                  <a:pt x="6953747" y="454197"/>
                </a:moveTo>
                <a:lnTo>
                  <a:pt x="6956786" y="454304"/>
                </a:lnTo>
                <a:lnTo>
                  <a:pt x="6958957" y="458093"/>
                </a:lnTo>
                <a:lnTo>
                  <a:pt x="6959174" y="461667"/>
                </a:lnTo>
                <a:lnTo>
                  <a:pt x="6956895" y="460583"/>
                </a:lnTo>
                <a:lnTo>
                  <a:pt x="6953422" y="456470"/>
                </a:lnTo>
                <a:close/>
                <a:moveTo>
                  <a:pt x="2300444" y="449539"/>
                </a:moveTo>
                <a:lnTo>
                  <a:pt x="2301203" y="450731"/>
                </a:lnTo>
                <a:lnTo>
                  <a:pt x="2298816" y="452246"/>
                </a:lnTo>
                <a:lnTo>
                  <a:pt x="2297731" y="454411"/>
                </a:lnTo>
                <a:lnTo>
                  <a:pt x="2295343" y="454953"/>
                </a:lnTo>
                <a:lnTo>
                  <a:pt x="2293716" y="452896"/>
                </a:lnTo>
                <a:lnTo>
                  <a:pt x="2295778" y="450405"/>
                </a:lnTo>
                <a:close/>
                <a:moveTo>
                  <a:pt x="5890175" y="449108"/>
                </a:moveTo>
                <a:lnTo>
                  <a:pt x="5893865" y="449973"/>
                </a:lnTo>
                <a:lnTo>
                  <a:pt x="5893973" y="453006"/>
                </a:lnTo>
                <a:lnTo>
                  <a:pt x="5896252" y="457985"/>
                </a:lnTo>
                <a:lnTo>
                  <a:pt x="5899182" y="461125"/>
                </a:lnTo>
                <a:lnTo>
                  <a:pt x="5899291" y="469246"/>
                </a:lnTo>
                <a:lnTo>
                  <a:pt x="5901895" y="471953"/>
                </a:lnTo>
                <a:lnTo>
                  <a:pt x="5901895" y="474877"/>
                </a:lnTo>
                <a:lnTo>
                  <a:pt x="5899508" y="476934"/>
                </a:lnTo>
                <a:lnTo>
                  <a:pt x="5898640" y="480724"/>
                </a:lnTo>
                <a:lnTo>
                  <a:pt x="5895167" y="482672"/>
                </a:lnTo>
                <a:lnTo>
                  <a:pt x="5892454" y="481049"/>
                </a:lnTo>
                <a:lnTo>
                  <a:pt x="5887137" y="479856"/>
                </a:lnTo>
                <a:lnTo>
                  <a:pt x="5875200" y="477150"/>
                </a:lnTo>
                <a:lnTo>
                  <a:pt x="5868472" y="476718"/>
                </a:lnTo>
                <a:lnTo>
                  <a:pt x="5866302" y="474010"/>
                </a:lnTo>
                <a:lnTo>
                  <a:pt x="5867061" y="472604"/>
                </a:lnTo>
                <a:lnTo>
                  <a:pt x="5871620" y="473036"/>
                </a:lnTo>
                <a:lnTo>
                  <a:pt x="5873681" y="470546"/>
                </a:lnTo>
                <a:lnTo>
                  <a:pt x="5872596" y="466648"/>
                </a:lnTo>
                <a:lnTo>
                  <a:pt x="5868689" y="464266"/>
                </a:lnTo>
                <a:lnTo>
                  <a:pt x="5867278" y="459177"/>
                </a:lnTo>
                <a:lnTo>
                  <a:pt x="5868472" y="457011"/>
                </a:lnTo>
                <a:lnTo>
                  <a:pt x="5873030" y="456794"/>
                </a:lnTo>
                <a:lnTo>
                  <a:pt x="5881385" y="451707"/>
                </a:lnTo>
                <a:close/>
                <a:moveTo>
                  <a:pt x="2328766" y="448998"/>
                </a:moveTo>
                <a:lnTo>
                  <a:pt x="2335277" y="448998"/>
                </a:lnTo>
                <a:lnTo>
                  <a:pt x="2332347" y="459284"/>
                </a:lnTo>
                <a:lnTo>
                  <a:pt x="2329851" y="463723"/>
                </a:lnTo>
                <a:lnTo>
                  <a:pt x="2328332" y="465455"/>
                </a:lnTo>
                <a:lnTo>
                  <a:pt x="2327464" y="461666"/>
                </a:lnTo>
                <a:lnTo>
                  <a:pt x="2325728" y="460367"/>
                </a:lnTo>
                <a:lnTo>
                  <a:pt x="2325728" y="458093"/>
                </a:lnTo>
                <a:lnTo>
                  <a:pt x="2327573" y="456469"/>
                </a:lnTo>
                <a:lnTo>
                  <a:pt x="2327573" y="451164"/>
                </a:lnTo>
                <a:close/>
                <a:moveTo>
                  <a:pt x="6959064" y="448675"/>
                </a:moveTo>
                <a:lnTo>
                  <a:pt x="6961561" y="448891"/>
                </a:lnTo>
                <a:lnTo>
                  <a:pt x="6963080" y="452788"/>
                </a:lnTo>
                <a:lnTo>
                  <a:pt x="6962103" y="456578"/>
                </a:lnTo>
                <a:lnTo>
                  <a:pt x="6960366" y="456794"/>
                </a:lnTo>
                <a:lnTo>
                  <a:pt x="6958304" y="450623"/>
                </a:lnTo>
                <a:close/>
                <a:moveTo>
                  <a:pt x="3656359" y="447265"/>
                </a:moveTo>
                <a:lnTo>
                  <a:pt x="3658530" y="448781"/>
                </a:lnTo>
                <a:lnTo>
                  <a:pt x="3657227" y="452246"/>
                </a:lnTo>
                <a:lnTo>
                  <a:pt x="3657662" y="457226"/>
                </a:lnTo>
                <a:lnTo>
                  <a:pt x="3655709" y="463182"/>
                </a:lnTo>
                <a:lnTo>
                  <a:pt x="3651476" y="466321"/>
                </a:lnTo>
                <a:lnTo>
                  <a:pt x="3651259" y="464264"/>
                </a:lnTo>
                <a:lnTo>
                  <a:pt x="3648981" y="460150"/>
                </a:lnTo>
                <a:lnTo>
                  <a:pt x="3652127" y="453220"/>
                </a:lnTo>
                <a:lnTo>
                  <a:pt x="3653321" y="449323"/>
                </a:lnTo>
                <a:close/>
                <a:moveTo>
                  <a:pt x="2758059" y="444452"/>
                </a:moveTo>
                <a:lnTo>
                  <a:pt x="2764787" y="447049"/>
                </a:lnTo>
                <a:lnTo>
                  <a:pt x="2770539" y="452030"/>
                </a:lnTo>
                <a:lnTo>
                  <a:pt x="2765005" y="455170"/>
                </a:lnTo>
                <a:lnTo>
                  <a:pt x="2760881" y="452679"/>
                </a:lnTo>
                <a:lnTo>
                  <a:pt x="2755346" y="452572"/>
                </a:lnTo>
                <a:lnTo>
                  <a:pt x="2750680" y="447049"/>
                </a:lnTo>
                <a:lnTo>
                  <a:pt x="2752416" y="444993"/>
                </a:lnTo>
                <a:close/>
                <a:moveTo>
                  <a:pt x="2774445" y="444342"/>
                </a:moveTo>
                <a:lnTo>
                  <a:pt x="2777593" y="445316"/>
                </a:lnTo>
                <a:lnTo>
                  <a:pt x="2781824" y="444342"/>
                </a:lnTo>
                <a:lnTo>
                  <a:pt x="2785623" y="448890"/>
                </a:lnTo>
                <a:lnTo>
                  <a:pt x="2788444" y="448890"/>
                </a:lnTo>
                <a:lnTo>
                  <a:pt x="2790940" y="452896"/>
                </a:lnTo>
                <a:lnTo>
                  <a:pt x="2787251" y="452896"/>
                </a:lnTo>
                <a:lnTo>
                  <a:pt x="2783452" y="451164"/>
                </a:lnTo>
                <a:lnTo>
                  <a:pt x="2776725" y="450514"/>
                </a:lnTo>
                <a:lnTo>
                  <a:pt x="2773903" y="446400"/>
                </a:lnTo>
                <a:close/>
                <a:moveTo>
                  <a:pt x="2209832" y="440986"/>
                </a:moveTo>
                <a:lnTo>
                  <a:pt x="2211568" y="442827"/>
                </a:lnTo>
                <a:lnTo>
                  <a:pt x="2210483" y="445208"/>
                </a:lnTo>
                <a:lnTo>
                  <a:pt x="2208747" y="443152"/>
                </a:lnTo>
                <a:close/>
                <a:moveTo>
                  <a:pt x="2332131" y="436872"/>
                </a:moveTo>
                <a:lnTo>
                  <a:pt x="2335712" y="436872"/>
                </a:lnTo>
                <a:cubicBezTo>
                  <a:pt x="2335284" y="438307"/>
                  <a:pt x="2334777" y="439716"/>
                  <a:pt x="2334193" y="441095"/>
                </a:cubicBezTo>
                <a:lnTo>
                  <a:pt x="2331263" y="438929"/>
                </a:lnTo>
                <a:close/>
                <a:moveTo>
                  <a:pt x="2161218" y="434599"/>
                </a:moveTo>
                <a:lnTo>
                  <a:pt x="2161326" y="439146"/>
                </a:lnTo>
                <a:lnTo>
                  <a:pt x="2162194" y="441745"/>
                </a:lnTo>
                <a:lnTo>
                  <a:pt x="2162194" y="447916"/>
                </a:lnTo>
                <a:lnTo>
                  <a:pt x="2161000" y="452247"/>
                </a:lnTo>
                <a:lnTo>
                  <a:pt x="2156768" y="455929"/>
                </a:lnTo>
                <a:lnTo>
                  <a:pt x="2152536" y="455712"/>
                </a:lnTo>
                <a:lnTo>
                  <a:pt x="2150257" y="457119"/>
                </a:lnTo>
                <a:lnTo>
                  <a:pt x="2146567" y="457119"/>
                </a:lnTo>
                <a:lnTo>
                  <a:pt x="2145157" y="453655"/>
                </a:lnTo>
                <a:lnTo>
                  <a:pt x="2141901" y="451381"/>
                </a:lnTo>
                <a:lnTo>
                  <a:pt x="2140491" y="449323"/>
                </a:lnTo>
                <a:lnTo>
                  <a:pt x="2141684" y="447808"/>
                </a:lnTo>
                <a:lnTo>
                  <a:pt x="2146676" y="446184"/>
                </a:lnTo>
                <a:lnTo>
                  <a:pt x="2148412" y="442610"/>
                </a:lnTo>
                <a:lnTo>
                  <a:pt x="2148412" y="440445"/>
                </a:lnTo>
                <a:lnTo>
                  <a:pt x="2155466" y="436547"/>
                </a:lnTo>
                <a:lnTo>
                  <a:pt x="2156768" y="434814"/>
                </a:lnTo>
                <a:close/>
                <a:moveTo>
                  <a:pt x="6115672" y="432542"/>
                </a:moveTo>
                <a:lnTo>
                  <a:pt x="6116215" y="436440"/>
                </a:lnTo>
                <a:lnTo>
                  <a:pt x="6115347" y="441746"/>
                </a:lnTo>
                <a:lnTo>
                  <a:pt x="6113068" y="443154"/>
                </a:lnTo>
                <a:lnTo>
                  <a:pt x="6111115" y="441204"/>
                </a:lnTo>
                <a:lnTo>
                  <a:pt x="6108836" y="441097"/>
                </a:lnTo>
                <a:lnTo>
                  <a:pt x="6107859" y="436981"/>
                </a:lnTo>
                <a:lnTo>
                  <a:pt x="6109270" y="435466"/>
                </a:lnTo>
                <a:close/>
                <a:moveTo>
                  <a:pt x="5545526" y="426912"/>
                </a:moveTo>
                <a:lnTo>
                  <a:pt x="5546827" y="431025"/>
                </a:lnTo>
                <a:lnTo>
                  <a:pt x="5545959" y="433301"/>
                </a:lnTo>
                <a:lnTo>
                  <a:pt x="5547479" y="433735"/>
                </a:lnTo>
                <a:lnTo>
                  <a:pt x="5547479" y="435683"/>
                </a:lnTo>
                <a:lnTo>
                  <a:pt x="5545742" y="438714"/>
                </a:lnTo>
                <a:lnTo>
                  <a:pt x="5542053" y="439579"/>
                </a:lnTo>
                <a:lnTo>
                  <a:pt x="5537278" y="438931"/>
                </a:lnTo>
                <a:lnTo>
                  <a:pt x="5534240" y="440013"/>
                </a:lnTo>
                <a:lnTo>
                  <a:pt x="5529790" y="440121"/>
                </a:lnTo>
                <a:lnTo>
                  <a:pt x="5527403" y="437848"/>
                </a:lnTo>
                <a:lnTo>
                  <a:pt x="5523822" y="438605"/>
                </a:lnTo>
                <a:lnTo>
                  <a:pt x="5522303" y="436767"/>
                </a:lnTo>
                <a:lnTo>
                  <a:pt x="5524473" y="433518"/>
                </a:lnTo>
                <a:lnTo>
                  <a:pt x="5528054" y="434060"/>
                </a:lnTo>
                <a:lnTo>
                  <a:pt x="5530442" y="432760"/>
                </a:lnTo>
                <a:lnTo>
                  <a:pt x="5532503" y="429944"/>
                </a:lnTo>
                <a:lnTo>
                  <a:pt x="5534348" y="430052"/>
                </a:lnTo>
                <a:lnTo>
                  <a:pt x="5535976" y="432218"/>
                </a:lnTo>
                <a:lnTo>
                  <a:pt x="5538363" y="432868"/>
                </a:lnTo>
                <a:lnTo>
                  <a:pt x="5539991" y="431892"/>
                </a:lnTo>
                <a:lnTo>
                  <a:pt x="5539232" y="429509"/>
                </a:lnTo>
                <a:lnTo>
                  <a:pt x="5541727" y="427129"/>
                </a:lnTo>
                <a:close/>
                <a:moveTo>
                  <a:pt x="2437067" y="415434"/>
                </a:moveTo>
                <a:lnTo>
                  <a:pt x="2444121" y="418467"/>
                </a:lnTo>
                <a:lnTo>
                  <a:pt x="2444880" y="423988"/>
                </a:lnTo>
                <a:lnTo>
                  <a:pt x="2441625" y="433299"/>
                </a:lnTo>
                <a:lnTo>
                  <a:pt x="2440539" y="436005"/>
                </a:lnTo>
                <a:lnTo>
                  <a:pt x="2441950" y="437738"/>
                </a:lnTo>
                <a:lnTo>
                  <a:pt x="2442818" y="441419"/>
                </a:lnTo>
                <a:lnTo>
                  <a:pt x="2440322" y="441527"/>
                </a:lnTo>
                <a:lnTo>
                  <a:pt x="2434788" y="439578"/>
                </a:lnTo>
                <a:lnTo>
                  <a:pt x="2434245" y="434923"/>
                </a:lnTo>
                <a:lnTo>
                  <a:pt x="2434897" y="426153"/>
                </a:lnTo>
                <a:lnTo>
                  <a:pt x="2433269" y="423879"/>
                </a:lnTo>
                <a:lnTo>
                  <a:pt x="2433160" y="418574"/>
                </a:lnTo>
                <a:lnTo>
                  <a:pt x="2432292" y="417383"/>
                </a:lnTo>
                <a:close/>
                <a:moveTo>
                  <a:pt x="2213631" y="411861"/>
                </a:moveTo>
                <a:lnTo>
                  <a:pt x="2216453" y="411970"/>
                </a:lnTo>
                <a:lnTo>
                  <a:pt x="2217429" y="414568"/>
                </a:lnTo>
                <a:lnTo>
                  <a:pt x="2213740" y="417167"/>
                </a:lnTo>
                <a:lnTo>
                  <a:pt x="2210158" y="417708"/>
                </a:lnTo>
                <a:lnTo>
                  <a:pt x="2204732" y="418249"/>
                </a:lnTo>
                <a:lnTo>
                  <a:pt x="2203430" y="420523"/>
                </a:lnTo>
                <a:lnTo>
                  <a:pt x="2198221" y="423988"/>
                </a:lnTo>
                <a:lnTo>
                  <a:pt x="2193447" y="421389"/>
                </a:lnTo>
                <a:lnTo>
                  <a:pt x="2189323" y="421174"/>
                </a:lnTo>
                <a:lnTo>
                  <a:pt x="2187369" y="422580"/>
                </a:lnTo>
                <a:lnTo>
                  <a:pt x="2185742" y="421389"/>
                </a:lnTo>
                <a:lnTo>
                  <a:pt x="2186284" y="419333"/>
                </a:lnTo>
                <a:lnTo>
                  <a:pt x="2189648" y="418142"/>
                </a:lnTo>
                <a:lnTo>
                  <a:pt x="2193230" y="417925"/>
                </a:lnTo>
                <a:lnTo>
                  <a:pt x="2198547" y="414568"/>
                </a:lnTo>
                <a:lnTo>
                  <a:pt x="2208422" y="412511"/>
                </a:lnTo>
                <a:lnTo>
                  <a:pt x="2210810" y="413053"/>
                </a:lnTo>
                <a:close/>
                <a:moveTo>
                  <a:pt x="1820366" y="410887"/>
                </a:moveTo>
                <a:lnTo>
                  <a:pt x="1833388" y="414784"/>
                </a:lnTo>
                <a:lnTo>
                  <a:pt x="1832086" y="419873"/>
                </a:lnTo>
                <a:lnTo>
                  <a:pt x="1835124" y="422363"/>
                </a:lnTo>
                <a:lnTo>
                  <a:pt x="1838271" y="427776"/>
                </a:lnTo>
                <a:lnTo>
                  <a:pt x="1850643" y="434382"/>
                </a:lnTo>
                <a:lnTo>
                  <a:pt x="1851402" y="437845"/>
                </a:lnTo>
                <a:lnTo>
                  <a:pt x="1848255" y="441202"/>
                </a:lnTo>
                <a:lnTo>
                  <a:pt x="1852053" y="440553"/>
                </a:lnTo>
                <a:lnTo>
                  <a:pt x="1856177" y="438495"/>
                </a:lnTo>
                <a:lnTo>
                  <a:pt x="1861060" y="441202"/>
                </a:lnTo>
                <a:lnTo>
                  <a:pt x="1859324" y="447482"/>
                </a:lnTo>
                <a:lnTo>
                  <a:pt x="1852813" y="454303"/>
                </a:lnTo>
                <a:lnTo>
                  <a:pt x="1853138" y="456794"/>
                </a:lnTo>
                <a:lnTo>
                  <a:pt x="1862470" y="450839"/>
                </a:lnTo>
                <a:lnTo>
                  <a:pt x="1862470" y="445424"/>
                </a:lnTo>
                <a:lnTo>
                  <a:pt x="1865835" y="442285"/>
                </a:lnTo>
                <a:lnTo>
                  <a:pt x="1872454" y="442935"/>
                </a:lnTo>
                <a:lnTo>
                  <a:pt x="1878640" y="440878"/>
                </a:lnTo>
                <a:lnTo>
                  <a:pt x="1881352" y="441960"/>
                </a:lnTo>
                <a:lnTo>
                  <a:pt x="1882763" y="446399"/>
                </a:lnTo>
                <a:lnTo>
                  <a:pt x="1891770" y="455710"/>
                </a:lnTo>
                <a:lnTo>
                  <a:pt x="1892747" y="467404"/>
                </a:lnTo>
                <a:lnTo>
                  <a:pt x="1890685" y="471843"/>
                </a:lnTo>
                <a:lnTo>
                  <a:pt x="1894157" y="479854"/>
                </a:lnTo>
                <a:lnTo>
                  <a:pt x="1893832" y="486676"/>
                </a:lnTo>
                <a:lnTo>
                  <a:pt x="1892096" y="489057"/>
                </a:lnTo>
                <a:lnTo>
                  <a:pt x="1894483" y="492198"/>
                </a:lnTo>
                <a:lnTo>
                  <a:pt x="1894483" y="497070"/>
                </a:lnTo>
                <a:lnTo>
                  <a:pt x="1895568" y="501509"/>
                </a:lnTo>
                <a:lnTo>
                  <a:pt x="1891444" y="507031"/>
                </a:lnTo>
                <a:lnTo>
                  <a:pt x="1882438" y="509088"/>
                </a:lnTo>
                <a:lnTo>
                  <a:pt x="1878965" y="511470"/>
                </a:lnTo>
                <a:lnTo>
                  <a:pt x="1868873" y="512661"/>
                </a:lnTo>
                <a:lnTo>
                  <a:pt x="1861711" y="512012"/>
                </a:lnTo>
                <a:lnTo>
                  <a:pt x="1848580" y="517858"/>
                </a:lnTo>
                <a:lnTo>
                  <a:pt x="1840116" y="518615"/>
                </a:lnTo>
                <a:lnTo>
                  <a:pt x="1829807" y="523379"/>
                </a:lnTo>
                <a:lnTo>
                  <a:pt x="1825683" y="523487"/>
                </a:lnTo>
                <a:lnTo>
                  <a:pt x="1820475" y="526953"/>
                </a:lnTo>
                <a:lnTo>
                  <a:pt x="1812228" y="527277"/>
                </a:lnTo>
                <a:lnTo>
                  <a:pt x="1808972" y="529551"/>
                </a:lnTo>
                <a:lnTo>
                  <a:pt x="1806476" y="526953"/>
                </a:lnTo>
                <a:lnTo>
                  <a:pt x="1803655" y="528360"/>
                </a:lnTo>
                <a:lnTo>
                  <a:pt x="1795516" y="530093"/>
                </a:lnTo>
                <a:lnTo>
                  <a:pt x="1793237" y="536264"/>
                </a:lnTo>
                <a:lnTo>
                  <a:pt x="1788896" y="540920"/>
                </a:lnTo>
                <a:lnTo>
                  <a:pt x="1786183" y="541136"/>
                </a:lnTo>
                <a:lnTo>
                  <a:pt x="1784447" y="547740"/>
                </a:lnTo>
                <a:lnTo>
                  <a:pt x="1778262" y="549148"/>
                </a:lnTo>
                <a:lnTo>
                  <a:pt x="1772945" y="554020"/>
                </a:lnTo>
                <a:lnTo>
                  <a:pt x="1766433" y="553479"/>
                </a:lnTo>
                <a:lnTo>
                  <a:pt x="1762310" y="547308"/>
                </a:lnTo>
                <a:lnTo>
                  <a:pt x="1759706" y="553262"/>
                </a:lnTo>
                <a:lnTo>
                  <a:pt x="1758946" y="558134"/>
                </a:lnTo>
                <a:lnTo>
                  <a:pt x="1753520" y="560191"/>
                </a:lnTo>
                <a:lnTo>
                  <a:pt x="1747443" y="566363"/>
                </a:lnTo>
                <a:lnTo>
                  <a:pt x="1746249" y="569936"/>
                </a:lnTo>
                <a:lnTo>
                  <a:pt x="1740715" y="575999"/>
                </a:lnTo>
                <a:lnTo>
                  <a:pt x="1741583" y="579248"/>
                </a:lnTo>
                <a:lnTo>
                  <a:pt x="1734638" y="585743"/>
                </a:lnTo>
                <a:lnTo>
                  <a:pt x="1730406" y="590724"/>
                </a:lnTo>
                <a:lnTo>
                  <a:pt x="1723352" y="590291"/>
                </a:lnTo>
                <a:lnTo>
                  <a:pt x="1717167" y="593323"/>
                </a:lnTo>
                <a:lnTo>
                  <a:pt x="1713151" y="593539"/>
                </a:lnTo>
                <a:lnTo>
                  <a:pt x="1710438" y="589209"/>
                </a:lnTo>
                <a:lnTo>
                  <a:pt x="1714020" y="586285"/>
                </a:lnTo>
                <a:lnTo>
                  <a:pt x="1713694" y="580438"/>
                </a:lnTo>
                <a:lnTo>
                  <a:pt x="1711090" y="577731"/>
                </a:lnTo>
                <a:lnTo>
                  <a:pt x="1707075" y="581305"/>
                </a:lnTo>
                <a:lnTo>
                  <a:pt x="1707292" y="583578"/>
                </a:lnTo>
                <a:lnTo>
                  <a:pt x="1704362" y="584878"/>
                </a:lnTo>
                <a:lnTo>
                  <a:pt x="1697308" y="591266"/>
                </a:lnTo>
                <a:lnTo>
                  <a:pt x="1691232" y="592781"/>
                </a:lnTo>
                <a:lnTo>
                  <a:pt x="1686999" y="592023"/>
                </a:lnTo>
                <a:lnTo>
                  <a:pt x="1682007" y="593431"/>
                </a:lnTo>
                <a:lnTo>
                  <a:pt x="1678209" y="597003"/>
                </a:lnTo>
                <a:lnTo>
                  <a:pt x="1675930" y="595921"/>
                </a:lnTo>
                <a:lnTo>
                  <a:pt x="1672132" y="596029"/>
                </a:lnTo>
                <a:lnTo>
                  <a:pt x="1672567" y="593756"/>
                </a:lnTo>
                <a:lnTo>
                  <a:pt x="1672567" y="584878"/>
                </a:lnTo>
                <a:lnTo>
                  <a:pt x="1676798" y="577190"/>
                </a:lnTo>
                <a:lnTo>
                  <a:pt x="1674736" y="571344"/>
                </a:lnTo>
                <a:lnTo>
                  <a:pt x="1676473" y="564847"/>
                </a:lnTo>
                <a:lnTo>
                  <a:pt x="1677124" y="559326"/>
                </a:lnTo>
                <a:lnTo>
                  <a:pt x="1673977" y="556620"/>
                </a:lnTo>
                <a:lnTo>
                  <a:pt x="1670179" y="543843"/>
                </a:lnTo>
                <a:lnTo>
                  <a:pt x="1675713" y="545575"/>
                </a:lnTo>
                <a:lnTo>
                  <a:pt x="1675713" y="541461"/>
                </a:lnTo>
                <a:lnTo>
                  <a:pt x="1667466" y="541461"/>
                </a:lnTo>
                <a:lnTo>
                  <a:pt x="1659544" y="538646"/>
                </a:lnTo>
                <a:lnTo>
                  <a:pt x="1659219" y="534532"/>
                </a:lnTo>
                <a:lnTo>
                  <a:pt x="1663017" y="535939"/>
                </a:lnTo>
                <a:lnTo>
                  <a:pt x="1667792" y="532150"/>
                </a:lnTo>
                <a:lnTo>
                  <a:pt x="1673977" y="529010"/>
                </a:lnTo>
                <a:lnTo>
                  <a:pt x="1674736" y="525220"/>
                </a:lnTo>
                <a:lnTo>
                  <a:pt x="1677450" y="525220"/>
                </a:lnTo>
                <a:lnTo>
                  <a:pt x="1681247" y="520781"/>
                </a:lnTo>
                <a:lnTo>
                  <a:pt x="1685372" y="520132"/>
                </a:lnTo>
                <a:lnTo>
                  <a:pt x="1687759" y="513202"/>
                </a:lnTo>
                <a:lnTo>
                  <a:pt x="1696766" y="511144"/>
                </a:lnTo>
                <a:lnTo>
                  <a:pt x="1697525" y="509088"/>
                </a:lnTo>
                <a:lnTo>
                  <a:pt x="1700564" y="507681"/>
                </a:lnTo>
                <a:lnTo>
                  <a:pt x="1704687" y="501509"/>
                </a:lnTo>
                <a:lnTo>
                  <a:pt x="1705447" y="493605"/>
                </a:lnTo>
                <a:lnTo>
                  <a:pt x="1706749" y="496312"/>
                </a:lnTo>
                <a:lnTo>
                  <a:pt x="1719879" y="498044"/>
                </a:lnTo>
                <a:lnTo>
                  <a:pt x="1720206" y="491548"/>
                </a:lnTo>
                <a:lnTo>
                  <a:pt x="1717493" y="484618"/>
                </a:lnTo>
                <a:lnTo>
                  <a:pt x="1717818" y="481154"/>
                </a:lnTo>
                <a:lnTo>
                  <a:pt x="1722701" y="479422"/>
                </a:lnTo>
                <a:lnTo>
                  <a:pt x="1733336" y="471518"/>
                </a:lnTo>
                <a:lnTo>
                  <a:pt x="1737894" y="465022"/>
                </a:lnTo>
                <a:lnTo>
                  <a:pt x="1747551" y="461557"/>
                </a:lnTo>
                <a:lnTo>
                  <a:pt x="1749613" y="457118"/>
                </a:lnTo>
                <a:lnTo>
                  <a:pt x="1755799" y="450839"/>
                </a:lnTo>
                <a:lnTo>
                  <a:pt x="1761333" y="450839"/>
                </a:lnTo>
                <a:lnTo>
                  <a:pt x="1764372" y="447157"/>
                </a:lnTo>
                <a:lnTo>
                  <a:pt x="1761007" y="442610"/>
                </a:lnTo>
                <a:lnTo>
                  <a:pt x="1762310" y="432974"/>
                </a:lnTo>
                <a:lnTo>
                  <a:pt x="1762310" y="426478"/>
                </a:lnTo>
                <a:lnTo>
                  <a:pt x="1764805" y="421930"/>
                </a:lnTo>
                <a:lnTo>
                  <a:pt x="1762744" y="419548"/>
                </a:lnTo>
                <a:lnTo>
                  <a:pt x="1764372" y="415759"/>
                </a:lnTo>
                <a:lnTo>
                  <a:pt x="1771642" y="413702"/>
                </a:lnTo>
                <a:lnTo>
                  <a:pt x="1775440" y="414784"/>
                </a:lnTo>
                <a:lnTo>
                  <a:pt x="1789981" y="413702"/>
                </a:lnTo>
                <a:lnTo>
                  <a:pt x="1793346" y="415434"/>
                </a:lnTo>
                <a:lnTo>
                  <a:pt x="1809298" y="415434"/>
                </a:lnTo>
                <a:close/>
                <a:moveTo>
                  <a:pt x="5499407" y="407425"/>
                </a:moveTo>
                <a:lnTo>
                  <a:pt x="5502553" y="409697"/>
                </a:lnTo>
                <a:lnTo>
                  <a:pt x="5502988" y="412188"/>
                </a:lnTo>
                <a:lnTo>
                  <a:pt x="5497995" y="414029"/>
                </a:lnTo>
                <a:lnTo>
                  <a:pt x="5493546" y="414462"/>
                </a:lnTo>
                <a:lnTo>
                  <a:pt x="5492244" y="412405"/>
                </a:lnTo>
                <a:lnTo>
                  <a:pt x="5497345" y="410564"/>
                </a:lnTo>
                <a:close/>
                <a:moveTo>
                  <a:pt x="2190843" y="403524"/>
                </a:moveTo>
                <a:lnTo>
                  <a:pt x="2196702" y="403957"/>
                </a:lnTo>
                <a:lnTo>
                  <a:pt x="2198330" y="405906"/>
                </a:lnTo>
                <a:lnTo>
                  <a:pt x="2202888" y="404716"/>
                </a:lnTo>
                <a:lnTo>
                  <a:pt x="2213522" y="403524"/>
                </a:lnTo>
                <a:lnTo>
                  <a:pt x="2216886" y="404390"/>
                </a:lnTo>
                <a:lnTo>
                  <a:pt x="2216778" y="407531"/>
                </a:lnTo>
                <a:lnTo>
                  <a:pt x="2212437" y="408180"/>
                </a:lnTo>
                <a:lnTo>
                  <a:pt x="2209181" y="409696"/>
                </a:lnTo>
                <a:lnTo>
                  <a:pt x="2207445" y="408288"/>
                </a:lnTo>
                <a:lnTo>
                  <a:pt x="2203213" y="408288"/>
                </a:lnTo>
                <a:lnTo>
                  <a:pt x="2198981" y="410345"/>
                </a:lnTo>
                <a:lnTo>
                  <a:pt x="2188021" y="407206"/>
                </a:lnTo>
                <a:lnTo>
                  <a:pt x="2187153" y="404932"/>
                </a:lnTo>
                <a:close/>
                <a:moveTo>
                  <a:pt x="5520025" y="402010"/>
                </a:moveTo>
                <a:lnTo>
                  <a:pt x="5522846" y="402010"/>
                </a:lnTo>
                <a:lnTo>
                  <a:pt x="5522521" y="407316"/>
                </a:lnTo>
                <a:lnTo>
                  <a:pt x="5524258" y="408723"/>
                </a:lnTo>
                <a:lnTo>
                  <a:pt x="5523823" y="412405"/>
                </a:lnTo>
                <a:lnTo>
                  <a:pt x="5521761" y="414786"/>
                </a:lnTo>
                <a:lnTo>
                  <a:pt x="5520568" y="410348"/>
                </a:lnTo>
                <a:lnTo>
                  <a:pt x="5518832" y="408940"/>
                </a:lnTo>
                <a:lnTo>
                  <a:pt x="5515901" y="411647"/>
                </a:lnTo>
                <a:lnTo>
                  <a:pt x="5513297" y="412620"/>
                </a:lnTo>
                <a:lnTo>
                  <a:pt x="5512537" y="410889"/>
                </a:lnTo>
                <a:lnTo>
                  <a:pt x="5516444" y="407857"/>
                </a:lnTo>
                <a:lnTo>
                  <a:pt x="5517746" y="404176"/>
                </a:lnTo>
                <a:close/>
                <a:moveTo>
                  <a:pt x="2681446" y="397678"/>
                </a:moveTo>
                <a:lnTo>
                  <a:pt x="2683833" y="401684"/>
                </a:lnTo>
                <a:lnTo>
                  <a:pt x="2679493" y="401900"/>
                </a:lnTo>
                <a:lnTo>
                  <a:pt x="2677648" y="398870"/>
                </a:lnTo>
                <a:close/>
                <a:moveTo>
                  <a:pt x="4175502" y="395513"/>
                </a:moveTo>
                <a:lnTo>
                  <a:pt x="4177238" y="396271"/>
                </a:lnTo>
                <a:lnTo>
                  <a:pt x="4181688" y="402334"/>
                </a:lnTo>
                <a:lnTo>
                  <a:pt x="4182664" y="407855"/>
                </a:lnTo>
                <a:lnTo>
                  <a:pt x="4184943" y="409480"/>
                </a:lnTo>
                <a:lnTo>
                  <a:pt x="4187005" y="405799"/>
                </a:lnTo>
                <a:lnTo>
                  <a:pt x="4190369" y="403634"/>
                </a:lnTo>
                <a:lnTo>
                  <a:pt x="4194058" y="406232"/>
                </a:lnTo>
                <a:lnTo>
                  <a:pt x="4198725" y="412945"/>
                </a:lnTo>
                <a:lnTo>
                  <a:pt x="4200678" y="418250"/>
                </a:lnTo>
                <a:lnTo>
                  <a:pt x="4200895" y="423556"/>
                </a:lnTo>
                <a:lnTo>
                  <a:pt x="4199050" y="426045"/>
                </a:lnTo>
                <a:lnTo>
                  <a:pt x="4198833" y="436223"/>
                </a:lnTo>
                <a:lnTo>
                  <a:pt x="4198942" y="442179"/>
                </a:lnTo>
                <a:lnTo>
                  <a:pt x="4198616" y="444560"/>
                </a:lnTo>
                <a:lnTo>
                  <a:pt x="4200244" y="445426"/>
                </a:lnTo>
                <a:lnTo>
                  <a:pt x="4203283" y="442611"/>
                </a:lnTo>
                <a:lnTo>
                  <a:pt x="4203174" y="436764"/>
                </a:lnTo>
                <a:lnTo>
                  <a:pt x="4202306" y="427996"/>
                </a:lnTo>
                <a:lnTo>
                  <a:pt x="4203499" y="423664"/>
                </a:lnTo>
                <a:lnTo>
                  <a:pt x="4206647" y="421281"/>
                </a:lnTo>
                <a:lnTo>
                  <a:pt x="4212615" y="426370"/>
                </a:lnTo>
                <a:lnTo>
                  <a:pt x="4216196" y="435248"/>
                </a:lnTo>
                <a:lnTo>
                  <a:pt x="4219235" y="446076"/>
                </a:lnTo>
                <a:lnTo>
                  <a:pt x="4219343" y="449215"/>
                </a:lnTo>
                <a:lnTo>
                  <a:pt x="4222164" y="452356"/>
                </a:lnTo>
                <a:lnTo>
                  <a:pt x="4227047" y="452680"/>
                </a:lnTo>
                <a:lnTo>
                  <a:pt x="4229435" y="453872"/>
                </a:lnTo>
                <a:lnTo>
                  <a:pt x="4235078" y="460583"/>
                </a:lnTo>
                <a:lnTo>
                  <a:pt x="4237900" y="462966"/>
                </a:lnTo>
                <a:lnTo>
                  <a:pt x="4244085" y="469462"/>
                </a:lnTo>
                <a:lnTo>
                  <a:pt x="4249185" y="472277"/>
                </a:lnTo>
                <a:lnTo>
                  <a:pt x="4259494" y="474876"/>
                </a:lnTo>
                <a:lnTo>
                  <a:pt x="4262858" y="475850"/>
                </a:lnTo>
                <a:lnTo>
                  <a:pt x="4263075" y="481264"/>
                </a:lnTo>
                <a:lnTo>
                  <a:pt x="4261556" y="483862"/>
                </a:lnTo>
                <a:lnTo>
                  <a:pt x="4260796" y="487003"/>
                </a:lnTo>
                <a:lnTo>
                  <a:pt x="4258843" y="487544"/>
                </a:lnTo>
                <a:lnTo>
                  <a:pt x="4256238" y="483104"/>
                </a:lnTo>
                <a:lnTo>
                  <a:pt x="4251464" y="485270"/>
                </a:lnTo>
                <a:lnTo>
                  <a:pt x="4248100" y="484729"/>
                </a:lnTo>
                <a:lnTo>
                  <a:pt x="4241589" y="489925"/>
                </a:lnTo>
                <a:lnTo>
                  <a:pt x="4237032" y="490250"/>
                </a:lnTo>
                <a:lnTo>
                  <a:pt x="4236272" y="491983"/>
                </a:lnTo>
                <a:lnTo>
                  <a:pt x="4237791" y="494582"/>
                </a:lnTo>
                <a:lnTo>
                  <a:pt x="4237574" y="497287"/>
                </a:lnTo>
                <a:lnTo>
                  <a:pt x="4232365" y="501727"/>
                </a:lnTo>
                <a:lnTo>
                  <a:pt x="4231497" y="504217"/>
                </a:lnTo>
                <a:lnTo>
                  <a:pt x="4232799" y="509955"/>
                </a:lnTo>
                <a:lnTo>
                  <a:pt x="4233016" y="518619"/>
                </a:lnTo>
                <a:lnTo>
                  <a:pt x="4232040" y="522406"/>
                </a:lnTo>
                <a:lnTo>
                  <a:pt x="4232473" y="527820"/>
                </a:lnTo>
                <a:lnTo>
                  <a:pt x="4233559" y="529661"/>
                </a:lnTo>
                <a:lnTo>
                  <a:pt x="4231388" y="533125"/>
                </a:lnTo>
                <a:lnTo>
                  <a:pt x="4227047" y="531285"/>
                </a:lnTo>
                <a:lnTo>
                  <a:pt x="4225202" y="532584"/>
                </a:lnTo>
                <a:lnTo>
                  <a:pt x="4224769" y="537673"/>
                </a:lnTo>
                <a:lnTo>
                  <a:pt x="4228133" y="543520"/>
                </a:lnTo>
                <a:lnTo>
                  <a:pt x="4228133" y="548608"/>
                </a:lnTo>
                <a:lnTo>
                  <a:pt x="4226722" y="553805"/>
                </a:lnTo>
                <a:lnTo>
                  <a:pt x="4226831" y="560085"/>
                </a:lnTo>
                <a:lnTo>
                  <a:pt x="4226397" y="564740"/>
                </a:lnTo>
                <a:lnTo>
                  <a:pt x="4224552" y="564849"/>
                </a:lnTo>
                <a:lnTo>
                  <a:pt x="4219560" y="564307"/>
                </a:lnTo>
                <a:lnTo>
                  <a:pt x="4215654" y="567664"/>
                </a:lnTo>
                <a:lnTo>
                  <a:pt x="4219994" y="569830"/>
                </a:lnTo>
                <a:lnTo>
                  <a:pt x="4219235" y="571670"/>
                </a:lnTo>
                <a:lnTo>
                  <a:pt x="4216196" y="574701"/>
                </a:lnTo>
                <a:lnTo>
                  <a:pt x="4216196" y="578167"/>
                </a:lnTo>
                <a:lnTo>
                  <a:pt x="4215545" y="582173"/>
                </a:lnTo>
                <a:lnTo>
                  <a:pt x="4215111" y="597006"/>
                </a:lnTo>
                <a:lnTo>
                  <a:pt x="4213266" y="600903"/>
                </a:lnTo>
                <a:lnTo>
                  <a:pt x="4211095" y="603826"/>
                </a:lnTo>
                <a:lnTo>
                  <a:pt x="4211747" y="609240"/>
                </a:lnTo>
                <a:lnTo>
                  <a:pt x="4213808" y="615303"/>
                </a:lnTo>
                <a:lnTo>
                  <a:pt x="4213808" y="618335"/>
                </a:lnTo>
                <a:lnTo>
                  <a:pt x="4212615" y="619526"/>
                </a:lnTo>
                <a:lnTo>
                  <a:pt x="4211964" y="624614"/>
                </a:lnTo>
                <a:lnTo>
                  <a:pt x="4209034" y="628837"/>
                </a:lnTo>
                <a:lnTo>
                  <a:pt x="4205344" y="629487"/>
                </a:lnTo>
                <a:lnTo>
                  <a:pt x="4202740" y="626671"/>
                </a:lnTo>
                <a:lnTo>
                  <a:pt x="4200895" y="627322"/>
                </a:lnTo>
                <a:lnTo>
                  <a:pt x="4199593" y="629487"/>
                </a:lnTo>
                <a:lnTo>
                  <a:pt x="4197965" y="629811"/>
                </a:lnTo>
                <a:lnTo>
                  <a:pt x="4197206" y="626346"/>
                </a:lnTo>
                <a:lnTo>
                  <a:pt x="4197640" y="620175"/>
                </a:lnTo>
                <a:lnTo>
                  <a:pt x="4196012" y="617793"/>
                </a:lnTo>
                <a:lnTo>
                  <a:pt x="4193625" y="616602"/>
                </a:lnTo>
                <a:lnTo>
                  <a:pt x="4186245" y="609348"/>
                </a:lnTo>
                <a:lnTo>
                  <a:pt x="4186245" y="606966"/>
                </a:lnTo>
                <a:lnTo>
                  <a:pt x="4190369" y="603611"/>
                </a:lnTo>
                <a:lnTo>
                  <a:pt x="4192431" y="603502"/>
                </a:lnTo>
                <a:lnTo>
                  <a:pt x="4194167" y="601553"/>
                </a:lnTo>
                <a:lnTo>
                  <a:pt x="4194602" y="598630"/>
                </a:lnTo>
                <a:lnTo>
                  <a:pt x="4193082" y="597655"/>
                </a:lnTo>
                <a:lnTo>
                  <a:pt x="4190477" y="597980"/>
                </a:lnTo>
                <a:lnTo>
                  <a:pt x="4188959" y="596032"/>
                </a:lnTo>
                <a:lnTo>
                  <a:pt x="4187114" y="596032"/>
                </a:lnTo>
                <a:lnTo>
                  <a:pt x="4185377" y="599495"/>
                </a:lnTo>
                <a:lnTo>
                  <a:pt x="4180386" y="601228"/>
                </a:lnTo>
                <a:lnTo>
                  <a:pt x="4175177" y="597114"/>
                </a:lnTo>
                <a:lnTo>
                  <a:pt x="4175068" y="593649"/>
                </a:lnTo>
                <a:lnTo>
                  <a:pt x="4173332" y="592999"/>
                </a:lnTo>
                <a:lnTo>
                  <a:pt x="4170727" y="589860"/>
                </a:lnTo>
                <a:lnTo>
                  <a:pt x="4167798" y="589101"/>
                </a:lnTo>
                <a:lnTo>
                  <a:pt x="4166604" y="589209"/>
                </a:lnTo>
                <a:lnTo>
                  <a:pt x="4164325" y="586612"/>
                </a:lnTo>
                <a:lnTo>
                  <a:pt x="4164108" y="584338"/>
                </a:lnTo>
                <a:lnTo>
                  <a:pt x="4161395" y="581631"/>
                </a:lnTo>
                <a:lnTo>
                  <a:pt x="4159768" y="581848"/>
                </a:lnTo>
                <a:lnTo>
                  <a:pt x="4159008" y="580441"/>
                </a:lnTo>
                <a:lnTo>
                  <a:pt x="4158682" y="577408"/>
                </a:lnTo>
                <a:lnTo>
                  <a:pt x="4155319" y="575351"/>
                </a:lnTo>
                <a:lnTo>
                  <a:pt x="4154775" y="573619"/>
                </a:lnTo>
                <a:lnTo>
                  <a:pt x="4154884" y="571670"/>
                </a:lnTo>
                <a:lnTo>
                  <a:pt x="4153907" y="571128"/>
                </a:lnTo>
                <a:lnTo>
                  <a:pt x="4154993" y="568206"/>
                </a:lnTo>
                <a:lnTo>
                  <a:pt x="4154884" y="565823"/>
                </a:lnTo>
                <a:lnTo>
                  <a:pt x="4152388" y="563008"/>
                </a:lnTo>
                <a:lnTo>
                  <a:pt x="4152497" y="561601"/>
                </a:lnTo>
                <a:lnTo>
                  <a:pt x="4158140" y="557812"/>
                </a:lnTo>
                <a:lnTo>
                  <a:pt x="4160527" y="558028"/>
                </a:lnTo>
                <a:lnTo>
                  <a:pt x="4163131" y="561817"/>
                </a:lnTo>
                <a:lnTo>
                  <a:pt x="4165085" y="563550"/>
                </a:lnTo>
                <a:lnTo>
                  <a:pt x="4166279" y="563550"/>
                </a:lnTo>
                <a:lnTo>
                  <a:pt x="4167580" y="561492"/>
                </a:lnTo>
                <a:lnTo>
                  <a:pt x="4171704" y="562575"/>
                </a:lnTo>
                <a:lnTo>
                  <a:pt x="4173875" y="563767"/>
                </a:lnTo>
                <a:lnTo>
                  <a:pt x="4177456" y="563116"/>
                </a:lnTo>
                <a:lnTo>
                  <a:pt x="4185594" y="562575"/>
                </a:lnTo>
                <a:lnTo>
                  <a:pt x="4185920" y="560301"/>
                </a:lnTo>
                <a:lnTo>
                  <a:pt x="4181471" y="557162"/>
                </a:lnTo>
                <a:lnTo>
                  <a:pt x="4177673" y="557487"/>
                </a:lnTo>
                <a:lnTo>
                  <a:pt x="4171379" y="556404"/>
                </a:lnTo>
                <a:lnTo>
                  <a:pt x="4167038" y="554563"/>
                </a:lnTo>
                <a:lnTo>
                  <a:pt x="4167038" y="553047"/>
                </a:lnTo>
                <a:lnTo>
                  <a:pt x="4170836" y="552073"/>
                </a:lnTo>
                <a:lnTo>
                  <a:pt x="4174200" y="551966"/>
                </a:lnTo>
                <a:lnTo>
                  <a:pt x="4181796" y="548608"/>
                </a:lnTo>
                <a:lnTo>
                  <a:pt x="4185703" y="546119"/>
                </a:lnTo>
                <a:lnTo>
                  <a:pt x="4191889" y="546551"/>
                </a:lnTo>
                <a:lnTo>
                  <a:pt x="4194927" y="545035"/>
                </a:lnTo>
                <a:lnTo>
                  <a:pt x="4196771" y="544927"/>
                </a:lnTo>
                <a:lnTo>
                  <a:pt x="4197748" y="545793"/>
                </a:lnTo>
                <a:lnTo>
                  <a:pt x="4198291" y="542545"/>
                </a:lnTo>
                <a:lnTo>
                  <a:pt x="4200678" y="540704"/>
                </a:lnTo>
                <a:lnTo>
                  <a:pt x="4200786" y="538323"/>
                </a:lnTo>
                <a:lnTo>
                  <a:pt x="4198725" y="537565"/>
                </a:lnTo>
                <a:lnTo>
                  <a:pt x="4195252" y="539947"/>
                </a:lnTo>
                <a:lnTo>
                  <a:pt x="4192865" y="542220"/>
                </a:lnTo>
                <a:lnTo>
                  <a:pt x="4183532" y="542220"/>
                </a:lnTo>
                <a:lnTo>
                  <a:pt x="4181037" y="542436"/>
                </a:lnTo>
                <a:lnTo>
                  <a:pt x="4180060" y="541030"/>
                </a:lnTo>
                <a:lnTo>
                  <a:pt x="4176153" y="541030"/>
                </a:lnTo>
                <a:lnTo>
                  <a:pt x="4174525" y="542327"/>
                </a:lnTo>
                <a:lnTo>
                  <a:pt x="4173224" y="542653"/>
                </a:lnTo>
                <a:lnTo>
                  <a:pt x="4169859" y="546984"/>
                </a:lnTo>
                <a:lnTo>
                  <a:pt x="4166061" y="547634"/>
                </a:lnTo>
                <a:lnTo>
                  <a:pt x="4163240" y="547201"/>
                </a:lnTo>
                <a:lnTo>
                  <a:pt x="4161070" y="548608"/>
                </a:lnTo>
                <a:lnTo>
                  <a:pt x="4156187" y="549149"/>
                </a:lnTo>
                <a:lnTo>
                  <a:pt x="4152714" y="551099"/>
                </a:lnTo>
                <a:lnTo>
                  <a:pt x="4149350" y="551207"/>
                </a:lnTo>
                <a:lnTo>
                  <a:pt x="4147939" y="550016"/>
                </a:lnTo>
                <a:lnTo>
                  <a:pt x="4147614" y="543737"/>
                </a:lnTo>
                <a:lnTo>
                  <a:pt x="4146202" y="536807"/>
                </a:lnTo>
                <a:lnTo>
                  <a:pt x="4146854" y="534749"/>
                </a:lnTo>
                <a:lnTo>
                  <a:pt x="4147071" y="532584"/>
                </a:lnTo>
                <a:lnTo>
                  <a:pt x="4149784" y="531068"/>
                </a:lnTo>
                <a:lnTo>
                  <a:pt x="4152931" y="529553"/>
                </a:lnTo>
                <a:lnTo>
                  <a:pt x="4154450" y="531177"/>
                </a:lnTo>
                <a:lnTo>
                  <a:pt x="4155427" y="534209"/>
                </a:lnTo>
                <a:lnTo>
                  <a:pt x="4157055" y="533884"/>
                </a:lnTo>
                <a:lnTo>
                  <a:pt x="4158140" y="529986"/>
                </a:lnTo>
                <a:lnTo>
                  <a:pt x="4162154" y="527604"/>
                </a:lnTo>
                <a:lnTo>
                  <a:pt x="4164216" y="528254"/>
                </a:lnTo>
                <a:lnTo>
                  <a:pt x="4167038" y="524464"/>
                </a:lnTo>
                <a:lnTo>
                  <a:pt x="4171053" y="520024"/>
                </a:lnTo>
                <a:lnTo>
                  <a:pt x="4175502" y="518292"/>
                </a:lnTo>
                <a:lnTo>
                  <a:pt x="4174852" y="515369"/>
                </a:lnTo>
                <a:lnTo>
                  <a:pt x="4176262" y="513095"/>
                </a:lnTo>
                <a:lnTo>
                  <a:pt x="4182339" y="510606"/>
                </a:lnTo>
                <a:lnTo>
                  <a:pt x="4189827" y="510172"/>
                </a:lnTo>
                <a:lnTo>
                  <a:pt x="4193625" y="506816"/>
                </a:lnTo>
                <a:lnTo>
                  <a:pt x="4197748" y="505300"/>
                </a:lnTo>
                <a:lnTo>
                  <a:pt x="4200244" y="502918"/>
                </a:lnTo>
                <a:lnTo>
                  <a:pt x="4200353" y="500753"/>
                </a:lnTo>
                <a:lnTo>
                  <a:pt x="4197748" y="500753"/>
                </a:lnTo>
                <a:lnTo>
                  <a:pt x="4194384" y="504108"/>
                </a:lnTo>
                <a:lnTo>
                  <a:pt x="4190586" y="504867"/>
                </a:lnTo>
                <a:lnTo>
                  <a:pt x="4187222" y="503135"/>
                </a:lnTo>
                <a:lnTo>
                  <a:pt x="4187331" y="499778"/>
                </a:lnTo>
                <a:lnTo>
                  <a:pt x="4189501" y="495123"/>
                </a:lnTo>
                <a:lnTo>
                  <a:pt x="4189827" y="489708"/>
                </a:lnTo>
                <a:lnTo>
                  <a:pt x="4187765" y="486353"/>
                </a:lnTo>
                <a:lnTo>
                  <a:pt x="4185594" y="486244"/>
                </a:lnTo>
                <a:lnTo>
                  <a:pt x="4184292" y="488734"/>
                </a:lnTo>
                <a:lnTo>
                  <a:pt x="4184401" y="493931"/>
                </a:lnTo>
                <a:lnTo>
                  <a:pt x="4182990" y="498371"/>
                </a:lnTo>
                <a:lnTo>
                  <a:pt x="4176262" y="505191"/>
                </a:lnTo>
                <a:lnTo>
                  <a:pt x="4172464" y="506165"/>
                </a:lnTo>
                <a:lnTo>
                  <a:pt x="4170402" y="504867"/>
                </a:lnTo>
                <a:lnTo>
                  <a:pt x="4169317" y="498587"/>
                </a:lnTo>
                <a:lnTo>
                  <a:pt x="4169968" y="496422"/>
                </a:lnTo>
                <a:lnTo>
                  <a:pt x="4172572" y="493390"/>
                </a:lnTo>
                <a:lnTo>
                  <a:pt x="4172572" y="490575"/>
                </a:lnTo>
                <a:lnTo>
                  <a:pt x="4171053" y="488193"/>
                </a:lnTo>
                <a:lnTo>
                  <a:pt x="4170402" y="482347"/>
                </a:lnTo>
                <a:lnTo>
                  <a:pt x="4168883" y="479639"/>
                </a:lnTo>
                <a:lnTo>
                  <a:pt x="4167472" y="479748"/>
                </a:lnTo>
                <a:lnTo>
                  <a:pt x="4165627" y="482780"/>
                </a:lnTo>
                <a:lnTo>
                  <a:pt x="4166604" y="490142"/>
                </a:lnTo>
                <a:lnTo>
                  <a:pt x="4165844" y="493498"/>
                </a:lnTo>
                <a:lnTo>
                  <a:pt x="4163023" y="496314"/>
                </a:lnTo>
                <a:lnTo>
                  <a:pt x="4162372" y="493931"/>
                </a:lnTo>
                <a:lnTo>
                  <a:pt x="4162914" y="492199"/>
                </a:lnTo>
                <a:lnTo>
                  <a:pt x="4160745" y="488085"/>
                </a:lnTo>
                <a:lnTo>
                  <a:pt x="4158357" y="487003"/>
                </a:lnTo>
                <a:lnTo>
                  <a:pt x="4156512" y="488085"/>
                </a:lnTo>
                <a:lnTo>
                  <a:pt x="4156403" y="491333"/>
                </a:lnTo>
                <a:lnTo>
                  <a:pt x="4157380" y="494582"/>
                </a:lnTo>
                <a:lnTo>
                  <a:pt x="4157380" y="499669"/>
                </a:lnTo>
                <a:lnTo>
                  <a:pt x="4159659" y="503784"/>
                </a:lnTo>
                <a:lnTo>
                  <a:pt x="4161721" y="508549"/>
                </a:lnTo>
                <a:lnTo>
                  <a:pt x="4161829" y="511472"/>
                </a:lnTo>
                <a:lnTo>
                  <a:pt x="4158465" y="511147"/>
                </a:lnTo>
                <a:lnTo>
                  <a:pt x="4155644" y="512229"/>
                </a:lnTo>
                <a:lnTo>
                  <a:pt x="4153582" y="517535"/>
                </a:lnTo>
                <a:lnTo>
                  <a:pt x="4153474" y="520783"/>
                </a:lnTo>
                <a:lnTo>
                  <a:pt x="4150327" y="523273"/>
                </a:lnTo>
                <a:lnTo>
                  <a:pt x="4141645" y="524030"/>
                </a:lnTo>
                <a:lnTo>
                  <a:pt x="4136762" y="523490"/>
                </a:lnTo>
                <a:lnTo>
                  <a:pt x="4137413" y="521324"/>
                </a:lnTo>
                <a:lnTo>
                  <a:pt x="4138824" y="519266"/>
                </a:lnTo>
                <a:lnTo>
                  <a:pt x="4136870" y="515694"/>
                </a:lnTo>
                <a:lnTo>
                  <a:pt x="4131336" y="510280"/>
                </a:lnTo>
                <a:lnTo>
                  <a:pt x="4127755" y="509198"/>
                </a:lnTo>
                <a:lnTo>
                  <a:pt x="4126561" y="509740"/>
                </a:lnTo>
                <a:lnTo>
                  <a:pt x="4124066" y="505191"/>
                </a:lnTo>
                <a:lnTo>
                  <a:pt x="4123523" y="501186"/>
                </a:lnTo>
                <a:lnTo>
                  <a:pt x="4128949" y="500969"/>
                </a:lnTo>
                <a:lnTo>
                  <a:pt x="4131662" y="499021"/>
                </a:lnTo>
                <a:lnTo>
                  <a:pt x="4130685" y="497612"/>
                </a:lnTo>
                <a:lnTo>
                  <a:pt x="4127104" y="497287"/>
                </a:lnTo>
                <a:lnTo>
                  <a:pt x="4124825" y="497938"/>
                </a:lnTo>
                <a:lnTo>
                  <a:pt x="4121461" y="496314"/>
                </a:lnTo>
                <a:lnTo>
                  <a:pt x="4120268" y="493390"/>
                </a:lnTo>
                <a:lnTo>
                  <a:pt x="4117555" y="491333"/>
                </a:lnTo>
                <a:lnTo>
                  <a:pt x="4113431" y="489275"/>
                </a:lnTo>
                <a:lnTo>
                  <a:pt x="4110935" y="486244"/>
                </a:lnTo>
                <a:lnTo>
                  <a:pt x="4112997" y="483971"/>
                </a:lnTo>
                <a:lnTo>
                  <a:pt x="4112889" y="482780"/>
                </a:lnTo>
                <a:lnTo>
                  <a:pt x="4110392" y="480289"/>
                </a:lnTo>
                <a:lnTo>
                  <a:pt x="4107137" y="478665"/>
                </a:lnTo>
                <a:lnTo>
                  <a:pt x="4104098" y="474442"/>
                </a:lnTo>
                <a:lnTo>
                  <a:pt x="4104424" y="471303"/>
                </a:lnTo>
                <a:lnTo>
                  <a:pt x="4106052" y="470653"/>
                </a:lnTo>
                <a:lnTo>
                  <a:pt x="4111804" y="475309"/>
                </a:lnTo>
                <a:lnTo>
                  <a:pt x="4113431" y="477474"/>
                </a:lnTo>
                <a:lnTo>
                  <a:pt x="4113539" y="479098"/>
                </a:lnTo>
                <a:lnTo>
                  <a:pt x="4115493" y="479098"/>
                </a:lnTo>
                <a:lnTo>
                  <a:pt x="4119074" y="476392"/>
                </a:lnTo>
                <a:lnTo>
                  <a:pt x="4119399" y="472493"/>
                </a:lnTo>
                <a:lnTo>
                  <a:pt x="4118097" y="471518"/>
                </a:lnTo>
                <a:lnTo>
                  <a:pt x="4115058" y="471953"/>
                </a:lnTo>
                <a:lnTo>
                  <a:pt x="4112997" y="470653"/>
                </a:lnTo>
                <a:lnTo>
                  <a:pt x="4112997" y="469246"/>
                </a:lnTo>
                <a:lnTo>
                  <a:pt x="4108873" y="465782"/>
                </a:lnTo>
                <a:lnTo>
                  <a:pt x="4108765" y="462533"/>
                </a:lnTo>
                <a:lnTo>
                  <a:pt x="4109633" y="461775"/>
                </a:lnTo>
                <a:lnTo>
                  <a:pt x="4111369" y="455712"/>
                </a:lnTo>
                <a:lnTo>
                  <a:pt x="4113648" y="451056"/>
                </a:lnTo>
                <a:lnTo>
                  <a:pt x="4112563" y="450190"/>
                </a:lnTo>
                <a:lnTo>
                  <a:pt x="4109416" y="451922"/>
                </a:lnTo>
                <a:lnTo>
                  <a:pt x="4106703" y="449433"/>
                </a:lnTo>
                <a:lnTo>
                  <a:pt x="4104858" y="449757"/>
                </a:lnTo>
                <a:lnTo>
                  <a:pt x="4104207" y="454737"/>
                </a:lnTo>
                <a:lnTo>
                  <a:pt x="4104858" y="458960"/>
                </a:lnTo>
                <a:lnTo>
                  <a:pt x="4102579" y="462100"/>
                </a:lnTo>
                <a:lnTo>
                  <a:pt x="4099541" y="463615"/>
                </a:lnTo>
                <a:lnTo>
                  <a:pt x="4098998" y="459392"/>
                </a:lnTo>
                <a:lnTo>
                  <a:pt x="4094224" y="452356"/>
                </a:lnTo>
                <a:lnTo>
                  <a:pt x="4093681" y="447158"/>
                </a:lnTo>
                <a:lnTo>
                  <a:pt x="4092162" y="441203"/>
                </a:lnTo>
                <a:lnTo>
                  <a:pt x="4092162" y="437198"/>
                </a:lnTo>
                <a:lnTo>
                  <a:pt x="4094983" y="436547"/>
                </a:lnTo>
                <a:lnTo>
                  <a:pt x="4098673" y="433300"/>
                </a:lnTo>
                <a:lnTo>
                  <a:pt x="4099975" y="432434"/>
                </a:lnTo>
                <a:lnTo>
                  <a:pt x="4099975" y="428320"/>
                </a:lnTo>
                <a:lnTo>
                  <a:pt x="4098673" y="426045"/>
                </a:lnTo>
                <a:lnTo>
                  <a:pt x="4098347" y="420957"/>
                </a:lnTo>
                <a:lnTo>
                  <a:pt x="4102579" y="416301"/>
                </a:lnTo>
                <a:lnTo>
                  <a:pt x="4105834" y="416518"/>
                </a:lnTo>
                <a:lnTo>
                  <a:pt x="4108439" y="422906"/>
                </a:lnTo>
                <a:lnTo>
                  <a:pt x="4110392" y="427020"/>
                </a:lnTo>
                <a:lnTo>
                  <a:pt x="4114190" y="427670"/>
                </a:lnTo>
                <a:lnTo>
                  <a:pt x="4115276" y="425613"/>
                </a:lnTo>
                <a:lnTo>
                  <a:pt x="4110392" y="419333"/>
                </a:lnTo>
                <a:lnTo>
                  <a:pt x="4110392" y="414677"/>
                </a:lnTo>
                <a:lnTo>
                  <a:pt x="4112345" y="413703"/>
                </a:lnTo>
                <a:lnTo>
                  <a:pt x="4115058" y="415435"/>
                </a:lnTo>
                <a:lnTo>
                  <a:pt x="4115493" y="418250"/>
                </a:lnTo>
                <a:lnTo>
                  <a:pt x="4117338" y="420090"/>
                </a:lnTo>
                <a:lnTo>
                  <a:pt x="4121027" y="418359"/>
                </a:lnTo>
                <a:lnTo>
                  <a:pt x="4130685" y="410780"/>
                </a:lnTo>
                <a:lnTo>
                  <a:pt x="4135460" y="409697"/>
                </a:lnTo>
                <a:lnTo>
                  <a:pt x="4138173" y="411971"/>
                </a:lnTo>
                <a:lnTo>
                  <a:pt x="4140994" y="417276"/>
                </a:lnTo>
                <a:lnTo>
                  <a:pt x="4140126" y="420740"/>
                </a:lnTo>
                <a:lnTo>
                  <a:pt x="4137522" y="423556"/>
                </a:lnTo>
                <a:lnTo>
                  <a:pt x="4134592" y="423339"/>
                </a:lnTo>
                <a:lnTo>
                  <a:pt x="4133290" y="422148"/>
                </a:lnTo>
                <a:lnTo>
                  <a:pt x="4131010" y="422473"/>
                </a:lnTo>
                <a:lnTo>
                  <a:pt x="4126019" y="426478"/>
                </a:lnTo>
                <a:lnTo>
                  <a:pt x="4125259" y="428644"/>
                </a:lnTo>
                <a:lnTo>
                  <a:pt x="4123306" y="429078"/>
                </a:lnTo>
                <a:lnTo>
                  <a:pt x="4122329" y="432000"/>
                </a:lnTo>
                <a:lnTo>
                  <a:pt x="4124825" y="433842"/>
                </a:lnTo>
                <a:lnTo>
                  <a:pt x="4128623" y="431459"/>
                </a:lnTo>
                <a:lnTo>
                  <a:pt x="4134157" y="429078"/>
                </a:lnTo>
                <a:lnTo>
                  <a:pt x="4136436" y="430269"/>
                </a:lnTo>
                <a:lnTo>
                  <a:pt x="4136328" y="432000"/>
                </a:lnTo>
                <a:lnTo>
                  <a:pt x="4131987" y="435357"/>
                </a:lnTo>
                <a:lnTo>
                  <a:pt x="4131554" y="437631"/>
                </a:lnTo>
                <a:lnTo>
                  <a:pt x="4133941" y="438713"/>
                </a:lnTo>
                <a:lnTo>
                  <a:pt x="4135351" y="436981"/>
                </a:lnTo>
                <a:lnTo>
                  <a:pt x="4137088" y="437198"/>
                </a:lnTo>
                <a:lnTo>
                  <a:pt x="4138932" y="440337"/>
                </a:lnTo>
                <a:lnTo>
                  <a:pt x="4140886" y="441853"/>
                </a:lnTo>
                <a:lnTo>
                  <a:pt x="4140560" y="444777"/>
                </a:lnTo>
                <a:lnTo>
                  <a:pt x="4141536" y="450081"/>
                </a:lnTo>
                <a:lnTo>
                  <a:pt x="4143924" y="453006"/>
                </a:lnTo>
                <a:lnTo>
                  <a:pt x="4145986" y="453980"/>
                </a:lnTo>
                <a:lnTo>
                  <a:pt x="4144901" y="447267"/>
                </a:lnTo>
                <a:lnTo>
                  <a:pt x="4142188" y="441853"/>
                </a:lnTo>
                <a:lnTo>
                  <a:pt x="4141428" y="436439"/>
                </a:lnTo>
                <a:lnTo>
                  <a:pt x="4142622" y="431025"/>
                </a:lnTo>
                <a:lnTo>
                  <a:pt x="4147397" y="423556"/>
                </a:lnTo>
                <a:lnTo>
                  <a:pt x="4148265" y="418899"/>
                </a:lnTo>
                <a:lnTo>
                  <a:pt x="4150435" y="416951"/>
                </a:lnTo>
                <a:lnTo>
                  <a:pt x="4152714" y="417925"/>
                </a:lnTo>
                <a:lnTo>
                  <a:pt x="4156946" y="422798"/>
                </a:lnTo>
                <a:lnTo>
                  <a:pt x="4162046" y="426370"/>
                </a:lnTo>
                <a:lnTo>
                  <a:pt x="4162589" y="429078"/>
                </a:lnTo>
                <a:lnTo>
                  <a:pt x="4162589" y="438171"/>
                </a:lnTo>
                <a:lnTo>
                  <a:pt x="4166496" y="447917"/>
                </a:lnTo>
                <a:lnTo>
                  <a:pt x="4166496" y="451922"/>
                </a:lnTo>
                <a:lnTo>
                  <a:pt x="4165411" y="454954"/>
                </a:lnTo>
                <a:lnTo>
                  <a:pt x="4161938" y="458203"/>
                </a:lnTo>
                <a:lnTo>
                  <a:pt x="4162372" y="460044"/>
                </a:lnTo>
                <a:lnTo>
                  <a:pt x="4163999" y="460800"/>
                </a:lnTo>
                <a:lnTo>
                  <a:pt x="4167364" y="458744"/>
                </a:lnTo>
                <a:lnTo>
                  <a:pt x="4169751" y="459176"/>
                </a:lnTo>
                <a:lnTo>
                  <a:pt x="4172681" y="463508"/>
                </a:lnTo>
                <a:lnTo>
                  <a:pt x="4175828" y="471086"/>
                </a:lnTo>
                <a:lnTo>
                  <a:pt x="4177890" y="473143"/>
                </a:lnTo>
                <a:lnTo>
                  <a:pt x="4181145" y="473035"/>
                </a:lnTo>
                <a:lnTo>
                  <a:pt x="4182013" y="469246"/>
                </a:lnTo>
                <a:lnTo>
                  <a:pt x="4177456" y="463833"/>
                </a:lnTo>
                <a:lnTo>
                  <a:pt x="4176697" y="459068"/>
                </a:lnTo>
                <a:lnTo>
                  <a:pt x="4172681" y="452572"/>
                </a:lnTo>
                <a:lnTo>
                  <a:pt x="4170945" y="447267"/>
                </a:lnTo>
                <a:lnTo>
                  <a:pt x="4170836" y="440554"/>
                </a:lnTo>
                <a:lnTo>
                  <a:pt x="4171053" y="426370"/>
                </a:lnTo>
                <a:lnTo>
                  <a:pt x="4169642" y="423556"/>
                </a:lnTo>
                <a:lnTo>
                  <a:pt x="4167580" y="422256"/>
                </a:lnTo>
                <a:lnTo>
                  <a:pt x="4168666" y="417276"/>
                </a:lnTo>
                <a:lnTo>
                  <a:pt x="4168340" y="412838"/>
                </a:lnTo>
                <a:lnTo>
                  <a:pt x="4170402" y="408723"/>
                </a:lnTo>
                <a:lnTo>
                  <a:pt x="4169859" y="401685"/>
                </a:lnTo>
                <a:lnTo>
                  <a:pt x="4172681" y="396705"/>
                </a:lnTo>
                <a:close/>
                <a:moveTo>
                  <a:pt x="5536519" y="393782"/>
                </a:moveTo>
                <a:lnTo>
                  <a:pt x="5538364" y="393891"/>
                </a:lnTo>
                <a:lnTo>
                  <a:pt x="5540426" y="397463"/>
                </a:lnTo>
                <a:lnTo>
                  <a:pt x="5544441" y="398872"/>
                </a:lnTo>
                <a:lnTo>
                  <a:pt x="5543464" y="401578"/>
                </a:lnTo>
                <a:lnTo>
                  <a:pt x="5541511" y="402660"/>
                </a:lnTo>
                <a:lnTo>
                  <a:pt x="5539449" y="402770"/>
                </a:lnTo>
                <a:lnTo>
                  <a:pt x="5538581" y="398546"/>
                </a:lnTo>
                <a:lnTo>
                  <a:pt x="5536085" y="395839"/>
                </a:lnTo>
                <a:close/>
                <a:moveTo>
                  <a:pt x="2328875" y="393130"/>
                </a:moveTo>
                <a:lnTo>
                  <a:pt x="2329201" y="396920"/>
                </a:lnTo>
                <a:lnTo>
                  <a:pt x="2326705" y="399301"/>
                </a:lnTo>
                <a:lnTo>
                  <a:pt x="2324535" y="399735"/>
                </a:lnTo>
                <a:lnTo>
                  <a:pt x="2327465" y="396379"/>
                </a:lnTo>
                <a:close/>
                <a:moveTo>
                  <a:pt x="7107190" y="388152"/>
                </a:moveTo>
                <a:lnTo>
                  <a:pt x="7106430" y="391617"/>
                </a:lnTo>
                <a:lnTo>
                  <a:pt x="7103392" y="394429"/>
                </a:lnTo>
                <a:lnTo>
                  <a:pt x="7101438" y="391617"/>
                </a:lnTo>
                <a:lnTo>
                  <a:pt x="7102957" y="389342"/>
                </a:lnTo>
                <a:close/>
                <a:moveTo>
                  <a:pt x="2556976" y="387934"/>
                </a:moveTo>
                <a:lnTo>
                  <a:pt x="2559146" y="390640"/>
                </a:lnTo>
                <a:lnTo>
                  <a:pt x="2559146" y="394863"/>
                </a:lnTo>
                <a:lnTo>
                  <a:pt x="2557627" y="396595"/>
                </a:lnTo>
                <a:lnTo>
                  <a:pt x="2556217" y="396703"/>
                </a:lnTo>
                <a:lnTo>
                  <a:pt x="2554047" y="390965"/>
                </a:lnTo>
                <a:lnTo>
                  <a:pt x="2554264" y="388150"/>
                </a:lnTo>
                <a:close/>
                <a:moveTo>
                  <a:pt x="2444989" y="387176"/>
                </a:moveTo>
                <a:lnTo>
                  <a:pt x="2445639" y="390425"/>
                </a:lnTo>
                <a:lnTo>
                  <a:pt x="2447592" y="391724"/>
                </a:lnTo>
                <a:lnTo>
                  <a:pt x="2448026" y="394430"/>
                </a:lnTo>
                <a:lnTo>
                  <a:pt x="2446616" y="396162"/>
                </a:lnTo>
                <a:lnTo>
                  <a:pt x="2443904" y="394539"/>
                </a:lnTo>
                <a:lnTo>
                  <a:pt x="2442927" y="390425"/>
                </a:lnTo>
                <a:lnTo>
                  <a:pt x="2443686" y="387718"/>
                </a:lnTo>
                <a:close/>
                <a:moveTo>
                  <a:pt x="5536085" y="386852"/>
                </a:moveTo>
                <a:lnTo>
                  <a:pt x="5539558" y="387718"/>
                </a:lnTo>
                <a:lnTo>
                  <a:pt x="5537170" y="391183"/>
                </a:lnTo>
                <a:lnTo>
                  <a:pt x="5531962" y="392160"/>
                </a:lnTo>
                <a:lnTo>
                  <a:pt x="5530985" y="390860"/>
                </a:lnTo>
                <a:lnTo>
                  <a:pt x="5532287" y="388477"/>
                </a:lnTo>
                <a:close/>
                <a:moveTo>
                  <a:pt x="5381233" y="385877"/>
                </a:moveTo>
                <a:lnTo>
                  <a:pt x="5384271" y="386095"/>
                </a:lnTo>
                <a:lnTo>
                  <a:pt x="5387635" y="389126"/>
                </a:lnTo>
                <a:lnTo>
                  <a:pt x="5388070" y="395405"/>
                </a:lnTo>
                <a:lnTo>
                  <a:pt x="5386550" y="398437"/>
                </a:lnTo>
                <a:lnTo>
                  <a:pt x="5382317" y="400386"/>
                </a:lnTo>
                <a:lnTo>
                  <a:pt x="5379930" y="400062"/>
                </a:lnTo>
                <a:lnTo>
                  <a:pt x="5379062" y="397138"/>
                </a:lnTo>
                <a:lnTo>
                  <a:pt x="5379388" y="392481"/>
                </a:lnTo>
                <a:lnTo>
                  <a:pt x="5378845" y="388368"/>
                </a:lnTo>
                <a:close/>
                <a:moveTo>
                  <a:pt x="2194314" y="384685"/>
                </a:moveTo>
                <a:lnTo>
                  <a:pt x="2197895" y="385010"/>
                </a:lnTo>
                <a:lnTo>
                  <a:pt x="2202127" y="386093"/>
                </a:lnTo>
                <a:lnTo>
                  <a:pt x="2208095" y="385660"/>
                </a:lnTo>
                <a:lnTo>
                  <a:pt x="2213956" y="388150"/>
                </a:lnTo>
                <a:lnTo>
                  <a:pt x="2218079" y="387608"/>
                </a:lnTo>
                <a:lnTo>
                  <a:pt x="2221335" y="391831"/>
                </a:lnTo>
                <a:lnTo>
                  <a:pt x="2217971" y="398544"/>
                </a:lnTo>
                <a:lnTo>
                  <a:pt x="2214607" y="401466"/>
                </a:lnTo>
                <a:lnTo>
                  <a:pt x="2205166" y="400601"/>
                </a:lnTo>
                <a:lnTo>
                  <a:pt x="2199740" y="399952"/>
                </a:lnTo>
                <a:lnTo>
                  <a:pt x="2196050" y="397677"/>
                </a:lnTo>
                <a:lnTo>
                  <a:pt x="2192252" y="396920"/>
                </a:lnTo>
                <a:lnTo>
                  <a:pt x="2190841" y="394213"/>
                </a:lnTo>
                <a:lnTo>
                  <a:pt x="2188997" y="393780"/>
                </a:lnTo>
                <a:lnTo>
                  <a:pt x="2188237" y="391831"/>
                </a:lnTo>
                <a:lnTo>
                  <a:pt x="2188888" y="388367"/>
                </a:lnTo>
                <a:lnTo>
                  <a:pt x="2191818" y="386851"/>
                </a:lnTo>
                <a:close/>
                <a:moveTo>
                  <a:pt x="7063023" y="382196"/>
                </a:moveTo>
                <a:lnTo>
                  <a:pt x="7067906" y="382412"/>
                </a:lnTo>
                <a:lnTo>
                  <a:pt x="7072138" y="384579"/>
                </a:lnTo>
                <a:lnTo>
                  <a:pt x="7076153" y="385012"/>
                </a:lnTo>
                <a:lnTo>
                  <a:pt x="7077238" y="382955"/>
                </a:lnTo>
                <a:lnTo>
                  <a:pt x="7082230" y="386311"/>
                </a:lnTo>
                <a:lnTo>
                  <a:pt x="7084074" y="390859"/>
                </a:lnTo>
                <a:lnTo>
                  <a:pt x="7082556" y="392373"/>
                </a:lnTo>
                <a:lnTo>
                  <a:pt x="7086354" y="396813"/>
                </a:lnTo>
                <a:lnTo>
                  <a:pt x="7087222" y="402009"/>
                </a:lnTo>
                <a:lnTo>
                  <a:pt x="7084401" y="406664"/>
                </a:lnTo>
                <a:lnTo>
                  <a:pt x="7078975" y="407965"/>
                </a:lnTo>
                <a:lnTo>
                  <a:pt x="7073874" y="405473"/>
                </a:lnTo>
                <a:lnTo>
                  <a:pt x="7067906" y="400926"/>
                </a:lnTo>
                <a:lnTo>
                  <a:pt x="7062046" y="399736"/>
                </a:lnTo>
                <a:lnTo>
                  <a:pt x="7057596" y="400494"/>
                </a:lnTo>
                <a:lnTo>
                  <a:pt x="7055317" y="399086"/>
                </a:lnTo>
                <a:lnTo>
                  <a:pt x="7054992" y="390965"/>
                </a:lnTo>
                <a:lnTo>
                  <a:pt x="7056512" y="386852"/>
                </a:lnTo>
                <a:lnTo>
                  <a:pt x="7060092" y="386527"/>
                </a:lnTo>
                <a:lnTo>
                  <a:pt x="7059441" y="384795"/>
                </a:lnTo>
                <a:lnTo>
                  <a:pt x="7062371" y="384253"/>
                </a:lnTo>
                <a:close/>
                <a:moveTo>
                  <a:pt x="1076051" y="381873"/>
                </a:moveTo>
                <a:lnTo>
                  <a:pt x="1078329" y="382307"/>
                </a:lnTo>
                <a:lnTo>
                  <a:pt x="1077461" y="384146"/>
                </a:lnTo>
                <a:lnTo>
                  <a:pt x="1074966" y="385012"/>
                </a:lnTo>
                <a:lnTo>
                  <a:pt x="1074098" y="386420"/>
                </a:lnTo>
                <a:lnTo>
                  <a:pt x="1075725" y="387722"/>
                </a:lnTo>
                <a:lnTo>
                  <a:pt x="1077461" y="389562"/>
                </a:lnTo>
                <a:lnTo>
                  <a:pt x="1077787" y="393458"/>
                </a:lnTo>
                <a:lnTo>
                  <a:pt x="1079632" y="393351"/>
                </a:lnTo>
                <a:lnTo>
                  <a:pt x="1085275" y="395731"/>
                </a:lnTo>
                <a:lnTo>
                  <a:pt x="1086360" y="397787"/>
                </a:lnTo>
                <a:lnTo>
                  <a:pt x="1085057" y="400063"/>
                </a:lnTo>
                <a:lnTo>
                  <a:pt x="1084515" y="402230"/>
                </a:lnTo>
                <a:lnTo>
                  <a:pt x="1079740" y="406991"/>
                </a:lnTo>
                <a:lnTo>
                  <a:pt x="1075399" y="408182"/>
                </a:lnTo>
                <a:lnTo>
                  <a:pt x="1068888" y="410890"/>
                </a:lnTo>
                <a:lnTo>
                  <a:pt x="1063680" y="406883"/>
                </a:lnTo>
                <a:lnTo>
                  <a:pt x="1058905" y="408074"/>
                </a:lnTo>
                <a:lnTo>
                  <a:pt x="1053479" y="412297"/>
                </a:lnTo>
                <a:lnTo>
                  <a:pt x="1052611" y="415436"/>
                </a:lnTo>
                <a:lnTo>
                  <a:pt x="1056952" y="414896"/>
                </a:lnTo>
                <a:lnTo>
                  <a:pt x="1059664" y="419442"/>
                </a:lnTo>
                <a:lnTo>
                  <a:pt x="1056952" y="426481"/>
                </a:lnTo>
                <a:lnTo>
                  <a:pt x="1060532" y="425506"/>
                </a:lnTo>
                <a:lnTo>
                  <a:pt x="1061835" y="422368"/>
                </a:lnTo>
                <a:lnTo>
                  <a:pt x="1064982" y="419116"/>
                </a:lnTo>
                <a:lnTo>
                  <a:pt x="1067043" y="419766"/>
                </a:lnTo>
                <a:lnTo>
                  <a:pt x="1064765" y="423884"/>
                </a:lnTo>
                <a:lnTo>
                  <a:pt x="1064873" y="428753"/>
                </a:lnTo>
                <a:lnTo>
                  <a:pt x="1066610" y="433627"/>
                </a:lnTo>
                <a:lnTo>
                  <a:pt x="1066827" y="428863"/>
                </a:lnTo>
                <a:lnTo>
                  <a:pt x="1069431" y="422910"/>
                </a:lnTo>
                <a:lnTo>
                  <a:pt x="1070733" y="424750"/>
                </a:lnTo>
                <a:lnTo>
                  <a:pt x="1072904" y="424423"/>
                </a:lnTo>
                <a:lnTo>
                  <a:pt x="1076051" y="421067"/>
                </a:lnTo>
                <a:lnTo>
                  <a:pt x="1075074" y="416302"/>
                </a:lnTo>
                <a:lnTo>
                  <a:pt x="1076051" y="413923"/>
                </a:lnTo>
                <a:lnTo>
                  <a:pt x="1080825" y="412081"/>
                </a:lnTo>
                <a:lnTo>
                  <a:pt x="1084081" y="414464"/>
                </a:lnTo>
                <a:lnTo>
                  <a:pt x="1085275" y="414356"/>
                </a:lnTo>
                <a:lnTo>
                  <a:pt x="1086468" y="410242"/>
                </a:lnTo>
                <a:lnTo>
                  <a:pt x="1092111" y="404827"/>
                </a:lnTo>
                <a:lnTo>
                  <a:pt x="1093631" y="405042"/>
                </a:lnTo>
                <a:lnTo>
                  <a:pt x="1095041" y="407749"/>
                </a:lnTo>
                <a:lnTo>
                  <a:pt x="1093631" y="411865"/>
                </a:lnTo>
                <a:lnTo>
                  <a:pt x="1093196" y="416302"/>
                </a:lnTo>
                <a:lnTo>
                  <a:pt x="1090809" y="417710"/>
                </a:lnTo>
                <a:lnTo>
                  <a:pt x="1089181" y="420960"/>
                </a:lnTo>
                <a:lnTo>
                  <a:pt x="1089506" y="424965"/>
                </a:lnTo>
                <a:lnTo>
                  <a:pt x="1087445" y="426264"/>
                </a:lnTo>
                <a:lnTo>
                  <a:pt x="1085708" y="430160"/>
                </a:lnTo>
                <a:lnTo>
                  <a:pt x="1088530" y="434060"/>
                </a:lnTo>
                <a:lnTo>
                  <a:pt x="1088530" y="432005"/>
                </a:lnTo>
                <a:lnTo>
                  <a:pt x="1091026" y="428104"/>
                </a:lnTo>
                <a:lnTo>
                  <a:pt x="1096452" y="427996"/>
                </a:lnTo>
                <a:lnTo>
                  <a:pt x="1099924" y="426805"/>
                </a:lnTo>
                <a:lnTo>
                  <a:pt x="1102637" y="427672"/>
                </a:lnTo>
                <a:lnTo>
                  <a:pt x="1108063" y="430052"/>
                </a:lnTo>
                <a:lnTo>
                  <a:pt x="1112621" y="429510"/>
                </a:lnTo>
                <a:lnTo>
                  <a:pt x="1116311" y="431353"/>
                </a:lnTo>
                <a:lnTo>
                  <a:pt x="1118047" y="434494"/>
                </a:lnTo>
                <a:lnTo>
                  <a:pt x="1120542" y="433301"/>
                </a:lnTo>
                <a:lnTo>
                  <a:pt x="1122713" y="433518"/>
                </a:lnTo>
                <a:lnTo>
                  <a:pt x="1125317" y="438607"/>
                </a:lnTo>
                <a:lnTo>
                  <a:pt x="1127705" y="441311"/>
                </a:lnTo>
                <a:lnTo>
                  <a:pt x="1124449" y="444997"/>
                </a:lnTo>
                <a:lnTo>
                  <a:pt x="1118047" y="448028"/>
                </a:lnTo>
                <a:lnTo>
                  <a:pt x="1115551" y="451814"/>
                </a:lnTo>
                <a:lnTo>
                  <a:pt x="1116744" y="454740"/>
                </a:lnTo>
                <a:lnTo>
                  <a:pt x="1128356" y="461235"/>
                </a:lnTo>
                <a:lnTo>
                  <a:pt x="1128681" y="463075"/>
                </a:lnTo>
                <a:lnTo>
                  <a:pt x="1124883" y="463292"/>
                </a:lnTo>
                <a:lnTo>
                  <a:pt x="1120434" y="465025"/>
                </a:lnTo>
                <a:lnTo>
                  <a:pt x="1120434" y="466974"/>
                </a:lnTo>
                <a:lnTo>
                  <a:pt x="1128030" y="471522"/>
                </a:lnTo>
                <a:lnTo>
                  <a:pt x="1128247" y="475526"/>
                </a:lnTo>
                <a:lnTo>
                  <a:pt x="1127270" y="481051"/>
                </a:lnTo>
                <a:lnTo>
                  <a:pt x="1128030" y="487436"/>
                </a:lnTo>
                <a:lnTo>
                  <a:pt x="1123472" y="492417"/>
                </a:lnTo>
                <a:lnTo>
                  <a:pt x="1129006" y="488195"/>
                </a:lnTo>
                <a:lnTo>
                  <a:pt x="1135409" y="481267"/>
                </a:lnTo>
                <a:lnTo>
                  <a:pt x="1142137" y="480184"/>
                </a:lnTo>
                <a:lnTo>
                  <a:pt x="1143982" y="478776"/>
                </a:lnTo>
                <a:lnTo>
                  <a:pt x="1147780" y="478776"/>
                </a:lnTo>
                <a:lnTo>
                  <a:pt x="1153857" y="476392"/>
                </a:lnTo>
                <a:lnTo>
                  <a:pt x="1159717" y="476392"/>
                </a:lnTo>
                <a:lnTo>
                  <a:pt x="1166011" y="480833"/>
                </a:lnTo>
                <a:lnTo>
                  <a:pt x="1169158" y="482890"/>
                </a:lnTo>
                <a:lnTo>
                  <a:pt x="1167964" y="488737"/>
                </a:lnTo>
                <a:lnTo>
                  <a:pt x="1162647" y="494042"/>
                </a:lnTo>
                <a:lnTo>
                  <a:pt x="1157221" y="502164"/>
                </a:lnTo>
                <a:lnTo>
                  <a:pt x="1148431" y="508223"/>
                </a:lnTo>
                <a:lnTo>
                  <a:pt x="1158524" y="503245"/>
                </a:lnTo>
                <a:lnTo>
                  <a:pt x="1167747" y="494581"/>
                </a:lnTo>
                <a:lnTo>
                  <a:pt x="1169918" y="492852"/>
                </a:lnTo>
                <a:lnTo>
                  <a:pt x="1172956" y="493716"/>
                </a:lnTo>
                <a:lnTo>
                  <a:pt x="1174367" y="495448"/>
                </a:lnTo>
                <a:lnTo>
                  <a:pt x="1173607" y="496855"/>
                </a:lnTo>
                <a:lnTo>
                  <a:pt x="1176862" y="500971"/>
                </a:lnTo>
                <a:lnTo>
                  <a:pt x="1180878" y="503570"/>
                </a:lnTo>
                <a:lnTo>
                  <a:pt x="1181203" y="505301"/>
                </a:lnTo>
                <a:lnTo>
                  <a:pt x="1180010" y="507358"/>
                </a:lnTo>
                <a:lnTo>
                  <a:pt x="1183482" y="506492"/>
                </a:lnTo>
                <a:lnTo>
                  <a:pt x="1187280" y="508007"/>
                </a:lnTo>
                <a:lnTo>
                  <a:pt x="1188583" y="510065"/>
                </a:lnTo>
                <a:lnTo>
                  <a:pt x="1186955" y="511257"/>
                </a:lnTo>
                <a:lnTo>
                  <a:pt x="1186738" y="514180"/>
                </a:lnTo>
                <a:lnTo>
                  <a:pt x="1189125" y="515912"/>
                </a:lnTo>
                <a:lnTo>
                  <a:pt x="1191946" y="511691"/>
                </a:lnTo>
                <a:lnTo>
                  <a:pt x="1195311" y="513531"/>
                </a:lnTo>
                <a:lnTo>
                  <a:pt x="1196070" y="515372"/>
                </a:lnTo>
                <a:lnTo>
                  <a:pt x="1195527" y="517102"/>
                </a:lnTo>
                <a:lnTo>
                  <a:pt x="1197807" y="515048"/>
                </a:lnTo>
                <a:lnTo>
                  <a:pt x="1199868" y="515048"/>
                </a:lnTo>
                <a:lnTo>
                  <a:pt x="1201713" y="516452"/>
                </a:lnTo>
                <a:lnTo>
                  <a:pt x="1203232" y="515912"/>
                </a:lnTo>
                <a:lnTo>
                  <a:pt x="1210394" y="521108"/>
                </a:lnTo>
                <a:lnTo>
                  <a:pt x="1213758" y="524572"/>
                </a:lnTo>
                <a:lnTo>
                  <a:pt x="1213433" y="526956"/>
                </a:lnTo>
                <a:lnTo>
                  <a:pt x="1217014" y="527605"/>
                </a:lnTo>
                <a:lnTo>
                  <a:pt x="1219835" y="527279"/>
                </a:lnTo>
                <a:lnTo>
                  <a:pt x="1221572" y="529119"/>
                </a:lnTo>
                <a:lnTo>
                  <a:pt x="1219510" y="530744"/>
                </a:lnTo>
                <a:lnTo>
                  <a:pt x="1218750" y="532259"/>
                </a:lnTo>
                <a:lnTo>
                  <a:pt x="1221897" y="533455"/>
                </a:lnTo>
                <a:lnTo>
                  <a:pt x="1224610" y="531936"/>
                </a:lnTo>
                <a:lnTo>
                  <a:pt x="1228734" y="534644"/>
                </a:lnTo>
                <a:lnTo>
                  <a:pt x="1228408" y="536916"/>
                </a:lnTo>
                <a:lnTo>
                  <a:pt x="1226238" y="537350"/>
                </a:lnTo>
                <a:lnTo>
                  <a:pt x="1226563" y="538647"/>
                </a:lnTo>
                <a:lnTo>
                  <a:pt x="1229276" y="539190"/>
                </a:lnTo>
                <a:lnTo>
                  <a:pt x="1230796" y="537784"/>
                </a:lnTo>
                <a:lnTo>
                  <a:pt x="1232857" y="538973"/>
                </a:lnTo>
                <a:lnTo>
                  <a:pt x="1234811" y="538324"/>
                </a:lnTo>
                <a:lnTo>
                  <a:pt x="1237524" y="540380"/>
                </a:lnTo>
                <a:lnTo>
                  <a:pt x="1243600" y="538973"/>
                </a:lnTo>
                <a:lnTo>
                  <a:pt x="1250437" y="539842"/>
                </a:lnTo>
                <a:lnTo>
                  <a:pt x="1251848" y="538432"/>
                </a:lnTo>
                <a:lnTo>
                  <a:pt x="1260312" y="538756"/>
                </a:lnTo>
                <a:lnTo>
                  <a:pt x="1262373" y="540814"/>
                </a:lnTo>
                <a:lnTo>
                  <a:pt x="1265521" y="546985"/>
                </a:lnTo>
                <a:lnTo>
                  <a:pt x="1266498" y="552182"/>
                </a:lnTo>
                <a:lnTo>
                  <a:pt x="1269644" y="554022"/>
                </a:lnTo>
                <a:lnTo>
                  <a:pt x="1272141" y="559004"/>
                </a:lnTo>
                <a:lnTo>
                  <a:pt x="1273877" y="568317"/>
                </a:lnTo>
                <a:lnTo>
                  <a:pt x="1276481" y="571239"/>
                </a:lnTo>
                <a:lnTo>
                  <a:pt x="1280279" y="570591"/>
                </a:lnTo>
                <a:lnTo>
                  <a:pt x="1285271" y="572105"/>
                </a:lnTo>
                <a:lnTo>
                  <a:pt x="1286030" y="574160"/>
                </a:lnTo>
                <a:lnTo>
                  <a:pt x="1286030" y="574159"/>
                </a:lnTo>
                <a:lnTo>
                  <a:pt x="1287223" y="577300"/>
                </a:lnTo>
                <a:lnTo>
                  <a:pt x="1289936" y="577300"/>
                </a:lnTo>
                <a:lnTo>
                  <a:pt x="1303392" y="587152"/>
                </a:lnTo>
                <a:lnTo>
                  <a:pt x="1307516" y="587260"/>
                </a:lnTo>
                <a:lnTo>
                  <a:pt x="1311856" y="591050"/>
                </a:lnTo>
                <a:lnTo>
                  <a:pt x="1313593" y="594514"/>
                </a:lnTo>
                <a:lnTo>
                  <a:pt x="1315438" y="594298"/>
                </a:lnTo>
                <a:lnTo>
                  <a:pt x="1320104" y="597979"/>
                </a:lnTo>
                <a:lnTo>
                  <a:pt x="1320104" y="601985"/>
                </a:lnTo>
                <a:lnTo>
                  <a:pt x="1325422" y="607724"/>
                </a:lnTo>
                <a:lnTo>
                  <a:pt x="1324445" y="610430"/>
                </a:lnTo>
                <a:lnTo>
                  <a:pt x="1325096" y="612054"/>
                </a:lnTo>
                <a:lnTo>
                  <a:pt x="1322817" y="617359"/>
                </a:lnTo>
                <a:lnTo>
                  <a:pt x="1324770" y="622340"/>
                </a:lnTo>
                <a:lnTo>
                  <a:pt x="1326940" y="623314"/>
                </a:lnTo>
                <a:lnTo>
                  <a:pt x="1328677" y="621149"/>
                </a:lnTo>
                <a:lnTo>
                  <a:pt x="1330088" y="622015"/>
                </a:lnTo>
                <a:lnTo>
                  <a:pt x="1330196" y="629378"/>
                </a:lnTo>
                <a:lnTo>
                  <a:pt x="1331933" y="636415"/>
                </a:lnTo>
                <a:lnTo>
                  <a:pt x="1339854" y="644643"/>
                </a:lnTo>
                <a:lnTo>
                  <a:pt x="1344087" y="647891"/>
                </a:lnTo>
                <a:lnTo>
                  <a:pt x="1345823" y="646592"/>
                </a:lnTo>
                <a:lnTo>
                  <a:pt x="1348861" y="648433"/>
                </a:lnTo>
                <a:lnTo>
                  <a:pt x="1349512" y="652438"/>
                </a:lnTo>
                <a:lnTo>
                  <a:pt x="1352659" y="653954"/>
                </a:lnTo>
                <a:lnTo>
                  <a:pt x="1353853" y="653629"/>
                </a:lnTo>
                <a:lnTo>
                  <a:pt x="1358844" y="660884"/>
                </a:lnTo>
                <a:lnTo>
                  <a:pt x="1359387" y="667055"/>
                </a:lnTo>
                <a:lnTo>
                  <a:pt x="1362100" y="668246"/>
                </a:lnTo>
                <a:lnTo>
                  <a:pt x="1364162" y="672035"/>
                </a:lnTo>
                <a:lnTo>
                  <a:pt x="1367635" y="672144"/>
                </a:lnTo>
                <a:lnTo>
                  <a:pt x="1372952" y="679398"/>
                </a:lnTo>
                <a:lnTo>
                  <a:pt x="1372952" y="682538"/>
                </a:lnTo>
                <a:lnTo>
                  <a:pt x="1375447" y="683729"/>
                </a:lnTo>
                <a:lnTo>
                  <a:pt x="1374579" y="687302"/>
                </a:lnTo>
                <a:lnTo>
                  <a:pt x="1369913" y="692823"/>
                </a:lnTo>
                <a:lnTo>
                  <a:pt x="1366983" y="697154"/>
                </a:lnTo>
                <a:lnTo>
                  <a:pt x="1376967" y="688492"/>
                </a:lnTo>
                <a:lnTo>
                  <a:pt x="1380548" y="686652"/>
                </a:lnTo>
                <a:lnTo>
                  <a:pt x="1382827" y="687518"/>
                </a:lnTo>
                <a:lnTo>
                  <a:pt x="1384020" y="681131"/>
                </a:lnTo>
                <a:lnTo>
                  <a:pt x="1383152" y="667921"/>
                </a:lnTo>
                <a:lnTo>
                  <a:pt x="1383695" y="660126"/>
                </a:lnTo>
                <a:lnTo>
                  <a:pt x="1386300" y="655687"/>
                </a:lnTo>
                <a:lnTo>
                  <a:pt x="1394221" y="653088"/>
                </a:lnTo>
                <a:lnTo>
                  <a:pt x="1400407" y="649623"/>
                </a:lnTo>
                <a:lnTo>
                  <a:pt x="1404205" y="646267"/>
                </a:lnTo>
                <a:lnTo>
                  <a:pt x="1408654" y="645076"/>
                </a:lnTo>
                <a:lnTo>
                  <a:pt x="1410824" y="641936"/>
                </a:lnTo>
                <a:lnTo>
                  <a:pt x="1414188" y="641396"/>
                </a:lnTo>
                <a:lnTo>
                  <a:pt x="1417552" y="639663"/>
                </a:lnTo>
                <a:lnTo>
                  <a:pt x="1423086" y="639663"/>
                </a:lnTo>
                <a:lnTo>
                  <a:pt x="1424280" y="640422"/>
                </a:lnTo>
                <a:lnTo>
                  <a:pt x="1429163" y="640422"/>
                </a:lnTo>
                <a:lnTo>
                  <a:pt x="1431225" y="642045"/>
                </a:lnTo>
                <a:lnTo>
                  <a:pt x="1437302" y="635440"/>
                </a:lnTo>
                <a:lnTo>
                  <a:pt x="1439472" y="630244"/>
                </a:lnTo>
                <a:lnTo>
                  <a:pt x="1442620" y="629702"/>
                </a:lnTo>
                <a:lnTo>
                  <a:pt x="1446743" y="630785"/>
                </a:lnTo>
                <a:lnTo>
                  <a:pt x="1449348" y="629053"/>
                </a:lnTo>
                <a:lnTo>
                  <a:pt x="1448588" y="627104"/>
                </a:lnTo>
                <a:lnTo>
                  <a:pt x="1452061" y="626995"/>
                </a:lnTo>
                <a:lnTo>
                  <a:pt x="1454339" y="629594"/>
                </a:lnTo>
                <a:lnTo>
                  <a:pt x="1467904" y="628295"/>
                </a:lnTo>
                <a:lnTo>
                  <a:pt x="1479081" y="624722"/>
                </a:lnTo>
                <a:lnTo>
                  <a:pt x="1483205" y="622015"/>
                </a:lnTo>
                <a:lnTo>
                  <a:pt x="1485483" y="621798"/>
                </a:lnTo>
                <a:lnTo>
                  <a:pt x="1487871" y="625588"/>
                </a:lnTo>
                <a:lnTo>
                  <a:pt x="1491017" y="623855"/>
                </a:lnTo>
                <a:lnTo>
                  <a:pt x="1492754" y="619092"/>
                </a:lnTo>
                <a:lnTo>
                  <a:pt x="1500676" y="615627"/>
                </a:lnTo>
                <a:lnTo>
                  <a:pt x="1505668" y="615627"/>
                </a:lnTo>
                <a:lnTo>
                  <a:pt x="1507078" y="617467"/>
                </a:lnTo>
                <a:lnTo>
                  <a:pt x="1509466" y="617467"/>
                </a:lnTo>
                <a:lnTo>
                  <a:pt x="1510659" y="620067"/>
                </a:lnTo>
                <a:lnTo>
                  <a:pt x="1514566" y="619200"/>
                </a:lnTo>
                <a:lnTo>
                  <a:pt x="1514783" y="615953"/>
                </a:lnTo>
                <a:lnTo>
                  <a:pt x="1516302" y="613569"/>
                </a:lnTo>
                <a:lnTo>
                  <a:pt x="1519775" y="615627"/>
                </a:lnTo>
                <a:lnTo>
                  <a:pt x="1519775" y="620067"/>
                </a:lnTo>
                <a:lnTo>
                  <a:pt x="1522162" y="622340"/>
                </a:lnTo>
                <a:lnTo>
                  <a:pt x="1520317" y="624614"/>
                </a:lnTo>
                <a:lnTo>
                  <a:pt x="1518038" y="624614"/>
                </a:lnTo>
                <a:lnTo>
                  <a:pt x="1516845" y="629053"/>
                </a:lnTo>
                <a:lnTo>
                  <a:pt x="1506210" y="631975"/>
                </a:lnTo>
                <a:lnTo>
                  <a:pt x="1496878" y="634683"/>
                </a:lnTo>
                <a:lnTo>
                  <a:pt x="1493731" y="638797"/>
                </a:lnTo>
                <a:lnTo>
                  <a:pt x="1488088" y="640422"/>
                </a:lnTo>
                <a:lnTo>
                  <a:pt x="1484290" y="639880"/>
                </a:lnTo>
                <a:lnTo>
                  <a:pt x="1480817" y="642478"/>
                </a:lnTo>
                <a:lnTo>
                  <a:pt x="1478430" y="642478"/>
                </a:lnTo>
                <a:lnTo>
                  <a:pt x="1476694" y="639122"/>
                </a:lnTo>
                <a:lnTo>
                  <a:pt x="1469314" y="642586"/>
                </a:lnTo>
                <a:lnTo>
                  <a:pt x="1462044" y="642261"/>
                </a:lnTo>
                <a:lnTo>
                  <a:pt x="1460633" y="643993"/>
                </a:lnTo>
                <a:lnTo>
                  <a:pt x="1452277" y="643344"/>
                </a:lnTo>
                <a:lnTo>
                  <a:pt x="1447068" y="645293"/>
                </a:lnTo>
                <a:lnTo>
                  <a:pt x="1443488" y="650815"/>
                </a:lnTo>
                <a:lnTo>
                  <a:pt x="1432419" y="655687"/>
                </a:lnTo>
                <a:lnTo>
                  <a:pt x="1431768" y="653629"/>
                </a:lnTo>
                <a:lnTo>
                  <a:pt x="1426016" y="657744"/>
                </a:lnTo>
                <a:lnTo>
                  <a:pt x="1425148" y="661209"/>
                </a:lnTo>
                <a:lnTo>
                  <a:pt x="1421567" y="662941"/>
                </a:lnTo>
                <a:lnTo>
                  <a:pt x="1419180" y="660450"/>
                </a:lnTo>
                <a:lnTo>
                  <a:pt x="1414731" y="664240"/>
                </a:lnTo>
                <a:lnTo>
                  <a:pt x="1411801" y="668896"/>
                </a:lnTo>
                <a:lnTo>
                  <a:pt x="1408436" y="669112"/>
                </a:lnTo>
                <a:lnTo>
                  <a:pt x="1406050" y="673010"/>
                </a:lnTo>
                <a:lnTo>
                  <a:pt x="1410173" y="678315"/>
                </a:lnTo>
                <a:lnTo>
                  <a:pt x="1414839" y="680805"/>
                </a:lnTo>
                <a:lnTo>
                  <a:pt x="1410064" y="675284"/>
                </a:lnTo>
                <a:lnTo>
                  <a:pt x="1410824" y="673551"/>
                </a:lnTo>
                <a:lnTo>
                  <a:pt x="1415273" y="674959"/>
                </a:lnTo>
                <a:lnTo>
                  <a:pt x="1417660" y="673227"/>
                </a:lnTo>
                <a:lnTo>
                  <a:pt x="1421784" y="674634"/>
                </a:lnTo>
                <a:lnTo>
                  <a:pt x="1420048" y="670411"/>
                </a:lnTo>
                <a:lnTo>
                  <a:pt x="1425908" y="664240"/>
                </a:lnTo>
                <a:lnTo>
                  <a:pt x="1433938" y="662183"/>
                </a:lnTo>
                <a:lnTo>
                  <a:pt x="1438387" y="662183"/>
                </a:lnTo>
                <a:lnTo>
                  <a:pt x="1450758" y="654279"/>
                </a:lnTo>
                <a:lnTo>
                  <a:pt x="1451843" y="650490"/>
                </a:lnTo>
                <a:lnTo>
                  <a:pt x="1455641" y="649407"/>
                </a:lnTo>
                <a:lnTo>
                  <a:pt x="1458788" y="652872"/>
                </a:lnTo>
                <a:lnTo>
                  <a:pt x="1461827" y="650490"/>
                </a:lnTo>
                <a:lnTo>
                  <a:pt x="1465299" y="649840"/>
                </a:lnTo>
                <a:lnTo>
                  <a:pt x="1465950" y="651897"/>
                </a:lnTo>
                <a:lnTo>
                  <a:pt x="1473221" y="647025"/>
                </a:lnTo>
                <a:lnTo>
                  <a:pt x="1474957" y="649840"/>
                </a:lnTo>
                <a:lnTo>
                  <a:pt x="1469098" y="657419"/>
                </a:lnTo>
                <a:lnTo>
                  <a:pt x="1469749" y="661209"/>
                </a:lnTo>
                <a:lnTo>
                  <a:pt x="1474957" y="652872"/>
                </a:lnTo>
                <a:lnTo>
                  <a:pt x="1482553" y="651139"/>
                </a:lnTo>
                <a:lnTo>
                  <a:pt x="1496335" y="640854"/>
                </a:lnTo>
                <a:lnTo>
                  <a:pt x="1503606" y="640854"/>
                </a:lnTo>
                <a:lnTo>
                  <a:pt x="1509140" y="637389"/>
                </a:lnTo>
                <a:lnTo>
                  <a:pt x="1517713" y="637064"/>
                </a:lnTo>
                <a:lnTo>
                  <a:pt x="1521945" y="634683"/>
                </a:lnTo>
                <a:lnTo>
                  <a:pt x="1526069" y="634683"/>
                </a:lnTo>
                <a:lnTo>
                  <a:pt x="1524658" y="639446"/>
                </a:lnTo>
                <a:lnTo>
                  <a:pt x="1518472" y="641504"/>
                </a:lnTo>
                <a:lnTo>
                  <a:pt x="1518472" y="645293"/>
                </a:lnTo>
                <a:lnTo>
                  <a:pt x="1522271" y="648107"/>
                </a:lnTo>
                <a:lnTo>
                  <a:pt x="1528131" y="641504"/>
                </a:lnTo>
                <a:lnTo>
                  <a:pt x="1539199" y="636307"/>
                </a:lnTo>
                <a:lnTo>
                  <a:pt x="1541586" y="636740"/>
                </a:lnTo>
                <a:lnTo>
                  <a:pt x="1541261" y="633600"/>
                </a:lnTo>
                <a:lnTo>
                  <a:pt x="1545710" y="630136"/>
                </a:lnTo>
                <a:lnTo>
                  <a:pt x="1549508" y="631868"/>
                </a:lnTo>
                <a:lnTo>
                  <a:pt x="1549834" y="628078"/>
                </a:lnTo>
                <a:lnTo>
                  <a:pt x="1551244" y="625371"/>
                </a:lnTo>
                <a:lnTo>
                  <a:pt x="1554283" y="628403"/>
                </a:lnTo>
                <a:lnTo>
                  <a:pt x="1558081" y="629485"/>
                </a:lnTo>
                <a:lnTo>
                  <a:pt x="1559166" y="622232"/>
                </a:lnTo>
                <a:lnTo>
                  <a:pt x="1557105" y="617035"/>
                </a:lnTo>
                <a:lnTo>
                  <a:pt x="1559492" y="614328"/>
                </a:lnTo>
                <a:lnTo>
                  <a:pt x="1556779" y="611188"/>
                </a:lnTo>
                <a:lnTo>
                  <a:pt x="1560903" y="605017"/>
                </a:lnTo>
                <a:lnTo>
                  <a:pt x="1567739" y="602310"/>
                </a:lnTo>
                <a:lnTo>
                  <a:pt x="1567739" y="608481"/>
                </a:lnTo>
                <a:lnTo>
                  <a:pt x="1569150" y="626671"/>
                </a:lnTo>
                <a:lnTo>
                  <a:pt x="1566437" y="631868"/>
                </a:lnTo>
                <a:lnTo>
                  <a:pt x="1567088" y="646700"/>
                </a:lnTo>
                <a:lnTo>
                  <a:pt x="1562964" y="655254"/>
                </a:lnTo>
                <a:lnTo>
                  <a:pt x="1562639" y="676691"/>
                </a:lnTo>
                <a:lnTo>
                  <a:pt x="1564701" y="682538"/>
                </a:lnTo>
                <a:lnTo>
                  <a:pt x="1569801" y="684270"/>
                </a:lnTo>
                <a:lnTo>
                  <a:pt x="1572948" y="691091"/>
                </a:lnTo>
                <a:lnTo>
                  <a:pt x="1580544" y="686976"/>
                </a:lnTo>
                <a:lnTo>
                  <a:pt x="1578157" y="683512"/>
                </a:lnTo>
                <a:lnTo>
                  <a:pt x="1573707" y="683512"/>
                </a:lnTo>
                <a:lnTo>
                  <a:pt x="1572297" y="680480"/>
                </a:lnTo>
                <a:lnTo>
                  <a:pt x="1576746" y="677666"/>
                </a:lnTo>
                <a:lnTo>
                  <a:pt x="1581303" y="679398"/>
                </a:lnTo>
                <a:lnTo>
                  <a:pt x="1582606" y="674201"/>
                </a:lnTo>
                <a:lnTo>
                  <a:pt x="1579893" y="673227"/>
                </a:lnTo>
                <a:lnTo>
                  <a:pt x="1584668" y="669112"/>
                </a:lnTo>
                <a:lnTo>
                  <a:pt x="1590853" y="669437"/>
                </a:lnTo>
                <a:lnTo>
                  <a:pt x="1591612" y="673227"/>
                </a:lnTo>
                <a:lnTo>
                  <a:pt x="1595411" y="669762"/>
                </a:lnTo>
                <a:lnTo>
                  <a:pt x="1590527" y="660776"/>
                </a:lnTo>
                <a:lnTo>
                  <a:pt x="1595085" y="661533"/>
                </a:lnTo>
                <a:lnTo>
                  <a:pt x="1603984" y="656011"/>
                </a:lnTo>
                <a:lnTo>
                  <a:pt x="1603984" y="652222"/>
                </a:lnTo>
                <a:lnTo>
                  <a:pt x="1609518" y="650815"/>
                </a:lnTo>
                <a:lnTo>
                  <a:pt x="1610603" y="656336"/>
                </a:lnTo>
                <a:lnTo>
                  <a:pt x="1610386" y="659801"/>
                </a:lnTo>
                <a:lnTo>
                  <a:pt x="1605937" y="664132"/>
                </a:lnTo>
                <a:lnTo>
                  <a:pt x="1606479" y="666622"/>
                </a:lnTo>
                <a:lnTo>
                  <a:pt x="1601922" y="670519"/>
                </a:lnTo>
                <a:lnTo>
                  <a:pt x="1601271" y="673335"/>
                </a:lnTo>
                <a:lnTo>
                  <a:pt x="1603116" y="675284"/>
                </a:lnTo>
                <a:lnTo>
                  <a:pt x="1606588" y="674201"/>
                </a:lnTo>
                <a:lnTo>
                  <a:pt x="1607782" y="676799"/>
                </a:lnTo>
                <a:lnTo>
                  <a:pt x="1606696" y="678748"/>
                </a:lnTo>
                <a:lnTo>
                  <a:pt x="1603116" y="680480"/>
                </a:lnTo>
                <a:lnTo>
                  <a:pt x="1598883" y="684703"/>
                </a:lnTo>
                <a:lnTo>
                  <a:pt x="1595954" y="684270"/>
                </a:lnTo>
                <a:lnTo>
                  <a:pt x="1594325" y="686652"/>
                </a:lnTo>
                <a:lnTo>
                  <a:pt x="1590853" y="691091"/>
                </a:lnTo>
                <a:lnTo>
                  <a:pt x="1593675" y="693906"/>
                </a:lnTo>
                <a:lnTo>
                  <a:pt x="1600620" y="694880"/>
                </a:lnTo>
                <a:lnTo>
                  <a:pt x="1604309" y="697696"/>
                </a:lnTo>
                <a:lnTo>
                  <a:pt x="1608867" y="697263"/>
                </a:lnTo>
                <a:lnTo>
                  <a:pt x="1612990" y="693582"/>
                </a:lnTo>
                <a:lnTo>
                  <a:pt x="1617873" y="692498"/>
                </a:lnTo>
                <a:lnTo>
                  <a:pt x="1622648" y="683837"/>
                </a:lnTo>
                <a:lnTo>
                  <a:pt x="1628183" y="678315"/>
                </a:lnTo>
                <a:lnTo>
                  <a:pt x="1633392" y="676691"/>
                </a:lnTo>
                <a:lnTo>
                  <a:pt x="1636430" y="679398"/>
                </a:lnTo>
                <a:lnTo>
                  <a:pt x="1641313" y="680047"/>
                </a:lnTo>
                <a:lnTo>
                  <a:pt x="1645111" y="683188"/>
                </a:lnTo>
                <a:lnTo>
                  <a:pt x="1649235" y="683512"/>
                </a:lnTo>
                <a:lnTo>
                  <a:pt x="1655095" y="688060"/>
                </a:lnTo>
                <a:lnTo>
                  <a:pt x="1659218" y="688060"/>
                </a:lnTo>
                <a:lnTo>
                  <a:pt x="1659218" y="692498"/>
                </a:lnTo>
                <a:lnTo>
                  <a:pt x="1663342" y="703867"/>
                </a:lnTo>
                <a:lnTo>
                  <a:pt x="1663342" y="710039"/>
                </a:lnTo>
                <a:lnTo>
                  <a:pt x="1668877" y="718267"/>
                </a:lnTo>
                <a:lnTo>
                  <a:pt x="1688192" y="730393"/>
                </a:lnTo>
                <a:lnTo>
                  <a:pt x="1689604" y="734832"/>
                </a:lnTo>
                <a:lnTo>
                  <a:pt x="1696223" y="737973"/>
                </a:lnTo>
                <a:lnTo>
                  <a:pt x="1703276" y="745551"/>
                </a:lnTo>
                <a:lnTo>
                  <a:pt x="1705664" y="745551"/>
                </a:lnTo>
                <a:lnTo>
                  <a:pt x="1710547" y="748799"/>
                </a:lnTo>
                <a:lnTo>
                  <a:pt x="1712175" y="753022"/>
                </a:lnTo>
                <a:lnTo>
                  <a:pt x="1715213" y="754863"/>
                </a:lnTo>
                <a:lnTo>
                  <a:pt x="1717601" y="752589"/>
                </a:lnTo>
                <a:lnTo>
                  <a:pt x="1719120" y="755512"/>
                </a:lnTo>
                <a:lnTo>
                  <a:pt x="1726174" y="760167"/>
                </a:lnTo>
                <a:lnTo>
                  <a:pt x="1730189" y="760167"/>
                </a:lnTo>
                <a:lnTo>
                  <a:pt x="1730189" y="764824"/>
                </a:lnTo>
                <a:lnTo>
                  <a:pt x="1733444" y="769154"/>
                </a:lnTo>
                <a:lnTo>
                  <a:pt x="1735180" y="764824"/>
                </a:lnTo>
                <a:lnTo>
                  <a:pt x="1733118" y="761900"/>
                </a:lnTo>
                <a:lnTo>
                  <a:pt x="1734095" y="759302"/>
                </a:lnTo>
                <a:lnTo>
                  <a:pt x="1729755" y="755728"/>
                </a:lnTo>
                <a:lnTo>
                  <a:pt x="1729755" y="753130"/>
                </a:lnTo>
                <a:lnTo>
                  <a:pt x="1736700" y="756703"/>
                </a:lnTo>
                <a:lnTo>
                  <a:pt x="1738219" y="760385"/>
                </a:lnTo>
                <a:lnTo>
                  <a:pt x="1740281" y="760167"/>
                </a:lnTo>
                <a:lnTo>
                  <a:pt x="1741691" y="756595"/>
                </a:lnTo>
                <a:lnTo>
                  <a:pt x="1743536" y="756053"/>
                </a:lnTo>
                <a:lnTo>
                  <a:pt x="1749938" y="762225"/>
                </a:lnTo>
                <a:lnTo>
                  <a:pt x="1751024" y="765581"/>
                </a:lnTo>
                <a:lnTo>
                  <a:pt x="1754062" y="766881"/>
                </a:lnTo>
                <a:lnTo>
                  <a:pt x="1756667" y="772944"/>
                </a:lnTo>
                <a:lnTo>
                  <a:pt x="1759054" y="777058"/>
                </a:lnTo>
                <a:lnTo>
                  <a:pt x="1759596" y="782905"/>
                </a:lnTo>
                <a:lnTo>
                  <a:pt x="1761876" y="788318"/>
                </a:lnTo>
                <a:lnTo>
                  <a:pt x="1759596" y="793082"/>
                </a:lnTo>
                <a:lnTo>
                  <a:pt x="1759054" y="798387"/>
                </a:lnTo>
                <a:lnTo>
                  <a:pt x="1754822" y="803151"/>
                </a:lnTo>
                <a:lnTo>
                  <a:pt x="1744296" y="799362"/>
                </a:lnTo>
                <a:lnTo>
                  <a:pt x="1738436" y="798820"/>
                </a:lnTo>
                <a:lnTo>
                  <a:pt x="1738545" y="800769"/>
                </a:lnTo>
                <a:lnTo>
                  <a:pt x="1736483" y="802285"/>
                </a:lnTo>
                <a:lnTo>
                  <a:pt x="1730514" y="799903"/>
                </a:lnTo>
                <a:lnTo>
                  <a:pt x="1726499" y="799687"/>
                </a:lnTo>
                <a:lnTo>
                  <a:pt x="1727692" y="803368"/>
                </a:lnTo>
                <a:lnTo>
                  <a:pt x="1723786" y="806074"/>
                </a:lnTo>
                <a:lnTo>
                  <a:pt x="1723244" y="811055"/>
                </a:lnTo>
                <a:lnTo>
                  <a:pt x="1718251" y="810513"/>
                </a:lnTo>
                <a:lnTo>
                  <a:pt x="1713911" y="812138"/>
                </a:lnTo>
                <a:lnTo>
                  <a:pt x="1715647" y="814519"/>
                </a:lnTo>
                <a:lnTo>
                  <a:pt x="1720313" y="816577"/>
                </a:lnTo>
                <a:lnTo>
                  <a:pt x="1721724" y="821882"/>
                </a:lnTo>
                <a:lnTo>
                  <a:pt x="1725631" y="825130"/>
                </a:lnTo>
                <a:lnTo>
                  <a:pt x="1728560" y="823290"/>
                </a:lnTo>
                <a:lnTo>
                  <a:pt x="1734095" y="827729"/>
                </a:lnTo>
                <a:lnTo>
                  <a:pt x="1734421" y="831843"/>
                </a:lnTo>
                <a:lnTo>
                  <a:pt x="1741040" y="831843"/>
                </a:lnTo>
                <a:lnTo>
                  <a:pt x="1748419" y="836390"/>
                </a:lnTo>
                <a:lnTo>
                  <a:pt x="1756341" y="836823"/>
                </a:lnTo>
                <a:lnTo>
                  <a:pt x="1766325" y="841370"/>
                </a:lnTo>
                <a:lnTo>
                  <a:pt x="1772402" y="841696"/>
                </a:lnTo>
                <a:lnTo>
                  <a:pt x="1772402" y="839097"/>
                </a:lnTo>
                <a:lnTo>
                  <a:pt x="1774789" y="838772"/>
                </a:lnTo>
                <a:lnTo>
                  <a:pt x="1779021" y="841154"/>
                </a:lnTo>
                <a:lnTo>
                  <a:pt x="1778696" y="844944"/>
                </a:lnTo>
                <a:lnTo>
                  <a:pt x="1785641" y="839422"/>
                </a:lnTo>
                <a:lnTo>
                  <a:pt x="1788028" y="842129"/>
                </a:lnTo>
                <a:lnTo>
                  <a:pt x="1790958" y="841804"/>
                </a:lnTo>
                <a:lnTo>
                  <a:pt x="1794213" y="838014"/>
                </a:lnTo>
                <a:lnTo>
                  <a:pt x="1796275" y="838231"/>
                </a:lnTo>
                <a:lnTo>
                  <a:pt x="1796167" y="840505"/>
                </a:lnTo>
                <a:lnTo>
                  <a:pt x="1798663" y="841479"/>
                </a:lnTo>
                <a:lnTo>
                  <a:pt x="1806259" y="837582"/>
                </a:lnTo>
                <a:lnTo>
                  <a:pt x="1819389" y="832709"/>
                </a:lnTo>
                <a:lnTo>
                  <a:pt x="1823404" y="831843"/>
                </a:lnTo>
                <a:lnTo>
                  <a:pt x="1823187" y="836390"/>
                </a:lnTo>
                <a:lnTo>
                  <a:pt x="1821994" y="838772"/>
                </a:lnTo>
                <a:lnTo>
                  <a:pt x="1821994" y="840505"/>
                </a:lnTo>
                <a:lnTo>
                  <a:pt x="1824164" y="840613"/>
                </a:lnTo>
                <a:lnTo>
                  <a:pt x="1824598" y="845593"/>
                </a:lnTo>
                <a:lnTo>
                  <a:pt x="1823839" y="849274"/>
                </a:lnTo>
                <a:lnTo>
                  <a:pt x="1825032" y="851764"/>
                </a:lnTo>
                <a:lnTo>
                  <a:pt x="1826660" y="852847"/>
                </a:lnTo>
                <a:lnTo>
                  <a:pt x="1829373" y="849924"/>
                </a:lnTo>
                <a:lnTo>
                  <a:pt x="1832303" y="852523"/>
                </a:lnTo>
                <a:lnTo>
                  <a:pt x="1831651" y="856637"/>
                </a:lnTo>
                <a:lnTo>
                  <a:pt x="1828505" y="864216"/>
                </a:lnTo>
                <a:lnTo>
                  <a:pt x="1829590" y="869196"/>
                </a:lnTo>
                <a:lnTo>
                  <a:pt x="1830892" y="870171"/>
                </a:lnTo>
                <a:lnTo>
                  <a:pt x="1834365" y="866814"/>
                </a:lnTo>
                <a:lnTo>
                  <a:pt x="1835016" y="860968"/>
                </a:lnTo>
                <a:lnTo>
                  <a:pt x="1836752" y="858045"/>
                </a:lnTo>
                <a:lnTo>
                  <a:pt x="1838163" y="858045"/>
                </a:lnTo>
                <a:lnTo>
                  <a:pt x="1837620" y="864324"/>
                </a:lnTo>
                <a:lnTo>
                  <a:pt x="1834365" y="872120"/>
                </a:lnTo>
                <a:lnTo>
                  <a:pt x="1830892" y="877316"/>
                </a:lnTo>
                <a:lnTo>
                  <a:pt x="1830567" y="885653"/>
                </a:lnTo>
                <a:lnTo>
                  <a:pt x="1833822" y="890851"/>
                </a:lnTo>
                <a:lnTo>
                  <a:pt x="1834039" y="899079"/>
                </a:lnTo>
                <a:lnTo>
                  <a:pt x="1832303" y="904926"/>
                </a:lnTo>
                <a:lnTo>
                  <a:pt x="1837294" y="908498"/>
                </a:lnTo>
                <a:lnTo>
                  <a:pt x="1837294" y="911530"/>
                </a:lnTo>
                <a:lnTo>
                  <a:pt x="1835233" y="915428"/>
                </a:lnTo>
                <a:lnTo>
                  <a:pt x="1837294" y="917810"/>
                </a:lnTo>
                <a:lnTo>
                  <a:pt x="1839899" y="924847"/>
                </a:lnTo>
                <a:lnTo>
                  <a:pt x="1840767" y="939681"/>
                </a:lnTo>
                <a:lnTo>
                  <a:pt x="1841093" y="924847"/>
                </a:lnTo>
                <a:lnTo>
                  <a:pt x="1838488" y="913154"/>
                </a:lnTo>
                <a:lnTo>
                  <a:pt x="1839899" y="902869"/>
                </a:lnTo>
                <a:lnTo>
                  <a:pt x="1845433" y="892908"/>
                </a:lnTo>
                <a:lnTo>
                  <a:pt x="1848689" y="893016"/>
                </a:lnTo>
                <a:lnTo>
                  <a:pt x="1848689" y="897347"/>
                </a:lnTo>
                <a:lnTo>
                  <a:pt x="1846952" y="897996"/>
                </a:lnTo>
                <a:lnTo>
                  <a:pt x="1846302" y="901894"/>
                </a:lnTo>
                <a:lnTo>
                  <a:pt x="1847929" y="903085"/>
                </a:lnTo>
                <a:lnTo>
                  <a:pt x="1851076" y="901028"/>
                </a:lnTo>
                <a:lnTo>
                  <a:pt x="1852270" y="902869"/>
                </a:lnTo>
                <a:lnTo>
                  <a:pt x="1854331" y="900703"/>
                </a:lnTo>
                <a:lnTo>
                  <a:pt x="1854331" y="895831"/>
                </a:lnTo>
                <a:lnTo>
                  <a:pt x="1851618" y="891500"/>
                </a:lnTo>
                <a:lnTo>
                  <a:pt x="1851402" y="888793"/>
                </a:lnTo>
                <a:lnTo>
                  <a:pt x="1855959" y="887602"/>
                </a:lnTo>
                <a:lnTo>
                  <a:pt x="1857153" y="885112"/>
                </a:lnTo>
                <a:lnTo>
                  <a:pt x="1852813" y="881755"/>
                </a:lnTo>
                <a:lnTo>
                  <a:pt x="1853138" y="878508"/>
                </a:lnTo>
                <a:lnTo>
                  <a:pt x="1855417" y="869521"/>
                </a:lnTo>
                <a:lnTo>
                  <a:pt x="1859541" y="857503"/>
                </a:lnTo>
                <a:lnTo>
                  <a:pt x="1858456" y="853497"/>
                </a:lnTo>
                <a:lnTo>
                  <a:pt x="1858456" y="849708"/>
                </a:lnTo>
                <a:lnTo>
                  <a:pt x="1861602" y="847325"/>
                </a:lnTo>
                <a:lnTo>
                  <a:pt x="1868330" y="846676"/>
                </a:lnTo>
                <a:lnTo>
                  <a:pt x="1868656" y="845160"/>
                </a:lnTo>
                <a:lnTo>
                  <a:pt x="1870718" y="842345"/>
                </a:lnTo>
                <a:lnTo>
                  <a:pt x="1873973" y="841804"/>
                </a:lnTo>
                <a:lnTo>
                  <a:pt x="1876035" y="844294"/>
                </a:lnTo>
                <a:lnTo>
                  <a:pt x="1879507" y="842670"/>
                </a:lnTo>
                <a:lnTo>
                  <a:pt x="1882437" y="838772"/>
                </a:lnTo>
                <a:lnTo>
                  <a:pt x="1884717" y="838556"/>
                </a:lnTo>
                <a:lnTo>
                  <a:pt x="1884717" y="841804"/>
                </a:lnTo>
                <a:lnTo>
                  <a:pt x="1887103" y="840613"/>
                </a:lnTo>
                <a:lnTo>
                  <a:pt x="1892313" y="839747"/>
                </a:lnTo>
                <a:lnTo>
                  <a:pt x="1894700" y="835091"/>
                </a:lnTo>
                <a:lnTo>
                  <a:pt x="1897413" y="835091"/>
                </a:lnTo>
                <a:lnTo>
                  <a:pt x="1899041" y="838772"/>
                </a:lnTo>
                <a:lnTo>
                  <a:pt x="1901211" y="839313"/>
                </a:lnTo>
                <a:lnTo>
                  <a:pt x="1902404" y="845268"/>
                </a:lnTo>
                <a:lnTo>
                  <a:pt x="1902296" y="839313"/>
                </a:lnTo>
                <a:lnTo>
                  <a:pt x="1900668" y="834117"/>
                </a:lnTo>
                <a:lnTo>
                  <a:pt x="1904467" y="826862"/>
                </a:lnTo>
                <a:lnTo>
                  <a:pt x="1907830" y="826754"/>
                </a:lnTo>
                <a:lnTo>
                  <a:pt x="1910001" y="828486"/>
                </a:lnTo>
                <a:lnTo>
                  <a:pt x="1914016" y="828270"/>
                </a:lnTo>
                <a:lnTo>
                  <a:pt x="1916620" y="826538"/>
                </a:lnTo>
                <a:lnTo>
                  <a:pt x="1919442" y="828811"/>
                </a:lnTo>
                <a:lnTo>
                  <a:pt x="1924867" y="822964"/>
                </a:lnTo>
                <a:lnTo>
                  <a:pt x="1923131" y="819825"/>
                </a:lnTo>
                <a:lnTo>
                  <a:pt x="1926170" y="816577"/>
                </a:lnTo>
                <a:lnTo>
                  <a:pt x="1921937" y="816252"/>
                </a:lnTo>
                <a:lnTo>
                  <a:pt x="1921395" y="814844"/>
                </a:lnTo>
                <a:lnTo>
                  <a:pt x="1917814" y="815061"/>
                </a:lnTo>
                <a:lnTo>
                  <a:pt x="1908156" y="818417"/>
                </a:lnTo>
                <a:lnTo>
                  <a:pt x="1905335" y="818093"/>
                </a:lnTo>
                <a:lnTo>
                  <a:pt x="1904032" y="821341"/>
                </a:lnTo>
                <a:lnTo>
                  <a:pt x="1899801" y="821774"/>
                </a:lnTo>
                <a:lnTo>
                  <a:pt x="1899801" y="824697"/>
                </a:lnTo>
                <a:lnTo>
                  <a:pt x="1898824" y="827079"/>
                </a:lnTo>
                <a:lnTo>
                  <a:pt x="1894808" y="822207"/>
                </a:lnTo>
                <a:lnTo>
                  <a:pt x="1895351" y="818417"/>
                </a:lnTo>
                <a:lnTo>
                  <a:pt x="1892638" y="820691"/>
                </a:lnTo>
                <a:lnTo>
                  <a:pt x="1891553" y="824805"/>
                </a:lnTo>
                <a:lnTo>
                  <a:pt x="1888297" y="826213"/>
                </a:lnTo>
                <a:lnTo>
                  <a:pt x="1883849" y="823290"/>
                </a:lnTo>
                <a:lnTo>
                  <a:pt x="1880159" y="823290"/>
                </a:lnTo>
                <a:lnTo>
                  <a:pt x="1879507" y="821016"/>
                </a:lnTo>
                <a:lnTo>
                  <a:pt x="1876469" y="821882"/>
                </a:lnTo>
                <a:lnTo>
                  <a:pt x="1875926" y="824697"/>
                </a:lnTo>
                <a:lnTo>
                  <a:pt x="1879182" y="827945"/>
                </a:lnTo>
                <a:lnTo>
                  <a:pt x="1879182" y="830652"/>
                </a:lnTo>
                <a:lnTo>
                  <a:pt x="1874190" y="832276"/>
                </a:lnTo>
                <a:lnTo>
                  <a:pt x="1872780" y="830002"/>
                </a:lnTo>
                <a:lnTo>
                  <a:pt x="1866377" y="829136"/>
                </a:lnTo>
                <a:lnTo>
                  <a:pt x="1865509" y="826754"/>
                </a:lnTo>
                <a:lnTo>
                  <a:pt x="1868547" y="824156"/>
                </a:lnTo>
                <a:lnTo>
                  <a:pt x="1869850" y="819825"/>
                </a:lnTo>
                <a:lnTo>
                  <a:pt x="1868005" y="819609"/>
                </a:lnTo>
                <a:lnTo>
                  <a:pt x="1865184" y="821341"/>
                </a:lnTo>
                <a:lnTo>
                  <a:pt x="1861602" y="819500"/>
                </a:lnTo>
                <a:lnTo>
                  <a:pt x="1863447" y="815711"/>
                </a:lnTo>
                <a:lnTo>
                  <a:pt x="1867788" y="813112"/>
                </a:lnTo>
                <a:lnTo>
                  <a:pt x="1873864" y="804558"/>
                </a:lnTo>
                <a:lnTo>
                  <a:pt x="1878097" y="804558"/>
                </a:lnTo>
                <a:lnTo>
                  <a:pt x="1883306" y="805966"/>
                </a:lnTo>
                <a:lnTo>
                  <a:pt x="1900668" y="805209"/>
                </a:lnTo>
                <a:lnTo>
                  <a:pt x="1912931" y="801419"/>
                </a:lnTo>
                <a:lnTo>
                  <a:pt x="1916186" y="802177"/>
                </a:lnTo>
                <a:lnTo>
                  <a:pt x="1922263" y="800011"/>
                </a:lnTo>
                <a:lnTo>
                  <a:pt x="1924433" y="803476"/>
                </a:lnTo>
                <a:lnTo>
                  <a:pt x="1927363" y="806074"/>
                </a:lnTo>
                <a:lnTo>
                  <a:pt x="1929642" y="806291"/>
                </a:lnTo>
                <a:lnTo>
                  <a:pt x="1931053" y="810080"/>
                </a:lnTo>
                <a:lnTo>
                  <a:pt x="1930185" y="819609"/>
                </a:lnTo>
                <a:lnTo>
                  <a:pt x="1928991" y="822748"/>
                </a:lnTo>
                <a:lnTo>
                  <a:pt x="1931270" y="824156"/>
                </a:lnTo>
                <a:lnTo>
                  <a:pt x="1930510" y="825996"/>
                </a:lnTo>
                <a:lnTo>
                  <a:pt x="1926712" y="828486"/>
                </a:lnTo>
                <a:lnTo>
                  <a:pt x="1927255" y="830111"/>
                </a:lnTo>
                <a:lnTo>
                  <a:pt x="1928991" y="831518"/>
                </a:lnTo>
                <a:lnTo>
                  <a:pt x="1930185" y="840829"/>
                </a:lnTo>
                <a:lnTo>
                  <a:pt x="1933766" y="840937"/>
                </a:lnTo>
                <a:lnTo>
                  <a:pt x="1936696" y="842345"/>
                </a:lnTo>
                <a:lnTo>
                  <a:pt x="1936696" y="844727"/>
                </a:lnTo>
                <a:lnTo>
                  <a:pt x="1932898" y="847542"/>
                </a:lnTo>
                <a:lnTo>
                  <a:pt x="1932572" y="851115"/>
                </a:lnTo>
                <a:lnTo>
                  <a:pt x="1930728" y="854255"/>
                </a:lnTo>
                <a:lnTo>
                  <a:pt x="1935394" y="854039"/>
                </a:lnTo>
                <a:lnTo>
                  <a:pt x="1939626" y="855988"/>
                </a:lnTo>
                <a:lnTo>
                  <a:pt x="1940494" y="857719"/>
                </a:lnTo>
                <a:lnTo>
                  <a:pt x="1942447" y="857178"/>
                </a:lnTo>
                <a:lnTo>
                  <a:pt x="1945703" y="860751"/>
                </a:lnTo>
                <a:lnTo>
                  <a:pt x="1950694" y="860968"/>
                </a:lnTo>
                <a:lnTo>
                  <a:pt x="1954818" y="858478"/>
                </a:lnTo>
                <a:lnTo>
                  <a:pt x="1956554" y="859560"/>
                </a:lnTo>
                <a:lnTo>
                  <a:pt x="1956229" y="862808"/>
                </a:lnTo>
                <a:lnTo>
                  <a:pt x="1957423" y="864216"/>
                </a:lnTo>
                <a:lnTo>
                  <a:pt x="1959592" y="863349"/>
                </a:lnTo>
                <a:lnTo>
                  <a:pt x="1962089" y="866273"/>
                </a:lnTo>
                <a:lnTo>
                  <a:pt x="1960787" y="868547"/>
                </a:lnTo>
                <a:lnTo>
                  <a:pt x="1960787" y="871362"/>
                </a:lnTo>
                <a:lnTo>
                  <a:pt x="1962849" y="872228"/>
                </a:lnTo>
                <a:lnTo>
                  <a:pt x="1963825" y="875151"/>
                </a:lnTo>
                <a:lnTo>
                  <a:pt x="1970336" y="881431"/>
                </a:lnTo>
                <a:lnTo>
                  <a:pt x="1970336" y="884787"/>
                </a:lnTo>
                <a:lnTo>
                  <a:pt x="1975436" y="881214"/>
                </a:lnTo>
                <a:lnTo>
                  <a:pt x="1977172" y="882622"/>
                </a:lnTo>
                <a:lnTo>
                  <a:pt x="1977932" y="886736"/>
                </a:lnTo>
                <a:lnTo>
                  <a:pt x="1979126" y="887277"/>
                </a:lnTo>
                <a:lnTo>
                  <a:pt x="1984118" y="891392"/>
                </a:lnTo>
                <a:lnTo>
                  <a:pt x="1989435" y="888577"/>
                </a:lnTo>
                <a:lnTo>
                  <a:pt x="1997357" y="888902"/>
                </a:lnTo>
                <a:lnTo>
                  <a:pt x="1999744" y="885112"/>
                </a:lnTo>
                <a:lnTo>
                  <a:pt x="2006146" y="881755"/>
                </a:lnTo>
                <a:lnTo>
                  <a:pt x="2007557" y="881755"/>
                </a:lnTo>
                <a:lnTo>
                  <a:pt x="2008968" y="884463"/>
                </a:lnTo>
                <a:lnTo>
                  <a:pt x="2018192" y="883921"/>
                </a:lnTo>
                <a:lnTo>
                  <a:pt x="2026113" y="890200"/>
                </a:lnTo>
                <a:lnTo>
                  <a:pt x="2029694" y="891175"/>
                </a:lnTo>
                <a:lnTo>
                  <a:pt x="2033384" y="894640"/>
                </a:lnTo>
                <a:lnTo>
                  <a:pt x="2035446" y="892908"/>
                </a:lnTo>
                <a:lnTo>
                  <a:pt x="2044019" y="891067"/>
                </a:lnTo>
                <a:lnTo>
                  <a:pt x="2047166" y="895181"/>
                </a:lnTo>
                <a:lnTo>
                  <a:pt x="2049553" y="893557"/>
                </a:lnTo>
                <a:lnTo>
                  <a:pt x="2048902" y="888468"/>
                </a:lnTo>
                <a:lnTo>
                  <a:pt x="2045213" y="884354"/>
                </a:lnTo>
                <a:lnTo>
                  <a:pt x="2043910" y="877749"/>
                </a:lnTo>
                <a:lnTo>
                  <a:pt x="2045646" y="875692"/>
                </a:lnTo>
                <a:lnTo>
                  <a:pt x="2048359" y="876234"/>
                </a:lnTo>
                <a:lnTo>
                  <a:pt x="2050964" y="883921"/>
                </a:lnTo>
                <a:lnTo>
                  <a:pt x="2052158" y="890200"/>
                </a:lnTo>
                <a:lnTo>
                  <a:pt x="2058669" y="897996"/>
                </a:lnTo>
                <a:lnTo>
                  <a:pt x="2061924" y="900703"/>
                </a:lnTo>
                <a:lnTo>
                  <a:pt x="2063552" y="906008"/>
                </a:lnTo>
                <a:lnTo>
                  <a:pt x="2063877" y="896155"/>
                </a:lnTo>
                <a:lnTo>
                  <a:pt x="2061490" y="892908"/>
                </a:lnTo>
                <a:lnTo>
                  <a:pt x="2054871" y="890200"/>
                </a:lnTo>
                <a:lnTo>
                  <a:pt x="2053351" y="883271"/>
                </a:lnTo>
                <a:lnTo>
                  <a:pt x="2050964" y="873852"/>
                </a:lnTo>
                <a:lnTo>
                  <a:pt x="2052158" y="870604"/>
                </a:lnTo>
                <a:lnTo>
                  <a:pt x="2054002" y="871037"/>
                </a:lnTo>
                <a:lnTo>
                  <a:pt x="2054219" y="874176"/>
                </a:lnTo>
                <a:lnTo>
                  <a:pt x="2056064" y="876017"/>
                </a:lnTo>
                <a:lnTo>
                  <a:pt x="2058669" y="873960"/>
                </a:lnTo>
                <a:lnTo>
                  <a:pt x="2058669" y="870712"/>
                </a:lnTo>
                <a:lnTo>
                  <a:pt x="2056607" y="866814"/>
                </a:lnTo>
                <a:lnTo>
                  <a:pt x="2058234" y="864216"/>
                </a:lnTo>
                <a:lnTo>
                  <a:pt x="2056824" y="861617"/>
                </a:lnTo>
                <a:lnTo>
                  <a:pt x="2057692" y="858694"/>
                </a:lnTo>
                <a:lnTo>
                  <a:pt x="2061273" y="858911"/>
                </a:lnTo>
                <a:lnTo>
                  <a:pt x="2063877" y="862484"/>
                </a:lnTo>
                <a:lnTo>
                  <a:pt x="2063660" y="865515"/>
                </a:lnTo>
                <a:lnTo>
                  <a:pt x="2065722" y="866814"/>
                </a:lnTo>
                <a:lnTo>
                  <a:pt x="2066590" y="864865"/>
                </a:lnTo>
                <a:lnTo>
                  <a:pt x="2071474" y="862159"/>
                </a:lnTo>
                <a:lnTo>
                  <a:pt x="2073210" y="857286"/>
                </a:lnTo>
                <a:lnTo>
                  <a:pt x="2077334" y="857286"/>
                </a:lnTo>
                <a:lnTo>
                  <a:pt x="2079504" y="861292"/>
                </a:lnTo>
                <a:lnTo>
                  <a:pt x="2077984" y="864000"/>
                </a:lnTo>
                <a:lnTo>
                  <a:pt x="2077984" y="866814"/>
                </a:lnTo>
                <a:lnTo>
                  <a:pt x="2079179" y="863674"/>
                </a:lnTo>
                <a:lnTo>
                  <a:pt x="2081565" y="863025"/>
                </a:lnTo>
                <a:lnTo>
                  <a:pt x="2085255" y="866056"/>
                </a:lnTo>
                <a:lnTo>
                  <a:pt x="2084495" y="871362"/>
                </a:lnTo>
                <a:lnTo>
                  <a:pt x="2082976" y="874502"/>
                </a:lnTo>
                <a:lnTo>
                  <a:pt x="2085798" y="877749"/>
                </a:lnTo>
                <a:lnTo>
                  <a:pt x="2089596" y="876775"/>
                </a:lnTo>
                <a:lnTo>
                  <a:pt x="2092634" y="878508"/>
                </a:lnTo>
                <a:lnTo>
                  <a:pt x="2091441" y="882188"/>
                </a:lnTo>
                <a:lnTo>
                  <a:pt x="2085906" y="884463"/>
                </a:lnTo>
                <a:lnTo>
                  <a:pt x="2085038" y="886303"/>
                </a:lnTo>
                <a:lnTo>
                  <a:pt x="2088294" y="887710"/>
                </a:lnTo>
                <a:lnTo>
                  <a:pt x="2093719" y="884137"/>
                </a:lnTo>
                <a:lnTo>
                  <a:pt x="2096649" y="879374"/>
                </a:lnTo>
                <a:lnTo>
                  <a:pt x="2102510" y="877749"/>
                </a:lnTo>
                <a:lnTo>
                  <a:pt x="2107284" y="878291"/>
                </a:lnTo>
                <a:lnTo>
                  <a:pt x="2107176" y="880240"/>
                </a:lnTo>
                <a:lnTo>
                  <a:pt x="2103811" y="881214"/>
                </a:lnTo>
                <a:lnTo>
                  <a:pt x="2100882" y="883813"/>
                </a:lnTo>
                <a:lnTo>
                  <a:pt x="2100447" y="889443"/>
                </a:lnTo>
                <a:lnTo>
                  <a:pt x="2093394" y="893774"/>
                </a:lnTo>
                <a:lnTo>
                  <a:pt x="2092851" y="896697"/>
                </a:lnTo>
                <a:lnTo>
                  <a:pt x="2085906" y="903085"/>
                </a:lnTo>
                <a:lnTo>
                  <a:pt x="2085906" y="906116"/>
                </a:lnTo>
                <a:lnTo>
                  <a:pt x="2084062" y="908715"/>
                </a:lnTo>
                <a:lnTo>
                  <a:pt x="2082976" y="904709"/>
                </a:lnTo>
                <a:lnTo>
                  <a:pt x="2080047" y="909040"/>
                </a:lnTo>
                <a:lnTo>
                  <a:pt x="2078202" y="916944"/>
                </a:lnTo>
                <a:lnTo>
                  <a:pt x="2078635" y="919759"/>
                </a:lnTo>
                <a:lnTo>
                  <a:pt x="2082433" y="917810"/>
                </a:lnTo>
                <a:lnTo>
                  <a:pt x="2085255" y="917702"/>
                </a:lnTo>
                <a:lnTo>
                  <a:pt x="2085038" y="921924"/>
                </a:lnTo>
                <a:lnTo>
                  <a:pt x="2080047" y="925389"/>
                </a:lnTo>
                <a:lnTo>
                  <a:pt x="2079720" y="928095"/>
                </a:lnTo>
                <a:lnTo>
                  <a:pt x="2086123" y="926255"/>
                </a:lnTo>
                <a:lnTo>
                  <a:pt x="2089379" y="923115"/>
                </a:lnTo>
                <a:lnTo>
                  <a:pt x="2092851" y="923548"/>
                </a:lnTo>
                <a:lnTo>
                  <a:pt x="2089704" y="928528"/>
                </a:lnTo>
                <a:lnTo>
                  <a:pt x="2086449" y="930910"/>
                </a:lnTo>
                <a:lnTo>
                  <a:pt x="2089379" y="931777"/>
                </a:lnTo>
                <a:lnTo>
                  <a:pt x="2093177" y="930153"/>
                </a:lnTo>
                <a:lnTo>
                  <a:pt x="2091115" y="936216"/>
                </a:lnTo>
                <a:lnTo>
                  <a:pt x="2090572" y="940005"/>
                </a:lnTo>
                <a:lnTo>
                  <a:pt x="2087317" y="942712"/>
                </a:lnTo>
                <a:lnTo>
                  <a:pt x="2082108" y="940655"/>
                </a:lnTo>
                <a:lnTo>
                  <a:pt x="2079938" y="936324"/>
                </a:lnTo>
                <a:lnTo>
                  <a:pt x="2074186" y="939139"/>
                </a:lnTo>
                <a:lnTo>
                  <a:pt x="2072124" y="932643"/>
                </a:lnTo>
                <a:lnTo>
                  <a:pt x="2070280" y="932751"/>
                </a:lnTo>
                <a:lnTo>
                  <a:pt x="2068652" y="939356"/>
                </a:lnTo>
                <a:lnTo>
                  <a:pt x="2071799" y="944011"/>
                </a:lnTo>
                <a:lnTo>
                  <a:pt x="2073644" y="950183"/>
                </a:lnTo>
                <a:lnTo>
                  <a:pt x="2072016" y="960468"/>
                </a:lnTo>
                <a:lnTo>
                  <a:pt x="2076140" y="950940"/>
                </a:lnTo>
                <a:lnTo>
                  <a:pt x="2074729" y="943578"/>
                </a:lnTo>
                <a:lnTo>
                  <a:pt x="2077659" y="940979"/>
                </a:lnTo>
                <a:lnTo>
                  <a:pt x="2080589" y="944011"/>
                </a:lnTo>
                <a:lnTo>
                  <a:pt x="2085798" y="944336"/>
                </a:lnTo>
                <a:lnTo>
                  <a:pt x="2089704" y="947259"/>
                </a:lnTo>
                <a:lnTo>
                  <a:pt x="2092960" y="944444"/>
                </a:lnTo>
                <a:lnTo>
                  <a:pt x="2093502" y="939139"/>
                </a:lnTo>
                <a:lnTo>
                  <a:pt x="2099688" y="937299"/>
                </a:lnTo>
                <a:lnTo>
                  <a:pt x="2103811" y="932643"/>
                </a:lnTo>
                <a:lnTo>
                  <a:pt x="2108478" y="932426"/>
                </a:lnTo>
                <a:lnTo>
                  <a:pt x="2111733" y="928095"/>
                </a:lnTo>
                <a:lnTo>
                  <a:pt x="2107826" y="930910"/>
                </a:lnTo>
                <a:lnTo>
                  <a:pt x="2103160" y="930153"/>
                </a:lnTo>
                <a:lnTo>
                  <a:pt x="2100882" y="933617"/>
                </a:lnTo>
                <a:lnTo>
                  <a:pt x="2097843" y="935024"/>
                </a:lnTo>
                <a:lnTo>
                  <a:pt x="2096215" y="935024"/>
                </a:lnTo>
                <a:lnTo>
                  <a:pt x="2098385" y="929720"/>
                </a:lnTo>
                <a:lnTo>
                  <a:pt x="2101424" y="927338"/>
                </a:lnTo>
                <a:lnTo>
                  <a:pt x="2099688" y="924414"/>
                </a:lnTo>
                <a:lnTo>
                  <a:pt x="2099905" y="921058"/>
                </a:lnTo>
                <a:lnTo>
                  <a:pt x="2102618" y="914237"/>
                </a:lnTo>
                <a:lnTo>
                  <a:pt x="2102292" y="910772"/>
                </a:lnTo>
                <a:lnTo>
                  <a:pt x="2099905" y="908065"/>
                </a:lnTo>
                <a:lnTo>
                  <a:pt x="2101424" y="906008"/>
                </a:lnTo>
                <a:lnTo>
                  <a:pt x="2105331" y="899945"/>
                </a:lnTo>
                <a:lnTo>
                  <a:pt x="2107176" y="893882"/>
                </a:lnTo>
                <a:lnTo>
                  <a:pt x="2111951" y="889984"/>
                </a:lnTo>
                <a:lnTo>
                  <a:pt x="2113361" y="891825"/>
                </a:lnTo>
                <a:lnTo>
                  <a:pt x="2112059" y="893882"/>
                </a:lnTo>
                <a:lnTo>
                  <a:pt x="2114880" y="893016"/>
                </a:lnTo>
                <a:lnTo>
                  <a:pt x="2117485" y="889335"/>
                </a:lnTo>
                <a:lnTo>
                  <a:pt x="2118679" y="891500"/>
                </a:lnTo>
                <a:lnTo>
                  <a:pt x="2120523" y="891716"/>
                </a:lnTo>
                <a:lnTo>
                  <a:pt x="2121933" y="894098"/>
                </a:lnTo>
                <a:lnTo>
                  <a:pt x="2126275" y="893232"/>
                </a:lnTo>
                <a:lnTo>
                  <a:pt x="2128988" y="889335"/>
                </a:lnTo>
                <a:lnTo>
                  <a:pt x="2139839" y="884787"/>
                </a:lnTo>
                <a:lnTo>
                  <a:pt x="2142118" y="880673"/>
                </a:lnTo>
                <a:lnTo>
                  <a:pt x="2141901" y="878291"/>
                </a:lnTo>
                <a:lnTo>
                  <a:pt x="2144831" y="877425"/>
                </a:lnTo>
                <a:lnTo>
                  <a:pt x="2149280" y="872661"/>
                </a:lnTo>
                <a:lnTo>
                  <a:pt x="2156008" y="871903"/>
                </a:lnTo>
                <a:lnTo>
                  <a:pt x="2159372" y="868114"/>
                </a:lnTo>
                <a:lnTo>
                  <a:pt x="2158938" y="865190"/>
                </a:lnTo>
                <a:lnTo>
                  <a:pt x="2160132" y="859019"/>
                </a:lnTo>
                <a:lnTo>
                  <a:pt x="2163496" y="853389"/>
                </a:lnTo>
                <a:lnTo>
                  <a:pt x="2164255" y="849058"/>
                </a:lnTo>
                <a:lnTo>
                  <a:pt x="2162628" y="846784"/>
                </a:lnTo>
                <a:lnTo>
                  <a:pt x="2159806" y="848950"/>
                </a:lnTo>
                <a:lnTo>
                  <a:pt x="2156008" y="849599"/>
                </a:lnTo>
                <a:lnTo>
                  <a:pt x="2156876" y="851440"/>
                </a:lnTo>
                <a:lnTo>
                  <a:pt x="2154706" y="855446"/>
                </a:lnTo>
                <a:lnTo>
                  <a:pt x="2150148" y="856312"/>
                </a:lnTo>
                <a:lnTo>
                  <a:pt x="2147761" y="854363"/>
                </a:lnTo>
                <a:lnTo>
                  <a:pt x="2144614" y="854363"/>
                </a:lnTo>
                <a:lnTo>
                  <a:pt x="2143637" y="852631"/>
                </a:lnTo>
                <a:lnTo>
                  <a:pt x="2146893" y="846459"/>
                </a:lnTo>
                <a:lnTo>
                  <a:pt x="2149823" y="846459"/>
                </a:lnTo>
                <a:lnTo>
                  <a:pt x="2152644" y="842995"/>
                </a:lnTo>
                <a:lnTo>
                  <a:pt x="2158830" y="840288"/>
                </a:lnTo>
                <a:lnTo>
                  <a:pt x="2159155" y="837256"/>
                </a:lnTo>
                <a:lnTo>
                  <a:pt x="2156550" y="834983"/>
                </a:lnTo>
                <a:lnTo>
                  <a:pt x="2160674" y="829786"/>
                </a:lnTo>
                <a:lnTo>
                  <a:pt x="2165991" y="828811"/>
                </a:lnTo>
                <a:lnTo>
                  <a:pt x="2171417" y="830327"/>
                </a:lnTo>
                <a:lnTo>
                  <a:pt x="2167402" y="832925"/>
                </a:lnTo>
                <a:lnTo>
                  <a:pt x="2166751" y="837690"/>
                </a:lnTo>
                <a:lnTo>
                  <a:pt x="2168271" y="838772"/>
                </a:lnTo>
                <a:lnTo>
                  <a:pt x="2173045" y="836390"/>
                </a:lnTo>
                <a:lnTo>
                  <a:pt x="2177277" y="827403"/>
                </a:lnTo>
                <a:lnTo>
                  <a:pt x="2177385" y="823615"/>
                </a:lnTo>
                <a:lnTo>
                  <a:pt x="2172394" y="822423"/>
                </a:lnTo>
                <a:lnTo>
                  <a:pt x="2168271" y="822640"/>
                </a:lnTo>
                <a:lnTo>
                  <a:pt x="2165341" y="820366"/>
                </a:lnTo>
                <a:lnTo>
                  <a:pt x="2158612" y="818850"/>
                </a:lnTo>
                <a:lnTo>
                  <a:pt x="2156225" y="812138"/>
                </a:lnTo>
                <a:lnTo>
                  <a:pt x="2157202" y="806832"/>
                </a:lnTo>
                <a:lnTo>
                  <a:pt x="2153837" y="811705"/>
                </a:lnTo>
                <a:lnTo>
                  <a:pt x="2151233" y="811705"/>
                </a:lnTo>
                <a:lnTo>
                  <a:pt x="2148846" y="807482"/>
                </a:lnTo>
                <a:lnTo>
                  <a:pt x="2144505" y="804883"/>
                </a:lnTo>
                <a:lnTo>
                  <a:pt x="2143311" y="799578"/>
                </a:lnTo>
                <a:lnTo>
                  <a:pt x="2141250" y="798495"/>
                </a:lnTo>
                <a:lnTo>
                  <a:pt x="2137777" y="799037"/>
                </a:lnTo>
                <a:lnTo>
                  <a:pt x="2136800" y="795248"/>
                </a:lnTo>
                <a:lnTo>
                  <a:pt x="2135173" y="793190"/>
                </a:lnTo>
                <a:lnTo>
                  <a:pt x="2137452" y="789293"/>
                </a:lnTo>
                <a:lnTo>
                  <a:pt x="2137235" y="785503"/>
                </a:lnTo>
                <a:lnTo>
                  <a:pt x="2135390" y="780956"/>
                </a:lnTo>
                <a:lnTo>
                  <a:pt x="2136041" y="769479"/>
                </a:lnTo>
                <a:lnTo>
                  <a:pt x="2139405" y="765581"/>
                </a:lnTo>
                <a:lnTo>
                  <a:pt x="2147326" y="758544"/>
                </a:lnTo>
                <a:lnTo>
                  <a:pt x="2151993" y="756703"/>
                </a:lnTo>
                <a:lnTo>
                  <a:pt x="2155791" y="756811"/>
                </a:lnTo>
                <a:lnTo>
                  <a:pt x="2156225" y="755079"/>
                </a:lnTo>
                <a:lnTo>
                  <a:pt x="2160023" y="752047"/>
                </a:lnTo>
                <a:lnTo>
                  <a:pt x="2160457" y="749232"/>
                </a:lnTo>
                <a:lnTo>
                  <a:pt x="2157853" y="749232"/>
                </a:lnTo>
                <a:lnTo>
                  <a:pt x="2154164" y="751722"/>
                </a:lnTo>
                <a:lnTo>
                  <a:pt x="2151667" y="750532"/>
                </a:lnTo>
                <a:lnTo>
                  <a:pt x="2151776" y="747608"/>
                </a:lnTo>
                <a:lnTo>
                  <a:pt x="2150039" y="742628"/>
                </a:lnTo>
                <a:lnTo>
                  <a:pt x="2150691" y="737647"/>
                </a:lnTo>
                <a:lnTo>
                  <a:pt x="2156767" y="730935"/>
                </a:lnTo>
                <a:lnTo>
                  <a:pt x="2160566" y="722598"/>
                </a:lnTo>
                <a:lnTo>
                  <a:pt x="2163496" y="721298"/>
                </a:lnTo>
                <a:lnTo>
                  <a:pt x="2166751" y="715127"/>
                </a:lnTo>
                <a:lnTo>
                  <a:pt x="2169789" y="715019"/>
                </a:lnTo>
                <a:lnTo>
                  <a:pt x="2173262" y="709714"/>
                </a:lnTo>
                <a:lnTo>
                  <a:pt x="2178905" y="707223"/>
                </a:lnTo>
                <a:lnTo>
                  <a:pt x="2182269" y="710039"/>
                </a:lnTo>
                <a:lnTo>
                  <a:pt x="2180533" y="715127"/>
                </a:lnTo>
                <a:lnTo>
                  <a:pt x="2183137" y="717726"/>
                </a:lnTo>
                <a:lnTo>
                  <a:pt x="2182052" y="721190"/>
                </a:lnTo>
                <a:lnTo>
                  <a:pt x="2186935" y="718592"/>
                </a:lnTo>
                <a:lnTo>
                  <a:pt x="2187586" y="715452"/>
                </a:lnTo>
                <a:lnTo>
                  <a:pt x="2193121" y="707223"/>
                </a:lnTo>
                <a:lnTo>
                  <a:pt x="2193121" y="705166"/>
                </a:lnTo>
                <a:lnTo>
                  <a:pt x="2189323" y="704625"/>
                </a:lnTo>
                <a:lnTo>
                  <a:pt x="2185308" y="703001"/>
                </a:lnTo>
                <a:lnTo>
                  <a:pt x="2182269" y="698670"/>
                </a:lnTo>
                <a:lnTo>
                  <a:pt x="2186393" y="694880"/>
                </a:lnTo>
                <a:lnTo>
                  <a:pt x="2192687" y="694880"/>
                </a:lnTo>
                <a:lnTo>
                  <a:pt x="2194423" y="692066"/>
                </a:lnTo>
                <a:lnTo>
                  <a:pt x="2201043" y="687843"/>
                </a:lnTo>
                <a:lnTo>
                  <a:pt x="2200825" y="683837"/>
                </a:lnTo>
                <a:lnTo>
                  <a:pt x="2204298" y="682105"/>
                </a:lnTo>
                <a:lnTo>
                  <a:pt x="2209615" y="684053"/>
                </a:lnTo>
                <a:lnTo>
                  <a:pt x="2217428" y="685786"/>
                </a:lnTo>
                <a:lnTo>
                  <a:pt x="2217862" y="690225"/>
                </a:lnTo>
                <a:lnTo>
                  <a:pt x="2216886" y="692282"/>
                </a:lnTo>
                <a:lnTo>
                  <a:pt x="2219816" y="693473"/>
                </a:lnTo>
                <a:lnTo>
                  <a:pt x="2223614" y="697263"/>
                </a:lnTo>
                <a:lnTo>
                  <a:pt x="2227195" y="699645"/>
                </a:lnTo>
                <a:lnTo>
                  <a:pt x="2225459" y="704300"/>
                </a:lnTo>
                <a:lnTo>
                  <a:pt x="2223288" y="705383"/>
                </a:lnTo>
                <a:lnTo>
                  <a:pt x="2224156" y="709497"/>
                </a:lnTo>
                <a:lnTo>
                  <a:pt x="2223397" y="713070"/>
                </a:lnTo>
                <a:lnTo>
                  <a:pt x="2227412" y="716859"/>
                </a:lnTo>
                <a:lnTo>
                  <a:pt x="2228714" y="720649"/>
                </a:lnTo>
                <a:lnTo>
                  <a:pt x="2227846" y="728877"/>
                </a:lnTo>
                <a:lnTo>
                  <a:pt x="2230776" y="730935"/>
                </a:lnTo>
                <a:lnTo>
                  <a:pt x="2230776" y="733208"/>
                </a:lnTo>
                <a:lnTo>
                  <a:pt x="2227412" y="737864"/>
                </a:lnTo>
                <a:lnTo>
                  <a:pt x="2227195" y="741437"/>
                </a:lnTo>
                <a:lnTo>
                  <a:pt x="2223614" y="746959"/>
                </a:lnTo>
                <a:lnTo>
                  <a:pt x="2223397" y="753022"/>
                </a:lnTo>
                <a:lnTo>
                  <a:pt x="2221010" y="754538"/>
                </a:lnTo>
                <a:lnTo>
                  <a:pt x="2223288" y="758760"/>
                </a:lnTo>
                <a:lnTo>
                  <a:pt x="2221552" y="763416"/>
                </a:lnTo>
                <a:lnTo>
                  <a:pt x="2226327" y="769154"/>
                </a:lnTo>
                <a:lnTo>
                  <a:pt x="2226327" y="772944"/>
                </a:lnTo>
                <a:lnTo>
                  <a:pt x="2224916" y="774676"/>
                </a:lnTo>
                <a:lnTo>
                  <a:pt x="2226327" y="778791"/>
                </a:lnTo>
                <a:lnTo>
                  <a:pt x="2224916" y="783013"/>
                </a:lnTo>
                <a:lnTo>
                  <a:pt x="2224916" y="786369"/>
                </a:lnTo>
                <a:lnTo>
                  <a:pt x="2228063" y="787127"/>
                </a:lnTo>
                <a:lnTo>
                  <a:pt x="2231102" y="791458"/>
                </a:lnTo>
                <a:lnTo>
                  <a:pt x="2230667" y="795464"/>
                </a:lnTo>
                <a:lnTo>
                  <a:pt x="2227195" y="798495"/>
                </a:lnTo>
                <a:lnTo>
                  <a:pt x="2224265" y="796980"/>
                </a:lnTo>
                <a:lnTo>
                  <a:pt x="2220141" y="797846"/>
                </a:lnTo>
                <a:lnTo>
                  <a:pt x="2217754" y="793407"/>
                </a:lnTo>
                <a:lnTo>
                  <a:pt x="2219273" y="788210"/>
                </a:lnTo>
                <a:lnTo>
                  <a:pt x="2213739" y="790591"/>
                </a:lnTo>
                <a:lnTo>
                  <a:pt x="2211569" y="795572"/>
                </a:lnTo>
                <a:lnTo>
                  <a:pt x="2207445" y="797305"/>
                </a:lnTo>
                <a:lnTo>
                  <a:pt x="2207445" y="799362"/>
                </a:lnTo>
                <a:lnTo>
                  <a:pt x="2213414" y="797846"/>
                </a:lnTo>
                <a:lnTo>
                  <a:pt x="2216560" y="800986"/>
                </a:lnTo>
                <a:lnTo>
                  <a:pt x="2215800" y="803368"/>
                </a:lnTo>
                <a:lnTo>
                  <a:pt x="2203105" y="812246"/>
                </a:lnTo>
                <a:lnTo>
                  <a:pt x="2199848" y="812787"/>
                </a:lnTo>
                <a:lnTo>
                  <a:pt x="2199089" y="815386"/>
                </a:lnTo>
                <a:lnTo>
                  <a:pt x="2196159" y="816793"/>
                </a:lnTo>
                <a:lnTo>
                  <a:pt x="2194965" y="821341"/>
                </a:lnTo>
                <a:lnTo>
                  <a:pt x="2197353" y="823939"/>
                </a:lnTo>
                <a:lnTo>
                  <a:pt x="2202019" y="822748"/>
                </a:lnTo>
                <a:lnTo>
                  <a:pt x="2204949" y="823831"/>
                </a:lnTo>
                <a:lnTo>
                  <a:pt x="2205491" y="828270"/>
                </a:lnTo>
                <a:lnTo>
                  <a:pt x="2209832" y="832601"/>
                </a:lnTo>
                <a:lnTo>
                  <a:pt x="2215800" y="830652"/>
                </a:lnTo>
                <a:lnTo>
                  <a:pt x="2216669" y="827079"/>
                </a:lnTo>
                <a:lnTo>
                  <a:pt x="2220250" y="826213"/>
                </a:lnTo>
                <a:lnTo>
                  <a:pt x="2221878" y="828054"/>
                </a:lnTo>
                <a:lnTo>
                  <a:pt x="2219598" y="830002"/>
                </a:lnTo>
                <a:lnTo>
                  <a:pt x="2219598" y="831301"/>
                </a:lnTo>
                <a:lnTo>
                  <a:pt x="2223723" y="832925"/>
                </a:lnTo>
                <a:lnTo>
                  <a:pt x="2226653" y="835957"/>
                </a:lnTo>
                <a:lnTo>
                  <a:pt x="2230993" y="832709"/>
                </a:lnTo>
                <a:lnTo>
                  <a:pt x="2234249" y="834658"/>
                </a:lnTo>
                <a:lnTo>
                  <a:pt x="2231102" y="838014"/>
                </a:lnTo>
                <a:lnTo>
                  <a:pt x="2226653" y="838231"/>
                </a:lnTo>
                <a:lnTo>
                  <a:pt x="2221878" y="843753"/>
                </a:lnTo>
                <a:lnTo>
                  <a:pt x="2220141" y="845268"/>
                </a:lnTo>
                <a:lnTo>
                  <a:pt x="2219057" y="839639"/>
                </a:lnTo>
                <a:lnTo>
                  <a:pt x="2216886" y="839747"/>
                </a:lnTo>
                <a:lnTo>
                  <a:pt x="2214932" y="838772"/>
                </a:lnTo>
                <a:lnTo>
                  <a:pt x="2214932" y="841154"/>
                </a:lnTo>
                <a:lnTo>
                  <a:pt x="2217537" y="845485"/>
                </a:lnTo>
                <a:lnTo>
                  <a:pt x="2217537" y="849058"/>
                </a:lnTo>
                <a:lnTo>
                  <a:pt x="2221986" y="856096"/>
                </a:lnTo>
                <a:lnTo>
                  <a:pt x="2221227" y="861725"/>
                </a:lnTo>
                <a:lnTo>
                  <a:pt x="2221986" y="862808"/>
                </a:lnTo>
                <a:lnTo>
                  <a:pt x="2221552" y="867572"/>
                </a:lnTo>
                <a:lnTo>
                  <a:pt x="2218188" y="869521"/>
                </a:lnTo>
                <a:lnTo>
                  <a:pt x="2217971" y="874069"/>
                </a:lnTo>
                <a:lnTo>
                  <a:pt x="2217320" y="878941"/>
                </a:lnTo>
                <a:lnTo>
                  <a:pt x="2212762" y="884571"/>
                </a:lnTo>
                <a:lnTo>
                  <a:pt x="2213956" y="887169"/>
                </a:lnTo>
                <a:lnTo>
                  <a:pt x="2214282" y="892258"/>
                </a:lnTo>
                <a:lnTo>
                  <a:pt x="2211352" y="893557"/>
                </a:lnTo>
                <a:lnTo>
                  <a:pt x="2211786" y="896805"/>
                </a:lnTo>
                <a:lnTo>
                  <a:pt x="2214607" y="896697"/>
                </a:lnTo>
                <a:lnTo>
                  <a:pt x="2218405" y="892366"/>
                </a:lnTo>
                <a:lnTo>
                  <a:pt x="2220141" y="889118"/>
                </a:lnTo>
                <a:lnTo>
                  <a:pt x="2226218" y="885978"/>
                </a:lnTo>
                <a:lnTo>
                  <a:pt x="2227195" y="883921"/>
                </a:lnTo>
                <a:lnTo>
                  <a:pt x="2226327" y="882622"/>
                </a:lnTo>
                <a:lnTo>
                  <a:pt x="2229039" y="879374"/>
                </a:lnTo>
                <a:lnTo>
                  <a:pt x="2231861" y="881539"/>
                </a:lnTo>
                <a:lnTo>
                  <a:pt x="2234140" y="879374"/>
                </a:lnTo>
                <a:lnTo>
                  <a:pt x="2234140" y="871037"/>
                </a:lnTo>
                <a:lnTo>
                  <a:pt x="2235117" y="866381"/>
                </a:lnTo>
                <a:lnTo>
                  <a:pt x="2241193" y="861401"/>
                </a:lnTo>
                <a:lnTo>
                  <a:pt x="2246619" y="853064"/>
                </a:lnTo>
                <a:lnTo>
                  <a:pt x="2248356" y="848192"/>
                </a:lnTo>
                <a:lnTo>
                  <a:pt x="2250417" y="847867"/>
                </a:lnTo>
                <a:lnTo>
                  <a:pt x="2252479" y="849924"/>
                </a:lnTo>
                <a:lnTo>
                  <a:pt x="2253347" y="854255"/>
                </a:lnTo>
                <a:lnTo>
                  <a:pt x="2257037" y="862267"/>
                </a:lnTo>
                <a:lnTo>
                  <a:pt x="2257905" y="868547"/>
                </a:lnTo>
                <a:lnTo>
                  <a:pt x="2262138" y="873852"/>
                </a:lnTo>
                <a:lnTo>
                  <a:pt x="2262138" y="878941"/>
                </a:lnTo>
                <a:lnTo>
                  <a:pt x="2260510" y="883488"/>
                </a:lnTo>
                <a:lnTo>
                  <a:pt x="2262029" y="893016"/>
                </a:lnTo>
                <a:lnTo>
                  <a:pt x="2259099" y="897888"/>
                </a:lnTo>
                <a:lnTo>
                  <a:pt x="2255627" y="899404"/>
                </a:lnTo>
                <a:lnTo>
                  <a:pt x="2252914" y="897022"/>
                </a:lnTo>
                <a:lnTo>
                  <a:pt x="2250092" y="899404"/>
                </a:lnTo>
                <a:lnTo>
                  <a:pt x="2248030" y="903518"/>
                </a:lnTo>
                <a:lnTo>
                  <a:pt x="2249224" y="908498"/>
                </a:lnTo>
                <a:lnTo>
                  <a:pt x="2245860" y="912829"/>
                </a:lnTo>
                <a:lnTo>
                  <a:pt x="2243689" y="918676"/>
                </a:lnTo>
                <a:lnTo>
                  <a:pt x="2245318" y="921816"/>
                </a:lnTo>
                <a:lnTo>
                  <a:pt x="2245426" y="929720"/>
                </a:lnTo>
                <a:lnTo>
                  <a:pt x="2249224" y="946177"/>
                </a:lnTo>
                <a:lnTo>
                  <a:pt x="2252914" y="953106"/>
                </a:lnTo>
                <a:lnTo>
                  <a:pt x="2251502" y="957654"/>
                </a:lnTo>
                <a:lnTo>
                  <a:pt x="2255084" y="961334"/>
                </a:lnTo>
                <a:lnTo>
                  <a:pt x="2258557" y="961334"/>
                </a:lnTo>
                <a:lnTo>
                  <a:pt x="2257688" y="955488"/>
                </a:lnTo>
                <a:lnTo>
                  <a:pt x="2256169" y="953756"/>
                </a:lnTo>
                <a:lnTo>
                  <a:pt x="2259533" y="950291"/>
                </a:lnTo>
                <a:lnTo>
                  <a:pt x="2262571" y="949966"/>
                </a:lnTo>
                <a:lnTo>
                  <a:pt x="2264959" y="955705"/>
                </a:lnTo>
                <a:lnTo>
                  <a:pt x="2267346" y="955163"/>
                </a:lnTo>
                <a:lnTo>
                  <a:pt x="2268431" y="949750"/>
                </a:lnTo>
                <a:lnTo>
                  <a:pt x="2271795" y="946068"/>
                </a:lnTo>
                <a:lnTo>
                  <a:pt x="2272555" y="938598"/>
                </a:lnTo>
                <a:lnTo>
                  <a:pt x="2276353" y="936865"/>
                </a:lnTo>
                <a:lnTo>
                  <a:pt x="2280802" y="930694"/>
                </a:lnTo>
                <a:lnTo>
                  <a:pt x="2282538" y="930369"/>
                </a:lnTo>
                <a:lnTo>
                  <a:pt x="2285143" y="926255"/>
                </a:lnTo>
                <a:lnTo>
                  <a:pt x="2293499" y="920083"/>
                </a:lnTo>
                <a:lnTo>
                  <a:pt x="2299250" y="910447"/>
                </a:lnTo>
                <a:lnTo>
                  <a:pt x="2303374" y="900270"/>
                </a:lnTo>
                <a:lnTo>
                  <a:pt x="2307280" y="891825"/>
                </a:lnTo>
                <a:lnTo>
                  <a:pt x="2311838" y="888577"/>
                </a:lnTo>
                <a:lnTo>
                  <a:pt x="2315202" y="893557"/>
                </a:lnTo>
                <a:lnTo>
                  <a:pt x="2318132" y="890851"/>
                </a:lnTo>
                <a:lnTo>
                  <a:pt x="2320736" y="892691"/>
                </a:lnTo>
                <a:lnTo>
                  <a:pt x="2325294" y="892041"/>
                </a:lnTo>
                <a:lnTo>
                  <a:pt x="2325402" y="889335"/>
                </a:lnTo>
                <a:lnTo>
                  <a:pt x="2322798" y="889118"/>
                </a:lnTo>
                <a:lnTo>
                  <a:pt x="2318891" y="885112"/>
                </a:lnTo>
                <a:lnTo>
                  <a:pt x="2320736" y="882406"/>
                </a:lnTo>
                <a:lnTo>
                  <a:pt x="2325728" y="881755"/>
                </a:lnTo>
                <a:lnTo>
                  <a:pt x="2328332" y="883921"/>
                </a:lnTo>
                <a:lnTo>
                  <a:pt x="2330394" y="882188"/>
                </a:lnTo>
                <a:lnTo>
                  <a:pt x="2333867" y="882622"/>
                </a:lnTo>
                <a:lnTo>
                  <a:pt x="2335712" y="881214"/>
                </a:lnTo>
                <a:lnTo>
                  <a:pt x="2333541" y="876775"/>
                </a:lnTo>
                <a:lnTo>
                  <a:pt x="2331479" y="876342"/>
                </a:lnTo>
                <a:lnTo>
                  <a:pt x="2329201" y="872228"/>
                </a:lnTo>
                <a:lnTo>
                  <a:pt x="2326596" y="872120"/>
                </a:lnTo>
                <a:lnTo>
                  <a:pt x="2326922" y="865082"/>
                </a:lnTo>
                <a:lnTo>
                  <a:pt x="2329744" y="861942"/>
                </a:lnTo>
                <a:lnTo>
                  <a:pt x="2330286" y="857719"/>
                </a:lnTo>
                <a:lnTo>
                  <a:pt x="2333541" y="857503"/>
                </a:lnTo>
                <a:lnTo>
                  <a:pt x="2331045" y="853713"/>
                </a:lnTo>
                <a:lnTo>
                  <a:pt x="2331588" y="850574"/>
                </a:lnTo>
                <a:lnTo>
                  <a:pt x="2335060" y="847001"/>
                </a:lnTo>
                <a:lnTo>
                  <a:pt x="2333541" y="845268"/>
                </a:lnTo>
                <a:lnTo>
                  <a:pt x="2333324" y="843861"/>
                </a:lnTo>
                <a:lnTo>
                  <a:pt x="2337773" y="843861"/>
                </a:lnTo>
                <a:lnTo>
                  <a:pt x="2339401" y="839639"/>
                </a:lnTo>
                <a:lnTo>
                  <a:pt x="2335712" y="837582"/>
                </a:lnTo>
                <a:lnTo>
                  <a:pt x="2334518" y="835091"/>
                </a:lnTo>
                <a:lnTo>
                  <a:pt x="2339401" y="835849"/>
                </a:lnTo>
                <a:lnTo>
                  <a:pt x="2341463" y="839313"/>
                </a:lnTo>
                <a:lnTo>
                  <a:pt x="2345044" y="839639"/>
                </a:lnTo>
                <a:lnTo>
                  <a:pt x="2348082" y="837582"/>
                </a:lnTo>
                <a:lnTo>
                  <a:pt x="2355570" y="838014"/>
                </a:lnTo>
                <a:lnTo>
                  <a:pt x="2362081" y="842886"/>
                </a:lnTo>
                <a:lnTo>
                  <a:pt x="2362624" y="845268"/>
                </a:lnTo>
                <a:lnTo>
                  <a:pt x="2364686" y="848192"/>
                </a:lnTo>
                <a:lnTo>
                  <a:pt x="2373692" y="852631"/>
                </a:lnTo>
                <a:lnTo>
                  <a:pt x="2377816" y="849924"/>
                </a:lnTo>
                <a:lnTo>
                  <a:pt x="2382374" y="853172"/>
                </a:lnTo>
                <a:lnTo>
                  <a:pt x="2388342" y="855662"/>
                </a:lnTo>
                <a:lnTo>
                  <a:pt x="2388342" y="858153"/>
                </a:lnTo>
                <a:lnTo>
                  <a:pt x="2385846" y="859776"/>
                </a:lnTo>
                <a:lnTo>
                  <a:pt x="2388668" y="862808"/>
                </a:lnTo>
                <a:lnTo>
                  <a:pt x="2385738" y="864324"/>
                </a:lnTo>
                <a:lnTo>
                  <a:pt x="2382374" y="861292"/>
                </a:lnTo>
                <a:lnTo>
                  <a:pt x="2379118" y="860968"/>
                </a:lnTo>
                <a:lnTo>
                  <a:pt x="2379661" y="863458"/>
                </a:lnTo>
                <a:lnTo>
                  <a:pt x="2389644" y="869846"/>
                </a:lnTo>
                <a:lnTo>
                  <a:pt x="2390187" y="874826"/>
                </a:lnTo>
                <a:lnTo>
                  <a:pt x="2386280" y="876342"/>
                </a:lnTo>
                <a:lnTo>
                  <a:pt x="2388668" y="877749"/>
                </a:lnTo>
                <a:lnTo>
                  <a:pt x="2392792" y="876342"/>
                </a:lnTo>
                <a:lnTo>
                  <a:pt x="2399845" y="878074"/>
                </a:lnTo>
                <a:lnTo>
                  <a:pt x="2401364" y="880890"/>
                </a:lnTo>
                <a:lnTo>
                  <a:pt x="2403969" y="881864"/>
                </a:lnTo>
                <a:lnTo>
                  <a:pt x="2404728" y="883921"/>
                </a:lnTo>
                <a:lnTo>
                  <a:pt x="2401798" y="888577"/>
                </a:lnTo>
                <a:lnTo>
                  <a:pt x="2394419" y="894315"/>
                </a:lnTo>
                <a:lnTo>
                  <a:pt x="2389970" y="895181"/>
                </a:lnTo>
                <a:lnTo>
                  <a:pt x="2386606" y="896805"/>
                </a:lnTo>
                <a:lnTo>
                  <a:pt x="2393008" y="896914"/>
                </a:lnTo>
                <a:lnTo>
                  <a:pt x="2395396" y="898429"/>
                </a:lnTo>
                <a:lnTo>
                  <a:pt x="2395830" y="902002"/>
                </a:lnTo>
                <a:lnTo>
                  <a:pt x="2397566" y="901894"/>
                </a:lnTo>
                <a:lnTo>
                  <a:pt x="2399194" y="903193"/>
                </a:lnTo>
                <a:lnTo>
                  <a:pt x="2396155" y="907849"/>
                </a:lnTo>
                <a:lnTo>
                  <a:pt x="2397891" y="909581"/>
                </a:lnTo>
                <a:lnTo>
                  <a:pt x="2392249" y="913371"/>
                </a:lnTo>
                <a:lnTo>
                  <a:pt x="2385738" y="915536"/>
                </a:lnTo>
                <a:lnTo>
                  <a:pt x="2382266" y="914887"/>
                </a:lnTo>
                <a:lnTo>
                  <a:pt x="2379986" y="917810"/>
                </a:lnTo>
                <a:lnTo>
                  <a:pt x="2376405" y="916618"/>
                </a:lnTo>
                <a:lnTo>
                  <a:pt x="2372607" y="912180"/>
                </a:lnTo>
                <a:lnTo>
                  <a:pt x="2368267" y="911963"/>
                </a:lnTo>
                <a:lnTo>
                  <a:pt x="2366964" y="909581"/>
                </a:lnTo>
                <a:lnTo>
                  <a:pt x="2364034" y="909906"/>
                </a:lnTo>
                <a:lnTo>
                  <a:pt x="2363818" y="913695"/>
                </a:lnTo>
                <a:lnTo>
                  <a:pt x="2361756" y="915103"/>
                </a:lnTo>
                <a:lnTo>
                  <a:pt x="2365662" y="915969"/>
                </a:lnTo>
                <a:lnTo>
                  <a:pt x="2368701" y="918351"/>
                </a:lnTo>
                <a:lnTo>
                  <a:pt x="2367290" y="921599"/>
                </a:lnTo>
                <a:lnTo>
                  <a:pt x="2364469" y="924522"/>
                </a:lnTo>
                <a:lnTo>
                  <a:pt x="2368484" y="924847"/>
                </a:lnTo>
                <a:lnTo>
                  <a:pt x="2365662" y="928961"/>
                </a:lnTo>
                <a:lnTo>
                  <a:pt x="2366096" y="931885"/>
                </a:lnTo>
                <a:lnTo>
                  <a:pt x="2367615" y="932318"/>
                </a:lnTo>
                <a:lnTo>
                  <a:pt x="2370545" y="929287"/>
                </a:lnTo>
                <a:lnTo>
                  <a:pt x="2372065" y="929503"/>
                </a:lnTo>
                <a:lnTo>
                  <a:pt x="2370871" y="932967"/>
                </a:lnTo>
                <a:lnTo>
                  <a:pt x="2365228" y="935241"/>
                </a:lnTo>
                <a:lnTo>
                  <a:pt x="2363058" y="939572"/>
                </a:lnTo>
                <a:lnTo>
                  <a:pt x="2364034" y="944661"/>
                </a:lnTo>
                <a:lnTo>
                  <a:pt x="2369460" y="948775"/>
                </a:lnTo>
                <a:lnTo>
                  <a:pt x="2368701" y="952023"/>
                </a:lnTo>
                <a:lnTo>
                  <a:pt x="2373801" y="962201"/>
                </a:lnTo>
                <a:lnTo>
                  <a:pt x="2373150" y="968048"/>
                </a:lnTo>
                <a:lnTo>
                  <a:pt x="2371414" y="969238"/>
                </a:lnTo>
                <a:lnTo>
                  <a:pt x="2370762" y="972703"/>
                </a:lnTo>
                <a:lnTo>
                  <a:pt x="2364360" y="978117"/>
                </a:lnTo>
                <a:lnTo>
                  <a:pt x="2365554" y="982447"/>
                </a:lnTo>
                <a:lnTo>
                  <a:pt x="2363275" y="985587"/>
                </a:lnTo>
                <a:lnTo>
                  <a:pt x="2359151" y="983854"/>
                </a:lnTo>
                <a:lnTo>
                  <a:pt x="2351772" y="983963"/>
                </a:lnTo>
                <a:lnTo>
                  <a:pt x="2348517" y="986237"/>
                </a:lnTo>
                <a:lnTo>
                  <a:pt x="2347323" y="991758"/>
                </a:lnTo>
                <a:lnTo>
                  <a:pt x="2342656" y="994466"/>
                </a:lnTo>
                <a:lnTo>
                  <a:pt x="2340378" y="997605"/>
                </a:lnTo>
                <a:lnTo>
                  <a:pt x="2336580" y="997713"/>
                </a:lnTo>
                <a:lnTo>
                  <a:pt x="2329852" y="1004968"/>
                </a:lnTo>
                <a:lnTo>
                  <a:pt x="2327464" y="1004101"/>
                </a:lnTo>
                <a:lnTo>
                  <a:pt x="2323558" y="1004318"/>
                </a:lnTo>
                <a:lnTo>
                  <a:pt x="2321062" y="1008974"/>
                </a:lnTo>
                <a:lnTo>
                  <a:pt x="2309559" y="1012221"/>
                </a:lnTo>
                <a:lnTo>
                  <a:pt x="2307280" y="1010164"/>
                </a:lnTo>
                <a:lnTo>
                  <a:pt x="2309017" y="1007241"/>
                </a:lnTo>
                <a:lnTo>
                  <a:pt x="2307497" y="1001503"/>
                </a:lnTo>
                <a:lnTo>
                  <a:pt x="2304242" y="997930"/>
                </a:lnTo>
                <a:lnTo>
                  <a:pt x="2304242" y="995331"/>
                </a:lnTo>
                <a:lnTo>
                  <a:pt x="2306954" y="994357"/>
                </a:lnTo>
                <a:lnTo>
                  <a:pt x="2307172" y="990568"/>
                </a:lnTo>
                <a:lnTo>
                  <a:pt x="2310970" y="983963"/>
                </a:lnTo>
                <a:lnTo>
                  <a:pt x="2305978" y="988835"/>
                </a:lnTo>
                <a:lnTo>
                  <a:pt x="2304242" y="989376"/>
                </a:lnTo>
                <a:lnTo>
                  <a:pt x="2303699" y="979415"/>
                </a:lnTo>
                <a:lnTo>
                  <a:pt x="2301420" y="978550"/>
                </a:lnTo>
                <a:lnTo>
                  <a:pt x="2298708" y="974002"/>
                </a:lnTo>
                <a:lnTo>
                  <a:pt x="2294258" y="976601"/>
                </a:lnTo>
                <a:lnTo>
                  <a:pt x="2292630" y="975085"/>
                </a:lnTo>
                <a:lnTo>
                  <a:pt x="2288507" y="975409"/>
                </a:lnTo>
                <a:lnTo>
                  <a:pt x="2284274" y="981906"/>
                </a:lnTo>
                <a:lnTo>
                  <a:pt x="2286445" y="982447"/>
                </a:lnTo>
                <a:lnTo>
                  <a:pt x="2292630" y="978333"/>
                </a:lnTo>
                <a:lnTo>
                  <a:pt x="2295127" y="979524"/>
                </a:lnTo>
                <a:lnTo>
                  <a:pt x="2294801" y="983638"/>
                </a:lnTo>
                <a:lnTo>
                  <a:pt x="2298925" y="985587"/>
                </a:lnTo>
                <a:lnTo>
                  <a:pt x="2301854" y="992733"/>
                </a:lnTo>
                <a:lnTo>
                  <a:pt x="2300552" y="999662"/>
                </a:lnTo>
                <a:lnTo>
                  <a:pt x="2302831" y="1001070"/>
                </a:lnTo>
                <a:lnTo>
                  <a:pt x="2303916" y="1007566"/>
                </a:lnTo>
                <a:lnTo>
                  <a:pt x="2301963" y="1010490"/>
                </a:lnTo>
                <a:lnTo>
                  <a:pt x="2303483" y="1012221"/>
                </a:lnTo>
                <a:lnTo>
                  <a:pt x="2303156" y="1016011"/>
                </a:lnTo>
                <a:lnTo>
                  <a:pt x="2300770" y="1016119"/>
                </a:lnTo>
                <a:lnTo>
                  <a:pt x="2293173" y="1009623"/>
                </a:lnTo>
                <a:lnTo>
                  <a:pt x="2292522" y="1005725"/>
                </a:lnTo>
                <a:lnTo>
                  <a:pt x="2289267" y="1004426"/>
                </a:lnTo>
                <a:lnTo>
                  <a:pt x="2288181" y="1000637"/>
                </a:lnTo>
                <a:lnTo>
                  <a:pt x="2285468" y="1004643"/>
                </a:lnTo>
                <a:lnTo>
                  <a:pt x="2289917" y="1008757"/>
                </a:lnTo>
                <a:lnTo>
                  <a:pt x="2288832" y="1012655"/>
                </a:lnTo>
                <a:lnTo>
                  <a:pt x="2283406" y="1009623"/>
                </a:lnTo>
                <a:lnTo>
                  <a:pt x="2279717" y="1008757"/>
                </a:lnTo>
                <a:lnTo>
                  <a:pt x="2278849" y="1006484"/>
                </a:lnTo>
                <a:lnTo>
                  <a:pt x="2275593" y="1008107"/>
                </a:lnTo>
                <a:lnTo>
                  <a:pt x="2275485" y="1004859"/>
                </a:lnTo>
                <a:lnTo>
                  <a:pt x="2277655" y="997930"/>
                </a:lnTo>
                <a:lnTo>
                  <a:pt x="2278740" y="996739"/>
                </a:lnTo>
                <a:lnTo>
                  <a:pt x="2276136" y="995548"/>
                </a:lnTo>
                <a:lnTo>
                  <a:pt x="2275919" y="993274"/>
                </a:lnTo>
                <a:lnTo>
                  <a:pt x="2269082" y="996089"/>
                </a:lnTo>
                <a:lnTo>
                  <a:pt x="2263548" y="996089"/>
                </a:lnTo>
                <a:lnTo>
                  <a:pt x="2259533" y="993166"/>
                </a:lnTo>
                <a:lnTo>
                  <a:pt x="2255627" y="993815"/>
                </a:lnTo>
                <a:lnTo>
                  <a:pt x="2250417" y="990351"/>
                </a:lnTo>
                <a:lnTo>
                  <a:pt x="2249658" y="994032"/>
                </a:lnTo>
                <a:lnTo>
                  <a:pt x="2250960" y="996956"/>
                </a:lnTo>
                <a:lnTo>
                  <a:pt x="2248681" y="998472"/>
                </a:lnTo>
                <a:lnTo>
                  <a:pt x="2249115" y="1003127"/>
                </a:lnTo>
                <a:lnTo>
                  <a:pt x="2251286" y="1006484"/>
                </a:lnTo>
                <a:lnTo>
                  <a:pt x="2257145" y="1007566"/>
                </a:lnTo>
                <a:lnTo>
                  <a:pt x="2259750" y="1011897"/>
                </a:lnTo>
                <a:lnTo>
                  <a:pt x="2255952" y="1018393"/>
                </a:lnTo>
                <a:lnTo>
                  <a:pt x="2252914" y="1019368"/>
                </a:lnTo>
                <a:lnTo>
                  <a:pt x="2241628" y="1027488"/>
                </a:lnTo>
                <a:lnTo>
                  <a:pt x="2236853" y="1033659"/>
                </a:lnTo>
                <a:lnTo>
                  <a:pt x="2231319" y="1040588"/>
                </a:lnTo>
                <a:lnTo>
                  <a:pt x="2227846" y="1039181"/>
                </a:lnTo>
                <a:lnTo>
                  <a:pt x="2224265" y="1041563"/>
                </a:lnTo>
                <a:lnTo>
                  <a:pt x="2222420" y="1047302"/>
                </a:lnTo>
                <a:lnTo>
                  <a:pt x="2218080" y="1049033"/>
                </a:lnTo>
                <a:lnTo>
                  <a:pt x="2203105" y="1045677"/>
                </a:lnTo>
                <a:lnTo>
                  <a:pt x="2199848" y="1041130"/>
                </a:lnTo>
                <a:lnTo>
                  <a:pt x="2197787" y="1035933"/>
                </a:lnTo>
                <a:lnTo>
                  <a:pt x="2190299" y="1032684"/>
                </a:lnTo>
                <a:lnTo>
                  <a:pt x="2190516" y="1030411"/>
                </a:lnTo>
                <a:lnTo>
                  <a:pt x="2192904" y="1030303"/>
                </a:lnTo>
                <a:lnTo>
                  <a:pt x="2194749" y="1028678"/>
                </a:lnTo>
                <a:lnTo>
                  <a:pt x="2192361" y="1026080"/>
                </a:lnTo>
                <a:lnTo>
                  <a:pt x="2187912" y="1024890"/>
                </a:lnTo>
                <a:lnTo>
                  <a:pt x="2182920" y="1015470"/>
                </a:lnTo>
                <a:lnTo>
                  <a:pt x="2177060" y="1010814"/>
                </a:lnTo>
                <a:lnTo>
                  <a:pt x="2167402" y="1010814"/>
                </a:lnTo>
                <a:lnTo>
                  <a:pt x="2160566" y="1006700"/>
                </a:lnTo>
                <a:lnTo>
                  <a:pt x="2149497" y="1006050"/>
                </a:lnTo>
                <a:lnTo>
                  <a:pt x="2145156" y="1004643"/>
                </a:lnTo>
                <a:lnTo>
                  <a:pt x="2145048" y="1007891"/>
                </a:lnTo>
                <a:lnTo>
                  <a:pt x="2147978" y="1011139"/>
                </a:lnTo>
                <a:lnTo>
                  <a:pt x="2149606" y="1008974"/>
                </a:lnTo>
                <a:lnTo>
                  <a:pt x="2152644" y="1008433"/>
                </a:lnTo>
                <a:lnTo>
                  <a:pt x="2163278" y="1012221"/>
                </a:lnTo>
                <a:lnTo>
                  <a:pt x="2173045" y="1012005"/>
                </a:lnTo>
                <a:lnTo>
                  <a:pt x="2176192" y="1014062"/>
                </a:lnTo>
                <a:lnTo>
                  <a:pt x="2175107" y="1016878"/>
                </a:lnTo>
                <a:lnTo>
                  <a:pt x="2173262" y="1016661"/>
                </a:lnTo>
                <a:lnTo>
                  <a:pt x="2171743" y="1018610"/>
                </a:lnTo>
                <a:lnTo>
                  <a:pt x="2173045" y="1019909"/>
                </a:lnTo>
                <a:lnTo>
                  <a:pt x="2173805" y="1027813"/>
                </a:lnTo>
                <a:lnTo>
                  <a:pt x="2175867" y="1028029"/>
                </a:lnTo>
                <a:lnTo>
                  <a:pt x="2181075" y="1038098"/>
                </a:lnTo>
                <a:lnTo>
                  <a:pt x="2184114" y="1045244"/>
                </a:lnTo>
                <a:lnTo>
                  <a:pt x="2192904" y="1048167"/>
                </a:lnTo>
                <a:lnTo>
                  <a:pt x="2202236" y="1049792"/>
                </a:lnTo>
                <a:lnTo>
                  <a:pt x="2219273" y="1054664"/>
                </a:lnTo>
                <a:lnTo>
                  <a:pt x="2219925" y="1059861"/>
                </a:lnTo>
                <a:lnTo>
                  <a:pt x="2217862" y="1061593"/>
                </a:lnTo>
                <a:lnTo>
                  <a:pt x="2212545" y="1065491"/>
                </a:lnTo>
                <a:lnTo>
                  <a:pt x="2208204" y="1067765"/>
                </a:lnTo>
                <a:lnTo>
                  <a:pt x="2201368" y="1076859"/>
                </a:lnTo>
                <a:lnTo>
                  <a:pt x="2200283" y="1074910"/>
                </a:lnTo>
                <a:lnTo>
                  <a:pt x="2198221" y="1076426"/>
                </a:lnTo>
                <a:lnTo>
                  <a:pt x="2197570" y="1079349"/>
                </a:lnTo>
                <a:lnTo>
                  <a:pt x="2182378" y="1095049"/>
                </a:lnTo>
                <a:lnTo>
                  <a:pt x="2176192" y="1097972"/>
                </a:lnTo>
                <a:lnTo>
                  <a:pt x="2172069" y="1105226"/>
                </a:lnTo>
                <a:lnTo>
                  <a:pt x="2167945" y="1106093"/>
                </a:lnTo>
                <a:lnTo>
                  <a:pt x="2165666" y="1104360"/>
                </a:lnTo>
                <a:lnTo>
                  <a:pt x="2162953" y="1104360"/>
                </a:lnTo>
                <a:lnTo>
                  <a:pt x="2161868" y="1106958"/>
                </a:lnTo>
                <a:lnTo>
                  <a:pt x="2156008" y="1100029"/>
                </a:lnTo>
                <a:lnTo>
                  <a:pt x="2152427" y="1098513"/>
                </a:lnTo>
                <a:lnTo>
                  <a:pt x="2149606" y="1101978"/>
                </a:lnTo>
                <a:lnTo>
                  <a:pt x="2148521" y="1098622"/>
                </a:lnTo>
                <a:lnTo>
                  <a:pt x="2146567" y="1097755"/>
                </a:lnTo>
                <a:lnTo>
                  <a:pt x="2150039" y="1093208"/>
                </a:lnTo>
                <a:lnTo>
                  <a:pt x="2148521" y="1092017"/>
                </a:lnTo>
                <a:lnTo>
                  <a:pt x="2147435" y="1089527"/>
                </a:lnTo>
                <a:lnTo>
                  <a:pt x="2142769" y="1092126"/>
                </a:lnTo>
                <a:lnTo>
                  <a:pt x="2139188" y="1101545"/>
                </a:lnTo>
                <a:lnTo>
                  <a:pt x="2138862" y="1097322"/>
                </a:lnTo>
                <a:lnTo>
                  <a:pt x="2136258" y="1089744"/>
                </a:lnTo>
                <a:lnTo>
                  <a:pt x="2134196" y="1096456"/>
                </a:lnTo>
                <a:lnTo>
                  <a:pt x="2136584" y="1099379"/>
                </a:lnTo>
                <a:lnTo>
                  <a:pt x="2136041" y="1108258"/>
                </a:lnTo>
                <a:lnTo>
                  <a:pt x="2130398" y="1116161"/>
                </a:lnTo>
                <a:lnTo>
                  <a:pt x="2127251" y="1115403"/>
                </a:lnTo>
                <a:lnTo>
                  <a:pt x="2126275" y="1112372"/>
                </a:lnTo>
                <a:lnTo>
                  <a:pt x="2122802" y="1106742"/>
                </a:lnTo>
                <a:lnTo>
                  <a:pt x="2121608" y="1111073"/>
                </a:lnTo>
                <a:lnTo>
                  <a:pt x="2124864" y="1113671"/>
                </a:lnTo>
                <a:lnTo>
                  <a:pt x="2120089" y="1116161"/>
                </a:lnTo>
                <a:lnTo>
                  <a:pt x="2119547" y="1121358"/>
                </a:lnTo>
                <a:lnTo>
                  <a:pt x="2117810" y="1119626"/>
                </a:lnTo>
                <a:lnTo>
                  <a:pt x="2112601" y="1117894"/>
                </a:lnTo>
                <a:lnTo>
                  <a:pt x="2111951" y="1114429"/>
                </a:lnTo>
                <a:lnTo>
                  <a:pt x="2107935" y="1111939"/>
                </a:lnTo>
                <a:lnTo>
                  <a:pt x="2103269" y="1105659"/>
                </a:lnTo>
                <a:lnTo>
                  <a:pt x="2093828" y="1102303"/>
                </a:lnTo>
                <a:lnTo>
                  <a:pt x="2084930" y="1097106"/>
                </a:lnTo>
                <a:lnTo>
                  <a:pt x="2082000" y="1090068"/>
                </a:lnTo>
                <a:lnTo>
                  <a:pt x="2078202" y="1088661"/>
                </a:lnTo>
                <a:lnTo>
                  <a:pt x="2071582" y="1083680"/>
                </a:lnTo>
                <a:lnTo>
                  <a:pt x="2069411" y="1079891"/>
                </a:lnTo>
                <a:lnTo>
                  <a:pt x="2069086" y="1086928"/>
                </a:lnTo>
                <a:lnTo>
                  <a:pt x="2064854" y="1085954"/>
                </a:lnTo>
                <a:lnTo>
                  <a:pt x="2067458" y="1092775"/>
                </a:lnTo>
                <a:lnTo>
                  <a:pt x="2071582" y="1096456"/>
                </a:lnTo>
                <a:lnTo>
                  <a:pt x="2073210" y="1094507"/>
                </a:lnTo>
                <a:lnTo>
                  <a:pt x="2071256" y="1091043"/>
                </a:lnTo>
                <a:lnTo>
                  <a:pt x="2072124" y="1088985"/>
                </a:lnTo>
                <a:lnTo>
                  <a:pt x="2074078" y="1089202"/>
                </a:lnTo>
                <a:lnTo>
                  <a:pt x="2083627" y="1099163"/>
                </a:lnTo>
                <a:lnTo>
                  <a:pt x="2092309" y="1104468"/>
                </a:lnTo>
                <a:lnTo>
                  <a:pt x="2093177" y="1106526"/>
                </a:lnTo>
                <a:lnTo>
                  <a:pt x="2087426" y="1110315"/>
                </a:lnTo>
                <a:lnTo>
                  <a:pt x="2081783" y="1111181"/>
                </a:lnTo>
                <a:lnTo>
                  <a:pt x="2078635" y="1110315"/>
                </a:lnTo>
                <a:lnTo>
                  <a:pt x="2079720" y="1113238"/>
                </a:lnTo>
                <a:lnTo>
                  <a:pt x="2079720" y="1114862"/>
                </a:lnTo>
                <a:lnTo>
                  <a:pt x="2082108" y="1113671"/>
                </a:lnTo>
                <a:lnTo>
                  <a:pt x="2091441" y="1112913"/>
                </a:lnTo>
                <a:lnTo>
                  <a:pt x="2096432" y="1107933"/>
                </a:lnTo>
                <a:lnTo>
                  <a:pt x="2098711" y="1107391"/>
                </a:lnTo>
                <a:lnTo>
                  <a:pt x="2101641" y="1110856"/>
                </a:lnTo>
                <a:lnTo>
                  <a:pt x="2102618" y="1116919"/>
                </a:lnTo>
                <a:lnTo>
                  <a:pt x="2111624" y="1127422"/>
                </a:lnTo>
                <a:lnTo>
                  <a:pt x="2110756" y="1138248"/>
                </a:lnTo>
                <a:lnTo>
                  <a:pt x="2104571" y="1144745"/>
                </a:lnTo>
                <a:lnTo>
                  <a:pt x="2100556" y="1145070"/>
                </a:lnTo>
                <a:lnTo>
                  <a:pt x="2097843" y="1147343"/>
                </a:lnTo>
                <a:lnTo>
                  <a:pt x="2092309" y="1147019"/>
                </a:lnTo>
                <a:lnTo>
                  <a:pt x="2088294" y="1144203"/>
                </a:lnTo>
                <a:lnTo>
                  <a:pt x="2077659" y="1142146"/>
                </a:lnTo>
                <a:lnTo>
                  <a:pt x="2071474" y="1134134"/>
                </a:lnTo>
                <a:lnTo>
                  <a:pt x="2069194" y="1126339"/>
                </a:lnTo>
                <a:lnTo>
                  <a:pt x="2065722" y="1123091"/>
                </a:lnTo>
                <a:lnTo>
                  <a:pt x="2064528" y="1124931"/>
                </a:lnTo>
                <a:lnTo>
                  <a:pt x="2065288" y="1128071"/>
                </a:lnTo>
                <a:lnTo>
                  <a:pt x="2065071" y="1132727"/>
                </a:lnTo>
                <a:lnTo>
                  <a:pt x="2069194" y="1137815"/>
                </a:lnTo>
                <a:lnTo>
                  <a:pt x="2072667" y="1147668"/>
                </a:lnTo>
                <a:lnTo>
                  <a:pt x="2077442" y="1155897"/>
                </a:lnTo>
                <a:lnTo>
                  <a:pt x="2074729" y="1158279"/>
                </a:lnTo>
                <a:lnTo>
                  <a:pt x="2072016" y="1156980"/>
                </a:lnTo>
                <a:lnTo>
                  <a:pt x="2067458" y="1157629"/>
                </a:lnTo>
                <a:lnTo>
                  <a:pt x="2065940" y="1151458"/>
                </a:lnTo>
                <a:lnTo>
                  <a:pt x="2065071" y="1154489"/>
                </a:lnTo>
                <a:lnTo>
                  <a:pt x="2063227" y="1155897"/>
                </a:lnTo>
                <a:lnTo>
                  <a:pt x="2064745" y="1158820"/>
                </a:lnTo>
                <a:lnTo>
                  <a:pt x="2068652" y="1160552"/>
                </a:lnTo>
                <a:lnTo>
                  <a:pt x="2070063" y="1163476"/>
                </a:lnTo>
                <a:lnTo>
                  <a:pt x="2061598" y="1161419"/>
                </a:lnTo>
                <a:lnTo>
                  <a:pt x="2059537" y="1159686"/>
                </a:lnTo>
                <a:lnTo>
                  <a:pt x="2059211" y="1163801"/>
                </a:lnTo>
                <a:lnTo>
                  <a:pt x="2061924" y="1166182"/>
                </a:lnTo>
                <a:lnTo>
                  <a:pt x="2061924" y="1169864"/>
                </a:lnTo>
                <a:lnTo>
                  <a:pt x="2058343" y="1174411"/>
                </a:lnTo>
                <a:lnTo>
                  <a:pt x="2057475" y="1168997"/>
                </a:lnTo>
                <a:lnTo>
                  <a:pt x="2054545" y="1168456"/>
                </a:lnTo>
                <a:lnTo>
                  <a:pt x="2056064" y="1170513"/>
                </a:lnTo>
                <a:lnTo>
                  <a:pt x="2055304" y="1174086"/>
                </a:lnTo>
                <a:lnTo>
                  <a:pt x="2053677" y="1172895"/>
                </a:lnTo>
                <a:lnTo>
                  <a:pt x="2047817" y="1172570"/>
                </a:lnTo>
                <a:lnTo>
                  <a:pt x="2045646" y="1175494"/>
                </a:lnTo>
                <a:lnTo>
                  <a:pt x="2038484" y="1178309"/>
                </a:lnTo>
                <a:lnTo>
                  <a:pt x="2042391" y="1180691"/>
                </a:lnTo>
                <a:lnTo>
                  <a:pt x="2043150" y="1184047"/>
                </a:lnTo>
                <a:lnTo>
                  <a:pt x="2041089" y="1184913"/>
                </a:lnTo>
                <a:lnTo>
                  <a:pt x="2040220" y="1182856"/>
                </a:lnTo>
                <a:lnTo>
                  <a:pt x="2034904" y="1178958"/>
                </a:lnTo>
                <a:lnTo>
                  <a:pt x="2031105" y="1178309"/>
                </a:lnTo>
                <a:lnTo>
                  <a:pt x="2030780" y="1181123"/>
                </a:lnTo>
                <a:lnTo>
                  <a:pt x="2028393" y="1182531"/>
                </a:lnTo>
                <a:lnTo>
                  <a:pt x="2034253" y="1186862"/>
                </a:lnTo>
                <a:lnTo>
                  <a:pt x="2032191" y="1189461"/>
                </a:lnTo>
                <a:lnTo>
                  <a:pt x="2032191" y="1192059"/>
                </a:lnTo>
                <a:lnTo>
                  <a:pt x="2027524" y="1191843"/>
                </a:lnTo>
                <a:lnTo>
                  <a:pt x="2023727" y="1198014"/>
                </a:lnTo>
                <a:lnTo>
                  <a:pt x="2017866" y="1201154"/>
                </a:lnTo>
                <a:lnTo>
                  <a:pt x="2020254" y="1204186"/>
                </a:lnTo>
                <a:lnTo>
                  <a:pt x="2019060" y="1207000"/>
                </a:lnTo>
                <a:lnTo>
                  <a:pt x="2016021" y="1207000"/>
                </a:lnTo>
                <a:lnTo>
                  <a:pt x="2013200" y="1210573"/>
                </a:lnTo>
                <a:lnTo>
                  <a:pt x="2014068" y="1214471"/>
                </a:lnTo>
                <a:lnTo>
                  <a:pt x="2009945" y="1216204"/>
                </a:lnTo>
                <a:lnTo>
                  <a:pt x="2002891" y="1224107"/>
                </a:lnTo>
                <a:lnTo>
                  <a:pt x="1997791" y="1225515"/>
                </a:lnTo>
                <a:lnTo>
                  <a:pt x="1997466" y="1229629"/>
                </a:lnTo>
                <a:lnTo>
                  <a:pt x="1992582" y="1234068"/>
                </a:lnTo>
                <a:lnTo>
                  <a:pt x="1987373" y="1230604"/>
                </a:lnTo>
                <a:lnTo>
                  <a:pt x="1987048" y="1233418"/>
                </a:lnTo>
                <a:lnTo>
                  <a:pt x="1989435" y="1238832"/>
                </a:lnTo>
                <a:lnTo>
                  <a:pt x="1984985" y="1243379"/>
                </a:lnTo>
                <a:lnTo>
                  <a:pt x="1983250" y="1251933"/>
                </a:lnTo>
                <a:lnTo>
                  <a:pt x="1980537" y="1256480"/>
                </a:lnTo>
                <a:lnTo>
                  <a:pt x="1978475" y="1262652"/>
                </a:lnTo>
                <a:lnTo>
                  <a:pt x="1974676" y="1264708"/>
                </a:lnTo>
                <a:lnTo>
                  <a:pt x="1971204" y="1274345"/>
                </a:lnTo>
                <a:lnTo>
                  <a:pt x="1973049" y="1276402"/>
                </a:lnTo>
                <a:lnTo>
                  <a:pt x="1973049" y="1283331"/>
                </a:lnTo>
                <a:lnTo>
                  <a:pt x="1968816" y="1290693"/>
                </a:lnTo>
                <a:lnTo>
                  <a:pt x="1967189" y="1294808"/>
                </a:lnTo>
                <a:lnTo>
                  <a:pt x="1962849" y="1296215"/>
                </a:lnTo>
                <a:lnTo>
                  <a:pt x="1960787" y="1298381"/>
                </a:lnTo>
                <a:lnTo>
                  <a:pt x="1965887" y="1299464"/>
                </a:lnTo>
                <a:lnTo>
                  <a:pt x="1967080" y="1303036"/>
                </a:lnTo>
                <a:lnTo>
                  <a:pt x="1965670" y="1307367"/>
                </a:lnTo>
                <a:lnTo>
                  <a:pt x="1968057" y="1310291"/>
                </a:lnTo>
                <a:lnTo>
                  <a:pt x="1967840" y="1316462"/>
                </a:lnTo>
                <a:lnTo>
                  <a:pt x="1969793" y="1317545"/>
                </a:lnTo>
                <a:lnTo>
                  <a:pt x="1965344" y="1328697"/>
                </a:lnTo>
                <a:lnTo>
                  <a:pt x="1959050" y="1334652"/>
                </a:lnTo>
                <a:lnTo>
                  <a:pt x="1946137" y="1337575"/>
                </a:lnTo>
                <a:lnTo>
                  <a:pt x="1944292" y="1342447"/>
                </a:lnTo>
                <a:lnTo>
                  <a:pt x="1950694" y="1337142"/>
                </a:lnTo>
                <a:lnTo>
                  <a:pt x="1961655" y="1335734"/>
                </a:lnTo>
                <a:lnTo>
                  <a:pt x="1970010" y="1325556"/>
                </a:lnTo>
                <a:lnTo>
                  <a:pt x="1975979" y="1313755"/>
                </a:lnTo>
                <a:lnTo>
                  <a:pt x="1989760" y="1313214"/>
                </a:lnTo>
                <a:lnTo>
                  <a:pt x="1993884" y="1315054"/>
                </a:lnTo>
                <a:lnTo>
                  <a:pt x="1993884" y="1319601"/>
                </a:lnTo>
                <a:lnTo>
                  <a:pt x="1992039" y="1324691"/>
                </a:lnTo>
                <a:lnTo>
                  <a:pt x="1992039" y="1330429"/>
                </a:lnTo>
                <a:lnTo>
                  <a:pt x="1994753" y="1336709"/>
                </a:lnTo>
                <a:lnTo>
                  <a:pt x="1994753" y="1346345"/>
                </a:lnTo>
                <a:lnTo>
                  <a:pt x="1991171" y="1355656"/>
                </a:lnTo>
                <a:lnTo>
                  <a:pt x="1994101" y="1359770"/>
                </a:lnTo>
                <a:lnTo>
                  <a:pt x="1995837" y="1369082"/>
                </a:lnTo>
                <a:lnTo>
                  <a:pt x="1993884" y="1373845"/>
                </a:lnTo>
                <a:lnTo>
                  <a:pt x="1979234" y="1387812"/>
                </a:lnTo>
                <a:lnTo>
                  <a:pt x="1972181" y="1390194"/>
                </a:lnTo>
                <a:lnTo>
                  <a:pt x="1967080" y="1389328"/>
                </a:lnTo>
                <a:lnTo>
                  <a:pt x="1972398" y="1391602"/>
                </a:lnTo>
                <a:lnTo>
                  <a:pt x="1979451" y="1391710"/>
                </a:lnTo>
                <a:lnTo>
                  <a:pt x="1996489" y="1386296"/>
                </a:lnTo>
                <a:lnTo>
                  <a:pt x="2013743" y="1380558"/>
                </a:lnTo>
                <a:lnTo>
                  <a:pt x="2022207" y="1379692"/>
                </a:lnTo>
                <a:lnTo>
                  <a:pt x="2033059" y="1386730"/>
                </a:lnTo>
                <a:lnTo>
                  <a:pt x="2040112" y="1393118"/>
                </a:lnTo>
                <a:lnTo>
                  <a:pt x="2050421" y="1396257"/>
                </a:lnTo>
                <a:lnTo>
                  <a:pt x="2053243" y="1398639"/>
                </a:lnTo>
                <a:lnTo>
                  <a:pt x="2057801" y="1399830"/>
                </a:lnTo>
                <a:lnTo>
                  <a:pt x="2065397" y="1407518"/>
                </a:lnTo>
                <a:lnTo>
                  <a:pt x="2069086" y="1409141"/>
                </a:lnTo>
                <a:lnTo>
                  <a:pt x="2072884" y="1416179"/>
                </a:lnTo>
                <a:lnTo>
                  <a:pt x="2077008" y="1418778"/>
                </a:lnTo>
                <a:lnTo>
                  <a:pt x="2077008" y="1422892"/>
                </a:lnTo>
                <a:lnTo>
                  <a:pt x="2080047" y="1426357"/>
                </a:lnTo>
                <a:lnTo>
                  <a:pt x="2083302" y="1434369"/>
                </a:lnTo>
                <a:lnTo>
                  <a:pt x="2083193" y="1436642"/>
                </a:lnTo>
                <a:lnTo>
                  <a:pt x="2086449" y="1435235"/>
                </a:lnTo>
                <a:lnTo>
                  <a:pt x="2088728" y="1437834"/>
                </a:lnTo>
                <a:lnTo>
                  <a:pt x="2098494" y="1444330"/>
                </a:lnTo>
                <a:lnTo>
                  <a:pt x="2101967" y="1445196"/>
                </a:lnTo>
                <a:lnTo>
                  <a:pt x="2109020" y="1450176"/>
                </a:lnTo>
                <a:lnTo>
                  <a:pt x="2112601" y="1451367"/>
                </a:lnTo>
                <a:lnTo>
                  <a:pt x="2120740" y="1458621"/>
                </a:lnTo>
                <a:lnTo>
                  <a:pt x="2121608" y="1462086"/>
                </a:lnTo>
                <a:lnTo>
                  <a:pt x="2127576" y="1467932"/>
                </a:lnTo>
                <a:lnTo>
                  <a:pt x="2126708" y="1470098"/>
                </a:lnTo>
                <a:lnTo>
                  <a:pt x="2128336" y="1471722"/>
                </a:lnTo>
                <a:lnTo>
                  <a:pt x="2135824" y="1471830"/>
                </a:lnTo>
                <a:lnTo>
                  <a:pt x="2138103" y="1472697"/>
                </a:lnTo>
                <a:lnTo>
                  <a:pt x="2143528" y="1471505"/>
                </a:lnTo>
                <a:lnTo>
                  <a:pt x="2153621" y="1471830"/>
                </a:lnTo>
                <a:lnTo>
                  <a:pt x="2156008" y="1474104"/>
                </a:lnTo>
                <a:lnTo>
                  <a:pt x="2157962" y="1474104"/>
                </a:lnTo>
                <a:lnTo>
                  <a:pt x="2165341" y="1476378"/>
                </a:lnTo>
                <a:lnTo>
                  <a:pt x="2173479" y="1477893"/>
                </a:lnTo>
                <a:lnTo>
                  <a:pt x="2179339" y="1475944"/>
                </a:lnTo>
                <a:lnTo>
                  <a:pt x="2182703" y="1475944"/>
                </a:lnTo>
                <a:lnTo>
                  <a:pt x="2182595" y="1477677"/>
                </a:lnTo>
                <a:lnTo>
                  <a:pt x="2184114" y="1476811"/>
                </a:lnTo>
                <a:lnTo>
                  <a:pt x="2186501" y="1476811"/>
                </a:lnTo>
                <a:lnTo>
                  <a:pt x="2187369" y="1483956"/>
                </a:lnTo>
                <a:lnTo>
                  <a:pt x="2181184" y="1495542"/>
                </a:lnTo>
                <a:lnTo>
                  <a:pt x="2180858" y="1499656"/>
                </a:lnTo>
                <a:lnTo>
                  <a:pt x="2177603" y="1504203"/>
                </a:lnTo>
                <a:lnTo>
                  <a:pt x="2174130" y="1510483"/>
                </a:lnTo>
                <a:lnTo>
                  <a:pt x="2174998" y="1515896"/>
                </a:lnTo>
                <a:lnTo>
                  <a:pt x="2176518" y="1517196"/>
                </a:lnTo>
                <a:lnTo>
                  <a:pt x="2176844" y="1527590"/>
                </a:lnTo>
                <a:lnTo>
                  <a:pt x="2170658" y="1537117"/>
                </a:lnTo>
                <a:lnTo>
                  <a:pt x="2170658" y="1541340"/>
                </a:lnTo>
                <a:lnTo>
                  <a:pt x="2168813" y="1547511"/>
                </a:lnTo>
                <a:lnTo>
                  <a:pt x="2164146" y="1551409"/>
                </a:lnTo>
                <a:lnTo>
                  <a:pt x="2161542" y="1560937"/>
                </a:lnTo>
                <a:lnTo>
                  <a:pt x="2163605" y="1564835"/>
                </a:lnTo>
                <a:lnTo>
                  <a:pt x="2168488" y="1568624"/>
                </a:lnTo>
                <a:lnTo>
                  <a:pt x="2168488" y="1574471"/>
                </a:lnTo>
                <a:lnTo>
                  <a:pt x="2172069" y="1576420"/>
                </a:lnTo>
                <a:lnTo>
                  <a:pt x="2174782" y="1580318"/>
                </a:lnTo>
                <a:lnTo>
                  <a:pt x="2173805" y="1584324"/>
                </a:lnTo>
                <a:lnTo>
                  <a:pt x="2174456" y="1586381"/>
                </a:lnTo>
                <a:lnTo>
                  <a:pt x="2174130" y="1589737"/>
                </a:lnTo>
                <a:lnTo>
                  <a:pt x="2178580" y="1591469"/>
                </a:lnTo>
                <a:lnTo>
                  <a:pt x="2184331" y="1594392"/>
                </a:lnTo>
                <a:lnTo>
                  <a:pt x="2185524" y="1594392"/>
                </a:lnTo>
                <a:lnTo>
                  <a:pt x="2186176" y="1597641"/>
                </a:lnTo>
                <a:lnTo>
                  <a:pt x="2189106" y="1601647"/>
                </a:lnTo>
                <a:lnTo>
                  <a:pt x="2189974" y="1609226"/>
                </a:lnTo>
                <a:lnTo>
                  <a:pt x="2191167" y="1612257"/>
                </a:lnTo>
                <a:lnTo>
                  <a:pt x="2189323" y="1618970"/>
                </a:lnTo>
                <a:lnTo>
                  <a:pt x="2180207" y="1627091"/>
                </a:lnTo>
                <a:lnTo>
                  <a:pt x="2187044" y="1623626"/>
                </a:lnTo>
                <a:lnTo>
                  <a:pt x="2192904" y="1619295"/>
                </a:lnTo>
                <a:lnTo>
                  <a:pt x="2199306" y="1621569"/>
                </a:lnTo>
                <a:lnTo>
                  <a:pt x="2203430" y="1625575"/>
                </a:lnTo>
                <a:lnTo>
                  <a:pt x="2207445" y="1625899"/>
                </a:lnTo>
                <a:lnTo>
                  <a:pt x="2208747" y="1621893"/>
                </a:lnTo>
                <a:lnTo>
                  <a:pt x="2208747" y="1617779"/>
                </a:lnTo>
                <a:lnTo>
                  <a:pt x="2216886" y="1607818"/>
                </a:lnTo>
                <a:lnTo>
                  <a:pt x="2218730" y="1607710"/>
                </a:lnTo>
                <a:lnTo>
                  <a:pt x="2217754" y="1611608"/>
                </a:lnTo>
                <a:lnTo>
                  <a:pt x="2218405" y="1614206"/>
                </a:lnTo>
                <a:lnTo>
                  <a:pt x="2221227" y="1614856"/>
                </a:lnTo>
                <a:lnTo>
                  <a:pt x="2222854" y="1623301"/>
                </a:lnTo>
                <a:lnTo>
                  <a:pt x="2221986" y="1629797"/>
                </a:lnTo>
                <a:lnTo>
                  <a:pt x="2227521" y="1634128"/>
                </a:lnTo>
                <a:lnTo>
                  <a:pt x="2235659" y="1634994"/>
                </a:lnTo>
                <a:lnTo>
                  <a:pt x="2231102" y="1632937"/>
                </a:lnTo>
                <a:lnTo>
                  <a:pt x="2226544" y="1627740"/>
                </a:lnTo>
                <a:lnTo>
                  <a:pt x="2225676" y="1622110"/>
                </a:lnTo>
                <a:lnTo>
                  <a:pt x="2226653" y="1614748"/>
                </a:lnTo>
                <a:lnTo>
                  <a:pt x="2229039" y="1611499"/>
                </a:lnTo>
                <a:lnTo>
                  <a:pt x="2226653" y="1608467"/>
                </a:lnTo>
                <a:lnTo>
                  <a:pt x="2226327" y="1603920"/>
                </a:lnTo>
                <a:lnTo>
                  <a:pt x="2228172" y="1604895"/>
                </a:lnTo>
                <a:lnTo>
                  <a:pt x="2230776" y="1604028"/>
                </a:lnTo>
                <a:lnTo>
                  <a:pt x="2233055" y="1597208"/>
                </a:lnTo>
                <a:lnTo>
                  <a:pt x="2238698" y="1591686"/>
                </a:lnTo>
                <a:lnTo>
                  <a:pt x="2237070" y="1589737"/>
                </a:lnTo>
                <a:lnTo>
                  <a:pt x="2236310" y="1582699"/>
                </a:lnTo>
                <a:lnTo>
                  <a:pt x="2233597" y="1581184"/>
                </a:lnTo>
                <a:lnTo>
                  <a:pt x="2233706" y="1576203"/>
                </a:lnTo>
                <a:lnTo>
                  <a:pt x="2238263" y="1570681"/>
                </a:lnTo>
                <a:lnTo>
                  <a:pt x="2236310" y="1568083"/>
                </a:lnTo>
                <a:lnTo>
                  <a:pt x="2236527" y="1565376"/>
                </a:lnTo>
                <a:lnTo>
                  <a:pt x="2234140" y="1564510"/>
                </a:lnTo>
                <a:lnTo>
                  <a:pt x="2233380" y="1561370"/>
                </a:lnTo>
                <a:lnTo>
                  <a:pt x="2237178" y="1549677"/>
                </a:lnTo>
                <a:lnTo>
                  <a:pt x="2235985" y="1545129"/>
                </a:lnTo>
                <a:lnTo>
                  <a:pt x="2237178" y="1537117"/>
                </a:lnTo>
                <a:lnTo>
                  <a:pt x="2239783" y="1534627"/>
                </a:lnTo>
                <a:lnTo>
                  <a:pt x="2238698" y="1530080"/>
                </a:lnTo>
                <a:lnTo>
                  <a:pt x="2240976" y="1528564"/>
                </a:lnTo>
                <a:lnTo>
                  <a:pt x="2239240" y="1524666"/>
                </a:lnTo>
                <a:lnTo>
                  <a:pt x="2242061" y="1522609"/>
                </a:lnTo>
                <a:lnTo>
                  <a:pt x="2239457" y="1521851"/>
                </a:lnTo>
                <a:lnTo>
                  <a:pt x="2237938" y="1518819"/>
                </a:lnTo>
                <a:lnTo>
                  <a:pt x="2240325" y="1517412"/>
                </a:lnTo>
                <a:lnTo>
                  <a:pt x="2238372" y="1513839"/>
                </a:lnTo>
                <a:lnTo>
                  <a:pt x="2238589" y="1509509"/>
                </a:lnTo>
                <a:lnTo>
                  <a:pt x="2236527" y="1505719"/>
                </a:lnTo>
                <a:lnTo>
                  <a:pt x="2235985" y="1500955"/>
                </a:lnTo>
                <a:lnTo>
                  <a:pt x="2234465" y="1498356"/>
                </a:lnTo>
                <a:lnTo>
                  <a:pt x="2240868" y="1495433"/>
                </a:lnTo>
                <a:lnTo>
                  <a:pt x="2250309" y="1493809"/>
                </a:lnTo>
                <a:lnTo>
                  <a:pt x="2254975" y="1490236"/>
                </a:lnTo>
                <a:lnTo>
                  <a:pt x="2260510" y="1490453"/>
                </a:lnTo>
                <a:lnTo>
                  <a:pt x="2263006" y="1488395"/>
                </a:lnTo>
                <a:lnTo>
                  <a:pt x="2272338" y="1483740"/>
                </a:lnTo>
                <a:lnTo>
                  <a:pt x="2287204" y="1478218"/>
                </a:lnTo>
                <a:lnTo>
                  <a:pt x="2287313" y="1476486"/>
                </a:lnTo>
                <a:lnTo>
                  <a:pt x="2290460" y="1473562"/>
                </a:lnTo>
                <a:lnTo>
                  <a:pt x="2301638" y="1468799"/>
                </a:lnTo>
                <a:lnTo>
                  <a:pt x="2302288" y="1464685"/>
                </a:lnTo>
                <a:lnTo>
                  <a:pt x="2307822" y="1462086"/>
                </a:lnTo>
                <a:lnTo>
                  <a:pt x="2314442" y="1451800"/>
                </a:lnTo>
                <a:lnTo>
                  <a:pt x="2317263" y="1452125"/>
                </a:lnTo>
                <a:lnTo>
                  <a:pt x="2319543" y="1454291"/>
                </a:lnTo>
                <a:lnTo>
                  <a:pt x="2324318" y="1453965"/>
                </a:lnTo>
                <a:lnTo>
                  <a:pt x="2328007" y="1450068"/>
                </a:lnTo>
                <a:lnTo>
                  <a:pt x="2323666" y="1444546"/>
                </a:lnTo>
                <a:lnTo>
                  <a:pt x="2323341" y="1438483"/>
                </a:lnTo>
                <a:lnTo>
                  <a:pt x="2320411" y="1441081"/>
                </a:lnTo>
                <a:lnTo>
                  <a:pt x="2319435" y="1445845"/>
                </a:lnTo>
                <a:lnTo>
                  <a:pt x="2317263" y="1446387"/>
                </a:lnTo>
                <a:lnTo>
                  <a:pt x="2319000" y="1440215"/>
                </a:lnTo>
                <a:lnTo>
                  <a:pt x="2323341" y="1428738"/>
                </a:lnTo>
                <a:lnTo>
                  <a:pt x="2325077" y="1426790"/>
                </a:lnTo>
                <a:lnTo>
                  <a:pt x="2325077" y="1418561"/>
                </a:lnTo>
                <a:lnTo>
                  <a:pt x="2325728" y="1412714"/>
                </a:lnTo>
                <a:lnTo>
                  <a:pt x="2321930" y="1405461"/>
                </a:lnTo>
                <a:lnTo>
                  <a:pt x="2322689" y="1391061"/>
                </a:lnTo>
                <a:lnTo>
                  <a:pt x="2321062" y="1378392"/>
                </a:lnTo>
                <a:lnTo>
                  <a:pt x="2313900" y="1367133"/>
                </a:lnTo>
                <a:lnTo>
                  <a:pt x="2308691" y="1363776"/>
                </a:lnTo>
                <a:lnTo>
                  <a:pt x="2307280" y="1358688"/>
                </a:lnTo>
                <a:lnTo>
                  <a:pt x="2302506" y="1357280"/>
                </a:lnTo>
                <a:lnTo>
                  <a:pt x="2301095" y="1353599"/>
                </a:lnTo>
                <a:lnTo>
                  <a:pt x="2303916" y="1344288"/>
                </a:lnTo>
                <a:lnTo>
                  <a:pt x="2308582" y="1342231"/>
                </a:lnTo>
                <a:lnTo>
                  <a:pt x="2321062" y="1329130"/>
                </a:lnTo>
                <a:lnTo>
                  <a:pt x="2325077" y="1328697"/>
                </a:lnTo>
                <a:lnTo>
                  <a:pt x="2328115" y="1325123"/>
                </a:lnTo>
                <a:lnTo>
                  <a:pt x="2328007" y="1321768"/>
                </a:lnTo>
                <a:lnTo>
                  <a:pt x="2326271" y="1320793"/>
                </a:lnTo>
                <a:lnTo>
                  <a:pt x="2326054" y="1318844"/>
                </a:lnTo>
                <a:lnTo>
                  <a:pt x="2331045" y="1312348"/>
                </a:lnTo>
                <a:lnTo>
                  <a:pt x="2333650" y="1312348"/>
                </a:lnTo>
                <a:lnTo>
                  <a:pt x="2336580" y="1317978"/>
                </a:lnTo>
                <a:lnTo>
                  <a:pt x="2339726" y="1319601"/>
                </a:lnTo>
                <a:lnTo>
                  <a:pt x="2337990" y="1317003"/>
                </a:lnTo>
                <a:lnTo>
                  <a:pt x="2338316" y="1311481"/>
                </a:lnTo>
                <a:lnTo>
                  <a:pt x="2343525" y="1309208"/>
                </a:lnTo>
                <a:lnTo>
                  <a:pt x="2348517" y="1300113"/>
                </a:lnTo>
                <a:lnTo>
                  <a:pt x="2347649" y="1297081"/>
                </a:lnTo>
                <a:lnTo>
                  <a:pt x="2341138" y="1297081"/>
                </a:lnTo>
                <a:lnTo>
                  <a:pt x="2340595" y="1295024"/>
                </a:lnTo>
                <a:lnTo>
                  <a:pt x="2344827" y="1289503"/>
                </a:lnTo>
                <a:lnTo>
                  <a:pt x="2342331" y="1287446"/>
                </a:lnTo>
                <a:lnTo>
                  <a:pt x="2340703" y="1283981"/>
                </a:lnTo>
                <a:lnTo>
                  <a:pt x="2343959" y="1280191"/>
                </a:lnTo>
                <a:lnTo>
                  <a:pt x="2348625" y="1278675"/>
                </a:lnTo>
                <a:lnTo>
                  <a:pt x="2343525" y="1277809"/>
                </a:lnTo>
                <a:lnTo>
                  <a:pt x="2343199" y="1275211"/>
                </a:lnTo>
                <a:lnTo>
                  <a:pt x="2345261" y="1268498"/>
                </a:lnTo>
                <a:lnTo>
                  <a:pt x="2348842" y="1266224"/>
                </a:lnTo>
                <a:lnTo>
                  <a:pt x="2346021" y="1265791"/>
                </a:lnTo>
                <a:lnTo>
                  <a:pt x="2338208" y="1266441"/>
                </a:lnTo>
                <a:lnTo>
                  <a:pt x="2335928" y="1265467"/>
                </a:lnTo>
                <a:lnTo>
                  <a:pt x="2336254" y="1261785"/>
                </a:lnTo>
                <a:lnTo>
                  <a:pt x="2346455" y="1253773"/>
                </a:lnTo>
                <a:lnTo>
                  <a:pt x="2352749" y="1244571"/>
                </a:lnTo>
                <a:lnTo>
                  <a:pt x="2353834" y="1239049"/>
                </a:lnTo>
                <a:lnTo>
                  <a:pt x="2356873" y="1239590"/>
                </a:lnTo>
                <a:lnTo>
                  <a:pt x="2359043" y="1236991"/>
                </a:lnTo>
                <a:lnTo>
                  <a:pt x="2359043" y="1231578"/>
                </a:lnTo>
                <a:lnTo>
                  <a:pt x="2356438" y="1230495"/>
                </a:lnTo>
                <a:lnTo>
                  <a:pt x="2356113" y="1228438"/>
                </a:lnTo>
                <a:lnTo>
                  <a:pt x="2353617" y="1227896"/>
                </a:lnTo>
                <a:lnTo>
                  <a:pt x="2350687" y="1223241"/>
                </a:lnTo>
                <a:lnTo>
                  <a:pt x="2350904" y="1214147"/>
                </a:lnTo>
                <a:lnTo>
                  <a:pt x="2354160" y="1207109"/>
                </a:lnTo>
                <a:lnTo>
                  <a:pt x="2354377" y="1201154"/>
                </a:lnTo>
                <a:lnTo>
                  <a:pt x="2358175" y="1199096"/>
                </a:lnTo>
                <a:lnTo>
                  <a:pt x="2360019" y="1200396"/>
                </a:lnTo>
                <a:lnTo>
                  <a:pt x="2362841" y="1200288"/>
                </a:lnTo>
                <a:lnTo>
                  <a:pt x="2362841" y="1197364"/>
                </a:lnTo>
                <a:lnTo>
                  <a:pt x="2366096" y="1194116"/>
                </a:lnTo>
                <a:lnTo>
                  <a:pt x="2369026" y="1193683"/>
                </a:lnTo>
                <a:lnTo>
                  <a:pt x="2371956" y="1192492"/>
                </a:lnTo>
                <a:lnTo>
                  <a:pt x="2374886" y="1194441"/>
                </a:lnTo>
                <a:lnTo>
                  <a:pt x="2382808" y="1194874"/>
                </a:lnTo>
                <a:lnTo>
                  <a:pt x="2390838" y="1199313"/>
                </a:lnTo>
                <a:lnTo>
                  <a:pt x="2401473" y="1205160"/>
                </a:lnTo>
                <a:lnTo>
                  <a:pt x="2407332" y="1205160"/>
                </a:lnTo>
                <a:lnTo>
                  <a:pt x="2406031" y="1209599"/>
                </a:lnTo>
                <a:lnTo>
                  <a:pt x="2399845" y="1211981"/>
                </a:lnTo>
                <a:lnTo>
                  <a:pt x="2407767" y="1211656"/>
                </a:lnTo>
                <a:lnTo>
                  <a:pt x="2414278" y="1206892"/>
                </a:lnTo>
                <a:lnTo>
                  <a:pt x="2418727" y="1207217"/>
                </a:lnTo>
                <a:lnTo>
                  <a:pt x="2421223" y="1209924"/>
                </a:lnTo>
                <a:lnTo>
                  <a:pt x="2424587" y="1209924"/>
                </a:lnTo>
                <a:lnTo>
                  <a:pt x="2428059" y="1214796"/>
                </a:lnTo>
                <a:lnTo>
                  <a:pt x="2428059" y="1209599"/>
                </a:lnTo>
                <a:lnTo>
                  <a:pt x="2433593" y="1211981"/>
                </a:lnTo>
                <a:lnTo>
                  <a:pt x="2435981" y="1209274"/>
                </a:lnTo>
                <a:lnTo>
                  <a:pt x="2439779" y="1208949"/>
                </a:lnTo>
                <a:lnTo>
                  <a:pt x="2446073" y="1205160"/>
                </a:lnTo>
                <a:lnTo>
                  <a:pt x="2454320" y="1211656"/>
                </a:lnTo>
                <a:lnTo>
                  <a:pt x="2454320" y="1216528"/>
                </a:lnTo>
                <a:lnTo>
                  <a:pt x="2459854" y="1220967"/>
                </a:lnTo>
                <a:lnTo>
                  <a:pt x="2463979" y="1220967"/>
                </a:lnTo>
                <a:lnTo>
                  <a:pt x="2463979" y="1228546"/>
                </a:lnTo>
                <a:lnTo>
                  <a:pt x="2461266" y="1232336"/>
                </a:lnTo>
                <a:lnTo>
                  <a:pt x="2461266" y="1235800"/>
                </a:lnTo>
                <a:lnTo>
                  <a:pt x="2464304" y="1233743"/>
                </a:lnTo>
                <a:lnTo>
                  <a:pt x="2469513" y="1238507"/>
                </a:lnTo>
                <a:lnTo>
                  <a:pt x="2471900" y="1243704"/>
                </a:lnTo>
                <a:lnTo>
                  <a:pt x="2468102" y="1244787"/>
                </a:lnTo>
                <a:lnTo>
                  <a:pt x="2472225" y="1247818"/>
                </a:lnTo>
                <a:lnTo>
                  <a:pt x="2475698" y="1244787"/>
                </a:lnTo>
                <a:lnTo>
                  <a:pt x="2479822" y="1250634"/>
                </a:lnTo>
                <a:lnTo>
                  <a:pt x="2479171" y="1253340"/>
                </a:lnTo>
                <a:lnTo>
                  <a:pt x="2475047" y="1250200"/>
                </a:lnTo>
                <a:lnTo>
                  <a:pt x="2472985" y="1254748"/>
                </a:lnTo>
                <a:lnTo>
                  <a:pt x="2468753" y="1254748"/>
                </a:lnTo>
                <a:lnTo>
                  <a:pt x="2474613" y="1260594"/>
                </a:lnTo>
                <a:lnTo>
                  <a:pt x="2474613" y="1265034"/>
                </a:lnTo>
                <a:lnTo>
                  <a:pt x="2478845" y="1261244"/>
                </a:lnTo>
                <a:lnTo>
                  <a:pt x="2478845" y="1265034"/>
                </a:lnTo>
                <a:lnTo>
                  <a:pt x="2482643" y="1262652"/>
                </a:lnTo>
                <a:lnTo>
                  <a:pt x="2490240" y="1269148"/>
                </a:lnTo>
                <a:lnTo>
                  <a:pt x="2492952" y="1268173"/>
                </a:lnTo>
                <a:lnTo>
                  <a:pt x="2494688" y="1270555"/>
                </a:lnTo>
                <a:lnTo>
                  <a:pt x="2499897" y="1268173"/>
                </a:lnTo>
                <a:lnTo>
                  <a:pt x="2506083" y="1270230"/>
                </a:lnTo>
                <a:lnTo>
                  <a:pt x="2504997" y="1278784"/>
                </a:lnTo>
                <a:lnTo>
                  <a:pt x="2507494" y="1282573"/>
                </a:lnTo>
                <a:lnTo>
                  <a:pt x="2512920" y="1278459"/>
                </a:lnTo>
                <a:lnTo>
                  <a:pt x="2514005" y="1271313"/>
                </a:lnTo>
                <a:lnTo>
                  <a:pt x="2517803" y="1270880"/>
                </a:lnTo>
                <a:lnTo>
                  <a:pt x="2518128" y="1279217"/>
                </a:lnTo>
                <a:lnTo>
                  <a:pt x="2516826" y="1287120"/>
                </a:lnTo>
                <a:lnTo>
                  <a:pt x="2510532" y="1288420"/>
                </a:lnTo>
                <a:lnTo>
                  <a:pt x="2506083" y="1295350"/>
                </a:lnTo>
                <a:lnTo>
                  <a:pt x="2507060" y="1307042"/>
                </a:lnTo>
                <a:lnTo>
                  <a:pt x="2504997" y="1311156"/>
                </a:lnTo>
                <a:lnTo>
                  <a:pt x="2504021" y="1304985"/>
                </a:lnTo>
                <a:lnTo>
                  <a:pt x="2501959" y="1307801"/>
                </a:lnTo>
                <a:lnTo>
                  <a:pt x="2500549" y="1314946"/>
                </a:lnTo>
                <a:lnTo>
                  <a:pt x="2490240" y="1313647"/>
                </a:lnTo>
                <a:lnTo>
                  <a:pt x="2477760" y="1309858"/>
                </a:lnTo>
                <a:lnTo>
                  <a:pt x="2488829" y="1315704"/>
                </a:lnTo>
                <a:lnTo>
                  <a:pt x="2497836" y="1317436"/>
                </a:lnTo>
                <a:lnTo>
                  <a:pt x="2504238" y="1322850"/>
                </a:lnTo>
                <a:lnTo>
                  <a:pt x="2503696" y="1331078"/>
                </a:lnTo>
                <a:lnTo>
                  <a:pt x="2499572" y="1337142"/>
                </a:lnTo>
                <a:lnTo>
                  <a:pt x="2498921" y="1340065"/>
                </a:lnTo>
                <a:lnTo>
                  <a:pt x="2493929" y="1346345"/>
                </a:lnTo>
                <a:lnTo>
                  <a:pt x="2495231" y="1347103"/>
                </a:lnTo>
                <a:lnTo>
                  <a:pt x="2501199" y="1356305"/>
                </a:lnTo>
                <a:lnTo>
                  <a:pt x="2505106" y="1357496"/>
                </a:lnTo>
                <a:lnTo>
                  <a:pt x="2502719" y="1358579"/>
                </a:lnTo>
                <a:lnTo>
                  <a:pt x="2494471" y="1354573"/>
                </a:lnTo>
                <a:lnTo>
                  <a:pt x="2499897" y="1362910"/>
                </a:lnTo>
                <a:lnTo>
                  <a:pt x="2504238" y="1365941"/>
                </a:lnTo>
                <a:lnTo>
                  <a:pt x="2505757" y="1365833"/>
                </a:lnTo>
                <a:lnTo>
                  <a:pt x="2504238" y="1360853"/>
                </a:lnTo>
                <a:lnTo>
                  <a:pt x="2508579" y="1360637"/>
                </a:lnTo>
                <a:lnTo>
                  <a:pt x="2513353" y="1364751"/>
                </a:lnTo>
                <a:lnTo>
                  <a:pt x="2515958" y="1369623"/>
                </a:lnTo>
                <a:lnTo>
                  <a:pt x="2514873" y="1374712"/>
                </a:lnTo>
                <a:lnTo>
                  <a:pt x="2515306" y="1380125"/>
                </a:lnTo>
                <a:lnTo>
                  <a:pt x="2510098" y="1388137"/>
                </a:lnTo>
                <a:lnTo>
                  <a:pt x="2509122" y="1393334"/>
                </a:lnTo>
                <a:lnTo>
                  <a:pt x="2505649" y="1397773"/>
                </a:lnTo>
                <a:lnTo>
                  <a:pt x="2510640" y="1395175"/>
                </a:lnTo>
                <a:lnTo>
                  <a:pt x="2516826" y="1382615"/>
                </a:lnTo>
                <a:lnTo>
                  <a:pt x="2523011" y="1376444"/>
                </a:lnTo>
                <a:lnTo>
                  <a:pt x="2524422" y="1376985"/>
                </a:lnTo>
                <a:lnTo>
                  <a:pt x="2523662" y="1381641"/>
                </a:lnTo>
                <a:lnTo>
                  <a:pt x="2524205" y="1391277"/>
                </a:lnTo>
                <a:lnTo>
                  <a:pt x="2522903" y="1393118"/>
                </a:lnTo>
                <a:lnTo>
                  <a:pt x="2523229" y="1397124"/>
                </a:lnTo>
                <a:lnTo>
                  <a:pt x="2521275" y="1401779"/>
                </a:lnTo>
                <a:lnTo>
                  <a:pt x="2526592" y="1395716"/>
                </a:lnTo>
                <a:lnTo>
                  <a:pt x="2527352" y="1390194"/>
                </a:lnTo>
                <a:lnTo>
                  <a:pt x="2532453" y="1386080"/>
                </a:lnTo>
                <a:lnTo>
                  <a:pt x="2536793" y="1385539"/>
                </a:lnTo>
                <a:lnTo>
                  <a:pt x="2540917" y="1381749"/>
                </a:lnTo>
                <a:lnTo>
                  <a:pt x="2544389" y="1382290"/>
                </a:lnTo>
                <a:lnTo>
                  <a:pt x="2545040" y="1384564"/>
                </a:lnTo>
                <a:lnTo>
                  <a:pt x="2547102" y="1382182"/>
                </a:lnTo>
                <a:lnTo>
                  <a:pt x="2551443" y="1381100"/>
                </a:lnTo>
                <a:lnTo>
                  <a:pt x="2552094" y="1376661"/>
                </a:lnTo>
                <a:lnTo>
                  <a:pt x="2555241" y="1372329"/>
                </a:lnTo>
                <a:lnTo>
                  <a:pt x="2561644" y="1367674"/>
                </a:lnTo>
                <a:lnTo>
                  <a:pt x="2564682" y="1370814"/>
                </a:lnTo>
                <a:lnTo>
                  <a:pt x="2566092" y="1377635"/>
                </a:lnTo>
                <a:lnTo>
                  <a:pt x="2565224" y="1383157"/>
                </a:lnTo>
                <a:lnTo>
                  <a:pt x="2568480" y="1375794"/>
                </a:lnTo>
                <a:lnTo>
                  <a:pt x="2568155" y="1368757"/>
                </a:lnTo>
                <a:lnTo>
                  <a:pt x="2570216" y="1368215"/>
                </a:lnTo>
                <a:lnTo>
                  <a:pt x="2569673" y="1365941"/>
                </a:lnTo>
                <a:lnTo>
                  <a:pt x="2572495" y="1361502"/>
                </a:lnTo>
                <a:lnTo>
                  <a:pt x="2576401" y="1360853"/>
                </a:lnTo>
                <a:lnTo>
                  <a:pt x="2577596" y="1354573"/>
                </a:lnTo>
                <a:lnTo>
                  <a:pt x="2581285" y="1352192"/>
                </a:lnTo>
                <a:lnTo>
                  <a:pt x="2584215" y="1347752"/>
                </a:lnTo>
                <a:lnTo>
                  <a:pt x="2585734" y="1344612"/>
                </a:lnTo>
                <a:lnTo>
                  <a:pt x="2588338" y="1344504"/>
                </a:lnTo>
                <a:lnTo>
                  <a:pt x="2592245" y="1348619"/>
                </a:lnTo>
                <a:lnTo>
                  <a:pt x="2592462" y="1345695"/>
                </a:lnTo>
                <a:lnTo>
                  <a:pt x="2590400" y="1342122"/>
                </a:lnTo>
                <a:lnTo>
                  <a:pt x="2586385" y="1341906"/>
                </a:lnTo>
                <a:lnTo>
                  <a:pt x="2586277" y="1338982"/>
                </a:lnTo>
                <a:lnTo>
                  <a:pt x="2589315" y="1331728"/>
                </a:lnTo>
                <a:lnTo>
                  <a:pt x="2591811" y="1330537"/>
                </a:lnTo>
                <a:lnTo>
                  <a:pt x="2594524" y="1333460"/>
                </a:lnTo>
                <a:lnTo>
                  <a:pt x="2594198" y="1329021"/>
                </a:lnTo>
                <a:lnTo>
                  <a:pt x="2597128" y="1326964"/>
                </a:lnTo>
                <a:lnTo>
                  <a:pt x="2597671" y="1323391"/>
                </a:lnTo>
                <a:lnTo>
                  <a:pt x="2602771" y="1317653"/>
                </a:lnTo>
                <a:lnTo>
                  <a:pt x="2605050" y="1313755"/>
                </a:lnTo>
                <a:lnTo>
                  <a:pt x="2603965" y="1310399"/>
                </a:lnTo>
                <a:lnTo>
                  <a:pt x="2608088" y="1304985"/>
                </a:lnTo>
                <a:lnTo>
                  <a:pt x="2612971" y="1303361"/>
                </a:lnTo>
                <a:lnTo>
                  <a:pt x="2614816" y="1305310"/>
                </a:lnTo>
                <a:lnTo>
                  <a:pt x="2611018" y="1308558"/>
                </a:lnTo>
                <a:lnTo>
                  <a:pt x="2615251" y="1306826"/>
                </a:lnTo>
                <a:lnTo>
                  <a:pt x="2616770" y="1308883"/>
                </a:lnTo>
                <a:lnTo>
                  <a:pt x="2613840" y="1310940"/>
                </a:lnTo>
                <a:lnTo>
                  <a:pt x="2613298" y="1314188"/>
                </a:lnTo>
                <a:lnTo>
                  <a:pt x="2616444" y="1316246"/>
                </a:lnTo>
                <a:lnTo>
                  <a:pt x="2613623" y="1320035"/>
                </a:lnTo>
                <a:lnTo>
                  <a:pt x="2611018" y="1320576"/>
                </a:lnTo>
                <a:lnTo>
                  <a:pt x="2610910" y="1321659"/>
                </a:lnTo>
                <a:lnTo>
                  <a:pt x="2613840" y="1322309"/>
                </a:lnTo>
                <a:lnTo>
                  <a:pt x="2616770" y="1322850"/>
                </a:lnTo>
                <a:lnTo>
                  <a:pt x="2615359" y="1326748"/>
                </a:lnTo>
                <a:lnTo>
                  <a:pt x="2613948" y="1328697"/>
                </a:lnTo>
                <a:lnTo>
                  <a:pt x="2617421" y="1328480"/>
                </a:lnTo>
                <a:lnTo>
                  <a:pt x="2617746" y="1332594"/>
                </a:lnTo>
                <a:lnTo>
                  <a:pt x="2614708" y="1334652"/>
                </a:lnTo>
                <a:lnTo>
                  <a:pt x="2615684" y="1339307"/>
                </a:lnTo>
                <a:lnTo>
                  <a:pt x="2620134" y="1343421"/>
                </a:lnTo>
                <a:lnTo>
                  <a:pt x="2620459" y="1349376"/>
                </a:lnTo>
                <a:lnTo>
                  <a:pt x="2618614" y="1351217"/>
                </a:lnTo>
                <a:lnTo>
                  <a:pt x="2616336" y="1349160"/>
                </a:lnTo>
                <a:lnTo>
                  <a:pt x="2613189" y="1350459"/>
                </a:lnTo>
                <a:lnTo>
                  <a:pt x="2616336" y="1353274"/>
                </a:lnTo>
                <a:lnTo>
                  <a:pt x="2617313" y="1356198"/>
                </a:lnTo>
                <a:lnTo>
                  <a:pt x="2619374" y="1356198"/>
                </a:lnTo>
                <a:lnTo>
                  <a:pt x="2622412" y="1353166"/>
                </a:lnTo>
                <a:lnTo>
                  <a:pt x="2622847" y="1356414"/>
                </a:lnTo>
                <a:lnTo>
                  <a:pt x="2626211" y="1358363"/>
                </a:lnTo>
                <a:lnTo>
                  <a:pt x="2622630" y="1364318"/>
                </a:lnTo>
                <a:lnTo>
                  <a:pt x="2618397" y="1365509"/>
                </a:lnTo>
                <a:lnTo>
                  <a:pt x="2613406" y="1364643"/>
                </a:lnTo>
                <a:lnTo>
                  <a:pt x="2611018" y="1367566"/>
                </a:lnTo>
                <a:lnTo>
                  <a:pt x="2614599" y="1369731"/>
                </a:lnTo>
                <a:lnTo>
                  <a:pt x="2625560" y="1366700"/>
                </a:lnTo>
                <a:lnTo>
                  <a:pt x="2629141" y="1367457"/>
                </a:lnTo>
                <a:lnTo>
                  <a:pt x="2627838" y="1371680"/>
                </a:lnTo>
                <a:lnTo>
                  <a:pt x="2623607" y="1376444"/>
                </a:lnTo>
                <a:lnTo>
                  <a:pt x="2627079" y="1378068"/>
                </a:lnTo>
                <a:lnTo>
                  <a:pt x="2631094" y="1375578"/>
                </a:lnTo>
                <a:lnTo>
                  <a:pt x="2631094" y="1380883"/>
                </a:lnTo>
                <a:lnTo>
                  <a:pt x="2627079" y="1386622"/>
                </a:lnTo>
                <a:lnTo>
                  <a:pt x="2619700" y="1386622"/>
                </a:lnTo>
                <a:lnTo>
                  <a:pt x="2616227" y="1384023"/>
                </a:lnTo>
                <a:lnTo>
                  <a:pt x="2614383" y="1387271"/>
                </a:lnTo>
                <a:lnTo>
                  <a:pt x="2615359" y="1390519"/>
                </a:lnTo>
                <a:lnTo>
                  <a:pt x="2613623" y="1394308"/>
                </a:lnTo>
                <a:lnTo>
                  <a:pt x="2620242" y="1391385"/>
                </a:lnTo>
                <a:lnTo>
                  <a:pt x="2627622" y="1391602"/>
                </a:lnTo>
                <a:lnTo>
                  <a:pt x="2632830" y="1389328"/>
                </a:lnTo>
                <a:lnTo>
                  <a:pt x="2634133" y="1390735"/>
                </a:lnTo>
                <a:lnTo>
                  <a:pt x="2631420" y="1393767"/>
                </a:lnTo>
                <a:lnTo>
                  <a:pt x="2631420" y="1396041"/>
                </a:lnTo>
                <a:lnTo>
                  <a:pt x="2627296" y="1398639"/>
                </a:lnTo>
                <a:lnTo>
                  <a:pt x="2622739" y="1398639"/>
                </a:lnTo>
                <a:lnTo>
                  <a:pt x="2615902" y="1407085"/>
                </a:lnTo>
                <a:lnTo>
                  <a:pt x="2623498" y="1403620"/>
                </a:lnTo>
                <a:lnTo>
                  <a:pt x="2628598" y="1403620"/>
                </a:lnTo>
                <a:lnTo>
                  <a:pt x="2632071" y="1402429"/>
                </a:lnTo>
                <a:lnTo>
                  <a:pt x="2636411" y="1403295"/>
                </a:lnTo>
                <a:lnTo>
                  <a:pt x="2636411" y="1407518"/>
                </a:lnTo>
                <a:lnTo>
                  <a:pt x="2632613" y="1408059"/>
                </a:lnTo>
                <a:lnTo>
                  <a:pt x="2627622" y="1411307"/>
                </a:lnTo>
                <a:lnTo>
                  <a:pt x="2626211" y="1415963"/>
                </a:lnTo>
                <a:lnTo>
                  <a:pt x="2629141" y="1413039"/>
                </a:lnTo>
                <a:lnTo>
                  <a:pt x="2633590" y="1414447"/>
                </a:lnTo>
                <a:lnTo>
                  <a:pt x="2636194" y="1411524"/>
                </a:lnTo>
                <a:lnTo>
                  <a:pt x="2640644" y="1415638"/>
                </a:lnTo>
                <a:lnTo>
                  <a:pt x="2642922" y="1423542"/>
                </a:lnTo>
                <a:lnTo>
                  <a:pt x="2638147" y="1427548"/>
                </a:lnTo>
                <a:lnTo>
                  <a:pt x="2634892" y="1426357"/>
                </a:lnTo>
                <a:lnTo>
                  <a:pt x="2632396" y="1428414"/>
                </a:lnTo>
                <a:lnTo>
                  <a:pt x="2627730" y="1428414"/>
                </a:lnTo>
                <a:lnTo>
                  <a:pt x="2631203" y="1431446"/>
                </a:lnTo>
                <a:lnTo>
                  <a:pt x="2634458" y="1430796"/>
                </a:lnTo>
                <a:lnTo>
                  <a:pt x="2636520" y="1432095"/>
                </a:lnTo>
                <a:lnTo>
                  <a:pt x="2641729" y="1432312"/>
                </a:lnTo>
                <a:lnTo>
                  <a:pt x="2643790" y="1434369"/>
                </a:lnTo>
                <a:lnTo>
                  <a:pt x="2642380" y="1438158"/>
                </a:lnTo>
                <a:lnTo>
                  <a:pt x="2639124" y="1440432"/>
                </a:lnTo>
                <a:lnTo>
                  <a:pt x="2643465" y="1441948"/>
                </a:lnTo>
                <a:lnTo>
                  <a:pt x="2646937" y="1441298"/>
                </a:lnTo>
                <a:lnTo>
                  <a:pt x="2651386" y="1445196"/>
                </a:lnTo>
                <a:lnTo>
                  <a:pt x="2650301" y="1449310"/>
                </a:lnTo>
                <a:lnTo>
                  <a:pt x="2646720" y="1451259"/>
                </a:lnTo>
                <a:lnTo>
                  <a:pt x="2640861" y="1456022"/>
                </a:lnTo>
                <a:lnTo>
                  <a:pt x="2637279" y="1454615"/>
                </a:lnTo>
                <a:lnTo>
                  <a:pt x="2635869" y="1456781"/>
                </a:lnTo>
                <a:lnTo>
                  <a:pt x="2640209" y="1458621"/>
                </a:lnTo>
                <a:lnTo>
                  <a:pt x="2640535" y="1461544"/>
                </a:lnTo>
                <a:lnTo>
                  <a:pt x="2635543" y="1462086"/>
                </a:lnTo>
                <a:lnTo>
                  <a:pt x="2629358" y="1458513"/>
                </a:lnTo>
                <a:lnTo>
                  <a:pt x="2622630" y="1458621"/>
                </a:lnTo>
                <a:lnTo>
                  <a:pt x="2628815" y="1462086"/>
                </a:lnTo>
                <a:lnTo>
                  <a:pt x="2628923" y="1466525"/>
                </a:lnTo>
                <a:lnTo>
                  <a:pt x="2633807" y="1470964"/>
                </a:lnTo>
                <a:lnTo>
                  <a:pt x="2635869" y="1473779"/>
                </a:lnTo>
                <a:lnTo>
                  <a:pt x="2635001" y="1475944"/>
                </a:lnTo>
                <a:lnTo>
                  <a:pt x="2629792" y="1476703"/>
                </a:lnTo>
                <a:lnTo>
                  <a:pt x="2627947" y="1479409"/>
                </a:lnTo>
                <a:lnTo>
                  <a:pt x="2621436" y="1478868"/>
                </a:lnTo>
                <a:lnTo>
                  <a:pt x="2629792" y="1481358"/>
                </a:lnTo>
                <a:lnTo>
                  <a:pt x="2632939" y="1480600"/>
                </a:lnTo>
                <a:lnTo>
                  <a:pt x="2633481" y="1478868"/>
                </a:lnTo>
                <a:lnTo>
                  <a:pt x="2639992" y="1477569"/>
                </a:lnTo>
                <a:lnTo>
                  <a:pt x="2642597" y="1478001"/>
                </a:lnTo>
                <a:lnTo>
                  <a:pt x="2642597" y="1481358"/>
                </a:lnTo>
                <a:lnTo>
                  <a:pt x="2644442" y="1483523"/>
                </a:lnTo>
                <a:lnTo>
                  <a:pt x="2642271" y="1485581"/>
                </a:lnTo>
                <a:lnTo>
                  <a:pt x="2645201" y="1486014"/>
                </a:lnTo>
                <a:lnTo>
                  <a:pt x="2646070" y="1487313"/>
                </a:lnTo>
                <a:lnTo>
                  <a:pt x="2645201" y="1490994"/>
                </a:lnTo>
                <a:lnTo>
                  <a:pt x="2646503" y="1492619"/>
                </a:lnTo>
                <a:lnTo>
                  <a:pt x="2651061" y="1489695"/>
                </a:lnTo>
                <a:lnTo>
                  <a:pt x="2652580" y="1490561"/>
                </a:lnTo>
                <a:lnTo>
                  <a:pt x="2655727" y="1491427"/>
                </a:lnTo>
                <a:lnTo>
                  <a:pt x="2655293" y="1497490"/>
                </a:lnTo>
                <a:lnTo>
                  <a:pt x="2653666" y="1500197"/>
                </a:lnTo>
                <a:lnTo>
                  <a:pt x="2653666" y="1502471"/>
                </a:lnTo>
                <a:lnTo>
                  <a:pt x="2655836" y="1502146"/>
                </a:lnTo>
                <a:lnTo>
                  <a:pt x="2660502" y="1495758"/>
                </a:lnTo>
                <a:lnTo>
                  <a:pt x="2661587" y="1496408"/>
                </a:lnTo>
                <a:lnTo>
                  <a:pt x="2660827" y="1500413"/>
                </a:lnTo>
                <a:lnTo>
                  <a:pt x="2663649" y="1503445"/>
                </a:lnTo>
                <a:lnTo>
                  <a:pt x="2657897" y="1507127"/>
                </a:lnTo>
                <a:lnTo>
                  <a:pt x="2650736" y="1516546"/>
                </a:lnTo>
                <a:lnTo>
                  <a:pt x="2646503" y="1519794"/>
                </a:lnTo>
                <a:lnTo>
                  <a:pt x="2641512" y="1518495"/>
                </a:lnTo>
                <a:lnTo>
                  <a:pt x="2646178" y="1521202"/>
                </a:lnTo>
                <a:lnTo>
                  <a:pt x="2650301" y="1520011"/>
                </a:lnTo>
                <a:lnTo>
                  <a:pt x="2659091" y="1511566"/>
                </a:lnTo>
                <a:lnTo>
                  <a:pt x="2662564" y="1511566"/>
                </a:lnTo>
                <a:lnTo>
                  <a:pt x="2662781" y="1514164"/>
                </a:lnTo>
                <a:lnTo>
                  <a:pt x="2658766" y="1517087"/>
                </a:lnTo>
                <a:lnTo>
                  <a:pt x="2656596" y="1521418"/>
                </a:lnTo>
                <a:lnTo>
                  <a:pt x="2658982" y="1522176"/>
                </a:lnTo>
                <a:lnTo>
                  <a:pt x="2663757" y="1516762"/>
                </a:lnTo>
                <a:lnTo>
                  <a:pt x="2667881" y="1511890"/>
                </a:lnTo>
                <a:lnTo>
                  <a:pt x="2673090" y="1511025"/>
                </a:lnTo>
                <a:lnTo>
                  <a:pt x="2673090" y="1513082"/>
                </a:lnTo>
                <a:lnTo>
                  <a:pt x="2669509" y="1515139"/>
                </a:lnTo>
                <a:lnTo>
                  <a:pt x="2667447" y="1517196"/>
                </a:lnTo>
                <a:lnTo>
                  <a:pt x="2668966" y="1518278"/>
                </a:lnTo>
                <a:lnTo>
                  <a:pt x="2675369" y="1515572"/>
                </a:lnTo>
                <a:lnTo>
                  <a:pt x="2677431" y="1517412"/>
                </a:lnTo>
                <a:lnTo>
                  <a:pt x="2670486" y="1522609"/>
                </a:lnTo>
                <a:lnTo>
                  <a:pt x="2667556" y="1526182"/>
                </a:lnTo>
                <a:lnTo>
                  <a:pt x="2669835" y="1526723"/>
                </a:lnTo>
                <a:lnTo>
                  <a:pt x="2673633" y="1523584"/>
                </a:lnTo>
                <a:lnTo>
                  <a:pt x="2682531" y="1515896"/>
                </a:lnTo>
                <a:lnTo>
                  <a:pt x="2684267" y="1516546"/>
                </a:lnTo>
                <a:lnTo>
                  <a:pt x="2681880" y="1518603"/>
                </a:lnTo>
                <a:lnTo>
                  <a:pt x="2681337" y="1520985"/>
                </a:lnTo>
                <a:lnTo>
                  <a:pt x="2687848" y="1516546"/>
                </a:lnTo>
                <a:lnTo>
                  <a:pt x="2687197" y="1518928"/>
                </a:lnTo>
                <a:lnTo>
                  <a:pt x="2687088" y="1526507"/>
                </a:lnTo>
                <a:lnTo>
                  <a:pt x="2684267" y="1527373"/>
                </a:lnTo>
                <a:lnTo>
                  <a:pt x="2685027" y="1530296"/>
                </a:lnTo>
                <a:lnTo>
                  <a:pt x="2690127" y="1529647"/>
                </a:lnTo>
                <a:lnTo>
                  <a:pt x="2695661" y="1532895"/>
                </a:lnTo>
                <a:lnTo>
                  <a:pt x="2699242" y="1528564"/>
                </a:lnTo>
                <a:lnTo>
                  <a:pt x="2705970" y="1526831"/>
                </a:lnTo>
                <a:lnTo>
                  <a:pt x="2709118" y="1528023"/>
                </a:lnTo>
                <a:lnTo>
                  <a:pt x="2706838" y="1532570"/>
                </a:lnTo>
                <a:lnTo>
                  <a:pt x="2703908" y="1532570"/>
                </a:lnTo>
                <a:lnTo>
                  <a:pt x="2702172" y="1534411"/>
                </a:lnTo>
                <a:lnTo>
                  <a:pt x="2713567" y="1537659"/>
                </a:lnTo>
                <a:lnTo>
                  <a:pt x="2718016" y="1541665"/>
                </a:lnTo>
                <a:lnTo>
                  <a:pt x="2710528" y="1542639"/>
                </a:lnTo>
                <a:lnTo>
                  <a:pt x="2710528" y="1544372"/>
                </a:lnTo>
                <a:lnTo>
                  <a:pt x="2701195" y="1546104"/>
                </a:lnTo>
                <a:lnTo>
                  <a:pt x="2699242" y="1544372"/>
                </a:lnTo>
                <a:lnTo>
                  <a:pt x="2691863" y="1547295"/>
                </a:lnTo>
                <a:lnTo>
                  <a:pt x="2687848" y="1551626"/>
                </a:lnTo>
                <a:lnTo>
                  <a:pt x="2678733" y="1551951"/>
                </a:lnTo>
                <a:lnTo>
                  <a:pt x="2666362" y="1554224"/>
                </a:lnTo>
                <a:lnTo>
                  <a:pt x="2665711" y="1557473"/>
                </a:lnTo>
                <a:lnTo>
                  <a:pt x="2674826" y="1555415"/>
                </a:lnTo>
                <a:lnTo>
                  <a:pt x="2683942" y="1552708"/>
                </a:lnTo>
                <a:lnTo>
                  <a:pt x="2687088" y="1553466"/>
                </a:lnTo>
                <a:lnTo>
                  <a:pt x="2687740" y="1555523"/>
                </a:lnTo>
                <a:lnTo>
                  <a:pt x="2678624" y="1556931"/>
                </a:lnTo>
                <a:lnTo>
                  <a:pt x="2669835" y="1558663"/>
                </a:lnTo>
                <a:lnTo>
                  <a:pt x="2661913" y="1562778"/>
                </a:lnTo>
                <a:lnTo>
                  <a:pt x="2658766" y="1565701"/>
                </a:lnTo>
                <a:lnTo>
                  <a:pt x="2653231" y="1565918"/>
                </a:lnTo>
                <a:lnTo>
                  <a:pt x="2652580" y="1570140"/>
                </a:lnTo>
                <a:lnTo>
                  <a:pt x="2650736" y="1572630"/>
                </a:lnTo>
                <a:lnTo>
                  <a:pt x="2642271" y="1566892"/>
                </a:lnTo>
                <a:lnTo>
                  <a:pt x="2637279" y="1558339"/>
                </a:lnTo>
                <a:lnTo>
                  <a:pt x="2637605" y="1562345"/>
                </a:lnTo>
                <a:lnTo>
                  <a:pt x="2636303" y="1564726"/>
                </a:lnTo>
                <a:lnTo>
                  <a:pt x="2639775" y="1566242"/>
                </a:lnTo>
                <a:lnTo>
                  <a:pt x="2640644" y="1568300"/>
                </a:lnTo>
                <a:lnTo>
                  <a:pt x="2650193" y="1576203"/>
                </a:lnTo>
                <a:lnTo>
                  <a:pt x="2648782" y="1579126"/>
                </a:lnTo>
                <a:lnTo>
                  <a:pt x="2646070" y="1578261"/>
                </a:lnTo>
                <a:lnTo>
                  <a:pt x="2642922" y="1580967"/>
                </a:lnTo>
                <a:lnTo>
                  <a:pt x="2644875" y="1584648"/>
                </a:lnTo>
                <a:lnTo>
                  <a:pt x="2647263" y="1585190"/>
                </a:lnTo>
                <a:lnTo>
                  <a:pt x="2649000" y="1583132"/>
                </a:lnTo>
                <a:lnTo>
                  <a:pt x="2652038" y="1583241"/>
                </a:lnTo>
                <a:lnTo>
                  <a:pt x="2656053" y="1575012"/>
                </a:lnTo>
                <a:lnTo>
                  <a:pt x="2663107" y="1575337"/>
                </a:lnTo>
                <a:lnTo>
                  <a:pt x="2668098" y="1571006"/>
                </a:lnTo>
                <a:lnTo>
                  <a:pt x="2671679" y="1570681"/>
                </a:lnTo>
                <a:lnTo>
                  <a:pt x="2673633" y="1566242"/>
                </a:lnTo>
                <a:lnTo>
                  <a:pt x="2678299" y="1561045"/>
                </a:lnTo>
                <a:lnTo>
                  <a:pt x="2683725" y="1560396"/>
                </a:lnTo>
                <a:lnTo>
                  <a:pt x="2691321" y="1557147"/>
                </a:lnTo>
                <a:lnTo>
                  <a:pt x="2697506" y="1557797"/>
                </a:lnTo>
                <a:lnTo>
                  <a:pt x="2702498" y="1557473"/>
                </a:lnTo>
                <a:lnTo>
                  <a:pt x="2700436" y="1556065"/>
                </a:lnTo>
                <a:lnTo>
                  <a:pt x="2694902" y="1556065"/>
                </a:lnTo>
                <a:lnTo>
                  <a:pt x="2693383" y="1554765"/>
                </a:lnTo>
                <a:lnTo>
                  <a:pt x="2696856" y="1553358"/>
                </a:lnTo>
                <a:lnTo>
                  <a:pt x="2706838" y="1552167"/>
                </a:lnTo>
                <a:lnTo>
                  <a:pt x="2714977" y="1554224"/>
                </a:lnTo>
                <a:lnTo>
                  <a:pt x="2718342" y="1561803"/>
                </a:lnTo>
                <a:lnTo>
                  <a:pt x="2717691" y="1566026"/>
                </a:lnTo>
                <a:lnTo>
                  <a:pt x="2712373" y="1570898"/>
                </a:lnTo>
                <a:lnTo>
                  <a:pt x="2709768" y="1571006"/>
                </a:lnTo>
                <a:lnTo>
                  <a:pt x="2706296" y="1574687"/>
                </a:lnTo>
                <a:lnTo>
                  <a:pt x="2712373" y="1575012"/>
                </a:lnTo>
                <a:lnTo>
                  <a:pt x="2714109" y="1578910"/>
                </a:lnTo>
                <a:lnTo>
                  <a:pt x="2716497" y="1576745"/>
                </a:lnTo>
                <a:lnTo>
                  <a:pt x="2718016" y="1572630"/>
                </a:lnTo>
                <a:lnTo>
                  <a:pt x="2724961" y="1568949"/>
                </a:lnTo>
                <a:lnTo>
                  <a:pt x="2730170" y="1569165"/>
                </a:lnTo>
                <a:lnTo>
                  <a:pt x="2730929" y="1571006"/>
                </a:lnTo>
                <a:lnTo>
                  <a:pt x="2729193" y="1571764"/>
                </a:lnTo>
                <a:lnTo>
                  <a:pt x="2728542" y="1574687"/>
                </a:lnTo>
                <a:lnTo>
                  <a:pt x="2735161" y="1575012"/>
                </a:lnTo>
                <a:lnTo>
                  <a:pt x="2741130" y="1577719"/>
                </a:lnTo>
                <a:lnTo>
                  <a:pt x="2742215" y="1580534"/>
                </a:lnTo>
                <a:lnTo>
                  <a:pt x="2737874" y="1578261"/>
                </a:lnTo>
                <a:lnTo>
                  <a:pt x="2735596" y="1578910"/>
                </a:lnTo>
                <a:lnTo>
                  <a:pt x="2736789" y="1583241"/>
                </a:lnTo>
                <a:lnTo>
                  <a:pt x="2743408" y="1586056"/>
                </a:lnTo>
                <a:lnTo>
                  <a:pt x="2744603" y="1589412"/>
                </a:lnTo>
                <a:lnTo>
                  <a:pt x="2740804" y="1592552"/>
                </a:lnTo>
                <a:lnTo>
                  <a:pt x="2737006" y="1591361"/>
                </a:lnTo>
                <a:lnTo>
                  <a:pt x="2733208" y="1594718"/>
                </a:lnTo>
                <a:lnTo>
                  <a:pt x="2740262" y="1596991"/>
                </a:lnTo>
                <a:lnTo>
                  <a:pt x="2738417" y="1601430"/>
                </a:lnTo>
                <a:lnTo>
                  <a:pt x="2735270" y="1602512"/>
                </a:lnTo>
                <a:lnTo>
                  <a:pt x="2733859" y="1606627"/>
                </a:lnTo>
                <a:lnTo>
                  <a:pt x="2729953" y="1608576"/>
                </a:lnTo>
                <a:lnTo>
                  <a:pt x="2724310" y="1604895"/>
                </a:lnTo>
                <a:lnTo>
                  <a:pt x="2726697" y="1608685"/>
                </a:lnTo>
                <a:lnTo>
                  <a:pt x="2733317" y="1611608"/>
                </a:lnTo>
                <a:lnTo>
                  <a:pt x="2737224" y="1611283"/>
                </a:lnTo>
                <a:lnTo>
                  <a:pt x="2740587" y="1615072"/>
                </a:lnTo>
                <a:lnTo>
                  <a:pt x="2737115" y="1616263"/>
                </a:lnTo>
                <a:lnTo>
                  <a:pt x="2732883" y="1615505"/>
                </a:lnTo>
                <a:lnTo>
                  <a:pt x="2730495" y="1615722"/>
                </a:lnTo>
                <a:lnTo>
                  <a:pt x="2733859" y="1618320"/>
                </a:lnTo>
                <a:lnTo>
                  <a:pt x="2737657" y="1617238"/>
                </a:lnTo>
                <a:lnTo>
                  <a:pt x="2740587" y="1618862"/>
                </a:lnTo>
                <a:lnTo>
                  <a:pt x="2738200" y="1623301"/>
                </a:lnTo>
                <a:lnTo>
                  <a:pt x="2737549" y="1627632"/>
                </a:lnTo>
                <a:lnTo>
                  <a:pt x="2734076" y="1627740"/>
                </a:lnTo>
                <a:lnTo>
                  <a:pt x="2732340" y="1631529"/>
                </a:lnTo>
                <a:lnTo>
                  <a:pt x="2725829" y="1636401"/>
                </a:lnTo>
                <a:lnTo>
                  <a:pt x="2720404" y="1636726"/>
                </a:lnTo>
                <a:lnTo>
                  <a:pt x="2715846" y="1640624"/>
                </a:lnTo>
                <a:lnTo>
                  <a:pt x="2713784" y="1640624"/>
                </a:lnTo>
                <a:lnTo>
                  <a:pt x="2710094" y="1644413"/>
                </a:lnTo>
                <a:lnTo>
                  <a:pt x="2707381" y="1644630"/>
                </a:lnTo>
                <a:lnTo>
                  <a:pt x="2706296" y="1647229"/>
                </a:lnTo>
                <a:lnTo>
                  <a:pt x="2702172" y="1647878"/>
                </a:lnTo>
                <a:lnTo>
                  <a:pt x="2699677" y="1645280"/>
                </a:lnTo>
                <a:lnTo>
                  <a:pt x="2696204" y="1647337"/>
                </a:lnTo>
                <a:lnTo>
                  <a:pt x="2692406" y="1646795"/>
                </a:lnTo>
                <a:lnTo>
                  <a:pt x="2691213" y="1645171"/>
                </a:lnTo>
                <a:lnTo>
                  <a:pt x="2686329" y="1648528"/>
                </a:lnTo>
                <a:lnTo>
                  <a:pt x="2681012" y="1647878"/>
                </a:lnTo>
                <a:lnTo>
                  <a:pt x="2678733" y="1644413"/>
                </a:lnTo>
                <a:lnTo>
                  <a:pt x="2677214" y="1645821"/>
                </a:lnTo>
                <a:lnTo>
                  <a:pt x="2677756" y="1648744"/>
                </a:lnTo>
                <a:lnTo>
                  <a:pt x="2673198" y="1649827"/>
                </a:lnTo>
                <a:lnTo>
                  <a:pt x="2668424" y="1649394"/>
                </a:lnTo>
                <a:lnTo>
                  <a:pt x="2666905" y="1651343"/>
                </a:lnTo>
                <a:lnTo>
                  <a:pt x="2668749" y="1651993"/>
                </a:lnTo>
                <a:lnTo>
                  <a:pt x="2668098" y="1654807"/>
                </a:lnTo>
                <a:lnTo>
                  <a:pt x="2664517" y="1658164"/>
                </a:lnTo>
                <a:lnTo>
                  <a:pt x="2661695" y="1657731"/>
                </a:lnTo>
                <a:lnTo>
                  <a:pt x="2661587" y="1661845"/>
                </a:lnTo>
                <a:lnTo>
                  <a:pt x="2658332" y="1668450"/>
                </a:lnTo>
                <a:lnTo>
                  <a:pt x="2654534" y="1667800"/>
                </a:lnTo>
                <a:lnTo>
                  <a:pt x="2653123" y="1669857"/>
                </a:lnTo>
                <a:lnTo>
                  <a:pt x="2649000" y="1672131"/>
                </a:lnTo>
                <a:lnTo>
                  <a:pt x="2645852" y="1676786"/>
                </a:lnTo>
                <a:lnTo>
                  <a:pt x="2644007" y="1676137"/>
                </a:lnTo>
                <a:lnTo>
                  <a:pt x="2641186" y="1677761"/>
                </a:lnTo>
                <a:lnTo>
                  <a:pt x="2636194" y="1677652"/>
                </a:lnTo>
                <a:lnTo>
                  <a:pt x="2635218" y="1680684"/>
                </a:lnTo>
                <a:lnTo>
                  <a:pt x="2630877" y="1682633"/>
                </a:lnTo>
                <a:lnTo>
                  <a:pt x="2627730" y="1680684"/>
                </a:lnTo>
                <a:lnTo>
                  <a:pt x="2620242" y="1680576"/>
                </a:lnTo>
                <a:lnTo>
                  <a:pt x="2618289" y="1678952"/>
                </a:lnTo>
                <a:lnTo>
                  <a:pt x="2612971" y="1680684"/>
                </a:lnTo>
                <a:lnTo>
                  <a:pt x="2610367" y="1680576"/>
                </a:lnTo>
                <a:lnTo>
                  <a:pt x="2599516" y="1684366"/>
                </a:lnTo>
                <a:lnTo>
                  <a:pt x="2595066" y="1683174"/>
                </a:lnTo>
                <a:lnTo>
                  <a:pt x="2596043" y="1680576"/>
                </a:lnTo>
                <a:lnTo>
                  <a:pt x="2592679" y="1679710"/>
                </a:lnTo>
                <a:lnTo>
                  <a:pt x="2588338" y="1681442"/>
                </a:lnTo>
                <a:lnTo>
                  <a:pt x="2584757" y="1681550"/>
                </a:lnTo>
                <a:lnTo>
                  <a:pt x="2577813" y="1678519"/>
                </a:lnTo>
                <a:lnTo>
                  <a:pt x="2575533" y="1679168"/>
                </a:lnTo>
                <a:lnTo>
                  <a:pt x="2570108" y="1678519"/>
                </a:lnTo>
                <a:lnTo>
                  <a:pt x="2566092" y="1675595"/>
                </a:lnTo>
                <a:lnTo>
                  <a:pt x="2563705" y="1675595"/>
                </a:lnTo>
                <a:lnTo>
                  <a:pt x="2560449" y="1678194"/>
                </a:lnTo>
                <a:lnTo>
                  <a:pt x="2553288" y="1677436"/>
                </a:lnTo>
                <a:lnTo>
                  <a:pt x="2547645" y="1673863"/>
                </a:lnTo>
                <a:lnTo>
                  <a:pt x="2543847" y="1676245"/>
                </a:lnTo>
                <a:lnTo>
                  <a:pt x="2539614" y="1676462"/>
                </a:lnTo>
                <a:lnTo>
                  <a:pt x="2535925" y="1673539"/>
                </a:lnTo>
                <a:lnTo>
                  <a:pt x="2530608" y="1676462"/>
                </a:lnTo>
                <a:lnTo>
                  <a:pt x="2527895" y="1675595"/>
                </a:lnTo>
                <a:lnTo>
                  <a:pt x="2524747" y="1675704"/>
                </a:lnTo>
                <a:lnTo>
                  <a:pt x="2517477" y="1672780"/>
                </a:lnTo>
                <a:lnTo>
                  <a:pt x="2507710" y="1674405"/>
                </a:lnTo>
                <a:lnTo>
                  <a:pt x="2501851" y="1672672"/>
                </a:lnTo>
                <a:lnTo>
                  <a:pt x="2497510" y="1668341"/>
                </a:lnTo>
                <a:lnTo>
                  <a:pt x="2493712" y="1670182"/>
                </a:lnTo>
                <a:lnTo>
                  <a:pt x="2491325" y="1672997"/>
                </a:lnTo>
                <a:lnTo>
                  <a:pt x="2493603" y="1675162"/>
                </a:lnTo>
                <a:lnTo>
                  <a:pt x="2491542" y="1677328"/>
                </a:lnTo>
                <a:lnTo>
                  <a:pt x="2487201" y="1678194"/>
                </a:lnTo>
                <a:lnTo>
                  <a:pt x="2478628" y="1685990"/>
                </a:lnTo>
                <a:lnTo>
                  <a:pt x="2473093" y="1688588"/>
                </a:lnTo>
                <a:lnTo>
                  <a:pt x="2472768" y="1692269"/>
                </a:lnTo>
                <a:lnTo>
                  <a:pt x="2470706" y="1694759"/>
                </a:lnTo>
                <a:lnTo>
                  <a:pt x="2469947" y="1700606"/>
                </a:lnTo>
                <a:lnTo>
                  <a:pt x="2467017" y="1704612"/>
                </a:lnTo>
                <a:lnTo>
                  <a:pt x="2459854" y="1704612"/>
                </a:lnTo>
                <a:lnTo>
                  <a:pt x="2455948" y="1706453"/>
                </a:lnTo>
                <a:lnTo>
                  <a:pt x="2447700" y="1706994"/>
                </a:lnTo>
                <a:lnTo>
                  <a:pt x="2443903" y="1712408"/>
                </a:lnTo>
                <a:lnTo>
                  <a:pt x="2441190" y="1713057"/>
                </a:lnTo>
                <a:lnTo>
                  <a:pt x="2439236" y="1711108"/>
                </a:lnTo>
                <a:lnTo>
                  <a:pt x="2435330" y="1713490"/>
                </a:lnTo>
                <a:lnTo>
                  <a:pt x="2433485" y="1718363"/>
                </a:lnTo>
                <a:lnTo>
                  <a:pt x="2428819" y="1719445"/>
                </a:lnTo>
                <a:lnTo>
                  <a:pt x="2423827" y="1723126"/>
                </a:lnTo>
                <a:lnTo>
                  <a:pt x="2422634" y="1725616"/>
                </a:lnTo>
                <a:lnTo>
                  <a:pt x="2420029" y="1726483"/>
                </a:lnTo>
                <a:lnTo>
                  <a:pt x="2414278" y="1735036"/>
                </a:lnTo>
                <a:lnTo>
                  <a:pt x="2404837" y="1739800"/>
                </a:lnTo>
                <a:lnTo>
                  <a:pt x="2402449" y="1748137"/>
                </a:lnTo>
                <a:lnTo>
                  <a:pt x="2396047" y="1751385"/>
                </a:lnTo>
                <a:lnTo>
                  <a:pt x="2390730" y="1756907"/>
                </a:lnTo>
                <a:lnTo>
                  <a:pt x="2385846" y="1758098"/>
                </a:lnTo>
                <a:lnTo>
                  <a:pt x="2384219" y="1764053"/>
                </a:lnTo>
                <a:lnTo>
                  <a:pt x="2380854" y="1769033"/>
                </a:lnTo>
                <a:lnTo>
                  <a:pt x="2369894" y="1775638"/>
                </a:lnTo>
                <a:lnTo>
                  <a:pt x="2369135" y="1779318"/>
                </a:lnTo>
                <a:lnTo>
                  <a:pt x="2356547" y="1784732"/>
                </a:lnTo>
                <a:lnTo>
                  <a:pt x="2349385" y="1786465"/>
                </a:lnTo>
                <a:lnTo>
                  <a:pt x="2355136" y="1786681"/>
                </a:lnTo>
                <a:lnTo>
                  <a:pt x="2367399" y="1781267"/>
                </a:lnTo>
                <a:lnTo>
                  <a:pt x="2378141" y="1776071"/>
                </a:lnTo>
                <a:lnTo>
                  <a:pt x="2386280" y="1771090"/>
                </a:lnTo>
                <a:lnTo>
                  <a:pt x="2392575" y="1763078"/>
                </a:lnTo>
                <a:lnTo>
                  <a:pt x="2397891" y="1757340"/>
                </a:lnTo>
                <a:lnTo>
                  <a:pt x="2401907" y="1755499"/>
                </a:lnTo>
                <a:lnTo>
                  <a:pt x="2413843" y="1744455"/>
                </a:lnTo>
                <a:lnTo>
                  <a:pt x="2430013" y="1733304"/>
                </a:lnTo>
                <a:lnTo>
                  <a:pt x="2440648" y="1726483"/>
                </a:lnTo>
                <a:lnTo>
                  <a:pt x="2447592" y="1725616"/>
                </a:lnTo>
                <a:lnTo>
                  <a:pt x="2453778" y="1721935"/>
                </a:lnTo>
                <a:lnTo>
                  <a:pt x="2466040" y="1719878"/>
                </a:lnTo>
                <a:lnTo>
                  <a:pt x="2481016" y="1714790"/>
                </a:lnTo>
                <a:lnTo>
                  <a:pt x="2486007" y="1714465"/>
                </a:lnTo>
                <a:lnTo>
                  <a:pt x="2490673" y="1711866"/>
                </a:lnTo>
                <a:lnTo>
                  <a:pt x="2506842" y="1712191"/>
                </a:lnTo>
                <a:lnTo>
                  <a:pt x="2515415" y="1715439"/>
                </a:lnTo>
                <a:lnTo>
                  <a:pt x="2524965" y="1721177"/>
                </a:lnTo>
                <a:lnTo>
                  <a:pt x="2524965" y="1723343"/>
                </a:lnTo>
                <a:lnTo>
                  <a:pt x="2517694" y="1721935"/>
                </a:lnTo>
                <a:lnTo>
                  <a:pt x="2518237" y="1723018"/>
                </a:lnTo>
                <a:lnTo>
                  <a:pt x="2517477" y="1724534"/>
                </a:lnTo>
                <a:lnTo>
                  <a:pt x="2521275" y="1724209"/>
                </a:lnTo>
                <a:lnTo>
                  <a:pt x="2526484" y="1726266"/>
                </a:lnTo>
                <a:lnTo>
                  <a:pt x="2528329" y="1729190"/>
                </a:lnTo>
                <a:lnTo>
                  <a:pt x="2525399" y="1730381"/>
                </a:lnTo>
                <a:lnTo>
                  <a:pt x="2527678" y="1732113"/>
                </a:lnTo>
                <a:lnTo>
                  <a:pt x="2524097" y="1740341"/>
                </a:lnTo>
                <a:lnTo>
                  <a:pt x="2518888" y="1741532"/>
                </a:lnTo>
                <a:lnTo>
                  <a:pt x="2514113" y="1745538"/>
                </a:lnTo>
                <a:lnTo>
                  <a:pt x="2510315" y="1745863"/>
                </a:lnTo>
                <a:lnTo>
                  <a:pt x="2503912" y="1750735"/>
                </a:lnTo>
                <a:lnTo>
                  <a:pt x="2498704" y="1750518"/>
                </a:lnTo>
                <a:lnTo>
                  <a:pt x="2494797" y="1747271"/>
                </a:lnTo>
                <a:lnTo>
                  <a:pt x="2489588" y="1745322"/>
                </a:lnTo>
                <a:lnTo>
                  <a:pt x="2486116" y="1747595"/>
                </a:lnTo>
                <a:lnTo>
                  <a:pt x="2481016" y="1748570"/>
                </a:lnTo>
                <a:lnTo>
                  <a:pt x="2475806" y="1747595"/>
                </a:lnTo>
                <a:lnTo>
                  <a:pt x="2469404" y="1750518"/>
                </a:lnTo>
                <a:lnTo>
                  <a:pt x="2476132" y="1749653"/>
                </a:lnTo>
                <a:lnTo>
                  <a:pt x="2482643" y="1750302"/>
                </a:lnTo>
                <a:lnTo>
                  <a:pt x="2491976" y="1752900"/>
                </a:lnTo>
                <a:lnTo>
                  <a:pt x="2493386" y="1757340"/>
                </a:lnTo>
                <a:lnTo>
                  <a:pt x="2495123" y="1760479"/>
                </a:lnTo>
                <a:lnTo>
                  <a:pt x="2500440" y="1758098"/>
                </a:lnTo>
                <a:lnTo>
                  <a:pt x="2505106" y="1754849"/>
                </a:lnTo>
                <a:lnTo>
                  <a:pt x="2509772" y="1754849"/>
                </a:lnTo>
                <a:lnTo>
                  <a:pt x="2511183" y="1756907"/>
                </a:lnTo>
                <a:lnTo>
                  <a:pt x="2514547" y="1756582"/>
                </a:lnTo>
                <a:lnTo>
                  <a:pt x="2515633" y="1759614"/>
                </a:lnTo>
                <a:lnTo>
                  <a:pt x="2511183" y="1763403"/>
                </a:lnTo>
                <a:lnTo>
                  <a:pt x="2505106" y="1775421"/>
                </a:lnTo>
                <a:lnTo>
                  <a:pt x="2502176" y="1775962"/>
                </a:lnTo>
                <a:lnTo>
                  <a:pt x="2499029" y="1778994"/>
                </a:lnTo>
                <a:lnTo>
                  <a:pt x="2508036" y="1779210"/>
                </a:lnTo>
                <a:lnTo>
                  <a:pt x="2508036" y="1781484"/>
                </a:lnTo>
                <a:lnTo>
                  <a:pt x="2505323" y="1785382"/>
                </a:lnTo>
                <a:lnTo>
                  <a:pt x="2508579" y="1789063"/>
                </a:lnTo>
                <a:lnTo>
                  <a:pt x="2507819" y="1793285"/>
                </a:lnTo>
                <a:lnTo>
                  <a:pt x="2508362" y="1799890"/>
                </a:lnTo>
                <a:lnTo>
                  <a:pt x="2510640" y="1801514"/>
                </a:lnTo>
                <a:lnTo>
                  <a:pt x="2513245" y="1807577"/>
                </a:lnTo>
                <a:lnTo>
                  <a:pt x="2518019" y="1807577"/>
                </a:lnTo>
                <a:lnTo>
                  <a:pt x="2520081" y="1809526"/>
                </a:lnTo>
                <a:lnTo>
                  <a:pt x="2527027" y="1809851"/>
                </a:lnTo>
                <a:lnTo>
                  <a:pt x="2525724" y="1813207"/>
                </a:lnTo>
                <a:lnTo>
                  <a:pt x="2520407" y="1814940"/>
                </a:lnTo>
                <a:lnTo>
                  <a:pt x="2527027" y="1819487"/>
                </a:lnTo>
                <a:lnTo>
                  <a:pt x="2534406" y="1819487"/>
                </a:lnTo>
                <a:lnTo>
                  <a:pt x="2538855" y="1821544"/>
                </a:lnTo>
                <a:lnTo>
                  <a:pt x="2540917" y="1820137"/>
                </a:lnTo>
                <a:lnTo>
                  <a:pt x="2547428" y="1822519"/>
                </a:lnTo>
                <a:lnTo>
                  <a:pt x="2548730" y="1825117"/>
                </a:lnTo>
                <a:lnTo>
                  <a:pt x="2556760" y="1826525"/>
                </a:lnTo>
                <a:lnTo>
                  <a:pt x="2558279" y="1824251"/>
                </a:lnTo>
                <a:lnTo>
                  <a:pt x="2565224" y="1819487"/>
                </a:lnTo>
                <a:lnTo>
                  <a:pt x="2565875" y="1823385"/>
                </a:lnTo>
                <a:lnTo>
                  <a:pt x="2564682" y="1825334"/>
                </a:lnTo>
                <a:lnTo>
                  <a:pt x="2570542" y="1826092"/>
                </a:lnTo>
                <a:lnTo>
                  <a:pt x="2578681" y="1830314"/>
                </a:lnTo>
                <a:lnTo>
                  <a:pt x="2578897" y="1832696"/>
                </a:lnTo>
                <a:lnTo>
                  <a:pt x="2575533" y="1833562"/>
                </a:lnTo>
                <a:lnTo>
                  <a:pt x="2573471" y="1833995"/>
                </a:lnTo>
                <a:lnTo>
                  <a:pt x="2577921" y="1836594"/>
                </a:lnTo>
                <a:lnTo>
                  <a:pt x="2582696" y="1836269"/>
                </a:lnTo>
                <a:lnTo>
                  <a:pt x="2584866" y="1838868"/>
                </a:lnTo>
                <a:lnTo>
                  <a:pt x="2581068" y="1840600"/>
                </a:lnTo>
                <a:lnTo>
                  <a:pt x="2578138" y="1839409"/>
                </a:lnTo>
                <a:lnTo>
                  <a:pt x="2573689" y="1839842"/>
                </a:lnTo>
                <a:lnTo>
                  <a:pt x="2566744" y="1841791"/>
                </a:lnTo>
                <a:lnTo>
                  <a:pt x="2555892" y="1847854"/>
                </a:lnTo>
                <a:lnTo>
                  <a:pt x="2551660" y="1847962"/>
                </a:lnTo>
                <a:lnTo>
                  <a:pt x="2543412" y="1850236"/>
                </a:lnTo>
                <a:lnTo>
                  <a:pt x="2535925" y="1851860"/>
                </a:lnTo>
                <a:lnTo>
                  <a:pt x="2528546" y="1856082"/>
                </a:lnTo>
                <a:lnTo>
                  <a:pt x="2524747" y="1856082"/>
                </a:lnTo>
                <a:lnTo>
                  <a:pt x="2525290" y="1858248"/>
                </a:lnTo>
                <a:lnTo>
                  <a:pt x="2518888" y="1857598"/>
                </a:lnTo>
                <a:lnTo>
                  <a:pt x="2516826" y="1852618"/>
                </a:lnTo>
                <a:lnTo>
                  <a:pt x="2514547" y="1852293"/>
                </a:lnTo>
                <a:lnTo>
                  <a:pt x="2512811" y="1855000"/>
                </a:lnTo>
                <a:lnTo>
                  <a:pt x="2510098" y="1854675"/>
                </a:lnTo>
                <a:lnTo>
                  <a:pt x="2506517" y="1860197"/>
                </a:lnTo>
                <a:lnTo>
                  <a:pt x="2508253" y="1862578"/>
                </a:lnTo>
                <a:lnTo>
                  <a:pt x="2500983" y="1868425"/>
                </a:lnTo>
                <a:lnTo>
                  <a:pt x="2494580" y="1876871"/>
                </a:lnTo>
                <a:lnTo>
                  <a:pt x="2489913" y="1877737"/>
                </a:lnTo>
                <a:lnTo>
                  <a:pt x="2484597" y="1881851"/>
                </a:lnTo>
                <a:lnTo>
                  <a:pt x="2481884" y="1881526"/>
                </a:lnTo>
                <a:lnTo>
                  <a:pt x="2479931" y="1882717"/>
                </a:lnTo>
                <a:lnTo>
                  <a:pt x="2479496" y="1887048"/>
                </a:lnTo>
                <a:lnTo>
                  <a:pt x="2477326" y="1888888"/>
                </a:lnTo>
                <a:lnTo>
                  <a:pt x="2474938" y="1886615"/>
                </a:lnTo>
                <a:lnTo>
                  <a:pt x="2472334" y="1888564"/>
                </a:lnTo>
                <a:lnTo>
                  <a:pt x="2468536" y="1885857"/>
                </a:lnTo>
                <a:lnTo>
                  <a:pt x="2468102" y="1880335"/>
                </a:lnTo>
                <a:lnTo>
                  <a:pt x="2465606" y="1878711"/>
                </a:lnTo>
                <a:lnTo>
                  <a:pt x="2463219" y="1880335"/>
                </a:lnTo>
                <a:lnTo>
                  <a:pt x="2462567" y="1875463"/>
                </a:lnTo>
                <a:lnTo>
                  <a:pt x="2461048" y="1871024"/>
                </a:lnTo>
                <a:lnTo>
                  <a:pt x="2461374" y="1865502"/>
                </a:lnTo>
                <a:lnTo>
                  <a:pt x="2464738" y="1858140"/>
                </a:lnTo>
                <a:lnTo>
                  <a:pt x="2470706" y="1853484"/>
                </a:lnTo>
                <a:lnTo>
                  <a:pt x="2471466" y="1849695"/>
                </a:lnTo>
                <a:lnTo>
                  <a:pt x="2480473" y="1844714"/>
                </a:lnTo>
                <a:lnTo>
                  <a:pt x="2490673" y="1842115"/>
                </a:lnTo>
                <a:lnTo>
                  <a:pt x="2498595" y="1836594"/>
                </a:lnTo>
                <a:lnTo>
                  <a:pt x="2506083" y="1834753"/>
                </a:lnTo>
                <a:lnTo>
                  <a:pt x="2509230" y="1835944"/>
                </a:lnTo>
                <a:lnTo>
                  <a:pt x="2510098" y="1840275"/>
                </a:lnTo>
                <a:lnTo>
                  <a:pt x="2513028" y="1842440"/>
                </a:lnTo>
                <a:lnTo>
                  <a:pt x="2512485" y="1840275"/>
                </a:lnTo>
                <a:lnTo>
                  <a:pt x="2513245" y="1837460"/>
                </a:lnTo>
                <a:lnTo>
                  <a:pt x="2517803" y="1836594"/>
                </a:lnTo>
                <a:lnTo>
                  <a:pt x="2524205" y="1835836"/>
                </a:lnTo>
                <a:lnTo>
                  <a:pt x="2529522" y="1833237"/>
                </a:lnTo>
                <a:lnTo>
                  <a:pt x="2522361" y="1833670"/>
                </a:lnTo>
                <a:lnTo>
                  <a:pt x="2512377" y="1832805"/>
                </a:lnTo>
                <a:lnTo>
                  <a:pt x="2508904" y="1830639"/>
                </a:lnTo>
                <a:lnTo>
                  <a:pt x="2504455" y="1830639"/>
                </a:lnTo>
                <a:lnTo>
                  <a:pt x="2501308" y="1834537"/>
                </a:lnTo>
                <a:lnTo>
                  <a:pt x="2495774" y="1833021"/>
                </a:lnTo>
                <a:lnTo>
                  <a:pt x="2500657" y="1827066"/>
                </a:lnTo>
                <a:lnTo>
                  <a:pt x="2505323" y="1825983"/>
                </a:lnTo>
                <a:lnTo>
                  <a:pt x="2510315" y="1820786"/>
                </a:lnTo>
                <a:lnTo>
                  <a:pt x="2510423" y="1818296"/>
                </a:lnTo>
                <a:lnTo>
                  <a:pt x="2507385" y="1819920"/>
                </a:lnTo>
                <a:lnTo>
                  <a:pt x="2506842" y="1817213"/>
                </a:lnTo>
                <a:lnTo>
                  <a:pt x="2501634" y="1824468"/>
                </a:lnTo>
                <a:lnTo>
                  <a:pt x="2497727" y="1825442"/>
                </a:lnTo>
                <a:lnTo>
                  <a:pt x="2492735" y="1830639"/>
                </a:lnTo>
                <a:lnTo>
                  <a:pt x="2486658" y="1831180"/>
                </a:lnTo>
                <a:lnTo>
                  <a:pt x="2484922" y="1833995"/>
                </a:lnTo>
                <a:lnTo>
                  <a:pt x="2474288" y="1836811"/>
                </a:lnTo>
                <a:lnTo>
                  <a:pt x="2472334" y="1835619"/>
                </a:lnTo>
                <a:lnTo>
                  <a:pt x="2473419" y="1833237"/>
                </a:lnTo>
                <a:lnTo>
                  <a:pt x="2471792" y="1833021"/>
                </a:lnTo>
                <a:lnTo>
                  <a:pt x="2474830" y="1828149"/>
                </a:lnTo>
                <a:lnTo>
                  <a:pt x="2470706" y="1832696"/>
                </a:lnTo>
                <a:lnTo>
                  <a:pt x="2468210" y="1837135"/>
                </a:lnTo>
                <a:lnTo>
                  <a:pt x="2462567" y="1838543"/>
                </a:lnTo>
                <a:lnTo>
                  <a:pt x="2458878" y="1836811"/>
                </a:lnTo>
                <a:lnTo>
                  <a:pt x="2456491" y="1839842"/>
                </a:lnTo>
                <a:lnTo>
                  <a:pt x="2453778" y="1839192"/>
                </a:lnTo>
                <a:lnTo>
                  <a:pt x="2452693" y="1835836"/>
                </a:lnTo>
                <a:lnTo>
                  <a:pt x="2447375" y="1836485"/>
                </a:lnTo>
                <a:lnTo>
                  <a:pt x="2440559" y="1834998"/>
                </a:lnTo>
                <a:lnTo>
                  <a:pt x="2449329" y="1840058"/>
                </a:lnTo>
                <a:lnTo>
                  <a:pt x="2447701" y="1845364"/>
                </a:lnTo>
                <a:lnTo>
                  <a:pt x="2451066" y="1849044"/>
                </a:lnTo>
                <a:lnTo>
                  <a:pt x="2453019" y="1845688"/>
                </a:lnTo>
                <a:lnTo>
                  <a:pt x="2457577" y="1848395"/>
                </a:lnTo>
                <a:lnTo>
                  <a:pt x="2454429" y="1852401"/>
                </a:lnTo>
                <a:lnTo>
                  <a:pt x="2450197" y="1852942"/>
                </a:lnTo>
                <a:lnTo>
                  <a:pt x="2448570" y="1850127"/>
                </a:lnTo>
                <a:lnTo>
                  <a:pt x="2442710" y="1853484"/>
                </a:lnTo>
                <a:lnTo>
                  <a:pt x="2439129" y="1853159"/>
                </a:lnTo>
                <a:lnTo>
                  <a:pt x="2434788" y="1856082"/>
                </a:lnTo>
                <a:lnTo>
                  <a:pt x="2432184" y="1857382"/>
                </a:lnTo>
                <a:lnTo>
                  <a:pt x="2428603" y="1855866"/>
                </a:lnTo>
                <a:lnTo>
                  <a:pt x="2424696" y="1861171"/>
                </a:lnTo>
                <a:lnTo>
                  <a:pt x="2421332" y="1861171"/>
                </a:lnTo>
                <a:lnTo>
                  <a:pt x="2420030" y="1855866"/>
                </a:lnTo>
                <a:lnTo>
                  <a:pt x="2414604" y="1855866"/>
                </a:lnTo>
                <a:lnTo>
                  <a:pt x="2410480" y="1860413"/>
                </a:lnTo>
                <a:lnTo>
                  <a:pt x="2406031" y="1861062"/>
                </a:lnTo>
                <a:lnTo>
                  <a:pt x="2404837" y="1857273"/>
                </a:lnTo>
                <a:lnTo>
                  <a:pt x="2406248" y="1852617"/>
                </a:lnTo>
                <a:lnTo>
                  <a:pt x="2399954" y="1860413"/>
                </a:lnTo>
                <a:lnTo>
                  <a:pt x="2395505" y="1867776"/>
                </a:lnTo>
                <a:lnTo>
                  <a:pt x="2392792" y="1869616"/>
                </a:lnTo>
                <a:lnTo>
                  <a:pt x="2391381" y="1867450"/>
                </a:lnTo>
                <a:lnTo>
                  <a:pt x="2388668" y="1872756"/>
                </a:lnTo>
                <a:lnTo>
                  <a:pt x="2385847" y="1872756"/>
                </a:lnTo>
                <a:lnTo>
                  <a:pt x="2385196" y="1867776"/>
                </a:lnTo>
                <a:lnTo>
                  <a:pt x="2382592" y="1872539"/>
                </a:lnTo>
                <a:lnTo>
                  <a:pt x="2380312" y="1875462"/>
                </a:lnTo>
                <a:lnTo>
                  <a:pt x="2377057" y="1874488"/>
                </a:lnTo>
                <a:lnTo>
                  <a:pt x="2376731" y="1871348"/>
                </a:lnTo>
                <a:lnTo>
                  <a:pt x="2374019" y="1875679"/>
                </a:lnTo>
                <a:lnTo>
                  <a:pt x="2371414" y="1875679"/>
                </a:lnTo>
                <a:lnTo>
                  <a:pt x="2368485" y="1881959"/>
                </a:lnTo>
                <a:lnTo>
                  <a:pt x="2359694" y="1888888"/>
                </a:lnTo>
                <a:lnTo>
                  <a:pt x="2356548" y="1897333"/>
                </a:lnTo>
                <a:lnTo>
                  <a:pt x="2353618" y="1900906"/>
                </a:lnTo>
                <a:lnTo>
                  <a:pt x="2352641" y="1904371"/>
                </a:lnTo>
                <a:lnTo>
                  <a:pt x="2350253" y="1906212"/>
                </a:lnTo>
                <a:lnTo>
                  <a:pt x="2349711" y="1909135"/>
                </a:lnTo>
                <a:lnTo>
                  <a:pt x="2352749" y="1909135"/>
                </a:lnTo>
                <a:lnTo>
                  <a:pt x="2353183" y="1912816"/>
                </a:lnTo>
                <a:lnTo>
                  <a:pt x="2344719" y="1920394"/>
                </a:lnTo>
                <a:lnTo>
                  <a:pt x="2344719" y="1922561"/>
                </a:lnTo>
                <a:lnTo>
                  <a:pt x="2350688" y="1926025"/>
                </a:lnTo>
                <a:lnTo>
                  <a:pt x="2353292" y="1933712"/>
                </a:lnTo>
                <a:lnTo>
                  <a:pt x="2354051" y="1937718"/>
                </a:lnTo>
                <a:lnTo>
                  <a:pt x="2360888" y="1937502"/>
                </a:lnTo>
                <a:lnTo>
                  <a:pt x="2362842" y="1932196"/>
                </a:lnTo>
                <a:lnTo>
                  <a:pt x="2362299" y="1928082"/>
                </a:lnTo>
                <a:lnTo>
                  <a:pt x="2364469" y="1927432"/>
                </a:lnTo>
                <a:lnTo>
                  <a:pt x="2366748" y="1935445"/>
                </a:lnTo>
                <a:lnTo>
                  <a:pt x="2363818" y="1940425"/>
                </a:lnTo>
                <a:lnTo>
                  <a:pt x="2352641" y="1945947"/>
                </a:lnTo>
                <a:lnTo>
                  <a:pt x="2349711" y="1944864"/>
                </a:lnTo>
                <a:lnTo>
                  <a:pt x="2349819" y="1941616"/>
                </a:lnTo>
                <a:lnTo>
                  <a:pt x="2347649" y="1937177"/>
                </a:lnTo>
                <a:lnTo>
                  <a:pt x="2343200" y="1945405"/>
                </a:lnTo>
                <a:lnTo>
                  <a:pt x="2338859" y="1949953"/>
                </a:lnTo>
                <a:lnTo>
                  <a:pt x="2335713" y="1949412"/>
                </a:lnTo>
                <a:lnTo>
                  <a:pt x="2336254" y="1946163"/>
                </a:lnTo>
                <a:lnTo>
                  <a:pt x="2336254" y="1941508"/>
                </a:lnTo>
                <a:lnTo>
                  <a:pt x="2331480" y="1936310"/>
                </a:lnTo>
                <a:lnTo>
                  <a:pt x="2331480" y="1941832"/>
                </a:lnTo>
                <a:lnTo>
                  <a:pt x="2330720" y="1948220"/>
                </a:lnTo>
                <a:lnTo>
                  <a:pt x="2332674" y="1950386"/>
                </a:lnTo>
                <a:lnTo>
                  <a:pt x="2329852" y="1951469"/>
                </a:lnTo>
                <a:lnTo>
                  <a:pt x="2320086" y="1952118"/>
                </a:lnTo>
                <a:lnTo>
                  <a:pt x="2314009" y="1953526"/>
                </a:lnTo>
                <a:lnTo>
                  <a:pt x="2309560" y="1952335"/>
                </a:lnTo>
                <a:lnTo>
                  <a:pt x="2300119" y="1952985"/>
                </a:lnTo>
                <a:lnTo>
                  <a:pt x="2298166" y="1951469"/>
                </a:lnTo>
                <a:lnTo>
                  <a:pt x="2295453" y="1951577"/>
                </a:lnTo>
                <a:lnTo>
                  <a:pt x="2287857" y="1956991"/>
                </a:lnTo>
                <a:lnTo>
                  <a:pt x="2282647" y="1957099"/>
                </a:lnTo>
                <a:lnTo>
                  <a:pt x="2275268" y="1961105"/>
                </a:lnTo>
                <a:lnTo>
                  <a:pt x="2271036" y="1962404"/>
                </a:lnTo>
                <a:lnTo>
                  <a:pt x="2267130" y="1965760"/>
                </a:lnTo>
                <a:lnTo>
                  <a:pt x="2267021" y="1968901"/>
                </a:lnTo>
                <a:lnTo>
                  <a:pt x="2260619" y="1972473"/>
                </a:lnTo>
                <a:lnTo>
                  <a:pt x="2262572" y="1975721"/>
                </a:lnTo>
                <a:lnTo>
                  <a:pt x="2265502" y="1978211"/>
                </a:lnTo>
                <a:lnTo>
                  <a:pt x="2266262" y="1981134"/>
                </a:lnTo>
                <a:lnTo>
                  <a:pt x="2263549" y="1984491"/>
                </a:lnTo>
                <a:lnTo>
                  <a:pt x="2263766" y="1986115"/>
                </a:lnTo>
                <a:lnTo>
                  <a:pt x="2261704" y="1990662"/>
                </a:lnTo>
                <a:lnTo>
                  <a:pt x="2262355" y="1992828"/>
                </a:lnTo>
                <a:lnTo>
                  <a:pt x="2260510" y="1995860"/>
                </a:lnTo>
                <a:lnTo>
                  <a:pt x="2258666" y="2000840"/>
                </a:lnTo>
                <a:lnTo>
                  <a:pt x="2256603" y="2000840"/>
                </a:lnTo>
                <a:lnTo>
                  <a:pt x="2254216" y="2003546"/>
                </a:lnTo>
                <a:lnTo>
                  <a:pt x="2252155" y="2010693"/>
                </a:lnTo>
                <a:lnTo>
                  <a:pt x="2248790" y="2011667"/>
                </a:lnTo>
                <a:lnTo>
                  <a:pt x="2246945" y="2014482"/>
                </a:lnTo>
                <a:lnTo>
                  <a:pt x="2244992" y="2014374"/>
                </a:lnTo>
                <a:lnTo>
                  <a:pt x="2244450" y="2017405"/>
                </a:lnTo>
                <a:lnTo>
                  <a:pt x="2240652" y="2022170"/>
                </a:lnTo>
                <a:lnTo>
                  <a:pt x="2240218" y="2020870"/>
                </a:lnTo>
                <a:lnTo>
                  <a:pt x="2236745" y="2023468"/>
                </a:lnTo>
                <a:lnTo>
                  <a:pt x="2239349" y="2017080"/>
                </a:lnTo>
                <a:lnTo>
                  <a:pt x="2237288" y="2014915"/>
                </a:lnTo>
                <a:lnTo>
                  <a:pt x="2233815" y="2015781"/>
                </a:lnTo>
                <a:lnTo>
                  <a:pt x="2228280" y="2010260"/>
                </a:lnTo>
                <a:lnTo>
                  <a:pt x="2226327" y="2006795"/>
                </a:lnTo>
                <a:lnTo>
                  <a:pt x="2227738" y="2003222"/>
                </a:lnTo>
                <a:lnTo>
                  <a:pt x="2235443" y="1994885"/>
                </a:lnTo>
                <a:lnTo>
                  <a:pt x="2230343" y="1997484"/>
                </a:lnTo>
                <a:lnTo>
                  <a:pt x="2226002" y="2001381"/>
                </a:lnTo>
                <a:lnTo>
                  <a:pt x="2223723" y="2005929"/>
                </a:lnTo>
                <a:lnTo>
                  <a:pt x="2224374" y="2010801"/>
                </a:lnTo>
                <a:lnTo>
                  <a:pt x="2226544" y="2013074"/>
                </a:lnTo>
                <a:lnTo>
                  <a:pt x="2227195" y="2019571"/>
                </a:lnTo>
                <a:lnTo>
                  <a:pt x="2229475" y="2022061"/>
                </a:lnTo>
                <a:lnTo>
                  <a:pt x="2232513" y="2030073"/>
                </a:lnTo>
                <a:lnTo>
                  <a:pt x="2232405" y="2036028"/>
                </a:lnTo>
                <a:lnTo>
                  <a:pt x="2228389" y="2045014"/>
                </a:lnTo>
                <a:lnTo>
                  <a:pt x="2223072" y="2048046"/>
                </a:lnTo>
                <a:lnTo>
                  <a:pt x="2219274" y="2057682"/>
                </a:lnTo>
                <a:lnTo>
                  <a:pt x="2216561" y="2062337"/>
                </a:lnTo>
                <a:lnTo>
                  <a:pt x="2216561" y="2065261"/>
                </a:lnTo>
                <a:lnTo>
                  <a:pt x="2215150" y="2067210"/>
                </a:lnTo>
                <a:lnTo>
                  <a:pt x="2214825" y="2065261"/>
                </a:lnTo>
                <a:lnTo>
                  <a:pt x="2214282" y="2063529"/>
                </a:lnTo>
                <a:lnTo>
                  <a:pt x="2209399" y="2072082"/>
                </a:lnTo>
                <a:lnTo>
                  <a:pt x="2208965" y="2074356"/>
                </a:lnTo>
                <a:lnTo>
                  <a:pt x="2207771" y="2076196"/>
                </a:lnTo>
                <a:lnTo>
                  <a:pt x="2207228" y="2071649"/>
                </a:lnTo>
                <a:lnTo>
                  <a:pt x="2208422" y="2066343"/>
                </a:lnTo>
                <a:lnTo>
                  <a:pt x="2211135" y="2061796"/>
                </a:lnTo>
                <a:lnTo>
                  <a:pt x="2210484" y="2058765"/>
                </a:lnTo>
                <a:lnTo>
                  <a:pt x="2213414" y="2054975"/>
                </a:lnTo>
                <a:lnTo>
                  <a:pt x="2212655" y="2053892"/>
                </a:lnTo>
                <a:lnTo>
                  <a:pt x="2216778" y="2051619"/>
                </a:lnTo>
                <a:lnTo>
                  <a:pt x="2211027" y="2051727"/>
                </a:lnTo>
                <a:lnTo>
                  <a:pt x="2209399" y="2048371"/>
                </a:lnTo>
                <a:lnTo>
                  <a:pt x="2210918" y="2046097"/>
                </a:lnTo>
                <a:lnTo>
                  <a:pt x="2210701" y="2045123"/>
                </a:lnTo>
                <a:lnTo>
                  <a:pt x="2208530" y="2045231"/>
                </a:lnTo>
                <a:lnTo>
                  <a:pt x="2207988" y="2043282"/>
                </a:lnTo>
                <a:lnTo>
                  <a:pt x="2206360" y="2045123"/>
                </a:lnTo>
                <a:lnTo>
                  <a:pt x="2202562" y="2040251"/>
                </a:lnTo>
                <a:lnTo>
                  <a:pt x="2202454" y="2035811"/>
                </a:lnTo>
                <a:lnTo>
                  <a:pt x="2205817" y="2030831"/>
                </a:lnTo>
                <a:lnTo>
                  <a:pt x="2206903" y="2024010"/>
                </a:lnTo>
                <a:lnTo>
                  <a:pt x="2203105" y="2017730"/>
                </a:lnTo>
                <a:lnTo>
                  <a:pt x="2205817" y="2012642"/>
                </a:lnTo>
                <a:lnTo>
                  <a:pt x="2209833" y="2010260"/>
                </a:lnTo>
                <a:lnTo>
                  <a:pt x="2208530" y="2008744"/>
                </a:lnTo>
                <a:lnTo>
                  <a:pt x="2209724" y="2004197"/>
                </a:lnTo>
                <a:lnTo>
                  <a:pt x="2208422" y="2002356"/>
                </a:lnTo>
                <a:lnTo>
                  <a:pt x="2208530" y="2003764"/>
                </a:lnTo>
                <a:lnTo>
                  <a:pt x="2207337" y="2008311"/>
                </a:lnTo>
                <a:lnTo>
                  <a:pt x="2202562" y="2012100"/>
                </a:lnTo>
                <a:lnTo>
                  <a:pt x="2199415" y="2014266"/>
                </a:lnTo>
                <a:lnTo>
                  <a:pt x="2197462" y="2014049"/>
                </a:lnTo>
                <a:lnTo>
                  <a:pt x="2199741" y="2017405"/>
                </a:lnTo>
                <a:lnTo>
                  <a:pt x="2198873" y="2020112"/>
                </a:lnTo>
                <a:lnTo>
                  <a:pt x="2198113" y="2027041"/>
                </a:lnTo>
                <a:lnTo>
                  <a:pt x="2199089" y="2029856"/>
                </a:lnTo>
                <a:lnTo>
                  <a:pt x="2198439" y="2033105"/>
                </a:lnTo>
                <a:lnTo>
                  <a:pt x="2198764" y="2037760"/>
                </a:lnTo>
                <a:lnTo>
                  <a:pt x="2198221" y="2047072"/>
                </a:lnTo>
                <a:lnTo>
                  <a:pt x="2196919" y="2047396"/>
                </a:lnTo>
                <a:lnTo>
                  <a:pt x="2191168" y="2040684"/>
                </a:lnTo>
                <a:lnTo>
                  <a:pt x="2186502" y="2040034"/>
                </a:lnTo>
                <a:lnTo>
                  <a:pt x="2183572" y="2034621"/>
                </a:lnTo>
                <a:lnTo>
                  <a:pt x="2181401" y="2034512"/>
                </a:lnTo>
                <a:lnTo>
                  <a:pt x="2180533" y="2032131"/>
                </a:lnTo>
                <a:lnTo>
                  <a:pt x="2182596" y="2027041"/>
                </a:lnTo>
                <a:lnTo>
                  <a:pt x="2179123" y="2031697"/>
                </a:lnTo>
                <a:lnTo>
                  <a:pt x="2179123" y="2035811"/>
                </a:lnTo>
                <a:lnTo>
                  <a:pt x="2182596" y="2037435"/>
                </a:lnTo>
                <a:lnTo>
                  <a:pt x="2185308" y="2041874"/>
                </a:lnTo>
                <a:lnTo>
                  <a:pt x="2190625" y="2043931"/>
                </a:lnTo>
                <a:lnTo>
                  <a:pt x="2196051" y="2050428"/>
                </a:lnTo>
                <a:lnTo>
                  <a:pt x="2199415" y="2052485"/>
                </a:lnTo>
                <a:lnTo>
                  <a:pt x="2200175" y="2056708"/>
                </a:lnTo>
                <a:lnTo>
                  <a:pt x="2198764" y="2061580"/>
                </a:lnTo>
                <a:lnTo>
                  <a:pt x="2195292" y="2061255"/>
                </a:lnTo>
                <a:lnTo>
                  <a:pt x="2193773" y="2057141"/>
                </a:lnTo>
                <a:lnTo>
                  <a:pt x="2191493" y="2056166"/>
                </a:lnTo>
                <a:lnTo>
                  <a:pt x="2193664" y="2062013"/>
                </a:lnTo>
                <a:lnTo>
                  <a:pt x="2198764" y="2065261"/>
                </a:lnTo>
                <a:lnTo>
                  <a:pt x="2200175" y="2068509"/>
                </a:lnTo>
                <a:lnTo>
                  <a:pt x="2198547" y="2069917"/>
                </a:lnTo>
                <a:lnTo>
                  <a:pt x="2198221" y="2072082"/>
                </a:lnTo>
                <a:lnTo>
                  <a:pt x="2193230" y="2071108"/>
                </a:lnTo>
                <a:lnTo>
                  <a:pt x="2199307" y="2076196"/>
                </a:lnTo>
                <a:lnTo>
                  <a:pt x="2197353" y="2079553"/>
                </a:lnTo>
                <a:lnTo>
                  <a:pt x="2194423" y="2078145"/>
                </a:lnTo>
                <a:lnTo>
                  <a:pt x="2192036" y="2073814"/>
                </a:lnTo>
                <a:lnTo>
                  <a:pt x="2186176" y="2073706"/>
                </a:lnTo>
                <a:lnTo>
                  <a:pt x="2182269" y="2071757"/>
                </a:lnTo>
                <a:lnTo>
                  <a:pt x="2185525" y="2075763"/>
                </a:lnTo>
                <a:lnTo>
                  <a:pt x="2189323" y="2077063"/>
                </a:lnTo>
                <a:lnTo>
                  <a:pt x="2192253" y="2077171"/>
                </a:lnTo>
                <a:lnTo>
                  <a:pt x="2194098" y="2082909"/>
                </a:lnTo>
                <a:lnTo>
                  <a:pt x="2198221" y="2083992"/>
                </a:lnTo>
                <a:lnTo>
                  <a:pt x="2201586" y="2083125"/>
                </a:lnTo>
                <a:lnTo>
                  <a:pt x="2203756" y="2085075"/>
                </a:lnTo>
                <a:lnTo>
                  <a:pt x="2204949" y="2089514"/>
                </a:lnTo>
                <a:lnTo>
                  <a:pt x="2203105" y="2094061"/>
                </a:lnTo>
                <a:lnTo>
                  <a:pt x="2200609" y="2092870"/>
                </a:lnTo>
                <a:lnTo>
                  <a:pt x="2200501" y="2095143"/>
                </a:lnTo>
                <a:lnTo>
                  <a:pt x="2202454" y="2097200"/>
                </a:lnTo>
                <a:lnTo>
                  <a:pt x="2203322" y="2102398"/>
                </a:lnTo>
                <a:lnTo>
                  <a:pt x="2201802" y="2104888"/>
                </a:lnTo>
                <a:lnTo>
                  <a:pt x="2198764" y="2104888"/>
                </a:lnTo>
                <a:lnTo>
                  <a:pt x="2197571" y="2106187"/>
                </a:lnTo>
                <a:lnTo>
                  <a:pt x="2191277" y="2107920"/>
                </a:lnTo>
                <a:lnTo>
                  <a:pt x="2188780" y="2110085"/>
                </a:lnTo>
                <a:lnTo>
                  <a:pt x="2185742" y="2109110"/>
                </a:lnTo>
                <a:lnTo>
                  <a:pt x="2183463" y="2104130"/>
                </a:lnTo>
                <a:lnTo>
                  <a:pt x="2181836" y="2105104"/>
                </a:lnTo>
                <a:lnTo>
                  <a:pt x="2181619" y="2112251"/>
                </a:lnTo>
                <a:lnTo>
                  <a:pt x="2180751" y="2115065"/>
                </a:lnTo>
                <a:lnTo>
                  <a:pt x="2185525" y="2113550"/>
                </a:lnTo>
                <a:lnTo>
                  <a:pt x="2195183" y="2112142"/>
                </a:lnTo>
                <a:lnTo>
                  <a:pt x="2197136" y="2113008"/>
                </a:lnTo>
                <a:lnTo>
                  <a:pt x="2197788" y="2120046"/>
                </a:lnTo>
                <a:lnTo>
                  <a:pt x="2200175" y="2121020"/>
                </a:lnTo>
                <a:lnTo>
                  <a:pt x="2200392" y="2118097"/>
                </a:lnTo>
                <a:lnTo>
                  <a:pt x="2202888" y="2113333"/>
                </a:lnTo>
                <a:lnTo>
                  <a:pt x="2204082" y="2113008"/>
                </a:lnTo>
                <a:lnTo>
                  <a:pt x="2205926" y="2117014"/>
                </a:lnTo>
                <a:lnTo>
                  <a:pt x="2204732" y="2122103"/>
                </a:lnTo>
                <a:lnTo>
                  <a:pt x="2203214" y="2122211"/>
                </a:lnTo>
                <a:lnTo>
                  <a:pt x="2198221" y="2126434"/>
                </a:lnTo>
                <a:lnTo>
                  <a:pt x="2196485" y="2129899"/>
                </a:lnTo>
                <a:lnTo>
                  <a:pt x="2194423" y="2131631"/>
                </a:lnTo>
                <a:lnTo>
                  <a:pt x="2191168" y="2129573"/>
                </a:lnTo>
                <a:lnTo>
                  <a:pt x="2187912" y="2130115"/>
                </a:lnTo>
                <a:lnTo>
                  <a:pt x="2185959" y="2124918"/>
                </a:lnTo>
                <a:lnTo>
                  <a:pt x="2185525" y="2128166"/>
                </a:lnTo>
                <a:lnTo>
                  <a:pt x="2182269" y="2129573"/>
                </a:lnTo>
                <a:lnTo>
                  <a:pt x="2178906" y="2127950"/>
                </a:lnTo>
                <a:lnTo>
                  <a:pt x="2175650" y="2127842"/>
                </a:lnTo>
                <a:lnTo>
                  <a:pt x="2178254" y="2130873"/>
                </a:lnTo>
                <a:lnTo>
                  <a:pt x="2183897" y="2131956"/>
                </a:lnTo>
                <a:lnTo>
                  <a:pt x="2185525" y="2134338"/>
                </a:lnTo>
                <a:lnTo>
                  <a:pt x="2183137" y="2136395"/>
                </a:lnTo>
                <a:lnTo>
                  <a:pt x="2184114" y="2138127"/>
                </a:lnTo>
                <a:lnTo>
                  <a:pt x="2177712" y="2140834"/>
                </a:lnTo>
                <a:lnTo>
                  <a:pt x="2173480" y="2139210"/>
                </a:lnTo>
                <a:lnTo>
                  <a:pt x="2177061" y="2142566"/>
                </a:lnTo>
                <a:lnTo>
                  <a:pt x="2183137" y="2143108"/>
                </a:lnTo>
                <a:lnTo>
                  <a:pt x="2187370" y="2139210"/>
                </a:lnTo>
                <a:lnTo>
                  <a:pt x="2188455" y="2140834"/>
                </a:lnTo>
                <a:lnTo>
                  <a:pt x="2190192" y="2141592"/>
                </a:lnTo>
                <a:lnTo>
                  <a:pt x="2185634" y="2146789"/>
                </a:lnTo>
                <a:lnTo>
                  <a:pt x="2181510" y="2146897"/>
                </a:lnTo>
                <a:lnTo>
                  <a:pt x="2181076" y="2145381"/>
                </a:lnTo>
                <a:lnTo>
                  <a:pt x="2178146" y="2145706"/>
                </a:lnTo>
                <a:lnTo>
                  <a:pt x="2176518" y="2146897"/>
                </a:lnTo>
                <a:lnTo>
                  <a:pt x="2170658" y="2147438"/>
                </a:lnTo>
                <a:lnTo>
                  <a:pt x="2159481" y="2154152"/>
                </a:lnTo>
                <a:lnTo>
                  <a:pt x="2147436" y="2163895"/>
                </a:lnTo>
                <a:lnTo>
                  <a:pt x="2143529" y="2171366"/>
                </a:lnTo>
                <a:lnTo>
                  <a:pt x="2141359" y="2171691"/>
                </a:lnTo>
                <a:lnTo>
                  <a:pt x="2138971" y="2170175"/>
                </a:lnTo>
                <a:lnTo>
                  <a:pt x="2132135" y="2170933"/>
                </a:lnTo>
                <a:lnTo>
                  <a:pt x="2127469" y="2175048"/>
                </a:lnTo>
                <a:lnTo>
                  <a:pt x="2118462" y="2186957"/>
                </a:lnTo>
                <a:lnTo>
                  <a:pt x="2118462" y="2189664"/>
                </a:lnTo>
                <a:lnTo>
                  <a:pt x="2114663" y="2193021"/>
                </a:lnTo>
                <a:lnTo>
                  <a:pt x="2112277" y="2192803"/>
                </a:lnTo>
                <a:lnTo>
                  <a:pt x="2111950" y="2195835"/>
                </a:lnTo>
                <a:lnTo>
                  <a:pt x="2107827" y="2200599"/>
                </a:lnTo>
                <a:lnTo>
                  <a:pt x="2105006" y="2199300"/>
                </a:lnTo>
                <a:lnTo>
                  <a:pt x="2102510" y="2200058"/>
                </a:lnTo>
                <a:lnTo>
                  <a:pt x="2101208" y="2202223"/>
                </a:lnTo>
                <a:lnTo>
                  <a:pt x="2096216" y="2201790"/>
                </a:lnTo>
                <a:lnTo>
                  <a:pt x="2093720" y="2205147"/>
                </a:lnTo>
                <a:lnTo>
                  <a:pt x="2086449" y="2206013"/>
                </a:lnTo>
                <a:lnTo>
                  <a:pt x="2085256" y="2208611"/>
                </a:lnTo>
                <a:lnTo>
                  <a:pt x="2080589" y="2208286"/>
                </a:lnTo>
                <a:lnTo>
                  <a:pt x="2079721" y="2211209"/>
                </a:lnTo>
                <a:lnTo>
                  <a:pt x="2074079" y="2211209"/>
                </a:lnTo>
                <a:lnTo>
                  <a:pt x="2072668" y="2212401"/>
                </a:lnTo>
                <a:lnTo>
                  <a:pt x="2074404" y="2213592"/>
                </a:lnTo>
                <a:lnTo>
                  <a:pt x="2073862" y="2217598"/>
                </a:lnTo>
                <a:lnTo>
                  <a:pt x="2070606" y="2222253"/>
                </a:lnTo>
                <a:lnTo>
                  <a:pt x="2068544" y="2222578"/>
                </a:lnTo>
                <a:lnTo>
                  <a:pt x="2066482" y="2225502"/>
                </a:lnTo>
                <a:lnTo>
                  <a:pt x="2062468" y="2226476"/>
                </a:lnTo>
                <a:lnTo>
                  <a:pt x="2058343" y="2233188"/>
                </a:lnTo>
                <a:lnTo>
                  <a:pt x="2054871" y="2240118"/>
                </a:lnTo>
                <a:lnTo>
                  <a:pt x="2054871" y="2248130"/>
                </a:lnTo>
                <a:lnTo>
                  <a:pt x="2053677" y="2262963"/>
                </a:lnTo>
                <a:lnTo>
                  <a:pt x="2054437" y="2269676"/>
                </a:lnTo>
                <a:lnTo>
                  <a:pt x="2053026" y="2279961"/>
                </a:lnTo>
                <a:lnTo>
                  <a:pt x="2055630" y="2286458"/>
                </a:lnTo>
                <a:lnTo>
                  <a:pt x="2056607" y="2296852"/>
                </a:lnTo>
                <a:lnTo>
                  <a:pt x="2058669" y="2301075"/>
                </a:lnTo>
                <a:lnTo>
                  <a:pt x="2061165" y="2312659"/>
                </a:lnTo>
                <a:lnTo>
                  <a:pt x="2064203" y="2316773"/>
                </a:lnTo>
                <a:lnTo>
                  <a:pt x="2065939" y="2320996"/>
                </a:lnTo>
                <a:lnTo>
                  <a:pt x="2063878" y="2326518"/>
                </a:lnTo>
                <a:lnTo>
                  <a:pt x="2063227" y="2333772"/>
                </a:lnTo>
                <a:lnTo>
                  <a:pt x="2064854" y="2336154"/>
                </a:lnTo>
                <a:lnTo>
                  <a:pt x="2067459" y="2351529"/>
                </a:lnTo>
                <a:lnTo>
                  <a:pt x="2072342" y="2354560"/>
                </a:lnTo>
                <a:lnTo>
                  <a:pt x="2073862" y="2361597"/>
                </a:lnTo>
                <a:lnTo>
                  <a:pt x="2071149" y="2364305"/>
                </a:lnTo>
                <a:lnTo>
                  <a:pt x="2072342" y="2366145"/>
                </a:lnTo>
                <a:lnTo>
                  <a:pt x="2071474" y="2374482"/>
                </a:lnTo>
                <a:lnTo>
                  <a:pt x="2070280" y="2376756"/>
                </a:lnTo>
                <a:lnTo>
                  <a:pt x="2070714" y="2380870"/>
                </a:lnTo>
                <a:lnTo>
                  <a:pt x="2066591" y="2389315"/>
                </a:lnTo>
                <a:lnTo>
                  <a:pt x="2064421" y="2394945"/>
                </a:lnTo>
                <a:lnTo>
                  <a:pt x="2061491" y="2399276"/>
                </a:lnTo>
                <a:lnTo>
                  <a:pt x="2060731" y="2405231"/>
                </a:lnTo>
                <a:lnTo>
                  <a:pt x="2056825" y="2406639"/>
                </a:lnTo>
                <a:lnTo>
                  <a:pt x="2052375" y="2408154"/>
                </a:lnTo>
                <a:lnTo>
                  <a:pt x="2047818" y="2406963"/>
                </a:lnTo>
                <a:lnTo>
                  <a:pt x="2045647" y="2404040"/>
                </a:lnTo>
                <a:lnTo>
                  <a:pt x="2040655" y="2402741"/>
                </a:lnTo>
                <a:lnTo>
                  <a:pt x="2043368" y="2401550"/>
                </a:lnTo>
                <a:lnTo>
                  <a:pt x="2037617" y="2396786"/>
                </a:lnTo>
                <a:lnTo>
                  <a:pt x="2038160" y="2392780"/>
                </a:lnTo>
                <a:lnTo>
                  <a:pt x="2036423" y="2389640"/>
                </a:lnTo>
                <a:lnTo>
                  <a:pt x="2032408" y="2389423"/>
                </a:lnTo>
                <a:lnTo>
                  <a:pt x="2030564" y="2387799"/>
                </a:lnTo>
                <a:lnTo>
                  <a:pt x="2030889" y="2381519"/>
                </a:lnTo>
                <a:lnTo>
                  <a:pt x="2030129" y="2376647"/>
                </a:lnTo>
                <a:lnTo>
                  <a:pt x="2024269" y="2372100"/>
                </a:lnTo>
                <a:lnTo>
                  <a:pt x="2023835" y="2369285"/>
                </a:lnTo>
                <a:lnTo>
                  <a:pt x="2025789" y="2367119"/>
                </a:lnTo>
                <a:lnTo>
                  <a:pt x="2026657" y="2363113"/>
                </a:lnTo>
                <a:lnTo>
                  <a:pt x="2030129" y="2359649"/>
                </a:lnTo>
                <a:lnTo>
                  <a:pt x="2025680" y="2360840"/>
                </a:lnTo>
                <a:lnTo>
                  <a:pt x="2023726" y="2359540"/>
                </a:lnTo>
                <a:lnTo>
                  <a:pt x="2023726" y="2361489"/>
                </a:lnTo>
                <a:lnTo>
                  <a:pt x="2022208" y="2363655"/>
                </a:lnTo>
                <a:lnTo>
                  <a:pt x="2021014" y="2359216"/>
                </a:lnTo>
                <a:lnTo>
                  <a:pt x="2019060" y="2359757"/>
                </a:lnTo>
                <a:lnTo>
                  <a:pt x="2018192" y="2357375"/>
                </a:lnTo>
                <a:lnTo>
                  <a:pt x="2015262" y="2353911"/>
                </a:lnTo>
                <a:lnTo>
                  <a:pt x="2014937" y="2349364"/>
                </a:lnTo>
                <a:lnTo>
                  <a:pt x="2013526" y="2346440"/>
                </a:lnTo>
                <a:lnTo>
                  <a:pt x="2019386" y="2338103"/>
                </a:lnTo>
                <a:lnTo>
                  <a:pt x="2019169" y="2333664"/>
                </a:lnTo>
                <a:lnTo>
                  <a:pt x="2015697" y="2332256"/>
                </a:lnTo>
                <a:lnTo>
                  <a:pt x="2013960" y="2333664"/>
                </a:lnTo>
                <a:lnTo>
                  <a:pt x="2014828" y="2335721"/>
                </a:lnTo>
                <a:lnTo>
                  <a:pt x="2012007" y="2339511"/>
                </a:lnTo>
                <a:lnTo>
                  <a:pt x="2010705" y="2340810"/>
                </a:lnTo>
                <a:lnTo>
                  <a:pt x="2007883" y="2335938"/>
                </a:lnTo>
                <a:lnTo>
                  <a:pt x="2008101" y="2332365"/>
                </a:lnTo>
                <a:lnTo>
                  <a:pt x="2012767" y="2323703"/>
                </a:lnTo>
                <a:lnTo>
                  <a:pt x="2015914" y="2312551"/>
                </a:lnTo>
                <a:lnTo>
                  <a:pt x="2016348" y="2307030"/>
                </a:lnTo>
                <a:lnTo>
                  <a:pt x="2013201" y="2301075"/>
                </a:lnTo>
                <a:lnTo>
                  <a:pt x="2009728" y="2300425"/>
                </a:lnTo>
                <a:lnTo>
                  <a:pt x="2007558" y="2297069"/>
                </a:lnTo>
                <a:lnTo>
                  <a:pt x="2007666" y="2295336"/>
                </a:lnTo>
                <a:lnTo>
                  <a:pt x="2005604" y="2295336"/>
                </a:lnTo>
                <a:lnTo>
                  <a:pt x="2002240" y="2292846"/>
                </a:lnTo>
                <a:lnTo>
                  <a:pt x="2001589" y="2287865"/>
                </a:lnTo>
                <a:lnTo>
                  <a:pt x="1999962" y="2287324"/>
                </a:lnTo>
                <a:lnTo>
                  <a:pt x="1997465" y="2284834"/>
                </a:lnTo>
                <a:lnTo>
                  <a:pt x="1995079" y="2276605"/>
                </a:lnTo>
                <a:lnTo>
                  <a:pt x="1989544" y="2274657"/>
                </a:lnTo>
                <a:lnTo>
                  <a:pt x="1986506" y="2272924"/>
                </a:lnTo>
                <a:lnTo>
                  <a:pt x="1981731" y="2273790"/>
                </a:lnTo>
                <a:lnTo>
                  <a:pt x="1978584" y="2276281"/>
                </a:lnTo>
                <a:lnTo>
                  <a:pt x="1978584" y="2277363"/>
                </a:lnTo>
                <a:lnTo>
                  <a:pt x="1977715" y="2278121"/>
                </a:lnTo>
                <a:lnTo>
                  <a:pt x="1975762" y="2277255"/>
                </a:lnTo>
                <a:lnTo>
                  <a:pt x="1969686" y="2283426"/>
                </a:lnTo>
                <a:lnTo>
                  <a:pt x="1965236" y="2283967"/>
                </a:lnTo>
                <a:lnTo>
                  <a:pt x="1958400" y="2284942"/>
                </a:lnTo>
                <a:lnTo>
                  <a:pt x="1957206" y="2283210"/>
                </a:lnTo>
                <a:lnTo>
                  <a:pt x="1957857" y="2281369"/>
                </a:lnTo>
                <a:lnTo>
                  <a:pt x="1958508" y="2282993"/>
                </a:lnTo>
                <a:lnTo>
                  <a:pt x="1959593" y="2282560"/>
                </a:lnTo>
                <a:lnTo>
                  <a:pt x="1958400" y="2280286"/>
                </a:lnTo>
                <a:lnTo>
                  <a:pt x="1956121" y="2276930"/>
                </a:lnTo>
                <a:lnTo>
                  <a:pt x="1950261" y="2272924"/>
                </a:lnTo>
                <a:lnTo>
                  <a:pt x="1951021" y="2272599"/>
                </a:lnTo>
                <a:lnTo>
                  <a:pt x="1954167" y="2274115"/>
                </a:lnTo>
                <a:lnTo>
                  <a:pt x="1954927" y="2272491"/>
                </a:lnTo>
                <a:lnTo>
                  <a:pt x="1950369" y="2269351"/>
                </a:lnTo>
                <a:lnTo>
                  <a:pt x="1949501" y="2266861"/>
                </a:lnTo>
                <a:lnTo>
                  <a:pt x="1947440" y="2266536"/>
                </a:lnTo>
                <a:lnTo>
                  <a:pt x="1946897" y="2268702"/>
                </a:lnTo>
                <a:lnTo>
                  <a:pt x="1949176" y="2271949"/>
                </a:lnTo>
                <a:lnTo>
                  <a:pt x="1945594" y="2269892"/>
                </a:lnTo>
                <a:lnTo>
                  <a:pt x="1941905" y="2266536"/>
                </a:lnTo>
                <a:lnTo>
                  <a:pt x="1935720" y="2266536"/>
                </a:lnTo>
                <a:lnTo>
                  <a:pt x="1929534" y="2265670"/>
                </a:lnTo>
                <a:lnTo>
                  <a:pt x="1930402" y="2264479"/>
                </a:lnTo>
                <a:lnTo>
                  <a:pt x="1936045" y="2264912"/>
                </a:lnTo>
                <a:lnTo>
                  <a:pt x="1938867" y="2264046"/>
                </a:lnTo>
                <a:lnTo>
                  <a:pt x="1937673" y="2262530"/>
                </a:lnTo>
                <a:lnTo>
                  <a:pt x="1932572" y="2262206"/>
                </a:lnTo>
                <a:lnTo>
                  <a:pt x="1927256" y="2265886"/>
                </a:lnTo>
                <a:lnTo>
                  <a:pt x="1925085" y="2264804"/>
                </a:lnTo>
                <a:lnTo>
                  <a:pt x="1917923" y="2265670"/>
                </a:lnTo>
                <a:lnTo>
                  <a:pt x="1915210" y="2263721"/>
                </a:lnTo>
                <a:lnTo>
                  <a:pt x="1911737" y="2265129"/>
                </a:lnTo>
                <a:lnTo>
                  <a:pt x="1905010" y="2264804"/>
                </a:lnTo>
                <a:lnTo>
                  <a:pt x="1901211" y="2266428"/>
                </a:lnTo>
                <a:lnTo>
                  <a:pt x="1896545" y="2262422"/>
                </a:lnTo>
                <a:lnTo>
                  <a:pt x="1896437" y="2259715"/>
                </a:lnTo>
                <a:lnTo>
                  <a:pt x="1897088" y="2256575"/>
                </a:lnTo>
                <a:lnTo>
                  <a:pt x="1894158" y="2256033"/>
                </a:lnTo>
                <a:lnTo>
                  <a:pt x="1892096" y="2260148"/>
                </a:lnTo>
                <a:lnTo>
                  <a:pt x="1889817" y="2263938"/>
                </a:lnTo>
                <a:lnTo>
                  <a:pt x="1886453" y="2263288"/>
                </a:lnTo>
                <a:lnTo>
                  <a:pt x="1883523" y="2264371"/>
                </a:lnTo>
                <a:lnTo>
                  <a:pt x="1878097" y="2263504"/>
                </a:lnTo>
                <a:lnTo>
                  <a:pt x="1863990" y="2265994"/>
                </a:lnTo>
                <a:lnTo>
                  <a:pt x="1860084" y="2269459"/>
                </a:lnTo>
                <a:lnTo>
                  <a:pt x="1852162" y="2272708"/>
                </a:lnTo>
                <a:lnTo>
                  <a:pt x="1847821" y="2277255"/>
                </a:lnTo>
                <a:lnTo>
                  <a:pt x="1847821" y="2280503"/>
                </a:lnTo>
                <a:lnTo>
                  <a:pt x="1850968" y="2279312"/>
                </a:lnTo>
                <a:lnTo>
                  <a:pt x="1853681" y="2276497"/>
                </a:lnTo>
                <a:lnTo>
                  <a:pt x="1855201" y="2276822"/>
                </a:lnTo>
                <a:lnTo>
                  <a:pt x="1856937" y="2279096"/>
                </a:lnTo>
                <a:lnTo>
                  <a:pt x="1861060" y="2280828"/>
                </a:lnTo>
                <a:lnTo>
                  <a:pt x="1859541" y="2282560"/>
                </a:lnTo>
                <a:lnTo>
                  <a:pt x="1851945" y="2285483"/>
                </a:lnTo>
                <a:lnTo>
                  <a:pt x="1852162" y="2289598"/>
                </a:lnTo>
                <a:lnTo>
                  <a:pt x="1853464" y="2293063"/>
                </a:lnTo>
                <a:lnTo>
                  <a:pt x="1861060" y="2295553"/>
                </a:lnTo>
                <a:lnTo>
                  <a:pt x="1866811" y="2299883"/>
                </a:lnTo>
                <a:lnTo>
                  <a:pt x="1866378" y="2301399"/>
                </a:lnTo>
                <a:lnTo>
                  <a:pt x="1862797" y="2302482"/>
                </a:lnTo>
                <a:lnTo>
                  <a:pt x="1861277" y="2305405"/>
                </a:lnTo>
                <a:lnTo>
                  <a:pt x="1861060" y="2300750"/>
                </a:lnTo>
                <a:lnTo>
                  <a:pt x="1858673" y="2299234"/>
                </a:lnTo>
                <a:lnTo>
                  <a:pt x="1855960" y="2299559"/>
                </a:lnTo>
                <a:lnTo>
                  <a:pt x="1853464" y="2296310"/>
                </a:lnTo>
                <a:lnTo>
                  <a:pt x="1850100" y="2294903"/>
                </a:lnTo>
                <a:lnTo>
                  <a:pt x="1846628" y="2289706"/>
                </a:lnTo>
                <a:lnTo>
                  <a:pt x="1842287" y="2290139"/>
                </a:lnTo>
                <a:lnTo>
                  <a:pt x="1844348" y="2294037"/>
                </a:lnTo>
                <a:lnTo>
                  <a:pt x="1844240" y="2299883"/>
                </a:lnTo>
                <a:lnTo>
                  <a:pt x="1840550" y="2301940"/>
                </a:lnTo>
                <a:lnTo>
                  <a:pt x="1838706" y="2298909"/>
                </a:lnTo>
                <a:lnTo>
                  <a:pt x="1834691" y="2296094"/>
                </a:lnTo>
                <a:lnTo>
                  <a:pt x="1831218" y="2298692"/>
                </a:lnTo>
                <a:lnTo>
                  <a:pt x="1828831" y="2301399"/>
                </a:lnTo>
                <a:lnTo>
                  <a:pt x="1822862" y="2299667"/>
                </a:lnTo>
                <a:lnTo>
                  <a:pt x="1819607" y="2297610"/>
                </a:lnTo>
                <a:lnTo>
                  <a:pt x="1815592" y="2298367"/>
                </a:lnTo>
                <a:lnTo>
                  <a:pt x="1813096" y="2297177"/>
                </a:lnTo>
                <a:lnTo>
                  <a:pt x="1814941" y="2294795"/>
                </a:lnTo>
                <a:lnTo>
                  <a:pt x="1818196" y="2292304"/>
                </a:lnTo>
                <a:lnTo>
                  <a:pt x="1816569" y="2289706"/>
                </a:lnTo>
                <a:lnTo>
                  <a:pt x="1811685" y="2290247"/>
                </a:lnTo>
                <a:lnTo>
                  <a:pt x="1810275" y="2288406"/>
                </a:lnTo>
                <a:lnTo>
                  <a:pt x="1810275" y="2284834"/>
                </a:lnTo>
                <a:lnTo>
                  <a:pt x="1808646" y="2283102"/>
                </a:lnTo>
                <a:lnTo>
                  <a:pt x="1805391" y="2284401"/>
                </a:lnTo>
                <a:lnTo>
                  <a:pt x="1802787" y="2283535"/>
                </a:lnTo>
                <a:lnTo>
                  <a:pt x="1804632" y="2280720"/>
                </a:lnTo>
                <a:lnTo>
                  <a:pt x="1802027" y="2279637"/>
                </a:lnTo>
                <a:lnTo>
                  <a:pt x="1797252" y="2281369"/>
                </a:lnTo>
                <a:lnTo>
                  <a:pt x="1796819" y="2283859"/>
                </a:lnTo>
                <a:lnTo>
                  <a:pt x="1797687" y="2286783"/>
                </a:lnTo>
                <a:lnTo>
                  <a:pt x="1793346" y="2287324"/>
                </a:lnTo>
                <a:lnTo>
                  <a:pt x="1779564" y="2286025"/>
                </a:lnTo>
                <a:lnTo>
                  <a:pt x="1777719" y="2283751"/>
                </a:lnTo>
                <a:lnTo>
                  <a:pt x="1766542" y="2281044"/>
                </a:lnTo>
                <a:lnTo>
                  <a:pt x="1760249" y="2281044"/>
                </a:lnTo>
                <a:lnTo>
                  <a:pt x="1752218" y="2282669"/>
                </a:lnTo>
                <a:lnTo>
                  <a:pt x="1748963" y="2284942"/>
                </a:lnTo>
                <a:lnTo>
                  <a:pt x="1745490" y="2285267"/>
                </a:lnTo>
                <a:lnTo>
                  <a:pt x="1741475" y="2291005"/>
                </a:lnTo>
                <a:lnTo>
                  <a:pt x="1736158" y="2291655"/>
                </a:lnTo>
                <a:lnTo>
                  <a:pt x="1737026" y="2287324"/>
                </a:lnTo>
                <a:lnTo>
                  <a:pt x="1735832" y="2283751"/>
                </a:lnTo>
                <a:lnTo>
                  <a:pt x="1738545" y="2279961"/>
                </a:lnTo>
                <a:lnTo>
                  <a:pt x="1736917" y="2274981"/>
                </a:lnTo>
                <a:lnTo>
                  <a:pt x="1736483" y="2277904"/>
                </a:lnTo>
                <a:lnTo>
                  <a:pt x="1731817" y="2281802"/>
                </a:lnTo>
                <a:lnTo>
                  <a:pt x="1729430" y="2281802"/>
                </a:lnTo>
                <a:lnTo>
                  <a:pt x="1726825" y="2278446"/>
                </a:lnTo>
                <a:lnTo>
                  <a:pt x="1729646" y="2285483"/>
                </a:lnTo>
                <a:lnTo>
                  <a:pt x="1729430" y="2290247"/>
                </a:lnTo>
                <a:lnTo>
                  <a:pt x="1730515" y="2295120"/>
                </a:lnTo>
                <a:lnTo>
                  <a:pt x="1727368" y="2297718"/>
                </a:lnTo>
                <a:lnTo>
                  <a:pt x="1724329" y="2297718"/>
                </a:lnTo>
                <a:lnTo>
                  <a:pt x="1716733" y="2304539"/>
                </a:lnTo>
                <a:lnTo>
                  <a:pt x="1706532" y="2309520"/>
                </a:lnTo>
                <a:lnTo>
                  <a:pt x="1703385" y="2309303"/>
                </a:lnTo>
                <a:lnTo>
                  <a:pt x="1698936" y="2313201"/>
                </a:lnTo>
                <a:lnTo>
                  <a:pt x="1695681" y="2313526"/>
                </a:lnTo>
                <a:lnTo>
                  <a:pt x="1699804" y="2309844"/>
                </a:lnTo>
                <a:lnTo>
                  <a:pt x="1696223" y="2307246"/>
                </a:lnTo>
                <a:lnTo>
                  <a:pt x="1693945" y="2308545"/>
                </a:lnTo>
                <a:lnTo>
                  <a:pt x="1692208" y="2307246"/>
                </a:lnTo>
                <a:lnTo>
                  <a:pt x="1687759" y="2309844"/>
                </a:lnTo>
                <a:lnTo>
                  <a:pt x="1690363" y="2312226"/>
                </a:lnTo>
                <a:lnTo>
                  <a:pt x="1685372" y="2314175"/>
                </a:lnTo>
                <a:lnTo>
                  <a:pt x="1682767" y="2312118"/>
                </a:lnTo>
                <a:lnTo>
                  <a:pt x="1683093" y="2318073"/>
                </a:lnTo>
                <a:lnTo>
                  <a:pt x="1678752" y="2320130"/>
                </a:lnTo>
                <a:lnTo>
                  <a:pt x="1676365" y="2318614"/>
                </a:lnTo>
                <a:lnTo>
                  <a:pt x="1672133" y="2323920"/>
                </a:lnTo>
                <a:lnTo>
                  <a:pt x="1674846" y="2327059"/>
                </a:lnTo>
                <a:lnTo>
                  <a:pt x="1670071" y="2330849"/>
                </a:lnTo>
                <a:lnTo>
                  <a:pt x="1666598" y="2332365"/>
                </a:lnTo>
                <a:lnTo>
                  <a:pt x="1668118" y="2341459"/>
                </a:lnTo>
                <a:lnTo>
                  <a:pt x="1664862" y="2346115"/>
                </a:lnTo>
                <a:lnTo>
                  <a:pt x="1662800" y="2353044"/>
                </a:lnTo>
                <a:lnTo>
                  <a:pt x="1659979" y="2358891"/>
                </a:lnTo>
                <a:lnTo>
                  <a:pt x="1662041" y="2362464"/>
                </a:lnTo>
                <a:lnTo>
                  <a:pt x="1661607" y="2372750"/>
                </a:lnTo>
                <a:lnTo>
                  <a:pt x="1662800" y="2376106"/>
                </a:lnTo>
                <a:lnTo>
                  <a:pt x="1661281" y="2381195"/>
                </a:lnTo>
                <a:lnTo>
                  <a:pt x="1658785" y="2388233"/>
                </a:lnTo>
                <a:lnTo>
                  <a:pt x="1656723" y="2387258"/>
                </a:lnTo>
                <a:lnTo>
                  <a:pt x="1655204" y="2384335"/>
                </a:lnTo>
                <a:lnTo>
                  <a:pt x="1650863" y="2383252"/>
                </a:lnTo>
                <a:lnTo>
                  <a:pt x="1646414" y="2380978"/>
                </a:lnTo>
                <a:lnTo>
                  <a:pt x="1638601" y="2378380"/>
                </a:lnTo>
                <a:lnTo>
                  <a:pt x="1634694" y="2374590"/>
                </a:lnTo>
                <a:lnTo>
                  <a:pt x="1631656" y="2372858"/>
                </a:lnTo>
                <a:lnTo>
                  <a:pt x="1634694" y="2374590"/>
                </a:lnTo>
                <a:lnTo>
                  <a:pt x="1638600" y="2378380"/>
                </a:lnTo>
                <a:lnTo>
                  <a:pt x="1646413" y="2380978"/>
                </a:lnTo>
                <a:lnTo>
                  <a:pt x="1650863" y="2383252"/>
                </a:lnTo>
                <a:lnTo>
                  <a:pt x="1655204" y="2384335"/>
                </a:lnTo>
                <a:lnTo>
                  <a:pt x="1656722" y="2387258"/>
                </a:lnTo>
                <a:lnTo>
                  <a:pt x="1658785" y="2388233"/>
                </a:lnTo>
                <a:lnTo>
                  <a:pt x="1657591" y="2391697"/>
                </a:lnTo>
                <a:lnTo>
                  <a:pt x="1661715" y="2388990"/>
                </a:lnTo>
                <a:lnTo>
                  <a:pt x="1663125" y="2382061"/>
                </a:lnTo>
                <a:lnTo>
                  <a:pt x="1666381" y="2379354"/>
                </a:lnTo>
                <a:lnTo>
                  <a:pt x="1665730" y="2381737"/>
                </a:lnTo>
                <a:lnTo>
                  <a:pt x="1664970" y="2387908"/>
                </a:lnTo>
                <a:lnTo>
                  <a:pt x="1663125" y="2389965"/>
                </a:lnTo>
                <a:lnTo>
                  <a:pt x="1661715" y="2395270"/>
                </a:lnTo>
                <a:lnTo>
                  <a:pt x="1658134" y="2400467"/>
                </a:lnTo>
                <a:lnTo>
                  <a:pt x="1657482" y="2404581"/>
                </a:lnTo>
                <a:lnTo>
                  <a:pt x="1654661" y="2404906"/>
                </a:lnTo>
                <a:lnTo>
                  <a:pt x="1655529" y="2402524"/>
                </a:lnTo>
                <a:lnTo>
                  <a:pt x="1656289" y="2398194"/>
                </a:lnTo>
                <a:lnTo>
                  <a:pt x="1652056" y="2397869"/>
                </a:lnTo>
                <a:lnTo>
                  <a:pt x="1652056" y="2404581"/>
                </a:lnTo>
                <a:lnTo>
                  <a:pt x="1649126" y="2408155"/>
                </a:lnTo>
                <a:lnTo>
                  <a:pt x="1652274" y="2410645"/>
                </a:lnTo>
                <a:lnTo>
                  <a:pt x="1651188" y="2412810"/>
                </a:lnTo>
                <a:lnTo>
                  <a:pt x="1649669" y="2419523"/>
                </a:lnTo>
                <a:lnTo>
                  <a:pt x="1647281" y="2421904"/>
                </a:lnTo>
                <a:lnTo>
                  <a:pt x="1647281" y="2427643"/>
                </a:lnTo>
                <a:lnTo>
                  <a:pt x="1648801" y="2429700"/>
                </a:lnTo>
                <a:lnTo>
                  <a:pt x="1647065" y="2432948"/>
                </a:lnTo>
                <a:lnTo>
                  <a:pt x="1647390" y="2436413"/>
                </a:lnTo>
                <a:lnTo>
                  <a:pt x="1644895" y="2448214"/>
                </a:lnTo>
                <a:lnTo>
                  <a:pt x="1646088" y="2455685"/>
                </a:lnTo>
                <a:lnTo>
                  <a:pt x="1644895" y="2466946"/>
                </a:lnTo>
                <a:lnTo>
                  <a:pt x="1641097" y="2471926"/>
                </a:lnTo>
                <a:lnTo>
                  <a:pt x="1642290" y="2475715"/>
                </a:lnTo>
                <a:lnTo>
                  <a:pt x="1643809" y="2484810"/>
                </a:lnTo>
                <a:lnTo>
                  <a:pt x="1643158" y="2490007"/>
                </a:lnTo>
                <a:lnTo>
                  <a:pt x="1649344" y="2499860"/>
                </a:lnTo>
                <a:lnTo>
                  <a:pt x="1649452" y="2506897"/>
                </a:lnTo>
                <a:lnTo>
                  <a:pt x="1647933" y="2508196"/>
                </a:lnTo>
                <a:lnTo>
                  <a:pt x="1647281" y="2499860"/>
                </a:lnTo>
                <a:lnTo>
                  <a:pt x="1641965" y="2492930"/>
                </a:lnTo>
                <a:lnTo>
                  <a:pt x="1641205" y="2498127"/>
                </a:lnTo>
                <a:lnTo>
                  <a:pt x="1644895" y="2501375"/>
                </a:lnTo>
                <a:lnTo>
                  <a:pt x="1647608" y="2511119"/>
                </a:lnTo>
                <a:lnTo>
                  <a:pt x="1648801" y="2514476"/>
                </a:lnTo>
                <a:lnTo>
                  <a:pt x="1647065" y="2517724"/>
                </a:lnTo>
                <a:lnTo>
                  <a:pt x="1649886" y="2521838"/>
                </a:lnTo>
                <a:lnTo>
                  <a:pt x="1650863" y="2526494"/>
                </a:lnTo>
                <a:lnTo>
                  <a:pt x="1663993" y="2540569"/>
                </a:lnTo>
                <a:lnTo>
                  <a:pt x="1666163" y="2545874"/>
                </a:lnTo>
                <a:lnTo>
                  <a:pt x="1670613" y="2552371"/>
                </a:lnTo>
                <a:lnTo>
                  <a:pt x="1670179" y="2555943"/>
                </a:lnTo>
                <a:lnTo>
                  <a:pt x="1671481" y="2559841"/>
                </a:lnTo>
                <a:lnTo>
                  <a:pt x="1681465" y="2571643"/>
                </a:lnTo>
                <a:lnTo>
                  <a:pt x="1684611" y="2575000"/>
                </a:lnTo>
                <a:lnTo>
                  <a:pt x="1686890" y="2574458"/>
                </a:lnTo>
                <a:lnTo>
                  <a:pt x="1693510" y="2574566"/>
                </a:lnTo>
                <a:lnTo>
                  <a:pt x="1695029" y="2576407"/>
                </a:lnTo>
                <a:lnTo>
                  <a:pt x="1701974" y="2579330"/>
                </a:lnTo>
                <a:lnTo>
                  <a:pt x="1707400" y="2586909"/>
                </a:lnTo>
                <a:lnTo>
                  <a:pt x="1709244" y="2592864"/>
                </a:lnTo>
                <a:lnTo>
                  <a:pt x="1714996" y="2590265"/>
                </a:lnTo>
                <a:lnTo>
                  <a:pt x="1723026" y="2588533"/>
                </a:lnTo>
                <a:lnTo>
                  <a:pt x="1725088" y="2590915"/>
                </a:lnTo>
                <a:lnTo>
                  <a:pt x="1727909" y="2590915"/>
                </a:lnTo>
                <a:lnTo>
                  <a:pt x="1737893" y="2585285"/>
                </a:lnTo>
                <a:lnTo>
                  <a:pt x="1739304" y="2583228"/>
                </a:lnTo>
                <a:lnTo>
                  <a:pt x="1747768" y="2582470"/>
                </a:lnTo>
                <a:lnTo>
                  <a:pt x="1753194" y="2582362"/>
                </a:lnTo>
                <a:lnTo>
                  <a:pt x="1757535" y="2578680"/>
                </a:lnTo>
                <a:lnTo>
                  <a:pt x="1763937" y="2578572"/>
                </a:lnTo>
                <a:lnTo>
                  <a:pt x="1769038" y="2580088"/>
                </a:lnTo>
                <a:lnTo>
                  <a:pt x="1771099" y="2577381"/>
                </a:lnTo>
                <a:lnTo>
                  <a:pt x="1777827" y="2579222"/>
                </a:lnTo>
                <a:lnTo>
                  <a:pt x="1773269" y="2581604"/>
                </a:lnTo>
                <a:lnTo>
                  <a:pt x="1771967" y="2584527"/>
                </a:lnTo>
                <a:lnTo>
                  <a:pt x="1777502" y="2587018"/>
                </a:lnTo>
                <a:lnTo>
                  <a:pt x="1780323" y="2589724"/>
                </a:lnTo>
                <a:lnTo>
                  <a:pt x="1781300" y="2587126"/>
                </a:lnTo>
                <a:lnTo>
                  <a:pt x="1784121" y="2587018"/>
                </a:lnTo>
                <a:lnTo>
                  <a:pt x="1788679" y="2581496"/>
                </a:lnTo>
                <a:lnTo>
                  <a:pt x="1788896" y="2574566"/>
                </a:lnTo>
                <a:lnTo>
                  <a:pt x="1790089" y="2570452"/>
                </a:lnTo>
                <a:lnTo>
                  <a:pt x="1785423" y="2573592"/>
                </a:lnTo>
                <a:lnTo>
                  <a:pt x="1784555" y="2572725"/>
                </a:lnTo>
                <a:lnTo>
                  <a:pt x="1795299" y="2566987"/>
                </a:lnTo>
                <a:lnTo>
                  <a:pt x="1798880" y="2566229"/>
                </a:lnTo>
                <a:lnTo>
                  <a:pt x="1803437" y="2560707"/>
                </a:lnTo>
                <a:lnTo>
                  <a:pt x="1803437" y="2552371"/>
                </a:lnTo>
                <a:lnTo>
                  <a:pt x="1812119" y="2543060"/>
                </a:lnTo>
                <a:lnTo>
                  <a:pt x="1811467" y="2541327"/>
                </a:lnTo>
                <a:lnTo>
                  <a:pt x="1812119" y="2526602"/>
                </a:lnTo>
                <a:lnTo>
                  <a:pt x="1821125" y="2516641"/>
                </a:lnTo>
                <a:lnTo>
                  <a:pt x="1817327" y="2516209"/>
                </a:lnTo>
                <a:lnTo>
                  <a:pt x="1817327" y="2512852"/>
                </a:lnTo>
                <a:lnTo>
                  <a:pt x="1832845" y="2509062"/>
                </a:lnTo>
                <a:lnTo>
                  <a:pt x="1853138" y="2509387"/>
                </a:lnTo>
                <a:lnTo>
                  <a:pt x="1856610" y="2504515"/>
                </a:lnTo>
                <a:lnTo>
                  <a:pt x="1862470" y="2503866"/>
                </a:lnTo>
                <a:lnTo>
                  <a:pt x="1864532" y="2505923"/>
                </a:lnTo>
                <a:lnTo>
                  <a:pt x="1870392" y="2503216"/>
                </a:lnTo>
                <a:lnTo>
                  <a:pt x="1870066" y="2500726"/>
                </a:lnTo>
                <a:lnTo>
                  <a:pt x="1879399" y="2500401"/>
                </a:lnTo>
                <a:lnTo>
                  <a:pt x="1890467" y="2503216"/>
                </a:lnTo>
                <a:lnTo>
                  <a:pt x="1893180" y="2502133"/>
                </a:lnTo>
                <a:lnTo>
                  <a:pt x="1892204" y="2499427"/>
                </a:lnTo>
                <a:lnTo>
                  <a:pt x="1896653" y="2498993"/>
                </a:lnTo>
                <a:lnTo>
                  <a:pt x="1903598" y="2507763"/>
                </a:lnTo>
                <a:lnTo>
                  <a:pt x="1904032" y="2513068"/>
                </a:lnTo>
                <a:lnTo>
                  <a:pt x="1900234" y="2519023"/>
                </a:lnTo>
                <a:lnTo>
                  <a:pt x="1894808" y="2528010"/>
                </a:lnTo>
                <a:lnTo>
                  <a:pt x="1884391" y="2537429"/>
                </a:lnTo>
                <a:lnTo>
                  <a:pt x="1882329" y="2540894"/>
                </a:lnTo>
                <a:lnTo>
                  <a:pt x="1881786" y="2547282"/>
                </a:lnTo>
                <a:lnTo>
                  <a:pt x="1877120" y="2550205"/>
                </a:lnTo>
                <a:lnTo>
                  <a:pt x="1875600" y="2551937"/>
                </a:lnTo>
                <a:lnTo>
                  <a:pt x="1878639" y="2554536"/>
                </a:lnTo>
                <a:lnTo>
                  <a:pt x="1882654" y="2554536"/>
                </a:lnTo>
                <a:lnTo>
                  <a:pt x="1881786" y="2557892"/>
                </a:lnTo>
                <a:lnTo>
                  <a:pt x="1876468" y="2563631"/>
                </a:lnTo>
                <a:lnTo>
                  <a:pt x="1876468" y="2565472"/>
                </a:lnTo>
                <a:lnTo>
                  <a:pt x="1878531" y="2566554"/>
                </a:lnTo>
                <a:lnTo>
                  <a:pt x="1880918" y="2564064"/>
                </a:lnTo>
                <a:lnTo>
                  <a:pt x="1883088" y="2563739"/>
                </a:lnTo>
                <a:lnTo>
                  <a:pt x="1880701" y="2567745"/>
                </a:lnTo>
                <a:lnTo>
                  <a:pt x="1876903" y="2582686"/>
                </a:lnTo>
                <a:lnTo>
                  <a:pt x="1872454" y="2590374"/>
                </a:lnTo>
                <a:lnTo>
                  <a:pt x="1871477" y="2591457"/>
                </a:lnTo>
                <a:lnTo>
                  <a:pt x="1869524" y="2587018"/>
                </a:lnTo>
                <a:lnTo>
                  <a:pt x="1864206" y="2583661"/>
                </a:lnTo>
                <a:lnTo>
                  <a:pt x="1863989" y="2582362"/>
                </a:lnTo>
                <a:lnTo>
                  <a:pt x="1866268" y="2580088"/>
                </a:lnTo>
                <a:lnTo>
                  <a:pt x="1866811" y="2575324"/>
                </a:lnTo>
                <a:lnTo>
                  <a:pt x="1863989" y="2576190"/>
                </a:lnTo>
                <a:lnTo>
                  <a:pt x="1858781" y="2582145"/>
                </a:lnTo>
                <a:lnTo>
                  <a:pt x="1854657" y="2585718"/>
                </a:lnTo>
                <a:lnTo>
                  <a:pt x="1854765" y="2585826"/>
                </a:lnTo>
                <a:lnTo>
                  <a:pt x="1854766" y="2585826"/>
                </a:lnTo>
                <a:lnTo>
                  <a:pt x="1855959" y="2587991"/>
                </a:lnTo>
                <a:lnTo>
                  <a:pt x="1858347" y="2585718"/>
                </a:lnTo>
                <a:lnTo>
                  <a:pt x="1861385" y="2585718"/>
                </a:lnTo>
                <a:lnTo>
                  <a:pt x="1861928" y="2588316"/>
                </a:lnTo>
                <a:lnTo>
                  <a:pt x="1861277" y="2590914"/>
                </a:lnTo>
                <a:lnTo>
                  <a:pt x="1860626" y="2602608"/>
                </a:lnTo>
                <a:lnTo>
                  <a:pt x="1858021" y="2606939"/>
                </a:lnTo>
                <a:lnTo>
                  <a:pt x="1856936" y="2613977"/>
                </a:lnTo>
                <a:lnTo>
                  <a:pt x="1859541" y="2616575"/>
                </a:lnTo>
                <a:lnTo>
                  <a:pt x="1859324" y="2624479"/>
                </a:lnTo>
                <a:lnTo>
                  <a:pt x="1856936" y="2630975"/>
                </a:lnTo>
                <a:lnTo>
                  <a:pt x="1850208" y="2640286"/>
                </a:lnTo>
                <a:lnTo>
                  <a:pt x="1847603" y="2638013"/>
                </a:lnTo>
                <a:lnTo>
                  <a:pt x="1843155" y="2642668"/>
                </a:lnTo>
                <a:lnTo>
                  <a:pt x="1841310" y="2646673"/>
                </a:lnTo>
                <a:lnTo>
                  <a:pt x="1842830" y="2649380"/>
                </a:lnTo>
                <a:lnTo>
                  <a:pt x="1846302" y="2649380"/>
                </a:lnTo>
                <a:lnTo>
                  <a:pt x="1850100" y="2651978"/>
                </a:lnTo>
                <a:lnTo>
                  <a:pt x="1851294" y="2649055"/>
                </a:lnTo>
                <a:lnTo>
                  <a:pt x="1855526" y="2649597"/>
                </a:lnTo>
                <a:lnTo>
                  <a:pt x="1857479" y="2651113"/>
                </a:lnTo>
                <a:lnTo>
                  <a:pt x="1857479" y="2651113"/>
                </a:lnTo>
                <a:lnTo>
                  <a:pt x="1860409" y="2653495"/>
                </a:lnTo>
                <a:lnTo>
                  <a:pt x="1866594" y="2650030"/>
                </a:lnTo>
                <a:lnTo>
                  <a:pt x="1880701" y="2649706"/>
                </a:lnTo>
                <a:lnTo>
                  <a:pt x="1890902" y="2650571"/>
                </a:lnTo>
                <a:lnTo>
                  <a:pt x="1898823" y="2648514"/>
                </a:lnTo>
                <a:lnTo>
                  <a:pt x="1902730" y="2649922"/>
                </a:lnTo>
                <a:lnTo>
                  <a:pt x="1905226" y="2648190"/>
                </a:lnTo>
                <a:lnTo>
                  <a:pt x="1908916" y="2646674"/>
                </a:lnTo>
                <a:lnTo>
                  <a:pt x="1907071" y="2645267"/>
                </a:lnTo>
                <a:lnTo>
                  <a:pt x="1908156" y="2642343"/>
                </a:lnTo>
                <a:lnTo>
                  <a:pt x="1913147" y="2644725"/>
                </a:lnTo>
                <a:lnTo>
                  <a:pt x="1918682" y="2649380"/>
                </a:lnTo>
                <a:lnTo>
                  <a:pt x="1928774" y="2649922"/>
                </a:lnTo>
                <a:lnTo>
                  <a:pt x="1939300" y="2650896"/>
                </a:lnTo>
                <a:lnTo>
                  <a:pt x="1942447" y="2653170"/>
                </a:lnTo>
                <a:lnTo>
                  <a:pt x="1943424" y="2650247"/>
                </a:lnTo>
                <a:lnTo>
                  <a:pt x="1946028" y="2651437"/>
                </a:lnTo>
                <a:lnTo>
                  <a:pt x="1949935" y="2650571"/>
                </a:lnTo>
                <a:lnTo>
                  <a:pt x="1954167" y="2650896"/>
                </a:lnTo>
                <a:lnTo>
                  <a:pt x="1960027" y="2654145"/>
                </a:lnTo>
                <a:lnTo>
                  <a:pt x="1964259" y="2657610"/>
                </a:lnTo>
                <a:lnTo>
                  <a:pt x="1963391" y="2658259"/>
                </a:lnTo>
                <a:lnTo>
                  <a:pt x="1957097" y="2656418"/>
                </a:lnTo>
                <a:lnTo>
                  <a:pt x="1953299" y="2655552"/>
                </a:lnTo>
                <a:lnTo>
                  <a:pt x="1951237" y="2656094"/>
                </a:lnTo>
                <a:lnTo>
                  <a:pt x="1951562" y="2658259"/>
                </a:lnTo>
                <a:lnTo>
                  <a:pt x="1948416" y="2659125"/>
                </a:lnTo>
                <a:lnTo>
                  <a:pt x="1947439" y="2661074"/>
                </a:lnTo>
                <a:lnTo>
                  <a:pt x="1951346" y="2661074"/>
                </a:lnTo>
                <a:lnTo>
                  <a:pt x="1955795" y="2661615"/>
                </a:lnTo>
                <a:lnTo>
                  <a:pt x="1958291" y="2663456"/>
                </a:lnTo>
                <a:lnTo>
                  <a:pt x="1964476" y="2664106"/>
                </a:lnTo>
                <a:lnTo>
                  <a:pt x="1969576" y="2664322"/>
                </a:lnTo>
                <a:lnTo>
                  <a:pt x="1967514" y="2660424"/>
                </a:lnTo>
                <a:lnTo>
                  <a:pt x="1967840" y="2659558"/>
                </a:lnTo>
                <a:lnTo>
                  <a:pt x="1973049" y="2661723"/>
                </a:lnTo>
                <a:lnTo>
                  <a:pt x="1978583" y="2666271"/>
                </a:lnTo>
                <a:lnTo>
                  <a:pt x="1979994" y="2668653"/>
                </a:lnTo>
                <a:lnTo>
                  <a:pt x="1978475" y="2670169"/>
                </a:lnTo>
                <a:lnTo>
                  <a:pt x="1976305" y="2670602"/>
                </a:lnTo>
                <a:lnTo>
                  <a:pt x="1977823" y="2670602"/>
                </a:lnTo>
                <a:lnTo>
                  <a:pt x="1976412" y="2672118"/>
                </a:lnTo>
                <a:lnTo>
                  <a:pt x="1975002" y="2674716"/>
                </a:lnTo>
                <a:lnTo>
                  <a:pt x="1975002" y="2681104"/>
                </a:lnTo>
                <a:lnTo>
                  <a:pt x="1975653" y="2685110"/>
                </a:lnTo>
                <a:lnTo>
                  <a:pt x="1974242" y="2688141"/>
                </a:lnTo>
                <a:lnTo>
                  <a:pt x="1974242" y="2690198"/>
                </a:lnTo>
                <a:lnTo>
                  <a:pt x="1976521" y="2691823"/>
                </a:lnTo>
                <a:lnTo>
                  <a:pt x="1976521" y="2694205"/>
                </a:lnTo>
                <a:lnTo>
                  <a:pt x="1974676" y="2697453"/>
                </a:lnTo>
                <a:lnTo>
                  <a:pt x="1970769" y="2702325"/>
                </a:lnTo>
                <a:lnTo>
                  <a:pt x="1969250" y="2708280"/>
                </a:lnTo>
                <a:lnTo>
                  <a:pt x="1968382" y="2706764"/>
                </a:lnTo>
                <a:lnTo>
                  <a:pt x="1966863" y="2706764"/>
                </a:lnTo>
                <a:lnTo>
                  <a:pt x="1965235" y="2708496"/>
                </a:lnTo>
                <a:lnTo>
                  <a:pt x="1965235" y="2710879"/>
                </a:lnTo>
                <a:lnTo>
                  <a:pt x="1966755" y="2711528"/>
                </a:lnTo>
                <a:lnTo>
                  <a:pt x="1968600" y="2714235"/>
                </a:lnTo>
                <a:lnTo>
                  <a:pt x="1967731" y="2716617"/>
                </a:lnTo>
                <a:lnTo>
                  <a:pt x="1967731" y="2727444"/>
                </a:lnTo>
                <a:lnTo>
                  <a:pt x="1966646" y="2736647"/>
                </a:lnTo>
                <a:lnTo>
                  <a:pt x="1964802" y="2739787"/>
                </a:lnTo>
                <a:lnTo>
                  <a:pt x="1963499" y="2739787"/>
                </a:lnTo>
                <a:lnTo>
                  <a:pt x="1963499" y="2734807"/>
                </a:lnTo>
                <a:cubicBezTo>
                  <a:pt x="1963499" y="2733940"/>
                  <a:pt x="1963499" y="2731017"/>
                  <a:pt x="1963499" y="2731017"/>
                </a:cubicBezTo>
                <a:lnTo>
                  <a:pt x="1964367" y="2729177"/>
                </a:lnTo>
                <a:lnTo>
                  <a:pt x="1962305" y="2729177"/>
                </a:lnTo>
                <a:lnTo>
                  <a:pt x="1959592" y="2736214"/>
                </a:lnTo>
                <a:lnTo>
                  <a:pt x="1959592" y="2739462"/>
                </a:lnTo>
                <a:lnTo>
                  <a:pt x="1960244" y="2742602"/>
                </a:lnTo>
                <a:lnTo>
                  <a:pt x="1957965" y="2747799"/>
                </a:lnTo>
                <a:lnTo>
                  <a:pt x="1956771" y="2751588"/>
                </a:lnTo>
                <a:lnTo>
                  <a:pt x="1956771" y="2755053"/>
                </a:lnTo>
                <a:lnTo>
                  <a:pt x="1959159" y="2753646"/>
                </a:lnTo>
                <a:lnTo>
                  <a:pt x="1959809" y="2751372"/>
                </a:lnTo>
                <a:lnTo>
                  <a:pt x="1961220" y="2748665"/>
                </a:lnTo>
                <a:lnTo>
                  <a:pt x="1961220" y="2753646"/>
                </a:lnTo>
                <a:lnTo>
                  <a:pt x="1959701" y="2757435"/>
                </a:lnTo>
                <a:lnTo>
                  <a:pt x="1956771" y="2763065"/>
                </a:lnTo>
                <a:lnTo>
                  <a:pt x="1957965" y="2768046"/>
                </a:lnTo>
                <a:lnTo>
                  <a:pt x="1960569" y="2771185"/>
                </a:lnTo>
                <a:lnTo>
                  <a:pt x="1961220" y="2774758"/>
                </a:lnTo>
                <a:lnTo>
                  <a:pt x="1958941" y="2776166"/>
                </a:lnTo>
                <a:lnTo>
                  <a:pt x="1958562" y="2776166"/>
                </a:lnTo>
                <a:lnTo>
                  <a:pt x="1957749" y="2777464"/>
                </a:lnTo>
                <a:lnTo>
                  <a:pt x="1962740" y="2777464"/>
                </a:lnTo>
                <a:lnTo>
                  <a:pt x="1963392" y="2775191"/>
                </a:lnTo>
                <a:lnTo>
                  <a:pt x="1965670" y="2774758"/>
                </a:lnTo>
                <a:lnTo>
                  <a:pt x="1967298" y="2778980"/>
                </a:lnTo>
                <a:lnTo>
                  <a:pt x="1968058" y="2784068"/>
                </a:lnTo>
                <a:lnTo>
                  <a:pt x="1970988" y="2788725"/>
                </a:lnTo>
                <a:lnTo>
                  <a:pt x="1975762" y="2793596"/>
                </a:lnTo>
                <a:lnTo>
                  <a:pt x="1977282" y="2797494"/>
                </a:lnTo>
                <a:lnTo>
                  <a:pt x="1979886" y="2800634"/>
                </a:lnTo>
                <a:lnTo>
                  <a:pt x="1983684" y="2801825"/>
                </a:lnTo>
                <a:lnTo>
                  <a:pt x="1987048" y="2804315"/>
                </a:lnTo>
                <a:lnTo>
                  <a:pt x="1987482" y="2805506"/>
                </a:lnTo>
                <a:lnTo>
                  <a:pt x="1983358" y="2805290"/>
                </a:lnTo>
                <a:lnTo>
                  <a:pt x="1981080" y="2806805"/>
                </a:lnTo>
                <a:lnTo>
                  <a:pt x="1981080" y="2806806"/>
                </a:lnTo>
                <a:lnTo>
                  <a:pt x="1983358" y="2805291"/>
                </a:lnTo>
                <a:lnTo>
                  <a:pt x="1987481" y="2805507"/>
                </a:lnTo>
                <a:lnTo>
                  <a:pt x="1988458" y="2808106"/>
                </a:lnTo>
                <a:lnTo>
                  <a:pt x="1991063" y="2810812"/>
                </a:lnTo>
                <a:lnTo>
                  <a:pt x="1993992" y="2811787"/>
                </a:lnTo>
                <a:lnTo>
                  <a:pt x="1995946" y="2811679"/>
                </a:lnTo>
                <a:lnTo>
                  <a:pt x="1997140" y="2813086"/>
                </a:lnTo>
                <a:lnTo>
                  <a:pt x="1995512" y="2813628"/>
                </a:lnTo>
                <a:lnTo>
                  <a:pt x="1994644" y="2814602"/>
                </a:lnTo>
                <a:lnTo>
                  <a:pt x="1995837" y="2816442"/>
                </a:lnTo>
                <a:lnTo>
                  <a:pt x="1999744" y="2818499"/>
                </a:lnTo>
                <a:lnTo>
                  <a:pt x="2003542" y="2817850"/>
                </a:lnTo>
                <a:lnTo>
                  <a:pt x="2003542" y="2815468"/>
                </a:lnTo>
                <a:lnTo>
                  <a:pt x="2000829" y="2813736"/>
                </a:lnTo>
                <a:lnTo>
                  <a:pt x="2002240" y="2812545"/>
                </a:lnTo>
                <a:lnTo>
                  <a:pt x="2007666" y="2815035"/>
                </a:lnTo>
                <a:lnTo>
                  <a:pt x="2016022" y="2820773"/>
                </a:lnTo>
                <a:lnTo>
                  <a:pt x="2023726" y="2821098"/>
                </a:lnTo>
                <a:lnTo>
                  <a:pt x="2027850" y="2820557"/>
                </a:lnTo>
                <a:lnTo>
                  <a:pt x="2032191" y="2816442"/>
                </a:lnTo>
                <a:lnTo>
                  <a:pt x="2046840" y="2809080"/>
                </a:lnTo>
                <a:lnTo>
                  <a:pt x="2054002" y="2807348"/>
                </a:lnTo>
                <a:lnTo>
                  <a:pt x="2060730" y="2802584"/>
                </a:lnTo>
                <a:lnTo>
                  <a:pt x="2063226" y="2802151"/>
                </a:lnTo>
                <a:lnTo>
                  <a:pt x="2066807" y="2803775"/>
                </a:lnTo>
                <a:lnTo>
                  <a:pt x="2068218" y="2806049"/>
                </a:lnTo>
                <a:lnTo>
                  <a:pt x="2071582" y="2806806"/>
                </a:lnTo>
                <a:lnTo>
                  <a:pt x="2082108" y="2806806"/>
                </a:lnTo>
                <a:lnTo>
                  <a:pt x="2087968" y="2808214"/>
                </a:lnTo>
                <a:lnTo>
                  <a:pt x="2097951" y="2814061"/>
                </a:lnTo>
                <a:lnTo>
                  <a:pt x="2102292" y="2819041"/>
                </a:lnTo>
                <a:lnTo>
                  <a:pt x="2103160" y="2821639"/>
                </a:lnTo>
                <a:lnTo>
                  <a:pt x="2106415" y="2823480"/>
                </a:lnTo>
                <a:lnTo>
                  <a:pt x="2108369" y="2825212"/>
                </a:lnTo>
                <a:lnTo>
                  <a:pt x="2107392" y="2829434"/>
                </a:lnTo>
                <a:lnTo>
                  <a:pt x="2108151" y="2832466"/>
                </a:lnTo>
                <a:lnTo>
                  <a:pt x="2110322" y="2838421"/>
                </a:lnTo>
                <a:lnTo>
                  <a:pt x="2107939" y="2842657"/>
                </a:lnTo>
                <a:lnTo>
                  <a:pt x="2110323" y="2838421"/>
                </a:lnTo>
                <a:lnTo>
                  <a:pt x="2108152" y="2832466"/>
                </a:lnTo>
                <a:lnTo>
                  <a:pt x="2107393" y="2829434"/>
                </a:lnTo>
                <a:lnTo>
                  <a:pt x="2108369" y="2825211"/>
                </a:lnTo>
                <a:lnTo>
                  <a:pt x="2113687" y="2829867"/>
                </a:lnTo>
                <a:lnTo>
                  <a:pt x="2115206" y="2834415"/>
                </a:lnTo>
                <a:lnTo>
                  <a:pt x="2118787" y="2835931"/>
                </a:lnTo>
                <a:lnTo>
                  <a:pt x="2117268" y="2838637"/>
                </a:lnTo>
                <a:lnTo>
                  <a:pt x="2116725" y="2840370"/>
                </a:lnTo>
                <a:lnTo>
                  <a:pt x="2121066" y="2843943"/>
                </a:lnTo>
                <a:lnTo>
                  <a:pt x="2123670" y="2844159"/>
                </a:lnTo>
                <a:lnTo>
                  <a:pt x="2126057" y="2838962"/>
                </a:lnTo>
                <a:lnTo>
                  <a:pt x="2126057" y="2833115"/>
                </a:lnTo>
                <a:lnTo>
                  <a:pt x="2121934" y="2828460"/>
                </a:lnTo>
                <a:lnTo>
                  <a:pt x="2120523" y="2824021"/>
                </a:lnTo>
                <a:lnTo>
                  <a:pt x="2124539" y="2823804"/>
                </a:lnTo>
                <a:lnTo>
                  <a:pt x="2127252" y="2823479"/>
                </a:lnTo>
                <a:lnTo>
                  <a:pt x="2131918" y="2816658"/>
                </a:lnTo>
                <a:lnTo>
                  <a:pt x="2134522" y="2815250"/>
                </a:lnTo>
                <a:lnTo>
                  <a:pt x="2140707" y="2809296"/>
                </a:lnTo>
                <a:lnTo>
                  <a:pt x="2144180" y="2807347"/>
                </a:lnTo>
                <a:lnTo>
                  <a:pt x="2148629" y="2807023"/>
                </a:lnTo>
                <a:lnTo>
                  <a:pt x="2152102" y="2805290"/>
                </a:lnTo>
                <a:lnTo>
                  <a:pt x="2153404" y="2800959"/>
                </a:lnTo>
                <a:lnTo>
                  <a:pt x="2152753" y="2797061"/>
                </a:lnTo>
                <a:lnTo>
                  <a:pt x="2151017" y="2795113"/>
                </a:lnTo>
                <a:lnTo>
                  <a:pt x="2149172" y="2795979"/>
                </a:lnTo>
                <a:lnTo>
                  <a:pt x="2150040" y="2792622"/>
                </a:lnTo>
                <a:lnTo>
                  <a:pt x="2156443" y="2780496"/>
                </a:lnTo>
                <a:lnTo>
                  <a:pt x="2161759" y="2774324"/>
                </a:lnTo>
                <a:lnTo>
                  <a:pt x="2163604" y="2771076"/>
                </a:lnTo>
                <a:lnTo>
                  <a:pt x="2171526" y="2766204"/>
                </a:lnTo>
                <a:lnTo>
                  <a:pt x="2174673" y="2766096"/>
                </a:lnTo>
                <a:lnTo>
                  <a:pt x="2180642" y="2768695"/>
                </a:lnTo>
                <a:lnTo>
                  <a:pt x="2185634" y="2769128"/>
                </a:lnTo>
                <a:lnTo>
                  <a:pt x="2182269" y="2770426"/>
                </a:lnTo>
                <a:lnTo>
                  <a:pt x="2182704" y="2771618"/>
                </a:lnTo>
                <a:lnTo>
                  <a:pt x="2181835" y="2775407"/>
                </a:lnTo>
                <a:lnTo>
                  <a:pt x="2184331" y="2776381"/>
                </a:lnTo>
                <a:lnTo>
                  <a:pt x="2187912" y="2773134"/>
                </a:lnTo>
                <a:lnTo>
                  <a:pt x="2188455" y="2769344"/>
                </a:lnTo>
                <a:lnTo>
                  <a:pt x="2186935" y="2765554"/>
                </a:lnTo>
                <a:lnTo>
                  <a:pt x="2186502" y="2762631"/>
                </a:lnTo>
                <a:lnTo>
                  <a:pt x="2191385" y="2760032"/>
                </a:lnTo>
                <a:lnTo>
                  <a:pt x="2199089" y="2760899"/>
                </a:lnTo>
                <a:lnTo>
                  <a:pt x="2206143" y="2760357"/>
                </a:lnTo>
                <a:lnTo>
                  <a:pt x="2212546" y="2759058"/>
                </a:lnTo>
                <a:lnTo>
                  <a:pt x="2218080" y="2755052"/>
                </a:lnTo>
                <a:lnTo>
                  <a:pt x="2226327" y="2750071"/>
                </a:lnTo>
                <a:lnTo>
                  <a:pt x="2232513" y="2747040"/>
                </a:lnTo>
                <a:lnTo>
                  <a:pt x="2234141" y="2744767"/>
                </a:lnTo>
                <a:lnTo>
                  <a:pt x="2232078" y="2742385"/>
                </a:lnTo>
                <a:lnTo>
                  <a:pt x="2233923" y="2740111"/>
                </a:lnTo>
                <a:lnTo>
                  <a:pt x="2237396" y="2738704"/>
                </a:lnTo>
                <a:lnTo>
                  <a:pt x="2241302" y="2739245"/>
                </a:lnTo>
                <a:lnTo>
                  <a:pt x="2243255" y="2737729"/>
                </a:lnTo>
                <a:lnTo>
                  <a:pt x="2246837" y="2737188"/>
                </a:lnTo>
                <a:lnTo>
                  <a:pt x="2247162" y="2735022"/>
                </a:lnTo>
                <a:lnTo>
                  <a:pt x="2248356" y="2732857"/>
                </a:lnTo>
                <a:lnTo>
                  <a:pt x="2251828" y="2733073"/>
                </a:lnTo>
                <a:lnTo>
                  <a:pt x="2260510" y="2737729"/>
                </a:lnTo>
                <a:lnTo>
                  <a:pt x="2263223" y="2741302"/>
                </a:lnTo>
                <a:lnTo>
                  <a:pt x="2262138" y="2744117"/>
                </a:lnTo>
                <a:lnTo>
                  <a:pt x="2259425" y="2746174"/>
                </a:lnTo>
                <a:lnTo>
                  <a:pt x="2258774" y="2746932"/>
                </a:lnTo>
                <a:lnTo>
                  <a:pt x="2253782" y="2752670"/>
                </a:lnTo>
                <a:lnTo>
                  <a:pt x="2248031" y="2754078"/>
                </a:lnTo>
                <a:lnTo>
                  <a:pt x="2242496" y="2756460"/>
                </a:lnTo>
                <a:lnTo>
                  <a:pt x="2241303" y="2759708"/>
                </a:lnTo>
                <a:lnTo>
                  <a:pt x="2243256" y="2763714"/>
                </a:lnTo>
                <a:lnTo>
                  <a:pt x="2247054" y="2766421"/>
                </a:lnTo>
                <a:lnTo>
                  <a:pt x="2247163" y="2769344"/>
                </a:lnTo>
                <a:lnTo>
                  <a:pt x="2246837" y="2771618"/>
                </a:lnTo>
                <a:lnTo>
                  <a:pt x="2249659" y="2776490"/>
                </a:lnTo>
                <a:lnTo>
                  <a:pt x="2249659" y="2784069"/>
                </a:lnTo>
                <a:lnTo>
                  <a:pt x="2240651" y="2793055"/>
                </a:lnTo>
                <a:lnTo>
                  <a:pt x="2240326" y="2795871"/>
                </a:lnTo>
                <a:lnTo>
                  <a:pt x="2235877" y="2799660"/>
                </a:lnTo>
                <a:lnTo>
                  <a:pt x="2237287" y="2804423"/>
                </a:lnTo>
                <a:lnTo>
                  <a:pt x="2242062" y="2809945"/>
                </a:lnTo>
                <a:lnTo>
                  <a:pt x="2242062" y="2816875"/>
                </a:lnTo>
                <a:lnTo>
                  <a:pt x="2246186" y="2817524"/>
                </a:lnTo>
                <a:lnTo>
                  <a:pt x="2254542" y="2812652"/>
                </a:lnTo>
                <a:lnTo>
                  <a:pt x="2257906" y="2805506"/>
                </a:lnTo>
                <a:lnTo>
                  <a:pt x="2255844" y="2799984"/>
                </a:lnTo>
                <a:lnTo>
                  <a:pt x="2254867" y="2793380"/>
                </a:lnTo>
                <a:lnTo>
                  <a:pt x="2254867" y="2783744"/>
                </a:lnTo>
                <a:lnTo>
                  <a:pt x="2252154" y="2778872"/>
                </a:lnTo>
                <a:lnTo>
                  <a:pt x="2252154" y="2774866"/>
                </a:lnTo>
                <a:lnTo>
                  <a:pt x="2255410" y="2770751"/>
                </a:lnTo>
                <a:lnTo>
                  <a:pt x="2265936" y="2766204"/>
                </a:lnTo>
                <a:lnTo>
                  <a:pt x="2276462" y="2764364"/>
                </a:lnTo>
                <a:lnTo>
                  <a:pt x="2281996" y="2761441"/>
                </a:lnTo>
                <a:lnTo>
                  <a:pt x="2282213" y="2759600"/>
                </a:lnTo>
                <a:lnTo>
                  <a:pt x="2283190" y="2758192"/>
                </a:lnTo>
                <a:lnTo>
                  <a:pt x="2285469" y="2759708"/>
                </a:lnTo>
                <a:lnTo>
                  <a:pt x="2290244" y="2761982"/>
                </a:lnTo>
                <a:lnTo>
                  <a:pt x="2294367" y="2760790"/>
                </a:lnTo>
                <a:lnTo>
                  <a:pt x="2295127" y="2757867"/>
                </a:lnTo>
                <a:lnTo>
                  <a:pt x="2291329" y="2753753"/>
                </a:lnTo>
                <a:lnTo>
                  <a:pt x="2286988" y="2753428"/>
                </a:lnTo>
                <a:lnTo>
                  <a:pt x="2282539" y="2755810"/>
                </a:lnTo>
                <a:lnTo>
                  <a:pt x="2280260" y="2753753"/>
                </a:lnTo>
                <a:lnTo>
                  <a:pt x="2278741" y="2748556"/>
                </a:lnTo>
                <a:lnTo>
                  <a:pt x="2285252" y="2740869"/>
                </a:lnTo>
                <a:lnTo>
                  <a:pt x="2291980" y="2738054"/>
                </a:lnTo>
                <a:lnTo>
                  <a:pt x="2294259" y="2738920"/>
                </a:lnTo>
                <a:lnTo>
                  <a:pt x="2295887" y="2746823"/>
                </a:lnTo>
                <a:lnTo>
                  <a:pt x="2295887" y="2753211"/>
                </a:lnTo>
                <a:lnTo>
                  <a:pt x="2299901" y="2759600"/>
                </a:lnTo>
                <a:lnTo>
                  <a:pt x="2303049" y="2758517"/>
                </a:lnTo>
                <a:lnTo>
                  <a:pt x="2306738" y="2758733"/>
                </a:lnTo>
                <a:lnTo>
                  <a:pt x="2311947" y="2761657"/>
                </a:lnTo>
                <a:lnTo>
                  <a:pt x="2323341" y="2760790"/>
                </a:lnTo>
                <a:lnTo>
                  <a:pt x="2327790" y="2761982"/>
                </a:lnTo>
                <a:lnTo>
                  <a:pt x="2332674" y="2768478"/>
                </a:lnTo>
                <a:lnTo>
                  <a:pt x="2333108" y="2773350"/>
                </a:lnTo>
                <a:lnTo>
                  <a:pt x="2330395" y="2773458"/>
                </a:lnTo>
                <a:lnTo>
                  <a:pt x="2330395" y="2777573"/>
                </a:lnTo>
                <a:lnTo>
                  <a:pt x="2332131" y="2781037"/>
                </a:lnTo>
                <a:lnTo>
                  <a:pt x="2336472" y="2783311"/>
                </a:lnTo>
                <a:lnTo>
                  <a:pt x="2347432" y="2783311"/>
                </a:lnTo>
                <a:lnTo>
                  <a:pt x="2370003" y="2779521"/>
                </a:lnTo>
                <a:lnTo>
                  <a:pt x="2381723" y="2778655"/>
                </a:lnTo>
                <a:lnTo>
                  <a:pt x="2384871" y="2779196"/>
                </a:lnTo>
                <a:lnTo>
                  <a:pt x="2386932" y="2783419"/>
                </a:lnTo>
                <a:lnTo>
                  <a:pt x="2397458" y="2790457"/>
                </a:lnTo>
                <a:lnTo>
                  <a:pt x="2401039" y="2791756"/>
                </a:lnTo>
                <a:lnTo>
                  <a:pt x="2403318" y="2790349"/>
                </a:lnTo>
                <a:lnTo>
                  <a:pt x="2410372" y="2789483"/>
                </a:lnTo>
                <a:lnTo>
                  <a:pt x="2412433" y="2786884"/>
                </a:lnTo>
                <a:lnTo>
                  <a:pt x="2417751" y="2784177"/>
                </a:lnTo>
                <a:lnTo>
                  <a:pt x="2422200" y="2783094"/>
                </a:lnTo>
                <a:lnTo>
                  <a:pt x="2430990" y="2776923"/>
                </a:lnTo>
                <a:lnTo>
                  <a:pt x="2435331" y="2776382"/>
                </a:lnTo>
                <a:lnTo>
                  <a:pt x="2438911" y="2777898"/>
                </a:lnTo>
                <a:lnTo>
                  <a:pt x="2449438" y="2774216"/>
                </a:lnTo>
                <a:lnTo>
                  <a:pt x="2454646" y="2774541"/>
                </a:lnTo>
                <a:lnTo>
                  <a:pt x="2462351" y="2773458"/>
                </a:lnTo>
                <a:lnTo>
                  <a:pt x="2473094" y="2775732"/>
                </a:lnTo>
                <a:lnTo>
                  <a:pt x="2479279" y="2774541"/>
                </a:lnTo>
                <a:lnTo>
                  <a:pt x="2478629" y="2778439"/>
                </a:lnTo>
                <a:lnTo>
                  <a:pt x="2471792" y="2779196"/>
                </a:lnTo>
                <a:lnTo>
                  <a:pt x="2467885" y="2781795"/>
                </a:lnTo>
                <a:lnTo>
                  <a:pt x="2457251" y="2781363"/>
                </a:lnTo>
                <a:lnTo>
                  <a:pt x="2454646" y="2783419"/>
                </a:lnTo>
                <a:lnTo>
                  <a:pt x="2455949" y="2786018"/>
                </a:lnTo>
                <a:lnTo>
                  <a:pt x="2460832" y="2788400"/>
                </a:lnTo>
                <a:lnTo>
                  <a:pt x="2462677" y="2793055"/>
                </a:lnTo>
                <a:lnTo>
                  <a:pt x="2465824" y="2797169"/>
                </a:lnTo>
                <a:lnTo>
                  <a:pt x="2465607" y="2793272"/>
                </a:lnTo>
                <a:lnTo>
                  <a:pt x="2468211" y="2793055"/>
                </a:lnTo>
                <a:lnTo>
                  <a:pt x="2473094" y="2795112"/>
                </a:lnTo>
                <a:lnTo>
                  <a:pt x="2474613" y="2797386"/>
                </a:lnTo>
                <a:lnTo>
                  <a:pt x="2479279" y="2797603"/>
                </a:lnTo>
                <a:lnTo>
                  <a:pt x="2482210" y="2799443"/>
                </a:lnTo>
                <a:lnTo>
                  <a:pt x="2484597" y="2801825"/>
                </a:lnTo>
                <a:lnTo>
                  <a:pt x="2492519" y="2803882"/>
                </a:lnTo>
                <a:lnTo>
                  <a:pt x="2499030" y="2807347"/>
                </a:lnTo>
                <a:lnTo>
                  <a:pt x="2500441" y="2811136"/>
                </a:lnTo>
                <a:lnTo>
                  <a:pt x="2500115" y="2812652"/>
                </a:lnTo>
                <a:lnTo>
                  <a:pt x="2503370" y="2814926"/>
                </a:lnTo>
                <a:lnTo>
                  <a:pt x="2502394" y="2817308"/>
                </a:lnTo>
                <a:lnTo>
                  <a:pt x="2497402" y="2821097"/>
                </a:lnTo>
                <a:lnTo>
                  <a:pt x="2495231" y="2824887"/>
                </a:lnTo>
                <a:lnTo>
                  <a:pt x="2491868" y="2827161"/>
                </a:lnTo>
                <a:lnTo>
                  <a:pt x="2489046" y="2826727"/>
                </a:lnTo>
                <a:lnTo>
                  <a:pt x="2484054" y="2827702"/>
                </a:lnTo>
                <a:lnTo>
                  <a:pt x="2486985" y="2828027"/>
                </a:lnTo>
                <a:lnTo>
                  <a:pt x="2492519" y="2828677"/>
                </a:lnTo>
                <a:lnTo>
                  <a:pt x="2500224" y="2827377"/>
                </a:lnTo>
                <a:lnTo>
                  <a:pt x="2504130" y="2825645"/>
                </a:lnTo>
                <a:lnTo>
                  <a:pt x="2506735" y="2825645"/>
                </a:lnTo>
                <a:lnTo>
                  <a:pt x="2511618" y="2826619"/>
                </a:lnTo>
                <a:lnTo>
                  <a:pt x="2514873" y="2825320"/>
                </a:lnTo>
                <a:lnTo>
                  <a:pt x="2518129" y="2825428"/>
                </a:lnTo>
                <a:lnTo>
                  <a:pt x="2527244" y="2829542"/>
                </a:lnTo>
                <a:lnTo>
                  <a:pt x="2528437" y="2830409"/>
                </a:lnTo>
                <a:lnTo>
                  <a:pt x="2529848" y="2831166"/>
                </a:lnTo>
                <a:lnTo>
                  <a:pt x="2534188" y="2832140"/>
                </a:lnTo>
                <a:lnTo>
                  <a:pt x="2538855" y="2836580"/>
                </a:lnTo>
                <a:lnTo>
                  <a:pt x="2539397" y="2840370"/>
                </a:lnTo>
                <a:lnTo>
                  <a:pt x="2545692" y="2847407"/>
                </a:lnTo>
                <a:lnTo>
                  <a:pt x="2555133" y="2853254"/>
                </a:lnTo>
                <a:lnTo>
                  <a:pt x="2558714" y="2855960"/>
                </a:lnTo>
                <a:lnTo>
                  <a:pt x="2561209" y="2863864"/>
                </a:lnTo>
                <a:lnTo>
                  <a:pt x="2559582" y="2868086"/>
                </a:lnTo>
                <a:lnTo>
                  <a:pt x="2558605" y="2875557"/>
                </a:lnTo>
                <a:lnTo>
                  <a:pt x="2559473" y="2881188"/>
                </a:lnTo>
                <a:lnTo>
                  <a:pt x="2560450" y="2876749"/>
                </a:lnTo>
                <a:lnTo>
                  <a:pt x="2563705" y="2873067"/>
                </a:lnTo>
                <a:lnTo>
                  <a:pt x="2568588" y="2871443"/>
                </a:lnTo>
                <a:lnTo>
                  <a:pt x="2571518" y="2869927"/>
                </a:lnTo>
                <a:lnTo>
                  <a:pt x="2575968" y="2873392"/>
                </a:lnTo>
                <a:lnTo>
                  <a:pt x="2583672" y="2881404"/>
                </a:lnTo>
                <a:lnTo>
                  <a:pt x="2592679" y="2883894"/>
                </a:lnTo>
                <a:lnTo>
                  <a:pt x="2594199" y="2887467"/>
                </a:lnTo>
                <a:lnTo>
                  <a:pt x="2594199" y="2893314"/>
                </a:lnTo>
                <a:lnTo>
                  <a:pt x="2595609" y="2898077"/>
                </a:lnTo>
                <a:lnTo>
                  <a:pt x="2595609" y="2898078"/>
                </a:lnTo>
                <a:lnTo>
                  <a:pt x="2596586" y="2892556"/>
                </a:lnTo>
                <a:lnTo>
                  <a:pt x="2602663" y="2890390"/>
                </a:lnTo>
                <a:lnTo>
                  <a:pt x="2613189" y="2890174"/>
                </a:lnTo>
                <a:lnTo>
                  <a:pt x="2620894" y="2892448"/>
                </a:lnTo>
                <a:lnTo>
                  <a:pt x="2630226" y="2890499"/>
                </a:lnTo>
                <a:lnTo>
                  <a:pt x="2637605" y="2891256"/>
                </a:lnTo>
                <a:lnTo>
                  <a:pt x="2641946" y="2889307"/>
                </a:lnTo>
                <a:lnTo>
                  <a:pt x="2644985" y="2888983"/>
                </a:lnTo>
                <a:lnTo>
                  <a:pt x="2654534" y="2892556"/>
                </a:lnTo>
                <a:lnTo>
                  <a:pt x="2662781" y="2893964"/>
                </a:lnTo>
                <a:lnTo>
                  <a:pt x="2667773" y="2896237"/>
                </a:lnTo>
                <a:lnTo>
                  <a:pt x="2668099" y="2899485"/>
                </a:lnTo>
                <a:lnTo>
                  <a:pt x="2663433" y="2905115"/>
                </a:lnTo>
                <a:lnTo>
                  <a:pt x="2663215" y="2905332"/>
                </a:lnTo>
                <a:lnTo>
                  <a:pt x="2661370" y="2907389"/>
                </a:lnTo>
                <a:lnTo>
                  <a:pt x="2658570" y="2911141"/>
                </a:lnTo>
                <a:lnTo>
                  <a:pt x="2661370" y="2907390"/>
                </a:lnTo>
                <a:lnTo>
                  <a:pt x="2663215" y="2905333"/>
                </a:lnTo>
                <a:lnTo>
                  <a:pt x="2663432" y="2905117"/>
                </a:lnTo>
                <a:lnTo>
                  <a:pt x="2667773" y="2902734"/>
                </a:lnTo>
                <a:lnTo>
                  <a:pt x="2672113" y="2899703"/>
                </a:lnTo>
                <a:lnTo>
                  <a:pt x="2679059" y="2900352"/>
                </a:lnTo>
                <a:lnTo>
                  <a:pt x="2685135" y="2903925"/>
                </a:lnTo>
                <a:lnTo>
                  <a:pt x="2698591" y="2907390"/>
                </a:lnTo>
                <a:lnTo>
                  <a:pt x="2704125" y="2912695"/>
                </a:lnTo>
                <a:lnTo>
                  <a:pt x="2706296" y="2913561"/>
                </a:lnTo>
                <a:lnTo>
                  <a:pt x="2714760" y="2922331"/>
                </a:lnTo>
                <a:lnTo>
                  <a:pt x="2715303" y="2926121"/>
                </a:lnTo>
                <a:lnTo>
                  <a:pt x="2718233" y="2928719"/>
                </a:lnTo>
                <a:lnTo>
                  <a:pt x="2720295" y="2926445"/>
                </a:lnTo>
                <a:lnTo>
                  <a:pt x="2724635" y="2931317"/>
                </a:lnTo>
                <a:lnTo>
                  <a:pt x="2724948" y="2937044"/>
                </a:lnTo>
                <a:lnTo>
                  <a:pt x="2725829" y="2935648"/>
                </a:lnTo>
                <a:lnTo>
                  <a:pt x="2725829" y="2931858"/>
                </a:lnTo>
                <a:lnTo>
                  <a:pt x="2727023" y="2931209"/>
                </a:lnTo>
                <a:lnTo>
                  <a:pt x="2729953" y="2936839"/>
                </a:lnTo>
                <a:lnTo>
                  <a:pt x="2730712" y="2941494"/>
                </a:lnTo>
                <a:lnTo>
                  <a:pt x="2732666" y="2943335"/>
                </a:lnTo>
                <a:lnTo>
                  <a:pt x="2733860" y="2948316"/>
                </a:lnTo>
                <a:lnTo>
                  <a:pt x="2733860" y="2953296"/>
                </a:lnTo>
                <a:lnTo>
                  <a:pt x="2737332" y="2962390"/>
                </a:lnTo>
                <a:lnTo>
                  <a:pt x="2742215" y="2969212"/>
                </a:lnTo>
                <a:lnTo>
                  <a:pt x="2747532" y="2982421"/>
                </a:lnTo>
                <a:lnTo>
                  <a:pt x="2750680" y="2991407"/>
                </a:lnTo>
                <a:lnTo>
                  <a:pt x="2752958" y="2995197"/>
                </a:lnTo>
                <a:lnTo>
                  <a:pt x="2754478" y="2993465"/>
                </a:lnTo>
                <a:lnTo>
                  <a:pt x="2759469" y="2993465"/>
                </a:lnTo>
                <a:lnTo>
                  <a:pt x="2763919" y="2996712"/>
                </a:lnTo>
                <a:lnTo>
                  <a:pt x="2763919" y="3001368"/>
                </a:lnTo>
                <a:lnTo>
                  <a:pt x="2762399" y="3002667"/>
                </a:lnTo>
                <a:lnTo>
                  <a:pt x="2761531" y="3005916"/>
                </a:lnTo>
                <a:lnTo>
                  <a:pt x="2763919" y="3009055"/>
                </a:lnTo>
                <a:lnTo>
                  <a:pt x="2761639" y="3010787"/>
                </a:lnTo>
                <a:lnTo>
                  <a:pt x="2760989" y="3013495"/>
                </a:lnTo>
                <a:lnTo>
                  <a:pt x="2750137" y="3024322"/>
                </a:lnTo>
                <a:lnTo>
                  <a:pt x="2745687" y="3031034"/>
                </a:lnTo>
                <a:lnTo>
                  <a:pt x="2742107" y="3032550"/>
                </a:lnTo>
                <a:lnTo>
                  <a:pt x="2737114" y="3036123"/>
                </a:lnTo>
                <a:lnTo>
                  <a:pt x="2732448" y="3038721"/>
                </a:lnTo>
                <a:lnTo>
                  <a:pt x="2729302" y="3043052"/>
                </a:lnTo>
                <a:lnTo>
                  <a:pt x="2727240" y="3050090"/>
                </a:lnTo>
                <a:lnTo>
                  <a:pt x="2718776" y="3060917"/>
                </a:lnTo>
                <a:lnTo>
                  <a:pt x="2718124" y="3066547"/>
                </a:lnTo>
                <a:lnTo>
                  <a:pt x="2714327" y="3073801"/>
                </a:lnTo>
                <a:lnTo>
                  <a:pt x="2718233" y="3071203"/>
                </a:lnTo>
                <a:lnTo>
                  <a:pt x="2720621" y="3065031"/>
                </a:lnTo>
                <a:lnTo>
                  <a:pt x="2723008" y="3059509"/>
                </a:lnTo>
                <a:lnTo>
                  <a:pt x="2727782" y="3055611"/>
                </a:lnTo>
                <a:lnTo>
                  <a:pt x="2730170" y="3055611"/>
                </a:lnTo>
                <a:lnTo>
                  <a:pt x="2730170" y="3059076"/>
                </a:lnTo>
                <a:lnTo>
                  <a:pt x="2728976" y="3061891"/>
                </a:lnTo>
                <a:lnTo>
                  <a:pt x="2728976" y="3066872"/>
                </a:lnTo>
                <a:lnTo>
                  <a:pt x="2723442" y="3074559"/>
                </a:lnTo>
                <a:lnTo>
                  <a:pt x="2730821" y="3066114"/>
                </a:lnTo>
                <a:lnTo>
                  <a:pt x="2736355" y="3058427"/>
                </a:lnTo>
                <a:lnTo>
                  <a:pt x="2741564" y="3056369"/>
                </a:lnTo>
                <a:lnTo>
                  <a:pt x="2743843" y="3057236"/>
                </a:lnTo>
                <a:lnTo>
                  <a:pt x="2745037" y="3060809"/>
                </a:lnTo>
                <a:lnTo>
                  <a:pt x="2746773" y="3056695"/>
                </a:lnTo>
                <a:lnTo>
                  <a:pt x="2748726" y="3055720"/>
                </a:lnTo>
                <a:lnTo>
                  <a:pt x="2751873" y="3055720"/>
                </a:lnTo>
                <a:lnTo>
                  <a:pt x="2750462" y="3053446"/>
                </a:lnTo>
                <a:lnTo>
                  <a:pt x="2748292" y="3051823"/>
                </a:lnTo>
                <a:lnTo>
                  <a:pt x="2748292" y="3049115"/>
                </a:lnTo>
                <a:lnTo>
                  <a:pt x="2754803" y="3042186"/>
                </a:lnTo>
                <a:lnTo>
                  <a:pt x="2763810" y="3042836"/>
                </a:lnTo>
                <a:lnTo>
                  <a:pt x="2772057" y="3046301"/>
                </a:lnTo>
                <a:lnTo>
                  <a:pt x="2777917" y="3046301"/>
                </a:lnTo>
                <a:lnTo>
                  <a:pt x="2784862" y="3042186"/>
                </a:lnTo>
                <a:lnTo>
                  <a:pt x="2789637" y="3042186"/>
                </a:lnTo>
                <a:lnTo>
                  <a:pt x="2794846" y="3046301"/>
                </a:lnTo>
                <a:lnTo>
                  <a:pt x="2801357" y="3047708"/>
                </a:lnTo>
                <a:lnTo>
                  <a:pt x="2801357" y="3051823"/>
                </a:lnTo>
                <a:lnTo>
                  <a:pt x="2798969" y="3055287"/>
                </a:lnTo>
                <a:lnTo>
                  <a:pt x="2798969" y="3060484"/>
                </a:lnTo>
                <a:lnTo>
                  <a:pt x="2793001" y="3064815"/>
                </a:lnTo>
                <a:lnTo>
                  <a:pt x="2793001" y="3070336"/>
                </a:lnTo>
                <a:lnTo>
                  <a:pt x="2786055" y="3072719"/>
                </a:lnTo>
                <a:lnTo>
                  <a:pt x="2781932" y="3075100"/>
                </a:lnTo>
                <a:lnTo>
                  <a:pt x="2779544" y="3075858"/>
                </a:lnTo>
                <a:lnTo>
                  <a:pt x="2777266" y="3074126"/>
                </a:lnTo>
                <a:lnTo>
                  <a:pt x="2775313" y="3074126"/>
                </a:lnTo>
                <a:lnTo>
                  <a:pt x="2771515" y="3078890"/>
                </a:lnTo>
                <a:lnTo>
                  <a:pt x="2767391" y="3079864"/>
                </a:lnTo>
                <a:lnTo>
                  <a:pt x="2760229" y="3078565"/>
                </a:lnTo>
                <a:lnTo>
                  <a:pt x="2755997" y="3079539"/>
                </a:lnTo>
                <a:lnTo>
                  <a:pt x="2751982" y="3082571"/>
                </a:lnTo>
                <a:lnTo>
                  <a:pt x="2748509" y="3082571"/>
                </a:lnTo>
                <a:lnTo>
                  <a:pt x="2751548" y="3085170"/>
                </a:lnTo>
                <a:lnTo>
                  <a:pt x="2755888" y="3084087"/>
                </a:lnTo>
                <a:lnTo>
                  <a:pt x="2761206" y="3084087"/>
                </a:lnTo>
                <a:lnTo>
                  <a:pt x="2767391" y="3085927"/>
                </a:lnTo>
                <a:lnTo>
                  <a:pt x="2773034" y="3083978"/>
                </a:lnTo>
                <a:lnTo>
                  <a:pt x="2775855" y="3083978"/>
                </a:lnTo>
                <a:lnTo>
                  <a:pt x="2775855" y="3086902"/>
                </a:lnTo>
                <a:lnTo>
                  <a:pt x="2773902" y="3092423"/>
                </a:lnTo>
                <a:lnTo>
                  <a:pt x="2774553" y="3099028"/>
                </a:lnTo>
                <a:lnTo>
                  <a:pt x="2770647" y="3102168"/>
                </a:lnTo>
                <a:lnTo>
                  <a:pt x="2767391" y="3106282"/>
                </a:lnTo>
                <a:lnTo>
                  <a:pt x="2767391" y="3110288"/>
                </a:lnTo>
                <a:lnTo>
                  <a:pt x="2770647" y="3115594"/>
                </a:lnTo>
                <a:lnTo>
                  <a:pt x="2772166" y="3121007"/>
                </a:lnTo>
                <a:lnTo>
                  <a:pt x="2773034" y="3112021"/>
                </a:lnTo>
                <a:lnTo>
                  <a:pt x="2772274" y="3107149"/>
                </a:lnTo>
                <a:lnTo>
                  <a:pt x="2772274" y="3104333"/>
                </a:lnTo>
                <a:lnTo>
                  <a:pt x="2776181" y="3100219"/>
                </a:lnTo>
                <a:lnTo>
                  <a:pt x="2778459" y="3096755"/>
                </a:lnTo>
                <a:lnTo>
                  <a:pt x="2779436" y="3090258"/>
                </a:lnTo>
                <a:lnTo>
                  <a:pt x="2782041" y="3083545"/>
                </a:lnTo>
                <a:lnTo>
                  <a:pt x="2786164" y="3078348"/>
                </a:lnTo>
                <a:lnTo>
                  <a:pt x="2794737" y="3073368"/>
                </a:lnTo>
                <a:lnTo>
                  <a:pt x="2801466" y="3069362"/>
                </a:lnTo>
                <a:lnTo>
                  <a:pt x="2806674" y="3064165"/>
                </a:lnTo>
                <a:lnTo>
                  <a:pt x="2806674" y="3061458"/>
                </a:lnTo>
                <a:lnTo>
                  <a:pt x="2809279" y="3056803"/>
                </a:lnTo>
                <a:lnTo>
                  <a:pt x="2813945" y="3054204"/>
                </a:lnTo>
                <a:lnTo>
                  <a:pt x="2819479" y="3054204"/>
                </a:lnTo>
                <a:lnTo>
                  <a:pt x="2820672" y="3057452"/>
                </a:lnTo>
                <a:lnTo>
                  <a:pt x="2822952" y="3057452"/>
                </a:lnTo>
                <a:lnTo>
                  <a:pt x="2823602" y="3054529"/>
                </a:lnTo>
                <a:lnTo>
                  <a:pt x="2826750" y="3054529"/>
                </a:lnTo>
                <a:lnTo>
                  <a:pt x="2831090" y="3057452"/>
                </a:lnTo>
                <a:lnTo>
                  <a:pt x="2832284" y="3055395"/>
                </a:lnTo>
                <a:lnTo>
                  <a:pt x="2834346" y="3055395"/>
                </a:lnTo>
                <a:lnTo>
                  <a:pt x="2841399" y="3059509"/>
                </a:lnTo>
                <a:lnTo>
                  <a:pt x="2846717" y="3061025"/>
                </a:lnTo>
                <a:lnTo>
                  <a:pt x="2849647" y="3059834"/>
                </a:lnTo>
                <a:lnTo>
                  <a:pt x="2851383" y="3063299"/>
                </a:lnTo>
                <a:lnTo>
                  <a:pt x="2853987" y="3064815"/>
                </a:lnTo>
                <a:lnTo>
                  <a:pt x="2853987" y="3066872"/>
                </a:lnTo>
                <a:lnTo>
                  <a:pt x="2855832" y="3064489"/>
                </a:lnTo>
                <a:lnTo>
                  <a:pt x="2859088" y="3065681"/>
                </a:lnTo>
                <a:lnTo>
                  <a:pt x="2860932" y="3068063"/>
                </a:lnTo>
                <a:lnTo>
                  <a:pt x="2864730" y="3068063"/>
                </a:lnTo>
                <a:lnTo>
                  <a:pt x="2867443" y="3070228"/>
                </a:lnTo>
                <a:lnTo>
                  <a:pt x="2868420" y="3073693"/>
                </a:lnTo>
                <a:lnTo>
                  <a:pt x="2870698" y="3075100"/>
                </a:lnTo>
                <a:lnTo>
                  <a:pt x="2872218" y="3078673"/>
                </a:lnTo>
                <a:lnTo>
                  <a:pt x="2875256" y="3077158"/>
                </a:lnTo>
                <a:lnTo>
                  <a:pt x="2878404" y="3073152"/>
                </a:lnTo>
                <a:lnTo>
                  <a:pt x="2883720" y="3074017"/>
                </a:lnTo>
                <a:lnTo>
                  <a:pt x="2887302" y="3074017"/>
                </a:lnTo>
                <a:lnTo>
                  <a:pt x="2891100" y="3079972"/>
                </a:lnTo>
                <a:lnTo>
                  <a:pt x="2897611" y="3087010"/>
                </a:lnTo>
                <a:lnTo>
                  <a:pt x="2892619" y="3092640"/>
                </a:lnTo>
                <a:lnTo>
                  <a:pt x="2896418" y="3092640"/>
                </a:lnTo>
                <a:lnTo>
                  <a:pt x="2898154" y="3094156"/>
                </a:lnTo>
                <a:lnTo>
                  <a:pt x="2896091" y="3096105"/>
                </a:lnTo>
                <a:lnTo>
                  <a:pt x="2893705" y="3103792"/>
                </a:lnTo>
                <a:lnTo>
                  <a:pt x="2894573" y="3109097"/>
                </a:lnTo>
                <a:lnTo>
                  <a:pt x="2893053" y="3115160"/>
                </a:lnTo>
                <a:lnTo>
                  <a:pt x="2894464" y="3121115"/>
                </a:lnTo>
                <a:lnTo>
                  <a:pt x="2894464" y="3114727"/>
                </a:lnTo>
                <a:lnTo>
                  <a:pt x="2898371" y="3107149"/>
                </a:lnTo>
                <a:lnTo>
                  <a:pt x="2898371" y="3102709"/>
                </a:lnTo>
                <a:lnTo>
                  <a:pt x="2900758" y="3101735"/>
                </a:lnTo>
                <a:lnTo>
                  <a:pt x="2902169" y="3105308"/>
                </a:lnTo>
                <a:lnTo>
                  <a:pt x="2904556" y="3109422"/>
                </a:lnTo>
                <a:lnTo>
                  <a:pt x="2905207" y="3103792"/>
                </a:lnTo>
                <a:lnTo>
                  <a:pt x="2906835" y="3101410"/>
                </a:lnTo>
                <a:lnTo>
                  <a:pt x="2911393" y="3099244"/>
                </a:lnTo>
                <a:lnTo>
                  <a:pt x="2912152" y="3097296"/>
                </a:lnTo>
                <a:lnTo>
                  <a:pt x="2913346" y="3096646"/>
                </a:lnTo>
                <a:lnTo>
                  <a:pt x="2916059" y="3098162"/>
                </a:lnTo>
                <a:lnTo>
                  <a:pt x="2917144" y="3096862"/>
                </a:lnTo>
                <a:lnTo>
                  <a:pt x="2916059" y="3094156"/>
                </a:lnTo>
                <a:lnTo>
                  <a:pt x="2916059" y="3092749"/>
                </a:lnTo>
                <a:lnTo>
                  <a:pt x="2921050" y="3092749"/>
                </a:lnTo>
                <a:lnTo>
                  <a:pt x="2934181" y="3098920"/>
                </a:lnTo>
                <a:lnTo>
                  <a:pt x="2940149" y="3100003"/>
                </a:lnTo>
                <a:lnTo>
                  <a:pt x="2942429" y="3100003"/>
                </a:lnTo>
                <a:lnTo>
                  <a:pt x="2949482" y="3102709"/>
                </a:lnTo>
                <a:lnTo>
                  <a:pt x="2950893" y="3101735"/>
                </a:lnTo>
                <a:lnTo>
                  <a:pt x="2950025" y="3099353"/>
                </a:lnTo>
                <a:lnTo>
                  <a:pt x="2952846" y="3100111"/>
                </a:lnTo>
                <a:lnTo>
                  <a:pt x="2953497" y="3102493"/>
                </a:lnTo>
                <a:lnTo>
                  <a:pt x="2957295" y="3105633"/>
                </a:lnTo>
                <a:lnTo>
                  <a:pt x="2957295" y="3103251"/>
                </a:lnTo>
                <a:lnTo>
                  <a:pt x="2958381" y="3100111"/>
                </a:lnTo>
                <a:lnTo>
                  <a:pt x="2961093" y="3102493"/>
                </a:lnTo>
                <a:lnTo>
                  <a:pt x="2962179" y="3100435"/>
                </a:lnTo>
                <a:lnTo>
                  <a:pt x="2968690" y="3105308"/>
                </a:lnTo>
                <a:lnTo>
                  <a:pt x="2971402" y="3108015"/>
                </a:lnTo>
                <a:lnTo>
                  <a:pt x="2973464" y="3104875"/>
                </a:lnTo>
                <a:lnTo>
                  <a:pt x="2977913" y="3102817"/>
                </a:lnTo>
                <a:lnTo>
                  <a:pt x="2982037" y="3104875"/>
                </a:lnTo>
                <a:lnTo>
                  <a:pt x="2988982" y="3104875"/>
                </a:lnTo>
                <a:lnTo>
                  <a:pt x="2993431" y="3102493"/>
                </a:lnTo>
                <a:lnTo>
                  <a:pt x="3000702" y="3105633"/>
                </a:lnTo>
                <a:lnTo>
                  <a:pt x="3007213" y="3105633"/>
                </a:lnTo>
                <a:lnTo>
                  <a:pt x="3021754" y="3116460"/>
                </a:lnTo>
                <a:lnTo>
                  <a:pt x="3026963" y="3116460"/>
                </a:lnTo>
                <a:lnTo>
                  <a:pt x="3032822" y="3121982"/>
                </a:lnTo>
                <a:lnTo>
                  <a:pt x="3036946" y="3123064"/>
                </a:lnTo>
                <a:lnTo>
                  <a:pt x="3045519" y="3135082"/>
                </a:lnTo>
                <a:lnTo>
                  <a:pt x="3056371" y="3146451"/>
                </a:lnTo>
                <a:lnTo>
                  <a:pt x="3061254" y="3147100"/>
                </a:lnTo>
                <a:lnTo>
                  <a:pt x="3068199" y="3150565"/>
                </a:lnTo>
                <a:lnTo>
                  <a:pt x="3073408" y="3156412"/>
                </a:lnTo>
                <a:lnTo>
                  <a:pt x="3078617" y="3157386"/>
                </a:lnTo>
                <a:lnTo>
                  <a:pt x="3083066" y="3163557"/>
                </a:lnTo>
                <a:lnTo>
                  <a:pt x="3089576" y="3160742"/>
                </a:lnTo>
                <a:lnTo>
                  <a:pt x="3098583" y="3160742"/>
                </a:lnTo>
                <a:lnTo>
                  <a:pt x="3114101" y="3167671"/>
                </a:lnTo>
                <a:lnTo>
                  <a:pt x="3115512" y="3175251"/>
                </a:lnTo>
                <a:lnTo>
                  <a:pt x="3115512" y="3181422"/>
                </a:lnTo>
                <a:lnTo>
                  <a:pt x="3123760" y="3199720"/>
                </a:lnTo>
                <a:lnTo>
                  <a:pt x="3124845" y="3205566"/>
                </a:lnTo>
                <a:lnTo>
                  <a:pt x="3127558" y="3207299"/>
                </a:lnTo>
                <a:lnTo>
                  <a:pt x="3128317" y="3219100"/>
                </a:lnTo>
                <a:lnTo>
                  <a:pt x="3125713" y="3221373"/>
                </a:lnTo>
                <a:lnTo>
                  <a:pt x="3124519" y="3226138"/>
                </a:lnTo>
                <a:lnTo>
                  <a:pt x="3127666" y="3230793"/>
                </a:lnTo>
                <a:lnTo>
                  <a:pt x="3127666" y="3234908"/>
                </a:lnTo>
                <a:lnTo>
                  <a:pt x="3124736" y="3239022"/>
                </a:lnTo>
                <a:lnTo>
                  <a:pt x="3123217" y="3244652"/>
                </a:lnTo>
                <a:lnTo>
                  <a:pt x="3117357" y="3257537"/>
                </a:lnTo>
                <a:lnTo>
                  <a:pt x="3114969" y="3261001"/>
                </a:lnTo>
                <a:lnTo>
                  <a:pt x="3105528" y="3273777"/>
                </a:lnTo>
                <a:lnTo>
                  <a:pt x="3094677" y="3283413"/>
                </a:lnTo>
                <a:lnTo>
                  <a:pt x="3091964" y="3287852"/>
                </a:lnTo>
                <a:lnTo>
                  <a:pt x="3087841" y="3289801"/>
                </a:lnTo>
                <a:lnTo>
                  <a:pt x="3086322" y="3293915"/>
                </a:lnTo>
                <a:lnTo>
                  <a:pt x="3073733" y="3302469"/>
                </a:lnTo>
                <a:lnTo>
                  <a:pt x="3070261" y="3309506"/>
                </a:lnTo>
                <a:lnTo>
                  <a:pt x="3067223" y="3316761"/>
                </a:lnTo>
                <a:lnTo>
                  <a:pt x="3064075" y="3319467"/>
                </a:lnTo>
                <a:lnTo>
                  <a:pt x="3062882" y="3324989"/>
                </a:lnTo>
                <a:lnTo>
                  <a:pt x="3059300" y="3334084"/>
                </a:lnTo>
                <a:lnTo>
                  <a:pt x="3051162" y="3346426"/>
                </a:lnTo>
                <a:lnTo>
                  <a:pt x="3044760" y="3349675"/>
                </a:lnTo>
                <a:lnTo>
                  <a:pt x="3040094" y="3354005"/>
                </a:lnTo>
                <a:lnTo>
                  <a:pt x="3037706" y="3354005"/>
                </a:lnTo>
                <a:lnTo>
                  <a:pt x="3038574" y="3351082"/>
                </a:lnTo>
                <a:lnTo>
                  <a:pt x="3042047" y="3348483"/>
                </a:lnTo>
                <a:lnTo>
                  <a:pt x="3044651" y="3344910"/>
                </a:lnTo>
                <a:lnTo>
                  <a:pt x="3042264" y="3343720"/>
                </a:lnTo>
                <a:lnTo>
                  <a:pt x="3040853" y="3340797"/>
                </a:lnTo>
                <a:lnTo>
                  <a:pt x="3037597" y="3340797"/>
                </a:lnTo>
                <a:lnTo>
                  <a:pt x="3036187" y="3345993"/>
                </a:lnTo>
                <a:lnTo>
                  <a:pt x="3032714" y="3344803"/>
                </a:lnTo>
                <a:lnTo>
                  <a:pt x="3028916" y="3342529"/>
                </a:lnTo>
                <a:lnTo>
                  <a:pt x="3027722" y="3339930"/>
                </a:lnTo>
                <a:lnTo>
                  <a:pt x="3026854" y="3341987"/>
                </a:lnTo>
                <a:lnTo>
                  <a:pt x="3025010" y="3343503"/>
                </a:lnTo>
                <a:lnTo>
                  <a:pt x="3031412" y="3346426"/>
                </a:lnTo>
                <a:lnTo>
                  <a:pt x="3034667" y="3351732"/>
                </a:lnTo>
                <a:lnTo>
                  <a:pt x="3034016" y="3357362"/>
                </a:lnTo>
                <a:lnTo>
                  <a:pt x="3030869" y="3358228"/>
                </a:lnTo>
                <a:lnTo>
                  <a:pt x="3030001" y="3361801"/>
                </a:lnTo>
                <a:lnTo>
                  <a:pt x="3030869" y="3367106"/>
                </a:lnTo>
                <a:lnTo>
                  <a:pt x="3027396" y="3372411"/>
                </a:lnTo>
                <a:lnTo>
                  <a:pt x="3027396" y="3375118"/>
                </a:lnTo>
                <a:lnTo>
                  <a:pt x="3031195" y="3377825"/>
                </a:lnTo>
                <a:lnTo>
                  <a:pt x="3033256" y="3375552"/>
                </a:lnTo>
                <a:lnTo>
                  <a:pt x="3033256" y="3379882"/>
                </a:lnTo>
                <a:lnTo>
                  <a:pt x="3031303" y="3384430"/>
                </a:lnTo>
                <a:lnTo>
                  <a:pt x="3031303" y="3390384"/>
                </a:lnTo>
                <a:lnTo>
                  <a:pt x="3033691" y="3422866"/>
                </a:lnTo>
                <a:lnTo>
                  <a:pt x="3031629" y="3431852"/>
                </a:lnTo>
                <a:lnTo>
                  <a:pt x="3031629" y="3435317"/>
                </a:lnTo>
                <a:lnTo>
                  <a:pt x="3030218" y="3441488"/>
                </a:lnTo>
                <a:lnTo>
                  <a:pt x="3031303" y="3449717"/>
                </a:lnTo>
                <a:lnTo>
                  <a:pt x="3027505" y="3460544"/>
                </a:lnTo>
                <a:lnTo>
                  <a:pt x="3029350" y="3469421"/>
                </a:lnTo>
                <a:lnTo>
                  <a:pt x="3028373" y="3472129"/>
                </a:lnTo>
                <a:lnTo>
                  <a:pt x="3021320" y="3477759"/>
                </a:lnTo>
                <a:lnTo>
                  <a:pt x="3021320" y="3480898"/>
                </a:lnTo>
                <a:lnTo>
                  <a:pt x="3018932" y="3484471"/>
                </a:lnTo>
                <a:lnTo>
                  <a:pt x="3016002" y="3493566"/>
                </a:lnTo>
                <a:lnTo>
                  <a:pt x="3017088" y="3495839"/>
                </a:lnTo>
                <a:lnTo>
                  <a:pt x="3018932" y="3510998"/>
                </a:lnTo>
                <a:lnTo>
                  <a:pt x="3018932" y="3515761"/>
                </a:lnTo>
                <a:lnTo>
                  <a:pt x="3009817" y="3526589"/>
                </a:lnTo>
                <a:lnTo>
                  <a:pt x="3003089" y="3537416"/>
                </a:lnTo>
                <a:lnTo>
                  <a:pt x="3004283" y="3538065"/>
                </a:lnTo>
                <a:lnTo>
                  <a:pt x="3003415" y="3542830"/>
                </a:lnTo>
                <a:lnTo>
                  <a:pt x="2999399" y="3545644"/>
                </a:lnTo>
                <a:lnTo>
                  <a:pt x="2997121" y="3547485"/>
                </a:lnTo>
                <a:lnTo>
                  <a:pt x="2997121" y="3552140"/>
                </a:lnTo>
                <a:lnTo>
                  <a:pt x="2993756" y="3556255"/>
                </a:lnTo>
                <a:lnTo>
                  <a:pt x="2990826" y="3562426"/>
                </a:lnTo>
                <a:lnTo>
                  <a:pt x="2994842" y="3571521"/>
                </a:lnTo>
                <a:lnTo>
                  <a:pt x="2996144" y="3573362"/>
                </a:lnTo>
                <a:lnTo>
                  <a:pt x="2994733" y="3576285"/>
                </a:lnTo>
                <a:lnTo>
                  <a:pt x="2990067" y="3579100"/>
                </a:lnTo>
                <a:lnTo>
                  <a:pt x="2981060" y="3582348"/>
                </a:lnTo>
                <a:lnTo>
                  <a:pt x="2970208" y="3589711"/>
                </a:lnTo>
                <a:lnTo>
                  <a:pt x="2969558" y="3592093"/>
                </a:lnTo>
                <a:lnTo>
                  <a:pt x="2970751" y="3593283"/>
                </a:lnTo>
                <a:lnTo>
                  <a:pt x="2970751" y="3595666"/>
                </a:lnTo>
                <a:lnTo>
                  <a:pt x="2965977" y="3598913"/>
                </a:lnTo>
                <a:lnTo>
                  <a:pt x="2958054" y="3598047"/>
                </a:lnTo>
                <a:lnTo>
                  <a:pt x="2951543" y="3598047"/>
                </a:lnTo>
                <a:lnTo>
                  <a:pt x="2947637" y="3600213"/>
                </a:lnTo>
                <a:lnTo>
                  <a:pt x="2940692" y="3599239"/>
                </a:lnTo>
                <a:cubicBezTo>
                  <a:pt x="2940041" y="3599130"/>
                  <a:pt x="2940041" y="3595124"/>
                  <a:pt x="2940041" y="3595124"/>
                </a:cubicBezTo>
                <a:lnTo>
                  <a:pt x="2941017" y="3592417"/>
                </a:lnTo>
                <a:lnTo>
                  <a:pt x="2938304" y="3592417"/>
                </a:lnTo>
                <a:lnTo>
                  <a:pt x="2935375" y="3594907"/>
                </a:lnTo>
                <a:lnTo>
                  <a:pt x="2936351" y="3596748"/>
                </a:lnTo>
                <a:lnTo>
                  <a:pt x="2925500" y="3601187"/>
                </a:lnTo>
                <a:lnTo>
                  <a:pt x="2916276" y="3604652"/>
                </a:lnTo>
                <a:lnTo>
                  <a:pt x="2914323" y="3603136"/>
                </a:lnTo>
                <a:lnTo>
                  <a:pt x="2915516" y="3601729"/>
                </a:lnTo>
                <a:lnTo>
                  <a:pt x="2921593" y="3600538"/>
                </a:lnTo>
                <a:lnTo>
                  <a:pt x="2927345" y="3597289"/>
                </a:lnTo>
                <a:lnTo>
                  <a:pt x="2927345" y="3595340"/>
                </a:lnTo>
                <a:lnTo>
                  <a:pt x="2923329" y="3595340"/>
                </a:lnTo>
                <a:lnTo>
                  <a:pt x="2920399" y="3597614"/>
                </a:lnTo>
                <a:lnTo>
                  <a:pt x="2916384" y="3597614"/>
                </a:lnTo>
                <a:lnTo>
                  <a:pt x="2912803" y="3596640"/>
                </a:lnTo>
                <a:lnTo>
                  <a:pt x="2906618" y="3600429"/>
                </a:lnTo>
                <a:lnTo>
                  <a:pt x="2903037" y="3601296"/>
                </a:lnTo>
                <a:lnTo>
                  <a:pt x="2904556" y="3604218"/>
                </a:lnTo>
                <a:lnTo>
                  <a:pt x="2907812" y="3604869"/>
                </a:lnTo>
                <a:lnTo>
                  <a:pt x="2910199" y="3606384"/>
                </a:lnTo>
                <a:lnTo>
                  <a:pt x="2910199" y="3608225"/>
                </a:lnTo>
                <a:lnTo>
                  <a:pt x="2906292" y="3609416"/>
                </a:lnTo>
                <a:lnTo>
                  <a:pt x="2896091" y="3615803"/>
                </a:lnTo>
                <a:lnTo>
                  <a:pt x="2892511" y="3622192"/>
                </a:lnTo>
                <a:lnTo>
                  <a:pt x="2892511" y="3625657"/>
                </a:lnTo>
                <a:lnTo>
                  <a:pt x="2888930" y="3624790"/>
                </a:lnTo>
                <a:lnTo>
                  <a:pt x="2885782" y="3622192"/>
                </a:lnTo>
                <a:lnTo>
                  <a:pt x="2879706" y="3622192"/>
                </a:lnTo>
                <a:lnTo>
                  <a:pt x="2874497" y="3626306"/>
                </a:lnTo>
                <a:lnTo>
                  <a:pt x="2869831" y="3630745"/>
                </a:lnTo>
                <a:lnTo>
                  <a:pt x="2861257" y="3631828"/>
                </a:lnTo>
                <a:lnTo>
                  <a:pt x="2851491" y="3642655"/>
                </a:lnTo>
                <a:lnTo>
                  <a:pt x="2844112" y="3647419"/>
                </a:lnTo>
                <a:lnTo>
                  <a:pt x="2837710" y="3652940"/>
                </a:lnTo>
                <a:lnTo>
                  <a:pt x="2837710" y="3655322"/>
                </a:lnTo>
                <a:lnTo>
                  <a:pt x="2833261" y="3658246"/>
                </a:lnTo>
                <a:lnTo>
                  <a:pt x="2825664" y="3665283"/>
                </a:lnTo>
                <a:lnTo>
                  <a:pt x="2823277" y="3663443"/>
                </a:lnTo>
                <a:lnTo>
                  <a:pt x="2820130" y="3667882"/>
                </a:lnTo>
                <a:lnTo>
                  <a:pt x="2815355" y="3669289"/>
                </a:lnTo>
                <a:lnTo>
                  <a:pt x="2821215" y="3671888"/>
                </a:lnTo>
                <a:lnTo>
                  <a:pt x="2821215" y="3676544"/>
                </a:lnTo>
                <a:lnTo>
                  <a:pt x="2815573" y="3677952"/>
                </a:lnTo>
                <a:lnTo>
                  <a:pt x="2818502" y="3679683"/>
                </a:lnTo>
                <a:lnTo>
                  <a:pt x="2820021" y="3683689"/>
                </a:lnTo>
                <a:lnTo>
                  <a:pt x="2813945" y="3684880"/>
                </a:lnTo>
                <a:lnTo>
                  <a:pt x="2812100" y="3686613"/>
                </a:lnTo>
                <a:lnTo>
                  <a:pt x="2814487" y="3693867"/>
                </a:lnTo>
                <a:lnTo>
                  <a:pt x="2816006" y="3700688"/>
                </a:lnTo>
                <a:lnTo>
                  <a:pt x="2816874" y="3703828"/>
                </a:lnTo>
                <a:lnTo>
                  <a:pt x="2816006" y="3706751"/>
                </a:lnTo>
                <a:lnTo>
                  <a:pt x="2816006" y="3709675"/>
                </a:lnTo>
                <a:lnTo>
                  <a:pt x="2820672" y="3716171"/>
                </a:lnTo>
                <a:lnTo>
                  <a:pt x="2820672" y="3720934"/>
                </a:lnTo>
                <a:lnTo>
                  <a:pt x="2821758" y="3722558"/>
                </a:lnTo>
                <a:lnTo>
                  <a:pt x="2822843" y="3723966"/>
                </a:lnTo>
                <a:lnTo>
                  <a:pt x="2821758" y="3727106"/>
                </a:lnTo>
                <a:lnTo>
                  <a:pt x="2822843" y="3731436"/>
                </a:lnTo>
                <a:lnTo>
                  <a:pt x="2819696" y="3733278"/>
                </a:lnTo>
                <a:lnTo>
                  <a:pt x="2817959" y="3738583"/>
                </a:lnTo>
                <a:lnTo>
                  <a:pt x="2815681" y="3739232"/>
                </a:lnTo>
                <a:lnTo>
                  <a:pt x="2815681" y="3742480"/>
                </a:lnTo>
                <a:lnTo>
                  <a:pt x="2816766" y="3743779"/>
                </a:lnTo>
                <a:lnTo>
                  <a:pt x="2815030" y="3747569"/>
                </a:lnTo>
                <a:lnTo>
                  <a:pt x="2804178" y="3760237"/>
                </a:lnTo>
                <a:lnTo>
                  <a:pt x="2793327" y="3780916"/>
                </a:lnTo>
                <a:lnTo>
                  <a:pt x="2788986" y="3793259"/>
                </a:lnTo>
                <a:lnTo>
                  <a:pt x="2784645" y="3802896"/>
                </a:lnTo>
                <a:lnTo>
                  <a:pt x="2773793" y="3821951"/>
                </a:lnTo>
                <a:lnTo>
                  <a:pt x="2766089" y="3830721"/>
                </a:lnTo>
                <a:lnTo>
                  <a:pt x="2750897" y="3842522"/>
                </a:lnTo>
                <a:lnTo>
                  <a:pt x="2746231" y="3841115"/>
                </a:lnTo>
                <a:lnTo>
                  <a:pt x="2746231" y="3838516"/>
                </a:lnTo>
                <a:lnTo>
                  <a:pt x="2748184" y="3836676"/>
                </a:lnTo>
                <a:lnTo>
                  <a:pt x="2752090" y="3836026"/>
                </a:lnTo>
                <a:lnTo>
                  <a:pt x="2752090" y="3833428"/>
                </a:lnTo>
                <a:lnTo>
                  <a:pt x="2755671" y="3830288"/>
                </a:lnTo>
                <a:lnTo>
                  <a:pt x="2760663" y="3827581"/>
                </a:lnTo>
                <a:lnTo>
                  <a:pt x="2762182" y="3827581"/>
                </a:lnTo>
                <a:lnTo>
                  <a:pt x="2763919" y="3824333"/>
                </a:lnTo>
                <a:lnTo>
                  <a:pt x="2764569" y="3818270"/>
                </a:lnTo>
                <a:lnTo>
                  <a:pt x="2769562" y="3818270"/>
                </a:lnTo>
                <a:lnTo>
                  <a:pt x="2775096" y="3808742"/>
                </a:lnTo>
                <a:lnTo>
                  <a:pt x="2777375" y="3800513"/>
                </a:lnTo>
                <a:lnTo>
                  <a:pt x="2779219" y="3800513"/>
                </a:lnTo>
                <a:lnTo>
                  <a:pt x="2779219" y="3796399"/>
                </a:lnTo>
                <a:lnTo>
                  <a:pt x="2777700" y="3794884"/>
                </a:lnTo>
                <a:lnTo>
                  <a:pt x="2775313" y="3796291"/>
                </a:lnTo>
                <a:lnTo>
                  <a:pt x="2773034" y="3796291"/>
                </a:lnTo>
                <a:lnTo>
                  <a:pt x="2767391" y="3790120"/>
                </a:lnTo>
                <a:lnTo>
                  <a:pt x="2764678" y="3784489"/>
                </a:lnTo>
                <a:lnTo>
                  <a:pt x="2762291" y="3783840"/>
                </a:lnTo>
                <a:lnTo>
                  <a:pt x="2764352" y="3785680"/>
                </a:lnTo>
                <a:lnTo>
                  <a:pt x="2764352" y="3792935"/>
                </a:lnTo>
                <a:lnTo>
                  <a:pt x="2766957" y="3795641"/>
                </a:lnTo>
                <a:lnTo>
                  <a:pt x="2768150" y="3799105"/>
                </a:lnTo>
                <a:lnTo>
                  <a:pt x="2766414" y="3803761"/>
                </a:lnTo>
                <a:lnTo>
                  <a:pt x="2762616" y="3803761"/>
                </a:lnTo>
                <a:lnTo>
                  <a:pt x="2760880" y="3806035"/>
                </a:lnTo>
                <a:lnTo>
                  <a:pt x="2760880" y="3811557"/>
                </a:lnTo>
                <a:lnTo>
                  <a:pt x="2759361" y="3813181"/>
                </a:lnTo>
                <a:lnTo>
                  <a:pt x="2759361" y="3817945"/>
                </a:lnTo>
                <a:lnTo>
                  <a:pt x="2755346" y="3822600"/>
                </a:lnTo>
                <a:lnTo>
                  <a:pt x="2752090" y="3822600"/>
                </a:lnTo>
                <a:lnTo>
                  <a:pt x="2749703" y="3820652"/>
                </a:lnTo>
                <a:lnTo>
                  <a:pt x="2749703" y="3824116"/>
                </a:lnTo>
                <a:lnTo>
                  <a:pt x="2745687" y="3828555"/>
                </a:lnTo>
                <a:lnTo>
                  <a:pt x="2745687" y="3831587"/>
                </a:lnTo>
                <a:lnTo>
                  <a:pt x="2742215" y="3833320"/>
                </a:lnTo>
                <a:lnTo>
                  <a:pt x="2740479" y="3838083"/>
                </a:lnTo>
                <a:lnTo>
                  <a:pt x="2743951" y="3843714"/>
                </a:lnTo>
                <a:lnTo>
                  <a:pt x="2746013" y="3846312"/>
                </a:lnTo>
                <a:lnTo>
                  <a:pt x="2744494" y="3848585"/>
                </a:lnTo>
                <a:lnTo>
                  <a:pt x="2740913" y="3859412"/>
                </a:lnTo>
                <a:lnTo>
                  <a:pt x="2736898" y="3876087"/>
                </a:lnTo>
                <a:lnTo>
                  <a:pt x="2733860" y="3883340"/>
                </a:lnTo>
                <a:lnTo>
                  <a:pt x="2725178" y="3890486"/>
                </a:lnTo>
                <a:lnTo>
                  <a:pt x="2723876" y="3889403"/>
                </a:lnTo>
                <a:lnTo>
                  <a:pt x="2721054" y="3885722"/>
                </a:lnTo>
                <a:lnTo>
                  <a:pt x="2720403" y="3884531"/>
                </a:lnTo>
                <a:lnTo>
                  <a:pt x="2719535" y="3882799"/>
                </a:lnTo>
                <a:lnTo>
                  <a:pt x="2717256" y="3875545"/>
                </a:lnTo>
                <a:lnTo>
                  <a:pt x="2721706" y="3869374"/>
                </a:lnTo>
                <a:lnTo>
                  <a:pt x="2722672" y="3862727"/>
                </a:lnTo>
                <a:lnTo>
                  <a:pt x="2721598" y="3869373"/>
                </a:lnTo>
                <a:lnTo>
                  <a:pt x="2717148" y="3875546"/>
                </a:lnTo>
                <a:lnTo>
                  <a:pt x="2719427" y="3882799"/>
                </a:lnTo>
                <a:lnTo>
                  <a:pt x="2720295" y="3884532"/>
                </a:lnTo>
                <a:lnTo>
                  <a:pt x="2720946" y="3885723"/>
                </a:lnTo>
                <a:lnTo>
                  <a:pt x="2723659" y="3889512"/>
                </a:lnTo>
                <a:lnTo>
                  <a:pt x="2725070" y="3890595"/>
                </a:lnTo>
                <a:lnTo>
                  <a:pt x="2723008" y="3892218"/>
                </a:lnTo>
                <a:lnTo>
                  <a:pt x="2719210" y="3896658"/>
                </a:lnTo>
                <a:lnTo>
                  <a:pt x="2719210" y="3903371"/>
                </a:lnTo>
                <a:lnTo>
                  <a:pt x="2714652" y="3907701"/>
                </a:lnTo>
                <a:lnTo>
                  <a:pt x="2712265" y="3911383"/>
                </a:lnTo>
                <a:lnTo>
                  <a:pt x="2713134" y="3912140"/>
                </a:lnTo>
                <a:lnTo>
                  <a:pt x="2711614" y="3914631"/>
                </a:lnTo>
                <a:lnTo>
                  <a:pt x="2705863" y="3921344"/>
                </a:lnTo>
                <a:lnTo>
                  <a:pt x="2696965" y="3924592"/>
                </a:lnTo>
                <a:lnTo>
                  <a:pt x="2694902" y="3922860"/>
                </a:lnTo>
                <a:lnTo>
                  <a:pt x="2693709" y="3923726"/>
                </a:lnTo>
                <a:lnTo>
                  <a:pt x="2693166" y="3926540"/>
                </a:lnTo>
                <a:lnTo>
                  <a:pt x="2690779" y="3928273"/>
                </a:lnTo>
                <a:lnTo>
                  <a:pt x="2687306" y="3927948"/>
                </a:lnTo>
                <a:lnTo>
                  <a:pt x="2683725" y="3926540"/>
                </a:lnTo>
                <a:lnTo>
                  <a:pt x="2681230" y="3927082"/>
                </a:lnTo>
                <a:lnTo>
                  <a:pt x="2678191" y="3925350"/>
                </a:lnTo>
                <a:lnTo>
                  <a:pt x="2673525" y="3923617"/>
                </a:lnTo>
                <a:lnTo>
                  <a:pt x="2666796" y="3924809"/>
                </a:lnTo>
                <a:lnTo>
                  <a:pt x="2661588" y="3928056"/>
                </a:lnTo>
                <a:lnTo>
                  <a:pt x="2656705" y="3927840"/>
                </a:lnTo>
                <a:lnTo>
                  <a:pt x="2656813" y="3925350"/>
                </a:lnTo>
                <a:lnTo>
                  <a:pt x="2657464" y="3923509"/>
                </a:lnTo>
                <a:lnTo>
                  <a:pt x="2656270" y="3922318"/>
                </a:lnTo>
                <a:lnTo>
                  <a:pt x="2652581" y="3922101"/>
                </a:lnTo>
                <a:lnTo>
                  <a:pt x="2648891" y="3921452"/>
                </a:lnTo>
                <a:lnTo>
                  <a:pt x="2643248" y="3917554"/>
                </a:lnTo>
                <a:lnTo>
                  <a:pt x="2637063" y="3917121"/>
                </a:lnTo>
                <a:lnTo>
                  <a:pt x="2626537" y="3918095"/>
                </a:lnTo>
                <a:lnTo>
                  <a:pt x="2622956" y="3917229"/>
                </a:lnTo>
                <a:lnTo>
                  <a:pt x="2616336" y="3910625"/>
                </a:lnTo>
                <a:lnTo>
                  <a:pt x="2613949" y="3910084"/>
                </a:lnTo>
                <a:lnTo>
                  <a:pt x="2606895" y="3900339"/>
                </a:lnTo>
                <a:lnTo>
                  <a:pt x="2603640" y="3891894"/>
                </a:lnTo>
                <a:lnTo>
                  <a:pt x="2603423" y="3881283"/>
                </a:lnTo>
                <a:lnTo>
                  <a:pt x="2603531" y="3880850"/>
                </a:lnTo>
                <a:lnTo>
                  <a:pt x="2604400" y="3879226"/>
                </a:lnTo>
                <a:lnTo>
                  <a:pt x="2607981" y="3875978"/>
                </a:lnTo>
                <a:lnTo>
                  <a:pt x="2609499" y="3872514"/>
                </a:lnTo>
                <a:lnTo>
                  <a:pt x="2609499" y="3872513"/>
                </a:lnTo>
                <a:lnTo>
                  <a:pt x="2607981" y="3875977"/>
                </a:lnTo>
                <a:lnTo>
                  <a:pt x="2604399" y="3879226"/>
                </a:lnTo>
                <a:lnTo>
                  <a:pt x="2603531" y="3880850"/>
                </a:lnTo>
                <a:lnTo>
                  <a:pt x="2603423" y="3881283"/>
                </a:lnTo>
                <a:lnTo>
                  <a:pt x="2602229" y="3891027"/>
                </a:lnTo>
                <a:lnTo>
                  <a:pt x="2603965" y="3899689"/>
                </a:lnTo>
                <a:lnTo>
                  <a:pt x="2602988" y="3902287"/>
                </a:lnTo>
                <a:lnTo>
                  <a:pt x="2606027" y="3905427"/>
                </a:lnTo>
                <a:lnTo>
                  <a:pt x="2606244" y="3909542"/>
                </a:lnTo>
                <a:lnTo>
                  <a:pt x="2604724" y="3911058"/>
                </a:lnTo>
                <a:lnTo>
                  <a:pt x="2607112" y="3915388"/>
                </a:lnTo>
                <a:lnTo>
                  <a:pt x="2617095" y="3923184"/>
                </a:lnTo>
                <a:lnTo>
                  <a:pt x="2627079" y="3926974"/>
                </a:lnTo>
                <a:lnTo>
                  <a:pt x="2639450" y="3936501"/>
                </a:lnTo>
                <a:lnTo>
                  <a:pt x="2642271" y="3939966"/>
                </a:lnTo>
                <a:lnTo>
                  <a:pt x="2641946" y="3944838"/>
                </a:lnTo>
                <a:lnTo>
                  <a:pt x="2636086" y="3956531"/>
                </a:lnTo>
                <a:lnTo>
                  <a:pt x="2635652" y="3959996"/>
                </a:lnTo>
                <a:lnTo>
                  <a:pt x="2639341" y="3966817"/>
                </a:lnTo>
                <a:lnTo>
                  <a:pt x="2645527" y="3970931"/>
                </a:lnTo>
                <a:lnTo>
                  <a:pt x="2650736" y="3971147"/>
                </a:lnTo>
                <a:lnTo>
                  <a:pt x="2653774" y="3967900"/>
                </a:lnTo>
                <a:lnTo>
                  <a:pt x="2654968" y="3968007"/>
                </a:lnTo>
                <a:lnTo>
                  <a:pt x="2656053" y="3972013"/>
                </a:lnTo>
                <a:lnTo>
                  <a:pt x="2656053" y="3982083"/>
                </a:lnTo>
                <a:lnTo>
                  <a:pt x="2654968" y="3986739"/>
                </a:lnTo>
                <a:lnTo>
                  <a:pt x="2650302" y="3994318"/>
                </a:lnTo>
                <a:lnTo>
                  <a:pt x="2648674" y="4001896"/>
                </a:lnTo>
                <a:lnTo>
                  <a:pt x="2646937" y="4004278"/>
                </a:lnTo>
                <a:lnTo>
                  <a:pt x="2646178" y="4001680"/>
                </a:lnTo>
                <a:lnTo>
                  <a:pt x="2644442" y="4003304"/>
                </a:lnTo>
                <a:lnTo>
                  <a:pt x="2642054" y="4010666"/>
                </a:lnTo>
                <a:lnTo>
                  <a:pt x="2643465" y="4016188"/>
                </a:lnTo>
                <a:lnTo>
                  <a:pt x="2641512" y="4020843"/>
                </a:lnTo>
                <a:lnTo>
                  <a:pt x="2628490" y="4028855"/>
                </a:lnTo>
                <a:lnTo>
                  <a:pt x="2618290" y="4032320"/>
                </a:lnTo>
                <a:lnTo>
                  <a:pt x="2616445" y="4029722"/>
                </a:lnTo>
                <a:lnTo>
                  <a:pt x="2615685" y="4032862"/>
                </a:lnTo>
                <a:lnTo>
                  <a:pt x="2601035" y="4038816"/>
                </a:lnTo>
                <a:lnTo>
                  <a:pt x="2584324" y="4043147"/>
                </a:lnTo>
                <a:lnTo>
                  <a:pt x="2574340" y="4043689"/>
                </a:lnTo>
                <a:lnTo>
                  <a:pt x="2566418" y="4042498"/>
                </a:lnTo>
                <a:lnTo>
                  <a:pt x="2559039" y="4043797"/>
                </a:lnTo>
                <a:lnTo>
                  <a:pt x="2554373" y="4043797"/>
                </a:lnTo>
                <a:lnTo>
                  <a:pt x="2549056" y="4040441"/>
                </a:lnTo>
                <a:lnTo>
                  <a:pt x="2542328" y="4038167"/>
                </a:lnTo>
                <a:lnTo>
                  <a:pt x="2539072" y="4038167"/>
                </a:lnTo>
                <a:lnTo>
                  <a:pt x="2537010" y="4035352"/>
                </a:lnTo>
                <a:lnTo>
                  <a:pt x="2535382" y="4036976"/>
                </a:lnTo>
                <a:lnTo>
                  <a:pt x="2535382" y="4040874"/>
                </a:lnTo>
                <a:lnTo>
                  <a:pt x="2536685" y="4043689"/>
                </a:lnTo>
                <a:lnTo>
                  <a:pt x="2536685" y="4052026"/>
                </a:lnTo>
                <a:lnTo>
                  <a:pt x="2538855" y="4055382"/>
                </a:lnTo>
                <a:lnTo>
                  <a:pt x="2538312" y="4057873"/>
                </a:lnTo>
                <a:lnTo>
                  <a:pt x="2542328" y="4058305"/>
                </a:lnTo>
                <a:lnTo>
                  <a:pt x="2543196" y="4062420"/>
                </a:lnTo>
                <a:lnTo>
                  <a:pt x="2542436" y="4065451"/>
                </a:lnTo>
                <a:lnTo>
                  <a:pt x="2540808" y="4065993"/>
                </a:lnTo>
                <a:lnTo>
                  <a:pt x="2540917" y="4067617"/>
                </a:lnTo>
                <a:lnTo>
                  <a:pt x="2536685" y="4071839"/>
                </a:lnTo>
                <a:lnTo>
                  <a:pt x="2537662" y="4074113"/>
                </a:lnTo>
                <a:lnTo>
                  <a:pt x="2535925" y="4077361"/>
                </a:lnTo>
                <a:lnTo>
                  <a:pt x="2535925" y="4081692"/>
                </a:lnTo>
                <a:lnTo>
                  <a:pt x="2538855" y="4086672"/>
                </a:lnTo>
                <a:lnTo>
                  <a:pt x="2542979" y="4087863"/>
                </a:lnTo>
                <a:lnTo>
                  <a:pt x="2541676" y="4091761"/>
                </a:lnTo>
                <a:lnTo>
                  <a:pt x="2540266" y="4094360"/>
                </a:lnTo>
                <a:lnTo>
                  <a:pt x="2541460" y="4097825"/>
                </a:lnTo>
                <a:lnTo>
                  <a:pt x="2540375" y="4102264"/>
                </a:lnTo>
                <a:lnTo>
                  <a:pt x="2534949" y="4106270"/>
                </a:lnTo>
                <a:lnTo>
                  <a:pt x="2535600" y="4107785"/>
                </a:lnTo>
                <a:lnTo>
                  <a:pt x="2527461" y="4113307"/>
                </a:lnTo>
                <a:lnTo>
                  <a:pt x="2514113" y="4113415"/>
                </a:lnTo>
                <a:lnTo>
                  <a:pt x="2506843" y="4111683"/>
                </a:lnTo>
                <a:lnTo>
                  <a:pt x="2498378" y="4104645"/>
                </a:lnTo>
                <a:lnTo>
                  <a:pt x="2489263" y="4101722"/>
                </a:lnTo>
                <a:lnTo>
                  <a:pt x="2483946" y="4102264"/>
                </a:lnTo>
                <a:lnTo>
                  <a:pt x="2482535" y="4101397"/>
                </a:lnTo>
                <a:lnTo>
                  <a:pt x="2484054" y="4098691"/>
                </a:lnTo>
                <a:lnTo>
                  <a:pt x="2480473" y="4098799"/>
                </a:lnTo>
                <a:lnTo>
                  <a:pt x="2475590" y="4103671"/>
                </a:lnTo>
                <a:lnTo>
                  <a:pt x="2475481" y="4112116"/>
                </a:lnTo>
                <a:lnTo>
                  <a:pt x="2480690" y="4116772"/>
                </a:lnTo>
                <a:lnTo>
                  <a:pt x="2482535" y="4125325"/>
                </a:lnTo>
                <a:lnTo>
                  <a:pt x="2482318" y="4136585"/>
                </a:lnTo>
                <a:lnTo>
                  <a:pt x="2483946" y="4140916"/>
                </a:lnTo>
                <a:lnTo>
                  <a:pt x="2489480" y="4144056"/>
                </a:lnTo>
                <a:lnTo>
                  <a:pt x="2496642" y="4143515"/>
                </a:lnTo>
                <a:lnTo>
                  <a:pt x="2499247" y="4144922"/>
                </a:lnTo>
                <a:lnTo>
                  <a:pt x="2496534" y="4146438"/>
                </a:lnTo>
                <a:lnTo>
                  <a:pt x="2494255" y="4148711"/>
                </a:lnTo>
                <a:lnTo>
                  <a:pt x="2497835" y="4150011"/>
                </a:lnTo>
                <a:lnTo>
                  <a:pt x="2505974" y="4147629"/>
                </a:lnTo>
                <a:lnTo>
                  <a:pt x="2506300" y="4145030"/>
                </a:lnTo>
                <a:lnTo>
                  <a:pt x="2502393" y="4144056"/>
                </a:lnTo>
                <a:lnTo>
                  <a:pt x="2500983" y="4142973"/>
                </a:lnTo>
                <a:lnTo>
                  <a:pt x="2503261" y="4141133"/>
                </a:lnTo>
                <a:lnTo>
                  <a:pt x="2506843" y="4140916"/>
                </a:lnTo>
                <a:lnTo>
                  <a:pt x="2511509" y="4137884"/>
                </a:lnTo>
                <a:lnTo>
                  <a:pt x="2515090" y="4138209"/>
                </a:lnTo>
                <a:lnTo>
                  <a:pt x="2518345" y="4143731"/>
                </a:lnTo>
                <a:lnTo>
                  <a:pt x="2517369" y="4147954"/>
                </a:lnTo>
                <a:lnTo>
                  <a:pt x="2515415" y="4148819"/>
                </a:lnTo>
                <a:lnTo>
                  <a:pt x="2518562" y="4152609"/>
                </a:lnTo>
                <a:lnTo>
                  <a:pt x="2520733" y="4157590"/>
                </a:lnTo>
                <a:lnTo>
                  <a:pt x="2519430" y="4162245"/>
                </a:lnTo>
                <a:lnTo>
                  <a:pt x="2510098" y="4167551"/>
                </a:lnTo>
                <a:lnTo>
                  <a:pt x="2506626" y="4166359"/>
                </a:lnTo>
                <a:lnTo>
                  <a:pt x="2504781" y="4161704"/>
                </a:lnTo>
                <a:lnTo>
                  <a:pt x="2505649" y="4159647"/>
                </a:lnTo>
                <a:lnTo>
                  <a:pt x="2505649" y="4156940"/>
                </a:lnTo>
                <a:lnTo>
                  <a:pt x="2499789" y="4153800"/>
                </a:lnTo>
                <a:lnTo>
                  <a:pt x="2493387" y="4156290"/>
                </a:lnTo>
                <a:lnTo>
                  <a:pt x="2489046" y="4159539"/>
                </a:lnTo>
                <a:lnTo>
                  <a:pt x="2488178" y="4162137"/>
                </a:lnTo>
                <a:lnTo>
                  <a:pt x="2490239" y="4165494"/>
                </a:lnTo>
                <a:lnTo>
                  <a:pt x="2495123" y="4165710"/>
                </a:lnTo>
                <a:lnTo>
                  <a:pt x="2502176" y="4167767"/>
                </a:lnTo>
                <a:lnTo>
                  <a:pt x="2502393" y="4170149"/>
                </a:lnTo>
                <a:lnTo>
                  <a:pt x="2497185" y="4175021"/>
                </a:lnTo>
                <a:lnTo>
                  <a:pt x="2489806" y="4177727"/>
                </a:lnTo>
                <a:lnTo>
                  <a:pt x="2486984" y="4180868"/>
                </a:lnTo>
                <a:lnTo>
                  <a:pt x="2488721" y="4182708"/>
                </a:lnTo>
                <a:lnTo>
                  <a:pt x="2486876" y="4187364"/>
                </a:lnTo>
                <a:lnTo>
                  <a:pt x="2483078" y="4191262"/>
                </a:lnTo>
                <a:lnTo>
                  <a:pt x="2484597" y="4197325"/>
                </a:lnTo>
                <a:lnTo>
                  <a:pt x="2486333" y="4199924"/>
                </a:lnTo>
                <a:lnTo>
                  <a:pt x="2486333" y="4203171"/>
                </a:lnTo>
                <a:lnTo>
                  <a:pt x="2485465" y="4206095"/>
                </a:lnTo>
                <a:lnTo>
                  <a:pt x="2491107" y="4212266"/>
                </a:lnTo>
                <a:lnTo>
                  <a:pt x="2490999" y="4214540"/>
                </a:lnTo>
                <a:lnTo>
                  <a:pt x="2488721" y="4217788"/>
                </a:lnTo>
                <a:lnTo>
                  <a:pt x="2489914" y="4219196"/>
                </a:lnTo>
                <a:lnTo>
                  <a:pt x="2483403" y="4223418"/>
                </a:lnTo>
                <a:lnTo>
                  <a:pt x="2482535" y="4227099"/>
                </a:lnTo>
                <a:lnTo>
                  <a:pt x="2481884" y="4229157"/>
                </a:lnTo>
                <a:lnTo>
                  <a:pt x="2486441" y="4230889"/>
                </a:lnTo>
                <a:lnTo>
                  <a:pt x="2488721" y="4233054"/>
                </a:lnTo>
                <a:lnTo>
                  <a:pt x="2488394" y="4235111"/>
                </a:lnTo>
                <a:lnTo>
                  <a:pt x="2480798" y="4236519"/>
                </a:lnTo>
                <a:lnTo>
                  <a:pt x="2476567" y="4235869"/>
                </a:lnTo>
                <a:lnTo>
                  <a:pt x="2469621" y="4236844"/>
                </a:lnTo>
                <a:lnTo>
                  <a:pt x="2465172" y="4241716"/>
                </a:lnTo>
                <a:lnTo>
                  <a:pt x="2459855" y="4242365"/>
                </a:lnTo>
                <a:lnTo>
                  <a:pt x="2455840" y="4247021"/>
                </a:lnTo>
                <a:lnTo>
                  <a:pt x="2452693" y="4247671"/>
                </a:lnTo>
                <a:lnTo>
                  <a:pt x="2451065" y="4253409"/>
                </a:lnTo>
                <a:lnTo>
                  <a:pt x="2449112" y="4257524"/>
                </a:lnTo>
                <a:lnTo>
                  <a:pt x="2443795" y="4261312"/>
                </a:lnTo>
                <a:lnTo>
                  <a:pt x="2443469" y="4264236"/>
                </a:lnTo>
                <a:lnTo>
                  <a:pt x="2446399" y="4268134"/>
                </a:lnTo>
                <a:lnTo>
                  <a:pt x="2446399" y="4273331"/>
                </a:lnTo>
                <a:lnTo>
                  <a:pt x="2451499" y="4281884"/>
                </a:lnTo>
                <a:lnTo>
                  <a:pt x="2456382" y="4285890"/>
                </a:lnTo>
                <a:lnTo>
                  <a:pt x="2459638" y="4286865"/>
                </a:lnTo>
                <a:lnTo>
                  <a:pt x="2466040" y="4292387"/>
                </a:lnTo>
                <a:lnTo>
                  <a:pt x="2475481" y="4301156"/>
                </a:lnTo>
                <a:lnTo>
                  <a:pt x="2483403" y="4300507"/>
                </a:lnTo>
                <a:lnTo>
                  <a:pt x="2487744" y="4300615"/>
                </a:lnTo>
                <a:lnTo>
                  <a:pt x="2489806" y="4299640"/>
                </a:lnTo>
                <a:lnTo>
                  <a:pt x="2493604" y="4300832"/>
                </a:lnTo>
                <a:lnTo>
                  <a:pt x="2495123" y="4303430"/>
                </a:lnTo>
                <a:lnTo>
                  <a:pt x="2493387" y="4305271"/>
                </a:lnTo>
                <a:lnTo>
                  <a:pt x="2493387" y="4307870"/>
                </a:lnTo>
                <a:lnTo>
                  <a:pt x="2496208" y="4313499"/>
                </a:lnTo>
                <a:lnTo>
                  <a:pt x="2496208" y="4317289"/>
                </a:lnTo>
                <a:lnTo>
                  <a:pt x="2491976" y="4321295"/>
                </a:lnTo>
                <a:lnTo>
                  <a:pt x="2494797" y="4321295"/>
                </a:lnTo>
                <a:lnTo>
                  <a:pt x="2499030" y="4325192"/>
                </a:lnTo>
                <a:lnTo>
                  <a:pt x="2496208" y="4327250"/>
                </a:lnTo>
                <a:lnTo>
                  <a:pt x="2495665" y="4330390"/>
                </a:lnTo>
                <a:lnTo>
                  <a:pt x="2496534" y="4332122"/>
                </a:lnTo>
                <a:lnTo>
                  <a:pt x="2492736" y="4336452"/>
                </a:lnTo>
                <a:lnTo>
                  <a:pt x="2488937" y="4338294"/>
                </a:lnTo>
                <a:lnTo>
                  <a:pt x="2488069" y="4342083"/>
                </a:lnTo>
                <a:lnTo>
                  <a:pt x="2485682" y="4342949"/>
                </a:lnTo>
                <a:lnTo>
                  <a:pt x="2482210" y="4347604"/>
                </a:lnTo>
                <a:lnTo>
                  <a:pt x="2480473" y="4353126"/>
                </a:lnTo>
                <a:lnTo>
                  <a:pt x="2475807" y="4353451"/>
                </a:lnTo>
                <a:lnTo>
                  <a:pt x="2470272" y="4358756"/>
                </a:lnTo>
                <a:lnTo>
                  <a:pt x="2469296" y="4364062"/>
                </a:lnTo>
                <a:lnTo>
                  <a:pt x="2467559" y="4369259"/>
                </a:lnTo>
                <a:lnTo>
                  <a:pt x="2463436" y="4373157"/>
                </a:lnTo>
                <a:lnTo>
                  <a:pt x="2462351" y="4376296"/>
                </a:lnTo>
                <a:lnTo>
                  <a:pt x="2464630" y="4374564"/>
                </a:lnTo>
                <a:lnTo>
                  <a:pt x="2468211" y="4375430"/>
                </a:lnTo>
                <a:lnTo>
                  <a:pt x="2469838" y="4382685"/>
                </a:lnTo>
                <a:lnTo>
                  <a:pt x="2468428" y="4386474"/>
                </a:lnTo>
                <a:lnTo>
                  <a:pt x="2464087" y="4391454"/>
                </a:lnTo>
                <a:lnTo>
                  <a:pt x="2463436" y="4395136"/>
                </a:lnTo>
                <a:lnTo>
                  <a:pt x="2458444" y="4399358"/>
                </a:lnTo>
                <a:lnTo>
                  <a:pt x="2454754" y="4398059"/>
                </a:lnTo>
                <a:lnTo>
                  <a:pt x="2451716" y="4394594"/>
                </a:lnTo>
                <a:lnTo>
                  <a:pt x="2448569" y="4392970"/>
                </a:lnTo>
                <a:lnTo>
                  <a:pt x="2450848" y="4395893"/>
                </a:lnTo>
                <a:lnTo>
                  <a:pt x="2450848" y="4400224"/>
                </a:lnTo>
                <a:lnTo>
                  <a:pt x="2452584" y="4402065"/>
                </a:lnTo>
                <a:lnTo>
                  <a:pt x="2450523" y="4405854"/>
                </a:lnTo>
                <a:lnTo>
                  <a:pt x="2444663" y="4410618"/>
                </a:lnTo>
                <a:lnTo>
                  <a:pt x="2441841" y="4418630"/>
                </a:lnTo>
                <a:lnTo>
                  <a:pt x="2442709" y="4425668"/>
                </a:lnTo>
                <a:lnTo>
                  <a:pt x="2447376" y="4432814"/>
                </a:lnTo>
                <a:lnTo>
                  <a:pt x="2451391" y="4443857"/>
                </a:lnTo>
                <a:lnTo>
                  <a:pt x="2451391" y="4447214"/>
                </a:lnTo>
                <a:lnTo>
                  <a:pt x="2452693" y="4447972"/>
                </a:lnTo>
                <a:lnTo>
                  <a:pt x="2451824" y="4451111"/>
                </a:lnTo>
                <a:lnTo>
                  <a:pt x="2448244" y="4453168"/>
                </a:lnTo>
                <a:lnTo>
                  <a:pt x="2450848" y="4455659"/>
                </a:lnTo>
                <a:lnTo>
                  <a:pt x="2453561" y="4454793"/>
                </a:lnTo>
                <a:lnTo>
                  <a:pt x="2457685" y="4458799"/>
                </a:lnTo>
                <a:lnTo>
                  <a:pt x="2458553" y="4463454"/>
                </a:lnTo>
                <a:lnTo>
                  <a:pt x="2466691" y="4468434"/>
                </a:lnTo>
                <a:lnTo>
                  <a:pt x="2471466" y="4472224"/>
                </a:lnTo>
                <a:lnTo>
                  <a:pt x="2472009" y="4476663"/>
                </a:lnTo>
                <a:lnTo>
                  <a:pt x="2469947" y="4476555"/>
                </a:lnTo>
                <a:lnTo>
                  <a:pt x="2464413" y="4473956"/>
                </a:lnTo>
                <a:lnTo>
                  <a:pt x="2460504" y="4470440"/>
                </a:lnTo>
                <a:lnTo>
                  <a:pt x="2464413" y="4473957"/>
                </a:lnTo>
                <a:lnTo>
                  <a:pt x="2463545" y="4473632"/>
                </a:lnTo>
                <a:lnTo>
                  <a:pt x="2460615" y="4475256"/>
                </a:lnTo>
                <a:lnTo>
                  <a:pt x="2454430" y="4471684"/>
                </a:lnTo>
                <a:lnTo>
                  <a:pt x="2449112" y="4473091"/>
                </a:lnTo>
                <a:lnTo>
                  <a:pt x="2446399" y="4475690"/>
                </a:lnTo>
                <a:lnTo>
                  <a:pt x="2446834" y="4481644"/>
                </a:lnTo>
                <a:lnTo>
                  <a:pt x="2444989" y="4483593"/>
                </a:lnTo>
                <a:lnTo>
                  <a:pt x="2440106" y="4483593"/>
                </a:lnTo>
                <a:lnTo>
                  <a:pt x="2436850" y="4484892"/>
                </a:lnTo>
                <a:lnTo>
                  <a:pt x="2431424" y="4491388"/>
                </a:lnTo>
                <a:lnTo>
                  <a:pt x="2425456" y="4494854"/>
                </a:lnTo>
                <a:lnTo>
                  <a:pt x="2424804" y="4498210"/>
                </a:lnTo>
                <a:lnTo>
                  <a:pt x="2425999" y="4502974"/>
                </a:lnTo>
                <a:lnTo>
                  <a:pt x="2425564" y="4510119"/>
                </a:lnTo>
                <a:lnTo>
                  <a:pt x="2424804" y="4516400"/>
                </a:lnTo>
                <a:lnTo>
                  <a:pt x="2425130" y="4519539"/>
                </a:lnTo>
                <a:lnTo>
                  <a:pt x="2424479" y="4523004"/>
                </a:lnTo>
                <a:lnTo>
                  <a:pt x="2426867" y="4530258"/>
                </a:lnTo>
                <a:lnTo>
                  <a:pt x="2424045" y="4535563"/>
                </a:lnTo>
                <a:lnTo>
                  <a:pt x="2421874" y="4537837"/>
                </a:lnTo>
                <a:lnTo>
                  <a:pt x="2418728" y="4536213"/>
                </a:lnTo>
                <a:lnTo>
                  <a:pt x="2415798" y="4536429"/>
                </a:lnTo>
                <a:lnTo>
                  <a:pt x="2411349" y="4533939"/>
                </a:lnTo>
                <a:lnTo>
                  <a:pt x="2404512" y="4532748"/>
                </a:lnTo>
                <a:lnTo>
                  <a:pt x="2396807" y="4525386"/>
                </a:lnTo>
                <a:lnTo>
                  <a:pt x="2394420" y="4521380"/>
                </a:lnTo>
                <a:lnTo>
                  <a:pt x="2396265" y="4519106"/>
                </a:lnTo>
                <a:lnTo>
                  <a:pt x="2398869" y="4518890"/>
                </a:lnTo>
                <a:lnTo>
                  <a:pt x="2400606" y="4519539"/>
                </a:lnTo>
                <a:lnTo>
                  <a:pt x="2401365" y="4516400"/>
                </a:lnTo>
                <a:lnTo>
                  <a:pt x="2403536" y="4514776"/>
                </a:lnTo>
                <a:lnTo>
                  <a:pt x="2405163" y="4515641"/>
                </a:lnTo>
                <a:lnTo>
                  <a:pt x="2405054" y="4521596"/>
                </a:lnTo>
                <a:lnTo>
                  <a:pt x="2402993" y="4523004"/>
                </a:lnTo>
                <a:lnTo>
                  <a:pt x="2402884" y="4525061"/>
                </a:lnTo>
                <a:lnTo>
                  <a:pt x="2406682" y="4523329"/>
                </a:lnTo>
                <a:lnTo>
                  <a:pt x="2409070" y="4520622"/>
                </a:lnTo>
                <a:lnTo>
                  <a:pt x="2407767" y="4517374"/>
                </a:lnTo>
                <a:lnTo>
                  <a:pt x="2407767" y="4512502"/>
                </a:lnTo>
                <a:lnTo>
                  <a:pt x="2411783" y="4508387"/>
                </a:lnTo>
                <a:lnTo>
                  <a:pt x="2412651" y="4505572"/>
                </a:lnTo>
                <a:lnTo>
                  <a:pt x="2414930" y="4501674"/>
                </a:lnTo>
                <a:lnTo>
                  <a:pt x="2418185" y="4500376"/>
                </a:lnTo>
                <a:lnTo>
                  <a:pt x="2417643" y="4499184"/>
                </a:lnTo>
                <a:lnTo>
                  <a:pt x="2414930" y="4499184"/>
                </a:lnTo>
                <a:lnTo>
                  <a:pt x="2411674" y="4497452"/>
                </a:lnTo>
                <a:lnTo>
                  <a:pt x="2410915" y="4496152"/>
                </a:lnTo>
                <a:lnTo>
                  <a:pt x="2407984" y="4497993"/>
                </a:lnTo>
                <a:lnTo>
                  <a:pt x="2403861" y="4503948"/>
                </a:lnTo>
                <a:lnTo>
                  <a:pt x="2400063" y="4507413"/>
                </a:lnTo>
                <a:lnTo>
                  <a:pt x="2393768" y="4508712"/>
                </a:lnTo>
                <a:lnTo>
                  <a:pt x="2397458" y="4512827"/>
                </a:lnTo>
                <a:lnTo>
                  <a:pt x="2397025" y="4514776"/>
                </a:lnTo>
                <a:lnTo>
                  <a:pt x="2393877" y="4515533"/>
                </a:lnTo>
                <a:lnTo>
                  <a:pt x="2391164" y="4518890"/>
                </a:lnTo>
                <a:lnTo>
                  <a:pt x="2392141" y="4522463"/>
                </a:lnTo>
                <a:lnTo>
                  <a:pt x="2391164" y="4524628"/>
                </a:lnTo>
                <a:lnTo>
                  <a:pt x="2389645" y="4524520"/>
                </a:lnTo>
                <a:lnTo>
                  <a:pt x="2384654" y="4520189"/>
                </a:lnTo>
                <a:lnTo>
                  <a:pt x="2377708" y="4517807"/>
                </a:lnTo>
                <a:lnTo>
                  <a:pt x="2377708" y="4515966"/>
                </a:lnTo>
                <a:lnTo>
                  <a:pt x="2379445" y="4513801"/>
                </a:lnTo>
                <a:lnTo>
                  <a:pt x="2377383" y="4512502"/>
                </a:lnTo>
                <a:lnTo>
                  <a:pt x="2377275" y="4510661"/>
                </a:lnTo>
                <a:lnTo>
                  <a:pt x="2378576" y="4508821"/>
                </a:lnTo>
                <a:lnTo>
                  <a:pt x="2380096" y="4505789"/>
                </a:lnTo>
                <a:lnTo>
                  <a:pt x="2379445" y="4502866"/>
                </a:lnTo>
                <a:lnTo>
                  <a:pt x="2382266" y="4499834"/>
                </a:lnTo>
                <a:lnTo>
                  <a:pt x="2384436" y="4500267"/>
                </a:lnTo>
                <a:lnTo>
                  <a:pt x="2386172" y="4499942"/>
                </a:lnTo>
                <a:lnTo>
                  <a:pt x="2393552" y="4493446"/>
                </a:lnTo>
                <a:lnTo>
                  <a:pt x="2396699" y="4492580"/>
                </a:lnTo>
                <a:lnTo>
                  <a:pt x="2399629" y="4494854"/>
                </a:lnTo>
                <a:lnTo>
                  <a:pt x="2402341" y="4495611"/>
                </a:lnTo>
                <a:lnTo>
                  <a:pt x="2404404" y="4492580"/>
                </a:lnTo>
                <a:lnTo>
                  <a:pt x="2407008" y="4491388"/>
                </a:lnTo>
                <a:lnTo>
                  <a:pt x="2406574" y="4489657"/>
                </a:lnTo>
                <a:lnTo>
                  <a:pt x="2402559" y="4489331"/>
                </a:lnTo>
                <a:lnTo>
                  <a:pt x="2397893" y="4489764"/>
                </a:lnTo>
                <a:lnTo>
                  <a:pt x="2393768" y="4488465"/>
                </a:lnTo>
                <a:lnTo>
                  <a:pt x="2389102" y="4489548"/>
                </a:lnTo>
                <a:lnTo>
                  <a:pt x="2387909" y="4491930"/>
                </a:lnTo>
                <a:lnTo>
                  <a:pt x="2385522" y="4490847"/>
                </a:lnTo>
                <a:lnTo>
                  <a:pt x="2384654" y="4488356"/>
                </a:lnTo>
                <a:lnTo>
                  <a:pt x="2382374" y="4489764"/>
                </a:lnTo>
                <a:lnTo>
                  <a:pt x="2377057" y="4488032"/>
                </a:lnTo>
                <a:lnTo>
                  <a:pt x="2374995" y="4489115"/>
                </a:lnTo>
                <a:lnTo>
                  <a:pt x="2375104" y="4491930"/>
                </a:lnTo>
                <a:lnTo>
                  <a:pt x="2372391" y="4493771"/>
                </a:lnTo>
                <a:lnTo>
                  <a:pt x="2371197" y="4495070"/>
                </a:lnTo>
                <a:lnTo>
                  <a:pt x="2374670" y="4495611"/>
                </a:lnTo>
                <a:lnTo>
                  <a:pt x="2376515" y="4494529"/>
                </a:lnTo>
                <a:lnTo>
                  <a:pt x="2377816" y="4498318"/>
                </a:lnTo>
                <a:lnTo>
                  <a:pt x="2376623" y="4501891"/>
                </a:lnTo>
                <a:lnTo>
                  <a:pt x="2378576" y="4506763"/>
                </a:lnTo>
                <a:lnTo>
                  <a:pt x="2376515" y="4509686"/>
                </a:lnTo>
                <a:lnTo>
                  <a:pt x="2374236" y="4510553"/>
                </a:lnTo>
                <a:lnTo>
                  <a:pt x="2367616" y="4506872"/>
                </a:lnTo>
                <a:lnTo>
                  <a:pt x="2361973" y="4506330"/>
                </a:lnTo>
                <a:lnTo>
                  <a:pt x="2360996" y="4503840"/>
                </a:lnTo>
                <a:lnTo>
                  <a:pt x="2364361" y="4500917"/>
                </a:lnTo>
                <a:lnTo>
                  <a:pt x="2367725" y="4499617"/>
                </a:lnTo>
                <a:lnTo>
                  <a:pt x="2367725" y="4498318"/>
                </a:lnTo>
                <a:lnTo>
                  <a:pt x="2364144" y="4497019"/>
                </a:lnTo>
                <a:lnTo>
                  <a:pt x="2361973" y="4495719"/>
                </a:lnTo>
                <a:lnTo>
                  <a:pt x="2360128" y="4499293"/>
                </a:lnTo>
                <a:lnTo>
                  <a:pt x="2356981" y="4498751"/>
                </a:lnTo>
                <a:lnTo>
                  <a:pt x="2356222" y="4497127"/>
                </a:lnTo>
                <a:lnTo>
                  <a:pt x="2357633" y="4494637"/>
                </a:lnTo>
                <a:lnTo>
                  <a:pt x="2356873" y="4491821"/>
                </a:lnTo>
                <a:lnTo>
                  <a:pt x="2354811" y="4488249"/>
                </a:lnTo>
                <a:lnTo>
                  <a:pt x="2354486" y="4482510"/>
                </a:lnTo>
                <a:lnTo>
                  <a:pt x="2350362" y="4479478"/>
                </a:lnTo>
                <a:lnTo>
                  <a:pt x="2354811" y="4477638"/>
                </a:lnTo>
                <a:lnTo>
                  <a:pt x="2360237" y="4477638"/>
                </a:lnTo>
                <a:lnTo>
                  <a:pt x="2363818" y="4475148"/>
                </a:lnTo>
                <a:lnTo>
                  <a:pt x="2366423" y="4475148"/>
                </a:lnTo>
                <a:lnTo>
                  <a:pt x="2367399" y="4479045"/>
                </a:lnTo>
                <a:lnTo>
                  <a:pt x="2369027" y="4480994"/>
                </a:lnTo>
                <a:lnTo>
                  <a:pt x="2370872" y="4477313"/>
                </a:lnTo>
                <a:lnTo>
                  <a:pt x="2368810" y="4474498"/>
                </a:lnTo>
                <a:lnTo>
                  <a:pt x="2369136" y="4470600"/>
                </a:lnTo>
                <a:lnTo>
                  <a:pt x="2371089" y="4467677"/>
                </a:lnTo>
                <a:lnTo>
                  <a:pt x="2374345" y="4470492"/>
                </a:lnTo>
                <a:lnTo>
                  <a:pt x="2377600" y="4478179"/>
                </a:lnTo>
                <a:lnTo>
                  <a:pt x="2375863" y="4483701"/>
                </a:lnTo>
                <a:lnTo>
                  <a:pt x="2379336" y="4481103"/>
                </a:lnTo>
                <a:lnTo>
                  <a:pt x="2379661" y="4477638"/>
                </a:lnTo>
                <a:lnTo>
                  <a:pt x="2376515" y="4471358"/>
                </a:lnTo>
                <a:lnTo>
                  <a:pt x="2376732" y="4467677"/>
                </a:lnTo>
                <a:lnTo>
                  <a:pt x="2379879" y="4464321"/>
                </a:lnTo>
                <a:lnTo>
                  <a:pt x="2378685" y="4458582"/>
                </a:lnTo>
                <a:lnTo>
                  <a:pt x="2371089" y="4454360"/>
                </a:lnTo>
                <a:lnTo>
                  <a:pt x="2363601" y="4451544"/>
                </a:lnTo>
                <a:lnTo>
                  <a:pt x="2361105" y="4452627"/>
                </a:lnTo>
                <a:lnTo>
                  <a:pt x="2361431" y="4454685"/>
                </a:lnTo>
                <a:lnTo>
                  <a:pt x="2369895" y="4455226"/>
                </a:lnTo>
                <a:lnTo>
                  <a:pt x="2374453" y="4457608"/>
                </a:lnTo>
                <a:lnTo>
                  <a:pt x="2375755" y="4461506"/>
                </a:lnTo>
                <a:lnTo>
                  <a:pt x="2370872" y="4461397"/>
                </a:lnTo>
                <a:lnTo>
                  <a:pt x="2369678" y="4459665"/>
                </a:lnTo>
                <a:lnTo>
                  <a:pt x="2362082" y="4457391"/>
                </a:lnTo>
                <a:lnTo>
                  <a:pt x="2358501" y="4457391"/>
                </a:lnTo>
                <a:lnTo>
                  <a:pt x="2358501" y="4459340"/>
                </a:lnTo>
                <a:lnTo>
                  <a:pt x="2364144" y="4460207"/>
                </a:lnTo>
                <a:lnTo>
                  <a:pt x="2367291" y="4461181"/>
                </a:lnTo>
                <a:lnTo>
                  <a:pt x="2367399" y="4464321"/>
                </a:lnTo>
                <a:lnTo>
                  <a:pt x="2364469" y="4467244"/>
                </a:lnTo>
                <a:lnTo>
                  <a:pt x="2362841" y="4471900"/>
                </a:lnTo>
                <a:lnTo>
                  <a:pt x="2360020" y="4468110"/>
                </a:lnTo>
                <a:lnTo>
                  <a:pt x="2359369" y="4464321"/>
                </a:lnTo>
                <a:lnTo>
                  <a:pt x="2355354" y="4461506"/>
                </a:lnTo>
                <a:lnTo>
                  <a:pt x="2356548" y="4465187"/>
                </a:lnTo>
                <a:lnTo>
                  <a:pt x="2355571" y="4467894"/>
                </a:lnTo>
                <a:lnTo>
                  <a:pt x="2357850" y="4474282"/>
                </a:lnTo>
                <a:lnTo>
                  <a:pt x="2354486" y="4474823"/>
                </a:lnTo>
                <a:lnTo>
                  <a:pt x="2350362" y="4471033"/>
                </a:lnTo>
                <a:lnTo>
                  <a:pt x="2348300" y="4468219"/>
                </a:lnTo>
                <a:lnTo>
                  <a:pt x="2346781" y="4463238"/>
                </a:lnTo>
                <a:lnTo>
                  <a:pt x="2345262" y="4462805"/>
                </a:lnTo>
                <a:lnTo>
                  <a:pt x="2340921" y="4457500"/>
                </a:lnTo>
                <a:lnTo>
                  <a:pt x="2341898" y="4454793"/>
                </a:lnTo>
                <a:lnTo>
                  <a:pt x="2344177" y="4454468"/>
                </a:lnTo>
                <a:lnTo>
                  <a:pt x="2346239" y="4455984"/>
                </a:lnTo>
                <a:lnTo>
                  <a:pt x="2348517" y="4456092"/>
                </a:lnTo>
                <a:lnTo>
                  <a:pt x="2347107" y="4451544"/>
                </a:lnTo>
                <a:lnTo>
                  <a:pt x="2347541" y="4446998"/>
                </a:lnTo>
                <a:lnTo>
                  <a:pt x="2344828" y="4449704"/>
                </a:lnTo>
                <a:lnTo>
                  <a:pt x="2342658" y="4449813"/>
                </a:lnTo>
                <a:lnTo>
                  <a:pt x="2338968" y="4445590"/>
                </a:lnTo>
                <a:lnTo>
                  <a:pt x="2338968" y="4442666"/>
                </a:lnTo>
                <a:lnTo>
                  <a:pt x="2335603" y="4442666"/>
                </a:lnTo>
                <a:lnTo>
                  <a:pt x="2333108" y="4441042"/>
                </a:lnTo>
                <a:lnTo>
                  <a:pt x="2335930" y="4437253"/>
                </a:lnTo>
                <a:lnTo>
                  <a:pt x="2339728" y="4435954"/>
                </a:lnTo>
                <a:lnTo>
                  <a:pt x="2340704" y="4433031"/>
                </a:lnTo>
                <a:lnTo>
                  <a:pt x="2340921" y="4429457"/>
                </a:lnTo>
                <a:lnTo>
                  <a:pt x="2337123" y="4433680"/>
                </a:lnTo>
                <a:lnTo>
                  <a:pt x="2335387" y="4431299"/>
                </a:lnTo>
                <a:lnTo>
                  <a:pt x="2333976" y="4426859"/>
                </a:lnTo>
                <a:lnTo>
                  <a:pt x="2336146" y="4426642"/>
                </a:lnTo>
                <a:lnTo>
                  <a:pt x="2336798" y="4424369"/>
                </a:lnTo>
                <a:lnTo>
                  <a:pt x="2333108" y="4421662"/>
                </a:lnTo>
                <a:lnTo>
                  <a:pt x="2323993" y="4419713"/>
                </a:lnTo>
                <a:lnTo>
                  <a:pt x="2317481" y="4414949"/>
                </a:lnTo>
                <a:lnTo>
                  <a:pt x="2317156" y="4411809"/>
                </a:lnTo>
                <a:lnTo>
                  <a:pt x="2319001" y="4407695"/>
                </a:lnTo>
                <a:lnTo>
                  <a:pt x="2321496" y="4406071"/>
                </a:lnTo>
                <a:lnTo>
                  <a:pt x="2321496" y="4401849"/>
                </a:lnTo>
                <a:lnTo>
                  <a:pt x="2322473" y="4397626"/>
                </a:lnTo>
                <a:lnTo>
                  <a:pt x="2321822" y="4395136"/>
                </a:lnTo>
                <a:lnTo>
                  <a:pt x="2325946" y="4391455"/>
                </a:lnTo>
                <a:lnTo>
                  <a:pt x="2331480" y="4390156"/>
                </a:lnTo>
                <a:lnTo>
                  <a:pt x="2332674" y="4388965"/>
                </a:lnTo>
                <a:lnTo>
                  <a:pt x="2329527" y="4389181"/>
                </a:lnTo>
                <a:lnTo>
                  <a:pt x="2325946" y="4386799"/>
                </a:lnTo>
                <a:lnTo>
                  <a:pt x="2325621" y="4384200"/>
                </a:lnTo>
                <a:lnTo>
                  <a:pt x="2328333" y="4374240"/>
                </a:lnTo>
                <a:lnTo>
                  <a:pt x="2330612" y="4374023"/>
                </a:lnTo>
                <a:lnTo>
                  <a:pt x="2329419" y="4371966"/>
                </a:lnTo>
                <a:lnTo>
                  <a:pt x="2326054" y="4374240"/>
                </a:lnTo>
                <a:lnTo>
                  <a:pt x="2323667" y="4383118"/>
                </a:lnTo>
                <a:lnTo>
                  <a:pt x="2323667" y="4391022"/>
                </a:lnTo>
                <a:lnTo>
                  <a:pt x="2319869" y="4389506"/>
                </a:lnTo>
                <a:lnTo>
                  <a:pt x="2317156" y="4384850"/>
                </a:lnTo>
                <a:lnTo>
                  <a:pt x="2317265" y="4379545"/>
                </a:lnTo>
                <a:lnTo>
                  <a:pt x="2314768" y="4376297"/>
                </a:lnTo>
                <a:lnTo>
                  <a:pt x="2311947" y="4364712"/>
                </a:lnTo>
                <a:lnTo>
                  <a:pt x="2312273" y="4361681"/>
                </a:lnTo>
                <a:lnTo>
                  <a:pt x="2314877" y="4361464"/>
                </a:lnTo>
                <a:lnTo>
                  <a:pt x="2316288" y="4358757"/>
                </a:lnTo>
                <a:lnTo>
                  <a:pt x="2315528" y="4356700"/>
                </a:lnTo>
                <a:lnTo>
                  <a:pt x="2315420" y="4354318"/>
                </a:lnTo>
                <a:lnTo>
                  <a:pt x="2319001" y="4350853"/>
                </a:lnTo>
                <a:lnTo>
                  <a:pt x="2319543" y="4348255"/>
                </a:lnTo>
                <a:lnTo>
                  <a:pt x="2316071" y="4350204"/>
                </a:lnTo>
                <a:lnTo>
                  <a:pt x="2311947" y="4349121"/>
                </a:lnTo>
                <a:lnTo>
                  <a:pt x="2311079" y="4345115"/>
                </a:lnTo>
                <a:lnTo>
                  <a:pt x="2306413" y="4342300"/>
                </a:lnTo>
                <a:lnTo>
                  <a:pt x="2305653" y="4339809"/>
                </a:lnTo>
                <a:lnTo>
                  <a:pt x="2307281" y="4336453"/>
                </a:lnTo>
                <a:lnTo>
                  <a:pt x="2314552" y="4334504"/>
                </a:lnTo>
                <a:lnTo>
                  <a:pt x="2317807" y="4337103"/>
                </a:lnTo>
                <a:lnTo>
                  <a:pt x="2319001" y="4335371"/>
                </a:lnTo>
                <a:lnTo>
                  <a:pt x="2323341" y="4335154"/>
                </a:lnTo>
                <a:lnTo>
                  <a:pt x="2324861" y="4334180"/>
                </a:lnTo>
                <a:lnTo>
                  <a:pt x="2323993" y="4332447"/>
                </a:lnTo>
                <a:lnTo>
                  <a:pt x="2325729" y="4329307"/>
                </a:lnTo>
                <a:lnTo>
                  <a:pt x="2321822" y="4331039"/>
                </a:lnTo>
                <a:lnTo>
                  <a:pt x="2319435" y="4331257"/>
                </a:lnTo>
                <a:lnTo>
                  <a:pt x="2316830" y="4328658"/>
                </a:lnTo>
                <a:lnTo>
                  <a:pt x="2310428" y="4331906"/>
                </a:lnTo>
                <a:lnTo>
                  <a:pt x="2304026" y="4330931"/>
                </a:lnTo>
                <a:lnTo>
                  <a:pt x="2302506" y="4327575"/>
                </a:lnTo>
                <a:lnTo>
                  <a:pt x="2298925" y="4324327"/>
                </a:lnTo>
                <a:lnTo>
                  <a:pt x="2299251" y="4320646"/>
                </a:lnTo>
                <a:lnTo>
                  <a:pt x="2301855" y="4320213"/>
                </a:lnTo>
                <a:lnTo>
                  <a:pt x="2303374" y="4322486"/>
                </a:lnTo>
                <a:lnTo>
                  <a:pt x="2307715" y="4324327"/>
                </a:lnTo>
                <a:lnTo>
                  <a:pt x="2308366" y="4323027"/>
                </a:lnTo>
                <a:lnTo>
                  <a:pt x="2304026" y="4320213"/>
                </a:lnTo>
                <a:lnTo>
                  <a:pt x="2302181" y="4317506"/>
                </a:lnTo>
                <a:lnTo>
                  <a:pt x="2304243" y="4314258"/>
                </a:lnTo>
                <a:lnTo>
                  <a:pt x="2306956" y="4312201"/>
                </a:lnTo>
                <a:lnTo>
                  <a:pt x="2304894" y="4309386"/>
                </a:lnTo>
                <a:lnTo>
                  <a:pt x="2306087" y="4307003"/>
                </a:lnTo>
                <a:lnTo>
                  <a:pt x="2308692" y="4306462"/>
                </a:lnTo>
                <a:lnTo>
                  <a:pt x="2306304" y="4303756"/>
                </a:lnTo>
                <a:lnTo>
                  <a:pt x="2300119" y="4300615"/>
                </a:lnTo>
                <a:lnTo>
                  <a:pt x="2298383" y="4297909"/>
                </a:lnTo>
                <a:lnTo>
                  <a:pt x="2295453" y="4296718"/>
                </a:lnTo>
                <a:lnTo>
                  <a:pt x="2293174" y="4299100"/>
                </a:lnTo>
                <a:lnTo>
                  <a:pt x="2287856" y="4299317"/>
                </a:lnTo>
                <a:lnTo>
                  <a:pt x="2283408" y="4296285"/>
                </a:lnTo>
                <a:lnTo>
                  <a:pt x="2282322" y="4290872"/>
                </a:lnTo>
                <a:lnTo>
                  <a:pt x="2281128" y="4292388"/>
                </a:lnTo>
                <a:lnTo>
                  <a:pt x="2275052" y="4292929"/>
                </a:lnTo>
                <a:lnTo>
                  <a:pt x="2272881" y="4297368"/>
                </a:lnTo>
                <a:lnTo>
                  <a:pt x="2273424" y="4299750"/>
                </a:lnTo>
                <a:lnTo>
                  <a:pt x="2277656" y="4301049"/>
                </a:lnTo>
                <a:lnTo>
                  <a:pt x="2277982" y="4303972"/>
                </a:lnTo>
                <a:lnTo>
                  <a:pt x="2275811" y="4306354"/>
                </a:lnTo>
                <a:lnTo>
                  <a:pt x="2272122" y="4305813"/>
                </a:lnTo>
                <a:lnTo>
                  <a:pt x="2265611" y="4298558"/>
                </a:lnTo>
                <a:lnTo>
                  <a:pt x="2265936" y="4294986"/>
                </a:lnTo>
                <a:lnTo>
                  <a:pt x="2272122" y="4291521"/>
                </a:lnTo>
                <a:lnTo>
                  <a:pt x="2273858" y="4287515"/>
                </a:lnTo>
                <a:lnTo>
                  <a:pt x="2277113" y="4285133"/>
                </a:lnTo>
                <a:lnTo>
                  <a:pt x="2278741" y="4280694"/>
                </a:lnTo>
                <a:lnTo>
                  <a:pt x="2281671" y="4280152"/>
                </a:lnTo>
                <a:lnTo>
                  <a:pt x="2280586" y="4276472"/>
                </a:lnTo>
                <a:lnTo>
                  <a:pt x="2278850" y="4276254"/>
                </a:lnTo>
                <a:lnTo>
                  <a:pt x="2276462" y="4271274"/>
                </a:lnTo>
                <a:lnTo>
                  <a:pt x="2276679" y="4268568"/>
                </a:lnTo>
                <a:lnTo>
                  <a:pt x="2279935" y="4267701"/>
                </a:lnTo>
                <a:lnTo>
                  <a:pt x="2282648" y="4268568"/>
                </a:lnTo>
                <a:lnTo>
                  <a:pt x="2291112" y="4268134"/>
                </a:lnTo>
                <a:lnTo>
                  <a:pt x="2295887" y="4266402"/>
                </a:lnTo>
                <a:lnTo>
                  <a:pt x="2297732" y="4267701"/>
                </a:lnTo>
                <a:lnTo>
                  <a:pt x="2297732" y="4274197"/>
                </a:lnTo>
                <a:lnTo>
                  <a:pt x="2294910" y="4276254"/>
                </a:lnTo>
                <a:lnTo>
                  <a:pt x="2290569" y="4277770"/>
                </a:lnTo>
                <a:lnTo>
                  <a:pt x="2290461" y="4279828"/>
                </a:lnTo>
                <a:lnTo>
                  <a:pt x="2293065" y="4280152"/>
                </a:lnTo>
                <a:lnTo>
                  <a:pt x="2297515" y="4277121"/>
                </a:lnTo>
                <a:lnTo>
                  <a:pt x="2303699" y="4275064"/>
                </a:lnTo>
                <a:lnTo>
                  <a:pt x="2305762" y="4275713"/>
                </a:lnTo>
                <a:lnTo>
                  <a:pt x="2304894" y="4278095"/>
                </a:lnTo>
                <a:lnTo>
                  <a:pt x="2305653" y="4282101"/>
                </a:lnTo>
                <a:lnTo>
                  <a:pt x="2304243" y="4289680"/>
                </a:lnTo>
                <a:lnTo>
                  <a:pt x="2302506" y="4291846"/>
                </a:lnTo>
                <a:lnTo>
                  <a:pt x="2304243" y="4294661"/>
                </a:lnTo>
                <a:lnTo>
                  <a:pt x="2305111" y="4290005"/>
                </a:lnTo>
                <a:lnTo>
                  <a:pt x="2308366" y="4288273"/>
                </a:lnTo>
                <a:lnTo>
                  <a:pt x="2308692" y="4279395"/>
                </a:lnTo>
                <a:lnTo>
                  <a:pt x="2309885" y="4276579"/>
                </a:lnTo>
                <a:lnTo>
                  <a:pt x="2307281" y="4275389"/>
                </a:lnTo>
                <a:lnTo>
                  <a:pt x="2307498" y="4270084"/>
                </a:lnTo>
                <a:lnTo>
                  <a:pt x="2310102" y="4262613"/>
                </a:lnTo>
                <a:lnTo>
                  <a:pt x="2313467" y="4258499"/>
                </a:lnTo>
                <a:lnTo>
                  <a:pt x="2311622" y="4257307"/>
                </a:lnTo>
                <a:lnTo>
                  <a:pt x="2311405" y="4254384"/>
                </a:lnTo>
                <a:lnTo>
                  <a:pt x="2313141" y="4252111"/>
                </a:lnTo>
                <a:lnTo>
                  <a:pt x="2311296" y="4247022"/>
                </a:lnTo>
                <a:lnTo>
                  <a:pt x="2311839" y="4242366"/>
                </a:lnTo>
                <a:lnTo>
                  <a:pt x="2314552" y="4242366"/>
                </a:lnTo>
                <a:lnTo>
                  <a:pt x="2320737" y="4238577"/>
                </a:lnTo>
                <a:lnTo>
                  <a:pt x="2324209" y="4233379"/>
                </a:lnTo>
                <a:lnTo>
                  <a:pt x="2324752" y="4225909"/>
                </a:lnTo>
                <a:lnTo>
                  <a:pt x="2322799" y="4222985"/>
                </a:lnTo>
                <a:lnTo>
                  <a:pt x="2318675" y="4222228"/>
                </a:lnTo>
                <a:lnTo>
                  <a:pt x="2318133" y="4218655"/>
                </a:lnTo>
                <a:lnTo>
                  <a:pt x="2315203" y="4215732"/>
                </a:lnTo>
                <a:lnTo>
                  <a:pt x="2310645" y="4215515"/>
                </a:lnTo>
                <a:lnTo>
                  <a:pt x="2308149" y="4213133"/>
                </a:lnTo>
                <a:lnTo>
                  <a:pt x="2308366" y="4210210"/>
                </a:lnTo>
                <a:lnTo>
                  <a:pt x="2311296" y="4206637"/>
                </a:lnTo>
                <a:lnTo>
                  <a:pt x="2312164" y="4200790"/>
                </a:lnTo>
                <a:lnTo>
                  <a:pt x="2313467" y="4196784"/>
                </a:lnTo>
                <a:lnTo>
                  <a:pt x="2308366" y="4193536"/>
                </a:lnTo>
                <a:lnTo>
                  <a:pt x="2307715" y="4191154"/>
                </a:lnTo>
                <a:lnTo>
                  <a:pt x="2311839" y="4186715"/>
                </a:lnTo>
                <a:lnTo>
                  <a:pt x="2310102" y="4185308"/>
                </a:lnTo>
                <a:lnTo>
                  <a:pt x="2310428" y="4182059"/>
                </a:lnTo>
                <a:lnTo>
                  <a:pt x="2314009" y="4177945"/>
                </a:lnTo>
                <a:lnTo>
                  <a:pt x="2310102" y="4174155"/>
                </a:lnTo>
                <a:lnTo>
                  <a:pt x="2309669" y="4168309"/>
                </a:lnTo>
                <a:lnTo>
                  <a:pt x="2311839" y="4166576"/>
                </a:lnTo>
                <a:lnTo>
                  <a:pt x="2314877" y="4165494"/>
                </a:lnTo>
                <a:lnTo>
                  <a:pt x="2314009" y="4163112"/>
                </a:lnTo>
                <a:lnTo>
                  <a:pt x="2309560" y="4159864"/>
                </a:lnTo>
                <a:lnTo>
                  <a:pt x="2309234" y="4157482"/>
                </a:lnTo>
                <a:lnTo>
                  <a:pt x="2310645" y="4155100"/>
                </a:lnTo>
                <a:lnTo>
                  <a:pt x="2313358" y="4156291"/>
                </a:lnTo>
                <a:lnTo>
                  <a:pt x="2315094" y="4160188"/>
                </a:lnTo>
                <a:lnTo>
                  <a:pt x="2317265" y="4162570"/>
                </a:lnTo>
                <a:lnTo>
                  <a:pt x="2318567" y="4161380"/>
                </a:lnTo>
                <a:lnTo>
                  <a:pt x="2316288" y="4158673"/>
                </a:lnTo>
                <a:lnTo>
                  <a:pt x="2315745" y="4150336"/>
                </a:lnTo>
                <a:lnTo>
                  <a:pt x="2315203" y="4146763"/>
                </a:lnTo>
                <a:lnTo>
                  <a:pt x="2312490" y="4148496"/>
                </a:lnTo>
                <a:lnTo>
                  <a:pt x="2308583" y="4146763"/>
                </a:lnTo>
                <a:lnTo>
                  <a:pt x="2308583" y="4143731"/>
                </a:lnTo>
                <a:lnTo>
                  <a:pt x="2313684" y="4139076"/>
                </a:lnTo>
                <a:lnTo>
                  <a:pt x="2316071" y="4135503"/>
                </a:lnTo>
                <a:lnTo>
                  <a:pt x="2313032" y="4135936"/>
                </a:lnTo>
                <a:lnTo>
                  <a:pt x="2311405" y="4137019"/>
                </a:lnTo>
                <a:lnTo>
                  <a:pt x="2307824" y="4132688"/>
                </a:lnTo>
                <a:lnTo>
                  <a:pt x="2303483" y="4132580"/>
                </a:lnTo>
                <a:lnTo>
                  <a:pt x="2302506" y="4133879"/>
                </a:lnTo>
                <a:lnTo>
                  <a:pt x="2302181" y="4140592"/>
                </a:lnTo>
                <a:lnTo>
                  <a:pt x="2295453" y="4142324"/>
                </a:lnTo>
                <a:lnTo>
                  <a:pt x="2288507" y="4139401"/>
                </a:lnTo>
                <a:lnTo>
                  <a:pt x="2286771" y="4135828"/>
                </a:lnTo>
                <a:lnTo>
                  <a:pt x="2284601" y="4133554"/>
                </a:lnTo>
                <a:lnTo>
                  <a:pt x="2277113" y="4122078"/>
                </a:lnTo>
                <a:lnTo>
                  <a:pt x="2275594" y="4119587"/>
                </a:lnTo>
                <a:lnTo>
                  <a:pt x="2276679" y="4118072"/>
                </a:lnTo>
                <a:lnTo>
                  <a:pt x="2277656" y="4114823"/>
                </a:lnTo>
                <a:lnTo>
                  <a:pt x="2275052" y="4112550"/>
                </a:lnTo>
                <a:lnTo>
                  <a:pt x="2277330" y="4109843"/>
                </a:lnTo>
                <a:lnTo>
                  <a:pt x="2276462" y="4105512"/>
                </a:lnTo>
                <a:lnTo>
                  <a:pt x="2279067" y="4095768"/>
                </a:lnTo>
                <a:lnTo>
                  <a:pt x="2275920" y="4093169"/>
                </a:lnTo>
                <a:lnTo>
                  <a:pt x="2274726" y="4088730"/>
                </a:lnTo>
                <a:lnTo>
                  <a:pt x="2276354" y="4084399"/>
                </a:lnTo>
                <a:lnTo>
                  <a:pt x="2278850" y="4084075"/>
                </a:lnTo>
                <a:lnTo>
                  <a:pt x="2280586" y="4085049"/>
                </a:lnTo>
                <a:lnTo>
                  <a:pt x="2281454" y="4082017"/>
                </a:lnTo>
                <a:lnTo>
                  <a:pt x="2280586" y="4078661"/>
                </a:lnTo>
                <a:lnTo>
                  <a:pt x="2282539" y="4077145"/>
                </a:lnTo>
                <a:lnTo>
                  <a:pt x="2284601" y="4066643"/>
                </a:lnTo>
                <a:lnTo>
                  <a:pt x="2284601" y="4058631"/>
                </a:lnTo>
                <a:lnTo>
                  <a:pt x="2281671" y="4055924"/>
                </a:lnTo>
                <a:lnTo>
                  <a:pt x="2280477" y="4052460"/>
                </a:lnTo>
                <a:lnTo>
                  <a:pt x="2272990" y="4039900"/>
                </a:lnTo>
                <a:lnTo>
                  <a:pt x="2273858" y="4033512"/>
                </a:lnTo>
                <a:lnTo>
                  <a:pt x="2273207" y="4028531"/>
                </a:lnTo>
                <a:lnTo>
                  <a:pt x="2267998" y="4024200"/>
                </a:lnTo>
                <a:lnTo>
                  <a:pt x="2264743" y="4019437"/>
                </a:lnTo>
                <a:lnTo>
                  <a:pt x="2264634" y="4012183"/>
                </a:lnTo>
                <a:lnTo>
                  <a:pt x="2263766" y="4006986"/>
                </a:lnTo>
                <a:lnTo>
                  <a:pt x="2264200" y="4004063"/>
                </a:lnTo>
                <a:lnTo>
                  <a:pt x="2267672" y="4003304"/>
                </a:lnTo>
                <a:lnTo>
                  <a:pt x="2270602" y="4005470"/>
                </a:lnTo>
                <a:lnTo>
                  <a:pt x="2273424" y="4005145"/>
                </a:lnTo>
                <a:lnTo>
                  <a:pt x="2276137" y="4001247"/>
                </a:lnTo>
                <a:lnTo>
                  <a:pt x="2275920" y="3996375"/>
                </a:lnTo>
                <a:lnTo>
                  <a:pt x="2274400" y="3992478"/>
                </a:lnTo>
                <a:lnTo>
                  <a:pt x="2274726" y="3989013"/>
                </a:lnTo>
                <a:lnTo>
                  <a:pt x="2276354" y="3986090"/>
                </a:lnTo>
                <a:lnTo>
                  <a:pt x="2276354" y="3981651"/>
                </a:lnTo>
                <a:lnTo>
                  <a:pt x="2279610" y="3979377"/>
                </a:lnTo>
                <a:lnTo>
                  <a:pt x="2280151" y="3975371"/>
                </a:lnTo>
                <a:lnTo>
                  <a:pt x="2280260" y="3968874"/>
                </a:lnTo>
                <a:lnTo>
                  <a:pt x="2283190" y="3964544"/>
                </a:lnTo>
                <a:lnTo>
                  <a:pt x="2281454" y="3961837"/>
                </a:lnTo>
                <a:lnTo>
                  <a:pt x="2281128" y="3959238"/>
                </a:lnTo>
                <a:lnTo>
                  <a:pt x="2283841" y="3956315"/>
                </a:lnTo>
                <a:lnTo>
                  <a:pt x="2284384" y="3950468"/>
                </a:lnTo>
                <a:lnTo>
                  <a:pt x="2285578" y="3948411"/>
                </a:lnTo>
                <a:lnTo>
                  <a:pt x="2285252" y="3944081"/>
                </a:lnTo>
                <a:lnTo>
                  <a:pt x="2287314" y="3940183"/>
                </a:lnTo>
                <a:lnTo>
                  <a:pt x="2287965" y="3932929"/>
                </a:lnTo>
                <a:lnTo>
                  <a:pt x="2287965" y="3929031"/>
                </a:lnTo>
                <a:lnTo>
                  <a:pt x="2290787" y="3925891"/>
                </a:lnTo>
                <a:lnTo>
                  <a:pt x="2292522" y="3920261"/>
                </a:lnTo>
                <a:lnTo>
                  <a:pt x="2290569" y="3917987"/>
                </a:lnTo>
                <a:lnTo>
                  <a:pt x="2290569" y="3915930"/>
                </a:lnTo>
                <a:lnTo>
                  <a:pt x="2293825" y="3909217"/>
                </a:lnTo>
                <a:lnTo>
                  <a:pt x="2297515" y="3907052"/>
                </a:lnTo>
                <a:lnTo>
                  <a:pt x="2300119" y="3902830"/>
                </a:lnTo>
                <a:lnTo>
                  <a:pt x="2299360" y="3898715"/>
                </a:lnTo>
                <a:lnTo>
                  <a:pt x="2294042" y="3891353"/>
                </a:lnTo>
                <a:lnTo>
                  <a:pt x="2292631" y="3888971"/>
                </a:lnTo>
                <a:lnTo>
                  <a:pt x="2293825" y="3884857"/>
                </a:lnTo>
                <a:lnTo>
                  <a:pt x="2294585" y="3881175"/>
                </a:lnTo>
                <a:lnTo>
                  <a:pt x="2293390" y="3877061"/>
                </a:lnTo>
                <a:lnTo>
                  <a:pt x="2293174" y="3874679"/>
                </a:lnTo>
                <a:lnTo>
                  <a:pt x="2294802" y="3868832"/>
                </a:lnTo>
                <a:lnTo>
                  <a:pt x="2294367" y="3860387"/>
                </a:lnTo>
                <a:lnTo>
                  <a:pt x="2289376" y="3853133"/>
                </a:lnTo>
                <a:lnTo>
                  <a:pt x="2288833" y="3848911"/>
                </a:lnTo>
                <a:lnTo>
                  <a:pt x="2291112" y="3846312"/>
                </a:lnTo>
                <a:lnTo>
                  <a:pt x="2291112" y="3838408"/>
                </a:lnTo>
                <a:lnTo>
                  <a:pt x="2285578" y="3824117"/>
                </a:lnTo>
                <a:lnTo>
                  <a:pt x="2285144" y="3819137"/>
                </a:lnTo>
                <a:lnTo>
                  <a:pt x="2284058" y="3813831"/>
                </a:lnTo>
                <a:lnTo>
                  <a:pt x="2284276" y="3807660"/>
                </a:lnTo>
                <a:lnTo>
                  <a:pt x="2287531" y="3806252"/>
                </a:lnTo>
                <a:lnTo>
                  <a:pt x="2291004" y="3802138"/>
                </a:lnTo>
                <a:lnTo>
                  <a:pt x="2287639" y="3798023"/>
                </a:lnTo>
                <a:lnTo>
                  <a:pt x="2289701" y="3792719"/>
                </a:lnTo>
                <a:lnTo>
                  <a:pt x="2293174" y="3790228"/>
                </a:lnTo>
                <a:lnTo>
                  <a:pt x="2290461" y="3786005"/>
                </a:lnTo>
                <a:lnTo>
                  <a:pt x="2289593" y="3779076"/>
                </a:lnTo>
                <a:lnTo>
                  <a:pt x="2285252" y="3772364"/>
                </a:lnTo>
                <a:lnTo>
                  <a:pt x="2285252" y="3768574"/>
                </a:lnTo>
                <a:lnTo>
                  <a:pt x="2289267" y="3759695"/>
                </a:lnTo>
                <a:lnTo>
                  <a:pt x="2290135" y="3756340"/>
                </a:lnTo>
                <a:lnTo>
                  <a:pt x="2288724" y="3748869"/>
                </a:lnTo>
                <a:lnTo>
                  <a:pt x="2291112" y="3744863"/>
                </a:lnTo>
                <a:lnTo>
                  <a:pt x="2291437" y="3738691"/>
                </a:lnTo>
                <a:lnTo>
                  <a:pt x="2295453" y="3732628"/>
                </a:lnTo>
                <a:lnTo>
                  <a:pt x="2295453" y="3729813"/>
                </a:lnTo>
                <a:lnTo>
                  <a:pt x="2294259" y="3726348"/>
                </a:lnTo>
                <a:lnTo>
                  <a:pt x="2294259" y="3719744"/>
                </a:lnTo>
                <a:lnTo>
                  <a:pt x="2296863" y="3715305"/>
                </a:lnTo>
                <a:lnTo>
                  <a:pt x="2297297" y="3703287"/>
                </a:lnTo>
                <a:lnTo>
                  <a:pt x="2298383" y="3698306"/>
                </a:lnTo>
                <a:lnTo>
                  <a:pt x="2293825" y="3690186"/>
                </a:lnTo>
                <a:lnTo>
                  <a:pt x="2293825" y="3684014"/>
                </a:lnTo>
                <a:lnTo>
                  <a:pt x="2297840" y="3677627"/>
                </a:lnTo>
                <a:lnTo>
                  <a:pt x="2298708" y="3671455"/>
                </a:lnTo>
                <a:lnTo>
                  <a:pt x="2297948" y="3664093"/>
                </a:lnTo>
                <a:lnTo>
                  <a:pt x="2294585" y="3654673"/>
                </a:lnTo>
                <a:lnTo>
                  <a:pt x="2294367" y="3629662"/>
                </a:lnTo>
                <a:lnTo>
                  <a:pt x="2297297" y="3626956"/>
                </a:lnTo>
                <a:lnTo>
                  <a:pt x="2295453" y="3625223"/>
                </a:lnTo>
                <a:lnTo>
                  <a:pt x="2292306" y="3627498"/>
                </a:lnTo>
                <a:lnTo>
                  <a:pt x="2290787" y="3625115"/>
                </a:lnTo>
                <a:lnTo>
                  <a:pt x="2290244" y="3615588"/>
                </a:lnTo>
                <a:lnTo>
                  <a:pt x="2293499" y="3613422"/>
                </a:lnTo>
                <a:lnTo>
                  <a:pt x="2296972" y="3611365"/>
                </a:lnTo>
                <a:lnTo>
                  <a:pt x="2296972" y="3607251"/>
                </a:lnTo>
                <a:lnTo>
                  <a:pt x="2296103" y="3590360"/>
                </a:lnTo>
                <a:lnTo>
                  <a:pt x="2297189" y="3588087"/>
                </a:lnTo>
                <a:lnTo>
                  <a:pt x="2298491" y="3584730"/>
                </a:lnTo>
                <a:lnTo>
                  <a:pt x="2298491" y="3572279"/>
                </a:lnTo>
                <a:lnTo>
                  <a:pt x="2295453" y="3564700"/>
                </a:lnTo>
                <a:lnTo>
                  <a:pt x="2292522" y="3555822"/>
                </a:lnTo>
                <a:lnTo>
                  <a:pt x="2290569" y="3546728"/>
                </a:lnTo>
                <a:lnTo>
                  <a:pt x="2293174" y="3543912"/>
                </a:lnTo>
                <a:lnTo>
                  <a:pt x="2294585" y="3539149"/>
                </a:lnTo>
                <a:lnTo>
                  <a:pt x="2294585" y="3532436"/>
                </a:lnTo>
                <a:lnTo>
                  <a:pt x="2290787" y="3514571"/>
                </a:lnTo>
                <a:lnTo>
                  <a:pt x="2289593" y="3507859"/>
                </a:lnTo>
                <a:lnTo>
                  <a:pt x="2290244" y="3502878"/>
                </a:lnTo>
                <a:lnTo>
                  <a:pt x="2289701" y="3496165"/>
                </a:lnTo>
                <a:lnTo>
                  <a:pt x="2287639" y="3494216"/>
                </a:lnTo>
                <a:lnTo>
                  <a:pt x="2293608" y="3491402"/>
                </a:lnTo>
                <a:lnTo>
                  <a:pt x="2298816" y="3487937"/>
                </a:lnTo>
                <a:lnTo>
                  <a:pt x="2301964" y="3488586"/>
                </a:lnTo>
                <a:lnTo>
                  <a:pt x="2306521" y="3485663"/>
                </a:lnTo>
                <a:lnTo>
                  <a:pt x="2308258" y="3481765"/>
                </a:lnTo>
                <a:lnTo>
                  <a:pt x="2308257" y="3481765"/>
                </a:lnTo>
                <a:lnTo>
                  <a:pt x="2306521" y="3485663"/>
                </a:lnTo>
                <a:lnTo>
                  <a:pt x="2301963" y="3488586"/>
                </a:lnTo>
                <a:lnTo>
                  <a:pt x="2298816" y="3487936"/>
                </a:lnTo>
                <a:lnTo>
                  <a:pt x="2293608" y="3491401"/>
                </a:lnTo>
                <a:lnTo>
                  <a:pt x="2287639" y="3494216"/>
                </a:lnTo>
                <a:lnTo>
                  <a:pt x="2286771" y="3493350"/>
                </a:lnTo>
                <a:lnTo>
                  <a:pt x="2282648" y="3492050"/>
                </a:lnTo>
                <a:lnTo>
                  <a:pt x="2276462" y="3486420"/>
                </a:lnTo>
                <a:lnTo>
                  <a:pt x="2269950" y="3479708"/>
                </a:lnTo>
                <a:lnTo>
                  <a:pt x="2264525" y="3477434"/>
                </a:lnTo>
                <a:lnTo>
                  <a:pt x="2259099" y="3476351"/>
                </a:lnTo>
                <a:lnTo>
                  <a:pt x="2258991" y="3472995"/>
                </a:lnTo>
                <a:lnTo>
                  <a:pt x="2259316" y="3470505"/>
                </a:lnTo>
                <a:lnTo>
                  <a:pt x="2257797" y="3467473"/>
                </a:lnTo>
                <a:lnTo>
                  <a:pt x="2254541" y="3466174"/>
                </a:lnTo>
                <a:lnTo>
                  <a:pt x="2249441" y="3461302"/>
                </a:lnTo>
                <a:lnTo>
                  <a:pt x="2245751" y="3459028"/>
                </a:lnTo>
                <a:lnTo>
                  <a:pt x="2239241" y="3454264"/>
                </a:lnTo>
                <a:lnTo>
                  <a:pt x="2237938" y="3451124"/>
                </a:lnTo>
                <a:lnTo>
                  <a:pt x="2235768" y="3449934"/>
                </a:lnTo>
                <a:lnTo>
                  <a:pt x="2231319" y="3449717"/>
                </a:lnTo>
                <a:lnTo>
                  <a:pt x="2225024" y="3447335"/>
                </a:lnTo>
                <a:lnTo>
                  <a:pt x="2215801" y="3441704"/>
                </a:lnTo>
                <a:lnTo>
                  <a:pt x="2211677" y="3440622"/>
                </a:lnTo>
                <a:lnTo>
                  <a:pt x="2209615" y="3441380"/>
                </a:lnTo>
                <a:lnTo>
                  <a:pt x="2203864" y="3439323"/>
                </a:lnTo>
                <a:lnTo>
                  <a:pt x="2200175" y="3436941"/>
                </a:lnTo>
                <a:lnTo>
                  <a:pt x="2199632" y="3433368"/>
                </a:lnTo>
                <a:lnTo>
                  <a:pt x="2196160" y="3430120"/>
                </a:lnTo>
                <a:lnTo>
                  <a:pt x="2188454" y="3426114"/>
                </a:lnTo>
                <a:lnTo>
                  <a:pt x="2184331" y="3421458"/>
                </a:lnTo>
                <a:lnTo>
                  <a:pt x="2185742" y="3417344"/>
                </a:lnTo>
                <a:lnTo>
                  <a:pt x="2183463" y="3420159"/>
                </a:lnTo>
                <a:lnTo>
                  <a:pt x="2176192" y="3420484"/>
                </a:lnTo>
                <a:lnTo>
                  <a:pt x="2173154" y="3418535"/>
                </a:lnTo>
                <a:lnTo>
                  <a:pt x="2171417" y="3414529"/>
                </a:lnTo>
                <a:lnTo>
                  <a:pt x="2169681" y="3412255"/>
                </a:lnTo>
                <a:lnTo>
                  <a:pt x="2165123" y="3411713"/>
                </a:lnTo>
                <a:lnTo>
                  <a:pt x="2161543" y="3407275"/>
                </a:lnTo>
                <a:lnTo>
                  <a:pt x="2161217" y="3404027"/>
                </a:lnTo>
                <a:lnTo>
                  <a:pt x="2153621" y="3400237"/>
                </a:lnTo>
                <a:lnTo>
                  <a:pt x="2145699" y="3394715"/>
                </a:lnTo>
                <a:lnTo>
                  <a:pt x="2146784" y="3392333"/>
                </a:lnTo>
                <a:lnTo>
                  <a:pt x="2146024" y="3389193"/>
                </a:lnTo>
                <a:lnTo>
                  <a:pt x="2142986" y="3387136"/>
                </a:lnTo>
                <a:lnTo>
                  <a:pt x="2140165" y="3387678"/>
                </a:lnTo>
                <a:lnTo>
                  <a:pt x="2140165" y="3384105"/>
                </a:lnTo>
                <a:lnTo>
                  <a:pt x="2139297" y="3380099"/>
                </a:lnTo>
                <a:lnTo>
                  <a:pt x="2139513" y="3377717"/>
                </a:lnTo>
                <a:lnTo>
                  <a:pt x="2141793" y="3379232"/>
                </a:lnTo>
                <a:lnTo>
                  <a:pt x="2143854" y="3378366"/>
                </a:lnTo>
                <a:lnTo>
                  <a:pt x="2143637" y="3373927"/>
                </a:lnTo>
                <a:lnTo>
                  <a:pt x="2135715" y="3362775"/>
                </a:lnTo>
                <a:lnTo>
                  <a:pt x="2133979" y="3357254"/>
                </a:lnTo>
                <a:lnTo>
                  <a:pt x="2127143" y="3346210"/>
                </a:lnTo>
                <a:lnTo>
                  <a:pt x="2125841" y="3340580"/>
                </a:lnTo>
                <a:lnTo>
                  <a:pt x="2119655" y="3338306"/>
                </a:lnTo>
                <a:lnTo>
                  <a:pt x="2117485" y="3335383"/>
                </a:lnTo>
                <a:lnTo>
                  <a:pt x="2116617" y="3328671"/>
                </a:lnTo>
                <a:lnTo>
                  <a:pt x="2114555" y="3324447"/>
                </a:lnTo>
                <a:lnTo>
                  <a:pt x="2106416" y="3317194"/>
                </a:lnTo>
                <a:lnTo>
                  <a:pt x="2103269" y="3316220"/>
                </a:lnTo>
                <a:lnTo>
                  <a:pt x="2102510" y="3312863"/>
                </a:lnTo>
                <a:lnTo>
                  <a:pt x="2103703" y="3308965"/>
                </a:lnTo>
                <a:lnTo>
                  <a:pt x="2100773" y="3303985"/>
                </a:lnTo>
                <a:lnTo>
                  <a:pt x="2093177" y="3294457"/>
                </a:lnTo>
                <a:lnTo>
                  <a:pt x="2089379" y="3286228"/>
                </a:lnTo>
                <a:lnTo>
                  <a:pt x="2090789" y="3284388"/>
                </a:lnTo>
                <a:lnTo>
                  <a:pt x="2089921" y="3278649"/>
                </a:lnTo>
                <a:lnTo>
                  <a:pt x="2085581" y="3270962"/>
                </a:lnTo>
                <a:lnTo>
                  <a:pt x="2081783" y="3268688"/>
                </a:lnTo>
                <a:lnTo>
                  <a:pt x="2078527" y="3263384"/>
                </a:lnTo>
                <a:lnTo>
                  <a:pt x="2077659" y="3255588"/>
                </a:lnTo>
                <a:lnTo>
                  <a:pt x="2074946" y="3251040"/>
                </a:lnTo>
                <a:lnTo>
                  <a:pt x="2073536" y="3244111"/>
                </a:lnTo>
                <a:lnTo>
                  <a:pt x="2069194" y="3237074"/>
                </a:lnTo>
                <a:lnTo>
                  <a:pt x="2059537" y="3232093"/>
                </a:lnTo>
                <a:lnTo>
                  <a:pt x="2056824" y="3227329"/>
                </a:lnTo>
                <a:lnTo>
                  <a:pt x="2056064" y="3220725"/>
                </a:lnTo>
                <a:lnTo>
                  <a:pt x="2050747" y="3213254"/>
                </a:lnTo>
                <a:lnTo>
                  <a:pt x="2049553" y="3209248"/>
                </a:lnTo>
                <a:lnTo>
                  <a:pt x="2044778" y="3208057"/>
                </a:lnTo>
                <a:lnTo>
                  <a:pt x="2034903" y="3201561"/>
                </a:lnTo>
                <a:lnTo>
                  <a:pt x="2028393" y="3200695"/>
                </a:lnTo>
                <a:lnTo>
                  <a:pt x="2021339" y="3194632"/>
                </a:lnTo>
                <a:lnTo>
                  <a:pt x="2016456" y="3192791"/>
                </a:lnTo>
                <a:lnTo>
                  <a:pt x="2012549" y="3189001"/>
                </a:lnTo>
                <a:lnTo>
                  <a:pt x="2013959" y="3185320"/>
                </a:lnTo>
                <a:lnTo>
                  <a:pt x="2017757" y="3183696"/>
                </a:lnTo>
                <a:lnTo>
                  <a:pt x="2021339" y="3183479"/>
                </a:lnTo>
                <a:lnTo>
                  <a:pt x="2021773" y="3178824"/>
                </a:lnTo>
                <a:lnTo>
                  <a:pt x="2018192" y="3172111"/>
                </a:lnTo>
                <a:lnTo>
                  <a:pt x="2013526" y="3167997"/>
                </a:lnTo>
                <a:lnTo>
                  <a:pt x="2013526" y="3165398"/>
                </a:lnTo>
                <a:lnTo>
                  <a:pt x="2016456" y="3163342"/>
                </a:lnTo>
                <a:lnTo>
                  <a:pt x="2016021" y="3159877"/>
                </a:lnTo>
                <a:lnTo>
                  <a:pt x="2012223" y="3156845"/>
                </a:lnTo>
                <a:lnTo>
                  <a:pt x="2011681" y="3154571"/>
                </a:lnTo>
                <a:lnTo>
                  <a:pt x="2013526" y="3149916"/>
                </a:lnTo>
                <a:lnTo>
                  <a:pt x="2015262" y="3143961"/>
                </a:lnTo>
                <a:lnTo>
                  <a:pt x="2023509" y="3135841"/>
                </a:lnTo>
                <a:lnTo>
                  <a:pt x="2027850" y="3131835"/>
                </a:lnTo>
                <a:lnTo>
                  <a:pt x="2039570" y="3126746"/>
                </a:lnTo>
                <a:lnTo>
                  <a:pt x="2039895" y="3126421"/>
                </a:lnTo>
                <a:lnTo>
                  <a:pt x="2042065" y="3127612"/>
                </a:lnTo>
                <a:lnTo>
                  <a:pt x="2044127" y="3134108"/>
                </a:lnTo>
                <a:lnTo>
                  <a:pt x="2039135" y="3136707"/>
                </a:lnTo>
                <a:lnTo>
                  <a:pt x="2035120" y="3141146"/>
                </a:lnTo>
                <a:lnTo>
                  <a:pt x="2035880" y="3145802"/>
                </a:lnTo>
                <a:lnTo>
                  <a:pt x="2040655" y="3146018"/>
                </a:lnTo>
                <a:lnTo>
                  <a:pt x="2035881" y="3145801"/>
                </a:lnTo>
                <a:lnTo>
                  <a:pt x="2035121" y="3141145"/>
                </a:lnTo>
                <a:lnTo>
                  <a:pt x="2039136" y="3136706"/>
                </a:lnTo>
                <a:lnTo>
                  <a:pt x="2044128" y="3134108"/>
                </a:lnTo>
                <a:lnTo>
                  <a:pt x="2042066" y="3127612"/>
                </a:lnTo>
                <a:lnTo>
                  <a:pt x="2039896" y="3126421"/>
                </a:lnTo>
                <a:lnTo>
                  <a:pt x="2046081" y="3121224"/>
                </a:lnTo>
                <a:lnTo>
                  <a:pt x="2048577" y="3115160"/>
                </a:lnTo>
                <a:lnTo>
                  <a:pt x="2047817" y="3111588"/>
                </a:lnTo>
                <a:lnTo>
                  <a:pt x="2049012" y="3104875"/>
                </a:lnTo>
                <a:lnTo>
                  <a:pt x="2047492" y="3098704"/>
                </a:lnTo>
                <a:lnTo>
                  <a:pt x="2045973" y="3098379"/>
                </a:lnTo>
                <a:lnTo>
                  <a:pt x="2046299" y="3102168"/>
                </a:lnTo>
                <a:lnTo>
                  <a:pt x="2045431" y="3104442"/>
                </a:lnTo>
                <a:lnTo>
                  <a:pt x="2044888" y="3100761"/>
                </a:lnTo>
                <a:lnTo>
                  <a:pt x="2044779" y="3096647"/>
                </a:lnTo>
                <a:lnTo>
                  <a:pt x="2041306" y="3100111"/>
                </a:lnTo>
                <a:lnTo>
                  <a:pt x="2039788" y="3103035"/>
                </a:lnTo>
                <a:lnTo>
                  <a:pt x="2037726" y="3108664"/>
                </a:lnTo>
                <a:lnTo>
                  <a:pt x="2035772" y="3110072"/>
                </a:lnTo>
                <a:lnTo>
                  <a:pt x="2031865" y="3107474"/>
                </a:lnTo>
                <a:lnTo>
                  <a:pt x="2026982" y="3102493"/>
                </a:lnTo>
                <a:lnTo>
                  <a:pt x="2021774" y="3100436"/>
                </a:lnTo>
                <a:lnTo>
                  <a:pt x="2019061" y="3096863"/>
                </a:lnTo>
                <a:lnTo>
                  <a:pt x="2021448" y="3094589"/>
                </a:lnTo>
                <a:lnTo>
                  <a:pt x="2024053" y="3090150"/>
                </a:lnTo>
                <a:lnTo>
                  <a:pt x="2023184" y="3083113"/>
                </a:lnTo>
                <a:lnTo>
                  <a:pt x="2023727" y="3079323"/>
                </a:lnTo>
                <a:lnTo>
                  <a:pt x="2021883" y="3074343"/>
                </a:lnTo>
                <a:lnTo>
                  <a:pt x="2020146" y="3070554"/>
                </a:lnTo>
                <a:lnTo>
                  <a:pt x="2024378" y="3064707"/>
                </a:lnTo>
                <a:lnTo>
                  <a:pt x="2029479" y="3064057"/>
                </a:lnTo>
                <a:lnTo>
                  <a:pt x="2034036" y="3057452"/>
                </a:lnTo>
                <a:lnTo>
                  <a:pt x="2031974" y="3054746"/>
                </a:lnTo>
                <a:lnTo>
                  <a:pt x="2032625" y="3050632"/>
                </a:lnTo>
                <a:lnTo>
                  <a:pt x="2041632" y="3040995"/>
                </a:lnTo>
                <a:lnTo>
                  <a:pt x="2042934" y="3034391"/>
                </a:lnTo>
                <a:lnTo>
                  <a:pt x="2040873" y="3030926"/>
                </a:lnTo>
                <a:lnTo>
                  <a:pt x="2040547" y="3027570"/>
                </a:lnTo>
                <a:lnTo>
                  <a:pt x="2037400" y="3022048"/>
                </a:lnTo>
                <a:lnTo>
                  <a:pt x="2043694" y="3018908"/>
                </a:lnTo>
                <a:lnTo>
                  <a:pt x="2049554" y="3018583"/>
                </a:lnTo>
                <a:lnTo>
                  <a:pt x="2060948" y="3010680"/>
                </a:lnTo>
                <a:lnTo>
                  <a:pt x="2067785" y="3010355"/>
                </a:lnTo>
                <a:lnTo>
                  <a:pt x="2069195" y="3004725"/>
                </a:lnTo>
                <a:lnTo>
                  <a:pt x="2076140" y="3007324"/>
                </a:lnTo>
                <a:lnTo>
                  <a:pt x="2081966" y="3011359"/>
                </a:lnTo>
                <a:lnTo>
                  <a:pt x="2076140" y="3007323"/>
                </a:lnTo>
                <a:lnTo>
                  <a:pt x="2069195" y="3004724"/>
                </a:lnTo>
                <a:lnTo>
                  <a:pt x="2070280" y="3000393"/>
                </a:lnTo>
                <a:lnTo>
                  <a:pt x="2071257" y="2992382"/>
                </a:lnTo>
                <a:lnTo>
                  <a:pt x="2077876" y="2982421"/>
                </a:lnTo>
                <a:lnTo>
                  <a:pt x="2084712" y="2977224"/>
                </a:lnTo>
                <a:lnTo>
                  <a:pt x="2093720" y="2975275"/>
                </a:lnTo>
                <a:lnTo>
                  <a:pt x="2100448" y="2968779"/>
                </a:lnTo>
                <a:lnTo>
                  <a:pt x="2102835" y="2963798"/>
                </a:lnTo>
                <a:lnTo>
                  <a:pt x="2111733" y="2954812"/>
                </a:lnTo>
                <a:lnTo>
                  <a:pt x="2113795" y="2949507"/>
                </a:lnTo>
                <a:lnTo>
                  <a:pt x="2116291" y="2946475"/>
                </a:lnTo>
                <a:lnTo>
                  <a:pt x="2116074" y="2944201"/>
                </a:lnTo>
                <a:lnTo>
                  <a:pt x="2113578" y="2944418"/>
                </a:lnTo>
                <a:lnTo>
                  <a:pt x="2111082" y="2940953"/>
                </a:lnTo>
                <a:lnTo>
                  <a:pt x="2111733" y="2938354"/>
                </a:lnTo>
                <a:lnTo>
                  <a:pt x="2107501" y="2940195"/>
                </a:lnTo>
                <a:lnTo>
                  <a:pt x="2104680" y="2936189"/>
                </a:lnTo>
                <a:lnTo>
                  <a:pt x="2105222" y="2932832"/>
                </a:lnTo>
                <a:lnTo>
                  <a:pt x="2108587" y="2928935"/>
                </a:lnTo>
                <a:lnTo>
                  <a:pt x="2108152" y="2917783"/>
                </a:lnTo>
                <a:lnTo>
                  <a:pt x="2108695" y="2909771"/>
                </a:lnTo>
                <a:lnTo>
                  <a:pt x="2106850" y="2905440"/>
                </a:lnTo>
                <a:lnTo>
                  <a:pt x="2104897" y="2904574"/>
                </a:lnTo>
                <a:lnTo>
                  <a:pt x="2106850" y="2901110"/>
                </a:lnTo>
                <a:lnTo>
                  <a:pt x="2109888" y="2898835"/>
                </a:lnTo>
                <a:lnTo>
                  <a:pt x="2109888" y="2892231"/>
                </a:lnTo>
                <a:lnTo>
                  <a:pt x="2107067" y="2889091"/>
                </a:lnTo>
                <a:lnTo>
                  <a:pt x="2107175" y="2887034"/>
                </a:lnTo>
                <a:lnTo>
                  <a:pt x="2110105" y="2883786"/>
                </a:lnTo>
                <a:lnTo>
                  <a:pt x="2109455" y="2878480"/>
                </a:lnTo>
                <a:lnTo>
                  <a:pt x="2108152" y="2876316"/>
                </a:lnTo>
                <a:lnTo>
                  <a:pt x="2105874" y="2877506"/>
                </a:lnTo>
                <a:lnTo>
                  <a:pt x="2104029" y="2877723"/>
                </a:lnTo>
                <a:lnTo>
                  <a:pt x="2099363" y="2871876"/>
                </a:lnTo>
                <a:lnTo>
                  <a:pt x="2098820" y="2866463"/>
                </a:lnTo>
                <a:lnTo>
                  <a:pt x="2097843" y="2860941"/>
                </a:lnTo>
                <a:lnTo>
                  <a:pt x="2096866" y="2860075"/>
                </a:lnTo>
                <a:lnTo>
                  <a:pt x="2099905" y="2852821"/>
                </a:lnTo>
                <a:lnTo>
                  <a:pt x="2099905" y="2852821"/>
                </a:lnTo>
                <a:lnTo>
                  <a:pt x="2096866" y="2860075"/>
                </a:lnTo>
                <a:lnTo>
                  <a:pt x="2091874" y="2855636"/>
                </a:lnTo>
                <a:lnTo>
                  <a:pt x="2086557" y="2848166"/>
                </a:lnTo>
                <a:lnTo>
                  <a:pt x="2084495" y="2841994"/>
                </a:lnTo>
                <a:lnTo>
                  <a:pt x="2086448" y="2840154"/>
                </a:lnTo>
                <a:lnTo>
                  <a:pt x="2090355" y="2834199"/>
                </a:lnTo>
                <a:lnTo>
                  <a:pt x="2092851" y="2833873"/>
                </a:lnTo>
                <a:lnTo>
                  <a:pt x="2094804" y="2831816"/>
                </a:lnTo>
                <a:lnTo>
                  <a:pt x="2093719" y="2828569"/>
                </a:lnTo>
                <a:lnTo>
                  <a:pt x="2091114" y="2828677"/>
                </a:lnTo>
                <a:lnTo>
                  <a:pt x="2087968" y="2832250"/>
                </a:lnTo>
                <a:lnTo>
                  <a:pt x="2086557" y="2833441"/>
                </a:lnTo>
                <a:lnTo>
                  <a:pt x="2084061" y="2831492"/>
                </a:lnTo>
                <a:lnTo>
                  <a:pt x="2082433" y="2827053"/>
                </a:lnTo>
                <a:lnTo>
                  <a:pt x="2078201" y="2821531"/>
                </a:lnTo>
                <a:lnTo>
                  <a:pt x="2075054" y="2820989"/>
                </a:lnTo>
                <a:lnTo>
                  <a:pt x="2070714" y="2816659"/>
                </a:lnTo>
                <a:lnTo>
                  <a:pt x="2067675" y="2815035"/>
                </a:lnTo>
                <a:lnTo>
                  <a:pt x="2061923" y="2815576"/>
                </a:lnTo>
                <a:lnTo>
                  <a:pt x="2054762" y="2819365"/>
                </a:lnTo>
                <a:lnTo>
                  <a:pt x="2054219" y="2824021"/>
                </a:lnTo>
                <a:lnTo>
                  <a:pt x="2055630" y="2825104"/>
                </a:lnTo>
                <a:lnTo>
                  <a:pt x="2055847" y="2827269"/>
                </a:lnTo>
                <a:lnTo>
                  <a:pt x="2049119" y="2833441"/>
                </a:lnTo>
                <a:lnTo>
                  <a:pt x="2041632" y="2835065"/>
                </a:lnTo>
                <a:lnTo>
                  <a:pt x="2037725" y="2837122"/>
                </a:lnTo>
                <a:lnTo>
                  <a:pt x="2036857" y="2839829"/>
                </a:lnTo>
                <a:lnTo>
                  <a:pt x="2038702" y="2843726"/>
                </a:lnTo>
                <a:lnTo>
                  <a:pt x="2042717" y="2846541"/>
                </a:lnTo>
                <a:lnTo>
                  <a:pt x="2046406" y="2849789"/>
                </a:lnTo>
                <a:lnTo>
                  <a:pt x="2046080" y="2854662"/>
                </a:lnTo>
                <a:lnTo>
                  <a:pt x="2043585" y="2855419"/>
                </a:lnTo>
                <a:lnTo>
                  <a:pt x="2039352" y="2854770"/>
                </a:lnTo>
                <a:lnTo>
                  <a:pt x="2036097" y="2858127"/>
                </a:lnTo>
                <a:lnTo>
                  <a:pt x="2033167" y="2862565"/>
                </a:lnTo>
                <a:lnTo>
                  <a:pt x="2026439" y="2861591"/>
                </a:lnTo>
                <a:lnTo>
                  <a:pt x="2024920" y="2858884"/>
                </a:lnTo>
                <a:lnTo>
                  <a:pt x="2025788" y="2855419"/>
                </a:lnTo>
                <a:lnTo>
                  <a:pt x="2024595" y="2850656"/>
                </a:lnTo>
                <a:lnTo>
                  <a:pt x="2025463" y="2848057"/>
                </a:lnTo>
                <a:lnTo>
                  <a:pt x="2023943" y="2846000"/>
                </a:lnTo>
                <a:lnTo>
                  <a:pt x="2020796" y="2845458"/>
                </a:lnTo>
                <a:lnTo>
                  <a:pt x="2019169" y="2848057"/>
                </a:lnTo>
                <a:lnTo>
                  <a:pt x="2020796" y="2849789"/>
                </a:lnTo>
                <a:lnTo>
                  <a:pt x="2019385" y="2852713"/>
                </a:lnTo>
                <a:lnTo>
                  <a:pt x="2015371" y="2852821"/>
                </a:lnTo>
                <a:lnTo>
                  <a:pt x="2011572" y="2850656"/>
                </a:lnTo>
                <a:lnTo>
                  <a:pt x="2008534" y="2844484"/>
                </a:lnTo>
                <a:lnTo>
                  <a:pt x="2007449" y="2838313"/>
                </a:lnTo>
                <a:lnTo>
                  <a:pt x="1998767" y="2837122"/>
                </a:lnTo>
                <a:lnTo>
                  <a:pt x="1996054" y="2836364"/>
                </a:lnTo>
                <a:lnTo>
                  <a:pt x="1996380" y="2834632"/>
                </a:lnTo>
                <a:lnTo>
                  <a:pt x="1994209" y="2832466"/>
                </a:lnTo>
                <a:lnTo>
                  <a:pt x="1992039" y="2834091"/>
                </a:lnTo>
                <a:lnTo>
                  <a:pt x="1987590" y="2834848"/>
                </a:lnTo>
                <a:lnTo>
                  <a:pt x="1983575" y="2834199"/>
                </a:lnTo>
                <a:lnTo>
                  <a:pt x="1980211" y="2834523"/>
                </a:lnTo>
                <a:lnTo>
                  <a:pt x="1980210" y="2834522"/>
                </a:lnTo>
                <a:lnTo>
                  <a:pt x="1979452" y="2834522"/>
                </a:lnTo>
                <a:lnTo>
                  <a:pt x="1979777" y="2837337"/>
                </a:lnTo>
                <a:lnTo>
                  <a:pt x="1979018" y="2839611"/>
                </a:lnTo>
                <a:lnTo>
                  <a:pt x="1975979" y="2839503"/>
                </a:lnTo>
                <a:lnTo>
                  <a:pt x="1974243" y="2837554"/>
                </a:lnTo>
                <a:lnTo>
                  <a:pt x="1972941" y="2836796"/>
                </a:lnTo>
                <a:lnTo>
                  <a:pt x="1971313" y="2835930"/>
                </a:lnTo>
                <a:lnTo>
                  <a:pt x="1971530" y="2831599"/>
                </a:lnTo>
                <a:lnTo>
                  <a:pt x="1967407" y="2826619"/>
                </a:lnTo>
                <a:lnTo>
                  <a:pt x="1964802" y="2824670"/>
                </a:lnTo>
                <a:lnTo>
                  <a:pt x="1963066" y="2825969"/>
                </a:lnTo>
                <a:lnTo>
                  <a:pt x="1963066" y="2826727"/>
                </a:lnTo>
                <a:lnTo>
                  <a:pt x="1967190" y="2828784"/>
                </a:lnTo>
                <a:lnTo>
                  <a:pt x="1969468" y="2831708"/>
                </a:lnTo>
                <a:lnTo>
                  <a:pt x="1968926" y="2835714"/>
                </a:lnTo>
                <a:lnTo>
                  <a:pt x="1967081" y="2836796"/>
                </a:lnTo>
                <a:lnTo>
                  <a:pt x="1963283" y="2834414"/>
                </a:lnTo>
                <a:lnTo>
                  <a:pt x="1957532" y="2832249"/>
                </a:lnTo>
                <a:lnTo>
                  <a:pt x="1955470" y="2829000"/>
                </a:lnTo>
                <a:lnTo>
                  <a:pt x="1955470" y="2825753"/>
                </a:lnTo>
                <a:lnTo>
                  <a:pt x="1958617" y="2821855"/>
                </a:lnTo>
                <a:lnTo>
                  <a:pt x="1957749" y="2819581"/>
                </a:lnTo>
                <a:lnTo>
                  <a:pt x="1952539" y="2813518"/>
                </a:lnTo>
                <a:lnTo>
                  <a:pt x="1949501" y="2811678"/>
                </a:lnTo>
                <a:lnTo>
                  <a:pt x="1945378" y="2807888"/>
                </a:lnTo>
                <a:lnTo>
                  <a:pt x="1939844" y="2804748"/>
                </a:lnTo>
                <a:lnTo>
                  <a:pt x="1938324" y="2799984"/>
                </a:lnTo>
                <a:lnTo>
                  <a:pt x="1933658" y="2796736"/>
                </a:lnTo>
                <a:lnTo>
                  <a:pt x="1933333" y="2792730"/>
                </a:lnTo>
                <a:lnTo>
                  <a:pt x="1928775" y="2790457"/>
                </a:lnTo>
                <a:lnTo>
                  <a:pt x="1924651" y="2787209"/>
                </a:lnTo>
                <a:lnTo>
                  <a:pt x="1922589" y="2788941"/>
                </a:lnTo>
                <a:lnTo>
                  <a:pt x="1924108" y="2791539"/>
                </a:lnTo>
                <a:lnTo>
                  <a:pt x="1930511" y="2796195"/>
                </a:lnTo>
                <a:lnTo>
                  <a:pt x="1931704" y="2800309"/>
                </a:lnTo>
                <a:lnTo>
                  <a:pt x="1928991" y="2805073"/>
                </a:lnTo>
                <a:lnTo>
                  <a:pt x="1926713" y="2805073"/>
                </a:lnTo>
                <a:lnTo>
                  <a:pt x="1924434" y="2801176"/>
                </a:lnTo>
                <a:lnTo>
                  <a:pt x="1920744" y="2798793"/>
                </a:lnTo>
                <a:lnTo>
                  <a:pt x="1914342" y="2798577"/>
                </a:lnTo>
                <a:lnTo>
                  <a:pt x="1907940" y="2793055"/>
                </a:lnTo>
                <a:lnTo>
                  <a:pt x="1906963" y="2788399"/>
                </a:lnTo>
                <a:lnTo>
                  <a:pt x="1909133" y="2782986"/>
                </a:lnTo>
                <a:lnTo>
                  <a:pt x="1913257" y="2780495"/>
                </a:lnTo>
                <a:lnTo>
                  <a:pt x="1912280" y="2775732"/>
                </a:lnTo>
                <a:lnTo>
                  <a:pt x="1908590" y="2774866"/>
                </a:lnTo>
                <a:lnTo>
                  <a:pt x="1907288" y="2773675"/>
                </a:lnTo>
                <a:lnTo>
                  <a:pt x="1908808" y="2772267"/>
                </a:lnTo>
                <a:lnTo>
                  <a:pt x="1910218" y="2766962"/>
                </a:lnTo>
                <a:lnTo>
                  <a:pt x="1909676" y="2766637"/>
                </a:lnTo>
                <a:lnTo>
                  <a:pt x="1911303" y="2765879"/>
                </a:lnTo>
                <a:lnTo>
                  <a:pt x="1911303" y="2764581"/>
                </a:lnTo>
                <a:lnTo>
                  <a:pt x="1911303" y="2764581"/>
                </a:lnTo>
                <a:lnTo>
                  <a:pt x="1910543" y="2763715"/>
                </a:lnTo>
                <a:lnTo>
                  <a:pt x="1908915" y="2764364"/>
                </a:lnTo>
                <a:lnTo>
                  <a:pt x="1907179" y="2763174"/>
                </a:lnTo>
                <a:lnTo>
                  <a:pt x="1904249" y="2763174"/>
                </a:lnTo>
                <a:lnTo>
                  <a:pt x="1893398" y="2751155"/>
                </a:lnTo>
                <a:lnTo>
                  <a:pt x="1887321" y="2742927"/>
                </a:lnTo>
                <a:lnTo>
                  <a:pt x="1880484" y="2736756"/>
                </a:lnTo>
                <a:lnTo>
                  <a:pt x="1880484" y="2733832"/>
                </a:lnTo>
                <a:lnTo>
                  <a:pt x="1876361" y="2731125"/>
                </a:lnTo>
                <a:lnTo>
                  <a:pt x="1867788" y="2720298"/>
                </a:lnTo>
                <a:lnTo>
                  <a:pt x="1868656" y="2718783"/>
                </a:lnTo>
                <a:lnTo>
                  <a:pt x="1872996" y="2720298"/>
                </a:lnTo>
                <a:lnTo>
                  <a:pt x="1874841" y="2720298"/>
                </a:lnTo>
                <a:lnTo>
                  <a:pt x="1874841" y="2717700"/>
                </a:lnTo>
                <a:lnTo>
                  <a:pt x="1874918" y="2717687"/>
                </a:lnTo>
                <a:lnTo>
                  <a:pt x="1874516" y="2716725"/>
                </a:lnTo>
                <a:lnTo>
                  <a:pt x="1874516" y="2713802"/>
                </a:lnTo>
                <a:lnTo>
                  <a:pt x="1872671" y="2712828"/>
                </a:lnTo>
                <a:lnTo>
                  <a:pt x="1871586" y="2714343"/>
                </a:lnTo>
                <a:lnTo>
                  <a:pt x="1869524" y="2714560"/>
                </a:lnTo>
                <a:lnTo>
                  <a:pt x="1868330" y="2712828"/>
                </a:lnTo>
                <a:lnTo>
                  <a:pt x="1865726" y="2711420"/>
                </a:lnTo>
                <a:lnTo>
                  <a:pt x="1865618" y="2711636"/>
                </a:lnTo>
                <a:lnTo>
                  <a:pt x="1865618" y="2711636"/>
                </a:lnTo>
                <a:lnTo>
                  <a:pt x="1865617" y="2711636"/>
                </a:lnTo>
                <a:lnTo>
                  <a:pt x="1865617" y="2711637"/>
                </a:lnTo>
                <a:lnTo>
                  <a:pt x="1864207" y="2712936"/>
                </a:lnTo>
                <a:lnTo>
                  <a:pt x="1865401" y="2715209"/>
                </a:lnTo>
                <a:lnTo>
                  <a:pt x="1862254" y="2719540"/>
                </a:lnTo>
                <a:lnTo>
                  <a:pt x="1851402" y="2719323"/>
                </a:lnTo>
                <a:lnTo>
                  <a:pt x="1848906" y="2717158"/>
                </a:lnTo>
                <a:lnTo>
                  <a:pt x="1845217" y="2712286"/>
                </a:lnTo>
                <a:lnTo>
                  <a:pt x="1840876" y="2712070"/>
                </a:lnTo>
                <a:lnTo>
                  <a:pt x="1839248" y="2713152"/>
                </a:lnTo>
                <a:lnTo>
                  <a:pt x="1842613" y="2715101"/>
                </a:lnTo>
                <a:lnTo>
                  <a:pt x="1841636" y="2717158"/>
                </a:lnTo>
                <a:lnTo>
                  <a:pt x="1834040" y="2712936"/>
                </a:lnTo>
                <a:lnTo>
                  <a:pt x="1825901" y="2709363"/>
                </a:lnTo>
                <a:lnTo>
                  <a:pt x="1823948" y="2709471"/>
                </a:lnTo>
                <a:lnTo>
                  <a:pt x="1823188" y="2709579"/>
                </a:lnTo>
                <a:lnTo>
                  <a:pt x="1817653" y="2708389"/>
                </a:lnTo>
                <a:lnTo>
                  <a:pt x="1813855" y="2704707"/>
                </a:lnTo>
                <a:lnTo>
                  <a:pt x="1809189" y="2704707"/>
                </a:lnTo>
                <a:lnTo>
                  <a:pt x="1807019" y="2703950"/>
                </a:lnTo>
                <a:lnTo>
                  <a:pt x="1808755" y="2701242"/>
                </a:lnTo>
                <a:lnTo>
                  <a:pt x="1807019" y="2703949"/>
                </a:lnTo>
                <a:lnTo>
                  <a:pt x="1797903" y="2700808"/>
                </a:lnTo>
                <a:lnTo>
                  <a:pt x="1792152" y="2701458"/>
                </a:lnTo>
                <a:lnTo>
                  <a:pt x="1784773" y="2701350"/>
                </a:lnTo>
                <a:lnTo>
                  <a:pt x="1772185" y="2696478"/>
                </a:lnTo>
                <a:lnTo>
                  <a:pt x="1768929" y="2692580"/>
                </a:lnTo>
                <a:lnTo>
                  <a:pt x="1765240" y="2692147"/>
                </a:lnTo>
                <a:lnTo>
                  <a:pt x="1762418" y="2687383"/>
                </a:lnTo>
                <a:lnTo>
                  <a:pt x="1758513" y="2682620"/>
                </a:lnTo>
                <a:lnTo>
                  <a:pt x="1758512" y="2682621"/>
                </a:lnTo>
                <a:lnTo>
                  <a:pt x="1754822" y="2678073"/>
                </a:lnTo>
                <a:lnTo>
                  <a:pt x="1748094" y="2672876"/>
                </a:lnTo>
                <a:lnTo>
                  <a:pt x="1747334" y="2670169"/>
                </a:lnTo>
                <a:lnTo>
                  <a:pt x="1742234" y="2668654"/>
                </a:lnTo>
                <a:lnTo>
                  <a:pt x="1725631" y="2654903"/>
                </a:lnTo>
                <a:lnTo>
                  <a:pt x="1723569" y="2652088"/>
                </a:lnTo>
                <a:lnTo>
                  <a:pt x="1723569" y="2650030"/>
                </a:lnTo>
                <a:lnTo>
                  <a:pt x="1719445" y="2644834"/>
                </a:lnTo>
                <a:lnTo>
                  <a:pt x="1715322" y="2641261"/>
                </a:lnTo>
                <a:lnTo>
                  <a:pt x="1710656" y="2640395"/>
                </a:lnTo>
                <a:lnTo>
                  <a:pt x="1709787" y="2639528"/>
                </a:lnTo>
                <a:lnTo>
                  <a:pt x="1708051" y="2639745"/>
                </a:lnTo>
                <a:lnTo>
                  <a:pt x="1708485" y="2641152"/>
                </a:lnTo>
                <a:lnTo>
                  <a:pt x="1716190" y="2644509"/>
                </a:lnTo>
                <a:lnTo>
                  <a:pt x="1721724" y="2650030"/>
                </a:lnTo>
                <a:lnTo>
                  <a:pt x="1721724" y="2651438"/>
                </a:lnTo>
                <a:lnTo>
                  <a:pt x="1718360" y="2648515"/>
                </a:lnTo>
                <a:lnTo>
                  <a:pt x="1711198" y="2643859"/>
                </a:lnTo>
                <a:lnTo>
                  <a:pt x="1706858" y="2642344"/>
                </a:lnTo>
                <a:lnTo>
                  <a:pt x="1703385" y="2642452"/>
                </a:lnTo>
                <a:lnTo>
                  <a:pt x="1701757" y="2641694"/>
                </a:lnTo>
                <a:lnTo>
                  <a:pt x="1702733" y="2640611"/>
                </a:lnTo>
                <a:lnTo>
                  <a:pt x="1705121" y="2640395"/>
                </a:lnTo>
                <a:lnTo>
                  <a:pt x="1705121" y="2638446"/>
                </a:lnTo>
                <a:lnTo>
                  <a:pt x="1702083" y="2638446"/>
                </a:lnTo>
                <a:lnTo>
                  <a:pt x="1699153" y="2639962"/>
                </a:lnTo>
                <a:lnTo>
                  <a:pt x="1699153" y="2637363"/>
                </a:lnTo>
                <a:lnTo>
                  <a:pt x="1697417" y="2636497"/>
                </a:lnTo>
                <a:lnTo>
                  <a:pt x="1692099" y="2639528"/>
                </a:lnTo>
                <a:lnTo>
                  <a:pt x="1691882" y="2641802"/>
                </a:lnTo>
                <a:lnTo>
                  <a:pt x="1695897" y="2641802"/>
                </a:lnTo>
                <a:lnTo>
                  <a:pt x="1700563" y="2642452"/>
                </a:lnTo>
                <a:lnTo>
                  <a:pt x="1700563" y="2643859"/>
                </a:lnTo>
                <a:lnTo>
                  <a:pt x="1698067" y="2643534"/>
                </a:lnTo>
                <a:lnTo>
                  <a:pt x="1692099" y="2644076"/>
                </a:lnTo>
                <a:lnTo>
                  <a:pt x="1687216" y="2644834"/>
                </a:lnTo>
                <a:lnTo>
                  <a:pt x="1680705" y="2649165"/>
                </a:lnTo>
                <a:lnTo>
                  <a:pt x="1675496" y="2649597"/>
                </a:lnTo>
                <a:lnTo>
                  <a:pt x="1663342" y="2654687"/>
                </a:lnTo>
                <a:lnTo>
                  <a:pt x="1658459" y="2655011"/>
                </a:lnTo>
                <a:lnTo>
                  <a:pt x="1646631" y="2650789"/>
                </a:lnTo>
                <a:lnTo>
                  <a:pt x="1640228" y="2647324"/>
                </a:lnTo>
                <a:lnTo>
                  <a:pt x="1631873" y="2647324"/>
                </a:lnTo>
                <a:lnTo>
                  <a:pt x="1623191" y="2643859"/>
                </a:lnTo>
                <a:lnTo>
                  <a:pt x="1618634" y="2641152"/>
                </a:lnTo>
                <a:lnTo>
                  <a:pt x="1616789" y="2641694"/>
                </a:lnTo>
                <a:lnTo>
                  <a:pt x="1612774" y="2641261"/>
                </a:lnTo>
                <a:lnTo>
                  <a:pt x="1606805" y="2638554"/>
                </a:lnTo>
                <a:lnTo>
                  <a:pt x="1603550" y="2633249"/>
                </a:lnTo>
                <a:lnTo>
                  <a:pt x="1602139" y="2632166"/>
                </a:lnTo>
                <a:lnTo>
                  <a:pt x="1598666" y="2633573"/>
                </a:lnTo>
                <a:lnTo>
                  <a:pt x="1592481" y="2630650"/>
                </a:lnTo>
                <a:lnTo>
                  <a:pt x="1585753" y="2630109"/>
                </a:lnTo>
                <a:lnTo>
                  <a:pt x="1582823" y="2625345"/>
                </a:lnTo>
                <a:lnTo>
                  <a:pt x="1577180" y="2622422"/>
                </a:lnTo>
                <a:lnTo>
                  <a:pt x="1565243" y="2620689"/>
                </a:lnTo>
                <a:lnTo>
                  <a:pt x="1554934" y="2616575"/>
                </a:lnTo>
                <a:lnTo>
                  <a:pt x="1547989" y="2609538"/>
                </a:lnTo>
                <a:lnTo>
                  <a:pt x="1544950" y="2608996"/>
                </a:lnTo>
                <a:lnTo>
                  <a:pt x="1533231" y="2597628"/>
                </a:lnTo>
                <a:lnTo>
                  <a:pt x="1531061" y="2594813"/>
                </a:lnTo>
                <a:lnTo>
                  <a:pt x="1528456" y="2595029"/>
                </a:lnTo>
                <a:lnTo>
                  <a:pt x="1527154" y="2596870"/>
                </a:lnTo>
                <a:lnTo>
                  <a:pt x="1523573" y="2596653"/>
                </a:lnTo>
                <a:lnTo>
                  <a:pt x="1514349" y="2593080"/>
                </a:lnTo>
                <a:lnTo>
                  <a:pt x="1511311" y="2592755"/>
                </a:lnTo>
                <a:lnTo>
                  <a:pt x="1506536" y="2590806"/>
                </a:lnTo>
                <a:lnTo>
                  <a:pt x="1504582" y="2591457"/>
                </a:lnTo>
                <a:lnTo>
                  <a:pt x="1499807" y="2589724"/>
                </a:lnTo>
                <a:lnTo>
                  <a:pt x="1496335" y="2584419"/>
                </a:lnTo>
                <a:lnTo>
                  <a:pt x="1492211" y="2577814"/>
                </a:lnTo>
                <a:lnTo>
                  <a:pt x="1486135" y="2572184"/>
                </a:lnTo>
                <a:lnTo>
                  <a:pt x="1480275" y="2570127"/>
                </a:lnTo>
                <a:lnTo>
                  <a:pt x="1480275" y="2568070"/>
                </a:lnTo>
                <a:lnTo>
                  <a:pt x="1482554" y="2565147"/>
                </a:lnTo>
                <a:lnTo>
                  <a:pt x="1479624" y="2564605"/>
                </a:lnTo>
                <a:lnTo>
                  <a:pt x="1474414" y="2565688"/>
                </a:lnTo>
                <a:lnTo>
                  <a:pt x="1466927" y="2563739"/>
                </a:lnTo>
                <a:lnTo>
                  <a:pt x="1465517" y="2561033"/>
                </a:lnTo>
                <a:lnTo>
                  <a:pt x="1461935" y="2561033"/>
                </a:lnTo>
                <a:lnTo>
                  <a:pt x="1459657" y="2559084"/>
                </a:lnTo>
                <a:lnTo>
                  <a:pt x="1457921" y="2553237"/>
                </a:lnTo>
                <a:lnTo>
                  <a:pt x="1453471" y="2547390"/>
                </a:lnTo>
                <a:lnTo>
                  <a:pt x="1453471" y="2544034"/>
                </a:lnTo>
                <a:lnTo>
                  <a:pt x="1450324" y="2540894"/>
                </a:lnTo>
                <a:lnTo>
                  <a:pt x="1447069" y="2532449"/>
                </a:lnTo>
                <a:lnTo>
                  <a:pt x="1447069" y="2530176"/>
                </a:lnTo>
                <a:lnTo>
                  <a:pt x="1449998" y="2528551"/>
                </a:lnTo>
                <a:lnTo>
                  <a:pt x="1455533" y="2528660"/>
                </a:lnTo>
                <a:lnTo>
                  <a:pt x="1457594" y="2526278"/>
                </a:lnTo>
                <a:lnTo>
                  <a:pt x="1454773" y="2523679"/>
                </a:lnTo>
                <a:lnTo>
                  <a:pt x="1452386" y="2523354"/>
                </a:lnTo>
                <a:lnTo>
                  <a:pt x="1453146" y="2520648"/>
                </a:lnTo>
                <a:lnTo>
                  <a:pt x="1458571" y="2515775"/>
                </a:lnTo>
                <a:lnTo>
                  <a:pt x="1461175" y="2511552"/>
                </a:lnTo>
                <a:lnTo>
                  <a:pt x="1460850" y="2506139"/>
                </a:lnTo>
                <a:lnTo>
                  <a:pt x="1455641" y="2493146"/>
                </a:lnTo>
                <a:lnTo>
                  <a:pt x="1453146" y="2486217"/>
                </a:lnTo>
                <a:lnTo>
                  <a:pt x="1451409" y="2482969"/>
                </a:lnTo>
                <a:lnTo>
                  <a:pt x="1453146" y="2478530"/>
                </a:lnTo>
                <a:lnTo>
                  <a:pt x="1452278" y="2473875"/>
                </a:lnTo>
                <a:lnTo>
                  <a:pt x="1443487" y="2462831"/>
                </a:lnTo>
                <a:lnTo>
                  <a:pt x="1443270" y="2458067"/>
                </a:lnTo>
                <a:lnTo>
                  <a:pt x="1435566" y="2450163"/>
                </a:lnTo>
                <a:lnTo>
                  <a:pt x="1430140" y="2440310"/>
                </a:lnTo>
                <a:lnTo>
                  <a:pt x="1422978" y="2430891"/>
                </a:lnTo>
                <a:lnTo>
                  <a:pt x="1416576" y="2425369"/>
                </a:lnTo>
                <a:lnTo>
                  <a:pt x="1414296" y="2423853"/>
                </a:lnTo>
                <a:lnTo>
                  <a:pt x="1413971" y="2420930"/>
                </a:lnTo>
                <a:lnTo>
                  <a:pt x="1406917" y="2418007"/>
                </a:lnTo>
                <a:lnTo>
                  <a:pt x="1403010" y="2415733"/>
                </a:lnTo>
                <a:lnTo>
                  <a:pt x="1402577" y="2414001"/>
                </a:lnTo>
                <a:lnTo>
                  <a:pt x="1405507" y="2412810"/>
                </a:lnTo>
                <a:lnTo>
                  <a:pt x="1407460" y="2408696"/>
                </a:lnTo>
                <a:lnTo>
                  <a:pt x="1405507" y="2405772"/>
                </a:lnTo>
                <a:lnTo>
                  <a:pt x="1403770" y="2401333"/>
                </a:lnTo>
                <a:lnTo>
                  <a:pt x="1402577" y="2398518"/>
                </a:lnTo>
                <a:lnTo>
                  <a:pt x="1399647" y="2398518"/>
                </a:lnTo>
                <a:lnTo>
                  <a:pt x="1394221" y="2397219"/>
                </a:lnTo>
                <a:lnTo>
                  <a:pt x="1384672" y="2389749"/>
                </a:lnTo>
                <a:lnTo>
                  <a:pt x="1381959" y="2387366"/>
                </a:lnTo>
                <a:lnTo>
                  <a:pt x="1377618" y="2387041"/>
                </a:lnTo>
                <a:lnTo>
                  <a:pt x="1373711" y="2384335"/>
                </a:lnTo>
                <a:lnTo>
                  <a:pt x="1372951" y="2379463"/>
                </a:lnTo>
                <a:lnTo>
                  <a:pt x="1375448" y="2372750"/>
                </a:lnTo>
                <a:lnTo>
                  <a:pt x="1379571" y="2368311"/>
                </a:lnTo>
                <a:lnTo>
                  <a:pt x="1382610" y="2367336"/>
                </a:lnTo>
                <a:lnTo>
                  <a:pt x="1384997" y="2369827"/>
                </a:lnTo>
                <a:lnTo>
                  <a:pt x="1386950" y="2367661"/>
                </a:lnTo>
                <a:lnTo>
                  <a:pt x="1386299" y="2364521"/>
                </a:lnTo>
                <a:lnTo>
                  <a:pt x="1384997" y="2363005"/>
                </a:lnTo>
                <a:lnTo>
                  <a:pt x="1383478" y="2364521"/>
                </a:lnTo>
                <a:lnTo>
                  <a:pt x="1380222" y="2362789"/>
                </a:lnTo>
                <a:lnTo>
                  <a:pt x="1379571" y="2359216"/>
                </a:lnTo>
                <a:lnTo>
                  <a:pt x="1375448" y="2354019"/>
                </a:lnTo>
                <a:lnTo>
                  <a:pt x="1371650" y="2354560"/>
                </a:lnTo>
                <a:lnTo>
                  <a:pt x="1367526" y="2353478"/>
                </a:lnTo>
                <a:lnTo>
                  <a:pt x="1365355" y="2349580"/>
                </a:lnTo>
                <a:lnTo>
                  <a:pt x="1366440" y="2345249"/>
                </a:lnTo>
                <a:lnTo>
                  <a:pt x="1363511" y="2344275"/>
                </a:lnTo>
                <a:lnTo>
                  <a:pt x="1360581" y="2344599"/>
                </a:lnTo>
                <a:lnTo>
                  <a:pt x="1352333" y="2337237"/>
                </a:lnTo>
                <a:lnTo>
                  <a:pt x="1351465" y="2330632"/>
                </a:lnTo>
                <a:lnTo>
                  <a:pt x="1353310" y="2327709"/>
                </a:lnTo>
                <a:lnTo>
                  <a:pt x="1353527" y="2322295"/>
                </a:lnTo>
                <a:lnTo>
                  <a:pt x="1350923" y="2320130"/>
                </a:lnTo>
                <a:lnTo>
                  <a:pt x="1347667" y="2321538"/>
                </a:lnTo>
                <a:lnTo>
                  <a:pt x="1345931" y="2320130"/>
                </a:lnTo>
                <a:lnTo>
                  <a:pt x="1342784" y="2320022"/>
                </a:lnTo>
                <a:lnTo>
                  <a:pt x="1341807" y="2317748"/>
                </a:lnTo>
                <a:lnTo>
                  <a:pt x="1338661" y="2315258"/>
                </a:lnTo>
                <a:lnTo>
                  <a:pt x="1337358" y="2311144"/>
                </a:lnTo>
                <a:lnTo>
                  <a:pt x="1334754" y="2305514"/>
                </a:lnTo>
                <a:lnTo>
                  <a:pt x="1331607" y="2304756"/>
                </a:lnTo>
                <a:lnTo>
                  <a:pt x="1329762" y="2302699"/>
                </a:lnTo>
                <a:lnTo>
                  <a:pt x="1329220" y="2297177"/>
                </a:lnTo>
                <a:lnTo>
                  <a:pt x="1327809" y="2293387"/>
                </a:lnTo>
                <a:lnTo>
                  <a:pt x="1324554" y="2291871"/>
                </a:lnTo>
                <a:lnTo>
                  <a:pt x="1321949" y="2284077"/>
                </a:lnTo>
                <a:lnTo>
                  <a:pt x="1320321" y="2281477"/>
                </a:lnTo>
                <a:lnTo>
                  <a:pt x="1318368" y="2281477"/>
                </a:lnTo>
                <a:lnTo>
                  <a:pt x="1316849" y="2278230"/>
                </a:lnTo>
                <a:lnTo>
                  <a:pt x="1318151" y="2276064"/>
                </a:lnTo>
                <a:lnTo>
                  <a:pt x="1318585" y="2273574"/>
                </a:lnTo>
                <a:lnTo>
                  <a:pt x="1312725" y="2265345"/>
                </a:lnTo>
                <a:lnTo>
                  <a:pt x="1310988" y="2261231"/>
                </a:lnTo>
                <a:lnTo>
                  <a:pt x="1311965" y="2258091"/>
                </a:lnTo>
                <a:lnTo>
                  <a:pt x="1311315" y="2252461"/>
                </a:lnTo>
                <a:lnTo>
                  <a:pt x="1309252" y="2248672"/>
                </a:lnTo>
                <a:lnTo>
                  <a:pt x="1308059" y="2240443"/>
                </a:lnTo>
                <a:lnTo>
                  <a:pt x="1305563" y="2234705"/>
                </a:lnTo>
                <a:lnTo>
                  <a:pt x="1305237" y="2230590"/>
                </a:lnTo>
                <a:lnTo>
                  <a:pt x="1308493" y="2226801"/>
                </a:lnTo>
                <a:lnTo>
                  <a:pt x="1308493" y="2224419"/>
                </a:lnTo>
                <a:lnTo>
                  <a:pt x="1303609" y="2221712"/>
                </a:lnTo>
                <a:lnTo>
                  <a:pt x="1298943" y="2221496"/>
                </a:lnTo>
                <a:lnTo>
                  <a:pt x="1297533" y="2218789"/>
                </a:lnTo>
                <a:lnTo>
                  <a:pt x="1293518" y="2215000"/>
                </a:lnTo>
                <a:lnTo>
                  <a:pt x="1291347" y="2216732"/>
                </a:lnTo>
                <a:lnTo>
                  <a:pt x="1287332" y="2217382"/>
                </a:lnTo>
                <a:lnTo>
                  <a:pt x="1284619" y="2215000"/>
                </a:lnTo>
                <a:lnTo>
                  <a:pt x="1280279" y="2208287"/>
                </a:lnTo>
                <a:lnTo>
                  <a:pt x="1273876" y="2205364"/>
                </a:lnTo>
                <a:lnTo>
                  <a:pt x="1270838" y="2199842"/>
                </a:lnTo>
                <a:lnTo>
                  <a:pt x="1272574" y="2205364"/>
                </a:lnTo>
                <a:lnTo>
                  <a:pt x="1273442" y="2209803"/>
                </a:lnTo>
                <a:lnTo>
                  <a:pt x="1271163" y="2218031"/>
                </a:lnTo>
                <a:lnTo>
                  <a:pt x="1269102" y="2223445"/>
                </a:lnTo>
                <a:lnTo>
                  <a:pt x="1270295" y="2233514"/>
                </a:lnTo>
                <a:lnTo>
                  <a:pt x="1270946" y="2250188"/>
                </a:lnTo>
                <a:lnTo>
                  <a:pt x="1268884" y="2254194"/>
                </a:lnTo>
                <a:lnTo>
                  <a:pt x="1271488" y="2256900"/>
                </a:lnTo>
                <a:lnTo>
                  <a:pt x="1274745" y="2263830"/>
                </a:lnTo>
                <a:lnTo>
                  <a:pt x="1274636" y="2268485"/>
                </a:lnTo>
                <a:lnTo>
                  <a:pt x="1277240" y="2268594"/>
                </a:lnTo>
                <a:lnTo>
                  <a:pt x="1279411" y="2272058"/>
                </a:lnTo>
                <a:lnTo>
                  <a:pt x="1285922" y="2276497"/>
                </a:lnTo>
                <a:lnTo>
                  <a:pt x="1287332" y="2282885"/>
                </a:lnTo>
                <a:lnTo>
                  <a:pt x="1286464" y="2286025"/>
                </a:lnTo>
                <a:lnTo>
                  <a:pt x="1287658" y="2290248"/>
                </a:lnTo>
                <a:lnTo>
                  <a:pt x="1291673" y="2292197"/>
                </a:lnTo>
                <a:lnTo>
                  <a:pt x="1294711" y="2295444"/>
                </a:lnTo>
                <a:lnTo>
                  <a:pt x="1295254" y="2300534"/>
                </a:lnTo>
                <a:lnTo>
                  <a:pt x="1297207" y="2302699"/>
                </a:lnTo>
                <a:lnTo>
                  <a:pt x="1300246" y="2303348"/>
                </a:lnTo>
                <a:lnTo>
                  <a:pt x="1304261" y="2309520"/>
                </a:lnTo>
                <a:lnTo>
                  <a:pt x="1303718" y="2314501"/>
                </a:lnTo>
                <a:lnTo>
                  <a:pt x="1303935" y="2320130"/>
                </a:lnTo>
                <a:lnTo>
                  <a:pt x="1308384" y="2324353"/>
                </a:lnTo>
                <a:lnTo>
                  <a:pt x="1310229" y="2325003"/>
                </a:lnTo>
                <a:lnTo>
                  <a:pt x="1314245" y="2331391"/>
                </a:lnTo>
                <a:lnTo>
                  <a:pt x="1315655" y="2341027"/>
                </a:lnTo>
                <a:lnTo>
                  <a:pt x="1317717" y="2341135"/>
                </a:lnTo>
                <a:lnTo>
                  <a:pt x="1319019" y="2343625"/>
                </a:lnTo>
                <a:lnTo>
                  <a:pt x="1317500" y="2346982"/>
                </a:lnTo>
                <a:lnTo>
                  <a:pt x="1317825" y="2350121"/>
                </a:lnTo>
                <a:lnTo>
                  <a:pt x="1322166" y="2356617"/>
                </a:lnTo>
                <a:lnTo>
                  <a:pt x="1323902" y="2355102"/>
                </a:lnTo>
                <a:lnTo>
                  <a:pt x="1323685" y="2352287"/>
                </a:lnTo>
                <a:lnTo>
                  <a:pt x="1323902" y="2350446"/>
                </a:lnTo>
                <a:lnTo>
                  <a:pt x="1325639" y="2350771"/>
                </a:lnTo>
                <a:lnTo>
                  <a:pt x="1326940" y="2354019"/>
                </a:lnTo>
                <a:lnTo>
                  <a:pt x="1329870" y="2358891"/>
                </a:lnTo>
                <a:lnTo>
                  <a:pt x="1331281" y="2367770"/>
                </a:lnTo>
                <a:lnTo>
                  <a:pt x="1330196" y="2371234"/>
                </a:lnTo>
                <a:lnTo>
                  <a:pt x="1330738" y="2377298"/>
                </a:lnTo>
                <a:lnTo>
                  <a:pt x="1332150" y="2379463"/>
                </a:lnTo>
                <a:lnTo>
                  <a:pt x="1332150" y="2384118"/>
                </a:lnTo>
                <a:lnTo>
                  <a:pt x="1334863" y="2387258"/>
                </a:lnTo>
                <a:lnTo>
                  <a:pt x="1334754" y="2390614"/>
                </a:lnTo>
                <a:lnTo>
                  <a:pt x="1337033" y="2393321"/>
                </a:lnTo>
                <a:lnTo>
                  <a:pt x="1337141" y="2396245"/>
                </a:lnTo>
                <a:lnTo>
                  <a:pt x="1336164" y="2399492"/>
                </a:lnTo>
                <a:lnTo>
                  <a:pt x="1339746" y="2404473"/>
                </a:lnTo>
                <a:lnTo>
                  <a:pt x="1339854" y="2409453"/>
                </a:lnTo>
                <a:lnTo>
                  <a:pt x="1337467" y="2414434"/>
                </a:lnTo>
                <a:lnTo>
                  <a:pt x="1338009" y="2417249"/>
                </a:lnTo>
                <a:lnTo>
                  <a:pt x="1342133" y="2422337"/>
                </a:lnTo>
                <a:lnTo>
                  <a:pt x="1345822" y="2425261"/>
                </a:lnTo>
                <a:lnTo>
                  <a:pt x="1346474" y="2427968"/>
                </a:lnTo>
                <a:lnTo>
                  <a:pt x="1348535" y="2427102"/>
                </a:lnTo>
                <a:lnTo>
                  <a:pt x="1348318" y="2423853"/>
                </a:lnTo>
                <a:lnTo>
                  <a:pt x="1349729" y="2422771"/>
                </a:lnTo>
                <a:lnTo>
                  <a:pt x="1352008" y="2423962"/>
                </a:lnTo>
                <a:lnTo>
                  <a:pt x="1354395" y="2427102"/>
                </a:lnTo>
                <a:lnTo>
                  <a:pt x="1355914" y="2430242"/>
                </a:lnTo>
                <a:lnTo>
                  <a:pt x="1359496" y="2432298"/>
                </a:lnTo>
                <a:lnTo>
                  <a:pt x="1360906" y="2436738"/>
                </a:lnTo>
                <a:lnTo>
                  <a:pt x="1363185" y="2439012"/>
                </a:lnTo>
                <a:lnTo>
                  <a:pt x="1364596" y="2443234"/>
                </a:lnTo>
                <a:lnTo>
                  <a:pt x="1367526" y="2445183"/>
                </a:lnTo>
                <a:lnTo>
                  <a:pt x="1367092" y="2451138"/>
                </a:lnTo>
                <a:lnTo>
                  <a:pt x="1362751" y="2457742"/>
                </a:lnTo>
                <a:lnTo>
                  <a:pt x="1355589" y="2460991"/>
                </a:lnTo>
                <a:lnTo>
                  <a:pt x="1352659" y="2460124"/>
                </a:lnTo>
                <a:lnTo>
                  <a:pt x="1350597" y="2455144"/>
                </a:lnTo>
                <a:lnTo>
                  <a:pt x="1350272" y="2451571"/>
                </a:lnTo>
                <a:lnTo>
                  <a:pt x="1347450" y="2449297"/>
                </a:lnTo>
                <a:lnTo>
                  <a:pt x="1347017" y="2442909"/>
                </a:lnTo>
                <a:lnTo>
                  <a:pt x="1344737" y="2439877"/>
                </a:lnTo>
                <a:lnTo>
                  <a:pt x="1339746" y="2439336"/>
                </a:lnTo>
                <a:lnTo>
                  <a:pt x="1336164" y="2435006"/>
                </a:lnTo>
                <a:lnTo>
                  <a:pt x="1334428" y="2431757"/>
                </a:lnTo>
                <a:lnTo>
                  <a:pt x="1330738" y="2430242"/>
                </a:lnTo>
                <a:lnTo>
                  <a:pt x="1320647" y="2419198"/>
                </a:lnTo>
                <a:lnTo>
                  <a:pt x="1318368" y="2414542"/>
                </a:lnTo>
                <a:lnTo>
                  <a:pt x="1313701" y="2413568"/>
                </a:lnTo>
                <a:lnTo>
                  <a:pt x="1312508" y="2410320"/>
                </a:lnTo>
                <a:lnTo>
                  <a:pt x="1310446" y="2410753"/>
                </a:lnTo>
                <a:lnTo>
                  <a:pt x="1305780" y="2406963"/>
                </a:lnTo>
                <a:lnTo>
                  <a:pt x="1305129" y="2403174"/>
                </a:lnTo>
                <a:lnTo>
                  <a:pt x="1309035" y="2396461"/>
                </a:lnTo>
                <a:lnTo>
                  <a:pt x="1310663" y="2388774"/>
                </a:lnTo>
                <a:lnTo>
                  <a:pt x="1309903" y="2379029"/>
                </a:lnTo>
                <a:lnTo>
                  <a:pt x="1306974" y="2369827"/>
                </a:lnTo>
                <a:lnTo>
                  <a:pt x="1304586" y="2366254"/>
                </a:lnTo>
                <a:lnTo>
                  <a:pt x="1302199" y="2366903"/>
                </a:lnTo>
                <a:lnTo>
                  <a:pt x="1298726" y="2365388"/>
                </a:lnTo>
                <a:lnTo>
                  <a:pt x="1290479" y="2357484"/>
                </a:lnTo>
                <a:lnTo>
                  <a:pt x="1289285" y="2349905"/>
                </a:lnTo>
                <a:lnTo>
                  <a:pt x="1290805" y="2346007"/>
                </a:lnTo>
                <a:lnTo>
                  <a:pt x="1288960" y="2345466"/>
                </a:lnTo>
                <a:lnTo>
                  <a:pt x="1284727" y="2350229"/>
                </a:lnTo>
                <a:lnTo>
                  <a:pt x="1281689" y="2350446"/>
                </a:lnTo>
                <a:lnTo>
                  <a:pt x="1278543" y="2351854"/>
                </a:lnTo>
                <a:lnTo>
                  <a:pt x="1276806" y="2348389"/>
                </a:lnTo>
                <a:lnTo>
                  <a:pt x="1277566" y="2346656"/>
                </a:lnTo>
                <a:lnTo>
                  <a:pt x="1274418" y="2345466"/>
                </a:lnTo>
                <a:lnTo>
                  <a:pt x="1271380" y="2345574"/>
                </a:lnTo>
                <a:lnTo>
                  <a:pt x="1271380" y="2343192"/>
                </a:lnTo>
                <a:lnTo>
                  <a:pt x="1265846" y="2340701"/>
                </a:lnTo>
                <a:lnTo>
                  <a:pt x="1261722" y="2339294"/>
                </a:lnTo>
                <a:lnTo>
                  <a:pt x="1259226" y="2334964"/>
                </a:lnTo>
                <a:lnTo>
                  <a:pt x="1258901" y="2330308"/>
                </a:lnTo>
                <a:lnTo>
                  <a:pt x="1254560" y="2328467"/>
                </a:lnTo>
                <a:lnTo>
                  <a:pt x="1249785" y="2322079"/>
                </a:lnTo>
                <a:lnTo>
                  <a:pt x="1250979" y="2320671"/>
                </a:lnTo>
                <a:lnTo>
                  <a:pt x="1257165" y="2320130"/>
                </a:lnTo>
                <a:lnTo>
                  <a:pt x="1260854" y="2321538"/>
                </a:lnTo>
                <a:lnTo>
                  <a:pt x="1266714" y="2322621"/>
                </a:lnTo>
                <a:lnTo>
                  <a:pt x="1269970" y="2324678"/>
                </a:lnTo>
                <a:lnTo>
                  <a:pt x="1271706" y="2322295"/>
                </a:lnTo>
                <a:lnTo>
                  <a:pt x="1272357" y="2319372"/>
                </a:lnTo>
                <a:lnTo>
                  <a:pt x="1268450" y="2318614"/>
                </a:lnTo>
                <a:lnTo>
                  <a:pt x="1267907" y="2317424"/>
                </a:lnTo>
                <a:lnTo>
                  <a:pt x="1270295" y="2314825"/>
                </a:lnTo>
                <a:lnTo>
                  <a:pt x="1273008" y="2316016"/>
                </a:lnTo>
                <a:lnTo>
                  <a:pt x="1274310" y="2312226"/>
                </a:lnTo>
                <a:lnTo>
                  <a:pt x="1272574" y="2309520"/>
                </a:lnTo>
                <a:lnTo>
                  <a:pt x="1272682" y="2306921"/>
                </a:lnTo>
                <a:lnTo>
                  <a:pt x="1275504" y="2303348"/>
                </a:lnTo>
                <a:lnTo>
                  <a:pt x="1272357" y="2298151"/>
                </a:lnTo>
                <a:lnTo>
                  <a:pt x="1270295" y="2297285"/>
                </a:lnTo>
                <a:lnTo>
                  <a:pt x="1267907" y="2290140"/>
                </a:lnTo>
                <a:lnTo>
                  <a:pt x="1262048" y="2284293"/>
                </a:lnTo>
                <a:lnTo>
                  <a:pt x="1260963" y="2280503"/>
                </a:lnTo>
                <a:lnTo>
                  <a:pt x="1257598" y="2275631"/>
                </a:lnTo>
                <a:lnTo>
                  <a:pt x="1250870" y="2268918"/>
                </a:lnTo>
                <a:lnTo>
                  <a:pt x="1248049" y="2269135"/>
                </a:lnTo>
                <a:lnTo>
                  <a:pt x="1243926" y="2265129"/>
                </a:lnTo>
                <a:lnTo>
                  <a:pt x="1241646" y="2258633"/>
                </a:lnTo>
                <a:lnTo>
                  <a:pt x="1241538" y="2250620"/>
                </a:lnTo>
                <a:lnTo>
                  <a:pt x="1240128" y="2247806"/>
                </a:lnTo>
                <a:lnTo>
                  <a:pt x="1237198" y="2245207"/>
                </a:lnTo>
                <a:lnTo>
                  <a:pt x="1237523" y="2240443"/>
                </a:lnTo>
                <a:lnTo>
                  <a:pt x="1239151" y="2238169"/>
                </a:lnTo>
                <a:lnTo>
                  <a:pt x="1238391" y="2233514"/>
                </a:lnTo>
                <a:lnTo>
                  <a:pt x="1233400" y="2229075"/>
                </a:lnTo>
                <a:lnTo>
                  <a:pt x="1232423" y="2226151"/>
                </a:lnTo>
                <a:lnTo>
                  <a:pt x="1233942" y="2224635"/>
                </a:lnTo>
                <a:lnTo>
                  <a:pt x="1234159" y="2222037"/>
                </a:lnTo>
                <a:lnTo>
                  <a:pt x="1227757" y="2214242"/>
                </a:lnTo>
                <a:lnTo>
                  <a:pt x="1226237" y="2209803"/>
                </a:lnTo>
                <a:lnTo>
                  <a:pt x="1226889" y="2206013"/>
                </a:lnTo>
                <a:lnTo>
                  <a:pt x="1228734" y="2204605"/>
                </a:lnTo>
                <a:lnTo>
                  <a:pt x="1226237" y="2201249"/>
                </a:lnTo>
                <a:lnTo>
                  <a:pt x="1223416" y="2196052"/>
                </a:lnTo>
                <a:lnTo>
                  <a:pt x="1220161" y="2183926"/>
                </a:lnTo>
                <a:lnTo>
                  <a:pt x="1219401" y="2178079"/>
                </a:lnTo>
                <a:lnTo>
                  <a:pt x="1219401" y="2178079"/>
                </a:lnTo>
                <a:lnTo>
                  <a:pt x="1218967" y="2174289"/>
                </a:lnTo>
                <a:lnTo>
                  <a:pt x="1220160" y="2168443"/>
                </a:lnTo>
                <a:lnTo>
                  <a:pt x="1219075" y="2161189"/>
                </a:lnTo>
                <a:lnTo>
                  <a:pt x="1210828" y="2148630"/>
                </a:lnTo>
                <a:lnTo>
                  <a:pt x="1205511" y="2143108"/>
                </a:lnTo>
                <a:lnTo>
                  <a:pt x="1202473" y="2143757"/>
                </a:lnTo>
                <a:lnTo>
                  <a:pt x="1199977" y="2143974"/>
                </a:lnTo>
                <a:lnTo>
                  <a:pt x="1198457" y="2143108"/>
                </a:lnTo>
                <a:lnTo>
                  <a:pt x="1198674" y="2138993"/>
                </a:lnTo>
                <a:lnTo>
                  <a:pt x="1197589" y="2136395"/>
                </a:lnTo>
                <a:lnTo>
                  <a:pt x="1191729" y="2134663"/>
                </a:lnTo>
                <a:lnTo>
                  <a:pt x="1187823" y="2134554"/>
                </a:lnTo>
                <a:lnTo>
                  <a:pt x="1181420" y="2131089"/>
                </a:lnTo>
                <a:lnTo>
                  <a:pt x="1181420" y="2126975"/>
                </a:lnTo>
                <a:lnTo>
                  <a:pt x="1178490" y="2123727"/>
                </a:lnTo>
                <a:lnTo>
                  <a:pt x="1172088" y="2123727"/>
                </a:lnTo>
                <a:lnTo>
                  <a:pt x="1168615" y="2123077"/>
                </a:lnTo>
                <a:lnTo>
                  <a:pt x="1164817" y="2120696"/>
                </a:lnTo>
                <a:lnTo>
                  <a:pt x="1159934" y="2119396"/>
                </a:lnTo>
                <a:lnTo>
                  <a:pt x="1151795" y="2119396"/>
                </a:lnTo>
                <a:lnTo>
                  <a:pt x="1149299" y="2117664"/>
                </a:lnTo>
                <a:lnTo>
                  <a:pt x="1147997" y="2113766"/>
                </a:lnTo>
                <a:lnTo>
                  <a:pt x="1149083" y="2113008"/>
                </a:lnTo>
                <a:lnTo>
                  <a:pt x="1150276" y="2109219"/>
                </a:lnTo>
                <a:lnTo>
                  <a:pt x="1152012" y="2101965"/>
                </a:lnTo>
                <a:lnTo>
                  <a:pt x="1150493" y="2096984"/>
                </a:lnTo>
                <a:lnTo>
                  <a:pt x="1146695" y="2092653"/>
                </a:lnTo>
                <a:lnTo>
                  <a:pt x="1146261" y="2091354"/>
                </a:lnTo>
                <a:lnTo>
                  <a:pt x="1147238" y="2089622"/>
                </a:lnTo>
                <a:lnTo>
                  <a:pt x="1145176" y="2088106"/>
                </a:lnTo>
                <a:lnTo>
                  <a:pt x="1141595" y="2083125"/>
                </a:lnTo>
                <a:lnTo>
                  <a:pt x="1136603" y="2072515"/>
                </a:lnTo>
                <a:lnTo>
                  <a:pt x="1135517" y="2064178"/>
                </a:lnTo>
                <a:lnTo>
                  <a:pt x="1131828" y="2061472"/>
                </a:lnTo>
                <a:lnTo>
                  <a:pt x="1131068" y="2058549"/>
                </a:lnTo>
                <a:lnTo>
                  <a:pt x="1131394" y="2054109"/>
                </a:lnTo>
                <a:lnTo>
                  <a:pt x="1130200" y="2049129"/>
                </a:lnTo>
                <a:lnTo>
                  <a:pt x="1130418" y="2047072"/>
                </a:lnTo>
                <a:lnTo>
                  <a:pt x="1132479" y="2047396"/>
                </a:lnTo>
                <a:lnTo>
                  <a:pt x="1135517" y="2043931"/>
                </a:lnTo>
                <a:lnTo>
                  <a:pt x="1135409" y="2040142"/>
                </a:lnTo>
                <a:lnTo>
                  <a:pt x="1132804" y="2037544"/>
                </a:lnTo>
                <a:lnTo>
                  <a:pt x="1129224" y="2035378"/>
                </a:lnTo>
                <a:lnTo>
                  <a:pt x="1128138" y="2030723"/>
                </a:lnTo>
                <a:lnTo>
                  <a:pt x="1125860" y="2029532"/>
                </a:lnTo>
                <a:lnTo>
                  <a:pt x="1125426" y="2025742"/>
                </a:lnTo>
                <a:lnTo>
                  <a:pt x="1126620" y="2021411"/>
                </a:lnTo>
                <a:lnTo>
                  <a:pt x="1126077" y="2019246"/>
                </a:lnTo>
                <a:lnTo>
                  <a:pt x="1128356" y="2016972"/>
                </a:lnTo>
                <a:lnTo>
                  <a:pt x="1127813" y="2014049"/>
                </a:lnTo>
                <a:lnTo>
                  <a:pt x="1129549" y="2011558"/>
                </a:lnTo>
                <a:lnTo>
                  <a:pt x="1131611" y="2012966"/>
                </a:lnTo>
                <a:lnTo>
                  <a:pt x="1133673" y="2017297"/>
                </a:lnTo>
                <a:lnTo>
                  <a:pt x="1137579" y="2019354"/>
                </a:lnTo>
                <a:lnTo>
                  <a:pt x="1136061" y="2017297"/>
                </a:lnTo>
                <a:lnTo>
                  <a:pt x="1134541" y="2013725"/>
                </a:lnTo>
                <a:lnTo>
                  <a:pt x="1133781" y="2007444"/>
                </a:lnTo>
                <a:lnTo>
                  <a:pt x="1131936" y="2006145"/>
                </a:lnTo>
                <a:lnTo>
                  <a:pt x="1132262" y="2002897"/>
                </a:lnTo>
                <a:lnTo>
                  <a:pt x="1134324" y="2002897"/>
                </a:lnTo>
                <a:lnTo>
                  <a:pt x="1136061" y="2004413"/>
                </a:lnTo>
                <a:lnTo>
                  <a:pt x="1140184" y="2003222"/>
                </a:lnTo>
                <a:lnTo>
                  <a:pt x="1144525" y="2002139"/>
                </a:lnTo>
                <a:lnTo>
                  <a:pt x="1138556" y="2001489"/>
                </a:lnTo>
                <a:lnTo>
                  <a:pt x="1137254" y="1999758"/>
                </a:lnTo>
                <a:lnTo>
                  <a:pt x="1133456" y="1999649"/>
                </a:lnTo>
                <a:lnTo>
                  <a:pt x="1133022" y="1997700"/>
                </a:lnTo>
                <a:lnTo>
                  <a:pt x="1131828" y="1998675"/>
                </a:lnTo>
                <a:lnTo>
                  <a:pt x="1128681" y="1996834"/>
                </a:lnTo>
                <a:lnTo>
                  <a:pt x="1128464" y="2002139"/>
                </a:lnTo>
                <a:lnTo>
                  <a:pt x="1128464" y="2007336"/>
                </a:lnTo>
                <a:lnTo>
                  <a:pt x="1127270" y="2006687"/>
                </a:lnTo>
                <a:lnTo>
                  <a:pt x="1125426" y="2006795"/>
                </a:lnTo>
                <a:lnTo>
                  <a:pt x="1124558" y="2004413"/>
                </a:lnTo>
                <a:lnTo>
                  <a:pt x="1119023" y="1999216"/>
                </a:lnTo>
                <a:lnTo>
                  <a:pt x="1117829" y="1995860"/>
                </a:lnTo>
                <a:lnTo>
                  <a:pt x="1119240" y="1992828"/>
                </a:lnTo>
                <a:lnTo>
                  <a:pt x="1118480" y="1988281"/>
                </a:lnTo>
                <a:lnTo>
                  <a:pt x="1108497" y="1972906"/>
                </a:lnTo>
                <a:lnTo>
                  <a:pt x="1107520" y="1970199"/>
                </a:lnTo>
                <a:lnTo>
                  <a:pt x="1108388" y="1967059"/>
                </a:lnTo>
                <a:lnTo>
                  <a:pt x="1110450" y="1963487"/>
                </a:lnTo>
                <a:lnTo>
                  <a:pt x="1109908" y="1958722"/>
                </a:lnTo>
                <a:lnTo>
                  <a:pt x="1107846" y="1954608"/>
                </a:lnTo>
                <a:lnTo>
                  <a:pt x="1107846" y="1952335"/>
                </a:lnTo>
                <a:lnTo>
                  <a:pt x="1110559" y="1948004"/>
                </a:lnTo>
                <a:lnTo>
                  <a:pt x="1111427" y="1942698"/>
                </a:lnTo>
                <a:lnTo>
                  <a:pt x="1111101" y="1933063"/>
                </a:lnTo>
                <a:lnTo>
                  <a:pt x="1107303" y="1924292"/>
                </a:lnTo>
                <a:lnTo>
                  <a:pt x="1103180" y="1918663"/>
                </a:lnTo>
                <a:lnTo>
                  <a:pt x="1103180" y="1913249"/>
                </a:lnTo>
                <a:lnTo>
                  <a:pt x="1105784" y="1907835"/>
                </a:lnTo>
                <a:lnTo>
                  <a:pt x="1112838" y="1902963"/>
                </a:lnTo>
                <a:lnTo>
                  <a:pt x="1115225" y="1896684"/>
                </a:lnTo>
                <a:lnTo>
                  <a:pt x="1113706" y="1895601"/>
                </a:lnTo>
                <a:lnTo>
                  <a:pt x="1112946" y="1892461"/>
                </a:lnTo>
                <a:lnTo>
                  <a:pt x="1115551" y="1889971"/>
                </a:lnTo>
                <a:lnTo>
                  <a:pt x="1118155" y="1884557"/>
                </a:lnTo>
                <a:lnTo>
                  <a:pt x="1119240" y="1874813"/>
                </a:lnTo>
                <a:lnTo>
                  <a:pt x="1117504" y="1868966"/>
                </a:lnTo>
                <a:lnTo>
                  <a:pt x="1117612" y="1865177"/>
                </a:lnTo>
                <a:lnTo>
                  <a:pt x="1119674" y="1862362"/>
                </a:lnTo>
                <a:lnTo>
                  <a:pt x="1116419" y="1857273"/>
                </a:lnTo>
                <a:lnTo>
                  <a:pt x="1116744" y="1851102"/>
                </a:lnTo>
                <a:lnTo>
                  <a:pt x="1119240" y="1842007"/>
                </a:lnTo>
                <a:lnTo>
                  <a:pt x="1118480" y="1832804"/>
                </a:lnTo>
                <a:lnTo>
                  <a:pt x="1120217" y="1828689"/>
                </a:lnTo>
                <a:lnTo>
                  <a:pt x="1126402" y="1820786"/>
                </a:lnTo>
                <a:lnTo>
                  <a:pt x="1127813" y="1815914"/>
                </a:lnTo>
                <a:lnTo>
                  <a:pt x="1130200" y="1813532"/>
                </a:lnTo>
                <a:lnTo>
                  <a:pt x="1133022" y="1805628"/>
                </a:lnTo>
                <a:lnTo>
                  <a:pt x="1137471" y="1800431"/>
                </a:lnTo>
                <a:lnTo>
                  <a:pt x="1140618" y="1794260"/>
                </a:lnTo>
                <a:lnTo>
                  <a:pt x="1142354" y="1781483"/>
                </a:lnTo>
                <a:lnTo>
                  <a:pt x="1148214" y="1770115"/>
                </a:lnTo>
                <a:lnTo>
                  <a:pt x="1149191" y="1759504"/>
                </a:lnTo>
                <a:lnTo>
                  <a:pt x="1155702" y="1744996"/>
                </a:lnTo>
                <a:lnTo>
                  <a:pt x="1158197" y="1739800"/>
                </a:lnTo>
                <a:lnTo>
                  <a:pt x="1161887" y="1733303"/>
                </a:lnTo>
                <a:lnTo>
                  <a:pt x="1161453" y="1729839"/>
                </a:lnTo>
                <a:lnTo>
                  <a:pt x="1161453" y="1726266"/>
                </a:lnTo>
                <a:lnTo>
                  <a:pt x="1166228" y="1720094"/>
                </a:lnTo>
                <a:lnTo>
                  <a:pt x="1166011" y="1716305"/>
                </a:lnTo>
                <a:lnTo>
                  <a:pt x="1167638" y="1715114"/>
                </a:lnTo>
                <a:lnTo>
                  <a:pt x="1170351" y="1717171"/>
                </a:lnTo>
                <a:lnTo>
                  <a:pt x="1178490" y="1717496"/>
                </a:lnTo>
                <a:lnTo>
                  <a:pt x="1181963" y="1719878"/>
                </a:lnTo>
                <a:lnTo>
                  <a:pt x="1184893" y="1719445"/>
                </a:lnTo>
                <a:lnTo>
                  <a:pt x="1189125" y="1721935"/>
                </a:lnTo>
                <a:lnTo>
                  <a:pt x="1191404" y="1727349"/>
                </a:lnTo>
                <a:lnTo>
                  <a:pt x="1190536" y="1721502"/>
                </a:lnTo>
                <a:lnTo>
                  <a:pt x="1188148" y="1718362"/>
                </a:lnTo>
                <a:lnTo>
                  <a:pt x="1183157" y="1717496"/>
                </a:lnTo>
                <a:lnTo>
                  <a:pt x="1179142" y="1714247"/>
                </a:lnTo>
                <a:lnTo>
                  <a:pt x="1172631" y="1713706"/>
                </a:lnTo>
                <a:lnTo>
                  <a:pt x="1166011" y="1711974"/>
                </a:lnTo>
                <a:lnTo>
                  <a:pt x="1165577" y="1709376"/>
                </a:lnTo>
                <a:lnTo>
                  <a:pt x="1167205" y="1707535"/>
                </a:lnTo>
                <a:lnTo>
                  <a:pt x="1168833" y="1708184"/>
                </a:lnTo>
                <a:lnTo>
                  <a:pt x="1171545" y="1704937"/>
                </a:lnTo>
                <a:lnTo>
                  <a:pt x="1171762" y="1700280"/>
                </a:lnTo>
                <a:lnTo>
                  <a:pt x="1173173" y="1696708"/>
                </a:lnTo>
                <a:lnTo>
                  <a:pt x="1169375" y="1695192"/>
                </a:lnTo>
                <a:lnTo>
                  <a:pt x="1167638" y="1693135"/>
                </a:lnTo>
                <a:lnTo>
                  <a:pt x="1168833" y="1689345"/>
                </a:lnTo>
                <a:lnTo>
                  <a:pt x="1171219" y="1689345"/>
                </a:lnTo>
                <a:lnTo>
                  <a:pt x="1173173" y="1686531"/>
                </a:lnTo>
                <a:lnTo>
                  <a:pt x="1172739" y="1684798"/>
                </a:lnTo>
                <a:lnTo>
                  <a:pt x="1169701" y="1683932"/>
                </a:lnTo>
                <a:lnTo>
                  <a:pt x="1169375" y="1680900"/>
                </a:lnTo>
                <a:lnTo>
                  <a:pt x="1170351" y="1674837"/>
                </a:lnTo>
                <a:lnTo>
                  <a:pt x="1169158" y="1668666"/>
                </a:lnTo>
                <a:lnTo>
                  <a:pt x="1171545" y="1656539"/>
                </a:lnTo>
                <a:lnTo>
                  <a:pt x="1168941" y="1647661"/>
                </a:lnTo>
                <a:lnTo>
                  <a:pt x="1168833" y="1643438"/>
                </a:lnTo>
                <a:lnTo>
                  <a:pt x="1172631" y="1634669"/>
                </a:lnTo>
                <a:lnTo>
                  <a:pt x="1173281" y="1629797"/>
                </a:lnTo>
                <a:lnTo>
                  <a:pt x="1175017" y="1629364"/>
                </a:lnTo>
                <a:lnTo>
                  <a:pt x="1186086" y="1638999"/>
                </a:lnTo>
                <a:lnTo>
                  <a:pt x="1191946" y="1642681"/>
                </a:lnTo>
                <a:lnTo>
                  <a:pt x="1202581" y="1643438"/>
                </a:lnTo>
                <a:lnTo>
                  <a:pt x="1206379" y="1645279"/>
                </a:lnTo>
                <a:lnTo>
                  <a:pt x="1208658" y="1649610"/>
                </a:lnTo>
                <a:lnTo>
                  <a:pt x="1210828" y="1648527"/>
                </a:lnTo>
                <a:lnTo>
                  <a:pt x="1213107" y="1648744"/>
                </a:lnTo>
                <a:lnTo>
                  <a:pt x="1214626" y="1651668"/>
                </a:lnTo>
                <a:lnTo>
                  <a:pt x="1213324" y="1654374"/>
                </a:lnTo>
                <a:lnTo>
                  <a:pt x="1208224" y="1656323"/>
                </a:lnTo>
                <a:lnTo>
                  <a:pt x="1203775" y="1660762"/>
                </a:lnTo>
                <a:lnTo>
                  <a:pt x="1203666" y="1663144"/>
                </a:lnTo>
                <a:lnTo>
                  <a:pt x="1207464" y="1663144"/>
                </a:lnTo>
                <a:lnTo>
                  <a:pt x="1209092" y="1660221"/>
                </a:lnTo>
                <a:lnTo>
                  <a:pt x="1214084" y="1656106"/>
                </a:lnTo>
                <a:lnTo>
                  <a:pt x="1216580" y="1655565"/>
                </a:lnTo>
                <a:lnTo>
                  <a:pt x="1217014" y="1659354"/>
                </a:lnTo>
                <a:lnTo>
                  <a:pt x="1213432" y="1662494"/>
                </a:lnTo>
                <a:lnTo>
                  <a:pt x="1210719" y="1668125"/>
                </a:lnTo>
                <a:lnTo>
                  <a:pt x="1210503" y="1673971"/>
                </a:lnTo>
                <a:lnTo>
                  <a:pt x="1208983" y="1675703"/>
                </a:lnTo>
                <a:lnTo>
                  <a:pt x="1208224" y="1672131"/>
                </a:lnTo>
                <a:lnTo>
                  <a:pt x="1205185" y="1674729"/>
                </a:lnTo>
                <a:lnTo>
                  <a:pt x="1204100" y="1672780"/>
                </a:lnTo>
                <a:lnTo>
                  <a:pt x="1200737" y="1677111"/>
                </a:lnTo>
                <a:lnTo>
                  <a:pt x="1202038" y="1679493"/>
                </a:lnTo>
                <a:lnTo>
                  <a:pt x="1206053" y="1681550"/>
                </a:lnTo>
                <a:lnTo>
                  <a:pt x="1211154" y="1678193"/>
                </a:lnTo>
                <a:lnTo>
                  <a:pt x="1212782" y="1673971"/>
                </a:lnTo>
                <a:lnTo>
                  <a:pt x="1215386" y="1671048"/>
                </a:lnTo>
                <a:lnTo>
                  <a:pt x="1215494" y="1665742"/>
                </a:lnTo>
                <a:lnTo>
                  <a:pt x="1218316" y="1663360"/>
                </a:lnTo>
                <a:lnTo>
                  <a:pt x="1219618" y="1657297"/>
                </a:lnTo>
                <a:lnTo>
                  <a:pt x="1223633" y="1654807"/>
                </a:lnTo>
                <a:lnTo>
                  <a:pt x="1227540" y="1649935"/>
                </a:lnTo>
                <a:lnTo>
                  <a:pt x="1225370" y="1647228"/>
                </a:lnTo>
                <a:lnTo>
                  <a:pt x="1224935" y="1643872"/>
                </a:lnTo>
                <a:lnTo>
                  <a:pt x="1223416" y="1642572"/>
                </a:lnTo>
                <a:lnTo>
                  <a:pt x="1226238" y="1638783"/>
                </a:lnTo>
                <a:lnTo>
                  <a:pt x="1227757" y="1636834"/>
                </a:lnTo>
                <a:lnTo>
                  <a:pt x="1224285" y="1634452"/>
                </a:lnTo>
                <a:lnTo>
                  <a:pt x="1223633" y="1630554"/>
                </a:lnTo>
                <a:lnTo>
                  <a:pt x="1227757" y="1627414"/>
                </a:lnTo>
                <a:lnTo>
                  <a:pt x="1228299" y="1624166"/>
                </a:lnTo>
                <a:lnTo>
                  <a:pt x="1223091" y="1620377"/>
                </a:lnTo>
                <a:lnTo>
                  <a:pt x="1221246" y="1611933"/>
                </a:lnTo>
                <a:lnTo>
                  <a:pt x="1221245" y="1611932"/>
                </a:lnTo>
                <a:lnTo>
                  <a:pt x="1221245" y="1611824"/>
                </a:lnTo>
                <a:lnTo>
                  <a:pt x="1217556" y="1611066"/>
                </a:lnTo>
                <a:lnTo>
                  <a:pt x="1216036" y="1603054"/>
                </a:lnTo>
                <a:lnTo>
                  <a:pt x="1220486" y="1593418"/>
                </a:lnTo>
                <a:lnTo>
                  <a:pt x="1221897" y="1587355"/>
                </a:lnTo>
                <a:lnTo>
                  <a:pt x="1218966" y="1590170"/>
                </a:lnTo>
                <a:lnTo>
                  <a:pt x="1213432" y="1592010"/>
                </a:lnTo>
                <a:lnTo>
                  <a:pt x="1207572" y="1595259"/>
                </a:lnTo>
                <a:lnTo>
                  <a:pt x="1203232" y="1589087"/>
                </a:lnTo>
                <a:lnTo>
                  <a:pt x="1203449" y="1584324"/>
                </a:lnTo>
                <a:lnTo>
                  <a:pt x="1206053" y="1584757"/>
                </a:lnTo>
                <a:lnTo>
                  <a:pt x="1207789" y="1588763"/>
                </a:lnTo>
                <a:lnTo>
                  <a:pt x="1209960" y="1589304"/>
                </a:lnTo>
                <a:lnTo>
                  <a:pt x="1210393" y="1586489"/>
                </a:lnTo>
                <a:lnTo>
                  <a:pt x="1208115" y="1582591"/>
                </a:lnTo>
                <a:lnTo>
                  <a:pt x="1206921" y="1578585"/>
                </a:lnTo>
                <a:lnTo>
                  <a:pt x="1203449" y="1578585"/>
                </a:lnTo>
                <a:lnTo>
                  <a:pt x="1200302" y="1580642"/>
                </a:lnTo>
                <a:lnTo>
                  <a:pt x="1195310" y="1578261"/>
                </a:lnTo>
                <a:lnTo>
                  <a:pt x="1191946" y="1572089"/>
                </a:lnTo>
                <a:lnTo>
                  <a:pt x="1192055" y="1569816"/>
                </a:lnTo>
                <a:lnTo>
                  <a:pt x="1198131" y="1565701"/>
                </a:lnTo>
                <a:lnTo>
                  <a:pt x="1200736" y="1560071"/>
                </a:lnTo>
                <a:lnTo>
                  <a:pt x="1203774" y="1556931"/>
                </a:lnTo>
                <a:lnTo>
                  <a:pt x="1202472" y="1555523"/>
                </a:lnTo>
                <a:lnTo>
                  <a:pt x="1197914" y="1556931"/>
                </a:lnTo>
                <a:lnTo>
                  <a:pt x="1192814" y="1556931"/>
                </a:lnTo>
                <a:lnTo>
                  <a:pt x="1191512" y="1555090"/>
                </a:lnTo>
                <a:lnTo>
                  <a:pt x="1194984" y="1551409"/>
                </a:lnTo>
                <a:lnTo>
                  <a:pt x="1199108" y="1545129"/>
                </a:lnTo>
                <a:lnTo>
                  <a:pt x="1199325" y="1538417"/>
                </a:lnTo>
                <a:lnTo>
                  <a:pt x="1201170" y="1535927"/>
                </a:lnTo>
                <a:lnTo>
                  <a:pt x="1201170" y="1533112"/>
                </a:lnTo>
                <a:lnTo>
                  <a:pt x="1198239" y="1533869"/>
                </a:lnTo>
                <a:lnTo>
                  <a:pt x="1196395" y="1537875"/>
                </a:lnTo>
                <a:lnTo>
                  <a:pt x="1195744" y="1546212"/>
                </a:lnTo>
                <a:lnTo>
                  <a:pt x="1190535" y="1553358"/>
                </a:lnTo>
                <a:lnTo>
                  <a:pt x="1187605" y="1553900"/>
                </a:lnTo>
                <a:lnTo>
                  <a:pt x="1184784" y="1551951"/>
                </a:lnTo>
                <a:lnTo>
                  <a:pt x="1182179" y="1550976"/>
                </a:lnTo>
                <a:lnTo>
                  <a:pt x="1182179" y="1548594"/>
                </a:lnTo>
                <a:lnTo>
                  <a:pt x="1183699" y="1546537"/>
                </a:lnTo>
                <a:lnTo>
                  <a:pt x="1183699" y="1544372"/>
                </a:lnTo>
                <a:lnTo>
                  <a:pt x="1179901" y="1546862"/>
                </a:lnTo>
                <a:lnTo>
                  <a:pt x="1177730" y="1549785"/>
                </a:lnTo>
                <a:lnTo>
                  <a:pt x="1176211" y="1549894"/>
                </a:lnTo>
                <a:lnTo>
                  <a:pt x="1175018" y="1547186"/>
                </a:lnTo>
                <a:lnTo>
                  <a:pt x="1172413" y="1547945"/>
                </a:lnTo>
                <a:lnTo>
                  <a:pt x="1169917" y="1550002"/>
                </a:lnTo>
                <a:lnTo>
                  <a:pt x="1166662" y="1548161"/>
                </a:lnTo>
                <a:lnTo>
                  <a:pt x="1166553" y="1546429"/>
                </a:lnTo>
                <a:lnTo>
                  <a:pt x="1169917" y="1542747"/>
                </a:lnTo>
                <a:lnTo>
                  <a:pt x="1173823" y="1542531"/>
                </a:lnTo>
                <a:lnTo>
                  <a:pt x="1179466" y="1541015"/>
                </a:lnTo>
                <a:lnTo>
                  <a:pt x="1185760" y="1536468"/>
                </a:lnTo>
                <a:lnTo>
                  <a:pt x="1187930" y="1532029"/>
                </a:lnTo>
                <a:lnTo>
                  <a:pt x="1187822" y="1527048"/>
                </a:lnTo>
                <a:lnTo>
                  <a:pt x="1187062" y="1531162"/>
                </a:lnTo>
                <a:lnTo>
                  <a:pt x="1182830" y="1534086"/>
                </a:lnTo>
                <a:lnTo>
                  <a:pt x="1180009" y="1539066"/>
                </a:lnTo>
                <a:lnTo>
                  <a:pt x="1177404" y="1540798"/>
                </a:lnTo>
                <a:lnTo>
                  <a:pt x="1170893" y="1538525"/>
                </a:lnTo>
                <a:lnTo>
                  <a:pt x="1169483" y="1535168"/>
                </a:lnTo>
                <a:lnTo>
                  <a:pt x="1165359" y="1534735"/>
                </a:lnTo>
                <a:lnTo>
                  <a:pt x="1165359" y="1533112"/>
                </a:lnTo>
                <a:lnTo>
                  <a:pt x="1168832" y="1531704"/>
                </a:lnTo>
                <a:lnTo>
                  <a:pt x="1166879" y="1529972"/>
                </a:lnTo>
                <a:lnTo>
                  <a:pt x="1160910" y="1531162"/>
                </a:lnTo>
                <a:lnTo>
                  <a:pt x="1157112" y="1529105"/>
                </a:lnTo>
                <a:lnTo>
                  <a:pt x="1153856" y="1529430"/>
                </a:lnTo>
                <a:lnTo>
                  <a:pt x="1152988" y="1533112"/>
                </a:lnTo>
                <a:lnTo>
                  <a:pt x="1147454" y="1529322"/>
                </a:lnTo>
                <a:lnTo>
                  <a:pt x="1145175" y="1524666"/>
                </a:lnTo>
                <a:lnTo>
                  <a:pt x="1146912" y="1522934"/>
                </a:lnTo>
                <a:lnTo>
                  <a:pt x="1149842" y="1525100"/>
                </a:lnTo>
                <a:lnTo>
                  <a:pt x="1155376" y="1526507"/>
                </a:lnTo>
                <a:lnTo>
                  <a:pt x="1160910" y="1525533"/>
                </a:lnTo>
                <a:lnTo>
                  <a:pt x="1161236" y="1523150"/>
                </a:lnTo>
                <a:lnTo>
                  <a:pt x="1158631" y="1523476"/>
                </a:lnTo>
                <a:lnTo>
                  <a:pt x="1152228" y="1523259"/>
                </a:lnTo>
                <a:lnTo>
                  <a:pt x="1150710" y="1522068"/>
                </a:lnTo>
                <a:lnTo>
                  <a:pt x="1151578" y="1520877"/>
                </a:lnTo>
                <a:lnTo>
                  <a:pt x="1155701" y="1521851"/>
                </a:lnTo>
                <a:lnTo>
                  <a:pt x="1160367" y="1520877"/>
                </a:lnTo>
                <a:lnTo>
                  <a:pt x="1161127" y="1518819"/>
                </a:lnTo>
                <a:lnTo>
                  <a:pt x="1155050" y="1518928"/>
                </a:lnTo>
                <a:lnTo>
                  <a:pt x="1151903" y="1517087"/>
                </a:lnTo>
                <a:lnTo>
                  <a:pt x="1146803" y="1518278"/>
                </a:lnTo>
                <a:lnTo>
                  <a:pt x="1143547" y="1518278"/>
                </a:lnTo>
                <a:lnTo>
                  <a:pt x="1141269" y="1516438"/>
                </a:lnTo>
                <a:lnTo>
                  <a:pt x="1142246" y="1512215"/>
                </a:lnTo>
                <a:lnTo>
                  <a:pt x="1146586" y="1511241"/>
                </a:lnTo>
                <a:lnTo>
                  <a:pt x="1149516" y="1513298"/>
                </a:lnTo>
                <a:lnTo>
                  <a:pt x="1154182" y="1513623"/>
                </a:lnTo>
                <a:lnTo>
                  <a:pt x="1156895" y="1511025"/>
                </a:lnTo>
                <a:lnTo>
                  <a:pt x="1152228" y="1511025"/>
                </a:lnTo>
                <a:lnTo>
                  <a:pt x="1148865" y="1509184"/>
                </a:lnTo>
                <a:lnTo>
                  <a:pt x="1143114" y="1508967"/>
                </a:lnTo>
                <a:lnTo>
                  <a:pt x="1143656" y="1507235"/>
                </a:lnTo>
                <a:lnTo>
                  <a:pt x="1150384" y="1505503"/>
                </a:lnTo>
                <a:lnTo>
                  <a:pt x="1152988" y="1506801"/>
                </a:lnTo>
                <a:lnTo>
                  <a:pt x="1155918" y="1505935"/>
                </a:lnTo>
                <a:lnTo>
                  <a:pt x="1155050" y="1503662"/>
                </a:lnTo>
                <a:lnTo>
                  <a:pt x="1155050" y="1501280"/>
                </a:lnTo>
                <a:lnTo>
                  <a:pt x="1157763" y="1498681"/>
                </a:lnTo>
                <a:lnTo>
                  <a:pt x="1163840" y="1498681"/>
                </a:lnTo>
                <a:lnTo>
                  <a:pt x="1167963" y="1499548"/>
                </a:lnTo>
                <a:lnTo>
                  <a:pt x="1169375" y="1498140"/>
                </a:lnTo>
                <a:lnTo>
                  <a:pt x="1161887" y="1497166"/>
                </a:lnTo>
                <a:lnTo>
                  <a:pt x="1159716" y="1494784"/>
                </a:lnTo>
                <a:lnTo>
                  <a:pt x="1157438" y="1494026"/>
                </a:lnTo>
                <a:lnTo>
                  <a:pt x="1155050" y="1497815"/>
                </a:lnTo>
                <a:lnTo>
                  <a:pt x="1150710" y="1499872"/>
                </a:lnTo>
                <a:lnTo>
                  <a:pt x="1147562" y="1502146"/>
                </a:lnTo>
                <a:lnTo>
                  <a:pt x="1146044" y="1500739"/>
                </a:lnTo>
                <a:lnTo>
                  <a:pt x="1146369" y="1497274"/>
                </a:lnTo>
                <a:lnTo>
                  <a:pt x="1145718" y="1493809"/>
                </a:lnTo>
                <a:lnTo>
                  <a:pt x="1147454" y="1490128"/>
                </a:lnTo>
                <a:lnTo>
                  <a:pt x="1153531" y="1487097"/>
                </a:lnTo>
                <a:lnTo>
                  <a:pt x="1156027" y="1483956"/>
                </a:lnTo>
                <a:lnTo>
                  <a:pt x="1167095" y="1475836"/>
                </a:lnTo>
                <a:lnTo>
                  <a:pt x="1170568" y="1474104"/>
                </a:lnTo>
                <a:lnTo>
                  <a:pt x="1172413" y="1477027"/>
                </a:lnTo>
                <a:lnTo>
                  <a:pt x="1172630" y="1483523"/>
                </a:lnTo>
                <a:lnTo>
                  <a:pt x="1175234" y="1487313"/>
                </a:lnTo>
                <a:lnTo>
                  <a:pt x="1176753" y="1486122"/>
                </a:lnTo>
                <a:lnTo>
                  <a:pt x="1175234" y="1480275"/>
                </a:lnTo>
                <a:lnTo>
                  <a:pt x="1175234" y="1473454"/>
                </a:lnTo>
                <a:lnTo>
                  <a:pt x="1179684" y="1471505"/>
                </a:lnTo>
                <a:lnTo>
                  <a:pt x="1185000" y="1471505"/>
                </a:lnTo>
                <a:lnTo>
                  <a:pt x="1180660" y="1470098"/>
                </a:lnTo>
                <a:lnTo>
                  <a:pt x="1175234" y="1470098"/>
                </a:lnTo>
                <a:lnTo>
                  <a:pt x="1171978" y="1471181"/>
                </a:lnTo>
                <a:lnTo>
                  <a:pt x="1169700" y="1468474"/>
                </a:lnTo>
                <a:lnTo>
                  <a:pt x="1170893" y="1465334"/>
                </a:lnTo>
                <a:lnTo>
                  <a:pt x="1175668" y="1463385"/>
                </a:lnTo>
                <a:lnTo>
                  <a:pt x="1180552" y="1460029"/>
                </a:lnTo>
                <a:lnTo>
                  <a:pt x="1184132" y="1453965"/>
                </a:lnTo>
                <a:lnTo>
                  <a:pt x="1182939" y="1450501"/>
                </a:lnTo>
                <a:lnTo>
                  <a:pt x="1181420" y="1451367"/>
                </a:lnTo>
                <a:lnTo>
                  <a:pt x="1180226" y="1455481"/>
                </a:lnTo>
                <a:lnTo>
                  <a:pt x="1176211" y="1459163"/>
                </a:lnTo>
                <a:lnTo>
                  <a:pt x="1171436" y="1459487"/>
                </a:lnTo>
                <a:lnTo>
                  <a:pt x="1166879" y="1465442"/>
                </a:lnTo>
                <a:lnTo>
                  <a:pt x="1160259" y="1470423"/>
                </a:lnTo>
                <a:lnTo>
                  <a:pt x="1153531" y="1472913"/>
                </a:lnTo>
                <a:lnTo>
                  <a:pt x="1150167" y="1468799"/>
                </a:lnTo>
                <a:lnTo>
                  <a:pt x="1151252" y="1466525"/>
                </a:lnTo>
                <a:lnTo>
                  <a:pt x="1155050" y="1465442"/>
                </a:lnTo>
                <a:lnTo>
                  <a:pt x="1151469" y="1464685"/>
                </a:lnTo>
                <a:lnTo>
                  <a:pt x="1144741" y="1467066"/>
                </a:lnTo>
                <a:lnTo>
                  <a:pt x="1142246" y="1464793"/>
                </a:lnTo>
                <a:lnTo>
                  <a:pt x="1143331" y="1462627"/>
                </a:lnTo>
                <a:lnTo>
                  <a:pt x="1149190" y="1458621"/>
                </a:lnTo>
                <a:lnTo>
                  <a:pt x="1153097" y="1456781"/>
                </a:lnTo>
                <a:lnTo>
                  <a:pt x="1157112" y="1457430"/>
                </a:lnTo>
                <a:lnTo>
                  <a:pt x="1158631" y="1455481"/>
                </a:lnTo>
                <a:lnTo>
                  <a:pt x="1158848" y="1453316"/>
                </a:lnTo>
                <a:lnTo>
                  <a:pt x="1156027" y="1451259"/>
                </a:lnTo>
                <a:lnTo>
                  <a:pt x="1156895" y="1449310"/>
                </a:lnTo>
                <a:lnTo>
                  <a:pt x="1159174" y="1447253"/>
                </a:lnTo>
                <a:lnTo>
                  <a:pt x="1157221" y="1445412"/>
                </a:lnTo>
                <a:lnTo>
                  <a:pt x="1153531" y="1447469"/>
                </a:lnTo>
                <a:lnTo>
                  <a:pt x="1151252" y="1447469"/>
                </a:lnTo>
                <a:lnTo>
                  <a:pt x="1149516" y="1443680"/>
                </a:lnTo>
                <a:lnTo>
                  <a:pt x="1148865" y="1433719"/>
                </a:lnTo>
                <a:lnTo>
                  <a:pt x="1146586" y="1430471"/>
                </a:lnTo>
                <a:lnTo>
                  <a:pt x="1146260" y="1426681"/>
                </a:lnTo>
                <a:lnTo>
                  <a:pt x="1147997" y="1423216"/>
                </a:lnTo>
                <a:lnTo>
                  <a:pt x="1153965" y="1423758"/>
                </a:lnTo>
                <a:lnTo>
                  <a:pt x="1158523" y="1425815"/>
                </a:lnTo>
                <a:lnTo>
                  <a:pt x="1164382" y="1425491"/>
                </a:lnTo>
                <a:lnTo>
                  <a:pt x="1169483" y="1427981"/>
                </a:lnTo>
                <a:lnTo>
                  <a:pt x="1167747" y="1425491"/>
                </a:lnTo>
                <a:lnTo>
                  <a:pt x="1163949" y="1424191"/>
                </a:lnTo>
                <a:lnTo>
                  <a:pt x="1159499" y="1424191"/>
                </a:lnTo>
                <a:lnTo>
                  <a:pt x="1156244" y="1420835"/>
                </a:lnTo>
                <a:lnTo>
                  <a:pt x="1152228" y="1417695"/>
                </a:lnTo>
                <a:lnTo>
                  <a:pt x="1152120" y="1415530"/>
                </a:lnTo>
                <a:lnTo>
                  <a:pt x="1155050" y="1410657"/>
                </a:lnTo>
                <a:lnTo>
                  <a:pt x="1157654" y="1409683"/>
                </a:lnTo>
                <a:lnTo>
                  <a:pt x="1159825" y="1405352"/>
                </a:lnTo>
                <a:lnTo>
                  <a:pt x="1159499" y="1400372"/>
                </a:lnTo>
                <a:lnTo>
                  <a:pt x="1157654" y="1400804"/>
                </a:lnTo>
                <a:lnTo>
                  <a:pt x="1153314" y="1406002"/>
                </a:lnTo>
                <a:lnTo>
                  <a:pt x="1149190" y="1408925"/>
                </a:lnTo>
                <a:lnTo>
                  <a:pt x="1141919" y="1411198"/>
                </a:lnTo>
                <a:lnTo>
                  <a:pt x="1138339" y="1414988"/>
                </a:lnTo>
                <a:lnTo>
                  <a:pt x="1137471" y="1418561"/>
                </a:lnTo>
                <a:lnTo>
                  <a:pt x="1134649" y="1417912"/>
                </a:lnTo>
                <a:lnTo>
                  <a:pt x="1131285" y="1410983"/>
                </a:lnTo>
                <a:lnTo>
                  <a:pt x="1129223" y="1403945"/>
                </a:lnTo>
                <a:lnTo>
                  <a:pt x="1130200" y="1391710"/>
                </a:lnTo>
                <a:lnTo>
                  <a:pt x="1131936" y="1384023"/>
                </a:lnTo>
                <a:lnTo>
                  <a:pt x="1131285" y="1380883"/>
                </a:lnTo>
                <a:lnTo>
                  <a:pt x="1127162" y="1380450"/>
                </a:lnTo>
                <a:lnTo>
                  <a:pt x="1126944" y="1373737"/>
                </a:lnTo>
                <a:lnTo>
                  <a:pt x="1130417" y="1371463"/>
                </a:lnTo>
                <a:lnTo>
                  <a:pt x="1132696" y="1373521"/>
                </a:lnTo>
                <a:lnTo>
                  <a:pt x="1135191" y="1374604"/>
                </a:lnTo>
                <a:lnTo>
                  <a:pt x="1134215" y="1369623"/>
                </a:lnTo>
                <a:lnTo>
                  <a:pt x="1138881" y="1365833"/>
                </a:lnTo>
                <a:lnTo>
                  <a:pt x="1141269" y="1359445"/>
                </a:lnTo>
                <a:lnTo>
                  <a:pt x="1145067" y="1358579"/>
                </a:lnTo>
                <a:lnTo>
                  <a:pt x="1150167" y="1359445"/>
                </a:lnTo>
                <a:lnTo>
                  <a:pt x="1152771" y="1357172"/>
                </a:lnTo>
                <a:lnTo>
                  <a:pt x="1149733" y="1356847"/>
                </a:lnTo>
                <a:lnTo>
                  <a:pt x="1149190" y="1355331"/>
                </a:lnTo>
                <a:lnTo>
                  <a:pt x="1155701" y="1347968"/>
                </a:lnTo>
                <a:lnTo>
                  <a:pt x="1158306" y="1343746"/>
                </a:lnTo>
                <a:lnTo>
                  <a:pt x="1164817" y="1340065"/>
                </a:lnTo>
                <a:lnTo>
                  <a:pt x="1165359" y="1337791"/>
                </a:lnTo>
                <a:lnTo>
                  <a:pt x="1162321" y="1337142"/>
                </a:lnTo>
                <a:lnTo>
                  <a:pt x="1161452" y="1334652"/>
                </a:lnTo>
                <a:lnTo>
                  <a:pt x="1155593" y="1339523"/>
                </a:lnTo>
                <a:lnTo>
                  <a:pt x="1154725" y="1344612"/>
                </a:lnTo>
                <a:lnTo>
                  <a:pt x="1146803" y="1353599"/>
                </a:lnTo>
                <a:lnTo>
                  <a:pt x="1145175" y="1353599"/>
                </a:lnTo>
                <a:lnTo>
                  <a:pt x="1145718" y="1350351"/>
                </a:lnTo>
                <a:lnTo>
                  <a:pt x="1150710" y="1343638"/>
                </a:lnTo>
                <a:lnTo>
                  <a:pt x="1151578" y="1335842"/>
                </a:lnTo>
                <a:lnTo>
                  <a:pt x="1157763" y="1324149"/>
                </a:lnTo>
                <a:lnTo>
                  <a:pt x="1160042" y="1319060"/>
                </a:lnTo>
                <a:lnTo>
                  <a:pt x="1158739" y="1318411"/>
                </a:lnTo>
                <a:lnTo>
                  <a:pt x="1158632" y="1318411"/>
                </a:lnTo>
                <a:lnTo>
                  <a:pt x="1156787" y="1319927"/>
                </a:lnTo>
                <a:lnTo>
                  <a:pt x="1151469" y="1331079"/>
                </a:lnTo>
                <a:lnTo>
                  <a:pt x="1149516" y="1340823"/>
                </a:lnTo>
                <a:lnTo>
                  <a:pt x="1144525" y="1348185"/>
                </a:lnTo>
                <a:lnTo>
                  <a:pt x="1138665" y="1355006"/>
                </a:lnTo>
                <a:lnTo>
                  <a:pt x="1134324" y="1356847"/>
                </a:lnTo>
                <a:lnTo>
                  <a:pt x="1131177" y="1356306"/>
                </a:lnTo>
                <a:lnTo>
                  <a:pt x="1130526" y="1359662"/>
                </a:lnTo>
                <a:lnTo>
                  <a:pt x="1127488" y="1361287"/>
                </a:lnTo>
                <a:lnTo>
                  <a:pt x="1125208" y="1356522"/>
                </a:lnTo>
                <a:lnTo>
                  <a:pt x="1126294" y="1351000"/>
                </a:lnTo>
                <a:lnTo>
                  <a:pt x="1128681" y="1349051"/>
                </a:lnTo>
                <a:lnTo>
                  <a:pt x="1131069" y="1348943"/>
                </a:lnTo>
                <a:lnTo>
                  <a:pt x="1134324" y="1349377"/>
                </a:lnTo>
                <a:lnTo>
                  <a:pt x="1138231" y="1345912"/>
                </a:lnTo>
                <a:lnTo>
                  <a:pt x="1137797" y="1344612"/>
                </a:lnTo>
                <a:lnTo>
                  <a:pt x="1133131" y="1344396"/>
                </a:lnTo>
                <a:lnTo>
                  <a:pt x="1130960" y="1345479"/>
                </a:lnTo>
                <a:lnTo>
                  <a:pt x="1127379" y="1344937"/>
                </a:lnTo>
                <a:lnTo>
                  <a:pt x="1127270" y="1343097"/>
                </a:lnTo>
                <a:lnTo>
                  <a:pt x="1130526" y="1339416"/>
                </a:lnTo>
                <a:lnTo>
                  <a:pt x="1134867" y="1339091"/>
                </a:lnTo>
                <a:lnTo>
                  <a:pt x="1138231" y="1339524"/>
                </a:lnTo>
                <a:lnTo>
                  <a:pt x="1137146" y="1337250"/>
                </a:lnTo>
                <a:lnTo>
                  <a:pt x="1135952" y="1334760"/>
                </a:lnTo>
                <a:lnTo>
                  <a:pt x="1137471" y="1331404"/>
                </a:lnTo>
                <a:lnTo>
                  <a:pt x="1140727" y="1325882"/>
                </a:lnTo>
                <a:lnTo>
                  <a:pt x="1139859" y="1322850"/>
                </a:lnTo>
                <a:lnTo>
                  <a:pt x="1139859" y="1318736"/>
                </a:lnTo>
                <a:lnTo>
                  <a:pt x="1144742" y="1314188"/>
                </a:lnTo>
                <a:lnTo>
                  <a:pt x="1144742" y="1312348"/>
                </a:lnTo>
                <a:lnTo>
                  <a:pt x="1139207" y="1312131"/>
                </a:lnTo>
                <a:lnTo>
                  <a:pt x="1138556" y="1310616"/>
                </a:lnTo>
                <a:lnTo>
                  <a:pt x="1142137" y="1306502"/>
                </a:lnTo>
                <a:lnTo>
                  <a:pt x="1136277" y="1307043"/>
                </a:lnTo>
                <a:lnTo>
                  <a:pt x="1132696" y="1307367"/>
                </a:lnTo>
                <a:lnTo>
                  <a:pt x="1131611" y="1305419"/>
                </a:lnTo>
                <a:lnTo>
                  <a:pt x="1126077" y="1310941"/>
                </a:lnTo>
                <a:lnTo>
                  <a:pt x="1122279" y="1311806"/>
                </a:lnTo>
                <a:lnTo>
                  <a:pt x="1121953" y="1313864"/>
                </a:lnTo>
                <a:lnTo>
                  <a:pt x="1119024" y="1320576"/>
                </a:lnTo>
                <a:lnTo>
                  <a:pt x="1114031" y="1324908"/>
                </a:lnTo>
                <a:lnTo>
                  <a:pt x="1112078" y="1320468"/>
                </a:lnTo>
                <a:lnTo>
                  <a:pt x="1112078" y="1315812"/>
                </a:lnTo>
                <a:lnTo>
                  <a:pt x="1117504" y="1311482"/>
                </a:lnTo>
                <a:lnTo>
                  <a:pt x="1124666" y="1303794"/>
                </a:lnTo>
                <a:lnTo>
                  <a:pt x="1127596" y="1297515"/>
                </a:lnTo>
                <a:lnTo>
                  <a:pt x="1130960" y="1296757"/>
                </a:lnTo>
                <a:lnTo>
                  <a:pt x="1136061" y="1297731"/>
                </a:lnTo>
                <a:lnTo>
                  <a:pt x="1141052" y="1295025"/>
                </a:lnTo>
                <a:lnTo>
                  <a:pt x="1138339" y="1293942"/>
                </a:lnTo>
                <a:lnTo>
                  <a:pt x="1133131" y="1294158"/>
                </a:lnTo>
                <a:lnTo>
                  <a:pt x="1129549" y="1291668"/>
                </a:lnTo>
                <a:lnTo>
                  <a:pt x="1125534" y="1284739"/>
                </a:lnTo>
                <a:lnTo>
                  <a:pt x="1124883" y="1279542"/>
                </a:lnTo>
                <a:lnTo>
                  <a:pt x="1127705" y="1275752"/>
                </a:lnTo>
                <a:lnTo>
                  <a:pt x="1130635" y="1275319"/>
                </a:lnTo>
                <a:lnTo>
                  <a:pt x="1133456" y="1274129"/>
                </a:lnTo>
                <a:lnTo>
                  <a:pt x="1131069" y="1274020"/>
                </a:lnTo>
                <a:lnTo>
                  <a:pt x="1127270" y="1270664"/>
                </a:lnTo>
                <a:lnTo>
                  <a:pt x="1125643" y="1266658"/>
                </a:lnTo>
                <a:lnTo>
                  <a:pt x="1122279" y="1264384"/>
                </a:lnTo>
                <a:lnTo>
                  <a:pt x="1121302" y="1261786"/>
                </a:lnTo>
                <a:lnTo>
                  <a:pt x="1122930" y="1260378"/>
                </a:lnTo>
                <a:lnTo>
                  <a:pt x="1126836" y="1260811"/>
                </a:lnTo>
                <a:lnTo>
                  <a:pt x="1126620" y="1259187"/>
                </a:lnTo>
                <a:lnTo>
                  <a:pt x="1124232" y="1257346"/>
                </a:lnTo>
                <a:lnTo>
                  <a:pt x="1121410" y="1257780"/>
                </a:lnTo>
                <a:lnTo>
                  <a:pt x="1118264" y="1254748"/>
                </a:lnTo>
                <a:lnTo>
                  <a:pt x="1116961" y="1250742"/>
                </a:lnTo>
                <a:lnTo>
                  <a:pt x="1114249" y="1251066"/>
                </a:lnTo>
                <a:lnTo>
                  <a:pt x="1111536" y="1250742"/>
                </a:lnTo>
                <a:lnTo>
                  <a:pt x="1110776" y="1248901"/>
                </a:lnTo>
                <a:lnTo>
                  <a:pt x="1112946" y="1245220"/>
                </a:lnTo>
                <a:lnTo>
                  <a:pt x="1116093" y="1244679"/>
                </a:lnTo>
                <a:lnTo>
                  <a:pt x="1117721" y="1242405"/>
                </a:lnTo>
                <a:lnTo>
                  <a:pt x="1116419" y="1240781"/>
                </a:lnTo>
                <a:lnTo>
                  <a:pt x="1116202" y="1235584"/>
                </a:lnTo>
                <a:lnTo>
                  <a:pt x="1118697" y="1231903"/>
                </a:lnTo>
                <a:lnTo>
                  <a:pt x="1117504" y="1228979"/>
                </a:lnTo>
                <a:lnTo>
                  <a:pt x="1118806" y="1227356"/>
                </a:lnTo>
                <a:lnTo>
                  <a:pt x="1120434" y="1231036"/>
                </a:lnTo>
                <a:lnTo>
                  <a:pt x="1124015" y="1233744"/>
                </a:lnTo>
                <a:lnTo>
                  <a:pt x="1125860" y="1232985"/>
                </a:lnTo>
                <a:lnTo>
                  <a:pt x="1125860" y="1228330"/>
                </a:lnTo>
                <a:lnTo>
                  <a:pt x="1122604" y="1222916"/>
                </a:lnTo>
                <a:lnTo>
                  <a:pt x="1122279" y="1220426"/>
                </a:lnTo>
                <a:lnTo>
                  <a:pt x="1125860" y="1219885"/>
                </a:lnTo>
                <a:lnTo>
                  <a:pt x="1128030" y="1218152"/>
                </a:lnTo>
                <a:lnTo>
                  <a:pt x="1124883" y="1215770"/>
                </a:lnTo>
                <a:lnTo>
                  <a:pt x="1124883" y="1213713"/>
                </a:lnTo>
                <a:lnTo>
                  <a:pt x="1127270" y="1212630"/>
                </a:lnTo>
                <a:lnTo>
                  <a:pt x="1133673" y="1208516"/>
                </a:lnTo>
                <a:lnTo>
                  <a:pt x="1133781" y="1207109"/>
                </a:lnTo>
                <a:lnTo>
                  <a:pt x="1128030" y="1207434"/>
                </a:lnTo>
                <a:lnTo>
                  <a:pt x="1124015" y="1209166"/>
                </a:lnTo>
                <a:lnTo>
                  <a:pt x="1121410" y="1207650"/>
                </a:lnTo>
                <a:lnTo>
                  <a:pt x="1118915" y="1209491"/>
                </a:lnTo>
                <a:lnTo>
                  <a:pt x="1115442" y="1206567"/>
                </a:lnTo>
                <a:lnTo>
                  <a:pt x="1115008" y="1201479"/>
                </a:lnTo>
                <a:lnTo>
                  <a:pt x="1112838" y="1201479"/>
                </a:lnTo>
                <a:lnTo>
                  <a:pt x="1112078" y="1195957"/>
                </a:lnTo>
                <a:lnTo>
                  <a:pt x="1107955" y="1192059"/>
                </a:lnTo>
                <a:lnTo>
                  <a:pt x="1106978" y="1187187"/>
                </a:lnTo>
                <a:lnTo>
                  <a:pt x="1106110" y="1183181"/>
                </a:lnTo>
                <a:lnTo>
                  <a:pt x="1106435" y="1176252"/>
                </a:lnTo>
                <a:lnTo>
                  <a:pt x="1109583" y="1173437"/>
                </a:lnTo>
                <a:lnTo>
                  <a:pt x="1107955" y="1170514"/>
                </a:lnTo>
                <a:lnTo>
                  <a:pt x="1108497" y="1164883"/>
                </a:lnTo>
                <a:lnTo>
                  <a:pt x="1112946" y="1156114"/>
                </a:lnTo>
                <a:lnTo>
                  <a:pt x="1111644" y="1149400"/>
                </a:lnTo>
                <a:lnTo>
                  <a:pt x="1113489" y="1141172"/>
                </a:lnTo>
                <a:lnTo>
                  <a:pt x="1116744" y="1134567"/>
                </a:lnTo>
                <a:lnTo>
                  <a:pt x="1111753" y="1138249"/>
                </a:lnTo>
                <a:lnTo>
                  <a:pt x="1109365" y="1144095"/>
                </a:lnTo>
                <a:lnTo>
                  <a:pt x="1106761" y="1143012"/>
                </a:lnTo>
                <a:lnTo>
                  <a:pt x="1104590" y="1137166"/>
                </a:lnTo>
                <a:lnTo>
                  <a:pt x="1102854" y="1136300"/>
                </a:lnTo>
                <a:lnTo>
                  <a:pt x="1102529" y="1137166"/>
                </a:lnTo>
                <a:lnTo>
                  <a:pt x="1104157" y="1140631"/>
                </a:lnTo>
                <a:lnTo>
                  <a:pt x="1105458" y="1147451"/>
                </a:lnTo>
                <a:lnTo>
                  <a:pt x="1105458" y="1157412"/>
                </a:lnTo>
                <a:lnTo>
                  <a:pt x="1101986" y="1167590"/>
                </a:lnTo>
                <a:lnTo>
                  <a:pt x="1101118" y="1179067"/>
                </a:lnTo>
                <a:lnTo>
                  <a:pt x="1099382" y="1182532"/>
                </a:lnTo>
                <a:lnTo>
                  <a:pt x="1098839" y="1188595"/>
                </a:lnTo>
                <a:lnTo>
                  <a:pt x="1094716" y="1196499"/>
                </a:lnTo>
                <a:lnTo>
                  <a:pt x="1091677" y="1194224"/>
                </a:lnTo>
                <a:lnTo>
                  <a:pt x="1090049" y="1188269"/>
                </a:lnTo>
                <a:lnTo>
                  <a:pt x="1091460" y="1186538"/>
                </a:lnTo>
                <a:lnTo>
                  <a:pt x="1090918" y="1183073"/>
                </a:lnTo>
                <a:lnTo>
                  <a:pt x="1088530" y="1186862"/>
                </a:lnTo>
                <a:lnTo>
                  <a:pt x="1087879" y="1188919"/>
                </a:lnTo>
                <a:lnTo>
                  <a:pt x="1082887" y="1187512"/>
                </a:lnTo>
                <a:lnTo>
                  <a:pt x="1081477" y="1185130"/>
                </a:lnTo>
                <a:lnTo>
                  <a:pt x="1083213" y="1180149"/>
                </a:lnTo>
                <a:lnTo>
                  <a:pt x="1082019" y="1175818"/>
                </a:lnTo>
                <a:lnTo>
                  <a:pt x="1081802" y="1172246"/>
                </a:lnTo>
                <a:lnTo>
                  <a:pt x="1085275" y="1169106"/>
                </a:lnTo>
                <a:lnTo>
                  <a:pt x="1086685" y="1165424"/>
                </a:lnTo>
                <a:lnTo>
                  <a:pt x="1084515" y="1165749"/>
                </a:lnTo>
                <a:lnTo>
                  <a:pt x="1080391" y="1169647"/>
                </a:lnTo>
                <a:lnTo>
                  <a:pt x="1077896" y="1168998"/>
                </a:lnTo>
                <a:lnTo>
                  <a:pt x="1076811" y="1165424"/>
                </a:lnTo>
                <a:lnTo>
                  <a:pt x="1078547" y="1160661"/>
                </a:lnTo>
                <a:lnTo>
                  <a:pt x="1076811" y="1157412"/>
                </a:lnTo>
                <a:lnTo>
                  <a:pt x="1075399" y="1154706"/>
                </a:lnTo>
                <a:lnTo>
                  <a:pt x="1072686" y="1159145"/>
                </a:lnTo>
                <a:lnTo>
                  <a:pt x="1071168" y="1156222"/>
                </a:lnTo>
                <a:lnTo>
                  <a:pt x="1070841" y="1151457"/>
                </a:lnTo>
                <a:lnTo>
                  <a:pt x="1068020" y="1151133"/>
                </a:lnTo>
                <a:lnTo>
                  <a:pt x="1067370" y="1156438"/>
                </a:lnTo>
                <a:lnTo>
                  <a:pt x="1065633" y="1158712"/>
                </a:lnTo>
                <a:lnTo>
                  <a:pt x="1065742" y="1161094"/>
                </a:lnTo>
                <a:lnTo>
                  <a:pt x="1068997" y="1162501"/>
                </a:lnTo>
                <a:lnTo>
                  <a:pt x="1070408" y="1165749"/>
                </a:lnTo>
                <a:lnTo>
                  <a:pt x="1070841" y="1168781"/>
                </a:lnTo>
                <a:lnTo>
                  <a:pt x="1067478" y="1173112"/>
                </a:lnTo>
                <a:lnTo>
                  <a:pt x="1069106" y="1174628"/>
                </a:lnTo>
                <a:lnTo>
                  <a:pt x="1070841" y="1173653"/>
                </a:lnTo>
                <a:lnTo>
                  <a:pt x="1073338" y="1173437"/>
                </a:lnTo>
                <a:lnTo>
                  <a:pt x="1076159" y="1180149"/>
                </a:lnTo>
                <a:lnTo>
                  <a:pt x="1074423" y="1183939"/>
                </a:lnTo>
                <a:lnTo>
                  <a:pt x="1071601" y="1183181"/>
                </a:lnTo>
                <a:lnTo>
                  <a:pt x="1069756" y="1181016"/>
                </a:lnTo>
                <a:lnTo>
                  <a:pt x="1068346" y="1183073"/>
                </a:lnTo>
                <a:lnTo>
                  <a:pt x="1069865" y="1185130"/>
                </a:lnTo>
                <a:lnTo>
                  <a:pt x="1066501" y="1186320"/>
                </a:lnTo>
                <a:lnTo>
                  <a:pt x="1063897" y="1183073"/>
                </a:lnTo>
                <a:lnTo>
                  <a:pt x="1061292" y="1185130"/>
                </a:lnTo>
                <a:lnTo>
                  <a:pt x="1060750" y="1182532"/>
                </a:lnTo>
                <a:lnTo>
                  <a:pt x="1058254" y="1181340"/>
                </a:lnTo>
                <a:lnTo>
                  <a:pt x="1051091" y="1173220"/>
                </a:lnTo>
                <a:lnTo>
                  <a:pt x="1049790" y="1169106"/>
                </a:lnTo>
                <a:lnTo>
                  <a:pt x="1050983" y="1165208"/>
                </a:lnTo>
                <a:lnTo>
                  <a:pt x="1047728" y="1164991"/>
                </a:lnTo>
                <a:lnTo>
                  <a:pt x="1045340" y="1162610"/>
                </a:lnTo>
                <a:lnTo>
                  <a:pt x="1045449" y="1151782"/>
                </a:lnTo>
                <a:lnTo>
                  <a:pt x="1047185" y="1149184"/>
                </a:lnTo>
                <a:lnTo>
                  <a:pt x="1043604" y="1146586"/>
                </a:lnTo>
                <a:lnTo>
                  <a:pt x="1042845" y="1143879"/>
                </a:lnTo>
                <a:lnTo>
                  <a:pt x="1046208" y="1139981"/>
                </a:lnTo>
                <a:lnTo>
                  <a:pt x="1048705" y="1138573"/>
                </a:lnTo>
                <a:lnTo>
                  <a:pt x="1049898" y="1135325"/>
                </a:lnTo>
                <a:lnTo>
                  <a:pt x="1049898" y="1129912"/>
                </a:lnTo>
                <a:lnTo>
                  <a:pt x="1052503" y="1122225"/>
                </a:lnTo>
                <a:lnTo>
                  <a:pt x="1046968" y="1132186"/>
                </a:lnTo>
                <a:lnTo>
                  <a:pt x="1044798" y="1136841"/>
                </a:lnTo>
                <a:lnTo>
                  <a:pt x="1039372" y="1136192"/>
                </a:lnTo>
                <a:lnTo>
                  <a:pt x="1037202" y="1137490"/>
                </a:lnTo>
                <a:lnTo>
                  <a:pt x="1030257" y="1130778"/>
                </a:lnTo>
                <a:lnTo>
                  <a:pt x="1030257" y="1129045"/>
                </a:lnTo>
                <a:lnTo>
                  <a:pt x="1033078" y="1129045"/>
                </a:lnTo>
                <a:lnTo>
                  <a:pt x="1034380" y="1126122"/>
                </a:lnTo>
                <a:lnTo>
                  <a:pt x="1031668" y="1124606"/>
                </a:lnTo>
                <a:lnTo>
                  <a:pt x="1027761" y="1125798"/>
                </a:lnTo>
                <a:lnTo>
                  <a:pt x="1024830" y="1123416"/>
                </a:lnTo>
                <a:lnTo>
                  <a:pt x="1023529" y="1118868"/>
                </a:lnTo>
                <a:lnTo>
                  <a:pt x="1020273" y="1113238"/>
                </a:lnTo>
                <a:lnTo>
                  <a:pt x="1022009" y="1112588"/>
                </a:lnTo>
                <a:lnTo>
                  <a:pt x="1027001" y="1115404"/>
                </a:lnTo>
                <a:lnTo>
                  <a:pt x="1030148" y="1114862"/>
                </a:lnTo>
                <a:lnTo>
                  <a:pt x="1032210" y="1109882"/>
                </a:lnTo>
                <a:lnTo>
                  <a:pt x="1033078" y="1101545"/>
                </a:lnTo>
                <a:lnTo>
                  <a:pt x="1037527" y="1098188"/>
                </a:lnTo>
                <a:lnTo>
                  <a:pt x="1039372" y="1095265"/>
                </a:lnTo>
                <a:lnTo>
                  <a:pt x="1036984" y="1095049"/>
                </a:lnTo>
                <a:lnTo>
                  <a:pt x="1030799" y="1099488"/>
                </a:lnTo>
                <a:lnTo>
                  <a:pt x="1028086" y="1103169"/>
                </a:lnTo>
                <a:lnTo>
                  <a:pt x="1026893" y="1100678"/>
                </a:lnTo>
                <a:lnTo>
                  <a:pt x="1023094" y="1102086"/>
                </a:lnTo>
                <a:lnTo>
                  <a:pt x="1014305" y="1104143"/>
                </a:lnTo>
                <a:lnTo>
                  <a:pt x="1007143" y="1101870"/>
                </a:lnTo>
                <a:lnTo>
                  <a:pt x="1004321" y="1099163"/>
                </a:lnTo>
                <a:lnTo>
                  <a:pt x="1003127" y="1094940"/>
                </a:lnTo>
                <a:lnTo>
                  <a:pt x="996183" y="1093208"/>
                </a:lnTo>
                <a:lnTo>
                  <a:pt x="995314" y="1090935"/>
                </a:lnTo>
                <a:lnTo>
                  <a:pt x="999764" y="1089743"/>
                </a:lnTo>
                <a:lnTo>
                  <a:pt x="1003236" y="1086929"/>
                </a:lnTo>
                <a:lnTo>
                  <a:pt x="1003562" y="1083356"/>
                </a:lnTo>
                <a:lnTo>
                  <a:pt x="1001174" y="1082164"/>
                </a:lnTo>
                <a:lnTo>
                  <a:pt x="999764" y="1083680"/>
                </a:lnTo>
                <a:lnTo>
                  <a:pt x="993253" y="1086929"/>
                </a:lnTo>
                <a:lnTo>
                  <a:pt x="989128" y="1087145"/>
                </a:lnTo>
                <a:lnTo>
                  <a:pt x="987935" y="1083897"/>
                </a:lnTo>
                <a:lnTo>
                  <a:pt x="984788" y="1081623"/>
                </a:lnTo>
                <a:lnTo>
                  <a:pt x="981751" y="1077834"/>
                </a:lnTo>
                <a:lnTo>
                  <a:pt x="978496" y="1077509"/>
                </a:lnTo>
                <a:lnTo>
                  <a:pt x="978604" y="1074044"/>
                </a:lnTo>
                <a:lnTo>
                  <a:pt x="976216" y="1073286"/>
                </a:lnTo>
                <a:lnTo>
                  <a:pt x="970898" y="1074260"/>
                </a:lnTo>
                <a:lnTo>
                  <a:pt x="964931" y="1073719"/>
                </a:lnTo>
                <a:lnTo>
                  <a:pt x="960156" y="1074260"/>
                </a:lnTo>
                <a:lnTo>
                  <a:pt x="956576" y="1073395"/>
                </a:lnTo>
                <a:lnTo>
                  <a:pt x="953210" y="1074802"/>
                </a:lnTo>
                <a:lnTo>
                  <a:pt x="941816" y="1072528"/>
                </a:lnTo>
                <a:lnTo>
                  <a:pt x="940298" y="1069713"/>
                </a:lnTo>
                <a:lnTo>
                  <a:pt x="943227" y="1068631"/>
                </a:lnTo>
                <a:lnTo>
                  <a:pt x="945723" y="1069605"/>
                </a:lnTo>
                <a:lnTo>
                  <a:pt x="947785" y="1068414"/>
                </a:lnTo>
                <a:lnTo>
                  <a:pt x="943118" y="1064083"/>
                </a:lnTo>
                <a:lnTo>
                  <a:pt x="949195" y="1058128"/>
                </a:lnTo>
                <a:lnTo>
                  <a:pt x="948760" y="1055205"/>
                </a:lnTo>
                <a:lnTo>
                  <a:pt x="952235" y="1050766"/>
                </a:lnTo>
                <a:lnTo>
                  <a:pt x="946374" y="1050550"/>
                </a:lnTo>
                <a:lnTo>
                  <a:pt x="945180" y="1052607"/>
                </a:lnTo>
                <a:lnTo>
                  <a:pt x="946590" y="1054664"/>
                </a:lnTo>
                <a:lnTo>
                  <a:pt x="943444" y="1059428"/>
                </a:lnTo>
                <a:lnTo>
                  <a:pt x="939647" y="1058128"/>
                </a:lnTo>
                <a:lnTo>
                  <a:pt x="938996" y="1055205"/>
                </a:lnTo>
                <a:lnTo>
                  <a:pt x="936932" y="1054339"/>
                </a:lnTo>
                <a:lnTo>
                  <a:pt x="936173" y="1051632"/>
                </a:lnTo>
                <a:lnTo>
                  <a:pt x="939104" y="1049575"/>
                </a:lnTo>
                <a:lnTo>
                  <a:pt x="939104" y="1047301"/>
                </a:lnTo>
                <a:lnTo>
                  <a:pt x="937042" y="1044486"/>
                </a:lnTo>
                <a:lnTo>
                  <a:pt x="930313" y="1047085"/>
                </a:lnTo>
                <a:lnTo>
                  <a:pt x="926189" y="1045244"/>
                </a:lnTo>
                <a:lnTo>
                  <a:pt x="922067" y="1041563"/>
                </a:lnTo>
                <a:lnTo>
                  <a:pt x="917292" y="1043620"/>
                </a:lnTo>
                <a:lnTo>
                  <a:pt x="912627" y="1043620"/>
                </a:lnTo>
                <a:lnTo>
                  <a:pt x="912084" y="1041130"/>
                </a:lnTo>
                <a:lnTo>
                  <a:pt x="915882" y="1039722"/>
                </a:lnTo>
                <a:lnTo>
                  <a:pt x="919462" y="1038531"/>
                </a:lnTo>
                <a:lnTo>
                  <a:pt x="917292" y="1035391"/>
                </a:lnTo>
                <a:lnTo>
                  <a:pt x="910673" y="1033659"/>
                </a:lnTo>
                <a:lnTo>
                  <a:pt x="910238" y="1030303"/>
                </a:lnTo>
                <a:lnTo>
                  <a:pt x="915229" y="1030086"/>
                </a:lnTo>
                <a:lnTo>
                  <a:pt x="917400" y="1028895"/>
                </a:lnTo>
                <a:lnTo>
                  <a:pt x="913602" y="1026080"/>
                </a:lnTo>
                <a:lnTo>
                  <a:pt x="909695" y="1028354"/>
                </a:lnTo>
                <a:lnTo>
                  <a:pt x="906223" y="1027163"/>
                </a:lnTo>
                <a:lnTo>
                  <a:pt x="906765" y="1023157"/>
                </a:lnTo>
                <a:lnTo>
                  <a:pt x="910673" y="1021316"/>
                </a:lnTo>
                <a:lnTo>
                  <a:pt x="917074" y="1021966"/>
                </a:lnTo>
                <a:lnTo>
                  <a:pt x="922283" y="1026297"/>
                </a:lnTo>
                <a:lnTo>
                  <a:pt x="922826" y="1023915"/>
                </a:lnTo>
                <a:lnTo>
                  <a:pt x="919678" y="1020775"/>
                </a:lnTo>
                <a:lnTo>
                  <a:pt x="910673" y="1018934"/>
                </a:lnTo>
                <a:lnTo>
                  <a:pt x="908828" y="1016336"/>
                </a:lnTo>
                <a:lnTo>
                  <a:pt x="911215" y="1013088"/>
                </a:lnTo>
                <a:lnTo>
                  <a:pt x="914472" y="1013088"/>
                </a:lnTo>
                <a:lnTo>
                  <a:pt x="919462" y="1007891"/>
                </a:lnTo>
                <a:lnTo>
                  <a:pt x="924455" y="1007783"/>
                </a:lnTo>
                <a:lnTo>
                  <a:pt x="925323" y="1006050"/>
                </a:lnTo>
                <a:lnTo>
                  <a:pt x="921415" y="1004643"/>
                </a:lnTo>
                <a:lnTo>
                  <a:pt x="916098" y="1005726"/>
                </a:lnTo>
                <a:lnTo>
                  <a:pt x="911432" y="1008973"/>
                </a:lnTo>
                <a:lnTo>
                  <a:pt x="909479" y="1009082"/>
                </a:lnTo>
                <a:lnTo>
                  <a:pt x="904921" y="1012546"/>
                </a:lnTo>
                <a:lnTo>
                  <a:pt x="901231" y="1009840"/>
                </a:lnTo>
                <a:lnTo>
                  <a:pt x="900037" y="1012546"/>
                </a:lnTo>
                <a:lnTo>
                  <a:pt x="894395" y="1016661"/>
                </a:lnTo>
                <a:lnTo>
                  <a:pt x="893526" y="1013629"/>
                </a:lnTo>
                <a:lnTo>
                  <a:pt x="895913" y="1009948"/>
                </a:lnTo>
                <a:lnTo>
                  <a:pt x="897433" y="1007024"/>
                </a:lnTo>
                <a:lnTo>
                  <a:pt x="895262" y="1007024"/>
                </a:lnTo>
                <a:lnTo>
                  <a:pt x="891574" y="1009407"/>
                </a:lnTo>
                <a:lnTo>
                  <a:pt x="888643" y="1018610"/>
                </a:lnTo>
                <a:lnTo>
                  <a:pt x="886581" y="1019042"/>
                </a:lnTo>
                <a:lnTo>
                  <a:pt x="885063" y="1011139"/>
                </a:lnTo>
                <a:lnTo>
                  <a:pt x="884520" y="1007241"/>
                </a:lnTo>
                <a:lnTo>
                  <a:pt x="893309" y="1001178"/>
                </a:lnTo>
                <a:lnTo>
                  <a:pt x="887449" y="1001178"/>
                </a:lnTo>
                <a:lnTo>
                  <a:pt x="884194" y="1002044"/>
                </a:lnTo>
                <a:lnTo>
                  <a:pt x="879744" y="998796"/>
                </a:lnTo>
                <a:lnTo>
                  <a:pt x="871931" y="1002044"/>
                </a:lnTo>
                <a:lnTo>
                  <a:pt x="873667" y="1007566"/>
                </a:lnTo>
                <a:lnTo>
                  <a:pt x="873016" y="1009840"/>
                </a:lnTo>
                <a:lnTo>
                  <a:pt x="870954" y="1008432"/>
                </a:lnTo>
                <a:lnTo>
                  <a:pt x="868134" y="1009840"/>
                </a:lnTo>
                <a:lnTo>
                  <a:pt x="861947" y="1010489"/>
                </a:lnTo>
                <a:lnTo>
                  <a:pt x="862166" y="1014279"/>
                </a:lnTo>
                <a:lnTo>
                  <a:pt x="866940" y="1018177"/>
                </a:lnTo>
                <a:lnTo>
                  <a:pt x="871065" y="1016552"/>
                </a:lnTo>
                <a:lnTo>
                  <a:pt x="871065" y="1020450"/>
                </a:lnTo>
                <a:lnTo>
                  <a:pt x="869001" y="1023157"/>
                </a:lnTo>
                <a:lnTo>
                  <a:pt x="865421" y="1021858"/>
                </a:lnTo>
                <a:lnTo>
                  <a:pt x="861298" y="1021966"/>
                </a:lnTo>
                <a:lnTo>
                  <a:pt x="859343" y="1024889"/>
                </a:lnTo>
                <a:lnTo>
                  <a:pt x="864770" y="1025648"/>
                </a:lnTo>
                <a:lnTo>
                  <a:pt x="867810" y="1027704"/>
                </a:lnTo>
                <a:lnTo>
                  <a:pt x="872149" y="1026946"/>
                </a:lnTo>
                <a:lnTo>
                  <a:pt x="871931" y="1031602"/>
                </a:lnTo>
                <a:lnTo>
                  <a:pt x="870412" y="1034850"/>
                </a:lnTo>
                <a:lnTo>
                  <a:pt x="861623" y="1037990"/>
                </a:lnTo>
                <a:lnTo>
                  <a:pt x="860104" y="1042970"/>
                </a:lnTo>
                <a:lnTo>
                  <a:pt x="863033" y="1044486"/>
                </a:lnTo>
                <a:lnTo>
                  <a:pt x="859018" y="1047301"/>
                </a:lnTo>
                <a:lnTo>
                  <a:pt x="852615" y="1047951"/>
                </a:lnTo>
                <a:lnTo>
                  <a:pt x="850554" y="1053256"/>
                </a:lnTo>
                <a:lnTo>
                  <a:pt x="846756" y="1056396"/>
                </a:lnTo>
                <a:lnTo>
                  <a:pt x="844693" y="1054664"/>
                </a:lnTo>
                <a:lnTo>
                  <a:pt x="839593" y="1054014"/>
                </a:lnTo>
                <a:lnTo>
                  <a:pt x="839919" y="1050874"/>
                </a:lnTo>
                <a:lnTo>
                  <a:pt x="838291" y="1048060"/>
                </a:lnTo>
                <a:lnTo>
                  <a:pt x="832322" y="1053797"/>
                </a:lnTo>
                <a:lnTo>
                  <a:pt x="831998" y="1051848"/>
                </a:lnTo>
                <a:lnTo>
                  <a:pt x="835145" y="1046219"/>
                </a:lnTo>
                <a:lnTo>
                  <a:pt x="835253" y="1042754"/>
                </a:lnTo>
                <a:lnTo>
                  <a:pt x="831890" y="1044703"/>
                </a:lnTo>
                <a:lnTo>
                  <a:pt x="828850" y="1052607"/>
                </a:lnTo>
                <a:lnTo>
                  <a:pt x="823860" y="1059319"/>
                </a:lnTo>
                <a:lnTo>
                  <a:pt x="820928" y="1061376"/>
                </a:lnTo>
                <a:lnTo>
                  <a:pt x="820820" y="1057587"/>
                </a:lnTo>
                <a:lnTo>
                  <a:pt x="826463" y="1051524"/>
                </a:lnTo>
                <a:lnTo>
                  <a:pt x="824076" y="1051091"/>
                </a:lnTo>
                <a:lnTo>
                  <a:pt x="818759" y="1054664"/>
                </a:lnTo>
                <a:lnTo>
                  <a:pt x="816696" y="1063109"/>
                </a:lnTo>
                <a:lnTo>
                  <a:pt x="813766" y="1065166"/>
                </a:lnTo>
                <a:lnTo>
                  <a:pt x="812572" y="1062351"/>
                </a:lnTo>
                <a:lnTo>
                  <a:pt x="807364" y="1062568"/>
                </a:lnTo>
                <a:lnTo>
                  <a:pt x="800094" y="1068414"/>
                </a:lnTo>
                <a:lnTo>
                  <a:pt x="794775" y="1068631"/>
                </a:lnTo>
                <a:lnTo>
                  <a:pt x="792714" y="1065815"/>
                </a:lnTo>
                <a:lnTo>
                  <a:pt x="794451" y="1063434"/>
                </a:lnTo>
                <a:lnTo>
                  <a:pt x="793908" y="1061052"/>
                </a:lnTo>
                <a:lnTo>
                  <a:pt x="790653" y="1064083"/>
                </a:lnTo>
                <a:lnTo>
                  <a:pt x="790110" y="1069280"/>
                </a:lnTo>
                <a:lnTo>
                  <a:pt x="785443" y="1072745"/>
                </a:lnTo>
                <a:lnTo>
                  <a:pt x="781862" y="1074369"/>
                </a:lnTo>
                <a:lnTo>
                  <a:pt x="780997" y="1077184"/>
                </a:lnTo>
                <a:lnTo>
                  <a:pt x="778065" y="1079025"/>
                </a:lnTo>
                <a:lnTo>
                  <a:pt x="778282" y="1075127"/>
                </a:lnTo>
                <a:lnTo>
                  <a:pt x="774809" y="1074911"/>
                </a:lnTo>
                <a:lnTo>
                  <a:pt x="773072" y="1080324"/>
                </a:lnTo>
                <a:lnTo>
                  <a:pt x="770468" y="1077509"/>
                </a:lnTo>
                <a:lnTo>
                  <a:pt x="768299" y="1080757"/>
                </a:lnTo>
                <a:lnTo>
                  <a:pt x="766237" y="1081840"/>
                </a:lnTo>
                <a:lnTo>
                  <a:pt x="759617" y="1074586"/>
                </a:lnTo>
                <a:lnTo>
                  <a:pt x="759401" y="1068739"/>
                </a:lnTo>
                <a:lnTo>
                  <a:pt x="763197" y="1067873"/>
                </a:lnTo>
                <a:lnTo>
                  <a:pt x="766345" y="1068739"/>
                </a:lnTo>
                <a:lnTo>
                  <a:pt x="766345" y="1064625"/>
                </a:lnTo>
                <a:lnTo>
                  <a:pt x="769927" y="1063217"/>
                </a:lnTo>
                <a:lnTo>
                  <a:pt x="773615" y="1063109"/>
                </a:lnTo>
                <a:lnTo>
                  <a:pt x="778065" y="1065166"/>
                </a:lnTo>
                <a:lnTo>
                  <a:pt x="780343" y="1060835"/>
                </a:lnTo>
                <a:lnTo>
                  <a:pt x="784033" y="1060727"/>
                </a:lnTo>
                <a:lnTo>
                  <a:pt x="792388" y="1054122"/>
                </a:lnTo>
                <a:lnTo>
                  <a:pt x="792388" y="1051524"/>
                </a:lnTo>
                <a:lnTo>
                  <a:pt x="788808" y="1050874"/>
                </a:lnTo>
                <a:lnTo>
                  <a:pt x="784468" y="1053797"/>
                </a:lnTo>
                <a:lnTo>
                  <a:pt x="781972" y="1054014"/>
                </a:lnTo>
                <a:lnTo>
                  <a:pt x="779475" y="1057695"/>
                </a:lnTo>
                <a:lnTo>
                  <a:pt x="774809" y="1051091"/>
                </a:lnTo>
                <a:lnTo>
                  <a:pt x="774266" y="1047626"/>
                </a:lnTo>
                <a:lnTo>
                  <a:pt x="777849" y="1042754"/>
                </a:lnTo>
                <a:lnTo>
                  <a:pt x="791628" y="1030952"/>
                </a:lnTo>
                <a:lnTo>
                  <a:pt x="793908" y="1024348"/>
                </a:lnTo>
                <a:lnTo>
                  <a:pt x="799441" y="1021100"/>
                </a:lnTo>
                <a:lnTo>
                  <a:pt x="803240" y="1013738"/>
                </a:lnTo>
                <a:lnTo>
                  <a:pt x="802373" y="1011356"/>
                </a:lnTo>
                <a:lnTo>
                  <a:pt x="802697" y="1006700"/>
                </a:lnTo>
                <a:lnTo>
                  <a:pt x="807582" y="1002261"/>
                </a:lnTo>
                <a:lnTo>
                  <a:pt x="813875" y="1002261"/>
                </a:lnTo>
                <a:lnTo>
                  <a:pt x="820820" y="997389"/>
                </a:lnTo>
                <a:lnTo>
                  <a:pt x="824619" y="997063"/>
                </a:lnTo>
                <a:lnTo>
                  <a:pt x="832215" y="993599"/>
                </a:lnTo>
                <a:lnTo>
                  <a:pt x="833408" y="999662"/>
                </a:lnTo>
                <a:lnTo>
                  <a:pt x="838185" y="1002910"/>
                </a:lnTo>
                <a:lnTo>
                  <a:pt x="841764" y="1002910"/>
                </a:lnTo>
                <a:lnTo>
                  <a:pt x="844043" y="1001828"/>
                </a:lnTo>
                <a:lnTo>
                  <a:pt x="847841" y="1002261"/>
                </a:lnTo>
                <a:lnTo>
                  <a:pt x="852834" y="1006050"/>
                </a:lnTo>
                <a:lnTo>
                  <a:pt x="851421" y="1000637"/>
                </a:lnTo>
                <a:lnTo>
                  <a:pt x="846322" y="993166"/>
                </a:lnTo>
                <a:lnTo>
                  <a:pt x="847190" y="988943"/>
                </a:lnTo>
                <a:lnTo>
                  <a:pt x="857500" y="978333"/>
                </a:lnTo>
                <a:lnTo>
                  <a:pt x="863141" y="977792"/>
                </a:lnTo>
                <a:lnTo>
                  <a:pt x="870630" y="973353"/>
                </a:lnTo>
                <a:lnTo>
                  <a:pt x="872473" y="968372"/>
                </a:lnTo>
                <a:lnTo>
                  <a:pt x="869328" y="971837"/>
                </a:lnTo>
                <a:lnTo>
                  <a:pt x="859561" y="974760"/>
                </a:lnTo>
                <a:lnTo>
                  <a:pt x="854895" y="976492"/>
                </a:lnTo>
                <a:lnTo>
                  <a:pt x="848927" y="982989"/>
                </a:lnTo>
                <a:lnTo>
                  <a:pt x="847515" y="981256"/>
                </a:lnTo>
                <a:lnTo>
                  <a:pt x="843934" y="980606"/>
                </a:lnTo>
                <a:lnTo>
                  <a:pt x="841438" y="979199"/>
                </a:lnTo>
                <a:lnTo>
                  <a:pt x="841113" y="973894"/>
                </a:lnTo>
                <a:lnTo>
                  <a:pt x="843934" y="967722"/>
                </a:lnTo>
                <a:lnTo>
                  <a:pt x="835796" y="977792"/>
                </a:lnTo>
                <a:lnTo>
                  <a:pt x="828526" y="978549"/>
                </a:lnTo>
                <a:lnTo>
                  <a:pt x="818759" y="987320"/>
                </a:lnTo>
                <a:lnTo>
                  <a:pt x="810294" y="988077"/>
                </a:lnTo>
                <a:lnTo>
                  <a:pt x="800094" y="995656"/>
                </a:lnTo>
                <a:lnTo>
                  <a:pt x="800094" y="998471"/>
                </a:lnTo>
                <a:lnTo>
                  <a:pt x="798031" y="1000637"/>
                </a:lnTo>
                <a:lnTo>
                  <a:pt x="793041" y="1001069"/>
                </a:lnTo>
                <a:lnTo>
                  <a:pt x="787181" y="1006050"/>
                </a:lnTo>
                <a:lnTo>
                  <a:pt x="776328" y="1011463"/>
                </a:lnTo>
                <a:lnTo>
                  <a:pt x="776545" y="1014279"/>
                </a:lnTo>
                <a:lnTo>
                  <a:pt x="771878" y="1018610"/>
                </a:lnTo>
                <a:lnTo>
                  <a:pt x="765477" y="1019042"/>
                </a:lnTo>
                <a:lnTo>
                  <a:pt x="762004" y="1016011"/>
                </a:lnTo>
                <a:lnTo>
                  <a:pt x="756035" y="1016552"/>
                </a:lnTo>
                <a:lnTo>
                  <a:pt x="752780" y="1019042"/>
                </a:lnTo>
                <a:lnTo>
                  <a:pt x="752780" y="1020234"/>
                </a:lnTo>
                <a:lnTo>
                  <a:pt x="755387" y="1018177"/>
                </a:lnTo>
                <a:lnTo>
                  <a:pt x="758099" y="1017852"/>
                </a:lnTo>
                <a:lnTo>
                  <a:pt x="764934" y="1022507"/>
                </a:lnTo>
                <a:lnTo>
                  <a:pt x="766888" y="1027813"/>
                </a:lnTo>
                <a:lnTo>
                  <a:pt x="765151" y="1034201"/>
                </a:lnTo>
                <a:lnTo>
                  <a:pt x="756905" y="1036799"/>
                </a:lnTo>
                <a:lnTo>
                  <a:pt x="752347" y="1035067"/>
                </a:lnTo>
                <a:lnTo>
                  <a:pt x="749958" y="1035933"/>
                </a:lnTo>
                <a:lnTo>
                  <a:pt x="750829" y="1038315"/>
                </a:lnTo>
                <a:lnTo>
                  <a:pt x="753215" y="1039181"/>
                </a:lnTo>
                <a:lnTo>
                  <a:pt x="754625" y="1041238"/>
                </a:lnTo>
                <a:lnTo>
                  <a:pt x="749417" y="1046760"/>
                </a:lnTo>
                <a:lnTo>
                  <a:pt x="746704" y="1047085"/>
                </a:lnTo>
                <a:lnTo>
                  <a:pt x="745509" y="1044486"/>
                </a:lnTo>
                <a:lnTo>
                  <a:pt x="746161" y="1041130"/>
                </a:lnTo>
                <a:lnTo>
                  <a:pt x="740300" y="1044378"/>
                </a:lnTo>
                <a:lnTo>
                  <a:pt x="736069" y="1040589"/>
                </a:lnTo>
                <a:lnTo>
                  <a:pt x="729992" y="1044811"/>
                </a:lnTo>
                <a:lnTo>
                  <a:pt x="725216" y="1043836"/>
                </a:lnTo>
                <a:lnTo>
                  <a:pt x="722612" y="1045677"/>
                </a:lnTo>
                <a:lnTo>
                  <a:pt x="723808" y="1046219"/>
                </a:lnTo>
                <a:lnTo>
                  <a:pt x="722612" y="1049142"/>
                </a:lnTo>
                <a:lnTo>
                  <a:pt x="719356" y="1049791"/>
                </a:lnTo>
                <a:lnTo>
                  <a:pt x="718056" y="1052282"/>
                </a:lnTo>
                <a:lnTo>
                  <a:pt x="711761" y="1054772"/>
                </a:lnTo>
                <a:lnTo>
                  <a:pt x="712086" y="1059319"/>
                </a:lnTo>
                <a:lnTo>
                  <a:pt x="711110" y="1063758"/>
                </a:lnTo>
                <a:lnTo>
                  <a:pt x="717403" y="1063542"/>
                </a:lnTo>
                <a:lnTo>
                  <a:pt x="719791" y="1065166"/>
                </a:lnTo>
                <a:lnTo>
                  <a:pt x="721528" y="1070363"/>
                </a:lnTo>
                <a:lnTo>
                  <a:pt x="722938" y="1070363"/>
                </a:lnTo>
                <a:lnTo>
                  <a:pt x="724783" y="1071987"/>
                </a:lnTo>
                <a:lnTo>
                  <a:pt x="724783" y="1079025"/>
                </a:lnTo>
                <a:lnTo>
                  <a:pt x="719140" y="1084438"/>
                </a:lnTo>
                <a:lnTo>
                  <a:pt x="715668" y="1085088"/>
                </a:lnTo>
                <a:lnTo>
                  <a:pt x="710894" y="1088986"/>
                </a:lnTo>
                <a:lnTo>
                  <a:pt x="705141" y="1088986"/>
                </a:lnTo>
                <a:lnTo>
                  <a:pt x="700149" y="1094074"/>
                </a:lnTo>
                <a:lnTo>
                  <a:pt x="695918" y="1092450"/>
                </a:lnTo>
                <a:lnTo>
                  <a:pt x="693421" y="1093641"/>
                </a:lnTo>
                <a:lnTo>
                  <a:pt x="696243" y="1095049"/>
                </a:lnTo>
                <a:lnTo>
                  <a:pt x="697979" y="1097755"/>
                </a:lnTo>
                <a:lnTo>
                  <a:pt x="697112" y="1099163"/>
                </a:lnTo>
                <a:lnTo>
                  <a:pt x="695374" y="1097755"/>
                </a:lnTo>
                <a:lnTo>
                  <a:pt x="692987" y="1097755"/>
                </a:lnTo>
                <a:lnTo>
                  <a:pt x="688321" y="1101545"/>
                </a:lnTo>
                <a:lnTo>
                  <a:pt x="686802" y="1105009"/>
                </a:lnTo>
                <a:lnTo>
                  <a:pt x="689190" y="1104035"/>
                </a:lnTo>
                <a:lnTo>
                  <a:pt x="691252" y="1104035"/>
                </a:lnTo>
                <a:lnTo>
                  <a:pt x="688973" y="1110639"/>
                </a:lnTo>
                <a:lnTo>
                  <a:pt x="687237" y="1111939"/>
                </a:lnTo>
                <a:lnTo>
                  <a:pt x="685176" y="1109990"/>
                </a:lnTo>
                <a:lnTo>
                  <a:pt x="682787" y="1112047"/>
                </a:lnTo>
                <a:lnTo>
                  <a:pt x="681050" y="1112264"/>
                </a:lnTo>
                <a:lnTo>
                  <a:pt x="680726" y="1109882"/>
                </a:lnTo>
                <a:lnTo>
                  <a:pt x="678664" y="1109990"/>
                </a:lnTo>
                <a:lnTo>
                  <a:pt x="677252" y="1114104"/>
                </a:lnTo>
                <a:lnTo>
                  <a:pt x="670415" y="1113455"/>
                </a:lnTo>
                <a:lnTo>
                  <a:pt x="669222" y="1112264"/>
                </a:lnTo>
                <a:lnTo>
                  <a:pt x="667811" y="1114104"/>
                </a:lnTo>
                <a:lnTo>
                  <a:pt x="663689" y="1115187"/>
                </a:lnTo>
                <a:lnTo>
                  <a:pt x="663796" y="1118110"/>
                </a:lnTo>
                <a:lnTo>
                  <a:pt x="661951" y="1119626"/>
                </a:lnTo>
                <a:lnTo>
                  <a:pt x="657937" y="1119626"/>
                </a:lnTo>
                <a:lnTo>
                  <a:pt x="656742" y="1123090"/>
                </a:lnTo>
                <a:lnTo>
                  <a:pt x="654681" y="1121900"/>
                </a:lnTo>
                <a:lnTo>
                  <a:pt x="653163" y="1119084"/>
                </a:lnTo>
                <a:lnTo>
                  <a:pt x="649907" y="1119626"/>
                </a:lnTo>
                <a:lnTo>
                  <a:pt x="648280" y="1121900"/>
                </a:lnTo>
                <a:lnTo>
                  <a:pt x="645568" y="1122874"/>
                </a:lnTo>
                <a:lnTo>
                  <a:pt x="644155" y="1126555"/>
                </a:lnTo>
                <a:lnTo>
                  <a:pt x="639924" y="1128396"/>
                </a:lnTo>
                <a:lnTo>
                  <a:pt x="634930" y="1133593"/>
                </a:lnTo>
                <a:lnTo>
                  <a:pt x="633304" y="1131861"/>
                </a:lnTo>
                <a:lnTo>
                  <a:pt x="631568" y="1131427"/>
                </a:lnTo>
                <a:lnTo>
                  <a:pt x="628203" y="1135434"/>
                </a:lnTo>
                <a:lnTo>
                  <a:pt x="623861" y="1137057"/>
                </a:lnTo>
                <a:lnTo>
                  <a:pt x="617351" y="1141822"/>
                </a:lnTo>
                <a:lnTo>
                  <a:pt x="618220" y="1142471"/>
                </a:lnTo>
                <a:lnTo>
                  <a:pt x="621476" y="1142363"/>
                </a:lnTo>
                <a:lnTo>
                  <a:pt x="622886" y="1142471"/>
                </a:lnTo>
                <a:lnTo>
                  <a:pt x="622670" y="1146261"/>
                </a:lnTo>
                <a:lnTo>
                  <a:pt x="617677" y="1152324"/>
                </a:lnTo>
                <a:lnTo>
                  <a:pt x="613662" y="1153190"/>
                </a:lnTo>
                <a:lnTo>
                  <a:pt x="611491" y="1150700"/>
                </a:lnTo>
                <a:lnTo>
                  <a:pt x="609864" y="1151782"/>
                </a:lnTo>
                <a:lnTo>
                  <a:pt x="607367" y="1155788"/>
                </a:lnTo>
                <a:lnTo>
                  <a:pt x="603895" y="1155572"/>
                </a:lnTo>
                <a:lnTo>
                  <a:pt x="601834" y="1159037"/>
                </a:lnTo>
                <a:lnTo>
                  <a:pt x="595974" y="1162718"/>
                </a:lnTo>
                <a:lnTo>
                  <a:pt x="593586" y="1161094"/>
                </a:lnTo>
                <a:lnTo>
                  <a:pt x="593586" y="1157954"/>
                </a:lnTo>
                <a:lnTo>
                  <a:pt x="591851" y="1155897"/>
                </a:lnTo>
                <a:lnTo>
                  <a:pt x="589898" y="1157629"/>
                </a:lnTo>
                <a:lnTo>
                  <a:pt x="589787" y="1161743"/>
                </a:lnTo>
                <a:lnTo>
                  <a:pt x="586315" y="1164559"/>
                </a:lnTo>
                <a:lnTo>
                  <a:pt x="587183" y="1166074"/>
                </a:lnTo>
                <a:lnTo>
                  <a:pt x="585448" y="1169106"/>
                </a:lnTo>
                <a:lnTo>
                  <a:pt x="583168" y="1169106"/>
                </a:lnTo>
                <a:lnTo>
                  <a:pt x="581976" y="1165208"/>
                </a:lnTo>
                <a:lnTo>
                  <a:pt x="579588" y="1164991"/>
                </a:lnTo>
                <a:lnTo>
                  <a:pt x="576657" y="1167049"/>
                </a:lnTo>
                <a:lnTo>
                  <a:pt x="573076" y="1167806"/>
                </a:lnTo>
                <a:lnTo>
                  <a:pt x="570799" y="1169106"/>
                </a:lnTo>
                <a:lnTo>
                  <a:pt x="572642" y="1169647"/>
                </a:lnTo>
                <a:lnTo>
                  <a:pt x="573184" y="1172787"/>
                </a:lnTo>
                <a:lnTo>
                  <a:pt x="571015" y="1174844"/>
                </a:lnTo>
                <a:lnTo>
                  <a:pt x="561683" y="1175169"/>
                </a:lnTo>
                <a:lnTo>
                  <a:pt x="554303" y="1179067"/>
                </a:lnTo>
                <a:lnTo>
                  <a:pt x="548334" y="1180691"/>
                </a:lnTo>
                <a:lnTo>
                  <a:pt x="549855" y="1182098"/>
                </a:lnTo>
                <a:lnTo>
                  <a:pt x="557233" y="1182206"/>
                </a:lnTo>
                <a:lnTo>
                  <a:pt x="557450" y="1184263"/>
                </a:lnTo>
                <a:lnTo>
                  <a:pt x="553762" y="1186971"/>
                </a:lnTo>
                <a:lnTo>
                  <a:pt x="555605" y="1188053"/>
                </a:lnTo>
                <a:lnTo>
                  <a:pt x="551916" y="1192059"/>
                </a:lnTo>
                <a:lnTo>
                  <a:pt x="549312" y="1193250"/>
                </a:lnTo>
                <a:lnTo>
                  <a:pt x="549096" y="1189028"/>
                </a:lnTo>
                <a:lnTo>
                  <a:pt x="549855" y="1185779"/>
                </a:lnTo>
                <a:lnTo>
                  <a:pt x="548988" y="1184372"/>
                </a:lnTo>
                <a:lnTo>
                  <a:pt x="546273" y="1186646"/>
                </a:lnTo>
                <a:lnTo>
                  <a:pt x="543887" y="1192059"/>
                </a:lnTo>
                <a:lnTo>
                  <a:pt x="542801" y="1190760"/>
                </a:lnTo>
                <a:lnTo>
                  <a:pt x="541282" y="1191193"/>
                </a:lnTo>
                <a:lnTo>
                  <a:pt x="537049" y="1196281"/>
                </a:lnTo>
                <a:lnTo>
                  <a:pt x="532166" y="1196499"/>
                </a:lnTo>
                <a:lnTo>
                  <a:pt x="528803" y="1195632"/>
                </a:lnTo>
                <a:lnTo>
                  <a:pt x="525871" y="1197364"/>
                </a:lnTo>
                <a:lnTo>
                  <a:pt x="523267" y="1194441"/>
                </a:lnTo>
                <a:lnTo>
                  <a:pt x="522507" y="1195957"/>
                </a:lnTo>
                <a:lnTo>
                  <a:pt x="522183" y="1203211"/>
                </a:lnTo>
                <a:lnTo>
                  <a:pt x="515672" y="1210032"/>
                </a:lnTo>
                <a:lnTo>
                  <a:pt x="513393" y="1209924"/>
                </a:lnTo>
                <a:lnTo>
                  <a:pt x="513284" y="1207975"/>
                </a:lnTo>
                <a:lnTo>
                  <a:pt x="516215" y="1202886"/>
                </a:lnTo>
                <a:lnTo>
                  <a:pt x="519471" y="1198555"/>
                </a:lnTo>
                <a:lnTo>
                  <a:pt x="519471" y="1195740"/>
                </a:lnTo>
                <a:lnTo>
                  <a:pt x="516323" y="1194550"/>
                </a:lnTo>
                <a:lnTo>
                  <a:pt x="512089" y="1197040"/>
                </a:lnTo>
                <a:lnTo>
                  <a:pt x="507532" y="1203536"/>
                </a:lnTo>
                <a:lnTo>
                  <a:pt x="503409" y="1203536"/>
                </a:lnTo>
                <a:lnTo>
                  <a:pt x="499829" y="1206459"/>
                </a:lnTo>
                <a:lnTo>
                  <a:pt x="496246" y="1205918"/>
                </a:lnTo>
                <a:lnTo>
                  <a:pt x="492883" y="1210790"/>
                </a:lnTo>
                <a:lnTo>
                  <a:pt x="491256" y="1210357"/>
                </a:lnTo>
                <a:lnTo>
                  <a:pt x="492774" y="1207325"/>
                </a:lnTo>
                <a:lnTo>
                  <a:pt x="491689" y="1204402"/>
                </a:lnTo>
                <a:lnTo>
                  <a:pt x="489303" y="1204185"/>
                </a:lnTo>
                <a:lnTo>
                  <a:pt x="488216" y="1206784"/>
                </a:lnTo>
                <a:lnTo>
                  <a:pt x="487025" y="1204510"/>
                </a:lnTo>
                <a:lnTo>
                  <a:pt x="484311" y="1205701"/>
                </a:lnTo>
                <a:lnTo>
                  <a:pt x="483227" y="1209166"/>
                </a:lnTo>
                <a:lnTo>
                  <a:pt x="476388" y="1213822"/>
                </a:lnTo>
                <a:lnTo>
                  <a:pt x="474870" y="1212847"/>
                </a:lnTo>
                <a:lnTo>
                  <a:pt x="474870" y="1208732"/>
                </a:lnTo>
                <a:lnTo>
                  <a:pt x="477583" y="1204726"/>
                </a:lnTo>
                <a:lnTo>
                  <a:pt x="481162" y="1204077"/>
                </a:lnTo>
                <a:lnTo>
                  <a:pt x="482573" y="1202020"/>
                </a:lnTo>
                <a:lnTo>
                  <a:pt x="477799" y="1198230"/>
                </a:lnTo>
                <a:lnTo>
                  <a:pt x="475303" y="1198339"/>
                </a:lnTo>
                <a:lnTo>
                  <a:pt x="471396" y="1202886"/>
                </a:lnTo>
                <a:lnTo>
                  <a:pt x="467599" y="1205052"/>
                </a:lnTo>
                <a:lnTo>
                  <a:pt x="468249" y="1209058"/>
                </a:lnTo>
                <a:lnTo>
                  <a:pt x="465536" y="1214363"/>
                </a:lnTo>
                <a:lnTo>
                  <a:pt x="461088" y="1217070"/>
                </a:lnTo>
                <a:lnTo>
                  <a:pt x="456422" y="1216853"/>
                </a:lnTo>
                <a:lnTo>
                  <a:pt x="453491" y="1218802"/>
                </a:lnTo>
                <a:lnTo>
                  <a:pt x="452623" y="1222158"/>
                </a:lnTo>
                <a:lnTo>
                  <a:pt x="451105" y="1221725"/>
                </a:lnTo>
                <a:lnTo>
                  <a:pt x="450562" y="1218802"/>
                </a:lnTo>
                <a:lnTo>
                  <a:pt x="447958" y="1223133"/>
                </a:lnTo>
                <a:lnTo>
                  <a:pt x="443943" y="1223350"/>
                </a:lnTo>
                <a:lnTo>
                  <a:pt x="443292" y="1221401"/>
                </a:lnTo>
                <a:lnTo>
                  <a:pt x="444159" y="1218802"/>
                </a:lnTo>
                <a:lnTo>
                  <a:pt x="442313" y="1215554"/>
                </a:lnTo>
                <a:lnTo>
                  <a:pt x="440252" y="1216745"/>
                </a:lnTo>
                <a:lnTo>
                  <a:pt x="436345" y="1224107"/>
                </a:lnTo>
                <a:lnTo>
                  <a:pt x="432004" y="1224324"/>
                </a:lnTo>
                <a:lnTo>
                  <a:pt x="431680" y="1222808"/>
                </a:lnTo>
                <a:lnTo>
                  <a:pt x="432004" y="1219560"/>
                </a:lnTo>
                <a:lnTo>
                  <a:pt x="430812" y="1217828"/>
                </a:lnTo>
                <a:lnTo>
                  <a:pt x="427557" y="1219560"/>
                </a:lnTo>
                <a:lnTo>
                  <a:pt x="428100" y="1222483"/>
                </a:lnTo>
                <a:lnTo>
                  <a:pt x="426687" y="1225515"/>
                </a:lnTo>
                <a:lnTo>
                  <a:pt x="423542" y="1226814"/>
                </a:lnTo>
                <a:lnTo>
                  <a:pt x="422455" y="1223891"/>
                </a:lnTo>
                <a:lnTo>
                  <a:pt x="423434" y="1218802"/>
                </a:lnTo>
                <a:lnTo>
                  <a:pt x="424952" y="1215770"/>
                </a:lnTo>
                <a:lnTo>
                  <a:pt x="429618" y="1214471"/>
                </a:lnTo>
                <a:lnTo>
                  <a:pt x="433741" y="1215662"/>
                </a:lnTo>
                <a:lnTo>
                  <a:pt x="435802" y="1215229"/>
                </a:lnTo>
                <a:lnTo>
                  <a:pt x="436237" y="1212414"/>
                </a:lnTo>
                <a:lnTo>
                  <a:pt x="439493" y="1209924"/>
                </a:lnTo>
                <a:lnTo>
                  <a:pt x="445245" y="1207867"/>
                </a:lnTo>
                <a:lnTo>
                  <a:pt x="447522" y="1208408"/>
                </a:lnTo>
                <a:lnTo>
                  <a:pt x="449368" y="1206134"/>
                </a:lnTo>
                <a:lnTo>
                  <a:pt x="448175" y="1204185"/>
                </a:lnTo>
                <a:lnTo>
                  <a:pt x="454034" y="1198014"/>
                </a:lnTo>
                <a:lnTo>
                  <a:pt x="459460" y="1194550"/>
                </a:lnTo>
                <a:lnTo>
                  <a:pt x="465646" y="1192059"/>
                </a:lnTo>
                <a:lnTo>
                  <a:pt x="468575" y="1188053"/>
                </a:lnTo>
                <a:lnTo>
                  <a:pt x="472917" y="1186212"/>
                </a:lnTo>
                <a:lnTo>
                  <a:pt x="479971" y="1185346"/>
                </a:lnTo>
                <a:lnTo>
                  <a:pt x="484637" y="1184047"/>
                </a:lnTo>
                <a:lnTo>
                  <a:pt x="486914" y="1185130"/>
                </a:lnTo>
                <a:lnTo>
                  <a:pt x="491580" y="1184697"/>
                </a:lnTo>
                <a:lnTo>
                  <a:pt x="494944" y="1186429"/>
                </a:lnTo>
                <a:lnTo>
                  <a:pt x="493210" y="1189569"/>
                </a:lnTo>
                <a:lnTo>
                  <a:pt x="493210" y="1193791"/>
                </a:lnTo>
                <a:lnTo>
                  <a:pt x="495814" y="1197148"/>
                </a:lnTo>
                <a:lnTo>
                  <a:pt x="498092" y="1195849"/>
                </a:lnTo>
                <a:lnTo>
                  <a:pt x="497440" y="1192384"/>
                </a:lnTo>
                <a:lnTo>
                  <a:pt x="498200" y="1190110"/>
                </a:lnTo>
                <a:lnTo>
                  <a:pt x="500696" y="1190110"/>
                </a:lnTo>
                <a:lnTo>
                  <a:pt x="503409" y="1194116"/>
                </a:lnTo>
                <a:lnTo>
                  <a:pt x="504928" y="1193034"/>
                </a:lnTo>
                <a:lnTo>
                  <a:pt x="505254" y="1189677"/>
                </a:lnTo>
                <a:lnTo>
                  <a:pt x="503300" y="1185888"/>
                </a:lnTo>
                <a:lnTo>
                  <a:pt x="503734" y="1183397"/>
                </a:lnTo>
                <a:lnTo>
                  <a:pt x="506665" y="1176793"/>
                </a:lnTo>
                <a:lnTo>
                  <a:pt x="514260" y="1170730"/>
                </a:lnTo>
                <a:lnTo>
                  <a:pt x="525329" y="1166724"/>
                </a:lnTo>
                <a:lnTo>
                  <a:pt x="531839" y="1160661"/>
                </a:lnTo>
                <a:lnTo>
                  <a:pt x="538568" y="1160661"/>
                </a:lnTo>
                <a:lnTo>
                  <a:pt x="542476" y="1158928"/>
                </a:lnTo>
                <a:lnTo>
                  <a:pt x="543125" y="1155463"/>
                </a:lnTo>
                <a:lnTo>
                  <a:pt x="547466" y="1153731"/>
                </a:lnTo>
                <a:lnTo>
                  <a:pt x="552784" y="1150050"/>
                </a:lnTo>
                <a:lnTo>
                  <a:pt x="559730" y="1146910"/>
                </a:lnTo>
                <a:lnTo>
                  <a:pt x="559730" y="1151674"/>
                </a:lnTo>
                <a:lnTo>
                  <a:pt x="563418" y="1153190"/>
                </a:lnTo>
                <a:lnTo>
                  <a:pt x="565047" y="1151133"/>
                </a:lnTo>
                <a:lnTo>
                  <a:pt x="564396" y="1148318"/>
                </a:lnTo>
                <a:lnTo>
                  <a:pt x="567109" y="1143445"/>
                </a:lnTo>
                <a:lnTo>
                  <a:pt x="577635" y="1135109"/>
                </a:lnTo>
                <a:lnTo>
                  <a:pt x="580348" y="1133376"/>
                </a:lnTo>
                <a:lnTo>
                  <a:pt x="581325" y="1135867"/>
                </a:lnTo>
                <a:lnTo>
                  <a:pt x="584689" y="1136516"/>
                </a:lnTo>
                <a:lnTo>
                  <a:pt x="586642" y="1133160"/>
                </a:lnTo>
                <a:lnTo>
                  <a:pt x="584689" y="1130237"/>
                </a:lnTo>
                <a:lnTo>
                  <a:pt x="591200" y="1126555"/>
                </a:lnTo>
                <a:lnTo>
                  <a:pt x="594672" y="1121900"/>
                </a:lnTo>
                <a:lnTo>
                  <a:pt x="597819" y="1122441"/>
                </a:lnTo>
                <a:lnTo>
                  <a:pt x="599122" y="1125581"/>
                </a:lnTo>
                <a:lnTo>
                  <a:pt x="602267" y="1126664"/>
                </a:lnTo>
                <a:lnTo>
                  <a:pt x="603026" y="1123199"/>
                </a:lnTo>
                <a:lnTo>
                  <a:pt x="601399" y="1121359"/>
                </a:lnTo>
                <a:lnTo>
                  <a:pt x="599989" y="1118868"/>
                </a:lnTo>
                <a:lnTo>
                  <a:pt x="602810" y="1114429"/>
                </a:lnTo>
                <a:lnTo>
                  <a:pt x="608888" y="1107500"/>
                </a:lnTo>
                <a:lnTo>
                  <a:pt x="610515" y="1101653"/>
                </a:lnTo>
                <a:lnTo>
                  <a:pt x="614747" y="1096131"/>
                </a:lnTo>
                <a:lnTo>
                  <a:pt x="617786" y="1094940"/>
                </a:lnTo>
                <a:lnTo>
                  <a:pt x="625707" y="1096348"/>
                </a:lnTo>
                <a:lnTo>
                  <a:pt x="621258" y="1093425"/>
                </a:lnTo>
                <a:lnTo>
                  <a:pt x="619415" y="1089419"/>
                </a:lnTo>
                <a:lnTo>
                  <a:pt x="620174" y="1084871"/>
                </a:lnTo>
                <a:lnTo>
                  <a:pt x="624079" y="1077509"/>
                </a:lnTo>
                <a:lnTo>
                  <a:pt x="630049" y="1072528"/>
                </a:lnTo>
                <a:lnTo>
                  <a:pt x="643287" y="1065382"/>
                </a:lnTo>
                <a:lnTo>
                  <a:pt x="646543" y="1062242"/>
                </a:lnTo>
                <a:lnTo>
                  <a:pt x="646435" y="1059644"/>
                </a:lnTo>
                <a:lnTo>
                  <a:pt x="651642" y="1053581"/>
                </a:lnTo>
                <a:lnTo>
                  <a:pt x="654681" y="1052174"/>
                </a:lnTo>
                <a:lnTo>
                  <a:pt x="651860" y="1052174"/>
                </a:lnTo>
                <a:lnTo>
                  <a:pt x="643503" y="1056287"/>
                </a:lnTo>
                <a:lnTo>
                  <a:pt x="640575" y="1056396"/>
                </a:lnTo>
                <a:lnTo>
                  <a:pt x="636125" y="1059860"/>
                </a:lnTo>
                <a:lnTo>
                  <a:pt x="626685" y="1061268"/>
                </a:lnTo>
                <a:lnTo>
                  <a:pt x="619847" y="1064733"/>
                </a:lnTo>
                <a:lnTo>
                  <a:pt x="616808" y="1063975"/>
                </a:lnTo>
                <a:lnTo>
                  <a:pt x="610950" y="1057154"/>
                </a:lnTo>
                <a:lnTo>
                  <a:pt x="611166" y="1054556"/>
                </a:lnTo>
                <a:lnTo>
                  <a:pt x="617786" y="1047518"/>
                </a:lnTo>
                <a:lnTo>
                  <a:pt x="623861" y="1044595"/>
                </a:lnTo>
                <a:lnTo>
                  <a:pt x="616918" y="1044919"/>
                </a:lnTo>
                <a:lnTo>
                  <a:pt x="612144" y="1048384"/>
                </a:lnTo>
                <a:lnTo>
                  <a:pt x="610623" y="1048601"/>
                </a:lnTo>
                <a:lnTo>
                  <a:pt x="605414" y="1052823"/>
                </a:lnTo>
                <a:lnTo>
                  <a:pt x="604654" y="1056721"/>
                </a:lnTo>
                <a:lnTo>
                  <a:pt x="600313" y="1063650"/>
                </a:lnTo>
                <a:lnTo>
                  <a:pt x="600856" y="1068414"/>
                </a:lnTo>
                <a:lnTo>
                  <a:pt x="598686" y="1074152"/>
                </a:lnTo>
                <a:lnTo>
                  <a:pt x="595974" y="1073719"/>
                </a:lnTo>
                <a:lnTo>
                  <a:pt x="593694" y="1067656"/>
                </a:lnTo>
                <a:lnTo>
                  <a:pt x="594780" y="1063325"/>
                </a:lnTo>
                <a:lnTo>
                  <a:pt x="593261" y="1055854"/>
                </a:lnTo>
                <a:lnTo>
                  <a:pt x="590222" y="1050333"/>
                </a:lnTo>
                <a:lnTo>
                  <a:pt x="591851" y="1047951"/>
                </a:lnTo>
                <a:lnTo>
                  <a:pt x="590114" y="1045785"/>
                </a:lnTo>
                <a:lnTo>
                  <a:pt x="587836" y="1049358"/>
                </a:lnTo>
                <a:lnTo>
                  <a:pt x="583819" y="1052282"/>
                </a:lnTo>
                <a:lnTo>
                  <a:pt x="580455" y="1050441"/>
                </a:lnTo>
                <a:lnTo>
                  <a:pt x="581215" y="1047842"/>
                </a:lnTo>
                <a:lnTo>
                  <a:pt x="580239" y="1043295"/>
                </a:lnTo>
                <a:lnTo>
                  <a:pt x="576657" y="1041779"/>
                </a:lnTo>
                <a:lnTo>
                  <a:pt x="576657" y="1040047"/>
                </a:lnTo>
                <a:lnTo>
                  <a:pt x="580023" y="1037990"/>
                </a:lnTo>
                <a:lnTo>
                  <a:pt x="580998" y="1034742"/>
                </a:lnTo>
                <a:lnTo>
                  <a:pt x="573295" y="1037665"/>
                </a:lnTo>
                <a:lnTo>
                  <a:pt x="569929" y="1041238"/>
                </a:lnTo>
                <a:lnTo>
                  <a:pt x="566241" y="1040697"/>
                </a:lnTo>
                <a:lnTo>
                  <a:pt x="564288" y="1040264"/>
                </a:lnTo>
                <a:lnTo>
                  <a:pt x="554413" y="1046544"/>
                </a:lnTo>
                <a:lnTo>
                  <a:pt x="549204" y="1051632"/>
                </a:lnTo>
                <a:lnTo>
                  <a:pt x="546273" y="1049250"/>
                </a:lnTo>
                <a:lnTo>
                  <a:pt x="541823" y="1048709"/>
                </a:lnTo>
                <a:lnTo>
                  <a:pt x="538893" y="1046327"/>
                </a:lnTo>
                <a:lnTo>
                  <a:pt x="540847" y="1045352"/>
                </a:lnTo>
                <a:lnTo>
                  <a:pt x="543887" y="1046219"/>
                </a:lnTo>
                <a:lnTo>
                  <a:pt x="548229" y="1043512"/>
                </a:lnTo>
                <a:lnTo>
                  <a:pt x="552025" y="1042754"/>
                </a:lnTo>
                <a:lnTo>
                  <a:pt x="554737" y="1040589"/>
                </a:lnTo>
                <a:lnTo>
                  <a:pt x="553543" y="1037124"/>
                </a:lnTo>
                <a:lnTo>
                  <a:pt x="554194" y="1035175"/>
                </a:lnTo>
                <a:lnTo>
                  <a:pt x="553110" y="1032577"/>
                </a:lnTo>
                <a:lnTo>
                  <a:pt x="555064" y="1030411"/>
                </a:lnTo>
                <a:lnTo>
                  <a:pt x="560489" y="1030519"/>
                </a:lnTo>
                <a:lnTo>
                  <a:pt x="562985" y="1027596"/>
                </a:lnTo>
                <a:lnTo>
                  <a:pt x="562226" y="1024997"/>
                </a:lnTo>
                <a:lnTo>
                  <a:pt x="558860" y="1025106"/>
                </a:lnTo>
                <a:lnTo>
                  <a:pt x="554521" y="1026513"/>
                </a:lnTo>
                <a:lnTo>
                  <a:pt x="552349" y="1025648"/>
                </a:lnTo>
                <a:lnTo>
                  <a:pt x="552132" y="1020775"/>
                </a:lnTo>
                <a:lnTo>
                  <a:pt x="550506" y="1016011"/>
                </a:lnTo>
                <a:lnTo>
                  <a:pt x="552459" y="1014604"/>
                </a:lnTo>
                <a:lnTo>
                  <a:pt x="554737" y="1015469"/>
                </a:lnTo>
                <a:lnTo>
                  <a:pt x="555931" y="1011789"/>
                </a:lnTo>
                <a:lnTo>
                  <a:pt x="558755" y="1009407"/>
                </a:lnTo>
                <a:lnTo>
                  <a:pt x="565263" y="1007349"/>
                </a:lnTo>
                <a:lnTo>
                  <a:pt x="564504" y="1002044"/>
                </a:lnTo>
                <a:lnTo>
                  <a:pt x="564829" y="998038"/>
                </a:lnTo>
                <a:lnTo>
                  <a:pt x="564504" y="995656"/>
                </a:lnTo>
                <a:lnTo>
                  <a:pt x="566025" y="991109"/>
                </a:lnTo>
                <a:lnTo>
                  <a:pt x="564829" y="985046"/>
                </a:lnTo>
                <a:lnTo>
                  <a:pt x="565482" y="979957"/>
                </a:lnTo>
                <a:lnTo>
                  <a:pt x="570689" y="976709"/>
                </a:lnTo>
                <a:lnTo>
                  <a:pt x="574596" y="969888"/>
                </a:lnTo>
                <a:lnTo>
                  <a:pt x="574704" y="967073"/>
                </a:lnTo>
                <a:lnTo>
                  <a:pt x="570799" y="963716"/>
                </a:lnTo>
                <a:lnTo>
                  <a:pt x="571124" y="961010"/>
                </a:lnTo>
                <a:lnTo>
                  <a:pt x="577200" y="957328"/>
                </a:lnTo>
                <a:lnTo>
                  <a:pt x="587183" y="947476"/>
                </a:lnTo>
                <a:lnTo>
                  <a:pt x="591959" y="947043"/>
                </a:lnTo>
                <a:lnTo>
                  <a:pt x="587509" y="946068"/>
                </a:lnTo>
                <a:lnTo>
                  <a:pt x="576875" y="952998"/>
                </a:lnTo>
                <a:lnTo>
                  <a:pt x="569929" y="958303"/>
                </a:lnTo>
                <a:lnTo>
                  <a:pt x="563744" y="961551"/>
                </a:lnTo>
                <a:lnTo>
                  <a:pt x="563636" y="963608"/>
                </a:lnTo>
                <a:lnTo>
                  <a:pt x="566131" y="967073"/>
                </a:lnTo>
                <a:lnTo>
                  <a:pt x="566025" y="971187"/>
                </a:lnTo>
                <a:lnTo>
                  <a:pt x="559622" y="979740"/>
                </a:lnTo>
                <a:lnTo>
                  <a:pt x="556799" y="979957"/>
                </a:lnTo>
                <a:lnTo>
                  <a:pt x="554086" y="978333"/>
                </a:lnTo>
                <a:lnTo>
                  <a:pt x="550288" y="979957"/>
                </a:lnTo>
                <a:lnTo>
                  <a:pt x="543235" y="982880"/>
                </a:lnTo>
                <a:lnTo>
                  <a:pt x="537159" y="982880"/>
                </a:lnTo>
                <a:lnTo>
                  <a:pt x="521422" y="975734"/>
                </a:lnTo>
                <a:lnTo>
                  <a:pt x="522834" y="973136"/>
                </a:lnTo>
                <a:lnTo>
                  <a:pt x="528151" y="972378"/>
                </a:lnTo>
                <a:lnTo>
                  <a:pt x="528041" y="970645"/>
                </a:lnTo>
                <a:lnTo>
                  <a:pt x="523594" y="966856"/>
                </a:lnTo>
                <a:lnTo>
                  <a:pt x="523702" y="963175"/>
                </a:lnTo>
                <a:lnTo>
                  <a:pt x="522942" y="960577"/>
                </a:lnTo>
                <a:lnTo>
                  <a:pt x="522507" y="952457"/>
                </a:lnTo>
                <a:lnTo>
                  <a:pt x="519252" y="952131"/>
                </a:lnTo>
                <a:lnTo>
                  <a:pt x="517841" y="947909"/>
                </a:lnTo>
                <a:lnTo>
                  <a:pt x="518820" y="941629"/>
                </a:lnTo>
                <a:lnTo>
                  <a:pt x="521640" y="937948"/>
                </a:lnTo>
                <a:lnTo>
                  <a:pt x="519252" y="937623"/>
                </a:lnTo>
                <a:lnTo>
                  <a:pt x="516866" y="933833"/>
                </a:lnTo>
                <a:lnTo>
                  <a:pt x="517734" y="930586"/>
                </a:lnTo>
                <a:lnTo>
                  <a:pt x="522726" y="931776"/>
                </a:lnTo>
                <a:lnTo>
                  <a:pt x="526306" y="929286"/>
                </a:lnTo>
                <a:lnTo>
                  <a:pt x="527500" y="925388"/>
                </a:lnTo>
                <a:lnTo>
                  <a:pt x="531515" y="924523"/>
                </a:lnTo>
                <a:lnTo>
                  <a:pt x="535206" y="921707"/>
                </a:lnTo>
                <a:lnTo>
                  <a:pt x="537483" y="924955"/>
                </a:lnTo>
                <a:lnTo>
                  <a:pt x="544103" y="926147"/>
                </a:lnTo>
                <a:lnTo>
                  <a:pt x="546381" y="929936"/>
                </a:lnTo>
                <a:lnTo>
                  <a:pt x="550722" y="929611"/>
                </a:lnTo>
                <a:lnTo>
                  <a:pt x="552784" y="932101"/>
                </a:lnTo>
                <a:lnTo>
                  <a:pt x="552784" y="935025"/>
                </a:lnTo>
                <a:lnTo>
                  <a:pt x="554956" y="936974"/>
                </a:lnTo>
                <a:lnTo>
                  <a:pt x="561140" y="935349"/>
                </a:lnTo>
                <a:lnTo>
                  <a:pt x="560814" y="931993"/>
                </a:lnTo>
                <a:lnTo>
                  <a:pt x="556366" y="927121"/>
                </a:lnTo>
                <a:lnTo>
                  <a:pt x="559403" y="923981"/>
                </a:lnTo>
                <a:lnTo>
                  <a:pt x="560273" y="919433"/>
                </a:lnTo>
                <a:lnTo>
                  <a:pt x="567868" y="911963"/>
                </a:lnTo>
                <a:lnTo>
                  <a:pt x="571666" y="911421"/>
                </a:lnTo>
                <a:lnTo>
                  <a:pt x="575898" y="906549"/>
                </a:lnTo>
                <a:lnTo>
                  <a:pt x="572317" y="909148"/>
                </a:lnTo>
                <a:lnTo>
                  <a:pt x="563636" y="909148"/>
                </a:lnTo>
                <a:lnTo>
                  <a:pt x="560597" y="912504"/>
                </a:lnTo>
                <a:lnTo>
                  <a:pt x="558643" y="921274"/>
                </a:lnTo>
                <a:lnTo>
                  <a:pt x="554845" y="924631"/>
                </a:lnTo>
                <a:lnTo>
                  <a:pt x="549855" y="924955"/>
                </a:lnTo>
                <a:lnTo>
                  <a:pt x="545948" y="922357"/>
                </a:lnTo>
                <a:lnTo>
                  <a:pt x="540847" y="921707"/>
                </a:lnTo>
                <a:lnTo>
                  <a:pt x="540412" y="919109"/>
                </a:lnTo>
                <a:lnTo>
                  <a:pt x="538893" y="917376"/>
                </a:lnTo>
                <a:lnTo>
                  <a:pt x="536073" y="917485"/>
                </a:lnTo>
                <a:lnTo>
                  <a:pt x="533904" y="919433"/>
                </a:lnTo>
                <a:lnTo>
                  <a:pt x="530756" y="919975"/>
                </a:lnTo>
                <a:lnTo>
                  <a:pt x="529346" y="918135"/>
                </a:lnTo>
                <a:lnTo>
                  <a:pt x="531080" y="915752"/>
                </a:lnTo>
                <a:lnTo>
                  <a:pt x="533361" y="914453"/>
                </a:lnTo>
                <a:lnTo>
                  <a:pt x="532599" y="907849"/>
                </a:lnTo>
                <a:lnTo>
                  <a:pt x="531515" y="905250"/>
                </a:lnTo>
                <a:lnTo>
                  <a:pt x="528803" y="908931"/>
                </a:lnTo>
                <a:lnTo>
                  <a:pt x="525871" y="909581"/>
                </a:lnTo>
                <a:lnTo>
                  <a:pt x="524896" y="905684"/>
                </a:lnTo>
                <a:lnTo>
                  <a:pt x="527065" y="901460"/>
                </a:lnTo>
                <a:lnTo>
                  <a:pt x="528041" y="897563"/>
                </a:lnTo>
                <a:lnTo>
                  <a:pt x="527282" y="891608"/>
                </a:lnTo>
                <a:lnTo>
                  <a:pt x="523158" y="885437"/>
                </a:lnTo>
                <a:lnTo>
                  <a:pt x="523158" y="882513"/>
                </a:lnTo>
                <a:lnTo>
                  <a:pt x="528803" y="875801"/>
                </a:lnTo>
                <a:lnTo>
                  <a:pt x="531080" y="871362"/>
                </a:lnTo>
                <a:lnTo>
                  <a:pt x="533142" y="871036"/>
                </a:lnTo>
                <a:lnTo>
                  <a:pt x="535530" y="875151"/>
                </a:lnTo>
                <a:lnTo>
                  <a:pt x="538350" y="874826"/>
                </a:lnTo>
                <a:lnTo>
                  <a:pt x="539545" y="871470"/>
                </a:lnTo>
                <a:lnTo>
                  <a:pt x="534663" y="866056"/>
                </a:lnTo>
                <a:lnTo>
                  <a:pt x="535747" y="864865"/>
                </a:lnTo>
                <a:lnTo>
                  <a:pt x="540412" y="866489"/>
                </a:lnTo>
                <a:lnTo>
                  <a:pt x="545514" y="865299"/>
                </a:lnTo>
                <a:lnTo>
                  <a:pt x="547575" y="863783"/>
                </a:lnTo>
                <a:lnTo>
                  <a:pt x="549529" y="856528"/>
                </a:lnTo>
                <a:lnTo>
                  <a:pt x="560055" y="847001"/>
                </a:lnTo>
                <a:lnTo>
                  <a:pt x="562769" y="846784"/>
                </a:lnTo>
                <a:lnTo>
                  <a:pt x="565698" y="845485"/>
                </a:lnTo>
                <a:lnTo>
                  <a:pt x="568302" y="839638"/>
                </a:lnTo>
                <a:lnTo>
                  <a:pt x="575247" y="832817"/>
                </a:lnTo>
                <a:lnTo>
                  <a:pt x="577310" y="832709"/>
                </a:lnTo>
                <a:lnTo>
                  <a:pt x="581325" y="837473"/>
                </a:lnTo>
                <a:lnTo>
                  <a:pt x="583062" y="841804"/>
                </a:lnTo>
                <a:lnTo>
                  <a:pt x="585448" y="841804"/>
                </a:lnTo>
                <a:lnTo>
                  <a:pt x="587617" y="838014"/>
                </a:lnTo>
                <a:lnTo>
                  <a:pt x="584689" y="835416"/>
                </a:lnTo>
                <a:lnTo>
                  <a:pt x="583711" y="831951"/>
                </a:lnTo>
                <a:lnTo>
                  <a:pt x="586750" y="830327"/>
                </a:lnTo>
                <a:lnTo>
                  <a:pt x="593586" y="830652"/>
                </a:lnTo>
                <a:lnTo>
                  <a:pt x="599122" y="836606"/>
                </a:lnTo>
                <a:lnTo>
                  <a:pt x="599663" y="839746"/>
                </a:lnTo>
                <a:lnTo>
                  <a:pt x="603136" y="836282"/>
                </a:lnTo>
                <a:lnTo>
                  <a:pt x="606392" y="828053"/>
                </a:lnTo>
                <a:lnTo>
                  <a:pt x="606608" y="822098"/>
                </a:lnTo>
                <a:lnTo>
                  <a:pt x="609648" y="819716"/>
                </a:lnTo>
                <a:lnTo>
                  <a:pt x="615181" y="819283"/>
                </a:lnTo>
                <a:lnTo>
                  <a:pt x="621041" y="814953"/>
                </a:lnTo>
                <a:lnTo>
                  <a:pt x="628419" y="814953"/>
                </a:lnTo>
                <a:lnTo>
                  <a:pt x="632869" y="816252"/>
                </a:lnTo>
                <a:lnTo>
                  <a:pt x="637101" y="816035"/>
                </a:lnTo>
                <a:lnTo>
                  <a:pt x="639924" y="813545"/>
                </a:lnTo>
                <a:lnTo>
                  <a:pt x="649583" y="810189"/>
                </a:lnTo>
                <a:lnTo>
                  <a:pt x="653054" y="805425"/>
                </a:lnTo>
                <a:lnTo>
                  <a:pt x="658587" y="801851"/>
                </a:lnTo>
                <a:lnTo>
                  <a:pt x="663146" y="795680"/>
                </a:lnTo>
                <a:lnTo>
                  <a:pt x="664664" y="795031"/>
                </a:lnTo>
                <a:lnTo>
                  <a:pt x="668354" y="799253"/>
                </a:lnTo>
                <a:lnTo>
                  <a:pt x="670308" y="801635"/>
                </a:lnTo>
                <a:lnTo>
                  <a:pt x="672478" y="800661"/>
                </a:lnTo>
                <a:lnTo>
                  <a:pt x="679532" y="804775"/>
                </a:lnTo>
                <a:lnTo>
                  <a:pt x="684524" y="805533"/>
                </a:lnTo>
                <a:lnTo>
                  <a:pt x="688212" y="804234"/>
                </a:lnTo>
                <a:lnTo>
                  <a:pt x="693095" y="799794"/>
                </a:lnTo>
                <a:lnTo>
                  <a:pt x="696134" y="798171"/>
                </a:lnTo>
                <a:lnTo>
                  <a:pt x="700691" y="798604"/>
                </a:lnTo>
                <a:lnTo>
                  <a:pt x="704707" y="795572"/>
                </a:lnTo>
                <a:lnTo>
                  <a:pt x="709156" y="789834"/>
                </a:lnTo>
                <a:lnTo>
                  <a:pt x="710675" y="785070"/>
                </a:lnTo>
                <a:lnTo>
                  <a:pt x="709915" y="781388"/>
                </a:lnTo>
                <a:lnTo>
                  <a:pt x="708724" y="779223"/>
                </a:lnTo>
                <a:lnTo>
                  <a:pt x="709915" y="776408"/>
                </a:lnTo>
                <a:lnTo>
                  <a:pt x="712196" y="772835"/>
                </a:lnTo>
                <a:lnTo>
                  <a:pt x="713498" y="767205"/>
                </a:lnTo>
                <a:lnTo>
                  <a:pt x="720985" y="758760"/>
                </a:lnTo>
                <a:lnTo>
                  <a:pt x="721528" y="752264"/>
                </a:lnTo>
                <a:lnTo>
                  <a:pt x="718597" y="749015"/>
                </a:lnTo>
                <a:lnTo>
                  <a:pt x="713498" y="748366"/>
                </a:lnTo>
                <a:lnTo>
                  <a:pt x="712955" y="747175"/>
                </a:lnTo>
                <a:lnTo>
                  <a:pt x="719356" y="742195"/>
                </a:lnTo>
                <a:lnTo>
                  <a:pt x="722287" y="742519"/>
                </a:lnTo>
                <a:lnTo>
                  <a:pt x="724457" y="744685"/>
                </a:lnTo>
                <a:lnTo>
                  <a:pt x="731403" y="743710"/>
                </a:lnTo>
                <a:lnTo>
                  <a:pt x="735635" y="735807"/>
                </a:lnTo>
                <a:lnTo>
                  <a:pt x="733138" y="734399"/>
                </a:lnTo>
                <a:lnTo>
                  <a:pt x="732922" y="732558"/>
                </a:lnTo>
                <a:lnTo>
                  <a:pt x="738238" y="728769"/>
                </a:lnTo>
                <a:lnTo>
                  <a:pt x="740300" y="725304"/>
                </a:lnTo>
                <a:lnTo>
                  <a:pt x="737914" y="727037"/>
                </a:lnTo>
                <a:lnTo>
                  <a:pt x="731727" y="727362"/>
                </a:lnTo>
                <a:lnTo>
                  <a:pt x="723589" y="732342"/>
                </a:lnTo>
                <a:lnTo>
                  <a:pt x="721201" y="731476"/>
                </a:lnTo>
                <a:lnTo>
                  <a:pt x="720225" y="728552"/>
                </a:lnTo>
                <a:lnTo>
                  <a:pt x="718272" y="728552"/>
                </a:lnTo>
                <a:lnTo>
                  <a:pt x="715233" y="733317"/>
                </a:lnTo>
                <a:lnTo>
                  <a:pt x="708287" y="734074"/>
                </a:lnTo>
                <a:lnTo>
                  <a:pt x="698414" y="740029"/>
                </a:lnTo>
                <a:lnTo>
                  <a:pt x="690709" y="741762"/>
                </a:lnTo>
                <a:lnTo>
                  <a:pt x="688973" y="744576"/>
                </a:lnTo>
                <a:lnTo>
                  <a:pt x="682787" y="749882"/>
                </a:lnTo>
                <a:lnTo>
                  <a:pt x="680399" y="749665"/>
                </a:lnTo>
                <a:lnTo>
                  <a:pt x="680182" y="745226"/>
                </a:lnTo>
                <a:lnTo>
                  <a:pt x="685065" y="739380"/>
                </a:lnTo>
                <a:lnTo>
                  <a:pt x="685176" y="736672"/>
                </a:lnTo>
                <a:lnTo>
                  <a:pt x="680399" y="734941"/>
                </a:lnTo>
                <a:lnTo>
                  <a:pt x="678772" y="736998"/>
                </a:lnTo>
                <a:lnTo>
                  <a:pt x="679205" y="743494"/>
                </a:lnTo>
                <a:lnTo>
                  <a:pt x="677143" y="745876"/>
                </a:lnTo>
                <a:lnTo>
                  <a:pt x="674539" y="744576"/>
                </a:lnTo>
                <a:lnTo>
                  <a:pt x="673020" y="738838"/>
                </a:lnTo>
                <a:lnTo>
                  <a:pt x="669005" y="736131"/>
                </a:lnTo>
                <a:lnTo>
                  <a:pt x="658371" y="734724"/>
                </a:lnTo>
                <a:lnTo>
                  <a:pt x="652838" y="731692"/>
                </a:lnTo>
                <a:lnTo>
                  <a:pt x="646109" y="733858"/>
                </a:lnTo>
                <a:lnTo>
                  <a:pt x="639924" y="738297"/>
                </a:lnTo>
                <a:lnTo>
                  <a:pt x="636776" y="738188"/>
                </a:lnTo>
                <a:lnTo>
                  <a:pt x="631568" y="732558"/>
                </a:lnTo>
                <a:lnTo>
                  <a:pt x="623755" y="729419"/>
                </a:lnTo>
                <a:lnTo>
                  <a:pt x="615397" y="720107"/>
                </a:lnTo>
                <a:lnTo>
                  <a:pt x="614747" y="713828"/>
                </a:lnTo>
                <a:lnTo>
                  <a:pt x="615940" y="707115"/>
                </a:lnTo>
                <a:lnTo>
                  <a:pt x="619738" y="701052"/>
                </a:lnTo>
                <a:lnTo>
                  <a:pt x="624948" y="696288"/>
                </a:lnTo>
                <a:lnTo>
                  <a:pt x="624732" y="692607"/>
                </a:lnTo>
                <a:lnTo>
                  <a:pt x="623319" y="690874"/>
                </a:lnTo>
                <a:lnTo>
                  <a:pt x="622343" y="681238"/>
                </a:lnTo>
                <a:lnTo>
                  <a:pt x="625924" y="676366"/>
                </a:lnTo>
                <a:lnTo>
                  <a:pt x="629722" y="675933"/>
                </a:lnTo>
                <a:lnTo>
                  <a:pt x="629722" y="677882"/>
                </a:lnTo>
                <a:lnTo>
                  <a:pt x="625599" y="682321"/>
                </a:lnTo>
                <a:lnTo>
                  <a:pt x="628855" y="686977"/>
                </a:lnTo>
                <a:lnTo>
                  <a:pt x="631784" y="686977"/>
                </a:lnTo>
                <a:lnTo>
                  <a:pt x="637101" y="681455"/>
                </a:lnTo>
                <a:lnTo>
                  <a:pt x="639381" y="681130"/>
                </a:lnTo>
                <a:lnTo>
                  <a:pt x="642636" y="683728"/>
                </a:lnTo>
                <a:lnTo>
                  <a:pt x="648170" y="687518"/>
                </a:lnTo>
                <a:lnTo>
                  <a:pt x="649039" y="692282"/>
                </a:lnTo>
                <a:lnTo>
                  <a:pt x="657069" y="692065"/>
                </a:lnTo>
                <a:lnTo>
                  <a:pt x="658806" y="690766"/>
                </a:lnTo>
                <a:lnTo>
                  <a:pt x="653270" y="687842"/>
                </a:lnTo>
                <a:lnTo>
                  <a:pt x="648496" y="686652"/>
                </a:lnTo>
                <a:lnTo>
                  <a:pt x="646435" y="680913"/>
                </a:lnTo>
                <a:lnTo>
                  <a:pt x="641226" y="678207"/>
                </a:lnTo>
                <a:lnTo>
                  <a:pt x="636233" y="671277"/>
                </a:lnTo>
                <a:lnTo>
                  <a:pt x="629505" y="669545"/>
                </a:lnTo>
                <a:lnTo>
                  <a:pt x="623319" y="660017"/>
                </a:lnTo>
                <a:lnTo>
                  <a:pt x="616808" y="651897"/>
                </a:lnTo>
                <a:lnTo>
                  <a:pt x="616918" y="650165"/>
                </a:lnTo>
                <a:lnTo>
                  <a:pt x="620717" y="644534"/>
                </a:lnTo>
                <a:lnTo>
                  <a:pt x="624732" y="642802"/>
                </a:lnTo>
                <a:lnTo>
                  <a:pt x="623537" y="645726"/>
                </a:lnTo>
                <a:lnTo>
                  <a:pt x="622343" y="647458"/>
                </a:lnTo>
                <a:lnTo>
                  <a:pt x="625273" y="646916"/>
                </a:lnTo>
                <a:lnTo>
                  <a:pt x="630265" y="643669"/>
                </a:lnTo>
                <a:lnTo>
                  <a:pt x="637427" y="640422"/>
                </a:lnTo>
                <a:lnTo>
                  <a:pt x="641116" y="639014"/>
                </a:lnTo>
                <a:lnTo>
                  <a:pt x="641116" y="636418"/>
                </a:lnTo>
                <a:lnTo>
                  <a:pt x="647845" y="632518"/>
                </a:lnTo>
                <a:lnTo>
                  <a:pt x="651425" y="632518"/>
                </a:lnTo>
                <a:lnTo>
                  <a:pt x="652511" y="634036"/>
                </a:lnTo>
                <a:lnTo>
                  <a:pt x="657285" y="633819"/>
                </a:lnTo>
                <a:lnTo>
                  <a:pt x="657610" y="631436"/>
                </a:lnTo>
                <a:lnTo>
                  <a:pt x="660758" y="628836"/>
                </a:lnTo>
                <a:lnTo>
                  <a:pt x="669873" y="627430"/>
                </a:lnTo>
                <a:lnTo>
                  <a:pt x="678337" y="628836"/>
                </a:lnTo>
                <a:lnTo>
                  <a:pt x="682787" y="630461"/>
                </a:lnTo>
                <a:lnTo>
                  <a:pt x="684524" y="632844"/>
                </a:lnTo>
                <a:lnTo>
                  <a:pt x="688647" y="632844"/>
                </a:lnTo>
                <a:lnTo>
                  <a:pt x="692662" y="633494"/>
                </a:lnTo>
                <a:lnTo>
                  <a:pt x="693421" y="631978"/>
                </a:lnTo>
                <a:lnTo>
                  <a:pt x="688104" y="627106"/>
                </a:lnTo>
                <a:lnTo>
                  <a:pt x="685935" y="624725"/>
                </a:lnTo>
                <a:lnTo>
                  <a:pt x="686910" y="622343"/>
                </a:lnTo>
                <a:lnTo>
                  <a:pt x="701235" y="616495"/>
                </a:lnTo>
                <a:lnTo>
                  <a:pt x="705358" y="616278"/>
                </a:lnTo>
                <a:lnTo>
                  <a:pt x="709264" y="619093"/>
                </a:lnTo>
                <a:lnTo>
                  <a:pt x="713606" y="618877"/>
                </a:lnTo>
                <a:lnTo>
                  <a:pt x="721201" y="614764"/>
                </a:lnTo>
                <a:lnTo>
                  <a:pt x="725868" y="614982"/>
                </a:lnTo>
                <a:lnTo>
                  <a:pt x="729666" y="616603"/>
                </a:lnTo>
                <a:lnTo>
                  <a:pt x="735853" y="623210"/>
                </a:lnTo>
                <a:lnTo>
                  <a:pt x="736177" y="626133"/>
                </a:lnTo>
                <a:lnTo>
                  <a:pt x="733248" y="629596"/>
                </a:lnTo>
                <a:lnTo>
                  <a:pt x="730536" y="630029"/>
                </a:lnTo>
                <a:lnTo>
                  <a:pt x="725542" y="637285"/>
                </a:lnTo>
                <a:lnTo>
                  <a:pt x="721201" y="638797"/>
                </a:lnTo>
                <a:lnTo>
                  <a:pt x="720985" y="641614"/>
                </a:lnTo>
                <a:lnTo>
                  <a:pt x="722938" y="645292"/>
                </a:lnTo>
                <a:lnTo>
                  <a:pt x="723265" y="650489"/>
                </a:lnTo>
                <a:lnTo>
                  <a:pt x="725326" y="650814"/>
                </a:lnTo>
                <a:lnTo>
                  <a:pt x="728582" y="648973"/>
                </a:lnTo>
                <a:lnTo>
                  <a:pt x="731838" y="651247"/>
                </a:lnTo>
                <a:lnTo>
                  <a:pt x="732379" y="654928"/>
                </a:lnTo>
                <a:lnTo>
                  <a:pt x="736504" y="655145"/>
                </a:lnTo>
                <a:lnTo>
                  <a:pt x="739108" y="654171"/>
                </a:lnTo>
                <a:lnTo>
                  <a:pt x="742364" y="654928"/>
                </a:lnTo>
                <a:lnTo>
                  <a:pt x="743123" y="660017"/>
                </a:lnTo>
                <a:lnTo>
                  <a:pt x="746161" y="661533"/>
                </a:lnTo>
                <a:lnTo>
                  <a:pt x="752237" y="660991"/>
                </a:lnTo>
                <a:lnTo>
                  <a:pt x="754082" y="662074"/>
                </a:lnTo>
                <a:lnTo>
                  <a:pt x="755387" y="666513"/>
                </a:lnTo>
                <a:lnTo>
                  <a:pt x="759617" y="664456"/>
                </a:lnTo>
                <a:lnTo>
                  <a:pt x="763959" y="662940"/>
                </a:lnTo>
                <a:lnTo>
                  <a:pt x="764500" y="658718"/>
                </a:lnTo>
                <a:lnTo>
                  <a:pt x="771662" y="653088"/>
                </a:lnTo>
                <a:lnTo>
                  <a:pt x="774485" y="650706"/>
                </a:lnTo>
                <a:lnTo>
                  <a:pt x="776328" y="652438"/>
                </a:lnTo>
                <a:lnTo>
                  <a:pt x="779475" y="653954"/>
                </a:lnTo>
                <a:lnTo>
                  <a:pt x="779800" y="656661"/>
                </a:lnTo>
                <a:lnTo>
                  <a:pt x="773615" y="664565"/>
                </a:lnTo>
                <a:lnTo>
                  <a:pt x="780451" y="662074"/>
                </a:lnTo>
                <a:lnTo>
                  <a:pt x="785335" y="656661"/>
                </a:lnTo>
                <a:lnTo>
                  <a:pt x="785660" y="648324"/>
                </a:lnTo>
                <a:lnTo>
                  <a:pt x="783274" y="642802"/>
                </a:lnTo>
                <a:lnTo>
                  <a:pt x="777414" y="642802"/>
                </a:lnTo>
                <a:lnTo>
                  <a:pt x="775134" y="640529"/>
                </a:lnTo>
                <a:lnTo>
                  <a:pt x="771878" y="640529"/>
                </a:lnTo>
                <a:lnTo>
                  <a:pt x="768733" y="645509"/>
                </a:lnTo>
                <a:lnTo>
                  <a:pt x="768733" y="641721"/>
                </a:lnTo>
                <a:lnTo>
                  <a:pt x="773072" y="636959"/>
                </a:lnTo>
                <a:lnTo>
                  <a:pt x="775352" y="627863"/>
                </a:lnTo>
                <a:lnTo>
                  <a:pt x="775786" y="613897"/>
                </a:lnTo>
                <a:lnTo>
                  <a:pt x="779910" y="609457"/>
                </a:lnTo>
                <a:lnTo>
                  <a:pt x="781862" y="609565"/>
                </a:lnTo>
                <a:lnTo>
                  <a:pt x="782515" y="614115"/>
                </a:lnTo>
                <a:lnTo>
                  <a:pt x="777414" y="628189"/>
                </a:lnTo>
                <a:lnTo>
                  <a:pt x="776655" y="635444"/>
                </a:lnTo>
                <a:lnTo>
                  <a:pt x="782404" y="639881"/>
                </a:lnTo>
                <a:lnTo>
                  <a:pt x="784576" y="639556"/>
                </a:lnTo>
                <a:lnTo>
                  <a:pt x="788808" y="641071"/>
                </a:lnTo>
                <a:lnTo>
                  <a:pt x="790977" y="647783"/>
                </a:lnTo>
                <a:lnTo>
                  <a:pt x="793582" y="650381"/>
                </a:lnTo>
                <a:lnTo>
                  <a:pt x="799768" y="651030"/>
                </a:lnTo>
                <a:lnTo>
                  <a:pt x="802697" y="649298"/>
                </a:lnTo>
                <a:lnTo>
                  <a:pt x="807582" y="652114"/>
                </a:lnTo>
                <a:lnTo>
                  <a:pt x="806823" y="655361"/>
                </a:lnTo>
                <a:lnTo>
                  <a:pt x="814744" y="654495"/>
                </a:lnTo>
                <a:lnTo>
                  <a:pt x="816263" y="649623"/>
                </a:lnTo>
                <a:lnTo>
                  <a:pt x="814961" y="644318"/>
                </a:lnTo>
                <a:lnTo>
                  <a:pt x="821148" y="641071"/>
                </a:lnTo>
                <a:lnTo>
                  <a:pt x="814744" y="637609"/>
                </a:lnTo>
                <a:lnTo>
                  <a:pt x="807364" y="635444"/>
                </a:lnTo>
                <a:lnTo>
                  <a:pt x="801179" y="637285"/>
                </a:lnTo>
                <a:lnTo>
                  <a:pt x="799441" y="634146"/>
                </a:lnTo>
                <a:lnTo>
                  <a:pt x="795643" y="632518"/>
                </a:lnTo>
                <a:lnTo>
                  <a:pt x="790218" y="634036"/>
                </a:lnTo>
                <a:lnTo>
                  <a:pt x="786746" y="636959"/>
                </a:lnTo>
                <a:lnTo>
                  <a:pt x="784358" y="635011"/>
                </a:lnTo>
                <a:lnTo>
                  <a:pt x="783817" y="629596"/>
                </a:lnTo>
                <a:lnTo>
                  <a:pt x="784468" y="617254"/>
                </a:lnTo>
                <a:lnTo>
                  <a:pt x="785878" y="613897"/>
                </a:lnTo>
                <a:lnTo>
                  <a:pt x="790869" y="614546"/>
                </a:lnTo>
                <a:lnTo>
                  <a:pt x="793690" y="612599"/>
                </a:lnTo>
                <a:lnTo>
                  <a:pt x="781972" y="603287"/>
                </a:lnTo>
                <a:lnTo>
                  <a:pt x="782404" y="600147"/>
                </a:lnTo>
                <a:lnTo>
                  <a:pt x="785878" y="597223"/>
                </a:lnTo>
                <a:lnTo>
                  <a:pt x="782404" y="597223"/>
                </a:lnTo>
                <a:lnTo>
                  <a:pt x="778606" y="599607"/>
                </a:lnTo>
                <a:lnTo>
                  <a:pt x="776220" y="597441"/>
                </a:lnTo>
                <a:lnTo>
                  <a:pt x="776328" y="602529"/>
                </a:lnTo>
                <a:lnTo>
                  <a:pt x="771338" y="600363"/>
                </a:lnTo>
                <a:lnTo>
                  <a:pt x="762330" y="589536"/>
                </a:lnTo>
                <a:lnTo>
                  <a:pt x="762330" y="586936"/>
                </a:lnTo>
                <a:lnTo>
                  <a:pt x="766561" y="580875"/>
                </a:lnTo>
                <a:lnTo>
                  <a:pt x="771989" y="570914"/>
                </a:lnTo>
                <a:lnTo>
                  <a:pt x="773399" y="557921"/>
                </a:lnTo>
                <a:lnTo>
                  <a:pt x="771010" y="543412"/>
                </a:lnTo>
                <a:lnTo>
                  <a:pt x="765151" y="527172"/>
                </a:lnTo>
                <a:lnTo>
                  <a:pt x="759291" y="506167"/>
                </a:lnTo>
                <a:lnTo>
                  <a:pt x="754951" y="496205"/>
                </a:lnTo>
                <a:lnTo>
                  <a:pt x="757772" y="494258"/>
                </a:lnTo>
                <a:lnTo>
                  <a:pt x="760812" y="496532"/>
                </a:lnTo>
                <a:lnTo>
                  <a:pt x="764500" y="496963"/>
                </a:lnTo>
                <a:lnTo>
                  <a:pt x="766888" y="491227"/>
                </a:lnTo>
                <a:lnTo>
                  <a:pt x="771554" y="486680"/>
                </a:lnTo>
                <a:lnTo>
                  <a:pt x="773723" y="481267"/>
                </a:lnTo>
                <a:lnTo>
                  <a:pt x="782188" y="472060"/>
                </a:lnTo>
                <a:lnTo>
                  <a:pt x="787940" y="466542"/>
                </a:lnTo>
                <a:lnTo>
                  <a:pt x="790653" y="465892"/>
                </a:lnTo>
                <a:lnTo>
                  <a:pt x="797923" y="469573"/>
                </a:lnTo>
                <a:lnTo>
                  <a:pt x="802697" y="472060"/>
                </a:lnTo>
                <a:lnTo>
                  <a:pt x="809208" y="476068"/>
                </a:lnTo>
                <a:lnTo>
                  <a:pt x="816263" y="476718"/>
                </a:lnTo>
                <a:lnTo>
                  <a:pt x="819951" y="479426"/>
                </a:lnTo>
                <a:lnTo>
                  <a:pt x="827005" y="479317"/>
                </a:lnTo>
                <a:lnTo>
                  <a:pt x="835145" y="474335"/>
                </a:lnTo>
                <a:lnTo>
                  <a:pt x="840462" y="474011"/>
                </a:lnTo>
                <a:lnTo>
                  <a:pt x="847190" y="470006"/>
                </a:lnTo>
                <a:lnTo>
                  <a:pt x="851313" y="469357"/>
                </a:lnTo>
                <a:lnTo>
                  <a:pt x="859234" y="466107"/>
                </a:lnTo>
                <a:lnTo>
                  <a:pt x="871281" y="455281"/>
                </a:lnTo>
                <a:lnTo>
                  <a:pt x="881264" y="446294"/>
                </a:lnTo>
                <a:lnTo>
                  <a:pt x="890705" y="439256"/>
                </a:lnTo>
                <a:lnTo>
                  <a:pt x="904487" y="432760"/>
                </a:lnTo>
                <a:lnTo>
                  <a:pt x="916966" y="422368"/>
                </a:lnTo>
                <a:lnTo>
                  <a:pt x="926732" y="417603"/>
                </a:lnTo>
                <a:lnTo>
                  <a:pt x="934871" y="418792"/>
                </a:lnTo>
                <a:lnTo>
                  <a:pt x="941708" y="420525"/>
                </a:lnTo>
                <a:lnTo>
                  <a:pt x="944095" y="419116"/>
                </a:lnTo>
                <a:lnTo>
                  <a:pt x="941599" y="416086"/>
                </a:lnTo>
                <a:lnTo>
                  <a:pt x="934546" y="412946"/>
                </a:lnTo>
                <a:lnTo>
                  <a:pt x="934003" y="411216"/>
                </a:lnTo>
                <a:lnTo>
                  <a:pt x="936932" y="411108"/>
                </a:lnTo>
                <a:lnTo>
                  <a:pt x="942575" y="412405"/>
                </a:lnTo>
                <a:lnTo>
                  <a:pt x="946266" y="417276"/>
                </a:lnTo>
                <a:lnTo>
                  <a:pt x="949303" y="418792"/>
                </a:lnTo>
                <a:lnTo>
                  <a:pt x="954296" y="418792"/>
                </a:lnTo>
                <a:lnTo>
                  <a:pt x="966340" y="413598"/>
                </a:lnTo>
                <a:lnTo>
                  <a:pt x="968837" y="413813"/>
                </a:lnTo>
                <a:lnTo>
                  <a:pt x="968405" y="416952"/>
                </a:lnTo>
                <a:lnTo>
                  <a:pt x="961350" y="427563"/>
                </a:lnTo>
                <a:lnTo>
                  <a:pt x="959829" y="435684"/>
                </a:lnTo>
                <a:lnTo>
                  <a:pt x="960915" y="437417"/>
                </a:lnTo>
                <a:lnTo>
                  <a:pt x="963085" y="436983"/>
                </a:lnTo>
                <a:lnTo>
                  <a:pt x="965690" y="428971"/>
                </a:lnTo>
                <a:lnTo>
                  <a:pt x="970355" y="418468"/>
                </a:lnTo>
                <a:lnTo>
                  <a:pt x="976324" y="413272"/>
                </a:lnTo>
                <a:lnTo>
                  <a:pt x="982618" y="413272"/>
                </a:lnTo>
                <a:lnTo>
                  <a:pt x="985874" y="410564"/>
                </a:lnTo>
                <a:lnTo>
                  <a:pt x="980122" y="409155"/>
                </a:lnTo>
                <a:lnTo>
                  <a:pt x="979147" y="405042"/>
                </a:lnTo>
                <a:lnTo>
                  <a:pt x="981533" y="400063"/>
                </a:lnTo>
                <a:lnTo>
                  <a:pt x="988043" y="396813"/>
                </a:lnTo>
                <a:lnTo>
                  <a:pt x="997051" y="391944"/>
                </a:lnTo>
                <a:lnTo>
                  <a:pt x="1002694" y="390319"/>
                </a:lnTo>
                <a:lnTo>
                  <a:pt x="1004972" y="392267"/>
                </a:lnTo>
                <a:lnTo>
                  <a:pt x="1000849" y="393999"/>
                </a:lnTo>
                <a:lnTo>
                  <a:pt x="999764" y="396922"/>
                </a:lnTo>
                <a:lnTo>
                  <a:pt x="1001066" y="400063"/>
                </a:lnTo>
                <a:lnTo>
                  <a:pt x="1003453" y="399846"/>
                </a:lnTo>
                <a:lnTo>
                  <a:pt x="1004755" y="396163"/>
                </a:lnTo>
                <a:lnTo>
                  <a:pt x="1008770" y="394216"/>
                </a:lnTo>
                <a:lnTo>
                  <a:pt x="1013545" y="398329"/>
                </a:lnTo>
                <a:lnTo>
                  <a:pt x="1017018" y="398872"/>
                </a:lnTo>
                <a:lnTo>
                  <a:pt x="1017560" y="396272"/>
                </a:lnTo>
                <a:lnTo>
                  <a:pt x="1020164" y="398222"/>
                </a:lnTo>
                <a:lnTo>
                  <a:pt x="1026350" y="402120"/>
                </a:lnTo>
                <a:lnTo>
                  <a:pt x="1037527" y="402230"/>
                </a:lnTo>
                <a:lnTo>
                  <a:pt x="1043604" y="399955"/>
                </a:lnTo>
                <a:lnTo>
                  <a:pt x="1053805" y="391727"/>
                </a:lnTo>
                <a:lnTo>
                  <a:pt x="1058797" y="388696"/>
                </a:lnTo>
                <a:lnTo>
                  <a:pt x="1064982" y="388152"/>
                </a:lnTo>
                <a:lnTo>
                  <a:pt x="1067152" y="386203"/>
                </a:lnTo>
                <a:close/>
                <a:moveTo>
                  <a:pt x="6871382" y="378407"/>
                </a:moveTo>
                <a:lnTo>
                  <a:pt x="6874963" y="379490"/>
                </a:lnTo>
                <a:lnTo>
                  <a:pt x="6875940" y="383605"/>
                </a:lnTo>
                <a:lnTo>
                  <a:pt x="6874312" y="385228"/>
                </a:lnTo>
                <a:lnTo>
                  <a:pt x="6872250" y="385337"/>
                </a:lnTo>
                <a:lnTo>
                  <a:pt x="6869320" y="381656"/>
                </a:lnTo>
                <a:close/>
                <a:moveTo>
                  <a:pt x="6908820" y="377215"/>
                </a:moveTo>
                <a:lnTo>
                  <a:pt x="6911317" y="379273"/>
                </a:lnTo>
                <a:lnTo>
                  <a:pt x="6910231" y="382087"/>
                </a:lnTo>
                <a:lnTo>
                  <a:pt x="6908495" y="382629"/>
                </a:lnTo>
                <a:lnTo>
                  <a:pt x="6907084" y="379273"/>
                </a:lnTo>
                <a:close/>
                <a:moveTo>
                  <a:pt x="2272771" y="376674"/>
                </a:moveTo>
                <a:lnTo>
                  <a:pt x="2275918" y="376674"/>
                </a:lnTo>
                <a:lnTo>
                  <a:pt x="2277112" y="380031"/>
                </a:lnTo>
                <a:lnTo>
                  <a:pt x="2280693" y="381872"/>
                </a:lnTo>
                <a:lnTo>
                  <a:pt x="2283840" y="380788"/>
                </a:lnTo>
                <a:lnTo>
                  <a:pt x="2286119" y="383279"/>
                </a:lnTo>
                <a:lnTo>
                  <a:pt x="2284708" y="392807"/>
                </a:lnTo>
                <a:lnTo>
                  <a:pt x="2281669" y="396380"/>
                </a:lnTo>
                <a:lnTo>
                  <a:pt x="2281669" y="399736"/>
                </a:lnTo>
                <a:lnTo>
                  <a:pt x="2284165" y="399736"/>
                </a:lnTo>
                <a:lnTo>
                  <a:pt x="2286010" y="397245"/>
                </a:lnTo>
                <a:lnTo>
                  <a:pt x="2288289" y="397245"/>
                </a:lnTo>
                <a:lnTo>
                  <a:pt x="2290677" y="394972"/>
                </a:lnTo>
                <a:lnTo>
                  <a:pt x="2290677" y="387935"/>
                </a:lnTo>
                <a:lnTo>
                  <a:pt x="2294040" y="385011"/>
                </a:lnTo>
                <a:lnTo>
                  <a:pt x="2297621" y="387718"/>
                </a:lnTo>
                <a:lnTo>
                  <a:pt x="2301202" y="386635"/>
                </a:lnTo>
                <a:lnTo>
                  <a:pt x="2301202" y="382412"/>
                </a:lnTo>
                <a:lnTo>
                  <a:pt x="2300226" y="380681"/>
                </a:lnTo>
                <a:lnTo>
                  <a:pt x="2303590" y="380681"/>
                </a:lnTo>
                <a:lnTo>
                  <a:pt x="2305109" y="384145"/>
                </a:lnTo>
                <a:lnTo>
                  <a:pt x="2304349" y="387284"/>
                </a:lnTo>
                <a:lnTo>
                  <a:pt x="2305326" y="389234"/>
                </a:lnTo>
                <a:lnTo>
                  <a:pt x="2304241" y="391399"/>
                </a:lnTo>
                <a:lnTo>
                  <a:pt x="2301745" y="391399"/>
                </a:lnTo>
                <a:lnTo>
                  <a:pt x="2304024" y="395513"/>
                </a:lnTo>
                <a:lnTo>
                  <a:pt x="2308473" y="397029"/>
                </a:lnTo>
                <a:lnTo>
                  <a:pt x="2310318" y="401252"/>
                </a:lnTo>
                <a:lnTo>
                  <a:pt x="2309124" y="405799"/>
                </a:lnTo>
                <a:lnTo>
                  <a:pt x="2304675" y="408831"/>
                </a:lnTo>
                <a:lnTo>
                  <a:pt x="2300660" y="416085"/>
                </a:lnTo>
                <a:lnTo>
                  <a:pt x="2301311" y="421282"/>
                </a:lnTo>
                <a:lnTo>
                  <a:pt x="2300009" y="424422"/>
                </a:lnTo>
                <a:lnTo>
                  <a:pt x="2295776" y="426804"/>
                </a:lnTo>
                <a:lnTo>
                  <a:pt x="2290568" y="432650"/>
                </a:lnTo>
                <a:lnTo>
                  <a:pt x="2289157" y="435357"/>
                </a:lnTo>
                <a:lnTo>
                  <a:pt x="2284600" y="440338"/>
                </a:lnTo>
                <a:lnTo>
                  <a:pt x="2284600" y="442178"/>
                </a:lnTo>
                <a:lnTo>
                  <a:pt x="2283189" y="446076"/>
                </a:lnTo>
                <a:lnTo>
                  <a:pt x="2279934" y="446076"/>
                </a:lnTo>
                <a:lnTo>
                  <a:pt x="2277329" y="445426"/>
                </a:lnTo>
                <a:lnTo>
                  <a:pt x="2274941" y="447268"/>
                </a:lnTo>
                <a:lnTo>
                  <a:pt x="2274941" y="449324"/>
                </a:lnTo>
                <a:lnTo>
                  <a:pt x="2280584" y="452356"/>
                </a:lnTo>
                <a:lnTo>
                  <a:pt x="2280584" y="454738"/>
                </a:lnTo>
                <a:lnTo>
                  <a:pt x="2274941" y="462858"/>
                </a:lnTo>
                <a:lnTo>
                  <a:pt x="2273205" y="465457"/>
                </a:lnTo>
                <a:lnTo>
                  <a:pt x="2273205" y="462425"/>
                </a:lnTo>
                <a:lnTo>
                  <a:pt x="2273205" y="459611"/>
                </a:lnTo>
                <a:lnTo>
                  <a:pt x="2270275" y="458419"/>
                </a:lnTo>
                <a:lnTo>
                  <a:pt x="2267888" y="459718"/>
                </a:lnTo>
                <a:lnTo>
                  <a:pt x="2267888" y="462858"/>
                </a:lnTo>
                <a:lnTo>
                  <a:pt x="2265067" y="464590"/>
                </a:lnTo>
                <a:lnTo>
                  <a:pt x="2262679" y="467730"/>
                </a:lnTo>
                <a:lnTo>
                  <a:pt x="2258013" y="468596"/>
                </a:lnTo>
                <a:lnTo>
                  <a:pt x="2256386" y="472819"/>
                </a:lnTo>
                <a:lnTo>
                  <a:pt x="2259316" y="474443"/>
                </a:lnTo>
                <a:lnTo>
                  <a:pt x="2263439" y="473794"/>
                </a:lnTo>
                <a:lnTo>
                  <a:pt x="2262788" y="476392"/>
                </a:lnTo>
                <a:lnTo>
                  <a:pt x="2260726" y="479207"/>
                </a:lnTo>
                <a:lnTo>
                  <a:pt x="2260726" y="481264"/>
                </a:lnTo>
                <a:lnTo>
                  <a:pt x="2260726" y="485595"/>
                </a:lnTo>
                <a:lnTo>
                  <a:pt x="2259207" y="487544"/>
                </a:lnTo>
                <a:lnTo>
                  <a:pt x="2256494" y="482997"/>
                </a:lnTo>
                <a:lnTo>
                  <a:pt x="2256494" y="478449"/>
                </a:lnTo>
                <a:lnTo>
                  <a:pt x="2255409" y="475850"/>
                </a:lnTo>
                <a:lnTo>
                  <a:pt x="2253781" y="478125"/>
                </a:lnTo>
                <a:lnTo>
                  <a:pt x="2253130" y="481914"/>
                </a:lnTo>
                <a:lnTo>
                  <a:pt x="2254215" y="484946"/>
                </a:lnTo>
                <a:lnTo>
                  <a:pt x="2250851" y="489493"/>
                </a:lnTo>
                <a:lnTo>
                  <a:pt x="2238372" y="488843"/>
                </a:lnTo>
                <a:lnTo>
                  <a:pt x="2237721" y="484946"/>
                </a:lnTo>
                <a:lnTo>
                  <a:pt x="2236201" y="482780"/>
                </a:lnTo>
                <a:lnTo>
                  <a:pt x="2232946" y="486353"/>
                </a:lnTo>
                <a:lnTo>
                  <a:pt x="2229365" y="486353"/>
                </a:lnTo>
                <a:lnTo>
                  <a:pt x="2228714" y="483538"/>
                </a:lnTo>
                <a:lnTo>
                  <a:pt x="2232186" y="479207"/>
                </a:lnTo>
                <a:lnTo>
                  <a:pt x="2226327" y="481698"/>
                </a:lnTo>
                <a:lnTo>
                  <a:pt x="2224590" y="484946"/>
                </a:lnTo>
                <a:lnTo>
                  <a:pt x="2222745" y="484946"/>
                </a:lnTo>
                <a:lnTo>
                  <a:pt x="2220358" y="482563"/>
                </a:lnTo>
                <a:lnTo>
                  <a:pt x="2216018" y="482563"/>
                </a:lnTo>
                <a:lnTo>
                  <a:pt x="2213304" y="479965"/>
                </a:lnTo>
                <a:lnTo>
                  <a:pt x="2213304" y="475310"/>
                </a:lnTo>
                <a:lnTo>
                  <a:pt x="2214716" y="473469"/>
                </a:lnTo>
                <a:lnTo>
                  <a:pt x="2214716" y="471086"/>
                </a:lnTo>
                <a:lnTo>
                  <a:pt x="2216777" y="466431"/>
                </a:lnTo>
                <a:lnTo>
                  <a:pt x="2218514" y="466431"/>
                </a:lnTo>
                <a:lnTo>
                  <a:pt x="2220792" y="469463"/>
                </a:lnTo>
                <a:lnTo>
                  <a:pt x="2222854" y="469463"/>
                </a:lnTo>
                <a:lnTo>
                  <a:pt x="2220250" y="465998"/>
                </a:lnTo>
                <a:lnTo>
                  <a:pt x="2221444" y="463292"/>
                </a:lnTo>
                <a:lnTo>
                  <a:pt x="2217971" y="462425"/>
                </a:lnTo>
                <a:lnTo>
                  <a:pt x="2215366" y="460043"/>
                </a:lnTo>
                <a:lnTo>
                  <a:pt x="2215366" y="457661"/>
                </a:lnTo>
                <a:lnTo>
                  <a:pt x="2214716" y="455929"/>
                </a:lnTo>
                <a:lnTo>
                  <a:pt x="2216451" y="455929"/>
                </a:lnTo>
                <a:lnTo>
                  <a:pt x="2218839" y="458310"/>
                </a:lnTo>
                <a:lnTo>
                  <a:pt x="2220250" y="456578"/>
                </a:lnTo>
                <a:lnTo>
                  <a:pt x="2219599" y="454304"/>
                </a:lnTo>
                <a:lnTo>
                  <a:pt x="2222312" y="452572"/>
                </a:lnTo>
                <a:lnTo>
                  <a:pt x="2225892" y="453980"/>
                </a:lnTo>
                <a:lnTo>
                  <a:pt x="2233271" y="455712"/>
                </a:lnTo>
                <a:lnTo>
                  <a:pt x="2235551" y="454304"/>
                </a:lnTo>
                <a:lnTo>
                  <a:pt x="2232946" y="452031"/>
                </a:lnTo>
                <a:lnTo>
                  <a:pt x="2231535" y="452031"/>
                </a:lnTo>
                <a:lnTo>
                  <a:pt x="2238806" y="450949"/>
                </a:lnTo>
                <a:lnTo>
                  <a:pt x="2243472" y="448350"/>
                </a:lnTo>
                <a:lnTo>
                  <a:pt x="2249332" y="448350"/>
                </a:lnTo>
                <a:lnTo>
                  <a:pt x="2254541" y="449000"/>
                </a:lnTo>
                <a:lnTo>
                  <a:pt x="2258013" y="446617"/>
                </a:lnTo>
                <a:lnTo>
                  <a:pt x="2255409" y="444560"/>
                </a:lnTo>
                <a:lnTo>
                  <a:pt x="2236093" y="441096"/>
                </a:lnTo>
                <a:lnTo>
                  <a:pt x="2231318" y="441096"/>
                </a:lnTo>
                <a:lnTo>
                  <a:pt x="2227737" y="439364"/>
                </a:lnTo>
                <a:lnTo>
                  <a:pt x="2221335" y="440229"/>
                </a:lnTo>
                <a:lnTo>
                  <a:pt x="2216343" y="437631"/>
                </a:lnTo>
                <a:lnTo>
                  <a:pt x="2213413" y="438281"/>
                </a:lnTo>
                <a:lnTo>
                  <a:pt x="2210266" y="436873"/>
                </a:lnTo>
                <a:lnTo>
                  <a:pt x="2205925" y="436873"/>
                </a:lnTo>
                <a:lnTo>
                  <a:pt x="2203864" y="438389"/>
                </a:lnTo>
                <a:lnTo>
                  <a:pt x="2201477" y="437306"/>
                </a:lnTo>
                <a:lnTo>
                  <a:pt x="2198764" y="437306"/>
                </a:lnTo>
                <a:lnTo>
                  <a:pt x="2196919" y="435466"/>
                </a:lnTo>
                <a:lnTo>
                  <a:pt x="2196919" y="430160"/>
                </a:lnTo>
                <a:lnTo>
                  <a:pt x="2200500" y="430810"/>
                </a:lnTo>
                <a:lnTo>
                  <a:pt x="2203212" y="428211"/>
                </a:lnTo>
                <a:lnTo>
                  <a:pt x="2205925" y="429944"/>
                </a:lnTo>
                <a:lnTo>
                  <a:pt x="2208638" y="428861"/>
                </a:lnTo>
                <a:lnTo>
                  <a:pt x="2206793" y="426263"/>
                </a:lnTo>
                <a:lnTo>
                  <a:pt x="2208205" y="423122"/>
                </a:lnTo>
                <a:lnTo>
                  <a:pt x="2210809" y="421066"/>
                </a:lnTo>
                <a:lnTo>
                  <a:pt x="2215475" y="421066"/>
                </a:lnTo>
                <a:lnTo>
                  <a:pt x="2217754" y="419982"/>
                </a:lnTo>
                <a:lnTo>
                  <a:pt x="2217754" y="424097"/>
                </a:lnTo>
                <a:lnTo>
                  <a:pt x="2220141" y="425505"/>
                </a:lnTo>
                <a:lnTo>
                  <a:pt x="2220141" y="432001"/>
                </a:lnTo>
                <a:lnTo>
                  <a:pt x="2221877" y="432976"/>
                </a:lnTo>
                <a:lnTo>
                  <a:pt x="2223939" y="430377"/>
                </a:lnTo>
                <a:lnTo>
                  <a:pt x="2223288" y="425721"/>
                </a:lnTo>
                <a:lnTo>
                  <a:pt x="2220901" y="422473"/>
                </a:lnTo>
                <a:lnTo>
                  <a:pt x="2222420" y="418575"/>
                </a:lnTo>
                <a:lnTo>
                  <a:pt x="2227412" y="416843"/>
                </a:lnTo>
                <a:lnTo>
                  <a:pt x="2227412" y="414244"/>
                </a:lnTo>
                <a:lnTo>
                  <a:pt x="2223397" y="412728"/>
                </a:lnTo>
                <a:lnTo>
                  <a:pt x="2224807" y="406557"/>
                </a:lnTo>
                <a:lnTo>
                  <a:pt x="2229473" y="404825"/>
                </a:lnTo>
                <a:lnTo>
                  <a:pt x="2230450" y="401901"/>
                </a:lnTo>
                <a:lnTo>
                  <a:pt x="2235225" y="400386"/>
                </a:lnTo>
                <a:lnTo>
                  <a:pt x="2232621" y="397138"/>
                </a:lnTo>
                <a:lnTo>
                  <a:pt x="2230233" y="397138"/>
                </a:lnTo>
                <a:lnTo>
                  <a:pt x="2227846" y="396272"/>
                </a:lnTo>
                <a:lnTo>
                  <a:pt x="2228497" y="393564"/>
                </a:lnTo>
                <a:lnTo>
                  <a:pt x="2232838" y="389884"/>
                </a:lnTo>
                <a:lnTo>
                  <a:pt x="2233923" y="387935"/>
                </a:lnTo>
                <a:lnTo>
                  <a:pt x="2239240" y="387935"/>
                </a:lnTo>
                <a:lnTo>
                  <a:pt x="2241302" y="389559"/>
                </a:lnTo>
                <a:lnTo>
                  <a:pt x="2241953" y="393673"/>
                </a:lnTo>
                <a:lnTo>
                  <a:pt x="2244232" y="395946"/>
                </a:lnTo>
                <a:lnTo>
                  <a:pt x="2244232" y="399736"/>
                </a:lnTo>
                <a:lnTo>
                  <a:pt x="2243038" y="401468"/>
                </a:lnTo>
                <a:lnTo>
                  <a:pt x="2244232" y="404933"/>
                </a:lnTo>
                <a:lnTo>
                  <a:pt x="2246945" y="408074"/>
                </a:lnTo>
                <a:lnTo>
                  <a:pt x="2248355" y="421066"/>
                </a:lnTo>
                <a:lnTo>
                  <a:pt x="2247270" y="425288"/>
                </a:lnTo>
                <a:lnTo>
                  <a:pt x="2247270" y="427670"/>
                </a:lnTo>
                <a:lnTo>
                  <a:pt x="2251393" y="430269"/>
                </a:lnTo>
                <a:lnTo>
                  <a:pt x="2256168" y="426696"/>
                </a:lnTo>
                <a:lnTo>
                  <a:pt x="2253890" y="423447"/>
                </a:lnTo>
                <a:lnTo>
                  <a:pt x="2255192" y="416410"/>
                </a:lnTo>
                <a:lnTo>
                  <a:pt x="2259098" y="415543"/>
                </a:lnTo>
                <a:lnTo>
                  <a:pt x="2259098" y="411754"/>
                </a:lnTo>
                <a:lnTo>
                  <a:pt x="2251720" y="406666"/>
                </a:lnTo>
                <a:lnTo>
                  <a:pt x="2252696" y="404500"/>
                </a:lnTo>
                <a:lnTo>
                  <a:pt x="2256386" y="404500"/>
                </a:lnTo>
                <a:lnTo>
                  <a:pt x="2260617" y="406991"/>
                </a:lnTo>
                <a:lnTo>
                  <a:pt x="2259749" y="403525"/>
                </a:lnTo>
                <a:lnTo>
                  <a:pt x="2255409" y="398762"/>
                </a:lnTo>
                <a:lnTo>
                  <a:pt x="2254106" y="392807"/>
                </a:lnTo>
                <a:lnTo>
                  <a:pt x="2255192" y="390209"/>
                </a:lnTo>
                <a:lnTo>
                  <a:pt x="2255192" y="383929"/>
                </a:lnTo>
                <a:lnTo>
                  <a:pt x="2257904" y="381980"/>
                </a:lnTo>
                <a:lnTo>
                  <a:pt x="2261920" y="381980"/>
                </a:lnTo>
                <a:lnTo>
                  <a:pt x="2263656" y="379598"/>
                </a:lnTo>
                <a:lnTo>
                  <a:pt x="2267780" y="379598"/>
                </a:lnTo>
                <a:cubicBezTo>
                  <a:pt x="2269388" y="378532"/>
                  <a:pt x="2271054" y="377555"/>
                  <a:pt x="2272771" y="376674"/>
                </a:cubicBezTo>
                <a:close/>
                <a:moveTo>
                  <a:pt x="3644531" y="376456"/>
                </a:moveTo>
                <a:lnTo>
                  <a:pt x="3647895" y="379813"/>
                </a:lnTo>
                <a:lnTo>
                  <a:pt x="3647678" y="385118"/>
                </a:lnTo>
                <a:lnTo>
                  <a:pt x="3644422" y="388799"/>
                </a:lnTo>
                <a:lnTo>
                  <a:pt x="3638671" y="388366"/>
                </a:lnTo>
                <a:lnTo>
                  <a:pt x="3637043" y="390315"/>
                </a:lnTo>
                <a:lnTo>
                  <a:pt x="3635198" y="390423"/>
                </a:lnTo>
                <a:lnTo>
                  <a:pt x="3634873" y="386201"/>
                </a:lnTo>
                <a:lnTo>
                  <a:pt x="3636718" y="379705"/>
                </a:lnTo>
                <a:close/>
                <a:moveTo>
                  <a:pt x="6889177" y="374293"/>
                </a:moveTo>
                <a:lnTo>
                  <a:pt x="6894929" y="375916"/>
                </a:lnTo>
                <a:lnTo>
                  <a:pt x="6893301" y="378515"/>
                </a:lnTo>
                <a:lnTo>
                  <a:pt x="6890371" y="378948"/>
                </a:lnTo>
                <a:lnTo>
                  <a:pt x="6887984" y="376566"/>
                </a:lnTo>
                <a:close/>
                <a:moveTo>
                  <a:pt x="4347719" y="373751"/>
                </a:moveTo>
                <a:lnTo>
                  <a:pt x="4350866" y="375592"/>
                </a:lnTo>
                <a:lnTo>
                  <a:pt x="4352385" y="379382"/>
                </a:lnTo>
                <a:lnTo>
                  <a:pt x="4350432" y="381655"/>
                </a:lnTo>
                <a:lnTo>
                  <a:pt x="4347611" y="381546"/>
                </a:lnTo>
                <a:lnTo>
                  <a:pt x="4345224" y="377216"/>
                </a:lnTo>
                <a:lnTo>
                  <a:pt x="4345874" y="374835"/>
                </a:lnTo>
                <a:close/>
                <a:moveTo>
                  <a:pt x="4207081" y="371802"/>
                </a:moveTo>
                <a:lnTo>
                  <a:pt x="4209577" y="372777"/>
                </a:lnTo>
                <a:lnTo>
                  <a:pt x="4211856" y="376674"/>
                </a:lnTo>
                <a:lnTo>
                  <a:pt x="4211530" y="379165"/>
                </a:lnTo>
                <a:lnTo>
                  <a:pt x="4209685" y="381330"/>
                </a:lnTo>
                <a:lnTo>
                  <a:pt x="4208167" y="381655"/>
                </a:lnTo>
                <a:lnTo>
                  <a:pt x="4204260" y="379165"/>
                </a:lnTo>
                <a:lnTo>
                  <a:pt x="4203500" y="376891"/>
                </a:lnTo>
                <a:lnTo>
                  <a:pt x="4204260" y="373969"/>
                </a:lnTo>
                <a:close/>
                <a:moveTo>
                  <a:pt x="2356005" y="371584"/>
                </a:moveTo>
                <a:lnTo>
                  <a:pt x="2361105" y="374183"/>
                </a:lnTo>
                <a:lnTo>
                  <a:pt x="2365771" y="374183"/>
                </a:lnTo>
                <a:lnTo>
                  <a:pt x="2369786" y="378513"/>
                </a:lnTo>
                <a:lnTo>
                  <a:pt x="2377491" y="381004"/>
                </a:lnTo>
                <a:lnTo>
                  <a:pt x="2378250" y="383927"/>
                </a:lnTo>
                <a:lnTo>
                  <a:pt x="2378359" y="388258"/>
                </a:lnTo>
                <a:lnTo>
                  <a:pt x="2380746" y="390640"/>
                </a:lnTo>
                <a:lnTo>
                  <a:pt x="2385955" y="390965"/>
                </a:lnTo>
                <a:lnTo>
                  <a:pt x="2388017" y="388583"/>
                </a:lnTo>
                <a:lnTo>
                  <a:pt x="2391489" y="392697"/>
                </a:lnTo>
                <a:lnTo>
                  <a:pt x="2390079" y="394105"/>
                </a:lnTo>
                <a:lnTo>
                  <a:pt x="2389862" y="404607"/>
                </a:lnTo>
                <a:lnTo>
                  <a:pt x="2392140" y="409262"/>
                </a:lnTo>
                <a:lnTo>
                  <a:pt x="2391272" y="412186"/>
                </a:lnTo>
                <a:lnTo>
                  <a:pt x="2381506" y="421388"/>
                </a:lnTo>
                <a:lnTo>
                  <a:pt x="2378901" y="422471"/>
                </a:lnTo>
                <a:lnTo>
                  <a:pt x="2375646" y="426803"/>
                </a:lnTo>
                <a:lnTo>
                  <a:pt x="2375755" y="430051"/>
                </a:lnTo>
                <a:lnTo>
                  <a:pt x="2379227" y="427994"/>
                </a:lnTo>
                <a:lnTo>
                  <a:pt x="2380421" y="424313"/>
                </a:lnTo>
                <a:lnTo>
                  <a:pt x="2387041" y="420956"/>
                </a:lnTo>
                <a:lnTo>
                  <a:pt x="2391815" y="413702"/>
                </a:lnTo>
                <a:lnTo>
                  <a:pt x="2394745" y="417491"/>
                </a:lnTo>
                <a:lnTo>
                  <a:pt x="2398000" y="416841"/>
                </a:lnTo>
                <a:lnTo>
                  <a:pt x="2402124" y="419873"/>
                </a:lnTo>
                <a:lnTo>
                  <a:pt x="2406464" y="419873"/>
                </a:lnTo>
                <a:lnTo>
                  <a:pt x="2411782" y="416624"/>
                </a:lnTo>
                <a:lnTo>
                  <a:pt x="2416557" y="416409"/>
                </a:lnTo>
                <a:lnTo>
                  <a:pt x="2417859" y="417491"/>
                </a:lnTo>
                <a:lnTo>
                  <a:pt x="2421766" y="417274"/>
                </a:lnTo>
                <a:lnTo>
                  <a:pt x="2427083" y="424205"/>
                </a:lnTo>
                <a:lnTo>
                  <a:pt x="2429036" y="431892"/>
                </a:lnTo>
                <a:lnTo>
                  <a:pt x="2427300" y="435248"/>
                </a:lnTo>
                <a:lnTo>
                  <a:pt x="2424587" y="434814"/>
                </a:lnTo>
                <a:lnTo>
                  <a:pt x="2423502" y="430700"/>
                </a:lnTo>
                <a:lnTo>
                  <a:pt x="2420246" y="430700"/>
                </a:lnTo>
                <a:lnTo>
                  <a:pt x="2416991" y="426803"/>
                </a:lnTo>
                <a:lnTo>
                  <a:pt x="2413518" y="425612"/>
                </a:lnTo>
                <a:lnTo>
                  <a:pt x="2411999" y="428318"/>
                </a:lnTo>
                <a:lnTo>
                  <a:pt x="2414061" y="430700"/>
                </a:lnTo>
                <a:lnTo>
                  <a:pt x="2416231" y="430916"/>
                </a:lnTo>
                <a:lnTo>
                  <a:pt x="2420572" y="435248"/>
                </a:lnTo>
                <a:lnTo>
                  <a:pt x="2421657" y="439361"/>
                </a:lnTo>
                <a:lnTo>
                  <a:pt x="2424587" y="438821"/>
                </a:lnTo>
                <a:lnTo>
                  <a:pt x="2428710" y="443259"/>
                </a:lnTo>
                <a:lnTo>
                  <a:pt x="2438260" y="450514"/>
                </a:lnTo>
                <a:lnTo>
                  <a:pt x="2439888" y="455818"/>
                </a:lnTo>
                <a:lnTo>
                  <a:pt x="2438151" y="459825"/>
                </a:lnTo>
                <a:lnTo>
                  <a:pt x="2433160" y="459825"/>
                </a:lnTo>
                <a:lnTo>
                  <a:pt x="2425781" y="458093"/>
                </a:lnTo>
                <a:lnTo>
                  <a:pt x="2422959" y="454736"/>
                </a:lnTo>
                <a:lnTo>
                  <a:pt x="2420572" y="457551"/>
                </a:lnTo>
                <a:lnTo>
                  <a:pt x="2416557" y="453545"/>
                </a:lnTo>
                <a:lnTo>
                  <a:pt x="2410914" y="452030"/>
                </a:lnTo>
                <a:lnTo>
                  <a:pt x="2406248" y="447265"/>
                </a:lnTo>
                <a:lnTo>
                  <a:pt x="2404077" y="442610"/>
                </a:lnTo>
                <a:lnTo>
                  <a:pt x="2401581" y="442610"/>
                </a:lnTo>
                <a:lnTo>
                  <a:pt x="2401148" y="445641"/>
                </a:lnTo>
                <a:lnTo>
                  <a:pt x="2398543" y="446400"/>
                </a:lnTo>
                <a:lnTo>
                  <a:pt x="2403209" y="448890"/>
                </a:lnTo>
                <a:lnTo>
                  <a:pt x="2408852" y="454736"/>
                </a:lnTo>
                <a:lnTo>
                  <a:pt x="2406464" y="456360"/>
                </a:lnTo>
                <a:lnTo>
                  <a:pt x="2410805" y="456901"/>
                </a:lnTo>
                <a:lnTo>
                  <a:pt x="2414929" y="461449"/>
                </a:lnTo>
                <a:lnTo>
                  <a:pt x="2415580" y="464264"/>
                </a:lnTo>
                <a:lnTo>
                  <a:pt x="2409069" y="464264"/>
                </a:lnTo>
                <a:lnTo>
                  <a:pt x="2405054" y="460150"/>
                </a:lnTo>
                <a:lnTo>
                  <a:pt x="2401907" y="459933"/>
                </a:lnTo>
                <a:lnTo>
                  <a:pt x="2400930" y="463506"/>
                </a:lnTo>
                <a:lnTo>
                  <a:pt x="2398651" y="467296"/>
                </a:lnTo>
                <a:lnTo>
                  <a:pt x="2395830" y="468920"/>
                </a:lnTo>
                <a:lnTo>
                  <a:pt x="2395830" y="471301"/>
                </a:lnTo>
                <a:lnTo>
                  <a:pt x="2401473" y="470219"/>
                </a:lnTo>
                <a:lnTo>
                  <a:pt x="2404403" y="467296"/>
                </a:lnTo>
                <a:lnTo>
                  <a:pt x="2408201" y="467296"/>
                </a:lnTo>
                <a:lnTo>
                  <a:pt x="2408852" y="469569"/>
                </a:lnTo>
                <a:lnTo>
                  <a:pt x="2406248" y="471627"/>
                </a:lnTo>
                <a:lnTo>
                  <a:pt x="2410371" y="471518"/>
                </a:lnTo>
                <a:lnTo>
                  <a:pt x="2412107" y="470111"/>
                </a:lnTo>
                <a:lnTo>
                  <a:pt x="2416231" y="471301"/>
                </a:lnTo>
                <a:lnTo>
                  <a:pt x="2419595" y="469894"/>
                </a:lnTo>
                <a:lnTo>
                  <a:pt x="2420029" y="473467"/>
                </a:lnTo>
                <a:lnTo>
                  <a:pt x="2417641" y="478881"/>
                </a:lnTo>
                <a:lnTo>
                  <a:pt x="2414061" y="480396"/>
                </a:lnTo>
                <a:lnTo>
                  <a:pt x="2414061" y="482995"/>
                </a:lnTo>
                <a:lnTo>
                  <a:pt x="2419595" y="480722"/>
                </a:lnTo>
                <a:lnTo>
                  <a:pt x="2422851" y="484186"/>
                </a:lnTo>
                <a:lnTo>
                  <a:pt x="2420029" y="491224"/>
                </a:lnTo>
                <a:lnTo>
                  <a:pt x="2420029" y="494363"/>
                </a:lnTo>
                <a:lnTo>
                  <a:pt x="2418185" y="498153"/>
                </a:lnTo>
                <a:lnTo>
                  <a:pt x="2420029" y="502376"/>
                </a:lnTo>
                <a:lnTo>
                  <a:pt x="2423176" y="502268"/>
                </a:lnTo>
                <a:lnTo>
                  <a:pt x="2422634" y="496529"/>
                </a:lnTo>
                <a:lnTo>
                  <a:pt x="2427517" y="491007"/>
                </a:lnTo>
                <a:lnTo>
                  <a:pt x="2432617" y="489708"/>
                </a:lnTo>
                <a:lnTo>
                  <a:pt x="2432834" y="494797"/>
                </a:lnTo>
                <a:lnTo>
                  <a:pt x="2433377" y="497070"/>
                </a:lnTo>
                <a:lnTo>
                  <a:pt x="2431966" y="501401"/>
                </a:lnTo>
                <a:lnTo>
                  <a:pt x="2435222" y="501401"/>
                </a:lnTo>
                <a:lnTo>
                  <a:pt x="2437935" y="499344"/>
                </a:lnTo>
                <a:lnTo>
                  <a:pt x="2442492" y="500534"/>
                </a:lnTo>
                <a:lnTo>
                  <a:pt x="2442926" y="503459"/>
                </a:lnTo>
                <a:lnTo>
                  <a:pt x="2441298" y="506381"/>
                </a:lnTo>
                <a:lnTo>
                  <a:pt x="2445205" y="507681"/>
                </a:lnTo>
                <a:lnTo>
                  <a:pt x="2446399" y="504974"/>
                </a:lnTo>
                <a:lnTo>
                  <a:pt x="2445422" y="501726"/>
                </a:lnTo>
                <a:lnTo>
                  <a:pt x="2451065" y="498477"/>
                </a:lnTo>
                <a:lnTo>
                  <a:pt x="2452584" y="500968"/>
                </a:lnTo>
                <a:lnTo>
                  <a:pt x="2452150" y="504000"/>
                </a:lnTo>
                <a:lnTo>
                  <a:pt x="2457142" y="509629"/>
                </a:lnTo>
                <a:lnTo>
                  <a:pt x="2456925" y="513203"/>
                </a:lnTo>
                <a:lnTo>
                  <a:pt x="2451933" y="515152"/>
                </a:lnTo>
                <a:lnTo>
                  <a:pt x="2454646" y="516667"/>
                </a:lnTo>
                <a:lnTo>
                  <a:pt x="2460940" y="515152"/>
                </a:lnTo>
                <a:lnTo>
                  <a:pt x="2464196" y="516018"/>
                </a:lnTo>
                <a:lnTo>
                  <a:pt x="2466040" y="519049"/>
                </a:lnTo>
                <a:lnTo>
                  <a:pt x="2471032" y="520132"/>
                </a:lnTo>
                <a:lnTo>
                  <a:pt x="2467234" y="516884"/>
                </a:lnTo>
                <a:lnTo>
                  <a:pt x="2467451" y="513203"/>
                </a:lnTo>
                <a:lnTo>
                  <a:pt x="2464196" y="509954"/>
                </a:lnTo>
                <a:lnTo>
                  <a:pt x="2465497" y="508546"/>
                </a:lnTo>
                <a:lnTo>
                  <a:pt x="2475915" y="510171"/>
                </a:lnTo>
                <a:lnTo>
                  <a:pt x="2480365" y="508763"/>
                </a:lnTo>
                <a:lnTo>
                  <a:pt x="2482426" y="510820"/>
                </a:lnTo>
                <a:lnTo>
                  <a:pt x="2482426" y="513960"/>
                </a:lnTo>
                <a:lnTo>
                  <a:pt x="2484379" y="512228"/>
                </a:lnTo>
                <a:lnTo>
                  <a:pt x="2484162" y="509305"/>
                </a:lnTo>
                <a:lnTo>
                  <a:pt x="2489697" y="508439"/>
                </a:lnTo>
                <a:lnTo>
                  <a:pt x="2494146" y="506706"/>
                </a:lnTo>
                <a:lnTo>
                  <a:pt x="2497944" y="509089"/>
                </a:lnTo>
                <a:lnTo>
                  <a:pt x="2500331" y="512012"/>
                </a:lnTo>
                <a:lnTo>
                  <a:pt x="2502285" y="507572"/>
                </a:lnTo>
                <a:lnTo>
                  <a:pt x="2507602" y="507356"/>
                </a:lnTo>
                <a:lnTo>
                  <a:pt x="2510207" y="506165"/>
                </a:lnTo>
                <a:lnTo>
                  <a:pt x="2513462" y="506489"/>
                </a:lnTo>
                <a:lnTo>
                  <a:pt x="2517694" y="503783"/>
                </a:lnTo>
                <a:lnTo>
                  <a:pt x="2520299" y="505191"/>
                </a:lnTo>
                <a:lnTo>
                  <a:pt x="2521492" y="508763"/>
                </a:lnTo>
                <a:lnTo>
                  <a:pt x="2529631" y="514393"/>
                </a:lnTo>
                <a:lnTo>
                  <a:pt x="2536901" y="512336"/>
                </a:lnTo>
                <a:lnTo>
                  <a:pt x="2543087" y="512336"/>
                </a:lnTo>
                <a:lnTo>
                  <a:pt x="2546668" y="510171"/>
                </a:lnTo>
                <a:lnTo>
                  <a:pt x="2550467" y="510171"/>
                </a:lnTo>
                <a:lnTo>
                  <a:pt x="2558063" y="516343"/>
                </a:lnTo>
                <a:lnTo>
                  <a:pt x="2559582" y="520673"/>
                </a:lnTo>
                <a:lnTo>
                  <a:pt x="2557194" y="521648"/>
                </a:lnTo>
                <a:lnTo>
                  <a:pt x="2556651" y="524462"/>
                </a:lnTo>
                <a:lnTo>
                  <a:pt x="2558605" y="527278"/>
                </a:lnTo>
                <a:lnTo>
                  <a:pt x="2567829" y="527169"/>
                </a:lnTo>
                <a:lnTo>
                  <a:pt x="2572061" y="529876"/>
                </a:lnTo>
                <a:lnTo>
                  <a:pt x="2571627" y="534315"/>
                </a:lnTo>
                <a:lnTo>
                  <a:pt x="2568914" y="535398"/>
                </a:lnTo>
                <a:lnTo>
                  <a:pt x="2567178" y="539187"/>
                </a:lnTo>
                <a:lnTo>
                  <a:pt x="2571627" y="538213"/>
                </a:lnTo>
                <a:lnTo>
                  <a:pt x="2577378" y="539729"/>
                </a:lnTo>
                <a:lnTo>
                  <a:pt x="2576619" y="541894"/>
                </a:lnTo>
                <a:lnTo>
                  <a:pt x="2573906" y="542652"/>
                </a:lnTo>
                <a:lnTo>
                  <a:pt x="2574991" y="545576"/>
                </a:lnTo>
                <a:lnTo>
                  <a:pt x="2572495" y="550231"/>
                </a:lnTo>
                <a:lnTo>
                  <a:pt x="2573255" y="552938"/>
                </a:lnTo>
                <a:lnTo>
                  <a:pt x="2570650" y="557377"/>
                </a:lnTo>
                <a:lnTo>
                  <a:pt x="2567720" y="557918"/>
                </a:lnTo>
                <a:lnTo>
                  <a:pt x="2565116" y="555537"/>
                </a:lnTo>
                <a:lnTo>
                  <a:pt x="2562403" y="559650"/>
                </a:lnTo>
                <a:lnTo>
                  <a:pt x="2557411" y="561383"/>
                </a:lnTo>
                <a:lnTo>
                  <a:pt x="2554481" y="560192"/>
                </a:lnTo>
                <a:lnTo>
                  <a:pt x="2552203" y="561599"/>
                </a:lnTo>
                <a:lnTo>
                  <a:pt x="2553396" y="565497"/>
                </a:lnTo>
                <a:lnTo>
                  <a:pt x="2558931" y="565173"/>
                </a:lnTo>
                <a:lnTo>
                  <a:pt x="2564139" y="563440"/>
                </a:lnTo>
                <a:lnTo>
                  <a:pt x="2567069" y="565605"/>
                </a:lnTo>
                <a:lnTo>
                  <a:pt x="2566527" y="568745"/>
                </a:lnTo>
                <a:lnTo>
                  <a:pt x="2567829" y="573942"/>
                </a:lnTo>
                <a:lnTo>
                  <a:pt x="2567069" y="576541"/>
                </a:lnTo>
                <a:lnTo>
                  <a:pt x="2564791" y="575242"/>
                </a:lnTo>
                <a:lnTo>
                  <a:pt x="2561644" y="575999"/>
                </a:lnTo>
                <a:lnTo>
                  <a:pt x="2558714" y="575458"/>
                </a:lnTo>
                <a:lnTo>
                  <a:pt x="2556651" y="578706"/>
                </a:lnTo>
                <a:lnTo>
                  <a:pt x="2552745" y="573077"/>
                </a:lnTo>
                <a:lnTo>
                  <a:pt x="2552853" y="570153"/>
                </a:lnTo>
                <a:lnTo>
                  <a:pt x="2550141" y="567230"/>
                </a:lnTo>
                <a:lnTo>
                  <a:pt x="2550141" y="572535"/>
                </a:lnTo>
                <a:lnTo>
                  <a:pt x="2552528" y="577732"/>
                </a:lnTo>
                <a:lnTo>
                  <a:pt x="2552420" y="580439"/>
                </a:lnTo>
                <a:lnTo>
                  <a:pt x="2549490" y="580656"/>
                </a:lnTo>
                <a:lnTo>
                  <a:pt x="2546342" y="586610"/>
                </a:lnTo>
                <a:lnTo>
                  <a:pt x="2546560" y="588992"/>
                </a:lnTo>
                <a:lnTo>
                  <a:pt x="2543847" y="591482"/>
                </a:lnTo>
                <a:lnTo>
                  <a:pt x="2541134" y="589966"/>
                </a:lnTo>
                <a:lnTo>
                  <a:pt x="2536901" y="590508"/>
                </a:lnTo>
                <a:lnTo>
                  <a:pt x="2529631" y="587043"/>
                </a:lnTo>
                <a:lnTo>
                  <a:pt x="2525507" y="587476"/>
                </a:lnTo>
                <a:lnTo>
                  <a:pt x="2517151" y="592998"/>
                </a:lnTo>
                <a:lnTo>
                  <a:pt x="2512703" y="592782"/>
                </a:lnTo>
                <a:lnTo>
                  <a:pt x="2511835" y="590832"/>
                </a:lnTo>
                <a:lnTo>
                  <a:pt x="2507385" y="590832"/>
                </a:lnTo>
                <a:lnTo>
                  <a:pt x="2506517" y="586068"/>
                </a:lnTo>
                <a:lnTo>
                  <a:pt x="2501851" y="588125"/>
                </a:lnTo>
                <a:lnTo>
                  <a:pt x="2497076" y="586610"/>
                </a:lnTo>
                <a:lnTo>
                  <a:pt x="2496208" y="576649"/>
                </a:lnTo>
                <a:lnTo>
                  <a:pt x="2498595" y="570261"/>
                </a:lnTo>
                <a:lnTo>
                  <a:pt x="2502068" y="567230"/>
                </a:lnTo>
                <a:lnTo>
                  <a:pt x="2501742" y="564847"/>
                </a:lnTo>
                <a:lnTo>
                  <a:pt x="2498921" y="564306"/>
                </a:lnTo>
                <a:lnTo>
                  <a:pt x="2498595" y="558568"/>
                </a:lnTo>
                <a:lnTo>
                  <a:pt x="2496751" y="557918"/>
                </a:lnTo>
                <a:lnTo>
                  <a:pt x="2494688" y="561925"/>
                </a:lnTo>
                <a:lnTo>
                  <a:pt x="2496859" y="566580"/>
                </a:lnTo>
                <a:lnTo>
                  <a:pt x="2495231" y="569611"/>
                </a:lnTo>
                <a:lnTo>
                  <a:pt x="2490674" y="573726"/>
                </a:lnTo>
                <a:lnTo>
                  <a:pt x="2490674" y="578706"/>
                </a:lnTo>
                <a:lnTo>
                  <a:pt x="2487418" y="580656"/>
                </a:lnTo>
                <a:lnTo>
                  <a:pt x="2481884" y="582171"/>
                </a:lnTo>
                <a:lnTo>
                  <a:pt x="2480690" y="579464"/>
                </a:lnTo>
                <a:lnTo>
                  <a:pt x="2477543" y="580439"/>
                </a:lnTo>
                <a:lnTo>
                  <a:pt x="2473528" y="581954"/>
                </a:lnTo>
                <a:lnTo>
                  <a:pt x="2466909" y="578166"/>
                </a:lnTo>
                <a:lnTo>
                  <a:pt x="2462459" y="578057"/>
                </a:lnTo>
                <a:lnTo>
                  <a:pt x="2461591" y="574809"/>
                </a:lnTo>
                <a:lnTo>
                  <a:pt x="2462785" y="564956"/>
                </a:lnTo>
                <a:lnTo>
                  <a:pt x="2460940" y="567771"/>
                </a:lnTo>
                <a:lnTo>
                  <a:pt x="2458987" y="574268"/>
                </a:lnTo>
                <a:lnTo>
                  <a:pt x="2453452" y="575242"/>
                </a:lnTo>
                <a:lnTo>
                  <a:pt x="2453452" y="571884"/>
                </a:lnTo>
                <a:lnTo>
                  <a:pt x="2455515" y="568962"/>
                </a:lnTo>
                <a:lnTo>
                  <a:pt x="2454863" y="565173"/>
                </a:lnTo>
                <a:lnTo>
                  <a:pt x="2451608" y="572318"/>
                </a:lnTo>
                <a:lnTo>
                  <a:pt x="2447918" y="574917"/>
                </a:lnTo>
                <a:lnTo>
                  <a:pt x="2441733" y="574809"/>
                </a:lnTo>
                <a:lnTo>
                  <a:pt x="2441624" y="571019"/>
                </a:lnTo>
                <a:lnTo>
                  <a:pt x="2443794" y="569070"/>
                </a:lnTo>
                <a:lnTo>
                  <a:pt x="2444011" y="566364"/>
                </a:lnTo>
                <a:lnTo>
                  <a:pt x="2440539" y="566905"/>
                </a:lnTo>
                <a:lnTo>
                  <a:pt x="2439020" y="569395"/>
                </a:lnTo>
                <a:lnTo>
                  <a:pt x="2437826" y="574051"/>
                </a:lnTo>
                <a:lnTo>
                  <a:pt x="2434570" y="574268"/>
                </a:lnTo>
                <a:lnTo>
                  <a:pt x="2433485" y="569286"/>
                </a:lnTo>
                <a:lnTo>
                  <a:pt x="2434679" y="565173"/>
                </a:lnTo>
                <a:lnTo>
                  <a:pt x="2433485" y="561707"/>
                </a:lnTo>
                <a:lnTo>
                  <a:pt x="2430555" y="565822"/>
                </a:lnTo>
                <a:lnTo>
                  <a:pt x="2430772" y="569611"/>
                </a:lnTo>
                <a:lnTo>
                  <a:pt x="2431749" y="572318"/>
                </a:lnTo>
                <a:lnTo>
                  <a:pt x="2428819" y="574268"/>
                </a:lnTo>
                <a:lnTo>
                  <a:pt x="2425564" y="571884"/>
                </a:lnTo>
                <a:lnTo>
                  <a:pt x="2422091" y="570802"/>
                </a:lnTo>
                <a:lnTo>
                  <a:pt x="2421657" y="568420"/>
                </a:lnTo>
                <a:lnTo>
                  <a:pt x="2423176" y="566148"/>
                </a:lnTo>
                <a:lnTo>
                  <a:pt x="2418293" y="565605"/>
                </a:lnTo>
                <a:lnTo>
                  <a:pt x="2416991" y="569070"/>
                </a:lnTo>
                <a:lnTo>
                  <a:pt x="2411999" y="568637"/>
                </a:lnTo>
                <a:lnTo>
                  <a:pt x="2410589" y="567013"/>
                </a:lnTo>
                <a:lnTo>
                  <a:pt x="2406464" y="567338"/>
                </a:lnTo>
                <a:lnTo>
                  <a:pt x="2402449" y="564090"/>
                </a:lnTo>
                <a:lnTo>
                  <a:pt x="2397350" y="562358"/>
                </a:lnTo>
                <a:lnTo>
                  <a:pt x="2397458" y="558785"/>
                </a:lnTo>
                <a:lnTo>
                  <a:pt x="2400279" y="555861"/>
                </a:lnTo>
                <a:lnTo>
                  <a:pt x="2406464" y="547741"/>
                </a:lnTo>
                <a:lnTo>
                  <a:pt x="2407659" y="542652"/>
                </a:lnTo>
                <a:lnTo>
                  <a:pt x="2406248" y="540378"/>
                </a:lnTo>
                <a:lnTo>
                  <a:pt x="2403535" y="541570"/>
                </a:lnTo>
                <a:lnTo>
                  <a:pt x="2400713" y="548499"/>
                </a:lnTo>
                <a:lnTo>
                  <a:pt x="2398326" y="549473"/>
                </a:lnTo>
                <a:lnTo>
                  <a:pt x="2398000" y="545684"/>
                </a:lnTo>
                <a:lnTo>
                  <a:pt x="2399086" y="544168"/>
                </a:lnTo>
                <a:lnTo>
                  <a:pt x="2398218" y="541461"/>
                </a:lnTo>
                <a:lnTo>
                  <a:pt x="2396155" y="543519"/>
                </a:lnTo>
                <a:lnTo>
                  <a:pt x="2393334" y="543627"/>
                </a:lnTo>
                <a:lnTo>
                  <a:pt x="2393660" y="549148"/>
                </a:lnTo>
                <a:lnTo>
                  <a:pt x="2388126" y="551206"/>
                </a:lnTo>
                <a:lnTo>
                  <a:pt x="2385413" y="553804"/>
                </a:lnTo>
                <a:lnTo>
                  <a:pt x="2379553" y="553154"/>
                </a:lnTo>
                <a:lnTo>
                  <a:pt x="2378359" y="551206"/>
                </a:lnTo>
                <a:lnTo>
                  <a:pt x="2373910" y="552613"/>
                </a:lnTo>
                <a:lnTo>
                  <a:pt x="2369352" y="547091"/>
                </a:lnTo>
                <a:lnTo>
                  <a:pt x="2368918" y="544492"/>
                </a:lnTo>
                <a:lnTo>
                  <a:pt x="2367182" y="542327"/>
                </a:lnTo>
                <a:lnTo>
                  <a:pt x="2367832" y="540054"/>
                </a:lnTo>
                <a:lnTo>
                  <a:pt x="2371957" y="538971"/>
                </a:lnTo>
                <a:lnTo>
                  <a:pt x="2374452" y="532799"/>
                </a:lnTo>
                <a:lnTo>
                  <a:pt x="2372825" y="530958"/>
                </a:lnTo>
                <a:lnTo>
                  <a:pt x="2368592" y="536589"/>
                </a:lnTo>
                <a:lnTo>
                  <a:pt x="2366422" y="536805"/>
                </a:lnTo>
                <a:lnTo>
                  <a:pt x="2364251" y="535073"/>
                </a:lnTo>
                <a:lnTo>
                  <a:pt x="2362733" y="537455"/>
                </a:lnTo>
                <a:lnTo>
                  <a:pt x="2362190" y="541787"/>
                </a:lnTo>
                <a:lnTo>
                  <a:pt x="2359585" y="542327"/>
                </a:lnTo>
                <a:lnTo>
                  <a:pt x="2355787" y="538862"/>
                </a:lnTo>
                <a:lnTo>
                  <a:pt x="2355787" y="535723"/>
                </a:lnTo>
                <a:lnTo>
                  <a:pt x="2352857" y="534857"/>
                </a:lnTo>
                <a:lnTo>
                  <a:pt x="2350796" y="529876"/>
                </a:lnTo>
                <a:lnTo>
                  <a:pt x="2351989" y="525654"/>
                </a:lnTo>
                <a:lnTo>
                  <a:pt x="2355462" y="521107"/>
                </a:lnTo>
                <a:lnTo>
                  <a:pt x="2353183" y="518940"/>
                </a:lnTo>
                <a:lnTo>
                  <a:pt x="2354051" y="515476"/>
                </a:lnTo>
                <a:lnTo>
                  <a:pt x="2358392" y="513636"/>
                </a:lnTo>
                <a:lnTo>
                  <a:pt x="2358392" y="510495"/>
                </a:lnTo>
                <a:lnTo>
                  <a:pt x="2355137" y="509413"/>
                </a:lnTo>
                <a:lnTo>
                  <a:pt x="2354810" y="504324"/>
                </a:lnTo>
                <a:lnTo>
                  <a:pt x="2357307" y="500318"/>
                </a:lnTo>
                <a:lnTo>
                  <a:pt x="2361539" y="497611"/>
                </a:lnTo>
                <a:lnTo>
                  <a:pt x="2361322" y="494472"/>
                </a:lnTo>
                <a:lnTo>
                  <a:pt x="2366314" y="488300"/>
                </a:lnTo>
                <a:lnTo>
                  <a:pt x="2367182" y="484294"/>
                </a:lnTo>
                <a:lnTo>
                  <a:pt x="2373042" y="482995"/>
                </a:lnTo>
                <a:lnTo>
                  <a:pt x="2379553" y="478339"/>
                </a:lnTo>
                <a:lnTo>
                  <a:pt x="2381506" y="472818"/>
                </a:lnTo>
                <a:lnTo>
                  <a:pt x="2381506" y="469569"/>
                </a:lnTo>
                <a:lnTo>
                  <a:pt x="2383025" y="463939"/>
                </a:lnTo>
                <a:lnTo>
                  <a:pt x="2379878" y="459284"/>
                </a:lnTo>
                <a:lnTo>
                  <a:pt x="2379878" y="455169"/>
                </a:lnTo>
                <a:lnTo>
                  <a:pt x="2381831" y="449323"/>
                </a:lnTo>
                <a:lnTo>
                  <a:pt x="2381831" y="440878"/>
                </a:lnTo>
                <a:lnTo>
                  <a:pt x="2383676" y="436547"/>
                </a:lnTo>
                <a:lnTo>
                  <a:pt x="2382700" y="433515"/>
                </a:lnTo>
                <a:lnTo>
                  <a:pt x="2379444" y="432758"/>
                </a:lnTo>
                <a:lnTo>
                  <a:pt x="2374887" y="435356"/>
                </a:lnTo>
                <a:lnTo>
                  <a:pt x="2373042" y="433515"/>
                </a:lnTo>
                <a:lnTo>
                  <a:pt x="2372716" y="436547"/>
                </a:lnTo>
                <a:lnTo>
                  <a:pt x="2370220" y="436763"/>
                </a:lnTo>
                <a:lnTo>
                  <a:pt x="2363926" y="431567"/>
                </a:lnTo>
                <a:lnTo>
                  <a:pt x="2363166" y="428535"/>
                </a:lnTo>
                <a:lnTo>
                  <a:pt x="2358066" y="427452"/>
                </a:lnTo>
                <a:lnTo>
                  <a:pt x="2357307" y="424313"/>
                </a:lnTo>
                <a:lnTo>
                  <a:pt x="2349711" y="427127"/>
                </a:lnTo>
                <a:lnTo>
                  <a:pt x="2346672" y="424528"/>
                </a:lnTo>
                <a:lnTo>
                  <a:pt x="2340270" y="427127"/>
                </a:lnTo>
                <a:lnTo>
                  <a:pt x="2341680" y="423555"/>
                </a:lnTo>
                <a:lnTo>
                  <a:pt x="2344284" y="421606"/>
                </a:lnTo>
                <a:lnTo>
                  <a:pt x="2344284" y="419223"/>
                </a:lnTo>
                <a:lnTo>
                  <a:pt x="2351664" y="419765"/>
                </a:lnTo>
                <a:lnTo>
                  <a:pt x="2353400" y="421606"/>
                </a:lnTo>
                <a:lnTo>
                  <a:pt x="2353509" y="418357"/>
                </a:lnTo>
                <a:lnTo>
                  <a:pt x="2348951" y="416409"/>
                </a:lnTo>
                <a:lnTo>
                  <a:pt x="2343091" y="408721"/>
                </a:lnTo>
                <a:lnTo>
                  <a:pt x="2343959" y="404066"/>
                </a:lnTo>
                <a:lnTo>
                  <a:pt x="2347866" y="404282"/>
                </a:lnTo>
                <a:lnTo>
                  <a:pt x="2350687" y="401684"/>
                </a:lnTo>
                <a:lnTo>
                  <a:pt x="2346346" y="401684"/>
                </a:lnTo>
                <a:lnTo>
                  <a:pt x="2341897" y="393564"/>
                </a:lnTo>
                <a:lnTo>
                  <a:pt x="2337014" y="391506"/>
                </a:lnTo>
                <a:lnTo>
                  <a:pt x="2335495" y="387067"/>
                </a:lnTo>
                <a:lnTo>
                  <a:pt x="2336472" y="382087"/>
                </a:lnTo>
                <a:lnTo>
                  <a:pt x="2341897" y="389666"/>
                </a:lnTo>
                <a:lnTo>
                  <a:pt x="2345153" y="389774"/>
                </a:lnTo>
                <a:lnTo>
                  <a:pt x="2343091" y="385334"/>
                </a:lnTo>
                <a:lnTo>
                  <a:pt x="2339944" y="381004"/>
                </a:lnTo>
                <a:lnTo>
                  <a:pt x="2341897" y="376781"/>
                </a:lnTo>
                <a:lnTo>
                  <a:pt x="2344284" y="376565"/>
                </a:lnTo>
                <a:lnTo>
                  <a:pt x="2345261" y="374833"/>
                </a:lnTo>
                <a:lnTo>
                  <a:pt x="2353942" y="373858"/>
                </a:lnTo>
                <a:close/>
                <a:moveTo>
                  <a:pt x="2284493" y="368879"/>
                </a:moveTo>
                <a:lnTo>
                  <a:pt x="2286446" y="369095"/>
                </a:lnTo>
                <a:lnTo>
                  <a:pt x="2289376" y="372235"/>
                </a:lnTo>
                <a:lnTo>
                  <a:pt x="2290352" y="376459"/>
                </a:lnTo>
                <a:lnTo>
                  <a:pt x="2287964" y="377432"/>
                </a:lnTo>
                <a:lnTo>
                  <a:pt x="2287096" y="374942"/>
                </a:lnTo>
                <a:lnTo>
                  <a:pt x="2284384" y="371044"/>
                </a:lnTo>
                <a:close/>
                <a:moveTo>
                  <a:pt x="2456057" y="367470"/>
                </a:moveTo>
                <a:lnTo>
                  <a:pt x="2459530" y="367579"/>
                </a:lnTo>
                <a:lnTo>
                  <a:pt x="2461917" y="372450"/>
                </a:lnTo>
                <a:lnTo>
                  <a:pt x="2465607" y="372667"/>
                </a:lnTo>
                <a:lnTo>
                  <a:pt x="2467994" y="376240"/>
                </a:lnTo>
                <a:lnTo>
                  <a:pt x="2467343" y="378297"/>
                </a:lnTo>
                <a:lnTo>
                  <a:pt x="2469296" y="380137"/>
                </a:lnTo>
                <a:lnTo>
                  <a:pt x="2468754" y="382953"/>
                </a:lnTo>
                <a:lnTo>
                  <a:pt x="2463979" y="391072"/>
                </a:lnTo>
                <a:lnTo>
                  <a:pt x="2458662" y="393238"/>
                </a:lnTo>
                <a:lnTo>
                  <a:pt x="2453344" y="393130"/>
                </a:lnTo>
                <a:lnTo>
                  <a:pt x="2450089" y="389665"/>
                </a:lnTo>
                <a:lnTo>
                  <a:pt x="2449980" y="385768"/>
                </a:lnTo>
                <a:lnTo>
                  <a:pt x="2448461" y="380679"/>
                </a:lnTo>
                <a:lnTo>
                  <a:pt x="2450414" y="376023"/>
                </a:lnTo>
                <a:lnTo>
                  <a:pt x="2450957" y="371044"/>
                </a:lnTo>
                <a:close/>
                <a:moveTo>
                  <a:pt x="5506242" y="366824"/>
                </a:moveTo>
                <a:lnTo>
                  <a:pt x="5507870" y="368339"/>
                </a:lnTo>
                <a:lnTo>
                  <a:pt x="5508087" y="373751"/>
                </a:lnTo>
                <a:lnTo>
                  <a:pt x="5505374" y="375592"/>
                </a:lnTo>
                <a:lnTo>
                  <a:pt x="5505049" y="379707"/>
                </a:lnTo>
                <a:lnTo>
                  <a:pt x="5500925" y="384471"/>
                </a:lnTo>
                <a:lnTo>
                  <a:pt x="5495933" y="387829"/>
                </a:lnTo>
                <a:lnTo>
                  <a:pt x="5497453" y="385229"/>
                </a:lnTo>
                <a:lnTo>
                  <a:pt x="5497127" y="383064"/>
                </a:lnTo>
                <a:lnTo>
                  <a:pt x="5494957" y="383496"/>
                </a:lnTo>
                <a:lnTo>
                  <a:pt x="5491810" y="387071"/>
                </a:lnTo>
                <a:lnTo>
                  <a:pt x="5487469" y="388586"/>
                </a:lnTo>
                <a:lnTo>
                  <a:pt x="5485082" y="388586"/>
                </a:lnTo>
                <a:lnTo>
                  <a:pt x="5487252" y="383172"/>
                </a:lnTo>
                <a:lnTo>
                  <a:pt x="5491918" y="376784"/>
                </a:lnTo>
                <a:lnTo>
                  <a:pt x="5497778" y="373751"/>
                </a:lnTo>
                <a:lnTo>
                  <a:pt x="5502119" y="370072"/>
                </a:lnTo>
                <a:lnTo>
                  <a:pt x="5503746" y="367907"/>
                </a:lnTo>
                <a:close/>
                <a:moveTo>
                  <a:pt x="2333541" y="366822"/>
                </a:moveTo>
                <a:lnTo>
                  <a:pt x="2336580" y="367795"/>
                </a:lnTo>
                <a:lnTo>
                  <a:pt x="2336580" y="369961"/>
                </a:lnTo>
                <a:lnTo>
                  <a:pt x="2333325" y="370827"/>
                </a:lnTo>
                <a:lnTo>
                  <a:pt x="2331263" y="368879"/>
                </a:lnTo>
                <a:close/>
                <a:moveTo>
                  <a:pt x="2268431" y="364764"/>
                </a:moveTo>
                <a:lnTo>
                  <a:pt x="2275376" y="365630"/>
                </a:lnTo>
                <a:lnTo>
                  <a:pt x="2276896" y="367146"/>
                </a:lnTo>
                <a:lnTo>
                  <a:pt x="2272663" y="368987"/>
                </a:lnTo>
                <a:lnTo>
                  <a:pt x="2268974" y="368987"/>
                </a:lnTo>
                <a:lnTo>
                  <a:pt x="2262029" y="373101"/>
                </a:lnTo>
                <a:lnTo>
                  <a:pt x="2258665" y="372126"/>
                </a:lnTo>
                <a:lnTo>
                  <a:pt x="2253781" y="373209"/>
                </a:lnTo>
                <a:lnTo>
                  <a:pt x="2250526" y="375482"/>
                </a:lnTo>
                <a:lnTo>
                  <a:pt x="2248464" y="373317"/>
                </a:lnTo>
                <a:lnTo>
                  <a:pt x="2248464" y="370611"/>
                </a:lnTo>
                <a:lnTo>
                  <a:pt x="2251068" y="368987"/>
                </a:lnTo>
                <a:lnTo>
                  <a:pt x="2255517" y="367579"/>
                </a:lnTo>
                <a:cubicBezTo>
                  <a:pt x="2256656" y="367909"/>
                  <a:pt x="2257817" y="368162"/>
                  <a:pt x="2258990" y="368337"/>
                </a:cubicBezTo>
                <a:cubicBezTo>
                  <a:pt x="2260453" y="367663"/>
                  <a:pt x="2261836" y="366827"/>
                  <a:pt x="2263114" y="365847"/>
                </a:cubicBezTo>
                <a:close/>
                <a:moveTo>
                  <a:pt x="4424874" y="358269"/>
                </a:moveTo>
                <a:lnTo>
                  <a:pt x="4429214" y="358269"/>
                </a:lnTo>
                <a:lnTo>
                  <a:pt x="4430516" y="360001"/>
                </a:lnTo>
                <a:lnTo>
                  <a:pt x="4430516" y="362167"/>
                </a:lnTo>
                <a:lnTo>
                  <a:pt x="4423788" y="366929"/>
                </a:lnTo>
                <a:lnTo>
                  <a:pt x="4420316" y="368662"/>
                </a:lnTo>
                <a:lnTo>
                  <a:pt x="4414130" y="373967"/>
                </a:lnTo>
                <a:lnTo>
                  <a:pt x="4408814" y="375375"/>
                </a:lnTo>
                <a:lnTo>
                  <a:pt x="4406209" y="374726"/>
                </a:lnTo>
                <a:lnTo>
                  <a:pt x="4405124" y="372777"/>
                </a:lnTo>
                <a:cubicBezTo>
                  <a:pt x="4405557" y="372451"/>
                  <a:pt x="4407837" y="369852"/>
                  <a:pt x="4407837" y="369852"/>
                </a:cubicBezTo>
                <a:lnTo>
                  <a:pt x="4412503" y="368554"/>
                </a:lnTo>
                <a:lnTo>
                  <a:pt x="4416083" y="365847"/>
                </a:lnTo>
                <a:lnTo>
                  <a:pt x="4420208" y="360867"/>
                </a:lnTo>
                <a:close/>
                <a:moveTo>
                  <a:pt x="2203214" y="355669"/>
                </a:moveTo>
                <a:lnTo>
                  <a:pt x="2209507" y="355669"/>
                </a:lnTo>
                <a:lnTo>
                  <a:pt x="2211352" y="357076"/>
                </a:lnTo>
                <a:lnTo>
                  <a:pt x="2213197" y="358266"/>
                </a:lnTo>
                <a:lnTo>
                  <a:pt x="2214173" y="360541"/>
                </a:lnTo>
                <a:lnTo>
                  <a:pt x="2211244" y="362056"/>
                </a:lnTo>
                <a:lnTo>
                  <a:pt x="2210158" y="364654"/>
                </a:lnTo>
                <a:lnTo>
                  <a:pt x="2212112" y="365305"/>
                </a:lnTo>
                <a:lnTo>
                  <a:pt x="2216452" y="365196"/>
                </a:lnTo>
                <a:lnTo>
                  <a:pt x="2216344" y="367361"/>
                </a:lnTo>
                <a:lnTo>
                  <a:pt x="2214608" y="370068"/>
                </a:lnTo>
                <a:lnTo>
                  <a:pt x="2216344" y="373425"/>
                </a:lnTo>
                <a:lnTo>
                  <a:pt x="2216344" y="378080"/>
                </a:lnTo>
                <a:lnTo>
                  <a:pt x="2214716" y="381869"/>
                </a:lnTo>
                <a:lnTo>
                  <a:pt x="2211678" y="383169"/>
                </a:lnTo>
                <a:lnTo>
                  <a:pt x="2209182" y="380354"/>
                </a:lnTo>
                <a:lnTo>
                  <a:pt x="2202454" y="379704"/>
                </a:lnTo>
                <a:lnTo>
                  <a:pt x="2197788" y="378297"/>
                </a:lnTo>
                <a:lnTo>
                  <a:pt x="2196486" y="371909"/>
                </a:lnTo>
                <a:lnTo>
                  <a:pt x="2200175" y="368444"/>
                </a:lnTo>
                <a:lnTo>
                  <a:pt x="2200826" y="365088"/>
                </a:lnTo>
                <a:lnTo>
                  <a:pt x="2199741" y="362489"/>
                </a:lnTo>
                <a:lnTo>
                  <a:pt x="2200392" y="357834"/>
                </a:lnTo>
                <a:close/>
                <a:moveTo>
                  <a:pt x="4268502" y="355344"/>
                </a:moveTo>
                <a:lnTo>
                  <a:pt x="4270021" y="355344"/>
                </a:lnTo>
                <a:lnTo>
                  <a:pt x="4272299" y="358593"/>
                </a:lnTo>
                <a:lnTo>
                  <a:pt x="4277074" y="361299"/>
                </a:lnTo>
                <a:lnTo>
                  <a:pt x="4277943" y="364547"/>
                </a:lnTo>
                <a:lnTo>
                  <a:pt x="4277943" y="373858"/>
                </a:lnTo>
                <a:lnTo>
                  <a:pt x="4276749" y="378838"/>
                </a:lnTo>
                <a:lnTo>
                  <a:pt x="4276749" y="382304"/>
                </a:lnTo>
                <a:lnTo>
                  <a:pt x="4278159" y="384902"/>
                </a:lnTo>
                <a:lnTo>
                  <a:pt x="4279244" y="382195"/>
                </a:lnTo>
                <a:lnTo>
                  <a:pt x="4279244" y="379489"/>
                </a:lnTo>
                <a:lnTo>
                  <a:pt x="4280438" y="379489"/>
                </a:lnTo>
                <a:lnTo>
                  <a:pt x="4281957" y="382195"/>
                </a:lnTo>
                <a:lnTo>
                  <a:pt x="4285213" y="383711"/>
                </a:lnTo>
                <a:lnTo>
                  <a:pt x="4286081" y="380572"/>
                </a:lnTo>
                <a:lnTo>
                  <a:pt x="4286081" y="376458"/>
                </a:lnTo>
                <a:lnTo>
                  <a:pt x="4289011" y="373209"/>
                </a:lnTo>
                <a:lnTo>
                  <a:pt x="4289880" y="370937"/>
                </a:lnTo>
                <a:lnTo>
                  <a:pt x="4288794" y="369204"/>
                </a:lnTo>
                <a:lnTo>
                  <a:pt x="4290856" y="366929"/>
                </a:lnTo>
                <a:lnTo>
                  <a:pt x="4291941" y="366929"/>
                </a:lnTo>
                <a:lnTo>
                  <a:pt x="4292809" y="372235"/>
                </a:lnTo>
                <a:lnTo>
                  <a:pt x="4294871" y="371152"/>
                </a:lnTo>
                <a:lnTo>
                  <a:pt x="4296282" y="367146"/>
                </a:lnTo>
                <a:lnTo>
                  <a:pt x="4298994" y="365198"/>
                </a:lnTo>
                <a:lnTo>
                  <a:pt x="4298994" y="367687"/>
                </a:lnTo>
                <a:lnTo>
                  <a:pt x="4298994" y="370937"/>
                </a:lnTo>
                <a:lnTo>
                  <a:pt x="4298994" y="372992"/>
                </a:lnTo>
                <a:lnTo>
                  <a:pt x="4303010" y="370393"/>
                </a:lnTo>
                <a:lnTo>
                  <a:pt x="4304529" y="371801"/>
                </a:lnTo>
                <a:lnTo>
                  <a:pt x="4304529" y="373967"/>
                </a:lnTo>
                <a:lnTo>
                  <a:pt x="4307893" y="376023"/>
                </a:lnTo>
                <a:lnTo>
                  <a:pt x="4312125" y="376023"/>
                </a:lnTo>
                <a:lnTo>
                  <a:pt x="4315489" y="378189"/>
                </a:lnTo>
                <a:lnTo>
                  <a:pt x="4319939" y="378838"/>
                </a:lnTo>
                <a:lnTo>
                  <a:pt x="4328077" y="378189"/>
                </a:lnTo>
                <a:lnTo>
                  <a:pt x="4330573" y="378189"/>
                </a:lnTo>
                <a:lnTo>
                  <a:pt x="4334371" y="381438"/>
                </a:lnTo>
                <a:lnTo>
                  <a:pt x="4340882" y="381438"/>
                </a:lnTo>
                <a:lnTo>
                  <a:pt x="4342510" y="382521"/>
                </a:lnTo>
                <a:lnTo>
                  <a:pt x="4342510" y="385227"/>
                </a:lnTo>
                <a:lnTo>
                  <a:pt x="4341099" y="387826"/>
                </a:lnTo>
                <a:lnTo>
                  <a:pt x="4341750" y="391290"/>
                </a:lnTo>
                <a:lnTo>
                  <a:pt x="4343269" y="395187"/>
                </a:lnTo>
                <a:lnTo>
                  <a:pt x="4343269" y="398652"/>
                </a:lnTo>
                <a:lnTo>
                  <a:pt x="4341967" y="402442"/>
                </a:lnTo>
                <a:lnTo>
                  <a:pt x="4336976" y="408289"/>
                </a:lnTo>
                <a:lnTo>
                  <a:pt x="4333937" y="412294"/>
                </a:lnTo>
                <a:lnTo>
                  <a:pt x="4330356" y="419765"/>
                </a:lnTo>
                <a:lnTo>
                  <a:pt x="4326992" y="422905"/>
                </a:lnTo>
                <a:lnTo>
                  <a:pt x="4324387" y="425828"/>
                </a:lnTo>
                <a:lnTo>
                  <a:pt x="4325473" y="429509"/>
                </a:lnTo>
                <a:lnTo>
                  <a:pt x="4326558" y="435789"/>
                </a:lnTo>
                <a:lnTo>
                  <a:pt x="4325039" y="437955"/>
                </a:lnTo>
                <a:lnTo>
                  <a:pt x="4320047" y="441527"/>
                </a:lnTo>
                <a:lnTo>
                  <a:pt x="4315598" y="441527"/>
                </a:lnTo>
                <a:lnTo>
                  <a:pt x="4311908" y="439146"/>
                </a:lnTo>
                <a:lnTo>
                  <a:pt x="4308870" y="436547"/>
                </a:lnTo>
                <a:lnTo>
                  <a:pt x="4305940" y="437088"/>
                </a:lnTo>
                <a:lnTo>
                  <a:pt x="4301599" y="441311"/>
                </a:lnTo>
                <a:lnTo>
                  <a:pt x="4299754" y="444452"/>
                </a:lnTo>
                <a:lnTo>
                  <a:pt x="4299754" y="447049"/>
                </a:lnTo>
                <a:lnTo>
                  <a:pt x="4300297" y="449107"/>
                </a:lnTo>
                <a:lnTo>
                  <a:pt x="4298777" y="451379"/>
                </a:lnTo>
                <a:lnTo>
                  <a:pt x="4291615" y="453546"/>
                </a:lnTo>
                <a:lnTo>
                  <a:pt x="4286298" y="452896"/>
                </a:lnTo>
                <a:lnTo>
                  <a:pt x="4281306" y="449323"/>
                </a:lnTo>
                <a:lnTo>
                  <a:pt x="4280330" y="444884"/>
                </a:lnTo>
                <a:lnTo>
                  <a:pt x="4281089" y="440878"/>
                </a:lnTo>
                <a:lnTo>
                  <a:pt x="4281089" y="438389"/>
                </a:lnTo>
                <a:lnTo>
                  <a:pt x="4275012" y="439578"/>
                </a:lnTo>
                <a:lnTo>
                  <a:pt x="4270238" y="439578"/>
                </a:lnTo>
                <a:lnTo>
                  <a:pt x="4263727" y="442068"/>
                </a:lnTo>
                <a:lnTo>
                  <a:pt x="4257216" y="442068"/>
                </a:lnTo>
                <a:lnTo>
                  <a:pt x="4252875" y="443476"/>
                </a:lnTo>
                <a:lnTo>
                  <a:pt x="4249620" y="442393"/>
                </a:lnTo>
                <a:lnTo>
                  <a:pt x="4249620" y="438711"/>
                </a:lnTo>
                <a:lnTo>
                  <a:pt x="4247666" y="434166"/>
                </a:lnTo>
                <a:lnTo>
                  <a:pt x="4245279" y="433407"/>
                </a:lnTo>
                <a:lnTo>
                  <a:pt x="4241372" y="435465"/>
                </a:lnTo>
                <a:lnTo>
                  <a:pt x="4238551" y="434814"/>
                </a:lnTo>
                <a:lnTo>
                  <a:pt x="4229978" y="427235"/>
                </a:lnTo>
                <a:lnTo>
                  <a:pt x="4227156" y="425721"/>
                </a:lnTo>
                <a:lnTo>
                  <a:pt x="4227156" y="423229"/>
                </a:lnTo>
                <a:lnTo>
                  <a:pt x="4233016" y="421498"/>
                </a:lnTo>
                <a:lnTo>
                  <a:pt x="4237574" y="422364"/>
                </a:lnTo>
                <a:lnTo>
                  <a:pt x="4242240" y="425937"/>
                </a:lnTo>
                <a:lnTo>
                  <a:pt x="4244845" y="425937"/>
                </a:lnTo>
                <a:lnTo>
                  <a:pt x="4246039" y="424312"/>
                </a:lnTo>
                <a:lnTo>
                  <a:pt x="4250921" y="426262"/>
                </a:lnTo>
                <a:lnTo>
                  <a:pt x="4253309" y="426262"/>
                </a:lnTo>
                <a:lnTo>
                  <a:pt x="4253309" y="424095"/>
                </a:lnTo>
                <a:lnTo>
                  <a:pt x="4250921" y="422255"/>
                </a:lnTo>
                <a:lnTo>
                  <a:pt x="4243868" y="420416"/>
                </a:lnTo>
                <a:lnTo>
                  <a:pt x="4241915" y="419008"/>
                </a:lnTo>
                <a:lnTo>
                  <a:pt x="4242892" y="417274"/>
                </a:lnTo>
                <a:lnTo>
                  <a:pt x="4247232" y="418249"/>
                </a:lnTo>
                <a:lnTo>
                  <a:pt x="4252875" y="418249"/>
                </a:lnTo>
                <a:lnTo>
                  <a:pt x="4257867" y="419333"/>
                </a:lnTo>
                <a:lnTo>
                  <a:pt x="4260471" y="417817"/>
                </a:lnTo>
                <a:lnTo>
                  <a:pt x="4261991" y="415001"/>
                </a:lnTo>
                <a:lnTo>
                  <a:pt x="4263510" y="413269"/>
                </a:lnTo>
                <a:lnTo>
                  <a:pt x="4263510" y="411320"/>
                </a:lnTo>
                <a:lnTo>
                  <a:pt x="4261556" y="409913"/>
                </a:lnTo>
                <a:lnTo>
                  <a:pt x="4258952" y="409913"/>
                </a:lnTo>
                <a:lnTo>
                  <a:pt x="4255371" y="412510"/>
                </a:lnTo>
                <a:lnTo>
                  <a:pt x="4248752" y="412510"/>
                </a:lnTo>
                <a:lnTo>
                  <a:pt x="4240287" y="413269"/>
                </a:lnTo>
                <a:lnTo>
                  <a:pt x="4237574" y="414352"/>
                </a:lnTo>
                <a:lnTo>
                  <a:pt x="4232256" y="418140"/>
                </a:lnTo>
                <a:lnTo>
                  <a:pt x="4230303" y="418140"/>
                </a:lnTo>
                <a:lnTo>
                  <a:pt x="4227374" y="415867"/>
                </a:lnTo>
                <a:lnTo>
                  <a:pt x="4223575" y="417383"/>
                </a:lnTo>
                <a:lnTo>
                  <a:pt x="4217716" y="417383"/>
                </a:lnTo>
                <a:lnTo>
                  <a:pt x="4213592" y="414785"/>
                </a:lnTo>
                <a:lnTo>
                  <a:pt x="4210120" y="413377"/>
                </a:lnTo>
                <a:lnTo>
                  <a:pt x="4205128" y="405690"/>
                </a:lnTo>
                <a:lnTo>
                  <a:pt x="4205128" y="403092"/>
                </a:lnTo>
                <a:lnTo>
                  <a:pt x="4211530" y="398976"/>
                </a:lnTo>
                <a:lnTo>
                  <a:pt x="4210336" y="397245"/>
                </a:lnTo>
                <a:lnTo>
                  <a:pt x="4206213" y="397245"/>
                </a:lnTo>
                <a:lnTo>
                  <a:pt x="4205019" y="395513"/>
                </a:lnTo>
                <a:lnTo>
                  <a:pt x="4206538" y="392913"/>
                </a:lnTo>
                <a:lnTo>
                  <a:pt x="4203934" y="390315"/>
                </a:lnTo>
                <a:lnTo>
                  <a:pt x="4200570" y="390858"/>
                </a:lnTo>
                <a:lnTo>
                  <a:pt x="4198834" y="386202"/>
                </a:lnTo>
                <a:lnTo>
                  <a:pt x="4202524" y="383170"/>
                </a:lnTo>
                <a:lnTo>
                  <a:pt x="4205779" y="385552"/>
                </a:lnTo>
                <a:lnTo>
                  <a:pt x="4214026" y="384469"/>
                </a:lnTo>
                <a:lnTo>
                  <a:pt x="4215763" y="386526"/>
                </a:lnTo>
                <a:lnTo>
                  <a:pt x="4217824" y="392048"/>
                </a:lnTo>
                <a:lnTo>
                  <a:pt x="4219344" y="392913"/>
                </a:lnTo>
                <a:lnTo>
                  <a:pt x="4220537" y="389449"/>
                </a:lnTo>
                <a:lnTo>
                  <a:pt x="4220537" y="385985"/>
                </a:lnTo>
                <a:lnTo>
                  <a:pt x="4218149" y="382521"/>
                </a:lnTo>
                <a:lnTo>
                  <a:pt x="4217173" y="377323"/>
                </a:lnTo>
                <a:lnTo>
                  <a:pt x="4217173" y="373317"/>
                </a:lnTo>
                <a:lnTo>
                  <a:pt x="4218692" y="374833"/>
                </a:lnTo>
                <a:lnTo>
                  <a:pt x="4220103" y="378948"/>
                </a:lnTo>
                <a:lnTo>
                  <a:pt x="4222816" y="382087"/>
                </a:lnTo>
                <a:lnTo>
                  <a:pt x="4224878" y="380896"/>
                </a:lnTo>
                <a:lnTo>
                  <a:pt x="4223467" y="374726"/>
                </a:lnTo>
                <a:lnTo>
                  <a:pt x="4220754" y="369744"/>
                </a:lnTo>
                <a:lnTo>
                  <a:pt x="4219886" y="364764"/>
                </a:lnTo>
                <a:lnTo>
                  <a:pt x="4220537" y="358269"/>
                </a:lnTo>
                <a:lnTo>
                  <a:pt x="4222924" y="355560"/>
                </a:lnTo>
                <a:lnTo>
                  <a:pt x="4224878" y="356427"/>
                </a:lnTo>
                <a:lnTo>
                  <a:pt x="4226397" y="360325"/>
                </a:lnTo>
                <a:lnTo>
                  <a:pt x="4225312" y="363898"/>
                </a:lnTo>
                <a:lnTo>
                  <a:pt x="4228025" y="366821"/>
                </a:lnTo>
                <a:lnTo>
                  <a:pt x="4229869" y="365954"/>
                </a:lnTo>
                <a:lnTo>
                  <a:pt x="4233125" y="367362"/>
                </a:lnTo>
                <a:lnTo>
                  <a:pt x="4234536" y="371693"/>
                </a:lnTo>
                <a:lnTo>
                  <a:pt x="4237249" y="375483"/>
                </a:lnTo>
                <a:lnTo>
                  <a:pt x="4239853" y="375483"/>
                </a:lnTo>
                <a:lnTo>
                  <a:pt x="4239853" y="377540"/>
                </a:lnTo>
                <a:lnTo>
                  <a:pt x="4239853" y="379922"/>
                </a:lnTo>
                <a:lnTo>
                  <a:pt x="4243108" y="381438"/>
                </a:lnTo>
                <a:lnTo>
                  <a:pt x="4246907" y="378838"/>
                </a:lnTo>
                <a:lnTo>
                  <a:pt x="4248100" y="377107"/>
                </a:lnTo>
                <a:lnTo>
                  <a:pt x="4249945" y="377107"/>
                </a:lnTo>
                <a:lnTo>
                  <a:pt x="4254286" y="374508"/>
                </a:lnTo>
                <a:lnTo>
                  <a:pt x="4256999" y="376023"/>
                </a:lnTo>
                <a:lnTo>
                  <a:pt x="4256999" y="378297"/>
                </a:lnTo>
                <a:lnTo>
                  <a:pt x="4255154" y="381546"/>
                </a:lnTo>
                <a:lnTo>
                  <a:pt x="4255805" y="384686"/>
                </a:lnTo>
                <a:lnTo>
                  <a:pt x="4260146" y="387284"/>
                </a:lnTo>
                <a:lnTo>
                  <a:pt x="4264269" y="390858"/>
                </a:lnTo>
                <a:lnTo>
                  <a:pt x="4265789" y="395295"/>
                </a:lnTo>
                <a:lnTo>
                  <a:pt x="4267633" y="395295"/>
                </a:lnTo>
                <a:lnTo>
                  <a:pt x="4269153" y="391398"/>
                </a:lnTo>
                <a:lnTo>
                  <a:pt x="4266548" y="384902"/>
                </a:lnTo>
                <a:lnTo>
                  <a:pt x="4266548" y="379380"/>
                </a:lnTo>
                <a:lnTo>
                  <a:pt x="4267417" y="375267"/>
                </a:lnTo>
                <a:lnTo>
                  <a:pt x="4267417" y="370827"/>
                </a:lnTo>
                <a:lnTo>
                  <a:pt x="4263944" y="367037"/>
                </a:lnTo>
                <a:lnTo>
                  <a:pt x="4263944" y="362382"/>
                </a:lnTo>
                <a:lnTo>
                  <a:pt x="4266005" y="360866"/>
                </a:lnTo>
                <a:lnTo>
                  <a:pt x="4267958" y="363248"/>
                </a:lnTo>
                <a:lnTo>
                  <a:pt x="4271431" y="364115"/>
                </a:lnTo>
                <a:lnTo>
                  <a:pt x="4270238" y="361190"/>
                </a:lnTo>
                <a:lnTo>
                  <a:pt x="4267633" y="358484"/>
                </a:lnTo>
                <a:close/>
                <a:moveTo>
                  <a:pt x="5404454" y="350365"/>
                </a:moveTo>
                <a:lnTo>
                  <a:pt x="5407819" y="351664"/>
                </a:lnTo>
                <a:lnTo>
                  <a:pt x="5407927" y="354912"/>
                </a:lnTo>
                <a:lnTo>
                  <a:pt x="5405757" y="355455"/>
                </a:lnTo>
                <a:lnTo>
                  <a:pt x="5402501" y="351664"/>
                </a:lnTo>
                <a:close/>
                <a:moveTo>
                  <a:pt x="2763485" y="345925"/>
                </a:moveTo>
                <a:lnTo>
                  <a:pt x="2765655" y="345925"/>
                </a:lnTo>
                <a:lnTo>
                  <a:pt x="2768693" y="347658"/>
                </a:lnTo>
                <a:lnTo>
                  <a:pt x="2768476" y="350580"/>
                </a:lnTo>
                <a:lnTo>
                  <a:pt x="2763810" y="350580"/>
                </a:lnTo>
                <a:lnTo>
                  <a:pt x="2761640" y="347766"/>
                </a:lnTo>
                <a:close/>
                <a:moveTo>
                  <a:pt x="6275083" y="345816"/>
                </a:moveTo>
                <a:lnTo>
                  <a:pt x="6278556" y="346682"/>
                </a:lnTo>
                <a:lnTo>
                  <a:pt x="6284415" y="351772"/>
                </a:lnTo>
                <a:lnTo>
                  <a:pt x="6289950" y="351988"/>
                </a:lnTo>
                <a:lnTo>
                  <a:pt x="6294942" y="353720"/>
                </a:lnTo>
                <a:lnTo>
                  <a:pt x="6301669" y="360216"/>
                </a:lnTo>
                <a:lnTo>
                  <a:pt x="6301344" y="363464"/>
                </a:lnTo>
                <a:lnTo>
                  <a:pt x="6298414" y="363248"/>
                </a:lnTo>
                <a:lnTo>
                  <a:pt x="6293530" y="358808"/>
                </a:lnTo>
                <a:lnTo>
                  <a:pt x="6288105" y="358267"/>
                </a:lnTo>
                <a:lnTo>
                  <a:pt x="6283547" y="354911"/>
                </a:lnTo>
                <a:lnTo>
                  <a:pt x="6278556" y="355019"/>
                </a:lnTo>
                <a:lnTo>
                  <a:pt x="6275843" y="351447"/>
                </a:lnTo>
                <a:lnTo>
                  <a:pt x="6274106" y="347116"/>
                </a:lnTo>
                <a:close/>
                <a:moveTo>
                  <a:pt x="4230087" y="337697"/>
                </a:moveTo>
                <a:lnTo>
                  <a:pt x="4233669" y="338888"/>
                </a:lnTo>
                <a:lnTo>
                  <a:pt x="4238768" y="341811"/>
                </a:lnTo>
                <a:lnTo>
                  <a:pt x="4243760" y="341054"/>
                </a:lnTo>
                <a:lnTo>
                  <a:pt x="4245822" y="342894"/>
                </a:lnTo>
                <a:lnTo>
                  <a:pt x="4243869" y="346250"/>
                </a:lnTo>
                <a:lnTo>
                  <a:pt x="4241807" y="347658"/>
                </a:lnTo>
                <a:lnTo>
                  <a:pt x="4238335" y="346901"/>
                </a:lnTo>
                <a:lnTo>
                  <a:pt x="4230847" y="341054"/>
                </a:lnTo>
                <a:lnTo>
                  <a:pt x="4229002" y="339322"/>
                </a:lnTo>
                <a:close/>
                <a:moveTo>
                  <a:pt x="4693670" y="334665"/>
                </a:moveTo>
                <a:lnTo>
                  <a:pt x="4698879" y="342353"/>
                </a:lnTo>
                <a:lnTo>
                  <a:pt x="4698879" y="347116"/>
                </a:lnTo>
                <a:lnTo>
                  <a:pt x="4704196" y="347982"/>
                </a:lnTo>
                <a:lnTo>
                  <a:pt x="4705390" y="351447"/>
                </a:lnTo>
                <a:lnTo>
                  <a:pt x="4703546" y="354263"/>
                </a:lnTo>
                <a:lnTo>
                  <a:pt x="4696491" y="354263"/>
                </a:lnTo>
                <a:lnTo>
                  <a:pt x="4692910" y="356536"/>
                </a:lnTo>
                <a:lnTo>
                  <a:pt x="4688787" y="356536"/>
                </a:lnTo>
                <a:lnTo>
                  <a:pt x="4687702" y="352422"/>
                </a:lnTo>
                <a:lnTo>
                  <a:pt x="4682927" y="348849"/>
                </a:lnTo>
                <a:lnTo>
                  <a:pt x="4685314" y="347766"/>
                </a:lnTo>
                <a:lnTo>
                  <a:pt x="4690957" y="347766"/>
                </a:lnTo>
                <a:lnTo>
                  <a:pt x="4692476" y="344844"/>
                </a:lnTo>
                <a:lnTo>
                  <a:pt x="4692476" y="336940"/>
                </a:lnTo>
                <a:close/>
                <a:moveTo>
                  <a:pt x="4812495" y="332717"/>
                </a:moveTo>
                <a:lnTo>
                  <a:pt x="4816728" y="332717"/>
                </a:lnTo>
                <a:lnTo>
                  <a:pt x="4821068" y="337155"/>
                </a:lnTo>
                <a:lnTo>
                  <a:pt x="4819006" y="338779"/>
                </a:lnTo>
                <a:lnTo>
                  <a:pt x="4816728" y="337479"/>
                </a:lnTo>
                <a:lnTo>
                  <a:pt x="4811953" y="335965"/>
                </a:lnTo>
                <a:close/>
                <a:moveTo>
                  <a:pt x="2387148" y="331741"/>
                </a:moveTo>
                <a:lnTo>
                  <a:pt x="2390730" y="332932"/>
                </a:lnTo>
                <a:lnTo>
                  <a:pt x="2394203" y="332175"/>
                </a:lnTo>
                <a:lnTo>
                  <a:pt x="2396807" y="332932"/>
                </a:lnTo>
                <a:lnTo>
                  <a:pt x="2397349" y="335531"/>
                </a:lnTo>
                <a:lnTo>
                  <a:pt x="2401473" y="335964"/>
                </a:lnTo>
                <a:lnTo>
                  <a:pt x="2403209" y="334664"/>
                </a:lnTo>
                <a:lnTo>
                  <a:pt x="2406790" y="336722"/>
                </a:lnTo>
                <a:lnTo>
                  <a:pt x="2410371" y="337155"/>
                </a:lnTo>
                <a:lnTo>
                  <a:pt x="2415255" y="343001"/>
                </a:lnTo>
                <a:lnTo>
                  <a:pt x="2418619" y="344951"/>
                </a:lnTo>
                <a:lnTo>
                  <a:pt x="2416774" y="346791"/>
                </a:lnTo>
                <a:lnTo>
                  <a:pt x="2418185" y="349065"/>
                </a:lnTo>
                <a:lnTo>
                  <a:pt x="2421440" y="349065"/>
                </a:lnTo>
                <a:lnTo>
                  <a:pt x="2424913" y="347224"/>
                </a:lnTo>
                <a:lnTo>
                  <a:pt x="2427843" y="351122"/>
                </a:lnTo>
                <a:lnTo>
                  <a:pt x="2430773" y="353504"/>
                </a:lnTo>
                <a:lnTo>
                  <a:pt x="2430231" y="356426"/>
                </a:lnTo>
                <a:lnTo>
                  <a:pt x="2431207" y="358700"/>
                </a:lnTo>
                <a:lnTo>
                  <a:pt x="2429145" y="360541"/>
                </a:lnTo>
                <a:lnTo>
                  <a:pt x="2424045" y="359242"/>
                </a:lnTo>
                <a:lnTo>
                  <a:pt x="2417968" y="364655"/>
                </a:lnTo>
                <a:lnTo>
                  <a:pt x="2413844" y="365738"/>
                </a:lnTo>
                <a:lnTo>
                  <a:pt x="2407984" y="361949"/>
                </a:lnTo>
                <a:lnTo>
                  <a:pt x="2400930" y="361840"/>
                </a:lnTo>
                <a:lnTo>
                  <a:pt x="2394419" y="357185"/>
                </a:lnTo>
                <a:lnTo>
                  <a:pt x="2389102" y="357185"/>
                </a:lnTo>
                <a:lnTo>
                  <a:pt x="2384435" y="354694"/>
                </a:lnTo>
                <a:lnTo>
                  <a:pt x="2381289" y="350580"/>
                </a:lnTo>
                <a:lnTo>
                  <a:pt x="2376297" y="351122"/>
                </a:lnTo>
                <a:lnTo>
                  <a:pt x="2373367" y="350580"/>
                </a:lnTo>
                <a:lnTo>
                  <a:pt x="2372716" y="343543"/>
                </a:lnTo>
                <a:lnTo>
                  <a:pt x="2375212" y="336180"/>
                </a:lnTo>
                <a:lnTo>
                  <a:pt x="2378901" y="332175"/>
                </a:lnTo>
                <a:lnTo>
                  <a:pt x="2383676" y="332390"/>
                </a:lnTo>
                <a:close/>
                <a:moveTo>
                  <a:pt x="2227086" y="327518"/>
                </a:moveTo>
                <a:lnTo>
                  <a:pt x="2234031" y="327518"/>
                </a:lnTo>
                <a:lnTo>
                  <a:pt x="2232295" y="331201"/>
                </a:lnTo>
                <a:lnTo>
                  <a:pt x="2226761" y="332607"/>
                </a:lnTo>
                <a:lnTo>
                  <a:pt x="2223614" y="330334"/>
                </a:lnTo>
                <a:close/>
                <a:moveTo>
                  <a:pt x="4675331" y="327410"/>
                </a:moveTo>
                <a:lnTo>
                  <a:pt x="4679455" y="329793"/>
                </a:lnTo>
                <a:lnTo>
                  <a:pt x="4684772" y="331524"/>
                </a:lnTo>
                <a:lnTo>
                  <a:pt x="4684989" y="335965"/>
                </a:lnTo>
                <a:lnTo>
                  <a:pt x="4682710" y="339862"/>
                </a:lnTo>
                <a:lnTo>
                  <a:pt x="4681733" y="344084"/>
                </a:lnTo>
                <a:lnTo>
                  <a:pt x="4674788" y="340294"/>
                </a:lnTo>
                <a:lnTo>
                  <a:pt x="4673269" y="336180"/>
                </a:lnTo>
                <a:lnTo>
                  <a:pt x="4674246" y="333366"/>
                </a:lnTo>
                <a:close/>
                <a:moveTo>
                  <a:pt x="1962305" y="324162"/>
                </a:moveTo>
                <a:lnTo>
                  <a:pt x="1964367" y="324596"/>
                </a:lnTo>
                <a:lnTo>
                  <a:pt x="1962956" y="328060"/>
                </a:lnTo>
                <a:lnTo>
                  <a:pt x="1955903" y="333474"/>
                </a:lnTo>
                <a:lnTo>
                  <a:pt x="1948524" y="338237"/>
                </a:lnTo>
                <a:lnTo>
                  <a:pt x="1934308" y="348956"/>
                </a:lnTo>
                <a:lnTo>
                  <a:pt x="1929751" y="354694"/>
                </a:lnTo>
                <a:lnTo>
                  <a:pt x="1925953" y="355994"/>
                </a:lnTo>
                <a:lnTo>
                  <a:pt x="1923131" y="355994"/>
                </a:lnTo>
                <a:lnTo>
                  <a:pt x="1920960" y="359025"/>
                </a:lnTo>
                <a:lnTo>
                  <a:pt x="1918899" y="359241"/>
                </a:lnTo>
                <a:lnTo>
                  <a:pt x="1916945" y="354044"/>
                </a:lnTo>
                <a:lnTo>
                  <a:pt x="1913907" y="353179"/>
                </a:lnTo>
                <a:lnTo>
                  <a:pt x="1911303" y="353936"/>
                </a:lnTo>
                <a:lnTo>
                  <a:pt x="1909241" y="352312"/>
                </a:lnTo>
                <a:lnTo>
                  <a:pt x="1911845" y="347007"/>
                </a:lnTo>
                <a:lnTo>
                  <a:pt x="1921286" y="339103"/>
                </a:lnTo>
                <a:lnTo>
                  <a:pt x="1927797" y="337047"/>
                </a:lnTo>
                <a:lnTo>
                  <a:pt x="1931812" y="333798"/>
                </a:lnTo>
                <a:lnTo>
                  <a:pt x="1934742" y="333474"/>
                </a:lnTo>
                <a:lnTo>
                  <a:pt x="1941145" y="328926"/>
                </a:lnTo>
                <a:lnTo>
                  <a:pt x="1948198" y="327735"/>
                </a:lnTo>
                <a:lnTo>
                  <a:pt x="1951779" y="325895"/>
                </a:lnTo>
                <a:lnTo>
                  <a:pt x="1954167" y="326219"/>
                </a:lnTo>
                <a:close/>
                <a:moveTo>
                  <a:pt x="2534405" y="323839"/>
                </a:moveTo>
                <a:lnTo>
                  <a:pt x="2536141" y="325138"/>
                </a:lnTo>
                <a:lnTo>
                  <a:pt x="2534405" y="328169"/>
                </a:lnTo>
                <a:lnTo>
                  <a:pt x="2533862" y="330876"/>
                </a:lnTo>
                <a:lnTo>
                  <a:pt x="2528979" y="335315"/>
                </a:lnTo>
                <a:lnTo>
                  <a:pt x="2527026" y="335748"/>
                </a:lnTo>
                <a:lnTo>
                  <a:pt x="2527786" y="331526"/>
                </a:lnTo>
                <a:lnTo>
                  <a:pt x="2530932" y="328386"/>
                </a:lnTo>
                <a:lnTo>
                  <a:pt x="2531366" y="325246"/>
                </a:lnTo>
                <a:close/>
                <a:moveTo>
                  <a:pt x="6400746" y="322755"/>
                </a:moveTo>
                <a:lnTo>
                  <a:pt x="6404327" y="322755"/>
                </a:lnTo>
                <a:lnTo>
                  <a:pt x="6411054" y="325462"/>
                </a:lnTo>
                <a:lnTo>
                  <a:pt x="6414202" y="323405"/>
                </a:lnTo>
                <a:lnTo>
                  <a:pt x="6418434" y="323405"/>
                </a:lnTo>
                <a:lnTo>
                  <a:pt x="6423101" y="328061"/>
                </a:lnTo>
                <a:lnTo>
                  <a:pt x="6429720" y="329793"/>
                </a:lnTo>
                <a:lnTo>
                  <a:pt x="6436014" y="330334"/>
                </a:lnTo>
                <a:lnTo>
                  <a:pt x="6445671" y="338021"/>
                </a:lnTo>
                <a:lnTo>
                  <a:pt x="6451423" y="345383"/>
                </a:lnTo>
                <a:lnTo>
                  <a:pt x="6453485" y="349931"/>
                </a:lnTo>
                <a:lnTo>
                  <a:pt x="6457718" y="353505"/>
                </a:lnTo>
                <a:lnTo>
                  <a:pt x="6453485" y="357293"/>
                </a:lnTo>
                <a:lnTo>
                  <a:pt x="6448601" y="356101"/>
                </a:lnTo>
                <a:lnTo>
                  <a:pt x="6441005" y="356752"/>
                </a:lnTo>
                <a:lnTo>
                  <a:pt x="6436556" y="359675"/>
                </a:lnTo>
                <a:lnTo>
                  <a:pt x="6425596" y="359567"/>
                </a:lnTo>
                <a:lnTo>
                  <a:pt x="6418977" y="360867"/>
                </a:lnTo>
                <a:lnTo>
                  <a:pt x="6409318" y="360758"/>
                </a:lnTo>
                <a:lnTo>
                  <a:pt x="6402156" y="359135"/>
                </a:lnTo>
                <a:lnTo>
                  <a:pt x="6394886" y="363465"/>
                </a:lnTo>
                <a:lnTo>
                  <a:pt x="6391304" y="368987"/>
                </a:lnTo>
                <a:lnTo>
                  <a:pt x="6388158" y="370719"/>
                </a:lnTo>
                <a:lnTo>
                  <a:pt x="6384685" y="370176"/>
                </a:lnTo>
                <a:lnTo>
                  <a:pt x="6385011" y="366063"/>
                </a:lnTo>
                <a:lnTo>
                  <a:pt x="6389894" y="361948"/>
                </a:lnTo>
                <a:lnTo>
                  <a:pt x="6393041" y="350580"/>
                </a:lnTo>
                <a:lnTo>
                  <a:pt x="6393150" y="340620"/>
                </a:lnTo>
                <a:lnTo>
                  <a:pt x="6391630" y="335423"/>
                </a:lnTo>
                <a:lnTo>
                  <a:pt x="6396947" y="327953"/>
                </a:lnTo>
                <a:close/>
                <a:moveTo>
                  <a:pt x="1896437" y="318748"/>
                </a:moveTo>
                <a:lnTo>
                  <a:pt x="1896437" y="320913"/>
                </a:lnTo>
                <a:lnTo>
                  <a:pt x="1891554" y="324486"/>
                </a:lnTo>
                <a:lnTo>
                  <a:pt x="1891554" y="322646"/>
                </a:lnTo>
                <a:close/>
                <a:moveTo>
                  <a:pt x="4826710" y="316910"/>
                </a:moveTo>
                <a:lnTo>
                  <a:pt x="4830943" y="319183"/>
                </a:lnTo>
                <a:lnTo>
                  <a:pt x="4832787" y="326221"/>
                </a:lnTo>
                <a:lnTo>
                  <a:pt x="4828881" y="333257"/>
                </a:lnTo>
                <a:lnTo>
                  <a:pt x="4823021" y="332717"/>
                </a:lnTo>
                <a:lnTo>
                  <a:pt x="4819006" y="328603"/>
                </a:lnTo>
                <a:lnTo>
                  <a:pt x="4813689" y="325679"/>
                </a:lnTo>
                <a:lnTo>
                  <a:pt x="4814014" y="322756"/>
                </a:lnTo>
                <a:lnTo>
                  <a:pt x="4820742" y="318425"/>
                </a:lnTo>
                <a:close/>
                <a:moveTo>
                  <a:pt x="4737836" y="316585"/>
                </a:moveTo>
                <a:lnTo>
                  <a:pt x="4740657" y="317558"/>
                </a:lnTo>
                <a:lnTo>
                  <a:pt x="4742718" y="321131"/>
                </a:lnTo>
                <a:lnTo>
                  <a:pt x="4742501" y="325787"/>
                </a:lnTo>
                <a:lnTo>
                  <a:pt x="4739572" y="324596"/>
                </a:lnTo>
                <a:lnTo>
                  <a:pt x="4738053" y="320483"/>
                </a:lnTo>
                <a:close/>
                <a:moveTo>
                  <a:pt x="4726009" y="316151"/>
                </a:moveTo>
                <a:lnTo>
                  <a:pt x="4729807" y="320483"/>
                </a:lnTo>
                <a:lnTo>
                  <a:pt x="4733171" y="320374"/>
                </a:lnTo>
                <a:lnTo>
                  <a:pt x="4734256" y="324489"/>
                </a:lnTo>
                <a:lnTo>
                  <a:pt x="4731977" y="330011"/>
                </a:lnTo>
                <a:lnTo>
                  <a:pt x="4727203" y="333366"/>
                </a:lnTo>
                <a:lnTo>
                  <a:pt x="4720149" y="331634"/>
                </a:lnTo>
                <a:lnTo>
                  <a:pt x="4718087" y="328929"/>
                </a:lnTo>
                <a:lnTo>
                  <a:pt x="4722210" y="325790"/>
                </a:lnTo>
                <a:lnTo>
                  <a:pt x="4722210" y="322432"/>
                </a:lnTo>
                <a:lnTo>
                  <a:pt x="4719823" y="318641"/>
                </a:lnTo>
                <a:lnTo>
                  <a:pt x="4723187" y="316369"/>
                </a:lnTo>
                <a:close/>
                <a:moveTo>
                  <a:pt x="2014611" y="313876"/>
                </a:moveTo>
                <a:lnTo>
                  <a:pt x="2018735" y="314850"/>
                </a:lnTo>
                <a:lnTo>
                  <a:pt x="2026331" y="314525"/>
                </a:lnTo>
                <a:lnTo>
                  <a:pt x="2031214" y="318640"/>
                </a:lnTo>
                <a:lnTo>
                  <a:pt x="2033276" y="325895"/>
                </a:lnTo>
                <a:lnTo>
                  <a:pt x="2029478" y="327952"/>
                </a:lnTo>
                <a:lnTo>
                  <a:pt x="2025680" y="333798"/>
                </a:lnTo>
                <a:lnTo>
                  <a:pt x="2026982" y="337912"/>
                </a:lnTo>
                <a:lnTo>
                  <a:pt x="2036206" y="337371"/>
                </a:lnTo>
                <a:lnTo>
                  <a:pt x="2039136" y="335531"/>
                </a:lnTo>
                <a:lnTo>
                  <a:pt x="2042065" y="337371"/>
                </a:lnTo>
                <a:lnTo>
                  <a:pt x="2044996" y="337371"/>
                </a:lnTo>
                <a:lnTo>
                  <a:pt x="2046515" y="340511"/>
                </a:lnTo>
                <a:lnTo>
                  <a:pt x="2047275" y="343218"/>
                </a:lnTo>
                <a:lnTo>
                  <a:pt x="2049988" y="345925"/>
                </a:lnTo>
                <a:lnTo>
                  <a:pt x="2049662" y="349281"/>
                </a:lnTo>
                <a:lnTo>
                  <a:pt x="2046732" y="350796"/>
                </a:lnTo>
                <a:lnTo>
                  <a:pt x="2044996" y="354044"/>
                </a:lnTo>
                <a:lnTo>
                  <a:pt x="2049120" y="359350"/>
                </a:lnTo>
                <a:lnTo>
                  <a:pt x="2049771" y="369202"/>
                </a:lnTo>
                <a:lnTo>
                  <a:pt x="2048143" y="372451"/>
                </a:lnTo>
                <a:lnTo>
                  <a:pt x="2043260" y="370935"/>
                </a:lnTo>
                <a:lnTo>
                  <a:pt x="2038919" y="372667"/>
                </a:lnTo>
                <a:lnTo>
                  <a:pt x="2040112" y="375590"/>
                </a:lnTo>
                <a:lnTo>
                  <a:pt x="2044453" y="374616"/>
                </a:lnTo>
                <a:lnTo>
                  <a:pt x="2049771" y="376890"/>
                </a:lnTo>
                <a:lnTo>
                  <a:pt x="2053026" y="376890"/>
                </a:lnTo>
                <a:lnTo>
                  <a:pt x="2049771" y="386742"/>
                </a:lnTo>
                <a:lnTo>
                  <a:pt x="2046190" y="389774"/>
                </a:lnTo>
                <a:lnTo>
                  <a:pt x="2045864" y="398436"/>
                </a:lnTo>
                <a:lnTo>
                  <a:pt x="2048468" y="399735"/>
                </a:lnTo>
                <a:lnTo>
                  <a:pt x="2053786" y="398436"/>
                </a:lnTo>
                <a:lnTo>
                  <a:pt x="2056499" y="395188"/>
                </a:lnTo>
                <a:lnTo>
                  <a:pt x="2058560" y="397245"/>
                </a:lnTo>
                <a:lnTo>
                  <a:pt x="2059645" y="400601"/>
                </a:lnTo>
                <a:lnTo>
                  <a:pt x="2064963" y="401359"/>
                </a:lnTo>
                <a:lnTo>
                  <a:pt x="2067676" y="400601"/>
                </a:lnTo>
                <a:lnTo>
                  <a:pt x="2076357" y="402874"/>
                </a:lnTo>
                <a:lnTo>
                  <a:pt x="2079830" y="408180"/>
                </a:lnTo>
                <a:lnTo>
                  <a:pt x="2082868" y="407206"/>
                </a:lnTo>
                <a:lnTo>
                  <a:pt x="2082217" y="404066"/>
                </a:lnTo>
                <a:lnTo>
                  <a:pt x="2080698" y="402659"/>
                </a:lnTo>
                <a:lnTo>
                  <a:pt x="2087860" y="399085"/>
                </a:lnTo>
                <a:lnTo>
                  <a:pt x="2086015" y="391181"/>
                </a:lnTo>
                <a:lnTo>
                  <a:pt x="2081675" y="386418"/>
                </a:lnTo>
                <a:lnTo>
                  <a:pt x="2082000" y="382953"/>
                </a:lnTo>
                <a:lnTo>
                  <a:pt x="2079287" y="378947"/>
                </a:lnTo>
                <a:lnTo>
                  <a:pt x="2081457" y="376565"/>
                </a:lnTo>
                <a:lnTo>
                  <a:pt x="2084387" y="376565"/>
                </a:lnTo>
                <a:lnTo>
                  <a:pt x="2091333" y="373858"/>
                </a:lnTo>
                <a:lnTo>
                  <a:pt x="2096324" y="374292"/>
                </a:lnTo>
                <a:lnTo>
                  <a:pt x="2098712" y="367578"/>
                </a:lnTo>
                <a:lnTo>
                  <a:pt x="2095673" y="360541"/>
                </a:lnTo>
                <a:lnTo>
                  <a:pt x="2093394" y="358159"/>
                </a:lnTo>
                <a:lnTo>
                  <a:pt x="2093720" y="352854"/>
                </a:lnTo>
                <a:lnTo>
                  <a:pt x="2091549" y="347223"/>
                </a:lnTo>
                <a:lnTo>
                  <a:pt x="2095782" y="341160"/>
                </a:lnTo>
                <a:lnTo>
                  <a:pt x="2099580" y="338778"/>
                </a:lnTo>
                <a:lnTo>
                  <a:pt x="2101967" y="339645"/>
                </a:lnTo>
                <a:lnTo>
                  <a:pt x="2106850" y="339754"/>
                </a:lnTo>
                <a:lnTo>
                  <a:pt x="2105656" y="337047"/>
                </a:lnTo>
                <a:lnTo>
                  <a:pt x="2107718" y="332932"/>
                </a:lnTo>
                <a:lnTo>
                  <a:pt x="2113253" y="330983"/>
                </a:lnTo>
                <a:lnTo>
                  <a:pt x="2123888" y="321023"/>
                </a:lnTo>
                <a:lnTo>
                  <a:pt x="2127034" y="321347"/>
                </a:lnTo>
                <a:lnTo>
                  <a:pt x="2133762" y="324595"/>
                </a:lnTo>
                <a:lnTo>
                  <a:pt x="2132677" y="327411"/>
                </a:lnTo>
                <a:lnTo>
                  <a:pt x="2134631" y="331201"/>
                </a:lnTo>
                <a:lnTo>
                  <a:pt x="2133220" y="334123"/>
                </a:lnTo>
                <a:lnTo>
                  <a:pt x="2128879" y="334231"/>
                </a:lnTo>
                <a:lnTo>
                  <a:pt x="2126166" y="337047"/>
                </a:lnTo>
                <a:lnTo>
                  <a:pt x="2126166" y="340836"/>
                </a:lnTo>
                <a:lnTo>
                  <a:pt x="2124755" y="345492"/>
                </a:lnTo>
                <a:lnTo>
                  <a:pt x="2124755" y="351338"/>
                </a:lnTo>
                <a:lnTo>
                  <a:pt x="2126166" y="353070"/>
                </a:lnTo>
                <a:lnTo>
                  <a:pt x="2126166" y="364547"/>
                </a:lnTo>
                <a:lnTo>
                  <a:pt x="2123888" y="366604"/>
                </a:lnTo>
                <a:lnTo>
                  <a:pt x="2121500" y="366604"/>
                </a:lnTo>
                <a:lnTo>
                  <a:pt x="2114772" y="372667"/>
                </a:lnTo>
                <a:lnTo>
                  <a:pt x="2110974" y="375374"/>
                </a:lnTo>
                <a:lnTo>
                  <a:pt x="2110974" y="377106"/>
                </a:lnTo>
                <a:lnTo>
                  <a:pt x="2113361" y="377215"/>
                </a:lnTo>
                <a:lnTo>
                  <a:pt x="2117485" y="376024"/>
                </a:lnTo>
                <a:lnTo>
                  <a:pt x="2124430" y="376457"/>
                </a:lnTo>
                <a:lnTo>
                  <a:pt x="2125623" y="378838"/>
                </a:lnTo>
                <a:lnTo>
                  <a:pt x="2122151" y="384144"/>
                </a:lnTo>
                <a:lnTo>
                  <a:pt x="2114555" y="388475"/>
                </a:lnTo>
                <a:lnTo>
                  <a:pt x="2108044" y="394322"/>
                </a:lnTo>
                <a:lnTo>
                  <a:pt x="2106525" y="398544"/>
                </a:lnTo>
                <a:lnTo>
                  <a:pt x="2108369" y="400926"/>
                </a:lnTo>
                <a:lnTo>
                  <a:pt x="2110648" y="396487"/>
                </a:lnTo>
                <a:lnTo>
                  <a:pt x="2118895" y="392698"/>
                </a:lnTo>
                <a:lnTo>
                  <a:pt x="2121934" y="389666"/>
                </a:lnTo>
                <a:lnTo>
                  <a:pt x="2124864" y="388475"/>
                </a:lnTo>
                <a:lnTo>
                  <a:pt x="2131266" y="391506"/>
                </a:lnTo>
                <a:lnTo>
                  <a:pt x="2130616" y="397569"/>
                </a:lnTo>
                <a:lnTo>
                  <a:pt x="2127034" y="404390"/>
                </a:lnTo>
                <a:lnTo>
                  <a:pt x="2128011" y="406989"/>
                </a:lnTo>
                <a:lnTo>
                  <a:pt x="2132460" y="402225"/>
                </a:lnTo>
                <a:lnTo>
                  <a:pt x="2136259" y="402659"/>
                </a:lnTo>
                <a:lnTo>
                  <a:pt x="2137127" y="399952"/>
                </a:lnTo>
                <a:lnTo>
                  <a:pt x="2136150" y="398761"/>
                </a:lnTo>
                <a:lnTo>
                  <a:pt x="2138863" y="394322"/>
                </a:lnTo>
                <a:lnTo>
                  <a:pt x="2139622" y="389449"/>
                </a:lnTo>
                <a:lnTo>
                  <a:pt x="2147001" y="384144"/>
                </a:lnTo>
                <a:lnTo>
                  <a:pt x="2149931" y="383927"/>
                </a:lnTo>
                <a:lnTo>
                  <a:pt x="2155791" y="387717"/>
                </a:lnTo>
                <a:lnTo>
                  <a:pt x="2158504" y="395295"/>
                </a:lnTo>
                <a:lnTo>
                  <a:pt x="2160566" y="398869"/>
                </a:lnTo>
                <a:lnTo>
                  <a:pt x="2159264" y="405581"/>
                </a:lnTo>
                <a:lnTo>
                  <a:pt x="2153187" y="416841"/>
                </a:lnTo>
                <a:lnTo>
                  <a:pt x="2147653" y="421606"/>
                </a:lnTo>
                <a:lnTo>
                  <a:pt x="2143203" y="423663"/>
                </a:lnTo>
                <a:lnTo>
                  <a:pt x="2139948" y="423988"/>
                </a:lnTo>
                <a:lnTo>
                  <a:pt x="2138754" y="426045"/>
                </a:lnTo>
                <a:lnTo>
                  <a:pt x="2139405" y="429726"/>
                </a:lnTo>
                <a:lnTo>
                  <a:pt x="2134414" y="436547"/>
                </a:lnTo>
                <a:lnTo>
                  <a:pt x="2130616" y="436763"/>
                </a:lnTo>
                <a:lnTo>
                  <a:pt x="2126166" y="440012"/>
                </a:lnTo>
                <a:lnTo>
                  <a:pt x="2126275" y="443909"/>
                </a:lnTo>
                <a:lnTo>
                  <a:pt x="2124538" y="446400"/>
                </a:lnTo>
                <a:lnTo>
                  <a:pt x="2121825" y="446507"/>
                </a:lnTo>
                <a:lnTo>
                  <a:pt x="2119655" y="447807"/>
                </a:lnTo>
                <a:lnTo>
                  <a:pt x="2119655" y="450406"/>
                </a:lnTo>
                <a:lnTo>
                  <a:pt x="2117485" y="451597"/>
                </a:lnTo>
                <a:lnTo>
                  <a:pt x="2114121" y="448781"/>
                </a:lnTo>
                <a:lnTo>
                  <a:pt x="2109998" y="450622"/>
                </a:lnTo>
                <a:lnTo>
                  <a:pt x="2106633" y="449864"/>
                </a:lnTo>
                <a:lnTo>
                  <a:pt x="2098820" y="453762"/>
                </a:lnTo>
                <a:lnTo>
                  <a:pt x="2091766" y="454845"/>
                </a:lnTo>
                <a:lnTo>
                  <a:pt x="2086123" y="452354"/>
                </a:lnTo>
                <a:lnTo>
                  <a:pt x="2084821" y="449215"/>
                </a:lnTo>
                <a:lnTo>
                  <a:pt x="2087643" y="445317"/>
                </a:lnTo>
                <a:lnTo>
                  <a:pt x="2087209" y="442502"/>
                </a:lnTo>
                <a:lnTo>
                  <a:pt x="2085690" y="442177"/>
                </a:lnTo>
                <a:lnTo>
                  <a:pt x="2080698" y="444450"/>
                </a:lnTo>
                <a:lnTo>
                  <a:pt x="2079612" y="447374"/>
                </a:lnTo>
                <a:lnTo>
                  <a:pt x="2075923" y="448781"/>
                </a:lnTo>
                <a:lnTo>
                  <a:pt x="2069955" y="446940"/>
                </a:lnTo>
                <a:lnTo>
                  <a:pt x="2069955" y="444126"/>
                </a:lnTo>
                <a:lnTo>
                  <a:pt x="2071908" y="441636"/>
                </a:lnTo>
                <a:lnTo>
                  <a:pt x="2070606" y="438171"/>
                </a:lnTo>
                <a:lnTo>
                  <a:pt x="2067459" y="437089"/>
                </a:lnTo>
                <a:lnTo>
                  <a:pt x="2067133" y="439903"/>
                </a:lnTo>
                <a:lnTo>
                  <a:pt x="2064312" y="441744"/>
                </a:lnTo>
                <a:lnTo>
                  <a:pt x="2060839" y="441744"/>
                </a:lnTo>
                <a:lnTo>
                  <a:pt x="2053243" y="445101"/>
                </a:lnTo>
                <a:lnTo>
                  <a:pt x="2050964" y="446940"/>
                </a:lnTo>
                <a:lnTo>
                  <a:pt x="2045972" y="446832"/>
                </a:lnTo>
                <a:lnTo>
                  <a:pt x="2044237" y="445209"/>
                </a:lnTo>
                <a:lnTo>
                  <a:pt x="2038159" y="445966"/>
                </a:lnTo>
                <a:lnTo>
                  <a:pt x="2035229" y="443801"/>
                </a:lnTo>
                <a:lnTo>
                  <a:pt x="2033276" y="446616"/>
                </a:lnTo>
                <a:lnTo>
                  <a:pt x="2029803" y="446400"/>
                </a:lnTo>
                <a:lnTo>
                  <a:pt x="2026440" y="448024"/>
                </a:lnTo>
                <a:lnTo>
                  <a:pt x="2025680" y="451813"/>
                </a:lnTo>
                <a:lnTo>
                  <a:pt x="2023292" y="453762"/>
                </a:lnTo>
                <a:lnTo>
                  <a:pt x="2017649" y="453870"/>
                </a:lnTo>
                <a:lnTo>
                  <a:pt x="2016564" y="456360"/>
                </a:lnTo>
                <a:lnTo>
                  <a:pt x="2011681" y="457877"/>
                </a:lnTo>
                <a:lnTo>
                  <a:pt x="2010053" y="457118"/>
                </a:lnTo>
                <a:lnTo>
                  <a:pt x="2005062" y="459283"/>
                </a:lnTo>
                <a:lnTo>
                  <a:pt x="1999744" y="459283"/>
                </a:lnTo>
                <a:lnTo>
                  <a:pt x="1998117" y="456685"/>
                </a:lnTo>
                <a:lnTo>
                  <a:pt x="1991606" y="456794"/>
                </a:lnTo>
                <a:lnTo>
                  <a:pt x="1985312" y="458742"/>
                </a:lnTo>
                <a:lnTo>
                  <a:pt x="1978258" y="458742"/>
                </a:lnTo>
                <a:lnTo>
                  <a:pt x="1971204" y="455278"/>
                </a:lnTo>
                <a:lnTo>
                  <a:pt x="1965019" y="454087"/>
                </a:lnTo>
                <a:lnTo>
                  <a:pt x="1961981" y="449648"/>
                </a:lnTo>
                <a:lnTo>
                  <a:pt x="1957314" y="444667"/>
                </a:lnTo>
                <a:lnTo>
                  <a:pt x="1958725" y="439470"/>
                </a:lnTo>
                <a:lnTo>
                  <a:pt x="1958074" y="435789"/>
                </a:lnTo>
                <a:lnTo>
                  <a:pt x="1958725" y="428210"/>
                </a:lnTo>
                <a:lnTo>
                  <a:pt x="1965887" y="426802"/>
                </a:lnTo>
                <a:lnTo>
                  <a:pt x="1973158" y="428860"/>
                </a:lnTo>
                <a:lnTo>
                  <a:pt x="1976631" y="426478"/>
                </a:lnTo>
                <a:lnTo>
                  <a:pt x="1982165" y="427777"/>
                </a:lnTo>
                <a:lnTo>
                  <a:pt x="1986614" y="427128"/>
                </a:lnTo>
                <a:lnTo>
                  <a:pt x="1992908" y="423663"/>
                </a:lnTo>
                <a:lnTo>
                  <a:pt x="2000395" y="423663"/>
                </a:lnTo>
                <a:lnTo>
                  <a:pt x="2007666" y="426478"/>
                </a:lnTo>
                <a:lnTo>
                  <a:pt x="2013526" y="426478"/>
                </a:lnTo>
                <a:lnTo>
                  <a:pt x="2016673" y="427777"/>
                </a:lnTo>
                <a:lnTo>
                  <a:pt x="2020471" y="424420"/>
                </a:lnTo>
                <a:lnTo>
                  <a:pt x="2032191" y="423988"/>
                </a:lnTo>
                <a:lnTo>
                  <a:pt x="2033276" y="420956"/>
                </a:lnTo>
                <a:lnTo>
                  <a:pt x="2035989" y="418574"/>
                </a:lnTo>
                <a:lnTo>
                  <a:pt x="2034253" y="416084"/>
                </a:lnTo>
                <a:lnTo>
                  <a:pt x="2031214" y="419549"/>
                </a:lnTo>
                <a:lnTo>
                  <a:pt x="2024595" y="419549"/>
                </a:lnTo>
                <a:lnTo>
                  <a:pt x="2024269" y="416841"/>
                </a:lnTo>
                <a:lnTo>
                  <a:pt x="2017324" y="419873"/>
                </a:lnTo>
                <a:lnTo>
                  <a:pt x="2011464" y="419873"/>
                </a:lnTo>
                <a:lnTo>
                  <a:pt x="2011464" y="416084"/>
                </a:lnTo>
                <a:lnTo>
                  <a:pt x="2008426" y="413702"/>
                </a:lnTo>
                <a:lnTo>
                  <a:pt x="2004953" y="416517"/>
                </a:lnTo>
                <a:lnTo>
                  <a:pt x="1999744" y="417166"/>
                </a:lnTo>
                <a:lnTo>
                  <a:pt x="1995946" y="418141"/>
                </a:lnTo>
                <a:lnTo>
                  <a:pt x="1993559" y="416517"/>
                </a:lnTo>
                <a:lnTo>
                  <a:pt x="1989110" y="417491"/>
                </a:lnTo>
                <a:lnTo>
                  <a:pt x="1983141" y="415759"/>
                </a:lnTo>
                <a:lnTo>
                  <a:pt x="1983141" y="411645"/>
                </a:lnTo>
                <a:lnTo>
                  <a:pt x="1988350" y="407855"/>
                </a:lnTo>
                <a:lnTo>
                  <a:pt x="1993884" y="403741"/>
                </a:lnTo>
                <a:lnTo>
                  <a:pt x="1990846" y="403416"/>
                </a:lnTo>
                <a:lnTo>
                  <a:pt x="1985637" y="404390"/>
                </a:lnTo>
                <a:lnTo>
                  <a:pt x="1982490" y="408180"/>
                </a:lnTo>
                <a:lnTo>
                  <a:pt x="1980102" y="403092"/>
                </a:lnTo>
                <a:lnTo>
                  <a:pt x="1978366" y="405040"/>
                </a:lnTo>
                <a:lnTo>
                  <a:pt x="1977716" y="409587"/>
                </a:lnTo>
                <a:lnTo>
                  <a:pt x="1969685" y="413702"/>
                </a:lnTo>
                <a:lnTo>
                  <a:pt x="1968383" y="416841"/>
                </a:lnTo>
                <a:lnTo>
                  <a:pt x="1964259" y="417816"/>
                </a:lnTo>
                <a:lnTo>
                  <a:pt x="1958725" y="414026"/>
                </a:lnTo>
                <a:lnTo>
                  <a:pt x="1959051" y="410237"/>
                </a:lnTo>
                <a:lnTo>
                  <a:pt x="1961438" y="406773"/>
                </a:lnTo>
                <a:lnTo>
                  <a:pt x="1957314" y="407206"/>
                </a:lnTo>
                <a:lnTo>
                  <a:pt x="1955252" y="405473"/>
                </a:lnTo>
                <a:lnTo>
                  <a:pt x="1954601" y="411645"/>
                </a:lnTo>
                <a:lnTo>
                  <a:pt x="1951455" y="414026"/>
                </a:lnTo>
                <a:lnTo>
                  <a:pt x="1947005" y="411969"/>
                </a:lnTo>
                <a:lnTo>
                  <a:pt x="1947331" y="406448"/>
                </a:lnTo>
                <a:lnTo>
                  <a:pt x="1942122" y="402659"/>
                </a:lnTo>
                <a:lnTo>
                  <a:pt x="1943532" y="398869"/>
                </a:lnTo>
                <a:lnTo>
                  <a:pt x="1940711" y="397894"/>
                </a:lnTo>
                <a:lnTo>
                  <a:pt x="1940060" y="402659"/>
                </a:lnTo>
                <a:lnTo>
                  <a:pt x="1937347" y="402333"/>
                </a:lnTo>
                <a:lnTo>
                  <a:pt x="1932464" y="395404"/>
                </a:lnTo>
                <a:lnTo>
                  <a:pt x="1924217" y="390316"/>
                </a:lnTo>
                <a:lnTo>
                  <a:pt x="1924217" y="388259"/>
                </a:lnTo>
                <a:lnTo>
                  <a:pt x="1929751" y="387933"/>
                </a:lnTo>
                <a:lnTo>
                  <a:pt x="1929751" y="383386"/>
                </a:lnTo>
                <a:lnTo>
                  <a:pt x="1927580" y="380355"/>
                </a:lnTo>
                <a:lnTo>
                  <a:pt x="1936913" y="374075"/>
                </a:lnTo>
                <a:lnTo>
                  <a:pt x="1942122" y="372776"/>
                </a:lnTo>
                <a:lnTo>
                  <a:pt x="1944509" y="374075"/>
                </a:lnTo>
                <a:lnTo>
                  <a:pt x="1953191" y="373749"/>
                </a:lnTo>
                <a:lnTo>
                  <a:pt x="1959051" y="377540"/>
                </a:lnTo>
                <a:lnTo>
                  <a:pt x="1964910" y="378297"/>
                </a:lnTo>
                <a:lnTo>
                  <a:pt x="1968383" y="375482"/>
                </a:lnTo>
                <a:lnTo>
                  <a:pt x="1974243" y="375157"/>
                </a:lnTo>
                <a:lnTo>
                  <a:pt x="1979777" y="371367"/>
                </a:lnTo>
                <a:lnTo>
                  <a:pt x="1976304" y="368987"/>
                </a:lnTo>
                <a:lnTo>
                  <a:pt x="1973917" y="366929"/>
                </a:lnTo>
                <a:lnTo>
                  <a:pt x="1968708" y="366929"/>
                </a:lnTo>
                <a:lnTo>
                  <a:pt x="1963825" y="368228"/>
                </a:lnTo>
                <a:lnTo>
                  <a:pt x="1955904" y="365197"/>
                </a:lnTo>
                <a:lnTo>
                  <a:pt x="1950803" y="365197"/>
                </a:lnTo>
                <a:lnTo>
                  <a:pt x="1949393" y="363464"/>
                </a:lnTo>
                <a:lnTo>
                  <a:pt x="1956229" y="356860"/>
                </a:lnTo>
                <a:lnTo>
                  <a:pt x="1961764" y="350364"/>
                </a:lnTo>
                <a:lnTo>
                  <a:pt x="1966647" y="349714"/>
                </a:lnTo>
                <a:lnTo>
                  <a:pt x="1969685" y="350688"/>
                </a:lnTo>
                <a:lnTo>
                  <a:pt x="1978692" y="348956"/>
                </a:lnTo>
                <a:lnTo>
                  <a:pt x="1989110" y="350039"/>
                </a:lnTo>
                <a:lnTo>
                  <a:pt x="1994969" y="351771"/>
                </a:lnTo>
                <a:lnTo>
                  <a:pt x="1997357" y="350688"/>
                </a:lnTo>
                <a:lnTo>
                  <a:pt x="1995946" y="347982"/>
                </a:lnTo>
                <a:lnTo>
                  <a:pt x="1993233" y="347982"/>
                </a:lnTo>
                <a:lnTo>
                  <a:pt x="1988350" y="345492"/>
                </a:lnTo>
                <a:lnTo>
                  <a:pt x="1983575" y="345492"/>
                </a:lnTo>
                <a:lnTo>
                  <a:pt x="1973917" y="342784"/>
                </a:lnTo>
                <a:lnTo>
                  <a:pt x="1970770" y="338671"/>
                </a:lnTo>
                <a:lnTo>
                  <a:pt x="1976304" y="334556"/>
                </a:lnTo>
                <a:lnTo>
                  <a:pt x="1979017" y="330334"/>
                </a:lnTo>
                <a:lnTo>
                  <a:pt x="1982165" y="327952"/>
                </a:lnTo>
                <a:lnTo>
                  <a:pt x="1985312" y="327952"/>
                </a:lnTo>
                <a:lnTo>
                  <a:pt x="1990846" y="325246"/>
                </a:lnTo>
                <a:lnTo>
                  <a:pt x="1994969" y="325246"/>
                </a:lnTo>
                <a:lnTo>
                  <a:pt x="1996706" y="327627"/>
                </a:lnTo>
                <a:lnTo>
                  <a:pt x="2000829" y="327627"/>
                </a:lnTo>
                <a:lnTo>
                  <a:pt x="2005930" y="332065"/>
                </a:lnTo>
                <a:lnTo>
                  <a:pt x="2009077" y="333473"/>
                </a:lnTo>
                <a:lnTo>
                  <a:pt x="2007015" y="329034"/>
                </a:lnTo>
                <a:lnTo>
                  <a:pt x="2001806" y="325246"/>
                </a:lnTo>
                <a:lnTo>
                  <a:pt x="2001155" y="321455"/>
                </a:lnTo>
                <a:lnTo>
                  <a:pt x="1999093" y="319399"/>
                </a:lnTo>
                <a:lnTo>
                  <a:pt x="2001806" y="316583"/>
                </a:lnTo>
                <a:close/>
                <a:moveTo>
                  <a:pt x="4755850" y="309763"/>
                </a:moveTo>
                <a:lnTo>
                  <a:pt x="4757912" y="312470"/>
                </a:lnTo>
                <a:lnTo>
                  <a:pt x="4758563" y="316151"/>
                </a:lnTo>
                <a:lnTo>
                  <a:pt x="4757043" y="318858"/>
                </a:lnTo>
                <a:lnTo>
                  <a:pt x="4753680" y="319618"/>
                </a:lnTo>
                <a:lnTo>
                  <a:pt x="4748688" y="318208"/>
                </a:lnTo>
                <a:lnTo>
                  <a:pt x="4747386" y="315177"/>
                </a:lnTo>
                <a:lnTo>
                  <a:pt x="4750749" y="314094"/>
                </a:lnTo>
                <a:lnTo>
                  <a:pt x="4753462" y="310630"/>
                </a:lnTo>
                <a:close/>
                <a:moveTo>
                  <a:pt x="6366671" y="305325"/>
                </a:moveTo>
                <a:lnTo>
                  <a:pt x="6370035" y="306081"/>
                </a:lnTo>
                <a:lnTo>
                  <a:pt x="6372313" y="311712"/>
                </a:lnTo>
                <a:lnTo>
                  <a:pt x="6378716" y="318208"/>
                </a:lnTo>
                <a:lnTo>
                  <a:pt x="6379694" y="322864"/>
                </a:lnTo>
                <a:lnTo>
                  <a:pt x="6377088" y="326871"/>
                </a:lnTo>
                <a:lnTo>
                  <a:pt x="6375352" y="331525"/>
                </a:lnTo>
                <a:lnTo>
                  <a:pt x="6376437" y="333259"/>
                </a:lnTo>
                <a:lnTo>
                  <a:pt x="6374159" y="335099"/>
                </a:lnTo>
                <a:lnTo>
                  <a:pt x="6369709" y="333042"/>
                </a:lnTo>
                <a:lnTo>
                  <a:pt x="6365369" y="327196"/>
                </a:lnTo>
                <a:lnTo>
                  <a:pt x="6361462" y="326005"/>
                </a:lnTo>
                <a:lnTo>
                  <a:pt x="6359726" y="323081"/>
                </a:lnTo>
                <a:lnTo>
                  <a:pt x="6360485" y="320483"/>
                </a:lnTo>
                <a:lnTo>
                  <a:pt x="6357122" y="315393"/>
                </a:lnTo>
                <a:lnTo>
                  <a:pt x="6356579" y="311279"/>
                </a:lnTo>
                <a:lnTo>
                  <a:pt x="6361137" y="306732"/>
                </a:lnTo>
                <a:close/>
                <a:moveTo>
                  <a:pt x="4739356" y="301642"/>
                </a:moveTo>
                <a:lnTo>
                  <a:pt x="4743154" y="303160"/>
                </a:lnTo>
                <a:lnTo>
                  <a:pt x="4743588" y="305866"/>
                </a:lnTo>
                <a:lnTo>
                  <a:pt x="4742177" y="310847"/>
                </a:lnTo>
                <a:lnTo>
                  <a:pt x="4740224" y="312254"/>
                </a:lnTo>
                <a:lnTo>
                  <a:pt x="4737294" y="309548"/>
                </a:lnTo>
                <a:lnTo>
                  <a:pt x="4738704" y="306190"/>
                </a:lnTo>
                <a:lnTo>
                  <a:pt x="4738379" y="303700"/>
                </a:lnTo>
                <a:close/>
                <a:moveTo>
                  <a:pt x="2434353" y="301425"/>
                </a:moveTo>
                <a:lnTo>
                  <a:pt x="2435330" y="309438"/>
                </a:lnTo>
                <a:lnTo>
                  <a:pt x="2434136" y="313119"/>
                </a:lnTo>
                <a:lnTo>
                  <a:pt x="2431966" y="313444"/>
                </a:lnTo>
                <a:lnTo>
                  <a:pt x="2430664" y="309655"/>
                </a:lnTo>
                <a:lnTo>
                  <a:pt x="2430555" y="304132"/>
                </a:lnTo>
                <a:lnTo>
                  <a:pt x="2431748" y="301534"/>
                </a:lnTo>
                <a:close/>
                <a:moveTo>
                  <a:pt x="4777010" y="301102"/>
                </a:moveTo>
                <a:lnTo>
                  <a:pt x="4780375" y="303807"/>
                </a:lnTo>
                <a:lnTo>
                  <a:pt x="4784064" y="309871"/>
                </a:lnTo>
                <a:lnTo>
                  <a:pt x="4783305" y="313769"/>
                </a:lnTo>
                <a:lnTo>
                  <a:pt x="4784064" y="319290"/>
                </a:lnTo>
                <a:lnTo>
                  <a:pt x="4786994" y="323406"/>
                </a:lnTo>
                <a:lnTo>
                  <a:pt x="4786668" y="326545"/>
                </a:lnTo>
                <a:lnTo>
                  <a:pt x="4780917" y="326219"/>
                </a:lnTo>
                <a:lnTo>
                  <a:pt x="4774081" y="328926"/>
                </a:lnTo>
                <a:lnTo>
                  <a:pt x="4770717" y="327736"/>
                </a:lnTo>
                <a:lnTo>
                  <a:pt x="4767678" y="324813"/>
                </a:lnTo>
                <a:lnTo>
                  <a:pt x="4766268" y="316909"/>
                </a:lnTo>
                <a:lnTo>
                  <a:pt x="4762361" y="311279"/>
                </a:lnTo>
                <a:lnTo>
                  <a:pt x="4763555" y="307489"/>
                </a:lnTo>
                <a:lnTo>
                  <a:pt x="4768872" y="304024"/>
                </a:lnTo>
                <a:lnTo>
                  <a:pt x="4774732" y="303267"/>
                </a:lnTo>
                <a:close/>
                <a:moveTo>
                  <a:pt x="4753680" y="299910"/>
                </a:moveTo>
                <a:lnTo>
                  <a:pt x="4753463" y="303160"/>
                </a:lnTo>
                <a:lnTo>
                  <a:pt x="4751618" y="305864"/>
                </a:lnTo>
                <a:lnTo>
                  <a:pt x="4749882" y="306407"/>
                </a:lnTo>
                <a:lnTo>
                  <a:pt x="4750859" y="301535"/>
                </a:lnTo>
                <a:close/>
                <a:moveTo>
                  <a:pt x="4763663" y="299586"/>
                </a:moveTo>
                <a:lnTo>
                  <a:pt x="4765182" y="301425"/>
                </a:lnTo>
                <a:lnTo>
                  <a:pt x="4763771" y="304024"/>
                </a:lnTo>
                <a:lnTo>
                  <a:pt x="4760299" y="305107"/>
                </a:lnTo>
                <a:lnTo>
                  <a:pt x="4757260" y="304240"/>
                </a:lnTo>
                <a:lnTo>
                  <a:pt x="4756718" y="302508"/>
                </a:lnTo>
                <a:lnTo>
                  <a:pt x="4759540" y="301425"/>
                </a:lnTo>
                <a:lnTo>
                  <a:pt x="4760516" y="299693"/>
                </a:lnTo>
                <a:close/>
                <a:moveTo>
                  <a:pt x="5669452" y="297854"/>
                </a:moveTo>
                <a:lnTo>
                  <a:pt x="5674335" y="298503"/>
                </a:lnTo>
                <a:lnTo>
                  <a:pt x="5677374" y="305324"/>
                </a:lnTo>
                <a:lnTo>
                  <a:pt x="5675854" y="310304"/>
                </a:lnTo>
                <a:lnTo>
                  <a:pt x="5671405" y="312252"/>
                </a:lnTo>
                <a:lnTo>
                  <a:pt x="5670863" y="310196"/>
                </a:lnTo>
                <a:lnTo>
                  <a:pt x="5671839" y="308354"/>
                </a:lnTo>
                <a:lnTo>
                  <a:pt x="5667390" y="302618"/>
                </a:lnTo>
                <a:lnTo>
                  <a:pt x="5667390" y="298827"/>
                </a:lnTo>
                <a:close/>
                <a:moveTo>
                  <a:pt x="4721884" y="295039"/>
                </a:moveTo>
                <a:lnTo>
                  <a:pt x="4724379" y="296122"/>
                </a:lnTo>
                <a:lnTo>
                  <a:pt x="4724706" y="302835"/>
                </a:lnTo>
                <a:lnTo>
                  <a:pt x="4727527" y="306949"/>
                </a:lnTo>
                <a:lnTo>
                  <a:pt x="4725465" y="308465"/>
                </a:lnTo>
                <a:lnTo>
                  <a:pt x="4721125" y="306624"/>
                </a:lnTo>
                <a:lnTo>
                  <a:pt x="4719280" y="303700"/>
                </a:lnTo>
                <a:lnTo>
                  <a:pt x="4720799" y="302077"/>
                </a:lnTo>
                <a:close/>
                <a:moveTo>
                  <a:pt x="4739790" y="294714"/>
                </a:moveTo>
                <a:lnTo>
                  <a:pt x="4743805" y="295579"/>
                </a:lnTo>
                <a:lnTo>
                  <a:pt x="4746843" y="299586"/>
                </a:lnTo>
                <a:lnTo>
                  <a:pt x="4746301" y="301751"/>
                </a:lnTo>
                <a:cubicBezTo>
                  <a:pt x="4746301" y="301751"/>
                  <a:pt x="4741851" y="300344"/>
                  <a:pt x="4741851" y="300344"/>
                </a:cubicBezTo>
                <a:lnTo>
                  <a:pt x="4738271" y="296230"/>
                </a:lnTo>
                <a:close/>
                <a:moveTo>
                  <a:pt x="1869958" y="293955"/>
                </a:moveTo>
                <a:lnTo>
                  <a:pt x="1874733" y="295471"/>
                </a:lnTo>
                <a:lnTo>
                  <a:pt x="1875492" y="298178"/>
                </a:lnTo>
                <a:lnTo>
                  <a:pt x="1873648" y="299261"/>
                </a:lnTo>
                <a:lnTo>
                  <a:pt x="1869415" y="297421"/>
                </a:lnTo>
                <a:lnTo>
                  <a:pt x="1868222" y="295471"/>
                </a:lnTo>
                <a:close/>
                <a:moveTo>
                  <a:pt x="4730458" y="293524"/>
                </a:moveTo>
                <a:lnTo>
                  <a:pt x="4733930" y="298505"/>
                </a:lnTo>
                <a:lnTo>
                  <a:pt x="4735666" y="302836"/>
                </a:lnTo>
                <a:lnTo>
                  <a:pt x="4734364" y="305542"/>
                </a:lnTo>
                <a:lnTo>
                  <a:pt x="4732194" y="305218"/>
                </a:lnTo>
                <a:lnTo>
                  <a:pt x="4727853" y="298505"/>
                </a:lnTo>
                <a:lnTo>
                  <a:pt x="4727853" y="294064"/>
                </a:lnTo>
                <a:close/>
                <a:moveTo>
                  <a:pt x="5097026" y="292873"/>
                </a:moveTo>
                <a:lnTo>
                  <a:pt x="5099847" y="294822"/>
                </a:lnTo>
                <a:lnTo>
                  <a:pt x="5103754" y="296121"/>
                </a:lnTo>
                <a:lnTo>
                  <a:pt x="5109940" y="294497"/>
                </a:lnTo>
                <a:lnTo>
                  <a:pt x="5112544" y="295688"/>
                </a:lnTo>
                <a:lnTo>
                  <a:pt x="5112001" y="298286"/>
                </a:lnTo>
                <a:lnTo>
                  <a:pt x="5105165" y="301317"/>
                </a:lnTo>
                <a:lnTo>
                  <a:pt x="5102777" y="301428"/>
                </a:lnTo>
                <a:lnTo>
                  <a:pt x="5099304" y="298395"/>
                </a:lnTo>
                <a:lnTo>
                  <a:pt x="5094421" y="297528"/>
                </a:lnTo>
                <a:lnTo>
                  <a:pt x="5093228" y="296121"/>
                </a:lnTo>
                <a:lnTo>
                  <a:pt x="5094096" y="293522"/>
                </a:lnTo>
                <a:close/>
                <a:moveTo>
                  <a:pt x="5605860" y="289191"/>
                </a:moveTo>
                <a:lnTo>
                  <a:pt x="5609117" y="289191"/>
                </a:lnTo>
                <a:lnTo>
                  <a:pt x="5614868" y="295904"/>
                </a:lnTo>
                <a:lnTo>
                  <a:pt x="5619426" y="291356"/>
                </a:lnTo>
                <a:lnTo>
                  <a:pt x="5623549" y="291356"/>
                </a:lnTo>
                <a:lnTo>
                  <a:pt x="5626046" y="298177"/>
                </a:lnTo>
                <a:lnTo>
                  <a:pt x="5632556" y="299260"/>
                </a:lnTo>
                <a:lnTo>
                  <a:pt x="5638958" y="293846"/>
                </a:lnTo>
                <a:lnTo>
                  <a:pt x="5641129" y="294605"/>
                </a:lnTo>
                <a:lnTo>
                  <a:pt x="5641129" y="301426"/>
                </a:lnTo>
                <a:lnTo>
                  <a:pt x="5642974" y="303591"/>
                </a:lnTo>
                <a:lnTo>
                  <a:pt x="5650244" y="305432"/>
                </a:lnTo>
                <a:lnTo>
                  <a:pt x="5650244" y="307381"/>
                </a:lnTo>
                <a:lnTo>
                  <a:pt x="5645578" y="310304"/>
                </a:lnTo>
                <a:lnTo>
                  <a:pt x="5645578" y="312470"/>
                </a:lnTo>
                <a:lnTo>
                  <a:pt x="5643190" y="316584"/>
                </a:lnTo>
                <a:lnTo>
                  <a:pt x="5644601" y="321672"/>
                </a:lnTo>
                <a:lnTo>
                  <a:pt x="5639501" y="329468"/>
                </a:lnTo>
                <a:lnTo>
                  <a:pt x="5634292" y="330550"/>
                </a:lnTo>
                <a:lnTo>
                  <a:pt x="5630494" y="336830"/>
                </a:lnTo>
                <a:lnTo>
                  <a:pt x="5634292" y="337913"/>
                </a:lnTo>
                <a:lnTo>
                  <a:pt x="5645144" y="333582"/>
                </a:lnTo>
                <a:lnTo>
                  <a:pt x="5652957" y="321997"/>
                </a:lnTo>
                <a:lnTo>
                  <a:pt x="5656430" y="322755"/>
                </a:lnTo>
                <a:lnTo>
                  <a:pt x="5656430" y="326219"/>
                </a:lnTo>
                <a:lnTo>
                  <a:pt x="5652957" y="331092"/>
                </a:lnTo>
                <a:lnTo>
                  <a:pt x="5652957" y="334556"/>
                </a:lnTo>
                <a:lnTo>
                  <a:pt x="5656430" y="334556"/>
                </a:lnTo>
                <a:lnTo>
                  <a:pt x="5660553" y="328277"/>
                </a:lnTo>
                <a:lnTo>
                  <a:pt x="5665219" y="325787"/>
                </a:lnTo>
                <a:lnTo>
                  <a:pt x="5667499" y="327952"/>
                </a:lnTo>
                <a:lnTo>
                  <a:pt x="5673467" y="327411"/>
                </a:lnTo>
                <a:lnTo>
                  <a:pt x="5674769" y="321997"/>
                </a:lnTo>
                <a:lnTo>
                  <a:pt x="5677265" y="321997"/>
                </a:lnTo>
                <a:lnTo>
                  <a:pt x="5680520" y="324162"/>
                </a:lnTo>
                <a:lnTo>
                  <a:pt x="5684319" y="321997"/>
                </a:lnTo>
                <a:lnTo>
                  <a:pt x="5690612" y="328277"/>
                </a:lnTo>
                <a:lnTo>
                  <a:pt x="5690612" y="332933"/>
                </a:lnTo>
                <a:lnTo>
                  <a:pt x="5693434" y="340186"/>
                </a:lnTo>
                <a:lnTo>
                  <a:pt x="5691698" y="343110"/>
                </a:lnTo>
                <a:lnTo>
                  <a:pt x="5691698" y="347657"/>
                </a:lnTo>
                <a:lnTo>
                  <a:pt x="5688442" y="354478"/>
                </a:lnTo>
                <a:lnTo>
                  <a:pt x="5694193" y="364006"/>
                </a:lnTo>
                <a:lnTo>
                  <a:pt x="5693651" y="369419"/>
                </a:lnTo>
                <a:lnTo>
                  <a:pt x="5689853" y="370827"/>
                </a:lnTo>
                <a:lnTo>
                  <a:pt x="5685838" y="374076"/>
                </a:lnTo>
                <a:lnTo>
                  <a:pt x="5689094" y="374833"/>
                </a:lnTo>
                <a:lnTo>
                  <a:pt x="5698317" y="372668"/>
                </a:lnTo>
                <a:lnTo>
                  <a:pt x="5703960" y="367037"/>
                </a:lnTo>
                <a:lnTo>
                  <a:pt x="5711230" y="367037"/>
                </a:lnTo>
                <a:lnTo>
                  <a:pt x="5714486" y="360325"/>
                </a:lnTo>
                <a:lnTo>
                  <a:pt x="5713726" y="351772"/>
                </a:lnTo>
                <a:lnTo>
                  <a:pt x="5711339" y="345276"/>
                </a:lnTo>
                <a:lnTo>
                  <a:pt x="5708735" y="345276"/>
                </a:lnTo>
                <a:lnTo>
                  <a:pt x="5705154" y="343868"/>
                </a:lnTo>
                <a:lnTo>
                  <a:pt x="5705154" y="338996"/>
                </a:lnTo>
                <a:lnTo>
                  <a:pt x="5707215" y="337264"/>
                </a:lnTo>
                <a:lnTo>
                  <a:pt x="5710797" y="337264"/>
                </a:lnTo>
                <a:lnTo>
                  <a:pt x="5713075" y="338996"/>
                </a:lnTo>
                <a:lnTo>
                  <a:pt x="5716332" y="337805"/>
                </a:lnTo>
                <a:lnTo>
                  <a:pt x="5724470" y="335747"/>
                </a:lnTo>
                <a:lnTo>
                  <a:pt x="5730438" y="329468"/>
                </a:lnTo>
                <a:lnTo>
                  <a:pt x="5733910" y="330225"/>
                </a:lnTo>
                <a:lnTo>
                  <a:pt x="5740422" y="330225"/>
                </a:lnTo>
                <a:lnTo>
                  <a:pt x="5742158" y="325570"/>
                </a:lnTo>
                <a:lnTo>
                  <a:pt x="5746499" y="321564"/>
                </a:lnTo>
                <a:lnTo>
                  <a:pt x="5748235" y="322647"/>
                </a:lnTo>
                <a:lnTo>
                  <a:pt x="5751925" y="319074"/>
                </a:lnTo>
                <a:lnTo>
                  <a:pt x="5756808" y="317991"/>
                </a:lnTo>
                <a:lnTo>
                  <a:pt x="5758761" y="319832"/>
                </a:lnTo>
                <a:lnTo>
                  <a:pt x="5763753" y="318749"/>
                </a:lnTo>
                <a:lnTo>
                  <a:pt x="5764620" y="321780"/>
                </a:lnTo>
                <a:lnTo>
                  <a:pt x="5762993" y="324271"/>
                </a:lnTo>
                <a:lnTo>
                  <a:pt x="5763861" y="328169"/>
                </a:lnTo>
                <a:lnTo>
                  <a:pt x="5774712" y="327303"/>
                </a:lnTo>
                <a:lnTo>
                  <a:pt x="5776015" y="328710"/>
                </a:lnTo>
                <a:lnTo>
                  <a:pt x="5780790" y="330442"/>
                </a:lnTo>
                <a:lnTo>
                  <a:pt x="5798695" y="341270"/>
                </a:lnTo>
                <a:lnTo>
                  <a:pt x="5802819" y="342136"/>
                </a:lnTo>
                <a:lnTo>
                  <a:pt x="5805423" y="347224"/>
                </a:lnTo>
                <a:lnTo>
                  <a:pt x="5805423" y="350689"/>
                </a:lnTo>
                <a:lnTo>
                  <a:pt x="5813670" y="360325"/>
                </a:lnTo>
                <a:lnTo>
                  <a:pt x="5815732" y="359242"/>
                </a:lnTo>
                <a:lnTo>
                  <a:pt x="5815732" y="355778"/>
                </a:lnTo>
                <a:lnTo>
                  <a:pt x="5818445" y="353937"/>
                </a:lnTo>
                <a:lnTo>
                  <a:pt x="5819204" y="351447"/>
                </a:lnTo>
                <a:lnTo>
                  <a:pt x="5816166" y="349282"/>
                </a:lnTo>
                <a:lnTo>
                  <a:pt x="5811826" y="349282"/>
                </a:lnTo>
                <a:lnTo>
                  <a:pt x="5811826" y="344734"/>
                </a:lnTo>
                <a:lnTo>
                  <a:pt x="5815732" y="342027"/>
                </a:lnTo>
                <a:lnTo>
                  <a:pt x="5819747" y="342027"/>
                </a:lnTo>
                <a:lnTo>
                  <a:pt x="5822243" y="345817"/>
                </a:lnTo>
                <a:lnTo>
                  <a:pt x="5825824" y="348956"/>
                </a:lnTo>
                <a:lnTo>
                  <a:pt x="5825824" y="352962"/>
                </a:lnTo>
                <a:lnTo>
                  <a:pt x="5832661" y="359242"/>
                </a:lnTo>
                <a:lnTo>
                  <a:pt x="5833638" y="364439"/>
                </a:lnTo>
                <a:lnTo>
                  <a:pt x="5836784" y="365739"/>
                </a:lnTo>
                <a:lnTo>
                  <a:pt x="5839389" y="364114"/>
                </a:lnTo>
                <a:lnTo>
                  <a:pt x="5841233" y="364114"/>
                </a:lnTo>
                <a:lnTo>
                  <a:pt x="5844272" y="366063"/>
                </a:lnTo>
                <a:lnTo>
                  <a:pt x="5847419" y="370610"/>
                </a:lnTo>
                <a:lnTo>
                  <a:pt x="5847419" y="375158"/>
                </a:lnTo>
                <a:lnTo>
                  <a:pt x="5851326" y="380139"/>
                </a:lnTo>
                <a:lnTo>
                  <a:pt x="5851326" y="383712"/>
                </a:lnTo>
                <a:lnTo>
                  <a:pt x="5849481" y="383712"/>
                </a:lnTo>
                <a:lnTo>
                  <a:pt x="5848830" y="381113"/>
                </a:lnTo>
                <a:lnTo>
                  <a:pt x="5846877" y="378298"/>
                </a:lnTo>
                <a:lnTo>
                  <a:pt x="5845032" y="378298"/>
                </a:lnTo>
                <a:lnTo>
                  <a:pt x="5842862" y="380788"/>
                </a:lnTo>
                <a:lnTo>
                  <a:pt x="5839063" y="377323"/>
                </a:lnTo>
                <a:lnTo>
                  <a:pt x="5830816" y="374076"/>
                </a:lnTo>
                <a:lnTo>
                  <a:pt x="5824413" y="374076"/>
                </a:lnTo>
                <a:lnTo>
                  <a:pt x="5823437" y="375482"/>
                </a:lnTo>
                <a:lnTo>
                  <a:pt x="5826692" y="379814"/>
                </a:lnTo>
                <a:lnTo>
                  <a:pt x="5832878" y="380572"/>
                </a:lnTo>
                <a:lnTo>
                  <a:pt x="5835156" y="382196"/>
                </a:lnTo>
                <a:lnTo>
                  <a:pt x="5834180" y="383495"/>
                </a:lnTo>
                <a:lnTo>
                  <a:pt x="5837110" y="389125"/>
                </a:lnTo>
                <a:lnTo>
                  <a:pt x="5839714" y="390965"/>
                </a:lnTo>
                <a:lnTo>
                  <a:pt x="5841668" y="389233"/>
                </a:lnTo>
                <a:lnTo>
                  <a:pt x="5844272" y="383820"/>
                </a:lnTo>
                <a:lnTo>
                  <a:pt x="5845683" y="383820"/>
                </a:lnTo>
                <a:lnTo>
                  <a:pt x="5847961" y="387501"/>
                </a:lnTo>
                <a:lnTo>
                  <a:pt x="5851326" y="389449"/>
                </a:lnTo>
                <a:lnTo>
                  <a:pt x="5853713" y="388043"/>
                </a:lnTo>
                <a:lnTo>
                  <a:pt x="5856426" y="388909"/>
                </a:lnTo>
                <a:lnTo>
                  <a:pt x="5857511" y="392265"/>
                </a:lnTo>
                <a:lnTo>
                  <a:pt x="5856100" y="394863"/>
                </a:lnTo>
                <a:lnTo>
                  <a:pt x="5860441" y="402334"/>
                </a:lnTo>
                <a:lnTo>
                  <a:pt x="5862069" y="410563"/>
                </a:lnTo>
                <a:lnTo>
                  <a:pt x="5862069" y="419765"/>
                </a:lnTo>
                <a:lnTo>
                  <a:pt x="5858705" y="427453"/>
                </a:lnTo>
                <a:lnTo>
                  <a:pt x="5856752" y="428211"/>
                </a:lnTo>
                <a:lnTo>
                  <a:pt x="5854798" y="432108"/>
                </a:lnTo>
                <a:lnTo>
                  <a:pt x="5855992" y="436656"/>
                </a:lnTo>
                <a:lnTo>
                  <a:pt x="5852411" y="442611"/>
                </a:lnTo>
                <a:lnTo>
                  <a:pt x="5852411" y="444885"/>
                </a:lnTo>
                <a:lnTo>
                  <a:pt x="5855449" y="448132"/>
                </a:lnTo>
                <a:lnTo>
                  <a:pt x="5855449" y="452030"/>
                </a:lnTo>
                <a:lnTo>
                  <a:pt x="5849372" y="454954"/>
                </a:lnTo>
                <a:lnTo>
                  <a:pt x="5847419" y="459718"/>
                </a:lnTo>
                <a:lnTo>
                  <a:pt x="5848721" y="462099"/>
                </a:lnTo>
                <a:lnTo>
                  <a:pt x="5845141" y="469787"/>
                </a:lnTo>
                <a:lnTo>
                  <a:pt x="5842428" y="472926"/>
                </a:lnTo>
                <a:lnTo>
                  <a:pt x="5843187" y="475525"/>
                </a:lnTo>
                <a:lnTo>
                  <a:pt x="5841016" y="480289"/>
                </a:lnTo>
                <a:lnTo>
                  <a:pt x="5836784" y="482346"/>
                </a:lnTo>
                <a:lnTo>
                  <a:pt x="5831250" y="487001"/>
                </a:lnTo>
                <a:lnTo>
                  <a:pt x="5826258" y="487001"/>
                </a:lnTo>
                <a:lnTo>
                  <a:pt x="5831684" y="488734"/>
                </a:lnTo>
                <a:lnTo>
                  <a:pt x="5835482" y="488734"/>
                </a:lnTo>
                <a:lnTo>
                  <a:pt x="5838413" y="485486"/>
                </a:lnTo>
                <a:lnTo>
                  <a:pt x="5839931" y="485486"/>
                </a:lnTo>
                <a:lnTo>
                  <a:pt x="5842428" y="492307"/>
                </a:lnTo>
                <a:lnTo>
                  <a:pt x="5838520" y="500427"/>
                </a:lnTo>
                <a:lnTo>
                  <a:pt x="5834831" y="505516"/>
                </a:lnTo>
                <a:lnTo>
                  <a:pt x="5832010" y="516992"/>
                </a:lnTo>
                <a:lnTo>
                  <a:pt x="5834614" y="522082"/>
                </a:lnTo>
                <a:lnTo>
                  <a:pt x="5835374" y="526087"/>
                </a:lnTo>
                <a:lnTo>
                  <a:pt x="5831141" y="536914"/>
                </a:lnTo>
                <a:lnTo>
                  <a:pt x="5824739" y="539188"/>
                </a:lnTo>
                <a:lnTo>
                  <a:pt x="5822786" y="538430"/>
                </a:lnTo>
                <a:lnTo>
                  <a:pt x="5819639" y="538430"/>
                </a:lnTo>
                <a:lnTo>
                  <a:pt x="5817903" y="541353"/>
                </a:lnTo>
                <a:lnTo>
                  <a:pt x="5819313" y="544060"/>
                </a:lnTo>
                <a:lnTo>
                  <a:pt x="5822026" y="553480"/>
                </a:lnTo>
                <a:lnTo>
                  <a:pt x="5820181" y="557702"/>
                </a:lnTo>
                <a:lnTo>
                  <a:pt x="5815515" y="560626"/>
                </a:lnTo>
                <a:lnTo>
                  <a:pt x="5813237" y="567014"/>
                </a:lnTo>
                <a:lnTo>
                  <a:pt x="5815515" y="573726"/>
                </a:lnTo>
                <a:lnTo>
                  <a:pt x="5815515" y="579465"/>
                </a:lnTo>
                <a:lnTo>
                  <a:pt x="5813453" y="581955"/>
                </a:lnTo>
                <a:lnTo>
                  <a:pt x="5813453" y="585853"/>
                </a:lnTo>
                <a:lnTo>
                  <a:pt x="5816709" y="588126"/>
                </a:lnTo>
                <a:lnTo>
                  <a:pt x="5813453" y="600686"/>
                </a:lnTo>
                <a:lnTo>
                  <a:pt x="5809547" y="603718"/>
                </a:lnTo>
                <a:lnTo>
                  <a:pt x="5808462" y="608156"/>
                </a:lnTo>
                <a:lnTo>
                  <a:pt x="5810089" y="605124"/>
                </a:lnTo>
                <a:lnTo>
                  <a:pt x="5814647" y="605124"/>
                </a:lnTo>
                <a:lnTo>
                  <a:pt x="5819204" y="600577"/>
                </a:lnTo>
                <a:lnTo>
                  <a:pt x="5821376" y="596138"/>
                </a:lnTo>
                <a:lnTo>
                  <a:pt x="5820290" y="594189"/>
                </a:lnTo>
                <a:lnTo>
                  <a:pt x="5821917" y="590941"/>
                </a:lnTo>
                <a:lnTo>
                  <a:pt x="5828212" y="590941"/>
                </a:lnTo>
                <a:lnTo>
                  <a:pt x="5831684" y="589859"/>
                </a:lnTo>
                <a:lnTo>
                  <a:pt x="5828103" y="588884"/>
                </a:lnTo>
                <a:lnTo>
                  <a:pt x="5820073" y="580547"/>
                </a:lnTo>
                <a:lnTo>
                  <a:pt x="5817686" y="574268"/>
                </a:lnTo>
                <a:lnTo>
                  <a:pt x="5820398" y="569071"/>
                </a:lnTo>
                <a:lnTo>
                  <a:pt x="5828537" y="568313"/>
                </a:lnTo>
                <a:lnTo>
                  <a:pt x="5837110" y="567230"/>
                </a:lnTo>
                <a:lnTo>
                  <a:pt x="5844164" y="561059"/>
                </a:lnTo>
                <a:lnTo>
                  <a:pt x="5847745" y="561059"/>
                </a:lnTo>
                <a:lnTo>
                  <a:pt x="5850458" y="558676"/>
                </a:lnTo>
                <a:lnTo>
                  <a:pt x="5847745" y="554671"/>
                </a:lnTo>
                <a:lnTo>
                  <a:pt x="5854798" y="549041"/>
                </a:lnTo>
                <a:lnTo>
                  <a:pt x="5858270" y="543410"/>
                </a:lnTo>
                <a:lnTo>
                  <a:pt x="5855775" y="538322"/>
                </a:lnTo>
                <a:lnTo>
                  <a:pt x="5855775" y="536481"/>
                </a:lnTo>
                <a:lnTo>
                  <a:pt x="5860875" y="539405"/>
                </a:lnTo>
                <a:lnTo>
                  <a:pt x="5866627" y="537564"/>
                </a:lnTo>
                <a:lnTo>
                  <a:pt x="5870099" y="532367"/>
                </a:lnTo>
                <a:lnTo>
                  <a:pt x="5867386" y="528794"/>
                </a:lnTo>
                <a:lnTo>
                  <a:pt x="5876285" y="522082"/>
                </a:lnTo>
                <a:lnTo>
                  <a:pt x="5876827" y="516884"/>
                </a:lnTo>
                <a:lnTo>
                  <a:pt x="5874874" y="513311"/>
                </a:lnTo>
                <a:lnTo>
                  <a:pt x="5865975" y="518400"/>
                </a:lnTo>
                <a:lnTo>
                  <a:pt x="5865216" y="521648"/>
                </a:lnTo>
                <a:lnTo>
                  <a:pt x="5858162" y="526845"/>
                </a:lnTo>
                <a:lnTo>
                  <a:pt x="5852953" y="524355"/>
                </a:lnTo>
                <a:lnTo>
                  <a:pt x="5849481" y="518184"/>
                </a:lnTo>
                <a:lnTo>
                  <a:pt x="5853279" y="512770"/>
                </a:lnTo>
                <a:lnTo>
                  <a:pt x="5852194" y="504866"/>
                </a:lnTo>
                <a:lnTo>
                  <a:pt x="5856860" y="500860"/>
                </a:lnTo>
                <a:lnTo>
                  <a:pt x="5863697" y="500860"/>
                </a:lnTo>
                <a:lnTo>
                  <a:pt x="5871835" y="506274"/>
                </a:lnTo>
                <a:lnTo>
                  <a:pt x="5875090" y="502484"/>
                </a:lnTo>
                <a:lnTo>
                  <a:pt x="5875090" y="497070"/>
                </a:lnTo>
                <a:lnTo>
                  <a:pt x="5881602" y="494364"/>
                </a:lnTo>
                <a:lnTo>
                  <a:pt x="5882362" y="498153"/>
                </a:lnTo>
                <a:lnTo>
                  <a:pt x="5879649" y="501185"/>
                </a:lnTo>
                <a:lnTo>
                  <a:pt x="5879649" y="505841"/>
                </a:lnTo>
                <a:lnTo>
                  <a:pt x="5892670" y="516668"/>
                </a:lnTo>
                <a:lnTo>
                  <a:pt x="5899072" y="516668"/>
                </a:lnTo>
                <a:lnTo>
                  <a:pt x="5902328" y="514719"/>
                </a:lnTo>
                <a:lnTo>
                  <a:pt x="5911335" y="513094"/>
                </a:lnTo>
                <a:lnTo>
                  <a:pt x="5915351" y="508764"/>
                </a:lnTo>
                <a:lnTo>
                  <a:pt x="5914591" y="503675"/>
                </a:lnTo>
                <a:lnTo>
                  <a:pt x="5907211" y="495231"/>
                </a:lnTo>
                <a:lnTo>
                  <a:pt x="5907211" y="492307"/>
                </a:lnTo>
                <a:lnTo>
                  <a:pt x="5909707" y="492307"/>
                </a:lnTo>
                <a:lnTo>
                  <a:pt x="5918932" y="501293"/>
                </a:lnTo>
                <a:lnTo>
                  <a:pt x="5922187" y="501293"/>
                </a:lnTo>
                <a:lnTo>
                  <a:pt x="5927287" y="505841"/>
                </a:lnTo>
                <a:lnTo>
                  <a:pt x="5926202" y="509413"/>
                </a:lnTo>
                <a:lnTo>
                  <a:pt x="5927287" y="512878"/>
                </a:lnTo>
                <a:lnTo>
                  <a:pt x="5933581" y="517967"/>
                </a:lnTo>
                <a:lnTo>
                  <a:pt x="5934449" y="526953"/>
                </a:lnTo>
                <a:lnTo>
                  <a:pt x="5936294" y="528577"/>
                </a:lnTo>
                <a:lnTo>
                  <a:pt x="5936294" y="526087"/>
                </a:lnTo>
                <a:lnTo>
                  <a:pt x="5940635" y="521432"/>
                </a:lnTo>
                <a:lnTo>
                  <a:pt x="5943130" y="520890"/>
                </a:lnTo>
                <a:lnTo>
                  <a:pt x="5945519" y="517317"/>
                </a:lnTo>
                <a:lnTo>
                  <a:pt x="5943565" y="515909"/>
                </a:lnTo>
                <a:lnTo>
                  <a:pt x="5939767" y="517750"/>
                </a:lnTo>
                <a:lnTo>
                  <a:pt x="5936294" y="516668"/>
                </a:lnTo>
                <a:lnTo>
                  <a:pt x="5933256" y="510713"/>
                </a:lnTo>
                <a:lnTo>
                  <a:pt x="5939441" y="504975"/>
                </a:lnTo>
                <a:lnTo>
                  <a:pt x="5944542" y="502051"/>
                </a:lnTo>
                <a:lnTo>
                  <a:pt x="5946929" y="498803"/>
                </a:lnTo>
                <a:lnTo>
                  <a:pt x="5949968" y="498803"/>
                </a:lnTo>
                <a:lnTo>
                  <a:pt x="5951921" y="495338"/>
                </a:lnTo>
                <a:lnTo>
                  <a:pt x="5961904" y="493498"/>
                </a:lnTo>
                <a:lnTo>
                  <a:pt x="5977639" y="489384"/>
                </a:lnTo>
                <a:lnTo>
                  <a:pt x="5996629" y="488626"/>
                </a:lnTo>
                <a:lnTo>
                  <a:pt x="6011280" y="482129"/>
                </a:lnTo>
                <a:lnTo>
                  <a:pt x="6018550" y="482129"/>
                </a:lnTo>
                <a:lnTo>
                  <a:pt x="6025278" y="484620"/>
                </a:lnTo>
                <a:lnTo>
                  <a:pt x="6025278" y="488409"/>
                </a:lnTo>
                <a:lnTo>
                  <a:pt x="6023433" y="489276"/>
                </a:lnTo>
                <a:lnTo>
                  <a:pt x="6020395" y="494905"/>
                </a:lnTo>
                <a:lnTo>
                  <a:pt x="6023108" y="503892"/>
                </a:lnTo>
                <a:lnTo>
                  <a:pt x="6029401" y="508980"/>
                </a:lnTo>
                <a:lnTo>
                  <a:pt x="6051105" y="509847"/>
                </a:lnTo>
                <a:lnTo>
                  <a:pt x="6055229" y="511146"/>
                </a:lnTo>
                <a:lnTo>
                  <a:pt x="6056856" y="510280"/>
                </a:lnTo>
                <a:lnTo>
                  <a:pt x="6064561" y="510280"/>
                </a:lnTo>
                <a:lnTo>
                  <a:pt x="6070313" y="512120"/>
                </a:lnTo>
                <a:lnTo>
                  <a:pt x="6085070" y="509739"/>
                </a:lnTo>
                <a:lnTo>
                  <a:pt x="6095922" y="504109"/>
                </a:lnTo>
                <a:lnTo>
                  <a:pt x="6099611" y="505407"/>
                </a:lnTo>
                <a:lnTo>
                  <a:pt x="6104603" y="505407"/>
                </a:lnTo>
                <a:lnTo>
                  <a:pt x="6107425" y="500752"/>
                </a:lnTo>
                <a:lnTo>
                  <a:pt x="6105580" y="497396"/>
                </a:lnTo>
                <a:lnTo>
                  <a:pt x="6110029" y="496313"/>
                </a:lnTo>
                <a:lnTo>
                  <a:pt x="6114262" y="497504"/>
                </a:lnTo>
                <a:lnTo>
                  <a:pt x="6120772" y="495663"/>
                </a:lnTo>
                <a:lnTo>
                  <a:pt x="6122292" y="499344"/>
                </a:lnTo>
                <a:lnTo>
                  <a:pt x="6124679" y="500103"/>
                </a:lnTo>
                <a:lnTo>
                  <a:pt x="6127718" y="495446"/>
                </a:lnTo>
                <a:lnTo>
                  <a:pt x="6126198" y="491874"/>
                </a:lnTo>
                <a:lnTo>
                  <a:pt x="6122183" y="488084"/>
                </a:lnTo>
                <a:lnTo>
                  <a:pt x="6122183" y="483429"/>
                </a:lnTo>
                <a:lnTo>
                  <a:pt x="6119796" y="479856"/>
                </a:lnTo>
                <a:lnTo>
                  <a:pt x="6114479" y="478773"/>
                </a:lnTo>
                <a:lnTo>
                  <a:pt x="6113719" y="472601"/>
                </a:lnTo>
                <a:lnTo>
                  <a:pt x="6111222" y="471519"/>
                </a:lnTo>
                <a:lnTo>
                  <a:pt x="6110029" y="466755"/>
                </a:lnTo>
                <a:lnTo>
                  <a:pt x="6106774" y="463074"/>
                </a:lnTo>
                <a:lnTo>
                  <a:pt x="6106014" y="457010"/>
                </a:lnTo>
                <a:lnTo>
                  <a:pt x="6108510" y="452571"/>
                </a:lnTo>
                <a:lnTo>
                  <a:pt x="6109269" y="455387"/>
                </a:lnTo>
                <a:lnTo>
                  <a:pt x="6111549" y="456794"/>
                </a:lnTo>
                <a:lnTo>
                  <a:pt x="6116866" y="452463"/>
                </a:lnTo>
                <a:lnTo>
                  <a:pt x="6115781" y="450623"/>
                </a:lnTo>
                <a:lnTo>
                  <a:pt x="6114695" y="446509"/>
                </a:lnTo>
                <a:lnTo>
                  <a:pt x="6118494" y="446509"/>
                </a:lnTo>
                <a:lnTo>
                  <a:pt x="6124136" y="450948"/>
                </a:lnTo>
                <a:lnTo>
                  <a:pt x="6126958" y="448891"/>
                </a:lnTo>
                <a:lnTo>
                  <a:pt x="6127935" y="444885"/>
                </a:lnTo>
                <a:lnTo>
                  <a:pt x="6129779" y="447699"/>
                </a:lnTo>
                <a:lnTo>
                  <a:pt x="6135965" y="447699"/>
                </a:lnTo>
                <a:lnTo>
                  <a:pt x="6139546" y="446942"/>
                </a:lnTo>
                <a:lnTo>
                  <a:pt x="6141065" y="444018"/>
                </a:lnTo>
                <a:lnTo>
                  <a:pt x="6145406" y="448565"/>
                </a:lnTo>
                <a:lnTo>
                  <a:pt x="6149421" y="449865"/>
                </a:lnTo>
                <a:lnTo>
                  <a:pt x="6152351" y="453762"/>
                </a:lnTo>
                <a:lnTo>
                  <a:pt x="6155280" y="451489"/>
                </a:lnTo>
                <a:lnTo>
                  <a:pt x="6155280" y="447050"/>
                </a:lnTo>
                <a:lnTo>
                  <a:pt x="6159513" y="447916"/>
                </a:lnTo>
                <a:lnTo>
                  <a:pt x="6162226" y="452463"/>
                </a:lnTo>
                <a:lnTo>
                  <a:pt x="6159296" y="454954"/>
                </a:lnTo>
                <a:lnTo>
                  <a:pt x="6157234" y="458960"/>
                </a:lnTo>
                <a:lnTo>
                  <a:pt x="6158862" y="460367"/>
                </a:lnTo>
                <a:lnTo>
                  <a:pt x="6164179" y="459176"/>
                </a:lnTo>
                <a:lnTo>
                  <a:pt x="6165589" y="459934"/>
                </a:lnTo>
                <a:lnTo>
                  <a:pt x="6165589" y="456361"/>
                </a:lnTo>
                <a:lnTo>
                  <a:pt x="6167760" y="455170"/>
                </a:lnTo>
                <a:lnTo>
                  <a:pt x="6170907" y="455928"/>
                </a:lnTo>
                <a:lnTo>
                  <a:pt x="6169280" y="450948"/>
                </a:lnTo>
                <a:lnTo>
                  <a:pt x="6166675" y="448782"/>
                </a:lnTo>
                <a:lnTo>
                  <a:pt x="6167760" y="446617"/>
                </a:lnTo>
                <a:lnTo>
                  <a:pt x="6172101" y="446617"/>
                </a:lnTo>
                <a:lnTo>
                  <a:pt x="6179154" y="444559"/>
                </a:lnTo>
                <a:lnTo>
                  <a:pt x="6181433" y="446725"/>
                </a:lnTo>
                <a:lnTo>
                  <a:pt x="6184255" y="445209"/>
                </a:lnTo>
                <a:lnTo>
                  <a:pt x="6190766" y="445209"/>
                </a:lnTo>
                <a:lnTo>
                  <a:pt x="6190766" y="448565"/>
                </a:lnTo>
                <a:lnTo>
                  <a:pt x="6192176" y="454845"/>
                </a:lnTo>
                <a:lnTo>
                  <a:pt x="6193370" y="451922"/>
                </a:lnTo>
                <a:lnTo>
                  <a:pt x="6195649" y="451922"/>
                </a:lnTo>
                <a:lnTo>
                  <a:pt x="6199773" y="448024"/>
                </a:lnTo>
                <a:lnTo>
                  <a:pt x="6201618" y="454629"/>
                </a:lnTo>
                <a:lnTo>
                  <a:pt x="6204439" y="454629"/>
                </a:lnTo>
                <a:lnTo>
                  <a:pt x="6208888" y="451273"/>
                </a:lnTo>
                <a:lnTo>
                  <a:pt x="6213446" y="455062"/>
                </a:lnTo>
                <a:lnTo>
                  <a:pt x="6214965" y="464264"/>
                </a:lnTo>
                <a:lnTo>
                  <a:pt x="6218112" y="458526"/>
                </a:lnTo>
                <a:lnTo>
                  <a:pt x="6220934" y="456144"/>
                </a:lnTo>
                <a:lnTo>
                  <a:pt x="6223104" y="458202"/>
                </a:lnTo>
                <a:lnTo>
                  <a:pt x="6220499" y="464373"/>
                </a:lnTo>
                <a:lnTo>
                  <a:pt x="6224080" y="467297"/>
                </a:lnTo>
                <a:lnTo>
                  <a:pt x="6225708" y="469354"/>
                </a:lnTo>
                <a:lnTo>
                  <a:pt x="6230157" y="469354"/>
                </a:lnTo>
                <a:lnTo>
                  <a:pt x="6231459" y="473901"/>
                </a:lnTo>
                <a:lnTo>
                  <a:pt x="6233412" y="472060"/>
                </a:lnTo>
                <a:lnTo>
                  <a:pt x="6235257" y="471519"/>
                </a:lnTo>
                <a:lnTo>
                  <a:pt x="6236885" y="476715"/>
                </a:lnTo>
                <a:lnTo>
                  <a:pt x="6233304" y="480722"/>
                </a:lnTo>
                <a:lnTo>
                  <a:pt x="6233847" y="486244"/>
                </a:lnTo>
                <a:lnTo>
                  <a:pt x="6240358" y="479748"/>
                </a:lnTo>
                <a:lnTo>
                  <a:pt x="6244264" y="479748"/>
                </a:lnTo>
                <a:lnTo>
                  <a:pt x="6245024" y="483321"/>
                </a:lnTo>
                <a:lnTo>
                  <a:pt x="6236017" y="491441"/>
                </a:lnTo>
                <a:lnTo>
                  <a:pt x="6236668" y="497937"/>
                </a:lnTo>
                <a:lnTo>
                  <a:pt x="6244373" y="499019"/>
                </a:lnTo>
                <a:lnTo>
                  <a:pt x="6246434" y="496421"/>
                </a:lnTo>
                <a:lnTo>
                  <a:pt x="6249690" y="494364"/>
                </a:lnTo>
                <a:lnTo>
                  <a:pt x="6252512" y="495880"/>
                </a:lnTo>
                <a:lnTo>
                  <a:pt x="6253489" y="499886"/>
                </a:lnTo>
                <a:lnTo>
                  <a:pt x="6256961" y="497829"/>
                </a:lnTo>
                <a:lnTo>
                  <a:pt x="6262278" y="503567"/>
                </a:lnTo>
                <a:lnTo>
                  <a:pt x="6260650" y="510713"/>
                </a:lnTo>
                <a:lnTo>
                  <a:pt x="6265208" y="509955"/>
                </a:lnTo>
                <a:lnTo>
                  <a:pt x="6266293" y="513528"/>
                </a:lnTo>
                <a:lnTo>
                  <a:pt x="6270091" y="511904"/>
                </a:lnTo>
                <a:lnTo>
                  <a:pt x="6270091" y="515476"/>
                </a:lnTo>
                <a:lnTo>
                  <a:pt x="6265967" y="522839"/>
                </a:lnTo>
                <a:lnTo>
                  <a:pt x="6260759" y="525004"/>
                </a:lnTo>
                <a:lnTo>
                  <a:pt x="6256418" y="521757"/>
                </a:lnTo>
                <a:lnTo>
                  <a:pt x="6247194" y="519374"/>
                </a:lnTo>
                <a:lnTo>
                  <a:pt x="6236343" y="519374"/>
                </a:lnTo>
                <a:lnTo>
                  <a:pt x="6240467" y="522082"/>
                </a:lnTo>
                <a:lnTo>
                  <a:pt x="6242311" y="527170"/>
                </a:lnTo>
                <a:lnTo>
                  <a:pt x="6251535" y="528253"/>
                </a:lnTo>
                <a:lnTo>
                  <a:pt x="6253380" y="531825"/>
                </a:lnTo>
                <a:lnTo>
                  <a:pt x="6262278" y="538539"/>
                </a:lnTo>
                <a:lnTo>
                  <a:pt x="6271176" y="540920"/>
                </a:lnTo>
                <a:lnTo>
                  <a:pt x="6276820" y="537131"/>
                </a:lnTo>
                <a:lnTo>
                  <a:pt x="6276820" y="532259"/>
                </a:lnTo>
                <a:lnTo>
                  <a:pt x="6272262" y="527928"/>
                </a:lnTo>
                <a:lnTo>
                  <a:pt x="6270851" y="524896"/>
                </a:lnTo>
                <a:lnTo>
                  <a:pt x="6272262" y="524896"/>
                </a:lnTo>
                <a:lnTo>
                  <a:pt x="6277688" y="530310"/>
                </a:lnTo>
                <a:lnTo>
                  <a:pt x="6283330" y="533017"/>
                </a:lnTo>
                <a:lnTo>
                  <a:pt x="6286586" y="535182"/>
                </a:lnTo>
                <a:lnTo>
                  <a:pt x="6282462" y="535182"/>
                </a:lnTo>
                <a:lnTo>
                  <a:pt x="6273022" y="544060"/>
                </a:lnTo>
                <a:lnTo>
                  <a:pt x="6275192" y="546984"/>
                </a:lnTo>
                <a:lnTo>
                  <a:pt x="6279315" y="546984"/>
                </a:lnTo>
                <a:lnTo>
                  <a:pt x="6282354" y="544602"/>
                </a:lnTo>
                <a:lnTo>
                  <a:pt x="6289191" y="544602"/>
                </a:lnTo>
                <a:lnTo>
                  <a:pt x="6304708" y="558893"/>
                </a:lnTo>
                <a:lnTo>
                  <a:pt x="6308724" y="560517"/>
                </a:lnTo>
                <a:lnTo>
                  <a:pt x="6313607" y="566797"/>
                </a:lnTo>
                <a:lnTo>
                  <a:pt x="6324458" y="567880"/>
                </a:lnTo>
                <a:lnTo>
                  <a:pt x="6331295" y="575784"/>
                </a:lnTo>
                <a:lnTo>
                  <a:pt x="6338348" y="577408"/>
                </a:lnTo>
                <a:lnTo>
                  <a:pt x="6339976" y="574376"/>
                </a:lnTo>
                <a:lnTo>
                  <a:pt x="6338132" y="571128"/>
                </a:lnTo>
                <a:lnTo>
                  <a:pt x="6340628" y="569287"/>
                </a:lnTo>
                <a:lnTo>
                  <a:pt x="6344751" y="573618"/>
                </a:lnTo>
                <a:lnTo>
                  <a:pt x="6345835" y="577408"/>
                </a:lnTo>
                <a:lnTo>
                  <a:pt x="6348766" y="581738"/>
                </a:lnTo>
                <a:lnTo>
                  <a:pt x="6351696" y="581738"/>
                </a:lnTo>
                <a:lnTo>
                  <a:pt x="6352998" y="576324"/>
                </a:lnTo>
                <a:lnTo>
                  <a:pt x="6348115" y="551098"/>
                </a:lnTo>
                <a:lnTo>
                  <a:pt x="6343015" y="540271"/>
                </a:lnTo>
                <a:lnTo>
                  <a:pt x="6336286" y="525979"/>
                </a:lnTo>
                <a:lnTo>
                  <a:pt x="6334876" y="513311"/>
                </a:lnTo>
                <a:lnTo>
                  <a:pt x="6331295" y="505516"/>
                </a:lnTo>
                <a:lnTo>
                  <a:pt x="6331295" y="501943"/>
                </a:lnTo>
                <a:lnTo>
                  <a:pt x="6335635" y="503784"/>
                </a:lnTo>
                <a:lnTo>
                  <a:pt x="6338565" y="509955"/>
                </a:lnTo>
                <a:lnTo>
                  <a:pt x="6343774" y="515585"/>
                </a:lnTo>
                <a:lnTo>
                  <a:pt x="6349526" y="516992"/>
                </a:lnTo>
                <a:lnTo>
                  <a:pt x="6354626" y="522731"/>
                </a:lnTo>
                <a:lnTo>
                  <a:pt x="6363524" y="523597"/>
                </a:lnTo>
                <a:lnTo>
                  <a:pt x="6382298" y="521432"/>
                </a:lnTo>
                <a:lnTo>
                  <a:pt x="6386421" y="523056"/>
                </a:lnTo>
                <a:lnTo>
                  <a:pt x="6390002" y="521215"/>
                </a:lnTo>
                <a:lnTo>
                  <a:pt x="6394668" y="525221"/>
                </a:lnTo>
                <a:lnTo>
                  <a:pt x="6395536" y="523922"/>
                </a:lnTo>
                <a:lnTo>
                  <a:pt x="6391955" y="518508"/>
                </a:lnTo>
                <a:lnTo>
                  <a:pt x="6393040" y="515476"/>
                </a:lnTo>
                <a:lnTo>
                  <a:pt x="6389460" y="512012"/>
                </a:lnTo>
                <a:lnTo>
                  <a:pt x="6391413" y="509630"/>
                </a:lnTo>
                <a:lnTo>
                  <a:pt x="6392172" y="505083"/>
                </a:lnTo>
                <a:lnTo>
                  <a:pt x="6408233" y="498370"/>
                </a:lnTo>
                <a:lnTo>
                  <a:pt x="6410729" y="499669"/>
                </a:lnTo>
                <a:lnTo>
                  <a:pt x="6414744" y="498911"/>
                </a:lnTo>
                <a:lnTo>
                  <a:pt x="6419844" y="501835"/>
                </a:lnTo>
                <a:lnTo>
                  <a:pt x="6427223" y="501835"/>
                </a:lnTo>
                <a:lnTo>
                  <a:pt x="6432866" y="507465"/>
                </a:lnTo>
                <a:lnTo>
                  <a:pt x="6438510" y="509089"/>
                </a:lnTo>
                <a:lnTo>
                  <a:pt x="6441547" y="514178"/>
                </a:lnTo>
                <a:lnTo>
                  <a:pt x="6449469" y="514178"/>
                </a:lnTo>
                <a:lnTo>
                  <a:pt x="6451965" y="518833"/>
                </a:lnTo>
                <a:lnTo>
                  <a:pt x="6462817" y="518833"/>
                </a:lnTo>
                <a:lnTo>
                  <a:pt x="6456089" y="515044"/>
                </a:lnTo>
                <a:lnTo>
                  <a:pt x="6456089" y="512662"/>
                </a:lnTo>
                <a:lnTo>
                  <a:pt x="6462600" y="514502"/>
                </a:lnTo>
                <a:lnTo>
                  <a:pt x="6466941" y="511037"/>
                </a:lnTo>
                <a:lnTo>
                  <a:pt x="6461732" y="508331"/>
                </a:lnTo>
                <a:lnTo>
                  <a:pt x="6465530" y="505083"/>
                </a:lnTo>
                <a:lnTo>
                  <a:pt x="6461406" y="500752"/>
                </a:lnTo>
                <a:lnTo>
                  <a:pt x="6455221" y="504000"/>
                </a:lnTo>
                <a:lnTo>
                  <a:pt x="6449795" y="502593"/>
                </a:lnTo>
                <a:lnTo>
                  <a:pt x="6449035" y="495013"/>
                </a:lnTo>
                <a:lnTo>
                  <a:pt x="6446865" y="489600"/>
                </a:lnTo>
                <a:lnTo>
                  <a:pt x="6449795" y="487218"/>
                </a:lnTo>
                <a:lnTo>
                  <a:pt x="6452725" y="489708"/>
                </a:lnTo>
                <a:lnTo>
                  <a:pt x="6456848" y="487001"/>
                </a:lnTo>
                <a:lnTo>
                  <a:pt x="6454353" y="483212"/>
                </a:lnTo>
                <a:lnTo>
                  <a:pt x="6457934" y="481913"/>
                </a:lnTo>
                <a:lnTo>
                  <a:pt x="6465312" y="487543"/>
                </a:lnTo>
                <a:lnTo>
                  <a:pt x="6467266" y="492740"/>
                </a:lnTo>
                <a:lnTo>
                  <a:pt x="6470305" y="491658"/>
                </a:lnTo>
                <a:lnTo>
                  <a:pt x="6473018" y="494040"/>
                </a:lnTo>
                <a:lnTo>
                  <a:pt x="6475948" y="492415"/>
                </a:lnTo>
                <a:lnTo>
                  <a:pt x="6474320" y="486785"/>
                </a:lnTo>
                <a:lnTo>
                  <a:pt x="6479420" y="484836"/>
                </a:lnTo>
                <a:lnTo>
                  <a:pt x="6483001" y="487326"/>
                </a:lnTo>
                <a:lnTo>
                  <a:pt x="6484303" y="482995"/>
                </a:lnTo>
                <a:lnTo>
                  <a:pt x="6476924" y="474334"/>
                </a:lnTo>
                <a:lnTo>
                  <a:pt x="6471064" y="473793"/>
                </a:lnTo>
                <a:lnTo>
                  <a:pt x="6465312" y="467838"/>
                </a:lnTo>
                <a:lnTo>
                  <a:pt x="6466398" y="462424"/>
                </a:lnTo>
                <a:lnTo>
                  <a:pt x="6463902" y="458634"/>
                </a:lnTo>
                <a:lnTo>
                  <a:pt x="6458910" y="460800"/>
                </a:lnTo>
                <a:lnTo>
                  <a:pt x="6454027" y="459501"/>
                </a:lnTo>
                <a:lnTo>
                  <a:pt x="6459996" y="456036"/>
                </a:lnTo>
                <a:lnTo>
                  <a:pt x="6457825" y="451922"/>
                </a:lnTo>
                <a:lnTo>
                  <a:pt x="6458910" y="450623"/>
                </a:lnTo>
                <a:lnTo>
                  <a:pt x="6455112" y="444885"/>
                </a:lnTo>
                <a:lnTo>
                  <a:pt x="6463251" y="444885"/>
                </a:lnTo>
                <a:lnTo>
                  <a:pt x="6464879" y="436222"/>
                </a:lnTo>
                <a:lnTo>
                  <a:pt x="6455980" y="438929"/>
                </a:lnTo>
                <a:lnTo>
                  <a:pt x="6450881" y="444018"/>
                </a:lnTo>
                <a:lnTo>
                  <a:pt x="6450012" y="449215"/>
                </a:lnTo>
                <a:lnTo>
                  <a:pt x="6441547" y="446833"/>
                </a:lnTo>
                <a:lnTo>
                  <a:pt x="6436448" y="437630"/>
                </a:lnTo>
                <a:lnTo>
                  <a:pt x="6439160" y="433083"/>
                </a:lnTo>
                <a:lnTo>
                  <a:pt x="6440028" y="426370"/>
                </a:lnTo>
                <a:lnTo>
                  <a:pt x="6448167" y="423338"/>
                </a:lnTo>
                <a:lnTo>
                  <a:pt x="6453268" y="424096"/>
                </a:lnTo>
                <a:lnTo>
                  <a:pt x="6461623" y="416301"/>
                </a:lnTo>
                <a:lnTo>
                  <a:pt x="6461623" y="412836"/>
                </a:lnTo>
                <a:lnTo>
                  <a:pt x="6456740" y="407098"/>
                </a:lnTo>
                <a:lnTo>
                  <a:pt x="6452182" y="407856"/>
                </a:lnTo>
                <a:lnTo>
                  <a:pt x="6447624" y="406015"/>
                </a:lnTo>
                <a:lnTo>
                  <a:pt x="6439486" y="406015"/>
                </a:lnTo>
                <a:lnTo>
                  <a:pt x="6434277" y="399735"/>
                </a:lnTo>
                <a:lnTo>
                  <a:pt x="6441114" y="397028"/>
                </a:lnTo>
                <a:lnTo>
                  <a:pt x="6450555" y="395621"/>
                </a:lnTo>
                <a:lnTo>
                  <a:pt x="6461406" y="400277"/>
                </a:lnTo>
                <a:lnTo>
                  <a:pt x="6471390" y="398328"/>
                </a:lnTo>
                <a:lnTo>
                  <a:pt x="6487451" y="398328"/>
                </a:lnTo>
                <a:lnTo>
                  <a:pt x="6515122" y="396379"/>
                </a:lnTo>
                <a:lnTo>
                  <a:pt x="6519679" y="393673"/>
                </a:lnTo>
                <a:lnTo>
                  <a:pt x="6540081" y="393673"/>
                </a:lnTo>
                <a:lnTo>
                  <a:pt x="6549304" y="394755"/>
                </a:lnTo>
                <a:lnTo>
                  <a:pt x="6556141" y="393673"/>
                </a:lnTo>
                <a:lnTo>
                  <a:pt x="6567752" y="393673"/>
                </a:lnTo>
                <a:lnTo>
                  <a:pt x="6561567" y="395621"/>
                </a:lnTo>
                <a:lnTo>
                  <a:pt x="6545615" y="402659"/>
                </a:lnTo>
                <a:lnTo>
                  <a:pt x="6540298" y="399952"/>
                </a:lnTo>
                <a:lnTo>
                  <a:pt x="6537802" y="400818"/>
                </a:lnTo>
                <a:lnTo>
                  <a:pt x="6532702" y="398869"/>
                </a:lnTo>
                <a:lnTo>
                  <a:pt x="6529663" y="408938"/>
                </a:lnTo>
                <a:lnTo>
                  <a:pt x="6534546" y="414352"/>
                </a:lnTo>
                <a:lnTo>
                  <a:pt x="6530531" y="415976"/>
                </a:lnTo>
                <a:lnTo>
                  <a:pt x="6529446" y="419549"/>
                </a:lnTo>
                <a:lnTo>
                  <a:pt x="6534112" y="422473"/>
                </a:lnTo>
                <a:lnTo>
                  <a:pt x="6541165" y="417383"/>
                </a:lnTo>
                <a:lnTo>
                  <a:pt x="6541165" y="412295"/>
                </a:lnTo>
                <a:lnTo>
                  <a:pt x="6553645" y="403850"/>
                </a:lnTo>
                <a:lnTo>
                  <a:pt x="6569706" y="397570"/>
                </a:lnTo>
                <a:lnTo>
                  <a:pt x="6572093" y="406232"/>
                </a:lnTo>
                <a:lnTo>
                  <a:pt x="6572853" y="418467"/>
                </a:lnTo>
                <a:lnTo>
                  <a:pt x="6571442" y="421173"/>
                </a:lnTo>
                <a:lnTo>
                  <a:pt x="6568512" y="413377"/>
                </a:lnTo>
                <a:lnTo>
                  <a:pt x="6563846" y="408830"/>
                </a:lnTo>
                <a:lnTo>
                  <a:pt x="6563846" y="403741"/>
                </a:lnTo>
                <a:lnTo>
                  <a:pt x="6558962" y="408073"/>
                </a:lnTo>
                <a:lnTo>
                  <a:pt x="6555708" y="406773"/>
                </a:lnTo>
                <a:lnTo>
                  <a:pt x="6558854" y="415218"/>
                </a:lnTo>
                <a:lnTo>
                  <a:pt x="6563737" y="417167"/>
                </a:lnTo>
                <a:lnTo>
                  <a:pt x="6565582" y="426695"/>
                </a:lnTo>
                <a:lnTo>
                  <a:pt x="6562110" y="434274"/>
                </a:lnTo>
                <a:lnTo>
                  <a:pt x="6558854" y="432866"/>
                </a:lnTo>
                <a:lnTo>
                  <a:pt x="6555381" y="435790"/>
                </a:lnTo>
                <a:lnTo>
                  <a:pt x="6561024" y="439579"/>
                </a:lnTo>
                <a:lnTo>
                  <a:pt x="6561024" y="442827"/>
                </a:lnTo>
                <a:lnTo>
                  <a:pt x="6563195" y="445209"/>
                </a:lnTo>
                <a:lnTo>
                  <a:pt x="6567210" y="445209"/>
                </a:lnTo>
                <a:lnTo>
                  <a:pt x="6573396" y="440337"/>
                </a:lnTo>
                <a:lnTo>
                  <a:pt x="6573396" y="433191"/>
                </a:lnTo>
                <a:lnTo>
                  <a:pt x="6578062" y="426153"/>
                </a:lnTo>
                <a:lnTo>
                  <a:pt x="6576217" y="421606"/>
                </a:lnTo>
                <a:lnTo>
                  <a:pt x="6576759" y="415110"/>
                </a:lnTo>
                <a:lnTo>
                  <a:pt x="6574915" y="390749"/>
                </a:lnTo>
                <a:lnTo>
                  <a:pt x="6583270" y="384037"/>
                </a:lnTo>
                <a:lnTo>
                  <a:pt x="6595967" y="381329"/>
                </a:lnTo>
                <a:lnTo>
                  <a:pt x="6609857" y="377757"/>
                </a:lnTo>
                <a:lnTo>
                  <a:pt x="6622662" y="379380"/>
                </a:lnTo>
                <a:lnTo>
                  <a:pt x="6638614" y="385119"/>
                </a:lnTo>
                <a:lnTo>
                  <a:pt x="6646536" y="395946"/>
                </a:lnTo>
                <a:lnTo>
                  <a:pt x="6645776" y="401359"/>
                </a:lnTo>
                <a:lnTo>
                  <a:pt x="6641760" y="404283"/>
                </a:lnTo>
                <a:lnTo>
                  <a:pt x="6633080" y="397570"/>
                </a:lnTo>
                <a:lnTo>
                  <a:pt x="6632211" y="398978"/>
                </a:lnTo>
                <a:lnTo>
                  <a:pt x="6633840" y="404066"/>
                </a:lnTo>
                <a:lnTo>
                  <a:pt x="6633840" y="408722"/>
                </a:lnTo>
                <a:lnTo>
                  <a:pt x="6634924" y="413269"/>
                </a:lnTo>
                <a:lnTo>
                  <a:pt x="6630800" y="416734"/>
                </a:lnTo>
                <a:lnTo>
                  <a:pt x="6634273" y="418141"/>
                </a:lnTo>
                <a:lnTo>
                  <a:pt x="6639482" y="414893"/>
                </a:lnTo>
                <a:lnTo>
                  <a:pt x="6647620" y="414352"/>
                </a:lnTo>
                <a:lnTo>
                  <a:pt x="6652504" y="409479"/>
                </a:lnTo>
                <a:lnTo>
                  <a:pt x="6654674" y="416517"/>
                </a:lnTo>
                <a:lnTo>
                  <a:pt x="6657387" y="421606"/>
                </a:lnTo>
                <a:lnTo>
                  <a:pt x="6658147" y="427561"/>
                </a:lnTo>
                <a:lnTo>
                  <a:pt x="6661077" y="430593"/>
                </a:lnTo>
                <a:lnTo>
                  <a:pt x="6664115" y="425179"/>
                </a:lnTo>
                <a:lnTo>
                  <a:pt x="6663247" y="421931"/>
                </a:lnTo>
                <a:lnTo>
                  <a:pt x="6668998" y="416734"/>
                </a:lnTo>
                <a:lnTo>
                  <a:pt x="6674750" y="419657"/>
                </a:lnTo>
                <a:lnTo>
                  <a:pt x="6676920" y="425612"/>
                </a:lnTo>
                <a:lnTo>
                  <a:pt x="6674750" y="428860"/>
                </a:lnTo>
                <a:lnTo>
                  <a:pt x="6672905" y="435573"/>
                </a:lnTo>
                <a:lnTo>
                  <a:pt x="6674316" y="437955"/>
                </a:lnTo>
                <a:lnTo>
                  <a:pt x="6677788" y="436114"/>
                </a:lnTo>
                <a:lnTo>
                  <a:pt x="6680284" y="430159"/>
                </a:lnTo>
                <a:lnTo>
                  <a:pt x="6682781" y="429077"/>
                </a:lnTo>
                <a:lnTo>
                  <a:pt x="6684734" y="432650"/>
                </a:lnTo>
                <a:lnTo>
                  <a:pt x="6684734" y="427236"/>
                </a:lnTo>
                <a:lnTo>
                  <a:pt x="6689400" y="417708"/>
                </a:lnTo>
                <a:lnTo>
                  <a:pt x="6691353" y="415759"/>
                </a:lnTo>
                <a:lnTo>
                  <a:pt x="6694934" y="417600"/>
                </a:lnTo>
                <a:lnTo>
                  <a:pt x="6705786" y="425179"/>
                </a:lnTo>
                <a:lnTo>
                  <a:pt x="6717940" y="428102"/>
                </a:lnTo>
                <a:lnTo>
                  <a:pt x="6724668" y="436006"/>
                </a:lnTo>
                <a:lnTo>
                  <a:pt x="6723582" y="440120"/>
                </a:lnTo>
                <a:lnTo>
                  <a:pt x="6715769" y="444777"/>
                </a:lnTo>
                <a:lnTo>
                  <a:pt x="6710560" y="450189"/>
                </a:lnTo>
                <a:lnTo>
                  <a:pt x="6717398" y="446725"/>
                </a:lnTo>
                <a:lnTo>
                  <a:pt x="6727489" y="444559"/>
                </a:lnTo>
                <a:lnTo>
                  <a:pt x="6734218" y="446942"/>
                </a:lnTo>
                <a:lnTo>
                  <a:pt x="6742138" y="444993"/>
                </a:lnTo>
                <a:lnTo>
                  <a:pt x="6747890" y="439795"/>
                </a:lnTo>
                <a:lnTo>
                  <a:pt x="6753316" y="437306"/>
                </a:lnTo>
                <a:lnTo>
                  <a:pt x="6762866" y="429402"/>
                </a:lnTo>
                <a:lnTo>
                  <a:pt x="6767532" y="427561"/>
                </a:lnTo>
                <a:lnTo>
                  <a:pt x="6775344" y="419765"/>
                </a:lnTo>
                <a:lnTo>
                  <a:pt x="6782073" y="418141"/>
                </a:lnTo>
                <a:lnTo>
                  <a:pt x="6799978" y="409155"/>
                </a:lnTo>
                <a:lnTo>
                  <a:pt x="6808877" y="406124"/>
                </a:lnTo>
                <a:lnTo>
                  <a:pt x="6814085" y="407206"/>
                </a:lnTo>
                <a:lnTo>
                  <a:pt x="6814085" y="405257"/>
                </a:lnTo>
                <a:lnTo>
                  <a:pt x="6824178" y="398544"/>
                </a:lnTo>
                <a:lnTo>
                  <a:pt x="6829820" y="397462"/>
                </a:lnTo>
                <a:lnTo>
                  <a:pt x="6842082" y="397462"/>
                </a:lnTo>
                <a:lnTo>
                  <a:pt x="6865414" y="405257"/>
                </a:lnTo>
                <a:lnTo>
                  <a:pt x="6875397" y="416084"/>
                </a:lnTo>
                <a:lnTo>
                  <a:pt x="6885490" y="421281"/>
                </a:lnTo>
                <a:lnTo>
                  <a:pt x="6893953" y="431026"/>
                </a:lnTo>
                <a:lnTo>
                  <a:pt x="6898512" y="439471"/>
                </a:lnTo>
                <a:lnTo>
                  <a:pt x="6898512" y="444018"/>
                </a:lnTo>
                <a:lnTo>
                  <a:pt x="6900681" y="446509"/>
                </a:lnTo>
                <a:lnTo>
                  <a:pt x="6900681" y="453330"/>
                </a:lnTo>
                <a:lnTo>
                  <a:pt x="6905564" y="462749"/>
                </a:lnTo>
                <a:lnTo>
                  <a:pt x="6905564" y="467297"/>
                </a:lnTo>
                <a:lnTo>
                  <a:pt x="6902092" y="472385"/>
                </a:lnTo>
                <a:lnTo>
                  <a:pt x="6907518" y="471085"/>
                </a:lnTo>
                <a:lnTo>
                  <a:pt x="6913161" y="464373"/>
                </a:lnTo>
                <a:lnTo>
                  <a:pt x="6919672" y="464373"/>
                </a:lnTo>
                <a:lnTo>
                  <a:pt x="6922710" y="467405"/>
                </a:lnTo>
                <a:lnTo>
                  <a:pt x="6922710" y="463940"/>
                </a:lnTo>
                <a:lnTo>
                  <a:pt x="6929221" y="463074"/>
                </a:lnTo>
                <a:lnTo>
                  <a:pt x="6934431" y="466106"/>
                </a:lnTo>
                <a:lnTo>
                  <a:pt x="6936600" y="471844"/>
                </a:lnTo>
                <a:lnTo>
                  <a:pt x="6937686" y="467297"/>
                </a:lnTo>
                <a:lnTo>
                  <a:pt x="6935732" y="459934"/>
                </a:lnTo>
                <a:lnTo>
                  <a:pt x="6939856" y="459934"/>
                </a:lnTo>
                <a:lnTo>
                  <a:pt x="6943437" y="466213"/>
                </a:lnTo>
                <a:lnTo>
                  <a:pt x="6951359" y="473793"/>
                </a:lnTo>
                <a:lnTo>
                  <a:pt x="6952770" y="482454"/>
                </a:lnTo>
                <a:lnTo>
                  <a:pt x="6957110" y="482454"/>
                </a:lnTo>
                <a:lnTo>
                  <a:pt x="6964164" y="491333"/>
                </a:lnTo>
                <a:lnTo>
                  <a:pt x="6964164" y="488626"/>
                </a:lnTo>
                <a:lnTo>
                  <a:pt x="6961776" y="481046"/>
                </a:lnTo>
                <a:lnTo>
                  <a:pt x="6957110" y="478881"/>
                </a:lnTo>
                <a:lnTo>
                  <a:pt x="6956242" y="474550"/>
                </a:lnTo>
                <a:lnTo>
                  <a:pt x="6961342" y="477474"/>
                </a:lnTo>
                <a:lnTo>
                  <a:pt x="6965358" y="476932"/>
                </a:lnTo>
                <a:lnTo>
                  <a:pt x="6970241" y="481805"/>
                </a:lnTo>
                <a:lnTo>
                  <a:pt x="6976752" y="490791"/>
                </a:lnTo>
                <a:lnTo>
                  <a:pt x="6975450" y="483537"/>
                </a:lnTo>
                <a:lnTo>
                  <a:pt x="6966551" y="471085"/>
                </a:lnTo>
                <a:lnTo>
                  <a:pt x="6966551" y="460258"/>
                </a:lnTo>
                <a:lnTo>
                  <a:pt x="6966551" y="451164"/>
                </a:lnTo>
                <a:lnTo>
                  <a:pt x="6972303" y="444559"/>
                </a:lnTo>
                <a:lnTo>
                  <a:pt x="6981852" y="443585"/>
                </a:lnTo>
                <a:lnTo>
                  <a:pt x="6986301" y="440120"/>
                </a:lnTo>
                <a:lnTo>
                  <a:pt x="6994549" y="436764"/>
                </a:lnTo>
                <a:lnTo>
                  <a:pt x="6994006" y="433191"/>
                </a:lnTo>
                <a:lnTo>
                  <a:pt x="6995633" y="431350"/>
                </a:lnTo>
                <a:lnTo>
                  <a:pt x="6998890" y="431350"/>
                </a:lnTo>
                <a:lnTo>
                  <a:pt x="7003664" y="435898"/>
                </a:lnTo>
                <a:lnTo>
                  <a:pt x="7007679" y="437197"/>
                </a:lnTo>
                <a:lnTo>
                  <a:pt x="7014624" y="435790"/>
                </a:lnTo>
                <a:lnTo>
                  <a:pt x="7021026" y="430810"/>
                </a:lnTo>
                <a:lnTo>
                  <a:pt x="7024499" y="432000"/>
                </a:lnTo>
                <a:lnTo>
                  <a:pt x="7033072" y="428860"/>
                </a:lnTo>
                <a:lnTo>
                  <a:pt x="7043055" y="429618"/>
                </a:lnTo>
                <a:lnTo>
                  <a:pt x="7047504" y="426695"/>
                </a:lnTo>
                <a:lnTo>
                  <a:pt x="7049783" y="426695"/>
                </a:lnTo>
                <a:lnTo>
                  <a:pt x="7050434" y="429618"/>
                </a:lnTo>
                <a:lnTo>
                  <a:pt x="7053473" y="432758"/>
                </a:lnTo>
                <a:lnTo>
                  <a:pt x="7055535" y="427669"/>
                </a:lnTo>
                <a:lnTo>
                  <a:pt x="7061069" y="419982"/>
                </a:lnTo>
                <a:lnTo>
                  <a:pt x="7060201" y="416517"/>
                </a:lnTo>
                <a:lnTo>
                  <a:pt x="7060201" y="410130"/>
                </a:lnTo>
                <a:lnTo>
                  <a:pt x="7060201" y="404824"/>
                </a:lnTo>
                <a:lnTo>
                  <a:pt x="7062696" y="402550"/>
                </a:lnTo>
                <a:lnTo>
                  <a:pt x="7070293" y="404392"/>
                </a:lnTo>
                <a:lnTo>
                  <a:pt x="7072789" y="409804"/>
                </a:lnTo>
                <a:lnTo>
                  <a:pt x="7073874" y="412728"/>
                </a:lnTo>
                <a:lnTo>
                  <a:pt x="7080060" y="413486"/>
                </a:lnTo>
                <a:lnTo>
                  <a:pt x="7084400" y="416951"/>
                </a:lnTo>
                <a:lnTo>
                  <a:pt x="7084400" y="422689"/>
                </a:lnTo>
                <a:lnTo>
                  <a:pt x="7091237" y="430268"/>
                </a:lnTo>
                <a:lnTo>
                  <a:pt x="7094709" y="432650"/>
                </a:lnTo>
                <a:lnTo>
                  <a:pt x="7101980" y="431567"/>
                </a:lnTo>
                <a:lnTo>
                  <a:pt x="7112832" y="434057"/>
                </a:lnTo>
                <a:lnTo>
                  <a:pt x="7114460" y="432650"/>
                </a:lnTo>
                <a:lnTo>
                  <a:pt x="7117932" y="432650"/>
                </a:lnTo>
                <a:lnTo>
                  <a:pt x="7125853" y="443477"/>
                </a:lnTo>
                <a:lnTo>
                  <a:pt x="7125853" y="448674"/>
                </a:lnTo>
                <a:lnTo>
                  <a:pt x="7128892" y="451597"/>
                </a:lnTo>
                <a:lnTo>
                  <a:pt x="7136814" y="452679"/>
                </a:lnTo>
                <a:lnTo>
                  <a:pt x="7140612" y="449973"/>
                </a:lnTo>
                <a:lnTo>
                  <a:pt x="7146581" y="449215"/>
                </a:lnTo>
                <a:lnTo>
                  <a:pt x="7145821" y="445426"/>
                </a:lnTo>
                <a:lnTo>
                  <a:pt x="7151464" y="441853"/>
                </a:lnTo>
                <a:lnTo>
                  <a:pt x="7154719" y="442935"/>
                </a:lnTo>
                <a:lnTo>
                  <a:pt x="7156672" y="440987"/>
                </a:lnTo>
                <a:lnTo>
                  <a:pt x="7153417" y="436439"/>
                </a:lnTo>
                <a:lnTo>
                  <a:pt x="7155586" y="434491"/>
                </a:lnTo>
                <a:lnTo>
                  <a:pt x="7154177" y="431567"/>
                </a:lnTo>
                <a:lnTo>
                  <a:pt x="7154177" y="428319"/>
                </a:lnTo>
                <a:lnTo>
                  <a:pt x="7149510" y="422364"/>
                </a:lnTo>
                <a:lnTo>
                  <a:pt x="7142674" y="419982"/>
                </a:lnTo>
                <a:lnTo>
                  <a:pt x="7141046" y="412403"/>
                </a:lnTo>
                <a:lnTo>
                  <a:pt x="7132365" y="403958"/>
                </a:lnTo>
                <a:lnTo>
                  <a:pt x="7128892" y="403092"/>
                </a:lnTo>
                <a:lnTo>
                  <a:pt x="7126722" y="399519"/>
                </a:lnTo>
                <a:lnTo>
                  <a:pt x="7118258" y="395512"/>
                </a:lnTo>
                <a:lnTo>
                  <a:pt x="7113917" y="399302"/>
                </a:lnTo>
                <a:lnTo>
                  <a:pt x="7111204" y="399302"/>
                </a:lnTo>
                <a:lnTo>
                  <a:pt x="7111204" y="393131"/>
                </a:lnTo>
                <a:lnTo>
                  <a:pt x="7113157" y="390208"/>
                </a:lnTo>
                <a:lnTo>
                  <a:pt x="7109576" y="382953"/>
                </a:lnTo>
                <a:lnTo>
                  <a:pt x="7108165" y="378081"/>
                </a:lnTo>
                <a:lnTo>
                  <a:pt x="7105236" y="375916"/>
                </a:lnTo>
                <a:lnTo>
                  <a:pt x="7102197" y="368120"/>
                </a:lnTo>
                <a:lnTo>
                  <a:pt x="7095578" y="363248"/>
                </a:lnTo>
                <a:lnTo>
                  <a:pt x="7096662" y="361949"/>
                </a:lnTo>
                <a:lnTo>
                  <a:pt x="7107514" y="360217"/>
                </a:lnTo>
                <a:lnTo>
                  <a:pt x="7110662" y="362165"/>
                </a:lnTo>
                <a:lnTo>
                  <a:pt x="7123683" y="360866"/>
                </a:lnTo>
                <a:lnTo>
                  <a:pt x="7134535" y="360866"/>
                </a:lnTo>
                <a:lnTo>
                  <a:pt x="7134535" y="357402"/>
                </a:lnTo>
                <a:lnTo>
                  <a:pt x="7140178" y="355453"/>
                </a:lnTo>
                <a:lnTo>
                  <a:pt x="7146472" y="359567"/>
                </a:lnTo>
                <a:lnTo>
                  <a:pt x="7150487" y="357727"/>
                </a:lnTo>
                <a:lnTo>
                  <a:pt x="7153742" y="357727"/>
                </a:lnTo>
                <a:lnTo>
                  <a:pt x="7153742" y="353179"/>
                </a:lnTo>
                <a:lnTo>
                  <a:pt x="7160470" y="352421"/>
                </a:lnTo>
                <a:lnTo>
                  <a:pt x="7162316" y="355669"/>
                </a:lnTo>
                <a:lnTo>
                  <a:pt x="7164160" y="355669"/>
                </a:lnTo>
                <a:lnTo>
                  <a:pt x="7166655" y="350256"/>
                </a:lnTo>
                <a:lnTo>
                  <a:pt x="7171213" y="351880"/>
                </a:lnTo>
                <a:lnTo>
                  <a:pt x="7171213" y="347224"/>
                </a:lnTo>
                <a:lnTo>
                  <a:pt x="7190420" y="342136"/>
                </a:lnTo>
                <a:lnTo>
                  <a:pt x="7192809" y="346682"/>
                </a:lnTo>
                <a:lnTo>
                  <a:pt x="7193893" y="342894"/>
                </a:lnTo>
                <a:lnTo>
                  <a:pt x="7195955" y="340511"/>
                </a:lnTo>
                <a:lnTo>
                  <a:pt x="7197800" y="341811"/>
                </a:lnTo>
                <a:lnTo>
                  <a:pt x="7204528" y="340945"/>
                </a:lnTo>
                <a:lnTo>
                  <a:pt x="7207784" y="340403"/>
                </a:lnTo>
                <a:lnTo>
                  <a:pt x="7211906" y="343976"/>
                </a:lnTo>
                <a:lnTo>
                  <a:pt x="7220805" y="343976"/>
                </a:lnTo>
                <a:lnTo>
                  <a:pt x="7225364" y="341919"/>
                </a:lnTo>
                <a:lnTo>
                  <a:pt x="7227750" y="344951"/>
                </a:lnTo>
                <a:lnTo>
                  <a:pt x="7231223" y="346250"/>
                </a:lnTo>
                <a:lnTo>
                  <a:pt x="7233936" y="343001"/>
                </a:lnTo>
                <a:lnTo>
                  <a:pt x="7241749" y="342136"/>
                </a:lnTo>
                <a:lnTo>
                  <a:pt x="7256617" y="346791"/>
                </a:lnTo>
                <a:lnTo>
                  <a:pt x="7262042" y="349282"/>
                </a:lnTo>
                <a:lnTo>
                  <a:pt x="7265514" y="348198"/>
                </a:lnTo>
                <a:lnTo>
                  <a:pt x="7263887" y="346791"/>
                </a:lnTo>
                <a:lnTo>
                  <a:pt x="7268987" y="345492"/>
                </a:lnTo>
                <a:lnTo>
                  <a:pt x="7272785" y="348198"/>
                </a:lnTo>
                <a:lnTo>
                  <a:pt x="7270072" y="350689"/>
                </a:lnTo>
                <a:lnTo>
                  <a:pt x="7272459" y="352313"/>
                </a:lnTo>
                <a:lnTo>
                  <a:pt x="7279513" y="350472"/>
                </a:lnTo>
                <a:lnTo>
                  <a:pt x="7296007" y="352313"/>
                </a:lnTo>
                <a:lnTo>
                  <a:pt x="7309898" y="361733"/>
                </a:lnTo>
                <a:lnTo>
                  <a:pt x="7309138" y="363898"/>
                </a:lnTo>
                <a:lnTo>
                  <a:pt x="7304797" y="361733"/>
                </a:lnTo>
                <a:lnTo>
                  <a:pt x="7296442" y="358701"/>
                </a:lnTo>
                <a:lnTo>
                  <a:pt x="7295900" y="360541"/>
                </a:lnTo>
                <a:lnTo>
                  <a:pt x="7310223" y="365630"/>
                </a:lnTo>
                <a:lnTo>
                  <a:pt x="7317494" y="365630"/>
                </a:lnTo>
                <a:lnTo>
                  <a:pt x="7319122" y="361841"/>
                </a:lnTo>
                <a:lnTo>
                  <a:pt x="7325307" y="361300"/>
                </a:lnTo>
                <a:lnTo>
                  <a:pt x="7332144" y="361300"/>
                </a:lnTo>
                <a:lnTo>
                  <a:pt x="7330841" y="357294"/>
                </a:lnTo>
                <a:lnTo>
                  <a:pt x="7333771" y="355886"/>
                </a:lnTo>
                <a:lnTo>
                  <a:pt x="7338112" y="359351"/>
                </a:lnTo>
                <a:lnTo>
                  <a:pt x="7342670" y="360758"/>
                </a:lnTo>
                <a:lnTo>
                  <a:pt x="7345166" y="362382"/>
                </a:lnTo>
                <a:lnTo>
                  <a:pt x="7345166" y="359892"/>
                </a:lnTo>
                <a:lnTo>
                  <a:pt x="7345925" y="358593"/>
                </a:lnTo>
                <a:lnTo>
                  <a:pt x="7352979" y="360433"/>
                </a:lnTo>
                <a:lnTo>
                  <a:pt x="7352979" y="363465"/>
                </a:lnTo>
                <a:lnTo>
                  <a:pt x="7360792" y="366172"/>
                </a:lnTo>
                <a:lnTo>
                  <a:pt x="7366435" y="364006"/>
                </a:lnTo>
                <a:lnTo>
                  <a:pt x="7386836" y="368012"/>
                </a:lnTo>
                <a:lnTo>
                  <a:pt x="7384666" y="364223"/>
                </a:lnTo>
                <a:lnTo>
                  <a:pt x="7391502" y="364223"/>
                </a:lnTo>
                <a:lnTo>
                  <a:pt x="7393456" y="368337"/>
                </a:lnTo>
                <a:lnTo>
                  <a:pt x="7397471" y="369636"/>
                </a:lnTo>
                <a:lnTo>
                  <a:pt x="7396602" y="365089"/>
                </a:lnTo>
                <a:lnTo>
                  <a:pt x="7398447" y="364331"/>
                </a:lnTo>
                <a:lnTo>
                  <a:pt x="7406260" y="365739"/>
                </a:lnTo>
                <a:lnTo>
                  <a:pt x="7404850" y="368120"/>
                </a:lnTo>
                <a:lnTo>
                  <a:pt x="7408648" y="372776"/>
                </a:lnTo>
                <a:lnTo>
                  <a:pt x="7415375" y="370935"/>
                </a:lnTo>
                <a:lnTo>
                  <a:pt x="7415375" y="368445"/>
                </a:lnTo>
                <a:lnTo>
                  <a:pt x="7412880" y="366821"/>
                </a:lnTo>
                <a:lnTo>
                  <a:pt x="7420476" y="366821"/>
                </a:lnTo>
                <a:lnTo>
                  <a:pt x="7422863" y="368445"/>
                </a:lnTo>
                <a:lnTo>
                  <a:pt x="7421779" y="371910"/>
                </a:lnTo>
                <a:lnTo>
                  <a:pt x="7426119" y="376241"/>
                </a:lnTo>
                <a:lnTo>
                  <a:pt x="7434474" y="379706"/>
                </a:lnTo>
                <a:lnTo>
                  <a:pt x="7440986" y="377215"/>
                </a:lnTo>
                <a:lnTo>
                  <a:pt x="7431979" y="373967"/>
                </a:lnTo>
                <a:lnTo>
                  <a:pt x="7427855" y="371586"/>
                </a:lnTo>
                <a:lnTo>
                  <a:pt x="7426878" y="368445"/>
                </a:lnTo>
                <a:lnTo>
                  <a:pt x="7431762" y="367362"/>
                </a:lnTo>
                <a:lnTo>
                  <a:pt x="7437404" y="368012"/>
                </a:lnTo>
                <a:lnTo>
                  <a:pt x="7446846" y="373209"/>
                </a:lnTo>
                <a:lnTo>
                  <a:pt x="7449016" y="378406"/>
                </a:lnTo>
                <a:lnTo>
                  <a:pt x="7451078" y="379814"/>
                </a:lnTo>
                <a:lnTo>
                  <a:pt x="7452488" y="375808"/>
                </a:lnTo>
                <a:lnTo>
                  <a:pt x="7451187" y="373967"/>
                </a:lnTo>
                <a:lnTo>
                  <a:pt x="7455093" y="374833"/>
                </a:lnTo>
                <a:lnTo>
                  <a:pt x="7458132" y="377649"/>
                </a:lnTo>
                <a:lnTo>
                  <a:pt x="7457372" y="379706"/>
                </a:lnTo>
                <a:lnTo>
                  <a:pt x="7462255" y="385227"/>
                </a:lnTo>
                <a:lnTo>
                  <a:pt x="7469851" y="398869"/>
                </a:lnTo>
                <a:lnTo>
                  <a:pt x="7478099" y="401576"/>
                </a:lnTo>
                <a:lnTo>
                  <a:pt x="7479509" y="406773"/>
                </a:lnTo>
                <a:lnTo>
                  <a:pt x="7483850" y="410563"/>
                </a:lnTo>
                <a:lnTo>
                  <a:pt x="7486780" y="415543"/>
                </a:lnTo>
                <a:lnTo>
                  <a:pt x="7484610" y="417925"/>
                </a:lnTo>
                <a:lnTo>
                  <a:pt x="7486128" y="423014"/>
                </a:lnTo>
                <a:lnTo>
                  <a:pt x="7489818" y="424530"/>
                </a:lnTo>
                <a:lnTo>
                  <a:pt x="7494593" y="420198"/>
                </a:lnTo>
                <a:lnTo>
                  <a:pt x="7500779" y="421065"/>
                </a:lnTo>
                <a:lnTo>
                  <a:pt x="7504685" y="427777"/>
                </a:lnTo>
                <a:lnTo>
                  <a:pt x="7508809" y="428860"/>
                </a:lnTo>
                <a:lnTo>
                  <a:pt x="7509676" y="427344"/>
                </a:lnTo>
                <a:lnTo>
                  <a:pt x="7507507" y="425828"/>
                </a:lnTo>
                <a:lnTo>
                  <a:pt x="7506096" y="421389"/>
                </a:lnTo>
                <a:lnTo>
                  <a:pt x="7508809" y="417383"/>
                </a:lnTo>
                <a:lnTo>
                  <a:pt x="7511739" y="418683"/>
                </a:lnTo>
                <a:lnTo>
                  <a:pt x="7514452" y="424746"/>
                </a:lnTo>
                <a:lnTo>
                  <a:pt x="7518792" y="429293"/>
                </a:lnTo>
                <a:lnTo>
                  <a:pt x="7518792" y="427236"/>
                </a:lnTo>
                <a:lnTo>
                  <a:pt x="7515646" y="419549"/>
                </a:lnTo>
                <a:lnTo>
                  <a:pt x="7515646" y="415326"/>
                </a:lnTo>
                <a:lnTo>
                  <a:pt x="7512173" y="411320"/>
                </a:lnTo>
                <a:lnTo>
                  <a:pt x="7506096" y="414569"/>
                </a:lnTo>
                <a:lnTo>
                  <a:pt x="7499802" y="415759"/>
                </a:lnTo>
                <a:lnTo>
                  <a:pt x="7498825" y="411861"/>
                </a:lnTo>
                <a:lnTo>
                  <a:pt x="7502081" y="408181"/>
                </a:lnTo>
                <a:lnTo>
                  <a:pt x="7500670" y="402659"/>
                </a:lnTo>
                <a:lnTo>
                  <a:pt x="7492097" y="396596"/>
                </a:lnTo>
                <a:lnTo>
                  <a:pt x="7487540" y="392590"/>
                </a:lnTo>
                <a:lnTo>
                  <a:pt x="7485369" y="387718"/>
                </a:lnTo>
                <a:lnTo>
                  <a:pt x="7482331" y="387718"/>
                </a:lnTo>
                <a:lnTo>
                  <a:pt x="7476146" y="392698"/>
                </a:lnTo>
                <a:lnTo>
                  <a:pt x="7475277" y="390208"/>
                </a:lnTo>
                <a:lnTo>
                  <a:pt x="7480161" y="386202"/>
                </a:lnTo>
                <a:lnTo>
                  <a:pt x="7483633" y="379164"/>
                </a:lnTo>
                <a:lnTo>
                  <a:pt x="7489818" y="370394"/>
                </a:lnTo>
                <a:lnTo>
                  <a:pt x="7492966" y="369636"/>
                </a:lnTo>
                <a:lnTo>
                  <a:pt x="7492314" y="372343"/>
                </a:lnTo>
                <a:lnTo>
                  <a:pt x="7496004" y="381221"/>
                </a:lnTo>
                <a:lnTo>
                  <a:pt x="7500887" y="382520"/>
                </a:lnTo>
                <a:lnTo>
                  <a:pt x="7502189" y="380572"/>
                </a:lnTo>
                <a:lnTo>
                  <a:pt x="7497849" y="376998"/>
                </a:lnTo>
                <a:lnTo>
                  <a:pt x="7496221" y="372776"/>
                </a:lnTo>
                <a:lnTo>
                  <a:pt x="7498608" y="372776"/>
                </a:lnTo>
                <a:lnTo>
                  <a:pt x="7504142" y="369312"/>
                </a:lnTo>
                <a:lnTo>
                  <a:pt x="7505878" y="365847"/>
                </a:lnTo>
                <a:lnTo>
                  <a:pt x="7499911" y="365847"/>
                </a:lnTo>
                <a:lnTo>
                  <a:pt x="7502406" y="363790"/>
                </a:lnTo>
                <a:lnTo>
                  <a:pt x="7504685" y="362490"/>
                </a:lnTo>
                <a:lnTo>
                  <a:pt x="7509351" y="361408"/>
                </a:lnTo>
                <a:lnTo>
                  <a:pt x="7513475" y="354586"/>
                </a:lnTo>
                <a:lnTo>
                  <a:pt x="7517599" y="354586"/>
                </a:lnTo>
                <a:lnTo>
                  <a:pt x="7519444" y="357402"/>
                </a:lnTo>
                <a:lnTo>
                  <a:pt x="7521830" y="356535"/>
                </a:lnTo>
                <a:lnTo>
                  <a:pt x="7526063" y="357619"/>
                </a:lnTo>
                <a:lnTo>
                  <a:pt x="7526714" y="359892"/>
                </a:lnTo>
                <a:lnTo>
                  <a:pt x="7530838" y="363898"/>
                </a:lnTo>
                <a:lnTo>
                  <a:pt x="7537782" y="365197"/>
                </a:lnTo>
                <a:lnTo>
                  <a:pt x="7541038" y="363465"/>
                </a:lnTo>
                <a:lnTo>
                  <a:pt x="7555796" y="366063"/>
                </a:lnTo>
                <a:lnTo>
                  <a:pt x="7554711" y="371152"/>
                </a:lnTo>
                <a:lnTo>
                  <a:pt x="7556014" y="373426"/>
                </a:lnTo>
                <a:lnTo>
                  <a:pt x="7558944" y="372235"/>
                </a:lnTo>
                <a:lnTo>
                  <a:pt x="7558944" y="368770"/>
                </a:lnTo>
                <a:lnTo>
                  <a:pt x="7563176" y="368770"/>
                </a:lnTo>
                <a:lnTo>
                  <a:pt x="7563176" y="374833"/>
                </a:lnTo>
                <a:lnTo>
                  <a:pt x="7567191" y="371910"/>
                </a:lnTo>
                <a:lnTo>
                  <a:pt x="7571748" y="366713"/>
                </a:lnTo>
                <a:lnTo>
                  <a:pt x="7576306" y="368337"/>
                </a:lnTo>
                <a:lnTo>
                  <a:pt x="7576306" y="371802"/>
                </a:lnTo>
                <a:lnTo>
                  <a:pt x="7573702" y="375374"/>
                </a:lnTo>
                <a:lnTo>
                  <a:pt x="7573268" y="377540"/>
                </a:lnTo>
                <a:lnTo>
                  <a:pt x="7577283" y="390316"/>
                </a:lnTo>
                <a:lnTo>
                  <a:pt x="7575546" y="396487"/>
                </a:lnTo>
                <a:lnTo>
                  <a:pt x="7576089" y="399302"/>
                </a:lnTo>
                <a:lnTo>
                  <a:pt x="7580539" y="398220"/>
                </a:lnTo>
                <a:lnTo>
                  <a:pt x="7583469" y="403200"/>
                </a:lnTo>
                <a:lnTo>
                  <a:pt x="7588678" y="405582"/>
                </a:lnTo>
                <a:lnTo>
                  <a:pt x="7590522" y="410563"/>
                </a:lnTo>
                <a:lnTo>
                  <a:pt x="7587918" y="413486"/>
                </a:lnTo>
                <a:lnTo>
                  <a:pt x="7580321" y="413486"/>
                </a:lnTo>
                <a:lnTo>
                  <a:pt x="7572291" y="414893"/>
                </a:lnTo>
                <a:lnTo>
                  <a:pt x="7583143" y="417275"/>
                </a:lnTo>
                <a:lnTo>
                  <a:pt x="7586073" y="421498"/>
                </a:lnTo>
                <a:lnTo>
                  <a:pt x="7584879" y="425504"/>
                </a:lnTo>
                <a:lnTo>
                  <a:pt x="7579454" y="426803"/>
                </a:lnTo>
                <a:lnTo>
                  <a:pt x="7574895" y="434815"/>
                </a:lnTo>
                <a:lnTo>
                  <a:pt x="7573268" y="432216"/>
                </a:lnTo>
                <a:lnTo>
                  <a:pt x="7567516" y="436872"/>
                </a:lnTo>
                <a:lnTo>
                  <a:pt x="7561114" y="436872"/>
                </a:lnTo>
                <a:lnTo>
                  <a:pt x="7556122" y="441420"/>
                </a:lnTo>
                <a:lnTo>
                  <a:pt x="7562850" y="440337"/>
                </a:lnTo>
                <a:lnTo>
                  <a:pt x="7566540" y="441528"/>
                </a:lnTo>
                <a:lnTo>
                  <a:pt x="7569036" y="445209"/>
                </a:lnTo>
                <a:lnTo>
                  <a:pt x="7572725" y="441420"/>
                </a:lnTo>
                <a:lnTo>
                  <a:pt x="7575004" y="441420"/>
                </a:lnTo>
                <a:lnTo>
                  <a:pt x="7575004" y="445534"/>
                </a:lnTo>
                <a:lnTo>
                  <a:pt x="7579561" y="451597"/>
                </a:lnTo>
                <a:lnTo>
                  <a:pt x="7575546" y="454087"/>
                </a:lnTo>
                <a:lnTo>
                  <a:pt x="7574462" y="461558"/>
                </a:lnTo>
                <a:lnTo>
                  <a:pt x="7580104" y="455711"/>
                </a:lnTo>
                <a:lnTo>
                  <a:pt x="7586073" y="455062"/>
                </a:lnTo>
                <a:lnTo>
                  <a:pt x="7592475" y="460475"/>
                </a:lnTo>
                <a:lnTo>
                  <a:pt x="7591715" y="463940"/>
                </a:lnTo>
                <a:lnTo>
                  <a:pt x="7595296" y="470111"/>
                </a:lnTo>
                <a:lnTo>
                  <a:pt x="7589654" y="474117"/>
                </a:lnTo>
                <a:lnTo>
                  <a:pt x="7592584" y="475525"/>
                </a:lnTo>
                <a:lnTo>
                  <a:pt x="7593886" y="482779"/>
                </a:lnTo>
                <a:lnTo>
                  <a:pt x="7588678" y="485160"/>
                </a:lnTo>
                <a:lnTo>
                  <a:pt x="7588678" y="488626"/>
                </a:lnTo>
                <a:lnTo>
                  <a:pt x="7590630" y="491658"/>
                </a:lnTo>
                <a:lnTo>
                  <a:pt x="7590630" y="487868"/>
                </a:lnTo>
                <a:lnTo>
                  <a:pt x="7594754" y="486785"/>
                </a:lnTo>
                <a:lnTo>
                  <a:pt x="7597684" y="490033"/>
                </a:lnTo>
                <a:lnTo>
                  <a:pt x="7596816" y="496205"/>
                </a:lnTo>
                <a:lnTo>
                  <a:pt x="7602242" y="494905"/>
                </a:lnTo>
                <a:lnTo>
                  <a:pt x="7603978" y="498370"/>
                </a:lnTo>
                <a:lnTo>
                  <a:pt x="7603978" y="494364"/>
                </a:lnTo>
                <a:lnTo>
                  <a:pt x="7606908" y="491874"/>
                </a:lnTo>
                <a:lnTo>
                  <a:pt x="7610380" y="493715"/>
                </a:lnTo>
                <a:lnTo>
                  <a:pt x="7615264" y="494472"/>
                </a:lnTo>
                <a:lnTo>
                  <a:pt x="7615264" y="500968"/>
                </a:lnTo>
                <a:lnTo>
                  <a:pt x="7611683" y="502593"/>
                </a:lnTo>
                <a:lnTo>
                  <a:pt x="7607342" y="499886"/>
                </a:lnTo>
                <a:lnTo>
                  <a:pt x="7604303" y="504000"/>
                </a:lnTo>
                <a:lnTo>
                  <a:pt x="7609729" y="507248"/>
                </a:lnTo>
                <a:lnTo>
                  <a:pt x="7613744" y="506491"/>
                </a:lnTo>
                <a:lnTo>
                  <a:pt x="7617109" y="512878"/>
                </a:lnTo>
                <a:lnTo>
                  <a:pt x="7617109" y="516126"/>
                </a:lnTo>
                <a:lnTo>
                  <a:pt x="7607885" y="521215"/>
                </a:lnTo>
                <a:lnTo>
                  <a:pt x="7602676" y="513419"/>
                </a:lnTo>
                <a:lnTo>
                  <a:pt x="7601048" y="512337"/>
                </a:lnTo>
                <a:lnTo>
                  <a:pt x="7603544" y="521215"/>
                </a:lnTo>
                <a:lnTo>
                  <a:pt x="7599963" y="524680"/>
                </a:lnTo>
                <a:lnTo>
                  <a:pt x="7597576" y="524680"/>
                </a:lnTo>
                <a:lnTo>
                  <a:pt x="7596274" y="522731"/>
                </a:lnTo>
                <a:lnTo>
                  <a:pt x="7592475" y="522731"/>
                </a:lnTo>
                <a:lnTo>
                  <a:pt x="7589437" y="520782"/>
                </a:lnTo>
                <a:lnTo>
                  <a:pt x="7578585" y="519916"/>
                </a:lnTo>
                <a:lnTo>
                  <a:pt x="7574462" y="522298"/>
                </a:lnTo>
                <a:lnTo>
                  <a:pt x="7569795" y="522298"/>
                </a:lnTo>
                <a:lnTo>
                  <a:pt x="7571098" y="518833"/>
                </a:lnTo>
                <a:lnTo>
                  <a:pt x="7569253" y="515585"/>
                </a:lnTo>
                <a:lnTo>
                  <a:pt x="7565672" y="514935"/>
                </a:lnTo>
                <a:lnTo>
                  <a:pt x="7566756" y="521107"/>
                </a:lnTo>
                <a:lnTo>
                  <a:pt x="7563827" y="521107"/>
                </a:lnTo>
                <a:lnTo>
                  <a:pt x="7562959" y="522514"/>
                </a:lnTo>
                <a:lnTo>
                  <a:pt x="7565237" y="526412"/>
                </a:lnTo>
                <a:lnTo>
                  <a:pt x="7561440" y="530959"/>
                </a:lnTo>
                <a:lnTo>
                  <a:pt x="7560028" y="530959"/>
                </a:lnTo>
                <a:lnTo>
                  <a:pt x="7560028" y="528577"/>
                </a:lnTo>
                <a:lnTo>
                  <a:pt x="7558184" y="527278"/>
                </a:lnTo>
                <a:lnTo>
                  <a:pt x="7548200" y="529768"/>
                </a:lnTo>
                <a:lnTo>
                  <a:pt x="7545596" y="528361"/>
                </a:lnTo>
                <a:lnTo>
                  <a:pt x="7545596" y="525654"/>
                </a:lnTo>
                <a:lnTo>
                  <a:pt x="7543642" y="519591"/>
                </a:lnTo>
                <a:lnTo>
                  <a:pt x="7541907" y="518400"/>
                </a:lnTo>
                <a:lnTo>
                  <a:pt x="7530404" y="509955"/>
                </a:lnTo>
                <a:lnTo>
                  <a:pt x="7528993" y="508115"/>
                </a:lnTo>
                <a:lnTo>
                  <a:pt x="7530186" y="506382"/>
                </a:lnTo>
                <a:lnTo>
                  <a:pt x="7522048" y="503675"/>
                </a:lnTo>
                <a:lnTo>
                  <a:pt x="7520962" y="508656"/>
                </a:lnTo>
                <a:lnTo>
                  <a:pt x="7512824" y="510821"/>
                </a:lnTo>
                <a:lnTo>
                  <a:pt x="7508700" y="514935"/>
                </a:lnTo>
                <a:lnTo>
                  <a:pt x="7505878" y="514935"/>
                </a:lnTo>
                <a:lnTo>
                  <a:pt x="7505878" y="508872"/>
                </a:lnTo>
                <a:lnTo>
                  <a:pt x="7503384" y="504217"/>
                </a:lnTo>
                <a:lnTo>
                  <a:pt x="7504685" y="508764"/>
                </a:lnTo>
                <a:lnTo>
                  <a:pt x="7503708" y="518292"/>
                </a:lnTo>
                <a:lnTo>
                  <a:pt x="7505770" y="523597"/>
                </a:lnTo>
                <a:lnTo>
                  <a:pt x="7504034" y="529227"/>
                </a:lnTo>
                <a:lnTo>
                  <a:pt x="7495244" y="541570"/>
                </a:lnTo>
                <a:lnTo>
                  <a:pt x="7490795" y="541570"/>
                </a:lnTo>
                <a:lnTo>
                  <a:pt x="7490795" y="533017"/>
                </a:lnTo>
                <a:lnTo>
                  <a:pt x="7485695" y="531068"/>
                </a:lnTo>
                <a:lnTo>
                  <a:pt x="7481354" y="533666"/>
                </a:lnTo>
                <a:lnTo>
                  <a:pt x="7469634" y="524788"/>
                </a:lnTo>
                <a:lnTo>
                  <a:pt x="7470394" y="520998"/>
                </a:lnTo>
                <a:lnTo>
                  <a:pt x="7468658" y="509521"/>
                </a:lnTo>
                <a:lnTo>
                  <a:pt x="7464208" y="507898"/>
                </a:lnTo>
                <a:lnTo>
                  <a:pt x="7462581" y="504649"/>
                </a:lnTo>
                <a:lnTo>
                  <a:pt x="7459976" y="501727"/>
                </a:lnTo>
                <a:lnTo>
                  <a:pt x="7457589" y="504109"/>
                </a:lnTo>
                <a:lnTo>
                  <a:pt x="7459217" y="507790"/>
                </a:lnTo>
                <a:lnTo>
                  <a:pt x="7459217" y="511796"/>
                </a:lnTo>
                <a:lnTo>
                  <a:pt x="7462146" y="515152"/>
                </a:lnTo>
                <a:lnTo>
                  <a:pt x="7460844" y="518508"/>
                </a:lnTo>
                <a:lnTo>
                  <a:pt x="7453356" y="514286"/>
                </a:lnTo>
                <a:lnTo>
                  <a:pt x="7448039" y="507790"/>
                </a:lnTo>
                <a:lnTo>
                  <a:pt x="7447063" y="508331"/>
                </a:lnTo>
                <a:lnTo>
                  <a:pt x="7449776" y="514502"/>
                </a:lnTo>
                <a:lnTo>
                  <a:pt x="7446737" y="516884"/>
                </a:lnTo>
                <a:lnTo>
                  <a:pt x="7448908" y="518725"/>
                </a:lnTo>
                <a:lnTo>
                  <a:pt x="7454551" y="518725"/>
                </a:lnTo>
                <a:lnTo>
                  <a:pt x="7457697" y="522514"/>
                </a:lnTo>
                <a:lnTo>
                  <a:pt x="7455853" y="527603"/>
                </a:lnTo>
                <a:lnTo>
                  <a:pt x="7448799" y="527603"/>
                </a:lnTo>
                <a:lnTo>
                  <a:pt x="7448039" y="530635"/>
                </a:lnTo>
                <a:lnTo>
                  <a:pt x="7451187" y="532259"/>
                </a:lnTo>
                <a:lnTo>
                  <a:pt x="7464425" y="547958"/>
                </a:lnTo>
                <a:lnTo>
                  <a:pt x="7474084" y="550556"/>
                </a:lnTo>
                <a:lnTo>
                  <a:pt x="7479618" y="548282"/>
                </a:lnTo>
                <a:lnTo>
                  <a:pt x="7485695" y="551314"/>
                </a:lnTo>
                <a:lnTo>
                  <a:pt x="7487431" y="558027"/>
                </a:lnTo>
                <a:lnTo>
                  <a:pt x="7486454" y="558027"/>
                </a:lnTo>
                <a:lnTo>
                  <a:pt x="7482114" y="552288"/>
                </a:lnTo>
                <a:lnTo>
                  <a:pt x="7479835" y="552288"/>
                </a:lnTo>
                <a:lnTo>
                  <a:pt x="7482874" y="559435"/>
                </a:lnTo>
                <a:lnTo>
                  <a:pt x="7489710" y="564631"/>
                </a:lnTo>
                <a:lnTo>
                  <a:pt x="7491554" y="570586"/>
                </a:lnTo>
                <a:lnTo>
                  <a:pt x="7496004" y="575892"/>
                </a:lnTo>
                <a:lnTo>
                  <a:pt x="7496004" y="586069"/>
                </a:lnTo>
                <a:lnTo>
                  <a:pt x="7492097" y="601768"/>
                </a:lnTo>
                <a:lnTo>
                  <a:pt x="7494485" y="610971"/>
                </a:lnTo>
                <a:lnTo>
                  <a:pt x="7494485" y="617467"/>
                </a:lnTo>
                <a:lnTo>
                  <a:pt x="7495896" y="620716"/>
                </a:lnTo>
                <a:lnTo>
                  <a:pt x="7490144" y="629594"/>
                </a:lnTo>
                <a:lnTo>
                  <a:pt x="7490144" y="635332"/>
                </a:lnTo>
                <a:lnTo>
                  <a:pt x="7486020" y="638364"/>
                </a:lnTo>
                <a:lnTo>
                  <a:pt x="7487322" y="633925"/>
                </a:lnTo>
                <a:lnTo>
                  <a:pt x="7486020" y="632084"/>
                </a:lnTo>
                <a:lnTo>
                  <a:pt x="7475169" y="640421"/>
                </a:lnTo>
                <a:lnTo>
                  <a:pt x="7472456" y="637173"/>
                </a:lnTo>
                <a:lnTo>
                  <a:pt x="7467356" y="640746"/>
                </a:lnTo>
                <a:lnTo>
                  <a:pt x="7463774" y="639880"/>
                </a:lnTo>
                <a:lnTo>
                  <a:pt x="7461170" y="635332"/>
                </a:lnTo>
                <a:lnTo>
                  <a:pt x="7456070" y="635332"/>
                </a:lnTo>
                <a:lnTo>
                  <a:pt x="7449234" y="628078"/>
                </a:lnTo>
                <a:lnTo>
                  <a:pt x="7443699" y="624181"/>
                </a:lnTo>
                <a:lnTo>
                  <a:pt x="7437514" y="623422"/>
                </a:lnTo>
                <a:lnTo>
                  <a:pt x="7433607" y="620824"/>
                </a:lnTo>
                <a:lnTo>
                  <a:pt x="7429483" y="621907"/>
                </a:lnTo>
                <a:lnTo>
                  <a:pt x="7425142" y="627645"/>
                </a:lnTo>
                <a:lnTo>
                  <a:pt x="7419934" y="627645"/>
                </a:lnTo>
                <a:lnTo>
                  <a:pt x="7425251" y="630027"/>
                </a:lnTo>
                <a:lnTo>
                  <a:pt x="7431979" y="630027"/>
                </a:lnTo>
                <a:lnTo>
                  <a:pt x="7435126" y="625155"/>
                </a:lnTo>
                <a:lnTo>
                  <a:pt x="7447822" y="630460"/>
                </a:lnTo>
                <a:lnTo>
                  <a:pt x="7450210" y="634791"/>
                </a:lnTo>
                <a:lnTo>
                  <a:pt x="7443916" y="639122"/>
                </a:lnTo>
                <a:lnTo>
                  <a:pt x="7439792" y="636415"/>
                </a:lnTo>
                <a:lnTo>
                  <a:pt x="7434366" y="636415"/>
                </a:lnTo>
                <a:lnTo>
                  <a:pt x="7434366" y="641287"/>
                </a:lnTo>
                <a:lnTo>
                  <a:pt x="7429808" y="636090"/>
                </a:lnTo>
                <a:lnTo>
                  <a:pt x="7425468" y="636632"/>
                </a:lnTo>
                <a:lnTo>
                  <a:pt x="7427638" y="636632"/>
                </a:lnTo>
                <a:lnTo>
                  <a:pt x="7430026" y="642911"/>
                </a:lnTo>
                <a:lnTo>
                  <a:pt x="7437296" y="646701"/>
                </a:lnTo>
                <a:lnTo>
                  <a:pt x="7435452" y="653521"/>
                </a:lnTo>
                <a:lnTo>
                  <a:pt x="7438382" y="661858"/>
                </a:lnTo>
                <a:lnTo>
                  <a:pt x="7442939" y="664240"/>
                </a:lnTo>
                <a:lnTo>
                  <a:pt x="7440226" y="661533"/>
                </a:lnTo>
                <a:lnTo>
                  <a:pt x="7440226" y="651572"/>
                </a:lnTo>
                <a:lnTo>
                  <a:pt x="7443482" y="649624"/>
                </a:lnTo>
                <a:lnTo>
                  <a:pt x="7447605" y="650707"/>
                </a:lnTo>
                <a:lnTo>
                  <a:pt x="7447605" y="647999"/>
                </a:lnTo>
                <a:lnTo>
                  <a:pt x="7454984" y="641287"/>
                </a:lnTo>
                <a:lnTo>
                  <a:pt x="7459000" y="640205"/>
                </a:lnTo>
                <a:lnTo>
                  <a:pt x="7462038" y="642695"/>
                </a:lnTo>
                <a:lnTo>
                  <a:pt x="7462038" y="645726"/>
                </a:lnTo>
                <a:lnTo>
                  <a:pt x="7468007" y="654929"/>
                </a:lnTo>
                <a:lnTo>
                  <a:pt x="7473975" y="656553"/>
                </a:lnTo>
                <a:lnTo>
                  <a:pt x="7479726" y="662184"/>
                </a:lnTo>
                <a:lnTo>
                  <a:pt x="7486454" y="661209"/>
                </a:lnTo>
                <a:lnTo>
                  <a:pt x="7488408" y="657203"/>
                </a:lnTo>
                <a:lnTo>
                  <a:pt x="7487106" y="653738"/>
                </a:lnTo>
                <a:lnTo>
                  <a:pt x="7489276" y="653738"/>
                </a:lnTo>
                <a:lnTo>
                  <a:pt x="7501755" y="663807"/>
                </a:lnTo>
                <a:lnTo>
                  <a:pt x="7503926" y="667813"/>
                </a:lnTo>
                <a:lnTo>
                  <a:pt x="7499259" y="667055"/>
                </a:lnTo>
                <a:lnTo>
                  <a:pt x="7499259" y="671603"/>
                </a:lnTo>
                <a:lnTo>
                  <a:pt x="7507940" y="680048"/>
                </a:lnTo>
                <a:lnTo>
                  <a:pt x="7511196" y="680048"/>
                </a:lnTo>
                <a:lnTo>
                  <a:pt x="7511196" y="678099"/>
                </a:lnTo>
                <a:lnTo>
                  <a:pt x="7511196" y="671061"/>
                </a:lnTo>
                <a:lnTo>
                  <a:pt x="7518032" y="676258"/>
                </a:lnTo>
                <a:lnTo>
                  <a:pt x="7527582" y="691200"/>
                </a:lnTo>
                <a:lnTo>
                  <a:pt x="7524001" y="687951"/>
                </a:lnTo>
                <a:lnTo>
                  <a:pt x="7520962" y="687951"/>
                </a:lnTo>
                <a:lnTo>
                  <a:pt x="7519877" y="689576"/>
                </a:lnTo>
                <a:lnTo>
                  <a:pt x="7523567" y="694448"/>
                </a:lnTo>
                <a:lnTo>
                  <a:pt x="7518684" y="697912"/>
                </a:lnTo>
                <a:lnTo>
                  <a:pt x="7518684" y="703110"/>
                </a:lnTo>
                <a:lnTo>
                  <a:pt x="7520421" y="706141"/>
                </a:lnTo>
                <a:lnTo>
                  <a:pt x="7525303" y="704517"/>
                </a:lnTo>
                <a:lnTo>
                  <a:pt x="7526171" y="699104"/>
                </a:lnTo>
                <a:lnTo>
                  <a:pt x="7528016" y="697696"/>
                </a:lnTo>
                <a:lnTo>
                  <a:pt x="7531489" y="699104"/>
                </a:lnTo>
                <a:lnTo>
                  <a:pt x="7532791" y="694556"/>
                </a:lnTo>
                <a:lnTo>
                  <a:pt x="7536806" y="701594"/>
                </a:lnTo>
                <a:lnTo>
                  <a:pt x="7547658" y="708631"/>
                </a:lnTo>
                <a:lnTo>
                  <a:pt x="7558510" y="711121"/>
                </a:lnTo>
                <a:lnTo>
                  <a:pt x="7564803" y="716751"/>
                </a:lnTo>
                <a:lnTo>
                  <a:pt x="7561440" y="720324"/>
                </a:lnTo>
                <a:lnTo>
                  <a:pt x="7567625" y="728986"/>
                </a:lnTo>
                <a:lnTo>
                  <a:pt x="7572834" y="730285"/>
                </a:lnTo>
                <a:lnTo>
                  <a:pt x="7579128" y="740030"/>
                </a:lnTo>
                <a:lnTo>
                  <a:pt x="7579128" y="754322"/>
                </a:lnTo>
                <a:lnTo>
                  <a:pt x="7575872" y="755404"/>
                </a:lnTo>
                <a:lnTo>
                  <a:pt x="7575872" y="757786"/>
                </a:lnTo>
                <a:lnTo>
                  <a:pt x="7580647" y="760709"/>
                </a:lnTo>
                <a:lnTo>
                  <a:pt x="7583143" y="766881"/>
                </a:lnTo>
                <a:lnTo>
                  <a:pt x="7580756" y="767747"/>
                </a:lnTo>
                <a:lnTo>
                  <a:pt x="7577717" y="765040"/>
                </a:lnTo>
                <a:lnTo>
                  <a:pt x="7560137" y="765040"/>
                </a:lnTo>
                <a:lnTo>
                  <a:pt x="7554928" y="761792"/>
                </a:lnTo>
                <a:lnTo>
                  <a:pt x="7551456" y="763957"/>
                </a:lnTo>
                <a:lnTo>
                  <a:pt x="7547115" y="762550"/>
                </a:lnTo>
                <a:lnTo>
                  <a:pt x="7546246" y="758436"/>
                </a:lnTo>
                <a:lnTo>
                  <a:pt x="7543534" y="756812"/>
                </a:lnTo>
                <a:lnTo>
                  <a:pt x="7542231" y="758761"/>
                </a:lnTo>
                <a:lnTo>
                  <a:pt x="7544402" y="762334"/>
                </a:lnTo>
                <a:lnTo>
                  <a:pt x="7536806" y="766989"/>
                </a:lnTo>
                <a:lnTo>
                  <a:pt x="7530838" y="766989"/>
                </a:lnTo>
                <a:lnTo>
                  <a:pt x="7528993" y="768938"/>
                </a:lnTo>
                <a:lnTo>
                  <a:pt x="7532466" y="771103"/>
                </a:lnTo>
                <a:lnTo>
                  <a:pt x="7524327" y="778466"/>
                </a:lnTo>
                <a:lnTo>
                  <a:pt x="7519986" y="778466"/>
                </a:lnTo>
                <a:lnTo>
                  <a:pt x="7519986" y="782797"/>
                </a:lnTo>
                <a:lnTo>
                  <a:pt x="7523024" y="783879"/>
                </a:lnTo>
                <a:lnTo>
                  <a:pt x="7515754" y="793082"/>
                </a:lnTo>
                <a:lnTo>
                  <a:pt x="7513041" y="795789"/>
                </a:lnTo>
                <a:lnTo>
                  <a:pt x="7512282" y="794490"/>
                </a:lnTo>
                <a:lnTo>
                  <a:pt x="7508266" y="794490"/>
                </a:lnTo>
                <a:lnTo>
                  <a:pt x="7508266" y="801311"/>
                </a:lnTo>
                <a:lnTo>
                  <a:pt x="7511305" y="808132"/>
                </a:lnTo>
                <a:lnTo>
                  <a:pt x="7506421" y="812787"/>
                </a:lnTo>
                <a:lnTo>
                  <a:pt x="7503708" y="809864"/>
                </a:lnTo>
                <a:lnTo>
                  <a:pt x="7502840" y="814736"/>
                </a:lnTo>
                <a:lnTo>
                  <a:pt x="7505010" y="818201"/>
                </a:lnTo>
                <a:lnTo>
                  <a:pt x="7499585" y="823831"/>
                </a:lnTo>
                <a:lnTo>
                  <a:pt x="7495570" y="824914"/>
                </a:lnTo>
                <a:lnTo>
                  <a:pt x="7498066" y="827296"/>
                </a:lnTo>
                <a:lnTo>
                  <a:pt x="7496763" y="829786"/>
                </a:lnTo>
                <a:lnTo>
                  <a:pt x="7494919" y="833900"/>
                </a:lnTo>
                <a:lnTo>
                  <a:pt x="7491989" y="832493"/>
                </a:lnTo>
                <a:lnTo>
                  <a:pt x="7488408" y="834333"/>
                </a:lnTo>
                <a:lnTo>
                  <a:pt x="7491337" y="837798"/>
                </a:lnTo>
                <a:lnTo>
                  <a:pt x="7491337" y="841588"/>
                </a:lnTo>
                <a:lnTo>
                  <a:pt x="7486454" y="845377"/>
                </a:lnTo>
                <a:lnTo>
                  <a:pt x="7488842" y="848842"/>
                </a:lnTo>
                <a:lnTo>
                  <a:pt x="7487757" y="852631"/>
                </a:lnTo>
                <a:lnTo>
                  <a:pt x="7484502" y="853389"/>
                </a:lnTo>
                <a:lnTo>
                  <a:pt x="7482005" y="850899"/>
                </a:lnTo>
                <a:lnTo>
                  <a:pt x="7478967" y="851982"/>
                </a:lnTo>
                <a:lnTo>
                  <a:pt x="7481462" y="855771"/>
                </a:lnTo>
                <a:lnTo>
                  <a:pt x="7488517" y="859019"/>
                </a:lnTo>
                <a:lnTo>
                  <a:pt x="7486128" y="864216"/>
                </a:lnTo>
                <a:lnTo>
                  <a:pt x="7479401" y="864216"/>
                </a:lnTo>
                <a:lnTo>
                  <a:pt x="7479401" y="866706"/>
                </a:lnTo>
                <a:lnTo>
                  <a:pt x="7482656" y="868547"/>
                </a:lnTo>
                <a:lnTo>
                  <a:pt x="7486128" y="876343"/>
                </a:lnTo>
                <a:lnTo>
                  <a:pt x="7483198" y="878724"/>
                </a:lnTo>
                <a:lnTo>
                  <a:pt x="7485044" y="881973"/>
                </a:lnTo>
                <a:lnTo>
                  <a:pt x="7479943" y="889227"/>
                </a:lnTo>
                <a:lnTo>
                  <a:pt x="7481245" y="893016"/>
                </a:lnTo>
                <a:lnTo>
                  <a:pt x="7477990" y="901353"/>
                </a:lnTo>
                <a:lnTo>
                  <a:pt x="7476146" y="912180"/>
                </a:lnTo>
                <a:lnTo>
                  <a:pt x="7473433" y="916294"/>
                </a:lnTo>
                <a:lnTo>
                  <a:pt x="7473433" y="920625"/>
                </a:lnTo>
                <a:lnTo>
                  <a:pt x="7476470" y="921708"/>
                </a:lnTo>
                <a:lnTo>
                  <a:pt x="7477882" y="924631"/>
                </a:lnTo>
                <a:lnTo>
                  <a:pt x="7476037" y="927554"/>
                </a:lnTo>
                <a:lnTo>
                  <a:pt x="7481245" y="937840"/>
                </a:lnTo>
                <a:lnTo>
                  <a:pt x="7481245" y="941846"/>
                </a:lnTo>
                <a:lnTo>
                  <a:pt x="7477447" y="940547"/>
                </a:lnTo>
                <a:lnTo>
                  <a:pt x="7471804" y="941413"/>
                </a:lnTo>
                <a:lnTo>
                  <a:pt x="7467681" y="937299"/>
                </a:lnTo>
                <a:lnTo>
                  <a:pt x="7465185" y="939681"/>
                </a:lnTo>
                <a:lnTo>
                  <a:pt x="7458349" y="931885"/>
                </a:lnTo>
                <a:lnTo>
                  <a:pt x="7460519" y="930261"/>
                </a:lnTo>
                <a:lnTo>
                  <a:pt x="7458132" y="928962"/>
                </a:lnTo>
                <a:lnTo>
                  <a:pt x="7454007" y="929828"/>
                </a:lnTo>
                <a:lnTo>
                  <a:pt x="7450318" y="929287"/>
                </a:lnTo>
                <a:lnTo>
                  <a:pt x="7449450" y="925173"/>
                </a:lnTo>
                <a:lnTo>
                  <a:pt x="7436754" y="917810"/>
                </a:lnTo>
                <a:lnTo>
                  <a:pt x="7430026" y="916511"/>
                </a:lnTo>
                <a:lnTo>
                  <a:pt x="7422104" y="921600"/>
                </a:lnTo>
                <a:lnTo>
                  <a:pt x="7419608" y="919651"/>
                </a:lnTo>
                <a:lnTo>
                  <a:pt x="7414508" y="921058"/>
                </a:lnTo>
                <a:lnTo>
                  <a:pt x="7409408" y="927554"/>
                </a:lnTo>
                <a:lnTo>
                  <a:pt x="7404741" y="927554"/>
                </a:lnTo>
                <a:lnTo>
                  <a:pt x="7402354" y="936432"/>
                </a:lnTo>
                <a:lnTo>
                  <a:pt x="7399098" y="939464"/>
                </a:lnTo>
                <a:lnTo>
                  <a:pt x="7394432" y="936974"/>
                </a:lnTo>
                <a:lnTo>
                  <a:pt x="7398122" y="943470"/>
                </a:lnTo>
                <a:lnTo>
                  <a:pt x="7395409" y="947476"/>
                </a:lnTo>
                <a:lnTo>
                  <a:pt x="7396494" y="952889"/>
                </a:lnTo>
                <a:lnTo>
                  <a:pt x="7394866" y="957004"/>
                </a:lnTo>
                <a:lnTo>
                  <a:pt x="7393238" y="969672"/>
                </a:lnTo>
                <a:lnTo>
                  <a:pt x="7390852" y="971621"/>
                </a:lnTo>
                <a:lnTo>
                  <a:pt x="7387813" y="967831"/>
                </a:lnTo>
                <a:lnTo>
                  <a:pt x="7382062" y="952457"/>
                </a:lnTo>
                <a:lnTo>
                  <a:pt x="7382062" y="947260"/>
                </a:lnTo>
                <a:lnTo>
                  <a:pt x="7377721" y="944878"/>
                </a:lnTo>
                <a:lnTo>
                  <a:pt x="7374139" y="940222"/>
                </a:lnTo>
                <a:lnTo>
                  <a:pt x="7374139" y="945636"/>
                </a:lnTo>
                <a:lnTo>
                  <a:pt x="7368280" y="955705"/>
                </a:lnTo>
                <a:lnTo>
                  <a:pt x="7364481" y="958087"/>
                </a:lnTo>
                <a:lnTo>
                  <a:pt x="7363614" y="962742"/>
                </a:lnTo>
                <a:lnTo>
                  <a:pt x="7368822" y="964691"/>
                </a:lnTo>
                <a:lnTo>
                  <a:pt x="7363830" y="975518"/>
                </a:lnTo>
                <a:lnTo>
                  <a:pt x="7360249" y="970321"/>
                </a:lnTo>
                <a:lnTo>
                  <a:pt x="7357754" y="970321"/>
                </a:lnTo>
                <a:lnTo>
                  <a:pt x="7355366" y="966856"/>
                </a:lnTo>
                <a:lnTo>
                  <a:pt x="7351785" y="966856"/>
                </a:lnTo>
                <a:lnTo>
                  <a:pt x="7349832" y="973678"/>
                </a:lnTo>
                <a:lnTo>
                  <a:pt x="7347119" y="974544"/>
                </a:lnTo>
                <a:lnTo>
                  <a:pt x="7342344" y="971837"/>
                </a:lnTo>
                <a:lnTo>
                  <a:pt x="7338872" y="971837"/>
                </a:lnTo>
                <a:lnTo>
                  <a:pt x="7338221" y="974869"/>
                </a:lnTo>
                <a:lnTo>
                  <a:pt x="7341368" y="979416"/>
                </a:lnTo>
                <a:lnTo>
                  <a:pt x="7338980" y="981256"/>
                </a:lnTo>
                <a:lnTo>
                  <a:pt x="7337461" y="985371"/>
                </a:lnTo>
                <a:lnTo>
                  <a:pt x="7336810" y="989377"/>
                </a:lnTo>
                <a:lnTo>
                  <a:pt x="7341151" y="994249"/>
                </a:lnTo>
                <a:lnTo>
                  <a:pt x="7342344" y="999879"/>
                </a:lnTo>
                <a:lnTo>
                  <a:pt x="7339957" y="1000745"/>
                </a:lnTo>
                <a:lnTo>
                  <a:pt x="7341151" y="1003993"/>
                </a:lnTo>
                <a:lnTo>
                  <a:pt x="7346142" y="1005509"/>
                </a:lnTo>
                <a:lnTo>
                  <a:pt x="7349723" y="1009299"/>
                </a:lnTo>
                <a:lnTo>
                  <a:pt x="7350591" y="1012330"/>
                </a:lnTo>
                <a:lnTo>
                  <a:pt x="7348747" y="1012330"/>
                </a:lnTo>
                <a:lnTo>
                  <a:pt x="7347228" y="1015578"/>
                </a:lnTo>
                <a:lnTo>
                  <a:pt x="7351026" y="1019043"/>
                </a:lnTo>
                <a:lnTo>
                  <a:pt x="7354606" y="1021966"/>
                </a:lnTo>
                <a:lnTo>
                  <a:pt x="7354606" y="1023915"/>
                </a:lnTo>
                <a:lnTo>
                  <a:pt x="7350266" y="1020992"/>
                </a:lnTo>
                <a:lnTo>
                  <a:pt x="7346901" y="1022183"/>
                </a:lnTo>
                <a:lnTo>
                  <a:pt x="7346250" y="1024023"/>
                </a:lnTo>
                <a:lnTo>
                  <a:pt x="7350916" y="1029112"/>
                </a:lnTo>
                <a:lnTo>
                  <a:pt x="7353413" y="1027596"/>
                </a:lnTo>
                <a:lnTo>
                  <a:pt x="7353413" y="1032577"/>
                </a:lnTo>
                <a:lnTo>
                  <a:pt x="7352002" y="1037990"/>
                </a:lnTo>
                <a:lnTo>
                  <a:pt x="7352002" y="1042213"/>
                </a:lnTo>
                <a:lnTo>
                  <a:pt x="7349072" y="1046111"/>
                </a:lnTo>
                <a:lnTo>
                  <a:pt x="7351460" y="1053257"/>
                </a:lnTo>
                <a:lnTo>
                  <a:pt x="7349723" y="1056613"/>
                </a:lnTo>
                <a:lnTo>
                  <a:pt x="7352111" y="1061485"/>
                </a:lnTo>
                <a:lnTo>
                  <a:pt x="7352111" y="1064300"/>
                </a:lnTo>
                <a:lnTo>
                  <a:pt x="7352111" y="1069389"/>
                </a:lnTo>
                <a:lnTo>
                  <a:pt x="7356018" y="1077942"/>
                </a:lnTo>
                <a:lnTo>
                  <a:pt x="7354173" y="1080324"/>
                </a:lnTo>
                <a:lnTo>
                  <a:pt x="7357862" y="1082814"/>
                </a:lnTo>
                <a:lnTo>
                  <a:pt x="7362202" y="1087253"/>
                </a:lnTo>
                <a:lnTo>
                  <a:pt x="7368605" y="1095699"/>
                </a:lnTo>
                <a:lnTo>
                  <a:pt x="7374466" y="1098405"/>
                </a:lnTo>
                <a:lnTo>
                  <a:pt x="7376418" y="1096781"/>
                </a:lnTo>
                <a:lnTo>
                  <a:pt x="7377178" y="1092559"/>
                </a:lnTo>
                <a:lnTo>
                  <a:pt x="7371210" y="1085846"/>
                </a:lnTo>
                <a:lnTo>
                  <a:pt x="7371210" y="1082490"/>
                </a:lnTo>
                <a:lnTo>
                  <a:pt x="7374682" y="1079675"/>
                </a:lnTo>
                <a:lnTo>
                  <a:pt x="7379674" y="1079675"/>
                </a:lnTo>
                <a:lnTo>
                  <a:pt x="7387813" y="1085846"/>
                </a:lnTo>
                <a:lnTo>
                  <a:pt x="7391828" y="1085088"/>
                </a:lnTo>
                <a:lnTo>
                  <a:pt x="7395192" y="1086820"/>
                </a:lnTo>
                <a:lnTo>
                  <a:pt x="7395192" y="1091043"/>
                </a:lnTo>
                <a:lnTo>
                  <a:pt x="7393998" y="1093858"/>
                </a:lnTo>
                <a:lnTo>
                  <a:pt x="7397036" y="1097431"/>
                </a:lnTo>
                <a:lnTo>
                  <a:pt x="7394106" y="1101870"/>
                </a:lnTo>
                <a:lnTo>
                  <a:pt x="7395409" y="1105767"/>
                </a:lnTo>
                <a:lnTo>
                  <a:pt x="7393672" y="1107175"/>
                </a:lnTo>
                <a:lnTo>
                  <a:pt x="7390200" y="1111289"/>
                </a:lnTo>
                <a:lnTo>
                  <a:pt x="7394649" y="1120168"/>
                </a:lnTo>
                <a:lnTo>
                  <a:pt x="7398122" y="1125365"/>
                </a:lnTo>
                <a:lnTo>
                  <a:pt x="7398122" y="1133810"/>
                </a:lnTo>
                <a:lnTo>
                  <a:pt x="7403222" y="1137383"/>
                </a:lnTo>
                <a:lnTo>
                  <a:pt x="7405718" y="1135542"/>
                </a:lnTo>
                <a:lnTo>
                  <a:pt x="7405718" y="1133052"/>
                </a:lnTo>
                <a:lnTo>
                  <a:pt x="7409516" y="1130128"/>
                </a:lnTo>
                <a:lnTo>
                  <a:pt x="7410926" y="1128180"/>
                </a:lnTo>
                <a:lnTo>
                  <a:pt x="7412229" y="1129479"/>
                </a:lnTo>
                <a:lnTo>
                  <a:pt x="7417329" y="1131970"/>
                </a:lnTo>
                <a:lnTo>
                  <a:pt x="7417329" y="1142797"/>
                </a:lnTo>
                <a:lnTo>
                  <a:pt x="7428182" y="1152216"/>
                </a:lnTo>
                <a:lnTo>
                  <a:pt x="7431979" y="1159795"/>
                </a:lnTo>
                <a:lnTo>
                  <a:pt x="7429808" y="1162827"/>
                </a:lnTo>
                <a:lnTo>
                  <a:pt x="7429808" y="1169323"/>
                </a:lnTo>
                <a:lnTo>
                  <a:pt x="7426553" y="1170622"/>
                </a:lnTo>
                <a:lnTo>
                  <a:pt x="7420368" y="1166074"/>
                </a:lnTo>
                <a:lnTo>
                  <a:pt x="7413098" y="1163368"/>
                </a:lnTo>
                <a:lnTo>
                  <a:pt x="7413098" y="1156546"/>
                </a:lnTo>
                <a:lnTo>
                  <a:pt x="7415268" y="1151674"/>
                </a:lnTo>
                <a:lnTo>
                  <a:pt x="7415268" y="1145720"/>
                </a:lnTo>
                <a:lnTo>
                  <a:pt x="7413966" y="1141172"/>
                </a:lnTo>
                <a:lnTo>
                  <a:pt x="7410926" y="1144095"/>
                </a:lnTo>
                <a:lnTo>
                  <a:pt x="7411795" y="1146152"/>
                </a:lnTo>
                <a:lnTo>
                  <a:pt x="7411795" y="1149726"/>
                </a:lnTo>
                <a:lnTo>
                  <a:pt x="7407129" y="1150592"/>
                </a:lnTo>
                <a:lnTo>
                  <a:pt x="7402570" y="1157305"/>
                </a:lnTo>
                <a:lnTo>
                  <a:pt x="7403873" y="1160228"/>
                </a:lnTo>
                <a:lnTo>
                  <a:pt x="7409516" y="1158929"/>
                </a:lnTo>
                <a:lnTo>
                  <a:pt x="7409516" y="1163801"/>
                </a:lnTo>
                <a:lnTo>
                  <a:pt x="7406043" y="1169215"/>
                </a:lnTo>
                <a:lnTo>
                  <a:pt x="7407996" y="1176793"/>
                </a:lnTo>
                <a:lnTo>
                  <a:pt x="7406912" y="1178959"/>
                </a:lnTo>
                <a:lnTo>
                  <a:pt x="7407454" y="1195741"/>
                </a:lnTo>
                <a:lnTo>
                  <a:pt x="7410926" y="1199205"/>
                </a:lnTo>
                <a:lnTo>
                  <a:pt x="7410926" y="1203211"/>
                </a:lnTo>
                <a:lnTo>
                  <a:pt x="7423623" y="1221076"/>
                </a:lnTo>
                <a:lnTo>
                  <a:pt x="7427204" y="1221076"/>
                </a:lnTo>
                <a:lnTo>
                  <a:pt x="7435343" y="1232445"/>
                </a:lnTo>
                <a:lnTo>
                  <a:pt x="7440769" y="1235476"/>
                </a:lnTo>
                <a:lnTo>
                  <a:pt x="7437514" y="1239265"/>
                </a:lnTo>
                <a:lnTo>
                  <a:pt x="7437514" y="1245437"/>
                </a:lnTo>
                <a:lnTo>
                  <a:pt x="7423406" y="1250851"/>
                </a:lnTo>
                <a:lnTo>
                  <a:pt x="7422320" y="1248360"/>
                </a:lnTo>
                <a:lnTo>
                  <a:pt x="7414508" y="1253232"/>
                </a:lnTo>
                <a:lnTo>
                  <a:pt x="7410926" y="1252367"/>
                </a:lnTo>
                <a:lnTo>
                  <a:pt x="7411252" y="1251500"/>
                </a:lnTo>
                <a:lnTo>
                  <a:pt x="7406912" y="1260703"/>
                </a:lnTo>
                <a:lnTo>
                  <a:pt x="7406043" y="1266983"/>
                </a:lnTo>
                <a:lnTo>
                  <a:pt x="7403005" y="1269906"/>
                </a:lnTo>
                <a:lnTo>
                  <a:pt x="7406912" y="1274020"/>
                </a:lnTo>
                <a:lnTo>
                  <a:pt x="7403982" y="1286147"/>
                </a:lnTo>
                <a:lnTo>
                  <a:pt x="7408540" y="1299897"/>
                </a:lnTo>
                <a:lnTo>
                  <a:pt x="7415050" y="1303470"/>
                </a:lnTo>
                <a:lnTo>
                  <a:pt x="7415050" y="1309424"/>
                </a:lnTo>
                <a:lnTo>
                  <a:pt x="7421887" y="1312889"/>
                </a:lnTo>
                <a:lnTo>
                  <a:pt x="7425360" y="1317545"/>
                </a:lnTo>
                <a:lnTo>
                  <a:pt x="7419934" y="1317004"/>
                </a:lnTo>
                <a:lnTo>
                  <a:pt x="7418306" y="1315380"/>
                </a:lnTo>
                <a:lnTo>
                  <a:pt x="7413748" y="1318303"/>
                </a:lnTo>
                <a:lnTo>
                  <a:pt x="7409733" y="1322093"/>
                </a:lnTo>
                <a:lnTo>
                  <a:pt x="7406152" y="1321334"/>
                </a:lnTo>
                <a:lnTo>
                  <a:pt x="7399098" y="1327831"/>
                </a:lnTo>
                <a:lnTo>
                  <a:pt x="7394432" y="1324041"/>
                </a:lnTo>
                <a:lnTo>
                  <a:pt x="7391936" y="1328697"/>
                </a:lnTo>
                <a:lnTo>
                  <a:pt x="7394866" y="1331187"/>
                </a:lnTo>
                <a:lnTo>
                  <a:pt x="7399966" y="1331187"/>
                </a:lnTo>
                <a:lnTo>
                  <a:pt x="7398773" y="1336384"/>
                </a:lnTo>
                <a:lnTo>
                  <a:pt x="7397688" y="1339524"/>
                </a:lnTo>
                <a:lnTo>
                  <a:pt x="7402354" y="1344180"/>
                </a:lnTo>
                <a:lnTo>
                  <a:pt x="7400509" y="1346562"/>
                </a:lnTo>
                <a:lnTo>
                  <a:pt x="7397796" y="1345695"/>
                </a:lnTo>
                <a:lnTo>
                  <a:pt x="7401052" y="1352517"/>
                </a:lnTo>
                <a:lnTo>
                  <a:pt x="7399424" y="1356089"/>
                </a:lnTo>
                <a:lnTo>
                  <a:pt x="7402462" y="1356847"/>
                </a:lnTo>
                <a:lnTo>
                  <a:pt x="7405175" y="1355440"/>
                </a:lnTo>
                <a:lnTo>
                  <a:pt x="7409516" y="1359988"/>
                </a:lnTo>
                <a:lnTo>
                  <a:pt x="7405610" y="1363560"/>
                </a:lnTo>
                <a:lnTo>
                  <a:pt x="7405067" y="1370598"/>
                </a:lnTo>
                <a:lnTo>
                  <a:pt x="7407780" y="1374929"/>
                </a:lnTo>
                <a:lnTo>
                  <a:pt x="7406152" y="1385755"/>
                </a:lnTo>
                <a:lnTo>
                  <a:pt x="7404199" y="1389761"/>
                </a:lnTo>
                <a:lnTo>
                  <a:pt x="7405284" y="1391927"/>
                </a:lnTo>
                <a:lnTo>
                  <a:pt x="7404199" y="1396258"/>
                </a:lnTo>
                <a:lnTo>
                  <a:pt x="7398447" y="1401347"/>
                </a:lnTo>
                <a:lnTo>
                  <a:pt x="7398447" y="1406219"/>
                </a:lnTo>
                <a:lnTo>
                  <a:pt x="7397036" y="1407085"/>
                </a:lnTo>
                <a:lnTo>
                  <a:pt x="7394541" y="1417912"/>
                </a:lnTo>
                <a:lnTo>
                  <a:pt x="7389440" y="1428739"/>
                </a:lnTo>
                <a:lnTo>
                  <a:pt x="7390308" y="1423650"/>
                </a:lnTo>
                <a:lnTo>
                  <a:pt x="7389006" y="1420077"/>
                </a:lnTo>
                <a:lnTo>
                  <a:pt x="7389006" y="1415205"/>
                </a:lnTo>
                <a:lnTo>
                  <a:pt x="7387596" y="1411957"/>
                </a:lnTo>
                <a:lnTo>
                  <a:pt x="7378154" y="1410875"/>
                </a:lnTo>
                <a:lnTo>
                  <a:pt x="7373055" y="1403512"/>
                </a:lnTo>
                <a:lnTo>
                  <a:pt x="7371969" y="1395067"/>
                </a:lnTo>
                <a:lnTo>
                  <a:pt x="7362745" y="1374712"/>
                </a:lnTo>
                <a:lnTo>
                  <a:pt x="7356560" y="1364968"/>
                </a:lnTo>
                <a:lnTo>
                  <a:pt x="7360032" y="1364968"/>
                </a:lnTo>
                <a:lnTo>
                  <a:pt x="7364048" y="1362802"/>
                </a:lnTo>
                <a:lnTo>
                  <a:pt x="7365892" y="1358796"/>
                </a:lnTo>
                <a:lnTo>
                  <a:pt x="7362094" y="1360637"/>
                </a:lnTo>
                <a:lnTo>
                  <a:pt x="7355800" y="1360637"/>
                </a:lnTo>
                <a:lnTo>
                  <a:pt x="7347336" y="1356306"/>
                </a:lnTo>
                <a:lnTo>
                  <a:pt x="7328888" y="1322958"/>
                </a:lnTo>
                <a:lnTo>
                  <a:pt x="7312068" y="1303254"/>
                </a:lnTo>
                <a:lnTo>
                  <a:pt x="7312068" y="1295999"/>
                </a:lnTo>
                <a:lnTo>
                  <a:pt x="7305882" y="1289178"/>
                </a:lnTo>
                <a:lnTo>
                  <a:pt x="7292644" y="1268391"/>
                </a:lnTo>
                <a:lnTo>
                  <a:pt x="7279947" y="1243055"/>
                </a:lnTo>
                <a:lnTo>
                  <a:pt x="7269095" y="1219235"/>
                </a:lnTo>
                <a:lnTo>
                  <a:pt x="7269095" y="1210898"/>
                </a:lnTo>
                <a:lnTo>
                  <a:pt x="7262584" y="1200072"/>
                </a:lnTo>
                <a:lnTo>
                  <a:pt x="7260414" y="1183398"/>
                </a:lnTo>
                <a:lnTo>
                  <a:pt x="7256399" y="1175061"/>
                </a:lnTo>
                <a:lnTo>
                  <a:pt x="7257484" y="1165209"/>
                </a:lnTo>
                <a:lnTo>
                  <a:pt x="7262802" y="1158820"/>
                </a:lnTo>
                <a:lnTo>
                  <a:pt x="7264103" y="1150700"/>
                </a:lnTo>
                <a:lnTo>
                  <a:pt x="7267902" y="1149293"/>
                </a:lnTo>
                <a:lnTo>
                  <a:pt x="7265189" y="1146044"/>
                </a:lnTo>
                <a:lnTo>
                  <a:pt x="7267142" y="1143121"/>
                </a:lnTo>
                <a:lnTo>
                  <a:pt x="7267142" y="1131428"/>
                </a:lnTo>
                <a:lnTo>
                  <a:pt x="7258135" y="1118977"/>
                </a:lnTo>
                <a:lnTo>
                  <a:pt x="7251949" y="1118977"/>
                </a:lnTo>
                <a:lnTo>
                  <a:pt x="7251949" y="1115512"/>
                </a:lnTo>
                <a:lnTo>
                  <a:pt x="7256617" y="1111181"/>
                </a:lnTo>
                <a:lnTo>
                  <a:pt x="7266057" y="1115729"/>
                </a:lnTo>
                <a:lnTo>
                  <a:pt x="7271266" y="1109991"/>
                </a:lnTo>
                <a:lnTo>
                  <a:pt x="7269964" y="1106201"/>
                </a:lnTo>
                <a:lnTo>
                  <a:pt x="7269964" y="1096998"/>
                </a:lnTo>
                <a:lnTo>
                  <a:pt x="7278103" y="1095915"/>
                </a:lnTo>
                <a:lnTo>
                  <a:pt x="7282660" y="1097215"/>
                </a:lnTo>
                <a:lnTo>
                  <a:pt x="7278644" y="1091584"/>
                </a:lnTo>
                <a:lnTo>
                  <a:pt x="7286024" y="1077292"/>
                </a:lnTo>
                <a:lnTo>
                  <a:pt x="7282986" y="1068414"/>
                </a:lnTo>
                <a:lnTo>
                  <a:pt x="7282986" y="1058995"/>
                </a:lnTo>
                <a:lnTo>
                  <a:pt x="7280056" y="1053906"/>
                </a:lnTo>
                <a:lnTo>
                  <a:pt x="7284071" y="1049575"/>
                </a:lnTo>
                <a:lnTo>
                  <a:pt x="7284071" y="1043621"/>
                </a:lnTo>
                <a:lnTo>
                  <a:pt x="7282443" y="1040914"/>
                </a:lnTo>
                <a:lnTo>
                  <a:pt x="7283962" y="1032902"/>
                </a:lnTo>
                <a:lnTo>
                  <a:pt x="7287652" y="1032902"/>
                </a:lnTo>
                <a:lnTo>
                  <a:pt x="7283202" y="1028463"/>
                </a:lnTo>
                <a:lnTo>
                  <a:pt x="7282226" y="1024673"/>
                </a:lnTo>
                <a:lnTo>
                  <a:pt x="7283746" y="1022507"/>
                </a:lnTo>
                <a:lnTo>
                  <a:pt x="7284939" y="1013305"/>
                </a:lnTo>
                <a:lnTo>
                  <a:pt x="7282877" y="1011464"/>
                </a:lnTo>
                <a:lnTo>
                  <a:pt x="7283637" y="1006700"/>
                </a:lnTo>
                <a:lnTo>
                  <a:pt x="7289062" y="1004643"/>
                </a:lnTo>
                <a:lnTo>
                  <a:pt x="7291341" y="1001287"/>
                </a:lnTo>
                <a:lnTo>
                  <a:pt x="7289822" y="993599"/>
                </a:lnTo>
                <a:lnTo>
                  <a:pt x="7291450" y="983422"/>
                </a:lnTo>
                <a:lnTo>
                  <a:pt x="7288954" y="981906"/>
                </a:lnTo>
                <a:lnTo>
                  <a:pt x="7288086" y="978875"/>
                </a:lnTo>
                <a:lnTo>
                  <a:pt x="7292210" y="971404"/>
                </a:lnTo>
                <a:lnTo>
                  <a:pt x="7292210" y="964799"/>
                </a:lnTo>
                <a:lnTo>
                  <a:pt x="7288737" y="965991"/>
                </a:lnTo>
                <a:lnTo>
                  <a:pt x="7286892" y="960036"/>
                </a:lnTo>
                <a:lnTo>
                  <a:pt x="7289388" y="956354"/>
                </a:lnTo>
                <a:lnTo>
                  <a:pt x="7289388" y="951699"/>
                </a:lnTo>
                <a:lnTo>
                  <a:pt x="7293078" y="950399"/>
                </a:lnTo>
                <a:lnTo>
                  <a:pt x="7294054" y="948018"/>
                </a:lnTo>
                <a:lnTo>
                  <a:pt x="7299480" y="944661"/>
                </a:lnTo>
                <a:lnTo>
                  <a:pt x="7300023" y="940114"/>
                </a:lnTo>
                <a:lnTo>
                  <a:pt x="7305992" y="934484"/>
                </a:lnTo>
                <a:lnTo>
                  <a:pt x="7307510" y="934484"/>
                </a:lnTo>
                <a:lnTo>
                  <a:pt x="7311960" y="931127"/>
                </a:lnTo>
                <a:lnTo>
                  <a:pt x="7314781" y="931127"/>
                </a:lnTo>
                <a:lnTo>
                  <a:pt x="7315757" y="928096"/>
                </a:lnTo>
                <a:lnTo>
                  <a:pt x="7314564" y="926255"/>
                </a:lnTo>
                <a:lnTo>
                  <a:pt x="7310007" y="925606"/>
                </a:lnTo>
                <a:lnTo>
                  <a:pt x="7306968" y="927554"/>
                </a:lnTo>
                <a:lnTo>
                  <a:pt x="7303278" y="924739"/>
                </a:lnTo>
                <a:lnTo>
                  <a:pt x="7303278" y="915536"/>
                </a:lnTo>
                <a:lnTo>
                  <a:pt x="7306100" y="908282"/>
                </a:lnTo>
                <a:lnTo>
                  <a:pt x="7304363" y="905359"/>
                </a:lnTo>
                <a:lnTo>
                  <a:pt x="7301650" y="900487"/>
                </a:lnTo>
                <a:lnTo>
                  <a:pt x="7299914" y="900487"/>
                </a:lnTo>
                <a:lnTo>
                  <a:pt x="7298178" y="903735"/>
                </a:lnTo>
                <a:lnTo>
                  <a:pt x="7296442" y="903085"/>
                </a:lnTo>
                <a:lnTo>
                  <a:pt x="7295356" y="892258"/>
                </a:lnTo>
                <a:lnTo>
                  <a:pt x="7297310" y="889768"/>
                </a:lnTo>
                <a:lnTo>
                  <a:pt x="7297310" y="887061"/>
                </a:lnTo>
                <a:lnTo>
                  <a:pt x="7296007" y="881431"/>
                </a:lnTo>
                <a:lnTo>
                  <a:pt x="7291016" y="879374"/>
                </a:lnTo>
                <a:lnTo>
                  <a:pt x="7292210" y="877425"/>
                </a:lnTo>
                <a:lnTo>
                  <a:pt x="7291558" y="877425"/>
                </a:lnTo>
                <a:lnTo>
                  <a:pt x="7291558" y="874935"/>
                </a:lnTo>
                <a:lnTo>
                  <a:pt x="7286242" y="868763"/>
                </a:lnTo>
                <a:lnTo>
                  <a:pt x="7285482" y="865190"/>
                </a:lnTo>
                <a:lnTo>
                  <a:pt x="7282552" y="862484"/>
                </a:lnTo>
                <a:lnTo>
                  <a:pt x="7282552" y="857503"/>
                </a:lnTo>
                <a:lnTo>
                  <a:pt x="7279947" y="851549"/>
                </a:lnTo>
                <a:lnTo>
                  <a:pt x="7279947" y="847976"/>
                </a:lnTo>
                <a:lnTo>
                  <a:pt x="7286350" y="841371"/>
                </a:lnTo>
                <a:lnTo>
                  <a:pt x="7291884" y="842670"/>
                </a:lnTo>
                <a:lnTo>
                  <a:pt x="7296767" y="840938"/>
                </a:lnTo>
                <a:lnTo>
                  <a:pt x="7293838" y="838556"/>
                </a:lnTo>
                <a:lnTo>
                  <a:pt x="7299914" y="835091"/>
                </a:lnTo>
                <a:lnTo>
                  <a:pt x="7297093" y="835849"/>
                </a:lnTo>
                <a:lnTo>
                  <a:pt x="7292210" y="835308"/>
                </a:lnTo>
                <a:lnTo>
                  <a:pt x="7289605" y="834009"/>
                </a:lnTo>
                <a:lnTo>
                  <a:pt x="7282986" y="834009"/>
                </a:lnTo>
                <a:lnTo>
                  <a:pt x="7276041" y="828378"/>
                </a:lnTo>
                <a:lnTo>
                  <a:pt x="7274196" y="830111"/>
                </a:lnTo>
                <a:lnTo>
                  <a:pt x="7268010" y="830111"/>
                </a:lnTo>
                <a:lnTo>
                  <a:pt x="7263670" y="835200"/>
                </a:lnTo>
                <a:lnTo>
                  <a:pt x="7258678" y="835200"/>
                </a:lnTo>
                <a:lnTo>
                  <a:pt x="7252384" y="841154"/>
                </a:lnTo>
                <a:lnTo>
                  <a:pt x="7254555" y="843536"/>
                </a:lnTo>
                <a:lnTo>
                  <a:pt x="7253904" y="847542"/>
                </a:lnTo>
                <a:lnTo>
                  <a:pt x="7259221" y="851765"/>
                </a:lnTo>
                <a:lnTo>
                  <a:pt x="7260306" y="856745"/>
                </a:lnTo>
                <a:lnTo>
                  <a:pt x="7258461" y="858694"/>
                </a:lnTo>
                <a:lnTo>
                  <a:pt x="7259980" y="865623"/>
                </a:lnTo>
                <a:lnTo>
                  <a:pt x="7264429" y="869088"/>
                </a:lnTo>
                <a:lnTo>
                  <a:pt x="7264429" y="871686"/>
                </a:lnTo>
                <a:lnTo>
                  <a:pt x="7267576" y="873528"/>
                </a:lnTo>
                <a:lnTo>
                  <a:pt x="7269964" y="883380"/>
                </a:lnTo>
                <a:lnTo>
                  <a:pt x="7277017" y="886845"/>
                </a:lnTo>
                <a:lnTo>
                  <a:pt x="7276150" y="891826"/>
                </a:lnTo>
                <a:lnTo>
                  <a:pt x="7279187" y="895290"/>
                </a:lnTo>
                <a:lnTo>
                  <a:pt x="7277343" y="898213"/>
                </a:lnTo>
                <a:lnTo>
                  <a:pt x="7273762" y="895290"/>
                </a:lnTo>
                <a:lnTo>
                  <a:pt x="7272026" y="891500"/>
                </a:lnTo>
                <a:lnTo>
                  <a:pt x="7265514" y="893016"/>
                </a:lnTo>
                <a:lnTo>
                  <a:pt x="7261825" y="895831"/>
                </a:lnTo>
                <a:lnTo>
                  <a:pt x="7259221" y="903085"/>
                </a:lnTo>
                <a:lnTo>
                  <a:pt x="7262042" y="906008"/>
                </a:lnTo>
                <a:lnTo>
                  <a:pt x="7260740" y="913155"/>
                </a:lnTo>
                <a:lnTo>
                  <a:pt x="7259004" y="914454"/>
                </a:lnTo>
                <a:lnTo>
                  <a:pt x="7259004" y="916078"/>
                </a:lnTo>
                <a:lnTo>
                  <a:pt x="7260740" y="917269"/>
                </a:lnTo>
                <a:lnTo>
                  <a:pt x="7260740" y="921058"/>
                </a:lnTo>
                <a:lnTo>
                  <a:pt x="7256724" y="924848"/>
                </a:lnTo>
                <a:lnTo>
                  <a:pt x="7260089" y="927879"/>
                </a:lnTo>
                <a:lnTo>
                  <a:pt x="7256942" y="931236"/>
                </a:lnTo>
                <a:lnTo>
                  <a:pt x="7256942" y="943254"/>
                </a:lnTo>
                <a:lnTo>
                  <a:pt x="7255097" y="946177"/>
                </a:lnTo>
                <a:lnTo>
                  <a:pt x="7255097" y="949100"/>
                </a:lnTo>
                <a:lnTo>
                  <a:pt x="7251624" y="951266"/>
                </a:lnTo>
                <a:lnTo>
                  <a:pt x="7248803" y="958411"/>
                </a:lnTo>
                <a:lnTo>
                  <a:pt x="7247283" y="953106"/>
                </a:lnTo>
                <a:lnTo>
                  <a:pt x="7243052" y="949317"/>
                </a:lnTo>
                <a:lnTo>
                  <a:pt x="7246958" y="942279"/>
                </a:lnTo>
                <a:lnTo>
                  <a:pt x="7244896" y="939681"/>
                </a:lnTo>
                <a:lnTo>
                  <a:pt x="7241641" y="939681"/>
                </a:lnTo>
                <a:lnTo>
                  <a:pt x="7237408" y="943579"/>
                </a:lnTo>
                <a:lnTo>
                  <a:pt x="7237408" y="947260"/>
                </a:lnTo>
                <a:lnTo>
                  <a:pt x="7235021" y="949100"/>
                </a:lnTo>
                <a:lnTo>
                  <a:pt x="7234261" y="940655"/>
                </a:lnTo>
                <a:lnTo>
                  <a:pt x="7229487" y="939464"/>
                </a:lnTo>
                <a:lnTo>
                  <a:pt x="7227859" y="936108"/>
                </a:lnTo>
                <a:lnTo>
                  <a:pt x="7223736" y="940006"/>
                </a:lnTo>
                <a:lnTo>
                  <a:pt x="7222216" y="937624"/>
                </a:lnTo>
                <a:lnTo>
                  <a:pt x="7223627" y="935783"/>
                </a:lnTo>
                <a:lnTo>
                  <a:pt x="7225689" y="932752"/>
                </a:lnTo>
                <a:lnTo>
                  <a:pt x="7224278" y="930802"/>
                </a:lnTo>
                <a:lnTo>
                  <a:pt x="7224278" y="927122"/>
                </a:lnTo>
                <a:lnTo>
                  <a:pt x="7225689" y="927122"/>
                </a:lnTo>
                <a:lnTo>
                  <a:pt x="7224278" y="922032"/>
                </a:lnTo>
                <a:lnTo>
                  <a:pt x="7222108" y="920625"/>
                </a:lnTo>
                <a:lnTo>
                  <a:pt x="7225255" y="917161"/>
                </a:lnTo>
                <a:lnTo>
                  <a:pt x="7223736" y="912830"/>
                </a:lnTo>
                <a:lnTo>
                  <a:pt x="7221674" y="910340"/>
                </a:lnTo>
                <a:lnTo>
                  <a:pt x="7223084" y="908282"/>
                </a:lnTo>
                <a:lnTo>
                  <a:pt x="7223084" y="902544"/>
                </a:lnTo>
                <a:lnTo>
                  <a:pt x="7218092" y="898971"/>
                </a:lnTo>
                <a:lnTo>
                  <a:pt x="7216682" y="894965"/>
                </a:lnTo>
                <a:lnTo>
                  <a:pt x="7214620" y="894965"/>
                </a:lnTo>
                <a:lnTo>
                  <a:pt x="7213643" y="900703"/>
                </a:lnTo>
                <a:lnTo>
                  <a:pt x="7210497" y="901569"/>
                </a:lnTo>
                <a:lnTo>
                  <a:pt x="7210497" y="907524"/>
                </a:lnTo>
                <a:lnTo>
                  <a:pt x="7206481" y="912504"/>
                </a:lnTo>
                <a:lnTo>
                  <a:pt x="7204636" y="912504"/>
                </a:lnTo>
                <a:lnTo>
                  <a:pt x="7201815" y="906658"/>
                </a:lnTo>
                <a:lnTo>
                  <a:pt x="7199970" y="906658"/>
                </a:lnTo>
                <a:lnTo>
                  <a:pt x="7197800" y="908174"/>
                </a:lnTo>
                <a:lnTo>
                  <a:pt x="7196823" y="903626"/>
                </a:lnTo>
                <a:lnTo>
                  <a:pt x="7191289" y="903626"/>
                </a:lnTo>
                <a:lnTo>
                  <a:pt x="7189661" y="905251"/>
                </a:lnTo>
                <a:lnTo>
                  <a:pt x="7187600" y="905251"/>
                </a:lnTo>
                <a:lnTo>
                  <a:pt x="7186623" y="909798"/>
                </a:lnTo>
                <a:lnTo>
                  <a:pt x="7183042" y="910773"/>
                </a:lnTo>
                <a:lnTo>
                  <a:pt x="7182391" y="913046"/>
                </a:lnTo>
                <a:lnTo>
                  <a:pt x="7173710" y="913046"/>
                </a:lnTo>
                <a:lnTo>
                  <a:pt x="7171213" y="916619"/>
                </a:lnTo>
                <a:lnTo>
                  <a:pt x="7167850" y="915428"/>
                </a:lnTo>
                <a:lnTo>
                  <a:pt x="7165028" y="917485"/>
                </a:lnTo>
                <a:lnTo>
                  <a:pt x="7159385" y="916728"/>
                </a:lnTo>
                <a:lnTo>
                  <a:pt x="7154177" y="925173"/>
                </a:lnTo>
                <a:lnTo>
                  <a:pt x="7151247" y="926905"/>
                </a:lnTo>
                <a:lnTo>
                  <a:pt x="7151898" y="933401"/>
                </a:lnTo>
                <a:lnTo>
                  <a:pt x="7147665" y="936649"/>
                </a:lnTo>
                <a:lnTo>
                  <a:pt x="7147665" y="939031"/>
                </a:lnTo>
                <a:lnTo>
                  <a:pt x="7150920" y="941413"/>
                </a:lnTo>
                <a:lnTo>
                  <a:pt x="7151789" y="947585"/>
                </a:lnTo>
                <a:lnTo>
                  <a:pt x="7156672" y="954297"/>
                </a:lnTo>
                <a:lnTo>
                  <a:pt x="7152766" y="957654"/>
                </a:lnTo>
                <a:lnTo>
                  <a:pt x="7150270" y="974436"/>
                </a:lnTo>
                <a:lnTo>
                  <a:pt x="7156239" y="981148"/>
                </a:lnTo>
                <a:lnTo>
                  <a:pt x="7151355" y="982989"/>
                </a:lnTo>
                <a:lnTo>
                  <a:pt x="7152766" y="983855"/>
                </a:lnTo>
                <a:lnTo>
                  <a:pt x="7152766" y="989160"/>
                </a:lnTo>
                <a:lnTo>
                  <a:pt x="7148208" y="994033"/>
                </a:lnTo>
                <a:lnTo>
                  <a:pt x="7148208" y="1001287"/>
                </a:lnTo>
                <a:lnTo>
                  <a:pt x="7144735" y="1005617"/>
                </a:lnTo>
                <a:lnTo>
                  <a:pt x="7144735" y="1010923"/>
                </a:lnTo>
                <a:lnTo>
                  <a:pt x="7142456" y="1019260"/>
                </a:lnTo>
                <a:lnTo>
                  <a:pt x="7146905" y="1025323"/>
                </a:lnTo>
                <a:lnTo>
                  <a:pt x="7143108" y="1028246"/>
                </a:lnTo>
                <a:lnTo>
                  <a:pt x="7149510" y="1037016"/>
                </a:lnTo>
                <a:lnTo>
                  <a:pt x="7147232" y="1038316"/>
                </a:lnTo>
                <a:lnTo>
                  <a:pt x="7145929" y="1042429"/>
                </a:lnTo>
                <a:lnTo>
                  <a:pt x="7149727" y="1044486"/>
                </a:lnTo>
                <a:lnTo>
                  <a:pt x="7151571" y="1042755"/>
                </a:lnTo>
                <a:lnTo>
                  <a:pt x="7156130" y="1042755"/>
                </a:lnTo>
                <a:lnTo>
                  <a:pt x="7156130" y="1040373"/>
                </a:lnTo>
                <a:lnTo>
                  <a:pt x="7157432" y="1039614"/>
                </a:lnTo>
                <a:lnTo>
                  <a:pt x="7161664" y="1041888"/>
                </a:lnTo>
                <a:lnTo>
                  <a:pt x="7164378" y="1041888"/>
                </a:lnTo>
                <a:lnTo>
                  <a:pt x="7164378" y="1039939"/>
                </a:lnTo>
                <a:lnTo>
                  <a:pt x="7164378" y="1038965"/>
                </a:lnTo>
                <a:lnTo>
                  <a:pt x="7167090" y="1040805"/>
                </a:lnTo>
                <a:lnTo>
                  <a:pt x="7171973" y="1042755"/>
                </a:lnTo>
                <a:lnTo>
                  <a:pt x="7171973" y="1045245"/>
                </a:lnTo>
                <a:lnTo>
                  <a:pt x="7171105" y="1046977"/>
                </a:lnTo>
                <a:lnTo>
                  <a:pt x="7175229" y="1051416"/>
                </a:lnTo>
                <a:lnTo>
                  <a:pt x="7174360" y="1053798"/>
                </a:lnTo>
                <a:lnTo>
                  <a:pt x="7171213" y="1053798"/>
                </a:lnTo>
                <a:lnTo>
                  <a:pt x="7168284" y="1055747"/>
                </a:lnTo>
                <a:lnTo>
                  <a:pt x="7164920" y="1054339"/>
                </a:lnTo>
                <a:lnTo>
                  <a:pt x="7161230" y="1056721"/>
                </a:lnTo>
                <a:lnTo>
                  <a:pt x="7161230" y="1058237"/>
                </a:lnTo>
                <a:lnTo>
                  <a:pt x="7164160" y="1060835"/>
                </a:lnTo>
                <a:lnTo>
                  <a:pt x="7157866" y="1066898"/>
                </a:lnTo>
                <a:lnTo>
                  <a:pt x="7154610" y="1065166"/>
                </a:lnTo>
                <a:lnTo>
                  <a:pt x="7153960" y="1061485"/>
                </a:lnTo>
                <a:lnTo>
                  <a:pt x="7151464" y="1059212"/>
                </a:lnTo>
                <a:lnTo>
                  <a:pt x="7148100" y="1061161"/>
                </a:lnTo>
                <a:lnTo>
                  <a:pt x="7145278" y="1059103"/>
                </a:lnTo>
                <a:lnTo>
                  <a:pt x="7142022" y="1060402"/>
                </a:lnTo>
                <a:lnTo>
                  <a:pt x="7142782" y="1063542"/>
                </a:lnTo>
                <a:lnTo>
                  <a:pt x="7142782" y="1067657"/>
                </a:lnTo>
                <a:lnTo>
                  <a:pt x="7141371" y="1067657"/>
                </a:lnTo>
                <a:lnTo>
                  <a:pt x="7139093" y="1070797"/>
                </a:lnTo>
                <a:lnTo>
                  <a:pt x="7135946" y="1073070"/>
                </a:lnTo>
                <a:lnTo>
                  <a:pt x="7138116" y="1075236"/>
                </a:lnTo>
                <a:lnTo>
                  <a:pt x="7135946" y="1078267"/>
                </a:lnTo>
                <a:lnTo>
                  <a:pt x="7132474" y="1077726"/>
                </a:lnTo>
                <a:lnTo>
                  <a:pt x="7126504" y="1071555"/>
                </a:lnTo>
                <a:lnTo>
                  <a:pt x="7123575" y="1071555"/>
                </a:lnTo>
                <a:lnTo>
                  <a:pt x="7127155" y="1076643"/>
                </a:lnTo>
                <a:lnTo>
                  <a:pt x="7122273" y="1079025"/>
                </a:lnTo>
                <a:lnTo>
                  <a:pt x="7123358" y="1080865"/>
                </a:lnTo>
                <a:lnTo>
                  <a:pt x="7120319" y="1084871"/>
                </a:lnTo>
                <a:lnTo>
                  <a:pt x="7113048" y="1087037"/>
                </a:lnTo>
                <a:lnTo>
                  <a:pt x="7111095" y="1089419"/>
                </a:lnTo>
                <a:lnTo>
                  <a:pt x="7104801" y="1080757"/>
                </a:lnTo>
                <a:lnTo>
                  <a:pt x="7101003" y="1080757"/>
                </a:lnTo>
                <a:lnTo>
                  <a:pt x="7099050" y="1079458"/>
                </a:lnTo>
                <a:lnTo>
                  <a:pt x="7100352" y="1077076"/>
                </a:lnTo>
                <a:lnTo>
                  <a:pt x="7104367" y="1077076"/>
                </a:lnTo>
                <a:lnTo>
                  <a:pt x="7104367" y="1072204"/>
                </a:lnTo>
                <a:lnTo>
                  <a:pt x="7106212" y="1069714"/>
                </a:lnTo>
                <a:lnTo>
                  <a:pt x="7113591" y="1069714"/>
                </a:lnTo>
                <a:lnTo>
                  <a:pt x="7121947" y="1063542"/>
                </a:lnTo>
                <a:lnTo>
                  <a:pt x="7120862" y="1060619"/>
                </a:lnTo>
                <a:lnTo>
                  <a:pt x="7117064" y="1059861"/>
                </a:lnTo>
                <a:lnTo>
                  <a:pt x="7112940" y="1063867"/>
                </a:lnTo>
                <a:lnTo>
                  <a:pt x="7106972" y="1062784"/>
                </a:lnTo>
                <a:lnTo>
                  <a:pt x="7106972" y="1060619"/>
                </a:lnTo>
                <a:lnTo>
                  <a:pt x="7102414" y="1057155"/>
                </a:lnTo>
                <a:lnTo>
                  <a:pt x="7098073" y="1057155"/>
                </a:lnTo>
                <a:lnTo>
                  <a:pt x="7091237" y="1055855"/>
                </a:lnTo>
                <a:lnTo>
                  <a:pt x="7084183" y="1055855"/>
                </a:lnTo>
                <a:lnTo>
                  <a:pt x="7086136" y="1059320"/>
                </a:lnTo>
                <a:lnTo>
                  <a:pt x="7083098" y="1060186"/>
                </a:lnTo>
                <a:lnTo>
                  <a:pt x="7080060" y="1058020"/>
                </a:lnTo>
                <a:lnTo>
                  <a:pt x="7080060" y="1055639"/>
                </a:lnTo>
                <a:lnTo>
                  <a:pt x="7073548" y="1055639"/>
                </a:lnTo>
                <a:lnTo>
                  <a:pt x="7065084" y="1053473"/>
                </a:lnTo>
                <a:lnTo>
                  <a:pt x="7061287" y="1055422"/>
                </a:lnTo>
                <a:lnTo>
                  <a:pt x="7057705" y="1052715"/>
                </a:lnTo>
                <a:lnTo>
                  <a:pt x="7050869" y="1052715"/>
                </a:lnTo>
                <a:lnTo>
                  <a:pt x="7044574" y="1060294"/>
                </a:lnTo>
                <a:lnTo>
                  <a:pt x="7041536" y="1060294"/>
                </a:lnTo>
                <a:lnTo>
                  <a:pt x="7041536" y="1063326"/>
                </a:lnTo>
                <a:lnTo>
                  <a:pt x="7047830" y="1067332"/>
                </a:lnTo>
                <a:lnTo>
                  <a:pt x="7040994" y="1070039"/>
                </a:lnTo>
                <a:lnTo>
                  <a:pt x="7039908" y="1066574"/>
                </a:lnTo>
                <a:lnTo>
                  <a:pt x="7036327" y="1072204"/>
                </a:lnTo>
                <a:lnTo>
                  <a:pt x="7042078" y="1075236"/>
                </a:lnTo>
                <a:lnTo>
                  <a:pt x="7044032" y="1073612"/>
                </a:lnTo>
                <a:lnTo>
                  <a:pt x="7046962" y="1075236"/>
                </a:lnTo>
                <a:lnTo>
                  <a:pt x="7046962" y="1078808"/>
                </a:lnTo>
                <a:lnTo>
                  <a:pt x="7037738" y="1082381"/>
                </a:lnTo>
                <a:lnTo>
                  <a:pt x="7034482" y="1078375"/>
                </a:lnTo>
                <a:lnTo>
                  <a:pt x="7026670" y="1078375"/>
                </a:lnTo>
                <a:lnTo>
                  <a:pt x="7023739" y="1080541"/>
                </a:lnTo>
                <a:lnTo>
                  <a:pt x="7025042" y="1084547"/>
                </a:lnTo>
                <a:lnTo>
                  <a:pt x="7021460" y="1084547"/>
                </a:lnTo>
                <a:lnTo>
                  <a:pt x="7018748" y="1087470"/>
                </a:lnTo>
                <a:lnTo>
                  <a:pt x="7016360" y="1087470"/>
                </a:lnTo>
                <a:lnTo>
                  <a:pt x="7014732" y="1084006"/>
                </a:lnTo>
                <a:lnTo>
                  <a:pt x="7004966" y="1084006"/>
                </a:lnTo>
                <a:lnTo>
                  <a:pt x="7000951" y="1086387"/>
                </a:lnTo>
                <a:lnTo>
                  <a:pt x="6991727" y="1085088"/>
                </a:lnTo>
                <a:lnTo>
                  <a:pt x="6986301" y="1088012"/>
                </a:lnTo>
                <a:lnTo>
                  <a:pt x="6986301" y="1090393"/>
                </a:lnTo>
                <a:lnTo>
                  <a:pt x="6993138" y="1095590"/>
                </a:lnTo>
                <a:lnTo>
                  <a:pt x="6989340" y="1098838"/>
                </a:lnTo>
                <a:lnTo>
                  <a:pt x="6986952" y="1103494"/>
                </a:lnTo>
                <a:lnTo>
                  <a:pt x="6982612" y="1099380"/>
                </a:lnTo>
                <a:lnTo>
                  <a:pt x="6979139" y="1098081"/>
                </a:lnTo>
                <a:lnTo>
                  <a:pt x="6981092" y="1092883"/>
                </a:lnTo>
                <a:lnTo>
                  <a:pt x="6976969" y="1090177"/>
                </a:lnTo>
                <a:lnTo>
                  <a:pt x="6974798" y="1093750"/>
                </a:lnTo>
                <a:lnTo>
                  <a:pt x="6970674" y="1094291"/>
                </a:lnTo>
                <a:lnTo>
                  <a:pt x="6966551" y="1094291"/>
                </a:lnTo>
                <a:lnTo>
                  <a:pt x="6961668" y="1097756"/>
                </a:lnTo>
                <a:lnTo>
                  <a:pt x="6956785" y="1097756"/>
                </a:lnTo>
                <a:lnTo>
                  <a:pt x="6949731" y="1102087"/>
                </a:lnTo>
                <a:lnTo>
                  <a:pt x="6942677" y="1102087"/>
                </a:lnTo>
                <a:lnTo>
                  <a:pt x="6934322" y="1108799"/>
                </a:lnTo>
                <a:lnTo>
                  <a:pt x="6929330" y="1109666"/>
                </a:lnTo>
                <a:lnTo>
                  <a:pt x="6926075" y="1106201"/>
                </a:lnTo>
                <a:lnTo>
                  <a:pt x="6923036" y="1106201"/>
                </a:lnTo>
                <a:lnTo>
                  <a:pt x="6921734" y="1110857"/>
                </a:lnTo>
                <a:lnTo>
                  <a:pt x="6913052" y="1117353"/>
                </a:lnTo>
                <a:lnTo>
                  <a:pt x="6911750" y="1122442"/>
                </a:lnTo>
                <a:lnTo>
                  <a:pt x="6902743" y="1126772"/>
                </a:lnTo>
                <a:lnTo>
                  <a:pt x="6901875" y="1132185"/>
                </a:lnTo>
                <a:lnTo>
                  <a:pt x="6908060" y="1141714"/>
                </a:lnTo>
                <a:lnTo>
                  <a:pt x="6906433" y="1150917"/>
                </a:lnTo>
                <a:lnTo>
                  <a:pt x="6899380" y="1158820"/>
                </a:lnTo>
                <a:lnTo>
                  <a:pt x="6895907" y="1166399"/>
                </a:lnTo>
                <a:lnTo>
                  <a:pt x="6897318" y="1172354"/>
                </a:lnTo>
                <a:lnTo>
                  <a:pt x="6897318" y="1181774"/>
                </a:lnTo>
                <a:lnTo>
                  <a:pt x="6899488" y="1185347"/>
                </a:lnTo>
                <a:lnTo>
                  <a:pt x="6899488" y="1190544"/>
                </a:lnTo>
                <a:lnTo>
                  <a:pt x="6897318" y="1190544"/>
                </a:lnTo>
                <a:lnTo>
                  <a:pt x="6894279" y="1192384"/>
                </a:lnTo>
                <a:lnTo>
                  <a:pt x="6894279" y="1198014"/>
                </a:lnTo>
                <a:lnTo>
                  <a:pt x="6891892" y="1199855"/>
                </a:lnTo>
                <a:lnTo>
                  <a:pt x="6894604" y="1207975"/>
                </a:lnTo>
                <a:lnTo>
                  <a:pt x="6889938" y="1211440"/>
                </a:lnTo>
                <a:lnTo>
                  <a:pt x="6889179" y="1217612"/>
                </a:lnTo>
                <a:lnTo>
                  <a:pt x="6882668" y="1225515"/>
                </a:lnTo>
                <a:lnTo>
                  <a:pt x="6883753" y="1230712"/>
                </a:lnTo>
                <a:lnTo>
                  <a:pt x="6879955" y="1232661"/>
                </a:lnTo>
                <a:lnTo>
                  <a:pt x="6878652" y="1241539"/>
                </a:lnTo>
                <a:lnTo>
                  <a:pt x="6876808" y="1241539"/>
                </a:lnTo>
                <a:lnTo>
                  <a:pt x="6874096" y="1253124"/>
                </a:lnTo>
                <a:lnTo>
                  <a:pt x="6874096" y="1261786"/>
                </a:lnTo>
                <a:lnTo>
                  <a:pt x="6872467" y="1264709"/>
                </a:lnTo>
                <a:lnTo>
                  <a:pt x="6874420" y="1270123"/>
                </a:lnTo>
                <a:lnTo>
                  <a:pt x="6870948" y="1275320"/>
                </a:lnTo>
                <a:lnTo>
                  <a:pt x="6870080" y="1280733"/>
                </a:lnTo>
                <a:lnTo>
                  <a:pt x="6865522" y="1287771"/>
                </a:lnTo>
                <a:lnTo>
                  <a:pt x="6865522" y="1290261"/>
                </a:lnTo>
                <a:lnTo>
                  <a:pt x="6863135" y="1291127"/>
                </a:lnTo>
                <a:lnTo>
                  <a:pt x="6863135" y="1297299"/>
                </a:lnTo>
                <a:lnTo>
                  <a:pt x="6855864" y="1303254"/>
                </a:lnTo>
                <a:lnTo>
                  <a:pt x="6855864" y="1311157"/>
                </a:lnTo>
                <a:lnTo>
                  <a:pt x="6849136" y="1317329"/>
                </a:lnTo>
                <a:lnTo>
                  <a:pt x="6849136" y="1321551"/>
                </a:lnTo>
                <a:lnTo>
                  <a:pt x="6844470" y="1328805"/>
                </a:lnTo>
                <a:lnTo>
                  <a:pt x="6843168" y="1333785"/>
                </a:lnTo>
                <a:lnTo>
                  <a:pt x="6840780" y="1338008"/>
                </a:lnTo>
                <a:lnTo>
                  <a:pt x="6843385" y="1342447"/>
                </a:lnTo>
                <a:lnTo>
                  <a:pt x="6847834" y="1345479"/>
                </a:lnTo>
                <a:lnTo>
                  <a:pt x="6852392" y="1343747"/>
                </a:lnTo>
                <a:lnTo>
                  <a:pt x="6856407" y="1347319"/>
                </a:lnTo>
                <a:lnTo>
                  <a:pt x="6861073" y="1347319"/>
                </a:lnTo>
                <a:lnTo>
                  <a:pt x="6867041" y="1342989"/>
                </a:lnTo>
                <a:lnTo>
                  <a:pt x="6870730" y="1341690"/>
                </a:lnTo>
                <a:lnTo>
                  <a:pt x="6874746" y="1338983"/>
                </a:lnTo>
                <a:lnTo>
                  <a:pt x="6876916" y="1338983"/>
                </a:lnTo>
                <a:lnTo>
                  <a:pt x="6882125" y="1337575"/>
                </a:lnTo>
                <a:lnTo>
                  <a:pt x="6882125" y="1349810"/>
                </a:lnTo>
                <a:lnTo>
                  <a:pt x="6887551" y="1357064"/>
                </a:lnTo>
                <a:lnTo>
                  <a:pt x="6889504" y="1364426"/>
                </a:lnTo>
                <a:lnTo>
                  <a:pt x="6888636" y="1370598"/>
                </a:lnTo>
                <a:lnTo>
                  <a:pt x="6894822" y="1375794"/>
                </a:lnTo>
                <a:lnTo>
                  <a:pt x="6898077" y="1371788"/>
                </a:lnTo>
                <a:lnTo>
                  <a:pt x="6899380" y="1371788"/>
                </a:lnTo>
                <a:lnTo>
                  <a:pt x="6902310" y="1369840"/>
                </a:lnTo>
                <a:lnTo>
                  <a:pt x="6904480" y="1365184"/>
                </a:lnTo>
                <a:lnTo>
                  <a:pt x="6905401" y="1364817"/>
                </a:lnTo>
                <a:lnTo>
                  <a:pt x="6901985" y="1362260"/>
                </a:lnTo>
                <a:lnTo>
                  <a:pt x="6901442" y="1358795"/>
                </a:lnTo>
                <a:lnTo>
                  <a:pt x="6905457" y="1353381"/>
                </a:lnTo>
                <a:lnTo>
                  <a:pt x="6912510" y="1351649"/>
                </a:lnTo>
                <a:lnTo>
                  <a:pt x="6911208" y="1354573"/>
                </a:lnTo>
                <a:lnTo>
                  <a:pt x="6912293" y="1355871"/>
                </a:lnTo>
                <a:lnTo>
                  <a:pt x="6910774" y="1359661"/>
                </a:lnTo>
                <a:lnTo>
                  <a:pt x="6908170" y="1360419"/>
                </a:lnTo>
                <a:lnTo>
                  <a:pt x="6905509" y="1364774"/>
                </a:lnTo>
                <a:lnTo>
                  <a:pt x="6907735" y="1363885"/>
                </a:lnTo>
                <a:lnTo>
                  <a:pt x="6909580" y="1366592"/>
                </a:lnTo>
                <a:lnTo>
                  <a:pt x="6912292" y="1364102"/>
                </a:lnTo>
                <a:lnTo>
                  <a:pt x="6917502" y="1364102"/>
                </a:lnTo>
                <a:lnTo>
                  <a:pt x="6915548" y="1366050"/>
                </a:lnTo>
                <a:lnTo>
                  <a:pt x="6913378" y="1369623"/>
                </a:lnTo>
                <a:lnTo>
                  <a:pt x="6913378" y="1376444"/>
                </a:lnTo>
                <a:lnTo>
                  <a:pt x="6910666" y="1376444"/>
                </a:lnTo>
                <a:lnTo>
                  <a:pt x="6906867" y="1380017"/>
                </a:lnTo>
                <a:lnTo>
                  <a:pt x="6908278" y="1382182"/>
                </a:lnTo>
                <a:lnTo>
                  <a:pt x="6919130" y="1380559"/>
                </a:lnTo>
                <a:lnTo>
                  <a:pt x="6924772" y="1377094"/>
                </a:lnTo>
                <a:lnTo>
                  <a:pt x="6926726" y="1369840"/>
                </a:lnTo>
                <a:lnTo>
                  <a:pt x="6925857" y="1365184"/>
                </a:lnTo>
                <a:lnTo>
                  <a:pt x="6927702" y="1361719"/>
                </a:lnTo>
                <a:lnTo>
                  <a:pt x="6930632" y="1368216"/>
                </a:lnTo>
                <a:lnTo>
                  <a:pt x="6929764" y="1374170"/>
                </a:lnTo>
                <a:lnTo>
                  <a:pt x="6929764" y="1380125"/>
                </a:lnTo>
                <a:lnTo>
                  <a:pt x="6932802" y="1378176"/>
                </a:lnTo>
                <a:lnTo>
                  <a:pt x="6934647" y="1371680"/>
                </a:lnTo>
                <a:lnTo>
                  <a:pt x="6932042" y="1363668"/>
                </a:lnTo>
                <a:lnTo>
                  <a:pt x="6933996" y="1359554"/>
                </a:lnTo>
                <a:lnTo>
                  <a:pt x="6929872" y="1355115"/>
                </a:lnTo>
                <a:lnTo>
                  <a:pt x="6927594" y="1346995"/>
                </a:lnTo>
                <a:lnTo>
                  <a:pt x="6932260" y="1346995"/>
                </a:lnTo>
                <a:lnTo>
                  <a:pt x="6936818" y="1349594"/>
                </a:lnTo>
                <a:lnTo>
                  <a:pt x="6936818" y="1351758"/>
                </a:lnTo>
                <a:lnTo>
                  <a:pt x="6938554" y="1353924"/>
                </a:lnTo>
                <a:lnTo>
                  <a:pt x="6941266" y="1353924"/>
                </a:lnTo>
                <a:lnTo>
                  <a:pt x="6943220" y="1350892"/>
                </a:lnTo>
                <a:lnTo>
                  <a:pt x="6947778" y="1350892"/>
                </a:lnTo>
                <a:lnTo>
                  <a:pt x="6953312" y="1346670"/>
                </a:lnTo>
                <a:lnTo>
                  <a:pt x="6958738" y="1351109"/>
                </a:lnTo>
                <a:lnTo>
                  <a:pt x="6964272" y="1351109"/>
                </a:lnTo>
                <a:lnTo>
                  <a:pt x="6967744" y="1354249"/>
                </a:lnTo>
                <a:lnTo>
                  <a:pt x="6970458" y="1359988"/>
                </a:lnTo>
                <a:lnTo>
                  <a:pt x="6973388" y="1361936"/>
                </a:lnTo>
                <a:lnTo>
                  <a:pt x="6980007" y="1362802"/>
                </a:lnTo>
                <a:lnTo>
                  <a:pt x="6982503" y="1366050"/>
                </a:lnTo>
                <a:lnTo>
                  <a:pt x="6993355" y="1369840"/>
                </a:lnTo>
                <a:lnTo>
                  <a:pt x="6994657" y="1372980"/>
                </a:lnTo>
                <a:lnTo>
                  <a:pt x="6998563" y="1373629"/>
                </a:lnTo>
                <a:lnTo>
                  <a:pt x="7001602" y="1377419"/>
                </a:lnTo>
                <a:lnTo>
                  <a:pt x="7004424" y="1377419"/>
                </a:lnTo>
                <a:lnTo>
                  <a:pt x="7008438" y="1384998"/>
                </a:lnTo>
                <a:lnTo>
                  <a:pt x="7005942" y="1389004"/>
                </a:lnTo>
                <a:lnTo>
                  <a:pt x="7005942" y="1393010"/>
                </a:lnTo>
                <a:lnTo>
                  <a:pt x="7002688" y="1394959"/>
                </a:lnTo>
                <a:lnTo>
                  <a:pt x="7007354" y="1400155"/>
                </a:lnTo>
                <a:lnTo>
                  <a:pt x="7010826" y="1400155"/>
                </a:lnTo>
                <a:lnTo>
                  <a:pt x="7017120" y="1408276"/>
                </a:lnTo>
                <a:lnTo>
                  <a:pt x="7017120" y="1412606"/>
                </a:lnTo>
                <a:lnTo>
                  <a:pt x="7014407" y="1415855"/>
                </a:lnTo>
                <a:lnTo>
                  <a:pt x="7014407" y="1421051"/>
                </a:lnTo>
                <a:lnTo>
                  <a:pt x="7019290" y="1425166"/>
                </a:lnTo>
                <a:lnTo>
                  <a:pt x="7023306" y="1426249"/>
                </a:lnTo>
                <a:lnTo>
                  <a:pt x="7026344" y="1423542"/>
                </a:lnTo>
                <a:lnTo>
                  <a:pt x="7027212" y="1427656"/>
                </a:lnTo>
                <a:lnTo>
                  <a:pt x="7025042" y="1430363"/>
                </a:lnTo>
                <a:lnTo>
                  <a:pt x="7025801" y="1436101"/>
                </a:lnTo>
                <a:lnTo>
                  <a:pt x="7029816" y="1439674"/>
                </a:lnTo>
                <a:lnTo>
                  <a:pt x="7026886" y="1442056"/>
                </a:lnTo>
                <a:lnTo>
                  <a:pt x="7026886" y="1445521"/>
                </a:lnTo>
                <a:lnTo>
                  <a:pt x="7028840" y="1449636"/>
                </a:lnTo>
                <a:lnTo>
                  <a:pt x="7026344" y="1454507"/>
                </a:lnTo>
                <a:lnTo>
                  <a:pt x="7028297" y="1456132"/>
                </a:lnTo>
                <a:lnTo>
                  <a:pt x="7028297" y="1459379"/>
                </a:lnTo>
                <a:lnTo>
                  <a:pt x="7027212" y="1461761"/>
                </a:lnTo>
                <a:lnTo>
                  <a:pt x="7029708" y="1463385"/>
                </a:lnTo>
                <a:lnTo>
                  <a:pt x="7026778" y="1466850"/>
                </a:lnTo>
                <a:lnTo>
                  <a:pt x="7030576" y="1478218"/>
                </a:lnTo>
                <a:lnTo>
                  <a:pt x="7028948" y="1481467"/>
                </a:lnTo>
                <a:lnTo>
                  <a:pt x="7029816" y="1490345"/>
                </a:lnTo>
                <a:lnTo>
                  <a:pt x="7030576" y="1493809"/>
                </a:lnTo>
                <a:lnTo>
                  <a:pt x="7030576" y="1497815"/>
                </a:lnTo>
                <a:lnTo>
                  <a:pt x="7035460" y="1513515"/>
                </a:lnTo>
                <a:lnTo>
                  <a:pt x="7039258" y="1514273"/>
                </a:lnTo>
                <a:lnTo>
                  <a:pt x="7043598" y="1511241"/>
                </a:lnTo>
                <a:lnTo>
                  <a:pt x="7043598" y="1513407"/>
                </a:lnTo>
                <a:lnTo>
                  <a:pt x="7040017" y="1519578"/>
                </a:lnTo>
                <a:lnTo>
                  <a:pt x="7038064" y="1521743"/>
                </a:lnTo>
                <a:lnTo>
                  <a:pt x="7040451" y="1525858"/>
                </a:lnTo>
                <a:lnTo>
                  <a:pt x="7042621" y="1525858"/>
                </a:lnTo>
                <a:lnTo>
                  <a:pt x="7049349" y="1533220"/>
                </a:lnTo>
                <a:lnTo>
                  <a:pt x="7049349" y="1542207"/>
                </a:lnTo>
                <a:lnTo>
                  <a:pt x="7050977" y="1545455"/>
                </a:lnTo>
                <a:lnTo>
                  <a:pt x="7050977" y="1548486"/>
                </a:lnTo>
                <a:lnTo>
                  <a:pt x="7052605" y="1560071"/>
                </a:lnTo>
                <a:lnTo>
                  <a:pt x="7056186" y="1560071"/>
                </a:lnTo>
                <a:lnTo>
                  <a:pt x="7056186" y="1565702"/>
                </a:lnTo>
                <a:lnTo>
                  <a:pt x="7054558" y="1567542"/>
                </a:lnTo>
                <a:lnTo>
                  <a:pt x="7054558" y="1574796"/>
                </a:lnTo>
                <a:lnTo>
                  <a:pt x="7056946" y="1579344"/>
                </a:lnTo>
                <a:lnTo>
                  <a:pt x="7056946" y="1585623"/>
                </a:lnTo>
                <a:lnTo>
                  <a:pt x="7050109" y="1592877"/>
                </a:lnTo>
                <a:lnTo>
                  <a:pt x="7050109" y="1599698"/>
                </a:lnTo>
                <a:lnTo>
                  <a:pt x="7047070" y="1607277"/>
                </a:lnTo>
                <a:lnTo>
                  <a:pt x="7047939" y="1615181"/>
                </a:lnTo>
                <a:lnTo>
                  <a:pt x="7049240" y="1615939"/>
                </a:lnTo>
                <a:lnTo>
                  <a:pt x="7049240" y="1622977"/>
                </a:lnTo>
                <a:lnTo>
                  <a:pt x="7044683" y="1627307"/>
                </a:lnTo>
                <a:lnTo>
                  <a:pt x="7044683" y="1633479"/>
                </a:lnTo>
                <a:lnTo>
                  <a:pt x="7041210" y="1641274"/>
                </a:lnTo>
                <a:lnTo>
                  <a:pt x="7043164" y="1641274"/>
                </a:lnTo>
                <a:lnTo>
                  <a:pt x="7043164" y="1644847"/>
                </a:lnTo>
                <a:lnTo>
                  <a:pt x="7039040" y="1649936"/>
                </a:lnTo>
                <a:lnTo>
                  <a:pt x="7041536" y="1660763"/>
                </a:lnTo>
                <a:lnTo>
                  <a:pt x="7036436" y="1665852"/>
                </a:lnTo>
                <a:lnTo>
                  <a:pt x="7038064" y="1672131"/>
                </a:lnTo>
                <a:lnTo>
                  <a:pt x="7040451" y="1672889"/>
                </a:lnTo>
                <a:lnTo>
                  <a:pt x="7040451" y="1677762"/>
                </a:lnTo>
                <a:lnTo>
                  <a:pt x="7034700" y="1684799"/>
                </a:lnTo>
                <a:lnTo>
                  <a:pt x="7033614" y="1690429"/>
                </a:lnTo>
                <a:lnTo>
                  <a:pt x="7028731" y="1694760"/>
                </a:lnTo>
                <a:lnTo>
                  <a:pt x="7028731" y="1699091"/>
                </a:lnTo>
                <a:lnTo>
                  <a:pt x="7023848" y="1705370"/>
                </a:lnTo>
                <a:lnTo>
                  <a:pt x="7019290" y="1725725"/>
                </a:lnTo>
                <a:lnTo>
                  <a:pt x="7016577" y="1727349"/>
                </a:lnTo>
                <a:lnTo>
                  <a:pt x="7015709" y="1732980"/>
                </a:lnTo>
                <a:lnTo>
                  <a:pt x="7017662" y="1734820"/>
                </a:lnTo>
                <a:lnTo>
                  <a:pt x="7016794" y="1737202"/>
                </a:lnTo>
                <a:lnTo>
                  <a:pt x="7010284" y="1741533"/>
                </a:lnTo>
                <a:lnTo>
                  <a:pt x="7010284" y="1746405"/>
                </a:lnTo>
                <a:lnTo>
                  <a:pt x="7005942" y="1748787"/>
                </a:lnTo>
                <a:lnTo>
                  <a:pt x="7005942" y="1756149"/>
                </a:lnTo>
                <a:lnTo>
                  <a:pt x="7003447" y="1756907"/>
                </a:lnTo>
                <a:lnTo>
                  <a:pt x="7005834" y="1761455"/>
                </a:lnTo>
                <a:lnTo>
                  <a:pt x="7000192" y="1769359"/>
                </a:lnTo>
                <a:lnTo>
                  <a:pt x="7000192" y="1768059"/>
                </a:lnTo>
                <a:lnTo>
                  <a:pt x="6996610" y="1766977"/>
                </a:lnTo>
                <a:lnTo>
                  <a:pt x="6998455" y="1772065"/>
                </a:lnTo>
                <a:lnTo>
                  <a:pt x="6998455" y="1778995"/>
                </a:lnTo>
                <a:lnTo>
                  <a:pt x="6992812" y="1781485"/>
                </a:lnTo>
                <a:lnTo>
                  <a:pt x="6994223" y="1783975"/>
                </a:lnTo>
                <a:lnTo>
                  <a:pt x="6986301" y="1793719"/>
                </a:lnTo>
                <a:lnTo>
                  <a:pt x="6982720" y="1799891"/>
                </a:lnTo>
                <a:lnTo>
                  <a:pt x="6979247" y="1799891"/>
                </a:lnTo>
                <a:lnTo>
                  <a:pt x="6978380" y="1803139"/>
                </a:lnTo>
                <a:lnTo>
                  <a:pt x="6971652" y="1804222"/>
                </a:lnTo>
                <a:lnTo>
                  <a:pt x="6966226" y="1809852"/>
                </a:lnTo>
                <a:lnTo>
                  <a:pt x="6963296" y="1806820"/>
                </a:lnTo>
                <a:lnTo>
                  <a:pt x="6960583" y="1809526"/>
                </a:lnTo>
                <a:lnTo>
                  <a:pt x="6953204" y="1804871"/>
                </a:lnTo>
                <a:lnTo>
                  <a:pt x="6945825" y="1802922"/>
                </a:lnTo>
                <a:lnTo>
                  <a:pt x="6945825" y="1794477"/>
                </a:lnTo>
                <a:lnTo>
                  <a:pt x="6943112" y="1792095"/>
                </a:lnTo>
                <a:lnTo>
                  <a:pt x="6937360" y="1794585"/>
                </a:lnTo>
                <a:lnTo>
                  <a:pt x="6932260" y="1791338"/>
                </a:lnTo>
                <a:lnTo>
                  <a:pt x="6930849" y="1793828"/>
                </a:lnTo>
                <a:lnTo>
                  <a:pt x="6930849" y="1798158"/>
                </a:lnTo>
                <a:lnTo>
                  <a:pt x="6926508" y="1801623"/>
                </a:lnTo>
                <a:lnTo>
                  <a:pt x="6926508" y="1810285"/>
                </a:lnTo>
                <a:lnTo>
                  <a:pt x="6923470" y="1812450"/>
                </a:lnTo>
                <a:lnTo>
                  <a:pt x="6921517" y="1820354"/>
                </a:lnTo>
                <a:lnTo>
                  <a:pt x="6919563" y="1818189"/>
                </a:lnTo>
                <a:lnTo>
                  <a:pt x="6913378" y="1819271"/>
                </a:lnTo>
                <a:lnTo>
                  <a:pt x="6911750" y="1826309"/>
                </a:lnTo>
                <a:lnTo>
                  <a:pt x="6910122" y="1826309"/>
                </a:lnTo>
                <a:lnTo>
                  <a:pt x="6909492" y="1825432"/>
                </a:lnTo>
                <a:lnTo>
                  <a:pt x="6901768" y="1833995"/>
                </a:lnTo>
                <a:lnTo>
                  <a:pt x="6898838" y="1833454"/>
                </a:lnTo>
                <a:lnTo>
                  <a:pt x="6898729" y="1839193"/>
                </a:lnTo>
                <a:lnTo>
                  <a:pt x="6895474" y="1851102"/>
                </a:lnTo>
                <a:lnTo>
                  <a:pt x="6895799" y="1857923"/>
                </a:lnTo>
                <a:lnTo>
                  <a:pt x="6900683" y="1861821"/>
                </a:lnTo>
                <a:lnTo>
                  <a:pt x="6900791" y="1874164"/>
                </a:lnTo>
                <a:lnTo>
                  <a:pt x="6904698" y="1877087"/>
                </a:lnTo>
                <a:lnTo>
                  <a:pt x="6902636" y="1882717"/>
                </a:lnTo>
                <a:lnTo>
                  <a:pt x="6896559" y="1887914"/>
                </a:lnTo>
                <a:lnTo>
                  <a:pt x="6897753" y="1889754"/>
                </a:lnTo>
                <a:lnTo>
                  <a:pt x="6885816" y="1902206"/>
                </a:lnTo>
                <a:lnTo>
                  <a:pt x="6887335" y="1905778"/>
                </a:lnTo>
                <a:lnTo>
                  <a:pt x="6883863" y="1908810"/>
                </a:lnTo>
                <a:lnTo>
                  <a:pt x="6882778" y="1911409"/>
                </a:lnTo>
                <a:lnTo>
                  <a:pt x="6877894" y="1911192"/>
                </a:lnTo>
                <a:lnTo>
                  <a:pt x="6873228" y="1914224"/>
                </a:lnTo>
                <a:lnTo>
                  <a:pt x="6871166" y="1919529"/>
                </a:lnTo>
                <a:lnTo>
                  <a:pt x="6864872" y="1923427"/>
                </a:lnTo>
                <a:lnTo>
                  <a:pt x="6864872" y="1929382"/>
                </a:lnTo>
                <a:lnTo>
                  <a:pt x="6866717" y="1934904"/>
                </a:lnTo>
                <a:lnTo>
                  <a:pt x="6864330" y="1937394"/>
                </a:lnTo>
                <a:lnTo>
                  <a:pt x="6865740" y="1943673"/>
                </a:lnTo>
                <a:lnTo>
                  <a:pt x="6874530" y="1945298"/>
                </a:lnTo>
                <a:lnTo>
                  <a:pt x="6877026" y="1949304"/>
                </a:lnTo>
                <a:lnTo>
                  <a:pt x="6894498" y="1959373"/>
                </a:lnTo>
                <a:lnTo>
                  <a:pt x="6897318" y="1964569"/>
                </a:lnTo>
                <a:lnTo>
                  <a:pt x="6897317" y="1964570"/>
                </a:lnTo>
                <a:lnTo>
                  <a:pt x="6906107" y="1980701"/>
                </a:lnTo>
                <a:lnTo>
                  <a:pt x="6918912" y="1994018"/>
                </a:lnTo>
                <a:lnTo>
                  <a:pt x="6933019" y="2011666"/>
                </a:lnTo>
                <a:lnTo>
                  <a:pt x="6933453" y="2022385"/>
                </a:lnTo>
                <a:lnTo>
                  <a:pt x="6937034" y="2026174"/>
                </a:lnTo>
                <a:lnTo>
                  <a:pt x="6940289" y="2042957"/>
                </a:lnTo>
                <a:lnTo>
                  <a:pt x="6940507" y="2048478"/>
                </a:lnTo>
                <a:lnTo>
                  <a:pt x="6942134" y="2046746"/>
                </a:lnTo>
                <a:lnTo>
                  <a:pt x="6943762" y="2046746"/>
                </a:lnTo>
                <a:lnTo>
                  <a:pt x="6944956" y="2064935"/>
                </a:lnTo>
                <a:lnTo>
                  <a:pt x="6941700" y="2067426"/>
                </a:lnTo>
                <a:lnTo>
                  <a:pt x="6943220" y="2070024"/>
                </a:lnTo>
                <a:lnTo>
                  <a:pt x="6936708" y="2078253"/>
                </a:lnTo>
                <a:lnTo>
                  <a:pt x="6931282" y="2078253"/>
                </a:lnTo>
                <a:lnTo>
                  <a:pt x="6925423" y="2081934"/>
                </a:lnTo>
                <a:lnTo>
                  <a:pt x="6927267" y="2085290"/>
                </a:lnTo>
                <a:lnTo>
                  <a:pt x="6924880" y="2086914"/>
                </a:lnTo>
                <a:lnTo>
                  <a:pt x="6923144" y="2084749"/>
                </a:lnTo>
                <a:lnTo>
                  <a:pt x="6918586" y="2086589"/>
                </a:lnTo>
                <a:lnTo>
                  <a:pt x="6916199" y="2081934"/>
                </a:lnTo>
                <a:lnTo>
                  <a:pt x="6913703" y="2081501"/>
                </a:lnTo>
                <a:lnTo>
                  <a:pt x="6910447" y="2085506"/>
                </a:lnTo>
                <a:lnTo>
                  <a:pt x="6909687" y="2083016"/>
                </a:lnTo>
                <a:lnTo>
                  <a:pt x="6905347" y="2083883"/>
                </a:lnTo>
                <a:lnTo>
                  <a:pt x="6894712" y="2093086"/>
                </a:lnTo>
                <a:lnTo>
                  <a:pt x="6891240" y="2097958"/>
                </a:lnTo>
                <a:lnTo>
                  <a:pt x="6889070" y="2095034"/>
                </a:lnTo>
                <a:lnTo>
                  <a:pt x="6888744" y="2101206"/>
                </a:lnTo>
                <a:lnTo>
                  <a:pt x="6885271" y="2103696"/>
                </a:lnTo>
                <a:lnTo>
                  <a:pt x="6885489" y="2099582"/>
                </a:lnTo>
                <a:lnTo>
                  <a:pt x="6883644" y="2098175"/>
                </a:lnTo>
                <a:lnTo>
                  <a:pt x="6882558" y="2092653"/>
                </a:lnTo>
                <a:lnTo>
                  <a:pt x="6879195" y="2092328"/>
                </a:lnTo>
                <a:lnTo>
                  <a:pt x="6873335" y="2081176"/>
                </a:lnTo>
                <a:lnTo>
                  <a:pt x="6876481" y="2080959"/>
                </a:lnTo>
                <a:lnTo>
                  <a:pt x="6873986" y="2076520"/>
                </a:lnTo>
                <a:lnTo>
                  <a:pt x="6873986" y="2071973"/>
                </a:lnTo>
                <a:lnTo>
                  <a:pt x="6876807" y="2070349"/>
                </a:lnTo>
                <a:lnTo>
                  <a:pt x="6876590" y="2066235"/>
                </a:lnTo>
                <a:lnTo>
                  <a:pt x="6873335" y="2063636"/>
                </a:lnTo>
                <a:lnTo>
                  <a:pt x="6873551" y="2060930"/>
                </a:lnTo>
                <a:lnTo>
                  <a:pt x="6881365" y="2055733"/>
                </a:lnTo>
                <a:lnTo>
                  <a:pt x="6877133" y="2047612"/>
                </a:lnTo>
                <a:lnTo>
                  <a:pt x="6875397" y="2049236"/>
                </a:lnTo>
                <a:lnTo>
                  <a:pt x="6872684" y="2047396"/>
                </a:lnTo>
                <a:lnTo>
                  <a:pt x="6872467" y="2037543"/>
                </a:lnTo>
                <a:lnTo>
                  <a:pt x="6870079" y="2032238"/>
                </a:lnTo>
                <a:lnTo>
                  <a:pt x="6867366" y="2033212"/>
                </a:lnTo>
                <a:lnTo>
                  <a:pt x="6856948" y="2028340"/>
                </a:lnTo>
                <a:lnTo>
                  <a:pt x="6861832" y="2021411"/>
                </a:lnTo>
                <a:lnTo>
                  <a:pt x="6865196" y="2022385"/>
                </a:lnTo>
                <a:lnTo>
                  <a:pt x="6866824" y="2018162"/>
                </a:lnTo>
                <a:lnTo>
                  <a:pt x="6868451" y="2020544"/>
                </a:lnTo>
                <a:lnTo>
                  <a:pt x="6876481" y="2023251"/>
                </a:lnTo>
                <a:lnTo>
                  <a:pt x="6874528" y="2019137"/>
                </a:lnTo>
                <a:lnTo>
                  <a:pt x="6871055" y="2014265"/>
                </a:lnTo>
                <a:lnTo>
                  <a:pt x="6872684" y="2011666"/>
                </a:lnTo>
                <a:lnTo>
                  <a:pt x="6869428" y="2011017"/>
                </a:lnTo>
                <a:lnTo>
                  <a:pt x="6863243" y="2002138"/>
                </a:lnTo>
                <a:lnTo>
                  <a:pt x="6853802" y="1994235"/>
                </a:lnTo>
                <a:lnTo>
                  <a:pt x="6857274" y="1992395"/>
                </a:lnTo>
                <a:lnTo>
                  <a:pt x="6850112" y="1992178"/>
                </a:lnTo>
                <a:lnTo>
                  <a:pt x="6846097" y="1995101"/>
                </a:lnTo>
                <a:lnTo>
                  <a:pt x="6845446" y="1994452"/>
                </a:lnTo>
                <a:lnTo>
                  <a:pt x="6845446" y="1994451"/>
                </a:lnTo>
                <a:lnTo>
                  <a:pt x="6840130" y="1988606"/>
                </a:lnTo>
                <a:lnTo>
                  <a:pt x="6837417" y="1990446"/>
                </a:lnTo>
                <a:lnTo>
                  <a:pt x="6838611" y="1992936"/>
                </a:lnTo>
                <a:lnTo>
                  <a:pt x="6834270" y="1998567"/>
                </a:lnTo>
                <a:lnTo>
                  <a:pt x="6831450" y="1996510"/>
                </a:lnTo>
                <a:lnTo>
                  <a:pt x="6826566" y="2000516"/>
                </a:lnTo>
                <a:lnTo>
                  <a:pt x="6824504" y="1997267"/>
                </a:lnTo>
                <a:lnTo>
                  <a:pt x="6828844" y="1990446"/>
                </a:lnTo>
                <a:lnTo>
                  <a:pt x="6823853" y="1988606"/>
                </a:lnTo>
                <a:lnTo>
                  <a:pt x="6819621" y="1990988"/>
                </a:lnTo>
                <a:lnTo>
                  <a:pt x="6817559" y="1990446"/>
                </a:lnTo>
                <a:lnTo>
                  <a:pt x="6818753" y="1986116"/>
                </a:lnTo>
                <a:lnTo>
                  <a:pt x="6819079" y="1976155"/>
                </a:lnTo>
                <a:lnTo>
                  <a:pt x="6822333" y="1969442"/>
                </a:lnTo>
                <a:lnTo>
                  <a:pt x="6828519" y="1968900"/>
                </a:lnTo>
                <a:lnTo>
                  <a:pt x="6833619" y="1964245"/>
                </a:lnTo>
                <a:lnTo>
                  <a:pt x="6828844" y="1966627"/>
                </a:lnTo>
                <a:lnTo>
                  <a:pt x="6820055" y="1966410"/>
                </a:lnTo>
                <a:lnTo>
                  <a:pt x="6818427" y="1964461"/>
                </a:lnTo>
                <a:lnTo>
                  <a:pt x="6817993" y="1953093"/>
                </a:lnTo>
                <a:lnTo>
                  <a:pt x="6823853" y="1943673"/>
                </a:lnTo>
                <a:lnTo>
                  <a:pt x="6820706" y="1939126"/>
                </a:lnTo>
                <a:lnTo>
                  <a:pt x="6823962" y="1936961"/>
                </a:lnTo>
                <a:lnTo>
                  <a:pt x="6825264" y="1932847"/>
                </a:lnTo>
                <a:lnTo>
                  <a:pt x="6822225" y="1933171"/>
                </a:lnTo>
                <a:lnTo>
                  <a:pt x="6819621" y="1936419"/>
                </a:lnTo>
                <a:lnTo>
                  <a:pt x="6811916" y="1937502"/>
                </a:lnTo>
                <a:lnTo>
                  <a:pt x="6809746" y="1934470"/>
                </a:lnTo>
                <a:lnTo>
                  <a:pt x="6804428" y="1931547"/>
                </a:lnTo>
                <a:lnTo>
                  <a:pt x="6804103" y="1935228"/>
                </a:lnTo>
                <a:lnTo>
                  <a:pt x="6800739" y="1937502"/>
                </a:lnTo>
                <a:lnTo>
                  <a:pt x="6798460" y="1929057"/>
                </a:lnTo>
                <a:lnTo>
                  <a:pt x="6797375" y="1929598"/>
                </a:lnTo>
                <a:lnTo>
                  <a:pt x="6796724" y="1927974"/>
                </a:lnTo>
                <a:lnTo>
                  <a:pt x="6796724" y="1927649"/>
                </a:lnTo>
                <a:lnTo>
                  <a:pt x="6796724" y="1914224"/>
                </a:lnTo>
                <a:lnTo>
                  <a:pt x="6803018" y="1909027"/>
                </a:lnTo>
                <a:lnTo>
                  <a:pt x="6805731" y="1902855"/>
                </a:lnTo>
                <a:lnTo>
                  <a:pt x="6805731" y="1898741"/>
                </a:lnTo>
                <a:lnTo>
                  <a:pt x="6811916" y="1894627"/>
                </a:lnTo>
                <a:lnTo>
                  <a:pt x="6816148" y="1886723"/>
                </a:lnTo>
                <a:lnTo>
                  <a:pt x="6820597" y="1884666"/>
                </a:lnTo>
                <a:lnTo>
                  <a:pt x="6824395" y="1872973"/>
                </a:lnTo>
                <a:lnTo>
                  <a:pt x="6826458" y="1868750"/>
                </a:lnTo>
                <a:lnTo>
                  <a:pt x="6826131" y="1866368"/>
                </a:lnTo>
                <a:lnTo>
                  <a:pt x="6826458" y="1858464"/>
                </a:lnTo>
                <a:lnTo>
                  <a:pt x="6830906" y="1852943"/>
                </a:lnTo>
                <a:lnTo>
                  <a:pt x="6830905" y="1852941"/>
                </a:lnTo>
                <a:lnTo>
                  <a:pt x="6826456" y="1858463"/>
                </a:lnTo>
                <a:lnTo>
                  <a:pt x="6826130" y="1866367"/>
                </a:lnTo>
                <a:lnTo>
                  <a:pt x="6826456" y="1868749"/>
                </a:lnTo>
                <a:lnTo>
                  <a:pt x="6824394" y="1872972"/>
                </a:lnTo>
                <a:lnTo>
                  <a:pt x="6820597" y="1884665"/>
                </a:lnTo>
                <a:lnTo>
                  <a:pt x="6816147" y="1886722"/>
                </a:lnTo>
                <a:lnTo>
                  <a:pt x="6811915" y="1894626"/>
                </a:lnTo>
                <a:lnTo>
                  <a:pt x="6805729" y="1898740"/>
                </a:lnTo>
                <a:lnTo>
                  <a:pt x="6805729" y="1902855"/>
                </a:lnTo>
                <a:lnTo>
                  <a:pt x="6803016" y="1909026"/>
                </a:lnTo>
                <a:lnTo>
                  <a:pt x="6796722" y="1914223"/>
                </a:lnTo>
                <a:lnTo>
                  <a:pt x="6796722" y="1927648"/>
                </a:lnTo>
                <a:lnTo>
                  <a:pt x="6795204" y="1923534"/>
                </a:lnTo>
                <a:lnTo>
                  <a:pt x="6788258" y="1931546"/>
                </a:lnTo>
                <a:lnTo>
                  <a:pt x="6783050" y="1931871"/>
                </a:lnTo>
                <a:lnTo>
                  <a:pt x="6780337" y="1932737"/>
                </a:lnTo>
                <a:lnTo>
                  <a:pt x="6777841" y="1930571"/>
                </a:lnTo>
                <a:lnTo>
                  <a:pt x="6771438" y="1935119"/>
                </a:lnTo>
                <a:lnTo>
                  <a:pt x="6766013" y="1935119"/>
                </a:lnTo>
                <a:lnTo>
                  <a:pt x="6765144" y="1939991"/>
                </a:lnTo>
                <a:lnTo>
                  <a:pt x="6762106" y="1939667"/>
                </a:lnTo>
                <a:lnTo>
                  <a:pt x="6751580" y="1947570"/>
                </a:lnTo>
                <a:lnTo>
                  <a:pt x="6745611" y="1952009"/>
                </a:lnTo>
                <a:lnTo>
                  <a:pt x="6747564" y="1956773"/>
                </a:lnTo>
                <a:lnTo>
                  <a:pt x="6746913" y="1958614"/>
                </a:lnTo>
                <a:lnTo>
                  <a:pt x="6740077" y="1961537"/>
                </a:lnTo>
                <a:lnTo>
                  <a:pt x="6736279" y="1967384"/>
                </a:lnTo>
                <a:lnTo>
                  <a:pt x="6733457" y="1967275"/>
                </a:lnTo>
                <a:lnTo>
                  <a:pt x="6730636" y="1970956"/>
                </a:lnTo>
                <a:lnTo>
                  <a:pt x="6727598" y="1971498"/>
                </a:lnTo>
                <a:lnTo>
                  <a:pt x="6726947" y="1967709"/>
                </a:lnTo>
                <a:lnTo>
                  <a:pt x="6723257" y="1965110"/>
                </a:lnTo>
                <a:lnTo>
                  <a:pt x="6725210" y="1961537"/>
                </a:lnTo>
                <a:lnTo>
                  <a:pt x="6729116" y="1961320"/>
                </a:lnTo>
                <a:lnTo>
                  <a:pt x="6731504" y="1957964"/>
                </a:lnTo>
                <a:lnTo>
                  <a:pt x="6736930" y="1958722"/>
                </a:lnTo>
                <a:lnTo>
                  <a:pt x="6738883" y="1957315"/>
                </a:lnTo>
                <a:lnTo>
                  <a:pt x="6739426" y="1954608"/>
                </a:lnTo>
                <a:lnTo>
                  <a:pt x="6736713" y="1954066"/>
                </a:lnTo>
                <a:lnTo>
                  <a:pt x="6736170" y="1951685"/>
                </a:lnTo>
                <a:lnTo>
                  <a:pt x="6740728" y="1948653"/>
                </a:lnTo>
                <a:lnTo>
                  <a:pt x="6742898" y="1944322"/>
                </a:lnTo>
                <a:lnTo>
                  <a:pt x="6737255" y="1948653"/>
                </a:lnTo>
                <a:lnTo>
                  <a:pt x="6732047" y="1950385"/>
                </a:lnTo>
                <a:lnTo>
                  <a:pt x="6729876" y="1947895"/>
                </a:lnTo>
                <a:lnTo>
                  <a:pt x="6729876" y="1945080"/>
                </a:lnTo>
                <a:lnTo>
                  <a:pt x="6731829" y="1944105"/>
                </a:lnTo>
                <a:lnTo>
                  <a:pt x="6732264" y="1940857"/>
                </a:lnTo>
                <a:lnTo>
                  <a:pt x="6726947" y="1935660"/>
                </a:lnTo>
                <a:lnTo>
                  <a:pt x="6728031" y="1929489"/>
                </a:lnTo>
                <a:lnTo>
                  <a:pt x="6727489" y="1927648"/>
                </a:lnTo>
                <a:lnTo>
                  <a:pt x="6732047" y="1927540"/>
                </a:lnTo>
                <a:lnTo>
                  <a:pt x="6732589" y="1921585"/>
                </a:lnTo>
                <a:lnTo>
                  <a:pt x="6737690" y="1915089"/>
                </a:lnTo>
                <a:lnTo>
                  <a:pt x="6738775" y="1911841"/>
                </a:lnTo>
                <a:lnTo>
                  <a:pt x="6741596" y="1910217"/>
                </a:lnTo>
                <a:lnTo>
                  <a:pt x="6741054" y="1906211"/>
                </a:lnTo>
                <a:lnTo>
                  <a:pt x="6730419" y="1899931"/>
                </a:lnTo>
                <a:lnTo>
                  <a:pt x="6723039" y="1891053"/>
                </a:lnTo>
                <a:lnTo>
                  <a:pt x="6721412" y="1895708"/>
                </a:lnTo>
                <a:lnTo>
                  <a:pt x="6717180" y="1895708"/>
                </a:lnTo>
                <a:lnTo>
                  <a:pt x="6715010" y="1894301"/>
                </a:lnTo>
                <a:lnTo>
                  <a:pt x="6709584" y="1894518"/>
                </a:lnTo>
                <a:lnTo>
                  <a:pt x="6706545" y="1899714"/>
                </a:lnTo>
                <a:lnTo>
                  <a:pt x="6704592" y="1900797"/>
                </a:lnTo>
                <a:lnTo>
                  <a:pt x="6703615" y="1906211"/>
                </a:lnTo>
                <a:lnTo>
                  <a:pt x="6698732" y="1911624"/>
                </a:lnTo>
                <a:lnTo>
                  <a:pt x="6698190" y="1921044"/>
                </a:lnTo>
                <a:lnTo>
                  <a:pt x="6695694" y="1921585"/>
                </a:lnTo>
                <a:lnTo>
                  <a:pt x="6691895" y="1928081"/>
                </a:lnTo>
                <a:lnTo>
                  <a:pt x="6686795" y="1928190"/>
                </a:lnTo>
                <a:lnTo>
                  <a:pt x="6678330" y="1932954"/>
                </a:lnTo>
                <a:lnTo>
                  <a:pt x="6675835" y="1945080"/>
                </a:lnTo>
                <a:lnTo>
                  <a:pt x="6673991" y="1947787"/>
                </a:lnTo>
                <a:lnTo>
                  <a:pt x="6675401" y="1948977"/>
                </a:lnTo>
                <a:lnTo>
                  <a:pt x="6676377" y="1954716"/>
                </a:lnTo>
                <a:lnTo>
                  <a:pt x="6672905" y="1954716"/>
                </a:lnTo>
                <a:lnTo>
                  <a:pt x="6674315" y="1957098"/>
                </a:lnTo>
                <a:lnTo>
                  <a:pt x="6672038" y="1962187"/>
                </a:lnTo>
                <a:lnTo>
                  <a:pt x="6665852" y="1962403"/>
                </a:lnTo>
                <a:lnTo>
                  <a:pt x="6658038" y="1962511"/>
                </a:lnTo>
                <a:lnTo>
                  <a:pt x="6649031" y="1959264"/>
                </a:lnTo>
                <a:lnTo>
                  <a:pt x="6648489" y="1961970"/>
                </a:lnTo>
                <a:lnTo>
                  <a:pt x="6645559" y="1964136"/>
                </a:lnTo>
                <a:lnTo>
                  <a:pt x="6645016" y="1969008"/>
                </a:lnTo>
                <a:lnTo>
                  <a:pt x="6644365" y="1971607"/>
                </a:lnTo>
                <a:lnTo>
                  <a:pt x="6644473" y="1973880"/>
                </a:lnTo>
                <a:lnTo>
                  <a:pt x="6642303" y="1975937"/>
                </a:lnTo>
                <a:lnTo>
                  <a:pt x="6644908" y="1981459"/>
                </a:lnTo>
                <a:lnTo>
                  <a:pt x="6645450" y="1986764"/>
                </a:lnTo>
                <a:lnTo>
                  <a:pt x="6650442" y="1989579"/>
                </a:lnTo>
                <a:lnTo>
                  <a:pt x="6658473" y="1994993"/>
                </a:lnTo>
                <a:lnTo>
                  <a:pt x="6659340" y="1997916"/>
                </a:lnTo>
                <a:lnTo>
                  <a:pt x="6662922" y="2004088"/>
                </a:lnTo>
                <a:lnTo>
                  <a:pt x="6663139" y="2001813"/>
                </a:lnTo>
                <a:lnTo>
                  <a:pt x="6664766" y="2004412"/>
                </a:lnTo>
                <a:lnTo>
                  <a:pt x="6666719" y="2001489"/>
                </a:lnTo>
                <a:lnTo>
                  <a:pt x="6669432" y="2001489"/>
                </a:lnTo>
                <a:lnTo>
                  <a:pt x="6669866" y="2003871"/>
                </a:lnTo>
                <a:lnTo>
                  <a:pt x="6672362" y="2002355"/>
                </a:lnTo>
                <a:lnTo>
                  <a:pt x="6678657" y="2002247"/>
                </a:lnTo>
                <a:lnTo>
                  <a:pt x="6679742" y="2006686"/>
                </a:lnTo>
                <a:lnTo>
                  <a:pt x="6679742" y="2013182"/>
                </a:lnTo>
                <a:lnTo>
                  <a:pt x="6686253" y="2025850"/>
                </a:lnTo>
                <a:lnTo>
                  <a:pt x="6692655" y="2026066"/>
                </a:lnTo>
                <a:lnTo>
                  <a:pt x="6697104" y="2023360"/>
                </a:lnTo>
                <a:lnTo>
                  <a:pt x="6701879" y="2025092"/>
                </a:lnTo>
                <a:lnTo>
                  <a:pt x="6704049" y="2023143"/>
                </a:lnTo>
                <a:lnTo>
                  <a:pt x="6706545" y="2018704"/>
                </a:lnTo>
                <a:lnTo>
                  <a:pt x="6704375" y="2015780"/>
                </a:lnTo>
                <a:lnTo>
                  <a:pt x="6703289" y="2015023"/>
                </a:lnTo>
                <a:lnTo>
                  <a:pt x="6709801" y="2012533"/>
                </a:lnTo>
                <a:lnTo>
                  <a:pt x="6713056" y="2009826"/>
                </a:lnTo>
                <a:lnTo>
                  <a:pt x="6713056" y="2005495"/>
                </a:lnTo>
                <a:lnTo>
                  <a:pt x="6711103" y="2003871"/>
                </a:lnTo>
                <a:lnTo>
                  <a:pt x="6716854" y="2003654"/>
                </a:lnTo>
                <a:lnTo>
                  <a:pt x="6727706" y="1998566"/>
                </a:lnTo>
                <a:lnTo>
                  <a:pt x="6729116" y="2000623"/>
                </a:lnTo>
                <a:lnTo>
                  <a:pt x="6731829" y="2001706"/>
                </a:lnTo>
                <a:lnTo>
                  <a:pt x="6734542" y="2005819"/>
                </a:lnTo>
                <a:lnTo>
                  <a:pt x="6737472" y="2007119"/>
                </a:lnTo>
                <a:lnTo>
                  <a:pt x="6740511" y="2009826"/>
                </a:lnTo>
                <a:lnTo>
                  <a:pt x="6755703" y="2009284"/>
                </a:lnTo>
                <a:lnTo>
                  <a:pt x="6757765" y="2007119"/>
                </a:lnTo>
                <a:lnTo>
                  <a:pt x="6762974" y="2006903"/>
                </a:lnTo>
                <a:lnTo>
                  <a:pt x="6762648" y="2008851"/>
                </a:lnTo>
                <a:lnTo>
                  <a:pt x="6769267" y="2008743"/>
                </a:lnTo>
                <a:lnTo>
                  <a:pt x="6774911" y="2007660"/>
                </a:lnTo>
                <a:lnTo>
                  <a:pt x="6777949" y="2009068"/>
                </a:lnTo>
                <a:lnTo>
                  <a:pt x="6772740" y="2010692"/>
                </a:lnTo>
                <a:lnTo>
                  <a:pt x="6772415" y="2013399"/>
                </a:lnTo>
                <a:lnTo>
                  <a:pt x="6776322" y="2019029"/>
                </a:lnTo>
                <a:lnTo>
                  <a:pt x="6773825" y="2019029"/>
                </a:lnTo>
                <a:lnTo>
                  <a:pt x="6770787" y="2020653"/>
                </a:lnTo>
                <a:lnTo>
                  <a:pt x="6771330" y="2025633"/>
                </a:lnTo>
                <a:lnTo>
                  <a:pt x="6775128" y="2026392"/>
                </a:lnTo>
                <a:lnTo>
                  <a:pt x="6775128" y="2028557"/>
                </a:lnTo>
                <a:lnTo>
                  <a:pt x="6769159" y="2033645"/>
                </a:lnTo>
                <a:lnTo>
                  <a:pt x="6763300" y="2029639"/>
                </a:lnTo>
                <a:lnTo>
                  <a:pt x="6762757" y="2027149"/>
                </a:lnTo>
                <a:lnTo>
                  <a:pt x="6760587" y="2029856"/>
                </a:lnTo>
                <a:lnTo>
                  <a:pt x="6758851" y="2026933"/>
                </a:lnTo>
                <a:lnTo>
                  <a:pt x="6753750" y="2033645"/>
                </a:lnTo>
                <a:lnTo>
                  <a:pt x="6750712" y="2033645"/>
                </a:lnTo>
                <a:lnTo>
                  <a:pt x="6746371" y="2037218"/>
                </a:lnTo>
                <a:lnTo>
                  <a:pt x="6742030" y="2037110"/>
                </a:lnTo>
                <a:lnTo>
                  <a:pt x="6740945" y="2039925"/>
                </a:lnTo>
                <a:lnTo>
                  <a:pt x="6736930" y="2036894"/>
                </a:lnTo>
                <a:lnTo>
                  <a:pt x="6731504" y="2037543"/>
                </a:lnTo>
                <a:lnTo>
                  <a:pt x="6736930" y="2041008"/>
                </a:lnTo>
                <a:lnTo>
                  <a:pt x="6737472" y="2044798"/>
                </a:lnTo>
                <a:lnTo>
                  <a:pt x="6731504" y="2045880"/>
                </a:lnTo>
                <a:lnTo>
                  <a:pt x="6731287" y="2050969"/>
                </a:lnTo>
                <a:lnTo>
                  <a:pt x="6724125" y="2050535"/>
                </a:lnTo>
                <a:lnTo>
                  <a:pt x="6720326" y="2054758"/>
                </a:lnTo>
                <a:lnTo>
                  <a:pt x="6722497" y="2057573"/>
                </a:lnTo>
                <a:lnTo>
                  <a:pt x="6726947" y="2060388"/>
                </a:lnTo>
                <a:lnTo>
                  <a:pt x="6722606" y="2065369"/>
                </a:lnTo>
                <a:lnTo>
                  <a:pt x="6720326" y="2063961"/>
                </a:lnTo>
                <a:lnTo>
                  <a:pt x="6715986" y="2070998"/>
                </a:lnTo>
                <a:lnTo>
                  <a:pt x="6712514" y="2072081"/>
                </a:lnTo>
                <a:lnTo>
                  <a:pt x="6710886" y="2070998"/>
                </a:lnTo>
                <a:lnTo>
                  <a:pt x="6709584" y="2077820"/>
                </a:lnTo>
                <a:lnTo>
                  <a:pt x="6711645" y="2083234"/>
                </a:lnTo>
                <a:lnTo>
                  <a:pt x="6709584" y="2091354"/>
                </a:lnTo>
                <a:lnTo>
                  <a:pt x="6709801" y="2103263"/>
                </a:lnTo>
                <a:lnTo>
                  <a:pt x="6711645" y="2103155"/>
                </a:lnTo>
                <a:lnTo>
                  <a:pt x="6723908" y="2108893"/>
                </a:lnTo>
                <a:lnTo>
                  <a:pt x="6723908" y="2112358"/>
                </a:lnTo>
                <a:lnTo>
                  <a:pt x="6727380" y="2110301"/>
                </a:lnTo>
                <a:lnTo>
                  <a:pt x="6740511" y="2117014"/>
                </a:lnTo>
                <a:lnTo>
                  <a:pt x="6747781" y="2131955"/>
                </a:lnTo>
                <a:lnTo>
                  <a:pt x="6749409" y="2132388"/>
                </a:lnTo>
                <a:lnTo>
                  <a:pt x="6747022" y="2137910"/>
                </a:lnTo>
                <a:lnTo>
                  <a:pt x="6751797" y="2139534"/>
                </a:lnTo>
                <a:lnTo>
                  <a:pt x="6752339" y="2146572"/>
                </a:lnTo>
                <a:lnTo>
                  <a:pt x="6761129" y="2153068"/>
                </a:lnTo>
                <a:lnTo>
                  <a:pt x="6761346" y="2160105"/>
                </a:lnTo>
                <a:lnTo>
                  <a:pt x="6767640" y="2169092"/>
                </a:lnTo>
                <a:lnTo>
                  <a:pt x="6772415" y="2171149"/>
                </a:lnTo>
                <a:lnTo>
                  <a:pt x="6777298" y="2170825"/>
                </a:lnTo>
                <a:lnTo>
                  <a:pt x="6779794" y="2172773"/>
                </a:lnTo>
                <a:lnTo>
                  <a:pt x="6779794" y="2174505"/>
                </a:lnTo>
                <a:lnTo>
                  <a:pt x="6785436" y="2181435"/>
                </a:lnTo>
                <a:lnTo>
                  <a:pt x="6788476" y="2182625"/>
                </a:lnTo>
                <a:lnTo>
                  <a:pt x="6791948" y="2189555"/>
                </a:lnTo>
                <a:lnTo>
                  <a:pt x="6789235" y="2191179"/>
                </a:lnTo>
                <a:lnTo>
                  <a:pt x="6779468" y="2187498"/>
                </a:lnTo>
                <a:lnTo>
                  <a:pt x="6772523" y="2191504"/>
                </a:lnTo>
                <a:lnTo>
                  <a:pt x="6767857" y="2186632"/>
                </a:lnTo>
                <a:lnTo>
                  <a:pt x="6764277" y="2186415"/>
                </a:lnTo>
                <a:lnTo>
                  <a:pt x="6758958" y="2182843"/>
                </a:lnTo>
                <a:lnTo>
                  <a:pt x="6751363" y="2181760"/>
                </a:lnTo>
                <a:lnTo>
                  <a:pt x="6748324" y="2185874"/>
                </a:lnTo>
                <a:lnTo>
                  <a:pt x="6743658" y="2185874"/>
                </a:lnTo>
                <a:lnTo>
                  <a:pt x="6740511" y="2183384"/>
                </a:lnTo>
                <a:lnTo>
                  <a:pt x="6737690" y="2176129"/>
                </a:lnTo>
                <a:lnTo>
                  <a:pt x="6731287" y="2178728"/>
                </a:lnTo>
                <a:lnTo>
                  <a:pt x="6727706" y="2177212"/>
                </a:lnTo>
                <a:lnTo>
                  <a:pt x="6726404" y="2178728"/>
                </a:lnTo>
                <a:lnTo>
                  <a:pt x="6723365" y="2178728"/>
                </a:lnTo>
                <a:lnTo>
                  <a:pt x="6720435" y="2177862"/>
                </a:lnTo>
                <a:lnTo>
                  <a:pt x="6716095" y="2179919"/>
                </a:lnTo>
                <a:lnTo>
                  <a:pt x="6710561" y="2190855"/>
                </a:lnTo>
                <a:lnTo>
                  <a:pt x="6717180" y="2182625"/>
                </a:lnTo>
                <a:lnTo>
                  <a:pt x="6722497" y="2180893"/>
                </a:lnTo>
                <a:lnTo>
                  <a:pt x="6728574" y="2181651"/>
                </a:lnTo>
                <a:lnTo>
                  <a:pt x="6734000" y="2179378"/>
                </a:lnTo>
                <a:lnTo>
                  <a:pt x="6736604" y="2180568"/>
                </a:lnTo>
                <a:lnTo>
                  <a:pt x="6736713" y="2183059"/>
                </a:lnTo>
                <a:lnTo>
                  <a:pt x="6742898" y="2188580"/>
                </a:lnTo>
                <a:lnTo>
                  <a:pt x="6746696" y="2189555"/>
                </a:lnTo>
                <a:lnTo>
                  <a:pt x="6754510" y="2184141"/>
                </a:lnTo>
                <a:lnTo>
                  <a:pt x="6759176" y="2184358"/>
                </a:lnTo>
                <a:lnTo>
                  <a:pt x="6768726" y="2193669"/>
                </a:lnTo>
                <a:lnTo>
                  <a:pt x="6776755" y="2198217"/>
                </a:lnTo>
                <a:lnTo>
                  <a:pt x="6789018" y="2205796"/>
                </a:lnTo>
                <a:lnTo>
                  <a:pt x="6794769" y="2215216"/>
                </a:lnTo>
                <a:lnTo>
                  <a:pt x="6794661" y="2218572"/>
                </a:lnTo>
                <a:lnTo>
                  <a:pt x="6788150" y="2219329"/>
                </a:lnTo>
                <a:lnTo>
                  <a:pt x="6782507" y="2225826"/>
                </a:lnTo>
                <a:lnTo>
                  <a:pt x="6779577" y="2225392"/>
                </a:lnTo>
                <a:lnTo>
                  <a:pt x="6777298" y="2227667"/>
                </a:lnTo>
                <a:lnTo>
                  <a:pt x="6776864" y="2231781"/>
                </a:lnTo>
                <a:lnTo>
                  <a:pt x="6772740" y="2233729"/>
                </a:lnTo>
                <a:lnTo>
                  <a:pt x="6766990" y="2230806"/>
                </a:lnTo>
                <a:lnTo>
                  <a:pt x="6763733" y="2233188"/>
                </a:lnTo>
                <a:lnTo>
                  <a:pt x="6760587" y="2233080"/>
                </a:lnTo>
                <a:lnTo>
                  <a:pt x="6755160" y="2237519"/>
                </a:lnTo>
                <a:lnTo>
                  <a:pt x="6754618" y="2243149"/>
                </a:lnTo>
                <a:lnTo>
                  <a:pt x="6756137" y="2239035"/>
                </a:lnTo>
                <a:lnTo>
                  <a:pt x="6761020" y="2235029"/>
                </a:lnTo>
                <a:lnTo>
                  <a:pt x="6765904" y="2233946"/>
                </a:lnTo>
                <a:lnTo>
                  <a:pt x="6770787" y="2240984"/>
                </a:lnTo>
                <a:lnTo>
                  <a:pt x="6774585" y="2242283"/>
                </a:lnTo>
                <a:lnTo>
                  <a:pt x="6781964" y="2235895"/>
                </a:lnTo>
                <a:lnTo>
                  <a:pt x="6787607" y="2236761"/>
                </a:lnTo>
                <a:lnTo>
                  <a:pt x="6795312" y="2246722"/>
                </a:lnTo>
                <a:lnTo>
                  <a:pt x="6796614" y="2244557"/>
                </a:lnTo>
                <a:lnTo>
                  <a:pt x="6798567" y="2247047"/>
                </a:lnTo>
                <a:lnTo>
                  <a:pt x="6803342" y="2247047"/>
                </a:lnTo>
                <a:lnTo>
                  <a:pt x="6803993" y="2248563"/>
                </a:lnTo>
                <a:lnTo>
                  <a:pt x="6793359" y="2258524"/>
                </a:lnTo>
                <a:lnTo>
                  <a:pt x="6786847" y="2259714"/>
                </a:lnTo>
                <a:lnTo>
                  <a:pt x="6786847" y="2264045"/>
                </a:lnTo>
                <a:lnTo>
                  <a:pt x="6790103" y="2264587"/>
                </a:lnTo>
                <a:lnTo>
                  <a:pt x="6796288" y="2259390"/>
                </a:lnTo>
                <a:lnTo>
                  <a:pt x="6801280" y="2260473"/>
                </a:lnTo>
                <a:lnTo>
                  <a:pt x="6801280" y="2258307"/>
                </a:lnTo>
                <a:lnTo>
                  <a:pt x="6800412" y="2257008"/>
                </a:lnTo>
                <a:lnTo>
                  <a:pt x="6803342" y="2254193"/>
                </a:lnTo>
                <a:lnTo>
                  <a:pt x="6805838" y="2255816"/>
                </a:lnTo>
                <a:lnTo>
                  <a:pt x="6806489" y="2262854"/>
                </a:lnTo>
                <a:lnTo>
                  <a:pt x="6807900" y="2265777"/>
                </a:lnTo>
                <a:lnTo>
                  <a:pt x="6804970" y="2268160"/>
                </a:lnTo>
                <a:lnTo>
                  <a:pt x="6804644" y="2266428"/>
                </a:lnTo>
                <a:lnTo>
                  <a:pt x="6801823" y="2264912"/>
                </a:lnTo>
                <a:lnTo>
                  <a:pt x="6801171" y="2267293"/>
                </a:lnTo>
                <a:lnTo>
                  <a:pt x="6799761" y="2268376"/>
                </a:lnTo>
                <a:lnTo>
                  <a:pt x="6795095" y="2267293"/>
                </a:lnTo>
                <a:lnTo>
                  <a:pt x="6790103" y="2271516"/>
                </a:lnTo>
                <a:lnTo>
                  <a:pt x="6789669" y="2273681"/>
                </a:lnTo>
                <a:lnTo>
                  <a:pt x="6797482" y="2273357"/>
                </a:lnTo>
                <a:lnTo>
                  <a:pt x="6800087" y="2275847"/>
                </a:lnTo>
                <a:lnTo>
                  <a:pt x="6799435" y="2277796"/>
                </a:lnTo>
                <a:lnTo>
                  <a:pt x="6797808" y="2277363"/>
                </a:lnTo>
                <a:lnTo>
                  <a:pt x="6794552" y="2280394"/>
                </a:lnTo>
                <a:lnTo>
                  <a:pt x="6797590" y="2281910"/>
                </a:lnTo>
                <a:lnTo>
                  <a:pt x="6799761" y="2284292"/>
                </a:lnTo>
                <a:lnTo>
                  <a:pt x="6797048" y="2286782"/>
                </a:lnTo>
                <a:lnTo>
                  <a:pt x="6793792" y="2286132"/>
                </a:lnTo>
                <a:lnTo>
                  <a:pt x="6791839" y="2287756"/>
                </a:lnTo>
                <a:lnTo>
                  <a:pt x="6793901" y="2289705"/>
                </a:lnTo>
                <a:lnTo>
                  <a:pt x="6798350" y="2290138"/>
                </a:lnTo>
                <a:lnTo>
                  <a:pt x="6800954" y="2294577"/>
                </a:lnTo>
                <a:lnTo>
                  <a:pt x="6797699" y="2296634"/>
                </a:lnTo>
                <a:lnTo>
                  <a:pt x="6796722" y="2301399"/>
                </a:lnTo>
                <a:lnTo>
                  <a:pt x="6795528" y="2299775"/>
                </a:lnTo>
                <a:lnTo>
                  <a:pt x="6794661" y="2295877"/>
                </a:lnTo>
                <a:lnTo>
                  <a:pt x="6790754" y="2296418"/>
                </a:lnTo>
                <a:lnTo>
                  <a:pt x="6787173" y="2304864"/>
                </a:lnTo>
                <a:lnTo>
                  <a:pt x="6784460" y="2307029"/>
                </a:lnTo>
                <a:lnTo>
                  <a:pt x="6777949" y="2304972"/>
                </a:lnTo>
                <a:lnTo>
                  <a:pt x="6782507" y="2307570"/>
                </a:lnTo>
                <a:lnTo>
                  <a:pt x="6782507" y="2310060"/>
                </a:lnTo>
                <a:lnTo>
                  <a:pt x="6784351" y="2312984"/>
                </a:lnTo>
                <a:lnTo>
                  <a:pt x="6781638" y="2314824"/>
                </a:lnTo>
                <a:lnTo>
                  <a:pt x="6781205" y="2318072"/>
                </a:lnTo>
                <a:lnTo>
                  <a:pt x="6783267" y="2320779"/>
                </a:lnTo>
                <a:lnTo>
                  <a:pt x="6781638" y="2322511"/>
                </a:lnTo>
                <a:lnTo>
                  <a:pt x="6781747" y="2326734"/>
                </a:lnTo>
                <a:lnTo>
                  <a:pt x="6777841" y="2328683"/>
                </a:lnTo>
                <a:lnTo>
                  <a:pt x="6774585" y="2325218"/>
                </a:lnTo>
                <a:lnTo>
                  <a:pt x="6773500" y="2329440"/>
                </a:lnTo>
                <a:lnTo>
                  <a:pt x="6777081" y="2329766"/>
                </a:lnTo>
                <a:lnTo>
                  <a:pt x="6780337" y="2333772"/>
                </a:lnTo>
                <a:lnTo>
                  <a:pt x="6774911" y="2333338"/>
                </a:lnTo>
                <a:lnTo>
                  <a:pt x="6774585" y="2336262"/>
                </a:lnTo>
                <a:lnTo>
                  <a:pt x="6768617" y="2342541"/>
                </a:lnTo>
                <a:lnTo>
                  <a:pt x="6765470" y="2342541"/>
                </a:lnTo>
                <a:lnTo>
                  <a:pt x="6765904" y="2337886"/>
                </a:lnTo>
                <a:lnTo>
                  <a:pt x="6763300" y="2338211"/>
                </a:lnTo>
                <a:lnTo>
                  <a:pt x="6761888" y="2337886"/>
                </a:lnTo>
                <a:lnTo>
                  <a:pt x="6761020" y="2341892"/>
                </a:lnTo>
                <a:lnTo>
                  <a:pt x="6757874" y="2341134"/>
                </a:lnTo>
                <a:lnTo>
                  <a:pt x="6759935" y="2343624"/>
                </a:lnTo>
                <a:lnTo>
                  <a:pt x="6757331" y="2345790"/>
                </a:lnTo>
                <a:lnTo>
                  <a:pt x="6761129" y="2346223"/>
                </a:lnTo>
                <a:lnTo>
                  <a:pt x="6764384" y="2350554"/>
                </a:lnTo>
                <a:lnTo>
                  <a:pt x="6759393" y="2350554"/>
                </a:lnTo>
                <a:lnTo>
                  <a:pt x="6765144" y="2355534"/>
                </a:lnTo>
                <a:lnTo>
                  <a:pt x="6768074" y="2352827"/>
                </a:lnTo>
                <a:lnTo>
                  <a:pt x="6770570" y="2355534"/>
                </a:lnTo>
                <a:lnTo>
                  <a:pt x="6762648" y="2358999"/>
                </a:lnTo>
                <a:lnTo>
                  <a:pt x="6757765" y="2362463"/>
                </a:lnTo>
                <a:lnTo>
                  <a:pt x="6756896" y="2366145"/>
                </a:lnTo>
                <a:lnTo>
                  <a:pt x="6758742" y="2364304"/>
                </a:lnTo>
                <a:lnTo>
                  <a:pt x="6762431" y="2364088"/>
                </a:lnTo>
                <a:lnTo>
                  <a:pt x="6765144" y="2366794"/>
                </a:lnTo>
                <a:lnTo>
                  <a:pt x="6759610" y="2371341"/>
                </a:lnTo>
                <a:lnTo>
                  <a:pt x="6763517" y="2372641"/>
                </a:lnTo>
                <a:lnTo>
                  <a:pt x="6762974" y="2375780"/>
                </a:lnTo>
                <a:lnTo>
                  <a:pt x="6759718" y="2376647"/>
                </a:lnTo>
                <a:lnTo>
                  <a:pt x="6760587" y="2379353"/>
                </a:lnTo>
                <a:lnTo>
                  <a:pt x="6762974" y="2379353"/>
                </a:lnTo>
                <a:lnTo>
                  <a:pt x="6764818" y="2382818"/>
                </a:lnTo>
                <a:lnTo>
                  <a:pt x="6764384" y="2388557"/>
                </a:lnTo>
                <a:lnTo>
                  <a:pt x="6761888" y="2384659"/>
                </a:lnTo>
                <a:lnTo>
                  <a:pt x="6759393" y="2384659"/>
                </a:lnTo>
                <a:lnTo>
                  <a:pt x="6759393" y="2381411"/>
                </a:lnTo>
                <a:lnTo>
                  <a:pt x="6755703" y="2378162"/>
                </a:lnTo>
                <a:lnTo>
                  <a:pt x="6754076" y="2380978"/>
                </a:lnTo>
                <a:lnTo>
                  <a:pt x="6751580" y="2380978"/>
                </a:lnTo>
                <a:lnTo>
                  <a:pt x="6751146" y="2384767"/>
                </a:lnTo>
                <a:lnTo>
                  <a:pt x="6755378" y="2387907"/>
                </a:lnTo>
                <a:lnTo>
                  <a:pt x="6755160" y="2391804"/>
                </a:lnTo>
                <a:lnTo>
                  <a:pt x="6753533" y="2389531"/>
                </a:lnTo>
                <a:lnTo>
                  <a:pt x="6751146" y="2389531"/>
                </a:lnTo>
                <a:lnTo>
                  <a:pt x="6749409" y="2387149"/>
                </a:lnTo>
                <a:lnTo>
                  <a:pt x="6745937" y="2388015"/>
                </a:lnTo>
                <a:lnTo>
                  <a:pt x="6748541" y="2390072"/>
                </a:lnTo>
                <a:lnTo>
                  <a:pt x="6749193" y="2394403"/>
                </a:lnTo>
                <a:lnTo>
                  <a:pt x="6752447" y="2394403"/>
                </a:lnTo>
                <a:lnTo>
                  <a:pt x="6752990" y="2395594"/>
                </a:lnTo>
                <a:lnTo>
                  <a:pt x="6750277" y="2398842"/>
                </a:lnTo>
                <a:lnTo>
                  <a:pt x="6745394" y="2395486"/>
                </a:lnTo>
                <a:lnTo>
                  <a:pt x="6744743" y="2398518"/>
                </a:lnTo>
                <a:lnTo>
                  <a:pt x="6746371" y="2400900"/>
                </a:lnTo>
                <a:lnTo>
                  <a:pt x="6750277" y="2402090"/>
                </a:lnTo>
                <a:lnTo>
                  <a:pt x="6748541" y="2407179"/>
                </a:lnTo>
                <a:lnTo>
                  <a:pt x="6742030" y="2403173"/>
                </a:lnTo>
                <a:lnTo>
                  <a:pt x="6739426" y="2405555"/>
                </a:lnTo>
                <a:lnTo>
                  <a:pt x="6737690" y="2403714"/>
                </a:lnTo>
                <a:lnTo>
                  <a:pt x="6734000" y="2408803"/>
                </a:lnTo>
                <a:lnTo>
                  <a:pt x="6726078" y="2409128"/>
                </a:lnTo>
                <a:lnTo>
                  <a:pt x="6732047" y="2413675"/>
                </a:lnTo>
                <a:lnTo>
                  <a:pt x="6735519" y="2412376"/>
                </a:lnTo>
                <a:lnTo>
                  <a:pt x="6739643" y="2413351"/>
                </a:lnTo>
                <a:lnTo>
                  <a:pt x="6737798" y="2417140"/>
                </a:lnTo>
                <a:lnTo>
                  <a:pt x="6735086" y="2417465"/>
                </a:lnTo>
                <a:lnTo>
                  <a:pt x="6734434" y="2422337"/>
                </a:lnTo>
                <a:lnTo>
                  <a:pt x="6731721" y="2419089"/>
                </a:lnTo>
                <a:lnTo>
                  <a:pt x="6728791" y="2423420"/>
                </a:lnTo>
                <a:lnTo>
                  <a:pt x="6727380" y="2424286"/>
                </a:lnTo>
                <a:lnTo>
                  <a:pt x="6726947" y="2422337"/>
                </a:lnTo>
                <a:lnTo>
                  <a:pt x="6724776" y="2422553"/>
                </a:lnTo>
                <a:lnTo>
                  <a:pt x="6724125" y="2426343"/>
                </a:lnTo>
                <a:lnTo>
                  <a:pt x="6721738" y="2426343"/>
                </a:lnTo>
                <a:lnTo>
                  <a:pt x="6720652" y="2431865"/>
                </a:lnTo>
                <a:lnTo>
                  <a:pt x="6716095" y="2431865"/>
                </a:lnTo>
                <a:lnTo>
                  <a:pt x="6715552" y="2429699"/>
                </a:lnTo>
                <a:lnTo>
                  <a:pt x="6709584" y="2430674"/>
                </a:lnTo>
                <a:lnTo>
                  <a:pt x="6707956" y="2433164"/>
                </a:lnTo>
                <a:lnTo>
                  <a:pt x="6705677" y="2432406"/>
                </a:lnTo>
                <a:lnTo>
                  <a:pt x="6707848" y="2437279"/>
                </a:lnTo>
                <a:lnTo>
                  <a:pt x="6706219" y="2442367"/>
                </a:lnTo>
                <a:lnTo>
                  <a:pt x="6704158" y="2445182"/>
                </a:lnTo>
                <a:lnTo>
                  <a:pt x="6706002" y="2448322"/>
                </a:lnTo>
                <a:lnTo>
                  <a:pt x="6701988" y="2450163"/>
                </a:lnTo>
                <a:lnTo>
                  <a:pt x="6699492" y="2449404"/>
                </a:lnTo>
                <a:lnTo>
                  <a:pt x="6697863" y="2451570"/>
                </a:lnTo>
                <a:lnTo>
                  <a:pt x="6697321" y="2448863"/>
                </a:lnTo>
                <a:lnTo>
                  <a:pt x="6695150" y="2450812"/>
                </a:lnTo>
                <a:lnTo>
                  <a:pt x="6692221" y="2453736"/>
                </a:lnTo>
                <a:lnTo>
                  <a:pt x="6686795" y="2454385"/>
                </a:lnTo>
                <a:lnTo>
                  <a:pt x="6686253" y="2456767"/>
                </a:lnTo>
                <a:lnTo>
                  <a:pt x="6682346" y="2456767"/>
                </a:lnTo>
                <a:lnTo>
                  <a:pt x="6681912" y="2455359"/>
                </a:lnTo>
                <a:lnTo>
                  <a:pt x="6679416" y="2455359"/>
                </a:lnTo>
                <a:lnTo>
                  <a:pt x="6678657" y="2459474"/>
                </a:lnTo>
                <a:lnTo>
                  <a:pt x="6676377" y="2461531"/>
                </a:lnTo>
                <a:lnTo>
                  <a:pt x="6672688" y="2457524"/>
                </a:lnTo>
                <a:lnTo>
                  <a:pt x="6670952" y="2454601"/>
                </a:lnTo>
                <a:lnTo>
                  <a:pt x="6669866" y="2456983"/>
                </a:lnTo>
                <a:lnTo>
                  <a:pt x="6665960" y="2457850"/>
                </a:lnTo>
                <a:lnTo>
                  <a:pt x="6665635" y="2461098"/>
                </a:lnTo>
                <a:lnTo>
                  <a:pt x="6661837" y="2462072"/>
                </a:lnTo>
                <a:lnTo>
                  <a:pt x="6658038" y="2459799"/>
                </a:lnTo>
                <a:lnTo>
                  <a:pt x="6655868" y="2461856"/>
                </a:lnTo>
                <a:lnTo>
                  <a:pt x="6651528" y="2463263"/>
                </a:lnTo>
                <a:lnTo>
                  <a:pt x="6650985" y="2468027"/>
                </a:lnTo>
                <a:lnTo>
                  <a:pt x="6642520" y="2472142"/>
                </a:lnTo>
                <a:lnTo>
                  <a:pt x="6641978" y="2470193"/>
                </a:lnTo>
                <a:lnTo>
                  <a:pt x="6645016" y="2468677"/>
                </a:lnTo>
                <a:lnTo>
                  <a:pt x="6647404" y="2465320"/>
                </a:lnTo>
                <a:lnTo>
                  <a:pt x="6644257" y="2466078"/>
                </a:lnTo>
                <a:lnTo>
                  <a:pt x="6639374" y="2461314"/>
                </a:lnTo>
                <a:lnTo>
                  <a:pt x="6638614" y="2458283"/>
                </a:lnTo>
                <a:lnTo>
                  <a:pt x="6632754" y="2455251"/>
                </a:lnTo>
                <a:lnTo>
                  <a:pt x="6630366" y="2453302"/>
                </a:lnTo>
                <a:lnTo>
                  <a:pt x="6631452" y="2455793"/>
                </a:lnTo>
                <a:lnTo>
                  <a:pt x="6631126" y="2459257"/>
                </a:lnTo>
                <a:lnTo>
                  <a:pt x="6632211" y="2463479"/>
                </a:lnTo>
                <a:lnTo>
                  <a:pt x="6632971" y="2469218"/>
                </a:lnTo>
                <a:lnTo>
                  <a:pt x="6629173" y="2471275"/>
                </a:lnTo>
                <a:lnTo>
                  <a:pt x="6627003" y="2474848"/>
                </a:lnTo>
                <a:lnTo>
                  <a:pt x="6624832" y="2476581"/>
                </a:lnTo>
                <a:lnTo>
                  <a:pt x="6622770" y="2474956"/>
                </a:lnTo>
                <a:lnTo>
                  <a:pt x="6621468" y="2473765"/>
                </a:lnTo>
                <a:lnTo>
                  <a:pt x="6621034" y="2475606"/>
                </a:lnTo>
                <a:lnTo>
                  <a:pt x="6617995" y="2479720"/>
                </a:lnTo>
                <a:lnTo>
                  <a:pt x="6613438" y="2484268"/>
                </a:lnTo>
                <a:lnTo>
                  <a:pt x="6608230" y="2486866"/>
                </a:lnTo>
                <a:lnTo>
                  <a:pt x="6605408" y="2487732"/>
                </a:lnTo>
                <a:lnTo>
                  <a:pt x="6600742" y="2486109"/>
                </a:lnTo>
                <a:lnTo>
                  <a:pt x="6596076" y="2487407"/>
                </a:lnTo>
                <a:lnTo>
                  <a:pt x="6592060" y="2487299"/>
                </a:lnTo>
                <a:lnTo>
                  <a:pt x="6593796" y="2490439"/>
                </a:lnTo>
                <a:lnTo>
                  <a:pt x="6588696" y="2493254"/>
                </a:lnTo>
                <a:lnTo>
                  <a:pt x="6584355" y="2494770"/>
                </a:lnTo>
                <a:lnTo>
                  <a:pt x="6580449" y="2493362"/>
                </a:lnTo>
                <a:lnTo>
                  <a:pt x="6578712" y="2496827"/>
                </a:lnTo>
                <a:lnTo>
                  <a:pt x="6574046" y="2497585"/>
                </a:lnTo>
                <a:lnTo>
                  <a:pt x="6571551" y="2500183"/>
                </a:lnTo>
                <a:lnTo>
                  <a:pt x="6570356" y="2499967"/>
                </a:lnTo>
                <a:lnTo>
                  <a:pt x="6571334" y="2498776"/>
                </a:lnTo>
                <a:lnTo>
                  <a:pt x="6569163" y="2498343"/>
                </a:lnTo>
                <a:lnTo>
                  <a:pt x="6568838" y="2497368"/>
                </a:lnTo>
                <a:lnTo>
                  <a:pt x="6569706" y="2496611"/>
                </a:lnTo>
                <a:lnTo>
                  <a:pt x="6568403" y="2496611"/>
                </a:lnTo>
                <a:lnTo>
                  <a:pt x="6567318" y="2494770"/>
                </a:lnTo>
                <a:lnTo>
                  <a:pt x="6566885" y="2493579"/>
                </a:lnTo>
                <a:lnTo>
                  <a:pt x="6565257" y="2495311"/>
                </a:lnTo>
                <a:lnTo>
                  <a:pt x="6564063" y="2495419"/>
                </a:lnTo>
                <a:lnTo>
                  <a:pt x="6564822" y="2497910"/>
                </a:lnTo>
                <a:lnTo>
                  <a:pt x="6563954" y="2501050"/>
                </a:lnTo>
                <a:lnTo>
                  <a:pt x="6560699" y="2503756"/>
                </a:lnTo>
                <a:lnTo>
                  <a:pt x="6559613" y="2505705"/>
                </a:lnTo>
                <a:lnTo>
                  <a:pt x="6561350" y="2510144"/>
                </a:lnTo>
                <a:lnTo>
                  <a:pt x="6564172" y="2510144"/>
                </a:lnTo>
                <a:lnTo>
                  <a:pt x="6566667" y="2514908"/>
                </a:lnTo>
                <a:lnTo>
                  <a:pt x="6566667" y="2516207"/>
                </a:lnTo>
                <a:lnTo>
                  <a:pt x="6568620" y="2516641"/>
                </a:lnTo>
                <a:lnTo>
                  <a:pt x="6569814" y="2518698"/>
                </a:lnTo>
                <a:lnTo>
                  <a:pt x="6565582" y="2523895"/>
                </a:lnTo>
                <a:lnTo>
                  <a:pt x="6562869" y="2523895"/>
                </a:lnTo>
                <a:lnTo>
                  <a:pt x="6562869" y="2522596"/>
                </a:lnTo>
                <a:lnTo>
                  <a:pt x="6557552" y="2521621"/>
                </a:lnTo>
                <a:lnTo>
                  <a:pt x="6555707" y="2524869"/>
                </a:lnTo>
                <a:lnTo>
                  <a:pt x="6554731" y="2525844"/>
                </a:lnTo>
                <a:lnTo>
                  <a:pt x="6553971" y="2520755"/>
                </a:lnTo>
                <a:lnTo>
                  <a:pt x="6554187" y="2518482"/>
                </a:lnTo>
                <a:lnTo>
                  <a:pt x="6550715" y="2516424"/>
                </a:lnTo>
                <a:lnTo>
                  <a:pt x="6544964" y="2508521"/>
                </a:lnTo>
                <a:lnTo>
                  <a:pt x="6545072" y="2505705"/>
                </a:lnTo>
                <a:lnTo>
                  <a:pt x="6548437" y="2501483"/>
                </a:lnTo>
                <a:lnTo>
                  <a:pt x="6549197" y="2497368"/>
                </a:lnTo>
                <a:lnTo>
                  <a:pt x="6552669" y="2496827"/>
                </a:lnTo>
                <a:lnTo>
                  <a:pt x="6552451" y="2495311"/>
                </a:lnTo>
                <a:lnTo>
                  <a:pt x="6549956" y="2494121"/>
                </a:lnTo>
                <a:lnTo>
                  <a:pt x="6546484" y="2495311"/>
                </a:lnTo>
                <a:lnTo>
                  <a:pt x="6543119" y="2492171"/>
                </a:lnTo>
                <a:lnTo>
                  <a:pt x="6540623" y="2496286"/>
                </a:lnTo>
                <a:lnTo>
                  <a:pt x="6537367" y="2495961"/>
                </a:lnTo>
                <a:lnTo>
                  <a:pt x="6534872" y="2496827"/>
                </a:lnTo>
                <a:lnTo>
                  <a:pt x="6529012" y="2491955"/>
                </a:lnTo>
                <a:lnTo>
                  <a:pt x="6526625" y="2492713"/>
                </a:lnTo>
                <a:lnTo>
                  <a:pt x="6522283" y="2488274"/>
                </a:lnTo>
                <a:lnTo>
                  <a:pt x="6519897" y="2483943"/>
                </a:lnTo>
                <a:lnTo>
                  <a:pt x="6518811" y="2488599"/>
                </a:lnTo>
                <a:lnTo>
                  <a:pt x="6519029" y="2491089"/>
                </a:lnTo>
                <a:lnTo>
                  <a:pt x="6515122" y="2492713"/>
                </a:lnTo>
                <a:lnTo>
                  <a:pt x="6512192" y="2491413"/>
                </a:lnTo>
                <a:lnTo>
                  <a:pt x="6510456" y="2492496"/>
                </a:lnTo>
                <a:lnTo>
                  <a:pt x="6509045" y="2492171"/>
                </a:lnTo>
                <a:lnTo>
                  <a:pt x="6504922" y="2490006"/>
                </a:lnTo>
                <a:lnTo>
                  <a:pt x="6503286" y="2490489"/>
                </a:lnTo>
                <a:lnTo>
                  <a:pt x="6504922" y="2490006"/>
                </a:lnTo>
                <a:lnTo>
                  <a:pt x="6509045" y="2492171"/>
                </a:lnTo>
                <a:lnTo>
                  <a:pt x="6509154" y="2492280"/>
                </a:lnTo>
                <a:lnTo>
                  <a:pt x="6508938" y="2492172"/>
                </a:lnTo>
                <a:lnTo>
                  <a:pt x="6508938" y="2492281"/>
                </a:lnTo>
                <a:lnTo>
                  <a:pt x="6508828" y="2492172"/>
                </a:lnTo>
                <a:lnTo>
                  <a:pt x="6509696" y="2494012"/>
                </a:lnTo>
                <a:lnTo>
                  <a:pt x="6508068" y="2496719"/>
                </a:lnTo>
                <a:lnTo>
                  <a:pt x="6505573" y="2497802"/>
                </a:lnTo>
                <a:lnTo>
                  <a:pt x="6503619" y="2497693"/>
                </a:lnTo>
                <a:lnTo>
                  <a:pt x="6499387" y="2500400"/>
                </a:lnTo>
                <a:lnTo>
                  <a:pt x="6495264" y="2500075"/>
                </a:lnTo>
                <a:lnTo>
                  <a:pt x="6490923" y="2500833"/>
                </a:lnTo>
                <a:lnTo>
                  <a:pt x="6489729" y="2503107"/>
                </a:lnTo>
                <a:lnTo>
                  <a:pt x="6490706" y="2506463"/>
                </a:lnTo>
                <a:lnTo>
                  <a:pt x="6488318" y="2508087"/>
                </a:lnTo>
                <a:lnTo>
                  <a:pt x="6487450" y="2509712"/>
                </a:lnTo>
                <a:lnTo>
                  <a:pt x="6485172" y="2508412"/>
                </a:lnTo>
                <a:lnTo>
                  <a:pt x="6481590" y="2509170"/>
                </a:lnTo>
                <a:lnTo>
                  <a:pt x="6479312" y="2511335"/>
                </a:lnTo>
                <a:lnTo>
                  <a:pt x="6477684" y="2511985"/>
                </a:lnTo>
                <a:lnTo>
                  <a:pt x="6476164" y="2509712"/>
                </a:lnTo>
                <a:lnTo>
                  <a:pt x="6474537" y="2509170"/>
                </a:lnTo>
                <a:lnTo>
                  <a:pt x="6474211" y="2512526"/>
                </a:lnTo>
                <a:lnTo>
                  <a:pt x="6472366" y="2515016"/>
                </a:lnTo>
                <a:lnTo>
                  <a:pt x="6473669" y="2516424"/>
                </a:lnTo>
                <a:lnTo>
                  <a:pt x="6473018" y="2519997"/>
                </a:lnTo>
                <a:lnTo>
                  <a:pt x="6473235" y="2523787"/>
                </a:lnTo>
                <a:lnTo>
                  <a:pt x="6472583" y="2524761"/>
                </a:lnTo>
                <a:lnTo>
                  <a:pt x="6473886" y="2527468"/>
                </a:lnTo>
                <a:lnTo>
                  <a:pt x="6472692" y="2529634"/>
                </a:lnTo>
                <a:lnTo>
                  <a:pt x="6470847" y="2530175"/>
                </a:lnTo>
                <a:lnTo>
                  <a:pt x="6467375" y="2535805"/>
                </a:lnTo>
                <a:lnTo>
                  <a:pt x="6464228" y="2535913"/>
                </a:lnTo>
                <a:lnTo>
                  <a:pt x="6463034" y="2534289"/>
                </a:lnTo>
                <a:lnTo>
                  <a:pt x="6462926" y="2536238"/>
                </a:lnTo>
                <a:lnTo>
                  <a:pt x="6460755" y="2537861"/>
                </a:lnTo>
                <a:lnTo>
                  <a:pt x="6459453" y="2541976"/>
                </a:lnTo>
                <a:lnTo>
                  <a:pt x="6457391" y="2543709"/>
                </a:lnTo>
                <a:lnTo>
                  <a:pt x="6457174" y="2547931"/>
                </a:lnTo>
                <a:lnTo>
                  <a:pt x="6459019" y="2548364"/>
                </a:lnTo>
                <a:lnTo>
                  <a:pt x="6460864" y="2550746"/>
                </a:lnTo>
                <a:lnTo>
                  <a:pt x="6458476" y="2558650"/>
                </a:lnTo>
                <a:lnTo>
                  <a:pt x="6455763" y="2562656"/>
                </a:lnTo>
                <a:lnTo>
                  <a:pt x="6460864" y="2566987"/>
                </a:lnTo>
                <a:lnTo>
                  <a:pt x="6460321" y="2569477"/>
                </a:lnTo>
                <a:lnTo>
                  <a:pt x="6456306" y="2570560"/>
                </a:lnTo>
                <a:lnTo>
                  <a:pt x="6460430" y="2571750"/>
                </a:lnTo>
                <a:lnTo>
                  <a:pt x="6467592" y="2575973"/>
                </a:lnTo>
                <a:lnTo>
                  <a:pt x="6473886" y="2582144"/>
                </a:lnTo>
                <a:lnTo>
                  <a:pt x="6476164" y="2581928"/>
                </a:lnTo>
                <a:lnTo>
                  <a:pt x="6479312" y="2587342"/>
                </a:lnTo>
                <a:lnTo>
                  <a:pt x="6479312" y="2590048"/>
                </a:lnTo>
                <a:lnTo>
                  <a:pt x="6478335" y="2591672"/>
                </a:lnTo>
                <a:lnTo>
                  <a:pt x="6480397" y="2597086"/>
                </a:lnTo>
                <a:lnTo>
                  <a:pt x="6481265" y="2600009"/>
                </a:lnTo>
                <a:lnTo>
                  <a:pt x="6490706" y="2607588"/>
                </a:lnTo>
                <a:lnTo>
                  <a:pt x="6495914" y="2610619"/>
                </a:lnTo>
                <a:lnTo>
                  <a:pt x="6496457" y="2612244"/>
                </a:lnTo>
                <a:lnTo>
                  <a:pt x="6509262" y="2619282"/>
                </a:lnTo>
                <a:lnTo>
                  <a:pt x="6520873" y="2627727"/>
                </a:lnTo>
                <a:lnTo>
                  <a:pt x="6523369" y="2632274"/>
                </a:lnTo>
                <a:lnTo>
                  <a:pt x="6534113" y="2640178"/>
                </a:lnTo>
                <a:lnTo>
                  <a:pt x="6537476" y="2646349"/>
                </a:lnTo>
                <a:lnTo>
                  <a:pt x="6538236" y="2650139"/>
                </a:lnTo>
                <a:lnTo>
                  <a:pt x="6539647" y="2650139"/>
                </a:lnTo>
                <a:lnTo>
                  <a:pt x="6539539" y="2653386"/>
                </a:lnTo>
                <a:lnTo>
                  <a:pt x="6544964" y="2658908"/>
                </a:lnTo>
                <a:lnTo>
                  <a:pt x="6544964" y="2661507"/>
                </a:lnTo>
                <a:lnTo>
                  <a:pt x="6546158" y="2663455"/>
                </a:lnTo>
                <a:lnTo>
                  <a:pt x="6545073" y="2665404"/>
                </a:lnTo>
                <a:lnTo>
                  <a:pt x="6549305" y="2670493"/>
                </a:lnTo>
                <a:lnTo>
                  <a:pt x="6550390" y="2679263"/>
                </a:lnTo>
                <a:lnTo>
                  <a:pt x="6552126" y="2680671"/>
                </a:lnTo>
                <a:lnTo>
                  <a:pt x="6554079" y="2688249"/>
                </a:lnTo>
                <a:lnTo>
                  <a:pt x="6555599" y="2689873"/>
                </a:lnTo>
                <a:lnTo>
                  <a:pt x="6555816" y="2694096"/>
                </a:lnTo>
                <a:lnTo>
                  <a:pt x="6554947" y="2696803"/>
                </a:lnTo>
                <a:lnTo>
                  <a:pt x="6556576" y="2700809"/>
                </a:lnTo>
                <a:lnTo>
                  <a:pt x="6555382" y="2702433"/>
                </a:lnTo>
                <a:lnTo>
                  <a:pt x="6557118" y="2708497"/>
                </a:lnTo>
                <a:lnTo>
                  <a:pt x="6557335" y="2710770"/>
                </a:lnTo>
                <a:lnTo>
                  <a:pt x="6559505" y="2711744"/>
                </a:lnTo>
                <a:lnTo>
                  <a:pt x="6560590" y="2715101"/>
                </a:lnTo>
                <a:lnTo>
                  <a:pt x="6563412" y="2720622"/>
                </a:lnTo>
                <a:lnTo>
                  <a:pt x="6562869" y="2724195"/>
                </a:lnTo>
                <a:lnTo>
                  <a:pt x="6561675" y="2724087"/>
                </a:lnTo>
                <a:lnTo>
                  <a:pt x="6561675" y="2722355"/>
                </a:lnTo>
                <a:lnTo>
                  <a:pt x="6560157" y="2720514"/>
                </a:lnTo>
                <a:lnTo>
                  <a:pt x="6558095" y="2721705"/>
                </a:lnTo>
                <a:lnTo>
                  <a:pt x="6558420" y="2725387"/>
                </a:lnTo>
                <a:lnTo>
                  <a:pt x="6560699" y="2727768"/>
                </a:lnTo>
                <a:lnTo>
                  <a:pt x="6560157" y="2729826"/>
                </a:lnTo>
                <a:lnTo>
                  <a:pt x="6557769" y="2731775"/>
                </a:lnTo>
                <a:lnTo>
                  <a:pt x="6557552" y="2734481"/>
                </a:lnTo>
                <a:lnTo>
                  <a:pt x="6553863" y="2737297"/>
                </a:lnTo>
                <a:lnTo>
                  <a:pt x="6557118" y="2742385"/>
                </a:lnTo>
                <a:lnTo>
                  <a:pt x="6555382" y="2746607"/>
                </a:lnTo>
                <a:lnTo>
                  <a:pt x="6556900" y="2748556"/>
                </a:lnTo>
                <a:lnTo>
                  <a:pt x="6553754" y="2751588"/>
                </a:lnTo>
                <a:lnTo>
                  <a:pt x="6551150" y="2752562"/>
                </a:lnTo>
                <a:lnTo>
                  <a:pt x="6550390" y="2758409"/>
                </a:lnTo>
                <a:lnTo>
                  <a:pt x="6547894" y="2759383"/>
                </a:lnTo>
                <a:lnTo>
                  <a:pt x="6542469" y="2764905"/>
                </a:lnTo>
                <a:lnTo>
                  <a:pt x="6538887" y="2766746"/>
                </a:lnTo>
                <a:lnTo>
                  <a:pt x="6534113" y="2770102"/>
                </a:lnTo>
                <a:lnTo>
                  <a:pt x="6533570" y="2774108"/>
                </a:lnTo>
                <a:lnTo>
                  <a:pt x="6529229" y="2774108"/>
                </a:lnTo>
                <a:lnTo>
                  <a:pt x="6526516" y="2777248"/>
                </a:lnTo>
                <a:lnTo>
                  <a:pt x="6516098" y="2783311"/>
                </a:lnTo>
                <a:lnTo>
                  <a:pt x="6509913" y="2783961"/>
                </a:lnTo>
                <a:lnTo>
                  <a:pt x="6507200" y="2782553"/>
                </a:lnTo>
                <a:lnTo>
                  <a:pt x="6502642" y="2783744"/>
                </a:lnTo>
                <a:lnTo>
                  <a:pt x="6501774" y="2782878"/>
                </a:lnTo>
                <a:lnTo>
                  <a:pt x="6502426" y="2779847"/>
                </a:lnTo>
                <a:lnTo>
                  <a:pt x="6502209" y="2777031"/>
                </a:lnTo>
                <a:lnTo>
                  <a:pt x="6501124" y="2779847"/>
                </a:lnTo>
                <a:lnTo>
                  <a:pt x="6500364" y="2780929"/>
                </a:lnTo>
                <a:lnTo>
                  <a:pt x="6496349" y="2779847"/>
                </a:lnTo>
                <a:lnTo>
                  <a:pt x="6499062" y="2782012"/>
                </a:lnTo>
                <a:lnTo>
                  <a:pt x="6498953" y="2783744"/>
                </a:lnTo>
                <a:lnTo>
                  <a:pt x="6497760" y="2784610"/>
                </a:lnTo>
                <a:lnTo>
                  <a:pt x="6493852" y="2783961"/>
                </a:lnTo>
                <a:lnTo>
                  <a:pt x="6500364" y="2786992"/>
                </a:lnTo>
                <a:lnTo>
                  <a:pt x="6498844" y="2789158"/>
                </a:lnTo>
                <a:lnTo>
                  <a:pt x="6500689" y="2792947"/>
                </a:lnTo>
                <a:lnTo>
                  <a:pt x="6497217" y="2794788"/>
                </a:lnTo>
                <a:lnTo>
                  <a:pt x="6492008" y="2790890"/>
                </a:lnTo>
                <a:lnTo>
                  <a:pt x="6496349" y="2795654"/>
                </a:lnTo>
                <a:lnTo>
                  <a:pt x="6495914" y="2797928"/>
                </a:lnTo>
                <a:lnTo>
                  <a:pt x="6493961" y="2800635"/>
                </a:lnTo>
                <a:lnTo>
                  <a:pt x="6491899" y="2799876"/>
                </a:lnTo>
                <a:lnTo>
                  <a:pt x="6489946" y="2797062"/>
                </a:lnTo>
                <a:lnTo>
                  <a:pt x="6487233" y="2797494"/>
                </a:lnTo>
                <a:lnTo>
                  <a:pt x="6488535" y="2801068"/>
                </a:lnTo>
                <a:lnTo>
                  <a:pt x="6488318" y="2802259"/>
                </a:lnTo>
                <a:lnTo>
                  <a:pt x="6489295" y="2803558"/>
                </a:lnTo>
                <a:lnTo>
                  <a:pt x="6487450" y="2804857"/>
                </a:lnTo>
                <a:lnTo>
                  <a:pt x="6486149" y="2806698"/>
                </a:lnTo>
                <a:lnTo>
                  <a:pt x="6483760" y="2806914"/>
                </a:lnTo>
                <a:lnTo>
                  <a:pt x="6479203" y="2810920"/>
                </a:lnTo>
                <a:lnTo>
                  <a:pt x="6477141" y="2812328"/>
                </a:lnTo>
                <a:lnTo>
                  <a:pt x="6473995" y="2811894"/>
                </a:lnTo>
                <a:lnTo>
                  <a:pt x="6472909" y="2814493"/>
                </a:lnTo>
                <a:lnTo>
                  <a:pt x="6472258" y="2819582"/>
                </a:lnTo>
                <a:lnTo>
                  <a:pt x="6469328" y="2822289"/>
                </a:lnTo>
                <a:lnTo>
                  <a:pt x="6468134" y="2822180"/>
                </a:lnTo>
                <a:lnTo>
                  <a:pt x="6468460" y="2823263"/>
                </a:lnTo>
                <a:lnTo>
                  <a:pt x="6457825" y="2828027"/>
                </a:lnTo>
                <a:lnTo>
                  <a:pt x="6452183" y="2827161"/>
                </a:lnTo>
                <a:lnTo>
                  <a:pt x="6455763" y="2824996"/>
                </a:lnTo>
                <a:lnTo>
                  <a:pt x="6460104" y="2823047"/>
                </a:lnTo>
                <a:lnTo>
                  <a:pt x="6462492" y="2820339"/>
                </a:lnTo>
                <a:lnTo>
                  <a:pt x="6459995" y="2821314"/>
                </a:lnTo>
                <a:lnTo>
                  <a:pt x="6456740" y="2819582"/>
                </a:lnTo>
                <a:lnTo>
                  <a:pt x="6457174" y="2812328"/>
                </a:lnTo>
                <a:lnTo>
                  <a:pt x="6457825" y="2811570"/>
                </a:lnTo>
                <a:lnTo>
                  <a:pt x="6456414" y="2811137"/>
                </a:lnTo>
                <a:lnTo>
                  <a:pt x="6457282" y="2808105"/>
                </a:lnTo>
                <a:lnTo>
                  <a:pt x="6456849" y="2800526"/>
                </a:lnTo>
                <a:lnTo>
                  <a:pt x="6460430" y="2794788"/>
                </a:lnTo>
                <a:lnTo>
                  <a:pt x="6467049" y="2789483"/>
                </a:lnTo>
                <a:lnTo>
                  <a:pt x="6469111" y="2787101"/>
                </a:lnTo>
                <a:lnTo>
                  <a:pt x="6465747" y="2788617"/>
                </a:lnTo>
                <a:lnTo>
                  <a:pt x="6460647" y="2787858"/>
                </a:lnTo>
                <a:lnTo>
                  <a:pt x="6457066" y="2789049"/>
                </a:lnTo>
                <a:lnTo>
                  <a:pt x="6454787" y="2787642"/>
                </a:lnTo>
                <a:lnTo>
                  <a:pt x="6452508" y="2788508"/>
                </a:lnTo>
                <a:lnTo>
                  <a:pt x="6447950" y="2787317"/>
                </a:lnTo>
                <a:lnTo>
                  <a:pt x="6448601" y="2786126"/>
                </a:lnTo>
                <a:lnTo>
                  <a:pt x="6448493" y="2782120"/>
                </a:lnTo>
                <a:lnTo>
                  <a:pt x="6447299" y="2781254"/>
                </a:lnTo>
                <a:lnTo>
                  <a:pt x="6451748" y="2775841"/>
                </a:lnTo>
                <a:lnTo>
                  <a:pt x="6456958" y="2774974"/>
                </a:lnTo>
                <a:lnTo>
                  <a:pt x="6459670" y="2768153"/>
                </a:lnTo>
                <a:lnTo>
                  <a:pt x="6456957" y="2774974"/>
                </a:lnTo>
                <a:lnTo>
                  <a:pt x="6451747" y="2775841"/>
                </a:lnTo>
                <a:lnTo>
                  <a:pt x="6447298" y="2781254"/>
                </a:lnTo>
                <a:lnTo>
                  <a:pt x="6442958" y="2778114"/>
                </a:lnTo>
                <a:lnTo>
                  <a:pt x="6441547" y="2778980"/>
                </a:lnTo>
                <a:lnTo>
                  <a:pt x="6436772" y="2777464"/>
                </a:lnTo>
                <a:lnTo>
                  <a:pt x="6434168" y="2775515"/>
                </a:lnTo>
                <a:lnTo>
                  <a:pt x="6433734" y="2776815"/>
                </a:lnTo>
                <a:lnTo>
                  <a:pt x="6429936" y="2780388"/>
                </a:lnTo>
                <a:lnTo>
                  <a:pt x="6427331" y="2780280"/>
                </a:lnTo>
                <a:lnTo>
                  <a:pt x="6426680" y="2778439"/>
                </a:lnTo>
                <a:lnTo>
                  <a:pt x="6425162" y="2776165"/>
                </a:lnTo>
                <a:lnTo>
                  <a:pt x="6428091" y="2772809"/>
                </a:lnTo>
                <a:lnTo>
                  <a:pt x="6428416" y="2769669"/>
                </a:lnTo>
                <a:lnTo>
                  <a:pt x="6426789" y="2765988"/>
                </a:lnTo>
                <a:lnTo>
                  <a:pt x="6426789" y="2763173"/>
                </a:lnTo>
                <a:lnTo>
                  <a:pt x="6424836" y="2764472"/>
                </a:lnTo>
                <a:lnTo>
                  <a:pt x="6421906" y="2766962"/>
                </a:lnTo>
                <a:lnTo>
                  <a:pt x="6421906" y="2771076"/>
                </a:lnTo>
                <a:lnTo>
                  <a:pt x="6418867" y="2771509"/>
                </a:lnTo>
                <a:lnTo>
                  <a:pt x="6415177" y="2771076"/>
                </a:lnTo>
                <a:lnTo>
                  <a:pt x="6414527" y="2767503"/>
                </a:lnTo>
                <a:lnTo>
                  <a:pt x="6413007" y="2764797"/>
                </a:lnTo>
                <a:lnTo>
                  <a:pt x="6413333" y="2761007"/>
                </a:lnTo>
                <a:lnTo>
                  <a:pt x="6411488" y="2757543"/>
                </a:lnTo>
                <a:lnTo>
                  <a:pt x="6409643" y="2758192"/>
                </a:lnTo>
                <a:lnTo>
                  <a:pt x="6406279" y="2753428"/>
                </a:lnTo>
                <a:lnTo>
                  <a:pt x="6406063" y="2748881"/>
                </a:lnTo>
                <a:lnTo>
                  <a:pt x="6402915" y="2746066"/>
                </a:lnTo>
                <a:lnTo>
                  <a:pt x="6402807" y="2741519"/>
                </a:lnTo>
                <a:lnTo>
                  <a:pt x="6399551" y="2737729"/>
                </a:lnTo>
                <a:lnTo>
                  <a:pt x="6399443" y="2737729"/>
                </a:lnTo>
                <a:lnTo>
                  <a:pt x="6399768" y="2735889"/>
                </a:lnTo>
                <a:lnTo>
                  <a:pt x="6399443" y="2737729"/>
                </a:lnTo>
                <a:lnTo>
                  <a:pt x="6397382" y="2737513"/>
                </a:lnTo>
                <a:lnTo>
                  <a:pt x="6397055" y="2740869"/>
                </a:lnTo>
                <a:lnTo>
                  <a:pt x="6396187" y="2741194"/>
                </a:lnTo>
                <a:lnTo>
                  <a:pt x="6395428" y="2740003"/>
                </a:lnTo>
                <a:lnTo>
                  <a:pt x="6390436" y="2735889"/>
                </a:lnTo>
                <a:lnTo>
                  <a:pt x="6388591" y="2735780"/>
                </a:lnTo>
                <a:lnTo>
                  <a:pt x="6388700" y="2733615"/>
                </a:lnTo>
                <a:lnTo>
                  <a:pt x="6385770" y="2732099"/>
                </a:lnTo>
                <a:lnTo>
                  <a:pt x="6379476" y="2726036"/>
                </a:lnTo>
                <a:lnTo>
                  <a:pt x="6376003" y="2724737"/>
                </a:lnTo>
                <a:lnTo>
                  <a:pt x="6373290" y="2727010"/>
                </a:lnTo>
                <a:lnTo>
                  <a:pt x="6373833" y="2728093"/>
                </a:lnTo>
                <a:lnTo>
                  <a:pt x="6373399" y="2728959"/>
                </a:lnTo>
                <a:lnTo>
                  <a:pt x="6371337" y="2727552"/>
                </a:lnTo>
                <a:lnTo>
                  <a:pt x="6366128" y="2726253"/>
                </a:lnTo>
                <a:lnTo>
                  <a:pt x="6361354" y="2727443"/>
                </a:lnTo>
                <a:lnTo>
                  <a:pt x="6357990" y="2726253"/>
                </a:lnTo>
                <a:lnTo>
                  <a:pt x="6354409" y="2726577"/>
                </a:lnTo>
                <a:lnTo>
                  <a:pt x="6355711" y="2722896"/>
                </a:lnTo>
                <a:lnTo>
                  <a:pt x="6357230" y="2721272"/>
                </a:lnTo>
                <a:lnTo>
                  <a:pt x="6355060" y="2717483"/>
                </a:lnTo>
                <a:lnTo>
                  <a:pt x="6355385" y="2711203"/>
                </a:lnTo>
                <a:lnTo>
                  <a:pt x="6356796" y="2709688"/>
                </a:lnTo>
                <a:lnTo>
                  <a:pt x="6355493" y="2706547"/>
                </a:lnTo>
                <a:lnTo>
                  <a:pt x="6351370" y="2705790"/>
                </a:lnTo>
                <a:lnTo>
                  <a:pt x="6350610" y="2705140"/>
                </a:lnTo>
                <a:lnTo>
                  <a:pt x="6348983" y="2705573"/>
                </a:lnTo>
                <a:lnTo>
                  <a:pt x="6347246" y="2704274"/>
                </a:lnTo>
                <a:lnTo>
                  <a:pt x="6343557" y="2706006"/>
                </a:lnTo>
                <a:lnTo>
                  <a:pt x="6340735" y="2706331"/>
                </a:lnTo>
                <a:lnTo>
                  <a:pt x="6339000" y="2704815"/>
                </a:lnTo>
                <a:lnTo>
                  <a:pt x="6337480" y="2706764"/>
                </a:lnTo>
                <a:lnTo>
                  <a:pt x="6334767" y="2706764"/>
                </a:lnTo>
                <a:lnTo>
                  <a:pt x="6333357" y="2706114"/>
                </a:lnTo>
                <a:lnTo>
                  <a:pt x="6333357" y="2707089"/>
                </a:lnTo>
                <a:lnTo>
                  <a:pt x="6332271" y="2710445"/>
                </a:lnTo>
                <a:lnTo>
                  <a:pt x="6336287" y="2712394"/>
                </a:lnTo>
                <a:lnTo>
                  <a:pt x="6336937" y="2716725"/>
                </a:lnTo>
                <a:lnTo>
                  <a:pt x="6334442" y="2720839"/>
                </a:lnTo>
                <a:lnTo>
                  <a:pt x="6334659" y="2726036"/>
                </a:lnTo>
                <a:lnTo>
                  <a:pt x="6333682" y="2728959"/>
                </a:lnTo>
                <a:lnTo>
                  <a:pt x="6335527" y="2730475"/>
                </a:lnTo>
                <a:lnTo>
                  <a:pt x="6334767" y="2737080"/>
                </a:lnTo>
                <a:lnTo>
                  <a:pt x="6331403" y="2741410"/>
                </a:lnTo>
                <a:lnTo>
                  <a:pt x="6330644" y="2746283"/>
                </a:lnTo>
                <a:lnTo>
                  <a:pt x="6327171" y="2751371"/>
                </a:lnTo>
                <a:lnTo>
                  <a:pt x="6325978" y="2769452"/>
                </a:lnTo>
                <a:lnTo>
                  <a:pt x="6320226" y="2776706"/>
                </a:lnTo>
                <a:lnTo>
                  <a:pt x="6320226" y="2781795"/>
                </a:lnTo>
                <a:lnTo>
                  <a:pt x="6317947" y="2786559"/>
                </a:lnTo>
                <a:lnTo>
                  <a:pt x="6320443" y="2786992"/>
                </a:lnTo>
                <a:lnTo>
                  <a:pt x="6321094" y="2788183"/>
                </a:lnTo>
                <a:lnTo>
                  <a:pt x="6318923" y="2790999"/>
                </a:lnTo>
                <a:lnTo>
                  <a:pt x="6319250" y="2793164"/>
                </a:lnTo>
                <a:lnTo>
                  <a:pt x="6320443" y="2798144"/>
                </a:lnTo>
                <a:lnTo>
                  <a:pt x="6320443" y="2801284"/>
                </a:lnTo>
                <a:lnTo>
                  <a:pt x="6325109" y="2808105"/>
                </a:lnTo>
                <a:lnTo>
                  <a:pt x="6322722" y="2812760"/>
                </a:lnTo>
                <a:lnTo>
                  <a:pt x="6324241" y="2814493"/>
                </a:lnTo>
                <a:lnTo>
                  <a:pt x="6326846" y="2813735"/>
                </a:lnTo>
                <a:lnTo>
                  <a:pt x="6327497" y="2811786"/>
                </a:lnTo>
                <a:lnTo>
                  <a:pt x="6329775" y="2809187"/>
                </a:lnTo>
                <a:lnTo>
                  <a:pt x="6330969" y="2810054"/>
                </a:lnTo>
                <a:lnTo>
                  <a:pt x="6334550" y="2810703"/>
                </a:lnTo>
                <a:lnTo>
                  <a:pt x="6336612" y="2812760"/>
                </a:lnTo>
                <a:lnTo>
                  <a:pt x="6337155" y="2817633"/>
                </a:lnTo>
                <a:lnTo>
                  <a:pt x="6339325" y="2820556"/>
                </a:lnTo>
                <a:lnTo>
                  <a:pt x="6338891" y="2825645"/>
                </a:lnTo>
                <a:lnTo>
                  <a:pt x="6341495" y="2826619"/>
                </a:lnTo>
                <a:lnTo>
                  <a:pt x="6343882" y="2831925"/>
                </a:lnTo>
                <a:lnTo>
                  <a:pt x="6346487" y="2831816"/>
                </a:lnTo>
                <a:lnTo>
                  <a:pt x="6346378" y="2829217"/>
                </a:lnTo>
                <a:lnTo>
                  <a:pt x="6346813" y="2827160"/>
                </a:lnTo>
                <a:lnTo>
                  <a:pt x="6347897" y="2830950"/>
                </a:lnTo>
                <a:lnTo>
                  <a:pt x="6350610" y="2834848"/>
                </a:lnTo>
                <a:lnTo>
                  <a:pt x="6350719" y="2838854"/>
                </a:lnTo>
                <a:lnTo>
                  <a:pt x="6352998" y="2840045"/>
                </a:lnTo>
                <a:lnTo>
                  <a:pt x="6354843" y="2849898"/>
                </a:lnTo>
                <a:lnTo>
                  <a:pt x="6353975" y="2851196"/>
                </a:lnTo>
                <a:lnTo>
                  <a:pt x="6353215" y="2852929"/>
                </a:lnTo>
                <a:lnTo>
                  <a:pt x="6352021" y="2851305"/>
                </a:lnTo>
                <a:lnTo>
                  <a:pt x="6348223" y="2853795"/>
                </a:lnTo>
                <a:lnTo>
                  <a:pt x="6347572" y="2857260"/>
                </a:lnTo>
                <a:lnTo>
                  <a:pt x="6354517" y="2859859"/>
                </a:lnTo>
                <a:lnTo>
                  <a:pt x="6355385" y="2856286"/>
                </a:lnTo>
                <a:lnTo>
                  <a:pt x="6356796" y="2857368"/>
                </a:lnTo>
                <a:lnTo>
                  <a:pt x="6357230" y="2861590"/>
                </a:lnTo>
                <a:lnTo>
                  <a:pt x="6360377" y="2864189"/>
                </a:lnTo>
                <a:lnTo>
                  <a:pt x="6367214" y="2870902"/>
                </a:lnTo>
                <a:lnTo>
                  <a:pt x="6370035" y="2873175"/>
                </a:lnTo>
                <a:lnTo>
                  <a:pt x="6372097" y="2871768"/>
                </a:lnTo>
                <a:lnTo>
                  <a:pt x="6376872" y="2872310"/>
                </a:lnTo>
                <a:lnTo>
                  <a:pt x="6381321" y="2873933"/>
                </a:lnTo>
                <a:lnTo>
                  <a:pt x="6384468" y="2880863"/>
                </a:lnTo>
                <a:lnTo>
                  <a:pt x="6387073" y="2884219"/>
                </a:lnTo>
                <a:lnTo>
                  <a:pt x="6391412" y="2887034"/>
                </a:lnTo>
                <a:lnTo>
                  <a:pt x="6391956" y="2889308"/>
                </a:lnTo>
                <a:lnTo>
                  <a:pt x="6390762" y="2890499"/>
                </a:lnTo>
                <a:lnTo>
                  <a:pt x="6390762" y="2890500"/>
                </a:lnTo>
                <a:lnTo>
                  <a:pt x="6391956" y="2889308"/>
                </a:lnTo>
                <a:lnTo>
                  <a:pt x="6391956" y="2889417"/>
                </a:lnTo>
                <a:lnTo>
                  <a:pt x="6395428" y="2889200"/>
                </a:lnTo>
                <a:lnTo>
                  <a:pt x="6397490" y="2886818"/>
                </a:lnTo>
                <a:lnTo>
                  <a:pt x="6399552" y="2886276"/>
                </a:lnTo>
                <a:lnTo>
                  <a:pt x="6403133" y="2892881"/>
                </a:lnTo>
                <a:lnTo>
                  <a:pt x="6420495" y="2910530"/>
                </a:lnTo>
                <a:lnTo>
                  <a:pt x="6425705" y="2918867"/>
                </a:lnTo>
                <a:lnTo>
                  <a:pt x="6428092" y="2928503"/>
                </a:lnTo>
                <a:lnTo>
                  <a:pt x="6426138" y="2931101"/>
                </a:lnTo>
                <a:lnTo>
                  <a:pt x="6426790" y="2942794"/>
                </a:lnTo>
                <a:lnTo>
                  <a:pt x="6425596" y="2944851"/>
                </a:lnTo>
                <a:lnTo>
                  <a:pt x="6425596" y="2949074"/>
                </a:lnTo>
                <a:lnTo>
                  <a:pt x="6427332" y="2952214"/>
                </a:lnTo>
                <a:lnTo>
                  <a:pt x="6427332" y="2964016"/>
                </a:lnTo>
                <a:lnTo>
                  <a:pt x="6430480" y="2970295"/>
                </a:lnTo>
                <a:lnTo>
                  <a:pt x="6435906" y="2975275"/>
                </a:lnTo>
                <a:lnTo>
                  <a:pt x="6439703" y="2975275"/>
                </a:lnTo>
                <a:lnTo>
                  <a:pt x="6440789" y="2977332"/>
                </a:lnTo>
                <a:lnTo>
                  <a:pt x="6440137" y="2979173"/>
                </a:lnTo>
                <a:lnTo>
                  <a:pt x="6441114" y="2986319"/>
                </a:lnTo>
                <a:lnTo>
                  <a:pt x="6442742" y="2987727"/>
                </a:lnTo>
                <a:lnTo>
                  <a:pt x="6443718" y="2989567"/>
                </a:lnTo>
                <a:lnTo>
                  <a:pt x="6443610" y="2990975"/>
                </a:lnTo>
                <a:lnTo>
                  <a:pt x="6445020" y="2991624"/>
                </a:lnTo>
                <a:lnTo>
                  <a:pt x="6450121" y="3001585"/>
                </a:lnTo>
                <a:lnTo>
                  <a:pt x="6450230" y="3007540"/>
                </a:lnTo>
                <a:lnTo>
                  <a:pt x="6446540" y="3006891"/>
                </a:lnTo>
                <a:lnTo>
                  <a:pt x="6445671" y="3005050"/>
                </a:lnTo>
                <a:lnTo>
                  <a:pt x="6445888" y="3002452"/>
                </a:lnTo>
                <a:lnTo>
                  <a:pt x="6443284" y="3000503"/>
                </a:lnTo>
                <a:lnTo>
                  <a:pt x="6444695" y="3002343"/>
                </a:lnTo>
                <a:lnTo>
                  <a:pt x="6444369" y="3004942"/>
                </a:lnTo>
                <a:lnTo>
                  <a:pt x="6442850" y="3005483"/>
                </a:lnTo>
                <a:lnTo>
                  <a:pt x="6445020" y="3005808"/>
                </a:lnTo>
                <a:lnTo>
                  <a:pt x="6445020" y="3006891"/>
                </a:lnTo>
                <a:lnTo>
                  <a:pt x="6440245" y="3009814"/>
                </a:lnTo>
                <a:lnTo>
                  <a:pt x="6438618" y="3007324"/>
                </a:lnTo>
                <a:lnTo>
                  <a:pt x="6436990" y="3008948"/>
                </a:lnTo>
                <a:lnTo>
                  <a:pt x="6432324" y="3006674"/>
                </a:lnTo>
                <a:lnTo>
                  <a:pt x="6429285" y="3003101"/>
                </a:lnTo>
                <a:lnTo>
                  <a:pt x="6421472" y="3001585"/>
                </a:lnTo>
                <a:lnTo>
                  <a:pt x="6414202" y="2997796"/>
                </a:lnTo>
                <a:lnTo>
                  <a:pt x="6410621" y="2993898"/>
                </a:lnTo>
                <a:lnTo>
                  <a:pt x="6408016" y="2991733"/>
                </a:lnTo>
                <a:lnTo>
                  <a:pt x="6404652" y="2992599"/>
                </a:lnTo>
                <a:lnTo>
                  <a:pt x="6401180" y="2992383"/>
                </a:lnTo>
                <a:lnTo>
                  <a:pt x="6395428" y="2986319"/>
                </a:lnTo>
                <a:lnTo>
                  <a:pt x="6395863" y="2981880"/>
                </a:lnTo>
                <a:lnTo>
                  <a:pt x="6388592" y="2976142"/>
                </a:lnTo>
                <a:lnTo>
                  <a:pt x="6380019" y="2972785"/>
                </a:lnTo>
                <a:lnTo>
                  <a:pt x="6377089" y="2970079"/>
                </a:lnTo>
                <a:lnTo>
                  <a:pt x="6377632" y="2966830"/>
                </a:lnTo>
                <a:lnTo>
                  <a:pt x="6381213" y="2963366"/>
                </a:lnTo>
                <a:lnTo>
                  <a:pt x="6378391" y="2959035"/>
                </a:lnTo>
                <a:lnTo>
                  <a:pt x="6374051" y="2956545"/>
                </a:lnTo>
                <a:lnTo>
                  <a:pt x="6369927" y="2950048"/>
                </a:lnTo>
                <a:lnTo>
                  <a:pt x="6363416" y="2946259"/>
                </a:lnTo>
                <a:lnTo>
                  <a:pt x="6360486" y="2942036"/>
                </a:lnTo>
                <a:lnTo>
                  <a:pt x="6361788" y="2939871"/>
                </a:lnTo>
                <a:lnTo>
                  <a:pt x="6358098" y="2936514"/>
                </a:lnTo>
                <a:lnTo>
                  <a:pt x="6357556" y="2931209"/>
                </a:lnTo>
                <a:lnTo>
                  <a:pt x="6359075" y="2930018"/>
                </a:lnTo>
                <a:lnTo>
                  <a:pt x="6359944" y="2922223"/>
                </a:lnTo>
                <a:lnTo>
                  <a:pt x="6357014" y="2916268"/>
                </a:lnTo>
                <a:lnTo>
                  <a:pt x="6354301" y="2909772"/>
                </a:lnTo>
                <a:lnTo>
                  <a:pt x="6351805" y="2890066"/>
                </a:lnTo>
                <a:lnTo>
                  <a:pt x="6346813" y="2882055"/>
                </a:lnTo>
                <a:lnTo>
                  <a:pt x="6348441" y="2876641"/>
                </a:lnTo>
                <a:lnTo>
                  <a:pt x="6351479" y="2872635"/>
                </a:lnTo>
                <a:lnTo>
                  <a:pt x="6354188" y="2875016"/>
                </a:lnTo>
                <a:lnTo>
                  <a:pt x="6351479" y="2872634"/>
                </a:lnTo>
                <a:lnTo>
                  <a:pt x="6348441" y="2876640"/>
                </a:lnTo>
                <a:lnTo>
                  <a:pt x="6346813" y="2882053"/>
                </a:lnTo>
                <a:lnTo>
                  <a:pt x="6344859" y="2878806"/>
                </a:lnTo>
                <a:lnTo>
                  <a:pt x="6334550" y="2871443"/>
                </a:lnTo>
                <a:lnTo>
                  <a:pt x="6334225" y="2869494"/>
                </a:lnTo>
                <a:lnTo>
                  <a:pt x="6336287" y="2867221"/>
                </a:lnTo>
                <a:lnTo>
                  <a:pt x="6336395" y="2864622"/>
                </a:lnTo>
                <a:lnTo>
                  <a:pt x="6333899" y="2864297"/>
                </a:lnTo>
                <a:lnTo>
                  <a:pt x="6332271" y="2860400"/>
                </a:lnTo>
                <a:lnTo>
                  <a:pt x="6327605" y="2859641"/>
                </a:lnTo>
                <a:lnTo>
                  <a:pt x="6327605" y="2856394"/>
                </a:lnTo>
                <a:lnTo>
                  <a:pt x="6322179" y="2849139"/>
                </a:lnTo>
                <a:lnTo>
                  <a:pt x="6318707" y="2849139"/>
                </a:lnTo>
                <a:lnTo>
                  <a:pt x="6315994" y="2840478"/>
                </a:lnTo>
                <a:lnTo>
                  <a:pt x="6311653" y="2839720"/>
                </a:lnTo>
                <a:lnTo>
                  <a:pt x="6311653" y="2836147"/>
                </a:lnTo>
                <a:lnTo>
                  <a:pt x="6308941" y="2834198"/>
                </a:lnTo>
                <a:lnTo>
                  <a:pt x="6309049" y="2831816"/>
                </a:lnTo>
                <a:lnTo>
                  <a:pt x="6304599" y="2833982"/>
                </a:lnTo>
                <a:lnTo>
                  <a:pt x="6304708" y="2838529"/>
                </a:lnTo>
                <a:lnTo>
                  <a:pt x="6301670" y="2838096"/>
                </a:lnTo>
                <a:lnTo>
                  <a:pt x="6299500" y="2834848"/>
                </a:lnTo>
                <a:lnTo>
                  <a:pt x="6298197" y="2826727"/>
                </a:lnTo>
                <a:lnTo>
                  <a:pt x="6299391" y="2824562"/>
                </a:lnTo>
                <a:lnTo>
                  <a:pt x="6298631" y="2817741"/>
                </a:lnTo>
                <a:lnTo>
                  <a:pt x="6301670" y="2816333"/>
                </a:lnTo>
                <a:lnTo>
                  <a:pt x="6301562" y="2807130"/>
                </a:lnTo>
                <a:lnTo>
                  <a:pt x="6304057" y="2807672"/>
                </a:lnTo>
                <a:lnTo>
                  <a:pt x="6305902" y="2803991"/>
                </a:lnTo>
                <a:lnTo>
                  <a:pt x="6303189" y="2803450"/>
                </a:lnTo>
                <a:lnTo>
                  <a:pt x="6306552" y="2798578"/>
                </a:lnTo>
                <a:lnTo>
                  <a:pt x="6305468" y="2796628"/>
                </a:lnTo>
                <a:lnTo>
                  <a:pt x="6308614" y="2792081"/>
                </a:lnTo>
                <a:lnTo>
                  <a:pt x="6305902" y="2791756"/>
                </a:lnTo>
                <a:lnTo>
                  <a:pt x="6306878" y="2783961"/>
                </a:lnTo>
                <a:lnTo>
                  <a:pt x="6306880" y="2783956"/>
                </a:lnTo>
                <a:lnTo>
                  <a:pt x="6306988" y="2783095"/>
                </a:lnTo>
                <a:lnTo>
                  <a:pt x="6304708" y="2787967"/>
                </a:lnTo>
                <a:lnTo>
                  <a:pt x="6304166" y="2795005"/>
                </a:lnTo>
                <a:lnTo>
                  <a:pt x="6301886" y="2787643"/>
                </a:lnTo>
                <a:lnTo>
                  <a:pt x="6301670" y="2780713"/>
                </a:lnTo>
                <a:lnTo>
                  <a:pt x="6300042" y="2777898"/>
                </a:lnTo>
                <a:lnTo>
                  <a:pt x="6299825" y="2775516"/>
                </a:lnTo>
                <a:lnTo>
                  <a:pt x="6301670" y="2776275"/>
                </a:lnTo>
                <a:lnTo>
                  <a:pt x="6303515" y="2774650"/>
                </a:lnTo>
                <a:lnTo>
                  <a:pt x="6306336" y="2769886"/>
                </a:lnTo>
                <a:lnTo>
                  <a:pt x="6306336" y="2765988"/>
                </a:lnTo>
                <a:lnTo>
                  <a:pt x="6304925" y="2764690"/>
                </a:lnTo>
                <a:lnTo>
                  <a:pt x="6305685" y="2758410"/>
                </a:lnTo>
                <a:lnTo>
                  <a:pt x="6307312" y="2757652"/>
                </a:lnTo>
                <a:lnTo>
                  <a:pt x="6308507" y="2754837"/>
                </a:lnTo>
                <a:lnTo>
                  <a:pt x="6306228" y="2748341"/>
                </a:lnTo>
                <a:lnTo>
                  <a:pt x="6309592" y="2745742"/>
                </a:lnTo>
                <a:lnTo>
                  <a:pt x="6306011" y="2741952"/>
                </a:lnTo>
                <a:lnTo>
                  <a:pt x="6303732" y="2738596"/>
                </a:lnTo>
                <a:lnTo>
                  <a:pt x="6303515" y="2732425"/>
                </a:lnTo>
                <a:lnTo>
                  <a:pt x="6305143" y="2730042"/>
                </a:lnTo>
                <a:lnTo>
                  <a:pt x="6303732" y="2725712"/>
                </a:lnTo>
                <a:lnTo>
                  <a:pt x="6301345" y="2723980"/>
                </a:lnTo>
                <a:lnTo>
                  <a:pt x="6299717" y="2709363"/>
                </a:lnTo>
                <a:lnTo>
                  <a:pt x="6296461" y="2706440"/>
                </a:lnTo>
                <a:lnTo>
                  <a:pt x="6295376" y="2701351"/>
                </a:lnTo>
                <a:lnTo>
                  <a:pt x="6291904" y="2695613"/>
                </a:lnTo>
                <a:lnTo>
                  <a:pt x="6291035" y="2703191"/>
                </a:lnTo>
                <a:lnTo>
                  <a:pt x="6289624" y="2704274"/>
                </a:lnTo>
                <a:lnTo>
                  <a:pt x="6289733" y="2700052"/>
                </a:lnTo>
                <a:lnTo>
                  <a:pt x="6287562" y="2695721"/>
                </a:lnTo>
                <a:lnTo>
                  <a:pt x="6287997" y="2685327"/>
                </a:lnTo>
                <a:lnTo>
                  <a:pt x="6284525" y="2681105"/>
                </a:lnTo>
                <a:lnTo>
                  <a:pt x="6284198" y="2676340"/>
                </a:lnTo>
                <a:lnTo>
                  <a:pt x="6285935" y="2674500"/>
                </a:lnTo>
                <a:lnTo>
                  <a:pt x="6279967" y="2671036"/>
                </a:lnTo>
                <a:lnTo>
                  <a:pt x="6279858" y="2662807"/>
                </a:lnTo>
                <a:lnTo>
                  <a:pt x="6278121" y="2662590"/>
                </a:lnTo>
                <a:lnTo>
                  <a:pt x="6276168" y="2644834"/>
                </a:lnTo>
                <a:lnTo>
                  <a:pt x="6273347" y="2642885"/>
                </a:lnTo>
                <a:lnTo>
                  <a:pt x="6272371" y="2638446"/>
                </a:lnTo>
                <a:lnTo>
                  <a:pt x="6274215" y="2637688"/>
                </a:lnTo>
                <a:lnTo>
                  <a:pt x="6274215" y="2634765"/>
                </a:lnTo>
                <a:lnTo>
                  <a:pt x="6271285" y="2629243"/>
                </a:lnTo>
                <a:lnTo>
                  <a:pt x="6272588" y="2627077"/>
                </a:lnTo>
                <a:lnTo>
                  <a:pt x="6272695" y="2624371"/>
                </a:lnTo>
                <a:lnTo>
                  <a:pt x="6271177" y="2627186"/>
                </a:lnTo>
                <a:lnTo>
                  <a:pt x="6267921" y="2628485"/>
                </a:lnTo>
                <a:lnTo>
                  <a:pt x="6263689" y="2628485"/>
                </a:lnTo>
                <a:lnTo>
                  <a:pt x="6262495" y="2622747"/>
                </a:lnTo>
                <a:lnTo>
                  <a:pt x="6260433" y="2620148"/>
                </a:lnTo>
                <a:lnTo>
                  <a:pt x="6255767" y="2610945"/>
                </a:lnTo>
                <a:lnTo>
                  <a:pt x="6254791" y="2608455"/>
                </a:lnTo>
                <a:lnTo>
                  <a:pt x="6252512" y="2608238"/>
                </a:lnTo>
                <a:lnTo>
                  <a:pt x="6252512" y="2605531"/>
                </a:lnTo>
                <a:lnTo>
                  <a:pt x="6248172" y="2603041"/>
                </a:lnTo>
                <a:lnTo>
                  <a:pt x="6250885" y="2606073"/>
                </a:lnTo>
                <a:lnTo>
                  <a:pt x="6250016" y="2607697"/>
                </a:lnTo>
                <a:lnTo>
                  <a:pt x="6249582" y="2610404"/>
                </a:lnTo>
                <a:lnTo>
                  <a:pt x="6252295" y="2612461"/>
                </a:lnTo>
                <a:lnTo>
                  <a:pt x="6251752" y="2617333"/>
                </a:lnTo>
                <a:lnTo>
                  <a:pt x="6249582" y="2619606"/>
                </a:lnTo>
                <a:lnTo>
                  <a:pt x="6250559" y="2622530"/>
                </a:lnTo>
                <a:lnTo>
                  <a:pt x="6244373" y="2627618"/>
                </a:lnTo>
                <a:lnTo>
                  <a:pt x="6240358" y="2626861"/>
                </a:lnTo>
                <a:lnTo>
                  <a:pt x="6237645" y="2623396"/>
                </a:lnTo>
                <a:lnTo>
                  <a:pt x="6236017" y="2623396"/>
                </a:lnTo>
                <a:lnTo>
                  <a:pt x="6237862" y="2627186"/>
                </a:lnTo>
                <a:lnTo>
                  <a:pt x="6237428" y="2628810"/>
                </a:lnTo>
                <a:lnTo>
                  <a:pt x="6241226" y="2629892"/>
                </a:lnTo>
                <a:lnTo>
                  <a:pt x="6236017" y="2633032"/>
                </a:lnTo>
                <a:lnTo>
                  <a:pt x="6232653" y="2633032"/>
                </a:lnTo>
                <a:lnTo>
                  <a:pt x="6230266" y="2631408"/>
                </a:lnTo>
                <a:lnTo>
                  <a:pt x="6228964" y="2635522"/>
                </a:lnTo>
                <a:lnTo>
                  <a:pt x="6219414" y="2642018"/>
                </a:lnTo>
                <a:lnTo>
                  <a:pt x="6214748" y="2641477"/>
                </a:lnTo>
                <a:lnTo>
                  <a:pt x="6213989" y="2642560"/>
                </a:lnTo>
                <a:lnTo>
                  <a:pt x="6211493" y="2642560"/>
                </a:lnTo>
                <a:lnTo>
                  <a:pt x="6211276" y="2641261"/>
                </a:lnTo>
                <a:lnTo>
                  <a:pt x="6210733" y="2643643"/>
                </a:lnTo>
                <a:lnTo>
                  <a:pt x="6208346" y="2644184"/>
                </a:lnTo>
                <a:lnTo>
                  <a:pt x="6205633" y="2640720"/>
                </a:lnTo>
                <a:lnTo>
                  <a:pt x="6199122" y="2644184"/>
                </a:lnTo>
                <a:lnTo>
                  <a:pt x="6198471" y="2647432"/>
                </a:lnTo>
                <a:lnTo>
                  <a:pt x="6195758" y="2647540"/>
                </a:lnTo>
                <a:lnTo>
                  <a:pt x="6195758" y="2641153"/>
                </a:lnTo>
                <a:lnTo>
                  <a:pt x="6202052" y="2635089"/>
                </a:lnTo>
                <a:lnTo>
                  <a:pt x="6202377" y="2627402"/>
                </a:lnTo>
                <a:lnTo>
                  <a:pt x="6199447" y="2634440"/>
                </a:lnTo>
                <a:lnTo>
                  <a:pt x="6194456" y="2638771"/>
                </a:lnTo>
                <a:lnTo>
                  <a:pt x="6190874" y="2644509"/>
                </a:lnTo>
                <a:lnTo>
                  <a:pt x="6190332" y="2642344"/>
                </a:lnTo>
                <a:lnTo>
                  <a:pt x="6190983" y="2640611"/>
                </a:lnTo>
                <a:lnTo>
                  <a:pt x="6189572" y="2635522"/>
                </a:lnTo>
                <a:lnTo>
                  <a:pt x="6193479" y="2611811"/>
                </a:lnTo>
                <a:lnTo>
                  <a:pt x="6198905" y="2608455"/>
                </a:lnTo>
                <a:lnTo>
                  <a:pt x="6196734" y="2606289"/>
                </a:lnTo>
                <a:lnTo>
                  <a:pt x="6192394" y="2595787"/>
                </a:lnTo>
                <a:lnTo>
                  <a:pt x="6191959" y="2586476"/>
                </a:lnTo>
                <a:lnTo>
                  <a:pt x="6189572" y="2585284"/>
                </a:lnTo>
                <a:lnTo>
                  <a:pt x="6188161" y="2582794"/>
                </a:lnTo>
                <a:lnTo>
                  <a:pt x="6189572" y="2581929"/>
                </a:lnTo>
                <a:lnTo>
                  <a:pt x="6186100" y="2579221"/>
                </a:lnTo>
                <a:lnTo>
                  <a:pt x="6184364" y="2572401"/>
                </a:lnTo>
                <a:lnTo>
                  <a:pt x="6181542" y="2568719"/>
                </a:lnTo>
                <a:lnTo>
                  <a:pt x="6179805" y="2564930"/>
                </a:lnTo>
                <a:lnTo>
                  <a:pt x="6179805" y="2560815"/>
                </a:lnTo>
                <a:lnTo>
                  <a:pt x="6174054" y="2557243"/>
                </a:lnTo>
                <a:lnTo>
                  <a:pt x="6176007" y="2561141"/>
                </a:lnTo>
                <a:lnTo>
                  <a:pt x="6177092" y="2569478"/>
                </a:lnTo>
                <a:lnTo>
                  <a:pt x="6168194" y="2566987"/>
                </a:lnTo>
                <a:lnTo>
                  <a:pt x="6164071" y="2561898"/>
                </a:lnTo>
                <a:lnTo>
                  <a:pt x="6163745" y="2559192"/>
                </a:lnTo>
                <a:lnTo>
                  <a:pt x="6159187" y="2555186"/>
                </a:lnTo>
                <a:lnTo>
                  <a:pt x="6158645" y="2552695"/>
                </a:lnTo>
                <a:lnTo>
                  <a:pt x="6162985" y="2553020"/>
                </a:lnTo>
                <a:lnTo>
                  <a:pt x="6164614" y="2556593"/>
                </a:lnTo>
                <a:lnTo>
                  <a:pt x="6168194" y="2558434"/>
                </a:lnTo>
                <a:lnTo>
                  <a:pt x="6169605" y="2556809"/>
                </a:lnTo>
                <a:lnTo>
                  <a:pt x="6168194" y="2556160"/>
                </a:lnTo>
                <a:lnTo>
                  <a:pt x="6164830" y="2552803"/>
                </a:lnTo>
                <a:lnTo>
                  <a:pt x="6168411" y="2550746"/>
                </a:lnTo>
                <a:lnTo>
                  <a:pt x="6171124" y="2553453"/>
                </a:lnTo>
                <a:lnTo>
                  <a:pt x="6174054" y="2552370"/>
                </a:lnTo>
                <a:lnTo>
                  <a:pt x="6173837" y="2548364"/>
                </a:lnTo>
                <a:lnTo>
                  <a:pt x="6169171" y="2541435"/>
                </a:lnTo>
                <a:lnTo>
                  <a:pt x="6161683" y="2540028"/>
                </a:lnTo>
                <a:lnTo>
                  <a:pt x="6159730" y="2536996"/>
                </a:lnTo>
                <a:lnTo>
                  <a:pt x="6155606" y="2536238"/>
                </a:lnTo>
                <a:lnTo>
                  <a:pt x="6154413" y="2533207"/>
                </a:lnTo>
                <a:lnTo>
                  <a:pt x="6153979" y="2536238"/>
                </a:lnTo>
                <a:lnTo>
                  <a:pt x="6149638" y="2536780"/>
                </a:lnTo>
                <a:lnTo>
                  <a:pt x="6149204" y="2534831"/>
                </a:lnTo>
                <a:lnTo>
                  <a:pt x="6152894" y="2530608"/>
                </a:lnTo>
                <a:lnTo>
                  <a:pt x="6148336" y="2531041"/>
                </a:lnTo>
                <a:lnTo>
                  <a:pt x="6144538" y="2527901"/>
                </a:lnTo>
                <a:lnTo>
                  <a:pt x="6144538" y="2530175"/>
                </a:lnTo>
                <a:lnTo>
                  <a:pt x="6146925" y="2534289"/>
                </a:lnTo>
                <a:lnTo>
                  <a:pt x="6136290" y="2524762"/>
                </a:lnTo>
                <a:lnTo>
                  <a:pt x="6134446" y="2518482"/>
                </a:lnTo>
                <a:lnTo>
                  <a:pt x="6132058" y="2513501"/>
                </a:lnTo>
                <a:lnTo>
                  <a:pt x="6131951" y="2513609"/>
                </a:lnTo>
                <a:lnTo>
                  <a:pt x="6131951" y="2513609"/>
                </a:lnTo>
                <a:lnTo>
                  <a:pt x="6131517" y="2514150"/>
                </a:lnTo>
                <a:lnTo>
                  <a:pt x="6132602" y="2519997"/>
                </a:lnTo>
                <a:lnTo>
                  <a:pt x="6131842" y="2520430"/>
                </a:lnTo>
                <a:lnTo>
                  <a:pt x="6128479" y="2511985"/>
                </a:lnTo>
                <a:lnTo>
                  <a:pt x="6124137" y="2505813"/>
                </a:lnTo>
                <a:lnTo>
                  <a:pt x="6122075" y="2503215"/>
                </a:lnTo>
                <a:lnTo>
                  <a:pt x="6123378" y="2500400"/>
                </a:lnTo>
                <a:lnTo>
                  <a:pt x="6123595" y="2496503"/>
                </a:lnTo>
                <a:lnTo>
                  <a:pt x="6122835" y="2498560"/>
                </a:lnTo>
                <a:lnTo>
                  <a:pt x="6119906" y="2501266"/>
                </a:lnTo>
                <a:lnTo>
                  <a:pt x="6119038" y="2499750"/>
                </a:lnTo>
                <a:lnTo>
                  <a:pt x="6120339" y="2492713"/>
                </a:lnTo>
                <a:lnTo>
                  <a:pt x="6118712" y="2491630"/>
                </a:lnTo>
                <a:lnTo>
                  <a:pt x="6119797" y="2486217"/>
                </a:lnTo>
                <a:lnTo>
                  <a:pt x="6119906" y="2482968"/>
                </a:lnTo>
                <a:lnTo>
                  <a:pt x="6116867" y="2480911"/>
                </a:lnTo>
                <a:lnTo>
                  <a:pt x="6109488" y="2464454"/>
                </a:lnTo>
                <a:lnTo>
                  <a:pt x="6107426" y="2464454"/>
                </a:lnTo>
                <a:lnTo>
                  <a:pt x="6107643" y="2465862"/>
                </a:lnTo>
                <a:lnTo>
                  <a:pt x="6106015" y="2465212"/>
                </a:lnTo>
                <a:lnTo>
                  <a:pt x="6101458" y="2467919"/>
                </a:lnTo>
                <a:lnTo>
                  <a:pt x="6092993" y="2463913"/>
                </a:lnTo>
                <a:lnTo>
                  <a:pt x="6092126" y="2462289"/>
                </a:lnTo>
                <a:lnTo>
                  <a:pt x="6089304" y="2462505"/>
                </a:lnTo>
                <a:lnTo>
                  <a:pt x="6085072" y="2458499"/>
                </a:lnTo>
                <a:lnTo>
                  <a:pt x="6083009" y="2451461"/>
                </a:lnTo>
                <a:lnTo>
                  <a:pt x="6083878" y="2459799"/>
                </a:lnTo>
                <a:lnTo>
                  <a:pt x="6087242" y="2464671"/>
                </a:lnTo>
                <a:lnTo>
                  <a:pt x="6086482" y="2467161"/>
                </a:lnTo>
                <a:lnTo>
                  <a:pt x="6081599" y="2469001"/>
                </a:lnTo>
                <a:lnTo>
                  <a:pt x="6084638" y="2470193"/>
                </a:lnTo>
                <a:lnTo>
                  <a:pt x="6087893" y="2475498"/>
                </a:lnTo>
                <a:lnTo>
                  <a:pt x="6087458" y="2481885"/>
                </a:lnTo>
                <a:lnTo>
                  <a:pt x="6082792" y="2483726"/>
                </a:lnTo>
                <a:lnTo>
                  <a:pt x="6078995" y="2490872"/>
                </a:lnTo>
                <a:lnTo>
                  <a:pt x="6075197" y="2488274"/>
                </a:lnTo>
                <a:lnTo>
                  <a:pt x="6077475" y="2484160"/>
                </a:lnTo>
                <a:lnTo>
                  <a:pt x="6079537" y="2483293"/>
                </a:lnTo>
                <a:lnTo>
                  <a:pt x="6080514" y="2481128"/>
                </a:lnTo>
                <a:lnTo>
                  <a:pt x="6077150" y="2482752"/>
                </a:lnTo>
                <a:lnTo>
                  <a:pt x="6074220" y="2487624"/>
                </a:lnTo>
                <a:lnTo>
                  <a:pt x="6071073" y="2483185"/>
                </a:lnTo>
                <a:lnTo>
                  <a:pt x="6073460" y="2475173"/>
                </a:lnTo>
                <a:lnTo>
                  <a:pt x="6073460" y="2473657"/>
                </a:lnTo>
                <a:lnTo>
                  <a:pt x="6071724" y="2471600"/>
                </a:lnTo>
                <a:lnTo>
                  <a:pt x="6072809" y="2473765"/>
                </a:lnTo>
                <a:lnTo>
                  <a:pt x="6070964" y="2476797"/>
                </a:lnTo>
                <a:lnTo>
                  <a:pt x="6070422" y="2481669"/>
                </a:lnTo>
                <a:lnTo>
                  <a:pt x="6069120" y="2481777"/>
                </a:lnTo>
                <a:lnTo>
                  <a:pt x="6071616" y="2487407"/>
                </a:lnTo>
                <a:lnTo>
                  <a:pt x="6071290" y="2491630"/>
                </a:lnTo>
                <a:lnTo>
                  <a:pt x="6068903" y="2492929"/>
                </a:lnTo>
                <a:lnTo>
                  <a:pt x="6068577" y="2492280"/>
                </a:lnTo>
                <a:lnTo>
                  <a:pt x="6065430" y="2490223"/>
                </a:lnTo>
                <a:lnTo>
                  <a:pt x="6063368" y="2491089"/>
                </a:lnTo>
                <a:lnTo>
                  <a:pt x="6062283" y="2494554"/>
                </a:lnTo>
                <a:lnTo>
                  <a:pt x="6059462" y="2494554"/>
                </a:lnTo>
                <a:lnTo>
                  <a:pt x="6058485" y="2492388"/>
                </a:lnTo>
                <a:lnTo>
                  <a:pt x="6056640" y="2487732"/>
                </a:lnTo>
                <a:lnTo>
                  <a:pt x="6054253" y="2488490"/>
                </a:lnTo>
                <a:lnTo>
                  <a:pt x="6053631" y="2481466"/>
                </a:lnTo>
                <a:lnTo>
                  <a:pt x="6054252" y="2488489"/>
                </a:lnTo>
                <a:lnTo>
                  <a:pt x="6053167" y="2488923"/>
                </a:lnTo>
                <a:lnTo>
                  <a:pt x="6055880" y="2494336"/>
                </a:lnTo>
                <a:lnTo>
                  <a:pt x="6053385" y="2498667"/>
                </a:lnTo>
                <a:lnTo>
                  <a:pt x="6049586" y="2494661"/>
                </a:lnTo>
                <a:lnTo>
                  <a:pt x="6049586" y="2497260"/>
                </a:lnTo>
                <a:lnTo>
                  <a:pt x="6046981" y="2495852"/>
                </a:lnTo>
                <a:lnTo>
                  <a:pt x="6045354" y="2490439"/>
                </a:lnTo>
                <a:lnTo>
                  <a:pt x="6044377" y="2487732"/>
                </a:lnTo>
                <a:lnTo>
                  <a:pt x="6043726" y="2489680"/>
                </a:lnTo>
                <a:lnTo>
                  <a:pt x="6043075" y="2492496"/>
                </a:lnTo>
                <a:lnTo>
                  <a:pt x="6042532" y="2491305"/>
                </a:lnTo>
                <a:lnTo>
                  <a:pt x="6041664" y="2492929"/>
                </a:lnTo>
                <a:lnTo>
                  <a:pt x="6037866" y="2492929"/>
                </a:lnTo>
                <a:lnTo>
                  <a:pt x="6037432" y="2493686"/>
                </a:lnTo>
                <a:lnTo>
                  <a:pt x="6033526" y="2492387"/>
                </a:lnTo>
                <a:lnTo>
                  <a:pt x="6032223" y="2486432"/>
                </a:lnTo>
                <a:lnTo>
                  <a:pt x="6033200" y="2482751"/>
                </a:lnTo>
                <a:lnTo>
                  <a:pt x="6029619" y="2479611"/>
                </a:lnTo>
                <a:lnTo>
                  <a:pt x="6025495" y="2479611"/>
                </a:lnTo>
                <a:lnTo>
                  <a:pt x="6025821" y="2480911"/>
                </a:lnTo>
                <a:lnTo>
                  <a:pt x="6028643" y="2481668"/>
                </a:lnTo>
                <a:lnTo>
                  <a:pt x="6030487" y="2483834"/>
                </a:lnTo>
                <a:lnTo>
                  <a:pt x="6029077" y="2485241"/>
                </a:lnTo>
                <a:lnTo>
                  <a:pt x="6027666" y="2488598"/>
                </a:lnTo>
                <a:lnTo>
                  <a:pt x="6027231" y="2491954"/>
                </a:lnTo>
                <a:lnTo>
                  <a:pt x="6023759" y="2495960"/>
                </a:lnTo>
                <a:lnTo>
                  <a:pt x="6008892" y="2501374"/>
                </a:lnTo>
                <a:lnTo>
                  <a:pt x="6006397" y="2503539"/>
                </a:lnTo>
                <a:lnTo>
                  <a:pt x="6005312" y="2507112"/>
                </a:lnTo>
                <a:lnTo>
                  <a:pt x="6003032" y="2511768"/>
                </a:lnTo>
                <a:lnTo>
                  <a:pt x="6003792" y="2514691"/>
                </a:lnTo>
                <a:lnTo>
                  <a:pt x="6006397" y="2519672"/>
                </a:lnTo>
                <a:lnTo>
                  <a:pt x="6006071" y="2521188"/>
                </a:lnTo>
                <a:lnTo>
                  <a:pt x="6007590" y="2521945"/>
                </a:lnTo>
                <a:lnTo>
                  <a:pt x="6002164" y="2526601"/>
                </a:lnTo>
                <a:lnTo>
                  <a:pt x="6000971" y="2530931"/>
                </a:lnTo>
                <a:lnTo>
                  <a:pt x="5998366" y="2531148"/>
                </a:lnTo>
                <a:lnTo>
                  <a:pt x="5999451" y="2534180"/>
                </a:lnTo>
                <a:lnTo>
                  <a:pt x="5990661" y="2540351"/>
                </a:lnTo>
                <a:lnTo>
                  <a:pt x="5990228" y="2543383"/>
                </a:lnTo>
                <a:lnTo>
                  <a:pt x="5977206" y="2550096"/>
                </a:lnTo>
                <a:lnTo>
                  <a:pt x="5975794" y="2548255"/>
                </a:lnTo>
                <a:lnTo>
                  <a:pt x="5975686" y="2545873"/>
                </a:lnTo>
                <a:lnTo>
                  <a:pt x="5974710" y="2544682"/>
                </a:lnTo>
                <a:lnTo>
                  <a:pt x="5972864" y="2544682"/>
                </a:lnTo>
                <a:lnTo>
                  <a:pt x="5968849" y="2547930"/>
                </a:lnTo>
                <a:lnTo>
                  <a:pt x="5966245" y="2548255"/>
                </a:lnTo>
                <a:lnTo>
                  <a:pt x="5965269" y="2554643"/>
                </a:lnTo>
                <a:lnTo>
                  <a:pt x="5969067" y="2553127"/>
                </a:lnTo>
                <a:lnTo>
                  <a:pt x="5970369" y="2551503"/>
                </a:lnTo>
                <a:lnTo>
                  <a:pt x="5972540" y="2552477"/>
                </a:lnTo>
                <a:lnTo>
                  <a:pt x="5956262" y="2566986"/>
                </a:lnTo>
                <a:lnTo>
                  <a:pt x="5952138" y="2578246"/>
                </a:lnTo>
                <a:lnTo>
                  <a:pt x="5930760" y="2595461"/>
                </a:lnTo>
                <a:lnTo>
                  <a:pt x="5927505" y="2601524"/>
                </a:lnTo>
                <a:lnTo>
                  <a:pt x="5922622" y="2606505"/>
                </a:lnTo>
                <a:lnTo>
                  <a:pt x="5913615" y="2609536"/>
                </a:lnTo>
                <a:lnTo>
                  <a:pt x="5906887" y="2615166"/>
                </a:lnTo>
                <a:lnTo>
                  <a:pt x="5906127" y="2620146"/>
                </a:lnTo>
                <a:lnTo>
                  <a:pt x="5907103" y="2625777"/>
                </a:lnTo>
                <a:lnTo>
                  <a:pt x="5903088" y="2631515"/>
                </a:lnTo>
                <a:lnTo>
                  <a:pt x="5897446" y="2635088"/>
                </a:lnTo>
                <a:lnTo>
                  <a:pt x="5886811" y="2633464"/>
                </a:lnTo>
                <a:lnTo>
                  <a:pt x="5882145" y="2637470"/>
                </a:lnTo>
                <a:lnTo>
                  <a:pt x="5882145" y="2642558"/>
                </a:lnTo>
                <a:lnTo>
                  <a:pt x="5875634" y="2650895"/>
                </a:lnTo>
                <a:lnTo>
                  <a:pt x="5871944" y="2650462"/>
                </a:lnTo>
                <a:lnTo>
                  <a:pt x="5869448" y="2646889"/>
                </a:lnTo>
                <a:lnTo>
                  <a:pt x="5867495" y="2646889"/>
                </a:lnTo>
                <a:lnTo>
                  <a:pt x="5859465" y="2654793"/>
                </a:lnTo>
                <a:lnTo>
                  <a:pt x="5857186" y="2659124"/>
                </a:lnTo>
                <a:lnTo>
                  <a:pt x="5857295" y="2667569"/>
                </a:lnTo>
                <a:lnTo>
                  <a:pt x="5861309" y="2679370"/>
                </a:lnTo>
                <a:lnTo>
                  <a:pt x="5857512" y="2683701"/>
                </a:lnTo>
                <a:lnTo>
                  <a:pt x="5858271" y="2690198"/>
                </a:lnTo>
                <a:lnTo>
                  <a:pt x="5858271" y="2708604"/>
                </a:lnTo>
                <a:lnTo>
                  <a:pt x="5864240" y="2710553"/>
                </a:lnTo>
                <a:lnTo>
                  <a:pt x="5865108" y="2722354"/>
                </a:lnTo>
                <a:lnTo>
                  <a:pt x="5859682" y="2738053"/>
                </a:lnTo>
                <a:lnTo>
                  <a:pt x="5853496" y="2748988"/>
                </a:lnTo>
                <a:lnTo>
                  <a:pt x="5853496" y="2758191"/>
                </a:lnTo>
                <a:lnTo>
                  <a:pt x="5855884" y="2761873"/>
                </a:lnTo>
                <a:lnTo>
                  <a:pt x="5857729" y="2781686"/>
                </a:lnTo>
                <a:lnTo>
                  <a:pt x="5857729" y="2787100"/>
                </a:lnTo>
                <a:lnTo>
                  <a:pt x="5853171" y="2788832"/>
                </a:lnTo>
                <a:lnTo>
                  <a:pt x="5850675" y="2787641"/>
                </a:lnTo>
                <a:lnTo>
                  <a:pt x="5844381" y="2788615"/>
                </a:lnTo>
                <a:lnTo>
                  <a:pt x="5841668" y="2793379"/>
                </a:lnTo>
                <a:lnTo>
                  <a:pt x="5842862" y="2795328"/>
                </a:lnTo>
                <a:lnTo>
                  <a:pt x="5836676" y="2803448"/>
                </a:lnTo>
                <a:lnTo>
                  <a:pt x="5834506" y="2806156"/>
                </a:lnTo>
                <a:lnTo>
                  <a:pt x="5835266" y="2809295"/>
                </a:lnTo>
                <a:lnTo>
                  <a:pt x="5843079" y="2813193"/>
                </a:lnTo>
                <a:lnTo>
                  <a:pt x="5843948" y="2814601"/>
                </a:lnTo>
                <a:lnTo>
                  <a:pt x="5844055" y="2816333"/>
                </a:lnTo>
                <a:lnTo>
                  <a:pt x="5843079" y="2814168"/>
                </a:lnTo>
                <a:lnTo>
                  <a:pt x="5839389" y="2812760"/>
                </a:lnTo>
                <a:lnTo>
                  <a:pt x="5829080" y="2816333"/>
                </a:lnTo>
                <a:lnTo>
                  <a:pt x="5827452" y="2816117"/>
                </a:lnTo>
                <a:lnTo>
                  <a:pt x="5819205" y="2819797"/>
                </a:lnTo>
                <a:lnTo>
                  <a:pt x="5816493" y="2824020"/>
                </a:lnTo>
                <a:lnTo>
                  <a:pt x="5816058" y="2826619"/>
                </a:lnTo>
                <a:lnTo>
                  <a:pt x="5814973" y="2827701"/>
                </a:lnTo>
                <a:lnTo>
                  <a:pt x="5816058" y="2829433"/>
                </a:lnTo>
                <a:lnTo>
                  <a:pt x="5813888" y="2835821"/>
                </a:lnTo>
                <a:lnTo>
                  <a:pt x="5804556" y="2841560"/>
                </a:lnTo>
                <a:lnTo>
                  <a:pt x="5796742" y="2840802"/>
                </a:lnTo>
                <a:lnTo>
                  <a:pt x="5789472" y="2835821"/>
                </a:lnTo>
                <a:lnTo>
                  <a:pt x="5782418" y="2827485"/>
                </a:lnTo>
                <a:lnTo>
                  <a:pt x="5773954" y="2809836"/>
                </a:lnTo>
                <a:lnTo>
                  <a:pt x="5773412" y="2799876"/>
                </a:lnTo>
                <a:lnTo>
                  <a:pt x="5770915" y="2790889"/>
                </a:lnTo>
                <a:lnTo>
                  <a:pt x="5765489" y="2780928"/>
                </a:lnTo>
                <a:lnTo>
                  <a:pt x="5765489" y="2776489"/>
                </a:lnTo>
                <a:lnTo>
                  <a:pt x="5763427" y="2776273"/>
                </a:lnTo>
                <a:lnTo>
                  <a:pt x="5761149" y="2769560"/>
                </a:lnTo>
                <a:lnTo>
                  <a:pt x="5758978" y="2761440"/>
                </a:lnTo>
                <a:lnTo>
                  <a:pt x="5751925" y="2753320"/>
                </a:lnTo>
                <a:lnTo>
                  <a:pt x="5747692" y="2746714"/>
                </a:lnTo>
                <a:lnTo>
                  <a:pt x="5745956" y="2746498"/>
                </a:lnTo>
                <a:lnTo>
                  <a:pt x="5739446" y="2739569"/>
                </a:lnTo>
                <a:lnTo>
                  <a:pt x="5736515" y="2733506"/>
                </a:lnTo>
                <a:lnTo>
                  <a:pt x="5734345" y="2731449"/>
                </a:lnTo>
                <a:lnTo>
                  <a:pt x="5733585" y="2721596"/>
                </a:lnTo>
                <a:lnTo>
                  <a:pt x="5730872" y="2717482"/>
                </a:lnTo>
                <a:lnTo>
                  <a:pt x="5726749" y="2706547"/>
                </a:lnTo>
                <a:lnTo>
                  <a:pt x="5725555" y="2699184"/>
                </a:lnTo>
                <a:lnTo>
                  <a:pt x="5722951" y="2693987"/>
                </a:lnTo>
                <a:lnTo>
                  <a:pt x="5720455" y="2690198"/>
                </a:lnTo>
                <a:lnTo>
                  <a:pt x="5719912" y="2681536"/>
                </a:lnTo>
                <a:lnTo>
                  <a:pt x="5718393" y="2681103"/>
                </a:lnTo>
                <a:lnTo>
                  <a:pt x="5712317" y="2674066"/>
                </a:lnTo>
                <a:lnTo>
                  <a:pt x="5712317" y="2671358"/>
                </a:lnTo>
                <a:lnTo>
                  <a:pt x="5710689" y="2671034"/>
                </a:lnTo>
                <a:lnTo>
                  <a:pt x="5705045" y="2660964"/>
                </a:lnTo>
                <a:lnTo>
                  <a:pt x="5704829" y="2657825"/>
                </a:lnTo>
                <a:lnTo>
                  <a:pt x="5701790" y="2656092"/>
                </a:lnTo>
                <a:lnTo>
                  <a:pt x="5699945" y="2649055"/>
                </a:lnTo>
                <a:lnTo>
                  <a:pt x="5696039" y="2646456"/>
                </a:lnTo>
                <a:lnTo>
                  <a:pt x="5692240" y="2636279"/>
                </a:lnTo>
                <a:lnTo>
                  <a:pt x="5692024" y="2622854"/>
                </a:lnTo>
                <a:lnTo>
                  <a:pt x="5681931" y="2603256"/>
                </a:lnTo>
                <a:lnTo>
                  <a:pt x="5681931" y="2596760"/>
                </a:lnTo>
                <a:lnTo>
                  <a:pt x="5677374" y="2589831"/>
                </a:lnTo>
                <a:lnTo>
                  <a:pt x="5682582" y="2589506"/>
                </a:lnTo>
                <a:lnTo>
                  <a:pt x="5675529" y="2580520"/>
                </a:lnTo>
                <a:lnTo>
                  <a:pt x="5675747" y="2575431"/>
                </a:lnTo>
                <a:lnTo>
                  <a:pt x="5679002" y="2574673"/>
                </a:lnTo>
                <a:lnTo>
                  <a:pt x="5676506" y="2571208"/>
                </a:lnTo>
                <a:lnTo>
                  <a:pt x="5676072" y="2566986"/>
                </a:lnTo>
                <a:lnTo>
                  <a:pt x="5668910" y="2553993"/>
                </a:lnTo>
                <a:lnTo>
                  <a:pt x="5667824" y="2545765"/>
                </a:lnTo>
                <a:lnTo>
                  <a:pt x="5672165" y="2543708"/>
                </a:lnTo>
                <a:lnTo>
                  <a:pt x="5668367" y="2541433"/>
                </a:lnTo>
                <a:lnTo>
                  <a:pt x="5668150" y="2537320"/>
                </a:lnTo>
                <a:lnTo>
                  <a:pt x="5670754" y="2531906"/>
                </a:lnTo>
                <a:lnTo>
                  <a:pt x="5670212" y="2525085"/>
                </a:lnTo>
                <a:lnTo>
                  <a:pt x="5667933" y="2518156"/>
                </a:lnTo>
                <a:lnTo>
                  <a:pt x="5665220" y="2516423"/>
                </a:lnTo>
                <a:lnTo>
                  <a:pt x="5663158" y="2505163"/>
                </a:lnTo>
                <a:lnTo>
                  <a:pt x="5668259" y="2501915"/>
                </a:lnTo>
                <a:lnTo>
                  <a:pt x="5670104" y="2499317"/>
                </a:lnTo>
                <a:lnTo>
                  <a:pt x="5674010" y="2499317"/>
                </a:lnTo>
                <a:lnTo>
                  <a:pt x="5669886" y="2498342"/>
                </a:lnTo>
                <a:lnTo>
                  <a:pt x="5664243" y="2499208"/>
                </a:lnTo>
                <a:lnTo>
                  <a:pt x="5661205" y="2498992"/>
                </a:lnTo>
                <a:lnTo>
                  <a:pt x="5661856" y="2494444"/>
                </a:lnTo>
                <a:lnTo>
                  <a:pt x="5659577" y="2490546"/>
                </a:lnTo>
                <a:lnTo>
                  <a:pt x="5660336" y="2485891"/>
                </a:lnTo>
                <a:lnTo>
                  <a:pt x="5661639" y="2484917"/>
                </a:lnTo>
                <a:lnTo>
                  <a:pt x="5664786" y="2485566"/>
                </a:lnTo>
                <a:lnTo>
                  <a:pt x="5668692" y="2481668"/>
                </a:lnTo>
                <a:lnTo>
                  <a:pt x="5670646" y="2478637"/>
                </a:lnTo>
                <a:lnTo>
                  <a:pt x="5666414" y="2481127"/>
                </a:lnTo>
                <a:lnTo>
                  <a:pt x="5663484" y="2479828"/>
                </a:lnTo>
                <a:lnTo>
                  <a:pt x="5657732" y="2480586"/>
                </a:lnTo>
                <a:lnTo>
                  <a:pt x="5655997" y="2476688"/>
                </a:lnTo>
                <a:lnTo>
                  <a:pt x="5655345" y="2479611"/>
                </a:lnTo>
                <a:lnTo>
                  <a:pt x="5655020" y="2484484"/>
                </a:lnTo>
                <a:lnTo>
                  <a:pt x="5651547" y="2493578"/>
                </a:lnTo>
                <a:lnTo>
                  <a:pt x="5655128" y="2498017"/>
                </a:lnTo>
                <a:lnTo>
                  <a:pt x="5654260" y="2506462"/>
                </a:lnTo>
                <a:lnTo>
                  <a:pt x="5650571" y="2510252"/>
                </a:lnTo>
                <a:lnTo>
                  <a:pt x="5650462" y="2512850"/>
                </a:lnTo>
                <a:lnTo>
                  <a:pt x="5642323" y="2516965"/>
                </a:lnTo>
                <a:lnTo>
                  <a:pt x="5629952" y="2524652"/>
                </a:lnTo>
                <a:lnTo>
                  <a:pt x="5624201" y="2526601"/>
                </a:lnTo>
                <a:lnTo>
                  <a:pt x="5615520" y="2524760"/>
                </a:lnTo>
                <a:lnTo>
                  <a:pt x="5597180" y="2509927"/>
                </a:lnTo>
                <a:lnTo>
                  <a:pt x="5589584" y="2500074"/>
                </a:lnTo>
                <a:lnTo>
                  <a:pt x="5589476" y="2498342"/>
                </a:lnTo>
                <a:lnTo>
                  <a:pt x="5587196" y="2498559"/>
                </a:lnTo>
                <a:lnTo>
                  <a:pt x="5584050" y="2496827"/>
                </a:lnTo>
                <a:lnTo>
                  <a:pt x="5573523" y="2486324"/>
                </a:lnTo>
                <a:lnTo>
                  <a:pt x="5572656" y="2483076"/>
                </a:lnTo>
                <a:lnTo>
                  <a:pt x="5573523" y="2480478"/>
                </a:lnTo>
                <a:lnTo>
                  <a:pt x="5576454" y="2480153"/>
                </a:lnTo>
                <a:lnTo>
                  <a:pt x="5577322" y="2481668"/>
                </a:lnTo>
                <a:lnTo>
                  <a:pt x="5580143" y="2480803"/>
                </a:lnTo>
                <a:lnTo>
                  <a:pt x="5580143" y="2486107"/>
                </a:lnTo>
                <a:lnTo>
                  <a:pt x="5584050" y="2486541"/>
                </a:lnTo>
                <a:lnTo>
                  <a:pt x="5586654" y="2484267"/>
                </a:lnTo>
                <a:lnTo>
                  <a:pt x="5588173" y="2484050"/>
                </a:lnTo>
                <a:lnTo>
                  <a:pt x="5590886" y="2485674"/>
                </a:lnTo>
                <a:lnTo>
                  <a:pt x="5591320" y="2483834"/>
                </a:lnTo>
                <a:lnTo>
                  <a:pt x="5601195" y="2476146"/>
                </a:lnTo>
                <a:lnTo>
                  <a:pt x="5604125" y="2476038"/>
                </a:lnTo>
                <a:lnTo>
                  <a:pt x="5608791" y="2469001"/>
                </a:lnTo>
                <a:lnTo>
                  <a:pt x="5610202" y="2469326"/>
                </a:lnTo>
                <a:lnTo>
                  <a:pt x="5612047" y="2464670"/>
                </a:lnTo>
                <a:lnTo>
                  <a:pt x="5607272" y="2464345"/>
                </a:lnTo>
                <a:lnTo>
                  <a:pt x="5605753" y="2463587"/>
                </a:lnTo>
                <a:lnTo>
                  <a:pt x="5606513" y="2465103"/>
                </a:lnTo>
                <a:lnTo>
                  <a:pt x="5606078" y="2467160"/>
                </a:lnTo>
                <a:lnTo>
                  <a:pt x="5596204" y="2471383"/>
                </a:lnTo>
                <a:lnTo>
                  <a:pt x="5590343" y="2471383"/>
                </a:lnTo>
                <a:lnTo>
                  <a:pt x="5585894" y="2472899"/>
                </a:lnTo>
                <a:lnTo>
                  <a:pt x="5570268" y="2467485"/>
                </a:lnTo>
                <a:lnTo>
                  <a:pt x="5562889" y="2459798"/>
                </a:lnTo>
                <a:lnTo>
                  <a:pt x="5559850" y="2458282"/>
                </a:lnTo>
                <a:lnTo>
                  <a:pt x="5560176" y="2453410"/>
                </a:lnTo>
                <a:lnTo>
                  <a:pt x="5564842" y="2447347"/>
                </a:lnTo>
                <a:lnTo>
                  <a:pt x="5570159" y="2444424"/>
                </a:lnTo>
                <a:lnTo>
                  <a:pt x="5563431" y="2445506"/>
                </a:lnTo>
                <a:lnTo>
                  <a:pt x="5556812" y="2449728"/>
                </a:lnTo>
                <a:lnTo>
                  <a:pt x="5556812" y="2449729"/>
                </a:lnTo>
                <a:lnTo>
                  <a:pt x="5552905" y="2452219"/>
                </a:lnTo>
                <a:lnTo>
                  <a:pt x="5553449" y="2449296"/>
                </a:lnTo>
                <a:lnTo>
                  <a:pt x="5544984" y="2445182"/>
                </a:lnTo>
                <a:lnTo>
                  <a:pt x="5538147" y="2445290"/>
                </a:lnTo>
                <a:lnTo>
                  <a:pt x="5533807" y="2445723"/>
                </a:lnTo>
                <a:lnTo>
                  <a:pt x="5532179" y="2440634"/>
                </a:lnTo>
                <a:lnTo>
                  <a:pt x="5530225" y="2440634"/>
                </a:lnTo>
                <a:lnTo>
                  <a:pt x="5528706" y="2440093"/>
                </a:lnTo>
                <a:lnTo>
                  <a:pt x="5530551" y="2438794"/>
                </a:lnTo>
                <a:lnTo>
                  <a:pt x="5530768" y="2435545"/>
                </a:lnTo>
                <a:lnTo>
                  <a:pt x="5529792" y="2434679"/>
                </a:lnTo>
                <a:lnTo>
                  <a:pt x="5528489" y="2426234"/>
                </a:lnTo>
                <a:lnTo>
                  <a:pt x="5523172" y="2420171"/>
                </a:lnTo>
                <a:lnTo>
                  <a:pt x="5523281" y="2415299"/>
                </a:lnTo>
                <a:lnTo>
                  <a:pt x="5516227" y="2418439"/>
                </a:lnTo>
                <a:lnTo>
                  <a:pt x="5512212" y="2418439"/>
                </a:lnTo>
                <a:lnTo>
                  <a:pt x="5512212" y="2416706"/>
                </a:lnTo>
                <a:lnTo>
                  <a:pt x="5513405" y="2416165"/>
                </a:lnTo>
                <a:lnTo>
                  <a:pt x="5512646" y="2415407"/>
                </a:lnTo>
                <a:lnTo>
                  <a:pt x="5513405" y="2411509"/>
                </a:lnTo>
                <a:lnTo>
                  <a:pt x="5511344" y="2406204"/>
                </a:lnTo>
                <a:lnTo>
                  <a:pt x="5506352" y="2402198"/>
                </a:lnTo>
                <a:lnTo>
                  <a:pt x="5499190" y="2402415"/>
                </a:lnTo>
                <a:lnTo>
                  <a:pt x="5493439" y="2404580"/>
                </a:lnTo>
                <a:lnTo>
                  <a:pt x="5486602" y="2403606"/>
                </a:lnTo>
                <a:lnTo>
                  <a:pt x="5484757" y="2402198"/>
                </a:lnTo>
                <a:lnTo>
                  <a:pt x="5483997" y="2403931"/>
                </a:lnTo>
                <a:lnTo>
                  <a:pt x="5480200" y="2403931"/>
                </a:lnTo>
                <a:lnTo>
                  <a:pt x="5476618" y="2406313"/>
                </a:lnTo>
                <a:lnTo>
                  <a:pt x="5472820" y="2405230"/>
                </a:lnTo>
                <a:lnTo>
                  <a:pt x="5466526" y="2405230"/>
                </a:lnTo>
                <a:lnTo>
                  <a:pt x="5461100" y="2410427"/>
                </a:lnTo>
                <a:lnTo>
                  <a:pt x="5457302" y="2410427"/>
                </a:lnTo>
                <a:lnTo>
                  <a:pt x="5454047" y="2408153"/>
                </a:lnTo>
                <a:lnTo>
                  <a:pt x="5450249" y="2408153"/>
                </a:lnTo>
                <a:lnTo>
                  <a:pt x="5448838" y="2405446"/>
                </a:lnTo>
                <a:lnTo>
                  <a:pt x="5446234" y="2404905"/>
                </a:lnTo>
                <a:lnTo>
                  <a:pt x="5445691" y="2406854"/>
                </a:lnTo>
                <a:lnTo>
                  <a:pt x="5442435" y="2406854"/>
                </a:lnTo>
                <a:lnTo>
                  <a:pt x="5437769" y="2403822"/>
                </a:lnTo>
                <a:lnTo>
                  <a:pt x="5435816" y="2406313"/>
                </a:lnTo>
                <a:lnTo>
                  <a:pt x="5435274" y="2408911"/>
                </a:lnTo>
                <a:lnTo>
                  <a:pt x="5432560" y="2408911"/>
                </a:lnTo>
                <a:lnTo>
                  <a:pt x="5429631" y="2408478"/>
                </a:lnTo>
                <a:lnTo>
                  <a:pt x="5425615" y="2409560"/>
                </a:lnTo>
                <a:lnTo>
                  <a:pt x="5423228" y="2408911"/>
                </a:lnTo>
                <a:lnTo>
                  <a:pt x="5418019" y="2408478"/>
                </a:lnTo>
                <a:lnTo>
                  <a:pt x="5414547" y="2411401"/>
                </a:lnTo>
                <a:lnTo>
                  <a:pt x="5412594" y="2412051"/>
                </a:lnTo>
                <a:lnTo>
                  <a:pt x="5412268" y="2409994"/>
                </a:lnTo>
                <a:lnTo>
                  <a:pt x="5406842" y="2410319"/>
                </a:lnTo>
                <a:lnTo>
                  <a:pt x="5399897" y="2414433"/>
                </a:lnTo>
                <a:lnTo>
                  <a:pt x="5397727" y="2413566"/>
                </a:lnTo>
                <a:lnTo>
                  <a:pt x="5397944" y="2410102"/>
                </a:lnTo>
                <a:lnTo>
                  <a:pt x="5395122" y="2410102"/>
                </a:lnTo>
                <a:lnTo>
                  <a:pt x="5395122" y="2406313"/>
                </a:lnTo>
                <a:lnTo>
                  <a:pt x="5396099" y="2397868"/>
                </a:lnTo>
                <a:lnTo>
                  <a:pt x="5393820" y="2392021"/>
                </a:lnTo>
                <a:lnTo>
                  <a:pt x="5397494" y="2387062"/>
                </a:lnTo>
                <a:lnTo>
                  <a:pt x="5393819" y="2392022"/>
                </a:lnTo>
                <a:lnTo>
                  <a:pt x="5396098" y="2397868"/>
                </a:lnTo>
                <a:lnTo>
                  <a:pt x="5395121" y="2406314"/>
                </a:lnTo>
                <a:lnTo>
                  <a:pt x="5395121" y="2410103"/>
                </a:lnTo>
                <a:lnTo>
                  <a:pt x="5393819" y="2410103"/>
                </a:lnTo>
                <a:lnTo>
                  <a:pt x="5392735" y="2412052"/>
                </a:lnTo>
                <a:lnTo>
                  <a:pt x="5389153" y="2414109"/>
                </a:lnTo>
                <a:lnTo>
                  <a:pt x="5381123" y="2411186"/>
                </a:lnTo>
                <a:lnTo>
                  <a:pt x="5375154" y="2409020"/>
                </a:lnTo>
                <a:lnTo>
                  <a:pt x="5372876" y="2404906"/>
                </a:lnTo>
                <a:lnTo>
                  <a:pt x="5369728" y="2405447"/>
                </a:lnTo>
                <a:lnTo>
                  <a:pt x="5368643" y="2409562"/>
                </a:lnTo>
                <a:lnTo>
                  <a:pt x="5367233" y="2409778"/>
                </a:lnTo>
                <a:lnTo>
                  <a:pt x="5363760" y="2406855"/>
                </a:lnTo>
                <a:lnTo>
                  <a:pt x="5361590" y="2407613"/>
                </a:lnTo>
                <a:lnTo>
                  <a:pt x="5357466" y="2406206"/>
                </a:lnTo>
                <a:lnTo>
                  <a:pt x="5346940" y="2405772"/>
                </a:lnTo>
                <a:lnTo>
                  <a:pt x="5339561" y="2402524"/>
                </a:lnTo>
                <a:lnTo>
                  <a:pt x="5326322" y="2403498"/>
                </a:lnTo>
                <a:lnTo>
                  <a:pt x="5320028" y="2397544"/>
                </a:lnTo>
                <a:lnTo>
                  <a:pt x="5318075" y="2397327"/>
                </a:lnTo>
                <a:lnTo>
                  <a:pt x="5312431" y="2401983"/>
                </a:lnTo>
                <a:lnTo>
                  <a:pt x="5307874" y="2398518"/>
                </a:lnTo>
                <a:lnTo>
                  <a:pt x="5302665" y="2398735"/>
                </a:lnTo>
                <a:lnTo>
                  <a:pt x="5289969" y="2398951"/>
                </a:lnTo>
                <a:lnTo>
                  <a:pt x="5289100" y="2396461"/>
                </a:lnTo>
                <a:lnTo>
                  <a:pt x="5286388" y="2394621"/>
                </a:lnTo>
                <a:lnTo>
                  <a:pt x="5286062" y="2388233"/>
                </a:lnTo>
                <a:lnTo>
                  <a:pt x="5281287" y="2379246"/>
                </a:lnTo>
                <a:lnTo>
                  <a:pt x="5278791" y="2370584"/>
                </a:lnTo>
                <a:lnTo>
                  <a:pt x="5274451" y="2364521"/>
                </a:lnTo>
                <a:lnTo>
                  <a:pt x="5273908" y="2361923"/>
                </a:lnTo>
                <a:lnTo>
                  <a:pt x="5271738" y="2362139"/>
                </a:lnTo>
                <a:lnTo>
                  <a:pt x="5271738" y="2360515"/>
                </a:lnTo>
                <a:lnTo>
                  <a:pt x="5263599" y="2359432"/>
                </a:lnTo>
                <a:lnTo>
                  <a:pt x="5258716" y="2360840"/>
                </a:lnTo>
                <a:lnTo>
                  <a:pt x="5252313" y="2365604"/>
                </a:lnTo>
                <a:lnTo>
                  <a:pt x="5247430" y="2365712"/>
                </a:lnTo>
                <a:lnTo>
                  <a:pt x="5246887" y="2363547"/>
                </a:lnTo>
                <a:lnTo>
                  <a:pt x="5246779" y="2366254"/>
                </a:lnTo>
                <a:lnTo>
                  <a:pt x="5236796" y="2372425"/>
                </a:lnTo>
                <a:lnTo>
                  <a:pt x="5228440" y="2379246"/>
                </a:lnTo>
                <a:lnTo>
                  <a:pt x="5219108" y="2372966"/>
                </a:lnTo>
                <a:lnTo>
                  <a:pt x="5211077" y="2371017"/>
                </a:lnTo>
                <a:lnTo>
                  <a:pt x="5205326" y="2371884"/>
                </a:lnTo>
                <a:lnTo>
                  <a:pt x="5202938" y="2373183"/>
                </a:lnTo>
                <a:lnTo>
                  <a:pt x="5194692" y="2365712"/>
                </a:lnTo>
                <a:lnTo>
                  <a:pt x="5190676" y="2365171"/>
                </a:lnTo>
                <a:lnTo>
                  <a:pt x="5186878" y="2362681"/>
                </a:lnTo>
                <a:lnTo>
                  <a:pt x="5181234" y="2361382"/>
                </a:lnTo>
                <a:lnTo>
                  <a:pt x="5174182" y="2354019"/>
                </a:lnTo>
                <a:lnTo>
                  <a:pt x="5177111" y="2351529"/>
                </a:lnTo>
                <a:lnTo>
                  <a:pt x="5176352" y="2349364"/>
                </a:lnTo>
                <a:lnTo>
                  <a:pt x="5171902" y="2348930"/>
                </a:lnTo>
                <a:lnTo>
                  <a:pt x="5170817" y="2347307"/>
                </a:lnTo>
                <a:lnTo>
                  <a:pt x="5163221" y="2346981"/>
                </a:lnTo>
                <a:lnTo>
                  <a:pt x="5160725" y="2344275"/>
                </a:lnTo>
                <a:lnTo>
                  <a:pt x="5154540" y="2342326"/>
                </a:lnTo>
                <a:lnTo>
                  <a:pt x="5145858" y="2343192"/>
                </a:lnTo>
                <a:lnTo>
                  <a:pt x="5140975" y="2340269"/>
                </a:lnTo>
                <a:lnTo>
                  <a:pt x="5133705" y="2324244"/>
                </a:lnTo>
                <a:lnTo>
                  <a:pt x="5132837" y="2320455"/>
                </a:lnTo>
                <a:lnTo>
                  <a:pt x="5130666" y="2321213"/>
                </a:lnTo>
                <a:lnTo>
                  <a:pt x="5126326" y="2317532"/>
                </a:lnTo>
                <a:lnTo>
                  <a:pt x="5127411" y="2316341"/>
                </a:lnTo>
                <a:lnTo>
                  <a:pt x="5129038" y="2317424"/>
                </a:lnTo>
                <a:lnTo>
                  <a:pt x="5130883" y="2317424"/>
                </a:lnTo>
                <a:lnTo>
                  <a:pt x="5128279" y="2313093"/>
                </a:lnTo>
                <a:lnTo>
                  <a:pt x="5124698" y="2313634"/>
                </a:lnTo>
                <a:lnTo>
                  <a:pt x="5122201" y="2312010"/>
                </a:lnTo>
                <a:lnTo>
                  <a:pt x="5121442" y="2304540"/>
                </a:lnTo>
                <a:lnTo>
                  <a:pt x="5112760" y="2294145"/>
                </a:lnTo>
                <a:lnTo>
                  <a:pt x="5112218" y="2289598"/>
                </a:lnTo>
                <a:lnTo>
                  <a:pt x="5107118" y="2282885"/>
                </a:lnTo>
                <a:lnTo>
                  <a:pt x="5104622" y="2281694"/>
                </a:lnTo>
                <a:lnTo>
                  <a:pt x="5097134" y="2287757"/>
                </a:lnTo>
                <a:lnTo>
                  <a:pt x="5094855" y="2287649"/>
                </a:lnTo>
                <a:lnTo>
                  <a:pt x="5092468" y="2283318"/>
                </a:lnTo>
                <a:lnTo>
                  <a:pt x="5090297" y="2284184"/>
                </a:lnTo>
                <a:lnTo>
                  <a:pt x="5084872" y="2281694"/>
                </a:lnTo>
                <a:lnTo>
                  <a:pt x="5085631" y="2278987"/>
                </a:lnTo>
                <a:lnTo>
                  <a:pt x="5086500" y="2276281"/>
                </a:lnTo>
                <a:lnTo>
                  <a:pt x="5085306" y="2277688"/>
                </a:lnTo>
                <a:lnTo>
                  <a:pt x="5082051" y="2277904"/>
                </a:lnTo>
                <a:lnTo>
                  <a:pt x="5079120" y="2277472"/>
                </a:lnTo>
                <a:lnTo>
                  <a:pt x="5082702" y="2280395"/>
                </a:lnTo>
                <a:lnTo>
                  <a:pt x="5082593" y="2284942"/>
                </a:lnTo>
                <a:lnTo>
                  <a:pt x="5079880" y="2287216"/>
                </a:lnTo>
                <a:lnTo>
                  <a:pt x="5076950" y="2287432"/>
                </a:lnTo>
                <a:lnTo>
                  <a:pt x="5073369" y="2282777"/>
                </a:lnTo>
                <a:lnTo>
                  <a:pt x="5073477" y="2281261"/>
                </a:lnTo>
                <a:lnTo>
                  <a:pt x="5071307" y="2282235"/>
                </a:lnTo>
                <a:lnTo>
                  <a:pt x="5069571" y="2280720"/>
                </a:lnTo>
                <a:lnTo>
                  <a:pt x="5066280" y="2279393"/>
                </a:lnTo>
                <a:lnTo>
                  <a:pt x="5069571" y="2280720"/>
                </a:lnTo>
                <a:lnTo>
                  <a:pt x="5071307" y="2282236"/>
                </a:lnTo>
                <a:lnTo>
                  <a:pt x="5068812" y="2283318"/>
                </a:lnTo>
                <a:lnTo>
                  <a:pt x="5066316" y="2288839"/>
                </a:lnTo>
                <a:lnTo>
                  <a:pt x="5066317" y="2288840"/>
                </a:lnTo>
                <a:lnTo>
                  <a:pt x="5065774" y="2290139"/>
                </a:lnTo>
                <a:lnTo>
                  <a:pt x="5068053" y="2300750"/>
                </a:lnTo>
                <a:lnTo>
                  <a:pt x="5054272" y="2303456"/>
                </a:lnTo>
                <a:lnTo>
                  <a:pt x="5063713" y="2309628"/>
                </a:lnTo>
                <a:lnTo>
                  <a:pt x="5064798" y="2307462"/>
                </a:lnTo>
                <a:lnTo>
                  <a:pt x="5066426" y="2311035"/>
                </a:lnTo>
                <a:lnTo>
                  <a:pt x="5066642" y="2315041"/>
                </a:lnTo>
                <a:lnTo>
                  <a:pt x="5069355" y="2318073"/>
                </a:lnTo>
                <a:lnTo>
                  <a:pt x="5068487" y="2318073"/>
                </a:lnTo>
                <a:lnTo>
                  <a:pt x="5067511" y="2318615"/>
                </a:lnTo>
                <a:lnTo>
                  <a:pt x="5070006" y="2321755"/>
                </a:lnTo>
                <a:lnTo>
                  <a:pt x="5070006" y="2321755"/>
                </a:lnTo>
                <a:lnTo>
                  <a:pt x="5071850" y="2324027"/>
                </a:lnTo>
                <a:lnTo>
                  <a:pt x="5073478" y="2323162"/>
                </a:lnTo>
                <a:lnTo>
                  <a:pt x="5073478" y="2327168"/>
                </a:lnTo>
                <a:lnTo>
                  <a:pt x="5076625" y="2328791"/>
                </a:lnTo>
                <a:lnTo>
                  <a:pt x="5079121" y="2334530"/>
                </a:lnTo>
                <a:lnTo>
                  <a:pt x="5083679" y="2346656"/>
                </a:lnTo>
                <a:lnTo>
                  <a:pt x="5091708" y="2348605"/>
                </a:lnTo>
                <a:lnTo>
                  <a:pt x="5095724" y="2349363"/>
                </a:lnTo>
                <a:lnTo>
                  <a:pt x="5097786" y="2352178"/>
                </a:lnTo>
                <a:lnTo>
                  <a:pt x="5095724" y="2350987"/>
                </a:lnTo>
                <a:lnTo>
                  <a:pt x="5094313" y="2351312"/>
                </a:lnTo>
                <a:lnTo>
                  <a:pt x="5093988" y="2352935"/>
                </a:lnTo>
                <a:lnTo>
                  <a:pt x="5097352" y="2356725"/>
                </a:lnTo>
                <a:lnTo>
                  <a:pt x="5100281" y="2356942"/>
                </a:lnTo>
                <a:lnTo>
                  <a:pt x="5107986" y="2368094"/>
                </a:lnTo>
                <a:lnTo>
                  <a:pt x="5110265" y="2368094"/>
                </a:lnTo>
                <a:lnTo>
                  <a:pt x="5113304" y="2372749"/>
                </a:lnTo>
                <a:lnTo>
                  <a:pt x="5113304" y="2375456"/>
                </a:lnTo>
                <a:lnTo>
                  <a:pt x="5117644" y="2387041"/>
                </a:lnTo>
                <a:lnTo>
                  <a:pt x="5117644" y="2389747"/>
                </a:lnTo>
                <a:lnTo>
                  <a:pt x="5114931" y="2388990"/>
                </a:lnTo>
                <a:lnTo>
                  <a:pt x="5117970" y="2394836"/>
                </a:lnTo>
                <a:lnTo>
                  <a:pt x="5130124" y="2409994"/>
                </a:lnTo>
                <a:lnTo>
                  <a:pt x="5131209" y="2416057"/>
                </a:lnTo>
                <a:lnTo>
                  <a:pt x="5135224" y="2421687"/>
                </a:lnTo>
                <a:lnTo>
                  <a:pt x="5136526" y="2420822"/>
                </a:lnTo>
                <a:lnTo>
                  <a:pt x="5136526" y="2420822"/>
                </a:lnTo>
                <a:lnTo>
                  <a:pt x="5137720" y="2420063"/>
                </a:lnTo>
                <a:lnTo>
                  <a:pt x="5137720" y="2415192"/>
                </a:lnTo>
                <a:lnTo>
                  <a:pt x="5136092" y="2413243"/>
                </a:lnTo>
                <a:lnTo>
                  <a:pt x="5135007" y="2409778"/>
                </a:lnTo>
                <a:lnTo>
                  <a:pt x="5135766" y="2402524"/>
                </a:lnTo>
                <a:lnTo>
                  <a:pt x="5137720" y="2402524"/>
                </a:lnTo>
                <a:lnTo>
                  <a:pt x="5138913" y="2403498"/>
                </a:lnTo>
                <a:lnTo>
                  <a:pt x="5137720" y="2396245"/>
                </a:lnTo>
                <a:lnTo>
                  <a:pt x="5138805" y="2396245"/>
                </a:lnTo>
                <a:lnTo>
                  <a:pt x="5137937" y="2392455"/>
                </a:lnTo>
                <a:lnTo>
                  <a:pt x="5139565" y="2391156"/>
                </a:lnTo>
                <a:lnTo>
                  <a:pt x="5139565" y="2389207"/>
                </a:lnTo>
                <a:lnTo>
                  <a:pt x="5141301" y="2388990"/>
                </a:lnTo>
                <a:lnTo>
                  <a:pt x="5142060" y="2386825"/>
                </a:lnTo>
                <a:lnTo>
                  <a:pt x="5143905" y="2386825"/>
                </a:lnTo>
                <a:lnTo>
                  <a:pt x="5148029" y="2390073"/>
                </a:lnTo>
                <a:lnTo>
                  <a:pt x="5148354" y="2392672"/>
                </a:lnTo>
                <a:lnTo>
                  <a:pt x="5150416" y="2392672"/>
                </a:lnTo>
                <a:lnTo>
                  <a:pt x="5151284" y="2394187"/>
                </a:lnTo>
                <a:lnTo>
                  <a:pt x="5149656" y="2401983"/>
                </a:lnTo>
                <a:lnTo>
                  <a:pt x="5148571" y="2401983"/>
                </a:lnTo>
                <a:lnTo>
                  <a:pt x="5149439" y="2410103"/>
                </a:lnTo>
                <a:lnTo>
                  <a:pt x="5151067" y="2410103"/>
                </a:lnTo>
                <a:lnTo>
                  <a:pt x="5153672" y="2414867"/>
                </a:lnTo>
                <a:lnTo>
                  <a:pt x="5151827" y="2426560"/>
                </a:lnTo>
                <a:lnTo>
                  <a:pt x="5149114" y="2427101"/>
                </a:lnTo>
                <a:lnTo>
                  <a:pt x="5149223" y="2427210"/>
                </a:lnTo>
                <a:lnTo>
                  <a:pt x="5149222" y="2427210"/>
                </a:lnTo>
                <a:lnTo>
                  <a:pt x="5149874" y="2428400"/>
                </a:lnTo>
                <a:lnTo>
                  <a:pt x="5153780" y="2427967"/>
                </a:lnTo>
                <a:lnTo>
                  <a:pt x="5151610" y="2430674"/>
                </a:lnTo>
                <a:lnTo>
                  <a:pt x="5151502" y="2433056"/>
                </a:lnTo>
                <a:lnTo>
                  <a:pt x="5153672" y="2436846"/>
                </a:lnTo>
                <a:lnTo>
                  <a:pt x="5154865" y="2436304"/>
                </a:lnTo>
                <a:lnTo>
                  <a:pt x="5155083" y="2436412"/>
                </a:lnTo>
                <a:lnTo>
                  <a:pt x="5155083" y="2436412"/>
                </a:lnTo>
                <a:lnTo>
                  <a:pt x="5156928" y="2437602"/>
                </a:lnTo>
                <a:lnTo>
                  <a:pt x="5158881" y="2435437"/>
                </a:lnTo>
                <a:lnTo>
                  <a:pt x="5160292" y="2446265"/>
                </a:lnTo>
                <a:lnTo>
                  <a:pt x="5164090" y="2444532"/>
                </a:lnTo>
                <a:lnTo>
                  <a:pt x="5167670" y="2444965"/>
                </a:lnTo>
                <a:lnTo>
                  <a:pt x="5171468" y="2446047"/>
                </a:lnTo>
                <a:lnTo>
                  <a:pt x="5181235" y="2438469"/>
                </a:lnTo>
                <a:lnTo>
                  <a:pt x="5189374" y="2440310"/>
                </a:lnTo>
                <a:lnTo>
                  <a:pt x="5192846" y="2439551"/>
                </a:lnTo>
                <a:lnTo>
                  <a:pt x="5194909" y="2440634"/>
                </a:lnTo>
                <a:lnTo>
                  <a:pt x="5199575" y="2440310"/>
                </a:lnTo>
                <a:lnTo>
                  <a:pt x="5201745" y="2443016"/>
                </a:lnTo>
                <a:lnTo>
                  <a:pt x="5206845" y="2442475"/>
                </a:lnTo>
                <a:lnTo>
                  <a:pt x="5213790" y="2441176"/>
                </a:lnTo>
                <a:lnTo>
                  <a:pt x="5214984" y="2439010"/>
                </a:lnTo>
                <a:lnTo>
                  <a:pt x="5216395" y="2438685"/>
                </a:lnTo>
                <a:lnTo>
                  <a:pt x="5216069" y="2434896"/>
                </a:lnTo>
                <a:lnTo>
                  <a:pt x="5219108" y="2434896"/>
                </a:lnTo>
                <a:lnTo>
                  <a:pt x="5221061" y="2433380"/>
                </a:lnTo>
                <a:lnTo>
                  <a:pt x="5223231" y="2436412"/>
                </a:lnTo>
                <a:lnTo>
                  <a:pt x="5229416" y="2430024"/>
                </a:lnTo>
                <a:lnTo>
                  <a:pt x="5228115" y="2427100"/>
                </a:lnTo>
                <a:lnTo>
                  <a:pt x="5226162" y="2426343"/>
                </a:lnTo>
                <a:lnTo>
                  <a:pt x="5228331" y="2422878"/>
                </a:lnTo>
                <a:lnTo>
                  <a:pt x="5242113" y="2411185"/>
                </a:lnTo>
                <a:lnTo>
                  <a:pt x="5242113" y="2404688"/>
                </a:lnTo>
                <a:lnTo>
                  <a:pt x="5256871" y="2395811"/>
                </a:lnTo>
                <a:lnTo>
                  <a:pt x="5258282" y="2393429"/>
                </a:lnTo>
                <a:lnTo>
                  <a:pt x="5258282" y="2389964"/>
                </a:lnTo>
                <a:lnTo>
                  <a:pt x="5258391" y="2387907"/>
                </a:lnTo>
                <a:lnTo>
                  <a:pt x="5259150" y="2385633"/>
                </a:lnTo>
                <a:lnTo>
                  <a:pt x="5260452" y="2387149"/>
                </a:lnTo>
                <a:lnTo>
                  <a:pt x="5261646" y="2385633"/>
                </a:lnTo>
                <a:lnTo>
                  <a:pt x="5262732" y="2379137"/>
                </a:lnTo>
                <a:lnTo>
                  <a:pt x="5264793" y="2379354"/>
                </a:lnTo>
                <a:lnTo>
                  <a:pt x="5266421" y="2378921"/>
                </a:lnTo>
                <a:lnTo>
                  <a:pt x="5267506" y="2380653"/>
                </a:lnTo>
                <a:lnTo>
                  <a:pt x="5266530" y="2380545"/>
                </a:lnTo>
                <a:lnTo>
                  <a:pt x="5265553" y="2381303"/>
                </a:lnTo>
                <a:lnTo>
                  <a:pt x="5266746" y="2382710"/>
                </a:lnTo>
                <a:lnTo>
                  <a:pt x="5265770" y="2385417"/>
                </a:lnTo>
                <a:lnTo>
                  <a:pt x="5266963" y="2386067"/>
                </a:lnTo>
                <a:lnTo>
                  <a:pt x="5266313" y="2392779"/>
                </a:lnTo>
                <a:lnTo>
                  <a:pt x="5264359" y="2396569"/>
                </a:lnTo>
                <a:lnTo>
                  <a:pt x="5264142" y="2399492"/>
                </a:lnTo>
                <a:lnTo>
                  <a:pt x="5264142" y="2400250"/>
                </a:lnTo>
                <a:lnTo>
                  <a:pt x="5265335" y="2401332"/>
                </a:lnTo>
                <a:lnTo>
                  <a:pt x="5267615" y="2400574"/>
                </a:lnTo>
                <a:lnTo>
                  <a:pt x="5268265" y="2403823"/>
                </a:lnTo>
                <a:lnTo>
                  <a:pt x="5268808" y="2409778"/>
                </a:lnTo>
                <a:lnTo>
                  <a:pt x="5264142" y="2410427"/>
                </a:lnTo>
                <a:lnTo>
                  <a:pt x="5263491" y="2412441"/>
                </a:lnTo>
                <a:lnTo>
                  <a:pt x="5264143" y="2410427"/>
                </a:lnTo>
                <a:lnTo>
                  <a:pt x="5268809" y="2409778"/>
                </a:lnTo>
                <a:lnTo>
                  <a:pt x="5270111" y="2424070"/>
                </a:lnTo>
                <a:lnTo>
                  <a:pt x="5278033" y="2433706"/>
                </a:lnTo>
                <a:lnTo>
                  <a:pt x="5278793" y="2437062"/>
                </a:lnTo>
                <a:lnTo>
                  <a:pt x="5292140" y="2448214"/>
                </a:lnTo>
                <a:lnTo>
                  <a:pt x="5298109" y="2449838"/>
                </a:lnTo>
                <a:lnTo>
                  <a:pt x="5301255" y="2448430"/>
                </a:lnTo>
                <a:lnTo>
                  <a:pt x="5305705" y="2448214"/>
                </a:lnTo>
                <a:lnTo>
                  <a:pt x="5316448" y="2450163"/>
                </a:lnTo>
                <a:lnTo>
                  <a:pt x="5322308" y="2448972"/>
                </a:lnTo>
                <a:lnTo>
                  <a:pt x="5325563" y="2449080"/>
                </a:lnTo>
                <a:lnTo>
                  <a:pt x="5332291" y="2457958"/>
                </a:lnTo>
                <a:lnTo>
                  <a:pt x="5334136" y="2464130"/>
                </a:lnTo>
                <a:lnTo>
                  <a:pt x="5338260" y="2467919"/>
                </a:lnTo>
                <a:lnTo>
                  <a:pt x="5340430" y="2472250"/>
                </a:lnTo>
                <a:lnTo>
                  <a:pt x="5349329" y="2479396"/>
                </a:lnTo>
                <a:lnTo>
                  <a:pt x="5353669" y="2480154"/>
                </a:lnTo>
                <a:lnTo>
                  <a:pt x="5355189" y="2481886"/>
                </a:lnTo>
                <a:lnTo>
                  <a:pt x="5354972" y="2486542"/>
                </a:lnTo>
                <a:lnTo>
                  <a:pt x="5352041" y="2491738"/>
                </a:lnTo>
                <a:lnTo>
                  <a:pt x="5352476" y="2494770"/>
                </a:lnTo>
                <a:lnTo>
                  <a:pt x="5351608" y="2498343"/>
                </a:lnTo>
                <a:lnTo>
                  <a:pt x="5342818" y="2512418"/>
                </a:lnTo>
                <a:lnTo>
                  <a:pt x="5336957" y="2517615"/>
                </a:lnTo>
                <a:lnTo>
                  <a:pt x="5334353" y="2523245"/>
                </a:lnTo>
                <a:lnTo>
                  <a:pt x="5331532" y="2525627"/>
                </a:lnTo>
                <a:lnTo>
                  <a:pt x="5328819" y="2534722"/>
                </a:lnTo>
                <a:lnTo>
                  <a:pt x="5326106" y="2534505"/>
                </a:lnTo>
                <a:lnTo>
                  <a:pt x="5323502" y="2533098"/>
                </a:lnTo>
                <a:lnTo>
                  <a:pt x="5324044" y="2530499"/>
                </a:lnTo>
                <a:lnTo>
                  <a:pt x="5325130" y="2528117"/>
                </a:lnTo>
                <a:lnTo>
                  <a:pt x="5322959" y="2527360"/>
                </a:lnTo>
                <a:lnTo>
                  <a:pt x="5320680" y="2529200"/>
                </a:lnTo>
                <a:lnTo>
                  <a:pt x="5317751" y="2534505"/>
                </a:lnTo>
                <a:lnTo>
                  <a:pt x="5316665" y="2534722"/>
                </a:lnTo>
                <a:lnTo>
                  <a:pt x="5318401" y="2537754"/>
                </a:lnTo>
                <a:lnTo>
                  <a:pt x="5315580" y="2538511"/>
                </a:lnTo>
                <a:lnTo>
                  <a:pt x="5311565" y="2546199"/>
                </a:lnTo>
                <a:lnTo>
                  <a:pt x="5311565" y="2550313"/>
                </a:lnTo>
                <a:lnTo>
                  <a:pt x="5310046" y="2554102"/>
                </a:lnTo>
                <a:lnTo>
                  <a:pt x="5311022" y="2554427"/>
                </a:lnTo>
                <a:lnTo>
                  <a:pt x="5313301" y="2558758"/>
                </a:lnTo>
                <a:lnTo>
                  <a:pt x="5311890" y="2558974"/>
                </a:lnTo>
                <a:lnTo>
                  <a:pt x="5314929" y="2567528"/>
                </a:lnTo>
                <a:lnTo>
                  <a:pt x="5316882" y="2569368"/>
                </a:lnTo>
                <a:lnTo>
                  <a:pt x="5316014" y="2571750"/>
                </a:lnTo>
                <a:lnTo>
                  <a:pt x="5304077" y="2572725"/>
                </a:lnTo>
                <a:lnTo>
                  <a:pt x="5301581" y="2574349"/>
                </a:lnTo>
                <a:lnTo>
                  <a:pt x="5298326" y="2572833"/>
                </a:lnTo>
                <a:lnTo>
                  <a:pt x="5292900" y="2574241"/>
                </a:lnTo>
                <a:lnTo>
                  <a:pt x="5284110" y="2584851"/>
                </a:lnTo>
                <a:lnTo>
                  <a:pt x="5284110" y="2592214"/>
                </a:lnTo>
                <a:lnTo>
                  <a:pt x="5281940" y="2594163"/>
                </a:lnTo>
                <a:lnTo>
                  <a:pt x="5277490" y="2598818"/>
                </a:lnTo>
                <a:lnTo>
                  <a:pt x="5274561" y="2597627"/>
                </a:lnTo>
                <a:lnTo>
                  <a:pt x="5268592" y="2598602"/>
                </a:lnTo>
                <a:lnTo>
                  <a:pt x="5260345" y="2598385"/>
                </a:lnTo>
                <a:lnTo>
                  <a:pt x="5258174" y="2600659"/>
                </a:lnTo>
                <a:lnTo>
                  <a:pt x="5254811" y="2604015"/>
                </a:lnTo>
                <a:lnTo>
                  <a:pt x="5255461" y="2606289"/>
                </a:lnTo>
                <a:lnTo>
                  <a:pt x="5255028" y="2609320"/>
                </a:lnTo>
                <a:lnTo>
                  <a:pt x="5257306" y="2610512"/>
                </a:lnTo>
                <a:lnTo>
                  <a:pt x="5256981" y="2613326"/>
                </a:lnTo>
                <a:lnTo>
                  <a:pt x="5255787" y="2613651"/>
                </a:lnTo>
                <a:lnTo>
                  <a:pt x="5256112" y="2614626"/>
                </a:lnTo>
                <a:lnTo>
                  <a:pt x="5250361" y="2623179"/>
                </a:lnTo>
                <a:lnTo>
                  <a:pt x="5247431" y="2623395"/>
                </a:lnTo>
                <a:lnTo>
                  <a:pt x="5243633" y="2621122"/>
                </a:lnTo>
                <a:lnTo>
                  <a:pt x="5239618" y="2621879"/>
                </a:lnTo>
                <a:lnTo>
                  <a:pt x="5234843" y="2621555"/>
                </a:lnTo>
                <a:lnTo>
                  <a:pt x="5226379" y="2626102"/>
                </a:lnTo>
                <a:lnTo>
                  <a:pt x="5221062" y="2625994"/>
                </a:lnTo>
                <a:lnTo>
                  <a:pt x="5218023" y="2630975"/>
                </a:lnTo>
                <a:lnTo>
                  <a:pt x="5213357" y="2630975"/>
                </a:lnTo>
                <a:lnTo>
                  <a:pt x="5212055" y="2630108"/>
                </a:lnTo>
                <a:lnTo>
                  <a:pt x="5208799" y="2630866"/>
                </a:lnTo>
                <a:lnTo>
                  <a:pt x="5203482" y="2632273"/>
                </a:lnTo>
                <a:lnTo>
                  <a:pt x="5194367" y="2634222"/>
                </a:lnTo>
                <a:lnTo>
                  <a:pt x="5186228" y="2644183"/>
                </a:lnTo>
                <a:lnTo>
                  <a:pt x="5185468" y="2650138"/>
                </a:lnTo>
                <a:lnTo>
                  <a:pt x="5187422" y="2652087"/>
                </a:lnTo>
                <a:lnTo>
                  <a:pt x="5186662" y="2653495"/>
                </a:lnTo>
                <a:lnTo>
                  <a:pt x="5187638" y="2656201"/>
                </a:lnTo>
                <a:lnTo>
                  <a:pt x="5177329" y="2658367"/>
                </a:lnTo>
                <a:lnTo>
                  <a:pt x="5172663" y="2662806"/>
                </a:lnTo>
                <a:lnTo>
                  <a:pt x="5163222" y="2667461"/>
                </a:lnTo>
                <a:lnTo>
                  <a:pt x="5148355" y="2670168"/>
                </a:lnTo>
                <a:lnTo>
                  <a:pt x="5146077" y="2672658"/>
                </a:lnTo>
                <a:lnTo>
                  <a:pt x="5119707" y="2680454"/>
                </a:lnTo>
                <a:lnTo>
                  <a:pt x="5117102" y="2680129"/>
                </a:lnTo>
                <a:lnTo>
                  <a:pt x="5112653" y="2682403"/>
                </a:lnTo>
                <a:lnTo>
                  <a:pt x="5107770" y="2690415"/>
                </a:lnTo>
                <a:lnTo>
                  <a:pt x="5100825" y="2696262"/>
                </a:lnTo>
                <a:lnTo>
                  <a:pt x="5097461" y="2696262"/>
                </a:lnTo>
                <a:lnTo>
                  <a:pt x="5096050" y="2694854"/>
                </a:lnTo>
                <a:lnTo>
                  <a:pt x="5093771" y="2697019"/>
                </a:lnTo>
                <a:lnTo>
                  <a:pt x="5090298" y="2697669"/>
                </a:lnTo>
                <a:lnTo>
                  <a:pt x="5087369" y="2695395"/>
                </a:lnTo>
                <a:lnTo>
                  <a:pt x="5083679" y="2695287"/>
                </a:lnTo>
                <a:lnTo>
                  <a:pt x="5075106" y="2701891"/>
                </a:lnTo>
                <a:lnTo>
                  <a:pt x="5074564" y="2704815"/>
                </a:lnTo>
                <a:lnTo>
                  <a:pt x="5071525" y="2707305"/>
                </a:lnTo>
                <a:lnTo>
                  <a:pt x="5062519" y="2708172"/>
                </a:lnTo>
                <a:lnTo>
                  <a:pt x="5051233" y="2712502"/>
                </a:lnTo>
                <a:lnTo>
                  <a:pt x="5046567" y="2711527"/>
                </a:lnTo>
                <a:lnTo>
                  <a:pt x="5045156" y="2709687"/>
                </a:lnTo>
                <a:lnTo>
                  <a:pt x="5038211" y="2710011"/>
                </a:lnTo>
                <a:lnTo>
                  <a:pt x="5037343" y="2708604"/>
                </a:lnTo>
                <a:lnTo>
                  <a:pt x="5033545" y="2708388"/>
                </a:lnTo>
                <a:lnTo>
                  <a:pt x="5030506" y="2709362"/>
                </a:lnTo>
                <a:lnTo>
                  <a:pt x="5024429" y="2713152"/>
                </a:lnTo>
                <a:lnTo>
                  <a:pt x="5021824" y="2719431"/>
                </a:lnTo>
                <a:lnTo>
                  <a:pt x="5019437" y="2719756"/>
                </a:lnTo>
                <a:lnTo>
                  <a:pt x="5014880" y="2726036"/>
                </a:lnTo>
                <a:lnTo>
                  <a:pt x="5010430" y="2727876"/>
                </a:lnTo>
                <a:lnTo>
                  <a:pt x="5007826" y="2725386"/>
                </a:lnTo>
                <a:lnTo>
                  <a:pt x="5003160" y="2725386"/>
                </a:lnTo>
                <a:lnTo>
                  <a:pt x="4998277" y="2729501"/>
                </a:lnTo>
                <a:lnTo>
                  <a:pt x="4994262" y="2730475"/>
                </a:lnTo>
                <a:lnTo>
                  <a:pt x="4987642" y="2728309"/>
                </a:lnTo>
                <a:lnTo>
                  <a:pt x="4986340" y="2729825"/>
                </a:lnTo>
                <a:lnTo>
                  <a:pt x="4981456" y="2730583"/>
                </a:lnTo>
                <a:lnTo>
                  <a:pt x="4979503" y="2726578"/>
                </a:lnTo>
                <a:lnTo>
                  <a:pt x="4978526" y="2720623"/>
                </a:lnTo>
                <a:lnTo>
                  <a:pt x="4973535" y="2715209"/>
                </a:lnTo>
                <a:lnTo>
                  <a:pt x="4970930" y="2708821"/>
                </a:lnTo>
                <a:lnTo>
                  <a:pt x="4973535" y="2707088"/>
                </a:lnTo>
                <a:lnTo>
                  <a:pt x="4973100" y="2700484"/>
                </a:lnTo>
                <a:lnTo>
                  <a:pt x="4966915" y="2694854"/>
                </a:lnTo>
                <a:lnTo>
                  <a:pt x="4963877" y="2672658"/>
                </a:lnTo>
                <a:lnTo>
                  <a:pt x="4958125" y="2665296"/>
                </a:lnTo>
                <a:lnTo>
                  <a:pt x="4957908" y="2661723"/>
                </a:lnTo>
                <a:lnTo>
                  <a:pt x="4955412" y="2661723"/>
                </a:lnTo>
                <a:lnTo>
                  <a:pt x="4953785" y="2658258"/>
                </a:lnTo>
                <a:lnTo>
                  <a:pt x="4957583" y="2659341"/>
                </a:lnTo>
                <a:lnTo>
                  <a:pt x="4957583" y="2656742"/>
                </a:lnTo>
                <a:lnTo>
                  <a:pt x="4960296" y="2656742"/>
                </a:lnTo>
                <a:lnTo>
                  <a:pt x="4960621" y="2649597"/>
                </a:lnTo>
                <a:lnTo>
                  <a:pt x="4958451" y="2637471"/>
                </a:lnTo>
                <a:lnTo>
                  <a:pt x="4956932" y="2633140"/>
                </a:lnTo>
                <a:lnTo>
                  <a:pt x="4960646" y="2633425"/>
                </a:lnTo>
                <a:lnTo>
                  <a:pt x="4956932" y="2633140"/>
                </a:lnTo>
                <a:lnTo>
                  <a:pt x="4952699" y="2620905"/>
                </a:lnTo>
                <a:lnTo>
                  <a:pt x="4945103" y="2618740"/>
                </a:lnTo>
                <a:lnTo>
                  <a:pt x="4943475" y="2608454"/>
                </a:lnTo>
                <a:lnTo>
                  <a:pt x="4940762" y="2608454"/>
                </a:lnTo>
                <a:lnTo>
                  <a:pt x="4922640" y="2590265"/>
                </a:lnTo>
                <a:lnTo>
                  <a:pt x="4922315" y="2584093"/>
                </a:lnTo>
                <a:lnTo>
                  <a:pt x="4917215" y="2581061"/>
                </a:lnTo>
                <a:lnTo>
                  <a:pt x="4911680" y="2560490"/>
                </a:lnTo>
                <a:lnTo>
                  <a:pt x="4908533" y="2559191"/>
                </a:lnTo>
                <a:lnTo>
                  <a:pt x="4909292" y="2555726"/>
                </a:lnTo>
                <a:lnTo>
                  <a:pt x="4903324" y="2554643"/>
                </a:lnTo>
                <a:lnTo>
                  <a:pt x="4903107" y="2551071"/>
                </a:lnTo>
                <a:lnTo>
                  <a:pt x="4896053" y="2545116"/>
                </a:lnTo>
                <a:lnTo>
                  <a:pt x="4893775" y="2545116"/>
                </a:lnTo>
                <a:lnTo>
                  <a:pt x="4890519" y="2540461"/>
                </a:lnTo>
                <a:lnTo>
                  <a:pt x="4885636" y="2540027"/>
                </a:lnTo>
                <a:lnTo>
                  <a:pt x="4881621" y="2538295"/>
                </a:lnTo>
                <a:lnTo>
                  <a:pt x="4869467" y="2525411"/>
                </a:lnTo>
                <a:lnTo>
                  <a:pt x="4868707" y="2522055"/>
                </a:lnTo>
                <a:lnTo>
                  <a:pt x="4864367" y="2518265"/>
                </a:lnTo>
                <a:lnTo>
                  <a:pt x="4863390" y="2509170"/>
                </a:lnTo>
                <a:lnTo>
                  <a:pt x="4861003" y="2500508"/>
                </a:lnTo>
                <a:lnTo>
                  <a:pt x="4859267" y="2496719"/>
                </a:lnTo>
                <a:lnTo>
                  <a:pt x="4861003" y="2495095"/>
                </a:lnTo>
                <a:lnTo>
                  <a:pt x="4862848" y="2487299"/>
                </a:lnTo>
                <a:lnTo>
                  <a:pt x="4861437" y="2484701"/>
                </a:lnTo>
                <a:lnTo>
                  <a:pt x="4859918" y="2476364"/>
                </a:lnTo>
                <a:lnTo>
                  <a:pt x="4855252" y="2472250"/>
                </a:lnTo>
                <a:lnTo>
                  <a:pt x="4853190" y="2464130"/>
                </a:lnTo>
                <a:lnTo>
                  <a:pt x="4850910" y="2462072"/>
                </a:lnTo>
                <a:lnTo>
                  <a:pt x="4850151" y="2456117"/>
                </a:lnTo>
                <a:lnTo>
                  <a:pt x="4848306" y="2455793"/>
                </a:lnTo>
                <a:lnTo>
                  <a:pt x="4846570" y="2450595"/>
                </a:lnTo>
                <a:lnTo>
                  <a:pt x="4840602" y="2444424"/>
                </a:lnTo>
                <a:lnTo>
                  <a:pt x="4833005" y="2440960"/>
                </a:lnTo>
                <a:lnTo>
                  <a:pt x="4827905" y="2436846"/>
                </a:lnTo>
                <a:lnTo>
                  <a:pt x="4824324" y="2440418"/>
                </a:lnTo>
                <a:lnTo>
                  <a:pt x="4821069" y="2438469"/>
                </a:lnTo>
                <a:lnTo>
                  <a:pt x="4820851" y="2434464"/>
                </a:lnTo>
                <a:lnTo>
                  <a:pt x="4815752" y="2430891"/>
                </a:lnTo>
                <a:lnTo>
                  <a:pt x="4815752" y="2427426"/>
                </a:lnTo>
                <a:lnTo>
                  <a:pt x="4817271" y="2424394"/>
                </a:lnTo>
                <a:lnTo>
                  <a:pt x="4815752" y="2417140"/>
                </a:lnTo>
                <a:lnTo>
                  <a:pt x="4812387" y="2414867"/>
                </a:lnTo>
                <a:lnTo>
                  <a:pt x="4808047" y="2403498"/>
                </a:lnTo>
                <a:lnTo>
                  <a:pt x="4802621" y="2401116"/>
                </a:lnTo>
                <a:lnTo>
                  <a:pt x="4800233" y="2397868"/>
                </a:lnTo>
                <a:lnTo>
                  <a:pt x="4799148" y="2391913"/>
                </a:lnTo>
                <a:lnTo>
                  <a:pt x="4795350" y="2391155"/>
                </a:lnTo>
                <a:lnTo>
                  <a:pt x="4793506" y="2387041"/>
                </a:lnTo>
                <a:lnTo>
                  <a:pt x="4793397" y="2383251"/>
                </a:lnTo>
                <a:lnTo>
                  <a:pt x="4786452" y="2371450"/>
                </a:lnTo>
                <a:lnTo>
                  <a:pt x="4783956" y="2371341"/>
                </a:lnTo>
                <a:lnTo>
                  <a:pt x="4778747" y="2366686"/>
                </a:lnTo>
                <a:lnTo>
                  <a:pt x="4777771" y="2361706"/>
                </a:lnTo>
                <a:lnTo>
                  <a:pt x="4775492" y="2360731"/>
                </a:lnTo>
                <a:lnTo>
                  <a:pt x="4774407" y="2355643"/>
                </a:lnTo>
                <a:lnTo>
                  <a:pt x="4763881" y="2343949"/>
                </a:lnTo>
                <a:lnTo>
                  <a:pt x="4765291" y="2342975"/>
                </a:lnTo>
                <a:lnTo>
                  <a:pt x="4759865" y="2339943"/>
                </a:lnTo>
                <a:lnTo>
                  <a:pt x="4756827" y="2342109"/>
                </a:lnTo>
                <a:lnTo>
                  <a:pt x="4755742" y="2340268"/>
                </a:lnTo>
                <a:lnTo>
                  <a:pt x="4752269" y="2341567"/>
                </a:lnTo>
                <a:lnTo>
                  <a:pt x="4751727" y="2338968"/>
                </a:lnTo>
                <a:lnTo>
                  <a:pt x="4754331" y="2332148"/>
                </a:lnTo>
                <a:lnTo>
                  <a:pt x="4753897" y="2322078"/>
                </a:lnTo>
                <a:lnTo>
                  <a:pt x="4754549" y="2313309"/>
                </a:lnTo>
                <a:lnTo>
                  <a:pt x="4762035" y="2312984"/>
                </a:lnTo>
                <a:lnTo>
                  <a:pt x="4754548" y="2313309"/>
                </a:lnTo>
                <a:lnTo>
                  <a:pt x="4754656" y="2312335"/>
                </a:lnTo>
                <a:lnTo>
                  <a:pt x="4756718" y="2306380"/>
                </a:lnTo>
                <a:lnTo>
                  <a:pt x="4756501" y="2304106"/>
                </a:lnTo>
                <a:lnTo>
                  <a:pt x="4756393" y="2304323"/>
                </a:lnTo>
                <a:lnTo>
                  <a:pt x="4756501" y="2303673"/>
                </a:lnTo>
                <a:lnTo>
                  <a:pt x="4756501" y="2303673"/>
                </a:lnTo>
                <a:lnTo>
                  <a:pt x="4756392" y="2304323"/>
                </a:lnTo>
                <a:lnTo>
                  <a:pt x="4753570" y="2308762"/>
                </a:lnTo>
                <a:lnTo>
                  <a:pt x="4753570" y="2308761"/>
                </a:lnTo>
                <a:lnTo>
                  <a:pt x="4752702" y="2310169"/>
                </a:lnTo>
                <a:lnTo>
                  <a:pt x="4749013" y="2323378"/>
                </a:lnTo>
                <a:lnTo>
                  <a:pt x="4748470" y="2328359"/>
                </a:lnTo>
                <a:lnTo>
                  <a:pt x="4745649" y="2335612"/>
                </a:lnTo>
                <a:lnTo>
                  <a:pt x="4747819" y="2337778"/>
                </a:lnTo>
                <a:lnTo>
                  <a:pt x="4745974" y="2346223"/>
                </a:lnTo>
                <a:lnTo>
                  <a:pt x="4742719" y="2349363"/>
                </a:lnTo>
                <a:lnTo>
                  <a:pt x="4741851" y="2352178"/>
                </a:lnTo>
                <a:lnTo>
                  <a:pt x="4741091" y="2350771"/>
                </a:lnTo>
                <a:lnTo>
                  <a:pt x="4734797" y="2347306"/>
                </a:lnTo>
                <a:lnTo>
                  <a:pt x="4723403" y="2335288"/>
                </a:lnTo>
                <a:lnTo>
                  <a:pt x="4721884" y="2330740"/>
                </a:lnTo>
                <a:lnTo>
                  <a:pt x="4715590" y="2327817"/>
                </a:lnTo>
                <a:lnTo>
                  <a:pt x="4713202" y="2323161"/>
                </a:lnTo>
                <a:lnTo>
                  <a:pt x="4713202" y="2318506"/>
                </a:lnTo>
                <a:lnTo>
                  <a:pt x="4703979" y="2310710"/>
                </a:lnTo>
                <a:lnTo>
                  <a:pt x="4703436" y="2307679"/>
                </a:lnTo>
                <a:lnTo>
                  <a:pt x="4701266" y="2305080"/>
                </a:lnTo>
                <a:lnTo>
                  <a:pt x="4699638" y="2299017"/>
                </a:lnTo>
                <a:lnTo>
                  <a:pt x="4697359" y="2299017"/>
                </a:lnTo>
                <a:lnTo>
                  <a:pt x="4696382" y="2297502"/>
                </a:lnTo>
                <a:lnTo>
                  <a:pt x="4695406" y="2299125"/>
                </a:lnTo>
                <a:lnTo>
                  <a:pt x="4695732" y="2302373"/>
                </a:lnTo>
                <a:lnTo>
                  <a:pt x="4695189" y="2305622"/>
                </a:lnTo>
                <a:lnTo>
                  <a:pt x="4700180" y="2312118"/>
                </a:lnTo>
                <a:lnTo>
                  <a:pt x="4700180" y="2317531"/>
                </a:lnTo>
                <a:lnTo>
                  <a:pt x="4709079" y="2328034"/>
                </a:lnTo>
                <a:lnTo>
                  <a:pt x="4710164" y="2331823"/>
                </a:lnTo>
                <a:lnTo>
                  <a:pt x="4724054" y="2343516"/>
                </a:lnTo>
                <a:lnTo>
                  <a:pt x="4726116" y="2347306"/>
                </a:lnTo>
                <a:lnTo>
                  <a:pt x="4725139" y="2351095"/>
                </a:lnTo>
                <a:lnTo>
                  <a:pt x="4725573" y="2354560"/>
                </a:lnTo>
                <a:lnTo>
                  <a:pt x="4733712" y="2363330"/>
                </a:lnTo>
                <a:lnTo>
                  <a:pt x="4733712" y="2366145"/>
                </a:lnTo>
                <a:lnTo>
                  <a:pt x="4736208" y="2369177"/>
                </a:lnTo>
                <a:lnTo>
                  <a:pt x="4737076" y="2378379"/>
                </a:lnTo>
                <a:lnTo>
                  <a:pt x="4739680" y="2382277"/>
                </a:lnTo>
                <a:lnTo>
                  <a:pt x="4739463" y="2387366"/>
                </a:lnTo>
                <a:lnTo>
                  <a:pt x="4754439" y="2409345"/>
                </a:lnTo>
                <a:lnTo>
                  <a:pt x="4755524" y="2416058"/>
                </a:lnTo>
                <a:lnTo>
                  <a:pt x="4759539" y="2418656"/>
                </a:lnTo>
                <a:lnTo>
                  <a:pt x="4769089" y="2432515"/>
                </a:lnTo>
                <a:lnTo>
                  <a:pt x="4771151" y="2438903"/>
                </a:lnTo>
                <a:lnTo>
                  <a:pt x="4773864" y="2442151"/>
                </a:lnTo>
                <a:lnTo>
                  <a:pt x="4774080" y="2440527"/>
                </a:lnTo>
                <a:lnTo>
                  <a:pt x="4775708" y="2441718"/>
                </a:lnTo>
                <a:lnTo>
                  <a:pt x="4779615" y="2447673"/>
                </a:lnTo>
                <a:lnTo>
                  <a:pt x="4781893" y="2448106"/>
                </a:lnTo>
                <a:lnTo>
                  <a:pt x="4784606" y="2451029"/>
                </a:lnTo>
                <a:lnTo>
                  <a:pt x="4777553" y="2450596"/>
                </a:lnTo>
                <a:lnTo>
                  <a:pt x="4775708" y="2449080"/>
                </a:lnTo>
                <a:lnTo>
                  <a:pt x="4775274" y="2451245"/>
                </a:lnTo>
                <a:lnTo>
                  <a:pt x="4776793" y="2454386"/>
                </a:lnTo>
                <a:lnTo>
                  <a:pt x="4777118" y="2460340"/>
                </a:lnTo>
                <a:lnTo>
                  <a:pt x="4776250" y="2463588"/>
                </a:lnTo>
                <a:lnTo>
                  <a:pt x="4779940" y="2476039"/>
                </a:lnTo>
                <a:lnTo>
                  <a:pt x="4787319" y="2480804"/>
                </a:lnTo>
                <a:lnTo>
                  <a:pt x="4791877" y="2481020"/>
                </a:lnTo>
                <a:lnTo>
                  <a:pt x="4794807" y="2479612"/>
                </a:lnTo>
                <a:lnTo>
                  <a:pt x="4797845" y="2486000"/>
                </a:lnTo>
                <a:lnTo>
                  <a:pt x="4802729" y="2487408"/>
                </a:lnTo>
                <a:lnTo>
                  <a:pt x="4804248" y="2490331"/>
                </a:lnTo>
                <a:lnTo>
                  <a:pt x="4809782" y="2496069"/>
                </a:lnTo>
                <a:lnTo>
                  <a:pt x="4814014" y="2497694"/>
                </a:lnTo>
                <a:lnTo>
                  <a:pt x="4813906" y="2498127"/>
                </a:lnTo>
                <a:lnTo>
                  <a:pt x="4813580" y="2500183"/>
                </a:lnTo>
                <a:lnTo>
                  <a:pt x="4813038" y="2502348"/>
                </a:lnTo>
                <a:lnTo>
                  <a:pt x="4814340" y="2504081"/>
                </a:lnTo>
                <a:lnTo>
                  <a:pt x="4813689" y="2505380"/>
                </a:lnTo>
                <a:lnTo>
                  <a:pt x="4814557" y="2506463"/>
                </a:lnTo>
                <a:lnTo>
                  <a:pt x="4814557" y="2507437"/>
                </a:lnTo>
                <a:lnTo>
                  <a:pt x="4815534" y="2508844"/>
                </a:lnTo>
                <a:lnTo>
                  <a:pt x="4817053" y="2515450"/>
                </a:lnTo>
                <a:lnTo>
                  <a:pt x="4821719" y="2520863"/>
                </a:lnTo>
                <a:lnTo>
                  <a:pt x="4821611" y="2523244"/>
                </a:lnTo>
                <a:lnTo>
                  <a:pt x="4820417" y="2523244"/>
                </a:lnTo>
                <a:lnTo>
                  <a:pt x="4819874" y="2521729"/>
                </a:lnTo>
                <a:lnTo>
                  <a:pt x="4817921" y="2519347"/>
                </a:lnTo>
                <a:lnTo>
                  <a:pt x="4817161" y="2520213"/>
                </a:lnTo>
                <a:lnTo>
                  <a:pt x="4817813" y="2524544"/>
                </a:lnTo>
                <a:lnTo>
                  <a:pt x="4823564" y="2541650"/>
                </a:lnTo>
                <a:lnTo>
                  <a:pt x="4824866" y="2551070"/>
                </a:lnTo>
                <a:lnTo>
                  <a:pt x="4823456" y="2559948"/>
                </a:lnTo>
                <a:lnTo>
                  <a:pt x="4826711" y="2570126"/>
                </a:lnTo>
                <a:lnTo>
                  <a:pt x="4830943" y="2578247"/>
                </a:lnTo>
                <a:lnTo>
                  <a:pt x="4834958" y="2579221"/>
                </a:lnTo>
                <a:lnTo>
                  <a:pt x="4845376" y="2586258"/>
                </a:lnTo>
                <a:lnTo>
                  <a:pt x="4845376" y="2590806"/>
                </a:lnTo>
                <a:lnTo>
                  <a:pt x="4850367" y="2590914"/>
                </a:lnTo>
                <a:lnTo>
                  <a:pt x="4855577" y="2593621"/>
                </a:lnTo>
                <a:lnTo>
                  <a:pt x="4855577" y="2596869"/>
                </a:lnTo>
                <a:lnTo>
                  <a:pt x="4857204" y="2596869"/>
                </a:lnTo>
                <a:lnTo>
                  <a:pt x="4854057" y="2601741"/>
                </a:lnTo>
                <a:lnTo>
                  <a:pt x="4850042" y="2603798"/>
                </a:lnTo>
                <a:lnTo>
                  <a:pt x="4850043" y="2603798"/>
                </a:lnTo>
                <a:lnTo>
                  <a:pt x="4854058" y="2601741"/>
                </a:lnTo>
                <a:lnTo>
                  <a:pt x="4857205" y="2596869"/>
                </a:lnTo>
                <a:lnTo>
                  <a:pt x="4857421" y="2596869"/>
                </a:lnTo>
                <a:lnTo>
                  <a:pt x="4862956" y="2602824"/>
                </a:lnTo>
                <a:lnTo>
                  <a:pt x="4872939" y="2629025"/>
                </a:lnTo>
                <a:lnTo>
                  <a:pt x="4876195" y="2646132"/>
                </a:lnTo>
                <a:lnTo>
                  <a:pt x="4878040" y="2646673"/>
                </a:lnTo>
                <a:lnTo>
                  <a:pt x="4879234" y="2652953"/>
                </a:lnTo>
                <a:lnTo>
                  <a:pt x="4879234" y="2655118"/>
                </a:lnTo>
                <a:lnTo>
                  <a:pt x="4882489" y="2656201"/>
                </a:lnTo>
                <a:lnTo>
                  <a:pt x="4884551" y="2661290"/>
                </a:lnTo>
                <a:lnTo>
                  <a:pt x="4885745" y="2668652"/>
                </a:lnTo>
                <a:lnTo>
                  <a:pt x="4889977" y="2669735"/>
                </a:lnTo>
                <a:lnTo>
                  <a:pt x="4889543" y="2663130"/>
                </a:lnTo>
                <a:lnTo>
                  <a:pt x="4888458" y="2663238"/>
                </a:lnTo>
                <a:lnTo>
                  <a:pt x="4888891" y="2658366"/>
                </a:lnTo>
                <a:lnTo>
                  <a:pt x="4890628" y="2657717"/>
                </a:lnTo>
                <a:lnTo>
                  <a:pt x="4894969" y="2663780"/>
                </a:lnTo>
                <a:lnTo>
                  <a:pt x="4893341" y="2665621"/>
                </a:lnTo>
                <a:lnTo>
                  <a:pt x="4897356" y="2671684"/>
                </a:lnTo>
                <a:lnTo>
                  <a:pt x="4900177" y="2674391"/>
                </a:lnTo>
                <a:lnTo>
                  <a:pt x="4902456" y="2672875"/>
                </a:lnTo>
                <a:lnTo>
                  <a:pt x="4906037" y="2672333"/>
                </a:lnTo>
                <a:lnTo>
                  <a:pt x="4907556" y="2673308"/>
                </a:lnTo>
                <a:lnTo>
                  <a:pt x="4910595" y="2672225"/>
                </a:lnTo>
                <a:lnTo>
                  <a:pt x="4915044" y="2677097"/>
                </a:lnTo>
                <a:lnTo>
                  <a:pt x="4917323" y="2679913"/>
                </a:lnTo>
                <a:lnTo>
                  <a:pt x="4923943" y="2681429"/>
                </a:lnTo>
                <a:lnTo>
                  <a:pt x="4925462" y="2684027"/>
                </a:lnTo>
                <a:lnTo>
                  <a:pt x="4933493" y="2693013"/>
                </a:lnTo>
                <a:lnTo>
                  <a:pt x="4936964" y="2698968"/>
                </a:lnTo>
                <a:lnTo>
                  <a:pt x="4941957" y="2701025"/>
                </a:lnTo>
                <a:lnTo>
                  <a:pt x="4945320" y="2705356"/>
                </a:lnTo>
                <a:lnTo>
                  <a:pt x="4947274" y="2705356"/>
                </a:lnTo>
                <a:lnTo>
                  <a:pt x="4947491" y="2703840"/>
                </a:lnTo>
                <a:lnTo>
                  <a:pt x="4949118" y="2706114"/>
                </a:lnTo>
                <a:lnTo>
                  <a:pt x="4953134" y="2715967"/>
                </a:lnTo>
                <a:lnTo>
                  <a:pt x="4956064" y="2716833"/>
                </a:lnTo>
                <a:lnTo>
                  <a:pt x="4959536" y="2721272"/>
                </a:lnTo>
                <a:lnTo>
                  <a:pt x="4958559" y="2722679"/>
                </a:lnTo>
                <a:lnTo>
                  <a:pt x="4960730" y="2727335"/>
                </a:lnTo>
                <a:lnTo>
                  <a:pt x="4963334" y="2727335"/>
                </a:lnTo>
                <a:lnTo>
                  <a:pt x="4965938" y="2728743"/>
                </a:lnTo>
                <a:lnTo>
                  <a:pt x="4967783" y="2727010"/>
                </a:lnTo>
                <a:lnTo>
                  <a:pt x="4968651" y="2728310"/>
                </a:lnTo>
                <a:lnTo>
                  <a:pt x="4969845" y="2728959"/>
                </a:lnTo>
                <a:lnTo>
                  <a:pt x="4969845" y="2728960"/>
                </a:lnTo>
                <a:lnTo>
                  <a:pt x="4969952" y="2728960"/>
                </a:lnTo>
                <a:lnTo>
                  <a:pt x="4969844" y="2730801"/>
                </a:lnTo>
                <a:lnTo>
                  <a:pt x="4975378" y="2736106"/>
                </a:lnTo>
                <a:lnTo>
                  <a:pt x="4976898" y="2736106"/>
                </a:lnTo>
                <a:lnTo>
                  <a:pt x="4976138" y="2738380"/>
                </a:lnTo>
                <a:lnTo>
                  <a:pt x="4977006" y="2745742"/>
                </a:lnTo>
                <a:lnTo>
                  <a:pt x="4974619" y="2746716"/>
                </a:lnTo>
                <a:lnTo>
                  <a:pt x="4970169" y="2751697"/>
                </a:lnTo>
                <a:lnTo>
                  <a:pt x="4966806" y="2751805"/>
                </a:lnTo>
                <a:lnTo>
                  <a:pt x="4964418" y="2755378"/>
                </a:lnTo>
                <a:lnTo>
                  <a:pt x="4959210" y="2755378"/>
                </a:lnTo>
                <a:lnTo>
                  <a:pt x="4961814" y="2758626"/>
                </a:lnTo>
                <a:lnTo>
                  <a:pt x="4963441" y="2758951"/>
                </a:lnTo>
                <a:lnTo>
                  <a:pt x="4967131" y="2757543"/>
                </a:lnTo>
                <a:lnTo>
                  <a:pt x="4973425" y="2757435"/>
                </a:lnTo>
                <a:lnTo>
                  <a:pt x="4974185" y="2759059"/>
                </a:lnTo>
                <a:lnTo>
                  <a:pt x="4968650" y="2769345"/>
                </a:lnTo>
                <a:lnTo>
                  <a:pt x="4968000" y="2770318"/>
                </a:lnTo>
                <a:lnTo>
                  <a:pt x="4968001" y="2770318"/>
                </a:lnTo>
                <a:lnTo>
                  <a:pt x="4968651" y="2769345"/>
                </a:lnTo>
                <a:lnTo>
                  <a:pt x="4974185" y="2759059"/>
                </a:lnTo>
                <a:lnTo>
                  <a:pt x="4975596" y="2762090"/>
                </a:lnTo>
                <a:lnTo>
                  <a:pt x="4977223" y="2762307"/>
                </a:lnTo>
                <a:lnTo>
                  <a:pt x="4991657" y="2778331"/>
                </a:lnTo>
                <a:lnTo>
                  <a:pt x="4993393" y="2781904"/>
                </a:lnTo>
                <a:lnTo>
                  <a:pt x="4995780" y="2782553"/>
                </a:lnTo>
                <a:lnTo>
                  <a:pt x="5001748" y="2787859"/>
                </a:lnTo>
                <a:lnTo>
                  <a:pt x="5007609" y="2789375"/>
                </a:lnTo>
                <a:lnTo>
                  <a:pt x="5014553" y="2788400"/>
                </a:lnTo>
                <a:lnTo>
                  <a:pt x="5016723" y="2785802"/>
                </a:lnTo>
                <a:lnTo>
                  <a:pt x="5022909" y="2782012"/>
                </a:lnTo>
                <a:lnTo>
                  <a:pt x="5026816" y="2781904"/>
                </a:lnTo>
                <a:lnTo>
                  <a:pt x="5034846" y="2775624"/>
                </a:lnTo>
                <a:lnTo>
                  <a:pt x="5037125" y="2775516"/>
                </a:lnTo>
                <a:lnTo>
                  <a:pt x="5038536" y="2776816"/>
                </a:lnTo>
                <a:lnTo>
                  <a:pt x="5045047" y="2776490"/>
                </a:lnTo>
                <a:lnTo>
                  <a:pt x="5047325" y="2775733"/>
                </a:lnTo>
                <a:lnTo>
                  <a:pt x="5052100" y="2778006"/>
                </a:lnTo>
                <a:lnTo>
                  <a:pt x="5059045" y="2777249"/>
                </a:lnTo>
                <a:lnTo>
                  <a:pt x="5073587" y="2768153"/>
                </a:lnTo>
                <a:lnTo>
                  <a:pt x="5078253" y="2767288"/>
                </a:lnTo>
                <a:lnTo>
                  <a:pt x="5082919" y="2769345"/>
                </a:lnTo>
                <a:lnTo>
                  <a:pt x="5086609" y="2768153"/>
                </a:lnTo>
                <a:lnTo>
                  <a:pt x="5093011" y="2768478"/>
                </a:lnTo>
                <a:lnTo>
                  <a:pt x="5099739" y="2765122"/>
                </a:lnTo>
                <a:lnTo>
                  <a:pt x="5107227" y="2764581"/>
                </a:lnTo>
                <a:lnTo>
                  <a:pt x="5109505" y="2765988"/>
                </a:lnTo>
                <a:lnTo>
                  <a:pt x="5112001" y="2765988"/>
                </a:lnTo>
                <a:lnTo>
                  <a:pt x="5123612" y="2763823"/>
                </a:lnTo>
                <a:lnTo>
                  <a:pt x="5128062" y="2760250"/>
                </a:lnTo>
                <a:lnTo>
                  <a:pt x="5135115" y="2759276"/>
                </a:lnTo>
                <a:lnTo>
                  <a:pt x="5137068" y="2761116"/>
                </a:lnTo>
                <a:lnTo>
                  <a:pt x="5137720" y="2759167"/>
                </a:lnTo>
                <a:lnTo>
                  <a:pt x="5145099" y="2758192"/>
                </a:lnTo>
                <a:lnTo>
                  <a:pt x="5149331" y="2753970"/>
                </a:lnTo>
                <a:lnTo>
                  <a:pt x="5150199" y="2754620"/>
                </a:lnTo>
                <a:lnTo>
                  <a:pt x="5152043" y="2751155"/>
                </a:lnTo>
                <a:lnTo>
                  <a:pt x="5151393" y="2750614"/>
                </a:lnTo>
                <a:lnTo>
                  <a:pt x="5154323" y="2747799"/>
                </a:lnTo>
                <a:lnTo>
                  <a:pt x="5156385" y="2748015"/>
                </a:lnTo>
                <a:lnTo>
                  <a:pt x="5156059" y="2746933"/>
                </a:lnTo>
                <a:lnTo>
                  <a:pt x="5158989" y="2748990"/>
                </a:lnTo>
                <a:lnTo>
                  <a:pt x="5165066" y="2751047"/>
                </a:lnTo>
                <a:lnTo>
                  <a:pt x="5167887" y="2750831"/>
                </a:lnTo>
                <a:lnTo>
                  <a:pt x="5168972" y="2751480"/>
                </a:lnTo>
                <a:lnTo>
                  <a:pt x="5166477" y="2755161"/>
                </a:lnTo>
                <a:lnTo>
                  <a:pt x="5164957" y="2758951"/>
                </a:lnTo>
                <a:lnTo>
                  <a:pt x="5164632" y="2762849"/>
                </a:lnTo>
                <a:lnTo>
                  <a:pt x="5163221" y="2765230"/>
                </a:lnTo>
                <a:lnTo>
                  <a:pt x="5164415" y="2767288"/>
                </a:lnTo>
                <a:lnTo>
                  <a:pt x="5167562" y="2767396"/>
                </a:lnTo>
                <a:lnTo>
                  <a:pt x="5167779" y="2768804"/>
                </a:lnTo>
                <a:lnTo>
                  <a:pt x="5165282" y="2770969"/>
                </a:lnTo>
                <a:lnTo>
                  <a:pt x="5163113" y="2775949"/>
                </a:lnTo>
                <a:lnTo>
                  <a:pt x="5165282" y="2778873"/>
                </a:lnTo>
                <a:lnTo>
                  <a:pt x="5166042" y="2782770"/>
                </a:lnTo>
                <a:lnTo>
                  <a:pt x="5164306" y="2786559"/>
                </a:lnTo>
                <a:lnTo>
                  <a:pt x="5167454" y="2786126"/>
                </a:lnTo>
                <a:lnTo>
                  <a:pt x="5167127" y="2785044"/>
                </a:lnTo>
                <a:lnTo>
                  <a:pt x="5168647" y="2785369"/>
                </a:lnTo>
                <a:lnTo>
                  <a:pt x="5170057" y="2788184"/>
                </a:lnTo>
                <a:lnTo>
                  <a:pt x="5168430" y="2789050"/>
                </a:lnTo>
                <a:lnTo>
                  <a:pt x="5167995" y="2788075"/>
                </a:lnTo>
                <a:lnTo>
                  <a:pt x="5164957" y="2788184"/>
                </a:lnTo>
                <a:lnTo>
                  <a:pt x="5162787" y="2788725"/>
                </a:lnTo>
                <a:lnTo>
                  <a:pt x="5159314" y="2794680"/>
                </a:lnTo>
                <a:lnTo>
                  <a:pt x="5161268" y="2797820"/>
                </a:lnTo>
                <a:lnTo>
                  <a:pt x="5160291" y="2803450"/>
                </a:lnTo>
                <a:lnTo>
                  <a:pt x="5158772" y="2806048"/>
                </a:lnTo>
                <a:lnTo>
                  <a:pt x="5159206" y="2812220"/>
                </a:lnTo>
                <a:lnTo>
                  <a:pt x="5150959" y="2823696"/>
                </a:lnTo>
                <a:lnTo>
                  <a:pt x="5145207" y="2835606"/>
                </a:lnTo>
                <a:lnTo>
                  <a:pt x="5141843" y="2839829"/>
                </a:lnTo>
                <a:lnTo>
                  <a:pt x="5139890" y="2839504"/>
                </a:lnTo>
                <a:lnTo>
                  <a:pt x="5134682" y="2845242"/>
                </a:lnTo>
                <a:lnTo>
                  <a:pt x="5134247" y="2847840"/>
                </a:lnTo>
                <a:lnTo>
                  <a:pt x="5136635" y="2851305"/>
                </a:lnTo>
                <a:lnTo>
                  <a:pt x="5133596" y="2854012"/>
                </a:lnTo>
                <a:lnTo>
                  <a:pt x="5120031" y="2879780"/>
                </a:lnTo>
                <a:lnTo>
                  <a:pt x="5119489" y="2887360"/>
                </a:lnTo>
                <a:lnTo>
                  <a:pt x="5110699" y="2899486"/>
                </a:lnTo>
                <a:lnTo>
                  <a:pt x="5110373" y="2903492"/>
                </a:lnTo>
                <a:lnTo>
                  <a:pt x="5094096" y="2925471"/>
                </a:lnTo>
                <a:lnTo>
                  <a:pt x="5092468" y="2930559"/>
                </a:lnTo>
                <a:lnTo>
                  <a:pt x="5085306" y="2937922"/>
                </a:lnTo>
                <a:lnTo>
                  <a:pt x="5072610" y="2953296"/>
                </a:lnTo>
                <a:lnTo>
                  <a:pt x="5046023" y="2976683"/>
                </a:lnTo>
                <a:lnTo>
                  <a:pt x="5034629" y="2986426"/>
                </a:lnTo>
                <a:lnTo>
                  <a:pt x="5026707" y="2987942"/>
                </a:lnTo>
                <a:lnTo>
                  <a:pt x="5019980" y="2992599"/>
                </a:lnTo>
                <a:lnTo>
                  <a:pt x="5011515" y="2999095"/>
                </a:lnTo>
                <a:lnTo>
                  <a:pt x="4995238" y="3016201"/>
                </a:lnTo>
                <a:lnTo>
                  <a:pt x="4991548" y="3017284"/>
                </a:lnTo>
                <a:lnTo>
                  <a:pt x="4978200" y="3032117"/>
                </a:lnTo>
                <a:lnTo>
                  <a:pt x="4975813" y="3032984"/>
                </a:lnTo>
                <a:lnTo>
                  <a:pt x="4973860" y="3036664"/>
                </a:lnTo>
                <a:lnTo>
                  <a:pt x="4968977" y="3038072"/>
                </a:lnTo>
                <a:lnTo>
                  <a:pt x="4963876" y="3042944"/>
                </a:lnTo>
                <a:lnTo>
                  <a:pt x="4961706" y="3048033"/>
                </a:lnTo>
                <a:lnTo>
                  <a:pt x="4941956" y="3069795"/>
                </a:lnTo>
                <a:lnTo>
                  <a:pt x="4941739" y="3070877"/>
                </a:lnTo>
                <a:lnTo>
                  <a:pt x="4941739" y="3070878"/>
                </a:lnTo>
                <a:lnTo>
                  <a:pt x="4941413" y="3072394"/>
                </a:lnTo>
                <a:lnTo>
                  <a:pt x="4933491" y="3081921"/>
                </a:lnTo>
                <a:lnTo>
                  <a:pt x="4931647" y="3082571"/>
                </a:lnTo>
                <a:lnTo>
                  <a:pt x="4928825" y="3085602"/>
                </a:lnTo>
                <a:lnTo>
                  <a:pt x="4930236" y="3087984"/>
                </a:lnTo>
                <a:lnTo>
                  <a:pt x="4922097" y="3090800"/>
                </a:lnTo>
                <a:lnTo>
                  <a:pt x="4917757" y="3096863"/>
                </a:lnTo>
                <a:lnTo>
                  <a:pt x="4910703" y="3096863"/>
                </a:lnTo>
                <a:lnTo>
                  <a:pt x="4907773" y="3097837"/>
                </a:lnTo>
                <a:lnTo>
                  <a:pt x="4907231" y="3099570"/>
                </a:lnTo>
                <a:lnTo>
                  <a:pt x="4903866" y="3103467"/>
                </a:lnTo>
                <a:lnTo>
                  <a:pt x="4903650" y="3106390"/>
                </a:lnTo>
                <a:lnTo>
                  <a:pt x="4905168" y="3107582"/>
                </a:lnTo>
                <a:lnTo>
                  <a:pt x="4901262" y="3113645"/>
                </a:lnTo>
                <a:lnTo>
                  <a:pt x="4897355" y="3118408"/>
                </a:lnTo>
                <a:lnTo>
                  <a:pt x="4897355" y="3123822"/>
                </a:lnTo>
                <a:lnTo>
                  <a:pt x="4893883" y="3131401"/>
                </a:lnTo>
                <a:lnTo>
                  <a:pt x="4885201" y="3143961"/>
                </a:lnTo>
                <a:lnTo>
                  <a:pt x="4880101" y="3146018"/>
                </a:lnTo>
                <a:lnTo>
                  <a:pt x="4878040" y="3146018"/>
                </a:lnTo>
                <a:lnTo>
                  <a:pt x="4848306" y="3125122"/>
                </a:lnTo>
                <a:lnTo>
                  <a:pt x="4848307" y="3125122"/>
                </a:lnTo>
                <a:lnTo>
                  <a:pt x="4878040" y="3146018"/>
                </a:lnTo>
                <a:lnTo>
                  <a:pt x="4877172" y="3146018"/>
                </a:lnTo>
                <a:lnTo>
                  <a:pt x="4878365" y="3147318"/>
                </a:lnTo>
                <a:lnTo>
                  <a:pt x="4878799" y="3150999"/>
                </a:lnTo>
                <a:lnTo>
                  <a:pt x="4877172" y="3153381"/>
                </a:lnTo>
                <a:lnTo>
                  <a:pt x="4872071" y="3169188"/>
                </a:lnTo>
                <a:lnTo>
                  <a:pt x="4868057" y="3179149"/>
                </a:lnTo>
                <a:lnTo>
                  <a:pt x="4868382" y="3184671"/>
                </a:lnTo>
                <a:lnTo>
                  <a:pt x="4875110" y="3190518"/>
                </a:lnTo>
                <a:lnTo>
                  <a:pt x="4880102" y="3196148"/>
                </a:lnTo>
                <a:lnTo>
                  <a:pt x="4883249" y="3195715"/>
                </a:lnTo>
                <a:lnTo>
                  <a:pt x="4886504" y="3204593"/>
                </a:lnTo>
                <a:lnTo>
                  <a:pt x="4885094" y="3207300"/>
                </a:lnTo>
                <a:lnTo>
                  <a:pt x="4883140" y="3206758"/>
                </a:lnTo>
                <a:lnTo>
                  <a:pt x="4880210" y="3208599"/>
                </a:lnTo>
                <a:lnTo>
                  <a:pt x="4878799" y="3214338"/>
                </a:lnTo>
                <a:lnTo>
                  <a:pt x="4879234" y="3223215"/>
                </a:lnTo>
                <a:lnTo>
                  <a:pt x="4882815" y="3226680"/>
                </a:lnTo>
                <a:lnTo>
                  <a:pt x="4882164" y="3232311"/>
                </a:lnTo>
                <a:lnTo>
                  <a:pt x="4879017" y="3234909"/>
                </a:lnTo>
                <a:lnTo>
                  <a:pt x="4879776" y="3240214"/>
                </a:lnTo>
                <a:lnTo>
                  <a:pt x="4882381" y="3246602"/>
                </a:lnTo>
                <a:lnTo>
                  <a:pt x="4881078" y="3246927"/>
                </a:lnTo>
                <a:lnTo>
                  <a:pt x="4882489" y="3249850"/>
                </a:lnTo>
                <a:lnTo>
                  <a:pt x="4883465" y="3254505"/>
                </a:lnTo>
                <a:lnTo>
                  <a:pt x="4886287" y="3256888"/>
                </a:lnTo>
                <a:lnTo>
                  <a:pt x="4883900" y="3260786"/>
                </a:lnTo>
                <a:lnTo>
                  <a:pt x="4886178" y="3263492"/>
                </a:lnTo>
                <a:lnTo>
                  <a:pt x="4888566" y="3270638"/>
                </a:lnTo>
                <a:lnTo>
                  <a:pt x="4887807" y="3274211"/>
                </a:lnTo>
                <a:lnTo>
                  <a:pt x="4896271" y="3282439"/>
                </a:lnTo>
                <a:lnTo>
                  <a:pt x="4902456" y="3283306"/>
                </a:lnTo>
                <a:lnTo>
                  <a:pt x="4907665" y="3287637"/>
                </a:lnTo>
                <a:lnTo>
                  <a:pt x="4907665" y="3290019"/>
                </a:lnTo>
                <a:lnTo>
                  <a:pt x="4908315" y="3290343"/>
                </a:lnTo>
                <a:lnTo>
                  <a:pt x="4908316" y="3290343"/>
                </a:lnTo>
                <a:lnTo>
                  <a:pt x="4910052" y="3291426"/>
                </a:lnTo>
                <a:lnTo>
                  <a:pt x="4909075" y="3297055"/>
                </a:lnTo>
                <a:lnTo>
                  <a:pt x="4907881" y="3299871"/>
                </a:lnTo>
                <a:lnTo>
                  <a:pt x="4909075" y="3300953"/>
                </a:lnTo>
                <a:lnTo>
                  <a:pt x="4904192" y="3307991"/>
                </a:lnTo>
                <a:lnTo>
                  <a:pt x="4903649" y="3310589"/>
                </a:lnTo>
                <a:lnTo>
                  <a:pt x="4904626" y="3312322"/>
                </a:lnTo>
                <a:lnTo>
                  <a:pt x="4904951" y="3313838"/>
                </a:lnTo>
                <a:lnTo>
                  <a:pt x="4903106" y="3315570"/>
                </a:lnTo>
                <a:lnTo>
                  <a:pt x="4904192" y="3324123"/>
                </a:lnTo>
                <a:lnTo>
                  <a:pt x="4906905" y="3329104"/>
                </a:lnTo>
                <a:lnTo>
                  <a:pt x="4905494" y="3330620"/>
                </a:lnTo>
                <a:lnTo>
                  <a:pt x="4905494" y="3336683"/>
                </a:lnTo>
                <a:lnTo>
                  <a:pt x="4906905" y="3338199"/>
                </a:lnTo>
                <a:lnTo>
                  <a:pt x="4907013" y="3344153"/>
                </a:lnTo>
                <a:lnTo>
                  <a:pt x="4904517" y="3346644"/>
                </a:lnTo>
                <a:lnTo>
                  <a:pt x="4905386" y="3352923"/>
                </a:lnTo>
                <a:lnTo>
                  <a:pt x="4903649" y="3364724"/>
                </a:lnTo>
                <a:lnTo>
                  <a:pt x="4902673" y="3364724"/>
                </a:lnTo>
                <a:lnTo>
                  <a:pt x="4904083" y="3366782"/>
                </a:lnTo>
                <a:lnTo>
                  <a:pt x="4904083" y="3377501"/>
                </a:lnTo>
                <a:lnTo>
                  <a:pt x="4900502" y="3378042"/>
                </a:lnTo>
                <a:lnTo>
                  <a:pt x="4900394" y="3379341"/>
                </a:lnTo>
                <a:lnTo>
                  <a:pt x="4901588" y="3381074"/>
                </a:lnTo>
                <a:lnTo>
                  <a:pt x="4906362" y="3381290"/>
                </a:lnTo>
                <a:lnTo>
                  <a:pt x="4907664" y="3382265"/>
                </a:lnTo>
                <a:lnTo>
                  <a:pt x="4908749" y="3391468"/>
                </a:lnTo>
                <a:lnTo>
                  <a:pt x="4906362" y="3395041"/>
                </a:lnTo>
                <a:lnTo>
                  <a:pt x="4903758" y="3396231"/>
                </a:lnTo>
                <a:lnTo>
                  <a:pt x="4905386" y="3398397"/>
                </a:lnTo>
                <a:lnTo>
                  <a:pt x="4904626" y="3400779"/>
                </a:lnTo>
                <a:lnTo>
                  <a:pt x="4901479" y="3400779"/>
                </a:lnTo>
                <a:lnTo>
                  <a:pt x="4898115" y="3404243"/>
                </a:lnTo>
                <a:lnTo>
                  <a:pt x="4898983" y="3405435"/>
                </a:lnTo>
                <a:lnTo>
                  <a:pt x="4900068" y="3404568"/>
                </a:lnTo>
                <a:lnTo>
                  <a:pt x="4903106" y="3404894"/>
                </a:lnTo>
                <a:lnTo>
                  <a:pt x="4900936" y="3408033"/>
                </a:lnTo>
                <a:lnTo>
                  <a:pt x="4900394" y="3412905"/>
                </a:lnTo>
                <a:lnTo>
                  <a:pt x="4897355" y="3413446"/>
                </a:lnTo>
                <a:lnTo>
                  <a:pt x="4892147" y="3420051"/>
                </a:lnTo>
                <a:lnTo>
                  <a:pt x="4892147" y="3422974"/>
                </a:lnTo>
                <a:lnTo>
                  <a:pt x="4887372" y="3429470"/>
                </a:lnTo>
                <a:lnTo>
                  <a:pt x="4883465" y="3430012"/>
                </a:lnTo>
                <a:lnTo>
                  <a:pt x="4883791" y="3434559"/>
                </a:lnTo>
                <a:lnTo>
                  <a:pt x="4867839" y="3443221"/>
                </a:lnTo>
                <a:lnTo>
                  <a:pt x="4865560" y="3443329"/>
                </a:lnTo>
                <a:lnTo>
                  <a:pt x="4864258" y="3446794"/>
                </a:lnTo>
                <a:lnTo>
                  <a:pt x="4849066" y="3454806"/>
                </a:lnTo>
                <a:lnTo>
                  <a:pt x="4843206" y="3454157"/>
                </a:lnTo>
                <a:lnTo>
                  <a:pt x="4842880" y="3455347"/>
                </a:lnTo>
                <a:lnTo>
                  <a:pt x="4835935" y="3458595"/>
                </a:lnTo>
                <a:lnTo>
                  <a:pt x="4826277" y="3464875"/>
                </a:lnTo>
                <a:lnTo>
                  <a:pt x="4823998" y="3463359"/>
                </a:lnTo>
                <a:lnTo>
                  <a:pt x="4823890" y="3466391"/>
                </a:lnTo>
                <a:lnTo>
                  <a:pt x="4818030" y="3473428"/>
                </a:lnTo>
                <a:lnTo>
                  <a:pt x="4815100" y="3474728"/>
                </a:lnTo>
                <a:lnTo>
                  <a:pt x="4813364" y="3470938"/>
                </a:lnTo>
                <a:lnTo>
                  <a:pt x="4812387" y="3477110"/>
                </a:lnTo>
                <a:lnTo>
                  <a:pt x="4809565" y="3477867"/>
                </a:lnTo>
                <a:lnTo>
                  <a:pt x="4808697" y="3481549"/>
                </a:lnTo>
                <a:lnTo>
                  <a:pt x="4799039" y="3487179"/>
                </a:lnTo>
                <a:lnTo>
                  <a:pt x="4798930" y="3489561"/>
                </a:lnTo>
                <a:lnTo>
                  <a:pt x="4796326" y="3491726"/>
                </a:lnTo>
                <a:lnTo>
                  <a:pt x="4794156" y="3492484"/>
                </a:lnTo>
                <a:lnTo>
                  <a:pt x="4794373" y="3495732"/>
                </a:lnTo>
                <a:lnTo>
                  <a:pt x="4788839" y="3495949"/>
                </a:lnTo>
                <a:lnTo>
                  <a:pt x="4776034" y="3504502"/>
                </a:lnTo>
                <a:lnTo>
                  <a:pt x="4776685" y="3509916"/>
                </a:lnTo>
                <a:lnTo>
                  <a:pt x="4772561" y="3512947"/>
                </a:lnTo>
                <a:lnTo>
                  <a:pt x="4766809" y="3512947"/>
                </a:lnTo>
                <a:lnTo>
                  <a:pt x="4764423" y="3516087"/>
                </a:lnTo>
                <a:lnTo>
                  <a:pt x="4759865" y="3513164"/>
                </a:lnTo>
                <a:lnTo>
                  <a:pt x="4757369" y="3513489"/>
                </a:lnTo>
                <a:lnTo>
                  <a:pt x="4757369" y="3515546"/>
                </a:lnTo>
                <a:lnTo>
                  <a:pt x="4759756" y="3518252"/>
                </a:lnTo>
                <a:lnTo>
                  <a:pt x="4759539" y="3522042"/>
                </a:lnTo>
                <a:lnTo>
                  <a:pt x="4757803" y="3524424"/>
                </a:lnTo>
                <a:lnTo>
                  <a:pt x="4758454" y="3527997"/>
                </a:lnTo>
                <a:lnTo>
                  <a:pt x="4755958" y="3531786"/>
                </a:lnTo>
                <a:lnTo>
                  <a:pt x="4762795" y="3540989"/>
                </a:lnTo>
                <a:lnTo>
                  <a:pt x="4763012" y="3544237"/>
                </a:lnTo>
                <a:lnTo>
                  <a:pt x="4759865" y="3546728"/>
                </a:lnTo>
                <a:lnTo>
                  <a:pt x="4762252" y="3547811"/>
                </a:lnTo>
                <a:lnTo>
                  <a:pt x="4764748" y="3552033"/>
                </a:lnTo>
                <a:lnTo>
                  <a:pt x="4764965" y="3557554"/>
                </a:lnTo>
                <a:lnTo>
                  <a:pt x="4767786" y="3562860"/>
                </a:lnTo>
                <a:lnTo>
                  <a:pt x="4766593" y="3577693"/>
                </a:lnTo>
                <a:lnTo>
                  <a:pt x="4768003" y="3582998"/>
                </a:lnTo>
                <a:lnTo>
                  <a:pt x="4769740" y="3582674"/>
                </a:lnTo>
                <a:lnTo>
                  <a:pt x="4769740" y="3578559"/>
                </a:lnTo>
                <a:lnTo>
                  <a:pt x="4772453" y="3572821"/>
                </a:lnTo>
                <a:lnTo>
                  <a:pt x="4772778" y="3577802"/>
                </a:lnTo>
                <a:lnTo>
                  <a:pt x="4773972" y="3577693"/>
                </a:lnTo>
                <a:lnTo>
                  <a:pt x="4773646" y="3584190"/>
                </a:lnTo>
                <a:lnTo>
                  <a:pt x="4771693" y="3586680"/>
                </a:lnTo>
                <a:lnTo>
                  <a:pt x="4771259" y="3593176"/>
                </a:lnTo>
                <a:lnTo>
                  <a:pt x="4772344" y="3594042"/>
                </a:lnTo>
                <a:lnTo>
                  <a:pt x="4769522" y="3601621"/>
                </a:lnTo>
                <a:lnTo>
                  <a:pt x="4769522" y="3605519"/>
                </a:lnTo>
                <a:lnTo>
                  <a:pt x="4767353" y="3608333"/>
                </a:lnTo>
                <a:lnTo>
                  <a:pt x="4767027" y="3613206"/>
                </a:lnTo>
                <a:lnTo>
                  <a:pt x="4765725" y="3613206"/>
                </a:lnTo>
                <a:lnTo>
                  <a:pt x="4766593" y="3617320"/>
                </a:lnTo>
                <a:lnTo>
                  <a:pt x="4770174" y="3615155"/>
                </a:lnTo>
                <a:lnTo>
                  <a:pt x="4771042" y="3617861"/>
                </a:lnTo>
                <a:lnTo>
                  <a:pt x="4768003" y="3622409"/>
                </a:lnTo>
                <a:lnTo>
                  <a:pt x="4766593" y="3628472"/>
                </a:lnTo>
                <a:lnTo>
                  <a:pt x="4757912" y="3637783"/>
                </a:lnTo>
                <a:lnTo>
                  <a:pt x="4742393" y="3644821"/>
                </a:lnTo>
                <a:lnTo>
                  <a:pt x="4721341" y="3648935"/>
                </a:lnTo>
                <a:lnTo>
                  <a:pt x="4713311" y="3656514"/>
                </a:lnTo>
                <a:lnTo>
                  <a:pt x="4707234" y="3658138"/>
                </a:lnTo>
                <a:lnTo>
                  <a:pt x="4705389" y="3660953"/>
                </a:lnTo>
                <a:lnTo>
                  <a:pt x="4702351" y="3663443"/>
                </a:lnTo>
                <a:lnTo>
                  <a:pt x="4700615" y="3669182"/>
                </a:lnTo>
                <a:lnTo>
                  <a:pt x="4698119" y="3669182"/>
                </a:lnTo>
                <a:lnTo>
                  <a:pt x="4695949" y="3670697"/>
                </a:lnTo>
                <a:lnTo>
                  <a:pt x="4696925" y="3671997"/>
                </a:lnTo>
                <a:lnTo>
                  <a:pt x="4699204" y="3676328"/>
                </a:lnTo>
                <a:lnTo>
                  <a:pt x="4698987" y="3680550"/>
                </a:lnTo>
                <a:lnTo>
                  <a:pt x="4701157" y="3677844"/>
                </a:lnTo>
                <a:lnTo>
                  <a:pt x="4704630" y="3678818"/>
                </a:lnTo>
                <a:lnTo>
                  <a:pt x="4705606" y="3674812"/>
                </a:lnTo>
                <a:lnTo>
                  <a:pt x="4707234" y="3674595"/>
                </a:lnTo>
                <a:lnTo>
                  <a:pt x="4707343" y="3676869"/>
                </a:lnTo>
                <a:lnTo>
                  <a:pt x="4706366" y="3683473"/>
                </a:lnTo>
                <a:lnTo>
                  <a:pt x="4703979" y="3687479"/>
                </a:lnTo>
                <a:lnTo>
                  <a:pt x="4703870" y="3691161"/>
                </a:lnTo>
                <a:lnTo>
                  <a:pt x="4699095" y="3691269"/>
                </a:lnTo>
                <a:lnTo>
                  <a:pt x="4690851" y="3689320"/>
                </a:lnTo>
                <a:lnTo>
                  <a:pt x="4696491" y="3692568"/>
                </a:lnTo>
                <a:lnTo>
                  <a:pt x="4701266" y="3692568"/>
                </a:lnTo>
                <a:lnTo>
                  <a:pt x="4701266" y="3693758"/>
                </a:lnTo>
                <a:lnTo>
                  <a:pt x="4698336" y="3697549"/>
                </a:lnTo>
                <a:lnTo>
                  <a:pt x="4699747" y="3697549"/>
                </a:lnTo>
                <a:lnTo>
                  <a:pt x="4696818" y="3706210"/>
                </a:lnTo>
                <a:lnTo>
                  <a:pt x="4696058" y="3713680"/>
                </a:lnTo>
                <a:lnTo>
                  <a:pt x="4692476" y="3720826"/>
                </a:lnTo>
                <a:lnTo>
                  <a:pt x="4690089" y="3730030"/>
                </a:lnTo>
                <a:lnTo>
                  <a:pt x="4686617" y="3734143"/>
                </a:lnTo>
                <a:lnTo>
                  <a:pt x="4685532" y="3738366"/>
                </a:lnTo>
                <a:lnTo>
                  <a:pt x="4678912" y="3746053"/>
                </a:lnTo>
                <a:lnTo>
                  <a:pt x="4676850" y="3746053"/>
                </a:lnTo>
                <a:lnTo>
                  <a:pt x="4675440" y="3748110"/>
                </a:lnTo>
                <a:lnTo>
                  <a:pt x="4670556" y="3750384"/>
                </a:lnTo>
                <a:lnTo>
                  <a:pt x="4668277" y="3753199"/>
                </a:lnTo>
                <a:lnTo>
                  <a:pt x="4662526" y="3756880"/>
                </a:lnTo>
                <a:lnTo>
                  <a:pt x="4659596" y="3762510"/>
                </a:lnTo>
                <a:lnTo>
                  <a:pt x="4654930" y="3767924"/>
                </a:lnTo>
                <a:lnTo>
                  <a:pt x="4654930" y="3770306"/>
                </a:lnTo>
                <a:lnTo>
                  <a:pt x="4652217" y="3775395"/>
                </a:lnTo>
                <a:lnTo>
                  <a:pt x="4647659" y="3775395"/>
                </a:lnTo>
                <a:lnTo>
                  <a:pt x="4644078" y="3782432"/>
                </a:lnTo>
                <a:lnTo>
                  <a:pt x="4634094" y="3798997"/>
                </a:lnTo>
                <a:lnTo>
                  <a:pt x="4626499" y="3806252"/>
                </a:lnTo>
                <a:lnTo>
                  <a:pt x="4625196" y="3812856"/>
                </a:lnTo>
                <a:lnTo>
                  <a:pt x="4620747" y="3814805"/>
                </a:lnTo>
                <a:lnTo>
                  <a:pt x="4616514" y="3819785"/>
                </a:lnTo>
                <a:lnTo>
                  <a:pt x="4614128" y="3819785"/>
                </a:lnTo>
                <a:lnTo>
                  <a:pt x="4613042" y="3821734"/>
                </a:lnTo>
                <a:lnTo>
                  <a:pt x="4588083" y="3846312"/>
                </a:lnTo>
                <a:lnTo>
                  <a:pt x="4585045" y="3846312"/>
                </a:lnTo>
                <a:lnTo>
                  <a:pt x="4585045" y="3847611"/>
                </a:lnTo>
                <a:lnTo>
                  <a:pt x="4581030" y="3852158"/>
                </a:lnTo>
                <a:lnTo>
                  <a:pt x="4564644" y="3862985"/>
                </a:lnTo>
                <a:lnTo>
                  <a:pt x="4561171" y="3866883"/>
                </a:lnTo>
                <a:lnTo>
                  <a:pt x="4555420" y="3868615"/>
                </a:lnTo>
                <a:lnTo>
                  <a:pt x="4555420" y="3870131"/>
                </a:lnTo>
                <a:lnTo>
                  <a:pt x="4546305" y="3872513"/>
                </a:lnTo>
                <a:lnTo>
                  <a:pt x="4541096" y="3875761"/>
                </a:lnTo>
                <a:lnTo>
                  <a:pt x="4535670" y="3875761"/>
                </a:lnTo>
                <a:lnTo>
                  <a:pt x="4533065" y="3873812"/>
                </a:lnTo>
                <a:lnTo>
                  <a:pt x="4525795" y="3873812"/>
                </a:lnTo>
                <a:lnTo>
                  <a:pt x="4519718" y="3875652"/>
                </a:lnTo>
                <a:lnTo>
                  <a:pt x="4517222" y="3879984"/>
                </a:lnTo>
                <a:lnTo>
                  <a:pt x="4520803" y="3883015"/>
                </a:lnTo>
                <a:lnTo>
                  <a:pt x="4520803" y="3884314"/>
                </a:lnTo>
                <a:lnTo>
                  <a:pt x="4512447" y="3884314"/>
                </a:lnTo>
                <a:lnTo>
                  <a:pt x="4507564" y="3881824"/>
                </a:lnTo>
                <a:lnTo>
                  <a:pt x="4503657" y="3881824"/>
                </a:lnTo>
                <a:lnTo>
                  <a:pt x="4500293" y="3885180"/>
                </a:lnTo>
                <a:lnTo>
                  <a:pt x="4501704" y="3888212"/>
                </a:lnTo>
                <a:lnTo>
                  <a:pt x="4500185" y="3889728"/>
                </a:lnTo>
                <a:lnTo>
                  <a:pt x="4488682" y="3887237"/>
                </a:lnTo>
                <a:lnTo>
                  <a:pt x="4485427" y="3884747"/>
                </a:lnTo>
                <a:lnTo>
                  <a:pt x="4474575" y="3881933"/>
                </a:lnTo>
                <a:lnTo>
                  <a:pt x="4467304" y="3883340"/>
                </a:lnTo>
                <a:lnTo>
                  <a:pt x="4467304" y="3883123"/>
                </a:lnTo>
                <a:lnTo>
                  <a:pt x="4463506" y="3884531"/>
                </a:lnTo>
                <a:lnTo>
                  <a:pt x="4457863" y="3881500"/>
                </a:lnTo>
                <a:lnTo>
                  <a:pt x="4445059" y="3881500"/>
                </a:lnTo>
                <a:lnTo>
                  <a:pt x="4441261" y="3883231"/>
                </a:lnTo>
                <a:lnTo>
                  <a:pt x="4440067" y="3887129"/>
                </a:lnTo>
                <a:lnTo>
                  <a:pt x="4437571" y="3885939"/>
                </a:lnTo>
                <a:lnTo>
                  <a:pt x="4434641" y="3886804"/>
                </a:lnTo>
                <a:lnTo>
                  <a:pt x="4432037" y="3888971"/>
                </a:lnTo>
                <a:lnTo>
                  <a:pt x="4430625" y="3890919"/>
                </a:lnTo>
                <a:lnTo>
                  <a:pt x="4424983" y="3890919"/>
                </a:lnTo>
                <a:lnTo>
                  <a:pt x="4421293" y="3892543"/>
                </a:lnTo>
                <a:lnTo>
                  <a:pt x="4414240" y="3890053"/>
                </a:lnTo>
                <a:lnTo>
                  <a:pt x="4408271" y="3890053"/>
                </a:lnTo>
                <a:lnTo>
                  <a:pt x="4407078" y="3891785"/>
                </a:lnTo>
                <a:lnTo>
                  <a:pt x="4401326" y="3890486"/>
                </a:lnTo>
                <a:lnTo>
                  <a:pt x="4396226" y="3896333"/>
                </a:lnTo>
                <a:lnTo>
                  <a:pt x="4391886" y="3897091"/>
                </a:lnTo>
                <a:lnTo>
                  <a:pt x="4390366" y="3900555"/>
                </a:lnTo>
                <a:lnTo>
                  <a:pt x="4387871" y="3899689"/>
                </a:lnTo>
                <a:lnTo>
                  <a:pt x="4385591" y="3900771"/>
                </a:lnTo>
                <a:lnTo>
                  <a:pt x="4373655" y="3895142"/>
                </a:lnTo>
                <a:lnTo>
                  <a:pt x="4371267" y="3896549"/>
                </a:lnTo>
                <a:lnTo>
                  <a:pt x="4371267" y="3890811"/>
                </a:lnTo>
                <a:lnTo>
                  <a:pt x="4366709" y="3888537"/>
                </a:lnTo>
                <a:lnTo>
                  <a:pt x="4363237" y="3890269"/>
                </a:lnTo>
                <a:lnTo>
                  <a:pt x="4360958" y="3889295"/>
                </a:lnTo>
                <a:lnTo>
                  <a:pt x="4362911" y="3887671"/>
                </a:lnTo>
                <a:lnTo>
                  <a:pt x="4361609" y="3882690"/>
                </a:lnTo>
                <a:lnTo>
                  <a:pt x="4356075" y="3881715"/>
                </a:lnTo>
                <a:lnTo>
                  <a:pt x="4352060" y="3885289"/>
                </a:lnTo>
                <a:lnTo>
                  <a:pt x="4352060" y="3889728"/>
                </a:lnTo>
                <a:lnTo>
                  <a:pt x="4349021" y="3887455"/>
                </a:lnTo>
                <a:lnTo>
                  <a:pt x="4349021" y="3882582"/>
                </a:lnTo>
                <a:lnTo>
                  <a:pt x="4350757" y="3878468"/>
                </a:lnTo>
                <a:lnTo>
                  <a:pt x="4349672" y="3872513"/>
                </a:lnTo>
                <a:lnTo>
                  <a:pt x="4352928" y="3867208"/>
                </a:lnTo>
                <a:lnTo>
                  <a:pt x="4348696" y="3859521"/>
                </a:lnTo>
                <a:lnTo>
                  <a:pt x="4344464" y="3855731"/>
                </a:lnTo>
                <a:lnTo>
                  <a:pt x="4340883" y="3849560"/>
                </a:lnTo>
                <a:lnTo>
                  <a:pt x="4340883" y="3843388"/>
                </a:lnTo>
                <a:lnTo>
                  <a:pt x="4343378" y="3841006"/>
                </a:lnTo>
                <a:lnTo>
                  <a:pt x="4345766" y="3843388"/>
                </a:lnTo>
                <a:lnTo>
                  <a:pt x="4347936" y="3843388"/>
                </a:lnTo>
                <a:lnTo>
                  <a:pt x="4350757" y="3840357"/>
                </a:lnTo>
                <a:lnTo>
                  <a:pt x="4352169" y="3832994"/>
                </a:lnTo>
                <a:lnTo>
                  <a:pt x="4349564" y="3824982"/>
                </a:lnTo>
                <a:lnTo>
                  <a:pt x="4349564" y="3821409"/>
                </a:lnTo>
                <a:lnTo>
                  <a:pt x="4342728" y="3810582"/>
                </a:lnTo>
                <a:lnTo>
                  <a:pt x="4342728" y="3805385"/>
                </a:lnTo>
                <a:lnTo>
                  <a:pt x="4335999" y="3796724"/>
                </a:lnTo>
                <a:lnTo>
                  <a:pt x="4332960" y="3782865"/>
                </a:lnTo>
                <a:lnTo>
                  <a:pt x="4327861" y="3769656"/>
                </a:lnTo>
                <a:lnTo>
                  <a:pt x="4327861" y="3762943"/>
                </a:lnTo>
                <a:lnTo>
                  <a:pt x="4322760" y="3748327"/>
                </a:lnTo>
                <a:lnTo>
                  <a:pt x="4314947" y="3742696"/>
                </a:lnTo>
                <a:lnTo>
                  <a:pt x="4313704" y="3735256"/>
                </a:lnTo>
                <a:lnTo>
                  <a:pt x="4307784" y="3731003"/>
                </a:lnTo>
                <a:lnTo>
                  <a:pt x="4306483" y="3727755"/>
                </a:lnTo>
                <a:lnTo>
                  <a:pt x="4300731" y="3722016"/>
                </a:lnTo>
                <a:lnTo>
                  <a:pt x="4294980" y="3710648"/>
                </a:lnTo>
                <a:lnTo>
                  <a:pt x="4290531" y="3704693"/>
                </a:lnTo>
                <a:lnTo>
                  <a:pt x="4290096" y="3695382"/>
                </a:lnTo>
                <a:lnTo>
                  <a:pt x="4286407" y="3691268"/>
                </a:lnTo>
                <a:lnTo>
                  <a:pt x="4286407" y="3686396"/>
                </a:lnTo>
                <a:lnTo>
                  <a:pt x="4288903" y="3684447"/>
                </a:lnTo>
                <a:lnTo>
                  <a:pt x="4286732" y="3680224"/>
                </a:lnTo>
                <a:lnTo>
                  <a:pt x="4283477" y="3678492"/>
                </a:lnTo>
                <a:lnTo>
                  <a:pt x="4281741" y="3666041"/>
                </a:lnTo>
                <a:lnTo>
                  <a:pt x="4278811" y="3662359"/>
                </a:lnTo>
                <a:lnTo>
                  <a:pt x="4282283" y="3660194"/>
                </a:lnTo>
                <a:lnTo>
                  <a:pt x="4280113" y="3653373"/>
                </a:lnTo>
                <a:lnTo>
                  <a:pt x="4280873" y="3643304"/>
                </a:lnTo>
                <a:lnTo>
                  <a:pt x="4273710" y="3624573"/>
                </a:lnTo>
                <a:lnTo>
                  <a:pt x="4273059" y="3606059"/>
                </a:lnTo>
                <a:lnTo>
                  <a:pt x="4269587" y="3593824"/>
                </a:lnTo>
                <a:lnTo>
                  <a:pt x="4272734" y="3592525"/>
                </a:lnTo>
                <a:lnTo>
                  <a:pt x="4272734" y="3582672"/>
                </a:lnTo>
                <a:lnTo>
                  <a:pt x="4260037" y="3564375"/>
                </a:lnTo>
                <a:lnTo>
                  <a:pt x="4260037" y="3557770"/>
                </a:lnTo>
                <a:lnTo>
                  <a:pt x="4248101" y="3540772"/>
                </a:lnTo>
                <a:lnTo>
                  <a:pt x="4246256" y="3530161"/>
                </a:lnTo>
                <a:lnTo>
                  <a:pt x="4234427" y="3503635"/>
                </a:lnTo>
                <a:lnTo>
                  <a:pt x="4226831" y="3490643"/>
                </a:lnTo>
                <a:lnTo>
                  <a:pt x="4212724" y="3476135"/>
                </a:lnTo>
                <a:lnTo>
                  <a:pt x="4211422" y="3455888"/>
                </a:lnTo>
                <a:lnTo>
                  <a:pt x="4211423" y="3455888"/>
                </a:lnTo>
                <a:lnTo>
                  <a:pt x="4211314" y="3453398"/>
                </a:lnTo>
                <a:lnTo>
                  <a:pt x="4212291" y="3445820"/>
                </a:lnTo>
                <a:lnTo>
                  <a:pt x="4211965" y="3434235"/>
                </a:lnTo>
                <a:lnTo>
                  <a:pt x="4213050" y="3426656"/>
                </a:lnTo>
                <a:lnTo>
                  <a:pt x="4213050" y="3417994"/>
                </a:lnTo>
                <a:lnTo>
                  <a:pt x="4219561" y="3410090"/>
                </a:lnTo>
                <a:lnTo>
                  <a:pt x="4221080" y="3400996"/>
                </a:lnTo>
                <a:lnTo>
                  <a:pt x="4226832" y="3393417"/>
                </a:lnTo>
                <a:lnTo>
                  <a:pt x="4226832" y="3374252"/>
                </a:lnTo>
                <a:lnTo>
                  <a:pt x="4229002" y="3372413"/>
                </a:lnTo>
                <a:lnTo>
                  <a:pt x="4229328" y="3364509"/>
                </a:lnTo>
                <a:lnTo>
                  <a:pt x="4242350" y="3352923"/>
                </a:lnTo>
                <a:lnTo>
                  <a:pt x="4242784" y="3347185"/>
                </a:lnTo>
                <a:lnTo>
                  <a:pt x="4253310" y="3339173"/>
                </a:lnTo>
                <a:lnTo>
                  <a:pt x="4256131" y="3339173"/>
                </a:lnTo>
                <a:lnTo>
                  <a:pt x="4265572" y="3321525"/>
                </a:lnTo>
                <a:lnTo>
                  <a:pt x="4265572" y="3300520"/>
                </a:lnTo>
                <a:lnTo>
                  <a:pt x="4262642" y="3296948"/>
                </a:lnTo>
                <a:lnTo>
                  <a:pt x="4263077" y="3292942"/>
                </a:lnTo>
                <a:lnTo>
                  <a:pt x="4253961" y="3278108"/>
                </a:lnTo>
                <a:lnTo>
                  <a:pt x="4253961" y="3271937"/>
                </a:lnTo>
                <a:lnTo>
                  <a:pt x="4250379" y="3266199"/>
                </a:lnTo>
                <a:lnTo>
                  <a:pt x="4250379" y="3257537"/>
                </a:lnTo>
                <a:lnTo>
                  <a:pt x="4246040" y="3255372"/>
                </a:lnTo>
                <a:lnTo>
                  <a:pt x="4253636" y="3245627"/>
                </a:lnTo>
                <a:lnTo>
                  <a:pt x="4254720" y="3236208"/>
                </a:lnTo>
                <a:lnTo>
                  <a:pt x="4247450" y="3226139"/>
                </a:lnTo>
                <a:lnTo>
                  <a:pt x="4247016" y="3207516"/>
                </a:lnTo>
                <a:lnTo>
                  <a:pt x="4233777" y="3192683"/>
                </a:lnTo>
                <a:lnTo>
                  <a:pt x="4233777" y="3189219"/>
                </a:lnTo>
                <a:lnTo>
                  <a:pt x="4231281" y="3186187"/>
                </a:lnTo>
                <a:lnTo>
                  <a:pt x="4238117" y="3182397"/>
                </a:lnTo>
                <a:lnTo>
                  <a:pt x="4238552" y="3182397"/>
                </a:lnTo>
                <a:lnTo>
                  <a:pt x="4238986" y="3182181"/>
                </a:lnTo>
                <a:lnTo>
                  <a:pt x="4239854" y="3181098"/>
                </a:lnTo>
                <a:lnTo>
                  <a:pt x="4241699" y="3181098"/>
                </a:lnTo>
                <a:lnTo>
                  <a:pt x="4243218" y="3180340"/>
                </a:lnTo>
                <a:lnTo>
                  <a:pt x="4247341" y="3179149"/>
                </a:lnTo>
                <a:lnTo>
                  <a:pt x="4251139" y="3178283"/>
                </a:lnTo>
                <a:lnTo>
                  <a:pt x="4254720" y="3178716"/>
                </a:lnTo>
                <a:lnTo>
                  <a:pt x="4258084" y="3179040"/>
                </a:lnTo>
                <a:lnTo>
                  <a:pt x="4262859" y="3179040"/>
                </a:lnTo>
                <a:lnTo>
                  <a:pt x="4268393" y="3178825"/>
                </a:lnTo>
                <a:lnTo>
                  <a:pt x="4275447" y="3178499"/>
                </a:lnTo>
                <a:lnTo>
                  <a:pt x="4279245" y="3178825"/>
                </a:lnTo>
                <a:lnTo>
                  <a:pt x="4286841" y="3179149"/>
                </a:lnTo>
                <a:lnTo>
                  <a:pt x="4295089" y="3178499"/>
                </a:lnTo>
                <a:lnTo>
                  <a:pt x="4312017" y="3178499"/>
                </a:lnTo>
                <a:lnTo>
                  <a:pt x="4336976" y="3178607"/>
                </a:lnTo>
                <a:lnTo>
                  <a:pt x="4336976" y="3178607"/>
                </a:lnTo>
                <a:lnTo>
                  <a:pt x="4312016" y="3178498"/>
                </a:lnTo>
                <a:lnTo>
                  <a:pt x="4295088" y="3178498"/>
                </a:lnTo>
                <a:lnTo>
                  <a:pt x="4286841" y="3179148"/>
                </a:lnTo>
                <a:lnTo>
                  <a:pt x="4279244" y="3178824"/>
                </a:lnTo>
                <a:lnTo>
                  <a:pt x="4275446" y="3178498"/>
                </a:lnTo>
                <a:lnTo>
                  <a:pt x="4268393" y="3178824"/>
                </a:lnTo>
                <a:lnTo>
                  <a:pt x="4262859" y="3179039"/>
                </a:lnTo>
                <a:lnTo>
                  <a:pt x="4258084" y="3179039"/>
                </a:lnTo>
                <a:lnTo>
                  <a:pt x="4254720" y="3178715"/>
                </a:lnTo>
                <a:lnTo>
                  <a:pt x="4251139" y="3178282"/>
                </a:lnTo>
                <a:lnTo>
                  <a:pt x="4247340" y="3179148"/>
                </a:lnTo>
                <a:lnTo>
                  <a:pt x="4243217" y="3180339"/>
                </a:lnTo>
                <a:lnTo>
                  <a:pt x="4241698" y="3181097"/>
                </a:lnTo>
                <a:lnTo>
                  <a:pt x="4239853" y="3181097"/>
                </a:lnTo>
                <a:lnTo>
                  <a:pt x="4238985" y="3182180"/>
                </a:lnTo>
                <a:lnTo>
                  <a:pt x="4238551" y="3182396"/>
                </a:lnTo>
                <a:lnTo>
                  <a:pt x="4238117" y="3182396"/>
                </a:lnTo>
                <a:lnTo>
                  <a:pt x="4235295" y="3180231"/>
                </a:lnTo>
                <a:lnTo>
                  <a:pt x="4228350" y="3180122"/>
                </a:lnTo>
                <a:lnTo>
                  <a:pt x="4227157" y="3177309"/>
                </a:lnTo>
                <a:lnTo>
                  <a:pt x="4227157" y="3177309"/>
                </a:lnTo>
                <a:lnTo>
                  <a:pt x="4225855" y="3174494"/>
                </a:lnTo>
                <a:lnTo>
                  <a:pt x="4228567" y="3169406"/>
                </a:lnTo>
                <a:lnTo>
                  <a:pt x="4226940" y="3162584"/>
                </a:lnTo>
                <a:lnTo>
                  <a:pt x="4224010" y="3159445"/>
                </a:lnTo>
                <a:lnTo>
                  <a:pt x="4226397" y="3158037"/>
                </a:lnTo>
                <a:lnTo>
                  <a:pt x="4228676" y="3152406"/>
                </a:lnTo>
                <a:lnTo>
                  <a:pt x="4230303" y="3152406"/>
                </a:lnTo>
                <a:lnTo>
                  <a:pt x="4234101" y="3150349"/>
                </a:lnTo>
                <a:lnTo>
                  <a:pt x="4235121" y="3147297"/>
                </a:lnTo>
                <a:lnTo>
                  <a:pt x="4234101" y="3150348"/>
                </a:lnTo>
                <a:lnTo>
                  <a:pt x="4230303" y="3152405"/>
                </a:lnTo>
                <a:lnTo>
                  <a:pt x="4228675" y="3152405"/>
                </a:lnTo>
                <a:lnTo>
                  <a:pt x="4226397" y="3158036"/>
                </a:lnTo>
                <a:lnTo>
                  <a:pt x="4224009" y="3159443"/>
                </a:lnTo>
                <a:lnTo>
                  <a:pt x="4221296" y="3156412"/>
                </a:lnTo>
                <a:lnTo>
                  <a:pt x="4221513" y="3151756"/>
                </a:lnTo>
                <a:lnTo>
                  <a:pt x="4217715" y="3147642"/>
                </a:lnTo>
                <a:lnTo>
                  <a:pt x="4217498" y="3143311"/>
                </a:lnTo>
                <a:lnTo>
                  <a:pt x="4210336" y="3138763"/>
                </a:lnTo>
                <a:lnTo>
                  <a:pt x="4208600" y="3135732"/>
                </a:lnTo>
                <a:lnTo>
                  <a:pt x="4203934" y="3131076"/>
                </a:lnTo>
                <a:lnTo>
                  <a:pt x="4207406" y="3126204"/>
                </a:lnTo>
                <a:lnTo>
                  <a:pt x="4207841" y="3122956"/>
                </a:lnTo>
                <a:lnTo>
                  <a:pt x="4210119" y="3121873"/>
                </a:lnTo>
                <a:lnTo>
                  <a:pt x="4214460" y="3121657"/>
                </a:lnTo>
                <a:lnTo>
                  <a:pt x="4210119" y="3121873"/>
                </a:lnTo>
                <a:lnTo>
                  <a:pt x="4207840" y="3122956"/>
                </a:lnTo>
                <a:lnTo>
                  <a:pt x="4207406" y="3126204"/>
                </a:lnTo>
                <a:lnTo>
                  <a:pt x="4203933" y="3131076"/>
                </a:lnTo>
                <a:lnTo>
                  <a:pt x="4202848" y="3130102"/>
                </a:lnTo>
                <a:lnTo>
                  <a:pt x="4198725" y="3128478"/>
                </a:lnTo>
                <a:lnTo>
                  <a:pt x="4197966" y="3124471"/>
                </a:lnTo>
                <a:lnTo>
                  <a:pt x="4189284" y="3120358"/>
                </a:lnTo>
                <a:lnTo>
                  <a:pt x="4187113" y="3115161"/>
                </a:lnTo>
                <a:lnTo>
                  <a:pt x="4176262" y="3106499"/>
                </a:lnTo>
                <a:lnTo>
                  <a:pt x="4169751" y="3099569"/>
                </a:lnTo>
                <a:lnTo>
                  <a:pt x="4171596" y="3098379"/>
                </a:lnTo>
                <a:lnTo>
                  <a:pt x="4165410" y="3093290"/>
                </a:lnTo>
                <a:lnTo>
                  <a:pt x="4162915" y="3087660"/>
                </a:lnTo>
                <a:lnTo>
                  <a:pt x="4159334" y="3084087"/>
                </a:lnTo>
                <a:lnTo>
                  <a:pt x="4159334" y="3076941"/>
                </a:lnTo>
                <a:lnTo>
                  <a:pt x="4154993" y="3071311"/>
                </a:lnTo>
                <a:lnTo>
                  <a:pt x="4154993" y="3067522"/>
                </a:lnTo>
                <a:lnTo>
                  <a:pt x="4152171" y="3065356"/>
                </a:lnTo>
                <a:lnTo>
                  <a:pt x="4147180" y="3054854"/>
                </a:lnTo>
                <a:lnTo>
                  <a:pt x="4147505" y="3052364"/>
                </a:lnTo>
                <a:lnTo>
                  <a:pt x="4153365" y="3054313"/>
                </a:lnTo>
                <a:lnTo>
                  <a:pt x="4157814" y="3050523"/>
                </a:lnTo>
                <a:lnTo>
                  <a:pt x="4158899" y="3037314"/>
                </a:lnTo>
                <a:lnTo>
                  <a:pt x="4159659" y="3030710"/>
                </a:lnTo>
                <a:lnTo>
                  <a:pt x="4162372" y="3033417"/>
                </a:lnTo>
                <a:lnTo>
                  <a:pt x="4172898" y="3030818"/>
                </a:lnTo>
                <a:lnTo>
                  <a:pt x="4165410" y="3029085"/>
                </a:lnTo>
                <a:lnTo>
                  <a:pt x="4160744" y="3021507"/>
                </a:lnTo>
                <a:lnTo>
                  <a:pt x="4165845" y="3020749"/>
                </a:lnTo>
                <a:lnTo>
                  <a:pt x="4166062" y="3015119"/>
                </a:lnTo>
                <a:lnTo>
                  <a:pt x="4168991" y="3015660"/>
                </a:lnTo>
                <a:lnTo>
                  <a:pt x="4170686" y="3014470"/>
                </a:lnTo>
                <a:lnTo>
                  <a:pt x="4168991" y="3015660"/>
                </a:lnTo>
                <a:lnTo>
                  <a:pt x="4166062" y="3015119"/>
                </a:lnTo>
                <a:lnTo>
                  <a:pt x="4166170" y="3013711"/>
                </a:lnTo>
                <a:lnTo>
                  <a:pt x="4160202" y="3010680"/>
                </a:lnTo>
                <a:lnTo>
                  <a:pt x="4166170" y="2999311"/>
                </a:lnTo>
                <a:lnTo>
                  <a:pt x="4173766" y="2990758"/>
                </a:lnTo>
                <a:lnTo>
                  <a:pt x="4171922" y="2986644"/>
                </a:lnTo>
                <a:lnTo>
                  <a:pt x="4172898" y="2985670"/>
                </a:lnTo>
                <a:lnTo>
                  <a:pt x="4174172" y="2985443"/>
                </a:lnTo>
                <a:lnTo>
                  <a:pt x="4172899" y="2985669"/>
                </a:lnTo>
                <a:lnTo>
                  <a:pt x="4176697" y="2981989"/>
                </a:lnTo>
                <a:lnTo>
                  <a:pt x="4173224" y="2978307"/>
                </a:lnTo>
                <a:lnTo>
                  <a:pt x="4176479" y="2970079"/>
                </a:lnTo>
                <a:lnTo>
                  <a:pt x="4175611" y="2960875"/>
                </a:lnTo>
                <a:lnTo>
                  <a:pt x="4171163" y="2954704"/>
                </a:lnTo>
                <a:lnTo>
                  <a:pt x="4171163" y="2947991"/>
                </a:lnTo>
                <a:lnTo>
                  <a:pt x="4172899" y="2944959"/>
                </a:lnTo>
                <a:lnTo>
                  <a:pt x="4169209" y="2939221"/>
                </a:lnTo>
                <a:lnTo>
                  <a:pt x="4162155" y="2942253"/>
                </a:lnTo>
                <a:lnTo>
                  <a:pt x="4159985" y="2939763"/>
                </a:lnTo>
                <a:lnTo>
                  <a:pt x="4155861" y="2939221"/>
                </a:lnTo>
                <a:lnTo>
                  <a:pt x="4152931" y="2924605"/>
                </a:lnTo>
                <a:lnTo>
                  <a:pt x="4149133" y="2926554"/>
                </a:lnTo>
                <a:lnTo>
                  <a:pt x="4145878" y="2925038"/>
                </a:lnTo>
                <a:lnTo>
                  <a:pt x="4145910" y="2924589"/>
                </a:lnTo>
                <a:lnTo>
                  <a:pt x="4145878" y="2925037"/>
                </a:lnTo>
                <a:lnTo>
                  <a:pt x="4145770" y="2924929"/>
                </a:lnTo>
                <a:lnTo>
                  <a:pt x="4143925" y="2926012"/>
                </a:lnTo>
                <a:lnTo>
                  <a:pt x="4139584" y="2921464"/>
                </a:lnTo>
                <a:lnTo>
                  <a:pt x="4137197" y="2928177"/>
                </a:lnTo>
                <a:lnTo>
                  <a:pt x="4131119" y="2929476"/>
                </a:lnTo>
                <a:lnTo>
                  <a:pt x="4127430" y="2927852"/>
                </a:lnTo>
                <a:lnTo>
                  <a:pt x="4116470" y="2931750"/>
                </a:lnTo>
                <a:lnTo>
                  <a:pt x="4112997" y="2930342"/>
                </a:lnTo>
                <a:lnTo>
                  <a:pt x="4108331" y="2933266"/>
                </a:lnTo>
                <a:lnTo>
                  <a:pt x="4085109" y="2934565"/>
                </a:lnTo>
                <a:lnTo>
                  <a:pt x="4076427" y="2932075"/>
                </a:lnTo>
                <a:lnTo>
                  <a:pt x="4070351" y="2926553"/>
                </a:lnTo>
                <a:lnTo>
                  <a:pt x="4067529" y="2918325"/>
                </a:lnTo>
                <a:lnTo>
                  <a:pt x="4064382" y="2916592"/>
                </a:lnTo>
                <a:lnTo>
                  <a:pt x="4064490" y="2909122"/>
                </a:lnTo>
                <a:lnTo>
                  <a:pt x="4058522" y="2897536"/>
                </a:lnTo>
                <a:lnTo>
                  <a:pt x="4048756" y="2888008"/>
                </a:lnTo>
                <a:lnTo>
                  <a:pt x="4031284" y="2878697"/>
                </a:lnTo>
                <a:lnTo>
                  <a:pt x="4023688" y="2881838"/>
                </a:lnTo>
                <a:lnTo>
                  <a:pt x="4014356" y="2879888"/>
                </a:lnTo>
                <a:lnTo>
                  <a:pt x="4013379" y="2875124"/>
                </a:lnTo>
                <a:lnTo>
                  <a:pt x="4014356" y="2863106"/>
                </a:lnTo>
                <a:lnTo>
                  <a:pt x="4013705" y="2859209"/>
                </a:lnTo>
                <a:lnTo>
                  <a:pt x="4013922" y="2855744"/>
                </a:lnTo>
                <a:lnTo>
                  <a:pt x="4012837" y="2845567"/>
                </a:lnTo>
                <a:lnTo>
                  <a:pt x="4013705" y="2841994"/>
                </a:lnTo>
                <a:lnTo>
                  <a:pt x="4013488" y="2839287"/>
                </a:lnTo>
                <a:lnTo>
                  <a:pt x="4012511" y="2837663"/>
                </a:lnTo>
                <a:lnTo>
                  <a:pt x="4013163" y="2835822"/>
                </a:lnTo>
                <a:lnTo>
                  <a:pt x="4012511" y="2831816"/>
                </a:lnTo>
                <a:lnTo>
                  <a:pt x="4012186" y="2830084"/>
                </a:lnTo>
                <a:lnTo>
                  <a:pt x="4012619" y="2824887"/>
                </a:lnTo>
                <a:lnTo>
                  <a:pt x="4013163" y="2821422"/>
                </a:lnTo>
                <a:lnTo>
                  <a:pt x="4012837" y="2817092"/>
                </a:lnTo>
                <a:lnTo>
                  <a:pt x="4014200" y="2815010"/>
                </a:lnTo>
                <a:lnTo>
                  <a:pt x="4012836" y="2817092"/>
                </a:lnTo>
                <a:lnTo>
                  <a:pt x="4013162" y="2821423"/>
                </a:lnTo>
                <a:lnTo>
                  <a:pt x="4012619" y="2824887"/>
                </a:lnTo>
                <a:lnTo>
                  <a:pt x="4012185" y="2830085"/>
                </a:lnTo>
                <a:lnTo>
                  <a:pt x="4012511" y="2831816"/>
                </a:lnTo>
                <a:lnTo>
                  <a:pt x="4013162" y="2835823"/>
                </a:lnTo>
                <a:lnTo>
                  <a:pt x="4012511" y="2837663"/>
                </a:lnTo>
                <a:lnTo>
                  <a:pt x="4013487" y="2839287"/>
                </a:lnTo>
                <a:lnTo>
                  <a:pt x="4013704" y="2841994"/>
                </a:lnTo>
                <a:lnTo>
                  <a:pt x="4012836" y="2845567"/>
                </a:lnTo>
                <a:lnTo>
                  <a:pt x="4013922" y="2855744"/>
                </a:lnTo>
                <a:lnTo>
                  <a:pt x="4013704" y="2859209"/>
                </a:lnTo>
                <a:lnTo>
                  <a:pt x="4014355" y="2863107"/>
                </a:lnTo>
                <a:lnTo>
                  <a:pt x="4013379" y="2875125"/>
                </a:lnTo>
                <a:lnTo>
                  <a:pt x="4014355" y="2879889"/>
                </a:lnTo>
                <a:lnTo>
                  <a:pt x="4013379" y="2879672"/>
                </a:lnTo>
                <a:lnTo>
                  <a:pt x="3996884" y="2885194"/>
                </a:lnTo>
                <a:lnTo>
                  <a:pt x="3988311" y="2884111"/>
                </a:lnTo>
                <a:lnTo>
                  <a:pt x="3989179" y="2879564"/>
                </a:lnTo>
                <a:lnTo>
                  <a:pt x="3985924" y="2874042"/>
                </a:lnTo>
                <a:lnTo>
                  <a:pt x="3985707" y="2867438"/>
                </a:lnTo>
                <a:lnTo>
                  <a:pt x="3984080" y="2861483"/>
                </a:lnTo>
                <a:lnTo>
                  <a:pt x="3984730" y="2832791"/>
                </a:lnTo>
                <a:lnTo>
                  <a:pt x="3985056" y="2828677"/>
                </a:lnTo>
                <a:lnTo>
                  <a:pt x="3987552" y="2825537"/>
                </a:lnTo>
                <a:lnTo>
                  <a:pt x="3987552" y="2819799"/>
                </a:lnTo>
                <a:lnTo>
                  <a:pt x="3987551" y="2819798"/>
                </a:lnTo>
                <a:lnTo>
                  <a:pt x="3987551" y="2825537"/>
                </a:lnTo>
                <a:lnTo>
                  <a:pt x="3985055" y="2828677"/>
                </a:lnTo>
                <a:lnTo>
                  <a:pt x="3984730" y="2832791"/>
                </a:lnTo>
                <a:lnTo>
                  <a:pt x="3984079" y="2861483"/>
                </a:lnTo>
                <a:lnTo>
                  <a:pt x="3985707" y="2867438"/>
                </a:lnTo>
                <a:lnTo>
                  <a:pt x="3985923" y="2874042"/>
                </a:lnTo>
                <a:lnTo>
                  <a:pt x="3989179" y="2879564"/>
                </a:lnTo>
                <a:lnTo>
                  <a:pt x="3988311" y="2884112"/>
                </a:lnTo>
                <a:lnTo>
                  <a:pt x="3985815" y="2883787"/>
                </a:lnTo>
                <a:lnTo>
                  <a:pt x="3973010" y="2891690"/>
                </a:lnTo>
                <a:lnTo>
                  <a:pt x="3970948" y="2892015"/>
                </a:lnTo>
                <a:lnTo>
                  <a:pt x="3970948" y="2892015"/>
                </a:lnTo>
                <a:lnTo>
                  <a:pt x="3958036" y="2893747"/>
                </a:lnTo>
                <a:lnTo>
                  <a:pt x="3946641" y="2899161"/>
                </a:lnTo>
                <a:lnTo>
                  <a:pt x="3934162" y="2909663"/>
                </a:lnTo>
                <a:lnTo>
                  <a:pt x="3919621" y="2910855"/>
                </a:lnTo>
                <a:lnTo>
                  <a:pt x="3899002" y="2920815"/>
                </a:lnTo>
                <a:lnTo>
                  <a:pt x="3889670" y="2916593"/>
                </a:lnTo>
                <a:lnTo>
                  <a:pt x="3876756" y="2914861"/>
                </a:lnTo>
                <a:lnTo>
                  <a:pt x="3875563" y="2912587"/>
                </a:lnTo>
                <a:lnTo>
                  <a:pt x="3875563" y="2912586"/>
                </a:lnTo>
                <a:lnTo>
                  <a:pt x="3872090" y="2906415"/>
                </a:lnTo>
                <a:lnTo>
                  <a:pt x="3867533" y="2907498"/>
                </a:lnTo>
                <a:lnTo>
                  <a:pt x="3866447" y="2913344"/>
                </a:lnTo>
                <a:lnTo>
                  <a:pt x="3855488" y="2908148"/>
                </a:lnTo>
                <a:lnTo>
                  <a:pt x="3843550" y="2911937"/>
                </a:lnTo>
                <a:lnTo>
                  <a:pt x="3811863" y="2912154"/>
                </a:lnTo>
                <a:lnTo>
                  <a:pt x="3802857" y="2913344"/>
                </a:lnTo>
                <a:lnTo>
                  <a:pt x="3802640" y="2915727"/>
                </a:lnTo>
                <a:lnTo>
                  <a:pt x="3786145" y="2921898"/>
                </a:lnTo>
                <a:lnTo>
                  <a:pt x="3784409" y="2924172"/>
                </a:lnTo>
                <a:lnTo>
                  <a:pt x="3779091" y="2924172"/>
                </a:lnTo>
                <a:lnTo>
                  <a:pt x="3770844" y="2931426"/>
                </a:lnTo>
                <a:lnTo>
                  <a:pt x="3768565" y="2930560"/>
                </a:lnTo>
                <a:lnTo>
                  <a:pt x="3768348" y="2924930"/>
                </a:lnTo>
                <a:lnTo>
                  <a:pt x="3766070" y="2921140"/>
                </a:lnTo>
                <a:lnTo>
                  <a:pt x="3768131" y="2915619"/>
                </a:lnTo>
                <a:lnTo>
                  <a:pt x="3766503" y="2911937"/>
                </a:lnTo>
                <a:lnTo>
                  <a:pt x="3767697" y="2907823"/>
                </a:lnTo>
                <a:lnTo>
                  <a:pt x="3769759" y="2904792"/>
                </a:lnTo>
                <a:lnTo>
                  <a:pt x="3768131" y="2901868"/>
                </a:lnTo>
                <a:lnTo>
                  <a:pt x="3771387" y="2899270"/>
                </a:lnTo>
                <a:lnTo>
                  <a:pt x="3769976" y="2894505"/>
                </a:lnTo>
                <a:lnTo>
                  <a:pt x="3766720" y="2894289"/>
                </a:lnTo>
                <a:lnTo>
                  <a:pt x="3763357" y="2892015"/>
                </a:lnTo>
                <a:lnTo>
                  <a:pt x="3761729" y="2887143"/>
                </a:lnTo>
                <a:lnTo>
                  <a:pt x="3758691" y="2885844"/>
                </a:lnTo>
                <a:lnTo>
                  <a:pt x="3757563" y="2886094"/>
                </a:lnTo>
                <a:lnTo>
                  <a:pt x="3758690" y="2885844"/>
                </a:lnTo>
                <a:lnTo>
                  <a:pt x="3761728" y="2887144"/>
                </a:lnTo>
                <a:lnTo>
                  <a:pt x="3763356" y="2892015"/>
                </a:lnTo>
                <a:lnTo>
                  <a:pt x="3766720" y="2894289"/>
                </a:lnTo>
                <a:lnTo>
                  <a:pt x="3769975" y="2894506"/>
                </a:lnTo>
                <a:lnTo>
                  <a:pt x="3771386" y="2899270"/>
                </a:lnTo>
                <a:lnTo>
                  <a:pt x="3768130" y="2901868"/>
                </a:lnTo>
                <a:lnTo>
                  <a:pt x="3769759" y="2904792"/>
                </a:lnTo>
                <a:lnTo>
                  <a:pt x="3767697" y="2907823"/>
                </a:lnTo>
                <a:lnTo>
                  <a:pt x="3766503" y="2911937"/>
                </a:lnTo>
                <a:lnTo>
                  <a:pt x="3768130" y="2915619"/>
                </a:lnTo>
                <a:lnTo>
                  <a:pt x="3766069" y="2921140"/>
                </a:lnTo>
                <a:lnTo>
                  <a:pt x="3768347" y="2924930"/>
                </a:lnTo>
                <a:lnTo>
                  <a:pt x="3768565" y="2930560"/>
                </a:lnTo>
                <a:lnTo>
                  <a:pt x="3744909" y="2922007"/>
                </a:lnTo>
                <a:lnTo>
                  <a:pt x="3726678" y="2908473"/>
                </a:lnTo>
                <a:lnTo>
                  <a:pt x="3721578" y="2907931"/>
                </a:lnTo>
                <a:lnTo>
                  <a:pt x="3706819" y="2893207"/>
                </a:lnTo>
                <a:lnTo>
                  <a:pt x="3705734" y="2892448"/>
                </a:lnTo>
                <a:lnTo>
                  <a:pt x="3696836" y="2886493"/>
                </a:lnTo>
                <a:lnTo>
                  <a:pt x="3693255" y="2886277"/>
                </a:lnTo>
                <a:lnTo>
                  <a:pt x="3687069" y="2877616"/>
                </a:lnTo>
                <a:lnTo>
                  <a:pt x="3683054" y="2875883"/>
                </a:lnTo>
                <a:lnTo>
                  <a:pt x="3684899" y="2872418"/>
                </a:lnTo>
                <a:lnTo>
                  <a:pt x="3684139" y="2871985"/>
                </a:lnTo>
                <a:lnTo>
                  <a:pt x="3681318" y="2870469"/>
                </a:lnTo>
                <a:lnTo>
                  <a:pt x="3675133" y="2870469"/>
                </a:lnTo>
                <a:lnTo>
                  <a:pt x="3675133" y="2870470"/>
                </a:lnTo>
                <a:lnTo>
                  <a:pt x="3672203" y="2870470"/>
                </a:lnTo>
                <a:lnTo>
                  <a:pt x="3659507" y="2863865"/>
                </a:lnTo>
                <a:lnTo>
                  <a:pt x="3654082" y="2862458"/>
                </a:lnTo>
                <a:lnTo>
                  <a:pt x="3655383" y="2859643"/>
                </a:lnTo>
                <a:lnTo>
                  <a:pt x="3652020" y="2855745"/>
                </a:lnTo>
                <a:lnTo>
                  <a:pt x="3648981" y="2852821"/>
                </a:lnTo>
                <a:lnTo>
                  <a:pt x="3650934" y="2848707"/>
                </a:lnTo>
                <a:lnTo>
                  <a:pt x="3650825" y="2847625"/>
                </a:lnTo>
                <a:lnTo>
                  <a:pt x="3646051" y="2849465"/>
                </a:lnTo>
                <a:lnTo>
                  <a:pt x="3640734" y="2843727"/>
                </a:lnTo>
                <a:lnTo>
                  <a:pt x="3640734" y="2838313"/>
                </a:lnTo>
                <a:lnTo>
                  <a:pt x="3638238" y="2830735"/>
                </a:lnTo>
                <a:lnTo>
                  <a:pt x="3633680" y="2829976"/>
                </a:lnTo>
                <a:lnTo>
                  <a:pt x="3631944" y="2826187"/>
                </a:lnTo>
                <a:lnTo>
                  <a:pt x="3635199" y="2820124"/>
                </a:lnTo>
                <a:lnTo>
                  <a:pt x="3631727" y="2818283"/>
                </a:lnTo>
                <a:lnTo>
                  <a:pt x="3632052" y="2814710"/>
                </a:lnTo>
                <a:lnTo>
                  <a:pt x="3634657" y="2810162"/>
                </a:lnTo>
                <a:lnTo>
                  <a:pt x="3634331" y="2809947"/>
                </a:lnTo>
                <a:lnTo>
                  <a:pt x="3638130" y="2809621"/>
                </a:lnTo>
                <a:lnTo>
                  <a:pt x="3645509" y="2805832"/>
                </a:lnTo>
                <a:lnTo>
                  <a:pt x="3645509" y="2802584"/>
                </a:lnTo>
                <a:lnTo>
                  <a:pt x="3652128" y="2796845"/>
                </a:lnTo>
                <a:lnTo>
                  <a:pt x="3655818" y="2792731"/>
                </a:lnTo>
                <a:lnTo>
                  <a:pt x="3662003" y="2790133"/>
                </a:lnTo>
                <a:lnTo>
                  <a:pt x="3682187" y="2790133"/>
                </a:lnTo>
                <a:lnTo>
                  <a:pt x="3682187" y="2790132"/>
                </a:lnTo>
                <a:lnTo>
                  <a:pt x="3662002" y="2790132"/>
                </a:lnTo>
                <a:lnTo>
                  <a:pt x="3655817" y="2792731"/>
                </a:lnTo>
                <a:lnTo>
                  <a:pt x="3652127" y="2796845"/>
                </a:lnTo>
                <a:lnTo>
                  <a:pt x="3645508" y="2802583"/>
                </a:lnTo>
                <a:lnTo>
                  <a:pt x="3645508" y="2805831"/>
                </a:lnTo>
                <a:lnTo>
                  <a:pt x="3638129" y="2809621"/>
                </a:lnTo>
                <a:lnTo>
                  <a:pt x="3634331" y="2809946"/>
                </a:lnTo>
                <a:lnTo>
                  <a:pt x="3630858" y="2807131"/>
                </a:lnTo>
                <a:lnTo>
                  <a:pt x="3624347" y="2803666"/>
                </a:lnTo>
                <a:lnTo>
                  <a:pt x="3622502" y="2796412"/>
                </a:lnTo>
                <a:lnTo>
                  <a:pt x="3617402" y="2796304"/>
                </a:lnTo>
                <a:lnTo>
                  <a:pt x="3615232" y="2794138"/>
                </a:lnTo>
                <a:lnTo>
                  <a:pt x="3615449" y="2790349"/>
                </a:lnTo>
                <a:lnTo>
                  <a:pt x="3617294" y="2788508"/>
                </a:lnTo>
                <a:lnTo>
                  <a:pt x="3613279" y="2786668"/>
                </a:lnTo>
                <a:lnTo>
                  <a:pt x="3611108" y="2789808"/>
                </a:lnTo>
                <a:lnTo>
                  <a:pt x="3607527" y="2788400"/>
                </a:lnTo>
                <a:lnTo>
                  <a:pt x="3602102" y="2787967"/>
                </a:lnTo>
                <a:lnTo>
                  <a:pt x="3596676" y="2780604"/>
                </a:lnTo>
                <a:lnTo>
                  <a:pt x="3598846" y="2771727"/>
                </a:lnTo>
                <a:lnTo>
                  <a:pt x="3595048" y="2767612"/>
                </a:lnTo>
                <a:lnTo>
                  <a:pt x="3594614" y="2767721"/>
                </a:lnTo>
                <a:lnTo>
                  <a:pt x="3594614" y="2767720"/>
                </a:lnTo>
                <a:lnTo>
                  <a:pt x="3588862" y="2769344"/>
                </a:lnTo>
                <a:lnTo>
                  <a:pt x="3587777" y="2767937"/>
                </a:lnTo>
                <a:lnTo>
                  <a:pt x="3588103" y="2763931"/>
                </a:lnTo>
                <a:lnTo>
                  <a:pt x="3578011" y="2765014"/>
                </a:lnTo>
                <a:lnTo>
                  <a:pt x="3583654" y="2758950"/>
                </a:lnTo>
                <a:lnTo>
                  <a:pt x="3580941" y="2758734"/>
                </a:lnTo>
                <a:lnTo>
                  <a:pt x="3582351" y="2756569"/>
                </a:lnTo>
                <a:lnTo>
                  <a:pt x="3580182" y="2754187"/>
                </a:lnTo>
                <a:lnTo>
                  <a:pt x="3576166" y="2753753"/>
                </a:lnTo>
                <a:lnTo>
                  <a:pt x="3574755" y="2751696"/>
                </a:lnTo>
                <a:lnTo>
                  <a:pt x="3586692" y="2751479"/>
                </a:lnTo>
                <a:lnTo>
                  <a:pt x="3588646" y="2750072"/>
                </a:lnTo>
                <a:lnTo>
                  <a:pt x="3582135" y="2746499"/>
                </a:lnTo>
                <a:lnTo>
                  <a:pt x="3576383" y="2747690"/>
                </a:lnTo>
                <a:lnTo>
                  <a:pt x="3570197" y="2749964"/>
                </a:lnTo>
                <a:lnTo>
                  <a:pt x="3567484" y="2749422"/>
                </a:lnTo>
                <a:lnTo>
                  <a:pt x="3566291" y="2746824"/>
                </a:lnTo>
                <a:lnTo>
                  <a:pt x="3561408" y="2746499"/>
                </a:lnTo>
                <a:lnTo>
                  <a:pt x="3557067" y="2742169"/>
                </a:lnTo>
                <a:lnTo>
                  <a:pt x="3561408" y="2738920"/>
                </a:lnTo>
                <a:lnTo>
                  <a:pt x="3558152" y="2738595"/>
                </a:lnTo>
                <a:lnTo>
                  <a:pt x="3550122" y="2738163"/>
                </a:lnTo>
                <a:lnTo>
                  <a:pt x="3548169" y="2734589"/>
                </a:lnTo>
                <a:lnTo>
                  <a:pt x="3548169" y="2734481"/>
                </a:lnTo>
                <a:lnTo>
                  <a:pt x="3554029" y="2736322"/>
                </a:lnTo>
                <a:lnTo>
                  <a:pt x="3554029" y="2736322"/>
                </a:lnTo>
                <a:lnTo>
                  <a:pt x="3548169" y="2734481"/>
                </a:lnTo>
                <a:lnTo>
                  <a:pt x="3548386" y="2729826"/>
                </a:lnTo>
                <a:lnTo>
                  <a:pt x="3546541" y="2728310"/>
                </a:lnTo>
                <a:lnTo>
                  <a:pt x="3550556" y="2729393"/>
                </a:lnTo>
                <a:lnTo>
                  <a:pt x="3553052" y="2730259"/>
                </a:lnTo>
                <a:lnTo>
                  <a:pt x="3558261" y="2727010"/>
                </a:lnTo>
                <a:lnTo>
                  <a:pt x="3550122" y="2724087"/>
                </a:lnTo>
                <a:lnTo>
                  <a:pt x="3544696" y="2727010"/>
                </a:lnTo>
                <a:lnTo>
                  <a:pt x="3543503" y="2725170"/>
                </a:lnTo>
                <a:lnTo>
                  <a:pt x="3545781" y="2722679"/>
                </a:lnTo>
                <a:lnTo>
                  <a:pt x="3545781" y="2717266"/>
                </a:lnTo>
                <a:lnTo>
                  <a:pt x="3548278" y="2714776"/>
                </a:lnTo>
                <a:lnTo>
                  <a:pt x="3562927" y="2714776"/>
                </a:lnTo>
                <a:lnTo>
                  <a:pt x="3567051" y="2710120"/>
                </a:lnTo>
                <a:lnTo>
                  <a:pt x="3571500" y="2708930"/>
                </a:lnTo>
                <a:lnTo>
                  <a:pt x="3576709" y="2705465"/>
                </a:lnTo>
                <a:lnTo>
                  <a:pt x="3577143" y="2705577"/>
                </a:lnTo>
                <a:lnTo>
                  <a:pt x="3576708" y="2705464"/>
                </a:lnTo>
                <a:lnTo>
                  <a:pt x="3571499" y="2708929"/>
                </a:lnTo>
                <a:lnTo>
                  <a:pt x="3567050" y="2710120"/>
                </a:lnTo>
                <a:lnTo>
                  <a:pt x="3562926" y="2714776"/>
                </a:lnTo>
                <a:lnTo>
                  <a:pt x="3548276" y="2714776"/>
                </a:lnTo>
                <a:lnTo>
                  <a:pt x="3545781" y="2717266"/>
                </a:lnTo>
                <a:lnTo>
                  <a:pt x="3545781" y="2715425"/>
                </a:lnTo>
                <a:lnTo>
                  <a:pt x="3543068" y="2712069"/>
                </a:lnTo>
                <a:lnTo>
                  <a:pt x="3547300" y="2707847"/>
                </a:lnTo>
                <a:lnTo>
                  <a:pt x="3552183" y="2714018"/>
                </a:lnTo>
                <a:lnTo>
                  <a:pt x="3558694" y="2713801"/>
                </a:lnTo>
                <a:lnTo>
                  <a:pt x="3562275" y="2710445"/>
                </a:lnTo>
                <a:lnTo>
                  <a:pt x="3556849" y="2711852"/>
                </a:lnTo>
                <a:lnTo>
                  <a:pt x="3550664" y="2708821"/>
                </a:lnTo>
                <a:lnTo>
                  <a:pt x="3549579" y="2705140"/>
                </a:lnTo>
                <a:lnTo>
                  <a:pt x="3549579" y="2705140"/>
                </a:lnTo>
                <a:lnTo>
                  <a:pt x="3548929" y="2703191"/>
                </a:lnTo>
                <a:lnTo>
                  <a:pt x="3552184" y="2700809"/>
                </a:lnTo>
                <a:lnTo>
                  <a:pt x="3546216" y="2697020"/>
                </a:lnTo>
                <a:lnTo>
                  <a:pt x="3548169" y="2696695"/>
                </a:lnTo>
                <a:lnTo>
                  <a:pt x="3548169" y="2691823"/>
                </a:lnTo>
                <a:lnTo>
                  <a:pt x="3543720" y="2691065"/>
                </a:lnTo>
                <a:lnTo>
                  <a:pt x="3538402" y="2681862"/>
                </a:lnTo>
                <a:lnTo>
                  <a:pt x="3530264" y="2675366"/>
                </a:lnTo>
                <a:lnTo>
                  <a:pt x="3545239" y="2661723"/>
                </a:lnTo>
                <a:lnTo>
                  <a:pt x="3551424" y="2650464"/>
                </a:lnTo>
                <a:lnTo>
                  <a:pt x="3552510" y="2642668"/>
                </a:lnTo>
                <a:lnTo>
                  <a:pt x="3556525" y="2639637"/>
                </a:lnTo>
                <a:lnTo>
                  <a:pt x="3559997" y="2639637"/>
                </a:lnTo>
                <a:lnTo>
                  <a:pt x="3564772" y="2634981"/>
                </a:lnTo>
                <a:lnTo>
                  <a:pt x="3577685" y="2632924"/>
                </a:lnTo>
                <a:lnTo>
                  <a:pt x="3590056" y="2628160"/>
                </a:lnTo>
                <a:lnTo>
                  <a:pt x="3590056" y="2628160"/>
                </a:lnTo>
                <a:lnTo>
                  <a:pt x="3577685" y="2632923"/>
                </a:lnTo>
                <a:lnTo>
                  <a:pt x="3564772" y="2634981"/>
                </a:lnTo>
                <a:lnTo>
                  <a:pt x="3559997" y="2639636"/>
                </a:lnTo>
                <a:lnTo>
                  <a:pt x="3556524" y="2639636"/>
                </a:lnTo>
                <a:lnTo>
                  <a:pt x="3552509" y="2642668"/>
                </a:lnTo>
                <a:lnTo>
                  <a:pt x="3553811" y="2633032"/>
                </a:lnTo>
                <a:lnTo>
                  <a:pt x="3557609" y="2618199"/>
                </a:lnTo>
                <a:lnTo>
                  <a:pt x="3563361" y="2610079"/>
                </a:lnTo>
                <a:lnTo>
                  <a:pt x="3564988" y="2592971"/>
                </a:lnTo>
                <a:lnTo>
                  <a:pt x="3560322" y="2568178"/>
                </a:lnTo>
                <a:lnTo>
                  <a:pt x="3553378" y="2557675"/>
                </a:lnTo>
                <a:lnTo>
                  <a:pt x="3556091" y="2555727"/>
                </a:lnTo>
                <a:lnTo>
                  <a:pt x="3559346" y="2555727"/>
                </a:lnTo>
                <a:lnTo>
                  <a:pt x="3560974" y="2547606"/>
                </a:lnTo>
                <a:lnTo>
                  <a:pt x="3559237" y="2542518"/>
                </a:lnTo>
                <a:lnTo>
                  <a:pt x="3562275" y="2539486"/>
                </a:lnTo>
                <a:lnTo>
                  <a:pt x="3555439" y="2529200"/>
                </a:lnTo>
                <a:lnTo>
                  <a:pt x="3552509" y="2531582"/>
                </a:lnTo>
                <a:lnTo>
                  <a:pt x="3550556" y="2530500"/>
                </a:lnTo>
                <a:lnTo>
                  <a:pt x="3548494" y="2524761"/>
                </a:lnTo>
                <a:lnTo>
                  <a:pt x="3543285" y="2530608"/>
                </a:lnTo>
                <a:lnTo>
                  <a:pt x="3542960" y="2521405"/>
                </a:lnTo>
                <a:lnTo>
                  <a:pt x="3545239" y="2516207"/>
                </a:lnTo>
                <a:lnTo>
                  <a:pt x="3545239" y="2515233"/>
                </a:lnTo>
                <a:lnTo>
                  <a:pt x="3640950" y="2514367"/>
                </a:lnTo>
                <a:lnTo>
                  <a:pt x="3640950" y="2514366"/>
                </a:lnTo>
                <a:lnTo>
                  <a:pt x="3545238" y="2515233"/>
                </a:lnTo>
                <a:lnTo>
                  <a:pt x="3544696" y="2507329"/>
                </a:lnTo>
                <a:lnTo>
                  <a:pt x="3547300" y="2502349"/>
                </a:lnTo>
                <a:lnTo>
                  <a:pt x="3546866" y="2496394"/>
                </a:lnTo>
                <a:lnTo>
                  <a:pt x="3550339" y="2492712"/>
                </a:lnTo>
                <a:lnTo>
                  <a:pt x="3553269" y="2492063"/>
                </a:lnTo>
                <a:lnTo>
                  <a:pt x="3560865" y="2478204"/>
                </a:lnTo>
                <a:lnTo>
                  <a:pt x="3564988" y="2476580"/>
                </a:lnTo>
                <a:lnTo>
                  <a:pt x="3562058" y="2474415"/>
                </a:lnTo>
                <a:lnTo>
                  <a:pt x="3562493" y="2472033"/>
                </a:lnTo>
                <a:lnTo>
                  <a:pt x="3572042" y="2459365"/>
                </a:lnTo>
                <a:lnTo>
                  <a:pt x="3571499" y="2455792"/>
                </a:lnTo>
                <a:lnTo>
                  <a:pt x="3577468" y="2442800"/>
                </a:lnTo>
                <a:lnTo>
                  <a:pt x="3580940" y="2440959"/>
                </a:lnTo>
                <a:lnTo>
                  <a:pt x="3592117" y="2430565"/>
                </a:lnTo>
                <a:lnTo>
                  <a:pt x="3592986" y="2423636"/>
                </a:lnTo>
                <a:lnTo>
                  <a:pt x="3607636" y="2402415"/>
                </a:lnTo>
                <a:lnTo>
                  <a:pt x="3605682" y="2396244"/>
                </a:lnTo>
                <a:lnTo>
                  <a:pt x="3612193" y="2392455"/>
                </a:lnTo>
                <a:lnTo>
                  <a:pt x="3613821" y="2387690"/>
                </a:lnTo>
                <a:lnTo>
                  <a:pt x="3630424" y="2379137"/>
                </a:lnTo>
                <a:lnTo>
                  <a:pt x="3634765" y="2378921"/>
                </a:lnTo>
                <a:lnTo>
                  <a:pt x="3634765" y="2369501"/>
                </a:lnTo>
                <a:lnTo>
                  <a:pt x="3644097" y="2356617"/>
                </a:lnTo>
                <a:lnTo>
                  <a:pt x="3644097" y="2356617"/>
                </a:lnTo>
                <a:lnTo>
                  <a:pt x="3649848" y="2348605"/>
                </a:lnTo>
                <a:lnTo>
                  <a:pt x="3673179" y="2344274"/>
                </a:lnTo>
                <a:lnTo>
                  <a:pt x="3689782" y="2329333"/>
                </a:lnTo>
                <a:lnTo>
                  <a:pt x="3697378" y="2328575"/>
                </a:lnTo>
                <a:lnTo>
                  <a:pt x="3704215" y="2321213"/>
                </a:lnTo>
                <a:lnTo>
                  <a:pt x="3705843" y="2314500"/>
                </a:lnTo>
                <a:lnTo>
                  <a:pt x="3720927" y="2297501"/>
                </a:lnTo>
                <a:lnTo>
                  <a:pt x="3722554" y="2290681"/>
                </a:lnTo>
                <a:lnTo>
                  <a:pt x="3719841" y="2287216"/>
                </a:lnTo>
                <a:lnTo>
                  <a:pt x="3717779" y="2285267"/>
                </a:lnTo>
                <a:lnTo>
                  <a:pt x="3720927" y="2276389"/>
                </a:lnTo>
                <a:lnTo>
                  <a:pt x="3716911" y="2268485"/>
                </a:lnTo>
                <a:lnTo>
                  <a:pt x="3717237" y="2263179"/>
                </a:lnTo>
                <a:lnTo>
                  <a:pt x="3723422" y="2250620"/>
                </a:lnTo>
                <a:lnTo>
                  <a:pt x="3732972" y="2241959"/>
                </a:lnTo>
                <a:lnTo>
                  <a:pt x="3733623" y="2236220"/>
                </a:lnTo>
                <a:lnTo>
                  <a:pt x="3729825" y="2227884"/>
                </a:lnTo>
                <a:lnTo>
                  <a:pt x="3740785" y="2220088"/>
                </a:lnTo>
                <a:lnTo>
                  <a:pt x="3744149" y="2214999"/>
                </a:lnTo>
                <a:lnTo>
                  <a:pt x="3750009" y="2213050"/>
                </a:lnTo>
                <a:lnTo>
                  <a:pt x="3759450" y="2206770"/>
                </a:lnTo>
                <a:lnTo>
                  <a:pt x="3761946" y="2206662"/>
                </a:lnTo>
                <a:lnTo>
                  <a:pt x="3768565" y="2199625"/>
                </a:lnTo>
                <a:lnTo>
                  <a:pt x="3777355" y="2196701"/>
                </a:lnTo>
                <a:lnTo>
                  <a:pt x="3782672" y="2193020"/>
                </a:lnTo>
                <a:lnTo>
                  <a:pt x="3785168" y="2192803"/>
                </a:lnTo>
                <a:lnTo>
                  <a:pt x="3796020" y="2182735"/>
                </a:lnTo>
                <a:lnTo>
                  <a:pt x="3799167" y="2176563"/>
                </a:lnTo>
                <a:lnTo>
                  <a:pt x="3800252" y="2166711"/>
                </a:lnTo>
                <a:lnTo>
                  <a:pt x="3805461" y="2159997"/>
                </a:lnTo>
                <a:lnTo>
                  <a:pt x="3806438" y="2147005"/>
                </a:lnTo>
                <a:lnTo>
                  <a:pt x="3810995" y="2142024"/>
                </a:lnTo>
                <a:lnTo>
                  <a:pt x="3814793" y="2142350"/>
                </a:lnTo>
                <a:lnTo>
                  <a:pt x="3816747" y="2140509"/>
                </a:lnTo>
                <a:lnTo>
                  <a:pt x="3821413" y="2138885"/>
                </a:lnTo>
                <a:lnTo>
                  <a:pt x="3822824" y="2140726"/>
                </a:lnTo>
                <a:lnTo>
                  <a:pt x="3821956" y="2142024"/>
                </a:lnTo>
                <a:lnTo>
                  <a:pt x="3821956" y="2144732"/>
                </a:lnTo>
                <a:lnTo>
                  <a:pt x="3823040" y="2148521"/>
                </a:lnTo>
                <a:lnTo>
                  <a:pt x="3825645" y="2150470"/>
                </a:lnTo>
                <a:lnTo>
                  <a:pt x="3832156" y="2157507"/>
                </a:lnTo>
                <a:lnTo>
                  <a:pt x="3837474" y="2158590"/>
                </a:lnTo>
                <a:lnTo>
                  <a:pt x="3844635" y="2157507"/>
                </a:lnTo>
                <a:lnTo>
                  <a:pt x="3849627" y="2154909"/>
                </a:lnTo>
                <a:lnTo>
                  <a:pt x="3853642" y="2155234"/>
                </a:lnTo>
                <a:lnTo>
                  <a:pt x="3861347" y="2157291"/>
                </a:lnTo>
                <a:lnTo>
                  <a:pt x="3868943" y="2155775"/>
                </a:lnTo>
                <a:lnTo>
                  <a:pt x="3873176" y="2151119"/>
                </a:lnTo>
                <a:lnTo>
                  <a:pt x="3873393" y="2151119"/>
                </a:lnTo>
                <a:lnTo>
                  <a:pt x="3875020" y="2151661"/>
                </a:lnTo>
                <a:lnTo>
                  <a:pt x="3876322" y="2156208"/>
                </a:lnTo>
                <a:lnTo>
                  <a:pt x="3879360" y="2159240"/>
                </a:lnTo>
                <a:lnTo>
                  <a:pt x="3892926" y="2160322"/>
                </a:lnTo>
                <a:lnTo>
                  <a:pt x="3896289" y="2160215"/>
                </a:lnTo>
                <a:lnTo>
                  <a:pt x="3897917" y="2162596"/>
                </a:lnTo>
                <a:lnTo>
                  <a:pt x="3899111" y="2165519"/>
                </a:lnTo>
                <a:lnTo>
                  <a:pt x="3901932" y="2168984"/>
                </a:lnTo>
                <a:lnTo>
                  <a:pt x="3902475" y="2173315"/>
                </a:lnTo>
                <a:lnTo>
                  <a:pt x="3901933" y="2168984"/>
                </a:lnTo>
                <a:lnTo>
                  <a:pt x="3899111" y="2165519"/>
                </a:lnTo>
                <a:lnTo>
                  <a:pt x="3897918" y="2162596"/>
                </a:lnTo>
                <a:lnTo>
                  <a:pt x="3896289" y="2160214"/>
                </a:lnTo>
                <a:lnTo>
                  <a:pt x="3902692" y="2159890"/>
                </a:lnTo>
                <a:lnTo>
                  <a:pt x="3909963" y="2157508"/>
                </a:lnTo>
                <a:lnTo>
                  <a:pt x="3914629" y="2152527"/>
                </a:lnTo>
                <a:lnTo>
                  <a:pt x="3915389" y="2149712"/>
                </a:lnTo>
                <a:lnTo>
                  <a:pt x="3918427" y="2147005"/>
                </a:lnTo>
                <a:lnTo>
                  <a:pt x="3924070" y="2144082"/>
                </a:lnTo>
                <a:lnTo>
                  <a:pt x="3930798" y="2143649"/>
                </a:lnTo>
                <a:lnTo>
                  <a:pt x="3932209" y="2141808"/>
                </a:lnTo>
                <a:lnTo>
                  <a:pt x="3934704" y="2139968"/>
                </a:lnTo>
                <a:lnTo>
                  <a:pt x="3938177" y="2139860"/>
                </a:lnTo>
                <a:lnTo>
                  <a:pt x="3939697" y="2141376"/>
                </a:lnTo>
                <a:lnTo>
                  <a:pt x="3942301" y="2141376"/>
                </a:lnTo>
                <a:lnTo>
                  <a:pt x="3945231" y="2137478"/>
                </a:lnTo>
                <a:lnTo>
                  <a:pt x="3945557" y="2133796"/>
                </a:lnTo>
                <a:lnTo>
                  <a:pt x="3951199" y="2130223"/>
                </a:lnTo>
                <a:lnTo>
                  <a:pt x="3954563" y="2130223"/>
                </a:lnTo>
                <a:lnTo>
                  <a:pt x="3961292" y="2129249"/>
                </a:lnTo>
                <a:lnTo>
                  <a:pt x="3972902" y="2120371"/>
                </a:lnTo>
                <a:lnTo>
                  <a:pt x="3978112" y="2121129"/>
                </a:lnTo>
                <a:lnTo>
                  <a:pt x="3987335" y="2120695"/>
                </a:lnTo>
                <a:lnTo>
                  <a:pt x="3992327" y="2118964"/>
                </a:lnTo>
                <a:lnTo>
                  <a:pt x="3997971" y="2121995"/>
                </a:lnTo>
                <a:lnTo>
                  <a:pt x="4001551" y="2122211"/>
                </a:lnTo>
                <a:lnTo>
                  <a:pt x="4007737" y="2116256"/>
                </a:lnTo>
                <a:lnTo>
                  <a:pt x="4012294" y="2118097"/>
                </a:lnTo>
                <a:lnTo>
                  <a:pt x="4017286" y="2118097"/>
                </a:lnTo>
                <a:lnTo>
                  <a:pt x="4019674" y="2113225"/>
                </a:lnTo>
                <a:lnTo>
                  <a:pt x="4022712" y="2112467"/>
                </a:lnTo>
                <a:lnTo>
                  <a:pt x="4027161" y="2113875"/>
                </a:lnTo>
                <a:lnTo>
                  <a:pt x="4029440" y="2113333"/>
                </a:lnTo>
                <a:lnTo>
                  <a:pt x="4034541" y="2114091"/>
                </a:lnTo>
                <a:lnTo>
                  <a:pt x="4040834" y="2113009"/>
                </a:lnTo>
                <a:lnTo>
                  <a:pt x="4043764" y="2113875"/>
                </a:lnTo>
                <a:lnTo>
                  <a:pt x="4050275" y="2114307"/>
                </a:lnTo>
                <a:lnTo>
                  <a:pt x="4053314" y="2119180"/>
                </a:lnTo>
                <a:lnTo>
                  <a:pt x="4058740" y="2119180"/>
                </a:lnTo>
                <a:lnTo>
                  <a:pt x="4063623" y="2115390"/>
                </a:lnTo>
                <a:lnTo>
                  <a:pt x="4067421" y="2115390"/>
                </a:lnTo>
                <a:lnTo>
                  <a:pt x="4070567" y="2116581"/>
                </a:lnTo>
                <a:lnTo>
                  <a:pt x="4072629" y="2113009"/>
                </a:lnTo>
                <a:lnTo>
                  <a:pt x="4077513" y="2112142"/>
                </a:lnTo>
                <a:lnTo>
                  <a:pt x="4077947" y="2108786"/>
                </a:lnTo>
                <a:lnTo>
                  <a:pt x="4083590" y="2107595"/>
                </a:lnTo>
                <a:lnTo>
                  <a:pt x="4086954" y="2110085"/>
                </a:lnTo>
                <a:lnTo>
                  <a:pt x="4087496" y="2113875"/>
                </a:lnTo>
                <a:lnTo>
                  <a:pt x="4095636" y="2114849"/>
                </a:lnTo>
                <a:lnTo>
                  <a:pt x="4099867" y="2110843"/>
                </a:lnTo>
                <a:lnTo>
                  <a:pt x="4099976" y="2108353"/>
                </a:lnTo>
                <a:lnTo>
                  <a:pt x="4106487" y="2110626"/>
                </a:lnTo>
                <a:lnTo>
                  <a:pt x="4111696" y="2115174"/>
                </a:lnTo>
                <a:lnTo>
                  <a:pt x="4121896" y="2112250"/>
                </a:lnTo>
                <a:lnTo>
                  <a:pt x="4125478" y="2113009"/>
                </a:lnTo>
                <a:lnTo>
                  <a:pt x="4132206" y="2111709"/>
                </a:lnTo>
                <a:lnTo>
                  <a:pt x="4133398" y="2113224"/>
                </a:lnTo>
                <a:lnTo>
                  <a:pt x="4139584" y="2107811"/>
                </a:lnTo>
                <a:lnTo>
                  <a:pt x="4148265" y="2103480"/>
                </a:lnTo>
                <a:lnTo>
                  <a:pt x="4154559" y="2102181"/>
                </a:lnTo>
                <a:lnTo>
                  <a:pt x="4157164" y="2105537"/>
                </a:lnTo>
                <a:lnTo>
                  <a:pt x="4157380" y="2102506"/>
                </a:lnTo>
                <a:lnTo>
                  <a:pt x="4162589" y="2101423"/>
                </a:lnTo>
                <a:lnTo>
                  <a:pt x="4165628" y="2104129"/>
                </a:lnTo>
                <a:lnTo>
                  <a:pt x="4165085" y="2108352"/>
                </a:lnTo>
                <a:lnTo>
                  <a:pt x="4167473" y="2109218"/>
                </a:lnTo>
                <a:lnTo>
                  <a:pt x="4171053" y="2117339"/>
                </a:lnTo>
                <a:lnTo>
                  <a:pt x="4173441" y="2118746"/>
                </a:lnTo>
                <a:lnTo>
                  <a:pt x="4176263" y="2115715"/>
                </a:lnTo>
                <a:lnTo>
                  <a:pt x="4184835" y="2107919"/>
                </a:lnTo>
                <a:lnTo>
                  <a:pt x="4187005" y="2109543"/>
                </a:lnTo>
                <a:lnTo>
                  <a:pt x="4187005" y="2114307"/>
                </a:lnTo>
                <a:lnTo>
                  <a:pt x="4182230" y="2121345"/>
                </a:lnTo>
                <a:lnTo>
                  <a:pt x="4181905" y="2125567"/>
                </a:lnTo>
                <a:lnTo>
                  <a:pt x="4176154" y="2129573"/>
                </a:lnTo>
                <a:lnTo>
                  <a:pt x="4175069" y="2135961"/>
                </a:lnTo>
                <a:lnTo>
                  <a:pt x="4180820" y="2143649"/>
                </a:lnTo>
                <a:lnTo>
                  <a:pt x="4187874" y="2146355"/>
                </a:lnTo>
                <a:lnTo>
                  <a:pt x="4187656" y="2154151"/>
                </a:lnTo>
                <a:lnTo>
                  <a:pt x="4189501" y="2155342"/>
                </a:lnTo>
                <a:lnTo>
                  <a:pt x="4190369" y="2158806"/>
                </a:lnTo>
                <a:lnTo>
                  <a:pt x="4187874" y="2161513"/>
                </a:lnTo>
                <a:lnTo>
                  <a:pt x="4189827" y="2164220"/>
                </a:lnTo>
                <a:lnTo>
                  <a:pt x="4188091" y="2166385"/>
                </a:lnTo>
                <a:lnTo>
                  <a:pt x="4181145" y="2173314"/>
                </a:lnTo>
                <a:lnTo>
                  <a:pt x="4169209" y="2181543"/>
                </a:lnTo>
                <a:lnTo>
                  <a:pt x="4166930" y="2188581"/>
                </a:lnTo>
                <a:lnTo>
                  <a:pt x="4170728" y="2195510"/>
                </a:lnTo>
                <a:lnTo>
                  <a:pt x="4178324" y="2200707"/>
                </a:lnTo>
                <a:lnTo>
                  <a:pt x="4181797" y="2199949"/>
                </a:lnTo>
                <a:lnTo>
                  <a:pt x="4182774" y="2203630"/>
                </a:lnTo>
                <a:lnTo>
                  <a:pt x="4186029" y="2205038"/>
                </a:lnTo>
                <a:lnTo>
                  <a:pt x="4187874" y="2203630"/>
                </a:lnTo>
                <a:lnTo>
                  <a:pt x="4187548" y="2201789"/>
                </a:lnTo>
                <a:lnTo>
                  <a:pt x="4188959" y="2200707"/>
                </a:lnTo>
                <a:lnTo>
                  <a:pt x="4192540" y="2202656"/>
                </a:lnTo>
                <a:lnTo>
                  <a:pt x="4192757" y="2206120"/>
                </a:lnTo>
                <a:lnTo>
                  <a:pt x="4193516" y="2208611"/>
                </a:lnTo>
                <a:lnTo>
                  <a:pt x="4200570" y="2212942"/>
                </a:lnTo>
                <a:lnTo>
                  <a:pt x="4203392" y="2213483"/>
                </a:lnTo>
                <a:lnTo>
                  <a:pt x="4202523" y="2215540"/>
                </a:lnTo>
                <a:lnTo>
                  <a:pt x="4203373" y="2220344"/>
                </a:lnTo>
                <a:lnTo>
                  <a:pt x="4202524" y="2215540"/>
                </a:lnTo>
                <a:lnTo>
                  <a:pt x="4203392" y="2213483"/>
                </a:lnTo>
                <a:lnTo>
                  <a:pt x="4208817" y="2214565"/>
                </a:lnTo>
                <a:lnTo>
                  <a:pt x="4213375" y="2218897"/>
                </a:lnTo>
                <a:lnTo>
                  <a:pt x="4225095" y="2221495"/>
                </a:lnTo>
                <a:lnTo>
                  <a:pt x="4241915" y="2218355"/>
                </a:lnTo>
                <a:lnTo>
                  <a:pt x="4249403" y="2221278"/>
                </a:lnTo>
                <a:lnTo>
                  <a:pt x="4262533" y="2221603"/>
                </a:lnTo>
                <a:lnTo>
                  <a:pt x="4270672" y="2226908"/>
                </a:lnTo>
                <a:lnTo>
                  <a:pt x="4286082" y="2229074"/>
                </a:lnTo>
                <a:lnTo>
                  <a:pt x="4292050" y="2236978"/>
                </a:lnTo>
                <a:lnTo>
                  <a:pt x="4291833" y="2244340"/>
                </a:lnTo>
                <a:lnTo>
                  <a:pt x="4299321" y="2258632"/>
                </a:lnTo>
                <a:lnTo>
                  <a:pt x="4307242" y="2262529"/>
                </a:lnTo>
                <a:lnTo>
                  <a:pt x="4316466" y="2262529"/>
                </a:lnTo>
                <a:lnTo>
                  <a:pt x="4318962" y="2261122"/>
                </a:lnTo>
                <a:lnTo>
                  <a:pt x="4326775" y="2262096"/>
                </a:lnTo>
                <a:lnTo>
                  <a:pt x="4344464" y="2269458"/>
                </a:lnTo>
                <a:lnTo>
                  <a:pt x="4355641" y="2275089"/>
                </a:lnTo>
                <a:lnTo>
                  <a:pt x="4362803" y="2280935"/>
                </a:lnTo>
                <a:lnTo>
                  <a:pt x="4371918" y="2288514"/>
                </a:lnTo>
                <a:lnTo>
                  <a:pt x="4382444" y="2292629"/>
                </a:lnTo>
                <a:lnTo>
                  <a:pt x="4387436" y="2290788"/>
                </a:lnTo>
                <a:lnTo>
                  <a:pt x="4395574" y="2283967"/>
                </a:lnTo>
                <a:lnTo>
                  <a:pt x="4396334" y="2281694"/>
                </a:lnTo>
                <a:lnTo>
                  <a:pt x="4402520" y="2275413"/>
                </a:lnTo>
                <a:lnTo>
                  <a:pt x="4404582" y="2270000"/>
                </a:lnTo>
                <a:lnTo>
                  <a:pt x="4401652" y="2260472"/>
                </a:lnTo>
                <a:lnTo>
                  <a:pt x="4397311" y="2253760"/>
                </a:lnTo>
                <a:lnTo>
                  <a:pt x="4398071" y="2241525"/>
                </a:lnTo>
                <a:lnTo>
                  <a:pt x="4401109" y="2239143"/>
                </a:lnTo>
                <a:lnTo>
                  <a:pt x="4402520" y="2232646"/>
                </a:lnTo>
                <a:lnTo>
                  <a:pt x="4408380" y="2227017"/>
                </a:lnTo>
                <a:lnTo>
                  <a:pt x="4418472" y="2222144"/>
                </a:lnTo>
                <a:lnTo>
                  <a:pt x="4430191" y="2221062"/>
                </a:lnTo>
                <a:lnTo>
                  <a:pt x="4437679" y="2217272"/>
                </a:lnTo>
                <a:lnTo>
                  <a:pt x="4439416" y="2217272"/>
                </a:lnTo>
                <a:lnTo>
                  <a:pt x="4444516" y="2219871"/>
                </a:lnTo>
                <a:lnTo>
                  <a:pt x="4447011" y="2217597"/>
                </a:lnTo>
                <a:lnTo>
                  <a:pt x="4449073" y="2218788"/>
                </a:lnTo>
                <a:lnTo>
                  <a:pt x="4457321" y="2220954"/>
                </a:lnTo>
                <a:lnTo>
                  <a:pt x="4462638" y="2220954"/>
                </a:lnTo>
                <a:lnTo>
                  <a:pt x="4472730" y="2226475"/>
                </a:lnTo>
                <a:lnTo>
                  <a:pt x="4472947" y="2229399"/>
                </a:lnTo>
                <a:lnTo>
                  <a:pt x="4471102" y="2230048"/>
                </a:lnTo>
                <a:lnTo>
                  <a:pt x="4472947" y="2232863"/>
                </a:lnTo>
                <a:lnTo>
                  <a:pt x="4481412" y="2235137"/>
                </a:lnTo>
                <a:lnTo>
                  <a:pt x="4487705" y="2235678"/>
                </a:lnTo>
                <a:lnTo>
                  <a:pt x="4490961" y="2238601"/>
                </a:lnTo>
                <a:lnTo>
                  <a:pt x="4507130" y="2240550"/>
                </a:lnTo>
                <a:lnTo>
                  <a:pt x="4511471" y="2239901"/>
                </a:lnTo>
                <a:lnTo>
                  <a:pt x="4515811" y="2240550"/>
                </a:lnTo>
                <a:lnTo>
                  <a:pt x="4519176" y="2244340"/>
                </a:lnTo>
                <a:lnTo>
                  <a:pt x="4521345" y="2251052"/>
                </a:lnTo>
                <a:lnTo>
                  <a:pt x="4519826" y="2254950"/>
                </a:lnTo>
                <a:lnTo>
                  <a:pt x="4517764" y="2265019"/>
                </a:lnTo>
                <a:lnTo>
                  <a:pt x="4517764" y="2265020"/>
                </a:lnTo>
                <a:lnTo>
                  <a:pt x="4519826" y="2254951"/>
                </a:lnTo>
                <a:lnTo>
                  <a:pt x="4521345" y="2251053"/>
                </a:lnTo>
                <a:lnTo>
                  <a:pt x="4523733" y="2250295"/>
                </a:lnTo>
                <a:lnTo>
                  <a:pt x="4535669" y="2249754"/>
                </a:lnTo>
                <a:lnTo>
                  <a:pt x="4544893" y="2252786"/>
                </a:lnTo>
                <a:lnTo>
                  <a:pt x="4563558" y="2254301"/>
                </a:lnTo>
                <a:lnTo>
                  <a:pt x="4571263" y="2255925"/>
                </a:lnTo>
                <a:lnTo>
                  <a:pt x="4577991" y="2260581"/>
                </a:lnTo>
                <a:lnTo>
                  <a:pt x="4580812" y="2258849"/>
                </a:lnTo>
                <a:lnTo>
                  <a:pt x="4583634" y="2258849"/>
                </a:lnTo>
                <a:lnTo>
                  <a:pt x="4590470" y="2263180"/>
                </a:lnTo>
                <a:lnTo>
                  <a:pt x="4598609" y="2262530"/>
                </a:lnTo>
                <a:lnTo>
                  <a:pt x="4604252" y="2263180"/>
                </a:lnTo>
                <a:lnTo>
                  <a:pt x="4612934" y="2268593"/>
                </a:lnTo>
                <a:lnTo>
                  <a:pt x="4620855" y="2268593"/>
                </a:lnTo>
                <a:lnTo>
                  <a:pt x="4621723" y="2266319"/>
                </a:lnTo>
                <a:lnTo>
                  <a:pt x="4626823" y="2261556"/>
                </a:lnTo>
                <a:lnTo>
                  <a:pt x="4633009" y="2259498"/>
                </a:lnTo>
                <a:lnTo>
                  <a:pt x="4636047" y="2257874"/>
                </a:lnTo>
                <a:lnTo>
                  <a:pt x="4642450" y="2254409"/>
                </a:lnTo>
                <a:lnTo>
                  <a:pt x="4645271" y="2252352"/>
                </a:lnTo>
                <a:lnTo>
                  <a:pt x="4651999" y="2252136"/>
                </a:lnTo>
                <a:lnTo>
                  <a:pt x="4656882" y="2251595"/>
                </a:lnTo>
                <a:lnTo>
                  <a:pt x="4653084" y="2253111"/>
                </a:lnTo>
                <a:lnTo>
                  <a:pt x="4648418" y="2253760"/>
                </a:lnTo>
                <a:lnTo>
                  <a:pt x="4648309" y="2254843"/>
                </a:lnTo>
                <a:lnTo>
                  <a:pt x="4649937" y="2256466"/>
                </a:lnTo>
                <a:lnTo>
                  <a:pt x="4655255" y="2254301"/>
                </a:lnTo>
                <a:lnTo>
                  <a:pt x="4659704" y="2254843"/>
                </a:lnTo>
                <a:lnTo>
                  <a:pt x="4664261" y="2254301"/>
                </a:lnTo>
                <a:lnTo>
                  <a:pt x="4663502" y="2252678"/>
                </a:lnTo>
                <a:lnTo>
                  <a:pt x="4660138" y="2251919"/>
                </a:lnTo>
                <a:lnTo>
                  <a:pt x="4661331" y="2250512"/>
                </a:lnTo>
                <a:lnTo>
                  <a:pt x="4669470" y="2252678"/>
                </a:lnTo>
                <a:lnTo>
                  <a:pt x="4674354" y="2254301"/>
                </a:lnTo>
                <a:lnTo>
                  <a:pt x="4678368" y="2253760"/>
                </a:lnTo>
                <a:lnTo>
                  <a:pt x="4680322" y="2255709"/>
                </a:lnTo>
                <a:lnTo>
                  <a:pt x="4677935" y="2256792"/>
                </a:lnTo>
                <a:lnTo>
                  <a:pt x="4679128" y="2260906"/>
                </a:lnTo>
                <a:lnTo>
                  <a:pt x="4684012" y="2263613"/>
                </a:lnTo>
                <a:lnTo>
                  <a:pt x="4687267" y="2268593"/>
                </a:lnTo>
                <a:lnTo>
                  <a:pt x="4687376" y="2265453"/>
                </a:lnTo>
                <a:lnTo>
                  <a:pt x="4684120" y="2260581"/>
                </a:lnTo>
                <a:lnTo>
                  <a:pt x="4685205" y="2256466"/>
                </a:lnTo>
                <a:lnTo>
                  <a:pt x="4693887" y="2262638"/>
                </a:lnTo>
                <a:lnTo>
                  <a:pt x="4705932" y="2259390"/>
                </a:lnTo>
                <a:lnTo>
                  <a:pt x="4721124" y="2261880"/>
                </a:lnTo>
                <a:lnTo>
                  <a:pt x="4727636" y="2259390"/>
                </a:lnTo>
                <a:lnTo>
                  <a:pt x="4730674" y="2255276"/>
                </a:lnTo>
                <a:lnTo>
                  <a:pt x="4732482" y="2256070"/>
                </a:lnTo>
                <a:lnTo>
                  <a:pt x="4730674" y="2255275"/>
                </a:lnTo>
                <a:lnTo>
                  <a:pt x="4738162" y="2245315"/>
                </a:lnTo>
                <a:lnTo>
                  <a:pt x="4744998" y="2231565"/>
                </a:lnTo>
                <a:lnTo>
                  <a:pt x="4746843" y="2214241"/>
                </a:lnTo>
                <a:lnTo>
                  <a:pt x="4751942" y="2208503"/>
                </a:lnTo>
                <a:lnTo>
                  <a:pt x="4754764" y="2209044"/>
                </a:lnTo>
                <a:lnTo>
                  <a:pt x="4762360" y="2208936"/>
                </a:lnTo>
                <a:lnTo>
                  <a:pt x="4762360" y="2208936"/>
                </a:lnTo>
                <a:lnTo>
                  <a:pt x="4754766" y="2209044"/>
                </a:lnTo>
                <a:lnTo>
                  <a:pt x="4751944" y="2208503"/>
                </a:lnTo>
                <a:lnTo>
                  <a:pt x="4752595" y="2207745"/>
                </a:lnTo>
                <a:lnTo>
                  <a:pt x="4752595" y="2201248"/>
                </a:lnTo>
                <a:lnTo>
                  <a:pt x="4756935" y="2195077"/>
                </a:lnTo>
                <a:lnTo>
                  <a:pt x="4760951" y="2188905"/>
                </a:lnTo>
                <a:lnTo>
                  <a:pt x="4762036" y="2171907"/>
                </a:lnTo>
                <a:lnTo>
                  <a:pt x="4765292" y="2171257"/>
                </a:lnTo>
                <a:lnTo>
                  <a:pt x="4765400" y="2169958"/>
                </a:lnTo>
                <a:lnTo>
                  <a:pt x="4765399" y="2169958"/>
                </a:lnTo>
                <a:lnTo>
                  <a:pt x="4766051" y="2160755"/>
                </a:lnTo>
                <a:lnTo>
                  <a:pt x="4767135" y="2155666"/>
                </a:lnTo>
                <a:lnTo>
                  <a:pt x="4765507" y="2149495"/>
                </a:lnTo>
                <a:lnTo>
                  <a:pt x="4761601" y="2141483"/>
                </a:lnTo>
                <a:lnTo>
                  <a:pt x="4760516" y="2134336"/>
                </a:lnTo>
                <a:lnTo>
                  <a:pt x="4763771" y="2133038"/>
                </a:lnTo>
                <a:lnTo>
                  <a:pt x="4763879" y="2132497"/>
                </a:lnTo>
                <a:lnTo>
                  <a:pt x="4763881" y="2132497"/>
                </a:lnTo>
                <a:lnTo>
                  <a:pt x="4764749" y="2129249"/>
                </a:lnTo>
                <a:lnTo>
                  <a:pt x="4760516" y="2124161"/>
                </a:lnTo>
                <a:lnTo>
                  <a:pt x="4760299" y="2121887"/>
                </a:lnTo>
                <a:lnTo>
                  <a:pt x="4764966" y="2118098"/>
                </a:lnTo>
                <a:lnTo>
                  <a:pt x="4768655" y="2112251"/>
                </a:lnTo>
                <a:lnTo>
                  <a:pt x="4768112" y="2108786"/>
                </a:lnTo>
                <a:lnTo>
                  <a:pt x="4764097" y="2107596"/>
                </a:lnTo>
                <a:lnTo>
                  <a:pt x="4758888" y="2111385"/>
                </a:lnTo>
                <a:lnTo>
                  <a:pt x="4758346" y="2113551"/>
                </a:lnTo>
                <a:lnTo>
                  <a:pt x="4750858" y="2114958"/>
                </a:lnTo>
                <a:lnTo>
                  <a:pt x="4744890" y="2112251"/>
                </a:lnTo>
                <a:lnTo>
                  <a:pt x="4735123" y="2108786"/>
                </a:lnTo>
                <a:lnTo>
                  <a:pt x="4732627" y="2109436"/>
                </a:lnTo>
                <a:lnTo>
                  <a:pt x="4722318" y="2121129"/>
                </a:lnTo>
                <a:lnTo>
                  <a:pt x="4721233" y="2125135"/>
                </a:lnTo>
                <a:lnTo>
                  <a:pt x="4718195" y="2127192"/>
                </a:lnTo>
                <a:lnTo>
                  <a:pt x="4717110" y="2126218"/>
                </a:lnTo>
                <a:lnTo>
                  <a:pt x="4714939" y="2126218"/>
                </a:lnTo>
                <a:lnTo>
                  <a:pt x="4708429" y="2128925"/>
                </a:lnTo>
                <a:lnTo>
                  <a:pt x="4686725" y="2131631"/>
                </a:lnTo>
                <a:lnTo>
                  <a:pt x="4680214" y="2127409"/>
                </a:lnTo>
                <a:lnTo>
                  <a:pt x="4672618" y="2117340"/>
                </a:lnTo>
                <a:lnTo>
                  <a:pt x="4668386" y="2117340"/>
                </a:lnTo>
                <a:lnTo>
                  <a:pt x="4656883" y="2111385"/>
                </a:lnTo>
                <a:lnTo>
                  <a:pt x="4648093" y="2110627"/>
                </a:lnTo>
                <a:lnTo>
                  <a:pt x="4638001" y="2111602"/>
                </a:lnTo>
                <a:lnTo>
                  <a:pt x="4638978" y="2116798"/>
                </a:lnTo>
                <a:lnTo>
                  <a:pt x="4638001" y="2119722"/>
                </a:lnTo>
                <a:lnTo>
                  <a:pt x="4638543" y="2125243"/>
                </a:lnTo>
                <a:lnTo>
                  <a:pt x="4635722" y="2126868"/>
                </a:lnTo>
                <a:lnTo>
                  <a:pt x="4631490" y="2124702"/>
                </a:lnTo>
                <a:lnTo>
                  <a:pt x="4628777" y="2127084"/>
                </a:lnTo>
                <a:lnTo>
                  <a:pt x="4624111" y="2127084"/>
                </a:lnTo>
                <a:lnTo>
                  <a:pt x="4621398" y="2129249"/>
                </a:lnTo>
                <a:lnTo>
                  <a:pt x="4615647" y="2130116"/>
                </a:lnTo>
                <a:lnTo>
                  <a:pt x="4610221" y="2127951"/>
                </a:lnTo>
                <a:lnTo>
                  <a:pt x="4608376" y="2128925"/>
                </a:lnTo>
                <a:lnTo>
                  <a:pt x="4603276" y="2124702"/>
                </a:lnTo>
                <a:lnTo>
                  <a:pt x="4602733" y="2121454"/>
                </a:lnTo>
                <a:lnTo>
                  <a:pt x="4600563" y="2118206"/>
                </a:lnTo>
                <a:lnTo>
                  <a:pt x="4602408" y="2117340"/>
                </a:lnTo>
                <a:lnTo>
                  <a:pt x="4602950" y="2114849"/>
                </a:lnTo>
                <a:lnTo>
                  <a:pt x="4599369" y="2114308"/>
                </a:lnTo>
                <a:lnTo>
                  <a:pt x="4597199" y="2117340"/>
                </a:lnTo>
                <a:lnTo>
                  <a:pt x="4592641" y="2114633"/>
                </a:lnTo>
                <a:lnTo>
                  <a:pt x="4589602" y="2114633"/>
                </a:lnTo>
                <a:lnTo>
                  <a:pt x="4587215" y="2111710"/>
                </a:lnTo>
                <a:lnTo>
                  <a:pt x="4583743" y="2111926"/>
                </a:lnTo>
                <a:lnTo>
                  <a:pt x="4580487" y="2115932"/>
                </a:lnTo>
                <a:lnTo>
                  <a:pt x="4577774" y="2119288"/>
                </a:lnTo>
                <a:lnTo>
                  <a:pt x="4576363" y="2118098"/>
                </a:lnTo>
                <a:lnTo>
                  <a:pt x="4576363" y="2114633"/>
                </a:lnTo>
                <a:lnTo>
                  <a:pt x="4573759" y="2115932"/>
                </a:lnTo>
                <a:lnTo>
                  <a:pt x="4568442" y="2115932"/>
                </a:lnTo>
                <a:lnTo>
                  <a:pt x="4564535" y="2117231"/>
                </a:lnTo>
                <a:lnTo>
                  <a:pt x="4561605" y="2116474"/>
                </a:lnTo>
                <a:lnTo>
                  <a:pt x="4563450" y="2113767"/>
                </a:lnTo>
                <a:lnTo>
                  <a:pt x="4571154" y="2114092"/>
                </a:lnTo>
                <a:lnTo>
                  <a:pt x="4576363" y="2111818"/>
                </a:lnTo>
                <a:lnTo>
                  <a:pt x="4578751" y="2109436"/>
                </a:lnTo>
                <a:lnTo>
                  <a:pt x="4579402" y="2107379"/>
                </a:lnTo>
                <a:lnTo>
                  <a:pt x="4569309" y="2107379"/>
                </a:lnTo>
                <a:lnTo>
                  <a:pt x="4562039" y="2109219"/>
                </a:lnTo>
                <a:lnTo>
                  <a:pt x="4559000" y="2107920"/>
                </a:lnTo>
                <a:lnTo>
                  <a:pt x="4559869" y="2105213"/>
                </a:lnTo>
                <a:lnTo>
                  <a:pt x="4563667" y="2106296"/>
                </a:lnTo>
                <a:lnTo>
                  <a:pt x="4565838" y="2102507"/>
                </a:lnTo>
                <a:lnTo>
                  <a:pt x="4559869" y="2096768"/>
                </a:lnTo>
                <a:lnTo>
                  <a:pt x="4556830" y="2096552"/>
                </a:lnTo>
                <a:lnTo>
                  <a:pt x="4556613" y="2093737"/>
                </a:lnTo>
                <a:lnTo>
                  <a:pt x="4553575" y="2090813"/>
                </a:lnTo>
                <a:lnTo>
                  <a:pt x="4557373" y="2087024"/>
                </a:lnTo>
                <a:lnTo>
                  <a:pt x="4555853" y="2081394"/>
                </a:lnTo>
                <a:lnTo>
                  <a:pt x="4550536" y="2078146"/>
                </a:lnTo>
                <a:lnTo>
                  <a:pt x="4546847" y="2078903"/>
                </a:lnTo>
                <a:lnTo>
                  <a:pt x="4542181" y="2074898"/>
                </a:lnTo>
                <a:lnTo>
                  <a:pt x="4541313" y="2076955"/>
                </a:lnTo>
                <a:lnTo>
                  <a:pt x="4537297" y="2074356"/>
                </a:lnTo>
                <a:lnTo>
                  <a:pt x="4536538" y="2071000"/>
                </a:lnTo>
                <a:lnTo>
                  <a:pt x="4538600" y="2068618"/>
                </a:lnTo>
                <a:lnTo>
                  <a:pt x="4536972" y="2064179"/>
                </a:lnTo>
                <a:lnTo>
                  <a:pt x="4537840" y="2060281"/>
                </a:lnTo>
                <a:lnTo>
                  <a:pt x="4539576" y="2061148"/>
                </a:lnTo>
                <a:lnTo>
                  <a:pt x="4542181" y="2067427"/>
                </a:lnTo>
                <a:lnTo>
                  <a:pt x="4544785" y="2067427"/>
                </a:lnTo>
                <a:lnTo>
                  <a:pt x="4546847" y="2063313"/>
                </a:lnTo>
                <a:lnTo>
                  <a:pt x="4550211" y="2061039"/>
                </a:lnTo>
                <a:lnTo>
                  <a:pt x="4546847" y="2060715"/>
                </a:lnTo>
                <a:lnTo>
                  <a:pt x="4544785" y="2059307"/>
                </a:lnTo>
                <a:lnTo>
                  <a:pt x="4550754" y="2055626"/>
                </a:lnTo>
                <a:lnTo>
                  <a:pt x="4553575" y="2052594"/>
                </a:lnTo>
                <a:lnTo>
                  <a:pt x="4553249" y="2050212"/>
                </a:lnTo>
                <a:lnTo>
                  <a:pt x="4548909" y="2053027"/>
                </a:lnTo>
                <a:lnTo>
                  <a:pt x="4547389" y="2051944"/>
                </a:lnTo>
                <a:lnTo>
                  <a:pt x="4547823" y="2049779"/>
                </a:lnTo>
                <a:lnTo>
                  <a:pt x="4547932" y="2046964"/>
                </a:lnTo>
                <a:lnTo>
                  <a:pt x="4545653" y="2043174"/>
                </a:lnTo>
                <a:lnTo>
                  <a:pt x="4544893" y="2039601"/>
                </a:lnTo>
                <a:lnTo>
                  <a:pt x="4550536" y="2034297"/>
                </a:lnTo>
                <a:lnTo>
                  <a:pt x="4544676" y="2034188"/>
                </a:lnTo>
                <a:lnTo>
                  <a:pt x="4540010" y="2035271"/>
                </a:lnTo>
                <a:lnTo>
                  <a:pt x="4538165" y="2034513"/>
                </a:lnTo>
                <a:lnTo>
                  <a:pt x="4531871" y="2036678"/>
                </a:lnTo>
                <a:lnTo>
                  <a:pt x="4530244" y="2033755"/>
                </a:lnTo>
                <a:lnTo>
                  <a:pt x="4531871" y="2031806"/>
                </a:lnTo>
                <a:lnTo>
                  <a:pt x="4532089" y="2026934"/>
                </a:lnTo>
                <a:lnTo>
                  <a:pt x="4530244" y="2023902"/>
                </a:lnTo>
                <a:lnTo>
                  <a:pt x="4532089" y="2019679"/>
                </a:lnTo>
                <a:lnTo>
                  <a:pt x="4533716" y="2015349"/>
                </a:lnTo>
                <a:lnTo>
                  <a:pt x="4544568" y="2007120"/>
                </a:lnTo>
                <a:lnTo>
                  <a:pt x="4550102" y="2007120"/>
                </a:lnTo>
                <a:lnTo>
                  <a:pt x="4555853" y="2011559"/>
                </a:lnTo>
                <a:lnTo>
                  <a:pt x="4559869" y="2011776"/>
                </a:lnTo>
                <a:lnTo>
                  <a:pt x="4564101" y="2007120"/>
                </a:lnTo>
                <a:lnTo>
                  <a:pt x="4567139" y="2006904"/>
                </a:lnTo>
                <a:lnTo>
                  <a:pt x="4569852" y="2010910"/>
                </a:lnTo>
                <a:lnTo>
                  <a:pt x="4575495" y="2008311"/>
                </a:lnTo>
                <a:lnTo>
                  <a:pt x="4580162" y="2010910"/>
                </a:lnTo>
                <a:lnTo>
                  <a:pt x="4591230" y="2010693"/>
                </a:lnTo>
                <a:lnTo>
                  <a:pt x="4594811" y="2009394"/>
                </a:lnTo>
                <a:lnTo>
                  <a:pt x="4592967" y="2006687"/>
                </a:lnTo>
                <a:lnTo>
                  <a:pt x="4588517" y="2008203"/>
                </a:lnTo>
                <a:lnTo>
                  <a:pt x="4586889" y="2005821"/>
                </a:lnTo>
                <a:lnTo>
                  <a:pt x="4589928" y="2001815"/>
                </a:lnTo>
                <a:lnTo>
                  <a:pt x="4598392" y="1999325"/>
                </a:lnTo>
                <a:lnTo>
                  <a:pt x="4608159" y="1999108"/>
                </a:lnTo>
                <a:lnTo>
                  <a:pt x="4609135" y="1996618"/>
                </a:lnTo>
                <a:lnTo>
                  <a:pt x="4603493" y="1995752"/>
                </a:lnTo>
                <a:lnTo>
                  <a:pt x="4596765" y="1995535"/>
                </a:lnTo>
                <a:lnTo>
                  <a:pt x="4592424" y="1988281"/>
                </a:lnTo>
                <a:lnTo>
                  <a:pt x="4593509" y="1985033"/>
                </a:lnTo>
                <a:lnTo>
                  <a:pt x="4599478" y="1983409"/>
                </a:lnTo>
                <a:lnTo>
                  <a:pt x="4603167" y="1984708"/>
                </a:lnTo>
                <a:lnTo>
                  <a:pt x="4610329" y="1982868"/>
                </a:lnTo>
                <a:lnTo>
                  <a:pt x="4615647" y="1983951"/>
                </a:lnTo>
                <a:lnTo>
                  <a:pt x="4618468" y="1981785"/>
                </a:lnTo>
                <a:lnTo>
                  <a:pt x="4622483" y="1981785"/>
                </a:lnTo>
                <a:lnTo>
                  <a:pt x="4635180" y="1986441"/>
                </a:lnTo>
                <a:lnTo>
                  <a:pt x="4643644" y="1986008"/>
                </a:lnTo>
                <a:lnTo>
                  <a:pt x="4643210" y="1983409"/>
                </a:lnTo>
                <a:lnTo>
                  <a:pt x="4645489" y="1982002"/>
                </a:lnTo>
                <a:lnTo>
                  <a:pt x="4647767" y="1976263"/>
                </a:lnTo>
                <a:lnTo>
                  <a:pt x="4649937" y="1974964"/>
                </a:lnTo>
                <a:lnTo>
                  <a:pt x="4653953" y="1970849"/>
                </a:lnTo>
                <a:lnTo>
                  <a:pt x="4658076" y="1969767"/>
                </a:lnTo>
                <a:lnTo>
                  <a:pt x="4660681" y="1966302"/>
                </a:lnTo>
                <a:lnTo>
                  <a:pt x="4669470" y="1964678"/>
                </a:lnTo>
                <a:lnTo>
                  <a:pt x="4674571" y="1964137"/>
                </a:lnTo>
                <a:lnTo>
                  <a:pt x="4685639" y="1959265"/>
                </a:lnTo>
                <a:lnTo>
                  <a:pt x="4691391" y="1957965"/>
                </a:lnTo>
                <a:lnTo>
                  <a:pt x="4703111" y="1958507"/>
                </a:lnTo>
                <a:lnTo>
                  <a:pt x="4707885" y="1957316"/>
                </a:lnTo>
                <a:lnTo>
                  <a:pt x="4711467" y="1958507"/>
                </a:lnTo>
                <a:lnTo>
                  <a:pt x="4719063" y="1958507"/>
                </a:lnTo>
                <a:lnTo>
                  <a:pt x="4724814" y="1955692"/>
                </a:lnTo>
                <a:lnTo>
                  <a:pt x="4726334" y="1956233"/>
                </a:lnTo>
                <a:lnTo>
                  <a:pt x="4726984" y="1960888"/>
                </a:lnTo>
                <a:lnTo>
                  <a:pt x="4735666" y="1968792"/>
                </a:lnTo>
                <a:lnTo>
                  <a:pt x="4737836" y="1967385"/>
                </a:lnTo>
                <a:lnTo>
                  <a:pt x="4739898" y="1968251"/>
                </a:lnTo>
                <a:lnTo>
                  <a:pt x="4745649" y="1962513"/>
                </a:lnTo>
                <a:lnTo>
                  <a:pt x="4748362" y="1961972"/>
                </a:lnTo>
                <a:lnTo>
                  <a:pt x="4752160" y="1965220"/>
                </a:lnTo>
                <a:lnTo>
                  <a:pt x="4753245" y="1970958"/>
                </a:lnTo>
                <a:lnTo>
                  <a:pt x="4757369" y="1976588"/>
                </a:lnTo>
                <a:lnTo>
                  <a:pt x="4761384" y="1977454"/>
                </a:lnTo>
                <a:lnTo>
                  <a:pt x="4763554" y="1974423"/>
                </a:lnTo>
                <a:lnTo>
                  <a:pt x="4766051" y="1974423"/>
                </a:lnTo>
                <a:lnTo>
                  <a:pt x="4774406" y="1980053"/>
                </a:lnTo>
                <a:lnTo>
                  <a:pt x="4779073" y="1980702"/>
                </a:lnTo>
                <a:lnTo>
                  <a:pt x="4788297" y="1985249"/>
                </a:lnTo>
                <a:lnTo>
                  <a:pt x="4791226" y="1983300"/>
                </a:lnTo>
                <a:lnTo>
                  <a:pt x="4796652" y="1987090"/>
                </a:lnTo>
                <a:lnTo>
                  <a:pt x="4804791" y="1988714"/>
                </a:lnTo>
                <a:lnTo>
                  <a:pt x="4814883" y="1984492"/>
                </a:lnTo>
                <a:lnTo>
                  <a:pt x="4823564" y="1983951"/>
                </a:lnTo>
                <a:lnTo>
                  <a:pt x="4828339" y="1982543"/>
                </a:lnTo>
                <a:lnTo>
                  <a:pt x="4829750" y="1983409"/>
                </a:lnTo>
                <a:lnTo>
                  <a:pt x="4833114" y="1983409"/>
                </a:lnTo>
                <a:lnTo>
                  <a:pt x="4836044" y="1985249"/>
                </a:lnTo>
                <a:lnTo>
                  <a:pt x="4845810" y="1987415"/>
                </a:lnTo>
                <a:lnTo>
                  <a:pt x="4848740" y="1985033"/>
                </a:lnTo>
                <a:lnTo>
                  <a:pt x="4856119" y="1984492"/>
                </a:lnTo>
                <a:lnTo>
                  <a:pt x="4857530" y="1980919"/>
                </a:lnTo>
                <a:lnTo>
                  <a:pt x="4865560" y="1976913"/>
                </a:lnTo>
                <a:lnTo>
                  <a:pt x="4871529" y="1973340"/>
                </a:lnTo>
                <a:lnTo>
                  <a:pt x="4874459" y="1967169"/>
                </a:lnTo>
                <a:lnTo>
                  <a:pt x="4875544" y="1965653"/>
                </a:lnTo>
                <a:lnTo>
                  <a:pt x="4878447" y="1965975"/>
                </a:lnTo>
                <a:lnTo>
                  <a:pt x="4878366" y="1965652"/>
                </a:lnTo>
                <a:lnTo>
                  <a:pt x="4875436" y="1965652"/>
                </a:lnTo>
                <a:lnTo>
                  <a:pt x="4876087" y="1964677"/>
                </a:lnTo>
                <a:lnTo>
                  <a:pt x="4876087" y="1963920"/>
                </a:lnTo>
                <a:cubicBezTo>
                  <a:pt x="4884877" y="1964028"/>
                  <a:pt x="4907123" y="1963595"/>
                  <a:pt x="4906580" y="1958506"/>
                </a:cubicBezTo>
                <a:lnTo>
                  <a:pt x="4905820" y="1952118"/>
                </a:lnTo>
                <a:lnTo>
                  <a:pt x="4931101" y="1951202"/>
                </a:lnTo>
                <a:lnTo>
                  <a:pt x="4929694" y="1950387"/>
                </a:lnTo>
                <a:lnTo>
                  <a:pt x="4902781" y="1951361"/>
                </a:lnTo>
                <a:lnTo>
                  <a:pt x="4903541" y="1957749"/>
                </a:lnTo>
                <a:cubicBezTo>
                  <a:pt x="4904084" y="1963163"/>
                  <a:pt x="4881946" y="1963163"/>
                  <a:pt x="4873048" y="1963163"/>
                </a:cubicBezTo>
                <a:lnTo>
                  <a:pt x="4872180" y="1959698"/>
                </a:lnTo>
                <a:lnTo>
                  <a:pt x="4873807" y="1956991"/>
                </a:lnTo>
                <a:lnTo>
                  <a:pt x="4869684" y="1949412"/>
                </a:lnTo>
                <a:lnTo>
                  <a:pt x="4868382" y="1939451"/>
                </a:lnTo>
                <a:lnTo>
                  <a:pt x="4865452" y="1935879"/>
                </a:lnTo>
                <a:lnTo>
                  <a:pt x="4860351" y="1927975"/>
                </a:lnTo>
                <a:lnTo>
                  <a:pt x="4854600" y="1927217"/>
                </a:lnTo>
                <a:lnTo>
                  <a:pt x="4854600" y="1924185"/>
                </a:lnTo>
                <a:lnTo>
                  <a:pt x="4848414" y="1918988"/>
                </a:lnTo>
                <a:lnTo>
                  <a:pt x="4845919" y="1920612"/>
                </a:lnTo>
                <a:lnTo>
                  <a:pt x="4843531" y="1919314"/>
                </a:lnTo>
                <a:lnTo>
                  <a:pt x="4838865" y="1918555"/>
                </a:lnTo>
                <a:lnTo>
                  <a:pt x="4835067" y="1912926"/>
                </a:lnTo>
                <a:lnTo>
                  <a:pt x="4832571" y="1912926"/>
                </a:lnTo>
                <a:lnTo>
                  <a:pt x="4828014" y="1911084"/>
                </a:lnTo>
                <a:lnTo>
                  <a:pt x="4826603" y="1907837"/>
                </a:lnTo>
                <a:lnTo>
                  <a:pt x="4822805" y="1907837"/>
                </a:lnTo>
                <a:lnTo>
                  <a:pt x="4819006" y="1904588"/>
                </a:lnTo>
                <a:lnTo>
                  <a:pt x="4817596" y="1901665"/>
                </a:lnTo>
                <a:lnTo>
                  <a:pt x="4813255" y="1900257"/>
                </a:lnTo>
                <a:lnTo>
                  <a:pt x="4810108" y="1894519"/>
                </a:lnTo>
                <a:lnTo>
                  <a:pt x="4794699" y="1883692"/>
                </a:lnTo>
                <a:lnTo>
                  <a:pt x="4788405" y="1882068"/>
                </a:lnTo>
                <a:lnTo>
                  <a:pt x="4779181" y="1876438"/>
                </a:lnTo>
                <a:lnTo>
                  <a:pt x="4770283" y="1877196"/>
                </a:lnTo>
                <a:lnTo>
                  <a:pt x="4765074" y="1871782"/>
                </a:lnTo>
                <a:lnTo>
                  <a:pt x="4765074" y="1868209"/>
                </a:lnTo>
                <a:lnTo>
                  <a:pt x="4758563" y="1862796"/>
                </a:lnTo>
                <a:lnTo>
                  <a:pt x="4755850" y="1862796"/>
                </a:lnTo>
                <a:lnTo>
                  <a:pt x="4750207" y="1862038"/>
                </a:lnTo>
                <a:lnTo>
                  <a:pt x="4753462" y="1859331"/>
                </a:lnTo>
                <a:lnTo>
                  <a:pt x="4757044" y="1857707"/>
                </a:lnTo>
                <a:lnTo>
                  <a:pt x="4755199" y="1854242"/>
                </a:lnTo>
                <a:lnTo>
                  <a:pt x="4755199" y="1852078"/>
                </a:lnTo>
                <a:lnTo>
                  <a:pt x="4760408" y="1853376"/>
                </a:lnTo>
                <a:lnTo>
                  <a:pt x="4764206" y="1856300"/>
                </a:lnTo>
                <a:lnTo>
                  <a:pt x="4765291" y="1855542"/>
                </a:lnTo>
                <a:lnTo>
                  <a:pt x="4769957" y="1856300"/>
                </a:lnTo>
                <a:lnTo>
                  <a:pt x="4771042" y="1849478"/>
                </a:lnTo>
                <a:lnTo>
                  <a:pt x="4768655" y="1847854"/>
                </a:lnTo>
                <a:lnTo>
                  <a:pt x="4768655" y="1843524"/>
                </a:lnTo>
                <a:lnTo>
                  <a:pt x="4773755" y="1838435"/>
                </a:lnTo>
                <a:lnTo>
                  <a:pt x="4773755" y="1836595"/>
                </a:lnTo>
                <a:lnTo>
                  <a:pt x="4775709" y="1834754"/>
                </a:lnTo>
                <a:lnTo>
                  <a:pt x="4778964" y="1834754"/>
                </a:lnTo>
                <a:lnTo>
                  <a:pt x="4780917" y="1831830"/>
                </a:lnTo>
                <a:lnTo>
                  <a:pt x="4783956" y="1831073"/>
                </a:lnTo>
                <a:lnTo>
                  <a:pt x="4783956" y="1829124"/>
                </a:lnTo>
                <a:lnTo>
                  <a:pt x="4779072" y="1827717"/>
                </a:lnTo>
                <a:lnTo>
                  <a:pt x="4777770" y="1825226"/>
                </a:lnTo>
                <a:lnTo>
                  <a:pt x="4775274" y="1827391"/>
                </a:lnTo>
                <a:lnTo>
                  <a:pt x="4771802" y="1823927"/>
                </a:lnTo>
                <a:lnTo>
                  <a:pt x="4768546" y="1816889"/>
                </a:lnTo>
                <a:lnTo>
                  <a:pt x="4776685" y="1815807"/>
                </a:lnTo>
                <a:lnTo>
                  <a:pt x="4782545" y="1816889"/>
                </a:lnTo>
                <a:lnTo>
                  <a:pt x="4785583" y="1813425"/>
                </a:lnTo>
                <a:lnTo>
                  <a:pt x="4782545" y="1813425"/>
                </a:lnTo>
                <a:lnTo>
                  <a:pt x="4780158" y="1811151"/>
                </a:lnTo>
                <a:lnTo>
                  <a:pt x="4785366" y="1807578"/>
                </a:lnTo>
                <a:lnTo>
                  <a:pt x="4797846" y="1800865"/>
                </a:lnTo>
                <a:lnTo>
                  <a:pt x="4799148" y="1797292"/>
                </a:lnTo>
                <a:lnTo>
                  <a:pt x="4797737" y="1794802"/>
                </a:lnTo>
                <a:lnTo>
                  <a:pt x="4791443" y="1795668"/>
                </a:lnTo>
                <a:lnTo>
                  <a:pt x="4786234" y="1799241"/>
                </a:lnTo>
                <a:lnTo>
                  <a:pt x="4782892" y="1798648"/>
                </a:lnTo>
                <a:lnTo>
                  <a:pt x="4782871" y="1798808"/>
                </a:lnTo>
                <a:lnTo>
                  <a:pt x="4782871" y="1799241"/>
                </a:lnTo>
                <a:lnTo>
                  <a:pt x="4778313" y="1800865"/>
                </a:lnTo>
                <a:lnTo>
                  <a:pt x="4777879" y="1798266"/>
                </a:lnTo>
                <a:lnTo>
                  <a:pt x="4775274" y="1797942"/>
                </a:lnTo>
                <a:lnTo>
                  <a:pt x="4769306" y="1800432"/>
                </a:lnTo>
                <a:lnTo>
                  <a:pt x="4763338" y="1799891"/>
                </a:lnTo>
                <a:lnTo>
                  <a:pt x="4760299" y="1802272"/>
                </a:lnTo>
                <a:lnTo>
                  <a:pt x="4758346" y="1806387"/>
                </a:lnTo>
                <a:lnTo>
                  <a:pt x="4753029" y="1806820"/>
                </a:lnTo>
                <a:lnTo>
                  <a:pt x="4750533" y="1810393"/>
                </a:lnTo>
                <a:lnTo>
                  <a:pt x="4745433" y="1815807"/>
                </a:lnTo>
                <a:lnTo>
                  <a:pt x="4743697" y="1815265"/>
                </a:lnTo>
                <a:lnTo>
                  <a:pt x="4738813" y="1815807"/>
                </a:lnTo>
                <a:lnTo>
                  <a:pt x="4734798" y="1818838"/>
                </a:lnTo>
                <a:lnTo>
                  <a:pt x="4728504" y="1817430"/>
                </a:lnTo>
                <a:lnTo>
                  <a:pt x="4723621" y="1820462"/>
                </a:lnTo>
                <a:lnTo>
                  <a:pt x="4720474" y="1819920"/>
                </a:lnTo>
                <a:lnTo>
                  <a:pt x="4717435" y="1814724"/>
                </a:lnTo>
                <a:lnTo>
                  <a:pt x="4715265" y="1814940"/>
                </a:lnTo>
                <a:lnTo>
                  <a:pt x="4716676" y="1817755"/>
                </a:lnTo>
                <a:lnTo>
                  <a:pt x="4719389" y="1821220"/>
                </a:lnTo>
                <a:lnTo>
                  <a:pt x="4718303" y="1824252"/>
                </a:lnTo>
                <a:lnTo>
                  <a:pt x="4713203" y="1831505"/>
                </a:lnTo>
                <a:lnTo>
                  <a:pt x="4710382" y="1833130"/>
                </a:lnTo>
                <a:lnTo>
                  <a:pt x="4709296" y="1830964"/>
                </a:lnTo>
                <a:lnTo>
                  <a:pt x="4711141" y="1829881"/>
                </a:lnTo>
                <a:lnTo>
                  <a:pt x="4715808" y="1824252"/>
                </a:lnTo>
                <a:lnTo>
                  <a:pt x="4715048" y="1822303"/>
                </a:lnTo>
                <a:lnTo>
                  <a:pt x="4712552" y="1820678"/>
                </a:lnTo>
                <a:lnTo>
                  <a:pt x="4711684" y="1823385"/>
                </a:lnTo>
                <a:lnTo>
                  <a:pt x="4704413" y="1830964"/>
                </a:lnTo>
                <a:lnTo>
                  <a:pt x="4700073" y="1831722"/>
                </a:lnTo>
                <a:lnTo>
                  <a:pt x="4699313" y="1834537"/>
                </a:lnTo>
                <a:lnTo>
                  <a:pt x="4694321" y="1834537"/>
                </a:lnTo>
                <a:lnTo>
                  <a:pt x="4690849" y="1832047"/>
                </a:lnTo>
                <a:lnTo>
                  <a:pt x="4687919" y="1834754"/>
                </a:lnTo>
                <a:lnTo>
                  <a:pt x="4682710" y="1833887"/>
                </a:lnTo>
                <a:lnTo>
                  <a:pt x="4681950" y="1835836"/>
                </a:lnTo>
                <a:lnTo>
                  <a:pt x="4685098" y="1837785"/>
                </a:lnTo>
                <a:lnTo>
                  <a:pt x="4692694" y="1837244"/>
                </a:lnTo>
                <a:lnTo>
                  <a:pt x="4695515" y="1840709"/>
                </a:lnTo>
                <a:lnTo>
                  <a:pt x="4698445" y="1842874"/>
                </a:lnTo>
                <a:lnTo>
                  <a:pt x="4701158" y="1841466"/>
                </a:lnTo>
                <a:lnTo>
                  <a:pt x="4702785" y="1843740"/>
                </a:lnTo>
                <a:lnTo>
                  <a:pt x="4700398" y="1846664"/>
                </a:lnTo>
                <a:lnTo>
                  <a:pt x="4700615" y="1848829"/>
                </a:lnTo>
                <a:lnTo>
                  <a:pt x="4702785" y="1847421"/>
                </a:lnTo>
                <a:lnTo>
                  <a:pt x="4704956" y="1847421"/>
                </a:lnTo>
                <a:lnTo>
                  <a:pt x="4704196" y="1851211"/>
                </a:lnTo>
                <a:lnTo>
                  <a:pt x="4707126" y="1848504"/>
                </a:lnTo>
                <a:lnTo>
                  <a:pt x="4709622" y="1850128"/>
                </a:lnTo>
                <a:lnTo>
                  <a:pt x="4710708" y="1855542"/>
                </a:lnTo>
                <a:lnTo>
                  <a:pt x="4713421" y="1858356"/>
                </a:lnTo>
                <a:lnTo>
                  <a:pt x="4718846" y="1859980"/>
                </a:lnTo>
                <a:lnTo>
                  <a:pt x="4721234" y="1858789"/>
                </a:lnTo>
                <a:lnTo>
                  <a:pt x="4713203" y="1851211"/>
                </a:lnTo>
                <a:lnTo>
                  <a:pt x="4704956" y="1841033"/>
                </a:lnTo>
                <a:lnTo>
                  <a:pt x="4702569" y="1834970"/>
                </a:lnTo>
                <a:lnTo>
                  <a:pt x="4704630" y="1833671"/>
                </a:lnTo>
                <a:lnTo>
                  <a:pt x="4708211" y="1838760"/>
                </a:lnTo>
                <a:lnTo>
                  <a:pt x="4710056" y="1845039"/>
                </a:lnTo>
                <a:lnTo>
                  <a:pt x="4721559" y="1857707"/>
                </a:lnTo>
                <a:lnTo>
                  <a:pt x="4724272" y="1858789"/>
                </a:lnTo>
                <a:lnTo>
                  <a:pt x="4728287" y="1854567"/>
                </a:lnTo>
                <a:lnTo>
                  <a:pt x="4731000" y="1854458"/>
                </a:lnTo>
                <a:lnTo>
                  <a:pt x="4735449" y="1857274"/>
                </a:lnTo>
                <a:lnTo>
                  <a:pt x="4737294" y="1852401"/>
                </a:lnTo>
                <a:lnTo>
                  <a:pt x="4744890" y="1851535"/>
                </a:lnTo>
                <a:lnTo>
                  <a:pt x="4751184" y="1851860"/>
                </a:lnTo>
                <a:lnTo>
                  <a:pt x="4749448" y="1855000"/>
                </a:lnTo>
                <a:lnTo>
                  <a:pt x="4747060" y="1856949"/>
                </a:lnTo>
                <a:lnTo>
                  <a:pt x="4749231" y="1861280"/>
                </a:lnTo>
                <a:lnTo>
                  <a:pt x="4746410" y="1864744"/>
                </a:lnTo>
                <a:lnTo>
                  <a:pt x="4738162" y="1865394"/>
                </a:lnTo>
                <a:lnTo>
                  <a:pt x="4728829" y="1863770"/>
                </a:lnTo>
                <a:lnTo>
                  <a:pt x="4723187" y="1866910"/>
                </a:lnTo>
                <a:lnTo>
                  <a:pt x="4719063" y="1872649"/>
                </a:lnTo>
                <a:lnTo>
                  <a:pt x="4711467" y="1872432"/>
                </a:lnTo>
                <a:lnTo>
                  <a:pt x="4700398" y="1880768"/>
                </a:lnTo>
                <a:lnTo>
                  <a:pt x="4692151" y="1884558"/>
                </a:lnTo>
                <a:lnTo>
                  <a:pt x="4683470" y="1884233"/>
                </a:lnTo>
                <a:lnTo>
                  <a:pt x="4679237" y="1880985"/>
                </a:lnTo>
                <a:lnTo>
                  <a:pt x="4680540" y="1879145"/>
                </a:lnTo>
                <a:lnTo>
                  <a:pt x="4683470" y="1870483"/>
                </a:lnTo>
                <a:lnTo>
                  <a:pt x="4683035" y="1867018"/>
                </a:lnTo>
                <a:lnTo>
                  <a:pt x="4675439" y="1861064"/>
                </a:lnTo>
                <a:lnTo>
                  <a:pt x="4672726" y="1861496"/>
                </a:lnTo>
                <a:lnTo>
                  <a:pt x="4667518" y="1858898"/>
                </a:lnTo>
                <a:lnTo>
                  <a:pt x="4664262" y="1861605"/>
                </a:lnTo>
                <a:lnTo>
                  <a:pt x="4660139" y="1859872"/>
                </a:lnTo>
                <a:lnTo>
                  <a:pt x="4664913" y="1852401"/>
                </a:lnTo>
                <a:lnTo>
                  <a:pt x="4673486" y="1847421"/>
                </a:lnTo>
                <a:lnTo>
                  <a:pt x="4680540" y="1846122"/>
                </a:lnTo>
                <a:lnTo>
                  <a:pt x="4682493" y="1844823"/>
                </a:lnTo>
                <a:lnTo>
                  <a:pt x="4679780" y="1841575"/>
                </a:lnTo>
                <a:lnTo>
                  <a:pt x="4678695" y="1835620"/>
                </a:lnTo>
                <a:lnTo>
                  <a:pt x="4676524" y="1834645"/>
                </a:lnTo>
                <a:lnTo>
                  <a:pt x="4674680" y="1838001"/>
                </a:lnTo>
                <a:lnTo>
                  <a:pt x="4670882" y="1835836"/>
                </a:lnTo>
                <a:lnTo>
                  <a:pt x="4665456" y="1833562"/>
                </a:lnTo>
                <a:lnTo>
                  <a:pt x="4659705" y="1834537"/>
                </a:lnTo>
                <a:lnTo>
                  <a:pt x="4654713" y="1837136"/>
                </a:lnTo>
                <a:lnTo>
                  <a:pt x="4650372" y="1834645"/>
                </a:lnTo>
                <a:lnTo>
                  <a:pt x="4647008" y="1834321"/>
                </a:lnTo>
                <a:lnTo>
                  <a:pt x="4643535" y="1831289"/>
                </a:lnTo>
                <a:lnTo>
                  <a:pt x="4646140" y="1829665"/>
                </a:lnTo>
                <a:lnTo>
                  <a:pt x="4647116" y="1827824"/>
                </a:lnTo>
                <a:lnTo>
                  <a:pt x="4640063" y="1825550"/>
                </a:lnTo>
                <a:lnTo>
                  <a:pt x="4631382" y="1825550"/>
                </a:lnTo>
                <a:lnTo>
                  <a:pt x="4629320" y="1822519"/>
                </a:lnTo>
                <a:lnTo>
                  <a:pt x="4634637" y="1822519"/>
                </a:lnTo>
                <a:lnTo>
                  <a:pt x="4642993" y="1821436"/>
                </a:lnTo>
                <a:lnTo>
                  <a:pt x="4647333" y="1822844"/>
                </a:lnTo>
                <a:lnTo>
                  <a:pt x="4650372" y="1821220"/>
                </a:lnTo>
                <a:lnTo>
                  <a:pt x="4655364" y="1818188"/>
                </a:lnTo>
                <a:lnTo>
                  <a:pt x="4648201" y="1819920"/>
                </a:lnTo>
                <a:lnTo>
                  <a:pt x="4644512" y="1818730"/>
                </a:lnTo>
                <a:lnTo>
                  <a:pt x="4641691" y="1816564"/>
                </a:lnTo>
                <a:lnTo>
                  <a:pt x="4640063" y="1813857"/>
                </a:lnTo>
                <a:lnTo>
                  <a:pt x="4638001" y="1817105"/>
                </a:lnTo>
                <a:lnTo>
                  <a:pt x="4636048" y="1819812"/>
                </a:lnTo>
                <a:lnTo>
                  <a:pt x="4631708" y="1819812"/>
                </a:lnTo>
                <a:lnTo>
                  <a:pt x="4631816" y="1818513"/>
                </a:lnTo>
                <a:lnTo>
                  <a:pt x="4629211" y="1816022"/>
                </a:lnTo>
                <a:lnTo>
                  <a:pt x="4624437" y="1821977"/>
                </a:lnTo>
                <a:lnTo>
                  <a:pt x="4618902" y="1822303"/>
                </a:lnTo>
                <a:lnTo>
                  <a:pt x="4615430" y="1825009"/>
                </a:lnTo>
                <a:lnTo>
                  <a:pt x="4615430" y="1830964"/>
                </a:lnTo>
                <a:lnTo>
                  <a:pt x="4610546" y="1837244"/>
                </a:lnTo>
                <a:lnTo>
                  <a:pt x="4608051" y="1837244"/>
                </a:lnTo>
                <a:lnTo>
                  <a:pt x="4609461" y="1840383"/>
                </a:lnTo>
                <a:lnTo>
                  <a:pt x="4600455" y="1851211"/>
                </a:lnTo>
                <a:lnTo>
                  <a:pt x="4597307" y="1851211"/>
                </a:lnTo>
                <a:lnTo>
                  <a:pt x="4595354" y="1848071"/>
                </a:lnTo>
                <a:lnTo>
                  <a:pt x="4595138" y="1851535"/>
                </a:lnTo>
                <a:lnTo>
                  <a:pt x="4594594" y="1854458"/>
                </a:lnTo>
                <a:lnTo>
                  <a:pt x="4596982" y="1857274"/>
                </a:lnTo>
                <a:lnTo>
                  <a:pt x="4596114" y="1861496"/>
                </a:lnTo>
                <a:lnTo>
                  <a:pt x="4596006" y="1861496"/>
                </a:lnTo>
                <a:lnTo>
                  <a:pt x="4596005" y="1861495"/>
                </a:lnTo>
                <a:lnTo>
                  <a:pt x="4593509" y="1863985"/>
                </a:lnTo>
                <a:lnTo>
                  <a:pt x="4596113" y="1865934"/>
                </a:lnTo>
                <a:lnTo>
                  <a:pt x="4596113" y="1869616"/>
                </a:lnTo>
                <a:lnTo>
                  <a:pt x="4592641" y="1875679"/>
                </a:lnTo>
                <a:lnTo>
                  <a:pt x="4587540" y="1876761"/>
                </a:lnTo>
                <a:lnTo>
                  <a:pt x="4579293" y="1877303"/>
                </a:lnTo>
                <a:lnTo>
                  <a:pt x="4577991" y="1882391"/>
                </a:lnTo>
                <a:lnTo>
                  <a:pt x="4574952" y="1885640"/>
                </a:lnTo>
                <a:lnTo>
                  <a:pt x="4576906" y="1889104"/>
                </a:lnTo>
                <a:lnTo>
                  <a:pt x="4576580" y="1896142"/>
                </a:lnTo>
                <a:lnTo>
                  <a:pt x="4573976" y="1900473"/>
                </a:lnTo>
                <a:lnTo>
                  <a:pt x="4575712" y="1906211"/>
                </a:lnTo>
                <a:lnTo>
                  <a:pt x="4575713" y="1906211"/>
                </a:lnTo>
                <a:lnTo>
                  <a:pt x="4576038" y="1907294"/>
                </a:lnTo>
                <a:lnTo>
                  <a:pt x="4575062" y="1916280"/>
                </a:lnTo>
                <a:lnTo>
                  <a:pt x="4572023" y="1919204"/>
                </a:lnTo>
                <a:lnTo>
                  <a:pt x="4567683" y="1918662"/>
                </a:lnTo>
                <a:lnTo>
                  <a:pt x="4561172" y="1924400"/>
                </a:lnTo>
                <a:lnTo>
                  <a:pt x="4562257" y="1934903"/>
                </a:lnTo>
                <a:lnTo>
                  <a:pt x="4560629" y="1939559"/>
                </a:lnTo>
                <a:lnTo>
                  <a:pt x="4553901" y="1944647"/>
                </a:lnTo>
                <a:lnTo>
                  <a:pt x="4554878" y="1947137"/>
                </a:lnTo>
                <a:lnTo>
                  <a:pt x="4558784" y="1947679"/>
                </a:lnTo>
                <a:lnTo>
                  <a:pt x="4563559" y="1954608"/>
                </a:lnTo>
                <a:lnTo>
                  <a:pt x="4567140" y="1960347"/>
                </a:lnTo>
                <a:lnTo>
                  <a:pt x="4567140" y="1960671"/>
                </a:lnTo>
                <a:lnTo>
                  <a:pt x="4567899" y="1969224"/>
                </a:lnTo>
                <a:lnTo>
                  <a:pt x="4575061" y="1975504"/>
                </a:lnTo>
                <a:lnTo>
                  <a:pt x="4580270" y="1976262"/>
                </a:lnTo>
                <a:lnTo>
                  <a:pt x="4585805" y="1981783"/>
                </a:lnTo>
                <a:lnTo>
                  <a:pt x="4590688" y="1984490"/>
                </a:lnTo>
                <a:lnTo>
                  <a:pt x="4590688" y="1987522"/>
                </a:lnTo>
                <a:lnTo>
                  <a:pt x="4586455" y="1991744"/>
                </a:lnTo>
                <a:lnTo>
                  <a:pt x="4580487" y="1991203"/>
                </a:lnTo>
                <a:lnTo>
                  <a:pt x="4577232" y="1989363"/>
                </a:lnTo>
                <a:lnTo>
                  <a:pt x="4571806" y="1989363"/>
                </a:lnTo>
                <a:lnTo>
                  <a:pt x="4569635" y="1991420"/>
                </a:lnTo>
                <a:lnTo>
                  <a:pt x="4561497" y="1991203"/>
                </a:lnTo>
                <a:lnTo>
                  <a:pt x="4556614" y="1993152"/>
                </a:lnTo>
                <a:lnTo>
                  <a:pt x="4554118" y="1999648"/>
                </a:lnTo>
                <a:lnTo>
                  <a:pt x="4541638" y="2006036"/>
                </a:lnTo>
                <a:lnTo>
                  <a:pt x="4531655" y="2014481"/>
                </a:lnTo>
                <a:lnTo>
                  <a:pt x="4531329" y="2011233"/>
                </a:lnTo>
                <a:lnTo>
                  <a:pt x="4533716" y="2004195"/>
                </a:lnTo>
                <a:lnTo>
                  <a:pt x="4536429" y="2003979"/>
                </a:lnTo>
                <a:lnTo>
                  <a:pt x="4541096" y="2000948"/>
                </a:lnTo>
                <a:lnTo>
                  <a:pt x="4536538" y="2001489"/>
                </a:lnTo>
                <a:lnTo>
                  <a:pt x="4533716" y="2000622"/>
                </a:lnTo>
                <a:lnTo>
                  <a:pt x="4531003" y="2001272"/>
                </a:lnTo>
                <a:lnTo>
                  <a:pt x="4527205" y="1998999"/>
                </a:lnTo>
                <a:lnTo>
                  <a:pt x="4525144" y="1994776"/>
                </a:lnTo>
                <a:lnTo>
                  <a:pt x="4524927" y="1994776"/>
                </a:lnTo>
                <a:lnTo>
                  <a:pt x="4530135" y="1993477"/>
                </a:lnTo>
                <a:lnTo>
                  <a:pt x="4532848" y="1987955"/>
                </a:lnTo>
                <a:lnTo>
                  <a:pt x="4531871" y="1982758"/>
                </a:lnTo>
                <a:lnTo>
                  <a:pt x="4538057" y="1978969"/>
                </a:lnTo>
                <a:lnTo>
                  <a:pt x="4538383" y="1973122"/>
                </a:lnTo>
                <a:lnTo>
                  <a:pt x="4538382" y="1973122"/>
                </a:lnTo>
                <a:lnTo>
                  <a:pt x="4538056" y="1978968"/>
                </a:lnTo>
                <a:lnTo>
                  <a:pt x="4531871" y="1982758"/>
                </a:lnTo>
                <a:lnTo>
                  <a:pt x="4532848" y="1987954"/>
                </a:lnTo>
                <a:lnTo>
                  <a:pt x="4530135" y="1993476"/>
                </a:lnTo>
                <a:lnTo>
                  <a:pt x="4524926" y="1994776"/>
                </a:lnTo>
                <a:lnTo>
                  <a:pt x="4517547" y="1992827"/>
                </a:lnTo>
                <a:lnTo>
                  <a:pt x="4507780" y="1992827"/>
                </a:lnTo>
                <a:lnTo>
                  <a:pt x="4504525" y="1989038"/>
                </a:lnTo>
                <a:lnTo>
                  <a:pt x="4502572" y="1989038"/>
                </a:lnTo>
                <a:lnTo>
                  <a:pt x="4502354" y="1991419"/>
                </a:lnTo>
                <a:lnTo>
                  <a:pt x="4498014" y="1995858"/>
                </a:lnTo>
                <a:lnTo>
                  <a:pt x="4494108" y="1995534"/>
                </a:lnTo>
                <a:lnTo>
                  <a:pt x="4488790" y="1991528"/>
                </a:lnTo>
                <a:lnTo>
                  <a:pt x="4485426" y="1992827"/>
                </a:lnTo>
                <a:lnTo>
                  <a:pt x="4483581" y="1999107"/>
                </a:lnTo>
                <a:lnTo>
                  <a:pt x="4479783" y="2001272"/>
                </a:lnTo>
                <a:lnTo>
                  <a:pt x="4475117" y="1999864"/>
                </a:lnTo>
                <a:lnTo>
                  <a:pt x="4472513" y="2002788"/>
                </a:lnTo>
                <a:lnTo>
                  <a:pt x="4476853" y="2007768"/>
                </a:lnTo>
                <a:lnTo>
                  <a:pt x="4482171" y="2008526"/>
                </a:lnTo>
                <a:lnTo>
                  <a:pt x="4487162" y="2013182"/>
                </a:lnTo>
                <a:lnTo>
                  <a:pt x="4485752" y="2014806"/>
                </a:lnTo>
                <a:lnTo>
                  <a:pt x="4482496" y="2011558"/>
                </a:lnTo>
                <a:lnTo>
                  <a:pt x="4473598" y="2011233"/>
                </a:lnTo>
                <a:lnTo>
                  <a:pt x="4473490" y="2013940"/>
                </a:lnTo>
                <a:lnTo>
                  <a:pt x="4476745" y="2015239"/>
                </a:lnTo>
                <a:lnTo>
                  <a:pt x="4480326" y="2017946"/>
                </a:lnTo>
                <a:lnTo>
                  <a:pt x="4478481" y="2020978"/>
                </a:lnTo>
                <a:lnTo>
                  <a:pt x="4475226" y="2019678"/>
                </a:lnTo>
                <a:lnTo>
                  <a:pt x="4471428" y="2014481"/>
                </a:lnTo>
                <a:lnTo>
                  <a:pt x="4466544" y="2012857"/>
                </a:lnTo>
                <a:lnTo>
                  <a:pt x="4465894" y="2016105"/>
                </a:lnTo>
                <a:lnTo>
                  <a:pt x="4467847" y="2019678"/>
                </a:lnTo>
                <a:lnTo>
                  <a:pt x="4471645" y="2022276"/>
                </a:lnTo>
                <a:lnTo>
                  <a:pt x="4466436" y="2022385"/>
                </a:lnTo>
                <a:lnTo>
                  <a:pt x="4461661" y="2018595"/>
                </a:lnTo>
                <a:lnTo>
                  <a:pt x="4461010" y="2012857"/>
                </a:lnTo>
                <a:lnTo>
                  <a:pt x="4453523" y="2009392"/>
                </a:lnTo>
                <a:lnTo>
                  <a:pt x="4452980" y="2006902"/>
                </a:lnTo>
                <a:lnTo>
                  <a:pt x="4455693" y="2006902"/>
                </a:lnTo>
                <a:lnTo>
                  <a:pt x="4455042" y="2002246"/>
                </a:lnTo>
                <a:lnTo>
                  <a:pt x="4449182" y="2003437"/>
                </a:lnTo>
                <a:lnTo>
                  <a:pt x="4446144" y="2008309"/>
                </a:lnTo>
                <a:lnTo>
                  <a:pt x="4447012" y="2017729"/>
                </a:lnTo>
                <a:lnTo>
                  <a:pt x="4445058" y="2020219"/>
                </a:lnTo>
                <a:lnTo>
                  <a:pt x="4450701" y="2024984"/>
                </a:lnTo>
                <a:lnTo>
                  <a:pt x="4451352" y="2028231"/>
                </a:lnTo>
                <a:lnTo>
                  <a:pt x="4454499" y="2030505"/>
                </a:lnTo>
                <a:lnTo>
                  <a:pt x="4461661" y="2039383"/>
                </a:lnTo>
                <a:lnTo>
                  <a:pt x="4464808" y="2043173"/>
                </a:lnTo>
                <a:lnTo>
                  <a:pt x="4463289" y="2048694"/>
                </a:lnTo>
                <a:lnTo>
                  <a:pt x="4460684" y="2049344"/>
                </a:lnTo>
                <a:lnTo>
                  <a:pt x="4460251" y="2046854"/>
                </a:lnTo>
                <a:lnTo>
                  <a:pt x="4461444" y="2044255"/>
                </a:lnTo>
                <a:lnTo>
                  <a:pt x="4458514" y="2041874"/>
                </a:lnTo>
                <a:lnTo>
                  <a:pt x="4454825" y="2040466"/>
                </a:lnTo>
                <a:lnTo>
                  <a:pt x="4455042" y="2043173"/>
                </a:lnTo>
                <a:lnTo>
                  <a:pt x="4452437" y="2046421"/>
                </a:lnTo>
                <a:lnTo>
                  <a:pt x="4457212" y="2047720"/>
                </a:lnTo>
                <a:lnTo>
                  <a:pt x="4457321" y="2050210"/>
                </a:lnTo>
                <a:lnTo>
                  <a:pt x="4454499" y="2053675"/>
                </a:lnTo>
                <a:lnTo>
                  <a:pt x="4449399" y="2054325"/>
                </a:lnTo>
                <a:lnTo>
                  <a:pt x="4454065" y="2058547"/>
                </a:lnTo>
                <a:lnTo>
                  <a:pt x="4458840" y="2059088"/>
                </a:lnTo>
                <a:lnTo>
                  <a:pt x="4460793" y="2061579"/>
                </a:lnTo>
                <a:lnTo>
                  <a:pt x="4463831" y="2061362"/>
                </a:lnTo>
                <a:lnTo>
                  <a:pt x="4465459" y="2064069"/>
                </a:lnTo>
                <a:lnTo>
                  <a:pt x="4468932" y="2064935"/>
                </a:lnTo>
                <a:lnTo>
                  <a:pt x="4480001" y="2071865"/>
                </a:lnTo>
                <a:lnTo>
                  <a:pt x="4481628" y="2074896"/>
                </a:lnTo>
                <a:lnTo>
                  <a:pt x="4480543" y="2080310"/>
                </a:lnTo>
                <a:lnTo>
                  <a:pt x="4484449" y="2086156"/>
                </a:lnTo>
                <a:lnTo>
                  <a:pt x="4483256" y="2088863"/>
                </a:lnTo>
                <a:lnTo>
                  <a:pt x="4478698" y="2088322"/>
                </a:lnTo>
                <a:lnTo>
                  <a:pt x="4477939" y="2086265"/>
                </a:lnTo>
                <a:lnTo>
                  <a:pt x="4471428" y="2081826"/>
                </a:lnTo>
                <a:lnTo>
                  <a:pt x="4468932" y="2083991"/>
                </a:lnTo>
                <a:lnTo>
                  <a:pt x="4464808" y="2083774"/>
                </a:lnTo>
                <a:lnTo>
                  <a:pt x="4460251" y="2085723"/>
                </a:lnTo>
                <a:lnTo>
                  <a:pt x="4464917" y="2089404"/>
                </a:lnTo>
                <a:lnTo>
                  <a:pt x="4464591" y="2091678"/>
                </a:lnTo>
                <a:lnTo>
                  <a:pt x="4468606" y="2094277"/>
                </a:lnTo>
                <a:lnTo>
                  <a:pt x="4470451" y="2094710"/>
                </a:lnTo>
                <a:lnTo>
                  <a:pt x="4470885" y="2096767"/>
                </a:lnTo>
                <a:lnTo>
                  <a:pt x="4473055" y="2098391"/>
                </a:lnTo>
                <a:lnTo>
                  <a:pt x="4472947" y="2100232"/>
                </a:lnTo>
                <a:lnTo>
                  <a:pt x="4467521" y="2098391"/>
                </a:lnTo>
                <a:lnTo>
                  <a:pt x="4464808" y="2101314"/>
                </a:lnTo>
                <a:lnTo>
                  <a:pt x="4463181" y="2099473"/>
                </a:lnTo>
                <a:lnTo>
                  <a:pt x="4464808" y="2097524"/>
                </a:lnTo>
                <a:lnTo>
                  <a:pt x="4459491" y="2094818"/>
                </a:lnTo>
                <a:lnTo>
                  <a:pt x="4456670" y="2095142"/>
                </a:lnTo>
                <a:lnTo>
                  <a:pt x="4456453" y="2096983"/>
                </a:lnTo>
                <a:lnTo>
                  <a:pt x="4459383" y="2101422"/>
                </a:lnTo>
                <a:lnTo>
                  <a:pt x="4462638" y="2109218"/>
                </a:lnTo>
                <a:lnTo>
                  <a:pt x="4465134" y="2113873"/>
                </a:lnTo>
                <a:lnTo>
                  <a:pt x="4464374" y="2117122"/>
                </a:lnTo>
                <a:lnTo>
                  <a:pt x="4467304" y="2121993"/>
                </a:lnTo>
                <a:lnTo>
                  <a:pt x="4460251" y="2117338"/>
                </a:lnTo>
                <a:lnTo>
                  <a:pt x="4458406" y="2113007"/>
                </a:lnTo>
                <a:lnTo>
                  <a:pt x="4454499" y="2113007"/>
                </a:lnTo>
                <a:lnTo>
                  <a:pt x="4452112" y="2118421"/>
                </a:lnTo>
                <a:lnTo>
                  <a:pt x="4452112" y="2125134"/>
                </a:lnTo>
                <a:lnTo>
                  <a:pt x="4449399" y="2121885"/>
                </a:lnTo>
                <a:lnTo>
                  <a:pt x="4450267" y="2117879"/>
                </a:lnTo>
                <a:lnTo>
                  <a:pt x="4448856" y="2114414"/>
                </a:lnTo>
                <a:lnTo>
                  <a:pt x="4442563" y="2111708"/>
                </a:lnTo>
                <a:lnTo>
                  <a:pt x="4440934" y="2106511"/>
                </a:lnTo>
                <a:lnTo>
                  <a:pt x="4439090" y="2110625"/>
                </a:lnTo>
                <a:lnTo>
                  <a:pt x="4440175" y="2113007"/>
                </a:lnTo>
                <a:lnTo>
                  <a:pt x="4438873" y="2116038"/>
                </a:lnTo>
                <a:lnTo>
                  <a:pt x="4436052" y="2112791"/>
                </a:lnTo>
                <a:lnTo>
                  <a:pt x="4431711" y="2107269"/>
                </a:lnTo>
                <a:lnTo>
                  <a:pt x="4431277" y="2102722"/>
                </a:lnTo>
                <a:lnTo>
                  <a:pt x="4433339" y="2100340"/>
                </a:lnTo>
                <a:lnTo>
                  <a:pt x="4432796" y="2096983"/>
                </a:lnTo>
                <a:lnTo>
                  <a:pt x="4427695" y="2092219"/>
                </a:lnTo>
                <a:lnTo>
                  <a:pt x="4422487" y="2089729"/>
                </a:lnTo>
                <a:lnTo>
                  <a:pt x="4417387" y="2083991"/>
                </a:lnTo>
                <a:lnTo>
                  <a:pt x="4419014" y="2079768"/>
                </a:lnTo>
                <a:lnTo>
                  <a:pt x="4421510" y="2079118"/>
                </a:lnTo>
                <a:lnTo>
                  <a:pt x="4424982" y="2074788"/>
                </a:lnTo>
                <a:lnTo>
                  <a:pt x="4429107" y="2076737"/>
                </a:lnTo>
                <a:lnTo>
                  <a:pt x="4433121" y="2074355"/>
                </a:lnTo>
                <a:lnTo>
                  <a:pt x="4437245" y="2072947"/>
                </a:lnTo>
                <a:lnTo>
                  <a:pt x="4446686" y="2079118"/>
                </a:lnTo>
                <a:lnTo>
                  <a:pt x="4451027" y="2080201"/>
                </a:lnTo>
                <a:lnTo>
                  <a:pt x="4454282" y="2082800"/>
                </a:lnTo>
                <a:lnTo>
                  <a:pt x="4457538" y="2079660"/>
                </a:lnTo>
                <a:lnTo>
                  <a:pt x="4461119" y="2077494"/>
                </a:lnTo>
                <a:lnTo>
                  <a:pt x="4456127" y="2076520"/>
                </a:lnTo>
                <a:lnTo>
                  <a:pt x="4453523" y="2074571"/>
                </a:lnTo>
                <a:lnTo>
                  <a:pt x="4450484" y="2074788"/>
                </a:lnTo>
                <a:lnTo>
                  <a:pt x="4449724" y="2071539"/>
                </a:lnTo>
                <a:lnTo>
                  <a:pt x="4445926" y="2073272"/>
                </a:lnTo>
                <a:lnTo>
                  <a:pt x="4439633" y="2069482"/>
                </a:lnTo>
                <a:lnTo>
                  <a:pt x="4435617" y="2069157"/>
                </a:lnTo>
                <a:lnTo>
                  <a:pt x="4433339" y="2072730"/>
                </a:lnTo>
                <a:lnTo>
                  <a:pt x="4427695" y="2072081"/>
                </a:lnTo>
                <a:lnTo>
                  <a:pt x="4424114" y="2067534"/>
                </a:lnTo>
                <a:lnTo>
                  <a:pt x="4420100" y="2072406"/>
                </a:lnTo>
                <a:lnTo>
                  <a:pt x="4417061" y="2071106"/>
                </a:lnTo>
                <a:lnTo>
                  <a:pt x="4415433" y="2064610"/>
                </a:lnTo>
                <a:lnTo>
                  <a:pt x="4408705" y="2055299"/>
                </a:lnTo>
                <a:lnTo>
                  <a:pt x="4409248" y="2053133"/>
                </a:lnTo>
                <a:lnTo>
                  <a:pt x="4406861" y="2052592"/>
                </a:lnTo>
                <a:lnTo>
                  <a:pt x="4401977" y="2045447"/>
                </a:lnTo>
                <a:lnTo>
                  <a:pt x="4393296" y="2038951"/>
                </a:lnTo>
                <a:lnTo>
                  <a:pt x="4392970" y="2032129"/>
                </a:lnTo>
                <a:lnTo>
                  <a:pt x="4392429" y="2031697"/>
                </a:lnTo>
                <a:lnTo>
                  <a:pt x="4392428" y="2031698"/>
                </a:lnTo>
                <a:lnTo>
                  <a:pt x="4388196" y="2028882"/>
                </a:lnTo>
                <a:lnTo>
                  <a:pt x="4383855" y="2017622"/>
                </a:lnTo>
                <a:lnTo>
                  <a:pt x="4375174" y="2017298"/>
                </a:lnTo>
                <a:lnTo>
                  <a:pt x="4372678" y="2014374"/>
                </a:lnTo>
                <a:lnTo>
                  <a:pt x="4374414" y="2008961"/>
                </a:lnTo>
                <a:lnTo>
                  <a:pt x="4371919" y="2004629"/>
                </a:lnTo>
                <a:lnTo>
                  <a:pt x="4371919" y="1998891"/>
                </a:lnTo>
                <a:lnTo>
                  <a:pt x="4374089" y="1993803"/>
                </a:lnTo>
                <a:lnTo>
                  <a:pt x="4371159" y="1986224"/>
                </a:lnTo>
                <a:lnTo>
                  <a:pt x="4373329" y="1975721"/>
                </a:lnTo>
                <a:lnTo>
                  <a:pt x="4375500" y="1974639"/>
                </a:lnTo>
                <a:lnTo>
                  <a:pt x="4376259" y="1970958"/>
                </a:lnTo>
                <a:lnTo>
                  <a:pt x="4369206" y="1967493"/>
                </a:lnTo>
                <a:lnTo>
                  <a:pt x="4363997" y="1964895"/>
                </a:lnTo>
                <a:lnTo>
                  <a:pt x="4363237" y="1961213"/>
                </a:lnTo>
                <a:lnTo>
                  <a:pt x="4354231" y="1950062"/>
                </a:lnTo>
                <a:lnTo>
                  <a:pt x="4349564" y="1948113"/>
                </a:lnTo>
                <a:lnTo>
                  <a:pt x="4347937" y="1945947"/>
                </a:lnTo>
                <a:lnTo>
                  <a:pt x="4350215" y="1944648"/>
                </a:lnTo>
                <a:lnTo>
                  <a:pt x="4353037" y="1939559"/>
                </a:lnTo>
                <a:lnTo>
                  <a:pt x="4353145" y="1933171"/>
                </a:lnTo>
                <a:lnTo>
                  <a:pt x="4355099" y="1928299"/>
                </a:lnTo>
                <a:lnTo>
                  <a:pt x="4358463" y="1927974"/>
                </a:lnTo>
                <a:lnTo>
                  <a:pt x="4362153" y="1926134"/>
                </a:lnTo>
                <a:lnTo>
                  <a:pt x="4360524" y="1922669"/>
                </a:lnTo>
                <a:lnTo>
                  <a:pt x="4362152" y="1926133"/>
                </a:lnTo>
                <a:lnTo>
                  <a:pt x="4358462" y="1927973"/>
                </a:lnTo>
                <a:lnTo>
                  <a:pt x="4355098" y="1928298"/>
                </a:lnTo>
                <a:lnTo>
                  <a:pt x="4353145" y="1933171"/>
                </a:lnTo>
                <a:lnTo>
                  <a:pt x="4353037" y="1939559"/>
                </a:lnTo>
                <a:lnTo>
                  <a:pt x="4350215" y="1944647"/>
                </a:lnTo>
                <a:lnTo>
                  <a:pt x="4347936" y="1945947"/>
                </a:lnTo>
                <a:lnTo>
                  <a:pt x="4342836" y="1939017"/>
                </a:lnTo>
                <a:lnTo>
                  <a:pt x="4340339" y="1940316"/>
                </a:lnTo>
                <a:lnTo>
                  <a:pt x="4331333" y="1938800"/>
                </a:lnTo>
                <a:lnTo>
                  <a:pt x="4328403" y="1938151"/>
                </a:lnTo>
                <a:lnTo>
                  <a:pt x="4328294" y="1938151"/>
                </a:lnTo>
                <a:lnTo>
                  <a:pt x="4328294" y="1938151"/>
                </a:lnTo>
                <a:lnTo>
                  <a:pt x="4328294" y="1938151"/>
                </a:lnTo>
                <a:lnTo>
                  <a:pt x="4328303" y="1938129"/>
                </a:lnTo>
                <a:lnTo>
                  <a:pt x="4328303" y="1938129"/>
                </a:lnTo>
                <a:lnTo>
                  <a:pt x="4329437" y="1935442"/>
                </a:lnTo>
                <a:lnTo>
                  <a:pt x="4328303" y="1938129"/>
                </a:lnTo>
                <a:lnTo>
                  <a:pt x="4323411" y="1937068"/>
                </a:lnTo>
                <a:lnTo>
                  <a:pt x="4320481" y="1933387"/>
                </a:lnTo>
                <a:lnTo>
                  <a:pt x="4325907" y="1936310"/>
                </a:lnTo>
                <a:lnTo>
                  <a:pt x="4329163" y="1935985"/>
                </a:lnTo>
                <a:lnTo>
                  <a:pt x="4317551" y="1924075"/>
                </a:lnTo>
                <a:lnTo>
                  <a:pt x="4311799" y="1921152"/>
                </a:lnTo>
                <a:lnTo>
                  <a:pt x="4301274" y="1920286"/>
                </a:lnTo>
                <a:lnTo>
                  <a:pt x="4295848" y="1921369"/>
                </a:lnTo>
                <a:lnTo>
                  <a:pt x="4293352" y="1918445"/>
                </a:lnTo>
                <a:lnTo>
                  <a:pt x="4291507" y="1914331"/>
                </a:lnTo>
                <a:lnTo>
                  <a:pt x="4286298" y="1912490"/>
                </a:lnTo>
                <a:lnTo>
                  <a:pt x="4280981" y="1907510"/>
                </a:lnTo>
                <a:lnTo>
                  <a:pt x="4275772" y="1907510"/>
                </a:lnTo>
                <a:lnTo>
                  <a:pt x="4273602" y="1903287"/>
                </a:lnTo>
                <a:lnTo>
                  <a:pt x="4275446" y="1899390"/>
                </a:lnTo>
                <a:lnTo>
                  <a:pt x="4279570" y="1898848"/>
                </a:lnTo>
                <a:lnTo>
                  <a:pt x="4283151" y="1900039"/>
                </a:lnTo>
                <a:lnTo>
                  <a:pt x="4279028" y="1895600"/>
                </a:lnTo>
                <a:lnTo>
                  <a:pt x="4277183" y="1895167"/>
                </a:lnTo>
                <a:lnTo>
                  <a:pt x="4270021" y="1888562"/>
                </a:lnTo>
                <a:lnTo>
                  <a:pt x="4266549" y="1881850"/>
                </a:lnTo>
                <a:lnTo>
                  <a:pt x="4265137" y="1874813"/>
                </a:lnTo>
                <a:lnTo>
                  <a:pt x="4260471" y="1871023"/>
                </a:lnTo>
                <a:lnTo>
                  <a:pt x="4259169" y="1866368"/>
                </a:lnTo>
                <a:lnTo>
                  <a:pt x="4253310" y="1866475"/>
                </a:lnTo>
                <a:lnTo>
                  <a:pt x="4249728" y="1870698"/>
                </a:lnTo>
                <a:lnTo>
                  <a:pt x="4248860" y="1875678"/>
                </a:lnTo>
                <a:lnTo>
                  <a:pt x="4243000" y="1885098"/>
                </a:lnTo>
                <a:lnTo>
                  <a:pt x="4240830" y="1883258"/>
                </a:lnTo>
                <a:lnTo>
                  <a:pt x="4241372" y="1881525"/>
                </a:lnTo>
                <a:lnTo>
                  <a:pt x="4236055" y="1876436"/>
                </a:lnTo>
                <a:lnTo>
                  <a:pt x="4234536" y="1867017"/>
                </a:lnTo>
                <a:lnTo>
                  <a:pt x="4234536" y="1866477"/>
                </a:lnTo>
                <a:lnTo>
                  <a:pt x="4234536" y="1866475"/>
                </a:lnTo>
                <a:lnTo>
                  <a:pt x="4234753" y="1862146"/>
                </a:lnTo>
                <a:lnTo>
                  <a:pt x="4238768" y="1861063"/>
                </a:lnTo>
                <a:lnTo>
                  <a:pt x="4238877" y="1857814"/>
                </a:lnTo>
                <a:lnTo>
                  <a:pt x="4234210" y="1855649"/>
                </a:lnTo>
                <a:lnTo>
                  <a:pt x="4233776" y="1855541"/>
                </a:lnTo>
                <a:lnTo>
                  <a:pt x="4232583" y="1847421"/>
                </a:lnTo>
                <a:lnTo>
                  <a:pt x="4232582" y="1847421"/>
                </a:lnTo>
                <a:lnTo>
                  <a:pt x="4233776" y="1855542"/>
                </a:lnTo>
                <a:lnTo>
                  <a:pt x="4228351" y="1854242"/>
                </a:lnTo>
                <a:lnTo>
                  <a:pt x="4225095" y="1855866"/>
                </a:lnTo>
                <a:lnTo>
                  <a:pt x="4221731" y="1859331"/>
                </a:lnTo>
                <a:lnTo>
                  <a:pt x="4216413" y="1859331"/>
                </a:lnTo>
                <a:lnTo>
                  <a:pt x="4211531" y="1863662"/>
                </a:lnTo>
                <a:lnTo>
                  <a:pt x="4206321" y="1864311"/>
                </a:lnTo>
                <a:lnTo>
                  <a:pt x="4204477" y="1867993"/>
                </a:lnTo>
                <a:lnTo>
                  <a:pt x="4207081" y="1872973"/>
                </a:lnTo>
                <a:lnTo>
                  <a:pt x="4210337" y="1877196"/>
                </a:lnTo>
                <a:lnTo>
                  <a:pt x="4206647" y="1882609"/>
                </a:lnTo>
                <a:lnTo>
                  <a:pt x="4204477" y="1884342"/>
                </a:lnTo>
                <a:lnTo>
                  <a:pt x="4207190" y="1890297"/>
                </a:lnTo>
                <a:lnTo>
                  <a:pt x="4207949" y="1897226"/>
                </a:lnTo>
                <a:lnTo>
                  <a:pt x="4210445" y="1900799"/>
                </a:lnTo>
                <a:lnTo>
                  <a:pt x="4220971" y="1906429"/>
                </a:lnTo>
                <a:lnTo>
                  <a:pt x="4226723" y="1909460"/>
                </a:lnTo>
                <a:lnTo>
                  <a:pt x="4229652" y="1913466"/>
                </a:lnTo>
                <a:lnTo>
                  <a:pt x="4245171" y="1929166"/>
                </a:lnTo>
                <a:lnTo>
                  <a:pt x="4245604" y="1933280"/>
                </a:lnTo>
                <a:lnTo>
                  <a:pt x="4247558" y="1934363"/>
                </a:lnTo>
                <a:lnTo>
                  <a:pt x="4247775" y="1939235"/>
                </a:lnTo>
                <a:lnTo>
                  <a:pt x="4251030" y="1943890"/>
                </a:lnTo>
                <a:lnTo>
                  <a:pt x="4255371" y="1948329"/>
                </a:lnTo>
                <a:lnTo>
                  <a:pt x="4258735" y="1953635"/>
                </a:lnTo>
                <a:lnTo>
                  <a:pt x="4265789" y="1959049"/>
                </a:lnTo>
                <a:lnTo>
                  <a:pt x="4269153" y="1962513"/>
                </a:lnTo>
                <a:lnTo>
                  <a:pt x="4273602" y="1963379"/>
                </a:lnTo>
                <a:lnTo>
                  <a:pt x="4276640" y="1965220"/>
                </a:lnTo>
                <a:lnTo>
                  <a:pt x="4285756" y="1965220"/>
                </a:lnTo>
                <a:lnTo>
                  <a:pt x="4289554" y="1966302"/>
                </a:lnTo>
                <a:lnTo>
                  <a:pt x="4295305" y="1965437"/>
                </a:lnTo>
                <a:lnTo>
                  <a:pt x="4299429" y="1967602"/>
                </a:lnTo>
                <a:lnTo>
                  <a:pt x="4298560" y="1970850"/>
                </a:lnTo>
                <a:lnTo>
                  <a:pt x="4292592" y="1974965"/>
                </a:lnTo>
                <a:lnTo>
                  <a:pt x="4292375" y="1977130"/>
                </a:lnTo>
                <a:lnTo>
                  <a:pt x="4294762" y="1980920"/>
                </a:lnTo>
                <a:lnTo>
                  <a:pt x="4299646" y="1980920"/>
                </a:lnTo>
                <a:lnTo>
                  <a:pt x="4308652" y="1983085"/>
                </a:lnTo>
                <a:lnTo>
                  <a:pt x="4327534" y="1993153"/>
                </a:lnTo>
                <a:lnTo>
                  <a:pt x="4334805" y="1998675"/>
                </a:lnTo>
                <a:lnTo>
                  <a:pt x="4339580" y="2003656"/>
                </a:lnTo>
                <a:lnTo>
                  <a:pt x="4347393" y="2005605"/>
                </a:lnTo>
                <a:lnTo>
                  <a:pt x="4351408" y="2008420"/>
                </a:lnTo>
                <a:lnTo>
                  <a:pt x="4353144" y="2011559"/>
                </a:lnTo>
                <a:lnTo>
                  <a:pt x="4352493" y="2017732"/>
                </a:lnTo>
                <a:lnTo>
                  <a:pt x="4350432" y="2020655"/>
                </a:lnTo>
                <a:lnTo>
                  <a:pt x="4350974" y="2024552"/>
                </a:lnTo>
                <a:lnTo>
                  <a:pt x="4349672" y="2025526"/>
                </a:lnTo>
                <a:lnTo>
                  <a:pt x="4349564" y="2026934"/>
                </a:lnTo>
                <a:lnTo>
                  <a:pt x="4345331" y="2025202"/>
                </a:lnTo>
                <a:lnTo>
                  <a:pt x="4341967" y="2020979"/>
                </a:lnTo>
                <a:lnTo>
                  <a:pt x="4340014" y="2016648"/>
                </a:lnTo>
                <a:lnTo>
                  <a:pt x="4340556" y="2013075"/>
                </a:lnTo>
                <a:lnTo>
                  <a:pt x="4337952" y="2011559"/>
                </a:lnTo>
                <a:lnTo>
                  <a:pt x="4330573" y="2011451"/>
                </a:lnTo>
                <a:lnTo>
                  <a:pt x="4329162" y="2009286"/>
                </a:lnTo>
                <a:lnTo>
                  <a:pt x="4324279" y="2006904"/>
                </a:lnTo>
                <a:lnTo>
                  <a:pt x="4321023" y="2007337"/>
                </a:lnTo>
                <a:lnTo>
                  <a:pt x="4318853" y="2008745"/>
                </a:lnTo>
                <a:lnTo>
                  <a:pt x="4317225" y="2014483"/>
                </a:lnTo>
                <a:lnTo>
                  <a:pt x="4314512" y="2017406"/>
                </a:lnTo>
                <a:lnTo>
                  <a:pt x="4314730" y="2020438"/>
                </a:lnTo>
                <a:lnTo>
                  <a:pt x="4313970" y="2024011"/>
                </a:lnTo>
                <a:lnTo>
                  <a:pt x="4310497" y="2026393"/>
                </a:lnTo>
                <a:lnTo>
                  <a:pt x="4310497" y="2029966"/>
                </a:lnTo>
                <a:lnTo>
                  <a:pt x="4312125" y="2032348"/>
                </a:lnTo>
                <a:lnTo>
                  <a:pt x="4315923" y="2032889"/>
                </a:lnTo>
                <a:lnTo>
                  <a:pt x="4322651" y="2039169"/>
                </a:lnTo>
                <a:lnTo>
                  <a:pt x="4323953" y="2041875"/>
                </a:lnTo>
                <a:lnTo>
                  <a:pt x="4323194" y="2048047"/>
                </a:lnTo>
                <a:lnTo>
                  <a:pt x="4324388" y="2050213"/>
                </a:lnTo>
                <a:lnTo>
                  <a:pt x="4322760" y="2053677"/>
                </a:lnTo>
                <a:lnTo>
                  <a:pt x="4318636" y="2054760"/>
                </a:lnTo>
                <a:lnTo>
                  <a:pt x="4314730" y="2058874"/>
                </a:lnTo>
                <a:lnTo>
                  <a:pt x="4314078" y="2069918"/>
                </a:lnTo>
                <a:lnTo>
                  <a:pt x="4307568" y="2075115"/>
                </a:lnTo>
                <a:lnTo>
                  <a:pt x="4306699" y="2080203"/>
                </a:lnTo>
                <a:lnTo>
                  <a:pt x="4303227" y="2084859"/>
                </a:lnTo>
                <a:lnTo>
                  <a:pt x="4296390" y="2085401"/>
                </a:lnTo>
                <a:lnTo>
                  <a:pt x="4291182" y="2080203"/>
                </a:lnTo>
                <a:lnTo>
                  <a:pt x="4290964" y="2076522"/>
                </a:lnTo>
                <a:lnTo>
                  <a:pt x="4292158" y="2074681"/>
                </a:lnTo>
                <a:lnTo>
                  <a:pt x="4294980" y="2073166"/>
                </a:lnTo>
                <a:lnTo>
                  <a:pt x="4297801" y="2069918"/>
                </a:lnTo>
                <a:lnTo>
                  <a:pt x="4298452" y="2065370"/>
                </a:lnTo>
                <a:lnTo>
                  <a:pt x="4297801" y="2060607"/>
                </a:lnTo>
                <a:lnTo>
                  <a:pt x="4299211" y="2059848"/>
                </a:lnTo>
                <a:lnTo>
                  <a:pt x="4301165" y="2059740"/>
                </a:lnTo>
                <a:lnTo>
                  <a:pt x="4303661" y="2056709"/>
                </a:lnTo>
                <a:lnTo>
                  <a:pt x="4303770" y="2052378"/>
                </a:lnTo>
                <a:lnTo>
                  <a:pt x="4301165" y="2048372"/>
                </a:lnTo>
                <a:lnTo>
                  <a:pt x="4299103" y="2039927"/>
                </a:lnTo>
                <a:lnTo>
                  <a:pt x="4296607" y="2036679"/>
                </a:lnTo>
                <a:lnTo>
                  <a:pt x="4295522" y="2029424"/>
                </a:lnTo>
                <a:lnTo>
                  <a:pt x="4293352" y="2021846"/>
                </a:lnTo>
                <a:lnTo>
                  <a:pt x="4289879" y="2019680"/>
                </a:lnTo>
                <a:lnTo>
                  <a:pt x="4287166" y="2021304"/>
                </a:lnTo>
                <a:lnTo>
                  <a:pt x="4280981" y="2019897"/>
                </a:lnTo>
                <a:lnTo>
                  <a:pt x="4279028" y="2015891"/>
                </a:lnTo>
                <a:lnTo>
                  <a:pt x="4274144" y="2015566"/>
                </a:lnTo>
                <a:lnTo>
                  <a:pt x="4271757" y="2013184"/>
                </a:lnTo>
                <a:lnTo>
                  <a:pt x="4272842" y="2011235"/>
                </a:lnTo>
                <a:lnTo>
                  <a:pt x="4273385" y="2006579"/>
                </a:lnTo>
                <a:lnTo>
                  <a:pt x="4270346" y="2002573"/>
                </a:lnTo>
                <a:lnTo>
                  <a:pt x="4266006" y="2002249"/>
                </a:lnTo>
                <a:lnTo>
                  <a:pt x="4261882" y="2002357"/>
                </a:lnTo>
                <a:lnTo>
                  <a:pt x="4262208" y="1999108"/>
                </a:lnTo>
                <a:lnTo>
                  <a:pt x="4258192" y="1997701"/>
                </a:lnTo>
                <a:lnTo>
                  <a:pt x="4255480" y="1998784"/>
                </a:lnTo>
                <a:lnTo>
                  <a:pt x="4252441" y="1996835"/>
                </a:lnTo>
                <a:lnTo>
                  <a:pt x="4247341" y="1987416"/>
                </a:lnTo>
                <a:lnTo>
                  <a:pt x="4242675" y="1987090"/>
                </a:lnTo>
                <a:lnTo>
                  <a:pt x="4237791" y="1985033"/>
                </a:lnTo>
                <a:lnTo>
                  <a:pt x="4234753" y="1987957"/>
                </a:lnTo>
                <a:lnTo>
                  <a:pt x="4230412" y="1987957"/>
                </a:lnTo>
                <a:lnTo>
                  <a:pt x="4229436" y="1983951"/>
                </a:lnTo>
                <a:lnTo>
                  <a:pt x="4225529" y="1981244"/>
                </a:lnTo>
                <a:lnTo>
                  <a:pt x="4220971" y="1980594"/>
                </a:lnTo>
                <a:lnTo>
                  <a:pt x="4211531" y="1973557"/>
                </a:lnTo>
                <a:lnTo>
                  <a:pt x="4201764" y="1961106"/>
                </a:lnTo>
                <a:lnTo>
                  <a:pt x="4198725" y="1960023"/>
                </a:lnTo>
                <a:lnTo>
                  <a:pt x="4197857" y="1956233"/>
                </a:lnTo>
                <a:lnTo>
                  <a:pt x="4193517" y="1950386"/>
                </a:lnTo>
                <a:lnTo>
                  <a:pt x="4186571" y="1950278"/>
                </a:lnTo>
                <a:lnTo>
                  <a:pt x="4185921" y="1945947"/>
                </a:lnTo>
                <a:lnTo>
                  <a:pt x="4179410" y="1939776"/>
                </a:lnTo>
                <a:lnTo>
                  <a:pt x="4175720" y="1935229"/>
                </a:lnTo>
                <a:lnTo>
                  <a:pt x="4170186" y="1932522"/>
                </a:lnTo>
                <a:lnTo>
                  <a:pt x="4170294" y="1925917"/>
                </a:lnTo>
                <a:lnTo>
                  <a:pt x="4166604" y="1923535"/>
                </a:lnTo>
                <a:lnTo>
                  <a:pt x="4166388" y="1919421"/>
                </a:lnTo>
                <a:lnTo>
                  <a:pt x="4162047" y="1912384"/>
                </a:lnTo>
                <a:lnTo>
                  <a:pt x="4160093" y="1908703"/>
                </a:lnTo>
                <a:lnTo>
                  <a:pt x="4158791" y="1906104"/>
                </a:lnTo>
                <a:lnTo>
                  <a:pt x="4156730" y="1902315"/>
                </a:lnTo>
                <a:lnTo>
                  <a:pt x="4149676" y="1900258"/>
                </a:lnTo>
                <a:lnTo>
                  <a:pt x="4145010" y="1897226"/>
                </a:lnTo>
                <a:lnTo>
                  <a:pt x="4129058" y="1893003"/>
                </a:lnTo>
                <a:lnTo>
                  <a:pt x="4116795" y="1899933"/>
                </a:lnTo>
                <a:lnTo>
                  <a:pt x="4116687" y="1903831"/>
                </a:lnTo>
                <a:lnTo>
                  <a:pt x="4112454" y="1909135"/>
                </a:lnTo>
                <a:lnTo>
                  <a:pt x="4101060" y="1911084"/>
                </a:lnTo>
                <a:lnTo>
                  <a:pt x="4101060" y="1911084"/>
                </a:lnTo>
                <a:lnTo>
                  <a:pt x="4100193" y="1911301"/>
                </a:lnTo>
                <a:lnTo>
                  <a:pt x="4085109" y="1922452"/>
                </a:lnTo>
                <a:lnTo>
                  <a:pt x="4080985" y="1927649"/>
                </a:lnTo>
                <a:lnTo>
                  <a:pt x="4081853" y="1930031"/>
                </a:lnTo>
                <a:lnTo>
                  <a:pt x="4077404" y="1933821"/>
                </a:lnTo>
                <a:lnTo>
                  <a:pt x="4066661" y="1933279"/>
                </a:lnTo>
                <a:lnTo>
                  <a:pt x="4062755" y="1929815"/>
                </a:lnTo>
                <a:lnTo>
                  <a:pt x="4048321" y="1920828"/>
                </a:lnTo>
                <a:lnTo>
                  <a:pt x="4044849" y="1921153"/>
                </a:lnTo>
                <a:lnTo>
                  <a:pt x="4041160" y="1924077"/>
                </a:lnTo>
                <a:lnTo>
                  <a:pt x="4037253" y="1924077"/>
                </a:lnTo>
                <a:lnTo>
                  <a:pt x="4031393" y="1920612"/>
                </a:lnTo>
                <a:lnTo>
                  <a:pt x="4025967" y="1919854"/>
                </a:lnTo>
                <a:lnTo>
                  <a:pt x="4023255" y="1917905"/>
                </a:lnTo>
                <a:lnTo>
                  <a:pt x="4020541" y="1918122"/>
                </a:lnTo>
                <a:lnTo>
                  <a:pt x="4012294" y="1927000"/>
                </a:lnTo>
                <a:lnTo>
                  <a:pt x="4006868" y="1931872"/>
                </a:lnTo>
                <a:lnTo>
                  <a:pt x="4006326" y="1935769"/>
                </a:lnTo>
                <a:lnTo>
                  <a:pt x="4004481" y="1943890"/>
                </a:lnTo>
                <a:lnTo>
                  <a:pt x="4006326" y="1950819"/>
                </a:lnTo>
                <a:lnTo>
                  <a:pt x="4006543" y="1953093"/>
                </a:lnTo>
                <a:lnTo>
                  <a:pt x="4006108" y="1952932"/>
                </a:lnTo>
                <a:lnTo>
                  <a:pt x="4006108" y="1955149"/>
                </a:lnTo>
                <a:lnTo>
                  <a:pt x="4002310" y="1957640"/>
                </a:lnTo>
                <a:lnTo>
                  <a:pt x="4003613" y="1965218"/>
                </a:lnTo>
                <a:lnTo>
                  <a:pt x="4002962" y="1971065"/>
                </a:lnTo>
                <a:lnTo>
                  <a:pt x="4000574" y="1975612"/>
                </a:lnTo>
                <a:lnTo>
                  <a:pt x="3991567" y="1981026"/>
                </a:lnTo>
                <a:cubicBezTo>
                  <a:pt x="3990325" y="1982795"/>
                  <a:pt x="3988984" y="1984494"/>
                  <a:pt x="3987553" y="1986114"/>
                </a:cubicBezTo>
                <a:lnTo>
                  <a:pt x="3979956" y="1989146"/>
                </a:lnTo>
                <a:lnTo>
                  <a:pt x="3970733" y="1989146"/>
                </a:lnTo>
                <a:lnTo>
                  <a:pt x="3964763" y="1993369"/>
                </a:lnTo>
                <a:lnTo>
                  <a:pt x="3959338" y="1996292"/>
                </a:lnTo>
                <a:lnTo>
                  <a:pt x="3961834" y="1998457"/>
                </a:lnTo>
                <a:lnTo>
                  <a:pt x="3960640" y="2004087"/>
                </a:lnTo>
                <a:lnTo>
                  <a:pt x="3957276" y="2006144"/>
                </a:lnTo>
                <a:lnTo>
                  <a:pt x="3957276" y="2005603"/>
                </a:lnTo>
                <a:lnTo>
                  <a:pt x="3958144" y="2004845"/>
                </a:lnTo>
                <a:lnTo>
                  <a:pt x="3955649" y="2003979"/>
                </a:lnTo>
                <a:lnTo>
                  <a:pt x="3948811" y="2015672"/>
                </a:lnTo>
                <a:lnTo>
                  <a:pt x="3943928" y="2018054"/>
                </a:lnTo>
                <a:lnTo>
                  <a:pt x="3934704" y="2033429"/>
                </a:lnTo>
                <a:lnTo>
                  <a:pt x="3931991" y="2036893"/>
                </a:lnTo>
                <a:lnTo>
                  <a:pt x="3936007" y="2043715"/>
                </a:lnTo>
                <a:lnTo>
                  <a:pt x="3937092" y="2048370"/>
                </a:lnTo>
                <a:lnTo>
                  <a:pt x="3940673" y="2050319"/>
                </a:lnTo>
                <a:lnTo>
                  <a:pt x="3946641" y="2058439"/>
                </a:lnTo>
                <a:lnTo>
                  <a:pt x="3941433" y="2063528"/>
                </a:lnTo>
                <a:lnTo>
                  <a:pt x="3933511" y="2065476"/>
                </a:lnTo>
                <a:lnTo>
                  <a:pt x="3933511" y="2071107"/>
                </a:lnTo>
                <a:lnTo>
                  <a:pt x="3925915" y="2081933"/>
                </a:lnTo>
                <a:lnTo>
                  <a:pt x="3925046" y="2088971"/>
                </a:lnTo>
                <a:lnTo>
                  <a:pt x="3927000" y="2090920"/>
                </a:lnTo>
                <a:lnTo>
                  <a:pt x="3925046" y="2093951"/>
                </a:lnTo>
                <a:lnTo>
                  <a:pt x="3916907" y="2093951"/>
                </a:lnTo>
                <a:lnTo>
                  <a:pt x="3902475" y="2100772"/>
                </a:lnTo>
                <a:lnTo>
                  <a:pt x="3902475" y="2105645"/>
                </a:lnTo>
                <a:lnTo>
                  <a:pt x="3896832" y="2114632"/>
                </a:lnTo>
                <a:lnTo>
                  <a:pt x="3891732" y="2112250"/>
                </a:lnTo>
                <a:lnTo>
                  <a:pt x="3887175" y="2108243"/>
                </a:lnTo>
                <a:lnTo>
                  <a:pt x="3884787" y="2112357"/>
                </a:lnTo>
                <a:lnTo>
                  <a:pt x="3880989" y="2115606"/>
                </a:lnTo>
                <a:lnTo>
                  <a:pt x="3876974" y="2112575"/>
                </a:lnTo>
                <a:lnTo>
                  <a:pt x="3872850" y="2112575"/>
                </a:lnTo>
                <a:lnTo>
                  <a:pt x="3871223" y="2114523"/>
                </a:lnTo>
                <a:lnTo>
                  <a:pt x="3864711" y="2113765"/>
                </a:lnTo>
                <a:lnTo>
                  <a:pt x="3854944" y="2111059"/>
                </a:lnTo>
                <a:lnTo>
                  <a:pt x="3851038" y="2113224"/>
                </a:lnTo>
                <a:lnTo>
                  <a:pt x="3842465" y="2114306"/>
                </a:lnTo>
                <a:lnTo>
                  <a:pt x="3834978" y="2121777"/>
                </a:lnTo>
                <a:lnTo>
                  <a:pt x="3826079" y="2122860"/>
                </a:lnTo>
                <a:lnTo>
                  <a:pt x="3822715" y="2125783"/>
                </a:lnTo>
                <a:lnTo>
                  <a:pt x="3822715" y="2129681"/>
                </a:lnTo>
                <a:lnTo>
                  <a:pt x="3815662" y="2133471"/>
                </a:lnTo>
                <a:lnTo>
                  <a:pt x="3807957" y="2132171"/>
                </a:lnTo>
                <a:lnTo>
                  <a:pt x="3800035" y="2124375"/>
                </a:lnTo>
                <a:lnTo>
                  <a:pt x="3795477" y="2113549"/>
                </a:lnTo>
                <a:lnTo>
                  <a:pt x="3796454" y="2112033"/>
                </a:lnTo>
                <a:lnTo>
                  <a:pt x="3786688" y="2102722"/>
                </a:lnTo>
                <a:lnTo>
                  <a:pt x="3779634" y="2101855"/>
                </a:lnTo>
                <a:lnTo>
                  <a:pt x="3775834" y="2100802"/>
                </a:lnTo>
                <a:lnTo>
                  <a:pt x="3775837" y="2100990"/>
                </a:lnTo>
                <a:lnTo>
                  <a:pt x="3775728" y="2100881"/>
                </a:lnTo>
                <a:lnTo>
                  <a:pt x="3774643" y="2102938"/>
                </a:lnTo>
                <a:lnTo>
                  <a:pt x="3768349" y="2103480"/>
                </a:lnTo>
                <a:lnTo>
                  <a:pt x="3761296" y="2107378"/>
                </a:lnTo>
                <a:lnTo>
                  <a:pt x="3756738" y="2104670"/>
                </a:lnTo>
                <a:lnTo>
                  <a:pt x="3746754" y="2100773"/>
                </a:lnTo>
                <a:lnTo>
                  <a:pt x="3739701" y="2105537"/>
                </a:lnTo>
                <a:lnTo>
                  <a:pt x="3737964" y="2104129"/>
                </a:lnTo>
                <a:lnTo>
                  <a:pt x="3739701" y="2101423"/>
                </a:lnTo>
                <a:lnTo>
                  <a:pt x="3742088" y="2092436"/>
                </a:lnTo>
                <a:lnTo>
                  <a:pt x="3741763" y="2079768"/>
                </a:lnTo>
                <a:lnTo>
                  <a:pt x="3744041" y="2074246"/>
                </a:lnTo>
                <a:lnTo>
                  <a:pt x="3742414" y="2067859"/>
                </a:lnTo>
                <a:lnTo>
                  <a:pt x="3745018" y="2064611"/>
                </a:lnTo>
                <a:lnTo>
                  <a:pt x="3738833" y="2064503"/>
                </a:lnTo>
                <a:lnTo>
                  <a:pt x="3735251" y="2067859"/>
                </a:lnTo>
                <a:lnTo>
                  <a:pt x="3733082" y="2065585"/>
                </a:lnTo>
                <a:lnTo>
                  <a:pt x="3733407" y="2060497"/>
                </a:lnTo>
                <a:lnTo>
                  <a:pt x="3740461" y="2057032"/>
                </a:lnTo>
                <a:lnTo>
                  <a:pt x="3739158" y="2054542"/>
                </a:lnTo>
                <a:lnTo>
                  <a:pt x="3739918" y="2051510"/>
                </a:lnTo>
                <a:lnTo>
                  <a:pt x="3735035" y="2054542"/>
                </a:lnTo>
                <a:lnTo>
                  <a:pt x="3732647" y="2057898"/>
                </a:lnTo>
                <a:lnTo>
                  <a:pt x="3727764" y="2057898"/>
                </a:lnTo>
                <a:lnTo>
                  <a:pt x="3727547" y="2054542"/>
                </a:lnTo>
                <a:lnTo>
                  <a:pt x="3730910" y="2040683"/>
                </a:lnTo>
                <a:lnTo>
                  <a:pt x="3737205" y="2031588"/>
                </a:lnTo>
                <a:lnTo>
                  <a:pt x="3737205" y="2027041"/>
                </a:lnTo>
                <a:lnTo>
                  <a:pt x="3742631" y="2019353"/>
                </a:lnTo>
                <a:lnTo>
                  <a:pt x="3742956" y="2011559"/>
                </a:lnTo>
                <a:lnTo>
                  <a:pt x="3745886" y="2005387"/>
                </a:lnTo>
                <a:lnTo>
                  <a:pt x="3748382" y="2002031"/>
                </a:lnTo>
                <a:lnTo>
                  <a:pt x="3745018" y="1998025"/>
                </a:lnTo>
                <a:lnTo>
                  <a:pt x="3746754" y="1991420"/>
                </a:lnTo>
                <a:lnTo>
                  <a:pt x="3745886" y="1989038"/>
                </a:lnTo>
                <a:lnTo>
                  <a:pt x="3747514" y="1973988"/>
                </a:lnTo>
                <a:lnTo>
                  <a:pt x="3743933" y="1965976"/>
                </a:lnTo>
                <a:lnTo>
                  <a:pt x="3743499" y="1960996"/>
                </a:lnTo>
                <a:lnTo>
                  <a:pt x="3754025" y="1959264"/>
                </a:lnTo>
                <a:lnTo>
                  <a:pt x="3757987" y="1960332"/>
                </a:lnTo>
                <a:lnTo>
                  <a:pt x="3758039" y="1959913"/>
                </a:lnTo>
                <a:lnTo>
                  <a:pt x="3754025" y="1958830"/>
                </a:lnTo>
                <a:lnTo>
                  <a:pt x="3743172" y="1960455"/>
                </a:lnTo>
                <a:lnTo>
                  <a:pt x="3743172" y="1959155"/>
                </a:lnTo>
                <a:lnTo>
                  <a:pt x="3748815" y="1954283"/>
                </a:lnTo>
                <a:lnTo>
                  <a:pt x="3744800" y="1953525"/>
                </a:lnTo>
                <a:lnTo>
                  <a:pt x="3747513" y="1950602"/>
                </a:lnTo>
                <a:lnTo>
                  <a:pt x="3745668" y="1948761"/>
                </a:lnTo>
                <a:lnTo>
                  <a:pt x="3746753" y="1943673"/>
                </a:lnTo>
                <a:lnTo>
                  <a:pt x="3742955" y="1947245"/>
                </a:lnTo>
                <a:lnTo>
                  <a:pt x="3741111" y="1946488"/>
                </a:lnTo>
                <a:lnTo>
                  <a:pt x="3742413" y="1939774"/>
                </a:lnTo>
                <a:lnTo>
                  <a:pt x="3740459" y="1938909"/>
                </a:lnTo>
                <a:lnTo>
                  <a:pt x="3740459" y="1936202"/>
                </a:lnTo>
                <a:lnTo>
                  <a:pt x="3737421" y="1937284"/>
                </a:lnTo>
                <a:lnTo>
                  <a:pt x="3735251" y="1932196"/>
                </a:lnTo>
                <a:lnTo>
                  <a:pt x="3737746" y="1926999"/>
                </a:lnTo>
                <a:lnTo>
                  <a:pt x="3746753" y="1923751"/>
                </a:lnTo>
                <a:lnTo>
                  <a:pt x="3749792" y="1925159"/>
                </a:lnTo>
                <a:lnTo>
                  <a:pt x="3757388" y="1924292"/>
                </a:lnTo>
                <a:lnTo>
                  <a:pt x="3760969" y="1921586"/>
                </a:lnTo>
                <a:lnTo>
                  <a:pt x="3758039" y="1919637"/>
                </a:lnTo>
                <a:lnTo>
                  <a:pt x="3757497" y="1916388"/>
                </a:lnTo>
                <a:lnTo>
                  <a:pt x="3766178" y="1911516"/>
                </a:lnTo>
                <a:lnTo>
                  <a:pt x="3767480" y="1913140"/>
                </a:lnTo>
                <a:lnTo>
                  <a:pt x="3771061" y="1910650"/>
                </a:lnTo>
                <a:lnTo>
                  <a:pt x="3777030" y="1911949"/>
                </a:lnTo>
                <a:lnTo>
                  <a:pt x="3782130" y="1918229"/>
                </a:lnTo>
                <a:lnTo>
                  <a:pt x="3786470" y="1914656"/>
                </a:lnTo>
                <a:lnTo>
                  <a:pt x="3792548" y="1914656"/>
                </a:lnTo>
                <a:lnTo>
                  <a:pt x="3798190" y="1917038"/>
                </a:lnTo>
                <a:lnTo>
                  <a:pt x="3804376" y="1914548"/>
                </a:lnTo>
                <a:lnTo>
                  <a:pt x="3811972" y="1912382"/>
                </a:lnTo>
                <a:lnTo>
                  <a:pt x="3813600" y="1914548"/>
                </a:lnTo>
                <a:lnTo>
                  <a:pt x="3819786" y="1918013"/>
                </a:lnTo>
                <a:lnTo>
                  <a:pt x="3836823" y="1920719"/>
                </a:lnTo>
                <a:lnTo>
                  <a:pt x="3844635" y="1922560"/>
                </a:lnTo>
                <a:lnTo>
                  <a:pt x="3856247" y="1917688"/>
                </a:lnTo>
                <a:lnTo>
                  <a:pt x="3864928" y="1918445"/>
                </a:lnTo>
                <a:lnTo>
                  <a:pt x="3866556" y="1922235"/>
                </a:lnTo>
                <a:lnTo>
                  <a:pt x="3875021" y="1923859"/>
                </a:lnTo>
                <a:lnTo>
                  <a:pt x="3879361" y="1919528"/>
                </a:lnTo>
                <a:lnTo>
                  <a:pt x="3883485" y="1919528"/>
                </a:lnTo>
                <a:lnTo>
                  <a:pt x="3896181" y="1926890"/>
                </a:lnTo>
                <a:lnTo>
                  <a:pt x="3898568" y="1923426"/>
                </a:lnTo>
                <a:lnTo>
                  <a:pt x="3902041" y="1923426"/>
                </a:lnTo>
                <a:lnTo>
                  <a:pt x="3903625" y="1922511"/>
                </a:lnTo>
                <a:lnTo>
                  <a:pt x="3903126" y="1922236"/>
                </a:lnTo>
                <a:lnTo>
                  <a:pt x="3908660" y="1918987"/>
                </a:lnTo>
                <a:lnTo>
                  <a:pt x="3913001" y="1904912"/>
                </a:lnTo>
                <a:lnTo>
                  <a:pt x="3914195" y="1888672"/>
                </a:lnTo>
                <a:lnTo>
                  <a:pt x="3917342" y="1886398"/>
                </a:lnTo>
                <a:lnTo>
                  <a:pt x="3913544" y="1883800"/>
                </a:lnTo>
                <a:lnTo>
                  <a:pt x="3913326" y="1875138"/>
                </a:lnTo>
                <a:lnTo>
                  <a:pt x="3915714" y="1863228"/>
                </a:lnTo>
                <a:lnTo>
                  <a:pt x="3918101" y="1861604"/>
                </a:lnTo>
                <a:lnTo>
                  <a:pt x="3922876" y="1864202"/>
                </a:lnTo>
                <a:lnTo>
                  <a:pt x="3924504" y="1869941"/>
                </a:lnTo>
                <a:lnTo>
                  <a:pt x="3930689" y="1875896"/>
                </a:lnTo>
                <a:lnTo>
                  <a:pt x="3925047" y="1862362"/>
                </a:lnTo>
                <a:lnTo>
                  <a:pt x="3917884" y="1856732"/>
                </a:lnTo>
                <a:lnTo>
                  <a:pt x="3913869" y="1855866"/>
                </a:lnTo>
                <a:lnTo>
                  <a:pt x="3914954" y="1851751"/>
                </a:lnTo>
                <a:lnTo>
                  <a:pt x="3916039" y="1851210"/>
                </a:lnTo>
                <a:lnTo>
                  <a:pt x="3917884" y="1846447"/>
                </a:lnTo>
                <a:lnTo>
                  <a:pt x="3915714" y="1843090"/>
                </a:lnTo>
                <a:lnTo>
                  <a:pt x="3915931" y="1838867"/>
                </a:lnTo>
                <a:lnTo>
                  <a:pt x="3910288" y="1835619"/>
                </a:lnTo>
                <a:lnTo>
                  <a:pt x="3904537" y="1834753"/>
                </a:lnTo>
                <a:lnTo>
                  <a:pt x="3898460" y="1827390"/>
                </a:lnTo>
                <a:lnTo>
                  <a:pt x="3894553" y="1826849"/>
                </a:lnTo>
                <a:lnTo>
                  <a:pt x="3893685" y="1823709"/>
                </a:lnTo>
                <a:lnTo>
                  <a:pt x="3895747" y="1819812"/>
                </a:lnTo>
                <a:lnTo>
                  <a:pt x="3894879" y="1815048"/>
                </a:lnTo>
                <a:lnTo>
                  <a:pt x="3892383" y="1813965"/>
                </a:lnTo>
                <a:lnTo>
                  <a:pt x="3895096" y="1810176"/>
                </a:lnTo>
                <a:lnTo>
                  <a:pt x="3899437" y="1810068"/>
                </a:lnTo>
                <a:lnTo>
                  <a:pt x="3903235" y="1812233"/>
                </a:lnTo>
                <a:lnTo>
                  <a:pt x="3900087" y="1808010"/>
                </a:lnTo>
                <a:lnTo>
                  <a:pt x="3895312" y="1807469"/>
                </a:lnTo>
                <a:lnTo>
                  <a:pt x="3890755" y="1810392"/>
                </a:lnTo>
                <a:lnTo>
                  <a:pt x="3887825" y="1810176"/>
                </a:lnTo>
                <a:lnTo>
                  <a:pt x="3885655" y="1806819"/>
                </a:lnTo>
                <a:lnTo>
                  <a:pt x="3887500" y="1802055"/>
                </a:lnTo>
                <a:lnTo>
                  <a:pt x="3885112" y="1799782"/>
                </a:lnTo>
                <a:lnTo>
                  <a:pt x="3881206" y="1802055"/>
                </a:lnTo>
                <a:lnTo>
                  <a:pt x="3879904" y="1800431"/>
                </a:lnTo>
                <a:lnTo>
                  <a:pt x="3880772" y="1797725"/>
                </a:lnTo>
                <a:lnTo>
                  <a:pt x="3878384" y="1797184"/>
                </a:lnTo>
                <a:lnTo>
                  <a:pt x="3874694" y="1800648"/>
                </a:lnTo>
                <a:lnTo>
                  <a:pt x="3869378" y="1797184"/>
                </a:lnTo>
                <a:lnTo>
                  <a:pt x="3866339" y="1797184"/>
                </a:lnTo>
                <a:lnTo>
                  <a:pt x="3864711" y="1794476"/>
                </a:lnTo>
                <a:lnTo>
                  <a:pt x="3857115" y="1791445"/>
                </a:lnTo>
                <a:lnTo>
                  <a:pt x="3854185" y="1791986"/>
                </a:lnTo>
                <a:lnTo>
                  <a:pt x="3850821" y="1791120"/>
                </a:lnTo>
                <a:lnTo>
                  <a:pt x="3845938" y="1794368"/>
                </a:lnTo>
                <a:lnTo>
                  <a:pt x="3846372" y="1791445"/>
                </a:lnTo>
                <a:lnTo>
                  <a:pt x="3844635" y="1786356"/>
                </a:lnTo>
                <a:lnTo>
                  <a:pt x="3840404" y="1786356"/>
                </a:lnTo>
                <a:lnTo>
                  <a:pt x="3840295" y="1785165"/>
                </a:lnTo>
                <a:lnTo>
                  <a:pt x="3844635" y="1783541"/>
                </a:lnTo>
                <a:lnTo>
                  <a:pt x="3847348" y="1782458"/>
                </a:lnTo>
                <a:lnTo>
                  <a:pt x="3846589" y="1779319"/>
                </a:lnTo>
                <a:lnTo>
                  <a:pt x="3843659" y="1778236"/>
                </a:lnTo>
                <a:lnTo>
                  <a:pt x="3842248" y="1781701"/>
                </a:lnTo>
                <a:lnTo>
                  <a:pt x="3840621" y="1777153"/>
                </a:lnTo>
                <a:lnTo>
                  <a:pt x="3843334" y="1776828"/>
                </a:lnTo>
                <a:lnTo>
                  <a:pt x="3847891" y="1777695"/>
                </a:lnTo>
                <a:lnTo>
                  <a:pt x="3846806" y="1776070"/>
                </a:lnTo>
                <a:lnTo>
                  <a:pt x="3842682" y="1774879"/>
                </a:lnTo>
                <a:lnTo>
                  <a:pt x="3838450" y="1776287"/>
                </a:lnTo>
                <a:lnTo>
                  <a:pt x="3836714" y="1773256"/>
                </a:lnTo>
                <a:lnTo>
                  <a:pt x="3839969" y="1769466"/>
                </a:lnTo>
                <a:lnTo>
                  <a:pt x="3847131" y="1768925"/>
                </a:lnTo>
                <a:lnTo>
                  <a:pt x="3850278" y="1765785"/>
                </a:lnTo>
                <a:lnTo>
                  <a:pt x="3855053" y="1765243"/>
                </a:lnTo>
                <a:lnTo>
                  <a:pt x="3857441" y="1766868"/>
                </a:lnTo>
                <a:lnTo>
                  <a:pt x="3860154" y="1764377"/>
                </a:lnTo>
                <a:lnTo>
                  <a:pt x="3862541" y="1765676"/>
                </a:lnTo>
                <a:lnTo>
                  <a:pt x="3866990" y="1761454"/>
                </a:lnTo>
                <a:lnTo>
                  <a:pt x="3872633" y="1760263"/>
                </a:lnTo>
                <a:lnTo>
                  <a:pt x="3876431" y="1761454"/>
                </a:lnTo>
                <a:lnTo>
                  <a:pt x="3883159" y="1770332"/>
                </a:lnTo>
                <a:lnTo>
                  <a:pt x="3888368" y="1766001"/>
                </a:lnTo>
                <a:lnTo>
                  <a:pt x="3889996" y="1767625"/>
                </a:lnTo>
                <a:lnTo>
                  <a:pt x="3894227" y="1766542"/>
                </a:lnTo>
                <a:lnTo>
                  <a:pt x="3897592" y="1767409"/>
                </a:lnTo>
                <a:lnTo>
                  <a:pt x="3901173" y="1766218"/>
                </a:lnTo>
                <a:lnTo>
                  <a:pt x="3909528" y="1767301"/>
                </a:lnTo>
                <a:lnTo>
                  <a:pt x="3908986" y="1763078"/>
                </a:lnTo>
                <a:lnTo>
                  <a:pt x="3906490" y="1759830"/>
                </a:lnTo>
                <a:lnTo>
                  <a:pt x="3907358" y="1756257"/>
                </a:lnTo>
                <a:lnTo>
                  <a:pt x="3906273" y="1752684"/>
                </a:lnTo>
                <a:lnTo>
                  <a:pt x="3907792" y="1750302"/>
                </a:lnTo>
                <a:lnTo>
                  <a:pt x="3899762" y="1742940"/>
                </a:lnTo>
                <a:lnTo>
                  <a:pt x="3900630" y="1740557"/>
                </a:lnTo>
                <a:lnTo>
                  <a:pt x="3899111" y="1735144"/>
                </a:lnTo>
                <a:lnTo>
                  <a:pt x="3901607" y="1736226"/>
                </a:lnTo>
                <a:lnTo>
                  <a:pt x="3907250" y="1736444"/>
                </a:lnTo>
                <a:lnTo>
                  <a:pt x="3911156" y="1734928"/>
                </a:lnTo>
                <a:lnTo>
                  <a:pt x="3914954" y="1736768"/>
                </a:lnTo>
                <a:lnTo>
                  <a:pt x="3913544" y="1740557"/>
                </a:lnTo>
                <a:lnTo>
                  <a:pt x="3916582" y="1742940"/>
                </a:lnTo>
                <a:lnTo>
                  <a:pt x="3918101" y="1746187"/>
                </a:lnTo>
                <a:lnTo>
                  <a:pt x="3921465" y="1744130"/>
                </a:lnTo>
                <a:lnTo>
                  <a:pt x="3925589" y="1746296"/>
                </a:lnTo>
                <a:lnTo>
                  <a:pt x="3935030" y="1747595"/>
                </a:lnTo>
                <a:lnTo>
                  <a:pt x="3941867" y="1746187"/>
                </a:lnTo>
                <a:lnTo>
                  <a:pt x="3947509" y="1742181"/>
                </a:lnTo>
                <a:lnTo>
                  <a:pt x="3943386" y="1740774"/>
                </a:lnTo>
                <a:lnTo>
                  <a:pt x="3941758" y="1737851"/>
                </a:lnTo>
                <a:lnTo>
                  <a:pt x="3943928" y="1733736"/>
                </a:lnTo>
                <a:lnTo>
                  <a:pt x="3952935" y="1728864"/>
                </a:lnTo>
                <a:lnTo>
                  <a:pt x="3957276" y="1730271"/>
                </a:lnTo>
                <a:lnTo>
                  <a:pt x="3961291" y="1730055"/>
                </a:lnTo>
                <a:lnTo>
                  <a:pt x="3968887" y="1727890"/>
                </a:lnTo>
                <a:lnTo>
                  <a:pt x="3968887" y="1725075"/>
                </a:lnTo>
                <a:lnTo>
                  <a:pt x="3975724" y="1718362"/>
                </a:lnTo>
                <a:lnTo>
                  <a:pt x="3977134" y="1709484"/>
                </a:lnTo>
                <a:lnTo>
                  <a:pt x="3976049" y="1703962"/>
                </a:lnTo>
                <a:lnTo>
                  <a:pt x="3977785" y="1699198"/>
                </a:lnTo>
                <a:lnTo>
                  <a:pt x="3984622" y="1695300"/>
                </a:lnTo>
                <a:lnTo>
                  <a:pt x="3986576" y="1696924"/>
                </a:lnTo>
                <a:lnTo>
                  <a:pt x="3995040" y="1694001"/>
                </a:lnTo>
                <a:lnTo>
                  <a:pt x="3995799" y="1692702"/>
                </a:lnTo>
                <a:lnTo>
                  <a:pt x="3995799" y="1692702"/>
                </a:lnTo>
                <a:lnTo>
                  <a:pt x="3999054" y="1686747"/>
                </a:lnTo>
                <a:lnTo>
                  <a:pt x="4003937" y="1682958"/>
                </a:lnTo>
                <a:lnTo>
                  <a:pt x="4005750" y="1683826"/>
                </a:lnTo>
                <a:lnTo>
                  <a:pt x="4003938" y="1682958"/>
                </a:lnTo>
                <a:lnTo>
                  <a:pt x="4004155" y="1682850"/>
                </a:lnTo>
                <a:lnTo>
                  <a:pt x="4008278" y="1682850"/>
                </a:lnTo>
                <a:lnTo>
                  <a:pt x="4014789" y="1685015"/>
                </a:lnTo>
                <a:lnTo>
                  <a:pt x="4017502" y="1684798"/>
                </a:lnTo>
                <a:lnTo>
                  <a:pt x="4021843" y="1686423"/>
                </a:lnTo>
                <a:lnTo>
                  <a:pt x="4017286" y="1683391"/>
                </a:lnTo>
                <a:lnTo>
                  <a:pt x="4016092" y="1683933"/>
                </a:lnTo>
                <a:lnTo>
                  <a:pt x="4012619" y="1680684"/>
                </a:lnTo>
                <a:lnTo>
                  <a:pt x="4008821" y="1680251"/>
                </a:lnTo>
                <a:lnTo>
                  <a:pt x="4007410" y="1678086"/>
                </a:lnTo>
                <a:lnTo>
                  <a:pt x="4011317" y="1676462"/>
                </a:lnTo>
                <a:lnTo>
                  <a:pt x="4015549" y="1678519"/>
                </a:lnTo>
                <a:lnTo>
                  <a:pt x="4019455" y="1682633"/>
                </a:lnTo>
                <a:lnTo>
                  <a:pt x="4023796" y="1682417"/>
                </a:lnTo>
                <a:lnTo>
                  <a:pt x="4023688" y="1680143"/>
                </a:lnTo>
                <a:lnTo>
                  <a:pt x="4020975" y="1679710"/>
                </a:lnTo>
                <a:lnTo>
                  <a:pt x="4018804" y="1677003"/>
                </a:lnTo>
                <a:lnTo>
                  <a:pt x="4020432" y="1675596"/>
                </a:lnTo>
                <a:lnTo>
                  <a:pt x="4022928" y="1673430"/>
                </a:lnTo>
                <a:lnTo>
                  <a:pt x="4028354" y="1673430"/>
                </a:lnTo>
                <a:lnTo>
                  <a:pt x="4023470" y="1672023"/>
                </a:lnTo>
                <a:lnTo>
                  <a:pt x="4018045" y="1667150"/>
                </a:lnTo>
                <a:lnTo>
                  <a:pt x="4017828" y="1663470"/>
                </a:lnTo>
                <a:lnTo>
                  <a:pt x="4021517" y="1660762"/>
                </a:lnTo>
                <a:lnTo>
                  <a:pt x="4023145" y="1657948"/>
                </a:lnTo>
                <a:lnTo>
                  <a:pt x="4025098" y="1653725"/>
                </a:lnTo>
                <a:lnTo>
                  <a:pt x="4026183" y="1648744"/>
                </a:lnTo>
                <a:lnTo>
                  <a:pt x="4024773" y="1643115"/>
                </a:lnTo>
                <a:lnTo>
                  <a:pt x="4029439" y="1639542"/>
                </a:lnTo>
                <a:lnTo>
                  <a:pt x="4029656" y="1633695"/>
                </a:lnTo>
                <a:lnTo>
                  <a:pt x="4034756" y="1631746"/>
                </a:lnTo>
                <a:lnTo>
                  <a:pt x="4036492" y="1633046"/>
                </a:lnTo>
                <a:lnTo>
                  <a:pt x="4045173" y="1628282"/>
                </a:lnTo>
                <a:lnTo>
                  <a:pt x="4050599" y="1622327"/>
                </a:lnTo>
                <a:lnTo>
                  <a:pt x="4056459" y="1622218"/>
                </a:lnTo>
                <a:lnTo>
                  <a:pt x="4058955" y="1620594"/>
                </a:lnTo>
                <a:lnTo>
                  <a:pt x="4062862" y="1622218"/>
                </a:lnTo>
                <a:lnTo>
                  <a:pt x="4067094" y="1618538"/>
                </a:lnTo>
                <a:lnTo>
                  <a:pt x="4074148" y="1617455"/>
                </a:lnTo>
                <a:lnTo>
                  <a:pt x="4080875" y="1620920"/>
                </a:lnTo>
                <a:lnTo>
                  <a:pt x="4084457" y="1624167"/>
                </a:lnTo>
                <a:lnTo>
                  <a:pt x="4089014" y="1625683"/>
                </a:lnTo>
                <a:lnTo>
                  <a:pt x="4088906" y="1626658"/>
                </a:lnTo>
                <a:lnTo>
                  <a:pt x="4088907" y="1626656"/>
                </a:lnTo>
                <a:lnTo>
                  <a:pt x="4089015" y="1625682"/>
                </a:lnTo>
                <a:lnTo>
                  <a:pt x="4089450" y="1625790"/>
                </a:lnTo>
                <a:lnTo>
                  <a:pt x="4088365" y="1621243"/>
                </a:lnTo>
                <a:lnTo>
                  <a:pt x="4083156" y="1620377"/>
                </a:lnTo>
                <a:lnTo>
                  <a:pt x="4080986" y="1616262"/>
                </a:lnTo>
                <a:lnTo>
                  <a:pt x="4081854" y="1611499"/>
                </a:lnTo>
                <a:lnTo>
                  <a:pt x="4092597" y="1608683"/>
                </a:lnTo>
                <a:lnTo>
                  <a:pt x="4095635" y="1607168"/>
                </a:lnTo>
                <a:lnTo>
                  <a:pt x="4100844" y="1610957"/>
                </a:lnTo>
                <a:lnTo>
                  <a:pt x="4100844" y="1616371"/>
                </a:lnTo>
                <a:lnTo>
                  <a:pt x="4104859" y="1621134"/>
                </a:lnTo>
                <a:lnTo>
                  <a:pt x="4107247" y="1618536"/>
                </a:lnTo>
                <a:lnTo>
                  <a:pt x="4105076" y="1614422"/>
                </a:lnTo>
                <a:lnTo>
                  <a:pt x="4105076" y="1610957"/>
                </a:lnTo>
                <a:lnTo>
                  <a:pt x="4107247" y="1610091"/>
                </a:lnTo>
                <a:lnTo>
                  <a:pt x="4110719" y="1613122"/>
                </a:lnTo>
                <a:lnTo>
                  <a:pt x="4110285" y="1618536"/>
                </a:lnTo>
                <a:lnTo>
                  <a:pt x="4115494" y="1624491"/>
                </a:lnTo>
                <a:lnTo>
                  <a:pt x="4113432" y="1620052"/>
                </a:lnTo>
                <a:lnTo>
                  <a:pt x="4113215" y="1613122"/>
                </a:lnTo>
                <a:lnTo>
                  <a:pt x="4112238" y="1609225"/>
                </a:lnTo>
                <a:lnTo>
                  <a:pt x="4115168" y="1604461"/>
                </a:lnTo>
                <a:lnTo>
                  <a:pt x="4118966" y="1603811"/>
                </a:lnTo>
                <a:lnTo>
                  <a:pt x="4122764" y="1605760"/>
                </a:lnTo>
                <a:lnTo>
                  <a:pt x="4127865" y="1603811"/>
                </a:lnTo>
                <a:lnTo>
                  <a:pt x="4135352" y="1612040"/>
                </a:lnTo>
                <a:lnTo>
                  <a:pt x="4145770" y="1614097"/>
                </a:lnTo>
                <a:lnTo>
                  <a:pt x="4135895" y="1609983"/>
                </a:lnTo>
                <a:lnTo>
                  <a:pt x="4128407" y="1602187"/>
                </a:lnTo>
                <a:lnTo>
                  <a:pt x="4122547" y="1601754"/>
                </a:lnTo>
                <a:lnTo>
                  <a:pt x="4119400" y="1599805"/>
                </a:lnTo>
                <a:lnTo>
                  <a:pt x="4119400" y="1596340"/>
                </a:lnTo>
                <a:lnTo>
                  <a:pt x="4123090" y="1593526"/>
                </a:lnTo>
                <a:lnTo>
                  <a:pt x="4118749" y="1590818"/>
                </a:lnTo>
                <a:lnTo>
                  <a:pt x="4118749" y="1585189"/>
                </a:lnTo>
                <a:lnTo>
                  <a:pt x="4114626" y="1587030"/>
                </a:lnTo>
                <a:lnTo>
                  <a:pt x="4114408" y="1582807"/>
                </a:lnTo>
                <a:lnTo>
                  <a:pt x="4118424" y="1582807"/>
                </a:lnTo>
                <a:lnTo>
                  <a:pt x="4122764" y="1581183"/>
                </a:lnTo>
                <a:lnTo>
                  <a:pt x="4117556" y="1576310"/>
                </a:lnTo>
                <a:lnTo>
                  <a:pt x="4117881" y="1572954"/>
                </a:lnTo>
                <a:lnTo>
                  <a:pt x="4115385" y="1572737"/>
                </a:lnTo>
                <a:lnTo>
                  <a:pt x="4112130" y="1570572"/>
                </a:lnTo>
                <a:lnTo>
                  <a:pt x="4112455" y="1566566"/>
                </a:lnTo>
                <a:lnTo>
                  <a:pt x="4112238" y="1565592"/>
                </a:lnTo>
                <a:lnTo>
                  <a:pt x="4112237" y="1565592"/>
                </a:lnTo>
                <a:lnTo>
                  <a:pt x="4111152" y="1561911"/>
                </a:lnTo>
                <a:lnTo>
                  <a:pt x="4113214" y="1560611"/>
                </a:lnTo>
                <a:lnTo>
                  <a:pt x="4112129" y="1553466"/>
                </a:lnTo>
                <a:lnTo>
                  <a:pt x="4106703" y="1548593"/>
                </a:lnTo>
                <a:lnTo>
                  <a:pt x="4102688" y="1550759"/>
                </a:lnTo>
                <a:lnTo>
                  <a:pt x="4099975" y="1548593"/>
                </a:lnTo>
                <a:lnTo>
                  <a:pt x="4102688" y="1541664"/>
                </a:lnTo>
                <a:lnTo>
                  <a:pt x="4109199" y="1538632"/>
                </a:lnTo>
                <a:lnTo>
                  <a:pt x="4106486" y="1535926"/>
                </a:lnTo>
                <a:lnTo>
                  <a:pt x="4106486" y="1530512"/>
                </a:lnTo>
                <a:lnTo>
                  <a:pt x="4103230" y="1528671"/>
                </a:lnTo>
                <a:lnTo>
                  <a:pt x="4102362" y="1522716"/>
                </a:lnTo>
                <a:lnTo>
                  <a:pt x="4104315" y="1522175"/>
                </a:lnTo>
                <a:lnTo>
                  <a:pt x="4107354" y="1524557"/>
                </a:lnTo>
                <a:lnTo>
                  <a:pt x="4107354" y="1520010"/>
                </a:lnTo>
                <a:lnTo>
                  <a:pt x="4102362" y="1516220"/>
                </a:lnTo>
                <a:lnTo>
                  <a:pt x="4105618" y="1512864"/>
                </a:lnTo>
                <a:lnTo>
                  <a:pt x="4108331" y="1514271"/>
                </a:lnTo>
                <a:lnTo>
                  <a:pt x="4112237" y="1514271"/>
                </a:lnTo>
                <a:lnTo>
                  <a:pt x="4114950" y="1517303"/>
                </a:lnTo>
                <a:lnTo>
                  <a:pt x="4119508" y="1514055"/>
                </a:lnTo>
                <a:lnTo>
                  <a:pt x="4117337" y="1511024"/>
                </a:lnTo>
                <a:lnTo>
                  <a:pt x="4121135" y="1505826"/>
                </a:lnTo>
                <a:lnTo>
                  <a:pt x="4122438" y="1505826"/>
                </a:lnTo>
                <a:lnTo>
                  <a:pt x="4124933" y="1510265"/>
                </a:lnTo>
                <a:lnTo>
                  <a:pt x="4122438" y="1512973"/>
                </a:lnTo>
                <a:lnTo>
                  <a:pt x="4123089" y="1515138"/>
                </a:lnTo>
                <a:lnTo>
                  <a:pt x="4127104" y="1514271"/>
                </a:lnTo>
                <a:lnTo>
                  <a:pt x="4130684" y="1515787"/>
                </a:lnTo>
                <a:lnTo>
                  <a:pt x="4131119" y="1514271"/>
                </a:lnTo>
                <a:lnTo>
                  <a:pt x="4127321" y="1509616"/>
                </a:lnTo>
                <a:lnTo>
                  <a:pt x="4128406" y="1507775"/>
                </a:lnTo>
                <a:lnTo>
                  <a:pt x="4124391" y="1502362"/>
                </a:lnTo>
                <a:lnTo>
                  <a:pt x="4126236" y="1500738"/>
                </a:lnTo>
                <a:lnTo>
                  <a:pt x="4130034" y="1501279"/>
                </a:lnTo>
                <a:lnTo>
                  <a:pt x="4133397" y="1499655"/>
                </a:lnTo>
                <a:lnTo>
                  <a:pt x="4140560" y="1499114"/>
                </a:lnTo>
                <a:lnTo>
                  <a:pt x="4145009" y="1502145"/>
                </a:lnTo>
                <a:lnTo>
                  <a:pt x="4145009" y="1507018"/>
                </a:lnTo>
                <a:lnTo>
                  <a:pt x="4143056" y="1509616"/>
                </a:lnTo>
                <a:lnTo>
                  <a:pt x="4145335" y="1510157"/>
                </a:lnTo>
                <a:lnTo>
                  <a:pt x="4147939" y="1513947"/>
                </a:lnTo>
                <a:lnTo>
                  <a:pt x="4150652" y="1516762"/>
                </a:lnTo>
                <a:lnTo>
                  <a:pt x="4156186" y="1516979"/>
                </a:lnTo>
                <a:lnTo>
                  <a:pt x="4158573" y="1515138"/>
                </a:lnTo>
                <a:lnTo>
                  <a:pt x="4162805" y="1519685"/>
                </a:lnTo>
                <a:lnTo>
                  <a:pt x="4161287" y="1523691"/>
                </a:lnTo>
                <a:lnTo>
                  <a:pt x="4159659" y="1525965"/>
                </a:lnTo>
                <a:lnTo>
                  <a:pt x="4157814" y="1525315"/>
                </a:lnTo>
                <a:lnTo>
                  <a:pt x="4156186" y="1526506"/>
                </a:lnTo>
                <a:lnTo>
                  <a:pt x="4153364" y="1523258"/>
                </a:lnTo>
                <a:lnTo>
                  <a:pt x="4149133" y="1523908"/>
                </a:lnTo>
                <a:lnTo>
                  <a:pt x="4146311" y="1526722"/>
                </a:lnTo>
                <a:lnTo>
                  <a:pt x="4148481" y="1531054"/>
                </a:lnTo>
                <a:lnTo>
                  <a:pt x="4148698" y="1537550"/>
                </a:lnTo>
                <a:lnTo>
                  <a:pt x="4143707" y="1539391"/>
                </a:lnTo>
                <a:lnTo>
                  <a:pt x="4141754" y="1538091"/>
                </a:lnTo>
                <a:lnTo>
                  <a:pt x="4138281" y="1541881"/>
                </a:lnTo>
                <a:lnTo>
                  <a:pt x="4140343" y="1543505"/>
                </a:lnTo>
                <a:lnTo>
                  <a:pt x="4131119" y="1548160"/>
                </a:lnTo>
                <a:lnTo>
                  <a:pt x="4130902" y="1551409"/>
                </a:lnTo>
                <a:lnTo>
                  <a:pt x="4133289" y="1552491"/>
                </a:lnTo>
                <a:lnTo>
                  <a:pt x="4132855" y="1556172"/>
                </a:lnTo>
                <a:lnTo>
                  <a:pt x="4130142" y="1558446"/>
                </a:lnTo>
                <a:lnTo>
                  <a:pt x="4130034" y="1561694"/>
                </a:lnTo>
                <a:lnTo>
                  <a:pt x="4131770" y="1561694"/>
                </a:lnTo>
                <a:lnTo>
                  <a:pt x="4135134" y="1564942"/>
                </a:lnTo>
                <a:lnTo>
                  <a:pt x="4133832" y="1567866"/>
                </a:lnTo>
                <a:lnTo>
                  <a:pt x="4134049" y="1568190"/>
                </a:lnTo>
                <a:lnTo>
                  <a:pt x="4134050" y="1568190"/>
                </a:lnTo>
                <a:lnTo>
                  <a:pt x="4138716" y="1573062"/>
                </a:lnTo>
                <a:lnTo>
                  <a:pt x="4143382" y="1573604"/>
                </a:lnTo>
                <a:lnTo>
                  <a:pt x="4140887" y="1579017"/>
                </a:lnTo>
                <a:lnTo>
                  <a:pt x="4138499" y="1581399"/>
                </a:lnTo>
                <a:lnTo>
                  <a:pt x="4139801" y="1584106"/>
                </a:lnTo>
                <a:lnTo>
                  <a:pt x="4143599" y="1585189"/>
                </a:lnTo>
                <a:lnTo>
                  <a:pt x="4145010" y="1589195"/>
                </a:lnTo>
                <a:lnTo>
                  <a:pt x="4148700" y="1586488"/>
                </a:lnTo>
                <a:lnTo>
                  <a:pt x="4150002" y="1583998"/>
                </a:lnTo>
                <a:lnTo>
                  <a:pt x="4152173" y="1582590"/>
                </a:lnTo>
                <a:lnTo>
                  <a:pt x="4154017" y="1585081"/>
                </a:lnTo>
                <a:lnTo>
                  <a:pt x="4160094" y="1589411"/>
                </a:lnTo>
                <a:lnTo>
                  <a:pt x="4161288" y="1587787"/>
                </a:lnTo>
                <a:lnTo>
                  <a:pt x="4165086" y="1584755"/>
                </a:lnTo>
                <a:lnTo>
                  <a:pt x="4167039" y="1585838"/>
                </a:lnTo>
                <a:lnTo>
                  <a:pt x="4167148" y="1589844"/>
                </a:lnTo>
                <a:lnTo>
                  <a:pt x="4163892" y="1593634"/>
                </a:lnTo>
                <a:lnTo>
                  <a:pt x="4161071" y="1593201"/>
                </a:lnTo>
                <a:lnTo>
                  <a:pt x="4156839" y="1596124"/>
                </a:lnTo>
                <a:lnTo>
                  <a:pt x="4162915" y="1597965"/>
                </a:lnTo>
                <a:lnTo>
                  <a:pt x="4164977" y="1596882"/>
                </a:lnTo>
                <a:lnTo>
                  <a:pt x="4169318" y="1597315"/>
                </a:lnTo>
                <a:lnTo>
                  <a:pt x="4170837" y="1600022"/>
                </a:lnTo>
                <a:lnTo>
                  <a:pt x="4175829" y="1599481"/>
                </a:lnTo>
                <a:lnTo>
                  <a:pt x="4176697" y="1596124"/>
                </a:lnTo>
                <a:lnTo>
                  <a:pt x="4179953" y="1591577"/>
                </a:lnTo>
                <a:lnTo>
                  <a:pt x="4188742" y="1590169"/>
                </a:lnTo>
                <a:lnTo>
                  <a:pt x="4188960" y="1588004"/>
                </a:lnTo>
                <a:lnTo>
                  <a:pt x="4193734" y="1585622"/>
                </a:lnTo>
                <a:lnTo>
                  <a:pt x="4194277" y="1583132"/>
                </a:lnTo>
                <a:lnTo>
                  <a:pt x="4196447" y="1582049"/>
                </a:lnTo>
                <a:lnTo>
                  <a:pt x="4202632" y="1582698"/>
                </a:lnTo>
                <a:lnTo>
                  <a:pt x="4197641" y="1584647"/>
                </a:lnTo>
                <a:lnTo>
                  <a:pt x="4195904" y="1586596"/>
                </a:lnTo>
                <a:lnTo>
                  <a:pt x="4195036" y="1585946"/>
                </a:lnTo>
                <a:lnTo>
                  <a:pt x="4192541" y="1588437"/>
                </a:lnTo>
                <a:lnTo>
                  <a:pt x="4194385" y="1590277"/>
                </a:lnTo>
                <a:lnTo>
                  <a:pt x="4199269" y="1586812"/>
                </a:lnTo>
                <a:lnTo>
                  <a:pt x="4204477" y="1586271"/>
                </a:lnTo>
                <a:lnTo>
                  <a:pt x="4206648" y="1585189"/>
                </a:lnTo>
                <a:lnTo>
                  <a:pt x="4208275" y="1587679"/>
                </a:lnTo>
                <a:lnTo>
                  <a:pt x="4212508" y="1588437"/>
                </a:lnTo>
                <a:lnTo>
                  <a:pt x="4218476" y="1594392"/>
                </a:lnTo>
                <a:lnTo>
                  <a:pt x="4223359" y="1593526"/>
                </a:lnTo>
                <a:lnTo>
                  <a:pt x="4226072" y="1597640"/>
                </a:lnTo>
                <a:lnTo>
                  <a:pt x="4225095" y="1602187"/>
                </a:lnTo>
                <a:lnTo>
                  <a:pt x="4229436" y="1605544"/>
                </a:lnTo>
                <a:lnTo>
                  <a:pt x="4233451" y="1605003"/>
                </a:lnTo>
                <a:lnTo>
                  <a:pt x="4236381" y="1607601"/>
                </a:lnTo>
                <a:lnTo>
                  <a:pt x="4240722" y="1607384"/>
                </a:lnTo>
                <a:lnTo>
                  <a:pt x="4240722" y="1607385"/>
                </a:lnTo>
                <a:lnTo>
                  <a:pt x="4243000" y="1607168"/>
                </a:lnTo>
                <a:lnTo>
                  <a:pt x="4242674" y="1604894"/>
                </a:lnTo>
                <a:lnTo>
                  <a:pt x="4244302" y="1603920"/>
                </a:lnTo>
                <a:lnTo>
                  <a:pt x="4246147" y="1598182"/>
                </a:lnTo>
                <a:lnTo>
                  <a:pt x="4248860" y="1592443"/>
                </a:lnTo>
                <a:lnTo>
                  <a:pt x="4256456" y="1591902"/>
                </a:lnTo>
                <a:lnTo>
                  <a:pt x="4267633" y="1585731"/>
                </a:lnTo>
                <a:lnTo>
                  <a:pt x="4275012" y="1585514"/>
                </a:lnTo>
                <a:lnTo>
                  <a:pt x="4275012" y="1581725"/>
                </a:lnTo>
                <a:lnTo>
                  <a:pt x="4279353" y="1576853"/>
                </a:lnTo>
                <a:lnTo>
                  <a:pt x="4286298" y="1576745"/>
                </a:lnTo>
                <a:lnTo>
                  <a:pt x="4290639" y="1570790"/>
                </a:lnTo>
                <a:lnTo>
                  <a:pt x="4297692" y="1568083"/>
                </a:lnTo>
                <a:lnTo>
                  <a:pt x="4304529" y="1568624"/>
                </a:lnTo>
                <a:lnTo>
                  <a:pt x="4313970" y="1563752"/>
                </a:lnTo>
                <a:lnTo>
                  <a:pt x="4326015" y="1566784"/>
                </a:lnTo>
                <a:lnTo>
                  <a:pt x="4332743" y="1570031"/>
                </a:lnTo>
                <a:lnTo>
                  <a:pt x="4332526" y="1571656"/>
                </a:lnTo>
                <a:lnTo>
                  <a:pt x="4330030" y="1570031"/>
                </a:lnTo>
                <a:lnTo>
                  <a:pt x="4324604" y="1569274"/>
                </a:lnTo>
                <a:lnTo>
                  <a:pt x="4322977" y="1573280"/>
                </a:lnTo>
                <a:lnTo>
                  <a:pt x="4325147" y="1578910"/>
                </a:lnTo>
                <a:lnTo>
                  <a:pt x="4335456" y="1581725"/>
                </a:lnTo>
                <a:lnTo>
                  <a:pt x="4344354" y="1577611"/>
                </a:lnTo>
                <a:lnTo>
                  <a:pt x="4349346" y="1572522"/>
                </a:lnTo>
                <a:lnTo>
                  <a:pt x="4351517" y="1572413"/>
                </a:lnTo>
                <a:lnTo>
                  <a:pt x="4345223" y="1578910"/>
                </a:lnTo>
                <a:lnTo>
                  <a:pt x="4338386" y="1582699"/>
                </a:lnTo>
                <a:lnTo>
                  <a:pt x="4340123" y="1584323"/>
                </a:lnTo>
                <a:lnTo>
                  <a:pt x="4347067" y="1582699"/>
                </a:lnTo>
                <a:lnTo>
                  <a:pt x="4355206" y="1575445"/>
                </a:lnTo>
                <a:lnTo>
                  <a:pt x="4357919" y="1574362"/>
                </a:lnTo>
                <a:lnTo>
                  <a:pt x="4388304" y="1576095"/>
                </a:lnTo>
                <a:lnTo>
                  <a:pt x="4415107" y="1573496"/>
                </a:lnTo>
                <a:lnTo>
                  <a:pt x="4414348" y="1565051"/>
                </a:lnTo>
                <a:lnTo>
                  <a:pt x="4417061" y="1561370"/>
                </a:lnTo>
                <a:lnTo>
                  <a:pt x="4414673" y="1558772"/>
                </a:lnTo>
                <a:lnTo>
                  <a:pt x="4411743" y="1558013"/>
                </a:lnTo>
                <a:lnTo>
                  <a:pt x="4410875" y="1553358"/>
                </a:lnTo>
                <a:lnTo>
                  <a:pt x="4407620" y="1551625"/>
                </a:lnTo>
                <a:lnTo>
                  <a:pt x="4398829" y="1553791"/>
                </a:lnTo>
                <a:lnTo>
                  <a:pt x="4392645" y="1550651"/>
                </a:lnTo>
                <a:lnTo>
                  <a:pt x="4386025" y="1541664"/>
                </a:lnTo>
                <a:lnTo>
                  <a:pt x="4377886" y="1543505"/>
                </a:lnTo>
                <a:lnTo>
                  <a:pt x="4376693" y="1542856"/>
                </a:lnTo>
                <a:lnTo>
                  <a:pt x="4378646" y="1539391"/>
                </a:lnTo>
                <a:lnTo>
                  <a:pt x="4377018" y="1533436"/>
                </a:lnTo>
                <a:lnTo>
                  <a:pt x="4376584" y="1526290"/>
                </a:lnTo>
                <a:lnTo>
                  <a:pt x="4376585" y="1526290"/>
                </a:lnTo>
                <a:lnTo>
                  <a:pt x="4376477" y="1525424"/>
                </a:lnTo>
                <a:lnTo>
                  <a:pt x="4373764" y="1522718"/>
                </a:lnTo>
                <a:lnTo>
                  <a:pt x="4371051" y="1511349"/>
                </a:lnTo>
                <a:lnTo>
                  <a:pt x="4374523" y="1508101"/>
                </a:lnTo>
                <a:lnTo>
                  <a:pt x="4374198" y="1503662"/>
                </a:lnTo>
                <a:lnTo>
                  <a:pt x="4374741" y="1498898"/>
                </a:lnTo>
                <a:lnTo>
                  <a:pt x="4381034" y="1491535"/>
                </a:lnTo>
                <a:lnTo>
                  <a:pt x="4380817" y="1483307"/>
                </a:lnTo>
                <a:lnTo>
                  <a:pt x="4382879" y="1483957"/>
                </a:lnTo>
                <a:lnTo>
                  <a:pt x="4382337" y="1479084"/>
                </a:lnTo>
                <a:lnTo>
                  <a:pt x="4385918" y="1473671"/>
                </a:lnTo>
                <a:lnTo>
                  <a:pt x="4390801" y="1473346"/>
                </a:lnTo>
                <a:lnTo>
                  <a:pt x="4393188" y="1471180"/>
                </a:lnTo>
                <a:lnTo>
                  <a:pt x="4399808" y="1469557"/>
                </a:lnTo>
                <a:lnTo>
                  <a:pt x="4404040" y="1465333"/>
                </a:lnTo>
                <a:lnTo>
                  <a:pt x="4405993" y="1465225"/>
                </a:lnTo>
                <a:lnTo>
                  <a:pt x="4406318" y="1472263"/>
                </a:lnTo>
                <a:lnTo>
                  <a:pt x="4417496" y="1484173"/>
                </a:lnTo>
                <a:lnTo>
                  <a:pt x="4418256" y="1488287"/>
                </a:lnTo>
                <a:lnTo>
                  <a:pt x="4423899" y="1493701"/>
                </a:lnTo>
                <a:lnTo>
                  <a:pt x="4429541" y="1493701"/>
                </a:lnTo>
                <a:lnTo>
                  <a:pt x="4437138" y="1485581"/>
                </a:lnTo>
                <a:lnTo>
                  <a:pt x="4439851" y="1477243"/>
                </a:lnTo>
                <a:lnTo>
                  <a:pt x="4437680" y="1466849"/>
                </a:lnTo>
                <a:lnTo>
                  <a:pt x="4437680" y="1460894"/>
                </a:lnTo>
                <a:lnTo>
                  <a:pt x="4440176" y="1459920"/>
                </a:lnTo>
                <a:lnTo>
                  <a:pt x="4447555" y="1455590"/>
                </a:lnTo>
                <a:lnTo>
                  <a:pt x="4453306" y="1454182"/>
                </a:lnTo>
                <a:lnTo>
                  <a:pt x="4453305" y="1454181"/>
                </a:lnTo>
                <a:lnTo>
                  <a:pt x="4447554" y="1455589"/>
                </a:lnTo>
                <a:lnTo>
                  <a:pt x="4440174" y="1459920"/>
                </a:lnTo>
                <a:lnTo>
                  <a:pt x="4437679" y="1460894"/>
                </a:lnTo>
                <a:lnTo>
                  <a:pt x="4437679" y="1458187"/>
                </a:lnTo>
                <a:lnTo>
                  <a:pt x="4440174" y="1445736"/>
                </a:lnTo>
                <a:lnTo>
                  <a:pt x="4438329" y="1442271"/>
                </a:lnTo>
                <a:lnTo>
                  <a:pt x="4433663" y="1446061"/>
                </a:lnTo>
                <a:lnTo>
                  <a:pt x="4433338" y="1450067"/>
                </a:lnTo>
                <a:lnTo>
                  <a:pt x="4430950" y="1450608"/>
                </a:lnTo>
                <a:lnTo>
                  <a:pt x="4424222" y="1444437"/>
                </a:lnTo>
                <a:lnTo>
                  <a:pt x="4420316" y="1438265"/>
                </a:lnTo>
                <a:lnTo>
                  <a:pt x="4419882" y="1432202"/>
                </a:lnTo>
                <a:lnTo>
                  <a:pt x="4423354" y="1431769"/>
                </a:lnTo>
                <a:lnTo>
                  <a:pt x="4425525" y="1428413"/>
                </a:lnTo>
                <a:lnTo>
                  <a:pt x="4421184" y="1427980"/>
                </a:lnTo>
                <a:lnTo>
                  <a:pt x="4419556" y="1429279"/>
                </a:lnTo>
                <a:lnTo>
                  <a:pt x="4416518" y="1428738"/>
                </a:lnTo>
                <a:lnTo>
                  <a:pt x="4416301" y="1413580"/>
                </a:lnTo>
                <a:lnTo>
                  <a:pt x="4419014" y="1409033"/>
                </a:lnTo>
                <a:lnTo>
                  <a:pt x="4426610" y="1405784"/>
                </a:lnTo>
                <a:lnTo>
                  <a:pt x="4429649" y="1406543"/>
                </a:lnTo>
                <a:lnTo>
                  <a:pt x="4430408" y="1402537"/>
                </a:lnTo>
                <a:lnTo>
                  <a:pt x="4435075" y="1401129"/>
                </a:lnTo>
                <a:lnTo>
                  <a:pt x="4439415" y="1401670"/>
                </a:lnTo>
                <a:lnTo>
                  <a:pt x="4440717" y="1397015"/>
                </a:lnTo>
                <a:lnTo>
                  <a:pt x="4442345" y="1399180"/>
                </a:lnTo>
                <a:lnTo>
                  <a:pt x="4450809" y="1399505"/>
                </a:lnTo>
                <a:lnTo>
                  <a:pt x="4452980" y="1400913"/>
                </a:lnTo>
                <a:lnTo>
                  <a:pt x="4457320" y="1398098"/>
                </a:lnTo>
                <a:lnTo>
                  <a:pt x="4454607" y="1395715"/>
                </a:lnTo>
                <a:lnTo>
                  <a:pt x="4454607" y="1393766"/>
                </a:lnTo>
                <a:lnTo>
                  <a:pt x="4457754" y="1394308"/>
                </a:lnTo>
                <a:lnTo>
                  <a:pt x="4458080" y="1391060"/>
                </a:lnTo>
                <a:lnTo>
                  <a:pt x="4462963" y="1395391"/>
                </a:lnTo>
                <a:lnTo>
                  <a:pt x="4466979" y="1394308"/>
                </a:lnTo>
                <a:lnTo>
                  <a:pt x="4471645" y="1396690"/>
                </a:lnTo>
                <a:lnTo>
                  <a:pt x="4480543" y="1396474"/>
                </a:lnTo>
                <a:lnTo>
                  <a:pt x="4489007" y="1401887"/>
                </a:lnTo>
                <a:lnTo>
                  <a:pt x="4508156" y="1402427"/>
                </a:lnTo>
                <a:lnTo>
                  <a:pt x="4506370" y="1399398"/>
                </a:lnTo>
                <a:lnTo>
                  <a:pt x="4507890" y="1394200"/>
                </a:lnTo>
                <a:lnTo>
                  <a:pt x="4505719" y="1390627"/>
                </a:lnTo>
                <a:lnTo>
                  <a:pt x="4505719" y="1387921"/>
                </a:lnTo>
                <a:lnTo>
                  <a:pt x="4507890" y="1387163"/>
                </a:lnTo>
                <a:lnTo>
                  <a:pt x="4509843" y="1391169"/>
                </a:lnTo>
                <a:lnTo>
                  <a:pt x="4514183" y="1389761"/>
                </a:lnTo>
                <a:lnTo>
                  <a:pt x="4514183" y="1385106"/>
                </a:lnTo>
                <a:lnTo>
                  <a:pt x="4516896" y="1382941"/>
                </a:lnTo>
                <a:lnTo>
                  <a:pt x="4521562" y="1385864"/>
                </a:lnTo>
                <a:lnTo>
                  <a:pt x="4527314" y="1381533"/>
                </a:lnTo>
                <a:lnTo>
                  <a:pt x="4528616" y="1377419"/>
                </a:lnTo>
                <a:lnTo>
                  <a:pt x="4531546" y="1376336"/>
                </a:lnTo>
                <a:lnTo>
                  <a:pt x="4538599" y="1378718"/>
                </a:lnTo>
                <a:lnTo>
                  <a:pt x="4541530" y="1375145"/>
                </a:lnTo>
                <a:lnTo>
                  <a:pt x="4537406" y="1369190"/>
                </a:lnTo>
                <a:lnTo>
                  <a:pt x="4533608" y="1369190"/>
                </a:lnTo>
                <a:lnTo>
                  <a:pt x="4531438" y="1370056"/>
                </a:lnTo>
                <a:lnTo>
                  <a:pt x="4526012" y="1370056"/>
                </a:lnTo>
                <a:lnTo>
                  <a:pt x="4522973" y="1365509"/>
                </a:lnTo>
                <a:lnTo>
                  <a:pt x="4517331" y="1365509"/>
                </a:lnTo>
                <a:lnTo>
                  <a:pt x="4511687" y="1359337"/>
                </a:lnTo>
                <a:lnTo>
                  <a:pt x="4512556" y="1356306"/>
                </a:lnTo>
                <a:lnTo>
                  <a:pt x="4517764" y="1360637"/>
                </a:lnTo>
                <a:lnTo>
                  <a:pt x="4517764" y="1353924"/>
                </a:lnTo>
                <a:lnTo>
                  <a:pt x="4516137" y="1350892"/>
                </a:lnTo>
                <a:lnTo>
                  <a:pt x="4519609" y="1347969"/>
                </a:lnTo>
                <a:lnTo>
                  <a:pt x="4514400" y="1348835"/>
                </a:lnTo>
                <a:cubicBezTo>
                  <a:pt x="4514400" y="1348835"/>
                  <a:pt x="4508758" y="1352408"/>
                  <a:pt x="4507672" y="1352408"/>
                </a:cubicBezTo>
                <a:cubicBezTo>
                  <a:pt x="4507201" y="1352738"/>
                  <a:pt x="4506827" y="1353187"/>
                  <a:pt x="4506587" y="1353707"/>
                </a:cubicBezTo>
                <a:lnTo>
                  <a:pt x="4506408" y="1352346"/>
                </a:lnTo>
                <a:lnTo>
                  <a:pt x="4507022" y="1357170"/>
                </a:lnTo>
                <a:cubicBezTo>
                  <a:pt x="4506326" y="1358467"/>
                  <a:pt x="4505710" y="1359805"/>
                  <a:pt x="4505177" y="1361177"/>
                </a:cubicBezTo>
                <a:lnTo>
                  <a:pt x="4500510" y="1359877"/>
                </a:lnTo>
                <a:lnTo>
                  <a:pt x="4499751" y="1356954"/>
                </a:lnTo>
                <a:lnTo>
                  <a:pt x="4496496" y="1355872"/>
                </a:lnTo>
                <a:lnTo>
                  <a:pt x="4494326" y="1357170"/>
                </a:lnTo>
                <a:lnTo>
                  <a:pt x="4496279" y="1359119"/>
                </a:lnTo>
                <a:lnTo>
                  <a:pt x="4496279" y="1361609"/>
                </a:lnTo>
                <a:lnTo>
                  <a:pt x="4488900" y="1362692"/>
                </a:lnTo>
                <a:lnTo>
                  <a:pt x="4485427" y="1359661"/>
                </a:lnTo>
                <a:lnTo>
                  <a:pt x="4479242" y="1360960"/>
                </a:lnTo>
                <a:lnTo>
                  <a:pt x="4476203" y="1363883"/>
                </a:lnTo>
                <a:lnTo>
                  <a:pt x="4475118" y="1361393"/>
                </a:lnTo>
                <a:lnTo>
                  <a:pt x="4472405" y="1360635"/>
                </a:lnTo>
                <a:lnTo>
                  <a:pt x="4472405" y="1363883"/>
                </a:lnTo>
                <a:lnTo>
                  <a:pt x="4469366" y="1364966"/>
                </a:lnTo>
                <a:lnTo>
                  <a:pt x="4466979" y="1359769"/>
                </a:lnTo>
                <a:lnTo>
                  <a:pt x="4465894" y="1363234"/>
                </a:lnTo>
                <a:lnTo>
                  <a:pt x="4463181" y="1363234"/>
                </a:lnTo>
                <a:lnTo>
                  <a:pt x="4460794" y="1358578"/>
                </a:lnTo>
                <a:lnTo>
                  <a:pt x="4458840" y="1360527"/>
                </a:lnTo>
                <a:lnTo>
                  <a:pt x="4460794" y="1365399"/>
                </a:lnTo>
                <a:lnTo>
                  <a:pt x="4458624" y="1364858"/>
                </a:lnTo>
                <a:lnTo>
                  <a:pt x="4456127" y="1370596"/>
                </a:lnTo>
                <a:lnTo>
                  <a:pt x="4453631" y="1369513"/>
                </a:lnTo>
                <a:lnTo>
                  <a:pt x="4455585" y="1365508"/>
                </a:lnTo>
                <a:lnTo>
                  <a:pt x="4454717" y="1363558"/>
                </a:lnTo>
                <a:lnTo>
                  <a:pt x="4450919" y="1369297"/>
                </a:lnTo>
                <a:lnTo>
                  <a:pt x="4446795" y="1370055"/>
                </a:lnTo>
                <a:lnTo>
                  <a:pt x="4440610" y="1368214"/>
                </a:lnTo>
                <a:lnTo>
                  <a:pt x="4440067" y="1370705"/>
                </a:lnTo>
                <a:lnTo>
                  <a:pt x="4430626" y="1376876"/>
                </a:lnTo>
                <a:lnTo>
                  <a:pt x="4426285" y="1376876"/>
                </a:lnTo>
                <a:lnTo>
                  <a:pt x="4418472" y="1382506"/>
                </a:lnTo>
                <a:lnTo>
                  <a:pt x="4415000" y="1382506"/>
                </a:lnTo>
                <a:lnTo>
                  <a:pt x="4410876" y="1384347"/>
                </a:lnTo>
                <a:lnTo>
                  <a:pt x="4410333" y="1381315"/>
                </a:lnTo>
                <a:lnTo>
                  <a:pt x="4407403" y="1382723"/>
                </a:lnTo>
                <a:lnTo>
                  <a:pt x="4404908" y="1389760"/>
                </a:lnTo>
                <a:lnTo>
                  <a:pt x="4403280" y="1388894"/>
                </a:lnTo>
                <a:lnTo>
                  <a:pt x="4404908" y="1384022"/>
                </a:lnTo>
                <a:lnTo>
                  <a:pt x="4403605" y="1381098"/>
                </a:lnTo>
                <a:lnTo>
                  <a:pt x="4397637" y="1372653"/>
                </a:lnTo>
                <a:lnTo>
                  <a:pt x="4400567" y="1368647"/>
                </a:lnTo>
                <a:lnTo>
                  <a:pt x="4400567" y="1365399"/>
                </a:lnTo>
                <a:lnTo>
                  <a:pt x="4394816" y="1369405"/>
                </a:lnTo>
                <a:lnTo>
                  <a:pt x="4392319" y="1369405"/>
                </a:lnTo>
                <a:lnTo>
                  <a:pt x="4394164" y="1365940"/>
                </a:lnTo>
                <a:lnTo>
                  <a:pt x="4392211" y="1365074"/>
                </a:lnTo>
                <a:lnTo>
                  <a:pt x="4385375" y="1365833"/>
                </a:lnTo>
                <a:lnTo>
                  <a:pt x="4382119" y="1362909"/>
                </a:lnTo>
                <a:lnTo>
                  <a:pt x="4378864" y="1363451"/>
                </a:lnTo>
                <a:lnTo>
                  <a:pt x="4373438" y="1357712"/>
                </a:lnTo>
                <a:lnTo>
                  <a:pt x="4372353" y="1360635"/>
                </a:lnTo>
                <a:lnTo>
                  <a:pt x="4369965" y="1358795"/>
                </a:lnTo>
                <a:lnTo>
                  <a:pt x="4363672" y="1361718"/>
                </a:lnTo>
                <a:lnTo>
                  <a:pt x="4361827" y="1359228"/>
                </a:lnTo>
                <a:lnTo>
                  <a:pt x="4361827" y="1355655"/>
                </a:lnTo>
                <a:lnTo>
                  <a:pt x="4364322" y="1350458"/>
                </a:lnTo>
                <a:lnTo>
                  <a:pt x="4361610" y="1346993"/>
                </a:lnTo>
                <a:lnTo>
                  <a:pt x="4361610" y="1337249"/>
                </a:lnTo>
                <a:lnTo>
                  <a:pt x="4363237" y="1334326"/>
                </a:lnTo>
                <a:lnTo>
                  <a:pt x="4362477" y="1326964"/>
                </a:lnTo>
                <a:lnTo>
                  <a:pt x="4365950" y="1325556"/>
                </a:lnTo>
                <a:lnTo>
                  <a:pt x="4362369" y="1319926"/>
                </a:lnTo>
                <a:lnTo>
                  <a:pt x="4363997" y="1317003"/>
                </a:lnTo>
                <a:lnTo>
                  <a:pt x="4361610" y="1315054"/>
                </a:lnTo>
                <a:lnTo>
                  <a:pt x="4356943" y="1307366"/>
                </a:lnTo>
                <a:lnTo>
                  <a:pt x="4357920" y="1305309"/>
                </a:lnTo>
                <a:lnTo>
                  <a:pt x="4356293" y="1300762"/>
                </a:lnTo>
                <a:lnTo>
                  <a:pt x="4357594" y="1298271"/>
                </a:lnTo>
                <a:lnTo>
                  <a:pt x="4358462" y="1293183"/>
                </a:lnTo>
                <a:lnTo>
                  <a:pt x="4355967" y="1290476"/>
                </a:lnTo>
                <a:lnTo>
                  <a:pt x="4352928" y="1291884"/>
                </a:lnTo>
                <a:lnTo>
                  <a:pt x="4352060" y="1288743"/>
                </a:lnTo>
                <a:lnTo>
                  <a:pt x="4353471" y="1284088"/>
                </a:lnTo>
                <a:lnTo>
                  <a:pt x="4352168" y="1283114"/>
                </a:lnTo>
                <a:lnTo>
                  <a:pt x="4350324" y="1278349"/>
                </a:lnTo>
                <a:lnTo>
                  <a:pt x="4352711" y="1274344"/>
                </a:lnTo>
                <a:lnTo>
                  <a:pt x="4354990" y="1273802"/>
                </a:lnTo>
                <a:lnTo>
                  <a:pt x="4356835" y="1269363"/>
                </a:lnTo>
                <a:lnTo>
                  <a:pt x="4354990" y="1264816"/>
                </a:lnTo>
                <a:lnTo>
                  <a:pt x="4357703" y="1262543"/>
                </a:lnTo>
                <a:lnTo>
                  <a:pt x="4356509" y="1258212"/>
                </a:lnTo>
                <a:lnTo>
                  <a:pt x="4359765" y="1257021"/>
                </a:lnTo>
                <a:lnTo>
                  <a:pt x="4362912" y="1257995"/>
                </a:lnTo>
                <a:lnTo>
                  <a:pt x="4363454" y="1259727"/>
                </a:lnTo>
                <a:lnTo>
                  <a:pt x="4365733" y="1261351"/>
                </a:lnTo>
                <a:lnTo>
                  <a:pt x="4369965" y="1258645"/>
                </a:lnTo>
                <a:lnTo>
                  <a:pt x="4371268" y="1255938"/>
                </a:lnTo>
                <a:lnTo>
                  <a:pt x="4374198" y="1252906"/>
                </a:lnTo>
                <a:lnTo>
                  <a:pt x="4374198" y="1250633"/>
                </a:lnTo>
                <a:lnTo>
                  <a:pt x="4370942" y="1247384"/>
                </a:lnTo>
                <a:lnTo>
                  <a:pt x="4372245" y="1245544"/>
                </a:lnTo>
                <a:lnTo>
                  <a:pt x="4375499" y="1246951"/>
                </a:lnTo>
                <a:lnTo>
                  <a:pt x="4374740" y="1244678"/>
                </a:lnTo>
                <a:lnTo>
                  <a:pt x="4376585" y="1239589"/>
                </a:lnTo>
                <a:lnTo>
                  <a:pt x="4379840" y="1238398"/>
                </a:lnTo>
                <a:lnTo>
                  <a:pt x="4381468" y="1240564"/>
                </a:lnTo>
                <a:lnTo>
                  <a:pt x="4387220" y="1242404"/>
                </a:lnTo>
                <a:lnTo>
                  <a:pt x="4383964" y="1240022"/>
                </a:lnTo>
                <a:lnTo>
                  <a:pt x="4382662" y="1234067"/>
                </a:lnTo>
                <a:lnTo>
                  <a:pt x="4385592" y="1230061"/>
                </a:lnTo>
                <a:lnTo>
                  <a:pt x="4390475" y="1230061"/>
                </a:lnTo>
                <a:lnTo>
                  <a:pt x="4391560" y="1226272"/>
                </a:lnTo>
                <a:lnTo>
                  <a:pt x="4389933" y="1221616"/>
                </a:lnTo>
                <a:lnTo>
                  <a:pt x="4392103" y="1221616"/>
                </a:lnTo>
                <a:lnTo>
                  <a:pt x="4393405" y="1223998"/>
                </a:lnTo>
                <a:lnTo>
                  <a:pt x="4395250" y="1223456"/>
                </a:lnTo>
                <a:lnTo>
                  <a:pt x="4396335" y="1215661"/>
                </a:lnTo>
                <a:lnTo>
                  <a:pt x="4403714" y="1207866"/>
                </a:lnTo>
                <a:lnTo>
                  <a:pt x="4405667" y="1206458"/>
                </a:lnTo>
                <a:lnTo>
                  <a:pt x="4405667" y="1203210"/>
                </a:lnTo>
                <a:lnTo>
                  <a:pt x="4410008" y="1198663"/>
                </a:lnTo>
                <a:lnTo>
                  <a:pt x="4410008" y="1194874"/>
                </a:lnTo>
                <a:lnTo>
                  <a:pt x="4416302" y="1190759"/>
                </a:lnTo>
                <a:lnTo>
                  <a:pt x="4422270" y="1190759"/>
                </a:lnTo>
                <a:lnTo>
                  <a:pt x="4429541" y="1194765"/>
                </a:lnTo>
                <a:lnTo>
                  <a:pt x="4429541" y="1191842"/>
                </a:lnTo>
                <a:lnTo>
                  <a:pt x="4423355" y="1186753"/>
                </a:lnTo>
                <a:lnTo>
                  <a:pt x="4425309" y="1185995"/>
                </a:lnTo>
                <a:lnTo>
                  <a:pt x="4430518" y="1187078"/>
                </a:lnTo>
                <a:lnTo>
                  <a:pt x="4423247" y="1180365"/>
                </a:lnTo>
                <a:lnTo>
                  <a:pt x="4424875" y="1178958"/>
                </a:lnTo>
                <a:lnTo>
                  <a:pt x="4424875" y="1171703"/>
                </a:lnTo>
                <a:lnTo>
                  <a:pt x="4422487" y="1168455"/>
                </a:lnTo>
                <a:lnTo>
                  <a:pt x="4425960" y="1166832"/>
                </a:lnTo>
                <a:lnTo>
                  <a:pt x="4419774" y="1160877"/>
                </a:lnTo>
                <a:lnTo>
                  <a:pt x="4410768" y="1160877"/>
                </a:lnTo>
                <a:lnTo>
                  <a:pt x="4406427" y="1156329"/>
                </a:lnTo>
                <a:lnTo>
                  <a:pt x="4401869" y="1156329"/>
                </a:lnTo>
                <a:lnTo>
                  <a:pt x="4400242" y="1154597"/>
                </a:lnTo>
                <a:lnTo>
                  <a:pt x="4400242" y="1152287"/>
                </a:lnTo>
                <a:lnTo>
                  <a:pt x="4400240" y="1152324"/>
                </a:lnTo>
                <a:lnTo>
                  <a:pt x="4400023" y="1152107"/>
                </a:lnTo>
                <a:lnTo>
                  <a:pt x="4396985" y="1154273"/>
                </a:lnTo>
                <a:lnTo>
                  <a:pt x="4392427" y="1153948"/>
                </a:lnTo>
                <a:lnTo>
                  <a:pt x="4389714" y="1150699"/>
                </a:lnTo>
                <a:lnTo>
                  <a:pt x="4384071" y="1154273"/>
                </a:lnTo>
                <a:lnTo>
                  <a:pt x="4380273" y="1152107"/>
                </a:lnTo>
                <a:lnTo>
                  <a:pt x="4378320" y="1156113"/>
                </a:lnTo>
                <a:lnTo>
                  <a:pt x="4374305" y="1154489"/>
                </a:lnTo>
                <a:lnTo>
                  <a:pt x="4372569" y="1150483"/>
                </a:lnTo>
                <a:lnTo>
                  <a:pt x="4368771" y="1155247"/>
                </a:lnTo>
                <a:lnTo>
                  <a:pt x="4365841" y="1149942"/>
                </a:lnTo>
                <a:lnTo>
                  <a:pt x="4363345" y="1151891"/>
                </a:lnTo>
                <a:lnTo>
                  <a:pt x="4362802" y="1156546"/>
                </a:lnTo>
                <a:lnTo>
                  <a:pt x="4361175" y="1160336"/>
                </a:lnTo>
                <a:lnTo>
                  <a:pt x="4357593" y="1161093"/>
                </a:lnTo>
                <a:lnTo>
                  <a:pt x="4355532" y="1158495"/>
                </a:lnTo>
                <a:lnTo>
                  <a:pt x="4352276" y="1157413"/>
                </a:lnTo>
                <a:lnTo>
                  <a:pt x="4355315" y="1163151"/>
                </a:lnTo>
                <a:lnTo>
                  <a:pt x="4358462" y="1165316"/>
                </a:lnTo>
                <a:lnTo>
                  <a:pt x="4354447" y="1168889"/>
                </a:lnTo>
                <a:lnTo>
                  <a:pt x="4350431" y="1168672"/>
                </a:lnTo>
                <a:lnTo>
                  <a:pt x="4346850" y="1170621"/>
                </a:lnTo>
                <a:lnTo>
                  <a:pt x="4351191" y="1172679"/>
                </a:lnTo>
                <a:lnTo>
                  <a:pt x="4350974" y="1175385"/>
                </a:lnTo>
                <a:lnTo>
                  <a:pt x="4349129" y="1175927"/>
                </a:lnTo>
                <a:lnTo>
                  <a:pt x="4348153" y="1174303"/>
                </a:lnTo>
                <a:lnTo>
                  <a:pt x="4345331" y="1172895"/>
                </a:lnTo>
                <a:lnTo>
                  <a:pt x="4343812" y="1174627"/>
                </a:lnTo>
                <a:lnTo>
                  <a:pt x="4345874" y="1177984"/>
                </a:lnTo>
                <a:lnTo>
                  <a:pt x="4348695" y="1178092"/>
                </a:lnTo>
                <a:lnTo>
                  <a:pt x="4350974" y="1181015"/>
                </a:lnTo>
                <a:lnTo>
                  <a:pt x="4349563" y="1183723"/>
                </a:lnTo>
                <a:lnTo>
                  <a:pt x="4346633" y="1192059"/>
                </a:lnTo>
                <a:lnTo>
                  <a:pt x="4347718" y="1195415"/>
                </a:lnTo>
                <a:lnTo>
                  <a:pt x="4341967" y="1196498"/>
                </a:lnTo>
                <a:lnTo>
                  <a:pt x="4346633" y="1200180"/>
                </a:lnTo>
                <a:lnTo>
                  <a:pt x="4350431" y="1200829"/>
                </a:lnTo>
                <a:lnTo>
                  <a:pt x="4351951" y="1203860"/>
                </a:lnTo>
                <a:lnTo>
                  <a:pt x="4349021" y="1204943"/>
                </a:lnTo>
                <a:lnTo>
                  <a:pt x="4351734" y="1208733"/>
                </a:lnTo>
                <a:lnTo>
                  <a:pt x="4355206" y="1208733"/>
                </a:lnTo>
                <a:lnTo>
                  <a:pt x="4350431" y="1214688"/>
                </a:lnTo>
                <a:lnTo>
                  <a:pt x="4347393" y="1214904"/>
                </a:lnTo>
                <a:lnTo>
                  <a:pt x="4343920" y="1219127"/>
                </a:lnTo>
                <a:lnTo>
                  <a:pt x="4344680" y="1226814"/>
                </a:lnTo>
                <a:lnTo>
                  <a:pt x="4340013" y="1234826"/>
                </a:lnTo>
                <a:lnTo>
                  <a:pt x="4336867" y="1234609"/>
                </a:lnTo>
                <a:lnTo>
                  <a:pt x="4331984" y="1239265"/>
                </a:lnTo>
                <a:lnTo>
                  <a:pt x="4329487" y="1236017"/>
                </a:lnTo>
                <a:lnTo>
                  <a:pt x="4328728" y="1240239"/>
                </a:lnTo>
                <a:lnTo>
                  <a:pt x="4330573" y="1244462"/>
                </a:lnTo>
                <a:lnTo>
                  <a:pt x="4324821" y="1247818"/>
                </a:lnTo>
                <a:lnTo>
                  <a:pt x="4322434" y="1252582"/>
                </a:lnTo>
                <a:lnTo>
                  <a:pt x="4319504" y="1252474"/>
                </a:lnTo>
                <a:lnTo>
                  <a:pt x="4318962" y="1249010"/>
                </a:lnTo>
                <a:lnTo>
                  <a:pt x="4315381" y="1249010"/>
                </a:lnTo>
                <a:lnTo>
                  <a:pt x="4313210" y="1253881"/>
                </a:lnTo>
                <a:lnTo>
                  <a:pt x="4313210" y="1259295"/>
                </a:lnTo>
                <a:lnTo>
                  <a:pt x="4309954" y="1262218"/>
                </a:lnTo>
                <a:lnTo>
                  <a:pt x="4308001" y="1259079"/>
                </a:lnTo>
                <a:lnTo>
                  <a:pt x="4305939" y="1259079"/>
                </a:lnTo>
                <a:lnTo>
                  <a:pt x="4304746" y="1264167"/>
                </a:lnTo>
                <a:lnTo>
                  <a:pt x="4302576" y="1264708"/>
                </a:lnTo>
                <a:lnTo>
                  <a:pt x="4300513" y="1262218"/>
                </a:lnTo>
                <a:lnTo>
                  <a:pt x="4297258" y="1265467"/>
                </a:lnTo>
                <a:lnTo>
                  <a:pt x="4295847" y="1269473"/>
                </a:lnTo>
                <a:lnTo>
                  <a:pt x="4299103" y="1270122"/>
                </a:lnTo>
                <a:lnTo>
                  <a:pt x="4298777" y="1272829"/>
                </a:lnTo>
                <a:lnTo>
                  <a:pt x="4292267" y="1278459"/>
                </a:lnTo>
                <a:lnTo>
                  <a:pt x="4288034" y="1277376"/>
                </a:lnTo>
                <a:lnTo>
                  <a:pt x="4286841" y="1279867"/>
                </a:lnTo>
                <a:lnTo>
                  <a:pt x="4288794" y="1283981"/>
                </a:lnTo>
                <a:lnTo>
                  <a:pt x="4284887" y="1289719"/>
                </a:lnTo>
                <a:lnTo>
                  <a:pt x="4277942" y="1290910"/>
                </a:lnTo>
                <a:lnTo>
                  <a:pt x="4274144" y="1289611"/>
                </a:lnTo>
                <a:lnTo>
                  <a:pt x="4279678" y="1296540"/>
                </a:lnTo>
                <a:lnTo>
                  <a:pt x="4280330" y="1302495"/>
                </a:lnTo>
                <a:lnTo>
                  <a:pt x="4279027" y="1304227"/>
                </a:lnTo>
                <a:lnTo>
                  <a:pt x="4279895" y="1309640"/>
                </a:lnTo>
                <a:lnTo>
                  <a:pt x="4278702" y="1316678"/>
                </a:lnTo>
                <a:lnTo>
                  <a:pt x="4282283" y="1320468"/>
                </a:lnTo>
                <a:lnTo>
                  <a:pt x="4281740" y="1325123"/>
                </a:lnTo>
                <a:lnTo>
                  <a:pt x="4278702" y="1322417"/>
                </a:lnTo>
                <a:lnTo>
                  <a:pt x="4277617" y="1323932"/>
                </a:lnTo>
                <a:lnTo>
                  <a:pt x="4279027" y="1330970"/>
                </a:lnTo>
                <a:lnTo>
                  <a:pt x="4275447" y="1335409"/>
                </a:lnTo>
                <a:lnTo>
                  <a:pt x="4279027" y="1336925"/>
                </a:lnTo>
                <a:lnTo>
                  <a:pt x="4279027" y="1339740"/>
                </a:lnTo>
                <a:lnTo>
                  <a:pt x="4276857" y="1341039"/>
                </a:lnTo>
                <a:lnTo>
                  <a:pt x="4279353" y="1346236"/>
                </a:lnTo>
                <a:lnTo>
                  <a:pt x="4276097" y="1350458"/>
                </a:lnTo>
                <a:lnTo>
                  <a:pt x="4278810" y="1353274"/>
                </a:lnTo>
                <a:lnTo>
                  <a:pt x="4281198" y="1356955"/>
                </a:lnTo>
                <a:lnTo>
                  <a:pt x="4284453" y="1357605"/>
                </a:lnTo>
                <a:lnTo>
                  <a:pt x="4284453" y="1362152"/>
                </a:lnTo>
                <a:lnTo>
                  <a:pt x="4286841" y="1360745"/>
                </a:lnTo>
                <a:lnTo>
                  <a:pt x="4289336" y="1365075"/>
                </a:lnTo>
                <a:lnTo>
                  <a:pt x="4293460" y="1359986"/>
                </a:lnTo>
                <a:lnTo>
                  <a:pt x="4296716" y="1362693"/>
                </a:lnTo>
                <a:lnTo>
                  <a:pt x="4297801" y="1366807"/>
                </a:lnTo>
                <a:lnTo>
                  <a:pt x="4306374" y="1373304"/>
                </a:lnTo>
                <a:lnTo>
                  <a:pt x="4305071" y="1376011"/>
                </a:lnTo>
                <a:lnTo>
                  <a:pt x="4312125" y="1380233"/>
                </a:lnTo>
                <a:lnTo>
                  <a:pt x="4312125" y="1383806"/>
                </a:lnTo>
                <a:lnTo>
                  <a:pt x="4316791" y="1388353"/>
                </a:lnTo>
                <a:lnTo>
                  <a:pt x="4313752" y="1395608"/>
                </a:lnTo>
                <a:lnTo>
                  <a:pt x="4307784" y="1401996"/>
                </a:lnTo>
                <a:lnTo>
                  <a:pt x="4306156" y="1406868"/>
                </a:lnTo>
                <a:lnTo>
                  <a:pt x="4299645" y="1408492"/>
                </a:lnTo>
                <a:lnTo>
                  <a:pt x="4295739" y="1406326"/>
                </a:lnTo>
                <a:lnTo>
                  <a:pt x="4296173" y="1403294"/>
                </a:lnTo>
                <a:lnTo>
                  <a:pt x="4290747" y="1401346"/>
                </a:lnTo>
                <a:lnTo>
                  <a:pt x="4288468" y="1398964"/>
                </a:lnTo>
                <a:lnTo>
                  <a:pt x="4288251" y="1401887"/>
                </a:lnTo>
                <a:lnTo>
                  <a:pt x="4285321" y="1401996"/>
                </a:lnTo>
                <a:lnTo>
                  <a:pt x="4283368" y="1399830"/>
                </a:lnTo>
                <a:lnTo>
                  <a:pt x="4279245" y="1398964"/>
                </a:lnTo>
                <a:lnTo>
                  <a:pt x="4277617" y="1401996"/>
                </a:lnTo>
                <a:lnTo>
                  <a:pt x="4273927" y="1403078"/>
                </a:lnTo>
                <a:lnTo>
                  <a:pt x="4271974" y="1401129"/>
                </a:lnTo>
                <a:lnTo>
                  <a:pt x="4268501" y="1405677"/>
                </a:lnTo>
                <a:lnTo>
                  <a:pt x="4264594" y="1403620"/>
                </a:lnTo>
                <a:lnTo>
                  <a:pt x="4261122" y="1405135"/>
                </a:lnTo>
                <a:lnTo>
                  <a:pt x="4261340" y="1406868"/>
                </a:lnTo>
                <a:lnTo>
                  <a:pt x="4268501" y="1407625"/>
                </a:lnTo>
                <a:lnTo>
                  <a:pt x="4270346" y="1409033"/>
                </a:lnTo>
                <a:lnTo>
                  <a:pt x="4270889" y="1406759"/>
                </a:lnTo>
                <a:lnTo>
                  <a:pt x="4277183" y="1406543"/>
                </a:lnTo>
                <a:lnTo>
                  <a:pt x="4280330" y="1408492"/>
                </a:lnTo>
                <a:lnTo>
                  <a:pt x="4285321" y="1409466"/>
                </a:lnTo>
                <a:lnTo>
                  <a:pt x="4288468" y="1413580"/>
                </a:lnTo>
                <a:lnTo>
                  <a:pt x="4292267" y="1411415"/>
                </a:lnTo>
                <a:lnTo>
                  <a:pt x="4294545" y="1412498"/>
                </a:lnTo>
                <a:lnTo>
                  <a:pt x="4298777" y="1410224"/>
                </a:lnTo>
                <a:lnTo>
                  <a:pt x="4304529" y="1411740"/>
                </a:lnTo>
                <a:lnTo>
                  <a:pt x="4307459" y="1414338"/>
                </a:lnTo>
                <a:lnTo>
                  <a:pt x="4308001" y="1418777"/>
                </a:lnTo>
                <a:lnTo>
                  <a:pt x="4304746" y="1421484"/>
                </a:lnTo>
                <a:lnTo>
                  <a:pt x="4301490" y="1421484"/>
                </a:lnTo>
                <a:lnTo>
                  <a:pt x="4297258" y="1427872"/>
                </a:lnTo>
                <a:lnTo>
                  <a:pt x="4294545" y="1427655"/>
                </a:lnTo>
                <a:lnTo>
                  <a:pt x="4295522" y="1423325"/>
                </a:lnTo>
                <a:lnTo>
                  <a:pt x="4293894" y="1421159"/>
                </a:lnTo>
                <a:lnTo>
                  <a:pt x="4292049" y="1423650"/>
                </a:lnTo>
                <a:lnTo>
                  <a:pt x="4292809" y="1426789"/>
                </a:lnTo>
                <a:lnTo>
                  <a:pt x="4289554" y="1427114"/>
                </a:lnTo>
                <a:lnTo>
                  <a:pt x="4286298" y="1430687"/>
                </a:lnTo>
                <a:lnTo>
                  <a:pt x="4285756" y="1435559"/>
                </a:lnTo>
                <a:lnTo>
                  <a:pt x="4281740" y="1432528"/>
                </a:lnTo>
                <a:lnTo>
                  <a:pt x="4281958" y="1435559"/>
                </a:lnTo>
                <a:lnTo>
                  <a:pt x="4279245" y="1438158"/>
                </a:lnTo>
                <a:lnTo>
                  <a:pt x="4278485" y="1437075"/>
                </a:lnTo>
                <a:lnTo>
                  <a:pt x="4275989" y="1437075"/>
                </a:lnTo>
                <a:lnTo>
                  <a:pt x="4273276" y="1440323"/>
                </a:lnTo>
                <a:lnTo>
                  <a:pt x="4277183" y="1440865"/>
                </a:lnTo>
                <a:lnTo>
                  <a:pt x="4281958" y="1445737"/>
                </a:lnTo>
                <a:lnTo>
                  <a:pt x="4273059" y="1446061"/>
                </a:lnTo>
                <a:lnTo>
                  <a:pt x="4280113" y="1448552"/>
                </a:lnTo>
                <a:lnTo>
                  <a:pt x="4280438" y="1451475"/>
                </a:lnTo>
                <a:lnTo>
                  <a:pt x="4277942" y="1456889"/>
                </a:lnTo>
                <a:lnTo>
                  <a:pt x="4283043" y="1461544"/>
                </a:lnTo>
                <a:lnTo>
                  <a:pt x="4277400" y="1462627"/>
                </a:lnTo>
                <a:lnTo>
                  <a:pt x="4272191" y="1460678"/>
                </a:lnTo>
                <a:lnTo>
                  <a:pt x="4275012" y="1465226"/>
                </a:lnTo>
                <a:lnTo>
                  <a:pt x="4272734" y="1469340"/>
                </a:lnTo>
                <a:lnTo>
                  <a:pt x="4277942" y="1472587"/>
                </a:lnTo>
                <a:lnTo>
                  <a:pt x="4273819" y="1476377"/>
                </a:lnTo>
                <a:lnTo>
                  <a:pt x="4277617" y="1481250"/>
                </a:lnTo>
                <a:lnTo>
                  <a:pt x="4273602" y="1485797"/>
                </a:lnTo>
                <a:lnTo>
                  <a:pt x="4273059" y="1490669"/>
                </a:lnTo>
                <a:lnTo>
                  <a:pt x="4277183" y="1494242"/>
                </a:lnTo>
                <a:lnTo>
                  <a:pt x="4275012" y="1498031"/>
                </a:lnTo>
                <a:lnTo>
                  <a:pt x="4274144" y="1509725"/>
                </a:lnTo>
                <a:lnTo>
                  <a:pt x="4270346" y="1513731"/>
                </a:lnTo>
                <a:lnTo>
                  <a:pt x="4268719" y="1523150"/>
                </a:lnTo>
                <a:lnTo>
                  <a:pt x="4263510" y="1529430"/>
                </a:lnTo>
                <a:lnTo>
                  <a:pt x="4260905" y="1526182"/>
                </a:lnTo>
                <a:lnTo>
                  <a:pt x="4256565" y="1524233"/>
                </a:lnTo>
                <a:lnTo>
                  <a:pt x="4251356" y="1527048"/>
                </a:lnTo>
                <a:lnTo>
                  <a:pt x="4242675" y="1525641"/>
                </a:lnTo>
                <a:lnTo>
                  <a:pt x="4241372" y="1522176"/>
                </a:lnTo>
                <a:lnTo>
                  <a:pt x="4239745" y="1529754"/>
                </a:lnTo>
                <a:lnTo>
                  <a:pt x="4232365" y="1530729"/>
                </a:lnTo>
                <a:lnTo>
                  <a:pt x="4229110" y="1538416"/>
                </a:lnTo>
                <a:lnTo>
                  <a:pt x="4231823" y="1540798"/>
                </a:lnTo>
                <a:lnTo>
                  <a:pt x="4232149" y="1544588"/>
                </a:lnTo>
                <a:lnTo>
                  <a:pt x="4227483" y="1548919"/>
                </a:lnTo>
                <a:lnTo>
                  <a:pt x="4221514" y="1546753"/>
                </a:lnTo>
                <a:lnTo>
                  <a:pt x="4209360" y="1550002"/>
                </a:lnTo>
                <a:lnTo>
                  <a:pt x="4204694" y="1550002"/>
                </a:lnTo>
                <a:lnTo>
                  <a:pt x="4202198" y="1547619"/>
                </a:lnTo>
                <a:lnTo>
                  <a:pt x="4204911" y="1543288"/>
                </a:lnTo>
                <a:lnTo>
                  <a:pt x="4202740" y="1532137"/>
                </a:lnTo>
                <a:lnTo>
                  <a:pt x="4197857" y="1530729"/>
                </a:lnTo>
                <a:lnTo>
                  <a:pt x="4197097" y="1526398"/>
                </a:lnTo>
                <a:lnTo>
                  <a:pt x="4193842" y="1524341"/>
                </a:lnTo>
                <a:lnTo>
                  <a:pt x="4194710" y="1521851"/>
                </a:lnTo>
                <a:lnTo>
                  <a:pt x="4200678" y="1521093"/>
                </a:lnTo>
                <a:lnTo>
                  <a:pt x="4204151" y="1514597"/>
                </a:lnTo>
                <a:lnTo>
                  <a:pt x="4202740" y="1508858"/>
                </a:lnTo>
                <a:lnTo>
                  <a:pt x="4197640" y="1511782"/>
                </a:lnTo>
                <a:lnTo>
                  <a:pt x="4193082" y="1507235"/>
                </a:lnTo>
                <a:lnTo>
                  <a:pt x="4191889" y="1502687"/>
                </a:lnTo>
                <a:lnTo>
                  <a:pt x="4187006" y="1500738"/>
                </a:lnTo>
                <a:lnTo>
                  <a:pt x="4186463" y="1494025"/>
                </a:lnTo>
                <a:lnTo>
                  <a:pt x="4182122" y="1485256"/>
                </a:lnTo>
                <a:lnTo>
                  <a:pt x="4179952" y="1483415"/>
                </a:lnTo>
                <a:lnTo>
                  <a:pt x="4177565" y="1477244"/>
                </a:lnTo>
                <a:lnTo>
                  <a:pt x="4173549" y="1476269"/>
                </a:lnTo>
                <a:lnTo>
                  <a:pt x="4170837" y="1472371"/>
                </a:lnTo>
                <a:lnTo>
                  <a:pt x="4173115" y="1470097"/>
                </a:lnTo>
                <a:lnTo>
                  <a:pt x="4173658" y="1464901"/>
                </a:lnTo>
                <a:lnTo>
                  <a:pt x="4172247" y="1461220"/>
                </a:lnTo>
                <a:lnTo>
                  <a:pt x="4173115" y="1457430"/>
                </a:lnTo>
                <a:lnTo>
                  <a:pt x="4177890" y="1453532"/>
                </a:lnTo>
                <a:lnTo>
                  <a:pt x="4176588" y="1450934"/>
                </a:lnTo>
                <a:lnTo>
                  <a:pt x="4172573" y="1448660"/>
                </a:lnTo>
                <a:lnTo>
                  <a:pt x="4173658" y="1446278"/>
                </a:lnTo>
                <a:lnTo>
                  <a:pt x="4171379" y="1446170"/>
                </a:lnTo>
                <a:lnTo>
                  <a:pt x="4170837" y="1449851"/>
                </a:lnTo>
                <a:lnTo>
                  <a:pt x="4174092" y="1453316"/>
                </a:lnTo>
                <a:lnTo>
                  <a:pt x="4168775" y="1455589"/>
                </a:lnTo>
                <a:lnTo>
                  <a:pt x="4169534" y="1450501"/>
                </a:lnTo>
                <a:lnTo>
                  <a:pt x="4168232" y="1448768"/>
                </a:lnTo>
                <a:lnTo>
                  <a:pt x="4164868" y="1446928"/>
                </a:lnTo>
                <a:lnTo>
                  <a:pt x="4164435" y="1439240"/>
                </a:lnTo>
                <a:lnTo>
                  <a:pt x="4162481" y="1436426"/>
                </a:lnTo>
                <a:lnTo>
                  <a:pt x="4161613" y="1426140"/>
                </a:lnTo>
                <a:lnTo>
                  <a:pt x="4165303" y="1423975"/>
                </a:lnTo>
                <a:lnTo>
                  <a:pt x="4165736" y="1423541"/>
                </a:lnTo>
                <a:lnTo>
                  <a:pt x="4168666" y="1425490"/>
                </a:lnTo>
                <a:lnTo>
                  <a:pt x="4171379" y="1430363"/>
                </a:lnTo>
                <a:lnTo>
                  <a:pt x="4173984" y="1425490"/>
                </a:lnTo>
                <a:lnTo>
                  <a:pt x="4173984" y="1425489"/>
                </a:lnTo>
                <a:lnTo>
                  <a:pt x="4171379" y="1430362"/>
                </a:lnTo>
                <a:lnTo>
                  <a:pt x="4168666" y="1425489"/>
                </a:lnTo>
                <a:lnTo>
                  <a:pt x="4165736" y="1423540"/>
                </a:lnTo>
                <a:lnTo>
                  <a:pt x="4167147" y="1421700"/>
                </a:lnTo>
                <a:lnTo>
                  <a:pt x="4164760" y="1419642"/>
                </a:lnTo>
                <a:lnTo>
                  <a:pt x="4159117" y="1420184"/>
                </a:lnTo>
                <a:lnTo>
                  <a:pt x="4154125" y="1415095"/>
                </a:lnTo>
                <a:lnTo>
                  <a:pt x="4153365" y="1411956"/>
                </a:lnTo>
                <a:lnTo>
                  <a:pt x="4150652" y="1407624"/>
                </a:lnTo>
                <a:lnTo>
                  <a:pt x="4151629" y="1403727"/>
                </a:lnTo>
                <a:lnTo>
                  <a:pt x="4150761" y="1398097"/>
                </a:lnTo>
                <a:lnTo>
                  <a:pt x="4153474" y="1393766"/>
                </a:lnTo>
                <a:lnTo>
                  <a:pt x="4150110" y="1390410"/>
                </a:lnTo>
                <a:lnTo>
                  <a:pt x="4146529" y="1393116"/>
                </a:lnTo>
                <a:lnTo>
                  <a:pt x="4146311" y="1397556"/>
                </a:lnTo>
                <a:lnTo>
                  <a:pt x="4148808" y="1400371"/>
                </a:lnTo>
                <a:lnTo>
                  <a:pt x="4146963" y="1402536"/>
                </a:lnTo>
                <a:lnTo>
                  <a:pt x="4144684" y="1402752"/>
                </a:lnTo>
                <a:lnTo>
                  <a:pt x="4144250" y="1404810"/>
                </a:lnTo>
                <a:lnTo>
                  <a:pt x="4142080" y="1406217"/>
                </a:lnTo>
                <a:lnTo>
                  <a:pt x="4143707" y="1408924"/>
                </a:lnTo>
                <a:lnTo>
                  <a:pt x="4146855" y="1410223"/>
                </a:lnTo>
                <a:lnTo>
                  <a:pt x="4148374" y="1414771"/>
                </a:lnTo>
                <a:lnTo>
                  <a:pt x="4146746" y="1419968"/>
                </a:lnTo>
                <a:lnTo>
                  <a:pt x="4140886" y="1425489"/>
                </a:lnTo>
                <a:lnTo>
                  <a:pt x="4140669" y="1423757"/>
                </a:lnTo>
                <a:lnTo>
                  <a:pt x="4136762" y="1420401"/>
                </a:lnTo>
                <a:lnTo>
                  <a:pt x="4135134" y="1423324"/>
                </a:lnTo>
                <a:lnTo>
                  <a:pt x="4137197" y="1424948"/>
                </a:lnTo>
                <a:lnTo>
                  <a:pt x="4138390" y="1427546"/>
                </a:lnTo>
                <a:lnTo>
                  <a:pt x="4133832" y="1429603"/>
                </a:lnTo>
                <a:lnTo>
                  <a:pt x="4131662" y="1426789"/>
                </a:lnTo>
                <a:lnTo>
                  <a:pt x="4132313" y="1424190"/>
                </a:lnTo>
                <a:lnTo>
                  <a:pt x="4129383" y="1423757"/>
                </a:lnTo>
                <a:lnTo>
                  <a:pt x="4127756" y="1421917"/>
                </a:lnTo>
                <a:lnTo>
                  <a:pt x="4126019" y="1415312"/>
                </a:lnTo>
                <a:lnTo>
                  <a:pt x="4121461" y="1410332"/>
                </a:lnTo>
                <a:lnTo>
                  <a:pt x="4119074" y="1408924"/>
                </a:lnTo>
                <a:lnTo>
                  <a:pt x="4118965" y="1412822"/>
                </a:lnTo>
                <a:lnTo>
                  <a:pt x="4122981" y="1415854"/>
                </a:lnTo>
                <a:lnTo>
                  <a:pt x="4126345" y="1420293"/>
                </a:lnTo>
                <a:lnTo>
                  <a:pt x="4125043" y="1423432"/>
                </a:lnTo>
                <a:lnTo>
                  <a:pt x="4128732" y="1428196"/>
                </a:lnTo>
                <a:lnTo>
                  <a:pt x="4127756" y="1431119"/>
                </a:lnTo>
                <a:lnTo>
                  <a:pt x="4123849" y="1431877"/>
                </a:lnTo>
                <a:lnTo>
                  <a:pt x="4120159" y="1434260"/>
                </a:lnTo>
                <a:lnTo>
                  <a:pt x="4120702" y="1437507"/>
                </a:lnTo>
                <a:lnTo>
                  <a:pt x="4117664" y="1439564"/>
                </a:lnTo>
                <a:lnTo>
                  <a:pt x="4119074" y="1441297"/>
                </a:lnTo>
                <a:lnTo>
                  <a:pt x="4113974" y="1446278"/>
                </a:lnTo>
                <a:lnTo>
                  <a:pt x="4107680" y="1442380"/>
                </a:lnTo>
                <a:lnTo>
                  <a:pt x="4111261" y="1446819"/>
                </a:lnTo>
                <a:lnTo>
                  <a:pt x="4111695" y="1449742"/>
                </a:lnTo>
                <a:lnTo>
                  <a:pt x="4103448" y="1457970"/>
                </a:lnTo>
                <a:lnTo>
                  <a:pt x="4100518" y="1457754"/>
                </a:lnTo>
                <a:lnTo>
                  <a:pt x="4099324" y="1454290"/>
                </a:lnTo>
                <a:lnTo>
                  <a:pt x="4098347" y="1454073"/>
                </a:lnTo>
                <a:lnTo>
                  <a:pt x="4096286" y="1456238"/>
                </a:lnTo>
                <a:lnTo>
                  <a:pt x="4094115" y="1456780"/>
                </a:lnTo>
                <a:lnTo>
                  <a:pt x="4089232" y="1461543"/>
                </a:lnTo>
                <a:lnTo>
                  <a:pt x="4085108" y="1463384"/>
                </a:lnTo>
                <a:lnTo>
                  <a:pt x="4083263" y="1462410"/>
                </a:lnTo>
                <a:lnTo>
                  <a:pt x="4081093" y="1465117"/>
                </a:lnTo>
                <a:lnTo>
                  <a:pt x="4076319" y="1459162"/>
                </a:lnTo>
                <a:lnTo>
                  <a:pt x="4076861" y="1457862"/>
                </a:lnTo>
                <a:lnTo>
                  <a:pt x="4073823" y="1455372"/>
                </a:lnTo>
                <a:lnTo>
                  <a:pt x="4071001" y="1455480"/>
                </a:lnTo>
                <a:lnTo>
                  <a:pt x="4072412" y="1460027"/>
                </a:lnTo>
                <a:lnTo>
                  <a:pt x="4069264" y="1461652"/>
                </a:lnTo>
                <a:lnTo>
                  <a:pt x="4065793" y="1458295"/>
                </a:lnTo>
                <a:lnTo>
                  <a:pt x="4067963" y="1457213"/>
                </a:lnTo>
                <a:lnTo>
                  <a:pt x="4066878" y="1454398"/>
                </a:lnTo>
                <a:lnTo>
                  <a:pt x="4057871" y="1450933"/>
                </a:lnTo>
                <a:lnTo>
                  <a:pt x="4051359" y="1445411"/>
                </a:lnTo>
                <a:lnTo>
                  <a:pt x="4046477" y="1444437"/>
                </a:lnTo>
                <a:lnTo>
                  <a:pt x="4040508" y="1434368"/>
                </a:lnTo>
                <a:lnTo>
                  <a:pt x="4043004" y="1431661"/>
                </a:lnTo>
                <a:lnTo>
                  <a:pt x="4043004" y="1427980"/>
                </a:lnTo>
                <a:lnTo>
                  <a:pt x="4046585" y="1427872"/>
                </a:lnTo>
                <a:lnTo>
                  <a:pt x="4049298" y="1430037"/>
                </a:lnTo>
                <a:lnTo>
                  <a:pt x="4052228" y="1428954"/>
                </a:lnTo>
                <a:lnTo>
                  <a:pt x="4060692" y="1435017"/>
                </a:lnTo>
                <a:lnTo>
                  <a:pt x="4061235" y="1433393"/>
                </a:lnTo>
                <a:lnTo>
                  <a:pt x="4058739" y="1429495"/>
                </a:lnTo>
                <a:lnTo>
                  <a:pt x="4061126" y="1427655"/>
                </a:lnTo>
                <a:lnTo>
                  <a:pt x="4066010" y="1427330"/>
                </a:lnTo>
                <a:lnTo>
                  <a:pt x="4063622" y="1424082"/>
                </a:lnTo>
                <a:lnTo>
                  <a:pt x="4057871" y="1425706"/>
                </a:lnTo>
                <a:lnTo>
                  <a:pt x="4055700" y="1428196"/>
                </a:lnTo>
                <a:lnTo>
                  <a:pt x="4052987" y="1421483"/>
                </a:lnTo>
                <a:lnTo>
                  <a:pt x="4056026" y="1419318"/>
                </a:lnTo>
                <a:lnTo>
                  <a:pt x="4057111" y="1415420"/>
                </a:lnTo>
                <a:lnTo>
                  <a:pt x="4054181" y="1412281"/>
                </a:lnTo>
                <a:lnTo>
                  <a:pt x="4056569" y="1410873"/>
                </a:lnTo>
                <a:lnTo>
                  <a:pt x="4051468" y="1407083"/>
                </a:lnTo>
                <a:lnTo>
                  <a:pt x="4049515" y="1411631"/>
                </a:lnTo>
                <a:lnTo>
                  <a:pt x="4050383" y="1413579"/>
                </a:lnTo>
                <a:lnTo>
                  <a:pt x="4047019" y="1415204"/>
                </a:lnTo>
                <a:lnTo>
                  <a:pt x="4045392" y="1413796"/>
                </a:lnTo>
                <a:lnTo>
                  <a:pt x="4044089" y="1417585"/>
                </a:lnTo>
                <a:lnTo>
                  <a:pt x="4037795" y="1410873"/>
                </a:lnTo>
                <a:lnTo>
                  <a:pt x="4036167" y="1406542"/>
                </a:lnTo>
                <a:lnTo>
                  <a:pt x="4040291" y="1400912"/>
                </a:lnTo>
                <a:lnTo>
                  <a:pt x="4043438" y="1398963"/>
                </a:lnTo>
                <a:lnTo>
                  <a:pt x="4044415" y="1403619"/>
                </a:lnTo>
                <a:lnTo>
                  <a:pt x="4045392" y="1399721"/>
                </a:lnTo>
                <a:lnTo>
                  <a:pt x="4047670" y="1398638"/>
                </a:lnTo>
                <a:lnTo>
                  <a:pt x="4052771" y="1401995"/>
                </a:lnTo>
                <a:lnTo>
                  <a:pt x="4053096" y="1398746"/>
                </a:lnTo>
                <a:lnTo>
                  <a:pt x="4054724" y="1396040"/>
                </a:lnTo>
                <a:lnTo>
                  <a:pt x="4059498" y="1395715"/>
                </a:lnTo>
                <a:lnTo>
                  <a:pt x="4057871" y="1393008"/>
                </a:lnTo>
                <a:lnTo>
                  <a:pt x="4051359" y="1393008"/>
                </a:lnTo>
                <a:lnTo>
                  <a:pt x="4048973" y="1391926"/>
                </a:lnTo>
                <a:lnTo>
                  <a:pt x="4050383" y="1388677"/>
                </a:lnTo>
                <a:lnTo>
                  <a:pt x="4053530" y="1388677"/>
                </a:lnTo>
                <a:lnTo>
                  <a:pt x="4057328" y="1383589"/>
                </a:lnTo>
                <a:lnTo>
                  <a:pt x="4052987" y="1381965"/>
                </a:lnTo>
                <a:lnTo>
                  <a:pt x="4055484" y="1381098"/>
                </a:lnTo>
                <a:lnTo>
                  <a:pt x="4058522" y="1375577"/>
                </a:lnTo>
                <a:lnTo>
                  <a:pt x="4061126" y="1375685"/>
                </a:lnTo>
                <a:lnTo>
                  <a:pt x="4061777" y="1380773"/>
                </a:lnTo>
                <a:lnTo>
                  <a:pt x="4065250" y="1383589"/>
                </a:lnTo>
                <a:lnTo>
                  <a:pt x="4063839" y="1380232"/>
                </a:lnTo>
                <a:lnTo>
                  <a:pt x="4063839" y="1374602"/>
                </a:lnTo>
                <a:lnTo>
                  <a:pt x="4068288" y="1371138"/>
                </a:lnTo>
                <a:lnTo>
                  <a:pt x="4070893" y="1369622"/>
                </a:lnTo>
                <a:lnTo>
                  <a:pt x="4067311" y="1370596"/>
                </a:lnTo>
                <a:lnTo>
                  <a:pt x="4062862" y="1370271"/>
                </a:lnTo>
                <a:lnTo>
                  <a:pt x="4054181" y="1373844"/>
                </a:lnTo>
                <a:lnTo>
                  <a:pt x="4053530" y="1378608"/>
                </a:lnTo>
                <a:lnTo>
                  <a:pt x="4050274" y="1380449"/>
                </a:lnTo>
                <a:lnTo>
                  <a:pt x="4046585" y="1385971"/>
                </a:lnTo>
                <a:lnTo>
                  <a:pt x="4045174" y="1385863"/>
                </a:lnTo>
                <a:lnTo>
                  <a:pt x="4046802" y="1381315"/>
                </a:lnTo>
                <a:lnTo>
                  <a:pt x="4044306" y="1377526"/>
                </a:lnTo>
                <a:lnTo>
                  <a:pt x="4046151" y="1374602"/>
                </a:lnTo>
                <a:lnTo>
                  <a:pt x="4042679" y="1374061"/>
                </a:lnTo>
                <a:lnTo>
                  <a:pt x="4041702" y="1372437"/>
                </a:lnTo>
                <a:lnTo>
                  <a:pt x="4047345" y="1369405"/>
                </a:lnTo>
                <a:lnTo>
                  <a:pt x="4046802" y="1365616"/>
                </a:lnTo>
                <a:lnTo>
                  <a:pt x="4048755" y="1363559"/>
                </a:lnTo>
                <a:lnTo>
                  <a:pt x="4044089" y="1361610"/>
                </a:lnTo>
                <a:lnTo>
                  <a:pt x="4037469" y="1368973"/>
                </a:lnTo>
                <a:lnTo>
                  <a:pt x="4034757" y="1366698"/>
                </a:lnTo>
                <a:lnTo>
                  <a:pt x="4033238" y="1361502"/>
                </a:lnTo>
                <a:lnTo>
                  <a:pt x="4036493" y="1363342"/>
                </a:lnTo>
                <a:lnTo>
                  <a:pt x="4038446" y="1361718"/>
                </a:lnTo>
                <a:lnTo>
                  <a:pt x="4038012" y="1357820"/>
                </a:lnTo>
                <a:lnTo>
                  <a:pt x="4041159" y="1354572"/>
                </a:lnTo>
                <a:lnTo>
                  <a:pt x="4038446" y="1354464"/>
                </a:lnTo>
                <a:lnTo>
                  <a:pt x="4036493" y="1356737"/>
                </a:lnTo>
                <a:lnTo>
                  <a:pt x="4033129" y="1357496"/>
                </a:lnTo>
                <a:lnTo>
                  <a:pt x="4030958" y="1355655"/>
                </a:lnTo>
                <a:lnTo>
                  <a:pt x="4032153" y="1353273"/>
                </a:lnTo>
                <a:lnTo>
                  <a:pt x="4030199" y="1348834"/>
                </a:lnTo>
                <a:lnTo>
                  <a:pt x="4031501" y="1348400"/>
                </a:lnTo>
                <a:lnTo>
                  <a:pt x="4034865" y="1350675"/>
                </a:lnTo>
                <a:lnTo>
                  <a:pt x="4037795" y="1350675"/>
                </a:lnTo>
                <a:lnTo>
                  <a:pt x="4043655" y="1347751"/>
                </a:lnTo>
                <a:lnTo>
                  <a:pt x="4046585" y="1348726"/>
                </a:lnTo>
                <a:lnTo>
                  <a:pt x="4051794" y="1347751"/>
                </a:lnTo>
                <a:lnTo>
                  <a:pt x="4055809" y="1348726"/>
                </a:lnTo>
                <a:lnTo>
                  <a:pt x="4059173" y="1353057"/>
                </a:lnTo>
                <a:lnTo>
                  <a:pt x="4059932" y="1350458"/>
                </a:lnTo>
                <a:lnTo>
                  <a:pt x="4064707" y="1345694"/>
                </a:lnTo>
                <a:lnTo>
                  <a:pt x="4069156" y="1346343"/>
                </a:lnTo>
                <a:lnTo>
                  <a:pt x="4069808" y="1350675"/>
                </a:lnTo>
                <a:lnTo>
                  <a:pt x="4067095" y="1352840"/>
                </a:lnTo>
                <a:lnTo>
                  <a:pt x="4067311" y="1355006"/>
                </a:lnTo>
                <a:lnTo>
                  <a:pt x="4072737" y="1354789"/>
                </a:lnTo>
                <a:lnTo>
                  <a:pt x="4074799" y="1351216"/>
                </a:lnTo>
                <a:lnTo>
                  <a:pt x="4073171" y="1349808"/>
                </a:lnTo>
                <a:lnTo>
                  <a:pt x="4076210" y="1347426"/>
                </a:lnTo>
                <a:lnTo>
                  <a:pt x="4082504" y="1345910"/>
                </a:lnTo>
                <a:lnTo>
                  <a:pt x="4085325" y="1342337"/>
                </a:lnTo>
                <a:lnTo>
                  <a:pt x="4081636" y="1338007"/>
                </a:lnTo>
                <a:lnTo>
                  <a:pt x="4082504" y="1334109"/>
                </a:lnTo>
                <a:lnTo>
                  <a:pt x="4079032" y="1339198"/>
                </a:lnTo>
                <a:lnTo>
                  <a:pt x="4080009" y="1341796"/>
                </a:lnTo>
                <a:lnTo>
                  <a:pt x="4077837" y="1343962"/>
                </a:lnTo>
                <a:lnTo>
                  <a:pt x="4073280" y="1342771"/>
                </a:lnTo>
                <a:lnTo>
                  <a:pt x="4075776" y="1340822"/>
                </a:lnTo>
                <a:lnTo>
                  <a:pt x="4076752" y="1338873"/>
                </a:lnTo>
                <a:lnTo>
                  <a:pt x="4074365" y="1338223"/>
                </a:lnTo>
                <a:lnTo>
                  <a:pt x="4069264" y="1342013"/>
                </a:lnTo>
                <a:lnTo>
                  <a:pt x="4065793" y="1342013"/>
                </a:lnTo>
                <a:lnTo>
                  <a:pt x="4064598" y="1339414"/>
                </a:lnTo>
                <a:lnTo>
                  <a:pt x="4061344" y="1340280"/>
                </a:lnTo>
                <a:lnTo>
                  <a:pt x="4061235" y="1343420"/>
                </a:lnTo>
                <a:lnTo>
                  <a:pt x="4057979" y="1345586"/>
                </a:lnTo>
                <a:lnTo>
                  <a:pt x="4056243" y="1344286"/>
                </a:lnTo>
                <a:lnTo>
                  <a:pt x="4051251" y="1342987"/>
                </a:lnTo>
                <a:lnTo>
                  <a:pt x="4044089" y="1343962"/>
                </a:lnTo>
                <a:lnTo>
                  <a:pt x="4041267" y="1346127"/>
                </a:lnTo>
                <a:lnTo>
                  <a:pt x="4035842" y="1346343"/>
                </a:lnTo>
                <a:lnTo>
                  <a:pt x="4034214" y="1343637"/>
                </a:lnTo>
                <a:lnTo>
                  <a:pt x="4032044" y="1342121"/>
                </a:lnTo>
                <a:lnTo>
                  <a:pt x="4031501" y="1339955"/>
                </a:lnTo>
                <a:lnTo>
                  <a:pt x="4033454" y="1339414"/>
                </a:lnTo>
                <a:lnTo>
                  <a:pt x="4037469" y="1337141"/>
                </a:lnTo>
                <a:lnTo>
                  <a:pt x="4034865" y="1337141"/>
                </a:lnTo>
                <a:lnTo>
                  <a:pt x="4031393" y="1335625"/>
                </a:lnTo>
                <a:lnTo>
                  <a:pt x="4031609" y="1334218"/>
                </a:lnTo>
                <a:lnTo>
                  <a:pt x="4033563" y="1334759"/>
                </a:lnTo>
                <a:lnTo>
                  <a:pt x="4035407" y="1333784"/>
                </a:lnTo>
                <a:lnTo>
                  <a:pt x="4042135" y="1333784"/>
                </a:lnTo>
                <a:lnTo>
                  <a:pt x="4046802" y="1330536"/>
                </a:lnTo>
                <a:lnTo>
                  <a:pt x="4040508" y="1330536"/>
                </a:lnTo>
                <a:lnTo>
                  <a:pt x="4037904" y="1332269"/>
                </a:lnTo>
                <a:lnTo>
                  <a:pt x="4034106" y="1331510"/>
                </a:lnTo>
                <a:lnTo>
                  <a:pt x="4037035" y="1328263"/>
                </a:lnTo>
                <a:lnTo>
                  <a:pt x="4029331" y="1324798"/>
                </a:lnTo>
                <a:lnTo>
                  <a:pt x="4029656" y="1322849"/>
                </a:lnTo>
                <a:lnTo>
                  <a:pt x="4034757" y="1322091"/>
                </a:lnTo>
                <a:lnTo>
                  <a:pt x="4038338" y="1319059"/>
                </a:lnTo>
                <a:lnTo>
                  <a:pt x="4040508" y="1319925"/>
                </a:lnTo>
                <a:lnTo>
                  <a:pt x="4045174" y="1318627"/>
                </a:lnTo>
                <a:lnTo>
                  <a:pt x="4052553" y="1322416"/>
                </a:lnTo>
                <a:lnTo>
                  <a:pt x="4054941" y="1321225"/>
                </a:lnTo>
                <a:lnTo>
                  <a:pt x="4061126" y="1322091"/>
                </a:lnTo>
                <a:lnTo>
                  <a:pt x="4065575" y="1317543"/>
                </a:lnTo>
                <a:lnTo>
                  <a:pt x="4062212" y="1317543"/>
                </a:lnTo>
                <a:lnTo>
                  <a:pt x="4060041" y="1319168"/>
                </a:lnTo>
                <a:lnTo>
                  <a:pt x="4053096" y="1319168"/>
                </a:lnTo>
                <a:lnTo>
                  <a:pt x="4048646" y="1316353"/>
                </a:lnTo>
                <a:lnTo>
                  <a:pt x="4041593" y="1314837"/>
                </a:lnTo>
                <a:lnTo>
                  <a:pt x="4036276" y="1316461"/>
                </a:lnTo>
                <a:lnTo>
                  <a:pt x="4034322" y="1314512"/>
                </a:lnTo>
                <a:lnTo>
                  <a:pt x="4036276" y="1311805"/>
                </a:lnTo>
                <a:lnTo>
                  <a:pt x="4031826" y="1307691"/>
                </a:lnTo>
                <a:lnTo>
                  <a:pt x="4031284" y="1305092"/>
                </a:lnTo>
                <a:lnTo>
                  <a:pt x="4033454" y="1304443"/>
                </a:lnTo>
                <a:lnTo>
                  <a:pt x="4037469" y="1308016"/>
                </a:lnTo>
                <a:lnTo>
                  <a:pt x="4038664" y="1312347"/>
                </a:lnTo>
                <a:lnTo>
                  <a:pt x="4041593" y="1310398"/>
                </a:lnTo>
                <a:lnTo>
                  <a:pt x="4039423" y="1305851"/>
                </a:lnTo>
                <a:lnTo>
                  <a:pt x="4046260" y="1306067"/>
                </a:lnTo>
                <a:lnTo>
                  <a:pt x="4047561" y="1310506"/>
                </a:lnTo>
                <a:lnTo>
                  <a:pt x="4050058" y="1309423"/>
                </a:lnTo>
                <a:lnTo>
                  <a:pt x="4053747" y="1309099"/>
                </a:lnTo>
                <a:lnTo>
                  <a:pt x="4049190" y="1306067"/>
                </a:lnTo>
                <a:lnTo>
                  <a:pt x="4053747" y="1301303"/>
                </a:lnTo>
                <a:lnTo>
                  <a:pt x="4058956" y="1304660"/>
                </a:lnTo>
                <a:lnTo>
                  <a:pt x="4059607" y="1302278"/>
                </a:lnTo>
                <a:lnTo>
                  <a:pt x="4057979" y="1299246"/>
                </a:lnTo>
                <a:lnTo>
                  <a:pt x="4062320" y="1298488"/>
                </a:lnTo>
                <a:lnTo>
                  <a:pt x="4066335" y="1299896"/>
                </a:lnTo>
                <a:lnTo>
                  <a:pt x="4066552" y="1306067"/>
                </a:lnTo>
                <a:lnTo>
                  <a:pt x="4067963" y="1307908"/>
                </a:lnTo>
                <a:lnTo>
                  <a:pt x="4071435" y="1306067"/>
                </a:lnTo>
                <a:lnTo>
                  <a:pt x="4069373" y="1302927"/>
                </a:lnTo>
                <a:lnTo>
                  <a:pt x="4071001" y="1299246"/>
                </a:lnTo>
                <a:lnTo>
                  <a:pt x="4065250" y="1296106"/>
                </a:lnTo>
                <a:lnTo>
                  <a:pt x="4060584" y="1293074"/>
                </a:lnTo>
                <a:lnTo>
                  <a:pt x="4053096" y="1291992"/>
                </a:lnTo>
                <a:lnTo>
                  <a:pt x="4052011" y="1290151"/>
                </a:lnTo>
                <a:lnTo>
                  <a:pt x="4055700" y="1287986"/>
                </a:lnTo>
                <a:lnTo>
                  <a:pt x="4057654" y="1289285"/>
                </a:lnTo>
                <a:lnTo>
                  <a:pt x="4060584" y="1287445"/>
                </a:lnTo>
                <a:lnTo>
                  <a:pt x="4063948" y="1290476"/>
                </a:lnTo>
                <a:lnTo>
                  <a:pt x="4066335" y="1288527"/>
                </a:lnTo>
                <a:lnTo>
                  <a:pt x="4068288" y="1288527"/>
                </a:lnTo>
                <a:lnTo>
                  <a:pt x="4072303" y="1293724"/>
                </a:lnTo>
                <a:lnTo>
                  <a:pt x="4076970" y="1295023"/>
                </a:lnTo>
                <a:lnTo>
                  <a:pt x="4079682" y="1291125"/>
                </a:lnTo>
                <a:lnTo>
                  <a:pt x="4086628" y="1288202"/>
                </a:lnTo>
                <a:lnTo>
                  <a:pt x="4088038" y="1285712"/>
                </a:lnTo>
                <a:lnTo>
                  <a:pt x="4085325" y="1285712"/>
                </a:lnTo>
                <a:lnTo>
                  <a:pt x="4079357" y="1288527"/>
                </a:lnTo>
                <a:lnTo>
                  <a:pt x="4077512" y="1287445"/>
                </a:lnTo>
                <a:lnTo>
                  <a:pt x="4080985" y="1285062"/>
                </a:lnTo>
                <a:lnTo>
                  <a:pt x="4079682" y="1283547"/>
                </a:lnTo>
                <a:lnTo>
                  <a:pt x="4071978" y="1285821"/>
                </a:lnTo>
                <a:lnTo>
                  <a:pt x="4068288" y="1282031"/>
                </a:lnTo>
                <a:lnTo>
                  <a:pt x="4070893" y="1279649"/>
                </a:lnTo>
                <a:lnTo>
                  <a:pt x="4070133" y="1276076"/>
                </a:lnTo>
                <a:lnTo>
                  <a:pt x="4071978" y="1273911"/>
                </a:lnTo>
                <a:lnTo>
                  <a:pt x="4074257" y="1275860"/>
                </a:lnTo>
                <a:lnTo>
                  <a:pt x="4079032" y="1275860"/>
                </a:lnTo>
                <a:lnTo>
                  <a:pt x="4082830" y="1278783"/>
                </a:lnTo>
                <a:lnTo>
                  <a:pt x="4085651" y="1276942"/>
                </a:lnTo>
                <a:lnTo>
                  <a:pt x="4091836" y="1283872"/>
                </a:lnTo>
                <a:lnTo>
                  <a:pt x="4098347" y="1286362"/>
                </a:lnTo>
                <a:lnTo>
                  <a:pt x="4102363" y="1286254"/>
                </a:lnTo>
                <a:lnTo>
                  <a:pt x="4100300" y="1283980"/>
                </a:lnTo>
                <a:lnTo>
                  <a:pt x="4096502" y="1283547"/>
                </a:lnTo>
                <a:lnTo>
                  <a:pt x="4092162" y="1280190"/>
                </a:lnTo>
                <a:lnTo>
                  <a:pt x="4088038" y="1274668"/>
                </a:lnTo>
                <a:lnTo>
                  <a:pt x="4088798" y="1271095"/>
                </a:lnTo>
                <a:lnTo>
                  <a:pt x="4090426" y="1270879"/>
                </a:lnTo>
                <a:lnTo>
                  <a:pt x="4091294" y="1273694"/>
                </a:lnTo>
                <a:lnTo>
                  <a:pt x="4095417" y="1277376"/>
                </a:lnTo>
                <a:lnTo>
                  <a:pt x="4099650" y="1277376"/>
                </a:lnTo>
                <a:lnTo>
                  <a:pt x="4100518" y="1280623"/>
                </a:lnTo>
                <a:lnTo>
                  <a:pt x="4105943" y="1282248"/>
                </a:lnTo>
                <a:lnTo>
                  <a:pt x="4106161" y="1279325"/>
                </a:lnTo>
                <a:lnTo>
                  <a:pt x="4103448" y="1278242"/>
                </a:lnTo>
                <a:lnTo>
                  <a:pt x="4104641" y="1274993"/>
                </a:lnTo>
                <a:lnTo>
                  <a:pt x="4098564" y="1274993"/>
                </a:lnTo>
                <a:lnTo>
                  <a:pt x="4093247" y="1271962"/>
                </a:lnTo>
                <a:lnTo>
                  <a:pt x="4093789" y="1269797"/>
                </a:lnTo>
                <a:lnTo>
                  <a:pt x="4097045" y="1269797"/>
                </a:lnTo>
                <a:lnTo>
                  <a:pt x="4099215" y="1271962"/>
                </a:lnTo>
                <a:lnTo>
                  <a:pt x="4101386" y="1269255"/>
                </a:lnTo>
                <a:lnTo>
                  <a:pt x="4106269" y="1266115"/>
                </a:lnTo>
                <a:lnTo>
                  <a:pt x="4105075" y="1264924"/>
                </a:lnTo>
                <a:lnTo>
                  <a:pt x="4102688" y="1266007"/>
                </a:lnTo>
                <a:lnTo>
                  <a:pt x="4100192" y="1265466"/>
                </a:lnTo>
                <a:lnTo>
                  <a:pt x="4104641" y="1261243"/>
                </a:lnTo>
                <a:lnTo>
                  <a:pt x="4108114" y="1260810"/>
                </a:lnTo>
                <a:lnTo>
                  <a:pt x="4112129" y="1262542"/>
                </a:lnTo>
                <a:lnTo>
                  <a:pt x="4118097" y="1257129"/>
                </a:lnTo>
                <a:lnTo>
                  <a:pt x="4112238" y="1257129"/>
                </a:lnTo>
                <a:lnTo>
                  <a:pt x="4112238" y="1254964"/>
                </a:lnTo>
                <a:lnTo>
                  <a:pt x="4116795" y="1254422"/>
                </a:lnTo>
                <a:lnTo>
                  <a:pt x="4118640" y="1251174"/>
                </a:lnTo>
                <a:lnTo>
                  <a:pt x="4121895" y="1251174"/>
                </a:lnTo>
                <a:lnTo>
                  <a:pt x="4125151" y="1255938"/>
                </a:lnTo>
                <a:lnTo>
                  <a:pt x="4125151" y="1260160"/>
                </a:lnTo>
                <a:lnTo>
                  <a:pt x="4127973" y="1263950"/>
                </a:lnTo>
                <a:lnTo>
                  <a:pt x="4126019" y="1265466"/>
                </a:lnTo>
                <a:lnTo>
                  <a:pt x="4123306" y="1268497"/>
                </a:lnTo>
                <a:lnTo>
                  <a:pt x="4126996" y="1266548"/>
                </a:lnTo>
                <a:lnTo>
                  <a:pt x="4130686" y="1264383"/>
                </a:lnTo>
                <a:lnTo>
                  <a:pt x="4130903" y="1260377"/>
                </a:lnTo>
                <a:lnTo>
                  <a:pt x="4133832" y="1257995"/>
                </a:lnTo>
                <a:lnTo>
                  <a:pt x="4138716" y="1257887"/>
                </a:lnTo>
                <a:lnTo>
                  <a:pt x="4142080" y="1261243"/>
                </a:lnTo>
                <a:lnTo>
                  <a:pt x="4146311" y="1261676"/>
                </a:lnTo>
                <a:lnTo>
                  <a:pt x="4146095" y="1257345"/>
                </a:lnTo>
                <a:lnTo>
                  <a:pt x="4148482" y="1254205"/>
                </a:lnTo>
                <a:lnTo>
                  <a:pt x="4144250" y="1252040"/>
                </a:lnTo>
                <a:lnTo>
                  <a:pt x="4150977" y="1245111"/>
                </a:lnTo>
                <a:lnTo>
                  <a:pt x="4154450" y="1244677"/>
                </a:lnTo>
                <a:lnTo>
                  <a:pt x="4156621" y="1241754"/>
                </a:lnTo>
                <a:lnTo>
                  <a:pt x="4150110" y="1239805"/>
                </a:lnTo>
                <a:lnTo>
                  <a:pt x="4150218" y="1236774"/>
                </a:lnTo>
                <a:lnTo>
                  <a:pt x="4156947" y="1232443"/>
                </a:lnTo>
                <a:lnTo>
                  <a:pt x="4154450" y="1232659"/>
                </a:lnTo>
                <a:lnTo>
                  <a:pt x="4150218" y="1231902"/>
                </a:lnTo>
                <a:lnTo>
                  <a:pt x="4148048" y="1233850"/>
                </a:lnTo>
                <a:lnTo>
                  <a:pt x="4146420" y="1234283"/>
                </a:lnTo>
                <a:lnTo>
                  <a:pt x="4145552" y="1239264"/>
                </a:lnTo>
                <a:lnTo>
                  <a:pt x="4142297" y="1243595"/>
                </a:lnTo>
                <a:lnTo>
                  <a:pt x="4146095" y="1242512"/>
                </a:lnTo>
                <a:lnTo>
                  <a:pt x="4146095" y="1245760"/>
                </a:lnTo>
                <a:lnTo>
                  <a:pt x="4138824" y="1252798"/>
                </a:lnTo>
                <a:lnTo>
                  <a:pt x="4133398" y="1253556"/>
                </a:lnTo>
                <a:lnTo>
                  <a:pt x="4128406" y="1256479"/>
                </a:lnTo>
                <a:lnTo>
                  <a:pt x="4125693" y="1252798"/>
                </a:lnTo>
                <a:lnTo>
                  <a:pt x="4126019" y="1248142"/>
                </a:lnTo>
                <a:lnTo>
                  <a:pt x="4129058" y="1246843"/>
                </a:lnTo>
                <a:lnTo>
                  <a:pt x="4129491" y="1244136"/>
                </a:lnTo>
                <a:lnTo>
                  <a:pt x="4126996" y="1243920"/>
                </a:lnTo>
                <a:lnTo>
                  <a:pt x="4122221" y="1247060"/>
                </a:lnTo>
                <a:lnTo>
                  <a:pt x="4120919" y="1245219"/>
                </a:lnTo>
                <a:lnTo>
                  <a:pt x="4125151" y="1241213"/>
                </a:lnTo>
                <a:lnTo>
                  <a:pt x="4128190" y="1238723"/>
                </a:lnTo>
                <a:lnTo>
                  <a:pt x="4128949" y="1233850"/>
                </a:lnTo>
                <a:lnTo>
                  <a:pt x="4128406" y="1232226"/>
                </a:lnTo>
                <a:lnTo>
                  <a:pt x="4132531" y="1229520"/>
                </a:lnTo>
                <a:lnTo>
                  <a:pt x="4132204" y="1224648"/>
                </a:lnTo>
                <a:lnTo>
                  <a:pt x="4134484" y="1223457"/>
                </a:lnTo>
                <a:lnTo>
                  <a:pt x="4139909" y="1223457"/>
                </a:lnTo>
                <a:lnTo>
                  <a:pt x="4138716" y="1221075"/>
                </a:lnTo>
                <a:lnTo>
                  <a:pt x="4139258" y="1218368"/>
                </a:lnTo>
                <a:lnTo>
                  <a:pt x="4141429" y="1216310"/>
                </a:lnTo>
                <a:lnTo>
                  <a:pt x="4140343" y="1213604"/>
                </a:lnTo>
                <a:lnTo>
                  <a:pt x="4143382" y="1213604"/>
                </a:lnTo>
                <a:lnTo>
                  <a:pt x="4144793" y="1211438"/>
                </a:lnTo>
                <a:lnTo>
                  <a:pt x="4147180" y="1212954"/>
                </a:lnTo>
                <a:lnTo>
                  <a:pt x="4147939" y="1216528"/>
                </a:lnTo>
                <a:lnTo>
                  <a:pt x="4151521" y="1216310"/>
                </a:lnTo>
                <a:lnTo>
                  <a:pt x="4153365" y="1212413"/>
                </a:lnTo>
                <a:lnTo>
                  <a:pt x="4156947" y="1210573"/>
                </a:lnTo>
                <a:lnTo>
                  <a:pt x="4152281" y="1209165"/>
                </a:lnTo>
                <a:lnTo>
                  <a:pt x="4151954" y="1207324"/>
                </a:lnTo>
                <a:lnTo>
                  <a:pt x="4154559" y="1203535"/>
                </a:lnTo>
                <a:lnTo>
                  <a:pt x="4160527" y="1202993"/>
                </a:lnTo>
                <a:lnTo>
                  <a:pt x="4161613" y="1201045"/>
                </a:lnTo>
                <a:lnTo>
                  <a:pt x="4158357" y="1199420"/>
                </a:lnTo>
                <a:lnTo>
                  <a:pt x="4161504" y="1196714"/>
                </a:lnTo>
                <a:lnTo>
                  <a:pt x="4165302" y="1195090"/>
                </a:lnTo>
                <a:lnTo>
                  <a:pt x="4165411" y="1192924"/>
                </a:lnTo>
                <a:lnTo>
                  <a:pt x="4168341" y="1191625"/>
                </a:lnTo>
                <a:lnTo>
                  <a:pt x="4171813" y="1191625"/>
                </a:lnTo>
                <a:lnTo>
                  <a:pt x="4175720" y="1187294"/>
                </a:lnTo>
                <a:lnTo>
                  <a:pt x="4178650" y="1186753"/>
                </a:lnTo>
                <a:lnTo>
                  <a:pt x="4180603" y="1181339"/>
                </a:lnTo>
                <a:lnTo>
                  <a:pt x="4178541" y="1181339"/>
                </a:lnTo>
                <a:lnTo>
                  <a:pt x="4176479" y="1184912"/>
                </a:lnTo>
                <a:lnTo>
                  <a:pt x="4173767" y="1185129"/>
                </a:lnTo>
                <a:lnTo>
                  <a:pt x="4172030" y="1181123"/>
                </a:lnTo>
                <a:lnTo>
                  <a:pt x="4172139" y="1177008"/>
                </a:lnTo>
                <a:lnTo>
                  <a:pt x="4170728" y="1176684"/>
                </a:lnTo>
                <a:lnTo>
                  <a:pt x="4170836" y="1172894"/>
                </a:lnTo>
                <a:lnTo>
                  <a:pt x="4173115" y="1171595"/>
                </a:lnTo>
                <a:lnTo>
                  <a:pt x="4178324" y="1175059"/>
                </a:lnTo>
                <a:lnTo>
                  <a:pt x="4178650" y="1172461"/>
                </a:lnTo>
                <a:lnTo>
                  <a:pt x="4177890" y="1170512"/>
                </a:lnTo>
                <a:lnTo>
                  <a:pt x="4173984" y="1169429"/>
                </a:lnTo>
                <a:lnTo>
                  <a:pt x="4173767" y="1165640"/>
                </a:lnTo>
                <a:lnTo>
                  <a:pt x="4175394" y="1164341"/>
                </a:lnTo>
                <a:lnTo>
                  <a:pt x="4177890" y="1166723"/>
                </a:lnTo>
                <a:lnTo>
                  <a:pt x="4179952" y="1166723"/>
                </a:lnTo>
                <a:lnTo>
                  <a:pt x="4179410" y="1163692"/>
                </a:lnTo>
                <a:lnTo>
                  <a:pt x="4177239" y="1161201"/>
                </a:lnTo>
                <a:lnTo>
                  <a:pt x="4178541" y="1160443"/>
                </a:lnTo>
                <a:lnTo>
                  <a:pt x="4178324" y="1157303"/>
                </a:lnTo>
                <a:lnTo>
                  <a:pt x="4180495" y="1154596"/>
                </a:lnTo>
                <a:lnTo>
                  <a:pt x="4182665" y="1154596"/>
                </a:lnTo>
                <a:lnTo>
                  <a:pt x="4185378" y="1157520"/>
                </a:lnTo>
                <a:lnTo>
                  <a:pt x="4185486" y="1153947"/>
                </a:lnTo>
                <a:lnTo>
                  <a:pt x="4183208" y="1151782"/>
                </a:lnTo>
                <a:lnTo>
                  <a:pt x="4182773" y="1148641"/>
                </a:lnTo>
                <a:lnTo>
                  <a:pt x="4178107" y="1148533"/>
                </a:lnTo>
                <a:lnTo>
                  <a:pt x="4176697" y="1147017"/>
                </a:lnTo>
                <a:lnTo>
                  <a:pt x="4181145" y="1142903"/>
                </a:lnTo>
                <a:lnTo>
                  <a:pt x="4187656" y="1142795"/>
                </a:lnTo>
                <a:lnTo>
                  <a:pt x="4189501" y="1144527"/>
                </a:lnTo>
                <a:lnTo>
                  <a:pt x="4193517" y="1144527"/>
                </a:lnTo>
                <a:lnTo>
                  <a:pt x="4193517" y="1142362"/>
                </a:lnTo>
                <a:lnTo>
                  <a:pt x="4196338" y="1139655"/>
                </a:lnTo>
                <a:lnTo>
                  <a:pt x="4192757" y="1141280"/>
                </a:lnTo>
                <a:lnTo>
                  <a:pt x="4190261" y="1140521"/>
                </a:lnTo>
                <a:lnTo>
                  <a:pt x="4189284" y="1137706"/>
                </a:lnTo>
                <a:lnTo>
                  <a:pt x="4182990" y="1135541"/>
                </a:lnTo>
                <a:lnTo>
                  <a:pt x="4180495" y="1134458"/>
                </a:lnTo>
                <a:lnTo>
                  <a:pt x="4181905" y="1131860"/>
                </a:lnTo>
                <a:lnTo>
                  <a:pt x="4181905" y="1129261"/>
                </a:lnTo>
                <a:lnTo>
                  <a:pt x="4183533" y="1130777"/>
                </a:lnTo>
                <a:lnTo>
                  <a:pt x="4186463" y="1130344"/>
                </a:lnTo>
                <a:lnTo>
                  <a:pt x="4188959" y="1128720"/>
                </a:lnTo>
                <a:lnTo>
                  <a:pt x="4186463" y="1128720"/>
                </a:lnTo>
                <a:lnTo>
                  <a:pt x="4185920" y="1126013"/>
                </a:lnTo>
                <a:lnTo>
                  <a:pt x="4187874" y="1124281"/>
                </a:lnTo>
                <a:lnTo>
                  <a:pt x="4184835" y="1121791"/>
                </a:lnTo>
                <a:lnTo>
                  <a:pt x="4186246" y="1120383"/>
                </a:lnTo>
                <a:lnTo>
                  <a:pt x="4186788" y="1121574"/>
                </a:lnTo>
                <a:lnTo>
                  <a:pt x="4191129" y="1122332"/>
                </a:lnTo>
                <a:lnTo>
                  <a:pt x="4192214" y="1120599"/>
                </a:lnTo>
                <a:lnTo>
                  <a:pt x="4189284" y="1117893"/>
                </a:lnTo>
                <a:lnTo>
                  <a:pt x="4190587" y="1116702"/>
                </a:lnTo>
                <a:lnTo>
                  <a:pt x="4192431" y="1117676"/>
                </a:lnTo>
                <a:lnTo>
                  <a:pt x="4195579" y="1116485"/>
                </a:lnTo>
                <a:lnTo>
                  <a:pt x="4192866" y="1113129"/>
                </a:lnTo>
                <a:lnTo>
                  <a:pt x="4189284" y="1111613"/>
                </a:lnTo>
                <a:lnTo>
                  <a:pt x="4189827" y="1109340"/>
                </a:lnTo>
                <a:lnTo>
                  <a:pt x="4193082" y="1109123"/>
                </a:lnTo>
                <a:lnTo>
                  <a:pt x="4198942" y="1106091"/>
                </a:lnTo>
                <a:lnTo>
                  <a:pt x="4200570" y="1107607"/>
                </a:lnTo>
                <a:lnTo>
                  <a:pt x="4204368" y="1105550"/>
                </a:lnTo>
                <a:lnTo>
                  <a:pt x="4204368" y="1101977"/>
                </a:lnTo>
                <a:lnTo>
                  <a:pt x="4210987" y="1100895"/>
                </a:lnTo>
                <a:lnTo>
                  <a:pt x="4213375" y="1099487"/>
                </a:lnTo>
                <a:lnTo>
                  <a:pt x="4218258" y="1099487"/>
                </a:lnTo>
                <a:lnTo>
                  <a:pt x="4224444" y="1103385"/>
                </a:lnTo>
                <a:lnTo>
                  <a:pt x="4224444" y="1100678"/>
                </a:lnTo>
                <a:lnTo>
                  <a:pt x="4221514" y="1099054"/>
                </a:lnTo>
                <a:lnTo>
                  <a:pt x="4220211" y="1095264"/>
                </a:lnTo>
                <a:lnTo>
                  <a:pt x="4216305" y="1096564"/>
                </a:lnTo>
                <a:lnTo>
                  <a:pt x="4213700" y="1094073"/>
                </a:lnTo>
                <a:lnTo>
                  <a:pt x="4209903" y="1096564"/>
                </a:lnTo>
                <a:lnTo>
                  <a:pt x="4205453" y="1094507"/>
                </a:lnTo>
                <a:lnTo>
                  <a:pt x="4205453" y="1091691"/>
                </a:lnTo>
                <a:lnTo>
                  <a:pt x="4209577" y="1088660"/>
                </a:lnTo>
                <a:lnTo>
                  <a:pt x="4213917" y="1088227"/>
                </a:lnTo>
                <a:lnTo>
                  <a:pt x="4210662" y="1085736"/>
                </a:lnTo>
                <a:lnTo>
                  <a:pt x="4213592" y="1082705"/>
                </a:lnTo>
                <a:lnTo>
                  <a:pt x="4215762" y="1082272"/>
                </a:lnTo>
                <a:lnTo>
                  <a:pt x="4219343" y="1086928"/>
                </a:lnTo>
                <a:lnTo>
                  <a:pt x="4222273" y="1086603"/>
                </a:lnTo>
                <a:lnTo>
                  <a:pt x="4225638" y="1089309"/>
                </a:lnTo>
                <a:lnTo>
                  <a:pt x="4225855" y="1085736"/>
                </a:lnTo>
                <a:lnTo>
                  <a:pt x="4220754" y="1082705"/>
                </a:lnTo>
                <a:lnTo>
                  <a:pt x="4218475" y="1079240"/>
                </a:lnTo>
                <a:lnTo>
                  <a:pt x="4219343" y="1074585"/>
                </a:lnTo>
                <a:lnTo>
                  <a:pt x="4225638" y="1073826"/>
                </a:lnTo>
                <a:lnTo>
                  <a:pt x="4223576" y="1070795"/>
                </a:lnTo>
                <a:lnTo>
                  <a:pt x="4219669" y="1070579"/>
                </a:lnTo>
                <a:lnTo>
                  <a:pt x="4215329" y="1075559"/>
                </a:lnTo>
                <a:lnTo>
                  <a:pt x="4211964" y="1076317"/>
                </a:lnTo>
                <a:lnTo>
                  <a:pt x="4214785" y="1072419"/>
                </a:lnTo>
                <a:lnTo>
                  <a:pt x="4211964" y="1069712"/>
                </a:lnTo>
                <a:lnTo>
                  <a:pt x="4213700" y="1065273"/>
                </a:lnTo>
                <a:lnTo>
                  <a:pt x="4217173" y="1065165"/>
                </a:lnTo>
                <a:lnTo>
                  <a:pt x="4219018" y="1066789"/>
                </a:lnTo>
                <a:lnTo>
                  <a:pt x="4227699" y="1065490"/>
                </a:lnTo>
                <a:lnTo>
                  <a:pt x="4229978" y="1061917"/>
                </a:lnTo>
                <a:lnTo>
                  <a:pt x="4225855" y="1059426"/>
                </a:lnTo>
                <a:lnTo>
                  <a:pt x="4220754" y="1059535"/>
                </a:lnTo>
                <a:lnTo>
                  <a:pt x="4217498" y="1056179"/>
                </a:lnTo>
                <a:lnTo>
                  <a:pt x="4221297" y="1051956"/>
                </a:lnTo>
                <a:lnTo>
                  <a:pt x="4224010" y="1052281"/>
                </a:lnTo>
                <a:lnTo>
                  <a:pt x="4222816" y="1054338"/>
                </a:lnTo>
                <a:lnTo>
                  <a:pt x="4224444" y="1057045"/>
                </a:lnTo>
                <a:lnTo>
                  <a:pt x="4227808" y="1056179"/>
                </a:lnTo>
                <a:lnTo>
                  <a:pt x="4231064" y="1052714"/>
                </a:lnTo>
                <a:lnTo>
                  <a:pt x="4234319" y="1056936"/>
                </a:lnTo>
                <a:lnTo>
                  <a:pt x="4234210" y="1061159"/>
                </a:lnTo>
                <a:lnTo>
                  <a:pt x="4236163" y="1064516"/>
                </a:lnTo>
                <a:lnTo>
                  <a:pt x="4237032" y="1062025"/>
                </a:lnTo>
                <a:lnTo>
                  <a:pt x="4236381" y="1058669"/>
                </a:lnTo>
                <a:lnTo>
                  <a:pt x="4237791" y="1055962"/>
                </a:lnTo>
                <a:lnTo>
                  <a:pt x="4239962" y="1055854"/>
                </a:lnTo>
                <a:lnTo>
                  <a:pt x="4238551" y="1052173"/>
                </a:lnTo>
                <a:lnTo>
                  <a:pt x="4234970" y="1049574"/>
                </a:lnTo>
                <a:lnTo>
                  <a:pt x="4237574" y="1049249"/>
                </a:lnTo>
                <a:lnTo>
                  <a:pt x="4241155" y="1051306"/>
                </a:lnTo>
                <a:lnTo>
                  <a:pt x="4242566" y="1048600"/>
                </a:lnTo>
                <a:lnTo>
                  <a:pt x="4241047" y="1046975"/>
                </a:lnTo>
                <a:lnTo>
                  <a:pt x="4245821" y="1046975"/>
                </a:lnTo>
                <a:lnTo>
                  <a:pt x="4247558" y="1049033"/>
                </a:lnTo>
                <a:lnTo>
                  <a:pt x="4251464" y="1048058"/>
                </a:lnTo>
                <a:lnTo>
                  <a:pt x="4252007" y="1051198"/>
                </a:lnTo>
                <a:lnTo>
                  <a:pt x="4253852" y="1053472"/>
                </a:lnTo>
                <a:lnTo>
                  <a:pt x="4254937" y="1052173"/>
                </a:lnTo>
                <a:lnTo>
                  <a:pt x="4255805" y="1045785"/>
                </a:lnTo>
                <a:lnTo>
                  <a:pt x="4258843" y="1042320"/>
                </a:lnTo>
                <a:lnTo>
                  <a:pt x="4258735" y="1039288"/>
                </a:lnTo>
                <a:lnTo>
                  <a:pt x="4256130" y="1039397"/>
                </a:lnTo>
                <a:lnTo>
                  <a:pt x="4251790" y="1041562"/>
                </a:lnTo>
                <a:lnTo>
                  <a:pt x="4249294" y="1040046"/>
                </a:lnTo>
                <a:lnTo>
                  <a:pt x="4238985" y="1042969"/>
                </a:lnTo>
                <a:lnTo>
                  <a:pt x="4235078" y="1041671"/>
                </a:lnTo>
                <a:lnTo>
                  <a:pt x="4237466" y="1037339"/>
                </a:lnTo>
                <a:lnTo>
                  <a:pt x="4242132" y="1036906"/>
                </a:lnTo>
                <a:lnTo>
                  <a:pt x="4243543" y="1035499"/>
                </a:lnTo>
                <a:lnTo>
                  <a:pt x="4242349" y="1033225"/>
                </a:lnTo>
                <a:lnTo>
                  <a:pt x="4245388" y="1029328"/>
                </a:lnTo>
                <a:lnTo>
                  <a:pt x="4248860" y="1028353"/>
                </a:lnTo>
                <a:lnTo>
                  <a:pt x="4250814" y="1030843"/>
                </a:lnTo>
                <a:lnTo>
                  <a:pt x="4253635" y="1030194"/>
                </a:lnTo>
                <a:lnTo>
                  <a:pt x="4252332" y="1029111"/>
                </a:lnTo>
                <a:lnTo>
                  <a:pt x="4252441" y="1026729"/>
                </a:lnTo>
                <a:lnTo>
                  <a:pt x="4255805" y="1026512"/>
                </a:lnTo>
                <a:lnTo>
                  <a:pt x="4257650" y="1024347"/>
                </a:lnTo>
                <a:lnTo>
                  <a:pt x="4255045" y="1022506"/>
                </a:lnTo>
                <a:lnTo>
                  <a:pt x="4257867" y="1020666"/>
                </a:lnTo>
                <a:lnTo>
                  <a:pt x="4261665" y="1020233"/>
                </a:lnTo>
                <a:lnTo>
                  <a:pt x="4258735" y="1016660"/>
                </a:lnTo>
                <a:lnTo>
                  <a:pt x="4255697" y="1017093"/>
                </a:lnTo>
                <a:lnTo>
                  <a:pt x="4254612" y="1016551"/>
                </a:lnTo>
                <a:lnTo>
                  <a:pt x="4259060" y="1011247"/>
                </a:lnTo>
                <a:lnTo>
                  <a:pt x="4262425" y="1010164"/>
                </a:lnTo>
                <a:lnTo>
                  <a:pt x="4266223" y="1012112"/>
                </a:lnTo>
                <a:lnTo>
                  <a:pt x="4266982" y="1006807"/>
                </a:lnTo>
                <a:lnTo>
                  <a:pt x="4264812" y="1004100"/>
                </a:lnTo>
                <a:lnTo>
                  <a:pt x="4265897" y="998145"/>
                </a:lnTo>
                <a:lnTo>
                  <a:pt x="4268610" y="996088"/>
                </a:lnTo>
                <a:lnTo>
                  <a:pt x="4269587" y="999770"/>
                </a:lnTo>
                <a:lnTo>
                  <a:pt x="4271432" y="1000853"/>
                </a:lnTo>
                <a:lnTo>
                  <a:pt x="4271974" y="1006374"/>
                </a:lnTo>
                <a:lnTo>
                  <a:pt x="4276532" y="1009622"/>
                </a:lnTo>
                <a:lnTo>
                  <a:pt x="4273819" y="1005075"/>
                </a:lnTo>
                <a:lnTo>
                  <a:pt x="4277943" y="1003776"/>
                </a:lnTo>
                <a:lnTo>
                  <a:pt x="4281958" y="1004317"/>
                </a:lnTo>
                <a:lnTo>
                  <a:pt x="4280438" y="1002584"/>
                </a:lnTo>
                <a:lnTo>
                  <a:pt x="4277617" y="1002151"/>
                </a:lnTo>
                <a:lnTo>
                  <a:pt x="4271432" y="997496"/>
                </a:lnTo>
                <a:lnTo>
                  <a:pt x="4272191" y="994464"/>
                </a:lnTo>
                <a:lnTo>
                  <a:pt x="4278377" y="992407"/>
                </a:lnTo>
                <a:lnTo>
                  <a:pt x="4279787" y="993274"/>
                </a:lnTo>
                <a:lnTo>
                  <a:pt x="4282934" y="1001719"/>
                </a:lnTo>
                <a:lnTo>
                  <a:pt x="4287817" y="1003776"/>
                </a:lnTo>
                <a:lnTo>
                  <a:pt x="4289879" y="1010272"/>
                </a:lnTo>
                <a:lnTo>
                  <a:pt x="4292484" y="1005183"/>
                </a:lnTo>
                <a:lnTo>
                  <a:pt x="4290639" y="1001935"/>
                </a:lnTo>
                <a:lnTo>
                  <a:pt x="4284128" y="997280"/>
                </a:lnTo>
                <a:lnTo>
                  <a:pt x="4284453" y="993165"/>
                </a:lnTo>
                <a:lnTo>
                  <a:pt x="4282391" y="988510"/>
                </a:lnTo>
                <a:lnTo>
                  <a:pt x="4285539" y="982555"/>
                </a:lnTo>
                <a:lnTo>
                  <a:pt x="4290096" y="979631"/>
                </a:lnTo>
                <a:lnTo>
                  <a:pt x="4292484" y="980172"/>
                </a:lnTo>
                <a:lnTo>
                  <a:pt x="4294220" y="986669"/>
                </a:lnTo>
                <a:lnTo>
                  <a:pt x="4291941" y="991541"/>
                </a:lnTo>
                <a:lnTo>
                  <a:pt x="4292484" y="996088"/>
                </a:lnTo>
                <a:lnTo>
                  <a:pt x="4296173" y="991433"/>
                </a:lnTo>
                <a:lnTo>
                  <a:pt x="4295305" y="989051"/>
                </a:lnTo>
                <a:lnTo>
                  <a:pt x="4295413" y="983313"/>
                </a:lnTo>
                <a:lnTo>
                  <a:pt x="4300839" y="974651"/>
                </a:lnTo>
                <a:lnTo>
                  <a:pt x="4304204" y="972486"/>
                </a:lnTo>
                <a:lnTo>
                  <a:pt x="4306916" y="985911"/>
                </a:lnTo>
                <a:lnTo>
                  <a:pt x="4303552" y="992624"/>
                </a:lnTo>
                <a:lnTo>
                  <a:pt x="4304746" y="995872"/>
                </a:lnTo>
                <a:lnTo>
                  <a:pt x="4301165" y="998470"/>
                </a:lnTo>
                <a:lnTo>
                  <a:pt x="4301273" y="1000961"/>
                </a:lnTo>
                <a:lnTo>
                  <a:pt x="4306483" y="996847"/>
                </a:lnTo>
                <a:lnTo>
                  <a:pt x="4307568" y="993165"/>
                </a:lnTo>
                <a:lnTo>
                  <a:pt x="4310823" y="988401"/>
                </a:lnTo>
                <a:lnTo>
                  <a:pt x="4312885" y="990459"/>
                </a:lnTo>
                <a:lnTo>
                  <a:pt x="4316683" y="991000"/>
                </a:lnTo>
                <a:lnTo>
                  <a:pt x="4314621" y="986669"/>
                </a:lnTo>
                <a:lnTo>
                  <a:pt x="4309629" y="984395"/>
                </a:lnTo>
                <a:lnTo>
                  <a:pt x="4309412" y="980606"/>
                </a:lnTo>
                <a:lnTo>
                  <a:pt x="4313536" y="977033"/>
                </a:lnTo>
                <a:lnTo>
                  <a:pt x="4313645" y="974543"/>
                </a:lnTo>
                <a:lnTo>
                  <a:pt x="4317117" y="971619"/>
                </a:lnTo>
                <a:lnTo>
                  <a:pt x="4317985" y="977249"/>
                </a:lnTo>
                <a:lnTo>
                  <a:pt x="4321458" y="974326"/>
                </a:lnTo>
                <a:lnTo>
                  <a:pt x="4322760" y="970320"/>
                </a:lnTo>
                <a:lnTo>
                  <a:pt x="4325148" y="973243"/>
                </a:lnTo>
                <a:lnTo>
                  <a:pt x="4329271" y="974976"/>
                </a:lnTo>
                <a:lnTo>
                  <a:pt x="4332527" y="980281"/>
                </a:lnTo>
                <a:lnTo>
                  <a:pt x="4335673" y="982555"/>
                </a:lnTo>
                <a:lnTo>
                  <a:pt x="4336107" y="979307"/>
                </a:lnTo>
                <a:lnTo>
                  <a:pt x="4332527" y="974435"/>
                </a:lnTo>
                <a:lnTo>
                  <a:pt x="4332309" y="970320"/>
                </a:lnTo>
                <a:lnTo>
                  <a:pt x="4334697" y="965881"/>
                </a:lnTo>
                <a:lnTo>
                  <a:pt x="4329271" y="965448"/>
                </a:lnTo>
                <a:lnTo>
                  <a:pt x="4327209" y="963066"/>
                </a:lnTo>
                <a:lnTo>
                  <a:pt x="4323520" y="963174"/>
                </a:lnTo>
                <a:lnTo>
                  <a:pt x="4318311" y="957003"/>
                </a:lnTo>
                <a:lnTo>
                  <a:pt x="4318528" y="955054"/>
                </a:lnTo>
                <a:lnTo>
                  <a:pt x="4322868" y="954080"/>
                </a:lnTo>
                <a:lnTo>
                  <a:pt x="4326558" y="950723"/>
                </a:lnTo>
                <a:lnTo>
                  <a:pt x="4328186" y="953863"/>
                </a:lnTo>
                <a:lnTo>
                  <a:pt x="4330573" y="950940"/>
                </a:lnTo>
                <a:lnTo>
                  <a:pt x="4332743" y="951048"/>
                </a:lnTo>
                <a:lnTo>
                  <a:pt x="4340014" y="956786"/>
                </a:lnTo>
                <a:lnTo>
                  <a:pt x="4345331" y="957111"/>
                </a:lnTo>
                <a:lnTo>
                  <a:pt x="4349347" y="956678"/>
                </a:lnTo>
                <a:lnTo>
                  <a:pt x="4353036" y="958627"/>
                </a:lnTo>
                <a:lnTo>
                  <a:pt x="4350432" y="961550"/>
                </a:lnTo>
                <a:lnTo>
                  <a:pt x="4353253" y="962308"/>
                </a:lnTo>
                <a:lnTo>
                  <a:pt x="4354772" y="968588"/>
                </a:lnTo>
                <a:lnTo>
                  <a:pt x="4360632" y="969129"/>
                </a:lnTo>
                <a:lnTo>
                  <a:pt x="4362586" y="967072"/>
                </a:lnTo>
                <a:lnTo>
                  <a:pt x="4360958" y="965340"/>
                </a:lnTo>
                <a:lnTo>
                  <a:pt x="4357377" y="963607"/>
                </a:lnTo>
                <a:lnTo>
                  <a:pt x="4360090" y="960901"/>
                </a:lnTo>
                <a:lnTo>
                  <a:pt x="4356508" y="957111"/>
                </a:lnTo>
                <a:lnTo>
                  <a:pt x="4357485" y="953646"/>
                </a:lnTo>
                <a:lnTo>
                  <a:pt x="4361934" y="950723"/>
                </a:lnTo>
                <a:lnTo>
                  <a:pt x="4359981" y="949424"/>
                </a:lnTo>
                <a:lnTo>
                  <a:pt x="4359981" y="947583"/>
                </a:lnTo>
                <a:lnTo>
                  <a:pt x="4363128" y="946284"/>
                </a:lnTo>
                <a:lnTo>
                  <a:pt x="4365624" y="941303"/>
                </a:lnTo>
                <a:lnTo>
                  <a:pt x="4367794" y="941087"/>
                </a:lnTo>
                <a:lnTo>
                  <a:pt x="4372027" y="943902"/>
                </a:lnTo>
                <a:lnTo>
                  <a:pt x="4373545" y="942386"/>
                </a:lnTo>
                <a:lnTo>
                  <a:pt x="4372135" y="940546"/>
                </a:lnTo>
                <a:lnTo>
                  <a:pt x="4372460" y="938056"/>
                </a:lnTo>
                <a:lnTo>
                  <a:pt x="4375282" y="935457"/>
                </a:lnTo>
                <a:lnTo>
                  <a:pt x="4377670" y="937839"/>
                </a:lnTo>
                <a:lnTo>
                  <a:pt x="4378971" y="936431"/>
                </a:lnTo>
                <a:lnTo>
                  <a:pt x="4377670" y="932425"/>
                </a:lnTo>
                <a:lnTo>
                  <a:pt x="4372244" y="928744"/>
                </a:lnTo>
                <a:lnTo>
                  <a:pt x="4371592" y="927012"/>
                </a:lnTo>
                <a:lnTo>
                  <a:pt x="4373654" y="925063"/>
                </a:lnTo>
                <a:lnTo>
                  <a:pt x="4376258" y="926579"/>
                </a:lnTo>
                <a:lnTo>
                  <a:pt x="4378211" y="928961"/>
                </a:lnTo>
                <a:lnTo>
                  <a:pt x="4379623" y="926146"/>
                </a:lnTo>
                <a:lnTo>
                  <a:pt x="4379080" y="920407"/>
                </a:lnTo>
                <a:lnTo>
                  <a:pt x="4381901" y="918891"/>
                </a:lnTo>
                <a:lnTo>
                  <a:pt x="4385808" y="919650"/>
                </a:lnTo>
                <a:lnTo>
                  <a:pt x="4388955" y="922789"/>
                </a:lnTo>
                <a:lnTo>
                  <a:pt x="4389063" y="926903"/>
                </a:lnTo>
                <a:lnTo>
                  <a:pt x="4391777" y="923872"/>
                </a:lnTo>
                <a:lnTo>
                  <a:pt x="4391125" y="919650"/>
                </a:lnTo>
                <a:lnTo>
                  <a:pt x="4393078" y="919000"/>
                </a:lnTo>
                <a:lnTo>
                  <a:pt x="4396876" y="922897"/>
                </a:lnTo>
                <a:lnTo>
                  <a:pt x="4400566" y="923222"/>
                </a:lnTo>
                <a:lnTo>
                  <a:pt x="4401001" y="925821"/>
                </a:lnTo>
                <a:lnTo>
                  <a:pt x="4399915" y="926579"/>
                </a:lnTo>
                <a:lnTo>
                  <a:pt x="4398721" y="931234"/>
                </a:lnTo>
                <a:lnTo>
                  <a:pt x="4391777" y="938922"/>
                </a:lnTo>
                <a:lnTo>
                  <a:pt x="4393730" y="943036"/>
                </a:lnTo>
                <a:lnTo>
                  <a:pt x="4392102" y="946176"/>
                </a:lnTo>
                <a:lnTo>
                  <a:pt x="4392862" y="950290"/>
                </a:lnTo>
                <a:lnTo>
                  <a:pt x="4388955" y="956570"/>
                </a:lnTo>
                <a:lnTo>
                  <a:pt x="4390365" y="959601"/>
                </a:lnTo>
                <a:lnTo>
                  <a:pt x="4390365" y="963715"/>
                </a:lnTo>
                <a:lnTo>
                  <a:pt x="4393513" y="962308"/>
                </a:lnTo>
                <a:lnTo>
                  <a:pt x="4399698" y="955487"/>
                </a:lnTo>
                <a:lnTo>
                  <a:pt x="4400349" y="950723"/>
                </a:lnTo>
                <a:lnTo>
                  <a:pt x="4399047" y="948233"/>
                </a:lnTo>
                <a:lnTo>
                  <a:pt x="4400458" y="942386"/>
                </a:lnTo>
                <a:lnTo>
                  <a:pt x="4406535" y="934158"/>
                </a:lnTo>
                <a:lnTo>
                  <a:pt x="4406643" y="928636"/>
                </a:lnTo>
                <a:lnTo>
                  <a:pt x="4412612" y="918783"/>
                </a:lnTo>
                <a:lnTo>
                  <a:pt x="4414890" y="918675"/>
                </a:lnTo>
                <a:lnTo>
                  <a:pt x="4416301" y="921057"/>
                </a:lnTo>
                <a:lnTo>
                  <a:pt x="4416301" y="928203"/>
                </a:lnTo>
                <a:lnTo>
                  <a:pt x="4413588" y="930909"/>
                </a:lnTo>
                <a:lnTo>
                  <a:pt x="4413154" y="933075"/>
                </a:lnTo>
                <a:lnTo>
                  <a:pt x="4416953" y="934483"/>
                </a:lnTo>
                <a:lnTo>
                  <a:pt x="4413046" y="942819"/>
                </a:lnTo>
                <a:lnTo>
                  <a:pt x="4413372" y="947367"/>
                </a:lnTo>
                <a:lnTo>
                  <a:pt x="4416410" y="945201"/>
                </a:lnTo>
                <a:lnTo>
                  <a:pt x="4417061" y="943360"/>
                </a:lnTo>
                <a:lnTo>
                  <a:pt x="4419882" y="941195"/>
                </a:lnTo>
                <a:lnTo>
                  <a:pt x="4422921" y="943360"/>
                </a:lnTo>
                <a:lnTo>
                  <a:pt x="4424223" y="941845"/>
                </a:lnTo>
                <a:lnTo>
                  <a:pt x="4422704" y="937189"/>
                </a:lnTo>
                <a:lnTo>
                  <a:pt x="4425417" y="935457"/>
                </a:lnTo>
                <a:lnTo>
                  <a:pt x="4424549" y="934050"/>
                </a:lnTo>
                <a:lnTo>
                  <a:pt x="4424549" y="930909"/>
                </a:lnTo>
                <a:lnTo>
                  <a:pt x="4427370" y="929393"/>
                </a:lnTo>
                <a:lnTo>
                  <a:pt x="4427370" y="926146"/>
                </a:lnTo>
                <a:lnTo>
                  <a:pt x="4430192" y="924846"/>
                </a:lnTo>
                <a:lnTo>
                  <a:pt x="4430625" y="922897"/>
                </a:lnTo>
                <a:lnTo>
                  <a:pt x="4428889" y="921273"/>
                </a:lnTo>
                <a:lnTo>
                  <a:pt x="4425308" y="921165"/>
                </a:lnTo>
                <a:lnTo>
                  <a:pt x="4424223" y="919433"/>
                </a:lnTo>
                <a:lnTo>
                  <a:pt x="4425417" y="915427"/>
                </a:lnTo>
                <a:lnTo>
                  <a:pt x="4427912" y="913153"/>
                </a:lnTo>
                <a:lnTo>
                  <a:pt x="4431277" y="917917"/>
                </a:lnTo>
                <a:lnTo>
                  <a:pt x="4433338" y="917917"/>
                </a:lnTo>
                <a:lnTo>
                  <a:pt x="4435183" y="915319"/>
                </a:lnTo>
                <a:lnTo>
                  <a:pt x="4432362" y="911746"/>
                </a:lnTo>
                <a:lnTo>
                  <a:pt x="4432253" y="909581"/>
                </a:lnTo>
                <a:lnTo>
                  <a:pt x="4435617" y="906332"/>
                </a:lnTo>
                <a:lnTo>
                  <a:pt x="4438330" y="908606"/>
                </a:lnTo>
                <a:lnTo>
                  <a:pt x="4440934" y="908930"/>
                </a:lnTo>
                <a:lnTo>
                  <a:pt x="4443973" y="906224"/>
                </a:lnTo>
                <a:lnTo>
                  <a:pt x="4445167" y="909364"/>
                </a:lnTo>
                <a:lnTo>
                  <a:pt x="4444299" y="912828"/>
                </a:lnTo>
                <a:lnTo>
                  <a:pt x="4446469" y="914236"/>
                </a:lnTo>
                <a:lnTo>
                  <a:pt x="4451135" y="913045"/>
                </a:lnTo>
                <a:lnTo>
                  <a:pt x="4451895" y="916077"/>
                </a:lnTo>
                <a:lnTo>
                  <a:pt x="4449073" y="923548"/>
                </a:lnTo>
                <a:lnTo>
                  <a:pt x="4443973" y="923548"/>
                </a:lnTo>
                <a:lnTo>
                  <a:pt x="4442563" y="922140"/>
                </a:lnTo>
                <a:lnTo>
                  <a:pt x="4439198" y="923222"/>
                </a:lnTo>
                <a:lnTo>
                  <a:pt x="4439958" y="925063"/>
                </a:lnTo>
                <a:lnTo>
                  <a:pt x="4444081" y="926038"/>
                </a:lnTo>
                <a:lnTo>
                  <a:pt x="4443864" y="927986"/>
                </a:lnTo>
                <a:lnTo>
                  <a:pt x="4440826" y="930477"/>
                </a:lnTo>
                <a:lnTo>
                  <a:pt x="4440175" y="932534"/>
                </a:lnTo>
                <a:lnTo>
                  <a:pt x="4442888" y="933400"/>
                </a:lnTo>
                <a:lnTo>
                  <a:pt x="4447554" y="929827"/>
                </a:lnTo>
                <a:lnTo>
                  <a:pt x="4449290" y="929611"/>
                </a:lnTo>
                <a:lnTo>
                  <a:pt x="4449833" y="931884"/>
                </a:lnTo>
                <a:lnTo>
                  <a:pt x="4447662" y="936323"/>
                </a:lnTo>
                <a:lnTo>
                  <a:pt x="4444081" y="937297"/>
                </a:lnTo>
                <a:lnTo>
                  <a:pt x="4439632" y="943577"/>
                </a:lnTo>
                <a:lnTo>
                  <a:pt x="4445384" y="940979"/>
                </a:lnTo>
                <a:lnTo>
                  <a:pt x="4449290" y="941628"/>
                </a:lnTo>
                <a:lnTo>
                  <a:pt x="4449942" y="940113"/>
                </a:lnTo>
                <a:lnTo>
                  <a:pt x="4452871" y="940437"/>
                </a:lnTo>
                <a:lnTo>
                  <a:pt x="4454825" y="944552"/>
                </a:lnTo>
                <a:lnTo>
                  <a:pt x="4457321" y="942278"/>
                </a:lnTo>
                <a:lnTo>
                  <a:pt x="4457646" y="939354"/>
                </a:lnTo>
                <a:lnTo>
                  <a:pt x="4454933" y="932534"/>
                </a:lnTo>
                <a:lnTo>
                  <a:pt x="4455258" y="930260"/>
                </a:lnTo>
                <a:lnTo>
                  <a:pt x="4458514" y="928961"/>
                </a:lnTo>
                <a:lnTo>
                  <a:pt x="4459165" y="922356"/>
                </a:lnTo>
                <a:lnTo>
                  <a:pt x="4461987" y="920732"/>
                </a:lnTo>
                <a:lnTo>
                  <a:pt x="4466436" y="920840"/>
                </a:lnTo>
                <a:lnTo>
                  <a:pt x="4470994" y="923548"/>
                </a:lnTo>
                <a:lnTo>
                  <a:pt x="4470994" y="926362"/>
                </a:lnTo>
                <a:lnTo>
                  <a:pt x="4467955" y="928528"/>
                </a:lnTo>
                <a:lnTo>
                  <a:pt x="4468715" y="930909"/>
                </a:lnTo>
                <a:lnTo>
                  <a:pt x="4470885" y="931126"/>
                </a:lnTo>
                <a:lnTo>
                  <a:pt x="4472730" y="928311"/>
                </a:lnTo>
                <a:lnTo>
                  <a:pt x="4474791" y="927986"/>
                </a:lnTo>
                <a:lnTo>
                  <a:pt x="4474358" y="931776"/>
                </a:lnTo>
                <a:lnTo>
                  <a:pt x="4476094" y="931776"/>
                </a:lnTo>
                <a:lnTo>
                  <a:pt x="4479241" y="926470"/>
                </a:lnTo>
                <a:lnTo>
                  <a:pt x="4482496" y="926254"/>
                </a:lnTo>
                <a:lnTo>
                  <a:pt x="4483473" y="927554"/>
                </a:lnTo>
                <a:lnTo>
                  <a:pt x="4488030" y="929285"/>
                </a:lnTo>
                <a:lnTo>
                  <a:pt x="4487380" y="932534"/>
                </a:lnTo>
                <a:lnTo>
                  <a:pt x="4483582" y="935024"/>
                </a:lnTo>
                <a:lnTo>
                  <a:pt x="4484341" y="936648"/>
                </a:lnTo>
                <a:lnTo>
                  <a:pt x="4486728" y="936648"/>
                </a:lnTo>
                <a:lnTo>
                  <a:pt x="4490527" y="932425"/>
                </a:lnTo>
                <a:lnTo>
                  <a:pt x="4493782" y="932425"/>
                </a:lnTo>
                <a:lnTo>
                  <a:pt x="4499534" y="937297"/>
                </a:lnTo>
                <a:lnTo>
                  <a:pt x="4503766" y="936540"/>
                </a:lnTo>
                <a:lnTo>
                  <a:pt x="4507021" y="937622"/>
                </a:lnTo>
                <a:lnTo>
                  <a:pt x="4507998" y="939463"/>
                </a:lnTo>
                <a:lnTo>
                  <a:pt x="4510819" y="940437"/>
                </a:lnTo>
                <a:lnTo>
                  <a:pt x="4510819" y="941845"/>
                </a:lnTo>
                <a:lnTo>
                  <a:pt x="4507021" y="945093"/>
                </a:lnTo>
                <a:lnTo>
                  <a:pt x="4498014" y="947367"/>
                </a:lnTo>
                <a:lnTo>
                  <a:pt x="4493782" y="955920"/>
                </a:lnTo>
                <a:lnTo>
                  <a:pt x="4487162" y="958086"/>
                </a:lnTo>
                <a:lnTo>
                  <a:pt x="4477830" y="956895"/>
                </a:lnTo>
                <a:lnTo>
                  <a:pt x="4472947" y="955920"/>
                </a:lnTo>
                <a:lnTo>
                  <a:pt x="4467087" y="956678"/>
                </a:lnTo>
                <a:lnTo>
                  <a:pt x="4460033" y="954837"/>
                </a:lnTo>
                <a:lnTo>
                  <a:pt x="4459057" y="955703"/>
                </a:lnTo>
                <a:lnTo>
                  <a:pt x="4461878" y="959385"/>
                </a:lnTo>
                <a:lnTo>
                  <a:pt x="4467521" y="960034"/>
                </a:lnTo>
                <a:lnTo>
                  <a:pt x="4470885" y="961442"/>
                </a:lnTo>
                <a:lnTo>
                  <a:pt x="4474900" y="960901"/>
                </a:lnTo>
                <a:lnTo>
                  <a:pt x="4476745" y="961983"/>
                </a:lnTo>
                <a:lnTo>
                  <a:pt x="4478698" y="967180"/>
                </a:lnTo>
                <a:lnTo>
                  <a:pt x="4480434" y="967505"/>
                </a:lnTo>
                <a:lnTo>
                  <a:pt x="4481628" y="972594"/>
                </a:lnTo>
                <a:lnTo>
                  <a:pt x="4482822" y="976384"/>
                </a:lnTo>
                <a:lnTo>
                  <a:pt x="4484015" y="973785"/>
                </a:lnTo>
                <a:lnTo>
                  <a:pt x="4487488" y="971511"/>
                </a:lnTo>
                <a:lnTo>
                  <a:pt x="4489550" y="974868"/>
                </a:lnTo>
                <a:lnTo>
                  <a:pt x="4491287" y="975950"/>
                </a:lnTo>
                <a:lnTo>
                  <a:pt x="4491937" y="970862"/>
                </a:lnTo>
                <a:lnTo>
                  <a:pt x="4491395" y="968263"/>
                </a:lnTo>
                <a:lnTo>
                  <a:pt x="4494000" y="968371"/>
                </a:lnTo>
                <a:lnTo>
                  <a:pt x="4495193" y="971078"/>
                </a:lnTo>
                <a:lnTo>
                  <a:pt x="4497038" y="972919"/>
                </a:lnTo>
                <a:lnTo>
                  <a:pt x="4497254" y="970212"/>
                </a:lnTo>
                <a:lnTo>
                  <a:pt x="4498882" y="969237"/>
                </a:lnTo>
                <a:lnTo>
                  <a:pt x="4500727" y="969237"/>
                </a:lnTo>
                <a:lnTo>
                  <a:pt x="4504200" y="971944"/>
                </a:lnTo>
                <a:lnTo>
                  <a:pt x="4504417" y="971962"/>
                </a:lnTo>
                <a:lnTo>
                  <a:pt x="4504417" y="971837"/>
                </a:lnTo>
                <a:lnTo>
                  <a:pt x="4509517" y="972487"/>
                </a:lnTo>
                <a:lnTo>
                  <a:pt x="4511471" y="974327"/>
                </a:lnTo>
                <a:lnTo>
                  <a:pt x="4511471" y="978983"/>
                </a:lnTo>
                <a:lnTo>
                  <a:pt x="4513532" y="982015"/>
                </a:lnTo>
                <a:lnTo>
                  <a:pt x="4514183" y="976060"/>
                </a:lnTo>
                <a:lnTo>
                  <a:pt x="4516137" y="972920"/>
                </a:lnTo>
                <a:lnTo>
                  <a:pt x="4519284" y="972920"/>
                </a:lnTo>
                <a:lnTo>
                  <a:pt x="4521345" y="971837"/>
                </a:lnTo>
                <a:lnTo>
                  <a:pt x="4517331" y="969022"/>
                </a:lnTo>
                <a:lnTo>
                  <a:pt x="4517331" y="967181"/>
                </a:lnTo>
                <a:lnTo>
                  <a:pt x="4520044" y="967181"/>
                </a:lnTo>
                <a:lnTo>
                  <a:pt x="4522973" y="966532"/>
                </a:lnTo>
                <a:lnTo>
                  <a:pt x="4522973" y="964691"/>
                </a:lnTo>
                <a:lnTo>
                  <a:pt x="4521562" y="964691"/>
                </a:lnTo>
                <a:lnTo>
                  <a:pt x="4519935" y="961985"/>
                </a:lnTo>
                <a:lnTo>
                  <a:pt x="4520912" y="960469"/>
                </a:lnTo>
                <a:lnTo>
                  <a:pt x="4525469" y="960469"/>
                </a:lnTo>
                <a:lnTo>
                  <a:pt x="4530244" y="962742"/>
                </a:lnTo>
                <a:lnTo>
                  <a:pt x="4532739" y="966207"/>
                </a:lnTo>
                <a:lnTo>
                  <a:pt x="4535236" y="968372"/>
                </a:lnTo>
                <a:lnTo>
                  <a:pt x="4537081" y="966532"/>
                </a:lnTo>
                <a:lnTo>
                  <a:pt x="4540662" y="968048"/>
                </a:lnTo>
                <a:lnTo>
                  <a:pt x="4541855" y="969672"/>
                </a:lnTo>
                <a:lnTo>
                  <a:pt x="4544785" y="971512"/>
                </a:lnTo>
                <a:lnTo>
                  <a:pt x="4544785" y="974003"/>
                </a:lnTo>
                <a:lnTo>
                  <a:pt x="4540662" y="977250"/>
                </a:lnTo>
                <a:lnTo>
                  <a:pt x="4537081" y="975627"/>
                </a:lnTo>
                <a:lnTo>
                  <a:pt x="4531438" y="976385"/>
                </a:lnTo>
                <a:lnTo>
                  <a:pt x="4527857" y="972703"/>
                </a:lnTo>
                <a:lnTo>
                  <a:pt x="4527857" y="969780"/>
                </a:lnTo>
                <a:lnTo>
                  <a:pt x="4525360" y="973136"/>
                </a:lnTo>
                <a:lnTo>
                  <a:pt x="4525360" y="978333"/>
                </a:lnTo>
                <a:lnTo>
                  <a:pt x="4526663" y="982556"/>
                </a:lnTo>
                <a:lnTo>
                  <a:pt x="4529918" y="979416"/>
                </a:lnTo>
                <a:lnTo>
                  <a:pt x="4531763" y="980823"/>
                </a:lnTo>
                <a:lnTo>
                  <a:pt x="4532957" y="985046"/>
                </a:lnTo>
                <a:lnTo>
                  <a:pt x="4536755" y="981798"/>
                </a:lnTo>
                <a:lnTo>
                  <a:pt x="4540662" y="983097"/>
                </a:lnTo>
                <a:lnTo>
                  <a:pt x="4540662" y="986562"/>
                </a:lnTo>
                <a:lnTo>
                  <a:pt x="4541963" y="986562"/>
                </a:lnTo>
                <a:lnTo>
                  <a:pt x="4544134" y="983638"/>
                </a:lnTo>
                <a:lnTo>
                  <a:pt x="4545436" y="985046"/>
                </a:lnTo>
                <a:lnTo>
                  <a:pt x="4545436" y="986887"/>
                </a:lnTo>
                <a:lnTo>
                  <a:pt x="4545436" y="989919"/>
                </a:lnTo>
                <a:lnTo>
                  <a:pt x="4549451" y="984830"/>
                </a:lnTo>
                <a:lnTo>
                  <a:pt x="4551621" y="982664"/>
                </a:lnTo>
                <a:lnTo>
                  <a:pt x="4553575" y="983747"/>
                </a:lnTo>
                <a:lnTo>
                  <a:pt x="4552273" y="985587"/>
                </a:lnTo>
                <a:lnTo>
                  <a:pt x="4551404" y="988294"/>
                </a:lnTo>
                <a:lnTo>
                  <a:pt x="4554986" y="988294"/>
                </a:lnTo>
                <a:lnTo>
                  <a:pt x="4556614" y="990243"/>
                </a:lnTo>
                <a:lnTo>
                  <a:pt x="4553683" y="992084"/>
                </a:lnTo>
                <a:lnTo>
                  <a:pt x="4550753" y="996631"/>
                </a:lnTo>
                <a:lnTo>
                  <a:pt x="4555854" y="996631"/>
                </a:lnTo>
                <a:lnTo>
                  <a:pt x="4558892" y="990893"/>
                </a:lnTo>
                <a:lnTo>
                  <a:pt x="4558024" y="987861"/>
                </a:lnTo>
                <a:lnTo>
                  <a:pt x="4559869" y="986021"/>
                </a:lnTo>
                <a:lnTo>
                  <a:pt x="4564752" y="985479"/>
                </a:lnTo>
                <a:lnTo>
                  <a:pt x="4568008" y="987861"/>
                </a:lnTo>
                <a:lnTo>
                  <a:pt x="4568767" y="985695"/>
                </a:lnTo>
                <a:lnTo>
                  <a:pt x="4566271" y="982231"/>
                </a:lnTo>
                <a:lnTo>
                  <a:pt x="4566271" y="980932"/>
                </a:lnTo>
                <a:lnTo>
                  <a:pt x="4570829" y="982881"/>
                </a:lnTo>
                <a:lnTo>
                  <a:pt x="4573867" y="986995"/>
                </a:lnTo>
                <a:lnTo>
                  <a:pt x="4580704" y="986995"/>
                </a:lnTo>
                <a:lnTo>
                  <a:pt x="4585370" y="988836"/>
                </a:lnTo>
                <a:lnTo>
                  <a:pt x="4588951" y="986887"/>
                </a:lnTo>
                <a:lnTo>
                  <a:pt x="4588951" y="984505"/>
                </a:lnTo>
                <a:lnTo>
                  <a:pt x="4594703" y="985804"/>
                </a:lnTo>
                <a:lnTo>
                  <a:pt x="4599803" y="988836"/>
                </a:lnTo>
                <a:lnTo>
                  <a:pt x="4600562" y="986887"/>
                </a:lnTo>
                <a:lnTo>
                  <a:pt x="4606205" y="989268"/>
                </a:lnTo>
                <a:lnTo>
                  <a:pt x="4630622" y="1002261"/>
                </a:lnTo>
                <a:lnTo>
                  <a:pt x="4647116" y="1013088"/>
                </a:lnTo>
                <a:lnTo>
                  <a:pt x="4650589" y="1017094"/>
                </a:lnTo>
                <a:lnTo>
                  <a:pt x="4655147" y="1018502"/>
                </a:lnTo>
                <a:lnTo>
                  <a:pt x="4660789" y="1026839"/>
                </a:lnTo>
                <a:lnTo>
                  <a:pt x="4664370" y="1027705"/>
                </a:lnTo>
                <a:lnTo>
                  <a:pt x="4663502" y="1024998"/>
                </a:lnTo>
                <a:lnTo>
                  <a:pt x="4663502" y="1023807"/>
                </a:lnTo>
                <a:lnTo>
                  <a:pt x="4665890" y="1023807"/>
                </a:lnTo>
                <a:lnTo>
                  <a:pt x="4672726" y="1030086"/>
                </a:lnTo>
                <a:lnTo>
                  <a:pt x="4676524" y="1030086"/>
                </a:lnTo>
                <a:lnTo>
                  <a:pt x="4682493" y="1035500"/>
                </a:lnTo>
                <a:lnTo>
                  <a:pt x="4685965" y="1034092"/>
                </a:lnTo>
                <a:lnTo>
                  <a:pt x="4682167" y="1028463"/>
                </a:lnTo>
                <a:lnTo>
                  <a:pt x="4681082" y="1026080"/>
                </a:lnTo>
                <a:lnTo>
                  <a:pt x="4683578" y="1026080"/>
                </a:lnTo>
                <a:lnTo>
                  <a:pt x="4688678" y="1031169"/>
                </a:lnTo>
                <a:lnTo>
                  <a:pt x="4688678" y="1035717"/>
                </a:lnTo>
                <a:lnTo>
                  <a:pt x="4698227" y="1042429"/>
                </a:lnTo>
                <a:lnTo>
                  <a:pt x="4698227" y="1045461"/>
                </a:lnTo>
                <a:lnTo>
                  <a:pt x="4703653" y="1047951"/>
                </a:lnTo>
                <a:lnTo>
                  <a:pt x="4704738" y="1045786"/>
                </a:lnTo>
                <a:lnTo>
                  <a:pt x="4708862" y="1046652"/>
                </a:lnTo>
                <a:lnTo>
                  <a:pt x="4714071" y="1050658"/>
                </a:lnTo>
                <a:lnTo>
                  <a:pt x="4715699" y="1056613"/>
                </a:lnTo>
                <a:lnTo>
                  <a:pt x="4718628" y="1058453"/>
                </a:lnTo>
                <a:lnTo>
                  <a:pt x="4722427" y="1064408"/>
                </a:lnTo>
                <a:lnTo>
                  <a:pt x="4724272" y="1064408"/>
                </a:lnTo>
                <a:lnTo>
                  <a:pt x="4726116" y="1066249"/>
                </a:lnTo>
                <a:lnTo>
                  <a:pt x="4726116" y="1072204"/>
                </a:lnTo>
                <a:lnTo>
                  <a:pt x="4726116" y="1077834"/>
                </a:lnTo>
                <a:lnTo>
                  <a:pt x="4725031" y="1084871"/>
                </a:lnTo>
                <a:lnTo>
                  <a:pt x="4723403" y="1088445"/>
                </a:lnTo>
                <a:lnTo>
                  <a:pt x="4723403" y="1091693"/>
                </a:lnTo>
                <a:lnTo>
                  <a:pt x="4718195" y="1098405"/>
                </a:lnTo>
                <a:lnTo>
                  <a:pt x="4717327" y="1101653"/>
                </a:lnTo>
                <a:lnTo>
                  <a:pt x="4708320" y="1113888"/>
                </a:lnTo>
                <a:lnTo>
                  <a:pt x="4701808" y="1117353"/>
                </a:lnTo>
                <a:lnTo>
                  <a:pt x="4693996" y="1118760"/>
                </a:lnTo>
                <a:lnTo>
                  <a:pt x="4690523" y="1121467"/>
                </a:lnTo>
                <a:lnTo>
                  <a:pt x="4683470" y="1121467"/>
                </a:lnTo>
                <a:lnTo>
                  <a:pt x="4682058" y="1123416"/>
                </a:lnTo>
                <a:lnTo>
                  <a:pt x="4671207" y="1124715"/>
                </a:lnTo>
                <a:lnTo>
                  <a:pt x="4657317" y="1123958"/>
                </a:lnTo>
                <a:lnTo>
                  <a:pt x="4649504" y="1121683"/>
                </a:lnTo>
                <a:lnTo>
                  <a:pt x="4643861" y="1117677"/>
                </a:lnTo>
                <a:lnTo>
                  <a:pt x="4640388" y="1120168"/>
                </a:lnTo>
                <a:lnTo>
                  <a:pt x="4636373" y="1118977"/>
                </a:lnTo>
                <a:lnTo>
                  <a:pt x="4629754" y="1118977"/>
                </a:lnTo>
                <a:lnTo>
                  <a:pt x="4628886" y="1116595"/>
                </a:lnTo>
                <a:lnTo>
                  <a:pt x="4624870" y="1115295"/>
                </a:lnTo>
                <a:lnTo>
                  <a:pt x="4621289" y="1117786"/>
                </a:lnTo>
                <a:lnTo>
                  <a:pt x="4615321" y="1112048"/>
                </a:lnTo>
                <a:lnTo>
                  <a:pt x="4615321" y="1109124"/>
                </a:lnTo>
                <a:lnTo>
                  <a:pt x="4610655" y="1109882"/>
                </a:lnTo>
                <a:lnTo>
                  <a:pt x="4606531" y="1109882"/>
                </a:lnTo>
                <a:lnTo>
                  <a:pt x="4608484" y="1108799"/>
                </a:lnTo>
                <a:lnTo>
                  <a:pt x="4600888" y="1108799"/>
                </a:lnTo>
                <a:lnTo>
                  <a:pt x="4598718" y="1111181"/>
                </a:lnTo>
                <a:lnTo>
                  <a:pt x="4594052" y="1111181"/>
                </a:lnTo>
                <a:lnTo>
                  <a:pt x="4594052" y="1108475"/>
                </a:lnTo>
                <a:lnTo>
                  <a:pt x="4592207" y="1107067"/>
                </a:lnTo>
                <a:lnTo>
                  <a:pt x="4595137" y="1105118"/>
                </a:lnTo>
                <a:lnTo>
                  <a:pt x="4592098" y="1101653"/>
                </a:lnTo>
                <a:lnTo>
                  <a:pt x="4591230" y="1103603"/>
                </a:lnTo>
                <a:lnTo>
                  <a:pt x="4583417" y="1103603"/>
                </a:lnTo>
                <a:lnTo>
                  <a:pt x="4578534" y="1100138"/>
                </a:lnTo>
                <a:lnTo>
                  <a:pt x="4577666" y="1101762"/>
                </a:lnTo>
                <a:lnTo>
                  <a:pt x="4574410" y="1101762"/>
                </a:lnTo>
                <a:lnTo>
                  <a:pt x="4564101" y="1093316"/>
                </a:lnTo>
                <a:lnTo>
                  <a:pt x="4563233" y="1088769"/>
                </a:lnTo>
                <a:lnTo>
                  <a:pt x="4557047" y="1088228"/>
                </a:lnTo>
                <a:lnTo>
                  <a:pt x="4555746" y="1086820"/>
                </a:lnTo>
                <a:lnTo>
                  <a:pt x="4551404" y="1086820"/>
                </a:lnTo>
                <a:lnTo>
                  <a:pt x="4550320" y="1088228"/>
                </a:lnTo>
                <a:lnTo>
                  <a:pt x="4555419" y="1091693"/>
                </a:lnTo>
                <a:lnTo>
                  <a:pt x="4556505" y="1098514"/>
                </a:lnTo>
                <a:lnTo>
                  <a:pt x="4562148" y="1102087"/>
                </a:lnTo>
                <a:lnTo>
                  <a:pt x="4563450" y="1105660"/>
                </a:lnTo>
                <a:lnTo>
                  <a:pt x="4570503" y="1107283"/>
                </a:lnTo>
                <a:lnTo>
                  <a:pt x="4571914" y="1108908"/>
                </a:lnTo>
                <a:lnTo>
                  <a:pt x="4567248" y="1111289"/>
                </a:lnTo>
                <a:lnTo>
                  <a:pt x="4565078" y="1114213"/>
                </a:lnTo>
                <a:lnTo>
                  <a:pt x="4566163" y="1115512"/>
                </a:lnTo>
                <a:lnTo>
                  <a:pt x="4573976" y="1113563"/>
                </a:lnTo>
                <a:lnTo>
                  <a:pt x="4577232" y="1111398"/>
                </a:lnTo>
                <a:lnTo>
                  <a:pt x="4580487" y="1113780"/>
                </a:lnTo>
                <a:lnTo>
                  <a:pt x="4577014" y="1115187"/>
                </a:lnTo>
                <a:lnTo>
                  <a:pt x="4577014" y="1116595"/>
                </a:lnTo>
                <a:lnTo>
                  <a:pt x="4582223" y="1117136"/>
                </a:lnTo>
                <a:lnTo>
                  <a:pt x="4580921" y="1120709"/>
                </a:lnTo>
                <a:lnTo>
                  <a:pt x="4576255" y="1121467"/>
                </a:lnTo>
                <a:lnTo>
                  <a:pt x="4574301" y="1124174"/>
                </a:lnTo>
                <a:lnTo>
                  <a:pt x="4579944" y="1125040"/>
                </a:lnTo>
                <a:lnTo>
                  <a:pt x="4581898" y="1123632"/>
                </a:lnTo>
                <a:lnTo>
                  <a:pt x="4585696" y="1123632"/>
                </a:lnTo>
                <a:lnTo>
                  <a:pt x="4588083" y="1126122"/>
                </a:lnTo>
                <a:lnTo>
                  <a:pt x="4591013" y="1123958"/>
                </a:lnTo>
                <a:lnTo>
                  <a:pt x="4601865" y="1128505"/>
                </a:lnTo>
                <a:lnTo>
                  <a:pt x="4607073" y="1135759"/>
                </a:lnTo>
                <a:lnTo>
                  <a:pt x="4609570" y="1136300"/>
                </a:lnTo>
                <a:lnTo>
                  <a:pt x="4607942" y="1139223"/>
                </a:lnTo>
                <a:lnTo>
                  <a:pt x="4607942" y="1142472"/>
                </a:lnTo>
                <a:lnTo>
                  <a:pt x="4609570" y="1143013"/>
                </a:lnTo>
                <a:lnTo>
                  <a:pt x="4609570" y="1147668"/>
                </a:lnTo>
                <a:lnTo>
                  <a:pt x="4608810" y="1155248"/>
                </a:lnTo>
                <a:lnTo>
                  <a:pt x="4605229" y="1156546"/>
                </a:lnTo>
                <a:lnTo>
                  <a:pt x="4604361" y="1160661"/>
                </a:lnTo>
                <a:lnTo>
                  <a:pt x="4608159" y="1161744"/>
                </a:lnTo>
                <a:lnTo>
                  <a:pt x="4608159" y="1167157"/>
                </a:lnTo>
                <a:lnTo>
                  <a:pt x="4614670" y="1173437"/>
                </a:lnTo>
                <a:lnTo>
                  <a:pt x="4614670" y="1177443"/>
                </a:lnTo>
                <a:lnTo>
                  <a:pt x="4619336" y="1180907"/>
                </a:lnTo>
                <a:lnTo>
                  <a:pt x="4619336" y="1185455"/>
                </a:lnTo>
                <a:lnTo>
                  <a:pt x="4620204" y="1190977"/>
                </a:lnTo>
                <a:lnTo>
                  <a:pt x="4618250" y="1194766"/>
                </a:lnTo>
                <a:lnTo>
                  <a:pt x="4620530" y="1197148"/>
                </a:lnTo>
                <a:lnTo>
                  <a:pt x="4622700" y="1201046"/>
                </a:lnTo>
                <a:lnTo>
                  <a:pt x="4632249" y="1204511"/>
                </a:lnTo>
                <a:lnTo>
                  <a:pt x="4636699" y="1200937"/>
                </a:lnTo>
                <a:lnTo>
                  <a:pt x="4638543" y="1200937"/>
                </a:lnTo>
                <a:lnTo>
                  <a:pt x="4641799" y="1205377"/>
                </a:lnTo>
                <a:lnTo>
                  <a:pt x="4645923" y="1207975"/>
                </a:lnTo>
                <a:lnTo>
                  <a:pt x="4645923" y="1213822"/>
                </a:lnTo>
                <a:lnTo>
                  <a:pt x="4648093" y="1215555"/>
                </a:lnTo>
                <a:lnTo>
                  <a:pt x="4655580" y="1215555"/>
                </a:lnTo>
                <a:lnTo>
                  <a:pt x="4658619" y="1218153"/>
                </a:lnTo>
                <a:lnTo>
                  <a:pt x="4665456" y="1218153"/>
                </a:lnTo>
                <a:lnTo>
                  <a:pt x="4669688" y="1222159"/>
                </a:lnTo>
                <a:lnTo>
                  <a:pt x="4672292" y="1222159"/>
                </a:lnTo>
                <a:lnTo>
                  <a:pt x="4677392" y="1216529"/>
                </a:lnTo>
                <a:lnTo>
                  <a:pt x="4681407" y="1216529"/>
                </a:lnTo>
                <a:lnTo>
                  <a:pt x="4684338" y="1215229"/>
                </a:lnTo>
                <a:lnTo>
                  <a:pt x="4684338" y="1207759"/>
                </a:lnTo>
                <a:lnTo>
                  <a:pt x="4680757" y="1204619"/>
                </a:lnTo>
                <a:lnTo>
                  <a:pt x="4682384" y="1202237"/>
                </a:lnTo>
                <a:lnTo>
                  <a:pt x="4682384" y="1200396"/>
                </a:lnTo>
                <a:lnTo>
                  <a:pt x="4677067" y="1198339"/>
                </a:lnTo>
                <a:lnTo>
                  <a:pt x="4676524" y="1194550"/>
                </a:lnTo>
                <a:lnTo>
                  <a:pt x="4672726" y="1197257"/>
                </a:lnTo>
                <a:lnTo>
                  <a:pt x="4670013" y="1197257"/>
                </a:lnTo>
                <a:lnTo>
                  <a:pt x="4665456" y="1199205"/>
                </a:lnTo>
                <a:lnTo>
                  <a:pt x="4659704" y="1196282"/>
                </a:lnTo>
                <a:lnTo>
                  <a:pt x="4655580" y="1190652"/>
                </a:lnTo>
                <a:lnTo>
                  <a:pt x="4649069" y="1187621"/>
                </a:lnTo>
                <a:lnTo>
                  <a:pt x="4647768" y="1182423"/>
                </a:lnTo>
                <a:lnTo>
                  <a:pt x="4644295" y="1175927"/>
                </a:lnTo>
                <a:lnTo>
                  <a:pt x="4648961" y="1175927"/>
                </a:lnTo>
                <a:lnTo>
                  <a:pt x="4651999" y="1172896"/>
                </a:lnTo>
                <a:lnTo>
                  <a:pt x="4650372" y="1170405"/>
                </a:lnTo>
                <a:lnTo>
                  <a:pt x="4651457" y="1167699"/>
                </a:lnTo>
                <a:lnTo>
                  <a:pt x="4650046" y="1164667"/>
                </a:lnTo>
                <a:lnTo>
                  <a:pt x="4651131" y="1161635"/>
                </a:lnTo>
                <a:lnTo>
                  <a:pt x="4656557" y="1161635"/>
                </a:lnTo>
                <a:lnTo>
                  <a:pt x="4661983" y="1165209"/>
                </a:lnTo>
                <a:lnTo>
                  <a:pt x="4668711" y="1166508"/>
                </a:lnTo>
                <a:lnTo>
                  <a:pt x="4671966" y="1171596"/>
                </a:lnTo>
                <a:lnTo>
                  <a:pt x="4676307" y="1175170"/>
                </a:lnTo>
                <a:lnTo>
                  <a:pt x="4684663" y="1175170"/>
                </a:lnTo>
                <a:lnTo>
                  <a:pt x="4686291" y="1178201"/>
                </a:lnTo>
                <a:lnTo>
                  <a:pt x="4691499" y="1178201"/>
                </a:lnTo>
                <a:lnTo>
                  <a:pt x="4706692" y="1185455"/>
                </a:lnTo>
                <a:lnTo>
                  <a:pt x="4712986" y="1191627"/>
                </a:lnTo>
                <a:lnTo>
                  <a:pt x="4715482" y="1187621"/>
                </a:lnTo>
                <a:lnTo>
                  <a:pt x="4719605" y="1184156"/>
                </a:lnTo>
                <a:lnTo>
                  <a:pt x="4719605" y="1179067"/>
                </a:lnTo>
                <a:lnTo>
                  <a:pt x="4723187" y="1179067"/>
                </a:lnTo>
                <a:lnTo>
                  <a:pt x="4726768" y="1174953"/>
                </a:lnTo>
                <a:lnTo>
                  <a:pt x="4720473" y="1165533"/>
                </a:lnTo>
                <a:lnTo>
                  <a:pt x="4709622" y="1154706"/>
                </a:lnTo>
                <a:lnTo>
                  <a:pt x="4707126" y="1147668"/>
                </a:lnTo>
                <a:lnTo>
                  <a:pt x="4707126" y="1143554"/>
                </a:lnTo>
                <a:lnTo>
                  <a:pt x="4713637" y="1138358"/>
                </a:lnTo>
                <a:lnTo>
                  <a:pt x="4718846" y="1131320"/>
                </a:lnTo>
                <a:lnTo>
                  <a:pt x="4720256" y="1125148"/>
                </a:lnTo>
                <a:lnTo>
                  <a:pt x="4724272" y="1121359"/>
                </a:lnTo>
                <a:lnTo>
                  <a:pt x="4729914" y="1120276"/>
                </a:lnTo>
                <a:lnTo>
                  <a:pt x="4737728" y="1113997"/>
                </a:lnTo>
                <a:lnTo>
                  <a:pt x="4743153" y="1102412"/>
                </a:lnTo>
                <a:lnTo>
                  <a:pt x="4746409" y="1099921"/>
                </a:lnTo>
                <a:lnTo>
                  <a:pt x="4752377" y="1100787"/>
                </a:lnTo>
                <a:lnTo>
                  <a:pt x="4757044" y="1104577"/>
                </a:lnTo>
                <a:lnTo>
                  <a:pt x="4763880" y="1103710"/>
                </a:lnTo>
                <a:lnTo>
                  <a:pt x="4771259" y="1104577"/>
                </a:lnTo>
                <a:lnTo>
                  <a:pt x="4773755" y="1107825"/>
                </a:lnTo>
                <a:lnTo>
                  <a:pt x="4772996" y="1112914"/>
                </a:lnTo>
                <a:lnTo>
                  <a:pt x="4778747" y="1107500"/>
                </a:lnTo>
                <a:lnTo>
                  <a:pt x="4784715" y="1112048"/>
                </a:lnTo>
                <a:lnTo>
                  <a:pt x="4786560" y="1118003"/>
                </a:lnTo>
                <a:lnTo>
                  <a:pt x="4789599" y="1120709"/>
                </a:lnTo>
                <a:lnTo>
                  <a:pt x="4788839" y="1112048"/>
                </a:lnTo>
                <a:lnTo>
                  <a:pt x="4785583" y="1105767"/>
                </a:lnTo>
                <a:lnTo>
                  <a:pt x="4787537" y="1103061"/>
                </a:lnTo>
                <a:lnTo>
                  <a:pt x="4787537" y="1092234"/>
                </a:lnTo>
                <a:lnTo>
                  <a:pt x="4789164" y="1088769"/>
                </a:lnTo>
                <a:lnTo>
                  <a:pt x="4786994" y="1087145"/>
                </a:lnTo>
                <a:lnTo>
                  <a:pt x="4786994" y="1084438"/>
                </a:lnTo>
                <a:lnTo>
                  <a:pt x="4787862" y="1082057"/>
                </a:lnTo>
                <a:lnTo>
                  <a:pt x="4786994" y="1078808"/>
                </a:lnTo>
                <a:lnTo>
                  <a:pt x="4787862" y="1076426"/>
                </a:lnTo>
                <a:lnTo>
                  <a:pt x="4784389" y="1072637"/>
                </a:lnTo>
                <a:lnTo>
                  <a:pt x="4779181" y="1069606"/>
                </a:lnTo>
                <a:lnTo>
                  <a:pt x="4772127" y="1069606"/>
                </a:lnTo>
                <a:lnTo>
                  <a:pt x="4770174" y="1063651"/>
                </a:lnTo>
                <a:lnTo>
                  <a:pt x="4772019" y="1057479"/>
                </a:lnTo>
                <a:lnTo>
                  <a:pt x="4772019" y="1046652"/>
                </a:lnTo>
                <a:lnTo>
                  <a:pt x="4773864" y="1045245"/>
                </a:lnTo>
                <a:lnTo>
                  <a:pt x="4772779" y="1041780"/>
                </a:lnTo>
                <a:lnTo>
                  <a:pt x="4772779" y="1037233"/>
                </a:lnTo>
                <a:lnTo>
                  <a:pt x="4774732" y="1035608"/>
                </a:lnTo>
                <a:lnTo>
                  <a:pt x="4772236" y="1032360"/>
                </a:lnTo>
                <a:lnTo>
                  <a:pt x="4772236" y="1026947"/>
                </a:lnTo>
                <a:lnTo>
                  <a:pt x="4768655" y="1016878"/>
                </a:lnTo>
                <a:lnTo>
                  <a:pt x="4761818" y="1012005"/>
                </a:lnTo>
                <a:lnTo>
                  <a:pt x="4750099" y="1002478"/>
                </a:lnTo>
                <a:lnTo>
                  <a:pt x="4750099" y="999988"/>
                </a:lnTo>
                <a:lnTo>
                  <a:pt x="4755524" y="999988"/>
                </a:lnTo>
                <a:lnTo>
                  <a:pt x="4765291" y="1006484"/>
                </a:lnTo>
                <a:lnTo>
                  <a:pt x="4771042" y="1006484"/>
                </a:lnTo>
                <a:lnTo>
                  <a:pt x="4774840" y="1004535"/>
                </a:lnTo>
                <a:lnTo>
                  <a:pt x="4783739" y="1003777"/>
                </a:lnTo>
                <a:lnTo>
                  <a:pt x="4796543" y="1005076"/>
                </a:lnTo>
                <a:lnTo>
                  <a:pt x="4802512" y="1008866"/>
                </a:lnTo>
                <a:lnTo>
                  <a:pt x="4802512" y="1013196"/>
                </a:lnTo>
                <a:lnTo>
                  <a:pt x="4807613" y="1019151"/>
                </a:lnTo>
                <a:lnTo>
                  <a:pt x="4813039" y="1019909"/>
                </a:lnTo>
                <a:lnTo>
                  <a:pt x="4813907" y="1023699"/>
                </a:lnTo>
                <a:lnTo>
                  <a:pt x="4820634" y="1032144"/>
                </a:lnTo>
                <a:lnTo>
                  <a:pt x="4819766" y="1035717"/>
                </a:lnTo>
                <a:lnTo>
                  <a:pt x="4811302" y="1035717"/>
                </a:lnTo>
                <a:lnTo>
                  <a:pt x="4809132" y="1038965"/>
                </a:lnTo>
                <a:lnTo>
                  <a:pt x="4801753" y="1038965"/>
                </a:lnTo>
                <a:lnTo>
                  <a:pt x="4799365" y="1041455"/>
                </a:lnTo>
                <a:lnTo>
                  <a:pt x="4800125" y="1044162"/>
                </a:lnTo>
                <a:lnTo>
                  <a:pt x="4798172" y="1047627"/>
                </a:lnTo>
                <a:lnTo>
                  <a:pt x="4795675" y="1046219"/>
                </a:lnTo>
                <a:lnTo>
                  <a:pt x="4794374" y="1048925"/>
                </a:lnTo>
                <a:lnTo>
                  <a:pt x="4794374" y="1055963"/>
                </a:lnTo>
                <a:lnTo>
                  <a:pt x="4797846" y="1057804"/>
                </a:lnTo>
                <a:lnTo>
                  <a:pt x="4807829" y="1066141"/>
                </a:lnTo>
                <a:lnTo>
                  <a:pt x="4817379" y="1078592"/>
                </a:lnTo>
                <a:lnTo>
                  <a:pt x="4822479" y="1078592"/>
                </a:lnTo>
                <a:lnTo>
                  <a:pt x="4828773" y="1074045"/>
                </a:lnTo>
                <a:lnTo>
                  <a:pt x="4831703" y="1079242"/>
                </a:lnTo>
                <a:lnTo>
                  <a:pt x="4833873" y="1076318"/>
                </a:lnTo>
                <a:lnTo>
                  <a:pt x="4838973" y="1076318"/>
                </a:lnTo>
                <a:lnTo>
                  <a:pt x="4840276" y="1073828"/>
                </a:lnTo>
                <a:lnTo>
                  <a:pt x="4848741" y="1070039"/>
                </a:lnTo>
                <a:lnTo>
                  <a:pt x="4850368" y="1064950"/>
                </a:lnTo>
                <a:lnTo>
                  <a:pt x="4848197" y="1057696"/>
                </a:lnTo>
                <a:lnTo>
                  <a:pt x="4851236" y="1052282"/>
                </a:lnTo>
                <a:lnTo>
                  <a:pt x="4851236" y="1047951"/>
                </a:lnTo>
                <a:lnTo>
                  <a:pt x="4847655" y="1043404"/>
                </a:lnTo>
                <a:lnTo>
                  <a:pt x="4850150" y="1041563"/>
                </a:lnTo>
                <a:lnTo>
                  <a:pt x="4862956" y="1039939"/>
                </a:lnTo>
                <a:lnTo>
                  <a:pt x="4864909" y="1037233"/>
                </a:lnTo>
                <a:lnTo>
                  <a:pt x="4872722" y="1040156"/>
                </a:lnTo>
                <a:lnTo>
                  <a:pt x="4871637" y="1036583"/>
                </a:lnTo>
                <a:lnTo>
                  <a:pt x="4865343" y="1031927"/>
                </a:lnTo>
                <a:lnTo>
                  <a:pt x="4863389" y="1027272"/>
                </a:lnTo>
                <a:lnTo>
                  <a:pt x="4865669" y="1027272"/>
                </a:lnTo>
                <a:lnTo>
                  <a:pt x="4869250" y="1030737"/>
                </a:lnTo>
                <a:lnTo>
                  <a:pt x="4873265" y="1028570"/>
                </a:lnTo>
                <a:lnTo>
                  <a:pt x="4882163" y="1017744"/>
                </a:lnTo>
                <a:lnTo>
                  <a:pt x="4884876" y="1016986"/>
                </a:lnTo>
                <a:lnTo>
                  <a:pt x="4894643" y="1005076"/>
                </a:lnTo>
                <a:lnTo>
                  <a:pt x="4894643" y="1002370"/>
                </a:lnTo>
                <a:lnTo>
                  <a:pt x="4897464" y="1000854"/>
                </a:lnTo>
                <a:lnTo>
                  <a:pt x="4902673" y="1001828"/>
                </a:lnTo>
                <a:lnTo>
                  <a:pt x="4909184" y="998797"/>
                </a:lnTo>
                <a:lnTo>
                  <a:pt x="4910377" y="995765"/>
                </a:lnTo>
                <a:lnTo>
                  <a:pt x="4919710" y="992842"/>
                </a:lnTo>
                <a:lnTo>
                  <a:pt x="4919710" y="996415"/>
                </a:lnTo>
                <a:lnTo>
                  <a:pt x="4921446" y="996415"/>
                </a:lnTo>
                <a:lnTo>
                  <a:pt x="4922315" y="1000096"/>
                </a:lnTo>
                <a:lnTo>
                  <a:pt x="4920578" y="1002911"/>
                </a:lnTo>
                <a:lnTo>
                  <a:pt x="4923183" y="1004751"/>
                </a:lnTo>
                <a:lnTo>
                  <a:pt x="4928717" y="999338"/>
                </a:lnTo>
                <a:lnTo>
                  <a:pt x="4928717" y="995873"/>
                </a:lnTo>
                <a:lnTo>
                  <a:pt x="4925896" y="994574"/>
                </a:lnTo>
                <a:lnTo>
                  <a:pt x="4922315" y="990893"/>
                </a:lnTo>
                <a:lnTo>
                  <a:pt x="4922315" y="988727"/>
                </a:lnTo>
                <a:lnTo>
                  <a:pt x="4931104" y="980066"/>
                </a:lnTo>
                <a:lnTo>
                  <a:pt x="4932623" y="980066"/>
                </a:lnTo>
                <a:lnTo>
                  <a:pt x="4933383" y="983097"/>
                </a:lnTo>
                <a:lnTo>
                  <a:pt x="4931755" y="984072"/>
                </a:lnTo>
                <a:lnTo>
                  <a:pt x="4930127" y="986345"/>
                </a:lnTo>
                <a:lnTo>
                  <a:pt x="4934577" y="991217"/>
                </a:lnTo>
                <a:lnTo>
                  <a:pt x="4937507" y="990352"/>
                </a:lnTo>
                <a:lnTo>
                  <a:pt x="4940111" y="986887"/>
                </a:lnTo>
                <a:lnTo>
                  <a:pt x="4938375" y="984072"/>
                </a:lnTo>
                <a:lnTo>
                  <a:pt x="4936964" y="979632"/>
                </a:lnTo>
                <a:lnTo>
                  <a:pt x="4935228" y="977467"/>
                </a:lnTo>
                <a:lnTo>
                  <a:pt x="4939026" y="974436"/>
                </a:lnTo>
                <a:lnTo>
                  <a:pt x="4951614" y="969022"/>
                </a:lnTo>
                <a:lnTo>
                  <a:pt x="4960186" y="967723"/>
                </a:lnTo>
                <a:lnTo>
                  <a:pt x="4961054" y="969672"/>
                </a:lnTo>
                <a:lnTo>
                  <a:pt x="4956280" y="972054"/>
                </a:lnTo>
                <a:lnTo>
                  <a:pt x="4952699" y="972054"/>
                </a:lnTo>
                <a:lnTo>
                  <a:pt x="4943801" y="976168"/>
                </a:lnTo>
                <a:lnTo>
                  <a:pt x="4945429" y="978442"/>
                </a:lnTo>
                <a:lnTo>
                  <a:pt x="4948684" y="979199"/>
                </a:lnTo>
                <a:lnTo>
                  <a:pt x="4951397" y="977792"/>
                </a:lnTo>
                <a:lnTo>
                  <a:pt x="4956931" y="982881"/>
                </a:lnTo>
                <a:lnTo>
                  <a:pt x="4953893" y="984613"/>
                </a:lnTo>
                <a:lnTo>
                  <a:pt x="4952808" y="986454"/>
                </a:lnTo>
                <a:lnTo>
                  <a:pt x="4956063" y="991542"/>
                </a:lnTo>
                <a:lnTo>
                  <a:pt x="4954110" y="995007"/>
                </a:lnTo>
                <a:lnTo>
                  <a:pt x="4949335" y="995007"/>
                </a:lnTo>
                <a:lnTo>
                  <a:pt x="4944452" y="999662"/>
                </a:lnTo>
                <a:lnTo>
                  <a:pt x="4945429" y="1003560"/>
                </a:lnTo>
                <a:lnTo>
                  <a:pt x="4949444" y="1004427"/>
                </a:lnTo>
                <a:lnTo>
                  <a:pt x="4952590" y="1003560"/>
                </a:lnTo>
                <a:lnTo>
                  <a:pt x="4955738" y="1003560"/>
                </a:lnTo>
                <a:lnTo>
                  <a:pt x="4959101" y="1001395"/>
                </a:lnTo>
                <a:lnTo>
                  <a:pt x="4964093" y="1003344"/>
                </a:lnTo>
                <a:lnTo>
                  <a:pt x="4964093" y="1008974"/>
                </a:lnTo>
                <a:lnTo>
                  <a:pt x="4966480" y="1003127"/>
                </a:lnTo>
                <a:lnTo>
                  <a:pt x="4971472" y="997389"/>
                </a:lnTo>
                <a:lnTo>
                  <a:pt x="4973860" y="997389"/>
                </a:lnTo>
                <a:lnTo>
                  <a:pt x="4975921" y="1000637"/>
                </a:lnTo>
                <a:lnTo>
                  <a:pt x="4979828" y="1003560"/>
                </a:lnTo>
                <a:lnTo>
                  <a:pt x="4981347" y="1001611"/>
                </a:lnTo>
                <a:lnTo>
                  <a:pt x="4980371" y="998797"/>
                </a:lnTo>
                <a:lnTo>
                  <a:pt x="4981564" y="995873"/>
                </a:lnTo>
                <a:lnTo>
                  <a:pt x="4978092" y="993383"/>
                </a:lnTo>
                <a:lnTo>
                  <a:pt x="4978092" y="991217"/>
                </a:lnTo>
                <a:lnTo>
                  <a:pt x="4982107" y="986778"/>
                </a:lnTo>
                <a:lnTo>
                  <a:pt x="4986991" y="986021"/>
                </a:lnTo>
                <a:lnTo>
                  <a:pt x="4988401" y="983531"/>
                </a:lnTo>
                <a:lnTo>
                  <a:pt x="4994695" y="979524"/>
                </a:lnTo>
                <a:lnTo>
                  <a:pt x="4997516" y="981690"/>
                </a:lnTo>
                <a:lnTo>
                  <a:pt x="5000663" y="981690"/>
                </a:lnTo>
                <a:lnTo>
                  <a:pt x="5002834" y="980499"/>
                </a:lnTo>
                <a:lnTo>
                  <a:pt x="5006306" y="981798"/>
                </a:lnTo>
                <a:lnTo>
                  <a:pt x="5017158" y="981798"/>
                </a:lnTo>
                <a:lnTo>
                  <a:pt x="5020848" y="979091"/>
                </a:lnTo>
                <a:lnTo>
                  <a:pt x="5020848" y="976060"/>
                </a:lnTo>
                <a:lnTo>
                  <a:pt x="5023344" y="973244"/>
                </a:lnTo>
                <a:lnTo>
                  <a:pt x="5029312" y="973244"/>
                </a:lnTo>
                <a:lnTo>
                  <a:pt x="5029312" y="970646"/>
                </a:lnTo>
                <a:lnTo>
                  <a:pt x="5033761" y="966748"/>
                </a:lnTo>
                <a:lnTo>
                  <a:pt x="5037451" y="965991"/>
                </a:lnTo>
                <a:lnTo>
                  <a:pt x="5043744" y="959819"/>
                </a:lnTo>
                <a:lnTo>
                  <a:pt x="5046240" y="959819"/>
                </a:lnTo>
                <a:lnTo>
                  <a:pt x="5049822" y="957979"/>
                </a:lnTo>
                <a:lnTo>
                  <a:pt x="5050690" y="959603"/>
                </a:lnTo>
                <a:lnTo>
                  <a:pt x="5047109" y="963717"/>
                </a:lnTo>
                <a:lnTo>
                  <a:pt x="5050798" y="965124"/>
                </a:lnTo>
                <a:lnTo>
                  <a:pt x="5055573" y="969780"/>
                </a:lnTo>
                <a:lnTo>
                  <a:pt x="5055573" y="972378"/>
                </a:lnTo>
                <a:lnTo>
                  <a:pt x="5051666" y="975952"/>
                </a:lnTo>
                <a:lnTo>
                  <a:pt x="5053945" y="980715"/>
                </a:lnTo>
                <a:lnTo>
                  <a:pt x="5052968" y="984397"/>
                </a:lnTo>
                <a:lnTo>
                  <a:pt x="5055790" y="987861"/>
                </a:lnTo>
                <a:lnTo>
                  <a:pt x="5067835" y="987861"/>
                </a:lnTo>
                <a:lnTo>
                  <a:pt x="5070331" y="985046"/>
                </a:lnTo>
                <a:lnTo>
                  <a:pt x="5070331" y="982123"/>
                </a:lnTo>
                <a:lnTo>
                  <a:pt x="5068487" y="980391"/>
                </a:lnTo>
                <a:lnTo>
                  <a:pt x="5063386" y="974327"/>
                </a:lnTo>
                <a:lnTo>
                  <a:pt x="5063386" y="971621"/>
                </a:lnTo>
                <a:lnTo>
                  <a:pt x="5066750" y="968914"/>
                </a:lnTo>
                <a:lnTo>
                  <a:pt x="5073261" y="971837"/>
                </a:lnTo>
                <a:lnTo>
                  <a:pt x="5077819" y="968805"/>
                </a:lnTo>
                <a:lnTo>
                  <a:pt x="5079772" y="960902"/>
                </a:lnTo>
                <a:lnTo>
                  <a:pt x="5083353" y="960902"/>
                </a:lnTo>
                <a:lnTo>
                  <a:pt x="5085523" y="962850"/>
                </a:lnTo>
                <a:lnTo>
                  <a:pt x="5091818" y="963933"/>
                </a:lnTo>
                <a:lnTo>
                  <a:pt x="5085307" y="956896"/>
                </a:lnTo>
                <a:lnTo>
                  <a:pt x="5079881" y="955488"/>
                </a:lnTo>
                <a:lnTo>
                  <a:pt x="5079881" y="951157"/>
                </a:lnTo>
                <a:lnTo>
                  <a:pt x="5075866" y="943362"/>
                </a:lnTo>
                <a:lnTo>
                  <a:pt x="5072935" y="943362"/>
                </a:lnTo>
                <a:lnTo>
                  <a:pt x="5072067" y="947476"/>
                </a:lnTo>
                <a:lnTo>
                  <a:pt x="5069680" y="943470"/>
                </a:lnTo>
                <a:lnTo>
                  <a:pt x="5067184" y="934809"/>
                </a:lnTo>
                <a:lnTo>
                  <a:pt x="5063929" y="932968"/>
                </a:lnTo>
                <a:lnTo>
                  <a:pt x="5060456" y="927554"/>
                </a:lnTo>
                <a:lnTo>
                  <a:pt x="5060456" y="926147"/>
                </a:lnTo>
                <a:lnTo>
                  <a:pt x="5065557" y="924307"/>
                </a:lnTo>
                <a:lnTo>
                  <a:pt x="5065557" y="920300"/>
                </a:lnTo>
                <a:lnTo>
                  <a:pt x="5063277" y="915212"/>
                </a:lnTo>
                <a:lnTo>
                  <a:pt x="5066099" y="912504"/>
                </a:lnTo>
                <a:lnTo>
                  <a:pt x="5070114" y="913371"/>
                </a:lnTo>
                <a:lnTo>
                  <a:pt x="5072067" y="912288"/>
                </a:lnTo>
                <a:lnTo>
                  <a:pt x="5076083" y="914995"/>
                </a:lnTo>
                <a:lnTo>
                  <a:pt x="5080749" y="914237"/>
                </a:lnTo>
                <a:lnTo>
                  <a:pt x="5085307" y="915645"/>
                </a:lnTo>
                <a:lnTo>
                  <a:pt x="5103429" y="913155"/>
                </a:lnTo>
                <a:lnTo>
                  <a:pt x="5126434" y="914454"/>
                </a:lnTo>
                <a:lnTo>
                  <a:pt x="5133271" y="919109"/>
                </a:lnTo>
                <a:lnTo>
                  <a:pt x="5148463" y="924739"/>
                </a:lnTo>
                <a:lnTo>
                  <a:pt x="5149765" y="927987"/>
                </a:lnTo>
                <a:lnTo>
                  <a:pt x="5148138" y="930477"/>
                </a:lnTo>
                <a:lnTo>
                  <a:pt x="5150525" y="935675"/>
                </a:lnTo>
                <a:lnTo>
                  <a:pt x="5155083" y="931669"/>
                </a:lnTo>
                <a:lnTo>
                  <a:pt x="5161919" y="929179"/>
                </a:lnTo>
                <a:lnTo>
                  <a:pt x="5165934" y="932752"/>
                </a:lnTo>
                <a:lnTo>
                  <a:pt x="5169515" y="932752"/>
                </a:lnTo>
                <a:lnTo>
                  <a:pt x="5170383" y="937299"/>
                </a:lnTo>
                <a:lnTo>
                  <a:pt x="5178306" y="938381"/>
                </a:lnTo>
                <a:lnTo>
                  <a:pt x="5191545" y="945960"/>
                </a:lnTo>
                <a:lnTo>
                  <a:pt x="5204241" y="947043"/>
                </a:lnTo>
                <a:lnTo>
                  <a:pt x="5209341" y="951157"/>
                </a:lnTo>
                <a:lnTo>
                  <a:pt x="5212379" y="957870"/>
                </a:lnTo>
                <a:lnTo>
                  <a:pt x="5219759" y="959277"/>
                </a:lnTo>
                <a:lnTo>
                  <a:pt x="5226270" y="964150"/>
                </a:lnTo>
                <a:lnTo>
                  <a:pt x="5231913" y="974977"/>
                </a:lnTo>
                <a:lnTo>
                  <a:pt x="5237013" y="976060"/>
                </a:lnTo>
                <a:lnTo>
                  <a:pt x="5237013" y="973028"/>
                </a:lnTo>
                <a:lnTo>
                  <a:pt x="5235711" y="966315"/>
                </a:lnTo>
                <a:lnTo>
                  <a:pt x="5238641" y="966315"/>
                </a:lnTo>
                <a:lnTo>
                  <a:pt x="5239726" y="963825"/>
                </a:lnTo>
                <a:lnTo>
                  <a:pt x="5236470" y="958736"/>
                </a:lnTo>
                <a:lnTo>
                  <a:pt x="5237881" y="955488"/>
                </a:lnTo>
                <a:lnTo>
                  <a:pt x="5237881" y="942712"/>
                </a:lnTo>
                <a:lnTo>
                  <a:pt x="5242222" y="939247"/>
                </a:lnTo>
                <a:lnTo>
                  <a:pt x="5237881" y="939247"/>
                </a:lnTo>
                <a:lnTo>
                  <a:pt x="5237122" y="937299"/>
                </a:lnTo>
                <a:lnTo>
                  <a:pt x="5232564" y="937299"/>
                </a:lnTo>
                <a:lnTo>
                  <a:pt x="5228983" y="939681"/>
                </a:lnTo>
                <a:lnTo>
                  <a:pt x="5224100" y="938273"/>
                </a:lnTo>
                <a:lnTo>
                  <a:pt x="5214333" y="926689"/>
                </a:lnTo>
                <a:lnTo>
                  <a:pt x="5211620" y="926147"/>
                </a:lnTo>
                <a:lnTo>
                  <a:pt x="5208039" y="921600"/>
                </a:lnTo>
                <a:lnTo>
                  <a:pt x="5208039" y="913155"/>
                </a:lnTo>
                <a:lnTo>
                  <a:pt x="5205543" y="910773"/>
                </a:lnTo>
                <a:lnTo>
                  <a:pt x="5200985" y="917052"/>
                </a:lnTo>
                <a:lnTo>
                  <a:pt x="5195885" y="913587"/>
                </a:lnTo>
                <a:lnTo>
                  <a:pt x="5190242" y="913587"/>
                </a:lnTo>
                <a:lnTo>
                  <a:pt x="5185901" y="910664"/>
                </a:lnTo>
                <a:lnTo>
                  <a:pt x="5183623" y="914454"/>
                </a:lnTo>
                <a:lnTo>
                  <a:pt x="5181995" y="906334"/>
                </a:lnTo>
                <a:lnTo>
                  <a:pt x="5178414" y="903085"/>
                </a:lnTo>
                <a:lnTo>
                  <a:pt x="5174399" y="892258"/>
                </a:lnTo>
                <a:lnTo>
                  <a:pt x="5174399" y="888685"/>
                </a:lnTo>
                <a:lnTo>
                  <a:pt x="5177654" y="891175"/>
                </a:lnTo>
                <a:lnTo>
                  <a:pt x="5181452" y="887711"/>
                </a:lnTo>
                <a:lnTo>
                  <a:pt x="5181452" y="882298"/>
                </a:lnTo>
                <a:lnTo>
                  <a:pt x="5174181" y="877100"/>
                </a:lnTo>
                <a:lnTo>
                  <a:pt x="5174181" y="871145"/>
                </a:lnTo>
                <a:lnTo>
                  <a:pt x="5177654" y="866598"/>
                </a:lnTo>
                <a:lnTo>
                  <a:pt x="5181127" y="867465"/>
                </a:lnTo>
                <a:lnTo>
                  <a:pt x="5176786" y="863458"/>
                </a:lnTo>
                <a:lnTo>
                  <a:pt x="5171360" y="863458"/>
                </a:lnTo>
                <a:lnTo>
                  <a:pt x="5167888" y="854796"/>
                </a:lnTo>
                <a:lnTo>
                  <a:pt x="5164632" y="851765"/>
                </a:lnTo>
                <a:lnTo>
                  <a:pt x="5160834" y="854688"/>
                </a:lnTo>
                <a:lnTo>
                  <a:pt x="5155083" y="849274"/>
                </a:lnTo>
                <a:lnTo>
                  <a:pt x="5155843" y="841371"/>
                </a:lnTo>
                <a:lnTo>
                  <a:pt x="5158555" y="837257"/>
                </a:lnTo>
                <a:lnTo>
                  <a:pt x="5155516" y="832601"/>
                </a:lnTo>
                <a:lnTo>
                  <a:pt x="5154648" y="828595"/>
                </a:lnTo>
                <a:lnTo>
                  <a:pt x="5157904" y="826430"/>
                </a:lnTo>
                <a:lnTo>
                  <a:pt x="5166260" y="813437"/>
                </a:lnTo>
                <a:lnTo>
                  <a:pt x="5171468" y="809864"/>
                </a:lnTo>
                <a:lnTo>
                  <a:pt x="5172880" y="806941"/>
                </a:lnTo>
                <a:lnTo>
                  <a:pt x="5170709" y="800986"/>
                </a:lnTo>
                <a:lnTo>
                  <a:pt x="5170709" y="796438"/>
                </a:lnTo>
                <a:lnTo>
                  <a:pt x="5173964" y="790483"/>
                </a:lnTo>
                <a:lnTo>
                  <a:pt x="5170383" y="784854"/>
                </a:lnTo>
                <a:lnTo>
                  <a:pt x="5170383" y="777599"/>
                </a:lnTo>
                <a:lnTo>
                  <a:pt x="5172228" y="773810"/>
                </a:lnTo>
                <a:lnTo>
                  <a:pt x="5170600" y="770238"/>
                </a:lnTo>
                <a:lnTo>
                  <a:pt x="5170600" y="764607"/>
                </a:lnTo>
                <a:lnTo>
                  <a:pt x="5167670" y="761684"/>
                </a:lnTo>
                <a:lnTo>
                  <a:pt x="5170058" y="752806"/>
                </a:lnTo>
                <a:lnTo>
                  <a:pt x="5171686" y="750965"/>
                </a:lnTo>
                <a:lnTo>
                  <a:pt x="5167562" y="745551"/>
                </a:lnTo>
                <a:lnTo>
                  <a:pt x="5168973" y="737432"/>
                </a:lnTo>
                <a:lnTo>
                  <a:pt x="5168213" y="727471"/>
                </a:lnTo>
                <a:lnTo>
                  <a:pt x="5172011" y="726388"/>
                </a:lnTo>
                <a:lnTo>
                  <a:pt x="5175918" y="728337"/>
                </a:lnTo>
                <a:lnTo>
                  <a:pt x="5174290" y="730502"/>
                </a:lnTo>
                <a:lnTo>
                  <a:pt x="5175918" y="732451"/>
                </a:lnTo>
                <a:lnTo>
                  <a:pt x="5181344" y="730069"/>
                </a:lnTo>
                <a:lnTo>
                  <a:pt x="5188072" y="730069"/>
                </a:lnTo>
                <a:lnTo>
                  <a:pt x="5194041" y="727037"/>
                </a:lnTo>
                <a:lnTo>
                  <a:pt x="5198164" y="727037"/>
                </a:lnTo>
                <a:lnTo>
                  <a:pt x="5202287" y="728986"/>
                </a:lnTo>
                <a:lnTo>
                  <a:pt x="5205000" y="726604"/>
                </a:lnTo>
                <a:lnTo>
                  <a:pt x="5210643" y="726604"/>
                </a:lnTo>
                <a:lnTo>
                  <a:pt x="5224968" y="732343"/>
                </a:lnTo>
                <a:lnTo>
                  <a:pt x="5231696" y="732343"/>
                </a:lnTo>
                <a:lnTo>
                  <a:pt x="5236579" y="733426"/>
                </a:lnTo>
                <a:lnTo>
                  <a:pt x="5238424" y="737756"/>
                </a:lnTo>
                <a:lnTo>
                  <a:pt x="5234626" y="739380"/>
                </a:lnTo>
                <a:lnTo>
                  <a:pt x="5237664" y="744794"/>
                </a:lnTo>
                <a:lnTo>
                  <a:pt x="5237664" y="750532"/>
                </a:lnTo>
                <a:lnTo>
                  <a:pt x="5240160" y="753239"/>
                </a:lnTo>
                <a:lnTo>
                  <a:pt x="5240160" y="761684"/>
                </a:lnTo>
                <a:lnTo>
                  <a:pt x="5243198" y="769046"/>
                </a:lnTo>
                <a:lnTo>
                  <a:pt x="5241028" y="782038"/>
                </a:lnTo>
                <a:lnTo>
                  <a:pt x="5243524" y="785828"/>
                </a:lnTo>
                <a:lnTo>
                  <a:pt x="5242439" y="789076"/>
                </a:lnTo>
                <a:lnTo>
                  <a:pt x="5244609" y="793082"/>
                </a:lnTo>
                <a:lnTo>
                  <a:pt x="5243307" y="797630"/>
                </a:lnTo>
                <a:lnTo>
                  <a:pt x="5240377" y="799254"/>
                </a:lnTo>
                <a:lnTo>
                  <a:pt x="5242222" y="804884"/>
                </a:lnTo>
                <a:lnTo>
                  <a:pt x="5247322" y="809540"/>
                </a:lnTo>
                <a:lnTo>
                  <a:pt x="5250578" y="815711"/>
                </a:lnTo>
                <a:lnTo>
                  <a:pt x="5256221" y="817335"/>
                </a:lnTo>
                <a:lnTo>
                  <a:pt x="5256221" y="818634"/>
                </a:lnTo>
                <a:lnTo>
                  <a:pt x="5259802" y="817227"/>
                </a:lnTo>
                <a:lnTo>
                  <a:pt x="5262297" y="819284"/>
                </a:lnTo>
                <a:lnTo>
                  <a:pt x="5264142" y="827513"/>
                </a:lnTo>
                <a:lnTo>
                  <a:pt x="5269893" y="831519"/>
                </a:lnTo>
                <a:lnTo>
                  <a:pt x="5272932" y="836390"/>
                </a:lnTo>
                <a:lnTo>
                  <a:pt x="5274777" y="851007"/>
                </a:lnTo>
                <a:lnTo>
                  <a:pt x="5278792" y="855121"/>
                </a:lnTo>
                <a:lnTo>
                  <a:pt x="5278792" y="858370"/>
                </a:lnTo>
                <a:lnTo>
                  <a:pt x="5277381" y="861834"/>
                </a:lnTo>
                <a:lnTo>
                  <a:pt x="5282481" y="867465"/>
                </a:lnTo>
                <a:lnTo>
                  <a:pt x="5282481" y="874718"/>
                </a:lnTo>
                <a:lnTo>
                  <a:pt x="5289861" y="885545"/>
                </a:lnTo>
                <a:lnTo>
                  <a:pt x="5288016" y="891826"/>
                </a:lnTo>
                <a:lnTo>
                  <a:pt x="5290946" y="897022"/>
                </a:lnTo>
                <a:lnTo>
                  <a:pt x="5296046" y="900053"/>
                </a:lnTo>
                <a:lnTo>
                  <a:pt x="5293550" y="904168"/>
                </a:lnTo>
                <a:lnTo>
                  <a:pt x="5296263" y="906658"/>
                </a:lnTo>
                <a:lnTo>
                  <a:pt x="5298216" y="916728"/>
                </a:lnTo>
                <a:lnTo>
                  <a:pt x="5307766" y="928962"/>
                </a:lnTo>
                <a:lnTo>
                  <a:pt x="5315362" y="931452"/>
                </a:lnTo>
                <a:lnTo>
                  <a:pt x="5318617" y="935458"/>
                </a:lnTo>
                <a:lnTo>
                  <a:pt x="5322090" y="936216"/>
                </a:lnTo>
                <a:lnTo>
                  <a:pt x="5329361" y="943254"/>
                </a:lnTo>
                <a:lnTo>
                  <a:pt x="5329361" y="947043"/>
                </a:lnTo>
                <a:lnTo>
                  <a:pt x="5326973" y="946177"/>
                </a:lnTo>
                <a:lnTo>
                  <a:pt x="5326973" y="951374"/>
                </a:lnTo>
                <a:lnTo>
                  <a:pt x="5325671" y="957870"/>
                </a:lnTo>
                <a:lnTo>
                  <a:pt x="5328709" y="966856"/>
                </a:lnTo>
                <a:lnTo>
                  <a:pt x="5334135" y="972270"/>
                </a:lnTo>
                <a:lnTo>
                  <a:pt x="5334895" y="979632"/>
                </a:lnTo>
                <a:lnTo>
                  <a:pt x="5330554" y="983422"/>
                </a:lnTo>
                <a:lnTo>
                  <a:pt x="5330554" y="985804"/>
                </a:lnTo>
                <a:lnTo>
                  <a:pt x="5327299" y="989810"/>
                </a:lnTo>
                <a:lnTo>
                  <a:pt x="5329252" y="992517"/>
                </a:lnTo>
                <a:lnTo>
                  <a:pt x="5329252" y="1002803"/>
                </a:lnTo>
                <a:lnTo>
                  <a:pt x="5324043" y="1005509"/>
                </a:lnTo>
                <a:lnTo>
                  <a:pt x="5325128" y="1007458"/>
                </a:lnTo>
                <a:lnTo>
                  <a:pt x="5328709" y="1006592"/>
                </a:lnTo>
                <a:lnTo>
                  <a:pt x="5329469" y="1009299"/>
                </a:lnTo>
                <a:lnTo>
                  <a:pt x="5323827" y="1012547"/>
                </a:lnTo>
                <a:lnTo>
                  <a:pt x="5323827" y="1022507"/>
                </a:lnTo>
                <a:lnTo>
                  <a:pt x="5321656" y="1025539"/>
                </a:lnTo>
                <a:lnTo>
                  <a:pt x="5315688" y="1022616"/>
                </a:lnTo>
                <a:lnTo>
                  <a:pt x="5315688" y="1025864"/>
                </a:lnTo>
                <a:lnTo>
                  <a:pt x="5320570" y="1031278"/>
                </a:lnTo>
                <a:lnTo>
                  <a:pt x="5320570" y="1034851"/>
                </a:lnTo>
                <a:lnTo>
                  <a:pt x="5315470" y="1037233"/>
                </a:lnTo>
                <a:lnTo>
                  <a:pt x="5311889" y="1041888"/>
                </a:lnTo>
                <a:lnTo>
                  <a:pt x="5302991" y="1042429"/>
                </a:lnTo>
                <a:lnTo>
                  <a:pt x="5298433" y="1038640"/>
                </a:lnTo>
                <a:lnTo>
                  <a:pt x="5305704" y="1034634"/>
                </a:lnTo>
                <a:lnTo>
                  <a:pt x="5305704" y="1031061"/>
                </a:lnTo>
                <a:lnTo>
                  <a:pt x="5301363" y="1031061"/>
                </a:lnTo>
                <a:lnTo>
                  <a:pt x="5300170" y="1034092"/>
                </a:lnTo>
                <a:lnTo>
                  <a:pt x="5296697" y="1034092"/>
                </a:lnTo>
                <a:lnTo>
                  <a:pt x="5285845" y="1027921"/>
                </a:lnTo>
                <a:lnTo>
                  <a:pt x="5283458" y="1030953"/>
                </a:lnTo>
                <a:lnTo>
                  <a:pt x="5269893" y="1032794"/>
                </a:lnTo>
                <a:lnTo>
                  <a:pt x="5262840" y="1033335"/>
                </a:lnTo>
                <a:lnTo>
                  <a:pt x="5259367" y="1039614"/>
                </a:lnTo>
                <a:lnTo>
                  <a:pt x="5262623" y="1040156"/>
                </a:lnTo>
                <a:lnTo>
                  <a:pt x="5264250" y="1041996"/>
                </a:lnTo>
                <a:lnTo>
                  <a:pt x="5266963" y="1037449"/>
                </a:lnTo>
                <a:lnTo>
                  <a:pt x="5274342" y="1036041"/>
                </a:lnTo>
                <a:lnTo>
                  <a:pt x="5276513" y="1040698"/>
                </a:lnTo>
                <a:lnTo>
                  <a:pt x="5282807" y="1046652"/>
                </a:lnTo>
                <a:lnTo>
                  <a:pt x="5300495" y="1049575"/>
                </a:lnTo>
                <a:lnTo>
                  <a:pt x="5308091" y="1051741"/>
                </a:lnTo>
                <a:lnTo>
                  <a:pt x="5316990" y="1050333"/>
                </a:lnTo>
                <a:lnTo>
                  <a:pt x="5325345" y="1050333"/>
                </a:lnTo>
                <a:lnTo>
                  <a:pt x="5326973" y="1052824"/>
                </a:lnTo>
                <a:lnTo>
                  <a:pt x="5336197" y="1054772"/>
                </a:lnTo>
                <a:lnTo>
                  <a:pt x="5343468" y="1050658"/>
                </a:lnTo>
                <a:lnTo>
                  <a:pt x="5343468" y="1046002"/>
                </a:lnTo>
                <a:lnTo>
                  <a:pt x="5340538" y="1042537"/>
                </a:lnTo>
                <a:lnTo>
                  <a:pt x="5340538" y="1036583"/>
                </a:lnTo>
                <a:lnTo>
                  <a:pt x="5343576" y="1032469"/>
                </a:lnTo>
                <a:lnTo>
                  <a:pt x="5348134" y="1030303"/>
                </a:lnTo>
                <a:lnTo>
                  <a:pt x="5348134" y="1026839"/>
                </a:lnTo>
                <a:lnTo>
                  <a:pt x="5354863" y="1020125"/>
                </a:lnTo>
                <a:lnTo>
                  <a:pt x="5354863" y="1015795"/>
                </a:lnTo>
                <a:lnTo>
                  <a:pt x="5358985" y="1004968"/>
                </a:lnTo>
                <a:lnTo>
                  <a:pt x="5354863" y="997931"/>
                </a:lnTo>
                <a:lnTo>
                  <a:pt x="5356164" y="990026"/>
                </a:lnTo>
                <a:lnTo>
                  <a:pt x="5363543" y="977034"/>
                </a:lnTo>
                <a:lnTo>
                  <a:pt x="5364303" y="972703"/>
                </a:lnTo>
                <a:lnTo>
                  <a:pt x="5357032" y="955163"/>
                </a:lnTo>
                <a:lnTo>
                  <a:pt x="5347049" y="949425"/>
                </a:lnTo>
                <a:lnTo>
                  <a:pt x="5344119" y="945311"/>
                </a:lnTo>
                <a:lnTo>
                  <a:pt x="5343360" y="931561"/>
                </a:lnTo>
                <a:lnTo>
                  <a:pt x="5350738" y="925822"/>
                </a:lnTo>
                <a:lnTo>
                  <a:pt x="5354536" y="920192"/>
                </a:lnTo>
                <a:lnTo>
                  <a:pt x="5360830" y="919326"/>
                </a:lnTo>
                <a:lnTo>
                  <a:pt x="5370597" y="909906"/>
                </a:lnTo>
                <a:lnTo>
                  <a:pt x="5377108" y="909906"/>
                </a:lnTo>
                <a:lnTo>
                  <a:pt x="5384704" y="917269"/>
                </a:lnTo>
                <a:lnTo>
                  <a:pt x="5384704" y="923765"/>
                </a:lnTo>
                <a:lnTo>
                  <a:pt x="5392517" y="927554"/>
                </a:lnTo>
                <a:lnTo>
                  <a:pt x="5394362" y="930911"/>
                </a:lnTo>
                <a:lnTo>
                  <a:pt x="5396532" y="930911"/>
                </a:lnTo>
                <a:lnTo>
                  <a:pt x="5402501" y="938273"/>
                </a:lnTo>
                <a:lnTo>
                  <a:pt x="5401633" y="944012"/>
                </a:lnTo>
                <a:lnTo>
                  <a:pt x="5405756" y="946718"/>
                </a:lnTo>
                <a:lnTo>
                  <a:pt x="5407058" y="952132"/>
                </a:lnTo>
                <a:lnTo>
                  <a:pt x="5411507" y="957762"/>
                </a:lnTo>
                <a:lnTo>
                  <a:pt x="5412376" y="963717"/>
                </a:lnTo>
                <a:lnTo>
                  <a:pt x="5409989" y="965882"/>
                </a:lnTo>
                <a:lnTo>
                  <a:pt x="5413569" y="971296"/>
                </a:lnTo>
                <a:lnTo>
                  <a:pt x="5419321" y="971296"/>
                </a:lnTo>
                <a:lnTo>
                  <a:pt x="5425614" y="975843"/>
                </a:lnTo>
                <a:lnTo>
                  <a:pt x="5432126" y="974436"/>
                </a:lnTo>
                <a:lnTo>
                  <a:pt x="5436141" y="973136"/>
                </a:lnTo>
                <a:lnTo>
                  <a:pt x="5443411" y="972378"/>
                </a:lnTo>
                <a:lnTo>
                  <a:pt x="5445040" y="969672"/>
                </a:lnTo>
                <a:lnTo>
                  <a:pt x="5447753" y="968048"/>
                </a:lnTo>
                <a:lnTo>
                  <a:pt x="5444496" y="966748"/>
                </a:lnTo>
                <a:lnTo>
                  <a:pt x="5439830" y="968048"/>
                </a:lnTo>
                <a:lnTo>
                  <a:pt x="5438203" y="964475"/>
                </a:lnTo>
                <a:lnTo>
                  <a:pt x="5434622" y="970646"/>
                </a:lnTo>
                <a:lnTo>
                  <a:pt x="5427785" y="970646"/>
                </a:lnTo>
                <a:lnTo>
                  <a:pt x="5424746" y="966315"/>
                </a:lnTo>
                <a:lnTo>
                  <a:pt x="5419321" y="966315"/>
                </a:lnTo>
                <a:lnTo>
                  <a:pt x="5416391" y="961985"/>
                </a:lnTo>
                <a:lnTo>
                  <a:pt x="5418018" y="957979"/>
                </a:lnTo>
                <a:lnTo>
                  <a:pt x="5415089" y="956138"/>
                </a:lnTo>
                <a:lnTo>
                  <a:pt x="5411616" y="949317"/>
                </a:lnTo>
                <a:lnTo>
                  <a:pt x="5411616" y="941413"/>
                </a:lnTo>
                <a:lnTo>
                  <a:pt x="5416282" y="940114"/>
                </a:lnTo>
                <a:lnTo>
                  <a:pt x="5420080" y="936865"/>
                </a:lnTo>
                <a:lnTo>
                  <a:pt x="5416608" y="934159"/>
                </a:lnTo>
                <a:lnTo>
                  <a:pt x="5415523" y="930369"/>
                </a:lnTo>
                <a:lnTo>
                  <a:pt x="5414112" y="929503"/>
                </a:lnTo>
                <a:lnTo>
                  <a:pt x="5412485" y="925714"/>
                </a:lnTo>
                <a:lnTo>
                  <a:pt x="5405214" y="921600"/>
                </a:lnTo>
                <a:lnTo>
                  <a:pt x="5405214" y="917810"/>
                </a:lnTo>
                <a:lnTo>
                  <a:pt x="5399788" y="910556"/>
                </a:lnTo>
                <a:lnTo>
                  <a:pt x="5391649" y="910556"/>
                </a:lnTo>
                <a:lnTo>
                  <a:pt x="5380798" y="905900"/>
                </a:lnTo>
                <a:lnTo>
                  <a:pt x="5377868" y="900487"/>
                </a:lnTo>
                <a:lnTo>
                  <a:pt x="5372767" y="902328"/>
                </a:lnTo>
                <a:lnTo>
                  <a:pt x="5364086" y="897239"/>
                </a:lnTo>
                <a:lnTo>
                  <a:pt x="5359962" y="898646"/>
                </a:lnTo>
                <a:lnTo>
                  <a:pt x="5353994" y="896806"/>
                </a:lnTo>
                <a:lnTo>
                  <a:pt x="5348243" y="902761"/>
                </a:lnTo>
                <a:lnTo>
                  <a:pt x="5346614" y="909257"/>
                </a:lnTo>
                <a:lnTo>
                  <a:pt x="5343360" y="911963"/>
                </a:lnTo>
                <a:lnTo>
                  <a:pt x="5334895" y="909257"/>
                </a:lnTo>
                <a:lnTo>
                  <a:pt x="5327841" y="913587"/>
                </a:lnTo>
                <a:lnTo>
                  <a:pt x="5321114" y="911639"/>
                </a:lnTo>
                <a:lnTo>
                  <a:pt x="5318617" y="908391"/>
                </a:lnTo>
                <a:lnTo>
                  <a:pt x="5319377" y="902219"/>
                </a:lnTo>
                <a:lnTo>
                  <a:pt x="5318617" y="897130"/>
                </a:lnTo>
                <a:lnTo>
                  <a:pt x="5309611" y="887711"/>
                </a:lnTo>
                <a:lnTo>
                  <a:pt x="5306681" y="882080"/>
                </a:lnTo>
                <a:lnTo>
                  <a:pt x="5307549" y="871254"/>
                </a:lnTo>
                <a:lnTo>
                  <a:pt x="5302123" y="862809"/>
                </a:lnTo>
                <a:lnTo>
                  <a:pt x="5303425" y="856854"/>
                </a:lnTo>
                <a:lnTo>
                  <a:pt x="5304836" y="841371"/>
                </a:lnTo>
                <a:lnTo>
                  <a:pt x="5300495" y="831627"/>
                </a:lnTo>
                <a:lnTo>
                  <a:pt x="5295286" y="825997"/>
                </a:lnTo>
                <a:lnTo>
                  <a:pt x="5289101" y="825997"/>
                </a:lnTo>
                <a:lnTo>
                  <a:pt x="5286713" y="819284"/>
                </a:lnTo>
                <a:lnTo>
                  <a:pt x="5275862" y="809864"/>
                </a:lnTo>
                <a:lnTo>
                  <a:pt x="5266855" y="804776"/>
                </a:lnTo>
                <a:lnTo>
                  <a:pt x="5266855" y="798821"/>
                </a:lnTo>
                <a:lnTo>
                  <a:pt x="5270111" y="789618"/>
                </a:lnTo>
                <a:lnTo>
                  <a:pt x="5268700" y="782256"/>
                </a:lnTo>
                <a:lnTo>
                  <a:pt x="5265119" y="778791"/>
                </a:lnTo>
                <a:lnTo>
                  <a:pt x="5265119" y="776084"/>
                </a:lnTo>
                <a:lnTo>
                  <a:pt x="5270219" y="770995"/>
                </a:lnTo>
                <a:lnTo>
                  <a:pt x="5278140" y="761792"/>
                </a:lnTo>
                <a:lnTo>
                  <a:pt x="5280637" y="750965"/>
                </a:lnTo>
                <a:lnTo>
                  <a:pt x="5277598" y="738189"/>
                </a:lnTo>
                <a:lnTo>
                  <a:pt x="5267506" y="718917"/>
                </a:lnTo>
                <a:lnTo>
                  <a:pt x="5270545" y="717076"/>
                </a:lnTo>
                <a:lnTo>
                  <a:pt x="5277381" y="721949"/>
                </a:lnTo>
                <a:lnTo>
                  <a:pt x="5278466" y="728228"/>
                </a:lnTo>
                <a:lnTo>
                  <a:pt x="5281722" y="729094"/>
                </a:lnTo>
                <a:lnTo>
                  <a:pt x="5283892" y="731584"/>
                </a:lnTo>
                <a:lnTo>
                  <a:pt x="5283892" y="739163"/>
                </a:lnTo>
                <a:lnTo>
                  <a:pt x="5289101" y="744252"/>
                </a:lnTo>
                <a:lnTo>
                  <a:pt x="5289101" y="755079"/>
                </a:lnTo>
                <a:lnTo>
                  <a:pt x="5292899" y="761575"/>
                </a:lnTo>
                <a:lnTo>
                  <a:pt x="5290729" y="767530"/>
                </a:lnTo>
                <a:lnTo>
                  <a:pt x="5293550" y="772728"/>
                </a:lnTo>
                <a:lnTo>
                  <a:pt x="5300820" y="779007"/>
                </a:lnTo>
                <a:lnTo>
                  <a:pt x="5300820" y="783013"/>
                </a:lnTo>
                <a:lnTo>
                  <a:pt x="5304945" y="786478"/>
                </a:lnTo>
                <a:lnTo>
                  <a:pt x="5304945" y="789942"/>
                </a:lnTo>
                <a:lnTo>
                  <a:pt x="5300820" y="792866"/>
                </a:lnTo>
                <a:lnTo>
                  <a:pt x="5303208" y="796656"/>
                </a:lnTo>
                <a:lnTo>
                  <a:pt x="5308959" y="795573"/>
                </a:lnTo>
                <a:lnTo>
                  <a:pt x="5315470" y="799687"/>
                </a:lnTo>
                <a:lnTo>
                  <a:pt x="5323935" y="799687"/>
                </a:lnTo>
                <a:lnTo>
                  <a:pt x="5328493" y="797738"/>
                </a:lnTo>
                <a:lnTo>
                  <a:pt x="5332833" y="800769"/>
                </a:lnTo>
                <a:lnTo>
                  <a:pt x="5334461" y="804559"/>
                </a:lnTo>
                <a:lnTo>
                  <a:pt x="5338802" y="799362"/>
                </a:lnTo>
                <a:lnTo>
                  <a:pt x="5344228" y="799362"/>
                </a:lnTo>
                <a:lnTo>
                  <a:pt x="5348785" y="796980"/>
                </a:lnTo>
                <a:lnTo>
                  <a:pt x="5352909" y="798063"/>
                </a:lnTo>
                <a:lnTo>
                  <a:pt x="5359420" y="805317"/>
                </a:lnTo>
                <a:lnTo>
                  <a:pt x="5363978" y="805858"/>
                </a:lnTo>
                <a:lnTo>
                  <a:pt x="5370271" y="809431"/>
                </a:lnTo>
                <a:lnTo>
                  <a:pt x="5380255" y="807807"/>
                </a:lnTo>
                <a:lnTo>
                  <a:pt x="5383728" y="803260"/>
                </a:lnTo>
                <a:lnTo>
                  <a:pt x="5379604" y="806183"/>
                </a:lnTo>
                <a:lnTo>
                  <a:pt x="5369837" y="805317"/>
                </a:lnTo>
                <a:lnTo>
                  <a:pt x="5368535" y="800662"/>
                </a:lnTo>
                <a:lnTo>
                  <a:pt x="5365497" y="799579"/>
                </a:lnTo>
                <a:lnTo>
                  <a:pt x="5362784" y="792541"/>
                </a:lnTo>
                <a:lnTo>
                  <a:pt x="5354645" y="792541"/>
                </a:lnTo>
                <a:lnTo>
                  <a:pt x="5353777" y="788752"/>
                </a:lnTo>
                <a:lnTo>
                  <a:pt x="5351606" y="788752"/>
                </a:lnTo>
                <a:lnTo>
                  <a:pt x="5348676" y="791999"/>
                </a:lnTo>
                <a:lnTo>
                  <a:pt x="5336957" y="791134"/>
                </a:lnTo>
                <a:lnTo>
                  <a:pt x="5332508" y="787560"/>
                </a:lnTo>
                <a:lnTo>
                  <a:pt x="5324586" y="787560"/>
                </a:lnTo>
                <a:lnTo>
                  <a:pt x="5316230" y="780306"/>
                </a:lnTo>
                <a:lnTo>
                  <a:pt x="5314385" y="774352"/>
                </a:lnTo>
                <a:lnTo>
                  <a:pt x="5311456" y="774352"/>
                </a:lnTo>
                <a:lnTo>
                  <a:pt x="5304185" y="763524"/>
                </a:lnTo>
                <a:lnTo>
                  <a:pt x="5307658" y="762225"/>
                </a:lnTo>
                <a:lnTo>
                  <a:pt x="5309828" y="759518"/>
                </a:lnTo>
                <a:lnTo>
                  <a:pt x="5316556" y="754646"/>
                </a:lnTo>
                <a:lnTo>
                  <a:pt x="5319485" y="754646"/>
                </a:lnTo>
                <a:lnTo>
                  <a:pt x="5325996" y="762225"/>
                </a:lnTo>
                <a:lnTo>
                  <a:pt x="5336848" y="766773"/>
                </a:lnTo>
                <a:lnTo>
                  <a:pt x="5343576" y="765365"/>
                </a:lnTo>
                <a:lnTo>
                  <a:pt x="5348785" y="755838"/>
                </a:lnTo>
                <a:lnTo>
                  <a:pt x="5344445" y="747175"/>
                </a:lnTo>
                <a:lnTo>
                  <a:pt x="5335546" y="745010"/>
                </a:lnTo>
                <a:lnTo>
                  <a:pt x="5327624" y="750099"/>
                </a:lnTo>
                <a:lnTo>
                  <a:pt x="5324586" y="746634"/>
                </a:lnTo>
                <a:lnTo>
                  <a:pt x="5325780" y="743711"/>
                </a:lnTo>
                <a:lnTo>
                  <a:pt x="5328167" y="745335"/>
                </a:lnTo>
                <a:lnTo>
                  <a:pt x="5330880" y="743494"/>
                </a:lnTo>
                <a:lnTo>
                  <a:pt x="5331422" y="738081"/>
                </a:lnTo>
                <a:lnTo>
                  <a:pt x="5337174" y="729094"/>
                </a:lnTo>
                <a:lnTo>
                  <a:pt x="5342600" y="725846"/>
                </a:lnTo>
                <a:lnTo>
                  <a:pt x="5347266" y="728012"/>
                </a:lnTo>
                <a:lnTo>
                  <a:pt x="5363869" y="728012"/>
                </a:lnTo>
                <a:lnTo>
                  <a:pt x="5369620" y="734183"/>
                </a:lnTo>
                <a:lnTo>
                  <a:pt x="5375589" y="738189"/>
                </a:lnTo>
                <a:lnTo>
                  <a:pt x="5389479" y="739813"/>
                </a:lnTo>
                <a:lnTo>
                  <a:pt x="5390564" y="744469"/>
                </a:lnTo>
                <a:lnTo>
                  <a:pt x="5395990" y="747392"/>
                </a:lnTo>
                <a:lnTo>
                  <a:pt x="5405973" y="757461"/>
                </a:lnTo>
                <a:lnTo>
                  <a:pt x="5412810" y="757461"/>
                </a:lnTo>
                <a:lnTo>
                  <a:pt x="5425506" y="755620"/>
                </a:lnTo>
                <a:lnTo>
                  <a:pt x="5435598" y="749449"/>
                </a:lnTo>
                <a:lnTo>
                  <a:pt x="5439180" y="753022"/>
                </a:lnTo>
                <a:lnTo>
                  <a:pt x="5441133" y="752481"/>
                </a:lnTo>
                <a:lnTo>
                  <a:pt x="5446776" y="753022"/>
                </a:lnTo>
                <a:lnTo>
                  <a:pt x="5445473" y="761467"/>
                </a:lnTo>
                <a:lnTo>
                  <a:pt x="5446342" y="766123"/>
                </a:lnTo>
                <a:lnTo>
                  <a:pt x="5446342" y="769696"/>
                </a:lnTo>
                <a:lnTo>
                  <a:pt x="5439288" y="773810"/>
                </a:lnTo>
                <a:lnTo>
                  <a:pt x="5439288" y="780090"/>
                </a:lnTo>
                <a:lnTo>
                  <a:pt x="5442327" y="785503"/>
                </a:lnTo>
                <a:lnTo>
                  <a:pt x="5442327" y="793407"/>
                </a:lnTo>
                <a:lnTo>
                  <a:pt x="5450031" y="799579"/>
                </a:lnTo>
                <a:lnTo>
                  <a:pt x="5450573" y="804992"/>
                </a:lnTo>
                <a:lnTo>
                  <a:pt x="5447318" y="809107"/>
                </a:lnTo>
                <a:lnTo>
                  <a:pt x="5449489" y="824048"/>
                </a:lnTo>
                <a:lnTo>
                  <a:pt x="5452528" y="824048"/>
                </a:lnTo>
                <a:lnTo>
                  <a:pt x="5453937" y="819176"/>
                </a:lnTo>
                <a:lnTo>
                  <a:pt x="5452528" y="815927"/>
                </a:lnTo>
                <a:lnTo>
                  <a:pt x="5455457" y="812354"/>
                </a:lnTo>
                <a:lnTo>
                  <a:pt x="5454697" y="806399"/>
                </a:lnTo>
                <a:lnTo>
                  <a:pt x="5458278" y="804992"/>
                </a:lnTo>
                <a:lnTo>
                  <a:pt x="5460991" y="797413"/>
                </a:lnTo>
                <a:lnTo>
                  <a:pt x="5464789" y="800120"/>
                </a:lnTo>
                <a:lnTo>
                  <a:pt x="5467719" y="808456"/>
                </a:lnTo>
                <a:lnTo>
                  <a:pt x="5468479" y="819284"/>
                </a:lnTo>
                <a:lnTo>
                  <a:pt x="5469889" y="822749"/>
                </a:lnTo>
                <a:lnTo>
                  <a:pt x="5466634" y="824914"/>
                </a:lnTo>
                <a:lnTo>
                  <a:pt x="5466634" y="830544"/>
                </a:lnTo>
                <a:lnTo>
                  <a:pt x="5464464" y="832384"/>
                </a:lnTo>
                <a:lnTo>
                  <a:pt x="5473145" y="838123"/>
                </a:lnTo>
                <a:lnTo>
                  <a:pt x="5480741" y="838123"/>
                </a:lnTo>
                <a:lnTo>
                  <a:pt x="5488229" y="839964"/>
                </a:lnTo>
                <a:lnTo>
                  <a:pt x="5492787" y="846135"/>
                </a:lnTo>
                <a:lnTo>
                  <a:pt x="5492787" y="851224"/>
                </a:lnTo>
                <a:lnTo>
                  <a:pt x="5497995" y="855229"/>
                </a:lnTo>
                <a:lnTo>
                  <a:pt x="5507762" y="855229"/>
                </a:lnTo>
                <a:lnTo>
                  <a:pt x="5517420" y="865190"/>
                </a:lnTo>
                <a:lnTo>
                  <a:pt x="5516443" y="861726"/>
                </a:lnTo>
                <a:lnTo>
                  <a:pt x="5516443" y="855013"/>
                </a:lnTo>
                <a:lnTo>
                  <a:pt x="5523714" y="847434"/>
                </a:lnTo>
                <a:lnTo>
                  <a:pt x="5528923" y="847434"/>
                </a:lnTo>
                <a:lnTo>
                  <a:pt x="5539232" y="855555"/>
                </a:lnTo>
                <a:lnTo>
                  <a:pt x="5546502" y="855555"/>
                </a:lnTo>
                <a:lnTo>
                  <a:pt x="5550300" y="860210"/>
                </a:lnTo>
                <a:lnTo>
                  <a:pt x="5552688" y="869088"/>
                </a:lnTo>
                <a:lnTo>
                  <a:pt x="5551602" y="859561"/>
                </a:lnTo>
                <a:lnTo>
                  <a:pt x="5548673" y="853389"/>
                </a:lnTo>
                <a:lnTo>
                  <a:pt x="5544332" y="853389"/>
                </a:lnTo>
                <a:lnTo>
                  <a:pt x="5537822" y="851007"/>
                </a:lnTo>
                <a:lnTo>
                  <a:pt x="5528705" y="845052"/>
                </a:lnTo>
                <a:lnTo>
                  <a:pt x="5521002" y="846460"/>
                </a:lnTo>
                <a:lnTo>
                  <a:pt x="5513188" y="852631"/>
                </a:lnTo>
                <a:lnTo>
                  <a:pt x="5509607" y="851332"/>
                </a:lnTo>
                <a:lnTo>
                  <a:pt x="5508739" y="852198"/>
                </a:lnTo>
                <a:lnTo>
                  <a:pt x="5500492" y="848733"/>
                </a:lnTo>
                <a:lnTo>
                  <a:pt x="5491593" y="839205"/>
                </a:lnTo>
                <a:lnTo>
                  <a:pt x="5486927" y="835741"/>
                </a:lnTo>
                <a:lnTo>
                  <a:pt x="5478788" y="834983"/>
                </a:lnTo>
                <a:lnTo>
                  <a:pt x="5474231" y="827945"/>
                </a:lnTo>
                <a:lnTo>
                  <a:pt x="5478028" y="829353"/>
                </a:lnTo>
                <a:lnTo>
                  <a:pt x="5480959" y="828811"/>
                </a:lnTo>
                <a:lnTo>
                  <a:pt x="5486385" y="817985"/>
                </a:lnTo>
                <a:lnTo>
                  <a:pt x="5484539" y="813113"/>
                </a:lnTo>
                <a:lnTo>
                  <a:pt x="5478028" y="807374"/>
                </a:lnTo>
                <a:lnTo>
                  <a:pt x="5475098" y="796547"/>
                </a:lnTo>
                <a:lnTo>
                  <a:pt x="5467502" y="785720"/>
                </a:lnTo>
                <a:lnTo>
                  <a:pt x="5462836" y="782472"/>
                </a:lnTo>
                <a:lnTo>
                  <a:pt x="5457627" y="775975"/>
                </a:lnTo>
                <a:lnTo>
                  <a:pt x="5459255" y="770238"/>
                </a:lnTo>
                <a:lnTo>
                  <a:pt x="5457627" y="765148"/>
                </a:lnTo>
                <a:lnTo>
                  <a:pt x="5458930" y="752697"/>
                </a:lnTo>
                <a:lnTo>
                  <a:pt x="5454046" y="746959"/>
                </a:lnTo>
                <a:lnTo>
                  <a:pt x="5450791" y="746959"/>
                </a:lnTo>
                <a:lnTo>
                  <a:pt x="5442434" y="741546"/>
                </a:lnTo>
                <a:lnTo>
                  <a:pt x="5429956" y="741546"/>
                </a:lnTo>
                <a:lnTo>
                  <a:pt x="5426157" y="734833"/>
                </a:lnTo>
                <a:lnTo>
                  <a:pt x="5418887" y="731043"/>
                </a:lnTo>
                <a:lnTo>
                  <a:pt x="5418887" y="724872"/>
                </a:lnTo>
                <a:lnTo>
                  <a:pt x="5416716" y="720866"/>
                </a:lnTo>
                <a:lnTo>
                  <a:pt x="5416716" y="717293"/>
                </a:lnTo>
                <a:lnTo>
                  <a:pt x="5410965" y="720866"/>
                </a:lnTo>
                <a:lnTo>
                  <a:pt x="5394470" y="720108"/>
                </a:lnTo>
                <a:lnTo>
                  <a:pt x="5388827" y="720649"/>
                </a:lnTo>
                <a:lnTo>
                  <a:pt x="5381992" y="716102"/>
                </a:lnTo>
                <a:lnTo>
                  <a:pt x="5381123" y="709606"/>
                </a:lnTo>
                <a:lnTo>
                  <a:pt x="5378953" y="709606"/>
                </a:lnTo>
                <a:lnTo>
                  <a:pt x="5376999" y="705600"/>
                </a:lnTo>
                <a:lnTo>
                  <a:pt x="5376999" y="697155"/>
                </a:lnTo>
                <a:lnTo>
                  <a:pt x="5370814" y="686327"/>
                </a:lnTo>
                <a:lnTo>
                  <a:pt x="5362349" y="681239"/>
                </a:lnTo>
                <a:lnTo>
                  <a:pt x="5364195" y="677666"/>
                </a:lnTo>
                <a:lnTo>
                  <a:pt x="5363109" y="674743"/>
                </a:lnTo>
                <a:lnTo>
                  <a:pt x="5359312" y="674743"/>
                </a:lnTo>
                <a:lnTo>
                  <a:pt x="5356381" y="671711"/>
                </a:lnTo>
                <a:lnTo>
                  <a:pt x="5357792" y="666839"/>
                </a:lnTo>
                <a:lnTo>
                  <a:pt x="5357792" y="661642"/>
                </a:lnTo>
                <a:lnTo>
                  <a:pt x="5352150" y="657311"/>
                </a:lnTo>
                <a:lnTo>
                  <a:pt x="5355730" y="654388"/>
                </a:lnTo>
                <a:lnTo>
                  <a:pt x="5362458" y="654388"/>
                </a:lnTo>
                <a:lnTo>
                  <a:pt x="5368427" y="648433"/>
                </a:lnTo>
                <a:lnTo>
                  <a:pt x="5374178" y="648433"/>
                </a:lnTo>
                <a:lnTo>
                  <a:pt x="5387200" y="645509"/>
                </a:lnTo>
                <a:lnTo>
                  <a:pt x="5405431" y="638797"/>
                </a:lnTo>
                <a:lnTo>
                  <a:pt x="5412267" y="632842"/>
                </a:lnTo>
                <a:lnTo>
                  <a:pt x="5418018" y="631543"/>
                </a:lnTo>
                <a:lnTo>
                  <a:pt x="5422685" y="633383"/>
                </a:lnTo>
                <a:lnTo>
                  <a:pt x="5428436" y="631001"/>
                </a:lnTo>
                <a:lnTo>
                  <a:pt x="5430932" y="625263"/>
                </a:lnTo>
                <a:lnTo>
                  <a:pt x="5439614" y="622015"/>
                </a:lnTo>
                <a:lnTo>
                  <a:pt x="5456217" y="614977"/>
                </a:lnTo>
                <a:lnTo>
                  <a:pt x="5457844" y="616926"/>
                </a:lnTo>
                <a:lnTo>
                  <a:pt x="5455132" y="622015"/>
                </a:lnTo>
                <a:lnTo>
                  <a:pt x="5455132" y="625587"/>
                </a:lnTo>
                <a:lnTo>
                  <a:pt x="5451551" y="628078"/>
                </a:lnTo>
                <a:lnTo>
                  <a:pt x="5446993" y="637823"/>
                </a:lnTo>
                <a:lnTo>
                  <a:pt x="5446993" y="643019"/>
                </a:lnTo>
                <a:lnTo>
                  <a:pt x="5456976" y="650923"/>
                </a:lnTo>
                <a:lnTo>
                  <a:pt x="5465875" y="650923"/>
                </a:lnTo>
                <a:lnTo>
                  <a:pt x="5460666" y="648541"/>
                </a:lnTo>
                <a:lnTo>
                  <a:pt x="5452310" y="640205"/>
                </a:lnTo>
                <a:lnTo>
                  <a:pt x="5452310" y="636956"/>
                </a:lnTo>
                <a:lnTo>
                  <a:pt x="5456108" y="631759"/>
                </a:lnTo>
                <a:lnTo>
                  <a:pt x="5465657" y="626021"/>
                </a:lnTo>
                <a:lnTo>
                  <a:pt x="5469130" y="617360"/>
                </a:lnTo>
                <a:lnTo>
                  <a:pt x="5465657" y="610538"/>
                </a:lnTo>
                <a:lnTo>
                  <a:pt x="5459907" y="610538"/>
                </a:lnTo>
                <a:lnTo>
                  <a:pt x="5453070" y="605883"/>
                </a:lnTo>
                <a:lnTo>
                  <a:pt x="5454481" y="601768"/>
                </a:lnTo>
                <a:lnTo>
                  <a:pt x="5447101" y="601768"/>
                </a:lnTo>
                <a:lnTo>
                  <a:pt x="5444714" y="604692"/>
                </a:lnTo>
                <a:lnTo>
                  <a:pt x="5441784" y="602310"/>
                </a:lnTo>
                <a:lnTo>
                  <a:pt x="5439397" y="595814"/>
                </a:lnTo>
                <a:lnTo>
                  <a:pt x="5431475" y="595814"/>
                </a:lnTo>
                <a:lnTo>
                  <a:pt x="5427676" y="597438"/>
                </a:lnTo>
                <a:lnTo>
                  <a:pt x="5422034" y="590725"/>
                </a:lnTo>
                <a:lnTo>
                  <a:pt x="5424421" y="589101"/>
                </a:lnTo>
                <a:lnTo>
                  <a:pt x="5425181" y="585311"/>
                </a:lnTo>
                <a:lnTo>
                  <a:pt x="5427894" y="583904"/>
                </a:lnTo>
                <a:lnTo>
                  <a:pt x="5432451" y="588018"/>
                </a:lnTo>
                <a:lnTo>
                  <a:pt x="5438203" y="588018"/>
                </a:lnTo>
                <a:lnTo>
                  <a:pt x="5443086" y="585528"/>
                </a:lnTo>
                <a:lnTo>
                  <a:pt x="5441241" y="582604"/>
                </a:lnTo>
                <a:lnTo>
                  <a:pt x="5438745" y="583904"/>
                </a:lnTo>
                <a:lnTo>
                  <a:pt x="5434188" y="585203"/>
                </a:lnTo>
                <a:lnTo>
                  <a:pt x="5429521" y="581630"/>
                </a:lnTo>
                <a:lnTo>
                  <a:pt x="5428653" y="577083"/>
                </a:lnTo>
                <a:lnTo>
                  <a:pt x="5423228" y="576324"/>
                </a:lnTo>
                <a:lnTo>
                  <a:pt x="5415632" y="573943"/>
                </a:lnTo>
                <a:lnTo>
                  <a:pt x="5410965" y="576108"/>
                </a:lnTo>
                <a:lnTo>
                  <a:pt x="5407926" y="571236"/>
                </a:lnTo>
                <a:lnTo>
                  <a:pt x="5410639" y="568204"/>
                </a:lnTo>
                <a:lnTo>
                  <a:pt x="5410639" y="563873"/>
                </a:lnTo>
                <a:lnTo>
                  <a:pt x="5407601" y="560951"/>
                </a:lnTo>
                <a:lnTo>
                  <a:pt x="5408686" y="559110"/>
                </a:lnTo>
                <a:lnTo>
                  <a:pt x="5412159" y="559867"/>
                </a:lnTo>
                <a:lnTo>
                  <a:pt x="5417259" y="566905"/>
                </a:lnTo>
                <a:lnTo>
                  <a:pt x="5421600" y="565606"/>
                </a:lnTo>
                <a:lnTo>
                  <a:pt x="5426808" y="572969"/>
                </a:lnTo>
                <a:lnTo>
                  <a:pt x="5427568" y="568421"/>
                </a:lnTo>
                <a:lnTo>
                  <a:pt x="5426700" y="564957"/>
                </a:lnTo>
                <a:lnTo>
                  <a:pt x="5431040" y="561925"/>
                </a:lnTo>
                <a:lnTo>
                  <a:pt x="5431909" y="552397"/>
                </a:lnTo>
                <a:lnTo>
                  <a:pt x="5428327" y="549474"/>
                </a:lnTo>
                <a:lnTo>
                  <a:pt x="5429413" y="547633"/>
                </a:lnTo>
                <a:lnTo>
                  <a:pt x="5434296" y="548500"/>
                </a:lnTo>
                <a:lnTo>
                  <a:pt x="5436792" y="544926"/>
                </a:lnTo>
                <a:lnTo>
                  <a:pt x="5425940" y="542220"/>
                </a:lnTo>
                <a:lnTo>
                  <a:pt x="5423553" y="545468"/>
                </a:lnTo>
                <a:lnTo>
                  <a:pt x="5419972" y="545468"/>
                </a:lnTo>
                <a:lnTo>
                  <a:pt x="5419972" y="540812"/>
                </a:lnTo>
                <a:lnTo>
                  <a:pt x="5424530" y="537023"/>
                </a:lnTo>
                <a:lnTo>
                  <a:pt x="5432669" y="537023"/>
                </a:lnTo>
                <a:lnTo>
                  <a:pt x="5438637" y="535074"/>
                </a:lnTo>
                <a:lnTo>
                  <a:pt x="5437877" y="530743"/>
                </a:lnTo>
                <a:lnTo>
                  <a:pt x="5442543" y="525546"/>
                </a:lnTo>
                <a:lnTo>
                  <a:pt x="5442543" y="520998"/>
                </a:lnTo>
                <a:lnTo>
                  <a:pt x="5444171" y="519158"/>
                </a:lnTo>
                <a:lnTo>
                  <a:pt x="5443411" y="516776"/>
                </a:lnTo>
                <a:lnTo>
                  <a:pt x="5447969" y="510280"/>
                </a:lnTo>
                <a:lnTo>
                  <a:pt x="5449815" y="510280"/>
                </a:lnTo>
                <a:lnTo>
                  <a:pt x="5451984" y="513528"/>
                </a:lnTo>
                <a:lnTo>
                  <a:pt x="5454481" y="512229"/>
                </a:lnTo>
                <a:lnTo>
                  <a:pt x="5455891" y="507898"/>
                </a:lnTo>
                <a:lnTo>
                  <a:pt x="5457844" y="507898"/>
                </a:lnTo>
                <a:lnTo>
                  <a:pt x="5454914" y="503784"/>
                </a:lnTo>
                <a:lnTo>
                  <a:pt x="5456759" y="501077"/>
                </a:lnTo>
                <a:lnTo>
                  <a:pt x="5462944" y="499127"/>
                </a:lnTo>
                <a:lnTo>
                  <a:pt x="5465657" y="497829"/>
                </a:lnTo>
                <a:lnTo>
                  <a:pt x="5466959" y="493498"/>
                </a:lnTo>
                <a:lnTo>
                  <a:pt x="5469456" y="492956"/>
                </a:lnTo>
                <a:lnTo>
                  <a:pt x="5473796" y="494797"/>
                </a:lnTo>
                <a:lnTo>
                  <a:pt x="5481935" y="492956"/>
                </a:lnTo>
                <a:lnTo>
                  <a:pt x="5480090" y="490033"/>
                </a:lnTo>
                <a:lnTo>
                  <a:pt x="5480850" y="486244"/>
                </a:lnTo>
                <a:lnTo>
                  <a:pt x="5491702" y="484620"/>
                </a:lnTo>
                <a:lnTo>
                  <a:pt x="5497561" y="481155"/>
                </a:lnTo>
                <a:lnTo>
                  <a:pt x="5499949" y="476066"/>
                </a:lnTo>
                <a:lnTo>
                  <a:pt x="5513296" y="470436"/>
                </a:lnTo>
                <a:lnTo>
                  <a:pt x="5514381" y="465781"/>
                </a:lnTo>
                <a:lnTo>
                  <a:pt x="5511452" y="465023"/>
                </a:lnTo>
                <a:lnTo>
                  <a:pt x="5503313" y="470111"/>
                </a:lnTo>
                <a:lnTo>
                  <a:pt x="5500600" y="467405"/>
                </a:lnTo>
                <a:lnTo>
                  <a:pt x="5495174" y="472818"/>
                </a:lnTo>
                <a:lnTo>
                  <a:pt x="5492244" y="469895"/>
                </a:lnTo>
                <a:lnTo>
                  <a:pt x="5492244" y="459068"/>
                </a:lnTo>
                <a:lnTo>
                  <a:pt x="5494957" y="457227"/>
                </a:lnTo>
                <a:lnTo>
                  <a:pt x="5496910" y="452896"/>
                </a:lnTo>
                <a:lnTo>
                  <a:pt x="5498755" y="453654"/>
                </a:lnTo>
                <a:lnTo>
                  <a:pt x="5499515" y="456036"/>
                </a:lnTo>
                <a:lnTo>
                  <a:pt x="5501143" y="456902"/>
                </a:lnTo>
                <a:lnTo>
                  <a:pt x="5504723" y="453330"/>
                </a:lnTo>
                <a:lnTo>
                  <a:pt x="5499298" y="448241"/>
                </a:lnTo>
                <a:lnTo>
                  <a:pt x="5505482" y="447375"/>
                </a:lnTo>
                <a:lnTo>
                  <a:pt x="5509607" y="450081"/>
                </a:lnTo>
                <a:lnTo>
                  <a:pt x="5513730" y="450948"/>
                </a:lnTo>
                <a:lnTo>
                  <a:pt x="5520566" y="445859"/>
                </a:lnTo>
                <a:lnTo>
                  <a:pt x="5525233" y="447483"/>
                </a:lnTo>
                <a:lnTo>
                  <a:pt x="5537930" y="442935"/>
                </a:lnTo>
                <a:lnTo>
                  <a:pt x="5543138" y="443801"/>
                </a:lnTo>
                <a:lnTo>
                  <a:pt x="5545092" y="447591"/>
                </a:lnTo>
                <a:lnTo>
                  <a:pt x="5540208" y="458418"/>
                </a:lnTo>
                <a:lnTo>
                  <a:pt x="5540208" y="461342"/>
                </a:lnTo>
                <a:lnTo>
                  <a:pt x="5545309" y="464915"/>
                </a:lnTo>
                <a:lnTo>
                  <a:pt x="5547154" y="458093"/>
                </a:lnTo>
                <a:lnTo>
                  <a:pt x="5551494" y="450839"/>
                </a:lnTo>
                <a:lnTo>
                  <a:pt x="5550409" y="446291"/>
                </a:lnTo>
                <a:lnTo>
                  <a:pt x="5551494" y="444343"/>
                </a:lnTo>
                <a:lnTo>
                  <a:pt x="5555292" y="448891"/>
                </a:lnTo>
                <a:lnTo>
                  <a:pt x="5556160" y="456252"/>
                </a:lnTo>
                <a:lnTo>
                  <a:pt x="5560176" y="456252"/>
                </a:lnTo>
                <a:lnTo>
                  <a:pt x="5562020" y="451056"/>
                </a:lnTo>
                <a:lnTo>
                  <a:pt x="5560176" y="445967"/>
                </a:lnTo>
                <a:lnTo>
                  <a:pt x="5563648" y="443260"/>
                </a:lnTo>
                <a:lnTo>
                  <a:pt x="5565601" y="443260"/>
                </a:lnTo>
                <a:lnTo>
                  <a:pt x="5566470" y="448349"/>
                </a:lnTo>
                <a:lnTo>
                  <a:pt x="5573523" y="443152"/>
                </a:lnTo>
                <a:lnTo>
                  <a:pt x="5574392" y="440228"/>
                </a:lnTo>
                <a:lnTo>
                  <a:pt x="5571136" y="436222"/>
                </a:lnTo>
                <a:lnTo>
                  <a:pt x="5576345" y="436222"/>
                </a:lnTo>
                <a:lnTo>
                  <a:pt x="5579058" y="433300"/>
                </a:lnTo>
                <a:lnTo>
                  <a:pt x="5573956" y="431459"/>
                </a:lnTo>
                <a:lnTo>
                  <a:pt x="5579382" y="426261"/>
                </a:lnTo>
                <a:lnTo>
                  <a:pt x="5585568" y="426261"/>
                </a:lnTo>
                <a:lnTo>
                  <a:pt x="5590017" y="423555"/>
                </a:lnTo>
                <a:lnTo>
                  <a:pt x="5592730" y="424638"/>
                </a:lnTo>
                <a:lnTo>
                  <a:pt x="5592730" y="427669"/>
                </a:lnTo>
                <a:lnTo>
                  <a:pt x="5594575" y="428968"/>
                </a:lnTo>
                <a:lnTo>
                  <a:pt x="5601954" y="429510"/>
                </a:lnTo>
                <a:lnTo>
                  <a:pt x="5601954" y="436222"/>
                </a:lnTo>
                <a:lnTo>
                  <a:pt x="5604667" y="439146"/>
                </a:lnTo>
                <a:lnTo>
                  <a:pt x="5600652" y="449973"/>
                </a:lnTo>
                <a:lnTo>
                  <a:pt x="5607380" y="446725"/>
                </a:lnTo>
                <a:lnTo>
                  <a:pt x="5612046" y="436764"/>
                </a:lnTo>
                <a:lnTo>
                  <a:pt x="5606620" y="427020"/>
                </a:lnTo>
                <a:lnTo>
                  <a:pt x="5600435" y="423230"/>
                </a:lnTo>
                <a:lnTo>
                  <a:pt x="5595878" y="416951"/>
                </a:lnTo>
                <a:lnTo>
                  <a:pt x="5590777" y="420198"/>
                </a:lnTo>
                <a:lnTo>
                  <a:pt x="5587847" y="418033"/>
                </a:lnTo>
                <a:lnTo>
                  <a:pt x="5582204" y="419116"/>
                </a:lnTo>
                <a:lnTo>
                  <a:pt x="5581119" y="415110"/>
                </a:lnTo>
                <a:lnTo>
                  <a:pt x="5576236" y="413486"/>
                </a:lnTo>
                <a:lnTo>
                  <a:pt x="5575368" y="411645"/>
                </a:lnTo>
                <a:lnTo>
                  <a:pt x="5578840" y="407856"/>
                </a:lnTo>
                <a:lnTo>
                  <a:pt x="5588607" y="407856"/>
                </a:lnTo>
                <a:lnTo>
                  <a:pt x="5591862" y="404283"/>
                </a:lnTo>
                <a:lnTo>
                  <a:pt x="5596203" y="404283"/>
                </a:lnTo>
                <a:lnTo>
                  <a:pt x="5600870" y="405366"/>
                </a:lnTo>
                <a:lnTo>
                  <a:pt x="5605536" y="403416"/>
                </a:lnTo>
                <a:lnTo>
                  <a:pt x="5608791" y="405582"/>
                </a:lnTo>
                <a:lnTo>
                  <a:pt x="5619643" y="401034"/>
                </a:lnTo>
                <a:lnTo>
                  <a:pt x="5625394" y="403958"/>
                </a:lnTo>
                <a:lnTo>
                  <a:pt x="5629083" y="403416"/>
                </a:lnTo>
                <a:lnTo>
                  <a:pt x="5633207" y="404283"/>
                </a:lnTo>
                <a:lnTo>
                  <a:pt x="5637222" y="401359"/>
                </a:lnTo>
                <a:lnTo>
                  <a:pt x="5635378" y="398436"/>
                </a:lnTo>
                <a:lnTo>
                  <a:pt x="5627782" y="398436"/>
                </a:lnTo>
                <a:lnTo>
                  <a:pt x="5620402" y="395404"/>
                </a:lnTo>
                <a:lnTo>
                  <a:pt x="5614434" y="397787"/>
                </a:lnTo>
                <a:lnTo>
                  <a:pt x="5605753" y="397028"/>
                </a:lnTo>
                <a:lnTo>
                  <a:pt x="5605753" y="391940"/>
                </a:lnTo>
                <a:lnTo>
                  <a:pt x="5603582" y="386202"/>
                </a:lnTo>
                <a:lnTo>
                  <a:pt x="5610419" y="381655"/>
                </a:lnTo>
                <a:lnTo>
                  <a:pt x="5603907" y="380247"/>
                </a:lnTo>
                <a:lnTo>
                  <a:pt x="5598482" y="373209"/>
                </a:lnTo>
                <a:lnTo>
                  <a:pt x="5593815" y="373209"/>
                </a:lnTo>
                <a:lnTo>
                  <a:pt x="5589258" y="367471"/>
                </a:lnTo>
                <a:lnTo>
                  <a:pt x="5588499" y="361733"/>
                </a:lnTo>
                <a:lnTo>
                  <a:pt x="5592839" y="361733"/>
                </a:lnTo>
                <a:lnTo>
                  <a:pt x="5592839" y="356103"/>
                </a:lnTo>
                <a:lnTo>
                  <a:pt x="5587087" y="350906"/>
                </a:lnTo>
                <a:lnTo>
                  <a:pt x="5587847" y="329251"/>
                </a:lnTo>
                <a:lnTo>
                  <a:pt x="5592947" y="323297"/>
                </a:lnTo>
                <a:lnTo>
                  <a:pt x="5591102" y="317558"/>
                </a:lnTo>
                <a:lnTo>
                  <a:pt x="5592188" y="309654"/>
                </a:lnTo>
                <a:lnTo>
                  <a:pt x="5596746" y="305107"/>
                </a:lnTo>
                <a:lnTo>
                  <a:pt x="5593707" y="300235"/>
                </a:lnTo>
                <a:lnTo>
                  <a:pt x="5598048" y="298935"/>
                </a:lnTo>
                <a:lnTo>
                  <a:pt x="5599133" y="294929"/>
                </a:lnTo>
                <a:close/>
                <a:moveTo>
                  <a:pt x="4790359" y="289083"/>
                </a:moveTo>
                <a:lnTo>
                  <a:pt x="4795785" y="293738"/>
                </a:lnTo>
                <a:lnTo>
                  <a:pt x="4804683" y="299045"/>
                </a:lnTo>
                <a:lnTo>
                  <a:pt x="4808481" y="297853"/>
                </a:lnTo>
                <a:lnTo>
                  <a:pt x="4812062" y="299152"/>
                </a:lnTo>
                <a:lnTo>
                  <a:pt x="4811086" y="301101"/>
                </a:lnTo>
                <a:lnTo>
                  <a:pt x="4808156" y="301425"/>
                </a:lnTo>
                <a:lnTo>
                  <a:pt x="4801970" y="304892"/>
                </a:lnTo>
                <a:lnTo>
                  <a:pt x="4801102" y="307922"/>
                </a:lnTo>
                <a:lnTo>
                  <a:pt x="4799148" y="312795"/>
                </a:lnTo>
                <a:lnTo>
                  <a:pt x="4795785" y="314852"/>
                </a:lnTo>
                <a:lnTo>
                  <a:pt x="4795785" y="317125"/>
                </a:lnTo>
                <a:lnTo>
                  <a:pt x="4799040" y="319941"/>
                </a:lnTo>
                <a:lnTo>
                  <a:pt x="4798823" y="322539"/>
                </a:lnTo>
                <a:lnTo>
                  <a:pt x="4795025" y="322864"/>
                </a:lnTo>
                <a:lnTo>
                  <a:pt x="4789708" y="319941"/>
                </a:lnTo>
                <a:lnTo>
                  <a:pt x="4786452" y="312253"/>
                </a:lnTo>
                <a:lnTo>
                  <a:pt x="4786669" y="305540"/>
                </a:lnTo>
                <a:lnTo>
                  <a:pt x="4781461" y="295796"/>
                </a:lnTo>
                <a:lnTo>
                  <a:pt x="4781786" y="291574"/>
                </a:lnTo>
                <a:lnTo>
                  <a:pt x="4783197" y="292007"/>
                </a:lnTo>
                <a:lnTo>
                  <a:pt x="4787429" y="290816"/>
                </a:lnTo>
                <a:close/>
                <a:moveTo>
                  <a:pt x="2047926" y="286700"/>
                </a:moveTo>
                <a:lnTo>
                  <a:pt x="2054654" y="289732"/>
                </a:lnTo>
                <a:lnTo>
                  <a:pt x="2058127" y="289082"/>
                </a:lnTo>
                <a:lnTo>
                  <a:pt x="2061274" y="290490"/>
                </a:lnTo>
                <a:lnTo>
                  <a:pt x="2061925" y="293630"/>
                </a:lnTo>
                <a:lnTo>
                  <a:pt x="2063770" y="296012"/>
                </a:lnTo>
                <a:lnTo>
                  <a:pt x="2061057" y="299585"/>
                </a:lnTo>
                <a:lnTo>
                  <a:pt x="2056716" y="301859"/>
                </a:lnTo>
                <a:lnTo>
                  <a:pt x="2052918" y="300018"/>
                </a:lnTo>
                <a:lnTo>
                  <a:pt x="2049554" y="300018"/>
                </a:lnTo>
                <a:lnTo>
                  <a:pt x="2047817" y="295470"/>
                </a:lnTo>
                <a:lnTo>
                  <a:pt x="2044671" y="291897"/>
                </a:lnTo>
                <a:lnTo>
                  <a:pt x="2041849" y="290923"/>
                </a:lnTo>
                <a:cubicBezTo>
                  <a:pt x="2041849" y="290923"/>
                  <a:pt x="2041849" y="289624"/>
                  <a:pt x="2041849" y="289624"/>
                </a:cubicBezTo>
                <a:lnTo>
                  <a:pt x="2045539" y="288758"/>
                </a:lnTo>
                <a:close/>
                <a:moveTo>
                  <a:pt x="4618793" y="285402"/>
                </a:moveTo>
                <a:lnTo>
                  <a:pt x="4629320" y="287135"/>
                </a:lnTo>
                <a:lnTo>
                  <a:pt x="4641583" y="294497"/>
                </a:lnTo>
                <a:lnTo>
                  <a:pt x="4647008" y="295797"/>
                </a:lnTo>
                <a:lnTo>
                  <a:pt x="4649938" y="299045"/>
                </a:lnTo>
                <a:lnTo>
                  <a:pt x="4647442" y="300451"/>
                </a:lnTo>
                <a:lnTo>
                  <a:pt x="4646574" y="302076"/>
                </a:lnTo>
                <a:lnTo>
                  <a:pt x="4641148" y="302833"/>
                </a:lnTo>
                <a:lnTo>
                  <a:pt x="4635831" y="300451"/>
                </a:lnTo>
                <a:lnTo>
                  <a:pt x="4633227" y="295363"/>
                </a:lnTo>
                <a:lnTo>
                  <a:pt x="4630188" y="294063"/>
                </a:lnTo>
                <a:lnTo>
                  <a:pt x="4627366" y="296772"/>
                </a:lnTo>
                <a:lnTo>
                  <a:pt x="4620530" y="297528"/>
                </a:lnTo>
                <a:lnTo>
                  <a:pt x="4616732" y="302293"/>
                </a:lnTo>
                <a:lnTo>
                  <a:pt x="4611740" y="306732"/>
                </a:lnTo>
                <a:lnTo>
                  <a:pt x="4613802" y="311387"/>
                </a:lnTo>
                <a:lnTo>
                  <a:pt x="4616515" y="312469"/>
                </a:lnTo>
                <a:lnTo>
                  <a:pt x="4619119" y="315502"/>
                </a:lnTo>
                <a:lnTo>
                  <a:pt x="4619879" y="322431"/>
                </a:lnTo>
                <a:lnTo>
                  <a:pt x="4622917" y="327520"/>
                </a:lnTo>
                <a:lnTo>
                  <a:pt x="4622049" y="330768"/>
                </a:lnTo>
                <a:lnTo>
                  <a:pt x="4618142" y="328278"/>
                </a:lnTo>
                <a:lnTo>
                  <a:pt x="4615647" y="321132"/>
                </a:lnTo>
                <a:lnTo>
                  <a:pt x="4612608" y="317883"/>
                </a:lnTo>
                <a:lnTo>
                  <a:pt x="4609787" y="320483"/>
                </a:lnTo>
                <a:lnTo>
                  <a:pt x="4609787" y="323081"/>
                </a:lnTo>
                <a:lnTo>
                  <a:pt x="4607724" y="326654"/>
                </a:lnTo>
                <a:lnTo>
                  <a:pt x="4605012" y="325138"/>
                </a:lnTo>
                <a:lnTo>
                  <a:pt x="4602733" y="321998"/>
                </a:lnTo>
                <a:lnTo>
                  <a:pt x="4598392" y="318750"/>
                </a:lnTo>
                <a:lnTo>
                  <a:pt x="4592641" y="322214"/>
                </a:lnTo>
                <a:lnTo>
                  <a:pt x="4588951" y="319618"/>
                </a:lnTo>
                <a:lnTo>
                  <a:pt x="4588626" y="307273"/>
                </a:lnTo>
                <a:lnTo>
                  <a:pt x="4594486" y="302076"/>
                </a:lnTo>
                <a:lnTo>
                  <a:pt x="4599803" y="300560"/>
                </a:lnTo>
                <a:lnTo>
                  <a:pt x="4603167" y="293846"/>
                </a:lnTo>
                <a:lnTo>
                  <a:pt x="4612066" y="285944"/>
                </a:lnTo>
                <a:close/>
                <a:moveTo>
                  <a:pt x="2294257" y="284643"/>
                </a:moveTo>
                <a:lnTo>
                  <a:pt x="2300660" y="286484"/>
                </a:lnTo>
                <a:lnTo>
                  <a:pt x="2307713" y="294929"/>
                </a:lnTo>
                <a:lnTo>
                  <a:pt x="2307171" y="299368"/>
                </a:lnTo>
                <a:lnTo>
                  <a:pt x="2307930" y="307163"/>
                </a:lnTo>
                <a:lnTo>
                  <a:pt x="2304675" y="307812"/>
                </a:lnTo>
                <a:lnTo>
                  <a:pt x="2299792" y="304890"/>
                </a:lnTo>
                <a:lnTo>
                  <a:pt x="2295451" y="306621"/>
                </a:lnTo>
                <a:lnTo>
                  <a:pt x="2292196" y="306621"/>
                </a:lnTo>
                <a:lnTo>
                  <a:pt x="2288723" y="300775"/>
                </a:lnTo>
                <a:lnTo>
                  <a:pt x="2283298" y="296445"/>
                </a:lnTo>
                <a:lnTo>
                  <a:pt x="2283949" y="290165"/>
                </a:lnTo>
                <a:lnTo>
                  <a:pt x="2286011" y="285509"/>
                </a:lnTo>
                <a:close/>
                <a:moveTo>
                  <a:pt x="2590075" y="279989"/>
                </a:moveTo>
                <a:lnTo>
                  <a:pt x="2594307" y="281829"/>
                </a:lnTo>
                <a:lnTo>
                  <a:pt x="2599190" y="286268"/>
                </a:lnTo>
                <a:lnTo>
                  <a:pt x="2597562" y="289409"/>
                </a:lnTo>
                <a:lnTo>
                  <a:pt x="2591160" y="289193"/>
                </a:lnTo>
                <a:lnTo>
                  <a:pt x="2587470" y="293090"/>
                </a:lnTo>
                <a:lnTo>
                  <a:pt x="2581068" y="293848"/>
                </a:lnTo>
                <a:lnTo>
                  <a:pt x="2577487" y="292765"/>
                </a:lnTo>
                <a:lnTo>
                  <a:pt x="2576619" y="290383"/>
                </a:lnTo>
                <a:lnTo>
                  <a:pt x="2582370" y="282803"/>
                </a:lnTo>
                <a:lnTo>
                  <a:pt x="2585408" y="282803"/>
                </a:lnTo>
                <a:close/>
                <a:moveTo>
                  <a:pt x="4784715" y="277498"/>
                </a:moveTo>
                <a:lnTo>
                  <a:pt x="4786994" y="279989"/>
                </a:lnTo>
                <a:lnTo>
                  <a:pt x="4786451" y="282912"/>
                </a:lnTo>
                <a:lnTo>
                  <a:pt x="4782762" y="285402"/>
                </a:lnTo>
                <a:lnTo>
                  <a:pt x="4779398" y="284753"/>
                </a:lnTo>
                <a:lnTo>
                  <a:pt x="4775926" y="281288"/>
                </a:lnTo>
                <a:lnTo>
                  <a:pt x="4779724" y="281288"/>
                </a:lnTo>
                <a:lnTo>
                  <a:pt x="4782003" y="278364"/>
                </a:lnTo>
                <a:close/>
                <a:moveTo>
                  <a:pt x="2233598" y="277065"/>
                </a:moveTo>
                <a:lnTo>
                  <a:pt x="2237071" y="279771"/>
                </a:lnTo>
                <a:lnTo>
                  <a:pt x="2237939" y="286160"/>
                </a:lnTo>
                <a:lnTo>
                  <a:pt x="2239350" y="289083"/>
                </a:lnTo>
                <a:lnTo>
                  <a:pt x="2235552" y="298178"/>
                </a:lnTo>
                <a:lnTo>
                  <a:pt x="2236203" y="302183"/>
                </a:lnTo>
                <a:lnTo>
                  <a:pt x="2233164" y="307273"/>
                </a:lnTo>
                <a:lnTo>
                  <a:pt x="2235552" y="310412"/>
                </a:lnTo>
                <a:lnTo>
                  <a:pt x="2231971" y="321889"/>
                </a:lnTo>
                <a:lnTo>
                  <a:pt x="2226219" y="325029"/>
                </a:lnTo>
                <a:lnTo>
                  <a:pt x="2220576" y="324162"/>
                </a:lnTo>
                <a:lnTo>
                  <a:pt x="2217429" y="317775"/>
                </a:lnTo>
                <a:lnTo>
                  <a:pt x="2219491" y="313444"/>
                </a:lnTo>
                <a:lnTo>
                  <a:pt x="2220902" y="307164"/>
                </a:lnTo>
                <a:lnTo>
                  <a:pt x="2221119" y="302292"/>
                </a:lnTo>
                <a:lnTo>
                  <a:pt x="2226219" y="298394"/>
                </a:lnTo>
                <a:lnTo>
                  <a:pt x="2226436" y="295254"/>
                </a:lnTo>
                <a:lnTo>
                  <a:pt x="2227738" y="293738"/>
                </a:lnTo>
                <a:lnTo>
                  <a:pt x="2227738" y="290600"/>
                </a:lnTo>
                <a:lnTo>
                  <a:pt x="2231211" y="283886"/>
                </a:lnTo>
                <a:lnTo>
                  <a:pt x="2231211" y="279231"/>
                </a:lnTo>
                <a:close/>
                <a:moveTo>
                  <a:pt x="4758130" y="273493"/>
                </a:moveTo>
                <a:lnTo>
                  <a:pt x="4761711" y="274467"/>
                </a:lnTo>
                <a:lnTo>
                  <a:pt x="4763881" y="277066"/>
                </a:lnTo>
                <a:lnTo>
                  <a:pt x="4768222" y="278797"/>
                </a:lnTo>
                <a:lnTo>
                  <a:pt x="4768222" y="282478"/>
                </a:lnTo>
                <a:lnTo>
                  <a:pt x="4765943" y="284645"/>
                </a:lnTo>
                <a:lnTo>
                  <a:pt x="4760843" y="284645"/>
                </a:lnTo>
                <a:lnTo>
                  <a:pt x="4757804" y="283345"/>
                </a:lnTo>
                <a:lnTo>
                  <a:pt x="4755200" y="286592"/>
                </a:lnTo>
                <a:lnTo>
                  <a:pt x="4751727" y="286810"/>
                </a:lnTo>
                <a:lnTo>
                  <a:pt x="4749123" y="284969"/>
                </a:lnTo>
                <a:lnTo>
                  <a:pt x="4748689" y="279880"/>
                </a:lnTo>
                <a:lnTo>
                  <a:pt x="4752704" y="275009"/>
                </a:lnTo>
                <a:close/>
                <a:moveTo>
                  <a:pt x="2078962" y="271109"/>
                </a:moveTo>
                <a:lnTo>
                  <a:pt x="2076683" y="274574"/>
                </a:lnTo>
                <a:lnTo>
                  <a:pt x="2073861" y="275873"/>
                </a:lnTo>
                <a:lnTo>
                  <a:pt x="2071908" y="274574"/>
                </a:lnTo>
                <a:lnTo>
                  <a:pt x="2073427" y="271651"/>
                </a:lnTo>
                <a:close/>
                <a:moveTo>
                  <a:pt x="4739138" y="268514"/>
                </a:moveTo>
                <a:lnTo>
                  <a:pt x="4741416" y="273060"/>
                </a:lnTo>
                <a:lnTo>
                  <a:pt x="4743912" y="273060"/>
                </a:lnTo>
                <a:lnTo>
                  <a:pt x="4745106" y="271760"/>
                </a:lnTo>
                <a:lnTo>
                  <a:pt x="4747710" y="272519"/>
                </a:lnTo>
                <a:lnTo>
                  <a:pt x="4748795" y="275009"/>
                </a:lnTo>
                <a:lnTo>
                  <a:pt x="4747601" y="277714"/>
                </a:lnTo>
                <a:lnTo>
                  <a:pt x="4737727" y="281938"/>
                </a:lnTo>
                <a:cubicBezTo>
                  <a:pt x="4736735" y="281535"/>
                  <a:pt x="4735789" y="281026"/>
                  <a:pt x="4734905" y="280422"/>
                </a:cubicBezTo>
                <a:lnTo>
                  <a:pt x="4732084" y="278473"/>
                </a:lnTo>
                <a:lnTo>
                  <a:pt x="4727092" y="278473"/>
                </a:lnTo>
                <a:lnTo>
                  <a:pt x="4723946" y="274792"/>
                </a:lnTo>
                <a:lnTo>
                  <a:pt x="4723946" y="272519"/>
                </a:lnTo>
                <a:lnTo>
                  <a:pt x="4726659" y="270895"/>
                </a:lnTo>
                <a:lnTo>
                  <a:pt x="4731650" y="269378"/>
                </a:lnTo>
                <a:lnTo>
                  <a:pt x="4737184" y="270029"/>
                </a:lnTo>
                <a:close/>
                <a:moveTo>
                  <a:pt x="2318784" y="267753"/>
                </a:moveTo>
                <a:lnTo>
                  <a:pt x="2320086" y="269161"/>
                </a:lnTo>
                <a:lnTo>
                  <a:pt x="2318784" y="272517"/>
                </a:lnTo>
                <a:lnTo>
                  <a:pt x="2316504" y="272625"/>
                </a:lnTo>
                <a:lnTo>
                  <a:pt x="2315311" y="271327"/>
                </a:lnTo>
                <a:lnTo>
                  <a:pt x="2316179" y="269378"/>
                </a:lnTo>
                <a:close/>
                <a:moveTo>
                  <a:pt x="4674138" y="267538"/>
                </a:moveTo>
                <a:lnTo>
                  <a:pt x="4674789" y="269270"/>
                </a:lnTo>
                <a:lnTo>
                  <a:pt x="4674246" y="275117"/>
                </a:lnTo>
                <a:lnTo>
                  <a:pt x="4672184" y="280747"/>
                </a:lnTo>
                <a:lnTo>
                  <a:pt x="4668820" y="283777"/>
                </a:lnTo>
                <a:lnTo>
                  <a:pt x="4667627" y="288217"/>
                </a:lnTo>
                <a:lnTo>
                  <a:pt x="4667952" y="290599"/>
                </a:lnTo>
                <a:lnTo>
                  <a:pt x="4670448" y="289192"/>
                </a:lnTo>
                <a:lnTo>
                  <a:pt x="4673595" y="284319"/>
                </a:lnTo>
                <a:lnTo>
                  <a:pt x="4678804" y="281722"/>
                </a:lnTo>
                <a:lnTo>
                  <a:pt x="4680865" y="282046"/>
                </a:lnTo>
                <a:lnTo>
                  <a:pt x="4681951" y="286269"/>
                </a:lnTo>
                <a:lnTo>
                  <a:pt x="4686617" y="289409"/>
                </a:lnTo>
                <a:lnTo>
                  <a:pt x="4686943" y="291683"/>
                </a:lnTo>
                <a:lnTo>
                  <a:pt x="4689547" y="296446"/>
                </a:lnTo>
                <a:lnTo>
                  <a:pt x="4689113" y="298286"/>
                </a:lnTo>
                <a:lnTo>
                  <a:pt x="4685858" y="300451"/>
                </a:lnTo>
                <a:lnTo>
                  <a:pt x="4681517" y="305107"/>
                </a:lnTo>
                <a:lnTo>
                  <a:pt x="4678479" y="306190"/>
                </a:lnTo>
                <a:lnTo>
                  <a:pt x="4675874" y="305433"/>
                </a:lnTo>
                <a:lnTo>
                  <a:pt x="4675114" y="303700"/>
                </a:lnTo>
                <a:lnTo>
                  <a:pt x="4672619" y="303267"/>
                </a:lnTo>
                <a:lnTo>
                  <a:pt x="4670665" y="304998"/>
                </a:lnTo>
                <a:lnTo>
                  <a:pt x="4670556" y="309980"/>
                </a:lnTo>
                <a:lnTo>
                  <a:pt x="4671533" y="311387"/>
                </a:lnTo>
                <a:lnTo>
                  <a:pt x="4674355" y="311605"/>
                </a:lnTo>
                <a:lnTo>
                  <a:pt x="4675874" y="314636"/>
                </a:lnTo>
                <a:lnTo>
                  <a:pt x="4677285" y="315935"/>
                </a:lnTo>
                <a:lnTo>
                  <a:pt x="4677285" y="317883"/>
                </a:lnTo>
                <a:lnTo>
                  <a:pt x="4675440" y="319074"/>
                </a:lnTo>
                <a:lnTo>
                  <a:pt x="4668278" y="320698"/>
                </a:lnTo>
                <a:lnTo>
                  <a:pt x="4664263" y="320373"/>
                </a:lnTo>
                <a:lnTo>
                  <a:pt x="4659379" y="322646"/>
                </a:lnTo>
                <a:lnTo>
                  <a:pt x="4660030" y="324596"/>
                </a:lnTo>
                <a:lnTo>
                  <a:pt x="4663828" y="328386"/>
                </a:lnTo>
                <a:lnTo>
                  <a:pt x="4664696" y="334773"/>
                </a:lnTo>
                <a:lnTo>
                  <a:pt x="4663612" y="341161"/>
                </a:lnTo>
                <a:lnTo>
                  <a:pt x="4660247" y="343111"/>
                </a:lnTo>
                <a:lnTo>
                  <a:pt x="4658186" y="341594"/>
                </a:lnTo>
                <a:lnTo>
                  <a:pt x="4657317" y="343760"/>
                </a:lnTo>
                <a:lnTo>
                  <a:pt x="4657643" y="347224"/>
                </a:lnTo>
                <a:lnTo>
                  <a:pt x="4655364" y="351121"/>
                </a:lnTo>
                <a:lnTo>
                  <a:pt x="4652651" y="352963"/>
                </a:lnTo>
                <a:lnTo>
                  <a:pt x="4650481" y="352855"/>
                </a:lnTo>
                <a:lnTo>
                  <a:pt x="4650156" y="343868"/>
                </a:lnTo>
                <a:lnTo>
                  <a:pt x="4646575" y="339755"/>
                </a:lnTo>
                <a:lnTo>
                  <a:pt x="4643970" y="339755"/>
                </a:lnTo>
                <a:lnTo>
                  <a:pt x="4643645" y="344734"/>
                </a:lnTo>
                <a:lnTo>
                  <a:pt x="4641583" y="348199"/>
                </a:lnTo>
                <a:lnTo>
                  <a:pt x="4637567" y="347984"/>
                </a:lnTo>
                <a:lnTo>
                  <a:pt x="4634312" y="349498"/>
                </a:lnTo>
                <a:lnTo>
                  <a:pt x="4633118" y="346791"/>
                </a:lnTo>
                <a:lnTo>
                  <a:pt x="4634095" y="344086"/>
                </a:lnTo>
                <a:lnTo>
                  <a:pt x="4631816" y="340296"/>
                </a:lnTo>
                <a:lnTo>
                  <a:pt x="4630188" y="328711"/>
                </a:lnTo>
                <a:lnTo>
                  <a:pt x="4634312" y="325353"/>
                </a:lnTo>
                <a:lnTo>
                  <a:pt x="4639847" y="325353"/>
                </a:lnTo>
                <a:lnTo>
                  <a:pt x="4642885" y="323731"/>
                </a:lnTo>
                <a:lnTo>
                  <a:pt x="4641040" y="321998"/>
                </a:lnTo>
                <a:lnTo>
                  <a:pt x="4637025" y="321347"/>
                </a:lnTo>
                <a:lnTo>
                  <a:pt x="4636049" y="315827"/>
                </a:lnTo>
                <a:lnTo>
                  <a:pt x="4632250" y="313227"/>
                </a:lnTo>
                <a:lnTo>
                  <a:pt x="4628995" y="316368"/>
                </a:lnTo>
                <a:lnTo>
                  <a:pt x="4624980" y="315502"/>
                </a:lnTo>
                <a:lnTo>
                  <a:pt x="4625197" y="311605"/>
                </a:lnTo>
                <a:lnTo>
                  <a:pt x="4626173" y="309113"/>
                </a:lnTo>
                <a:lnTo>
                  <a:pt x="4626390" y="305864"/>
                </a:lnTo>
                <a:lnTo>
                  <a:pt x="4628778" y="303809"/>
                </a:lnTo>
                <a:lnTo>
                  <a:pt x="4631165" y="306623"/>
                </a:lnTo>
                <a:lnTo>
                  <a:pt x="4636157" y="308789"/>
                </a:lnTo>
                <a:lnTo>
                  <a:pt x="4639955" y="308139"/>
                </a:lnTo>
                <a:lnTo>
                  <a:pt x="4644513" y="310305"/>
                </a:lnTo>
                <a:lnTo>
                  <a:pt x="4648419" y="307922"/>
                </a:lnTo>
                <a:lnTo>
                  <a:pt x="4651892" y="302941"/>
                </a:lnTo>
                <a:lnTo>
                  <a:pt x="4655364" y="302076"/>
                </a:lnTo>
                <a:lnTo>
                  <a:pt x="4656992" y="298827"/>
                </a:lnTo>
                <a:lnTo>
                  <a:pt x="4656341" y="293739"/>
                </a:lnTo>
                <a:lnTo>
                  <a:pt x="4659814" y="290383"/>
                </a:lnTo>
                <a:lnTo>
                  <a:pt x="4663395" y="289083"/>
                </a:lnTo>
                <a:lnTo>
                  <a:pt x="4663612" y="286161"/>
                </a:lnTo>
                <a:lnTo>
                  <a:pt x="4661333" y="285185"/>
                </a:lnTo>
                <a:lnTo>
                  <a:pt x="4657643" y="285944"/>
                </a:lnTo>
                <a:lnTo>
                  <a:pt x="4656015" y="284645"/>
                </a:lnTo>
                <a:lnTo>
                  <a:pt x="4656015" y="280313"/>
                </a:lnTo>
                <a:lnTo>
                  <a:pt x="4659814" y="278797"/>
                </a:lnTo>
                <a:lnTo>
                  <a:pt x="4662092" y="273060"/>
                </a:lnTo>
                <a:lnTo>
                  <a:pt x="4663720" y="271110"/>
                </a:lnTo>
                <a:lnTo>
                  <a:pt x="4664913" y="273601"/>
                </a:lnTo>
                <a:lnTo>
                  <a:pt x="4663937" y="278256"/>
                </a:lnTo>
                <a:lnTo>
                  <a:pt x="4664371" y="280421"/>
                </a:lnTo>
                <a:lnTo>
                  <a:pt x="4665999" y="279880"/>
                </a:lnTo>
                <a:lnTo>
                  <a:pt x="4668820" y="273384"/>
                </a:lnTo>
                <a:close/>
                <a:moveTo>
                  <a:pt x="3671009" y="261257"/>
                </a:moveTo>
                <a:lnTo>
                  <a:pt x="3672637" y="263207"/>
                </a:lnTo>
                <a:lnTo>
                  <a:pt x="3672637" y="271218"/>
                </a:lnTo>
                <a:lnTo>
                  <a:pt x="3671552" y="274575"/>
                </a:lnTo>
                <a:cubicBezTo>
                  <a:pt x="3670920" y="274306"/>
                  <a:pt x="3670266" y="274088"/>
                  <a:pt x="3669598" y="273925"/>
                </a:cubicBezTo>
                <a:lnTo>
                  <a:pt x="3667103" y="268078"/>
                </a:lnTo>
                <a:lnTo>
                  <a:pt x="3668188" y="263531"/>
                </a:lnTo>
                <a:close/>
                <a:moveTo>
                  <a:pt x="2300878" y="256275"/>
                </a:moveTo>
                <a:lnTo>
                  <a:pt x="2305001" y="256384"/>
                </a:lnTo>
                <a:lnTo>
                  <a:pt x="2302180" y="258332"/>
                </a:lnTo>
                <a:lnTo>
                  <a:pt x="2301312" y="261364"/>
                </a:lnTo>
                <a:lnTo>
                  <a:pt x="2296320" y="264505"/>
                </a:lnTo>
                <a:lnTo>
                  <a:pt x="2293933" y="263855"/>
                </a:lnTo>
                <a:lnTo>
                  <a:pt x="2294801" y="259308"/>
                </a:lnTo>
                <a:close/>
                <a:moveTo>
                  <a:pt x="4781894" y="250756"/>
                </a:moveTo>
                <a:lnTo>
                  <a:pt x="4783955" y="251188"/>
                </a:lnTo>
                <a:lnTo>
                  <a:pt x="4786451" y="255194"/>
                </a:lnTo>
                <a:lnTo>
                  <a:pt x="4786994" y="258443"/>
                </a:lnTo>
                <a:lnTo>
                  <a:pt x="4785150" y="259633"/>
                </a:lnTo>
                <a:lnTo>
                  <a:pt x="4784498" y="262882"/>
                </a:lnTo>
                <a:lnTo>
                  <a:pt x="4782110" y="264722"/>
                </a:lnTo>
                <a:lnTo>
                  <a:pt x="4777879" y="264722"/>
                </a:lnTo>
                <a:lnTo>
                  <a:pt x="4776034" y="263314"/>
                </a:lnTo>
                <a:lnTo>
                  <a:pt x="4776143" y="260067"/>
                </a:lnTo>
                <a:lnTo>
                  <a:pt x="4777879" y="258118"/>
                </a:lnTo>
                <a:lnTo>
                  <a:pt x="4779506" y="252813"/>
                </a:lnTo>
                <a:close/>
                <a:moveTo>
                  <a:pt x="4725139" y="249456"/>
                </a:moveTo>
                <a:lnTo>
                  <a:pt x="4736316" y="249674"/>
                </a:lnTo>
                <a:lnTo>
                  <a:pt x="4740223" y="251730"/>
                </a:lnTo>
                <a:lnTo>
                  <a:pt x="4746300" y="251514"/>
                </a:lnTo>
                <a:lnTo>
                  <a:pt x="4749230" y="253788"/>
                </a:lnTo>
                <a:lnTo>
                  <a:pt x="4751617" y="254004"/>
                </a:lnTo>
                <a:lnTo>
                  <a:pt x="4758996" y="259525"/>
                </a:lnTo>
                <a:lnTo>
                  <a:pt x="4766484" y="261908"/>
                </a:lnTo>
                <a:lnTo>
                  <a:pt x="4770607" y="261908"/>
                </a:lnTo>
                <a:lnTo>
                  <a:pt x="4773863" y="266563"/>
                </a:lnTo>
                <a:lnTo>
                  <a:pt x="4772778" y="273168"/>
                </a:lnTo>
                <a:lnTo>
                  <a:pt x="4770607" y="274467"/>
                </a:lnTo>
                <a:lnTo>
                  <a:pt x="4765941" y="272843"/>
                </a:lnTo>
                <a:lnTo>
                  <a:pt x="4759756" y="270136"/>
                </a:lnTo>
                <a:lnTo>
                  <a:pt x="4754221" y="271219"/>
                </a:lnTo>
                <a:lnTo>
                  <a:pt x="4748470" y="269810"/>
                </a:lnTo>
                <a:lnTo>
                  <a:pt x="4745974" y="264614"/>
                </a:lnTo>
                <a:lnTo>
                  <a:pt x="4743370" y="265697"/>
                </a:lnTo>
                <a:lnTo>
                  <a:pt x="4740766" y="265480"/>
                </a:lnTo>
                <a:lnTo>
                  <a:pt x="4738921" y="261366"/>
                </a:lnTo>
                <a:lnTo>
                  <a:pt x="4735123" y="257901"/>
                </a:lnTo>
                <a:lnTo>
                  <a:pt x="4732844" y="258226"/>
                </a:lnTo>
                <a:lnTo>
                  <a:pt x="4730240" y="261582"/>
                </a:lnTo>
                <a:lnTo>
                  <a:pt x="4723512" y="259092"/>
                </a:lnTo>
                <a:lnTo>
                  <a:pt x="4720473" y="257252"/>
                </a:lnTo>
                <a:lnTo>
                  <a:pt x="4721016" y="255194"/>
                </a:lnTo>
                <a:lnTo>
                  <a:pt x="4719931" y="251081"/>
                </a:lnTo>
                <a:close/>
                <a:moveTo>
                  <a:pt x="4665238" y="248266"/>
                </a:moveTo>
                <a:lnTo>
                  <a:pt x="4667191" y="248266"/>
                </a:lnTo>
                <a:lnTo>
                  <a:pt x="4667191" y="252705"/>
                </a:lnTo>
                <a:lnTo>
                  <a:pt x="4669362" y="255412"/>
                </a:lnTo>
                <a:lnTo>
                  <a:pt x="4668386" y="258876"/>
                </a:lnTo>
                <a:lnTo>
                  <a:pt x="4662200" y="258876"/>
                </a:lnTo>
                <a:cubicBezTo>
                  <a:pt x="4661809" y="258468"/>
                  <a:pt x="4661447" y="258034"/>
                  <a:pt x="4661115" y="257578"/>
                </a:cubicBezTo>
                <a:lnTo>
                  <a:pt x="4662092" y="252271"/>
                </a:lnTo>
                <a:close/>
                <a:moveTo>
                  <a:pt x="5635919" y="245018"/>
                </a:moveTo>
                <a:lnTo>
                  <a:pt x="5639174" y="245884"/>
                </a:lnTo>
                <a:lnTo>
                  <a:pt x="5641020" y="251405"/>
                </a:lnTo>
                <a:lnTo>
                  <a:pt x="5638415" y="256060"/>
                </a:lnTo>
                <a:lnTo>
                  <a:pt x="5635160" y="253138"/>
                </a:lnTo>
                <a:lnTo>
                  <a:pt x="5632664" y="256060"/>
                </a:lnTo>
                <a:lnTo>
                  <a:pt x="5626262" y="256927"/>
                </a:lnTo>
                <a:lnTo>
                  <a:pt x="5619208" y="256385"/>
                </a:lnTo>
                <a:lnTo>
                  <a:pt x="5618991" y="253678"/>
                </a:lnTo>
                <a:lnTo>
                  <a:pt x="5621270" y="250214"/>
                </a:lnTo>
                <a:lnTo>
                  <a:pt x="5627456" y="250864"/>
                </a:lnTo>
                <a:lnTo>
                  <a:pt x="5630168" y="246209"/>
                </a:lnTo>
                <a:lnTo>
                  <a:pt x="5634292" y="246425"/>
                </a:lnTo>
                <a:close/>
                <a:moveTo>
                  <a:pt x="3666778" y="245017"/>
                </a:moveTo>
                <a:lnTo>
                  <a:pt x="3668731" y="247074"/>
                </a:lnTo>
                <a:lnTo>
                  <a:pt x="3668405" y="251512"/>
                </a:lnTo>
                <a:lnTo>
                  <a:pt x="3667103" y="253137"/>
                </a:lnTo>
                <a:lnTo>
                  <a:pt x="3666560" y="258550"/>
                </a:lnTo>
                <a:lnTo>
                  <a:pt x="3662979" y="261798"/>
                </a:lnTo>
                <a:lnTo>
                  <a:pt x="3661460" y="260174"/>
                </a:lnTo>
                <a:lnTo>
                  <a:pt x="3661677" y="254652"/>
                </a:lnTo>
                <a:lnTo>
                  <a:pt x="3660592" y="251080"/>
                </a:lnTo>
                <a:lnTo>
                  <a:pt x="3663522" y="246099"/>
                </a:lnTo>
                <a:close/>
                <a:moveTo>
                  <a:pt x="2402124" y="242851"/>
                </a:moveTo>
                <a:lnTo>
                  <a:pt x="2406790" y="242959"/>
                </a:lnTo>
                <a:lnTo>
                  <a:pt x="2412650" y="250429"/>
                </a:lnTo>
                <a:lnTo>
                  <a:pt x="2414712" y="255734"/>
                </a:lnTo>
                <a:lnTo>
                  <a:pt x="2414170" y="259308"/>
                </a:lnTo>
                <a:lnTo>
                  <a:pt x="2415580" y="262448"/>
                </a:lnTo>
                <a:lnTo>
                  <a:pt x="2418293" y="263422"/>
                </a:lnTo>
                <a:lnTo>
                  <a:pt x="2418618" y="268619"/>
                </a:lnTo>
                <a:lnTo>
                  <a:pt x="2421440" y="270026"/>
                </a:lnTo>
                <a:lnTo>
                  <a:pt x="2421766" y="272625"/>
                </a:lnTo>
                <a:lnTo>
                  <a:pt x="2424044" y="277930"/>
                </a:lnTo>
                <a:lnTo>
                  <a:pt x="2428710" y="278363"/>
                </a:lnTo>
                <a:lnTo>
                  <a:pt x="2428710" y="280638"/>
                </a:lnTo>
                <a:lnTo>
                  <a:pt x="2430772" y="284752"/>
                </a:lnTo>
                <a:lnTo>
                  <a:pt x="2432834" y="293846"/>
                </a:lnTo>
                <a:lnTo>
                  <a:pt x="2427951" y="297528"/>
                </a:lnTo>
                <a:lnTo>
                  <a:pt x="2425238" y="300235"/>
                </a:lnTo>
                <a:lnTo>
                  <a:pt x="2420898" y="300018"/>
                </a:lnTo>
                <a:lnTo>
                  <a:pt x="2418185" y="301425"/>
                </a:lnTo>
                <a:lnTo>
                  <a:pt x="2420246" y="303483"/>
                </a:lnTo>
                <a:lnTo>
                  <a:pt x="2422851" y="303699"/>
                </a:lnTo>
                <a:lnTo>
                  <a:pt x="2424044" y="311061"/>
                </a:lnTo>
                <a:lnTo>
                  <a:pt x="2423176" y="315501"/>
                </a:lnTo>
                <a:lnTo>
                  <a:pt x="2414929" y="321022"/>
                </a:lnTo>
                <a:lnTo>
                  <a:pt x="2412433" y="323513"/>
                </a:lnTo>
                <a:lnTo>
                  <a:pt x="2409503" y="322971"/>
                </a:lnTo>
                <a:lnTo>
                  <a:pt x="2409177" y="319183"/>
                </a:lnTo>
                <a:lnTo>
                  <a:pt x="2407007" y="317450"/>
                </a:lnTo>
                <a:lnTo>
                  <a:pt x="2401473" y="321348"/>
                </a:lnTo>
                <a:lnTo>
                  <a:pt x="2397675" y="319615"/>
                </a:lnTo>
                <a:lnTo>
                  <a:pt x="2390947" y="321781"/>
                </a:lnTo>
                <a:lnTo>
                  <a:pt x="2387474" y="321348"/>
                </a:lnTo>
                <a:lnTo>
                  <a:pt x="2386824" y="316043"/>
                </a:lnTo>
                <a:lnTo>
                  <a:pt x="2383026" y="315718"/>
                </a:lnTo>
                <a:lnTo>
                  <a:pt x="2382158" y="318965"/>
                </a:lnTo>
                <a:lnTo>
                  <a:pt x="2377274" y="320698"/>
                </a:lnTo>
                <a:lnTo>
                  <a:pt x="2377165" y="315501"/>
                </a:lnTo>
                <a:lnTo>
                  <a:pt x="2379878" y="311928"/>
                </a:lnTo>
                <a:lnTo>
                  <a:pt x="2377491" y="309330"/>
                </a:lnTo>
                <a:lnTo>
                  <a:pt x="2377165" y="303916"/>
                </a:lnTo>
                <a:lnTo>
                  <a:pt x="2372825" y="301317"/>
                </a:lnTo>
                <a:lnTo>
                  <a:pt x="2374452" y="298178"/>
                </a:lnTo>
                <a:lnTo>
                  <a:pt x="2375972" y="294712"/>
                </a:lnTo>
                <a:lnTo>
                  <a:pt x="2381506" y="295471"/>
                </a:lnTo>
                <a:lnTo>
                  <a:pt x="2386281" y="299368"/>
                </a:lnTo>
                <a:lnTo>
                  <a:pt x="2388126" y="299585"/>
                </a:lnTo>
                <a:lnTo>
                  <a:pt x="2388668" y="295579"/>
                </a:lnTo>
                <a:lnTo>
                  <a:pt x="2383893" y="288432"/>
                </a:lnTo>
                <a:lnTo>
                  <a:pt x="2379227" y="285618"/>
                </a:lnTo>
                <a:lnTo>
                  <a:pt x="2378359" y="283020"/>
                </a:lnTo>
                <a:lnTo>
                  <a:pt x="2383026" y="282911"/>
                </a:lnTo>
                <a:lnTo>
                  <a:pt x="2380204" y="278255"/>
                </a:lnTo>
                <a:lnTo>
                  <a:pt x="2383242" y="273817"/>
                </a:lnTo>
                <a:lnTo>
                  <a:pt x="2383568" y="266237"/>
                </a:lnTo>
                <a:lnTo>
                  <a:pt x="2386064" y="259849"/>
                </a:lnTo>
                <a:lnTo>
                  <a:pt x="2389428" y="260174"/>
                </a:lnTo>
                <a:lnTo>
                  <a:pt x="2392683" y="257900"/>
                </a:lnTo>
                <a:lnTo>
                  <a:pt x="2393226" y="251079"/>
                </a:lnTo>
                <a:lnTo>
                  <a:pt x="2396265" y="247830"/>
                </a:lnTo>
                <a:close/>
                <a:moveTo>
                  <a:pt x="4747168" y="240688"/>
                </a:moveTo>
                <a:lnTo>
                  <a:pt x="4753571" y="241120"/>
                </a:lnTo>
                <a:lnTo>
                  <a:pt x="4761276" y="244694"/>
                </a:lnTo>
                <a:lnTo>
                  <a:pt x="4768329" y="251081"/>
                </a:lnTo>
                <a:lnTo>
                  <a:pt x="4771150" y="251081"/>
                </a:lnTo>
                <a:lnTo>
                  <a:pt x="4774080" y="248483"/>
                </a:lnTo>
                <a:lnTo>
                  <a:pt x="4775274" y="249999"/>
                </a:lnTo>
                <a:lnTo>
                  <a:pt x="4774189" y="253463"/>
                </a:lnTo>
                <a:lnTo>
                  <a:pt x="4772778" y="258984"/>
                </a:lnTo>
                <a:lnTo>
                  <a:pt x="4769414" y="260718"/>
                </a:lnTo>
                <a:lnTo>
                  <a:pt x="4765725" y="255736"/>
                </a:lnTo>
                <a:lnTo>
                  <a:pt x="4756501" y="249024"/>
                </a:lnTo>
                <a:lnTo>
                  <a:pt x="4748688" y="245885"/>
                </a:lnTo>
                <a:lnTo>
                  <a:pt x="4744022" y="245885"/>
                </a:lnTo>
                <a:lnTo>
                  <a:pt x="4741309" y="244044"/>
                </a:lnTo>
                <a:lnTo>
                  <a:pt x="4742502" y="242312"/>
                </a:lnTo>
                <a:close/>
                <a:moveTo>
                  <a:pt x="5618123" y="240036"/>
                </a:moveTo>
                <a:lnTo>
                  <a:pt x="5619317" y="242851"/>
                </a:lnTo>
                <a:lnTo>
                  <a:pt x="5616929" y="243611"/>
                </a:lnTo>
                <a:lnTo>
                  <a:pt x="5615194" y="246100"/>
                </a:lnTo>
                <a:lnTo>
                  <a:pt x="5617147" y="247399"/>
                </a:lnTo>
                <a:lnTo>
                  <a:pt x="5616929" y="249674"/>
                </a:lnTo>
                <a:lnTo>
                  <a:pt x="5613023" y="253246"/>
                </a:lnTo>
                <a:lnTo>
                  <a:pt x="5610419" y="254112"/>
                </a:lnTo>
                <a:lnTo>
                  <a:pt x="5608031" y="252271"/>
                </a:lnTo>
                <a:lnTo>
                  <a:pt x="5608899" y="248481"/>
                </a:lnTo>
                <a:lnTo>
                  <a:pt x="5611612" y="247616"/>
                </a:lnTo>
                <a:lnTo>
                  <a:pt x="5611070" y="245018"/>
                </a:lnTo>
                <a:lnTo>
                  <a:pt x="5614543" y="240577"/>
                </a:lnTo>
                <a:close/>
                <a:moveTo>
                  <a:pt x="4834308" y="238629"/>
                </a:moveTo>
                <a:lnTo>
                  <a:pt x="4836912" y="244692"/>
                </a:lnTo>
                <a:lnTo>
                  <a:pt x="4841361" y="247399"/>
                </a:lnTo>
                <a:lnTo>
                  <a:pt x="4845593" y="252596"/>
                </a:lnTo>
                <a:lnTo>
                  <a:pt x="4845593" y="255735"/>
                </a:lnTo>
                <a:lnTo>
                  <a:pt x="4841252" y="258226"/>
                </a:lnTo>
                <a:lnTo>
                  <a:pt x="4835718" y="258443"/>
                </a:lnTo>
                <a:lnTo>
                  <a:pt x="4831703" y="261150"/>
                </a:lnTo>
                <a:lnTo>
                  <a:pt x="4831268" y="264506"/>
                </a:lnTo>
                <a:lnTo>
                  <a:pt x="4834199" y="270354"/>
                </a:lnTo>
                <a:lnTo>
                  <a:pt x="4839299" y="272410"/>
                </a:lnTo>
                <a:lnTo>
                  <a:pt x="4842229" y="276957"/>
                </a:lnTo>
                <a:lnTo>
                  <a:pt x="4846027" y="280638"/>
                </a:lnTo>
                <a:lnTo>
                  <a:pt x="4846353" y="283886"/>
                </a:lnTo>
                <a:lnTo>
                  <a:pt x="4839299" y="285293"/>
                </a:lnTo>
                <a:lnTo>
                  <a:pt x="4834850" y="288325"/>
                </a:lnTo>
                <a:lnTo>
                  <a:pt x="4828990" y="288866"/>
                </a:lnTo>
                <a:lnTo>
                  <a:pt x="4821394" y="291790"/>
                </a:lnTo>
                <a:lnTo>
                  <a:pt x="4816945" y="292007"/>
                </a:lnTo>
                <a:lnTo>
                  <a:pt x="4811084" y="283886"/>
                </a:lnTo>
                <a:lnTo>
                  <a:pt x="4808154" y="276632"/>
                </a:lnTo>
                <a:lnTo>
                  <a:pt x="4808480" y="263424"/>
                </a:lnTo>
                <a:lnTo>
                  <a:pt x="4806744" y="258226"/>
                </a:lnTo>
                <a:lnTo>
                  <a:pt x="4806744" y="254112"/>
                </a:lnTo>
                <a:lnTo>
                  <a:pt x="4809890" y="252596"/>
                </a:lnTo>
                <a:lnTo>
                  <a:pt x="4812820" y="255194"/>
                </a:lnTo>
                <a:lnTo>
                  <a:pt x="4817270" y="254978"/>
                </a:lnTo>
                <a:lnTo>
                  <a:pt x="4823781" y="249456"/>
                </a:lnTo>
                <a:lnTo>
                  <a:pt x="4827145" y="249132"/>
                </a:lnTo>
                <a:lnTo>
                  <a:pt x="4828447" y="250539"/>
                </a:lnTo>
                <a:lnTo>
                  <a:pt x="4832788" y="247075"/>
                </a:lnTo>
                <a:lnTo>
                  <a:pt x="4832788" y="241770"/>
                </a:lnTo>
                <a:close/>
                <a:moveTo>
                  <a:pt x="2941017" y="237980"/>
                </a:moveTo>
                <a:lnTo>
                  <a:pt x="2944381" y="241335"/>
                </a:lnTo>
                <a:lnTo>
                  <a:pt x="2943839" y="246315"/>
                </a:lnTo>
                <a:lnTo>
                  <a:pt x="2940040" y="244583"/>
                </a:lnTo>
                <a:lnTo>
                  <a:pt x="2939389" y="241119"/>
                </a:lnTo>
                <a:lnTo>
                  <a:pt x="2936785" y="238736"/>
                </a:lnTo>
                <a:close/>
                <a:moveTo>
                  <a:pt x="3686311" y="236897"/>
                </a:moveTo>
                <a:lnTo>
                  <a:pt x="3687070" y="241444"/>
                </a:lnTo>
                <a:lnTo>
                  <a:pt x="3686311" y="244151"/>
                </a:lnTo>
                <a:lnTo>
                  <a:pt x="3687070" y="251730"/>
                </a:lnTo>
                <a:lnTo>
                  <a:pt x="3686202" y="256710"/>
                </a:lnTo>
                <a:lnTo>
                  <a:pt x="3683923" y="258552"/>
                </a:lnTo>
                <a:lnTo>
                  <a:pt x="3681536" y="251730"/>
                </a:lnTo>
                <a:lnTo>
                  <a:pt x="3683272" y="247399"/>
                </a:lnTo>
                <a:lnTo>
                  <a:pt x="3683163" y="243176"/>
                </a:lnTo>
                <a:lnTo>
                  <a:pt x="3682078" y="241553"/>
                </a:lnTo>
                <a:lnTo>
                  <a:pt x="3682513" y="238629"/>
                </a:lnTo>
                <a:close/>
                <a:moveTo>
                  <a:pt x="4768872" y="234516"/>
                </a:moveTo>
                <a:lnTo>
                  <a:pt x="4770717" y="234516"/>
                </a:lnTo>
                <a:lnTo>
                  <a:pt x="4772453" y="237981"/>
                </a:lnTo>
                <a:lnTo>
                  <a:pt x="4777879" y="237765"/>
                </a:lnTo>
                <a:lnTo>
                  <a:pt x="4781243" y="240688"/>
                </a:lnTo>
                <a:lnTo>
                  <a:pt x="4780809" y="245235"/>
                </a:lnTo>
                <a:lnTo>
                  <a:pt x="4776143" y="246534"/>
                </a:lnTo>
                <a:lnTo>
                  <a:pt x="4768872" y="242095"/>
                </a:lnTo>
                <a:lnTo>
                  <a:pt x="4767136" y="237656"/>
                </a:lnTo>
                <a:close/>
                <a:moveTo>
                  <a:pt x="6190549" y="233218"/>
                </a:moveTo>
                <a:lnTo>
                  <a:pt x="6193262" y="234191"/>
                </a:lnTo>
                <a:lnTo>
                  <a:pt x="6197385" y="237439"/>
                </a:lnTo>
                <a:lnTo>
                  <a:pt x="6201401" y="243611"/>
                </a:lnTo>
                <a:lnTo>
                  <a:pt x="6209865" y="244368"/>
                </a:lnTo>
                <a:lnTo>
                  <a:pt x="6213989" y="247399"/>
                </a:lnTo>
                <a:lnTo>
                  <a:pt x="6215182" y="253246"/>
                </a:lnTo>
                <a:lnTo>
                  <a:pt x="6220174" y="264831"/>
                </a:lnTo>
                <a:lnTo>
                  <a:pt x="6220500" y="270354"/>
                </a:lnTo>
                <a:lnTo>
                  <a:pt x="6217787" y="272193"/>
                </a:lnTo>
                <a:lnTo>
                  <a:pt x="6213229" y="269920"/>
                </a:lnTo>
                <a:lnTo>
                  <a:pt x="6209539" y="260175"/>
                </a:lnTo>
                <a:lnTo>
                  <a:pt x="6202811" y="250324"/>
                </a:lnTo>
                <a:lnTo>
                  <a:pt x="6196084" y="244043"/>
                </a:lnTo>
                <a:lnTo>
                  <a:pt x="6191526" y="237006"/>
                </a:lnTo>
                <a:close/>
                <a:moveTo>
                  <a:pt x="4817813" y="229969"/>
                </a:moveTo>
                <a:lnTo>
                  <a:pt x="4822154" y="230401"/>
                </a:lnTo>
                <a:lnTo>
                  <a:pt x="4824216" y="233975"/>
                </a:lnTo>
                <a:lnTo>
                  <a:pt x="4827688" y="236573"/>
                </a:lnTo>
                <a:lnTo>
                  <a:pt x="4827580" y="238847"/>
                </a:lnTo>
                <a:lnTo>
                  <a:pt x="4825084" y="241012"/>
                </a:lnTo>
                <a:lnTo>
                  <a:pt x="4822588" y="246751"/>
                </a:lnTo>
                <a:lnTo>
                  <a:pt x="4817379" y="248699"/>
                </a:lnTo>
                <a:lnTo>
                  <a:pt x="4812387" y="247508"/>
                </a:lnTo>
                <a:lnTo>
                  <a:pt x="4804357" y="241878"/>
                </a:lnTo>
                <a:lnTo>
                  <a:pt x="4803489" y="239171"/>
                </a:lnTo>
                <a:lnTo>
                  <a:pt x="4805225" y="235923"/>
                </a:lnTo>
                <a:lnTo>
                  <a:pt x="4811410" y="232134"/>
                </a:lnTo>
                <a:close/>
                <a:moveTo>
                  <a:pt x="4759864" y="226829"/>
                </a:moveTo>
                <a:lnTo>
                  <a:pt x="4763879" y="230943"/>
                </a:lnTo>
                <a:lnTo>
                  <a:pt x="4762685" y="233325"/>
                </a:lnTo>
                <a:lnTo>
                  <a:pt x="4761926" y="237439"/>
                </a:lnTo>
                <a:lnTo>
                  <a:pt x="4757368" y="237114"/>
                </a:lnTo>
                <a:lnTo>
                  <a:pt x="4754872" y="239064"/>
                </a:lnTo>
                <a:lnTo>
                  <a:pt x="4751617" y="237331"/>
                </a:lnTo>
                <a:lnTo>
                  <a:pt x="4754221" y="233218"/>
                </a:lnTo>
                <a:lnTo>
                  <a:pt x="4758670" y="230077"/>
                </a:lnTo>
                <a:close/>
                <a:moveTo>
                  <a:pt x="2049444" y="225960"/>
                </a:moveTo>
                <a:lnTo>
                  <a:pt x="2051831" y="227152"/>
                </a:lnTo>
                <a:lnTo>
                  <a:pt x="2052916" y="232997"/>
                </a:lnTo>
                <a:lnTo>
                  <a:pt x="2053893" y="235272"/>
                </a:lnTo>
                <a:lnTo>
                  <a:pt x="2052374" y="237653"/>
                </a:lnTo>
                <a:lnTo>
                  <a:pt x="2053242" y="247181"/>
                </a:lnTo>
                <a:lnTo>
                  <a:pt x="2054110" y="250863"/>
                </a:lnTo>
                <a:lnTo>
                  <a:pt x="2050095" y="256060"/>
                </a:lnTo>
                <a:lnTo>
                  <a:pt x="2047056" y="256601"/>
                </a:lnTo>
                <a:lnTo>
                  <a:pt x="2044127" y="255085"/>
                </a:lnTo>
                <a:lnTo>
                  <a:pt x="2039352" y="257576"/>
                </a:lnTo>
                <a:lnTo>
                  <a:pt x="2034686" y="257900"/>
                </a:lnTo>
                <a:lnTo>
                  <a:pt x="2029694" y="262448"/>
                </a:lnTo>
                <a:lnTo>
                  <a:pt x="2029477" y="265479"/>
                </a:lnTo>
                <a:lnTo>
                  <a:pt x="2033926" y="272625"/>
                </a:lnTo>
                <a:lnTo>
                  <a:pt x="2034252" y="275656"/>
                </a:lnTo>
                <a:lnTo>
                  <a:pt x="2032624" y="277713"/>
                </a:lnTo>
                <a:lnTo>
                  <a:pt x="2028934" y="276847"/>
                </a:lnTo>
                <a:lnTo>
                  <a:pt x="2024811" y="271325"/>
                </a:lnTo>
                <a:lnTo>
                  <a:pt x="2024160" y="273275"/>
                </a:lnTo>
                <a:lnTo>
                  <a:pt x="2023943" y="277931"/>
                </a:lnTo>
                <a:lnTo>
                  <a:pt x="2019710" y="284968"/>
                </a:lnTo>
                <a:lnTo>
                  <a:pt x="2017432" y="292980"/>
                </a:lnTo>
                <a:lnTo>
                  <a:pt x="2014610" y="297094"/>
                </a:lnTo>
                <a:lnTo>
                  <a:pt x="2007231" y="297202"/>
                </a:lnTo>
                <a:lnTo>
                  <a:pt x="2004410" y="300017"/>
                </a:lnTo>
                <a:lnTo>
                  <a:pt x="1999852" y="300017"/>
                </a:lnTo>
                <a:lnTo>
                  <a:pt x="1997573" y="297528"/>
                </a:lnTo>
                <a:lnTo>
                  <a:pt x="1995403" y="298935"/>
                </a:lnTo>
                <a:lnTo>
                  <a:pt x="1991713" y="298935"/>
                </a:lnTo>
                <a:lnTo>
                  <a:pt x="1989326" y="303049"/>
                </a:lnTo>
                <a:lnTo>
                  <a:pt x="1985745" y="305972"/>
                </a:lnTo>
                <a:lnTo>
                  <a:pt x="1986287" y="310628"/>
                </a:lnTo>
                <a:lnTo>
                  <a:pt x="1985093" y="314526"/>
                </a:lnTo>
                <a:lnTo>
                  <a:pt x="1980427" y="316800"/>
                </a:lnTo>
                <a:lnTo>
                  <a:pt x="1977932" y="319614"/>
                </a:lnTo>
                <a:lnTo>
                  <a:pt x="1973591" y="317774"/>
                </a:lnTo>
                <a:lnTo>
                  <a:pt x="1969793" y="316692"/>
                </a:lnTo>
                <a:lnTo>
                  <a:pt x="1970661" y="312577"/>
                </a:lnTo>
                <a:lnTo>
                  <a:pt x="1968600" y="308679"/>
                </a:lnTo>
                <a:lnTo>
                  <a:pt x="1968491" y="305755"/>
                </a:lnTo>
                <a:lnTo>
                  <a:pt x="1974784" y="296770"/>
                </a:lnTo>
                <a:lnTo>
                  <a:pt x="1978366" y="294604"/>
                </a:lnTo>
                <a:lnTo>
                  <a:pt x="1979017" y="292330"/>
                </a:lnTo>
                <a:lnTo>
                  <a:pt x="1982055" y="289298"/>
                </a:lnTo>
                <a:lnTo>
                  <a:pt x="1983140" y="283993"/>
                </a:lnTo>
                <a:lnTo>
                  <a:pt x="1989109" y="277605"/>
                </a:lnTo>
                <a:lnTo>
                  <a:pt x="1991279" y="269268"/>
                </a:lnTo>
                <a:lnTo>
                  <a:pt x="1989109" y="267645"/>
                </a:lnTo>
                <a:lnTo>
                  <a:pt x="1985093" y="271542"/>
                </a:lnTo>
                <a:lnTo>
                  <a:pt x="1982055" y="269052"/>
                </a:lnTo>
                <a:lnTo>
                  <a:pt x="1979559" y="270893"/>
                </a:lnTo>
                <a:lnTo>
                  <a:pt x="1975002" y="271542"/>
                </a:lnTo>
                <a:lnTo>
                  <a:pt x="1974568" y="275982"/>
                </a:lnTo>
                <a:lnTo>
                  <a:pt x="1971963" y="282261"/>
                </a:lnTo>
                <a:lnTo>
                  <a:pt x="1963825" y="287458"/>
                </a:lnTo>
                <a:lnTo>
                  <a:pt x="1961003" y="282695"/>
                </a:lnTo>
                <a:lnTo>
                  <a:pt x="1958941" y="286809"/>
                </a:lnTo>
                <a:lnTo>
                  <a:pt x="1959809" y="291464"/>
                </a:lnTo>
                <a:lnTo>
                  <a:pt x="1958724" y="296553"/>
                </a:lnTo>
                <a:lnTo>
                  <a:pt x="1953624" y="303157"/>
                </a:lnTo>
                <a:lnTo>
                  <a:pt x="1950151" y="304239"/>
                </a:lnTo>
                <a:lnTo>
                  <a:pt x="1948958" y="306514"/>
                </a:lnTo>
                <a:lnTo>
                  <a:pt x="1948741" y="311494"/>
                </a:lnTo>
                <a:lnTo>
                  <a:pt x="1944292" y="316474"/>
                </a:lnTo>
                <a:lnTo>
                  <a:pt x="1942230" y="316474"/>
                </a:lnTo>
                <a:lnTo>
                  <a:pt x="1940385" y="311927"/>
                </a:lnTo>
                <a:lnTo>
                  <a:pt x="1941687" y="306296"/>
                </a:lnTo>
                <a:lnTo>
                  <a:pt x="1940819" y="303266"/>
                </a:lnTo>
                <a:lnTo>
                  <a:pt x="1942121" y="299151"/>
                </a:lnTo>
                <a:lnTo>
                  <a:pt x="1940385" y="297743"/>
                </a:lnTo>
                <a:lnTo>
                  <a:pt x="1938323" y="299368"/>
                </a:lnTo>
                <a:lnTo>
                  <a:pt x="1937889" y="305107"/>
                </a:lnTo>
                <a:lnTo>
                  <a:pt x="1934851" y="309004"/>
                </a:lnTo>
                <a:lnTo>
                  <a:pt x="1932029" y="309112"/>
                </a:lnTo>
                <a:lnTo>
                  <a:pt x="1932355" y="314417"/>
                </a:lnTo>
                <a:lnTo>
                  <a:pt x="1929425" y="318749"/>
                </a:lnTo>
                <a:lnTo>
                  <a:pt x="1926495" y="318315"/>
                </a:lnTo>
                <a:lnTo>
                  <a:pt x="1923457" y="322321"/>
                </a:lnTo>
                <a:lnTo>
                  <a:pt x="1915643" y="326977"/>
                </a:lnTo>
                <a:lnTo>
                  <a:pt x="1914016" y="326761"/>
                </a:lnTo>
                <a:lnTo>
                  <a:pt x="1913690" y="323296"/>
                </a:lnTo>
                <a:lnTo>
                  <a:pt x="1910651" y="322863"/>
                </a:lnTo>
                <a:lnTo>
                  <a:pt x="1908264" y="325461"/>
                </a:lnTo>
                <a:lnTo>
                  <a:pt x="1906202" y="322538"/>
                </a:lnTo>
                <a:lnTo>
                  <a:pt x="1907830" y="318532"/>
                </a:lnTo>
                <a:lnTo>
                  <a:pt x="1910868" y="315825"/>
                </a:lnTo>
                <a:lnTo>
                  <a:pt x="1909023" y="312252"/>
                </a:lnTo>
                <a:lnTo>
                  <a:pt x="1911845" y="306514"/>
                </a:lnTo>
                <a:lnTo>
                  <a:pt x="1916186" y="303915"/>
                </a:lnTo>
                <a:lnTo>
                  <a:pt x="1916403" y="300233"/>
                </a:lnTo>
                <a:lnTo>
                  <a:pt x="1913907" y="299151"/>
                </a:lnTo>
                <a:lnTo>
                  <a:pt x="1908481" y="301641"/>
                </a:lnTo>
                <a:lnTo>
                  <a:pt x="1905877" y="302074"/>
                </a:lnTo>
                <a:lnTo>
                  <a:pt x="1903815" y="308354"/>
                </a:lnTo>
                <a:lnTo>
                  <a:pt x="1902621" y="309004"/>
                </a:lnTo>
                <a:lnTo>
                  <a:pt x="1902295" y="313660"/>
                </a:lnTo>
                <a:lnTo>
                  <a:pt x="1900234" y="315500"/>
                </a:lnTo>
                <a:lnTo>
                  <a:pt x="1896002" y="313443"/>
                </a:lnTo>
                <a:lnTo>
                  <a:pt x="1895567" y="308463"/>
                </a:lnTo>
                <a:lnTo>
                  <a:pt x="1892204" y="302616"/>
                </a:lnTo>
                <a:lnTo>
                  <a:pt x="1887863" y="300233"/>
                </a:lnTo>
                <a:lnTo>
                  <a:pt x="1884390" y="301425"/>
                </a:lnTo>
                <a:lnTo>
                  <a:pt x="1882545" y="305432"/>
                </a:lnTo>
                <a:lnTo>
                  <a:pt x="1877662" y="306296"/>
                </a:lnTo>
                <a:lnTo>
                  <a:pt x="1872671" y="304673"/>
                </a:lnTo>
                <a:lnTo>
                  <a:pt x="1872671" y="302508"/>
                </a:lnTo>
                <a:lnTo>
                  <a:pt x="1879399" y="300017"/>
                </a:lnTo>
                <a:lnTo>
                  <a:pt x="1880592" y="296986"/>
                </a:lnTo>
                <a:lnTo>
                  <a:pt x="1877662" y="294280"/>
                </a:lnTo>
                <a:lnTo>
                  <a:pt x="1878856" y="292005"/>
                </a:lnTo>
                <a:lnTo>
                  <a:pt x="1882654" y="291464"/>
                </a:lnTo>
                <a:lnTo>
                  <a:pt x="1880809" y="289407"/>
                </a:lnTo>
                <a:lnTo>
                  <a:pt x="1876361" y="289623"/>
                </a:lnTo>
                <a:lnTo>
                  <a:pt x="1878856" y="284643"/>
                </a:lnTo>
                <a:lnTo>
                  <a:pt x="1885258" y="283019"/>
                </a:lnTo>
                <a:lnTo>
                  <a:pt x="1889056" y="282910"/>
                </a:lnTo>
                <a:lnTo>
                  <a:pt x="1893723" y="275656"/>
                </a:lnTo>
                <a:lnTo>
                  <a:pt x="1904792" y="273817"/>
                </a:lnTo>
                <a:lnTo>
                  <a:pt x="1909241" y="271542"/>
                </a:lnTo>
                <a:lnTo>
                  <a:pt x="1914666" y="273382"/>
                </a:lnTo>
                <a:lnTo>
                  <a:pt x="1919875" y="270352"/>
                </a:lnTo>
                <a:lnTo>
                  <a:pt x="1927797" y="264180"/>
                </a:lnTo>
                <a:lnTo>
                  <a:pt x="1931053" y="264180"/>
                </a:lnTo>
                <a:lnTo>
                  <a:pt x="1933548" y="262123"/>
                </a:lnTo>
                <a:lnTo>
                  <a:pt x="1938106" y="262989"/>
                </a:lnTo>
                <a:lnTo>
                  <a:pt x="1940385" y="261257"/>
                </a:lnTo>
                <a:lnTo>
                  <a:pt x="1948306" y="261257"/>
                </a:lnTo>
                <a:lnTo>
                  <a:pt x="1948958" y="258117"/>
                </a:lnTo>
                <a:lnTo>
                  <a:pt x="1952864" y="255085"/>
                </a:lnTo>
                <a:lnTo>
                  <a:pt x="1956988" y="254219"/>
                </a:lnTo>
                <a:lnTo>
                  <a:pt x="1962957" y="249888"/>
                </a:lnTo>
                <a:lnTo>
                  <a:pt x="1966971" y="249564"/>
                </a:lnTo>
                <a:lnTo>
                  <a:pt x="1970336" y="246640"/>
                </a:lnTo>
                <a:lnTo>
                  <a:pt x="1981730" y="237870"/>
                </a:lnTo>
                <a:lnTo>
                  <a:pt x="1984551" y="237870"/>
                </a:lnTo>
                <a:lnTo>
                  <a:pt x="1986396" y="238736"/>
                </a:lnTo>
                <a:lnTo>
                  <a:pt x="1988783" y="235813"/>
                </a:lnTo>
                <a:lnTo>
                  <a:pt x="1990194" y="231158"/>
                </a:lnTo>
                <a:lnTo>
                  <a:pt x="1995511" y="228559"/>
                </a:lnTo>
                <a:lnTo>
                  <a:pt x="2005820" y="229642"/>
                </a:lnTo>
                <a:lnTo>
                  <a:pt x="2008968" y="228884"/>
                </a:lnTo>
                <a:lnTo>
                  <a:pt x="2013959" y="230940"/>
                </a:lnTo>
                <a:lnTo>
                  <a:pt x="2019277" y="231158"/>
                </a:lnTo>
                <a:lnTo>
                  <a:pt x="2021012" y="229101"/>
                </a:lnTo>
                <a:lnTo>
                  <a:pt x="2023400" y="229101"/>
                </a:lnTo>
                <a:lnTo>
                  <a:pt x="2027958" y="233864"/>
                </a:lnTo>
                <a:lnTo>
                  <a:pt x="2028826" y="240794"/>
                </a:lnTo>
                <a:lnTo>
                  <a:pt x="2031213" y="244041"/>
                </a:lnTo>
                <a:lnTo>
                  <a:pt x="2032733" y="242093"/>
                </a:lnTo>
                <a:lnTo>
                  <a:pt x="2033384" y="239169"/>
                </a:lnTo>
                <a:lnTo>
                  <a:pt x="2034794" y="239061"/>
                </a:lnTo>
                <a:lnTo>
                  <a:pt x="2036205" y="243500"/>
                </a:lnTo>
                <a:lnTo>
                  <a:pt x="2040329" y="242634"/>
                </a:lnTo>
                <a:lnTo>
                  <a:pt x="2039460" y="239711"/>
                </a:lnTo>
                <a:lnTo>
                  <a:pt x="2040003" y="236462"/>
                </a:lnTo>
                <a:lnTo>
                  <a:pt x="2040329" y="230291"/>
                </a:lnTo>
                <a:lnTo>
                  <a:pt x="2045863" y="227693"/>
                </a:lnTo>
                <a:close/>
                <a:moveTo>
                  <a:pt x="2133762" y="225853"/>
                </a:moveTo>
                <a:lnTo>
                  <a:pt x="2136259" y="227694"/>
                </a:lnTo>
                <a:lnTo>
                  <a:pt x="2140599" y="227694"/>
                </a:lnTo>
                <a:lnTo>
                  <a:pt x="2144072" y="229427"/>
                </a:lnTo>
                <a:lnTo>
                  <a:pt x="2149171" y="229427"/>
                </a:lnTo>
                <a:lnTo>
                  <a:pt x="2151993" y="228344"/>
                </a:lnTo>
                <a:lnTo>
                  <a:pt x="2159264" y="229968"/>
                </a:lnTo>
                <a:lnTo>
                  <a:pt x="2159698" y="231700"/>
                </a:lnTo>
                <a:lnTo>
                  <a:pt x="2166643" y="231267"/>
                </a:lnTo>
                <a:lnTo>
                  <a:pt x="2171960" y="232674"/>
                </a:lnTo>
                <a:lnTo>
                  <a:pt x="2173479" y="234623"/>
                </a:lnTo>
                <a:lnTo>
                  <a:pt x="2179339" y="235490"/>
                </a:lnTo>
                <a:lnTo>
                  <a:pt x="2180533" y="237655"/>
                </a:lnTo>
                <a:lnTo>
                  <a:pt x="2176084" y="245559"/>
                </a:lnTo>
                <a:lnTo>
                  <a:pt x="2172286" y="244584"/>
                </a:lnTo>
                <a:lnTo>
                  <a:pt x="2160783" y="248374"/>
                </a:lnTo>
                <a:lnTo>
                  <a:pt x="2156442" y="248698"/>
                </a:lnTo>
                <a:lnTo>
                  <a:pt x="2150799" y="254005"/>
                </a:lnTo>
                <a:lnTo>
                  <a:pt x="2150799" y="256710"/>
                </a:lnTo>
                <a:lnTo>
                  <a:pt x="2155900" y="257144"/>
                </a:lnTo>
                <a:lnTo>
                  <a:pt x="2157636" y="256278"/>
                </a:lnTo>
                <a:lnTo>
                  <a:pt x="2158504" y="259852"/>
                </a:lnTo>
                <a:lnTo>
                  <a:pt x="2152644" y="266888"/>
                </a:lnTo>
                <a:lnTo>
                  <a:pt x="2151125" y="270137"/>
                </a:lnTo>
                <a:lnTo>
                  <a:pt x="2147001" y="271219"/>
                </a:lnTo>
                <a:lnTo>
                  <a:pt x="2147110" y="273818"/>
                </a:lnTo>
                <a:lnTo>
                  <a:pt x="2144180" y="277716"/>
                </a:lnTo>
                <a:lnTo>
                  <a:pt x="2139405" y="277716"/>
                </a:lnTo>
                <a:lnTo>
                  <a:pt x="2134414" y="280098"/>
                </a:lnTo>
                <a:lnTo>
                  <a:pt x="2128879" y="280098"/>
                </a:lnTo>
                <a:lnTo>
                  <a:pt x="2124213" y="276525"/>
                </a:lnTo>
                <a:lnTo>
                  <a:pt x="2121500" y="277933"/>
                </a:lnTo>
                <a:lnTo>
                  <a:pt x="2116617" y="277066"/>
                </a:lnTo>
                <a:lnTo>
                  <a:pt x="2111516" y="277391"/>
                </a:lnTo>
                <a:lnTo>
                  <a:pt x="2110106" y="275550"/>
                </a:lnTo>
                <a:lnTo>
                  <a:pt x="2112819" y="272410"/>
                </a:lnTo>
                <a:lnTo>
                  <a:pt x="2109455" y="266564"/>
                </a:lnTo>
                <a:lnTo>
                  <a:pt x="2104788" y="263315"/>
                </a:lnTo>
                <a:lnTo>
                  <a:pt x="2101642" y="262774"/>
                </a:lnTo>
                <a:lnTo>
                  <a:pt x="2100773" y="256927"/>
                </a:lnTo>
                <a:lnTo>
                  <a:pt x="2099580" y="251731"/>
                </a:lnTo>
                <a:lnTo>
                  <a:pt x="2103595" y="247183"/>
                </a:lnTo>
                <a:lnTo>
                  <a:pt x="2103920" y="243719"/>
                </a:lnTo>
                <a:lnTo>
                  <a:pt x="2109021" y="238521"/>
                </a:lnTo>
                <a:lnTo>
                  <a:pt x="2109455" y="233432"/>
                </a:lnTo>
                <a:lnTo>
                  <a:pt x="2114772" y="231267"/>
                </a:lnTo>
                <a:lnTo>
                  <a:pt x="2118679" y="228235"/>
                </a:lnTo>
                <a:lnTo>
                  <a:pt x="2122368" y="228235"/>
                </a:lnTo>
                <a:close/>
                <a:moveTo>
                  <a:pt x="4756718" y="216217"/>
                </a:moveTo>
                <a:lnTo>
                  <a:pt x="4760299" y="218167"/>
                </a:lnTo>
                <a:lnTo>
                  <a:pt x="4760299" y="220007"/>
                </a:lnTo>
                <a:lnTo>
                  <a:pt x="4756175" y="223579"/>
                </a:lnTo>
                <a:lnTo>
                  <a:pt x="4753245" y="229751"/>
                </a:lnTo>
                <a:lnTo>
                  <a:pt x="4748471" y="237006"/>
                </a:lnTo>
                <a:cubicBezTo>
                  <a:pt x="4746373" y="237652"/>
                  <a:pt x="4744234" y="238158"/>
                  <a:pt x="4742068" y="238522"/>
                </a:cubicBezTo>
                <a:lnTo>
                  <a:pt x="4737185" y="242636"/>
                </a:lnTo>
                <a:lnTo>
                  <a:pt x="4732193" y="242852"/>
                </a:lnTo>
                <a:lnTo>
                  <a:pt x="4730457" y="240146"/>
                </a:lnTo>
                <a:lnTo>
                  <a:pt x="4731867" y="237547"/>
                </a:lnTo>
                <a:lnTo>
                  <a:pt x="4739790" y="234407"/>
                </a:lnTo>
                <a:lnTo>
                  <a:pt x="4745432" y="233541"/>
                </a:lnTo>
                <a:lnTo>
                  <a:pt x="4744238" y="231810"/>
                </a:lnTo>
                <a:lnTo>
                  <a:pt x="4742502" y="225963"/>
                </a:lnTo>
                <a:lnTo>
                  <a:pt x="4738921" y="225963"/>
                </a:lnTo>
                <a:lnTo>
                  <a:pt x="4737402" y="224987"/>
                </a:lnTo>
                <a:lnTo>
                  <a:pt x="4739681" y="221414"/>
                </a:lnTo>
                <a:lnTo>
                  <a:pt x="4740875" y="217408"/>
                </a:lnTo>
                <a:lnTo>
                  <a:pt x="4746518" y="217408"/>
                </a:lnTo>
                <a:lnTo>
                  <a:pt x="4751184" y="219683"/>
                </a:lnTo>
                <a:close/>
                <a:moveTo>
                  <a:pt x="3274272" y="214593"/>
                </a:moveTo>
                <a:lnTo>
                  <a:pt x="3277311" y="215567"/>
                </a:lnTo>
                <a:lnTo>
                  <a:pt x="3280566" y="219682"/>
                </a:lnTo>
                <a:lnTo>
                  <a:pt x="3281109" y="230401"/>
                </a:lnTo>
                <a:lnTo>
                  <a:pt x="3278396" y="232891"/>
                </a:lnTo>
                <a:lnTo>
                  <a:pt x="3271234" y="227802"/>
                </a:lnTo>
                <a:lnTo>
                  <a:pt x="3271885" y="223038"/>
                </a:lnTo>
                <a:lnTo>
                  <a:pt x="3271017" y="219899"/>
                </a:lnTo>
                <a:lnTo>
                  <a:pt x="3271451" y="215676"/>
                </a:lnTo>
                <a:close/>
                <a:moveTo>
                  <a:pt x="2098712" y="210153"/>
                </a:moveTo>
                <a:lnTo>
                  <a:pt x="2102510" y="212211"/>
                </a:lnTo>
                <a:lnTo>
                  <a:pt x="2105331" y="212102"/>
                </a:lnTo>
                <a:lnTo>
                  <a:pt x="2109237" y="210694"/>
                </a:lnTo>
                <a:lnTo>
                  <a:pt x="2107718" y="216866"/>
                </a:lnTo>
                <a:lnTo>
                  <a:pt x="2108043" y="220439"/>
                </a:lnTo>
                <a:lnTo>
                  <a:pt x="2107175" y="223795"/>
                </a:lnTo>
                <a:lnTo>
                  <a:pt x="2106958" y="229425"/>
                </a:lnTo>
                <a:lnTo>
                  <a:pt x="2103160" y="234623"/>
                </a:lnTo>
                <a:lnTo>
                  <a:pt x="2096975" y="236463"/>
                </a:lnTo>
                <a:lnTo>
                  <a:pt x="2093720" y="234730"/>
                </a:lnTo>
                <a:lnTo>
                  <a:pt x="2090139" y="227910"/>
                </a:lnTo>
                <a:lnTo>
                  <a:pt x="2091116" y="223037"/>
                </a:lnTo>
                <a:lnTo>
                  <a:pt x="2091007" y="217516"/>
                </a:lnTo>
                <a:lnTo>
                  <a:pt x="2092743" y="213293"/>
                </a:lnTo>
                <a:lnTo>
                  <a:pt x="2095673" y="212968"/>
                </a:lnTo>
                <a:close/>
                <a:moveTo>
                  <a:pt x="4771477" y="203116"/>
                </a:moveTo>
                <a:lnTo>
                  <a:pt x="4774406" y="205173"/>
                </a:lnTo>
                <a:lnTo>
                  <a:pt x="4775600" y="208205"/>
                </a:lnTo>
                <a:lnTo>
                  <a:pt x="4774624" y="211453"/>
                </a:lnTo>
                <a:lnTo>
                  <a:pt x="4771260" y="213078"/>
                </a:lnTo>
                <a:lnTo>
                  <a:pt x="4767679" y="212102"/>
                </a:lnTo>
                <a:lnTo>
                  <a:pt x="4766811" y="206582"/>
                </a:lnTo>
                <a:lnTo>
                  <a:pt x="4768873" y="203549"/>
                </a:lnTo>
                <a:close/>
                <a:moveTo>
                  <a:pt x="4747495" y="199326"/>
                </a:moveTo>
                <a:lnTo>
                  <a:pt x="4750967" y="199759"/>
                </a:lnTo>
                <a:lnTo>
                  <a:pt x="4753897" y="201925"/>
                </a:lnTo>
                <a:lnTo>
                  <a:pt x="4758454" y="201925"/>
                </a:lnTo>
                <a:lnTo>
                  <a:pt x="4760516" y="201384"/>
                </a:lnTo>
                <a:lnTo>
                  <a:pt x="4762687" y="203008"/>
                </a:lnTo>
                <a:lnTo>
                  <a:pt x="4761276" y="205714"/>
                </a:lnTo>
                <a:lnTo>
                  <a:pt x="4758780" y="207338"/>
                </a:lnTo>
                <a:lnTo>
                  <a:pt x="4756610" y="211127"/>
                </a:lnTo>
                <a:lnTo>
                  <a:pt x="4753789" y="213509"/>
                </a:lnTo>
                <a:lnTo>
                  <a:pt x="4750967" y="213184"/>
                </a:lnTo>
                <a:lnTo>
                  <a:pt x="4748688" y="210370"/>
                </a:lnTo>
                <a:lnTo>
                  <a:pt x="4744131" y="212968"/>
                </a:lnTo>
                <a:lnTo>
                  <a:pt x="4740007" y="211127"/>
                </a:lnTo>
                <a:lnTo>
                  <a:pt x="4738597" y="208420"/>
                </a:lnTo>
                <a:lnTo>
                  <a:pt x="4738922" y="205714"/>
                </a:lnTo>
                <a:lnTo>
                  <a:pt x="4743480" y="201817"/>
                </a:lnTo>
                <a:close/>
                <a:moveTo>
                  <a:pt x="3273513" y="195972"/>
                </a:moveTo>
                <a:lnTo>
                  <a:pt x="3275683" y="197595"/>
                </a:lnTo>
                <a:lnTo>
                  <a:pt x="3275792" y="201168"/>
                </a:lnTo>
                <a:lnTo>
                  <a:pt x="3279047" y="203117"/>
                </a:lnTo>
                <a:lnTo>
                  <a:pt x="3279590" y="207339"/>
                </a:lnTo>
                <a:lnTo>
                  <a:pt x="3278070" y="209722"/>
                </a:lnTo>
                <a:lnTo>
                  <a:pt x="3271668" y="210263"/>
                </a:lnTo>
                <a:lnTo>
                  <a:pt x="3269931" y="209505"/>
                </a:lnTo>
                <a:lnTo>
                  <a:pt x="3267110" y="204741"/>
                </a:lnTo>
                <a:lnTo>
                  <a:pt x="3266785" y="201493"/>
                </a:lnTo>
                <a:lnTo>
                  <a:pt x="3269172" y="196945"/>
                </a:lnTo>
                <a:close/>
                <a:moveTo>
                  <a:pt x="4852972" y="194672"/>
                </a:moveTo>
                <a:lnTo>
                  <a:pt x="4856229" y="196404"/>
                </a:lnTo>
                <a:lnTo>
                  <a:pt x="4860569" y="197594"/>
                </a:lnTo>
                <a:lnTo>
                  <a:pt x="4862196" y="202250"/>
                </a:lnTo>
                <a:lnTo>
                  <a:pt x="4861871" y="209938"/>
                </a:lnTo>
                <a:lnTo>
                  <a:pt x="4863282" y="212320"/>
                </a:lnTo>
                <a:lnTo>
                  <a:pt x="4867405" y="214052"/>
                </a:lnTo>
                <a:lnTo>
                  <a:pt x="4872939" y="219790"/>
                </a:lnTo>
                <a:lnTo>
                  <a:pt x="4875978" y="219790"/>
                </a:lnTo>
                <a:lnTo>
                  <a:pt x="4875978" y="222389"/>
                </a:lnTo>
                <a:lnTo>
                  <a:pt x="4868491" y="226828"/>
                </a:lnTo>
                <a:lnTo>
                  <a:pt x="4861003" y="229859"/>
                </a:lnTo>
                <a:lnTo>
                  <a:pt x="4859483" y="233216"/>
                </a:lnTo>
                <a:lnTo>
                  <a:pt x="4860895" y="237438"/>
                </a:lnTo>
                <a:lnTo>
                  <a:pt x="4860243" y="243177"/>
                </a:lnTo>
                <a:lnTo>
                  <a:pt x="4856770" y="248266"/>
                </a:lnTo>
                <a:lnTo>
                  <a:pt x="4852756" y="245559"/>
                </a:lnTo>
                <a:lnTo>
                  <a:pt x="4852213" y="241985"/>
                </a:lnTo>
                <a:lnTo>
                  <a:pt x="4849174" y="238630"/>
                </a:lnTo>
                <a:lnTo>
                  <a:pt x="4844291" y="239170"/>
                </a:lnTo>
                <a:lnTo>
                  <a:pt x="4840385" y="235381"/>
                </a:lnTo>
                <a:lnTo>
                  <a:pt x="4840168" y="232024"/>
                </a:lnTo>
                <a:lnTo>
                  <a:pt x="4842121" y="228344"/>
                </a:lnTo>
                <a:lnTo>
                  <a:pt x="4839517" y="221955"/>
                </a:lnTo>
                <a:lnTo>
                  <a:pt x="4838323" y="216326"/>
                </a:lnTo>
                <a:lnTo>
                  <a:pt x="4839842" y="209938"/>
                </a:lnTo>
                <a:lnTo>
                  <a:pt x="4843966" y="207231"/>
                </a:lnTo>
                <a:lnTo>
                  <a:pt x="4848306" y="201492"/>
                </a:lnTo>
                <a:lnTo>
                  <a:pt x="4848306" y="198569"/>
                </a:lnTo>
                <a:lnTo>
                  <a:pt x="4849717" y="195213"/>
                </a:lnTo>
                <a:close/>
                <a:moveTo>
                  <a:pt x="5325020" y="191316"/>
                </a:moveTo>
                <a:lnTo>
                  <a:pt x="5333484" y="192616"/>
                </a:lnTo>
                <a:lnTo>
                  <a:pt x="5343576" y="198029"/>
                </a:lnTo>
                <a:lnTo>
                  <a:pt x="5344553" y="201276"/>
                </a:lnTo>
                <a:lnTo>
                  <a:pt x="5341840" y="208316"/>
                </a:lnTo>
                <a:lnTo>
                  <a:pt x="5339778" y="214919"/>
                </a:lnTo>
                <a:lnTo>
                  <a:pt x="5336414" y="216760"/>
                </a:lnTo>
                <a:lnTo>
                  <a:pt x="5330989" y="221416"/>
                </a:lnTo>
                <a:lnTo>
                  <a:pt x="5326322" y="224988"/>
                </a:lnTo>
                <a:lnTo>
                  <a:pt x="5321330" y="224555"/>
                </a:lnTo>
                <a:lnTo>
                  <a:pt x="5316881" y="221957"/>
                </a:lnTo>
                <a:lnTo>
                  <a:pt x="5316555" y="219899"/>
                </a:lnTo>
                <a:lnTo>
                  <a:pt x="5322198" y="219791"/>
                </a:lnTo>
                <a:lnTo>
                  <a:pt x="5328926" y="217950"/>
                </a:lnTo>
                <a:lnTo>
                  <a:pt x="5330989" y="216434"/>
                </a:lnTo>
                <a:lnTo>
                  <a:pt x="5327733" y="215352"/>
                </a:lnTo>
                <a:lnTo>
                  <a:pt x="5318943" y="215570"/>
                </a:lnTo>
                <a:lnTo>
                  <a:pt x="5312866" y="213405"/>
                </a:lnTo>
                <a:lnTo>
                  <a:pt x="5309936" y="208748"/>
                </a:lnTo>
                <a:lnTo>
                  <a:pt x="5304836" y="206366"/>
                </a:lnTo>
                <a:lnTo>
                  <a:pt x="5302448" y="202359"/>
                </a:lnTo>
                <a:lnTo>
                  <a:pt x="5296480" y="201061"/>
                </a:lnTo>
                <a:lnTo>
                  <a:pt x="5294744" y="197920"/>
                </a:lnTo>
                <a:lnTo>
                  <a:pt x="5296046" y="196621"/>
                </a:lnTo>
                <a:lnTo>
                  <a:pt x="5301906" y="196514"/>
                </a:lnTo>
                <a:lnTo>
                  <a:pt x="5306138" y="193049"/>
                </a:lnTo>
                <a:lnTo>
                  <a:pt x="5309176" y="193049"/>
                </a:lnTo>
                <a:lnTo>
                  <a:pt x="5313517" y="194781"/>
                </a:lnTo>
                <a:lnTo>
                  <a:pt x="5317749" y="192724"/>
                </a:lnTo>
                <a:close/>
                <a:moveTo>
                  <a:pt x="4756827" y="190882"/>
                </a:moveTo>
                <a:lnTo>
                  <a:pt x="4757912" y="193806"/>
                </a:lnTo>
                <a:lnTo>
                  <a:pt x="4755307" y="195972"/>
                </a:lnTo>
                <a:lnTo>
                  <a:pt x="4754874" y="192614"/>
                </a:lnTo>
                <a:close/>
                <a:moveTo>
                  <a:pt x="5496586" y="188392"/>
                </a:moveTo>
                <a:lnTo>
                  <a:pt x="5499841" y="188392"/>
                </a:lnTo>
                <a:lnTo>
                  <a:pt x="5506027" y="191316"/>
                </a:lnTo>
                <a:lnTo>
                  <a:pt x="5510693" y="192398"/>
                </a:lnTo>
                <a:lnTo>
                  <a:pt x="5515468" y="194455"/>
                </a:lnTo>
                <a:lnTo>
                  <a:pt x="5516336" y="210047"/>
                </a:lnTo>
                <a:lnTo>
                  <a:pt x="5518181" y="213295"/>
                </a:lnTo>
                <a:lnTo>
                  <a:pt x="5520785" y="213295"/>
                </a:lnTo>
                <a:lnTo>
                  <a:pt x="5520785" y="208855"/>
                </a:lnTo>
                <a:lnTo>
                  <a:pt x="5524040" y="206257"/>
                </a:lnTo>
                <a:lnTo>
                  <a:pt x="5524040" y="203117"/>
                </a:lnTo>
                <a:lnTo>
                  <a:pt x="5520567" y="199004"/>
                </a:lnTo>
                <a:lnTo>
                  <a:pt x="5520567" y="196621"/>
                </a:lnTo>
                <a:lnTo>
                  <a:pt x="5523280" y="198570"/>
                </a:lnTo>
                <a:lnTo>
                  <a:pt x="5528055" y="204525"/>
                </a:lnTo>
                <a:lnTo>
                  <a:pt x="5530334" y="204525"/>
                </a:lnTo>
                <a:lnTo>
                  <a:pt x="5531202" y="200194"/>
                </a:lnTo>
                <a:lnTo>
                  <a:pt x="5534241" y="200194"/>
                </a:lnTo>
                <a:lnTo>
                  <a:pt x="5537822" y="204308"/>
                </a:lnTo>
                <a:lnTo>
                  <a:pt x="5539016" y="207774"/>
                </a:lnTo>
                <a:lnTo>
                  <a:pt x="5542488" y="208964"/>
                </a:lnTo>
                <a:lnTo>
                  <a:pt x="5543682" y="206907"/>
                </a:lnTo>
                <a:lnTo>
                  <a:pt x="5546286" y="207557"/>
                </a:lnTo>
                <a:lnTo>
                  <a:pt x="5552147" y="213186"/>
                </a:lnTo>
                <a:lnTo>
                  <a:pt x="5557789" y="215460"/>
                </a:lnTo>
                <a:lnTo>
                  <a:pt x="5561370" y="217735"/>
                </a:lnTo>
                <a:lnTo>
                  <a:pt x="5563432" y="216327"/>
                </a:lnTo>
                <a:lnTo>
                  <a:pt x="5568098" y="216327"/>
                </a:lnTo>
                <a:lnTo>
                  <a:pt x="5575694" y="221306"/>
                </a:lnTo>
                <a:lnTo>
                  <a:pt x="5575694" y="225638"/>
                </a:lnTo>
                <a:lnTo>
                  <a:pt x="5578408" y="231376"/>
                </a:lnTo>
                <a:lnTo>
                  <a:pt x="5584592" y="238739"/>
                </a:lnTo>
                <a:lnTo>
                  <a:pt x="5586004" y="243935"/>
                </a:lnTo>
                <a:lnTo>
                  <a:pt x="5581880" y="253247"/>
                </a:lnTo>
                <a:lnTo>
                  <a:pt x="5578625" y="255521"/>
                </a:lnTo>
                <a:lnTo>
                  <a:pt x="5577430" y="259527"/>
                </a:lnTo>
                <a:lnTo>
                  <a:pt x="5569726" y="265698"/>
                </a:lnTo>
                <a:lnTo>
                  <a:pt x="5564409" y="267538"/>
                </a:lnTo>
                <a:lnTo>
                  <a:pt x="5562347" y="271112"/>
                </a:lnTo>
                <a:lnTo>
                  <a:pt x="5560068" y="275551"/>
                </a:lnTo>
                <a:lnTo>
                  <a:pt x="5556595" y="275551"/>
                </a:lnTo>
                <a:lnTo>
                  <a:pt x="5553883" y="273169"/>
                </a:lnTo>
                <a:lnTo>
                  <a:pt x="5549867" y="273818"/>
                </a:lnTo>
                <a:lnTo>
                  <a:pt x="5539016" y="280856"/>
                </a:lnTo>
                <a:lnTo>
                  <a:pt x="5538364" y="284753"/>
                </a:lnTo>
                <a:lnTo>
                  <a:pt x="5539233" y="287677"/>
                </a:lnTo>
                <a:lnTo>
                  <a:pt x="5535651" y="289735"/>
                </a:lnTo>
                <a:lnTo>
                  <a:pt x="5530551" y="296987"/>
                </a:lnTo>
                <a:lnTo>
                  <a:pt x="5527404" y="303376"/>
                </a:lnTo>
                <a:cubicBezTo>
                  <a:pt x="5527404" y="303376"/>
                  <a:pt x="5521219" y="305435"/>
                  <a:pt x="5521219" y="305435"/>
                </a:cubicBezTo>
                <a:lnTo>
                  <a:pt x="5518289" y="302725"/>
                </a:lnTo>
                <a:lnTo>
                  <a:pt x="5518289" y="298070"/>
                </a:lnTo>
                <a:lnTo>
                  <a:pt x="5514165" y="294281"/>
                </a:lnTo>
                <a:lnTo>
                  <a:pt x="5511561" y="286919"/>
                </a:lnTo>
                <a:lnTo>
                  <a:pt x="5508414" y="279881"/>
                </a:lnTo>
                <a:lnTo>
                  <a:pt x="5510151" y="277282"/>
                </a:lnTo>
                <a:lnTo>
                  <a:pt x="5509499" y="272844"/>
                </a:lnTo>
                <a:lnTo>
                  <a:pt x="5506895" y="270786"/>
                </a:lnTo>
                <a:lnTo>
                  <a:pt x="5506895" y="264940"/>
                </a:lnTo>
                <a:lnTo>
                  <a:pt x="5505159" y="258769"/>
                </a:lnTo>
                <a:lnTo>
                  <a:pt x="5501034" y="250324"/>
                </a:lnTo>
                <a:lnTo>
                  <a:pt x="5503422" y="242203"/>
                </a:lnTo>
                <a:lnTo>
                  <a:pt x="5507872" y="241336"/>
                </a:lnTo>
                <a:lnTo>
                  <a:pt x="5510802" y="238630"/>
                </a:lnTo>
                <a:lnTo>
                  <a:pt x="5506461" y="238630"/>
                </a:lnTo>
                <a:lnTo>
                  <a:pt x="5502879" y="235058"/>
                </a:lnTo>
                <a:lnTo>
                  <a:pt x="5497671" y="223039"/>
                </a:lnTo>
                <a:lnTo>
                  <a:pt x="5498539" y="219141"/>
                </a:lnTo>
                <a:lnTo>
                  <a:pt x="5496586" y="216435"/>
                </a:lnTo>
                <a:lnTo>
                  <a:pt x="5493005" y="215570"/>
                </a:lnTo>
                <a:lnTo>
                  <a:pt x="5490617" y="212970"/>
                </a:lnTo>
                <a:lnTo>
                  <a:pt x="5490617" y="208098"/>
                </a:lnTo>
                <a:lnTo>
                  <a:pt x="5492028" y="206691"/>
                </a:lnTo>
                <a:lnTo>
                  <a:pt x="5491377" y="203876"/>
                </a:lnTo>
                <a:lnTo>
                  <a:pt x="5490509" y="200627"/>
                </a:lnTo>
                <a:lnTo>
                  <a:pt x="5492462" y="200627"/>
                </a:lnTo>
                <a:lnTo>
                  <a:pt x="5495718" y="203226"/>
                </a:lnTo>
                <a:lnTo>
                  <a:pt x="5497454" y="206149"/>
                </a:lnTo>
                <a:lnTo>
                  <a:pt x="5501252" y="206149"/>
                </a:lnTo>
                <a:lnTo>
                  <a:pt x="5503314" y="204092"/>
                </a:lnTo>
                <a:lnTo>
                  <a:pt x="5499841" y="199761"/>
                </a:lnTo>
                <a:lnTo>
                  <a:pt x="5494958" y="196621"/>
                </a:lnTo>
                <a:lnTo>
                  <a:pt x="5493873" y="192182"/>
                </a:lnTo>
                <a:close/>
                <a:moveTo>
                  <a:pt x="5087586" y="184818"/>
                </a:moveTo>
                <a:lnTo>
                  <a:pt x="5095508" y="184818"/>
                </a:lnTo>
                <a:lnTo>
                  <a:pt x="5102127" y="186552"/>
                </a:lnTo>
                <a:lnTo>
                  <a:pt x="5104189" y="191315"/>
                </a:lnTo>
                <a:lnTo>
                  <a:pt x="5101476" y="194996"/>
                </a:lnTo>
                <a:lnTo>
                  <a:pt x="5095508" y="196838"/>
                </a:lnTo>
                <a:lnTo>
                  <a:pt x="5086609" y="196838"/>
                </a:lnTo>
                <a:lnTo>
                  <a:pt x="5083245" y="195429"/>
                </a:lnTo>
                <a:lnTo>
                  <a:pt x="5081509" y="193372"/>
                </a:lnTo>
                <a:lnTo>
                  <a:pt x="5081509" y="189908"/>
                </a:lnTo>
                <a:close/>
                <a:moveTo>
                  <a:pt x="6482241" y="182330"/>
                </a:moveTo>
                <a:lnTo>
                  <a:pt x="6484629" y="185036"/>
                </a:lnTo>
                <a:lnTo>
                  <a:pt x="6484303" y="187743"/>
                </a:lnTo>
                <a:lnTo>
                  <a:pt x="6485713" y="191424"/>
                </a:lnTo>
                <a:lnTo>
                  <a:pt x="6488969" y="190882"/>
                </a:lnTo>
                <a:lnTo>
                  <a:pt x="6493092" y="192616"/>
                </a:lnTo>
                <a:lnTo>
                  <a:pt x="6494938" y="199327"/>
                </a:lnTo>
                <a:lnTo>
                  <a:pt x="6491356" y="204525"/>
                </a:lnTo>
                <a:lnTo>
                  <a:pt x="6489512" y="210696"/>
                </a:lnTo>
                <a:lnTo>
                  <a:pt x="6480179" y="216542"/>
                </a:lnTo>
                <a:lnTo>
                  <a:pt x="6475839" y="218274"/>
                </a:lnTo>
                <a:lnTo>
                  <a:pt x="6468785" y="216002"/>
                </a:lnTo>
                <a:lnTo>
                  <a:pt x="6462600" y="218058"/>
                </a:lnTo>
                <a:lnTo>
                  <a:pt x="6454461" y="217733"/>
                </a:lnTo>
                <a:lnTo>
                  <a:pt x="6445997" y="213727"/>
                </a:lnTo>
                <a:lnTo>
                  <a:pt x="6433843" y="212537"/>
                </a:lnTo>
                <a:lnTo>
                  <a:pt x="6417457" y="206907"/>
                </a:lnTo>
                <a:lnTo>
                  <a:pt x="6415069" y="202252"/>
                </a:lnTo>
                <a:lnTo>
                  <a:pt x="6406714" y="191534"/>
                </a:lnTo>
                <a:lnTo>
                  <a:pt x="6404652" y="182761"/>
                </a:lnTo>
                <a:lnTo>
                  <a:pt x="6408667" y="183521"/>
                </a:lnTo>
                <a:lnTo>
                  <a:pt x="6409210" y="186769"/>
                </a:lnTo>
                <a:lnTo>
                  <a:pt x="6412465" y="190016"/>
                </a:lnTo>
                <a:lnTo>
                  <a:pt x="6421255" y="192074"/>
                </a:lnTo>
                <a:lnTo>
                  <a:pt x="6424511" y="188608"/>
                </a:lnTo>
                <a:lnTo>
                  <a:pt x="6424511" y="184711"/>
                </a:lnTo>
                <a:lnTo>
                  <a:pt x="6428200" y="186119"/>
                </a:lnTo>
                <a:lnTo>
                  <a:pt x="6435905" y="186119"/>
                </a:lnTo>
                <a:lnTo>
                  <a:pt x="6441222" y="184819"/>
                </a:lnTo>
                <a:lnTo>
                  <a:pt x="6444477" y="184711"/>
                </a:lnTo>
                <a:lnTo>
                  <a:pt x="6445671" y="188608"/>
                </a:lnTo>
                <a:lnTo>
                  <a:pt x="6447407" y="191424"/>
                </a:lnTo>
                <a:lnTo>
                  <a:pt x="6452291" y="190234"/>
                </a:lnTo>
                <a:lnTo>
                  <a:pt x="6459452" y="185036"/>
                </a:lnTo>
                <a:lnTo>
                  <a:pt x="6471064" y="182761"/>
                </a:lnTo>
                <a:lnTo>
                  <a:pt x="6478334" y="184711"/>
                </a:lnTo>
                <a:close/>
                <a:moveTo>
                  <a:pt x="6330645" y="182113"/>
                </a:moveTo>
                <a:lnTo>
                  <a:pt x="6335637" y="182761"/>
                </a:lnTo>
                <a:lnTo>
                  <a:pt x="6347140" y="188607"/>
                </a:lnTo>
                <a:lnTo>
                  <a:pt x="6352674" y="189148"/>
                </a:lnTo>
                <a:lnTo>
                  <a:pt x="6356797" y="188174"/>
                </a:lnTo>
                <a:lnTo>
                  <a:pt x="6368192" y="189473"/>
                </a:lnTo>
                <a:lnTo>
                  <a:pt x="6380237" y="193154"/>
                </a:lnTo>
                <a:lnTo>
                  <a:pt x="6380454" y="195537"/>
                </a:lnTo>
                <a:lnTo>
                  <a:pt x="6375028" y="196945"/>
                </a:lnTo>
                <a:lnTo>
                  <a:pt x="6371990" y="200301"/>
                </a:lnTo>
                <a:lnTo>
                  <a:pt x="6371990" y="205172"/>
                </a:lnTo>
                <a:lnTo>
                  <a:pt x="6376765" y="210695"/>
                </a:lnTo>
                <a:lnTo>
                  <a:pt x="6382516" y="212211"/>
                </a:lnTo>
                <a:lnTo>
                  <a:pt x="6382625" y="218166"/>
                </a:lnTo>
                <a:lnTo>
                  <a:pt x="6383602" y="221846"/>
                </a:lnTo>
                <a:lnTo>
                  <a:pt x="6381213" y="225962"/>
                </a:lnTo>
                <a:lnTo>
                  <a:pt x="6380129" y="232349"/>
                </a:lnTo>
                <a:lnTo>
                  <a:pt x="6376005" y="236247"/>
                </a:lnTo>
                <a:lnTo>
                  <a:pt x="6374377" y="239495"/>
                </a:lnTo>
                <a:lnTo>
                  <a:pt x="6369819" y="235920"/>
                </a:lnTo>
                <a:lnTo>
                  <a:pt x="6367215" y="236247"/>
                </a:lnTo>
                <a:lnTo>
                  <a:pt x="6362007" y="239927"/>
                </a:lnTo>
                <a:lnTo>
                  <a:pt x="6357014" y="240144"/>
                </a:lnTo>
                <a:lnTo>
                  <a:pt x="6346380" y="234948"/>
                </a:lnTo>
                <a:lnTo>
                  <a:pt x="6340628" y="229858"/>
                </a:lnTo>
                <a:lnTo>
                  <a:pt x="6329993" y="220980"/>
                </a:lnTo>
                <a:lnTo>
                  <a:pt x="6328366" y="214484"/>
                </a:lnTo>
                <a:lnTo>
                  <a:pt x="6329776" y="210261"/>
                </a:lnTo>
                <a:lnTo>
                  <a:pt x="6330211" y="205823"/>
                </a:lnTo>
                <a:lnTo>
                  <a:pt x="6331405" y="203331"/>
                </a:lnTo>
                <a:lnTo>
                  <a:pt x="6328908" y="199110"/>
                </a:lnTo>
                <a:lnTo>
                  <a:pt x="6326195" y="197487"/>
                </a:lnTo>
                <a:lnTo>
                  <a:pt x="6325327" y="192722"/>
                </a:lnTo>
                <a:lnTo>
                  <a:pt x="6322397" y="191315"/>
                </a:lnTo>
                <a:lnTo>
                  <a:pt x="6319251" y="187309"/>
                </a:lnTo>
                <a:lnTo>
                  <a:pt x="6315995" y="182544"/>
                </a:lnTo>
                <a:lnTo>
                  <a:pt x="6323049" y="182436"/>
                </a:lnTo>
                <a:close/>
                <a:moveTo>
                  <a:pt x="2204841" y="182003"/>
                </a:moveTo>
                <a:lnTo>
                  <a:pt x="2208314" y="183303"/>
                </a:lnTo>
                <a:lnTo>
                  <a:pt x="2207988" y="186659"/>
                </a:lnTo>
                <a:lnTo>
                  <a:pt x="2210701" y="191964"/>
                </a:lnTo>
                <a:lnTo>
                  <a:pt x="2210701" y="195754"/>
                </a:lnTo>
                <a:lnTo>
                  <a:pt x="2206794" y="201926"/>
                </a:lnTo>
                <a:lnTo>
                  <a:pt x="2209725" y="208421"/>
                </a:lnTo>
                <a:lnTo>
                  <a:pt x="2206035" y="218058"/>
                </a:lnTo>
                <a:lnTo>
                  <a:pt x="2200718" y="220872"/>
                </a:lnTo>
                <a:lnTo>
                  <a:pt x="2196376" y="225312"/>
                </a:lnTo>
                <a:lnTo>
                  <a:pt x="2192470" y="224445"/>
                </a:lnTo>
                <a:lnTo>
                  <a:pt x="2188130" y="224662"/>
                </a:lnTo>
                <a:lnTo>
                  <a:pt x="2186067" y="221522"/>
                </a:lnTo>
                <a:lnTo>
                  <a:pt x="2181293" y="222930"/>
                </a:lnTo>
                <a:lnTo>
                  <a:pt x="2175216" y="216217"/>
                </a:lnTo>
                <a:lnTo>
                  <a:pt x="2175541" y="210479"/>
                </a:lnTo>
                <a:lnTo>
                  <a:pt x="2171960" y="205173"/>
                </a:lnTo>
                <a:lnTo>
                  <a:pt x="2169899" y="207447"/>
                </a:lnTo>
                <a:lnTo>
                  <a:pt x="2170115" y="211236"/>
                </a:lnTo>
                <a:lnTo>
                  <a:pt x="2166101" y="214593"/>
                </a:lnTo>
                <a:lnTo>
                  <a:pt x="2162628" y="210370"/>
                </a:lnTo>
                <a:lnTo>
                  <a:pt x="2161434" y="205173"/>
                </a:lnTo>
                <a:lnTo>
                  <a:pt x="2163822" y="202250"/>
                </a:lnTo>
                <a:lnTo>
                  <a:pt x="2160566" y="199543"/>
                </a:lnTo>
                <a:lnTo>
                  <a:pt x="2156335" y="200193"/>
                </a:lnTo>
                <a:lnTo>
                  <a:pt x="2153404" y="199001"/>
                </a:lnTo>
                <a:lnTo>
                  <a:pt x="2150257" y="200409"/>
                </a:lnTo>
                <a:lnTo>
                  <a:pt x="2145049" y="199868"/>
                </a:lnTo>
                <a:lnTo>
                  <a:pt x="2140599" y="201275"/>
                </a:lnTo>
                <a:lnTo>
                  <a:pt x="2140491" y="197161"/>
                </a:lnTo>
                <a:lnTo>
                  <a:pt x="2144614" y="192613"/>
                </a:lnTo>
                <a:lnTo>
                  <a:pt x="2145591" y="189366"/>
                </a:lnTo>
                <a:lnTo>
                  <a:pt x="2150800" y="189040"/>
                </a:lnTo>
                <a:lnTo>
                  <a:pt x="2155792" y="189040"/>
                </a:lnTo>
                <a:lnTo>
                  <a:pt x="2169573" y="185035"/>
                </a:lnTo>
                <a:lnTo>
                  <a:pt x="2173805" y="185901"/>
                </a:lnTo>
                <a:lnTo>
                  <a:pt x="2178146" y="188824"/>
                </a:lnTo>
                <a:lnTo>
                  <a:pt x="2180968" y="188391"/>
                </a:lnTo>
                <a:lnTo>
                  <a:pt x="2186394" y="188175"/>
                </a:lnTo>
                <a:lnTo>
                  <a:pt x="2192253" y="183844"/>
                </a:lnTo>
                <a:lnTo>
                  <a:pt x="2200066" y="183519"/>
                </a:lnTo>
                <a:lnTo>
                  <a:pt x="2202454" y="184277"/>
                </a:lnTo>
                <a:close/>
                <a:moveTo>
                  <a:pt x="6278772" y="176483"/>
                </a:moveTo>
                <a:lnTo>
                  <a:pt x="6283764" y="178322"/>
                </a:lnTo>
                <a:lnTo>
                  <a:pt x="6288865" y="178322"/>
                </a:lnTo>
                <a:lnTo>
                  <a:pt x="6293205" y="182330"/>
                </a:lnTo>
                <a:lnTo>
                  <a:pt x="6298957" y="183629"/>
                </a:lnTo>
                <a:lnTo>
                  <a:pt x="6307638" y="183521"/>
                </a:lnTo>
                <a:lnTo>
                  <a:pt x="6311653" y="186227"/>
                </a:lnTo>
                <a:lnTo>
                  <a:pt x="6313932" y="187743"/>
                </a:lnTo>
                <a:lnTo>
                  <a:pt x="6314149" y="191207"/>
                </a:lnTo>
                <a:lnTo>
                  <a:pt x="6312629" y="192291"/>
                </a:lnTo>
                <a:lnTo>
                  <a:pt x="6310025" y="194348"/>
                </a:lnTo>
                <a:lnTo>
                  <a:pt x="6312413" y="197595"/>
                </a:lnTo>
                <a:lnTo>
                  <a:pt x="6309699" y="198786"/>
                </a:lnTo>
                <a:lnTo>
                  <a:pt x="6309699" y="201059"/>
                </a:lnTo>
                <a:lnTo>
                  <a:pt x="6314800" y="203658"/>
                </a:lnTo>
                <a:lnTo>
                  <a:pt x="6315885" y="208640"/>
                </a:lnTo>
                <a:lnTo>
                  <a:pt x="6319466" y="212861"/>
                </a:lnTo>
                <a:lnTo>
                  <a:pt x="6320334" y="216542"/>
                </a:lnTo>
                <a:lnTo>
                  <a:pt x="6322396" y="224445"/>
                </a:lnTo>
                <a:lnTo>
                  <a:pt x="6326086" y="226612"/>
                </a:lnTo>
                <a:lnTo>
                  <a:pt x="6333573" y="233865"/>
                </a:lnTo>
                <a:lnTo>
                  <a:pt x="6334441" y="236247"/>
                </a:lnTo>
                <a:lnTo>
                  <a:pt x="6340302" y="236789"/>
                </a:lnTo>
                <a:lnTo>
                  <a:pt x="6342797" y="240037"/>
                </a:lnTo>
                <a:lnTo>
                  <a:pt x="6350936" y="242095"/>
                </a:lnTo>
                <a:lnTo>
                  <a:pt x="6357339" y="246208"/>
                </a:lnTo>
                <a:lnTo>
                  <a:pt x="6364718" y="242961"/>
                </a:lnTo>
                <a:lnTo>
                  <a:pt x="6370903" y="242419"/>
                </a:lnTo>
                <a:lnTo>
                  <a:pt x="6373182" y="244368"/>
                </a:lnTo>
                <a:lnTo>
                  <a:pt x="6369384" y="248481"/>
                </a:lnTo>
                <a:lnTo>
                  <a:pt x="6362113" y="252271"/>
                </a:lnTo>
                <a:lnTo>
                  <a:pt x="6362005" y="256385"/>
                </a:lnTo>
                <a:lnTo>
                  <a:pt x="6358206" y="258443"/>
                </a:lnTo>
                <a:lnTo>
                  <a:pt x="6354517" y="256385"/>
                </a:lnTo>
                <a:lnTo>
                  <a:pt x="6349743" y="255736"/>
                </a:lnTo>
                <a:lnTo>
                  <a:pt x="6351696" y="252271"/>
                </a:lnTo>
                <a:lnTo>
                  <a:pt x="6349634" y="251081"/>
                </a:lnTo>
                <a:lnTo>
                  <a:pt x="6345293" y="254330"/>
                </a:lnTo>
                <a:lnTo>
                  <a:pt x="6339542" y="255303"/>
                </a:lnTo>
                <a:lnTo>
                  <a:pt x="6331620" y="263424"/>
                </a:lnTo>
                <a:lnTo>
                  <a:pt x="6327171" y="272410"/>
                </a:lnTo>
                <a:lnTo>
                  <a:pt x="6323047" y="278797"/>
                </a:lnTo>
                <a:lnTo>
                  <a:pt x="6319249" y="279339"/>
                </a:lnTo>
                <a:lnTo>
                  <a:pt x="6319466" y="277174"/>
                </a:lnTo>
                <a:lnTo>
                  <a:pt x="6317621" y="273818"/>
                </a:lnTo>
                <a:lnTo>
                  <a:pt x="6312955" y="272193"/>
                </a:lnTo>
                <a:lnTo>
                  <a:pt x="6311002" y="269270"/>
                </a:lnTo>
                <a:lnTo>
                  <a:pt x="6308398" y="267538"/>
                </a:lnTo>
                <a:lnTo>
                  <a:pt x="6307312" y="270027"/>
                </a:lnTo>
                <a:lnTo>
                  <a:pt x="6307746" y="273493"/>
                </a:lnTo>
                <a:lnTo>
                  <a:pt x="6310568" y="275766"/>
                </a:lnTo>
                <a:lnTo>
                  <a:pt x="6313715" y="275334"/>
                </a:lnTo>
                <a:lnTo>
                  <a:pt x="6313389" y="279232"/>
                </a:lnTo>
                <a:lnTo>
                  <a:pt x="6316102" y="284753"/>
                </a:lnTo>
                <a:lnTo>
                  <a:pt x="6316102" y="289083"/>
                </a:lnTo>
                <a:lnTo>
                  <a:pt x="6314040" y="293305"/>
                </a:lnTo>
                <a:lnTo>
                  <a:pt x="6309808" y="294172"/>
                </a:lnTo>
                <a:lnTo>
                  <a:pt x="6305142" y="291249"/>
                </a:lnTo>
                <a:lnTo>
                  <a:pt x="6298957" y="290816"/>
                </a:lnTo>
                <a:lnTo>
                  <a:pt x="6291685" y="293305"/>
                </a:lnTo>
                <a:lnTo>
                  <a:pt x="6285175" y="293524"/>
                </a:lnTo>
                <a:lnTo>
                  <a:pt x="6280617" y="289409"/>
                </a:lnTo>
                <a:lnTo>
                  <a:pt x="6279098" y="284753"/>
                </a:lnTo>
                <a:lnTo>
                  <a:pt x="6274757" y="281829"/>
                </a:lnTo>
                <a:lnTo>
                  <a:pt x="6270634" y="278582"/>
                </a:lnTo>
                <a:lnTo>
                  <a:pt x="6263797" y="279232"/>
                </a:lnTo>
                <a:lnTo>
                  <a:pt x="6255984" y="276198"/>
                </a:lnTo>
                <a:lnTo>
                  <a:pt x="6241660" y="266563"/>
                </a:lnTo>
                <a:lnTo>
                  <a:pt x="6239924" y="262232"/>
                </a:lnTo>
                <a:lnTo>
                  <a:pt x="6241334" y="259633"/>
                </a:lnTo>
                <a:lnTo>
                  <a:pt x="6244806" y="259633"/>
                </a:lnTo>
                <a:lnTo>
                  <a:pt x="6246326" y="260717"/>
                </a:lnTo>
                <a:lnTo>
                  <a:pt x="6249581" y="258226"/>
                </a:lnTo>
                <a:lnTo>
                  <a:pt x="6247736" y="255736"/>
                </a:lnTo>
                <a:lnTo>
                  <a:pt x="6244481" y="255196"/>
                </a:lnTo>
                <a:lnTo>
                  <a:pt x="6242202" y="256385"/>
                </a:lnTo>
                <a:lnTo>
                  <a:pt x="6239924" y="254112"/>
                </a:lnTo>
                <a:lnTo>
                  <a:pt x="6241008" y="252271"/>
                </a:lnTo>
                <a:lnTo>
                  <a:pt x="6239272" y="249456"/>
                </a:lnTo>
                <a:lnTo>
                  <a:pt x="6233847" y="247832"/>
                </a:lnTo>
                <a:lnTo>
                  <a:pt x="6231025" y="245234"/>
                </a:lnTo>
                <a:lnTo>
                  <a:pt x="6231242" y="242095"/>
                </a:lnTo>
                <a:lnTo>
                  <a:pt x="6229072" y="237765"/>
                </a:lnTo>
                <a:lnTo>
                  <a:pt x="6225491" y="236789"/>
                </a:lnTo>
                <a:lnTo>
                  <a:pt x="6224623" y="232024"/>
                </a:lnTo>
                <a:lnTo>
                  <a:pt x="6227770" y="231483"/>
                </a:lnTo>
                <a:lnTo>
                  <a:pt x="6229614" y="229751"/>
                </a:lnTo>
                <a:lnTo>
                  <a:pt x="6226359" y="227152"/>
                </a:lnTo>
                <a:lnTo>
                  <a:pt x="6223320" y="226829"/>
                </a:lnTo>
                <a:lnTo>
                  <a:pt x="6217352" y="218600"/>
                </a:lnTo>
                <a:lnTo>
                  <a:pt x="6217895" y="215677"/>
                </a:lnTo>
                <a:lnTo>
                  <a:pt x="6223320" y="211345"/>
                </a:lnTo>
                <a:lnTo>
                  <a:pt x="6224948" y="205715"/>
                </a:lnTo>
                <a:lnTo>
                  <a:pt x="6224514" y="199111"/>
                </a:lnTo>
                <a:lnTo>
                  <a:pt x="6226033" y="197812"/>
                </a:lnTo>
                <a:lnTo>
                  <a:pt x="6225708" y="190666"/>
                </a:lnTo>
                <a:lnTo>
                  <a:pt x="6229506" y="187634"/>
                </a:lnTo>
                <a:lnTo>
                  <a:pt x="6234823" y="185578"/>
                </a:lnTo>
                <a:lnTo>
                  <a:pt x="6236885" y="189908"/>
                </a:lnTo>
                <a:lnTo>
                  <a:pt x="6239598" y="191531"/>
                </a:lnTo>
                <a:lnTo>
                  <a:pt x="6246543" y="192291"/>
                </a:lnTo>
                <a:lnTo>
                  <a:pt x="6251535" y="196729"/>
                </a:lnTo>
                <a:lnTo>
                  <a:pt x="6256309" y="197380"/>
                </a:lnTo>
                <a:lnTo>
                  <a:pt x="6257937" y="201168"/>
                </a:lnTo>
                <a:lnTo>
                  <a:pt x="6258263" y="206149"/>
                </a:lnTo>
                <a:lnTo>
                  <a:pt x="6262712" y="207232"/>
                </a:lnTo>
                <a:lnTo>
                  <a:pt x="6264556" y="208747"/>
                </a:lnTo>
                <a:lnTo>
                  <a:pt x="6267053" y="207232"/>
                </a:lnTo>
                <a:lnTo>
                  <a:pt x="6271828" y="206040"/>
                </a:lnTo>
                <a:lnTo>
                  <a:pt x="6275517" y="208098"/>
                </a:lnTo>
                <a:lnTo>
                  <a:pt x="6277904" y="214918"/>
                </a:lnTo>
                <a:lnTo>
                  <a:pt x="6283222" y="220657"/>
                </a:lnTo>
                <a:lnTo>
                  <a:pt x="6288756" y="219791"/>
                </a:lnTo>
                <a:lnTo>
                  <a:pt x="6290926" y="218058"/>
                </a:lnTo>
                <a:lnTo>
                  <a:pt x="6289407" y="214918"/>
                </a:lnTo>
                <a:lnTo>
                  <a:pt x="6281811" y="207339"/>
                </a:lnTo>
                <a:lnTo>
                  <a:pt x="6280291" y="200735"/>
                </a:lnTo>
                <a:lnTo>
                  <a:pt x="6277578" y="195647"/>
                </a:lnTo>
                <a:lnTo>
                  <a:pt x="6276385" y="190341"/>
                </a:lnTo>
                <a:lnTo>
                  <a:pt x="6278989" y="186769"/>
                </a:lnTo>
                <a:lnTo>
                  <a:pt x="6282896" y="186769"/>
                </a:lnTo>
                <a:lnTo>
                  <a:pt x="6284415" y="187743"/>
                </a:lnTo>
                <a:lnTo>
                  <a:pt x="6290275" y="187743"/>
                </a:lnTo>
                <a:lnTo>
                  <a:pt x="6288213" y="185252"/>
                </a:lnTo>
                <a:lnTo>
                  <a:pt x="6284415" y="184170"/>
                </a:lnTo>
                <a:lnTo>
                  <a:pt x="6277254" y="177783"/>
                </a:lnTo>
                <a:close/>
                <a:moveTo>
                  <a:pt x="4822698" y="174534"/>
                </a:moveTo>
                <a:lnTo>
                  <a:pt x="4826061" y="174750"/>
                </a:lnTo>
                <a:lnTo>
                  <a:pt x="4827689" y="176483"/>
                </a:lnTo>
                <a:lnTo>
                  <a:pt x="4831595" y="176807"/>
                </a:lnTo>
                <a:lnTo>
                  <a:pt x="4832030" y="179948"/>
                </a:lnTo>
                <a:lnTo>
                  <a:pt x="4827906" y="183845"/>
                </a:lnTo>
                <a:lnTo>
                  <a:pt x="4824867" y="184170"/>
                </a:lnTo>
                <a:lnTo>
                  <a:pt x="4821721" y="182329"/>
                </a:lnTo>
                <a:lnTo>
                  <a:pt x="4814775" y="181789"/>
                </a:lnTo>
                <a:lnTo>
                  <a:pt x="4813365" y="179839"/>
                </a:lnTo>
                <a:lnTo>
                  <a:pt x="4815752" y="178322"/>
                </a:lnTo>
                <a:lnTo>
                  <a:pt x="4818900" y="178214"/>
                </a:lnTo>
                <a:close/>
                <a:moveTo>
                  <a:pt x="4757586" y="170852"/>
                </a:moveTo>
                <a:lnTo>
                  <a:pt x="4760624" y="172693"/>
                </a:lnTo>
                <a:lnTo>
                  <a:pt x="4761709" y="177997"/>
                </a:lnTo>
                <a:lnTo>
                  <a:pt x="4763120" y="180488"/>
                </a:lnTo>
                <a:lnTo>
                  <a:pt x="4760949" y="182003"/>
                </a:lnTo>
                <a:lnTo>
                  <a:pt x="4759540" y="183952"/>
                </a:lnTo>
                <a:lnTo>
                  <a:pt x="4755198" y="183952"/>
                </a:lnTo>
                <a:lnTo>
                  <a:pt x="4750641" y="187633"/>
                </a:lnTo>
                <a:cubicBezTo>
                  <a:pt x="4749638" y="186674"/>
                  <a:pt x="4748729" y="185624"/>
                  <a:pt x="4747929" y="184494"/>
                </a:cubicBezTo>
                <a:lnTo>
                  <a:pt x="4746734" y="180704"/>
                </a:lnTo>
                <a:lnTo>
                  <a:pt x="4744239" y="178646"/>
                </a:lnTo>
                <a:lnTo>
                  <a:pt x="4744239" y="176914"/>
                </a:lnTo>
                <a:lnTo>
                  <a:pt x="4748362" y="174533"/>
                </a:lnTo>
                <a:lnTo>
                  <a:pt x="4754439" y="173016"/>
                </a:lnTo>
                <a:close/>
                <a:moveTo>
                  <a:pt x="2316830" y="164897"/>
                </a:moveTo>
                <a:lnTo>
                  <a:pt x="2317915" y="166846"/>
                </a:lnTo>
                <a:lnTo>
                  <a:pt x="2318567" y="173884"/>
                </a:lnTo>
                <a:lnTo>
                  <a:pt x="2321822" y="174967"/>
                </a:lnTo>
                <a:lnTo>
                  <a:pt x="2327899" y="169769"/>
                </a:lnTo>
                <a:lnTo>
                  <a:pt x="2333542" y="171501"/>
                </a:lnTo>
                <a:lnTo>
                  <a:pt x="2337665" y="169769"/>
                </a:lnTo>
                <a:lnTo>
                  <a:pt x="2343742" y="173234"/>
                </a:lnTo>
                <a:lnTo>
                  <a:pt x="2345153" y="177132"/>
                </a:lnTo>
                <a:lnTo>
                  <a:pt x="2348083" y="180055"/>
                </a:lnTo>
                <a:lnTo>
                  <a:pt x="2349603" y="184927"/>
                </a:lnTo>
                <a:lnTo>
                  <a:pt x="2347649" y="193156"/>
                </a:lnTo>
                <a:lnTo>
                  <a:pt x="2347649" y="199544"/>
                </a:lnTo>
                <a:lnTo>
                  <a:pt x="2344936" y="202901"/>
                </a:lnTo>
                <a:lnTo>
                  <a:pt x="2340161" y="205715"/>
                </a:lnTo>
                <a:lnTo>
                  <a:pt x="2341030" y="210046"/>
                </a:lnTo>
                <a:lnTo>
                  <a:pt x="2344393" y="210370"/>
                </a:lnTo>
                <a:lnTo>
                  <a:pt x="2348083" y="206581"/>
                </a:lnTo>
                <a:lnTo>
                  <a:pt x="2348951" y="202792"/>
                </a:lnTo>
                <a:lnTo>
                  <a:pt x="2355787" y="201601"/>
                </a:lnTo>
                <a:lnTo>
                  <a:pt x="2361539" y="197811"/>
                </a:lnTo>
                <a:lnTo>
                  <a:pt x="2364795" y="197595"/>
                </a:lnTo>
                <a:lnTo>
                  <a:pt x="2369026" y="202251"/>
                </a:lnTo>
                <a:lnTo>
                  <a:pt x="2367833" y="206256"/>
                </a:lnTo>
                <a:lnTo>
                  <a:pt x="2367833" y="212103"/>
                </a:lnTo>
                <a:lnTo>
                  <a:pt x="2370438" y="215351"/>
                </a:lnTo>
                <a:lnTo>
                  <a:pt x="2370221" y="217950"/>
                </a:lnTo>
                <a:lnTo>
                  <a:pt x="2363384" y="221847"/>
                </a:lnTo>
                <a:lnTo>
                  <a:pt x="2361322" y="225421"/>
                </a:lnTo>
                <a:lnTo>
                  <a:pt x="2362841" y="228019"/>
                </a:lnTo>
                <a:lnTo>
                  <a:pt x="2367833" y="228019"/>
                </a:lnTo>
                <a:lnTo>
                  <a:pt x="2372174" y="229968"/>
                </a:lnTo>
                <a:lnTo>
                  <a:pt x="2374887" y="229751"/>
                </a:lnTo>
                <a:lnTo>
                  <a:pt x="2376080" y="235490"/>
                </a:lnTo>
                <a:lnTo>
                  <a:pt x="2377708" y="239604"/>
                </a:lnTo>
                <a:lnTo>
                  <a:pt x="2377491" y="242635"/>
                </a:lnTo>
                <a:lnTo>
                  <a:pt x="2373367" y="245884"/>
                </a:lnTo>
                <a:lnTo>
                  <a:pt x="2373693" y="249565"/>
                </a:lnTo>
                <a:lnTo>
                  <a:pt x="2372716" y="256061"/>
                </a:lnTo>
                <a:lnTo>
                  <a:pt x="2367182" y="259851"/>
                </a:lnTo>
                <a:lnTo>
                  <a:pt x="2363601" y="263640"/>
                </a:lnTo>
                <a:lnTo>
                  <a:pt x="2360237" y="264181"/>
                </a:lnTo>
                <a:lnTo>
                  <a:pt x="2357199" y="270352"/>
                </a:lnTo>
                <a:lnTo>
                  <a:pt x="2354377" y="272951"/>
                </a:lnTo>
                <a:lnTo>
                  <a:pt x="2354377" y="275549"/>
                </a:lnTo>
                <a:lnTo>
                  <a:pt x="2356873" y="277390"/>
                </a:lnTo>
                <a:lnTo>
                  <a:pt x="2353400" y="283453"/>
                </a:lnTo>
                <a:lnTo>
                  <a:pt x="2351447" y="290816"/>
                </a:lnTo>
                <a:lnTo>
                  <a:pt x="2351121" y="296662"/>
                </a:lnTo>
                <a:lnTo>
                  <a:pt x="2347215" y="301751"/>
                </a:lnTo>
                <a:lnTo>
                  <a:pt x="2343525" y="304241"/>
                </a:lnTo>
                <a:lnTo>
                  <a:pt x="2343525" y="306732"/>
                </a:lnTo>
                <a:lnTo>
                  <a:pt x="2336364" y="311604"/>
                </a:lnTo>
                <a:lnTo>
                  <a:pt x="2333216" y="311604"/>
                </a:lnTo>
                <a:lnTo>
                  <a:pt x="2330829" y="309546"/>
                </a:lnTo>
                <a:lnTo>
                  <a:pt x="2326488" y="310087"/>
                </a:lnTo>
                <a:lnTo>
                  <a:pt x="2323883" y="310196"/>
                </a:lnTo>
                <a:lnTo>
                  <a:pt x="2321388" y="305865"/>
                </a:lnTo>
                <a:lnTo>
                  <a:pt x="2318892" y="298828"/>
                </a:lnTo>
                <a:lnTo>
                  <a:pt x="2327031" y="284103"/>
                </a:lnTo>
                <a:lnTo>
                  <a:pt x="2327031" y="278797"/>
                </a:lnTo>
                <a:lnTo>
                  <a:pt x="2328767" y="275657"/>
                </a:lnTo>
                <a:lnTo>
                  <a:pt x="2326705" y="273601"/>
                </a:lnTo>
                <a:lnTo>
                  <a:pt x="2323558" y="273601"/>
                </a:lnTo>
                <a:lnTo>
                  <a:pt x="2320520" y="266022"/>
                </a:lnTo>
                <a:lnTo>
                  <a:pt x="2315528" y="261908"/>
                </a:lnTo>
                <a:lnTo>
                  <a:pt x="2308583" y="262773"/>
                </a:lnTo>
                <a:lnTo>
                  <a:pt x="2307932" y="257902"/>
                </a:lnTo>
                <a:lnTo>
                  <a:pt x="2309451" y="255412"/>
                </a:lnTo>
                <a:lnTo>
                  <a:pt x="2313574" y="254329"/>
                </a:lnTo>
                <a:lnTo>
                  <a:pt x="2313900" y="250756"/>
                </a:lnTo>
                <a:lnTo>
                  <a:pt x="2306521" y="252596"/>
                </a:lnTo>
                <a:lnTo>
                  <a:pt x="2305110" y="250864"/>
                </a:lnTo>
                <a:lnTo>
                  <a:pt x="2297731" y="251080"/>
                </a:lnTo>
                <a:lnTo>
                  <a:pt x="2290352" y="248481"/>
                </a:lnTo>
                <a:lnTo>
                  <a:pt x="2286337" y="248698"/>
                </a:lnTo>
                <a:lnTo>
                  <a:pt x="2282865" y="252163"/>
                </a:lnTo>
                <a:lnTo>
                  <a:pt x="2279283" y="250431"/>
                </a:lnTo>
                <a:lnTo>
                  <a:pt x="2279283" y="245884"/>
                </a:lnTo>
                <a:lnTo>
                  <a:pt x="2275377" y="239928"/>
                </a:lnTo>
                <a:lnTo>
                  <a:pt x="2280152" y="231809"/>
                </a:lnTo>
                <a:lnTo>
                  <a:pt x="2280152" y="229102"/>
                </a:lnTo>
                <a:lnTo>
                  <a:pt x="2289484" y="224662"/>
                </a:lnTo>
                <a:lnTo>
                  <a:pt x="2293282" y="230076"/>
                </a:lnTo>
                <a:lnTo>
                  <a:pt x="2297406" y="232134"/>
                </a:lnTo>
                <a:lnTo>
                  <a:pt x="2299793" y="238521"/>
                </a:lnTo>
                <a:lnTo>
                  <a:pt x="2301855" y="238521"/>
                </a:lnTo>
                <a:lnTo>
                  <a:pt x="2309126" y="231809"/>
                </a:lnTo>
                <a:lnTo>
                  <a:pt x="2309126" y="228776"/>
                </a:lnTo>
                <a:lnTo>
                  <a:pt x="2304133" y="227153"/>
                </a:lnTo>
                <a:lnTo>
                  <a:pt x="2304460" y="224230"/>
                </a:lnTo>
                <a:lnTo>
                  <a:pt x="2308258" y="225421"/>
                </a:lnTo>
                <a:lnTo>
                  <a:pt x="2314986" y="223039"/>
                </a:lnTo>
                <a:lnTo>
                  <a:pt x="2319977" y="219466"/>
                </a:lnTo>
                <a:lnTo>
                  <a:pt x="2316179" y="217192"/>
                </a:lnTo>
                <a:lnTo>
                  <a:pt x="2309776" y="218599"/>
                </a:lnTo>
                <a:lnTo>
                  <a:pt x="2307932" y="215677"/>
                </a:lnTo>
                <a:lnTo>
                  <a:pt x="2309451" y="211562"/>
                </a:lnTo>
                <a:lnTo>
                  <a:pt x="2315094" y="206907"/>
                </a:lnTo>
                <a:lnTo>
                  <a:pt x="2317915" y="206690"/>
                </a:lnTo>
                <a:lnTo>
                  <a:pt x="2319652" y="201601"/>
                </a:lnTo>
                <a:lnTo>
                  <a:pt x="2316830" y="197811"/>
                </a:lnTo>
                <a:lnTo>
                  <a:pt x="2313466" y="199652"/>
                </a:lnTo>
                <a:lnTo>
                  <a:pt x="2311187" y="199652"/>
                </a:lnTo>
                <a:lnTo>
                  <a:pt x="2304676" y="205391"/>
                </a:lnTo>
                <a:lnTo>
                  <a:pt x="2298057" y="208422"/>
                </a:lnTo>
                <a:lnTo>
                  <a:pt x="2297189" y="206581"/>
                </a:lnTo>
                <a:lnTo>
                  <a:pt x="2301529" y="199544"/>
                </a:lnTo>
                <a:lnTo>
                  <a:pt x="2307932" y="196729"/>
                </a:lnTo>
                <a:lnTo>
                  <a:pt x="2313249" y="191640"/>
                </a:lnTo>
                <a:lnTo>
                  <a:pt x="2311838" y="189583"/>
                </a:lnTo>
                <a:lnTo>
                  <a:pt x="2306304" y="190774"/>
                </a:lnTo>
                <a:lnTo>
                  <a:pt x="2304133" y="192615"/>
                </a:lnTo>
                <a:lnTo>
                  <a:pt x="2300335" y="190016"/>
                </a:lnTo>
                <a:lnTo>
                  <a:pt x="2300119" y="186118"/>
                </a:lnTo>
                <a:lnTo>
                  <a:pt x="2305002" y="179947"/>
                </a:lnTo>
                <a:lnTo>
                  <a:pt x="2306630" y="174967"/>
                </a:lnTo>
                <a:lnTo>
                  <a:pt x="2311730" y="172151"/>
                </a:lnTo>
                <a:lnTo>
                  <a:pt x="2312924" y="168362"/>
                </a:lnTo>
                <a:close/>
                <a:moveTo>
                  <a:pt x="3203953" y="161108"/>
                </a:moveTo>
                <a:lnTo>
                  <a:pt x="3204930" y="163381"/>
                </a:lnTo>
                <a:lnTo>
                  <a:pt x="3204930" y="166846"/>
                </a:lnTo>
                <a:lnTo>
                  <a:pt x="3206232" y="168253"/>
                </a:lnTo>
                <a:lnTo>
                  <a:pt x="3205038" y="170311"/>
                </a:lnTo>
                <a:lnTo>
                  <a:pt x="3201675" y="166087"/>
                </a:lnTo>
                <a:lnTo>
                  <a:pt x="3201892" y="162516"/>
                </a:lnTo>
                <a:close/>
                <a:moveTo>
                  <a:pt x="5383076" y="155693"/>
                </a:moveTo>
                <a:lnTo>
                  <a:pt x="5392300" y="156559"/>
                </a:lnTo>
                <a:lnTo>
                  <a:pt x="5398594" y="161108"/>
                </a:lnTo>
                <a:lnTo>
                  <a:pt x="5406732" y="171934"/>
                </a:lnTo>
                <a:lnTo>
                  <a:pt x="5408795" y="176590"/>
                </a:lnTo>
                <a:lnTo>
                  <a:pt x="5406191" y="184168"/>
                </a:lnTo>
                <a:lnTo>
                  <a:pt x="5408686" y="186227"/>
                </a:lnTo>
                <a:lnTo>
                  <a:pt x="5407276" y="190558"/>
                </a:lnTo>
                <a:lnTo>
                  <a:pt x="5404779" y="194455"/>
                </a:lnTo>
                <a:lnTo>
                  <a:pt x="5405539" y="198136"/>
                </a:lnTo>
                <a:lnTo>
                  <a:pt x="5407927" y="196187"/>
                </a:lnTo>
                <a:lnTo>
                  <a:pt x="5410857" y="189907"/>
                </a:lnTo>
                <a:lnTo>
                  <a:pt x="5411833" y="184060"/>
                </a:lnTo>
                <a:lnTo>
                  <a:pt x="5412050" y="179838"/>
                </a:lnTo>
                <a:lnTo>
                  <a:pt x="5414004" y="176049"/>
                </a:lnTo>
                <a:lnTo>
                  <a:pt x="5413461" y="173018"/>
                </a:lnTo>
                <a:lnTo>
                  <a:pt x="5407276" y="165764"/>
                </a:lnTo>
                <a:lnTo>
                  <a:pt x="5406407" y="162515"/>
                </a:lnTo>
                <a:lnTo>
                  <a:pt x="5407276" y="159375"/>
                </a:lnTo>
                <a:lnTo>
                  <a:pt x="5415305" y="158184"/>
                </a:lnTo>
                <a:lnTo>
                  <a:pt x="5424529" y="159267"/>
                </a:lnTo>
                <a:lnTo>
                  <a:pt x="5439180" y="171609"/>
                </a:lnTo>
                <a:lnTo>
                  <a:pt x="5441567" y="172151"/>
                </a:lnTo>
                <a:lnTo>
                  <a:pt x="5444171" y="173992"/>
                </a:lnTo>
                <a:lnTo>
                  <a:pt x="5444496" y="179513"/>
                </a:lnTo>
                <a:lnTo>
                  <a:pt x="5448403" y="182113"/>
                </a:lnTo>
                <a:lnTo>
                  <a:pt x="5449597" y="188608"/>
                </a:lnTo>
                <a:lnTo>
                  <a:pt x="5449597" y="194995"/>
                </a:lnTo>
                <a:lnTo>
                  <a:pt x="5456759" y="202250"/>
                </a:lnTo>
                <a:lnTo>
                  <a:pt x="5461860" y="209286"/>
                </a:lnTo>
                <a:lnTo>
                  <a:pt x="5461534" y="211994"/>
                </a:lnTo>
                <a:lnTo>
                  <a:pt x="5457085" y="212211"/>
                </a:lnTo>
                <a:lnTo>
                  <a:pt x="5453938" y="210154"/>
                </a:lnTo>
                <a:lnTo>
                  <a:pt x="5451116" y="210263"/>
                </a:lnTo>
                <a:lnTo>
                  <a:pt x="5451875" y="216001"/>
                </a:lnTo>
                <a:lnTo>
                  <a:pt x="5457193" y="219573"/>
                </a:lnTo>
                <a:lnTo>
                  <a:pt x="5463596" y="220656"/>
                </a:lnTo>
                <a:lnTo>
                  <a:pt x="5469239" y="226828"/>
                </a:lnTo>
                <a:lnTo>
                  <a:pt x="5472711" y="227909"/>
                </a:lnTo>
                <a:lnTo>
                  <a:pt x="5478571" y="234407"/>
                </a:lnTo>
                <a:lnTo>
                  <a:pt x="5478571" y="238306"/>
                </a:lnTo>
                <a:lnTo>
                  <a:pt x="5472928" y="245883"/>
                </a:lnTo>
                <a:lnTo>
                  <a:pt x="5465983" y="247832"/>
                </a:lnTo>
                <a:lnTo>
                  <a:pt x="5460340" y="253246"/>
                </a:lnTo>
                <a:lnTo>
                  <a:pt x="5455891" y="256712"/>
                </a:lnTo>
                <a:lnTo>
                  <a:pt x="5451550" y="257252"/>
                </a:lnTo>
                <a:lnTo>
                  <a:pt x="5446667" y="253246"/>
                </a:lnTo>
                <a:lnTo>
                  <a:pt x="5443737" y="250539"/>
                </a:lnTo>
                <a:lnTo>
                  <a:pt x="5439288" y="251081"/>
                </a:lnTo>
                <a:lnTo>
                  <a:pt x="5435490" y="249674"/>
                </a:lnTo>
                <a:lnTo>
                  <a:pt x="5430715" y="251081"/>
                </a:lnTo>
                <a:lnTo>
                  <a:pt x="5419104" y="250213"/>
                </a:lnTo>
                <a:lnTo>
                  <a:pt x="5413135" y="246751"/>
                </a:lnTo>
                <a:lnTo>
                  <a:pt x="5410205" y="244476"/>
                </a:lnTo>
                <a:lnTo>
                  <a:pt x="5403586" y="246751"/>
                </a:lnTo>
                <a:lnTo>
                  <a:pt x="5397943" y="249674"/>
                </a:lnTo>
                <a:lnTo>
                  <a:pt x="5393602" y="248483"/>
                </a:lnTo>
                <a:lnTo>
                  <a:pt x="5388502" y="245234"/>
                </a:lnTo>
                <a:lnTo>
                  <a:pt x="5382642" y="244476"/>
                </a:lnTo>
                <a:lnTo>
                  <a:pt x="5379278" y="241119"/>
                </a:lnTo>
                <a:lnTo>
                  <a:pt x="5376240" y="232024"/>
                </a:lnTo>
                <a:lnTo>
                  <a:pt x="5372767" y="227369"/>
                </a:lnTo>
                <a:lnTo>
                  <a:pt x="5369621" y="226828"/>
                </a:lnTo>
                <a:lnTo>
                  <a:pt x="5365605" y="229101"/>
                </a:lnTo>
                <a:lnTo>
                  <a:pt x="5361373" y="225744"/>
                </a:lnTo>
                <a:lnTo>
                  <a:pt x="5357467" y="223905"/>
                </a:lnTo>
                <a:lnTo>
                  <a:pt x="5356273" y="226288"/>
                </a:lnTo>
                <a:lnTo>
                  <a:pt x="5357467" y="229751"/>
                </a:lnTo>
                <a:lnTo>
                  <a:pt x="5354862" y="230726"/>
                </a:lnTo>
                <a:lnTo>
                  <a:pt x="5353125" y="228885"/>
                </a:lnTo>
                <a:lnTo>
                  <a:pt x="5348134" y="225744"/>
                </a:lnTo>
                <a:lnTo>
                  <a:pt x="5349002" y="223362"/>
                </a:lnTo>
                <a:lnTo>
                  <a:pt x="5354320" y="219898"/>
                </a:lnTo>
                <a:lnTo>
                  <a:pt x="5355188" y="216866"/>
                </a:lnTo>
                <a:lnTo>
                  <a:pt x="5353343" y="209396"/>
                </a:lnTo>
                <a:lnTo>
                  <a:pt x="5354537" y="204956"/>
                </a:lnTo>
                <a:lnTo>
                  <a:pt x="5360180" y="199977"/>
                </a:lnTo>
                <a:lnTo>
                  <a:pt x="5358335" y="196945"/>
                </a:lnTo>
                <a:lnTo>
                  <a:pt x="5355188" y="196945"/>
                </a:lnTo>
                <a:lnTo>
                  <a:pt x="5350521" y="194132"/>
                </a:lnTo>
                <a:lnTo>
                  <a:pt x="5350087" y="190232"/>
                </a:lnTo>
                <a:lnTo>
                  <a:pt x="5352475" y="182761"/>
                </a:lnTo>
                <a:lnTo>
                  <a:pt x="5356598" y="179082"/>
                </a:lnTo>
                <a:lnTo>
                  <a:pt x="5363001" y="177455"/>
                </a:lnTo>
                <a:lnTo>
                  <a:pt x="5363435" y="173669"/>
                </a:lnTo>
                <a:lnTo>
                  <a:pt x="5365605" y="170311"/>
                </a:lnTo>
                <a:lnTo>
                  <a:pt x="5371574" y="167820"/>
                </a:lnTo>
                <a:lnTo>
                  <a:pt x="5379278" y="162732"/>
                </a:lnTo>
                <a:lnTo>
                  <a:pt x="5381232" y="156994"/>
                </a:lnTo>
                <a:close/>
                <a:moveTo>
                  <a:pt x="3263420" y="148007"/>
                </a:moveTo>
                <a:lnTo>
                  <a:pt x="3266784" y="151363"/>
                </a:lnTo>
                <a:lnTo>
                  <a:pt x="3268628" y="156885"/>
                </a:lnTo>
                <a:lnTo>
                  <a:pt x="3271124" y="161215"/>
                </a:lnTo>
                <a:lnTo>
                  <a:pt x="3270148" y="164464"/>
                </a:lnTo>
                <a:lnTo>
                  <a:pt x="3267218" y="165438"/>
                </a:lnTo>
                <a:lnTo>
                  <a:pt x="3265047" y="164680"/>
                </a:lnTo>
                <a:lnTo>
                  <a:pt x="3262877" y="161974"/>
                </a:lnTo>
                <a:lnTo>
                  <a:pt x="3262769" y="156127"/>
                </a:lnTo>
                <a:lnTo>
                  <a:pt x="3260490" y="152446"/>
                </a:lnTo>
                <a:lnTo>
                  <a:pt x="3260924" y="148439"/>
                </a:lnTo>
                <a:close/>
                <a:moveTo>
                  <a:pt x="3191908" y="147789"/>
                </a:moveTo>
                <a:lnTo>
                  <a:pt x="3193319" y="151038"/>
                </a:lnTo>
                <a:lnTo>
                  <a:pt x="3193319" y="158292"/>
                </a:lnTo>
                <a:lnTo>
                  <a:pt x="3195706" y="163273"/>
                </a:lnTo>
                <a:lnTo>
                  <a:pt x="3195055" y="170418"/>
                </a:lnTo>
                <a:lnTo>
                  <a:pt x="3192776" y="177131"/>
                </a:lnTo>
                <a:lnTo>
                  <a:pt x="3193102" y="184926"/>
                </a:lnTo>
                <a:lnTo>
                  <a:pt x="3198636" y="190773"/>
                </a:lnTo>
                <a:lnTo>
                  <a:pt x="3199179" y="196404"/>
                </a:lnTo>
                <a:lnTo>
                  <a:pt x="3197226" y="201600"/>
                </a:lnTo>
                <a:lnTo>
                  <a:pt x="3195055" y="199651"/>
                </a:lnTo>
                <a:lnTo>
                  <a:pt x="3190931" y="192181"/>
                </a:lnTo>
                <a:lnTo>
                  <a:pt x="3189847" y="184926"/>
                </a:lnTo>
                <a:lnTo>
                  <a:pt x="3184855" y="174749"/>
                </a:lnTo>
                <a:lnTo>
                  <a:pt x="3184855" y="168902"/>
                </a:lnTo>
                <a:lnTo>
                  <a:pt x="3187134" y="164463"/>
                </a:lnTo>
                <a:lnTo>
                  <a:pt x="3186917" y="152446"/>
                </a:lnTo>
                <a:close/>
                <a:moveTo>
                  <a:pt x="2448028" y="142267"/>
                </a:moveTo>
                <a:lnTo>
                  <a:pt x="2445965" y="147031"/>
                </a:lnTo>
                <a:lnTo>
                  <a:pt x="2449546" y="148330"/>
                </a:lnTo>
                <a:lnTo>
                  <a:pt x="2455189" y="148655"/>
                </a:lnTo>
                <a:lnTo>
                  <a:pt x="2456492" y="151903"/>
                </a:lnTo>
                <a:lnTo>
                  <a:pt x="2453562" y="158183"/>
                </a:lnTo>
                <a:lnTo>
                  <a:pt x="2447593" y="162731"/>
                </a:lnTo>
                <a:lnTo>
                  <a:pt x="2447160" y="166196"/>
                </a:lnTo>
                <a:lnTo>
                  <a:pt x="2444120" y="172800"/>
                </a:lnTo>
                <a:lnTo>
                  <a:pt x="2439021" y="177889"/>
                </a:lnTo>
                <a:lnTo>
                  <a:pt x="2437609" y="174099"/>
                </a:lnTo>
                <a:lnTo>
                  <a:pt x="2435439" y="171934"/>
                </a:lnTo>
                <a:lnTo>
                  <a:pt x="2435548" y="168253"/>
                </a:lnTo>
                <a:lnTo>
                  <a:pt x="2439780" y="164247"/>
                </a:lnTo>
                <a:lnTo>
                  <a:pt x="2439780" y="159916"/>
                </a:lnTo>
                <a:lnTo>
                  <a:pt x="2435548" y="161431"/>
                </a:lnTo>
                <a:lnTo>
                  <a:pt x="2429797" y="159700"/>
                </a:lnTo>
                <a:lnTo>
                  <a:pt x="2429688" y="156018"/>
                </a:lnTo>
                <a:lnTo>
                  <a:pt x="2432510" y="153311"/>
                </a:lnTo>
                <a:lnTo>
                  <a:pt x="2433378" y="149630"/>
                </a:lnTo>
                <a:lnTo>
                  <a:pt x="2440431" y="147465"/>
                </a:lnTo>
                <a:lnTo>
                  <a:pt x="2446183" y="142484"/>
                </a:lnTo>
                <a:close/>
                <a:moveTo>
                  <a:pt x="2525182" y="126352"/>
                </a:moveTo>
                <a:lnTo>
                  <a:pt x="2528112" y="126352"/>
                </a:lnTo>
                <a:lnTo>
                  <a:pt x="2530065" y="127652"/>
                </a:lnTo>
                <a:lnTo>
                  <a:pt x="2533863" y="127652"/>
                </a:lnTo>
                <a:lnTo>
                  <a:pt x="2534297" y="131767"/>
                </a:lnTo>
                <a:lnTo>
                  <a:pt x="2531801" y="131983"/>
                </a:lnTo>
                <a:lnTo>
                  <a:pt x="2529739" y="130467"/>
                </a:lnTo>
                <a:lnTo>
                  <a:pt x="2525073" y="129601"/>
                </a:lnTo>
                <a:lnTo>
                  <a:pt x="2523663" y="127544"/>
                </a:lnTo>
                <a:close/>
                <a:moveTo>
                  <a:pt x="3304006" y="119964"/>
                </a:moveTo>
                <a:lnTo>
                  <a:pt x="3307804" y="122886"/>
                </a:lnTo>
                <a:lnTo>
                  <a:pt x="3307479" y="128625"/>
                </a:lnTo>
                <a:lnTo>
                  <a:pt x="3305417" y="127975"/>
                </a:lnTo>
                <a:lnTo>
                  <a:pt x="3302487" y="121047"/>
                </a:lnTo>
                <a:close/>
                <a:moveTo>
                  <a:pt x="3282846" y="114984"/>
                </a:moveTo>
                <a:lnTo>
                  <a:pt x="3285776" y="116716"/>
                </a:lnTo>
                <a:lnTo>
                  <a:pt x="3286209" y="120614"/>
                </a:lnTo>
                <a:lnTo>
                  <a:pt x="3288706" y="121480"/>
                </a:lnTo>
                <a:lnTo>
                  <a:pt x="3291310" y="123970"/>
                </a:lnTo>
                <a:lnTo>
                  <a:pt x="3291310" y="126352"/>
                </a:lnTo>
                <a:lnTo>
                  <a:pt x="3287729" y="126135"/>
                </a:lnTo>
                <a:lnTo>
                  <a:pt x="3285776" y="124187"/>
                </a:lnTo>
                <a:lnTo>
                  <a:pt x="3280133" y="123538"/>
                </a:lnTo>
                <a:lnTo>
                  <a:pt x="3279265" y="120181"/>
                </a:lnTo>
                <a:lnTo>
                  <a:pt x="3279482" y="117907"/>
                </a:lnTo>
                <a:close/>
                <a:moveTo>
                  <a:pt x="5245912" y="110113"/>
                </a:moveTo>
                <a:lnTo>
                  <a:pt x="5251664" y="111628"/>
                </a:lnTo>
                <a:lnTo>
                  <a:pt x="5249602" y="114660"/>
                </a:lnTo>
                <a:lnTo>
                  <a:pt x="5249059" y="117908"/>
                </a:lnTo>
                <a:lnTo>
                  <a:pt x="5244935" y="121807"/>
                </a:lnTo>
                <a:lnTo>
                  <a:pt x="5239183" y="122996"/>
                </a:lnTo>
                <a:lnTo>
                  <a:pt x="5234408" y="121807"/>
                </a:lnTo>
                <a:lnTo>
                  <a:pt x="5231804" y="119532"/>
                </a:lnTo>
                <a:lnTo>
                  <a:pt x="5236254" y="114769"/>
                </a:lnTo>
                <a:lnTo>
                  <a:pt x="5238967" y="110653"/>
                </a:lnTo>
                <a:close/>
                <a:moveTo>
                  <a:pt x="3314640" y="108595"/>
                </a:moveTo>
                <a:lnTo>
                  <a:pt x="3317679" y="109137"/>
                </a:lnTo>
                <a:lnTo>
                  <a:pt x="3321694" y="114984"/>
                </a:lnTo>
                <a:lnTo>
                  <a:pt x="3324841" y="115525"/>
                </a:lnTo>
                <a:lnTo>
                  <a:pt x="3325058" y="118665"/>
                </a:lnTo>
                <a:lnTo>
                  <a:pt x="3323756" y="119964"/>
                </a:lnTo>
                <a:lnTo>
                  <a:pt x="3323647" y="125053"/>
                </a:lnTo>
                <a:lnTo>
                  <a:pt x="3322019" y="130360"/>
                </a:lnTo>
                <a:lnTo>
                  <a:pt x="3318221" y="129384"/>
                </a:lnTo>
                <a:lnTo>
                  <a:pt x="3312687" y="123537"/>
                </a:lnTo>
                <a:lnTo>
                  <a:pt x="3308563" y="121588"/>
                </a:lnTo>
                <a:lnTo>
                  <a:pt x="3307044" y="117257"/>
                </a:lnTo>
                <a:lnTo>
                  <a:pt x="3309757" y="116824"/>
                </a:lnTo>
                <a:lnTo>
                  <a:pt x="3312253" y="119747"/>
                </a:lnTo>
                <a:lnTo>
                  <a:pt x="3314206" y="117365"/>
                </a:lnTo>
                <a:lnTo>
                  <a:pt x="3313121" y="115092"/>
                </a:lnTo>
                <a:lnTo>
                  <a:pt x="3312470" y="110870"/>
                </a:lnTo>
                <a:close/>
                <a:moveTo>
                  <a:pt x="3379750" y="97228"/>
                </a:moveTo>
                <a:lnTo>
                  <a:pt x="3383114" y="99392"/>
                </a:lnTo>
                <a:lnTo>
                  <a:pt x="3383222" y="101558"/>
                </a:lnTo>
                <a:lnTo>
                  <a:pt x="3380943" y="102533"/>
                </a:lnTo>
                <a:lnTo>
                  <a:pt x="3378773" y="101450"/>
                </a:lnTo>
                <a:lnTo>
                  <a:pt x="3378665" y="98527"/>
                </a:lnTo>
                <a:close/>
                <a:moveTo>
                  <a:pt x="3414801" y="87591"/>
                </a:moveTo>
                <a:lnTo>
                  <a:pt x="3417731" y="87591"/>
                </a:lnTo>
                <a:lnTo>
                  <a:pt x="3417731" y="91381"/>
                </a:lnTo>
                <a:lnTo>
                  <a:pt x="3415343" y="94739"/>
                </a:lnTo>
                <a:lnTo>
                  <a:pt x="3412088" y="94846"/>
                </a:lnTo>
                <a:lnTo>
                  <a:pt x="3411003" y="93114"/>
                </a:lnTo>
                <a:lnTo>
                  <a:pt x="3411112" y="89974"/>
                </a:lnTo>
                <a:close/>
                <a:moveTo>
                  <a:pt x="6362004" y="85535"/>
                </a:moveTo>
                <a:lnTo>
                  <a:pt x="6363523" y="86836"/>
                </a:lnTo>
                <a:lnTo>
                  <a:pt x="6363849" y="90950"/>
                </a:lnTo>
                <a:lnTo>
                  <a:pt x="6365369" y="92898"/>
                </a:lnTo>
                <a:lnTo>
                  <a:pt x="6361679" y="95497"/>
                </a:lnTo>
                <a:lnTo>
                  <a:pt x="6358641" y="99070"/>
                </a:lnTo>
                <a:lnTo>
                  <a:pt x="6353215" y="101127"/>
                </a:lnTo>
                <a:lnTo>
                  <a:pt x="6355385" y="92032"/>
                </a:lnTo>
                <a:close/>
                <a:moveTo>
                  <a:pt x="3393750" y="84992"/>
                </a:moveTo>
                <a:lnTo>
                  <a:pt x="3396138" y="87591"/>
                </a:lnTo>
                <a:lnTo>
                  <a:pt x="3396897" y="91272"/>
                </a:lnTo>
                <a:lnTo>
                  <a:pt x="3403300" y="97119"/>
                </a:lnTo>
                <a:lnTo>
                  <a:pt x="3400912" y="98634"/>
                </a:lnTo>
                <a:lnTo>
                  <a:pt x="3398416" y="101991"/>
                </a:lnTo>
                <a:lnTo>
                  <a:pt x="3395270" y="102099"/>
                </a:lnTo>
                <a:lnTo>
                  <a:pt x="3394075" y="98851"/>
                </a:lnTo>
                <a:lnTo>
                  <a:pt x="3391145" y="93762"/>
                </a:lnTo>
                <a:lnTo>
                  <a:pt x="3389952" y="91164"/>
                </a:lnTo>
                <a:lnTo>
                  <a:pt x="3391362" y="90081"/>
                </a:lnTo>
                <a:lnTo>
                  <a:pt x="3392230" y="86725"/>
                </a:lnTo>
                <a:close/>
                <a:moveTo>
                  <a:pt x="5299953" y="84453"/>
                </a:moveTo>
                <a:lnTo>
                  <a:pt x="5303316" y="84777"/>
                </a:lnTo>
                <a:lnTo>
                  <a:pt x="5311239" y="88783"/>
                </a:lnTo>
                <a:lnTo>
                  <a:pt x="5318292" y="94305"/>
                </a:lnTo>
                <a:lnTo>
                  <a:pt x="5327950" y="105999"/>
                </a:lnTo>
                <a:lnTo>
                  <a:pt x="5334244" y="110438"/>
                </a:lnTo>
                <a:lnTo>
                  <a:pt x="5343143" y="113144"/>
                </a:lnTo>
                <a:lnTo>
                  <a:pt x="5355079" y="113036"/>
                </a:lnTo>
                <a:lnTo>
                  <a:pt x="5357250" y="114335"/>
                </a:lnTo>
                <a:lnTo>
                  <a:pt x="5357141" y="118341"/>
                </a:lnTo>
                <a:lnTo>
                  <a:pt x="5354537" y="123321"/>
                </a:lnTo>
                <a:lnTo>
                  <a:pt x="5354211" y="128519"/>
                </a:lnTo>
                <a:lnTo>
                  <a:pt x="5358443" y="136205"/>
                </a:lnTo>
                <a:lnTo>
                  <a:pt x="5365714" y="143135"/>
                </a:lnTo>
                <a:lnTo>
                  <a:pt x="5373852" y="147573"/>
                </a:lnTo>
                <a:lnTo>
                  <a:pt x="5374287" y="152553"/>
                </a:lnTo>
                <a:lnTo>
                  <a:pt x="5372116" y="156669"/>
                </a:lnTo>
                <a:lnTo>
                  <a:pt x="5365714" y="160241"/>
                </a:lnTo>
                <a:lnTo>
                  <a:pt x="5356382" y="166955"/>
                </a:lnTo>
                <a:lnTo>
                  <a:pt x="5350521" y="172693"/>
                </a:lnTo>
                <a:lnTo>
                  <a:pt x="5350087" y="177348"/>
                </a:lnTo>
                <a:lnTo>
                  <a:pt x="5346723" y="182113"/>
                </a:lnTo>
                <a:lnTo>
                  <a:pt x="5338693" y="186768"/>
                </a:lnTo>
                <a:lnTo>
                  <a:pt x="5333267" y="187526"/>
                </a:lnTo>
                <a:lnTo>
                  <a:pt x="5327299" y="186552"/>
                </a:lnTo>
                <a:lnTo>
                  <a:pt x="5321005" y="182870"/>
                </a:lnTo>
                <a:lnTo>
                  <a:pt x="5317099" y="182113"/>
                </a:lnTo>
                <a:lnTo>
                  <a:pt x="5314820" y="184494"/>
                </a:lnTo>
                <a:lnTo>
                  <a:pt x="5311022" y="184494"/>
                </a:lnTo>
                <a:lnTo>
                  <a:pt x="5303968" y="179406"/>
                </a:lnTo>
                <a:lnTo>
                  <a:pt x="5302666" y="174750"/>
                </a:lnTo>
                <a:lnTo>
                  <a:pt x="5300604" y="173127"/>
                </a:lnTo>
                <a:lnTo>
                  <a:pt x="5294310" y="175507"/>
                </a:lnTo>
                <a:lnTo>
                  <a:pt x="5291489" y="180272"/>
                </a:lnTo>
                <a:lnTo>
                  <a:pt x="5289101" y="181138"/>
                </a:lnTo>
                <a:lnTo>
                  <a:pt x="5287690" y="177781"/>
                </a:lnTo>
                <a:lnTo>
                  <a:pt x="5289209" y="173668"/>
                </a:lnTo>
                <a:lnTo>
                  <a:pt x="5291597" y="168578"/>
                </a:lnTo>
                <a:lnTo>
                  <a:pt x="5293225" y="155478"/>
                </a:lnTo>
                <a:lnTo>
                  <a:pt x="5292574" y="150822"/>
                </a:lnTo>
                <a:lnTo>
                  <a:pt x="5288341" y="148223"/>
                </a:lnTo>
                <a:lnTo>
                  <a:pt x="5285086" y="143460"/>
                </a:lnTo>
                <a:lnTo>
                  <a:pt x="5284218" y="124513"/>
                </a:lnTo>
                <a:lnTo>
                  <a:pt x="5285086" y="119640"/>
                </a:lnTo>
                <a:lnTo>
                  <a:pt x="5290077" y="113469"/>
                </a:lnTo>
                <a:lnTo>
                  <a:pt x="5294310" y="106323"/>
                </a:lnTo>
                <a:lnTo>
                  <a:pt x="5298325" y="100585"/>
                </a:lnTo>
                <a:lnTo>
                  <a:pt x="5298434" y="94197"/>
                </a:lnTo>
                <a:lnTo>
                  <a:pt x="5297457" y="90515"/>
                </a:lnTo>
                <a:lnTo>
                  <a:pt x="5298542" y="86618"/>
                </a:lnTo>
                <a:close/>
                <a:moveTo>
                  <a:pt x="3409917" y="76439"/>
                </a:moveTo>
                <a:lnTo>
                  <a:pt x="3412522" y="76439"/>
                </a:lnTo>
                <a:lnTo>
                  <a:pt x="3414366" y="79254"/>
                </a:lnTo>
                <a:lnTo>
                  <a:pt x="3413390" y="83477"/>
                </a:lnTo>
                <a:lnTo>
                  <a:pt x="3411979" y="85100"/>
                </a:lnTo>
                <a:lnTo>
                  <a:pt x="3410352" y="84560"/>
                </a:lnTo>
                <a:lnTo>
                  <a:pt x="3408507" y="80337"/>
                </a:lnTo>
                <a:close/>
                <a:moveTo>
                  <a:pt x="2566637" y="73841"/>
                </a:moveTo>
                <a:lnTo>
                  <a:pt x="2573040" y="79579"/>
                </a:lnTo>
                <a:lnTo>
                  <a:pt x="2574775" y="78712"/>
                </a:lnTo>
                <a:lnTo>
                  <a:pt x="2574775" y="75898"/>
                </a:lnTo>
                <a:lnTo>
                  <a:pt x="2576838" y="74165"/>
                </a:lnTo>
                <a:lnTo>
                  <a:pt x="2583566" y="77305"/>
                </a:lnTo>
                <a:lnTo>
                  <a:pt x="2584976" y="81420"/>
                </a:lnTo>
                <a:lnTo>
                  <a:pt x="2592030" y="86399"/>
                </a:lnTo>
                <a:lnTo>
                  <a:pt x="2593223" y="91381"/>
                </a:lnTo>
                <a:lnTo>
                  <a:pt x="2597347" y="96577"/>
                </a:lnTo>
                <a:lnTo>
                  <a:pt x="2597021" y="102857"/>
                </a:lnTo>
                <a:lnTo>
                  <a:pt x="2593223" y="110436"/>
                </a:lnTo>
                <a:lnTo>
                  <a:pt x="2593766" y="116174"/>
                </a:lnTo>
                <a:lnTo>
                  <a:pt x="2593006" y="123862"/>
                </a:lnTo>
                <a:lnTo>
                  <a:pt x="2590510" y="129491"/>
                </a:lnTo>
                <a:lnTo>
                  <a:pt x="2590836" y="136854"/>
                </a:lnTo>
                <a:lnTo>
                  <a:pt x="2589751" y="146923"/>
                </a:lnTo>
                <a:lnTo>
                  <a:pt x="2592355" y="153311"/>
                </a:lnTo>
                <a:lnTo>
                  <a:pt x="2591704" y="160349"/>
                </a:lnTo>
                <a:lnTo>
                  <a:pt x="2593223" y="161648"/>
                </a:lnTo>
                <a:lnTo>
                  <a:pt x="2594200" y="164354"/>
                </a:lnTo>
                <a:lnTo>
                  <a:pt x="2596479" y="160132"/>
                </a:lnTo>
                <a:lnTo>
                  <a:pt x="2601688" y="158508"/>
                </a:lnTo>
                <a:lnTo>
                  <a:pt x="2605920" y="158508"/>
                </a:lnTo>
                <a:lnTo>
                  <a:pt x="2608742" y="163488"/>
                </a:lnTo>
                <a:lnTo>
                  <a:pt x="2610369" y="169335"/>
                </a:lnTo>
                <a:lnTo>
                  <a:pt x="2607330" y="171176"/>
                </a:lnTo>
                <a:lnTo>
                  <a:pt x="2605269" y="169551"/>
                </a:lnTo>
                <a:lnTo>
                  <a:pt x="2604509" y="172150"/>
                </a:lnTo>
                <a:lnTo>
                  <a:pt x="2606029" y="176480"/>
                </a:lnTo>
                <a:lnTo>
                  <a:pt x="2601471" y="184709"/>
                </a:lnTo>
                <a:lnTo>
                  <a:pt x="2601579" y="188932"/>
                </a:lnTo>
                <a:lnTo>
                  <a:pt x="2603207" y="190990"/>
                </a:lnTo>
                <a:lnTo>
                  <a:pt x="2603099" y="193588"/>
                </a:lnTo>
                <a:lnTo>
                  <a:pt x="2604401" y="194561"/>
                </a:lnTo>
                <a:lnTo>
                  <a:pt x="2606788" y="192722"/>
                </a:lnTo>
                <a:lnTo>
                  <a:pt x="2610044" y="188607"/>
                </a:lnTo>
                <a:lnTo>
                  <a:pt x="2607439" y="185575"/>
                </a:lnTo>
                <a:lnTo>
                  <a:pt x="2608525" y="180379"/>
                </a:lnTo>
                <a:lnTo>
                  <a:pt x="2613733" y="170092"/>
                </a:lnTo>
                <a:lnTo>
                  <a:pt x="2617857" y="168144"/>
                </a:lnTo>
                <a:lnTo>
                  <a:pt x="2622089" y="169443"/>
                </a:lnTo>
                <a:lnTo>
                  <a:pt x="2621980" y="173232"/>
                </a:lnTo>
                <a:lnTo>
                  <a:pt x="2623283" y="174965"/>
                </a:lnTo>
                <a:lnTo>
                  <a:pt x="2623391" y="180486"/>
                </a:lnTo>
                <a:lnTo>
                  <a:pt x="2618834" y="185143"/>
                </a:lnTo>
                <a:lnTo>
                  <a:pt x="2619051" y="190123"/>
                </a:lnTo>
                <a:lnTo>
                  <a:pt x="2616989" y="193263"/>
                </a:lnTo>
                <a:lnTo>
                  <a:pt x="2613625" y="192938"/>
                </a:lnTo>
                <a:lnTo>
                  <a:pt x="2610803" y="194453"/>
                </a:lnTo>
                <a:lnTo>
                  <a:pt x="2609067" y="197161"/>
                </a:lnTo>
                <a:lnTo>
                  <a:pt x="2610803" y="199543"/>
                </a:lnTo>
                <a:lnTo>
                  <a:pt x="2613300" y="197810"/>
                </a:lnTo>
                <a:lnTo>
                  <a:pt x="2617097" y="196836"/>
                </a:lnTo>
                <a:lnTo>
                  <a:pt x="2618725" y="198134"/>
                </a:lnTo>
                <a:lnTo>
                  <a:pt x="2616446" y="205930"/>
                </a:lnTo>
                <a:lnTo>
                  <a:pt x="2611237" y="215241"/>
                </a:lnTo>
                <a:lnTo>
                  <a:pt x="2608742" y="217190"/>
                </a:lnTo>
                <a:lnTo>
                  <a:pt x="2600928" y="225744"/>
                </a:lnTo>
                <a:lnTo>
                  <a:pt x="2595936" y="226610"/>
                </a:lnTo>
                <a:lnTo>
                  <a:pt x="2584759" y="231699"/>
                </a:lnTo>
                <a:lnTo>
                  <a:pt x="2583349" y="233972"/>
                </a:lnTo>
                <a:lnTo>
                  <a:pt x="2586821" y="234622"/>
                </a:lnTo>
                <a:lnTo>
                  <a:pt x="2590836" y="231915"/>
                </a:lnTo>
                <a:lnTo>
                  <a:pt x="2595068" y="231699"/>
                </a:lnTo>
                <a:lnTo>
                  <a:pt x="2597998" y="233864"/>
                </a:lnTo>
                <a:lnTo>
                  <a:pt x="2598975" y="230832"/>
                </a:lnTo>
                <a:lnTo>
                  <a:pt x="2601471" y="229208"/>
                </a:lnTo>
                <a:lnTo>
                  <a:pt x="2603750" y="229534"/>
                </a:lnTo>
                <a:lnTo>
                  <a:pt x="2604726" y="232998"/>
                </a:lnTo>
                <a:lnTo>
                  <a:pt x="2610044" y="237870"/>
                </a:lnTo>
                <a:lnTo>
                  <a:pt x="2609501" y="241551"/>
                </a:lnTo>
                <a:lnTo>
                  <a:pt x="2604726" y="244475"/>
                </a:lnTo>
                <a:lnTo>
                  <a:pt x="2601037" y="249022"/>
                </a:lnTo>
                <a:lnTo>
                  <a:pt x="2601037" y="252162"/>
                </a:lnTo>
                <a:lnTo>
                  <a:pt x="2603641" y="252162"/>
                </a:lnTo>
                <a:lnTo>
                  <a:pt x="2609501" y="245774"/>
                </a:lnTo>
                <a:lnTo>
                  <a:pt x="2612431" y="238953"/>
                </a:lnTo>
                <a:lnTo>
                  <a:pt x="2614168" y="238736"/>
                </a:lnTo>
                <a:lnTo>
                  <a:pt x="2614493" y="249997"/>
                </a:lnTo>
                <a:lnTo>
                  <a:pt x="2612540" y="255952"/>
                </a:lnTo>
                <a:lnTo>
                  <a:pt x="2615578" y="259199"/>
                </a:lnTo>
                <a:lnTo>
                  <a:pt x="2614818" y="262664"/>
                </a:lnTo>
                <a:lnTo>
                  <a:pt x="2614818" y="265696"/>
                </a:lnTo>
                <a:lnTo>
                  <a:pt x="2612865" y="269918"/>
                </a:lnTo>
                <a:lnTo>
                  <a:pt x="2608307" y="271650"/>
                </a:lnTo>
                <a:lnTo>
                  <a:pt x="2604944" y="275006"/>
                </a:lnTo>
                <a:lnTo>
                  <a:pt x="2600819" y="275331"/>
                </a:lnTo>
                <a:lnTo>
                  <a:pt x="2593006" y="277930"/>
                </a:lnTo>
                <a:lnTo>
                  <a:pt x="2586279" y="277064"/>
                </a:lnTo>
                <a:lnTo>
                  <a:pt x="2581829" y="277172"/>
                </a:lnTo>
                <a:lnTo>
                  <a:pt x="2576838" y="283885"/>
                </a:lnTo>
                <a:lnTo>
                  <a:pt x="2573040" y="285509"/>
                </a:lnTo>
                <a:lnTo>
                  <a:pt x="2573040" y="279770"/>
                </a:lnTo>
                <a:lnTo>
                  <a:pt x="2574450" y="278256"/>
                </a:lnTo>
                <a:lnTo>
                  <a:pt x="2573907" y="275331"/>
                </a:lnTo>
                <a:lnTo>
                  <a:pt x="2570869" y="276523"/>
                </a:lnTo>
                <a:lnTo>
                  <a:pt x="2567831" y="281286"/>
                </a:lnTo>
                <a:lnTo>
                  <a:pt x="2567722" y="287349"/>
                </a:lnTo>
                <a:lnTo>
                  <a:pt x="2564792" y="292656"/>
                </a:lnTo>
                <a:lnTo>
                  <a:pt x="2555676" y="300233"/>
                </a:lnTo>
                <a:lnTo>
                  <a:pt x="2552095" y="308029"/>
                </a:lnTo>
                <a:lnTo>
                  <a:pt x="2549491" y="310736"/>
                </a:lnTo>
                <a:lnTo>
                  <a:pt x="2547864" y="305214"/>
                </a:lnTo>
                <a:lnTo>
                  <a:pt x="2545801" y="301100"/>
                </a:lnTo>
                <a:lnTo>
                  <a:pt x="2546669" y="294279"/>
                </a:lnTo>
                <a:lnTo>
                  <a:pt x="2550793" y="288866"/>
                </a:lnTo>
                <a:lnTo>
                  <a:pt x="2554157" y="281178"/>
                </a:lnTo>
                <a:lnTo>
                  <a:pt x="2557413" y="279988"/>
                </a:lnTo>
                <a:lnTo>
                  <a:pt x="2556545" y="277605"/>
                </a:lnTo>
                <a:lnTo>
                  <a:pt x="2556870" y="273275"/>
                </a:lnTo>
                <a:lnTo>
                  <a:pt x="2554592" y="277064"/>
                </a:lnTo>
                <a:lnTo>
                  <a:pt x="2549925" y="278580"/>
                </a:lnTo>
                <a:lnTo>
                  <a:pt x="2547864" y="286484"/>
                </a:lnTo>
                <a:lnTo>
                  <a:pt x="2541895" y="291356"/>
                </a:lnTo>
                <a:lnTo>
                  <a:pt x="2541895" y="295795"/>
                </a:lnTo>
                <a:lnTo>
                  <a:pt x="2543414" y="298393"/>
                </a:lnTo>
                <a:lnTo>
                  <a:pt x="2543414" y="304890"/>
                </a:lnTo>
                <a:lnTo>
                  <a:pt x="2538314" y="306946"/>
                </a:lnTo>
                <a:lnTo>
                  <a:pt x="2538314" y="308354"/>
                </a:lnTo>
                <a:lnTo>
                  <a:pt x="2542871" y="309329"/>
                </a:lnTo>
                <a:lnTo>
                  <a:pt x="2543414" y="314200"/>
                </a:lnTo>
                <a:lnTo>
                  <a:pt x="2539290" y="317125"/>
                </a:lnTo>
                <a:lnTo>
                  <a:pt x="2534298" y="321888"/>
                </a:lnTo>
                <a:lnTo>
                  <a:pt x="2530284" y="321022"/>
                </a:lnTo>
                <a:lnTo>
                  <a:pt x="2530284" y="318098"/>
                </a:lnTo>
                <a:lnTo>
                  <a:pt x="2532562" y="312468"/>
                </a:lnTo>
                <a:lnTo>
                  <a:pt x="2531694" y="308462"/>
                </a:lnTo>
                <a:lnTo>
                  <a:pt x="2528981" y="310195"/>
                </a:lnTo>
                <a:lnTo>
                  <a:pt x="2525509" y="322104"/>
                </a:lnTo>
                <a:lnTo>
                  <a:pt x="2517913" y="330008"/>
                </a:lnTo>
                <a:lnTo>
                  <a:pt x="2515200" y="335096"/>
                </a:lnTo>
                <a:lnTo>
                  <a:pt x="2512052" y="337912"/>
                </a:lnTo>
                <a:lnTo>
                  <a:pt x="2510859" y="336180"/>
                </a:lnTo>
                <a:lnTo>
                  <a:pt x="2511510" y="333257"/>
                </a:lnTo>
                <a:lnTo>
                  <a:pt x="2509339" y="328601"/>
                </a:lnTo>
                <a:lnTo>
                  <a:pt x="2511184" y="319831"/>
                </a:lnTo>
                <a:lnTo>
                  <a:pt x="2509774" y="315933"/>
                </a:lnTo>
                <a:lnTo>
                  <a:pt x="2511076" y="309329"/>
                </a:lnTo>
                <a:lnTo>
                  <a:pt x="2516502" y="300233"/>
                </a:lnTo>
                <a:lnTo>
                  <a:pt x="2516502" y="294062"/>
                </a:lnTo>
                <a:lnTo>
                  <a:pt x="2514332" y="299260"/>
                </a:lnTo>
                <a:lnTo>
                  <a:pt x="2509014" y="304565"/>
                </a:lnTo>
                <a:lnTo>
                  <a:pt x="2507061" y="311061"/>
                </a:lnTo>
                <a:lnTo>
                  <a:pt x="2507603" y="320913"/>
                </a:lnTo>
                <a:lnTo>
                  <a:pt x="2503480" y="332173"/>
                </a:lnTo>
                <a:lnTo>
                  <a:pt x="2501526" y="333473"/>
                </a:lnTo>
                <a:lnTo>
                  <a:pt x="2500550" y="328492"/>
                </a:lnTo>
                <a:lnTo>
                  <a:pt x="2501743" y="324270"/>
                </a:lnTo>
                <a:lnTo>
                  <a:pt x="2500550" y="320155"/>
                </a:lnTo>
                <a:lnTo>
                  <a:pt x="2493930" y="319614"/>
                </a:lnTo>
                <a:lnTo>
                  <a:pt x="2495015" y="323837"/>
                </a:lnTo>
                <a:lnTo>
                  <a:pt x="2493062" y="328275"/>
                </a:lnTo>
                <a:lnTo>
                  <a:pt x="2488830" y="330008"/>
                </a:lnTo>
                <a:lnTo>
                  <a:pt x="2479172" y="323296"/>
                </a:lnTo>
                <a:lnTo>
                  <a:pt x="2472769" y="321239"/>
                </a:lnTo>
                <a:lnTo>
                  <a:pt x="2472769" y="314200"/>
                </a:lnTo>
                <a:lnTo>
                  <a:pt x="2469188" y="313011"/>
                </a:lnTo>
                <a:lnTo>
                  <a:pt x="2466258" y="315500"/>
                </a:lnTo>
                <a:lnTo>
                  <a:pt x="2465933" y="304890"/>
                </a:lnTo>
                <a:lnTo>
                  <a:pt x="2467994" y="301641"/>
                </a:lnTo>
                <a:lnTo>
                  <a:pt x="2464848" y="303374"/>
                </a:lnTo>
                <a:lnTo>
                  <a:pt x="2463003" y="300450"/>
                </a:lnTo>
                <a:lnTo>
                  <a:pt x="2463654" y="292005"/>
                </a:lnTo>
                <a:lnTo>
                  <a:pt x="2469839" y="291140"/>
                </a:lnTo>
                <a:lnTo>
                  <a:pt x="2473854" y="295578"/>
                </a:lnTo>
                <a:lnTo>
                  <a:pt x="2476350" y="293737"/>
                </a:lnTo>
                <a:lnTo>
                  <a:pt x="2480148" y="292872"/>
                </a:lnTo>
                <a:lnTo>
                  <a:pt x="2476784" y="291789"/>
                </a:lnTo>
                <a:lnTo>
                  <a:pt x="2473529" y="286484"/>
                </a:lnTo>
                <a:lnTo>
                  <a:pt x="2470707" y="286158"/>
                </a:lnTo>
                <a:lnTo>
                  <a:pt x="2469188" y="287999"/>
                </a:lnTo>
                <a:lnTo>
                  <a:pt x="2465716" y="287025"/>
                </a:lnTo>
                <a:lnTo>
                  <a:pt x="2465065" y="280962"/>
                </a:lnTo>
                <a:lnTo>
                  <a:pt x="2467778" y="270460"/>
                </a:lnTo>
                <a:lnTo>
                  <a:pt x="2470707" y="270893"/>
                </a:lnTo>
                <a:lnTo>
                  <a:pt x="2473529" y="278364"/>
                </a:lnTo>
                <a:lnTo>
                  <a:pt x="2475157" y="276198"/>
                </a:lnTo>
                <a:lnTo>
                  <a:pt x="2475374" y="270893"/>
                </a:lnTo>
                <a:lnTo>
                  <a:pt x="2470056" y="266020"/>
                </a:lnTo>
                <a:lnTo>
                  <a:pt x="2471359" y="257575"/>
                </a:lnTo>
                <a:lnTo>
                  <a:pt x="2474614" y="254869"/>
                </a:lnTo>
                <a:lnTo>
                  <a:pt x="2481885" y="254544"/>
                </a:lnTo>
                <a:lnTo>
                  <a:pt x="2485140" y="251079"/>
                </a:lnTo>
                <a:lnTo>
                  <a:pt x="2487962" y="249022"/>
                </a:lnTo>
                <a:lnTo>
                  <a:pt x="2494473" y="254869"/>
                </a:lnTo>
                <a:lnTo>
                  <a:pt x="2499139" y="256384"/>
                </a:lnTo>
                <a:lnTo>
                  <a:pt x="2501852" y="259849"/>
                </a:lnTo>
                <a:lnTo>
                  <a:pt x="2508254" y="260174"/>
                </a:lnTo>
                <a:lnTo>
                  <a:pt x="2517587" y="261364"/>
                </a:lnTo>
                <a:lnTo>
                  <a:pt x="2520734" y="262989"/>
                </a:lnTo>
                <a:lnTo>
                  <a:pt x="2531043" y="261040"/>
                </a:lnTo>
                <a:lnTo>
                  <a:pt x="2527787" y="258874"/>
                </a:lnTo>
                <a:lnTo>
                  <a:pt x="2518238" y="258874"/>
                </a:lnTo>
                <a:lnTo>
                  <a:pt x="2508797" y="257575"/>
                </a:lnTo>
                <a:lnTo>
                  <a:pt x="2502611" y="254652"/>
                </a:lnTo>
                <a:lnTo>
                  <a:pt x="2502937" y="251945"/>
                </a:lnTo>
                <a:lnTo>
                  <a:pt x="2508797" y="249671"/>
                </a:lnTo>
                <a:lnTo>
                  <a:pt x="2515308" y="254002"/>
                </a:lnTo>
                <a:lnTo>
                  <a:pt x="2520191" y="253461"/>
                </a:lnTo>
                <a:lnTo>
                  <a:pt x="2529958" y="253895"/>
                </a:lnTo>
                <a:lnTo>
                  <a:pt x="2528547" y="251729"/>
                </a:lnTo>
                <a:lnTo>
                  <a:pt x="2517262" y="249022"/>
                </a:lnTo>
                <a:lnTo>
                  <a:pt x="2511727" y="245124"/>
                </a:lnTo>
                <a:lnTo>
                  <a:pt x="2506518" y="246316"/>
                </a:lnTo>
                <a:lnTo>
                  <a:pt x="2502937" y="245774"/>
                </a:lnTo>
                <a:lnTo>
                  <a:pt x="2502937" y="241768"/>
                </a:lnTo>
                <a:lnTo>
                  <a:pt x="2507278" y="241443"/>
                </a:lnTo>
                <a:lnTo>
                  <a:pt x="2505541" y="238736"/>
                </a:lnTo>
                <a:lnTo>
                  <a:pt x="2498813" y="238844"/>
                </a:lnTo>
                <a:lnTo>
                  <a:pt x="2495884" y="237545"/>
                </a:lnTo>
                <a:lnTo>
                  <a:pt x="2498271" y="234946"/>
                </a:lnTo>
                <a:lnTo>
                  <a:pt x="2498162" y="232132"/>
                </a:lnTo>
                <a:lnTo>
                  <a:pt x="2493605" y="235488"/>
                </a:lnTo>
                <a:lnTo>
                  <a:pt x="2490892" y="235271"/>
                </a:lnTo>
                <a:lnTo>
                  <a:pt x="2486876" y="239061"/>
                </a:lnTo>
                <a:lnTo>
                  <a:pt x="2483404" y="239061"/>
                </a:lnTo>
                <a:lnTo>
                  <a:pt x="2481559" y="236788"/>
                </a:lnTo>
                <a:lnTo>
                  <a:pt x="2484163" y="232024"/>
                </a:lnTo>
                <a:lnTo>
                  <a:pt x="2488396" y="231807"/>
                </a:lnTo>
                <a:lnTo>
                  <a:pt x="2489156" y="227909"/>
                </a:lnTo>
                <a:lnTo>
                  <a:pt x="2486876" y="225419"/>
                </a:lnTo>
                <a:lnTo>
                  <a:pt x="2482970" y="229642"/>
                </a:lnTo>
                <a:lnTo>
                  <a:pt x="2477110" y="229208"/>
                </a:lnTo>
                <a:lnTo>
                  <a:pt x="2473963" y="231157"/>
                </a:lnTo>
                <a:lnTo>
                  <a:pt x="2471359" y="228776"/>
                </a:lnTo>
                <a:lnTo>
                  <a:pt x="2471792" y="224986"/>
                </a:lnTo>
                <a:lnTo>
                  <a:pt x="2474505" y="223795"/>
                </a:lnTo>
                <a:lnTo>
                  <a:pt x="2475157" y="221196"/>
                </a:lnTo>
                <a:lnTo>
                  <a:pt x="2472552" y="217948"/>
                </a:lnTo>
                <a:lnTo>
                  <a:pt x="2473312" y="214267"/>
                </a:lnTo>
                <a:lnTo>
                  <a:pt x="2479497" y="206038"/>
                </a:lnTo>
                <a:lnTo>
                  <a:pt x="2483946" y="205714"/>
                </a:lnTo>
                <a:lnTo>
                  <a:pt x="2486443" y="206904"/>
                </a:lnTo>
                <a:lnTo>
                  <a:pt x="2493605" y="206688"/>
                </a:lnTo>
                <a:lnTo>
                  <a:pt x="2498597" y="208420"/>
                </a:lnTo>
                <a:lnTo>
                  <a:pt x="2501852" y="206580"/>
                </a:lnTo>
                <a:lnTo>
                  <a:pt x="2501852" y="204522"/>
                </a:lnTo>
                <a:lnTo>
                  <a:pt x="2497620" y="205930"/>
                </a:lnTo>
                <a:lnTo>
                  <a:pt x="2493496" y="203657"/>
                </a:lnTo>
                <a:lnTo>
                  <a:pt x="2486226" y="203115"/>
                </a:lnTo>
                <a:lnTo>
                  <a:pt x="2483078" y="200408"/>
                </a:lnTo>
                <a:lnTo>
                  <a:pt x="2482970" y="190231"/>
                </a:lnTo>
                <a:lnTo>
                  <a:pt x="2485683" y="188715"/>
                </a:lnTo>
                <a:lnTo>
                  <a:pt x="2485683" y="182327"/>
                </a:lnTo>
                <a:lnTo>
                  <a:pt x="2488613" y="183843"/>
                </a:lnTo>
                <a:lnTo>
                  <a:pt x="2492302" y="181677"/>
                </a:lnTo>
                <a:lnTo>
                  <a:pt x="2490024" y="174423"/>
                </a:lnTo>
                <a:lnTo>
                  <a:pt x="2492302" y="171825"/>
                </a:lnTo>
                <a:lnTo>
                  <a:pt x="2491543" y="169551"/>
                </a:lnTo>
                <a:lnTo>
                  <a:pt x="2493605" y="164463"/>
                </a:lnTo>
                <a:lnTo>
                  <a:pt x="2495341" y="164463"/>
                </a:lnTo>
                <a:lnTo>
                  <a:pt x="2496860" y="167061"/>
                </a:lnTo>
                <a:lnTo>
                  <a:pt x="2500333" y="168360"/>
                </a:lnTo>
                <a:lnTo>
                  <a:pt x="2504782" y="174965"/>
                </a:lnTo>
                <a:lnTo>
                  <a:pt x="2517913" y="177672"/>
                </a:lnTo>
                <a:lnTo>
                  <a:pt x="2524098" y="182869"/>
                </a:lnTo>
                <a:lnTo>
                  <a:pt x="2526919" y="182111"/>
                </a:lnTo>
                <a:lnTo>
                  <a:pt x="2528547" y="174965"/>
                </a:lnTo>
                <a:lnTo>
                  <a:pt x="2532562" y="172041"/>
                </a:lnTo>
                <a:lnTo>
                  <a:pt x="2532020" y="168794"/>
                </a:lnTo>
                <a:lnTo>
                  <a:pt x="2529632" y="168577"/>
                </a:lnTo>
                <a:lnTo>
                  <a:pt x="2527028" y="171608"/>
                </a:lnTo>
                <a:lnTo>
                  <a:pt x="2520734" y="171825"/>
                </a:lnTo>
                <a:lnTo>
                  <a:pt x="2516610" y="169010"/>
                </a:lnTo>
                <a:lnTo>
                  <a:pt x="2514657" y="165221"/>
                </a:lnTo>
                <a:lnTo>
                  <a:pt x="2508797" y="161756"/>
                </a:lnTo>
                <a:lnTo>
                  <a:pt x="2514332" y="161864"/>
                </a:lnTo>
                <a:lnTo>
                  <a:pt x="2515850" y="161215"/>
                </a:lnTo>
                <a:lnTo>
                  <a:pt x="2513789" y="158725"/>
                </a:lnTo>
                <a:lnTo>
                  <a:pt x="2508037" y="157858"/>
                </a:lnTo>
                <a:lnTo>
                  <a:pt x="2504348" y="155043"/>
                </a:lnTo>
                <a:lnTo>
                  <a:pt x="2502286" y="148980"/>
                </a:lnTo>
                <a:lnTo>
                  <a:pt x="2503263" y="143891"/>
                </a:lnTo>
                <a:lnTo>
                  <a:pt x="2500658" y="137828"/>
                </a:lnTo>
                <a:lnTo>
                  <a:pt x="2501960" y="135338"/>
                </a:lnTo>
                <a:lnTo>
                  <a:pt x="2504999" y="135988"/>
                </a:lnTo>
                <a:lnTo>
                  <a:pt x="2508254" y="139777"/>
                </a:lnTo>
                <a:lnTo>
                  <a:pt x="2509991" y="139235"/>
                </a:lnTo>
                <a:lnTo>
                  <a:pt x="2515308" y="141076"/>
                </a:lnTo>
                <a:lnTo>
                  <a:pt x="2518781" y="143458"/>
                </a:lnTo>
                <a:lnTo>
                  <a:pt x="2518781" y="146598"/>
                </a:lnTo>
                <a:lnTo>
                  <a:pt x="2520843" y="148114"/>
                </a:lnTo>
                <a:lnTo>
                  <a:pt x="2522904" y="144109"/>
                </a:lnTo>
                <a:lnTo>
                  <a:pt x="2520300" y="139886"/>
                </a:lnTo>
                <a:lnTo>
                  <a:pt x="2520843" y="135554"/>
                </a:lnTo>
                <a:lnTo>
                  <a:pt x="2525292" y="133172"/>
                </a:lnTo>
                <a:lnTo>
                  <a:pt x="2528547" y="133821"/>
                </a:lnTo>
                <a:lnTo>
                  <a:pt x="2533647" y="137503"/>
                </a:lnTo>
                <a:lnTo>
                  <a:pt x="2538314" y="138153"/>
                </a:lnTo>
                <a:lnTo>
                  <a:pt x="2541678" y="140860"/>
                </a:lnTo>
                <a:lnTo>
                  <a:pt x="2544825" y="141076"/>
                </a:lnTo>
                <a:lnTo>
                  <a:pt x="2544933" y="137828"/>
                </a:lnTo>
                <a:lnTo>
                  <a:pt x="2542329" y="135229"/>
                </a:lnTo>
                <a:lnTo>
                  <a:pt x="2543306" y="131440"/>
                </a:lnTo>
                <a:lnTo>
                  <a:pt x="2546887" y="131765"/>
                </a:lnTo>
                <a:lnTo>
                  <a:pt x="2546887" y="129383"/>
                </a:lnTo>
                <a:lnTo>
                  <a:pt x="2541569" y="126243"/>
                </a:lnTo>
                <a:lnTo>
                  <a:pt x="2540267" y="120830"/>
                </a:lnTo>
                <a:lnTo>
                  <a:pt x="2536360" y="119422"/>
                </a:lnTo>
                <a:lnTo>
                  <a:pt x="2535818" y="116499"/>
                </a:lnTo>
                <a:lnTo>
                  <a:pt x="2539073" y="113576"/>
                </a:lnTo>
                <a:lnTo>
                  <a:pt x="2541353" y="107187"/>
                </a:lnTo>
                <a:lnTo>
                  <a:pt x="2548406" y="103615"/>
                </a:lnTo>
                <a:lnTo>
                  <a:pt x="2554917" y="110436"/>
                </a:lnTo>
                <a:lnTo>
                  <a:pt x="2558715" y="109136"/>
                </a:lnTo>
                <a:lnTo>
                  <a:pt x="2562513" y="105456"/>
                </a:lnTo>
                <a:lnTo>
                  <a:pt x="2559258" y="105022"/>
                </a:lnTo>
                <a:lnTo>
                  <a:pt x="2556870" y="100799"/>
                </a:lnTo>
                <a:lnTo>
                  <a:pt x="2561645" y="101883"/>
                </a:lnTo>
                <a:lnTo>
                  <a:pt x="2565986" y="101341"/>
                </a:lnTo>
                <a:lnTo>
                  <a:pt x="2570652" y="105130"/>
                </a:lnTo>
                <a:lnTo>
                  <a:pt x="2574233" y="105130"/>
                </a:lnTo>
                <a:lnTo>
                  <a:pt x="2581504" y="98093"/>
                </a:lnTo>
                <a:lnTo>
                  <a:pt x="2581721" y="94952"/>
                </a:lnTo>
                <a:lnTo>
                  <a:pt x="2577706" y="94303"/>
                </a:lnTo>
                <a:lnTo>
                  <a:pt x="2575970" y="90514"/>
                </a:lnTo>
                <a:lnTo>
                  <a:pt x="2570327" y="87807"/>
                </a:lnTo>
                <a:lnTo>
                  <a:pt x="2566202" y="89106"/>
                </a:lnTo>
                <a:lnTo>
                  <a:pt x="2560994" y="89323"/>
                </a:lnTo>
                <a:lnTo>
                  <a:pt x="2558064" y="86183"/>
                </a:lnTo>
                <a:lnTo>
                  <a:pt x="2561319" y="79903"/>
                </a:lnTo>
                <a:lnTo>
                  <a:pt x="2561536" y="74924"/>
                </a:lnTo>
                <a:close/>
                <a:moveTo>
                  <a:pt x="3453868" y="68318"/>
                </a:moveTo>
                <a:lnTo>
                  <a:pt x="3459185" y="69619"/>
                </a:lnTo>
                <a:lnTo>
                  <a:pt x="3466781" y="68968"/>
                </a:lnTo>
                <a:lnTo>
                  <a:pt x="3470362" y="70808"/>
                </a:lnTo>
                <a:lnTo>
                  <a:pt x="3471339" y="72324"/>
                </a:lnTo>
                <a:lnTo>
                  <a:pt x="3473292" y="72324"/>
                </a:lnTo>
                <a:lnTo>
                  <a:pt x="3476222" y="70159"/>
                </a:lnTo>
                <a:lnTo>
                  <a:pt x="3480671" y="72000"/>
                </a:lnTo>
                <a:lnTo>
                  <a:pt x="3489136" y="72000"/>
                </a:lnTo>
                <a:lnTo>
                  <a:pt x="3491414" y="74057"/>
                </a:lnTo>
                <a:lnTo>
                  <a:pt x="3494345" y="74057"/>
                </a:lnTo>
                <a:lnTo>
                  <a:pt x="3497491" y="72758"/>
                </a:lnTo>
                <a:lnTo>
                  <a:pt x="3500096" y="74706"/>
                </a:lnTo>
                <a:lnTo>
                  <a:pt x="3501398" y="77522"/>
                </a:lnTo>
                <a:lnTo>
                  <a:pt x="3507801" y="81961"/>
                </a:lnTo>
                <a:lnTo>
                  <a:pt x="3510514" y="80770"/>
                </a:lnTo>
                <a:lnTo>
                  <a:pt x="3510514" y="79254"/>
                </a:lnTo>
                <a:lnTo>
                  <a:pt x="3512901" y="79254"/>
                </a:lnTo>
                <a:lnTo>
                  <a:pt x="3520388" y="84018"/>
                </a:lnTo>
                <a:lnTo>
                  <a:pt x="3523318" y="84018"/>
                </a:lnTo>
                <a:lnTo>
                  <a:pt x="3528419" y="88890"/>
                </a:lnTo>
                <a:lnTo>
                  <a:pt x="3537751" y="89540"/>
                </a:lnTo>
                <a:lnTo>
                  <a:pt x="3540356" y="91163"/>
                </a:lnTo>
                <a:lnTo>
                  <a:pt x="3545564" y="90081"/>
                </a:lnTo>
                <a:lnTo>
                  <a:pt x="3547192" y="91705"/>
                </a:lnTo>
                <a:lnTo>
                  <a:pt x="3549037" y="94195"/>
                </a:lnTo>
                <a:lnTo>
                  <a:pt x="3553595" y="92679"/>
                </a:lnTo>
                <a:lnTo>
                  <a:pt x="3557501" y="93545"/>
                </a:lnTo>
                <a:lnTo>
                  <a:pt x="3561083" y="97010"/>
                </a:lnTo>
                <a:lnTo>
                  <a:pt x="3568570" y="99176"/>
                </a:lnTo>
                <a:lnTo>
                  <a:pt x="3573453" y="102748"/>
                </a:lnTo>
                <a:lnTo>
                  <a:pt x="3575515" y="107187"/>
                </a:lnTo>
                <a:lnTo>
                  <a:pt x="3579096" y="109136"/>
                </a:lnTo>
                <a:lnTo>
                  <a:pt x="3585716" y="113359"/>
                </a:lnTo>
                <a:lnTo>
                  <a:pt x="3585716" y="115957"/>
                </a:lnTo>
                <a:lnTo>
                  <a:pt x="3583111" y="119639"/>
                </a:lnTo>
                <a:lnTo>
                  <a:pt x="3579096" y="119639"/>
                </a:lnTo>
                <a:lnTo>
                  <a:pt x="3575190" y="118882"/>
                </a:lnTo>
                <a:lnTo>
                  <a:pt x="3572042" y="120830"/>
                </a:lnTo>
                <a:lnTo>
                  <a:pt x="3569438" y="123645"/>
                </a:lnTo>
                <a:lnTo>
                  <a:pt x="3565206" y="123645"/>
                </a:lnTo>
                <a:lnTo>
                  <a:pt x="3563578" y="123645"/>
                </a:lnTo>
                <a:lnTo>
                  <a:pt x="3559129" y="124945"/>
                </a:lnTo>
                <a:lnTo>
                  <a:pt x="3554028" y="124945"/>
                </a:lnTo>
                <a:lnTo>
                  <a:pt x="3544913" y="120613"/>
                </a:lnTo>
                <a:lnTo>
                  <a:pt x="3540464" y="119206"/>
                </a:lnTo>
                <a:lnTo>
                  <a:pt x="3537643" y="119206"/>
                </a:lnTo>
                <a:lnTo>
                  <a:pt x="3533627" y="117474"/>
                </a:lnTo>
                <a:lnTo>
                  <a:pt x="3528419" y="117474"/>
                </a:lnTo>
                <a:lnTo>
                  <a:pt x="3526031" y="119422"/>
                </a:lnTo>
                <a:lnTo>
                  <a:pt x="3521908" y="119422"/>
                </a:lnTo>
                <a:lnTo>
                  <a:pt x="3520280" y="117689"/>
                </a:lnTo>
                <a:lnTo>
                  <a:pt x="3515397" y="117689"/>
                </a:lnTo>
                <a:lnTo>
                  <a:pt x="3508343" y="121154"/>
                </a:lnTo>
                <a:lnTo>
                  <a:pt x="3505088" y="122454"/>
                </a:lnTo>
                <a:lnTo>
                  <a:pt x="3501073" y="120938"/>
                </a:lnTo>
                <a:lnTo>
                  <a:pt x="3497383" y="120938"/>
                </a:lnTo>
                <a:lnTo>
                  <a:pt x="3491740" y="123536"/>
                </a:lnTo>
                <a:lnTo>
                  <a:pt x="3485229" y="123536"/>
                </a:lnTo>
                <a:lnTo>
                  <a:pt x="3482625" y="120180"/>
                </a:lnTo>
                <a:lnTo>
                  <a:pt x="3482625" y="115524"/>
                </a:lnTo>
                <a:lnTo>
                  <a:pt x="3487942" y="113901"/>
                </a:lnTo>
                <a:lnTo>
                  <a:pt x="3490221" y="113901"/>
                </a:lnTo>
                <a:lnTo>
                  <a:pt x="3491089" y="111302"/>
                </a:lnTo>
                <a:lnTo>
                  <a:pt x="3489679" y="109677"/>
                </a:lnTo>
                <a:lnTo>
                  <a:pt x="3486206" y="109677"/>
                </a:lnTo>
                <a:lnTo>
                  <a:pt x="3482625" y="110544"/>
                </a:lnTo>
                <a:lnTo>
                  <a:pt x="3478393" y="114225"/>
                </a:lnTo>
                <a:lnTo>
                  <a:pt x="3478393" y="118231"/>
                </a:lnTo>
                <a:lnTo>
                  <a:pt x="3481105" y="121804"/>
                </a:lnTo>
                <a:lnTo>
                  <a:pt x="3483818" y="121804"/>
                </a:lnTo>
                <a:lnTo>
                  <a:pt x="3482733" y="124619"/>
                </a:lnTo>
                <a:lnTo>
                  <a:pt x="3479478" y="127001"/>
                </a:lnTo>
                <a:lnTo>
                  <a:pt x="3476982" y="127001"/>
                </a:lnTo>
                <a:lnTo>
                  <a:pt x="3473400" y="127001"/>
                </a:lnTo>
                <a:lnTo>
                  <a:pt x="3468192" y="127001"/>
                </a:lnTo>
                <a:lnTo>
                  <a:pt x="3466781" y="128409"/>
                </a:lnTo>
                <a:lnTo>
                  <a:pt x="3462006" y="128409"/>
                </a:lnTo>
                <a:lnTo>
                  <a:pt x="3457015" y="127001"/>
                </a:lnTo>
                <a:lnTo>
                  <a:pt x="3450937" y="127001"/>
                </a:lnTo>
                <a:lnTo>
                  <a:pt x="3444969" y="130032"/>
                </a:lnTo>
                <a:lnTo>
                  <a:pt x="3436180" y="135554"/>
                </a:lnTo>
                <a:lnTo>
                  <a:pt x="3435420" y="139128"/>
                </a:lnTo>
                <a:lnTo>
                  <a:pt x="3435420" y="145299"/>
                </a:lnTo>
                <a:lnTo>
                  <a:pt x="3433467" y="148872"/>
                </a:lnTo>
                <a:lnTo>
                  <a:pt x="3433467" y="151579"/>
                </a:lnTo>
                <a:lnTo>
                  <a:pt x="3434769" y="153203"/>
                </a:lnTo>
                <a:lnTo>
                  <a:pt x="3438350" y="151903"/>
                </a:lnTo>
                <a:lnTo>
                  <a:pt x="3438350" y="147464"/>
                </a:lnTo>
                <a:lnTo>
                  <a:pt x="3439435" y="144758"/>
                </a:lnTo>
                <a:lnTo>
                  <a:pt x="3439435" y="142918"/>
                </a:lnTo>
                <a:lnTo>
                  <a:pt x="3441823" y="140860"/>
                </a:lnTo>
                <a:lnTo>
                  <a:pt x="3446706" y="140860"/>
                </a:lnTo>
                <a:lnTo>
                  <a:pt x="3449635" y="140318"/>
                </a:lnTo>
                <a:lnTo>
                  <a:pt x="3450504" y="141835"/>
                </a:lnTo>
                <a:lnTo>
                  <a:pt x="3449419" y="144866"/>
                </a:lnTo>
                <a:lnTo>
                  <a:pt x="3447682" y="148872"/>
                </a:lnTo>
                <a:lnTo>
                  <a:pt x="3447682" y="150496"/>
                </a:lnTo>
                <a:lnTo>
                  <a:pt x="3449093" y="150496"/>
                </a:lnTo>
                <a:lnTo>
                  <a:pt x="3451372" y="147573"/>
                </a:lnTo>
                <a:lnTo>
                  <a:pt x="3453000" y="140752"/>
                </a:lnTo>
                <a:lnTo>
                  <a:pt x="3456147" y="136312"/>
                </a:lnTo>
                <a:cubicBezTo>
                  <a:pt x="3457749" y="135333"/>
                  <a:pt x="3459416" y="134465"/>
                  <a:pt x="3461138" y="133713"/>
                </a:cubicBezTo>
                <a:lnTo>
                  <a:pt x="3464068" y="133713"/>
                </a:lnTo>
                <a:lnTo>
                  <a:pt x="3469928" y="133713"/>
                </a:lnTo>
                <a:lnTo>
                  <a:pt x="3474160" y="133713"/>
                </a:lnTo>
                <a:lnTo>
                  <a:pt x="3477525" y="132523"/>
                </a:lnTo>
                <a:lnTo>
                  <a:pt x="3479261" y="133172"/>
                </a:lnTo>
                <a:lnTo>
                  <a:pt x="3480671" y="136096"/>
                </a:lnTo>
                <a:lnTo>
                  <a:pt x="3483384" y="141942"/>
                </a:lnTo>
                <a:lnTo>
                  <a:pt x="3485446" y="143458"/>
                </a:lnTo>
                <a:lnTo>
                  <a:pt x="3487291" y="143458"/>
                </a:lnTo>
                <a:lnTo>
                  <a:pt x="3487291" y="140643"/>
                </a:lnTo>
                <a:lnTo>
                  <a:pt x="3485772" y="134905"/>
                </a:lnTo>
                <a:lnTo>
                  <a:pt x="3487291" y="133713"/>
                </a:lnTo>
                <a:lnTo>
                  <a:pt x="3492500" y="132848"/>
                </a:lnTo>
                <a:lnTo>
                  <a:pt x="3496406" y="133606"/>
                </a:lnTo>
                <a:lnTo>
                  <a:pt x="3502049" y="132523"/>
                </a:lnTo>
                <a:lnTo>
                  <a:pt x="3507909" y="131982"/>
                </a:lnTo>
                <a:lnTo>
                  <a:pt x="3514637" y="129491"/>
                </a:lnTo>
                <a:lnTo>
                  <a:pt x="3519195" y="127975"/>
                </a:lnTo>
                <a:lnTo>
                  <a:pt x="3527659" y="127218"/>
                </a:lnTo>
                <a:lnTo>
                  <a:pt x="3534062" y="128517"/>
                </a:lnTo>
                <a:lnTo>
                  <a:pt x="3538836" y="131223"/>
                </a:lnTo>
                <a:lnTo>
                  <a:pt x="3543068" y="132307"/>
                </a:lnTo>
                <a:lnTo>
                  <a:pt x="3546324" y="134038"/>
                </a:lnTo>
                <a:lnTo>
                  <a:pt x="3550773" y="135121"/>
                </a:lnTo>
                <a:lnTo>
                  <a:pt x="3554245" y="137720"/>
                </a:lnTo>
                <a:lnTo>
                  <a:pt x="3557067" y="138803"/>
                </a:lnTo>
                <a:lnTo>
                  <a:pt x="3559780" y="137503"/>
                </a:lnTo>
                <a:lnTo>
                  <a:pt x="3563361" y="136638"/>
                </a:lnTo>
                <a:lnTo>
                  <a:pt x="3565423" y="137828"/>
                </a:lnTo>
                <a:lnTo>
                  <a:pt x="3567051" y="140318"/>
                </a:lnTo>
                <a:lnTo>
                  <a:pt x="3569329" y="140318"/>
                </a:lnTo>
                <a:lnTo>
                  <a:pt x="3573345" y="136854"/>
                </a:lnTo>
                <a:lnTo>
                  <a:pt x="3576383" y="136854"/>
                </a:lnTo>
                <a:lnTo>
                  <a:pt x="3580615" y="136854"/>
                </a:lnTo>
                <a:lnTo>
                  <a:pt x="3586909" y="133389"/>
                </a:lnTo>
                <a:lnTo>
                  <a:pt x="3590382" y="129816"/>
                </a:lnTo>
                <a:lnTo>
                  <a:pt x="3592878" y="129167"/>
                </a:lnTo>
                <a:lnTo>
                  <a:pt x="3594831" y="130249"/>
                </a:lnTo>
                <a:lnTo>
                  <a:pt x="3597978" y="134147"/>
                </a:lnTo>
                <a:lnTo>
                  <a:pt x="3601993" y="136854"/>
                </a:lnTo>
                <a:lnTo>
                  <a:pt x="3601993" y="138261"/>
                </a:lnTo>
                <a:lnTo>
                  <a:pt x="3599823" y="140752"/>
                </a:lnTo>
                <a:lnTo>
                  <a:pt x="3599823" y="142918"/>
                </a:lnTo>
                <a:lnTo>
                  <a:pt x="3602101" y="144432"/>
                </a:lnTo>
                <a:lnTo>
                  <a:pt x="3603187" y="146273"/>
                </a:lnTo>
                <a:lnTo>
                  <a:pt x="3603187" y="149305"/>
                </a:lnTo>
                <a:lnTo>
                  <a:pt x="3596784" y="154827"/>
                </a:lnTo>
                <a:lnTo>
                  <a:pt x="3589839" y="156885"/>
                </a:lnTo>
                <a:lnTo>
                  <a:pt x="3586258" y="155801"/>
                </a:lnTo>
                <a:lnTo>
                  <a:pt x="3582351" y="153528"/>
                </a:lnTo>
                <a:lnTo>
                  <a:pt x="3579747" y="150713"/>
                </a:lnTo>
                <a:lnTo>
                  <a:pt x="3578228" y="152011"/>
                </a:lnTo>
                <a:lnTo>
                  <a:pt x="3578228" y="155043"/>
                </a:lnTo>
                <a:lnTo>
                  <a:pt x="3582243" y="158616"/>
                </a:lnTo>
                <a:lnTo>
                  <a:pt x="3582243" y="160457"/>
                </a:lnTo>
                <a:lnTo>
                  <a:pt x="3581592" y="161540"/>
                </a:lnTo>
                <a:lnTo>
                  <a:pt x="3577143" y="160024"/>
                </a:lnTo>
                <a:lnTo>
                  <a:pt x="3574647" y="157425"/>
                </a:lnTo>
                <a:lnTo>
                  <a:pt x="3572151" y="157425"/>
                </a:lnTo>
                <a:lnTo>
                  <a:pt x="3572151" y="160132"/>
                </a:lnTo>
                <a:lnTo>
                  <a:pt x="3573995" y="162947"/>
                </a:lnTo>
                <a:lnTo>
                  <a:pt x="3577468" y="164354"/>
                </a:lnTo>
                <a:lnTo>
                  <a:pt x="3582135" y="164354"/>
                </a:lnTo>
                <a:lnTo>
                  <a:pt x="3587017" y="166519"/>
                </a:lnTo>
                <a:lnTo>
                  <a:pt x="3590599" y="165871"/>
                </a:lnTo>
                <a:lnTo>
                  <a:pt x="3597544" y="162514"/>
                </a:lnTo>
                <a:lnTo>
                  <a:pt x="3600148" y="162514"/>
                </a:lnTo>
                <a:lnTo>
                  <a:pt x="3601993" y="164354"/>
                </a:lnTo>
                <a:lnTo>
                  <a:pt x="3601993" y="162514"/>
                </a:lnTo>
                <a:lnTo>
                  <a:pt x="3601993" y="159374"/>
                </a:lnTo>
                <a:lnTo>
                  <a:pt x="3605682" y="158725"/>
                </a:lnTo>
                <a:lnTo>
                  <a:pt x="3615558" y="158725"/>
                </a:lnTo>
                <a:lnTo>
                  <a:pt x="3617945" y="160348"/>
                </a:lnTo>
                <a:lnTo>
                  <a:pt x="3618596" y="163056"/>
                </a:lnTo>
                <a:lnTo>
                  <a:pt x="3620874" y="164462"/>
                </a:lnTo>
                <a:lnTo>
                  <a:pt x="3623587" y="163705"/>
                </a:lnTo>
                <a:lnTo>
                  <a:pt x="3624781" y="162297"/>
                </a:lnTo>
                <a:lnTo>
                  <a:pt x="3627060" y="163272"/>
                </a:lnTo>
                <a:lnTo>
                  <a:pt x="3628145" y="166412"/>
                </a:lnTo>
                <a:lnTo>
                  <a:pt x="3630967" y="169227"/>
                </a:lnTo>
                <a:lnTo>
                  <a:pt x="3637478" y="170309"/>
                </a:lnTo>
                <a:lnTo>
                  <a:pt x="3639974" y="172583"/>
                </a:lnTo>
                <a:lnTo>
                  <a:pt x="3640625" y="175290"/>
                </a:lnTo>
                <a:lnTo>
                  <a:pt x="3645183" y="179188"/>
                </a:lnTo>
                <a:lnTo>
                  <a:pt x="3650825" y="181462"/>
                </a:lnTo>
                <a:lnTo>
                  <a:pt x="3655383" y="185143"/>
                </a:lnTo>
                <a:lnTo>
                  <a:pt x="3656035" y="187308"/>
                </a:lnTo>
                <a:lnTo>
                  <a:pt x="3656035" y="191747"/>
                </a:lnTo>
                <a:lnTo>
                  <a:pt x="3654081" y="193046"/>
                </a:lnTo>
                <a:lnTo>
                  <a:pt x="3653430" y="195537"/>
                </a:lnTo>
                <a:lnTo>
                  <a:pt x="3653430" y="198676"/>
                </a:lnTo>
                <a:lnTo>
                  <a:pt x="3650717" y="200192"/>
                </a:lnTo>
                <a:lnTo>
                  <a:pt x="3646267" y="203549"/>
                </a:lnTo>
                <a:lnTo>
                  <a:pt x="3642796" y="204522"/>
                </a:lnTo>
                <a:lnTo>
                  <a:pt x="3640842" y="203657"/>
                </a:lnTo>
                <a:lnTo>
                  <a:pt x="3639214" y="204522"/>
                </a:lnTo>
                <a:lnTo>
                  <a:pt x="3639214" y="206905"/>
                </a:lnTo>
                <a:lnTo>
                  <a:pt x="3637803" y="208637"/>
                </a:lnTo>
                <a:lnTo>
                  <a:pt x="3633788" y="211235"/>
                </a:lnTo>
                <a:lnTo>
                  <a:pt x="3625541" y="214700"/>
                </a:lnTo>
                <a:lnTo>
                  <a:pt x="3619464" y="214700"/>
                </a:lnTo>
                <a:lnTo>
                  <a:pt x="3617620" y="215566"/>
                </a:lnTo>
                <a:lnTo>
                  <a:pt x="3614038" y="215566"/>
                </a:lnTo>
                <a:lnTo>
                  <a:pt x="3611651" y="212860"/>
                </a:lnTo>
                <a:lnTo>
                  <a:pt x="3609806" y="211127"/>
                </a:lnTo>
                <a:lnTo>
                  <a:pt x="3608287" y="211777"/>
                </a:lnTo>
                <a:lnTo>
                  <a:pt x="3608287" y="214267"/>
                </a:lnTo>
                <a:lnTo>
                  <a:pt x="3610674" y="215674"/>
                </a:lnTo>
                <a:lnTo>
                  <a:pt x="3610674" y="217407"/>
                </a:lnTo>
                <a:lnTo>
                  <a:pt x="3606334" y="217407"/>
                </a:lnTo>
                <a:lnTo>
                  <a:pt x="3602101" y="216216"/>
                </a:lnTo>
                <a:lnTo>
                  <a:pt x="3598412" y="218382"/>
                </a:lnTo>
                <a:lnTo>
                  <a:pt x="3596458" y="218382"/>
                </a:lnTo>
                <a:lnTo>
                  <a:pt x="3593528" y="216433"/>
                </a:lnTo>
                <a:lnTo>
                  <a:pt x="3588862" y="216433"/>
                </a:lnTo>
                <a:lnTo>
                  <a:pt x="3585716" y="218814"/>
                </a:lnTo>
                <a:lnTo>
                  <a:pt x="3579638" y="221413"/>
                </a:lnTo>
                <a:lnTo>
                  <a:pt x="3576058" y="221413"/>
                </a:lnTo>
                <a:lnTo>
                  <a:pt x="3573778" y="219897"/>
                </a:lnTo>
                <a:lnTo>
                  <a:pt x="3570197" y="219897"/>
                </a:lnTo>
                <a:lnTo>
                  <a:pt x="3566399" y="218489"/>
                </a:lnTo>
                <a:lnTo>
                  <a:pt x="3563252" y="218489"/>
                </a:lnTo>
                <a:lnTo>
                  <a:pt x="3561299" y="220114"/>
                </a:lnTo>
                <a:lnTo>
                  <a:pt x="3556416" y="221088"/>
                </a:lnTo>
                <a:lnTo>
                  <a:pt x="3553269" y="220005"/>
                </a:lnTo>
                <a:lnTo>
                  <a:pt x="3547626" y="215892"/>
                </a:lnTo>
                <a:lnTo>
                  <a:pt x="3545347" y="215892"/>
                </a:lnTo>
                <a:lnTo>
                  <a:pt x="3544045" y="215025"/>
                </a:lnTo>
                <a:lnTo>
                  <a:pt x="3537534" y="215025"/>
                </a:lnTo>
                <a:lnTo>
                  <a:pt x="3533953" y="213292"/>
                </a:lnTo>
                <a:lnTo>
                  <a:pt x="3531132" y="212643"/>
                </a:lnTo>
                <a:lnTo>
                  <a:pt x="3526574" y="213727"/>
                </a:lnTo>
                <a:lnTo>
                  <a:pt x="3522559" y="213727"/>
                </a:lnTo>
                <a:lnTo>
                  <a:pt x="3518327" y="212211"/>
                </a:lnTo>
                <a:lnTo>
                  <a:pt x="3515180" y="212968"/>
                </a:lnTo>
                <a:lnTo>
                  <a:pt x="3511816" y="217731"/>
                </a:lnTo>
                <a:lnTo>
                  <a:pt x="3508126" y="218814"/>
                </a:lnTo>
                <a:lnTo>
                  <a:pt x="3502917" y="218165"/>
                </a:lnTo>
                <a:lnTo>
                  <a:pt x="3498902" y="220439"/>
                </a:lnTo>
                <a:lnTo>
                  <a:pt x="3498251" y="221846"/>
                </a:lnTo>
                <a:lnTo>
                  <a:pt x="3496731" y="221846"/>
                </a:lnTo>
                <a:lnTo>
                  <a:pt x="3496707" y="221728"/>
                </a:lnTo>
                <a:lnTo>
                  <a:pt x="3496840" y="221413"/>
                </a:lnTo>
                <a:lnTo>
                  <a:pt x="3496479" y="220620"/>
                </a:lnTo>
                <a:lnTo>
                  <a:pt x="3495863" y="217623"/>
                </a:lnTo>
                <a:lnTo>
                  <a:pt x="3493477" y="216433"/>
                </a:lnTo>
                <a:lnTo>
                  <a:pt x="3492065" y="216433"/>
                </a:lnTo>
                <a:lnTo>
                  <a:pt x="3490546" y="215566"/>
                </a:lnTo>
                <a:lnTo>
                  <a:pt x="3487183" y="215566"/>
                </a:lnTo>
                <a:lnTo>
                  <a:pt x="3487183" y="217298"/>
                </a:lnTo>
                <a:lnTo>
                  <a:pt x="3488702" y="217298"/>
                </a:lnTo>
                <a:lnTo>
                  <a:pt x="3493585" y="217298"/>
                </a:lnTo>
                <a:lnTo>
                  <a:pt x="3495755" y="219031"/>
                </a:lnTo>
                <a:lnTo>
                  <a:pt x="3496479" y="220620"/>
                </a:lnTo>
                <a:lnTo>
                  <a:pt x="3496707" y="221728"/>
                </a:lnTo>
                <a:lnTo>
                  <a:pt x="3495647" y="224229"/>
                </a:lnTo>
                <a:lnTo>
                  <a:pt x="3492500" y="226069"/>
                </a:lnTo>
                <a:lnTo>
                  <a:pt x="3490221" y="226069"/>
                </a:lnTo>
                <a:lnTo>
                  <a:pt x="3486639" y="226069"/>
                </a:lnTo>
                <a:lnTo>
                  <a:pt x="3483059" y="228235"/>
                </a:lnTo>
                <a:lnTo>
                  <a:pt x="3478393" y="230183"/>
                </a:lnTo>
                <a:lnTo>
                  <a:pt x="3471773" y="230833"/>
                </a:lnTo>
                <a:lnTo>
                  <a:pt x="3468409" y="232349"/>
                </a:lnTo>
                <a:lnTo>
                  <a:pt x="3466673" y="234730"/>
                </a:lnTo>
                <a:lnTo>
                  <a:pt x="3463309" y="235488"/>
                </a:lnTo>
                <a:lnTo>
                  <a:pt x="3458968" y="235488"/>
                </a:lnTo>
                <a:lnTo>
                  <a:pt x="3454085" y="238087"/>
                </a:lnTo>
                <a:lnTo>
                  <a:pt x="3450721" y="238087"/>
                </a:lnTo>
                <a:lnTo>
                  <a:pt x="3448442" y="240902"/>
                </a:lnTo>
                <a:lnTo>
                  <a:pt x="3448442" y="244583"/>
                </a:lnTo>
                <a:lnTo>
                  <a:pt x="3450829" y="246965"/>
                </a:lnTo>
                <a:lnTo>
                  <a:pt x="3451481" y="249887"/>
                </a:lnTo>
                <a:lnTo>
                  <a:pt x="3451481" y="253569"/>
                </a:lnTo>
                <a:lnTo>
                  <a:pt x="3453325" y="256709"/>
                </a:lnTo>
                <a:lnTo>
                  <a:pt x="3455821" y="256709"/>
                </a:lnTo>
                <a:lnTo>
                  <a:pt x="3457775" y="254002"/>
                </a:lnTo>
                <a:lnTo>
                  <a:pt x="3457775" y="250538"/>
                </a:lnTo>
                <a:lnTo>
                  <a:pt x="3460813" y="247723"/>
                </a:lnTo>
                <a:lnTo>
                  <a:pt x="3464828" y="246965"/>
                </a:lnTo>
                <a:lnTo>
                  <a:pt x="3468084" y="245017"/>
                </a:lnTo>
                <a:lnTo>
                  <a:pt x="3472207" y="244366"/>
                </a:lnTo>
                <a:lnTo>
                  <a:pt x="3476222" y="244366"/>
                </a:lnTo>
                <a:lnTo>
                  <a:pt x="3478066" y="242092"/>
                </a:lnTo>
                <a:lnTo>
                  <a:pt x="3480888" y="239277"/>
                </a:lnTo>
                <a:lnTo>
                  <a:pt x="3486965" y="237653"/>
                </a:lnTo>
                <a:lnTo>
                  <a:pt x="3496623" y="234081"/>
                </a:lnTo>
                <a:lnTo>
                  <a:pt x="3499770" y="234081"/>
                </a:lnTo>
                <a:lnTo>
                  <a:pt x="3499770" y="235163"/>
                </a:lnTo>
                <a:lnTo>
                  <a:pt x="3499119" y="238412"/>
                </a:lnTo>
                <a:lnTo>
                  <a:pt x="3500313" y="238412"/>
                </a:lnTo>
                <a:lnTo>
                  <a:pt x="3503677" y="235705"/>
                </a:lnTo>
                <a:lnTo>
                  <a:pt x="3503677" y="231915"/>
                </a:lnTo>
                <a:lnTo>
                  <a:pt x="3506390" y="227368"/>
                </a:lnTo>
                <a:lnTo>
                  <a:pt x="3509102" y="227368"/>
                </a:lnTo>
                <a:lnTo>
                  <a:pt x="3513552" y="228126"/>
                </a:lnTo>
                <a:lnTo>
                  <a:pt x="3516265" y="228992"/>
                </a:lnTo>
                <a:lnTo>
                  <a:pt x="3521365" y="227909"/>
                </a:lnTo>
                <a:lnTo>
                  <a:pt x="3527442" y="227909"/>
                </a:lnTo>
                <a:lnTo>
                  <a:pt x="3531674" y="230183"/>
                </a:lnTo>
                <a:lnTo>
                  <a:pt x="3536992" y="230941"/>
                </a:lnTo>
                <a:lnTo>
                  <a:pt x="3547843" y="229749"/>
                </a:lnTo>
                <a:lnTo>
                  <a:pt x="3551424" y="230616"/>
                </a:lnTo>
                <a:lnTo>
                  <a:pt x="3556199" y="232890"/>
                </a:lnTo>
                <a:lnTo>
                  <a:pt x="3563578" y="234623"/>
                </a:lnTo>
                <a:lnTo>
                  <a:pt x="3572477" y="234623"/>
                </a:lnTo>
                <a:lnTo>
                  <a:pt x="3576383" y="234623"/>
                </a:lnTo>
                <a:lnTo>
                  <a:pt x="3576383" y="237004"/>
                </a:lnTo>
                <a:lnTo>
                  <a:pt x="3578011" y="238737"/>
                </a:lnTo>
                <a:lnTo>
                  <a:pt x="3577360" y="241226"/>
                </a:lnTo>
                <a:lnTo>
                  <a:pt x="3574213" y="243500"/>
                </a:lnTo>
                <a:lnTo>
                  <a:pt x="3573562" y="247073"/>
                </a:lnTo>
                <a:lnTo>
                  <a:pt x="3570957" y="251837"/>
                </a:lnTo>
                <a:lnTo>
                  <a:pt x="3568244" y="252920"/>
                </a:lnTo>
                <a:lnTo>
                  <a:pt x="3556850" y="254436"/>
                </a:lnTo>
                <a:lnTo>
                  <a:pt x="3551533" y="256601"/>
                </a:lnTo>
                <a:lnTo>
                  <a:pt x="3549362" y="256601"/>
                </a:lnTo>
                <a:lnTo>
                  <a:pt x="3547518" y="255627"/>
                </a:lnTo>
                <a:lnTo>
                  <a:pt x="3546432" y="255627"/>
                </a:lnTo>
                <a:lnTo>
                  <a:pt x="3545131" y="259091"/>
                </a:lnTo>
                <a:lnTo>
                  <a:pt x="3545131" y="262123"/>
                </a:lnTo>
                <a:lnTo>
                  <a:pt x="3544045" y="265696"/>
                </a:lnTo>
                <a:lnTo>
                  <a:pt x="3544045" y="268403"/>
                </a:lnTo>
                <a:lnTo>
                  <a:pt x="3545890" y="269053"/>
                </a:lnTo>
                <a:lnTo>
                  <a:pt x="3551099" y="267103"/>
                </a:lnTo>
                <a:lnTo>
                  <a:pt x="3557718" y="265587"/>
                </a:lnTo>
                <a:lnTo>
                  <a:pt x="3562167" y="263530"/>
                </a:lnTo>
                <a:lnTo>
                  <a:pt x="3570415" y="263530"/>
                </a:lnTo>
                <a:lnTo>
                  <a:pt x="3578445" y="266237"/>
                </a:lnTo>
                <a:lnTo>
                  <a:pt x="3581158" y="266237"/>
                </a:lnTo>
                <a:lnTo>
                  <a:pt x="3584739" y="268511"/>
                </a:lnTo>
                <a:lnTo>
                  <a:pt x="3586584" y="266995"/>
                </a:lnTo>
                <a:lnTo>
                  <a:pt x="3588429" y="264613"/>
                </a:lnTo>
                <a:lnTo>
                  <a:pt x="3589730" y="264613"/>
                </a:lnTo>
                <a:lnTo>
                  <a:pt x="3592443" y="265371"/>
                </a:lnTo>
                <a:lnTo>
                  <a:pt x="3594831" y="267428"/>
                </a:lnTo>
                <a:lnTo>
                  <a:pt x="3598955" y="262231"/>
                </a:lnTo>
                <a:lnTo>
                  <a:pt x="3600800" y="255627"/>
                </a:lnTo>
                <a:lnTo>
                  <a:pt x="3600800" y="249022"/>
                </a:lnTo>
                <a:lnTo>
                  <a:pt x="3602101" y="246424"/>
                </a:lnTo>
                <a:lnTo>
                  <a:pt x="3601233" y="244475"/>
                </a:lnTo>
                <a:lnTo>
                  <a:pt x="3601884" y="240902"/>
                </a:lnTo>
                <a:lnTo>
                  <a:pt x="3605357" y="238737"/>
                </a:lnTo>
                <a:lnTo>
                  <a:pt x="3610566" y="238737"/>
                </a:lnTo>
                <a:lnTo>
                  <a:pt x="3615992" y="240361"/>
                </a:lnTo>
                <a:lnTo>
                  <a:pt x="3622069" y="240361"/>
                </a:lnTo>
                <a:lnTo>
                  <a:pt x="3627169" y="239277"/>
                </a:lnTo>
                <a:lnTo>
                  <a:pt x="3630316" y="240143"/>
                </a:lnTo>
                <a:lnTo>
                  <a:pt x="3631292" y="244583"/>
                </a:lnTo>
                <a:lnTo>
                  <a:pt x="3631292" y="252486"/>
                </a:lnTo>
                <a:lnTo>
                  <a:pt x="3631292" y="258117"/>
                </a:lnTo>
                <a:lnTo>
                  <a:pt x="3627060" y="263422"/>
                </a:lnTo>
                <a:lnTo>
                  <a:pt x="3623479" y="270893"/>
                </a:lnTo>
                <a:lnTo>
                  <a:pt x="3622503" y="276523"/>
                </a:lnTo>
                <a:lnTo>
                  <a:pt x="3620441" y="280637"/>
                </a:lnTo>
                <a:lnTo>
                  <a:pt x="3606985" y="292655"/>
                </a:lnTo>
                <a:lnTo>
                  <a:pt x="3604272" y="292655"/>
                </a:lnTo>
                <a:lnTo>
                  <a:pt x="3603078" y="291789"/>
                </a:lnTo>
                <a:lnTo>
                  <a:pt x="3599280" y="293305"/>
                </a:lnTo>
                <a:lnTo>
                  <a:pt x="3596350" y="296552"/>
                </a:lnTo>
                <a:lnTo>
                  <a:pt x="3593420" y="295146"/>
                </a:lnTo>
                <a:lnTo>
                  <a:pt x="3591683" y="295795"/>
                </a:lnTo>
                <a:lnTo>
                  <a:pt x="3588429" y="300992"/>
                </a:lnTo>
                <a:lnTo>
                  <a:pt x="3588429" y="304240"/>
                </a:lnTo>
                <a:lnTo>
                  <a:pt x="3584522" y="306081"/>
                </a:lnTo>
                <a:lnTo>
                  <a:pt x="3581592" y="309546"/>
                </a:lnTo>
                <a:lnTo>
                  <a:pt x="3578988" y="308895"/>
                </a:lnTo>
                <a:lnTo>
                  <a:pt x="3578119" y="307380"/>
                </a:lnTo>
                <a:lnTo>
                  <a:pt x="3576709" y="309654"/>
                </a:lnTo>
                <a:lnTo>
                  <a:pt x="3577360" y="312577"/>
                </a:lnTo>
                <a:lnTo>
                  <a:pt x="3575623" y="316042"/>
                </a:lnTo>
                <a:lnTo>
                  <a:pt x="3571500" y="322104"/>
                </a:lnTo>
                <a:lnTo>
                  <a:pt x="3567376" y="324486"/>
                </a:lnTo>
                <a:lnTo>
                  <a:pt x="3565640" y="327626"/>
                </a:lnTo>
                <a:lnTo>
                  <a:pt x="3559238" y="333148"/>
                </a:lnTo>
                <a:lnTo>
                  <a:pt x="3554572" y="337479"/>
                </a:lnTo>
                <a:lnTo>
                  <a:pt x="3551099" y="338346"/>
                </a:lnTo>
                <a:lnTo>
                  <a:pt x="3545239" y="342784"/>
                </a:lnTo>
                <a:lnTo>
                  <a:pt x="3544262" y="345058"/>
                </a:lnTo>
                <a:lnTo>
                  <a:pt x="3540464" y="345058"/>
                </a:lnTo>
                <a:lnTo>
                  <a:pt x="3540464" y="349172"/>
                </a:lnTo>
                <a:lnTo>
                  <a:pt x="3540464" y="353070"/>
                </a:lnTo>
                <a:lnTo>
                  <a:pt x="3538402" y="358268"/>
                </a:lnTo>
                <a:lnTo>
                  <a:pt x="3539488" y="360541"/>
                </a:lnTo>
                <a:lnTo>
                  <a:pt x="3540898" y="358159"/>
                </a:lnTo>
                <a:lnTo>
                  <a:pt x="3541766" y="354694"/>
                </a:lnTo>
                <a:lnTo>
                  <a:pt x="3546215" y="349497"/>
                </a:lnTo>
                <a:lnTo>
                  <a:pt x="3549471" y="344517"/>
                </a:lnTo>
                <a:lnTo>
                  <a:pt x="3554137" y="341377"/>
                </a:lnTo>
                <a:lnTo>
                  <a:pt x="3555657" y="341377"/>
                </a:lnTo>
                <a:lnTo>
                  <a:pt x="3556850" y="343218"/>
                </a:lnTo>
                <a:lnTo>
                  <a:pt x="3560648" y="338778"/>
                </a:lnTo>
                <a:lnTo>
                  <a:pt x="3568896" y="332390"/>
                </a:lnTo>
                <a:lnTo>
                  <a:pt x="3571500" y="331741"/>
                </a:lnTo>
                <a:lnTo>
                  <a:pt x="3572151" y="327735"/>
                </a:lnTo>
                <a:lnTo>
                  <a:pt x="3580290" y="321239"/>
                </a:lnTo>
                <a:lnTo>
                  <a:pt x="3587017" y="315608"/>
                </a:lnTo>
                <a:lnTo>
                  <a:pt x="3590490" y="313876"/>
                </a:lnTo>
                <a:lnTo>
                  <a:pt x="3593203" y="314525"/>
                </a:lnTo>
                <a:lnTo>
                  <a:pt x="3597544" y="314525"/>
                </a:lnTo>
                <a:lnTo>
                  <a:pt x="3600474" y="311927"/>
                </a:lnTo>
                <a:lnTo>
                  <a:pt x="3600474" y="309654"/>
                </a:lnTo>
                <a:lnTo>
                  <a:pt x="3605249" y="309654"/>
                </a:lnTo>
                <a:lnTo>
                  <a:pt x="3611760" y="309654"/>
                </a:lnTo>
                <a:lnTo>
                  <a:pt x="3618162" y="306189"/>
                </a:lnTo>
                <a:lnTo>
                  <a:pt x="3622286" y="301858"/>
                </a:lnTo>
                <a:lnTo>
                  <a:pt x="3626300" y="301858"/>
                </a:lnTo>
                <a:lnTo>
                  <a:pt x="3630207" y="298935"/>
                </a:lnTo>
                <a:lnTo>
                  <a:pt x="3632812" y="296552"/>
                </a:lnTo>
                <a:lnTo>
                  <a:pt x="3636067" y="296552"/>
                </a:lnTo>
                <a:lnTo>
                  <a:pt x="3639323" y="293088"/>
                </a:lnTo>
                <a:lnTo>
                  <a:pt x="3645725" y="287024"/>
                </a:lnTo>
                <a:lnTo>
                  <a:pt x="3647244" y="282261"/>
                </a:lnTo>
                <a:lnTo>
                  <a:pt x="3647244" y="279121"/>
                </a:lnTo>
                <a:lnTo>
                  <a:pt x="3649957" y="275982"/>
                </a:lnTo>
                <a:lnTo>
                  <a:pt x="3651477" y="273599"/>
                </a:lnTo>
                <a:lnTo>
                  <a:pt x="3653864" y="272084"/>
                </a:lnTo>
                <a:lnTo>
                  <a:pt x="3653864" y="274899"/>
                </a:lnTo>
                <a:lnTo>
                  <a:pt x="3655709" y="278147"/>
                </a:lnTo>
                <a:lnTo>
                  <a:pt x="3655709" y="281396"/>
                </a:lnTo>
                <a:lnTo>
                  <a:pt x="3654732" y="284643"/>
                </a:lnTo>
                <a:lnTo>
                  <a:pt x="3656576" y="287675"/>
                </a:lnTo>
                <a:lnTo>
                  <a:pt x="3657444" y="292871"/>
                </a:lnTo>
                <a:lnTo>
                  <a:pt x="3656360" y="294929"/>
                </a:lnTo>
                <a:lnTo>
                  <a:pt x="3656360" y="297853"/>
                </a:lnTo>
                <a:lnTo>
                  <a:pt x="3657771" y="295470"/>
                </a:lnTo>
                <a:lnTo>
                  <a:pt x="3659181" y="291572"/>
                </a:lnTo>
                <a:lnTo>
                  <a:pt x="3661026" y="288324"/>
                </a:lnTo>
                <a:lnTo>
                  <a:pt x="3659941" y="286809"/>
                </a:lnTo>
                <a:lnTo>
                  <a:pt x="3659941" y="282911"/>
                </a:lnTo>
                <a:lnTo>
                  <a:pt x="3661786" y="280854"/>
                </a:lnTo>
                <a:lnTo>
                  <a:pt x="3663739" y="281936"/>
                </a:lnTo>
                <a:lnTo>
                  <a:pt x="3663739" y="285185"/>
                </a:lnTo>
                <a:lnTo>
                  <a:pt x="3666343" y="287891"/>
                </a:lnTo>
                <a:lnTo>
                  <a:pt x="3670467" y="287891"/>
                </a:lnTo>
                <a:lnTo>
                  <a:pt x="3675133" y="285834"/>
                </a:lnTo>
                <a:lnTo>
                  <a:pt x="3676218" y="283127"/>
                </a:lnTo>
                <a:lnTo>
                  <a:pt x="3674808" y="281179"/>
                </a:lnTo>
                <a:lnTo>
                  <a:pt x="3674808" y="278797"/>
                </a:lnTo>
                <a:lnTo>
                  <a:pt x="3677195" y="278797"/>
                </a:lnTo>
                <a:lnTo>
                  <a:pt x="3678931" y="275656"/>
                </a:lnTo>
                <a:lnTo>
                  <a:pt x="3678931" y="271001"/>
                </a:lnTo>
                <a:lnTo>
                  <a:pt x="3678280" y="267428"/>
                </a:lnTo>
                <a:lnTo>
                  <a:pt x="3679691" y="264613"/>
                </a:lnTo>
                <a:lnTo>
                  <a:pt x="3682404" y="263855"/>
                </a:lnTo>
                <a:lnTo>
                  <a:pt x="3683489" y="265804"/>
                </a:lnTo>
                <a:lnTo>
                  <a:pt x="3687830" y="267861"/>
                </a:lnTo>
                <a:lnTo>
                  <a:pt x="3692496" y="265912"/>
                </a:lnTo>
                <a:lnTo>
                  <a:pt x="3694774" y="263206"/>
                </a:lnTo>
                <a:lnTo>
                  <a:pt x="3701178" y="261040"/>
                </a:lnTo>
                <a:lnTo>
                  <a:pt x="3706820" y="261040"/>
                </a:lnTo>
                <a:lnTo>
                  <a:pt x="3709533" y="260066"/>
                </a:lnTo>
                <a:lnTo>
                  <a:pt x="3715176" y="261474"/>
                </a:lnTo>
                <a:lnTo>
                  <a:pt x="3721361" y="264505"/>
                </a:lnTo>
                <a:lnTo>
                  <a:pt x="3727981" y="266670"/>
                </a:lnTo>
                <a:lnTo>
                  <a:pt x="3732864" y="266670"/>
                </a:lnTo>
                <a:lnTo>
                  <a:pt x="3736879" y="268618"/>
                </a:lnTo>
                <a:lnTo>
                  <a:pt x="3739592" y="271651"/>
                </a:lnTo>
                <a:lnTo>
                  <a:pt x="3742197" y="271651"/>
                </a:lnTo>
                <a:lnTo>
                  <a:pt x="3746863" y="273708"/>
                </a:lnTo>
                <a:lnTo>
                  <a:pt x="3748599" y="277389"/>
                </a:lnTo>
                <a:lnTo>
                  <a:pt x="3748599" y="279879"/>
                </a:lnTo>
                <a:lnTo>
                  <a:pt x="3755544" y="285726"/>
                </a:lnTo>
                <a:lnTo>
                  <a:pt x="3756738" y="288541"/>
                </a:lnTo>
                <a:lnTo>
                  <a:pt x="3759993" y="291789"/>
                </a:lnTo>
                <a:lnTo>
                  <a:pt x="3762055" y="298502"/>
                </a:lnTo>
                <a:lnTo>
                  <a:pt x="3762055" y="303590"/>
                </a:lnTo>
                <a:lnTo>
                  <a:pt x="3760210" y="306621"/>
                </a:lnTo>
                <a:lnTo>
                  <a:pt x="3755653" y="308354"/>
                </a:lnTo>
                <a:lnTo>
                  <a:pt x="3751746" y="311385"/>
                </a:lnTo>
                <a:lnTo>
                  <a:pt x="3750443" y="313660"/>
                </a:lnTo>
                <a:lnTo>
                  <a:pt x="3747731" y="314742"/>
                </a:lnTo>
                <a:lnTo>
                  <a:pt x="3743716" y="317558"/>
                </a:lnTo>
                <a:lnTo>
                  <a:pt x="3738832" y="324379"/>
                </a:lnTo>
                <a:lnTo>
                  <a:pt x="3736554" y="327626"/>
                </a:lnTo>
                <a:lnTo>
                  <a:pt x="3734709" y="328385"/>
                </a:lnTo>
                <a:lnTo>
                  <a:pt x="3731345" y="327301"/>
                </a:lnTo>
                <a:lnTo>
                  <a:pt x="3724834" y="323295"/>
                </a:lnTo>
                <a:lnTo>
                  <a:pt x="3722229" y="323295"/>
                </a:lnTo>
                <a:lnTo>
                  <a:pt x="3718866" y="325894"/>
                </a:lnTo>
                <a:lnTo>
                  <a:pt x="3716478" y="330008"/>
                </a:lnTo>
                <a:lnTo>
                  <a:pt x="3716478" y="331849"/>
                </a:lnTo>
                <a:lnTo>
                  <a:pt x="3717998" y="333148"/>
                </a:lnTo>
                <a:lnTo>
                  <a:pt x="3717998" y="335639"/>
                </a:lnTo>
                <a:lnTo>
                  <a:pt x="3720602" y="339320"/>
                </a:lnTo>
                <a:lnTo>
                  <a:pt x="3722229" y="340619"/>
                </a:lnTo>
                <a:lnTo>
                  <a:pt x="3722229" y="343325"/>
                </a:lnTo>
                <a:lnTo>
                  <a:pt x="3720711" y="346141"/>
                </a:lnTo>
                <a:lnTo>
                  <a:pt x="3717238" y="346141"/>
                </a:lnTo>
                <a:lnTo>
                  <a:pt x="3714416" y="346141"/>
                </a:lnTo>
                <a:lnTo>
                  <a:pt x="3707254" y="349821"/>
                </a:lnTo>
                <a:lnTo>
                  <a:pt x="3702914" y="353070"/>
                </a:lnTo>
                <a:lnTo>
                  <a:pt x="3699007" y="353070"/>
                </a:lnTo>
                <a:lnTo>
                  <a:pt x="3695860" y="353070"/>
                </a:lnTo>
                <a:lnTo>
                  <a:pt x="3693147" y="351121"/>
                </a:lnTo>
                <a:lnTo>
                  <a:pt x="3689348" y="349605"/>
                </a:lnTo>
                <a:lnTo>
                  <a:pt x="3685334" y="349605"/>
                </a:lnTo>
                <a:lnTo>
                  <a:pt x="3683381" y="348306"/>
                </a:lnTo>
                <a:lnTo>
                  <a:pt x="3680668" y="347656"/>
                </a:lnTo>
                <a:lnTo>
                  <a:pt x="3680016" y="346682"/>
                </a:lnTo>
                <a:lnTo>
                  <a:pt x="3677846" y="346682"/>
                </a:lnTo>
                <a:lnTo>
                  <a:pt x="3676327" y="347332"/>
                </a:lnTo>
                <a:lnTo>
                  <a:pt x="3675459" y="349281"/>
                </a:lnTo>
                <a:lnTo>
                  <a:pt x="3673614" y="349281"/>
                </a:lnTo>
                <a:lnTo>
                  <a:pt x="3670793" y="348739"/>
                </a:lnTo>
                <a:lnTo>
                  <a:pt x="3669165" y="349713"/>
                </a:lnTo>
                <a:lnTo>
                  <a:pt x="3667103" y="352312"/>
                </a:lnTo>
                <a:lnTo>
                  <a:pt x="3665584" y="352312"/>
                </a:lnTo>
                <a:lnTo>
                  <a:pt x="3663196" y="352312"/>
                </a:lnTo>
                <a:lnTo>
                  <a:pt x="3660809" y="353936"/>
                </a:lnTo>
                <a:lnTo>
                  <a:pt x="3658460" y="354752"/>
                </a:lnTo>
                <a:lnTo>
                  <a:pt x="3656794" y="353828"/>
                </a:lnTo>
                <a:lnTo>
                  <a:pt x="3653484" y="353828"/>
                </a:lnTo>
                <a:lnTo>
                  <a:pt x="3650500" y="352637"/>
                </a:lnTo>
                <a:lnTo>
                  <a:pt x="3645400" y="353719"/>
                </a:lnTo>
                <a:lnTo>
                  <a:pt x="3641384" y="354586"/>
                </a:lnTo>
                <a:lnTo>
                  <a:pt x="3637370" y="353719"/>
                </a:lnTo>
                <a:lnTo>
                  <a:pt x="3633463" y="353719"/>
                </a:lnTo>
                <a:lnTo>
                  <a:pt x="3637478" y="355344"/>
                </a:lnTo>
                <a:lnTo>
                  <a:pt x="3640951" y="355344"/>
                </a:lnTo>
                <a:lnTo>
                  <a:pt x="3650283" y="355344"/>
                </a:lnTo>
                <a:lnTo>
                  <a:pt x="3653213" y="353828"/>
                </a:lnTo>
                <a:lnTo>
                  <a:pt x="3653484" y="353828"/>
                </a:lnTo>
                <a:lnTo>
                  <a:pt x="3654298" y="354152"/>
                </a:lnTo>
                <a:lnTo>
                  <a:pt x="3658313" y="354802"/>
                </a:lnTo>
                <a:lnTo>
                  <a:pt x="3658460" y="354752"/>
                </a:lnTo>
                <a:lnTo>
                  <a:pt x="3660701" y="355994"/>
                </a:lnTo>
                <a:lnTo>
                  <a:pt x="3666018" y="357184"/>
                </a:lnTo>
                <a:lnTo>
                  <a:pt x="3675676" y="357184"/>
                </a:lnTo>
                <a:lnTo>
                  <a:pt x="3678931" y="359891"/>
                </a:lnTo>
                <a:lnTo>
                  <a:pt x="3680776" y="359891"/>
                </a:lnTo>
                <a:lnTo>
                  <a:pt x="3683489" y="357076"/>
                </a:lnTo>
                <a:lnTo>
                  <a:pt x="3687179" y="357076"/>
                </a:lnTo>
                <a:lnTo>
                  <a:pt x="3689783" y="358159"/>
                </a:lnTo>
                <a:lnTo>
                  <a:pt x="3691411" y="360649"/>
                </a:lnTo>
                <a:lnTo>
                  <a:pt x="3695752" y="362057"/>
                </a:lnTo>
                <a:lnTo>
                  <a:pt x="3698030" y="365196"/>
                </a:lnTo>
                <a:lnTo>
                  <a:pt x="3698030" y="368337"/>
                </a:lnTo>
                <a:lnTo>
                  <a:pt x="3694449" y="371909"/>
                </a:lnTo>
                <a:lnTo>
                  <a:pt x="3690760" y="372559"/>
                </a:lnTo>
                <a:lnTo>
                  <a:pt x="3688915" y="372559"/>
                </a:lnTo>
                <a:lnTo>
                  <a:pt x="3689892" y="374832"/>
                </a:lnTo>
                <a:lnTo>
                  <a:pt x="3689892" y="378405"/>
                </a:lnTo>
                <a:lnTo>
                  <a:pt x="3685876" y="380896"/>
                </a:lnTo>
                <a:lnTo>
                  <a:pt x="3677195" y="383169"/>
                </a:lnTo>
                <a:lnTo>
                  <a:pt x="3673180" y="382194"/>
                </a:lnTo>
                <a:lnTo>
                  <a:pt x="3668730" y="383495"/>
                </a:lnTo>
                <a:lnTo>
                  <a:pt x="3660158" y="383495"/>
                </a:lnTo>
                <a:lnTo>
                  <a:pt x="3657336" y="380788"/>
                </a:lnTo>
                <a:lnTo>
                  <a:pt x="3648112" y="373749"/>
                </a:lnTo>
                <a:lnTo>
                  <a:pt x="3642144" y="373100"/>
                </a:lnTo>
                <a:lnTo>
                  <a:pt x="3638671" y="373100"/>
                </a:lnTo>
                <a:lnTo>
                  <a:pt x="3634657" y="376240"/>
                </a:lnTo>
                <a:lnTo>
                  <a:pt x="3631727" y="381979"/>
                </a:lnTo>
                <a:lnTo>
                  <a:pt x="3626952" y="384794"/>
                </a:lnTo>
                <a:lnTo>
                  <a:pt x="3624999" y="387284"/>
                </a:lnTo>
                <a:lnTo>
                  <a:pt x="3621743" y="387933"/>
                </a:lnTo>
                <a:lnTo>
                  <a:pt x="3624131" y="389232"/>
                </a:lnTo>
                <a:lnTo>
                  <a:pt x="3627386" y="389232"/>
                </a:lnTo>
                <a:lnTo>
                  <a:pt x="3628362" y="391722"/>
                </a:lnTo>
                <a:lnTo>
                  <a:pt x="3628362" y="395620"/>
                </a:lnTo>
                <a:lnTo>
                  <a:pt x="3626626" y="397028"/>
                </a:lnTo>
                <a:lnTo>
                  <a:pt x="3623587" y="397028"/>
                </a:lnTo>
                <a:lnTo>
                  <a:pt x="3623587" y="400384"/>
                </a:lnTo>
                <a:lnTo>
                  <a:pt x="3625432" y="402766"/>
                </a:lnTo>
                <a:lnTo>
                  <a:pt x="3629665" y="404498"/>
                </a:lnTo>
                <a:lnTo>
                  <a:pt x="3632052" y="403741"/>
                </a:lnTo>
                <a:lnTo>
                  <a:pt x="3633246" y="401467"/>
                </a:lnTo>
                <a:lnTo>
                  <a:pt x="3638129" y="398761"/>
                </a:lnTo>
                <a:lnTo>
                  <a:pt x="3641276" y="394754"/>
                </a:lnTo>
                <a:lnTo>
                  <a:pt x="3646593" y="392372"/>
                </a:lnTo>
                <a:lnTo>
                  <a:pt x="3653430" y="390531"/>
                </a:lnTo>
                <a:lnTo>
                  <a:pt x="3659616" y="388474"/>
                </a:lnTo>
                <a:lnTo>
                  <a:pt x="3663196" y="387825"/>
                </a:lnTo>
                <a:lnTo>
                  <a:pt x="3665258" y="389557"/>
                </a:lnTo>
                <a:lnTo>
                  <a:pt x="3667212" y="391181"/>
                </a:lnTo>
                <a:lnTo>
                  <a:pt x="3671660" y="392372"/>
                </a:lnTo>
                <a:lnTo>
                  <a:pt x="3674591" y="394863"/>
                </a:lnTo>
                <a:lnTo>
                  <a:pt x="3675133" y="396702"/>
                </a:lnTo>
                <a:lnTo>
                  <a:pt x="3673723" y="398219"/>
                </a:lnTo>
                <a:lnTo>
                  <a:pt x="3668405" y="402874"/>
                </a:lnTo>
                <a:lnTo>
                  <a:pt x="3665801" y="408396"/>
                </a:lnTo>
                <a:lnTo>
                  <a:pt x="3662437" y="412077"/>
                </a:lnTo>
                <a:lnTo>
                  <a:pt x="3660809" y="416084"/>
                </a:lnTo>
                <a:lnTo>
                  <a:pt x="3654081" y="421172"/>
                </a:lnTo>
                <a:lnTo>
                  <a:pt x="3650283" y="427344"/>
                </a:lnTo>
                <a:lnTo>
                  <a:pt x="3642687" y="438170"/>
                </a:lnTo>
                <a:lnTo>
                  <a:pt x="3639539" y="443151"/>
                </a:lnTo>
                <a:lnTo>
                  <a:pt x="3636285" y="446291"/>
                </a:lnTo>
                <a:lnTo>
                  <a:pt x="3636285" y="452462"/>
                </a:lnTo>
                <a:lnTo>
                  <a:pt x="3634765" y="457443"/>
                </a:lnTo>
                <a:lnTo>
                  <a:pt x="3634765" y="460475"/>
                </a:lnTo>
                <a:lnTo>
                  <a:pt x="3631618" y="463939"/>
                </a:lnTo>
                <a:lnTo>
                  <a:pt x="3631618" y="470111"/>
                </a:lnTo>
                <a:lnTo>
                  <a:pt x="3629556" y="476823"/>
                </a:lnTo>
                <a:lnTo>
                  <a:pt x="3627277" y="485052"/>
                </a:lnTo>
                <a:lnTo>
                  <a:pt x="3629339" y="488083"/>
                </a:lnTo>
                <a:lnTo>
                  <a:pt x="3629990" y="492847"/>
                </a:lnTo>
                <a:lnTo>
                  <a:pt x="3628797" y="499561"/>
                </a:lnTo>
                <a:lnTo>
                  <a:pt x="3625324" y="501942"/>
                </a:lnTo>
                <a:lnTo>
                  <a:pt x="3622611" y="504866"/>
                </a:lnTo>
                <a:lnTo>
                  <a:pt x="3623696" y="510279"/>
                </a:lnTo>
                <a:lnTo>
                  <a:pt x="3622937" y="512769"/>
                </a:lnTo>
                <a:lnTo>
                  <a:pt x="3620549" y="516125"/>
                </a:lnTo>
                <a:lnTo>
                  <a:pt x="3619898" y="521647"/>
                </a:lnTo>
                <a:lnTo>
                  <a:pt x="3618053" y="526952"/>
                </a:lnTo>
                <a:lnTo>
                  <a:pt x="3614038" y="530417"/>
                </a:lnTo>
                <a:lnTo>
                  <a:pt x="3610892" y="529768"/>
                </a:lnTo>
                <a:lnTo>
                  <a:pt x="3609915" y="526952"/>
                </a:lnTo>
                <a:lnTo>
                  <a:pt x="3609915" y="523812"/>
                </a:lnTo>
                <a:lnTo>
                  <a:pt x="3607094" y="521864"/>
                </a:lnTo>
                <a:lnTo>
                  <a:pt x="3605249" y="521864"/>
                </a:lnTo>
                <a:lnTo>
                  <a:pt x="3608721" y="519482"/>
                </a:lnTo>
                <a:lnTo>
                  <a:pt x="3606985" y="517425"/>
                </a:lnTo>
                <a:lnTo>
                  <a:pt x="3604055" y="516342"/>
                </a:lnTo>
                <a:lnTo>
                  <a:pt x="3601776" y="517750"/>
                </a:lnTo>
                <a:lnTo>
                  <a:pt x="3599171" y="517750"/>
                </a:lnTo>
                <a:lnTo>
                  <a:pt x="3597327" y="519699"/>
                </a:lnTo>
                <a:lnTo>
                  <a:pt x="3597327" y="521647"/>
                </a:lnTo>
                <a:lnTo>
                  <a:pt x="3598846" y="522730"/>
                </a:lnTo>
                <a:lnTo>
                  <a:pt x="3598846" y="525329"/>
                </a:lnTo>
                <a:lnTo>
                  <a:pt x="3596893" y="526952"/>
                </a:lnTo>
                <a:lnTo>
                  <a:pt x="3596893" y="528684"/>
                </a:lnTo>
                <a:lnTo>
                  <a:pt x="3599606" y="531392"/>
                </a:lnTo>
                <a:lnTo>
                  <a:pt x="3602753" y="532799"/>
                </a:lnTo>
                <a:lnTo>
                  <a:pt x="3605249" y="536047"/>
                </a:lnTo>
                <a:lnTo>
                  <a:pt x="3607635" y="538970"/>
                </a:lnTo>
                <a:lnTo>
                  <a:pt x="3609047" y="544384"/>
                </a:lnTo>
                <a:lnTo>
                  <a:pt x="3613387" y="545900"/>
                </a:lnTo>
                <a:lnTo>
                  <a:pt x="3617185" y="547740"/>
                </a:lnTo>
                <a:lnTo>
                  <a:pt x="3621960" y="552180"/>
                </a:lnTo>
                <a:lnTo>
                  <a:pt x="3624131" y="558027"/>
                </a:lnTo>
                <a:lnTo>
                  <a:pt x="3622503" y="560516"/>
                </a:lnTo>
                <a:lnTo>
                  <a:pt x="3619790" y="561166"/>
                </a:lnTo>
                <a:lnTo>
                  <a:pt x="3616208" y="558784"/>
                </a:lnTo>
                <a:lnTo>
                  <a:pt x="3611217" y="553587"/>
                </a:lnTo>
                <a:lnTo>
                  <a:pt x="3610566" y="551097"/>
                </a:lnTo>
                <a:lnTo>
                  <a:pt x="3607962" y="550230"/>
                </a:lnTo>
                <a:lnTo>
                  <a:pt x="3606442" y="548715"/>
                </a:lnTo>
                <a:lnTo>
                  <a:pt x="3604597" y="550230"/>
                </a:lnTo>
                <a:lnTo>
                  <a:pt x="3603838" y="552071"/>
                </a:lnTo>
                <a:lnTo>
                  <a:pt x="3604814" y="555211"/>
                </a:lnTo>
                <a:lnTo>
                  <a:pt x="3606876" y="558351"/>
                </a:lnTo>
                <a:lnTo>
                  <a:pt x="3606876" y="560516"/>
                </a:lnTo>
                <a:lnTo>
                  <a:pt x="3603621" y="559867"/>
                </a:lnTo>
                <a:lnTo>
                  <a:pt x="3602536" y="559217"/>
                </a:lnTo>
                <a:lnTo>
                  <a:pt x="3601451" y="560733"/>
                </a:lnTo>
                <a:lnTo>
                  <a:pt x="3602753" y="562573"/>
                </a:lnTo>
                <a:lnTo>
                  <a:pt x="3605899" y="564631"/>
                </a:lnTo>
                <a:lnTo>
                  <a:pt x="3605899" y="566147"/>
                </a:lnTo>
                <a:lnTo>
                  <a:pt x="3604163" y="567121"/>
                </a:lnTo>
                <a:lnTo>
                  <a:pt x="3605682" y="568745"/>
                </a:lnTo>
                <a:lnTo>
                  <a:pt x="3608504" y="568745"/>
                </a:lnTo>
                <a:lnTo>
                  <a:pt x="3612845" y="570261"/>
                </a:lnTo>
                <a:lnTo>
                  <a:pt x="3613713" y="572210"/>
                </a:lnTo>
                <a:lnTo>
                  <a:pt x="3613713" y="575674"/>
                </a:lnTo>
                <a:lnTo>
                  <a:pt x="3613062" y="577406"/>
                </a:lnTo>
                <a:lnTo>
                  <a:pt x="3614798" y="579030"/>
                </a:lnTo>
                <a:lnTo>
                  <a:pt x="3617511" y="577948"/>
                </a:lnTo>
                <a:lnTo>
                  <a:pt x="3621743" y="573400"/>
                </a:lnTo>
                <a:lnTo>
                  <a:pt x="3623696" y="570261"/>
                </a:lnTo>
                <a:lnTo>
                  <a:pt x="3626735" y="569719"/>
                </a:lnTo>
                <a:lnTo>
                  <a:pt x="3626735" y="571559"/>
                </a:lnTo>
                <a:lnTo>
                  <a:pt x="3628037" y="573509"/>
                </a:lnTo>
                <a:lnTo>
                  <a:pt x="3629882" y="573509"/>
                </a:lnTo>
                <a:lnTo>
                  <a:pt x="3632595" y="575782"/>
                </a:lnTo>
                <a:lnTo>
                  <a:pt x="3636285" y="577406"/>
                </a:lnTo>
                <a:lnTo>
                  <a:pt x="3637478" y="581196"/>
                </a:lnTo>
                <a:lnTo>
                  <a:pt x="3637478" y="584444"/>
                </a:lnTo>
                <a:lnTo>
                  <a:pt x="3635958" y="586285"/>
                </a:lnTo>
                <a:lnTo>
                  <a:pt x="3635416" y="592565"/>
                </a:lnTo>
                <a:lnTo>
                  <a:pt x="3634223" y="598087"/>
                </a:lnTo>
                <a:lnTo>
                  <a:pt x="3634223" y="600360"/>
                </a:lnTo>
                <a:lnTo>
                  <a:pt x="3632378" y="606532"/>
                </a:lnTo>
                <a:lnTo>
                  <a:pt x="3630099" y="609455"/>
                </a:lnTo>
                <a:lnTo>
                  <a:pt x="3629448" y="613569"/>
                </a:lnTo>
                <a:lnTo>
                  <a:pt x="3628471" y="615626"/>
                </a:lnTo>
                <a:lnTo>
                  <a:pt x="3626952" y="614543"/>
                </a:lnTo>
                <a:lnTo>
                  <a:pt x="3624673" y="610970"/>
                </a:lnTo>
                <a:lnTo>
                  <a:pt x="3619790" y="609238"/>
                </a:lnTo>
                <a:lnTo>
                  <a:pt x="3617511" y="606207"/>
                </a:lnTo>
                <a:lnTo>
                  <a:pt x="3615340" y="605449"/>
                </a:lnTo>
                <a:lnTo>
                  <a:pt x="3613821" y="606098"/>
                </a:lnTo>
                <a:lnTo>
                  <a:pt x="3610132" y="605232"/>
                </a:lnTo>
                <a:lnTo>
                  <a:pt x="3609264" y="603283"/>
                </a:lnTo>
                <a:lnTo>
                  <a:pt x="3610023" y="600143"/>
                </a:lnTo>
                <a:lnTo>
                  <a:pt x="3607527" y="597112"/>
                </a:lnTo>
                <a:lnTo>
                  <a:pt x="3605357" y="596463"/>
                </a:lnTo>
                <a:lnTo>
                  <a:pt x="3603621" y="597545"/>
                </a:lnTo>
                <a:lnTo>
                  <a:pt x="3601342" y="596679"/>
                </a:lnTo>
                <a:lnTo>
                  <a:pt x="3598303" y="593322"/>
                </a:lnTo>
                <a:lnTo>
                  <a:pt x="3593963" y="593322"/>
                </a:lnTo>
                <a:lnTo>
                  <a:pt x="3590599" y="594730"/>
                </a:lnTo>
                <a:lnTo>
                  <a:pt x="3591792" y="596245"/>
                </a:lnTo>
                <a:lnTo>
                  <a:pt x="3591792" y="598628"/>
                </a:lnTo>
                <a:lnTo>
                  <a:pt x="3589514" y="598628"/>
                </a:lnTo>
                <a:lnTo>
                  <a:pt x="3587669" y="597545"/>
                </a:lnTo>
                <a:lnTo>
                  <a:pt x="3583219" y="597545"/>
                </a:lnTo>
                <a:lnTo>
                  <a:pt x="3580181" y="598736"/>
                </a:lnTo>
                <a:lnTo>
                  <a:pt x="3581266" y="599818"/>
                </a:lnTo>
                <a:lnTo>
                  <a:pt x="3584413" y="599818"/>
                </a:lnTo>
                <a:lnTo>
                  <a:pt x="3588429" y="600901"/>
                </a:lnTo>
                <a:lnTo>
                  <a:pt x="3589622" y="602309"/>
                </a:lnTo>
                <a:lnTo>
                  <a:pt x="3589622" y="603716"/>
                </a:lnTo>
                <a:lnTo>
                  <a:pt x="3586476" y="604691"/>
                </a:lnTo>
                <a:lnTo>
                  <a:pt x="3580832" y="609779"/>
                </a:lnTo>
                <a:lnTo>
                  <a:pt x="3577251" y="612595"/>
                </a:lnTo>
                <a:lnTo>
                  <a:pt x="3574647" y="612053"/>
                </a:lnTo>
                <a:lnTo>
                  <a:pt x="3573019" y="609671"/>
                </a:lnTo>
                <a:lnTo>
                  <a:pt x="3573019" y="606640"/>
                </a:lnTo>
                <a:lnTo>
                  <a:pt x="3571934" y="605449"/>
                </a:lnTo>
                <a:lnTo>
                  <a:pt x="3569438" y="606532"/>
                </a:lnTo>
                <a:lnTo>
                  <a:pt x="3569438" y="609779"/>
                </a:lnTo>
                <a:lnTo>
                  <a:pt x="3570415" y="612595"/>
                </a:lnTo>
                <a:lnTo>
                  <a:pt x="3568787" y="614652"/>
                </a:lnTo>
                <a:lnTo>
                  <a:pt x="3569980" y="616708"/>
                </a:lnTo>
                <a:lnTo>
                  <a:pt x="3570524" y="619415"/>
                </a:lnTo>
                <a:lnTo>
                  <a:pt x="3568896" y="621581"/>
                </a:lnTo>
                <a:lnTo>
                  <a:pt x="3570306" y="623097"/>
                </a:lnTo>
                <a:lnTo>
                  <a:pt x="3570306" y="625696"/>
                </a:lnTo>
                <a:lnTo>
                  <a:pt x="3568570" y="626670"/>
                </a:lnTo>
                <a:lnTo>
                  <a:pt x="3564012" y="625154"/>
                </a:lnTo>
                <a:lnTo>
                  <a:pt x="3561516" y="625154"/>
                </a:lnTo>
                <a:lnTo>
                  <a:pt x="3560323" y="627428"/>
                </a:lnTo>
                <a:lnTo>
                  <a:pt x="3563144" y="629377"/>
                </a:lnTo>
                <a:lnTo>
                  <a:pt x="3565965" y="629377"/>
                </a:lnTo>
                <a:lnTo>
                  <a:pt x="3571934" y="629377"/>
                </a:lnTo>
                <a:lnTo>
                  <a:pt x="3572693" y="631001"/>
                </a:lnTo>
                <a:lnTo>
                  <a:pt x="3572693" y="634032"/>
                </a:lnTo>
                <a:lnTo>
                  <a:pt x="3572693" y="638254"/>
                </a:lnTo>
                <a:lnTo>
                  <a:pt x="3573995" y="638254"/>
                </a:lnTo>
                <a:lnTo>
                  <a:pt x="3575515" y="636089"/>
                </a:lnTo>
                <a:lnTo>
                  <a:pt x="3580290" y="635223"/>
                </a:lnTo>
                <a:lnTo>
                  <a:pt x="3584739" y="637064"/>
                </a:lnTo>
                <a:lnTo>
                  <a:pt x="3586801" y="638904"/>
                </a:lnTo>
                <a:lnTo>
                  <a:pt x="3591901" y="638904"/>
                </a:lnTo>
                <a:lnTo>
                  <a:pt x="3595482" y="639878"/>
                </a:lnTo>
                <a:lnTo>
                  <a:pt x="3598195" y="638904"/>
                </a:lnTo>
                <a:lnTo>
                  <a:pt x="3600148" y="637389"/>
                </a:lnTo>
                <a:lnTo>
                  <a:pt x="3601884" y="638254"/>
                </a:lnTo>
                <a:lnTo>
                  <a:pt x="3601884" y="640854"/>
                </a:lnTo>
                <a:lnTo>
                  <a:pt x="3601884" y="645292"/>
                </a:lnTo>
                <a:lnTo>
                  <a:pt x="3601884" y="647890"/>
                </a:lnTo>
                <a:lnTo>
                  <a:pt x="3600908" y="649406"/>
                </a:lnTo>
                <a:lnTo>
                  <a:pt x="3598303" y="650813"/>
                </a:lnTo>
                <a:lnTo>
                  <a:pt x="3596350" y="649406"/>
                </a:lnTo>
                <a:lnTo>
                  <a:pt x="3593203" y="648323"/>
                </a:lnTo>
                <a:lnTo>
                  <a:pt x="3590165" y="649839"/>
                </a:lnTo>
                <a:lnTo>
                  <a:pt x="3587561" y="650813"/>
                </a:lnTo>
                <a:lnTo>
                  <a:pt x="3585281" y="648864"/>
                </a:lnTo>
                <a:lnTo>
                  <a:pt x="3579096" y="649731"/>
                </a:lnTo>
                <a:lnTo>
                  <a:pt x="3573995" y="650813"/>
                </a:lnTo>
                <a:lnTo>
                  <a:pt x="3571500" y="650164"/>
                </a:lnTo>
                <a:lnTo>
                  <a:pt x="3570524" y="648431"/>
                </a:lnTo>
                <a:lnTo>
                  <a:pt x="3569764" y="650597"/>
                </a:lnTo>
                <a:lnTo>
                  <a:pt x="3570740" y="651680"/>
                </a:lnTo>
                <a:lnTo>
                  <a:pt x="3571717" y="653520"/>
                </a:lnTo>
                <a:lnTo>
                  <a:pt x="3574430" y="653520"/>
                </a:lnTo>
                <a:lnTo>
                  <a:pt x="3577902" y="652546"/>
                </a:lnTo>
                <a:lnTo>
                  <a:pt x="3585499" y="652546"/>
                </a:lnTo>
                <a:lnTo>
                  <a:pt x="3588645" y="654386"/>
                </a:lnTo>
                <a:lnTo>
                  <a:pt x="3591142" y="657093"/>
                </a:lnTo>
                <a:lnTo>
                  <a:pt x="3593746" y="657093"/>
                </a:lnTo>
                <a:lnTo>
                  <a:pt x="3597001" y="658176"/>
                </a:lnTo>
                <a:lnTo>
                  <a:pt x="3599497" y="660882"/>
                </a:lnTo>
                <a:lnTo>
                  <a:pt x="3601993" y="664888"/>
                </a:lnTo>
                <a:lnTo>
                  <a:pt x="3605574" y="668461"/>
                </a:lnTo>
                <a:lnTo>
                  <a:pt x="3606334" y="670519"/>
                </a:lnTo>
                <a:lnTo>
                  <a:pt x="3605249" y="670519"/>
                </a:lnTo>
                <a:lnTo>
                  <a:pt x="3602427" y="669761"/>
                </a:lnTo>
                <a:lnTo>
                  <a:pt x="3600800" y="668678"/>
                </a:lnTo>
                <a:lnTo>
                  <a:pt x="3600800" y="670194"/>
                </a:lnTo>
                <a:lnTo>
                  <a:pt x="3600800" y="672576"/>
                </a:lnTo>
                <a:lnTo>
                  <a:pt x="3602644" y="676149"/>
                </a:lnTo>
                <a:lnTo>
                  <a:pt x="3602644" y="681670"/>
                </a:lnTo>
                <a:lnTo>
                  <a:pt x="3602644" y="683727"/>
                </a:lnTo>
                <a:lnTo>
                  <a:pt x="3603621" y="687842"/>
                </a:lnTo>
                <a:lnTo>
                  <a:pt x="3602969" y="690441"/>
                </a:lnTo>
                <a:lnTo>
                  <a:pt x="3601559" y="693039"/>
                </a:lnTo>
                <a:lnTo>
                  <a:pt x="3599063" y="700726"/>
                </a:lnTo>
                <a:lnTo>
                  <a:pt x="3596350" y="703541"/>
                </a:lnTo>
                <a:lnTo>
                  <a:pt x="3593854" y="703541"/>
                </a:lnTo>
                <a:lnTo>
                  <a:pt x="3591575" y="701592"/>
                </a:lnTo>
                <a:lnTo>
                  <a:pt x="3589622" y="697802"/>
                </a:lnTo>
                <a:lnTo>
                  <a:pt x="3592443" y="695312"/>
                </a:lnTo>
                <a:lnTo>
                  <a:pt x="3591467" y="693147"/>
                </a:lnTo>
                <a:lnTo>
                  <a:pt x="3588971" y="692498"/>
                </a:lnTo>
                <a:lnTo>
                  <a:pt x="3587126" y="693580"/>
                </a:lnTo>
                <a:lnTo>
                  <a:pt x="3584413" y="692931"/>
                </a:lnTo>
                <a:lnTo>
                  <a:pt x="3579096" y="686651"/>
                </a:lnTo>
                <a:lnTo>
                  <a:pt x="3574647" y="683403"/>
                </a:lnTo>
                <a:lnTo>
                  <a:pt x="3570632" y="679722"/>
                </a:lnTo>
                <a:lnTo>
                  <a:pt x="3570632" y="677123"/>
                </a:lnTo>
                <a:lnTo>
                  <a:pt x="3569004" y="673333"/>
                </a:lnTo>
                <a:lnTo>
                  <a:pt x="3563578" y="667271"/>
                </a:lnTo>
                <a:lnTo>
                  <a:pt x="3561299" y="665863"/>
                </a:lnTo>
                <a:lnTo>
                  <a:pt x="3560431" y="665863"/>
                </a:lnTo>
                <a:lnTo>
                  <a:pt x="3560431" y="667379"/>
                </a:lnTo>
                <a:lnTo>
                  <a:pt x="3561516" y="669219"/>
                </a:lnTo>
                <a:lnTo>
                  <a:pt x="3565531" y="673659"/>
                </a:lnTo>
                <a:lnTo>
                  <a:pt x="3565531" y="676149"/>
                </a:lnTo>
                <a:lnTo>
                  <a:pt x="3564338" y="677990"/>
                </a:lnTo>
                <a:lnTo>
                  <a:pt x="3558803" y="677990"/>
                </a:lnTo>
                <a:lnTo>
                  <a:pt x="3555982" y="675607"/>
                </a:lnTo>
                <a:lnTo>
                  <a:pt x="3553703" y="671384"/>
                </a:lnTo>
                <a:lnTo>
                  <a:pt x="3551750" y="668894"/>
                </a:lnTo>
                <a:lnTo>
                  <a:pt x="3551750" y="671602"/>
                </a:lnTo>
                <a:lnTo>
                  <a:pt x="3551750" y="674416"/>
                </a:lnTo>
                <a:lnTo>
                  <a:pt x="3555440" y="678855"/>
                </a:lnTo>
                <a:lnTo>
                  <a:pt x="3562384" y="681670"/>
                </a:lnTo>
                <a:lnTo>
                  <a:pt x="3568461" y="681670"/>
                </a:lnTo>
                <a:lnTo>
                  <a:pt x="3574972" y="686651"/>
                </a:lnTo>
                <a:lnTo>
                  <a:pt x="3583545" y="695529"/>
                </a:lnTo>
                <a:lnTo>
                  <a:pt x="3584522" y="698128"/>
                </a:lnTo>
                <a:lnTo>
                  <a:pt x="3583219" y="700293"/>
                </a:lnTo>
                <a:lnTo>
                  <a:pt x="3581158" y="700293"/>
                </a:lnTo>
                <a:lnTo>
                  <a:pt x="3578445" y="698453"/>
                </a:lnTo>
                <a:lnTo>
                  <a:pt x="3574322" y="698453"/>
                </a:lnTo>
                <a:lnTo>
                  <a:pt x="3571392" y="699968"/>
                </a:lnTo>
                <a:lnTo>
                  <a:pt x="3567159" y="704083"/>
                </a:lnTo>
                <a:lnTo>
                  <a:pt x="3564229" y="704083"/>
                </a:lnTo>
                <a:lnTo>
                  <a:pt x="3560648" y="702459"/>
                </a:lnTo>
                <a:lnTo>
                  <a:pt x="3559454" y="699427"/>
                </a:lnTo>
                <a:lnTo>
                  <a:pt x="3560323" y="697694"/>
                </a:lnTo>
                <a:lnTo>
                  <a:pt x="3559454" y="695963"/>
                </a:lnTo>
                <a:lnTo>
                  <a:pt x="3556308" y="693688"/>
                </a:lnTo>
                <a:lnTo>
                  <a:pt x="3556308" y="696504"/>
                </a:lnTo>
                <a:lnTo>
                  <a:pt x="3557718" y="698886"/>
                </a:lnTo>
                <a:lnTo>
                  <a:pt x="3558586" y="703541"/>
                </a:lnTo>
                <a:lnTo>
                  <a:pt x="3559888" y="706248"/>
                </a:lnTo>
                <a:lnTo>
                  <a:pt x="3564121" y="707114"/>
                </a:lnTo>
                <a:lnTo>
                  <a:pt x="3568787" y="706140"/>
                </a:lnTo>
                <a:lnTo>
                  <a:pt x="3572693" y="701376"/>
                </a:lnTo>
                <a:lnTo>
                  <a:pt x="3575190" y="701376"/>
                </a:lnTo>
                <a:lnTo>
                  <a:pt x="3580724" y="704083"/>
                </a:lnTo>
                <a:lnTo>
                  <a:pt x="3580724" y="707222"/>
                </a:lnTo>
                <a:lnTo>
                  <a:pt x="3579747" y="708630"/>
                </a:lnTo>
                <a:lnTo>
                  <a:pt x="3578662" y="716534"/>
                </a:lnTo>
                <a:lnTo>
                  <a:pt x="3576926" y="719240"/>
                </a:lnTo>
                <a:lnTo>
                  <a:pt x="3574647" y="719240"/>
                </a:lnTo>
                <a:lnTo>
                  <a:pt x="3574647" y="721189"/>
                </a:lnTo>
                <a:lnTo>
                  <a:pt x="3576600" y="723030"/>
                </a:lnTo>
                <a:lnTo>
                  <a:pt x="3578988" y="721514"/>
                </a:lnTo>
                <a:lnTo>
                  <a:pt x="3583979" y="722597"/>
                </a:lnTo>
                <a:lnTo>
                  <a:pt x="3587561" y="726820"/>
                </a:lnTo>
                <a:lnTo>
                  <a:pt x="3592878" y="729526"/>
                </a:lnTo>
                <a:lnTo>
                  <a:pt x="3594397" y="727794"/>
                </a:lnTo>
                <a:lnTo>
                  <a:pt x="3597544" y="725953"/>
                </a:lnTo>
                <a:lnTo>
                  <a:pt x="3601884" y="726494"/>
                </a:lnTo>
                <a:lnTo>
                  <a:pt x="3601884" y="728335"/>
                </a:lnTo>
                <a:lnTo>
                  <a:pt x="3600256" y="731042"/>
                </a:lnTo>
                <a:lnTo>
                  <a:pt x="3600908" y="734832"/>
                </a:lnTo>
                <a:lnTo>
                  <a:pt x="3602861" y="737538"/>
                </a:lnTo>
                <a:lnTo>
                  <a:pt x="3601233" y="741436"/>
                </a:lnTo>
                <a:lnTo>
                  <a:pt x="3597001" y="748148"/>
                </a:lnTo>
                <a:lnTo>
                  <a:pt x="3591683" y="750964"/>
                </a:lnTo>
                <a:lnTo>
                  <a:pt x="3589405" y="750097"/>
                </a:lnTo>
                <a:lnTo>
                  <a:pt x="3588754" y="747174"/>
                </a:lnTo>
                <a:lnTo>
                  <a:pt x="3586149" y="745442"/>
                </a:lnTo>
                <a:lnTo>
                  <a:pt x="3584630" y="741977"/>
                </a:lnTo>
                <a:lnTo>
                  <a:pt x="3584630" y="738512"/>
                </a:lnTo>
                <a:lnTo>
                  <a:pt x="3579422" y="734723"/>
                </a:lnTo>
                <a:lnTo>
                  <a:pt x="3575515" y="733532"/>
                </a:lnTo>
                <a:lnTo>
                  <a:pt x="3571825" y="731042"/>
                </a:lnTo>
                <a:lnTo>
                  <a:pt x="3568570" y="730501"/>
                </a:lnTo>
                <a:lnTo>
                  <a:pt x="3565423" y="732558"/>
                </a:lnTo>
                <a:lnTo>
                  <a:pt x="3562276" y="732558"/>
                </a:lnTo>
                <a:lnTo>
                  <a:pt x="3560539" y="731150"/>
                </a:lnTo>
                <a:lnTo>
                  <a:pt x="3558912" y="727902"/>
                </a:lnTo>
                <a:lnTo>
                  <a:pt x="3556525" y="725195"/>
                </a:lnTo>
                <a:lnTo>
                  <a:pt x="3554897" y="725195"/>
                </a:lnTo>
                <a:lnTo>
                  <a:pt x="3554897" y="727036"/>
                </a:lnTo>
                <a:lnTo>
                  <a:pt x="3556308" y="729743"/>
                </a:lnTo>
                <a:lnTo>
                  <a:pt x="3556308" y="734723"/>
                </a:lnTo>
                <a:lnTo>
                  <a:pt x="3554788" y="737863"/>
                </a:lnTo>
                <a:lnTo>
                  <a:pt x="3552075" y="739487"/>
                </a:lnTo>
                <a:lnTo>
                  <a:pt x="3548602" y="739487"/>
                </a:lnTo>
                <a:lnTo>
                  <a:pt x="3546541" y="740678"/>
                </a:lnTo>
                <a:lnTo>
                  <a:pt x="3549037" y="741544"/>
                </a:lnTo>
                <a:lnTo>
                  <a:pt x="3550556" y="743493"/>
                </a:lnTo>
                <a:lnTo>
                  <a:pt x="3550556" y="746200"/>
                </a:lnTo>
                <a:lnTo>
                  <a:pt x="3546975" y="751180"/>
                </a:lnTo>
                <a:lnTo>
                  <a:pt x="3544587" y="752587"/>
                </a:lnTo>
                <a:lnTo>
                  <a:pt x="3544587" y="753887"/>
                </a:lnTo>
                <a:lnTo>
                  <a:pt x="3545673" y="755728"/>
                </a:lnTo>
                <a:lnTo>
                  <a:pt x="3547952" y="757244"/>
                </a:lnTo>
                <a:lnTo>
                  <a:pt x="3549471" y="762224"/>
                </a:lnTo>
                <a:lnTo>
                  <a:pt x="3552075" y="763523"/>
                </a:lnTo>
                <a:lnTo>
                  <a:pt x="3553052" y="768070"/>
                </a:lnTo>
                <a:lnTo>
                  <a:pt x="3551967" y="773484"/>
                </a:lnTo>
                <a:lnTo>
                  <a:pt x="3552618" y="775216"/>
                </a:lnTo>
                <a:lnTo>
                  <a:pt x="3554028" y="771427"/>
                </a:lnTo>
                <a:lnTo>
                  <a:pt x="3555657" y="768612"/>
                </a:lnTo>
                <a:lnTo>
                  <a:pt x="3555657" y="765364"/>
                </a:lnTo>
                <a:lnTo>
                  <a:pt x="3554028" y="763848"/>
                </a:lnTo>
                <a:lnTo>
                  <a:pt x="3554028" y="759625"/>
                </a:lnTo>
                <a:lnTo>
                  <a:pt x="3555548" y="756377"/>
                </a:lnTo>
                <a:lnTo>
                  <a:pt x="3557067" y="756377"/>
                </a:lnTo>
                <a:lnTo>
                  <a:pt x="3558478" y="759301"/>
                </a:lnTo>
                <a:lnTo>
                  <a:pt x="3560648" y="761141"/>
                </a:lnTo>
                <a:lnTo>
                  <a:pt x="3562493" y="764281"/>
                </a:lnTo>
                <a:lnTo>
                  <a:pt x="3565640" y="766663"/>
                </a:lnTo>
                <a:lnTo>
                  <a:pt x="3567159" y="765580"/>
                </a:lnTo>
                <a:lnTo>
                  <a:pt x="3569112" y="765580"/>
                </a:lnTo>
                <a:lnTo>
                  <a:pt x="3570632" y="766771"/>
                </a:lnTo>
                <a:lnTo>
                  <a:pt x="3571934" y="765364"/>
                </a:lnTo>
                <a:lnTo>
                  <a:pt x="3575840" y="763956"/>
                </a:lnTo>
                <a:lnTo>
                  <a:pt x="3579096" y="764606"/>
                </a:lnTo>
                <a:lnTo>
                  <a:pt x="3580181" y="766554"/>
                </a:lnTo>
                <a:lnTo>
                  <a:pt x="3580181" y="769695"/>
                </a:lnTo>
                <a:lnTo>
                  <a:pt x="3577034" y="775216"/>
                </a:lnTo>
                <a:lnTo>
                  <a:pt x="3575298" y="778464"/>
                </a:lnTo>
                <a:lnTo>
                  <a:pt x="3575298" y="782795"/>
                </a:lnTo>
                <a:lnTo>
                  <a:pt x="3574647" y="788317"/>
                </a:lnTo>
                <a:lnTo>
                  <a:pt x="3573453" y="789941"/>
                </a:lnTo>
                <a:lnTo>
                  <a:pt x="3569221" y="789941"/>
                </a:lnTo>
                <a:lnTo>
                  <a:pt x="3564772" y="791240"/>
                </a:lnTo>
                <a:lnTo>
                  <a:pt x="3561408" y="790374"/>
                </a:lnTo>
                <a:lnTo>
                  <a:pt x="3558586" y="789075"/>
                </a:lnTo>
                <a:lnTo>
                  <a:pt x="3556090" y="789075"/>
                </a:lnTo>
                <a:lnTo>
                  <a:pt x="3553269" y="791132"/>
                </a:lnTo>
                <a:lnTo>
                  <a:pt x="3553269" y="793947"/>
                </a:lnTo>
                <a:lnTo>
                  <a:pt x="3550990" y="795896"/>
                </a:lnTo>
                <a:lnTo>
                  <a:pt x="3547952" y="795896"/>
                </a:lnTo>
                <a:lnTo>
                  <a:pt x="3545999" y="795896"/>
                </a:lnTo>
                <a:lnTo>
                  <a:pt x="3544045" y="799036"/>
                </a:lnTo>
                <a:lnTo>
                  <a:pt x="3543394" y="800985"/>
                </a:lnTo>
                <a:lnTo>
                  <a:pt x="3540247" y="801743"/>
                </a:lnTo>
                <a:lnTo>
                  <a:pt x="3537751" y="801093"/>
                </a:lnTo>
                <a:lnTo>
                  <a:pt x="3533845" y="798278"/>
                </a:lnTo>
                <a:lnTo>
                  <a:pt x="3527334" y="794597"/>
                </a:lnTo>
                <a:lnTo>
                  <a:pt x="3523318" y="790374"/>
                </a:lnTo>
                <a:lnTo>
                  <a:pt x="3513769" y="781388"/>
                </a:lnTo>
                <a:lnTo>
                  <a:pt x="3512141" y="777707"/>
                </a:lnTo>
                <a:lnTo>
                  <a:pt x="3512141" y="775108"/>
                </a:lnTo>
                <a:lnTo>
                  <a:pt x="3513660" y="773701"/>
                </a:lnTo>
                <a:lnTo>
                  <a:pt x="3516156" y="773701"/>
                </a:lnTo>
                <a:lnTo>
                  <a:pt x="3517242" y="774675"/>
                </a:lnTo>
                <a:lnTo>
                  <a:pt x="3519629" y="776082"/>
                </a:lnTo>
                <a:lnTo>
                  <a:pt x="3527767" y="779980"/>
                </a:lnTo>
                <a:lnTo>
                  <a:pt x="3532217" y="783986"/>
                </a:lnTo>
                <a:lnTo>
                  <a:pt x="3533736" y="783336"/>
                </a:lnTo>
                <a:lnTo>
                  <a:pt x="3539921" y="782254"/>
                </a:lnTo>
                <a:lnTo>
                  <a:pt x="3539921" y="780197"/>
                </a:lnTo>
                <a:lnTo>
                  <a:pt x="3538076" y="778681"/>
                </a:lnTo>
                <a:lnTo>
                  <a:pt x="3536123" y="778681"/>
                </a:lnTo>
                <a:lnTo>
                  <a:pt x="3533845" y="780089"/>
                </a:lnTo>
                <a:lnTo>
                  <a:pt x="3530047" y="778573"/>
                </a:lnTo>
                <a:lnTo>
                  <a:pt x="3523101" y="773701"/>
                </a:lnTo>
                <a:lnTo>
                  <a:pt x="3515505" y="770560"/>
                </a:lnTo>
                <a:lnTo>
                  <a:pt x="3512792" y="770560"/>
                </a:lnTo>
                <a:lnTo>
                  <a:pt x="3511707" y="768720"/>
                </a:lnTo>
                <a:lnTo>
                  <a:pt x="3511707" y="766013"/>
                </a:lnTo>
                <a:lnTo>
                  <a:pt x="3509754" y="765147"/>
                </a:lnTo>
                <a:lnTo>
                  <a:pt x="3507801" y="765147"/>
                </a:lnTo>
                <a:lnTo>
                  <a:pt x="3505848" y="767421"/>
                </a:lnTo>
                <a:lnTo>
                  <a:pt x="3505848" y="771427"/>
                </a:lnTo>
                <a:lnTo>
                  <a:pt x="3504979" y="778573"/>
                </a:lnTo>
                <a:lnTo>
                  <a:pt x="3504979" y="781713"/>
                </a:lnTo>
                <a:lnTo>
                  <a:pt x="3504219" y="783553"/>
                </a:lnTo>
                <a:lnTo>
                  <a:pt x="3503135" y="782687"/>
                </a:lnTo>
                <a:lnTo>
                  <a:pt x="3495538" y="774025"/>
                </a:lnTo>
                <a:lnTo>
                  <a:pt x="3490764" y="765689"/>
                </a:lnTo>
                <a:lnTo>
                  <a:pt x="3488811" y="763090"/>
                </a:lnTo>
                <a:lnTo>
                  <a:pt x="3488811" y="760924"/>
                </a:lnTo>
                <a:lnTo>
                  <a:pt x="3487183" y="759084"/>
                </a:lnTo>
                <a:lnTo>
                  <a:pt x="3485446" y="759084"/>
                </a:lnTo>
                <a:lnTo>
                  <a:pt x="3484795" y="760275"/>
                </a:lnTo>
                <a:lnTo>
                  <a:pt x="3484795" y="762548"/>
                </a:lnTo>
                <a:lnTo>
                  <a:pt x="3488376" y="764822"/>
                </a:lnTo>
                <a:lnTo>
                  <a:pt x="3493477" y="773592"/>
                </a:lnTo>
                <a:lnTo>
                  <a:pt x="3493477" y="775974"/>
                </a:lnTo>
                <a:lnTo>
                  <a:pt x="3496515" y="780305"/>
                </a:lnTo>
                <a:lnTo>
                  <a:pt x="3497600" y="782579"/>
                </a:lnTo>
                <a:lnTo>
                  <a:pt x="3497600" y="785069"/>
                </a:lnTo>
                <a:lnTo>
                  <a:pt x="3495213" y="785069"/>
                </a:lnTo>
                <a:lnTo>
                  <a:pt x="3491632" y="786585"/>
                </a:lnTo>
                <a:lnTo>
                  <a:pt x="3488811" y="789075"/>
                </a:lnTo>
                <a:lnTo>
                  <a:pt x="3486965" y="791565"/>
                </a:lnTo>
                <a:lnTo>
                  <a:pt x="3483384" y="792540"/>
                </a:lnTo>
                <a:lnTo>
                  <a:pt x="3480563" y="794488"/>
                </a:lnTo>
                <a:lnTo>
                  <a:pt x="3476657" y="795680"/>
                </a:lnTo>
                <a:lnTo>
                  <a:pt x="3473184" y="795680"/>
                </a:lnTo>
                <a:lnTo>
                  <a:pt x="3470146" y="792540"/>
                </a:lnTo>
                <a:lnTo>
                  <a:pt x="3467975" y="792540"/>
                </a:lnTo>
                <a:lnTo>
                  <a:pt x="3465479" y="791240"/>
                </a:lnTo>
                <a:lnTo>
                  <a:pt x="3464611" y="789291"/>
                </a:lnTo>
                <a:lnTo>
                  <a:pt x="3459511" y="785285"/>
                </a:lnTo>
                <a:lnTo>
                  <a:pt x="3456689" y="783553"/>
                </a:lnTo>
                <a:lnTo>
                  <a:pt x="3456689" y="781063"/>
                </a:lnTo>
                <a:lnTo>
                  <a:pt x="3455821" y="778681"/>
                </a:lnTo>
                <a:lnTo>
                  <a:pt x="3454194" y="777923"/>
                </a:lnTo>
                <a:lnTo>
                  <a:pt x="3453325" y="779114"/>
                </a:lnTo>
                <a:lnTo>
                  <a:pt x="3453325" y="782903"/>
                </a:lnTo>
                <a:lnTo>
                  <a:pt x="3454953" y="785827"/>
                </a:lnTo>
                <a:lnTo>
                  <a:pt x="3458860" y="787884"/>
                </a:lnTo>
                <a:lnTo>
                  <a:pt x="3462983" y="791240"/>
                </a:lnTo>
                <a:lnTo>
                  <a:pt x="3465479" y="795246"/>
                </a:lnTo>
                <a:lnTo>
                  <a:pt x="3465479" y="797411"/>
                </a:lnTo>
                <a:lnTo>
                  <a:pt x="3462983" y="799144"/>
                </a:lnTo>
                <a:lnTo>
                  <a:pt x="3455930" y="799144"/>
                </a:lnTo>
                <a:lnTo>
                  <a:pt x="3450937" y="798278"/>
                </a:lnTo>
                <a:lnTo>
                  <a:pt x="3447140" y="799469"/>
                </a:lnTo>
                <a:lnTo>
                  <a:pt x="3444427" y="801851"/>
                </a:lnTo>
                <a:lnTo>
                  <a:pt x="3445403" y="803475"/>
                </a:lnTo>
                <a:lnTo>
                  <a:pt x="3446922" y="803475"/>
                </a:lnTo>
                <a:lnTo>
                  <a:pt x="3448550" y="805965"/>
                </a:lnTo>
                <a:lnTo>
                  <a:pt x="3450395" y="806831"/>
                </a:lnTo>
                <a:lnTo>
                  <a:pt x="3451589" y="804666"/>
                </a:lnTo>
                <a:lnTo>
                  <a:pt x="3452349" y="801959"/>
                </a:lnTo>
                <a:lnTo>
                  <a:pt x="3456580" y="801959"/>
                </a:lnTo>
                <a:lnTo>
                  <a:pt x="3459945" y="803042"/>
                </a:lnTo>
                <a:lnTo>
                  <a:pt x="3463309" y="804341"/>
                </a:lnTo>
                <a:lnTo>
                  <a:pt x="3466347" y="802609"/>
                </a:lnTo>
                <a:lnTo>
                  <a:pt x="3466889" y="799902"/>
                </a:lnTo>
                <a:lnTo>
                  <a:pt x="3469711" y="799036"/>
                </a:lnTo>
                <a:lnTo>
                  <a:pt x="3474052" y="799577"/>
                </a:lnTo>
                <a:lnTo>
                  <a:pt x="3478284" y="799577"/>
                </a:lnTo>
                <a:lnTo>
                  <a:pt x="3480020" y="801201"/>
                </a:lnTo>
                <a:lnTo>
                  <a:pt x="3483059" y="803150"/>
                </a:lnTo>
                <a:lnTo>
                  <a:pt x="3488267" y="804341"/>
                </a:lnTo>
                <a:lnTo>
                  <a:pt x="3491414" y="806290"/>
                </a:lnTo>
                <a:lnTo>
                  <a:pt x="3492500" y="809321"/>
                </a:lnTo>
                <a:lnTo>
                  <a:pt x="3491523" y="811920"/>
                </a:lnTo>
                <a:lnTo>
                  <a:pt x="3489461" y="812461"/>
                </a:lnTo>
                <a:lnTo>
                  <a:pt x="3487183" y="815601"/>
                </a:lnTo>
                <a:lnTo>
                  <a:pt x="3483167" y="815601"/>
                </a:lnTo>
                <a:lnTo>
                  <a:pt x="3479912" y="815601"/>
                </a:lnTo>
                <a:lnTo>
                  <a:pt x="3475897" y="818741"/>
                </a:lnTo>
                <a:lnTo>
                  <a:pt x="3472641" y="820257"/>
                </a:lnTo>
                <a:lnTo>
                  <a:pt x="3469060" y="819607"/>
                </a:lnTo>
                <a:lnTo>
                  <a:pt x="3464828" y="815168"/>
                </a:lnTo>
                <a:lnTo>
                  <a:pt x="3462332" y="813977"/>
                </a:lnTo>
                <a:lnTo>
                  <a:pt x="3460161" y="813977"/>
                </a:lnTo>
                <a:lnTo>
                  <a:pt x="3458208" y="816143"/>
                </a:lnTo>
                <a:lnTo>
                  <a:pt x="3455495" y="816143"/>
                </a:lnTo>
                <a:lnTo>
                  <a:pt x="3454194" y="815384"/>
                </a:lnTo>
                <a:lnTo>
                  <a:pt x="3451806" y="815384"/>
                </a:lnTo>
                <a:lnTo>
                  <a:pt x="3451806" y="816900"/>
                </a:lnTo>
                <a:lnTo>
                  <a:pt x="3454410" y="816900"/>
                </a:lnTo>
                <a:lnTo>
                  <a:pt x="3458751" y="816900"/>
                </a:lnTo>
                <a:lnTo>
                  <a:pt x="3460813" y="815709"/>
                </a:lnTo>
                <a:lnTo>
                  <a:pt x="3463309" y="816467"/>
                </a:lnTo>
                <a:lnTo>
                  <a:pt x="3464394" y="818308"/>
                </a:lnTo>
                <a:lnTo>
                  <a:pt x="3463200" y="820149"/>
                </a:lnTo>
                <a:lnTo>
                  <a:pt x="3459076" y="820906"/>
                </a:lnTo>
                <a:lnTo>
                  <a:pt x="3454844" y="822964"/>
                </a:lnTo>
                <a:lnTo>
                  <a:pt x="3454085" y="824371"/>
                </a:lnTo>
                <a:lnTo>
                  <a:pt x="3456038" y="824371"/>
                </a:lnTo>
                <a:lnTo>
                  <a:pt x="3458317" y="822964"/>
                </a:lnTo>
                <a:lnTo>
                  <a:pt x="3463526" y="821664"/>
                </a:lnTo>
                <a:lnTo>
                  <a:pt x="3465371" y="821664"/>
                </a:lnTo>
                <a:lnTo>
                  <a:pt x="3466673" y="823721"/>
                </a:lnTo>
                <a:lnTo>
                  <a:pt x="3466673" y="826645"/>
                </a:lnTo>
                <a:lnTo>
                  <a:pt x="3467758" y="826645"/>
                </a:lnTo>
                <a:lnTo>
                  <a:pt x="3470254" y="822964"/>
                </a:lnTo>
                <a:lnTo>
                  <a:pt x="3473400" y="822314"/>
                </a:lnTo>
                <a:lnTo>
                  <a:pt x="3475463" y="822314"/>
                </a:lnTo>
                <a:lnTo>
                  <a:pt x="3479478" y="818849"/>
                </a:lnTo>
                <a:lnTo>
                  <a:pt x="3481105" y="818849"/>
                </a:lnTo>
                <a:lnTo>
                  <a:pt x="3483167" y="819932"/>
                </a:lnTo>
                <a:lnTo>
                  <a:pt x="3488919" y="824047"/>
                </a:lnTo>
                <a:lnTo>
                  <a:pt x="3490980" y="824047"/>
                </a:lnTo>
                <a:lnTo>
                  <a:pt x="3492391" y="824804"/>
                </a:lnTo>
                <a:lnTo>
                  <a:pt x="3493042" y="827944"/>
                </a:lnTo>
                <a:lnTo>
                  <a:pt x="3492065" y="835198"/>
                </a:lnTo>
                <a:lnTo>
                  <a:pt x="3489570" y="838014"/>
                </a:lnTo>
                <a:lnTo>
                  <a:pt x="3484686" y="838771"/>
                </a:lnTo>
                <a:lnTo>
                  <a:pt x="3480780" y="838771"/>
                </a:lnTo>
                <a:lnTo>
                  <a:pt x="3477416" y="837255"/>
                </a:lnTo>
                <a:lnTo>
                  <a:pt x="3469602" y="837255"/>
                </a:lnTo>
                <a:lnTo>
                  <a:pt x="3467866" y="836606"/>
                </a:lnTo>
                <a:lnTo>
                  <a:pt x="3464611" y="839529"/>
                </a:lnTo>
                <a:lnTo>
                  <a:pt x="3466021" y="840287"/>
                </a:lnTo>
                <a:lnTo>
                  <a:pt x="3470579" y="839204"/>
                </a:lnTo>
                <a:lnTo>
                  <a:pt x="3475245" y="839204"/>
                </a:lnTo>
                <a:lnTo>
                  <a:pt x="3481865" y="841478"/>
                </a:lnTo>
                <a:lnTo>
                  <a:pt x="3482950" y="844293"/>
                </a:lnTo>
                <a:lnTo>
                  <a:pt x="3482950" y="846459"/>
                </a:lnTo>
                <a:lnTo>
                  <a:pt x="3486531" y="842453"/>
                </a:lnTo>
                <a:lnTo>
                  <a:pt x="3490546" y="841586"/>
                </a:lnTo>
                <a:lnTo>
                  <a:pt x="3494995" y="841586"/>
                </a:lnTo>
                <a:lnTo>
                  <a:pt x="3499119" y="843860"/>
                </a:lnTo>
                <a:lnTo>
                  <a:pt x="3500422" y="845809"/>
                </a:lnTo>
                <a:lnTo>
                  <a:pt x="3507584" y="851331"/>
                </a:lnTo>
                <a:lnTo>
                  <a:pt x="3508561" y="853063"/>
                </a:lnTo>
                <a:lnTo>
                  <a:pt x="3508561" y="855228"/>
                </a:lnTo>
                <a:lnTo>
                  <a:pt x="3511165" y="855228"/>
                </a:lnTo>
                <a:lnTo>
                  <a:pt x="3512684" y="856636"/>
                </a:lnTo>
                <a:lnTo>
                  <a:pt x="3514420" y="856636"/>
                </a:lnTo>
                <a:lnTo>
                  <a:pt x="3517784" y="859884"/>
                </a:lnTo>
                <a:lnTo>
                  <a:pt x="3520280" y="860967"/>
                </a:lnTo>
                <a:lnTo>
                  <a:pt x="3521365" y="863890"/>
                </a:lnTo>
                <a:lnTo>
                  <a:pt x="3523318" y="866055"/>
                </a:lnTo>
                <a:lnTo>
                  <a:pt x="3525054" y="866055"/>
                </a:lnTo>
                <a:lnTo>
                  <a:pt x="3526574" y="868545"/>
                </a:lnTo>
                <a:lnTo>
                  <a:pt x="3528527" y="870278"/>
                </a:lnTo>
                <a:lnTo>
                  <a:pt x="3528527" y="871577"/>
                </a:lnTo>
                <a:lnTo>
                  <a:pt x="3526466" y="876233"/>
                </a:lnTo>
                <a:lnTo>
                  <a:pt x="3523861" y="877857"/>
                </a:lnTo>
                <a:lnTo>
                  <a:pt x="3522016" y="880780"/>
                </a:lnTo>
                <a:lnTo>
                  <a:pt x="3521148" y="883920"/>
                </a:lnTo>
                <a:lnTo>
                  <a:pt x="3521148" y="885003"/>
                </a:lnTo>
                <a:lnTo>
                  <a:pt x="3524295" y="881538"/>
                </a:lnTo>
                <a:lnTo>
                  <a:pt x="3528093" y="878398"/>
                </a:lnTo>
                <a:lnTo>
                  <a:pt x="3530589" y="877316"/>
                </a:lnTo>
                <a:lnTo>
                  <a:pt x="3531891" y="877965"/>
                </a:lnTo>
                <a:lnTo>
                  <a:pt x="3530481" y="880563"/>
                </a:lnTo>
                <a:lnTo>
                  <a:pt x="3529070" y="884461"/>
                </a:lnTo>
                <a:lnTo>
                  <a:pt x="3530481" y="883271"/>
                </a:lnTo>
                <a:lnTo>
                  <a:pt x="3531674" y="880889"/>
                </a:lnTo>
                <a:lnTo>
                  <a:pt x="3533302" y="878940"/>
                </a:lnTo>
                <a:lnTo>
                  <a:pt x="3536123" y="878940"/>
                </a:lnTo>
                <a:lnTo>
                  <a:pt x="3538402" y="881213"/>
                </a:lnTo>
                <a:lnTo>
                  <a:pt x="3536883" y="884245"/>
                </a:lnTo>
                <a:lnTo>
                  <a:pt x="3532651" y="886410"/>
                </a:lnTo>
                <a:lnTo>
                  <a:pt x="3529179" y="889334"/>
                </a:lnTo>
                <a:lnTo>
                  <a:pt x="3528093" y="892365"/>
                </a:lnTo>
                <a:lnTo>
                  <a:pt x="3528093" y="895071"/>
                </a:lnTo>
                <a:lnTo>
                  <a:pt x="3529179" y="896696"/>
                </a:lnTo>
                <a:lnTo>
                  <a:pt x="3529179" y="899077"/>
                </a:lnTo>
                <a:lnTo>
                  <a:pt x="3527984" y="904167"/>
                </a:lnTo>
                <a:lnTo>
                  <a:pt x="3527984" y="905791"/>
                </a:lnTo>
                <a:lnTo>
                  <a:pt x="3530047" y="905141"/>
                </a:lnTo>
                <a:lnTo>
                  <a:pt x="3531023" y="899295"/>
                </a:lnTo>
                <a:lnTo>
                  <a:pt x="3534170" y="894422"/>
                </a:lnTo>
                <a:lnTo>
                  <a:pt x="3537751" y="892473"/>
                </a:lnTo>
                <a:lnTo>
                  <a:pt x="3539488" y="892473"/>
                </a:lnTo>
                <a:lnTo>
                  <a:pt x="3539488" y="894314"/>
                </a:lnTo>
                <a:lnTo>
                  <a:pt x="3537208" y="898536"/>
                </a:lnTo>
                <a:lnTo>
                  <a:pt x="3535581" y="902109"/>
                </a:lnTo>
                <a:lnTo>
                  <a:pt x="3536232" y="903950"/>
                </a:lnTo>
                <a:lnTo>
                  <a:pt x="3538620" y="902867"/>
                </a:lnTo>
                <a:lnTo>
                  <a:pt x="3540030" y="904599"/>
                </a:lnTo>
                <a:lnTo>
                  <a:pt x="3540030" y="908930"/>
                </a:lnTo>
                <a:lnTo>
                  <a:pt x="3537968" y="910987"/>
                </a:lnTo>
                <a:lnTo>
                  <a:pt x="3533845" y="911637"/>
                </a:lnTo>
                <a:lnTo>
                  <a:pt x="3532759" y="913586"/>
                </a:lnTo>
                <a:lnTo>
                  <a:pt x="3532759" y="915535"/>
                </a:lnTo>
                <a:lnTo>
                  <a:pt x="3537425" y="913803"/>
                </a:lnTo>
                <a:lnTo>
                  <a:pt x="3538511" y="915210"/>
                </a:lnTo>
                <a:lnTo>
                  <a:pt x="3537860" y="917592"/>
                </a:lnTo>
                <a:lnTo>
                  <a:pt x="3536558" y="920299"/>
                </a:lnTo>
                <a:lnTo>
                  <a:pt x="3538511" y="920299"/>
                </a:lnTo>
                <a:lnTo>
                  <a:pt x="3540030" y="922789"/>
                </a:lnTo>
                <a:lnTo>
                  <a:pt x="3539161" y="924521"/>
                </a:lnTo>
                <a:lnTo>
                  <a:pt x="3539161" y="929069"/>
                </a:lnTo>
                <a:lnTo>
                  <a:pt x="3538076" y="931776"/>
                </a:lnTo>
                <a:lnTo>
                  <a:pt x="3538076" y="939138"/>
                </a:lnTo>
                <a:lnTo>
                  <a:pt x="3538728" y="942277"/>
                </a:lnTo>
                <a:lnTo>
                  <a:pt x="3538728" y="945526"/>
                </a:lnTo>
                <a:lnTo>
                  <a:pt x="3536449" y="947150"/>
                </a:lnTo>
                <a:lnTo>
                  <a:pt x="3533845" y="947150"/>
                </a:lnTo>
                <a:lnTo>
                  <a:pt x="3532217" y="947150"/>
                </a:lnTo>
                <a:lnTo>
                  <a:pt x="3531240" y="945850"/>
                </a:lnTo>
                <a:lnTo>
                  <a:pt x="3532325" y="943577"/>
                </a:lnTo>
                <a:lnTo>
                  <a:pt x="3531132" y="941411"/>
                </a:lnTo>
                <a:lnTo>
                  <a:pt x="3529070" y="939896"/>
                </a:lnTo>
                <a:lnTo>
                  <a:pt x="3526357" y="940978"/>
                </a:lnTo>
                <a:lnTo>
                  <a:pt x="3524729" y="942494"/>
                </a:lnTo>
                <a:lnTo>
                  <a:pt x="3522450" y="941520"/>
                </a:lnTo>
                <a:lnTo>
                  <a:pt x="3522450" y="938488"/>
                </a:lnTo>
                <a:lnTo>
                  <a:pt x="3524512" y="934807"/>
                </a:lnTo>
                <a:lnTo>
                  <a:pt x="3522884" y="930476"/>
                </a:lnTo>
                <a:lnTo>
                  <a:pt x="3522884" y="927120"/>
                </a:lnTo>
                <a:lnTo>
                  <a:pt x="3523969" y="923547"/>
                </a:lnTo>
                <a:lnTo>
                  <a:pt x="3522559" y="921598"/>
                </a:lnTo>
                <a:lnTo>
                  <a:pt x="3521148" y="921598"/>
                </a:lnTo>
                <a:lnTo>
                  <a:pt x="3519955" y="924305"/>
                </a:lnTo>
                <a:lnTo>
                  <a:pt x="3518978" y="928852"/>
                </a:lnTo>
                <a:lnTo>
                  <a:pt x="3518978" y="934807"/>
                </a:lnTo>
                <a:lnTo>
                  <a:pt x="3518978" y="940221"/>
                </a:lnTo>
                <a:lnTo>
                  <a:pt x="3518978" y="943036"/>
                </a:lnTo>
                <a:lnTo>
                  <a:pt x="3517458" y="944119"/>
                </a:lnTo>
                <a:lnTo>
                  <a:pt x="3514637" y="944119"/>
                </a:lnTo>
                <a:lnTo>
                  <a:pt x="3511599" y="944768"/>
                </a:lnTo>
                <a:lnTo>
                  <a:pt x="3508561" y="945850"/>
                </a:lnTo>
                <a:lnTo>
                  <a:pt x="3506064" y="943469"/>
                </a:lnTo>
                <a:lnTo>
                  <a:pt x="3500422" y="939030"/>
                </a:lnTo>
                <a:lnTo>
                  <a:pt x="3496731" y="931992"/>
                </a:lnTo>
                <a:lnTo>
                  <a:pt x="3493585" y="928419"/>
                </a:lnTo>
                <a:lnTo>
                  <a:pt x="3491414" y="925821"/>
                </a:lnTo>
                <a:lnTo>
                  <a:pt x="3490221" y="918025"/>
                </a:lnTo>
                <a:lnTo>
                  <a:pt x="3488051" y="914236"/>
                </a:lnTo>
                <a:lnTo>
                  <a:pt x="3485446" y="911096"/>
                </a:lnTo>
                <a:lnTo>
                  <a:pt x="3484578" y="905683"/>
                </a:lnTo>
                <a:lnTo>
                  <a:pt x="3485338" y="901026"/>
                </a:lnTo>
                <a:lnTo>
                  <a:pt x="3486965" y="897887"/>
                </a:lnTo>
                <a:lnTo>
                  <a:pt x="3485772" y="895613"/>
                </a:lnTo>
                <a:lnTo>
                  <a:pt x="3484361" y="895613"/>
                </a:lnTo>
                <a:lnTo>
                  <a:pt x="3479695" y="896804"/>
                </a:lnTo>
                <a:lnTo>
                  <a:pt x="3478175" y="898645"/>
                </a:lnTo>
                <a:lnTo>
                  <a:pt x="3475028" y="896263"/>
                </a:lnTo>
                <a:lnTo>
                  <a:pt x="3467215" y="886085"/>
                </a:lnTo>
                <a:lnTo>
                  <a:pt x="3467215" y="882512"/>
                </a:lnTo>
                <a:lnTo>
                  <a:pt x="3465479" y="880672"/>
                </a:lnTo>
                <a:lnTo>
                  <a:pt x="3462549" y="882187"/>
                </a:lnTo>
                <a:lnTo>
                  <a:pt x="3458100" y="882837"/>
                </a:lnTo>
                <a:lnTo>
                  <a:pt x="3454302" y="881104"/>
                </a:lnTo>
                <a:lnTo>
                  <a:pt x="3452566" y="882187"/>
                </a:lnTo>
                <a:lnTo>
                  <a:pt x="3449853" y="883595"/>
                </a:lnTo>
                <a:lnTo>
                  <a:pt x="3447791" y="882404"/>
                </a:lnTo>
                <a:lnTo>
                  <a:pt x="3444644" y="878831"/>
                </a:lnTo>
                <a:lnTo>
                  <a:pt x="3444644" y="876557"/>
                </a:lnTo>
                <a:lnTo>
                  <a:pt x="3439110" y="871577"/>
                </a:lnTo>
                <a:lnTo>
                  <a:pt x="3439110" y="869195"/>
                </a:lnTo>
                <a:lnTo>
                  <a:pt x="3437048" y="866596"/>
                </a:lnTo>
                <a:lnTo>
                  <a:pt x="3435529" y="861400"/>
                </a:lnTo>
                <a:lnTo>
                  <a:pt x="3433250" y="858693"/>
                </a:lnTo>
                <a:lnTo>
                  <a:pt x="3431839" y="860967"/>
                </a:lnTo>
                <a:lnTo>
                  <a:pt x="3431839" y="864973"/>
                </a:lnTo>
                <a:lnTo>
                  <a:pt x="3431839" y="866813"/>
                </a:lnTo>
                <a:lnTo>
                  <a:pt x="3427389" y="869087"/>
                </a:lnTo>
                <a:lnTo>
                  <a:pt x="3425871" y="870602"/>
                </a:lnTo>
                <a:lnTo>
                  <a:pt x="3429994" y="870602"/>
                </a:lnTo>
                <a:lnTo>
                  <a:pt x="3432382" y="872118"/>
                </a:lnTo>
                <a:lnTo>
                  <a:pt x="3435312" y="876449"/>
                </a:lnTo>
                <a:lnTo>
                  <a:pt x="3437698" y="880022"/>
                </a:lnTo>
                <a:lnTo>
                  <a:pt x="3436614" y="882079"/>
                </a:lnTo>
                <a:lnTo>
                  <a:pt x="3431622" y="882079"/>
                </a:lnTo>
                <a:lnTo>
                  <a:pt x="3429343" y="884136"/>
                </a:lnTo>
                <a:lnTo>
                  <a:pt x="3426088" y="885977"/>
                </a:lnTo>
                <a:lnTo>
                  <a:pt x="3423375" y="883595"/>
                </a:lnTo>
                <a:lnTo>
                  <a:pt x="3423375" y="886302"/>
                </a:lnTo>
                <a:lnTo>
                  <a:pt x="3426304" y="888359"/>
                </a:lnTo>
                <a:lnTo>
                  <a:pt x="3429451" y="888359"/>
                </a:lnTo>
                <a:lnTo>
                  <a:pt x="3433901" y="884569"/>
                </a:lnTo>
                <a:lnTo>
                  <a:pt x="3436614" y="884569"/>
                </a:lnTo>
                <a:lnTo>
                  <a:pt x="3441496" y="882729"/>
                </a:lnTo>
                <a:lnTo>
                  <a:pt x="3442691" y="884245"/>
                </a:lnTo>
                <a:lnTo>
                  <a:pt x="3442691" y="886843"/>
                </a:lnTo>
                <a:lnTo>
                  <a:pt x="3444427" y="888900"/>
                </a:lnTo>
                <a:lnTo>
                  <a:pt x="3449202" y="886626"/>
                </a:lnTo>
                <a:lnTo>
                  <a:pt x="3451046" y="886626"/>
                </a:lnTo>
                <a:lnTo>
                  <a:pt x="3461898" y="889875"/>
                </a:lnTo>
                <a:lnTo>
                  <a:pt x="3466021" y="891932"/>
                </a:lnTo>
                <a:lnTo>
                  <a:pt x="3468300" y="891932"/>
                </a:lnTo>
                <a:lnTo>
                  <a:pt x="3469494" y="895180"/>
                </a:lnTo>
                <a:lnTo>
                  <a:pt x="3471773" y="900052"/>
                </a:lnTo>
                <a:lnTo>
                  <a:pt x="3469928" y="904058"/>
                </a:lnTo>
                <a:lnTo>
                  <a:pt x="3466781" y="905358"/>
                </a:lnTo>
                <a:lnTo>
                  <a:pt x="3464286" y="908173"/>
                </a:lnTo>
                <a:lnTo>
                  <a:pt x="3461464" y="909580"/>
                </a:lnTo>
                <a:lnTo>
                  <a:pt x="3458100" y="909580"/>
                </a:lnTo>
                <a:lnTo>
                  <a:pt x="3446489" y="915318"/>
                </a:lnTo>
                <a:lnTo>
                  <a:pt x="3440520" y="915318"/>
                </a:lnTo>
                <a:lnTo>
                  <a:pt x="3436397" y="916834"/>
                </a:lnTo>
                <a:lnTo>
                  <a:pt x="3433467" y="914777"/>
                </a:lnTo>
                <a:lnTo>
                  <a:pt x="3430970" y="910446"/>
                </a:lnTo>
                <a:lnTo>
                  <a:pt x="3430970" y="907522"/>
                </a:lnTo>
                <a:lnTo>
                  <a:pt x="3429451" y="905683"/>
                </a:lnTo>
                <a:lnTo>
                  <a:pt x="3426847" y="904708"/>
                </a:lnTo>
                <a:lnTo>
                  <a:pt x="3426847" y="909147"/>
                </a:lnTo>
                <a:lnTo>
                  <a:pt x="3428149" y="910663"/>
                </a:lnTo>
                <a:lnTo>
                  <a:pt x="3428801" y="913044"/>
                </a:lnTo>
                <a:lnTo>
                  <a:pt x="3427389" y="914344"/>
                </a:lnTo>
                <a:lnTo>
                  <a:pt x="3423809" y="913586"/>
                </a:lnTo>
                <a:lnTo>
                  <a:pt x="3423809" y="912503"/>
                </a:lnTo>
                <a:lnTo>
                  <a:pt x="3422181" y="912503"/>
                </a:lnTo>
                <a:lnTo>
                  <a:pt x="3418817" y="914669"/>
                </a:lnTo>
                <a:lnTo>
                  <a:pt x="3419793" y="916185"/>
                </a:lnTo>
                <a:lnTo>
                  <a:pt x="3423591" y="917159"/>
                </a:lnTo>
                <a:lnTo>
                  <a:pt x="3425544" y="919216"/>
                </a:lnTo>
                <a:lnTo>
                  <a:pt x="3426196" y="921815"/>
                </a:lnTo>
                <a:lnTo>
                  <a:pt x="3424134" y="924521"/>
                </a:lnTo>
                <a:lnTo>
                  <a:pt x="3422181" y="925712"/>
                </a:lnTo>
                <a:lnTo>
                  <a:pt x="3419360" y="925712"/>
                </a:lnTo>
                <a:lnTo>
                  <a:pt x="3418057" y="927553"/>
                </a:lnTo>
                <a:lnTo>
                  <a:pt x="3418057" y="932425"/>
                </a:lnTo>
                <a:lnTo>
                  <a:pt x="3415127" y="934482"/>
                </a:lnTo>
                <a:lnTo>
                  <a:pt x="3406880" y="938272"/>
                </a:lnTo>
                <a:lnTo>
                  <a:pt x="3402865" y="938272"/>
                </a:lnTo>
                <a:lnTo>
                  <a:pt x="3400152" y="938272"/>
                </a:lnTo>
                <a:lnTo>
                  <a:pt x="3396354" y="941953"/>
                </a:lnTo>
                <a:lnTo>
                  <a:pt x="3394835" y="944876"/>
                </a:lnTo>
                <a:lnTo>
                  <a:pt x="3395920" y="946067"/>
                </a:lnTo>
                <a:lnTo>
                  <a:pt x="3403733" y="942277"/>
                </a:lnTo>
                <a:lnTo>
                  <a:pt x="3409159" y="942277"/>
                </a:lnTo>
                <a:lnTo>
                  <a:pt x="3412957" y="940978"/>
                </a:lnTo>
                <a:lnTo>
                  <a:pt x="3415344" y="942062"/>
                </a:lnTo>
                <a:lnTo>
                  <a:pt x="3416864" y="944010"/>
                </a:lnTo>
                <a:lnTo>
                  <a:pt x="3421964" y="945093"/>
                </a:lnTo>
                <a:lnTo>
                  <a:pt x="3425871" y="945093"/>
                </a:lnTo>
                <a:lnTo>
                  <a:pt x="3430537" y="943577"/>
                </a:lnTo>
                <a:lnTo>
                  <a:pt x="3437590" y="943577"/>
                </a:lnTo>
                <a:lnTo>
                  <a:pt x="3440955" y="945093"/>
                </a:lnTo>
                <a:lnTo>
                  <a:pt x="3444969" y="944227"/>
                </a:lnTo>
                <a:lnTo>
                  <a:pt x="3446922" y="944227"/>
                </a:lnTo>
                <a:lnTo>
                  <a:pt x="3448225" y="945850"/>
                </a:lnTo>
                <a:lnTo>
                  <a:pt x="3450395" y="945850"/>
                </a:lnTo>
                <a:lnTo>
                  <a:pt x="3451589" y="948124"/>
                </a:lnTo>
                <a:lnTo>
                  <a:pt x="3450178" y="950290"/>
                </a:lnTo>
                <a:lnTo>
                  <a:pt x="3446271" y="951372"/>
                </a:lnTo>
                <a:lnTo>
                  <a:pt x="3441496" y="950073"/>
                </a:lnTo>
                <a:lnTo>
                  <a:pt x="3437698" y="950073"/>
                </a:lnTo>
                <a:lnTo>
                  <a:pt x="3434226" y="953321"/>
                </a:lnTo>
                <a:lnTo>
                  <a:pt x="3428692" y="953862"/>
                </a:lnTo>
                <a:lnTo>
                  <a:pt x="3425003" y="955811"/>
                </a:lnTo>
                <a:lnTo>
                  <a:pt x="3421855" y="954621"/>
                </a:lnTo>
                <a:lnTo>
                  <a:pt x="3419251" y="952239"/>
                </a:lnTo>
                <a:lnTo>
                  <a:pt x="3414910" y="952239"/>
                </a:lnTo>
                <a:lnTo>
                  <a:pt x="3412305" y="955054"/>
                </a:lnTo>
                <a:lnTo>
                  <a:pt x="3414151" y="956894"/>
                </a:lnTo>
                <a:lnTo>
                  <a:pt x="3416647" y="955811"/>
                </a:lnTo>
                <a:lnTo>
                  <a:pt x="3419577" y="957327"/>
                </a:lnTo>
                <a:lnTo>
                  <a:pt x="3427389" y="957327"/>
                </a:lnTo>
                <a:lnTo>
                  <a:pt x="3429451" y="958843"/>
                </a:lnTo>
                <a:lnTo>
                  <a:pt x="3431622" y="961550"/>
                </a:lnTo>
                <a:lnTo>
                  <a:pt x="3433250" y="958410"/>
                </a:lnTo>
                <a:lnTo>
                  <a:pt x="3439218" y="953105"/>
                </a:lnTo>
                <a:lnTo>
                  <a:pt x="3442582" y="953105"/>
                </a:lnTo>
                <a:cubicBezTo>
                  <a:pt x="3443597" y="952720"/>
                  <a:pt x="3444577" y="952249"/>
                  <a:pt x="3445512" y="951697"/>
                </a:cubicBezTo>
                <a:lnTo>
                  <a:pt x="3448225" y="952780"/>
                </a:lnTo>
                <a:lnTo>
                  <a:pt x="3450178" y="954296"/>
                </a:lnTo>
                <a:lnTo>
                  <a:pt x="3452891" y="953213"/>
                </a:lnTo>
                <a:lnTo>
                  <a:pt x="3459402" y="953213"/>
                </a:lnTo>
                <a:lnTo>
                  <a:pt x="3462549" y="951481"/>
                </a:lnTo>
                <a:lnTo>
                  <a:pt x="3469060" y="946717"/>
                </a:lnTo>
                <a:lnTo>
                  <a:pt x="3471339" y="944552"/>
                </a:lnTo>
                <a:lnTo>
                  <a:pt x="3471339" y="945959"/>
                </a:lnTo>
                <a:lnTo>
                  <a:pt x="3470688" y="948341"/>
                </a:lnTo>
                <a:lnTo>
                  <a:pt x="3471773" y="949207"/>
                </a:lnTo>
                <a:lnTo>
                  <a:pt x="3475137" y="947366"/>
                </a:lnTo>
                <a:lnTo>
                  <a:pt x="3476765" y="947366"/>
                </a:lnTo>
                <a:lnTo>
                  <a:pt x="3478393" y="949423"/>
                </a:lnTo>
                <a:lnTo>
                  <a:pt x="3484578" y="954404"/>
                </a:lnTo>
                <a:lnTo>
                  <a:pt x="3491306" y="955378"/>
                </a:lnTo>
                <a:lnTo>
                  <a:pt x="3496623" y="957868"/>
                </a:lnTo>
                <a:lnTo>
                  <a:pt x="3502591" y="959276"/>
                </a:lnTo>
                <a:lnTo>
                  <a:pt x="3505956" y="959276"/>
                </a:lnTo>
                <a:lnTo>
                  <a:pt x="3512467" y="959276"/>
                </a:lnTo>
                <a:lnTo>
                  <a:pt x="3514095" y="960250"/>
                </a:lnTo>
                <a:lnTo>
                  <a:pt x="3519629" y="960250"/>
                </a:lnTo>
                <a:lnTo>
                  <a:pt x="3525597" y="958193"/>
                </a:lnTo>
                <a:lnTo>
                  <a:pt x="3525597" y="959384"/>
                </a:lnTo>
                <a:lnTo>
                  <a:pt x="3523318" y="963499"/>
                </a:lnTo>
                <a:lnTo>
                  <a:pt x="3518869" y="966313"/>
                </a:lnTo>
                <a:lnTo>
                  <a:pt x="3513877" y="967180"/>
                </a:lnTo>
                <a:lnTo>
                  <a:pt x="3511816" y="966422"/>
                </a:lnTo>
                <a:lnTo>
                  <a:pt x="3508234" y="969021"/>
                </a:lnTo>
                <a:lnTo>
                  <a:pt x="3508234" y="970970"/>
                </a:lnTo>
                <a:lnTo>
                  <a:pt x="3510622" y="972702"/>
                </a:lnTo>
                <a:lnTo>
                  <a:pt x="3510622" y="974867"/>
                </a:lnTo>
                <a:lnTo>
                  <a:pt x="3509102" y="975950"/>
                </a:lnTo>
                <a:lnTo>
                  <a:pt x="3506824" y="975300"/>
                </a:lnTo>
                <a:lnTo>
                  <a:pt x="3505088" y="973460"/>
                </a:lnTo>
                <a:lnTo>
                  <a:pt x="3503135" y="972702"/>
                </a:lnTo>
                <a:lnTo>
                  <a:pt x="3502049" y="975300"/>
                </a:lnTo>
                <a:lnTo>
                  <a:pt x="3501398" y="977249"/>
                </a:lnTo>
                <a:lnTo>
                  <a:pt x="3499336" y="975841"/>
                </a:lnTo>
                <a:lnTo>
                  <a:pt x="3494995" y="975841"/>
                </a:lnTo>
                <a:lnTo>
                  <a:pt x="3494127" y="977033"/>
                </a:lnTo>
                <a:lnTo>
                  <a:pt x="3494127" y="979306"/>
                </a:lnTo>
                <a:lnTo>
                  <a:pt x="3495430" y="980280"/>
                </a:lnTo>
                <a:lnTo>
                  <a:pt x="3495430" y="983096"/>
                </a:lnTo>
                <a:lnTo>
                  <a:pt x="3492934" y="984936"/>
                </a:lnTo>
                <a:lnTo>
                  <a:pt x="3489787" y="985911"/>
                </a:lnTo>
                <a:lnTo>
                  <a:pt x="3488051" y="984286"/>
                </a:lnTo>
                <a:lnTo>
                  <a:pt x="3486423" y="982988"/>
                </a:lnTo>
                <a:lnTo>
                  <a:pt x="3485338" y="984178"/>
                </a:lnTo>
                <a:lnTo>
                  <a:pt x="3485989" y="986344"/>
                </a:lnTo>
                <a:lnTo>
                  <a:pt x="3485989" y="989700"/>
                </a:lnTo>
                <a:lnTo>
                  <a:pt x="3483384" y="989700"/>
                </a:lnTo>
                <a:lnTo>
                  <a:pt x="3481431" y="990674"/>
                </a:lnTo>
                <a:lnTo>
                  <a:pt x="3479152" y="992949"/>
                </a:lnTo>
                <a:lnTo>
                  <a:pt x="3476005" y="991433"/>
                </a:lnTo>
                <a:lnTo>
                  <a:pt x="3475354" y="989592"/>
                </a:lnTo>
                <a:lnTo>
                  <a:pt x="3473509" y="989592"/>
                </a:lnTo>
                <a:lnTo>
                  <a:pt x="3473509" y="992949"/>
                </a:lnTo>
                <a:lnTo>
                  <a:pt x="3474486" y="996088"/>
                </a:lnTo>
                <a:lnTo>
                  <a:pt x="3472207" y="999878"/>
                </a:lnTo>
                <a:lnTo>
                  <a:pt x="3469386" y="998362"/>
                </a:lnTo>
                <a:lnTo>
                  <a:pt x="3468518" y="995980"/>
                </a:lnTo>
                <a:lnTo>
                  <a:pt x="3465696" y="997279"/>
                </a:lnTo>
                <a:lnTo>
                  <a:pt x="3465696" y="999228"/>
                </a:lnTo>
                <a:lnTo>
                  <a:pt x="3467541" y="1000744"/>
                </a:lnTo>
                <a:lnTo>
                  <a:pt x="3467541" y="1003775"/>
                </a:lnTo>
                <a:lnTo>
                  <a:pt x="3462766" y="1006915"/>
                </a:lnTo>
                <a:lnTo>
                  <a:pt x="3460921" y="1006266"/>
                </a:lnTo>
                <a:lnTo>
                  <a:pt x="3459836" y="1004100"/>
                </a:lnTo>
                <a:lnTo>
                  <a:pt x="3457015" y="1002476"/>
                </a:lnTo>
                <a:lnTo>
                  <a:pt x="3451263" y="1003559"/>
                </a:lnTo>
                <a:lnTo>
                  <a:pt x="3451263" y="1005833"/>
                </a:lnTo>
                <a:lnTo>
                  <a:pt x="3452891" y="1009080"/>
                </a:lnTo>
                <a:lnTo>
                  <a:pt x="3452891" y="1011246"/>
                </a:lnTo>
                <a:lnTo>
                  <a:pt x="3450612" y="1012653"/>
                </a:lnTo>
                <a:lnTo>
                  <a:pt x="3446489" y="1013736"/>
                </a:lnTo>
                <a:lnTo>
                  <a:pt x="3445186" y="1015685"/>
                </a:lnTo>
                <a:lnTo>
                  <a:pt x="3440520" y="1015685"/>
                </a:lnTo>
                <a:lnTo>
                  <a:pt x="3437807" y="1018392"/>
                </a:lnTo>
                <a:lnTo>
                  <a:pt x="3436397" y="1021532"/>
                </a:lnTo>
                <a:lnTo>
                  <a:pt x="3434552" y="1021532"/>
                </a:lnTo>
                <a:lnTo>
                  <a:pt x="3433032" y="1018825"/>
                </a:lnTo>
                <a:lnTo>
                  <a:pt x="3430319" y="1018825"/>
                </a:lnTo>
                <a:lnTo>
                  <a:pt x="3426196" y="1021316"/>
                </a:lnTo>
                <a:lnTo>
                  <a:pt x="3422832" y="1021316"/>
                </a:lnTo>
                <a:lnTo>
                  <a:pt x="3421096" y="1022398"/>
                </a:lnTo>
                <a:lnTo>
                  <a:pt x="3419577" y="1025213"/>
                </a:lnTo>
                <a:lnTo>
                  <a:pt x="3416864" y="1025213"/>
                </a:lnTo>
                <a:lnTo>
                  <a:pt x="3414367" y="1024130"/>
                </a:lnTo>
                <a:lnTo>
                  <a:pt x="3413174" y="1022398"/>
                </a:lnTo>
                <a:lnTo>
                  <a:pt x="3411764" y="1022398"/>
                </a:lnTo>
                <a:lnTo>
                  <a:pt x="3409376" y="1026945"/>
                </a:lnTo>
                <a:lnTo>
                  <a:pt x="3407748" y="1025863"/>
                </a:lnTo>
                <a:lnTo>
                  <a:pt x="3405578" y="1022723"/>
                </a:lnTo>
                <a:lnTo>
                  <a:pt x="3404167" y="1022723"/>
                </a:lnTo>
                <a:lnTo>
                  <a:pt x="3403191" y="1026079"/>
                </a:lnTo>
                <a:lnTo>
                  <a:pt x="3401128" y="1028136"/>
                </a:lnTo>
                <a:lnTo>
                  <a:pt x="3398850" y="1026837"/>
                </a:lnTo>
                <a:lnTo>
                  <a:pt x="3398850" y="1024996"/>
                </a:lnTo>
                <a:lnTo>
                  <a:pt x="3397439" y="1024996"/>
                </a:lnTo>
                <a:lnTo>
                  <a:pt x="3397439" y="1028894"/>
                </a:lnTo>
                <a:lnTo>
                  <a:pt x="3395920" y="1029761"/>
                </a:lnTo>
                <a:lnTo>
                  <a:pt x="3392339" y="1029761"/>
                </a:lnTo>
                <a:lnTo>
                  <a:pt x="3389734" y="1030518"/>
                </a:lnTo>
                <a:lnTo>
                  <a:pt x="3389734" y="1032684"/>
                </a:lnTo>
                <a:lnTo>
                  <a:pt x="3389083" y="1034849"/>
                </a:lnTo>
                <a:lnTo>
                  <a:pt x="3386153" y="1034849"/>
                </a:lnTo>
                <a:lnTo>
                  <a:pt x="3384960" y="1033767"/>
                </a:lnTo>
                <a:lnTo>
                  <a:pt x="3383006" y="1033767"/>
                </a:lnTo>
                <a:lnTo>
                  <a:pt x="3383006" y="1036148"/>
                </a:lnTo>
                <a:lnTo>
                  <a:pt x="3381270" y="1036148"/>
                </a:lnTo>
                <a:lnTo>
                  <a:pt x="3380076" y="1034632"/>
                </a:lnTo>
                <a:lnTo>
                  <a:pt x="3378774" y="1034632"/>
                </a:lnTo>
                <a:lnTo>
                  <a:pt x="3378774" y="1038639"/>
                </a:lnTo>
                <a:lnTo>
                  <a:pt x="3376279" y="1039504"/>
                </a:lnTo>
                <a:lnTo>
                  <a:pt x="3374542" y="1041453"/>
                </a:lnTo>
                <a:lnTo>
                  <a:pt x="3372263" y="1041453"/>
                </a:lnTo>
                <a:lnTo>
                  <a:pt x="3371069" y="1039071"/>
                </a:lnTo>
                <a:lnTo>
                  <a:pt x="3366403" y="1033658"/>
                </a:lnTo>
                <a:lnTo>
                  <a:pt x="3364558" y="1032792"/>
                </a:lnTo>
                <a:lnTo>
                  <a:pt x="3362063" y="1033983"/>
                </a:lnTo>
                <a:lnTo>
                  <a:pt x="3362063" y="1035715"/>
                </a:lnTo>
                <a:lnTo>
                  <a:pt x="3360001" y="1035715"/>
                </a:lnTo>
                <a:lnTo>
                  <a:pt x="3359133" y="1038747"/>
                </a:lnTo>
                <a:lnTo>
                  <a:pt x="3356094" y="1040912"/>
                </a:lnTo>
                <a:lnTo>
                  <a:pt x="3353490" y="1040912"/>
                </a:lnTo>
                <a:lnTo>
                  <a:pt x="3352079" y="1039830"/>
                </a:lnTo>
                <a:lnTo>
                  <a:pt x="3350451" y="1042320"/>
                </a:lnTo>
                <a:lnTo>
                  <a:pt x="3346653" y="1042320"/>
                </a:lnTo>
                <a:lnTo>
                  <a:pt x="3343072" y="1042320"/>
                </a:lnTo>
                <a:lnTo>
                  <a:pt x="3340902" y="1039288"/>
                </a:lnTo>
                <a:lnTo>
                  <a:pt x="3338840" y="1039288"/>
                </a:lnTo>
                <a:lnTo>
                  <a:pt x="3337429" y="1041778"/>
                </a:lnTo>
                <a:lnTo>
                  <a:pt x="3337429" y="1043619"/>
                </a:lnTo>
                <a:lnTo>
                  <a:pt x="3334934" y="1043619"/>
                </a:lnTo>
                <a:lnTo>
                  <a:pt x="3331569" y="1041453"/>
                </a:lnTo>
                <a:lnTo>
                  <a:pt x="3330051" y="1037772"/>
                </a:lnTo>
                <a:lnTo>
                  <a:pt x="3331136" y="1034416"/>
                </a:lnTo>
                <a:lnTo>
                  <a:pt x="3329182" y="1032684"/>
                </a:lnTo>
                <a:lnTo>
                  <a:pt x="3326686" y="1031926"/>
                </a:lnTo>
                <a:lnTo>
                  <a:pt x="3324408" y="1027379"/>
                </a:lnTo>
                <a:lnTo>
                  <a:pt x="3324408" y="1024022"/>
                </a:lnTo>
                <a:lnTo>
                  <a:pt x="3322454" y="1020882"/>
                </a:lnTo>
                <a:lnTo>
                  <a:pt x="3321043" y="1016443"/>
                </a:lnTo>
                <a:lnTo>
                  <a:pt x="3319415" y="1014927"/>
                </a:lnTo>
                <a:lnTo>
                  <a:pt x="3317354" y="1014927"/>
                </a:lnTo>
                <a:lnTo>
                  <a:pt x="3317354" y="1018500"/>
                </a:lnTo>
                <a:lnTo>
                  <a:pt x="3318439" y="1020449"/>
                </a:lnTo>
                <a:lnTo>
                  <a:pt x="3319958" y="1024347"/>
                </a:lnTo>
                <a:lnTo>
                  <a:pt x="3322128" y="1026296"/>
                </a:lnTo>
                <a:lnTo>
                  <a:pt x="3323322" y="1029327"/>
                </a:lnTo>
                <a:lnTo>
                  <a:pt x="3323322" y="1033767"/>
                </a:lnTo>
                <a:lnTo>
                  <a:pt x="3322020" y="1036906"/>
                </a:lnTo>
                <a:lnTo>
                  <a:pt x="3323105" y="1037772"/>
                </a:lnTo>
                <a:lnTo>
                  <a:pt x="3325601" y="1037772"/>
                </a:lnTo>
                <a:lnTo>
                  <a:pt x="3326578" y="1042753"/>
                </a:lnTo>
                <a:lnTo>
                  <a:pt x="3325601" y="1048491"/>
                </a:lnTo>
                <a:lnTo>
                  <a:pt x="3323213" y="1051523"/>
                </a:lnTo>
                <a:lnTo>
                  <a:pt x="3320392" y="1052714"/>
                </a:lnTo>
                <a:lnTo>
                  <a:pt x="3319090" y="1051198"/>
                </a:lnTo>
                <a:lnTo>
                  <a:pt x="3317245" y="1051198"/>
                </a:lnTo>
                <a:lnTo>
                  <a:pt x="3313773" y="1052930"/>
                </a:lnTo>
                <a:lnTo>
                  <a:pt x="3310409" y="1057369"/>
                </a:lnTo>
                <a:lnTo>
                  <a:pt x="3308564" y="1058236"/>
                </a:lnTo>
                <a:lnTo>
                  <a:pt x="3305417" y="1058236"/>
                </a:lnTo>
                <a:lnTo>
                  <a:pt x="3304332" y="1059859"/>
                </a:lnTo>
                <a:lnTo>
                  <a:pt x="3304332" y="1060942"/>
                </a:lnTo>
                <a:lnTo>
                  <a:pt x="3304332" y="1063649"/>
                </a:lnTo>
                <a:lnTo>
                  <a:pt x="3301402" y="1065489"/>
                </a:lnTo>
                <a:lnTo>
                  <a:pt x="3298363" y="1065489"/>
                </a:lnTo>
                <a:lnTo>
                  <a:pt x="3297712" y="1068305"/>
                </a:lnTo>
                <a:lnTo>
                  <a:pt x="3297712" y="1069821"/>
                </a:lnTo>
                <a:lnTo>
                  <a:pt x="3297712" y="1072311"/>
                </a:lnTo>
                <a:lnTo>
                  <a:pt x="3295325" y="1069821"/>
                </a:lnTo>
                <a:lnTo>
                  <a:pt x="3293154" y="1069171"/>
                </a:lnTo>
                <a:lnTo>
                  <a:pt x="3294999" y="1071336"/>
                </a:lnTo>
                <a:lnTo>
                  <a:pt x="3295650" y="1073177"/>
                </a:lnTo>
                <a:lnTo>
                  <a:pt x="3294782" y="1076100"/>
                </a:lnTo>
                <a:lnTo>
                  <a:pt x="3293046" y="1076100"/>
                </a:lnTo>
                <a:lnTo>
                  <a:pt x="3291093" y="1075017"/>
                </a:lnTo>
                <a:lnTo>
                  <a:pt x="3288814" y="1074152"/>
                </a:lnTo>
                <a:lnTo>
                  <a:pt x="3288814" y="1075234"/>
                </a:lnTo>
                <a:lnTo>
                  <a:pt x="3289574" y="1077075"/>
                </a:lnTo>
                <a:lnTo>
                  <a:pt x="3290333" y="1079348"/>
                </a:lnTo>
                <a:lnTo>
                  <a:pt x="3288271" y="1082055"/>
                </a:lnTo>
                <a:lnTo>
                  <a:pt x="3284473" y="1083246"/>
                </a:lnTo>
                <a:lnTo>
                  <a:pt x="3279156" y="1088984"/>
                </a:lnTo>
                <a:lnTo>
                  <a:pt x="3279156" y="1092016"/>
                </a:lnTo>
                <a:lnTo>
                  <a:pt x="3279807" y="1095156"/>
                </a:lnTo>
                <a:lnTo>
                  <a:pt x="3278614" y="1098513"/>
                </a:lnTo>
                <a:lnTo>
                  <a:pt x="3275358" y="1102518"/>
                </a:lnTo>
                <a:lnTo>
                  <a:pt x="3272971" y="1104034"/>
                </a:lnTo>
                <a:lnTo>
                  <a:pt x="3271777" y="1103060"/>
                </a:lnTo>
                <a:lnTo>
                  <a:pt x="3270691" y="1101219"/>
                </a:lnTo>
                <a:lnTo>
                  <a:pt x="3271559" y="1099270"/>
                </a:lnTo>
                <a:lnTo>
                  <a:pt x="3269498" y="1100352"/>
                </a:lnTo>
                <a:lnTo>
                  <a:pt x="3267979" y="1102193"/>
                </a:lnTo>
                <a:lnTo>
                  <a:pt x="3267436" y="1105442"/>
                </a:lnTo>
                <a:lnTo>
                  <a:pt x="3267436" y="1106740"/>
                </a:lnTo>
                <a:lnTo>
                  <a:pt x="3266676" y="1108256"/>
                </a:lnTo>
                <a:lnTo>
                  <a:pt x="3260708" y="1113778"/>
                </a:lnTo>
                <a:lnTo>
                  <a:pt x="3258320" y="1114970"/>
                </a:lnTo>
                <a:lnTo>
                  <a:pt x="3257019" y="1114103"/>
                </a:lnTo>
                <a:lnTo>
                  <a:pt x="3257019" y="1111396"/>
                </a:lnTo>
                <a:lnTo>
                  <a:pt x="3255607" y="1109664"/>
                </a:lnTo>
                <a:lnTo>
                  <a:pt x="3253546" y="1109664"/>
                </a:lnTo>
                <a:lnTo>
                  <a:pt x="3253546" y="1112479"/>
                </a:lnTo>
                <a:lnTo>
                  <a:pt x="3251701" y="1112479"/>
                </a:lnTo>
                <a:lnTo>
                  <a:pt x="3247252" y="1110205"/>
                </a:lnTo>
                <a:lnTo>
                  <a:pt x="3245841" y="1108040"/>
                </a:lnTo>
                <a:lnTo>
                  <a:pt x="3243997" y="1108040"/>
                </a:lnTo>
                <a:lnTo>
                  <a:pt x="3243020" y="1108797"/>
                </a:lnTo>
                <a:lnTo>
                  <a:pt x="3244648" y="1111288"/>
                </a:lnTo>
                <a:lnTo>
                  <a:pt x="3246601" y="1112262"/>
                </a:lnTo>
                <a:lnTo>
                  <a:pt x="3248663" y="1115835"/>
                </a:lnTo>
                <a:lnTo>
                  <a:pt x="3248663" y="1118867"/>
                </a:lnTo>
                <a:lnTo>
                  <a:pt x="3246384" y="1120383"/>
                </a:lnTo>
                <a:lnTo>
                  <a:pt x="3244539" y="1120383"/>
                </a:lnTo>
                <a:lnTo>
                  <a:pt x="3238462" y="1124280"/>
                </a:lnTo>
                <a:lnTo>
                  <a:pt x="3234881" y="1128178"/>
                </a:lnTo>
                <a:lnTo>
                  <a:pt x="3231626" y="1128178"/>
                </a:lnTo>
                <a:lnTo>
                  <a:pt x="3229238" y="1126554"/>
                </a:lnTo>
                <a:lnTo>
                  <a:pt x="3229238" y="1124280"/>
                </a:lnTo>
                <a:lnTo>
                  <a:pt x="3230106" y="1122115"/>
                </a:lnTo>
                <a:lnTo>
                  <a:pt x="3228804" y="1121141"/>
                </a:lnTo>
                <a:lnTo>
                  <a:pt x="3227285" y="1121141"/>
                </a:lnTo>
                <a:lnTo>
                  <a:pt x="3225875" y="1123847"/>
                </a:lnTo>
                <a:lnTo>
                  <a:pt x="3225875" y="1126013"/>
                </a:lnTo>
                <a:lnTo>
                  <a:pt x="3225223" y="1128286"/>
                </a:lnTo>
                <a:lnTo>
                  <a:pt x="3222510" y="1128286"/>
                </a:lnTo>
                <a:lnTo>
                  <a:pt x="3218929" y="1130019"/>
                </a:lnTo>
                <a:lnTo>
                  <a:pt x="3215674" y="1128828"/>
                </a:lnTo>
                <a:lnTo>
                  <a:pt x="3213503" y="1124713"/>
                </a:lnTo>
                <a:lnTo>
                  <a:pt x="3213503" y="1122007"/>
                </a:lnTo>
                <a:lnTo>
                  <a:pt x="3214806" y="1118867"/>
                </a:lnTo>
                <a:lnTo>
                  <a:pt x="3213721" y="1116593"/>
                </a:lnTo>
                <a:lnTo>
                  <a:pt x="3212527" y="1116593"/>
                </a:lnTo>
                <a:lnTo>
                  <a:pt x="3211659" y="1121357"/>
                </a:lnTo>
                <a:lnTo>
                  <a:pt x="3210573" y="1125038"/>
                </a:lnTo>
                <a:lnTo>
                  <a:pt x="3210573" y="1127529"/>
                </a:lnTo>
                <a:lnTo>
                  <a:pt x="3209488" y="1130235"/>
                </a:lnTo>
                <a:lnTo>
                  <a:pt x="3207643" y="1129261"/>
                </a:lnTo>
                <a:lnTo>
                  <a:pt x="3202326" y="1122873"/>
                </a:lnTo>
                <a:lnTo>
                  <a:pt x="3202326" y="1119409"/>
                </a:lnTo>
                <a:lnTo>
                  <a:pt x="3204171" y="1114861"/>
                </a:lnTo>
                <a:lnTo>
                  <a:pt x="3207318" y="1112154"/>
                </a:lnTo>
                <a:lnTo>
                  <a:pt x="3210031" y="1110097"/>
                </a:lnTo>
                <a:lnTo>
                  <a:pt x="3208186" y="1108581"/>
                </a:lnTo>
                <a:lnTo>
                  <a:pt x="3204388" y="1107715"/>
                </a:lnTo>
                <a:lnTo>
                  <a:pt x="3201783" y="1104576"/>
                </a:lnTo>
                <a:lnTo>
                  <a:pt x="3201783" y="1103384"/>
                </a:lnTo>
                <a:lnTo>
                  <a:pt x="3200698" y="1102843"/>
                </a:lnTo>
                <a:lnTo>
                  <a:pt x="3198528" y="1103709"/>
                </a:lnTo>
                <a:lnTo>
                  <a:pt x="3196901" y="1106307"/>
                </a:lnTo>
                <a:lnTo>
                  <a:pt x="3196901" y="1108256"/>
                </a:lnTo>
                <a:lnTo>
                  <a:pt x="3199830" y="1111396"/>
                </a:lnTo>
                <a:lnTo>
                  <a:pt x="3199070" y="1113887"/>
                </a:lnTo>
                <a:lnTo>
                  <a:pt x="3197226" y="1116810"/>
                </a:lnTo>
                <a:lnTo>
                  <a:pt x="3196466" y="1120058"/>
                </a:lnTo>
                <a:lnTo>
                  <a:pt x="3193103" y="1123523"/>
                </a:lnTo>
                <a:lnTo>
                  <a:pt x="3190932" y="1123523"/>
                </a:lnTo>
                <a:lnTo>
                  <a:pt x="3190281" y="1119625"/>
                </a:lnTo>
                <a:lnTo>
                  <a:pt x="3188762" y="1118650"/>
                </a:lnTo>
                <a:lnTo>
                  <a:pt x="3186591" y="1121032"/>
                </a:lnTo>
                <a:lnTo>
                  <a:pt x="3187242" y="1123847"/>
                </a:lnTo>
                <a:lnTo>
                  <a:pt x="3189630" y="1128828"/>
                </a:lnTo>
                <a:lnTo>
                  <a:pt x="3191909" y="1131751"/>
                </a:lnTo>
                <a:lnTo>
                  <a:pt x="3191909" y="1133592"/>
                </a:lnTo>
                <a:lnTo>
                  <a:pt x="3190498" y="1134241"/>
                </a:lnTo>
                <a:lnTo>
                  <a:pt x="3189521" y="1137056"/>
                </a:lnTo>
                <a:lnTo>
                  <a:pt x="3186374" y="1139114"/>
                </a:lnTo>
                <a:lnTo>
                  <a:pt x="3183118" y="1139114"/>
                </a:lnTo>
                <a:lnTo>
                  <a:pt x="3181382" y="1137273"/>
                </a:lnTo>
                <a:lnTo>
                  <a:pt x="3179537" y="1138031"/>
                </a:lnTo>
                <a:lnTo>
                  <a:pt x="3177584" y="1140521"/>
                </a:lnTo>
                <a:lnTo>
                  <a:pt x="3173894" y="1142145"/>
                </a:lnTo>
                <a:lnTo>
                  <a:pt x="3172376" y="1140629"/>
                </a:lnTo>
                <a:lnTo>
                  <a:pt x="3170856" y="1136623"/>
                </a:lnTo>
                <a:lnTo>
                  <a:pt x="3169554" y="1134133"/>
                </a:lnTo>
                <a:lnTo>
                  <a:pt x="3168143" y="1134133"/>
                </a:lnTo>
                <a:lnTo>
                  <a:pt x="3168143" y="1136190"/>
                </a:lnTo>
                <a:lnTo>
                  <a:pt x="3168143" y="1138356"/>
                </a:lnTo>
                <a:lnTo>
                  <a:pt x="3165865" y="1140954"/>
                </a:lnTo>
                <a:lnTo>
                  <a:pt x="3162935" y="1140954"/>
                </a:lnTo>
                <a:lnTo>
                  <a:pt x="3161307" y="1137382"/>
                </a:lnTo>
                <a:lnTo>
                  <a:pt x="3159787" y="1134891"/>
                </a:lnTo>
                <a:lnTo>
                  <a:pt x="3158268" y="1135541"/>
                </a:lnTo>
                <a:lnTo>
                  <a:pt x="3157074" y="1137490"/>
                </a:lnTo>
                <a:lnTo>
                  <a:pt x="3154796" y="1137490"/>
                </a:lnTo>
                <a:lnTo>
                  <a:pt x="3152951" y="1139005"/>
                </a:lnTo>
                <a:lnTo>
                  <a:pt x="3152951" y="1140737"/>
                </a:lnTo>
                <a:lnTo>
                  <a:pt x="3154036" y="1144094"/>
                </a:lnTo>
                <a:lnTo>
                  <a:pt x="3154036" y="1152431"/>
                </a:lnTo>
                <a:lnTo>
                  <a:pt x="3151758" y="1157736"/>
                </a:lnTo>
                <a:lnTo>
                  <a:pt x="3147416" y="1162825"/>
                </a:lnTo>
                <a:lnTo>
                  <a:pt x="3144595" y="1162825"/>
                </a:lnTo>
                <a:lnTo>
                  <a:pt x="3142750" y="1161309"/>
                </a:lnTo>
                <a:lnTo>
                  <a:pt x="3141231" y="1156329"/>
                </a:lnTo>
                <a:lnTo>
                  <a:pt x="3138844" y="1155029"/>
                </a:lnTo>
                <a:lnTo>
                  <a:pt x="3136782" y="1156112"/>
                </a:lnTo>
                <a:lnTo>
                  <a:pt x="3136782" y="1158169"/>
                </a:lnTo>
                <a:lnTo>
                  <a:pt x="3132984" y="1156653"/>
                </a:lnTo>
                <a:lnTo>
                  <a:pt x="3131899" y="1153947"/>
                </a:lnTo>
                <a:lnTo>
                  <a:pt x="3130380" y="1153188"/>
                </a:lnTo>
                <a:lnTo>
                  <a:pt x="3129728" y="1155137"/>
                </a:lnTo>
                <a:lnTo>
                  <a:pt x="3129728" y="1156978"/>
                </a:lnTo>
                <a:lnTo>
                  <a:pt x="3130922" y="1160984"/>
                </a:lnTo>
                <a:lnTo>
                  <a:pt x="3129078" y="1163258"/>
                </a:lnTo>
                <a:lnTo>
                  <a:pt x="3129078" y="1165207"/>
                </a:lnTo>
                <a:lnTo>
                  <a:pt x="3130271" y="1168455"/>
                </a:lnTo>
                <a:lnTo>
                  <a:pt x="3132767" y="1170729"/>
                </a:lnTo>
                <a:lnTo>
                  <a:pt x="3134178" y="1175600"/>
                </a:lnTo>
                <a:lnTo>
                  <a:pt x="3135154" y="1182205"/>
                </a:lnTo>
                <a:lnTo>
                  <a:pt x="3134178" y="1186103"/>
                </a:lnTo>
                <a:lnTo>
                  <a:pt x="3131031" y="1184046"/>
                </a:lnTo>
                <a:lnTo>
                  <a:pt x="3129186" y="1184046"/>
                </a:lnTo>
                <a:lnTo>
                  <a:pt x="3127992" y="1186428"/>
                </a:lnTo>
                <a:lnTo>
                  <a:pt x="3124303" y="1186428"/>
                </a:lnTo>
                <a:lnTo>
                  <a:pt x="3119745" y="1185237"/>
                </a:lnTo>
                <a:lnTo>
                  <a:pt x="3115513" y="1185237"/>
                </a:lnTo>
                <a:lnTo>
                  <a:pt x="3113668" y="1187510"/>
                </a:lnTo>
                <a:lnTo>
                  <a:pt x="3114644" y="1189026"/>
                </a:lnTo>
                <a:lnTo>
                  <a:pt x="3119854" y="1192166"/>
                </a:lnTo>
                <a:lnTo>
                  <a:pt x="3123435" y="1192166"/>
                </a:lnTo>
                <a:lnTo>
                  <a:pt x="3125930" y="1194115"/>
                </a:lnTo>
                <a:lnTo>
                  <a:pt x="3127558" y="1195739"/>
                </a:lnTo>
                <a:lnTo>
                  <a:pt x="3129403" y="1194873"/>
                </a:lnTo>
                <a:lnTo>
                  <a:pt x="3132008" y="1194873"/>
                </a:lnTo>
                <a:lnTo>
                  <a:pt x="3132008" y="1196930"/>
                </a:lnTo>
                <a:lnTo>
                  <a:pt x="3130922" y="1200287"/>
                </a:lnTo>
                <a:lnTo>
                  <a:pt x="3128535" y="1200287"/>
                </a:lnTo>
                <a:lnTo>
                  <a:pt x="3126147" y="1200287"/>
                </a:lnTo>
                <a:lnTo>
                  <a:pt x="3126147" y="1201694"/>
                </a:lnTo>
                <a:lnTo>
                  <a:pt x="3128210" y="1202777"/>
                </a:lnTo>
                <a:lnTo>
                  <a:pt x="3129295" y="1205159"/>
                </a:lnTo>
                <a:lnTo>
                  <a:pt x="3129295" y="1207432"/>
                </a:lnTo>
                <a:lnTo>
                  <a:pt x="3128426" y="1209056"/>
                </a:lnTo>
                <a:lnTo>
                  <a:pt x="3126690" y="1209814"/>
                </a:lnTo>
                <a:lnTo>
                  <a:pt x="3123869" y="1208732"/>
                </a:lnTo>
                <a:lnTo>
                  <a:pt x="3120722" y="1204401"/>
                </a:lnTo>
                <a:lnTo>
                  <a:pt x="3118443" y="1204401"/>
                </a:lnTo>
                <a:lnTo>
                  <a:pt x="3116489" y="1203426"/>
                </a:lnTo>
                <a:lnTo>
                  <a:pt x="3113668" y="1200503"/>
                </a:lnTo>
                <a:lnTo>
                  <a:pt x="3109870" y="1200503"/>
                </a:lnTo>
                <a:lnTo>
                  <a:pt x="3108893" y="1202019"/>
                </a:lnTo>
                <a:lnTo>
                  <a:pt x="3108242" y="1204401"/>
                </a:lnTo>
                <a:lnTo>
                  <a:pt x="3112040" y="1204942"/>
                </a:lnTo>
                <a:lnTo>
                  <a:pt x="3114102" y="1204942"/>
                </a:lnTo>
                <a:lnTo>
                  <a:pt x="3118443" y="1207541"/>
                </a:lnTo>
                <a:lnTo>
                  <a:pt x="3121807" y="1209598"/>
                </a:lnTo>
                <a:lnTo>
                  <a:pt x="3124737" y="1210789"/>
                </a:lnTo>
                <a:lnTo>
                  <a:pt x="3125605" y="1212088"/>
                </a:lnTo>
                <a:lnTo>
                  <a:pt x="3124303" y="1215661"/>
                </a:lnTo>
                <a:lnTo>
                  <a:pt x="3120722" y="1217177"/>
                </a:lnTo>
                <a:lnTo>
                  <a:pt x="3117792" y="1217177"/>
                </a:lnTo>
                <a:lnTo>
                  <a:pt x="3115947" y="1218585"/>
                </a:lnTo>
                <a:lnTo>
                  <a:pt x="3113126" y="1218585"/>
                </a:lnTo>
                <a:lnTo>
                  <a:pt x="3108242" y="1214361"/>
                </a:lnTo>
                <a:lnTo>
                  <a:pt x="3106723" y="1212088"/>
                </a:lnTo>
                <a:lnTo>
                  <a:pt x="3104336" y="1212088"/>
                </a:lnTo>
                <a:lnTo>
                  <a:pt x="3102925" y="1213712"/>
                </a:lnTo>
                <a:lnTo>
                  <a:pt x="3101189" y="1215661"/>
                </a:lnTo>
                <a:lnTo>
                  <a:pt x="3101189" y="1219342"/>
                </a:lnTo>
                <a:lnTo>
                  <a:pt x="3104118" y="1221940"/>
                </a:lnTo>
                <a:lnTo>
                  <a:pt x="3107745" y="1223876"/>
                </a:lnTo>
                <a:lnTo>
                  <a:pt x="3104987" y="1220967"/>
                </a:lnTo>
                <a:lnTo>
                  <a:pt x="3105096" y="1219451"/>
                </a:lnTo>
                <a:lnTo>
                  <a:pt x="3106832" y="1219451"/>
                </a:lnTo>
                <a:lnTo>
                  <a:pt x="3108893" y="1222266"/>
                </a:lnTo>
                <a:lnTo>
                  <a:pt x="3113994" y="1224215"/>
                </a:lnTo>
                <a:lnTo>
                  <a:pt x="3115730" y="1227463"/>
                </a:lnTo>
                <a:lnTo>
                  <a:pt x="3114211" y="1228547"/>
                </a:lnTo>
                <a:lnTo>
                  <a:pt x="3113451" y="1227463"/>
                </a:lnTo>
                <a:lnTo>
                  <a:pt x="3109107" y="1225145"/>
                </a:lnTo>
                <a:lnTo>
                  <a:pt x="3109762" y="1226596"/>
                </a:lnTo>
                <a:lnTo>
                  <a:pt x="3109762" y="1228762"/>
                </a:lnTo>
                <a:lnTo>
                  <a:pt x="3108459" y="1230277"/>
                </a:lnTo>
                <a:lnTo>
                  <a:pt x="3105529" y="1227354"/>
                </a:lnTo>
                <a:lnTo>
                  <a:pt x="3102817" y="1226705"/>
                </a:lnTo>
                <a:lnTo>
                  <a:pt x="3098801" y="1224214"/>
                </a:lnTo>
                <a:lnTo>
                  <a:pt x="3096631" y="1221616"/>
                </a:lnTo>
                <a:lnTo>
                  <a:pt x="3095438" y="1221616"/>
                </a:lnTo>
                <a:lnTo>
                  <a:pt x="3096197" y="1225622"/>
                </a:lnTo>
                <a:lnTo>
                  <a:pt x="3099344" y="1228112"/>
                </a:lnTo>
                <a:lnTo>
                  <a:pt x="3104227" y="1230494"/>
                </a:lnTo>
                <a:lnTo>
                  <a:pt x="3105095" y="1232334"/>
                </a:lnTo>
                <a:lnTo>
                  <a:pt x="3105095" y="1234175"/>
                </a:lnTo>
                <a:lnTo>
                  <a:pt x="3103359" y="1235366"/>
                </a:lnTo>
                <a:lnTo>
                  <a:pt x="3098476" y="1235366"/>
                </a:lnTo>
                <a:lnTo>
                  <a:pt x="3096088" y="1232659"/>
                </a:lnTo>
                <a:lnTo>
                  <a:pt x="3096088" y="1229628"/>
                </a:lnTo>
                <a:lnTo>
                  <a:pt x="3093810" y="1227571"/>
                </a:lnTo>
                <a:lnTo>
                  <a:pt x="3092399" y="1227571"/>
                </a:lnTo>
                <a:lnTo>
                  <a:pt x="3090445" y="1229736"/>
                </a:lnTo>
                <a:lnTo>
                  <a:pt x="3090445" y="1231793"/>
                </a:lnTo>
                <a:lnTo>
                  <a:pt x="3092507" y="1234391"/>
                </a:lnTo>
                <a:lnTo>
                  <a:pt x="3092507" y="1237099"/>
                </a:lnTo>
                <a:lnTo>
                  <a:pt x="3092507" y="1238073"/>
                </a:lnTo>
                <a:lnTo>
                  <a:pt x="3093810" y="1239156"/>
                </a:lnTo>
                <a:lnTo>
                  <a:pt x="3100429" y="1239156"/>
                </a:lnTo>
                <a:lnTo>
                  <a:pt x="3103359" y="1240238"/>
                </a:lnTo>
                <a:lnTo>
                  <a:pt x="3104227" y="1242836"/>
                </a:lnTo>
                <a:lnTo>
                  <a:pt x="3103142" y="1243703"/>
                </a:lnTo>
                <a:lnTo>
                  <a:pt x="3101189" y="1245760"/>
                </a:lnTo>
                <a:lnTo>
                  <a:pt x="3099669" y="1247817"/>
                </a:lnTo>
                <a:lnTo>
                  <a:pt x="3097065" y="1247817"/>
                </a:lnTo>
                <a:lnTo>
                  <a:pt x="3094678" y="1246193"/>
                </a:lnTo>
                <a:lnTo>
                  <a:pt x="3092181" y="1246193"/>
                </a:lnTo>
                <a:lnTo>
                  <a:pt x="3087841" y="1244461"/>
                </a:lnTo>
                <a:lnTo>
                  <a:pt x="3087841" y="1242187"/>
                </a:lnTo>
                <a:lnTo>
                  <a:pt x="3087841" y="1240888"/>
                </a:lnTo>
                <a:lnTo>
                  <a:pt x="3085345" y="1239372"/>
                </a:lnTo>
                <a:lnTo>
                  <a:pt x="3084043" y="1239372"/>
                </a:lnTo>
                <a:lnTo>
                  <a:pt x="3084043" y="1242945"/>
                </a:lnTo>
                <a:lnTo>
                  <a:pt x="3083175" y="1245327"/>
                </a:lnTo>
                <a:lnTo>
                  <a:pt x="3081222" y="1248250"/>
                </a:lnTo>
                <a:lnTo>
                  <a:pt x="3077424" y="1248250"/>
                </a:lnTo>
                <a:lnTo>
                  <a:pt x="3075253" y="1246518"/>
                </a:lnTo>
                <a:lnTo>
                  <a:pt x="3072866" y="1245003"/>
                </a:lnTo>
                <a:lnTo>
                  <a:pt x="3070587" y="1245003"/>
                </a:lnTo>
                <a:lnTo>
                  <a:pt x="3070587" y="1247493"/>
                </a:lnTo>
                <a:lnTo>
                  <a:pt x="3072432" y="1249008"/>
                </a:lnTo>
                <a:lnTo>
                  <a:pt x="3079268" y="1252040"/>
                </a:lnTo>
                <a:lnTo>
                  <a:pt x="3084694" y="1253339"/>
                </a:lnTo>
                <a:lnTo>
                  <a:pt x="3086865" y="1257345"/>
                </a:lnTo>
                <a:lnTo>
                  <a:pt x="3088384" y="1262758"/>
                </a:lnTo>
                <a:lnTo>
                  <a:pt x="3086973" y="1263408"/>
                </a:lnTo>
                <a:lnTo>
                  <a:pt x="3083935" y="1263408"/>
                </a:lnTo>
                <a:lnTo>
                  <a:pt x="3080896" y="1260485"/>
                </a:lnTo>
                <a:lnTo>
                  <a:pt x="3075579" y="1256262"/>
                </a:lnTo>
                <a:lnTo>
                  <a:pt x="3073191" y="1254855"/>
                </a:lnTo>
                <a:lnTo>
                  <a:pt x="3070478" y="1254855"/>
                </a:lnTo>
                <a:lnTo>
                  <a:pt x="3070478" y="1256262"/>
                </a:lnTo>
                <a:lnTo>
                  <a:pt x="3072758" y="1258211"/>
                </a:lnTo>
                <a:lnTo>
                  <a:pt x="3076664" y="1259294"/>
                </a:lnTo>
                <a:lnTo>
                  <a:pt x="3081764" y="1263732"/>
                </a:lnTo>
                <a:lnTo>
                  <a:pt x="3084694" y="1267522"/>
                </a:lnTo>
                <a:lnTo>
                  <a:pt x="3084694" y="1269905"/>
                </a:lnTo>
                <a:lnTo>
                  <a:pt x="3083609" y="1274019"/>
                </a:lnTo>
                <a:lnTo>
                  <a:pt x="3084694" y="1275968"/>
                </a:lnTo>
                <a:lnTo>
                  <a:pt x="3084694" y="1277808"/>
                </a:lnTo>
                <a:lnTo>
                  <a:pt x="3082415" y="1279866"/>
                </a:lnTo>
                <a:lnTo>
                  <a:pt x="3082415" y="1281923"/>
                </a:lnTo>
                <a:lnTo>
                  <a:pt x="3081113" y="1285604"/>
                </a:lnTo>
                <a:lnTo>
                  <a:pt x="3077315" y="1285604"/>
                </a:lnTo>
                <a:lnTo>
                  <a:pt x="3074711" y="1283980"/>
                </a:lnTo>
                <a:lnTo>
                  <a:pt x="3071129" y="1283980"/>
                </a:lnTo>
                <a:lnTo>
                  <a:pt x="3068416" y="1282031"/>
                </a:lnTo>
                <a:lnTo>
                  <a:pt x="3066355" y="1282031"/>
                </a:lnTo>
                <a:lnTo>
                  <a:pt x="3067440" y="1283980"/>
                </a:lnTo>
                <a:lnTo>
                  <a:pt x="3071021" y="1286036"/>
                </a:lnTo>
                <a:lnTo>
                  <a:pt x="3075687" y="1286795"/>
                </a:lnTo>
                <a:lnTo>
                  <a:pt x="3075687" y="1287878"/>
                </a:lnTo>
                <a:lnTo>
                  <a:pt x="3072974" y="1291558"/>
                </a:lnTo>
                <a:lnTo>
                  <a:pt x="3070261" y="1290909"/>
                </a:lnTo>
                <a:lnTo>
                  <a:pt x="3068742" y="1289176"/>
                </a:lnTo>
                <a:lnTo>
                  <a:pt x="3067115" y="1289826"/>
                </a:lnTo>
                <a:lnTo>
                  <a:pt x="3067115" y="1291125"/>
                </a:lnTo>
                <a:lnTo>
                  <a:pt x="3070370" y="1292858"/>
                </a:lnTo>
                <a:lnTo>
                  <a:pt x="3071998" y="1293940"/>
                </a:lnTo>
                <a:lnTo>
                  <a:pt x="3071998" y="1296106"/>
                </a:lnTo>
                <a:lnTo>
                  <a:pt x="3069827" y="1298488"/>
                </a:lnTo>
                <a:lnTo>
                  <a:pt x="3066680" y="1299896"/>
                </a:lnTo>
                <a:lnTo>
                  <a:pt x="3065270" y="1297946"/>
                </a:lnTo>
                <a:lnTo>
                  <a:pt x="3063099" y="1296647"/>
                </a:lnTo>
                <a:lnTo>
                  <a:pt x="3060495" y="1296647"/>
                </a:lnTo>
                <a:lnTo>
                  <a:pt x="3061363" y="1298813"/>
                </a:lnTo>
                <a:lnTo>
                  <a:pt x="3064293" y="1300112"/>
                </a:lnTo>
                <a:lnTo>
                  <a:pt x="3067332" y="1302169"/>
                </a:lnTo>
                <a:lnTo>
                  <a:pt x="3067332" y="1305633"/>
                </a:lnTo>
                <a:lnTo>
                  <a:pt x="3064510" y="1307474"/>
                </a:lnTo>
                <a:lnTo>
                  <a:pt x="3058433" y="1307474"/>
                </a:lnTo>
                <a:lnTo>
                  <a:pt x="3055611" y="1305959"/>
                </a:lnTo>
                <a:lnTo>
                  <a:pt x="3053875" y="1305959"/>
                </a:lnTo>
                <a:lnTo>
                  <a:pt x="3053875" y="1307149"/>
                </a:lnTo>
                <a:lnTo>
                  <a:pt x="3057456" y="1308774"/>
                </a:lnTo>
                <a:lnTo>
                  <a:pt x="3065487" y="1309531"/>
                </a:lnTo>
                <a:lnTo>
                  <a:pt x="3069285" y="1311047"/>
                </a:lnTo>
                <a:lnTo>
                  <a:pt x="3070261" y="1313213"/>
                </a:lnTo>
                <a:lnTo>
                  <a:pt x="3069719" y="1314837"/>
                </a:lnTo>
                <a:lnTo>
                  <a:pt x="3066029" y="1316461"/>
                </a:lnTo>
                <a:lnTo>
                  <a:pt x="3059952" y="1317652"/>
                </a:lnTo>
                <a:lnTo>
                  <a:pt x="3055503" y="1316461"/>
                </a:lnTo>
                <a:lnTo>
                  <a:pt x="3051813" y="1314945"/>
                </a:lnTo>
                <a:lnTo>
                  <a:pt x="3050837" y="1315703"/>
                </a:lnTo>
                <a:lnTo>
                  <a:pt x="3052573" y="1318301"/>
                </a:lnTo>
                <a:lnTo>
                  <a:pt x="3057348" y="1319276"/>
                </a:lnTo>
                <a:lnTo>
                  <a:pt x="3058216" y="1320683"/>
                </a:lnTo>
                <a:lnTo>
                  <a:pt x="3057674" y="1321658"/>
                </a:lnTo>
                <a:lnTo>
                  <a:pt x="3055829" y="1321658"/>
                </a:lnTo>
                <a:lnTo>
                  <a:pt x="3055829" y="1322524"/>
                </a:lnTo>
                <a:lnTo>
                  <a:pt x="3059518" y="1323606"/>
                </a:lnTo>
                <a:lnTo>
                  <a:pt x="3063208" y="1325231"/>
                </a:lnTo>
                <a:lnTo>
                  <a:pt x="3063208" y="1326747"/>
                </a:lnTo>
                <a:lnTo>
                  <a:pt x="3060386" y="1328478"/>
                </a:lnTo>
                <a:lnTo>
                  <a:pt x="3057022" y="1328478"/>
                </a:lnTo>
                <a:lnTo>
                  <a:pt x="3054961" y="1328478"/>
                </a:lnTo>
                <a:lnTo>
                  <a:pt x="3054961" y="1330211"/>
                </a:lnTo>
                <a:lnTo>
                  <a:pt x="3057456" y="1331186"/>
                </a:lnTo>
                <a:lnTo>
                  <a:pt x="3061689" y="1331186"/>
                </a:lnTo>
                <a:lnTo>
                  <a:pt x="3064727" y="1331727"/>
                </a:lnTo>
                <a:lnTo>
                  <a:pt x="3063967" y="1333459"/>
                </a:lnTo>
                <a:lnTo>
                  <a:pt x="3060929" y="1335625"/>
                </a:lnTo>
                <a:lnTo>
                  <a:pt x="3056697" y="1337357"/>
                </a:lnTo>
                <a:lnTo>
                  <a:pt x="3053984" y="1337357"/>
                </a:lnTo>
                <a:lnTo>
                  <a:pt x="3050945" y="1335083"/>
                </a:lnTo>
                <a:lnTo>
                  <a:pt x="3047365" y="1331727"/>
                </a:lnTo>
                <a:lnTo>
                  <a:pt x="3046279" y="1329453"/>
                </a:lnTo>
                <a:lnTo>
                  <a:pt x="3044869" y="1329453"/>
                </a:lnTo>
                <a:lnTo>
                  <a:pt x="3043132" y="1330427"/>
                </a:lnTo>
                <a:lnTo>
                  <a:pt x="3039443" y="1329561"/>
                </a:lnTo>
                <a:lnTo>
                  <a:pt x="3038249" y="1330644"/>
                </a:lnTo>
                <a:lnTo>
                  <a:pt x="3039443" y="1332484"/>
                </a:lnTo>
                <a:lnTo>
                  <a:pt x="3046822" y="1335733"/>
                </a:lnTo>
                <a:lnTo>
                  <a:pt x="3050837" y="1338331"/>
                </a:lnTo>
                <a:lnTo>
                  <a:pt x="3050837" y="1340388"/>
                </a:lnTo>
                <a:lnTo>
                  <a:pt x="3049318" y="1341904"/>
                </a:lnTo>
                <a:lnTo>
                  <a:pt x="3049318" y="1343853"/>
                </a:lnTo>
                <a:lnTo>
                  <a:pt x="3050837" y="1343095"/>
                </a:lnTo>
                <a:lnTo>
                  <a:pt x="3053984" y="1343095"/>
                </a:lnTo>
                <a:lnTo>
                  <a:pt x="3055286" y="1344178"/>
                </a:lnTo>
                <a:lnTo>
                  <a:pt x="3057239" y="1345044"/>
                </a:lnTo>
                <a:lnTo>
                  <a:pt x="3057239" y="1346668"/>
                </a:lnTo>
                <a:lnTo>
                  <a:pt x="3054961" y="1347318"/>
                </a:lnTo>
                <a:lnTo>
                  <a:pt x="3052248" y="1349483"/>
                </a:lnTo>
                <a:lnTo>
                  <a:pt x="3052248" y="1351108"/>
                </a:lnTo>
                <a:lnTo>
                  <a:pt x="3050837" y="1351108"/>
                </a:lnTo>
                <a:lnTo>
                  <a:pt x="3039985" y="1345477"/>
                </a:lnTo>
                <a:lnTo>
                  <a:pt x="3033908" y="1345477"/>
                </a:lnTo>
                <a:lnTo>
                  <a:pt x="3033908" y="1343637"/>
                </a:lnTo>
                <a:lnTo>
                  <a:pt x="3034559" y="1339847"/>
                </a:lnTo>
                <a:lnTo>
                  <a:pt x="3035970" y="1339847"/>
                </a:lnTo>
                <a:lnTo>
                  <a:pt x="3035970" y="1337790"/>
                </a:lnTo>
                <a:lnTo>
                  <a:pt x="3033908" y="1337790"/>
                </a:lnTo>
                <a:lnTo>
                  <a:pt x="3031738" y="1340497"/>
                </a:lnTo>
                <a:lnTo>
                  <a:pt x="3030002" y="1340497"/>
                </a:lnTo>
                <a:lnTo>
                  <a:pt x="3030002" y="1346668"/>
                </a:lnTo>
                <a:lnTo>
                  <a:pt x="3026855" y="1345153"/>
                </a:lnTo>
                <a:lnTo>
                  <a:pt x="3024033" y="1345153"/>
                </a:lnTo>
                <a:lnTo>
                  <a:pt x="3023165" y="1347426"/>
                </a:lnTo>
                <a:lnTo>
                  <a:pt x="3023165" y="1350782"/>
                </a:lnTo>
                <a:lnTo>
                  <a:pt x="3021429" y="1352624"/>
                </a:lnTo>
                <a:lnTo>
                  <a:pt x="3018933" y="1351432"/>
                </a:lnTo>
                <a:lnTo>
                  <a:pt x="3020236" y="1347210"/>
                </a:lnTo>
                <a:lnTo>
                  <a:pt x="3021863" y="1344286"/>
                </a:lnTo>
                <a:lnTo>
                  <a:pt x="3021863" y="1340714"/>
                </a:lnTo>
                <a:lnTo>
                  <a:pt x="3026312" y="1334542"/>
                </a:lnTo>
                <a:lnTo>
                  <a:pt x="3025552" y="1333567"/>
                </a:lnTo>
                <a:lnTo>
                  <a:pt x="3022405" y="1335733"/>
                </a:lnTo>
                <a:lnTo>
                  <a:pt x="3019259" y="1343961"/>
                </a:lnTo>
                <a:lnTo>
                  <a:pt x="3015352" y="1347210"/>
                </a:lnTo>
                <a:lnTo>
                  <a:pt x="3013833" y="1346235"/>
                </a:lnTo>
                <a:lnTo>
                  <a:pt x="3013833" y="1343095"/>
                </a:lnTo>
                <a:lnTo>
                  <a:pt x="3018173" y="1339522"/>
                </a:lnTo>
                <a:lnTo>
                  <a:pt x="3018933" y="1334867"/>
                </a:lnTo>
                <a:lnTo>
                  <a:pt x="3021646" y="1330427"/>
                </a:lnTo>
                <a:lnTo>
                  <a:pt x="3018716" y="1331294"/>
                </a:lnTo>
                <a:lnTo>
                  <a:pt x="3016763" y="1331294"/>
                </a:lnTo>
                <a:lnTo>
                  <a:pt x="3014918" y="1334975"/>
                </a:lnTo>
                <a:lnTo>
                  <a:pt x="3011554" y="1335841"/>
                </a:lnTo>
                <a:lnTo>
                  <a:pt x="3010686" y="1334325"/>
                </a:lnTo>
                <a:lnTo>
                  <a:pt x="3011988" y="1330752"/>
                </a:lnTo>
                <a:lnTo>
                  <a:pt x="3015135" y="1327829"/>
                </a:lnTo>
                <a:lnTo>
                  <a:pt x="3014158" y="1326747"/>
                </a:lnTo>
                <a:lnTo>
                  <a:pt x="3011988" y="1326747"/>
                </a:lnTo>
                <a:lnTo>
                  <a:pt x="3010468" y="1329237"/>
                </a:lnTo>
                <a:lnTo>
                  <a:pt x="3007755" y="1330969"/>
                </a:lnTo>
                <a:lnTo>
                  <a:pt x="3006671" y="1334000"/>
                </a:lnTo>
                <a:lnTo>
                  <a:pt x="3005152" y="1329886"/>
                </a:lnTo>
                <a:lnTo>
                  <a:pt x="3005152" y="1328370"/>
                </a:lnTo>
                <a:lnTo>
                  <a:pt x="3004066" y="1328370"/>
                </a:lnTo>
                <a:lnTo>
                  <a:pt x="3001571" y="1330752"/>
                </a:lnTo>
                <a:lnTo>
                  <a:pt x="2999726" y="1330752"/>
                </a:lnTo>
                <a:lnTo>
                  <a:pt x="3000377" y="1328695"/>
                </a:lnTo>
                <a:lnTo>
                  <a:pt x="3006996" y="1323931"/>
                </a:lnTo>
                <a:lnTo>
                  <a:pt x="3006996" y="1319925"/>
                </a:lnTo>
                <a:lnTo>
                  <a:pt x="3009926" y="1318951"/>
                </a:lnTo>
                <a:lnTo>
                  <a:pt x="3014701" y="1315161"/>
                </a:lnTo>
                <a:lnTo>
                  <a:pt x="3014050" y="1314079"/>
                </a:lnTo>
                <a:lnTo>
                  <a:pt x="3009058" y="1317543"/>
                </a:lnTo>
                <a:lnTo>
                  <a:pt x="3005043" y="1318951"/>
                </a:lnTo>
                <a:lnTo>
                  <a:pt x="3004066" y="1317868"/>
                </a:lnTo>
                <a:lnTo>
                  <a:pt x="3005368" y="1316677"/>
                </a:lnTo>
                <a:lnTo>
                  <a:pt x="3009275" y="1315594"/>
                </a:lnTo>
                <a:lnTo>
                  <a:pt x="3012965" y="1312671"/>
                </a:lnTo>
                <a:lnTo>
                  <a:pt x="3016654" y="1310506"/>
                </a:lnTo>
                <a:lnTo>
                  <a:pt x="3019909" y="1309423"/>
                </a:lnTo>
                <a:lnTo>
                  <a:pt x="3019909" y="1305525"/>
                </a:lnTo>
                <a:lnTo>
                  <a:pt x="3018391" y="1302494"/>
                </a:lnTo>
                <a:lnTo>
                  <a:pt x="3016437" y="1302494"/>
                </a:lnTo>
                <a:lnTo>
                  <a:pt x="3011988" y="1308557"/>
                </a:lnTo>
                <a:lnTo>
                  <a:pt x="3004826" y="1313104"/>
                </a:lnTo>
                <a:lnTo>
                  <a:pt x="2999726" y="1314729"/>
                </a:lnTo>
                <a:lnTo>
                  <a:pt x="2999074" y="1313104"/>
                </a:lnTo>
                <a:lnTo>
                  <a:pt x="3001353" y="1311372"/>
                </a:lnTo>
                <a:lnTo>
                  <a:pt x="3004066" y="1310506"/>
                </a:lnTo>
                <a:lnTo>
                  <a:pt x="3007647" y="1307041"/>
                </a:lnTo>
                <a:lnTo>
                  <a:pt x="3007647" y="1302494"/>
                </a:lnTo>
                <a:lnTo>
                  <a:pt x="3005694" y="1298813"/>
                </a:lnTo>
                <a:lnTo>
                  <a:pt x="3003524" y="1297730"/>
                </a:lnTo>
                <a:lnTo>
                  <a:pt x="3001353" y="1299029"/>
                </a:lnTo>
                <a:lnTo>
                  <a:pt x="3001353" y="1301627"/>
                </a:lnTo>
                <a:lnTo>
                  <a:pt x="3003089" y="1303576"/>
                </a:lnTo>
                <a:lnTo>
                  <a:pt x="3003089" y="1305742"/>
                </a:lnTo>
                <a:lnTo>
                  <a:pt x="3000485" y="1308016"/>
                </a:lnTo>
                <a:lnTo>
                  <a:pt x="2997446" y="1306608"/>
                </a:lnTo>
                <a:lnTo>
                  <a:pt x="2994300" y="1307366"/>
                </a:lnTo>
                <a:lnTo>
                  <a:pt x="2991044" y="1307366"/>
                </a:lnTo>
                <a:lnTo>
                  <a:pt x="2988440" y="1308990"/>
                </a:lnTo>
                <a:lnTo>
                  <a:pt x="2986595" y="1312347"/>
                </a:lnTo>
                <a:lnTo>
                  <a:pt x="2984316" y="1313213"/>
                </a:lnTo>
                <a:lnTo>
                  <a:pt x="2981603" y="1312454"/>
                </a:lnTo>
                <a:lnTo>
                  <a:pt x="2979541" y="1310506"/>
                </a:lnTo>
                <a:lnTo>
                  <a:pt x="2975960" y="1311047"/>
                </a:lnTo>
                <a:lnTo>
                  <a:pt x="2973248" y="1313646"/>
                </a:lnTo>
                <a:lnTo>
                  <a:pt x="2970535" y="1312130"/>
                </a:lnTo>
                <a:lnTo>
                  <a:pt x="2968364" y="1313321"/>
                </a:lnTo>
                <a:lnTo>
                  <a:pt x="2968364" y="1315270"/>
                </a:lnTo>
                <a:lnTo>
                  <a:pt x="2969450" y="1317327"/>
                </a:lnTo>
                <a:lnTo>
                  <a:pt x="2967605" y="1318410"/>
                </a:lnTo>
                <a:lnTo>
                  <a:pt x="2960768" y="1316894"/>
                </a:lnTo>
                <a:lnTo>
                  <a:pt x="2960117" y="1314511"/>
                </a:lnTo>
                <a:lnTo>
                  <a:pt x="2962179" y="1311480"/>
                </a:lnTo>
                <a:lnTo>
                  <a:pt x="2965760" y="1311480"/>
                </a:lnTo>
                <a:lnTo>
                  <a:pt x="2968364" y="1309098"/>
                </a:lnTo>
                <a:lnTo>
                  <a:pt x="2968364" y="1307691"/>
                </a:lnTo>
                <a:lnTo>
                  <a:pt x="2964675" y="1305959"/>
                </a:lnTo>
                <a:lnTo>
                  <a:pt x="2964675" y="1301303"/>
                </a:lnTo>
                <a:lnTo>
                  <a:pt x="2961203" y="1298488"/>
                </a:lnTo>
                <a:lnTo>
                  <a:pt x="2960117" y="1297080"/>
                </a:lnTo>
                <a:lnTo>
                  <a:pt x="2957621" y="1298055"/>
                </a:lnTo>
                <a:lnTo>
                  <a:pt x="2951870" y="1302386"/>
                </a:lnTo>
                <a:lnTo>
                  <a:pt x="2948505" y="1300978"/>
                </a:lnTo>
                <a:lnTo>
                  <a:pt x="2947529" y="1297730"/>
                </a:lnTo>
                <a:lnTo>
                  <a:pt x="2951110" y="1294590"/>
                </a:lnTo>
                <a:lnTo>
                  <a:pt x="2949591" y="1292641"/>
                </a:lnTo>
                <a:lnTo>
                  <a:pt x="2946444" y="1292641"/>
                </a:lnTo>
                <a:lnTo>
                  <a:pt x="2946444" y="1291125"/>
                </a:lnTo>
                <a:lnTo>
                  <a:pt x="2951435" y="1288743"/>
                </a:lnTo>
                <a:lnTo>
                  <a:pt x="2954583" y="1288743"/>
                </a:lnTo>
                <a:lnTo>
                  <a:pt x="2956102" y="1286903"/>
                </a:lnTo>
                <a:lnTo>
                  <a:pt x="2955125" y="1284629"/>
                </a:lnTo>
                <a:lnTo>
                  <a:pt x="2952304" y="1284629"/>
                </a:lnTo>
                <a:lnTo>
                  <a:pt x="2947855" y="1286036"/>
                </a:lnTo>
                <a:lnTo>
                  <a:pt x="2944599" y="1288419"/>
                </a:lnTo>
                <a:lnTo>
                  <a:pt x="2939065" y="1289935"/>
                </a:lnTo>
                <a:lnTo>
                  <a:pt x="2935809" y="1287769"/>
                </a:lnTo>
                <a:lnTo>
                  <a:pt x="2936460" y="1285495"/>
                </a:lnTo>
                <a:lnTo>
                  <a:pt x="2940041" y="1284413"/>
                </a:lnTo>
                <a:lnTo>
                  <a:pt x="2942429" y="1282464"/>
                </a:lnTo>
                <a:lnTo>
                  <a:pt x="2942429" y="1278566"/>
                </a:lnTo>
                <a:lnTo>
                  <a:pt x="2947529" y="1276401"/>
                </a:lnTo>
                <a:lnTo>
                  <a:pt x="2949373" y="1274452"/>
                </a:lnTo>
                <a:lnTo>
                  <a:pt x="2948505" y="1273153"/>
                </a:lnTo>
                <a:lnTo>
                  <a:pt x="2944057" y="1272178"/>
                </a:lnTo>
                <a:lnTo>
                  <a:pt x="2941561" y="1274235"/>
                </a:lnTo>
                <a:lnTo>
                  <a:pt x="2938088" y="1275860"/>
                </a:lnTo>
                <a:lnTo>
                  <a:pt x="2935375" y="1273478"/>
                </a:lnTo>
                <a:lnTo>
                  <a:pt x="2937437" y="1271095"/>
                </a:lnTo>
                <a:lnTo>
                  <a:pt x="2940476" y="1270446"/>
                </a:lnTo>
                <a:lnTo>
                  <a:pt x="2943297" y="1270446"/>
                </a:lnTo>
                <a:lnTo>
                  <a:pt x="2945142" y="1268064"/>
                </a:lnTo>
                <a:lnTo>
                  <a:pt x="2948180" y="1265790"/>
                </a:lnTo>
                <a:lnTo>
                  <a:pt x="2947529" y="1263517"/>
                </a:lnTo>
                <a:lnTo>
                  <a:pt x="2949265" y="1261351"/>
                </a:lnTo>
                <a:lnTo>
                  <a:pt x="2947746" y="1259944"/>
                </a:lnTo>
                <a:lnTo>
                  <a:pt x="2941994" y="1262001"/>
                </a:lnTo>
                <a:lnTo>
                  <a:pt x="2940692" y="1263950"/>
                </a:lnTo>
                <a:lnTo>
                  <a:pt x="2938848" y="1266007"/>
                </a:lnTo>
                <a:lnTo>
                  <a:pt x="2934616" y="1266007"/>
                </a:lnTo>
                <a:lnTo>
                  <a:pt x="2936026" y="1264058"/>
                </a:lnTo>
                <a:lnTo>
                  <a:pt x="2939173" y="1262217"/>
                </a:lnTo>
                <a:lnTo>
                  <a:pt x="2939824" y="1259186"/>
                </a:lnTo>
                <a:lnTo>
                  <a:pt x="2937979" y="1257454"/>
                </a:lnTo>
                <a:lnTo>
                  <a:pt x="2940367" y="1255612"/>
                </a:lnTo>
                <a:lnTo>
                  <a:pt x="2940367" y="1253664"/>
                </a:lnTo>
                <a:lnTo>
                  <a:pt x="2938414" y="1252473"/>
                </a:lnTo>
                <a:lnTo>
                  <a:pt x="2934941" y="1252473"/>
                </a:lnTo>
                <a:lnTo>
                  <a:pt x="2934941" y="1251390"/>
                </a:lnTo>
                <a:lnTo>
                  <a:pt x="2936678" y="1249441"/>
                </a:lnTo>
                <a:lnTo>
                  <a:pt x="2936026" y="1246301"/>
                </a:lnTo>
                <a:lnTo>
                  <a:pt x="2933205" y="1245544"/>
                </a:lnTo>
                <a:lnTo>
                  <a:pt x="2931577" y="1247060"/>
                </a:lnTo>
                <a:lnTo>
                  <a:pt x="2927996" y="1247060"/>
                </a:lnTo>
                <a:lnTo>
                  <a:pt x="2927996" y="1245652"/>
                </a:lnTo>
                <a:lnTo>
                  <a:pt x="2930167" y="1242079"/>
                </a:lnTo>
                <a:lnTo>
                  <a:pt x="2932662" y="1239264"/>
                </a:lnTo>
                <a:lnTo>
                  <a:pt x="2934181" y="1239264"/>
                </a:lnTo>
                <a:lnTo>
                  <a:pt x="2938414" y="1233959"/>
                </a:lnTo>
                <a:lnTo>
                  <a:pt x="2936243" y="1231685"/>
                </a:lnTo>
                <a:lnTo>
                  <a:pt x="2936894" y="1229303"/>
                </a:lnTo>
                <a:lnTo>
                  <a:pt x="2938414" y="1227138"/>
                </a:lnTo>
                <a:lnTo>
                  <a:pt x="2936786" y="1225730"/>
                </a:lnTo>
                <a:lnTo>
                  <a:pt x="2935266" y="1226488"/>
                </a:lnTo>
                <a:lnTo>
                  <a:pt x="2934507" y="1228437"/>
                </a:lnTo>
                <a:lnTo>
                  <a:pt x="2932445" y="1225189"/>
                </a:lnTo>
                <a:lnTo>
                  <a:pt x="2929299" y="1225189"/>
                </a:lnTo>
                <a:lnTo>
                  <a:pt x="2928213" y="1226705"/>
                </a:lnTo>
                <a:lnTo>
                  <a:pt x="2926368" y="1226705"/>
                </a:lnTo>
                <a:lnTo>
                  <a:pt x="2924415" y="1222049"/>
                </a:lnTo>
                <a:lnTo>
                  <a:pt x="2925283" y="1219559"/>
                </a:lnTo>
                <a:lnTo>
                  <a:pt x="2931468" y="1217393"/>
                </a:lnTo>
                <a:lnTo>
                  <a:pt x="2931468" y="1215769"/>
                </a:lnTo>
                <a:lnTo>
                  <a:pt x="2927996" y="1213928"/>
                </a:lnTo>
                <a:lnTo>
                  <a:pt x="2924524" y="1213928"/>
                </a:lnTo>
                <a:lnTo>
                  <a:pt x="2920942" y="1215986"/>
                </a:lnTo>
                <a:lnTo>
                  <a:pt x="2918555" y="1215986"/>
                </a:lnTo>
                <a:lnTo>
                  <a:pt x="2917145" y="1213712"/>
                </a:lnTo>
                <a:lnTo>
                  <a:pt x="2918121" y="1211114"/>
                </a:lnTo>
                <a:lnTo>
                  <a:pt x="2921376" y="1210139"/>
                </a:lnTo>
                <a:lnTo>
                  <a:pt x="2925066" y="1211222"/>
                </a:lnTo>
                <a:lnTo>
                  <a:pt x="2931035" y="1210139"/>
                </a:lnTo>
                <a:lnTo>
                  <a:pt x="2932880" y="1208298"/>
                </a:lnTo>
                <a:lnTo>
                  <a:pt x="2930817" y="1208298"/>
                </a:lnTo>
                <a:lnTo>
                  <a:pt x="2928647" y="1207216"/>
                </a:lnTo>
                <a:lnTo>
                  <a:pt x="2923330" y="1207216"/>
                </a:lnTo>
                <a:lnTo>
                  <a:pt x="2921376" y="1208515"/>
                </a:lnTo>
                <a:lnTo>
                  <a:pt x="2918881" y="1208515"/>
                </a:lnTo>
                <a:lnTo>
                  <a:pt x="2916276" y="1206241"/>
                </a:lnTo>
                <a:lnTo>
                  <a:pt x="2920834" y="1203318"/>
                </a:lnTo>
                <a:lnTo>
                  <a:pt x="2926477" y="1203318"/>
                </a:lnTo>
                <a:lnTo>
                  <a:pt x="2928539" y="1202127"/>
                </a:lnTo>
                <a:lnTo>
                  <a:pt x="2926694" y="1201369"/>
                </a:lnTo>
                <a:lnTo>
                  <a:pt x="2923764" y="1201369"/>
                </a:lnTo>
                <a:lnTo>
                  <a:pt x="2921051" y="1199204"/>
                </a:lnTo>
                <a:lnTo>
                  <a:pt x="2922679" y="1199204"/>
                </a:lnTo>
                <a:lnTo>
                  <a:pt x="2925934" y="1199853"/>
                </a:lnTo>
                <a:lnTo>
                  <a:pt x="2928105" y="1200936"/>
                </a:lnTo>
                <a:lnTo>
                  <a:pt x="2933205" y="1198771"/>
                </a:lnTo>
                <a:lnTo>
                  <a:pt x="2935375" y="1196822"/>
                </a:lnTo>
                <a:lnTo>
                  <a:pt x="2934290" y="1195631"/>
                </a:lnTo>
                <a:lnTo>
                  <a:pt x="2932012" y="1196281"/>
                </a:lnTo>
                <a:lnTo>
                  <a:pt x="2929299" y="1197363"/>
                </a:lnTo>
                <a:lnTo>
                  <a:pt x="2926586" y="1197363"/>
                </a:lnTo>
                <a:lnTo>
                  <a:pt x="2924741" y="1196388"/>
                </a:lnTo>
                <a:lnTo>
                  <a:pt x="2921051" y="1196388"/>
                </a:lnTo>
                <a:lnTo>
                  <a:pt x="2919532" y="1199096"/>
                </a:lnTo>
                <a:lnTo>
                  <a:pt x="2916928" y="1200720"/>
                </a:lnTo>
                <a:lnTo>
                  <a:pt x="2913672" y="1198338"/>
                </a:lnTo>
                <a:lnTo>
                  <a:pt x="2913021" y="1195522"/>
                </a:lnTo>
                <a:lnTo>
                  <a:pt x="2915408" y="1192058"/>
                </a:lnTo>
                <a:lnTo>
                  <a:pt x="2920183" y="1192058"/>
                </a:lnTo>
                <a:lnTo>
                  <a:pt x="2923981" y="1189676"/>
                </a:lnTo>
                <a:lnTo>
                  <a:pt x="2922896" y="1188810"/>
                </a:lnTo>
                <a:lnTo>
                  <a:pt x="2918446" y="1189567"/>
                </a:lnTo>
                <a:lnTo>
                  <a:pt x="2914323" y="1188918"/>
                </a:lnTo>
                <a:lnTo>
                  <a:pt x="2913347" y="1185561"/>
                </a:lnTo>
                <a:lnTo>
                  <a:pt x="2914432" y="1182314"/>
                </a:lnTo>
                <a:lnTo>
                  <a:pt x="2918446" y="1181339"/>
                </a:lnTo>
                <a:lnTo>
                  <a:pt x="2927562" y="1181339"/>
                </a:lnTo>
                <a:lnTo>
                  <a:pt x="2932771" y="1179823"/>
                </a:lnTo>
                <a:lnTo>
                  <a:pt x="2938522" y="1179823"/>
                </a:lnTo>
                <a:lnTo>
                  <a:pt x="2942103" y="1176900"/>
                </a:lnTo>
                <a:lnTo>
                  <a:pt x="2942754" y="1175817"/>
                </a:lnTo>
                <a:lnTo>
                  <a:pt x="2938956" y="1175817"/>
                </a:lnTo>
                <a:lnTo>
                  <a:pt x="2935375" y="1174735"/>
                </a:lnTo>
                <a:lnTo>
                  <a:pt x="2931252" y="1177333"/>
                </a:lnTo>
                <a:lnTo>
                  <a:pt x="2924632" y="1178416"/>
                </a:lnTo>
                <a:lnTo>
                  <a:pt x="2921268" y="1179823"/>
                </a:lnTo>
                <a:lnTo>
                  <a:pt x="2917145" y="1179823"/>
                </a:lnTo>
                <a:lnTo>
                  <a:pt x="2915083" y="1178308"/>
                </a:lnTo>
                <a:lnTo>
                  <a:pt x="2915951" y="1177225"/>
                </a:lnTo>
                <a:lnTo>
                  <a:pt x="2923547" y="1177225"/>
                </a:lnTo>
                <a:lnTo>
                  <a:pt x="2926911" y="1175276"/>
                </a:lnTo>
                <a:lnTo>
                  <a:pt x="2931035" y="1169537"/>
                </a:lnTo>
                <a:lnTo>
                  <a:pt x="2934833" y="1169537"/>
                </a:lnTo>
                <a:lnTo>
                  <a:pt x="2936569" y="1170404"/>
                </a:lnTo>
                <a:lnTo>
                  <a:pt x="2940041" y="1173110"/>
                </a:lnTo>
                <a:lnTo>
                  <a:pt x="2943406" y="1173110"/>
                </a:lnTo>
                <a:lnTo>
                  <a:pt x="2944382" y="1171378"/>
                </a:lnTo>
                <a:lnTo>
                  <a:pt x="2942320" y="1170729"/>
                </a:lnTo>
                <a:lnTo>
                  <a:pt x="2938631" y="1166614"/>
                </a:lnTo>
                <a:lnTo>
                  <a:pt x="2936678" y="1166614"/>
                </a:lnTo>
                <a:lnTo>
                  <a:pt x="2934833" y="1164774"/>
                </a:lnTo>
                <a:lnTo>
                  <a:pt x="2935483" y="1162933"/>
                </a:lnTo>
                <a:lnTo>
                  <a:pt x="2938305" y="1162933"/>
                </a:lnTo>
                <a:lnTo>
                  <a:pt x="2939933" y="1161417"/>
                </a:lnTo>
                <a:lnTo>
                  <a:pt x="2941669" y="1161417"/>
                </a:lnTo>
                <a:lnTo>
                  <a:pt x="2943622" y="1164665"/>
                </a:lnTo>
                <a:lnTo>
                  <a:pt x="2947529" y="1169213"/>
                </a:lnTo>
                <a:lnTo>
                  <a:pt x="2950242" y="1170729"/>
                </a:lnTo>
                <a:lnTo>
                  <a:pt x="2951544" y="1170187"/>
                </a:lnTo>
                <a:lnTo>
                  <a:pt x="2949700" y="1166506"/>
                </a:lnTo>
                <a:lnTo>
                  <a:pt x="2947420" y="1164990"/>
                </a:lnTo>
                <a:lnTo>
                  <a:pt x="2947420" y="1157412"/>
                </a:lnTo>
                <a:lnTo>
                  <a:pt x="2950350" y="1154596"/>
                </a:lnTo>
                <a:lnTo>
                  <a:pt x="2950350" y="1153080"/>
                </a:lnTo>
                <a:lnTo>
                  <a:pt x="2947529" y="1153080"/>
                </a:lnTo>
                <a:lnTo>
                  <a:pt x="2945033" y="1155570"/>
                </a:lnTo>
                <a:lnTo>
                  <a:pt x="2942863" y="1155570"/>
                </a:lnTo>
                <a:lnTo>
                  <a:pt x="2940476" y="1152431"/>
                </a:lnTo>
                <a:lnTo>
                  <a:pt x="2939390" y="1154380"/>
                </a:lnTo>
                <a:lnTo>
                  <a:pt x="2933965" y="1159902"/>
                </a:lnTo>
                <a:lnTo>
                  <a:pt x="2930600" y="1161309"/>
                </a:lnTo>
                <a:lnTo>
                  <a:pt x="2929190" y="1160226"/>
                </a:lnTo>
                <a:lnTo>
                  <a:pt x="2929190" y="1157953"/>
                </a:lnTo>
                <a:lnTo>
                  <a:pt x="2931360" y="1156220"/>
                </a:lnTo>
                <a:lnTo>
                  <a:pt x="2931360" y="1155570"/>
                </a:lnTo>
                <a:lnTo>
                  <a:pt x="2928539" y="1156978"/>
                </a:lnTo>
                <a:lnTo>
                  <a:pt x="2926260" y="1160118"/>
                </a:lnTo>
                <a:lnTo>
                  <a:pt x="2924524" y="1160118"/>
                </a:lnTo>
                <a:lnTo>
                  <a:pt x="2919206" y="1165098"/>
                </a:lnTo>
                <a:lnTo>
                  <a:pt x="2916819" y="1165964"/>
                </a:lnTo>
                <a:lnTo>
                  <a:pt x="2913238" y="1172353"/>
                </a:lnTo>
                <a:lnTo>
                  <a:pt x="2911502" y="1172353"/>
                </a:lnTo>
                <a:lnTo>
                  <a:pt x="2910090" y="1166939"/>
                </a:lnTo>
                <a:lnTo>
                  <a:pt x="2910742" y="1162717"/>
                </a:lnTo>
                <a:lnTo>
                  <a:pt x="2912587" y="1160335"/>
                </a:lnTo>
                <a:lnTo>
                  <a:pt x="2909765" y="1157736"/>
                </a:lnTo>
                <a:lnTo>
                  <a:pt x="2910416" y="1154488"/>
                </a:lnTo>
                <a:lnTo>
                  <a:pt x="2910416" y="1151781"/>
                </a:lnTo>
                <a:lnTo>
                  <a:pt x="2913780" y="1150157"/>
                </a:lnTo>
                <a:lnTo>
                  <a:pt x="2920400" y="1147884"/>
                </a:lnTo>
                <a:lnTo>
                  <a:pt x="2923547" y="1147884"/>
                </a:lnTo>
                <a:lnTo>
                  <a:pt x="2927345" y="1144311"/>
                </a:lnTo>
                <a:lnTo>
                  <a:pt x="2928755" y="1143445"/>
                </a:lnTo>
                <a:lnTo>
                  <a:pt x="2927128" y="1141496"/>
                </a:lnTo>
                <a:lnTo>
                  <a:pt x="2924632" y="1141496"/>
                </a:lnTo>
                <a:lnTo>
                  <a:pt x="2922244" y="1143661"/>
                </a:lnTo>
                <a:lnTo>
                  <a:pt x="2919532" y="1142904"/>
                </a:lnTo>
                <a:lnTo>
                  <a:pt x="2918338" y="1145827"/>
                </a:lnTo>
                <a:lnTo>
                  <a:pt x="2915625" y="1147775"/>
                </a:lnTo>
                <a:lnTo>
                  <a:pt x="2912261" y="1147775"/>
                </a:lnTo>
                <a:lnTo>
                  <a:pt x="2910308" y="1144635"/>
                </a:lnTo>
                <a:lnTo>
                  <a:pt x="2910308" y="1138464"/>
                </a:lnTo>
                <a:lnTo>
                  <a:pt x="2913238" y="1136298"/>
                </a:lnTo>
                <a:lnTo>
                  <a:pt x="2913238" y="1133158"/>
                </a:lnTo>
                <a:lnTo>
                  <a:pt x="2911719" y="1129152"/>
                </a:lnTo>
                <a:lnTo>
                  <a:pt x="2910308" y="1129152"/>
                </a:lnTo>
                <a:lnTo>
                  <a:pt x="2908029" y="1131643"/>
                </a:lnTo>
                <a:lnTo>
                  <a:pt x="2905424" y="1131643"/>
                </a:lnTo>
                <a:lnTo>
                  <a:pt x="2904774" y="1128828"/>
                </a:lnTo>
                <a:lnTo>
                  <a:pt x="2907703" y="1125905"/>
                </a:lnTo>
                <a:lnTo>
                  <a:pt x="2912370" y="1125905"/>
                </a:lnTo>
                <a:lnTo>
                  <a:pt x="2915191" y="1123415"/>
                </a:lnTo>
                <a:lnTo>
                  <a:pt x="2920834" y="1122223"/>
                </a:lnTo>
                <a:lnTo>
                  <a:pt x="2923113" y="1119950"/>
                </a:lnTo>
                <a:lnTo>
                  <a:pt x="2925717" y="1118867"/>
                </a:lnTo>
                <a:lnTo>
                  <a:pt x="2926802" y="1114753"/>
                </a:lnTo>
                <a:lnTo>
                  <a:pt x="2928539" y="1114103"/>
                </a:lnTo>
                <a:lnTo>
                  <a:pt x="2930058" y="1115835"/>
                </a:lnTo>
                <a:lnTo>
                  <a:pt x="2931903" y="1113887"/>
                </a:lnTo>
                <a:lnTo>
                  <a:pt x="2939499" y="1113887"/>
                </a:lnTo>
                <a:lnTo>
                  <a:pt x="2941561" y="1115403"/>
                </a:lnTo>
                <a:lnTo>
                  <a:pt x="2944816" y="1115403"/>
                </a:lnTo>
                <a:lnTo>
                  <a:pt x="2943731" y="1112804"/>
                </a:lnTo>
                <a:lnTo>
                  <a:pt x="2939716" y="1111721"/>
                </a:lnTo>
                <a:lnTo>
                  <a:pt x="2938631" y="1108797"/>
                </a:lnTo>
                <a:lnTo>
                  <a:pt x="2936135" y="1108797"/>
                </a:lnTo>
                <a:lnTo>
                  <a:pt x="2927019" y="1113778"/>
                </a:lnTo>
                <a:lnTo>
                  <a:pt x="2924307" y="1113778"/>
                </a:lnTo>
                <a:lnTo>
                  <a:pt x="2922027" y="1115403"/>
                </a:lnTo>
                <a:lnTo>
                  <a:pt x="2921051" y="1118867"/>
                </a:lnTo>
                <a:lnTo>
                  <a:pt x="2918555" y="1120599"/>
                </a:lnTo>
                <a:lnTo>
                  <a:pt x="2914540" y="1121574"/>
                </a:lnTo>
                <a:lnTo>
                  <a:pt x="2911502" y="1125147"/>
                </a:lnTo>
                <a:lnTo>
                  <a:pt x="2909657" y="1125147"/>
                </a:lnTo>
                <a:lnTo>
                  <a:pt x="2908572" y="1123198"/>
                </a:lnTo>
                <a:lnTo>
                  <a:pt x="2909331" y="1120707"/>
                </a:lnTo>
                <a:lnTo>
                  <a:pt x="2906401" y="1120058"/>
                </a:lnTo>
                <a:lnTo>
                  <a:pt x="2906401" y="1118217"/>
                </a:lnTo>
                <a:lnTo>
                  <a:pt x="2909331" y="1114861"/>
                </a:lnTo>
                <a:lnTo>
                  <a:pt x="2905424" y="1112479"/>
                </a:lnTo>
                <a:lnTo>
                  <a:pt x="2903471" y="1112479"/>
                </a:lnTo>
                <a:lnTo>
                  <a:pt x="2900108" y="1109989"/>
                </a:lnTo>
                <a:lnTo>
                  <a:pt x="2900758" y="1108581"/>
                </a:lnTo>
                <a:lnTo>
                  <a:pt x="2906293" y="1106307"/>
                </a:lnTo>
                <a:lnTo>
                  <a:pt x="2908789" y="1103601"/>
                </a:lnTo>
                <a:lnTo>
                  <a:pt x="2911067" y="1102951"/>
                </a:lnTo>
                <a:lnTo>
                  <a:pt x="2912695" y="1104791"/>
                </a:lnTo>
                <a:lnTo>
                  <a:pt x="2916601" y="1104791"/>
                </a:lnTo>
                <a:lnTo>
                  <a:pt x="2920291" y="1103384"/>
                </a:lnTo>
                <a:lnTo>
                  <a:pt x="2923873" y="1100570"/>
                </a:lnTo>
                <a:lnTo>
                  <a:pt x="2927019" y="1100570"/>
                </a:lnTo>
                <a:lnTo>
                  <a:pt x="2928105" y="1097862"/>
                </a:lnTo>
                <a:lnTo>
                  <a:pt x="2927128" y="1096671"/>
                </a:lnTo>
                <a:lnTo>
                  <a:pt x="2923873" y="1096671"/>
                </a:lnTo>
                <a:lnTo>
                  <a:pt x="2919423" y="1099487"/>
                </a:lnTo>
                <a:lnTo>
                  <a:pt x="2916276" y="1101760"/>
                </a:lnTo>
                <a:lnTo>
                  <a:pt x="2914323" y="1101760"/>
                </a:lnTo>
                <a:lnTo>
                  <a:pt x="2911285" y="1098513"/>
                </a:lnTo>
                <a:lnTo>
                  <a:pt x="2909440" y="1098513"/>
                </a:lnTo>
                <a:lnTo>
                  <a:pt x="2907487" y="1100786"/>
                </a:lnTo>
                <a:lnTo>
                  <a:pt x="2904556" y="1102951"/>
                </a:lnTo>
                <a:lnTo>
                  <a:pt x="2904556" y="1101003"/>
                </a:lnTo>
                <a:lnTo>
                  <a:pt x="2902061" y="1100352"/>
                </a:lnTo>
                <a:lnTo>
                  <a:pt x="2899999" y="1101219"/>
                </a:lnTo>
                <a:lnTo>
                  <a:pt x="2896743" y="1101219"/>
                </a:lnTo>
                <a:lnTo>
                  <a:pt x="2897828" y="1099595"/>
                </a:lnTo>
                <a:lnTo>
                  <a:pt x="2900649" y="1098729"/>
                </a:lnTo>
                <a:lnTo>
                  <a:pt x="2907161" y="1096455"/>
                </a:lnTo>
                <a:lnTo>
                  <a:pt x="2913672" y="1092449"/>
                </a:lnTo>
                <a:lnTo>
                  <a:pt x="2917036" y="1091150"/>
                </a:lnTo>
                <a:lnTo>
                  <a:pt x="2923873" y="1089850"/>
                </a:lnTo>
                <a:lnTo>
                  <a:pt x="2927454" y="1085520"/>
                </a:lnTo>
                <a:lnTo>
                  <a:pt x="2935158" y="1077183"/>
                </a:lnTo>
                <a:lnTo>
                  <a:pt x="2942646" y="1073502"/>
                </a:lnTo>
                <a:lnTo>
                  <a:pt x="2948723" y="1071336"/>
                </a:lnTo>
                <a:lnTo>
                  <a:pt x="2952086" y="1071336"/>
                </a:lnTo>
                <a:lnTo>
                  <a:pt x="2954040" y="1069821"/>
                </a:lnTo>
                <a:lnTo>
                  <a:pt x="2954040" y="1068088"/>
                </a:lnTo>
                <a:lnTo>
                  <a:pt x="2950785" y="1067005"/>
                </a:lnTo>
                <a:lnTo>
                  <a:pt x="2945142" y="1068630"/>
                </a:lnTo>
                <a:lnTo>
                  <a:pt x="2933096" y="1074368"/>
                </a:lnTo>
                <a:lnTo>
                  <a:pt x="2927779" y="1079781"/>
                </a:lnTo>
                <a:lnTo>
                  <a:pt x="2924089" y="1085303"/>
                </a:lnTo>
                <a:lnTo>
                  <a:pt x="2919640" y="1087469"/>
                </a:lnTo>
                <a:lnTo>
                  <a:pt x="2911719" y="1089309"/>
                </a:lnTo>
                <a:lnTo>
                  <a:pt x="2909223" y="1090933"/>
                </a:lnTo>
                <a:lnTo>
                  <a:pt x="2899890" y="1094939"/>
                </a:lnTo>
                <a:lnTo>
                  <a:pt x="2896526" y="1094939"/>
                </a:lnTo>
                <a:lnTo>
                  <a:pt x="2895767" y="1092774"/>
                </a:lnTo>
                <a:lnTo>
                  <a:pt x="2897178" y="1090824"/>
                </a:lnTo>
                <a:lnTo>
                  <a:pt x="2897178" y="1082597"/>
                </a:lnTo>
                <a:lnTo>
                  <a:pt x="2899781" y="1079456"/>
                </a:lnTo>
                <a:lnTo>
                  <a:pt x="2902169" y="1079456"/>
                </a:lnTo>
                <a:lnTo>
                  <a:pt x="2905859" y="1081838"/>
                </a:lnTo>
                <a:lnTo>
                  <a:pt x="2908572" y="1080972"/>
                </a:lnTo>
                <a:lnTo>
                  <a:pt x="2913889" y="1080972"/>
                </a:lnTo>
                <a:lnTo>
                  <a:pt x="2918121" y="1080972"/>
                </a:lnTo>
                <a:lnTo>
                  <a:pt x="2916928" y="1079240"/>
                </a:lnTo>
                <a:lnTo>
                  <a:pt x="2913780" y="1077291"/>
                </a:lnTo>
                <a:lnTo>
                  <a:pt x="2909657" y="1077291"/>
                </a:lnTo>
                <a:lnTo>
                  <a:pt x="2906944" y="1078807"/>
                </a:lnTo>
                <a:lnTo>
                  <a:pt x="2904231" y="1078266"/>
                </a:lnTo>
                <a:lnTo>
                  <a:pt x="2902929" y="1075017"/>
                </a:lnTo>
                <a:lnTo>
                  <a:pt x="2902929" y="1072852"/>
                </a:lnTo>
                <a:lnTo>
                  <a:pt x="2907161" y="1072202"/>
                </a:lnTo>
                <a:lnTo>
                  <a:pt x="2911285" y="1074693"/>
                </a:lnTo>
                <a:lnTo>
                  <a:pt x="2914865" y="1074693"/>
                </a:lnTo>
                <a:lnTo>
                  <a:pt x="2919423" y="1072852"/>
                </a:lnTo>
                <a:lnTo>
                  <a:pt x="2918772" y="1071444"/>
                </a:lnTo>
                <a:lnTo>
                  <a:pt x="2915625" y="1070362"/>
                </a:lnTo>
                <a:lnTo>
                  <a:pt x="2913997" y="1070362"/>
                </a:lnTo>
                <a:lnTo>
                  <a:pt x="2912695" y="1069387"/>
                </a:lnTo>
                <a:lnTo>
                  <a:pt x="2912695" y="1067114"/>
                </a:lnTo>
                <a:lnTo>
                  <a:pt x="2916710" y="1065922"/>
                </a:lnTo>
                <a:lnTo>
                  <a:pt x="2918121" y="1066789"/>
                </a:lnTo>
                <a:lnTo>
                  <a:pt x="2919640" y="1065814"/>
                </a:lnTo>
                <a:lnTo>
                  <a:pt x="2923221" y="1067222"/>
                </a:lnTo>
                <a:lnTo>
                  <a:pt x="2925066" y="1066139"/>
                </a:lnTo>
                <a:lnTo>
                  <a:pt x="2924307" y="1062999"/>
                </a:lnTo>
                <a:lnTo>
                  <a:pt x="2924307" y="1060185"/>
                </a:lnTo>
                <a:lnTo>
                  <a:pt x="2923547" y="1059318"/>
                </a:lnTo>
                <a:lnTo>
                  <a:pt x="2920834" y="1059318"/>
                </a:lnTo>
                <a:lnTo>
                  <a:pt x="2919206" y="1060834"/>
                </a:lnTo>
                <a:lnTo>
                  <a:pt x="2915625" y="1060834"/>
                </a:lnTo>
                <a:lnTo>
                  <a:pt x="2904774" y="1057586"/>
                </a:lnTo>
                <a:lnTo>
                  <a:pt x="2900324" y="1057586"/>
                </a:lnTo>
                <a:lnTo>
                  <a:pt x="2898046" y="1055637"/>
                </a:lnTo>
                <a:lnTo>
                  <a:pt x="2898046" y="1054121"/>
                </a:lnTo>
                <a:lnTo>
                  <a:pt x="2902603" y="1054121"/>
                </a:lnTo>
                <a:lnTo>
                  <a:pt x="2905642" y="1055096"/>
                </a:lnTo>
                <a:lnTo>
                  <a:pt x="2907487" y="1054013"/>
                </a:lnTo>
                <a:lnTo>
                  <a:pt x="2906184" y="1052930"/>
                </a:lnTo>
                <a:lnTo>
                  <a:pt x="2902386" y="1052930"/>
                </a:lnTo>
                <a:lnTo>
                  <a:pt x="2900867" y="1051414"/>
                </a:lnTo>
                <a:lnTo>
                  <a:pt x="2900867" y="1049141"/>
                </a:lnTo>
                <a:lnTo>
                  <a:pt x="2907378" y="1049141"/>
                </a:lnTo>
                <a:lnTo>
                  <a:pt x="2908789" y="1047734"/>
                </a:lnTo>
                <a:lnTo>
                  <a:pt x="2913455" y="1047734"/>
                </a:lnTo>
                <a:lnTo>
                  <a:pt x="2928864" y="1048599"/>
                </a:lnTo>
                <a:lnTo>
                  <a:pt x="2932012" y="1047625"/>
                </a:lnTo>
                <a:lnTo>
                  <a:pt x="2937654" y="1048383"/>
                </a:lnTo>
                <a:lnTo>
                  <a:pt x="2939933" y="1047516"/>
                </a:lnTo>
                <a:lnTo>
                  <a:pt x="2939933" y="1045568"/>
                </a:lnTo>
                <a:lnTo>
                  <a:pt x="2934181" y="1043186"/>
                </a:lnTo>
                <a:lnTo>
                  <a:pt x="2927237" y="1043186"/>
                </a:lnTo>
                <a:lnTo>
                  <a:pt x="2919098" y="1045135"/>
                </a:lnTo>
                <a:lnTo>
                  <a:pt x="2914540" y="1045135"/>
                </a:lnTo>
                <a:lnTo>
                  <a:pt x="2913563" y="1044052"/>
                </a:lnTo>
                <a:lnTo>
                  <a:pt x="2911067" y="1043403"/>
                </a:lnTo>
                <a:lnTo>
                  <a:pt x="2906293" y="1044593"/>
                </a:lnTo>
                <a:lnTo>
                  <a:pt x="2903146" y="1046867"/>
                </a:lnTo>
                <a:lnTo>
                  <a:pt x="2902061" y="1046001"/>
                </a:lnTo>
                <a:lnTo>
                  <a:pt x="2902061" y="1042645"/>
                </a:lnTo>
                <a:lnTo>
                  <a:pt x="2904556" y="1038747"/>
                </a:lnTo>
                <a:lnTo>
                  <a:pt x="2908572" y="1036798"/>
                </a:lnTo>
                <a:lnTo>
                  <a:pt x="2911719" y="1034632"/>
                </a:lnTo>
                <a:lnTo>
                  <a:pt x="2916168" y="1032575"/>
                </a:lnTo>
                <a:lnTo>
                  <a:pt x="2917904" y="1028678"/>
                </a:lnTo>
                <a:lnTo>
                  <a:pt x="2921919" y="1025863"/>
                </a:lnTo>
                <a:lnTo>
                  <a:pt x="2924307" y="1025863"/>
                </a:lnTo>
                <a:lnTo>
                  <a:pt x="2925500" y="1027379"/>
                </a:lnTo>
                <a:lnTo>
                  <a:pt x="2929515" y="1027379"/>
                </a:lnTo>
                <a:lnTo>
                  <a:pt x="2932337" y="1026296"/>
                </a:lnTo>
                <a:lnTo>
                  <a:pt x="2935050" y="1026296"/>
                </a:lnTo>
                <a:lnTo>
                  <a:pt x="2936243" y="1027595"/>
                </a:lnTo>
                <a:lnTo>
                  <a:pt x="2941235" y="1029436"/>
                </a:lnTo>
                <a:lnTo>
                  <a:pt x="2945576" y="1033550"/>
                </a:lnTo>
                <a:lnTo>
                  <a:pt x="2949917" y="1033550"/>
                </a:lnTo>
                <a:lnTo>
                  <a:pt x="2954691" y="1035390"/>
                </a:lnTo>
                <a:lnTo>
                  <a:pt x="2959574" y="1040479"/>
                </a:lnTo>
                <a:lnTo>
                  <a:pt x="2964457" y="1043186"/>
                </a:lnTo>
                <a:lnTo>
                  <a:pt x="2970969" y="1045351"/>
                </a:lnTo>
                <a:lnTo>
                  <a:pt x="2973682" y="1043835"/>
                </a:lnTo>
                <a:lnTo>
                  <a:pt x="2975852" y="1043835"/>
                </a:lnTo>
                <a:lnTo>
                  <a:pt x="2976720" y="1042645"/>
                </a:lnTo>
                <a:lnTo>
                  <a:pt x="2975960" y="1040371"/>
                </a:lnTo>
                <a:lnTo>
                  <a:pt x="2971945" y="1041237"/>
                </a:lnTo>
                <a:lnTo>
                  <a:pt x="2970426" y="1042753"/>
                </a:lnTo>
                <a:lnTo>
                  <a:pt x="2967062" y="1042103"/>
                </a:lnTo>
                <a:lnTo>
                  <a:pt x="2961853" y="1038639"/>
                </a:lnTo>
                <a:lnTo>
                  <a:pt x="2957404" y="1032251"/>
                </a:lnTo>
                <a:lnTo>
                  <a:pt x="2957404" y="1030410"/>
                </a:lnTo>
                <a:lnTo>
                  <a:pt x="2959791" y="1030410"/>
                </a:lnTo>
                <a:lnTo>
                  <a:pt x="2966737" y="1030410"/>
                </a:lnTo>
                <a:lnTo>
                  <a:pt x="2972813" y="1028028"/>
                </a:lnTo>
                <a:lnTo>
                  <a:pt x="2974984" y="1025646"/>
                </a:lnTo>
                <a:lnTo>
                  <a:pt x="2973898" y="1023373"/>
                </a:lnTo>
                <a:lnTo>
                  <a:pt x="2968256" y="1022073"/>
                </a:lnTo>
                <a:lnTo>
                  <a:pt x="2965977" y="1022723"/>
                </a:lnTo>
                <a:lnTo>
                  <a:pt x="2965977" y="1024563"/>
                </a:lnTo>
                <a:lnTo>
                  <a:pt x="2967387" y="1026296"/>
                </a:lnTo>
                <a:lnTo>
                  <a:pt x="2966085" y="1026945"/>
                </a:lnTo>
                <a:lnTo>
                  <a:pt x="2960009" y="1026945"/>
                </a:lnTo>
                <a:lnTo>
                  <a:pt x="2957296" y="1025213"/>
                </a:lnTo>
                <a:lnTo>
                  <a:pt x="2956536" y="1022073"/>
                </a:lnTo>
                <a:lnTo>
                  <a:pt x="2959032" y="1021099"/>
                </a:lnTo>
                <a:lnTo>
                  <a:pt x="2961311" y="1021099"/>
                </a:lnTo>
                <a:lnTo>
                  <a:pt x="2962396" y="1019258"/>
                </a:lnTo>
                <a:lnTo>
                  <a:pt x="2960443" y="1016659"/>
                </a:lnTo>
                <a:lnTo>
                  <a:pt x="2957838" y="1016659"/>
                </a:lnTo>
                <a:lnTo>
                  <a:pt x="2956861" y="1017634"/>
                </a:lnTo>
                <a:lnTo>
                  <a:pt x="2954257" y="1017634"/>
                </a:lnTo>
                <a:lnTo>
                  <a:pt x="2952086" y="1017634"/>
                </a:lnTo>
                <a:lnTo>
                  <a:pt x="2952086" y="1019474"/>
                </a:lnTo>
                <a:lnTo>
                  <a:pt x="2953172" y="1021965"/>
                </a:lnTo>
                <a:lnTo>
                  <a:pt x="2953172" y="1025105"/>
                </a:lnTo>
                <a:lnTo>
                  <a:pt x="2950459" y="1027920"/>
                </a:lnTo>
                <a:lnTo>
                  <a:pt x="2946987" y="1029869"/>
                </a:lnTo>
                <a:lnTo>
                  <a:pt x="2944599" y="1028786"/>
                </a:lnTo>
                <a:lnTo>
                  <a:pt x="2940041" y="1023373"/>
                </a:lnTo>
                <a:lnTo>
                  <a:pt x="2936569" y="1023373"/>
                </a:lnTo>
                <a:lnTo>
                  <a:pt x="2934181" y="1021857"/>
                </a:lnTo>
                <a:lnTo>
                  <a:pt x="2934181" y="1019583"/>
                </a:lnTo>
                <a:lnTo>
                  <a:pt x="2932662" y="1019583"/>
                </a:lnTo>
                <a:lnTo>
                  <a:pt x="2930817" y="1021640"/>
                </a:lnTo>
                <a:lnTo>
                  <a:pt x="2925066" y="1022506"/>
                </a:lnTo>
                <a:lnTo>
                  <a:pt x="2921485" y="1022506"/>
                </a:lnTo>
                <a:lnTo>
                  <a:pt x="2918338" y="1024996"/>
                </a:lnTo>
                <a:lnTo>
                  <a:pt x="2913889" y="1029110"/>
                </a:lnTo>
                <a:lnTo>
                  <a:pt x="2910634" y="1030194"/>
                </a:lnTo>
                <a:lnTo>
                  <a:pt x="2909006" y="1029219"/>
                </a:lnTo>
                <a:lnTo>
                  <a:pt x="2909006" y="1027270"/>
                </a:lnTo>
                <a:lnTo>
                  <a:pt x="2914215" y="1020882"/>
                </a:lnTo>
                <a:lnTo>
                  <a:pt x="2916385" y="1020124"/>
                </a:lnTo>
                <a:lnTo>
                  <a:pt x="2918013" y="1018284"/>
                </a:lnTo>
                <a:lnTo>
                  <a:pt x="2918013" y="1016443"/>
                </a:lnTo>
                <a:lnTo>
                  <a:pt x="2919423" y="1016443"/>
                </a:lnTo>
                <a:lnTo>
                  <a:pt x="2922027" y="1014169"/>
                </a:lnTo>
                <a:lnTo>
                  <a:pt x="2922027" y="1013195"/>
                </a:lnTo>
                <a:lnTo>
                  <a:pt x="2923547" y="1010380"/>
                </a:lnTo>
                <a:lnTo>
                  <a:pt x="2925392" y="1010380"/>
                </a:lnTo>
                <a:lnTo>
                  <a:pt x="2928973" y="1013086"/>
                </a:lnTo>
                <a:lnTo>
                  <a:pt x="2933530" y="1015035"/>
                </a:lnTo>
                <a:lnTo>
                  <a:pt x="2940258" y="1015035"/>
                </a:lnTo>
                <a:lnTo>
                  <a:pt x="2939607" y="1013412"/>
                </a:lnTo>
                <a:lnTo>
                  <a:pt x="2936569" y="1012653"/>
                </a:lnTo>
                <a:lnTo>
                  <a:pt x="2934290" y="1012653"/>
                </a:lnTo>
                <a:lnTo>
                  <a:pt x="2931685" y="1010705"/>
                </a:lnTo>
                <a:lnTo>
                  <a:pt x="2925717" y="1005400"/>
                </a:lnTo>
                <a:lnTo>
                  <a:pt x="2924741" y="1001935"/>
                </a:lnTo>
                <a:lnTo>
                  <a:pt x="2922027" y="1000744"/>
                </a:lnTo>
                <a:lnTo>
                  <a:pt x="2921376" y="998795"/>
                </a:lnTo>
                <a:lnTo>
                  <a:pt x="2923330" y="997821"/>
                </a:lnTo>
                <a:lnTo>
                  <a:pt x="2928647" y="999445"/>
                </a:lnTo>
                <a:lnTo>
                  <a:pt x="2932988" y="1005291"/>
                </a:lnTo>
                <a:lnTo>
                  <a:pt x="2937437" y="1009189"/>
                </a:lnTo>
                <a:lnTo>
                  <a:pt x="2938088" y="1007998"/>
                </a:lnTo>
                <a:lnTo>
                  <a:pt x="2936569" y="1004966"/>
                </a:lnTo>
                <a:lnTo>
                  <a:pt x="2935483" y="1000960"/>
                </a:lnTo>
                <a:lnTo>
                  <a:pt x="2936894" y="1000960"/>
                </a:lnTo>
                <a:lnTo>
                  <a:pt x="2939390" y="1003884"/>
                </a:lnTo>
                <a:lnTo>
                  <a:pt x="2940584" y="1006807"/>
                </a:lnTo>
                <a:lnTo>
                  <a:pt x="2948832" y="1011679"/>
                </a:lnTo>
                <a:lnTo>
                  <a:pt x="2951978" y="1011029"/>
                </a:lnTo>
                <a:lnTo>
                  <a:pt x="2953823" y="1009947"/>
                </a:lnTo>
                <a:lnTo>
                  <a:pt x="2958272" y="1009947"/>
                </a:lnTo>
                <a:lnTo>
                  <a:pt x="2960443" y="1012112"/>
                </a:lnTo>
                <a:lnTo>
                  <a:pt x="2965325" y="1015143"/>
                </a:lnTo>
                <a:lnTo>
                  <a:pt x="2969341" y="1016985"/>
                </a:lnTo>
                <a:lnTo>
                  <a:pt x="2970100" y="1018067"/>
                </a:lnTo>
                <a:lnTo>
                  <a:pt x="2973464" y="1018067"/>
                </a:lnTo>
                <a:lnTo>
                  <a:pt x="2973464" y="1016551"/>
                </a:lnTo>
                <a:lnTo>
                  <a:pt x="2969558" y="1012870"/>
                </a:lnTo>
                <a:lnTo>
                  <a:pt x="2960009" y="1005183"/>
                </a:lnTo>
                <a:lnTo>
                  <a:pt x="2959032" y="1003018"/>
                </a:lnTo>
                <a:lnTo>
                  <a:pt x="2959032" y="1001285"/>
                </a:lnTo>
                <a:lnTo>
                  <a:pt x="2964566" y="999337"/>
                </a:lnTo>
                <a:lnTo>
                  <a:pt x="2964566" y="996629"/>
                </a:lnTo>
                <a:lnTo>
                  <a:pt x="2966085" y="993490"/>
                </a:lnTo>
                <a:lnTo>
                  <a:pt x="2967930" y="992515"/>
                </a:lnTo>
                <a:lnTo>
                  <a:pt x="2967930" y="990241"/>
                </a:lnTo>
                <a:lnTo>
                  <a:pt x="2964783" y="990241"/>
                </a:lnTo>
                <a:lnTo>
                  <a:pt x="2961744" y="991433"/>
                </a:lnTo>
                <a:lnTo>
                  <a:pt x="2956102" y="991433"/>
                </a:lnTo>
                <a:lnTo>
                  <a:pt x="2954474" y="993273"/>
                </a:lnTo>
                <a:lnTo>
                  <a:pt x="2955559" y="994681"/>
                </a:lnTo>
                <a:lnTo>
                  <a:pt x="2959032" y="997388"/>
                </a:lnTo>
                <a:lnTo>
                  <a:pt x="2957512" y="998903"/>
                </a:lnTo>
                <a:lnTo>
                  <a:pt x="2952086" y="998903"/>
                </a:lnTo>
                <a:lnTo>
                  <a:pt x="2950242" y="999661"/>
                </a:lnTo>
                <a:lnTo>
                  <a:pt x="2946660" y="998795"/>
                </a:lnTo>
                <a:lnTo>
                  <a:pt x="2942429" y="999986"/>
                </a:lnTo>
                <a:lnTo>
                  <a:pt x="2940258" y="996955"/>
                </a:lnTo>
                <a:lnTo>
                  <a:pt x="2936678" y="995439"/>
                </a:lnTo>
                <a:lnTo>
                  <a:pt x="2935809" y="993490"/>
                </a:lnTo>
                <a:lnTo>
                  <a:pt x="2938196" y="991974"/>
                </a:lnTo>
                <a:lnTo>
                  <a:pt x="2940041" y="990133"/>
                </a:lnTo>
                <a:lnTo>
                  <a:pt x="2937871" y="990133"/>
                </a:lnTo>
                <a:lnTo>
                  <a:pt x="2933313" y="991108"/>
                </a:lnTo>
                <a:lnTo>
                  <a:pt x="2932337" y="990133"/>
                </a:lnTo>
                <a:lnTo>
                  <a:pt x="2938088" y="988618"/>
                </a:lnTo>
                <a:lnTo>
                  <a:pt x="2944382" y="985802"/>
                </a:lnTo>
                <a:lnTo>
                  <a:pt x="2947095" y="984286"/>
                </a:lnTo>
                <a:lnTo>
                  <a:pt x="2952412" y="984286"/>
                </a:lnTo>
                <a:lnTo>
                  <a:pt x="2953931" y="985478"/>
                </a:lnTo>
                <a:lnTo>
                  <a:pt x="2957946" y="984828"/>
                </a:lnTo>
                <a:lnTo>
                  <a:pt x="2962071" y="984828"/>
                </a:lnTo>
                <a:lnTo>
                  <a:pt x="2967279" y="985478"/>
                </a:lnTo>
                <a:lnTo>
                  <a:pt x="2967279" y="982988"/>
                </a:lnTo>
                <a:lnTo>
                  <a:pt x="2969667" y="981796"/>
                </a:lnTo>
                <a:lnTo>
                  <a:pt x="2971403" y="979848"/>
                </a:lnTo>
                <a:lnTo>
                  <a:pt x="2974441" y="977899"/>
                </a:lnTo>
                <a:lnTo>
                  <a:pt x="2975743" y="975517"/>
                </a:lnTo>
                <a:lnTo>
                  <a:pt x="2974658" y="975517"/>
                </a:lnTo>
                <a:lnTo>
                  <a:pt x="2971077" y="978115"/>
                </a:lnTo>
                <a:lnTo>
                  <a:pt x="2969015" y="978115"/>
                </a:lnTo>
                <a:lnTo>
                  <a:pt x="2967930" y="976166"/>
                </a:lnTo>
                <a:lnTo>
                  <a:pt x="2970209" y="972485"/>
                </a:lnTo>
                <a:lnTo>
                  <a:pt x="2972922" y="963607"/>
                </a:lnTo>
                <a:lnTo>
                  <a:pt x="2972922" y="959384"/>
                </a:lnTo>
                <a:lnTo>
                  <a:pt x="2974767" y="958518"/>
                </a:lnTo>
                <a:lnTo>
                  <a:pt x="2976286" y="959601"/>
                </a:lnTo>
                <a:lnTo>
                  <a:pt x="2978564" y="963932"/>
                </a:lnTo>
                <a:lnTo>
                  <a:pt x="2977588" y="965339"/>
                </a:lnTo>
                <a:lnTo>
                  <a:pt x="2977588" y="967505"/>
                </a:lnTo>
                <a:lnTo>
                  <a:pt x="2981495" y="968263"/>
                </a:lnTo>
                <a:lnTo>
                  <a:pt x="2984534" y="968263"/>
                </a:lnTo>
                <a:lnTo>
                  <a:pt x="2986269" y="970103"/>
                </a:lnTo>
                <a:lnTo>
                  <a:pt x="2988982" y="970103"/>
                </a:lnTo>
                <a:lnTo>
                  <a:pt x="2989634" y="969021"/>
                </a:lnTo>
                <a:lnTo>
                  <a:pt x="2991587" y="969778"/>
                </a:lnTo>
                <a:lnTo>
                  <a:pt x="2993757" y="969778"/>
                </a:lnTo>
                <a:lnTo>
                  <a:pt x="2993757" y="967180"/>
                </a:lnTo>
                <a:lnTo>
                  <a:pt x="2991044" y="965556"/>
                </a:lnTo>
                <a:lnTo>
                  <a:pt x="2985184" y="965556"/>
                </a:lnTo>
                <a:lnTo>
                  <a:pt x="2985184" y="964148"/>
                </a:lnTo>
                <a:lnTo>
                  <a:pt x="2988874" y="963499"/>
                </a:lnTo>
                <a:lnTo>
                  <a:pt x="2993540" y="962633"/>
                </a:lnTo>
                <a:lnTo>
                  <a:pt x="2993540" y="960792"/>
                </a:lnTo>
                <a:lnTo>
                  <a:pt x="2991370" y="959601"/>
                </a:lnTo>
                <a:lnTo>
                  <a:pt x="2988982" y="959601"/>
                </a:lnTo>
                <a:lnTo>
                  <a:pt x="2987789" y="957436"/>
                </a:lnTo>
                <a:lnTo>
                  <a:pt x="2986269" y="956678"/>
                </a:lnTo>
                <a:lnTo>
                  <a:pt x="2984425" y="957868"/>
                </a:lnTo>
                <a:lnTo>
                  <a:pt x="2982254" y="957868"/>
                </a:lnTo>
                <a:lnTo>
                  <a:pt x="2978456" y="957219"/>
                </a:lnTo>
                <a:lnTo>
                  <a:pt x="2978456" y="955162"/>
                </a:lnTo>
                <a:lnTo>
                  <a:pt x="2980518" y="952672"/>
                </a:lnTo>
                <a:lnTo>
                  <a:pt x="2982689" y="952672"/>
                </a:lnTo>
                <a:lnTo>
                  <a:pt x="2986161" y="947475"/>
                </a:lnTo>
                <a:lnTo>
                  <a:pt x="2988657" y="945526"/>
                </a:lnTo>
                <a:lnTo>
                  <a:pt x="2989742" y="946176"/>
                </a:lnTo>
                <a:lnTo>
                  <a:pt x="2992455" y="945526"/>
                </a:lnTo>
                <a:lnTo>
                  <a:pt x="2995276" y="945526"/>
                </a:lnTo>
                <a:lnTo>
                  <a:pt x="2994625" y="943360"/>
                </a:lnTo>
                <a:lnTo>
                  <a:pt x="2991912" y="942386"/>
                </a:lnTo>
                <a:lnTo>
                  <a:pt x="2988006" y="942386"/>
                </a:lnTo>
                <a:lnTo>
                  <a:pt x="2986812" y="940978"/>
                </a:lnTo>
                <a:lnTo>
                  <a:pt x="2988332" y="939246"/>
                </a:lnTo>
                <a:lnTo>
                  <a:pt x="2992780" y="937297"/>
                </a:lnTo>
                <a:lnTo>
                  <a:pt x="2994842" y="934807"/>
                </a:lnTo>
                <a:lnTo>
                  <a:pt x="2998098" y="933616"/>
                </a:lnTo>
                <a:lnTo>
                  <a:pt x="2998098" y="932101"/>
                </a:lnTo>
                <a:lnTo>
                  <a:pt x="3001136" y="930260"/>
                </a:lnTo>
                <a:lnTo>
                  <a:pt x="2998858" y="927553"/>
                </a:lnTo>
                <a:lnTo>
                  <a:pt x="2996145" y="927553"/>
                </a:lnTo>
                <a:lnTo>
                  <a:pt x="2996145" y="924413"/>
                </a:lnTo>
                <a:lnTo>
                  <a:pt x="2999291" y="923330"/>
                </a:lnTo>
                <a:lnTo>
                  <a:pt x="3002439" y="923330"/>
                </a:lnTo>
                <a:lnTo>
                  <a:pt x="3002439" y="920082"/>
                </a:lnTo>
                <a:lnTo>
                  <a:pt x="3000051" y="918999"/>
                </a:lnTo>
                <a:lnTo>
                  <a:pt x="2995928" y="918999"/>
                </a:lnTo>
                <a:lnTo>
                  <a:pt x="2992129" y="921923"/>
                </a:lnTo>
                <a:lnTo>
                  <a:pt x="2988006" y="921923"/>
                </a:lnTo>
                <a:lnTo>
                  <a:pt x="2985402" y="919216"/>
                </a:lnTo>
                <a:lnTo>
                  <a:pt x="2982797" y="920732"/>
                </a:lnTo>
                <a:lnTo>
                  <a:pt x="2978999" y="920732"/>
                </a:lnTo>
                <a:lnTo>
                  <a:pt x="2976720" y="918134"/>
                </a:lnTo>
                <a:lnTo>
                  <a:pt x="2974441" y="919216"/>
                </a:lnTo>
                <a:lnTo>
                  <a:pt x="2970643" y="918566"/>
                </a:lnTo>
                <a:lnTo>
                  <a:pt x="2967713" y="915102"/>
                </a:lnTo>
                <a:lnTo>
                  <a:pt x="2963916" y="915102"/>
                </a:lnTo>
                <a:lnTo>
                  <a:pt x="2961203" y="913586"/>
                </a:lnTo>
                <a:lnTo>
                  <a:pt x="2961203" y="911312"/>
                </a:lnTo>
                <a:lnTo>
                  <a:pt x="2959466" y="906873"/>
                </a:lnTo>
                <a:lnTo>
                  <a:pt x="2954257" y="903625"/>
                </a:lnTo>
                <a:lnTo>
                  <a:pt x="2945793" y="899836"/>
                </a:lnTo>
                <a:lnTo>
                  <a:pt x="2939282" y="897562"/>
                </a:lnTo>
                <a:lnTo>
                  <a:pt x="2934833" y="893123"/>
                </a:lnTo>
                <a:lnTo>
                  <a:pt x="2934833" y="890416"/>
                </a:lnTo>
                <a:lnTo>
                  <a:pt x="2932880" y="884894"/>
                </a:lnTo>
                <a:lnTo>
                  <a:pt x="2930167" y="881322"/>
                </a:lnTo>
                <a:lnTo>
                  <a:pt x="2927887" y="879373"/>
                </a:lnTo>
                <a:lnTo>
                  <a:pt x="2927887" y="876990"/>
                </a:lnTo>
                <a:lnTo>
                  <a:pt x="2932988" y="872659"/>
                </a:lnTo>
                <a:lnTo>
                  <a:pt x="2937437" y="872659"/>
                </a:lnTo>
                <a:lnTo>
                  <a:pt x="2939607" y="871577"/>
                </a:lnTo>
                <a:lnTo>
                  <a:pt x="2942538" y="872768"/>
                </a:lnTo>
                <a:lnTo>
                  <a:pt x="2946878" y="872768"/>
                </a:lnTo>
                <a:lnTo>
                  <a:pt x="2951110" y="876557"/>
                </a:lnTo>
                <a:lnTo>
                  <a:pt x="2955885" y="877316"/>
                </a:lnTo>
                <a:lnTo>
                  <a:pt x="2959032" y="877316"/>
                </a:lnTo>
                <a:lnTo>
                  <a:pt x="2960876" y="878831"/>
                </a:lnTo>
                <a:lnTo>
                  <a:pt x="2965217" y="878831"/>
                </a:lnTo>
                <a:lnTo>
                  <a:pt x="2969015" y="880347"/>
                </a:lnTo>
                <a:lnTo>
                  <a:pt x="2971728" y="881971"/>
                </a:lnTo>
                <a:lnTo>
                  <a:pt x="2974767" y="882620"/>
                </a:lnTo>
                <a:lnTo>
                  <a:pt x="2977046" y="885544"/>
                </a:lnTo>
                <a:lnTo>
                  <a:pt x="2979867" y="894639"/>
                </a:lnTo>
                <a:lnTo>
                  <a:pt x="2983122" y="898536"/>
                </a:lnTo>
                <a:lnTo>
                  <a:pt x="2987355" y="901351"/>
                </a:lnTo>
                <a:lnTo>
                  <a:pt x="2990936" y="904491"/>
                </a:lnTo>
                <a:lnTo>
                  <a:pt x="2995385" y="906224"/>
                </a:lnTo>
                <a:lnTo>
                  <a:pt x="2997664" y="905249"/>
                </a:lnTo>
                <a:lnTo>
                  <a:pt x="3000051" y="901676"/>
                </a:lnTo>
                <a:lnTo>
                  <a:pt x="2998858" y="900702"/>
                </a:lnTo>
                <a:lnTo>
                  <a:pt x="2996361" y="902001"/>
                </a:lnTo>
                <a:lnTo>
                  <a:pt x="2994300" y="902001"/>
                </a:lnTo>
                <a:lnTo>
                  <a:pt x="2991587" y="899728"/>
                </a:lnTo>
                <a:lnTo>
                  <a:pt x="2986812" y="894097"/>
                </a:lnTo>
                <a:lnTo>
                  <a:pt x="2986812" y="892148"/>
                </a:lnTo>
                <a:lnTo>
                  <a:pt x="2987789" y="892148"/>
                </a:lnTo>
                <a:lnTo>
                  <a:pt x="2992129" y="896479"/>
                </a:lnTo>
                <a:lnTo>
                  <a:pt x="2994408" y="896479"/>
                </a:lnTo>
                <a:lnTo>
                  <a:pt x="2994408" y="894530"/>
                </a:lnTo>
                <a:lnTo>
                  <a:pt x="2997121" y="894530"/>
                </a:lnTo>
                <a:lnTo>
                  <a:pt x="2997121" y="892581"/>
                </a:lnTo>
                <a:lnTo>
                  <a:pt x="2991261" y="888684"/>
                </a:lnTo>
                <a:lnTo>
                  <a:pt x="2985944" y="884245"/>
                </a:lnTo>
                <a:lnTo>
                  <a:pt x="2984642" y="881322"/>
                </a:lnTo>
                <a:lnTo>
                  <a:pt x="2985402" y="879589"/>
                </a:lnTo>
                <a:lnTo>
                  <a:pt x="2986921" y="879589"/>
                </a:lnTo>
                <a:lnTo>
                  <a:pt x="2989959" y="883703"/>
                </a:lnTo>
                <a:lnTo>
                  <a:pt x="2992672" y="883703"/>
                </a:lnTo>
                <a:lnTo>
                  <a:pt x="2990719" y="879373"/>
                </a:lnTo>
                <a:lnTo>
                  <a:pt x="2985944" y="874500"/>
                </a:lnTo>
                <a:lnTo>
                  <a:pt x="2981929" y="871577"/>
                </a:lnTo>
                <a:lnTo>
                  <a:pt x="2980735" y="868762"/>
                </a:lnTo>
                <a:lnTo>
                  <a:pt x="2981712" y="867138"/>
                </a:lnTo>
                <a:lnTo>
                  <a:pt x="2986269" y="868870"/>
                </a:lnTo>
                <a:lnTo>
                  <a:pt x="2995168" y="871794"/>
                </a:lnTo>
                <a:lnTo>
                  <a:pt x="2997773" y="870711"/>
                </a:lnTo>
                <a:lnTo>
                  <a:pt x="2997773" y="868004"/>
                </a:lnTo>
                <a:lnTo>
                  <a:pt x="2994191" y="863457"/>
                </a:lnTo>
                <a:lnTo>
                  <a:pt x="2992129" y="863457"/>
                </a:lnTo>
                <a:lnTo>
                  <a:pt x="2989200" y="865081"/>
                </a:lnTo>
                <a:lnTo>
                  <a:pt x="2985944" y="865081"/>
                </a:lnTo>
                <a:lnTo>
                  <a:pt x="2981386" y="865081"/>
                </a:lnTo>
                <a:lnTo>
                  <a:pt x="2980409" y="862916"/>
                </a:lnTo>
                <a:lnTo>
                  <a:pt x="2981929" y="860642"/>
                </a:lnTo>
                <a:lnTo>
                  <a:pt x="2987246" y="857935"/>
                </a:lnTo>
                <a:lnTo>
                  <a:pt x="2989200" y="858585"/>
                </a:lnTo>
                <a:lnTo>
                  <a:pt x="2992672" y="860750"/>
                </a:lnTo>
                <a:lnTo>
                  <a:pt x="2993323" y="858801"/>
                </a:lnTo>
                <a:lnTo>
                  <a:pt x="2993323" y="856311"/>
                </a:lnTo>
                <a:lnTo>
                  <a:pt x="2990610" y="853063"/>
                </a:lnTo>
                <a:lnTo>
                  <a:pt x="2988765" y="853063"/>
                </a:lnTo>
                <a:lnTo>
                  <a:pt x="2987355" y="854471"/>
                </a:lnTo>
                <a:lnTo>
                  <a:pt x="2984316" y="854471"/>
                </a:lnTo>
                <a:lnTo>
                  <a:pt x="2982471" y="855986"/>
                </a:lnTo>
                <a:lnTo>
                  <a:pt x="2976069" y="861291"/>
                </a:lnTo>
                <a:lnTo>
                  <a:pt x="2974007" y="861291"/>
                </a:lnTo>
                <a:lnTo>
                  <a:pt x="2974007" y="859343"/>
                </a:lnTo>
                <a:lnTo>
                  <a:pt x="2976611" y="857177"/>
                </a:lnTo>
                <a:lnTo>
                  <a:pt x="2977914" y="853821"/>
                </a:lnTo>
                <a:lnTo>
                  <a:pt x="2980627" y="850031"/>
                </a:lnTo>
                <a:lnTo>
                  <a:pt x="2982689" y="850031"/>
                </a:lnTo>
                <a:lnTo>
                  <a:pt x="2985402" y="850031"/>
                </a:lnTo>
                <a:lnTo>
                  <a:pt x="2988548" y="847541"/>
                </a:lnTo>
                <a:lnTo>
                  <a:pt x="2991695" y="846892"/>
                </a:lnTo>
                <a:lnTo>
                  <a:pt x="2993215" y="845267"/>
                </a:lnTo>
                <a:lnTo>
                  <a:pt x="2992238" y="844401"/>
                </a:lnTo>
                <a:lnTo>
                  <a:pt x="2986703" y="844401"/>
                </a:lnTo>
                <a:lnTo>
                  <a:pt x="2983448" y="847000"/>
                </a:lnTo>
                <a:lnTo>
                  <a:pt x="2980844" y="847649"/>
                </a:lnTo>
                <a:lnTo>
                  <a:pt x="2978239" y="846783"/>
                </a:lnTo>
                <a:lnTo>
                  <a:pt x="2973030" y="847433"/>
                </a:lnTo>
                <a:lnTo>
                  <a:pt x="2971511" y="846350"/>
                </a:lnTo>
                <a:lnTo>
                  <a:pt x="2971511" y="843643"/>
                </a:lnTo>
                <a:lnTo>
                  <a:pt x="2974116" y="841911"/>
                </a:lnTo>
                <a:lnTo>
                  <a:pt x="2976937" y="839529"/>
                </a:lnTo>
                <a:lnTo>
                  <a:pt x="2982797" y="839529"/>
                </a:lnTo>
                <a:lnTo>
                  <a:pt x="2990502" y="837688"/>
                </a:lnTo>
                <a:lnTo>
                  <a:pt x="2995819" y="834765"/>
                </a:lnTo>
                <a:lnTo>
                  <a:pt x="2995819" y="832816"/>
                </a:lnTo>
                <a:lnTo>
                  <a:pt x="2994300" y="831842"/>
                </a:lnTo>
                <a:lnTo>
                  <a:pt x="2992455" y="831842"/>
                </a:lnTo>
                <a:lnTo>
                  <a:pt x="2988982" y="834007"/>
                </a:lnTo>
                <a:lnTo>
                  <a:pt x="2984967" y="835415"/>
                </a:lnTo>
                <a:lnTo>
                  <a:pt x="2982037" y="834441"/>
                </a:lnTo>
                <a:lnTo>
                  <a:pt x="2980084" y="831409"/>
                </a:lnTo>
                <a:lnTo>
                  <a:pt x="2978131" y="830326"/>
                </a:lnTo>
                <a:lnTo>
                  <a:pt x="2974550" y="830326"/>
                </a:lnTo>
                <a:lnTo>
                  <a:pt x="2972813" y="829243"/>
                </a:lnTo>
                <a:lnTo>
                  <a:pt x="2972813" y="827511"/>
                </a:lnTo>
                <a:lnTo>
                  <a:pt x="2975960" y="824588"/>
                </a:lnTo>
                <a:lnTo>
                  <a:pt x="2977914" y="819499"/>
                </a:lnTo>
                <a:lnTo>
                  <a:pt x="2980084" y="817550"/>
                </a:lnTo>
                <a:lnTo>
                  <a:pt x="2983448" y="815709"/>
                </a:lnTo>
                <a:lnTo>
                  <a:pt x="2983448" y="814410"/>
                </a:lnTo>
                <a:lnTo>
                  <a:pt x="2981712" y="814410"/>
                </a:lnTo>
                <a:lnTo>
                  <a:pt x="2977805" y="816035"/>
                </a:lnTo>
                <a:lnTo>
                  <a:pt x="2973573" y="821772"/>
                </a:lnTo>
                <a:lnTo>
                  <a:pt x="2973573" y="823829"/>
                </a:lnTo>
                <a:lnTo>
                  <a:pt x="2969992" y="826212"/>
                </a:lnTo>
                <a:lnTo>
                  <a:pt x="2968907" y="827511"/>
                </a:lnTo>
                <a:lnTo>
                  <a:pt x="2967062" y="827511"/>
                </a:lnTo>
                <a:lnTo>
                  <a:pt x="2967062" y="823721"/>
                </a:lnTo>
                <a:lnTo>
                  <a:pt x="2968256" y="818092"/>
                </a:lnTo>
                <a:lnTo>
                  <a:pt x="2968256" y="812461"/>
                </a:lnTo>
                <a:lnTo>
                  <a:pt x="2965977" y="807589"/>
                </a:lnTo>
                <a:lnTo>
                  <a:pt x="2965325" y="802825"/>
                </a:lnTo>
                <a:lnTo>
                  <a:pt x="2966845" y="799252"/>
                </a:lnTo>
                <a:lnTo>
                  <a:pt x="2966845" y="795788"/>
                </a:lnTo>
                <a:lnTo>
                  <a:pt x="2965651" y="795788"/>
                </a:lnTo>
                <a:lnTo>
                  <a:pt x="2964783" y="797629"/>
                </a:lnTo>
                <a:lnTo>
                  <a:pt x="2963264" y="805856"/>
                </a:lnTo>
                <a:lnTo>
                  <a:pt x="2964675" y="809430"/>
                </a:lnTo>
                <a:lnTo>
                  <a:pt x="2966302" y="813652"/>
                </a:lnTo>
                <a:lnTo>
                  <a:pt x="2966302" y="818092"/>
                </a:lnTo>
                <a:lnTo>
                  <a:pt x="2966302" y="824696"/>
                </a:lnTo>
                <a:lnTo>
                  <a:pt x="2964566" y="827727"/>
                </a:lnTo>
                <a:lnTo>
                  <a:pt x="2962396" y="827727"/>
                </a:lnTo>
                <a:lnTo>
                  <a:pt x="2959683" y="825021"/>
                </a:lnTo>
                <a:lnTo>
                  <a:pt x="2957730" y="822098"/>
                </a:lnTo>
                <a:lnTo>
                  <a:pt x="2957078" y="828486"/>
                </a:lnTo>
                <a:lnTo>
                  <a:pt x="2957078" y="830218"/>
                </a:lnTo>
                <a:lnTo>
                  <a:pt x="2955017" y="830218"/>
                </a:lnTo>
                <a:lnTo>
                  <a:pt x="2952738" y="830218"/>
                </a:lnTo>
                <a:lnTo>
                  <a:pt x="2954799" y="831842"/>
                </a:lnTo>
                <a:lnTo>
                  <a:pt x="2955668" y="834873"/>
                </a:lnTo>
                <a:lnTo>
                  <a:pt x="2954583" y="838879"/>
                </a:lnTo>
                <a:lnTo>
                  <a:pt x="2952630" y="841586"/>
                </a:lnTo>
                <a:lnTo>
                  <a:pt x="2948832" y="842235"/>
                </a:lnTo>
                <a:lnTo>
                  <a:pt x="2946769" y="842235"/>
                </a:lnTo>
                <a:lnTo>
                  <a:pt x="2945467" y="843643"/>
                </a:lnTo>
                <a:lnTo>
                  <a:pt x="2942212" y="846025"/>
                </a:lnTo>
                <a:lnTo>
                  <a:pt x="2936243" y="846025"/>
                </a:lnTo>
                <a:lnTo>
                  <a:pt x="2933965" y="843751"/>
                </a:lnTo>
                <a:lnTo>
                  <a:pt x="2933965" y="840504"/>
                </a:lnTo>
                <a:lnTo>
                  <a:pt x="2932880" y="838014"/>
                </a:lnTo>
                <a:lnTo>
                  <a:pt x="2931035" y="836281"/>
                </a:lnTo>
                <a:lnTo>
                  <a:pt x="2928973" y="836281"/>
                </a:lnTo>
                <a:lnTo>
                  <a:pt x="2928213" y="839204"/>
                </a:lnTo>
                <a:lnTo>
                  <a:pt x="2926802" y="839204"/>
                </a:lnTo>
                <a:lnTo>
                  <a:pt x="2925174" y="833574"/>
                </a:lnTo>
                <a:lnTo>
                  <a:pt x="2926260" y="830110"/>
                </a:lnTo>
                <a:lnTo>
                  <a:pt x="2925283" y="827619"/>
                </a:lnTo>
                <a:lnTo>
                  <a:pt x="2923764" y="826104"/>
                </a:lnTo>
                <a:lnTo>
                  <a:pt x="2923764" y="823505"/>
                </a:lnTo>
                <a:lnTo>
                  <a:pt x="2928213" y="820906"/>
                </a:lnTo>
                <a:lnTo>
                  <a:pt x="2932120" y="820906"/>
                </a:lnTo>
                <a:lnTo>
                  <a:pt x="2933530" y="821989"/>
                </a:lnTo>
                <a:lnTo>
                  <a:pt x="2935701" y="818416"/>
                </a:lnTo>
                <a:lnTo>
                  <a:pt x="2938088" y="817442"/>
                </a:lnTo>
                <a:lnTo>
                  <a:pt x="2944925" y="816684"/>
                </a:lnTo>
                <a:lnTo>
                  <a:pt x="2947204" y="817333"/>
                </a:lnTo>
                <a:lnTo>
                  <a:pt x="2952521" y="811595"/>
                </a:lnTo>
                <a:lnTo>
                  <a:pt x="2956319" y="804882"/>
                </a:lnTo>
                <a:lnTo>
                  <a:pt x="2956319" y="802933"/>
                </a:lnTo>
                <a:lnTo>
                  <a:pt x="2955125" y="802933"/>
                </a:lnTo>
                <a:lnTo>
                  <a:pt x="2952630" y="804666"/>
                </a:lnTo>
                <a:lnTo>
                  <a:pt x="2950350" y="808672"/>
                </a:lnTo>
                <a:lnTo>
                  <a:pt x="2946552" y="813111"/>
                </a:lnTo>
                <a:lnTo>
                  <a:pt x="2941669" y="814627"/>
                </a:lnTo>
                <a:lnTo>
                  <a:pt x="2936135" y="813436"/>
                </a:lnTo>
                <a:lnTo>
                  <a:pt x="2932880" y="810513"/>
                </a:lnTo>
                <a:lnTo>
                  <a:pt x="2932880" y="807914"/>
                </a:lnTo>
                <a:lnTo>
                  <a:pt x="2937003" y="805532"/>
                </a:lnTo>
                <a:lnTo>
                  <a:pt x="2941886" y="801093"/>
                </a:lnTo>
                <a:lnTo>
                  <a:pt x="2945033" y="801093"/>
                </a:lnTo>
                <a:lnTo>
                  <a:pt x="2945901" y="799577"/>
                </a:lnTo>
                <a:lnTo>
                  <a:pt x="2945901" y="796654"/>
                </a:lnTo>
                <a:lnTo>
                  <a:pt x="2946987" y="795138"/>
                </a:lnTo>
                <a:lnTo>
                  <a:pt x="2949373" y="795138"/>
                </a:lnTo>
                <a:lnTo>
                  <a:pt x="2951218" y="793514"/>
                </a:lnTo>
                <a:lnTo>
                  <a:pt x="2949917" y="792107"/>
                </a:lnTo>
                <a:lnTo>
                  <a:pt x="2949917" y="790158"/>
                </a:lnTo>
                <a:lnTo>
                  <a:pt x="2948940" y="789183"/>
                </a:lnTo>
                <a:lnTo>
                  <a:pt x="2947529" y="789833"/>
                </a:lnTo>
                <a:lnTo>
                  <a:pt x="2945359" y="791782"/>
                </a:lnTo>
                <a:lnTo>
                  <a:pt x="2939065" y="791024"/>
                </a:lnTo>
                <a:lnTo>
                  <a:pt x="2937328" y="791024"/>
                </a:lnTo>
                <a:lnTo>
                  <a:pt x="2936243" y="789508"/>
                </a:lnTo>
                <a:lnTo>
                  <a:pt x="2937328" y="786693"/>
                </a:lnTo>
                <a:lnTo>
                  <a:pt x="2942212" y="783662"/>
                </a:lnTo>
                <a:lnTo>
                  <a:pt x="2944599" y="783662"/>
                </a:lnTo>
                <a:lnTo>
                  <a:pt x="2947312" y="785935"/>
                </a:lnTo>
                <a:lnTo>
                  <a:pt x="2950350" y="785935"/>
                </a:lnTo>
                <a:lnTo>
                  <a:pt x="2954908" y="783986"/>
                </a:lnTo>
                <a:lnTo>
                  <a:pt x="2957730" y="777598"/>
                </a:lnTo>
                <a:lnTo>
                  <a:pt x="2955993" y="775541"/>
                </a:lnTo>
                <a:lnTo>
                  <a:pt x="2956536" y="772185"/>
                </a:lnTo>
                <a:lnTo>
                  <a:pt x="2961203" y="767746"/>
                </a:lnTo>
                <a:lnTo>
                  <a:pt x="2959791" y="762873"/>
                </a:lnTo>
                <a:lnTo>
                  <a:pt x="2959791" y="758001"/>
                </a:lnTo>
                <a:lnTo>
                  <a:pt x="2958923" y="755836"/>
                </a:lnTo>
                <a:lnTo>
                  <a:pt x="2956102" y="754753"/>
                </a:lnTo>
                <a:lnTo>
                  <a:pt x="2953715" y="754753"/>
                </a:lnTo>
                <a:lnTo>
                  <a:pt x="2951327" y="752155"/>
                </a:lnTo>
                <a:lnTo>
                  <a:pt x="2947964" y="752155"/>
                </a:lnTo>
                <a:lnTo>
                  <a:pt x="2945142" y="751072"/>
                </a:lnTo>
                <a:lnTo>
                  <a:pt x="2945142" y="749015"/>
                </a:lnTo>
                <a:lnTo>
                  <a:pt x="2947095" y="748257"/>
                </a:lnTo>
                <a:lnTo>
                  <a:pt x="2950676" y="748907"/>
                </a:lnTo>
                <a:lnTo>
                  <a:pt x="2952630" y="747607"/>
                </a:lnTo>
                <a:lnTo>
                  <a:pt x="2955668" y="744467"/>
                </a:lnTo>
                <a:lnTo>
                  <a:pt x="2955668" y="741111"/>
                </a:lnTo>
                <a:lnTo>
                  <a:pt x="2958164" y="738404"/>
                </a:lnTo>
                <a:lnTo>
                  <a:pt x="2958164" y="735697"/>
                </a:lnTo>
                <a:lnTo>
                  <a:pt x="2956428" y="733749"/>
                </a:lnTo>
                <a:lnTo>
                  <a:pt x="2953389" y="733749"/>
                </a:lnTo>
                <a:lnTo>
                  <a:pt x="2952086" y="731800"/>
                </a:lnTo>
                <a:lnTo>
                  <a:pt x="2951435" y="728877"/>
                </a:lnTo>
                <a:lnTo>
                  <a:pt x="2953823" y="726928"/>
                </a:lnTo>
                <a:lnTo>
                  <a:pt x="2954691" y="726928"/>
                </a:lnTo>
                <a:lnTo>
                  <a:pt x="2954691" y="724979"/>
                </a:lnTo>
                <a:lnTo>
                  <a:pt x="2952086" y="720973"/>
                </a:lnTo>
                <a:lnTo>
                  <a:pt x="2951110" y="715993"/>
                </a:lnTo>
                <a:lnTo>
                  <a:pt x="2952955" y="715126"/>
                </a:lnTo>
                <a:lnTo>
                  <a:pt x="2955125" y="717833"/>
                </a:lnTo>
                <a:lnTo>
                  <a:pt x="2955125" y="716426"/>
                </a:lnTo>
                <a:lnTo>
                  <a:pt x="2953823" y="713610"/>
                </a:lnTo>
                <a:lnTo>
                  <a:pt x="2953823" y="711337"/>
                </a:lnTo>
                <a:lnTo>
                  <a:pt x="2955885" y="707222"/>
                </a:lnTo>
                <a:lnTo>
                  <a:pt x="2955017" y="702892"/>
                </a:lnTo>
                <a:lnTo>
                  <a:pt x="2952846" y="699102"/>
                </a:lnTo>
                <a:lnTo>
                  <a:pt x="2952846" y="696395"/>
                </a:lnTo>
                <a:lnTo>
                  <a:pt x="2951761" y="693580"/>
                </a:lnTo>
                <a:lnTo>
                  <a:pt x="2953280" y="690982"/>
                </a:lnTo>
                <a:lnTo>
                  <a:pt x="2954799" y="685785"/>
                </a:lnTo>
                <a:lnTo>
                  <a:pt x="2953063" y="685785"/>
                </a:lnTo>
                <a:lnTo>
                  <a:pt x="2950785" y="685785"/>
                </a:lnTo>
                <a:lnTo>
                  <a:pt x="2946660" y="689790"/>
                </a:lnTo>
                <a:lnTo>
                  <a:pt x="2944165" y="689790"/>
                </a:lnTo>
                <a:lnTo>
                  <a:pt x="2942212" y="691632"/>
                </a:lnTo>
                <a:lnTo>
                  <a:pt x="2939933" y="692606"/>
                </a:lnTo>
                <a:lnTo>
                  <a:pt x="2937871" y="691523"/>
                </a:lnTo>
                <a:lnTo>
                  <a:pt x="2939282" y="689466"/>
                </a:lnTo>
                <a:lnTo>
                  <a:pt x="2943514" y="686326"/>
                </a:lnTo>
                <a:lnTo>
                  <a:pt x="2945901" y="686326"/>
                </a:lnTo>
                <a:lnTo>
                  <a:pt x="2948289" y="683294"/>
                </a:lnTo>
                <a:lnTo>
                  <a:pt x="2949373" y="679614"/>
                </a:lnTo>
                <a:lnTo>
                  <a:pt x="2952955" y="676690"/>
                </a:lnTo>
                <a:lnTo>
                  <a:pt x="2956753" y="675174"/>
                </a:lnTo>
                <a:lnTo>
                  <a:pt x="2958055" y="671926"/>
                </a:lnTo>
                <a:lnTo>
                  <a:pt x="2958055" y="668786"/>
                </a:lnTo>
                <a:lnTo>
                  <a:pt x="2955885" y="666080"/>
                </a:lnTo>
                <a:lnTo>
                  <a:pt x="2953063" y="662290"/>
                </a:lnTo>
                <a:lnTo>
                  <a:pt x="2951978" y="658501"/>
                </a:lnTo>
                <a:lnTo>
                  <a:pt x="2950893" y="657526"/>
                </a:lnTo>
                <a:lnTo>
                  <a:pt x="2945467" y="657526"/>
                </a:lnTo>
                <a:lnTo>
                  <a:pt x="2942971" y="654278"/>
                </a:lnTo>
                <a:lnTo>
                  <a:pt x="2942971" y="650921"/>
                </a:lnTo>
                <a:lnTo>
                  <a:pt x="2944382" y="649298"/>
                </a:lnTo>
                <a:lnTo>
                  <a:pt x="2943406" y="647241"/>
                </a:lnTo>
                <a:lnTo>
                  <a:pt x="2943406" y="642910"/>
                </a:lnTo>
                <a:lnTo>
                  <a:pt x="2941561" y="639229"/>
                </a:lnTo>
                <a:lnTo>
                  <a:pt x="2933422" y="632408"/>
                </a:lnTo>
                <a:lnTo>
                  <a:pt x="2933422" y="630783"/>
                </a:lnTo>
                <a:lnTo>
                  <a:pt x="2931577" y="627644"/>
                </a:lnTo>
                <a:lnTo>
                  <a:pt x="2929732" y="625803"/>
                </a:lnTo>
                <a:lnTo>
                  <a:pt x="2929732" y="623854"/>
                </a:lnTo>
                <a:lnTo>
                  <a:pt x="2931252" y="622989"/>
                </a:lnTo>
                <a:lnTo>
                  <a:pt x="2936026" y="618874"/>
                </a:lnTo>
                <a:lnTo>
                  <a:pt x="2938739" y="617358"/>
                </a:lnTo>
                <a:lnTo>
                  <a:pt x="2940150" y="614760"/>
                </a:lnTo>
                <a:lnTo>
                  <a:pt x="2939065" y="613569"/>
                </a:lnTo>
                <a:lnTo>
                  <a:pt x="2935266" y="613569"/>
                </a:lnTo>
                <a:lnTo>
                  <a:pt x="2935266" y="611945"/>
                </a:lnTo>
                <a:lnTo>
                  <a:pt x="2937979" y="609779"/>
                </a:lnTo>
                <a:lnTo>
                  <a:pt x="2940150" y="605341"/>
                </a:lnTo>
                <a:lnTo>
                  <a:pt x="2941658" y="603621"/>
                </a:lnTo>
                <a:lnTo>
                  <a:pt x="2942429" y="604582"/>
                </a:lnTo>
                <a:lnTo>
                  <a:pt x="2942429" y="602742"/>
                </a:lnTo>
                <a:lnTo>
                  <a:pt x="2941658" y="603621"/>
                </a:lnTo>
                <a:lnTo>
                  <a:pt x="2941561" y="603499"/>
                </a:lnTo>
                <a:lnTo>
                  <a:pt x="2943080" y="600468"/>
                </a:lnTo>
                <a:lnTo>
                  <a:pt x="2941126" y="598195"/>
                </a:lnTo>
                <a:lnTo>
                  <a:pt x="2938848" y="597437"/>
                </a:lnTo>
                <a:lnTo>
                  <a:pt x="2935158" y="592889"/>
                </a:lnTo>
                <a:lnTo>
                  <a:pt x="2929949" y="588884"/>
                </a:lnTo>
                <a:lnTo>
                  <a:pt x="2928539" y="585310"/>
                </a:lnTo>
                <a:lnTo>
                  <a:pt x="2926368" y="583902"/>
                </a:lnTo>
                <a:lnTo>
                  <a:pt x="2924632" y="583902"/>
                </a:lnTo>
                <a:lnTo>
                  <a:pt x="2924632" y="586068"/>
                </a:lnTo>
                <a:lnTo>
                  <a:pt x="2922679" y="586068"/>
                </a:lnTo>
                <a:lnTo>
                  <a:pt x="2921485" y="584985"/>
                </a:lnTo>
                <a:lnTo>
                  <a:pt x="2920617" y="581413"/>
                </a:lnTo>
                <a:lnTo>
                  <a:pt x="2918121" y="579138"/>
                </a:lnTo>
                <a:lnTo>
                  <a:pt x="2914865" y="576865"/>
                </a:lnTo>
                <a:lnTo>
                  <a:pt x="2912587" y="574050"/>
                </a:lnTo>
                <a:lnTo>
                  <a:pt x="2910634" y="573292"/>
                </a:lnTo>
                <a:lnTo>
                  <a:pt x="2909548" y="574375"/>
                </a:lnTo>
                <a:lnTo>
                  <a:pt x="2907595" y="574375"/>
                </a:lnTo>
                <a:lnTo>
                  <a:pt x="2907595" y="572859"/>
                </a:lnTo>
                <a:lnTo>
                  <a:pt x="2908463" y="568745"/>
                </a:lnTo>
                <a:lnTo>
                  <a:pt x="2902929" y="564414"/>
                </a:lnTo>
                <a:lnTo>
                  <a:pt x="2898588" y="559975"/>
                </a:lnTo>
                <a:lnTo>
                  <a:pt x="2896851" y="559975"/>
                </a:lnTo>
                <a:lnTo>
                  <a:pt x="2894464" y="562573"/>
                </a:lnTo>
                <a:lnTo>
                  <a:pt x="2890667" y="561058"/>
                </a:lnTo>
                <a:lnTo>
                  <a:pt x="2884156" y="555428"/>
                </a:lnTo>
                <a:lnTo>
                  <a:pt x="2878838" y="553695"/>
                </a:lnTo>
                <a:lnTo>
                  <a:pt x="2875583" y="550230"/>
                </a:lnTo>
                <a:lnTo>
                  <a:pt x="2871459" y="548715"/>
                </a:lnTo>
                <a:lnTo>
                  <a:pt x="2866467" y="549365"/>
                </a:lnTo>
                <a:lnTo>
                  <a:pt x="2863320" y="552288"/>
                </a:lnTo>
                <a:lnTo>
                  <a:pt x="2860716" y="557052"/>
                </a:lnTo>
                <a:lnTo>
                  <a:pt x="2856375" y="560192"/>
                </a:lnTo>
                <a:lnTo>
                  <a:pt x="2854530" y="562573"/>
                </a:lnTo>
                <a:lnTo>
                  <a:pt x="2854530" y="558243"/>
                </a:lnTo>
                <a:lnTo>
                  <a:pt x="2856809" y="554236"/>
                </a:lnTo>
                <a:lnTo>
                  <a:pt x="2856809" y="549906"/>
                </a:lnTo>
                <a:lnTo>
                  <a:pt x="2855398" y="548390"/>
                </a:lnTo>
                <a:lnTo>
                  <a:pt x="2850949" y="548390"/>
                </a:lnTo>
                <a:lnTo>
                  <a:pt x="2848562" y="551530"/>
                </a:lnTo>
                <a:lnTo>
                  <a:pt x="2848562" y="554453"/>
                </a:lnTo>
                <a:lnTo>
                  <a:pt x="2845306" y="556510"/>
                </a:lnTo>
                <a:lnTo>
                  <a:pt x="2842919" y="554995"/>
                </a:lnTo>
                <a:lnTo>
                  <a:pt x="2840206" y="549148"/>
                </a:lnTo>
                <a:lnTo>
                  <a:pt x="2837493" y="548065"/>
                </a:lnTo>
                <a:lnTo>
                  <a:pt x="2836842" y="550988"/>
                </a:lnTo>
                <a:lnTo>
                  <a:pt x="2834563" y="559109"/>
                </a:lnTo>
                <a:lnTo>
                  <a:pt x="2832827" y="560300"/>
                </a:lnTo>
                <a:lnTo>
                  <a:pt x="2829572" y="559109"/>
                </a:lnTo>
                <a:lnTo>
                  <a:pt x="2829572" y="554453"/>
                </a:lnTo>
                <a:lnTo>
                  <a:pt x="2831634" y="550123"/>
                </a:lnTo>
                <a:lnTo>
                  <a:pt x="2835215" y="547416"/>
                </a:lnTo>
                <a:lnTo>
                  <a:pt x="2834347" y="545467"/>
                </a:lnTo>
                <a:lnTo>
                  <a:pt x="2831199" y="545467"/>
                </a:lnTo>
                <a:lnTo>
                  <a:pt x="2829789" y="544059"/>
                </a:lnTo>
                <a:lnTo>
                  <a:pt x="2825339" y="546983"/>
                </a:lnTo>
                <a:lnTo>
                  <a:pt x="2822084" y="546983"/>
                </a:lnTo>
                <a:lnTo>
                  <a:pt x="2820890" y="549581"/>
                </a:lnTo>
                <a:lnTo>
                  <a:pt x="2819480" y="550664"/>
                </a:lnTo>
                <a:lnTo>
                  <a:pt x="2818611" y="548282"/>
                </a:lnTo>
                <a:lnTo>
                  <a:pt x="2818611" y="545575"/>
                </a:lnTo>
                <a:lnTo>
                  <a:pt x="2816875" y="541135"/>
                </a:lnTo>
                <a:lnTo>
                  <a:pt x="2815790" y="537238"/>
                </a:lnTo>
                <a:lnTo>
                  <a:pt x="2814270" y="537238"/>
                </a:lnTo>
                <a:lnTo>
                  <a:pt x="2811992" y="538104"/>
                </a:lnTo>
                <a:lnTo>
                  <a:pt x="2811992" y="541028"/>
                </a:lnTo>
                <a:lnTo>
                  <a:pt x="2810798" y="545792"/>
                </a:lnTo>
                <a:lnTo>
                  <a:pt x="2808736" y="547633"/>
                </a:lnTo>
                <a:lnTo>
                  <a:pt x="2808736" y="551097"/>
                </a:lnTo>
                <a:lnTo>
                  <a:pt x="2809604" y="557485"/>
                </a:lnTo>
                <a:lnTo>
                  <a:pt x="2809604" y="560408"/>
                </a:lnTo>
                <a:lnTo>
                  <a:pt x="2808519" y="561924"/>
                </a:lnTo>
                <a:lnTo>
                  <a:pt x="2805047" y="559867"/>
                </a:lnTo>
                <a:lnTo>
                  <a:pt x="2801031" y="555752"/>
                </a:lnTo>
                <a:lnTo>
                  <a:pt x="2796257" y="553695"/>
                </a:lnTo>
                <a:lnTo>
                  <a:pt x="2791807" y="550447"/>
                </a:lnTo>
                <a:lnTo>
                  <a:pt x="2788009" y="546333"/>
                </a:lnTo>
                <a:lnTo>
                  <a:pt x="2785079" y="544601"/>
                </a:lnTo>
                <a:lnTo>
                  <a:pt x="2785079" y="543410"/>
                </a:lnTo>
                <a:lnTo>
                  <a:pt x="2786924" y="542002"/>
                </a:lnTo>
                <a:lnTo>
                  <a:pt x="2781933" y="540269"/>
                </a:lnTo>
                <a:lnTo>
                  <a:pt x="2778677" y="533016"/>
                </a:lnTo>
                <a:lnTo>
                  <a:pt x="2776290" y="529768"/>
                </a:lnTo>
                <a:lnTo>
                  <a:pt x="2772492" y="525437"/>
                </a:lnTo>
                <a:lnTo>
                  <a:pt x="2772492" y="520240"/>
                </a:lnTo>
                <a:lnTo>
                  <a:pt x="2774553" y="517641"/>
                </a:lnTo>
                <a:lnTo>
                  <a:pt x="2780956" y="517641"/>
                </a:lnTo>
                <a:lnTo>
                  <a:pt x="2783561" y="514935"/>
                </a:lnTo>
                <a:lnTo>
                  <a:pt x="2787359" y="513852"/>
                </a:lnTo>
                <a:lnTo>
                  <a:pt x="2793544" y="513852"/>
                </a:lnTo>
                <a:lnTo>
                  <a:pt x="2795064" y="515367"/>
                </a:lnTo>
                <a:lnTo>
                  <a:pt x="2798210" y="513094"/>
                </a:lnTo>
                <a:lnTo>
                  <a:pt x="2800163" y="510171"/>
                </a:lnTo>
                <a:lnTo>
                  <a:pt x="2800163" y="507897"/>
                </a:lnTo>
                <a:lnTo>
                  <a:pt x="2795389" y="507897"/>
                </a:lnTo>
                <a:lnTo>
                  <a:pt x="2789204" y="504649"/>
                </a:lnTo>
                <a:lnTo>
                  <a:pt x="2786924" y="504649"/>
                </a:lnTo>
                <a:lnTo>
                  <a:pt x="2785188" y="506923"/>
                </a:lnTo>
                <a:lnTo>
                  <a:pt x="2778135" y="500101"/>
                </a:lnTo>
                <a:lnTo>
                  <a:pt x="2777483" y="493930"/>
                </a:lnTo>
                <a:lnTo>
                  <a:pt x="2780196" y="491548"/>
                </a:lnTo>
                <a:lnTo>
                  <a:pt x="2783669" y="489707"/>
                </a:lnTo>
                <a:lnTo>
                  <a:pt x="2785622" y="484186"/>
                </a:lnTo>
                <a:lnTo>
                  <a:pt x="2787467" y="481803"/>
                </a:lnTo>
                <a:lnTo>
                  <a:pt x="2784320" y="481803"/>
                </a:lnTo>
                <a:lnTo>
                  <a:pt x="2782041" y="483320"/>
                </a:lnTo>
                <a:lnTo>
                  <a:pt x="2779112" y="488841"/>
                </a:lnTo>
                <a:lnTo>
                  <a:pt x="2776507" y="488841"/>
                </a:lnTo>
                <a:lnTo>
                  <a:pt x="2774662" y="490249"/>
                </a:lnTo>
                <a:lnTo>
                  <a:pt x="2771949" y="493496"/>
                </a:lnTo>
                <a:lnTo>
                  <a:pt x="2766957" y="491440"/>
                </a:lnTo>
                <a:lnTo>
                  <a:pt x="2765546" y="487109"/>
                </a:lnTo>
                <a:lnTo>
                  <a:pt x="2766741" y="483536"/>
                </a:lnTo>
                <a:lnTo>
                  <a:pt x="2769670" y="481587"/>
                </a:lnTo>
                <a:lnTo>
                  <a:pt x="2768259" y="480071"/>
                </a:lnTo>
                <a:lnTo>
                  <a:pt x="2765655" y="480071"/>
                </a:lnTo>
                <a:lnTo>
                  <a:pt x="2763919" y="481046"/>
                </a:lnTo>
                <a:lnTo>
                  <a:pt x="2763919" y="474225"/>
                </a:lnTo>
                <a:lnTo>
                  <a:pt x="2765764" y="471301"/>
                </a:lnTo>
                <a:lnTo>
                  <a:pt x="2767609" y="471301"/>
                </a:lnTo>
                <a:lnTo>
                  <a:pt x="2769345" y="469244"/>
                </a:lnTo>
                <a:lnTo>
                  <a:pt x="2772492" y="469244"/>
                </a:lnTo>
                <a:lnTo>
                  <a:pt x="2774879" y="471301"/>
                </a:lnTo>
                <a:lnTo>
                  <a:pt x="2774879" y="465996"/>
                </a:lnTo>
                <a:lnTo>
                  <a:pt x="2782801" y="463073"/>
                </a:lnTo>
                <a:lnTo>
                  <a:pt x="2790722" y="464914"/>
                </a:lnTo>
                <a:lnTo>
                  <a:pt x="2796040" y="468703"/>
                </a:lnTo>
                <a:lnTo>
                  <a:pt x="2804504" y="468703"/>
                </a:lnTo>
                <a:lnTo>
                  <a:pt x="2812751" y="472817"/>
                </a:lnTo>
                <a:lnTo>
                  <a:pt x="2819480" y="472817"/>
                </a:lnTo>
                <a:lnTo>
                  <a:pt x="2822952" y="474550"/>
                </a:lnTo>
                <a:lnTo>
                  <a:pt x="2831525" y="479530"/>
                </a:lnTo>
                <a:lnTo>
                  <a:pt x="2835215" y="479530"/>
                </a:lnTo>
                <a:lnTo>
                  <a:pt x="2837818" y="479530"/>
                </a:lnTo>
                <a:lnTo>
                  <a:pt x="2843353" y="477473"/>
                </a:lnTo>
                <a:lnTo>
                  <a:pt x="2839555" y="476607"/>
                </a:lnTo>
                <a:lnTo>
                  <a:pt x="2835431" y="476607"/>
                </a:lnTo>
                <a:lnTo>
                  <a:pt x="2828052" y="473142"/>
                </a:lnTo>
                <a:lnTo>
                  <a:pt x="2821975" y="468378"/>
                </a:lnTo>
                <a:lnTo>
                  <a:pt x="2816983" y="467728"/>
                </a:lnTo>
                <a:lnTo>
                  <a:pt x="2810256" y="466754"/>
                </a:lnTo>
                <a:lnTo>
                  <a:pt x="2805806" y="463181"/>
                </a:lnTo>
                <a:lnTo>
                  <a:pt x="2805806" y="460907"/>
                </a:lnTo>
                <a:lnTo>
                  <a:pt x="2814270" y="459067"/>
                </a:lnTo>
                <a:lnTo>
                  <a:pt x="2820456" y="459716"/>
                </a:lnTo>
                <a:lnTo>
                  <a:pt x="2830222" y="459716"/>
                </a:lnTo>
                <a:lnTo>
                  <a:pt x="2837601" y="462640"/>
                </a:lnTo>
                <a:lnTo>
                  <a:pt x="2840857" y="466213"/>
                </a:lnTo>
                <a:lnTo>
                  <a:pt x="2843679" y="467187"/>
                </a:lnTo>
                <a:lnTo>
                  <a:pt x="2845198" y="468703"/>
                </a:lnTo>
                <a:lnTo>
                  <a:pt x="2848887" y="470761"/>
                </a:lnTo>
                <a:lnTo>
                  <a:pt x="2848887" y="468378"/>
                </a:lnTo>
                <a:lnTo>
                  <a:pt x="2847477" y="466321"/>
                </a:lnTo>
                <a:lnTo>
                  <a:pt x="2847477" y="463073"/>
                </a:lnTo>
                <a:lnTo>
                  <a:pt x="2852794" y="459608"/>
                </a:lnTo>
                <a:lnTo>
                  <a:pt x="2854421" y="459608"/>
                </a:lnTo>
                <a:lnTo>
                  <a:pt x="2853770" y="453004"/>
                </a:lnTo>
                <a:lnTo>
                  <a:pt x="2851058" y="451921"/>
                </a:lnTo>
                <a:lnTo>
                  <a:pt x="2848779" y="451921"/>
                </a:lnTo>
                <a:lnTo>
                  <a:pt x="2846826" y="450081"/>
                </a:lnTo>
                <a:lnTo>
                  <a:pt x="2846826" y="447049"/>
                </a:lnTo>
                <a:lnTo>
                  <a:pt x="2843679" y="445966"/>
                </a:lnTo>
                <a:lnTo>
                  <a:pt x="2841074" y="446616"/>
                </a:lnTo>
                <a:lnTo>
                  <a:pt x="2836842" y="449972"/>
                </a:lnTo>
                <a:lnTo>
                  <a:pt x="2831959" y="449972"/>
                </a:lnTo>
                <a:lnTo>
                  <a:pt x="2824906" y="448565"/>
                </a:lnTo>
                <a:lnTo>
                  <a:pt x="2820890" y="446291"/>
                </a:lnTo>
                <a:lnTo>
                  <a:pt x="2820890" y="444342"/>
                </a:lnTo>
                <a:lnTo>
                  <a:pt x="2819805" y="443043"/>
                </a:lnTo>
                <a:lnTo>
                  <a:pt x="2816332" y="438279"/>
                </a:lnTo>
                <a:lnTo>
                  <a:pt x="2814054" y="438279"/>
                </a:lnTo>
                <a:lnTo>
                  <a:pt x="2812751" y="439795"/>
                </a:lnTo>
                <a:lnTo>
                  <a:pt x="2813511" y="441744"/>
                </a:lnTo>
                <a:lnTo>
                  <a:pt x="2815682" y="443909"/>
                </a:lnTo>
                <a:lnTo>
                  <a:pt x="2814705" y="449106"/>
                </a:lnTo>
                <a:lnTo>
                  <a:pt x="2812969" y="451271"/>
                </a:lnTo>
                <a:lnTo>
                  <a:pt x="2806349" y="451271"/>
                </a:lnTo>
                <a:lnTo>
                  <a:pt x="2800706" y="449431"/>
                </a:lnTo>
                <a:lnTo>
                  <a:pt x="2793110" y="441852"/>
                </a:lnTo>
                <a:lnTo>
                  <a:pt x="2793978" y="440120"/>
                </a:lnTo>
                <a:lnTo>
                  <a:pt x="2798861" y="438170"/>
                </a:lnTo>
                <a:lnTo>
                  <a:pt x="2806457" y="434923"/>
                </a:lnTo>
                <a:lnTo>
                  <a:pt x="2806457" y="433406"/>
                </a:lnTo>
                <a:lnTo>
                  <a:pt x="2804612" y="432649"/>
                </a:lnTo>
                <a:lnTo>
                  <a:pt x="2798970" y="434489"/>
                </a:lnTo>
                <a:lnTo>
                  <a:pt x="2795389" y="436547"/>
                </a:lnTo>
                <a:lnTo>
                  <a:pt x="2791265" y="435247"/>
                </a:lnTo>
                <a:lnTo>
                  <a:pt x="2790397" y="432216"/>
                </a:lnTo>
                <a:lnTo>
                  <a:pt x="2791916" y="430375"/>
                </a:lnTo>
                <a:lnTo>
                  <a:pt x="2796474" y="428859"/>
                </a:lnTo>
                <a:lnTo>
                  <a:pt x="2800489" y="426369"/>
                </a:lnTo>
                <a:lnTo>
                  <a:pt x="2803528" y="421172"/>
                </a:lnTo>
                <a:lnTo>
                  <a:pt x="2802768" y="418574"/>
                </a:lnTo>
                <a:lnTo>
                  <a:pt x="2800272" y="417600"/>
                </a:lnTo>
                <a:lnTo>
                  <a:pt x="2798970" y="418682"/>
                </a:lnTo>
                <a:lnTo>
                  <a:pt x="2796908" y="422147"/>
                </a:lnTo>
                <a:lnTo>
                  <a:pt x="2792350" y="425287"/>
                </a:lnTo>
                <a:lnTo>
                  <a:pt x="2786816" y="426261"/>
                </a:lnTo>
                <a:lnTo>
                  <a:pt x="2782909" y="425612"/>
                </a:lnTo>
                <a:lnTo>
                  <a:pt x="2781065" y="422471"/>
                </a:lnTo>
                <a:lnTo>
                  <a:pt x="2782041" y="419873"/>
                </a:lnTo>
                <a:lnTo>
                  <a:pt x="2784537" y="417600"/>
                </a:lnTo>
                <a:lnTo>
                  <a:pt x="2786707" y="415759"/>
                </a:lnTo>
                <a:lnTo>
                  <a:pt x="2785514" y="413918"/>
                </a:lnTo>
                <a:lnTo>
                  <a:pt x="2783669" y="412835"/>
                </a:lnTo>
                <a:lnTo>
                  <a:pt x="2779762" y="412835"/>
                </a:lnTo>
                <a:lnTo>
                  <a:pt x="2777700" y="410887"/>
                </a:lnTo>
                <a:lnTo>
                  <a:pt x="2773143" y="401467"/>
                </a:lnTo>
                <a:lnTo>
                  <a:pt x="2770430" y="398868"/>
                </a:lnTo>
                <a:lnTo>
                  <a:pt x="2766198" y="396702"/>
                </a:lnTo>
                <a:lnTo>
                  <a:pt x="2764461" y="394105"/>
                </a:lnTo>
                <a:lnTo>
                  <a:pt x="2767282" y="393130"/>
                </a:lnTo>
                <a:lnTo>
                  <a:pt x="2771407" y="390856"/>
                </a:lnTo>
                <a:lnTo>
                  <a:pt x="2773794" y="387717"/>
                </a:lnTo>
                <a:lnTo>
                  <a:pt x="2775205" y="386201"/>
                </a:lnTo>
                <a:lnTo>
                  <a:pt x="2776507" y="387176"/>
                </a:lnTo>
                <a:lnTo>
                  <a:pt x="2779328" y="387176"/>
                </a:lnTo>
                <a:lnTo>
                  <a:pt x="2779328" y="385010"/>
                </a:lnTo>
                <a:lnTo>
                  <a:pt x="2776724" y="383711"/>
                </a:lnTo>
                <a:lnTo>
                  <a:pt x="2772926" y="383711"/>
                </a:lnTo>
                <a:lnTo>
                  <a:pt x="2771298" y="380896"/>
                </a:lnTo>
                <a:lnTo>
                  <a:pt x="2772817" y="379055"/>
                </a:lnTo>
                <a:lnTo>
                  <a:pt x="2776724" y="379055"/>
                </a:lnTo>
                <a:lnTo>
                  <a:pt x="2784103" y="376131"/>
                </a:lnTo>
                <a:lnTo>
                  <a:pt x="2784103" y="373749"/>
                </a:lnTo>
                <a:lnTo>
                  <a:pt x="2784103" y="371151"/>
                </a:lnTo>
                <a:lnTo>
                  <a:pt x="2787792" y="370068"/>
                </a:lnTo>
                <a:lnTo>
                  <a:pt x="2790505" y="368227"/>
                </a:lnTo>
                <a:lnTo>
                  <a:pt x="2793652" y="368227"/>
                </a:lnTo>
                <a:lnTo>
                  <a:pt x="2795714" y="369094"/>
                </a:lnTo>
                <a:lnTo>
                  <a:pt x="2799186" y="369094"/>
                </a:lnTo>
                <a:lnTo>
                  <a:pt x="2802334" y="367145"/>
                </a:lnTo>
                <a:lnTo>
                  <a:pt x="2805047" y="367145"/>
                </a:lnTo>
                <a:lnTo>
                  <a:pt x="2808302" y="368011"/>
                </a:lnTo>
                <a:lnTo>
                  <a:pt x="2808302" y="369528"/>
                </a:lnTo>
                <a:lnTo>
                  <a:pt x="2809822" y="370176"/>
                </a:lnTo>
                <a:lnTo>
                  <a:pt x="2812969" y="369528"/>
                </a:lnTo>
                <a:lnTo>
                  <a:pt x="2814379" y="366929"/>
                </a:lnTo>
                <a:lnTo>
                  <a:pt x="2817526" y="364872"/>
                </a:lnTo>
                <a:lnTo>
                  <a:pt x="2820039" y="365391"/>
                </a:lnTo>
                <a:lnTo>
                  <a:pt x="2819805" y="365521"/>
                </a:lnTo>
                <a:lnTo>
                  <a:pt x="2820673" y="365521"/>
                </a:lnTo>
                <a:lnTo>
                  <a:pt x="2820039" y="365391"/>
                </a:lnTo>
                <a:lnTo>
                  <a:pt x="2822518" y="364005"/>
                </a:lnTo>
                <a:lnTo>
                  <a:pt x="2827835" y="364005"/>
                </a:lnTo>
                <a:lnTo>
                  <a:pt x="2845524" y="359350"/>
                </a:lnTo>
                <a:lnTo>
                  <a:pt x="2849213" y="359350"/>
                </a:lnTo>
                <a:lnTo>
                  <a:pt x="2850624" y="361407"/>
                </a:lnTo>
                <a:lnTo>
                  <a:pt x="2851926" y="358917"/>
                </a:lnTo>
                <a:lnTo>
                  <a:pt x="2849972" y="356751"/>
                </a:lnTo>
                <a:lnTo>
                  <a:pt x="2851383" y="354044"/>
                </a:lnTo>
                <a:lnTo>
                  <a:pt x="2857460" y="351121"/>
                </a:lnTo>
                <a:lnTo>
                  <a:pt x="2864839" y="351121"/>
                </a:lnTo>
                <a:lnTo>
                  <a:pt x="2869722" y="350254"/>
                </a:lnTo>
                <a:lnTo>
                  <a:pt x="2872435" y="351771"/>
                </a:lnTo>
                <a:lnTo>
                  <a:pt x="2876777" y="352637"/>
                </a:lnTo>
                <a:lnTo>
                  <a:pt x="2881008" y="350039"/>
                </a:lnTo>
                <a:lnTo>
                  <a:pt x="2886217" y="349281"/>
                </a:lnTo>
                <a:lnTo>
                  <a:pt x="2891969" y="350363"/>
                </a:lnTo>
                <a:lnTo>
                  <a:pt x="2893596" y="352637"/>
                </a:lnTo>
                <a:lnTo>
                  <a:pt x="2897720" y="353287"/>
                </a:lnTo>
                <a:lnTo>
                  <a:pt x="2899999" y="355127"/>
                </a:lnTo>
                <a:lnTo>
                  <a:pt x="2904882" y="358483"/>
                </a:lnTo>
                <a:lnTo>
                  <a:pt x="2908463" y="358483"/>
                </a:lnTo>
                <a:lnTo>
                  <a:pt x="2911285" y="357292"/>
                </a:lnTo>
                <a:lnTo>
                  <a:pt x="2911285" y="355560"/>
                </a:lnTo>
                <a:lnTo>
                  <a:pt x="2915300" y="351446"/>
                </a:lnTo>
                <a:lnTo>
                  <a:pt x="2918338" y="346574"/>
                </a:lnTo>
                <a:lnTo>
                  <a:pt x="2922136" y="341052"/>
                </a:lnTo>
                <a:lnTo>
                  <a:pt x="2927670" y="339211"/>
                </a:lnTo>
                <a:lnTo>
                  <a:pt x="2929407" y="336072"/>
                </a:lnTo>
                <a:lnTo>
                  <a:pt x="2933530" y="329575"/>
                </a:lnTo>
                <a:lnTo>
                  <a:pt x="2937328" y="328492"/>
                </a:lnTo>
                <a:lnTo>
                  <a:pt x="2938848" y="323837"/>
                </a:lnTo>
                <a:lnTo>
                  <a:pt x="2935592" y="322104"/>
                </a:lnTo>
                <a:lnTo>
                  <a:pt x="2935592" y="318099"/>
                </a:lnTo>
                <a:lnTo>
                  <a:pt x="2939173" y="313660"/>
                </a:lnTo>
                <a:lnTo>
                  <a:pt x="2943514" y="313660"/>
                </a:lnTo>
                <a:lnTo>
                  <a:pt x="2949157" y="313660"/>
                </a:lnTo>
                <a:lnTo>
                  <a:pt x="2954148" y="310412"/>
                </a:lnTo>
                <a:lnTo>
                  <a:pt x="2955342" y="306946"/>
                </a:lnTo>
                <a:lnTo>
                  <a:pt x="2954148" y="305756"/>
                </a:lnTo>
                <a:lnTo>
                  <a:pt x="2948940" y="305756"/>
                </a:lnTo>
                <a:lnTo>
                  <a:pt x="2945033" y="303049"/>
                </a:lnTo>
                <a:lnTo>
                  <a:pt x="2945033" y="300451"/>
                </a:lnTo>
                <a:lnTo>
                  <a:pt x="2945901" y="297853"/>
                </a:lnTo>
                <a:lnTo>
                  <a:pt x="2949808" y="296769"/>
                </a:lnTo>
                <a:lnTo>
                  <a:pt x="2955885" y="297960"/>
                </a:lnTo>
                <a:lnTo>
                  <a:pt x="2960659" y="295037"/>
                </a:lnTo>
                <a:lnTo>
                  <a:pt x="2966519" y="292655"/>
                </a:lnTo>
                <a:lnTo>
                  <a:pt x="2967170" y="290057"/>
                </a:lnTo>
                <a:lnTo>
                  <a:pt x="2966302" y="289082"/>
                </a:lnTo>
                <a:lnTo>
                  <a:pt x="2966302" y="284751"/>
                </a:lnTo>
                <a:lnTo>
                  <a:pt x="2964783" y="284751"/>
                </a:lnTo>
                <a:lnTo>
                  <a:pt x="2961636" y="287458"/>
                </a:lnTo>
                <a:lnTo>
                  <a:pt x="2961636" y="291572"/>
                </a:lnTo>
                <a:lnTo>
                  <a:pt x="2959032" y="292980"/>
                </a:lnTo>
                <a:lnTo>
                  <a:pt x="2951761" y="292980"/>
                </a:lnTo>
                <a:lnTo>
                  <a:pt x="2947855" y="291465"/>
                </a:lnTo>
                <a:lnTo>
                  <a:pt x="2945576" y="291465"/>
                </a:lnTo>
                <a:lnTo>
                  <a:pt x="2941126" y="295037"/>
                </a:lnTo>
                <a:lnTo>
                  <a:pt x="2937546" y="295037"/>
                </a:lnTo>
                <a:lnTo>
                  <a:pt x="2936026" y="292330"/>
                </a:lnTo>
                <a:lnTo>
                  <a:pt x="2931685" y="289082"/>
                </a:lnTo>
                <a:lnTo>
                  <a:pt x="2929081" y="289082"/>
                </a:lnTo>
                <a:lnTo>
                  <a:pt x="2926694" y="291356"/>
                </a:lnTo>
                <a:lnTo>
                  <a:pt x="2924415" y="291356"/>
                </a:lnTo>
                <a:lnTo>
                  <a:pt x="2921702" y="289407"/>
                </a:lnTo>
                <a:lnTo>
                  <a:pt x="2918989" y="289407"/>
                </a:lnTo>
                <a:lnTo>
                  <a:pt x="2916928" y="288757"/>
                </a:lnTo>
                <a:lnTo>
                  <a:pt x="2916928" y="283127"/>
                </a:lnTo>
                <a:lnTo>
                  <a:pt x="2916928" y="280420"/>
                </a:lnTo>
                <a:lnTo>
                  <a:pt x="2915733" y="279555"/>
                </a:lnTo>
                <a:lnTo>
                  <a:pt x="2915733" y="276956"/>
                </a:lnTo>
                <a:lnTo>
                  <a:pt x="2916710" y="274032"/>
                </a:lnTo>
                <a:lnTo>
                  <a:pt x="2919966" y="272516"/>
                </a:lnTo>
                <a:lnTo>
                  <a:pt x="2922571" y="269268"/>
                </a:lnTo>
                <a:lnTo>
                  <a:pt x="2924307" y="266888"/>
                </a:lnTo>
                <a:lnTo>
                  <a:pt x="2926694" y="265804"/>
                </a:lnTo>
                <a:lnTo>
                  <a:pt x="2927345" y="263314"/>
                </a:lnTo>
                <a:lnTo>
                  <a:pt x="2925717" y="261474"/>
                </a:lnTo>
                <a:lnTo>
                  <a:pt x="2925717" y="258658"/>
                </a:lnTo>
                <a:lnTo>
                  <a:pt x="2927237" y="256709"/>
                </a:lnTo>
                <a:lnTo>
                  <a:pt x="2930709" y="256709"/>
                </a:lnTo>
                <a:lnTo>
                  <a:pt x="2935050" y="254544"/>
                </a:lnTo>
                <a:lnTo>
                  <a:pt x="2937546" y="252271"/>
                </a:lnTo>
                <a:lnTo>
                  <a:pt x="2937546" y="249563"/>
                </a:lnTo>
                <a:lnTo>
                  <a:pt x="2944816" y="247182"/>
                </a:lnTo>
                <a:lnTo>
                  <a:pt x="2947312" y="243825"/>
                </a:lnTo>
                <a:lnTo>
                  <a:pt x="2950459" y="242309"/>
                </a:lnTo>
                <a:lnTo>
                  <a:pt x="2957296" y="242309"/>
                </a:lnTo>
                <a:lnTo>
                  <a:pt x="2960226" y="241335"/>
                </a:lnTo>
                <a:lnTo>
                  <a:pt x="2959358" y="240252"/>
                </a:lnTo>
                <a:lnTo>
                  <a:pt x="2956644" y="239277"/>
                </a:lnTo>
                <a:lnTo>
                  <a:pt x="2956644" y="236896"/>
                </a:lnTo>
                <a:lnTo>
                  <a:pt x="2959141" y="235921"/>
                </a:lnTo>
                <a:lnTo>
                  <a:pt x="2963589" y="235921"/>
                </a:lnTo>
                <a:lnTo>
                  <a:pt x="2964241" y="237762"/>
                </a:lnTo>
                <a:lnTo>
                  <a:pt x="2966194" y="237004"/>
                </a:lnTo>
                <a:lnTo>
                  <a:pt x="2971620" y="230941"/>
                </a:lnTo>
                <a:lnTo>
                  <a:pt x="2971620" y="227909"/>
                </a:lnTo>
                <a:lnTo>
                  <a:pt x="2973139" y="224229"/>
                </a:lnTo>
                <a:lnTo>
                  <a:pt x="2977805" y="221305"/>
                </a:lnTo>
                <a:lnTo>
                  <a:pt x="2981386" y="220330"/>
                </a:lnTo>
                <a:lnTo>
                  <a:pt x="2984642" y="216433"/>
                </a:lnTo>
                <a:lnTo>
                  <a:pt x="2987897" y="216433"/>
                </a:lnTo>
                <a:lnTo>
                  <a:pt x="2990176" y="215350"/>
                </a:lnTo>
                <a:lnTo>
                  <a:pt x="2991587" y="216866"/>
                </a:lnTo>
                <a:lnTo>
                  <a:pt x="2992780" y="221630"/>
                </a:lnTo>
                <a:lnTo>
                  <a:pt x="2992780" y="229858"/>
                </a:lnTo>
                <a:lnTo>
                  <a:pt x="2994083" y="233323"/>
                </a:lnTo>
                <a:lnTo>
                  <a:pt x="2994083" y="239819"/>
                </a:lnTo>
                <a:lnTo>
                  <a:pt x="2992998" y="248914"/>
                </a:lnTo>
                <a:lnTo>
                  <a:pt x="2994842" y="248914"/>
                </a:lnTo>
                <a:lnTo>
                  <a:pt x="2996687" y="245990"/>
                </a:lnTo>
                <a:lnTo>
                  <a:pt x="2997664" y="238412"/>
                </a:lnTo>
                <a:lnTo>
                  <a:pt x="2995819" y="231698"/>
                </a:lnTo>
                <a:lnTo>
                  <a:pt x="2995819" y="227368"/>
                </a:lnTo>
                <a:lnTo>
                  <a:pt x="2996579" y="224012"/>
                </a:lnTo>
                <a:lnTo>
                  <a:pt x="2996579" y="217949"/>
                </a:lnTo>
                <a:lnTo>
                  <a:pt x="2999074" y="216433"/>
                </a:lnTo>
                <a:lnTo>
                  <a:pt x="3001787" y="216433"/>
                </a:lnTo>
                <a:lnTo>
                  <a:pt x="3002872" y="214267"/>
                </a:lnTo>
                <a:lnTo>
                  <a:pt x="3005152" y="212426"/>
                </a:lnTo>
                <a:lnTo>
                  <a:pt x="3006996" y="212426"/>
                </a:lnTo>
                <a:lnTo>
                  <a:pt x="3007647" y="215350"/>
                </a:lnTo>
                <a:lnTo>
                  <a:pt x="3009058" y="217407"/>
                </a:lnTo>
                <a:lnTo>
                  <a:pt x="3011120" y="217407"/>
                </a:lnTo>
                <a:lnTo>
                  <a:pt x="3012856" y="218706"/>
                </a:lnTo>
                <a:lnTo>
                  <a:pt x="3012856" y="221955"/>
                </a:lnTo>
                <a:lnTo>
                  <a:pt x="3013833" y="224445"/>
                </a:lnTo>
                <a:lnTo>
                  <a:pt x="3017631" y="226610"/>
                </a:lnTo>
                <a:lnTo>
                  <a:pt x="3024576" y="225852"/>
                </a:lnTo>
                <a:lnTo>
                  <a:pt x="3026095" y="224769"/>
                </a:lnTo>
                <a:lnTo>
                  <a:pt x="3029677" y="224769"/>
                </a:lnTo>
                <a:lnTo>
                  <a:pt x="3030327" y="222280"/>
                </a:lnTo>
                <a:lnTo>
                  <a:pt x="3029025" y="219465"/>
                </a:lnTo>
                <a:lnTo>
                  <a:pt x="3030327" y="216758"/>
                </a:lnTo>
                <a:lnTo>
                  <a:pt x="3032606" y="214916"/>
                </a:lnTo>
                <a:lnTo>
                  <a:pt x="3033583" y="210478"/>
                </a:lnTo>
                <a:lnTo>
                  <a:pt x="3034668" y="208854"/>
                </a:lnTo>
                <a:lnTo>
                  <a:pt x="3039009" y="208854"/>
                </a:lnTo>
                <a:lnTo>
                  <a:pt x="3045520" y="205064"/>
                </a:lnTo>
                <a:lnTo>
                  <a:pt x="3047690" y="201166"/>
                </a:lnTo>
                <a:lnTo>
                  <a:pt x="3047690" y="195429"/>
                </a:lnTo>
                <a:lnTo>
                  <a:pt x="3045302" y="194561"/>
                </a:lnTo>
                <a:lnTo>
                  <a:pt x="3043458" y="194561"/>
                </a:lnTo>
                <a:lnTo>
                  <a:pt x="3042807" y="192722"/>
                </a:lnTo>
                <a:lnTo>
                  <a:pt x="3043566" y="190340"/>
                </a:lnTo>
                <a:lnTo>
                  <a:pt x="3046930" y="186117"/>
                </a:lnTo>
                <a:lnTo>
                  <a:pt x="3047582" y="181136"/>
                </a:lnTo>
                <a:lnTo>
                  <a:pt x="3046822" y="177239"/>
                </a:lnTo>
                <a:lnTo>
                  <a:pt x="3048341" y="171500"/>
                </a:lnTo>
                <a:lnTo>
                  <a:pt x="3051380" y="168901"/>
                </a:lnTo>
                <a:lnTo>
                  <a:pt x="3057782" y="167603"/>
                </a:lnTo>
                <a:lnTo>
                  <a:pt x="3063425" y="164788"/>
                </a:lnTo>
                <a:lnTo>
                  <a:pt x="3069068" y="162838"/>
                </a:lnTo>
                <a:lnTo>
                  <a:pt x="3070804" y="163921"/>
                </a:lnTo>
                <a:lnTo>
                  <a:pt x="3071455" y="166519"/>
                </a:lnTo>
                <a:lnTo>
                  <a:pt x="3071455" y="170526"/>
                </a:lnTo>
                <a:lnTo>
                  <a:pt x="3076229" y="177022"/>
                </a:lnTo>
                <a:lnTo>
                  <a:pt x="3076229" y="181028"/>
                </a:lnTo>
                <a:lnTo>
                  <a:pt x="3075470" y="189473"/>
                </a:lnTo>
                <a:lnTo>
                  <a:pt x="3075470" y="198351"/>
                </a:lnTo>
                <a:lnTo>
                  <a:pt x="3077966" y="200192"/>
                </a:lnTo>
                <a:lnTo>
                  <a:pt x="3083609" y="205930"/>
                </a:lnTo>
                <a:lnTo>
                  <a:pt x="3085888" y="210045"/>
                </a:lnTo>
                <a:lnTo>
                  <a:pt x="3088058" y="211884"/>
                </a:lnTo>
                <a:lnTo>
                  <a:pt x="3088926" y="210370"/>
                </a:lnTo>
                <a:lnTo>
                  <a:pt x="3087841" y="202141"/>
                </a:lnTo>
                <a:lnTo>
                  <a:pt x="3087841" y="197811"/>
                </a:lnTo>
                <a:lnTo>
                  <a:pt x="3082415" y="190015"/>
                </a:lnTo>
                <a:lnTo>
                  <a:pt x="3081764" y="183519"/>
                </a:lnTo>
                <a:lnTo>
                  <a:pt x="3084477" y="177022"/>
                </a:lnTo>
                <a:lnTo>
                  <a:pt x="3085128" y="173233"/>
                </a:lnTo>
                <a:lnTo>
                  <a:pt x="3083826" y="171068"/>
                </a:lnTo>
                <a:lnTo>
                  <a:pt x="3081872" y="166845"/>
                </a:lnTo>
                <a:lnTo>
                  <a:pt x="3081872" y="163164"/>
                </a:lnTo>
                <a:lnTo>
                  <a:pt x="3079919" y="159916"/>
                </a:lnTo>
                <a:lnTo>
                  <a:pt x="3081004" y="157642"/>
                </a:lnTo>
                <a:lnTo>
                  <a:pt x="3085345" y="154285"/>
                </a:lnTo>
                <a:lnTo>
                  <a:pt x="3089903" y="154285"/>
                </a:lnTo>
                <a:lnTo>
                  <a:pt x="3093050" y="155368"/>
                </a:lnTo>
                <a:lnTo>
                  <a:pt x="3096523" y="153853"/>
                </a:lnTo>
                <a:lnTo>
                  <a:pt x="3100104" y="153853"/>
                </a:lnTo>
                <a:lnTo>
                  <a:pt x="3106289" y="155801"/>
                </a:lnTo>
                <a:lnTo>
                  <a:pt x="3116164" y="155801"/>
                </a:lnTo>
                <a:lnTo>
                  <a:pt x="3124845" y="152228"/>
                </a:lnTo>
                <a:lnTo>
                  <a:pt x="3133744" y="152228"/>
                </a:lnTo>
                <a:lnTo>
                  <a:pt x="3136456" y="154827"/>
                </a:lnTo>
                <a:lnTo>
                  <a:pt x="3137324" y="159158"/>
                </a:lnTo>
                <a:lnTo>
                  <a:pt x="3137324" y="163056"/>
                </a:lnTo>
                <a:lnTo>
                  <a:pt x="3137324" y="164788"/>
                </a:lnTo>
                <a:lnTo>
                  <a:pt x="3141231" y="164788"/>
                </a:lnTo>
                <a:lnTo>
                  <a:pt x="3143294" y="160998"/>
                </a:lnTo>
                <a:lnTo>
                  <a:pt x="3140906" y="158291"/>
                </a:lnTo>
                <a:lnTo>
                  <a:pt x="3140906" y="154177"/>
                </a:lnTo>
                <a:lnTo>
                  <a:pt x="3147416" y="148654"/>
                </a:lnTo>
                <a:lnTo>
                  <a:pt x="3150998" y="150171"/>
                </a:lnTo>
                <a:lnTo>
                  <a:pt x="3154145" y="153095"/>
                </a:lnTo>
                <a:lnTo>
                  <a:pt x="3155230" y="158725"/>
                </a:lnTo>
                <a:lnTo>
                  <a:pt x="3157509" y="160998"/>
                </a:lnTo>
                <a:lnTo>
                  <a:pt x="3158377" y="157425"/>
                </a:lnTo>
                <a:lnTo>
                  <a:pt x="3158377" y="151037"/>
                </a:lnTo>
                <a:lnTo>
                  <a:pt x="3154904" y="147897"/>
                </a:lnTo>
                <a:lnTo>
                  <a:pt x="3153819" y="144758"/>
                </a:lnTo>
                <a:lnTo>
                  <a:pt x="3155555" y="143242"/>
                </a:lnTo>
                <a:lnTo>
                  <a:pt x="3159354" y="143891"/>
                </a:lnTo>
                <a:lnTo>
                  <a:pt x="3163477" y="145623"/>
                </a:lnTo>
                <a:lnTo>
                  <a:pt x="3167384" y="142918"/>
                </a:lnTo>
                <a:lnTo>
                  <a:pt x="3171725" y="141942"/>
                </a:lnTo>
                <a:lnTo>
                  <a:pt x="3178561" y="142809"/>
                </a:lnTo>
                <a:lnTo>
                  <a:pt x="3179755" y="145732"/>
                </a:lnTo>
                <a:lnTo>
                  <a:pt x="3179104" y="156558"/>
                </a:lnTo>
                <a:lnTo>
                  <a:pt x="3177042" y="162947"/>
                </a:lnTo>
                <a:lnTo>
                  <a:pt x="3177042" y="167278"/>
                </a:lnTo>
                <a:lnTo>
                  <a:pt x="3173786" y="174857"/>
                </a:lnTo>
                <a:lnTo>
                  <a:pt x="3171725" y="179297"/>
                </a:lnTo>
                <a:lnTo>
                  <a:pt x="3171725" y="182544"/>
                </a:lnTo>
                <a:lnTo>
                  <a:pt x="3170314" y="185684"/>
                </a:lnTo>
                <a:lnTo>
                  <a:pt x="3167166" y="186766"/>
                </a:lnTo>
                <a:lnTo>
                  <a:pt x="3165756" y="189040"/>
                </a:lnTo>
                <a:lnTo>
                  <a:pt x="3168360" y="191314"/>
                </a:lnTo>
                <a:lnTo>
                  <a:pt x="3168360" y="193912"/>
                </a:lnTo>
                <a:lnTo>
                  <a:pt x="3166841" y="197702"/>
                </a:lnTo>
                <a:lnTo>
                  <a:pt x="3163260" y="201275"/>
                </a:lnTo>
                <a:lnTo>
                  <a:pt x="3160981" y="206797"/>
                </a:lnTo>
                <a:lnTo>
                  <a:pt x="3156641" y="209286"/>
                </a:lnTo>
                <a:lnTo>
                  <a:pt x="3155013" y="211777"/>
                </a:lnTo>
                <a:lnTo>
                  <a:pt x="3154253" y="216433"/>
                </a:lnTo>
                <a:lnTo>
                  <a:pt x="3151540" y="220980"/>
                </a:lnTo>
                <a:lnTo>
                  <a:pt x="3150455" y="225419"/>
                </a:lnTo>
                <a:lnTo>
                  <a:pt x="3151323" y="227044"/>
                </a:lnTo>
                <a:lnTo>
                  <a:pt x="3154036" y="227044"/>
                </a:lnTo>
                <a:lnTo>
                  <a:pt x="3157400" y="221846"/>
                </a:lnTo>
                <a:lnTo>
                  <a:pt x="3159896" y="219680"/>
                </a:lnTo>
                <a:lnTo>
                  <a:pt x="3159896" y="217082"/>
                </a:lnTo>
                <a:lnTo>
                  <a:pt x="3163477" y="213401"/>
                </a:lnTo>
                <a:lnTo>
                  <a:pt x="3167818" y="206905"/>
                </a:lnTo>
                <a:lnTo>
                  <a:pt x="3169771" y="202899"/>
                </a:lnTo>
                <a:lnTo>
                  <a:pt x="3172593" y="201708"/>
                </a:lnTo>
                <a:lnTo>
                  <a:pt x="3174654" y="199867"/>
                </a:lnTo>
                <a:lnTo>
                  <a:pt x="3176174" y="196619"/>
                </a:lnTo>
                <a:lnTo>
                  <a:pt x="3176174" y="193372"/>
                </a:lnTo>
                <a:lnTo>
                  <a:pt x="3178778" y="191314"/>
                </a:lnTo>
                <a:lnTo>
                  <a:pt x="3181057" y="187849"/>
                </a:lnTo>
                <a:lnTo>
                  <a:pt x="3183987" y="184817"/>
                </a:lnTo>
                <a:lnTo>
                  <a:pt x="3185615" y="188066"/>
                </a:lnTo>
                <a:lnTo>
                  <a:pt x="3185615" y="191747"/>
                </a:lnTo>
                <a:lnTo>
                  <a:pt x="3188328" y="194670"/>
                </a:lnTo>
                <a:lnTo>
                  <a:pt x="3189630" y="198459"/>
                </a:lnTo>
                <a:lnTo>
                  <a:pt x="3190606" y="204090"/>
                </a:lnTo>
                <a:lnTo>
                  <a:pt x="3194296" y="208962"/>
                </a:lnTo>
                <a:lnTo>
                  <a:pt x="3194296" y="215133"/>
                </a:lnTo>
                <a:lnTo>
                  <a:pt x="3196792" y="217082"/>
                </a:lnTo>
                <a:lnTo>
                  <a:pt x="3199939" y="217082"/>
                </a:lnTo>
                <a:lnTo>
                  <a:pt x="3201458" y="218489"/>
                </a:lnTo>
                <a:lnTo>
                  <a:pt x="3203411" y="218489"/>
                </a:lnTo>
                <a:lnTo>
                  <a:pt x="3204171" y="216866"/>
                </a:lnTo>
                <a:lnTo>
                  <a:pt x="3205256" y="214809"/>
                </a:lnTo>
                <a:lnTo>
                  <a:pt x="3205256" y="212535"/>
                </a:lnTo>
                <a:lnTo>
                  <a:pt x="3202109" y="209719"/>
                </a:lnTo>
                <a:lnTo>
                  <a:pt x="3201241" y="206580"/>
                </a:lnTo>
                <a:lnTo>
                  <a:pt x="3202001" y="205497"/>
                </a:lnTo>
                <a:lnTo>
                  <a:pt x="3204171" y="205497"/>
                </a:lnTo>
                <a:lnTo>
                  <a:pt x="3207427" y="208312"/>
                </a:lnTo>
                <a:lnTo>
                  <a:pt x="3212418" y="208962"/>
                </a:lnTo>
                <a:lnTo>
                  <a:pt x="3215239" y="210370"/>
                </a:lnTo>
                <a:lnTo>
                  <a:pt x="3215891" y="211777"/>
                </a:lnTo>
                <a:lnTo>
                  <a:pt x="3219363" y="212535"/>
                </a:lnTo>
                <a:lnTo>
                  <a:pt x="3221208" y="210586"/>
                </a:lnTo>
                <a:lnTo>
                  <a:pt x="3222836" y="211235"/>
                </a:lnTo>
                <a:lnTo>
                  <a:pt x="3224463" y="212968"/>
                </a:lnTo>
                <a:lnTo>
                  <a:pt x="3226417" y="211777"/>
                </a:lnTo>
                <a:lnTo>
                  <a:pt x="3226417" y="203549"/>
                </a:lnTo>
                <a:lnTo>
                  <a:pt x="3225548" y="199542"/>
                </a:lnTo>
                <a:lnTo>
                  <a:pt x="3227285" y="193046"/>
                </a:lnTo>
                <a:lnTo>
                  <a:pt x="3228153" y="186442"/>
                </a:lnTo>
                <a:lnTo>
                  <a:pt x="3225983" y="183735"/>
                </a:lnTo>
                <a:lnTo>
                  <a:pt x="3224572" y="177455"/>
                </a:lnTo>
                <a:lnTo>
                  <a:pt x="3224572" y="172150"/>
                </a:lnTo>
                <a:lnTo>
                  <a:pt x="3228153" y="163705"/>
                </a:lnTo>
                <a:lnTo>
                  <a:pt x="3228804" y="160673"/>
                </a:lnTo>
                <a:lnTo>
                  <a:pt x="3227828" y="157966"/>
                </a:lnTo>
                <a:lnTo>
                  <a:pt x="3229021" y="155692"/>
                </a:lnTo>
                <a:lnTo>
                  <a:pt x="3229021" y="149738"/>
                </a:lnTo>
                <a:lnTo>
                  <a:pt x="3231626" y="147356"/>
                </a:lnTo>
                <a:lnTo>
                  <a:pt x="3235532" y="146707"/>
                </a:lnTo>
                <a:lnTo>
                  <a:pt x="3238245" y="148872"/>
                </a:lnTo>
                <a:lnTo>
                  <a:pt x="3242152" y="149521"/>
                </a:lnTo>
                <a:lnTo>
                  <a:pt x="3245298" y="150496"/>
                </a:lnTo>
                <a:lnTo>
                  <a:pt x="3246601" y="153528"/>
                </a:lnTo>
                <a:lnTo>
                  <a:pt x="3250073" y="155476"/>
                </a:lnTo>
                <a:lnTo>
                  <a:pt x="3252244" y="159699"/>
                </a:lnTo>
                <a:lnTo>
                  <a:pt x="3256151" y="169119"/>
                </a:lnTo>
                <a:lnTo>
                  <a:pt x="3256151" y="173449"/>
                </a:lnTo>
                <a:lnTo>
                  <a:pt x="3260600" y="180379"/>
                </a:lnTo>
                <a:lnTo>
                  <a:pt x="3263313" y="185684"/>
                </a:lnTo>
                <a:lnTo>
                  <a:pt x="3264181" y="196511"/>
                </a:lnTo>
                <a:lnTo>
                  <a:pt x="3263530" y="198784"/>
                </a:lnTo>
                <a:lnTo>
                  <a:pt x="3261142" y="201383"/>
                </a:lnTo>
                <a:lnTo>
                  <a:pt x="3261142" y="205064"/>
                </a:lnTo>
                <a:lnTo>
                  <a:pt x="3262010" y="209937"/>
                </a:lnTo>
                <a:lnTo>
                  <a:pt x="3264289" y="212101"/>
                </a:lnTo>
                <a:lnTo>
                  <a:pt x="3267328" y="219897"/>
                </a:lnTo>
                <a:lnTo>
                  <a:pt x="3266459" y="225094"/>
                </a:lnTo>
                <a:lnTo>
                  <a:pt x="3266459" y="229317"/>
                </a:lnTo>
                <a:lnTo>
                  <a:pt x="3268413" y="232781"/>
                </a:lnTo>
                <a:lnTo>
                  <a:pt x="3272428" y="232781"/>
                </a:lnTo>
                <a:lnTo>
                  <a:pt x="3277529" y="236571"/>
                </a:lnTo>
                <a:lnTo>
                  <a:pt x="3281327" y="236571"/>
                </a:lnTo>
                <a:lnTo>
                  <a:pt x="3286427" y="234623"/>
                </a:lnTo>
                <a:lnTo>
                  <a:pt x="3289899" y="228451"/>
                </a:lnTo>
                <a:lnTo>
                  <a:pt x="3291961" y="226069"/>
                </a:lnTo>
                <a:lnTo>
                  <a:pt x="3292721" y="226935"/>
                </a:lnTo>
                <a:lnTo>
                  <a:pt x="3292721" y="230941"/>
                </a:lnTo>
                <a:lnTo>
                  <a:pt x="3293697" y="233323"/>
                </a:lnTo>
                <a:lnTo>
                  <a:pt x="3295650" y="233323"/>
                </a:lnTo>
                <a:lnTo>
                  <a:pt x="3298363" y="232132"/>
                </a:lnTo>
                <a:lnTo>
                  <a:pt x="3301510" y="233647"/>
                </a:lnTo>
                <a:lnTo>
                  <a:pt x="3302813" y="236030"/>
                </a:lnTo>
                <a:lnTo>
                  <a:pt x="3302813" y="239169"/>
                </a:lnTo>
                <a:lnTo>
                  <a:pt x="3304766" y="241768"/>
                </a:lnTo>
                <a:lnTo>
                  <a:pt x="3308130" y="241768"/>
                </a:lnTo>
                <a:lnTo>
                  <a:pt x="3310734" y="242851"/>
                </a:lnTo>
                <a:lnTo>
                  <a:pt x="3315509" y="242851"/>
                </a:lnTo>
                <a:lnTo>
                  <a:pt x="3316702" y="241443"/>
                </a:lnTo>
                <a:lnTo>
                  <a:pt x="3315184" y="240361"/>
                </a:lnTo>
                <a:lnTo>
                  <a:pt x="3310734" y="237762"/>
                </a:lnTo>
                <a:lnTo>
                  <a:pt x="3309215" y="234623"/>
                </a:lnTo>
                <a:lnTo>
                  <a:pt x="3309215" y="230616"/>
                </a:lnTo>
                <a:lnTo>
                  <a:pt x="3306068" y="230616"/>
                </a:lnTo>
                <a:lnTo>
                  <a:pt x="3304332" y="228667"/>
                </a:lnTo>
                <a:lnTo>
                  <a:pt x="3304332" y="224012"/>
                </a:lnTo>
                <a:lnTo>
                  <a:pt x="3302270" y="220439"/>
                </a:lnTo>
                <a:lnTo>
                  <a:pt x="3297387" y="216541"/>
                </a:lnTo>
                <a:lnTo>
                  <a:pt x="3297387" y="213727"/>
                </a:lnTo>
                <a:lnTo>
                  <a:pt x="3295867" y="207771"/>
                </a:lnTo>
                <a:lnTo>
                  <a:pt x="3293154" y="203765"/>
                </a:lnTo>
                <a:lnTo>
                  <a:pt x="3293154" y="200949"/>
                </a:lnTo>
                <a:lnTo>
                  <a:pt x="3294240" y="194778"/>
                </a:lnTo>
                <a:lnTo>
                  <a:pt x="3293154" y="190555"/>
                </a:lnTo>
                <a:lnTo>
                  <a:pt x="3289682" y="184493"/>
                </a:lnTo>
                <a:lnTo>
                  <a:pt x="3289682" y="180271"/>
                </a:lnTo>
                <a:lnTo>
                  <a:pt x="3290550" y="178213"/>
                </a:lnTo>
                <a:lnTo>
                  <a:pt x="3289248" y="172042"/>
                </a:lnTo>
                <a:lnTo>
                  <a:pt x="3287729" y="169768"/>
                </a:lnTo>
                <a:lnTo>
                  <a:pt x="3288380" y="164788"/>
                </a:lnTo>
                <a:lnTo>
                  <a:pt x="3285775" y="158725"/>
                </a:lnTo>
                <a:lnTo>
                  <a:pt x="3283496" y="154069"/>
                </a:lnTo>
                <a:lnTo>
                  <a:pt x="3285341" y="150496"/>
                </a:lnTo>
                <a:lnTo>
                  <a:pt x="3283063" y="145515"/>
                </a:lnTo>
                <a:lnTo>
                  <a:pt x="3283063" y="140860"/>
                </a:lnTo>
                <a:lnTo>
                  <a:pt x="3284799" y="138586"/>
                </a:lnTo>
                <a:lnTo>
                  <a:pt x="3292721" y="139993"/>
                </a:lnTo>
                <a:lnTo>
                  <a:pt x="3294457" y="143133"/>
                </a:lnTo>
                <a:lnTo>
                  <a:pt x="3296735" y="143133"/>
                </a:lnTo>
                <a:lnTo>
                  <a:pt x="3298472" y="140752"/>
                </a:lnTo>
                <a:lnTo>
                  <a:pt x="3300751" y="140752"/>
                </a:lnTo>
                <a:lnTo>
                  <a:pt x="3308130" y="149196"/>
                </a:lnTo>
                <a:lnTo>
                  <a:pt x="3314641" y="152661"/>
                </a:lnTo>
                <a:lnTo>
                  <a:pt x="3317245" y="150820"/>
                </a:lnTo>
                <a:lnTo>
                  <a:pt x="3317245" y="146057"/>
                </a:lnTo>
                <a:lnTo>
                  <a:pt x="3315184" y="144000"/>
                </a:lnTo>
                <a:lnTo>
                  <a:pt x="3317462" y="136963"/>
                </a:lnTo>
                <a:lnTo>
                  <a:pt x="3320067" y="136963"/>
                </a:lnTo>
                <a:lnTo>
                  <a:pt x="3323865" y="138369"/>
                </a:lnTo>
                <a:lnTo>
                  <a:pt x="3329074" y="137287"/>
                </a:lnTo>
                <a:lnTo>
                  <a:pt x="3333197" y="134689"/>
                </a:lnTo>
                <a:lnTo>
                  <a:pt x="3337647" y="135663"/>
                </a:lnTo>
                <a:lnTo>
                  <a:pt x="3340902" y="138044"/>
                </a:lnTo>
                <a:lnTo>
                  <a:pt x="3344483" y="139020"/>
                </a:lnTo>
                <a:lnTo>
                  <a:pt x="3346762" y="141076"/>
                </a:lnTo>
                <a:lnTo>
                  <a:pt x="3349149" y="147897"/>
                </a:lnTo>
                <a:lnTo>
                  <a:pt x="3349149" y="150820"/>
                </a:lnTo>
                <a:lnTo>
                  <a:pt x="3353490" y="155584"/>
                </a:lnTo>
                <a:lnTo>
                  <a:pt x="3353490" y="160024"/>
                </a:lnTo>
                <a:lnTo>
                  <a:pt x="3351754" y="163813"/>
                </a:lnTo>
                <a:lnTo>
                  <a:pt x="3354358" y="172583"/>
                </a:lnTo>
                <a:lnTo>
                  <a:pt x="3354358" y="177780"/>
                </a:lnTo>
                <a:lnTo>
                  <a:pt x="3355769" y="180920"/>
                </a:lnTo>
                <a:lnTo>
                  <a:pt x="3359350" y="183301"/>
                </a:lnTo>
                <a:lnTo>
                  <a:pt x="3365535" y="183301"/>
                </a:lnTo>
                <a:lnTo>
                  <a:pt x="3371504" y="186874"/>
                </a:lnTo>
                <a:lnTo>
                  <a:pt x="3377038" y="190989"/>
                </a:lnTo>
                <a:lnTo>
                  <a:pt x="3375844" y="187524"/>
                </a:lnTo>
                <a:lnTo>
                  <a:pt x="3375844" y="185792"/>
                </a:lnTo>
                <a:lnTo>
                  <a:pt x="3370636" y="182869"/>
                </a:lnTo>
                <a:lnTo>
                  <a:pt x="3367922" y="179404"/>
                </a:lnTo>
                <a:lnTo>
                  <a:pt x="3364341" y="179404"/>
                </a:lnTo>
                <a:lnTo>
                  <a:pt x="3359675" y="176481"/>
                </a:lnTo>
                <a:lnTo>
                  <a:pt x="3359024" y="173557"/>
                </a:lnTo>
                <a:lnTo>
                  <a:pt x="3359024" y="168252"/>
                </a:lnTo>
                <a:lnTo>
                  <a:pt x="3356094" y="163488"/>
                </a:lnTo>
                <a:lnTo>
                  <a:pt x="3356094" y="160240"/>
                </a:lnTo>
                <a:lnTo>
                  <a:pt x="3358373" y="153744"/>
                </a:lnTo>
                <a:lnTo>
                  <a:pt x="3357722" y="148764"/>
                </a:lnTo>
                <a:lnTo>
                  <a:pt x="3357722" y="145515"/>
                </a:lnTo>
                <a:lnTo>
                  <a:pt x="3358698" y="143458"/>
                </a:lnTo>
                <a:lnTo>
                  <a:pt x="3356420" y="140210"/>
                </a:lnTo>
                <a:lnTo>
                  <a:pt x="3352405" y="138369"/>
                </a:lnTo>
                <a:lnTo>
                  <a:pt x="3347196" y="131440"/>
                </a:lnTo>
                <a:lnTo>
                  <a:pt x="3344266" y="131440"/>
                </a:lnTo>
                <a:lnTo>
                  <a:pt x="3339817" y="131440"/>
                </a:lnTo>
                <a:lnTo>
                  <a:pt x="3336236" y="133389"/>
                </a:lnTo>
                <a:lnTo>
                  <a:pt x="3333306" y="134255"/>
                </a:lnTo>
                <a:lnTo>
                  <a:pt x="3328314" y="131007"/>
                </a:lnTo>
                <a:lnTo>
                  <a:pt x="3328314" y="125485"/>
                </a:lnTo>
                <a:lnTo>
                  <a:pt x="3330592" y="120505"/>
                </a:lnTo>
                <a:lnTo>
                  <a:pt x="3334391" y="120505"/>
                </a:lnTo>
                <a:lnTo>
                  <a:pt x="3334391" y="118231"/>
                </a:lnTo>
                <a:lnTo>
                  <a:pt x="3327988" y="113467"/>
                </a:lnTo>
                <a:lnTo>
                  <a:pt x="3327012" y="108487"/>
                </a:lnTo>
                <a:lnTo>
                  <a:pt x="3327988" y="104698"/>
                </a:lnTo>
                <a:lnTo>
                  <a:pt x="3329074" y="100908"/>
                </a:lnTo>
                <a:lnTo>
                  <a:pt x="3331136" y="100908"/>
                </a:lnTo>
                <a:lnTo>
                  <a:pt x="3334717" y="104373"/>
                </a:lnTo>
                <a:lnTo>
                  <a:pt x="3337321" y="109136"/>
                </a:lnTo>
                <a:lnTo>
                  <a:pt x="3338840" y="109136"/>
                </a:lnTo>
                <a:lnTo>
                  <a:pt x="3343290" y="102207"/>
                </a:lnTo>
                <a:lnTo>
                  <a:pt x="3346870" y="100800"/>
                </a:lnTo>
                <a:lnTo>
                  <a:pt x="3351319" y="98526"/>
                </a:lnTo>
                <a:lnTo>
                  <a:pt x="3352405" y="95494"/>
                </a:lnTo>
                <a:lnTo>
                  <a:pt x="3356420" y="91055"/>
                </a:lnTo>
                <a:lnTo>
                  <a:pt x="3361086" y="90406"/>
                </a:lnTo>
                <a:lnTo>
                  <a:pt x="3357614" y="93113"/>
                </a:lnTo>
                <a:lnTo>
                  <a:pt x="3356420" y="96360"/>
                </a:lnTo>
                <a:lnTo>
                  <a:pt x="3357288" y="97876"/>
                </a:lnTo>
                <a:lnTo>
                  <a:pt x="3360869" y="96036"/>
                </a:lnTo>
                <a:lnTo>
                  <a:pt x="3365209" y="96036"/>
                </a:lnTo>
                <a:lnTo>
                  <a:pt x="3366729" y="97876"/>
                </a:lnTo>
                <a:lnTo>
                  <a:pt x="3367380" y="101449"/>
                </a:lnTo>
                <a:lnTo>
                  <a:pt x="3370527" y="103831"/>
                </a:lnTo>
                <a:lnTo>
                  <a:pt x="3370527" y="106214"/>
                </a:lnTo>
                <a:lnTo>
                  <a:pt x="3368248" y="109677"/>
                </a:lnTo>
                <a:lnTo>
                  <a:pt x="3369984" y="112601"/>
                </a:lnTo>
                <a:lnTo>
                  <a:pt x="3371937" y="109461"/>
                </a:lnTo>
                <a:lnTo>
                  <a:pt x="3375194" y="104156"/>
                </a:lnTo>
                <a:lnTo>
                  <a:pt x="3379968" y="106214"/>
                </a:lnTo>
                <a:lnTo>
                  <a:pt x="3383549" y="110111"/>
                </a:lnTo>
                <a:lnTo>
                  <a:pt x="3383549" y="113575"/>
                </a:lnTo>
                <a:lnTo>
                  <a:pt x="3386696" y="119639"/>
                </a:lnTo>
                <a:lnTo>
                  <a:pt x="3388433" y="125485"/>
                </a:lnTo>
                <a:lnTo>
                  <a:pt x="3388433" y="132198"/>
                </a:lnTo>
                <a:lnTo>
                  <a:pt x="3391362" y="128734"/>
                </a:lnTo>
                <a:lnTo>
                  <a:pt x="3391362" y="122887"/>
                </a:lnTo>
                <a:lnTo>
                  <a:pt x="3389518" y="119422"/>
                </a:lnTo>
                <a:lnTo>
                  <a:pt x="3388107" y="116715"/>
                </a:lnTo>
                <a:lnTo>
                  <a:pt x="3388107" y="112277"/>
                </a:lnTo>
                <a:lnTo>
                  <a:pt x="3387021" y="110220"/>
                </a:lnTo>
                <a:lnTo>
                  <a:pt x="3388107" y="108487"/>
                </a:lnTo>
                <a:lnTo>
                  <a:pt x="3390819" y="110760"/>
                </a:lnTo>
                <a:lnTo>
                  <a:pt x="3397873" y="116283"/>
                </a:lnTo>
                <a:lnTo>
                  <a:pt x="3402539" y="123536"/>
                </a:lnTo>
                <a:lnTo>
                  <a:pt x="3408183" y="126461"/>
                </a:lnTo>
                <a:lnTo>
                  <a:pt x="3413608" y="127434"/>
                </a:lnTo>
                <a:lnTo>
                  <a:pt x="3413608" y="125702"/>
                </a:lnTo>
                <a:lnTo>
                  <a:pt x="3410896" y="123320"/>
                </a:lnTo>
                <a:lnTo>
                  <a:pt x="3405578" y="121154"/>
                </a:lnTo>
                <a:lnTo>
                  <a:pt x="3401888" y="114550"/>
                </a:lnTo>
                <a:lnTo>
                  <a:pt x="3401020" y="108271"/>
                </a:lnTo>
                <a:lnTo>
                  <a:pt x="3402323" y="101991"/>
                </a:lnTo>
                <a:lnTo>
                  <a:pt x="3406771" y="101991"/>
                </a:lnTo>
                <a:lnTo>
                  <a:pt x="3411221" y="101991"/>
                </a:lnTo>
                <a:lnTo>
                  <a:pt x="3417515" y="105672"/>
                </a:lnTo>
                <a:lnTo>
                  <a:pt x="3422290" y="105672"/>
                </a:lnTo>
                <a:lnTo>
                  <a:pt x="3424026" y="103723"/>
                </a:lnTo>
                <a:lnTo>
                  <a:pt x="3422506" y="101341"/>
                </a:lnTo>
                <a:lnTo>
                  <a:pt x="3419360" y="100258"/>
                </a:lnTo>
                <a:lnTo>
                  <a:pt x="3419360" y="97876"/>
                </a:lnTo>
                <a:lnTo>
                  <a:pt x="3423375" y="92679"/>
                </a:lnTo>
                <a:lnTo>
                  <a:pt x="3426956" y="89540"/>
                </a:lnTo>
                <a:lnTo>
                  <a:pt x="3425653" y="87482"/>
                </a:lnTo>
                <a:lnTo>
                  <a:pt x="3423917" y="84667"/>
                </a:lnTo>
                <a:lnTo>
                  <a:pt x="3425219" y="80337"/>
                </a:lnTo>
                <a:lnTo>
                  <a:pt x="3428041" y="79688"/>
                </a:lnTo>
                <a:lnTo>
                  <a:pt x="3431079" y="80662"/>
                </a:lnTo>
                <a:lnTo>
                  <a:pt x="3433141" y="78063"/>
                </a:lnTo>
                <a:lnTo>
                  <a:pt x="3434009" y="73407"/>
                </a:lnTo>
                <a:lnTo>
                  <a:pt x="3435529" y="71567"/>
                </a:lnTo>
                <a:lnTo>
                  <a:pt x="3438242" y="72433"/>
                </a:lnTo>
                <a:lnTo>
                  <a:pt x="3440195" y="74166"/>
                </a:lnTo>
                <a:lnTo>
                  <a:pt x="3441931" y="74166"/>
                </a:lnTo>
                <a:lnTo>
                  <a:pt x="3444101" y="77522"/>
                </a:lnTo>
                <a:lnTo>
                  <a:pt x="3445621" y="82935"/>
                </a:lnTo>
                <a:lnTo>
                  <a:pt x="3448008" y="84667"/>
                </a:lnTo>
                <a:lnTo>
                  <a:pt x="3450504" y="83043"/>
                </a:lnTo>
                <a:lnTo>
                  <a:pt x="3450504" y="78063"/>
                </a:lnTo>
                <a:lnTo>
                  <a:pt x="3448984" y="74166"/>
                </a:lnTo>
                <a:lnTo>
                  <a:pt x="3448984" y="71025"/>
                </a:lnTo>
                <a:lnTo>
                  <a:pt x="3450829" y="68968"/>
                </a:lnTo>
                <a:close/>
                <a:moveTo>
                  <a:pt x="2941342" y="4872"/>
                </a:moveTo>
                <a:lnTo>
                  <a:pt x="2943621" y="8986"/>
                </a:lnTo>
                <a:lnTo>
                  <a:pt x="2939389" y="10610"/>
                </a:lnTo>
                <a:lnTo>
                  <a:pt x="2936677" y="9311"/>
                </a:lnTo>
                <a:lnTo>
                  <a:pt x="2938522" y="5197"/>
                </a:lnTo>
                <a:close/>
                <a:moveTo>
                  <a:pt x="2891317" y="0"/>
                </a:moveTo>
                <a:lnTo>
                  <a:pt x="2894573" y="2274"/>
                </a:lnTo>
                <a:lnTo>
                  <a:pt x="2897936" y="2382"/>
                </a:lnTo>
                <a:lnTo>
                  <a:pt x="2902386" y="4006"/>
                </a:lnTo>
                <a:lnTo>
                  <a:pt x="2908245" y="1516"/>
                </a:lnTo>
                <a:lnTo>
                  <a:pt x="2913780" y="3031"/>
                </a:lnTo>
                <a:lnTo>
                  <a:pt x="2915733" y="6821"/>
                </a:lnTo>
                <a:lnTo>
                  <a:pt x="2921810" y="8878"/>
                </a:lnTo>
                <a:lnTo>
                  <a:pt x="2927562" y="6929"/>
                </a:lnTo>
                <a:lnTo>
                  <a:pt x="2933313" y="11044"/>
                </a:lnTo>
                <a:lnTo>
                  <a:pt x="2934507" y="14833"/>
                </a:lnTo>
                <a:lnTo>
                  <a:pt x="2936351" y="17215"/>
                </a:lnTo>
                <a:lnTo>
                  <a:pt x="2937003" y="23061"/>
                </a:lnTo>
                <a:lnTo>
                  <a:pt x="2934507" y="28583"/>
                </a:lnTo>
                <a:lnTo>
                  <a:pt x="2935591" y="31182"/>
                </a:lnTo>
                <a:lnTo>
                  <a:pt x="2939390" y="30316"/>
                </a:lnTo>
                <a:lnTo>
                  <a:pt x="2944599" y="24361"/>
                </a:lnTo>
                <a:lnTo>
                  <a:pt x="2951869" y="19164"/>
                </a:lnTo>
                <a:lnTo>
                  <a:pt x="2955016" y="15267"/>
                </a:lnTo>
                <a:lnTo>
                  <a:pt x="2959682" y="15049"/>
                </a:lnTo>
                <a:lnTo>
                  <a:pt x="2965217" y="18298"/>
                </a:lnTo>
                <a:lnTo>
                  <a:pt x="2971185" y="18514"/>
                </a:lnTo>
                <a:lnTo>
                  <a:pt x="2970534" y="21655"/>
                </a:lnTo>
                <a:lnTo>
                  <a:pt x="2965325" y="26743"/>
                </a:lnTo>
                <a:lnTo>
                  <a:pt x="2968147" y="31182"/>
                </a:lnTo>
                <a:lnTo>
                  <a:pt x="2970317" y="29883"/>
                </a:lnTo>
                <a:lnTo>
                  <a:pt x="2971511" y="25552"/>
                </a:lnTo>
                <a:lnTo>
                  <a:pt x="2976719" y="21655"/>
                </a:lnTo>
                <a:lnTo>
                  <a:pt x="2981386" y="19814"/>
                </a:lnTo>
                <a:lnTo>
                  <a:pt x="2988765" y="23170"/>
                </a:lnTo>
                <a:lnTo>
                  <a:pt x="2997772" y="24902"/>
                </a:lnTo>
                <a:lnTo>
                  <a:pt x="3000702" y="28150"/>
                </a:lnTo>
                <a:lnTo>
                  <a:pt x="2998314" y="30641"/>
                </a:lnTo>
                <a:lnTo>
                  <a:pt x="2995819" y="31073"/>
                </a:lnTo>
                <a:lnTo>
                  <a:pt x="2997229" y="34646"/>
                </a:lnTo>
                <a:lnTo>
                  <a:pt x="2993756" y="37570"/>
                </a:lnTo>
                <a:lnTo>
                  <a:pt x="2996144" y="40710"/>
                </a:lnTo>
                <a:lnTo>
                  <a:pt x="2999183" y="38220"/>
                </a:lnTo>
                <a:lnTo>
                  <a:pt x="3003632" y="36271"/>
                </a:lnTo>
                <a:lnTo>
                  <a:pt x="3004500" y="41359"/>
                </a:lnTo>
                <a:lnTo>
                  <a:pt x="3007430" y="42550"/>
                </a:lnTo>
                <a:lnTo>
                  <a:pt x="3010143" y="38652"/>
                </a:lnTo>
                <a:lnTo>
                  <a:pt x="3017413" y="37570"/>
                </a:lnTo>
                <a:lnTo>
                  <a:pt x="3017739" y="41251"/>
                </a:lnTo>
                <a:lnTo>
                  <a:pt x="3015135" y="44066"/>
                </a:lnTo>
                <a:lnTo>
                  <a:pt x="3016220" y="47747"/>
                </a:lnTo>
                <a:lnTo>
                  <a:pt x="3019475" y="48613"/>
                </a:lnTo>
                <a:lnTo>
                  <a:pt x="3021320" y="46340"/>
                </a:lnTo>
                <a:lnTo>
                  <a:pt x="3025443" y="43633"/>
                </a:lnTo>
                <a:lnTo>
                  <a:pt x="3027505" y="43633"/>
                </a:lnTo>
                <a:lnTo>
                  <a:pt x="3029241" y="47422"/>
                </a:lnTo>
                <a:lnTo>
                  <a:pt x="3037489" y="52295"/>
                </a:lnTo>
                <a:lnTo>
                  <a:pt x="3042155" y="52295"/>
                </a:lnTo>
                <a:lnTo>
                  <a:pt x="3043566" y="54461"/>
                </a:lnTo>
                <a:lnTo>
                  <a:pt x="3041179" y="57275"/>
                </a:lnTo>
                <a:lnTo>
                  <a:pt x="3032172" y="61064"/>
                </a:lnTo>
                <a:lnTo>
                  <a:pt x="3027614" y="66912"/>
                </a:lnTo>
                <a:lnTo>
                  <a:pt x="3022079" y="67669"/>
                </a:lnTo>
                <a:lnTo>
                  <a:pt x="3015460" y="71242"/>
                </a:lnTo>
                <a:lnTo>
                  <a:pt x="3011879" y="71458"/>
                </a:lnTo>
                <a:lnTo>
                  <a:pt x="3008081" y="69726"/>
                </a:lnTo>
                <a:lnTo>
                  <a:pt x="3006019" y="72433"/>
                </a:lnTo>
                <a:lnTo>
                  <a:pt x="2999074" y="74491"/>
                </a:lnTo>
                <a:lnTo>
                  <a:pt x="3009166" y="73949"/>
                </a:lnTo>
                <a:lnTo>
                  <a:pt x="3018499" y="75248"/>
                </a:lnTo>
                <a:lnTo>
                  <a:pt x="3022079" y="77305"/>
                </a:lnTo>
                <a:lnTo>
                  <a:pt x="3025552" y="77305"/>
                </a:lnTo>
                <a:lnTo>
                  <a:pt x="3028265" y="73083"/>
                </a:lnTo>
                <a:lnTo>
                  <a:pt x="3030544" y="71350"/>
                </a:lnTo>
                <a:lnTo>
                  <a:pt x="3035427" y="71458"/>
                </a:lnTo>
                <a:lnTo>
                  <a:pt x="3038031" y="66803"/>
                </a:lnTo>
                <a:lnTo>
                  <a:pt x="3044651" y="63446"/>
                </a:lnTo>
                <a:lnTo>
                  <a:pt x="3050077" y="63014"/>
                </a:lnTo>
                <a:lnTo>
                  <a:pt x="3051271" y="66586"/>
                </a:lnTo>
                <a:lnTo>
                  <a:pt x="3048775" y="71783"/>
                </a:lnTo>
                <a:lnTo>
                  <a:pt x="3050728" y="74274"/>
                </a:lnTo>
                <a:lnTo>
                  <a:pt x="3052898" y="73083"/>
                </a:lnTo>
                <a:lnTo>
                  <a:pt x="3055394" y="67886"/>
                </a:lnTo>
                <a:lnTo>
                  <a:pt x="3060169" y="64421"/>
                </a:lnTo>
                <a:lnTo>
                  <a:pt x="3062122" y="66370"/>
                </a:lnTo>
                <a:lnTo>
                  <a:pt x="3059735" y="70593"/>
                </a:lnTo>
                <a:lnTo>
                  <a:pt x="3059626" y="73083"/>
                </a:lnTo>
                <a:lnTo>
                  <a:pt x="3057239" y="76222"/>
                </a:lnTo>
                <a:lnTo>
                  <a:pt x="3059192" y="78605"/>
                </a:lnTo>
                <a:lnTo>
                  <a:pt x="3062665" y="77305"/>
                </a:lnTo>
                <a:lnTo>
                  <a:pt x="3065160" y="74923"/>
                </a:lnTo>
                <a:lnTo>
                  <a:pt x="3065920" y="70809"/>
                </a:lnTo>
                <a:lnTo>
                  <a:pt x="3071238" y="69618"/>
                </a:lnTo>
                <a:lnTo>
                  <a:pt x="3075144" y="70809"/>
                </a:lnTo>
                <a:lnTo>
                  <a:pt x="3072540" y="80770"/>
                </a:lnTo>
                <a:lnTo>
                  <a:pt x="3069393" y="82503"/>
                </a:lnTo>
                <a:lnTo>
                  <a:pt x="3071455" y="83801"/>
                </a:lnTo>
                <a:lnTo>
                  <a:pt x="3073083" y="88890"/>
                </a:lnTo>
                <a:lnTo>
                  <a:pt x="3072323" y="95170"/>
                </a:lnTo>
                <a:lnTo>
                  <a:pt x="3068308" y="97876"/>
                </a:lnTo>
                <a:lnTo>
                  <a:pt x="3067114" y="101449"/>
                </a:lnTo>
                <a:lnTo>
                  <a:pt x="3061580" y="109029"/>
                </a:lnTo>
                <a:lnTo>
                  <a:pt x="3063424" y="110761"/>
                </a:lnTo>
                <a:lnTo>
                  <a:pt x="3066680" y="109461"/>
                </a:lnTo>
                <a:lnTo>
                  <a:pt x="3069610" y="104806"/>
                </a:lnTo>
                <a:lnTo>
                  <a:pt x="3073951" y="104589"/>
                </a:lnTo>
                <a:lnTo>
                  <a:pt x="3074927" y="103399"/>
                </a:lnTo>
                <a:lnTo>
                  <a:pt x="3078291" y="103399"/>
                </a:lnTo>
                <a:lnTo>
                  <a:pt x="3084042" y="107080"/>
                </a:lnTo>
                <a:lnTo>
                  <a:pt x="3086430" y="112601"/>
                </a:lnTo>
                <a:lnTo>
                  <a:pt x="3087081" y="119856"/>
                </a:lnTo>
                <a:lnTo>
                  <a:pt x="3085345" y="131007"/>
                </a:lnTo>
                <a:lnTo>
                  <a:pt x="3079594" y="141618"/>
                </a:lnTo>
                <a:lnTo>
                  <a:pt x="3070586" y="146598"/>
                </a:lnTo>
                <a:lnTo>
                  <a:pt x="3068416" y="148764"/>
                </a:lnTo>
                <a:lnTo>
                  <a:pt x="3063750" y="147681"/>
                </a:lnTo>
                <a:lnTo>
                  <a:pt x="3059517" y="149196"/>
                </a:lnTo>
                <a:lnTo>
                  <a:pt x="3059626" y="151688"/>
                </a:lnTo>
                <a:lnTo>
                  <a:pt x="3056696" y="154286"/>
                </a:lnTo>
                <a:lnTo>
                  <a:pt x="3042264" y="161323"/>
                </a:lnTo>
                <a:lnTo>
                  <a:pt x="3036838" y="165221"/>
                </a:lnTo>
                <a:lnTo>
                  <a:pt x="3032172" y="166304"/>
                </a:lnTo>
                <a:lnTo>
                  <a:pt x="3025660" y="168902"/>
                </a:lnTo>
                <a:lnTo>
                  <a:pt x="3018716" y="169010"/>
                </a:lnTo>
                <a:lnTo>
                  <a:pt x="3015351" y="165653"/>
                </a:lnTo>
                <a:lnTo>
                  <a:pt x="3013181" y="170418"/>
                </a:lnTo>
                <a:lnTo>
                  <a:pt x="3010685" y="171825"/>
                </a:lnTo>
                <a:lnTo>
                  <a:pt x="3005260" y="167819"/>
                </a:lnTo>
                <a:lnTo>
                  <a:pt x="2999834" y="165329"/>
                </a:lnTo>
                <a:lnTo>
                  <a:pt x="2992455" y="163922"/>
                </a:lnTo>
                <a:lnTo>
                  <a:pt x="2992455" y="167278"/>
                </a:lnTo>
                <a:lnTo>
                  <a:pt x="2998097" y="168469"/>
                </a:lnTo>
                <a:lnTo>
                  <a:pt x="3001244" y="170093"/>
                </a:lnTo>
                <a:lnTo>
                  <a:pt x="2997555" y="172150"/>
                </a:lnTo>
                <a:lnTo>
                  <a:pt x="2991261" y="170634"/>
                </a:lnTo>
                <a:lnTo>
                  <a:pt x="2988005" y="171176"/>
                </a:lnTo>
                <a:lnTo>
                  <a:pt x="2984967" y="168794"/>
                </a:lnTo>
                <a:lnTo>
                  <a:pt x="2976177" y="168253"/>
                </a:lnTo>
                <a:lnTo>
                  <a:pt x="2973573" y="165545"/>
                </a:lnTo>
                <a:lnTo>
                  <a:pt x="2970752" y="167061"/>
                </a:lnTo>
                <a:lnTo>
                  <a:pt x="2968147" y="167278"/>
                </a:lnTo>
                <a:lnTo>
                  <a:pt x="2960984" y="158616"/>
                </a:lnTo>
                <a:lnTo>
                  <a:pt x="2956210" y="153636"/>
                </a:lnTo>
                <a:lnTo>
                  <a:pt x="2957186" y="158941"/>
                </a:lnTo>
                <a:lnTo>
                  <a:pt x="2962287" y="163922"/>
                </a:lnTo>
                <a:lnTo>
                  <a:pt x="2963155" y="166953"/>
                </a:lnTo>
                <a:lnTo>
                  <a:pt x="2958923" y="167278"/>
                </a:lnTo>
                <a:lnTo>
                  <a:pt x="2952195" y="164679"/>
                </a:lnTo>
                <a:lnTo>
                  <a:pt x="2954800" y="168577"/>
                </a:lnTo>
                <a:lnTo>
                  <a:pt x="2970317" y="170959"/>
                </a:lnTo>
                <a:lnTo>
                  <a:pt x="2979649" y="172908"/>
                </a:lnTo>
                <a:lnTo>
                  <a:pt x="2982362" y="175723"/>
                </a:lnTo>
                <a:lnTo>
                  <a:pt x="2979324" y="178538"/>
                </a:lnTo>
                <a:lnTo>
                  <a:pt x="2958163" y="186875"/>
                </a:lnTo>
                <a:lnTo>
                  <a:pt x="2944924" y="189040"/>
                </a:lnTo>
                <a:lnTo>
                  <a:pt x="2939498" y="188932"/>
                </a:lnTo>
                <a:lnTo>
                  <a:pt x="2932228" y="190665"/>
                </a:lnTo>
                <a:lnTo>
                  <a:pt x="2926042" y="189690"/>
                </a:lnTo>
                <a:lnTo>
                  <a:pt x="2925065" y="186767"/>
                </a:lnTo>
                <a:lnTo>
                  <a:pt x="2920508" y="188607"/>
                </a:lnTo>
                <a:lnTo>
                  <a:pt x="2917036" y="187633"/>
                </a:lnTo>
                <a:lnTo>
                  <a:pt x="2912261" y="188499"/>
                </a:lnTo>
                <a:lnTo>
                  <a:pt x="2909873" y="192830"/>
                </a:lnTo>
                <a:lnTo>
                  <a:pt x="2914539" y="192397"/>
                </a:lnTo>
                <a:lnTo>
                  <a:pt x="2915408" y="196944"/>
                </a:lnTo>
                <a:lnTo>
                  <a:pt x="2922136" y="193155"/>
                </a:lnTo>
                <a:lnTo>
                  <a:pt x="2935483" y="193155"/>
                </a:lnTo>
                <a:lnTo>
                  <a:pt x="2941561" y="194238"/>
                </a:lnTo>
                <a:lnTo>
                  <a:pt x="2959357" y="192830"/>
                </a:lnTo>
                <a:lnTo>
                  <a:pt x="2971402" y="190881"/>
                </a:lnTo>
                <a:lnTo>
                  <a:pt x="2978999" y="183302"/>
                </a:lnTo>
                <a:lnTo>
                  <a:pt x="2984207" y="183085"/>
                </a:lnTo>
                <a:lnTo>
                  <a:pt x="2988005" y="184493"/>
                </a:lnTo>
                <a:lnTo>
                  <a:pt x="2993539" y="183410"/>
                </a:lnTo>
                <a:lnTo>
                  <a:pt x="3001136" y="183518"/>
                </a:lnTo>
                <a:lnTo>
                  <a:pt x="2998206" y="190231"/>
                </a:lnTo>
                <a:lnTo>
                  <a:pt x="2994624" y="197052"/>
                </a:lnTo>
                <a:lnTo>
                  <a:pt x="2986486" y="201166"/>
                </a:lnTo>
                <a:lnTo>
                  <a:pt x="2983990" y="203116"/>
                </a:lnTo>
                <a:lnTo>
                  <a:pt x="2974766" y="204848"/>
                </a:lnTo>
                <a:lnTo>
                  <a:pt x="2971077" y="209936"/>
                </a:lnTo>
                <a:lnTo>
                  <a:pt x="2967604" y="210478"/>
                </a:lnTo>
                <a:lnTo>
                  <a:pt x="2962179" y="215675"/>
                </a:lnTo>
                <a:lnTo>
                  <a:pt x="2954800" y="219031"/>
                </a:lnTo>
                <a:lnTo>
                  <a:pt x="2949916" y="219465"/>
                </a:lnTo>
                <a:lnTo>
                  <a:pt x="2946552" y="220872"/>
                </a:lnTo>
                <a:lnTo>
                  <a:pt x="2941452" y="220005"/>
                </a:lnTo>
                <a:lnTo>
                  <a:pt x="2936786" y="224228"/>
                </a:lnTo>
                <a:lnTo>
                  <a:pt x="2927995" y="226069"/>
                </a:lnTo>
                <a:lnTo>
                  <a:pt x="2925065" y="230941"/>
                </a:lnTo>
                <a:lnTo>
                  <a:pt x="2915516" y="232673"/>
                </a:lnTo>
                <a:lnTo>
                  <a:pt x="2911393" y="234948"/>
                </a:lnTo>
                <a:lnTo>
                  <a:pt x="2907920" y="233972"/>
                </a:lnTo>
                <a:lnTo>
                  <a:pt x="2903905" y="237762"/>
                </a:lnTo>
                <a:lnTo>
                  <a:pt x="2899890" y="237329"/>
                </a:lnTo>
                <a:lnTo>
                  <a:pt x="2898154" y="239278"/>
                </a:lnTo>
                <a:lnTo>
                  <a:pt x="2898371" y="244475"/>
                </a:lnTo>
                <a:lnTo>
                  <a:pt x="2893596" y="248264"/>
                </a:lnTo>
                <a:lnTo>
                  <a:pt x="2890775" y="252270"/>
                </a:lnTo>
                <a:lnTo>
                  <a:pt x="2879489" y="252486"/>
                </a:lnTo>
                <a:lnTo>
                  <a:pt x="2876341" y="254868"/>
                </a:lnTo>
                <a:lnTo>
                  <a:pt x="2872761" y="253678"/>
                </a:lnTo>
                <a:lnTo>
                  <a:pt x="2871893" y="250863"/>
                </a:lnTo>
                <a:lnTo>
                  <a:pt x="2873955" y="247831"/>
                </a:lnTo>
                <a:lnTo>
                  <a:pt x="2873955" y="243717"/>
                </a:lnTo>
                <a:lnTo>
                  <a:pt x="2870807" y="241119"/>
                </a:lnTo>
                <a:lnTo>
                  <a:pt x="2871675" y="247615"/>
                </a:lnTo>
                <a:lnTo>
                  <a:pt x="2869397" y="250105"/>
                </a:lnTo>
                <a:lnTo>
                  <a:pt x="2867769" y="253678"/>
                </a:lnTo>
                <a:lnTo>
                  <a:pt x="2873195" y="257142"/>
                </a:lnTo>
                <a:lnTo>
                  <a:pt x="2874388" y="260715"/>
                </a:lnTo>
                <a:lnTo>
                  <a:pt x="2869614" y="265696"/>
                </a:lnTo>
                <a:lnTo>
                  <a:pt x="2867443" y="266129"/>
                </a:lnTo>
                <a:lnTo>
                  <a:pt x="2862560" y="262664"/>
                </a:lnTo>
                <a:lnTo>
                  <a:pt x="2859521" y="264505"/>
                </a:lnTo>
                <a:lnTo>
                  <a:pt x="2851275" y="261690"/>
                </a:lnTo>
                <a:lnTo>
                  <a:pt x="2848562" y="263639"/>
                </a:lnTo>
                <a:lnTo>
                  <a:pt x="2845414" y="263964"/>
                </a:lnTo>
                <a:lnTo>
                  <a:pt x="2844872" y="259850"/>
                </a:lnTo>
                <a:lnTo>
                  <a:pt x="2842919" y="258225"/>
                </a:lnTo>
                <a:lnTo>
                  <a:pt x="2841074" y="262448"/>
                </a:lnTo>
                <a:lnTo>
                  <a:pt x="2836950" y="262772"/>
                </a:lnTo>
                <a:lnTo>
                  <a:pt x="2836082" y="265370"/>
                </a:lnTo>
                <a:lnTo>
                  <a:pt x="2845197" y="267319"/>
                </a:lnTo>
                <a:lnTo>
                  <a:pt x="2857785" y="267537"/>
                </a:lnTo>
                <a:lnTo>
                  <a:pt x="2860607" y="271325"/>
                </a:lnTo>
                <a:lnTo>
                  <a:pt x="2859630" y="275440"/>
                </a:lnTo>
                <a:lnTo>
                  <a:pt x="2854855" y="278363"/>
                </a:lnTo>
                <a:lnTo>
                  <a:pt x="2848670" y="277281"/>
                </a:lnTo>
                <a:lnTo>
                  <a:pt x="2842376" y="278797"/>
                </a:lnTo>
                <a:lnTo>
                  <a:pt x="2840639" y="280529"/>
                </a:lnTo>
                <a:lnTo>
                  <a:pt x="2842810" y="282370"/>
                </a:lnTo>
                <a:lnTo>
                  <a:pt x="2845089" y="281070"/>
                </a:lnTo>
                <a:lnTo>
                  <a:pt x="2848344" y="283127"/>
                </a:lnTo>
                <a:lnTo>
                  <a:pt x="2847802" y="286917"/>
                </a:lnTo>
                <a:lnTo>
                  <a:pt x="2840097" y="294279"/>
                </a:lnTo>
                <a:lnTo>
                  <a:pt x="2833478" y="293846"/>
                </a:lnTo>
                <a:lnTo>
                  <a:pt x="2821649" y="293629"/>
                </a:lnTo>
                <a:lnTo>
                  <a:pt x="2820021" y="291139"/>
                </a:lnTo>
                <a:lnTo>
                  <a:pt x="2815138" y="290598"/>
                </a:lnTo>
                <a:lnTo>
                  <a:pt x="2813619" y="288216"/>
                </a:lnTo>
                <a:lnTo>
                  <a:pt x="2812968" y="280312"/>
                </a:lnTo>
                <a:lnTo>
                  <a:pt x="2806349" y="279121"/>
                </a:lnTo>
                <a:lnTo>
                  <a:pt x="2804287" y="276847"/>
                </a:lnTo>
                <a:lnTo>
                  <a:pt x="2804612" y="272517"/>
                </a:lnTo>
                <a:lnTo>
                  <a:pt x="2801574" y="269919"/>
                </a:lnTo>
                <a:lnTo>
                  <a:pt x="2798861" y="271217"/>
                </a:lnTo>
                <a:lnTo>
                  <a:pt x="2795605" y="270027"/>
                </a:lnTo>
                <a:lnTo>
                  <a:pt x="2787901" y="271001"/>
                </a:lnTo>
                <a:lnTo>
                  <a:pt x="2787467" y="273383"/>
                </a:lnTo>
                <a:lnTo>
                  <a:pt x="2790505" y="275007"/>
                </a:lnTo>
                <a:lnTo>
                  <a:pt x="2792133" y="273708"/>
                </a:lnTo>
                <a:lnTo>
                  <a:pt x="2795931" y="274141"/>
                </a:lnTo>
                <a:lnTo>
                  <a:pt x="2806349" y="284318"/>
                </a:lnTo>
                <a:lnTo>
                  <a:pt x="2806023" y="297635"/>
                </a:lnTo>
                <a:lnTo>
                  <a:pt x="2804395" y="299909"/>
                </a:lnTo>
                <a:lnTo>
                  <a:pt x="2799295" y="299259"/>
                </a:lnTo>
                <a:lnTo>
                  <a:pt x="2795063" y="295362"/>
                </a:lnTo>
                <a:lnTo>
                  <a:pt x="2792350" y="295795"/>
                </a:lnTo>
                <a:lnTo>
                  <a:pt x="2792133" y="299584"/>
                </a:lnTo>
                <a:lnTo>
                  <a:pt x="2790288" y="300992"/>
                </a:lnTo>
                <a:lnTo>
                  <a:pt x="2785839" y="296337"/>
                </a:lnTo>
                <a:lnTo>
                  <a:pt x="2781932" y="296661"/>
                </a:lnTo>
                <a:lnTo>
                  <a:pt x="2778676" y="300451"/>
                </a:lnTo>
                <a:lnTo>
                  <a:pt x="2776506" y="300017"/>
                </a:lnTo>
                <a:lnTo>
                  <a:pt x="2774336" y="297094"/>
                </a:lnTo>
                <a:lnTo>
                  <a:pt x="2769453" y="295795"/>
                </a:lnTo>
                <a:lnTo>
                  <a:pt x="2766414" y="290814"/>
                </a:lnTo>
                <a:lnTo>
                  <a:pt x="2763810" y="292439"/>
                </a:lnTo>
                <a:lnTo>
                  <a:pt x="2762616" y="287350"/>
                </a:lnTo>
                <a:lnTo>
                  <a:pt x="2760120" y="285726"/>
                </a:lnTo>
                <a:lnTo>
                  <a:pt x="2753067" y="285076"/>
                </a:lnTo>
                <a:lnTo>
                  <a:pt x="2750354" y="281178"/>
                </a:lnTo>
                <a:lnTo>
                  <a:pt x="2748617" y="282802"/>
                </a:lnTo>
                <a:lnTo>
                  <a:pt x="2749160" y="286159"/>
                </a:lnTo>
                <a:lnTo>
                  <a:pt x="2753610" y="289082"/>
                </a:lnTo>
                <a:lnTo>
                  <a:pt x="2759469" y="290490"/>
                </a:lnTo>
                <a:lnTo>
                  <a:pt x="2764787" y="299368"/>
                </a:lnTo>
                <a:lnTo>
                  <a:pt x="2762833" y="301858"/>
                </a:lnTo>
                <a:lnTo>
                  <a:pt x="2749920" y="299043"/>
                </a:lnTo>
                <a:lnTo>
                  <a:pt x="2746339" y="296012"/>
                </a:lnTo>
                <a:lnTo>
                  <a:pt x="2746013" y="291139"/>
                </a:lnTo>
                <a:lnTo>
                  <a:pt x="2742866" y="287892"/>
                </a:lnTo>
                <a:lnTo>
                  <a:pt x="2741238" y="290273"/>
                </a:lnTo>
                <a:lnTo>
                  <a:pt x="2742215" y="292439"/>
                </a:lnTo>
                <a:lnTo>
                  <a:pt x="2740696" y="295686"/>
                </a:lnTo>
                <a:lnTo>
                  <a:pt x="2736463" y="294496"/>
                </a:lnTo>
                <a:lnTo>
                  <a:pt x="2733968" y="291680"/>
                </a:lnTo>
                <a:lnTo>
                  <a:pt x="2729736" y="292872"/>
                </a:lnTo>
                <a:lnTo>
                  <a:pt x="2730170" y="295903"/>
                </a:lnTo>
                <a:lnTo>
                  <a:pt x="2736572" y="298393"/>
                </a:lnTo>
                <a:lnTo>
                  <a:pt x="2736355" y="302616"/>
                </a:lnTo>
                <a:lnTo>
                  <a:pt x="2739068" y="302616"/>
                </a:lnTo>
                <a:lnTo>
                  <a:pt x="2741021" y="300992"/>
                </a:lnTo>
                <a:lnTo>
                  <a:pt x="2744602" y="300992"/>
                </a:lnTo>
                <a:lnTo>
                  <a:pt x="2748292" y="304457"/>
                </a:lnTo>
                <a:lnTo>
                  <a:pt x="2753392" y="306297"/>
                </a:lnTo>
                <a:lnTo>
                  <a:pt x="2757625" y="310304"/>
                </a:lnTo>
                <a:lnTo>
                  <a:pt x="2760338" y="310304"/>
                </a:lnTo>
                <a:lnTo>
                  <a:pt x="2764244" y="309112"/>
                </a:lnTo>
                <a:lnTo>
                  <a:pt x="2777483" y="312035"/>
                </a:lnTo>
                <a:lnTo>
                  <a:pt x="2780088" y="314850"/>
                </a:lnTo>
                <a:lnTo>
                  <a:pt x="2775747" y="317990"/>
                </a:lnTo>
                <a:lnTo>
                  <a:pt x="2777158" y="320481"/>
                </a:lnTo>
                <a:lnTo>
                  <a:pt x="2776615" y="324811"/>
                </a:lnTo>
                <a:lnTo>
                  <a:pt x="2777700" y="329359"/>
                </a:lnTo>
                <a:lnTo>
                  <a:pt x="2774445" y="332390"/>
                </a:lnTo>
                <a:lnTo>
                  <a:pt x="2772492" y="331957"/>
                </a:lnTo>
                <a:lnTo>
                  <a:pt x="2769344" y="328926"/>
                </a:lnTo>
                <a:lnTo>
                  <a:pt x="2762942" y="327193"/>
                </a:lnTo>
                <a:lnTo>
                  <a:pt x="2756756" y="322321"/>
                </a:lnTo>
                <a:lnTo>
                  <a:pt x="2755128" y="319181"/>
                </a:lnTo>
                <a:lnTo>
                  <a:pt x="2755888" y="313226"/>
                </a:lnTo>
                <a:lnTo>
                  <a:pt x="2753392" y="309112"/>
                </a:lnTo>
                <a:lnTo>
                  <a:pt x="2746231" y="308896"/>
                </a:lnTo>
                <a:lnTo>
                  <a:pt x="2735595" y="307272"/>
                </a:lnTo>
                <a:lnTo>
                  <a:pt x="2731689" y="304349"/>
                </a:lnTo>
                <a:lnTo>
                  <a:pt x="2727131" y="304998"/>
                </a:lnTo>
                <a:lnTo>
                  <a:pt x="2726372" y="307163"/>
                </a:lnTo>
                <a:lnTo>
                  <a:pt x="2732557" y="309545"/>
                </a:lnTo>
                <a:lnTo>
                  <a:pt x="2741998" y="310304"/>
                </a:lnTo>
                <a:lnTo>
                  <a:pt x="2751873" y="313984"/>
                </a:lnTo>
                <a:lnTo>
                  <a:pt x="2751656" y="319073"/>
                </a:lnTo>
                <a:lnTo>
                  <a:pt x="2749920" y="319614"/>
                </a:lnTo>
                <a:lnTo>
                  <a:pt x="2744819" y="316041"/>
                </a:lnTo>
                <a:lnTo>
                  <a:pt x="2736030" y="315825"/>
                </a:lnTo>
                <a:lnTo>
                  <a:pt x="2728867" y="317774"/>
                </a:lnTo>
                <a:lnTo>
                  <a:pt x="2728976" y="315176"/>
                </a:lnTo>
                <a:lnTo>
                  <a:pt x="2726372" y="312360"/>
                </a:lnTo>
                <a:lnTo>
                  <a:pt x="2718341" y="311169"/>
                </a:lnTo>
                <a:lnTo>
                  <a:pt x="2714543" y="309004"/>
                </a:lnTo>
                <a:lnTo>
                  <a:pt x="2715412" y="311494"/>
                </a:lnTo>
                <a:lnTo>
                  <a:pt x="2724201" y="315500"/>
                </a:lnTo>
                <a:lnTo>
                  <a:pt x="2723008" y="317666"/>
                </a:lnTo>
                <a:lnTo>
                  <a:pt x="2723008" y="321022"/>
                </a:lnTo>
                <a:lnTo>
                  <a:pt x="2726914" y="321239"/>
                </a:lnTo>
                <a:lnTo>
                  <a:pt x="2727999" y="320481"/>
                </a:lnTo>
                <a:lnTo>
                  <a:pt x="2729736" y="321671"/>
                </a:lnTo>
                <a:lnTo>
                  <a:pt x="2733534" y="320264"/>
                </a:lnTo>
                <a:lnTo>
                  <a:pt x="2734727" y="319073"/>
                </a:lnTo>
                <a:lnTo>
                  <a:pt x="2737223" y="320264"/>
                </a:lnTo>
                <a:lnTo>
                  <a:pt x="2741456" y="319831"/>
                </a:lnTo>
                <a:lnTo>
                  <a:pt x="2744819" y="321130"/>
                </a:lnTo>
                <a:lnTo>
                  <a:pt x="2751765" y="327518"/>
                </a:lnTo>
                <a:lnTo>
                  <a:pt x="2751547" y="329792"/>
                </a:lnTo>
                <a:lnTo>
                  <a:pt x="2745688" y="330117"/>
                </a:lnTo>
                <a:lnTo>
                  <a:pt x="2740805" y="332282"/>
                </a:lnTo>
                <a:lnTo>
                  <a:pt x="2740045" y="334881"/>
                </a:lnTo>
                <a:lnTo>
                  <a:pt x="2744494" y="333581"/>
                </a:lnTo>
                <a:lnTo>
                  <a:pt x="2748835" y="333581"/>
                </a:lnTo>
                <a:lnTo>
                  <a:pt x="2752850" y="332824"/>
                </a:lnTo>
                <a:lnTo>
                  <a:pt x="2757190" y="337046"/>
                </a:lnTo>
                <a:lnTo>
                  <a:pt x="2761423" y="339536"/>
                </a:lnTo>
                <a:lnTo>
                  <a:pt x="2761531" y="343759"/>
                </a:lnTo>
                <a:lnTo>
                  <a:pt x="2755888" y="352637"/>
                </a:lnTo>
                <a:lnTo>
                  <a:pt x="2754043" y="359891"/>
                </a:lnTo>
                <a:lnTo>
                  <a:pt x="2751873" y="360432"/>
                </a:lnTo>
                <a:lnTo>
                  <a:pt x="2745254" y="365521"/>
                </a:lnTo>
                <a:lnTo>
                  <a:pt x="2742106" y="363789"/>
                </a:lnTo>
                <a:lnTo>
                  <a:pt x="2738092" y="363897"/>
                </a:lnTo>
                <a:lnTo>
                  <a:pt x="2734510" y="362057"/>
                </a:lnTo>
                <a:lnTo>
                  <a:pt x="2733860" y="359566"/>
                </a:lnTo>
                <a:lnTo>
                  <a:pt x="2730279" y="357509"/>
                </a:lnTo>
                <a:lnTo>
                  <a:pt x="2724744" y="357293"/>
                </a:lnTo>
                <a:lnTo>
                  <a:pt x="2725395" y="359566"/>
                </a:lnTo>
                <a:lnTo>
                  <a:pt x="2730604" y="361732"/>
                </a:lnTo>
                <a:lnTo>
                  <a:pt x="2731255" y="364114"/>
                </a:lnTo>
                <a:lnTo>
                  <a:pt x="2734619" y="364979"/>
                </a:lnTo>
                <a:lnTo>
                  <a:pt x="2740588" y="368769"/>
                </a:lnTo>
                <a:lnTo>
                  <a:pt x="2741456" y="374832"/>
                </a:lnTo>
                <a:lnTo>
                  <a:pt x="2739502" y="377539"/>
                </a:lnTo>
                <a:lnTo>
                  <a:pt x="2735595" y="378297"/>
                </a:lnTo>
                <a:lnTo>
                  <a:pt x="2730495" y="382844"/>
                </a:lnTo>
                <a:lnTo>
                  <a:pt x="2727457" y="383603"/>
                </a:lnTo>
                <a:lnTo>
                  <a:pt x="2720078" y="377214"/>
                </a:lnTo>
                <a:lnTo>
                  <a:pt x="2715845" y="378622"/>
                </a:lnTo>
                <a:lnTo>
                  <a:pt x="2713567" y="376023"/>
                </a:lnTo>
                <a:lnTo>
                  <a:pt x="2708901" y="375590"/>
                </a:lnTo>
                <a:lnTo>
                  <a:pt x="2705862" y="377322"/>
                </a:lnTo>
                <a:lnTo>
                  <a:pt x="2706839" y="380571"/>
                </a:lnTo>
                <a:lnTo>
                  <a:pt x="2721054" y="388150"/>
                </a:lnTo>
                <a:lnTo>
                  <a:pt x="2726481" y="388691"/>
                </a:lnTo>
                <a:lnTo>
                  <a:pt x="2726481" y="391614"/>
                </a:lnTo>
                <a:lnTo>
                  <a:pt x="2722574" y="393455"/>
                </a:lnTo>
                <a:lnTo>
                  <a:pt x="2718667" y="397894"/>
                </a:lnTo>
                <a:lnTo>
                  <a:pt x="2714543" y="398868"/>
                </a:lnTo>
                <a:lnTo>
                  <a:pt x="2710745" y="394646"/>
                </a:lnTo>
                <a:lnTo>
                  <a:pt x="2707164" y="394862"/>
                </a:lnTo>
                <a:lnTo>
                  <a:pt x="2702715" y="398219"/>
                </a:lnTo>
                <a:lnTo>
                  <a:pt x="2695445" y="397894"/>
                </a:lnTo>
                <a:lnTo>
                  <a:pt x="2692406" y="394429"/>
                </a:lnTo>
                <a:lnTo>
                  <a:pt x="2682748" y="392156"/>
                </a:lnTo>
                <a:lnTo>
                  <a:pt x="2676671" y="393780"/>
                </a:lnTo>
                <a:lnTo>
                  <a:pt x="2675477" y="402441"/>
                </a:lnTo>
                <a:lnTo>
                  <a:pt x="2670920" y="406772"/>
                </a:lnTo>
                <a:lnTo>
                  <a:pt x="2675260" y="406555"/>
                </a:lnTo>
                <a:lnTo>
                  <a:pt x="2676671" y="407854"/>
                </a:lnTo>
                <a:lnTo>
                  <a:pt x="2676888" y="412619"/>
                </a:lnTo>
                <a:lnTo>
                  <a:pt x="2670052" y="416300"/>
                </a:lnTo>
                <a:lnTo>
                  <a:pt x="2669834" y="421388"/>
                </a:lnTo>
                <a:lnTo>
                  <a:pt x="2664300" y="424420"/>
                </a:lnTo>
                <a:lnTo>
                  <a:pt x="2662238" y="422472"/>
                </a:lnTo>
                <a:lnTo>
                  <a:pt x="2660936" y="423987"/>
                </a:lnTo>
                <a:lnTo>
                  <a:pt x="2660176" y="427235"/>
                </a:lnTo>
                <a:lnTo>
                  <a:pt x="2655510" y="429184"/>
                </a:lnTo>
                <a:lnTo>
                  <a:pt x="2652146" y="428210"/>
                </a:lnTo>
                <a:lnTo>
                  <a:pt x="2654317" y="425611"/>
                </a:lnTo>
                <a:lnTo>
                  <a:pt x="2652038" y="425611"/>
                </a:lnTo>
                <a:lnTo>
                  <a:pt x="2649216" y="428210"/>
                </a:lnTo>
                <a:lnTo>
                  <a:pt x="2645961" y="434706"/>
                </a:lnTo>
                <a:lnTo>
                  <a:pt x="2643465" y="436329"/>
                </a:lnTo>
                <a:lnTo>
                  <a:pt x="2632396" y="430375"/>
                </a:lnTo>
                <a:lnTo>
                  <a:pt x="2625994" y="430267"/>
                </a:lnTo>
                <a:lnTo>
                  <a:pt x="2625126" y="432107"/>
                </a:lnTo>
                <a:lnTo>
                  <a:pt x="2619157" y="430916"/>
                </a:lnTo>
                <a:lnTo>
                  <a:pt x="2609065" y="418790"/>
                </a:lnTo>
                <a:lnTo>
                  <a:pt x="2606895" y="408396"/>
                </a:lnTo>
                <a:lnTo>
                  <a:pt x="2609499" y="406447"/>
                </a:lnTo>
                <a:lnTo>
                  <a:pt x="2610259" y="402550"/>
                </a:lnTo>
                <a:lnTo>
                  <a:pt x="2608848" y="399734"/>
                </a:lnTo>
                <a:lnTo>
                  <a:pt x="2609282" y="396595"/>
                </a:lnTo>
                <a:lnTo>
                  <a:pt x="2604833" y="401900"/>
                </a:lnTo>
                <a:lnTo>
                  <a:pt x="2604941" y="405148"/>
                </a:lnTo>
                <a:lnTo>
                  <a:pt x="2602988" y="411969"/>
                </a:lnTo>
                <a:lnTo>
                  <a:pt x="2600818" y="415650"/>
                </a:lnTo>
                <a:lnTo>
                  <a:pt x="2604724" y="420739"/>
                </a:lnTo>
                <a:lnTo>
                  <a:pt x="2603965" y="423229"/>
                </a:lnTo>
                <a:lnTo>
                  <a:pt x="2601469" y="422580"/>
                </a:lnTo>
                <a:lnTo>
                  <a:pt x="2594958" y="423554"/>
                </a:lnTo>
                <a:lnTo>
                  <a:pt x="2593873" y="422796"/>
                </a:lnTo>
                <a:lnTo>
                  <a:pt x="2589424" y="423554"/>
                </a:lnTo>
                <a:lnTo>
                  <a:pt x="2593547" y="427127"/>
                </a:lnTo>
                <a:lnTo>
                  <a:pt x="2591160" y="434489"/>
                </a:lnTo>
                <a:lnTo>
                  <a:pt x="2594524" y="434489"/>
                </a:lnTo>
                <a:lnTo>
                  <a:pt x="2599841" y="428101"/>
                </a:lnTo>
                <a:lnTo>
                  <a:pt x="2602446" y="428210"/>
                </a:lnTo>
                <a:lnTo>
                  <a:pt x="2604508" y="426261"/>
                </a:lnTo>
                <a:lnTo>
                  <a:pt x="2607763" y="425070"/>
                </a:lnTo>
                <a:lnTo>
                  <a:pt x="2613189" y="428968"/>
                </a:lnTo>
                <a:lnTo>
                  <a:pt x="2616662" y="434273"/>
                </a:lnTo>
                <a:lnTo>
                  <a:pt x="2614600" y="439145"/>
                </a:lnTo>
                <a:lnTo>
                  <a:pt x="2620025" y="435139"/>
                </a:lnTo>
                <a:lnTo>
                  <a:pt x="2628707" y="432865"/>
                </a:lnTo>
                <a:lnTo>
                  <a:pt x="2634567" y="435680"/>
                </a:lnTo>
                <a:lnTo>
                  <a:pt x="2635543" y="440335"/>
                </a:lnTo>
                <a:lnTo>
                  <a:pt x="2633156" y="443151"/>
                </a:lnTo>
                <a:lnTo>
                  <a:pt x="2630226" y="450838"/>
                </a:lnTo>
                <a:lnTo>
                  <a:pt x="2627621" y="451488"/>
                </a:lnTo>
                <a:lnTo>
                  <a:pt x="2626211" y="454736"/>
                </a:lnTo>
                <a:lnTo>
                  <a:pt x="2627621" y="456143"/>
                </a:lnTo>
                <a:lnTo>
                  <a:pt x="2631962" y="455710"/>
                </a:lnTo>
                <a:lnTo>
                  <a:pt x="2631311" y="459067"/>
                </a:lnTo>
                <a:lnTo>
                  <a:pt x="2627404" y="463398"/>
                </a:lnTo>
                <a:lnTo>
                  <a:pt x="2631854" y="463073"/>
                </a:lnTo>
                <a:lnTo>
                  <a:pt x="2634024" y="459933"/>
                </a:lnTo>
                <a:lnTo>
                  <a:pt x="2639884" y="456576"/>
                </a:lnTo>
                <a:lnTo>
                  <a:pt x="2643031" y="456360"/>
                </a:lnTo>
                <a:lnTo>
                  <a:pt x="2645201" y="455277"/>
                </a:lnTo>
                <a:lnTo>
                  <a:pt x="2647697" y="456576"/>
                </a:lnTo>
                <a:lnTo>
                  <a:pt x="2646612" y="461232"/>
                </a:lnTo>
                <a:lnTo>
                  <a:pt x="2647914" y="464372"/>
                </a:lnTo>
                <a:lnTo>
                  <a:pt x="2646178" y="472276"/>
                </a:lnTo>
                <a:lnTo>
                  <a:pt x="2641078" y="481696"/>
                </a:lnTo>
                <a:lnTo>
                  <a:pt x="2636520" y="481804"/>
                </a:lnTo>
                <a:lnTo>
                  <a:pt x="2631745" y="484835"/>
                </a:lnTo>
                <a:lnTo>
                  <a:pt x="2628816" y="489924"/>
                </a:lnTo>
                <a:lnTo>
                  <a:pt x="2624366" y="493281"/>
                </a:lnTo>
                <a:lnTo>
                  <a:pt x="2622738" y="491765"/>
                </a:lnTo>
                <a:lnTo>
                  <a:pt x="2624366" y="486351"/>
                </a:lnTo>
                <a:lnTo>
                  <a:pt x="2625126" y="480720"/>
                </a:lnTo>
                <a:lnTo>
                  <a:pt x="2623932" y="479638"/>
                </a:lnTo>
                <a:lnTo>
                  <a:pt x="2620568" y="481804"/>
                </a:lnTo>
                <a:lnTo>
                  <a:pt x="2617204" y="488191"/>
                </a:lnTo>
                <a:lnTo>
                  <a:pt x="2613189" y="489275"/>
                </a:lnTo>
                <a:lnTo>
                  <a:pt x="2606678" y="495338"/>
                </a:lnTo>
                <a:lnTo>
                  <a:pt x="2604724" y="493930"/>
                </a:lnTo>
                <a:lnTo>
                  <a:pt x="2600167" y="493822"/>
                </a:lnTo>
                <a:lnTo>
                  <a:pt x="2592679" y="499668"/>
                </a:lnTo>
                <a:lnTo>
                  <a:pt x="2590509" y="498477"/>
                </a:lnTo>
                <a:lnTo>
                  <a:pt x="2586277" y="500318"/>
                </a:lnTo>
                <a:lnTo>
                  <a:pt x="2581610" y="500101"/>
                </a:lnTo>
                <a:lnTo>
                  <a:pt x="2580091" y="496745"/>
                </a:lnTo>
                <a:lnTo>
                  <a:pt x="2578030" y="495229"/>
                </a:lnTo>
                <a:lnTo>
                  <a:pt x="2582153" y="492089"/>
                </a:lnTo>
                <a:lnTo>
                  <a:pt x="2585300" y="487650"/>
                </a:lnTo>
                <a:lnTo>
                  <a:pt x="2585409" y="483861"/>
                </a:lnTo>
                <a:lnTo>
                  <a:pt x="2580417" y="476714"/>
                </a:lnTo>
                <a:lnTo>
                  <a:pt x="2577270" y="479855"/>
                </a:lnTo>
                <a:lnTo>
                  <a:pt x="2570651" y="477364"/>
                </a:lnTo>
                <a:lnTo>
                  <a:pt x="2569782" y="474441"/>
                </a:lnTo>
                <a:lnTo>
                  <a:pt x="2572278" y="468811"/>
                </a:lnTo>
                <a:lnTo>
                  <a:pt x="2575750" y="467837"/>
                </a:lnTo>
                <a:lnTo>
                  <a:pt x="2572929" y="466429"/>
                </a:lnTo>
                <a:lnTo>
                  <a:pt x="2569565" y="465455"/>
                </a:lnTo>
                <a:lnTo>
                  <a:pt x="2566852" y="458959"/>
                </a:lnTo>
                <a:lnTo>
                  <a:pt x="2568263" y="455169"/>
                </a:lnTo>
                <a:lnTo>
                  <a:pt x="2568480" y="450838"/>
                </a:lnTo>
                <a:lnTo>
                  <a:pt x="2566418" y="447049"/>
                </a:lnTo>
                <a:lnTo>
                  <a:pt x="2566418" y="452137"/>
                </a:lnTo>
                <a:lnTo>
                  <a:pt x="2563055" y="459716"/>
                </a:lnTo>
                <a:lnTo>
                  <a:pt x="2566961" y="466753"/>
                </a:lnTo>
                <a:lnTo>
                  <a:pt x="2567503" y="470110"/>
                </a:lnTo>
                <a:lnTo>
                  <a:pt x="2565008" y="472709"/>
                </a:lnTo>
                <a:lnTo>
                  <a:pt x="2564791" y="477906"/>
                </a:lnTo>
                <a:lnTo>
                  <a:pt x="2561752" y="479855"/>
                </a:lnTo>
                <a:lnTo>
                  <a:pt x="2557954" y="478230"/>
                </a:lnTo>
                <a:lnTo>
                  <a:pt x="2553939" y="479422"/>
                </a:lnTo>
                <a:lnTo>
                  <a:pt x="2550575" y="476065"/>
                </a:lnTo>
                <a:lnTo>
                  <a:pt x="2550032" y="473034"/>
                </a:lnTo>
                <a:lnTo>
                  <a:pt x="2553287" y="464480"/>
                </a:lnTo>
                <a:lnTo>
                  <a:pt x="2551660" y="460149"/>
                </a:lnTo>
                <a:lnTo>
                  <a:pt x="2552528" y="455818"/>
                </a:lnTo>
                <a:lnTo>
                  <a:pt x="2557085" y="451055"/>
                </a:lnTo>
                <a:lnTo>
                  <a:pt x="2552094" y="452029"/>
                </a:lnTo>
                <a:lnTo>
                  <a:pt x="2548730" y="455818"/>
                </a:lnTo>
                <a:lnTo>
                  <a:pt x="2547753" y="461557"/>
                </a:lnTo>
                <a:lnTo>
                  <a:pt x="2549598" y="466104"/>
                </a:lnTo>
                <a:lnTo>
                  <a:pt x="2545583" y="473358"/>
                </a:lnTo>
                <a:lnTo>
                  <a:pt x="2541568" y="474657"/>
                </a:lnTo>
                <a:lnTo>
                  <a:pt x="2537227" y="472059"/>
                </a:lnTo>
                <a:lnTo>
                  <a:pt x="2537444" y="468053"/>
                </a:lnTo>
                <a:lnTo>
                  <a:pt x="2535817" y="466213"/>
                </a:lnTo>
                <a:lnTo>
                  <a:pt x="2536142" y="462965"/>
                </a:lnTo>
                <a:lnTo>
                  <a:pt x="2538204" y="459175"/>
                </a:lnTo>
                <a:lnTo>
                  <a:pt x="2539072" y="456576"/>
                </a:lnTo>
                <a:lnTo>
                  <a:pt x="2537770" y="451596"/>
                </a:lnTo>
                <a:lnTo>
                  <a:pt x="2536142" y="451163"/>
                </a:lnTo>
                <a:lnTo>
                  <a:pt x="2535165" y="453328"/>
                </a:lnTo>
                <a:lnTo>
                  <a:pt x="2534406" y="458417"/>
                </a:lnTo>
                <a:lnTo>
                  <a:pt x="2531584" y="461016"/>
                </a:lnTo>
                <a:lnTo>
                  <a:pt x="2531476" y="464480"/>
                </a:lnTo>
                <a:lnTo>
                  <a:pt x="2530065" y="466429"/>
                </a:lnTo>
                <a:lnTo>
                  <a:pt x="2526267" y="466645"/>
                </a:lnTo>
                <a:lnTo>
                  <a:pt x="2525399" y="468053"/>
                </a:lnTo>
                <a:lnTo>
                  <a:pt x="2522252" y="468486"/>
                </a:lnTo>
                <a:lnTo>
                  <a:pt x="2521275" y="466104"/>
                </a:lnTo>
                <a:lnTo>
                  <a:pt x="2521384" y="462206"/>
                </a:lnTo>
                <a:lnTo>
                  <a:pt x="2519647" y="456143"/>
                </a:lnTo>
                <a:lnTo>
                  <a:pt x="2518454" y="454844"/>
                </a:lnTo>
                <a:lnTo>
                  <a:pt x="2516935" y="456252"/>
                </a:lnTo>
                <a:lnTo>
                  <a:pt x="2515090" y="461882"/>
                </a:lnTo>
                <a:lnTo>
                  <a:pt x="2516392" y="469677"/>
                </a:lnTo>
                <a:lnTo>
                  <a:pt x="2519647" y="475091"/>
                </a:lnTo>
                <a:lnTo>
                  <a:pt x="2518345" y="478555"/>
                </a:lnTo>
                <a:lnTo>
                  <a:pt x="2516284" y="478772"/>
                </a:lnTo>
                <a:lnTo>
                  <a:pt x="2512811" y="477256"/>
                </a:lnTo>
                <a:lnTo>
                  <a:pt x="2503913" y="476931"/>
                </a:lnTo>
                <a:lnTo>
                  <a:pt x="2503478" y="473142"/>
                </a:lnTo>
                <a:lnTo>
                  <a:pt x="2501308" y="472709"/>
                </a:lnTo>
                <a:lnTo>
                  <a:pt x="2494363" y="468053"/>
                </a:lnTo>
                <a:lnTo>
                  <a:pt x="2491324" y="468269"/>
                </a:lnTo>
                <a:lnTo>
                  <a:pt x="2490456" y="466645"/>
                </a:lnTo>
                <a:lnTo>
                  <a:pt x="2488503" y="465130"/>
                </a:lnTo>
                <a:lnTo>
                  <a:pt x="2486008" y="465130"/>
                </a:lnTo>
                <a:lnTo>
                  <a:pt x="2485465" y="462639"/>
                </a:lnTo>
                <a:lnTo>
                  <a:pt x="2487961" y="458851"/>
                </a:lnTo>
                <a:lnTo>
                  <a:pt x="2490023" y="458525"/>
                </a:lnTo>
                <a:lnTo>
                  <a:pt x="2492301" y="454519"/>
                </a:lnTo>
                <a:lnTo>
                  <a:pt x="2492084" y="451272"/>
                </a:lnTo>
                <a:lnTo>
                  <a:pt x="2488720" y="445100"/>
                </a:lnTo>
                <a:lnTo>
                  <a:pt x="2486876" y="443584"/>
                </a:lnTo>
                <a:lnTo>
                  <a:pt x="2486984" y="447157"/>
                </a:lnTo>
                <a:lnTo>
                  <a:pt x="2489046" y="449106"/>
                </a:lnTo>
                <a:lnTo>
                  <a:pt x="2489371" y="452896"/>
                </a:lnTo>
                <a:lnTo>
                  <a:pt x="2487961" y="455386"/>
                </a:lnTo>
                <a:lnTo>
                  <a:pt x="2484163" y="455277"/>
                </a:lnTo>
                <a:lnTo>
                  <a:pt x="2482860" y="456685"/>
                </a:lnTo>
                <a:lnTo>
                  <a:pt x="2483512" y="457551"/>
                </a:lnTo>
                <a:lnTo>
                  <a:pt x="2484054" y="460690"/>
                </a:lnTo>
                <a:lnTo>
                  <a:pt x="2481233" y="463722"/>
                </a:lnTo>
                <a:lnTo>
                  <a:pt x="2478954" y="463289"/>
                </a:lnTo>
                <a:lnTo>
                  <a:pt x="2475915" y="458309"/>
                </a:lnTo>
                <a:lnTo>
                  <a:pt x="2476024" y="455494"/>
                </a:lnTo>
                <a:lnTo>
                  <a:pt x="2475047" y="452570"/>
                </a:lnTo>
                <a:lnTo>
                  <a:pt x="2477435" y="446832"/>
                </a:lnTo>
                <a:lnTo>
                  <a:pt x="2476675" y="444775"/>
                </a:lnTo>
                <a:lnTo>
                  <a:pt x="2477000" y="441743"/>
                </a:lnTo>
                <a:lnTo>
                  <a:pt x="2474830" y="443909"/>
                </a:lnTo>
                <a:lnTo>
                  <a:pt x="2473636" y="447915"/>
                </a:lnTo>
                <a:lnTo>
                  <a:pt x="2471358" y="451812"/>
                </a:lnTo>
                <a:lnTo>
                  <a:pt x="2471900" y="453653"/>
                </a:lnTo>
                <a:lnTo>
                  <a:pt x="2471249" y="457443"/>
                </a:lnTo>
                <a:lnTo>
                  <a:pt x="2466474" y="457118"/>
                </a:lnTo>
                <a:lnTo>
                  <a:pt x="2463653" y="454736"/>
                </a:lnTo>
                <a:lnTo>
                  <a:pt x="2460940" y="454519"/>
                </a:lnTo>
                <a:lnTo>
                  <a:pt x="2459747" y="452354"/>
                </a:lnTo>
                <a:lnTo>
                  <a:pt x="2461700" y="448456"/>
                </a:lnTo>
                <a:lnTo>
                  <a:pt x="2462242" y="442935"/>
                </a:lnTo>
                <a:lnTo>
                  <a:pt x="2463653" y="441202"/>
                </a:lnTo>
                <a:lnTo>
                  <a:pt x="2463761" y="436980"/>
                </a:lnTo>
                <a:lnTo>
                  <a:pt x="2468645" y="427668"/>
                </a:lnTo>
                <a:lnTo>
                  <a:pt x="2465606" y="429509"/>
                </a:lnTo>
                <a:lnTo>
                  <a:pt x="2462242" y="430916"/>
                </a:lnTo>
                <a:lnTo>
                  <a:pt x="2460180" y="440227"/>
                </a:lnTo>
                <a:lnTo>
                  <a:pt x="2459855" y="446724"/>
                </a:lnTo>
                <a:lnTo>
                  <a:pt x="2456708" y="450296"/>
                </a:lnTo>
                <a:lnTo>
                  <a:pt x="2455081" y="448998"/>
                </a:lnTo>
                <a:lnTo>
                  <a:pt x="2457467" y="444667"/>
                </a:lnTo>
                <a:lnTo>
                  <a:pt x="2457793" y="443476"/>
                </a:lnTo>
                <a:lnTo>
                  <a:pt x="2456382" y="443043"/>
                </a:lnTo>
                <a:lnTo>
                  <a:pt x="2453561" y="449431"/>
                </a:lnTo>
                <a:lnTo>
                  <a:pt x="2448243" y="449431"/>
                </a:lnTo>
                <a:lnTo>
                  <a:pt x="2446941" y="446399"/>
                </a:lnTo>
                <a:lnTo>
                  <a:pt x="2447050" y="440661"/>
                </a:lnTo>
                <a:lnTo>
                  <a:pt x="2445748" y="438062"/>
                </a:lnTo>
                <a:lnTo>
                  <a:pt x="2446616" y="434814"/>
                </a:lnTo>
                <a:lnTo>
                  <a:pt x="2451933" y="431458"/>
                </a:lnTo>
                <a:lnTo>
                  <a:pt x="2453127" y="428101"/>
                </a:lnTo>
                <a:lnTo>
                  <a:pt x="2452693" y="425719"/>
                </a:lnTo>
                <a:lnTo>
                  <a:pt x="2454212" y="421930"/>
                </a:lnTo>
                <a:lnTo>
                  <a:pt x="2457576" y="418574"/>
                </a:lnTo>
                <a:lnTo>
                  <a:pt x="2460940" y="417815"/>
                </a:lnTo>
                <a:lnTo>
                  <a:pt x="2463327" y="415975"/>
                </a:lnTo>
                <a:lnTo>
                  <a:pt x="2469947" y="415542"/>
                </a:lnTo>
                <a:lnTo>
                  <a:pt x="2472443" y="412294"/>
                </a:lnTo>
                <a:lnTo>
                  <a:pt x="2476675" y="410778"/>
                </a:lnTo>
                <a:lnTo>
                  <a:pt x="2479713" y="409803"/>
                </a:lnTo>
                <a:lnTo>
                  <a:pt x="2479822" y="406989"/>
                </a:lnTo>
                <a:lnTo>
                  <a:pt x="2481884" y="405040"/>
                </a:lnTo>
                <a:lnTo>
                  <a:pt x="2486008" y="404931"/>
                </a:lnTo>
                <a:lnTo>
                  <a:pt x="2492193" y="407530"/>
                </a:lnTo>
                <a:lnTo>
                  <a:pt x="2499789" y="407854"/>
                </a:lnTo>
                <a:lnTo>
                  <a:pt x="2502828" y="405906"/>
                </a:lnTo>
                <a:lnTo>
                  <a:pt x="2506517" y="406989"/>
                </a:lnTo>
                <a:lnTo>
                  <a:pt x="2508362" y="411536"/>
                </a:lnTo>
                <a:lnTo>
                  <a:pt x="2511834" y="411319"/>
                </a:lnTo>
                <a:lnTo>
                  <a:pt x="2512269" y="408613"/>
                </a:lnTo>
                <a:lnTo>
                  <a:pt x="2515090" y="408288"/>
                </a:lnTo>
                <a:lnTo>
                  <a:pt x="2519647" y="411969"/>
                </a:lnTo>
                <a:lnTo>
                  <a:pt x="2521710" y="410778"/>
                </a:lnTo>
                <a:lnTo>
                  <a:pt x="2525941" y="411211"/>
                </a:lnTo>
                <a:lnTo>
                  <a:pt x="2528003" y="409046"/>
                </a:lnTo>
                <a:lnTo>
                  <a:pt x="2526050" y="407422"/>
                </a:lnTo>
                <a:lnTo>
                  <a:pt x="2522578" y="408180"/>
                </a:lnTo>
                <a:lnTo>
                  <a:pt x="2519756" y="405256"/>
                </a:lnTo>
                <a:lnTo>
                  <a:pt x="2517369" y="405040"/>
                </a:lnTo>
                <a:lnTo>
                  <a:pt x="2517803" y="403308"/>
                </a:lnTo>
                <a:lnTo>
                  <a:pt x="2520842" y="401142"/>
                </a:lnTo>
                <a:lnTo>
                  <a:pt x="2521167" y="398760"/>
                </a:lnTo>
                <a:lnTo>
                  <a:pt x="2517477" y="397244"/>
                </a:lnTo>
                <a:lnTo>
                  <a:pt x="2518237" y="396054"/>
                </a:lnTo>
                <a:lnTo>
                  <a:pt x="2522903" y="396270"/>
                </a:lnTo>
                <a:lnTo>
                  <a:pt x="2523880" y="394862"/>
                </a:lnTo>
                <a:lnTo>
                  <a:pt x="2518779" y="393022"/>
                </a:lnTo>
                <a:lnTo>
                  <a:pt x="2517694" y="394429"/>
                </a:lnTo>
                <a:lnTo>
                  <a:pt x="2514439" y="394862"/>
                </a:lnTo>
                <a:lnTo>
                  <a:pt x="2511617" y="390856"/>
                </a:lnTo>
                <a:lnTo>
                  <a:pt x="2512486" y="388150"/>
                </a:lnTo>
                <a:lnTo>
                  <a:pt x="2516609" y="384901"/>
                </a:lnTo>
                <a:lnTo>
                  <a:pt x="2516717" y="382303"/>
                </a:lnTo>
                <a:lnTo>
                  <a:pt x="2514656" y="382195"/>
                </a:lnTo>
                <a:lnTo>
                  <a:pt x="2512919" y="378730"/>
                </a:lnTo>
                <a:lnTo>
                  <a:pt x="2513137" y="370718"/>
                </a:lnTo>
                <a:lnTo>
                  <a:pt x="2514439" y="369094"/>
                </a:lnTo>
                <a:lnTo>
                  <a:pt x="2513354" y="364979"/>
                </a:lnTo>
                <a:lnTo>
                  <a:pt x="2513896" y="360757"/>
                </a:lnTo>
                <a:lnTo>
                  <a:pt x="2517585" y="360432"/>
                </a:lnTo>
                <a:lnTo>
                  <a:pt x="2521710" y="359025"/>
                </a:lnTo>
                <a:lnTo>
                  <a:pt x="2526918" y="359242"/>
                </a:lnTo>
                <a:lnTo>
                  <a:pt x="2530174" y="358483"/>
                </a:lnTo>
                <a:lnTo>
                  <a:pt x="2534949" y="360216"/>
                </a:lnTo>
                <a:lnTo>
                  <a:pt x="2538963" y="360216"/>
                </a:lnTo>
                <a:lnTo>
                  <a:pt x="2543630" y="366279"/>
                </a:lnTo>
                <a:lnTo>
                  <a:pt x="2545800" y="375699"/>
                </a:lnTo>
                <a:lnTo>
                  <a:pt x="2546017" y="389124"/>
                </a:lnTo>
                <a:lnTo>
                  <a:pt x="2544064" y="395295"/>
                </a:lnTo>
                <a:lnTo>
                  <a:pt x="2546126" y="397352"/>
                </a:lnTo>
                <a:lnTo>
                  <a:pt x="2549164" y="395837"/>
                </a:lnTo>
                <a:lnTo>
                  <a:pt x="2557737" y="400492"/>
                </a:lnTo>
                <a:lnTo>
                  <a:pt x="2560884" y="406123"/>
                </a:lnTo>
                <a:lnTo>
                  <a:pt x="2563705" y="406989"/>
                </a:lnTo>
                <a:lnTo>
                  <a:pt x="2563705" y="403849"/>
                </a:lnTo>
                <a:lnTo>
                  <a:pt x="2573580" y="403741"/>
                </a:lnTo>
                <a:lnTo>
                  <a:pt x="2579766" y="409371"/>
                </a:lnTo>
                <a:lnTo>
                  <a:pt x="2582045" y="407530"/>
                </a:lnTo>
                <a:lnTo>
                  <a:pt x="2579223" y="404715"/>
                </a:lnTo>
                <a:lnTo>
                  <a:pt x="2582913" y="401683"/>
                </a:lnTo>
                <a:lnTo>
                  <a:pt x="2589966" y="398436"/>
                </a:lnTo>
                <a:lnTo>
                  <a:pt x="2594741" y="391506"/>
                </a:lnTo>
                <a:lnTo>
                  <a:pt x="2603748" y="385984"/>
                </a:lnTo>
                <a:lnTo>
                  <a:pt x="2611670" y="377647"/>
                </a:lnTo>
                <a:lnTo>
                  <a:pt x="2611995" y="373100"/>
                </a:lnTo>
                <a:lnTo>
                  <a:pt x="2615250" y="370393"/>
                </a:lnTo>
                <a:lnTo>
                  <a:pt x="2611778" y="370177"/>
                </a:lnTo>
                <a:lnTo>
                  <a:pt x="2608848" y="373100"/>
                </a:lnTo>
                <a:lnTo>
                  <a:pt x="2608523" y="376890"/>
                </a:lnTo>
                <a:lnTo>
                  <a:pt x="2600818" y="385009"/>
                </a:lnTo>
                <a:lnTo>
                  <a:pt x="2595609" y="388150"/>
                </a:lnTo>
                <a:lnTo>
                  <a:pt x="2595609" y="389666"/>
                </a:lnTo>
                <a:lnTo>
                  <a:pt x="2588447" y="395837"/>
                </a:lnTo>
                <a:lnTo>
                  <a:pt x="2580417" y="398868"/>
                </a:lnTo>
                <a:lnTo>
                  <a:pt x="2577704" y="396920"/>
                </a:lnTo>
                <a:lnTo>
                  <a:pt x="2574991" y="396703"/>
                </a:lnTo>
                <a:lnTo>
                  <a:pt x="2574449" y="398111"/>
                </a:lnTo>
                <a:lnTo>
                  <a:pt x="2569023" y="398111"/>
                </a:lnTo>
                <a:lnTo>
                  <a:pt x="2562620" y="394538"/>
                </a:lnTo>
                <a:lnTo>
                  <a:pt x="2563055" y="391614"/>
                </a:lnTo>
                <a:lnTo>
                  <a:pt x="2566852" y="388475"/>
                </a:lnTo>
                <a:lnTo>
                  <a:pt x="2571193" y="385551"/>
                </a:lnTo>
                <a:lnTo>
                  <a:pt x="2571736" y="381220"/>
                </a:lnTo>
                <a:lnTo>
                  <a:pt x="2566526" y="385118"/>
                </a:lnTo>
                <a:lnTo>
                  <a:pt x="2564682" y="388150"/>
                </a:lnTo>
                <a:lnTo>
                  <a:pt x="2560884" y="387933"/>
                </a:lnTo>
                <a:lnTo>
                  <a:pt x="2557954" y="382303"/>
                </a:lnTo>
                <a:lnTo>
                  <a:pt x="2557954" y="380138"/>
                </a:lnTo>
                <a:lnTo>
                  <a:pt x="2560992" y="379705"/>
                </a:lnTo>
                <a:lnTo>
                  <a:pt x="2565008" y="377647"/>
                </a:lnTo>
                <a:lnTo>
                  <a:pt x="2565550" y="376023"/>
                </a:lnTo>
                <a:lnTo>
                  <a:pt x="2561426" y="375915"/>
                </a:lnTo>
                <a:lnTo>
                  <a:pt x="2561426" y="373750"/>
                </a:lnTo>
                <a:lnTo>
                  <a:pt x="2563923" y="371909"/>
                </a:lnTo>
                <a:lnTo>
                  <a:pt x="2567286" y="373317"/>
                </a:lnTo>
                <a:lnTo>
                  <a:pt x="2570651" y="372992"/>
                </a:lnTo>
                <a:lnTo>
                  <a:pt x="2571084" y="370177"/>
                </a:lnTo>
                <a:lnTo>
                  <a:pt x="2567178" y="370177"/>
                </a:lnTo>
                <a:lnTo>
                  <a:pt x="2564465" y="368444"/>
                </a:lnTo>
                <a:lnTo>
                  <a:pt x="2562620" y="370934"/>
                </a:lnTo>
                <a:lnTo>
                  <a:pt x="2558930" y="370610"/>
                </a:lnTo>
                <a:lnTo>
                  <a:pt x="2557194" y="367145"/>
                </a:lnTo>
                <a:lnTo>
                  <a:pt x="2558713" y="364546"/>
                </a:lnTo>
                <a:lnTo>
                  <a:pt x="2562620" y="363572"/>
                </a:lnTo>
                <a:lnTo>
                  <a:pt x="2565658" y="361407"/>
                </a:lnTo>
                <a:lnTo>
                  <a:pt x="2570433" y="361840"/>
                </a:lnTo>
                <a:lnTo>
                  <a:pt x="2575317" y="363680"/>
                </a:lnTo>
                <a:lnTo>
                  <a:pt x="2578898" y="361407"/>
                </a:lnTo>
                <a:lnTo>
                  <a:pt x="2573580" y="361407"/>
                </a:lnTo>
                <a:lnTo>
                  <a:pt x="2572712" y="358916"/>
                </a:lnTo>
                <a:lnTo>
                  <a:pt x="2576836" y="354585"/>
                </a:lnTo>
                <a:lnTo>
                  <a:pt x="2580308" y="354369"/>
                </a:lnTo>
                <a:lnTo>
                  <a:pt x="2581828" y="352312"/>
                </a:lnTo>
                <a:lnTo>
                  <a:pt x="2578247" y="352312"/>
                </a:lnTo>
                <a:lnTo>
                  <a:pt x="2578030" y="349930"/>
                </a:lnTo>
                <a:lnTo>
                  <a:pt x="2580960" y="345491"/>
                </a:lnTo>
                <a:lnTo>
                  <a:pt x="2585083" y="344733"/>
                </a:lnTo>
                <a:lnTo>
                  <a:pt x="2583238" y="340944"/>
                </a:lnTo>
                <a:lnTo>
                  <a:pt x="2589098" y="332173"/>
                </a:lnTo>
                <a:lnTo>
                  <a:pt x="2593005" y="329792"/>
                </a:lnTo>
                <a:lnTo>
                  <a:pt x="2594090" y="326761"/>
                </a:lnTo>
                <a:lnTo>
                  <a:pt x="2589966" y="327410"/>
                </a:lnTo>
                <a:lnTo>
                  <a:pt x="2583346" y="335530"/>
                </a:lnTo>
                <a:lnTo>
                  <a:pt x="2578247" y="345275"/>
                </a:lnTo>
                <a:lnTo>
                  <a:pt x="2571193" y="350904"/>
                </a:lnTo>
                <a:lnTo>
                  <a:pt x="2565441" y="356751"/>
                </a:lnTo>
                <a:lnTo>
                  <a:pt x="2561643" y="355561"/>
                </a:lnTo>
                <a:lnTo>
                  <a:pt x="2554590" y="355777"/>
                </a:lnTo>
                <a:lnTo>
                  <a:pt x="2554481" y="352637"/>
                </a:lnTo>
                <a:lnTo>
                  <a:pt x="2558062" y="347548"/>
                </a:lnTo>
                <a:lnTo>
                  <a:pt x="2563055" y="345275"/>
                </a:lnTo>
                <a:lnTo>
                  <a:pt x="2563055" y="340618"/>
                </a:lnTo>
                <a:lnTo>
                  <a:pt x="2556000" y="345816"/>
                </a:lnTo>
                <a:lnTo>
                  <a:pt x="2549815" y="345166"/>
                </a:lnTo>
                <a:lnTo>
                  <a:pt x="2549924" y="348522"/>
                </a:lnTo>
                <a:lnTo>
                  <a:pt x="2546017" y="351338"/>
                </a:lnTo>
                <a:lnTo>
                  <a:pt x="2539615" y="350796"/>
                </a:lnTo>
                <a:lnTo>
                  <a:pt x="2533646" y="345275"/>
                </a:lnTo>
                <a:lnTo>
                  <a:pt x="2536685" y="342893"/>
                </a:lnTo>
                <a:lnTo>
                  <a:pt x="2541025" y="342351"/>
                </a:lnTo>
                <a:lnTo>
                  <a:pt x="2539506" y="339969"/>
                </a:lnTo>
                <a:lnTo>
                  <a:pt x="2536685" y="339753"/>
                </a:lnTo>
                <a:lnTo>
                  <a:pt x="2537553" y="334664"/>
                </a:lnTo>
                <a:lnTo>
                  <a:pt x="2543304" y="330008"/>
                </a:lnTo>
                <a:lnTo>
                  <a:pt x="2543955" y="326327"/>
                </a:lnTo>
                <a:lnTo>
                  <a:pt x="2549164" y="324270"/>
                </a:lnTo>
                <a:lnTo>
                  <a:pt x="2553396" y="321239"/>
                </a:lnTo>
                <a:lnTo>
                  <a:pt x="2558280" y="320589"/>
                </a:lnTo>
                <a:lnTo>
                  <a:pt x="2558605" y="314850"/>
                </a:lnTo>
                <a:lnTo>
                  <a:pt x="2561860" y="308679"/>
                </a:lnTo>
                <a:lnTo>
                  <a:pt x="2568371" y="300775"/>
                </a:lnTo>
                <a:lnTo>
                  <a:pt x="2572169" y="302183"/>
                </a:lnTo>
                <a:lnTo>
                  <a:pt x="2581502" y="300017"/>
                </a:lnTo>
                <a:lnTo>
                  <a:pt x="2588339" y="301749"/>
                </a:lnTo>
                <a:lnTo>
                  <a:pt x="2592028" y="299693"/>
                </a:lnTo>
                <a:lnTo>
                  <a:pt x="2595826" y="299909"/>
                </a:lnTo>
                <a:lnTo>
                  <a:pt x="2600601" y="296661"/>
                </a:lnTo>
                <a:lnTo>
                  <a:pt x="2604291" y="296120"/>
                </a:lnTo>
                <a:lnTo>
                  <a:pt x="2604941" y="297852"/>
                </a:lnTo>
                <a:lnTo>
                  <a:pt x="2610802" y="304023"/>
                </a:lnTo>
                <a:lnTo>
                  <a:pt x="2613840" y="304240"/>
                </a:lnTo>
                <a:lnTo>
                  <a:pt x="2624366" y="311278"/>
                </a:lnTo>
                <a:lnTo>
                  <a:pt x="2626103" y="315067"/>
                </a:lnTo>
                <a:lnTo>
                  <a:pt x="2628816" y="318965"/>
                </a:lnTo>
                <a:lnTo>
                  <a:pt x="2631637" y="318857"/>
                </a:lnTo>
                <a:lnTo>
                  <a:pt x="2638039" y="328601"/>
                </a:lnTo>
                <a:lnTo>
                  <a:pt x="2637822" y="321780"/>
                </a:lnTo>
                <a:lnTo>
                  <a:pt x="2642488" y="321347"/>
                </a:lnTo>
                <a:lnTo>
                  <a:pt x="2641620" y="318315"/>
                </a:lnTo>
                <a:lnTo>
                  <a:pt x="2635977" y="317774"/>
                </a:lnTo>
                <a:lnTo>
                  <a:pt x="2633699" y="316908"/>
                </a:lnTo>
                <a:lnTo>
                  <a:pt x="2633590" y="313010"/>
                </a:lnTo>
                <a:lnTo>
                  <a:pt x="2638039" y="311386"/>
                </a:lnTo>
                <a:lnTo>
                  <a:pt x="2648023" y="311386"/>
                </a:lnTo>
                <a:lnTo>
                  <a:pt x="2652689" y="313768"/>
                </a:lnTo>
                <a:lnTo>
                  <a:pt x="2654208" y="311819"/>
                </a:lnTo>
                <a:lnTo>
                  <a:pt x="2654534" y="306297"/>
                </a:lnTo>
                <a:lnTo>
                  <a:pt x="2656921" y="301641"/>
                </a:lnTo>
                <a:lnTo>
                  <a:pt x="2656595" y="298393"/>
                </a:lnTo>
                <a:lnTo>
                  <a:pt x="2653882" y="299584"/>
                </a:lnTo>
                <a:lnTo>
                  <a:pt x="2653123" y="303374"/>
                </a:lnTo>
                <a:lnTo>
                  <a:pt x="2648348" y="306622"/>
                </a:lnTo>
                <a:lnTo>
                  <a:pt x="2644876" y="309870"/>
                </a:lnTo>
                <a:lnTo>
                  <a:pt x="2635977" y="306622"/>
                </a:lnTo>
                <a:lnTo>
                  <a:pt x="2628816" y="306406"/>
                </a:lnTo>
                <a:lnTo>
                  <a:pt x="2625994" y="302833"/>
                </a:lnTo>
                <a:lnTo>
                  <a:pt x="2622304" y="300775"/>
                </a:lnTo>
                <a:lnTo>
                  <a:pt x="2615250" y="301641"/>
                </a:lnTo>
                <a:lnTo>
                  <a:pt x="2609607" y="290923"/>
                </a:lnTo>
                <a:lnTo>
                  <a:pt x="2609391" y="282911"/>
                </a:lnTo>
                <a:lnTo>
                  <a:pt x="2611995" y="280529"/>
                </a:lnTo>
                <a:lnTo>
                  <a:pt x="2616770" y="283019"/>
                </a:lnTo>
                <a:lnTo>
                  <a:pt x="2617855" y="287674"/>
                </a:lnTo>
                <a:lnTo>
                  <a:pt x="2619917" y="290923"/>
                </a:lnTo>
                <a:lnTo>
                  <a:pt x="2623173" y="285509"/>
                </a:lnTo>
                <a:lnTo>
                  <a:pt x="2624691" y="279121"/>
                </a:lnTo>
                <a:lnTo>
                  <a:pt x="2621328" y="279988"/>
                </a:lnTo>
                <a:lnTo>
                  <a:pt x="2619700" y="278580"/>
                </a:lnTo>
                <a:lnTo>
                  <a:pt x="2619375" y="273817"/>
                </a:lnTo>
                <a:lnTo>
                  <a:pt x="2623389" y="266237"/>
                </a:lnTo>
                <a:lnTo>
                  <a:pt x="2623173" y="259850"/>
                </a:lnTo>
                <a:lnTo>
                  <a:pt x="2626428" y="252595"/>
                </a:lnTo>
                <a:lnTo>
                  <a:pt x="2625126" y="239927"/>
                </a:lnTo>
                <a:lnTo>
                  <a:pt x="2622846" y="233215"/>
                </a:lnTo>
                <a:lnTo>
                  <a:pt x="2620243" y="230941"/>
                </a:lnTo>
                <a:lnTo>
                  <a:pt x="2618289" y="226069"/>
                </a:lnTo>
                <a:lnTo>
                  <a:pt x="2619157" y="222495"/>
                </a:lnTo>
                <a:lnTo>
                  <a:pt x="2621979" y="221413"/>
                </a:lnTo>
                <a:lnTo>
                  <a:pt x="2624475" y="220222"/>
                </a:lnTo>
                <a:lnTo>
                  <a:pt x="2627079" y="222821"/>
                </a:lnTo>
                <a:lnTo>
                  <a:pt x="2630769" y="223687"/>
                </a:lnTo>
                <a:lnTo>
                  <a:pt x="2633590" y="228992"/>
                </a:lnTo>
                <a:lnTo>
                  <a:pt x="2635218" y="228342"/>
                </a:lnTo>
                <a:lnTo>
                  <a:pt x="2635109" y="224661"/>
                </a:lnTo>
                <a:lnTo>
                  <a:pt x="2632722" y="219031"/>
                </a:lnTo>
                <a:lnTo>
                  <a:pt x="2627730" y="217515"/>
                </a:lnTo>
                <a:lnTo>
                  <a:pt x="2624800" y="215025"/>
                </a:lnTo>
                <a:lnTo>
                  <a:pt x="2624583" y="210695"/>
                </a:lnTo>
                <a:lnTo>
                  <a:pt x="2626319" y="205172"/>
                </a:lnTo>
                <a:lnTo>
                  <a:pt x="2641078" y="189040"/>
                </a:lnTo>
                <a:lnTo>
                  <a:pt x="2647806" y="187524"/>
                </a:lnTo>
                <a:lnTo>
                  <a:pt x="2652255" y="189365"/>
                </a:lnTo>
                <a:lnTo>
                  <a:pt x="2653991" y="193804"/>
                </a:lnTo>
                <a:lnTo>
                  <a:pt x="2659525" y="198135"/>
                </a:lnTo>
                <a:lnTo>
                  <a:pt x="2663649" y="198135"/>
                </a:lnTo>
                <a:lnTo>
                  <a:pt x="2673958" y="205064"/>
                </a:lnTo>
                <a:lnTo>
                  <a:pt x="2673958" y="210153"/>
                </a:lnTo>
                <a:lnTo>
                  <a:pt x="2679493" y="216541"/>
                </a:lnTo>
                <a:lnTo>
                  <a:pt x="2682097" y="228018"/>
                </a:lnTo>
                <a:lnTo>
                  <a:pt x="2681446" y="236462"/>
                </a:lnTo>
                <a:lnTo>
                  <a:pt x="2682423" y="244583"/>
                </a:lnTo>
                <a:lnTo>
                  <a:pt x="2685895" y="249239"/>
                </a:lnTo>
                <a:lnTo>
                  <a:pt x="2687414" y="246748"/>
                </a:lnTo>
                <a:lnTo>
                  <a:pt x="2689367" y="246423"/>
                </a:lnTo>
                <a:lnTo>
                  <a:pt x="2693817" y="250538"/>
                </a:lnTo>
                <a:lnTo>
                  <a:pt x="2694685" y="254868"/>
                </a:lnTo>
                <a:lnTo>
                  <a:pt x="2695878" y="251729"/>
                </a:lnTo>
                <a:lnTo>
                  <a:pt x="2699134" y="249888"/>
                </a:lnTo>
                <a:lnTo>
                  <a:pt x="2704343" y="250429"/>
                </a:lnTo>
                <a:lnTo>
                  <a:pt x="2700545" y="248048"/>
                </a:lnTo>
                <a:lnTo>
                  <a:pt x="2694685" y="247182"/>
                </a:lnTo>
                <a:lnTo>
                  <a:pt x="2691429" y="242850"/>
                </a:lnTo>
                <a:lnTo>
                  <a:pt x="2687957" y="240577"/>
                </a:lnTo>
                <a:lnTo>
                  <a:pt x="2687848" y="237870"/>
                </a:lnTo>
                <a:lnTo>
                  <a:pt x="2692406" y="232890"/>
                </a:lnTo>
                <a:lnTo>
                  <a:pt x="2691972" y="229750"/>
                </a:lnTo>
                <a:lnTo>
                  <a:pt x="2691429" y="212752"/>
                </a:lnTo>
                <a:lnTo>
                  <a:pt x="2689910" y="208096"/>
                </a:lnTo>
                <a:lnTo>
                  <a:pt x="2691429" y="202791"/>
                </a:lnTo>
                <a:lnTo>
                  <a:pt x="2700328" y="202249"/>
                </a:lnTo>
                <a:lnTo>
                  <a:pt x="2703475" y="204306"/>
                </a:lnTo>
                <a:lnTo>
                  <a:pt x="2710311" y="206147"/>
                </a:lnTo>
                <a:lnTo>
                  <a:pt x="2717040" y="206689"/>
                </a:lnTo>
                <a:lnTo>
                  <a:pt x="2724636" y="209395"/>
                </a:lnTo>
                <a:lnTo>
                  <a:pt x="2733642" y="209179"/>
                </a:lnTo>
                <a:lnTo>
                  <a:pt x="2741021" y="205714"/>
                </a:lnTo>
                <a:lnTo>
                  <a:pt x="2745362" y="206363"/>
                </a:lnTo>
                <a:lnTo>
                  <a:pt x="2749811" y="210153"/>
                </a:lnTo>
                <a:lnTo>
                  <a:pt x="2759253" y="211127"/>
                </a:lnTo>
                <a:lnTo>
                  <a:pt x="2763701" y="214051"/>
                </a:lnTo>
                <a:lnTo>
                  <a:pt x="2768694" y="212535"/>
                </a:lnTo>
                <a:lnTo>
                  <a:pt x="2768585" y="210153"/>
                </a:lnTo>
                <a:lnTo>
                  <a:pt x="2764353" y="207230"/>
                </a:lnTo>
                <a:lnTo>
                  <a:pt x="2757950" y="207230"/>
                </a:lnTo>
                <a:lnTo>
                  <a:pt x="2750679" y="205714"/>
                </a:lnTo>
                <a:lnTo>
                  <a:pt x="2748726" y="203007"/>
                </a:lnTo>
                <a:lnTo>
                  <a:pt x="2749485" y="201491"/>
                </a:lnTo>
                <a:lnTo>
                  <a:pt x="2753067" y="201383"/>
                </a:lnTo>
                <a:lnTo>
                  <a:pt x="2760012" y="198676"/>
                </a:lnTo>
                <a:lnTo>
                  <a:pt x="2776398" y="196944"/>
                </a:lnTo>
                <a:lnTo>
                  <a:pt x="2787358" y="196077"/>
                </a:lnTo>
                <a:lnTo>
                  <a:pt x="2796148" y="199218"/>
                </a:lnTo>
                <a:lnTo>
                  <a:pt x="2801574" y="203657"/>
                </a:lnTo>
                <a:lnTo>
                  <a:pt x="2805480" y="201600"/>
                </a:lnTo>
                <a:lnTo>
                  <a:pt x="2811340" y="200409"/>
                </a:lnTo>
                <a:lnTo>
                  <a:pt x="2808410" y="197485"/>
                </a:lnTo>
                <a:lnTo>
                  <a:pt x="2805806" y="197594"/>
                </a:lnTo>
                <a:lnTo>
                  <a:pt x="2801682" y="195536"/>
                </a:lnTo>
                <a:lnTo>
                  <a:pt x="2801791" y="192938"/>
                </a:lnTo>
                <a:lnTo>
                  <a:pt x="2797233" y="190231"/>
                </a:lnTo>
                <a:lnTo>
                  <a:pt x="2791374" y="190015"/>
                </a:lnTo>
                <a:lnTo>
                  <a:pt x="2788226" y="187957"/>
                </a:lnTo>
                <a:lnTo>
                  <a:pt x="2775855" y="189257"/>
                </a:lnTo>
                <a:lnTo>
                  <a:pt x="2775638" y="187308"/>
                </a:lnTo>
                <a:lnTo>
                  <a:pt x="2778026" y="185034"/>
                </a:lnTo>
                <a:lnTo>
                  <a:pt x="2780956" y="178755"/>
                </a:lnTo>
                <a:lnTo>
                  <a:pt x="2786381" y="177997"/>
                </a:lnTo>
                <a:lnTo>
                  <a:pt x="2791374" y="173774"/>
                </a:lnTo>
                <a:lnTo>
                  <a:pt x="2793760" y="167494"/>
                </a:lnTo>
                <a:lnTo>
                  <a:pt x="2806349" y="160024"/>
                </a:lnTo>
                <a:lnTo>
                  <a:pt x="2813402" y="159590"/>
                </a:lnTo>
                <a:lnTo>
                  <a:pt x="2824796" y="154177"/>
                </a:lnTo>
                <a:lnTo>
                  <a:pt x="2824905" y="151254"/>
                </a:lnTo>
                <a:lnTo>
                  <a:pt x="2811340" y="156667"/>
                </a:lnTo>
                <a:lnTo>
                  <a:pt x="2802333" y="157533"/>
                </a:lnTo>
                <a:lnTo>
                  <a:pt x="2789637" y="167061"/>
                </a:lnTo>
                <a:lnTo>
                  <a:pt x="2789420" y="172042"/>
                </a:lnTo>
                <a:lnTo>
                  <a:pt x="2787032" y="172042"/>
                </a:lnTo>
                <a:lnTo>
                  <a:pt x="2785296" y="167169"/>
                </a:lnTo>
                <a:lnTo>
                  <a:pt x="2783451" y="166845"/>
                </a:lnTo>
                <a:lnTo>
                  <a:pt x="2780304" y="171500"/>
                </a:lnTo>
                <a:lnTo>
                  <a:pt x="2775964" y="172042"/>
                </a:lnTo>
                <a:lnTo>
                  <a:pt x="2769779" y="179404"/>
                </a:lnTo>
                <a:lnTo>
                  <a:pt x="2772383" y="179620"/>
                </a:lnTo>
                <a:lnTo>
                  <a:pt x="2773251" y="181786"/>
                </a:lnTo>
                <a:lnTo>
                  <a:pt x="2764678" y="188391"/>
                </a:lnTo>
                <a:lnTo>
                  <a:pt x="2759686" y="189257"/>
                </a:lnTo>
                <a:lnTo>
                  <a:pt x="2742541" y="196077"/>
                </a:lnTo>
                <a:lnTo>
                  <a:pt x="2737440" y="197160"/>
                </a:lnTo>
                <a:lnTo>
                  <a:pt x="2732883" y="196294"/>
                </a:lnTo>
                <a:lnTo>
                  <a:pt x="2718993" y="196619"/>
                </a:lnTo>
                <a:lnTo>
                  <a:pt x="2712807" y="190448"/>
                </a:lnTo>
                <a:lnTo>
                  <a:pt x="2706079" y="191206"/>
                </a:lnTo>
                <a:lnTo>
                  <a:pt x="2702281" y="190557"/>
                </a:lnTo>
                <a:lnTo>
                  <a:pt x="2701738" y="186659"/>
                </a:lnTo>
                <a:lnTo>
                  <a:pt x="2708141" y="180812"/>
                </a:lnTo>
                <a:lnTo>
                  <a:pt x="2714327" y="180595"/>
                </a:lnTo>
                <a:lnTo>
                  <a:pt x="2718450" y="178863"/>
                </a:lnTo>
                <a:lnTo>
                  <a:pt x="2727131" y="177888"/>
                </a:lnTo>
                <a:lnTo>
                  <a:pt x="2731255" y="173774"/>
                </a:lnTo>
                <a:lnTo>
                  <a:pt x="2727782" y="173449"/>
                </a:lnTo>
                <a:lnTo>
                  <a:pt x="2721923" y="175614"/>
                </a:lnTo>
                <a:lnTo>
                  <a:pt x="2716605" y="174965"/>
                </a:lnTo>
                <a:lnTo>
                  <a:pt x="2710202" y="177455"/>
                </a:lnTo>
                <a:lnTo>
                  <a:pt x="2705754" y="176264"/>
                </a:lnTo>
                <a:lnTo>
                  <a:pt x="2705754" y="172367"/>
                </a:lnTo>
                <a:lnTo>
                  <a:pt x="2711397" y="169443"/>
                </a:lnTo>
                <a:lnTo>
                  <a:pt x="2707272" y="168902"/>
                </a:lnTo>
                <a:lnTo>
                  <a:pt x="2699676" y="170959"/>
                </a:lnTo>
                <a:lnTo>
                  <a:pt x="2699025" y="177888"/>
                </a:lnTo>
                <a:lnTo>
                  <a:pt x="2692080" y="184709"/>
                </a:lnTo>
                <a:lnTo>
                  <a:pt x="2684701" y="185034"/>
                </a:lnTo>
                <a:lnTo>
                  <a:pt x="2674392" y="181786"/>
                </a:lnTo>
                <a:lnTo>
                  <a:pt x="2665168" y="181461"/>
                </a:lnTo>
                <a:lnTo>
                  <a:pt x="2661045" y="176806"/>
                </a:lnTo>
                <a:lnTo>
                  <a:pt x="2661153" y="173991"/>
                </a:lnTo>
                <a:lnTo>
                  <a:pt x="2655510" y="173666"/>
                </a:lnTo>
                <a:lnTo>
                  <a:pt x="2650410" y="169551"/>
                </a:lnTo>
                <a:lnTo>
                  <a:pt x="2650844" y="166953"/>
                </a:lnTo>
                <a:lnTo>
                  <a:pt x="2654859" y="163705"/>
                </a:lnTo>
                <a:lnTo>
                  <a:pt x="2658115" y="157967"/>
                </a:lnTo>
                <a:lnTo>
                  <a:pt x="2665277" y="153853"/>
                </a:lnTo>
                <a:lnTo>
                  <a:pt x="2669617" y="148439"/>
                </a:lnTo>
                <a:lnTo>
                  <a:pt x="2676237" y="144758"/>
                </a:lnTo>
                <a:lnTo>
                  <a:pt x="2678950" y="141618"/>
                </a:lnTo>
                <a:lnTo>
                  <a:pt x="2683833" y="142917"/>
                </a:lnTo>
                <a:lnTo>
                  <a:pt x="2693491" y="143675"/>
                </a:lnTo>
                <a:lnTo>
                  <a:pt x="2696421" y="142051"/>
                </a:lnTo>
                <a:lnTo>
                  <a:pt x="2701088" y="142376"/>
                </a:lnTo>
                <a:lnTo>
                  <a:pt x="2709877" y="147464"/>
                </a:lnTo>
                <a:lnTo>
                  <a:pt x="2718016" y="147681"/>
                </a:lnTo>
                <a:lnTo>
                  <a:pt x="2722248" y="149088"/>
                </a:lnTo>
                <a:lnTo>
                  <a:pt x="2729953" y="148114"/>
                </a:lnTo>
                <a:lnTo>
                  <a:pt x="2731038" y="146706"/>
                </a:lnTo>
                <a:lnTo>
                  <a:pt x="2727566" y="144433"/>
                </a:lnTo>
                <a:lnTo>
                  <a:pt x="2718341" y="145082"/>
                </a:lnTo>
                <a:lnTo>
                  <a:pt x="2708358" y="143133"/>
                </a:lnTo>
                <a:lnTo>
                  <a:pt x="2702281" y="139561"/>
                </a:lnTo>
                <a:lnTo>
                  <a:pt x="2695987" y="139344"/>
                </a:lnTo>
                <a:lnTo>
                  <a:pt x="2686872" y="140319"/>
                </a:lnTo>
                <a:lnTo>
                  <a:pt x="2676671" y="138153"/>
                </a:lnTo>
                <a:lnTo>
                  <a:pt x="2673958" y="137937"/>
                </a:lnTo>
                <a:lnTo>
                  <a:pt x="2671571" y="141076"/>
                </a:lnTo>
                <a:lnTo>
                  <a:pt x="2666579" y="146382"/>
                </a:lnTo>
                <a:lnTo>
                  <a:pt x="2658440" y="151470"/>
                </a:lnTo>
                <a:lnTo>
                  <a:pt x="2649542" y="155584"/>
                </a:lnTo>
                <a:lnTo>
                  <a:pt x="2644008" y="162947"/>
                </a:lnTo>
                <a:lnTo>
                  <a:pt x="2642163" y="163813"/>
                </a:lnTo>
                <a:lnTo>
                  <a:pt x="2638148" y="162081"/>
                </a:lnTo>
                <a:lnTo>
                  <a:pt x="2631854" y="153636"/>
                </a:lnTo>
                <a:lnTo>
                  <a:pt x="2628816" y="152878"/>
                </a:lnTo>
                <a:lnTo>
                  <a:pt x="2626103" y="150280"/>
                </a:lnTo>
                <a:lnTo>
                  <a:pt x="2624258" y="144324"/>
                </a:lnTo>
                <a:lnTo>
                  <a:pt x="2624041" y="137504"/>
                </a:lnTo>
                <a:lnTo>
                  <a:pt x="2621653" y="134797"/>
                </a:lnTo>
                <a:lnTo>
                  <a:pt x="2621111" y="128517"/>
                </a:lnTo>
                <a:lnTo>
                  <a:pt x="2623064" y="126568"/>
                </a:lnTo>
                <a:lnTo>
                  <a:pt x="2627621" y="127651"/>
                </a:lnTo>
                <a:lnTo>
                  <a:pt x="2632505" y="126568"/>
                </a:lnTo>
                <a:lnTo>
                  <a:pt x="2635435" y="128625"/>
                </a:lnTo>
                <a:lnTo>
                  <a:pt x="2649542" y="128409"/>
                </a:lnTo>
                <a:lnTo>
                  <a:pt x="2656704" y="133281"/>
                </a:lnTo>
                <a:lnTo>
                  <a:pt x="2660936" y="133389"/>
                </a:lnTo>
                <a:lnTo>
                  <a:pt x="2663432" y="135013"/>
                </a:lnTo>
                <a:lnTo>
                  <a:pt x="2667772" y="135339"/>
                </a:lnTo>
                <a:lnTo>
                  <a:pt x="2673524" y="132415"/>
                </a:lnTo>
                <a:lnTo>
                  <a:pt x="2679384" y="134255"/>
                </a:lnTo>
                <a:lnTo>
                  <a:pt x="2680795" y="132848"/>
                </a:lnTo>
                <a:lnTo>
                  <a:pt x="2685461" y="131657"/>
                </a:lnTo>
                <a:lnTo>
                  <a:pt x="2688174" y="129708"/>
                </a:lnTo>
                <a:lnTo>
                  <a:pt x="2697832" y="127543"/>
                </a:lnTo>
                <a:lnTo>
                  <a:pt x="2706730" y="126027"/>
                </a:lnTo>
                <a:lnTo>
                  <a:pt x="2707924" y="123320"/>
                </a:lnTo>
                <a:lnTo>
                  <a:pt x="2707599" y="120397"/>
                </a:lnTo>
                <a:lnTo>
                  <a:pt x="2704777" y="121372"/>
                </a:lnTo>
                <a:lnTo>
                  <a:pt x="2702173" y="122129"/>
                </a:lnTo>
                <a:lnTo>
                  <a:pt x="2698917" y="124078"/>
                </a:lnTo>
                <a:lnTo>
                  <a:pt x="2692949" y="125486"/>
                </a:lnTo>
                <a:lnTo>
                  <a:pt x="2683291" y="124836"/>
                </a:lnTo>
                <a:lnTo>
                  <a:pt x="2676020" y="129275"/>
                </a:lnTo>
                <a:lnTo>
                  <a:pt x="2672656" y="129925"/>
                </a:lnTo>
                <a:lnTo>
                  <a:pt x="2666145" y="128842"/>
                </a:lnTo>
                <a:lnTo>
                  <a:pt x="2663758" y="130033"/>
                </a:lnTo>
                <a:lnTo>
                  <a:pt x="2659634" y="129925"/>
                </a:lnTo>
                <a:lnTo>
                  <a:pt x="2654208" y="125052"/>
                </a:lnTo>
                <a:lnTo>
                  <a:pt x="2650844" y="124944"/>
                </a:lnTo>
                <a:lnTo>
                  <a:pt x="2648674" y="123537"/>
                </a:lnTo>
                <a:lnTo>
                  <a:pt x="2643140" y="123754"/>
                </a:lnTo>
                <a:lnTo>
                  <a:pt x="2635543" y="119639"/>
                </a:lnTo>
                <a:lnTo>
                  <a:pt x="2630117" y="122021"/>
                </a:lnTo>
                <a:lnTo>
                  <a:pt x="2625234" y="119422"/>
                </a:lnTo>
                <a:lnTo>
                  <a:pt x="2623823" y="116066"/>
                </a:lnTo>
                <a:lnTo>
                  <a:pt x="2626103" y="113792"/>
                </a:lnTo>
                <a:lnTo>
                  <a:pt x="2625994" y="107837"/>
                </a:lnTo>
                <a:lnTo>
                  <a:pt x="2629466" y="105347"/>
                </a:lnTo>
                <a:lnTo>
                  <a:pt x="2632071" y="105455"/>
                </a:lnTo>
                <a:lnTo>
                  <a:pt x="2635327" y="109353"/>
                </a:lnTo>
                <a:lnTo>
                  <a:pt x="2642488" y="108921"/>
                </a:lnTo>
                <a:lnTo>
                  <a:pt x="2645418" y="107621"/>
                </a:lnTo>
                <a:lnTo>
                  <a:pt x="2641295" y="104481"/>
                </a:lnTo>
                <a:lnTo>
                  <a:pt x="2637280" y="104264"/>
                </a:lnTo>
                <a:lnTo>
                  <a:pt x="2633915" y="100150"/>
                </a:lnTo>
                <a:lnTo>
                  <a:pt x="2635327" y="97985"/>
                </a:lnTo>
                <a:lnTo>
                  <a:pt x="2641946" y="98093"/>
                </a:lnTo>
                <a:lnTo>
                  <a:pt x="2648131" y="92896"/>
                </a:lnTo>
                <a:lnTo>
                  <a:pt x="2656270" y="93004"/>
                </a:lnTo>
                <a:lnTo>
                  <a:pt x="2659634" y="90081"/>
                </a:lnTo>
                <a:lnTo>
                  <a:pt x="2664300" y="89864"/>
                </a:lnTo>
                <a:lnTo>
                  <a:pt x="2667230" y="91488"/>
                </a:lnTo>
                <a:lnTo>
                  <a:pt x="2671245" y="90623"/>
                </a:lnTo>
                <a:lnTo>
                  <a:pt x="2671354" y="87807"/>
                </a:lnTo>
                <a:lnTo>
                  <a:pt x="2668858" y="85750"/>
                </a:lnTo>
                <a:lnTo>
                  <a:pt x="2658766" y="87266"/>
                </a:lnTo>
                <a:lnTo>
                  <a:pt x="2650519" y="88024"/>
                </a:lnTo>
                <a:lnTo>
                  <a:pt x="2644116" y="90514"/>
                </a:lnTo>
                <a:lnTo>
                  <a:pt x="2639667" y="91164"/>
                </a:lnTo>
                <a:lnTo>
                  <a:pt x="2636737" y="94304"/>
                </a:lnTo>
                <a:lnTo>
                  <a:pt x="2632722" y="94195"/>
                </a:lnTo>
                <a:lnTo>
                  <a:pt x="2632830" y="90731"/>
                </a:lnTo>
                <a:lnTo>
                  <a:pt x="2631637" y="86075"/>
                </a:lnTo>
                <a:lnTo>
                  <a:pt x="2637280" y="83801"/>
                </a:lnTo>
                <a:lnTo>
                  <a:pt x="2644224" y="78388"/>
                </a:lnTo>
                <a:lnTo>
                  <a:pt x="2651604" y="77846"/>
                </a:lnTo>
                <a:lnTo>
                  <a:pt x="2655402" y="75897"/>
                </a:lnTo>
                <a:lnTo>
                  <a:pt x="2650302" y="75681"/>
                </a:lnTo>
                <a:lnTo>
                  <a:pt x="2648131" y="73407"/>
                </a:lnTo>
                <a:lnTo>
                  <a:pt x="2648891" y="66803"/>
                </a:lnTo>
                <a:lnTo>
                  <a:pt x="2646721" y="67777"/>
                </a:lnTo>
                <a:lnTo>
                  <a:pt x="2645744" y="72433"/>
                </a:lnTo>
                <a:lnTo>
                  <a:pt x="2643248" y="73949"/>
                </a:lnTo>
                <a:lnTo>
                  <a:pt x="2641837" y="69402"/>
                </a:lnTo>
                <a:lnTo>
                  <a:pt x="2639125" y="69834"/>
                </a:lnTo>
                <a:lnTo>
                  <a:pt x="2636954" y="72217"/>
                </a:lnTo>
                <a:lnTo>
                  <a:pt x="2632071" y="72758"/>
                </a:lnTo>
                <a:lnTo>
                  <a:pt x="2631962" y="76764"/>
                </a:lnTo>
                <a:lnTo>
                  <a:pt x="2630226" y="79687"/>
                </a:lnTo>
                <a:lnTo>
                  <a:pt x="2624041" y="81419"/>
                </a:lnTo>
                <a:lnTo>
                  <a:pt x="2623498" y="76981"/>
                </a:lnTo>
                <a:lnTo>
                  <a:pt x="2624041" y="72000"/>
                </a:lnTo>
                <a:lnTo>
                  <a:pt x="2622087" y="71458"/>
                </a:lnTo>
                <a:lnTo>
                  <a:pt x="2621002" y="67236"/>
                </a:lnTo>
                <a:lnTo>
                  <a:pt x="2622413" y="65828"/>
                </a:lnTo>
                <a:lnTo>
                  <a:pt x="2625886" y="67561"/>
                </a:lnTo>
                <a:lnTo>
                  <a:pt x="2626536" y="62039"/>
                </a:lnTo>
                <a:lnTo>
                  <a:pt x="2630443" y="60199"/>
                </a:lnTo>
                <a:lnTo>
                  <a:pt x="2635977" y="60415"/>
                </a:lnTo>
                <a:lnTo>
                  <a:pt x="2638148" y="55976"/>
                </a:lnTo>
                <a:lnTo>
                  <a:pt x="2644008" y="53161"/>
                </a:lnTo>
                <a:lnTo>
                  <a:pt x="2647806" y="53810"/>
                </a:lnTo>
                <a:lnTo>
                  <a:pt x="2654968" y="50021"/>
                </a:lnTo>
                <a:lnTo>
                  <a:pt x="2664843" y="49371"/>
                </a:lnTo>
                <a:lnTo>
                  <a:pt x="2667230" y="47422"/>
                </a:lnTo>
                <a:lnTo>
                  <a:pt x="2670920" y="48830"/>
                </a:lnTo>
                <a:lnTo>
                  <a:pt x="2671462" y="52187"/>
                </a:lnTo>
                <a:lnTo>
                  <a:pt x="2669726" y="54677"/>
                </a:lnTo>
                <a:lnTo>
                  <a:pt x="2669401" y="65828"/>
                </a:lnTo>
                <a:lnTo>
                  <a:pt x="2672765" y="64746"/>
                </a:lnTo>
                <a:lnTo>
                  <a:pt x="2675043" y="57708"/>
                </a:lnTo>
                <a:lnTo>
                  <a:pt x="2678190" y="54893"/>
                </a:lnTo>
                <a:lnTo>
                  <a:pt x="2679710" y="57167"/>
                </a:lnTo>
                <a:lnTo>
                  <a:pt x="2678190" y="59116"/>
                </a:lnTo>
                <a:lnTo>
                  <a:pt x="2678733" y="62580"/>
                </a:lnTo>
                <a:lnTo>
                  <a:pt x="2681554" y="60740"/>
                </a:lnTo>
                <a:lnTo>
                  <a:pt x="2681554" y="56950"/>
                </a:lnTo>
                <a:lnTo>
                  <a:pt x="2682965" y="54677"/>
                </a:lnTo>
                <a:lnTo>
                  <a:pt x="2682314" y="51320"/>
                </a:lnTo>
                <a:lnTo>
                  <a:pt x="2683291" y="45690"/>
                </a:lnTo>
                <a:lnTo>
                  <a:pt x="2686221" y="45149"/>
                </a:lnTo>
                <a:lnTo>
                  <a:pt x="2692297" y="39736"/>
                </a:lnTo>
                <a:lnTo>
                  <a:pt x="2694685" y="40277"/>
                </a:lnTo>
                <a:lnTo>
                  <a:pt x="2695227" y="44391"/>
                </a:lnTo>
                <a:lnTo>
                  <a:pt x="2695227" y="50129"/>
                </a:lnTo>
                <a:lnTo>
                  <a:pt x="2699460" y="52511"/>
                </a:lnTo>
                <a:lnTo>
                  <a:pt x="2700436" y="58575"/>
                </a:lnTo>
                <a:lnTo>
                  <a:pt x="2699243" y="62148"/>
                </a:lnTo>
                <a:lnTo>
                  <a:pt x="2700870" y="65720"/>
                </a:lnTo>
                <a:lnTo>
                  <a:pt x="2700219" y="69402"/>
                </a:lnTo>
                <a:lnTo>
                  <a:pt x="2703475" y="71892"/>
                </a:lnTo>
                <a:lnTo>
                  <a:pt x="2705428" y="70268"/>
                </a:lnTo>
                <a:lnTo>
                  <a:pt x="2703475" y="66912"/>
                </a:lnTo>
                <a:lnTo>
                  <a:pt x="2703149" y="61389"/>
                </a:lnTo>
                <a:lnTo>
                  <a:pt x="2706079" y="59982"/>
                </a:lnTo>
                <a:lnTo>
                  <a:pt x="2710962" y="52295"/>
                </a:lnTo>
                <a:lnTo>
                  <a:pt x="2713567" y="52295"/>
                </a:lnTo>
                <a:lnTo>
                  <a:pt x="2717690" y="58683"/>
                </a:lnTo>
                <a:lnTo>
                  <a:pt x="2717908" y="64638"/>
                </a:lnTo>
                <a:lnTo>
                  <a:pt x="2716605" y="69402"/>
                </a:lnTo>
                <a:lnTo>
                  <a:pt x="2719101" y="71892"/>
                </a:lnTo>
                <a:lnTo>
                  <a:pt x="2720186" y="75248"/>
                </a:lnTo>
                <a:lnTo>
                  <a:pt x="2722465" y="72325"/>
                </a:lnTo>
                <a:lnTo>
                  <a:pt x="2722140" y="65936"/>
                </a:lnTo>
                <a:lnTo>
                  <a:pt x="2725069" y="65504"/>
                </a:lnTo>
                <a:lnTo>
                  <a:pt x="2727782" y="63446"/>
                </a:lnTo>
                <a:lnTo>
                  <a:pt x="2728867" y="66370"/>
                </a:lnTo>
                <a:lnTo>
                  <a:pt x="2727349" y="68102"/>
                </a:lnTo>
                <a:lnTo>
                  <a:pt x="2727891" y="72433"/>
                </a:lnTo>
                <a:lnTo>
                  <a:pt x="2730061" y="74923"/>
                </a:lnTo>
                <a:lnTo>
                  <a:pt x="2733534" y="70376"/>
                </a:lnTo>
                <a:lnTo>
                  <a:pt x="2735704" y="70268"/>
                </a:lnTo>
                <a:lnTo>
                  <a:pt x="2735053" y="75573"/>
                </a:lnTo>
                <a:lnTo>
                  <a:pt x="2737549" y="72758"/>
                </a:lnTo>
                <a:lnTo>
                  <a:pt x="2737332" y="67236"/>
                </a:lnTo>
                <a:lnTo>
                  <a:pt x="2733317" y="60523"/>
                </a:lnTo>
                <a:lnTo>
                  <a:pt x="2731038" y="60632"/>
                </a:lnTo>
                <a:lnTo>
                  <a:pt x="2728759" y="57059"/>
                </a:lnTo>
                <a:lnTo>
                  <a:pt x="2728542" y="52079"/>
                </a:lnTo>
                <a:lnTo>
                  <a:pt x="2725612" y="48613"/>
                </a:lnTo>
                <a:lnTo>
                  <a:pt x="2723442" y="44391"/>
                </a:lnTo>
                <a:lnTo>
                  <a:pt x="2721054" y="42009"/>
                </a:lnTo>
                <a:lnTo>
                  <a:pt x="2722140" y="36704"/>
                </a:lnTo>
                <a:lnTo>
                  <a:pt x="2726806" y="37028"/>
                </a:lnTo>
                <a:lnTo>
                  <a:pt x="2730170" y="40060"/>
                </a:lnTo>
                <a:lnTo>
                  <a:pt x="2735270" y="38436"/>
                </a:lnTo>
                <a:lnTo>
                  <a:pt x="2739285" y="39844"/>
                </a:lnTo>
                <a:lnTo>
                  <a:pt x="2741130" y="37461"/>
                </a:lnTo>
                <a:lnTo>
                  <a:pt x="2741564" y="28908"/>
                </a:lnTo>
                <a:lnTo>
                  <a:pt x="2738092" y="25335"/>
                </a:lnTo>
                <a:lnTo>
                  <a:pt x="2739611" y="21113"/>
                </a:lnTo>
                <a:lnTo>
                  <a:pt x="2745471" y="19597"/>
                </a:lnTo>
                <a:lnTo>
                  <a:pt x="2747207" y="20896"/>
                </a:lnTo>
                <a:lnTo>
                  <a:pt x="2755780" y="22087"/>
                </a:lnTo>
                <a:lnTo>
                  <a:pt x="2759469" y="24685"/>
                </a:lnTo>
                <a:lnTo>
                  <a:pt x="2759035" y="28150"/>
                </a:lnTo>
                <a:lnTo>
                  <a:pt x="2755671" y="31398"/>
                </a:lnTo>
                <a:lnTo>
                  <a:pt x="2756756" y="33997"/>
                </a:lnTo>
                <a:lnTo>
                  <a:pt x="2765546" y="37137"/>
                </a:lnTo>
                <a:lnTo>
                  <a:pt x="2765763" y="40060"/>
                </a:lnTo>
                <a:lnTo>
                  <a:pt x="2764353" y="46556"/>
                </a:lnTo>
                <a:lnTo>
                  <a:pt x="2765221" y="56842"/>
                </a:lnTo>
                <a:lnTo>
                  <a:pt x="2769127" y="55435"/>
                </a:lnTo>
                <a:lnTo>
                  <a:pt x="2771840" y="49804"/>
                </a:lnTo>
                <a:lnTo>
                  <a:pt x="2773685" y="49913"/>
                </a:lnTo>
                <a:lnTo>
                  <a:pt x="2774010" y="54135"/>
                </a:lnTo>
                <a:lnTo>
                  <a:pt x="2775855" y="56842"/>
                </a:lnTo>
                <a:lnTo>
                  <a:pt x="2779653" y="54677"/>
                </a:lnTo>
                <a:lnTo>
                  <a:pt x="2781715" y="51103"/>
                </a:lnTo>
                <a:lnTo>
                  <a:pt x="2786707" y="48830"/>
                </a:lnTo>
                <a:lnTo>
                  <a:pt x="2788009" y="46232"/>
                </a:lnTo>
                <a:lnTo>
                  <a:pt x="2784971" y="37353"/>
                </a:lnTo>
                <a:lnTo>
                  <a:pt x="2787792" y="33889"/>
                </a:lnTo>
                <a:lnTo>
                  <a:pt x="2791265" y="33781"/>
                </a:lnTo>
                <a:lnTo>
                  <a:pt x="2793327" y="35404"/>
                </a:lnTo>
                <a:lnTo>
                  <a:pt x="2801357" y="36271"/>
                </a:lnTo>
                <a:lnTo>
                  <a:pt x="2801031" y="32806"/>
                </a:lnTo>
                <a:lnTo>
                  <a:pt x="2793435" y="27392"/>
                </a:lnTo>
                <a:lnTo>
                  <a:pt x="2792133" y="21329"/>
                </a:lnTo>
                <a:lnTo>
                  <a:pt x="2793652" y="18947"/>
                </a:lnTo>
                <a:lnTo>
                  <a:pt x="2794955" y="14184"/>
                </a:lnTo>
                <a:lnTo>
                  <a:pt x="2797993" y="13859"/>
                </a:lnTo>
                <a:lnTo>
                  <a:pt x="2806999" y="18839"/>
                </a:lnTo>
                <a:lnTo>
                  <a:pt x="2807976" y="25877"/>
                </a:lnTo>
                <a:lnTo>
                  <a:pt x="2809170" y="30749"/>
                </a:lnTo>
                <a:lnTo>
                  <a:pt x="2808627" y="36596"/>
                </a:lnTo>
                <a:lnTo>
                  <a:pt x="2810906" y="40060"/>
                </a:lnTo>
                <a:lnTo>
                  <a:pt x="2812208" y="46340"/>
                </a:lnTo>
                <a:lnTo>
                  <a:pt x="2814378" y="50346"/>
                </a:lnTo>
                <a:lnTo>
                  <a:pt x="2816441" y="48505"/>
                </a:lnTo>
                <a:lnTo>
                  <a:pt x="2816658" y="42983"/>
                </a:lnTo>
                <a:lnTo>
                  <a:pt x="2815790" y="39194"/>
                </a:lnTo>
                <a:lnTo>
                  <a:pt x="2815247" y="33130"/>
                </a:lnTo>
                <a:lnTo>
                  <a:pt x="2812751" y="26201"/>
                </a:lnTo>
                <a:lnTo>
                  <a:pt x="2813728" y="18081"/>
                </a:lnTo>
                <a:lnTo>
                  <a:pt x="2813077" y="9528"/>
                </a:lnTo>
                <a:lnTo>
                  <a:pt x="2814705" y="4439"/>
                </a:lnTo>
                <a:lnTo>
                  <a:pt x="2817851" y="4764"/>
                </a:lnTo>
                <a:lnTo>
                  <a:pt x="2822409" y="8986"/>
                </a:lnTo>
                <a:lnTo>
                  <a:pt x="2825447" y="8878"/>
                </a:lnTo>
                <a:lnTo>
                  <a:pt x="2827184" y="10394"/>
                </a:lnTo>
                <a:lnTo>
                  <a:pt x="2827400" y="17106"/>
                </a:lnTo>
                <a:lnTo>
                  <a:pt x="2830113" y="21979"/>
                </a:lnTo>
                <a:lnTo>
                  <a:pt x="2829354" y="27718"/>
                </a:lnTo>
                <a:lnTo>
                  <a:pt x="2830113" y="35296"/>
                </a:lnTo>
                <a:lnTo>
                  <a:pt x="2832392" y="36271"/>
                </a:lnTo>
                <a:lnTo>
                  <a:pt x="2832175" y="32265"/>
                </a:lnTo>
                <a:lnTo>
                  <a:pt x="2833912" y="29016"/>
                </a:lnTo>
                <a:lnTo>
                  <a:pt x="2835648" y="28692"/>
                </a:lnTo>
                <a:lnTo>
                  <a:pt x="2844004" y="38328"/>
                </a:lnTo>
                <a:lnTo>
                  <a:pt x="2844872" y="36704"/>
                </a:lnTo>
                <a:lnTo>
                  <a:pt x="2848670" y="35622"/>
                </a:lnTo>
                <a:lnTo>
                  <a:pt x="2848887" y="33455"/>
                </a:lnTo>
                <a:lnTo>
                  <a:pt x="2845523" y="32589"/>
                </a:lnTo>
                <a:lnTo>
                  <a:pt x="2841508" y="27392"/>
                </a:lnTo>
                <a:lnTo>
                  <a:pt x="2842810" y="25661"/>
                </a:lnTo>
                <a:lnTo>
                  <a:pt x="2843352" y="22845"/>
                </a:lnTo>
                <a:lnTo>
                  <a:pt x="2837927" y="18298"/>
                </a:lnTo>
                <a:lnTo>
                  <a:pt x="2836408" y="14833"/>
                </a:lnTo>
                <a:lnTo>
                  <a:pt x="2837710" y="12884"/>
                </a:lnTo>
                <a:lnTo>
                  <a:pt x="2843136" y="12451"/>
                </a:lnTo>
                <a:lnTo>
                  <a:pt x="2840748" y="10178"/>
                </a:lnTo>
                <a:lnTo>
                  <a:pt x="2837059" y="9528"/>
                </a:lnTo>
                <a:lnTo>
                  <a:pt x="2834237" y="5847"/>
                </a:lnTo>
                <a:lnTo>
                  <a:pt x="2836950" y="4439"/>
                </a:lnTo>
                <a:lnTo>
                  <a:pt x="2841074" y="4439"/>
                </a:lnTo>
                <a:lnTo>
                  <a:pt x="2846065" y="109"/>
                </a:lnTo>
                <a:lnTo>
                  <a:pt x="2856158" y="1732"/>
                </a:lnTo>
                <a:lnTo>
                  <a:pt x="2858003" y="4223"/>
                </a:lnTo>
                <a:lnTo>
                  <a:pt x="2857894" y="9312"/>
                </a:lnTo>
                <a:lnTo>
                  <a:pt x="2855181" y="13642"/>
                </a:lnTo>
                <a:lnTo>
                  <a:pt x="2856375" y="15916"/>
                </a:lnTo>
                <a:lnTo>
                  <a:pt x="2859521" y="15591"/>
                </a:lnTo>
                <a:lnTo>
                  <a:pt x="2862886" y="9636"/>
                </a:lnTo>
                <a:lnTo>
                  <a:pt x="2865164" y="7904"/>
                </a:lnTo>
                <a:lnTo>
                  <a:pt x="2866901" y="10502"/>
                </a:lnTo>
                <a:lnTo>
                  <a:pt x="2864730" y="17432"/>
                </a:lnTo>
                <a:lnTo>
                  <a:pt x="2867226" y="18947"/>
                </a:lnTo>
                <a:lnTo>
                  <a:pt x="2870156" y="18406"/>
                </a:lnTo>
                <a:lnTo>
                  <a:pt x="2871025" y="16132"/>
                </a:lnTo>
                <a:lnTo>
                  <a:pt x="2876993" y="10502"/>
                </a:lnTo>
                <a:lnTo>
                  <a:pt x="2878838" y="12776"/>
                </a:lnTo>
                <a:lnTo>
                  <a:pt x="2878186" y="18406"/>
                </a:lnTo>
                <a:lnTo>
                  <a:pt x="2876125" y="22304"/>
                </a:lnTo>
                <a:lnTo>
                  <a:pt x="2877753" y="30208"/>
                </a:lnTo>
                <a:lnTo>
                  <a:pt x="2875148" y="33672"/>
                </a:lnTo>
                <a:lnTo>
                  <a:pt x="2877318" y="35730"/>
                </a:lnTo>
                <a:lnTo>
                  <a:pt x="2882527" y="34646"/>
                </a:lnTo>
                <a:lnTo>
                  <a:pt x="2885674" y="35512"/>
                </a:lnTo>
                <a:lnTo>
                  <a:pt x="2887736" y="33672"/>
                </a:lnTo>
                <a:lnTo>
                  <a:pt x="2887953" y="26743"/>
                </a:lnTo>
                <a:lnTo>
                  <a:pt x="2890775" y="18514"/>
                </a:lnTo>
                <a:lnTo>
                  <a:pt x="2887085" y="8120"/>
                </a:lnTo>
                <a:lnTo>
                  <a:pt x="2888062" y="1732"/>
                </a:lnTo>
                <a:close/>
              </a:path>
            </a:pathLst>
          </a:custGeom>
          <a:solidFill>
            <a:schemeClr val="bg2">
              <a:lumMod val="40000"/>
              <a:lumOff val="60000"/>
            </a:schemeClr>
          </a:solidFill>
          <a:ln w="15328" cap="flat">
            <a:noFill/>
            <a:prstDash val="solid"/>
            <a:miter/>
          </a:ln>
        </p:spPr>
        <p:txBody>
          <a:bodyPr wrap="square" lIns="274320" tIns="0" rIns="274320" bIns="0" rtlCol="0" anchor="ctr">
            <a:noAutofit/>
          </a:bodyPr>
          <a:lstStyle/>
          <a:p>
            <a:endParaRPr lang="en-US" sz="2400" dirty="0"/>
          </a:p>
        </p:txBody>
      </p:sp>
    </p:spTree>
    <p:extLst>
      <p:ext uri="{BB962C8B-B14F-4D97-AF65-F5344CB8AC3E}">
        <p14:creationId xmlns:p14="http://schemas.microsoft.com/office/powerpoint/2010/main" val="121091291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E2CADBC-0003-7C33-C146-6D436C547B19}"/>
              </a:ext>
            </a:extLst>
          </p:cNvPr>
          <p:cNvSpPr/>
          <p:nvPr userDrawn="1"/>
        </p:nvSpPr>
        <p:spPr>
          <a:xfrm>
            <a:off x="0" y="0"/>
            <a:ext cx="121920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6A747BB-168C-097B-095E-7F44491DF0D9}"/>
              </a:ext>
            </a:extLst>
          </p:cNvPr>
          <p:cNvSpPr>
            <a:spLocks noGrp="1"/>
          </p:cNvSpPr>
          <p:nvPr>
            <p:ph type="title" hasCustomPrompt="1"/>
          </p:nvPr>
        </p:nvSpPr>
        <p:spPr>
          <a:xfrm>
            <a:off x="2971800" y="1295400"/>
            <a:ext cx="8001000" cy="4191000"/>
          </a:xfrm>
          <a:prstGeom prst="rect">
            <a:avLst/>
          </a:prstGeom>
        </p:spPr>
        <p:txBody>
          <a:bodyPr/>
          <a:lstStyle>
            <a:lvl1pPr>
              <a:defRPr sz="4000" b="0">
                <a:solidFill>
                  <a:schemeClr val="tx2"/>
                </a:solidFill>
              </a:defRPr>
            </a:lvl1pPr>
          </a:lstStyle>
          <a:p>
            <a:r>
              <a:rPr lang="en-US"/>
              <a:t>Insert Quote</a:t>
            </a:r>
          </a:p>
        </p:txBody>
      </p:sp>
      <p:sp>
        <p:nvSpPr>
          <p:cNvPr id="3" name="Slide Number Placeholder 2">
            <a:extLst>
              <a:ext uri="{FF2B5EF4-FFF2-40B4-BE49-F238E27FC236}">
                <a16:creationId xmlns:a16="http://schemas.microsoft.com/office/drawing/2014/main" id="{20210453-D500-2ADA-89A8-89A6F53A6620}"/>
              </a:ext>
            </a:extLst>
          </p:cNvPr>
          <p:cNvSpPr>
            <a:spLocks noGrp="1"/>
          </p:cNvSpPr>
          <p:nvPr>
            <p:ph type="sldNum" sz="quarter" idx="10"/>
          </p:nvPr>
        </p:nvSpPr>
        <p:spPr/>
        <p:txBody>
          <a:bodyPr/>
          <a:lstStyle/>
          <a:p>
            <a:fld id="{4755468B-C2BA-8B42-ABD6-597061763577}" type="slidenum">
              <a:rPr lang="en-US" smtClean="0"/>
              <a:pPr/>
              <a:t>‹#›</a:t>
            </a:fld>
            <a:endParaRPr lang="en-US" dirty="0"/>
          </a:p>
        </p:txBody>
      </p:sp>
      <p:sp>
        <p:nvSpPr>
          <p:cNvPr id="10" name="Text Placeholder 9">
            <a:extLst>
              <a:ext uri="{FF2B5EF4-FFF2-40B4-BE49-F238E27FC236}">
                <a16:creationId xmlns:a16="http://schemas.microsoft.com/office/drawing/2014/main" id="{19B05BEF-5376-CCCE-3F5F-E4A59B159F17}"/>
              </a:ext>
            </a:extLst>
          </p:cNvPr>
          <p:cNvSpPr>
            <a:spLocks noGrp="1"/>
          </p:cNvSpPr>
          <p:nvPr>
            <p:ph type="body" sz="quarter" idx="11" hasCustomPrompt="1"/>
          </p:nvPr>
        </p:nvSpPr>
        <p:spPr>
          <a:xfrm>
            <a:off x="4038600" y="5638800"/>
            <a:ext cx="6934200" cy="457200"/>
          </a:xfrm>
          <a:prstGeom prst="rect">
            <a:avLst/>
          </a:prstGeom>
        </p:spPr>
        <p:txBody>
          <a:bodyPr/>
          <a:lstStyle>
            <a:lvl1pPr marL="0" indent="0" algn="r">
              <a:buFontTx/>
              <a:buNone/>
              <a:defRPr sz="1600" b="1" cap="all" baseline="0">
                <a:solidFill>
                  <a:schemeClr val="bg1"/>
                </a:solidFill>
              </a:defRPr>
            </a:lvl1pPr>
            <a:lvl2pPr marL="274314" indent="0" algn="r">
              <a:buFontTx/>
              <a:buNone/>
              <a:defRPr sz="1600" b="1" cap="all" baseline="0">
                <a:solidFill>
                  <a:schemeClr val="bg2"/>
                </a:solidFill>
              </a:defRPr>
            </a:lvl2pPr>
            <a:lvl3pPr marL="438901" indent="0" algn="r">
              <a:buFontTx/>
              <a:buNone/>
              <a:defRPr sz="1600" b="1" cap="all" baseline="0">
                <a:solidFill>
                  <a:schemeClr val="bg2"/>
                </a:solidFill>
              </a:defRPr>
            </a:lvl3pPr>
            <a:lvl4pPr marL="685703" indent="0" algn="r">
              <a:buFontTx/>
              <a:buNone/>
              <a:defRPr sz="1600" b="1" cap="all" baseline="0">
                <a:solidFill>
                  <a:schemeClr val="bg2"/>
                </a:solidFill>
              </a:defRPr>
            </a:lvl4pPr>
            <a:lvl5pPr marL="868659" indent="0" algn="r">
              <a:buFontTx/>
              <a:buNone/>
              <a:defRPr sz="1600" b="1" cap="all" baseline="0">
                <a:solidFill>
                  <a:schemeClr val="bg2"/>
                </a:solidFill>
              </a:defRPr>
            </a:lvl5pPr>
          </a:lstStyle>
          <a:p>
            <a:pPr lvl="0"/>
            <a:r>
              <a:rPr lang="en-US"/>
              <a:t>Attribution Name</a:t>
            </a:r>
          </a:p>
        </p:txBody>
      </p:sp>
    </p:spTree>
    <p:extLst>
      <p:ext uri="{BB962C8B-B14F-4D97-AF65-F5344CB8AC3E}">
        <p14:creationId xmlns:p14="http://schemas.microsoft.com/office/powerpoint/2010/main" val="654522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 Whit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2"/>
            <a:ext cx="12192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bg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1808041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ntent -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bg1"/>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bg1"/>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bg1"/>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3963048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 Light Tea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6D6E22-E958-7908-1F8A-0C41664B8C1E}"/>
              </a:ext>
            </a:extLst>
          </p:cNvPr>
          <p:cNvSpPr/>
          <p:nvPr userDrawn="1"/>
        </p:nvSpPr>
        <p:spPr>
          <a:xfrm>
            <a:off x="0" y="-1"/>
            <a:ext cx="12192000" cy="685800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hasCustomPrompt="1"/>
          </p:nvPr>
        </p:nvSpPr>
        <p:spPr>
          <a:xfrm>
            <a:off x="462501" y="1273789"/>
            <a:ext cx="11270299" cy="4822212"/>
          </a:xfrm>
          <a:prstGeom prst="rect">
            <a:avLst/>
          </a:prstGeom>
        </p:spPr>
        <p:txBody>
          <a:bodyPr bIns="0">
            <a:normAutofit/>
          </a:bodyPr>
          <a:lstStyle>
            <a:lvl1pPr>
              <a:lnSpc>
                <a:spcPct val="100000"/>
              </a:lnSpc>
              <a:defRPr sz="2400" b="0" i="0">
                <a:solidFill>
                  <a:schemeClr val="tx2"/>
                </a:solidFill>
                <a:latin typeface="Gill Sans MT" panose="020B0502020104020203" pitchFamily="34" charset="0"/>
                <a:cs typeface="Arial" panose="020B0604020202020204" pitchFamily="34" charset="0"/>
              </a:defRPr>
            </a:lvl1pPr>
            <a:lvl2pPr marL="457189">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2pPr>
            <a:lvl3pPr marL="621776" indent="-182875">
              <a:lnSpc>
                <a:spcPct val="100000"/>
              </a:lnSpc>
              <a:spcBef>
                <a:spcPts val="400"/>
              </a:spcBef>
              <a:defRPr lang="en-US" sz="2400" b="0" i="0" kern="1200" dirty="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658" indent="-182875">
              <a:lnSpc>
                <a:spcPct val="100000"/>
              </a:lnSpc>
              <a:spcBef>
                <a:spcPts val="400"/>
              </a:spcBef>
              <a:defRPr sz="2400" b="0" i="0">
                <a:solidFill>
                  <a:schemeClr val="tx2"/>
                </a:solidFill>
                <a:latin typeface="Gill Sans MT" panose="020B0502020104020203" pitchFamily="34" charset="0"/>
                <a:cs typeface="Arial" panose="020B0604020202020204" pitchFamily="34" charset="0"/>
              </a:defRPr>
            </a:lvl4pPr>
          </a:lstStyle>
          <a:p>
            <a:pPr lvl="0"/>
            <a:r>
              <a:rPr lang="en-US"/>
              <a:t>Click to edit text</a:t>
            </a:r>
          </a:p>
          <a:p>
            <a:pPr lvl="1"/>
            <a:r>
              <a:rPr lang="en-US"/>
              <a:t>Second level</a:t>
            </a:r>
          </a:p>
          <a:p>
            <a:pPr marL="621776" lvl="2" indent="-182875" algn="l" defTabSz="914332" rtl="0" eaLnBrk="1" latinLnBrk="0" hangingPunct="1">
              <a:lnSpc>
                <a:spcPct val="100000"/>
              </a:lnSpc>
              <a:spcBef>
                <a:spcPts val="400"/>
              </a:spcBef>
              <a:buFont typeface="Symbol" panose="05050102010706020507" pitchFamily="18" charset="2"/>
              <a:buChar char="-"/>
            </a:pPr>
            <a:r>
              <a:rPr lang="en-US"/>
              <a:t>Third level</a:t>
            </a:r>
          </a:p>
          <a:p>
            <a:pPr lvl="3"/>
            <a:r>
              <a:rPr lang="en-US"/>
              <a:t>Fourth level</a:t>
            </a:r>
          </a:p>
        </p:txBody>
      </p:sp>
      <p:sp>
        <p:nvSpPr>
          <p:cNvPr id="5" name="Title 4"/>
          <p:cNvSpPr>
            <a:spLocks noGrp="1"/>
          </p:cNvSpPr>
          <p:nvPr>
            <p:ph type="title" hasCustomPrompt="1"/>
          </p:nvPr>
        </p:nvSpPr>
        <p:spPr>
          <a:xfrm>
            <a:off x="462501" y="297515"/>
            <a:ext cx="11270299" cy="769286"/>
          </a:xfrm>
          <a:prstGeom prst="rect">
            <a:avLst/>
          </a:prstGeom>
        </p:spPr>
        <p:txBody>
          <a:bodyPr anchor="ctr">
            <a:normAutofit/>
          </a:bodyPr>
          <a:lstStyle>
            <a:lvl1pPr algn="ctr">
              <a:defRPr sz="2800" b="1" i="0">
                <a:solidFill>
                  <a:schemeClr val="tx2"/>
                </a:solidFill>
                <a:latin typeface="Gill Sans MT" panose="020B0502020104020203" pitchFamily="34" charset="0"/>
              </a:defRPr>
            </a:lvl1pPr>
          </a:lstStyle>
          <a:p>
            <a:r>
              <a:rPr lang="en-US"/>
              <a:t>Insert Title</a:t>
            </a:r>
          </a:p>
        </p:txBody>
      </p:sp>
      <p:sp>
        <p:nvSpPr>
          <p:cNvPr id="13" name="Slide Number Placeholder 6">
            <a:extLst>
              <a:ext uri="{FF2B5EF4-FFF2-40B4-BE49-F238E27FC236}">
                <a16:creationId xmlns:a16="http://schemas.microsoft.com/office/drawing/2014/main" id="{A7633F18-A54C-EF82-51B1-5CF8803F2DBE}"/>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3066692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image" Target="../media/image1.emf"/><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oleObject" Target="../embeddings/oleObject12.bin"/><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tags" Target="../tags/tag1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theme" Target="../theme/theme10.xml"/><Relationship Id="rId8" Type="http://schemas.openxmlformats.org/officeDocument/2006/relationships/slideLayout" Target="../slideLayouts/slideLayout12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image" Target="../media/image1.emf"/><Relationship Id="rId2" Type="http://schemas.openxmlformats.org/officeDocument/2006/relationships/slideLayout" Target="../slideLayouts/slideLayout144.xml"/><Relationship Id="rId16" Type="http://schemas.openxmlformats.org/officeDocument/2006/relationships/oleObject" Target="../embeddings/oleObject13.bin"/><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tags" Target="../tags/tag14.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158.xml"/><Relationship Id="rId7" Type="http://schemas.openxmlformats.org/officeDocument/2006/relationships/theme" Target="../theme/theme12.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5" Type="http://schemas.openxmlformats.org/officeDocument/2006/relationships/slideLayout" Target="../slideLayouts/slideLayout160.xml"/><Relationship Id="rId10" Type="http://schemas.openxmlformats.org/officeDocument/2006/relationships/image" Target="../media/image1.emf"/><Relationship Id="rId4" Type="http://schemas.openxmlformats.org/officeDocument/2006/relationships/slideLayout" Target="../slideLayouts/slideLayout159.xml"/><Relationship Id="rId9" Type="http://schemas.openxmlformats.org/officeDocument/2006/relationships/oleObject" Target="../embeddings/oleObject14.bin"/></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164.xml"/><Relationship Id="rId7" Type="http://schemas.openxmlformats.org/officeDocument/2006/relationships/theme" Target="../theme/theme13.x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5" Type="http://schemas.openxmlformats.org/officeDocument/2006/relationships/slideLayout" Target="../slideLayouts/slideLayout166.xml"/><Relationship Id="rId10" Type="http://schemas.openxmlformats.org/officeDocument/2006/relationships/image" Target="../media/image6.emf"/><Relationship Id="rId4" Type="http://schemas.openxmlformats.org/officeDocument/2006/relationships/slideLayout" Target="../slideLayouts/slideLayout165.xml"/><Relationship Id="rId9" Type="http://schemas.openxmlformats.org/officeDocument/2006/relationships/oleObject" Target="../embeddings/oleObject15.bin"/></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170.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image" Target="../media/image1.emf"/><Relationship Id="rId5" Type="http://schemas.openxmlformats.org/officeDocument/2006/relationships/slideLayout" Target="../slideLayouts/slideLayout172.xml"/><Relationship Id="rId10" Type="http://schemas.openxmlformats.org/officeDocument/2006/relationships/oleObject" Target="../embeddings/oleObject16.bin"/><Relationship Id="rId4" Type="http://schemas.openxmlformats.org/officeDocument/2006/relationships/slideLayout" Target="../slideLayouts/slideLayout171.xml"/><Relationship Id="rId9" Type="http://schemas.openxmlformats.org/officeDocument/2006/relationships/tags" Target="../tags/tag17.xml"/></Relationships>
</file>

<file path=ppt/slideMasters/_rels/slideMaster15.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slideLayout" Target="../slideLayouts/slideLayout177.xml"/><Relationship Id="rId7" Type="http://schemas.openxmlformats.org/officeDocument/2006/relationships/tags" Target="../tags/tag18.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theme" Target="../theme/theme15.xml"/><Relationship Id="rId5" Type="http://schemas.openxmlformats.org/officeDocument/2006/relationships/slideLayout" Target="../slideLayouts/slideLayout179.xml"/><Relationship Id="rId4" Type="http://schemas.openxmlformats.org/officeDocument/2006/relationships/slideLayout" Target="../slideLayouts/slideLayout178.xml"/><Relationship Id="rId9"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oleObject" Target="../embeddings/oleObject18.bin"/><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tags" Target="../tags/tag19.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theme" Target="../theme/theme16.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image" Target="../media/image6.emf"/></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slideLayout" Target="../slideLayouts/slideLayout215.xml"/><Relationship Id="rId39" Type="http://schemas.openxmlformats.org/officeDocument/2006/relationships/slideLayout" Target="../slideLayouts/slideLayout228.xml"/><Relationship Id="rId21" Type="http://schemas.openxmlformats.org/officeDocument/2006/relationships/slideLayout" Target="../slideLayouts/slideLayout210.xml"/><Relationship Id="rId34" Type="http://schemas.openxmlformats.org/officeDocument/2006/relationships/slideLayout" Target="../slideLayouts/slideLayout223.xml"/><Relationship Id="rId42" Type="http://schemas.openxmlformats.org/officeDocument/2006/relationships/oleObject" Target="../embeddings/oleObject19.bin"/><Relationship Id="rId7" Type="http://schemas.openxmlformats.org/officeDocument/2006/relationships/slideLayout" Target="../slideLayouts/slideLayout19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29" Type="http://schemas.openxmlformats.org/officeDocument/2006/relationships/slideLayout" Target="../slideLayouts/slideLayout218.xml"/><Relationship Id="rId41" Type="http://schemas.openxmlformats.org/officeDocument/2006/relationships/tags" Target="../tags/tag20.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slideLayout" Target="../slideLayouts/slideLayout213.xml"/><Relationship Id="rId32" Type="http://schemas.openxmlformats.org/officeDocument/2006/relationships/slideLayout" Target="../slideLayouts/slideLayout221.xml"/><Relationship Id="rId37" Type="http://schemas.openxmlformats.org/officeDocument/2006/relationships/slideLayout" Target="../slideLayouts/slideLayout226.xml"/><Relationship Id="rId40" Type="http://schemas.openxmlformats.org/officeDocument/2006/relationships/theme" Target="../theme/theme17.x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slideLayout" Target="../slideLayouts/slideLayout212.xml"/><Relationship Id="rId28" Type="http://schemas.openxmlformats.org/officeDocument/2006/relationships/slideLayout" Target="../slideLayouts/slideLayout217.xml"/><Relationship Id="rId36" Type="http://schemas.openxmlformats.org/officeDocument/2006/relationships/slideLayout" Target="../slideLayouts/slideLayout225.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31" Type="http://schemas.openxmlformats.org/officeDocument/2006/relationships/slideLayout" Target="../slideLayouts/slideLayout220.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 Id="rId27" Type="http://schemas.openxmlformats.org/officeDocument/2006/relationships/slideLayout" Target="../slideLayouts/slideLayout216.xml"/><Relationship Id="rId30" Type="http://schemas.openxmlformats.org/officeDocument/2006/relationships/slideLayout" Target="../slideLayouts/slideLayout219.xml"/><Relationship Id="rId35" Type="http://schemas.openxmlformats.org/officeDocument/2006/relationships/slideLayout" Target="../slideLayouts/slideLayout224.xml"/><Relationship Id="rId43" Type="http://schemas.openxmlformats.org/officeDocument/2006/relationships/image" Target="../media/image6.emf"/><Relationship Id="rId8" Type="http://schemas.openxmlformats.org/officeDocument/2006/relationships/slideLayout" Target="../slideLayouts/slideLayout197.xml"/><Relationship Id="rId3" Type="http://schemas.openxmlformats.org/officeDocument/2006/relationships/slideLayout" Target="../slideLayouts/slideLayout192.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slideLayout" Target="../slideLayouts/slideLayout214.xml"/><Relationship Id="rId33" Type="http://schemas.openxmlformats.org/officeDocument/2006/relationships/slideLayout" Target="../slideLayouts/slideLayout222.xml"/><Relationship Id="rId38" Type="http://schemas.openxmlformats.org/officeDocument/2006/relationships/slideLayout" Target="../slideLayouts/slideLayout227.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9.xml"/><Relationship Id="rId7" Type="http://schemas.openxmlformats.org/officeDocument/2006/relationships/tags" Target="../tags/tag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6.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oleObject" Target="../embeddings/oleObject4.bin"/><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5.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6.emf"/><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oleObject" Target="../embeddings/oleObject5.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ags" Target="../tags/tag6.xml"/><Relationship Id="rId5" Type="http://schemas.openxmlformats.org/officeDocument/2006/relationships/slideLayout" Target="../slideLayouts/slideLayout52.xml"/><Relationship Id="rId10" Type="http://schemas.openxmlformats.org/officeDocument/2006/relationships/theme" Target="../theme/theme5.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image" Target="../media/image1.emf"/><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oleObject" Target="../embeddings/oleObject7.bin"/><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tags" Target="../tags/tag8.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80.xml"/><Relationship Id="rId7"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5" Type="http://schemas.openxmlformats.org/officeDocument/2006/relationships/slideLayout" Target="../slideLayouts/slideLayout82.xml"/><Relationship Id="rId10" Type="http://schemas.openxmlformats.org/officeDocument/2006/relationships/image" Target="../media/image1.emf"/><Relationship Id="rId4" Type="http://schemas.openxmlformats.org/officeDocument/2006/relationships/slideLayout" Target="../slideLayouts/slideLayout81.xml"/><Relationship Id="rId9" Type="http://schemas.openxmlformats.org/officeDocument/2006/relationships/oleObject" Target="../embeddings/oleObject8.bin"/></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8.xml"/><Relationship Id="rId1" Type="http://schemas.openxmlformats.org/officeDocument/2006/relationships/slideLayout" Target="../slideLayouts/slideLayout84.xml"/><Relationship Id="rId5" Type="http://schemas.openxmlformats.org/officeDocument/2006/relationships/image" Target="../media/image6.emf"/><Relationship Id="rId4" Type="http://schemas.openxmlformats.org/officeDocument/2006/relationships/oleObject" Target="../embeddings/oleObject9.bin"/></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image" Target="../media/image1.emf"/><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oleObject" Target="../embeddings/oleObject11.bin"/><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tags" Target="../tags/tag12.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heme" Target="../theme/theme9.xml"/><Relationship Id="rId8"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18"/>
            </p:custDataLst>
            <p:extLst>
              <p:ext uri="{D42A27DB-BD31-4B8C-83A1-F6EECF244321}">
                <p14:modId xmlns:p14="http://schemas.microsoft.com/office/powerpoint/2010/main" val="207528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98" imgH="499" progId="TCLayout.ActiveDocument.1">
                  <p:embed/>
                </p:oleObj>
              </mc:Choice>
              <mc:Fallback>
                <p:oleObj name="think-cell Slide" r:id="rId19"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2699277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 id="2147483668" r:id="rId6"/>
    <p:sldLayoutId id="2147483670" r:id="rId7"/>
    <p:sldLayoutId id="2147483672" r:id="rId8"/>
    <p:sldLayoutId id="2147483673" r:id="rId9"/>
    <p:sldLayoutId id="2147483682" r:id="rId10"/>
    <p:sldLayoutId id="2147483683" r:id="rId11"/>
    <p:sldLayoutId id="2147483684" r:id="rId12"/>
    <p:sldLayoutId id="2147483685" r:id="rId13"/>
    <p:sldLayoutId id="2147483686" r:id="rId14"/>
    <p:sldLayoutId id="2147483687" r:id="rId15"/>
    <p:sldLayoutId id="2147483688" r:id="rId16"/>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31"/>
            </p:custDataLst>
            <p:extLst>
              <p:ext uri="{D42A27DB-BD31-4B8C-83A1-F6EECF244321}">
                <p14:modId xmlns:p14="http://schemas.microsoft.com/office/powerpoint/2010/main" val="254621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98" imgH="499" progId="TCLayout.ActiveDocument.1">
                  <p:embed/>
                </p:oleObj>
              </mc:Choice>
              <mc:Fallback>
                <p:oleObj name="think-cell Slide" r:id="rId32"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424674873"/>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 id="2147483861" r:id="rId15"/>
    <p:sldLayoutId id="2147483862" r:id="rId16"/>
    <p:sldLayoutId id="2147483863" r:id="rId17"/>
    <p:sldLayoutId id="2147483864"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D3F2F00-9C7E-4A86-BE46-2F271D6F123A}"/>
              </a:ext>
            </a:extLst>
          </p:cNvPr>
          <p:cNvGraphicFramePr>
            <a:graphicFrameLocks noChangeAspect="1"/>
          </p:cNvGraphicFramePr>
          <p:nvPr userDrawn="1">
            <p:custDataLst>
              <p:tags r:id="rId15"/>
            </p:custDataLst>
            <p:extLst>
              <p:ext uri="{D42A27DB-BD31-4B8C-83A1-F6EECF244321}">
                <p14:modId xmlns:p14="http://schemas.microsoft.com/office/powerpoint/2010/main" val="823812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98" imgH="499" progId="TCLayout.ActiveDocument.1">
                  <p:embed/>
                </p:oleObj>
              </mc:Choice>
              <mc:Fallback>
                <p:oleObj name="think-cell Slide" r:id="rId16" imgW="498" imgH="499" progId="TCLayout.ActiveDocument.1">
                  <p:embed/>
                  <p:pic>
                    <p:nvPicPr>
                      <p:cNvPr id="2" name="Object 1" hidden="1">
                        <a:extLst>
                          <a:ext uri="{FF2B5EF4-FFF2-40B4-BE49-F238E27FC236}">
                            <a16:creationId xmlns:a16="http://schemas.microsoft.com/office/drawing/2014/main" id="{FD3F2F00-9C7E-4A86-BE46-2F271D6F123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80080387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E139B1-29FF-4D96-9088-714EAE82D71A}"/>
              </a:ext>
            </a:extLst>
          </p:cNvPr>
          <p:cNvGraphicFramePr>
            <a:graphicFrameLocks noChangeAspect="1"/>
          </p:cNvGraphicFramePr>
          <p:nvPr userDrawn="1">
            <p:custDataLst>
              <p:tags r:id="rId8"/>
            </p:custDataLst>
            <p:extLst>
              <p:ext uri="{D42A27DB-BD31-4B8C-83A1-F6EECF244321}">
                <p14:modId xmlns:p14="http://schemas.microsoft.com/office/powerpoint/2010/main" val="301561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98" imgH="499" progId="TCLayout.ActiveDocument.1">
                  <p:embed/>
                </p:oleObj>
              </mc:Choice>
              <mc:Fallback>
                <p:oleObj name="think-cell Slide" r:id="rId9" imgW="498" imgH="499" progId="TCLayout.ActiveDocument.1">
                  <p:embed/>
                  <p:pic>
                    <p:nvPicPr>
                      <p:cNvPr id="2" name="Object 1" hidden="1">
                        <a:extLst>
                          <a:ext uri="{FF2B5EF4-FFF2-40B4-BE49-F238E27FC236}">
                            <a16:creationId xmlns:a16="http://schemas.microsoft.com/office/drawing/2014/main" id="{EAE139B1-29FF-4D96-9088-714EAE82D71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43002280"/>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113E1BA-2279-25FE-1EB4-FE8637B3813B}"/>
              </a:ext>
            </a:extLst>
          </p:cNvPr>
          <p:cNvGraphicFramePr>
            <a:graphicFrameLocks noChangeAspect="1"/>
          </p:cNvGraphicFramePr>
          <p:nvPr userDrawn="1">
            <p:custDataLst>
              <p:tags r:id="rId8"/>
            </p:custDataLst>
            <p:extLst>
              <p:ext uri="{D42A27DB-BD31-4B8C-83A1-F6EECF244321}">
                <p14:modId xmlns:p14="http://schemas.microsoft.com/office/powerpoint/2010/main" val="2144209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2" name="think-cell data - do not delete" hidden="1">
                        <a:extLst>
                          <a:ext uri="{FF2B5EF4-FFF2-40B4-BE49-F238E27FC236}">
                            <a16:creationId xmlns:a16="http://schemas.microsoft.com/office/drawing/2014/main" id="{3113E1BA-2279-25FE-1EB4-FE8637B3813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10" name="Google Shape;10;p63"/>
          <p:cNvCxnSpPr/>
          <p:nvPr/>
        </p:nvCxnSpPr>
        <p:spPr>
          <a:xfrm rot="5400000">
            <a:off x="198653" y="-372455"/>
            <a:ext cx="520785" cy="0"/>
          </a:xfrm>
          <a:prstGeom prst="straightConnector1">
            <a:avLst/>
          </a:prstGeom>
          <a:noFill/>
          <a:ln w="12700" cap="flat" cmpd="sng">
            <a:solidFill>
              <a:schemeClr val="accent5"/>
            </a:solidFill>
            <a:prstDash val="solid"/>
            <a:miter lim="800000"/>
            <a:headEnd type="none" w="sm" len="sm"/>
            <a:tailEnd type="none" w="sm" len="sm"/>
          </a:ln>
        </p:spPr>
      </p:cxnSp>
      <p:cxnSp>
        <p:nvCxnSpPr>
          <p:cNvPr id="11" name="Google Shape;11;p63"/>
          <p:cNvCxnSpPr/>
          <p:nvPr/>
        </p:nvCxnSpPr>
        <p:spPr>
          <a:xfrm rot="10800000">
            <a:off x="-805574" y="683364"/>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12" name="Google Shape;12;p63"/>
          <p:cNvCxnSpPr/>
          <p:nvPr/>
        </p:nvCxnSpPr>
        <p:spPr>
          <a:xfrm rot="10800000">
            <a:off x="-805574" y="1148420"/>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13" name="Google Shape;13;p63"/>
          <p:cNvCxnSpPr/>
          <p:nvPr/>
        </p:nvCxnSpPr>
        <p:spPr>
          <a:xfrm rot="10800000">
            <a:off x="-805574" y="6172200"/>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14" name="Google Shape;14;p63"/>
          <p:cNvCxnSpPr/>
          <p:nvPr/>
        </p:nvCxnSpPr>
        <p:spPr>
          <a:xfrm rot="10800000">
            <a:off x="-805574" y="6576395"/>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15" name="Google Shape;15;p63"/>
          <p:cNvCxnSpPr/>
          <p:nvPr/>
        </p:nvCxnSpPr>
        <p:spPr>
          <a:xfrm rot="10800000">
            <a:off x="-805574" y="3384233"/>
            <a:ext cx="694380" cy="0"/>
          </a:xfrm>
          <a:prstGeom prst="straightConnector1">
            <a:avLst/>
          </a:prstGeom>
          <a:noFill/>
          <a:ln w="12700" cap="flat" cmpd="sng">
            <a:solidFill>
              <a:schemeClr val="accent5"/>
            </a:solidFill>
            <a:prstDash val="solid"/>
            <a:miter lim="800000"/>
            <a:headEnd type="none" w="sm" len="sm"/>
            <a:tailEnd type="none" w="sm" len="sm"/>
          </a:ln>
        </p:spPr>
      </p:cxnSp>
      <p:grpSp>
        <p:nvGrpSpPr>
          <p:cNvPr id="16" name="Google Shape;16;p63"/>
          <p:cNvGrpSpPr/>
          <p:nvPr/>
        </p:nvGrpSpPr>
        <p:grpSpPr>
          <a:xfrm>
            <a:off x="2931161" y="-632848"/>
            <a:ext cx="455167" cy="520785"/>
            <a:chOff x="1780034" y="-474637"/>
            <a:chExt cx="341375" cy="390589"/>
          </a:xfrm>
        </p:grpSpPr>
        <p:cxnSp>
          <p:nvCxnSpPr>
            <p:cNvPr id="17" name="Google Shape;17;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18" name="Google Shape;18;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19" name="Google Shape;19;p63"/>
          <p:cNvGrpSpPr/>
          <p:nvPr/>
        </p:nvGrpSpPr>
        <p:grpSpPr>
          <a:xfrm>
            <a:off x="458824" y="-621120"/>
            <a:ext cx="455167" cy="520785"/>
            <a:chOff x="1780034" y="-474637"/>
            <a:chExt cx="341375" cy="390589"/>
          </a:xfrm>
        </p:grpSpPr>
        <p:cxnSp>
          <p:nvCxnSpPr>
            <p:cNvPr id="20" name="Google Shape;20;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21" name="Google Shape;21;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22" name="Google Shape;22;p63"/>
          <p:cNvGrpSpPr/>
          <p:nvPr/>
        </p:nvGrpSpPr>
        <p:grpSpPr>
          <a:xfrm>
            <a:off x="5862321" y="-632848"/>
            <a:ext cx="455167" cy="520785"/>
            <a:chOff x="1780034" y="-474637"/>
            <a:chExt cx="341375" cy="390589"/>
          </a:xfrm>
        </p:grpSpPr>
        <p:cxnSp>
          <p:nvCxnSpPr>
            <p:cNvPr id="23" name="Google Shape;23;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24" name="Google Shape;24;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25" name="Google Shape;25;p63"/>
          <p:cNvGrpSpPr/>
          <p:nvPr/>
        </p:nvGrpSpPr>
        <p:grpSpPr>
          <a:xfrm>
            <a:off x="8793481" y="-632848"/>
            <a:ext cx="455167" cy="520785"/>
            <a:chOff x="1780034" y="-474637"/>
            <a:chExt cx="341375" cy="390589"/>
          </a:xfrm>
        </p:grpSpPr>
        <p:cxnSp>
          <p:nvCxnSpPr>
            <p:cNvPr id="26" name="Google Shape;26;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27" name="Google Shape;27;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grpSp>
        <p:nvGrpSpPr>
          <p:cNvPr id="28" name="Google Shape;28;p63"/>
          <p:cNvGrpSpPr/>
          <p:nvPr/>
        </p:nvGrpSpPr>
        <p:grpSpPr>
          <a:xfrm>
            <a:off x="11724641" y="-632848"/>
            <a:ext cx="455167" cy="520785"/>
            <a:chOff x="1780034" y="-474637"/>
            <a:chExt cx="341375" cy="390589"/>
          </a:xfrm>
        </p:grpSpPr>
        <p:cxnSp>
          <p:nvCxnSpPr>
            <p:cNvPr id="29" name="Google Shape;29;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30" name="Google Shape;30;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cxnSp>
        <p:nvCxnSpPr>
          <p:cNvPr id="31" name="Google Shape;31;p63"/>
          <p:cNvCxnSpPr/>
          <p:nvPr/>
        </p:nvCxnSpPr>
        <p:spPr>
          <a:xfrm rot="10800000">
            <a:off x="-805574" y="267484"/>
            <a:ext cx="694380" cy="0"/>
          </a:xfrm>
          <a:prstGeom prst="straightConnector1">
            <a:avLst/>
          </a:prstGeom>
          <a:noFill/>
          <a:ln w="12700" cap="flat" cmpd="sng">
            <a:solidFill>
              <a:schemeClr val="accent5"/>
            </a:solidFill>
            <a:prstDash val="solid"/>
            <a:miter lim="800000"/>
            <a:headEnd type="none" w="sm" len="sm"/>
            <a:tailEnd type="none" w="sm" len="sm"/>
          </a:ln>
        </p:spPr>
      </p:cxnSp>
      <p:cxnSp>
        <p:nvCxnSpPr>
          <p:cNvPr id="32" name="Google Shape;32;p63"/>
          <p:cNvCxnSpPr/>
          <p:nvPr/>
        </p:nvCxnSpPr>
        <p:spPr>
          <a:xfrm rot="10800000">
            <a:off x="-805574" y="683261"/>
            <a:ext cx="694380" cy="0"/>
          </a:xfrm>
          <a:prstGeom prst="straightConnector1">
            <a:avLst/>
          </a:prstGeom>
          <a:noFill/>
          <a:ln w="12700" cap="flat" cmpd="sng">
            <a:solidFill>
              <a:schemeClr val="accent5"/>
            </a:solidFill>
            <a:prstDash val="solid"/>
            <a:miter lim="800000"/>
            <a:headEnd type="none" w="sm" len="sm"/>
            <a:tailEnd type="none" w="sm" len="sm"/>
          </a:ln>
        </p:spPr>
      </p:cxnSp>
      <p:grpSp>
        <p:nvGrpSpPr>
          <p:cNvPr id="33" name="Google Shape;33;p63"/>
          <p:cNvGrpSpPr/>
          <p:nvPr/>
        </p:nvGrpSpPr>
        <p:grpSpPr>
          <a:xfrm>
            <a:off x="1" y="-621120"/>
            <a:ext cx="455167" cy="520785"/>
            <a:chOff x="1780034" y="-474637"/>
            <a:chExt cx="341375" cy="390589"/>
          </a:xfrm>
        </p:grpSpPr>
        <p:cxnSp>
          <p:nvCxnSpPr>
            <p:cNvPr id="34" name="Google Shape;34;p63"/>
            <p:cNvCxnSpPr/>
            <p:nvPr/>
          </p:nvCxnSpPr>
          <p:spPr>
            <a:xfrm rot="5400000">
              <a:off x="1584739" y="-279343"/>
              <a:ext cx="390589" cy="0"/>
            </a:xfrm>
            <a:prstGeom prst="straightConnector1">
              <a:avLst/>
            </a:prstGeom>
            <a:noFill/>
            <a:ln w="12700" cap="flat" cmpd="sng">
              <a:solidFill>
                <a:schemeClr val="accent5"/>
              </a:solidFill>
              <a:prstDash val="solid"/>
              <a:miter lim="800000"/>
              <a:headEnd type="none" w="sm" len="sm"/>
              <a:tailEnd type="none" w="sm" len="sm"/>
            </a:ln>
          </p:spPr>
        </p:cxnSp>
        <p:cxnSp>
          <p:nvCxnSpPr>
            <p:cNvPr id="35" name="Google Shape;35;p63"/>
            <p:cNvCxnSpPr/>
            <p:nvPr/>
          </p:nvCxnSpPr>
          <p:spPr>
            <a:xfrm rot="5400000">
              <a:off x="1926114" y="-279343"/>
              <a:ext cx="390589" cy="0"/>
            </a:xfrm>
            <a:prstGeom prst="straightConnector1">
              <a:avLst/>
            </a:prstGeom>
            <a:noFill/>
            <a:ln w="12700" cap="flat" cmpd="sng">
              <a:solidFill>
                <a:schemeClr val="accent5"/>
              </a:solidFill>
              <a:prstDash val="solid"/>
              <a:miter lim="800000"/>
              <a:headEnd type="none" w="sm" len="sm"/>
              <a:tailEnd type="none" w="sm" len="sm"/>
            </a:ln>
          </p:spPr>
        </p:cxnSp>
      </p:grpSp>
      <p:sp>
        <p:nvSpPr>
          <p:cNvPr id="36" name="Google Shape;36;p63"/>
          <p:cNvSpPr txBox="1">
            <a:spLocks noGrp="1"/>
          </p:cNvSpPr>
          <p:nvPr>
            <p:ph type="sldNum" idx="12"/>
          </p:nvPr>
        </p:nvSpPr>
        <p:spPr>
          <a:xfrm>
            <a:off x="11280901" y="6393515"/>
            <a:ext cx="451899" cy="182880"/>
          </a:xfrm>
          <a:prstGeom prst="rect">
            <a:avLst/>
          </a:prstGeom>
          <a:noFill/>
          <a:ln>
            <a:noFill/>
          </a:ln>
        </p:spPr>
        <p:txBody>
          <a:bodyPr spcFirstLastPara="1" wrap="square" lIns="0" tIns="0" rIns="0" bIns="0" anchor="t" anchorCtr="0">
            <a:noAutofit/>
          </a:bodyPr>
          <a:lstStyle>
            <a:lvl1pPr marL="0" marR="0" lvl="0" indent="0" algn="r" rtl="0">
              <a:spcBef>
                <a:spcPts val="0"/>
              </a:spcBef>
              <a:buNone/>
              <a:defRPr sz="1100" b="0" i="0" u="none" strike="noStrike" cap="none">
                <a:solidFill>
                  <a:schemeClr val="dk2"/>
                </a:solidFill>
                <a:latin typeface="Gill Sans"/>
                <a:ea typeface="Gill Sans"/>
                <a:cs typeface="Gill Sans"/>
                <a:sym typeface="Gill Sans"/>
              </a:defRPr>
            </a:lvl1pPr>
            <a:lvl2pPr marL="0" marR="0" lvl="1" indent="0" algn="r" rtl="0">
              <a:spcBef>
                <a:spcPts val="0"/>
              </a:spcBef>
              <a:buNone/>
              <a:defRPr sz="1100" b="0" i="0" u="none" strike="noStrike" cap="none">
                <a:solidFill>
                  <a:schemeClr val="dk2"/>
                </a:solidFill>
                <a:latin typeface="Gill Sans"/>
                <a:ea typeface="Gill Sans"/>
                <a:cs typeface="Gill Sans"/>
                <a:sym typeface="Gill Sans"/>
              </a:defRPr>
            </a:lvl2pPr>
            <a:lvl3pPr marL="0" marR="0" lvl="2" indent="0" algn="r" rtl="0">
              <a:spcBef>
                <a:spcPts val="0"/>
              </a:spcBef>
              <a:buNone/>
              <a:defRPr sz="1100" b="0" i="0" u="none" strike="noStrike" cap="none">
                <a:solidFill>
                  <a:schemeClr val="dk2"/>
                </a:solidFill>
                <a:latin typeface="Gill Sans"/>
                <a:ea typeface="Gill Sans"/>
                <a:cs typeface="Gill Sans"/>
                <a:sym typeface="Gill Sans"/>
              </a:defRPr>
            </a:lvl3pPr>
            <a:lvl4pPr marL="0" marR="0" lvl="3" indent="0" algn="r" rtl="0">
              <a:spcBef>
                <a:spcPts val="0"/>
              </a:spcBef>
              <a:buNone/>
              <a:defRPr sz="1100" b="0" i="0" u="none" strike="noStrike" cap="none">
                <a:solidFill>
                  <a:schemeClr val="dk2"/>
                </a:solidFill>
                <a:latin typeface="Gill Sans"/>
                <a:ea typeface="Gill Sans"/>
                <a:cs typeface="Gill Sans"/>
                <a:sym typeface="Gill Sans"/>
              </a:defRPr>
            </a:lvl4pPr>
            <a:lvl5pPr marL="0" marR="0" lvl="4" indent="0" algn="r" rtl="0">
              <a:spcBef>
                <a:spcPts val="0"/>
              </a:spcBef>
              <a:buNone/>
              <a:defRPr sz="1100" b="0" i="0" u="none" strike="noStrike" cap="none">
                <a:solidFill>
                  <a:schemeClr val="dk2"/>
                </a:solidFill>
                <a:latin typeface="Gill Sans"/>
                <a:ea typeface="Gill Sans"/>
                <a:cs typeface="Gill Sans"/>
                <a:sym typeface="Gill Sans"/>
              </a:defRPr>
            </a:lvl5pPr>
            <a:lvl6pPr marL="0" marR="0" lvl="5" indent="0" algn="r" rtl="0">
              <a:spcBef>
                <a:spcPts val="0"/>
              </a:spcBef>
              <a:buNone/>
              <a:defRPr sz="1100" b="0" i="0" u="none" strike="noStrike" cap="none">
                <a:solidFill>
                  <a:schemeClr val="dk2"/>
                </a:solidFill>
                <a:latin typeface="Gill Sans"/>
                <a:ea typeface="Gill Sans"/>
                <a:cs typeface="Gill Sans"/>
                <a:sym typeface="Gill Sans"/>
              </a:defRPr>
            </a:lvl6pPr>
            <a:lvl7pPr marL="0" marR="0" lvl="6" indent="0" algn="r" rtl="0">
              <a:spcBef>
                <a:spcPts val="0"/>
              </a:spcBef>
              <a:buNone/>
              <a:defRPr sz="1100" b="0" i="0" u="none" strike="noStrike" cap="none">
                <a:solidFill>
                  <a:schemeClr val="dk2"/>
                </a:solidFill>
                <a:latin typeface="Gill Sans"/>
                <a:ea typeface="Gill Sans"/>
                <a:cs typeface="Gill Sans"/>
                <a:sym typeface="Gill Sans"/>
              </a:defRPr>
            </a:lvl7pPr>
            <a:lvl8pPr marL="0" marR="0" lvl="7" indent="0" algn="r" rtl="0">
              <a:spcBef>
                <a:spcPts val="0"/>
              </a:spcBef>
              <a:buNone/>
              <a:defRPr sz="1100" b="0" i="0" u="none" strike="noStrike" cap="none">
                <a:solidFill>
                  <a:schemeClr val="dk2"/>
                </a:solidFill>
                <a:latin typeface="Gill Sans"/>
                <a:ea typeface="Gill Sans"/>
                <a:cs typeface="Gill Sans"/>
                <a:sym typeface="Gill Sans"/>
              </a:defRPr>
            </a:lvl8pPr>
            <a:lvl9pPr marL="0" marR="0" lvl="8" indent="0" algn="r" rtl="0">
              <a:spcBef>
                <a:spcPts val="0"/>
              </a:spcBef>
              <a:buNone/>
              <a:defRPr sz="1100" b="0" i="0" u="none" strike="noStrike" cap="none">
                <a:solidFill>
                  <a:schemeClr val="dk2"/>
                </a:solidFill>
                <a:latin typeface="Gill Sans"/>
                <a:ea typeface="Gill Sans"/>
                <a:cs typeface="Gill Sans"/>
                <a:sym typeface="Gill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02645889"/>
      </p:ext>
    </p:extLst>
  </p:cSld>
  <p:clrMap bg1="lt1" tx1="dk1" bg2="dk2" tx2="lt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576">
          <p15:clr>
            <a:srgbClr val="A4A3A4"/>
          </p15:clr>
        </p15:guide>
        <p15:guide id="2" pos="4928">
          <p15:clr>
            <a:srgbClr val="A4A3A4"/>
          </p15:clr>
        </p15:guide>
        <p15:guide id="3" pos="384">
          <p15:clr>
            <a:srgbClr val="A4A3A4"/>
          </p15:clr>
        </p15:guide>
        <p15:guide id="4" pos="9856">
          <p15:clr>
            <a:srgbClr val="A4A3A4"/>
          </p15:clr>
        </p15:guide>
        <p15:guide id="5" orient="horz" pos="960">
          <p15:clr>
            <a:srgbClr val="A4A3A4"/>
          </p15:clr>
        </p15:guide>
        <p15:guide id="6" orient="horz" pos="5525">
          <p15:clr>
            <a:srgbClr val="A4A3A4"/>
          </p15:clr>
        </p15:guide>
        <p15:guide id="7" pos="768">
          <p15:clr>
            <a:srgbClr val="A4A3A4"/>
          </p15:clr>
        </p15:guide>
        <p15:guide id="8" pos="5312">
          <p15:clr>
            <a:srgbClr val="A4A3A4"/>
          </p15:clr>
        </p15:guide>
        <p15:guide id="9" pos="7392">
          <p15:clr>
            <a:srgbClr val="A4A3A4"/>
          </p15:clr>
        </p15:guide>
        <p15:guide id="10" pos="7776">
          <p15:clr>
            <a:srgbClr val="A4A3A4"/>
          </p15:clr>
        </p15:guide>
        <p15:guide id="11" pos="2848">
          <p15:clr>
            <a:srgbClr val="A4A3A4"/>
          </p15:clr>
        </p15:guide>
        <p15:guide id="12" pos="2464">
          <p15:clr>
            <a:srgbClr val="A4A3A4"/>
          </p15:clr>
        </p15:guide>
        <p15:guide id="13" orient="horz" pos="225">
          <p15:clr>
            <a:srgbClr val="A4A3A4"/>
          </p15:clr>
        </p15:guide>
        <p15:guide id="14" orient="horz" pos="384">
          <p15:clr>
            <a:srgbClr val="A4A3A4"/>
          </p15:clr>
        </p15:guide>
        <p15:guide id="15" pos="10232">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98" imgH="499" progId="TCLayout.ActiveDocument.1">
                  <p:embed/>
                </p:oleObj>
              </mc:Choice>
              <mc:Fallback>
                <p:oleObj name="think-cell Slide" r:id="rId10"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528906699"/>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98" imgH="499" progId="TCLayout.ActiveDocument.1">
                  <p:embed/>
                </p:oleObj>
              </mc:Choice>
              <mc:Fallback>
                <p:oleObj name="think-cell Slide" r:id="rId8"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944507847"/>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Lst>
  <p:hf sldNum="0" hdr="0" ft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99F0169-CA73-3219-77EC-E3D4F59A8D2B}"/>
              </a:ext>
            </a:extLst>
          </p:cNvPr>
          <p:cNvGraphicFramePr>
            <a:graphicFrameLocks noChangeAspect="1"/>
          </p:cNvGraphicFramePr>
          <p:nvPr userDrawn="1">
            <p:custDataLst>
              <p:tags r:id="rId12"/>
            </p:custDataLst>
            <p:extLst>
              <p:ext uri="{D42A27DB-BD31-4B8C-83A1-F6EECF244321}">
                <p14:modId xmlns:p14="http://schemas.microsoft.com/office/powerpoint/2010/main" val="291899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2" name="think-cell data - do not delete" hidden="1">
                        <a:extLst>
                          <a:ext uri="{FF2B5EF4-FFF2-40B4-BE49-F238E27FC236}">
                            <a16:creationId xmlns:a16="http://schemas.microsoft.com/office/drawing/2014/main" id="{299F0169-CA73-3219-77EC-E3D4F59A8D2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815446776"/>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FDBFE2-2899-4D09-A4DF-CBE5425BB8A0}"/>
              </a:ext>
            </a:extLst>
          </p:cNvPr>
          <p:cNvGraphicFramePr>
            <a:graphicFrameLocks noChangeAspect="1"/>
          </p:cNvGraphicFramePr>
          <p:nvPr userDrawn="1">
            <p:custDataLst>
              <p:tags r:id="rId4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73" imgH="476" progId="TCLayout.ActiveDocument.1">
                  <p:embed/>
                </p:oleObj>
              </mc:Choice>
              <mc:Fallback>
                <p:oleObj name="think-cell Slide" r:id="rId42" imgW="473" imgH="476" progId="TCLayout.ActiveDocument.1">
                  <p:embed/>
                  <p:pic>
                    <p:nvPicPr>
                      <p:cNvPr id="2" name="Object 1" hidden="1">
                        <a:extLst>
                          <a:ext uri="{FF2B5EF4-FFF2-40B4-BE49-F238E27FC236}">
                            <a16:creationId xmlns:a16="http://schemas.microsoft.com/office/drawing/2014/main" id="{36FDBFE2-2899-4D09-A4DF-CBE5425BB8A0}"/>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691339744"/>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1" r:id="rId12"/>
    <p:sldLayoutId id="2147483942" r:id="rId13"/>
    <p:sldLayoutId id="2147483943" r:id="rId14"/>
    <p:sldLayoutId id="2147483944" r:id="rId15"/>
    <p:sldLayoutId id="2147483945" r:id="rId16"/>
    <p:sldLayoutId id="2147483946" r:id="rId17"/>
    <p:sldLayoutId id="2147483947" r:id="rId18"/>
    <p:sldLayoutId id="2147483948" r:id="rId19"/>
    <p:sldLayoutId id="2147483949" r:id="rId20"/>
    <p:sldLayoutId id="2147483950" r:id="rId21"/>
    <p:sldLayoutId id="2147483951" r:id="rId22"/>
    <p:sldLayoutId id="2147483952" r:id="rId23"/>
    <p:sldLayoutId id="2147483953" r:id="rId24"/>
    <p:sldLayoutId id="2147483954" r:id="rId25"/>
    <p:sldLayoutId id="2147483955" r:id="rId26"/>
    <p:sldLayoutId id="2147483956" r:id="rId27"/>
    <p:sldLayoutId id="2147483957" r:id="rId28"/>
    <p:sldLayoutId id="2147483958" r:id="rId29"/>
    <p:sldLayoutId id="2147483959" r:id="rId30"/>
    <p:sldLayoutId id="2147483960" r:id="rId31"/>
    <p:sldLayoutId id="2147483961" r:id="rId32"/>
    <p:sldLayoutId id="2147483962" r:id="rId33"/>
    <p:sldLayoutId id="2147483963" r:id="rId34"/>
    <p:sldLayoutId id="2147483964" r:id="rId35"/>
    <p:sldLayoutId id="2147483965" r:id="rId36"/>
    <p:sldLayoutId id="2147483966" r:id="rId37"/>
    <p:sldLayoutId id="2147483967" r:id="rId38"/>
    <p:sldLayoutId id="2147483968" r:id="rId39"/>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7"/>
            </p:custDataLst>
            <p:extLst>
              <p:ext uri="{D42A27DB-BD31-4B8C-83A1-F6EECF244321}">
                <p14:modId xmlns:p14="http://schemas.microsoft.com/office/powerpoint/2010/main" val="207528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98" imgH="499" progId="TCLayout.ActiveDocument.1">
                  <p:embed/>
                </p:oleObj>
              </mc:Choice>
              <mc:Fallback>
                <p:oleObj name="think-cell Slide" r:id="rId8"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789311209"/>
      </p:ext>
    </p:extLst>
  </p:cSld>
  <p:clrMap bg1="lt1" tx1="dk1" bg2="lt2" tx2="dk2" accent1="accent1" accent2="accent2" accent3="accent3" accent4="accent4" accent5="accent5" accent6="accent6" hlink="hlink" folHlink="folHlink"/>
  <p:sldLayoutIdLst>
    <p:sldLayoutId id="2147483691" r:id="rId1"/>
    <p:sldLayoutId id="2147483700" r:id="rId2"/>
    <p:sldLayoutId id="2147483701" r:id="rId3"/>
    <p:sldLayoutId id="2147483702" r:id="rId4"/>
    <p:sldLayoutId id="2147483703" r:id="rId5"/>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FDBFE2-2899-4D09-A4DF-CBE5425BB8A0}"/>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2" name="Object 1" hidden="1">
                        <a:extLst>
                          <a:ext uri="{FF2B5EF4-FFF2-40B4-BE49-F238E27FC236}">
                            <a16:creationId xmlns:a16="http://schemas.microsoft.com/office/drawing/2014/main" id="{36FDBFE2-2899-4D09-A4DF-CBE5425BB8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1549694028"/>
      </p:ext>
    </p:extLst>
  </p:cSld>
  <p:clrMap bg1="lt1" tx1="dk1" bg2="lt2" tx2="dk2" accent1="accent1" accent2="accent2" accent3="accent3" accent4="accent4" accent5="accent5" accent6="accent6" hlink="hlink" folHlink="folHlink"/>
  <p:sldLayoutIdLst>
    <p:sldLayoutId id="2147483706" r:id="rId1"/>
    <p:sldLayoutId id="2147483709" r:id="rId2"/>
    <p:sldLayoutId id="2147483710" r:id="rId3"/>
  </p:sldLayoutIdLst>
  <p:hf hdr="0" ft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25"/>
            </p:custDataLst>
            <p:extLst>
              <p:ext uri="{D42A27DB-BD31-4B8C-83A1-F6EECF244321}">
                <p14:modId xmlns:p14="http://schemas.microsoft.com/office/powerpoint/2010/main" val="2296828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98" imgH="499" progId="TCLayout.ActiveDocument.1">
                  <p:embed/>
                </p:oleObj>
              </mc:Choice>
              <mc:Fallback>
                <p:oleObj name="think-cell Slide" r:id="rId26"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E77212B3-0748-6910-1B43-25177553148D}"/>
              </a:ext>
            </a:extLst>
          </p:cNvPr>
          <p:cNvSpPr>
            <a:spLocks noGrp="1"/>
          </p:cNvSpPr>
          <p:nvPr>
            <p:ph type="sldNum" sz="quarter" idx="4"/>
          </p:nvPr>
        </p:nvSpPr>
        <p:spPr>
          <a:xfrm>
            <a:off x="116238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94794272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7" r:id="rId20"/>
    <p:sldLayoutId id="2147483738" r:id="rId21"/>
    <p:sldLayoutId id="2147483739" r:id="rId22"/>
    <p:sldLayoutId id="2147483740" r:id="rId23"/>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FDBFE2-2899-4D09-A4DF-CBE5425BB8A0}"/>
              </a:ext>
            </a:extLst>
          </p:cNvPr>
          <p:cNvGraphicFramePr>
            <a:graphicFrameLocks noChangeAspect="1"/>
          </p:cNvGraphicFramePr>
          <p:nvPr userDrawn="1">
            <p:custDataLst>
              <p:tags r:id="rId11"/>
            </p:custDataLst>
            <p:extLst>
              <p:ext uri="{D42A27DB-BD31-4B8C-83A1-F6EECF244321}">
                <p14:modId xmlns:p14="http://schemas.microsoft.com/office/powerpoint/2010/main" val="3719705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3" imgH="476" progId="TCLayout.ActiveDocument.1">
                  <p:embed/>
                </p:oleObj>
              </mc:Choice>
              <mc:Fallback>
                <p:oleObj name="think-cell Slide" r:id="rId12" imgW="473" imgH="476" progId="TCLayout.ActiveDocument.1">
                  <p:embed/>
                  <p:pic>
                    <p:nvPicPr>
                      <p:cNvPr id="2" name="Object 1" hidden="1">
                        <a:extLst>
                          <a:ext uri="{FF2B5EF4-FFF2-40B4-BE49-F238E27FC236}">
                            <a16:creationId xmlns:a16="http://schemas.microsoft.com/office/drawing/2014/main" id="{36FDBFE2-2899-4D09-A4DF-CBE5425BB8A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38809636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6" r:id="rId6"/>
    <p:sldLayoutId id="2147483758" r:id="rId7"/>
    <p:sldLayoutId id="2147483759" r:id="rId8"/>
    <p:sldLayoutId id="2147483760" r:id="rId9"/>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23"/>
            </p:custDataLst>
            <p:extLst>
              <p:ext uri="{D42A27DB-BD31-4B8C-83A1-F6EECF244321}">
                <p14:modId xmlns:p14="http://schemas.microsoft.com/office/powerpoint/2010/main" val="2296828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98" imgH="499" progId="TCLayout.ActiveDocument.1">
                  <p:embed/>
                </p:oleObj>
              </mc:Choice>
              <mc:Fallback>
                <p:oleObj name="think-cell Slide" r:id="rId24"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91821579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5" r:id="rId3"/>
    <p:sldLayoutId id="2147483766" r:id="rId4"/>
    <p:sldLayoutId id="2147483767" r:id="rId5"/>
    <p:sldLayoutId id="2147483768" r:id="rId6"/>
    <p:sldLayoutId id="2147483769" r:id="rId7"/>
    <p:sldLayoutId id="2147483771" r:id="rId8"/>
    <p:sldLayoutId id="2147483773" r:id="rId9"/>
    <p:sldLayoutId id="2147483774" r:id="rId10"/>
    <p:sldLayoutId id="2147483775" r:id="rId11"/>
    <p:sldLayoutId id="2147483776" r:id="rId12"/>
    <p:sldLayoutId id="2147483783" r:id="rId13"/>
    <p:sldLayoutId id="2147483784" r:id="rId14"/>
    <p:sldLayoutId id="2147483785" r:id="rId15"/>
    <p:sldLayoutId id="2147483786" r:id="rId16"/>
    <p:sldLayoutId id="2147483787" r:id="rId17"/>
    <p:sldLayoutId id="2147483788" r:id="rId18"/>
    <p:sldLayoutId id="2147483795" r:id="rId19"/>
    <p:sldLayoutId id="2147483797" r:id="rId20"/>
    <p:sldLayoutId id="2147483798" r:id="rId21"/>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98" imgH="499" progId="TCLayout.ActiveDocument.1">
                  <p:embed/>
                </p:oleObj>
              </mc:Choice>
              <mc:Fallback>
                <p:oleObj name="think-cell Slide" r:id="rId9"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6">
            <a:extLst>
              <a:ext uri="{FF2B5EF4-FFF2-40B4-BE49-F238E27FC236}">
                <a16:creationId xmlns:a16="http://schemas.microsoft.com/office/drawing/2014/main" id="{555529AA-EF80-3F6F-B1A0-87BD10B9BA5D}"/>
              </a:ext>
            </a:extLst>
          </p:cNvPr>
          <p:cNvSpPr>
            <a:spLocks noGrp="1"/>
          </p:cNvSpPr>
          <p:nvPr>
            <p:ph type="sldNum" sz="quarter" idx="4"/>
          </p:nvPr>
        </p:nvSpPr>
        <p:spPr>
          <a:xfrm>
            <a:off x="11598401" y="656048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796920189"/>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6B030D-8100-671E-402F-D9E49ED46AD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C6B030D-8100-671E-402F-D9E49ED46A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a:p>
        </p:txBody>
      </p:sp>
    </p:spTree>
    <p:extLst>
      <p:ext uri="{BB962C8B-B14F-4D97-AF65-F5344CB8AC3E}">
        <p14:creationId xmlns:p14="http://schemas.microsoft.com/office/powerpoint/2010/main" val="2362458858"/>
      </p:ext>
    </p:extLst>
  </p:cSld>
  <p:clrMap bg1="lt1" tx1="dk1" bg2="lt2" tx2="dk2" accent1="accent1" accent2="accent2" accent3="accent3" accent4="accent4" accent5="accent5" accent6="accent6" hlink="hlink" folHlink="folHlink"/>
  <p:sldLayoutIdLst>
    <p:sldLayoutId id="2147483808" r:id="rId1"/>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89D2E-1116-4A2C-806D-3B943D7B23D9}"/>
              </a:ext>
            </a:extLst>
          </p:cNvPr>
          <p:cNvGraphicFramePr>
            <a:graphicFrameLocks noChangeAspect="1"/>
          </p:cNvGraphicFramePr>
          <p:nvPr userDrawn="1">
            <p:custDataLst>
              <p:tags r:id="rId31"/>
            </p:custDataLst>
            <p:extLst>
              <p:ext uri="{D42A27DB-BD31-4B8C-83A1-F6EECF244321}">
                <p14:modId xmlns:p14="http://schemas.microsoft.com/office/powerpoint/2010/main" val="207528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98" imgH="499" progId="TCLayout.ActiveDocument.1">
                  <p:embed/>
                </p:oleObj>
              </mc:Choice>
              <mc:Fallback>
                <p:oleObj name="think-cell Slide" r:id="rId32" imgW="498" imgH="499" progId="TCLayout.ActiveDocument.1">
                  <p:embed/>
                  <p:pic>
                    <p:nvPicPr>
                      <p:cNvPr id="2" name="Object 1" hidden="1">
                        <a:extLst>
                          <a:ext uri="{FF2B5EF4-FFF2-40B4-BE49-F238E27FC236}">
                            <a16:creationId xmlns:a16="http://schemas.microsoft.com/office/drawing/2014/main" id="{13389D2E-1116-4A2C-806D-3B943D7B23D9}"/>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cxnSp>
        <p:nvCxnSpPr>
          <p:cNvPr id="53" name="Straight Connector 52"/>
          <p:cNvCxnSpPr/>
          <p:nvPr/>
        </p:nvCxnSpPr>
        <p:spPr>
          <a:xfrm rot="16200000" flipH="1">
            <a:off x="198653" y="-372455"/>
            <a:ext cx="520785"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805574" y="68336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805574" y="114842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805574" y="6172200"/>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805574" y="6576395"/>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05574" y="3384233"/>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931162" y="-632849"/>
            <a:ext cx="455167" cy="520785"/>
            <a:chOff x="1780034" y="-474638"/>
            <a:chExt cx="341375" cy="390589"/>
          </a:xfrm>
        </p:grpSpPr>
        <p:cxnSp>
          <p:nvCxnSpPr>
            <p:cNvPr id="72" name="Straight Connector 71"/>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0" name="Group 59"/>
          <p:cNvGrpSpPr/>
          <p:nvPr/>
        </p:nvGrpSpPr>
        <p:grpSpPr>
          <a:xfrm>
            <a:off x="458825" y="-621121"/>
            <a:ext cx="455167" cy="520785"/>
            <a:chOff x="1780034" y="-474638"/>
            <a:chExt cx="341375" cy="390589"/>
          </a:xfrm>
        </p:grpSpPr>
        <p:cxnSp>
          <p:nvCxnSpPr>
            <p:cNvPr id="70" name="Straight Connector 69"/>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5862322" y="-632849"/>
            <a:ext cx="455167" cy="520785"/>
            <a:chOff x="1780034" y="-474638"/>
            <a:chExt cx="341375" cy="390589"/>
          </a:xfrm>
        </p:grpSpPr>
        <p:cxnSp>
          <p:nvCxnSpPr>
            <p:cNvPr id="68" name="Straight Connector 67"/>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2" name="Group 61"/>
          <p:cNvGrpSpPr/>
          <p:nvPr/>
        </p:nvGrpSpPr>
        <p:grpSpPr>
          <a:xfrm>
            <a:off x="8793482" y="-632849"/>
            <a:ext cx="455167" cy="520785"/>
            <a:chOff x="1780034" y="-474638"/>
            <a:chExt cx="341375" cy="390589"/>
          </a:xfrm>
        </p:grpSpPr>
        <p:cxnSp>
          <p:nvCxnSpPr>
            <p:cNvPr id="66" name="Straight Connector 65"/>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3" name="Group 62"/>
          <p:cNvGrpSpPr/>
          <p:nvPr/>
        </p:nvGrpSpPr>
        <p:grpSpPr>
          <a:xfrm>
            <a:off x="11724642" y="-632849"/>
            <a:ext cx="455167" cy="520785"/>
            <a:chOff x="1780034" y="-474638"/>
            <a:chExt cx="341375" cy="390589"/>
          </a:xfrm>
        </p:grpSpPr>
        <p:cxnSp>
          <p:nvCxnSpPr>
            <p:cNvPr id="64" name="Straight Connector 63"/>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74" name="Straight Connector 73"/>
          <p:cNvCxnSpPr/>
          <p:nvPr/>
        </p:nvCxnSpPr>
        <p:spPr>
          <a:xfrm flipH="1">
            <a:off x="-805574" y="267484"/>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805574" y="683261"/>
            <a:ext cx="694380"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 y="-621121"/>
            <a:ext cx="455167" cy="520785"/>
            <a:chOff x="1780034" y="-474638"/>
            <a:chExt cx="341375" cy="390589"/>
          </a:xfrm>
        </p:grpSpPr>
        <p:cxnSp>
          <p:nvCxnSpPr>
            <p:cNvPr id="35" name="Straight Connector 34"/>
            <p:cNvCxnSpPr/>
            <p:nvPr/>
          </p:nvCxnSpPr>
          <p:spPr>
            <a:xfrm rot="16200000" flipH="1">
              <a:off x="1584739"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flipH="1">
              <a:off x="1926114" y="-279343"/>
              <a:ext cx="390589" cy="0"/>
            </a:xfrm>
            <a:prstGeom prst="line">
              <a:avLst/>
            </a:prstGeom>
            <a:ln w="12700">
              <a:solidFill>
                <a:schemeClr val="accent5"/>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3" name="Slide Number Placeholder 6">
            <a:extLst>
              <a:ext uri="{FF2B5EF4-FFF2-40B4-BE49-F238E27FC236}">
                <a16:creationId xmlns:a16="http://schemas.microsoft.com/office/drawing/2014/main" id="{D75E9043-59E5-06FE-0DCC-D6A044372655}"/>
              </a:ext>
            </a:extLst>
          </p:cNvPr>
          <p:cNvSpPr>
            <a:spLocks noGrp="1"/>
          </p:cNvSpPr>
          <p:nvPr>
            <p:ph type="sldNum" sz="quarter" idx="4"/>
          </p:nvPr>
        </p:nvSpPr>
        <p:spPr>
          <a:xfrm>
            <a:off x="11280901" y="6393515"/>
            <a:ext cx="451899" cy="182880"/>
          </a:xfrm>
          <a:prstGeom prst="rect">
            <a:avLst/>
          </a:prstGeom>
        </p:spPr>
        <p:txBody>
          <a:bodyPr lIns="0" tIns="0" rIns="0" bIns="0"/>
          <a:lstStyle>
            <a:lvl1pPr algn="r">
              <a:defRPr sz="1100">
                <a:solidFill>
                  <a:schemeClr val="tx2"/>
                </a:solidFill>
                <a:latin typeface="Gill Sans MT" panose="020B0502020104020203" pitchFamily="34" charset="0"/>
              </a:defRPr>
            </a:lvl1pPr>
          </a:lstStyle>
          <a:p>
            <a:fld id="{4755468B-C2BA-8B42-ABD6-597061763577}" type="slidenum">
              <a:rPr lang="en-US" smtClean="0"/>
              <a:pPr/>
              <a:t>‹#›</a:t>
            </a:fld>
            <a:endParaRPr lang="en-US" dirty="0"/>
          </a:p>
        </p:txBody>
      </p:sp>
    </p:spTree>
    <p:extLst>
      <p:ext uri="{BB962C8B-B14F-4D97-AF65-F5344CB8AC3E}">
        <p14:creationId xmlns:p14="http://schemas.microsoft.com/office/powerpoint/2010/main" val="1876772252"/>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Lst>
  <p:hf hdr="0" dt="0"/>
  <p:txStyles>
    <p:titleStyle>
      <a:lvl1pPr algn="l" defTabSz="914332" rtl="0" eaLnBrk="1" latinLnBrk="0" hangingPunct="1">
        <a:lnSpc>
          <a:spcPct val="90000"/>
        </a:lnSpc>
        <a:spcBef>
          <a:spcPct val="0"/>
        </a:spcBef>
        <a:buNone/>
        <a:defRPr sz="2800" b="1" i="0" kern="1200">
          <a:solidFill>
            <a:schemeClr val="bg2"/>
          </a:solidFill>
          <a:latin typeface="Gill Sans MT" panose="020B0502020104020203" pitchFamily="34" charset="0"/>
          <a:ea typeface="Cambria" panose="02040503050406030204" pitchFamily="18" charset="0"/>
          <a:cs typeface="Arial" charset="0"/>
        </a:defRPr>
      </a:lvl1pPr>
    </p:titleStyle>
    <p:body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32" rtl="0" eaLnBrk="1" latinLnBrk="0" hangingPunct="1">
        <a:defRPr sz="1867" kern="1200">
          <a:solidFill>
            <a:schemeClr val="tx1"/>
          </a:solidFill>
          <a:latin typeface="+mn-lt"/>
          <a:ea typeface="+mn-ea"/>
          <a:cs typeface="+mn-cs"/>
        </a:defRPr>
      </a:lvl1pPr>
      <a:lvl2pPr marL="457167" algn="l" defTabSz="914332" rtl="0" eaLnBrk="1" latinLnBrk="0" hangingPunct="1">
        <a:defRPr sz="1867" kern="1200">
          <a:solidFill>
            <a:schemeClr val="tx1"/>
          </a:solidFill>
          <a:latin typeface="+mn-lt"/>
          <a:ea typeface="+mn-ea"/>
          <a:cs typeface="+mn-cs"/>
        </a:defRPr>
      </a:lvl2pPr>
      <a:lvl3pPr marL="914332" algn="l" defTabSz="914332" rtl="0" eaLnBrk="1" latinLnBrk="0" hangingPunct="1">
        <a:defRPr sz="1867" kern="1200">
          <a:solidFill>
            <a:schemeClr val="tx1"/>
          </a:solidFill>
          <a:latin typeface="+mn-lt"/>
          <a:ea typeface="+mn-ea"/>
          <a:cs typeface="+mn-cs"/>
        </a:defRPr>
      </a:lvl3pPr>
      <a:lvl4pPr marL="1371498" algn="l" defTabSz="914332" rtl="0" eaLnBrk="1" latinLnBrk="0" hangingPunct="1">
        <a:defRPr sz="1867" kern="1200">
          <a:solidFill>
            <a:schemeClr val="tx1"/>
          </a:solidFill>
          <a:latin typeface="+mn-lt"/>
          <a:ea typeface="+mn-ea"/>
          <a:cs typeface="+mn-cs"/>
        </a:defRPr>
      </a:lvl4pPr>
      <a:lvl5pPr marL="1828664" algn="l" defTabSz="914332" rtl="0" eaLnBrk="1" latinLnBrk="0" hangingPunct="1">
        <a:defRPr sz="1867" kern="1200">
          <a:solidFill>
            <a:schemeClr val="tx1"/>
          </a:solidFill>
          <a:latin typeface="+mn-lt"/>
          <a:ea typeface="+mn-ea"/>
          <a:cs typeface="+mn-cs"/>
        </a:defRPr>
      </a:lvl5pPr>
      <a:lvl6pPr marL="2285830" algn="l" defTabSz="914332" rtl="0" eaLnBrk="1" latinLnBrk="0" hangingPunct="1">
        <a:defRPr sz="1867" kern="1200">
          <a:solidFill>
            <a:schemeClr val="tx1"/>
          </a:solidFill>
          <a:latin typeface="+mn-lt"/>
          <a:ea typeface="+mn-ea"/>
          <a:cs typeface="+mn-cs"/>
        </a:defRPr>
      </a:lvl6pPr>
      <a:lvl7pPr marL="2742994" algn="l" defTabSz="914332" rtl="0" eaLnBrk="1" latinLnBrk="0" hangingPunct="1">
        <a:defRPr sz="1867" kern="1200">
          <a:solidFill>
            <a:schemeClr val="tx1"/>
          </a:solidFill>
          <a:latin typeface="+mn-lt"/>
          <a:ea typeface="+mn-ea"/>
          <a:cs typeface="+mn-cs"/>
        </a:defRPr>
      </a:lvl7pPr>
      <a:lvl8pPr marL="3200160" algn="l" defTabSz="914332" rtl="0" eaLnBrk="1" latinLnBrk="0" hangingPunct="1">
        <a:defRPr sz="1867" kern="1200">
          <a:solidFill>
            <a:schemeClr val="tx1"/>
          </a:solidFill>
          <a:latin typeface="+mn-lt"/>
          <a:ea typeface="+mn-ea"/>
          <a:cs typeface="+mn-cs"/>
        </a:defRPr>
      </a:lvl8pPr>
      <a:lvl9pPr marL="3657327" algn="l" defTabSz="914332"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7" orient="horz" pos="576">
          <p15:clr>
            <a:srgbClr val="A4A3A4"/>
          </p15:clr>
        </p15:guide>
        <p15:guide id="18" pos="4928">
          <p15:clr>
            <a:srgbClr val="A4A3A4"/>
          </p15:clr>
        </p15:guide>
        <p15:guide id="19" pos="384">
          <p15:clr>
            <a:srgbClr val="A4A3A4"/>
          </p15:clr>
        </p15:guide>
        <p15:guide id="20" pos="9856">
          <p15:clr>
            <a:srgbClr val="A4A3A4"/>
          </p15:clr>
        </p15:guide>
        <p15:guide id="21" orient="horz" pos="960">
          <p15:clr>
            <a:srgbClr val="A4A3A4"/>
          </p15:clr>
        </p15:guide>
        <p15:guide id="22" orient="horz" pos="5525">
          <p15:clr>
            <a:srgbClr val="A4A3A4"/>
          </p15:clr>
        </p15:guide>
        <p15:guide id="23" pos="768">
          <p15:clr>
            <a:srgbClr val="A4A3A4"/>
          </p15:clr>
        </p15:guide>
        <p15:guide id="24" pos="5312">
          <p15:clr>
            <a:srgbClr val="A4A3A4"/>
          </p15:clr>
        </p15:guide>
        <p15:guide id="25" pos="7392">
          <p15:clr>
            <a:srgbClr val="A4A3A4"/>
          </p15:clr>
        </p15:guide>
        <p15:guide id="26" pos="7776">
          <p15:clr>
            <a:srgbClr val="A4A3A4"/>
          </p15:clr>
        </p15:guide>
        <p15:guide id="27" pos="2848">
          <p15:clr>
            <a:srgbClr val="A4A3A4"/>
          </p15:clr>
        </p15:guide>
        <p15:guide id="28" pos="2464">
          <p15:clr>
            <a:srgbClr val="A4A3A4"/>
          </p15:clr>
        </p15:guide>
        <p15:guide id="29" orient="horz" pos="225">
          <p15:clr>
            <a:srgbClr val="A4A3A4"/>
          </p15:clr>
        </p15:guide>
        <p15:guide id="30" orient="horz" pos="384">
          <p15:clr>
            <a:srgbClr val="A4A3A4"/>
          </p15:clr>
        </p15:guide>
        <p15:guide id="31" pos="1023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1.xml"/><Relationship Id="rId6" Type="http://schemas.microsoft.com/office/2007/relationships/hdphoto" Target="../media/hdphoto7.wdp"/><Relationship Id="rId5" Type="http://schemas.openxmlformats.org/officeDocument/2006/relationships/image" Target="../media/image17.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7" Type="http://schemas.microsoft.com/office/2007/relationships/hdphoto" Target="../media/hdphoto10.wdp"/><Relationship Id="rId2" Type="http://schemas.openxmlformats.org/officeDocument/2006/relationships/slideLayout" Target="../slideLayouts/slideLayout79.xml"/><Relationship Id="rId1" Type="http://schemas.openxmlformats.org/officeDocument/2006/relationships/tags" Target="../tags/tag180.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1.xml.rels><?xml version="1.0" encoding="UTF-8" standalone="yes"?>
<Relationships xmlns="http://schemas.openxmlformats.org/package/2006/relationships"><Relationship Id="rId13" Type="http://schemas.openxmlformats.org/officeDocument/2006/relationships/tags" Target="../tags/tag193.xml"/><Relationship Id="rId18" Type="http://schemas.openxmlformats.org/officeDocument/2006/relationships/tags" Target="../tags/tag198.xml"/><Relationship Id="rId26" Type="http://schemas.openxmlformats.org/officeDocument/2006/relationships/tags" Target="../tags/tag206.xml"/><Relationship Id="rId39" Type="http://schemas.openxmlformats.org/officeDocument/2006/relationships/tags" Target="../tags/tag219.xml"/><Relationship Id="rId21" Type="http://schemas.openxmlformats.org/officeDocument/2006/relationships/tags" Target="../tags/tag201.xml"/><Relationship Id="rId34" Type="http://schemas.openxmlformats.org/officeDocument/2006/relationships/tags" Target="../tags/tag214.xml"/><Relationship Id="rId42" Type="http://schemas.openxmlformats.org/officeDocument/2006/relationships/tags" Target="../tags/tag222.xml"/><Relationship Id="rId47" Type="http://schemas.openxmlformats.org/officeDocument/2006/relationships/tags" Target="../tags/tag227.xml"/><Relationship Id="rId50" Type="http://schemas.openxmlformats.org/officeDocument/2006/relationships/slideLayout" Target="../slideLayouts/slideLayout80.xml"/><Relationship Id="rId55" Type="http://schemas.openxmlformats.org/officeDocument/2006/relationships/chart" Target="../charts/chart10.xml"/><Relationship Id="rId7" Type="http://schemas.openxmlformats.org/officeDocument/2006/relationships/tags" Target="../tags/tag187.xml"/><Relationship Id="rId2" Type="http://schemas.openxmlformats.org/officeDocument/2006/relationships/tags" Target="../tags/tag182.xml"/><Relationship Id="rId16" Type="http://schemas.openxmlformats.org/officeDocument/2006/relationships/tags" Target="../tags/tag196.xml"/><Relationship Id="rId29" Type="http://schemas.openxmlformats.org/officeDocument/2006/relationships/tags" Target="../tags/tag209.xml"/><Relationship Id="rId11" Type="http://schemas.openxmlformats.org/officeDocument/2006/relationships/tags" Target="../tags/tag191.xml"/><Relationship Id="rId24" Type="http://schemas.openxmlformats.org/officeDocument/2006/relationships/tags" Target="../tags/tag204.xml"/><Relationship Id="rId32" Type="http://schemas.openxmlformats.org/officeDocument/2006/relationships/tags" Target="../tags/tag212.xml"/><Relationship Id="rId37" Type="http://schemas.openxmlformats.org/officeDocument/2006/relationships/tags" Target="../tags/tag217.xml"/><Relationship Id="rId40" Type="http://schemas.openxmlformats.org/officeDocument/2006/relationships/tags" Target="../tags/tag220.xml"/><Relationship Id="rId45" Type="http://schemas.openxmlformats.org/officeDocument/2006/relationships/tags" Target="../tags/tag225.xml"/><Relationship Id="rId53" Type="http://schemas.openxmlformats.org/officeDocument/2006/relationships/hyperlink" Target="https://citypopulation.de/en/nigeria/admin/" TargetMode="External"/><Relationship Id="rId5" Type="http://schemas.openxmlformats.org/officeDocument/2006/relationships/tags" Target="../tags/tag185.xml"/><Relationship Id="rId19" Type="http://schemas.openxmlformats.org/officeDocument/2006/relationships/tags" Target="../tags/tag199.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 Id="rId22" Type="http://schemas.openxmlformats.org/officeDocument/2006/relationships/tags" Target="../tags/tag202.xml"/><Relationship Id="rId27" Type="http://schemas.openxmlformats.org/officeDocument/2006/relationships/tags" Target="../tags/tag207.xml"/><Relationship Id="rId30" Type="http://schemas.openxmlformats.org/officeDocument/2006/relationships/tags" Target="../tags/tag210.xml"/><Relationship Id="rId35" Type="http://schemas.openxmlformats.org/officeDocument/2006/relationships/tags" Target="../tags/tag215.xml"/><Relationship Id="rId43" Type="http://schemas.openxmlformats.org/officeDocument/2006/relationships/tags" Target="../tags/tag223.xml"/><Relationship Id="rId48" Type="http://schemas.openxmlformats.org/officeDocument/2006/relationships/tags" Target="../tags/tag228.xml"/><Relationship Id="rId56" Type="http://schemas.openxmlformats.org/officeDocument/2006/relationships/chart" Target="../charts/chart11.xml"/><Relationship Id="rId8" Type="http://schemas.openxmlformats.org/officeDocument/2006/relationships/tags" Target="../tags/tag188.xml"/><Relationship Id="rId51" Type="http://schemas.openxmlformats.org/officeDocument/2006/relationships/oleObject" Target="../embeddings/oleObject29.bin"/><Relationship Id="rId3" Type="http://schemas.openxmlformats.org/officeDocument/2006/relationships/tags" Target="../tags/tag183.xml"/><Relationship Id="rId12" Type="http://schemas.openxmlformats.org/officeDocument/2006/relationships/tags" Target="../tags/tag192.xml"/><Relationship Id="rId17" Type="http://schemas.openxmlformats.org/officeDocument/2006/relationships/tags" Target="../tags/tag197.xml"/><Relationship Id="rId25" Type="http://schemas.openxmlformats.org/officeDocument/2006/relationships/tags" Target="../tags/tag205.xml"/><Relationship Id="rId33" Type="http://schemas.openxmlformats.org/officeDocument/2006/relationships/tags" Target="../tags/tag213.xml"/><Relationship Id="rId38" Type="http://schemas.openxmlformats.org/officeDocument/2006/relationships/tags" Target="../tags/tag218.xml"/><Relationship Id="rId46" Type="http://schemas.openxmlformats.org/officeDocument/2006/relationships/tags" Target="../tags/tag226.xml"/><Relationship Id="rId20" Type="http://schemas.openxmlformats.org/officeDocument/2006/relationships/tags" Target="../tags/tag200.xml"/><Relationship Id="rId41" Type="http://schemas.openxmlformats.org/officeDocument/2006/relationships/tags" Target="../tags/tag221.xml"/><Relationship Id="rId54" Type="http://schemas.openxmlformats.org/officeDocument/2006/relationships/chart" Target="../charts/chart9.xml"/><Relationship Id="rId1" Type="http://schemas.openxmlformats.org/officeDocument/2006/relationships/tags" Target="../tags/tag181.xml"/><Relationship Id="rId6" Type="http://schemas.openxmlformats.org/officeDocument/2006/relationships/tags" Target="../tags/tag186.xml"/><Relationship Id="rId15" Type="http://schemas.openxmlformats.org/officeDocument/2006/relationships/tags" Target="../tags/tag195.xml"/><Relationship Id="rId23" Type="http://schemas.openxmlformats.org/officeDocument/2006/relationships/tags" Target="../tags/tag203.xml"/><Relationship Id="rId28" Type="http://schemas.openxmlformats.org/officeDocument/2006/relationships/tags" Target="../tags/tag208.xml"/><Relationship Id="rId36" Type="http://schemas.openxmlformats.org/officeDocument/2006/relationships/tags" Target="../tags/tag216.xml"/><Relationship Id="rId49" Type="http://schemas.openxmlformats.org/officeDocument/2006/relationships/tags" Target="../tags/tag229.xml"/><Relationship Id="rId57" Type="http://schemas.openxmlformats.org/officeDocument/2006/relationships/chart" Target="../charts/chart12.xml"/><Relationship Id="rId10" Type="http://schemas.openxmlformats.org/officeDocument/2006/relationships/tags" Target="../tags/tag190.xml"/><Relationship Id="rId31" Type="http://schemas.openxmlformats.org/officeDocument/2006/relationships/tags" Target="../tags/tag211.xml"/><Relationship Id="rId44" Type="http://schemas.openxmlformats.org/officeDocument/2006/relationships/tags" Target="../tags/tag224.xml"/><Relationship Id="rId52" Type="http://schemas.openxmlformats.org/officeDocument/2006/relationships/image" Target="../media/image1.emf"/></Relationships>
</file>

<file path=ppt/slides/_rels/slide12.xml.rels><?xml version="1.0" encoding="UTF-8" standalone="yes"?>
<Relationships xmlns="http://schemas.openxmlformats.org/package/2006/relationships"><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tags" Target="../tags/tag255.xml"/><Relationship Id="rId39" Type="http://schemas.openxmlformats.org/officeDocument/2006/relationships/chart" Target="../charts/chart14.xml"/><Relationship Id="rId21" Type="http://schemas.openxmlformats.org/officeDocument/2006/relationships/tags" Target="../tags/tag250.xml"/><Relationship Id="rId34" Type="http://schemas.openxmlformats.org/officeDocument/2006/relationships/tags" Target="../tags/tag263.xml"/><Relationship Id="rId42" Type="http://schemas.openxmlformats.org/officeDocument/2006/relationships/chart" Target="../charts/chart15.xml"/><Relationship Id="rId7" Type="http://schemas.openxmlformats.org/officeDocument/2006/relationships/tags" Target="../tags/tag236.xml"/><Relationship Id="rId2" Type="http://schemas.openxmlformats.org/officeDocument/2006/relationships/tags" Target="../tags/tag231.xml"/><Relationship Id="rId16" Type="http://schemas.openxmlformats.org/officeDocument/2006/relationships/tags" Target="../tags/tag245.xml"/><Relationship Id="rId20" Type="http://schemas.openxmlformats.org/officeDocument/2006/relationships/tags" Target="../tags/tag249.xml"/><Relationship Id="rId29" Type="http://schemas.openxmlformats.org/officeDocument/2006/relationships/tags" Target="../tags/tag258.xml"/><Relationship Id="rId41" Type="http://schemas.openxmlformats.org/officeDocument/2006/relationships/hyperlink" Target="https://data.worldbank.org/indicator/SP.DYN.CBRT.IN?locations=NG" TargetMode="Externa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tags" Target="../tags/tag240.xml"/><Relationship Id="rId24" Type="http://schemas.openxmlformats.org/officeDocument/2006/relationships/tags" Target="../tags/tag253.xml"/><Relationship Id="rId32" Type="http://schemas.openxmlformats.org/officeDocument/2006/relationships/tags" Target="../tags/tag261.xml"/><Relationship Id="rId37" Type="http://schemas.openxmlformats.org/officeDocument/2006/relationships/image" Target="../media/image1.emf"/><Relationship Id="rId40" Type="http://schemas.openxmlformats.org/officeDocument/2006/relationships/hyperlink" Target="https://citypopulation.de/en/nigeria/admin" TargetMode="External"/><Relationship Id="rId5" Type="http://schemas.openxmlformats.org/officeDocument/2006/relationships/tags" Target="../tags/tag234.xml"/><Relationship Id="rId15" Type="http://schemas.openxmlformats.org/officeDocument/2006/relationships/tags" Target="../tags/tag244.xml"/><Relationship Id="rId23" Type="http://schemas.openxmlformats.org/officeDocument/2006/relationships/tags" Target="../tags/tag252.xml"/><Relationship Id="rId28" Type="http://schemas.openxmlformats.org/officeDocument/2006/relationships/tags" Target="../tags/tag257.xml"/><Relationship Id="rId36" Type="http://schemas.openxmlformats.org/officeDocument/2006/relationships/oleObject" Target="../embeddings/oleObject30.bin"/><Relationship Id="rId10" Type="http://schemas.openxmlformats.org/officeDocument/2006/relationships/tags" Target="../tags/tag239.xml"/><Relationship Id="rId19" Type="http://schemas.openxmlformats.org/officeDocument/2006/relationships/tags" Target="../tags/tag248.xml"/><Relationship Id="rId31" Type="http://schemas.openxmlformats.org/officeDocument/2006/relationships/tags" Target="../tags/tag260.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 Id="rId22" Type="http://schemas.openxmlformats.org/officeDocument/2006/relationships/tags" Target="../tags/tag251.xml"/><Relationship Id="rId27" Type="http://schemas.openxmlformats.org/officeDocument/2006/relationships/tags" Target="../tags/tag256.xml"/><Relationship Id="rId30" Type="http://schemas.openxmlformats.org/officeDocument/2006/relationships/tags" Target="../tags/tag259.xml"/><Relationship Id="rId35" Type="http://schemas.openxmlformats.org/officeDocument/2006/relationships/slideLayout" Target="../slideLayouts/slideLayout80.xml"/><Relationship Id="rId43" Type="http://schemas.openxmlformats.org/officeDocument/2006/relationships/chart" Target="../charts/chart16.xml"/><Relationship Id="rId8" Type="http://schemas.openxmlformats.org/officeDocument/2006/relationships/tags" Target="../tags/tag237.xml"/><Relationship Id="rId3" Type="http://schemas.openxmlformats.org/officeDocument/2006/relationships/tags" Target="../tags/tag232.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tags" Target="../tags/tag254.xml"/><Relationship Id="rId33" Type="http://schemas.openxmlformats.org/officeDocument/2006/relationships/tags" Target="../tags/tag262.xml"/><Relationship Id="rId38" Type="http://schemas.openxmlformats.org/officeDocument/2006/relationships/chart" Target="../charts/chart13.xml"/></Relationships>
</file>

<file path=ppt/slides/_rels/slide13.xml.rels><?xml version="1.0" encoding="UTF-8" standalone="yes"?>
<Relationships xmlns="http://schemas.openxmlformats.org/package/2006/relationships"><Relationship Id="rId13" Type="http://schemas.openxmlformats.org/officeDocument/2006/relationships/tags" Target="../tags/tag276.xml"/><Relationship Id="rId18" Type="http://schemas.openxmlformats.org/officeDocument/2006/relationships/tags" Target="../tags/tag281.xml"/><Relationship Id="rId26" Type="http://schemas.openxmlformats.org/officeDocument/2006/relationships/tags" Target="../tags/tag289.xml"/><Relationship Id="rId39" Type="http://schemas.openxmlformats.org/officeDocument/2006/relationships/chart" Target="../charts/chart17.xml"/><Relationship Id="rId21" Type="http://schemas.openxmlformats.org/officeDocument/2006/relationships/tags" Target="../tags/tag284.xml"/><Relationship Id="rId34" Type="http://schemas.openxmlformats.org/officeDocument/2006/relationships/tags" Target="../tags/tag297.xml"/><Relationship Id="rId42" Type="http://schemas.openxmlformats.org/officeDocument/2006/relationships/chart" Target="../charts/chart20.xml"/><Relationship Id="rId7" Type="http://schemas.openxmlformats.org/officeDocument/2006/relationships/tags" Target="../tags/tag270.xml"/><Relationship Id="rId2" Type="http://schemas.openxmlformats.org/officeDocument/2006/relationships/tags" Target="../tags/tag265.xml"/><Relationship Id="rId16" Type="http://schemas.openxmlformats.org/officeDocument/2006/relationships/tags" Target="../tags/tag279.xml"/><Relationship Id="rId20" Type="http://schemas.openxmlformats.org/officeDocument/2006/relationships/tags" Target="../tags/tag283.xml"/><Relationship Id="rId29" Type="http://schemas.openxmlformats.org/officeDocument/2006/relationships/tags" Target="../tags/tag292.xml"/><Relationship Id="rId41" Type="http://schemas.openxmlformats.org/officeDocument/2006/relationships/chart" Target="../charts/chart19.xml"/><Relationship Id="rId1" Type="http://schemas.openxmlformats.org/officeDocument/2006/relationships/tags" Target="../tags/tag264.xml"/><Relationship Id="rId6" Type="http://schemas.openxmlformats.org/officeDocument/2006/relationships/tags" Target="../tags/tag269.xml"/><Relationship Id="rId11" Type="http://schemas.openxmlformats.org/officeDocument/2006/relationships/tags" Target="../tags/tag274.xml"/><Relationship Id="rId24" Type="http://schemas.openxmlformats.org/officeDocument/2006/relationships/tags" Target="../tags/tag287.xml"/><Relationship Id="rId32" Type="http://schemas.openxmlformats.org/officeDocument/2006/relationships/tags" Target="../tags/tag295.xml"/><Relationship Id="rId37" Type="http://schemas.openxmlformats.org/officeDocument/2006/relationships/image" Target="../media/image1.emf"/><Relationship Id="rId40" Type="http://schemas.openxmlformats.org/officeDocument/2006/relationships/chart" Target="../charts/chart18.xml"/><Relationship Id="rId5" Type="http://schemas.openxmlformats.org/officeDocument/2006/relationships/tags" Target="../tags/tag268.xml"/><Relationship Id="rId15" Type="http://schemas.openxmlformats.org/officeDocument/2006/relationships/tags" Target="../tags/tag278.xml"/><Relationship Id="rId23" Type="http://schemas.openxmlformats.org/officeDocument/2006/relationships/tags" Target="../tags/tag286.xml"/><Relationship Id="rId28" Type="http://schemas.openxmlformats.org/officeDocument/2006/relationships/tags" Target="../tags/tag291.xml"/><Relationship Id="rId36" Type="http://schemas.openxmlformats.org/officeDocument/2006/relationships/oleObject" Target="../embeddings/oleObject31.bin"/><Relationship Id="rId10" Type="http://schemas.openxmlformats.org/officeDocument/2006/relationships/tags" Target="../tags/tag273.xml"/><Relationship Id="rId19" Type="http://schemas.openxmlformats.org/officeDocument/2006/relationships/tags" Target="../tags/tag282.xml"/><Relationship Id="rId31" Type="http://schemas.openxmlformats.org/officeDocument/2006/relationships/tags" Target="../tags/tag294.xml"/><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tags" Target="../tags/tag277.xml"/><Relationship Id="rId22" Type="http://schemas.openxmlformats.org/officeDocument/2006/relationships/tags" Target="../tags/tag285.xml"/><Relationship Id="rId27" Type="http://schemas.openxmlformats.org/officeDocument/2006/relationships/tags" Target="../tags/tag290.xml"/><Relationship Id="rId30" Type="http://schemas.openxmlformats.org/officeDocument/2006/relationships/tags" Target="../tags/tag293.xml"/><Relationship Id="rId35" Type="http://schemas.openxmlformats.org/officeDocument/2006/relationships/slideLayout" Target="../slideLayouts/slideLayout80.xml"/><Relationship Id="rId8" Type="http://schemas.openxmlformats.org/officeDocument/2006/relationships/tags" Target="../tags/tag271.xml"/><Relationship Id="rId3" Type="http://schemas.openxmlformats.org/officeDocument/2006/relationships/tags" Target="../tags/tag266.xml"/><Relationship Id="rId12" Type="http://schemas.openxmlformats.org/officeDocument/2006/relationships/tags" Target="../tags/tag275.xml"/><Relationship Id="rId17" Type="http://schemas.openxmlformats.org/officeDocument/2006/relationships/tags" Target="../tags/tag280.xml"/><Relationship Id="rId25" Type="http://schemas.openxmlformats.org/officeDocument/2006/relationships/tags" Target="../tags/tag288.xml"/><Relationship Id="rId33" Type="http://schemas.openxmlformats.org/officeDocument/2006/relationships/tags" Target="../tags/tag296.xml"/><Relationship Id="rId38" Type="http://schemas.openxmlformats.org/officeDocument/2006/relationships/hyperlink" Target="https://citypopulation.de/en/nigeria/admin/" TargetMode="External"/></Relationships>
</file>

<file path=ppt/slides/_rels/slide14.xml.rels><?xml version="1.0" encoding="UTF-8" standalone="yes"?>
<Relationships xmlns="http://schemas.openxmlformats.org/package/2006/relationships"><Relationship Id="rId8" Type="http://schemas.openxmlformats.org/officeDocument/2006/relationships/tags" Target="../tags/tag305.xml"/><Relationship Id="rId3" Type="http://schemas.openxmlformats.org/officeDocument/2006/relationships/tags" Target="../tags/tag300.xml"/><Relationship Id="rId7" Type="http://schemas.openxmlformats.org/officeDocument/2006/relationships/tags" Target="../tags/tag304.xml"/><Relationship Id="rId12" Type="http://schemas.openxmlformats.org/officeDocument/2006/relationships/chart" Target="../charts/chart21.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tags" Target="../tags/tag303.xml"/><Relationship Id="rId11" Type="http://schemas.openxmlformats.org/officeDocument/2006/relationships/image" Target="../media/image6.emf"/><Relationship Id="rId5" Type="http://schemas.openxmlformats.org/officeDocument/2006/relationships/tags" Target="../tags/tag302.xml"/><Relationship Id="rId10" Type="http://schemas.openxmlformats.org/officeDocument/2006/relationships/oleObject" Target="../embeddings/oleObject32.bin"/><Relationship Id="rId4" Type="http://schemas.openxmlformats.org/officeDocument/2006/relationships/tags" Target="../tags/tag301.xml"/><Relationship Id="rId9" Type="http://schemas.openxmlformats.org/officeDocument/2006/relationships/slideLayout" Target="../slideLayouts/slideLayout69.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80.xml"/><Relationship Id="rId1" Type="http://schemas.openxmlformats.org/officeDocument/2006/relationships/tags" Target="../tags/tag306.xml"/><Relationship Id="rId5" Type="http://schemas.openxmlformats.org/officeDocument/2006/relationships/image" Target="../media/image39.jpe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microsoft.com/office/2007/relationships/hdphoto" Target="../media/hdphoto11.wdp"/><Relationship Id="rId2" Type="http://schemas.openxmlformats.org/officeDocument/2006/relationships/slideLayout" Target="../slideLayouts/slideLayout79.xml"/><Relationship Id="rId1" Type="http://schemas.openxmlformats.org/officeDocument/2006/relationships/tags" Target="../tags/tag307.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11.xml"/></Relationships>
</file>

<file path=ppt/slides/_rels/slide18.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notesSlide" Target="../notesSlides/notesSlide5.xml"/><Relationship Id="rId7" Type="http://schemas.openxmlformats.org/officeDocument/2006/relationships/image" Target="../media/image29.png"/><Relationship Id="rId2" Type="http://schemas.openxmlformats.org/officeDocument/2006/relationships/slideLayout" Target="../slideLayouts/slideLayout80.xml"/><Relationship Id="rId1" Type="http://schemas.openxmlformats.org/officeDocument/2006/relationships/tags" Target="../tags/tag308.xml"/><Relationship Id="rId6" Type="http://schemas.openxmlformats.org/officeDocument/2006/relationships/hyperlink" Target="https://www.city-facts.com/" TargetMode="External"/><Relationship Id="rId5" Type="http://schemas.openxmlformats.org/officeDocument/2006/relationships/image" Target="../media/image6.emf"/><Relationship Id="rId4" Type="http://schemas.openxmlformats.org/officeDocument/2006/relationships/oleObject" Target="../embeddings/oleObject35.bin"/><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13" Type="http://schemas.openxmlformats.org/officeDocument/2006/relationships/tags" Target="../tags/tag321.xml"/><Relationship Id="rId18" Type="http://schemas.openxmlformats.org/officeDocument/2006/relationships/tags" Target="../tags/tag326.xml"/><Relationship Id="rId26" Type="http://schemas.openxmlformats.org/officeDocument/2006/relationships/tags" Target="../tags/tag334.xml"/><Relationship Id="rId3" Type="http://schemas.openxmlformats.org/officeDocument/2006/relationships/tags" Target="../tags/tag311.xml"/><Relationship Id="rId21" Type="http://schemas.openxmlformats.org/officeDocument/2006/relationships/tags" Target="../tags/tag329.xml"/><Relationship Id="rId34" Type="http://schemas.openxmlformats.org/officeDocument/2006/relationships/chart" Target="../charts/chart22.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tags" Target="../tags/tag333.xml"/><Relationship Id="rId33" Type="http://schemas.openxmlformats.org/officeDocument/2006/relationships/image" Target="../media/image6.emf"/><Relationship Id="rId2" Type="http://schemas.openxmlformats.org/officeDocument/2006/relationships/tags" Target="../tags/tag310.xml"/><Relationship Id="rId16" Type="http://schemas.openxmlformats.org/officeDocument/2006/relationships/tags" Target="../tags/tag324.xml"/><Relationship Id="rId20" Type="http://schemas.openxmlformats.org/officeDocument/2006/relationships/tags" Target="../tags/tag328.xml"/><Relationship Id="rId29" Type="http://schemas.openxmlformats.org/officeDocument/2006/relationships/tags" Target="../tags/tag337.xml"/><Relationship Id="rId1" Type="http://schemas.openxmlformats.org/officeDocument/2006/relationships/tags" Target="../tags/tag309.xml"/><Relationship Id="rId6" Type="http://schemas.openxmlformats.org/officeDocument/2006/relationships/tags" Target="../tags/tag314.xml"/><Relationship Id="rId11" Type="http://schemas.openxmlformats.org/officeDocument/2006/relationships/tags" Target="../tags/tag319.xml"/><Relationship Id="rId24" Type="http://schemas.openxmlformats.org/officeDocument/2006/relationships/tags" Target="../tags/tag332.xml"/><Relationship Id="rId32" Type="http://schemas.openxmlformats.org/officeDocument/2006/relationships/oleObject" Target="../embeddings/oleObject36.bin"/><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tags" Target="../tags/tag331.xml"/><Relationship Id="rId28" Type="http://schemas.openxmlformats.org/officeDocument/2006/relationships/tags" Target="../tags/tag336.xml"/><Relationship Id="rId36" Type="http://schemas.openxmlformats.org/officeDocument/2006/relationships/chart" Target="../charts/chart24.xml"/><Relationship Id="rId10" Type="http://schemas.openxmlformats.org/officeDocument/2006/relationships/tags" Target="../tags/tag318.xml"/><Relationship Id="rId19" Type="http://schemas.openxmlformats.org/officeDocument/2006/relationships/tags" Target="../tags/tag327.xml"/><Relationship Id="rId31" Type="http://schemas.openxmlformats.org/officeDocument/2006/relationships/slideLayout" Target="../slideLayouts/slideLayout80.xml"/><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tags" Target="../tags/tag330.xml"/><Relationship Id="rId27" Type="http://schemas.openxmlformats.org/officeDocument/2006/relationships/tags" Target="../tags/tag335.xml"/><Relationship Id="rId30" Type="http://schemas.openxmlformats.org/officeDocument/2006/relationships/tags" Target="../tags/tag338.xml"/><Relationship Id="rId35" Type="http://schemas.openxmlformats.org/officeDocument/2006/relationships/chart" Target="../charts/chart23.xml"/><Relationship Id="rId8" Type="http://schemas.openxmlformats.org/officeDocument/2006/relationships/tags" Target="../tags/tag3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13" Type="http://schemas.openxmlformats.org/officeDocument/2006/relationships/tags" Target="../tags/tag351.xml"/><Relationship Id="rId18" Type="http://schemas.openxmlformats.org/officeDocument/2006/relationships/tags" Target="../tags/tag356.xml"/><Relationship Id="rId26" Type="http://schemas.openxmlformats.org/officeDocument/2006/relationships/tags" Target="../tags/tag364.xml"/><Relationship Id="rId39" Type="http://schemas.openxmlformats.org/officeDocument/2006/relationships/chart" Target="../charts/chart26.xml"/><Relationship Id="rId21" Type="http://schemas.openxmlformats.org/officeDocument/2006/relationships/tags" Target="../tags/tag359.xml"/><Relationship Id="rId34" Type="http://schemas.openxmlformats.org/officeDocument/2006/relationships/tags" Target="../tags/tag372.xml"/><Relationship Id="rId7" Type="http://schemas.openxmlformats.org/officeDocument/2006/relationships/tags" Target="../tags/tag345.xml"/><Relationship Id="rId12" Type="http://schemas.openxmlformats.org/officeDocument/2006/relationships/tags" Target="../tags/tag350.xml"/><Relationship Id="rId17" Type="http://schemas.openxmlformats.org/officeDocument/2006/relationships/tags" Target="../tags/tag355.xml"/><Relationship Id="rId25" Type="http://schemas.openxmlformats.org/officeDocument/2006/relationships/tags" Target="../tags/tag363.xml"/><Relationship Id="rId33" Type="http://schemas.openxmlformats.org/officeDocument/2006/relationships/tags" Target="../tags/tag371.xml"/><Relationship Id="rId38" Type="http://schemas.openxmlformats.org/officeDocument/2006/relationships/chart" Target="../charts/chart25.xml"/><Relationship Id="rId2" Type="http://schemas.openxmlformats.org/officeDocument/2006/relationships/tags" Target="../tags/tag340.xml"/><Relationship Id="rId16" Type="http://schemas.openxmlformats.org/officeDocument/2006/relationships/tags" Target="../tags/tag354.xml"/><Relationship Id="rId20" Type="http://schemas.openxmlformats.org/officeDocument/2006/relationships/tags" Target="../tags/tag358.xml"/><Relationship Id="rId29" Type="http://schemas.openxmlformats.org/officeDocument/2006/relationships/tags" Target="../tags/tag367.xml"/><Relationship Id="rId1" Type="http://schemas.openxmlformats.org/officeDocument/2006/relationships/tags" Target="../tags/tag339.xml"/><Relationship Id="rId6" Type="http://schemas.openxmlformats.org/officeDocument/2006/relationships/tags" Target="../tags/tag344.xml"/><Relationship Id="rId11" Type="http://schemas.openxmlformats.org/officeDocument/2006/relationships/tags" Target="../tags/tag349.xml"/><Relationship Id="rId24" Type="http://schemas.openxmlformats.org/officeDocument/2006/relationships/tags" Target="../tags/tag362.xml"/><Relationship Id="rId32" Type="http://schemas.openxmlformats.org/officeDocument/2006/relationships/tags" Target="../tags/tag370.xml"/><Relationship Id="rId37" Type="http://schemas.openxmlformats.org/officeDocument/2006/relationships/image" Target="../media/image6.emf"/><Relationship Id="rId40" Type="http://schemas.openxmlformats.org/officeDocument/2006/relationships/chart" Target="../charts/chart27.xml"/><Relationship Id="rId5" Type="http://schemas.openxmlformats.org/officeDocument/2006/relationships/tags" Target="../tags/tag343.xml"/><Relationship Id="rId15" Type="http://schemas.openxmlformats.org/officeDocument/2006/relationships/tags" Target="../tags/tag353.xml"/><Relationship Id="rId23" Type="http://schemas.openxmlformats.org/officeDocument/2006/relationships/tags" Target="../tags/tag361.xml"/><Relationship Id="rId28" Type="http://schemas.openxmlformats.org/officeDocument/2006/relationships/tags" Target="../tags/tag366.xml"/><Relationship Id="rId36" Type="http://schemas.openxmlformats.org/officeDocument/2006/relationships/oleObject" Target="../embeddings/oleObject37.bin"/><Relationship Id="rId10" Type="http://schemas.openxmlformats.org/officeDocument/2006/relationships/tags" Target="../tags/tag348.xml"/><Relationship Id="rId19" Type="http://schemas.openxmlformats.org/officeDocument/2006/relationships/tags" Target="../tags/tag357.xml"/><Relationship Id="rId31" Type="http://schemas.openxmlformats.org/officeDocument/2006/relationships/tags" Target="../tags/tag369.xml"/><Relationship Id="rId4" Type="http://schemas.openxmlformats.org/officeDocument/2006/relationships/tags" Target="../tags/tag342.xml"/><Relationship Id="rId9" Type="http://schemas.openxmlformats.org/officeDocument/2006/relationships/tags" Target="../tags/tag347.xml"/><Relationship Id="rId14" Type="http://schemas.openxmlformats.org/officeDocument/2006/relationships/tags" Target="../tags/tag352.xml"/><Relationship Id="rId22" Type="http://schemas.openxmlformats.org/officeDocument/2006/relationships/tags" Target="../tags/tag360.xml"/><Relationship Id="rId27" Type="http://schemas.openxmlformats.org/officeDocument/2006/relationships/tags" Target="../tags/tag365.xml"/><Relationship Id="rId30" Type="http://schemas.openxmlformats.org/officeDocument/2006/relationships/tags" Target="../tags/tag368.xml"/><Relationship Id="rId35" Type="http://schemas.openxmlformats.org/officeDocument/2006/relationships/slideLayout" Target="../slideLayouts/slideLayout80.xml"/><Relationship Id="rId8" Type="http://schemas.openxmlformats.org/officeDocument/2006/relationships/tags" Target="../tags/tag346.xml"/><Relationship Id="rId3" Type="http://schemas.openxmlformats.org/officeDocument/2006/relationships/tags" Target="../tags/tag341.xml"/></Relationships>
</file>

<file path=ppt/slides/_rels/slide21.xml.rels><?xml version="1.0" encoding="UTF-8" standalone="yes"?>
<Relationships xmlns="http://schemas.openxmlformats.org/package/2006/relationships"><Relationship Id="rId8" Type="http://schemas.openxmlformats.org/officeDocument/2006/relationships/tags" Target="../tags/tag380.xml"/><Relationship Id="rId13" Type="http://schemas.openxmlformats.org/officeDocument/2006/relationships/tags" Target="../tags/tag385.xml"/><Relationship Id="rId18" Type="http://schemas.openxmlformats.org/officeDocument/2006/relationships/tags" Target="../tags/tag390.xml"/><Relationship Id="rId26" Type="http://schemas.openxmlformats.org/officeDocument/2006/relationships/tags" Target="../tags/tag398.xml"/><Relationship Id="rId3" Type="http://schemas.openxmlformats.org/officeDocument/2006/relationships/tags" Target="../tags/tag375.xml"/><Relationship Id="rId21" Type="http://schemas.openxmlformats.org/officeDocument/2006/relationships/tags" Target="../tags/tag393.xml"/><Relationship Id="rId7" Type="http://schemas.openxmlformats.org/officeDocument/2006/relationships/tags" Target="../tags/tag379.xml"/><Relationship Id="rId12" Type="http://schemas.openxmlformats.org/officeDocument/2006/relationships/tags" Target="../tags/tag384.xml"/><Relationship Id="rId17" Type="http://schemas.openxmlformats.org/officeDocument/2006/relationships/tags" Target="../tags/tag389.xml"/><Relationship Id="rId25" Type="http://schemas.openxmlformats.org/officeDocument/2006/relationships/tags" Target="../tags/tag397.xml"/><Relationship Id="rId2" Type="http://schemas.openxmlformats.org/officeDocument/2006/relationships/tags" Target="../tags/tag374.xml"/><Relationship Id="rId16" Type="http://schemas.openxmlformats.org/officeDocument/2006/relationships/tags" Target="../tags/tag388.xml"/><Relationship Id="rId20" Type="http://schemas.openxmlformats.org/officeDocument/2006/relationships/tags" Target="../tags/tag392.xml"/><Relationship Id="rId29" Type="http://schemas.openxmlformats.org/officeDocument/2006/relationships/image" Target="../media/image6.emf"/><Relationship Id="rId1" Type="http://schemas.openxmlformats.org/officeDocument/2006/relationships/tags" Target="../tags/tag373.xml"/><Relationship Id="rId6" Type="http://schemas.openxmlformats.org/officeDocument/2006/relationships/tags" Target="../tags/tag378.xml"/><Relationship Id="rId11" Type="http://schemas.openxmlformats.org/officeDocument/2006/relationships/tags" Target="../tags/tag383.xml"/><Relationship Id="rId24" Type="http://schemas.openxmlformats.org/officeDocument/2006/relationships/tags" Target="../tags/tag396.xml"/><Relationship Id="rId32" Type="http://schemas.openxmlformats.org/officeDocument/2006/relationships/chart" Target="../charts/chart30.xml"/><Relationship Id="rId5" Type="http://schemas.openxmlformats.org/officeDocument/2006/relationships/tags" Target="../tags/tag377.xml"/><Relationship Id="rId15" Type="http://schemas.openxmlformats.org/officeDocument/2006/relationships/tags" Target="../tags/tag387.xml"/><Relationship Id="rId23" Type="http://schemas.openxmlformats.org/officeDocument/2006/relationships/tags" Target="../tags/tag395.xml"/><Relationship Id="rId28" Type="http://schemas.openxmlformats.org/officeDocument/2006/relationships/oleObject" Target="../embeddings/oleObject38.bin"/><Relationship Id="rId10" Type="http://schemas.openxmlformats.org/officeDocument/2006/relationships/tags" Target="../tags/tag382.xml"/><Relationship Id="rId19" Type="http://schemas.openxmlformats.org/officeDocument/2006/relationships/tags" Target="../tags/tag391.xml"/><Relationship Id="rId31" Type="http://schemas.openxmlformats.org/officeDocument/2006/relationships/chart" Target="../charts/chart29.xml"/><Relationship Id="rId4" Type="http://schemas.openxmlformats.org/officeDocument/2006/relationships/tags" Target="../tags/tag376.xml"/><Relationship Id="rId9" Type="http://schemas.openxmlformats.org/officeDocument/2006/relationships/tags" Target="../tags/tag381.xml"/><Relationship Id="rId14" Type="http://schemas.openxmlformats.org/officeDocument/2006/relationships/tags" Target="../tags/tag386.xml"/><Relationship Id="rId22" Type="http://schemas.openxmlformats.org/officeDocument/2006/relationships/tags" Target="../tags/tag394.xml"/><Relationship Id="rId27" Type="http://schemas.openxmlformats.org/officeDocument/2006/relationships/slideLayout" Target="../slideLayouts/slideLayout80.xml"/><Relationship Id="rId30" Type="http://schemas.openxmlformats.org/officeDocument/2006/relationships/chart" Target="../charts/chart28.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0.xml"/><Relationship Id="rId1" Type="http://schemas.openxmlformats.org/officeDocument/2006/relationships/tags" Target="../tags/tag399.xml"/><Relationship Id="rId5" Type="http://schemas.openxmlformats.org/officeDocument/2006/relationships/image" Target="../media/image44.jpeg"/><Relationship Id="rId4" Type="http://schemas.openxmlformats.org/officeDocument/2006/relationships/image" Target="../media/image6.emf"/></Relationships>
</file>

<file path=ppt/slides/_rels/slide23.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tags" Target="../tags/tag412.xml"/><Relationship Id="rId18" Type="http://schemas.openxmlformats.org/officeDocument/2006/relationships/image" Target="../media/image6.emf"/><Relationship Id="rId3" Type="http://schemas.openxmlformats.org/officeDocument/2006/relationships/tags" Target="../tags/tag402.xml"/><Relationship Id="rId7" Type="http://schemas.openxmlformats.org/officeDocument/2006/relationships/tags" Target="../tags/tag406.xml"/><Relationship Id="rId12" Type="http://schemas.openxmlformats.org/officeDocument/2006/relationships/tags" Target="../tags/tag411.xml"/><Relationship Id="rId17" Type="http://schemas.openxmlformats.org/officeDocument/2006/relationships/oleObject" Target="../embeddings/oleObject40.bin"/><Relationship Id="rId2" Type="http://schemas.openxmlformats.org/officeDocument/2006/relationships/tags" Target="../tags/tag401.xml"/><Relationship Id="rId16" Type="http://schemas.openxmlformats.org/officeDocument/2006/relationships/notesSlide" Target="../notesSlides/notesSlide6.xml"/><Relationship Id="rId1" Type="http://schemas.openxmlformats.org/officeDocument/2006/relationships/tags" Target="../tags/tag400.xml"/><Relationship Id="rId6" Type="http://schemas.openxmlformats.org/officeDocument/2006/relationships/tags" Target="../tags/tag405.xml"/><Relationship Id="rId11" Type="http://schemas.openxmlformats.org/officeDocument/2006/relationships/tags" Target="../tags/tag410.xml"/><Relationship Id="rId5" Type="http://schemas.openxmlformats.org/officeDocument/2006/relationships/tags" Target="../tags/tag404.xml"/><Relationship Id="rId15" Type="http://schemas.openxmlformats.org/officeDocument/2006/relationships/slideLayout" Target="../slideLayouts/slideLayout18.xml"/><Relationship Id="rId10" Type="http://schemas.openxmlformats.org/officeDocument/2006/relationships/tags" Target="../tags/tag409.xml"/><Relationship Id="rId4" Type="http://schemas.openxmlformats.org/officeDocument/2006/relationships/tags" Target="../tags/tag403.xml"/><Relationship Id="rId9" Type="http://schemas.openxmlformats.org/officeDocument/2006/relationships/tags" Target="../tags/tag408.xml"/><Relationship Id="rId14" Type="http://schemas.openxmlformats.org/officeDocument/2006/relationships/tags" Target="../tags/tag413.xml"/></Relationships>
</file>

<file path=ppt/slides/_rels/slide24.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tags" Target="../tags/tag426.xml"/><Relationship Id="rId18" Type="http://schemas.openxmlformats.org/officeDocument/2006/relationships/slideLayout" Target="../slideLayouts/slideLayout18.xml"/><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tags" Target="../tags/tag425.xml"/><Relationship Id="rId17" Type="http://schemas.openxmlformats.org/officeDocument/2006/relationships/tags" Target="../tags/tag430.xml"/><Relationship Id="rId2" Type="http://schemas.openxmlformats.org/officeDocument/2006/relationships/tags" Target="../tags/tag415.xml"/><Relationship Id="rId16" Type="http://schemas.openxmlformats.org/officeDocument/2006/relationships/tags" Target="../tags/tag429.xml"/><Relationship Id="rId20" Type="http://schemas.openxmlformats.org/officeDocument/2006/relationships/image" Target="../media/image6.emf"/><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tags" Target="../tags/tag424.xml"/><Relationship Id="rId5" Type="http://schemas.openxmlformats.org/officeDocument/2006/relationships/tags" Target="../tags/tag418.xml"/><Relationship Id="rId15" Type="http://schemas.openxmlformats.org/officeDocument/2006/relationships/tags" Target="../tags/tag428.xml"/><Relationship Id="rId10" Type="http://schemas.openxmlformats.org/officeDocument/2006/relationships/tags" Target="../tags/tag423.xml"/><Relationship Id="rId19" Type="http://schemas.openxmlformats.org/officeDocument/2006/relationships/oleObject" Target="../embeddings/oleObject41.bin"/><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18.xml"/><Relationship Id="rId1" Type="http://schemas.openxmlformats.org/officeDocument/2006/relationships/tags" Target="../tags/tag431.xml"/><Relationship Id="rId4" Type="http://schemas.openxmlformats.org/officeDocument/2006/relationships/image" Target="../media/image6.emf"/></Relationships>
</file>

<file path=ppt/slides/_rels/slide26.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tags" Target="../tags/tag444.xml"/><Relationship Id="rId18" Type="http://schemas.openxmlformats.org/officeDocument/2006/relationships/image" Target="../media/image6.emf"/><Relationship Id="rId3" Type="http://schemas.openxmlformats.org/officeDocument/2006/relationships/tags" Target="../tags/tag434.xml"/><Relationship Id="rId7" Type="http://schemas.openxmlformats.org/officeDocument/2006/relationships/tags" Target="../tags/tag438.xml"/><Relationship Id="rId12" Type="http://schemas.openxmlformats.org/officeDocument/2006/relationships/tags" Target="../tags/tag443.xml"/><Relationship Id="rId17" Type="http://schemas.openxmlformats.org/officeDocument/2006/relationships/oleObject" Target="../embeddings/oleObject43.bin"/><Relationship Id="rId2" Type="http://schemas.openxmlformats.org/officeDocument/2006/relationships/tags" Target="../tags/tag433.xml"/><Relationship Id="rId16" Type="http://schemas.openxmlformats.org/officeDocument/2006/relationships/notesSlide" Target="../notesSlides/notesSlide7.xml"/><Relationship Id="rId1" Type="http://schemas.openxmlformats.org/officeDocument/2006/relationships/tags" Target="../tags/tag432.xml"/><Relationship Id="rId6" Type="http://schemas.openxmlformats.org/officeDocument/2006/relationships/tags" Target="../tags/tag437.xml"/><Relationship Id="rId11" Type="http://schemas.openxmlformats.org/officeDocument/2006/relationships/tags" Target="../tags/tag442.xml"/><Relationship Id="rId5" Type="http://schemas.openxmlformats.org/officeDocument/2006/relationships/tags" Target="../tags/tag436.xml"/><Relationship Id="rId15" Type="http://schemas.openxmlformats.org/officeDocument/2006/relationships/slideLayout" Target="../slideLayouts/slideLayout18.xml"/><Relationship Id="rId10" Type="http://schemas.openxmlformats.org/officeDocument/2006/relationships/tags" Target="../tags/tag441.xml"/><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tags" Target="../tags/tag44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4.xml"/><Relationship Id="rId1" Type="http://schemas.openxmlformats.org/officeDocument/2006/relationships/tags" Target="../tags/tag446.xml"/><Relationship Id="rId5" Type="http://schemas.openxmlformats.org/officeDocument/2006/relationships/image" Target="../media/image6.emf"/><Relationship Id="rId4" Type="http://schemas.openxmlformats.org/officeDocument/2006/relationships/oleObject" Target="../embeddings/oleObject44.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78.xml"/><Relationship Id="rId1" Type="http://schemas.openxmlformats.org/officeDocument/2006/relationships/tags" Target="../tags/tag447.xml"/><Relationship Id="rId4" Type="http://schemas.openxmlformats.org/officeDocument/2006/relationships/image" Target="../media/image6.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8.xml"/><Relationship Id="rId1" Type="http://schemas.openxmlformats.org/officeDocument/2006/relationships/tags" Target="../tags/tag448.xml"/><Relationship Id="rId5" Type="http://schemas.openxmlformats.org/officeDocument/2006/relationships/image" Target="../media/image6.emf"/><Relationship Id="rId4" Type="http://schemas.openxmlformats.org/officeDocument/2006/relationships/oleObject" Target="../embeddings/oleObject46.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35.xml"/><Relationship Id="rId1" Type="http://schemas.openxmlformats.org/officeDocument/2006/relationships/tags" Target="../tags/tag22.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microsoft.com/office/2007/relationships/hdphoto" Target="../media/hdphoto8.wdp"/><Relationship Id="rId2" Type="http://schemas.openxmlformats.org/officeDocument/2006/relationships/slideLayout" Target="../slideLayouts/slideLayout79.xml"/><Relationship Id="rId1" Type="http://schemas.openxmlformats.org/officeDocument/2006/relationships/tags" Target="../tags/tag449.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75.xml"/><Relationship Id="rId1" Type="http://schemas.openxmlformats.org/officeDocument/2006/relationships/tags" Target="../tags/tag450.xml"/><Relationship Id="rId5" Type="http://schemas.openxmlformats.org/officeDocument/2006/relationships/image" Target="../media/image19.png"/><Relationship Id="rId4" Type="http://schemas.openxmlformats.org/officeDocument/2006/relationships/image" Target="../media/image6.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microsoft.com/office/2007/relationships/hdphoto" Target="../media/hdphoto8.wdp"/><Relationship Id="rId2" Type="http://schemas.openxmlformats.org/officeDocument/2006/relationships/slideLayout" Target="../slideLayouts/slideLayout79.xml"/><Relationship Id="rId1" Type="http://schemas.openxmlformats.org/officeDocument/2006/relationships/tags" Target="../tags/tag451.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49.bin"/></Relationships>
</file>

<file path=ppt/slides/_rels/slide35.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9.jpeg"/><Relationship Id="rId2" Type="http://schemas.openxmlformats.org/officeDocument/2006/relationships/slideLayout" Target="../slideLayouts/slideLayout19.xml"/><Relationship Id="rId1" Type="http://schemas.openxmlformats.org/officeDocument/2006/relationships/tags" Target="../tags/tag452.xml"/><Relationship Id="rId6" Type="http://schemas.openxmlformats.org/officeDocument/2006/relationships/image" Target="../media/image6.emf"/><Relationship Id="rId5" Type="http://schemas.openxmlformats.org/officeDocument/2006/relationships/oleObject" Target="../embeddings/oleObject50.bin"/><Relationship Id="rId4" Type="http://schemas.microsoft.com/office/2007/relationships/hdphoto" Target="../media/hdphoto9.wdp"/></Relationships>
</file>

<file path=ppt/slides/_rels/slide36.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184.xml"/><Relationship Id="rId6" Type="http://schemas.openxmlformats.org/officeDocument/2006/relationships/image" Target="../media/image49.png"/><Relationship Id="rId11"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2.png"/><Relationship Id="rId4" Type="http://schemas.openxmlformats.org/officeDocument/2006/relationships/image" Target="../media/image47.png"/><Relationship Id="rId9" Type="http://schemas.openxmlformats.org/officeDocument/2006/relationships/image" Target="../media/image51.png"/></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84.xml"/><Relationship Id="rId1" Type="http://schemas.openxmlformats.org/officeDocument/2006/relationships/tags" Target="../tags/tag453.xml"/><Relationship Id="rId5" Type="http://schemas.openxmlformats.org/officeDocument/2006/relationships/image" Target="../media/image54.png"/><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oleObject" Target="../embeddings/oleObject22.bin"/><Relationship Id="rId7" Type="http://schemas.openxmlformats.org/officeDocument/2006/relationships/image" Target="../media/image22.jpeg"/><Relationship Id="rId2" Type="http://schemas.openxmlformats.org/officeDocument/2006/relationships/slideLayout" Target="../slideLayouts/slideLayout135.xml"/><Relationship Id="rId1" Type="http://schemas.openxmlformats.org/officeDocument/2006/relationships/tags" Target="../tags/tag23.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6.emf"/><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7" Type="http://schemas.microsoft.com/office/2007/relationships/hdphoto" Target="../media/hdphoto8.wdp"/><Relationship Id="rId2" Type="http://schemas.openxmlformats.org/officeDocument/2006/relationships/slideLayout" Target="../slideLayouts/slideLayout79.xml"/><Relationship Id="rId1" Type="http://schemas.openxmlformats.org/officeDocument/2006/relationships/tags" Target="../tags/tag24.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6.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slideLayout" Target="../slideLayouts/slideLayout80.xml"/><Relationship Id="rId7" Type="http://schemas.openxmlformats.org/officeDocument/2006/relationships/image" Target="../media/image26.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tags" Target="../tags/tag26.xml"/><Relationship Id="rId16" Type="http://schemas.openxmlformats.org/officeDocument/2006/relationships/image" Target="../media/image33.png"/><Relationship Id="rId1" Type="http://schemas.openxmlformats.org/officeDocument/2006/relationships/tags" Target="../tags/tag25.xml"/><Relationship Id="rId6" Type="http://schemas.openxmlformats.org/officeDocument/2006/relationships/image" Target="../media/image1.emf"/><Relationship Id="rId11" Type="http://schemas.openxmlformats.org/officeDocument/2006/relationships/image" Target="../media/image28.svg"/><Relationship Id="rId5" Type="http://schemas.openxmlformats.org/officeDocument/2006/relationships/oleObject" Target="../embeddings/oleObject24.bin"/><Relationship Id="rId15" Type="http://schemas.openxmlformats.org/officeDocument/2006/relationships/image" Target="../media/image32.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notesSlide" Target="../notesSlides/notesSlide2.xml"/><Relationship Id="rId9" Type="http://schemas.openxmlformats.org/officeDocument/2006/relationships/hyperlink" Target="https://www.new.funai.edu.ng/about-ebonyi-state/" TargetMode="External"/><Relationship Id="rId14" Type="http://schemas.openxmlformats.org/officeDocument/2006/relationships/image" Target="../media/image31.png"/></Relationships>
</file>

<file path=ppt/slides/_rels/slide7.xml.rels><?xml version="1.0" encoding="UTF-8" standalone="yes"?>
<Relationships xmlns="http://schemas.openxmlformats.org/package/2006/relationships"><Relationship Id="rId26" Type="http://schemas.openxmlformats.org/officeDocument/2006/relationships/tags" Target="../tags/tag52.xml"/><Relationship Id="rId21" Type="http://schemas.openxmlformats.org/officeDocument/2006/relationships/tags" Target="../tags/tag47.xml"/><Relationship Id="rId34" Type="http://schemas.openxmlformats.org/officeDocument/2006/relationships/tags" Target="../tags/tag60.xml"/><Relationship Id="rId42" Type="http://schemas.openxmlformats.org/officeDocument/2006/relationships/tags" Target="../tags/tag68.xml"/><Relationship Id="rId47" Type="http://schemas.openxmlformats.org/officeDocument/2006/relationships/tags" Target="../tags/tag73.xml"/><Relationship Id="rId50" Type="http://schemas.openxmlformats.org/officeDocument/2006/relationships/tags" Target="../tags/tag76.xml"/><Relationship Id="rId55" Type="http://schemas.openxmlformats.org/officeDocument/2006/relationships/tags" Target="../tags/tag81.xml"/><Relationship Id="rId63" Type="http://schemas.openxmlformats.org/officeDocument/2006/relationships/chart" Target="../charts/chart1.xml"/><Relationship Id="rId7" Type="http://schemas.openxmlformats.org/officeDocument/2006/relationships/tags" Target="../tags/tag33.xml"/><Relationship Id="rId2" Type="http://schemas.openxmlformats.org/officeDocument/2006/relationships/tags" Target="../tags/tag28.xml"/><Relationship Id="rId16" Type="http://schemas.openxmlformats.org/officeDocument/2006/relationships/tags" Target="../tags/tag42.xml"/><Relationship Id="rId29" Type="http://schemas.openxmlformats.org/officeDocument/2006/relationships/tags" Target="../tags/tag55.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37" Type="http://schemas.openxmlformats.org/officeDocument/2006/relationships/tags" Target="../tags/tag63.xml"/><Relationship Id="rId40" Type="http://schemas.openxmlformats.org/officeDocument/2006/relationships/tags" Target="../tags/tag66.xml"/><Relationship Id="rId45" Type="http://schemas.openxmlformats.org/officeDocument/2006/relationships/tags" Target="../tags/tag71.xml"/><Relationship Id="rId53" Type="http://schemas.openxmlformats.org/officeDocument/2006/relationships/tags" Target="../tags/tag79.xml"/><Relationship Id="rId58" Type="http://schemas.openxmlformats.org/officeDocument/2006/relationships/slideLayout" Target="../slideLayouts/slideLayout80.xml"/><Relationship Id="rId66" Type="http://schemas.openxmlformats.org/officeDocument/2006/relationships/chart" Target="../charts/chart4.xml"/><Relationship Id="rId5" Type="http://schemas.openxmlformats.org/officeDocument/2006/relationships/tags" Target="../tags/tag31.xml"/><Relationship Id="rId61" Type="http://schemas.openxmlformats.org/officeDocument/2006/relationships/image" Target="../media/image26.png"/><Relationship Id="rId19" Type="http://schemas.openxmlformats.org/officeDocument/2006/relationships/tags" Target="../tags/tag4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tags" Target="../tags/tag61.xml"/><Relationship Id="rId43" Type="http://schemas.openxmlformats.org/officeDocument/2006/relationships/tags" Target="../tags/tag69.xml"/><Relationship Id="rId48" Type="http://schemas.openxmlformats.org/officeDocument/2006/relationships/tags" Target="../tags/tag74.xml"/><Relationship Id="rId56" Type="http://schemas.openxmlformats.org/officeDocument/2006/relationships/tags" Target="../tags/tag82.xml"/><Relationship Id="rId64" Type="http://schemas.openxmlformats.org/officeDocument/2006/relationships/chart" Target="../charts/chart2.xml"/><Relationship Id="rId8" Type="http://schemas.openxmlformats.org/officeDocument/2006/relationships/tags" Target="../tags/tag34.xml"/><Relationship Id="rId51" Type="http://schemas.openxmlformats.org/officeDocument/2006/relationships/tags" Target="../tags/tag77.xml"/><Relationship Id="rId3" Type="http://schemas.openxmlformats.org/officeDocument/2006/relationships/tags" Target="../tags/tag29.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tags" Target="../tags/tag59.xml"/><Relationship Id="rId38" Type="http://schemas.openxmlformats.org/officeDocument/2006/relationships/tags" Target="../tags/tag64.xml"/><Relationship Id="rId46" Type="http://schemas.openxmlformats.org/officeDocument/2006/relationships/tags" Target="../tags/tag72.xml"/><Relationship Id="rId59" Type="http://schemas.openxmlformats.org/officeDocument/2006/relationships/oleObject" Target="../embeddings/oleObject25.bin"/><Relationship Id="rId20" Type="http://schemas.openxmlformats.org/officeDocument/2006/relationships/tags" Target="../tags/tag46.xml"/><Relationship Id="rId41" Type="http://schemas.openxmlformats.org/officeDocument/2006/relationships/tags" Target="../tags/tag67.xml"/><Relationship Id="rId54" Type="http://schemas.openxmlformats.org/officeDocument/2006/relationships/tags" Target="../tags/tag80.xml"/><Relationship Id="rId62" Type="http://schemas.microsoft.com/office/2007/relationships/hdphoto" Target="../media/hdphoto9.wdp"/><Relationship Id="rId1" Type="http://schemas.openxmlformats.org/officeDocument/2006/relationships/tags" Target="../tags/tag27.xml"/><Relationship Id="rId6" Type="http://schemas.openxmlformats.org/officeDocument/2006/relationships/tags" Target="../tags/tag32.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tags" Target="../tags/tag62.xml"/><Relationship Id="rId49" Type="http://schemas.openxmlformats.org/officeDocument/2006/relationships/tags" Target="../tags/tag75.xml"/><Relationship Id="rId57" Type="http://schemas.openxmlformats.org/officeDocument/2006/relationships/tags" Target="../tags/tag83.xml"/><Relationship Id="rId10" Type="http://schemas.openxmlformats.org/officeDocument/2006/relationships/tags" Target="../tags/tag36.xml"/><Relationship Id="rId31" Type="http://schemas.openxmlformats.org/officeDocument/2006/relationships/tags" Target="../tags/tag57.xml"/><Relationship Id="rId44" Type="http://schemas.openxmlformats.org/officeDocument/2006/relationships/tags" Target="../tags/tag70.xml"/><Relationship Id="rId52" Type="http://schemas.openxmlformats.org/officeDocument/2006/relationships/tags" Target="../tags/tag78.xml"/><Relationship Id="rId60" Type="http://schemas.openxmlformats.org/officeDocument/2006/relationships/image" Target="../media/image1.emf"/><Relationship Id="rId65" Type="http://schemas.openxmlformats.org/officeDocument/2006/relationships/chart" Target="../charts/chart3.xml"/><Relationship Id="rId4" Type="http://schemas.openxmlformats.org/officeDocument/2006/relationships/tags" Target="../tags/tag30.xml"/><Relationship Id="rId9" Type="http://schemas.openxmlformats.org/officeDocument/2006/relationships/tags" Target="../tags/tag35.xml"/><Relationship Id="rId13" Type="http://schemas.openxmlformats.org/officeDocument/2006/relationships/tags" Target="../tags/tag39.xml"/><Relationship Id="rId18" Type="http://schemas.openxmlformats.org/officeDocument/2006/relationships/tags" Target="../tags/tag44.xml"/><Relationship Id="rId39" Type="http://schemas.openxmlformats.org/officeDocument/2006/relationships/tags" Target="../tags/tag65.xml"/></Relationships>
</file>

<file path=ppt/slides/_rels/slide8.xml.rels><?xml version="1.0" encoding="UTF-8" standalone="yes"?>
<Relationships xmlns="http://schemas.openxmlformats.org/package/2006/relationships"><Relationship Id="rId26" Type="http://schemas.openxmlformats.org/officeDocument/2006/relationships/tags" Target="../tags/tag109.xml"/><Relationship Id="rId21" Type="http://schemas.openxmlformats.org/officeDocument/2006/relationships/tags" Target="../tags/tag104.xml"/><Relationship Id="rId42" Type="http://schemas.openxmlformats.org/officeDocument/2006/relationships/tags" Target="../tags/tag125.xml"/><Relationship Id="rId47" Type="http://schemas.openxmlformats.org/officeDocument/2006/relationships/tags" Target="../tags/tag130.xml"/><Relationship Id="rId63" Type="http://schemas.openxmlformats.org/officeDocument/2006/relationships/tags" Target="../tags/tag146.xml"/><Relationship Id="rId68" Type="http://schemas.openxmlformats.org/officeDocument/2006/relationships/tags" Target="../tags/tag151.xml"/><Relationship Id="rId84" Type="http://schemas.openxmlformats.org/officeDocument/2006/relationships/tags" Target="../tags/tag167.xml"/><Relationship Id="rId89" Type="http://schemas.openxmlformats.org/officeDocument/2006/relationships/tags" Target="../tags/tag172.xml"/><Relationship Id="rId16" Type="http://schemas.openxmlformats.org/officeDocument/2006/relationships/tags" Target="../tags/tag99.xml"/><Relationship Id="rId11" Type="http://schemas.openxmlformats.org/officeDocument/2006/relationships/tags" Target="../tags/tag94.xml"/><Relationship Id="rId32" Type="http://schemas.openxmlformats.org/officeDocument/2006/relationships/tags" Target="../tags/tag115.xml"/><Relationship Id="rId37" Type="http://schemas.openxmlformats.org/officeDocument/2006/relationships/tags" Target="../tags/tag120.xml"/><Relationship Id="rId53" Type="http://schemas.openxmlformats.org/officeDocument/2006/relationships/tags" Target="../tags/tag136.xml"/><Relationship Id="rId58" Type="http://schemas.openxmlformats.org/officeDocument/2006/relationships/tags" Target="../tags/tag141.xml"/><Relationship Id="rId74" Type="http://schemas.openxmlformats.org/officeDocument/2006/relationships/tags" Target="../tags/tag157.xml"/><Relationship Id="rId79" Type="http://schemas.openxmlformats.org/officeDocument/2006/relationships/tags" Target="../tags/tag162.xml"/><Relationship Id="rId102" Type="http://schemas.openxmlformats.org/officeDocument/2006/relationships/chart" Target="../charts/chart6.xml"/><Relationship Id="rId5" Type="http://schemas.openxmlformats.org/officeDocument/2006/relationships/tags" Target="../tags/tag88.xml"/><Relationship Id="rId90" Type="http://schemas.openxmlformats.org/officeDocument/2006/relationships/tags" Target="../tags/tag173.xml"/><Relationship Id="rId95" Type="http://schemas.openxmlformats.org/officeDocument/2006/relationships/tags" Target="../tags/tag178.xml"/><Relationship Id="rId22" Type="http://schemas.openxmlformats.org/officeDocument/2006/relationships/tags" Target="../tags/tag105.xml"/><Relationship Id="rId27" Type="http://schemas.openxmlformats.org/officeDocument/2006/relationships/tags" Target="../tags/tag110.xml"/><Relationship Id="rId43" Type="http://schemas.openxmlformats.org/officeDocument/2006/relationships/tags" Target="../tags/tag126.xml"/><Relationship Id="rId48" Type="http://schemas.openxmlformats.org/officeDocument/2006/relationships/tags" Target="../tags/tag131.xml"/><Relationship Id="rId64" Type="http://schemas.openxmlformats.org/officeDocument/2006/relationships/tags" Target="../tags/tag147.xml"/><Relationship Id="rId69" Type="http://schemas.openxmlformats.org/officeDocument/2006/relationships/tags" Target="../tags/tag152.xml"/><Relationship Id="rId80" Type="http://schemas.openxmlformats.org/officeDocument/2006/relationships/tags" Target="../tags/tag163.xml"/><Relationship Id="rId85" Type="http://schemas.openxmlformats.org/officeDocument/2006/relationships/tags" Target="../tags/tag168.xml"/><Relationship Id="rId12" Type="http://schemas.openxmlformats.org/officeDocument/2006/relationships/tags" Target="../tags/tag95.xml"/><Relationship Id="rId17" Type="http://schemas.openxmlformats.org/officeDocument/2006/relationships/tags" Target="../tags/tag100.xml"/><Relationship Id="rId25" Type="http://schemas.openxmlformats.org/officeDocument/2006/relationships/tags" Target="../tags/tag108.xml"/><Relationship Id="rId33" Type="http://schemas.openxmlformats.org/officeDocument/2006/relationships/tags" Target="../tags/tag116.xml"/><Relationship Id="rId38" Type="http://schemas.openxmlformats.org/officeDocument/2006/relationships/tags" Target="../tags/tag121.xml"/><Relationship Id="rId46" Type="http://schemas.openxmlformats.org/officeDocument/2006/relationships/tags" Target="../tags/tag129.xml"/><Relationship Id="rId59" Type="http://schemas.openxmlformats.org/officeDocument/2006/relationships/tags" Target="../tags/tag142.xml"/><Relationship Id="rId67" Type="http://schemas.openxmlformats.org/officeDocument/2006/relationships/tags" Target="../tags/tag150.xml"/><Relationship Id="rId103" Type="http://schemas.openxmlformats.org/officeDocument/2006/relationships/chart" Target="../charts/chart7.xml"/><Relationship Id="rId20" Type="http://schemas.openxmlformats.org/officeDocument/2006/relationships/tags" Target="../tags/tag103.xml"/><Relationship Id="rId41" Type="http://schemas.openxmlformats.org/officeDocument/2006/relationships/tags" Target="../tags/tag124.xml"/><Relationship Id="rId54" Type="http://schemas.openxmlformats.org/officeDocument/2006/relationships/tags" Target="../tags/tag137.xml"/><Relationship Id="rId62" Type="http://schemas.openxmlformats.org/officeDocument/2006/relationships/tags" Target="../tags/tag145.xml"/><Relationship Id="rId70" Type="http://schemas.openxmlformats.org/officeDocument/2006/relationships/tags" Target="../tags/tag153.xml"/><Relationship Id="rId75" Type="http://schemas.openxmlformats.org/officeDocument/2006/relationships/tags" Target="../tags/tag158.xml"/><Relationship Id="rId83" Type="http://schemas.openxmlformats.org/officeDocument/2006/relationships/tags" Target="../tags/tag166.xml"/><Relationship Id="rId88" Type="http://schemas.openxmlformats.org/officeDocument/2006/relationships/tags" Target="../tags/tag171.xml"/><Relationship Id="rId91" Type="http://schemas.openxmlformats.org/officeDocument/2006/relationships/tags" Target="../tags/tag174.xml"/><Relationship Id="rId96" Type="http://schemas.openxmlformats.org/officeDocument/2006/relationships/slideLayout" Target="../slideLayouts/slideLayout80.xml"/><Relationship Id="rId1" Type="http://schemas.openxmlformats.org/officeDocument/2006/relationships/tags" Target="../tags/tag84.xml"/><Relationship Id="rId6" Type="http://schemas.openxmlformats.org/officeDocument/2006/relationships/tags" Target="../tags/tag89.xml"/><Relationship Id="rId15" Type="http://schemas.openxmlformats.org/officeDocument/2006/relationships/tags" Target="../tags/tag98.xml"/><Relationship Id="rId23" Type="http://schemas.openxmlformats.org/officeDocument/2006/relationships/tags" Target="../tags/tag106.xml"/><Relationship Id="rId28" Type="http://schemas.openxmlformats.org/officeDocument/2006/relationships/tags" Target="../tags/tag111.xml"/><Relationship Id="rId36" Type="http://schemas.openxmlformats.org/officeDocument/2006/relationships/tags" Target="../tags/tag119.xml"/><Relationship Id="rId49" Type="http://schemas.openxmlformats.org/officeDocument/2006/relationships/tags" Target="../tags/tag132.xml"/><Relationship Id="rId57" Type="http://schemas.openxmlformats.org/officeDocument/2006/relationships/tags" Target="../tags/tag140.xml"/><Relationship Id="rId10" Type="http://schemas.openxmlformats.org/officeDocument/2006/relationships/tags" Target="../tags/tag93.xml"/><Relationship Id="rId31" Type="http://schemas.openxmlformats.org/officeDocument/2006/relationships/tags" Target="../tags/tag114.xml"/><Relationship Id="rId44" Type="http://schemas.openxmlformats.org/officeDocument/2006/relationships/tags" Target="../tags/tag127.xml"/><Relationship Id="rId52" Type="http://schemas.openxmlformats.org/officeDocument/2006/relationships/tags" Target="../tags/tag135.xml"/><Relationship Id="rId60" Type="http://schemas.openxmlformats.org/officeDocument/2006/relationships/tags" Target="../tags/tag143.xml"/><Relationship Id="rId65" Type="http://schemas.openxmlformats.org/officeDocument/2006/relationships/tags" Target="../tags/tag148.xml"/><Relationship Id="rId73" Type="http://schemas.openxmlformats.org/officeDocument/2006/relationships/tags" Target="../tags/tag156.xml"/><Relationship Id="rId78" Type="http://schemas.openxmlformats.org/officeDocument/2006/relationships/tags" Target="../tags/tag161.xml"/><Relationship Id="rId81" Type="http://schemas.openxmlformats.org/officeDocument/2006/relationships/tags" Target="../tags/tag164.xml"/><Relationship Id="rId86" Type="http://schemas.openxmlformats.org/officeDocument/2006/relationships/tags" Target="../tags/tag169.xml"/><Relationship Id="rId94" Type="http://schemas.openxmlformats.org/officeDocument/2006/relationships/tags" Target="../tags/tag177.xml"/><Relationship Id="rId99" Type="http://schemas.openxmlformats.org/officeDocument/2006/relationships/image" Target="../media/image26.png"/><Relationship Id="rId101" Type="http://schemas.openxmlformats.org/officeDocument/2006/relationships/chart" Target="../charts/chart5.xml"/><Relationship Id="rId4" Type="http://schemas.openxmlformats.org/officeDocument/2006/relationships/tags" Target="../tags/tag87.xml"/><Relationship Id="rId9" Type="http://schemas.openxmlformats.org/officeDocument/2006/relationships/tags" Target="../tags/tag92.xml"/><Relationship Id="rId13" Type="http://schemas.openxmlformats.org/officeDocument/2006/relationships/tags" Target="../tags/tag96.xml"/><Relationship Id="rId18" Type="http://schemas.openxmlformats.org/officeDocument/2006/relationships/tags" Target="../tags/tag101.xml"/><Relationship Id="rId39" Type="http://schemas.openxmlformats.org/officeDocument/2006/relationships/tags" Target="../tags/tag122.xml"/><Relationship Id="rId34" Type="http://schemas.openxmlformats.org/officeDocument/2006/relationships/tags" Target="../tags/tag117.xml"/><Relationship Id="rId50" Type="http://schemas.openxmlformats.org/officeDocument/2006/relationships/tags" Target="../tags/tag133.xml"/><Relationship Id="rId55" Type="http://schemas.openxmlformats.org/officeDocument/2006/relationships/tags" Target="../tags/tag138.xml"/><Relationship Id="rId76" Type="http://schemas.openxmlformats.org/officeDocument/2006/relationships/tags" Target="../tags/tag159.xml"/><Relationship Id="rId97" Type="http://schemas.openxmlformats.org/officeDocument/2006/relationships/oleObject" Target="../embeddings/oleObject26.bin"/><Relationship Id="rId104" Type="http://schemas.openxmlformats.org/officeDocument/2006/relationships/chart" Target="../charts/chart8.xml"/><Relationship Id="rId7" Type="http://schemas.openxmlformats.org/officeDocument/2006/relationships/tags" Target="../tags/tag90.xml"/><Relationship Id="rId71" Type="http://schemas.openxmlformats.org/officeDocument/2006/relationships/tags" Target="../tags/tag154.xml"/><Relationship Id="rId92" Type="http://schemas.openxmlformats.org/officeDocument/2006/relationships/tags" Target="../tags/tag175.xml"/><Relationship Id="rId2" Type="http://schemas.openxmlformats.org/officeDocument/2006/relationships/tags" Target="../tags/tag85.xml"/><Relationship Id="rId29" Type="http://schemas.openxmlformats.org/officeDocument/2006/relationships/tags" Target="../tags/tag112.xml"/><Relationship Id="rId24" Type="http://schemas.openxmlformats.org/officeDocument/2006/relationships/tags" Target="../tags/tag107.xml"/><Relationship Id="rId40" Type="http://schemas.openxmlformats.org/officeDocument/2006/relationships/tags" Target="../tags/tag123.xml"/><Relationship Id="rId45" Type="http://schemas.openxmlformats.org/officeDocument/2006/relationships/tags" Target="../tags/tag128.xml"/><Relationship Id="rId66" Type="http://schemas.openxmlformats.org/officeDocument/2006/relationships/tags" Target="../tags/tag149.xml"/><Relationship Id="rId87" Type="http://schemas.openxmlformats.org/officeDocument/2006/relationships/tags" Target="../tags/tag170.xml"/><Relationship Id="rId61" Type="http://schemas.openxmlformats.org/officeDocument/2006/relationships/tags" Target="../tags/tag144.xml"/><Relationship Id="rId82" Type="http://schemas.openxmlformats.org/officeDocument/2006/relationships/tags" Target="../tags/tag165.xml"/><Relationship Id="rId19" Type="http://schemas.openxmlformats.org/officeDocument/2006/relationships/tags" Target="../tags/tag102.xml"/><Relationship Id="rId14" Type="http://schemas.openxmlformats.org/officeDocument/2006/relationships/tags" Target="../tags/tag97.xml"/><Relationship Id="rId30" Type="http://schemas.openxmlformats.org/officeDocument/2006/relationships/tags" Target="../tags/tag113.xml"/><Relationship Id="rId35" Type="http://schemas.openxmlformats.org/officeDocument/2006/relationships/tags" Target="../tags/tag118.xml"/><Relationship Id="rId56" Type="http://schemas.openxmlformats.org/officeDocument/2006/relationships/tags" Target="../tags/tag139.xml"/><Relationship Id="rId77" Type="http://schemas.openxmlformats.org/officeDocument/2006/relationships/tags" Target="../tags/tag160.xml"/><Relationship Id="rId100" Type="http://schemas.microsoft.com/office/2007/relationships/hdphoto" Target="../media/hdphoto9.wdp"/><Relationship Id="rId8" Type="http://schemas.openxmlformats.org/officeDocument/2006/relationships/tags" Target="../tags/tag91.xml"/><Relationship Id="rId51" Type="http://schemas.openxmlformats.org/officeDocument/2006/relationships/tags" Target="../tags/tag134.xml"/><Relationship Id="rId72" Type="http://schemas.openxmlformats.org/officeDocument/2006/relationships/tags" Target="../tags/tag155.xml"/><Relationship Id="rId93" Type="http://schemas.openxmlformats.org/officeDocument/2006/relationships/tags" Target="../tags/tag176.xml"/><Relationship Id="rId98" Type="http://schemas.openxmlformats.org/officeDocument/2006/relationships/image" Target="../media/image1.emf"/><Relationship Id="rId3" Type="http://schemas.openxmlformats.org/officeDocument/2006/relationships/tags" Target="../tags/tag86.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80.xml"/><Relationship Id="rId1" Type="http://schemas.openxmlformats.org/officeDocument/2006/relationships/tags" Target="../tags/tag179.xml"/><Relationship Id="rId5" Type="http://schemas.openxmlformats.org/officeDocument/2006/relationships/image" Target="../media/image37.png"/><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9FDA5F7-42A5-4F1E-9638-7987C99198D7}"/>
              </a:ext>
            </a:extLst>
          </p:cNvPr>
          <p:cNvGraphicFramePr>
            <a:graphicFrameLocks noChangeAspect="1"/>
          </p:cNvGraphicFramePr>
          <p:nvPr>
            <p:custDataLst>
              <p:tags r:id="rId1"/>
            </p:custDataLst>
            <p:extLst>
              <p:ext uri="{D42A27DB-BD31-4B8C-83A1-F6EECF244321}">
                <p14:modId xmlns:p14="http://schemas.microsoft.com/office/powerpoint/2010/main" val="250597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11" name="Object 10" hidden="1">
                        <a:extLst>
                          <a:ext uri="{FF2B5EF4-FFF2-40B4-BE49-F238E27FC236}">
                            <a16:creationId xmlns:a16="http://schemas.microsoft.com/office/drawing/2014/main" id="{09FDA5F7-42A5-4F1E-9638-7987C99198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Placeholder 8">
            <a:extLst>
              <a:ext uri="{FF2B5EF4-FFF2-40B4-BE49-F238E27FC236}">
                <a16:creationId xmlns:a16="http://schemas.microsoft.com/office/drawing/2014/main" id="{392361F1-EDF7-445A-8439-D3347E197876}"/>
              </a:ext>
            </a:extLst>
          </p:cNvPr>
          <p:cNvPicPr>
            <a:picLocks noGrp="1" noChangeAspect="1"/>
          </p:cNvPicPr>
          <p:nvPr>
            <p:ph type="pic" sz="quarter" idx="13"/>
          </p:nvPr>
        </p:nvPicPr>
        <p:blipFill>
          <a:blip r:embed="rId5">
            <a:extLst>
              <a:ext uri="{BEBA8EAE-BF5A-486C-A8C5-ECC9F3942E4B}">
                <a14:imgProps xmlns:a14="http://schemas.microsoft.com/office/drawing/2010/main">
                  <a14:imgLayer r:embed="rId6">
                    <a14:imgEffect>
                      <a14:saturation sat="0"/>
                    </a14:imgEffect>
                    <a14:imgEffect>
                      <a14:brightnessContrast bright="5000"/>
                    </a14:imgEffect>
                  </a14:imgLayer>
                </a14:imgProps>
              </a:ext>
              <a:ext uri="{28A0092B-C50C-407E-A947-70E740481C1C}">
                <a14:useLocalDpi xmlns:a14="http://schemas.microsoft.com/office/drawing/2010/main" val="0"/>
              </a:ext>
            </a:extLst>
          </a:blip>
          <a:srcRect t="27568" b="27568"/>
          <a:stretch>
            <a:fillRect/>
          </a:stretch>
        </p:blipFill>
        <p:spPr/>
      </p:pic>
      <p:sp>
        <p:nvSpPr>
          <p:cNvPr id="3" name="Title 2">
            <a:extLst>
              <a:ext uri="{FF2B5EF4-FFF2-40B4-BE49-F238E27FC236}">
                <a16:creationId xmlns:a16="http://schemas.microsoft.com/office/drawing/2014/main" id="{C66A12B7-2F6F-04D8-6475-A94750D54D24}"/>
              </a:ext>
            </a:extLst>
          </p:cNvPr>
          <p:cNvSpPr>
            <a:spLocks noGrp="1"/>
          </p:cNvSpPr>
          <p:nvPr>
            <p:ph type="ctrTitle"/>
          </p:nvPr>
        </p:nvSpPr>
        <p:spPr/>
        <p:txBody>
          <a:bodyPr vert="horz">
            <a:normAutofit fontScale="90000"/>
          </a:bodyPr>
          <a:lstStyle/>
          <a:p>
            <a:r>
              <a:rPr lang="en-US" dirty="0"/>
              <a:t>Market Description for Maternal and Neonatal Health </a:t>
            </a:r>
          </a:p>
        </p:txBody>
      </p:sp>
      <p:sp>
        <p:nvSpPr>
          <p:cNvPr id="4" name="Subtitle 3">
            <a:extLst>
              <a:ext uri="{FF2B5EF4-FFF2-40B4-BE49-F238E27FC236}">
                <a16:creationId xmlns:a16="http://schemas.microsoft.com/office/drawing/2014/main" id="{9EA872E3-3431-25E4-E78D-8480C6AE195E}"/>
              </a:ext>
            </a:extLst>
          </p:cNvPr>
          <p:cNvSpPr>
            <a:spLocks noGrp="1"/>
          </p:cNvSpPr>
          <p:nvPr>
            <p:ph type="subTitle" idx="1"/>
          </p:nvPr>
        </p:nvSpPr>
        <p:spPr/>
        <p:txBody>
          <a:bodyPr>
            <a:normAutofit fontScale="92500" lnSpcReduction="20000"/>
          </a:bodyPr>
          <a:lstStyle/>
          <a:p>
            <a:r>
              <a:rPr lang="en-US" dirty="0"/>
              <a:t>Ebonyi State</a:t>
            </a:r>
          </a:p>
        </p:txBody>
      </p:sp>
      <p:sp>
        <p:nvSpPr>
          <p:cNvPr id="5" name="Footer Placeholder 4">
            <a:extLst>
              <a:ext uri="{FF2B5EF4-FFF2-40B4-BE49-F238E27FC236}">
                <a16:creationId xmlns:a16="http://schemas.microsoft.com/office/drawing/2014/main" id="{247FA229-DB27-9BE5-08B6-4612CCB52470}"/>
              </a:ext>
            </a:extLst>
          </p:cNvPr>
          <p:cNvSpPr>
            <a:spLocks noGrp="1"/>
          </p:cNvSpPr>
          <p:nvPr>
            <p:ph type="ftr" sz="quarter" idx="1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solidFill>
                  <a:srgbClr val="112E38"/>
                </a:solidFill>
              </a:rPr>
              <a:t>June 16</a:t>
            </a:r>
            <a:r>
              <a:rPr kumimoji="0" lang="en-US" sz="16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Arial" panose="020B0604020202020204" pitchFamily="34" charset="0"/>
              </a:rPr>
              <a:t>, 2023</a:t>
            </a:r>
          </a:p>
        </p:txBody>
      </p:sp>
      <p:sp>
        <p:nvSpPr>
          <p:cNvPr id="6" name="Text Placeholder 5">
            <a:extLst>
              <a:ext uri="{FF2B5EF4-FFF2-40B4-BE49-F238E27FC236}">
                <a16:creationId xmlns:a16="http://schemas.microsoft.com/office/drawing/2014/main" id="{C3C980F6-F830-5A1E-0483-C706115312D5}"/>
              </a:ext>
            </a:extLst>
          </p:cNvPr>
          <p:cNvSpPr>
            <a:spLocks noGrp="1"/>
          </p:cNvSpPr>
          <p:nvPr>
            <p:ph type="body" sz="quarter" idx="12"/>
          </p:nvPr>
        </p:nvSpPr>
        <p:spPr/>
        <p:txBody>
          <a:bodyPr/>
          <a:lstStyle/>
          <a:p>
            <a:r>
              <a:rPr lang="en-US" dirty="0"/>
              <a:t>Photo credit: USAID GHSC-PSM project</a:t>
            </a:r>
          </a:p>
        </p:txBody>
      </p:sp>
      <p:sp>
        <p:nvSpPr>
          <p:cNvPr id="7" name="Rectangle 6">
            <a:extLst>
              <a:ext uri="{FF2B5EF4-FFF2-40B4-BE49-F238E27FC236}">
                <a16:creationId xmlns:a16="http://schemas.microsoft.com/office/drawing/2014/main" id="{E4E81C1F-EBD5-DFF7-403B-EB0317EB51BF}"/>
              </a:ext>
            </a:extLst>
          </p:cNvPr>
          <p:cNvSpPr/>
          <p:nvPr/>
        </p:nvSpPr>
        <p:spPr>
          <a:xfrm>
            <a:off x="335280" y="1219200"/>
            <a:ext cx="11521440" cy="5286360"/>
          </a:xfrm>
          <a:prstGeom prst="rect">
            <a:avLst/>
          </a:prstGeom>
          <a:noFill/>
          <a:ln w="762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Tree>
    <p:extLst>
      <p:ext uri="{BB962C8B-B14F-4D97-AF65-F5344CB8AC3E}">
        <p14:creationId xmlns:p14="http://schemas.microsoft.com/office/powerpoint/2010/main" val="24345874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0DC006E-0AD8-44C5-8EA2-FA95EE3A0E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4" name="Object 13" hidden="1">
                        <a:extLst>
                          <a:ext uri="{FF2B5EF4-FFF2-40B4-BE49-F238E27FC236}">
                            <a16:creationId xmlns:a16="http://schemas.microsoft.com/office/drawing/2014/main" id="{50DC006E-0AD8-44C5-8EA2-FA95EE3A0E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7F4C12EC-D483-4E60-AE56-575BCCDB966D}"/>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20000"/>
                    </a14:imgEffect>
                  </a14:imgLayer>
                </a14:imgProps>
              </a:ext>
              <a:ext uri="{28A0092B-C50C-407E-A947-70E740481C1C}">
                <a14:useLocalDpi xmlns:a14="http://schemas.microsoft.com/office/drawing/2010/main" val="0"/>
              </a:ext>
            </a:extLst>
          </a:blip>
          <a:srcRect l="18429" r="20912"/>
          <a:stretch/>
        </p:blipFill>
        <p:spPr>
          <a:xfrm>
            <a:off x="123411" y="373920"/>
            <a:ext cx="5602048" cy="6351104"/>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a:xfrm>
            <a:off x="11280901" y="6393515"/>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sp>
        <p:nvSpPr>
          <p:cNvPr id="6" name="Rectangle 5">
            <a:extLst>
              <a:ext uri="{FF2B5EF4-FFF2-40B4-BE49-F238E27FC236}">
                <a16:creationId xmlns:a16="http://schemas.microsoft.com/office/drawing/2014/main" id="{5DA86D16-D09D-19E0-E558-38E7BDF32EA2}"/>
              </a:ext>
            </a:extLst>
          </p:cNvPr>
          <p:cNvSpPr/>
          <p:nvPr/>
        </p:nvSpPr>
        <p:spPr>
          <a:xfrm>
            <a:off x="333635" y="653871"/>
            <a:ext cx="5181600" cy="5791201"/>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5" name="Text Placeholder 5">
            <a:extLst>
              <a:ext uri="{FF2B5EF4-FFF2-40B4-BE49-F238E27FC236}">
                <a16:creationId xmlns:a16="http://schemas.microsoft.com/office/drawing/2014/main" id="{D78BB004-3488-4D87-9343-4AF1DD0CF70F}"/>
              </a:ext>
            </a:extLst>
          </p:cNvPr>
          <p:cNvSpPr txBox="1">
            <a:spLocks/>
          </p:cNvSpPr>
          <p:nvPr/>
        </p:nvSpPr>
        <p:spPr>
          <a:xfrm>
            <a:off x="152400" y="6427284"/>
            <a:ext cx="3383280" cy="215444"/>
          </a:xfrm>
          <a:prstGeom prst="rect">
            <a:avLst/>
          </a:prstGeom>
        </p:spPr>
        <p:txBody>
          <a:bodyPr/>
          <a:lst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marR="0" lvl="0" indent="0" algn="l" defTabSz="914332" rtl="0" eaLnBrk="1" fontAlgn="auto" latinLnBrk="0" hangingPunct="1">
              <a:lnSpc>
                <a:spcPct val="100000"/>
              </a:lnSpc>
              <a:spcBef>
                <a:spcPts val="1000"/>
              </a:spcBef>
              <a:spcAft>
                <a:spcPts val="0"/>
              </a:spcAft>
              <a:buClrTx/>
              <a:buSzTx/>
              <a:buFont typeface=".AppleSystemUIFont" charset="-120"/>
              <a:buNone/>
              <a:tabLst/>
              <a:defRPr/>
            </a:pPr>
            <a:r>
              <a:rPr kumimoji="0" lang="en-US" sz="105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Photo credit: USAID GHSC-PSM project</a:t>
            </a:r>
          </a:p>
        </p:txBody>
      </p:sp>
      <p:sp>
        <p:nvSpPr>
          <p:cNvPr id="2" name="TextBox 1">
            <a:extLst>
              <a:ext uri="{FF2B5EF4-FFF2-40B4-BE49-F238E27FC236}">
                <a16:creationId xmlns:a16="http://schemas.microsoft.com/office/drawing/2014/main" id="{0C4CA324-98B4-50A9-A6F9-B372C2C31513}"/>
              </a:ext>
            </a:extLst>
          </p:cNvPr>
          <p:cNvSpPr txBox="1"/>
          <p:nvPr/>
        </p:nvSpPr>
        <p:spPr>
          <a:xfrm>
            <a:off x="5840953" y="1121487"/>
            <a:ext cx="6285306" cy="212365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Demand for Maternal and Newborn Services in Ebonyi </a:t>
            </a:r>
            <a:endParaRPr kumimoji="0" lang="fr-FR" sz="44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spTree>
    <p:extLst>
      <p:ext uri="{BB962C8B-B14F-4D97-AF65-F5344CB8AC3E}">
        <p14:creationId xmlns:p14="http://schemas.microsoft.com/office/powerpoint/2010/main" val="9558366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498" imgH="499" progId="TCLayout.ActiveDocument.1">
                  <p:embed/>
                </p:oleObj>
              </mc:Choice>
              <mc:Fallback>
                <p:oleObj name="think-cell Slide" r:id="rId51"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87" name="TextBox 86">
            <a:extLst>
              <a:ext uri="{FF2B5EF4-FFF2-40B4-BE49-F238E27FC236}">
                <a16:creationId xmlns:a16="http://schemas.microsoft.com/office/drawing/2014/main" id="{C8FE6863-0FE2-478E-A18F-A0B1ED273C3F}"/>
              </a:ext>
            </a:extLst>
          </p:cNvPr>
          <p:cNvSpPr txBox="1"/>
          <p:nvPr/>
        </p:nvSpPr>
        <p:spPr>
          <a:xfrm>
            <a:off x="75528" y="6700131"/>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NDHS 2018 Secondary Data Analysis	a. Using 5% as proportion of pregnant women in the state, 94% ANC penetration rate	2. </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53"/>
              </a:rPr>
              <a:t> https://citypopulation.de/en/nigeria/admin/ </a:t>
            </a:r>
            <a:endPar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88" name="Rectangle 87">
            <a:extLst>
              <a:ext uri="{FF2B5EF4-FFF2-40B4-BE49-F238E27FC236}">
                <a16:creationId xmlns:a16="http://schemas.microsoft.com/office/drawing/2014/main" id="{84EEE60D-DD10-45CD-BE3D-F81EE9976DAE}"/>
              </a:ext>
            </a:extLst>
          </p:cNvPr>
          <p:cNvSpPr/>
          <p:nvPr/>
        </p:nvSpPr>
        <p:spPr bwMode="auto">
          <a:xfrm>
            <a:off x="75529" y="1593850"/>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89" name="Rectangle 88">
            <a:extLst>
              <a:ext uri="{FF2B5EF4-FFF2-40B4-BE49-F238E27FC236}">
                <a16:creationId xmlns:a16="http://schemas.microsoft.com/office/drawing/2014/main" id="{AF8B3141-BA1E-47E9-865C-CC47D1A14D8D}"/>
              </a:ext>
            </a:extLst>
          </p:cNvPr>
          <p:cNvSpPr/>
          <p:nvPr/>
        </p:nvSpPr>
        <p:spPr bwMode="auto">
          <a:xfrm>
            <a:off x="75528" y="1231900"/>
            <a:ext cx="11978640" cy="366713"/>
          </a:xfrm>
          <a:prstGeom prst="rect">
            <a:avLst/>
          </a:prstGeom>
          <a:gradFill>
            <a:gsLst>
              <a:gs pos="0">
                <a:srgbClr val="78AEAC"/>
              </a:gs>
              <a:gs pos="65000">
                <a:srgbClr val="4AA19E">
                  <a:tint val="44500"/>
                  <a:satMod val="160000"/>
                </a:srgbClr>
              </a:gs>
              <a:gs pos="100000">
                <a:srgbClr val="4AA19E">
                  <a:tint val="23500"/>
                  <a:satMod val="160000"/>
                </a:srgbClr>
              </a:gs>
            </a:gsLst>
            <a:lin ang="0" scaled="1"/>
          </a:gra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all women of reproductive age who received ANC</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90" name="Straight Connector 89">
            <a:extLst>
              <a:ext uri="{FF2B5EF4-FFF2-40B4-BE49-F238E27FC236}">
                <a16:creationId xmlns:a16="http://schemas.microsoft.com/office/drawing/2014/main" id="{C0DB54D4-6D9D-4BDE-9473-32D264A5374B}"/>
              </a:ext>
            </a:extLst>
          </p:cNvPr>
          <p:cNvCxnSpPr>
            <a:cxnSpLocks/>
          </p:cNvCxnSpPr>
          <p:nvPr/>
        </p:nvCxnSpPr>
        <p:spPr>
          <a:xfrm flipV="1">
            <a:off x="3849962" y="1620838"/>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6D81964B-E950-49D0-97F4-530AF7A250FD}"/>
              </a:ext>
            </a:extLst>
          </p:cNvPr>
          <p:cNvSpPr/>
          <p:nvPr/>
        </p:nvSpPr>
        <p:spPr bwMode="auto">
          <a:xfrm>
            <a:off x="3930170" y="3668713"/>
            <a:ext cx="5184239" cy="3476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NC by wealth quintile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94" name="Straight Connector 93">
            <a:extLst>
              <a:ext uri="{FF2B5EF4-FFF2-40B4-BE49-F238E27FC236}">
                <a16:creationId xmlns:a16="http://schemas.microsoft.com/office/drawing/2014/main" id="{D9B3EE07-9E0C-4008-8CBF-D6A21DDD3FA3}"/>
              </a:ext>
            </a:extLst>
          </p:cNvPr>
          <p:cNvCxnSpPr>
            <a:cxnSpLocks/>
          </p:cNvCxnSpPr>
          <p:nvPr/>
        </p:nvCxnSpPr>
        <p:spPr>
          <a:xfrm flipH="1" flipV="1">
            <a:off x="3849962" y="3600451"/>
            <a:ext cx="8204207" cy="44449"/>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DC5D2751-AC63-42DC-8765-8BE30C5E9F00}"/>
              </a:ext>
            </a:extLst>
          </p:cNvPr>
          <p:cNvSpPr>
            <a:spLocks noGrp="1" noChangeArrowheads="1"/>
          </p:cNvSpPr>
          <p:nvPr>
            <p:custDataLst>
              <p:tags r:id="rId2"/>
            </p:custDataLst>
          </p:nvPr>
        </p:nvSpPr>
        <p:spPr bwMode="auto">
          <a:xfrm>
            <a:off x="3967163" y="21002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98" name="Rectangle 97">
            <a:extLst>
              <a:ext uri="{FF2B5EF4-FFF2-40B4-BE49-F238E27FC236}">
                <a16:creationId xmlns:a16="http://schemas.microsoft.com/office/drawing/2014/main" id="{6564783D-53C0-46F7-917F-6FE812C5AE49}"/>
              </a:ext>
            </a:extLst>
          </p:cNvPr>
          <p:cNvSpPr/>
          <p:nvPr/>
        </p:nvSpPr>
        <p:spPr bwMode="auto">
          <a:xfrm>
            <a:off x="3930170" y="1583534"/>
            <a:ext cx="2916236" cy="506409"/>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NC by geographical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graphicFrame>
        <p:nvGraphicFramePr>
          <p:cNvPr id="186" name="Chart 185">
            <a:extLst>
              <a:ext uri="{FF2B5EF4-FFF2-40B4-BE49-F238E27FC236}">
                <a16:creationId xmlns:a16="http://schemas.microsoft.com/office/drawing/2014/main" id="{5CB31419-25E9-4238-BF54-AE50ED60FEE9}"/>
              </a:ext>
            </a:extLst>
          </p:cNvPr>
          <p:cNvGraphicFramePr/>
          <p:nvPr>
            <p:custDataLst>
              <p:tags r:id="rId3"/>
            </p:custDataLst>
          </p:nvPr>
        </p:nvGraphicFramePr>
        <p:xfrm>
          <a:off x="4387850" y="2017713"/>
          <a:ext cx="3289300" cy="1403350"/>
        </p:xfrm>
        <a:graphic>
          <a:graphicData uri="http://schemas.openxmlformats.org/drawingml/2006/chart">
            <c:chart xmlns:c="http://schemas.openxmlformats.org/drawingml/2006/chart" xmlns:r="http://schemas.openxmlformats.org/officeDocument/2006/relationships" r:id="rId54"/>
          </a:graphicData>
        </a:graphic>
      </p:graphicFrame>
      <p:sp>
        <p:nvSpPr>
          <p:cNvPr id="105" name="Rectangle 104">
            <a:extLst>
              <a:ext uri="{FF2B5EF4-FFF2-40B4-BE49-F238E27FC236}">
                <a16:creationId xmlns:a16="http://schemas.microsoft.com/office/drawing/2014/main" id="{EEB84E84-93AC-4566-A216-ACA5BC1F6410}"/>
              </a:ext>
            </a:extLst>
          </p:cNvPr>
          <p:cNvSpPr>
            <a:spLocks noGrp="1" noChangeArrowheads="1"/>
          </p:cNvSpPr>
          <p:nvPr>
            <p:custDataLst>
              <p:tags r:id="rId4"/>
            </p:custDataLst>
          </p:nvPr>
        </p:nvSpPr>
        <p:spPr bwMode="gray">
          <a:xfrm>
            <a:off x="6662738" y="2076450"/>
            <a:ext cx="300038" cy="182563"/>
          </a:xfrm>
          <a:prstGeom prst="rect">
            <a:avLst/>
          </a:prstGeom>
          <a:solidFill>
            <a:srgbClr val="C2F1ED"/>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37A3CC9-CC3E-464E-BD52-9DCCAC63BE64}" type="datetime'1''''''1''''''''''%'''''''''''''''''''''''''''''''''''''''''''">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1%</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2" name="Rectangle 101">
            <a:extLst>
              <a:ext uri="{FF2B5EF4-FFF2-40B4-BE49-F238E27FC236}">
                <a16:creationId xmlns:a16="http://schemas.microsoft.com/office/drawing/2014/main" id="{A5A5FDBD-63EE-4CCF-AC6D-165905FCC444}"/>
              </a:ext>
            </a:extLst>
          </p:cNvPr>
          <p:cNvSpPr>
            <a:spLocks noGrp="1" noChangeArrowheads="1"/>
          </p:cNvSpPr>
          <p:nvPr>
            <p:custDataLst>
              <p:tags r:id="rId5"/>
            </p:custDataLst>
          </p:nvPr>
        </p:nvSpPr>
        <p:spPr bwMode="gray">
          <a:xfrm>
            <a:off x="5100638" y="2655888"/>
            <a:ext cx="30003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244F8018-0B11-4E43-8297-F41A8C3956C2}" type="datetime'''''''''''''''''''''''''''9''''''''''''''6''''''''''''%'''">
              <a:rPr kumimoji="0" lang="en-GB" altLang="en-US" sz="1200" b="0"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96%</a:t>
            </a:fld>
            <a:endParaRPr kumimoji="0" lang="en-GB" sz="1200" b="0" i="0" u="none" strike="noStrike" kern="0" cap="none" spc="0" normalizeH="0" baseline="0" noProof="0" dirty="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101" name="Rectangle 100">
            <a:extLst>
              <a:ext uri="{FF2B5EF4-FFF2-40B4-BE49-F238E27FC236}">
                <a16:creationId xmlns:a16="http://schemas.microsoft.com/office/drawing/2014/main" id="{6AEE8D93-D644-491D-879A-DB5F20D1979A}"/>
              </a:ext>
            </a:extLst>
          </p:cNvPr>
          <p:cNvSpPr>
            <a:spLocks noGrp="1" noChangeArrowheads="1"/>
          </p:cNvSpPr>
          <p:nvPr>
            <p:custDataLst>
              <p:tags r:id="rId6"/>
            </p:custDataLst>
          </p:nvPr>
        </p:nvSpPr>
        <p:spPr bwMode="auto">
          <a:xfrm>
            <a:off x="5051425" y="3389313"/>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8EBA6F68-FA01-4156-B9D4-6000B1139235}"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Urban</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03" name="Rectangle 102">
            <a:extLst>
              <a:ext uri="{FF2B5EF4-FFF2-40B4-BE49-F238E27FC236}">
                <a16:creationId xmlns:a16="http://schemas.microsoft.com/office/drawing/2014/main" id="{0F2424D3-B4F3-40A2-9A50-5E30EDD5CAD5}"/>
              </a:ext>
            </a:extLst>
          </p:cNvPr>
          <p:cNvSpPr>
            <a:spLocks noGrp="1" noChangeArrowheads="1"/>
          </p:cNvSpPr>
          <p:nvPr>
            <p:custDataLst>
              <p:tags r:id="rId7"/>
            </p:custDataLst>
          </p:nvPr>
        </p:nvSpPr>
        <p:spPr bwMode="gray">
          <a:xfrm>
            <a:off x="5138738" y="2036763"/>
            <a:ext cx="223838" cy="182563"/>
          </a:xfrm>
          <a:prstGeom prst="rect">
            <a:avLst/>
          </a:prstGeom>
          <a:solidFill>
            <a:srgbClr val="C2F1ED"/>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EE45B60F-6998-4CE5-85D4-13A6A2BC08F8}" type="datetime'''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4" name="Rectangle 103">
            <a:extLst>
              <a:ext uri="{FF2B5EF4-FFF2-40B4-BE49-F238E27FC236}">
                <a16:creationId xmlns:a16="http://schemas.microsoft.com/office/drawing/2014/main" id="{DA0AC927-1456-439A-A166-C41CE9D6424B}"/>
              </a:ext>
            </a:extLst>
          </p:cNvPr>
          <p:cNvSpPr>
            <a:spLocks noGrp="1" noChangeArrowheads="1"/>
          </p:cNvSpPr>
          <p:nvPr>
            <p:custDataLst>
              <p:tags r:id="rId8"/>
            </p:custDataLst>
          </p:nvPr>
        </p:nvSpPr>
        <p:spPr bwMode="gray">
          <a:xfrm>
            <a:off x="6662738" y="2695575"/>
            <a:ext cx="30003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2AA9A42D-21C2-403E-B17D-F00C3BCE21B2}" type="datetime'8''''''''''''''''9''''''''%'''''''''''''''''''''''''''''''''">
              <a:rPr kumimoji="0" lang="en-GB" altLang="en-US" sz="1200" b="0"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89%</a:t>
            </a:fld>
            <a:endParaRPr kumimoji="0" lang="en-GB" sz="1200" b="0" i="0" u="none" strike="noStrike" kern="0" cap="none" spc="0" normalizeH="0" baseline="0" noProof="0" dirty="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100" name="Rectangle 99">
            <a:extLst>
              <a:ext uri="{FF2B5EF4-FFF2-40B4-BE49-F238E27FC236}">
                <a16:creationId xmlns:a16="http://schemas.microsoft.com/office/drawing/2014/main" id="{29D60D09-C8DA-40B7-91E2-C5FD5A0EAB19}"/>
              </a:ext>
            </a:extLst>
          </p:cNvPr>
          <p:cNvSpPr>
            <a:spLocks noGrp="1" noChangeArrowheads="1"/>
          </p:cNvSpPr>
          <p:nvPr>
            <p:custDataLst>
              <p:tags r:id="rId9"/>
            </p:custDataLst>
          </p:nvPr>
        </p:nvSpPr>
        <p:spPr bwMode="auto">
          <a:xfrm>
            <a:off x="6642100" y="3389313"/>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D05E83D-7112-4F29-B229-AC6F944CE4EF}" type="datetime'''''R''''''''''''u''''''ra''''l'''''''''''''">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Rural</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graphicFrame>
        <p:nvGraphicFramePr>
          <p:cNvPr id="189" name="Chart 188">
            <a:extLst>
              <a:ext uri="{FF2B5EF4-FFF2-40B4-BE49-F238E27FC236}">
                <a16:creationId xmlns:a16="http://schemas.microsoft.com/office/drawing/2014/main" id="{AFEF4DDE-D442-4628-8AE4-0BA9CD110CCC}"/>
              </a:ext>
            </a:extLst>
          </p:cNvPr>
          <p:cNvGraphicFramePr/>
          <p:nvPr>
            <p:custDataLst>
              <p:tags r:id="rId10"/>
            </p:custDataLst>
          </p:nvPr>
        </p:nvGraphicFramePr>
        <p:xfrm>
          <a:off x="4779963" y="4056063"/>
          <a:ext cx="7078662" cy="1427162"/>
        </p:xfrm>
        <a:graphic>
          <a:graphicData uri="http://schemas.openxmlformats.org/drawingml/2006/chart">
            <c:chart xmlns:c="http://schemas.openxmlformats.org/drawingml/2006/chart" xmlns:r="http://schemas.openxmlformats.org/officeDocument/2006/relationships" r:id="rId55"/>
          </a:graphicData>
        </a:graphic>
      </p:graphicFrame>
      <p:sp>
        <p:nvSpPr>
          <p:cNvPr id="110" name="Rectangle 109">
            <a:extLst>
              <a:ext uri="{FF2B5EF4-FFF2-40B4-BE49-F238E27FC236}">
                <a16:creationId xmlns:a16="http://schemas.microsoft.com/office/drawing/2014/main" id="{3F0F8755-43F8-4E34-94DC-4FF3C6DC62BA}"/>
              </a:ext>
            </a:extLst>
          </p:cNvPr>
          <p:cNvSpPr>
            <a:spLocks noGrp="1" noChangeArrowheads="1"/>
          </p:cNvSpPr>
          <p:nvPr>
            <p:custDataLst>
              <p:tags r:id="rId11"/>
            </p:custDataLst>
          </p:nvPr>
        </p:nvSpPr>
        <p:spPr bwMode="auto">
          <a:xfrm>
            <a:off x="5321300" y="545147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56442CE-6D5C-462C-AE18-7EEDA2B83AA1}"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Lowest</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21" name="Rectangle 120">
            <a:extLst>
              <a:ext uri="{FF2B5EF4-FFF2-40B4-BE49-F238E27FC236}">
                <a16:creationId xmlns:a16="http://schemas.microsoft.com/office/drawing/2014/main" id="{3B33652E-321B-4318-BBC9-84A9B412A315}"/>
              </a:ext>
            </a:extLst>
          </p:cNvPr>
          <p:cNvSpPr>
            <a:spLocks noGrp="1" noChangeArrowheads="1"/>
          </p:cNvSpPr>
          <p:nvPr>
            <p:custDataLst>
              <p:tags r:id="rId12"/>
            </p:custDataLst>
          </p:nvPr>
        </p:nvSpPr>
        <p:spPr bwMode="auto">
          <a:xfrm>
            <a:off x="9485313" y="545147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A959F5DB-ED0B-4647-90C0-B8EC96F9366B}"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12" name="Rectangle 111">
            <a:extLst>
              <a:ext uri="{FF2B5EF4-FFF2-40B4-BE49-F238E27FC236}">
                <a16:creationId xmlns:a16="http://schemas.microsoft.com/office/drawing/2014/main" id="{91B345A2-866B-462D-97E8-2232C546CF64}"/>
              </a:ext>
            </a:extLst>
          </p:cNvPr>
          <p:cNvSpPr/>
          <p:nvPr>
            <p:custDataLst>
              <p:tags r:id="rId13"/>
            </p:custDataLst>
          </p:nvPr>
        </p:nvSpPr>
        <p:spPr bwMode="gray">
          <a:xfrm>
            <a:off x="6824663" y="4095750"/>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B353CCE6-5970-410A-A872-1A3CA5978F4D}" type="datetime'''''''''''''''''''''''''''''''8''''%'''''''''''''''''''''">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8%</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13" name="Rectangle 112">
            <a:extLst>
              <a:ext uri="{FF2B5EF4-FFF2-40B4-BE49-F238E27FC236}">
                <a16:creationId xmlns:a16="http://schemas.microsoft.com/office/drawing/2014/main" id="{72F79CE9-5968-4CC2-B812-0B94D3AE1B3D}"/>
              </a:ext>
            </a:extLst>
          </p:cNvPr>
          <p:cNvSpPr>
            <a:spLocks noGrp="1" noChangeArrowheads="1"/>
          </p:cNvSpPr>
          <p:nvPr>
            <p:custDataLst>
              <p:tags r:id="rId14"/>
            </p:custDataLst>
          </p:nvPr>
        </p:nvSpPr>
        <p:spPr bwMode="auto">
          <a:xfrm>
            <a:off x="6729413" y="545147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72C07C80-83AA-4294-8F58-B35C1A25CC35}" type="datetime'''''''''''''Lo''''w''''''''''''''''''''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Lower</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11" name="Rectangle 110">
            <a:extLst>
              <a:ext uri="{FF2B5EF4-FFF2-40B4-BE49-F238E27FC236}">
                <a16:creationId xmlns:a16="http://schemas.microsoft.com/office/drawing/2014/main" id="{9386C416-4E70-452B-B4AC-A1064CAF898B}"/>
              </a:ext>
            </a:extLst>
          </p:cNvPr>
          <p:cNvSpPr/>
          <p:nvPr>
            <p:custDataLst>
              <p:tags r:id="rId15"/>
            </p:custDataLst>
          </p:nvPr>
        </p:nvSpPr>
        <p:spPr bwMode="gray">
          <a:xfrm>
            <a:off x="8207375" y="4079875"/>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EF45D573-98B0-4386-B6AA-3178390E1595}" type="datetime'''''''''''''''''''''''''''''''''''''5''''%'''''''''''''''">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5%</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9" name="Rectangle 108">
            <a:extLst>
              <a:ext uri="{FF2B5EF4-FFF2-40B4-BE49-F238E27FC236}">
                <a16:creationId xmlns:a16="http://schemas.microsoft.com/office/drawing/2014/main" id="{9C9AE441-1E73-4F11-95A5-E99D26F7353D}"/>
              </a:ext>
            </a:extLst>
          </p:cNvPr>
          <p:cNvSpPr>
            <a:spLocks noGrp="1" noChangeArrowheads="1"/>
          </p:cNvSpPr>
          <p:nvPr>
            <p:custDataLst>
              <p:tags r:id="rId16"/>
            </p:custDataLst>
          </p:nvPr>
        </p:nvSpPr>
        <p:spPr bwMode="auto">
          <a:xfrm>
            <a:off x="8105775" y="545147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73DD40FA-7043-4968-9C06-F8CB68341719}"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Middle</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07" name="Rectangle 106">
            <a:extLst>
              <a:ext uri="{FF2B5EF4-FFF2-40B4-BE49-F238E27FC236}">
                <a16:creationId xmlns:a16="http://schemas.microsoft.com/office/drawing/2014/main" id="{E33C45E9-4936-49F2-B480-690092299C3A}"/>
              </a:ext>
            </a:extLst>
          </p:cNvPr>
          <p:cNvSpPr/>
          <p:nvPr>
            <p:custDataLst>
              <p:tags r:id="rId17"/>
            </p:custDataLst>
          </p:nvPr>
        </p:nvSpPr>
        <p:spPr bwMode="gray">
          <a:xfrm>
            <a:off x="10972800" y="4102100"/>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FBB940F6-B9BE-437A-8D1C-E332D98A7FB1}" type="datetime'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8" name="Rectangle 107">
            <a:extLst>
              <a:ext uri="{FF2B5EF4-FFF2-40B4-BE49-F238E27FC236}">
                <a16:creationId xmlns:a16="http://schemas.microsoft.com/office/drawing/2014/main" id="{B062B4FF-6D54-4AE5-B27A-9922F6BEEC52}"/>
              </a:ext>
            </a:extLst>
          </p:cNvPr>
          <p:cNvSpPr/>
          <p:nvPr>
            <p:custDataLst>
              <p:tags r:id="rId18"/>
            </p:custDataLst>
          </p:nvPr>
        </p:nvSpPr>
        <p:spPr bwMode="gray">
          <a:xfrm>
            <a:off x="9590088" y="4057650"/>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1451CAB9-E897-4553-A497-EE37C96D4659}" type="datetime'''''''2''''''%'''''''''''''''''''">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22" name="Rectangle 121">
            <a:extLst>
              <a:ext uri="{FF2B5EF4-FFF2-40B4-BE49-F238E27FC236}">
                <a16:creationId xmlns:a16="http://schemas.microsoft.com/office/drawing/2014/main" id="{B509B922-D41C-47B5-8798-38019D1C07C3}"/>
              </a:ext>
            </a:extLst>
          </p:cNvPr>
          <p:cNvSpPr>
            <a:spLocks noGrp="1" noChangeArrowheads="1"/>
          </p:cNvSpPr>
          <p:nvPr>
            <p:custDataLst>
              <p:tags r:id="rId19"/>
            </p:custDataLst>
          </p:nvPr>
        </p:nvSpPr>
        <p:spPr bwMode="auto">
          <a:xfrm>
            <a:off x="10844214" y="545147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EB6F1B96-123C-47E4-872D-138EDAD61AB2}"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Highest</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cxnSp>
        <p:nvCxnSpPr>
          <p:cNvPr id="123" name="Straight Connector 122">
            <a:extLst>
              <a:ext uri="{FF2B5EF4-FFF2-40B4-BE49-F238E27FC236}">
                <a16:creationId xmlns:a16="http://schemas.microsoft.com/office/drawing/2014/main" id="{56F31BBC-E352-44C4-A953-8CB5AF216C5E}"/>
              </a:ext>
            </a:extLst>
          </p:cNvPr>
          <p:cNvCxnSpPr>
            <a:cxnSpLocks/>
          </p:cNvCxnSpPr>
          <p:nvPr/>
        </p:nvCxnSpPr>
        <p:spPr>
          <a:xfrm flipV="1">
            <a:off x="7721428" y="1601609"/>
            <a:ext cx="0" cy="201168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192" name="Chart 191">
            <a:extLst>
              <a:ext uri="{FF2B5EF4-FFF2-40B4-BE49-F238E27FC236}">
                <a16:creationId xmlns:a16="http://schemas.microsoft.com/office/drawing/2014/main" id="{151EA1E9-6F02-4E17-B3DD-F1DAEB675F8F}"/>
              </a:ext>
            </a:extLst>
          </p:cNvPr>
          <p:cNvGraphicFramePr/>
          <p:nvPr>
            <p:custDataLst>
              <p:tags r:id="rId20"/>
            </p:custDataLst>
          </p:nvPr>
        </p:nvGraphicFramePr>
        <p:xfrm>
          <a:off x="7889875" y="2230438"/>
          <a:ext cx="4051300" cy="1190625"/>
        </p:xfrm>
        <a:graphic>
          <a:graphicData uri="http://schemas.openxmlformats.org/drawingml/2006/chart">
            <c:chart xmlns:c="http://schemas.openxmlformats.org/drawingml/2006/chart" xmlns:r="http://schemas.openxmlformats.org/officeDocument/2006/relationships" r:id="rId56"/>
          </a:graphicData>
        </a:graphic>
      </p:graphicFrame>
      <p:sp>
        <p:nvSpPr>
          <p:cNvPr id="133" name="Rectangle 132">
            <a:extLst>
              <a:ext uri="{FF2B5EF4-FFF2-40B4-BE49-F238E27FC236}">
                <a16:creationId xmlns:a16="http://schemas.microsoft.com/office/drawing/2014/main" id="{8ADA4866-F414-42F3-80D7-677E6B4B826D}"/>
              </a:ext>
            </a:extLst>
          </p:cNvPr>
          <p:cNvSpPr/>
          <p:nvPr>
            <p:custDataLst>
              <p:tags r:id="rId21"/>
            </p:custDataLst>
          </p:nvPr>
        </p:nvSpPr>
        <p:spPr bwMode="gray">
          <a:xfrm>
            <a:off x="9802813" y="2236788"/>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7E40489C-8EC5-4968-80A5-46A01255322E}" type="datetime'''''''''''''''3''''''''''''''''''''''''''''''''''%'''''''''">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3%</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6" name="Rectangle 135">
            <a:extLst>
              <a:ext uri="{FF2B5EF4-FFF2-40B4-BE49-F238E27FC236}">
                <a16:creationId xmlns:a16="http://schemas.microsoft.com/office/drawing/2014/main" id="{5D0C98CD-0F46-4EC2-89D0-407229DA841D}"/>
              </a:ext>
            </a:extLst>
          </p:cNvPr>
          <p:cNvSpPr/>
          <p:nvPr>
            <p:custDataLst>
              <p:tags r:id="rId22"/>
            </p:custDataLst>
          </p:nvPr>
        </p:nvSpPr>
        <p:spPr bwMode="gray">
          <a:xfrm>
            <a:off x="8099425" y="2273300"/>
            <a:ext cx="3000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A717F745-022F-47AE-90E8-23CEC28D215B}" type="datetime'''''''1''''0''''''''''''''''''''''''%'''''''">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10%</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9" name="Rectangle 138">
            <a:extLst>
              <a:ext uri="{FF2B5EF4-FFF2-40B4-BE49-F238E27FC236}">
                <a16:creationId xmlns:a16="http://schemas.microsoft.com/office/drawing/2014/main" id="{EBEFFCC0-0FDD-49E4-8B5E-909A2800DB54}"/>
              </a:ext>
            </a:extLst>
          </p:cNvPr>
          <p:cNvSpPr>
            <a:spLocks noGrp="1" noChangeArrowheads="1"/>
          </p:cNvSpPr>
          <p:nvPr>
            <p:custDataLst>
              <p:tags r:id="rId23"/>
            </p:custDataLst>
          </p:nvPr>
        </p:nvSpPr>
        <p:spPr bwMode="auto">
          <a:xfrm>
            <a:off x="8066089" y="338931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AA1B65BA-978B-4390-B9BF-60F26FDA3828}" type="datetime'''1''''''''''''''''''''''''''''''''5''''''''''''''''-''1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4" name="Rectangle 143">
            <a:extLst>
              <a:ext uri="{FF2B5EF4-FFF2-40B4-BE49-F238E27FC236}">
                <a16:creationId xmlns:a16="http://schemas.microsoft.com/office/drawing/2014/main" id="{D888F90D-3225-4DB2-9577-4F7E62CD3BC5}"/>
              </a:ext>
            </a:extLst>
          </p:cNvPr>
          <p:cNvSpPr>
            <a:spLocks noGrp="1" noChangeArrowheads="1"/>
          </p:cNvSpPr>
          <p:nvPr>
            <p:custDataLst>
              <p:tags r:id="rId24"/>
            </p:custDataLst>
          </p:nvPr>
        </p:nvSpPr>
        <p:spPr bwMode="auto">
          <a:xfrm>
            <a:off x="9731376" y="338931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A07464B-C12E-4703-9020-7846F5253F7D}" type="datetime'''''3''''''0''-''''''''''3''''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8" name="Rectangle 147">
            <a:extLst>
              <a:ext uri="{FF2B5EF4-FFF2-40B4-BE49-F238E27FC236}">
                <a16:creationId xmlns:a16="http://schemas.microsoft.com/office/drawing/2014/main" id="{45A46A27-BB18-4538-9FE4-F5FBF46A05BA}"/>
              </a:ext>
            </a:extLst>
          </p:cNvPr>
          <p:cNvSpPr/>
          <p:nvPr>
            <p:custDataLst>
              <p:tags r:id="rId25"/>
            </p:custDataLst>
          </p:nvPr>
        </p:nvSpPr>
        <p:spPr bwMode="gray">
          <a:xfrm>
            <a:off x="10320338" y="2274888"/>
            <a:ext cx="3000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7849B809-F7F4-4EA2-9186-B6472E500B8A}" type="datetime'''''1''''''''''''''0''''''''''''''%'''''''''''''">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10%</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5" name="Rectangle 144">
            <a:extLst>
              <a:ext uri="{FF2B5EF4-FFF2-40B4-BE49-F238E27FC236}">
                <a16:creationId xmlns:a16="http://schemas.microsoft.com/office/drawing/2014/main" id="{C7DE876D-8BF3-41B3-8261-FE894D750DA1}"/>
              </a:ext>
            </a:extLst>
          </p:cNvPr>
          <p:cNvSpPr/>
          <p:nvPr>
            <p:custDataLst>
              <p:tags r:id="rId26"/>
            </p:custDataLst>
          </p:nvPr>
        </p:nvSpPr>
        <p:spPr bwMode="gray">
          <a:xfrm>
            <a:off x="8693151" y="2239963"/>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579EA342-9952-4E78-858E-3109B003E834}" type="datetime'''''''''''''''''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8" name="Rectangle 137">
            <a:extLst>
              <a:ext uri="{FF2B5EF4-FFF2-40B4-BE49-F238E27FC236}">
                <a16:creationId xmlns:a16="http://schemas.microsoft.com/office/drawing/2014/main" id="{3DE17B39-D131-4A08-B45E-B0642C4191FB}"/>
              </a:ext>
            </a:extLst>
          </p:cNvPr>
          <p:cNvSpPr/>
          <p:nvPr>
            <p:custDataLst>
              <p:tags r:id="rId27"/>
            </p:custDataLst>
          </p:nvPr>
        </p:nvSpPr>
        <p:spPr bwMode="gray">
          <a:xfrm>
            <a:off x="9247188" y="2254250"/>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414B9745-3282-42E7-9126-2F107C7DFD93}" type="datetime'''''''''''''''''''''6''''%'''''''''''''''''''''''''''''''">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6%</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52" name="Rectangle 151">
            <a:extLst>
              <a:ext uri="{FF2B5EF4-FFF2-40B4-BE49-F238E27FC236}">
                <a16:creationId xmlns:a16="http://schemas.microsoft.com/office/drawing/2014/main" id="{152009A9-7BA1-44DB-977B-D2E99066C76D}"/>
              </a:ext>
            </a:extLst>
          </p:cNvPr>
          <p:cNvSpPr>
            <a:spLocks noGrp="1" noChangeArrowheads="1"/>
          </p:cNvSpPr>
          <p:nvPr>
            <p:custDataLst>
              <p:tags r:id="rId28"/>
            </p:custDataLst>
          </p:nvPr>
        </p:nvSpPr>
        <p:spPr bwMode="auto">
          <a:xfrm>
            <a:off x="10287001" y="338931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C8F5D2E-1837-41CD-9436-9EDF5802292D}" type="datetime'''3''''''''5''''''''-''''3''''''''''''''''''''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6" name="Rectangle 145">
            <a:extLst>
              <a:ext uri="{FF2B5EF4-FFF2-40B4-BE49-F238E27FC236}">
                <a16:creationId xmlns:a16="http://schemas.microsoft.com/office/drawing/2014/main" id="{A5AA546C-2732-4D9B-BC37-0BE35A2546A6}"/>
              </a:ext>
            </a:extLst>
          </p:cNvPr>
          <p:cNvSpPr>
            <a:spLocks noGrp="1" noChangeArrowheads="1"/>
          </p:cNvSpPr>
          <p:nvPr>
            <p:custDataLst>
              <p:tags r:id="rId29"/>
            </p:custDataLst>
          </p:nvPr>
        </p:nvSpPr>
        <p:spPr bwMode="auto">
          <a:xfrm>
            <a:off x="8621714" y="338931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37F6846C-33FD-4D3E-9866-A42BD7F4258A}" type="datetime'''''''''''''''2''0''''''-''2''''''''''''''''''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47" name="Rectangle 146">
            <a:extLst>
              <a:ext uri="{FF2B5EF4-FFF2-40B4-BE49-F238E27FC236}">
                <a16:creationId xmlns:a16="http://schemas.microsoft.com/office/drawing/2014/main" id="{36B29416-7F15-404B-AE64-8449FA765118}"/>
              </a:ext>
            </a:extLst>
          </p:cNvPr>
          <p:cNvSpPr>
            <a:spLocks noGrp="1" noChangeArrowheads="1"/>
          </p:cNvSpPr>
          <p:nvPr>
            <p:custDataLst>
              <p:tags r:id="rId30"/>
            </p:custDataLst>
          </p:nvPr>
        </p:nvSpPr>
        <p:spPr bwMode="auto">
          <a:xfrm>
            <a:off x="9175751" y="338931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72C0C748-B06C-4642-B762-839B3917377B}"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53" name="Rectangle 152">
            <a:extLst>
              <a:ext uri="{FF2B5EF4-FFF2-40B4-BE49-F238E27FC236}">
                <a16:creationId xmlns:a16="http://schemas.microsoft.com/office/drawing/2014/main" id="{FEF83D87-DEA1-4998-A202-3686ED62026E}"/>
              </a:ext>
            </a:extLst>
          </p:cNvPr>
          <p:cNvSpPr/>
          <p:nvPr>
            <p:custDataLst>
              <p:tags r:id="rId31"/>
            </p:custDataLst>
          </p:nvPr>
        </p:nvSpPr>
        <p:spPr bwMode="gray">
          <a:xfrm>
            <a:off x="10914063" y="2255838"/>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4EE35B2C-EB17-4D9A-8BF1-243626C1EBF6}" type="datetime'''''7''''''''''''''''''''''''''''''''''''%'''''''''''''''''''">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7%</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2" name="Rectangle 131">
            <a:extLst>
              <a:ext uri="{FF2B5EF4-FFF2-40B4-BE49-F238E27FC236}">
                <a16:creationId xmlns:a16="http://schemas.microsoft.com/office/drawing/2014/main" id="{8546DED7-FEF2-4507-A967-252915BCB3FE}"/>
              </a:ext>
            </a:extLst>
          </p:cNvPr>
          <p:cNvSpPr>
            <a:spLocks noGrp="1" noChangeArrowheads="1"/>
          </p:cNvSpPr>
          <p:nvPr>
            <p:custDataLst>
              <p:tags r:id="rId32"/>
            </p:custDataLst>
          </p:nvPr>
        </p:nvSpPr>
        <p:spPr bwMode="auto">
          <a:xfrm>
            <a:off x="10842626" y="338931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D448C77D-2555-45C8-B249-9DFFD1A2F96B}" type="datetime'''''''''''''''''''''''''4''''0''''''''''''''''''''''''''-4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54" name="Rectangle 153">
            <a:extLst>
              <a:ext uri="{FF2B5EF4-FFF2-40B4-BE49-F238E27FC236}">
                <a16:creationId xmlns:a16="http://schemas.microsoft.com/office/drawing/2014/main" id="{9DF7A943-FC33-44D0-A112-19D8B0C84F20}"/>
              </a:ext>
            </a:extLst>
          </p:cNvPr>
          <p:cNvSpPr/>
          <p:nvPr>
            <p:custDataLst>
              <p:tags r:id="rId33"/>
            </p:custDataLst>
          </p:nvPr>
        </p:nvSpPr>
        <p:spPr bwMode="gray">
          <a:xfrm>
            <a:off x="11430000" y="2273300"/>
            <a:ext cx="3000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D7194188-A72D-4C32-B6C1-8EEE2153B79E}" type="datetime'''''''''''''1''''''''''''''''''''0''%'''''''">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10%</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55" name="Rectangle 154">
            <a:extLst>
              <a:ext uri="{FF2B5EF4-FFF2-40B4-BE49-F238E27FC236}">
                <a16:creationId xmlns:a16="http://schemas.microsoft.com/office/drawing/2014/main" id="{C992A887-1B05-4133-BF59-993232ED9E88}"/>
              </a:ext>
            </a:extLst>
          </p:cNvPr>
          <p:cNvSpPr>
            <a:spLocks noGrp="1" noChangeArrowheads="1"/>
          </p:cNvSpPr>
          <p:nvPr>
            <p:custDataLst>
              <p:tags r:id="rId34"/>
            </p:custDataLst>
          </p:nvPr>
        </p:nvSpPr>
        <p:spPr bwMode="auto">
          <a:xfrm>
            <a:off x="11396664" y="338931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72A07482-2B47-411E-AC9C-861C9118532C}" type="datetime'''''''''4''''''''''''''''5-''4''''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56" name="Rectangle 155">
            <a:extLst>
              <a:ext uri="{FF2B5EF4-FFF2-40B4-BE49-F238E27FC236}">
                <a16:creationId xmlns:a16="http://schemas.microsoft.com/office/drawing/2014/main" id="{AA83D8EE-128F-4BF6-92F6-5D9FD048A959}"/>
              </a:ext>
            </a:extLst>
          </p:cNvPr>
          <p:cNvSpPr/>
          <p:nvPr/>
        </p:nvSpPr>
        <p:spPr bwMode="auto">
          <a:xfrm>
            <a:off x="7809706" y="1649412"/>
            <a:ext cx="4048915" cy="277016"/>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ercentage who received ANC by age group</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58" name="TextBox 157">
            <a:extLst>
              <a:ext uri="{FF2B5EF4-FFF2-40B4-BE49-F238E27FC236}">
                <a16:creationId xmlns:a16="http://schemas.microsoft.com/office/drawing/2014/main" id="{E10B1441-A512-43A6-A08E-802E9B9A048E}"/>
              </a:ext>
            </a:extLst>
          </p:cNvPr>
          <p:cNvSpPr txBox="1"/>
          <p:nvPr/>
        </p:nvSpPr>
        <p:spPr>
          <a:xfrm>
            <a:off x="1675271" y="5789043"/>
            <a:ext cx="8841459" cy="859718"/>
          </a:xfrm>
          <a:prstGeom prst="rect">
            <a:avLst/>
          </a:prstGeom>
          <a:solidFill>
            <a:schemeClr val="bg1">
              <a:lumMod val="95000"/>
            </a:schemeClr>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NC use is  significant (above 90%) across all age group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NC use highest among older women who have probably had other children and understand the benefits of ANC</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NC use is high across all income levels but increases as income increases.</a:t>
            </a:r>
          </a:p>
        </p:txBody>
      </p:sp>
      <p:sp>
        <p:nvSpPr>
          <p:cNvPr id="160" name="Rectangle 159">
            <a:extLst>
              <a:ext uri="{FF2B5EF4-FFF2-40B4-BE49-F238E27FC236}">
                <a16:creationId xmlns:a16="http://schemas.microsoft.com/office/drawing/2014/main" id="{EF03BBF3-9B38-43EA-8400-FACF4D9A1A21}"/>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Antenatal care</a:t>
            </a:r>
          </a:p>
        </p:txBody>
      </p:sp>
      <p:sp>
        <p:nvSpPr>
          <p:cNvPr id="168" name="Title 1">
            <a:extLst>
              <a:ext uri="{FF2B5EF4-FFF2-40B4-BE49-F238E27FC236}">
                <a16:creationId xmlns:a16="http://schemas.microsoft.com/office/drawing/2014/main" id="{818A96B8-2401-4A53-AACD-15AD711E22C8}"/>
              </a:ext>
            </a:extLst>
          </p:cNvPr>
          <p:cNvSpPr txBox="1">
            <a:spLocks/>
          </p:cNvSpPr>
          <p:nvPr/>
        </p:nvSpPr>
        <p:spPr>
          <a:xfrm>
            <a:off x="215006" y="245162"/>
            <a:ext cx="11803303" cy="1005840"/>
          </a:xfrm>
          <a:prstGeom prst="rect">
            <a:avLst/>
          </a:prstGeom>
        </p:spPr>
        <p:txBody>
          <a:bodyPr vert="horz" lIns="91440" tIns="45720" rIns="91440" bIns="45720"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a:cs typeface="Arial"/>
              </a:rPr>
              <a:t>There is high use of ANC; however, women with lower income, education and rural residence seek ANC at lower rates</a:t>
            </a:r>
          </a:p>
        </p:txBody>
      </p:sp>
      <p:graphicFrame>
        <p:nvGraphicFramePr>
          <p:cNvPr id="17" name="Chart 16">
            <a:extLst>
              <a:ext uri="{FF2B5EF4-FFF2-40B4-BE49-F238E27FC236}">
                <a16:creationId xmlns:a16="http://schemas.microsoft.com/office/drawing/2014/main" id="{9414DCD0-D5A4-68CE-7450-35D2066E79DD}"/>
              </a:ext>
            </a:extLst>
          </p:cNvPr>
          <p:cNvGraphicFramePr/>
          <p:nvPr>
            <p:custDataLst>
              <p:tags r:id="rId35"/>
            </p:custDataLst>
          </p:nvPr>
        </p:nvGraphicFramePr>
        <p:xfrm>
          <a:off x="1049338" y="2101850"/>
          <a:ext cx="2436812" cy="3624263"/>
        </p:xfrm>
        <a:graphic>
          <a:graphicData uri="http://schemas.openxmlformats.org/drawingml/2006/chart">
            <c:chart xmlns:c="http://schemas.openxmlformats.org/drawingml/2006/chart" xmlns:r="http://schemas.openxmlformats.org/officeDocument/2006/relationships" r:id="rId57"/>
          </a:graphicData>
        </a:graphic>
      </p:graphicFrame>
      <p:sp>
        <p:nvSpPr>
          <p:cNvPr id="172" name="Rectangle 171">
            <a:extLst>
              <a:ext uri="{FF2B5EF4-FFF2-40B4-BE49-F238E27FC236}">
                <a16:creationId xmlns:a16="http://schemas.microsoft.com/office/drawing/2014/main" id="{B25E6F8B-138A-4437-82FD-C2A88058E695}"/>
              </a:ext>
            </a:extLst>
          </p:cNvPr>
          <p:cNvSpPr/>
          <p:nvPr>
            <p:custDataLst>
              <p:tags r:id="rId36"/>
            </p:custDataLst>
          </p:nvPr>
        </p:nvSpPr>
        <p:spPr bwMode="gray">
          <a:xfrm>
            <a:off x="3244850" y="4687888"/>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D1930FD6-7885-4F9A-A7C9-6B9CE44EB371}" type="datetime'''''''''''''''''''''''''''''''''''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8" name="Rectangle 177">
            <a:extLst>
              <a:ext uri="{FF2B5EF4-FFF2-40B4-BE49-F238E27FC236}">
                <a16:creationId xmlns:a16="http://schemas.microsoft.com/office/drawing/2014/main" id="{8E20AB61-988E-45D6-AFCC-457CAAFA1BE0}"/>
              </a:ext>
            </a:extLst>
          </p:cNvPr>
          <p:cNvSpPr/>
          <p:nvPr>
            <p:custDataLst>
              <p:tags r:id="rId37"/>
            </p:custDataLst>
          </p:nvPr>
        </p:nvSpPr>
        <p:spPr bwMode="gray">
          <a:xfrm>
            <a:off x="3230563" y="3535363"/>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37B44444-F49D-4439-B8FE-415A15C113B5}" type="datetime'''''''''''''''''''''''''''''''''''''5''''''''%'''''">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5%</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4" name="Rectangle 173">
            <a:extLst>
              <a:ext uri="{FF2B5EF4-FFF2-40B4-BE49-F238E27FC236}">
                <a16:creationId xmlns:a16="http://schemas.microsoft.com/office/drawing/2014/main" id="{5A6B7346-F5A1-471E-9433-599ACB6665FE}"/>
              </a:ext>
            </a:extLst>
          </p:cNvPr>
          <p:cNvSpPr/>
          <p:nvPr>
            <p:custDataLst>
              <p:tags r:id="rId38"/>
            </p:custDataLst>
          </p:nvPr>
        </p:nvSpPr>
        <p:spPr bwMode="gray">
          <a:xfrm>
            <a:off x="3205163" y="2957513"/>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01B3D510-8BC4-4FDF-9D7D-79552D2EE26E}" type="datetime'''''''''8''''''''''''%'''''">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8%</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6" name="Rectangle 175">
            <a:extLst>
              <a:ext uri="{FF2B5EF4-FFF2-40B4-BE49-F238E27FC236}">
                <a16:creationId xmlns:a16="http://schemas.microsoft.com/office/drawing/2014/main" id="{61C2A7B5-2D2D-4598-94D2-4455B1DFA26E}"/>
              </a:ext>
            </a:extLst>
          </p:cNvPr>
          <p:cNvSpPr>
            <a:spLocks noGrp="1" noChangeArrowheads="1"/>
          </p:cNvSpPr>
          <p:nvPr>
            <p:custDataLst>
              <p:tags r:id="rId39"/>
            </p:custDataLst>
          </p:nvPr>
        </p:nvSpPr>
        <p:spPr bwMode="auto">
          <a:xfrm>
            <a:off x="369888" y="4033838"/>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6F71563C-A5BE-44AA-A083-EEFC69E5657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3" name="Rectangle 172">
            <a:extLst>
              <a:ext uri="{FF2B5EF4-FFF2-40B4-BE49-F238E27FC236}">
                <a16:creationId xmlns:a16="http://schemas.microsoft.com/office/drawing/2014/main" id="{D8FF4846-04A8-4486-B036-2CEDAF637A02}"/>
              </a:ext>
            </a:extLst>
          </p:cNvPr>
          <p:cNvSpPr>
            <a:spLocks noGrp="1" noChangeArrowheads="1"/>
          </p:cNvSpPr>
          <p:nvPr>
            <p:custDataLst>
              <p:tags r:id="rId40"/>
            </p:custDataLst>
          </p:nvPr>
        </p:nvSpPr>
        <p:spPr bwMode="auto">
          <a:xfrm>
            <a:off x="260350" y="2387600"/>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3FD0BF51-D03B-4084-90CB-1053CFD4C66D}"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9" name="Rectangle 178">
            <a:extLst>
              <a:ext uri="{FF2B5EF4-FFF2-40B4-BE49-F238E27FC236}">
                <a16:creationId xmlns:a16="http://schemas.microsoft.com/office/drawing/2014/main" id="{5F926850-37EF-4DE4-86EC-9817B6970CA9}"/>
              </a:ext>
            </a:extLst>
          </p:cNvPr>
          <p:cNvSpPr/>
          <p:nvPr>
            <p:custDataLst>
              <p:tags r:id="rId41"/>
            </p:custDataLst>
          </p:nvPr>
        </p:nvSpPr>
        <p:spPr bwMode="gray">
          <a:xfrm>
            <a:off x="3252788" y="4111625"/>
            <a:ext cx="223838" cy="182563"/>
          </a:xfrm>
          <a:prstGeom prst="rect">
            <a:avLst/>
          </a:prstGeom>
          <a:solidFill>
            <a:srgbClr val="C2F1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4C03E12C-9501-4DE6-A0E1-60FBBF4A410E}" type="datetime'''''''''''''''''''''''''''''''''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5" name="Rectangle 174">
            <a:extLst>
              <a:ext uri="{FF2B5EF4-FFF2-40B4-BE49-F238E27FC236}">
                <a16:creationId xmlns:a16="http://schemas.microsoft.com/office/drawing/2014/main" id="{006C4CB0-7DFE-4ED6-A606-4BF15BCE3D24}"/>
              </a:ext>
            </a:extLst>
          </p:cNvPr>
          <p:cNvSpPr>
            <a:spLocks noGrp="1" noChangeArrowheads="1"/>
          </p:cNvSpPr>
          <p:nvPr>
            <p:custDataLst>
              <p:tags r:id="rId42"/>
            </p:custDataLst>
          </p:nvPr>
        </p:nvSpPr>
        <p:spPr bwMode="auto">
          <a:xfrm>
            <a:off x="369888" y="2879725"/>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5ED8FD49-11A3-4B14-96E4-ABD8292E8680}" type="datetime'''In''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prim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7" name="Rectangle 176">
            <a:extLst>
              <a:ext uri="{FF2B5EF4-FFF2-40B4-BE49-F238E27FC236}">
                <a16:creationId xmlns:a16="http://schemas.microsoft.com/office/drawing/2014/main" id="{9B6A300A-3CD0-4B2B-BDE1-1FAC9AAC2043}"/>
              </a:ext>
            </a:extLst>
          </p:cNvPr>
          <p:cNvSpPr>
            <a:spLocks noGrp="1" noChangeArrowheads="1"/>
          </p:cNvSpPr>
          <p:nvPr>
            <p:custDataLst>
              <p:tags r:id="rId43"/>
            </p:custDataLst>
          </p:nvPr>
        </p:nvSpPr>
        <p:spPr bwMode="auto">
          <a:xfrm>
            <a:off x="438151" y="3457575"/>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114AAC6A-5E5A-4F8F-B033-423B010A7D6D}"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80" name="Rectangle 179">
            <a:extLst>
              <a:ext uri="{FF2B5EF4-FFF2-40B4-BE49-F238E27FC236}">
                <a16:creationId xmlns:a16="http://schemas.microsoft.com/office/drawing/2014/main" id="{69C77FAD-0A07-4E45-8A6C-80019A0A9E3C}"/>
              </a:ext>
            </a:extLst>
          </p:cNvPr>
          <p:cNvSpPr>
            <a:spLocks noGrp="1" noChangeArrowheads="1"/>
          </p:cNvSpPr>
          <p:nvPr>
            <p:custDataLst>
              <p:tags r:id="rId44"/>
            </p:custDataLst>
          </p:nvPr>
        </p:nvSpPr>
        <p:spPr bwMode="auto">
          <a:xfrm>
            <a:off x="438150" y="4610100"/>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ECFF4BC-840D-42EC-9C27-176D375BCC5F}"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81" name="Rectangle 180">
            <a:extLst>
              <a:ext uri="{FF2B5EF4-FFF2-40B4-BE49-F238E27FC236}">
                <a16:creationId xmlns:a16="http://schemas.microsoft.com/office/drawing/2014/main" id="{9F7249BC-970D-40B7-8600-0972E0492A0A}"/>
              </a:ext>
            </a:extLst>
          </p:cNvPr>
          <p:cNvSpPr>
            <a:spLocks noGrp="1" noChangeArrowheads="1"/>
          </p:cNvSpPr>
          <p:nvPr>
            <p:custDataLst>
              <p:tags r:id="rId45"/>
            </p:custDataLst>
          </p:nvPr>
        </p:nvSpPr>
        <p:spPr bwMode="auto">
          <a:xfrm>
            <a:off x="655638" y="5270500"/>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1EA6C13-606A-4CDD-A6CA-284E6339CC3A}"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82" name="Rectangle 181">
            <a:extLst>
              <a:ext uri="{FF2B5EF4-FFF2-40B4-BE49-F238E27FC236}">
                <a16:creationId xmlns:a16="http://schemas.microsoft.com/office/drawing/2014/main" id="{A341C683-9AA4-4BC2-B5EA-78331C896729}"/>
              </a:ext>
            </a:extLst>
          </p:cNvPr>
          <p:cNvSpPr/>
          <p:nvPr/>
        </p:nvSpPr>
        <p:spPr bwMode="auto">
          <a:xfrm>
            <a:off x="90768" y="1604203"/>
            <a:ext cx="3566160" cy="3476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NC by educational qualifi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18" name="Rectangle 17">
            <a:extLst>
              <a:ext uri="{FF2B5EF4-FFF2-40B4-BE49-F238E27FC236}">
                <a16:creationId xmlns:a16="http://schemas.microsoft.com/office/drawing/2014/main" id="{6F36AA40-86C7-C55D-C6DF-A6687C529432}"/>
              </a:ext>
            </a:extLst>
          </p:cNvPr>
          <p:cNvSpPr/>
          <p:nvPr>
            <p:custDataLst>
              <p:tags r:id="rId46"/>
            </p:custDataLst>
          </p:nvPr>
        </p:nvSpPr>
        <p:spPr bwMode="auto">
          <a:xfrm>
            <a:off x="11118850" y="1346200"/>
            <a:ext cx="214313" cy="160338"/>
          </a:xfrm>
          <a:prstGeom prst="rect">
            <a:avLst/>
          </a:prstGeom>
          <a:solidFill>
            <a:srgbClr val="C2F1ED"/>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9" name="Rectangle 18">
            <a:extLst>
              <a:ext uri="{FF2B5EF4-FFF2-40B4-BE49-F238E27FC236}">
                <a16:creationId xmlns:a16="http://schemas.microsoft.com/office/drawing/2014/main" id="{7E11C662-10C9-31A7-5331-6E2C006BD58E}"/>
              </a:ext>
            </a:extLst>
          </p:cNvPr>
          <p:cNvSpPr/>
          <p:nvPr>
            <p:custDataLst>
              <p:tags r:id="rId47"/>
            </p:custDataLst>
          </p:nvPr>
        </p:nvSpPr>
        <p:spPr bwMode="auto">
          <a:xfrm>
            <a:off x="9825038" y="1346200"/>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4" name="Rectangle 13">
            <a:extLst>
              <a:ext uri="{FF2B5EF4-FFF2-40B4-BE49-F238E27FC236}">
                <a16:creationId xmlns:a16="http://schemas.microsoft.com/office/drawing/2014/main" id="{3703E8B5-AE8C-162A-3323-4F62FD1B7605}"/>
              </a:ext>
            </a:extLst>
          </p:cNvPr>
          <p:cNvSpPr/>
          <p:nvPr>
            <p:custDataLst>
              <p:tags r:id="rId48"/>
            </p:custDataLst>
          </p:nvPr>
        </p:nvSpPr>
        <p:spPr bwMode="auto">
          <a:xfrm>
            <a:off x="10090150" y="1341438"/>
            <a:ext cx="92710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46E91C3B-F2B7-4DD6-A0BA-11DF4E8EB703}" type="datetime'''R''''e''''''c''ei''''ve''''d'''''' ''''''A''N''C'''''">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1219170" rtl="0" eaLnBrk="1" fontAlgn="auto" latinLnBrk="0" hangingPunct="1">
                <a:lnSpc>
                  <a:spcPct val="100000"/>
                </a:lnSpc>
                <a:spcBef>
                  <a:spcPct val="0"/>
                </a:spcBef>
                <a:spcAft>
                  <a:spcPct val="0"/>
                </a:spcAft>
                <a:buClrTx/>
                <a:buSzTx/>
                <a:buFontTx/>
                <a:buNone/>
                <a:tabLst/>
                <a:defRPr/>
              </a:pPr>
              <a:t>Received ANC</a:t>
            </a:fld>
            <a:endParaRPr kumimoji="0" lang="en-GB" sz="12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6" name="Rectangle 15">
            <a:extLst>
              <a:ext uri="{FF2B5EF4-FFF2-40B4-BE49-F238E27FC236}">
                <a16:creationId xmlns:a16="http://schemas.microsoft.com/office/drawing/2014/main" id="{6EB68745-BD5C-3B7B-16A0-A4CBE9686445}"/>
              </a:ext>
            </a:extLst>
          </p:cNvPr>
          <p:cNvSpPr/>
          <p:nvPr>
            <p:custDataLst>
              <p:tags r:id="rId49"/>
            </p:custDataLst>
          </p:nvPr>
        </p:nvSpPr>
        <p:spPr bwMode="auto">
          <a:xfrm>
            <a:off x="11383963" y="1341438"/>
            <a:ext cx="574675"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A9B45739-9BB8-482F-90BE-A5DD18BA0A60}" type="datetime'''''''''''''N''''''''''o'''''''''''' ''A''''''N''''''C'''">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1219170" rtl="0" eaLnBrk="1" fontAlgn="auto" latinLnBrk="0" hangingPunct="1">
                <a:lnSpc>
                  <a:spcPct val="100000"/>
                </a:lnSpc>
                <a:spcBef>
                  <a:spcPct val="0"/>
                </a:spcBef>
                <a:spcAft>
                  <a:spcPct val="0"/>
                </a:spcAft>
                <a:buClrTx/>
                <a:buSzTx/>
                <a:buFontTx/>
                <a:buNone/>
                <a:tabLst/>
                <a:defRPr/>
              </a:pPr>
              <a:t>No ANC</a:t>
            </a:fld>
            <a:endParaRPr kumimoji="0" lang="en-GB" sz="12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35960129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98" imgH="499" progId="TCLayout.ActiveDocument.1">
                  <p:embed/>
                </p:oleObj>
              </mc:Choice>
              <mc:Fallback>
                <p:oleObj name="think-cell Slide" r:id="rId36"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FB378F2-2452-4A65-8B44-6D029787A1FD}"/>
              </a:ext>
            </a:extLst>
          </p:cNvPr>
          <p:cNvSpPr/>
          <p:nvPr/>
        </p:nvSpPr>
        <p:spPr bwMode="auto">
          <a:xfrm>
            <a:off x="75529" y="1525588"/>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0302CF6-8ADF-428C-86AD-9E87C55A9AA1}"/>
              </a:ext>
            </a:extLst>
          </p:cNvPr>
          <p:cNvSpPr/>
          <p:nvPr/>
        </p:nvSpPr>
        <p:spPr bwMode="auto">
          <a:xfrm>
            <a:off x="75528" y="1163638"/>
            <a:ext cx="11978640" cy="366713"/>
          </a:xfrm>
          <a:prstGeom prst="rect">
            <a:avLst/>
          </a:prstGeom>
          <a:gradFill>
            <a:gsLst>
              <a:gs pos="0">
                <a:srgbClr val="78AEAC"/>
              </a:gs>
              <a:gs pos="65000">
                <a:srgbClr val="4AA19E">
                  <a:tint val="44500"/>
                  <a:satMod val="160000"/>
                </a:srgbClr>
              </a:gs>
              <a:gs pos="100000">
                <a:srgbClr val="4AA19E">
                  <a:tint val="23500"/>
                  <a:satMod val="160000"/>
                </a:srgbClr>
              </a:gs>
            </a:gsLst>
            <a:lin ang="0" scaled="1"/>
          </a:gra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all women of reproductive age who delivered from SBA</a:t>
            </a:r>
            <a:r>
              <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1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26474303-DF9C-40E6-A4C6-5BCE0F80847B}"/>
              </a:ext>
            </a:extLst>
          </p:cNvPr>
          <p:cNvCxnSpPr>
            <a:cxnSpLocks/>
          </p:cNvCxnSpPr>
          <p:nvPr/>
        </p:nvCxnSpPr>
        <p:spPr>
          <a:xfrm flipV="1">
            <a:off x="4486781" y="1552575"/>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400EDF4-F677-4AB8-A832-9F3C63C08CE4}"/>
              </a:ext>
            </a:extLst>
          </p:cNvPr>
          <p:cNvSpPr/>
          <p:nvPr/>
        </p:nvSpPr>
        <p:spPr bwMode="auto">
          <a:xfrm>
            <a:off x="107431" y="158113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BA* by educational level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95CEFFE-125C-4BB7-8E4D-8EE10A19CA9A}"/>
              </a:ext>
            </a:extLst>
          </p:cNvPr>
          <p:cNvSpPr>
            <a:spLocks noGrp="1" noChangeArrowheads="1"/>
          </p:cNvSpPr>
          <p:nvPr>
            <p:custDataLst>
              <p:tags r:id="rId2"/>
            </p:custDataLst>
          </p:nvPr>
        </p:nvSpPr>
        <p:spPr bwMode="auto">
          <a:xfrm>
            <a:off x="3967163" y="2032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51" name="Chart 50">
            <a:extLst>
              <a:ext uri="{FF2B5EF4-FFF2-40B4-BE49-F238E27FC236}">
                <a16:creationId xmlns:a16="http://schemas.microsoft.com/office/drawing/2014/main" id="{13D0742F-6552-4F1D-8A9D-2ED1BFC7DC85}"/>
              </a:ext>
            </a:extLst>
          </p:cNvPr>
          <p:cNvGraphicFramePr/>
          <p:nvPr>
            <p:custDataLst>
              <p:tags r:id="rId3"/>
            </p:custDataLst>
          </p:nvPr>
        </p:nvGraphicFramePr>
        <p:xfrm>
          <a:off x="4705291" y="1985962"/>
          <a:ext cx="3833813" cy="1181100"/>
        </p:xfrm>
        <a:graphic>
          <a:graphicData uri="http://schemas.openxmlformats.org/drawingml/2006/chart">
            <c:chart xmlns:c="http://schemas.openxmlformats.org/drawingml/2006/chart" xmlns:r="http://schemas.openxmlformats.org/officeDocument/2006/relationships" r:id="rId38"/>
          </a:graphicData>
        </a:graphic>
      </p:graphicFrame>
      <p:sp>
        <p:nvSpPr>
          <p:cNvPr id="16" name="Rectangle 15">
            <a:extLst>
              <a:ext uri="{FF2B5EF4-FFF2-40B4-BE49-F238E27FC236}">
                <a16:creationId xmlns:a16="http://schemas.microsoft.com/office/drawing/2014/main" id="{7D9B6EEB-97D6-44EA-9BF2-FAE53D35F21B}"/>
              </a:ext>
            </a:extLst>
          </p:cNvPr>
          <p:cNvSpPr>
            <a:spLocks noGrp="1" noChangeArrowheads="1"/>
          </p:cNvSpPr>
          <p:nvPr>
            <p:custDataLst>
              <p:tags r:id="rId4"/>
            </p:custDataLst>
          </p:nvPr>
        </p:nvSpPr>
        <p:spPr bwMode="gray">
          <a:xfrm>
            <a:off x="7265988" y="2114550"/>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C2B3CC9-D8F6-48FB-B660-88F0DBE1305D}" type="datetime'''''3''''''''''''''''''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3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3" name="Rectangle 12">
            <a:extLst>
              <a:ext uri="{FF2B5EF4-FFF2-40B4-BE49-F238E27FC236}">
                <a16:creationId xmlns:a16="http://schemas.microsoft.com/office/drawing/2014/main" id="{13E59CDD-C4F2-4C40-AFD0-C2EEE0C5ED54}"/>
              </a:ext>
            </a:extLst>
          </p:cNvPr>
          <p:cNvSpPr>
            <a:spLocks noGrp="1" noChangeArrowheads="1"/>
          </p:cNvSpPr>
          <p:nvPr>
            <p:custDataLst>
              <p:tags r:id="rId5"/>
            </p:custDataLst>
          </p:nvPr>
        </p:nvSpPr>
        <p:spPr bwMode="gray">
          <a:xfrm>
            <a:off x="7265988" y="2622550"/>
            <a:ext cx="300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CE341847-0BEF-429D-835B-31E306E3A5C4}" type="datetime'''''''''''''''''''''''''6''''6%'''''''''''''''''''''''''">
              <a:rPr kumimoji="0" lang="en-GB" altLang="en-US" sz="1200" b="0"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66%</a:t>
            </a:fld>
            <a:endParaRPr kumimoji="0" lang="en-GB" sz="1200" b="0" i="0" u="none" strike="noStrike" kern="0" cap="none" spc="0" normalizeH="0" baseline="0" noProof="0" dirty="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15" name="Rectangle 14">
            <a:extLst>
              <a:ext uri="{FF2B5EF4-FFF2-40B4-BE49-F238E27FC236}">
                <a16:creationId xmlns:a16="http://schemas.microsoft.com/office/drawing/2014/main" id="{D08B0197-A426-40A4-AE64-301CF81FE1C0}"/>
              </a:ext>
            </a:extLst>
          </p:cNvPr>
          <p:cNvSpPr>
            <a:spLocks noGrp="1" noChangeArrowheads="1"/>
          </p:cNvSpPr>
          <p:nvPr>
            <p:custDataLst>
              <p:tags r:id="rId6"/>
            </p:custDataLst>
          </p:nvPr>
        </p:nvSpPr>
        <p:spPr bwMode="auto">
          <a:xfrm>
            <a:off x="5381626" y="3098800"/>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4FF7792-DEA5-43C4-9EED-C66CB6F73B8F}"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2" name="Rectangle 11">
            <a:extLst>
              <a:ext uri="{FF2B5EF4-FFF2-40B4-BE49-F238E27FC236}">
                <a16:creationId xmlns:a16="http://schemas.microsoft.com/office/drawing/2014/main" id="{9DD3FAAA-0C8D-49B8-9888-768CFDC5C2F2}"/>
              </a:ext>
            </a:extLst>
          </p:cNvPr>
          <p:cNvSpPr>
            <a:spLocks noGrp="1" noChangeArrowheads="1"/>
          </p:cNvSpPr>
          <p:nvPr>
            <p:custDataLst>
              <p:tags r:id="rId7"/>
            </p:custDataLst>
          </p:nvPr>
        </p:nvSpPr>
        <p:spPr bwMode="gray">
          <a:xfrm>
            <a:off x="5430838" y="2636838"/>
            <a:ext cx="300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CBB8A517-8AA9-4089-A97A-CC2D156ACFCB}" type="datetime'''''''''6''''''''''''''3''''''''%'''''''''">
              <a:rPr kumimoji="0" lang="en-GB" altLang="en-US" sz="1200" b="0"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63%</a:t>
            </a:fld>
            <a:endParaRPr kumimoji="0" lang="en-GB" sz="1200" b="0" i="0" u="none" strike="noStrike" kern="0" cap="none" spc="0" normalizeH="0" baseline="0" noProof="0" dirty="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17" name="Rectangle 16">
            <a:extLst>
              <a:ext uri="{FF2B5EF4-FFF2-40B4-BE49-F238E27FC236}">
                <a16:creationId xmlns:a16="http://schemas.microsoft.com/office/drawing/2014/main" id="{99A92F20-06C4-4220-B3D3-3A98E4C3DB9A}"/>
              </a:ext>
            </a:extLst>
          </p:cNvPr>
          <p:cNvSpPr>
            <a:spLocks noGrp="1" noChangeArrowheads="1"/>
          </p:cNvSpPr>
          <p:nvPr>
            <p:custDataLst>
              <p:tags r:id="rId8"/>
            </p:custDataLst>
          </p:nvPr>
        </p:nvSpPr>
        <p:spPr bwMode="auto">
          <a:xfrm>
            <a:off x="7245350" y="3098800"/>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06226010-16C8-4531-B124-E276EE7FCEB9}"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4" name="Rectangle 13">
            <a:extLst>
              <a:ext uri="{FF2B5EF4-FFF2-40B4-BE49-F238E27FC236}">
                <a16:creationId xmlns:a16="http://schemas.microsoft.com/office/drawing/2014/main" id="{1309462C-4863-4400-BC3D-8C8AA4E3FA94}"/>
              </a:ext>
            </a:extLst>
          </p:cNvPr>
          <p:cNvSpPr>
            <a:spLocks noGrp="1" noChangeArrowheads="1"/>
          </p:cNvSpPr>
          <p:nvPr>
            <p:custDataLst>
              <p:tags r:id="rId9"/>
            </p:custDataLst>
          </p:nvPr>
        </p:nvSpPr>
        <p:spPr bwMode="gray">
          <a:xfrm>
            <a:off x="5430838" y="2128838"/>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F0FEAF25-7813-4E4C-9305-72A5AB33F79A}" type="datetime'37''''''''''''''%'''''''''''''''''''''''''">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37%</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52" name="Chart 51">
            <a:extLst>
              <a:ext uri="{FF2B5EF4-FFF2-40B4-BE49-F238E27FC236}">
                <a16:creationId xmlns:a16="http://schemas.microsoft.com/office/drawing/2014/main" id="{AAAFB688-3732-4887-8B1C-FFBD13D95337}"/>
              </a:ext>
            </a:extLst>
          </p:cNvPr>
          <p:cNvGraphicFramePr/>
          <p:nvPr>
            <p:custDataLst>
              <p:tags r:id="rId10"/>
            </p:custDataLst>
          </p:nvPr>
        </p:nvGraphicFramePr>
        <p:xfrm>
          <a:off x="4752975" y="3757613"/>
          <a:ext cx="7340600" cy="1643062"/>
        </p:xfrm>
        <a:graphic>
          <a:graphicData uri="http://schemas.openxmlformats.org/drawingml/2006/chart">
            <c:chart xmlns:c="http://schemas.openxmlformats.org/drawingml/2006/chart" xmlns:r="http://schemas.openxmlformats.org/officeDocument/2006/relationships" r:id="rId39"/>
          </a:graphicData>
        </a:graphic>
      </p:graphicFrame>
      <p:sp>
        <p:nvSpPr>
          <p:cNvPr id="20" name="Rectangle 19">
            <a:extLst>
              <a:ext uri="{FF2B5EF4-FFF2-40B4-BE49-F238E27FC236}">
                <a16:creationId xmlns:a16="http://schemas.microsoft.com/office/drawing/2014/main" id="{79176331-0B1A-4026-A06A-C1ED7A37A125}"/>
              </a:ext>
            </a:extLst>
          </p:cNvPr>
          <p:cNvSpPr>
            <a:spLocks noGrp="1" noChangeArrowheads="1"/>
          </p:cNvSpPr>
          <p:nvPr>
            <p:custDataLst>
              <p:tags r:id="rId11"/>
            </p:custDataLst>
          </p:nvPr>
        </p:nvSpPr>
        <p:spPr bwMode="auto">
          <a:xfrm>
            <a:off x="11053763" y="53689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81FF5CD-B516-4583-BC8C-13092386108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57F93E95-21C9-4077-9190-426B81099128}"/>
              </a:ext>
            </a:extLst>
          </p:cNvPr>
          <p:cNvSpPr>
            <a:spLocks noGrp="1" noChangeArrowheads="1"/>
          </p:cNvSpPr>
          <p:nvPr>
            <p:custDataLst>
              <p:tags r:id="rId12"/>
            </p:custDataLst>
          </p:nvPr>
        </p:nvSpPr>
        <p:spPr bwMode="auto">
          <a:xfrm>
            <a:off x="9642475" y="53689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A7CBB435-F2BC-4B54-9D76-3C4E9BB6A1E3}"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2" name="Rectangle 21">
            <a:extLst>
              <a:ext uri="{FF2B5EF4-FFF2-40B4-BE49-F238E27FC236}">
                <a16:creationId xmlns:a16="http://schemas.microsoft.com/office/drawing/2014/main" id="{4F8E2FAD-497A-4F3A-B46E-E254D6C8323A}"/>
              </a:ext>
            </a:extLst>
          </p:cNvPr>
          <p:cNvSpPr>
            <a:spLocks noGrp="1" noChangeArrowheads="1"/>
          </p:cNvSpPr>
          <p:nvPr>
            <p:custDataLst>
              <p:tags r:id="rId13"/>
            </p:custDataLst>
          </p:nvPr>
        </p:nvSpPr>
        <p:spPr bwMode="auto">
          <a:xfrm>
            <a:off x="8210550" y="53689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60139968-8838-4EBF-BA1F-F6C2AA3359EB}"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9" name="Rectangle 18">
            <a:extLst>
              <a:ext uri="{FF2B5EF4-FFF2-40B4-BE49-F238E27FC236}">
                <a16:creationId xmlns:a16="http://schemas.microsoft.com/office/drawing/2014/main" id="{2B390A86-1442-485F-9D9A-8B6C8593FDF2}"/>
              </a:ext>
            </a:extLst>
          </p:cNvPr>
          <p:cNvSpPr>
            <a:spLocks noGrp="1" noChangeArrowheads="1"/>
          </p:cNvSpPr>
          <p:nvPr>
            <p:custDataLst>
              <p:tags r:id="rId14"/>
            </p:custDataLst>
          </p:nvPr>
        </p:nvSpPr>
        <p:spPr bwMode="auto">
          <a:xfrm>
            <a:off x="5321300" y="53689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9377055-2EA9-4E39-AFC8-54FD8D9892AA}"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3" name="Rectangle 22">
            <a:extLst>
              <a:ext uri="{FF2B5EF4-FFF2-40B4-BE49-F238E27FC236}">
                <a16:creationId xmlns:a16="http://schemas.microsoft.com/office/drawing/2014/main" id="{543BAB49-16C4-440B-85B6-80A5689A6110}"/>
              </a:ext>
            </a:extLst>
          </p:cNvPr>
          <p:cNvSpPr>
            <a:spLocks noGrp="1" noChangeArrowheads="1"/>
          </p:cNvSpPr>
          <p:nvPr>
            <p:custDataLst>
              <p:tags r:id="rId15"/>
            </p:custDataLst>
          </p:nvPr>
        </p:nvSpPr>
        <p:spPr bwMode="auto">
          <a:xfrm>
            <a:off x="6781800" y="53689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E629E2D-65AF-45CC-A51A-ABA630B0564C}"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 name="TextBox 23">
            <a:extLst>
              <a:ext uri="{FF2B5EF4-FFF2-40B4-BE49-F238E27FC236}">
                <a16:creationId xmlns:a16="http://schemas.microsoft.com/office/drawing/2014/main" id="{2DE837C3-8993-4D76-A15A-5B80E45FFA87}"/>
              </a:ext>
            </a:extLst>
          </p:cNvPr>
          <p:cNvSpPr txBox="1"/>
          <p:nvPr/>
        </p:nvSpPr>
        <p:spPr>
          <a:xfrm>
            <a:off x="95236" y="5591381"/>
            <a:ext cx="11978636" cy="1030894"/>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lthough 58% delivered with an SBA, a significant portion (42%) still deliver at home. </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re is a dramatic drop in use of maternity services from 94% seeking ANC compared to (58%) delivering with an SBA.</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re is a direct relationship between wealth quintiles and SBA delivery, likely due to the ability to pay for skilled professionals like nurses, doctors and midwive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re is low confidence of secondary DHS analysis at the state level.</a:t>
            </a:r>
          </a:p>
        </p:txBody>
      </p:sp>
      <p:cxnSp>
        <p:nvCxnSpPr>
          <p:cNvPr id="25" name="Straight Connector 24">
            <a:extLst>
              <a:ext uri="{FF2B5EF4-FFF2-40B4-BE49-F238E27FC236}">
                <a16:creationId xmlns:a16="http://schemas.microsoft.com/office/drawing/2014/main" id="{C0523F03-5273-49CB-9CAC-29262B6734F9}"/>
              </a:ext>
            </a:extLst>
          </p:cNvPr>
          <p:cNvCxnSpPr>
            <a:cxnSpLocks/>
          </p:cNvCxnSpPr>
          <p:nvPr/>
        </p:nvCxnSpPr>
        <p:spPr>
          <a:xfrm flipV="1">
            <a:off x="8480393" y="1551940"/>
            <a:ext cx="0" cy="192024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CE73F0B-76EF-4C89-B00A-87477A8858EB}"/>
              </a:ext>
            </a:extLst>
          </p:cNvPr>
          <p:cNvSpPr txBox="1"/>
          <p:nvPr/>
        </p:nvSpPr>
        <p:spPr>
          <a:xfrm>
            <a:off x="107431" y="6592112"/>
            <a:ext cx="11521440"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 1. NDHS 2018 Secondary Data Analysis	 a. Using 5% as proportion of pregnant women in the state, 58% SBA penetration rate 	*Skilled birth provider-doctor, nurse/midwife or auxiliary midwif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2. </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0"/>
              </a:rPr>
              <a:t>https://citypopulation.de/en/nigeria/admin</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rPr>
              <a:t>         </a:t>
            </a:r>
            <a:r>
              <a:rPr kumimoji="0" lang="en-US" sz="900" b="0" i="0" u="sng" strike="noStrike" kern="1200" cap="none" spc="0" normalizeH="0" baseline="0" noProof="0" dirty="0">
                <a:ln>
                  <a:noFill/>
                </a:ln>
                <a:solidFill>
                  <a:prstClr val="black"/>
                </a:solidFill>
                <a:effectLst/>
                <a:uLnTx/>
                <a:uFillTx/>
                <a:latin typeface="Gill Sans MT" panose="020B0502020104020203"/>
                <a:ea typeface="+mn-ea"/>
                <a:cs typeface="+mn-cs"/>
              </a:rPr>
              <a:t>3</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41"/>
              </a:rPr>
              <a:t> https://data.worldbank.org/indicator/SP.DYN.CBRT.IN?locations=NG </a:t>
            </a:r>
            <a:r>
              <a:rPr kumimoji="0" lang="en-US" sz="800" b="0" i="0" u="sng" strike="noStrike" kern="1200" cap="none" spc="0" normalizeH="0" baseline="0" noProof="0" dirty="0">
                <a:ln>
                  <a:noFill/>
                </a:ln>
                <a:solidFill>
                  <a:srgbClr val="0563C1"/>
                </a:solidFill>
                <a:effectLst/>
                <a:uLnTx/>
                <a:uFillTx/>
                <a:latin typeface="Gill Sans MT" panose="020B0502020104020203"/>
                <a:ea typeface="+mn-ea"/>
                <a:cs typeface="+mn-cs"/>
              </a:rPr>
              <a:t>  </a:t>
            </a:r>
            <a:endParaRPr kumimoji="0" lang="en-US" sz="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5841ED37-D160-465D-ABF6-B12D248D9E7D}"/>
              </a:ext>
            </a:extLst>
          </p:cNvPr>
          <p:cNvSpPr/>
          <p:nvPr/>
        </p:nvSpPr>
        <p:spPr bwMode="auto">
          <a:xfrm>
            <a:off x="4479178" y="1581133"/>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BA delivery by geographical location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Rectangle 27">
            <a:extLst>
              <a:ext uri="{FF2B5EF4-FFF2-40B4-BE49-F238E27FC236}">
                <a16:creationId xmlns:a16="http://schemas.microsoft.com/office/drawing/2014/main" id="{F646A893-F3A7-485B-8241-D46370523E5A}"/>
              </a:ext>
            </a:extLst>
          </p:cNvPr>
          <p:cNvSpPr/>
          <p:nvPr/>
        </p:nvSpPr>
        <p:spPr bwMode="auto">
          <a:xfrm>
            <a:off x="8518530" y="1581133"/>
            <a:ext cx="3535637"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BA delivery by age groups (%)</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84053627-464B-4A82-B3C5-AA4A540E788E}"/>
              </a:ext>
            </a:extLst>
          </p:cNvPr>
          <p:cNvCxnSpPr>
            <a:cxnSpLocks/>
          </p:cNvCxnSpPr>
          <p:nvPr/>
        </p:nvCxnSpPr>
        <p:spPr>
          <a:xfrm flipH="1">
            <a:off x="4479178" y="3463627"/>
            <a:ext cx="758952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26CC0F-0321-44C9-91DC-1E1D4A8140A5}"/>
              </a:ext>
            </a:extLst>
          </p:cNvPr>
          <p:cNvSpPr/>
          <p:nvPr/>
        </p:nvSpPr>
        <p:spPr bwMode="auto">
          <a:xfrm>
            <a:off x="4464494" y="3503040"/>
            <a:ext cx="3598325" cy="33747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BA delivery by wealth quintiles (%)</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53" name="Chart 52">
            <a:extLst>
              <a:ext uri="{FF2B5EF4-FFF2-40B4-BE49-F238E27FC236}">
                <a16:creationId xmlns:a16="http://schemas.microsoft.com/office/drawing/2014/main" id="{D8DE6750-D6D3-4F59-BC72-28D30264AF43}"/>
              </a:ext>
            </a:extLst>
          </p:cNvPr>
          <p:cNvGraphicFramePr/>
          <p:nvPr>
            <p:custDataLst>
              <p:tags r:id="rId16"/>
            </p:custDataLst>
          </p:nvPr>
        </p:nvGraphicFramePr>
        <p:xfrm>
          <a:off x="8435975" y="1949450"/>
          <a:ext cx="3589338" cy="1181100"/>
        </p:xfrm>
        <a:graphic>
          <a:graphicData uri="http://schemas.openxmlformats.org/drawingml/2006/chart">
            <c:chart xmlns:c="http://schemas.openxmlformats.org/drawingml/2006/chart" xmlns:r="http://schemas.openxmlformats.org/officeDocument/2006/relationships" r:id="rId42"/>
          </a:graphicData>
        </a:graphic>
      </p:graphicFrame>
      <p:sp>
        <p:nvSpPr>
          <p:cNvPr id="35" name="Rectangle 34">
            <a:extLst>
              <a:ext uri="{FF2B5EF4-FFF2-40B4-BE49-F238E27FC236}">
                <a16:creationId xmlns:a16="http://schemas.microsoft.com/office/drawing/2014/main" id="{FE2B2844-E36A-44A7-9C07-69F9D2218873}"/>
              </a:ext>
            </a:extLst>
          </p:cNvPr>
          <p:cNvSpPr>
            <a:spLocks noGrp="1" noChangeArrowheads="1"/>
          </p:cNvSpPr>
          <p:nvPr>
            <p:custDataLst>
              <p:tags r:id="rId17"/>
            </p:custDataLst>
          </p:nvPr>
        </p:nvSpPr>
        <p:spPr bwMode="auto">
          <a:xfrm>
            <a:off x="11515725" y="3098800"/>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0D424A6-5064-48B0-8AB7-23A8466FA08D}" type="datetime'''''4''''''''''''''''''''''''5''''''-''''''''''''''''4''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3" name="Rectangle 32">
            <a:extLst>
              <a:ext uri="{FF2B5EF4-FFF2-40B4-BE49-F238E27FC236}">
                <a16:creationId xmlns:a16="http://schemas.microsoft.com/office/drawing/2014/main" id="{5A1DAE90-1698-4B4E-BF50-B5CCA30E65D7}"/>
              </a:ext>
            </a:extLst>
          </p:cNvPr>
          <p:cNvSpPr>
            <a:spLocks noGrp="1" noChangeArrowheads="1"/>
          </p:cNvSpPr>
          <p:nvPr>
            <p:custDataLst>
              <p:tags r:id="rId18"/>
            </p:custDataLst>
          </p:nvPr>
        </p:nvSpPr>
        <p:spPr bwMode="auto">
          <a:xfrm>
            <a:off x="10537825" y="3098800"/>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B3E2A62E-B20D-47F4-A125-643699879DED}" type="datetime'''''35-''3''''''''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7" name="Rectangle 36">
            <a:extLst>
              <a:ext uri="{FF2B5EF4-FFF2-40B4-BE49-F238E27FC236}">
                <a16:creationId xmlns:a16="http://schemas.microsoft.com/office/drawing/2014/main" id="{1B0B3D26-A6EF-4C0C-8EBF-9C3B2597D781}"/>
              </a:ext>
            </a:extLst>
          </p:cNvPr>
          <p:cNvSpPr>
            <a:spLocks noGrp="1" noChangeArrowheads="1"/>
          </p:cNvSpPr>
          <p:nvPr>
            <p:custDataLst>
              <p:tags r:id="rId19"/>
            </p:custDataLst>
          </p:nvPr>
        </p:nvSpPr>
        <p:spPr bwMode="auto">
          <a:xfrm>
            <a:off x="10047288" y="3098800"/>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17AD83BA-B4AD-4BB0-8D4B-116AF9F4F320}" type="datetime'3''0''-''''''''''''''''''''''''''''''3''''''''''''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B06EC417-03C3-4BCA-AA26-92DF7DA8F092}"/>
              </a:ext>
            </a:extLst>
          </p:cNvPr>
          <p:cNvSpPr>
            <a:spLocks noGrp="1" noChangeArrowheads="1"/>
          </p:cNvSpPr>
          <p:nvPr>
            <p:custDataLst>
              <p:tags r:id="rId20"/>
            </p:custDataLst>
          </p:nvPr>
        </p:nvSpPr>
        <p:spPr bwMode="auto">
          <a:xfrm>
            <a:off x="11026775" y="3098800"/>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F7F79B5B-5F0C-4CA1-A7EA-BFC33818A18A}" type="datetime'''''''''''''''''''''4''''''''''''''0''''''''''-4''''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A650E609-068C-42D5-ACE2-3B92C33F869A}"/>
              </a:ext>
            </a:extLst>
          </p:cNvPr>
          <p:cNvSpPr>
            <a:spLocks noGrp="1" noChangeArrowheads="1"/>
          </p:cNvSpPr>
          <p:nvPr>
            <p:custDataLst>
              <p:tags r:id="rId21"/>
            </p:custDataLst>
          </p:nvPr>
        </p:nvSpPr>
        <p:spPr bwMode="auto">
          <a:xfrm>
            <a:off x="9558338" y="3098800"/>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25F7F70-70E8-45F8-A894-A68CF27846A6}"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2" name="Rectangle 31">
            <a:extLst>
              <a:ext uri="{FF2B5EF4-FFF2-40B4-BE49-F238E27FC236}">
                <a16:creationId xmlns:a16="http://schemas.microsoft.com/office/drawing/2014/main" id="{9156A7B4-5BCB-49AC-93DC-8945CFD57919}"/>
              </a:ext>
            </a:extLst>
          </p:cNvPr>
          <p:cNvSpPr>
            <a:spLocks noGrp="1" noChangeArrowheads="1"/>
          </p:cNvSpPr>
          <p:nvPr>
            <p:custDataLst>
              <p:tags r:id="rId22"/>
            </p:custDataLst>
          </p:nvPr>
        </p:nvSpPr>
        <p:spPr bwMode="auto">
          <a:xfrm>
            <a:off x="8580438" y="3098800"/>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6899D13C-7440-4318-B51C-32DA35A4E7D6}" type="datetime'''''''''''1''''''''''''5''-''''''''''''''''''''1''''''''9'''">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4" name="Rectangle 33">
            <a:extLst>
              <a:ext uri="{FF2B5EF4-FFF2-40B4-BE49-F238E27FC236}">
                <a16:creationId xmlns:a16="http://schemas.microsoft.com/office/drawing/2014/main" id="{7E44278F-3672-4138-A442-944532FF01E5}"/>
              </a:ext>
            </a:extLst>
          </p:cNvPr>
          <p:cNvSpPr>
            <a:spLocks noGrp="1" noChangeArrowheads="1"/>
          </p:cNvSpPr>
          <p:nvPr>
            <p:custDataLst>
              <p:tags r:id="rId23"/>
            </p:custDataLst>
          </p:nvPr>
        </p:nvSpPr>
        <p:spPr bwMode="auto">
          <a:xfrm>
            <a:off x="9069388" y="3098800"/>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613935-2140-4522-B113-2444460B6949}" type="datetime'''''''''''''''2''''''''''''''''0''''''''''''''-''''''''''2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57" name="Chart 56">
            <a:extLst>
              <a:ext uri="{FF2B5EF4-FFF2-40B4-BE49-F238E27FC236}">
                <a16:creationId xmlns:a16="http://schemas.microsoft.com/office/drawing/2014/main" id="{9A1248E8-4653-BEEB-774D-14D248729ECA}"/>
              </a:ext>
            </a:extLst>
          </p:cNvPr>
          <p:cNvGraphicFramePr/>
          <p:nvPr>
            <p:custDataLst>
              <p:tags r:id="rId24"/>
            </p:custDataLst>
          </p:nvPr>
        </p:nvGraphicFramePr>
        <p:xfrm>
          <a:off x="1039813" y="2038350"/>
          <a:ext cx="3009900" cy="3619500"/>
        </p:xfrm>
        <a:graphic>
          <a:graphicData uri="http://schemas.openxmlformats.org/drawingml/2006/chart">
            <c:chart xmlns:c="http://schemas.openxmlformats.org/drawingml/2006/chart" xmlns:r="http://schemas.openxmlformats.org/officeDocument/2006/relationships" r:id="rId43"/>
          </a:graphicData>
        </a:graphic>
      </p:graphicFrame>
      <p:sp>
        <p:nvSpPr>
          <p:cNvPr id="44" name="Rectangle 43">
            <a:extLst>
              <a:ext uri="{FF2B5EF4-FFF2-40B4-BE49-F238E27FC236}">
                <a16:creationId xmlns:a16="http://schemas.microsoft.com/office/drawing/2014/main" id="{E6836CB6-DFF1-411A-9261-5FFCCE300ADF}"/>
              </a:ext>
            </a:extLst>
          </p:cNvPr>
          <p:cNvSpPr>
            <a:spLocks noGrp="1" noChangeArrowheads="1"/>
          </p:cNvSpPr>
          <p:nvPr>
            <p:custDataLst>
              <p:tags r:id="rId25"/>
            </p:custDataLst>
          </p:nvPr>
        </p:nvSpPr>
        <p:spPr bwMode="auto">
          <a:xfrm>
            <a:off x="293688" y="2814638"/>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B0E9186B-CF50-4380-B0DC-9EC3E5B63D5B}"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3" name="Rectangle 42">
            <a:extLst>
              <a:ext uri="{FF2B5EF4-FFF2-40B4-BE49-F238E27FC236}">
                <a16:creationId xmlns:a16="http://schemas.microsoft.com/office/drawing/2014/main" id="{6A5F2BD7-F7BA-499B-BE1A-36B62F9CCE99}"/>
              </a:ext>
            </a:extLst>
          </p:cNvPr>
          <p:cNvSpPr>
            <a:spLocks noGrp="1" noChangeArrowheads="1"/>
          </p:cNvSpPr>
          <p:nvPr>
            <p:custDataLst>
              <p:tags r:id="rId26"/>
            </p:custDataLst>
          </p:nvPr>
        </p:nvSpPr>
        <p:spPr bwMode="auto">
          <a:xfrm>
            <a:off x="250825" y="2324100"/>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E18F9159-C96F-496B-B998-CECA05EA098B}"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1216FF70-3C3C-4AD7-BA73-70424B61EA5E}"/>
              </a:ext>
            </a:extLst>
          </p:cNvPr>
          <p:cNvSpPr>
            <a:spLocks noGrp="1" noChangeArrowheads="1"/>
          </p:cNvSpPr>
          <p:nvPr>
            <p:custDataLst>
              <p:tags r:id="rId27"/>
            </p:custDataLst>
          </p:nvPr>
        </p:nvSpPr>
        <p:spPr bwMode="auto">
          <a:xfrm>
            <a:off x="428625" y="3390900"/>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6AF46E8-1079-4458-883B-E25FC7E7BEC4}"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2" name="Rectangle 41">
            <a:extLst>
              <a:ext uri="{FF2B5EF4-FFF2-40B4-BE49-F238E27FC236}">
                <a16:creationId xmlns:a16="http://schemas.microsoft.com/office/drawing/2014/main" id="{16519E32-69DD-4C41-955E-7B50A3F93743}"/>
              </a:ext>
            </a:extLst>
          </p:cNvPr>
          <p:cNvSpPr>
            <a:spLocks noGrp="1" noChangeArrowheads="1"/>
          </p:cNvSpPr>
          <p:nvPr>
            <p:custDataLst>
              <p:tags r:id="rId28"/>
            </p:custDataLst>
          </p:nvPr>
        </p:nvSpPr>
        <p:spPr bwMode="auto">
          <a:xfrm>
            <a:off x="360363" y="3967163"/>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F46CA8D5-40C2-48EA-B94B-BFF997AE0B3C}"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5" name="Rectangle 44">
            <a:extLst>
              <a:ext uri="{FF2B5EF4-FFF2-40B4-BE49-F238E27FC236}">
                <a16:creationId xmlns:a16="http://schemas.microsoft.com/office/drawing/2014/main" id="{7CB51EAF-BD8D-4DC8-A0F0-B9E694A0D7E5}"/>
              </a:ext>
            </a:extLst>
          </p:cNvPr>
          <p:cNvSpPr>
            <a:spLocks noGrp="1" noChangeArrowheads="1"/>
          </p:cNvSpPr>
          <p:nvPr>
            <p:custDataLst>
              <p:tags r:id="rId29"/>
            </p:custDataLst>
          </p:nvPr>
        </p:nvSpPr>
        <p:spPr bwMode="auto">
          <a:xfrm>
            <a:off x="428625" y="4541838"/>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3168B17-91E4-49E7-8B9F-FD3F42968CA2}"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2B02FC87-0D58-45CE-A929-D2AD12AE215A}"/>
              </a:ext>
            </a:extLst>
          </p:cNvPr>
          <p:cNvSpPr>
            <a:spLocks noGrp="1" noChangeArrowheads="1"/>
          </p:cNvSpPr>
          <p:nvPr>
            <p:custDataLst>
              <p:tags r:id="rId30"/>
            </p:custDataLst>
          </p:nvPr>
        </p:nvSpPr>
        <p:spPr bwMode="auto">
          <a:xfrm>
            <a:off x="646113" y="5202238"/>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95B8A2D4-AA82-40C4-A278-0DA8DDA541C8}"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8" name="Rectangle 47">
            <a:extLst>
              <a:ext uri="{FF2B5EF4-FFF2-40B4-BE49-F238E27FC236}">
                <a16:creationId xmlns:a16="http://schemas.microsoft.com/office/drawing/2014/main" id="{E40D542C-AE5A-4A1F-8BCD-8EC6540C6727}"/>
              </a:ext>
            </a:extLst>
          </p:cNvPr>
          <p:cNvSpPr/>
          <p:nvPr/>
        </p:nvSpPr>
        <p:spPr bwMode="auto">
          <a:xfrm>
            <a:off x="-9488" y="31205"/>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Skilled birth attendance</a:t>
            </a:r>
          </a:p>
        </p:txBody>
      </p:sp>
      <p:sp>
        <p:nvSpPr>
          <p:cNvPr id="49" name="Title 1">
            <a:extLst>
              <a:ext uri="{FF2B5EF4-FFF2-40B4-BE49-F238E27FC236}">
                <a16:creationId xmlns:a16="http://schemas.microsoft.com/office/drawing/2014/main" id="{AAD97E64-A5B7-4E86-90AD-169FE52F427D}"/>
              </a:ext>
            </a:extLst>
          </p:cNvPr>
          <p:cNvSpPr txBox="1">
            <a:spLocks/>
          </p:cNvSpPr>
          <p:nvPr/>
        </p:nvSpPr>
        <p:spPr>
          <a:xfrm>
            <a:off x="137832" y="230453"/>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More than half (58%) deliver with a SBAs; an important % (42%) of women with lower education and income deliver at home without a skilled professional</a:t>
            </a:r>
          </a:p>
        </p:txBody>
      </p:sp>
      <p:sp>
        <p:nvSpPr>
          <p:cNvPr id="58" name="Rectangle 57">
            <a:extLst>
              <a:ext uri="{FF2B5EF4-FFF2-40B4-BE49-F238E27FC236}">
                <a16:creationId xmlns:a16="http://schemas.microsoft.com/office/drawing/2014/main" id="{16EB7251-B027-8A7E-1FDE-722338101477}"/>
              </a:ext>
            </a:extLst>
          </p:cNvPr>
          <p:cNvSpPr/>
          <p:nvPr>
            <p:custDataLst>
              <p:tags r:id="rId31"/>
            </p:custDataLst>
          </p:nvPr>
        </p:nvSpPr>
        <p:spPr bwMode="auto">
          <a:xfrm>
            <a:off x="11212513" y="1254125"/>
            <a:ext cx="214313" cy="160338"/>
          </a:xfrm>
          <a:prstGeom prst="rect">
            <a:avLst/>
          </a:prstGeom>
          <a:solidFill>
            <a:srgbClr val="C2F1ED"/>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59" name="Rectangle 58">
            <a:extLst>
              <a:ext uri="{FF2B5EF4-FFF2-40B4-BE49-F238E27FC236}">
                <a16:creationId xmlns:a16="http://schemas.microsoft.com/office/drawing/2014/main" id="{20151AE1-C6F1-FD71-6B73-431D9E4BEA68}"/>
              </a:ext>
            </a:extLst>
          </p:cNvPr>
          <p:cNvSpPr/>
          <p:nvPr>
            <p:custDataLst>
              <p:tags r:id="rId32"/>
            </p:custDataLst>
          </p:nvPr>
        </p:nvSpPr>
        <p:spPr bwMode="auto">
          <a:xfrm>
            <a:off x="10044113" y="1254125"/>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41" name="Rectangle 40">
            <a:extLst>
              <a:ext uri="{FF2B5EF4-FFF2-40B4-BE49-F238E27FC236}">
                <a16:creationId xmlns:a16="http://schemas.microsoft.com/office/drawing/2014/main" id="{6110A35E-CC54-59BB-131E-5A9596371D2F}"/>
              </a:ext>
            </a:extLst>
          </p:cNvPr>
          <p:cNvSpPr/>
          <p:nvPr>
            <p:custDataLst>
              <p:tags r:id="rId33"/>
            </p:custDataLst>
          </p:nvPr>
        </p:nvSpPr>
        <p:spPr bwMode="auto">
          <a:xfrm>
            <a:off x="10309225" y="1249363"/>
            <a:ext cx="8016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32F877D9-7D47-4562-B2CF-F6BC381BAC4F}" type="datetime'Use''d'' ''''''''''''''''a''n ''''S''''''''BA'''''''''">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1219170" rtl="0" eaLnBrk="1" fontAlgn="auto" latinLnBrk="0" hangingPunct="1">
                <a:lnSpc>
                  <a:spcPct val="100000"/>
                </a:lnSpc>
                <a:spcBef>
                  <a:spcPct val="0"/>
                </a:spcBef>
                <a:spcAft>
                  <a:spcPct val="0"/>
                </a:spcAft>
                <a:buClrTx/>
                <a:buSzTx/>
                <a:buFontTx/>
                <a:buNone/>
                <a:tabLst/>
                <a:defRPr/>
              </a:pPr>
              <a:t>Used an SBA</a:t>
            </a:fld>
            <a:endParaRPr kumimoji="0" lang="en-GB" sz="12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56" name="Rectangle 55">
            <a:extLst>
              <a:ext uri="{FF2B5EF4-FFF2-40B4-BE49-F238E27FC236}">
                <a16:creationId xmlns:a16="http://schemas.microsoft.com/office/drawing/2014/main" id="{9FAC8A72-C0C2-8DDF-759A-2FAB4A207A7A}"/>
              </a:ext>
            </a:extLst>
          </p:cNvPr>
          <p:cNvSpPr/>
          <p:nvPr>
            <p:custDataLst>
              <p:tags r:id="rId34"/>
            </p:custDataLst>
          </p:nvPr>
        </p:nvSpPr>
        <p:spPr bwMode="auto">
          <a:xfrm>
            <a:off x="11477625" y="1249363"/>
            <a:ext cx="50323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3A068DA0-AF88-4F6E-A46F-EE8AA1D0EEC5}" type="datetime'''N''''o ''''''''''''''S''''''''''''''''''''''B''''''A'''''''">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1219170" rtl="0" eaLnBrk="1" fontAlgn="auto" latinLnBrk="0" hangingPunct="1">
                <a:lnSpc>
                  <a:spcPct val="100000"/>
                </a:lnSpc>
                <a:spcBef>
                  <a:spcPct val="0"/>
                </a:spcBef>
                <a:spcAft>
                  <a:spcPct val="0"/>
                </a:spcAft>
                <a:buClrTx/>
                <a:buSzTx/>
                <a:buFontTx/>
                <a:buNone/>
                <a:tabLst/>
                <a:defRPr/>
              </a:pPr>
              <a:t>No SBA</a:t>
            </a:fld>
            <a:endParaRPr kumimoji="0" lang="en-GB" sz="12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995155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98" imgH="499" progId="TCLayout.ActiveDocument.1">
                  <p:embed/>
                </p:oleObj>
              </mc:Choice>
              <mc:Fallback>
                <p:oleObj name="think-cell Slide" r:id="rId36"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DE068A6B-0517-4C53-A69E-D8BCD8B262EC}"/>
              </a:ext>
            </a:extLst>
          </p:cNvPr>
          <p:cNvCxnSpPr>
            <a:cxnSpLocks/>
          </p:cNvCxnSpPr>
          <p:nvPr/>
        </p:nvCxnSpPr>
        <p:spPr>
          <a:xfrm>
            <a:off x="0" y="6582124"/>
            <a:ext cx="12198096" cy="0"/>
          </a:xfrm>
          <a:prstGeom prst="line">
            <a:avLst/>
          </a:prstGeom>
          <a:noFill/>
          <a:ln w="9525" cap="flat" cmpd="sng" algn="ctr">
            <a:solidFill>
              <a:schemeClr val="accent5">
                <a:lumMod val="25000"/>
              </a:schemeClr>
            </a:solidFill>
            <a:prstDash val="solid"/>
          </a:ln>
          <a:effectLst/>
        </p:spPr>
      </p:cxnSp>
      <p:sp>
        <p:nvSpPr>
          <p:cNvPr id="6" name="TextBox 5">
            <a:extLst>
              <a:ext uri="{FF2B5EF4-FFF2-40B4-BE49-F238E27FC236}">
                <a16:creationId xmlns:a16="http://schemas.microsoft.com/office/drawing/2014/main" id="{4210FE09-06AD-4E18-9FA6-44E29568758C}"/>
              </a:ext>
            </a:extLst>
          </p:cNvPr>
          <p:cNvSpPr txBox="1"/>
          <p:nvPr/>
        </p:nvSpPr>
        <p:spPr>
          <a:xfrm>
            <a:off x="86043" y="6546035"/>
            <a:ext cx="11521440"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NDHS 2018 Secondary Data Analysis	 a. Using 5% as proportion of pregnant women in the state, 36% PNC penetration rate	2. </a:t>
            </a:r>
            <a:r>
              <a:rPr kumimoji="0" lang="en-US" sz="20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38"/>
              </a:rPr>
              <a:t> </a:t>
            </a:r>
            <a:r>
              <a:rPr kumimoji="0" lang="en-US" sz="900" b="0" i="0" u="sng" strike="noStrike" kern="1200" cap="none" spc="0" normalizeH="0" baseline="0" noProof="0" dirty="0">
                <a:ln>
                  <a:noFill/>
                </a:ln>
                <a:solidFill>
                  <a:srgbClr val="0563C1"/>
                </a:solidFill>
                <a:effectLst/>
                <a:uLnTx/>
                <a:uFillTx/>
                <a:latin typeface="Gill Sans MT" panose="020B0502020104020203"/>
                <a:ea typeface="+mn-ea"/>
                <a:cs typeface="+mn-cs"/>
                <a:hlinkClick r:id="rId38"/>
              </a:rPr>
              <a:t>https://citypopulation.de/en/nigeria/admin</a:t>
            </a: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a:t>
            </a:r>
          </a:p>
        </p:txBody>
      </p:sp>
      <p:sp>
        <p:nvSpPr>
          <p:cNvPr id="8" name="Rectangle 7">
            <a:extLst>
              <a:ext uri="{FF2B5EF4-FFF2-40B4-BE49-F238E27FC236}">
                <a16:creationId xmlns:a16="http://schemas.microsoft.com/office/drawing/2014/main" id="{B6BC5DEC-B622-41A4-9E41-33873CC8A773}"/>
              </a:ext>
            </a:extLst>
          </p:cNvPr>
          <p:cNvSpPr/>
          <p:nvPr/>
        </p:nvSpPr>
        <p:spPr bwMode="auto">
          <a:xfrm>
            <a:off x="75529" y="1536700"/>
            <a:ext cx="11978640" cy="4102100"/>
          </a:xfrm>
          <a:prstGeom prst="rect">
            <a:avLst/>
          </a:prstGeom>
          <a:noFill/>
          <a:ln>
            <a:solidFill>
              <a:schemeClr val="tx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9" name="Rectangle 8">
            <a:extLst>
              <a:ext uri="{FF2B5EF4-FFF2-40B4-BE49-F238E27FC236}">
                <a16:creationId xmlns:a16="http://schemas.microsoft.com/office/drawing/2014/main" id="{6143C80A-A153-45EA-BC3F-B9BC618BA92F}"/>
              </a:ext>
            </a:extLst>
          </p:cNvPr>
          <p:cNvSpPr/>
          <p:nvPr/>
        </p:nvSpPr>
        <p:spPr bwMode="auto">
          <a:xfrm>
            <a:off x="75528" y="1174750"/>
            <a:ext cx="11978640" cy="366713"/>
          </a:xfrm>
          <a:prstGeom prst="rect">
            <a:avLst/>
          </a:prstGeom>
          <a:gradFill>
            <a:gsLst>
              <a:gs pos="0">
                <a:srgbClr val="78AEAC"/>
              </a:gs>
              <a:gs pos="65000">
                <a:srgbClr val="4AA19E">
                  <a:tint val="44500"/>
                  <a:satMod val="160000"/>
                </a:srgbClr>
              </a:gs>
              <a:gs pos="100000">
                <a:srgbClr val="4AA19E">
                  <a:tint val="23500"/>
                  <a:satMod val="160000"/>
                </a:srgbClr>
              </a:gs>
            </a:gsLst>
            <a:lin ang="0" scaled="1"/>
          </a:gra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roportion of newborns who received PNC within 2 days of birth (</a:t>
            </a: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D7D312E2-998D-4110-B0A2-4BB392A01321}"/>
              </a:ext>
            </a:extLst>
          </p:cNvPr>
          <p:cNvCxnSpPr>
            <a:cxnSpLocks/>
          </p:cNvCxnSpPr>
          <p:nvPr/>
        </p:nvCxnSpPr>
        <p:spPr>
          <a:xfrm flipV="1">
            <a:off x="4823664" y="1563688"/>
            <a:ext cx="0" cy="4022725"/>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7D67250-DB94-43F2-A57F-111C98FCB66D}"/>
              </a:ext>
            </a:extLst>
          </p:cNvPr>
          <p:cNvSpPr/>
          <p:nvPr/>
        </p:nvSpPr>
        <p:spPr bwMode="auto">
          <a:xfrm>
            <a:off x="4919916" y="3611563"/>
            <a:ext cx="4318753" cy="282575"/>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ercentage who received PNC (wealth quintile)</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6EF6DA1B-589F-4070-ACE0-AEF9FB7FCCB4}"/>
              </a:ext>
            </a:extLst>
          </p:cNvPr>
          <p:cNvCxnSpPr>
            <a:cxnSpLocks/>
            <a:stCxn id="8" idx="3"/>
          </p:cNvCxnSpPr>
          <p:nvPr/>
        </p:nvCxnSpPr>
        <p:spPr>
          <a:xfrm flipH="1" flipV="1">
            <a:off x="4859338" y="3568700"/>
            <a:ext cx="7194831" cy="1905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1B0992C-E136-400D-B3C7-9043129FAEFE}"/>
              </a:ext>
            </a:extLst>
          </p:cNvPr>
          <p:cNvSpPr/>
          <p:nvPr/>
        </p:nvSpPr>
        <p:spPr bwMode="auto">
          <a:xfrm>
            <a:off x="107431" y="1592263"/>
            <a:ext cx="4283439"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NC by educational levels</a:t>
            </a:r>
            <a:endParaRPr kumimoji="0" lang="en-US" sz="1400" b="1" i="1"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4" name="Rectangle 13">
            <a:extLst>
              <a:ext uri="{FF2B5EF4-FFF2-40B4-BE49-F238E27FC236}">
                <a16:creationId xmlns:a16="http://schemas.microsoft.com/office/drawing/2014/main" id="{E34BFDAB-AC8F-4C26-99BA-D7B14AE2D03A}"/>
              </a:ext>
            </a:extLst>
          </p:cNvPr>
          <p:cNvSpPr>
            <a:spLocks noGrp="1" noChangeArrowheads="1"/>
          </p:cNvSpPr>
          <p:nvPr>
            <p:custDataLst>
              <p:tags r:id="rId2"/>
            </p:custDataLst>
          </p:nvPr>
        </p:nvSpPr>
        <p:spPr bwMode="auto">
          <a:xfrm>
            <a:off x="3967163" y="2306638"/>
            <a:ext cx="652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5" name="Rectangle 14">
            <a:extLst>
              <a:ext uri="{FF2B5EF4-FFF2-40B4-BE49-F238E27FC236}">
                <a16:creationId xmlns:a16="http://schemas.microsoft.com/office/drawing/2014/main" id="{7B1D5B4A-96E9-48F5-B826-1C1EC4E50DB6}"/>
              </a:ext>
            </a:extLst>
          </p:cNvPr>
          <p:cNvSpPr/>
          <p:nvPr/>
        </p:nvSpPr>
        <p:spPr bwMode="auto">
          <a:xfrm>
            <a:off x="4919917" y="1592263"/>
            <a:ext cx="3094606" cy="455612"/>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ercentage who received PNC by geographical location</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graphicFrame>
        <p:nvGraphicFramePr>
          <p:cNvPr id="50" name="Chart 49">
            <a:extLst>
              <a:ext uri="{FF2B5EF4-FFF2-40B4-BE49-F238E27FC236}">
                <a16:creationId xmlns:a16="http://schemas.microsoft.com/office/drawing/2014/main" id="{D57D7482-1149-4C20-8605-A5C6C4064007}"/>
              </a:ext>
            </a:extLst>
          </p:cNvPr>
          <p:cNvGraphicFramePr/>
          <p:nvPr>
            <p:custDataLst>
              <p:tags r:id="rId3"/>
            </p:custDataLst>
          </p:nvPr>
        </p:nvGraphicFramePr>
        <p:xfrm>
          <a:off x="4859338" y="3940175"/>
          <a:ext cx="7078662" cy="1485900"/>
        </p:xfrm>
        <a:graphic>
          <a:graphicData uri="http://schemas.openxmlformats.org/drawingml/2006/chart">
            <c:chart xmlns:c="http://schemas.openxmlformats.org/drawingml/2006/chart" xmlns:r="http://schemas.openxmlformats.org/officeDocument/2006/relationships" r:id="rId39"/>
          </a:graphicData>
        </a:graphic>
      </p:graphicFrame>
      <p:sp>
        <p:nvSpPr>
          <p:cNvPr id="19" name="Rectangle 18">
            <a:extLst>
              <a:ext uri="{FF2B5EF4-FFF2-40B4-BE49-F238E27FC236}">
                <a16:creationId xmlns:a16="http://schemas.microsoft.com/office/drawing/2014/main" id="{9F5A4415-3CF0-4C20-BB9E-A8F2DBDA62AE}"/>
              </a:ext>
            </a:extLst>
          </p:cNvPr>
          <p:cNvSpPr>
            <a:spLocks noGrp="1" noChangeArrowheads="1"/>
          </p:cNvSpPr>
          <p:nvPr>
            <p:custDataLst>
              <p:tags r:id="rId4"/>
            </p:custDataLst>
          </p:nvPr>
        </p:nvSpPr>
        <p:spPr bwMode="auto">
          <a:xfrm>
            <a:off x="8185150" y="5394325"/>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72FF4931-06CF-43AB-A46B-0D3D6F2EF2FC}" type="datetime'M''''''''''i''''''d''''''''''''''''''''''dl''''''''e'">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Middle</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0" name="Rectangle 19">
            <a:extLst>
              <a:ext uri="{FF2B5EF4-FFF2-40B4-BE49-F238E27FC236}">
                <a16:creationId xmlns:a16="http://schemas.microsoft.com/office/drawing/2014/main" id="{CEDC0E70-E2B2-430F-99E8-738F873D99C8}"/>
              </a:ext>
            </a:extLst>
          </p:cNvPr>
          <p:cNvSpPr>
            <a:spLocks noGrp="1" noChangeArrowheads="1"/>
          </p:cNvSpPr>
          <p:nvPr>
            <p:custDataLst>
              <p:tags r:id="rId5"/>
            </p:custDataLst>
          </p:nvPr>
        </p:nvSpPr>
        <p:spPr bwMode="auto">
          <a:xfrm>
            <a:off x="5400675" y="5394325"/>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43A1605-002D-4232-9CF2-6D676B40E7D6}" type="datetime'''''''''''''L''o''w''''''''''''''''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st</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1" name="Rectangle 20">
            <a:extLst>
              <a:ext uri="{FF2B5EF4-FFF2-40B4-BE49-F238E27FC236}">
                <a16:creationId xmlns:a16="http://schemas.microsoft.com/office/drawing/2014/main" id="{9D062F3C-F917-4015-8C06-F8CDB731B3B4}"/>
              </a:ext>
            </a:extLst>
          </p:cNvPr>
          <p:cNvSpPr>
            <a:spLocks noGrp="1" noChangeArrowheads="1"/>
          </p:cNvSpPr>
          <p:nvPr>
            <p:custDataLst>
              <p:tags r:id="rId6"/>
            </p:custDataLst>
          </p:nvPr>
        </p:nvSpPr>
        <p:spPr bwMode="auto">
          <a:xfrm>
            <a:off x="9564688" y="5394325"/>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B037010-2344-41A7-9ADF-A50F1C7B940E}" type="datetime'Hi''''''''g''''''''''''''h''''''''er'''''''''''''''">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r</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18" name="Rectangle 17">
            <a:extLst>
              <a:ext uri="{FF2B5EF4-FFF2-40B4-BE49-F238E27FC236}">
                <a16:creationId xmlns:a16="http://schemas.microsoft.com/office/drawing/2014/main" id="{4641420B-C11E-4180-A31B-811E6CE93460}"/>
              </a:ext>
            </a:extLst>
          </p:cNvPr>
          <p:cNvSpPr>
            <a:spLocks noGrp="1" noChangeArrowheads="1"/>
          </p:cNvSpPr>
          <p:nvPr>
            <p:custDataLst>
              <p:tags r:id="rId7"/>
            </p:custDataLst>
          </p:nvPr>
        </p:nvSpPr>
        <p:spPr bwMode="auto">
          <a:xfrm>
            <a:off x="6808788" y="5394325"/>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E374974B-2327-48C0-9639-F6B192D14F35}" type="datetime'''''''L''o''''''we''''''''''''''''''''''''''''r'''''">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Lower</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7" name="Rectangle 16">
            <a:extLst>
              <a:ext uri="{FF2B5EF4-FFF2-40B4-BE49-F238E27FC236}">
                <a16:creationId xmlns:a16="http://schemas.microsoft.com/office/drawing/2014/main" id="{2D41D1C8-0EEB-455B-9AA7-BA4CE3A69C20}"/>
              </a:ext>
            </a:extLst>
          </p:cNvPr>
          <p:cNvSpPr>
            <a:spLocks noGrp="1" noChangeArrowheads="1"/>
          </p:cNvSpPr>
          <p:nvPr>
            <p:custDataLst>
              <p:tags r:id="rId8"/>
            </p:custDataLst>
          </p:nvPr>
        </p:nvSpPr>
        <p:spPr bwMode="auto">
          <a:xfrm>
            <a:off x="10923589" y="5394325"/>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2BE3312E-2E1D-422B-9801-4A2485B642CC}" type="datetime'H''i''''''''''g''''h''''''''''''''''''''''''''''e''''s''t'">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Highest</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cxnSp>
        <p:nvCxnSpPr>
          <p:cNvPr id="22" name="Straight Connector 21">
            <a:extLst>
              <a:ext uri="{FF2B5EF4-FFF2-40B4-BE49-F238E27FC236}">
                <a16:creationId xmlns:a16="http://schemas.microsoft.com/office/drawing/2014/main" id="{AC4FC6B7-B691-42CB-A63F-3E5BDE1444AD}"/>
              </a:ext>
            </a:extLst>
          </p:cNvPr>
          <p:cNvCxnSpPr>
            <a:cxnSpLocks/>
          </p:cNvCxnSpPr>
          <p:nvPr/>
        </p:nvCxnSpPr>
        <p:spPr>
          <a:xfrm flipV="1">
            <a:off x="8050196" y="1570787"/>
            <a:ext cx="0" cy="2011680"/>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51" name="Chart 50">
            <a:extLst>
              <a:ext uri="{FF2B5EF4-FFF2-40B4-BE49-F238E27FC236}">
                <a16:creationId xmlns:a16="http://schemas.microsoft.com/office/drawing/2014/main" id="{71F14B50-85E3-46DD-8CEB-68E127021DA6}"/>
              </a:ext>
            </a:extLst>
          </p:cNvPr>
          <p:cNvGraphicFramePr/>
          <p:nvPr>
            <p:custDataLst>
              <p:tags r:id="rId9"/>
            </p:custDataLst>
          </p:nvPr>
        </p:nvGraphicFramePr>
        <p:xfrm>
          <a:off x="7993063" y="2038350"/>
          <a:ext cx="4124325" cy="1350963"/>
        </p:xfrm>
        <a:graphic>
          <a:graphicData uri="http://schemas.openxmlformats.org/drawingml/2006/chart">
            <c:chart xmlns:c="http://schemas.openxmlformats.org/drawingml/2006/chart" xmlns:r="http://schemas.openxmlformats.org/officeDocument/2006/relationships" r:id="rId40"/>
          </a:graphicData>
        </a:graphic>
      </p:graphicFrame>
      <p:sp>
        <p:nvSpPr>
          <p:cNvPr id="27" name="Rectangle 26">
            <a:extLst>
              <a:ext uri="{FF2B5EF4-FFF2-40B4-BE49-F238E27FC236}">
                <a16:creationId xmlns:a16="http://schemas.microsoft.com/office/drawing/2014/main" id="{83F0A52F-8B0D-4EBE-B021-D622403022E4}"/>
              </a:ext>
            </a:extLst>
          </p:cNvPr>
          <p:cNvSpPr>
            <a:spLocks noGrp="1" noChangeArrowheads="1"/>
          </p:cNvSpPr>
          <p:nvPr>
            <p:custDataLst>
              <p:tags r:id="rId10"/>
            </p:custDataLst>
          </p:nvPr>
        </p:nvSpPr>
        <p:spPr bwMode="auto">
          <a:xfrm>
            <a:off x="9872664" y="335756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DC6334F-17FF-43D0-8C9D-540A525D418E}" type="datetime'''''''''''''''''''''''''3''''0''-''''''3''''''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0-3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5" name="Rectangle 24">
            <a:extLst>
              <a:ext uri="{FF2B5EF4-FFF2-40B4-BE49-F238E27FC236}">
                <a16:creationId xmlns:a16="http://schemas.microsoft.com/office/drawing/2014/main" id="{68E59A4C-F750-45BF-9007-DF41EE83CDBC}"/>
              </a:ext>
            </a:extLst>
          </p:cNvPr>
          <p:cNvSpPr>
            <a:spLocks noGrp="1" noChangeArrowheads="1"/>
          </p:cNvSpPr>
          <p:nvPr>
            <p:custDataLst>
              <p:tags r:id="rId11"/>
            </p:custDataLst>
          </p:nvPr>
        </p:nvSpPr>
        <p:spPr bwMode="auto">
          <a:xfrm>
            <a:off x="11569701" y="335756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755227F3-660B-4B93-871C-2C6F235F4614}" type="datetime'''45''''''-''''''''''''''''''''''''''''4''''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5-4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4" name="Rectangle 23">
            <a:extLst>
              <a:ext uri="{FF2B5EF4-FFF2-40B4-BE49-F238E27FC236}">
                <a16:creationId xmlns:a16="http://schemas.microsoft.com/office/drawing/2014/main" id="{A5A98F05-468D-4D5C-B219-B898556C407C}"/>
              </a:ext>
            </a:extLst>
          </p:cNvPr>
          <p:cNvSpPr>
            <a:spLocks noGrp="1" noChangeArrowheads="1"/>
          </p:cNvSpPr>
          <p:nvPr>
            <p:custDataLst>
              <p:tags r:id="rId12"/>
            </p:custDataLst>
          </p:nvPr>
        </p:nvSpPr>
        <p:spPr bwMode="auto">
          <a:xfrm>
            <a:off x="8175626" y="335756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28B20A32-B658-4A00-ACF5-E34AD05BFA6E}" type="datetime'''''15''''-''''''''''''''1''''''''''''''''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15-1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6" name="Rectangle 25">
            <a:extLst>
              <a:ext uri="{FF2B5EF4-FFF2-40B4-BE49-F238E27FC236}">
                <a16:creationId xmlns:a16="http://schemas.microsoft.com/office/drawing/2014/main" id="{7F6465DA-E0D2-4EC9-8E58-2511DF8C4B67}"/>
              </a:ext>
            </a:extLst>
          </p:cNvPr>
          <p:cNvSpPr>
            <a:spLocks noGrp="1" noChangeArrowheads="1"/>
          </p:cNvSpPr>
          <p:nvPr>
            <p:custDataLst>
              <p:tags r:id="rId13"/>
            </p:custDataLst>
          </p:nvPr>
        </p:nvSpPr>
        <p:spPr bwMode="auto">
          <a:xfrm>
            <a:off x="11002964" y="335756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3DC98EF3-6DF6-4C2D-8787-87AE55E493EC}" type="datetime'''''''''4''''''''''''''''''''''''''0''-''4''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40-4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9" name="Rectangle 28">
            <a:extLst>
              <a:ext uri="{FF2B5EF4-FFF2-40B4-BE49-F238E27FC236}">
                <a16:creationId xmlns:a16="http://schemas.microsoft.com/office/drawing/2014/main" id="{4788E7F0-640F-4CA5-99B7-153E4F053B59}"/>
              </a:ext>
            </a:extLst>
          </p:cNvPr>
          <p:cNvSpPr>
            <a:spLocks noGrp="1" noChangeArrowheads="1"/>
          </p:cNvSpPr>
          <p:nvPr>
            <p:custDataLst>
              <p:tags r:id="rId14"/>
            </p:custDataLst>
          </p:nvPr>
        </p:nvSpPr>
        <p:spPr bwMode="auto">
          <a:xfrm>
            <a:off x="9307514" y="335756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2B8D0678-F574-4A94-8726-A7B760F3D429}" type="datetime'''''''''''''''''2''''5''''''''''''''''''-''2''''''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5-2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28" name="Rectangle 27">
            <a:extLst>
              <a:ext uri="{FF2B5EF4-FFF2-40B4-BE49-F238E27FC236}">
                <a16:creationId xmlns:a16="http://schemas.microsoft.com/office/drawing/2014/main" id="{207588BC-3A7D-4386-8AD0-1D8463117003}"/>
              </a:ext>
            </a:extLst>
          </p:cNvPr>
          <p:cNvSpPr>
            <a:spLocks noGrp="1" noChangeArrowheads="1"/>
          </p:cNvSpPr>
          <p:nvPr>
            <p:custDataLst>
              <p:tags r:id="rId15"/>
            </p:custDataLst>
          </p:nvPr>
        </p:nvSpPr>
        <p:spPr bwMode="auto">
          <a:xfrm>
            <a:off x="8740776" y="335756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462612F7-935E-4728-8BA0-7E56E30693C1}" type="datetime'''''''''''2''''0-''''''''''''''''''''2''''4'''">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20-24</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0" name="Rectangle 29">
            <a:extLst>
              <a:ext uri="{FF2B5EF4-FFF2-40B4-BE49-F238E27FC236}">
                <a16:creationId xmlns:a16="http://schemas.microsoft.com/office/drawing/2014/main" id="{DDC8D349-F1F6-4EFE-B18B-540B51E11D94}"/>
              </a:ext>
            </a:extLst>
          </p:cNvPr>
          <p:cNvSpPr>
            <a:spLocks noGrp="1" noChangeArrowheads="1"/>
          </p:cNvSpPr>
          <p:nvPr>
            <p:custDataLst>
              <p:tags r:id="rId16"/>
            </p:custDataLst>
          </p:nvPr>
        </p:nvSpPr>
        <p:spPr bwMode="auto">
          <a:xfrm>
            <a:off x="10437814" y="3357563"/>
            <a:ext cx="3667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204024"/>
              </a:buClr>
              <a:buSzTx/>
              <a:buFontTx/>
              <a:buNone/>
              <a:tabLst/>
              <a:defRPr/>
            </a:pPr>
            <a:fld id="{71301798-62E9-4F5D-A099-F96F4410C809}" type="datetime'''''3''''5''''''-''''''''''''''''''''''''3''''''9'">
              <a:rPr kumimoji="0" lang="en-GB"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204024"/>
                </a:buClr>
                <a:buSzTx/>
                <a:buFontTx/>
                <a:buNone/>
                <a:tabLst/>
                <a:defRPr/>
              </a:pPr>
              <a:t>35-39</a:t>
            </a:fld>
            <a:endParaRPr kumimoji="0" lang="en-GB"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31" name="Rectangle 30">
            <a:extLst>
              <a:ext uri="{FF2B5EF4-FFF2-40B4-BE49-F238E27FC236}">
                <a16:creationId xmlns:a16="http://schemas.microsoft.com/office/drawing/2014/main" id="{4FF5A740-8A3F-4506-A665-B65CD0D7C9AB}"/>
              </a:ext>
            </a:extLst>
          </p:cNvPr>
          <p:cNvSpPr/>
          <p:nvPr/>
        </p:nvSpPr>
        <p:spPr bwMode="auto">
          <a:xfrm>
            <a:off x="8049663" y="1592263"/>
            <a:ext cx="3789362" cy="248957"/>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ercentage who received by age group</a:t>
            </a:r>
            <a:endParaRPr kumimoji="0" lang="en-US" sz="1400" b="1" i="1"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2" name="TextBox 31">
            <a:extLst>
              <a:ext uri="{FF2B5EF4-FFF2-40B4-BE49-F238E27FC236}">
                <a16:creationId xmlns:a16="http://schemas.microsoft.com/office/drawing/2014/main" id="{A23B4A00-F73B-40C0-851B-7918885F1815}"/>
              </a:ext>
            </a:extLst>
          </p:cNvPr>
          <p:cNvSpPr txBox="1"/>
          <p:nvPr/>
        </p:nvSpPr>
        <p:spPr>
          <a:xfrm>
            <a:off x="75529" y="5693704"/>
            <a:ext cx="11978636" cy="851672"/>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ajority of women do not receive PNC for the newborn within the first 2 months of delivery. This pattern is consistent across urban and the rural areas, potentially due to low delivery with an SBA in a facility and traditional custom for the family to provide care for newborns at home</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ore older women seek PNC, possibly because they have a better understanding of the benefits of timely PNC visits than women in lower age groups</a:t>
            </a:r>
          </a:p>
        </p:txBody>
      </p:sp>
      <p:sp>
        <p:nvSpPr>
          <p:cNvPr id="33" name="Rectangle 32">
            <a:extLst>
              <a:ext uri="{FF2B5EF4-FFF2-40B4-BE49-F238E27FC236}">
                <a16:creationId xmlns:a16="http://schemas.microsoft.com/office/drawing/2014/main" id="{9FC3B3FD-9032-4ADE-A72B-C6CE810C45A0}"/>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Postnatal care</a:t>
            </a:r>
          </a:p>
        </p:txBody>
      </p:sp>
      <p:sp>
        <p:nvSpPr>
          <p:cNvPr id="34" name="Title 1">
            <a:extLst>
              <a:ext uri="{FF2B5EF4-FFF2-40B4-BE49-F238E27FC236}">
                <a16:creationId xmlns:a16="http://schemas.microsoft.com/office/drawing/2014/main" id="{6A86FAED-1E4A-4838-A6E0-551A9881E94B}"/>
              </a:ext>
            </a:extLst>
          </p:cNvPr>
          <p:cNvSpPr txBox="1">
            <a:spLocks/>
          </p:cNvSpPr>
          <p:nvPr/>
        </p:nvSpPr>
        <p:spPr>
          <a:xfrm>
            <a:off x="215006" y="196175"/>
            <a:ext cx="11803303"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rPr>
              <a:t>There is also a significant decrease in PNC, related to fewer women receiving SBA delivery </a:t>
            </a:r>
          </a:p>
        </p:txBody>
      </p:sp>
      <p:graphicFrame>
        <p:nvGraphicFramePr>
          <p:cNvPr id="52" name="Chart 51">
            <a:extLst>
              <a:ext uri="{FF2B5EF4-FFF2-40B4-BE49-F238E27FC236}">
                <a16:creationId xmlns:a16="http://schemas.microsoft.com/office/drawing/2014/main" id="{1AE5D4ED-CF6B-4713-A21B-80FD331F4274}"/>
              </a:ext>
            </a:extLst>
          </p:cNvPr>
          <p:cNvGraphicFramePr/>
          <p:nvPr>
            <p:custDataLst>
              <p:tags r:id="rId17"/>
            </p:custDataLst>
          </p:nvPr>
        </p:nvGraphicFramePr>
        <p:xfrm>
          <a:off x="4959350" y="2038350"/>
          <a:ext cx="2781300" cy="1350963"/>
        </p:xfrm>
        <a:graphic>
          <a:graphicData uri="http://schemas.openxmlformats.org/drawingml/2006/chart">
            <c:chart xmlns:c="http://schemas.openxmlformats.org/drawingml/2006/chart" xmlns:r="http://schemas.openxmlformats.org/officeDocument/2006/relationships" r:id="rId41"/>
          </a:graphicData>
        </a:graphic>
      </p:graphicFrame>
      <p:sp>
        <p:nvSpPr>
          <p:cNvPr id="37" name="Rectangle 36">
            <a:extLst>
              <a:ext uri="{FF2B5EF4-FFF2-40B4-BE49-F238E27FC236}">
                <a16:creationId xmlns:a16="http://schemas.microsoft.com/office/drawing/2014/main" id="{B354066F-D7B4-471B-8E9E-AD0376D50C32}"/>
              </a:ext>
            </a:extLst>
          </p:cNvPr>
          <p:cNvSpPr>
            <a:spLocks noGrp="1" noChangeArrowheads="1"/>
          </p:cNvSpPr>
          <p:nvPr>
            <p:custDataLst>
              <p:tags r:id="rId18"/>
            </p:custDataLst>
          </p:nvPr>
        </p:nvSpPr>
        <p:spPr bwMode="auto">
          <a:xfrm>
            <a:off x="6834188" y="3357563"/>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1984C6BF-2B9F-4CC7-9969-EED0AAD25BDD}" type="datetime'''''R''''u''''''r''''''''''''''''''''''''a''''''''''l'''''''">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Rural</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40" name="Rectangle 39">
            <a:extLst>
              <a:ext uri="{FF2B5EF4-FFF2-40B4-BE49-F238E27FC236}">
                <a16:creationId xmlns:a16="http://schemas.microsoft.com/office/drawing/2014/main" id="{60178D6D-8C4E-4742-8666-910DBF8C8F5E}"/>
              </a:ext>
            </a:extLst>
          </p:cNvPr>
          <p:cNvSpPr>
            <a:spLocks noGrp="1" noChangeArrowheads="1"/>
          </p:cNvSpPr>
          <p:nvPr>
            <p:custDataLst>
              <p:tags r:id="rId19"/>
            </p:custDataLst>
          </p:nvPr>
        </p:nvSpPr>
        <p:spPr bwMode="auto">
          <a:xfrm>
            <a:off x="5497513" y="3357563"/>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4B14ECA4-EB9C-44EF-B745-27EBC34048AB}" type="datetime'''U''''''''''''''''rb''a''''''''''''''''''''''''''''n'''''''">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Urban</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39" name="Rectangle 38">
            <a:extLst>
              <a:ext uri="{FF2B5EF4-FFF2-40B4-BE49-F238E27FC236}">
                <a16:creationId xmlns:a16="http://schemas.microsoft.com/office/drawing/2014/main" id="{A2D815A6-51A7-48D0-ACC4-C0E48BF81A04}"/>
              </a:ext>
            </a:extLst>
          </p:cNvPr>
          <p:cNvSpPr>
            <a:spLocks noGrp="1" noChangeArrowheads="1"/>
          </p:cNvSpPr>
          <p:nvPr>
            <p:custDataLst>
              <p:tags r:id="rId20"/>
            </p:custDataLst>
          </p:nvPr>
        </p:nvSpPr>
        <p:spPr bwMode="gray">
          <a:xfrm>
            <a:off x="5546725" y="3003550"/>
            <a:ext cx="300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B9DFB066-41C4-4CC1-B7EC-F9AF30F3FE07}" type="datetime'''''''''''3''''''''''''''''6''''''''''''%'''''''''''''''''">
              <a:rPr kumimoji="0" lang="en-GB" altLang="en-US" sz="1200" b="0"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36%</a:t>
            </a:fld>
            <a:endParaRPr kumimoji="0" lang="en-GB" sz="1200" b="0" i="0" u="none" strike="noStrike" kern="0" cap="none" spc="0" normalizeH="0" baseline="0" noProof="0" dirty="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36" name="Rectangle 35">
            <a:extLst>
              <a:ext uri="{FF2B5EF4-FFF2-40B4-BE49-F238E27FC236}">
                <a16:creationId xmlns:a16="http://schemas.microsoft.com/office/drawing/2014/main" id="{80795BFE-9278-4E74-B860-457B54676C32}"/>
              </a:ext>
            </a:extLst>
          </p:cNvPr>
          <p:cNvSpPr>
            <a:spLocks noGrp="1" noChangeArrowheads="1"/>
          </p:cNvSpPr>
          <p:nvPr>
            <p:custDataLst>
              <p:tags r:id="rId21"/>
            </p:custDataLst>
          </p:nvPr>
        </p:nvSpPr>
        <p:spPr bwMode="gray">
          <a:xfrm>
            <a:off x="6854825" y="2416175"/>
            <a:ext cx="300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CD209DFF-F72E-4E46-A22B-3FF71FE68335}" type="datetime'''6''''''''''''''''''5''''%'''''''''''''''''''''''''''''''''''">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65%</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41" name="Rectangle 40">
            <a:extLst>
              <a:ext uri="{FF2B5EF4-FFF2-40B4-BE49-F238E27FC236}">
                <a16:creationId xmlns:a16="http://schemas.microsoft.com/office/drawing/2014/main" id="{BD814A8A-543D-49A1-BDF4-CC5140F5FD27}"/>
              </a:ext>
            </a:extLst>
          </p:cNvPr>
          <p:cNvSpPr>
            <a:spLocks noGrp="1" noChangeArrowheads="1"/>
          </p:cNvSpPr>
          <p:nvPr>
            <p:custDataLst>
              <p:tags r:id="rId22"/>
            </p:custDataLst>
          </p:nvPr>
        </p:nvSpPr>
        <p:spPr bwMode="gray">
          <a:xfrm>
            <a:off x="6854825" y="3008313"/>
            <a:ext cx="300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1FDD73D5-7B59-4ABD-97F5-2B3DAA47B481}" type="datetime'''''''3''''''''''5''''''''''''''''''''%'''''''''''''">
              <a:rPr kumimoji="0" lang="en-GB" altLang="en-US" sz="1200" b="0" i="0" u="none" strike="noStrike" kern="0" cap="none" spc="0" normalizeH="0" baseline="0" noProof="0" smtClean="0">
                <a:ln>
                  <a:noFill/>
                </a:ln>
                <a:solidFill>
                  <a:srgbClr val="FFFFFF"/>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35%</a:t>
            </a:fld>
            <a:endParaRPr kumimoji="0" lang="en-GB" sz="1200" b="0" i="0" u="none" strike="noStrike" kern="0" cap="none" spc="0" normalizeH="0" baseline="0" noProof="0" dirty="0">
              <a:ln>
                <a:noFill/>
              </a:ln>
              <a:solidFill>
                <a:srgbClr val="FFFFFF"/>
              </a:solidFill>
              <a:effectLst/>
              <a:uLnTx/>
              <a:uFillTx/>
              <a:latin typeface="Gill Sans MT" panose="020B0502020104020203"/>
              <a:ea typeface="+mn-ea"/>
              <a:cs typeface="+mn-cs"/>
              <a:sym typeface="Arial" panose="020B0604020202020204" pitchFamily="34" charset="0"/>
            </a:endParaRPr>
          </a:p>
        </p:txBody>
      </p:sp>
      <p:sp>
        <p:nvSpPr>
          <p:cNvPr id="38" name="Rectangle 37">
            <a:extLst>
              <a:ext uri="{FF2B5EF4-FFF2-40B4-BE49-F238E27FC236}">
                <a16:creationId xmlns:a16="http://schemas.microsoft.com/office/drawing/2014/main" id="{1CE09DA7-8902-43EF-80D9-34E884633051}"/>
              </a:ext>
            </a:extLst>
          </p:cNvPr>
          <p:cNvSpPr>
            <a:spLocks noGrp="1" noChangeArrowheads="1"/>
          </p:cNvSpPr>
          <p:nvPr>
            <p:custDataLst>
              <p:tags r:id="rId23"/>
            </p:custDataLst>
          </p:nvPr>
        </p:nvSpPr>
        <p:spPr bwMode="gray">
          <a:xfrm>
            <a:off x="5546725" y="2413000"/>
            <a:ext cx="300038" cy="182563"/>
          </a:xfrm>
          <a:prstGeom prst="rect">
            <a:avLst/>
          </a:prstGeom>
          <a:noFill/>
          <a:ln w="9525">
            <a:noFill/>
            <a:miter lim="800000"/>
            <a:headEnd/>
            <a:tailEnd/>
          </a:ln>
          <a:effectLst/>
          <a:extLst>
            <a:ext uri="{909E8E84-426E-40DD-AFC4-6F175D3DCCD1}">
              <a14:hiddenFill xmlns:a14="http://schemas.microsoft.com/office/drawing/2010/main">
                <a:solidFill>
                  <a:srgbClr val="C2F1ED"/>
                </a:solidFill>
              </a14:hiddenFill>
            </a:ext>
          </a:extLst>
        </p:spPr>
        <p:txBody>
          <a:bodyPr vert="horz" wrap="none" lIns="22225" tIns="0" rIns="22225"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ctr" defTabSz="683785" rtl="0" eaLnBrk="1" fontAlgn="base" latinLnBrk="0" hangingPunct="1">
              <a:lnSpc>
                <a:spcPct val="100000"/>
              </a:lnSpc>
              <a:spcBef>
                <a:spcPct val="0"/>
              </a:spcBef>
              <a:spcAft>
                <a:spcPct val="0"/>
              </a:spcAft>
              <a:buClr>
                <a:srgbClr val="112E38"/>
              </a:buClr>
              <a:buSzTx/>
              <a:buFontTx/>
              <a:buNone/>
              <a:tabLst/>
              <a:defRPr/>
            </a:pPr>
            <a:fld id="{D3C86C5D-1C37-4B4D-A0A8-7C65B2D25D90}" type="datetime'''''6''''''''''''''''''''''''''''''''4''''''''''%'''''''">
              <a:rPr kumimoji="0" lang="en-GB"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683785" rtl="0" eaLnBrk="1" fontAlgn="base" latinLnBrk="0" hangingPunct="1">
                <a:lnSpc>
                  <a:spcPct val="100000"/>
                </a:lnSpc>
                <a:spcBef>
                  <a:spcPct val="0"/>
                </a:spcBef>
                <a:spcAft>
                  <a:spcPct val="0"/>
                </a:spcAft>
                <a:buClr>
                  <a:srgbClr val="112E38"/>
                </a:buClr>
                <a:buSzTx/>
                <a:buFontTx/>
                <a:buNone/>
                <a:tabLst/>
                <a:defRPr/>
              </a:pPr>
              <a:t>64%</a:t>
            </a:fld>
            <a:endParaRPr kumimoji="0" lang="en-GB"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graphicFrame>
        <p:nvGraphicFramePr>
          <p:cNvPr id="56" name="Chart 55">
            <a:extLst>
              <a:ext uri="{FF2B5EF4-FFF2-40B4-BE49-F238E27FC236}">
                <a16:creationId xmlns:a16="http://schemas.microsoft.com/office/drawing/2014/main" id="{8DD6B0D5-0EF3-52B8-CA10-1723553C3592}"/>
              </a:ext>
            </a:extLst>
          </p:cNvPr>
          <p:cNvGraphicFramePr/>
          <p:nvPr>
            <p:custDataLst>
              <p:tags r:id="rId24"/>
            </p:custDataLst>
          </p:nvPr>
        </p:nvGraphicFramePr>
        <p:xfrm>
          <a:off x="1095375" y="1843088"/>
          <a:ext cx="3511550" cy="3825875"/>
        </p:xfrm>
        <a:graphic>
          <a:graphicData uri="http://schemas.openxmlformats.org/drawingml/2006/chart">
            <c:chart xmlns:c="http://schemas.openxmlformats.org/drawingml/2006/chart" xmlns:r="http://schemas.openxmlformats.org/officeDocument/2006/relationships" r:id="rId42"/>
          </a:graphicData>
        </a:graphic>
      </p:graphicFrame>
      <p:sp>
        <p:nvSpPr>
          <p:cNvPr id="48" name="Rectangle 47">
            <a:extLst>
              <a:ext uri="{FF2B5EF4-FFF2-40B4-BE49-F238E27FC236}">
                <a16:creationId xmlns:a16="http://schemas.microsoft.com/office/drawing/2014/main" id="{846DC728-FE21-4C28-98E4-77F721E22EDB}"/>
              </a:ext>
            </a:extLst>
          </p:cNvPr>
          <p:cNvSpPr>
            <a:spLocks noGrp="1" noChangeArrowheads="1"/>
          </p:cNvSpPr>
          <p:nvPr>
            <p:custDataLst>
              <p:tags r:id="rId25"/>
            </p:custDataLst>
          </p:nvPr>
        </p:nvSpPr>
        <p:spPr bwMode="auto">
          <a:xfrm>
            <a:off x="701675" y="5197475"/>
            <a:ext cx="384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E56DF251-4DE8-4774-AA11-69453F08A1CF}" type="datetime'''''''''''''''''''''''''''''''''''H''''ig''h''''''''''e''''r'">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Higher</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3" name="Rectangle 42">
            <a:extLst>
              <a:ext uri="{FF2B5EF4-FFF2-40B4-BE49-F238E27FC236}">
                <a16:creationId xmlns:a16="http://schemas.microsoft.com/office/drawing/2014/main" id="{9D43CBE0-E211-404B-BBEC-EEBF6E5BE5BC}"/>
              </a:ext>
            </a:extLst>
          </p:cNvPr>
          <p:cNvSpPr>
            <a:spLocks noGrp="1" noChangeArrowheads="1"/>
          </p:cNvSpPr>
          <p:nvPr>
            <p:custDataLst>
              <p:tags r:id="rId26"/>
            </p:custDataLst>
          </p:nvPr>
        </p:nvSpPr>
        <p:spPr bwMode="auto">
          <a:xfrm>
            <a:off x="306388" y="2146300"/>
            <a:ext cx="7794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142D885C-E59C-4A68-B8CA-2FE904D70B71}" type="datetime'N''''''''o'''' ''e''du''ca''''''''''''t''''''''io''n'''">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No education</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4" name="Rectangle 43">
            <a:extLst>
              <a:ext uri="{FF2B5EF4-FFF2-40B4-BE49-F238E27FC236}">
                <a16:creationId xmlns:a16="http://schemas.microsoft.com/office/drawing/2014/main" id="{1882AEC0-FFE0-443F-BD61-C5507BA6F453}"/>
              </a:ext>
            </a:extLst>
          </p:cNvPr>
          <p:cNvSpPr>
            <a:spLocks noGrp="1" noChangeArrowheads="1"/>
          </p:cNvSpPr>
          <p:nvPr>
            <p:custDataLst>
              <p:tags r:id="rId27"/>
            </p:custDataLst>
          </p:nvPr>
        </p:nvSpPr>
        <p:spPr bwMode="auto">
          <a:xfrm>
            <a:off x="349250" y="2671762"/>
            <a:ext cx="736600"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3D70F8C2-2534-4008-B3F7-514F4F760861}" type="datetime'In''''co''''me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eplete 
prim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7" name="Rectangle 46">
            <a:extLst>
              <a:ext uri="{FF2B5EF4-FFF2-40B4-BE49-F238E27FC236}">
                <a16:creationId xmlns:a16="http://schemas.microsoft.com/office/drawing/2014/main" id="{0F1C620F-A7F3-42D5-B088-CB8047E185E7}"/>
              </a:ext>
            </a:extLst>
          </p:cNvPr>
          <p:cNvSpPr>
            <a:spLocks noGrp="1" noChangeArrowheads="1"/>
          </p:cNvSpPr>
          <p:nvPr>
            <p:custDataLst>
              <p:tags r:id="rId28"/>
            </p:custDataLst>
          </p:nvPr>
        </p:nvSpPr>
        <p:spPr bwMode="auto">
          <a:xfrm>
            <a:off x="415925" y="3892549"/>
            <a:ext cx="669925"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CC6117B9-890D-4040-AC77-960BA885D048}" type="datetime'In''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Incomplete 
second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5" name="Rectangle 44">
            <a:extLst>
              <a:ext uri="{FF2B5EF4-FFF2-40B4-BE49-F238E27FC236}">
                <a16:creationId xmlns:a16="http://schemas.microsoft.com/office/drawing/2014/main" id="{8A94DB2C-697B-4156-AA6A-817F8F62C755}"/>
              </a:ext>
            </a:extLst>
          </p:cNvPr>
          <p:cNvSpPr>
            <a:spLocks noGrp="1" noChangeArrowheads="1"/>
          </p:cNvSpPr>
          <p:nvPr>
            <p:custDataLst>
              <p:tags r:id="rId29"/>
            </p:custDataLst>
          </p:nvPr>
        </p:nvSpPr>
        <p:spPr bwMode="auto">
          <a:xfrm>
            <a:off x="484188" y="3282949"/>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AD1BCB59-3F85-41DF-85A2-3DC6D7EDB45B}" type="datetime'''Com''plet''''''''''e &#10;''''p''r''i''''''''''m''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prim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6" name="Rectangle 45">
            <a:extLst>
              <a:ext uri="{FF2B5EF4-FFF2-40B4-BE49-F238E27FC236}">
                <a16:creationId xmlns:a16="http://schemas.microsoft.com/office/drawing/2014/main" id="{B3BFF7B8-C853-4B19-AA31-62DDC7A0FD9C}"/>
              </a:ext>
            </a:extLst>
          </p:cNvPr>
          <p:cNvSpPr>
            <a:spLocks noGrp="1" noChangeArrowheads="1"/>
          </p:cNvSpPr>
          <p:nvPr>
            <p:custDataLst>
              <p:tags r:id="rId30"/>
            </p:custDataLst>
          </p:nvPr>
        </p:nvSpPr>
        <p:spPr bwMode="auto">
          <a:xfrm>
            <a:off x="484188" y="4502149"/>
            <a:ext cx="601663" cy="33655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r" defTabSz="683785" rtl="0" eaLnBrk="1" fontAlgn="base" latinLnBrk="0" hangingPunct="1">
              <a:lnSpc>
                <a:spcPct val="100000"/>
              </a:lnSpc>
              <a:spcBef>
                <a:spcPct val="0"/>
              </a:spcBef>
              <a:spcAft>
                <a:spcPct val="0"/>
              </a:spcAft>
              <a:buClr>
                <a:srgbClr val="204024"/>
              </a:buClr>
              <a:buSzTx/>
              <a:buFontTx/>
              <a:buNone/>
              <a:tabLst/>
              <a:defRPr/>
            </a:pPr>
            <a:fld id="{3C5A17C6-49B5-4876-88FE-4848DE7FBD5E}" type="datetime'Co''m''''''pl''''''ete ''''''''''&#10;''''s''''e''c''''onda''ry'''">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r" defTabSz="683785" rtl="0" eaLnBrk="1" fontAlgn="base" latinLnBrk="0" hangingPunct="1">
                <a:lnSpc>
                  <a:spcPct val="100000"/>
                </a:lnSpc>
                <a:spcBef>
                  <a:spcPct val="0"/>
                </a:spcBef>
                <a:spcAft>
                  <a:spcPct val="0"/>
                </a:spcAft>
                <a:buClr>
                  <a:srgbClr val="204024"/>
                </a:buClr>
                <a:buSzTx/>
                <a:buFontTx/>
                <a:buNone/>
                <a:tabLst/>
                <a:defRPr/>
              </a:pPr>
              <a:t>Complete 
secondary</a:t>
            </a:fld>
            <a:endParaRPr kumimoji="0" lang="en-GB" sz="11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57" name="Rectangle 56">
            <a:extLst>
              <a:ext uri="{FF2B5EF4-FFF2-40B4-BE49-F238E27FC236}">
                <a16:creationId xmlns:a16="http://schemas.microsoft.com/office/drawing/2014/main" id="{5E566931-E79D-BCF2-DDB3-326B2B99F899}"/>
              </a:ext>
            </a:extLst>
          </p:cNvPr>
          <p:cNvSpPr/>
          <p:nvPr>
            <p:custDataLst>
              <p:tags r:id="rId31"/>
            </p:custDataLst>
          </p:nvPr>
        </p:nvSpPr>
        <p:spPr bwMode="auto">
          <a:xfrm>
            <a:off x="10569575" y="1252538"/>
            <a:ext cx="214313" cy="160338"/>
          </a:xfrm>
          <a:prstGeom prst="rect">
            <a:avLst/>
          </a:prstGeom>
          <a:solidFill>
            <a:srgbClr val="C2F1ED"/>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58" name="Rectangle 57">
            <a:extLst>
              <a:ext uri="{FF2B5EF4-FFF2-40B4-BE49-F238E27FC236}">
                <a16:creationId xmlns:a16="http://schemas.microsoft.com/office/drawing/2014/main" id="{C56EC9B5-4187-F0DF-A51E-F723E7EEA1B9}"/>
              </a:ext>
            </a:extLst>
          </p:cNvPr>
          <p:cNvSpPr/>
          <p:nvPr>
            <p:custDataLst>
              <p:tags r:id="rId32"/>
            </p:custDataLst>
          </p:nvPr>
        </p:nvSpPr>
        <p:spPr bwMode="auto">
          <a:xfrm>
            <a:off x="9299575" y="1252538"/>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42" name="Rectangle 41">
            <a:extLst>
              <a:ext uri="{FF2B5EF4-FFF2-40B4-BE49-F238E27FC236}">
                <a16:creationId xmlns:a16="http://schemas.microsoft.com/office/drawing/2014/main" id="{1CF12193-E847-7CA9-9AB1-3FEF18942172}"/>
              </a:ext>
            </a:extLst>
          </p:cNvPr>
          <p:cNvSpPr/>
          <p:nvPr>
            <p:custDataLst>
              <p:tags r:id="rId33"/>
            </p:custDataLst>
          </p:nvPr>
        </p:nvSpPr>
        <p:spPr bwMode="auto">
          <a:xfrm>
            <a:off x="9564688" y="1247775"/>
            <a:ext cx="9032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1037D21B-EC0B-4349-AFBF-AB3DC7C14745}" type="datetime'R''''''''ece''''''iv''e''''''d ''''''''P''''''''NC'''''''''">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1219170" rtl="0" eaLnBrk="1" fontAlgn="auto" latinLnBrk="0" hangingPunct="1">
                <a:lnSpc>
                  <a:spcPct val="100000"/>
                </a:lnSpc>
                <a:spcBef>
                  <a:spcPct val="0"/>
                </a:spcBef>
                <a:spcAft>
                  <a:spcPct val="0"/>
                </a:spcAft>
                <a:buClrTx/>
                <a:buSzTx/>
                <a:buFontTx/>
                <a:buNone/>
                <a:tabLst/>
                <a:defRPr/>
              </a:pPr>
              <a:t>Received PNC</a:t>
            </a:fld>
            <a:endParaRPr kumimoji="0" lang="en-GB" sz="12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55" name="Rectangle 54">
            <a:extLst>
              <a:ext uri="{FF2B5EF4-FFF2-40B4-BE49-F238E27FC236}">
                <a16:creationId xmlns:a16="http://schemas.microsoft.com/office/drawing/2014/main" id="{616CB139-A713-F784-0D3C-7C19AEECB46D}"/>
              </a:ext>
            </a:extLst>
          </p:cNvPr>
          <p:cNvSpPr/>
          <p:nvPr>
            <p:custDataLst>
              <p:tags r:id="rId34"/>
            </p:custDataLst>
          </p:nvPr>
        </p:nvSpPr>
        <p:spPr bwMode="auto">
          <a:xfrm>
            <a:off x="10834688" y="1247775"/>
            <a:ext cx="550863"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B7285E9C-5A7A-4D4E-9FCF-C3DD6AB79B10}" type="datetime'''''No'''' ''''P''''''''N''''''C'''''">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1219170" rtl="0" eaLnBrk="1" fontAlgn="auto" latinLnBrk="0" hangingPunct="1">
                <a:lnSpc>
                  <a:spcPct val="100000"/>
                </a:lnSpc>
                <a:spcBef>
                  <a:spcPct val="0"/>
                </a:spcBef>
                <a:spcAft>
                  <a:spcPct val="0"/>
                </a:spcAft>
                <a:buClrTx/>
                <a:buSzTx/>
                <a:buFontTx/>
                <a:buNone/>
                <a:tabLst/>
                <a:defRPr/>
              </a:pPr>
              <a:t>No PNC</a:t>
            </a:fld>
            <a:endParaRPr kumimoji="0" lang="en-GB" sz="12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Tree>
    <p:extLst>
      <p:ext uri="{BB962C8B-B14F-4D97-AF65-F5344CB8AC3E}">
        <p14:creationId xmlns:p14="http://schemas.microsoft.com/office/powerpoint/2010/main" val="23079295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A8420C5D-75C8-FC7F-AE5C-4EFD1F4D84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17" name="Object 16" hidden="1">
                        <a:extLst>
                          <a:ext uri="{FF2B5EF4-FFF2-40B4-BE49-F238E27FC236}">
                            <a16:creationId xmlns:a16="http://schemas.microsoft.com/office/drawing/2014/main" id="{A8420C5D-75C8-FC7F-AE5C-4EFD1F4D84F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CCA0AB-306F-4BF5-A91A-3580533F9188}"/>
              </a:ext>
            </a:extLst>
          </p:cNvPr>
          <p:cNvSpPr>
            <a:spLocks noGrp="1"/>
          </p:cNvSpPr>
          <p:nvPr>
            <p:ph type="title"/>
          </p:nvPr>
        </p:nvSpPr>
        <p:spPr>
          <a:xfrm>
            <a:off x="236551" y="338701"/>
            <a:ext cx="11270299" cy="769286"/>
          </a:xfrm>
        </p:spPr>
        <p:txBody>
          <a:bodyPr vert="horz">
            <a:noAutofit/>
          </a:bodyPr>
          <a:lstStyle/>
          <a:p>
            <a:pPr algn="l"/>
            <a:r>
              <a:rPr lang="en-US" sz="2400" dirty="0">
                <a:latin typeface="+mj-lt"/>
                <a:cs typeface="Arial" panose="020B0604020202020204" pitchFamily="34" charset="0"/>
              </a:rPr>
              <a:t>Despite almost universal use of MN services, barriers still exist</a:t>
            </a:r>
            <a:endParaRPr lang="fr-FR" sz="2400" dirty="0">
              <a:latin typeface="+mj-lt"/>
              <a:cs typeface="Arial" panose="020B0604020202020204" pitchFamily="34" charset="0"/>
            </a:endParaRPr>
          </a:p>
        </p:txBody>
      </p:sp>
      <p:sp>
        <p:nvSpPr>
          <p:cNvPr id="3" name="Slide Number Placeholder 2">
            <a:extLst>
              <a:ext uri="{FF2B5EF4-FFF2-40B4-BE49-F238E27FC236}">
                <a16:creationId xmlns:a16="http://schemas.microsoft.com/office/drawing/2014/main" id="{642ACD82-6171-A071-4E8D-4E7067254D17}"/>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srgbClr val="112E38"/>
              </a:solidFill>
              <a:effectLst/>
              <a:uLnTx/>
              <a:uFillTx/>
              <a:latin typeface="Gill Sans MT" panose="020B0502020104020203"/>
              <a:ea typeface="+mn-ea"/>
              <a:cs typeface="Arial" panose="020B0604020202020204" pitchFamily="34" charset="0"/>
            </a:endParaRPr>
          </a:p>
        </p:txBody>
      </p:sp>
      <p:sp>
        <p:nvSpPr>
          <p:cNvPr id="5" name="TextBox 4">
            <a:extLst>
              <a:ext uri="{FF2B5EF4-FFF2-40B4-BE49-F238E27FC236}">
                <a16:creationId xmlns:a16="http://schemas.microsoft.com/office/drawing/2014/main" id="{34C6B2BF-890E-9416-7112-F66FE20D6953}"/>
              </a:ext>
            </a:extLst>
          </p:cNvPr>
          <p:cNvSpPr txBox="1"/>
          <p:nvPr/>
        </p:nvSpPr>
        <p:spPr>
          <a:xfrm>
            <a:off x="8021638" y="2227421"/>
            <a:ext cx="3851275" cy="3253907"/>
          </a:xfrm>
          <a:prstGeom prst="rect">
            <a:avLst/>
          </a:prstGeom>
          <a:solidFill>
            <a:schemeClr val="bg1">
              <a:lumMod val="95000"/>
            </a:schemeClr>
          </a:solidFill>
          <a:ln w="9525">
            <a:solidFill>
              <a:schemeClr val="bg1">
                <a:lumMod val="50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Cost is a significant barrier despite the roll out of free maternal services in Ebonyi</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The free maternal services program does not cover hidden costs incurred to access services</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Women of lower income levels are disproportionately affected by cost of maternal care </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Distance is a barriers primarily in rural areas where health facilities are sparsely distributed</a:t>
            </a:r>
          </a:p>
        </p:txBody>
      </p:sp>
      <p:sp>
        <p:nvSpPr>
          <p:cNvPr id="8" name="TextBox 7">
            <a:extLst>
              <a:ext uri="{FF2B5EF4-FFF2-40B4-BE49-F238E27FC236}">
                <a16:creationId xmlns:a16="http://schemas.microsoft.com/office/drawing/2014/main" id="{758230E6-28B3-548D-2D74-47BE4E5B9B29}"/>
              </a:ext>
            </a:extLst>
          </p:cNvPr>
          <p:cNvSpPr txBox="1"/>
          <p:nvPr/>
        </p:nvSpPr>
        <p:spPr>
          <a:xfrm>
            <a:off x="93662" y="6699479"/>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Source: Team analysis 	1. MICS report 2021 </a:t>
            </a:r>
          </a:p>
        </p:txBody>
      </p:sp>
      <p:sp>
        <p:nvSpPr>
          <p:cNvPr id="9" name="Rectangle 8">
            <a:extLst>
              <a:ext uri="{FF2B5EF4-FFF2-40B4-BE49-F238E27FC236}">
                <a16:creationId xmlns:a16="http://schemas.microsoft.com/office/drawing/2014/main" id="{3B949F8A-0BE8-2F5E-9B57-5D08A314501A}"/>
              </a:ext>
            </a:extLst>
          </p:cNvPr>
          <p:cNvSpPr/>
          <p:nvPr/>
        </p:nvSpPr>
        <p:spPr bwMode="auto">
          <a:xfrm>
            <a:off x="319087" y="1756851"/>
            <a:ext cx="7432675" cy="4830763"/>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graphicFrame>
        <p:nvGraphicFramePr>
          <p:cNvPr id="10" name="Chart 9">
            <a:extLst>
              <a:ext uri="{FF2B5EF4-FFF2-40B4-BE49-F238E27FC236}">
                <a16:creationId xmlns:a16="http://schemas.microsoft.com/office/drawing/2014/main" id="{9C63117F-C048-023B-856B-1C1F80FC56F4}"/>
              </a:ext>
            </a:extLst>
          </p:cNvPr>
          <p:cNvGraphicFramePr/>
          <p:nvPr>
            <p:custDataLst>
              <p:tags r:id="rId2"/>
            </p:custDataLst>
          </p:nvPr>
        </p:nvGraphicFramePr>
        <p:xfrm>
          <a:off x="651435" y="2406525"/>
          <a:ext cx="6932706" cy="3651128"/>
        </p:xfrm>
        <a:graphic>
          <a:graphicData uri="http://schemas.openxmlformats.org/drawingml/2006/chart">
            <c:chart xmlns:c="http://schemas.openxmlformats.org/drawingml/2006/chart" xmlns:r="http://schemas.openxmlformats.org/officeDocument/2006/relationships" r:id="rId12"/>
          </a:graphicData>
        </a:graphic>
      </p:graphicFrame>
      <p:sp>
        <p:nvSpPr>
          <p:cNvPr id="11" name="Rectangle 10">
            <a:extLst>
              <a:ext uri="{FF2B5EF4-FFF2-40B4-BE49-F238E27FC236}">
                <a16:creationId xmlns:a16="http://schemas.microsoft.com/office/drawing/2014/main" id="{37AF4671-E77E-8766-BD3E-07BD5710753E}"/>
              </a:ext>
            </a:extLst>
          </p:cNvPr>
          <p:cNvSpPr>
            <a:spLocks noGrp="1" noChangeArrowheads="1"/>
          </p:cNvSpPr>
          <p:nvPr>
            <p:custDataLst>
              <p:tags r:id="rId3"/>
            </p:custDataLst>
          </p:nvPr>
        </p:nvSpPr>
        <p:spPr bwMode="auto">
          <a:xfrm>
            <a:off x="946616" y="6022480"/>
            <a:ext cx="1252538" cy="4572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46EF576-A7DB-4064-B956-2EEEE366EA3C}" type="datetime'Getti''n''g ''''m''''''oney fo''r t''rea''tme''nt'''''' '">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Getting money for treatment </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2" name="Rectangle 11">
            <a:extLst>
              <a:ext uri="{FF2B5EF4-FFF2-40B4-BE49-F238E27FC236}">
                <a16:creationId xmlns:a16="http://schemas.microsoft.com/office/drawing/2014/main" id="{77710999-F498-DBD4-5FCB-E3A49AA13617}"/>
              </a:ext>
            </a:extLst>
          </p:cNvPr>
          <p:cNvSpPr>
            <a:spLocks noGrp="1" noChangeArrowheads="1"/>
          </p:cNvSpPr>
          <p:nvPr>
            <p:custDataLst>
              <p:tags r:id="rId4"/>
            </p:custDataLst>
          </p:nvPr>
        </p:nvSpPr>
        <p:spPr bwMode="auto">
          <a:xfrm>
            <a:off x="5854382" y="6039849"/>
            <a:ext cx="1603375" cy="4572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AA05D5E-B431-4066-A5CE-348864514202}" type="datetime'Getting p''er''''miss''io''''n ''to ''''go'' to treat''ment '">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Getting permission to go to treatment </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6" name="TextBox 5">
            <a:extLst>
              <a:ext uri="{FF2B5EF4-FFF2-40B4-BE49-F238E27FC236}">
                <a16:creationId xmlns:a16="http://schemas.microsoft.com/office/drawing/2014/main" id="{D24E93A3-3D43-E5F1-CAD3-BBBEB13606E3}"/>
              </a:ext>
            </a:extLst>
          </p:cNvPr>
          <p:cNvSpPr txBox="1"/>
          <p:nvPr/>
        </p:nvSpPr>
        <p:spPr>
          <a:xfrm>
            <a:off x="319087" y="1640046"/>
            <a:ext cx="7432675" cy="587375"/>
          </a:xfrm>
          <a:prstGeom prst="rect">
            <a:avLst/>
          </a:prstGeom>
          <a:solidFill>
            <a:schemeClr val="accent1">
              <a:lumMod val="60000"/>
              <a:lumOff val="40000"/>
            </a:schemeClr>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Distribution of women by barriers in accessing maternal care in 2021</a:t>
            </a:r>
            <a:r>
              <a:rPr kumimoji="0" lang="en-US" sz="1500" b="1" i="0" u="none" strike="noStrike" kern="1200" cap="none" spc="0" normalizeH="0" baseline="30000" noProof="0" dirty="0">
                <a:ln>
                  <a:noFill/>
                </a:ln>
                <a:solidFill>
                  <a:prstClr val="black"/>
                </a:solidFill>
                <a:effectLst/>
                <a:uLnTx/>
                <a:uFillTx/>
                <a:latin typeface="Gill Sans MT" panose="020B0502020104020203"/>
                <a:ea typeface="+mn-ea"/>
                <a:cs typeface="Arial" panose="020B0604020202020204" pitchFamily="34" charset="0"/>
              </a:rPr>
              <a:t>1</a:t>
            </a:r>
            <a:r>
              <a:rPr kumimoji="0" lang="en-US" sz="1500" b="1"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 </a:t>
            </a:r>
          </a:p>
        </p:txBody>
      </p:sp>
      <p:sp>
        <p:nvSpPr>
          <p:cNvPr id="13" name="Rectangle 12">
            <a:extLst>
              <a:ext uri="{FF2B5EF4-FFF2-40B4-BE49-F238E27FC236}">
                <a16:creationId xmlns:a16="http://schemas.microsoft.com/office/drawing/2014/main" id="{ED89E91F-98AA-3C14-3B19-18A800520203}"/>
              </a:ext>
            </a:extLst>
          </p:cNvPr>
          <p:cNvSpPr>
            <a:spLocks noGrp="1" noChangeArrowheads="1"/>
          </p:cNvSpPr>
          <p:nvPr>
            <p:custDataLst>
              <p:tags r:id="rId5"/>
            </p:custDataLst>
          </p:nvPr>
        </p:nvSpPr>
        <p:spPr bwMode="auto">
          <a:xfrm>
            <a:off x="2729099" y="6057653"/>
            <a:ext cx="1168400" cy="4572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11B11CC-8433-4FB9-B6AC-F1A91FA876C8}" type="datetime'Dis''tance'''' to ''h''e''''''alth'''' fac''i''l''''''i''ty '">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Distance to health facility </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4" name="Rectangle 13">
            <a:extLst>
              <a:ext uri="{FF2B5EF4-FFF2-40B4-BE49-F238E27FC236}">
                <a16:creationId xmlns:a16="http://schemas.microsoft.com/office/drawing/2014/main" id="{B01BA4D9-0DCD-D4B6-DE31-13547235D29A}"/>
              </a:ext>
            </a:extLst>
          </p:cNvPr>
          <p:cNvSpPr>
            <a:spLocks noGrp="1" noChangeArrowheads="1"/>
          </p:cNvSpPr>
          <p:nvPr>
            <p:custDataLst>
              <p:tags r:id="rId6"/>
            </p:custDataLst>
          </p:nvPr>
        </p:nvSpPr>
        <p:spPr bwMode="auto">
          <a:xfrm>
            <a:off x="4443785" y="6022045"/>
            <a:ext cx="1020763" cy="4572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58EC74C-1E08-404D-93DC-6CE4B0436DEE}" type="datetime'''No''''t'' ''''wa''''nti''ng to go a''l''''''''''''on''e '">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ot wanting to go alone </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5" name="Rectangle 14">
            <a:extLst>
              <a:ext uri="{FF2B5EF4-FFF2-40B4-BE49-F238E27FC236}">
                <a16:creationId xmlns:a16="http://schemas.microsoft.com/office/drawing/2014/main" id="{F6B47B95-A35D-2996-5D96-32CD7B359EA5}"/>
              </a:ext>
            </a:extLst>
          </p:cNvPr>
          <p:cNvSpPr/>
          <p:nvPr>
            <p:custDataLst>
              <p:tags r:id="rId7"/>
            </p:custDataLst>
          </p:nvPr>
        </p:nvSpPr>
        <p:spPr bwMode="auto">
          <a:xfrm>
            <a:off x="5067300" y="2723583"/>
            <a:ext cx="214313" cy="160338"/>
          </a:xfrm>
          <a:prstGeom prst="rect">
            <a:avLst/>
          </a:prstGeom>
          <a:solidFill>
            <a:schemeClr val="bg2"/>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16" name="Rectangle 15">
            <a:extLst>
              <a:ext uri="{FF2B5EF4-FFF2-40B4-BE49-F238E27FC236}">
                <a16:creationId xmlns:a16="http://schemas.microsoft.com/office/drawing/2014/main" id="{63FFA499-9866-3399-AC60-AAC95A47B154}"/>
              </a:ext>
            </a:extLst>
          </p:cNvPr>
          <p:cNvSpPr>
            <a:spLocks noGrp="1" noChangeArrowheads="1"/>
          </p:cNvSpPr>
          <p:nvPr>
            <p:custDataLst>
              <p:tags r:id="rId8"/>
            </p:custDataLst>
          </p:nvPr>
        </p:nvSpPr>
        <p:spPr bwMode="auto">
          <a:xfrm>
            <a:off x="5380038" y="2701358"/>
            <a:ext cx="20288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112E38"/>
              </a:buClr>
              <a:buSzTx/>
              <a:buFontTx/>
              <a:buNone/>
              <a:tabLst/>
              <a:defRPr/>
            </a:pPr>
            <a:fld id="{60DBE849-5E65-449C-8D26-EE75930879D6}" type="datetime'P''r''''o''po''rt''ion o''f w''''o''men ''''''a''''ffected '''">
              <a:rPr kumimoji="0" lang="en-GB" altLang="en-US" sz="1200" b="0" i="0" u="none" strike="noStrike" kern="0" cap="none" spc="0" normalizeH="0" baseline="0" noProof="0" smtClean="0">
                <a:ln>
                  <a:noFill/>
                </a:ln>
                <a:solidFill>
                  <a:prstClr val="black"/>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112E38"/>
                </a:buClr>
                <a:buSzTx/>
                <a:buFontTx/>
                <a:buNone/>
                <a:tabLst/>
                <a:defRPr/>
              </a:pPr>
              <a:t>Proportion of women affected </a:t>
            </a:fld>
            <a:endParaRPr kumimoji="0" lang="en-GB" sz="1200" b="0" i="0" u="none" strike="noStrike" kern="0" cap="none" spc="0" normalizeH="0" baseline="0" noProof="0" dirty="0">
              <a:ln>
                <a:noFill/>
              </a:ln>
              <a:solidFill>
                <a:prstClr val="black"/>
              </a:solidFill>
              <a:effectLst/>
              <a:uLnTx/>
              <a:uFillTx/>
              <a:latin typeface="Gill Sans MT" panose="020B0502020104020203"/>
              <a:ea typeface="+mn-ea"/>
              <a:cs typeface="Arial" panose="020B0604020202020204" pitchFamily="34" charset="0"/>
            </a:endParaRPr>
          </a:p>
        </p:txBody>
      </p:sp>
      <p:sp>
        <p:nvSpPr>
          <p:cNvPr id="4" name="Rectangle 3">
            <a:extLst>
              <a:ext uri="{FF2B5EF4-FFF2-40B4-BE49-F238E27FC236}">
                <a16:creationId xmlns:a16="http://schemas.microsoft.com/office/drawing/2014/main" id="{ADE3E46D-FCC4-FC81-AEAD-AC6BC2376769}"/>
              </a:ext>
            </a:extLst>
          </p:cNvPr>
          <p:cNvSpPr/>
          <p:nvPr/>
        </p:nvSpPr>
        <p:spPr bwMode="auto">
          <a:xfrm>
            <a:off x="0" y="71390"/>
            <a:ext cx="246888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a:ln>
                  <a:noFill/>
                </a:ln>
                <a:solidFill>
                  <a:prstClr val="white"/>
                </a:solidFill>
                <a:effectLst/>
                <a:uLnTx/>
                <a:uFillTx/>
                <a:latin typeface="Gill Sans MT" panose="020B0502020104020203"/>
                <a:ea typeface="+mn-ea"/>
                <a:cs typeface="Arial" panose="020B0604020202020204" pitchFamily="34" charset="0"/>
                <a:sym typeface="Arial"/>
              </a:rPr>
              <a:t>DEMAND- Barriers to demand</a:t>
            </a:r>
          </a:p>
        </p:txBody>
      </p:sp>
    </p:spTree>
    <p:extLst>
      <p:ext uri="{BB962C8B-B14F-4D97-AF65-F5344CB8AC3E}">
        <p14:creationId xmlns:p14="http://schemas.microsoft.com/office/powerpoint/2010/main" val="34016666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9A5FC89C-D29E-4DC0-9B1D-8C468C8C5ABB}"/>
              </a:ext>
            </a:extLst>
          </p:cNvPr>
          <p:cNvSpPr>
            <a:spLocks noGrp="1"/>
          </p:cNvSpPr>
          <p:nvPr>
            <p:ph type="title"/>
          </p:nvPr>
        </p:nvSpPr>
        <p:spPr>
          <a:xfrm>
            <a:off x="73263" y="308009"/>
            <a:ext cx="11743321" cy="769286"/>
          </a:xfrm>
        </p:spPr>
        <p:txBody>
          <a:bodyPr vert="horz">
            <a:normAutofit fontScale="90000"/>
          </a:bodyPr>
          <a:lstStyle/>
          <a:p>
            <a:pPr algn="l"/>
            <a:r>
              <a:rPr lang="en-US" dirty="0"/>
              <a:t>The market is failing women (42%) who need SBA and (64%) who need PNC; these missing women have similar socio-economic profiles </a:t>
            </a:r>
            <a:endParaRPr lang="fr-FR" dirty="0"/>
          </a:p>
        </p:txBody>
      </p:sp>
      <p:sp>
        <p:nvSpPr>
          <p:cNvPr id="5" name="Rectangle 4">
            <a:extLst>
              <a:ext uri="{FF2B5EF4-FFF2-40B4-BE49-F238E27FC236}">
                <a16:creationId xmlns:a16="http://schemas.microsoft.com/office/drawing/2014/main" id="{A92B9181-A1BB-4393-9FAD-B5FE6E69B8D3}"/>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DEMAND – Profiles</a:t>
            </a:r>
          </a:p>
        </p:txBody>
      </p:sp>
      <p:pic>
        <p:nvPicPr>
          <p:cNvPr id="6" name="Picture 5">
            <a:extLst>
              <a:ext uri="{FF2B5EF4-FFF2-40B4-BE49-F238E27FC236}">
                <a16:creationId xmlns:a16="http://schemas.microsoft.com/office/drawing/2014/main" id="{2ED95599-7E63-4E43-9B3C-3F49163174B1}"/>
              </a:ext>
            </a:extLst>
          </p:cNvPr>
          <p:cNvPicPr>
            <a:picLocks noChangeAspect="1"/>
          </p:cNvPicPr>
          <p:nvPr/>
        </p:nvPicPr>
        <p:blipFill rotWithShape="1">
          <a:blip r:embed="rId5"/>
          <a:srcRect l="4355" t="40024" r="80760" b="38729"/>
          <a:stretch/>
        </p:blipFill>
        <p:spPr>
          <a:xfrm>
            <a:off x="5450440" y="2347000"/>
            <a:ext cx="1227585" cy="997053"/>
          </a:xfrm>
          <a:prstGeom prst="rect">
            <a:avLst/>
          </a:prstGeom>
        </p:spPr>
      </p:pic>
      <p:pic>
        <p:nvPicPr>
          <p:cNvPr id="8" name="Picture 7">
            <a:extLst>
              <a:ext uri="{FF2B5EF4-FFF2-40B4-BE49-F238E27FC236}">
                <a16:creationId xmlns:a16="http://schemas.microsoft.com/office/drawing/2014/main" id="{97402259-AE91-454D-BC1B-DFF7CBF0B7C5}"/>
              </a:ext>
            </a:extLst>
          </p:cNvPr>
          <p:cNvPicPr>
            <a:picLocks noChangeAspect="1"/>
          </p:cNvPicPr>
          <p:nvPr/>
        </p:nvPicPr>
        <p:blipFill rotWithShape="1">
          <a:blip r:embed="rId5"/>
          <a:srcRect l="66344" t="38182" r="18142" b="38728"/>
          <a:stretch/>
        </p:blipFill>
        <p:spPr>
          <a:xfrm>
            <a:off x="5125359" y="3909214"/>
            <a:ext cx="1639130" cy="1388091"/>
          </a:xfrm>
          <a:prstGeom prst="rect">
            <a:avLst/>
          </a:prstGeom>
        </p:spPr>
      </p:pic>
      <p:sp>
        <p:nvSpPr>
          <p:cNvPr id="9" name="Rectangle 8">
            <a:extLst>
              <a:ext uri="{FF2B5EF4-FFF2-40B4-BE49-F238E27FC236}">
                <a16:creationId xmlns:a16="http://schemas.microsoft.com/office/drawing/2014/main" id="{7D30F674-C9CB-43A5-BE63-82BE232CC1AA}"/>
              </a:ext>
            </a:extLst>
          </p:cNvPr>
          <p:cNvSpPr/>
          <p:nvPr/>
        </p:nvSpPr>
        <p:spPr bwMode="auto">
          <a:xfrm>
            <a:off x="140855" y="1444852"/>
            <a:ext cx="3496365" cy="274224"/>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Women who use MNH services</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10" name="Rectangle 9">
            <a:extLst>
              <a:ext uri="{FF2B5EF4-FFF2-40B4-BE49-F238E27FC236}">
                <a16:creationId xmlns:a16="http://schemas.microsoft.com/office/drawing/2014/main" id="{1161ED8B-231B-47F6-9860-DF40E695D98C}"/>
              </a:ext>
            </a:extLst>
          </p:cNvPr>
          <p:cNvSpPr/>
          <p:nvPr/>
        </p:nvSpPr>
        <p:spPr bwMode="auto">
          <a:xfrm>
            <a:off x="6664681" y="1433533"/>
            <a:ext cx="3749040"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Women who DO NOT use MNH services</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11" name="Oval 10">
            <a:extLst>
              <a:ext uri="{FF2B5EF4-FFF2-40B4-BE49-F238E27FC236}">
                <a16:creationId xmlns:a16="http://schemas.microsoft.com/office/drawing/2014/main" id="{4156810F-A6D9-4906-A397-C88904E3CF18}"/>
              </a:ext>
            </a:extLst>
          </p:cNvPr>
          <p:cNvSpPr/>
          <p:nvPr/>
        </p:nvSpPr>
        <p:spPr bwMode="auto">
          <a:xfrm>
            <a:off x="10639224" y="2077437"/>
            <a:ext cx="1463040" cy="457200"/>
          </a:xfrm>
          <a:prstGeom prst="ellipse">
            <a:avLst/>
          </a:prstGeom>
          <a:solidFill>
            <a:srgbClr val="C2F1ED"/>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11,117</a:t>
            </a:r>
          </a:p>
        </p:txBody>
      </p:sp>
      <p:sp>
        <p:nvSpPr>
          <p:cNvPr id="12" name="Oval 11">
            <a:extLst>
              <a:ext uri="{FF2B5EF4-FFF2-40B4-BE49-F238E27FC236}">
                <a16:creationId xmlns:a16="http://schemas.microsoft.com/office/drawing/2014/main" id="{115FC5B3-0189-4DD0-A371-4A8EAA875601}"/>
              </a:ext>
            </a:extLst>
          </p:cNvPr>
          <p:cNvSpPr/>
          <p:nvPr/>
        </p:nvSpPr>
        <p:spPr bwMode="auto">
          <a:xfrm>
            <a:off x="3676747" y="2046325"/>
            <a:ext cx="1371600" cy="457200"/>
          </a:xfrm>
          <a:prstGeom prst="ellipse">
            <a:avLst/>
          </a:prstGeom>
          <a:solidFill>
            <a:srgbClr val="4AA19E"/>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163,402</a:t>
            </a:r>
          </a:p>
        </p:txBody>
      </p:sp>
      <p:sp>
        <p:nvSpPr>
          <p:cNvPr id="13" name="Oval 12">
            <a:extLst>
              <a:ext uri="{FF2B5EF4-FFF2-40B4-BE49-F238E27FC236}">
                <a16:creationId xmlns:a16="http://schemas.microsoft.com/office/drawing/2014/main" id="{96528093-8988-42E4-8D03-E653B11F81D3}"/>
              </a:ext>
            </a:extLst>
          </p:cNvPr>
          <p:cNvSpPr/>
          <p:nvPr/>
        </p:nvSpPr>
        <p:spPr bwMode="auto">
          <a:xfrm>
            <a:off x="10639224" y="3373452"/>
            <a:ext cx="1463040" cy="457200"/>
          </a:xfrm>
          <a:prstGeom prst="ellipse">
            <a:avLst/>
          </a:prstGeom>
          <a:solidFill>
            <a:srgbClr val="C2F1ED"/>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54,241</a:t>
            </a:r>
          </a:p>
        </p:txBody>
      </p:sp>
      <p:sp>
        <p:nvSpPr>
          <p:cNvPr id="14" name="Rectangle 13">
            <a:extLst>
              <a:ext uri="{FF2B5EF4-FFF2-40B4-BE49-F238E27FC236}">
                <a16:creationId xmlns:a16="http://schemas.microsoft.com/office/drawing/2014/main" id="{5A4AA0DF-0963-41A3-A40C-C9000B7E82FB}"/>
              </a:ext>
            </a:extLst>
          </p:cNvPr>
          <p:cNvSpPr/>
          <p:nvPr/>
        </p:nvSpPr>
        <p:spPr bwMode="auto">
          <a:xfrm>
            <a:off x="7113902" y="2307469"/>
            <a:ext cx="3657600" cy="296863"/>
          </a:xfrm>
          <a:prstGeom prst="rect">
            <a:avLst/>
          </a:prstGeom>
          <a:noFill/>
          <a:ln>
            <a:noFill/>
          </a:ln>
          <a:effectLst/>
        </p:spPr>
        <p:txBody>
          <a:bodyPr wrap="square" rtlCol="0" anchor="ctr">
            <a:noAutofit/>
          </a:bodyPr>
          <a:lstStyle/>
          <a:p>
            <a:pPr marL="91440" marR="0" lvl="0" indent="-9144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other lives in a rural area</a:t>
            </a:r>
          </a:p>
          <a:p>
            <a:pPr marL="91440" marR="0" lvl="0" indent="-9144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has no education</a:t>
            </a:r>
          </a:p>
          <a:p>
            <a:pPr marL="91440" marR="0" lvl="0" indent="-9144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s in a household with the lowest and lower income level</a:t>
            </a:r>
          </a:p>
          <a:p>
            <a:pPr marL="91440" marR="0" lvl="0" indent="-91440" algn="l" defTabSz="914400" rtl="0" eaLnBrk="1" fontAlgn="auto" latinLnBrk="0" hangingPunct="1">
              <a:lnSpc>
                <a:spcPct val="100000"/>
              </a:lnSpc>
              <a:spcBef>
                <a:spcPts val="0"/>
              </a:spcBef>
              <a:spcAft>
                <a:spcPts val="0"/>
              </a:spcAft>
              <a:buClr>
                <a:srgbClr val="112E38"/>
              </a:buClr>
              <a:buSzPct val="95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is much younger (15-20) or older in her reproductive cycle (40-45)</a:t>
            </a:r>
            <a:endParaRPr kumimoji="0" lang="en-US" sz="14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15" name="Rectangle 14">
            <a:extLst>
              <a:ext uri="{FF2B5EF4-FFF2-40B4-BE49-F238E27FC236}">
                <a16:creationId xmlns:a16="http://schemas.microsoft.com/office/drawing/2014/main" id="{99F10D7F-6EFF-4925-9FDB-DA8E91900D5E}"/>
              </a:ext>
            </a:extLst>
          </p:cNvPr>
          <p:cNvSpPr/>
          <p:nvPr/>
        </p:nvSpPr>
        <p:spPr bwMode="auto">
          <a:xfrm rot="16200000">
            <a:off x="-85853" y="2261353"/>
            <a:ext cx="799846"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NC</a:t>
            </a:r>
            <a:endParaRPr kumimoji="0" lang="en-US" sz="16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16" name="Oval 15">
            <a:extLst>
              <a:ext uri="{FF2B5EF4-FFF2-40B4-BE49-F238E27FC236}">
                <a16:creationId xmlns:a16="http://schemas.microsoft.com/office/drawing/2014/main" id="{31ECF4CE-4E38-4D47-86D2-40B2B582F44A}"/>
              </a:ext>
            </a:extLst>
          </p:cNvPr>
          <p:cNvSpPr/>
          <p:nvPr/>
        </p:nvSpPr>
        <p:spPr bwMode="auto">
          <a:xfrm>
            <a:off x="3676747" y="3421316"/>
            <a:ext cx="1371600" cy="457200"/>
          </a:xfrm>
          <a:prstGeom prst="ellipse">
            <a:avLst/>
          </a:prstGeom>
          <a:solidFill>
            <a:srgbClr val="4AA19E"/>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74,904</a:t>
            </a:r>
          </a:p>
        </p:txBody>
      </p:sp>
      <p:sp>
        <p:nvSpPr>
          <p:cNvPr id="17" name="Oval 16">
            <a:extLst>
              <a:ext uri="{FF2B5EF4-FFF2-40B4-BE49-F238E27FC236}">
                <a16:creationId xmlns:a16="http://schemas.microsoft.com/office/drawing/2014/main" id="{46F0F7C3-32D6-4CD6-947A-D2F657424E61}"/>
              </a:ext>
            </a:extLst>
          </p:cNvPr>
          <p:cNvSpPr/>
          <p:nvPr/>
        </p:nvSpPr>
        <p:spPr bwMode="auto">
          <a:xfrm>
            <a:off x="3676747" y="4799306"/>
            <a:ext cx="1371600" cy="457200"/>
          </a:xfrm>
          <a:prstGeom prst="ellipse">
            <a:avLst/>
          </a:prstGeom>
          <a:solidFill>
            <a:srgbClr val="4AA19E"/>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46,492</a:t>
            </a:r>
          </a:p>
        </p:txBody>
      </p:sp>
      <p:sp>
        <p:nvSpPr>
          <p:cNvPr id="18" name="Oval 17">
            <a:extLst>
              <a:ext uri="{FF2B5EF4-FFF2-40B4-BE49-F238E27FC236}">
                <a16:creationId xmlns:a16="http://schemas.microsoft.com/office/drawing/2014/main" id="{C354B34B-6BE3-4B08-B15D-1E28377EB3DD}"/>
              </a:ext>
            </a:extLst>
          </p:cNvPr>
          <p:cNvSpPr/>
          <p:nvPr/>
        </p:nvSpPr>
        <p:spPr bwMode="auto">
          <a:xfrm>
            <a:off x="10639224" y="4774794"/>
            <a:ext cx="1463040" cy="457200"/>
          </a:xfrm>
          <a:prstGeom prst="ellipse">
            <a:avLst/>
          </a:prstGeom>
          <a:solidFill>
            <a:srgbClr val="C2F1ED"/>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82,653</a:t>
            </a:r>
          </a:p>
        </p:txBody>
      </p:sp>
      <p:sp>
        <p:nvSpPr>
          <p:cNvPr id="19" name="Rectangle 18">
            <a:extLst>
              <a:ext uri="{FF2B5EF4-FFF2-40B4-BE49-F238E27FC236}">
                <a16:creationId xmlns:a16="http://schemas.microsoft.com/office/drawing/2014/main" id="{17A717A1-C0E7-4964-A6E6-D572294E4BD6}"/>
              </a:ext>
            </a:extLst>
          </p:cNvPr>
          <p:cNvSpPr/>
          <p:nvPr/>
        </p:nvSpPr>
        <p:spPr bwMode="auto">
          <a:xfrm>
            <a:off x="405985" y="2307469"/>
            <a:ext cx="3291840" cy="296863"/>
          </a:xfrm>
          <a:prstGeom prst="rect">
            <a:avLst/>
          </a:prstGeom>
          <a:noFill/>
          <a:ln>
            <a:noFill/>
          </a:ln>
          <a:effectLst/>
        </p:spPr>
        <p:txBody>
          <a:bodyPr wrap="square" rtlCol="0" anchor="ctr">
            <a:noAutofit/>
          </a:bodyPr>
          <a:lstStyle/>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other lives in an urban area</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is educated beyond secondary level</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s in a household with middle and/or higher income level</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is young (15-20) or old (40-45)</a:t>
            </a:r>
            <a:endParaRPr kumimoji="0" lang="en-US" sz="14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0" name="Rectangle 19">
            <a:extLst>
              <a:ext uri="{FF2B5EF4-FFF2-40B4-BE49-F238E27FC236}">
                <a16:creationId xmlns:a16="http://schemas.microsoft.com/office/drawing/2014/main" id="{A639C746-A3D5-4201-8150-F1CEBCFDB87A}"/>
              </a:ext>
            </a:extLst>
          </p:cNvPr>
          <p:cNvSpPr/>
          <p:nvPr/>
        </p:nvSpPr>
        <p:spPr bwMode="auto">
          <a:xfrm rot="16200000">
            <a:off x="6637599" y="2362188"/>
            <a:ext cx="799846"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NC</a:t>
            </a:r>
            <a:endParaRPr kumimoji="0" lang="en-US" sz="16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1" name="Rectangle 20">
            <a:extLst>
              <a:ext uri="{FF2B5EF4-FFF2-40B4-BE49-F238E27FC236}">
                <a16:creationId xmlns:a16="http://schemas.microsoft.com/office/drawing/2014/main" id="{A966D849-1050-4CE8-9785-CDC3E985E29D}"/>
              </a:ext>
            </a:extLst>
          </p:cNvPr>
          <p:cNvSpPr/>
          <p:nvPr/>
        </p:nvSpPr>
        <p:spPr bwMode="auto">
          <a:xfrm rot="16200000">
            <a:off x="6637600" y="3656522"/>
            <a:ext cx="799846"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BA</a:t>
            </a:r>
            <a:endParaRPr kumimoji="0" lang="en-US" sz="16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2" name="Rectangle 21">
            <a:extLst>
              <a:ext uri="{FF2B5EF4-FFF2-40B4-BE49-F238E27FC236}">
                <a16:creationId xmlns:a16="http://schemas.microsoft.com/office/drawing/2014/main" id="{020FF831-3CFF-4027-802C-862AA492848F}"/>
              </a:ext>
            </a:extLst>
          </p:cNvPr>
          <p:cNvSpPr/>
          <p:nvPr/>
        </p:nvSpPr>
        <p:spPr bwMode="auto">
          <a:xfrm rot="16200000">
            <a:off x="-57438" y="3515803"/>
            <a:ext cx="799846"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BA</a:t>
            </a:r>
            <a:endParaRPr kumimoji="0" lang="en-US" sz="16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3" name="Rectangle 22">
            <a:extLst>
              <a:ext uri="{FF2B5EF4-FFF2-40B4-BE49-F238E27FC236}">
                <a16:creationId xmlns:a16="http://schemas.microsoft.com/office/drawing/2014/main" id="{D525061D-22F6-469D-9664-C87A980F6922}"/>
              </a:ext>
            </a:extLst>
          </p:cNvPr>
          <p:cNvSpPr/>
          <p:nvPr/>
        </p:nvSpPr>
        <p:spPr bwMode="auto">
          <a:xfrm>
            <a:off x="405985" y="3612351"/>
            <a:ext cx="3291840" cy="296863"/>
          </a:xfrm>
          <a:prstGeom prst="rect">
            <a:avLst/>
          </a:prstGeom>
          <a:noFill/>
          <a:ln>
            <a:noFill/>
          </a:ln>
          <a:effectLst/>
        </p:spPr>
        <p:txBody>
          <a:bodyPr wrap="square" rtlCol="0" anchor="ctr">
            <a:noAutofit/>
          </a:bodyPr>
          <a:lstStyle/>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other lives in a rural area</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is educated to tertiary levels</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s in a household with highest and higher income level</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is young (15-24)</a:t>
            </a:r>
            <a:endParaRPr kumimoji="0" lang="en-US" sz="14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4" name="Rectangle 23">
            <a:extLst>
              <a:ext uri="{FF2B5EF4-FFF2-40B4-BE49-F238E27FC236}">
                <a16:creationId xmlns:a16="http://schemas.microsoft.com/office/drawing/2014/main" id="{9EF86241-FB0B-4E07-AFF8-47B3328096F6}"/>
              </a:ext>
            </a:extLst>
          </p:cNvPr>
          <p:cNvSpPr/>
          <p:nvPr/>
        </p:nvSpPr>
        <p:spPr bwMode="auto">
          <a:xfrm>
            <a:off x="7113902" y="3747309"/>
            <a:ext cx="3657600" cy="296863"/>
          </a:xfrm>
          <a:prstGeom prst="rect">
            <a:avLst/>
          </a:prstGeom>
          <a:noFill/>
          <a:ln>
            <a:noFill/>
          </a:ln>
          <a:effectLst/>
        </p:spPr>
        <p:txBody>
          <a:bodyPr wrap="square" rtlCol="0" anchor="ctr">
            <a:noAutofit/>
          </a:bodyPr>
          <a:lstStyle/>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other lives in an urban or rural area</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has no or incomplete education</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s in a household with lowest and lower income levels</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is midcourse in her reproductive life cycle (30-39) with multiple children</a:t>
            </a:r>
            <a:endParaRPr kumimoji="0" lang="en-US" sz="14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6" name="Rectangle 25">
            <a:extLst>
              <a:ext uri="{FF2B5EF4-FFF2-40B4-BE49-F238E27FC236}">
                <a16:creationId xmlns:a16="http://schemas.microsoft.com/office/drawing/2014/main" id="{81F6E057-0C56-4363-ADC3-96671E0EEACA}"/>
              </a:ext>
            </a:extLst>
          </p:cNvPr>
          <p:cNvSpPr/>
          <p:nvPr/>
        </p:nvSpPr>
        <p:spPr bwMode="auto">
          <a:xfrm rot="16200000">
            <a:off x="-246658" y="5017111"/>
            <a:ext cx="1148645"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NC-NB</a:t>
            </a:r>
            <a:endParaRPr kumimoji="0" lang="en-US" sz="16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7" name="Rectangle 26">
            <a:extLst>
              <a:ext uri="{FF2B5EF4-FFF2-40B4-BE49-F238E27FC236}">
                <a16:creationId xmlns:a16="http://schemas.microsoft.com/office/drawing/2014/main" id="{22C9BC43-1A60-416F-841F-2CA3FF767FFA}"/>
              </a:ext>
            </a:extLst>
          </p:cNvPr>
          <p:cNvSpPr/>
          <p:nvPr/>
        </p:nvSpPr>
        <p:spPr bwMode="auto">
          <a:xfrm>
            <a:off x="405985" y="5069072"/>
            <a:ext cx="3291840" cy="296863"/>
          </a:xfrm>
          <a:prstGeom prst="rect">
            <a:avLst/>
          </a:prstGeom>
          <a:noFill/>
          <a:ln>
            <a:noFill/>
          </a:ln>
          <a:effectLst/>
        </p:spPr>
        <p:txBody>
          <a:bodyPr wrap="square" rtlCol="0" anchor="ctr">
            <a:noAutofit/>
          </a:bodyPr>
          <a:lstStyle/>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other lives in either an urban or rural area</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s in a household across all income levels</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is much older (30-44)</a:t>
            </a:r>
            <a:endParaRPr kumimoji="0" lang="en-US" sz="14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8" name="Oval 27">
            <a:extLst>
              <a:ext uri="{FF2B5EF4-FFF2-40B4-BE49-F238E27FC236}">
                <a16:creationId xmlns:a16="http://schemas.microsoft.com/office/drawing/2014/main" id="{A3256D15-24A8-4B2B-8A61-6984E672459A}"/>
              </a:ext>
            </a:extLst>
          </p:cNvPr>
          <p:cNvSpPr/>
          <p:nvPr/>
        </p:nvSpPr>
        <p:spPr bwMode="auto">
          <a:xfrm>
            <a:off x="9604952" y="1164331"/>
            <a:ext cx="457200" cy="182880"/>
          </a:xfrm>
          <a:prstGeom prst="ellipse">
            <a:avLst/>
          </a:prstGeom>
          <a:solidFill>
            <a:srgbClr val="4AA19E"/>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endParaRPr>
          </a:p>
        </p:txBody>
      </p:sp>
      <p:sp>
        <p:nvSpPr>
          <p:cNvPr id="29" name="TextBox 28">
            <a:extLst>
              <a:ext uri="{FF2B5EF4-FFF2-40B4-BE49-F238E27FC236}">
                <a16:creationId xmlns:a16="http://schemas.microsoft.com/office/drawing/2014/main" id="{5C055B3E-1AAA-4908-9F4A-22F762F0312F}"/>
              </a:ext>
            </a:extLst>
          </p:cNvPr>
          <p:cNvSpPr txBox="1"/>
          <p:nvPr/>
        </p:nvSpPr>
        <p:spPr>
          <a:xfrm>
            <a:off x="10098011" y="1117272"/>
            <a:ext cx="2227144"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Estimated number of women </a:t>
            </a:r>
            <a:r>
              <a:rPr kumimoji="0" lang="en-GB" sz="12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rPr>
              <a:t>a</a:t>
            </a:r>
          </a:p>
        </p:txBody>
      </p:sp>
      <p:sp>
        <p:nvSpPr>
          <p:cNvPr id="30" name="TextBox 29">
            <a:extLst>
              <a:ext uri="{FF2B5EF4-FFF2-40B4-BE49-F238E27FC236}">
                <a16:creationId xmlns:a16="http://schemas.microsoft.com/office/drawing/2014/main" id="{5E60FF4A-D22A-4CE5-89F3-49D86C7E147B}"/>
              </a:ext>
            </a:extLst>
          </p:cNvPr>
          <p:cNvSpPr txBox="1"/>
          <p:nvPr/>
        </p:nvSpPr>
        <p:spPr>
          <a:xfrm>
            <a:off x="-29007" y="6470310"/>
            <a:ext cx="11469890" cy="46166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a:t>
            </a:r>
            <a:r>
              <a:rPr kumimoji="0" lang="en-US" sz="9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a. Using 5% as proportion of pregnant women in the state, 58% SBA penetration rate </a:t>
            </a:r>
            <a:endParaRPr kumimoji="0" lang="fr-FR" sz="9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sp>
        <p:nvSpPr>
          <p:cNvPr id="31" name="Rectangle 30">
            <a:extLst>
              <a:ext uri="{FF2B5EF4-FFF2-40B4-BE49-F238E27FC236}">
                <a16:creationId xmlns:a16="http://schemas.microsoft.com/office/drawing/2014/main" id="{6B6CEAA7-64A9-4EF0-B065-AB6C28777A57}"/>
              </a:ext>
            </a:extLst>
          </p:cNvPr>
          <p:cNvSpPr/>
          <p:nvPr/>
        </p:nvSpPr>
        <p:spPr bwMode="auto">
          <a:xfrm>
            <a:off x="7113902" y="5120318"/>
            <a:ext cx="3657600" cy="296863"/>
          </a:xfrm>
          <a:prstGeom prst="rect">
            <a:avLst/>
          </a:prstGeom>
          <a:noFill/>
          <a:ln>
            <a:noFill/>
          </a:ln>
          <a:effectLst/>
        </p:spPr>
        <p:txBody>
          <a:bodyPr wrap="square" rtlCol="0" anchor="ctr">
            <a:noAutofit/>
          </a:bodyPr>
          <a:lstStyle/>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other lives in either an urban or rural area</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s in a household across all income levels</a:t>
            </a:r>
          </a:p>
          <a:p>
            <a:pPr marL="91440" marR="0" lvl="0" indent="-91440" algn="l" defTabSz="914400" rtl="0" eaLnBrk="1" fontAlgn="auto" latinLnBrk="0" hangingPunct="1">
              <a:lnSpc>
                <a:spcPct val="100000"/>
              </a:lnSpc>
              <a:spcBef>
                <a:spcPts val="0"/>
              </a:spcBef>
              <a:spcAft>
                <a:spcPts val="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is younger (15-29) or much older (45-49)</a:t>
            </a:r>
            <a:endParaRPr kumimoji="0" lang="en-US" sz="1400" b="0"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2" name="Rectangle 31">
            <a:extLst>
              <a:ext uri="{FF2B5EF4-FFF2-40B4-BE49-F238E27FC236}">
                <a16:creationId xmlns:a16="http://schemas.microsoft.com/office/drawing/2014/main" id="{F3F08E49-0483-49E3-9AC7-394E705C7099}"/>
              </a:ext>
            </a:extLst>
          </p:cNvPr>
          <p:cNvSpPr/>
          <p:nvPr/>
        </p:nvSpPr>
        <p:spPr bwMode="auto">
          <a:xfrm rot="16200000">
            <a:off x="6472586" y="5020051"/>
            <a:ext cx="1148645" cy="296863"/>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PNC-NB</a:t>
            </a:r>
            <a:endParaRPr kumimoji="0" lang="en-US" sz="16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3" name="TextBox 32">
            <a:extLst>
              <a:ext uri="{FF2B5EF4-FFF2-40B4-BE49-F238E27FC236}">
                <a16:creationId xmlns:a16="http://schemas.microsoft.com/office/drawing/2014/main" id="{CE2971E6-AB73-4A7A-A29A-A20D4BD21A3E}"/>
              </a:ext>
            </a:extLst>
          </p:cNvPr>
          <p:cNvSpPr txBox="1"/>
          <p:nvPr/>
        </p:nvSpPr>
        <p:spPr>
          <a:xfrm>
            <a:off x="294910" y="5934475"/>
            <a:ext cx="11300028" cy="663909"/>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N market for ANC serves urban/rural, low- and high-income women (163,402 annually).</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N market </a:t>
            </a: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does not </a:t>
            </a: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erve an important number of women who need SBA services as well as PNC services – 54,241 and 82,653, respectively. </a:t>
            </a:r>
          </a:p>
        </p:txBody>
      </p:sp>
      <p:sp>
        <p:nvSpPr>
          <p:cNvPr id="34" name="Rectangle 33">
            <a:extLst>
              <a:ext uri="{FF2B5EF4-FFF2-40B4-BE49-F238E27FC236}">
                <a16:creationId xmlns:a16="http://schemas.microsoft.com/office/drawing/2014/main" id="{E1BF542C-A215-4AB9-ADFC-5FC7814ED03D}"/>
              </a:ext>
            </a:extLst>
          </p:cNvPr>
          <p:cNvSpPr/>
          <p:nvPr/>
        </p:nvSpPr>
        <p:spPr bwMode="auto">
          <a:xfrm>
            <a:off x="3813907" y="1444852"/>
            <a:ext cx="1097280" cy="274224"/>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Quantity</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5" name="Rectangle 34">
            <a:extLst>
              <a:ext uri="{FF2B5EF4-FFF2-40B4-BE49-F238E27FC236}">
                <a16:creationId xmlns:a16="http://schemas.microsoft.com/office/drawing/2014/main" id="{8EBF7404-810F-4D77-8A1E-5FA9BFC7FD86}"/>
              </a:ext>
            </a:extLst>
          </p:cNvPr>
          <p:cNvSpPr/>
          <p:nvPr/>
        </p:nvSpPr>
        <p:spPr bwMode="auto">
          <a:xfrm>
            <a:off x="10822104" y="1444852"/>
            <a:ext cx="1097280" cy="274224"/>
          </a:xfrm>
          <a:prstGeom prst="rect">
            <a:avLst/>
          </a:prstGeom>
          <a:noFill/>
          <a:ln>
            <a:noFill/>
          </a:ln>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Quantity</a:t>
            </a:r>
            <a:endParaRPr kumimoji="0" lang="en-US" sz="1400" b="1" i="0" u="none" strike="noStrike" kern="1200" cap="none" spc="0" normalizeH="0" baseline="30000" noProof="0" dirty="0">
              <a:ln>
                <a:noFill/>
              </a:ln>
              <a:solidFill>
                <a:srgbClr val="112E38"/>
              </a:solidFill>
              <a:effectLst/>
              <a:uLnTx/>
              <a:uFillTx/>
              <a:latin typeface="Gill Sans MT" panose="020B0502020104020203"/>
              <a:ea typeface="+mn-ea"/>
              <a:cs typeface="Arial" panose="020B0604020202020204" pitchFamily="34" charset="0"/>
            </a:endParaRPr>
          </a:p>
        </p:txBody>
      </p:sp>
    </p:spTree>
    <p:extLst>
      <p:ext uri="{BB962C8B-B14F-4D97-AF65-F5344CB8AC3E}">
        <p14:creationId xmlns:p14="http://schemas.microsoft.com/office/powerpoint/2010/main" val="8042755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CDD50F-F6A5-40CB-A741-CACF90B6B4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6" name="Object 5" hidden="1">
                        <a:extLst>
                          <a:ext uri="{FF2B5EF4-FFF2-40B4-BE49-F238E27FC236}">
                            <a16:creationId xmlns:a16="http://schemas.microsoft.com/office/drawing/2014/main" id="{F6CDD50F-F6A5-40CB-A741-CACF90B6B4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422DE9A-7992-4A1C-BD98-3663D81FE60A}"/>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20000"/>
                    </a14:imgEffect>
                  </a14:imgLayer>
                </a14:imgProps>
              </a:ext>
              <a:ext uri="{28A0092B-C50C-407E-A947-70E740481C1C}">
                <a14:useLocalDpi xmlns:a14="http://schemas.microsoft.com/office/drawing/2010/main" val="0"/>
              </a:ext>
            </a:extLst>
          </a:blip>
          <a:srcRect l="29365" r="8307"/>
          <a:stretch/>
        </p:blipFill>
        <p:spPr>
          <a:xfrm>
            <a:off x="190500" y="278297"/>
            <a:ext cx="5943600" cy="6351104"/>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a:xfrm>
            <a:off x="11280901" y="6393515"/>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sp>
        <p:nvSpPr>
          <p:cNvPr id="7" name="TextBox 6">
            <a:extLst>
              <a:ext uri="{FF2B5EF4-FFF2-40B4-BE49-F238E27FC236}">
                <a16:creationId xmlns:a16="http://schemas.microsoft.com/office/drawing/2014/main" id="{968F3CE4-A203-5482-BFC0-139AB70F0F8D}"/>
              </a:ext>
            </a:extLst>
          </p:cNvPr>
          <p:cNvSpPr txBox="1"/>
          <p:nvPr/>
        </p:nvSpPr>
        <p:spPr>
          <a:xfrm>
            <a:off x="6303579" y="1650346"/>
            <a:ext cx="5697921" cy="1938992"/>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Supply of Maternal Newborn Services and Products</a:t>
            </a:r>
            <a:endPar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p:txBody>
      </p:sp>
      <p:sp>
        <p:nvSpPr>
          <p:cNvPr id="8" name="Rectangle 7">
            <a:extLst>
              <a:ext uri="{FF2B5EF4-FFF2-40B4-BE49-F238E27FC236}">
                <a16:creationId xmlns:a16="http://schemas.microsoft.com/office/drawing/2014/main" id="{D1C8CB50-E230-882C-5C77-CCAC9C86A4C3}"/>
              </a:ext>
            </a:extLst>
          </p:cNvPr>
          <p:cNvSpPr/>
          <p:nvPr/>
        </p:nvSpPr>
        <p:spPr>
          <a:xfrm>
            <a:off x="359979" y="564491"/>
            <a:ext cx="5543550" cy="5867400"/>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9057930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FAABA-BA53-EA39-CA42-33DC3F7C3D84}"/>
              </a:ext>
            </a:extLst>
          </p:cNvPr>
          <p:cNvSpPr>
            <a:spLocks noGrp="1"/>
          </p:cNvSpPr>
          <p:nvPr>
            <p:ph type="title"/>
          </p:nvPr>
        </p:nvSpPr>
        <p:spPr/>
        <p:txBody>
          <a:bodyPr>
            <a:normAutofit/>
          </a:bodyPr>
          <a:lstStyle/>
          <a:p>
            <a:pPr algn="l"/>
            <a:r>
              <a:rPr lang="en-US" sz="2400" kern="1200" dirty="0">
                <a:latin typeface="+mj-lt"/>
              </a:rPr>
              <a:t>There is a wide range of public and private market actors to consider when shaping MNH markets</a:t>
            </a:r>
            <a:endParaRPr lang="fr-FR" sz="2400" dirty="0"/>
          </a:p>
        </p:txBody>
      </p:sp>
      <p:sp>
        <p:nvSpPr>
          <p:cNvPr id="3" name="Slide Number Placeholder 2">
            <a:extLst>
              <a:ext uri="{FF2B5EF4-FFF2-40B4-BE49-F238E27FC236}">
                <a16:creationId xmlns:a16="http://schemas.microsoft.com/office/drawing/2014/main" id="{519D7537-BA8A-916B-DA87-3CEEEDE98FF7}"/>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a:ln>
                <a:noFill/>
              </a:ln>
              <a:solidFill>
                <a:srgbClr val="112E38"/>
              </a:solidFill>
              <a:effectLst/>
              <a:uLnTx/>
              <a:uFillTx/>
              <a:latin typeface="Gill Sans MT" panose="020B0502020104020203" pitchFamily="34" charset="0"/>
              <a:ea typeface="+mn-ea"/>
              <a:cs typeface="+mn-cs"/>
            </a:endParaRPr>
          </a:p>
        </p:txBody>
      </p:sp>
      <p:pic>
        <p:nvPicPr>
          <p:cNvPr id="4" name="Picture 3">
            <a:extLst>
              <a:ext uri="{FF2B5EF4-FFF2-40B4-BE49-F238E27FC236}">
                <a16:creationId xmlns:a16="http://schemas.microsoft.com/office/drawing/2014/main" id="{ABC07088-4361-3F22-1D44-B92E8ABCE2B0}"/>
              </a:ext>
            </a:extLst>
          </p:cNvPr>
          <p:cNvPicPr>
            <a:picLocks noChangeAspect="1"/>
          </p:cNvPicPr>
          <p:nvPr/>
        </p:nvPicPr>
        <p:blipFill rotWithShape="1">
          <a:blip r:embed="rId2"/>
          <a:srcRect r="13306"/>
          <a:stretch/>
        </p:blipFill>
        <p:spPr>
          <a:xfrm>
            <a:off x="277231" y="1665773"/>
            <a:ext cx="7396558" cy="4433960"/>
          </a:xfrm>
          <a:prstGeom prst="rect">
            <a:avLst/>
          </a:prstGeom>
        </p:spPr>
      </p:pic>
      <p:sp>
        <p:nvSpPr>
          <p:cNvPr id="5" name="McK 5. Source">
            <a:extLst>
              <a:ext uri="{FF2B5EF4-FFF2-40B4-BE49-F238E27FC236}">
                <a16:creationId xmlns:a16="http://schemas.microsoft.com/office/drawing/2014/main" id="{DBF60EC1-50D9-2A9A-CED4-8FF1E01448DC}"/>
              </a:ext>
            </a:extLst>
          </p:cNvPr>
          <p:cNvSpPr>
            <a:spLocks noChangeArrowheads="1"/>
          </p:cNvSpPr>
          <p:nvPr/>
        </p:nvSpPr>
        <p:spPr bwMode="auto">
          <a:xfrm>
            <a:off x="62348" y="5888504"/>
            <a:ext cx="12129652" cy="96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1. SMOH – State Ministry of Health, 2. SPHCB – State Primary Health Care Board, 3. NAFDAC – National Agency for Food and Drug Administration and Control, 4. HMB – Hospital Management Board, 5. MDCN – Medical and Dental Council of Nigeria, 6. NMCN – Nursing and Midwife Council of Nigeria, 7. PCN – Pharmacists Council of Nigeria, 8. EBSHIA – Ebonyi State Health Insurance Agency, 9. BHCPF – Basic Health Care Provision Fund, 10. HPRS – Health Planning, Research and Statistics 11. PPMVs – Proprietary and Patent Medicine Vendors, 12. AGPMPN - </a:t>
            </a: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mn-cs"/>
              </a:rPr>
              <a:t>Association of General and Private Medical Practitioners of Nigeria, 13. NANNM – National Association of Nigeria Nurses and Midwives (NANNM), 14. PMGMAN - Pharmaceutical Manufacturers Group of Manufacturers Association of Nigeria, , 15. AGPNPN – Association of General Private Nursing Practitioners, 16. NAPPMED – National Association of Patent and Proprietary Medicines, 17. GMD – Guild of Medical Doctors, 18. ACPN – Association of Community Pharmacists of Nigeria, 19. USAID – United States Agency for International Development, 20. UNICEF – United Nations International Children's Emergency Fun, 21. UNFPA - United Nations Population Fund, 22. WHO – World Health Organization, 23. GHSC-PSM – Global Health Supply Chain Program-Procurement and Supply Management, 24. PQM+ - Promoting the Quality of Medicines Plus, 25. IHP – Integrated Health Program, 26. CHAI – Clinton Health Access Initiative, 27. HWFR – Health Work Force Registry, 28. PMI – President's Malaria Initiative</a:t>
            </a:r>
            <a:endPar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endParaRPr>
          </a:p>
        </p:txBody>
      </p:sp>
      <p:sp>
        <p:nvSpPr>
          <p:cNvPr id="6" name="TextBox 5">
            <a:extLst>
              <a:ext uri="{FF2B5EF4-FFF2-40B4-BE49-F238E27FC236}">
                <a16:creationId xmlns:a16="http://schemas.microsoft.com/office/drawing/2014/main" id="{B85C9A36-CC04-4F5B-CEAE-38C216F398F6}"/>
              </a:ext>
            </a:extLst>
          </p:cNvPr>
          <p:cNvSpPr txBox="1"/>
          <p:nvPr/>
        </p:nvSpPr>
        <p:spPr>
          <a:xfrm>
            <a:off x="7881525" y="1870991"/>
            <a:ext cx="4033244" cy="3418541"/>
          </a:xfrm>
          <a:prstGeom prst="rect">
            <a:avLst/>
          </a:prstGeom>
          <a:solidFill>
            <a:schemeClr val="bg1">
              <a:lumMod val="95000"/>
            </a:schemeClr>
          </a:solidFill>
          <a:ln w="9525">
            <a:noFill/>
            <a:miter lim="800000"/>
            <a:headEnd/>
            <a:tailEnd/>
          </a:ln>
          <a:effectLst/>
        </p:spPr>
        <p:txBody>
          <a:bodyPr vert="horz" wrap="square" lIns="91440" tIns="45720" rIns="91440" bIns="45720" numCol="1" rtlCol="0" anchor="ctr" anchorCtr="0" compatLnSpc="1">
            <a:prstTxWarp prst="textNoShape">
              <a:avLst/>
            </a:prstTxWarp>
            <a:noAutofit/>
          </a:bodyPr>
          <a:lstStyle/>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On the </a:t>
            </a: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roduct supply side</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there are public, donor and private actors ensuring supply of MNH products and equipment</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On the </a:t>
            </a: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ervice supply side</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there is a mix of public and private actors in the MN market</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There are no organization or association representing </a:t>
            </a: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consumer interests</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of women and newborn</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MNH services are </a:t>
            </a: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financed by three sources</a:t>
            </a: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dominated by consumer OOP spending, donor funds and finally public</a:t>
            </a:r>
          </a:p>
          <a:p>
            <a:pPr marL="182880" marR="0" lvl="0" indent="-182880" algn="l" defTabSz="121917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Regulatory agencies responsible for governing MNH services and products markets are present at the state and federal levels  </a:t>
            </a:r>
          </a:p>
        </p:txBody>
      </p:sp>
      <p:sp>
        <p:nvSpPr>
          <p:cNvPr id="7" name="Title 1">
            <a:extLst>
              <a:ext uri="{FF2B5EF4-FFF2-40B4-BE49-F238E27FC236}">
                <a16:creationId xmlns:a16="http://schemas.microsoft.com/office/drawing/2014/main" id="{DE479E6E-F817-60F6-D400-3A1877795AA4}"/>
              </a:ext>
            </a:extLst>
          </p:cNvPr>
          <p:cNvSpPr txBox="1">
            <a:spLocks/>
          </p:cNvSpPr>
          <p:nvPr/>
        </p:nvSpPr>
        <p:spPr>
          <a:xfrm>
            <a:off x="37768" y="7390"/>
            <a:ext cx="1832867" cy="261531"/>
          </a:xfrm>
          <a:prstGeom prst="rect">
            <a:avLst/>
          </a:prstGeom>
        </p:spPr>
        <p:txBody>
          <a:bodyPr vert="horz" wrap="square" lIns="45720" tIns="45681" rIns="91363" bIns="45681">
            <a:spAutoFit/>
          </a:bodyPr>
          <a:lstStyle>
            <a:lvl1pPr algn="l" defTabSz="911713" rtl="0" eaLnBrk="1" fontAlgn="base" hangingPunct="1">
              <a:spcBef>
                <a:spcPct val="0"/>
              </a:spcBef>
              <a:spcAft>
                <a:spcPct val="0"/>
              </a:spcAft>
              <a:defRPr sz="2000" b="1">
                <a:solidFill>
                  <a:srgbClr val="336600"/>
                </a:solidFill>
                <a:latin typeface="+mj-lt"/>
                <a:ea typeface="+mj-ea"/>
                <a:cs typeface="+mj-cs"/>
              </a:defRPr>
            </a:lvl1pPr>
            <a:lvl2pPr algn="l" defTabSz="911713" rtl="0" eaLnBrk="1" fontAlgn="base" hangingPunct="1">
              <a:spcBef>
                <a:spcPct val="0"/>
              </a:spcBef>
              <a:spcAft>
                <a:spcPct val="0"/>
              </a:spcAft>
              <a:defRPr sz="2000" b="1">
                <a:solidFill>
                  <a:srgbClr val="336600"/>
                </a:solidFill>
                <a:latin typeface="Arial" charset="0"/>
              </a:defRPr>
            </a:lvl2pPr>
            <a:lvl3pPr algn="l" defTabSz="911713" rtl="0" eaLnBrk="1" fontAlgn="base" hangingPunct="1">
              <a:spcBef>
                <a:spcPct val="0"/>
              </a:spcBef>
              <a:spcAft>
                <a:spcPct val="0"/>
              </a:spcAft>
              <a:defRPr sz="2000" b="1">
                <a:solidFill>
                  <a:srgbClr val="336600"/>
                </a:solidFill>
                <a:latin typeface="Arial" charset="0"/>
              </a:defRPr>
            </a:lvl3pPr>
            <a:lvl4pPr algn="l" defTabSz="911713" rtl="0" eaLnBrk="1" fontAlgn="base" hangingPunct="1">
              <a:spcBef>
                <a:spcPct val="0"/>
              </a:spcBef>
              <a:spcAft>
                <a:spcPct val="0"/>
              </a:spcAft>
              <a:defRPr sz="2000" b="1">
                <a:solidFill>
                  <a:srgbClr val="336600"/>
                </a:solidFill>
                <a:latin typeface="Arial" charset="0"/>
              </a:defRPr>
            </a:lvl4pPr>
            <a:lvl5pPr algn="l" defTabSz="911713" rtl="0" eaLnBrk="1" fontAlgn="base" hangingPunct="1">
              <a:spcBef>
                <a:spcPct val="0"/>
              </a:spcBef>
              <a:spcAft>
                <a:spcPct val="0"/>
              </a:spcAft>
              <a:defRPr sz="2000" b="1">
                <a:solidFill>
                  <a:srgbClr val="336600"/>
                </a:solidFill>
                <a:latin typeface="Arial" charset="0"/>
              </a:defRPr>
            </a:lvl5pPr>
            <a:lvl6pPr marL="465822" algn="l" defTabSz="912233" rtl="0" eaLnBrk="1" fontAlgn="base" hangingPunct="1">
              <a:spcBef>
                <a:spcPct val="0"/>
              </a:spcBef>
              <a:spcAft>
                <a:spcPct val="0"/>
              </a:spcAft>
              <a:defRPr sz="2000" b="1">
                <a:solidFill>
                  <a:srgbClr val="336600"/>
                </a:solidFill>
                <a:latin typeface="Arial" charset="0"/>
              </a:defRPr>
            </a:lvl6pPr>
            <a:lvl7pPr marL="931640" algn="l" defTabSz="912233" rtl="0" eaLnBrk="1" fontAlgn="base" hangingPunct="1">
              <a:spcBef>
                <a:spcPct val="0"/>
              </a:spcBef>
              <a:spcAft>
                <a:spcPct val="0"/>
              </a:spcAft>
              <a:defRPr sz="2000" b="1">
                <a:solidFill>
                  <a:srgbClr val="336600"/>
                </a:solidFill>
                <a:latin typeface="Arial" charset="0"/>
              </a:defRPr>
            </a:lvl7pPr>
            <a:lvl8pPr marL="1397463" algn="l" defTabSz="912233" rtl="0" eaLnBrk="1" fontAlgn="base" hangingPunct="1">
              <a:spcBef>
                <a:spcPct val="0"/>
              </a:spcBef>
              <a:spcAft>
                <a:spcPct val="0"/>
              </a:spcAft>
              <a:defRPr sz="2000" b="1">
                <a:solidFill>
                  <a:srgbClr val="336600"/>
                </a:solidFill>
                <a:latin typeface="Arial" charset="0"/>
              </a:defRPr>
            </a:lvl8pPr>
            <a:lvl9pPr marL="1863285" algn="l" defTabSz="912233" rtl="0" eaLnBrk="1" fontAlgn="base" hangingPunct="1">
              <a:spcBef>
                <a:spcPct val="0"/>
              </a:spcBef>
              <a:spcAft>
                <a:spcPct val="0"/>
              </a:spcAft>
              <a:defRPr sz="2000" b="1">
                <a:solidFill>
                  <a:srgbClr val="336600"/>
                </a:solidFill>
                <a:latin typeface="Arial" charset="0"/>
              </a:defRPr>
            </a:lvl9pPr>
          </a:lstStyle>
          <a:p>
            <a:pPr marL="0" marR="0" lvl="0" indent="0" algn="l" defTabSz="910679" rtl="0" eaLnBrk="1" fontAlgn="base" latinLnBrk="0" hangingPunct="1">
              <a:lnSpc>
                <a:spcPct val="100000"/>
              </a:lnSpc>
              <a:spcBef>
                <a:spcPct val="0"/>
              </a:spcBef>
              <a:spcAft>
                <a:spcPct val="0"/>
              </a:spcAft>
              <a:buClrTx/>
              <a:buSzTx/>
              <a:buFontTx/>
              <a:buNone/>
              <a:tabLst>
                <a:tab pos="368723" algn="l"/>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SUPPLY – Market Actors</a:t>
            </a:r>
          </a:p>
        </p:txBody>
      </p:sp>
      <p:sp>
        <p:nvSpPr>
          <p:cNvPr id="8" name="TextBox 7">
            <a:extLst>
              <a:ext uri="{FF2B5EF4-FFF2-40B4-BE49-F238E27FC236}">
                <a16:creationId xmlns:a16="http://schemas.microsoft.com/office/drawing/2014/main" id="{71825FFD-1A52-2071-C03C-42A3CC337E4B}"/>
              </a:ext>
            </a:extLst>
          </p:cNvPr>
          <p:cNvSpPr txBox="1"/>
          <p:nvPr/>
        </p:nvSpPr>
        <p:spPr>
          <a:xfrm>
            <a:off x="277231" y="1276657"/>
            <a:ext cx="6948322" cy="30777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65000"/>
                    <a:lumOff val="35000"/>
                  </a:prstClr>
                </a:solidFill>
                <a:effectLst/>
                <a:uLnTx/>
                <a:uFillTx/>
                <a:latin typeface="Gill Sans MT" panose="020B0502020104020203"/>
                <a:ea typeface="+mn-ea"/>
                <a:cs typeface="+mn-cs"/>
              </a:rPr>
              <a:t>MARKET ACTORS BY MARKET ROLE</a:t>
            </a:r>
            <a:endParaRPr kumimoji="0" lang="fr-FR" sz="1400" b="0" i="0" u="none" strike="noStrike" kern="1200" cap="none" spc="0" normalizeH="0" baseline="0" noProof="0" dirty="0">
              <a:ln>
                <a:noFill/>
              </a:ln>
              <a:solidFill>
                <a:prstClr val="black">
                  <a:lumMod val="65000"/>
                  <a:lumOff val="35000"/>
                </a:prstClr>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059924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7F56E0B-ACAC-6FAF-D3E3-E3D2E87AA4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5" name="Object 14" hidden="1">
                        <a:extLst>
                          <a:ext uri="{FF2B5EF4-FFF2-40B4-BE49-F238E27FC236}">
                            <a16:creationId xmlns:a16="http://schemas.microsoft.com/office/drawing/2014/main" id="{07F56E0B-ACAC-6FAF-D3E3-E3D2E87AA4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CA4831-56E1-D1F7-D524-1390F8C3D7DD}"/>
              </a:ext>
            </a:extLst>
          </p:cNvPr>
          <p:cNvSpPr>
            <a:spLocks noGrp="1"/>
          </p:cNvSpPr>
          <p:nvPr>
            <p:ph type="title"/>
          </p:nvPr>
        </p:nvSpPr>
        <p:spPr>
          <a:xfrm>
            <a:off x="236551" y="320255"/>
            <a:ext cx="11270299" cy="769286"/>
          </a:xfrm>
        </p:spPr>
        <p:txBody>
          <a:bodyPr vert="horz">
            <a:normAutofit fontScale="90000"/>
          </a:bodyPr>
          <a:lstStyle/>
          <a:p>
            <a:pPr algn="l"/>
            <a:r>
              <a:rPr lang="en-US" sz="2400" dirty="0">
                <a:latin typeface="+mj-lt"/>
                <a:cs typeface="Arial" panose="020B0604020202020204" pitchFamily="34" charset="0"/>
              </a:rPr>
              <a:t>There are a limited number of public/private facilities in rural areas; private facilities are concentrated in a small number of LGAs – mostly in the state capital</a:t>
            </a:r>
            <a:endParaRPr lang="fr-FR" sz="2400" dirty="0">
              <a:latin typeface="+mj-lt"/>
              <a:cs typeface="Arial" panose="020B0604020202020204" pitchFamily="34" charset="0"/>
            </a:endParaRPr>
          </a:p>
        </p:txBody>
      </p:sp>
      <p:sp>
        <p:nvSpPr>
          <p:cNvPr id="11" name="McK 5. Source">
            <a:extLst>
              <a:ext uri="{FF2B5EF4-FFF2-40B4-BE49-F238E27FC236}">
                <a16:creationId xmlns:a16="http://schemas.microsoft.com/office/drawing/2014/main" id="{0CD78EE8-81B4-7E10-1757-E6B2343F88F5}"/>
              </a:ext>
            </a:extLst>
          </p:cNvPr>
          <p:cNvSpPr>
            <a:spLocks noChangeArrowheads="1"/>
          </p:cNvSpPr>
          <p:nvPr/>
        </p:nvSpPr>
        <p:spPr bwMode="gray">
          <a:xfrm>
            <a:off x="54769" y="6683607"/>
            <a:ext cx="6862762" cy="153888"/>
          </a:xfrm>
          <a:prstGeom prst="rect">
            <a:avLst/>
          </a:prstGeom>
          <a:noFill/>
          <a:ln w="9525">
            <a:noFill/>
            <a:miter lim="800000"/>
            <a:headEnd/>
            <a:tailEnd/>
          </a:ln>
        </p:spPr>
        <p:txBody>
          <a:bodyPr lIns="0" tIns="0" rIns="0" bIns="0" anchor="ctr">
            <a:spAutoFit/>
          </a:bodyPr>
          <a:lstStyle/>
          <a:p>
            <a:pPr marL="609342" marR="0" lvl="0" indent="-609342" algn="l" defTabSz="894970" rtl="0" eaLnBrk="1" fontAlgn="auto" latinLnBrk="0" hangingPunct="1">
              <a:lnSpc>
                <a:spcPct val="100000"/>
              </a:lnSpc>
              <a:spcBef>
                <a:spcPts val="0"/>
              </a:spcBef>
              <a:spcAft>
                <a:spcPts val="0"/>
              </a:spcAft>
              <a:buClrTx/>
              <a:buSzTx/>
              <a:buFontTx/>
              <a:buNone/>
              <a:tabLst>
                <a:tab pos="612516" algn="l"/>
              </a:tabLst>
              <a:defRPr/>
            </a:pPr>
            <a:r>
              <a:rPr kumimoji="0" lang="en-GB" sz="10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Ministry of Health   2. </a:t>
            </a:r>
            <a:r>
              <a:rPr kumimoji="0" lang="en-GB" sz="10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hlinkClick r:id="rId6"/>
              </a:rPr>
              <a:t>https://www.city-facts.com/</a:t>
            </a:r>
            <a:r>
              <a:rPr kumimoji="0" lang="en-GB" sz="10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3. Nigeria Health Facility Registry  </a:t>
            </a:r>
          </a:p>
        </p:txBody>
      </p:sp>
      <p:sp>
        <p:nvSpPr>
          <p:cNvPr id="55" name="TextBox 54">
            <a:extLst>
              <a:ext uri="{FF2B5EF4-FFF2-40B4-BE49-F238E27FC236}">
                <a16:creationId xmlns:a16="http://schemas.microsoft.com/office/drawing/2014/main" id="{A589D365-C94B-EAA8-A2AE-07C85DA4FDF5}"/>
              </a:ext>
            </a:extLst>
          </p:cNvPr>
          <p:cNvSpPr txBox="1"/>
          <p:nvPr/>
        </p:nvSpPr>
        <p:spPr>
          <a:xfrm>
            <a:off x="9131287" y="2344831"/>
            <a:ext cx="2824162" cy="4332060"/>
          </a:xfrm>
          <a:prstGeom prst="rect">
            <a:avLst/>
          </a:prstGeom>
          <a:solidFill>
            <a:schemeClr val="bg1">
              <a:lumMod val="95000"/>
            </a:schemeClr>
          </a:solidFill>
          <a:ln w="9525">
            <a:solidFill>
              <a:schemeClr val="bg1">
                <a:lumMod val="75000"/>
              </a:schemeClr>
            </a:solidFill>
            <a:miter lim="800000"/>
            <a:headEnd/>
            <a:tailEnd/>
          </a:ln>
          <a:effectLst/>
        </p:spPr>
        <p:txBody>
          <a:bodyPr vert="horz" wrap="square" lIns="91440" tIns="45720" rIns="91440" bIns="45720" numCol="1" rtlCol="0" anchor="t" anchorCtr="0" compatLnSpc="1">
            <a:prstTxWarp prst="textNoShape">
              <a:avLst/>
            </a:prstTxWarp>
            <a:noAutofit/>
          </a:bodyPr>
          <a:lstStyle/>
          <a:p>
            <a:pPr marL="182880" marR="0" lvl="1" indent="-182880" algn="l" defTabSz="896017"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prstClr val="black"/>
                </a:solidFill>
                <a:effectLst/>
                <a:uLnTx/>
                <a:uFillTx/>
                <a:latin typeface="Gill Sans MT" panose="020B0502020104020203"/>
                <a:ea typeface="ＭＳ Ｐゴシック"/>
                <a:cs typeface="Arial" panose="020B0604020202020204" pitchFamily="34" charset="0"/>
              </a:rPr>
              <a:t>Private sector owns and manages 28% of health facilities in  Ebonyi, mostly at the </a:t>
            </a:r>
            <a:r>
              <a:rPr kumimoji="0" lang="en-GB" sz="1400" b="1" i="0" u="none" strike="noStrike" kern="0" cap="none" spc="0" normalizeH="0" baseline="0" noProof="0" dirty="0">
                <a:ln>
                  <a:noFill/>
                </a:ln>
                <a:solidFill>
                  <a:prstClr val="black"/>
                </a:solidFill>
                <a:effectLst/>
                <a:uLnTx/>
                <a:uFillTx/>
                <a:latin typeface="Gill Sans MT" panose="020B0502020104020203"/>
                <a:ea typeface="ＭＳ Ｐゴシック"/>
                <a:cs typeface="Arial" panose="020B0604020202020204" pitchFamily="34" charset="0"/>
              </a:rPr>
              <a:t>primary and secondary levels.</a:t>
            </a:r>
          </a:p>
          <a:p>
            <a:pPr marL="182880" marR="0" lvl="1" indent="-18288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Ebonyi state capital - </a:t>
            </a:r>
            <a:r>
              <a:rPr kumimoji="0" lang="en-GB" sz="1400" b="1"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Abakaliki –has the largest number of private healthcare facilities</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PHC facilities (19)</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Secondary facilities (13)</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Registered PPMVs (66) </a:t>
            </a:r>
          </a:p>
          <a:p>
            <a:pPr marL="182880" marR="0" lvl="1" indent="-18288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endParaRPr kumimoji="0" lang="en-GB" sz="6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endParaRPr>
          </a:p>
          <a:p>
            <a:pPr marL="182880" marR="0" lvl="1" indent="-18288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Others are clustered in:</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Ezza North: 27 – all PHC</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Izzi: 21 mostly PHC [18] and secondary [3]</a:t>
            </a:r>
          </a:p>
          <a:p>
            <a:pPr marL="182880" marR="0" lvl="1" indent="-18288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There is an uneven distribution of secondary HFs, community pharmacies and PPMVs  across the LGAs</a:t>
            </a:r>
          </a:p>
          <a:p>
            <a:pPr marL="0" marR="0" lvl="1" indent="0" algn="l" defTabSz="896017" rtl="0" eaLnBrk="1" fontAlgn="auto" latinLnBrk="0" hangingPunct="1">
              <a:lnSpc>
                <a:spcPct val="100000"/>
              </a:lnSpc>
              <a:spcBef>
                <a:spcPts val="0"/>
              </a:spcBef>
              <a:spcAft>
                <a:spcPts val="0"/>
              </a:spcAft>
              <a:buClrTx/>
              <a:buSzPct val="100000"/>
              <a:buFontTx/>
              <a:buNone/>
              <a:tabLst/>
              <a:defRPr/>
            </a:pPr>
            <a:endPar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endParaRPr>
          </a:p>
        </p:txBody>
      </p:sp>
      <p:sp>
        <p:nvSpPr>
          <p:cNvPr id="3" name="Title 1">
            <a:extLst>
              <a:ext uri="{FF2B5EF4-FFF2-40B4-BE49-F238E27FC236}">
                <a16:creationId xmlns:a16="http://schemas.microsoft.com/office/drawing/2014/main" id="{4F219B67-7F82-2667-8459-2AB8945E11F1}"/>
              </a:ext>
            </a:extLst>
          </p:cNvPr>
          <p:cNvSpPr txBox="1">
            <a:spLocks/>
          </p:cNvSpPr>
          <p:nvPr/>
        </p:nvSpPr>
        <p:spPr>
          <a:xfrm>
            <a:off x="0" y="0"/>
            <a:ext cx="1828800" cy="261531"/>
          </a:xfrm>
          <a:prstGeom prst="rect">
            <a:avLst/>
          </a:prstGeom>
        </p:spPr>
        <p:txBody>
          <a:bodyPr vert="horz" wrap="square" lIns="45720" tIns="45681" rIns="91363" bIns="45681">
            <a:spAutoFit/>
          </a:bodyPr>
          <a:lstStyle>
            <a:lvl1pPr algn="l" defTabSz="911713" rtl="0" eaLnBrk="1" fontAlgn="base" hangingPunct="1">
              <a:spcBef>
                <a:spcPct val="0"/>
              </a:spcBef>
              <a:spcAft>
                <a:spcPct val="0"/>
              </a:spcAft>
              <a:defRPr sz="2000" b="1">
                <a:solidFill>
                  <a:srgbClr val="336600"/>
                </a:solidFill>
                <a:latin typeface="+mj-lt"/>
                <a:ea typeface="+mj-ea"/>
                <a:cs typeface="+mj-cs"/>
              </a:defRPr>
            </a:lvl1pPr>
            <a:lvl2pPr algn="l" defTabSz="911713" rtl="0" eaLnBrk="1" fontAlgn="base" hangingPunct="1">
              <a:spcBef>
                <a:spcPct val="0"/>
              </a:spcBef>
              <a:spcAft>
                <a:spcPct val="0"/>
              </a:spcAft>
              <a:defRPr sz="2000" b="1">
                <a:solidFill>
                  <a:srgbClr val="336600"/>
                </a:solidFill>
                <a:latin typeface="Arial" charset="0"/>
              </a:defRPr>
            </a:lvl2pPr>
            <a:lvl3pPr algn="l" defTabSz="911713" rtl="0" eaLnBrk="1" fontAlgn="base" hangingPunct="1">
              <a:spcBef>
                <a:spcPct val="0"/>
              </a:spcBef>
              <a:spcAft>
                <a:spcPct val="0"/>
              </a:spcAft>
              <a:defRPr sz="2000" b="1">
                <a:solidFill>
                  <a:srgbClr val="336600"/>
                </a:solidFill>
                <a:latin typeface="Arial" charset="0"/>
              </a:defRPr>
            </a:lvl3pPr>
            <a:lvl4pPr algn="l" defTabSz="911713" rtl="0" eaLnBrk="1" fontAlgn="base" hangingPunct="1">
              <a:spcBef>
                <a:spcPct val="0"/>
              </a:spcBef>
              <a:spcAft>
                <a:spcPct val="0"/>
              </a:spcAft>
              <a:defRPr sz="2000" b="1">
                <a:solidFill>
                  <a:srgbClr val="336600"/>
                </a:solidFill>
                <a:latin typeface="Arial" charset="0"/>
              </a:defRPr>
            </a:lvl4pPr>
            <a:lvl5pPr algn="l" defTabSz="911713" rtl="0" eaLnBrk="1" fontAlgn="base" hangingPunct="1">
              <a:spcBef>
                <a:spcPct val="0"/>
              </a:spcBef>
              <a:spcAft>
                <a:spcPct val="0"/>
              </a:spcAft>
              <a:defRPr sz="2000" b="1">
                <a:solidFill>
                  <a:srgbClr val="336600"/>
                </a:solidFill>
                <a:latin typeface="Arial" charset="0"/>
              </a:defRPr>
            </a:lvl5pPr>
            <a:lvl6pPr marL="465822" algn="l" defTabSz="912233" rtl="0" eaLnBrk="1" fontAlgn="base" hangingPunct="1">
              <a:spcBef>
                <a:spcPct val="0"/>
              </a:spcBef>
              <a:spcAft>
                <a:spcPct val="0"/>
              </a:spcAft>
              <a:defRPr sz="2000" b="1">
                <a:solidFill>
                  <a:srgbClr val="336600"/>
                </a:solidFill>
                <a:latin typeface="Arial" charset="0"/>
              </a:defRPr>
            </a:lvl6pPr>
            <a:lvl7pPr marL="931640" algn="l" defTabSz="912233" rtl="0" eaLnBrk="1" fontAlgn="base" hangingPunct="1">
              <a:spcBef>
                <a:spcPct val="0"/>
              </a:spcBef>
              <a:spcAft>
                <a:spcPct val="0"/>
              </a:spcAft>
              <a:defRPr sz="2000" b="1">
                <a:solidFill>
                  <a:srgbClr val="336600"/>
                </a:solidFill>
                <a:latin typeface="Arial" charset="0"/>
              </a:defRPr>
            </a:lvl7pPr>
            <a:lvl8pPr marL="1397463" algn="l" defTabSz="912233" rtl="0" eaLnBrk="1" fontAlgn="base" hangingPunct="1">
              <a:spcBef>
                <a:spcPct val="0"/>
              </a:spcBef>
              <a:spcAft>
                <a:spcPct val="0"/>
              </a:spcAft>
              <a:defRPr sz="2000" b="1">
                <a:solidFill>
                  <a:srgbClr val="336600"/>
                </a:solidFill>
                <a:latin typeface="Arial" charset="0"/>
              </a:defRPr>
            </a:lvl8pPr>
            <a:lvl9pPr marL="1863285" algn="l" defTabSz="912233" rtl="0" eaLnBrk="1" fontAlgn="base" hangingPunct="1">
              <a:spcBef>
                <a:spcPct val="0"/>
              </a:spcBef>
              <a:spcAft>
                <a:spcPct val="0"/>
              </a:spcAft>
              <a:defRPr sz="2000" b="1">
                <a:solidFill>
                  <a:srgbClr val="336600"/>
                </a:solidFill>
                <a:latin typeface="Arial" charset="0"/>
              </a:defRPr>
            </a:lvl9pPr>
          </a:lstStyle>
          <a:p>
            <a:pPr marL="0" marR="0" lvl="0" indent="0" algn="l" defTabSz="910679" rtl="0" eaLnBrk="1" fontAlgn="base" latinLnBrk="0" hangingPunct="1">
              <a:lnSpc>
                <a:spcPct val="100000"/>
              </a:lnSpc>
              <a:spcBef>
                <a:spcPct val="0"/>
              </a:spcBef>
              <a:spcAft>
                <a:spcPct val="0"/>
              </a:spcAft>
              <a:buClrTx/>
              <a:buSzTx/>
              <a:buFontTx/>
              <a:buNone/>
              <a:tabLst>
                <a:tab pos="368723" algn="l"/>
              </a:tabLst>
              <a:defRPr/>
            </a:pPr>
            <a:r>
              <a:rPr kumimoji="0" lang="en-US" sz="1100" b="0"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SUPPLY summary</a:t>
            </a:r>
          </a:p>
        </p:txBody>
      </p:sp>
      <p:grpSp>
        <p:nvGrpSpPr>
          <p:cNvPr id="43" name="Group 42">
            <a:extLst>
              <a:ext uri="{FF2B5EF4-FFF2-40B4-BE49-F238E27FC236}">
                <a16:creationId xmlns:a16="http://schemas.microsoft.com/office/drawing/2014/main" id="{68EDB889-FCF0-4648-A4C1-D06ED574D800}"/>
              </a:ext>
            </a:extLst>
          </p:cNvPr>
          <p:cNvGrpSpPr/>
          <p:nvPr/>
        </p:nvGrpSpPr>
        <p:grpSpPr>
          <a:xfrm>
            <a:off x="9131843" y="1294762"/>
            <a:ext cx="2824162" cy="1053802"/>
            <a:chOff x="9131843" y="1294762"/>
            <a:chExt cx="2824162" cy="1053802"/>
          </a:xfrm>
        </p:grpSpPr>
        <p:sp>
          <p:nvSpPr>
            <p:cNvPr id="44" name="Rectangle 43">
              <a:extLst>
                <a:ext uri="{FF2B5EF4-FFF2-40B4-BE49-F238E27FC236}">
                  <a16:creationId xmlns:a16="http://schemas.microsoft.com/office/drawing/2014/main" id="{406AEC13-D567-47D4-91DF-FE2A9C28B338}"/>
                </a:ext>
              </a:extLst>
            </p:cNvPr>
            <p:cNvSpPr/>
            <p:nvPr/>
          </p:nvSpPr>
          <p:spPr>
            <a:xfrm>
              <a:off x="9131843" y="1294762"/>
              <a:ext cx="2824162" cy="1053802"/>
            </a:xfrm>
            <a:prstGeom prst="rect">
              <a:avLst/>
            </a:prstGeom>
            <a:noFill/>
            <a:ln w="12700" cap="flat" cmpd="sng" algn="ctr">
              <a:solidFill>
                <a:srgbClr val="F5FBBC">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Gill Sans MT" panose="020B0502020104020203"/>
                <a:ea typeface="+mn-ea"/>
                <a:cs typeface="Arial" panose="020B0604020202020204" pitchFamily="34" charset="0"/>
              </a:endParaRPr>
            </a:p>
          </p:txBody>
        </p:sp>
        <p:grpSp>
          <p:nvGrpSpPr>
            <p:cNvPr id="45" name="Group 44">
              <a:extLst>
                <a:ext uri="{FF2B5EF4-FFF2-40B4-BE49-F238E27FC236}">
                  <a16:creationId xmlns:a16="http://schemas.microsoft.com/office/drawing/2014/main" id="{DAD2961F-408E-42DF-AFB8-30025A33BA6F}"/>
                </a:ext>
              </a:extLst>
            </p:cNvPr>
            <p:cNvGrpSpPr/>
            <p:nvPr/>
          </p:nvGrpSpPr>
          <p:grpSpPr>
            <a:xfrm>
              <a:off x="9186503" y="1565517"/>
              <a:ext cx="1513540" cy="174760"/>
              <a:chOff x="-1481272" y="5155680"/>
              <a:chExt cx="1267012" cy="138499"/>
            </a:xfrm>
          </p:grpSpPr>
          <p:sp>
            <p:nvSpPr>
              <p:cNvPr id="64" name="Rectangle 63">
                <a:extLst>
                  <a:ext uri="{FF2B5EF4-FFF2-40B4-BE49-F238E27FC236}">
                    <a16:creationId xmlns:a16="http://schemas.microsoft.com/office/drawing/2014/main" id="{0787C476-CEAD-466E-9A5B-C63D39C8F250}"/>
                  </a:ext>
                </a:extLst>
              </p:cNvPr>
              <p:cNvSpPr/>
              <p:nvPr/>
            </p:nvSpPr>
            <p:spPr>
              <a:xfrm>
                <a:off x="-1481272" y="5155888"/>
                <a:ext cx="144797" cy="137160"/>
              </a:xfrm>
              <a:prstGeom prst="rect">
                <a:avLst/>
              </a:prstGeom>
              <a:solidFill>
                <a:srgbClr val="007770"/>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endParaRPr>
              </a:p>
            </p:txBody>
          </p:sp>
          <p:sp>
            <p:nvSpPr>
              <p:cNvPr id="65" name="Rectangle 64">
                <a:extLst>
                  <a:ext uri="{FF2B5EF4-FFF2-40B4-BE49-F238E27FC236}">
                    <a16:creationId xmlns:a16="http://schemas.microsoft.com/office/drawing/2014/main" id="{5A1744AC-C902-4FC7-B296-DDD71DEAD393}"/>
                  </a:ext>
                </a:extLst>
              </p:cNvPr>
              <p:cNvSpPr/>
              <p:nvPr/>
            </p:nvSpPr>
            <p:spPr bwMode="auto">
              <a:xfrm>
                <a:off x="-1220735" y="5155680"/>
                <a:ext cx="1006475" cy="138499"/>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rPr>
                  <a:t>&gt; 300,000</a:t>
                </a:r>
              </a:p>
            </p:txBody>
          </p:sp>
        </p:grpSp>
        <p:grpSp>
          <p:nvGrpSpPr>
            <p:cNvPr id="46" name="Group 45">
              <a:extLst>
                <a:ext uri="{FF2B5EF4-FFF2-40B4-BE49-F238E27FC236}">
                  <a16:creationId xmlns:a16="http://schemas.microsoft.com/office/drawing/2014/main" id="{0E0FB766-1A92-49D8-9D62-D703A9316A3E}"/>
                </a:ext>
              </a:extLst>
            </p:cNvPr>
            <p:cNvGrpSpPr/>
            <p:nvPr/>
          </p:nvGrpSpPr>
          <p:grpSpPr>
            <a:xfrm>
              <a:off x="9181328" y="2064817"/>
              <a:ext cx="1513486" cy="172466"/>
              <a:chOff x="-1481272" y="5342205"/>
              <a:chExt cx="1266967" cy="137163"/>
            </a:xfrm>
          </p:grpSpPr>
          <p:sp>
            <p:nvSpPr>
              <p:cNvPr id="62" name="Rectangle 61">
                <a:extLst>
                  <a:ext uri="{FF2B5EF4-FFF2-40B4-BE49-F238E27FC236}">
                    <a16:creationId xmlns:a16="http://schemas.microsoft.com/office/drawing/2014/main" id="{6F57C9D3-E56F-4EA1-99EC-2C10ECE7BD8C}"/>
                  </a:ext>
                </a:extLst>
              </p:cNvPr>
              <p:cNvSpPr/>
              <p:nvPr/>
            </p:nvSpPr>
            <p:spPr>
              <a:xfrm>
                <a:off x="-1481272" y="5342208"/>
                <a:ext cx="144797" cy="137160"/>
              </a:xfrm>
              <a:prstGeom prst="rect">
                <a:avLst/>
              </a:prstGeom>
              <a:solidFill>
                <a:srgbClr val="7FBBB7"/>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endParaRPr>
              </a:p>
            </p:txBody>
          </p:sp>
          <p:sp>
            <p:nvSpPr>
              <p:cNvPr id="63" name="Rectangle 62">
                <a:extLst>
                  <a:ext uri="{FF2B5EF4-FFF2-40B4-BE49-F238E27FC236}">
                    <a16:creationId xmlns:a16="http://schemas.microsoft.com/office/drawing/2014/main" id="{4C7D3C1F-EAC9-4D6F-AE09-0936CDFF19EF}"/>
                  </a:ext>
                </a:extLst>
              </p:cNvPr>
              <p:cNvSpPr/>
              <p:nvPr/>
            </p:nvSpPr>
            <p:spPr bwMode="auto">
              <a:xfrm>
                <a:off x="-1220145" y="5342205"/>
                <a:ext cx="1005840" cy="137160"/>
              </a:xfrm>
              <a:prstGeom prst="rect">
                <a:avLst/>
              </a:prstGeom>
              <a:noFill/>
              <a:ln w="9525">
                <a:noFill/>
                <a:miter lim="800000"/>
                <a:headEnd/>
                <a:tailEnd/>
              </a:ln>
              <a:effectLst/>
            </p:spPr>
            <p:txBody>
              <a:bodyPr wrap="square" lIns="0" tIns="0" rIns="0" bIns="0" rtlCol="0" anchor="t">
                <a:sp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200,000 – 300,000</a:t>
                </a:r>
              </a:p>
            </p:txBody>
          </p:sp>
        </p:grpSp>
        <p:grpSp>
          <p:nvGrpSpPr>
            <p:cNvPr id="47" name="Group 46">
              <a:extLst>
                <a:ext uri="{FF2B5EF4-FFF2-40B4-BE49-F238E27FC236}">
                  <a16:creationId xmlns:a16="http://schemas.microsoft.com/office/drawing/2014/main" id="{148B8FA7-A5F9-403F-9EAE-E9187B875689}"/>
                </a:ext>
              </a:extLst>
            </p:cNvPr>
            <p:cNvGrpSpPr/>
            <p:nvPr/>
          </p:nvGrpSpPr>
          <p:grpSpPr>
            <a:xfrm>
              <a:off x="9181329" y="1820446"/>
              <a:ext cx="1218129" cy="173070"/>
              <a:chOff x="-1481271" y="5528505"/>
              <a:chExt cx="1019718" cy="137160"/>
            </a:xfrm>
          </p:grpSpPr>
          <p:sp>
            <p:nvSpPr>
              <p:cNvPr id="60" name="Rectangle 59">
                <a:extLst>
                  <a:ext uri="{FF2B5EF4-FFF2-40B4-BE49-F238E27FC236}">
                    <a16:creationId xmlns:a16="http://schemas.microsoft.com/office/drawing/2014/main" id="{FA967E5A-CB54-4F03-BF0A-BF673350A12B}"/>
                  </a:ext>
                </a:extLst>
              </p:cNvPr>
              <p:cNvSpPr/>
              <p:nvPr/>
            </p:nvSpPr>
            <p:spPr>
              <a:xfrm>
                <a:off x="-1481271" y="5528505"/>
                <a:ext cx="144797" cy="137160"/>
              </a:xfrm>
              <a:prstGeom prst="rect">
                <a:avLst/>
              </a:prstGeom>
              <a:solidFill>
                <a:srgbClr val="CCE4E2"/>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endParaRPr>
              </a:p>
            </p:txBody>
          </p:sp>
          <p:sp>
            <p:nvSpPr>
              <p:cNvPr id="61" name="Rectangle 60">
                <a:extLst>
                  <a:ext uri="{FF2B5EF4-FFF2-40B4-BE49-F238E27FC236}">
                    <a16:creationId xmlns:a16="http://schemas.microsoft.com/office/drawing/2014/main" id="{FD7FEBDC-5150-420C-8F75-4D73611E56F9}"/>
                  </a:ext>
                </a:extLst>
              </p:cNvPr>
              <p:cNvSpPr/>
              <p:nvPr/>
            </p:nvSpPr>
            <p:spPr bwMode="auto">
              <a:xfrm>
                <a:off x="-1220735" y="5528506"/>
                <a:ext cx="759182" cy="70839"/>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lt; 200,000</a:t>
                </a:r>
              </a:p>
            </p:txBody>
          </p:sp>
        </p:grpSp>
        <p:sp>
          <p:nvSpPr>
            <p:cNvPr id="48" name="Rectangle 47">
              <a:extLst>
                <a:ext uri="{FF2B5EF4-FFF2-40B4-BE49-F238E27FC236}">
                  <a16:creationId xmlns:a16="http://schemas.microsoft.com/office/drawing/2014/main" id="{63D7CA24-F8C8-4F4D-8C4C-5E6B4618C391}"/>
                </a:ext>
              </a:extLst>
            </p:cNvPr>
            <p:cNvSpPr/>
            <p:nvPr/>
          </p:nvSpPr>
          <p:spPr bwMode="auto">
            <a:xfrm>
              <a:off x="9205884" y="1307077"/>
              <a:ext cx="1202309" cy="174760"/>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rPr>
                <a:t>Population key</a:t>
              </a:r>
            </a:p>
          </p:txBody>
        </p:sp>
        <p:cxnSp>
          <p:nvCxnSpPr>
            <p:cNvPr id="49" name="Straight Connector 48">
              <a:extLst>
                <a:ext uri="{FF2B5EF4-FFF2-40B4-BE49-F238E27FC236}">
                  <a16:creationId xmlns:a16="http://schemas.microsoft.com/office/drawing/2014/main" id="{B6F96E9C-0E43-4C0F-A7D1-652B33A492C0}"/>
                </a:ext>
              </a:extLst>
            </p:cNvPr>
            <p:cNvCxnSpPr>
              <a:cxnSpLocks/>
            </p:cNvCxnSpPr>
            <p:nvPr/>
          </p:nvCxnSpPr>
          <p:spPr>
            <a:xfrm flipH="1">
              <a:off x="9183361" y="1494149"/>
              <a:ext cx="2730797" cy="0"/>
            </a:xfrm>
            <a:prstGeom prst="line">
              <a:avLst/>
            </a:prstGeom>
            <a:noFill/>
            <a:ln w="9525" cap="flat" cmpd="sng" algn="ctr">
              <a:solidFill>
                <a:srgbClr val="FFFFFF">
                  <a:lumMod val="65000"/>
                </a:srgbClr>
              </a:solidFill>
              <a:prstDash val="solid"/>
            </a:ln>
            <a:effectLst/>
          </p:spPr>
        </p:cxnSp>
        <p:grpSp>
          <p:nvGrpSpPr>
            <p:cNvPr id="50" name="Group 49">
              <a:extLst>
                <a:ext uri="{FF2B5EF4-FFF2-40B4-BE49-F238E27FC236}">
                  <a16:creationId xmlns:a16="http://schemas.microsoft.com/office/drawing/2014/main" id="{2A62574E-C35F-4AC6-9C80-421E69E8803C}"/>
                </a:ext>
              </a:extLst>
            </p:cNvPr>
            <p:cNvGrpSpPr/>
            <p:nvPr/>
          </p:nvGrpSpPr>
          <p:grpSpPr>
            <a:xfrm>
              <a:off x="10574963" y="1570066"/>
              <a:ext cx="826880" cy="182000"/>
              <a:chOff x="4143826" y="2869050"/>
              <a:chExt cx="692196" cy="182880"/>
            </a:xfrm>
          </p:grpSpPr>
          <p:pic>
            <p:nvPicPr>
              <p:cNvPr id="58" name="Graphic 57" descr="Marker">
                <a:extLst>
                  <a:ext uri="{FF2B5EF4-FFF2-40B4-BE49-F238E27FC236}">
                    <a16:creationId xmlns:a16="http://schemas.microsoft.com/office/drawing/2014/main" id="{8F0FE515-B395-48F5-8305-676C6AFDFB2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43826" y="2869050"/>
                <a:ext cx="169933" cy="182880"/>
              </a:xfrm>
              <a:prstGeom prst="rect">
                <a:avLst/>
              </a:prstGeom>
            </p:spPr>
          </p:pic>
          <p:sp>
            <p:nvSpPr>
              <p:cNvPr id="59" name="TextBox 58">
                <a:extLst>
                  <a:ext uri="{FF2B5EF4-FFF2-40B4-BE49-F238E27FC236}">
                    <a16:creationId xmlns:a16="http://schemas.microsoft.com/office/drawing/2014/main" id="{70D1A978-6EC7-46D1-B691-6019561C9865}"/>
                  </a:ext>
                </a:extLst>
              </p:cNvPr>
              <p:cNvSpPr txBox="1"/>
              <p:nvPr/>
            </p:nvSpPr>
            <p:spPr>
              <a:xfrm>
                <a:off x="4355085" y="2905032"/>
                <a:ext cx="480937" cy="1175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tate capital </a:t>
                </a:r>
              </a:p>
            </p:txBody>
          </p:sp>
        </p:grpSp>
        <p:grpSp>
          <p:nvGrpSpPr>
            <p:cNvPr id="51" name="Group 50">
              <a:extLst>
                <a:ext uri="{FF2B5EF4-FFF2-40B4-BE49-F238E27FC236}">
                  <a16:creationId xmlns:a16="http://schemas.microsoft.com/office/drawing/2014/main" id="{1EF20445-F900-4D5B-ACE2-098505904EC2}"/>
                </a:ext>
              </a:extLst>
            </p:cNvPr>
            <p:cNvGrpSpPr/>
            <p:nvPr/>
          </p:nvGrpSpPr>
          <p:grpSpPr>
            <a:xfrm>
              <a:off x="10537717" y="1756913"/>
              <a:ext cx="1411782" cy="201057"/>
              <a:chOff x="7353701" y="5636878"/>
              <a:chExt cx="1411782" cy="246224"/>
            </a:xfrm>
          </p:grpSpPr>
          <p:sp>
            <p:nvSpPr>
              <p:cNvPr id="56" name="TextBox 55">
                <a:extLst>
                  <a:ext uri="{FF2B5EF4-FFF2-40B4-BE49-F238E27FC236}">
                    <a16:creationId xmlns:a16="http://schemas.microsoft.com/office/drawing/2014/main" id="{64A75051-D8BB-4818-9BD5-ECF2437D3485}"/>
                  </a:ext>
                </a:extLst>
              </p:cNvPr>
              <p:cNvSpPr txBox="1"/>
              <p:nvPr/>
            </p:nvSpPr>
            <p:spPr>
              <a:xfrm>
                <a:off x="7353701" y="5636880"/>
                <a:ext cx="348268" cy="2462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892064"/>
                    </a:solidFill>
                    <a:effectLst/>
                    <a:uLnTx/>
                    <a:uFillTx/>
                    <a:latin typeface="Gill Sans MT" panose="020B0502020104020203"/>
                    <a:ea typeface="+mn-ea"/>
                    <a:cs typeface="+mn-cs"/>
                  </a:rPr>
                  <a:t>xx</a:t>
                </a:r>
              </a:p>
            </p:txBody>
          </p:sp>
          <p:sp>
            <p:nvSpPr>
              <p:cNvPr id="57" name="TextBox 56">
                <a:extLst>
                  <a:ext uri="{FF2B5EF4-FFF2-40B4-BE49-F238E27FC236}">
                    <a16:creationId xmlns:a16="http://schemas.microsoft.com/office/drawing/2014/main" id="{0E7D9135-4867-4200-A1A9-24FF0CDA6130}"/>
                  </a:ext>
                </a:extLst>
              </p:cNvPr>
              <p:cNvSpPr txBox="1"/>
              <p:nvPr/>
            </p:nvSpPr>
            <p:spPr>
              <a:xfrm>
                <a:off x="7576763" y="5636878"/>
                <a:ext cx="1188720" cy="2462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 number of PPMVs</a:t>
                </a:r>
              </a:p>
            </p:txBody>
          </p:sp>
        </p:grpSp>
      </p:grpSp>
      <p:grpSp>
        <p:nvGrpSpPr>
          <p:cNvPr id="66" name="Group 65">
            <a:extLst>
              <a:ext uri="{FF2B5EF4-FFF2-40B4-BE49-F238E27FC236}">
                <a16:creationId xmlns:a16="http://schemas.microsoft.com/office/drawing/2014/main" id="{A251333E-37CD-4FB7-9E07-15A63C484248}"/>
              </a:ext>
            </a:extLst>
          </p:cNvPr>
          <p:cNvGrpSpPr/>
          <p:nvPr/>
        </p:nvGrpSpPr>
        <p:grpSpPr>
          <a:xfrm>
            <a:off x="406733" y="1221115"/>
            <a:ext cx="8477457" cy="5429072"/>
            <a:chOff x="406733" y="1221115"/>
            <a:chExt cx="8477457" cy="5429072"/>
          </a:xfrm>
        </p:grpSpPr>
        <p:pic>
          <p:nvPicPr>
            <p:cNvPr id="67" name="Picture 66">
              <a:extLst>
                <a:ext uri="{FF2B5EF4-FFF2-40B4-BE49-F238E27FC236}">
                  <a16:creationId xmlns:a16="http://schemas.microsoft.com/office/drawing/2014/main" id="{A5E87469-314D-44DA-BDB0-C7CB1CB35EC8}"/>
                </a:ext>
              </a:extLst>
            </p:cNvPr>
            <p:cNvPicPr>
              <a:picLocks noChangeAspect="1"/>
            </p:cNvPicPr>
            <p:nvPr/>
          </p:nvPicPr>
          <p:blipFill>
            <a:blip r:embed="rId9"/>
            <a:stretch>
              <a:fillRect/>
            </a:stretch>
          </p:blipFill>
          <p:spPr>
            <a:xfrm>
              <a:off x="406733" y="1221115"/>
              <a:ext cx="8477457" cy="5429072"/>
            </a:xfrm>
            <a:prstGeom prst="rect">
              <a:avLst/>
            </a:prstGeom>
          </p:spPr>
        </p:pic>
        <p:sp>
          <p:nvSpPr>
            <p:cNvPr id="68" name="TextBox 67">
              <a:extLst>
                <a:ext uri="{FF2B5EF4-FFF2-40B4-BE49-F238E27FC236}">
                  <a16:creationId xmlns:a16="http://schemas.microsoft.com/office/drawing/2014/main" id="{27442459-ECCB-4B84-99EB-E9BCC11285F7}"/>
                </a:ext>
              </a:extLst>
            </p:cNvPr>
            <p:cNvSpPr txBox="1"/>
            <p:nvPr/>
          </p:nvSpPr>
          <p:spPr>
            <a:xfrm>
              <a:off x="5588000" y="2682240"/>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21</a:t>
              </a:r>
            </a:p>
          </p:txBody>
        </p:sp>
        <p:sp>
          <p:nvSpPr>
            <p:cNvPr id="69" name="TextBox 68">
              <a:extLst>
                <a:ext uri="{FF2B5EF4-FFF2-40B4-BE49-F238E27FC236}">
                  <a16:creationId xmlns:a16="http://schemas.microsoft.com/office/drawing/2014/main" id="{590203AA-B22E-461E-ADDB-E34BF5FAED59}"/>
                </a:ext>
              </a:extLst>
            </p:cNvPr>
            <p:cNvSpPr txBox="1"/>
            <p:nvPr/>
          </p:nvSpPr>
          <p:spPr>
            <a:xfrm>
              <a:off x="4968240" y="2733040"/>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20</a:t>
              </a:r>
            </a:p>
          </p:txBody>
        </p:sp>
        <p:sp>
          <p:nvSpPr>
            <p:cNvPr id="70" name="TextBox 69">
              <a:extLst>
                <a:ext uri="{FF2B5EF4-FFF2-40B4-BE49-F238E27FC236}">
                  <a16:creationId xmlns:a16="http://schemas.microsoft.com/office/drawing/2014/main" id="{A6386659-13C0-4732-99EC-E9F4920C07F8}"/>
                </a:ext>
              </a:extLst>
            </p:cNvPr>
            <p:cNvSpPr txBox="1"/>
            <p:nvPr/>
          </p:nvSpPr>
          <p:spPr>
            <a:xfrm>
              <a:off x="4348480" y="2783840"/>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43</a:t>
              </a:r>
            </a:p>
          </p:txBody>
        </p:sp>
        <p:sp>
          <p:nvSpPr>
            <p:cNvPr id="71" name="TextBox 70">
              <a:extLst>
                <a:ext uri="{FF2B5EF4-FFF2-40B4-BE49-F238E27FC236}">
                  <a16:creationId xmlns:a16="http://schemas.microsoft.com/office/drawing/2014/main" id="{262E7291-3935-4206-B5FC-133AE8F20583}"/>
                </a:ext>
              </a:extLst>
            </p:cNvPr>
            <p:cNvSpPr txBox="1"/>
            <p:nvPr/>
          </p:nvSpPr>
          <p:spPr>
            <a:xfrm>
              <a:off x="3728720" y="2834640"/>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15</a:t>
              </a:r>
            </a:p>
          </p:txBody>
        </p:sp>
        <p:sp>
          <p:nvSpPr>
            <p:cNvPr id="72" name="TextBox 71">
              <a:extLst>
                <a:ext uri="{FF2B5EF4-FFF2-40B4-BE49-F238E27FC236}">
                  <a16:creationId xmlns:a16="http://schemas.microsoft.com/office/drawing/2014/main" id="{49833A7F-A190-476C-81D9-1E1A530A7DE9}"/>
                </a:ext>
              </a:extLst>
            </p:cNvPr>
            <p:cNvSpPr txBox="1"/>
            <p:nvPr/>
          </p:nvSpPr>
          <p:spPr>
            <a:xfrm>
              <a:off x="3716654" y="3696752"/>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1</a:t>
              </a:r>
            </a:p>
          </p:txBody>
        </p:sp>
        <p:sp>
          <p:nvSpPr>
            <p:cNvPr id="73" name="TextBox 72">
              <a:extLst>
                <a:ext uri="{FF2B5EF4-FFF2-40B4-BE49-F238E27FC236}">
                  <a16:creationId xmlns:a16="http://schemas.microsoft.com/office/drawing/2014/main" id="{086FA411-F816-4398-91AA-5515F49A3E9D}"/>
                </a:ext>
              </a:extLst>
            </p:cNvPr>
            <p:cNvSpPr txBox="1"/>
            <p:nvPr/>
          </p:nvSpPr>
          <p:spPr>
            <a:xfrm>
              <a:off x="3704588" y="4558864"/>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5</a:t>
              </a:r>
            </a:p>
          </p:txBody>
        </p:sp>
        <p:sp>
          <p:nvSpPr>
            <p:cNvPr id="74" name="TextBox 73">
              <a:extLst>
                <a:ext uri="{FF2B5EF4-FFF2-40B4-BE49-F238E27FC236}">
                  <a16:creationId xmlns:a16="http://schemas.microsoft.com/office/drawing/2014/main" id="{81D31AEB-9C00-4253-9270-0F9E3F2E96D2}"/>
                </a:ext>
              </a:extLst>
            </p:cNvPr>
            <p:cNvSpPr txBox="1"/>
            <p:nvPr/>
          </p:nvSpPr>
          <p:spPr>
            <a:xfrm>
              <a:off x="3039110" y="4496416"/>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25</a:t>
              </a:r>
            </a:p>
          </p:txBody>
        </p:sp>
        <p:sp>
          <p:nvSpPr>
            <p:cNvPr id="75" name="TextBox 74">
              <a:extLst>
                <a:ext uri="{FF2B5EF4-FFF2-40B4-BE49-F238E27FC236}">
                  <a16:creationId xmlns:a16="http://schemas.microsoft.com/office/drawing/2014/main" id="{FD172C62-9F53-4829-BB62-7948CE7ABC45}"/>
                </a:ext>
              </a:extLst>
            </p:cNvPr>
            <p:cNvSpPr txBox="1"/>
            <p:nvPr/>
          </p:nvSpPr>
          <p:spPr>
            <a:xfrm>
              <a:off x="3633472" y="4080489"/>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7</a:t>
              </a:r>
              <a:endParaRPr kumimoji="0" lang="en-GB" sz="1400" b="1" i="0" u="none" strike="noStrike" kern="1200" cap="none" spc="0" normalizeH="0" baseline="0" noProof="0" dirty="0">
                <a:ln>
                  <a:noFill/>
                </a:ln>
                <a:solidFill>
                  <a:srgbClr val="044B7F">
                    <a:lumMod val="75000"/>
                  </a:srgbClr>
                </a:solidFill>
                <a:effectLst/>
                <a:uLnTx/>
                <a:uFillTx/>
                <a:latin typeface="Gill Sans MT" panose="020B0502020104020203"/>
                <a:ea typeface="+mn-ea"/>
                <a:cs typeface="+mn-cs"/>
              </a:endParaRPr>
            </a:p>
          </p:txBody>
        </p:sp>
        <p:sp>
          <p:nvSpPr>
            <p:cNvPr id="76" name="TextBox 75">
              <a:extLst>
                <a:ext uri="{FF2B5EF4-FFF2-40B4-BE49-F238E27FC236}">
                  <a16:creationId xmlns:a16="http://schemas.microsoft.com/office/drawing/2014/main" id="{4BD7AEF7-C78A-4AC7-A7AF-BC9DD19E6E7A}"/>
                </a:ext>
              </a:extLst>
            </p:cNvPr>
            <p:cNvSpPr txBox="1"/>
            <p:nvPr/>
          </p:nvSpPr>
          <p:spPr>
            <a:xfrm>
              <a:off x="4572000" y="3696752"/>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5</a:t>
              </a:r>
            </a:p>
          </p:txBody>
        </p:sp>
        <p:sp>
          <p:nvSpPr>
            <p:cNvPr id="77" name="TextBox 76">
              <a:extLst>
                <a:ext uri="{FF2B5EF4-FFF2-40B4-BE49-F238E27FC236}">
                  <a16:creationId xmlns:a16="http://schemas.microsoft.com/office/drawing/2014/main" id="{E31FB505-6821-450C-A70F-F2C9C2BEC66B}"/>
                </a:ext>
              </a:extLst>
            </p:cNvPr>
            <p:cNvSpPr txBox="1"/>
            <p:nvPr/>
          </p:nvSpPr>
          <p:spPr>
            <a:xfrm>
              <a:off x="5510527" y="3313015"/>
              <a:ext cx="80714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66</a:t>
              </a:r>
              <a:endParaRPr kumimoji="0" lang="en-GB" sz="1400" b="1" i="0" u="none" strike="noStrike" kern="1200" cap="none" spc="0" normalizeH="0" baseline="0" noProof="0" dirty="0">
                <a:ln>
                  <a:noFill/>
                </a:ln>
                <a:solidFill>
                  <a:srgbClr val="044B7F">
                    <a:lumMod val="75000"/>
                  </a:srgbClr>
                </a:solidFill>
                <a:effectLst/>
                <a:uLnTx/>
                <a:uFillTx/>
                <a:latin typeface="Gill Sans MT" panose="020B0502020104020203"/>
                <a:ea typeface="+mn-ea"/>
                <a:cs typeface="+mn-cs"/>
              </a:endParaRPr>
            </a:p>
          </p:txBody>
        </p:sp>
        <p:sp>
          <p:nvSpPr>
            <p:cNvPr id="78" name="TextBox 77">
              <a:extLst>
                <a:ext uri="{FF2B5EF4-FFF2-40B4-BE49-F238E27FC236}">
                  <a16:creationId xmlns:a16="http://schemas.microsoft.com/office/drawing/2014/main" id="{B10CC348-602F-4F2E-90FE-E204513912C9}"/>
                </a:ext>
              </a:extLst>
            </p:cNvPr>
            <p:cNvSpPr txBox="1"/>
            <p:nvPr/>
          </p:nvSpPr>
          <p:spPr>
            <a:xfrm>
              <a:off x="5266692" y="3789901"/>
              <a:ext cx="59971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23</a:t>
              </a:r>
              <a:endParaRPr kumimoji="0" lang="en-GB" sz="1400" b="1" i="0" u="none" strike="noStrike" kern="1200" cap="none" spc="0" normalizeH="0" baseline="0" noProof="0" dirty="0">
                <a:ln>
                  <a:noFill/>
                </a:ln>
                <a:solidFill>
                  <a:srgbClr val="044B7F">
                    <a:lumMod val="75000"/>
                  </a:srgbClr>
                </a:solidFill>
                <a:effectLst/>
                <a:uLnTx/>
                <a:uFillTx/>
                <a:latin typeface="Gill Sans MT" panose="020B0502020104020203"/>
                <a:ea typeface="+mn-ea"/>
                <a:cs typeface="+mn-cs"/>
              </a:endParaRPr>
            </a:p>
          </p:txBody>
        </p:sp>
        <p:sp>
          <p:nvSpPr>
            <p:cNvPr id="79" name="TextBox 78">
              <a:extLst>
                <a:ext uri="{FF2B5EF4-FFF2-40B4-BE49-F238E27FC236}">
                  <a16:creationId xmlns:a16="http://schemas.microsoft.com/office/drawing/2014/main" id="{E444FA63-026E-4DE1-86C9-25F968EFCC25}"/>
                </a:ext>
              </a:extLst>
            </p:cNvPr>
            <p:cNvSpPr txBox="1"/>
            <p:nvPr/>
          </p:nvSpPr>
          <p:spPr>
            <a:xfrm>
              <a:off x="4146546" y="4371555"/>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25</a:t>
              </a:r>
            </a:p>
          </p:txBody>
        </p:sp>
        <p:sp>
          <p:nvSpPr>
            <p:cNvPr id="80" name="TextBox 79">
              <a:extLst>
                <a:ext uri="{FF2B5EF4-FFF2-40B4-BE49-F238E27FC236}">
                  <a16:creationId xmlns:a16="http://schemas.microsoft.com/office/drawing/2014/main" id="{88D86892-B918-445F-A88F-A249A9C5DC36}"/>
                </a:ext>
              </a:extLst>
            </p:cNvPr>
            <p:cNvSpPr txBox="1"/>
            <p:nvPr/>
          </p:nvSpPr>
          <p:spPr>
            <a:xfrm>
              <a:off x="4348480" y="3313014"/>
              <a:ext cx="44704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92064"/>
                  </a:solidFill>
                  <a:effectLst/>
                  <a:uLnTx/>
                  <a:uFillTx/>
                  <a:latin typeface="Gill Sans MT" panose="020B0502020104020203"/>
                  <a:ea typeface="+mn-ea"/>
                  <a:cs typeface="+mn-cs"/>
                </a:rPr>
                <a:t>10</a:t>
              </a:r>
            </a:p>
          </p:txBody>
        </p:sp>
      </p:grpSp>
      <p:sp>
        <p:nvSpPr>
          <p:cNvPr id="4" name="Oval 3">
            <a:extLst>
              <a:ext uri="{FF2B5EF4-FFF2-40B4-BE49-F238E27FC236}">
                <a16:creationId xmlns:a16="http://schemas.microsoft.com/office/drawing/2014/main" id="{88865BF8-8056-E85A-A6EA-EA1041B40BF3}"/>
              </a:ext>
            </a:extLst>
          </p:cNvPr>
          <p:cNvSpPr/>
          <p:nvPr/>
        </p:nvSpPr>
        <p:spPr>
          <a:xfrm>
            <a:off x="6639859" y="3536777"/>
            <a:ext cx="2293452" cy="24960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5" name="Oval 4">
            <a:extLst>
              <a:ext uri="{FF2B5EF4-FFF2-40B4-BE49-F238E27FC236}">
                <a16:creationId xmlns:a16="http://schemas.microsoft.com/office/drawing/2014/main" id="{C5222852-8F62-FC15-0033-819CB40D4F1C}"/>
              </a:ext>
            </a:extLst>
          </p:cNvPr>
          <p:cNvSpPr/>
          <p:nvPr/>
        </p:nvSpPr>
        <p:spPr>
          <a:xfrm>
            <a:off x="6714287" y="2483436"/>
            <a:ext cx="2293452" cy="24960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6" name="Oval 5">
            <a:extLst>
              <a:ext uri="{FF2B5EF4-FFF2-40B4-BE49-F238E27FC236}">
                <a16:creationId xmlns:a16="http://schemas.microsoft.com/office/drawing/2014/main" id="{429E81F2-AF84-418E-19F4-2E2BA977DB5D}"/>
              </a:ext>
            </a:extLst>
          </p:cNvPr>
          <p:cNvSpPr/>
          <p:nvPr/>
        </p:nvSpPr>
        <p:spPr>
          <a:xfrm>
            <a:off x="3307468" y="1643876"/>
            <a:ext cx="2293452" cy="24960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7" name="Oval 6">
            <a:extLst>
              <a:ext uri="{FF2B5EF4-FFF2-40B4-BE49-F238E27FC236}">
                <a16:creationId xmlns:a16="http://schemas.microsoft.com/office/drawing/2014/main" id="{33A8C483-2E8B-411D-524A-6FE04162448E}"/>
              </a:ext>
            </a:extLst>
          </p:cNvPr>
          <p:cNvSpPr/>
          <p:nvPr/>
        </p:nvSpPr>
        <p:spPr>
          <a:xfrm>
            <a:off x="3356593" y="6410756"/>
            <a:ext cx="2293452" cy="24960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8" name="Oval 7">
            <a:extLst>
              <a:ext uri="{FF2B5EF4-FFF2-40B4-BE49-F238E27FC236}">
                <a16:creationId xmlns:a16="http://schemas.microsoft.com/office/drawing/2014/main" id="{6FE90717-9603-4276-8065-2F00D527BB5D}"/>
              </a:ext>
            </a:extLst>
          </p:cNvPr>
          <p:cNvSpPr/>
          <p:nvPr/>
        </p:nvSpPr>
        <p:spPr>
          <a:xfrm>
            <a:off x="210896" y="1795946"/>
            <a:ext cx="2293452" cy="249604"/>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509659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0B9CACC-994A-ED64-DBF6-AA9A2C022B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95" imgH="396" progId="TCLayout.ActiveDocument.1">
                  <p:embed/>
                </p:oleObj>
              </mc:Choice>
              <mc:Fallback>
                <p:oleObj name="think-cell Slide" r:id="rId32" imgW="395" imgH="396" progId="TCLayout.ActiveDocument.1">
                  <p:embed/>
                  <p:pic>
                    <p:nvPicPr>
                      <p:cNvPr id="13" name="Object 12" hidden="1">
                        <a:extLst>
                          <a:ext uri="{FF2B5EF4-FFF2-40B4-BE49-F238E27FC236}">
                            <a16:creationId xmlns:a16="http://schemas.microsoft.com/office/drawing/2014/main" id="{90B9CACC-994A-ED64-DBF6-AA9A2C022BB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91" name="Rectangle 390">
            <a:extLst>
              <a:ext uri="{FF2B5EF4-FFF2-40B4-BE49-F238E27FC236}">
                <a16:creationId xmlns:a16="http://schemas.microsoft.com/office/drawing/2014/main" id="{1E1FC097-3EB8-D680-B9AA-0C0DF8C61B17}"/>
              </a:ext>
            </a:extLst>
          </p:cNvPr>
          <p:cNvSpPr/>
          <p:nvPr/>
        </p:nvSpPr>
        <p:spPr bwMode="auto">
          <a:xfrm>
            <a:off x="8186738" y="1365411"/>
            <a:ext cx="3929458" cy="4085667"/>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392" name="TextBox 391">
            <a:extLst>
              <a:ext uri="{FF2B5EF4-FFF2-40B4-BE49-F238E27FC236}">
                <a16:creationId xmlns:a16="http://schemas.microsoft.com/office/drawing/2014/main" id="{CE0CD8A6-B25D-E0BA-FBDC-C424AEBF1D05}"/>
              </a:ext>
            </a:extLst>
          </p:cNvPr>
          <p:cNvSpPr txBox="1"/>
          <p:nvPr/>
        </p:nvSpPr>
        <p:spPr>
          <a:xfrm>
            <a:off x="8186736" y="1362416"/>
            <a:ext cx="3929458" cy="510048"/>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Source of PNC (%)</a:t>
            </a:r>
            <a:endParaRPr kumimoji="0" lang="en-US" sz="14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endParaRPr>
          </a:p>
        </p:txBody>
      </p:sp>
      <p:sp>
        <p:nvSpPr>
          <p:cNvPr id="387" name="Rectangle 386">
            <a:extLst>
              <a:ext uri="{FF2B5EF4-FFF2-40B4-BE49-F238E27FC236}">
                <a16:creationId xmlns:a16="http://schemas.microsoft.com/office/drawing/2014/main" id="{2B204064-D787-324C-8AED-5A662B13DEB4}"/>
              </a:ext>
            </a:extLst>
          </p:cNvPr>
          <p:cNvSpPr/>
          <p:nvPr/>
        </p:nvSpPr>
        <p:spPr bwMode="auto">
          <a:xfrm>
            <a:off x="4139287" y="1365411"/>
            <a:ext cx="3929458" cy="4085667"/>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388" name="TextBox 387">
            <a:extLst>
              <a:ext uri="{FF2B5EF4-FFF2-40B4-BE49-F238E27FC236}">
                <a16:creationId xmlns:a16="http://schemas.microsoft.com/office/drawing/2014/main" id="{E6972BB4-991E-777D-5855-F21E41D12413}"/>
              </a:ext>
            </a:extLst>
          </p:cNvPr>
          <p:cNvSpPr txBox="1"/>
          <p:nvPr/>
        </p:nvSpPr>
        <p:spPr>
          <a:xfrm>
            <a:off x="4139285" y="1341660"/>
            <a:ext cx="3929458" cy="510048"/>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Place of delivery (%)</a:t>
            </a:r>
            <a:endParaRPr kumimoji="0" lang="en-US" sz="14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endParaRPr>
          </a:p>
        </p:txBody>
      </p:sp>
      <p:sp>
        <p:nvSpPr>
          <p:cNvPr id="382" name="Rectangle 381">
            <a:extLst>
              <a:ext uri="{FF2B5EF4-FFF2-40B4-BE49-F238E27FC236}">
                <a16:creationId xmlns:a16="http://schemas.microsoft.com/office/drawing/2014/main" id="{3880F647-1782-4C21-6AF8-CE40D201E5E5}"/>
              </a:ext>
            </a:extLst>
          </p:cNvPr>
          <p:cNvSpPr/>
          <p:nvPr/>
        </p:nvSpPr>
        <p:spPr bwMode="auto">
          <a:xfrm>
            <a:off x="40879" y="1365411"/>
            <a:ext cx="3929458" cy="4085667"/>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383" name="TextBox 382">
            <a:extLst>
              <a:ext uri="{FF2B5EF4-FFF2-40B4-BE49-F238E27FC236}">
                <a16:creationId xmlns:a16="http://schemas.microsoft.com/office/drawing/2014/main" id="{4DC3A053-C2C1-6267-9743-C4C6528E155D}"/>
              </a:ext>
            </a:extLst>
          </p:cNvPr>
          <p:cNvSpPr txBox="1"/>
          <p:nvPr/>
        </p:nvSpPr>
        <p:spPr>
          <a:xfrm>
            <a:off x="40877" y="1356350"/>
            <a:ext cx="3929458" cy="510048"/>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rPr>
              <a:t>Source of ANC (%)</a:t>
            </a:r>
            <a:endParaRPr kumimoji="0" lang="en-US" sz="1400" b="1" i="1"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endParaRPr>
          </a:p>
        </p:txBody>
      </p:sp>
      <p:graphicFrame>
        <p:nvGraphicFramePr>
          <p:cNvPr id="48" name="Chart 47">
            <a:extLst>
              <a:ext uri="{FF2B5EF4-FFF2-40B4-BE49-F238E27FC236}">
                <a16:creationId xmlns:a16="http://schemas.microsoft.com/office/drawing/2014/main" id="{4FE34CA5-FF0A-436A-917E-ACBB38CD75E5}"/>
              </a:ext>
            </a:extLst>
          </p:cNvPr>
          <p:cNvGraphicFramePr/>
          <p:nvPr>
            <p:custDataLst>
              <p:tags r:id="rId2"/>
            </p:custDataLst>
          </p:nvPr>
        </p:nvGraphicFramePr>
        <p:xfrm>
          <a:off x="179388" y="2078038"/>
          <a:ext cx="3544887" cy="3100387"/>
        </p:xfrm>
        <a:graphic>
          <a:graphicData uri="http://schemas.openxmlformats.org/drawingml/2006/chart">
            <c:chart xmlns:c="http://schemas.openxmlformats.org/drawingml/2006/chart" xmlns:r="http://schemas.openxmlformats.org/officeDocument/2006/relationships" r:id="rId34"/>
          </a:graphicData>
        </a:graphic>
      </p:graphicFrame>
      <p:sp>
        <p:nvSpPr>
          <p:cNvPr id="372" name="Rectangle 371">
            <a:extLst>
              <a:ext uri="{FF2B5EF4-FFF2-40B4-BE49-F238E27FC236}">
                <a16:creationId xmlns:a16="http://schemas.microsoft.com/office/drawing/2014/main" id="{BDFC5BDC-D7F9-211B-64DA-63334181676B}"/>
              </a:ext>
            </a:extLst>
          </p:cNvPr>
          <p:cNvSpPr/>
          <p:nvPr>
            <p:custDataLst>
              <p:tags r:id="rId3"/>
            </p:custDataLst>
          </p:nvPr>
        </p:nvSpPr>
        <p:spPr bwMode="auto">
          <a:xfrm>
            <a:off x="641350" y="51546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88E3C58D-CBC4-49DF-BD7B-70224EE92DC0}" type="datetime'''2''''''''''''0''0''''''''''''''''''''8'''''">
              <a:rPr kumimoji="0" lang="en-GB" altLang="en-US" sz="14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08</a:t>
            </a:fld>
            <a:endParaRPr kumimoji="0" lang="en-GB" sz="14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sp>
        <p:nvSpPr>
          <p:cNvPr id="375" name="Rectangle 374">
            <a:extLst>
              <a:ext uri="{FF2B5EF4-FFF2-40B4-BE49-F238E27FC236}">
                <a16:creationId xmlns:a16="http://schemas.microsoft.com/office/drawing/2014/main" id="{FE0AD94F-EF37-D948-94B3-6C374E58CA36}"/>
              </a:ext>
            </a:extLst>
          </p:cNvPr>
          <p:cNvSpPr/>
          <p:nvPr>
            <p:custDataLst>
              <p:tags r:id="rId4"/>
            </p:custDataLst>
          </p:nvPr>
        </p:nvSpPr>
        <p:spPr bwMode="auto">
          <a:xfrm>
            <a:off x="1766888" y="51546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EC98322B-1848-4253-94D8-9416A04985CB}" type="datetime'''''''''2''''0''''''''''''''''''1''''''''3'''''''''''''''">
              <a:rPr kumimoji="0" lang="en-GB" altLang="en-US" sz="14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3</a:t>
            </a:fld>
            <a:endParaRPr kumimoji="0" lang="en-GB" sz="14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sp>
        <p:nvSpPr>
          <p:cNvPr id="378" name="Rectangle 377">
            <a:extLst>
              <a:ext uri="{FF2B5EF4-FFF2-40B4-BE49-F238E27FC236}">
                <a16:creationId xmlns:a16="http://schemas.microsoft.com/office/drawing/2014/main" id="{F2CA49AE-806A-434A-A5FA-875F5D242A06}"/>
              </a:ext>
            </a:extLst>
          </p:cNvPr>
          <p:cNvSpPr/>
          <p:nvPr>
            <p:custDataLst>
              <p:tags r:id="rId5"/>
            </p:custDataLst>
          </p:nvPr>
        </p:nvSpPr>
        <p:spPr bwMode="auto">
          <a:xfrm>
            <a:off x="2894013" y="51546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9AACFCED-399B-468C-8300-84735739664E}" type="datetime'''''''''''''2''''''''''''''''''''''0''18'''''''''''''">
              <a:rPr kumimoji="0" lang="en-GB" altLang="en-US" sz="14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8</a:t>
            </a:fld>
            <a:endParaRPr kumimoji="0" lang="en-GB" sz="14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graphicFrame>
        <p:nvGraphicFramePr>
          <p:cNvPr id="49" name="Chart 48">
            <a:extLst>
              <a:ext uri="{FF2B5EF4-FFF2-40B4-BE49-F238E27FC236}">
                <a16:creationId xmlns:a16="http://schemas.microsoft.com/office/drawing/2014/main" id="{C13A1851-E7AA-4D3B-A308-BCC50F1CC3F5}"/>
              </a:ext>
            </a:extLst>
          </p:cNvPr>
          <p:cNvGraphicFramePr/>
          <p:nvPr>
            <p:custDataLst>
              <p:tags r:id="rId6"/>
            </p:custDataLst>
          </p:nvPr>
        </p:nvGraphicFramePr>
        <p:xfrm>
          <a:off x="4248150" y="2078038"/>
          <a:ext cx="3633788" cy="3100387"/>
        </p:xfrm>
        <a:graphic>
          <a:graphicData uri="http://schemas.openxmlformats.org/drawingml/2006/chart">
            <c:chart xmlns:c="http://schemas.openxmlformats.org/drawingml/2006/chart" xmlns:r="http://schemas.openxmlformats.org/officeDocument/2006/relationships" r:id="rId35"/>
          </a:graphicData>
        </a:graphic>
      </p:graphicFrame>
      <p:sp>
        <p:nvSpPr>
          <p:cNvPr id="181" name="Rectangle 180">
            <a:extLst>
              <a:ext uri="{FF2B5EF4-FFF2-40B4-BE49-F238E27FC236}">
                <a16:creationId xmlns:a16="http://schemas.microsoft.com/office/drawing/2014/main" id="{41D246B7-A607-AFC8-A4AE-C89164895414}"/>
              </a:ext>
            </a:extLst>
          </p:cNvPr>
          <p:cNvSpPr/>
          <p:nvPr>
            <p:custDataLst>
              <p:tags r:id="rId7"/>
            </p:custDataLst>
          </p:nvPr>
        </p:nvSpPr>
        <p:spPr bwMode="gray">
          <a:xfrm>
            <a:off x="5683250" y="2073275"/>
            <a:ext cx="260350" cy="19208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1219170" rtl="0" eaLnBrk="1" fontAlgn="auto" latinLnBrk="0" hangingPunct="1">
              <a:lnSpc>
                <a:spcPct val="90000"/>
              </a:lnSpc>
              <a:spcBef>
                <a:spcPct val="0"/>
              </a:spcBef>
              <a:spcAft>
                <a:spcPct val="0"/>
              </a:spcAft>
              <a:buClrTx/>
              <a:buSzTx/>
              <a:buFontTx/>
              <a:buNone/>
              <a:tabLst/>
              <a:defRPr/>
            </a:pPr>
            <a:fld id="{BBB68B25-0A7F-4D37-BC32-322EF2311EA3}" type="datetime'''''''''''''0''''''''''''''''''%'''">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1219170" rtl="0" eaLnBrk="1" fontAlgn="auto" latinLnBrk="0" hangingPunct="1">
                <a:lnSpc>
                  <a:spcPct val="90000"/>
                </a:lnSpc>
                <a:spcBef>
                  <a:spcPct val="0"/>
                </a:spcBef>
                <a:spcAft>
                  <a:spcPct val="0"/>
                </a:spcAft>
                <a:buClrTx/>
                <a:buSzTx/>
                <a:buFontTx/>
                <a:buNone/>
                <a:tabLst/>
                <a:defRPr/>
              </a:pPr>
              <a:t>0%</a:t>
            </a:fld>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99" name="Rectangle 198">
            <a:extLst>
              <a:ext uri="{FF2B5EF4-FFF2-40B4-BE49-F238E27FC236}">
                <a16:creationId xmlns:a16="http://schemas.microsoft.com/office/drawing/2014/main" id="{F9710123-11BB-C62B-BCFC-26E3F5475E3F}"/>
              </a:ext>
            </a:extLst>
          </p:cNvPr>
          <p:cNvSpPr/>
          <p:nvPr>
            <p:custDataLst>
              <p:tags r:id="rId8"/>
            </p:custDataLst>
          </p:nvPr>
        </p:nvSpPr>
        <p:spPr bwMode="gray">
          <a:xfrm>
            <a:off x="6840538" y="2100263"/>
            <a:ext cx="260350" cy="19208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1219170" rtl="0" eaLnBrk="1" fontAlgn="auto" latinLnBrk="0" hangingPunct="1">
              <a:lnSpc>
                <a:spcPct val="90000"/>
              </a:lnSpc>
              <a:spcBef>
                <a:spcPct val="0"/>
              </a:spcBef>
              <a:spcAft>
                <a:spcPct val="0"/>
              </a:spcAft>
              <a:buClrTx/>
              <a:buSzTx/>
              <a:buFontTx/>
              <a:buNone/>
              <a:tabLst/>
              <a:defRPr/>
            </a:pPr>
            <a:fld id="{4285C3D8-FCA0-4D93-8810-E8EB773A1431}" type="datetime'2''''''''''''''''''''''''''''''''''''''''%'''''''''''''''''''">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1219170" rtl="0" eaLnBrk="1" fontAlgn="auto" latinLnBrk="0" hangingPunct="1">
                <a:lnSpc>
                  <a:spcPct val="90000"/>
                </a:lnSpc>
                <a:spcBef>
                  <a:spcPct val="0"/>
                </a:spcBef>
                <a:spcAft>
                  <a:spcPct val="0"/>
                </a:spcAft>
                <a:buClrTx/>
                <a:buSzTx/>
                <a:buFontTx/>
                <a:buNone/>
                <a:tabLst/>
                <a:defRPr/>
              </a:pPr>
              <a:t>2%</a:t>
            </a:fld>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71" name="Rectangle 170">
            <a:extLst>
              <a:ext uri="{FF2B5EF4-FFF2-40B4-BE49-F238E27FC236}">
                <a16:creationId xmlns:a16="http://schemas.microsoft.com/office/drawing/2014/main" id="{E621EB5D-9B06-7888-43DE-15F80B40D27B}"/>
              </a:ext>
            </a:extLst>
          </p:cNvPr>
          <p:cNvSpPr/>
          <p:nvPr>
            <p:custDataLst>
              <p:tags r:id="rId9"/>
            </p:custDataLst>
          </p:nvPr>
        </p:nvSpPr>
        <p:spPr bwMode="gray">
          <a:xfrm>
            <a:off x="4527550" y="2198688"/>
            <a:ext cx="260350" cy="19208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1219170" rtl="0" eaLnBrk="1" fontAlgn="auto" latinLnBrk="0" hangingPunct="1">
              <a:lnSpc>
                <a:spcPct val="90000"/>
              </a:lnSpc>
              <a:spcBef>
                <a:spcPct val="0"/>
              </a:spcBef>
              <a:spcAft>
                <a:spcPct val="0"/>
              </a:spcAft>
              <a:buClrTx/>
              <a:buSzTx/>
              <a:buFontTx/>
              <a:buNone/>
              <a:tabLst/>
              <a:defRPr/>
            </a:pPr>
            <a:fld id="{5B905295-A3BB-462C-BFD3-DD360B1C4B1E}" type="datetime'''1''''''%'''''''''''''''''''''''''''''''">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1219170" rtl="0" eaLnBrk="1" fontAlgn="auto" latinLnBrk="0" hangingPunct="1">
                <a:lnSpc>
                  <a:spcPct val="90000"/>
                </a:lnSpc>
                <a:spcBef>
                  <a:spcPct val="0"/>
                </a:spcBef>
                <a:spcAft>
                  <a:spcPct val="0"/>
                </a:spcAft>
                <a:buClrTx/>
                <a:buSzTx/>
                <a:buFontTx/>
                <a:buNone/>
                <a:tabLst/>
                <a:defRPr/>
              </a:pPr>
              <a:t>1%</a:t>
            </a:fld>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64" name="Rectangle 163">
            <a:extLst>
              <a:ext uri="{FF2B5EF4-FFF2-40B4-BE49-F238E27FC236}">
                <a16:creationId xmlns:a16="http://schemas.microsoft.com/office/drawing/2014/main" id="{F02D06F3-7DCE-D0A4-0DEE-D9FD3FEAB489}"/>
              </a:ext>
            </a:extLst>
          </p:cNvPr>
          <p:cNvSpPr/>
          <p:nvPr>
            <p:custDataLst>
              <p:tags r:id="rId10"/>
            </p:custDataLst>
          </p:nvPr>
        </p:nvSpPr>
        <p:spPr bwMode="gray">
          <a:xfrm>
            <a:off x="5030788" y="2127250"/>
            <a:ext cx="260350" cy="19208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1219170" rtl="0" eaLnBrk="1" fontAlgn="auto" latinLnBrk="0" hangingPunct="1">
              <a:lnSpc>
                <a:spcPct val="90000"/>
              </a:lnSpc>
              <a:spcBef>
                <a:spcPct val="0"/>
              </a:spcBef>
              <a:spcAft>
                <a:spcPct val="0"/>
              </a:spcAft>
              <a:buClrTx/>
              <a:buSzTx/>
              <a:buFontTx/>
              <a:buNone/>
              <a:tabLst/>
              <a:defRPr/>
            </a:pPr>
            <a:fld id="{05F10304-2B79-4EA9-8296-E9403295856F}" type="datetime'''''''''''''''''''4''''''%'''''''''''''''''''''''''''''">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1219170" rtl="0" eaLnBrk="1" fontAlgn="auto" latinLnBrk="0" hangingPunct="1">
                <a:lnSpc>
                  <a:spcPct val="90000"/>
                </a:lnSpc>
                <a:spcBef>
                  <a:spcPct val="0"/>
                </a:spcBef>
                <a:spcAft>
                  <a:spcPct val="0"/>
                </a:spcAft>
                <a:buClrTx/>
                <a:buSzTx/>
                <a:buFontTx/>
                <a:buNone/>
                <a:tabLst/>
                <a:defRPr/>
              </a:pPr>
              <a:t>4%</a:t>
            </a:fld>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84" name="Rectangle 183">
            <a:extLst>
              <a:ext uri="{FF2B5EF4-FFF2-40B4-BE49-F238E27FC236}">
                <a16:creationId xmlns:a16="http://schemas.microsoft.com/office/drawing/2014/main" id="{A58818B4-36F8-A8FA-4595-4266A170F88F}"/>
              </a:ext>
            </a:extLst>
          </p:cNvPr>
          <p:cNvSpPr/>
          <p:nvPr>
            <p:custDataLst>
              <p:tags r:id="rId11"/>
            </p:custDataLst>
          </p:nvPr>
        </p:nvSpPr>
        <p:spPr bwMode="gray">
          <a:xfrm>
            <a:off x="6186488" y="2066925"/>
            <a:ext cx="260350" cy="19208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1219170" rtl="0" eaLnBrk="1" fontAlgn="auto" latinLnBrk="0" hangingPunct="1">
              <a:lnSpc>
                <a:spcPct val="90000"/>
              </a:lnSpc>
              <a:spcBef>
                <a:spcPct val="0"/>
              </a:spcBef>
              <a:spcAft>
                <a:spcPct val="0"/>
              </a:spcAft>
              <a:buClrTx/>
              <a:buSzTx/>
              <a:buFontTx/>
              <a:buNone/>
              <a:tabLst/>
              <a:defRPr/>
            </a:pPr>
            <a:fld id="{9234DE6C-8A4D-45CA-9470-A252132F9E4B}" type="datetime'''''''''''''''0''''''''''''''''''%'''''''''''''''">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1219170" rtl="0" eaLnBrk="1" fontAlgn="auto" latinLnBrk="0" hangingPunct="1">
                <a:lnSpc>
                  <a:spcPct val="90000"/>
                </a:lnSpc>
                <a:spcBef>
                  <a:spcPct val="0"/>
                </a:spcBef>
                <a:spcAft>
                  <a:spcPct val="0"/>
                </a:spcAft>
                <a:buClrTx/>
                <a:buSzTx/>
                <a:buFontTx/>
                <a:buNone/>
                <a:tabLst/>
                <a:defRPr/>
              </a:pPr>
              <a:t>0%</a:t>
            </a:fld>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98" name="Rectangle 97">
            <a:extLst>
              <a:ext uri="{FF2B5EF4-FFF2-40B4-BE49-F238E27FC236}">
                <a16:creationId xmlns:a16="http://schemas.microsoft.com/office/drawing/2014/main" id="{47ACC2AF-4AA2-3F02-0B66-CA73CB8500E4}"/>
              </a:ext>
            </a:extLst>
          </p:cNvPr>
          <p:cNvSpPr/>
          <p:nvPr>
            <p:custDataLst>
              <p:tags r:id="rId12"/>
            </p:custDataLst>
          </p:nvPr>
        </p:nvSpPr>
        <p:spPr bwMode="auto">
          <a:xfrm>
            <a:off x="4687888" y="5154613"/>
            <a:ext cx="442913"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20749750-A51D-4FF4-A508-7E8E0981417D}" type="datetime'''''''''''''''2''''0''''''''''''0''''8'''''''''''''''">
              <a:rPr kumimoji="0" lang="en-GB" altLang="en-US" sz="14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08</a:t>
            </a:fld>
            <a:r>
              <a:rPr kumimoji="0" lang="en-GB" altLang="en-US" sz="1400" b="0" i="0" u="none" strike="noStrike" kern="1200" cap="none" spc="0" normalizeH="0" baseline="0" noProof="0" dirty="0">
                <a:ln>
                  <a:noFill/>
                </a:ln>
                <a:solidFill>
                  <a:prstClr val="black"/>
                </a:solidFill>
                <a:effectLst/>
                <a:uLnTx/>
                <a:uFillTx/>
                <a:latin typeface="Gill Sans MT" panose="020B0502020104020203"/>
                <a:ea typeface="+mn-ea"/>
                <a:cs typeface="+mn-cs"/>
              </a:rPr>
              <a:t>*</a:t>
            </a:r>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01" name="Rectangle 100">
            <a:extLst>
              <a:ext uri="{FF2B5EF4-FFF2-40B4-BE49-F238E27FC236}">
                <a16:creationId xmlns:a16="http://schemas.microsoft.com/office/drawing/2014/main" id="{FCE9ACCF-1D6B-FFDD-936D-272D86B906C5}"/>
              </a:ext>
            </a:extLst>
          </p:cNvPr>
          <p:cNvSpPr/>
          <p:nvPr>
            <p:custDataLst>
              <p:tags r:id="rId13"/>
            </p:custDataLst>
          </p:nvPr>
        </p:nvSpPr>
        <p:spPr bwMode="auto">
          <a:xfrm>
            <a:off x="5880100" y="51546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0CDEA943-0215-4BD0-AD77-D6A770174F22}" type="datetime'''''''''''''2''''''''''''''''''''01''''3'''''''''''''''''">
              <a:rPr kumimoji="0" lang="en-GB" altLang="en-US" sz="14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3</a:t>
            </a:fld>
            <a:endParaRPr kumimoji="0" lang="en-GB" sz="14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sp>
        <p:nvSpPr>
          <p:cNvPr id="202" name="Rectangle 201">
            <a:extLst>
              <a:ext uri="{FF2B5EF4-FFF2-40B4-BE49-F238E27FC236}">
                <a16:creationId xmlns:a16="http://schemas.microsoft.com/office/drawing/2014/main" id="{4E219B7C-B5A5-40F2-C0E8-6FC7EF925DCA}"/>
              </a:ext>
            </a:extLst>
          </p:cNvPr>
          <p:cNvSpPr/>
          <p:nvPr>
            <p:custDataLst>
              <p:tags r:id="rId14"/>
            </p:custDataLst>
          </p:nvPr>
        </p:nvSpPr>
        <p:spPr bwMode="gray">
          <a:xfrm>
            <a:off x="7343775" y="2070100"/>
            <a:ext cx="260350" cy="19208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1219170" rtl="0" eaLnBrk="1" fontAlgn="auto" latinLnBrk="0" hangingPunct="1">
              <a:lnSpc>
                <a:spcPct val="90000"/>
              </a:lnSpc>
              <a:spcBef>
                <a:spcPct val="0"/>
              </a:spcBef>
              <a:spcAft>
                <a:spcPct val="0"/>
              </a:spcAft>
              <a:buClrTx/>
              <a:buSzTx/>
              <a:buFontTx/>
              <a:buNone/>
              <a:tabLst/>
              <a:defRPr/>
            </a:pPr>
            <a:fld id="{8F622395-AB81-4AD3-92F1-5EF5AAD70662}" type="datetime'''''''0%'''''''''">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1219170" rtl="0" eaLnBrk="1" fontAlgn="auto" latinLnBrk="0" hangingPunct="1">
                <a:lnSpc>
                  <a:spcPct val="90000"/>
                </a:lnSpc>
                <a:spcBef>
                  <a:spcPct val="0"/>
                </a:spcBef>
                <a:spcAft>
                  <a:spcPct val="0"/>
                </a:spcAft>
                <a:buClrTx/>
                <a:buSzTx/>
                <a:buFontTx/>
                <a:buNone/>
                <a:tabLst/>
                <a:defRPr/>
              </a:pPr>
              <a:t>0%</a:t>
            </a:fld>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02" name="Rectangle 101">
            <a:extLst>
              <a:ext uri="{FF2B5EF4-FFF2-40B4-BE49-F238E27FC236}">
                <a16:creationId xmlns:a16="http://schemas.microsoft.com/office/drawing/2014/main" id="{D57F7FFD-3972-B98E-B100-4CB0192EFC01}"/>
              </a:ext>
            </a:extLst>
          </p:cNvPr>
          <p:cNvSpPr/>
          <p:nvPr>
            <p:custDataLst>
              <p:tags r:id="rId15"/>
            </p:custDataLst>
          </p:nvPr>
        </p:nvSpPr>
        <p:spPr bwMode="auto">
          <a:xfrm>
            <a:off x="7037388" y="51546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931CD079-EBEF-476B-9367-A9BED744E262}" type="datetime'''''''2''''''''''''''0''1''''''''''''''''''''8'''">
              <a:rPr kumimoji="0" lang="en-GB" altLang="en-US" sz="1400" b="0" i="0" u="none" strike="noStrike" kern="1200" cap="none" spc="0" normalizeH="0" baseline="0" noProof="0" smtClean="0">
                <a:ln>
                  <a:noFill/>
                </a:ln>
                <a:solidFill>
                  <a:srgbClr val="112E38"/>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8</a:t>
            </a:fld>
            <a:endParaRPr kumimoji="0" lang="en-GB" sz="1400" b="0" i="0" u="none" strike="noStrike" kern="1200" cap="none" spc="0" normalizeH="0" baseline="0" noProof="0" dirty="0">
              <a:ln>
                <a:noFill/>
              </a:ln>
              <a:solidFill>
                <a:srgbClr val="112E38"/>
              </a:solidFill>
              <a:effectLst/>
              <a:uLnTx/>
              <a:uFillTx/>
              <a:latin typeface="Gill Sans MT" panose="020B0502020104020203"/>
              <a:ea typeface="+mn-ea"/>
              <a:cs typeface="+mn-cs"/>
            </a:endParaRPr>
          </a:p>
        </p:txBody>
      </p:sp>
      <p:graphicFrame>
        <p:nvGraphicFramePr>
          <p:cNvPr id="50" name="Chart 49">
            <a:extLst>
              <a:ext uri="{FF2B5EF4-FFF2-40B4-BE49-F238E27FC236}">
                <a16:creationId xmlns:a16="http://schemas.microsoft.com/office/drawing/2014/main" id="{35359271-51F4-477A-B52B-9CD0970EDA0D}"/>
              </a:ext>
            </a:extLst>
          </p:cNvPr>
          <p:cNvGraphicFramePr/>
          <p:nvPr>
            <p:custDataLst>
              <p:tags r:id="rId16"/>
            </p:custDataLst>
          </p:nvPr>
        </p:nvGraphicFramePr>
        <p:xfrm>
          <a:off x="8375650" y="2078038"/>
          <a:ext cx="3635375" cy="3100387"/>
        </p:xfrm>
        <a:graphic>
          <a:graphicData uri="http://schemas.openxmlformats.org/drawingml/2006/chart">
            <c:chart xmlns:c="http://schemas.openxmlformats.org/drawingml/2006/chart" xmlns:r="http://schemas.openxmlformats.org/officeDocument/2006/relationships" r:id="rId36"/>
          </a:graphicData>
        </a:graphic>
      </p:graphicFrame>
      <p:sp>
        <p:nvSpPr>
          <p:cNvPr id="118" name="Rectangle 117">
            <a:extLst>
              <a:ext uri="{FF2B5EF4-FFF2-40B4-BE49-F238E27FC236}">
                <a16:creationId xmlns:a16="http://schemas.microsoft.com/office/drawing/2014/main" id="{D14E2DD1-D48C-142E-90E3-90A613421A32}"/>
              </a:ext>
            </a:extLst>
          </p:cNvPr>
          <p:cNvSpPr/>
          <p:nvPr>
            <p:custDataLst>
              <p:tags r:id="rId17"/>
            </p:custDataLst>
          </p:nvPr>
        </p:nvSpPr>
        <p:spPr bwMode="auto">
          <a:xfrm>
            <a:off x="10009188" y="51546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263E686A-C941-43C2-B95D-217C43082F85}" type="datetime'''''''''2''0''''''''''1''''''3'''''''''''">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3</a:t>
            </a:fld>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14" name="Rectangle 113">
            <a:extLst>
              <a:ext uri="{FF2B5EF4-FFF2-40B4-BE49-F238E27FC236}">
                <a16:creationId xmlns:a16="http://schemas.microsoft.com/office/drawing/2014/main" id="{906FAB50-D9BE-1D01-FE33-B76AE9CAC05E}"/>
              </a:ext>
            </a:extLst>
          </p:cNvPr>
          <p:cNvSpPr/>
          <p:nvPr>
            <p:custDataLst>
              <p:tags r:id="rId18"/>
            </p:custDataLst>
          </p:nvPr>
        </p:nvSpPr>
        <p:spPr bwMode="auto">
          <a:xfrm>
            <a:off x="8851900" y="51546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72C6BDB5-F453-4254-B4DB-B802A1F1361A}" type="datetime'''''''''''2''''''''''''''''''''''''''0''''0''''8'''''''''''''">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08</a:t>
            </a:fld>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119" name="Rectangle 118">
            <a:extLst>
              <a:ext uri="{FF2B5EF4-FFF2-40B4-BE49-F238E27FC236}">
                <a16:creationId xmlns:a16="http://schemas.microsoft.com/office/drawing/2014/main" id="{95AA4D90-BC6C-8890-9225-4FEBE706089F}"/>
              </a:ext>
            </a:extLst>
          </p:cNvPr>
          <p:cNvSpPr/>
          <p:nvPr>
            <p:custDataLst>
              <p:tags r:id="rId19"/>
            </p:custDataLst>
          </p:nvPr>
        </p:nvSpPr>
        <p:spPr bwMode="auto">
          <a:xfrm>
            <a:off x="11164888" y="5154613"/>
            <a:ext cx="3683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8C1FBC64-BEB5-4912-ACCA-47A458F38DD2}" type="datetime'''2''0''1''''''''''''''''''''''''''''''''''''''''8'">
              <a:rPr kumimoji="0" lang="en-GB" altLang="en-US" sz="14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018</a:t>
            </a:fld>
            <a:endParaRPr kumimoji="0" lang="en-GB" sz="14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352" name="Rectangle 351">
            <a:extLst>
              <a:ext uri="{FF2B5EF4-FFF2-40B4-BE49-F238E27FC236}">
                <a16:creationId xmlns:a16="http://schemas.microsoft.com/office/drawing/2014/main" id="{CB17086D-A0AD-EE62-A803-5663BC79F75E}"/>
              </a:ext>
            </a:extLst>
          </p:cNvPr>
          <p:cNvSpPr/>
          <p:nvPr>
            <p:custDataLst>
              <p:tags r:id="rId20"/>
            </p:custDataLst>
          </p:nvPr>
        </p:nvSpPr>
        <p:spPr bwMode="gray">
          <a:xfrm>
            <a:off x="10063163" y="2078038"/>
            <a:ext cx="260350" cy="192088"/>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marL="0" marR="0" lvl="0" indent="0" algn="ctr" defTabSz="1219170" rtl="0" eaLnBrk="1" fontAlgn="auto" latinLnBrk="0" hangingPunct="1">
              <a:lnSpc>
                <a:spcPct val="90000"/>
              </a:lnSpc>
              <a:spcBef>
                <a:spcPct val="0"/>
              </a:spcBef>
              <a:spcAft>
                <a:spcPct val="0"/>
              </a:spcAft>
              <a:buClrTx/>
              <a:buSzTx/>
              <a:buFontTx/>
              <a:buNone/>
              <a:tabLst/>
              <a:defRPr/>
            </a:pPr>
            <a:fld id="{C54D76D1-FB51-4992-862B-1AD55F5E5CB6}" type="datetime'''''''''1''''''''''''''''''''''''''''''''''''''''''''''''''%'">
              <a:rPr kumimoji="0" lang="en-GB" altLang="en-US" sz="1400" b="0" i="0" u="none" strike="noStrike" kern="1200" cap="none" spc="0" normalizeH="0" baseline="0" noProof="0" smtClean="0">
                <a:ln>
                  <a:noFill/>
                </a:ln>
                <a:solidFill>
                  <a:prstClr val="white"/>
                </a:solidFill>
                <a:effectLst/>
                <a:uLnTx/>
                <a:uFillTx/>
                <a:latin typeface="Gill Sans MT" panose="020B0502020104020203"/>
                <a:ea typeface="+mn-ea"/>
                <a:cs typeface="+mn-cs"/>
              </a:rPr>
              <a:pPr marL="0" marR="0" lvl="0" indent="0" algn="ctr" defTabSz="1219170" rtl="0" eaLnBrk="1" fontAlgn="auto" latinLnBrk="0" hangingPunct="1">
                <a:lnSpc>
                  <a:spcPct val="90000"/>
                </a:lnSpc>
                <a:spcBef>
                  <a:spcPct val="0"/>
                </a:spcBef>
                <a:spcAft>
                  <a:spcPct val="0"/>
                </a:spcAft>
                <a:buClrTx/>
                <a:buSzTx/>
                <a:buFontTx/>
                <a:buNone/>
                <a:tabLst/>
                <a:defRPr/>
              </a:pPr>
              <a:t>1%</a:t>
            </a:fld>
            <a:endParaRPr kumimoji="0" lang="en-GB" sz="1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223" name="Rectangle 222">
            <a:extLst>
              <a:ext uri="{FF2B5EF4-FFF2-40B4-BE49-F238E27FC236}">
                <a16:creationId xmlns:a16="http://schemas.microsoft.com/office/drawing/2014/main" id="{239C37FA-41F3-C6EC-4663-2A485C42575B}"/>
              </a:ext>
            </a:extLst>
          </p:cNvPr>
          <p:cNvSpPr/>
          <p:nvPr>
            <p:custDataLst>
              <p:tags r:id="rId21"/>
            </p:custDataLst>
          </p:nvPr>
        </p:nvSpPr>
        <p:spPr bwMode="auto">
          <a:xfrm>
            <a:off x="11258550" y="1181100"/>
            <a:ext cx="179388" cy="13335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35" name="Rectangle 134">
            <a:extLst>
              <a:ext uri="{FF2B5EF4-FFF2-40B4-BE49-F238E27FC236}">
                <a16:creationId xmlns:a16="http://schemas.microsoft.com/office/drawing/2014/main" id="{FCDAA2F4-AADF-77AF-0370-0B1516B648A3}"/>
              </a:ext>
            </a:extLst>
          </p:cNvPr>
          <p:cNvSpPr/>
          <p:nvPr>
            <p:custDataLst>
              <p:tags r:id="rId22"/>
            </p:custDataLst>
          </p:nvPr>
        </p:nvSpPr>
        <p:spPr bwMode="auto">
          <a:xfrm>
            <a:off x="9902825" y="1181100"/>
            <a:ext cx="179388" cy="133350"/>
          </a:xfrm>
          <a:prstGeom prst="rect">
            <a:avLst/>
          </a:prstGeom>
          <a:solidFill>
            <a:srgbClr val="D9EE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219" name="Rectangle 218">
            <a:extLst>
              <a:ext uri="{FF2B5EF4-FFF2-40B4-BE49-F238E27FC236}">
                <a16:creationId xmlns:a16="http://schemas.microsoft.com/office/drawing/2014/main" id="{166C24C1-1DED-06D9-2C67-0D6CD3F23302}"/>
              </a:ext>
            </a:extLst>
          </p:cNvPr>
          <p:cNvSpPr/>
          <p:nvPr>
            <p:custDataLst>
              <p:tags r:id="rId23"/>
            </p:custDataLst>
          </p:nvPr>
        </p:nvSpPr>
        <p:spPr bwMode="auto">
          <a:xfrm>
            <a:off x="10555288" y="1181100"/>
            <a:ext cx="179388" cy="133350"/>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33" name="Rectangle 132">
            <a:extLst>
              <a:ext uri="{FF2B5EF4-FFF2-40B4-BE49-F238E27FC236}">
                <a16:creationId xmlns:a16="http://schemas.microsoft.com/office/drawing/2014/main" id="{770423DC-DAC5-AB1A-2509-CF7387684537}"/>
              </a:ext>
            </a:extLst>
          </p:cNvPr>
          <p:cNvSpPr/>
          <p:nvPr>
            <p:custDataLst>
              <p:tags r:id="rId24"/>
            </p:custDataLst>
          </p:nvPr>
        </p:nvSpPr>
        <p:spPr bwMode="auto">
          <a:xfrm>
            <a:off x="7850188" y="1181100"/>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34" name="Rectangle 133">
            <a:extLst>
              <a:ext uri="{FF2B5EF4-FFF2-40B4-BE49-F238E27FC236}">
                <a16:creationId xmlns:a16="http://schemas.microsoft.com/office/drawing/2014/main" id="{E20B683D-0860-8495-8564-5D4868E153CA}"/>
              </a:ext>
            </a:extLst>
          </p:cNvPr>
          <p:cNvSpPr/>
          <p:nvPr>
            <p:custDataLst>
              <p:tags r:id="rId25"/>
            </p:custDataLst>
          </p:nvPr>
        </p:nvSpPr>
        <p:spPr bwMode="auto">
          <a:xfrm>
            <a:off x="8850313" y="1181100"/>
            <a:ext cx="179388" cy="133350"/>
          </a:xfrm>
          <a:prstGeom prst="rect">
            <a:avLst/>
          </a:prstGeom>
          <a:solidFill>
            <a:srgbClr val="8ECBC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72" name="Rectangle 71">
            <a:extLst>
              <a:ext uri="{FF2B5EF4-FFF2-40B4-BE49-F238E27FC236}">
                <a16:creationId xmlns:a16="http://schemas.microsoft.com/office/drawing/2014/main" id="{12DBDB98-C6FF-EAA2-5A98-2DD1717051D9}"/>
              </a:ext>
            </a:extLst>
          </p:cNvPr>
          <p:cNvSpPr/>
          <p:nvPr>
            <p:custDataLst>
              <p:tags r:id="rId26"/>
            </p:custDataLst>
          </p:nvPr>
        </p:nvSpPr>
        <p:spPr bwMode="auto">
          <a:xfrm>
            <a:off x="8080375" y="1176338"/>
            <a:ext cx="66833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671A1F30-3F4C-493E-8C12-7AF7BC847B99}" type="datetime'''''P''''''''u''''b''l''''ic s''''e''c''to''''''''''''r'''''''">
              <a:rPr kumimoji="0" lang="en-GB" altLang="en-US" sz="10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Public sector</a:t>
            </a:fld>
            <a:endPar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74" name="Rectangle 73">
            <a:extLst>
              <a:ext uri="{FF2B5EF4-FFF2-40B4-BE49-F238E27FC236}">
                <a16:creationId xmlns:a16="http://schemas.microsoft.com/office/drawing/2014/main" id="{7DE1459F-5B33-D603-89F1-ADCC20C0F66F}"/>
              </a:ext>
            </a:extLst>
          </p:cNvPr>
          <p:cNvSpPr/>
          <p:nvPr>
            <p:custDataLst>
              <p:tags r:id="rId27"/>
            </p:custDataLst>
          </p:nvPr>
        </p:nvSpPr>
        <p:spPr bwMode="auto">
          <a:xfrm>
            <a:off x="10133013" y="1176338"/>
            <a:ext cx="320675"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0F818747-5015-4C0F-A753-FA99E0E0901B}" type="datetime'''H''''''''''''''''''''''''o''''m''''''''''''e'''''''''">
              <a:rPr kumimoji="0" lang="en-GB" altLang="en-US" sz="10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Home</a:t>
            </a:fld>
            <a:endPar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73" name="Rectangle 72">
            <a:extLst>
              <a:ext uri="{FF2B5EF4-FFF2-40B4-BE49-F238E27FC236}">
                <a16:creationId xmlns:a16="http://schemas.microsoft.com/office/drawing/2014/main" id="{C28E80DA-C732-E9E1-6CC1-A927AA68EAE6}"/>
              </a:ext>
            </a:extLst>
          </p:cNvPr>
          <p:cNvSpPr/>
          <p:nvPr>
            <p:custDataLst>
              <p:tags r:id="rId28"/>
            </p:custDataLst>
          </p:nvPr>
        </p:nvSpPr>
        <p:spPr bwMode="auto">
          <a:xfrm>
            <a:off x="9080500" y="1176338"/>
            <a:ext cx="720725"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9DEFDAF0-FE57-4A9E-9CFE-2794ECDBAFFA}" type="datetime'''P''r''i''v''a''''''''''t''e'''''''' s''e''''''''ctor'''''''">
              <a:rPr kumimoji="0" lang="en-GB" altLang="en-US" sz="10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Private sector</a:t>
            </a:fld>
            <a:endPar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20" name="Rectangle 219">
            <a:extLst>
              <a:ext uri="{FF2B5EF4-FFF2-40B4-BE49-F238E27FC236}">
                <a16:creationId xmlns:a16="http://schemas.microsoft.com/office/drawing/2014/main" id="{DF2AFC2B-5DFC-6B6D-E67D-C9043FD9FC1C}"/>
              </a:ext>
            </a:extLst>
          </p:cNvPr>
          <p:cNvSpPr/>
          <p:nvPr>
            <p:custDataLst>
              <p:tags r:id="rId29"/>
            </p:custDataLst>
          </p:nvPr>
        </p:nvSpPr>
        <p:spPr bwMode="auto">
          <a:xfrm>
            <a:off x="11488738" y="1176338"/>
            <a:ext cx="32226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9D9EF2C9-3FC6-4C5F-869D-212D22A0D29B}" type="datetime'Ot''''h''''''''''''''''''e''''''''''''r'''''''''">
              <a:rPr kumimoji="0" lang="en-GB" altLang="en-US" sz="10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Other</a:t>
            </a:fld>
            <a:endPar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15" name="Rectangle 214">
            <a:extLst>
              <a:ext uri="{FF2B5EF4-FFF2-40B4-BE49-F238E27FC236}">
                <a16:creationId xmlns:a16="http://schemas.microsoft.com/office/drawing/2014/main" id="{A46880C1-6ACA-5010-F755-56428E25DCF4}"/>
              </a:ext>
            </a:extLst>
          </p:cNvPr>
          <p:cNvSpPr/>
          <p:nvPr>
            <p:custDataLst>
              <p:tags r:id="rId30"/>
            </p:custDataLst>
          </p:nvPr>
        </p:nvSpPr>
        <p:spPr bwMode="auto">
          <a:xfrm>
            <a:off x="10785475" y="1176338"/>
            <a:ext cx="371475"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defRPr/>
            </a:pPr>
            <a:fld id="{5BBFC818-1C14-4BE5-BC1D-48A0C85F7BB1}" type="datetime'M''''''''i''''''''s''''''''''''s''''''''i''''''''''''n''''g'">
              <a:rPr kumimoji="0" lang="en-GB" altLang="en-US" sz="1000" b="0" i="0" u="none" strike="noStrike" kern="1200" cap="none" spc="0" normalizeH="0" baseline="0" noProof="0" smtClean="0">
                <a:ln>
                  <a:noFill/>
                </a:ln>
                <a:solidFill>
                  <a:prstClr val="black"/>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Missing</a:t>
            </a:fld>
            <a:endPar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408" name="TextBox 407">
            <a:extLst>
              <a:ext uri="{FF2B5EF4-FFF2-40B4-BE49-F238E27FC236}">
                <a16:creationId xmlns:a16="http://schemas.microsoft.com/office/drawing/2014/main" id="{EF69C00E-2C99-F407-20B2-9FACFF2FA29B}"/>
              </a:ext>
            </a:extLst>
          </p:cNvPr>
          <p:cNvSpPr txBox="1"/>
          <p:nvPr/>
        </p:nvSpPr>
        <p:spPr>
          <a:xfrm>
            <a:off x="49320" y="5550515"/>
            <a:ext cx="12075316" cy="969746"/>
          </a:xfrm>
          <a:prstGeom prst="rect">
            <a:avLst/>
          </a:prstGeom>
          <a:solidFill>
            <a:schemeClr val="bg1">
              <a:lumMod val="95000"/>
            </a:schemeClr>
          </a:solidFill>
          <a:ln w="9525">
            <a:solidFill>
              <a:schemeClr val="bg1">
                <a:lumMod val="50000"/>
              </a:schemeClr>
            </a:solidFill>
            <a:prstDash val="solid"/>
            <a:miter lim="800000"/>
            <a:headEnd/>
            <a:tailEnd/>
          </a:ln>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proportion of women using private ANC declined from its highest level (41%) in 2008 to (35%) in 2018.  Women switched to public ANC service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Decline in use of private MN services is more marked in SBAs, from 49% in 2008 to 25% in 2018. Private market share lost share to increases in home deliveries</a:t>
            </a:r>
          </a:p>
          <a:p>
            <a:pPr marL="182880" marR="0" lvl="0" indent="-18288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Expansion of free maternal care services to all public secondary facilities may explain the switch to use of public ANC, but not SBAs and PNC services</a:t>
            </a:r>
          </a:p>
        </p:txBody>
      </p:sp>
      <p:sp>
        <p:nvSpPr>
          <p:cNvPr id="6" name="TextBox 5">
            <a:extLst>
              <a:ext uri="{FF2B5EF4-FFF2-40B4-BE49-F238E27FC236}">
                <a16:creationId xmlns:a16="http://schemas.microsoft.com/office/drawing/2014/main" id="{8280B70A-1A95-C33E-58C0-162AD60533F0}"/>
              </a:ext>
            </a:extLst>
          </p:cNvPr>
          <p:cNvSpPr txBox="1"/>
          <p:nvPr/>
        </p:nvSpPr>
        <p:spPr>
          <a:xfrm>
            <a:off x="7496175" y="6645266"/>
            <a:ext cx="397990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 South-East average, not Ebonyi-specific</a:t>
            </a:r>
          </a:p>
        </p:txBody>
      </p:sp>
      <p:sp>
        <p:nvSpPr>
          <p:cNvPr id="7" name="TextBox 6">
            <a:extLst>
              <a:ext uri="{FF2B5EF4-FFF2-40B4-BE49-F238E27FC236}">
                <a16:creationId xmlns:a16="http://schemas.microsoft.com/office/drawing/2014/main" id="{D8B44D80-CA45-44BC-8952-703AAC9BBCF4}"/>
              </a:ext>
            </a:extLst>
          </p:cNvPr>
          <p:cNvSpPr txBox="1"/>
          <p:nvPr/>
        </p:nvSpPr>
        <p:spPr>
          <a:xfrm>
            <a:off x="86944" y="6694497"/>
            <a:ext cx="1152144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Team analysis 	1. NDHS 2008, 2013 and 2018 Secondary Data Analysis</a:t>
            </a:r>
          </a:p>
        </p:txBody>
      </p:sp>
      <p:sp>
        <p:nvSpPr>
          <p:cNvPr id="59" name="Rectangle 58">
            <a:extLst>
              <a:ext uri="{FF2B5EF4-FFF2-40B4-BE49-F238E27FC236}">
                <a16:creationId xmlns:a16="http://schemas.microsoft.com/office/drawing/2014/main" id="{538FCF14-ECAC-3018-3A53-D85D39BB2E55}"/>
              </a:ext>
            </a:extLst>
          </p:cNvPr>
          <p:cNvSpPr/>
          <p:nvPr/>
        </p:nvSpPr>
        <p:spPr bwMode="auto">
          <a:xfrm>
            <a:off x="-2" y="71390"/>
            <a:ext cx="530352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Supply-Trends of source of  ANC, SBA and PNC  </a:t>
            </a:r>
          </a:p>
        </p:txBody>
      </p:sp>
      <p:sp>
        <p:nvSpPr>
          <p:cNvPr id="60" name="Title 1">
            <a:extLst>
              <a:ext uri="{FF2B5EF4-FFF2-40B4-BE49-F238E27FC236}">
                <a16:creationId xmlns:a16="http://schemas.microsoft.com/office/drawing/2014/main" id="{F7D831F9-AD09-CB72-7218-3F5D712FA1AD}"/>
              </a:ext>
            </a:extLst>
          </p:cNvPr>
          <p:cNvSpPr txBox="1">
            <a:spLocks/>
          </p:cNvSpPr>
          <p:nvPr/>
        </p:nvSpPr>
        <p:spPr>
          <a:xfrm>
            <a:off x="166240" y="164037"/>
            <a:ext cx="11796019" cy="1005840"/>
          </a:xfrm>
          <a:prstGeom prst="rect">
            <a:avLst/>
          </a:prstGeom>
        </p:spPr>
        <p:txBody>
          <a:bodyPr vert="horz" anchor="ctr">
            <a:no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Gill Sans MT" panose="020B0502020104020203" pitchFamily="34" charset="0"/>
                <a:ea typeface="Cambria" panose="02040503050406030204" pitchFamily="18" charset="0"/>
                <a:cs typeface="Arial" charset="0"/>
              </a:rPr>
              <a:t>Private services lost share in ANC and SBA markets; mothers switched to public ANC services and others dropped out of health system to deliver at home</a:t>
            </a:r>
            <a:endPar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endParaRPr>
          </a:p>
        </p:txBody>
      </p:sp>
      <p:sp>
        <p:nvSpPr>
          <p:cNvPr id="2" name="Oval 1">
            <a:extLst>
              <a:ext uri="{FF2B5EF4-FFF2-40B4-BE49-F238E27FC236}">
                <a16:creationId xmlns:a16="http://schemas.microsoft.com/office/drawing/2014/main" id="{886BFDE4-250C-3834-DB61-558388874737}"/>
              </a:ext>
            </a:extLst>
          </p:cNvPr>
          <p:cNvSpPr/>
          <p:nvPr/>
        </p:nvSpPr>
        <p:spPr>
          <a:xfrm>
            <a:off x="179388" y="2014071"/>
            <a:ext cx="3495279" cy="1691341"/>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4" name="Oval 3">
            <a:extLst>
              <a:ext uri="{FF2B5EF4-FFF2-40B4-BE49-F238E27FC236}">
                <a16:creationId xmlns:a16="http://schemas.microsoft.com/office/drawing/2014/main" id="{6E19781B-FFD4-6F4F-6746-A4E77317918F}"/>
              </a:ext>
            </a:extLst>
          </p:cNvPr>
          <p:cNvSpPr/>
          <p:nvPr/>
        </p:nvSpPr>
        <p:spPr>
          <a:xfrm>
            <a:off x="4373772" y="1805385"/>
            <a:ext cx="3495279" cy="1691341"/>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967939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0173B-74C2-DD4B-2A13-E633A54D1D55}"/>
              </a:ext>
            </a:extLst>
          </p:cNvPr>
          <p:cNvSpPr>
            <a:spLocks noGrp="1"/>
          </p:cNvSpPr>
          <p:nvPr>
            <p:ph type="title"/>
          </p:nvPr>
        </p:nvSpPr>
        <p:spPr>
          <a:xfrm>
            <a:off x="533400" y="1198266"/>
            <a:ext cx="2509299" cy="845485"/>
          </a:xfrm>
        </p:spPr>
        <p:txBody>
          <a:bodyPr>
            <a:noAutofit/>
          </a:bodyPr>
          <a:lstStyle/>
          <a:p>
            <a:r>
              <a:rPr lang="en-US" sz="4400"/>
              <a:t>Outline</a:t>
            </a:r>
            <a:endParaRPr lang="fr-FR" sz="4400"/>
          </a:p>
        </p:txBody>
      </p:sp>
      <p:sp>
        <p:nvSpPr>
          <p:cNvPr id="3" name="Slide Number Placeholder 2">
            <a:extLst>
              <a:ext uri="{FF2B5EF4-FFF2-40B4-BE49-F238E27FC236}">
                <a16:creationId xmlns:a16="http://schemas.microsoft.com/office/drawing/2014/main" id="{1B4D3020-6995-3724-C6E1-7588D027E9DB}"/>
              </a:ext>
            </a:extLst>
          </p:cNvPr>
          <p:cNvSpPr>
            <a:spLocks noGrp="1"/>
          </p:cNvSpPr>
          <p:nvPr>
            <p:ph type="sldNum" sz="quarter" idx="4"/>
          </p:nvPr>
        </p:nvSpPr>
        <p:spPr>
          <a:xfrm>
            <a:off x="11280901" y="5991581"/>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a:ln>
                <a:noFill/>
              </a:ln>
              <a:solidFill>
                <a:srgbClr val="112E38"/>
              </a:solidFill>
              <a:effectLst/>
              <a:uLnTx/>
              <a:uFillTx/>
              <a:latin typeface="Gill Sans MT" panose="020B0502020104020203" pitchFamily="34" charset="0"/>
              <a:ea typeface="+mn-ea"/>
              <a:cs typeface="+mn-cs"/>
            </a:endParaRPr>
          </a:p>
        </p:txBody>
      </p:sp>
      <p:sp>
        <p:nvSpPr>
          <p:cNvPr id="5" name="TextBox 4">
            <a:extLst>
              <a:ext uri="{FF2B5EF4-FFF2-40B4-BE49-F238E27FC236}">
                <a16:creationId xmlns:a16="http://schemas.microsoft.com/office/drawing/2014/main" id="{98C9CF05-4BDB-3D05-9C04-58FF13664AF4}"/>
              </a:ext>
            </a:extLst>
          </p:cNvPr>
          <p:cNvSpPr txBox="1"/>
          <p:nvPr/>
        </p:nvSpPr>
        <p:spPr>
          <a:xfrm>
            <a:off x="4774097" y="523725"/>
            <a:ext cx="6944139" cy="5509200"/>
          </a:xfrm>
          <a:prstGeom prst="rect">
            <a:avLst/>
          </a:prstGeom>
          <a:noFill/>
        </p:spPr>
        <p:txBody>
          <a:bodyPr wrap="square" rtlCol="0">
            <a:spAutoFit/>
          </a:bodyPr>
          <a:lstStyle/>
          <a:p>
            <a:pPr defTabSz="1219170">
              <a:defRPr/>
            </a:pP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Framework and Methodology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3200" dirty="0">
              <a:solidFill>
                <a:prstClr val="black"/>
              </a:solidFill>
              <a:latin typeface="Gill Sans MT" panose="020B0502020104020203"/>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MNH Trends in Ebonyi state</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Demand highlight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Supply highlight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MNH market constraint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Healthy MNH Market framework</a:t>
            </a:r>
          </a:p>
        </p:txBody>
      </p:sp>
      <p:sp>
        <p:nvSpPr>
          <p:cNvPr id="4" name="Oval 3">
            <a:extLst>
              <a:ext uri="{FF2B5EF4-FFF2-40B4-BE49-F238E27FC236}">
                <a16:creationId xmlns:a16="http://schemas.microsoft.com/office/drawing/2014/main" id="{B19C6C3C-BE68-BCDB-D008-BEE10CA5043E}"/>
              </a:ext>
            </a:extLst>
          </p:cNvPr>
          <p:cNvSpPr/>
          <p:nvPr/>
        </p:nvSpPr>
        <p:spPr>
          <a:xfrm>
            <a:off x="3976057" y="539672"/>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Gill Sans MT" panose="020B0502020104020203"/>
                <a:ea typeface="+mn-ea"/>
                <a:cs typeface="+mn-cs"/>
              </a:rPr>
              <a:t>01</a:t>
            </a:r>
          </a:p>
        </p:txBody>
      </p:sp>
      <p:sp>
        <p:nvSpPr>
          <p:cNvPr id="6" name="Oval 5">
            <a:extLst>
              <a:ext uri="{FF2B5EF4-FFF2-40B4-BE49-F238E27FC236}">
                <a16:creationId xmlns:a16="http://schemas.microsoft.com/office/drawing/2014/main" id="{3124BD49-AE41-99F0-C051-381FD8CC8E6C}"/>
              </a:ext>
            </a:extLst>
          </p:cNvPr>
          <p:cNvSpPr/>
          <p:nvPr/>
        </p:nvSpPr>
        <p:spPr>
          <a:xfrm>
            <a:off x="3976057" y="1499299"/>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Gill Sans MT" panose="020B0502020104020203"/>
                <a:ea typeface="+mn-ea"/>
                <a:cs typeface="+mn-cs"/>
              </a:rPr>
              <a:t>02</a:t>
            </a:r>
          </a:p>
        </p:txBody>
      </p:sp>
      <p:sp>
        <p:nvSpPr>
          <p:cNvPr id="7" name="Oval 6">
            <a:extLst>
              <a:ext uri="{FF2B5EF4-FFF2-40B4-BE49-F238E27FC236}">
                <a16:creationId xmlns:a16="http://schemas.microsoft.com/office/drawing/2014/main" id="{527A264E-3124-0022-289B-BC12AED5F9F7}"/>
              </a:ext>
            </a:extLst>
          </p:cNvPr>
          <p:cNvSpPr/>
          <p:nvPr/>
        </p:nvSpPr>
        <p:spPr>
          <a:xfrm>
            <a:off x="3976057" y="2469246"/>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Gill Sans MT" panose="020B0502020104020203"/>
                <a:ea typeface="+mn-ea"/>
                <a:cs typeface="+mn-cs"/>
              </a:rPr>
              <a:t>03</a:t>
            </a:r>
          </a:p>
        </p:txBody>
      </p:sp>
      <p:sp>
        <p:nvSpPr>
          <p:cNvPr id="8" name="Oval 7">
            <a:extLst>
              <a:ext uri="{FF2B5EF4-FFF2-40B4-BE49-F238E27FC236}">
                <a16:creationId xmlns:a16="http://schemas.microsoft.com/office/drawing/2014/main" id="{51E1A4DA-FE11-84E7-AB8A-8E0F9FCF9FEB}"/>
              </a:ext>
            </a:extLst>
          </p:cNvPr>
          <p:cNvSpPr/>
          <p:nvPr/>
        </p:nvSpPr>
        <p:spPr>
          <a:xfrm>
            <a:off x="3976057" y="3442670"/>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Gill Sans MT" panose="020B0502020104020203"/>
                <a:ea typeface="+mn-ea"/>
                <a:cs typeface="+mn-cs"/>
              </a:rPr>
              <a:t>04</a:t>
            </a:r>
          </a:p>
        </p:txBody>
      </p:sp>
      <p:sp>
        <p:nvSpPr>
          <p:cNvPr id="9" name="Oval 8">
            <a:extLst>
              <a:ext uri="{FF2B5EF4-FFF2-40B4-BE49-F238E27FC236}">
                <a16:creationId xmlns:a16="http://schemas.microsoft.com/office/drawing/2014/main" id="{941667E4-297A-CB4B-7B9D-709C9A125A2A}"/>
              </a:ext>
            </a:extLst>
          </p:cNvPr>
          <p:cNvSpPr/>
          <p:nvPr/>
        </p:nvSpPr>
        <p:spPr>
          <a:xfrm>
            <a:off x="3976057" y="4395138"/>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rPr>
              <a:t>05</a:t>
            </a:r>
          </a:p>
        </p:txBody>
      </p:sp>
      <p:sp>
        <p:nvSpPr>
          <p:cNvPr id="10" name="Oval 9">
            <a:extLst>
              <a:ext uri="{FF2B5EF4-FFF2-40B4-BE49-F238E27FC236}">
                <a16:creationId xmlns:a16="http://schemas.microsoft.com/office/drawing/2014/main" id="{10382889-BFAF-DEED-E016-278863E8AD27}"/>
              </a:ext>
            </a:extLst>
          </p:cNvPr>
          <p:cNvSpPr/>
          <p:nvPr/>
        </p:nvSpPr>
        <p:spPr>
          <a:xfrm>
            <a:off x="3976057" y="5275668"/>
            <a:ext cx="713232" cy="7132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Gill Sans MT" panose="020B0502020104020203"/>
                <a:ea typeface="+mn-ea"/>
                <a:cs typeface="+mn-cs"/>
              </a:rPr>
              <a:t>06</a:t>
            </a:r>
          </a:p>
        </p:txBody>
      </p:sp>
    </p:spTree>
    <p:extLst>
      <p:ext uri="{BB962C8B-B14F-4D97-AF65-F5344CB8AC3E}">
        <p14:creationId xmlns:p14="http://schemas.microsoft.com/office/powerpoint/2010/main" val="623208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FF2B5EF4-FFF2-40B4-BE49-F238E27FC236}">
                <a16:creationId xmlns:a16="http://schemas.microsoft.com/office/drawing/2014/main" id="{73B4B5A5-3C38-F200-E02E-9C0BDCA6AA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95" imgH="396" progId="TCLayout.ActiveDocument.1">
                  <p:embed/>
                </p:oleObj>
              </mc:Choice>
              <mc:Fallback>
                <p:oleObj name="think-cell Slide" r:id="rId36" imgW="395" imgH="396" progId="TCLayout.ActiveDocument.1">
                  <p:embed/>
                  <p:pic>
                    <p:nvPicPr>
                      <p:cNvPr id="62" name="Object 61" hidden="1">
                        <a:extLst>
                          <a:ext uri="{FF2B5EF4-FFF2-40B4-BE49-F238E27FC236}">
                            <a16:creationId xmlns:a16="http://schemas.microsoft.com/office/drawing/2014/main" id="{73B4B5A5-3C38-F200-E02E-9C0BDCA6AA8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C6ADA53-E1A3-CB22-3FB0-F03DBBFADF7F}"/>
              </a:ext>
            </a:extLst>
          </p:cNvPr>
          <p:cNvSpPr/>
          <p:nvPr/>
        </p:nvSpPr>
        <p:spPr bwMode="auto">
          <a:xfrm>
            <a:off x="7761510" y="1326790"/>
            <a:ext cx="4221314" cy="4148645"/>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5" name="Rectangle 4">
            <a:extLst>
              <a:ext uri="{FF2B5EF4-FFF2-40B4-BE49-F238E27FC236}">
                <a16:creationId xmlns:a16="http://schemas.microsoft.com/office/drawing/2014/main" id="{4A1531A1-CB04-7C3C-F3FB-C1A2927F2A5C}"/>
              </a:ext>
            </a:extLst>
          </p:cNvPr>
          <p:cNvSpPr/>
          <p:nvPr/>
        </p:nvSpPr>
        <p:spPr bwMode="auto">
          <a:xfrm>
            <a:off x="101306" y="1326790"/>
            <a:ext cx="3657600" cy="4135179"/>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9CCAD12D-B89F-54DA-BE57-FCF7CCB6344C}"/>
              </a:ext>
            </a:extLst>
          </p:cNvPr>
          <p:cNvSpPr/>
          <p:nvPr/>
        </p:nvSpPr>
        <p:spPr bwMode="auto">
          <a:xfrm>
            <a:off x="3902074" y="1326790"/>
            <a:ext cx="3657600" cy="4140799"/>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7" name="Title 1">
            <a:extLst>
              <a:ext uri="{FF2B5EF4-FFF2-40B4-BE49-F238E27FC236}">
                <a16:creationId xmlns:a16="http://schemas.microsoft.com/office/drawing/2014/main" id="{5BE6EF37-A9CE-4E66-3D7E-6067A88CB624}"/>
              </a:ext>
            </a:extLst>
          </p:cNvPr>
          <p:cNvSpPr txBox="1">
            <a:spLocks/>
          </p:cNvSpPr>
          <p:nvPr/>
        </p:nvSpPr>
        <p:spPr>
          <a:xfrm>
            <a:off x="101084" y="209497"/>
            <a:ext cx="11958684" cy="923330"/>
          </a:xfrm>
          <a:prstGeom prst="rect">
            <a:avLst/>
          </a:prstGeom>
          <a:noFill/>
          <a:ln w="9525">
            <a:noFill/>
            <a:miter lim="800000"/>
            <a:headEnd/>
            <a:tailEnd/>
          </a:ln>
          <a:effectLst/>
        </p:spPr>
        <p:txBody>
          <a:bodyPr vert="horz" wrap="square" lIns="91440" tIns="91440" rIns="91440" bIns="91440" numCol="1" rtlCol="0" anchor="t" anchorCtr="0" compatLnSpc="1">
            <a:prstTxWarp prst="textNoShape">
              <a:avLst/>
            </a:prstTxWarp>
            <a:spAutoFit/>
          </a:bodyPr>
          <a:lstStyle>
            <a:lvl1pPr algn="ctr" defTabSz="914332" rtl="0" eaLnBrk="1" latinLnBrk="0" hangingPunct="1">
              <a:lnSpc>
                <a:spcPct val="90000"/>
              </a:lnSpc>
              <a:spcBef>
                <a:spcPct val="0"/>
              </a:spcBef>
              <a:buNone/>
              <a:defRPr sz="2800" b="1" i="0" kern="1200">
                <a:solidFill>
                  <a:schemeClr val="bg1"/>
                </a:solidFill>
                <a:latin typeface="Gill Sans MT" panose="020B0502020104020203" pitchFamily="34" charset="0"/>
                <a:ea typeface="Cambria" panose="02040503050406030204" pitchFamily="18" charset="0"/>
                <a:cs typeface="Arial" charset="0"/>
              </a:defRPr>
            </a:lvl1pPr>
          </a:lstStyle>
          <a:p>
            <a:pPr marL="0" marR="0" lvl="0" indent="0" algn="l" defTabSz="911713"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Gill Sans MT" panose="020B0502020104020203"/>
                <a:ea typeface="Cambria" panose="02040503050406030204" pitchFamily="18" charset="0"/>
                <a:cs typeface="Arial" panose="020B0604020202020204" pitchFamily="34" charset="0"/>
                <a:sym typeface="Arial"/>
              </a:rPr>
              <a:t>The public sector provides most ANC services - subsidizing higher/highest income women. More lowest/lower income seek private ANC, raising equity issues</a:t>
            </a:r>
          </a:p>
        </p:txBody>
      </p:sp>
      <p:sp>
        <p:nvSpPr>
          <p:cNvPr id="8" name="McK 5. Source">
            <a:extLst>
              <a:ext uri="{FF2B5EF4-FFF2-40B4-BE49-F238E27FC236}">
                <a16:creationId xmlns:a16="http://schemas.microsoft.com/office/drawing/2014/main" id="{9D9135FD-ED28-663D-58A6-11FFC47534E1}"/>
              </a:ext>
            </a:extLst>
          </p:cNvPr>
          <p:cNvSpPr>
            <a:spLocks noChangeArrowheads="1"/>
          </p:cNvSpPr>
          <p:nvPr/>
        </p:nvSpPr>
        <p:spPr bwMode="auto">
          <a:xfrm>
            <a:off x="116241" y="6719501"/>
            <a:ext cx="1127960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621778" algn="l" defTabSz="913235" rtl="0" eaLnBrk="1" fontAlgn="base" latinLnBrk="0" hangingPunct="1">
              <a:lnSpc>
                <a:spcPct val="100000"/>
              </a:lnSpc>
              <a:spcBef>
                <a:spcPct val="0"/>
              </a:spcBef>
              <a:spcAft>
                <a:spcPct val="0"/>
              </a:spcAft>
              <a:buClrTx/>
              <a:buSzTx/>
              <a:buFontTx/>
              <a:buNone/>
              <a:tabLst>
                <a:tab pos="625015" algn="l"/>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SOURCE: NDHS 2018 data</a:t>
            </a:r>
          </a:p>
        </p:txBody>
      </p:sp>
      <p:sp>
        <p:nvSpPr>
          <p:cNvPr id="9" name="Title 1">
            <a:extLst>
              <a:ext uri="{FF2B5EF4-FFF2-40B4-BE49-F238E27FC236}">
                <a16:creationId xmlns:a16="http://schemas.microsoft.com/office/drawing/2014/main" id="{17ACC3D9-1969-D896-AD44-8586BF2595E2}"/>
              </a:ext>
            </a:extLst>
          </p:cNvPr>
          <p:cNvSpPr txBox="1">
            <a:spLocks/>
          </p:cNvSpPr>
          <p:nvPr/>
        </p:nvSpPr>
        <p:spPr>
          <a:xfrm>
            <a:off x="0" y="0"/>
            <a:ext cx="1828800" cy="261531"/>
          </a:xfrm>
          <a:prstGeom prst="rect">
            <a:avLst/>
          </a:prstGeom>
        </p:spPr>
        <p:txBody>
          <a:bodyPr vert="horz" wrap="square" lIns="45720" tIns="45681" rIns="91363" bIns="45681">
            <a:spAutoFit/>
          </a:bodyPr>
          <a:lstStyle>
            <a:lvl1pPr algn="l" defTabSz="911713" rtl="0" eaLnBrk="1" fontAlgn="base" hangingPunct="1">
              <a:spcBef>
                <a:spcPct val="0"/>
              </a:spcBef>
              <a:spcAft>
                <a:spcPct val="0"/>
              </a:spcAft>
              <a:defRPr sz="2000" b="1">
                <a:solidFill>
                  <a:srgbClr val="336600"/>
                </a:solidFill>
                <a:latin typeface="+mj-lt"/>
                <a:ea typeface="+mj-ea"/>
                <a:cs typeface="+mj-cs"/>
              </a:defRPr>
            </a:lvl1pPr>
            <a:lvl2pPr algn="l" defTabSz="911713" rtl="0" eaLnBrk="1" fontAlgn="base" hangingPunct="1">
              <a:spcBef>
                <a:spcPct val="0"/>
              </a:spcBef>
              <a:spcAft>
                <a:spcPct val="0"/>
              </a:spcAft>
              <a:defRPr sz="2000" b="1">
                <a:solidFill>
                  <a:srgbClr val="336600"/>
                </a:solidFill>
                <a:latin typeface="Arial" charset="0"/>
              </a:defRPr>
            </a:lvl2pPr>
            <a:lvl3pPr algn="l" defTabSz="911713" rtl="0" eaLnBrk="1" fontAlgn="base" hangingPunct="1">
              <a:spcBef>
                <a:spcPct val="0"/>
              </a:spcBef>
              <a:spcAft>
                <a:spcPct val="0"/>
              </a:spcAft>
              <a:defRPr sz="2000" b="1">
                <a:solidFill>
                  <a:srgbClr val="336600"/>
                </a:solidFill>
                <a:latin typeface="Arial" charset="0"/>
              </a:defRPr>
            </a:lvl3pPr>
            <a:lvl4pPr algn="l" defTabSz="911713" rtl="0" eaLnBrk="1" fontAlgn="base" hangingPunct="1">
              <a:spcBef>
                <a:spcPct val="0"/>
              </a:spcBef>
              <a:spcAft>
                <a:spcPct val="0"/>
              </a:spcAft>
              <a:defRPr sz="2000" b="1">
                <a:solidFill>
                  <a:srgbClr val="336600"/>
                </a:solidFill>
                <a:latin typeface="Arial" charset="0"/>
              </a:defRPr>
            </a:lvl4pPr>
            <a:lvl5pPr algn="l" defTabSz="911713" rtl="0" eaLnBrk="1" fontAlgn="base" hangingPunct="1">
              <a:spcBef>
                <a:spcPct val="0"/>
              </a:spcBef>
              <a:spcAft>
                <a:spcPct val="0"/>
              </a:spcAft>
              <a:defRPr sz="2000" b="1">
                <a:solidFill>
                  <a:srgbClr val="336600"/>
                </a:solidFill>
                <a:latin typeface="Arial" charset="0"/>
              </a:defRPr>
            </a:lvl5pPr>
            <a:lvl6pPr marL="465822" algn="l" defTabSz="912233" rtl="0" eaLnBrk="1" fontAlgn="base" hangingPunct="1">
              <a:spcBef>
                <a:spcPct val="0"/>
              </a:spcBef>
              <a:spcAft>
                <a:spcPct val="0"/>
              </a:spcAft>
              <a:defRPr sz="2000" b="1">
                <a:solidFill>
                  <a:srgbClr val="336600"/>
                </a:solidFill>
                <a:latin typeface="Arial" charset="0"/>
              </a:defRPr>
            </a:lvl6pPr>
            <a:lvl7pPr marL="931640" algn="l" defTabSz="912233" rtl="0" eaLnBrk="1" fontAlgn="base" hangingPunct="1">
              <a:spcBef>
                <a:spcPct val="0"/>
              </a:spcBef>
              <a:spcAft>
                <a:spcPct val="0"/>
              </a:spcAft>
              <a:defRPr sz="2000" b="1">
                <a:solidFill>
                  <a:srgbClr val="336600"/>
                </a:solidFill>
                <a:latin typeface="Arial" charset="0"/>
              </a:defRPr>
            </a:lvl7pPr>
            <a:lvl8pPr marL="1397463" algn="l" defTabSz="912233" rtl="0" eaLnBrk="1" fontAlgn="base" hangingPunct="1">
              <a:spcBef>
                <a:spcPct val="0"/>
              </a:spcBef>
              <a:spcAft>
                <a:spcPct val="0"/>
              </a:spcAft>
              <a:defRPr sz="2000" b="1">
                <a:solidFill>
                  <a:srgbClr val="336600"/>
                </a:solidFill>
                <a:latin typeface="Arial" charset="0"/>
              </a:defRPr>
            </a:lvl8pPr>
            <a:lvl9pPr marL="1863285" algn="l" defTabSz="912233" rtl="0" eaLnBrk="1" fontAlgn="base" hangingPunct="1">
              <a:spcBef>
                <a:spcPct val="0"/>
              </a:spcBef>
              <a:spcAft>
                <a:spcPct val="0"/>
              </a:spcAft>
              <a:defRPr sz="2000" b="1">
                <a:solidFill>
                  <a:srgbClr val="336600"/>
                </a:solidFill>
                <a:latin typeface="Arial" charset="0"/>
              </a:defRPr>
            </a:lvl9pPr>
          </a:lstStyle>
          <a:p>
            <a:pPr marL="0" marR="0" lvl="0" indent="0" algn="l" defTabSz="910679" rtl="0" eaLnBrk="1" fontAlgn="base" latinLnBrk="0" hangingPunct="1">
              <a:lnSpc>
                <a:spcPct val="100000"/>
              </a:lnSpc>
              <a:spcBef>
                <a:spcPct val="0"/>
              </a:spcBef>
              <a:spcAft>
                <a:spcPct val="0"/>
              </a:spcAft>
              <a:buClrTx/>
              <a:buSzTx/>
              <a:buFontTx/>
              <a:buNone/>
              <a:tabLst>
                <a:tab pos="368723" algn="l"/>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SUPPLY-Services</a:t>
            </a:r>
          </a:p>
        </p:txBody>
      </p:sp>
      <p:sp>
        <p:nvSpPr>
          <p:cNvPr id="10" name="TextBox 9">
            <a:extLst>
              <a:ext uri="{FF2B5EF4-FFF2-40B4-BE49-F238E27FC236}">
                <a16:creationId xmlns:a16="http://schemas.microsoft.com/office/drawing/2014/main" id="{A0D25C16-C387-F142-FE0C-5E17A53FBB7B}"/>
              </a:ext>
            </a:extLst>
          </p:cNvPr>
          <p:cNvSpPr txBox="1"/>
          <p:nvPr/>
        </p:nvSpPr>
        <p:spPr>
          <a:xfrm>
            <a:off x="7761732" y="1326790"/>
            <a:ext cx="4221092" cy="322711"/>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ANC service by source and income, 2018</a:t>
            </a:r>
          </a:p>
        </p:txBody>
      </p:sp>
      <p:sp>
        <p:nvSpPr>
          <p:cNvPr id="12" name="TextBox 11">
            <a:extLst>
              <a:ext uri="{FF2B5EF4-FFF2-40B4-BE49-F238E27FC236}">
                <a16:creationId xmlns:a16="http://schemas.microsoft.com/office/drawing/2014/main" id="{5607061B-F398-529F-DF4B-A68567000D08}"/>
              </a:ext>
            </a:extLst>
          </p:cNvPr>
          <p:cNvSpPr txBox="1"/>
          <p:nvPr/>
        </p:nvSpPr>
        <p:spPr>
          <a:xfrm>
            <a:off x="3902074" y="1326790"/>
            <a:ext cx="3657600" cy="344206"/>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ANC service by source and location, 2018</a:t>
            </a:r>
            <a:endParaRPr kumimoji="0" lang="en-US" sz="1400" b="1" i="1" u="none" strike="noStrike" kern="1200" cap="none" spc="0" normalizeH="0" baseline="0" noProof="0" dirty="0">
              <a:ln>
                <a:noFill/>
              </a:ln>
              <a:solidFill>
                <a:srgbClr val="FFFFFF">
                  <a:lumMod val="95000"/>
                </a:srgbClr>
              </a:solidFill>
              <a:effectLst/>
              <a:uLnTx/>
              <a:uFillTx/>
              <a:latin typeface="Gill Sans MT" panose="020B0502020104020203"/>
              <a:ea typeface="+mn-ea"/>
              <a:cs typeface="Arial" panose="020B0604020202020204" pitchFamily="34" charset="0"/>
            </a:endParaRPr>
          </a:p>
        </p:txBody>
      </p:sp>
      <p:sp>
        <p:nvSpPr>
          <p:cNvPr id="13" name="TextBox 12">
            <a:extLst>
              <a:ext uri="{FF2B5EF4-FFF2-40B4-BE49-F238E27FC236}">
                <a16:creationId xmlns:a16="http://schemas.microsoft.com/office/drawing/2014/main" id="{1FFA1687-B425-F91F-C086-E229EDC8767B}"/>
              </a:ext>
            </a:extLst>
          </p:cNvPr>
          <p:cNvSpPr txBox="1"/>
          <p:nvPr/>
        </p:nvSpPr>
        <p:spPr>
          <a:xfrm>
            <a:off x="101084" y="1326790"/>
            <a:ext cx="3657600" cy="344206"/>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ANC services by source, 2018</a:t>
            </a:r>
          </a:p>
        </p:txBody>
      </p:sp>
      <p:graphicFrame>
        <p:nvGraphicFramePr>
          <p:cNvPr id="14" name="Chart 13">
            <a:extLst>
              <a:ext uri="{FF2B5EF4-FFF2-40B4-BE49-F238E27FC236}">
                <a16:creationId xmlns:a16="http://schemas.microsoft.com/office/drawing/2014/main" id="{1F71CC34-24D6-DB2C-02A9-C2EC8BBFF21C}"/>
              </a:ext>
            </a:extLst>
          </p:cNvPr>
          <p:cNvGraphicFramePr/>
          <p:nvPr>
            <p:custDataLst>
              <p:tags r:id="rId2"/>
            </p:custDataLst>
          </p:nvPr>
        </p:nvGraphicFramePr>
        <p:xfrm>
          <a:off x="523423" y="2073811"/>
          <a:ext cx="2812922" cy="3010065"/>
        </p:xfrm>
        <a:graphic>
          <a:graphicData uri="http://schemas.openxmlformats.org/drawingml/2006/chart">
            <c:chart xmlns:c="http://schemas.openxmlformats.org/drawingml/2006/chart" xmlns:r="http://schemas.openxmlformats.org/officeDocument/2006/relationships" r:id="rId38"/>
          </a:graphicData>
        </a:graphic>
      </p:graphicFrame>
      <p:sp>
        <p:nvSpPr>
          <p:cNvPr id="15" name="Rectangle 14">
            <a:extLst>
              <a:ext uri="{FF2B5EF4-FFF2-40B4-BE49-F238E27FC236}">
                <a16:creationId xmlns:a16="http://schemas.microsoft.com/office/drawing/2014/main" id="{791EDBDC-3579-9D28-916E-05BDBBC5FB75}"/>
              </a:ext>
            </a:extLst>
          </p:cNvPr>
          <p:cNvSpPr/>
          <p:nvPr>
            <p:custDataLst>
              <p:tags r:id="rId3"/>
            </p:custDataLst>
          </p:nvPr>
        </p:nvSpPr>
        <p:spPr bwMode="auto">
          <a:xfrm>
            <a:off x="289842" y="1856913"/>
            <a:ext cx="214313" cy="160338"/>
          </a:xfrm>
          <a:prstGeom prst="rect">
            <a:avLst/>
          </a:prstGeom>
          <a:solidFill>
            <a:schemeClr val="accent1"/>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6" name="Rectangle 15">
            <a:extLst>
              <a:ext uri="{FF2B5EF4-FFF2-40B4-BE49-F238E27FC236}">
                <a16:creationId xmlns:a16="http://schemas.microsoft.com/office/drawing/2014/main" id="{3D04BDF1-8706-5CCB-286F-C786F3550728}"/>
              </a:ext>
            </a:extLst>
          </p:cNvPr>
          <p:cNvSpPr/>
          <p:nvPr>
            <p:custDataLst>
              <p:tags r:id="rId4"/>
            </p:custDataLst>
          </p:nvPr>
        </p:nvSpPr>
        <p:spPr bwMode="auto">
          <a:xfrm>
            <a:off x="2874292" y="1856913"/>
            <a:ext cx="214313" cy="160338"/>
          </a:xfrm>
          <a:prstGeom prst="rect">
            <a:avLst/>
          </a:prstGeom>
          <a:solidFill>
            <a:schemeClr val="bg2">
              <a:lumMod val="20000"/>
              <a:lumOff val="80000"/>
            </a:schemeClr>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7" name="Rectangle 16">
            <a:extLst>
              <a:ext uri="{FF2B5EF4-FFF2-40B4-BE49-F238E27FC236}">
                <a16:creationId xmlns:a16="http://schemas.microsoft.com/office/drawing/2014/main" id="{17730C8E-1FAA-BF9D-800A-9D0AA4BBDBFC}"/>
              </a:ext>
            </a:extLst>
          </p:cNvPr>
          <p:cNvSpPr/>
          <p:nvPr>
            <p:custDataLst>
              <p:tags r:id="rId5"/>
            </p:custDataLst>
          </p:nvPr>
        </p:nvSpPr>
        <p:spPr bwMode="auto">
          <a:xfrm>
            <a:off x="1551904" y="1856913"/>
            <a:ext cx="214313" cy="160338"/>
          </a:xfrm>
          <a:prstGeom prst="rect">
            <a:avLst/>
          </a:prstGeom>
          <a:solidFill>
            <a:schemeClr val="bg2">
              <a:lumMod val="60000"/>
              <a:lumOff val="40000"/>
            </a:schemeClr>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18" name="Rectangle 17">
            <a:extLst>
              <a:ext uri="{FF2B5EF4-FFF2-40B4-BE49-F238E27FC236}">
                <a16:creationId xmlns:a16="http://schemas.microsoft.com/office/drawing/2014/main" id="{4B638E56-2404-B23E-252E-8691A332209D}"/>
              </a:ext>
            </a:extLst>
          </p:cNvPr>
          <p:cNvSpPr>
            <a:spLocks noGrp="1" noChangeArrowheads="1"/>
          </p:cNvSpPr>
          <p:nvPr>
            <p:custDataLst>
              <p:tags r:id="rId6"/>
            </p:custDataLst>
          </p:nvPr>
        </p:nvSpPr>
        <p:spPr bwMode="auto">
          <a:xfrm>
            <a:off x="554954" y="1852151"/>
            <a:ext cx="8953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F3812D2E-B5E4-4FB9-ABD3-7A3AF0662975}" type="datetime'''''''P''''ubl''i''c ''S''''''''''''''ec''''to''r'">
              <a:rPr kumimoji="0" lang="en-US" altLang="en-US" sz="12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Public Sector</a:t>
            </a:fld>
            <a:endPar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19" name="Rectangle 18">
            <a:extLst>
              <a:ext uri="{FF2B5EF4-FFF2-40B4-BE49-F238E27FC236}">
                <a16:creationId xmlns:a16="http://schemas.microsoft.com/office/drawing/2014/main" id="{8F0511DC-F2E2-0B24-FF3F-4E40B23945C4}"/>
              </a:ext>
            </a:extLst>
          </p:cNvPr>
          <p:cNvSpPr>
            <a:spLocks noGrp="1" noChangeArrowheads="1"/>
          </p:cNvSpPr>
          <p:nvPr>
            <p:custDataLst>
              <p:tags r:id="rId7"/>
            </p:custDataLst>
          </p:nvPr>
        </p:nvSpPr>
        <p:spPr bwMode="auto">
          <a:xfrm>
            <a:off x="1817017" y="1852151"/>
            <a:ext cx="95567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570454F2-24FE-4412-91CC-7E473A202C3B}" type="datetime'''''P''''r''''i''vate'' ''Sec''''''to''''''''''r'''''">
              <a:rPr kumimoji="0" lang="en-US" altLang="en-US" sz="12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Private Sector</a:t>
            </a:fld>
            <a:endPar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20" name="Rectangle 19">
            <a:extLst>
              <a:ext uri="{FF2B5EF4-FFF2-40B4-BE49-F238E27FC236}">
                <a16:creationId xmlns:a16="http://schemas.microsoft.com/office/drawing/2014/main" id="{6ABC6F11-214E-AF24-CA92-F1C029CF2BE5}"/>
              </a:ext>
            </a:extLst>
          </p:cNvPr>
          <p:cNvSpPr>
            <a:spLocks noGrp="1" noChangeArrowheads="1"/>
          </p:cNvSpPr>
          <p:nvPr>
            <p:custDataLst>
              <p:tags r:id="rId8"/>
            </p:custDataLst>
          </p:nvPr>
        </p:nvSpPr>
        <p:spPr bwMode="auto">
          <a:xfrm>
            <a:off x="3139404" y="1852151"/>
            <a:ext cx="3810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CE705DDF-9AD7-4009-8248-91119B946F2D}" type="datetime'''''''''''''Ot''h''e''''r'''''''''''''''''''''''''''''''''''''">
              <a:rPr kumimoji="0" lang="en-US" altLang="en-US" sz="12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Other</a:t>
            </a:fld>
            <a:endPar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graphicFrame>
        <p:nvGraphicFramePr>
          <p:cNvPr id="31" name="Chart 30">
            <a:extLst>
              <a:ext uri="{FF2B5EF4-FFF2-40B4-BE49-F238E27FC236}">
                <a16:creationId xmlns:a16="http://schemas.microsoft.com/office/drawing/2014/main" id="{010E1F8B-8AED-AB4C-E929-8D38D80539D1}"/>
              </a:ext>
            </a:extLst>
          </p:cNvPr>
          <p:cNvGraphicFramePr/>
          <p:nvPr>
            <p:custDataLst>
              <p:tags r:id="rId9"/>
            </p:custDataLst>
          </p:nvPr>
        </p:nvGraphicFramePr>
        <p:xfrm>
          <a:off x="8632156" y="1888836"/>
          <a:ext cx="3100644" cy="3533380"/>
        </p:xfrm>
        <a:graphic>
          <a:graphicData uri="http://schemas.openxmlformats.org/drawingml/2006/chart">
            <c:chart xmlns:c="http://schemas.openxmlformats.org/drawingml/2006/chart" xmlns:r="http://schemas.openxmlformats.org/officeDocument/2006/relationships" r:id="rId39"/>
          </a:graphicData>
        </a:graphic>
      </p:graphicFrame>
      <p:sp>
        <p:nvSpPr>
          <p:cNvPr id="32" name="Rectangle 31">
            <a:extLst>
              <a:ext uri="{FF2B5EF4-FFF2-40B4-BE49-F238E27FC236}">
                <a16:creationId xmlns:a16="http://schemas.microsoft.com/office/drawing/2014/main" id="{CDBF11D7-5B48-0289-BF7B-54FA0EB30F47}"/>
              </a:ext>
            </a:extLst>
          </p:cNvPr>
          <p:cNvSpPr>
            <a:spLocks noGrp="1" noChangeArrowheads="1"/>
          </p:cNvSpPr>
          <p:nvPr>
            <p:custDataLst>
              <p:tags r:id="rId10"/>
            </p:custDataLst>
          </p:nvPr>
        </p:nvSpPr>
        <p:spPr bwMode="auto">
          <a:xfrm>
            <a:off x="7931151" y="3020614"/>
            <a:ext cx="531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r" defTabSz="911713" rtl="0" eaLnBrk="1" fontAlgn="base" latinLnBrk="0" hangingPunct="1">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ower</a:t>
            </a:r>
            <a:endParaRPr kumimoji="0" lang="en-US" sz="1200" b="0" i="0" u="none" strike="noStrike" kern="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3" name="Rectangle 32">
            <a:extLst>
              <a:ext uri="{FF2B5EF4-FFF2-40B4-BE49-F238E27FC236}">
                <a16:creationId xmlns:a16="http://schemas.microsoft.com/office/drawing/2014/main" id="{11298609-7B8C-2454-78E0-AB45776D4756}"/>
              </a:ext>
            </a:extLst>
          </p:cNvPr>
          <p:cNvSpPr>
            <a:spLocks noGrp="1" noChangeArrowheads="1"/>
          </p:cNvSpPr>
          <p:nvPr>
            <p:custDataLst>
              <p:tags r:id="rId11"/>
            </p:custDataLst>
          </p:nvPr>
        </p:nvSpPr>
        <p:spPr bwMode="auto">
          <a:xfrm>
            <a:off x="7951453" y="2339873"/>
            <a:ext cx="61118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r" defTabSz="911713" rtl="0" eaLnBrk="1" fontAlgn="base" latinLnBrk="0" hangingPunct="1">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owest</a:t>
            </a:r>
            <a:endParaRPr kumimoji="0" lang="en-US" sz="1200" b="0" i="0" u="none" strike="noStrike" kern="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4" name="Rectangle 33">
            <a:extLst>
              <a:ext uri="{FF2B5EF4-FFF2-40B4-BE49-F238E27FC236}">
                <a16:creationId xmlns:a16="http://schemas.microsoft.com/office/drawing/2014/main" id="{EC0A2DF6-6799-D62C-03C6-629E6B22A3DD}"/>
              </a:ext>
            </a:extLst>
          </p:cNvPr>
          <p:cNvSpPr>
            <a:spLocks noGrp="1" noChangeArrowheads="1"/>
          </p:cNvSpPr>
          <p:nvPr>
            <p:custDataLst>
              <p:tags r:id="rId12"/>
            </p:custDataLst>
          </p:nvPr>
        </p:nvSpPr>
        <p:spPr bwMode="gray">
          <a:xfrm>
            <a:off x="11395850" y="4924361"/>
            <a:ext cx="307975" cy="212725"/>
          </a:xfrm>
          <a:prstGeom prst="rect">
            <a:avLst/>
          </a:prstGeom>
          <a:no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1" fontAlgn="base" latinLnBrk="0" hangingPunct="1">
              <a:lnSpc>
                <a:spcPct val="100000"/>
              </a:lnSpc>
              <a:spcBef>
                <a:spcPct val="0"/>
              </a:spcBef>
              <a:spcAft>
                <a:spcPct val="0"/>
              </a:spcAft>
              <a:buClr>
                <a:srgbClr val="204024"/>
              </a:buClr>
              <a:buSzTx/>
              <a:buFontTx/>
              <a:buNone/>
              <a:tabLst/>
              <a:defRPr/>
            </a:pPr>
            <a:fld id="{07CFAAB3-F3E1-4F8B-B04E-2268C2932515}" type="datetime'''''''''''8''''''''''''''''%'''''''''''''''''''''''''">
              <a:rPr kumimoji="0" lang="en-US" altLang="en-US" sz="1400" b="0" i="0" u="none" strike="noStrike" kern="0" cap="none" spc="0" normalizeH="0" baseline="0" noProof="0" smtClean="0">
                <a:ln>
                  <a:noFill/>
                </a:ln>
                <a:solidFill>
                  <a:srgbClr val="000000"/>
                </a:solidFill>
                <a:effectLst/>
                <a:uLnTx/>
                <a:uFillTx/>
                <a:latin typeface="Gill Sans MT" panose="020B0502020104020203"/>
                <a:ea typeface="+mn-ea"/>
                <a:cs typeface="Arial" panose="020B0604020202020204" pitchFamily="34" charset="0"/>
              </a:rPr>
              <a:pPr marL="0" marR="0" lvl="0" indent="0" algn="ctr" defTabSz="911713" rtl="0" eaLnBrk="1" fontAlgn="base" latinLnBrk="0" hangingPunct="1">
                <a:lnSpc>
                  <a:spcPct val="100000"/>
                </a:lnSpc>
                <a:spcBef>
                  <a:spcPct val="0"/>
                </a:spcBef>
                <a:spcAft>
                  <a:spcPct val="0"/>
                </a:spcAft>
                <a:buClr>
                  <a:srgbClr val="204024"/>
                </a:buClr>
                <a:buSzTx/>
                <a:buFontTx/>
                <a:buNone/>
                <a:tabLst/>
                <a:defRPr/>
              </a:pPr>
              <a:t>8%</a:t>
            </a:fld>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35" name="Rectangle 34">
            <a:extLst>
              <a:ext uri="{FF2B5EF4-FFF2-40B4-BE49-F238E27FC236}">
                <a16:creationId xmlns:a16="http://schemas.microsoft.com/office/drawing/2014/main" id="{1A5567CD-5993-1BFF-C356-CC77732ECA53}"/>
              </a:ext>
            </a:extLst>
          </p:cNvPr>
          <p:cNvSpPr>
            <a:spLocks noGrp="1" noChangeArrowheads="1"/>
          </p:cNvSpPr>
          <p:nvPr>
            <p:custDataLst>
              <p:tags r:id="rId13"/>
            </p:custDataLst>
          </p:nvPr>
        </p:nvSpPr>
        <p:spPr bwMode="gray">
          <a:xfrm>
            <a:off x="11459398" y="3599274"/>
            <a:ext cx="307975" cy="212725"/>
          </a:xfrm>
          <a:prstGeom prst="rect">
            <a:avLst/>
          </a:prstGeom>
          <a:no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1" fontAlgn="base" latinLnBrk="0" hangingPunct="1">
              <a:lnSpc>
                <a:spcPct val="100000"/>
              </a:lnSpc>
              <a:spcBef>
                <a:spcPct val="0"/>
              </a:spcBef>
              <a:spcAft>
                <a:spcPct val="0"/>
              </a:spcAft>
              <a:buClr>
                <a:srgbClr val="204024"/>
              </a:buClr>
              <a:buSzTx/>
              <a:buFontTx/>
              <a:buNone/>
              <a:tabLst/>
              <a:defRPr/>
            </a:pPr>
            <a:fld id="{728CF555-7F1A-4A5A-9411-302AA5531A7E}" type="datetime'''''''5''''''''''''''''''''''''''''''%'''">
              <a:rPr kumimoji="0" lang="en-US" altLang="en-US" sz="1400" b="0" i="0" u="none" strike="noStrike" kern="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ctr" defTabSz="911713" rtl="0" eaLnBrk="1" fontAlgn="base" latinLnBrk="0" hangingPunct="1">
                <a:lnSpc>
                  <a:spcPct val="100000"/>
                </a:lnSpc>
                <a:spcBef>
                  <a:spcPct val="0"/>
                </a:spcBef>
                <a:spcAft>
                  <a:spcPct val="0"/>
                </a:spcAft>
                <a:buClr>
                  <a:srgbClr val="204024"/>
                </a:buClr>
                <a:buSzTx/>
                <a:buFontTx/>
                <a:buNone/>
                <a:tabLst/>
                <a:defRPr/>
              </a:pPr>
              <a:t>5%</a:t>
            </a:fld>
            <a:endParaRPr kumimoji="0" lang="en-US" sz="1400" b="0" i="0" u="none" strike="noStrike" kern="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6" name="Rectangle 35">
            <a:extLst>
              <a:ext uri="{FF2B5EF4-FFF2-40B4-BE49-F238E27FC236}">
                <a16:creationId xmlns:a16="http://schemas.microsoft.com/office/drawing/2014/main" id="{E9B4528E-B937-3316-EF81-60831A9D45F8}"/>
              </a:ext>
            </a:extLst>
          </p:cNvPr>
          <p:cNvSpPr>
            <a:spLocks noGrp="1" noChangeArrowheads="1"/>
          </p:cNvSpPr>
          <p:nvPr>
            <p:custDataLst>
              <p:tags r:id="rId14"/>
            </p:custDataLst>
          </p:nvPr>
        </p:nvSpPr>
        <p:spPr bwMode="gray">
          <a:xfrm>
            <a:off x="11479888" y="4263886"/>
            <a:ext cx="307975" cy="212725"/>
          </a:xfrm>
          <a:prstGeom prst="rect">
            <a:avLst/>
          </a:prstGeom>
          <a:no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1" fontAlgn="base" latinLnBrk="0" hangingPunct="1">
              <a:lnSpc>
                <a:spcPct val="100000"/>
              </a:lnSpc>
              <a:spcBef>
                <a:spcPct val="0"/>
              </a:spcBef>
              <a:spcAft>
                <a:spcPct val="0"/>
              </a:spcAft>
              <a:buClr>
                <a:srgbClr val="204024"/>
              </a:buClr>
              <a:buSzTx/>
              <a:buFontTx/>
              <a:buNone/>
              <a:tabLst/>
              <a:defRPr/>
            </a:pPr>
            <a:fld id="{FBB3D0DF-AFE3-4C83-BBAF-7C3B5BBAA968}" type="datetime'''''''''''''''5''''''%'''''''''''''''''''">
              <a:rPr kumimoji="0" lang="en-US" altLang="en-US" sz="1400" b="0" i="0" u="none" strike="noStrike" kern="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ctr" defTabSz="911713" rtl="0" eaLnBrk="1" fontAlgn="base" latinLnBrk="0" hangingPunct="1">
                <a:lnSpc>
                  <a:spcPct val="100000"/>
                </a:lnSpc>
                <a:spcBef>
                  <a:spcPct val="0"/>
                </a:spcBef>
                <a:spcAft>
                  <a:spcPct val="0"/>
                </a:spcAft>
                <a:buClr>
                  <a:srgbClr val="204024"/>
                </a:buClr>
                <a:buSzTx/>
                <a:buFontTx/>
                <a:buNone/>
                <a:tabLst/>
                <a:defRPr/>
              </a:pPr>
              <a:t>5%</a:t>
            </a:fld>
            <a:endParaRPr kumimoji="0" lang="en-US" sz="1400" b="0" i="0" u="none" strike="noStrike" kern="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37" name="Rectangle 36">
            <a:extLst>
              <a:ext uri="{FF2B5EF4-FFF2-40B4-BE49-F238E27FC236}">
                <a16:creationId xmlns:a16="http://schemas.microsoft.com/office/drawing/2014/main" id="{BAFA5025-783D-20D5-0D14-D0501581728F}"/>
              </a:ext>
            </a:extLst>
          </p:cNvPr>
          <p:cNvSpPr>
            <a:spLocks noGrp="1" noChangeArrowheads="1"/>
          </p:cNvSpPr>
          <p:nvPr>
            <p:custDataLst>
              <p:tags r:id="rId15"/>
            </p:custDataLst>
          </p:nvPr>
        </p:nvSpPr>
        <p:spPr bwMode="auto">
          <a:xfrm>
            <a:off x="7917322" y="3686584"/>
            <a:ext cx="630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r" defTabSz="911713" rtl="0" eaLnBrk="1" fontAlgn="base" latinLnBrk="0" hangingPunct="1">
              <a:lnSpc>
                <a:spcPct val="100000"/>
              </a:lnSpc>
              <a:spcBef>
                <a:spcPct val="0"/>
              </a:spcBef>
              <a:spcAft>
                <a:spcPct val="0"/>
              </a:spcAft>
              <a:buClr>
                <a:srgbClr val="204024"/>
              </a:buClr>
              <a:buSzTx/>
              <a:buFontTx/>
              <a:buNone/>
              <a:tabLst/>
              <a:defRPr/>
            </a:pPr>
            <a:r>
              <a:rPr kumimoji="0" lang="en-US" sz="1200" b="0" i="0" u="none" strike="noStrike" kern="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Middle</a:t>
            </a:r>
          </a:p>
        </p:txBody>
      </p:sp>
      <p:sp>
        <p:nvSpPr>
          <p:cNvPr id="38" name="Rectangle 37">
            <a:extLst>
              <a:ext uri="{FF2B5EF4-FFF2-40B4-BE49-F238E27FC236}">
                <a16:creationId xmlns:a16="http://schemas.microsoft.com/office/drawing/2014/main" id="{8684D898-076F-9555-581F-9B7A3733D912}"/>
              </a:ext>
            </a:extLst>
          </p:cNvPr>
          <p:cNvSpPr>
            <a:spLocks noGrp="1" noChangeArrowheads="1"/>
          </p:cNvSpPr>
          <p:nvPr>
            <p:custDataLst>
              <p:tags r:id="rId16"/>
            </p:custDataLst>
          </p:nvPr>
        </p:nvSpPr>
        <p:spPr bwMode="auto">
          <a:xfrm>
            <a:off x="7980363" y="4323710"/>
            <a:ext cx="5127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r" defTabSz="911713" rtl="0" eaLnBrk="1" fontAlgn="base" latinLnBrk="0" hangingPunct="1">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Higher</a:t>
            </a:r>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39" name="Rectangle 38">
            <a:extLst>
              <a:ext uri="{FF2B5EF4-FFF2-40B4-BE49-F238E27FC236}">
                <a16:creationId xmlns:a16="http://schemas.microsoft.com/office/drawing/2014/main" id="{6E74E697-0B49-1781-7662-998EB9EAE5A2}"/>
              </a:ext>
            </a:extLst>
          </p:cNvPr>
          <p:cNvSpPr>
            <a:spLocks noGrp="1" noChangeArrowheads="1"/>
          </p:cNvSpPr>
          <p:nvPr>
            <p:custDataLst>
              <p:tags r:id="rId17"/>
            </p:custDataLst>
          </p:nvPr>
        </p:nvSpPr>
        <p:spPr bwMode="auto">
          <a:xfrm>
            <a:off x="7955422" y="4924362"/>
            <a:ext cx="5921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r" defTabSz="911713" rtl="0" eaLnBrk="1" fontAlgn="base" latinLnBrk="0" hangingPunct="1">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Highest</a:t>
            </a:r>
            <a:endParaRPr kumimoji="0" lang="en-US" sz="1200" b="0" i="0" u="none" strike="noStrike" kern="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46" name="Rectangle 45">
            <a:extLst>
              <a:ext uri="{FF2B5EF4-FFF2-40B4-BE49-F238E27FC236}">
                <a16:creationId xmlns:a16="http://schemas.microsoft.com/office/drawing/2014/main" id="{747E71FB-F076-5F08-AE94-8CFAA5DF79F3}"/>
              </a:ext>
            </a:extLst>
          </p:cNvPr>
          <p:cNvSpPr/>
          <p:nvPr>
            <p:custDataLst>
              <p:tags r:id="rId18"/>
            </p:custDataLst>
          </p:nvPr>
        </p:nvSpPr>
        <p:spPr bwMode="auto">
          <a:xfrm>
            <a:off x="4102829" y="1863264"/>
            <a:ext cx="214313" cy="160338"/>
          </a:xfrm>
          <a:prstGeom prst="rect">
            <a:avLst/>
          </a:prstGeom>
          <a:solidFill>
            <a:schemeClr val="accent1"/>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47" name="Rectangle 46">
            <a:extLst>
              <a:ext uri="{FF2B5EF4-FFF2-40B4-BE49-F238E27FC236}">
                <a16:creationId xmlns:a16="http://schemas.microsoft.com/office/drawing/2014/main" id="{C1A699C4-0BA9-9D80-D823-F9E9E41CFF22}"/>
              </a:ext>
            </a:extLst>
          </p:cNvPr>
          <p:cNvSpPr/>
          <p:nvPr>
            <p:custDataLst>
              <p:tags r:id="rId19"/>
            </p:custDataLst>
          </p:nvPr>
        </p:nvSpPr>
        <p:spPr bwMode="auto">
          <a:xfrm>
            <a:off x="6687279" y="1863264"/>
            <a:ext cx="214313" cy="160338"/>
          </a:xfrm>
          <a:prstGeom prst="rect">
            <a:avLst/>
          </a:prstGeom>
          <a:solidFill>
            <a:schemeClr val="bg2">
              <a:lumMod val="20000"/>
              <a:lumOff val="80000"/>
            </a:schemeClr>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48" name="Rectangle 47">
            <a:extLst>
              <a:ext uri="{FF2B5EF4-FFF2-40B4-BE49-F238E27FC236}">
                <a16:creationId xmlns:a16="http://schemas.microsoft.com/office/drawing/2014/main" id="{23BBB596-099B-DF28-7463-9E91FBF9702D}"/>
              </a:ext>
            </a:extLst>
          </p:cNvPr>
          <p:cNvSpPr/>
          <p:nvPr>
            <p:custDataLst>
              <p:tags r:id="rId20"/>
            </p:custDataLst>
          </p:nvPr>
        </p:nvSpPr>
        <p:spPr bwMode="auto">
          <a:xfrm>
            <a:off x="5364891" y="1863264"/>
            <a:ext cx="214313" cy="160338"/>
          </a:xfrm>
          <a:prstGeom prst="rect">
            <a:avLst/>
          </a:prstGeom>
          <a:solidFill>
            <a:schemeClr val="bg2">
              <a:lumMod val="60000"/>
              <a:lumOff val="40000"/>
            </a:schemeClr>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49" name="Rectangle 48">
            <a:extLst>
              <a:ext uri="{FF2B5EF4-FFF2-40B4-BE49-F238E27FC236}">
                <a16:creationId xmlns:a16="http://schemas.microsoft.com/office/drawing/2014/main" id="{F13F089B-C55E-2B2F-C20C-3CAE3BCD5342}"/>
              </a:ext>
            </a:extLst>
          </p:cNvPr>
          <p:cNvSpPr>
            <a:spLocks noGrp="1" noChangeArrowheads="1"/>
          </p:cNvSpPr>
          <p:nvPr>
            <p:custDataLst>
              <p:tags r:id="rId21"/>
            </p:custDataLst>
          </p:nvPr>
        </p:nvSpPr>
        <p:spPr bwMode="auto">
          <a:xfrm>
            <a:off x="4367941" y="1858502"/>
            <a:ext cx="8953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F3812D2E-B5E4-4FB9-ABD3-7A3AF0662975}" type="datetime'''''''P''''ubl''i''c ''S''''''''''''''ec''''to''r'">
              <a:rPr kumimoji="0" lang="en-US" altLang="en-US" sz="12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Public Sector</a:t>
            </a:fld>
            <a:endPar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50" name="Rectangle 49">
            <a:extLst>
              <a:ext uri="{FF2B5EF4-FFF2-40B4-BE49-F238E27FC236}">
                <a16:creationId xmlns:a16="http://schemas.microsoft.com/office/drawing/2014/main" id="{C2F48C5B-A492-253F-2FEE-1C6B9B0B3B61}"/>
              </a:ext>
            </a:extLst>
          </p:cNvPr>
          <p:cNvSpPr>
            <a:spLocks noGrp="1" noChangeArrowheads="1"/>
          </p:cNvSpPr>
          <p:nvPr>
            <p:custDataLst>
              <p:tags r:id="rId22"/>
            </p:custDataLst>
          </p:nvPr>
        </p:nvSpPr>
        <p:spPr bwMode="auto">
          <a:xfrm>
            <a:off x="5630004" y="1858502"/>
            <a:ext cx="95567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570454F2-24FE-4412-91CC-7E473A202C3B}" type="datetime'''''P''''r''''i''vate'' ''Sec''''''to''''''''''r'''''">
              <a:rPr kumimoji="0" lang="en-US" altLang="en-US" sz="12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Private Sector</a:t>
            </a:fld>
            <a:endPar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51" name="Rectangle 50">
            <a:extLst>
              <a:ext uri="{FF2B5EF4-FFF2-40B4-BE49-F238E27FC236}">
                <a16:creationId xmlns:a16="http://schemas.microsoft.com/office/drawing/2014/main" id="{423119ED-8A65-E866-CA1F-2B70501C4955}"/>
              </a:ext>
            </a:extLst>
          </p:cNvPr>
          <p:cNvSpPr>
            <a:spLocks noGrp="1" noChangeArrowheads="1"/>
          </p:cNvSpPr>
          <p:nvPr>
            <p:custDataLst>
              <p:tags r:id="rId23"/>
            </p:custDataLst>
          </p:nvPr>
        </p:nvSpPr>
        <p:spPr bwMode="auto">
          <a:xfrm>
            <a:off x="6952391" y="1858502"/>
            <a:ext cx="3810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CE705DDF-9AD7-4009-8248-91119B946F2D}" type="datetime'''''''''''''Ot''h''e''''r'''''''''''''''''''''''''''''''''''''">
              <a:rPr kumimoji="0" lang="en-US" altLang="en-US" sz="12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Other</a:t>
            </a:fld>
            <a:endPar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52" name="Rectangle 51">
            <a:extLst>
              <a:ext uri="{FF2B5EF4-FFF2-40B4-BE49-F238E27FC236}">
                <a16:creationId xmlns:a16="http://schemas.microsoft.com/office/drawing/2014/main" id="{EEF8F275-B525-CA71-A8C0-22C1D129769D}"/>
              </a:ext>
            </a:extLst>
          </p:cNvPr>
          <p:cNvSpPr/>
          <p:nvPr>
            <p:custDataLst>
              <p:tags r:id="rId24"/>
            </p:custDataLst>
          </p:nvPr>
        </p:nvSpPr>
        <p:spPr bwMode="auto">
          <a:xfrm>
            <a:off x="8240839" y="1887454"/>
            <a:ext cx="214313" cy="160338"/>
          </a:xfrm>
          <a:prstGeom prst="rect">
            <a:avLst/>
          </a:prstGeom>
          <a:solidFill>
            <a:schemeClr val="accent1"/>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53" name="Rectangle 52">
            <a:extLst>
              <a:ext uri="{FF2B5EF4-FFF2-40B4-BE49-F238E27FC236}">
                <a16:creationId xmlns:a16="http://schemas.microsoft.com/office/drawing/2014/main" id="{A3709515-A619-C56D-3FA2-E9940F4BC82F}"/>
              </a:ext>
            </a:extLst>
          </p:cNvPr>
          <p:cNvSpPr/>
          <p:nvPr>
            <p:custDataLst>
              <p:tags r:id="rId25"/>
            </p:custDataLst>
          </p:nvPr>
        </p:nvSpPr>
        <p:spPr bwMode="auto">
          <a:xfrm>
            <a:off x="10825289" y="1887454"/>
            <a:ext cx="214313" cy="160338"/>
          </a:xfrm>
          <a:prstGeom prst="rect">
            <a:avLst/>
          </a:prstGeom>
          <a:solidFill>
            <a:schemeClr val="bg2">
              <a:lumMod val="20000"/>
              <a:lumOff val="80000"/>
            </a:schemeClr>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54" name="Rectangle 53">
            <a:extLst>
              <a:ext uri="{FF2B5EF4-FFF2-40B4-BE49-F238E27FC236}">
                <a16:creationId xmlns:a16="http://schemas.microsoft.com/office/drawing/2014/main" id="{3B9C2A47-A7CE-0086-A172-CEFCD46672E4}"/>
              </a:ext>
            </a:extLst>
          </p:cNvPr>
          <p:cNvSpPr/>
          <p:nvPr>
            <p:custDataLst>
              <p:tags r:id="rId26"/>
            </p:custDataLst>
          </p:nvPr>
        </p:nvSpPr>
        <p:spPr bwMode="auto">
          <a:xfrm>
            <a:off x="9502901" y="1887454"/>
            <a:ext cx="214313" cy="160338"/>
          </a:xfrm>
          <a:prstGeom prst="rect">
            <a:avLst/>
          </a:prstGeom>
          <a:solidFill>
            <a:schemeClr val="bg2">
              <a:lumMod val="60000"/>
              <a:lumOff val="40000"/>
            </a:schemeClr>
          </a:solidFill>
          <a:ln>
            <a:no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
        <p:nvSpPr>
          <p:cNvPr id="55" name="Rectangle 54">
            <a:extLst>
              <a:ext uri="{FF2B5EF4-FFF2-40B4-BE49-F238E27FC236}">
                <a16:creationId xmlns:a16="http://schemas.microsoft.com/office/drawing/2014/main" id="{3E550EE6-438D-8948-2901-419A347A77F8}"/>
              </a:ext>
            </a:extLst>
          </p:cNvPr>
          <p:cNvSpPr>
            <a:spLocks noGrp="1" noChangeArrowheads="1"/>
          </p:cNvSpPr>
          <p:nvPr>
            <p:custDataLst>
              <p:tags r:id="rId27"/>
            </p:custDataLst>
          </p:nvPr>
        </p:nvSpPr>
        <p:spPr bwMode="auto">
          <a:xfrm>
            <a:off x="8505951" y="1882692"/>
            <a:ext cx="8953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F3812D2E-B5E4-4FB9-ABD3-7A3AF0662975}" type="datetime'''''''P''''ubl''i''c ''S''''''''''''''ec''''to''r'">
              <a:rPr kumimoji="0" lang="en-US" altLang="en-US" sz="12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Public Sector</a:t>
            </a:fld>
            <a:endPar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56" name="Rectangle 55">
            <a:extLst>
              <a:ext uri="{FF2B5EF4-FFF2-40B4-BE49-F238E27FC236}">
                <a16:creationId xmlns:a16="http://schemas.microsoft.com/office/drawing/2014/main" id="{D8530B59-D7D7-1C37-75AB-4F0EA9DBCEC9}"/>
              </a:ext>
            </a:extLst>
          </p:cNvPr>
          <p:cNvSpPr>
            <a:spLocks noGrp="1" noChangeArrowheads="1"/>
          </p:cNvSpPr>
          <p:nvPr>
            <p:custDataLst>
              <p:tags r:id="rId28"/>
            </p:custDataLst>
          </p:nvPr>
        </p:nvSpPr>
        <p:spPr bwMode="auto">
          <a:xfrm>
            <a:off x="9768014" y="1882692"/>
            <a:ext cx="95567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570454F2-24FE-4412-91CC-7E473A202C3B}" type="datetime'''''P''''r''''i''vate'' ''Sec''''''to''''''''''r'''''">
              <a:rPr kumimoji="0" lang="en-US" altLang="en-US" sz="12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Private Sector</a:t>
            </a:fld>
            <a:endPar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57" name="Rectangle 56">
            <a:extLst>
              <a:ext uri="{FF2B5EF4-FFF2-40B4-BE49-F238E27FC236}">
                <a16:creationId xmlns:a16="http://schemas.microsoft.com/office/drawing/2014/main" id="{585026D6-E078-49A5-163F-AB9122F61B6D}"/>
              </a:ext>
            </a:extLst>
          </p:cNvPr>
          <p:cNvSpPr>
            <a:spLocks noGrp="1" noChangeArrowheads="1"/>
          </p:cNvSpPr>
          <p:nvPr>
            <p:custDataLst>
              <p:tags r:id="rId29"/>
            </p:custDataLst>
          </p:nvPr>
        </p:nvSpPr>
        <p:spPr bwMode="auto">
          <a:xfrm>
            <a:off x="11090401" y="1882692"/>
            <a:ext cx="3810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CE705DDF-9AD7-4009-8248-91119B946F2D}" type="datetime'''''''''''''Ot''h''e''''r'''''''''''''''''''''''''''''''''''''">
              <a:rPr kumimoji="0" lang="en-US" altLang="en-US" sz="12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Other</a:t>
            </a:fld>
            <a:endParaRPr kumimoji="0" lang="en-US" sz="12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endParaRPr>
          </a:p>
        </p:txBody>
      </p:sp>
      <p:sp>
        <p:nvSpPr>
          <p:cNvPr id="58" name="Rectangle 57">
            <a:extLst>
              <a:ext uri="{FF2B5EF4-FFF2-40B4-BE49-F238E27FC236}">
                <a16:creationId xmlns:a16="http://schemas.microsoft.com/office/drawing/2014/main" id="{448E73EB-A102-3A40-3D01-855873D99298}"/>
              </a:ext>
            </a:extLst>
          </p:cNvPr>
          <p:cNvSpPr/>
          <p:nvPr/>
        </p:nvSpPr>
        <p:spPr>
          <a:xfrm>
            <a:off x="116241" y="5456824"/>
            <a:ext cx="11866583" cy="1237520"/>
          </a:xfrm>
          <a:prstGeom prst="rect">
            <a:avLst/>
          </a:prstGeom>
          <a:solidFill>
            <a:schemeClr val="bg1">
              <a:lumMod val="95000"/>
            </a:schemeClr>
          </a:solidFill>
          <a:ln w="12700" cap="flat" cmpd="sng" algn="ctr">
            <a:solidFill>
              <a:schemeClr val="tx1"/>
            </a:solidFill>
            <a:prstDash val="solid"/>
          </a:ln>
          <a:effectLst>
            <a:outerShdw blurRad="50800" dist="38100" dir="2700000" algn="tl" rotWithShape="0">
              <a:prstClr val="black">
                <a:alpha val="40000"/>
              </a:prstClr>
            </a:outerShdw>
          </a:effectLst>
        </p:spPr>
        <p:txBody>
          <a:bodyPr wrap="square" lIns="91440" tIns="91440" rIns="91440" bIns="91440" anchor="ctr">
            <a:noAutofit/>
          </a:bodyPr>
          <a:lstStyle/>
          <a:p>
            <a:pPr marL="171450" marR="0" lvl="1" indent="-17145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112E38"/>
                </a:solidFill>
                <a:effectLst/>
                <a:uLnTx/>
                <a:uFillTx/>
                <a:latin typeface="Gill Sans MT" panose="020B0502020104020203"/>
                <a:ea typeface="ＭＳ Ｐゴシック"/>
                <a:cs typeface="Arial" panose="020B0604020202020204" pitchFamily="34" charset="0"/>
              </a:rPr>
              <a:t>Private sector health facilities provided more than one third (35%) of the ANC services in the state</a:t>
            </a:r>
          </a:p>
          <a:p>
            <a:pPr marL="171450" marR="0" lvl="1" indent="-17145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112E38"/>
                </a:solidFill>
                <a:effectLst/>
                <a:uLnTx/>
                <a:uFillTx/>
                <a:latin typeface="Gill Sans MT" panose="020B0502020104020203"/>
                <a:ea typeface="ＭＳ Ｐゴシック"/>
                <a:cs typeface="Arial" panose="020B0604020202020204" pitchFamily="34" charset="0"/>
              </a:rPr>
              <a:t>Majority of the private ANC services were in urban areas (40%)</a:t>
            </a:r>
          </a:p>
          <a:p>
            <a:pPr marL="171450" marR="0" lvl="1" indent="-171450" algn="l" defTabSz="896017" rtl="0" eaLnBrk="1" fontAlgn="auto" latinLnBrk="0" hangingPunct="1">
              <a:lnSpc>
                <a:spcPct val="100000"/>
              </a:lnSpc>
              <a:spcBef>
                <a:spcPts val="0"/>
              </a:spcBef>
              <a:spcAft>
                <a:spcPts val="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112E38"/>
                </a:solidFill>
                <a:effectLst/>
                <a:uLnTx/>
                <a:uFillTx/>
                <a:latin typeface="Gill Sans MT" panose="020B0502020104020203"/>
                <a:ea typeface="ＭＳ Ｐゴシック"/>
                <a:cs typeface="Arial" panose="020B0604020202020204" pitchFamily="34" charset="0"/>
              </a:rPr>
              <a:t>There are important equity issues to consider</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112E38"/>
                </a:solidFill>
                <a:effectLst/>
                <a:uLnTx/>
                <a:uFillTx/>
                <a:latin typeface="Gill Sans MT" panose="020B0502020104020203"/>
                <a:ea typeface="ＭＳ Ｐゴシック"/>
                <a:cs typeface="Arial" panose="020B0604020202020204" pitchFamily="34" charset="0"/>
              </a:rPr>
              <a:t>Private sector served twice as many women from the poorest quintile (42%) compared to richest (24%) raising equity issues</a:t>
            </a:r>
          </a:p>
          <a:p>
            <a:pPr marL="365760" marR="0" lvl="2" indent="-182880" algn="l" defTabSz="896017"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400" b="0" i="0" u="none" strike="noStrike" kern="0" cap="none" spc="0" normalizeH="0" baseline="0" noProof="0" dirty="0">
                <a:ln>
                  <a:noFill/>
                </a:ln>
                <a:solidFill>
                  <a:srgbClr val="112E38"/>
                </a:solidFill>
                <a:effectLst/>
                <a:uLnTx/>
                <a:uFillTx/>
                <a:latin typeface="Gill Sans MT" panose="020B0502020104020203"/>
                <a:ea typeface="ＭＳ Ｐゴシック"/>
                <a:cs typeface="Arial" panose="020B0604020202020204" pitchFamily="34" charset="0"/>
              </a:rPr>
              <a:t>Public sector services subsidizes the wealthiest women, serving more women from richest (68%) than any other income group</a:t>
            </a:r>
          </a:p>
        </p:txBody>
      </p:sp>
      <p:graphicFrame>
        <p:nvGraphicFramePr>
          <p:cNvPr id="22" name="Chart 21">
            <a:extLst>
              <a:ext uri="{FF2B5EF4-FFF2-40B4-BE49-F238E27FC236}">
                <a16:creationId xmlns:a16="http://schemas.microsoft.com/office/drawing/2014/main" id="{2996D565-EE3F-AEB2-1840-D977B9F114EF}"/>
              </a:ext>
            </a:extLst>
          </p:cNvPr>
          <p:cNvGraphicFramePr/>
          <p:nvPr>
            <p:custDataLst>
              <p:tags r:id="rId30"/>
            </p:custDataLst>
          </p:nvPr>
        </p:nvGraphicFramePr>
        <p:xfrm>
          <a:off x="3911600" y="2424113"/>
          <a:ext cx="3582988" cy="2795587"/>
        </p:xfrm>
        <a:graphic>
          <a:graphicData uri="http://schemas.openxmlformats.org/drawingml/2006/chart">
            <c:chart xmlns:c="http://schemas.openxmlformats.org/drawingml/2006/chart" xmlns:r="http://schemas.openxmlformats.org/officeDocument/2006/relationships" r:id="rId40"/>
          </a:graphicData>
        </a:graphic>
      </p:graphicFrame>
      <p:sp>
        <p:nvSpPr>
          <p:cNvPr id="67" name="Rectangle 66">
            <a:extLst>
              <a:ext uri="{FF2B5EF4-FFF2-40B4-BE49-F238E27FC236}">
                <a16:creationId xmlns:a16="http://schemas.microsoft.com/office/drawing/2014/main" id="{3762F856-195D-72C9-EC95-F8407A24891E}"/>
              </a:ext>
            </a:extLst>
          </p:cNvPr>
          <p:cNvSpPr>
            <a:spLocks noGrp="1" noChangeArrowheads="1"/>
          </p:cNvSpPr>
          <p:nvPr>
            <p:custDataLst>
              <p:tags r:id="rId31"/>
            </p:custDataLst>
          </p:nvPr>
        </p:nvSpPr>
        <p:spPr bwMode="auto">
          <a:xfrm>
            <a:off x="4394200" y="5187950"/>
            <a:ext cx="3381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1" fontAlgn="base" latinLnBrk="0" hangingPunct="1">
              <a:lnSpc>
                <a:spcPct val="100000"/>
              </a:lnSpc>
              <a:spcBef>
                <a:spcPct val="0"/>
              </a:spcBef>
              <a:spcAft>
                <a:spcPct val="0"/>
              </a:spcAft>
              <a:buClr>
                <a:srgbClr val="204024"/>
              </a:buClr>
              <a:buSzTx/>
              <a:buFontTx/>
              <a:buNone/>
              <a:tabLst/>
              <a:defRPr/>
            </a:pPr>
            <a:fld id="{6B700323-3C5F-4248-9353-E7F7A20E1680}" type="datetime'''''''T''''''''''''''''''''''ot''''a''''l'''''''''''''''">
              <a:rPr kumimoji="0" lang="en-US"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sym typeface="Arial" panose="020B0604020202020204" pitchFamily="34" charset="0"/>
              </a:rPr>
              <a:pPr marL="0" marR="0" lvl="0" indent="0" algn="ctr" defTabSz="911713" rtl="0" eaLnBrk="1" fontAlgn="base" latinLnBrk="0" hangingPunct="1">
                <a:lnSpc>
                  <a:spcPct val="100000"/>
                </a:lnSpc>
                <a:spcBef>
                  <a:spcPct val="0"/>
                </a:spcBef>
                <a:spcAft>
                  <a:spcPct val="0"/>
                </a:spcAft>
                <a:buClr>
                  <a:srgbClr val="204024"/>
                </a:buClr>
                <a:buSzTx/>
                <a:buFontTx/>
                <a:buNone/>
                <a:tabLst/>
                <a:defRPr/>
              </a:pPr>
              <a:t>Total</a:t>
            </a:fld>
            <a:endParaRPr kumimoji="0" lang="en-US"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68" name="Rectangle 67">
            <a:extLst>
              <a:ext uri="{FF2B5EF4-FFF2-40B4-BE49-F238E27FC236}">
                <a16:creationId xmlns:a16="http://schemas.microsoft.com/office/drawing/2014/main" id="{717654A0-DA13-088A-85D1-4F2DE656332E}"/>
              </a:ext>
            </a:extLst>
          </p:cNvPr>
          <p:cNvSpPr>
            <a:spLocks noGrp="1" noChangeArrowheads="1"/>
          </p:cNvSpPr>
          <p:nvPr>
            <p:custDataLst>
              <p:tags r:id="rId32"/>
            </p:custDataLst>
          </p:nvPr>
        </p:nvSpPr>
        <p:spPr bwMode="auto">
          <a:xfrm>
            <a:off x="5532439" y="5187950"/>
            <a:ext cx="339725"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1" fontAlgn="base" latinLnBrk="0" hangingPunct="1">
              <a:lnSpc>
                <a:spcPct val="100000"/>
              </a:lnSpc>
              <a:spcBef>
                <a:spcPct val="0"/>
              </a:spcBef>
              <a:spcAft>
                <a:spcPct val="0"/>
              </a:spcAft>
              <a:buClr>
                <a:srgbClr val="204024"/>
              </a:buClr>
              <a:buSzTx/>
              <a:buFontTx/>
              <a:buNone/>
              <a:tabLst/>
              <a:defRPr/>
            </a:pPr>
            <a:fld id="{57D1E587-B2B4-4146-BE94-7AD03ED4350C}" type="datetime'''''''''''''R''''''''u''''''''r''''''''''''''al'">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1" fontAlgn="base" latinLnBrk="0" hangingPunct="1">
                <a:lnSpc>
                  <a:spcPct val="100000"/>
                </a:lnSpc>
                <a:spcBef>
                  <a:spcPct val="0"/>
                </a:spcBef>
                <a:spcAft>
                  <a:spcPct val="0"/>
                </a:spcAft>
                <a:buClr>
                  <a:srgbClr val="204024"/>
                </a:buClr>
                <a:buSzTx/>
                <a:buFontTx/>
                <a:buNone/>
                <a:tabLst/>
                <a:defRPr/>
              </a:pPr>
              <a:t>Rural</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66" name="Rectangle 65">
            <a:extLst>
              <a:ext uri="{FF2B5EF4-FFF2-40B4-BE49-F238E27FC236}">
                <a16:creationId xmlns:a16="http://schemas.microsoft.com/office/drawing/2014/main" id="{9E8A1826-A97F-DE59-09D9-36C973ED053B}"/>
              </a:ext>
            </a:extLst>
          </p:cNvPr>
          <p:cNvSpPr>
            <a:spLocks noGrp="1" noChangeArrowheads="1"/>
          </p:cNvSpPr>
          <p:nvPr>
            <p:custDataLst>
              <p:tags r:id="rId33"/>
            </p:custDataLst>
          </p:nvPr>
        </p:nvSpPr>
        <p:spPr bwMode="gray">
          <a:xfrm>
            <a:off x="6710363" y="2463800"/>
            <a:ext cx="260350" cy="212725"/>
          </a:xfrm>
          <a:prstGeom prst="rect">
            <a:avLst/>
          </a:prstGeom>
          <a:solidFill>
            <a:srgbClr val="D9EEED"/>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1" fontAlgn="base" latinLnBrk="0" hangingPunct="1">
              <a:lnSpc>
                <a:spcPct val="100000"/>
              </a:lnSpc>
              <a:spcBef>
                <a:spcPct val="0"/>
              </a:spcBef>
              <a:spcAft>
                <a:spcPct val="0"/>
              </a:spcAft>
              <a:buClr>
                <a:srgbClr val="112E38"/>
              </a:buClr>
              <a:buSzTx/>
              <a:buFontTx/>
              <a:buNone/>
              <a:tabLst/>
              <a:defRPr/>
            </a:pPr>
            <a:fld id="{11B13E88-AADA-4D1A-81A5-2C077E66A09B}" type="datetime'''''''''''''''''5''''''''''''''''''''''''''''''%'''''">
              <a:rPr kumimoji="0" lang="en-US"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1713" rtl="0" eaLnBrk="1" fontAlgn="base" latinLnBrk="0" hangingPunct="1">
                <a:lnSpc>
                  <a:spcPct val="100000"/>
                </a:lnSpc>
                <a:spcBef>
                  <a:spcPct val="0"/>
                </a:spcBef>
                <a:spcAft>
                  <a:spcPct val="0"/>
                </a:spcAft>
                <a:buClr>
                  <a:srgbClr val="112E38"/>
                </a:buClr>
                <a:buSzTx/>
                <a:buFontTx/>
                <a:buNone/>
                <a:tabLst/>
                <a:defRPr/>
              </a:pPr>
              <a:t>5%</a:t>
            </a:fld>
            <a:endParaRPr kumimoji="0" lang="en-US"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65" name="Rectangle 64">
            <a:extLst>
              <a:ext uri="{FF2B5EF4-FFF2-40B4-BE49-F238E27FC236}">
                <a16:creationId xmlns:a16="http://schemas.microsoft.com/office/drawing/2014/main" id="{F6B3B4FB-F1D6-0542-79AE-2E006D99537B}"/>
              </a:ext>
            </a:extLst>
          </p:cNvPr>
          <p:cNvSpPr>
            <a:spLocks noGrp="1" noChangeArrowheads="1"/>
          </p:cNvSpPr>
          <p:nvPr>
            <p:custDataLst>
              <p:tags r:id="rId34"/>
            </p:custDataLst>
          </p:nvPr>
        </p:nvSpPr>
        <p:spPr bwMode="auto">
          <a:xfrm>
            <a:off x="6642100" y="5187950"/>
            <a:ext cx="39846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1" fontAlgn="base" hangingPunct="1">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1" fontAlgn="base" latinLnBrk="0" hangingPunct="1">
              <a:lnSpc>
                <a:spcPct val="100000"/>
              </a:lnSpc>
              <a:spcBef>
                <a:spcPct val="0"/>
              </a:spcBef>
              <a:spcAft>
                <a:spcPct val="0"/>
              </a:spcAft>
              <a:buClr>
                <a:srgbClr val="204024"/>
              </a:buClr>
              <a:buSzTx/>
              <a:buFontTx/>
              <a:buNone/>
              <a:tabLst/>
              <a:defRPr/>
            </a:pPr>
            <a:fld id="{9188FD23-6937-46EA-8282-E49A9B492C19}" type="datetime'U''''''r''''b''''''a''''''''n'''''''''''">
              <a:rPr kumimoji="0" lang="en-US" altLang="en-US" sz="1200" b="0" i="0" u="none" strike="noStrike" kern="0" cap="none" spc="0" normalizeH="0" baseline="0" noProof="0" smtClean="0">
                <a:ln>
                  <a:noFill/>
                </a:ln>
                <a:solidFill>
                  <a:srgbClr val="112E38"/>
                </a:solidFill>
                <a:effectLst/>
                <a:uLnTx/>
                <a:uFillTx/>
                <a:latin typeface="Gill Sans MT" panose="020B0502020104020203"/>
                <a:ea typeface="+mn-ea"/>
                <a:cs typeface="+mn-cs"/>
                <a:sym typeface="Arial" panose="020B0604020202020204" pitchFamily="34" charset="0"/>
              </a:rPr>
              <a:pPr marL="0" marR="0" lvl="0" indent="0" algn="ctr" defTabSz="911713" rtl="0" eaLnBrk="1" fontAlgn="base" latinLnBrk="0" hangingPunct="1">
                <a:lnSpc>
                  <a:spcPct val="100000"/>
                </a:lnSpc>
                <a:spcBef>
                  <a:spcPct val="0"/>
                </a:spcBef>
                <a:spcAft>
                  <a:spcPct val="0"/>
                </a:spcAft>
                <a:buClr>
                  <a:srgbClr val="204024"/>
                </a:buClr>
                <a:buSzTx/>
                <a:buFontTx/>
                <a:buNone/>
                <a:tabLst/>
                <a:defRPr/>
              </a:pPr>
              <a:t>Urban</a:t>
            </a:fld>
            <a:endParaRPr kumimoji="0" lang="en-US" sz="1200" b="0" i="0" u="none" strike="noStrike" kern="0" cap="none" spc="0" normalizeH="0" baseline="0" noProof="0" dirty="0">
              <a:ln>
                <a:noFill/>
              </a:ln>
              <a:solidFill>
                <a:srgbClr val="112E38"/>
              </a:solidFill>
              <a:effectLst/>
              <a:uLnTx/>
              <a:uFillTx/>
              <a:latin typeface="Gill Sans MT" panose="020B0502020104020203"/>
              <a:ea typeface="+mn-ea"/>
              <a:cs typeface="+mn-cs"/>
              <a:sym typeface="Arial" panose="020B0604020202020204" pitchFamily="34" charset="0"/>
            </a:endParaRPr>
          </a:p>
        </p:txBody>
      </p:sp>
      <p:sp>
        <p:nvSpPr>
          <p:cNvPr id="2" name="Oval 1">
            <a:extLst>
              <a:ext uri="{FF2B5EF4-FFF2-40B4-BE49-F238E27FC236}">
                <a16:creationId xmlns:a16="http://schemas.microsoft.com/office/drawing/2014/main" id="{537565FE-C2BE-8E29-E761-808199413689}"/>
              </a:ext>
            </a:extLst>
          </p:cNvPr>
          <p:cNvSpPr/>
          <p:nvPr/>
        </p:nvSpPr>
        <p:spPr>
          <a:xfrm>
            <a:off x="8592862" y="4058809"/>
            <a:ext cx="2029825" cy="1248201"/>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1" name="Oval 10">
            <a:extLst>
              <a:ext uri="{FF2B5EF4-FFF2-40B4-BE49-F238E27FC236}">
                <a16:creationId xmlns:a16="http://schemas.microsoft.com/office/drawing/2014/main" id="{39492519-6AD1-AF8D-5DE9-B48DE3463203}"/>
              </a:ext>
            </a:extLst>
          </p:cNvPr>
          <p:cNvSpPr/>
          <p:nvPr/>
        </p:nvSpPr>
        <p:spPr>
          <a:xfrm>
            <a:off x="9901542" y="2160044"/>
            <a:ext cx="2029825" cy="1248201"/>
          </a:xfrm>
          <a:prstGeom prst="ellipse">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539369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3E684F4-65E7-D3C4-7048-AC6580071513}"/>
              </a:ext>
            </a:extLst>
          </p:cNvPr>
          <p:cNvGraphicFramePr>
            <a:graphicFrameLocks noChangeAspect="1"/>
          </p:cNvGraphicFramePr>
          <p:nvPr>
            <p:custDataLst>
              <p:tags r:id="rId1"/>
            </p:custDataLst>
            <p:extLst>
              <p:ext uri="{D42A27DB-BD31-4B8C-83A1-F6EECF244321}">
                <p14:modId xmlns:p14="http://schemas.microsoft.com/office/powerpoint/2010/main" val="315319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9" name="Object 8" hidden="1">
                        <a:extLst>
                          <a:ext uri="{FF2B5EF4-FFF2-40B4-BE49-F238E27FC236}">
                            <a16:creationId xmlns:a16="http://schemas.microsoft.com/office/drawing/2014/main" id="{A3E684F4-65E7-D3C4-7048-AC6580071513}"/>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F7DADDF6-7800-F0CD-E602-45B5BD63DDCC}"/>
              </a:ext>
            </a:extLst>
          </p:cNvPr>
          <p:cNvSpPr/>
          <p:nvPr/>
        </p:nvSpPr>
        <p:spPr bwMode="auto">
          <a:xfrm>
            <a:off x="239713" y="1360488"/>
            <a:ext cx="3657600" cy="3673475"/>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2" name="Title 1">
            <a:extLst>
              <a:ext uri="{FF2B5EF4-FFF2-40B4-BE49-F238E27FC236}">
                <a16:creationId xmlns:a16="http://schemas.microsoft.com/office/drawing/2014/main" id="{98D58642-1749-7008-E578-F2582A79935B}"/>
              </a:ext>
            </a:extLst>
          </p:cNvPr>
          <p:cNvSpPr>
            <a:spLocks noGrp="1"/>
          </p:cNvSpPr>
          <p:nvPr>
            <p:ph type="title"/>
          </p:nvPr>
        </p:nvSpPr>
        <p:spPr>
          <a:xfrm>
            <a:off x="216376" y="289938"/>
            <a:ext cx="11270299" cy="769286"/>
          </a:xfrm>
        </p:spPr>
        <p:txBody>
          <a:bodyPr vert="horz">
            <a:normAutofit/>
          </a:bodyPr>
          <a:lstStyle/>
          <a:p>
            <a:pPr algn="l"/>
            <a:r>
              <a:rPr kumimoji="0" lang="en-US" sz="2400" b="1" i="0" u="none" strike="noStrike" kern="1200" cap="none" spc="0" normalizeH="0" baseline="0" noProof="0" dirty="0">
                <a:ln>
                  <a:noFill/>
                </a:ln>
                <a:solidFill>
                  <a:schemeClr val="bg1"/>
                </a:solidFill>
                <a:effectLst/>
                <a:uLnTx/>
                <a:uFillTx/>
                <a:latin typeface="+mj-lt"/>
                <a:ea typeface="+mj-ea"/>
                <a:cs typeface="Arial" panose="020B0604020202020204" pitchFamily="34" charset="0"/>
                <a:sym typeface="Arial"/>
              </a:rPr>
              <a:t>More women deliver with an SBA (59%) than at home (39%); the majority are with a public provider (mostly nurses-midwives); there are also equity issues</a:t>
            </a:r>
            <a:endParaRPr lang="fr-FR" sz="2400" dirty="0">
              <a:latin typeface="+mj-lt"/>
              <a:cs typeface="Arial" panose="020B0604020202020204" pitchFamily="34" charset="0"/>
            </a:endParaRPr>
          </a:p>
        </p:txBody>
      </p:sp>
      <p:sp>
        <p:nvSpPr>
          <p:cNvPr id="22" name="Rectangle 21">
            <a:extLst>
              <a:ext uri="{FF2B5EF4-FFF2-40B4-BE49-F238E27FC236}">
                <a16:creationId xmlns:a16="http://schemas.microsoft.com/office/drawing/2014/main" id="{12B856EC-0A74-186C-8165-2CCD5787C176}"/>
              </a:ext>
            </a:extLst>
          </p:cNvPr>
          <p:cNvSpPr/>
          <p:nvPr/>
        </p:nvSpPr>
        <p:spPr bwMode="auto">
          <a:xfrm>
            <a:off x="4110038" y="1382713"/>
            <a:ext cx="3657600" cy="3673475"/>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21" name="TextBox 20">
            <a:extLst>
              <a:ext uri="{FF2B5EF4-FFF2-40B4-BE49-F238E27FC236}">
                <a16:creationId xmlns:a16="http://schemas.microsoft.com/office/drawing/2014/main" id="{3A0C8525-7D75-907F-B4F9-035CA33D1025}"/>
              </a:ext>
            </a:extLst>
          </p:cNvPr>
          <p:cNvSpPr txBox="1"/>
          <p:nvPr/>
        </p:nvSpPr>
        <p:spPr>
          <a:xfrm>
            <a:off x="233363" y="1360488"/>
            <a:ext cx="3657600" cy="420688"/>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SBA delivery by source (Total), 2018</a:t>
            </a:r>
          </a:p>
        </p:txBody>
      </p:sp>
      <p:sp>
        <p:nvSpPr>
          <p:cNvPr id="23" name="Rectangle 22">
            <a:extLst>
              <a:ext uri="{FF2B5EF4-FFF2-40B4-BE49-F238E27FC236}">
                <a16:creationId xmlns:a16="http://schemas.microsoft.com/office/drawing/2014/main" id="{808647A0-BFE6-BE4B-5770-F72A4005AF3B}"/>
              </a:ext>
            </a:extLst>
          </p:cNvPr>
          <p:cNvSpPr/>
          <p:nvPr/>
        </p:nvSpPr>
        <p:spPr bwMode="auto">
          <a:xfrm>
            <a:off x="7981012" y="1344613"/>
            <a:ext cx="3944938" cy="3711575"/>
          </a:xfrm>
          <a:prstGeom prst="rect">
            <a:avLst/>
          </a:prstGeom>
          <a:solidFill>
            <a:schemeClr val="bg1"/>
          </a:solidFill>
          <a:ln w="9525">
            <a:solidFill>
              <a:schemeClr val="bg2">
                <a:lumMod val="65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solidFill>
                  <a:srgbClr val="FFFFFF">
                    <a:lumMod val="75000"/>
                  </a:srgbClr>
                </a:solidFill>
              </a:ln>
              <a:solidFill>
                <a:srgbClr val="000000"/>
              </a:solidFill>
              <a:effectLst/>
              <a:uLnTx/>
              <a:uFillTx/>
              <a:latin typeface="Gill Sans MT" panose="020B0502020104020203"/>
              <a:ea typeface="+mn-ea"/>
              <a:cs typeface="Arial" panose="020B0604020202020204" pitchFamily="34" charset="0"/>
            </a:endParaRPr>
          </a:p>
        </p:txBody>
      </p:sp>
      <p:sp>
        <p:nvSpPr>
          <p:cNvPr id="25" name="TextBox 24">
            <a:extLst>
              <a:ext uri="{FF2B5EF4-FFF2-40B4-BE49-F238E27FC236}">
                <a16:creationId xmlns:a16="http://schemas.microsoft.com/office/drawing/2014/main" id="{A32EA5AA-9414-E2F3-66F6-8CDE59F13D48}"/>
              </a:ext>
            </a:extLst>
          </p:cNvPr>
          <p:cNvSpPr txBox="1"/>
          <p:nvPr/>
        </p:nvSpPr>
        <p:spPr>
          <a:xfrm>
            <a:off x="4110038" y="1335088"/>
            <a:ext cx="3657600" cy="420688"/>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SBA delivery by source and location, 2018</a:t>
            </a:r>
          </a:p>
        </p:txBody>
      </p:sp>
      <p:sp>
        <p:nvSpPr>
          <p:cNvPr id="26" name="TextBox 25">
            <a:extLst>
              <a:ext uri="{FF2B5EF4-FFF2-40B4-BE49-F238E27FC236}">
                <a16:creationId xmlns:a16="http://schemas.microsoft.com/office/drawing/2014/main" id="{D49316DD-8DF4-653C-BF9F-B142E228A6F5}"/>
              </a:ext>
            </a:extLst>
          </p:cNvPr>
          <p:cNvSpPr txBox="1"/>
          <p:nvPr/>
        </p:nvSpPr>
        <p:spPr>
          <a:xfrm>
            <a:off x="7982600" y="1349375"/>
            <a:ext cx="3943350" cy="406400"/>
          </a:xfrm>
          <a:prstGeom prst="rect">
            <a:avLst/>
          </a:prstGeom>
          <a:solidFill>
            <a:srgbClr val="387876"/>
          </a:solidFill>
          <a:ln w="9525">
            <a:no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SBA delivery by source and income, 2018</a:t>
            </a:r>
          </a:p>
        </p:txBody>
      </p:sp>
      <p:sp>
        <p:nvSpPr>
          <p:cNvPr id="46" name="TextBox 45">
            <a:extLst>
              <a:ext uri="{FF2B5EF4-FFF2-40B4-BE49-F238E27FC236}">
                <a16:creationId xmlns:a16="http://schemas.microsoft.com/office/drawing/2014/main" id="{563756D6-19CB-22EA-D345-C3863AD80877}"/>
              </a:ext>
            </a:extLst>
          </p:cNvPr>
          <p:cNvSpPr txBox="1"/>
          <p:nvPr/>
        </p:nvSpPr>
        <p:spPr>
          <a:xfrm>
            <a:off x="233363" y="5170275"/>
            <a:ext cx="11692587" cy="1352550"/>
          </a:xfrm>
          <a:prstGeom prst="rect">
            <a:avLst/>
          </a:prstGeom>
          <a:solidFill>
            <a:schemeClr val="bg1">
              <a:lumMod val="95000"/>
            </a:schemeClr>
          </a:solidFill>
          <a:ln w="9525">
            <a:solidFill>
              <a:schemeClr val="tx1"/>
            </a:solidFill>
            <a:prstDash val="solid"/>
            <a:miter lim="800000"/>
            <a:headEnd/>
            <a:tailEnd/>
          </a:ln>
          <a:effectLst/>
        </p:spPr>
        <p:txBody>
          <a:bodyPr vert="horz" wrap="square" lIns="91440" tIns="45720" rIns="91440" bIns="4572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One quarter (25%) of all SBA deliveries are performed by a private provider, many of which are in private maternity hom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Majority of women who deliver at home (42%) reside in rural areas yet a large number live in urban areas (38%) – an opportunity for a private provid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Like ANC services, there are equity issues in delivering SBA services</a:t>
            </a:r>
          </a:p>
          <a:p>
            <a:pPr marL="365760" marR="0" lvl="1"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Most of public clients are from higher and highest income groups</a:t>
            </a:r>
          </a:p>
          <a:p>
            <a:pPr marL="365760" marR="0" lvl="1"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rivate providers serve all income groups but to at a lesser level than for ANC servic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Although maternal services are free in </a:t>
            </a:r>
            <a:r>
              <a:rPr lang="en-US" sz="1400" dirty="0">
                <a:solidFill>
                  <a:srgbClr val="000000"/>
                </a:solidFill>
                <a:latin typeface="Gill Sans MT" panose="020B0502020104020203"/>
                <a:cs typeface="Arial" panose="020B0604020202020204" pitchFamily="34" charset="0"/>
              </a:rPr>
              <a:t>some public facilities in the state, hidden costs make accessing MN care unaffordable to poorer populations</a:t>
            </a:r>
          </a:p>
        </p:txBody>
      </p:sp>
      <p:graphicFrame>
        <p:nvGraphicFramePr>
          <p:cNvPr id="15" name="Chart 14">
            <a:extLst>
              <a:ext uri="{FF2B5EF4-FFF2-40B4-BE49-F238E27FC236}">
                <a16:creationId xmlns:a16="http://schemas.microsoft.com/office/drawing/2014/main" id="{68692DA4-73AD-24D4-3DA3-5C35997E1485}"/>
              </a:ext>
            </a:extLst>
          </p:cNvPr>
          <p:cNvGraphicFramePr/>
          <p:nvPr>
            <p:custDataLst>
              <p:tags r:id="rId2"/>
            </p:custDataLst>
            <p:extLst>
              <p:ext uri="{D42A27DB-BD31-4B8C-83A1-F6EECF244321}">
                <p14:modId xmlns:p14="http://schemas.microsoft.com/office/powerpoint/2010/main" val="214711154"/>
              </p:ext>
            </p:extLst>
          </p:nvPr>
        </p:nvGraphicFramePr>
        <p:xfrm>
          <a:off x="585788" y="1974850"/>
          <a:ext cx="2849562" cy="2849563"/>
        </p:xfrm>
        <a:graphic>
          <a:graphicData uri="http://schemas.openxmlformats.org/drawingml/2006/chart">
            <c:chart xmlns:c="http://schemas.openxmlformats.org/drawingml/2006/chart" xmlns:r="http://schemas.openxmlformats.org/officeDocument/2006/relationships" r:id="rId30"/>
          </a:graphicData>
        </a:graphic>
      </p:graphicFrame>
      <p:sp>
        <p:nvSpPr>
          <p:cNvPr id="5" name="Rectangle 4">
            <a:extLst>
              <a:ext uri="{FF2B5EF4-FFF2-40B4-BE49-F238E27FC236}">
                <a16:creationId xmlns:a16="http://schemas.microsoft.com/office/drawing/2014/main" id="{61F28C6A-EDBA-0EB5-F8F5-23EF4048363C}"/>
              </a:ext>
            </a:extLst>
          </p:cNvPr>
          <p:cNvSpPr>
            <a:spLocks noGrp="1" noChangeArrowheads="1"/>
          </p:cNvSpPr>
          <p:nvPr>
            <p:custDataLst>
              <p:tags r:id="rId3"/>
            </p:custDataLst>
          </p:nvPr>
        </p:nvSpPr>
        <p:spPr bwMode="gray">
          <a:xfrm>
            <a:off x="1800225" y="2081213"/>
            <a:ext cx="260350" cy="212725"/>
          </a:xfrm>
          <a:prstGeom prst="rect">
            <a:avLst/>
          </a:prstGeom>
          <a:solidFill>
            <a:srgbClr val="D9EEED"/>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6456606-76AC-4135-8527-262A996A1CB3}" type="datetime'''''''''''''''''''''''2%'''''''''''''''''">
              <a:rPr kumimoji="0" lang="en-US"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graphicFrame>
        <p:nvGraphicFramePr>
          <p:cNvPr id="7" name="Chart 6">
            <a:extLst>
              <a:ext uri="{FF2B5EF4-FFF2-40B4-BE49-F238E27FC236}">
                <a16:creationId xmlns:a16="http://schemas.microsoft.com/office/drawing/2014/main" id="{D869EE39-27DB-9A02-3A80-F4E787E544D3}"/>
              </a:ext>
            </a:extLst>
          </p:cNvPr>
          <p:cNvGraphicFramePr/>
          <p:nvPr>
            <p:custDataLst>
              <p:tags r:id="rId4"/>
            </p:custDataLst>
            <p:extLst>
              <p:ext uri="{D42A27DB-BD31-4B8C-83A1-F6EECF244321}">
                <p14:modId xmlns:p14="http://schemas.microsoft.com/office/powerpoint/2010/main" val="1532994946"/>
              </p:ext>
            </p:extLst>
          </p:nvPr>
        </p:nvGraphicFramePr>
        <p:xfrm>
          <a:off x="4457701" y="2036763"/>
          <a:ext cx="2787650" cy="2773363"/>
        </p:xfrm>
        <a:graphic>
          <a:graphicData uri="http://schemas.openxmlformats.org/drawingml/2006/chart">
            <c:chart xmlns:c="http://schemas.openxmlformats.org/drawingml/2006/chart" xmlns:r="http://schemas.openxmlformats.org/officeDocument/2006/relationships" r:id="rId31"/>
          </a:graphicData>
        </a:graphic>
      </p:graphicFrame>
      <p:sp>
        <p:nvSpPr>
          <p:cNvPr id="47" name="Rectangle 46">
            <a:extLst>
              <a:ext uri="{FF2B5EF4-FFF2-40B4-BE49-F238E27FC236}">
                <a16:creationId xmlns:a16="http://schemas.microsoft.com/office/drawing/2014/main" id="{7154F5E8-EA39-7C9F-F6F2-0681CD2472F9}"/>
              </a:ext>
            </a:extLst>
          </p:cNvPr>
          <p:cNvSpPr>
            <a:spLocks noGrp="1" noChangeArrowheads="1"/>
          </p:cNvSpPr>
          <p:nvPr>
            <p:custDataLst>
              <p:tags r:id="rId5"/>
            </p:custDataLst>
          </p:nvPr>
        </p:nvSpPr>
        <p:spPr bwMode="gray">
          <a:xfrm>
            <a:off x="5041901" y="2057400"/>
            <a:ext cx="260350" cy="212725"/>
          </a:xfrm>
          <a:prstGeom prst="rect">
            <a:avLst/>
          </a:prstGeom>
          <a:solidFill>
            <a:srgbClr val="D9EEED"/>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5CFEBA2-7B47-4A11-9555-07554C06CD30}" type="datetime'''''''''''''''''''''''''''1''''''''%'''''''''''''''''''''">
              <a:rPr kumimoji="0" lang="en-US"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48" name="Rectangle 47">
            <a:extLst>
              <a:ext uri="{FF2B5EF4-FFF2-40B4-BE49-F238E27FC236}">
                <a16:creationId xmlns:a16="http://schemas.microsoft.com/office/drawing/2014/main" id="{4DF36153-B487-38BB-F648-9AE2B6065FFE}"/>
              </a:ext>
            </a:extLst>
          </p:cNvPr>
          <p:cNvSpPr>
            <a:spLocks noGrp="1" noChangeArrowheads="1"/>
          </p:cNvSpPr>
          <p:nvPr>
            <p:custDataLst>
              <p:tags r:id="rId6"/>
            </p:custDataLst>
          </p:nvPr>
        </p:nvSpPr>
        <p:spPr bwMode="auto">
          <a:xfrm>
            <a:off x="5118472" y="4848225"/>
            <a:ext cx="39528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BD913E9-0F4F-4435-B9FB-C28862F9D976}" type="datetime'''''R''''''u''''''''''''''''r''''''a''''''''l'''''">
              <a:rPr kumimoji="0" lang="en-US" altLang="en-US" sz="1200" b="0" i="0" u="none" strike="noStrike" kern="120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Rural</a:t>
            </a:fld>
            <a:endParaRPr kumimoji="0" lang="en-US" sz="1200" b="0" i="0" u="none" strike="noStrike" kern="120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49" name="Rectangle 48">
            <a:extLst>
              <a:ext uri="{FF2B5EF4-FFF2-40B4-BE49-F238E27FC236}">
                <a16:creationId xmlns:a16="http://schemas.microsoft.com/office/drawing/2014/main" id="{5171AC39-70DF-7C08-ED1B-B1D1529C2821}"/>
              </a:ext>
            </a:extLst>
          </p:cNvPr>
          <p:cNvSpPr>
            <a:spLocks noGrp="1" noChangeArrowheads="1"/>
          </p:cNvSpPr>
          <p:nvPr>
            <p:custDataLst>
              <p:tags r:id="rId7"/>
            </p:custDataLst>
          </p:nvPr>
        </p:nvSpPr>
        <p:spPr bwMode="gray">
          <a:xfrm>
            <a:off x="6350001" y="2063750"/>
            <a:ext cx="260350" cy="212725"/>
          </a:xfrm>
          <a:prstGeom prst="rect">
            <a:avLst/>
          </a:prstGeom>
          <a:solidFill>
            <a:srgbClr val="D9EEED"/>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3327C64-346D-4FE1-856B-137D7F1E38EF}" type="datetime'''''''''''''''''''''''3''''''''''''''''''''''''''''''''''''%'">
              <a:rPr kumimoji="0" lang="en-US"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a:t>
            </a:fld>
            <a:endParaRPr kumimoji="0" lang="en-US"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53" name="Rectangle 52">
            <a:extLst>
              <a:ext uri="{FF2B5EF4-FFF2-40B4-BE49-F238E27FC236}">
                <a16:creationId xmlns:a16="http://schemas.microsoft.com/office/drawing/2014/main" id="{3479AE51-5D97-5A70-7617-3CD8986489E3}"/>
              </a:ext>
            </a:extLst>
          </p:cNvPr>
          <p:cNvSpPr>
            <a:spLocks noGrp="1" noChangeArrowheads="1"/>
          </p:cNvSpPr>
          <p:nvPr>
            <p:custDataLst>
              <p:tags r:id="rId8"/>
            </p:custDataLst>
          </p:nvPr>
        </p:nvSpPr>
        <p:spPr bwMode="auto">
          <a:xfrm>
            <a:off x="6350001" y="4819650"/>
            <a:ext cx="4619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027BE56-16C5-4E1E-8CD4-95DAE18F752B}" type="datetime'''''''U''''r''''''''''''''''''''''''''''''''b''''a''''''''''n'">
              <a:rPr kumimoji="0" lang="en-US" altLang="en-US" sz="1200" b="0" i="0" u="none" strike="noStrike" kern="120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Urban</a:t>
            </a:fld>
            <a:endParaRPr kumimoji="0" lang="en-US" sz="1200" b="0" i="0" u="none" strike="noStrike" kern="120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65" name="Rectangle 64">
            <a:extLst>
              <a:ext uri="{FF2B5EF4-FFF2-40B4-BE49-F238E27FC236}">
                <a16:creationId xmlns:a16="http://schemas.microsoft.com/office/drawing/2014/main" id="{49B5BCB5-3855-D4BA-28F1-BE86AAF6520A}"/>
              </a:ext>
            </a:extLst>
          </p:cNvPr>
          <p:cNvSpPr/>
          <p:nvPr>
            <p:custDataLst>
              <p:tags r:id="rId9"/>
            </p:custDataLst>
          </p:nvPr>
        </p:nvSpPr>
        <p:spPr bwMode="auto">
          <a:xfrm>
            <a:off x="8616950" y="1182688"/>
            <a:ext cx="179388" cy="133350"/>
          </a:xfrm>
          <a:prstGeom prst="rect">
            <a:avLst/>
          </a:prstGeom>
          <a:solidFill>
            <a:srgbClr val="38787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66" name="Rectangle 65">
            <a:extLst>
              <a:ext uri="{FF2B5EF4-FFF2-40B4-BE49-F238E27FC236}">
                <a16:creationId xmlns:a16="http://schemas.microsoft.com/office/drawing/2014/main" id="{6C3B7C03-2BA3-933E-898C-8AB8F87478AE}"/>
              </a:ext>
            </a:extLst>
          </p:cNvPr>
          <p:cNvSpPr/>
          <p:nvPr>
            <p:custDataLst>
              <p:tags r:id="rId10"/>
            </p:custDataLst>
          </p:nvPr>
        </p:nvSpPr>
        <p:spPr bwMode="auto">
          <a:xfrm>
            <a:off x="9617075" y="1182688"/>
            <a:ext cx="179388" cy="133350"/>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67" name="Rectangle 66">
            <a:extLst>
              <a:ext uri="{FF2B5EF4-FFF2-40B4-BE49-F238E27FC236}">
                <a16:creationId xmlns:a16="http://schemas.microsoft.com/office/drawing/2014/main" id="{AAA72DE4-8D8E-B383-3A5B-C38FEFE06556}"/>
              </a:ext>
            </a:extLst>
          </p:cNvPr>
          <p:cNvSpPr/>
          <p:nvPr>
            <p:custDataLst>
              <p:tags r:id="rId11"/>
            </p:custDataLst>
          </p:nvPr>
        </p:nvSpPr>
        <p:spPr bwMode="auto">
          <a:xfrm>
            <a:off x="10669588" y="1182688"/>
            <a:ext cx="179388" cy="133350"/>
          </a:xfrm>
          <a:prstGeom prst="rect">
            <a:avLst/>
          </a:prstGeom>
          <a:solidFill>
            <a:srgbClr val="8ECBC9"/>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68" name="Rectangle 67">
            <a:extLst>
              <a:ext uri="{FF2B5EF4-FFF2-40B4-BE49-F238E27FC236}">
                <a16:creationId xmlns:a16="http://schemas.microsoft.com/office/drawing/2014/main" id="{F9A2BB44-2DEB-444C-0D6C-EADCAFCD7155}"/>
              </a:ext>
            </a:extLst>
          </p:cNvPr>
          <p:cNvSpPr/>
          <p:nvPr>
            <p:custDataLst>
              <p:tags r:id="rId12"/>
            </p:custDataLst>
          </p:nvPr>
        </p:nvSpPr>
        <p:spPr bwMode="auto">
          <a:xfrm>
            <a:off x="11322050" y="1182688"/>
            <a:ext cx="179388" cy="133350"/>
          </a:xfrm>
          <a:prstGeom prst="rect">
            <a:avLst/>
          </a:prstGeom>
          <a:solidFill>
            <a:srgbClr val="D9EEE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62" name="Rectangle 61">
            <a:extLst>
              <a:ext uri="{FF2B5EF4-FFF2-40B4-BE49-F238E27FC236}">
                <a16:creationId xmlns:a16="http://schemas.microsoft.com/office/drawing/2014/main" id="{4AEA1F06-0500-643C-4ADF-8C960690FD72}"/>
              </a:ext>
            </a:extLst>
          </p:cNvPr>
          <p:cNvSpPr/>
          <p:nvPr>
            <p:custDataLst>
              <p:tags r:id="rId13"/>
            </p:custDataLst>
          </p:nvPr>
        </p:nvSpPr>
        <p:spPr bwMode="auto">
          <a:xfrm>
            <a:off x="11552238" y="1177925"/>
            <a:ext cx="32226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234C8991-1781-4CC7-8B91-EE2FCCE337B7}" type="datetime'''''''''''''''''''O''''''''''''''''''''t''''''h''''er'''''''''">
              <a:rPr kumimoji="0" lang="en-GB" altLang="en-US" sz="10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Other</a:t>
            </a:fld>
            <a:endParaRPr kumimoji="0" lang="en-GB" sz="10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59" name="Rectangle 58">
            <a:extLst>
              <a:ext uri="{FF2B5EF4-FFF2-40B4-BE49-F238E27FC236}">
                <a16:creationId xmlns:a16="http://schemas.microsoft.com/office/drawing/2014/main" id="{49572491-1D68-348B-BAAD-5556B312061D}"/>
              </a:ext>
            </a:extLst>
          </p:cNvPr>
          <p:cNvSpPr/>
          <p:nvPr>
            <p:custDataLst>
              <p:tags r:id="rId14"/>
            </p:custDataLst>
          </p:nvPr>
        </p:nvSpPr>
        <p:spPr bwMode="auto">
          <a:xfrm>
            <a:off x="8847138" y="1177925"/>
            <a:ext cx="66833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D978B67B-D197-4656-94EC-DF6E88F14896}" type="datetime'''''''P''''''''''''''''''u''bl''ic'''''''''' se''''c''tor'''">
              <a:rPr kumimoji="0" lang="en-GB" altLang="en-US" sz="10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Public sector</a:t>
            </a:fld>
            <a:endParaRPr kumimoji="0" lang="en-GB" sz="10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61" name="Rectangle 60">
            <a:extLst>
              <a:ext uri="{FF2B5EF4-FFF2-40B4-BE49-F238E27FC236}">
                <a16:creationId xmlns:a16="http://schemas.microsoft.com/office/drawing/2014/main" id="{6902B972-1806-1D20-A5C1-8AE567572A57}"/>
              </a:ext>
            </a:extLst>
          </p:cNvPr>
          <p:cNvSpPr/>
          <p:nvPr>
            <p:custDataLst>
              <p:tags r:id="rId15"/>
            </p:custDataLst>
          </p:nvPr>
        </p:nvSpPr>
        <p:spPr bwMode="auto">
          <a:xfrm>
            <a:off x="9847263" y="1177925"/>
            <a:ext cx="720725"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A29AABDD-26BA-48F9-B7A4-958043BB3DB9}" type="datetime'''P''''''r''i''''''vat''''''''''e ''''''secto''''r'''''''''">
              <a:rPr kumimoji="0" lang="en-GB" altLang="en-US" sz="10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Private sector</a:t>
            </a:fld>
            <a:endParaRPr kumimoji="0" lang="en-GB" sz="10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63" name="Rectangle 62">
            <a:extLst>
              <a:ext uri="{FF2B5EF4-FFF2-40B4-BE49-F238E27FC236}">
                <a16:creationId xmlns:a16="http://schemas.microsoft.com/office/drawing/2014/main" id="{6FAA042E-5163-648D-2419-0A79167D4FB0}"/>
              </a:ext>
            </a:extLst>
          </p:cNvPr>
          <p:cNvSpPr/>
          <p:nvPr>
            <p:custDataLst>
              <p:tags r:id="rId16"/>
            </p:custDataLst>
          </p:nvPr>
        </p:nvSpPr>
        <p:spPr bwMode="auto">
          <a:xfrm>
            <a:off x="10899775" y="1177925"/>
            <a:ext cx="320675"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fld id="{1008749B-A59B-4810-A4F7-737017067D6E}" type="datetime'H''''om''''''''''''''''''e'''''''''''''''''''''''">
              <a:rPr kumimoji="0" lang="en-GB" altLang="en-US" sz="10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Home</a:t>
            </a:fld>
            <a:endParaRPr kumimoji="0" lang="en-GB" sz="10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graphicFrame>
        <p:nvGraphicFramePr>
          <p:cNvPr id="17" name="Chart 16">
            <a:extLst>
              <a:ext uri="{FF2B5EF4-FFF2-40B4-BE49-F238E27FC236}">
                <a16:creationId xmlns:a16="http://schemas.microsoft.com/office/drawing/2014/main" id="{81197D34-A68F-C1FC-701F-3E2755ADABF3}"/>
              </a:ext>
            </a:extLst>
          </p:cNvPr>
          <p:cNvGraphicFramePr/>
          <p:nvPr>
            <p:custDataLst>
              <p:tags r:id="rId17"/>
            </p:custDataLst>
            <p:extLst>
              <p:ext uri="{D42A27DB-BD31-4B8C-83A1-F6EECF244321}">
                <p14:modId xmlns:p14="http://schemas.microsoft.com/office/powerpoint/2010/main" val="316030246"/>
              </p:ext>
            </p:extLst>
          </p:nvPr>
        </p:nvGraphicFramePr>
        <p:xfrm>
          <a:off x="8199438" y="2001838"/>
          <a:ext cx="3600450" cy="2855912"/>
        </p:xfrm>
        <a:graphic>
          <a:graphicData uri="http://schemas.openxmlformats.org/drawingml/2006/chart">
            <c:chart xmlns:c="http://schemas.openxmlformats.org/drawingml/2006/chart" xmlns:r="http://schemas.openxmlformats.org/officeDocument/2006/relationships" r:id="rId32"/>
          </a:graphicData>
        </a:graphic>
      </p:graphicFrame>
      <p:sp>
        <p:nvSpPr>
          <p:cNvPr id="100" name="Rectangle 99">
            <a:extLst>
              <a:ext uri="{FF2B5EF4-FFF2-40B4-BE49-F238E27FC236}">
                <a16:creationId xmlns:a16="http://schemas.microsoft.com/office/drawing/2014/main" id="{E1D1020A-259C-F692-9A30-0681E9ED1139}"/>
              </a:ext>
            </a:extLst>
          </p:cNvPr>
          <p:cNvSpPr>
            <a:spLocks noGrp="1" noChangeArrowheads="1"/>
          </p:cNvSpPr>
          <p:nvPr>
            <p:custDataLst>
              <p:tags r:id="rId18"/>
            </p:custDataLst>
          </p:nvPr>
        </p:nvSpPr>
        <p:spPr bwMode="gray">
          <a:xfrm>
            <a:off x="8494713" y="2012950"/>
            <a:ext cx="260350" cy="212725"/>
          </a:xfrm>
          <a:prstGeom prst="rect">
            <a:avLst/>
          </a:prstGeom>
          <a:solidFill>
            <a:srgbClr val="D9EEED"/>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EECAB5A-75C5-409A-B4C0-1C2A6BDF87A1}" type="datetime'''''''''''''''''''3''''''''''''''%'''''''''">
              <a:rPr kumimoji="0" lang="en-US"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a:t>
            </a:fld>
            <a:endParaRPr kumimoji="0" lang="en-US"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3" name="Rectangle 102">
            <a:extLst>
              <a:ext uri="{FF2B5EF4-FFF2-40B4-BE49-F238E27FC236}">
                <a16:creationId xmlns:a16="http://schemas.microsoft.com/office/drawing/2014/main" id="{1991B354-5EAC-22D9-25A6-597CB516F5B4}"/>
              </a:ext>
            </a:extLst>
          </p:cNvPr>
          <p:cNvSpPr>
            <a:spLocks noGrp="1" noChangeArrowheads="1"/>
          </p:cNvSpPr>
          <p:nvPr>
            <p:custDataLst>
              <p:tags r:id="rId19"/>
            </p:custDataLst>
          </p:nvPr>
        </p:nvSpPr>
        <p:spPr bwMode="auto">
          <a:xfrm>
            <a:off x="9785350" y="4826000"/>
            <a:ext cx="4270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4E558C9-4BC9-4EAB-9850-130DF4EB45A3}" type="datetime'M''''i''d''d''''''''''''''''''''''''l''''''e'">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Middle</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2" name="Rectangle 101">
            <a:extLst>
              <a:ext uri="{FF2B5EF4-FFF2-40B4-BE49-F238E27FC236}">
                <a16:creationId xmlns:a16="http://schemas.microsoft.com/office/drawing/2014/main" id="{ED6AEB49-4C60-2FDB-8D37-B648F7932625}"/>
              </a:ext>
            </a:extLst>
          </p:cNvPr>
          <p:cNvSpPr>
            <a:spLocks noGrp="1" noChangeArrowheads="1"/>
          </p:cNvSpPr>
          <p:nvPr>
            <p:custDataLst>
              <p:tags r:id="rId20"/>
            </p:custDataLst>
          </p:nvPr>
        </p:nvSpPr>
        <p:spPr bwMode="auto">
          <a:xfrm>
            <a:off x="9105900" y="4826000"/>
            <a:ext cx="414338"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Lower</a:t>
            </a:r>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1" name="Rectangle 100">
            <a:extLst>
              <a:ext uri="{FF2B5EF4-FFF2-40B4-BE49-F238E27FC236}">
                <a16:creationId xmlns:a16="http://schemas.microsoft.com/office/drawing/2014/main" id="{CF875925-9889-2789-D0BF-39BEB86875B8}"/>
              </a:ext>
            </a:extLst>
          </p:cNvPr>
          <p:cNvSpPr>
            <a:spLocks noGrp="1" noChangeArrowheads="1"/>
          </p:cNvSpPr>
          <p:nvPr>
            <p:custDataLst>
              <p:tags r:id="rId21"/>
            </p:custDataLst>
          </p:nvPr>
        </p:nvSpPr>
        <p:spPr bwMode="auto">
          <a:xfrm>
            <a:off x="8393113" y="4826000"/>
            <a:ext cx="46355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Lowest</a:t>
            </a:r>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5" name="Rectangle 104">
            <a:extLst>
              <a:ext uri="{FF2B5EF4-FFF2-40B4-BE49-F238E27FC236}">
                <a16:creationId xmlns:a16="http://schemas.microsoft.com/office/drawing/2014/main" id="{5456AA7D-7A6D-F10E-E73E-5ECB772B0A16}"/>
              </a:ext>
            </a:extLst>
          </p:cNvPr>
          <p:cNvSpPr>
            <a:spLocks noGrp="1" noChangeArrowheads="1"/>
          </p:cNvSpPr>
          <p:nvPr>
            <p:custDataLst>
              <p:tags r:id="rId22"/>
            </p:custDataLst>
          </p:nvPr>
        </p:nvSpPr>
        <p:spPr bwMode="auto">
          <a:xfrm>
            <a:off x="10469563" y="4826000"/>
            <a:ext cx="431800"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Higher</a:t>
            </a:r>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08" name="Rectangle 107">
            <a:extLst>
              <a:ext uri="{FF2B5EF4-FFF2-40B4-BE49-F238E27FC236}">
                <a16:creationId xmlns:a16="http://schemas.microsoft.com/office/drawing/2014/main" id="{E3BB63F6-B544-8859-7FA1-EF9D31BE09C9}"/>
              </a:ext>
            </a:extLst>
          </p:cNvPr>
          <p:cNvSpPr>
            <a:spLocks noGrp="1" noChangeArrowheads="1"/>
          </p:cNvSpPr>
          <p:nvPr>
            <p:custDataLst>
              <p:tags r:id="rId23"/>
            </p:custDataLst>
          </p:nvPr>
        </p:nvSpPr>
        <p:spPr bwMode="gray">
          <a:xfrm>
            <a:off x="9182100" y="2005013"/>
            <a:ext cx="260350" cy="212725"/>
          </a:xfrm>
          <a:prstGeom prst="rect">
            <a:avLst/>
          </a:prstGeom>
          <a:solidFill>
            <a:srgbClr val="D9EEED"/>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3EB64EE-0D67-4D24-9820-642C55D46108}" type="datetime'''''''''''''2''''''''''%'''''''''''''''''''''''''''">
              <a:rPr kumimoji="0" lang="en-US"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4" name="Rectangle 103">
            <a:extLst>
              <a:ext uri="{FF2B5EF4-FFF2-40B4-BE49-F238E27FC236}">
                <a16:creationId xmlns:a16="http://schemas.microsoft.com/office/drawing/2014/main" id="{595813CF-530F-4395-9CC4-7AD2E21C5251}"/>
              </a:ext>
            </a:extLst>
          </p:cNvPr>
          <p:cNvSpPr>
            <a:spLocks noGrp="1" noChangeArrowheads="1"/>
          </p:cNvSpPr>
          <p:nvPr>
            <p:custDataLst>
              <p:tags r:id="rId24"/>
            </p:custDataLst>
          </p:nvPr>
        </p:nvSpPr>
        <p:spPr bwMode="gray">
          <a:xfrm>
            <a:off x="9867900" y="1998663"/>
            <a:ext cx="260350" cy="212725"/>
          </a:xfrm>
          <a:prstGeom prst="rect">
            <a:avLst/>
          </a:prstGeom>
          <a:solidFill>
            <a:srgbClr val="D9EEED"/>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0F44DDA-34B3-4709-ADB6-DC91C0B23911}" type="datetime'''''''''''''2''''''''''''''''''''''%'''''''''''">
              <a:rPr kumimoji="0" lang="en-US"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98" name="Rectangle 97">
            <a:extLst>
              <a:ext uri="{FF2B5EF4-FFF2-40B4-BE49-F238E27FC236}">
                <a16:creationId xmlns:a16="http://schemas.microsoft.com/office/drawing/2014/main" id="{2E34207A-FD6E-1204-9753-1F94C064ADB2}"/>
              </a:ext>
            </a:extLst>
          </p:cNvPr>
          <p:cNvSpPr>
            <a:spLocks noGrp="1" noChangeArrowheads="1"/>
          </p:cNvSpPr>
          <p:nvPr>
            <p:custDataLst>
              <p:tags r:id="rId25"/>
            </p:custDataLst>
          </p:nvPr>
        </p:nvSpPr>
        <p:spPr bwMode="gray">
          <a:xfrm>
            <a:off x="10555288" y="2019300"/>
            <a:ext cx="260350" cy="212725"/>
          </a:xfrm>
          <a:prstGeom prst="rect">
            <a:avLst/>
          </a:prstGeom>
          <a:solidFill>
            <a:srgbClr val="D9EEED"/>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192F824-1CA7-492D-BDB0-579B54D107A6}" type="datetime'3''''''''%'''''''''''''''''''''''''''''''''">
              <a:rPr kumimoji="0" lang="en-US" altLang="en-US" sz="1400" b="0" i="0" u="none" strike="noStrike" kern="0" cap="none" spc="0" normalizeH="0" baseline="0" noProof="0" smtClean="0">
                <a:ln>
                  <a:noFill/>
                </a:ln>
                <a:solidFill>
                  <a:prstClr val="black"/>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a:t>
            </a:fld>
            <a:endParaRPr kumimoji="0" lang="en-US" sz="1400" b="0" i="0" u="none" strike="noStrike" kern="0" cap="none" spc="0" normalizeH="0" baseline="0" noProof="0" dirty="0">
              <a:ln>
                <a:noFill/>
              </a:ln>
              <a:solidFill>
                <a:prstClr val="black"/>
              </a:solidFill>
              <a:effectLst/>
              <a:uLnTx/>
              <a:uFillTx/>
              <a:latin typeface="Gill Sans MT" panose="020B0502020104020203"/>
              <a:ea typeface="+mn-ea"/>
              <a:cs typeface="+mn-cs"/>
              <a:sym typeface="Arial" panose="020B0604020202020204" pitchFamily="34" charset="0"/>
            </a:endParaRPr>
          </a:p>
        </p:txBody>
      </p:sp>
      <p:sp>
        <p:nvSpPr>
          <p:cNvPr id="107" name="Rectangle 106">
            <a:extLst>
              <a:ext uri="{FF2B5EF4-FFF2-40B4-BE49-F238E27FC236}">
                <a16:creationId xmlns:a16="http://schemas.microsoft.com/office/drawing/2014/main" id="{186A7777-4C03-660F-5D23-E19B8988CC81}"/>
              </a:ext>
            </a:extLst>
          </p:cNvPr>
          <p:cNvSpPr>
            <a:spLocks noGrp="1" noChangeArrowheads="1"/>
          </p:cNvSpPr>
          <p:nvPr>
            <p:custDataLst>
              <p:tags r:id="rId26"/>
            </p:custDataLst>
          </p:nvPr>
        </p:nvSpPr>
        <p:spPr bwMode="auto">
          <a:xfrm>
            <a:off x="11133139" y="4826000"/>
            <a:ext cx="481013" cy="18256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Highest</a:t>
            </a:r>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6" name="McK 5. Source">
            <a:extLst>
              <a:ext uri="{FF2B5EF4-FFF2-40B4-BE49-F238E27FC236}">
                <a16:creationId xmlns:a16="http://schemas.microsoft.com/office/drawing/2014/main" id="{30492680-E7FC-3A93-7BED-E88AA7F1F68D}"/>
              </a:ext>
            </a:extLst>
          </p:cNvPr>
          <p:cNvSpPr>
            <a:spLocks noChangeArrowheads="1"/>
          </p:cNvSpPr>
          <p:nvPr/>
        </p:nvSpPr>
        <p:spPr bwMode="auto">
          <a:xfrm>
            <a:off x="299033" y="6719501"/>
            <a:ext cx="1127960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621778" algn="l" defTabSz="913235" rtl="0" eaLnBrk="1" fontAlgn="base" latinLnBrk="0" hangingPunct="1">
              <a:lnSpc>
                <a:spcPct val="100000"/>
              </a:lnSpc>
              <a:spcBef>
                <a:spcPct val="0"/>
              </a:spcBef>
              <a:spcAft>
                <a:spcPct val="0"/>
              </a:spcAft>
              <a:buClrTx/>
              <a:buSzTx/>
              <a:buFontTx/>
              <a:buNone/>
              <a:tabLst>
                <a:tab pos="625015" algn="l"/>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SOURCE: NDHS 2018 data</a:t>
            </a:r>
          </a:p>
        </p:txBody>
      </p:sp>
      <p:sp>
        <p:nvSpPr>
          <p:cNvPr id="3" name="Title 1">
            <a:extLst>
              <a:ext uri="{FF2B5EF4-FFF2-40B4-BE49-F238E27FC236}">
                <a16:creationId xmlns:a16="http://schemas.microsoft.com/office/drawing/2014/main" id="{AB5A27B1-FABE-8E1D-193E-64FC9413CFFC}"/>
              </a:ext>
            </a:extLst>
          </p:cNvPr>
          <p:cNvSpPr txBox="1">
            <a:spLocks/>
          </p:cNvSpPr>
          <p:nvPr/>
        </p:nvSpPr>
        <p:spPr>
          <a:xfrm>
            <a:off x="0" y="0"/>
            <a:ext cx="1828800" cy="261531"/>
          </a:xfrm>
          <a:prstGeom prst="rect">
            <a:avLst/>
          </a:prstGeom>
        </p:spPr>
        <p:txBody>
          <a:bodyPr vert="horz" wrap="square" lIns="45720" tIns="45681" rIns="91363" bIns="45681">
            <a:spAutoFit/>
          </a:bodyPr>
          <a:lstStyle>
            <a:lvl1pPr algn="l" defTabSz="911713" rtl="0" eaLnBrk="1" fontAlgn="base" hangingPunct="1">
              <a:spcBef>
                <a:spcPct val="0"/>
              </a:spcBef>
              <a:spcAft>
                <a:spcPct val="0"/>
              </a:spcAft>
              <a:defRPr sz="2000" b="1">
                <a:solidFill>
                  <a:srgbClr val="336600"/>
                </a:solidFill>
                <a:latin typeface="+mj-lt"/>
                <a:ea typeface="+mj-ea"/>
                <a:cs typeface="+mj-cs"/>
              </a:defRPr>
            </a:lvl1pPr>
            <a:lvl2pPr algn="l" defTabSz="911713" rtl="0" eaLnBrk="1" fontAlgn="base" hangingPunct="1">
              <a:spcBef>
                <a:spcPct val="0"/>
              </a:spcBef>
              <a:spcAft>
                <a:spcPct val="0"/>
              </a:spcAft>
              <a:defRPr sz="2000" b="1">
                <a:solidFill>
                  <a:srgbClr val="336600"/>
                </a:solidFill>
                <a:latin typeface="Arial" charset="0"/>
              </a:defRPr>
            </a:lvl2pPr>
            <a:lvl3pPr algn="l" defTabSz="911713" rtl="0" eaLnBrk="1" fontAlgn="base" hangingPunct="1">
              <a:spcBef>
                <a:spcPct val="0"/>
              </a:spcBef>
              <a:spcAft>
                <a:spcPct val="0"/>
              </a:spcAft>
              <a:defRPr sz="2000" b="1">
                <a:solidFill>
                  <a:srgbClr val="336600"/>
                </a:solidFill>
                <a:latin typeface="Arial" charset="0"/>
              </a:defRPr>
            </a:lvl3pPr>
            <a:lvl4pPr algn="l" defTabSz="911713" rtl="0" eaLnBrk="1" fontAlgn="base" hangingPunct="1">
              <a:spcBef>
                <a:spcPct val="0"/>
              </a:spcBef>
              <a:spcAft>
                <a:spcPct val="0"/>
              </a:spcAft>
              <a:defRPr sz="2000" b="1">
                <a:solidFill>
                  <a:srgbClr val="336600"/>
                </a:solidFill>
                <a:latin typeface="Arial" charset="0"/>
              </a:defRPr>
            </a:lvl4pPr>
            <a:lvl5pPr algn="l" defTabSz="911713" rtl="0" eaLnBrk="1" fontAlgn="base" hangingPunct="1">
              <a:spcBef>
                <a:spcPct val="0"/>
              </a:spcBef>
              <a:spcAft>
                <a:spcPct val="0"/>
              </a:spcAft>
              <a:defRPr sz="2000" b="1">
                <a:solidFill>
                  <a:srgbClr val="336600"/>
                </a:solidFill>
                <a:latin typeface="Arial" charset="0"/>
              </a:defRPr>
            </a:lvl5pPr>
            <a:lvl6pPr marL="465822" algn="l" defTabSz="912233" rtl="0" eaLnBrk="1" fontAlgn="base" hangingPunct="1">
              <a:spcBef>
                <a:spcPct val="0"/>
              </a:spcBef>
              <a:spcAft>
                <a:spcPct val="0"/>
              </a:spcAft>
              <a:defRPr sz="2000" b="1">
                <a:solidFill>
                  <a:srgbClr val="336600"/>
                </a:solidFill>
                <a:latin typeface="Arial" charset="0"/>
              </a:defRPr>
            </a:lvl6pPr>
            <a:lvl7pPr marL="931640" algn="l" defTabSz="912233" rtl="0" eaLnBrk="1" fontAlgn="base" hangingPunct="1">
              <a:spcBef>
                <a:spcPct val="0"/>
              </a:spcBef>
              <a:spcAft>
                <a:spcPct val="0"/>
              </a:spcAft>
              <a:defRPr sz="2000" b="1">
                <a:solidFill>
                  <a:srgbClr val="336600"/>
                </a:solidFill>
                <a:latin typeface="Arial" charset="0"/>
              </a:defRPr>
            </a:lvl7pPr>
            <a:lvl8pPr marL="1397463" algn="l" defTabSz="912233" rtl="0" eaLnBrk="1" fontAlgn="base" hangingPunct="1">
              <a:spcBef>
                <a:spcPct val="0"/>
              </a:spcBef>
              <a:spcAft>
                <a:spcPct val="0"/>
              </a:spcAft>
              <a:defRPr sz="2000" b="1">
                <a:solidFill>
                  <a:srgbClr val="336600"/>
                </a:solidFill>
                <a:latin typeface="Arial" charset="0"/>
              </a:defRPr>
            </a:lvl8pPr>
            <a:lvl9pPr marL="1863285" algn="l" defTabSz="912233" rtl="0" eaLnBrk="1" fontAlgn="base" hangingPunct="1">
              <a:spcBef>
                <a:spcPct val="0"/>
              </a:spcBef>
              <a:spcAft>
                <a:spcPct val="0"/>
              </a:spcAft>
              <a:defRPr sz="2000" b="1">
                <a:solidFill>
                  <a:srgbClr val="336600"/>
                </a:solidFill>
                <a:latin typeface="Arial" charset="0"/>
              </a:defRPr>
            </a:lvl9pPr>
          </a:lstStyle>
          <a:p>
            <a:pPr marL="0" marR="0" lvl="0" indent="0" algn="l" defTabSz="910679" rtl="0" eaLnBrk="1" fontAlgn="base" latinLnBrk="0" hangingPunct="1">
              <a:lnSpc>
                <a:spcPct val="100000"/>
              </a:lnSpc>
              <a:spcBef>
                <a:spcPct val="0"/>
              </a:spcBef>
              <a:spcAft>
                <a:spcPct val="0"/>
              </a:spcAft>
              <a:buClrTx/>
              <a:buSzTx/>
              <a:buFontTx/>
              <a:buNone/>
              <a:tabLst>
                <a:tab pos="368723" algn="l"/>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SUPPLY-Services</a:t>
            </a:r>
          </a:p>
        </p:txBody>
      </p:sp>
      <p:sp>
        <p:nvSpPr>
          <p:cNvPr id="6" name="Oval 5">
            <a:extLst>
              <a:ext uri="{FF2B5EF4-FFF2-40B4-BE49-F238E27FC236}">
                <a16:creationId xmlns:a16="http://schemas.microsoft.com/office/drawing/2014/main" id="{67604DA0-48A4-DB8D-FA11-88E8CD5C5674}"/>
              </a:ext>
            </a:extLst>
          </p:cNvPr>
          <p:cNvSpPr/>
          <p:nvPr/>
        </p:nvSpPr>
        <p:spPr>
          <a:xfrm>
            <a:off x="10388600" y="3519488"/>
            <a:ext cx="1411288" cy="1249363"/>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3953396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7823F9-928E-F310-5EB2-B7FDD010E2C2}"/>
              </a:ext>
            </a:extLst>
          </p:cNvPr>
          <p:cNvGraphicFramePr>
            <a:graphicFrameLocks noChangeAspect="1"/>
          </p:cNvGraphicFramePr>
          <p:nvPr>
            <p:custDataLst>
              <p:tags r:id="rId1"/>
            </p:custDataLst>
            <p:extLst>
              <p:ext uri="{D42A27DB-BD31-4B8C-83A1-F6EECF244321}">
                <p14:modId xmlns:p14="http://schemas.microsoft.com/office/powerpoint/2010/main" val="2420068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497823F9-928E-F310-5EB2-B7FDD010E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A511D1-A7DF-89EF-B544-F65B9EF20A6D}"/>
              </a:ext>
            </a:extLst>
          </p:cNvPr>
          <p:cNvSpPr>
            <a:spLocks noGrp="1"/>
          </p:cNvSpPr>
          <p:nvPr>
            <p:ph type="sldNum" sz="quarter" idx="4"/>
          </p:nvPr>
        </p:nvSpPr>
        <p:spPr>
          <a:xfrm>
            <a:off x="11882955" y="6650343"/>
            <a:ext cx="274320" cy="18288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100" b="0" i="0" u="none" strike="noStrike" kern="1200" cap="none" spc="0" normalizeH="0" baseline="0" noProof="0">
              <a:ln>
                <a:noFill/>
              </a:ln>
              <a:solidFill>
                <a:srgbClr val="112E38"/>
              </a:solidFill>
              <a:effectLst/>
              <a:uLnTx/>
              <a:uFillTx/>
              <a:latin typeface="Gill Sans MT" panose="020B0502020104020203"/>
              <a:ea typeface="+mn-ea"/>
              <a:cs typeface="Arial" panose="020B0604020202020204" pitchFamily="34" charset="0"/>
            </a:endParaRPr>
          </a:p>
        </p:txBody>
      </p:sp>
      <p:sp>
        <p:nvSpPr>
          <p:cNvPr id="88" name="Rectangle 87">
            <a:extLst>
              <a:ext uri="{FF2B5EF4-FFF2-40B4-BE49-F238E27FC236}">
                <a16:creationId xmlns:a16="http://schemas.microsoft.com/office/drawing/2014/main" id="{70830201-16C8-D6BD-51C1-BE686040DC35}"/>
              </a:ext>
            </a:extLst>
          </p:cNvPr>
          <p:cNvSpPr/>
          <p:nvPr/>
        </p:nvSpPr>
        <p:spPr bwMode="auto">
          <a:xfrm>
            <a:off x="552811" y="1357605"/>
            <a:ext cx="7248525" cy="4803776"/>
          </a:xfrm>
          <a:prstGeom prst="rect">
            <a:avLst/>
          </a:prstGeom>
          <a:solidFill>
            <a:schemeClr val="bg1"/>
          </a:solidFill>
          <a:ln w="9525">
            <a:solidFill>
              <a:schemeClr val="bg1">
                <a:lumMod val="50000"/>
              </a:schemeClr>
            </a:solidFill>
            <a:round/>
            <a:headEnd/>
            <a:tailEnd/>
          </a:ln>
          <a:effectLst>
            <a:outerShdw blurRad="50800" dist="38100" dir="2700000" algn="tl" rotWithShape="0">
              <a:prstClr val="black">
                <a:alpha val="40000"/>
              </a:prstClr>
            </a:outerShdw>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89" name="Title 1">
            <a:extLst>
              <a:ext uri="{FF2B5EF4-FFF2-40B4-BE49-F238E27FC236}">
                <a16:creationId xmlns:a16="http://schemas.microsoft.com/office/drawing/2014/main" id="{908990C0-F378-C914-6F6E-29104744A2E6}"/>
              </a:ext>
            </a:extLst>
          </p:cNvPr>
          <p:cNvSpPr>
            <a:spLocks noGrp="1"/>
          </p:cNvSpPr>
          <p:nvPr>
            <p:ph type="title"/>
          </p:nvPr>
        </p:nvSpPr>
        <p:spPr>
          <a:xfrm>
            <a:off x="172109" y="526435"/>
            <a:ext cx="11147359" cy="318981"/>
          </a:xfrm>
          <a:noFill/>
          <a:ln w="9525">
            <a:noFill/>
            <a:miter lim="800000"/>
            <a:headEnd/>
            <a:tailEnd/>
          </a:ln>
          <a:effectLst/>
        </p:spPr>
        <p:txBody>
          <a:bodyPr vert="horz" wrap="square" lIns="91440" tIns="91440" rIns="91440" bIns="91440" numCol="1" rtlCol="0" anchor="ctr" anchorCtr="0" compatLnSpc="1">
            <a:prstTxWarp prst="textNoShape">
              <a:avLst/>
            </a:prstTxWarp>
            <a:noAutofit/>
          </a:bodyPr>
          <a:lstStyle/>
          <a:p>
            <a:pPr marL="0" marR="0" lvl="0" indent="0" algn="l" defTabSz="911713"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effectLst/>
                <a:uLnTx/>
                <a:uFillTx/>
                <a:latin typeface="+mj-lt"/>
                <a:ea typeface="+mj-ea"/>
                <a:cs typeface="Arial" panose="020B0604020202020204" pitchFamily="34" charset="0"/>
                <a:sym typeface="Arial"/>
              </a:rPr>
              <a:t>Referral pathway for MNH </a:t>
            </a:r>
            <a:r>
              <a:rPr kumimoji="0" lang="en-US" sz="2400" b="1" i="0" u="none" strike="noStrike" kern="1200" cap="none" spc="0" normalizeH="0" baseline="0" noProof="0" dirty="0" err="1">
                <a:ln>
                  <a:noFill/>
                </a:ln>
                <a:effectLst/>
                <a:uLnTx/>
                <a:uFillTx/>
                <a:latin typeface="+mj-lt"/>
                <a:ea typeface="+mj-ea"/>
                <a:cs typeface="Arial" panose="020B0604020202020204" pitchFamily="34" charset="0"/>
                <a:sym typeface="Arial"/>
              </a:rPr>
              <a:t>servi</a:t>
            </a:r>
            <a:r>
              <a:rPr lang="en-US" sz="2400" dirty="0" err="1">
                <a:latin typeface="+mj-lt"/>
                <a:ea typeface="+mj-ea"/>
                <a:cs typeface="Arial" panose="020B0604020202020204" pitchFamily="34" charset="0"/>
                <a:sym typeface="Arial"/>
              </a:rPr>
              <a:t>ces</a:t>
            </a:r>
            <a:endParaRPr kumimoji="0" lang="en-US" sz="2400" b="1" i="0" u="none" strike="noStrike" kern="1200" cap="none" spc="0" normalizeH="0" baseline="0" noProof="0" dirty="0">
              <a:ln>
                <a:noFill/>
              </a:ln>
              <a:effectLst/>
              <a:uLnTx/>
              <a:uFillTx/>
              <a:latin typeface="+mj-lt"/>
              <a:ea typeface="+mj-ea"/>
              <a:cs typeface="Arial" panose="020B0604020202020204" pitchFamily="34" charset="0"/>
              <a:sym typeface="Arial"/>
            </a:endParaRPr>
          </a:p>
        </p:txBody>
      </p:sp>
      <p:sp>
        <p:nvSpPr>
          <p:cNvPr id="90" name="McK 5. Source">
            <a:extLst>
              <a:ext uri="{FF2B5EF4-FFF2-40B4-BE49-F238E27FC236}">
                <a16:creationId xmlns:a16="http://schemas.microsoft.com/office/drawing/2014/main" id="{7B72349E-A5F2-E0EE-1116-E021EF893F9B}"/>
              </a:ext>
            </a:extLst>
          </p:cNvPr>
          <p:cNvSpPr>
            <a:spLocks noChangeArrowheads="1"/>
          </p:cNvSpPr>
          <p:nvPr/>
        </p:nvSpPr>
        <p:spPr bwMode="auto">
          <a:xfrm>
            <a:off x="62348" y="6715339"/>
            <a:ext cx="1051435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621778" algn="l" defTabSz="913235" rtl="0" eaLnBrk="1" fontAlgn="base" latinLnBrk="0" hangingPunct="1">
              <a:lnSpc>
                <a:spcPct val="100000"/>
              </a:lnSpc>
              <a:spcBef>
                <a:spcPct val="0"/>
              </a:spcBef>
              <a:spcAft>
                <a:spcPct val="0"/>
              </a:spcAft>
              <a:buClrTx/>
              <a:buSzTx/>
              <a:buFontTx/>
              <a:buNone/>
              <a:tabLst>
                <a:tab pos="625015" algn="l"/>
              </a:tabLst>
              <a:defRPr/>
            </a:pPr>
            <a:r>
              <a:rPr kumimoji="0" lang="en-US" sz="9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sym typeface="Arial"/>
              </a:rPr>
              <a:t>SOURCE:  Expert consultation, team analysis</a:t>
            </a:r>
          </a:p>
        </p:txBody>
      </p:sp>
      <p:sp>
        <p:nvSpPr>
          <p:cNvPr id="91" name="TextBox 90">
            <a:extLst>
              <a:ext uri="{FF2B5EF4-FFF2-40B4-BE49-F238E27FC236}">
                <a16:creationId xmlns:a16="http://schemas.microsoft.com/office/drawing/2014/main" id="{222F260F-8D34-2D40-80C1-728FC294AB6D}"/>
              </a:ext>
            </a:extLst>
          </p:cNvPr>
          <p:cNvSpPr txBox="1"/>
          <p:nvPr/>
        </p:nvSpPr>
        <p:spPr>
          <a:xfrm rot="16200000">
            <a:off x="-258172" y="2467590"/>
            <a:ext cx="1024020" cy="268414"/>
          </a:xfrm>
          <a:prstGeom prst="rect">
            <a:avLst/>
          </a:prstGeom>
          <a:noFill/>
        </p:spPr>
        <p:txBody>
          <a:bodyPr wrap="square"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rPr>
              <a:t>Tertiary</a:t>
            </a:r>
            <a:endParaRPr kumimoji="0" lang="fr-FR" sz="14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92" name="TextBox 91">
            <a:extLst>
              <a:ext uri="{FF2B5EF4-FFF2-40B4-BE49-F238E27FC236}">
                <a16:creationId xmlns:a16="http://schemas.microsoft.com/office/drawing/2014/main" id="{C7499B11-B790-B989-98E5-C65EB14FEB34}"/>
              </a:ext>
            </a:extLst>
          </p:cNvPr>
          <p:cNvSpPr txBox="1"/>
          <p:nvPr/>
        </p:nvSpPr>
        <p:spPr>
          <a:xfrm rot="16200000">
            <a:off x="-209524" y="5388945"/>
            <a:ext cx="1024020" cy="159491"/>
          </a:xfrm>
          <a:prstGeom prst="rect">
            <a:avLst/>
          </a:prstGeom>
          <a:noFill/>
        </p:spPr>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rPr>
              <a:t>Primary</a:t>
            </a:r>
            <a:endParaRPr kumimoji="0" lang="fr-FR" sz="14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93" name="TextBox 92">
            <a:extLst>
              <a:ext uri="{FF2B5EF4-FFF2-40B4-BE49-F238E27FC236}">
                <a16:creationId xmlns:a16="http://schemas.microsoft.com/office/drawing/2014/main" id="{EFAF5004-A779-6666-B9F6-36F4C370704D}"/>
              </a:ext>
            </a:extLst>
          </p:cNvPr>
          <p:cNvSpPr txBox="1"/>
          <p:nvPr/>
        </p:nvSpPr>
        <p:spPr>
          <a:xfrm rot="16200000">
            <a:off x="-334777" y="3815767"/>
            <a:ext cx="1227748" cy="30777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rPr>
              <a:t>Secondary</a:t>
            </a:r>
            <a:endParaRPr kumimoji="0" lang="fr-FR" sz="14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grpSp>
        <p:nvGrpSpPr>
          <p:cNvPr id="94" name="Group 93">
            <a:extLst>
              <a:ext uri="{FF2B5EF4-FFF2-40B4-BE49-F238E27FC236}">
                <a16:creationId xmlns:a16="http://schemas.microsoft.com/office/drawing/2014/main" id="{11B94A06-5614-9F2B-EAA6-2B3998548E51}"/>
              </a:ext>
            </a:extLst>
          </p:cNvPr>
          <p:cNvGrpSpPr/>
          <p:nvPr/>
        </p:nvGrpSpPr>
        <p:grpSpPr>
          <a:xfrm>
            <a:off x="552017" y="1367290"/>
            <a:ext cx="7249319" cy="4761968"/>
            <a:chOff x="1365145" y="572892"/>
            <a:chExt cx="6711433" cy="5460315"/>
          </a:xfrm>
        </p:grpSpPr>
        <p:grpSp>
          <p:nvGrpSpPr>
            <p:cNvPr id="95" name="Group 94">
              <a:extLst>
                <a:ext uri="{FF2B5EF4-FFF2-40B4-BE49-F238E27FC236}">
                  <a16:creationId xmlns:a16="http://schemas.microsoft.com/office/drawing/2014/main" id="{29FC94DB-93A6-30BA-0504-2D299FCC7CDE}"/>
                </a:ext>
              </a:extLst>
            </p:cNvPr>
            <p:cNvGrpSpPr/>
            <p:nvPr/>
          </p:nvGrpSpPr>
          <p:grpSpPr>
            <a:xfrm>
              <a:off x="2283390" y="1268678"/>
              <a:ext cx="866329" cy="719764"/>
              <a:chOff x="1074232" y="1415188"/>
              <a:chExt cx="914399" cy="914399"/>
            </a:xfrm>
            <a:solidFill>
              <a:srgbClr val="112E38"/>
            </a:solidFill>
          </p:grpSpPr>
          <p:sp>
            <p:nvSpPr>
              <p:cNvPr id="140" name="Freeform: Shape 139">
                <a:extLst>
                  <a:ext uri="{FF2B5EF4-FFF2-40B4-BE49-F238E27FC236}">
                    <a16:creationId xmlns:a16="http://schemas.microsoft.com/office/drawing/2014/main" id="{23947743-B18D-3A6D-8006-508A91941273}"/>
                  </a:ext>
                </a:extLst>
              </p:cNvPr>
              <p:cNvSpPr/>
              <p:nvPr/>
            </p:nvSpPr>
            <p:spPr>
              <a:xfrm>
                <a:off x="1133225" y="1592168"/>
                <a:ext cx="796412" cy="737419"/>
              </a:xfrm>
              <a:custGeom>
                <a:avLst/>
                <a:gdLst>
                  <a:gd name="connsiteX0" fmla="*/ 766916 w 796412"/>
                  <a:gd name="connsiteY0" fmla="*/ 353961 h 737419"/>
                  <a:gd name="connsiteX1" fmla="*/ 737419 w 796412"/>
                  <a:gd name="connsiteY1" fmla="*/ 353961 h 737419"/>
                  <a:gd name="connsiteX2" fmla="*/ 737419 w 796412"/>
                  <a:gd name="connsiteY2" fmla="*/ 707923 h 737419"/>
                  <a:gd name="connsiteX3" fmla="*/ 604684 w 796412"/>
                  <a:gd name="connsiteY3" fmla="*/ 707923 h 737419"/>
                  <a:gd name="connsiteX4" fmla="*/ 604684 w 796412"/>
                  <a:gd name="connsiteY4" fmla="*/ 147484 h 737419"/>
                  <a:gd name="connsiteX5" fmla="*/ 663677 w 796412"/>
                  <a:gd name="connsiteY5" fmla="*/ 147484 h 737419"/>
                  <a:gd name="connsiteX6" fmla="*/ 663677 w 796412"/>
                  <a:gd name="connsiteY6" fmla="*/ 117987 h 737419"/>
                  <a:gd name="connsiteX7" fmla="*/ 604684 w 796412"/>
                  <a:gd name="connsiteY7" fmla="*/ 117987 h 737419"/>
                  <a:gd name="connsiteX8" fmla="*/ 604684 w 796412"/>
                  <a:gd name="connsiteY8" fmla="*/ 0 h 737419"/>
                  <a:gd name="connsiteX9" fmla="*/ 501445 w 796412"/>
                  <a:gd name="connsiteY9" fmla="*/ 0 h 737419"/>
                  <a:gd name="connsiteX10" fmla="*/ 501445 w 796412"/>
                  <a:gd name="connsiteY10" fmla="*/ 29497 h 737419"/>
                  <a:gd name="connsiteX11" fmla="*/ 575187 w 796412"/>
                  <a:gd name="connsiteY11" fmla="*/ 29497 h 737419"/>
                  <a:gd name="connsiteX12" fmla="*/ 575187 w 796412"/>
                  <a:gd name="connsiteY12" fmla="*/ 58994 h 737419"/>
                  <a:gd name="connsiteX13" fmla="*/ 221226 w 796412"/>
                  <a:gd name="connsiteY13" fmla="*/ 58994 h 737419"/>
                  <a:gd name="connsiteX14" fmla="*/ 221226 w 796412"/>
                  <a:gd name="connsiteY14" fmla="*/ 29497 h 737419"/>
                  <a:gd name="connsiteX15" fmla="*/ 294968 w 796412"/>
                  <a:gd name="connsiteY15" fmla="*/ 29497 h 737419"/>
                  <a:gd name="connsiteX16" fmla="*/ 294968 w 796412"/>
                  <a:gd name="connsiteY16" fmla="*/ 0 h 737419"/>
                  <a:gd name="connsiteX17" fmla="*/ 191729 w 796412"/>
                  <a:gd name="connsiteY17" fmla="*/ 0 h 737419"/>
                  <a:gd name="connsiteX18" fmla="*/ 191729 w 796412"/>
                  <a:gd name="connsiteY18" fmla="*/ 117987 h 737419"/>
                  <a:gd name="connsiteX19" fmla="*/ 132735 w 796412"/>
                  <a:gd name="connsiteY19" fmla="*/ 117987 h 737419"/>
                  <a:gd name="connsiteX20" fmla="*/ 132735 w 796412"/>
                  <a:gd name="connsiteY20" fmla="*/ 147484 h 737419"/>
                  <a:gd name="connsiteX21" fmla="*/ 191729 w 796412"/>
                  <a:gd name="connsiteY21" fmla="*/ 147484 h 737419"/>
                  <a:gd name="connsiteX22" fmla="*/ 191729 w 796412"/>
                  <a:gd name="connsiteY22" fmla="*/ 707923 h 737419"/>
                  <a:gd name="connsiteX23" fmla="*/ 58994 w 796412"/>
                  <a:gd name="connsiteY23" fmla="*/ 707923 h 737419"/>
                  <a:gd name="connsiteX24" fmla="*/ 58994 w 796412"/>
                  <a:gd name="connsiteY24" fmla="*/ 353961 h 737419"/>
                  <a:gd name="connsiteX25" fmla="*/ 29497 w 796412"/>
                  <a:gd name="connsiteY25" fmla="*/ 353961 h 737419"/>
                  <a:gd name="connsiteX26" fmla="*/ 29497 w 796412"/>
                  <a:gd name="connsiteY26" fmla="*/ 707923 h 737419"/>
                  <a:gd name="connsiteX27" fmla="*/ 0 w 796412"/>
                  <a:gd name="connsiteY27" fmla="*/ 707923 h 737419"/>
                  <a:gd name="connsiteX28" fmla="*/ 0 w 796412"/>
                  <a:gd name="connsiteY28" fmla="*/ 737419 h 737419"/>
                  <a:gd name="connsiteX29" fmla="*/ 796413 w 796412"/>
                  <a:gd name="connsiteY29" fmla="*/ 737419 h 737419"/>
                  <a:gd name="connsiteX30" fmla="*/ 796413 w 796412"/>
                  <a:gd name="connsiteY30" fmla="*/ 707923 h 737419"/>
                  <a:gd name="connsiteX31" fmla="*/ 766916 w 796412"/>
                  <a:gd name="connsiteY31" fmla="*/ 707923 h 737419"/>
                  <a:gd name="connsiteX32" fmla="*/ 766916 w 796412"/>
                  <a:gd name="connsiteY32" fmla="*/ 353961 h 737419"/>
                  <a:gd name="connsiteX33" fmla="*/ 221226 w 796412"/>
                  <a:gd name="connsiteY33" fmla="*/ 88490 h 737419"/>
                  <a:gd name="connsiteX34" fmla="*/ 575187 w 796412"/>
                  <a:gd name="connsiteY34" fmla="*/ 88490 h 737419"/>
                  <a:gd name="connsiteX35" fmla="*/ 575187 w 796412"/>
                  <a:gd name="connsiteY35" fmla="*/ 117987 h 737419"/>
                  <a:gd name="connsiteX36" fmla="*/ 221226 w 796412"/>
                  <a:gd name="connsiteY36" fmla="*/ 117987 h 737419"/>
                  <a:gd name="connsiteX37" fmla="*/ 221226 w 796412"/>
                  <a:gd name="connsiteY37" fmla="*/ 88490 h 737419"/>
                  <a:gd name="connsiteX38" fmla="*/ 221226 w 796412"/>
                  <a:gd name="connsiteY38" fmla="*/ 147484 h 737419"/>
                  <a:gd name="connsiteX39" fmla="*/ 575187 w 796412"/>
                  <a:gd name="connsiteY39" fmla="*/ 147484 h 737419"/>
                  <a:gd name="connsiteX40" fmla="*/ 575187 w 796412"/>
                  <a:gd name="connsiteY40" fmla="*/ 707923 h 737419"/>
                  <a:gd name="connsiteX41" fmla="*/ 516194 w 796412"/>
                  <a:gd name="connsiteY41" fmla="*/ 707923 h 737419"/>
                  <a:gd name="connsiteX42" fmla="*/ 516194 w 796412"/>
                  <a:gd name="connsiteY42" fmla="*/ 516194 h 737419"/>
                  <a:gd name="connsiteX43" fmla="*/ 280219 w 796412"/>
                  <a:gd name="connsiteY43" fmla="*/ 516194 h 737419"/>
                  <a:gd name="connsiteX44" fmla="*/ 280219 w 796412"/>
                  <a:gd name="connsiteY44" fmla="*/ 707923 h 737419"/>
                  <a:gd name="connsiteX45" fmla="*/ 221226 w 796412"/>
                  <a:gd name="connsiteY45" fmla="*/ 707923 h 737419"/>
                  <a:gd name="connsiteX46" fmla="*/ 221226 w 796412"/>
                  <a:gd name="connsiteY46" fmla="*/ 147484 h 737419"/>
                  <a:gd name="connsiteX47" fmla="*/ 412955 w 796412"/>
                  <a:gd name="connsiteY47" fmla="*/ 545690 h 737419"/>
                  <a:gd name="connsiteX48" fmla="*/ 486697 w 796412"/>
                  <a:gd name="connsiteY48" fmla="*/ 545690 h 737419"/>
                  <a:gd name="connsiteX49" fmla="*/ 486697 w 796412"/>
                  <a:gd name="connsiteY49" fmla="*/ 707923 h 737419"/>
                  <a:gd name="connsiteX50" fmla="*/ 412955 w 796412"/>
                  <a:gd name="connsiteY50" fmla="*/ 707923 h 737419"/>
                  <a:gd name="connsiteX51" fmla="*/ 412955 w 796412"/>
                  <a:gd name="connsiteY51" fmla="*/ 545690 h 737419"/>
                  <a:gd name="connsiteX52" fmla="*/ 383458 w 796412"/>
                  <a:gd name="connsiteY52" fmla="*/ 707923 h 737419"/>
                  <a:gd name="connsiteX53" fmla="*/ 309716 w 796412"/>
                  <a:gd name="connsiteY53" fmla="*/ 707923 h 737419"/>
                  <a:gd name="connsiteX54" fmla="*/ 309716 w 796412"/>
                  <a:gd name="connsiteY54" fmla="*/ 545690 h 737419"/>
                  <a:gd name="connsiteX55" fmla="*/ 383458 w 796412"/>
                  <a:gd name="connsiteY55" fmla="*/ 545690 h 737419"/>
                  <a:gd name="connsiteX56" fmla="*/ 383458 w 796412"/>
                  <a:gd name="connsiteY56" fmla="*/ 707923 h 737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96412" h="737419">
                    <a:moveTo>
                      <a:pt x="766916" y="353961"/>
                    </a:moveTo>
                    <a:lnTo>
                      <a:pt x="737419" y="353961"/>
                    </a:lnTo>
                    <a:lnTo>
                      <a:pt x="737419" y="707923"/>
                    </a:lnTo>
                    <a:lnTo>
                      <a:pt x="604684" y="707923"/>
                    </a:lnTo>
                    <a:lnTo>
                      <a:pt x="604684" y="147484"/>
                    </a:lnTo>
                    <a:lnTo>
                      <a:pt x="663677" y="147484"/>
                    </a:lnTo>
                    <a:lnTo>
                      <a:pt x="663677" y="117987"/>
                    </a:lnTo>
                    <a:lnTo>
                      <a:pt x="604684" y="117987"/>
                    </a:lnTo>
                    <a:lnTo>
                      <a:pt x="604684" y="0"/>
                    </a:lnTo>
                    <a:lnTo>
                      <a:pt x="501445" y="0"/>
                    </a:lnTo>
                    <a:lnTo>
                      <a:pt x="501445" y="29497"/>
                    </a:lnTo>
                    <a:lnTo>
                      <a:pt x="575187" y="29497"/>
                    </a:lnTo>
                    <a:lnTo>
                      <a:pt x="575187" y="58994"/>
                    </a:lnTo>
                    <a:lnTo>
                      <a:pt x="221226" y="58994"/>
                    </a:lnTo>
                    <a:lnTo>
                      <a:pt x="221226" y="29497"/>
                    </a:lnTo>
                    <a:lnTo>
                      <a:pt x="294968" y="29497"/>
                    </a:lnTo>
                    <a:lnTo>
                      <a:pt x="294968" y="0"/>
                    </a:lnTo>
                    <a:lnTo>
                      <a:pt x="191729" y="0"/>
                    </a:lnTo>
                    <a:lnTo>
                      <a:pt x="191729" y="117987"/>
                    </a:lnTo>
                    <a:lnTo>
                      <a:pt x="132735" y="117987"/>
                    </a:lnTo>
                    <a:lnTo>
                      <a:pt x="132735" y="147484"/>
                    </a:lnTo>
                    <a:lnTo>
                      <a:pt x="191729" y="147484"/>
                    </a:lnTo>
                    <a:lnTo>
                      <a:pt x="191729" y="707923"/>
                    </a:lnTo>
                    <a:lnTo>
                      <a:pt x="58994" y="707923"/>
                    </a:lnTo>
                    <a:lnTo>
                      <a:pt x="58994" y="353961"/>
                    </a:lnTo>
                    <a:lnTo>
                      <a:pt x="29497" y="353961"/>
                    </a:lnTo>
                    <a:lnTo>
                      <a:pt x="29497" y="707923"/>
                    </a:lnTo>
                    <a:lnTo>
                      <a:pt x="0" y="707923"/>
                    </a:lnTo>
                    <a:lnTo>
                      <a:pt x="0" y="737419"/>
                    </a:lnTo>
                    <a:lnTo>
                      <a:pt x="796413" y="737419"/>
                    </a:lnTo>
                    <a:lnTo>
                      <a:pt x="796413" y="707923"/>
                    </a:lnTo>
                    <a:lnTo>
                      <a:pt x="766916" y="707923"/>
                    </a:lnTo>
                    <a:lnTo>
                      <a:pt x="766916" y="353961"/>
                    </a:lnTo>
                    <a:close/>
                    <a:moveTo>
                      <a:pt x="221226" y="88490"/>
                    </a:moveTo>
                    <a:lnTo>
                      <a:pt x="575187" y="88490"/>
                    </a:lnTo>
                    <a:lnTo>
                      <a:pt x="575187" y="117987"/>
                    </a:lnTo>
                    <a:lnTo>
                      <a:pt x="221226" y="117987"/>
                    </a:lnTo>
                    <a:lnTo>
                      <a:pt x="221226" y="88490"/>
                    </a:lnTo>
                    <a:close/>
                    <a:moveTo>
                      <a:pt x="221226" y="147484"/>
                    </a:moveTo>
                    <a:lnTo>
                      <a:pt x="575187" y="147484"/>
                    </a:lnTo>
                    <a:lnTo>
                      <a:pt x="575187" y="707923"/>
                    </a:lnTo>
                    <a:lnTo>
                      <a:pt x="516194" y="707923"/>
                    </a:lnTo>
                    <a:lnTo>
                      <a:pt x="516194" y="516194"/>
                    </a:lnTo>
                    <a:lnTo>
                      <a:pt x="280219" y="516194"/>
                    </a:lnTo>
                    <a:lnTo>
                      <a:pt x="280219" y="707923"/>
                    </a:lnTo>
                    <a:lnTo>
                      <a:pt x="221226" y="707923"/>
                    </a:lnTo>
                    <a:lnTo>
                      <a:pt x="221226" y="147484"/>
                    </a:lnTo>
                    <a:close/>
                    <a:moveTo>
                      <a:pt x="412955" y="545690"/>
                    </a:moveTo>
                    <a:lnTo>
                      <a:pt x="486697" y="545690"/>
                    </a:lnTo>
                    <a:lnTo>
                      <a:pt x="486697" y="707923"/>
                    </a:lnTo>
                    <a:lnTo>
                      <a:pt x="412955" y="707923"/>
                    </a:lnTo>
                    <a:lnTo>
                      <a:pt x="412955" y="545690"/>
                    </a:lnTo>
                    <a:close/>
                    <a:moveTo>
                      <a:pt x="383458" y="707923"/>
                    </a:moveTo>
                    <a:lnTo>
                      <a:pt x="309716" y="707923"/>
                    </a:lnTo>
                    <a:lnTo>
                      <a:pt x="309716" y="545690"/>
                    </a:lnTo>
                    <a:lnTo>
                      <a:pt x="383458" y="545690"/>
                    </a:lnTo>
                    <a:lnTo>
                      <a:pt x="383458" y="707923"/>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41" name="Freeform: Shape 140">
                <a:extLst>
                  <a:ext uri="{FF2B5EF4-FFF2-40B4-BE49-F238E27FC236}">
                    <a16:creationId xmlns:a16="http://schemas.microsoft.com/office/drawing/2014/main" id="{006B841E-112F-0055-1006-D93A949C45B9}"/>
                  </a:ext>
                </a:extLst>
              </p:cNvPr>
              <p:cNvSpPr/>
              <p:nvPr/>
            </p:nvSpPr>
            <p:spPr>
              <a:xfrm>
                <a:off x="1767406" y="2108362"/>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42" name="Freeform: Shape 141">
                <a:extLst>
                  <a:ext uri="{FF2B5EF4-FFF2-40B4-BE49-F238E27FC236}">
                    <a16:creationId xmlns:a16="http://schemas.microsoft.com/office/drawing/2014/main" id="{FC731787-3BCA-AE0D-8577-E3ADC67E8091}"/>
                  </a:ext>
                </a:extLst>
              </p:cNvPr>
              <p:cNvSpPr/>
              <p:nvPr/>
            </p:nvSpPr>
            <p:spPr>
              <a:xfrm>
                <a:off x="1767406" y="2167355"/>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43" name="Freeform: Shape 142">
                <a:extLst>
                  <a:ext uri="{FF2B5EF4-FFF2-40B4-BE49-F238E27FC236}">
                    <a16:creationId xmlns:a16="http://schemas.microsoft.com/office/drawing/2014/main" id="{6057134C-E111-39B2-3F48-399C98221E0D}"/>
                  </a:ext>
                </a:extLst>
              </p:cNvPr>
              <p:cNvSpPr/>
              <p:nvPr/>
            </p:nvSpPr>
            <p:spPr>
              <a:xfrm>
                <a:off x="1767406" y="2226349"/>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44" name="Freeform: Shape 143">
                <a:extLst>
                  <a:ext uri="{FF2B5EF4-FFF2-40B4-BE49-F238E27FC236}">
                    <a16:creationId xmlns:a16="http://schemas.microsoft.com/office/drawing/2014/main" id="{EBCDA4BE-D06F-F2A7-6394-315E5179DC3A}"/>
                  </a:ext>
                </a:extLst>
              </p:cNvPr>
              <p:cNvSpPr/>
              <p:nvPr/>
            </p:nvSpPr>
            <p:spPr>
              <a:xfrm>
                <a:off x="1221715" y="2108362"/>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45" name="Freeform: Shape 144">
                <a:extLst>
                  <a:ext uri="{FF2B5EF4-FFF2-40B4-BE49-F238E27FC236}">
                    <a16:creationId xmlns:a16="http://schemas.microsoft.com/office/drawing/2014/main" id="{CF458ACE-1833-F42A-C4F3-735F410D0C3C}"/>
                  </a:ext>
                </a:extLst>
              </p:cNvPr>
              <p:cNvSpPr/>
              <p:nvPr/>
            </p:nvSpPr>
            <p:spPr>
              <a:xfrm>
                <a:off x="1221715" y="2167355"/>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46" name="Freeform: Shape 145">
                <a:extLst>
                  <a:ext uri="{FF2B5EF4-FFF2-40B4-BE49-F238E27FC236}">
                    <a16:creationId xmlns:a16="http://schemas.microsoft.com/office/drawing/2014/main" id="{AD0D7F17-F16E-6CBA-0A92-C45EF37070AB}"/>
                  </a:ext>
                </a:extLst>
              </p:cNvPr>
              <p:cNvSpPr/>
              <p:nvPr/>
            </p:nvSpPr>
            <p:spPr>
              <a:xfrm>
                <a:off x="1221715" y="2226349"/>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47" name="Freeform: Shape 146">
                <a:extLst>
                  <a:ext uri="{FF2B5EF4-FFF2-40B4-BE49-F238E27FC236}">
                    <a16:creationId xmlns:a16="http://schemas.microsoft.com/office/drawing/2014/main" id="{C238211B-D96F-09E0-F65D-6A583A6346BF}"/>
                  </a:ext>
                </a:extLst>
              </p:cNvPr>
              <p:cNvSpPr/>
              <p:nvPr/>
            </p:nvSpPr>
            <p:spPr>
              <a:xfrm>
                <a:off x="1074232" y="2300091"/>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48" name="Freeform: Shape 147">
                <a:extLst>
                  <a:ext uri="{FF2B5EF4-FFF2-40B4-BE49-F238E27FC236}">
                    <a16:creationId xmlns:a16="http://schemas.microsoft.com/office/drawing/2014/main" id="{29958C88-1FDB-E3B2-3916-E986544A7428}"/>
                  </a:ext>
                </a:extLst>
              </p:cNvPr>
              <p:cNvSpPr/>
              <p:nvPr/>
            </p:nvSpPr>
            <p:spPr>
              <a:xfrm>
                <a:off x="1959135" y="2300091"/>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grpSp>
            <p:nvGrpSpPr>
              <p:cNvPr id="149" name="Graphic 9">
                <a:extLst>
                  <a:ext uri="{FF2B5EF4-FFF2-40B4-BE49-F238E27FC236}">
                    <a16:creationId xmlns:a16="http://schemas.microsoft.com/office/drawing/2014/main" id="{B4B75E7D-34AB-6EAE-D5EC-3A8A4180AE92}"/>
                  </a:ext>
                </a:extLst>
              </p:cNvPr>
              <p:cNvGrpSpPr/>
              <p:nvPr/>
            </p:nvGrpSpPr>
            <p:grpSpPr>
              <a:xfrm>
                <a:off x="1118477" y="1415188"/>
                <a:ext cx="825909" cy="530941"/>
                <a:chOff x="1118477" y="1415188"/>
                <a:chExt cx="825909" cy="530941"/>
              </a:xfrm>
              <a:grpFill/>
            </p:grpSpPr>
            <p:sp>
              <p:nvSpPr>
                <p:cNvPr id="167" name="Freeform: Shape 166">
                  <a:extLst>
                    <a:ext uri="{FF2B5EF4-FFF2-40B4-BE49-F238E27FC236}">
                      <a16:creationId xmlns:a16="http://schemas.microsoft.com/office/drawing/2014/main" id="{10092414-CA56-947C-FD08-032F6632BDFC}"/>
                    </a:ext>
                  </a:extLst>
                </p:cNvPr>
                <p:cNvSpPr/>
                <p:nvPr/>
              </p:nvSpPr>
              <p:spPr>
                <a:xfrm>
                  <a:off x="1398696" y="1415188"/>
                  <a:ext cx="265470" cy="265470"/>
                </a:xfrm>
                <a:custGeom>
                  <a:avLst/>
                  <a:gdLst>
                    <a:gd name="connsiteX0" fmla="*/ 132735 w 265470"/>
                    <a:gd name="connsiteY0" fmla="*/ 265471 h 265470"/>
                    <a:gd name="connsiteX1" fmla="*/ 0 w 265470"/>
                    <a:gd name="connsiteY1" fmla="*/ 132735 h 265470"/>
                    <a:gd name="connsiteX2" fmla="*/ 132735 w 265470"/>
                    <a:gd name="connsiteY2" fmla="*/ 0 h 265470"/>
                    <a:gd name="connsiteX3" fmla="*/ 265471 w 265470"/>
                    <a:gd name="connsiteY3" fmla="*/ 132735 h 265470"/>
                    <a:gd name="connsiteX4" fmla="*/ 132735 w 265470"/>
                    <a:gd name="connsiteY4" fmla="*/ 265471 h 265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470" h="265470">
                      <a:moveTo>
                        <a:pt x="132735" y="265471"/>
                      </a:moveTo>
                      <a:cubicBezTo>
                        <a:pt x="59539" y="265471"/>
                        <a:pt x="0" y="205932"/>
                        <a:pt x="0" y="132735"/>
                      </a:cubicBezTo>
                      <a:cubicBezTo>
                        <a:pt x="0" y="59539"/>
                        <a:pt x="59539" y="0"/>
                        <a:pt x="132735" y="0"/>
                      </a:cubicBezTo>
                      <a:cubicBezTo>
                        <a:pt x="205932" y="0"/>
                        <a:pt x="265471" y="59539"/>
                        <a:pt x="265471" y="132735"/>
                      </a:cubicBezTo>
                      <a:cubicBezTo>
                        <a:pt x="265471" y="205932"/>
                        <a:pt x="205932" y="265471"/>
                        <a:pt x="132735" y="265471"/>
                      </a:cubicBezTo>
                      <a:close/>
                    </a:path>
                  </a:pathLst>
                </a:custGeom>
                <a:solidFill>
                  <a:srgbClr val="4AA19E"/>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68" name="Freeform: Shape 167">
                  <a:extLst>
                    <a:ext uri="{FF2B5EF4-FFF2-40B4-BE49-F238E27FC236}">
                      <a16:creationId xmlns:a16="http://schemas.microsoft.com/office/drawing/2014/main" id="{28F69181-C85F-CF42-9726-64F4850F18D5}"/>
                    </a:ext>
                  </a:extLst>
                </p:cNvPr>
                <p:cNvSpPr/>
                <p:nvPr/>
              </p:nvSpPr>
              <p:spPr>
                <a:xfrm>
                  <a:off x="1737909" y="1857639"/>
                  <a:ext cx="206477" cy="88490"/>
                </a:xfrm>
                <a:custGeom>
                  <a:avLst/>
                  <a:gdLst>
                    <a:gd name="connsiteX0" fmla="*/ 0 w 206477"/>
                    <a:gd name="connsiteY0" fmla="*/ 0 h 88490"/>
                    <a:gd name="connsiteX1" fmla="*/ 206477 w 206477"/>
                    <a:gd name="connsiteY1" fmla="*/ 0 h 88490"/>
                    <a:gd name="connsiteX2" fmla="*/ 206477 w 206477"/>
                    <a:gd name="connsiteY2" fmla="*/ 88490 h 88490"/>
                    <a:gd name="connsiteX3" fmla="*/ 0 w 206477"/>
                    <a:gd name="connsiteY3" fmla="*/ 88490 h 88490"/>
                  </a:gdLst>
                  <a:ahLst/>
                  <a:cxnLst>
                    <a:cxn ang="0">
                      <a:pos x="connsiteX0" y="connsiteY0"/>
                    </a:cxn>
                    <a:cxn ang="0">
                      <a:pos x="connsiteX1" y="connsiteY1"/>
                    </a:cxn>
                    <a:cxn ang="0">
                      <a:pos x="connsiteX2" y="connsiteY2"/>
                    </a:cxn>
                    <a:cxn ang="0">
                      <a:pos x="connsiteX3" y="connsiteY3"/>
                    </a:cxn>
                  </a:cxnLst>
                  <a:rect l="l" t="t" r="r" b="b"/>
                  <a:pathLst>
                    <a:path w="206477" h="88490">
                      <a:moveTo>
                        <a:pt x="0" y="0"/>
                      </a:moveTo>
                      <a:lnTo>
                        <a:pt x="206477" y="0"/>
                      </a:lnTo>
                      <a:lnTo>
                        <a:pt x="206477" y="88490"/>
                      </a:lnTo>
                      <a:lnTo>
                        <a:pt x="0" y="88490"/>
                      </a:lnTo>
                      <a:close/>
                    </a:path>
                  </a:pathLst>
                </a:custGeom>
                <a:solidFill>
                  <a:srgbClr val="4AA19E"/>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69" name="Freeform: Shape 168">
                  <a:extLst>
                    <a:ext uri="{FF2B5EF4-FFF2-40B4-BE49-F238E27FC236}">
                      <a16:creationId xmlns:a16="http://schemas.microsoft.com/office/drawing/2014/main" id="{9D62F9EA-446C-3E66-0148-40FB7CC794B9}"/>
                    </a:ext>
                  </a:extLst>
                </p:cNvPr>
                <p:cNvSpPr/>
                <p:nvPr/>
              </p:nvSpPr>
              <p:spPr>
                <a:xfrm>
                  <a:off x="1118477" y="1857639"/>
                  <a:ext cx="206477" cy="88490"/>
                </a:xfrm>
                <a:custGeom>
                  <a:avLst/>
                  <a:gdLst>
                    <a:gd name="connsiteX0" fmla="*/ 0 w 206477"/>
                    <a:gd name="connsiteY0" fmla="*/ 0 h 88490"/>
                    <a:gd name="connsiteX1" fmla="*/ 206477 w 206477"/>
                    <a:gd name="connsiteY1" fmla="*/ 0 h 88490"/>
                    <a:gd name="connsiteX2" fmla="*/ 206477 w 206477"/>
                    <a:gd name="connsiteY2" fmla="*/ 88490 h 88490"/>
                    <a:gd name="connsiteX3" fmla="*/ 0 w 206477"/>
                    <a:gd name="connsiteY3" fmla="*/ 88490 h 88490"/>
                  </a:gdLst>
                  <a:ahLst/>
                  <a:cxnLst>
                    <a:cxn ang="0">
                      <a:pos x="connsiteX0" y="connsiteY0"/>
                    </a:cxn>
                    <a:cxn ang="0">
                      <a:pos x="connsiteX1" y="connsiteY1"/>
                    </a:cxn>
                    <a:cxn ang="0">
                      <a:pos x="connsiteX2" y="connsiteY2"/>
                    </a:cxn>
                    <a:cxn ang="0">
                      <a:pos x="connsiteX3" y="connsiteY3"/>
                    </a:cxn>
                  </a:cxnLst>
                  <a:rect l="l" t="t" r="r" b="b"/>
                  <a:pathLst>
                    <a:path w="206477" h="88490">
                      <a:moveTo>
                        <a:pt x="0" y="0"/>
                      </a:moveTo>
                      <a:lnTo>
                        <a:pt x="206477" y="0"/>
                      </a:lnTo>
                      <a:lnTo>
                        <a:pt x="206477" y="88490"/>
                      </a:lnTo>
                      <a:lnTo>
                        <a:pt x="0" y="88490"/>
                      </a:lnTo>
                      <a:close/>
                    </a:path>
                  </a:pathLst>
                </a:custGeom>
                <a:solidFill>
                  <a:srgbClr val="4AA19E"/>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grpSp>
          <p:sp>
            <p:nvSpPr>
              <p:cNvPr id="150" name="Freeform: Shape 149">
                <a:extLst>
                  <a:ext uri="{FF2B5EF4-FFF2-40B4-BE49-F238E27FC236}">
                    <a16:creationId xmlns:a16="http://schemas.microsoft.com/office/drawing/2014/main" id="{9581215C-B0EF-7913-8782-2C484C36BE35}"/>
                  </a:ext>
                </a:extLst>
              </p:cNvPr>
              <p:cNvSpPr/>
              <p:nvPr/>
            </p:nvSpPr>
            <p:spPr>
              <a:xfrm>
                <a:off x="1457690" y="1474181"/>
                <a:ext cx="147483" cy="147483"/>
              </a:xfrm>
              <a:custGeom>
                <a:avLst/>
                <a:gdLst>
                  <a:gd name="connsiteX0" fmla="*/ 147484 w 147483"/>
                  <a:gd name="connsiteY0" fmla="*/ 58994 h 147483"/>
                  <a:gd name="connsiteX1" fmla="*/ 88490 w 147483"/>
                  <a:gd name="connsiteY1" fmla="*/ 58994 h 147483"/>
                  <a:gd name="connsiteX2" fmla="*/ 88490 w 147483"/>
                  <a:gd name="connsiteY2" fmla="*/ 0 h 147483"/>
                  <a:gd name="connsiteX3" fmla="*/ 58994 w 147483"/>
                  <a:gd name="connsiteY3" fmla="*/ 0 h 147483"/>
                  <a:gd name="connsiteX4" fmla="*/ 58994 w 147483"/>
                  <a:gd name="connsiteY4" fmla="*/ 58994 h 147483"/>
                  <a:gd name="connsiteX5" fmla="*/ 0 w 147483"/>
                  <a:gd name="connsiteY5" fmla="*/ 58994 h 147483"/>
                  <a:gd name="connsiteX6" fmla="*/ 0 w 147483"/>
                  <a:gd name="connsiteY6" fmla="*/ 88490 h 147483"/>
                  <a:gd name="connsiteX7" fmla="*/ 58994 w 147483"/>
                  <a:gd name="connsiteY7" fmla="*/ 88490 h 147483"/>
                  <a:gd name="connsiteX8" fmla="*/ 58994 w 147483"/>
                  <a:gd name="connsiteY8" fmla="*/ 147484 h 147483"/>
                  <a:gd name="connsiteX9" fmla="*/ 88490 w 147483"/>
                  <a:gd name="connsiteY9" fmla="*/ 147484 h 147483"/>
                  <a:gd name="connsiteX10" fmla="*/ 88490 w 147483"/>
                  <a:gd name="connsiteY10" fmla="*/ 88490 h 147483"/>
                  <a:gd name="connsiteX11" fmla="*/ 147484 w 147483"/>
                  <a:gd name="connsiteY11" fmla="*/ 88490 h 14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483" h="147483">
                    <a:moveTo>
                      <a:pt x="147484" y="58994"/>
                    </a:moveTo>
                    <a:lnTo>
                      <a:pt x="88490" y="58994"/>
                    </a:lnTo>
                    <a:lnTo>
                      <a:pt x="88490" y="0"/>
                    </a:lnTo>
                    <a:lnTo>
                      <a:pt x="58994" y="0"/>
                    </a:lnTo>
                    <a:lnTo>
                      <a:pt x="58994" y="58994"/>
                    </a:lnTo>
                    <a:lnTo>
                      <a:pt x="0" y="58994"/>
                    </a:lnTo>
                    <a:lnTo>
                      <a:pt x="0" y="88490"/>
                    </a:lnTo>
                    <a:lnTo>
                      <a:pt x="58994" y="88490"/>
                    </a:lnTo>
                    <a:lnTo>
                      <a:pt x="58994" y="147484"/>
                    </a:lnTo>
                    <a:lnTo>
                      <a:pt x="88490" y="147484"/>
                    </a:lnTo>
                    <a:lnTo>
                      <a:pt x="88490" y="88490"/>
                    </a:lnTo>
                    <a:lnTo>
                      <a:pt x="147484" y="88490"/>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51" name="Freeform: Shape 150">
                <a:extLst>
                  <a:ext uri="{FF2B5EF4-FFF2-40B4-BE49-F238E27FC236}">
                    <a16:creationId xmlns:a16="http://schemas.microsoft.com/office/drawing/2014/main" id="{A8D1B776-3A28-3B96-2A52-95F55A7805C8}"/>
                  </a:ext>
                </a:extLst>
              </p:cNvPr>
              <p:cNvSpPr/>
              <p:nvPr/>
            </p:nvSpPr>
            <p:spPr>
              <a:xfrm>
                <a:off x="1767406" y="1990375"/>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52" name="Freeform: Shape 151">
                <a:extLst>
                  <a:ext uri="{FF2B5EF4-FFF2-40B4-BE49-F238E27FC236}">
                    <a16:creationId xmlns:a16="http://schemas.microsoft.com/office/drawing/2014/main" id="{05396466-918E-A958-3CDA-FE48750946F1}"/>
                  </a:ext>
                </a:extLst>
              </p:cNvPr>
              <p:cNvSpPr/>
              <p:nvPr/>
            </p:nvSpPr>
            <p:spPr>
              <a:xfrm>
                <a:off x="1767406" y="2049368"/>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53" name="Freeform: Shape 152">
                <a:extLst>
                  <a:ext uri="{FF2B5EF4-FFF2-40B4-BE49-F238E27FC236}">
                    <a16:creationId xmlns:a16="http://schemas.microsoft.com/office/drawing/2014/main" id="{279FB5E6-F3DE-F61D-DEB7-CF5BC6DB026F}"/>
                  </a:ext>
                </a:extLst>
              </p:cNvPr>
              <p:cNvSpPr/>
              <p:nvPr/>
            </p:nvSpPr>
            <p:spPr>
              <a:xfrm>
                <a:off x="1221715" y="1990375"/>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54" name="Freeform: Shape 153">
                <a:extLst>
                  <a:ext uri="{FF2B5EF4-FFF2-40B4-BE49-F238E27FC236}">
                    <a16:creationId xmlns:a16="http://schemas.microsoft.com/office/drawing/2014/main" id="{F5A91556-07E4-73C1-B1CB-EF38C2987739}"/>
                  </a:ext>
                </a:extLst>
              </p:cNvPr>
              <p:cNvSpPr/>
              <p:nvPr/>
            </p:nvSpPr>
            <p:spPr>
              <a:xfrm>
                <a:off x="1221715" y="2049368"/>
                <a:ext cx="73741" cy="29496"/>
              </a:xfrm>
              <a:custGeom>
                <a:avLst/>
                <a:gdLst>
                  <a:gd name="connsiteX0" fmla="*/ 0 w 73741"/>
                  <a:gd name="connsiteY0" fmla="*/ 0 h 29496"/>
                  <a:gd name="connsiteX1" fmla="*/ 73742 w 73741"/>
                  <a:gd name="connsiteY1" fmla="*/ 0 h 29496"/>
                  <a:gd name="connsiteX2" fmla="*/ 73742 w 73741"/>
                  <a:gd name="connsiteY2" fmla="*/ 29497 h 29496"/>
                  <a:gd name="connsiteX3" fmla="*/ 0 w 73741"/>
                  <a:gd name="connsiteY3" fmla="*/ 29497 h 29496"/>
                </a:gdLst>
                <a:ahLst/>
                <a:cxnLst>
                  <a:cxn ang="0">
                    <a:pos x="connsiteX0" y="connsiteY0"/>
                  </a:cxn>
                  <a:cxn ang="0">
                    <a:pos x="connsiteX1" y="connsiteY1"/>
                  </a:cxn>
                  <a:cxn ang="0">
                    <a:pos x="connsiteX2" y="connsiteY2"/>
                  </a:cxn>
                  <a:cxn ang="0">
                    <a:pos x="connsiteX3" y="connsiteY3"/>
                  </a:cxn>
                </a:cxnLst>
                <a:rect l="l" t="t" r="r" b="b"/>
                <a:pathLst>
                  <a:path w="73741" h="29496">
                    <a:moveTo>
                      <a:pt x="0" y="0"/>
                    </a:moveTo>
                    <a:lnTo>
                      <a:pt x="73742" y="0"/>
                    </a:lnTo>
                    <a:lnTo>
                      <a:pt x="73742"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55" name="Freeform: Shape 154">
                <a:extLst>
                  <a:ext uri="{FF2B5EF4-FFF2-40B4-BE49-F238E27FC236}">
                    <a16:creationId xmlns:a16="http://schemas.microsoft.com/office/drawing/2014/main" id="{ADEC63EB-643D-2A0D-1DBF-00412B22D96A}"/>
                  </a:ext>
                </a:extLst>
              </p:cNvPr>
              <p:cNvSpPr/>
              <p:nvPr/>
            </p:nvSpPr>
            <p:spPr>
              <a:xfrm>
                <a:off x="1413444" y="1798646"/>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56" name="Freeform: Shape 155">
                <a:extLst>
                  <a:ext uri="{FF2B5EF4-FFF2-40B4-BE49-F238E27FC236}">
                    <a16:creationId xmlns:a16="http://schemas.microsoft.com/office/drawing/2014/main" id="{9E920B56-32A4-2057-FFBE-690F8CFFDF03}"/>
                  </a:ext>
                </a:extLst>
              </p:cNvPr>
              <p:cNvSpPr/>
              <p:nvPr/>
            </p:nvSpPr>
            <p:spPr>
              <a:xfrm>
                <a:off x="1413444" y="1872388"/>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57" name="Freeform: Shape 156">
                <a:extLst>
                  <a:ext uri="{FF2B5EF4-FFF2-40B4-BE49-F238E27FC236}">
                    <a16:creationId xmlns:a16="http://schemas.microsoft.com/office/drawing/2014/main" id="{A3E564D0-9C51-C3E5-872D-53F8432A925A}"/>
                  </a:ext>
                </a:extLst>
              </p:cNvPr>
              <p:cNvSpPr/>
              <p:nvPr/>
            </p:nvSpPr>
            <p:spPr>
              <a:xfrm>
                <a:off x="1413444" y="1946129"/>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58" name="Freeform: Shape 157">
                <a:extLst>
                  <a:ext uri="{FF2B5EF4-FFF2-40B4-BE49-F238E27FC236}">
                    <a16:creationId xmlns:a16="http://schemas.microsoft.com/office/drawing/2014/main" id="{99F87263-34C3-1F58-9770-A915C2C7412A}"/>
                  </a:ext>
                </a:extLst>
              </p:cNvPr>
              <p:cNvSpPr/>
              <p:nvPr/>
            </p:nvSpPr>
            <p:spPr>
              <a:xfrm>
                <a:off x="1413444" y="2019871"/>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59" name="Freeform: Shape 158">
                <a:extLst>
                  <a:ext uri="{FF2B5EF4-FFF2-40B4-BE49-F238E27FC236}">
                    <a16:creationId xmlns:a16="http://schemas.microsoft.com/office/drawing/2014/main" id="{1D57FEAF-1D1E-B2BC-E241-13DE7260B662}"/>
                  </a:ext>
                </a:extLst>
              </p:cNvPr>
              <p:cNvSpPr/>
              <p:nvPr/>
            </p:nvSpPr>
            <p:spPr>
              <a:xfrm>
                <a:off x="1516683" y="1798646"/>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60" name="Freeform: Shape 159">
                <a:extLst>
                  <a:ext uri="{FF2B5EF4-FFF2-40B4-BE49-F238E27FC236}">
                    <a16:creationId xmlns:a16="http://schemas.microsoft.com/office/drawing/2014/main" id="{933B6C6D-680E-432B-6C40-8C725A19EE2A}"/>
                  </a:ext>
                </a:extLst>
              </p:cNvPr>
              <p:cNvSpPr/>
              <p:nvPr/>
            </p:nvSpPr>
            <p:spPr>
              <a:xfrm>
                <a:off x="1516683" y="1872388"/>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61" name="Freeform: Shape 160">
                <a:extLst>
                  <a:ext uri="{FF2B5EF4-FFF2-40B4-BE49-F238E27FC236}">
                    <a16:creationId xmlns:a16="http://schemas.microsoft.com/office/drawing/2014/main" id="{EFF562EA-BC50-E35C-FBE7-4AB7B06BC2EA}"/>
                  </a:ext>
                </a:extLst>
              </p:cNvPr>
              <p:cNvSpPr/>
              <p:nvPr/>
            </p:nvSpPr>
            <p:spPr>
              <a:xfrm>
                <a:off x="1516683" y="1946129"/>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62" name="Freeform: Shape 161">
                <a:extLst>
                  <a:ext uri="{FF2B5EF4-FFF2-40B4-BE49-F238E27FC236}">
                    <a16:creationId xmlns:a16="http://schemas.microsoft.com/office/drawing/2014/main" id="{37D6B3C5-ECF0-6727-9EA2-06AAA53E5A8F}"/>
                  </a:ext>
                </a:extLst>
              </p:cNvPr>
              <p:cNvSpPr/>
              <p:nvPr/>
            </p:nvSpPr>
            <p:spPr>
              <a:xfrm>
                <a:off x="1516683" y="2019871"/>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63" name="Freeform: Shape 162">
                <a:extLst>
                  <a:ext uri="{FF2B5EF4-FFF2-40B4-BE49-F238E27FC236}">
                    <a16:creationId xmlns:a16="http://schemas.microsoft.com/office/drawing/2014/main" id="{DBA1333D-E86D-554D-5129-2FFBB1E2FE39}"/>
                  </a:ext>
                </a:extLst>
              </p:cNvPr>
              <p:cNvSpPr/>
              <p:nvPr/>
            </p:nvSpPr>
            <p:spPr>
              <a:xfrm>
                <a:off x="1619922" y="1798646"/>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64" name="Freeform: Shape 163">
                <a:extLst>
                  <a:ext uri="{FF2B5EF4-FFF2-40B4-BE49-F238E27FC236}">
                    <a16:creationId xmlns:a16="http://schemas.microsoft.com/office/drawing/2014/main" id="{FE851875-06DB-F259-98A1-7F6934CF442D}"/>
                  </a:ext>
                </a:extLst>
              </p:cNvPr>
              <p:cNvSpPr/>
              <p:nvPr/>
            </p:nvSpPr>
            <p:spPr>
              <a:xfrm>
                <a:off x="1619922" y="1872388"/>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65" name="Freeform: Shape 164">
                <a:extLst>
                  <a:ext uri="{FF2B5EF4-FFF2-40B4-BE49-F238E27FC236}">
                    <a16:creationId xmlns:a16="http://schemas.microsoft.com/office/drawing/2014/main" id="{BE52FCA9-A437-425B-A36C-EA81481FCEC0}"/>
                  </a:ext>
                </a:extLst>
              </p:cNvPr>
              <p:cNvSpPr/>
              <p:nvPr/>
            </p:nvSpPr>
            <p:spPr>
              <a:xfrm>
                <a:off x="1619922" y="1946129"/>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66" name="Freeform: Shape 165">
                <a:extLst>
                  <a:ext uri="{FF2B5EF4-FFF2-40B4-BE49-F238E27FC236}">
                    <a16:creationId xmlns:a16="http://schemas.microsoft.com/office/drawing/2014/main" id="{5C2C120E-E175-B45E-5135-4537B60A95D7}"/>
                  </a:ext>
                </a:extLst>
              </p:cNvPr>
              <p:cNvSpPr/>
              <p:nvPr/>
            </p:nvSpPr>
            <p:spPr>
              <a:xfrm>
                <a:off x="1619922" y="2019871"/>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grpSp>
        <p:grpSp>
          <p:nvGrpSpPr>
            <p:cNvPr id="96" name="Group 95">
              <a:extLst>
                <a:ext uri="{FF2B5EF4-FFF2-40B4-BE49-F238E27FC236}">
                  <a16:creationId xmlns:a16="http://schemas.microsoft.com/office/drawing/2014/main" id="{9D4ECDE2-10A5-F108-AB15-1610C0B58B5A}"/>
                </a:ext>
              </a:extLst>
            </p:cNvPr>
            <p:cNvGrpSpPr/>
            <p:nvPr/>
          </p:nvGrpSpPr>
          <p:grpSpPr>
            <a:xfrm>
              <a:off x="2319860" y="3201655"/>
              <a:ext cx="792943" cy="805912"/>
              <a:chOff x="3306350" y="1454778"/>
              <a:chExt cx="914399" cy="914399"/>
            </a:xfrm>
            <a:solidFill>
              <a:srgbClr val="112E38"/>
            </a:solidFill>
          </p:grpSpPr>
          <p:sp>
            <p:nvSpPr>
              <p:cNvPr id="129" name="Freeform: Shape 128">
                <a:extLst>
                  <a:ext uri="{FF2B5EF4-FFF2-40B4-BE49-F238E27FC236}">
                    <a16:creationId xmlns:a16="http://schemas.microsoft.com/office/drawing/2014/main" id="{3D20CB79-6C30-606D-C26A-0A74F5FFC8E8}"/>
                  </a:ext>
                </a:extLst>
              </p:cNvPr>
              <p:cNvSpPr/>
              <p:nvPr/>
            </p:nvSpPr>
            <p:spPr>
              <a:xfrm>
                <a:off x="3955279" y="2059461"/>
                <a:ext cx="176980" cy="221225"/>
              </a:xfrm>
              <a:custGeom>
                <a:avLst/>
                <a:gdLst>
                  <a:gd name="connsiteX0" fmla="*/ 0 w 176980"/>
                  <a:gd name="connsiteY0" fmla="*/ 0 h 221225"/>
                  <a:gd name="connsiteX1" fmla="*/ 0 w 176980"/>
                  <a:gd name="connsiteY1" fmla="*/ 58994 h 221225"/>
                  <a:gd name="connsiteX2" fmla="*/ 706 w 176980"/>
                  <a:gd name="connsiteY2" fmla="*/ 60117 h 221225"/>
                  <a:gd name="connsiteX3" fmla="*/ 103239 w 176980"/>
                  <a:gd name="connsiteY3" fmla="*/ 176981 h 221225"/>
                  <a:gd name="connsiteX4" fmla="*/ 97298 w 176980"/>
                  <a:gd name="connsiteY4" fmla="*/ 213794 h 221225"/>
                  <a:gd name="connsiteX5" fmla="*/ 101971 w 176980"/>
                  <a:gd name="connsiteY5" fmla="*/ 221226 h 221225"/>
                  <a:gd name="connsiteX6" fmla="*/ 176981 w 176980"/>
                  <a:gd name="connsiteY6" fmla="*/ 221226 h 221225"/>
                  <a:gd name="connsiteX7" fmla="*/ 176981 w 176980"/>
                  <a:gd name="connsiteY7" fmla="*/ 0 h 22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980" h="221225">
                    <a:moveTo>
                      <a:pt x="0" y="0"/>
                    </a:moveTo>
                    <a:lnTo>
                      <a:pt x="0" y="58994"/>
                    </a:lnTo>
                    <a:lnTo>
                      <a:pt x="706" y="60117"/>
                    </a:lnTo>
                    <a:cubicBezTo>
                      <a:pt x="58554" y="67707"/>
                      <a:pt x="103239" y="117073"/>
                      <a:pt x="103239" y="176981"/>
                    </a:cubicBezTo>
                    <a:cubicBezTo>
                      <a:pt x="103239" y="189842"/>
                      <a:pt x="101114" y="202200"/>
                      <a:pt x="97298" y="213794"/>
                    </a:cubicBezTo>
                    <a:lnTo>
                      <a:pt x="101971" y="221226"/>
                    </a:lnTo>
                    <a:lnTo>
                      <a:pt x="176981" y="221226"/>
                    </a:lnTo>
                    <a:lnTo>
                      <a:pt x="176981" y="0"/>
                    </a:lnTo>
                    <a:close/>
                  </a:path>
                </a:pathLst>
              </a:custGeom>
              <a:solidFill>
                <a:srgbClr val="4AA19E"/>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0" name="Freeform: Shape 129">
                <a:extLst>
                  <a:ext uri="{FF2B5EF4-FFF2-40B4-BE49-F238E27FC236}">
                    <a16:creationId xmlns:a16="http://schemas.microsoft.com/office/drawing/2014/main" id="{0DF9A1F9-BDF8-4C5A-7122-3B43D9BB9C9E}"/>
                  </a:ext>
                </a:extLst>
              </p:cNvPr>
              <p:cNvSpPr/>
              <p:nvPr/>
            </p:nvSpPr>
            <p:spPr>
              <a:xfrm>
                <a:off x="3381640" y="1454778"/>
                <a:ext cx="763819" cy="168821"/>
              </a:xfrm>
              <a:custGeom>
                <a:avLst/>
                <a:gdLst>
                  <a:gd name="connsiteX0" fmla="*/ 737419 w 763819"/>
                  <a:gd name="connsiteY0" fmla="*/ 168822 h 168821"/>
                  <a:gd name="connsiteX1" fmla="*/ 667761 w 763819"/>
                  <a:gd name="connsiteY1" fmla="*/ 29497 h 168821"/>
                  <a:gd name="connsiteX2" fmla="*/ 96059 w 763819"/>
                  <a:gd name="connsiteY2" fmla="*/ 29497 h 168821"/>
                  <a:gd name="connsiteX3" fmla="*/ 26400 w 763819"/>
                  <a:gd name="connsiteY3" fmla="*/ 168822 h 168821"/>
                  <a:gd name="connsiteX4" fmla="*/ 0 w 763819"/>
                  <a:gd name="connsiteY4" fmla="*/ 155643 h 168821"/>
                  <a:gd name="connsiteX5" fmla="*/ 77825 w 763819"/>
                  <a:gd name="connsiteY5" fmla="*/ 0 h 168821"/>
                  <a:gd name="connsiteX6" fmla="*/ 685994 w 763819"/>
                  <a:gd name="connsiteY6" fmla="*/ 0 h 168821"/>
                  <a:gd name="connsiteX7" fmla="*/ 763820 w 763819"/>
                  <a:gd name="connsiteY7" fmla="*/ 155643 h 16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19" h="168821">
                    <a:moveTo>
                      <a:pt x="737419" y="168822"/>
                    </a:moveTo>
                    <a:lnTo>
                      <a:pt x="667761" y="29497"/>
                    </a:lnTo>
                    <a:lnTo>
                      <a:pt x="96059" y="29497"/>
                    </a:lnTo>
                    <a:lnTo>
                      <a:pt x="26400" y="168822"/>
                    </a:lnTo>
                    <a:lnTo>
                      <a:pt x="0" y="155643"/>
                    </a:lnTo>
                    <a:lnTo>
                      <a:pt x="77825" y="0"/>
                    </a:lnTo>
                    <a:lnTo>
                      <a:pt x="685994" y="0"/>
                    </a:lnTo>
                    <a:lnTo>
                      <a:pt x="763820" y="155643"/>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1" name="Freeform: Shape 130">
                <a:extLst>
                  <a:ext uri="{FF2B5EF4-FFF2-40B4-BE49-F238E27FC236}">
                    <a16:creationId xmlns:a16="http://schemas.microsoft.com/office/drawing/2014/main" id="{04BFACAD-1229-9F10-ABF1-6AB4D80C22E4}"/>
                  </a:ext>
                </a:extLst>
              </p:cNvPr>
              <p:cNvSpPr/>
              <p:nvPr/>
            </p:nvSpPr>
            <p:spPr>
              <a:xfrm>
                <a:off x="3660311" y="1572765"/>
                <a:ext cx="206477" cy="206477"/>
              </a:xfrm>
              <a:custGeom>
                <a:avLst/>
                <a:gdLst>
                  <a:gd name="connsiteX0" fmla="*/ 147484 w 206477"/>
                  <a:gd name="connsiteY0" fmla="*/ 206477 h 206477"/>
                  <a:gd name="connsiteX1" fmla="*/ 58994 w 206477"/>
                  <a:gd name="connsiteY1" fmla="*/ 206477 h 206477"/>
                  <a:gd name="connsiteX2" fmla="*/ 58994 w 206477"/>
                  <a:gd name="connsiteY2" fmla="*/ 147484 h 206477"/>
                  <a:gd name="connsiteX3" fmla="*/ 0 w 206477"/>
                  <a:gd name="connsiteY3" fmla="*/ 147484 h 206477"/>
                  <a:gd name="connsiteX4" fmla="*/ 0 w 206477"/>
                  <a:gd name="connsiteY4" fmla="*/ 58994 h 206477"/>
                  <a:gd name="connsiteX5" fmla="*/ 58994 w 206477"/>
                  <a:gd name="connsiteY5" fmla="*/ 58994 h 206477"/>
                  <a:gd name="connsiteX6" fmla="*/ 58994 w 206477"/>
                  <a:gd name="connsiteY6" fmla="*/ 0 h 206477"/>
                  <a:gd name="connsiteX7" fmla="*/ 147484 w 206477"/>
                  <a:gd name="connsiteY7" fmla="*/ 0 h 206477"/>
                  <a:gd name="connsiteX8" fmla="*/ 147484 w 206477"/>
                  <a:gd name="connsiteY8" fmla="*/ 58994 h 206477"/>
                  <a:gd name="connsiteX9" fmla="*/ 206477 w 206477"/>
                  <a:gd name="connsiteY9" fmla="*/ 58994 h 206477"/>
                  <a:gd name="connsiteX10" fmla="*/ 206477 w 206477"/>
                  <a:gd name="connsiteY10" fmla="*/ 147484 h 206477"/>
                  <a:gd name="connsiteX11" fmla="*/ 147484 w 206477"/>
                  <a:gd name="connsiteY11" fmla="*/ 147484 h 206477"/>
                  <a:gd name="connsiteX12" fmla="*/ 88490 w 206477"/>
                  <a:gd name="connsiteY12" fmla="*/ 176981 h 206477"/>
                  <a:gd name="connsiteX13" fmla="*/ 117987 w 206477"/>
                  <a:gd name="connsiteY13" fmla="*/ 176981 h 206477"/>
                  <a:gd name="connsiteX14" fmla="*/ 117987 w 206477"/>
                  <a:gd name="connsiteY14" fmla="*/ 117987 h 206477"/>
                  <a:gd name="connsiteX15" fmla="*/ 176981 w 206477"/>
                  <a:gd name="connsiteY15" fmla="*/ 117987 h 206477"/>
                  <a:gd name="connsiteX16" fmla="*/ 176981 w 206477"/>
                  <a:gd name="connsiteY16" fmla="*/ 88490 h 206477"/>
                  <a:gd name="connsiteX17" fmla="*/ 117987 w 206477"/>
                  <a:gd name="connsiteY17" fmla="*/ 88490 h 206477"/>
                  <a:gd name="connsiteX18" fmla="*/ 117987 w 206477"/>
                  <a:gd name="connsiteY18" fmla="*/ 29497 h 206477"/>
                  <a:gd name="connsiteX19" fmla="*/ 88490 w 206477"/>
                  <a:gd name="connsiteY19" fmla="*/ 29497 h 206477"/>
                  <a:gd name="connsiteX20" fmla="*/ 88490 w 206477"/>
                  <a:gd name="connsiteY20" fmla="*/ 88490 h 206477"/>
                  <a:gd name="connsiteX21" fmla="*/ 29497 w 206477"/>
                  <a:gd name="connsiteY21" fmla="*/ 88490 h 206477"/>
                  <a:gd name="connsiteX22" fmla="*/ 29497 w 206477"/>
                  <a:gd name="connsiteY22" fmla="*/ 117987 h 206477"/>
                  <a:gd name="connsiteX23" fmla="*/ 88490 w 206477"/>
                  <a:gd name="connsiteY23" fmla="*/ 117987 h 20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6477" h="206477">
                    <a:moveTo>
                      <a:pt x="147484" y="206477"/>
                    </a:moveTo>
                    <a:lnTo>
                      <a:pt x="58994" y="206477"/>
                    </a:lnTo>
                    <a:lnTo>
                      <a:pt x="58994" y="147484"/>
                    </a:lnTo>
                    <a:lnTo>
                      <a:pt x="0" y="147484"/>
                    </a:lnTo>
                    <a:lnTo>
                      <a:pt x="0" y="58994"/>
                    </a:lnTo>
                    <a:lnTo>
                      <a:pt x="58994" y="58994"/>
                    </a:lnTo>
                    <a:lnTo>
                      <a:pt x="58994" y="0"/>
                    </a:lnTo>
                    <a:lnTo>
                      <a:pt x="147484" y="0"/>
                    </a:lnTo>
                    <a:lnTo>
                      <a:pt x="147484" y="58994"/>
                    </a:lnTo>
                    <a:lnTo>
                      <a:pt x="206477" y="58994"/>
                    </a:lnTo>
                    <a:lnTo>
                      <a:pt x="206477" y="147484"/>
                    </a:lnTo>
                    <a:lnTo>
                      <a:pt x="147484" y="147484"/>
                    </a:lnTo>
                    <a:close/>
                    <a:moveTo>
                      <a:pt x="88490" y="176981"/>
                    </a:moveTo>
                    <a:lnTo>
                      <a:pt x="117987" y="176981"/>
                    </a:lnTo>
                    <a:lnTo>
                      <a:pt x="117987" y="117987"/>
                    </a:lnTo>
                    <a:lnTo>
                      <a:pt x="176981" y="117987"/>
                    </a:lnTo>
                    <a:lnTo>
                      <a:pt x="176981" y="88490"/>
                    </a:lnTo>
                    <a:lnTo>
                      <a:pt x="117987" y="88490"/>
                    </a:lnTo>
                    <a:lnTo>
                      <a:pt x="117987" y="29497"/>
                    </a:lnTo>
                    <a:lnTo>
                      <a:pt x="88490" y="29497"/>
                    </a:lnTo>
                    <a:lnTo>
                      <a:pt x="88490" y="88490"/>
                    </a:lnTo>
                    <a:lnTo>
                      <a:pt x="29497" y="88490"/>
                    </a:lnTo>
                    <a:lnTo>
                      <a:pt x="29497" y="117987"/>
                    </a:lnTo>
                    <a:lnTo>
                      <a:pt x="88490" y="11798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2" name="Freeform: Shape 131">
                <a:extLst>
                  <a:ext uri="{FF2B5EF4-FFF2-40B4-BE49-F238E27FC236}">
                    <a16:creationId xmlns:a16="http://schemas.microsoft.com/office/drawing/2014/main" id="{AED04A1E-26C2-3532-FC17-73867265F743}"/>
                  </a:ext>
                </a:extLst>
              </p:cNvPr>
              <p:cNvSpPr/>
              <p:nvPr/>
            </p:nvSpPr>
            <p:spPr>
              <a:xfrm>
                <a:off x="3306350" y="1602261"/>
                <a:ext cx="351952" cy="176980"/>
              </a:xfrm>
              <a:custGeom>
                <a:avLst/>
                <a:gdLst>
                  <a:gd name="connsiteX0" fmla="*/ 309716 w 351952"/>
                  <a:gd name="connsiteY0" fmla="*/ 73742 h 176980"/>
                  <a:gd name="connsiteX1" fmla="*/ 329614 w 351952"/>
                  <a:gd name="connsiteY1" fmla="*/ 0 h 176980"/>
                  <a:gd name="connsiteX2" fmla="*/ 0 w 351952"/>
                  <a:gd name="connsiteY2" fmla="*/ 0 h 176980"/>
                  <a:gd name="connsiteX3" fmla="*/ 0 w 351952"/>
                  <a:gd name="connsiteY3" fmla="*/ 176981 h 176980"/>
                  <a:gd name="connsiteX4" fmla="*/ 351952 w 351952"/>
                  <a:gd name="connsiteY4" fmla="*/ 176981 h 176980"/>
                  <a:gd name="connsiteX5" fmla="*/ 309716 w 351952"/>
                  <a:gd name="connsiteY5" fmla="*/ 73742 h 17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952" h="176980">
                    <a:moveTo>
                      <a:pt x="309716" y="73742"/>
                    </a:moveTo>
                    <a:cubicBezTo>
                      <a:pt x="309716" y="46838"/>
                      <a:pt x="317033" y="21712"/>
                      <a:pt x="329614" y="0"/>
                    </a:cubicBezTo>
                    <a:lnTo>
                      <a:pt x="0" y="0"/>
                    </a:lnTo>
                    <a:lnTo>
                      <a:pt x="0" y="176981"/>
                    </a:lnTo>
                    <a:lnTo>
                      <a:pt x="351952" y="176981"/>
                    </a:lnTo>
                    <a:cubicBezTo>
                      <a:pt x="325854" y="150372"/>
                      <a:pt x="309716" y="113962"/>
                      <a:pt x="309716" y="73742"/>
                    </a:cubicBezTo>
                    <a:close/>
                  </a:path>
                </a:pathLst>
              </a:custGeom>
              <a:solidFill>
                <a:srgbClr val="4AA19E"/>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3" name="Freeform: Shape 132">
                <a:extLst>
                  <a:ext uri="{FF2B5EF4-FFF2-40B4-BE49-F238E27FC236}">
                    <a16:creationId xmlns:a16="http://schemas.microsoft.com/office/drawing/2014/main" id="{760840DA-F714-7701-32AC-97B2D71F2ABE}"/>
                  </a:ext>
                </a:extLst>
              </p:cNvPr>
              <p:cNvSpPr/>
              <p:nvPr/>
            </p:nvSpPr>
            <p:spPr>
              <a:xfrm>
                <a:off x="3868797" y="1602261"/>
                <a:ext cx="351952" cy="176980"/>
              </a:xfrm>
              <a:custGeom>
                <a:avLst/>
                <a:gdLst>
                  <a:gd name="connsiteX0" fmla="*/ 22339 w 351952"/>
                  <a:gd name="connsiteY0" fmla="*/ 0 h 176980"/>
                  <a:gd name="connsiteX1" fmla="*/ 42236 w 351952"/>
                  <a:gd name="connsiteY1" fmla="*/ 73742 h 176980"/>
                  <a:gd name="connsiteX2" fmla="*/ 0 w 351952"/>
                  <a:gd name="connsiteY2" fmla="*/ 176981 h 176980"/>
                  <a:gd name="connsiteX3" fmla="*/ 351952 w 351952"/>
                  <a:gd name="connsiteY3" fmla="*/ 176981 h 176980"/>
                  <a:gd name="connsiteX4" fmla="*/ 351952 w 351952"/>
                  <a:gd name="connsiteY4" fmla="*/ 0 h 176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952" h="176980">
                    <a:moveTo>
                      <a:pt x="22339" y="0"/>
                    </a:moveTo>
                    <a:cubicBezTo>
                      <a:pt x="34919" y="21712"/>
                      <a:pt x="42236" y="46838"/>
                      <a:pt x="42236" y="73742"/>
                    </a:cubicBezTo>
                    <a:cubicBezTo>
                      <a:pt x="42236" y="113962"/>
                      <a:pt x="26098" y="150372"/>
                      <a:pt x="0" y="176981"/>
                    </a:cubicBezTo>
                    <a:lnTo>
                      <a:pt x="351952" y="176981"/>
                    </a:lnTo>
                    <a:lnTo>
                      <a:pt x="351952" y="0"/>
                    </a:lnTo>
                    <a:close/>
                  </a:path>
                </a:pathLst>
              </a:custGeom>
              <a:solidFill>
                <a:srgbClr val="4AA19E"/>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4" name="Freeform: Shape 133">
                <a:extLst>
                  <a:ext uri="{FF2B5EF4-FFF2-40B4-BE49-F238E27FC236}">
                    <a16:creationId xmlns:a16="http://schemas.microsoft.com/office/drawing/2014/main" id="{21491511-82C6-D372-89EB-4ADF81232345}"/>
                  </a:ext>
                </a:extLst>
              </p:cNvPr>
              <p:cNvSpPr/>
              <p:nvPr/>
            </p:nvSpPr>
            <p:spPr>
              <a:xfrm>
                <a:off x="3306350" y="1661255"/>
                <a:ext cx="235974" cy="29496"/>
              </a:xfrm>
              <a:custGeom>
                <a:avLst/>
                <a:gdLst>
                  <a:gd name="connsiteX0" fmla="*/ 0 w 235974"/>
                  <a:gd name="connsiteY0" fmla="*/ 0 h 29496"/>
                  <a:gd name="connsiteX1" fmla="*/ 235974 w 235974"/>
                  <a:gd name="connsiteY1" fmla="*/ 0 h 29496"/>
                  <a:gd name="connsiteX2" fmla="*/ 235974 w 235974"/>
                  <a:gd name="connsiteY2" fmla="*/ 29497 h 29496"/>
                  <a:gd name="connsiteX3" fmla="*/ 0 w 235974"/>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35974" h="29496">
                    <a:moveTo>
                      <a:pt x="0" y="0"/>
                    </a:moveTo>
                    <a:lnTo>
                      <a:pt x="235974" y="0"/>
                    </a:lnTo>
                    <a:lnTo>
                      <a:pt x="235974"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5" name="Freeform: Shape 134">
                <a:extLst>
                  <a:ext uri="{FF2B5EF4-FFF2-40B4-BE49-F238E27FC236}">
                    <a16:creationId xmlns:a16="http://schemas.microsoft.com/office/drawing/2014/main" id="{FF048D59-1600-9725-A0A0-29ED84CF95BE}"/>
                  </a:ext>
                </a:extLst>
              </p:cNvPr>
              <p:cNvSpPr/>
              <p:nvPr/>
            </p:nvSpPr>
            <p:spPr>
              <a:xfrm>
                <a:off x="3984775" y="1661255"/>
                <a:ext cx="235974" cy="29496"/>
              </a:xfrm>
              <a:custGeom>
                <a:avLst/>
                <a:gdLst>
                  <a:gd name="connsiteX0" fmla="*/ 0 w 235974"/>
                  <a:gd name="connsiteY0" fmla="*/ 0 h 29496"/>
                  <a:gd name="connsiteX1" fmla="*/ 235974 w 235974"/>
                  <a:gd name="connsiteY1" fmla="*/ 0 h 29496"/>
                  <a:gd name="connsiteX2" fmla="*/ 235974 w 235974"/>
                  <a:gd name="connsiteY2" fmla="*/ 29497 h 29496"/>
                  <a:gd name="connsiteX3" fmla="*/ 0 w 235974"/>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35974" h="29496">
                    <a:moveTo>
                      <a:pt x="0" y="0"/>
                    </a:moveTo>
                    <a:lnTo>
                      <a:pt x="235974" y="0"/>
                    </a:lnTo>
                    <a:lnTo>
                      <a:pt x="235974"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6" name="Freeform: Shape 135">
                <a:extLst>
                  <a:ext uri="{FF2B5EF4-FFF2-40B4-BE49-F238E27FC236}">
                    <a16:creationId xmlns:a16="http://schemas.microsoft.com/office/drawing/2014/main" id="{CE9C626B-7682-38F1-ADAD-EEDE8502E239}"/>
                  </a:ext>
                </a:extLst>
              </p:cNvPr>
              <p:cNvSpPr/>
              <p:nvPr/>
            </p:nvSpPr>
            <p:spPr>
              <a:xfrm>
                <a:off x="3571820" y="1513771"/>
                <a:ext cx="383458" cy="324464"/>
              </a:xfrm>
              <a:custGeom>
                <a:avLst/>
                <a:gdLst>
                  <a:gd name="connsiteX0" fmla="*/ 383458 w 383458"/>
                  <a:gd name="connsiteY0" fmla="*/ 147484 h 324464"/>
                  <a:gd name="connsiteX1" fmla="*/ 353212 w 383458"/>
                  <a:gd name="connsiteY1" fmla="*/ 147484 h 324464"/>
                  <a:gd name="connsiteX2" fmla="*/ 191729 w 383458"/>
                  <a:gd name="connsiteY2" fmla="*/ 0 h 324464"/>
                  <a:gd name="connsiteX3" fmla="*/ 30246 w 383458"/>
                  <a:gd name="connsiteY3" fmla="*/ 147484 h 324464"/>
                  <a:gd name="connsiteX4" fmla="*/ 0 w 383458"/>
                  <a:gd name="connsiteY4" fmla="*/ 147484 h 324464"/>
                  <a:gd name="connsiteX5" fmla="*/ 0 w 383458"/>
                  <a:gd name="connsiteY5" fmla="*/ 176981 h 324464"/>
                  <a:gd name="connsiteX6" fmla="*/ 30246 w 383458"/>
                  <a:gd name="connsiteY6" fmla="*/ 176981 h 324464"/>
                  <a:gd name="connsiteX7" fmla="*/ 191729 w 383458"/>
                  <a:gd name="connsiteY7" fmla="*/ 324465 h 324464"/>
                  <a:gd name="connsiteX8" fmla="*/ 353212 w 383458"/>
                  <a:gd name="connsiteY8" fmla="*/ 176981 h 324464"/>
                  <a:gd name="connsiteX9" fmla="*/ 383458 w 383458"/>
                  <a:gd name="connsiteY9" fmla="*/ 176981 h 324464"/>
                  <a:gd name="connsiteX10" fmla="*/ 191729 w 383458"/>
                  <a:gd name="connsiteY10" fmla="*/ 294968 h 324464"/>
                  <a:gd name="connsiteX11" fmla="*/ 58994 w 383458"/>
                  <a:gd name="connsiteY11" fmla="*/ 162232 h 324464"/>
                  <a:gd name="connsiteX12" fmla="*/ 191729 w 383458"/>
                  <a:gd name="connsiteY12" fmla="*/ 29497 h 324464"/>
                  <a:gd name="connsiteX13" fmla="*/ 324465 w 383458"/>
                  <a:gd name="connsiteY13" fmla="*/ 162232 h 324464"/>
                  <a:gd name="connsiteX14" fmla="*/ 191729 w 383458"/>
                  <a:gd name="connsiteY14" fmla="*/ 294968 h 32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458" h="324464">
                    <a:moveTo>
                      <a:pt x="383458" y="147484"/>
                    </a:moveTo>
                    <a:lnTo>
                      <a:pt x="353212" y="147484"/>
                    </a:lnTo>
                    <a:cubicBezTo>
                      <a:pt x="345730" y="64920"/>
                      <a:pt x="276208" y="0"/>
                      <a:pt x="191729" y="0"/>
                    </a:cubicBezTo>
                    <a:cubicBezTo>
                      <a:pt x="107250" y="0"/>
                      <a:pt x="37728" y="64920"/>
                      <a:pt x="30246" y="147484"/>
                    </a:cubicBezTo>
                    <a:lnTo>
                      <a:pt x="0" y="147484"/>
                    </a:lnTo>
                    <a:lnTo>
                      <a:pt x="0" y="176981"/>
                    </a:lnTo>
                    <a:lnTo>
                      <a:pt x="30246" y="176981"/>
                    </a:lnTo>
                    <a:cubicBezTo>
                      <a:pt x="37728" y="259544"/>
                      <a:pt x="107250" y="324465"/>
                      <a:pt x="191729" y="324465"/>
                    </a:cubicBezTo>
                    <a:cubicBezTo>
                      <a:pt x="276208" y="324465"/>
                      <a:pt x="345730" y="259544"/>
                      <a:pt x="353212" y="176981"/>
                    </a:cubicBezTo>
                    <a:lnTo>
                      <a:pt x="383458" y="176981"/>
                    </a:lnTo>
                    <a:close/>
                    <a:moveTo>
                      <a:pt x="191729" y="294968"/>
                    </a:moveTo>
                    <a:cubicBezTo>
                      <a:pt x="118549" y="294968"/>
                      <a:pt x="58994" y="235412"/>
                      <a:pt x="58994" y="162232"/>
                    </a:cubicBezTo>
                    <a:cubicBezTo>
                      <a:pt x="58994" y="89052"/>
                      <a:pt x="118549" y="29497"/>
                      <a:pt x="191729" y="29497"/>
                    </a:cubicBezTo>
                    <a:cubicBezTo>
                      <a:pt x="264909" y="29497"/>
                      <a:pt x="324465" y="89052"/>
                      <a:pt x="324465" y="162232"/>
                    </a:cubicBezTo>
                    <a:cubicBezTo>
                      <a:pt x="324465" y="235412"/>
                      <a:pt x="264909" y="294968"/>
                      <a:pt x="191729" y="294968"/>
                    </a:cubicBez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7" name="Freeform: Shape 136">
                <a:extLst>
                  <a:ext uri="{FF2B5EF4-FFF2-40B4-BE49-F238E27FC236}">
                    <a16:creationId xmlns:a16="http://schemas.microsoft.com/office/drawing/2014/main" id="{20CC02C7-2320-505B-5271-2948AAC0A4B7}"/>
                  </a:ext>
                </a:extLst>
              </p:cNvPr>
              <p:cNvSpPr/>
              <p:nvPr/>
            </p:nvSpPr>
            <p:spPr>
              <a:xfrm>
                <a:off x="3350595" y="1779242"/>
                <a:ext cx="870154" cy="589935"/>
              </a:xfrm>
              <a:custGeom>
                <a:avLst/>
                <a:gdLst>
                  <a:gd name="connsiteX0" fmla="*/ 840658 w 870154"/>
                  <a:gd name="connsiteY0" fmla="*/ 162232 h 589935"/>
                  <a:gd name="connsiteX1" fmla="*/ 825910 w 870154"/>
                  <a:gd name="connsiteY1" fmla="*/ 162232 h 589935"/>
                  <a:gd name="connsiteX2" fmla="*/ 825910 w 870154"/>
                  <a:gd name="connsiteY2" fmla="*/ 0 h 589935"/>
                  <a:gd name="connsiteX3" fmla="*/ 796413 w 870154"/>
                  <a:gd name="connsiteY3" fmla="*/ 0 h 589935"/>
                  <a:gd name="connsiteX4" fmla="*/ 796413 w 870154"/>
                  <a:gd name="connsiteY4" fmla="*/ 162232 h 589935"/>
                  <a:gd name="connsiteX5" fmla="*/ 545690 w 870154"/>
                  <a:gd name="connsiteY5" fmla="*/ 162232 h 589935"/>
                  <a:gd name="connsiteX6" fmla="*/ 516194 w 870154"/>
                  <a:gd name="connsiteY6" fmla="*/ 191729 h 589935"/>
                  <a:gd name="connsiteX7" fmla="*/ 516194 w 870154"/>
                  <a:gd name="connsiteY7" fmla="*/ 221226 h 589935"/>
                  <a:gd name="connsiteX8" fmla="*/ 545690 w 870154"/>
                  <a:gd name="connsiteY8" fmla="*/ 250723 h 589935"/>
                  <a:gd name="connsiteX9" fmla="*/ 545690 w 870154"/>
                  <a:gd name="connsiteY9" fmla="*/ 332206 h 589935"/>
                  <a:gd name="connsiteX10" fmla="*/ 457200 w 870154"/>
                  <a:gd name="connsiteY10" fmla="*/ 457200 h 589935"/>
                  <a:gd name="connsiteX11" fmla="*/ 464941 w 870154"/>
                  <a:gd name="connsiteY11" fmla="*/ 501445 h 589935"/>
                  <a:gd name="connsiteX12" fmla="*/ 383458 w 870154"/>
                  <a:gd name="connsiteY12" fmla="*/ 501445 h 589935"/>
                  <a:gd name="connsiteX13" fmla="*/ 383458 w 870154"/>
                  <a:gd name="connsiteY13" fmla="*/ 147484 h 589935"/>
                  <a:gd name="connsiteX14" fmla="*/ 88490 w 870154"/>
                  <a:gd name="connsiteY14" fmla="*/ 147484 h 589935"/>
                  <a:gd name="connsiteX15" fmla="*/ 88490 w 870154"/>
                  <a:gd name="connsiteY15" fmla="*/ 501445 h 589935"/>
                  <a:gd name="connsiteX16" fmla="*/ 29497 w 870154"/>
                  <a:gd name="connsiteY16" fmla="*/ 501445 h 589935"/>
                  <a:gd name="connsiteX17" fmla="*/ 29497 w 870154"/>
                  <a:gd name="connsiteY17" fmla="*/ 0 h 589935"/>
                  <a:gd name="connsiteX18" fmla="*/ 0 w 870154"/>
                  <a:gd name="connsiteY18" fmla="*/ 0 h 589935"/>
                  <a:gd name="connsiteX19" fmla="*/ 0 w 870154"/>
                  <a:gd name="connsiteY19" fmla="*/ 530942 h 589935"/>
                  <a:gd name="connsiteX20" fmla="*/ 479647 w 870154"/>
                  <a:gd name="connsiteY20" fmla="*/ 530942 h 589935"/>
                  <a:gd name="connsiteX21" fmla="*/ 589936 w 870154"/>
                  <a:gd name="connsiteY21" fmla="*/ 589936 h 589935"/>
                  <a:gd name="connsiteX22" fmla="*/ 673176 w 870154"/>
                  <a:gd name="connsiteY22" fmla="*/ 560439 h 589935"/>
                  <a:gd name="connsiteX23" fmla="*/ 796413 w 870154"/>
                  <a:gd name="connsiteY23" fmla="*/ 560439 h 589935"/>
                  <a:gd name="connsiteX24" fmla="*/ 840658 w 870154"/>
                  <a:gd name="connsiteY24" fmla="*/ 516194 h 589935"/>
                  <a:gd name="connsiteX25" fmla="*/ 840658 w 870154"/>
                  <a:gd name="connsiteY25" fmla="*/ 250723 h 589935"/>
                  <a:gd name="connsiteX26" fmla="*/ 870155 w 870154"/>
                  <a:gd name="connsiteY26" fmla="*/ 221226 h 589935"/>
                  <a:gd name="connsiteX27" fmla="*/ 870155 w 870154"/>
                  <a:gd name="connsiteY27" fmla="*/ 191729 h 589935"/>
                  <a:gd name="connsiteX28" fmla="*/ 840658 w 870154"/>
                  <a:gd name="connsiteY28" fmla="*/ 162232 h 589935"/>
                  <a:gd name="connsiteX29" fmla="*/ 117987 w 870154"/>
                  <a:gd name="connsiteY29" fmla="*/ 176981 h 589935"/>
                  <a:gd name="connsiteX30" fmla="*/ 353961 w 870154"/>
                  <a:gd name="connsiteY30" fmla="*/ 176981 h 589935"/>
                  <a:gd name="connsiteX31" fmla="*/ 353961 w 870154"/>
                  <a:gd name="connsiteY31" fmla="*/ 501445 h 589935"/>
                  <a:gd name="connsiteX32" fmla="*/ 117987 w 870154"/>
                  <a:gd name="connsiteY32" fmla="*/ 501445 h 589935"/>
                  <a:gd name="connsiteX33" fmla="*/ 589936 w 870154"/>
                  <a:gd name="connsiteY33" fmla="*/ 353961 h 589935"/>
                  <a:gd name="connsiteX34" fmla="*/ 691993 w 870154"/>
                  <a:gd name="connsiteY34" fmla="*/ 442452 h 589935"/>
                  <a:gd name="connsiteX35" fmla="*/ 487878 w 870154"/>
                  <a:gd name="connsiteY35" fmla="*/ 442452 h 589935"/>
                  <a:gd name="connsiteX36" fmla="*/ 589936 w 870154"/>
                  <a:gd name="connsiteY36" fmla="*/ 353961 h 589935"/>
                  <a:gd name="connsiteX37" fmla="*/ 589936 w 870154"/>
                  <a:gd name="connsiteY37" fmla="*/ 560439 h 589935"/>
                  <a:gd name="connsiteX38" fmla="*/ 487878 w 870154"/>
                  <a:gd name="connsiteY38" fmla="*/ 471948 h 589935"/>
                  <a:gd name="connsiteX39" fmla="*/ 691993 w 870154"/>
                  <a:gd name="connsiteY39" fmla="*/ 471948 h 589935"/>
                  <a:gd name="connsiteX40" fmla="*/ 589936 w 870154"/>
                  <a:gd name="connsiteY40" fmla="*/ 560439 h 589935"/>
                  <a:gd name="connsiteX41" fmla="*/ 811161 w 870154"/>
                  <a:gd name="connsiteY41" fmla="*/ 516194 h 589935"/>
                  <a:gd name="connsiteX42" fmla="*/ 796413 w 870154"/>
                  <a:gd name="connsiteY42" fmla="*/ 530942 h 589935"/>
                  <a:gd name="connsiteX43" fmla="*/ 700224 w 870154"/>
                  <a:gd name="connsiteY43" fmla="*/ 530942 h 589935"/>
                  <a:gd name="connsiteX44" fmla="*/ 722671 w 870154"/>
                  <a:gd name="connsiteY44" fmla="*/ 457200 h 589935"/>
                  <a:gd name="connsiteX45" fmla="*/ 589936 w 870154"/>
                  <a:gd name="connsiteY45" fmla="*/ 324465 h 589935"/>
                  <a:gd name="connsiteX46" fmla="*/ 575187 w 870154"/>
                  <a:gd name="connsiteY46" fmla="*/ 325336 h 589935"/>
                  <a:gd name="connsiteX47" fmla="*/ 575187 w 870154"/>
                  <a:gd name="connsiteY47" fmla="*/ 250723 h 589935"/>
                  <a:gd name="connsiteX48" fmla="*/ 811161 w 870154"/>
                  <a:gd name="connsiteY48" fmla="*/ 250723 h 589935"/>
                  <a:gd name="connsiteX49" fmla="*/ 545690 w 870154"/>
                  <a:gd name="connsiteY49" fmla="*/ 221226 h 589935"/>
                  <a:gd name="connsiteX50" fmla="*/ 545690 w 870154"/>
                  <a:gd name="connsiteY50" fmla="*/ 191729 h 589935"/>
                  <a:gd name="connsiteX51" fmla="*/ 840658 w 870154"/>
                  <a:gd name="connsiteY51" fmla="*/ 191729 h 589935"/>
                  <a:gd name="connsiteX52" fmla="*/ 840672 w 870154"/>
                  <a:gd name="connsiteY52" fmla="*/ 221226 h 58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870154" h="589935">
                    <a:moveTo>
                      <a:pt x="840658" y="162232"/>
                    </a:moveTo>
                    <a:lnTo>
                      <a:pt x="825910" y="162232"/>
                    </a:lnTo>
                    <a:lnTo>
                      <a:pt x="825910" y="0"/>
                    </a:lnTo>
                    <a:lnTo>
                      <a:pt x="796413" y="0"/>
                    </a:lnTo>
                    <a:lnTo>
                      <a:pt x="796413" y="162232"/>
                    </a:lnTo>
                    <a:lnTo>
                      <a:pt x="545690" y="162232"/>
                    </a:lnTo>
                    <a:cubicBezTo>
                      <a:pt x="529422" y="162232"/>
                      <a:pt x="516194" y="175461"/>
                      <a:pt x="516194" y="191729"/>
                    </a:cubicBezTo>
                    <a:lnTo>
                      <a:pt x="516194" y="221226"/>
                    </a:lnTo>
                    <a:cubicBezTo>
                      <a:pt x="516194" y="237494"/>
                      <a:pt x="529422" y="250723"/>
                      <a:pt x="545690" y="250723"/>
                    </a:cubicBezTo>
                    <a:lnTo>
                      <a:pt x="545690" y="332206"/>
                    </a:lnTo>
                    <a:cubicBezTo>
                      <a:pt x="494215" y="350497"/>
                      <a:pt x="457200" y="399532"/>
                      <a:pt x="457200" y="457200"/>
                    </a:cubicBezTo>
                    <a:cubicBezTo>
                      <a:pt x="457200" y="472733"/>
                      <a:pt x="460016" y="487583"/>
                      <a:pt x="464941" y="501445"/>
                    </a:cubicBezTo>
                    <a:lnTo>
                      <a:pt x="383458" y="501445"/>
                    </a:lnTo>
                    <a:lnTo>
                      <a:pt x="383458" y="147484"/>
                    </a:lnTo>
                    <a:lnTo>
                      <a:pt x="88490" y="147484"/>
                    </a:lnTo>
                    <a:lnTo>
                      <a:pt x="88490" y="501445"/>
                    </a:lnTo>
                    <a:lnTo>
                      <a:pt x="29497" y="501445"/>
                    </a:lnTo>
                    <a:lnTo>
                      <a:pt x="29497" y="0"/>
                    </a:lnTo>
                    <a:lnTo>
                      <a:pt x="0" y="0"/>
                    </a:lnTo>
                    <a:lnTo>
                      <a:pt x="0" y="530942"/>
                    </a:lnTo>
                    <a:lnTo>
                      <a:pt x="479647" y="530942"/>
                    </a:lnTo>
                    <a:cubicBezTo>
                      <a:pt x="503498" y="566488"/>
                      <a:pt x="544027" y="589936"/>
                      <a:pt x="589936" y="589936"/>
                    </a:cubicBezTo>
                    <a:cubicBezTo>
                      <a:pt x="621441" y="589936"/>
                      <a:pt x="650391" y="578845"/>
                      <a:pt x="673176" y="560439"/>
                    </a:cubicBezTo>
                    <a:lnTo>
                      <a:pt x="796413" y="560439"/>
                    </a:lnTo>
                    <a:cubicBezTo>
                      <a:pt x="820804" y="560439"/>
                      <a:pt x="840658" y="540585"/>
                      <a:pt x="840658" y="516194"/>
                    </a:cubicBezTo>
                    <a:lnTo>
                      <a:pt x="840658" y="250723"/>
                    </a:lnTo>
                    <a:cubicBezTo>
                      <a:pt x="856926" y="250723"/>
                      <a:pt x="870155" y="237494"/>
                      <a:pt x="870155" y="221226"/>
                    </a:cubicBezTo>
                    <a:lnTo>
                      <a:pt x="870155" y="191729"/>
                    </a:lnTo>
                    <a:cubicBezTo>
                      <a:pt x="870155" y="175461"/>
                      <a:pt x="856926" y="162232"/>
                      <a:pt x="840658" y="162232"/>
                    </a:cubicBezTo>
                    <a:close/>
                    <a:moveTo>
                      <a:pt x="117987" y="176981"/>
                    </a:moveTo>
                    <a:lnTo>
                      <a:pt x="353961" y="176981"/>
                    </a:lnTo>
                    <a:lnTo>
                      <a:pt x="353961" y="501445"/>
                    </a:lnTo>
                    <a:lnTo>
                      <a:pt x="117987" y="501445"/>
                    </a:lnTo>
                    <a:close/>
                    <a:moveTo>
                      <a:pt x="589936" y="353961"/>
                    </a:moveTo>
                    <a:cubicBezTo>
                      <a:pt x="641836" y="353961"/>
                      <a:pt x="684799" y="392496"/>
                      <a:pt x="691993" y="442452"/>
                    </a:cubicBezTo>
                    <a:lnTo>
                      <a:pt x="487878" y="442452"/>
                    </a:lnTo>
                    <a:cubicBezTo>
                      <a:pt x="495072" y="392496"/>
                      <a:pt x="538035" y="353961"/>
                      <a:pt x="589936" y="353961"/>
                    </a:cubicBezTo>
                    <a:close/>
                    <a:moveTo>
                      <a:pt x="589936" y="560439"/>
                    </a:moveTo>
                    <a:cubicBezTo>
                      <a:pt x="538035" y="560439"/>
                      <a:pt x="495072" y="521904"/>
                      <a:pt x="487878" y="471948"/>
                    </a:cubicBezTo>
                    <a:lnTo>
                      <a:pt x="691993" y="471948"/>
                    </a:lnTo>
                    <a:cubicBezTo>
                      <a:pt x="684799" y="521904"/>
                      <a:pt x="641836" y="560439"/>
                      <a:pt x="589936" y="560439"/>
                    </a:cubicBezTo>
                    <a:close/>
                    <a:moveTo>
                      <a:pt x="811161" y="516194"/>
                    </a:moveTo>
                    <a:cubicBezTo>
                      <a:pt x="811161" y="524317"/>
                      <a:pt x="804536" y="530942"/>
                      <a:pt x="796413" y="530942"/>
                    </a:cubicBezTo>
                    <a:lnTo>
                      <a:pt x="700224" y="530942"/>
                    </a:lnTo>
                    <a:cubicBezTo>
                      <a:pt x="714382" y="509835"/>
                      <a:pt x="722671" y="484472"/>
                      <a:pt x="722671" y="457200"/>
                    </a:cubicBezTo>
                    <a:cubicBezTo>
                      <a:pt x="722671" y="384020"/>
                      <a:pt x="663116" y="324465"/>
                      <a:pt x="589936" y="324465"/>
                    </a:cubicBezTo>
                    <a:cubicBezTo>
                      <a:pt x="584952" y="324465"/>
                      <a:pt x="580041" y="324789"/>
                      <a:pt x="575187" y="325336"/>
                    </a:cubicBezTo>
                    <a:lnTo>
                      <a:pt x="575187" y="250723"/>
                    </a:lnTo>
                    <a:lnTo>
                      <a:pt x="811161" y="250723"/>
                    </a:lnTo>
                    <a:close/>
                    <a:moveTo>
                      <a:pt x="545690" y="221226"/>
                    </a:moveTo>
                    <a:lnTo>
                      <a:pt x="545690" y="191729"/>
                    </a:lnTo>
                    <a:lnTo>
                      <a:pt x="840658" y="191729"/>
                    </a:lnTo>
                    <a:lnTo>
                      <a:pt x="840672" y="221226"/>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8" name="Freeform: Shape 137">
                <a:extLst>
                  <a:ext uri="{FF2B5EF4-FFF2-40B4-BE49-F238E27FC236}">
                    <a16:creationId xmlns:a16="http://schemas.microsoft.com/office/drawing/2014/main" id="{59427095-C8E4-BD6F-ABEC-B586511D1225}"/>
                  </a:ext>
                </a:extLst>
              </p:cNvPr>
              <p:cNvSpPr/>
              <p:nvPr/>
            </p:nvSpPr>
            <p:spPr>
              <a:xfrm>
                <a:off x="3498079" y="1985719"/>
                <a:ext cx="176980" cy="88490"/>
              </a:xfrm>
              <a:custGeom>
                <a:avLst/>
                <a:gdLst>
                  <a:gd name="connsiteX0" fmla="*/ 0 w 176980"/>
                  <a:gd name="connsiteY0" fmla="*/ 0 h 88490"/>
                  <a:gd name="connsiteX1" fmla="*/ 0 w 176980"/>
                  <a:gd name="connsiteY1" fmla="*/ 88490 h 88490"/>
                  <a:gd name="connsiteX2" fmla="*/ 176981 w 176980"/>
                  <a:gd name="connsiteY2" fmla="*/ 88490 h 88490"/>
                  <a:gd name="connsiteX3" fmla="*/ 176981 w 176980"/>
                  <a:gd name="connsiteY3" fmla="*/ 0 h 88490"/>
                  <a:gd name="connsiteX4" fmla="*/ 147484 w 176980"/>
                  <a:gd name="connsiteY4" fmla="*/ 58994 h 88490"/>
                  <a:gd name="connsiteX5" fmla="*/ 29497 w 176980"/>
                  <a:gd name="connsiteY5" fmla="*/ 58994 h 88490"/>
                  <a:gd name="connsiteX6" fmla="*/ 29497 w 176980"/>
                  <a:gd name="connsiteY6" fmla="*/ 29497 h 88490"/>
                  <a:gd name="connsiteX7" fmla="*/ 147484 w 176980"/>
                  <a:gd name="connsiteY7" fmla="*/ 29497 h 8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980" h="88490">
                    <a:moveTo>
                      <a:pt x="0" y="0"/>
                    </a:moveTo>
                    <a:lnTo>
                      <a:pt x="0" y="88490"/>
                    </a:lnTo>
                    <a:lnTo>
                      <a:pt x="176981" y="88490"/>
                    </a:lnTo>
                    <a:lnTo>
                      <a:pt x="176981" y="0"/>
                    </a:lnTo>
                    <a:close/>
                    <a:moveTo>
                      <a:pt x="147484" y="58994"/>
                    </a:moveTo>
                    <a:lnTo>
                      <a:pt x="29497" y="58994"/>
                    </a:lnTo>
                    <a:lnTo>
                      <a:pt x="29497" y="29497"/>
                    </a:lnTo>
                    <a:lnTo>
                      <a:pt x="147484"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39" name="Freeform: Shape 138">
                <a:extLst>
                  <a:ext uri="{FF2B5EF4-FFF2-40B4-BE49-F238E27FC236}">
                    <a16:creationId xmlns:a16="http://schemas.microsoft.com/office/drawing/2014/main" id="{760D4135-436F-7AC8-CE14-78DF053CF0BB}"/>
                  </a:ext>
                </a:extLst>
              </p:cNvPr>
              <p:cNvSpPr/>
              <p:nvPr/>
            </p:nvSpPr>
            <p:spPr>
              <a:xfrm>
                <a:off x="3498079" y="2133203"/>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grpSp>
        <p:pic>
          <p:nvPicPr>
            <p:cNvPr id="97" name="Picture 96">
              <a:extLst>
                <a:ext uri="{FF2B5EF4-FFF2-40B4-BE49-F238E27FC236}">
                  <a16:creationId xmlns:a16="http://schemas.microsoft.com/office/drawing/2014/main" id="{30A1AF18-1FAE-838F-5FE9-90A4AFA3905C}"/>
                </a:ext>
              </a:extLst>
            </p:cNvPr>
            <p:cNvPicPr>
              <a:picLocks noChangeAspect="1"/>
            </p:cNvPicPr>
            <p:nvPr/>
          </p:nvPicPr>
          <p:blipFill rotWithShape="1">
            <a:blip r:embed="rId5"/>
            <a:srcRect t="-2517" r="10470" b="1"/>
            <a:stretch/>
          </p:blipFill>
          <p:spPr>
            <a:xfrm>
              <a:off x="2371812" y="5220779"/>
              <a:ext cx="689038" cy="812428"/>
            </a:xfrm>
            <a:prstGeom prst="rect">
              <a:avLst/>
            </a:prstGeom>
          </p:spPr>
        </p:pic>
        <p:sp>
          <p:nvSpPr>
            <p:cNvPr id="98" name="Rectangle 97">
              <a:extLst>
                <a:ext uri="{FF2B5EF4-FFF2-40B4-BE49-F238E27FC236}">
                  <a16:creationId xmlns:a16="http://schemas.microsoft.com/office/drawing/2014/main" id="{6D885282-2A4E-ABAB-C295-4558B5E9F922}"/>
                </a:ext>
              </a:extLst>
            </p:cNvPr>
            <p:cNvSpPr/>
            <p:nvPr/>
          </p:nvSpPr>
          <p:spPr bwMode="auto">
            <a:xfrm>
              <a:off x="1365145" y="576845"/>
              <a:ext cx="1784798" cy="432597"/>
            </a:xfrm>
            <a:prstGeom prst="rect">
              <a:avLst/>
            </a:prstGeom>
            <a:solidFill>
              <a:srgbClr val="1E8186"/>
            </a:solidFill>
            <a:ln w="9525">
              <a:noFill/>
              <a:round/>
              <a:headEnd/>
              <a:tailEnd/>
            </a:ln>
            <a:effectLst/>
          </p:spPr>
          <p:txBody>
            <a:bodyPr wrap="squar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Gill Sans MT" panose="020B0502020104020203"/>
                  <a:ea typeface="+mn-ea"/>
                  <a:cs typeface="Arial" panose="020B0604020202020204" pitchFamily="34" charset="0"/>
                </a:rPr>
                <a:t>Public</a:t>
              </a:r>
            </a:p>
          </p:txBody>
        </p:sp>
        <p:grpSp>
          <p:nvGrpSpPr>
            <p:cNvPr id="99" name="Group 98">
              <a:extLst>
                <a:ext uri="{FF2B5EF4-FFF2-40B4-BE49-F238E27FC236}">
                  <a16:creationId xmlns:a16="http://schemas.microsoft.com/office/drawing/2014/main" id="{EEF340AB-653B-A211-CD58-E89B3C53621E}"/>
                </a:ext>
              </a:extLst>
            </p:cNvPr>
            <p:cNvGrpSpPr/>
            <p:nvPr/>
          </p:nvGrpSpPr>
          <p:grpSpPr>
            <a:xfrm>
              <a:off x="6732297" y="3201655"/>
              <a:ext cx="792943" cy="805912"/>
              <a:chOff x="3306350" y="1454778"/>
              <a:chExt cx="914399" cy="914399"/>
            </a:xfrm>
            <a:solidFill>
              <a:srgbClr val="112E38"/>
            </a:solidFill>
          </p:grpSpPr>
          <p:sp>
            <p:nvSpPr>
              <p:cNvPr id="118" name="Freeform: Shape 117">
                <a:extLst>
                  <a:ext uri="{FF2B5EF4-FFF2-40B4-BE49-F238E27FC236}">
                    <a16:creationId xmlns:a16="http://schemas.microsoft.com/office/drawing/2014/main" id="{03D99AFA-82E0-DDA9-E7B4-C5089CECBF60}"/>
                  </a:ext>
                </a:extLst>
              </p:cNvPr>
              <p:cNvSpPr/>
              <p:nvPr/>
            </p:nvSpPr>
            <p:spPr>
              <a:xfrm>
                <a:off x="3955279" y="2059461"/>
                <a:ext cx="176980" cy="221225"/>
              </a:xfrm>
              <a:custGeom>
                <a:avLst/>
                <a:gdLst>
                  <a:gd name="connsiteX0" fmla="*/ 0 w 176980"/>
                  <a:gd name="connsiteY0" fmla="*/ 0 h 221225"/>
                  <a:gd name="connsiteX1" fmla="*/ 0 w 176980"/>
                  <a:gd name="connsiteY1" fmla="*/ 58994 h 221225"/>
                  <a:gd name="connsiteX2" fmla="*/ 706 w 176980"/>
                  <a:gd name="connsiteY2" fmla="*/ 60117 h 221225"/>
                  <a:gd name="connsiteX3" fmla="*/ 103239 w 176980"/>
                  <a:gd name="connsiteY3" fmla="*/ 176981 h 221225"/>
                  <a:gd name="connsiteX4" fmla="*/ 97298 w 176980"/>
                  <a:gd name="connsiteY4" fmla="*/ 213794 h 221225"/>
                  <a:gd name="connsiteX5" fmla="*/ 101971 w 176980"/>
                  <a:gd name="connsiteY5" fmla="*/ 221226 h 221225"/>
                  <a:gd name="connsiteX6" fmla="*/ 176981 w 176980"/>
                  <a:gd name="connsiteY6" fmla="*/ 221226 h 221225"/>
                  <a:gd name="connsiteX7" fmla="*/ 176981 w 176980"/>
                  <a:gd name="connsiteY7" fmla="*/ 0 h 22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980" h="221225">
                    <a:moveTo>
                      <a:pt x="0" y="0"/>
                    </a:moveTo>
                    <a:lnTo>
                      <a:pt x="0" y="58994"/>
                    </a:lnTo>
                    <a:lnTo>
                      <a:pt x="706" y="60117"/>
                    </a:lnTo>
                    <a:cubicBezTo>
                      <a:pt x="58554" y="67707"/>
                      <a:pt x="103239" y="117073"/>
                      <a:pt x="103239" y="176981"/>
                    </a:cubicBezTo>
                    <a:cubicBezTo>
                      <a:pt x="103239" y="189842"/>
                      <a:pt x="101114" y="202200"/>
                      <a:pt x="97298" y="213794"/>
                    </a:cubicBezTo>
                    <a:lnTo>
                      <a:pt x="101971" y="221226"/>
                    </a:lnTo>
                    <a:lnTo>
                      <a:pt x="176981" y="221226"/>
                    </a:lnTo>
                    <a:lnTo>
                      <a:pt x="176981" y="0"/>
                    </a:lnTo>
                    <a:close/>
                  </a:path>
                </a:pathLst>
              </a:custGeom>
              <a:solidFill>
                <a:srgbClr val="4AA19E"/>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19" name="Freeform: Shape 118">
                <a:extLst>
                  <a:ext uri="{FF2B5EF4-FFF2-40B4-BE49-F238E27FC236}">
                    <a16:creationId xmlns:a16="http://schemas.microsoft.com/office/drawing/2014/main" id="{2513F554-D503-E786-0D03-045A86558369}"/>
                  </a:ext>
                </a:extLst>
              </p:cNvPr>
              <p:cNvSpPr/>
              <p:nvPr/>
            </p:nvSpPr>
            <p:spPr>
              <a:xfrm>
                <a:off x="3381640" y="1454778"/>
                <a:ext cx="763819" cy="168821"/>
              </a:xfrm>
              <a:custGeom>
                <a:avLst/>
                <a:gdLst>
                  <a:gd name="connsiteX0" fmla="*/ 737419 w 763819"/>
                  <a:gd name="connsiteY0" fmla="*/ 168822 h 168821"/>
                  <a:gd name="connsiteX1" fmla="*/ 667761 w 763819"/>
                  <a:gd name="connsiteY1" fmla="*/ 29497 h 168821"/>
                  <a:gd name="connsiteX2" fmla="*/ 96059 w 763819"/>
                  <a:gd name="connsiteY2" fmla="*/ 29497 h 168821"/>
                  <a:gd name="connsiteX3" fmla="*/ 26400 w 763819"/>
                  <a:gd name="connsiteY3" fmla="*/ 168822 h 168821"/>
                  <a:gd name="connsiteX4" fmla="*/ 0 w 763819"/>
                  <a:gd name="connsiteY4" fmla="*/ 155643 h 168821"/>
                  <a:gd name="connsiteX5" fmla="*/ 77825 w 763819"/>
                  <a:gd name="connsiteY5" fmla="*/ 0 h 168821"/>
                  <a:gd name="connsiteX6" fmla="*/ 685994 w 763819"/>
                  <a:gd name="connsiteY6" fmla="*/ 0 h 168821"/>
                  <a:gd name="connsiteX7" fmla="*/ 763820 w 763819"/>
                  <a:gd name="connsiteY7" fmla="*/ 155643 h 16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3819" h="168821">
                    <a:moveTo>
                      <a:pt x="737419" y="168822"/>
                    </a:moveTo>
                    <a:lnTo>
                      <a:pt x="667761" y="29497"/>
                    </a:lnTo>
                    <a:lnTo>
                      <a:pt x="96059" y="29497"/>
                    </a:lnTo>
                    <a:lnTo>
                      <a:pt x="26400" y="168822"/>
                    </a:lnTo>
                    <a:lnTo>
                      <a:pt x="0" y="155643"/>
                    </a:lnTo>
                    <a:lnTo>
                      <a:pt x="77825" y="0"/>
                    </a:lnTo>
                    <a:lnTo>
                      <a:pt x="685994" y="0"/>
                    </a:lnTo>
                    <a:lnTo>
                      <a:pt x="763820" y="155643"/>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20" name="Freeform: Shape 119">
                <a:extLst>
                  <a:ext uri="{FF2B5EF4-FFF2-40B4-BE49-F238E27FC236}">
                    <a16:creationId xmlns:a16="http://schemas.microsoft.com/office/drawing/2014/main" id="{A2764D8D-E156-9BB6-B5C9-834627646B0E}"/>
                  </a:ext>
                </a:extLst>
              </p:cNvPr>
              <p:cNvSpPr/>
              <p:nvPr/>
            </p:nvSpPr>
            <p:spPr>
              <a:xfrm>
                <a:off x="3660311" y="1572765"/>
                <a:ext cx="206477" cy="206477"/>
              </a:xfrm>
              <a:custGeom>
                <a:avLst/>
                <a:gdLst>
                  <a:gd name="connsiteX0" fmla="*/ 147484 w 206477"/>
                  <a:gd name="connsiteY0" fmla="*/ 206477 h 206477"/>
                  <a:gd name="connsiteX1" fmla="*/ 58994 w 206477"/>
                  <a:gd name="connsiteY1" fmla="*/ 206477 h 206477"/>
                  <a:gd name="connsiteX2" fmla="*/ 58994 w 206477"/>
                  <a:gd name="connsiteY2" fmla="*/ 147484 h 206477"/>
                  <a:gd name="connsiteX3" fmla="*/ 0 w 206477"/>
                  <a:gd name="connsiteY3" fmla="*/ 147484 h 206477"/>
                  <a:gd name="connsiteX4" fmla="*/ 0 w 206477"/>
                  <a:gd name="connsiteY4" fmla="*/ 58994 h 206477"/>
                  <a:gd name="connsiteX5" fmla="*/ 58994 w 206477"/>
                  <a:gd name="connsiteY5" fmla="*/ 58994 h 206477"/>
                  <a:gd name="connsiteX6" fmla="*/ 58994 w 206477"/>
                  <a:gd name="connsiteY6" fmla="*/ 0 h 206477"/>
                  <a:gd name="connsiteX7" fmla="*/ 147484 w 206477"/>
                  <a:gd name="connsiteY7" fmla="*/ 0 h 206477"/>
                  <a:gd name="connsiteX8" fmla="*/ 147484 w 206477"/>
                  <a:gd name="connsiteY8" fmla="*/ 58994 h 206477"/>
                  <a:gd name="connsiteX9" fmla="*/ 206477 w 206477"/>
                  <a:gd name="connsiteY9" fmla="*/ 58994 h 206477"/>
                  <a:gd name="connsiteX10" fmla="*/ 206477 w 206477"/>
                  <a:gd name="connsiteY10" fmla="*/ 147484 h 206477"/>
                  <a:gd name="connsiteX11" fmla="*/ 147484 w 206477"/>
                  <a:gd name="connsiteY11" fmla="*/ 147484 h 206477"/>
                  <a:gd name="connsiteX12" fmla="*/ 88490 w 206477"/>
                  <a:gd name="connsiteY12" fmla="*/ 176981 h 206477"/>
                  <a:gd name="connsiteX13" fmla="*/ 117987 w 206477"/>
                  <a:gd name="connsiteY13" fmla="*/ 176981 h 206477"/>
                  <a:gd name="connsiteX14" fmla="*/ 117987 w 206477"/>
                  <a:gd name="connsiteY14" fmla="*/ 117987 h 206477"/>
                  <a:gd name="connsiteX15" fmla="*/ 176981 w 206477"/>
                  <a:gd name="connsiteY15" fmla="*/ 117987 h 206477"/>
                  <a:gd name="connsiteX16" fmla="*/ 176981 w 206477"/>
                  <a:gd name="connsiteY16" fmla="*/ 88490 h 206477"/>
                  <a:gd name="connsiteX17" fmla="*/ 117987 w 206477"/>
                  <a:gd name="connsiteY17" fmla="*/ 88490 h 206477"/>
                  <a:gd name="connsiteX18" fmla="*/ 117987 w 206477"/>
                  <a:gd name="connsiteY18" fmla="*/ 29497 h 206477"/>
                  <a:gd name="connsiteX19" fmla="*/ 88490 w 206477"/>
                  <a:gd name="connsiteY19" fmla="*/ 29497 h 206477"/>
                  <a:gd name="connsiteX20" fmla="*/ 88490 w 206477"/>
                  <a:gd name="connsiteY20" fmla="*/ 88490 h 206477"/>
                  <a:gd name="connsiteX21" fmla="*/ 29497 w 206477"/>
                  <a:gd name="connsiteY21" fmla="*/ 88490 h 206477"/>
                  <a:gd name="connsiteX22" fmla="*/ 29497 w 206477"/>
                  <a:gd name="connsiteY22" fmla="*/ 117987 h 206477"/>
                  <a:gd name="connsiteX23" fmla="*/ 88490 w 206477"/>
                  <a:gd name="connsiteY23" fmla="*/ 117987 h 20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6477" h="206477">
                    <a:moveTo>
                      <a:pt x="147484" y="206477"/>
                    </a:moveTo>
                    <a:lnTo>
                      <a:pt x="58994" y="206477"/>
                    </a:lnTo>
                    <a:lnTo>
                      <a:pt x="58994" y="147484"/>
                    </a:lnTo>
                    <a:lnTo>
                      <a:pt x="0" y="147484"/>
                    </a:lnTo>
                    <a:lnTo>
                      <a:pt x="0" y="58994"/>
                    </a:lnTo>
                    <a:lnTo>
                      <a:pt x="58994" y="58994"/>
                    </a:lnTo>
                    <a:lnTo>
                      <a:pt x="58994" y="0"/>
                    </a:lnTo>
                    <a:lnTo>
                      <a:pt x="147484" y="0"/>
                    </a:lnTo>
                    <a:lnTo>
                      <a:pt x="147484" y="58994"/>
                    </a:lnTo>
                    <a:lnTo>
                      <a:pt x="206477" y="58994"/>
                    </a:lnTo>
                    <a:lnTo>
                      <a:pt x="206477" y="147484"/>
                    </a:lnTo>
                    <a:lnTo>
                      <a:pt x="147484" y="147484"/>
                    </a:lnTo>
                    <a:close/>
                    <a:moveTo>
                      <a:pt x="88490" y="176981"/>
                    </a:moveTo>
                    <a:lnTo>
                      <a:pt x="117987" y="176981"/>
                    </a:lnTo>
                    <a:lnTo>
                      <a:pt x="117987" y="117987"/>
                    </a:lnTo>
                    <a:lnTo>
                      <a:pt x="176981" y="117987"/>
                    </a:lnTo>
                    <a:lnTo>
                      <a:pt x="176981" y="88490"/>
                    </a:lnTo>
                    <a:lnTo>
                      <a:pt x="117987" y="88490"/>
                    </a:lnTo>
                    <a:lnTo>
                      <a:pt x="117987" y="29497"/>
                    </a:lnTo>
                    <a:lnTo>
                      <a:pt x="88490" y="29497"/>
                    </a:lnTo>
                    <a:lnTo>
                      <a:pt x="88490" y="88490"/>
                    </a:lnTo>
                    <a:lnTo>
                      <a:pt x="29497" y="88490"/>
                    </a:lnTo>
                    <a:lnTo>
                      <a:pt x="29497" y="117987"/>
                    </a:lnTo>
                    <a:lnTo>
                      <a:pt x="88490" y="11798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21" name="Freeform: Shape 120">
                <a:extLst>
                  <a:ext uri="{FF2B5EF4-FFF2-40B4-BE49-F238E27FC236}">
                    <a16:creationId xmlns:a16="http://schemas.microsoft.com/office/drawing/2014/main" id="{2F86FF14-23A4-0D09-1393-ED07649E05E6}"/>
                  </a:ext>
                </a:extLst>
              </p:cNvPr>
              <p:cNvSpPr/>
              <p:nvPr/>
            </p:nvSpPr>
            <p:spPr>
              <a:xfrm>
                <a:off x="3306350" y="1602261"/>
                <a:ext cx="351952" cy="176980"/>
              </a:xfrm>
              <a:custGeom>
                <a:avLst/>
                <a:gdLst>
                  <a:gd name="connsiteX0" fmla="*/ 309716 w 351952"/>
                  <a:gd name="connsiteY0" fmla="*/ 73742 h 176980"/>
                  <a:gd name="connsiteX1" fmla="*/ 329614 w 351952"/>
                  <a:gd name="connsiteY1" fmla="*/ 0 h 176980"/>
                  <a:gd name="connsiteX2" fmla="*/ 0 w 351952"/>
                  <a:gd name="connsiteY2" fmla="*/ 0 h 176980"/>
                  <a:gd name="connsiteX3" fmla="*/ 0 w 351952"/>
                  <a:gd name="connsiteY3" fmla="*/ 176981 h 176980"/>
                  <a:gd name="connsiteX4" fmla="*/ 351952 w 351952"/>
                  <a:gd name="connsiteY4" fmla="*/ 176981 h 176980"/>
                  <a:gd name="connsiteX5" fmla="*/ 309716 w 351952"/>
                  <a:gd name="connsiteY5" fmla="*/ 73742 h 17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952" h="176980">
                    <a:moveTo>
                      <a:pt x="309716" y="73742"/>
                    </a:moveTo>
                    <a:cubicBezTo>
                      <a:pt x="309716" y="46838"/>
                      <a:pt x="317033" y="21712"/>
                      <a:pt x="329614" y="0"/>
                    </a:cubicBezTo>
                    <a:lnTo>
                      <a:pt x="0" y="0"/>
                    </a:lnTo>
                    <a:lnTo>
                      <a:pt x="0" y="176981"/>
                    </a:lnTo>
                    <a:lnTo>
                      <a:pt x="351952" y="176981"/>
                    </a:lnTo>
                    <a:cubicBezTo>
                      <a:pt x="325854" y="150372"/>
                      <a:pt x="309716" y="113962"/>
                      <a:pt x="309716" y="73742"/>
                    </a:cubicBezTo>
                    <a:close/>
                  </a:path>
                </a:pathLst>
              </a:custGeom>
              <a:solidFill>
                <a:srgbClr val="4AA19E"/>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22" name="Freeform: Shape 121">
                <a:extLst>
                  <a:ext uri="{FF2B5EF4-FFF2-40B4-BE49-F238E27FC236}">
                    <a16:creationId xmlns:a16="http://schemas.microsoft.com/office/drawing/2014/main" id="{DB0FF9E0-9E74-6D96-A102-5C693216F948}"/>
                  </a:ext>
                </a:extLst>
              </p:cNvPr>
              <p:cNvSpPr/>
              <p:nvPr/>
            </p:nvSpPr>
            <p:spPr>
              <a:xfrm>
                <a:off x="3868797" y="1602261"/>
                <a:ext cx="351952" cy="176980"/>
              </a:xfrm>
              <a:custGeom>
                <a:avLst/>
                <a:gdLst>
                  <a:gd name="connsiteX0" fmla="*/ 22339 w 351952"/>
                  <a:gd name="connsiteY0" fmla="*/ 0 h 176980"/>
                  <a:gd name="connsiteX1" fmla="*/ 42236 w 351952"/>
                  <a:gd name="connsiteY1" fmla="*/ 73742 h 176980"/>
                  <a:gd name="connsiteX2" fmla="*/ 0 w 351952"/>
                  <a:gd name="connsiteY2" fmla="*/ 176981 h 176980"/>
                  <a:gd name="connsiteX3" fmla="*/ 351952 w 351952"/>
                  <a:gd name="connsiteY3" fmla="*/ 176981 h 176980"/>
                  <a:gd name="connsiteX4" fmla="*/ 351952 w 351952"/>
                  <a:gd name="connsiteY4" fmla="*/ 0 h 176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952" h="176980">
                    <a:moveTo>
                      <a:pt x="22339" y="0"/>
                    </a:moveTo>
                    <a:cubicBezTo>
                      <a:pt x="34919" y="21712"/>
                      <a:pt x="42236" y="46838"/>
                      <a:pt x="42236" y="73742"/>
                    </a:cubicBezTo>
                    <a:cubicBezTo>
                      <a:pt x="42236" y="113962"/>
                      <a:pt x="26098" y="150372"/>
                      <a:pt x="0" y="176981"/>
                    </a:cubicBezTo>
                    <a:lnTo>
                      <a:pt x="351952" y="176981"/>
                    </a:lnTo>
                    <a:lnTo>
                      <a:pt x="351952" y="0"/>
                    </a:lnTo>
                    <a:close/>
                  </a:path>
                </a:pathLst>
              </a:custGeom>
              <a:solidFill>
                <a:srgbClr val="4AA19E"/>
              </a:solid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23" name="Freeform: Shape 122">
                <a:extLst>
                  <a:ext uri="{FF2B5EF4-FFF2-40B4-BE49-F238E27FC236}">
                    <a16:creationId xmlns:a16="http://schemas.microsoft.com/office/drawing/2014/main" id="{6FA59AC7-F975-2BF7-B217-4D43BCFC64FA}"/>
                  </a:ext>
                </a:extLst>
              </p:cNvPr>
              <p:cNvSpPr/>
              <p:nvPr/>
            </p:nvSpPr>
            <p:spPr>
              <a:xfrm>
                <a:off x="3306350" y="1661255"/>
                <a:ext cx="235974" cy="29496"/>
              </a:xfrm>
              <a:custGeom>
                <a:avLst/>
                <a:gdLst>
                  <a:gd name="connsiteX0" fmla="*/ 0 w 235974"/>
                  <a:gd name="connsiteY0" fmla="*/ 0 h 29496"/>
                  <a:gd name="connsiteX1" fmla="*/ 235974 w 235974"/>
                  <a:gd name="connsiteY1" fmla="*/ 0 h 29496"/>
                  <a:gd name="connsiteX2" fmla="*/ 235974 w 235974"/>
                  <a:gd name="connsiteY2" fmla="*/ 29497 h 29496"/>
                  <a:gd name="connsiteX3" fmla="*/ 0 w 235974"/>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35974" h="29496">
                    <a:moveTo>
                      <a:pt x="0" y="0"/>
                    </a:moveTo>
                    <a:lnTo>
                      <a:pt x="235974" y="0"/>
                    </a:lnTo>
                    <a:lnTo>
                      <a:pt x="235974"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24" name="Freeform: Shape 123">
                <a:extLst>
                  <a:ext uri="{FF2B5EF4-FFF2-40B4-BE49-F238E27FC236}">
                    <a16:creationId xmlns:a16="http://schemas.microsoft.com/office/drawing/2014/main" id="{90ADF4F7-136A-9196-88CB-F389D5DF3C0D}"/>
                  </a:ext>
                </a:extLst>
              </p:cNvPr>
              <p:cNvSpPr/>
              <p:nvPr/>
            </p:nvSpPr>
            <p:spPr>
              <a:xfrm>
                <a:off x="3984775" y="1661255"/>
                <a:ext cx="235974" cy="29496"/>
              </a:xfrm>
              <a:custGeom>
                <a:avLst/>
                <a:gdLst>
                  <a:gd name="connsiteX0" fmla="*/ 0 w 235974"/>
                  <a:gd name="connsiteY0" fmla="*/ 0 h 29496"/>
                  <a:gd name="connsiteX1" fmla="*/ 235974 w 235974"/>
                  <a:gd name="connsiteY1" fmla="*/ 0 h 29496"/>
                  <a:gd name="connsiteX2" fmla="*/ 235974 w 235974"/>
                  <a:gd name="connsiteY2" fmla="*/ 29497 h 29496"/>
                  <a:gd name="connsiteX3" fmla="*/ 0 w 235974"/>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35974" h="29496">
                    <a:moveTo>
                      <a:pt x="0" y="0"/>
                    </a:moveTo>
                    <a:lnTo>
                      <a:pt x="235974" y="0"/>
                    </a:lnTo>
                    <a:lnTo>
                      <a:pt x="235974"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25" name="Freeform: Shape 124">
                <a:extLst>
                  <a:ext uri="{FF2B5EF4-FFF2-40B4-BE49-F238E27FC236}">
                    <a16:creationId xmlns:a16="http://schemas.microsoft.com/office/drawing/2014/main" id="{77675993-B4E4-840C-55D0-3EF03BE55C03}"/>
                  </a:ext>
                </a:extLst>
              </p:cNvPr>
              <p:cNvSpPr/>
              <p:nvPr/>
            </p:nvSpPr>
            <p:spPr>
              <a:xfrm>
                <a:off x="3571820" y="1513771"/>
                <a:ext cx="383458" cy="324464"/>
              </a:xfrm>
              <a:custGeom>
                <a:avLst/>
                <a:gdLst>
                  <a:gd name="connsiteX0" fmla="*/ 383458 w 383458"/>
                  <a:gd name="connsiteY0" fmla="*/ 147484 h 324464"/>
                  <a:gd name="connsiteX1" fmla="*/ 353212 w 383458"/>
                  <a:gd name="connsiteY1" fmla="*/ 147484 h 324464"/>
                  <a:gd name="connsiteX2" fmla="*/ 191729 w 383458"/>
                  <a:gd name="connsiteY2" fmla="*/ 0 h 324464"/>
                  <a:gd name="connsiteX3" fmla="*/ 30246 w 383458"/>
                  <a:gd name="connsiteY3" fmla="*/ 147484 h 324464"/>
                  <a:gd name="connsiteX4" fmla="*/ 0 w 383458"/>
                  <a:gd name="connsiteY4" fmla="*/ 147484 h 324464"/>
                  <a:gd name="connsiteX5" fmla="*/ 0 w 383458"/>
                  <a:gd name="connsiteY5" fmla="*/ 176981 h 324464"/>
                  <a:gd name="connsiteX6" fmla="*/ 30246 w 383458"/>
                  <a:gd name="connsiteY6" fmla="*/ 176981 h 324464"/>
                  <a:gd name="connsiteX7" fmla="*/ 191729 w 383458"/>
                  <a:gd name="connsiteY7" fmla="*/ 324465 h 324464"/>
                  <a:gd name="connsiteX8" fmla="*/ 353212 w 383458"/>
                  <a:gd name="connsiteY8" fmla="*/ 176981 h 324464"/>
                  <a:gd name="connsiteX9" fmla="*/ 383458 w 383458"/>
                  <a:gd name="connsiteY9" fmla="*/ 176981 h 324464"/>
                  <a:gd name="connsiteX10" fmla="*/ 191729 w 383458"/>
                  <a:gd name="connsiteY10" fmla="*/ 294968 h 324464"/>
                  <a:gd name="connsiteX11" fmla="*/ 58994 w 383458"/>
                  <a:gd name="connsiteY11" fmla="*/ 162232 h 324464"/>
                  <a:gd name="connsiteX12" fmla="*/ 191729 w 383458"/>
                  <a:gd name="connsiteY12" fmla="*/ 29497 h 324464"/>
                  <a:gd name="connsiteX13" fmla="*/ 324465 w 383458"/>
                  <a:gd name="connsiteY13" fmla="*/ 162232 h 324464"/>
                  <a:gd name="connsiteX14" fmla="*/ 191729 w 383458"/>
                  <a:gd name="connsiteY14" fmla="*/ 294968 h 32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458" h="324464">
                    <a:moveTo>
                      <a:pt x="383458" y="147484"/>
                    </a:moveTo>
                    <a:lnTo>
                      <a:pt x="353212" y="147484"/>
                    </a:lnTo>
                    <a:cubicBezTo>
                      <a:pt x="345730" y="64920"/>
                      <a:pt x="276208" y="0"/>
                      <a:pt x="191729" y="0"/>
                    </a:cubicBezTo>
                    <a:cubicBezTo>
                      <a:pt x="107250" y="0"/>
                      <a:pt x="37728" y="64920"/>
                      <a:pt x="30246" y="147484"/>
                    </a:cubicBezTo>
                    <a:lnTo>
                      <a:pt x="0" y="147484"/>
                    </a:lnTo>
                    <a:lnTo>
                      <a:pt x="0" y="176981"/>
                    </a:lnTo>
                    <a:lnTo>
                      <a:pt x="30246" y="176981"/>
                    </a:lnTo>
                    <a:cubicBezTo>
                      <a:pt x="37728" y="259544"/>
                      <a:pt x="107250" y="324465"/>
                      <a:pt x="191729" y="324465"/>
                    </a:cubicBezTo>
                    <a:cubicBezTo>
                      <a:pt x="276208" y="324465"/>
                      <a:pt x="345730" y="259544"/>
                      <a:pt x="353212" y="176981"/>
                    </a:cubicBezTo>
                    <a:lnTo>
                      <a:pt x="383458" y="176981"/>
                    </a:lnTo>
                    <a:close/>
                    <a:moveTo>
                      <a:pt x="191729" y="294968"/>
                    </a:moveTo>
                    <a:cubicBezTo>
                      <a:pt x="118549" y="294968"/>
                      <a:pt x="58994" y="235412"/>
                      <a:pt x="58994" y="162232"/>
                    </a:cubicBezTo>
                    <a:cubicBezTo>
                      <a:pt x="58994" y="89052"/>
                      <a:pt x="118549" y="29497"/>
                      <a:pt x="191729" y="29497"/>
                    </a:cubicBezTo>
                    <a:cubicBezTo>
                      <a:pt x="264909" y="29497"/>
                      <a:pt x="324465" y="89052"/>
                      <a:pt x="324465" y="162232"/>
                    </a:cubicBezTo>
                    <a:cubicBezTo>
                      <a:pt x="324465" y="235412"/>
                      <a:pt x="264909" y="294968"/>
                      <a:pt x="191729" y="294968"/>
                    </a:cubicBez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26" name="Freeform: Shape 125">
                <a:extLst>
                  <a:ext uri="{FF2B5EF4-FFF2-40B4-BE49-F238E27FC236}">
                    <a16:creationId xmlns:a16="http://schemas.microsoft.com/office/drawing/2014/main" id="{8F066DB0-A38F-718B-67F7-5882BF3D01D7}"/>
                  </a:ext>
                </a:extLst>
              </p:cNvPr>
              <p:cNvSpPr/>
              <p:nvPr/>
            </p:nvSpPr>
            <p:spPr>
              <a:xfrm>
                <a:off x="3350595" y="1779242"/>
                <a:ext cx="870154" cy="589935"/>
              </a:xfrm>
              <a:custGeom>
                <a:avLst/>
                <a:gdLst>
                  <a:gd name="connsiteX0" fmla="*/ 840658 w 870154"/>
                  <a:gd name="connsiteY0" fmla="*/ 162232 h 589935"/>
                  <a:gd name="connsiteX1" fmla="*/ 825910 w 870154"/>
                  <a:gd name="connsiteY1" fmla="*/ 162232 h 589935"/>
                  <a:gd name="connsiteX2" fmla="*/ 825910 w 870154"/>
                  <a:gd name="connsiteY2" fmla="*/ 0 h 589935"/>
                  <a:gd name="connsiteX3" fmla="*/ 796413 w 870154"/>
                  <a:gd name="connsiteY3" fmla="*/ 0 h 589935"/>
                  <a:gd name="connsiteX4" fmla="*/ 796413 w 870154"/>
                  <a:gd name="connsiteY4" fmla="*/ 162232 h 589935"/>
                  <a:gd name="connsiteX5" fmla="*/ 545690 w 870154"/>
                  <a:gd name="connsiteY5" fmla="*/ 162232 h 589935"/>
                  <a:gd name="connsiteX6" fmla="*/ 516194 w 870154"/>
                  <a:gd name="connsiteY6" fmla="*/ 191729 h 589935"/>
                  <a:gd name="connsiteX7" fmla="*/ 516194 w 870154"/>
                  <a:gd name="connsiteY7" fmla="*/ 221226 h 589935"/>
                  <a:gd name="connsiteX8" fmla="*/ 545690 w 870154"/>
                  <a:gd name="connsiteY8" fmla="*/ 250723 h 589935"/>
                  <a:gd name="connsiteX9" fmla="*/ 545690 w 870154"/>
                  <a:gd name="connsiteY9" fmla="*/ 332206 h 589935"/>
                  <a:gd name="connsiteX10" fmla="*/ 457200 w 870154"/>
                  <a:gd name="connsiteY10" fmla="*/ 457200 h 589935"/>
                  <a:gd name="connsiteX11" fmla="*/ 464941 w 870154"/>
                  <a:gd name="connsiteY11" fmla="*/ 501445 h 589935"/>
                  <a:gd name="connsiteX12" fmla="*/ 383458 w 870154"/>
                  <a:gd name="connsiteY12" fmla="*/ 501445 h 589935"/>
                  <a:gd name="connsiteX13" fmla="*/ 383458 w 870154"/>
                  <a:gd name="connsiteY13" fmla="*/ 147484 h 589935"/>
                  <a:gd name="connsiteX14" fmla="*/ 88490 w 870154"/>
                  <a:gd name="connsiteY14" fmla="*/ 147484 h 589935"/>
                  <a:gd name="connsiteX15" fmla="*/ 88490 w 870154"/>
                  <a:gd name="connsiteY15" fmla="*/ 501445 h 589935"/>
                  <a:gd name="connsiteX16" fmla="*/ 29497 w 870154"/>
                  <a:gd name="connsiteY16" fmla="*/ 501445 h 589935"/>
                  <a:gd name="connsiteX17" fmla="*/ 29497 w 870154"/>
                  <a:gd name="connsiteY17" fmla="*/ 0 h 589935"/>
                  <a:gd name="connsiteX18" fmla="*/ 0 w 870154"/>
                  <a:gd name="connsiteY18" fmla="*/ 0 h 589935"/>
                  <a:gd name="connsiteX19" fmla="*/ 0 w 870154"/>
                  <a:gd name="connsiteY19" fmla="*/ 530942 h 589935"/>
                  <a:gd name="connsiteX20" fmla="*/ 479647 w 870154"/>
                  <a:gd name="connsiteY20" fmla="*/ 530942 h 589935"/>
                  <a:gd name="connsiteX21" fmla="*/ 589936 w 870154"/>
                  <a:gd name="connsiteY21" fmla="*/ 589936 h 589935"/>
                  <a:gd name="connsiteX22" fmla="*/ 673176 w 870154"/>
                  <a:gd name="connsiteY22" fmla="*/ 560439 h 589935"/>
                  <a:gd name="connsiteX23" fmla="*/ 796413 w 870154"/>
                  <a:gd name="connsiteY23" fmla="*/ 560439 h 589935"/>
                  <a:gd name="connsiteX24" fmla="*/ 840658 w 870154"/>
                  <a:gd name="connsiteY24" fmla="*/ 516194 h 589935"/>
                  <a:gd name="connsiteX25" fmla="*/ 840658 w 870154"/>
                  <a:gd name="connsiteY25" fmla="*/ 250723 h 589935"/>
                  <a:gd name="connsiteX26" fmla="*/ 870155 w 870154"/>
                  <a:gd name="connsiteY26" fmla="*/ 221226 h 589935"/>
                  <a:gd name="connsiteX27" fmla="*/ 870155 w 870154"/>
                  <a:gd name="connsiteY27" fmla="*/ 191729 h 589935"/>
                  <a:gd name="connsiteX28" fmla="*/ 840658 w 870154"/>
                  <a:gd name="connsiteY28" fmla="*/ 162232 h 589935"/>
                  <a:gd name="connsiteX29" fmla="*/ 117987 w 870154"/>
                  <a:gd name="connsiteY29" fmla="*/ 176981 h 589935"/>
                  <a:gd name="connsiteX30" fmla="*/ 353961 w 870154"/>
                  <a:gd name="connsiteY30" fmla="*/ 176981 h 589935"/>
                  <a:gd name="connsiteX31" fmla="*/ 353961 w 870154"/>
                  <a:gd name="connsiteY31" fmla="*/ 501445 h 589935"/>
                  <a:gd name="connsiteX32" fmla="*/ 117987 w 870154"/>
                  <a:gd name="connsiteY32" fmla="*/ 501445 h 589935"/>
                  <a:gd name="connsiteX33" fmla="*/ 589936 w 870154"/>
                  <a:gd name="connsiteY33" fmla="*/ 353961 h 589935"/>
                  <a:gd name="connsiteX34" fmla="*/ 691993 w 870154"/>
                  <a:gd name="connsiteY34" fmla="*/ 442452 h 589935"/>
                  <a:gd name="connsiteX35" fmla="*/ 487878 w 870154"/>
                  <a:gd name="connsiteY35" fmla="*/ 442452 h 589935"/>
                  <a:gd name="connsiteX36" fmla="*/ 589936 w 870154"/>
                  <a:gd name="connsiteY36" fmla="*/ 353961 h 589935"/>
                  <a:gd name="connsiteX37" fmla="*/ 589936 w 870154"/>
                  <a:gd name="connsiteY37" fmla="*/ 560439 h 589935"/>
                  <a:gd name="connsiteX38" fmla="*/ 487878 w 870154"/>
                  <a:gd name="connsiteY38" fmla="*/ 471948 h 589935"/>
                  <a:gd name="connsiteX39" fmla="*/ 691993 w 870154"/>
                  <a:gd name="connsiteY39" fmla="*/ 471948 h 589935"/>
                  <a:gd name="connsiteX40" fmla="*/ 589936 w 870154"/>
                  <a:gd name="connsiteY40" fmla="*/ 560439 h 589935"/>
                  <a:gd name="connsiteX41" fmla="*/ 811161 w 870154"/>
                  <a:gd name="connsiteY41" fmla="*/ 516194 h 589935"/>
                  <a:gd name="connsiteX42" fmla="*/ 796413 w 870154"/>
                  <a:gd name="connsiteY42" fmla="*/ 530942 h 589935"/>
                  <a:gd name="connsiteX43" fmla="*/ 700224 w 870154"/>
                  <a:gd name="connsiteY43" fmla="*/ 530942 h 589935"/>
                  <a:gd name="connsiteX44" fmla="*/ 722671 w 870154"/>
                  <a:gd name="connsiteY44" fmla="*/ 457200 h 589935"/>
                  <a:gd name="connsiteX45" fmla="*/ 589936 w 870154"/>
                  <a:gd name="connsiteY45" fmla="*/ 324465 h 589935"/>
                  <a:gd name="connsiteX46" fmla="*/ 575187 w 870154"/>
                  <a:gd name="connsiteY46" fmla="*/ 325336 h 589935"/>
                  <a:gd name="connsiteX47" fmla="*/ 575187 w 870154"/>
                  <a:gd name="connsiteY47" fmla="*/ 250723 h 589935"/>
                  <a:gd name="connsiteX48" fmla="*/ 811161 w 870154"/>
                  <a:gd name="connsiteY48" fmla="*/ 250723 h 589935"/>
                  <a:gd name="connsiteX49" fmla="*/ 545690 w 870154"/>
                  <a:gd name="connsiteY49" fmla="*/ 221226 h 589935"/>
                  <a:gd name="connsiteX50" fmla="*/ 545690 w 870154"/>
                  <a:gd name="connsiteY50" fmla="*/ 191729 h 589935"/>
                  <a:gd name="connsiteX51" fmla="*/ 840658 w 870154"/>
                  <a:gd name="connsiteY51" fmla="*/ 191729 h 589935"/>
                  <a:gd name="connsiteX52" fmla="*/ 840672 w 870154"/>
                  <a:gd name="connsiteY52" fmla="*/ 221226 h 58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870154" h="589935">
                    <a:moveTo>
                      <a:pt x="840658" y="162232"/>
                    </a:moveTo>
                    <a:lnTo>
                      <a:pt x="825910" y="162232"/>
                    </a:lnTo>
                    <a:lnTo>
                      <a:pt x="825910" y="0"/>
                    </a:lnTo>
                    <a:lnTo>
                      <a:pt x="796413" y="0"/>
                    </a:lnTo>
                    <a:lnTo>
                      <a:pt x="796413" y="162232"/>
                    </a:lnTo>
                    <a:lnTo>
                      <a:pt x="545690" y="162232"/>
                    </a:lnTo>
                    <a:cubicBezTo>
                      <a:pt x="529422" y="162232"/>
                      <a:pt x="516194" y="175461"/>
                      <a:pt x="516194" y="191729"/>
                    </a:cubicBezTo>
                    <a:lnTo>
                      <a:pt x="516194" y="221226"/>
                    </a:lnTo>
                    <a:cubicBezTo>
                      <a:pt x="516194" y="237494"/>
                      <a:pt x="529422" y="250723"/>
                      <a:pt x="545690" y="250723"/>
                    </a:cubicBezTo>
                    <a:lnTo>
                      <a:pt x="545690" y="332206"/>
                    </a:lnTo>
                    <a:cubicBezTo>
                      <a:pt x="494215" y="350497"/>
                      <a:pt x="457200" y="399532"/>
                      <a:pt x="457200" y="457200"/>
                    </a:cubicBezTo>
                    <a:cubicBezTo>
                      <a:pt x="457200" y="472733"/>
                      <a:pt x="460016" y="487583"/>
                      <a:pt x="464941" y="501445"/>
                    </a:cubicBezTo>
                    <a:lnTo>
                      <a:pt x="383458" y="501445"/>
                    </a:lnTo>
                    <a:lnTo>
                      <a:pt x="383458" y="147484"/>
                    </a:lnTo>
                    <a:lnTo>
                      <a:pt x="88490" y="147484"/>
                    </a:lnTo>
                    <a:lnTo>
                      <a:pt x="88490" y="501445"/>
                    </a:lnTo>
                    <a:lnTo>
                      <a:pt x="29497" y="501445"/>
                    </a:lnTo>
                    <a:lnTo>
                      <a:pt x="29497" y="0"/>
                    </a:lnTo>
                    <a:lnTo>
                      <a:pt x="0" y="0"/>
                    </a:lnTo>
                    <a:lnTo>
                      <a:pt x="0" y="530942"/>
                    </a:lnTo>
                    <a:lnTo>
                      <a:pt x="479647" y="530942"/>
                    </a:lnTo>
                    <a:cubicBezTo>
                      <a:pt x="503498" y="566488"/>
                      <a:pt x="544027" y="589936"/>
                      <a:pt x="589936" y="589936"/>
                    </a:cubicBezTo>
                    <a:cubicBezTo>
                      <a:pt x="621441" y="589936"/>
                      <a:pt x="650391" y="578845"/>
                      <a:pt x="673176" y="560439"/>
                    </a:cubicBezTo>
                    <a:lnTo>
                      <a:pt x="796413" y="560439"/>
                    </a:lnTo>
                    <a:cubicBezTo>
                      <a:pt x="820804" y="560439"/>
                      <a:pt x="840658" y="540585"/>
                      <a:pt x="840658" y="516194"/>
                    </a:cubicBezTo>
                    <a:lnTo>
                      <a:pt x="840658" y="250723"/>
                    </a:lnTo>
                    <a:cubicBezTo>
                      <a:pt x="856926" y="250723"/>
                      <a:pt x="870155" y="237494"/>
                      <a:pt x="870155" y="221226"/>
                    </a:cubicBezTo>
                    <a:lnTo>
                      <a:pt x="870155" y="191729"/>
                    </a:lnTo>
                    <a:cubicBezTo>
                      <a:pt x="870155" y="175461"/>
                      <a:pt x="856926" y="162232"/>
                      <a:pt x="840658" y="162232"/>
                    </a:cubicBezTo>
                    <a:close/>
                    <a:moveTo>
                      <a:pt x="117987" y="176981"/>
                    </a:moveTo>
                    <a:lnTo>
                      <a:pt x="353961" y="176981"/>
                    </a:lnTo>
                    <a:lnTo>
                      <a:pt x="353961" y="501445"/>
                    </a:lnTo>
                    <a:lnTo>
                      <a:pt x="117987" y="501445"/>
                    </a:lnTo>
                    <a:close/>
                    <a:moveTo>
                      <a:pt x="589936" y="353961"/>
                    </a:moveTo>
                    <a:cubicBezTo>
                      <a:pt x="641836" y="353961"/>
                      <a:pt x="684799" y="392496"/>
                      <a:pt x="691993" y="442452"/>
                    </a:cubicBezTo>
                    <a:lnTo>
                      <a:pt x="487878" y="442452"/>
                    </a:lnTo>
                    <a:cubicBezTo>
                      <a:pt x="495072" y="392496"/>
                      <a:pt x="538035" y="353961"/>
                      <a:pt x="589936" y="353961"/>
                    </a:cubicBezTo>
                    <a:close/>
                    <a:moveTo>
                      <a:pt x="589936" y="560439"/>
                    </a:moveTo>
                    <a:cubicBezTo>
                      <a:pt x="538035" y="560439"/>
                      <a:pt x="495072" y="521904"/>
                      <a:pt x="487878" y="471948"/>
                    </a:cubicBezTo>
                    <a:lnTo>
                      <a:pt x="691993" y="471948"/>
                    </a:lnTo>
                    <a:cubicBezTo>
                      <a:pt x="684799" y="521904"/>
                      <a:pt x="641836" y="560439"/>
                      <a:pt x="589936" y="560439"/>
                    </a:cubicBezTo>
                    <a:close/>
                    <a:moveTo>
                      <a:pt x="811161" y="516194"/>
                    </a:moveTo>
                    <a:cubicBezTo>
                      <a:pt x="811161" y="524317"/>
                      <a:pt x="804536" y="530942"/>
                      <a:pt x="796413" y="530942"/>
                    </a:cubicBezTo>
                    <a:lnTo>
                      <a:pt x="700224" y="530942"/>
                    </a:lnTo>
                    <a:cubicBezTo>
                      <a:pt x="714382" y="509835"/>
                      <a:pt x="722671" y="484472"/>
                      <a:pt x="722671" y="457200"/>
                    </a:cubicBezTo>
                    <a:cubicBezTo>
                      <a:pt x="722671" y="384020"/>
                      <a:pt x="663116" y="324465"/>
                      <a:pt x="589936" y="324465"/>
                    </a:cubicBezTo>
                    <a:cubicBezTo>
                      <a:pt x="584952" y="324465"/>
                      <a:pt x="580041" y="324789"/>
                      <a:pt x="575187" y="325336"/>
                    </a:cubicBezTo>
                    <a:lnTo>
                      <a:pt x="575187" y="250723"/>
                    </a:lnTo>
                    <a:lnTo>
                      <a:pt x="811161" y="250723"/>
                    </a:lnTo>
                    <a:close/>
                    <a:moveTo>
                      <a:pt x="545690" y="221226"/>
                    </a:moveTo>
                    <a:lnTo>
                      <a:pt x="545690" y="191729"/>
                    </a:lnTo>
                    <a:lnTo>
                      <a:pt x="840658" y="191729"/>
                    </a:lnTo>
                    <a:lnTo>
                      <a:pt x="840672" y="221226"/>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27" name="Freeform: Shape 126">
                <a:extLst>
                  <a:ext uri="{FF2B5EF4-FFF2-40B4-BE49-F238E27FC236}">
                    <a16:creationId xmlns:a16="http://schemas.microsoft.com/office/drawing/2014/main" id="{0894D3DA-C7F6-6560-FB82-97AA531DF004}"/>
                  </a:ext>
                </a:extLst>
              </p:cNvPr>
              <p:cNvSpPr/>
              <p:nvPr/>
            </p:nvSpPr>
            <p:spPr>
              <a:xfrm>
                <a:off x="3498079" y="1985719"/>
                <a:ext cx="176980" cy="88490"/>
              </a:xfrm>
              <a:custGeom>
                <a:avLst/>
                <a:gdLst>
                  <a:gd name="connsiteX0" fmla="*/ 0 w 176980"/>
                  <a:gd name="connsiteY0" fmla="*/ 0 h 88490"/>
                  <a:gd name="connsiteX1" fmla="*/ 0 w 176980"/>
                  <a:gd name="connsiteY1" fmla="*/ 88490 h 88490"/>
                  <a:gd name="connsiteX2" fmla="*/ 176981 w 176980"/>
                  <a:gd name="connsiteY2" fmla="*/ 88490 h 88490"/>
                  <a:gd name="connsiteX3" fmla="*/ 176981 w 176980"/>
                  <a:gd name="connsiteY3" fmla="*/ 0 h 88490"/>
                  <a:gd name="connsiteX4" fmla="*/ 147484 w 176980"/>
                  <a:gd name="connsiteY4" fmla="*/ 58994 h 88490"/>
                  <a:gd name="connsiteX5" fmla="*/ 29497 w 176980"/>
                  <a:gd name="connsiteY5" fmla="*/ 58994 h 88490"/>
                  <a:gd name="connsiteX6" fmla="*/ 29497 w 176980"/>
                  <a:gd name="connsiteY6" fmla="*/ 29497 h 88490"/>
                  <a:gd name="connsiteX7" fmla="*/ 147484 w 176980"/>
                  <a:gd name="connsiteY7" fmla="*/ 29497 h 8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980" h="88490">
                    <a:moveTo>
                      <a:pt x="0" y="0"/>
                    </a:moveTo>
                    <a:lnTo>
                      <a:pt x="0" y="88490"/>
                    </a:lnTo>
                    <a:lnTo>
                      <a:pt x="176981" y="88490"/>
                    </a:lnTo>
                    <a:lnTo>
                      <a:pt x="176981" y="0"/>
                    </a:lnTo>
                    <a:close/>
                    <a:moveTo>
                      <a:pt x="147484" y="58994"/>
                    </a:moveTo>
                    <a:lnTo>
                      <a:pt x="29497" y="58994"/>
                    </a:lnTo>
                    <a:lnTo>
                      <a:pt x="29497" y="29497"/>
                    </a:lnTo>
                    <a:lnTo>
                      <a:pt x="147484"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sp>
            <p:nvSpPr>
              <p:cNvPr id="128" name="Freeform: Shape 127">
                <a:extLst>
                  <a:ext uri="{FF2B5EF4-FFF2-40B4-BE49-F238E27FC236}">
                    <a16:creationId xmlns:a16="http://schemas.microsoft.com/office/drawing/2014/main" id="{581EB496-9789-0090-0F2C-3C3B2EBD103A}"/>
                  </a:ext>
                </a:extLst>
              </p:cNvPr>
              <p:cNvSpPr/>
              <p:nvPr/>
            </p:nvSpPr>
            <p:spPr>
              <a:xfrm>
                <a:off x="3498079" y="2133203"/>
                <a:ext cx="29496" cy="29496"/>
              </a:xfrm>
              <a:custGeom>
                <a:avLst/>
                <a:gdLst>
                  <a:gd name="connsiteX0" fmla="*/ 0 w 29496"/>
                  <a:gd name="connsiteY0" fmla="*/ 0 h 29496"/>
                  <a:gd name="connsiteX1" fmla="*/ 29497 w 29496"/>
                  <a:gd name="connsiteY1" fmla="*/ 0 h 29496"/>
                  <a:gd name="connsiteX2" fmla="*/ 29497 w 29496"/>
                  <a:gd name="connsiteY2" fmla="*/ 29497 h 29496"/>
                  <a:gd name="connsiteX3" fmla="*/ 0 w 29496"/>
                  <a:gd name="connsiteY3" fmla="*/ 29497 h 29496"/>
                </a:gdLst>
                <a:ahLst/>
                <a:cxnLst>
                  <a:cxn ang="0">
                    <a:pos x="connsiteX0" y="connsiteY0"/>
                  </a:cxn>
                  <a:cxn ang="0">
                    <a:pos x="connsiteX1" y="connsiteY1"/>
                  </a:cxn>
                  <a:cxn ang="0">
                    <a:pos x="connsiteX2" y="connsiteY2"/>
                  </a:cxn>
                  <a:cxn ang="0">
                    <a:pos x="connsiteX3" y="connsiteY3"/>
                  </a:cxn>
                </a:cxnLst>
                <a:rect l="l" t="t" r="r" b="b"/>
                <a:pathLst>
                  <a:path w="29496" h="29496">
                    <a:moveTo>
                      <a:pt x="0" y="0"/>
                    </a:moveTo>
                    <a:lnTo>
                      <a:pt x="29497" y="0"/>
                    </a:lnTo>
                    <a:lnTo>
                      <a:pt x="29497" y="29497"/>
                    </a:lnTo>
                    <a:lnTo>
                      <a:pt x="0" y="29497"/>
                    </a:lnTo>
                    <a:close/>
                  </a:path>
                </a:pathLst>
              </a:custGeom>
              <a:grpFill/>
              <a:ln w="1844" cap="flat">
                <a:no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Gill Sans MT" panose="020B0502020104020203"/>
                  <a:ea typeface="+mn-ea"/>
                  <a:cs typeface="Arial" panose="020B0604020202020204" pitchFamily="34" charset="0"/>
                </a:endParaRPr>
              </a:p>
            </p:txBody>
          </p:sp>
        </p:grpSp>
        <p:pic>
          <p:nvPicPr>
            <p:cNvPr id="100" name="Picture 99">
              <a:extLst>
                <a:ext uri="{FF2B5EF4-FFF2-40B4-BE49-F238E27FC236}">
                  <a16:creationId xmlns:a16="http://schemas.microsoft.com/office/drawing/2014/main" id="{446BEAE1-7EF3-59A1-0AFB-07B45F1077D9}"/>
                </a:ext>
              </a:extLst>
            </p:cNvPr>
            <p:cNvPicPr>
              <a:picLocks noChangeAspect="1"/>
            </p:cNvPicPr>
            <p:nvPr/>
          </p:nvPicPr>
          <p:blipFill rotWithShape="1">
            <a:blip r:embed="rId5"/>
            <a:srcRect t="-2517" r="10470" b="1"/>
            <a:stretch/>
          </p:blipFill>
          <p:spPr>
            <a:xfrm>
              <a:off x="6836202" y="5220779"/>
              <a:ext cx="689038" cy="812428"/>
            </a:xfrm>
            <a:prstGeom prst="rect">
              <a:avLst/>
            </a:prstGeom>
          </p:spPr>
        </p:pic>
        <p:sp>
          <p:nvSpPr>
            <p:cNvPr id="101" name="Rectangle 100">
              <a:extLst>
                <a:ext uri="{FF2B5EF4-FFF2-40B4-BE49-F238E27FC236}">
                  <a16:creationId xmlns:a16="http://schemas.microsoft.com/office/drawing/2014/main" id="{887AB57A-CC51-8F04-650E-359787A30426}"/>
                </a:ext>
              </a:extLst>
            </p:cNvPr>
            <p:cNvSpPr/>
            <p:nvPr/>
          </p:nvSpPr>
          <p:spPr bwMode="auto">
            <a:xfrm>
              <a:off x="6610839" y="572892"/>
              <a:ext cx="1465739" cy="436551"/>
            </a:xfrm>
            <a:prstGeom prst="rect">
              <a:avLst/>
            </a:prstGeom>
            <a:solidFill>
              <a:srgbClr val="6CBCBA"/>
            </a:solidFill>
            <a:ln w="9525">
              <a:noFill/>
              <a:round/>
              <a:headEnd/>
              <a:tailEnd/>
            </a:ln>
            <a:effectLst/>
          </p:spPr>
          <p:txBody>
            <a:bodyPr wrap="squar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rivate</a:t>
              </a:r>
            </a:p>
          </p:txBody>
        </p:sp>
        <p:cxnSp>
          <p:nvCxnSpPr>
            <p:cNvPr id="102" name="Connector: Elbow 101">
              <a:extLst>
                <a:ext uri="{FF2B5EF4-FFF2-40B4-BE49-F238E27FC236}">
                  <a16:creationId xmlns:a16="http://schemas.microsoft.com/office/drawing/2014/main" id="{C63E1189-6766-E209-719A-2A76593AB036}"/>
                </a:ext>
              </a:extLst>
            </p:cNvPr>
            <p:cNvCxnSpPr>
              <a:cxnSpLocks/>
              <a:stCxn id="100" idx="3"/>
              <a:endCxn id="126" idx="0"/>
            </p:cNvCxnSpPr>
            <p:nvPr/>
          </p:nvCxnSpPr>
          <p:spPr>
            <a:xfrm flipH="1" flipV="1">
              <a:off x="7499662" y="3630608"/>
              <a:ext cx="25578" cy="1996385"/>
            </a:xfrm>
            <a:prstGeom prst="bentConnector3">
              <a:avLst>
                <a:gd name="adj1" fmla="val -89373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48E930B6-3494-C385-A14F-E000073864B8}"/>
                </a:ext>
              </a:extLst>
            </p:cNvPr>
            <p:cNvCxnSpPr>
              <a:stCxn id="100" idx="1"/>
              <a:endCxn id="137" idx="52"/>
            </p:cNvCxnSpPr>
            <p:nvPr/>
          </p:nvCxnSpPr>
          <p:spPr>
            <a:xfrm flipH="1" flipV="1">
              <a:off x="3087237" y="3682603"/>
              <a:ext cx="3748965" cy="19443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1C152FA4-EC5E-4E2C-DD57-DF543CF4E911}"/>
                </a:ext>
              </a:extLst>
            </p:cNvPr>
            <p:cNvCxnSpPr>
              <a:cxnSpLocks/>
              <a:stCxn id="100" idx="1"/>
              <a:endCxn id="168" idx="2"/>
            </p:cNvCxnSpPr>
            <p:nvPr/>
          </p:nvCxnSpPr>
          <p:spPr>
            <a:xfrm flipH="1" flipV="1">
              <a:off x="3107800" y="1686605"/>
              <a:ext cx="3728402" cy="39403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id="{39A2C38B-3831-8E8E-68F1-B982E6694FCD}"/>
                </a:ext>
              </a:extLst>
            </p:cNvPr>
            <p:cNvCxnSpPr>
              <a:cxnSpLocks/>
            </p:cNvCxnSpPr>
            <p:nvPr/>
          </p:nvCxnSpPr>
          <p:spPr>
            <a:xfrm rot="10800000">
              <a:off x="1914612" y="3706753"/>
              <a:ext cx="457200" cy="192024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7FA83B79-6814-D0F7-0F27-BF6F994477F1}"/>
                </a:ext>
              </a:extLst>
            </p:cNvPr>
            <p:cNvCxnSpPr>
              <a:cxnSpLocks/>
            </p:cNvCxnSpPr>
            <p:nvPr/>
          </p:nvCxnSpPr>
          <p:spPr>
            <a:xfrm>
              <a:off x="1914611" y="3706753"/>
              <a:ext cx="4572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A0E61E62-875E-20E0-7FFE-851D8ADE2BFF}"/>
                </a:ext>
              </a:extLst>
            </p:cNvPr>
            <p:cNvCxnSpPr>
              <a:cxnSpLocks/>
            </p:cNvCxnSpPr>
            <p:nvPr/>
          </p:nvCxnSpPr>
          <p:spPr>
            <a:xfrm rot="10800000">
              <a:off x="1721924" y="1695073"/>
              <a:ext cx="649889" cy="393192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45C970F3-573D-574A-429C-B713B486A5D8}"/>
                </a:ext>
              </a:extLst>
            </p:cNvPr>
            <p:cNvCxnSpPr>
              <a:cxnSpLocks/>
              <a:endCxn id="140" idx="25"/>
            </p:cNvCxnSpPr>
            <p:nvPr/>
          </p:nvCxnSpPr>
          <p:spPr>
            <a:xfrm>
              <a:off x="1721918" y="1686605"/>
              <a:ext cx="64531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FCB5582D-0B8C-B646-5F95-B3A2AF4D68E1}"/>
                </a:ext>
              </a:extLst>
            </p:cNvPr>
            <p:cNvCxnSpPr>
              <a:cxnSpLocks/>
              <a:stCxn id="121" idx="3"/>
            </p:cNvCxnSpPr>
            <p:nvPr/>
          </p:nvCxnSpPr>
          <p:spPr>
            <a:xfrm flipH="1" flipV="1">
              <a:off x="3107577" y="1582301"/>
              <a:ext cx="3624720" cy="19053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332CE8AA-B093-65F1-E4E4-9DBE686D7526}"/>
                </a:ext>
              </a:extLst>
            </p:cNvPr>
            <p:cNvCxnSpPr>
              <a:cxnSpLocks/>
            </p:cNvCxnSpPr>
            <p:nvPr/>
          </p:nvCxnSpPr>
          <p:spPr>
            <a:xfrm flipH="1" flipV="1">
              <a:off x="2713245" y="2022583"/>
              <a:ext cx="3087" cy="11887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B2CDC4E3-99A3-2852-3E1E-2BD2026DA041}"/>
                </a:ext>
              </a:extLst>
            </p:cNvPr>
            <p:cNvSpPr/>
            <p:nvPr/>
          </p:nvSpPr>
          <p:spPr bwMode="auto">
            <a:xfrm rot="16200000">
              <a:off x="1177910" y="3660452"/>
              <a:ext cx="822960" cy="274320"/>
            </a:xfrm>
            <a:prstGeom prst="rect">
              <a:avLst/>
            </a:prstGeom>
            <a:noFill/>
            <a:ln w="9525">
              <a:noFill/>
              <a:round/>
              <a:headEnd/>
              <a:tailEnd/>
            </a:ln>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A, R, P, E, B</a:t>
              </a:r>
            </a:p>
          </p:txBody>
        </p:sp>
        <p:sp>
          <p:nvSpPr>
            <p:cNvPr id="112" name="Rectangle 111">
              <a:extLst>
                <a:ext uri="{FF2B5EF4-FFF2-40B4-BE49-F238E27FC236}">
                  <a16:creationId xmlns:a16="http://schemas.microsoft.com/office/drawing/2014/main" id="{91B00856-6BCE-E2BD-3045-106B496C4AC6}"/>
                </a:ext>
              </a:extLst>
            </p:cNvPr>
            <p:cNvSpPr/>
            <p:nvPr/>
          </p:nvSpPr>
          <p:spPr bwMode="auto">
            <a:xfrm rot="16200000">
              <a:off x="1657124" y="4636842"/>
              <a:ext cx="822960" cy="274320"/>
            </a:xfrm>
            <a:prstGeom prst="rect">
              <a:avLst/>
            </a:prstGeom>
            <a:noFill/>
            <a:ln w="9525">
              <a:noFill/>
              <a:round/>
              <a:headEnd/>
              <a:tailEnd/>
            </a:ln>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A, R, P, E, B</a:t>
              </a:r>
            </a:p>
          </p:txBody>
        </p:sp>
        <p:sp>
          <p:nvSpPr>
            <p:cNvPr id="113" name="Rectangle 112">
              <a:extLst>
                <a:ext uri="{FF2B5EF4-FFF2-40B4-BE49-F238E27FC236}">
                  <a16:creationId xmlns:a16="http://schemas.microsoft.com/office/drawing/2014/main" id="{BA4A8A22-9FFF-B762-D9B8-77461B6F5595}"/>
                </a:ext>
              </a:extLst>
            </p:cNvPr>
            <p:cNvSpPr/>
            <p:nvPr/>
          </p:nvSpPr>
          <p:spPr bwMode="auto">
            <a:xfrm rot="5400000" flipH="1">
              <a:off x="2417342" y="2534213"/>
              <a:ext cx="914400" cy="274320"/>
            </a:xfrm>
            <a:prstGeom prst="rect">
              <a:avLst/>
            </a:prstGeom>
            <a:noFill/>
            <a:ln w="9525">
              <a:noFill/>
              <a:round/>
              <a:headEnd/>
              <a:tailEnd/>
            </a:ln>
            <a:effectLst/>
          </p:spPr>
          <p:txBody>
            <a:bodyPr wrap="none" lIns="45720" rIns="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A, R, P, E, B, C</a:t>
              </a:r>
            </a:p>
          </p:txBody>
        </p:sp>
        <p:sp>
          <p:nvSpPr>
            <p:cNvPr id="114" name="Rectangle 113">
              <a:extLst>
                <a:ext uri="{FF2B5EF4-FFF2-40B4-BE49-F238E27FC236}">
                  <a16:creationId xmlns:a16="http://schemas.microsoft.com/office/drawing/2014/main" id="{B0180F06-D141-4F8C-7D3C-85E5AE93EE5C}"/>
                </a:ext>
              </a:extLst>
            </p:cNvPr>
            <p:cNvSpPr/>
            <p:nvPr/>
          </p:nvSpPr>
          <p:spPr bwMode="auto">
            <a:xfrm rot="16200000">
              <a:off x="7449560" y="4495587"/>
              <a:ext cx="914400" cy="274320"/>
            </a:xfrm>
            <a:prstGeom prst="rect">
              <a:avLst/>
            </a:prstGeom>
            <a:noFill/>
            <a:ln w="9525">
              <a:noFill/>
              <a:round/>
              <a:headEnd/>
              <a:tailEnd/>
            </a:ln>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A, R, P, E, B</a:t>
              </a:r>
            </a:p>
          </p:txBody>
        </p:sp>
        <p:sp>
          <p:nvSpPr>
            <p:cNvPr id="115" name="Rectangle 114">
              <a:extLst>
                <a:ext uri="{FF2B5EF4-FFF2-40B4-BE49-F238E27FC236}">
                  <a16:creationId xmlns:a16="http://schemas.microsoft.com/office/drawing/2014/main" id="{B730E208-11E7-D679-9EBB-F01F9731CF03}"/>
                </a:ext>
              </a:extLst>
            </p:cNvPr>
            <p:cNvSpPr/>
            <p:nvPr/>
          </p:nvSpPr>
          <p:spPr bwMode="auto">
            <a:xfrm rot="1652108">
              <a:off x="4709527" y="2383437"/>
              <a:ext cx="1005840" cy="274320"/>
            </a:xfrm>
            <a:prstGeom prst="rect">
              <a:avLst/>
            </a:prstGeom>
            <a:noFill/>
            <a:ln w="9525">
              <a:noFill/>
              <a:round/>
              <a:headEnd/>
              <a:tailEnd/>
            </a:ln>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A, R, P, E, B, C</a:t>
              </a:r>
            </a:p>
          </p:txBody>
        </p:sp>
        <p:sp>
          <p:nvSpPr>
            <p:cNvPr id="116" name="Rectangle 115">
              <a:extLst>
                <a:ext uri="{FF2B5EF4-FFF2-40B4-BE49-F238E27FC236}">
                  <a16:creationId xmlns:a16="http://schemas.microsoft.com/office/drawing/2014/main" id="{58B214CC-A0F9-356F-1164-569655AC6921}"/>
                </a:ext>
              </a:extLst>
            </p:cNvPr>
            <p:cNvSpPr/>
            <p:nvPr/>
          </p:nvSpPr>
          <p:spPr bwMode="auto">
            <a:xfrm rot="2850720">
              <a:off x="4353992" y="3152008"/>
              <a:ext cx="914400" cy="274320"/>
            </a:xfrm>
            <a:prstGeom prst="rect">
              <a:avLst/>
            </a:prstGeom>
            <a:noFill/>
            <a:ln w="9525">
              <a:noFill/>
              <a:round/>
              <a:headEnd/>
              <a:tailEnd/>
            </a:ln>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A, R, P, E, B</a:t>
              </a:r>
            </a:p>
          </p:txBody>
        </p:sp>
        <p:sp>
          <p:nvSpPr>
            <p:cNvPr id="117" name="Rectangle 116">
              <a:extLst>
                <a:ext uri="{FF2B5EF4-FFF2-40B4-BE49-F238E27FC236}">
                  <a16:creationId xmlns:a16="http://schemas.microsoft.com/office/drawing/2014/main" id="{C26419C9-1B9F-C24E-81B5-F9602B8282C9}"/>
                </a:ext>
              </a:extLst>
            </p:cNvPr>
            <p:cNvSpPr/>
            <p:nvPr/>
          </p:nvSpPr>
          <p:spPr bwMode="auto">
            <a:xfrm rot="1690079">
              <a:off x="4362587" y="4262689"/>
              <a:ext cx="822960" cy="274320"/>
            </a:xfrm>
            <a:prstGeom prst="rect">
              <a:avLst/>
            </a:prstGeom>
            <a:noFill/>
            <a:ln w="9525">
              <a:noFill/>
              <a:round/>
              <a:headEnd/>
              <a:tailEnd/>
            </a:ln>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A, R, P, E, B</a:t>
              </a:r>
            </a:p>
          </p:txBody>
        </p:sp>
      </p:grpSp>
      <p:sp>
        <p:nvSpPr>
          <p:cNvPr id="170" name="TextBox 169">
            <a:extLst>
              <a:ext uri="{FF2B5EF4-FFF2-40B4-BE49-F238E27FC236}">
                <a16:creationId xmlns:a16="http://schemas.microsoft.com/office/drawing/2014/main" id="{0B83CBFE-7BE8-C149-B9D1-AC4A45D0DA71}"/>
              </a:ext>
            </a:extLst>
          </p:cNvPr>
          <p:cNvSpPr txBox="1"/>
          <p:nvPr/>
        </p:nvSpPr>
        <p:spPr>
          <a:xfrm>
            <a:off x="7979473" y="1531997"/>
            <a:ext cx="3920439" cy="4552050"/>
          </a:xfrm>
          <a:prstGeom prst="rect">
            <a:avLst/>
          </a:prstGeom>
          <a:solidFill>
            <a:schemeClr val="bg1">
              <a:lumMod val="95000"/>
            </a:schemeClr>
          </a:solidFill>
          <a:ln w="9525">
            <a:noFill/>
            <a:miter lim="800000"/>
            <a:headEnd/>
            <a:tailEnd/>
          </a:ln>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There are clear standards for referral</a:t>
            </a:r>
          </a:p>
          <a:p>
            <a:pPr marL="36576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All cases that require referral services must be referred</a:t>
            </a:r>
          </a:p>
          <a:p>
            <a:pPr marL="36576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All PHC staff should be trained on referral system</a:t>
            </a:r>
          </a:p>
          <a:p>
            <a:pPr marL="365760" marR="0" lvl="0" indent="-18288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Enabling environment including provision of basic referral tools – forms, transportation services should be available.</a:t>
            </a:r>
          </a:p>
          <a:p>
            <a:pPr marL="36576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Referral should be 2-way </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ublic health facilities often refer patients to other public health facilities (higher)</a:t>
            </a:r>
          </a:p>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Private health facilities refer patients to both public and private health facilities (higher) </a:t>
            </a:r>
          </a:p>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There is considerable ‘self-referral’ where a woman seeks care with one provider (e.g., private for ANC) and switches to another (e.g., public for delivery)</a:t>
            </a:r>
            <a:endParaRPr kumimoji="0" lang="en-US" sz="1400" b="0" i="0" u="none" strike="noStrike" kern="1200" cap="none" spc="0" normalizeH="0" baseline="0" noProof="0" dirty="0">
              <a:ln>
                <a:noFill/>
              </a:ln>
              <a:solidFill>
                <a:srgbClr val="C00000"/>
              </a:solidFill>
              <a:effectLst/>
              <a:uLnTx/>
              <a:uFillTx/>
              <a:latin typeface="Gill Sans MT" panose="020B0502020104020203"/>
              <a:ea typeface="+mn-ea"/>
              <a:cs typeface="Arial" panose="020B0604020202020204" pitchFamily="34" charset="0"/>
            </a:endParaRPr>
          </a:p>
        </p:txBody>
      </p:sp>
      <p:sp>
        <p:nvSpPr>
          <p:cNvPr id="171" name="Rectangle 170">
            <a:extLst>
              <a:ext uri="{FF2B5EF4-FFF2-40B4-BE49-F238E27FC236}">
                <a16:creationId xmlns:a16="http://schemas.microsoft.com/office/drawing/2014/main" id="{38BEB497-6E3C-BF80-A388-3C607FAB9B4D}"/>
              </a:ext>
            </a:extLst>
          </p:cNvPr>
          <p:cNvSpPr/>
          <p:nvPr/>
        </p:nvSpPr>
        <p:spPr bwMode="auto">
          <a:xfrm>
            <a:off x="4564824" y="6195134"/>
            <a:ext cx="2409616" cy="690751"/>
          </a:xfrm>
          <a:prstGeom prst="rect">
            <a:avLst/>
          </a:prstGeom>
          <a:noFill/>
          <a:ln w="9525">
            <a:noFill/>
            <a:round/>
            <a:headEnd/>
            <a:tailEnd/>
          </a:ln>
          <a:effectLst/>
        </p:spPr>
        <p:txBody>
          <a:bodyPr wrap="none" rtlCol="0" anchor="t"/>
          <a:lstStyle/>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E – Early essential newborn care</a:t>
            </a: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B – </a:t>
            </a:r>
            <a:r>
              <a:rPr kumimoji="0" lang="en-US" sz="1200" b="0" i="0" u="none" strike="noStrike" kern="1200" cap="none" spc="0" normalizeH="0" baseline="0" noProof="0" err="1">
                <a:ln>
                  <a:noFill/>
                </a:ln>
                <a:solidFill>
                  <a:srgbClr val="000000"/>
                </a:solidFill>
                <a:effectLst/>
                <a:uLnTx/>
                <a:uFillTx/>
                <a:latin typeface="Gill Sans MT" panose="020B0502020104020203"/>
                <a:ea typeface="+mn-ea"/>
                <a:cs typeface="Arial" panose="020B0604020202020204" pitchFamily="34" charset="0"/>
              </a:rPr>
              <a:t>BEmONC</a:t>
            </a:r>
            <a:endPar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C – </a:t>
            </a:r>
            <a:r>
              <a:rPr kumimoji="0" lang="en-US" sz="1200" b="0" i="0" u="none" strike="noStrike" kern="1200" cap="none" spc="0" normalizeH="0" baseline="0" noProof="0" err="1">
                <a:ln>
                  <a:noFill/>
                </a:ln>
                <a:solidFill>
                  <a:srgbClr val="000000"/>
                </a:solidFill>
                <a:effectLst/>
                <a:uLnTx/>
                <a:uFillTx/>
                <a:latin typeface="Gill Sans MT" panose="020B0502020104020203"/>
                <a:ea typeface="+mn-ea"/>
                <a:cs typeface="Arial" panose="020B0604020202020204" pitchFamily="34" charset="0"/>
              </a:rPr>
              <a:t>CEmONC</a:t>
            </a:r>
            <a:endPar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172" name="Rectangle 171">
            <a:extLst>
              <a:ext uri="{FF2B5EF4-FFF2-40B4-BE49-F238E27FC236}">
                <a16:creationId xmlns:a16="http://schemas.microsoft.com/office/drawing/2014/main" id="{32AD0DEE-DCE3-20A1-49CD-AB85349860BE}"/>
              </a:ext>
            </a:extLst>
          </p:cNvPr>
          <p:cNvSpPr/>
          <p:nvPr/>
        </p:nvSpPr>
        <p:spPr bwMode="auto">
          <a:xfrm>
            <a:off x="0" y="71390"/>
            <a:ext cx="1800000"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a:ln>
                  <a:noFill/>
                </a:ln>
                <a:solidFill>
                  <a:prstClr val="white"/>
                </a:solidFill>
                <a:effectLst/>
                <a:uLnTx/>
                <a:uFillTx/>
                <a:latin typeface="Gill Sans MT" panose="020B0502020104020203"/>
                <a:ea typeface="+mn-ea"/>
                <a:cs typeface="Arial" panose="020B0604020202020204" pitchFamily="34" charset="0"/>
                <a:sym typeface="Arial"/>
              </a:rPr>
              <a:t>SUPPLY-Services</a:t>
            </a:r>
          </a:p>
        </p:txBody>
      </p:sp>
      <p:sp>
        <p:nvSpPr>
          <p:cNvPr id="174" name="Rectangle 173">
            <a:extLst>
              <a:ext uri="{FF2B5EF4-FFF2-40B4-BE49-F238E27FC236}">
                <a16:creationId xmlns:a16="http://schemas.microsoft.com/office/drawing/2014/main" id="{840EFD01-D691-669E-AD4E-AB879CAEC81D}"/>
              </a:ext>
            </a:extLst>
          </p:cNvPr>
          <p:cNvSpPr/>
          <p:nvPr/>
        </p:nvSpPr>
        <p:spPr bwMode="auto">
          <a:xfrm>
            <a:off x="2478724" y="6175246"/>
            <a:ext cx="3319157" cy="730529"/>
          </a:xfrm>
          <a:prstGeom prst="rect">
            <a:avLst/>
          </a:prstGeom>
          <a:noFill/>
          <a:ln w="9525">
            <a:noFill/>
            <a:round/>
            <a:headEnd/>
            <a:tailEnd/>
          </a:ln>
          <a:effectLst/>
        </p:spPr>
        <p:txBody>
          <a:bodyPr wrap="none" rtlCol="0" anchor="t"/>
          <a:lstStyle/>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A – Antenatal Care</a:t>
            </a: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R – Routine delivery</a:t>
            </a: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P – Postnatal care for mother</a:t>
            </a:r>
          </a:p>
          <a:p>
            <a:pPr marL="0" marR="0" lvl="0" indent="0" algn="l" defTabSz="914400" rtl="0" eaLnBrk="1" fontAlgn="base" latinLnBrk="0" hangingPunct="1">
              <a:lnSpc>
                <a:spcPct val="100000"/>
              </a:lnSpc>
              <a:spcBef>
                <a:spcPct val="0"/>
              </a:spcBef>
              <a:spcAft>
                <a:spcPts val="3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
        <p:nvSpPr>
          <p:cNvPr id="175" name="Rectangle 174">
            <a:extLst>
              <a:ext uri="{FF2B5EF4-FFF2-40B4-BE49-F238E27FC236}">
                <a16:creationId xmlns:a16="http://schemas.microsoft.com/office/drawing/2014/main" id="{43DEB538-D8A3-4B6F-5624-CD1254B48FC6}"/>
              </a:ext>
            </a:extLst>
          </p:cNvPr>
          <p:cNvSpPr/>
          <p:nvPr/>
        </p:nvSpPr>
        <p:spPr bwMode="auto">
          <a:xfrm>
            <a:off x="2052707" y="6203329"/>
            <a:ext cx="789209" cy="374697"/>
          </a:xfrm>
          <a:prstGeom prst="rect">
            <a:avLst/>
          </a:prstGeom>
          <a:noFill/>
          <a:ln w="9525">
            <a:noFill/>
            <a:round/>
            <a:headEnd/>
            <a:tailEnd/>
          </a:ln>
          <a:effectLst/>
        </p:spPr>
        <p:txBody>
          <a:bodyPr wrap="none" rtlCol="0" anchor="t"/>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n-US" sz="1400" b="1" i="0" u="sng"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rPr>
              <a:t>KEY</a:t>
            </a:r>
          </a:p>
          <a:p>
            <a:pPr marL="0" marR="0" lvl="0" indent="0" algn="l" defTabSz="914400" rtl="0" eaLnBrk="1" fontAlgn="base" latinLnBrk="0" hangingPunct="1">
              <a:lnSpc>
                <a:spcPct val="100000"/>
              </a:lnSpc>
              <a:spcBef>
                <a:spcPct val="0"/>
              </a:spcBef>
              <a:spcAft>
                <a:spcPts val="30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ill Sans MT" panose="020B0502020104020203"/>
              <a:ea typeface="+mn-ea"/>
              <a:cs typeface="Arial" panose="020B0604020202020204" pitchFamily="34" charset="0"/>
            </a:endParaRPr>
          </a:p>
        </p:txBody>
      </p:sp>
    </p:spTree>
    <p:extLst>
      <p:ext uri="{BB962C8B-B14F-4D97-AF65-F5344CB8AC3E}">
        <p14:creationId xmlns:p14="http://schemas.microsoft.com/office/powerpoint/2010/main" val="18909433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5" name="think-cell data - do not delete" hidden="1">
            <a:extLst>
              <a:ext uri="{FF2B5EF4-FFF2-40B4-BE49-F238E27FC236}">
                <a16:creationId xmlns:a16="http://schemas.microsoft.com/office/drawing/2014/main" id="{8DF6A76A-9C73-D407-32A5-C33AC711A7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305" name="think-cell data - do not delete" hidden="1">
                        <a:extLst>
                          <a:ext uri="{FF2B5EF4-FFF2-40B4-BE49-F238E27FC236}">
                            <a16:creationId xmlns:a16="http://schemas.microsoft.com/office/drawing/2014/main" id="{8DF6A76A-9C73-D407-32A5-C33AC711A7E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2F7DC367-CC06-A180-87B9-F0A38C4B9DF6}"/>
              </a:ext>
            </a:extLst>
          </p:cNvPr>
          <p:cNvGrpSpPr/>
          <p:nvPr/>
        </p:nvGrpSpPr>
        <p:grpSpPr>
          <a:xfrm>
            <a:off x="125" y="1380324"/>
            <a:ext cx="12177898" cy="5235594"/>
            <a:chOff x="125" y="1178449"/>
            <a:chExt cx="12177898" cy="5235594"/>
          </a:xfrm>
        </p:grpSpPr>
        <p:cxnSp>
          <p:nvCxnSpPr>
            <p:cNvPr id="173" name="Straight Connector 172">
              <a:extLst>
                <a:ext uri="{FF2B5EF4-FFF2-40B4-BE49-F238E27FC236}">
                  <a16:creationId xmlns:a16="http://schemas.microsoft.com/office/drawing/2014/main" id="{ECCC470D-5D4A-0666-617A-6FBA4EED7CED}"/>
                </a:ext>
              </a:extLst>
            </p:cNvPr>
            <p:cNvCxnSpPr>
              <a:cxnSpLocks/>
            </p:cNvCxnSpPr>
            <p:nvPr/>
          </p:nvCxnSpPr>
          <p:spPr>
            <a:xfrm>
              <a:off x="125" y="1768843"/>
              <a:ext cx="12168000" cy="0"/>
            </a:xfrm>
            <a:prstGeom prst="line">
              <a:avLst/>
            </a:prstGeom>
            <a:noFill/>
            <a:ln w="9525" cap="flat" cmpd="sng" algn="ctr">
              <a:solidFill>
                <a:srgbClr val="808080"/>
              </a:solidFill>
              <a:prstDash val="solid"/>
            </a:ln>
            <a:effectLst/>
          </p:spPr>
        </p:cxnSp>
        <p:cxnSp>
          <p:nvCxnSpPr>
            <p:cNvPr id="174" name="Straight Connector 173">
              <a:extLst>
                <a:ext uri="{FF2B5EF4-FFF2-40B4-BE49-F238E27FC236}">
                  <a16:creationId xmlns:a16="http://schemas.microsoft.com/office/drawing/2014/main" id="{3BB1FB31-63EC-4930-2FE5-32D930552379}"/>
                </a:ext>
              </a:extLst>
            </p:cNvPr>
            <p:cNvCxnSpPr>
              <a:cxnSpLocks/>
            </p:cNvCxnSpPr>
            <p:nvPr/>
          </p:nvCxnSpPr>
          <p:spPr>
            <a:xfrm>
              <a:off x="125" y="1372021"/>
              <a:ext cx="12168000" cy="0"/>
            </a:xfrm>
            <a:prstGeom prst="line">
              <a:avLst/>
            </a:prstGeom>
            <a:noFill/>
            <a:ln w="9525" cap="flat" cmpd="sng" algn="ctr">
              <a:solidFill>
                <a:srgbClr val="808080"/>
              </a:solidFill>
              <a:prstDash val="solid"/>
            </a:ln>
            <a:effectLst/>
          </p:spPr>
        </p:cxnSp>
        <p:cxnSp>
          <p:nvCxnSpPr>
            <p:cNvPr id="176" name="Straight Connector 175">
              <a:extLst>
                <a:ext uri="{FF2B5EF4-FFF2-40B4-BE49-F238E27FC236}">
                  <a16:creationId xmlns:a16="http://schemas.microsoft.com/office/drawing/2014/main" id="{2A276AA8-613B-471F-3887-F19EA9DE3885}"/>
                </a:ext>
              </a:extLst>
            </p:cNvPr>
            <p:cNvCxnSpPr>
              <a:cxnSpLocks/>
            </p:cNvCxnSpPr>
            <p:nvPr/>
          </p:nvCxnSpPr>
          <p:spPr>
            <a:xfrm>
              <a:off x="10023" y="6414043"/>
              <a:ext cx="12168000" cy="0"/>
            </a:xfrm>
            <a:prstGeom prst="line">
              <a:avLst/>
            </a:prstGeom>
            <a:noFill/>
            <a:ln w="9525" cap="flat" cmpd="sng" algn="ctr">
              <a:solidFill>
                <a:srgbClr val="808080"/>
              </a:solidFill>
              <a:prstDash val="solid"/>
            </a:ln>
            <a:effectLst/>
          </p:spPr>
        </p:cxnSp>
        <p:sp>
          <p:nvSpPr>
            <p:cNvPr id="358" name="TextBox 357">
              <a:extLst>
                <a:ext uri="{FF2B5EF4-FFF2-40B4-BE49-F238E27FC236}">
                  <a16:creationId xmlns:a16="http://schemas.microsoft.com/office/drawing/2014/main" id="{993ABBD0-36C0-66AC-B868-4B49D3F85F3A}"/>
                </a:ext>
              </a:extLst>
            </p:cNvPr>
            <p:cNvSpPr txBox="1"/>
            <p:nvPr/>
          </p:nvSpPr>
          <p:spPr>
            <a:xfrm>
              <a:off x="10802113" y="1414771"/>
              <a:ext cx="1371600" cy="339487"/>
            </a:xfrm>
            <a:prstGeom prst="rect">
              <a:avLst/>
            </a:prstGeom>
            <a:solidFill>
              <a:schemeClr val="accent4">
                <a:lumMod val="50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Highlight</a:t>
              </a:r>
            </a:p>
          </p:txBody>
        </p:sp>
        <p:sp>
          <p:nvSpPr>
            <p:cNvPr id="359" name="TextBox 358">
              <a:extLst>
                <a:ext uri="{FF2B5EF4-FFF2-40B4-BE49-F238E27FC236}">
                  <a16:creationId xmlns:a16="http://schemas.microsoft.com/office/drawing/2014/main" id="{45D063D4-55E0-11E4-DF1B-5556CBC49249}"/>
                </a:ext>
              </a:extLst>
            </p:cNvPr>
            <p:cNvSpPr txBox="1"/>
            <p:nvPr/>
          </p:nvSpPr>
          <p:spPr>
            <a:xfrm>
              <a:off x="10802113" y="1845553"/>
              <a:ext cx="1371600" cy="4400868"/>
            </a:xfrm>
            <a:prstGeom prst="rect">
              <a:avLst/>
            </a:prstGeom>
            <a:solidFill>
              <a:schemeClr val="bg1">
                <a:lumMod val="8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Heat stable carbetocin are unavailable across all SDP assessed </a:t>
              </a:r>
            </a:p>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MNH products are not stocked by PPMVs, but some were discovered in rural PPMVs.</a:t>
              </a:r>
            </a:p>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re is limited availability of MNH commodities in the rural SDPs </a:t>
              </a:r>
            </a:p>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 prices of certain commodities in PHC and SHF are relatively higher compared to other prices in CPs.</a:t>
              </a: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cxnSp>
          <p:nvCxnSpPr>
            <p:cNvPr id="177" name="Straight Connector 176">
              <a:extLst>
                <a:ext uri="{FF2B5EF4-FFF2-40B4-BE49-F238E27FC236}">
                  <a16:creationId xmlns:a16="http://schemas.microsoft.com/office/drawing/2014/main" id="{41A88A45-8D63-EABE-6955-FC3EAB58A9E5}"/>
                </a:ext>
              </a:extLst>
            </p:cNvPr>
            <p:cNvCxnSpPr>
              <a:cxnSpLocks/>
            </p:cNvCxnSpPr>
            <p:nvPr/>
          </p:nvCxnSpPr>
          <p:spPr>
            <a:xfrm flipH="1">
              <a:off x="2335412" y="1178449"/>
              <a:ext cx="1425" cy="52120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2A57219F-28A7-18C0-DF36-4DE65D28183F}"/>
                </a:ext>
              </a:extLst>
            </p:cNvPr>
            <p:cNvCxnSpPr>
              <a:cxnSpLocks/>
            </p:cNvCxnSpPr>
            <p:nvPr/>
          </p:nvCxnSpPr>
          <p:spPr>
            <a:xfrm flipH="1">
              <a:off x="4439465" y="1178449"/>
              <a:ext cx="165" cy="52120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B2A0F857-A013-EE16-8197-026873F5DBCB}"/>
                </a:ext>
              </a:extLst>
            </p:cNvPr>
            <p:cNvSpPr/>
            <p:nvPr/>
          </p:nvSpPr>
          <p:spPr>
            <a:xfrm>
              <a:off x="27531" y="1805852"/>
              <a:ext cx="302881" cy="4572000"/>
            </a:xfrm>
            <a:prstGeom prst="rect">
              <a:avLst/>
            </a:prstGeom>
            <a:solidFill>
              <a:srgbClr val="008080"/>
            </a:solidFill>
            <a:ln w="9525" cap="flat" cmpd="sng" algn="ctr">
              <a:noFill/>
              <a:prstDash val="solid"/>
            </a:ln>
            <a:effectLst/>
          </p:spPr>
          <p:txBody>
            <a:bodyPr vert="vert270" lIns="4572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Gill Sans MT" panose="020B0502020104020203" pitchFamily="34" charset="0"/>
                  <a:ea typeface="+mn-ea"/>
                  <a:cs typeface="Arial" panose="020B0604020202020204" pitchFamily="34" charset="0"/>
                </a:rPr>
                <a:t>Commodity </a:t>
              </a:r>
            </a:p>
          </p:txBody>
        </p:sp>
        <p:sp>
          <p:nvSpPr>
            <p:cNvPr id="297" name="Rectangle 6">
              <a:extLst>
                <a:ext uri="{FF2B5EF4-FFF2-40B4-BE49-F238E27FC236}">
                  <a16:creationId xmlns:a16="http://schemas.microsoft.com/office/drawing/2014/main" id="{FFD0D66E-10C5-6C9C-4D6A-9DD482857F53}"/>
                </a:ext>
              </a:extLst>
            </p:cNvPr>
            <p:cNvSpPr txBox="1">
              <a:spLocks/>
            </p:cNvSpPr>
            <p:nvPr/>
          </p:nvSpPr>
          <p:spPr>
            <a:xfrm>
              <a:off x="4481071" y="1195002"/>
              <a:ext cx="2051947" cy="19180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ctr"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Community Pharmacy</a:t>
              </a:r>
              <a:endParaRPr kumimoji="0" lang="en-GB"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sp>
          <p:nvSpPr>
            <p:cNvPr id="298" name="Rectangle 6">
              <a:extLst>
                <a:ext uri="{FF2B5EF4-FFF2-40B4-BE49-F238E27FC236}">
                  <a16:creationId xmlns:a16="http://schemas.microsoft.com/office/drawing/2014/main" id="{A2F84C00-16BC-6743-ED19-51C40470D2FB}"/>
                </a:ext>
              </a:extLst>
            </p:cNvPr>
            <p:cNvSpPr txBox="1">
              <a:spLocks/>
            </p:cNvSpPr>
            <p:nvPr/>
          </p:nvSpPr>
          <p:spPr>
            <a:xfrm>
              <a:off x="6583585" y="1195003"/>
              <a:ext cx="978098" cy="1918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ctr"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HCF Public </a:t>
              </a:r>
              <a:endParaRPr kumimoji="0" lang="en-GB"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sp>
          <p:nvSpPr>
            <p:cNvPr id="299" name="Rectangle 6">
              <a:extLst>
                <a:ext uri="{FF2B5EF4-FFF2-40B4-BE49-F238E27FC236}">
                  <a16:creationId xmlns:a16="http://schemas.microsoft.com/office/drawing/2014/main" id="{E9E2B98D-B648-8A40-FA55-177427A0BA86}"/>
                </a:ext>
              </a:extLst>
            </p:cNvPr>
            <p:cNvSpPr txBox="1">
              <a:spLocks/>
            </p:cNvSpPr>
            <p:nvPr/>
          </p:nvSpPr>
          <p:spPr>
            <a:xfrm>
              <a:off x="8674215" y="1195003"/>
              <a:ext cx="978098" cy="1918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ctr"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HCF Private </a:t>
              </a:r>
              <a:endParaRPr kumimoji="0" lang="en-GB"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cxnSp>
          <p:nvCxnSpPr>
            <p:cNvPr id="300" name="Straight Connector 299">
              <a:extLst>
                <a:ext uri="{FF2B5EF4-FFF2-40B4-BE49-F238E27FC236}">
                  <a16:creationId xmlns:a16="http://schemas.microsoft.com/office/drawing/2014/main" id="{96AD7CAE-1F5D-3B56-3253-171CB0FCC4A7}"/>
                </a:ext>
              </a:extLst>
            </p:cNvPr>
            <p:cNvCxnSpPr>
              <a:cxnSpLocks/>
            </p:cNvCxnSpPr>
            <p:nvPr/>
          </p:nvCxnSpPr>
          <p:spPr>
            <a:xfrm flipH="1">
              <a:off x="6541979" y="1178449"/>
              <a:ext cx="165" cy="52120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DEB4444F-8A45-3E6F-E093-F1D701A40227}"/>
                </a:ext>
              </a:extLst>
            </p:cNvPr>
            <p:cNvCxnSpPr>
              <a:cxnSpLocks/>
            </p:cNvCxnSpPr>
            <p:nvPr/>
          </p:nvCxnSpPr>
          <p:spPr>
            <a:xfrm flipH="1">
              <a:off x="7614039" y="1178449"/>
              <a:ext cx="165" cy="52120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A2B61587-A42D-6BEB-F2F5-870AF5C1BD64}"/>
                </a:ext>
              </a:extLst>
            </p:cNvPr>
            <p:cNvCxnSpPr>
              <a:cxnSpLocks/>
            </p:cNvCxnSpPr>
            <p:nvPr/>
          </p:nvCxnSpPr>
          <p:spPr>
            <a:xfrm flipH="1">
              <a:off x="10747003" y="1178449"/>
              <a:ext cx="165" cy="521208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9" name="Rectangle 6">
              <a:extLst>
                <a:ext uri="{FF2B5EF4-FFF2-40B4-BE49-F238E27FC236}">
                  <a16:creationId xmlns:a16="http://schemas.microsoft.com/office/drawing/2014/main" id="{B5CC00A4-EDBB-D6DB-D93A-296FBB4C59C1}"/>
                </a:ext>
              </a:extLst>
            </p:cNvPr>
            <p:cNvSpPr txBox="1">
              <a:spLocks/>
            </p:cNvSpPr>
            <p:nvPr/>
          </p:nvSpPr>
          <p:spPr>
            <a:xfrm>
              <a:off x="2378278" y="1195002"/>
              <a:ext cx="2051947" cy="19180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ctr"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PPMVs</a:t>
              </a:r>
              <a:endParaRPr kumimoji="0" lang="en-GB"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sp>
          <p:nvSpPr>
            <p:cNvPr id="193" name="TextBox 192">
              <a:extLst>
                <a:ext uri="{FF2B5EF4-FFF2-40B4-BE49-F238E27FC236}">
                  <a16:creationId xmlns:a16="http://schemas.microsoft.com/office/drawing/2014/main" id="{B766FE70-0C46-14B2-7F9D-27CA06A289F1}"/>
                </a:ext>
              </a:extLst>
            </p:cNvPr>
            <p:cNvSpPr txBox="1"/>
            <p:nvPr/>
          </p:nvSpPr>
          <p:spPr>
            <a:xfrm>
              <a:off x="2378278" y="1414652"/>
              <a:ext cx="989013" cy="339725"/>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Rural (1) </a:t>
              </a:r>
            </a:p>
          </p:txBody>
        </p:sp>
        <p:sp>
          <p:nvSpPr>
            <p:cNvPr id="206" name="TextBox 205">
              <a:extLst>
                <a:ext uri="{FF2B5EF4-FFF2-40B4-BE49-F238E27FC236}">
                  <a16:creationId xmlns:a16="http://schemas.microsoft.com/office/drawing/2014/main" id="{DC134B24-4C64-BE85-1794-39667D361A19}"/>
                </a:ext>
              </a:extLst>
            </p:cNvPr>
            <p:cNvSpPr txBox="1"/>
            <p:nvPr/>
          </p:nvSpPr>
          <p:spPr>
            <a:xfrm>
              <a:off x="3409011" y="1414652"/>
              <a:ext cx="989013" cy="339725"/>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Urban </a:t>
              </a:r>
            </a:p>
          </p:txBody>
        </p:sp>
        <p:sp>
          <p:nvSpPr>
            <p:cNvPr id="219" name="TextBox 218">
              <a:extLst>
                <a:ext uri="{FF2B5EF4-FFF2-40B4-BE49-F238E27FC236}">
                  <a16:creationId xmlns:a16="http://schemas.microsoft.com/office/drawing/2014/main" id="{AC1038AF-D09F-063B-8687-DFB4C68DF245}"/>
                </a:ext>
              </a:extLst>
            </p:cNvPr>
            <p:cNvSpPr txBox="1"/>
            <p:nvPr/>
          </p:nvSpPr>
          <p:spPr>
            <a:xfrm>
              <a:off x="4481071" y="1414652"/>
              <a:ext cx="989013" cy="339725"/>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Rural (1) </a:t>
              </a:r>
            </a:p>
          </p:txBody>
        </p:sp>
        <p:sp>
          <p:nvSpPr>
            <p:cNvPr id="232" name="TextBox 231">
              <a:extLst>
                <a:ext uri="{FF2B5EF4-FFF2-40B4-BE49-F238E27FC236}">
                  <a16:creationId xmlns:a16="http://schemas.microsoft.com/office/drawing/2014/main" id="{54C71723-BABA-4B51-0575-0BA951C3B571}"/>
                </a:ext>
              </a:extLst>
            </p:cNvPr>
            <p:cNvSpPr txBox="1"/>
            <p:nvPr/>
          </p:nvSpPr>
          <p:spPr>
            <a:xfrm>
              <a:off x="6583585" y="1414652"/>
              <a:ext cx="987966" cy="339725"/>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1) </a:t>
              </a:r>
            </a:p>
          </p:txBody>
        </p:sp>
        <p:sp>
          <p:nvSpPr>
            <p:cNvPr id="245" name="TextBox 244">
              <a:extLst>
                <a:ext uri="{FF2B5EF4-FFF2-40B4-BE49-F238E27FC236}">
                  <a16:creationId xmlns:a16="http://schemas.microsoft.com/office/drawing/2014/main" id="{82C4EA3B-360B-B750-1F63-552B938D01F9}"/>
                </a:ext>
              </a:extLst>
            </p:cNvPr>
            <p:cNvSpPr txBox="1"/>
            <p:nvPr/>
          </p:nvSpPr>
          <p:spPr>
            <a:xfrm>
              <a:off x="5511525" y="1414652"/>
              <a:ext cx="989013" cy="339725"/>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Urban (4)</a:t>
              </a:r>
            </a:p>
          </p:txBody>
        </p:sp>
        <p:sp>
          <p:nvSpPr>
            <p:cNvPr id="258" name="TextBox 257">
              <a:extLst>
                <a:ext uri="{FF2B5EF4-FFF2-40B4-BE49-F238E27FC236}">
                  <a16:creationId xmlns:a16="http://schemas.microsoft.com/office/drawing/2014/main" id="{DD781A3D-3B1C-1033-DE78-084072250AF0}"/>
                </a:ext>
              </a:extLst>
            </p:cNvPr>
            <p:cNvSpPr txBox="1"/>
            <p:nvPr/>
          </p:nvSpPr>
          <p:spPr>
            <a:xfrm>
              <a:off x="7655645" y="1414652"/>
              <a:ext cx="988395" cy="339725"/>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1)</a:t>
              </a:r>
            </a:p>
          </p:txBody>
        </p:sp>
        <p:sp>
          <p:nvSpPr>
            <p:cNvPr id="271" name="TextBox 270">
              <a:extLst>
                <a:ext uri="{FF2B5EF4-FFF2-40B4-BE49-F238E27FC236}">
                  <a16:creationId xmlns:a16="http://schemas.microsoft.com/office/drawing/2014/main" id="{264345A9-29AA-E2A3-7793-55B2F0C5E860}"/>
                </a:ext>
              </a:extLst>
            </p:cNvPr>
            <p:cNvSpPr txBox="1"/>
            <p:nvPr/>
          </p:nvSpPr>
          <p:spPr>
            <a:xfrm>
              <a:off x="8686099" y="1414652"/>
              <a:ext cx="989013" cy="339725"/>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Urban  (1)</a:t>
              </a:r>
            </a:p>
          </p:txBody>
        </p:sp>
        <p:sp>
          <p:nvSpPr>
            <p:cNvPr id="284" name="TextBox 283">
              <a:extLst>
                <a:ext uri="{FF2B5EF4-FFF2-40B4-BE49-F238E27FC236}">
                  <a16:creationId xmlns:a16="http://schemas.microsoft.com/office/drawing/2014/main" id="{569E355C-6E48-3898-6142-AA40DCD0EA67}"/>
                </a:ext>
              </a:extLst>
            </p:cNvPr>
            <p:cNvSpPr txBox="1"/>
            <p:nvPr/>
          </p:nvSpPr>
          <p:spPr>
            <a:xfrm>
              <a:off x="9716553" y="1414652"/>
              <a:ext cx="989013" cy="339725"/>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SHF - Urban  (1)</a:t>
              </a:r>
            </a:p>
          </p:txBody>
        </p:sp>
        <p:grpSp>
          <p:nvGrpSpPr>
            <p:cNvPr id="3" name="Group 2">
              <a:extLst>
                <a:ext uri="{FF2B5EF4-FFF2-40B4-BE49-F238E27FC236}">
                  <a16:creationId xmlns:a16="http://schemas.microsoft.com/office/drawing/2014/main" id="{CF90D3F6-BB60-2E01-CD08-C7A12398216E}"/>
                </a:ext>
              </a:extLst>
            </p:cNvPr>
            <p:cNvGrpSpPr/>
            <p:nvPr/>
          </p:nvGrpSpPr>
          <p:grpSpPr>
            <a:xfrm>
              <a:off x="371853" y="1818593"/>
              <a:ext cx="10381126" cy="4559259"/>
              <a:chOff x="371853" y="1818593"/>
              <a:chExt cx="10381126" cy="4219151"/>
            </a:xfrm>
          </p:grpSpPr>
          <p:sp>
            <p:nvSpPr>
              <p:cNvPr id="181" name="Rectangle 180">
                <a:extLst>
                  <a:ext uri="{FF2B5EF4-FFF2-40B4-BE49-F238E27FC236}">
                    <a16:creationId xmlns:a16="http://schemas.microsoft.com/office/drawing/2014/main" id="{75FA3DA7-0B99-4871-CAF4-CC8B8E09E802}"/>
                  </a:ext>
                </a:extLst>
              </p:cNvPr>
              <p:cNvSpPr>
                <a:spLocks noChangeArrowheads="1"/>
              </p:cNvSpPr>
              <p:nvPr>
                <p:custDataLst>
                  <p:tags r:id="rId2"/>
                </p:custDataLst>
              </p:nvPr>
            </p:nvSpPr>
            <p:spPr bwMode="gray">
              <a:xfrm>
                <a:off x="371853" y="1818593"/>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Sulphadoxine Pyrimethamine </a:t>
                </a:r>
              </a:p>
            </p:txBody>
          </p:sp>
          <p:sp>
            <p:nvSpPr>
              <p:cNvPr id="182" name="Rectangle 181">
                <a:extLst>
                  <a:ext uri="{FF2B5EF4-FFF2-40B4-BE49-F238E27FC236}">
                    <a16:creationId xmlns:a16="http://schemas.microsoft.com/office/drawing/2014/main" id="{5879917F-6FB4-8600-7883-6FA123A64978}"/>
                  </a:ext>
                </a:extLst>
              </p:cNvPr>
              <p:cNvSpPr>
                <a:spLocks noChangeArrowheads="1"/>
              </p:cNvSpPr>
              <p:nvPr>
                <p:custDataLst>
                  <p:tags r:id="rId3"/>
                </p:custDataLst>
              </p:nvPr>
            </p:nvSpPr>
            <p:spPr bwMode="gray">
              <a:xfrm>
                <a:off x="371853" y="2145730"/>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Misoprostol Tablets </a:t>
                </a:r>
              </a:p>
            </p:txBody>
          </p:sp>
          <p:sp>
            <p:nvSpPr>
              <p:cNvPr id="183" name="Rectangle 182">
                <a:extLst>
                  <a:ext uri="{FF2B5EF4-FFF2-40B4-BE49-F238E27FC236}">
                    <a16:creationId xmlns:a16="http://schemas.microsoft.com/office/drawing/2014/main" id="{87D359CB-31CB-6EC2-B3C8-418F0CF11576}"/>
                  </a:ext>
                </a:extLst>
              </p:cNvPr>
              <p:cNvSpPr>
                <a:spLocks noChangeArrowheads="1"/>
              </p:cNvSpPr>
              <p:nvPr>
                <p:custDataLst>
                  <p:tags r:id="rId4"/>
                </p:custDataLst>
              </p:nvPr>
            </p:nvSpPr>
            <p:spPr bwMode="gray">
              <a:xfrm>
                <a:off x="371853" y="2472867"/>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Oxytocin Injection  </a:t>
                </a:r>
              </a:p>
            </p:txBody>
          </p:sp>
          <p:sp>
            <p:nvSpPr>
              <p:cNvPr id="184" name="Rectangle 183">
                <a:extLst>
                  <a:ext uri="{FF2B5EF4-FFF2-40B4-BE49-F238E27FC236}">
                    <a16:creationId xmlns:a16="http://schemas.microsoft.com/office/drawing/2014/main" id="{C5112452-ECDE-D2C8-0C92-FFA639EB5D3B}"/>
                  </a:ext>
                </a:extLst>
              </p:cNvPr>
              <p:cNvSpPr>
                <a:spLocks noChangeArrowheads="1"/>
              </p:cNvSpPr>
              <p:nvPr>
                <p:custDataLst>
                  <p:tags r:id="rId5"/>
                </p:custDataLst>
              </p:nvPr>
            </p:nvSpPr>
            <p:spPr bwMode="gray">
              <a:xfrm>
                <a:off x="371853" y="2801002"/>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Tranexamic acid Injection </a:t>
                </a:r>
              </a:p>
            </p:txBody>
          </p:sp>
          <p:sp>
            <p:nvSpPr>
              <p:cNvPr id="185" name="Rectangle 184">
                <a:extLst>
                  <a:ext uri="{FF2B5EF4-FFF2-40B4-BE49-F238E27FC236}">
                    <a16:creationId xmlns:a16="http://schemas.microsoft.com/office/drawing/2014/main" id="{DBCE14F8-F163-335A-0C82-731900C38F2B}"/>
                  </a:ext>
                </a:extLst>
              </p:cNvPr>
              <p:cNvSpPr>
                <a:spLocks noChangeArrowheads="1"/>
              </p:cNvSpPr>
              <p:nvPr>
                <p:custDataLst>
                  <p:tags r:id="rId6"/>
                </p:custDataLst>
              </p:nvPr>
            </p:nvSpPr>
            <p:spPr bwMode="gray">
              <a:xfrm>
                <a:off x="371853" y="3128139"/>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Magnesium Sulphate Injection </a:t>
                </a:r>
              </a:p>
            </p:txBody>
          </p:sp>
          <p:sp>
            <p:nvSpPr>
              <p:cNvPr id="186" name="Rectangle 185">
                <a:extLst>
                  <a:ext uri="{FF2B5EF4-FFF2-40B4-BE49-F238E27FC236}">
                    <a16:creationId xmlns:a16="http://schemas.microsoft.com/office/drawing/2014/main" id="{34C8D63E-F4F0-FEAA-64E1-F2464639C623}"/>
                  </a:ext>
                </a:extLst>
              </p:cNvPr>
              <p:cNvSpPr>
                <a:spLocks noChangeArrowheads="1"/>
              </p:cNvSpPr>
              <p:nvPr>
                <p:custDataLst>
                  <p:tags r:id="rId7"/>
                </p:custDataLst>
              </p:nvPr>
            </p:nvSpPr>
            <p:spPr bwMode="gray">
              <a:xfrm>
                <a:off x="371853" y="3456274"/>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a:rPr>
                  <a:t>Hydralazine Injection </a:t>
                </a:r>
              </a:p>
            </p:txBody>
          </p:sp>
          <p:sp>
            <p:nvSpPr>
              <p:cNvPr id="187" name="Rectangle 186">
                <a:extLst>
                  <a:ext uri="{FF2B5EF4-FFF2-40B4-BE49-F238E27FC236}">
                    <a16:creationId xmlns:a16="http://schemas.microsoft.com/office/drawing/2014/main" id="{BFEDEFD8-E997-87B1-C4AC-9BCDCA3F07A0}"/>
                  </a:ext>
                </a:extLst>
              </p:cNvPr>
              <p:cNvSpPr>
                <a:spLocks noChangeArrowheads="1"/>
              </p:cNvSpPr>
              <p:nvPr>
                <p:custDataLst>
                  <p:tags r:id="rId8"/>
                </p:custDataLst>
              </p:nvPr>
            </p:nvSpPr>
            <p:spPr bwMode="gray">
              <a:xfrm>
                <a:off x="371853" y="3783411"/>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a:rPr>
                  <a:t>Methyldopa Tablet </a:t>
                </a:r>
              </a:p>
            </p:txBody>
          </p:sp>
          <p:sp>
            <p:nvSpPr>
              <p:cNvPr id="188" name="Rectangle 187">
                <a:extLst>
                  <a:ext uri="{FF2B5EF4-FFF2-40B4-BE49-F238E27FC236}">
                    <a16:creationId xmlns:a16="http://schemas.microsoft.com/office/drawing/2014/main" id="{45300D0B-DCDF-0715-CCD0-5159B51F764C}"/>
                  </a:ext>
                </a:extLst>
              </p:cNvPr>
              <p:cNvSpPr>
                <a:spLocks noChangeArrowheads="1"/>
              </p:cNvSpPr>
              <p:nvPr>
                <p:custDataLst>
                  <p:tags r:id="rId9"/>
                </p:custDataLst>
              </p:nvPr>
            </p:nvSpPr>
            <p:spPr bwMode="gray">
              <a:xfrm>
                <a:off x="371853" y="4110548"/>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Nifedipine Tablet </a:t>
                </a:r>
              </a:p>
            </p:txBody>
          </p:sp>
          <p:sp>
            <p:nvSpPr>
              <p:cNvPr id="189" name="Rectangle 188">
                <a:extLst>
                  <a:ext uri="{FF2B5EF4-FFF2-40B4-BE49-F238E27FC236}">
                    <a16:creationId xmlns:a16="http://schemas.microsoft.com/office/drawing/2014/main" id="{468B6ED7-AE23-26A9-5399-54E0802B728C}"/>
                  </a:ext>
                </a:extLst>
              </p:cNvPr>
              <p:cNvSpPr>
                <a:spLocks noChangeArrowheads="1"/>
              </p:cNvSpPr>
              <p:nvPr>
                <p:custDataLst>
                  <p:tags r:id="rId10"/>
                </p:custDataLst>
              </p:nvPr>
            </p:nvSpPr>
            <p:spPr bwMode="gray">
              <a:xfrm>
                <a:off x="371853" y="4437685"/>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Gentamicin  Injection </a:t>
                </a:r>
              </a:p>
            </p:txBody>
          </p:sp>
          <p:sp>
            <p:nvSpPr>
              <p:cNvPr id="190" name="Rectangle 189">
                <a:extLst>
                  <a:ext uri="{FF2B5EF4-FFF2-40B4-BE49-F238E27FC236}">
                    <a16:creationId xmlns:a16="http://schemas.microsoft.com/office/drawing/2014/main" id="{DFE72B25-D746-E7A0-0B6C-09E858E0E415}"/>
                  </a:ext>
                </a:extLst>
              </p:cNvPr>
              <p:cNvSpPr>
                <a:spLocks noChangeArrowheads="1"/>
              </p:cNvSpPr>
              <p:nvPr>
                <p:custDataLst>
                  <p:tags r:id="rId11"/>
                </p:custDataLst>
              </p:nvPr>
            </p:nvSpPr>
            <p:spPr bwMode="gray">
              <a:xfrm>
                <a:off x="371853" y="4764822"/>
                <a:ext cx="1922118" cy="290513"/>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Benzylpenicillin injection</a:t>
                </a:r>
              </a:p>
            </p:txBody>
          </p:sp>
          <p:sp>
            <p:nvSpPr>
              <p:cNvPr id="191" name="Rectangle 190">
                <a:extLst>
                  <a:ext uri="{FF2B5EF4-FFF2-40B4-BE49-F238E27FC236}">
                    <a16:creationId xmlns:a16="http://schemas.microsoft.com/office/drawing/2014/main" id="{CCB02DFD-AE99-1376-6209-5EF591654187}"/>
                  </a:ext>
                </a:extLst>
              </p:cNvPr>
              <p:cNvSpPr>
                <a:spLocks noChangeArrowheads="1"/>
              </p:cNvSpPr>
              <p:nvPr>
                <p:custDataLst>
                  <p:tags r:id="rId12"/>
                </p:custDataLst>
              </p:nvPr>
            </p:nvSpPr>
            <p:spPr bwMode="gray">
              <a:xfrm>
                <a:off x="371853" y="5092957"/>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Dexamethasone Injection </a:t>
                </a:r>
              </a:p>
            </p:txBody>
          </p:sp>
          <p:sp>
            <p:nvSpPr>
              <p:cNvPr id="192" name="Rectangle 191">
                <a:extLst>
                  <a:ext uri="{FF2B5EF4-FFF2-40B4-BE49-F238E27FC236}">
                    <a16:creationId xmlns:a16="http://schemas.microsoft.com/office/drawing/2014/main" id="{B860AEFE-444F-5925-EFFC-C94D5B249551}"/>
                  </a:ext>
                </a:extLst>
              </p:cNvPr>
              <p:cNvSpPr>
                <a:spLocks noChangeArrowheads="1"/>
              </p:cNvSpPr>
              <p:nvPr>
                <p:custDataLst>
                  <p:tags r:id="rId13"/>
                </p:custDataLst>
              </p:nvPr>
            </p:nvSpPr>
            <p:spPr bwMode="gray">
              <a:xfrm>
                <a:off x="371853" y="5420094"/>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Chlorhexidine digluconate  </a:t>
                </a:r>
              </a:p>
            </p:txBody>
          </p:sp>
          <p:sp>
            <p:nvSpPr>
              <p:cNvPr id="6" name="Rectangle 5">
                <a:extLst>
                  <a:ext uri="{FF2B5EF4-FFF2-40B4-BE49-F238E27FC236}">
                    <a16:creationId xmlns:a16="http://schemas.microsoft.com/office/drawing/2014/main" id="{534056A9-46A8-3BF4-6B9F-33EEC64DE2BF}"/>
                  </a:ext>
                </a:extLst>
              </p:cNvPr>
              <p:cNvSpPr>
                <a:spLocks noChangeArrowheads="1"/>
              </p:cNvSpPr>
              <p:nvPr>
                <p:custDataLst>
                  <p:tags r:id="rId14"/>
                </p:custDataLst>
              </p:nvPr>
            </p:nvSpPr>
            <p:spPr bwMode="gray">
              <a:xfrm>
                <a:off x="371853" y="5748229"/>
                <a:ext cx="1922118" cy="289515"/>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Heat Stable Carbetocin </a:t>
                </a:r>
              </a:p>
            </p:txBody>
          </p:sp>
          <p:sp>
            <p:nvSpPr>
              <p:cNvPr id="194" name="TextBox 193">
                <a:extLst>
                  <a:ext uri="{FF2B5EF4-FFF2-40B4-BE49-F238E27FC236}">
                    <a16:creationId xmlns:a16="http://schemas.microsoft.com/office/drawing/2014/main" id="{1BC2FEA0-D482-83AE-CFF2-32B503C7E7B5}"/>
                  </a:ext>
                </a:extLst>
              </p:cNvPr>
              <p:cNvSpPr txBox="1"/>
              <p:nvPr/>
            </p:nvSpPr>
            <p:spPr>
              <a:xfrm>
                <a:off x="2378278" y="1818593"/>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195" name="TextBox 194">
                <a:extLst>
                  <a:ext uri="{FF2B5EF4-FFF2-40B4-BE49-F238E27FC236}">
                    <a16:creationId xmlns:a16="http://schemas.microsoft.com/office/drawing/2014/main" id="{1268DC36-0BD5-A6C0-F50E-39CFAF627064}"/>
                  </a:ext>
                </a:extLst>
              </p:cNvPr>
              <p:cNvSpPr txBox="1"/>
              <p:nvPr/>
            </p:nvSpPr>
            <p:spPr>
              <a:xfrm>
                <a:off x="2378278" y="2145730"/>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196" name="TextBox 195">
                <a:extLst>
                  <a:ext uri="{FF2B5EF4-FFF2-40B4-BE49-F238E27FC236}">
                    <a16:creationId xmlns:a16="http://schemas.microsoft.com/office/drawing/2014/main" id="{2173CA92-92A2-9108-C311-CB46A9221552}"/>
                  </a:ext>
                </a:extLst>
              </p:cNvPr>
              <p:cNvSpPr txBox="1"/>
              <p:nvPr/>
            </p:nvSpPr>
            <p:spPr>
              <a:xfrm>
                <a:off x="2378278" y="2472867"/>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197" name="TextBox 196">
                <a:extLst>
                  <a:ext uri="{FF2B5EF4-FFF2-40B4-BE49-F238E27FC236}">
                    <a16:creationId xmlns:a16="http://schemas.microsoft.com/office/drawing/2014/main" id="{98DBE6EE-4AA2-1900-3993-01D84D7850E3}"/>
                  </a:ext>
                </a:extLst>
              </p:cNvPr>
              <p:cNvSpPr txBox="1"/>
              <p:nvPr/>
            </p:nvSpPr>
            <p:spPr>
              <a:xfrm>
                <a:off x="2378278" y="2801002"/>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198" name="TextBox 197">
                <a:extLst>
                  <a:ext uri="{FF2B5EF4-FFF2-40B4-BE49-F238E27FC236}">
                    <a16:creationId xmlns:a16="http://schemas.microsoft.com/office/drawing/2014/main" id="{EE095B9F-9306-8E89-F0DC-1EAC4C74DE76}"/>
                  </a:ext>
                </a:extLst>
              </p:cNvPr>
              <p:cNvSpPr txBox="1"/>
              <p:nvPr/>
            </p:nvSpPr>
            <p:spPr>
              <a:xfrm>
                <a:off x="2378278" y="3128139"/>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199" name="TextBox 198">
                <a:extLst>
                  <a:ext uri="{FF2B5EF4-FFF2-40B4-BE49-F238E27FC236}">
                    <a16:creationId xmlns:a16="http://schemas.microsoft.com/office/drawing/2014/main" id="{40193729-825E-FF40-2B55-3934F4DC0E6B}"/>
                  </a:ext>
                </a:extLst>
              </p:cNvPr>
              <p:cNvSpPr txBox="1"/>
              <p:nvPr/>
            </p:nvSpPr>
            <p:spPr>
              <a:xfrm>
                <a:off x="2378278" y="3456274"/>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00" name="TextBox 199">
                <a:extLst>
                  <a:ext uri="{FF2B5EF4-FFF2-40B4-BE49-F238E27FC236}">
                    <a16:creationId xmlns:a16="http://schemas.microsoft.com/office/drawing/2014/main" id="{23AC9099-B2CF-7EA6-4AEE-CDE256E48B5F}"/>
                  </a:ext>
                </a:extLst>
              </p:cNvPr>
              <p:cNvSpPr txBox="1"/>
              <p:nvPr/>
            </p:nvSpPr>
            <p:spPr>
              <a:xfrm>
                <a:off x="2378278" y="3783411"/>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01" name="TextBox 200">
                <a:extLst>
                  <a:ext uri="{FF2B5EF4-FFF2-40B4-BE49-F238E27FC236}">
                    <a16:creationId xmlns:a16="http://schemas.microsoft.com/office/drawing/2014/main" id="{DF832AC8-5B5A-7045-ED13-D3F2B95834AD}"/>
                  </a:ext>
                </a:extLst>
              </p:cNvPr>
              <p:cNvSpPr txBox="1"/>
              <p:nvPr/>
            </p:nvSpPr>
            <p:spPr>
              <a:xfrm>
                <a:off x="2378278" y="4110548"/>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33 per 10 tabs </a:t>
                </a:r>
              </a:p>
            </p:txBody>
          </p:sp>
          <p:sp>
            <p:nvSpPr>
              <p:cNvPr id="202" name="TextBox 201">
                <a:extLst>
                  <a:ext uri="{FF2B5EF4-FFF2-40B4-BE49-F238E27FC236}">
                    <a16:creationId xmlns:a16="http://schemas.microsoft.com/office/drawing/2014/main" id="{79CCD388-74A1-4999-3175-9214D2CDCEE7}"/>
                  </a:ext>
                </a:extLst>
              </p:cNvPr>
              <p:cNvSpPr txBox="1"/>
              <p:nvPr/>
            </p:nvSpPr>
            <p:spPr>
              <a:xfrm>
                <a:off x="2378278" y="4437685"/>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33 per Amp</a:t>
                </a:r>
              </a:p>
            </p:txBody>
          </p:sp>
          <p:sp>
            <p:nvSpPr>
              <p:cNvPr id="203" name="TextBox 202">
                <a:extLst>
                  <a:ext uri="{FF2B5EF4-FFF2-40B4-BE49-F238E27FC236}">
                    <a16:creationId xmlns:a16="http://schemas.microsoft.com/office/drawing/2014/main" id="{897CCB05-CB50-E7AA-7C14-B0D495C0DB2C}"/>
                  </a:ext>
                </a:extLst>
              </p:cNvPr>
              <p:cNvSpPr txBox="1"/>
              <p:nvPr/>
            </p:nvSpPr>
            <p:spPr>
              <a:xfrm>
                <a:off x="2378278" y="4764822"/>
                <a:ext cx="989013" cy="290513"/>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04" name="TextBox 203">
                <a:extLst>
                  <a:ext uri="{FF2B5EF4-FFF2-40B4-BE49-F238E27FC236}">
                    <a16:creationId xmlns:a16="http://schemas.microsoft.com/office/drawing/2014/main" id="{BCD21D32-AF33-9399-F585-9518A9E96CE2}"/>
                  </a:ext>
                </a:extLst>
              </p:cNvPr>
              <p:cNvSpPr txBox="1"/>
              <p:nvPr/>
            </p:nvSpPr>
            <p:spPr>
              <a:xfrm>
                <a:off x="2378278" y="5092957"/>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05" name="TextBox 204">
                <a:extLst>
                  <a:ext uri="{FF2B5EF4-FFF2-40B4-BE49-F238E27FC236}">
                    <a16:creationId xmlns:a16="http://schemas.microsoft.com/office/drawing/2014/main" id="{EFB484AD-9851-E7B4-2859-FEE12EBBE9E5}"/>
                  </a:ext>
                </a:extLst>
              </p:cNvPr>
              <p:cNvSpPr txBox="1"/>
              <p:nvPr/>
            </p:nvSpPr>
            <p:spPr>
              <a:xfrm>
                <a:off x="2378278" y="5420094"/>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8" name="TextBox 7">
                <a:extLst>
                  <a:ext uri="{FF2B5EF4-FFF2-40B4-BE49-F238E27FC236}">
                    <a16:creationId xmlns:a16="http://schemas.microsoft.com/office/drawing/2014/main" id="{BDE8D287-0023-22B1-A73D-8752A445C064}"/>
                  </a:ext>
                </a:extLst>
              </p:cNvPr>
              <p:cNvSpPr txBox="1"/>
              <p:nvPr/>
            </p:nvSpPr>
            <p:spPr>
              <a:xfrm>
                <a:off x="2378278" y="5748229"/>
                <a:ext cx="989013" cy="289515"/>
              </a:xfrm>
              <a:prstGeom prst="rect">
                <a:avLst/>
              </a:prstGeom>
              <a:solidFill>
                <a:srgbClr val="FFFFFF"/>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07" name="TextBox 206">
                <a:extLst>
                  <a:ext uri="{FF2B5EF4-FFF2-40B4-BE49-F238E27FC236}">
                    <a16:creationId xmlns:a16="http://schemas.microsoft.com/office/drawing/2014/main" id="{5DBEE16B-8895-65AC-E838-86F426DDFBFA}"/>
                  </a:ext>
                </a:extLst>
              </p:cNvPr>
              <p:cNvSpPr txBox="1"/>
              <p:nvPr/>
            </p:nvSpPr>
            <p:spPr>
              <a:xfrm>
                <a:off x="3409011" y="1818593"/>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08" name="TextBox 207">
                <a:extLst>
                  <a:ext uri="{FF2B5EF4-FFF2-40B4-BE49-F238E27FC236}">
                    <a16:creationId xmlns:a16="http://schemas.microsoft.com/office/drawing/2014/main" id="{6EA3B9FB-D6FC-2076-11B3-9E11B87A9AC5}"/>
                  </a:ext>
                </a:extLst>
              </p:cNvPr>
              <p:cNvSpPr txBox="1"/>
              <p:nvPr/>
            </p:nvSpPr>
            <p:spPr>
              <a:xfrm>
                <a:off x="3408732" y="2145730"/>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09" name="TextBox 208">
                <a:extLst>
                  <a:ext uri="{FF2B5EF4-FFF2-40B4-BE49-F238E27FC236}">
                    <a16:creationId xmlns:a16="http://schemas.microsoft.com/office/drawing/2014/main" id="{900DBA31-47BA-6591-08B3-E8BA05C2AD2D}"/>
                  </a:ext>
                </a:extLst>
              </p:cNvPr>
              <p:cNvSpPr txBox="1"/>
              <p:nvPr/>
            </p:nvSpPr>
            <p:spPr>
              <a:xfrm>
                <a:off x="3408732" y="2472867"/>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10" name="TextBox 209">
                <a:extLst>
                  <a:ext uri="{FF2B5EF4-FFF2-40B4-BE49-F238E27FC236}">
                    <a16:creationId xmlns:a16="http://schemas.microsoft.com/office/drawing/2014/main" id="{413337FF-1A16-D1D5-B531-08B6384ECF4A}"/>
                  </a:ext>
                </a:extLst>
              </p:cNvPr>
              <p:cNvSpPr txBox="1"/>
              <p:nvPr/>
            </p:nvSpPr>
            <p:spPr>
              <a:xfrm>
                <a:off x="3408732" y="2801002"/>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11" name="TextBox 210">
                <a:extLst>
                  <a:ext uri="{FF2B5EF4-FFF2-40B4-BE49-F238E27FC236}">
                    <a16:creationId xmlns:a16="http://schemas.microsoft.com/office/drawing/2014/main" id="{F286579B-1539-2701-F9D7-58F02E39A2F0}"/>
                  </a:ext>
                </a:extLst>
              </p:cNvPr>
              <p:cNvSpPr txBox="1"/>
              <p:nvPr/>
            </p:nvSpPr>
            <p:spPr>
              <a:xfrm>
                <a:off x="3408732" y="3128139"/>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12" name="TextBox 211">
                <a:extLst>
                  <a:ext uri="{FF2B5EF4-FFF2-40B4-BE49-F238E27FC236}">
                    <a16:creationId xmlns:a16="http://schemas.microsoft.com/office/drawing/2014/main" id="{AE79DAFB-747F-B687-3540-BC359165E08B}"/>
                  </a:ext>
                </a:extLst>
              </p:cNvPr>
              <p:cNvSpPr txBox="1"/>
              <p:nvPr/>
            </p:nvSpPr>
            <p:spPr>
              <a:xfrm>
                <a:off x="3408732" y="3456274"/>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13" name="TextBox 212">
                <a:extLst>
                  <a:ext uri="{FF2B5EF4-FFF2-40B4-BE49-F238E27FC236}">
                    <a16:creationId xmlns:a16="http://schemas.microsoft.com/office/drawing/2014/main" id="{BFFFAB30-807E-AAE2-008A-7D91F9199C60}"/>
                  </a:ext>
                </a:extLst>
              </p:cNvPr>
              <p:cNvSpPr txBox="1"/>
              <p:nvPr/>
            </p:nvSpPr>
            <p:spPr>
              <a:xfrm>
                <a:off x="3408732" y="3783411"/>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14" name="TextBox 213">
                <a:extLst>
                  <a:ext uri="{FF2B5EF4-FFF2-40B4-BE49-F238E27FC236}">
                    <a16:creationId xmlns:a16="http://schemas.microsoft.com/office/drawing/2014/main" id="{81958C6B-A74C-7714-101D-FC4AAC9C5A5A}"/>
                  </a:ext>
                </a:extLst>
              </p:cNvPr>
              <p:cNvSpPr txBox="1"/>
              <p:nvPr/>
            </p:nvSpPr>
            <p:spPr>
              <a:xfrm>
                <a:off x="3408732" y="4110548"/>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15" name="TextBox 214">
                <a:extLst>
                  <a:ext uri="{FF2B5EF4-FFF2-40B4-BE49-F238E27FC236}">
                    <a16:creationId xmlns:a16="http://schemas.microsoft.com/office/drawing/2014/main" id="{62DF406D-857F-6D5C-AAFF-F031685C585A}"/>
                  </a:ext>
                </a:extLst>
              </p:cNvPr>
              <p:cNvSpPr txBox="1"/>
              <p:nvPr/>
            </p:nvSpPr>
            <p:spPr>
              <a:xfrm>
                <a:off x="3408732" y="4437685"/>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16" name="TextBox 215">
                <a:extLst>
                  <a:ext uri="{FF2B5EF4-FFF2-40B4-BE49-F238E27FC236}">
                    <a16:creationId xmlns:a16="http://schemas.microsoft.com/office/drawing/2014/main" id="{B7A62037-9372-9059-D6A1-60F73B458CDD}"/>
                  </a:ext>
                </a:extLst>
              </p:cNvPr>
              <p:cNvSpPr txBox="1"/>
              <p:nvPr/>
            </p:nvSpPr>
            <p:spPr>
              <a:xfrm>
                <a:off x="3408732" y="4764822"/>
                <a:ext cx="989013" cy="290513"/>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17" name="TextBox 216">
                <a:extLst>
                  <a:ext uri="{FF2B5EF4-FFF2-40B4-BE49-F238E27FC236}">
                    <a16:creationId xmlns:a16="http://schemas.microsoft.com/office/drawing/2014/main" id="{99989E8C-C215-7379-44FE-8F291C336A04}"/>
                  </a:ext>
                </a:extLst>
              </p:cNvPr>
              <p:cNvSpPr txBox="1"/>
              <p:nvPr/>
            </p:nvSpPr>
            <p:spPr>
              <a:xfrm>
                <a:off x="3409011" y="5092957"/>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18" name="TextBox 217">
                <a:extLst>
                  <a:ext uri="{FF2B5EF4-FFF2-40B4-BE49-F238E27FC236}">
                    <a16:creationId xmlns:a16="http://schemas.microsoft.com/office/drawing/2014/main" id="{1551DDC0-2F86-8C4D-CBD3-C2D243BE315D}"/>
                  </a:ext>
                </a:extLst>
              </p:cNvPr>
              <p:cNvSpPr txBox="1"/>
              <p:nvPr/>
            </p:nvSpPr>
            <p:spPr>
              <a:xfrm>
                <a:off x="3409011" y="5420094"/>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10" name="TextBox 9">
                <a:extLst>
                  <a:ext uri="{FF2B5EF4-FFF2-40B4-BE49-F238E27FC236}">
                    <a16:creationId xmlns:a16="http://schemas.microsoft.com/office/drawing/2014/main" id="{14280773-1C88-3107-2E2A-33B5CE80F416}"/>
                  </a:ext>
                </a:extLst>
              </p:cNvPr>
              <p:cNvSpPr txBox="1"/>
              <p:nvPr/>
            </p:nvSpPr>
            <p:spPr>
              <a:xfrm>
                <a:off x="3409011" y="5748229"/>
                <a:ext cx="989013" cy="289515"/>
              </a:xfrm>
              <a:prstGeom prst="rect">
                <a:avLst/>
              </a:prstGeom>
              <a:solidFill>
                <a:srgbClr val="FFFFFF"/>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20" name="TextBox 219">
                <a:extLst>
                  <a:ext uri="{FF2B5EF4-FFF2-40B4-BE49-F238E27FC236}">
                    <a16:creationId xmlns:a16="http://schemas.microsoft.com/office/drawing/2014/main" id="{0A756399-98CB-F813-54FB-F86A4E0FDD50}"/>
                  </a:ext>
                </a:extLst>
              </p:cNvPr>
              <p:cNvSpPr txBox="1"/>
              <p:nvPr/>
            </p:nvSpPr>
            <p:spPr>
              <a:xfrm>
                <a:off x="4481071" y="1818593"/>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33 per 3 tabs </a:t>
                </a:r>
              </a:p>
            </p:txBody>
          </p:sp>
          <p:sp>
            <p:nvSpPr>
              <p:cNvPr id="221" name="TextBox 220">
                <a:extLst>
                  <a:ext uri="{FF2B5EF4-FFF2-40B4-BE49-F238E27FC236}">
                    <a16:creationId xmlns:a16="http://schemas.microsoft.com/office/drawing/2014/main" id="{6C2C4A4B-1BF1-DA05-0033-DE15EF52B6CF}"/>
                  </a:ext>
                </a:extLst>
              </p:cNvPr>
              <p:cNvSpPr txBox="1"/>
              <p:nvPr/>
            </p:nvSpPr>
            <p:spPr>
              <a:xfrm>
                <a:off x="4481071" y="2145730"/>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22" name="TextBox 221">
                <a:extLst>
                  <a:ext uri="{FF2B5EF4-FFF2-40B4-BE49-F238E27FC236}">
                    <a16:creationId xmlns:a16="http://schemas.microsoft.com/office/drawing/2014/main" id="{A325A1D7-7F90-B8BE-A68C-0B08D5D250AC}"/>
                  </a:ext>
                </a:extLst>
              </p:cNvPr>
              <p:cNvSpPr txBox="1"/>
              <p:nvPr/>
            </p:nvSpPr>
            <p:spPr>
              <a:xfrm>
                <a:off x="4481071" y="2472867"/>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22  per Amp</a:t>
                </a:r>
              </a:p>
            </p:txBody>
          </p:sp>
          <p:sp>
            <p:nvSpPr>
              <p:cNvPr id="223" name="TextBox 222">
                <a:extLst>
                  <a:ext uri="{FF2B5EF4-FFF2-40B4-BE49-F238E27FC236}">
                    <a16:creationId xmlns:a16="http://schemas.microsoft.com/office/drawing/2014/main" id="{325CA485-6DDF-0991-F39F-E2CC07619ECB}"/>
                  </a:ext>
                </a:extLst>
              </p:cNvPr>
              <p:cNvSpPr txBox="1"/>
              <p:nvPr/>
            </p:nvSpPr>
            <p:spPr>
              <a:xfrm>
                <a:off x="4481071" y="2801002"/>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24" name="TextBox 223">
                <a:extLst>
                  <a:ext uri="{FF2B5EF4-FFF2-40B4-BE49-F238E27FC236}">
                    <a16:creationId xmlns:a16="http://schemas.microsoft.com/office/drawing/2014/main" id="{A1164346-F92B-84E3-961F-6E27230D0050}"/>
                  </a:ext>
                </a:extLst>
              </p:cNvPr>
              <p:cNvSpPr txBox="1"/>
              <p:nvPr/>
            </p:nvSpPr>
            <p:spPr>
              <a:xfrm>
                <a:off x="4481071" y="3128139"/>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09 per Amp</a:t>
                </a:r>
              </a:p>
            </p:txBody>
          </p:sp>
          <p:sp>
            <p:nvSpPr>
              <p:cNvPr id="225" name="TextBox 224">
                <a:extLst>
                  <a:ext uri="{FF2B5EF4-FFF2-40B4-BE49-F238E27FC236}">
                    <a16:creationId xmlns:a16="http://schemas.microsoft.com/office/drawing/2014/main" id="{EE424C94-1984-8A3D-DF36-0C659902B166}"/>
                  </a:ext>
                </a:extLst>
              </p:cNvPr>
              <p:cNvSpPr txBox="1"/>
              <p:nvPr/>
            </p:nvSpPr>
            <p:spPr>
              <a:xfrm>
                <a:off x="4481071" y="3456274"/>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26" name="TextBox 225">
                <a:extLst>
                  <a:ext uri="{FF2B5EF4-FFF2-40B4-BE49-F238E27FC236}">
                    <a16:creationId xmlns:a16="http://schemas.microsoft.com/office/drawing/2014/main" id="{8DF2D991-8F09-88C9-FD30-A2D718E694EA}"/>
                  </a:ext>
                </a:extLst>
              </p:cNvPr>
              <p:cNvSpPr txBox="1"/>
              <p:nvPr/>
            </p:nvSpPr>
            <p:spPr>
              <a:xfrm>
                <a:off x="4481071" y="3783411"/>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65 per 10 tabs </a:t>
                </a:r>
              </a:p>
            </p:txBody>
          </p:sp>
          <p:sp>
            <p:nvSpPr>
              <p:cNvPr id="227" name="TextBox 226">
                <a:extLst>
                  <a:ext uri="{FF2B5EF4-FFF2-40B4-BE49-F238E27FC236}">
                    <a16:creationId xmlns:a16="http://schemas.microsoft.com/office/drawing/2014/main" id="{C99E7469-7A89-85A3-2865-9BDCB8BBEF52}"/>
                  </a:ext>
                </a:extLst>
              </p:cNvPr>
              <p:cNvSpPr txBox="1"/>
              <p:nvPr/>
            </p:nvSpPr>
            <p:spPr>
              <a:xfrm>
                <a:off x="4481071" y="4110548"/>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22 per 10 tabs </a:t>
                </a:r>
              </a:p>
            </p:txBody>
          </p:sp>
          <p:sp>
            <p:nvSpPr>
              <p:cNvPr id="228" name="TextBox 227">
                <a:extLst>
                  <a:ext uri="{FF2B5EF4-FFF2-40B4-BE49-F238E27FC236}">
                    <a16:creationId xmlns:a16="http://schemas.microsoft.com/office/drawing/2014/main" id="{E5FA9305-235F-8A6B-A0D0-289E4051CA73}"/>
                  </a:ext>
                </a:extLst>
              </p:cNvPr>
              <p:cNvSpPr txBox="1"/>
              <p:nvPr/>
            </p:nvSpPr>
            <p:spPr>
              <a:xfrm>
                <a:off x="4481071" y="4437685"/>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05 per Amp</a:t>
                </a:r>
              </a:p>
            </p:txBody>
          </p:sp>
          <p:sp>
            <p:nvSpPr>
              <p:cNvPr id="229" name="TextBox 228">
                <a:extLst>
                  <a:ext uri="{FF2B5EF4-FFF2-40B4-BE49-F238E27FC236}">
                    <a16:creationId xmlns:a16="http://schemas.microsoft.com/office/drawing/2014/main" id="{52D4C9D7-FB9E-7D54-3099-60249C8CCE09}"/>
                  </a:ext>
                </a:extLst>
              </p:cNvPr>
              <p:cNvSpPr txBox="1"/>
              <p:nvPr/>
            </p:nvSpPr>
            <p:spPr>
              <a:xfrm>
                <a:off x="4481071" y="4764822"/>
                <a:ext cx="989013" cy="290513"/>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15 per vial </a:t>
                </a:r>
              </a:p>
            </p:txBody>
          </p:sp>
          <p:sp>
            <p:nvSpPr>
              <p:cNvPr id="230" name="TextBox 229">
                <a:extLst>
                  <a:ext uri="{FF2B5EF4-FFF2-40B4-BE49-F238E27FC236}">
                    <a16:creationId xmlns:a16="http://schemas.microsoft.com/office/drawing/2014/main" id="{4E995969-95D7-5F44-5A3F-4D900690D04A}"/>
                  </a:ext>
                </a:extLst>
              </p:cNvPr>
              <p:cNvSpPr txBox="1"/>
              <p:nvPr/>
            </p:nvSpPr>
            <p:spPr>
              <a:xfrm>
                <a:off x="4481071" y="5092957"/>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09 per Amp </a:t>
                </a:r>
              </a:p>
            </p:txBody>
          </p:sp>
          <p:sp>
            <p:nvSpPr>
              <p:cNvPr id="231" name="TextBox 230">
                <a:extLst>
                  <a:ext uri="{FF2B5EF4-FFF2-40B4-BE49-F238E27FC236}">
                    <a16:creationId xmlns:a16="http://schemas.microsoft.com/office/drawing/2014/main" id="{65CD9DC0-3B2E-4C82-8C60-71F4FA1B82C0}"/>
                  </a:ext>
                </a:extLst>
              </p:cNvPr>
              <p:cNvSpPr txBox="1"/>
              <p:nvPr/>
            </p:nvSpPr>
            <p:spPr>
              <a:xfrm>
                <a:off x="4481071" y="5420094"/>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12" name="TextBox 11">
                <a:extLst>
                  <a:ext uri="{FF2B5EF4-FFF2-40B4-BE49-F238E27FC236}">
                    <a16:creationId xmlns:a16="http://schemas.microsoft.com/office/drawing/2014/main" id="{C1892019-C4D2-8BC1-76A5-5198AEF347AD}"/>
                  </a:ext>
                </a:extLst>
              </p:cNvPr>
              <p:cNvSpPr txBox="1"/>
              <p:nvPr/>
            </p:nvSpPr>
            <p:spPr>
              <a:xfrm>
                <a:off x="4481071" y="5748229"/>
                <a:ext cx="989013" cy="289515"/>
              </a:xfrm>
              <a:prstGeom prst="rect">
                <a:avLst/>
              </a:prstGeom>
              <a:solidFill>
                <a:srgbClr val="FFFFFF"/>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233" name="TextBox 232">
                <a:extLst>
                  <a:ext uri="{FF2B5EF4-FFF2-40B4-BE49-F238E27FC236}">
                    <a16:creationId xmlns:a16="http://schemas.microsoft.com/office/drawing/2014/main" id="{4604EE91-277C-EA5B-E102-A0BEA14FF935}"/>
                  </a:ext>
                </a:extLst>
              </p:cNvPr>
              <p:cNvSpPr txBox="1"/>
              <p:nvPr/>
            </p:nvSpPr>
            <p:spPr>
              <a:xfrm>
                <a:off x="6583585" y="1818593"/>
                <a:ext cx="987966"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34" name="TextBox 233">
                <a:extLst>
                  <a:ext uri="{FF2B5EF4-FFF2-40B4-BE49-F238E27FC236}">
                    <a16:creationId xmlns:a16="http://schemas.microsoft.com/office/drawing/2014/main" id="{7BE1B631-A2B3-9E14-F366-9EEA8A7751EC}"/>
                  </a:ext>
                </a:extLst>
              </p:cNvPr>
              <p:cNvSpPr txBox="1"/>
              <p:nvPr/>
            </p:nvSpPr>
            <p:spPr>
              <a:xfrm>
                <a:off x="6583585" y="2145730"/>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35" name="TextBox 234">
                <a:extLst>
                  <a:ext uri="{FF2B5EF4-FFF2-40B4-BE49-F238E27FC236}">
                    <a16:creationId xmlns:a16="http://schemas.microsoft.com/office/drawing/2014/main" id="{F5EA6E80-44D7-998D-2DD8-FDF73DA691AB}"/>
                  </a:ext>
                </a:extLst>
              </p:cNvPr>
              <p:cNvSpPr txBox="1"/>
              <p:nvPr/>
            </p:nvSpPr>
            <p:spPr>
              <a:xfrm>
                <a:off x="6583585" y="2472867"/>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36" name="TextBox 235">
                <a:extLst>
                  <a:ext uri="{FF2B5EF4-FFF2-40B4-BE49-F238E27FC236}">
                    <a16:creationId xmlns:a16="http://schemas.microsoft.com/office/drawing/2014/main" id="{E5C98F4F-DF7E-0346-FEFC-2BB421280DDC}"/>
                  </a:ext>
                </a:extLst>
              </p:cNvPr>
              <p:cNvSpPr txBox="1"/>
              <p:nvPr/>
            </p:nvSpPr>
            <p:spPr>
              <a:xfrm>
                <a:off x="6583585" y="2801002"/>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37" name="TextBox 236">
                <a:extLst>
                  <a:ext uri="{FF2B5EF4-FFF2-40B4-BE49-F238E27FC236}">
                    <a16:creationId xmlns:a16="http://schemas.microsoft.com/office/drawing/2014/main" id="{AFC03A53-5E80-B122-C2D6-BE3FACA2E235}"/>
                  </a:ext>
                </a:extLst>
              </p:cNvPr>
              <p:cNvSpPr txBox="1"/>
              <p:nvPr/>
            </p:nvSpPr>
            <p:spPr>
              <a:xfrm>
                <a:off x="6583585" y="3128139"/>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38" name="TextBox 237">
                <a:extLst>
                  <a:ext uri="{FF2B5EF4-FFF2-40B4-BE49-F238E27FC236}">
                    <a16:creationId xmlns:a16="http://schemas.microsoft.com/office/drawing/2014/main" id="{12AC1639-1AA8-E677-6A6D-BC374B3DD295}"/>
                  </a:ext>
                </a:extLst>
              </p:cNvPr>
              <p:cNvSpPr txBox="1"/>
              <p:nvPr/>
            </p:nvSpPr>
            <p:spPr>
              <a:xfrm>
                <a:off x="6583585" y="3456274"/>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39" name="TextBox 238">
                <a:extLst>
                  <a:ext uri="{FF2B5EF4-FFF2-40B4-BE49-F238E27FC236}">
                    <a16:creationId xmlns:a16="http://schemas.microsoft.com/office/drawing/2014/main" id="{441873B2-9424-D5DA-C933-406F3B463080}"/>
                  </a:ext>
                </a:extLst>
              </p:cNvPr>
              <p:cNvSpPr txBox="1"/>
              <p:nvPr/>
            </p:nvSpPr>
            <p:spPr>
              <a:xfrm>
                <a:off x="6583585" y="3783411"/>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40" name="TextBox 239">
                <a:extLst>
                  <a:ext uri="{FF2B5EF4-FFF2-40B4-BE49-F238E27FC236}">
                    <a16:creationId xmlns:a16="http://schemas.microsoft.com/office/drawing/2014/main" id="{ED0E84E6-A50E-B4A9-CF7A-2CF20A930CA8}"/>
                  </a:ext>
                </a:extLst>
              </p:cNvPr>
              <p:cNvSpPr txBox="1"/>
              <p:nvPr/>
            </p:nvSpPr>
            <p:spPr>
              <a:xfrm>
                <a:off x="6583585" y="4110548"/>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41" name="TextBox 240">
                <a:extLst>
                  <a:ext uri="{FF2B5EF4-FFF2-40B4-BE49-F238E27FC236}">
                    <a16:creationId xmlns:a16="http://schemas.microsoft.com/office/drawing/2014/main" id="{841A199A-AF15-6440-F4EB-FAA6C2698854}"/>
                  </a:ext>
                </a:extLst>
              </p:cNvPr>
              <p:cNvSpPr txBox="1"/>
              <p:nvPr/>
            </p:nvSpPr>
            <p:spPr>
              <a:xfrm>
                <a:off x="6583585" y="4437685"/>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42" name="TextBox 241">
                <a:extLst>
                  <a:ext uri="{FF2B5EF4-FFF2-40B4-BE49-F238E27FC236}">
                    <a16:creationId xmlns:a16="http://schemas.microsoft.com/office/drawing/2014/main" id="{BC8F0DC0-7A2F-CD2C-7B37-45CEF7C6F3C0}"/>
                  </a:ext>
                </a:extLst>
              </p:cNvPr>
              <p:cNvSpPr txBox="1"/>
              <p:nvPr/>
            </p:nvSpPr>
            <p:spPr>
              <a:xfrm>
                <a:off x="6583585" y="4764822"/>
                <a:ext cx="989013" cy="290513"/>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43" name="TextBox 242">
                <a:extLst>
                  <a:ext uri="{FF2B5EF4-FFF2-40B4-BE49-F238E27FC236}">
                    <a16:creationId xmlns:a16="http://schemas.microsoft.com/office/drawing/2014/main" id="{6669A8CC-BF66-4A27-C999-CFCBD6A4C314}"/>
                  </a:ext>
                </a:extLst>
              </p:cNvPr>
              <p:cNvSpPr txBox="1"/>
              <p:nvPr/>
            </p:nvSpPr>
            <p:spPr>
              <a:xfrm>
                <a:off x="6583585" y="5092957"/>
                <a:ext cx="987966"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44" name="TextBox 243">
                <a:extLst>
                  <a:ext uri="{FF2B5EF4-FFF2-40B4-BE49-F238E27FC236}">
                    <a16:creationId xmlns:a16="http://schemas.microsoft.com/office/drawing/2014/main" id="{633798EA-1B20-C087-FD9A-5601335D54CC}"/>
                  </a:ext>
                </a:extLst>
              </p:cNvPr>
              <p:cNvSpPr txBox="1"/>
              <p:nvPr/>
            </p:nvSpPr>
            <p:spPr>
              <a:xfrm>
                <a:off x="6583585" y="5420094"/>
                <a:ext cx="987966"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14" name="TextBox 13">
                <a:extLst>
                  <a:ext uri="{FF2B5EF4-FFF2-40B4-BE49-F238E27FC236}">
                    <a16:creationId xmlns:a16="http://schemas.microsoft.com/office/drawing/2014/main" id="{46B6B153-B984-DCFE-E15E-B8BB43CF86A2}"/>
                  </a:ext>
                </a:extLst>
              </p:cNvPr>
              <p:cNvSpPr txBox="1"/>
              <p:nvPr/>
            </p:nvSpPr>
            <p:spPr>
              <a:xfrm>
                <a:off x="6583585" y="5748229"/>
                <a:ext cx="987966" cy="289515"/>
              </a:xfrm>
              <a:prstGeom prst="rect">
                <a:avLst/>
              </a:prstGeom>
              <a:solidFill>
                <a:srgbClr val="FFFFFF"/>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246" name="TextBox 245">
                <a:extLst>
                  <a:ext uri="{FF2B5EF4-FFF2-40B4-BE49-F238E27FC236}">
                    <a16:creationId xmlns:a16="http://schemas.microsoft.com/office/drawing/2014/main" id="{7574AA28-5725-735A-4A25-3F532B44FC66}"/>
                  </a:ext>
                </a:extLst>
              </p:cNvPr>
              <p:cNvSpPr txBox="1"/>
              <p:nvPr/>
            </p:nvSpPr>
            <p:spPr>
              <a:xfrm>
                <a:off x="5511525" y="1818593"/>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33 - $0.76 per 3 tabs </a:t>
                </a:r>
              </a:p>
            </p:txBody>
          </p:sp>
          <p:sp>
            <p:nvSpPr>
              <p:cNvPr id="247" name="TextBox 246">
                <a:extLst>
                  <a:ext uri="{FF2B5EF4-FFF2-40B4-BE49-F238E27FC236}">
                    <a16:creationId xmlns:a16="http://schemas.microsoft.com/office/drawing/2014/main" id="{8EDD3D07-3540-818C-A24D-9E0CE5A1584A}"/>
                  </a:ext>
                </a:extLst>
              </p:cNvPr>
              <p:cNvSpPr txBox="1"/>
              <p:nvPr/>
            </p:nvSpPr>
            <p:spPr>
              <a:xfrm>
                <a:off x="5511525" y="2145730"/>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44 - $2.61 per 10 tabs </a:t>
                </a:r>
              </a:p>
            </p:txBody>
          </p:sp>
          <p:sp>
            <p:nvSpPr>
              <p:cNvPr id="248" name="TextBox 247">
                <a:extLst>
                  <a:ext uri="{FF2B5EF4-FFF2-40B4-BE49-F238E27FC236}">
                    <a16:creationId xmlns:a16="http://schemas.microsoft.com/office/drawing/2014/main" id="{9A786DE4-43DB-03B0-6D09-A49ADEB72773}"/>
                  </a:ext>
                </a:extLst>
              </p:cNvPr>
              <p:cNvSpPr txBox="1"/>
              <p:nvPr/>
            </p:nvSpPr>
            <p:spPr>
              <a:xfrm>
                <a:off x="5511525" y="2472867"/>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13 -N400 per Amp</a:t>
                </a:r>
              </a:p>
            </p:txBody>
          </p:sp>
          <p:sp>
            <p:nvSpPr>
              <p:cNvPr id="249" name="TextBox 248">
                <a:extLst>
                  <a:ext uri="{FF2B5EF4-FFF2-40B4-BE49-F238E27FC236}">
                    <a16:creationId xmlns:a16="http://schemas.microsoft.com/office/drawing/2014/main" id="{620ED2A4-7323-C052-86BA-E690392BC730}"/>
                  </a:ext>
                </a:extLst>
              </p:cNvPr>
              <p:cNvSpPr txBox="1"/>
              <p:nvPr/>
            </p:nvSpPr>
            <p:spPr>
              <a:xfrm>
                <a:off x="5511525" y="2801002"/>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65 - $0.87 per Amp </a:t>
                </a:r>
              </a:p>
            </p:txBody>
          </p:sp>
          <p:sp>
            <p:nvSpPr>
              <p:cNvPr id="250" name="TextBox 249">
                <a:extLst>
                  <a:ext uri="{FF2B5EF4-FFF2-40B4-BE49-F238E27FC236}">
                    <a16:creationId xmlns:a16="http://schemas.microsoft.com/office/drawing/2014/main" id="{8AE58677-2956-E59C-5A9B-6E4BAA1C67BB}"/>
                  </a:ext>
                </a:extLst>
              </p:cNvPr>
              <p:cNvSpPr txBox="1"/>
              <p:nvPr/>
            </p:nvSpPr>
            <p:spPr>
              <a:xfrm>
                <a:off x="5511525" y="3128139"/>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48 - $1.09 per Amp </a:t>
                </a:r>
              </a:p>
            </p:txBody>
          </p:sp>
          <p:sp>
            <p:nvSpPr>
              <p:cNvPr id="251" name="TextBox 250">
                <a:extLst>
                  <a:ext uri="{FF2B5EF4-FFF2-40B4-BE49-F238E27FC236}">
                    <a16:creationId xmlns:a16="http://schemas.microsoft.com/office/drawing/2014/main" id="{9838E137-180F-225E-CED4-199C927B47EE}"/>
                  </a:ext>
                </a:extLst>
              </p:cNvPr>
              <p:cNvSpPr txBox="1"/>
              <p:nvPr/>
            </p:nvSpPr>
            <p:spPr>
              <a:xfrm>
                <a:off x="5511525" y="3456274"/>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22 - $0.78 per Amp </a:t>
                </a:r>
              </a:p>
            </p:txBody>
          </p:sp>
          <p:sp>
            <p:nvSpPr>
              <p:cNvPr id="252" name="TextBox 251">
                <a:extLst>
                  <a:ext uri="{FF2B5EF4-FFF2-40B4-BE49-F238E27FC236}">
                    <a16:creationId xmlns:a16="http://schemas.microsoft.com/office/drawing/2014/main" id="{DF1C308A-F1B4-7EF0-FC21-CA1913F3E561}"/>
                  </a:ext>
                </a:extLst>
              </p:cNvPr>
              <p:cNvSpPr txBox="1"/>
              <p:nvPr/>
            </p:nvSpPr>
            <p:spPr>
              <a:xfrm>
                <a:off x="5511525" y="3783411"/>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52 - $1.30 per 10 tabs</a:t>
                </a:r>
              </a:p>
            </p:txBody>
          </p:sp>
          <p:sp>
            <p:nvSpPr>
              <p:cNvPr id="253" name="TextBox 252">
                <a:extLst>
                  <a:ext uri="{FF2B5EF4-FFF2-40B4-BE49-F238E27FC236}">
                    <a16:creationId xmlns:a16="http://schemas.microsoft.com/office/drawing/2014/main" id="{CF292937-FF4F-9CFF-CD1B-00F72DA9C73D}"/>
                  </a:ext>
                </a:extLst>
              </p:cNvPr>
              <p:cNvSpPr txBox="1"/>
              <p:nvPr/>
            </p:nvSpPr>
            <p:spPr>
              <a:xfrm>
                <a:off x="5511525" y="4110548"/>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11 - $1.63 per 10 tabs </a:t>
                </a:r>
              </a:p>
            </p:txBody>
          </p:sp>
          <p:sp>
            <p:nvSpPr>
              <p:cNvPr id="254" name="TextBox 253">
                <a:extLst>
                  <a:ext uri="{FF2B5EF4-FFF2-40B4-BE49-F238E27FC236}">
                    <a16:creationId xmlns:a16="http://schemas.microsoft.com/office/drawing/2014/main" id="{2806A321-7D07-77AD-B419-5450FD8FDAAC}"/>
                  </a:ext>
                </a:extLst>
              </p:cNvPr>
              <p:cNvSpPr txBox="1"/>
              <p:nvPr/>
            </p:nvSpPr>
            <p:spPr>
              <a:xfrm>
                <a:off x="5511525" y="4437685"/>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05 - $0.76 per Amp </a:t>
                </a:r>
              </a:p>
            </p:txBody>
          </p:sp>
          <p:sp>
            <p:nvSpPr>
              <p:cNvPr id="255" name="TextBox 254">
                <a:extLst>
                  <a:ext uri="{FF2B5EF4-FFF2-40B4-BE49-F238E27FC236}">
                    <a16:creationId xmlns:a16="http://schemas.microsoft.com/office/drawing/2014/main" id="{1E18F5AA-E34A-E786-F8A9-079F59C4B3C5}"/>
                  </a:ext>
                </a:extLst>
              </p:cNvPr>
              <p:cNvSpPr txBox="1"/>
              <p:nvPr/>
            </p:nvSpPr>
            <p:spPr>
              <a:xfrm>
                <a:off x="5511525" y="4764822"/>
                <a:ext cx="989013" cy="290513"/>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16 - $0.87 per vial </a:t>
                </a:r>
              </a:p>
            </p:txBody>
          </p:sp>
          <p:sp>
            <p:nvSpPr>
              <p:cNvPr id="256" name="TextBox 255">
                <a:extLst>
                  <a:ext uri="{FF2B5EF4-FFF2-40B4-BE49-F238E27FC236}">
                    <a16:creationId xmlns:a16="http://schemas.microsoft.com/office/drawing/2014/main" id="{ACBCEC63-FD7C-0B27-D43D-CAB3F14BA27B}"/>
                  </a:ext>
                </a:extLst>
              </p:cNvPr>
              <p:cNvSpPr txBox="1"/>
              <p:nvPr/>
            </p:nvSpPr>
            <p:spPr>
              <a:xfrm>
                <a:off x="5511525" y="5092957"/>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04 - $0.65 per Amp </a:t>
                </a:r>
              </a:p>
            </p:txBody>
          </p:sp>
          <p:sp>
            <p:nvSpPr>
              <p:cNvPr id="257" name="TextBox 256">
                <a:extLst>
                  <a:ext uri="{FF2B5EF4-FFF2-40B4-BE49-F238E27FC236}">
                    <a16:creationId xmlns:a16="http://schemas.microsoft.com/office/drawing/2014/main" id="{0F37D632-8736-847B-7F45-8B06B29E5588}"/>
                  </a:ext>
                </a:extLst>
              </p:cNvPr>
              <p:cNvSpPr txBox="1"/>
              <p:nvPr/>
            </p:nvSpPr>
            <p:spPr>
              <a:xfrm>
                <a:off x="5511525" y="5420094"/>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44 - $0.76 per Amp </a:t>
                </a:r>
              </a:p>
            </p:txBody>
          </p:sp>
          <p:sp>
            <p:nvSpPr>
              <p:cNvPr id="16" name="TextBox 15">
                <a:extLst>
                  <a:ext uri="{FF2B5EF4-FFF2-40B4-BE49-F238E27FC236}">
                    <a16:creationId xmlns:a16="http://schemas.microsoft.com/office/drawing/2014/main" id="{30CEF728-042F-BF91-0712-F4BAB5D99384}"/>
                  </a:ext>
                </a:extLst>
              </p:cNvPr>
              <p:cNvSpPr txBox="1"/>
              <p:nvPr/>
            </p:nvSpPr>
            <p:spPr>
              <a:xfrm>
                <a:off x="5511525" y="5748229"/>
                <a:ext cx="989013" cy="289515"/>
              </a:xfrm>
              <a:prstGeom prst="rect">
                <a:avLst/>
              </a:prstGeom>
              <a:solidFill>
                <a:srgbClr val="FFFFFF"/>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259" name="TextBox 258">
                <a:extLst>
                  <a:ext uri="{FF2B5EF4-FFF2-40B4-BE49-F238E27FC236}">
                    <a16:creationId xmlns:a16="http://schemas.microsoft.com/office/drawing/2014/main" id="{B8B53A2A-DC23-502D-1C6F-A8C0ECE23048}"/>
                  </a:ext>
                </a:extLst>
              </p:cNvPr>
              <p:cNvSpPr txBox="1"/>
              <p:nvPr/>
            </p:nvSpPr>
            <p:spPr>
              <a:xfrm>
                <a:off x="7655645" y="1818593"/>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44 per 3 tabs </a:t>
                </a:r>
              </a:p>
            </p:txBody>
          </p:sp>
          <p:sp>
            <p:nvSpPr>
              <p:cNvPr id="260" name="TextBox 259">
                <a:extLst>
                  <a:ext uri="{FF2B5EF4-FFF2-40B4-BE49-F238E27FC236}">
                    <a16:creationId xmlns:a16="http://schemas.microsoft.com/office/drawing/2014/main" id="{8BC10942-0BC7-91AD-1FC0-1A5C815D1BFF}"/>
                  </a:ext>
                </a:extLst>
              </p:cNvPr>
              <p:cNvSpPr txBox="1"/>
              <p:nvPr/>
            </p:nvSpPr>
            <p:spPr>
              <a:xfrm>
                <a:off x="7655645" y="2145730"/>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09 per 10 tabs </a:t>
                </a:r>
              </a:p>
            </p:txBody>
          </p:sp>
          <p:sp>
            <p:nvSpPr>
              <p:cNvPr id="261" name="TextBox 260">
                <a:extLst>
                  <a:ext uri="{FF2B5EF4-FFF2-40B4-BE49-F238E27FC236}">
                    <a16:creationId xmlns:a16="http://schemas.microsoft.com/office/drawing/2014/main" id="{EFB67994-DD29-1092-65E9-2092A8782967}"/>
                  </a:ext>
                </a:extLst>
              </p:cNvPr>
              <p:cNvSpPr txBox="1"/>
              <p:nvPr/>
            </p:nvSpPr>
            <p:spPr>
              <a:xfrm>
                <a:off x="7655645" y="2472867"/>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22 per Amp</a:t>
                </a:r>
              </a:p>
            </p:txBody>
          </p:sp>
          <p:sp>
            <p:nvSpPr>
              <p:cNvPr id="262" name="TextBox 261">
                <a:extLst>
                  <a:ext uri="{FF2B5EF4-FFF2-40B4-BE49-F238E27FC236}">
                    <a16:creationId xmlns:a16="http://schemas.microsoft.com/office/drawing/2014/main" id="{9B4EDD05-FF3E-8257-4513-F112D064D879}"/>
                  </a:ext>
                </a:extLst>
              </p:cNvPr>
              <p:cNvSpPr txBox="1"/>
              <p:nvPr/>
            </p:nvSpPr>
            <p:spPr>
              <a:xfrm>
                <a:off x="7655645" y="2801002"/>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30 per Amp </a:t>
                </a:r>
              </a:p>
            </p:txBody>
          </p:sp>
          <p:sp>
            <p:nvSpPr>
              <p:cNvPr id="263" name="TextBox 262">
                <a:extLst>
                  <a:ext uri="{FF2B5EF4-FFF2-40B4-BE49-F238E27FC236}">
                    <a16:creationId xmlns:a16="http://schemas.microsoft.com/office/drawing/2014/main" id="{1AF9470C-6E8F-26B1-D178-5AC0F05309D5}"/>
                  </a:ext>
                </a:extLst>
              </p:cNvPr>
              <p:cNvSpPr txBox="1"/>
              <p:nvPr/>
            </p:nvSpPr>
            <p:spPr>
              <a:xfrm>
                <a:off x="7655645" y="3128139"/>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30 per Amp </a:t>
                </a:r>
              </a:p>
            </p:txBody>
          </p:sp>
          <p:sp>
            <p:nvSpPr>
              <p:cNvPr id="264" name="TextBox 263">
                <a:extLst>
                  <a:ext uri="{FF2B5EF4-FFF2-40B4-BE49-F238E27FC236}">
                    <a16:creationId xmlns:a16="http://schemas.microsoft.com/office/drawing/2014/main" id="{17C50C0E-41F0-F62D-A471-CAB3667D38AB}"/>
                  </a:ext>
                </a:extLst>
              </p:cNvPr>
              <p:cNvSpPr txBox="1"/>
              <p:nvPr/>
            </p:nvSpPr>
            <p:spPr>
              <a:xfrm>
                <a:off x="7655645" y="3456274"/>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17 per Amp </a:t>
                </a:r>
              </a:p>
            </p:txBody>
          </p:sp>
          <p:sp>
            <p:nvSpPr>
              <p:cNvPr id="265" name="TextBox 264">
                <a:extLst>
                  <a:ext uri="{FF2B5EF4-FFF2-40B4-BE49-F238E27FC236}">
                    <a16:creationId xmlns:a16="http://schemas.microsoft.com/office/drawing/2014/main" id="{05CA3975-389A-F3FA-060A-974A352340D2}"/>
                  </a:ext>
                </a:extLst>
              </p:cNvPr>
              <p:cNvSpPr txBox="1"/>
              <p:nvPr/>
            </p:nvSpPr>
            <p:spPr>
              <a:xfrm>
                <a:off x="7655645" y="3783411"/>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61 per 10 tabs </a:t>
                </a:r>
              </a:p>
            </p:txBody>
          </p:sp>
          <p:sp>
            <p:nvSpPr>
              <p:cNvPr id="266" name="TextBox 265">
                <a:extLst>
                  <a:ext uri="{FF2B5EF4-FFF2-40B4-BE49-F238E27FC236}">
                    <a16:creationId xmlns:a16="http://schemas.microsoft.com/office/drawing/2014/main" id="{2710EA8A-D995-F2B1-9796-DF446A27F810}"/>
                  </a:ext>
                </a:extLst>
              </p:cNvPr>
              <p:cNvSpPr txBox="1"/>
              <p:nvPr/>
            </p:nvSpPr>
            <p:spPr>
              <a:xfrm>
                <a:off x="7655645" y="4110548"/>
                <a:ext cx="989013" cy="28951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67" name="TextBox 266">
                <a:extLst>
                  <a:ext uri="{FF2B5EF4-FFF2-40B4-BE49-F238E27FC236}">
                    <a16:creationId xmlns:a16="http://schemas.microsoft.com/office/drawing/2014/main" id="{DBE3242A-723C-8AA4-5FC1-A8E4A31F8957}"/>
                  </a:ext>
                </a:extLst>
              </p:cNvPr>
              <p:cNvSpPr txBox="1"/>
              <p:nvPr/>
            </p:nvSpPr>
            <p:spPr>
              <a:xfrm>
                <a:off x="7655645" y="4437685"/>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22 per Amp </a:t>
                </a:r>
              </a:p>
            </p:txBody>
          </p:sp>
          <p:sp>
            <p:nvSpPr>
              <p:cNvPr id="268" name="TextBox 267">
                <a:extLst>
                  <a:ext uri="{FF2B5EF4-FFF2-40B4-BE49-F238E27FC236}">
                    <a16:creationId xmlns:a16="http://schemas.microsoft.com/office/drawing/2014/main" id="{E8550EC2-0AE1-4BA8-EB8B-90C3E30CE9F1}"/>
                  </a:ext>
                </a:extLst>
              </p:cNvPr>
              <p:cNvSpPr txBox="1"/>
              <p:nvPr/>
            </p:nvSpPr>
            <p:spPr>
              <a:xfrm>
                <a:off x="7655645" y="4764822"/>
                <a:ext cx="989013" cy="290513"/>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44 per vial </a:t>
                </a:r>
              </a:p>
            </p:txBody>
          </p:sp>
          <p:sp>
            <p:nvSpPr>
              <p:cNvPr id="269" name="TextBox 268">
                <a:extLst>
                  <a:ext uri="{FF2B5EF4-FFF2-40B4-BE49-F238E27FC236}">
                    <a16:creationId xmlns:a16="http://schemas.microsoft.com/office/drawing/2014/main" id="{69632BEE-CAA5-4383-E404-729FDC0D1839}"/>
                  </a:ext>
                </a:extLst>
              </p:cNvPr>
              <p:cNvSpPr txBox="1"/>
              <p:nvPr/>
            </p:nvSpPr>
            <p:spPr>
              <a:xfrm>
                <a:off x="7655645" y="5092957"/>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11 per Amp </a:t>
                </a:r>
              </a:p>
            </p:txBody>
          </p:sp>
          <p:sp>
            <p:nvSpPr>
              <p:cNvPr id="270" name="TextBox 269">
                <a:extLst>
                  <a:ext uri="{FF2B5EF4-FFF2-40B4-BE49-F238E27FC236}">
                    <a16:creationId xmlns:a16="http://schemas.microsoft.com/office/drawing/2014/main" id="{39CCB382-90E5-BF29-AB02-A2F54A8D2A16}"/>
                  </a:ext>
                </a:extLst>
              </p:cNvPr>
              <p:cNvSpPr txBox="1"/>
              <p:nvPr/>
            </p:nvSpPr>
            <p:spPr>
              <a:xfrm>
                <a:off x="7655645" y="5420094"/>
                <a:ext cx="989013" cy="28951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65 per tube </a:t>
                </a:r>
              </a:p>
            </p:txBody>
          </p:sp>
          <p:sp>
            <p:nvSpPr>
              <p:cNvPr id="18" name="TextBox 17">
                <a:extLst>
                  <a:ext uri="{FF2B5EF4-FFF2-40B4-BE49-F238E27FC236}">
                    <a16:creationId xmlns:a16="http://schemas.microsoft.com/office/drawing/2014/main" id="{1197E923-78D4-301E-3774-D7755C0BBA46}"/>
                  </a:ext>
                </a:extLst>
              </p:cNvPr>
              <p:cNvSpPr txBox="1"/>
              <p:nvPr/>
            </p:nvSpPr>
            <p:spPr>
              <a:xfrm>
                <a:off x="7655645" y="5748229"/>
                <a:ext cx="989013" cy="289515"/>
              </a:xfrm>
              <a:prstGeom prst="rect">
                <a:avLst/>
              </a:prstGeom>
              <a:solidFill>
                <a:srgbClr val="FFFFFF"/>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272" name="TextBox 271">
                <a:extLst>
                  <a:ext uri="{FF2B5EF4-FFF2-40B4-BE49-F238E27FC236}">
                    <a16:creationId xmlns:a16="http://schemas.microsoft.com/office/drawing/2014/main" id="{DD50441E-395E-4DD8-A11B-DFB17DC78B07}"/>
                  </a:ext>
                </a:extLst>
              </p:cNvPr>
              <p:cNvSpPr txBox="1"/>
              <p:nvPr/>
            </p:nvSpPr>
            <p:spPr>
              <a:xfrm>
                <a:off x="8686099" y="1818593"/>
                <a:ext cx="989013" cy="287710"/>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73" name="TextBox 272">
                <a:extLst>
                  <a:ext uri="{FF2B5EF4-FFF2-40B4-BE49-F238E27FC236}">
                    <a16:creationId xmlns:a16="http://schemas.microsoft.com/office/drawing/2014/main" id="{196E5E3C-5C18-6A7D-7182-AEFA1C04704D}"/>
                  </a:ext>
                </a:extLst>
              </p:cNvPr>
              <p:cNvSpPr txBox="1"/>
              <p:nvPr/>
            </p:nvSpPr>
            <p:spPr>
              <a:xfrm>
                <a:off x="8686099" y="2145730"/>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74" name="TextBox 273">
                <a:extLst>
                  <a:ext uri="{FF2B5EF4-FFF2-40B4-BE49-F238E27FC236}">
                    <a16:creationId xmlns:a16="http://schemas.microsoft.com/office/drawing/2014/main" id="{297B6B60-02BE-1F58-050D-77858DAA5A0F}"/>
                  </a:ext>
                </a:extLst>
              </p:cNvPr>
              <p:cNvSpPr txBox="1"/>
              <p:nvPr/>
            </p:nvSpPr>
            <p:spPr>
              <a:xfrm>
                <a:off x="8686099" y="2472867"/>
                <a:ext cx="989013" cy="290513"/>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75" name="TextBox 274">
                <a:extLst>
                  <a:ext uri="{FF2B5EF4-FFF2-40B4-BE49-F238E27FC236}">
                    <a16:creationId xmlns:a16="http://schemas.microsoft.com/office/drawing/2014/main" id="{B1E5C3F5-C425-077C-1029-5F6D079BCF78}"/>
                  </a:ext>
                </a:extLst>
              </p:cNvPr>
              <p:cNvSpPr txBox="1"/>
              <p:nvPr/>
            </p:nvSpPr>
            <p:spPr>
              <a:xfrm>
                <a:off x="8686099" y="2801002"/>
                <a:ext cx="989013" cy="28892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76" name="TextBox 275">
                <a:extLst>
                  <a:ext uri="{FF2B5EF4-FFF2-40B4-BE49-F238E27FC236}">
                    <a16:creationId xmlns:a16="http://schemas.microsoft.com/office/drawing/2014/main" id="{D7C89C96-9FE7-B030-DA2D-6643299D47E5}"/>
                  </a:ext>
                </a:extLst>
              </p:cNvPr>
              <p:cNvSpPr txBox="1"/>
              <p:nvPr/>
            </p:nvSpPr>
            <p:spPr>
              <a:xfrm>
                <a:off x="8686099" y="3128139"/>
                <a:ext cx="989013" cy="290513"/>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77" name="TextBox 276">
                <a:extLst>
                  <a:ext uri="{FF2B5EF4-FFF2-40B4-BE49-F238E27FC236}">
                    <a16:creationId xmlns:a16="http://schemas.microsoft.com/office/drawing/2014/main" id="{4A81F13C-9CFC-11B9-7DAC-D5B922242E68}"/>
                  </a:ext>
                </a:extLst>
              </p:cNvPr>
              <p:cNvSpPr txBox="1"/>
              <p:nvPr/>
            </p:nvSpPr>
            <p:spPr>
              <a:xfrm>
                <a:off x="8686099" y="3456274"/>
                <a:ext cx="989013" cy="28892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78" name="TextBox 277">
                <a:extLst>
                  <a:ext uri="{FF2B5EF4-FFF2-40B4-BE49-F238E27FC236}">
                    <a16:creationId xmlns:a16="http://schemas.microsoft.com/office/drawing/2014/main" id="{B43A8FAA-E4CC-C0DE-D9C4-E3491E9BFB1C}"/>
                  </a:ext>
                </a:extLst>
              </p:cNvPr>
              <p:cNvSpPr txBox="1"/>
              <p:nvPr/>
            </p:nvSpPr>
            <p:spPr>
              <a:xfrm>
                <a:off x="8686099" y="3783411"/>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79" name="TextBox 278">
                <a:extLst>
                  <a:ext uri="{FF2B5EF4-FFF2-40B4-BE49-F238E27FC236}">
                    <a16:creationId xmlns:a16="http://schemas.microsoft.com/office/drawing/2014/main" id="{E06B7F70-4C85-A4EB-6EF1-3D019343E8A3}"/>
                  </a:ext>
                </a:extLst>
              </p:cNvPr>
              <p:cNvSpPr txBox="1"/>
              <p:nvPr/>
            </p:nvSpPr>
            <p:spPr>
              <a:xfrm>
                <a:off x="8686099" y="4110548"/>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80" name="TextBox 279">
                <a:extLst>
                  <a:ext uri="{FF2B5EF4-FFF2-40B4-BE49-F238E27FC236}">
                    <a16:creationId xmlns:a16="http://schemas.microsoft.com/office/drawing/2014/main" id="{71D12E45-6E6E-CE22-47E1-A0EFC7D3EA75}"/>
                  </a:ext>
                </a:extLst>
              </p:cNvPr>
              <p:cNvSpPr txBox="1"/>
              <p:nvPr/>
            </p:nvSpPr>
            <p:spPr>
              <a:xfrm>
                <a:off x="8686099" y="4437685"/>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81" name="TextBox 280">
                <a:extLst>
                  <a:ext uri="{FF2B5EF4-FFF2-40B4-BE49-F238E27FC236}">
                    <a16:creationId xmlns:a16="http://schemas.microsoft.com/office/drawing/2014/main" id="{44DECD75-C86C-8934-1FC1-A909CD6AECE0}"/>
                  </a:ext>
                </a:extLst>
              </p:cNvPr>
              <p:cNvSpPr txBox="1"/>
              <p:nvPr/>
            </p:nvSpPr>
            <p:spPr>
              <a:xfrm>
                <a:off x="8686099" y="4764822"/>
                <a:ext cx="989013" cy="290513"/>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82" name="TextBox 281">
                <a:extLst>
                  <a:ext uri="{FF2B5EF4-FFF2-40B4-BE49-F238E27FC236}">
                    <a16:creationId xmlns:a16="http://schemas.microsoft.com/office/drawing/2014/main" id="{B9E63EFF-F85F-F9F5-249A-1EBCC380599B}"/>
                  </a:ext>
                </a:extLst>
              </p:cNvPr>
              <p:cNvSpPr txBox="1"/>
              <p:nvPr/>
            </p:nvSpPr>
            <p:spPr>
              <a:xfrm>
                <a:off x="8686099" y="5092957"/>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art of ANC service cost </a:t>
                </a:r>
              </a:p>
            </p:txBody>
          </p:sp>
          <p:sp>
            <p:nvSpPr>
              <p:cNvPr id="283" name="TextBox 282">
                <a:extLst>
                  <a:ext uri="{FF2B5EF4-FFF2-40B4-BE49-F238E27FC236}">
                    <a16:creationId xmlns:a16="http://schemas.microsoft.com/office/drawing/2014/main" id="{FB2D97AF-5BED-CCE2-1531-B3FD727B4B82}"/>
                  </a:ext>
                </a:extLst>
              </p:cNvPr>
              <p:cNvSpPr txBox="1"/>
              <p:nvPr/>
            </p:nvSpPr>
            <p:spPr>
              <a:xfrm>
                <a:off x="8686099" y="5420094"/>
                <a:ext cx="989013" cy="290513"/>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0" name="TextBox 19">
                <a:extLst>
                  <a:ext uri="{FF2B5EF4-FFF2-40B4-BE49-F238E27FC236}">
                    <a16:creationId xmlns:a16="http://schemas.microsoft.com/office/drawing/2014/main" id="{3CB1FE87-9E72-7370-1F86-9605D44879A3}"/>
                  </a:ext>
                </a:extLst>
              </p:cNvPr>
              <p:cNvSpPr txBox="1"/>
              <p:nvPr/>
            </p:nvSpPr>
            <p:spPr>
              <a:xfrm>
                <a:off x="8686099" y="5748524"/>
                <a:ext cx="989013" cy="288925"/>
              </a:xfrm>
              <a:prstGeom prst="rect">
                <a:avLst/>
              </a:prstGeom>
              <a:solidFill>
                <a:srgbClr val="FFFFFF"/>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285" name="TextBox 284">
                <a:extLst>
                  <a:ext uri="{FF2B5EF4-FFF2-40B4-BE49-F238E27FC236}">
                    <a16:creationId xmlns:a16="http://schemas.microsoft.com/office/drawing/2014/main" id="{AE5D44E0-E91B-6CE2-0537-25BDCACA122D}"/>
                  </a:ext>
                </a:extLst>
              </p:cNvPr>
              <p:cNvSpPr txBox="1"/>
              <p:nvPr/>
            </p:nvSpPr>
            <p:spPr>
              <a:xfrm>
                <a:off x="9716553" y="1818593"/>
                <a:ext cx="989013" cy="287710"/>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Free</a:t>
                </a:r>
              </a:p>
            </p:txBody>
          </p:sp>
          <p:sp>
            <p:nvSpPr>
              <p:cNvPr id="286" name="TextBox 285">
                <a:extLst>
                  <a:ext uri="{FF2B5EF4-FFF2-40B4-BE49-F238E27FC236}">
                    <a16:creationId xmlns:a16="http://schemas.microsoft.com/office/drawing/2014/main" id="{2C566B20-23AE-6E78-C338-DA90552168B4}"/>
                  </a:ext>
                </a:extLst>
              </p:cNvPr>
              <p:cNvSpPr txBox="1"/>
              <p:nvPr/>
            </p:nvSpPr>
            <p:spPr>
              <a:xfrm>
                <a:off x="9716553" y="2145730"/>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65 per 4 tabs </a:t>
                </a:r>
              </a:p>
            </p:txBody>
          </p:sp>
          <p:sp>
            <p:nvSpPr>
              <p:cNvPr id="287" name="TextBox 286">
                <a:extLst>
                  <a:ext uri="{FF2B5EF4-FFF2-40B4-BE49-F238E27FC236}">
                    <a16:creationId xmlns:a16="http://schemas.microsoft.com/office/drawing/2014/main" id="{08DEA484-B882-5AFA-46FD-A736A15FF370}"/>
                  </a:ext>
                </a:extLst>
              </p:cNvPr>
              <p:cNvSpPr txBox="1"/>
              <p:nvPr/>
            </p:nvSpPr>
            <p:spPr>
              <a:xfrm>
                <a:off x="9716553" y="2472867"/>
                <a:ext cx="989013" cy="290513"/>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85 per Amp </a:t>
                </a:r>
              </a:p>
            </p:txBody>
          </p:sp>
          <p:sp>
            <p:nvSpPr>
              <p:cNvPr id="288" name="TextBox 287">
                <a:extLst>
                  <a:ext uri="{FF2B5EF4-FFF2-40B4-BE49-F238E27FC236}">
                    <a16:creationId xmlns:a16="http://schemas.microsoft.com/office/drawing/2014/main" id="{8082DA80-6AD9-E8CF-5B84-BB3B34E58C82}"/>
                  </a:ext>
                </a:extLst>
              </p:cNvPr>
              <p:cNvSpPr txBox="1"/>
              <p:nvPr/>
            </p:nvSpPr>
            <p:spPr>
              <a:xfrm>
                <a:off x="9716553" y="2801002"/>
                <a:ext cx="989013" cy="28892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89" name="TextBox 288">
                <a:extLst>
                  <a:ext uri="{FF2B5EF4-FFF2-40B4-BE49-F238E27FC236}">
                    <a16:creationId xmlns:a16="http://schemas.microsoft.com/office/drawing/2014/main" id="{CD124F7A-9348-D506-7F62-EE70213C73DA}"/>
                  </a:ext>
                </a:extLst>
              </p:cNvPr>
              <p:cNvSpPr txBox="1"/>
              <p:nvPr/>
            </p:nvSpPr>
            <p:spPr>
              <a:xfrm>
                <a:off x="9716553" y="3128139"/>
                <a:ext cx="989013" cy="290513"/>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90" name="TextBox 289">
                <a:extLst>
                  <a:ext uri="{FF2B5EF4-FFF2-40B4-BE49-F238E27FC236}">
                    <a16:creationId xmlns:a16="http://schemas.microsoft.com/office/drawing/2014/main" id="{B3C7099A-1652-8776-D986-4503FB04DC16}"/>
                  </a:ext>
                </a:extLst>
              </p:cNvPr>
              <p:cNvSpPr txBox="1"/>
              <p:nvPr/>
            </p:nvSpPr>
            <p:spPr>
              <a:xfrm>
                <a:off x="9716553" y="3456274"/>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15  per Amps </a:t>
                </a:r>
              </a:p>
            </p:txBody>
          </p:sp>
          <p:sp>
            <p:nvSpPr>
              <p:cNvPr id="291" name="TextBox 290">
                <a:extLst>
                  <a:ext uri="{FF2B5EF4-FFF2-40B4-BE49-F238E27FC236}">
                    <a16:creationId xmlns:a16="http://schemas.microsoft.com/office/drawing/2014/main" id="{32747C39-7E95-DC13-94E8-B89054561960}"/>
                  </a:ext>
                </a:extLst>
              </p:cNvPr>
              <p:cNvSpPr txBox="1"/>
              <p:nvPr/>
            </p:nvSpPr>
            <p:spPr>
              <a:xfrm>
                <a:off x="9716553" y="3783411"/>
                <a:ext cx="989013" cy="288925"/>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92" name="TextBox 291">
                <a:extLst>
                  <a:ext uri="{FF2B5EF4-FFF2-40B4-BE49-F238E27FC236}">
                    <a16:creationId xmlns:a16="http://schemas.microsoft.com/office/drawing/2014/main" id="{B4165BF5-BC2F-258A-00C7-E714070E279D}"/>
                  </a:ext>
                </a:extLst>
              </p:cNvPr>
              <p:cNvSpPr txBox="1"/>
              <p:nvPr/>
            </p:nvSpPr>
            <p:spPr>
              <a:xfrm>
                <a:off x="9716553" y="4110548"/>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09 per 10 tabs </a:t>
                </a:r>
              </a:p>
            </p:txBody>
          </p:sp>
          <p:sp>
            <p:nvSpPr>
              <p:cNvPr id="293" name="TextBox 292">
                <a:extLst>
                  <a:ext uri="{FF2B5EF4-FFF2-40B4-BE49-F238E27FC236}">
                    <a16:creationId xmlns:a16="http://schemas.microsoft.com/office/drawing/2014/main" id="{CCB9FFE4-C3B5-EDAA-CF11-0512DAEFA1E1}"/>
                  </a:ext>
                </a:extLst>
              </p:cNvPr>
              <p:cNvSpPr txBox="1"/>
              <p:nvPr/>
            </p:nvSpPr>
            <p:spPr>
              <a:xfrm>
                <a:off x="9716553" y="4437685"/>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07 per Amp </a:t>
                </a:r>
              </a:p>
            </p:txBody>
          </p:sp>
          <p:sp>
            <p:nvSpPr>
              <p:cNvPr id="294" name="TextBox 293">
                <a:extLst>
                  <a:ext uri="{FF2B5EF4-FFF2-40B4-BE49-F238E27FC236}">
                    <a16:creationId xmlns:a16="http://schemas.microsoft.com/office/drawing/2014/main" id="{21B7DC6B-1633-67C6-E930-8C069B2FBB8B}"/>
                  </a:ext>
                </a:extLst>
              </p:cNvPr>
              <p:cNvSpPr txBox="1"/>
              <p:nvPr/>
            </p:nvSpPr>
            <p:spPr>
              <a:xfrm>
                <a:off x="9716553" y="4764822"/>
                <a:ext cx="989013" cy="290513"/>
              </a:xfrm>
              <a:prstGeom prst="rect">
                <a:avLst/>
              </a:prstGeom>
              <a:solidFill>
                <a:schemeClr val="bg1"/>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endParaRPr>
              </a:p>
            </p:txBody>
          </p:sp>
          <p:sp>
            <p:nvSpPr>
              <p:cNvPr id="295" name="TextBox 294">
                <a:extLst>
                  <a:ext uri="{FF2B5EF4-FFF2-40B4-BE49-F238E27FC236}">
                    <a16:creationId xmlns:a16="http://schemas.microsoft.com/office/drawing/2014/main" id="{5507AA39-9B2F-FA24-BC17-B8FCA7848B77}"/>
                  </a:ext>
                </a:extLst>
              </p:cNvPr>
              <p:cNvSpPr txBox="1"/>
              <p:nvPr/>
            </p:nvSpPr>
            <p:spPr>
              <a:xfrm>
                <a:off x="9716553" y="5092957"/>
                <a:ext cx="989013" cy="288925"/>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17 per Amp </a:t>
                </a:r>
              </a:p>
            </p:txBody>
          </p:sp>
          <p:sp>
            <p:nvSpPr>
              <p:cNvPr id="296" name="TextBox 295">
                <a:extLst>
                  <a:ext uri="{FF2B5EF4-FFF2-40B4-BE49-F238E27FC236}">
                    <a16:creationId xmlns:a16="http://schemas.microsoft.com/office/drawing/2014/main" id="{B61B0E8F-6CB2-4CE4-8CD5-45728BFD9801}"/>
                  </a:ext>
                </a:extLst>
              </p:cNvPr>
              <p:cNvSpPr txBox="1"/>
              <p:nvPr/>
            </p:nvSpPr>
            <p:spPr>
              <a:xfrm>
                <a:off x="9716553" y="5420094"/>
                <a:ext cx="989013" cy="290513"/>
              </a:xfrm>
              <a:prstGeom prst="rect">
                <a:avLst/>
              </a:prstGeom>
              <a:solidFill>
                <a:srgbClr val="073670"/>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0.65 per tube </a:t>
                </a:r>
              </a:p>
            </p:txBody>
          </p:sp>
          <p:sp>
            <p:nvSpPr>
              <p:cNvPr id="22" name="TextBox 21">
                <a:extLst>
                  <a:ext uri="{FF2B5EF4-FFF2-40B4-BE49-F238E27FC236}">
                    <a16:creationId xmlns:a16="http://schemas.microsoft.com/office/drawing/2014/main" id="{27B1E722-49E4-194A-562B-E0B8CEB95712}"/>
                  </a:ext>
                </a:extLst>
              </p:cNvPr>
              <p:cNvSpPr txBox="1"/>
              <p:nvPr/>
            </p:nvSpPr>
            <p:spPr>
              <a:xfrm>
                <a:off x="9716553" y="5748524"/>
                <a:ext cx="989013" cy="288925"/>
              </a:xfrm>
              <a:prstGeom prst="rect">
                <a:avLst/>
              </a:prstGeom>
              <a:solidFill>
                <a:srgbClr val="FFFFFF"/>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52" name="Oval 51">
                <a:extLst>
                  <a:ext uri="{FF2B5EF4-FFF2-40B4-BE49-F238E27FC236}">
                    <a16:creationId xmlns:a16="http://schemas.microsoft.com/office/drawing/2014/main" id="{69AB4A45-FB16-5614-C152-20667BC5BF73}"/>
                  </a:ext>
                </a:extLst>
              </p:cNvPr>
              <p:cNvSpPr/>
              <p:nvPr/>
            </p:nvSpPr>
            <p:spPr>
              <a:xfrm>
                <a:off x="9639486" y="2404026"/>
                <a:ext cx="1113493" cy="42229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53" name="Oval 52">
                <a:extLst>
                  <a:ext uri="{FF2B5EF4-FFF2-40B4-BE49-F238E27FC236}">
                    <a16:creationId xmlns:a16="http://schemas.microsoft.com/office/drawing/2014/main" id="{9042BC18-FE13-F84C-7C14-4F7D5046AC84}"/>
                  </a:ext>
                </a:extLst>
              </p:cNvPr>
              <p:cNvSpPr/>
              <p:nvPr/>
            </p:nvSpPr>
            <p:spPr>
              <a:xfrm>
                <a:off x="7594954" y="3720209"/>
                <a:ext cx="1113493" cy="42229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54" name="Oval 53">
                <a:extLst>
                  <a:ext uri="{FF2B5EF4-FFF2-40B4-BE49-F238E27FC236}">
                    <a16:creationId xmlns:a16="http://schemas.microsoft.com/office/drawing/2014/main" id="{22920618-B404-8604-2362-9B9C02DAD835}"/>
                  </a:ext>
                </a:extLst>
              </p:cNvPr>
              <p:cNvSpPr/>
              <p:nvPr/>
            </p:nvSpPr>
            <p:spPr>
              <a:xfrm>
                <a:off x="7592975" y="3361965"/>
                <a:ext cx="1113493" cy="42229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grpSp>
      </p:grpSp>
      <p:sp>
        <p:nvSpPr>
          <p:cNvPr id="2" name="Title 1">
            <a:extLst>
              <a:ext uri="{FF2B5EF4-FFF2-40B4-BE49-F238E27FC236}">
                <a16:creationId xmlns:a16="http://schemas.microsoft.com/office/drawing/2014/main" id="{D5D045EB-B1BB-E238-D31F-B8927316C375}"/>
              </a:ext>
            </a:extLst>
          </p:cNvPr>
          <p:cNvSpPr>
            <a:spLocks noGrp="1"/>
          </p:cNvSpPr>
          <p:nvPr>
            <p:ph type="title"/>
          </p:nvPr>
        </p:nvSpPr>
        <p:spPr>
          <a:xfrm>
            <a:off x="437101" y="348315"/>
            <a:ext cx="11270299" cy="420779"/>
          </a:xfrm>
        </p:spPr>
        <p:txBody>
          <a:bodyPr vert="horz">
            <a:normAutofit fontScale="90000"/>
          </a:bodyPr>
          <a:lstStyle/>
          <a:p>
            <a:pPr algn="l"/>
            <a:r>
              <a:rPr lang="en-US" dirty="0"/>
              <a:t>All MNH products aside Heat Stable </a:t>
            </a:r>
            <a:r>
              <a:rPr lang="en-US" dirty="0" err="1"/>
              <a:t>Carbetocin</a:t>
            </a:r>
            <a:r>
              <a:rPr lang="en-US" dirty="0"/>
              <a:t> were found at the Urban CPs, however, only rural PPMVs stocked some MNH products</a:t>
            </a:r>
            <a:endParaRPr lang="en-GB" dirty="0"/>
          </a:p>
        </p:txBody>
      </p:sp>
      <p:grpSp>
        <p:nvGrpSpPr>
          <p:cNvPr id="316" name="Group 315">
            <a:extLst>
              <a:ext uri="{FF2B5EF4-FFF2-40B4-BE49-F238E27FC236}">
                <a16:creationId xmlns:a16="http://schemas.microsoft.com/office/drawing/2014/main" id="{21202723-F70D-A085-5D9F-4D75B95C7E38}"/>
              </a:ext>
            </a:extLst>
          </p:cNvPr>
          <p:cNvGrpSpPr/>
          <p:nvPr/>
        </p:nvGrpSpPr>
        <p:grpSpPr>
          <a:xfrm>
            <a:off x="9387818" y="1152986"/>
            <a:ext cx="2651171" cy="311414"/>
            <a:chOff x="9387818" y="808602"/>
            <a:chExt cx="2651171" cy="311414"/>
          </a:xfrm>
        </p:grpSpPr>
        <p:sp>
          <p:nvSpPr>
            <p:cNvPr id="302" name="TextBox 301">
              <a:extLst>
                <a:ext uri="{FF2B5EF4-FFF2-40B4-BE49-F238E27FC236}">
                  <a16:creationId xmlns:a16="http://schemas.microsoft.com/office/drawing/2014/main" id="{5C176CBA-E2A0-76E2-968A-9ED77641FF06}"/>
                </a:ext>
              </a:extLst>
            </p:cNvPr>
            <p:cNvSpPr txBox="1"/>
            <p:nvPr/>
          </p:nvSpPr>
          <p:spPr>
            <a:xfrm>
              <a:off x="9778450" y="808602"/>
              <a:ext cx="1097280" cy="311414"/>
            </a:xfrm>
            <a:prstGeom prst="rect">
              <a:avLst/>
            </a:prstGeom>
            <a:solidFill>
              <a:schemeClr val="bg1"/>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000000"/>
                  </a:solidFill>
                  <a:effectLst/>
                  <a:uLnTx/>
                  <a:uFillTx/>
                  <a:latin typeface="Gill Sans MT" panose="020B0502020104020203" pitchFamily="34" charset="0"/>
                  <a:ea typeface="+mn-ea"/>
                  <a:cs typeface="+mn-cs"/>
                </a:rPr>
                <a:t>Unavailable </a:t>
              </a:r>
            </a:p>
          </p:txBody>
        </p:sp>
        <p:sp>
          <p:nvSpPr>
            <p:cNvPr id="303" name="TextBox 302">
              <a:extLst>
                <a:ext uri="{FF2B5EF4-FFF2-40B4-BE49-F238E27FC236}">
                  <a16:creationId xmlns:a16="http://schemas.microsoft.com/office/drawing/2014/main" id="{402EEE60-7E66-EDD7-2D2D-22241F699D93}"/>
                </a:ext>
              </a:extLst>
            </p:cNvPr>
            <p:cNvSpPr txBox="1"/>
            <p:nvPr/>
          </p:nvSpPr>
          <p:spPr>
            <a:xfrm>
              <a:off x="10941709" y="808602"/>
              <a:ext cx="1097280" cy="311414"/>
            </a:xfrm>
            <a:prstGeom prst="rect">
              <a:avLst/>
            </a:prstGeom>
            <a:solidFill>
              <a:srgbClr val="073670"/>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Cost of available commodity </a:t>
              </a:r>
            </a:p>
          </p:txBody>
        </p:sp>
        <p:sp>
          <p:nvSpPr>
            <p:cNvPr id="304" name="Rectangle 6">
              <a:extLst>
                <a:ext uri="{FF2B5EF4-FFF2-40B4-BE49-F238E27FC236}">
                  <a16:creationId xmlns:a16="http://schemas.microsoft.com/office/drawing/2014/main" id="{C97569EC-CA69-5A30-A096-3C399DC1E3A5}"/>
                </a:ext>
              </a:extLst>
            </p:cNvPr>
            <p:cNvSpPr txBox="1">
              <a:spLocks/>
            </p:cNvSpPr>
            <p:nvPr/>
          </p:nvSpPr>
          <p:spPr>
            <a:xfrm>
              <a:off x="9387818" y="850563"/>
              <a:ext cx="324653" cy="182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pitchFamily="34" charset="-128"/>
                  <a:cs typeface="Arial" panose="020B0604020202020204" pitchFamily="34" charset="0"/>
                </a:rPr>
                <a:t>Key</a:t>
              </a:r>
              <a:endParaRPr kumimoji="0" lang="en-GB"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pitchFamily="34" charset="-128"/>
                <a:cs typeface="Arial" panose="020B0604020202020204" pitchFamily="34" charset="0"/>
              </a:endParaRPr>
            </a:p>
          </p:txBody>
        </p:sp>
      </p:grpSp>
      <p:sp>
        <p:nvSpPr>
          <p:cNvPr id="315" name="Rectangle 314">
            <a:extLst>
              <a:ext uri="{FF2B5EF4-FFF2-40B4-BE49-F238E27FC236}">
                <a16:creationId xmlns:a16="http://schemas.microsoft.com/office/drawing/2014/main" id="{1AC14B7A-E68C-8C88-07E5-997E030368C8}"/>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a:ea typeface="+mn-ea"/>
                <a:cs typeface="+mn-cs"/>
              </a:rPr>
              <a:t>Product availability and cost</a:t>
            </a:r>
          </a:p>
        </p:txBody>
      </p:sp>
      <p:sp>
        <p:nvSpPr>
          <p:cNvPr id="340" name="McK 5. Source">
            <a:extLst>
              <a:ext uri="{FF2B5EF4-FFF2-40B4-BE49-F238E27FC236}">
                <a16:creationId xmlns:a16="http://schemas.microsoft.com/office/drawing/2014/main" id="{4D9DD5ED-F42A-D9A4-1159-7C813F45A323}"/>
              </a:ext>
            </a:extLst>
          </p:cNvPr>
          <p:cNvSpPr>
            <a:spLocks noChangeArrowheads="1"/>
          </p:cNvSpPr>
          <p:nvPr/>
        </p:nvSpPr>
        <p:spPr bwMode="auto">
          <a:xfrm>
            <a:off x="89765" y="6728144"/>
            <a:ext cx="1150136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Sources : Key Informant Interview Synthesis </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sp>
        <p:nvSpPr>
          <p:cNvPr id="5" name="McK 5. Source">
            <a:extLst>
              <a:ext uri="{FF2B5EF4-FFF2-40B4-BE49-F238E27FC236}">
                <a16:creationId xmlns:a16="http://schemas.microsoft.com/office/drawing/2014/main" id="{5D49D6C7-331F-BA0D-EC3C-2E66062D2A6E}"/>
              </a:ext>
            </a:extLst>
          </p:cNvPr>
          <p:cNvSpPr>
            <a:spLocks noChangeArrowheads="1"/>
          </p:cNvSpPr>
          <p:nvPr/>
        </p:nvSpPr>
        <p:spPr bwMode="auto">
          <a:xfrm>
            <a:off x="89765" y="6603063"/>
            <a:ext cx="189341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Exchange rate: N460 per $1</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spTree>
    <p:extLst>
      <p:ext uri="{BB962C8B-B14F-4D97-AF65-F5344CB8AC3E}">
        <p14:creationId xmlns:p14="http://schemas.microsoft.com/office/powerpoint/2010/main" val="1740493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8" name="think-cell data - do not delete" hidden="1">
            <a:extLst>
              <a:ext uri="{FF2B5EF4-FFF2-40B4-BE49-F238E27FC236}">
                <a16:creationId xmlns:a16="http://schemas.microsoft.com/office/drawing/2014/main" id="{604D933B-6183-2094-B5D6-6DD8273108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428" name="think-cell data - do not delete" hidden="1">
                        <a:extLst>
                          <a:ext uri="{FF2B5EF4-FFF2-40B4-BE49-F238E27FC236}">
                            <a16:creationId xmlns:a16="http://schemas.microsoft.com/office/drawing/2014/main" id="{604D933B-6183-2094-B5D6-6DD82731086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4A622D-1FA0-8417-310D-DAAC28DB6FEF}"/>
              </a:ext>
            </a:extLst>
          </p:cNvPr>
          <p:cNvSpPr>
            <a:spLocks noGrp="1"/>
          </p:cNvSpPr>
          <p:nvPr>
            <p:ph type="title"/>
          </p:nvPr>
        </p:nvSpPr>
        <p:spPr/>
        <p:txBody>
          <a:bodyPr vert="horz">
            <a:normAutofit fontScale="90000"/>
          </a:bodyPr>
          <a:lstStyle/>
          <a:p>
            <a:pPr algn="l"/>
            <a:r>
              <a:rPr lang="en-GB" dirty="0"/>
              <a:t>Majority of the MNH commodity are sourced from the open drug market and pharmaceutical Reps </a:t>
            </a:r>
          </a:p>
        </p:txBody>
      </p:sp>
      <p:grpSp>
        <p:nvGrpSpPr>
          <p:cNvPr id="287" name="Group 286">
            <a:extLst>
              <a:ext uri="{FF2B5EF4-FFF2-40B4-BE49-F238E27FC236}">
                <a16:creationId xmlns:a16="http://schemas.microsoft.com/office/drawing/2014/main" id="{DE76FBFF-E0F5-6469-2363-DED5A0026E69}"/>
              </a:ext>
            </a:extLst>
          </p:cNvPr>
          <p:cNvGrpSpPr/>
          <p:nvPr/>
        </p:nvGrpSpPr>
        <p:grpSpPr>
          <a:xfrm>
            <a:off x="9789724" y="1152987"/>
            <a:ext cx="2268221" cy="207202"/>
            <a:chOff x="10042796" y="652246"/>
            <a:chExt cx="2012147" cy="216000"/>
          </a:xfrm>
        </p:grpSpPr>
        <p:sp>
          <p:nvSpPr>
            <p:cNvPr id="424" name="TextBox 423">
              <a:extLst>
                <a:ext uri="{FF2B5EF4-FFF2-40B4-BE49-F238E27FC236}">
                  <a16:creationId xmlns:a16="http://schemas.microsoft.com/office/drawing/2014/main" id="{6E6C9B4C-80DC-94EA-8F16-8441118C6C99}"/>
                </a:ext>
              </a:extLst>
            </p:cNvPr>
            <p:cNvSpPr txBox="1"/>
            <p:nvPr/>
          </p:nvSpPr>
          <p:spPr>
            <a:xfrm>
              <a:off x="10369085" y="652246"/>
              <a:ext cx="811165" cy="216000"/>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a:ln>
                    <a:noFill/>
                  </a:ln>
                  <a:solidFill>
                    <a:srgbClr val="000000"/>
                  </a:solidFill>
                  <a:effectLst/>
                  <a:uLnTx/>
                  <a:uFillTx/>
                  <a:latin typeface="Gill Sans MT" panose="020B0502020104020203"/>
                  <a:ea typeface="+mn-ea"/>
                  <a:cs typeface="+mn-cs"/>
                </a:rPr>
                <a:t>No</a:t>
              </a:r>
            </a:p>
          </p:txBody>
        </p:sp>
        <p:sp>
          <p:nvSpPr>
            <p:cNvPr id="425" name="TextBox 424">
              <a:extLst>
                <a:ext uri="{FF2B5EF4-FFF2-40B4-BE49-F238E27FC236}">
                  <a16:creationId xmlns:a16="http://schemas.microsoft.com/office/drawing/2014/main" id="{770BBCF7-626C-1286-D075-1D521B8A9C96}"/>
                </a:ext>
              </a:extLst>
            </p:cNvPr>
            <p:cNvSpPr txBox="1"/>
            <p:nvPr/>
          </p:nvSpPr>
          <p:spPr>
            <a:xfrm>
              <a:off x="11243778" y="652246"/>
              <a:ext cx="811165" cy="216000"/>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a:ln>
                    <a:noFill/>
                  </a:ln>
                  <a:solidFill>
                    <a:srgbClr val="FFFFFF"/>
                  </a:solidFill>
                  <a:effectLst/>
                  <a:uLnTx/>
                  <a:uFillTx/>
                  <a:latin typeface="Gill Sans MT" panose="020B0502020104020203"/>
                  <a:ea typeface="+mn-ea"/>
                  <a:cs typeface="+mn-cs"/>
                </a:rPr>
                <a:t>Yes</a:t>
              </a:r>
            </a:p>
          </p:txBody>
        </p:sp>
        <p:sp>
          <p:nvSpPr>
            <p:cNvPr id="426" name="Rectangle 6">
              <a:extLst>
                <a:ext uri="{FF2B5EF4-FFF2-40B4-BE49-F238E27FC236}">
                  <a16:creationId xmlns:a16="http://schemas.microsoft.com/office/drawing/2014/main" id="{F062C4FA-FC33-517F-B9AA-1E81A5619E88}"/>
                </a:ext>
              </a:extLst>
            </p:cNvPr>
            <p:cNvSpPr txBox="1">
              <a:spLocks/>
            </p:cNvSpPr>
            <p:nvPr/>
          </p:nvSpPr>
          <p:spPr>
            <a:xfrm>
              <a:off x="10042796" y="668805"/>
              <a:ext cx="288000" cy="182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rPr>
                <a:t>Key</a:t>
              </a:r>
              <a:endParaRPr kumimoji="0" lang="en-GB"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endParaRPr>
            </a:p>
          </p:txBody>
        </p:sp>
      </p:grpSp>
      <p:cxnSp>
        <p:nvCxnSpPr>
          <p:cNvPr id="288" name="Straight Connector 287">
            <a:extLst>
              <a:ext uri="{FF2B5EF4-FFF2-40B4-BE49-F238E27FC236}">
                <a16:creationId xmlns:a16="http://schemas.microsoft.com/office/drawing/2014/main" id="{96F20041-B311-2BCC-3E51-7875BBC21BAF}"/>
              </a:ext>
            </a:extLst>
          </p:cNvPr>
          <p:cNvCxnSpPr>
            <a:cxnSpLocks/>
          </p:cNvCxnSpPr>
          <p:nvPr/>
        </p:nvCxnSpPr>
        <p:spPr>
          <a:xfrm>
            <a:off x="12000" y="1743187"/>
            <a:ext cx="12168000" cy="0"/>
          </a:xfrm>
          <a:prstGeom prst="line">
            <a:avLst/>
          </a:prstGeom>
          <a:noFill/>
          <a:ln w="9525" cap="flat" cmpd="sng" algn="ctr">
            <a:solidFill>
              <a:srgbClr val="808080"/>
            </a:solidFill>
            <a:prstDash val="solid"/>
          </a:ln>
          <a:effectLst/>
        </p:spPr>
      </p:cxnSp>
      <p:cxnSp>
        <p:nvCxnSpPr>
          <p:cNvPr id="289" name="Straight Connector 288">
            <a:extLst>
              <a:ext uri="{FF2B5EF4-FFF2-40B4-BE49-F238E27FC236}">
                <a16:creationId xmlns:a16="http://schemas.microsoft.com/office/drawing/2014/main" id="{3C859556-159F-1045-320D-4A070DE684C6}"/>
              </a:ext>
            </a:extLst>
          </p:cNvPr>
          <p:cNvCxnSpPr>
            <a:cxnSpLocks/>
          </p:cNvCxnSpPr>
          <p:nvPr/>
        </p:nvCxnSpPr>
        <p:spPr>
          <a:xfrm>
            <a:off x="12000" y="1407983"/>
            <a:ext cx="12168000" cy="0"/>
          </a:xfrm>
          <a:prstGeom prst="line">
            <a:avLst/>
          </a:prstGeom>
          <a:noFill/>
          <a:ln w="9525" cap="flat" cmpd="sng" algn="ctr">
            <a:solidFill>
              <a:srgbClr val="808080"/>
            </a:solidFill>
            <a:prstDash val="solid"/>
          </a:ln>
          <a:effectLst/>
        </p:spPr>
      </p:cxnSp>
      <p:sp>
        <p:nvSpPr>
          <p:cNvPr id="290" name="Rectangle 6">
            <a:extLst>
              <a:ext uri="{FF2B5EF4-FFF2-40B4-BE49-F238E27FC236}">
                <a16:creationId xmlns:a16="http://schemas.microsoft.com/office/drawing/2014/main" id="{F154DE8C-9A9D-DE85-5538-3E3D6DBE53B8}"/>
              </a:ext>
            </a:extLst>
          </p:cNvPr>
          <p:cNvSpPr txBox="1">
            <a:spLocks/>
          </p:cNvSpPr>
          <p:nvPr/>
        </p:nvSpPr>
        <p:spPr>
          <a:xfrm>
            <a:off x="3815309" y="1246387"/>
            <a:ext cx="5861921" cy="1644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a:ea typeface="Arial Unicode MS"/>
                <a:cs typeface="Arial"/>
              </a:rPr>
              <a:t>Sources of Commodity </a:t>
            </a:r>
            <a:endParaRPr kumimoji="0" lang="en-GB" sz="1100" b="1" i="0" u="none" strike="noStrike" kern="0" cap="none" spc="0" normalizeH="0" baseline="0" noProof="0" dirty="0">
              <a:ln>
                <a:noFill/>
              </a:ln>
              <a:solidFill>
                <a:srgbClr val="000000"/>
              </a:solidFill>
              <a:effectLst/>
              <a:uLnTx/>
              <a:uFillTx/>
              <a:latin typeface="Gill Sans MT" panose="020B0502020104020203"/>
              <a:ea typeface="Arial Unicode MS"/>
              <a:cs typeface="Arial"/>
            </a:endParaRPr>
          </a:p>
        </p:txBody>
      </p:sp>
      <p:cxnSp>
        <p:nvCxnSpPr>
          <p:cNvPr id="291" name="Straight Connector 290">
            <a:extLst>
              <a:ext uri="{FF2B5EF4-FFF2-40B4-BE49-F238E27FC236}">
                <a16:creationId xmlns:a16="http://schemas.microsoft.com/office/drawing/2014/main" id="{567D5522-C2E5-F6F3-96A5-61C79BBD8200}"/>
              </a:ext>
            </a:extLst>
          </p:cNvPr>
          <p:cNvCxnSpPr>
            <a:cxnSpLocks/>
          </p:cNvCxnSpPr>
          <p:nvPr/>
        </p:nvCxnSpPr>
        <p:spPr>
          <a:xfrm flipH="1">
            <a:off x="3757959" y="1221701"/>
            <a:ext cx="1879" cy="5029200"/>
          </a:xfrm>
          <a:prstGeom prst="line">
            <a:avLst/>
          </a:prstGeom>
          <a:noFill/>
          <a:ln w="9525" cap="flat" cmpd="sng" algn="ctr">
            <a:solidFill>
              <a:srgbClr val="FFFFFF">
                <a:lumMod val="65000"/>
              </a:srgbClr>
            </a:solidFill>
            <a:prstDash val="solid"/>
          </a:ln>
          <a:effectLst/>
        </p:spPr>
      </p:cxnSp>
      <p:sp>
        <p:nvSpPr>
          <p:cNvPr id="292" name="Rectangle 291">
            <a:extLst>
              <a:ext uri="{FF2B5EF4-FFF2-40B4-BE49-F238E27FC236}">
                <a16:creationId xmlns:a16="http://schemas.microsoft.com/office/drawing/2014/main" id="{8277B58C-F708-812C-4E5F-9BC21800FF8E}"/>
              </a:ext>
            </a:extLst>
          </p:cNvPr>
          <p:cNvSpPr/>
          <p:nvPr/>
        </p:nvSpPr>
        <p:spPr>
          <a:xfrm>
            <a:off x="39405" y="5663806"/>
            <a:ext cx="1301998" cy="558804"/>
          </a:xfrm>
          <a:prstGeom prst="rect">
            <a:avLst/>
          </a:prstGeom>
          <a:solidFill>
            <a:srgbClr val="4AA19E"/>
          </a:solidFill>
          <a:ln w="9525" cap="flat" cmpd="sng" algn="ctr">
            <a:noFill/>
            <a:prstDash val="solid"/>
          </a:ln>
          <a:effectLst/>
        </p:spPr>
        <p:txBody>
          <a:bodyPr lIns="4572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SHF</a:t>
            </a:r>
          </a:p>
        </p:txBody>
      </p:sp>
      <p:sp>
        <p:nvSpPr>
          <p:cNvPr id="293" name="Rectangle 292">
            <a:extLst>
              <a:ext uri="{FF2B5EF4-FFF2-40B4-BE49-F238E27FC236}">
                <a16:creationId xmlns:a16="http://schemas.microsoft.com/office/drawing/2014/main" id="{B41074A9-23BD-E6C7-4CED-DB5C62180FF3}"/>
              </a:ext>
            </a:extLst>
          </p:cNvPr>
          <p:cNvSpPr/>
          <p:nvPr/>
        </p:nvSpPr>
        <p:spPr>
          <a:xfrm>
            <a:off x="39406" y="4558623"/>
            <a:ext cx="1302649" cy="1089573"/>
          </a:xfrm>
          <a:prstGeom prst="rect">
            <a:avLst/>
          </a:prstGeom>
          <a:solidFill>
            <a:srgbClr val="4AA19E"/>
          </a:solidFill>
          <a:ln w="9525" cap="flat" cmpd="sng" algn="ctr">
            <a:noFill/>
            <a:prstDash val="solid"/>
          </a:ln>
          <a:effectLst/>
        </p:spPr>
        <p:txBody>
          <a:bodyPr lIns="4572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Heal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Facilities (PHC) </a:t>
            </a:r>
          </a:p>
        </p:txBody>
      </p:sp>
      <p:sp>
        <p:nvSpPr>
          <p:cNvPr id="294" name="Rectangle 293">
            <a:extLst>
              <a:ext uri="{FF2B5EF4-FFF2-40B4-BE49-F238E27FC236}">
                <a16:creationId xmlns:a16="http://schemas.microsoft.com/office/drawing/2014/main" id="{92DB67A2-FE50-9A1B-BA89-F14060F75017}"/>
              </a:ext>
            </a:extLst>
          </p:cNvPr>
          <p:cNvSpPr/>
          <p:nvPr/>
        </p:nvSpPr>
        <p:spPr>
          <a:xfrm>
            <a:off x="39406" y="3178060"/>
            <a:ext cx="1302649" cy="1333604"/>
          </a:xfrm>
          <a:prstGeom prst="rect">
            <a:avLst/>
          </a:prstGeom>
          <a:solidFill>
            <a:srgbClr val="4AA19E"/>
          </a:solidFill>
          <a:ln w="9525" cap="flat" cmpd="sng" algn="ctr">
            <a:noFill/>
            <a:prstDash val="solid"/>
          </a:ln>
          <a:effectLst/>
        </p:spPr>
        <p:txBody>
          <a:bodyPr lIns="4572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PPMVs </a:t>
            </a:r>
          </a:p>
        </p:txBody>
      </p:sp>
      <p:sp>
        <p:nvSpPr>
          <p:cNvPr id="295" name="Rectangle 294">
            <a:extLst>
              <a:ext uri="{FF2B5EF4-FFF2-40B4-BE49-F238E27FC236}">
                <a16:creationId xmlns:a16="http://schemas.microsoft.com/office/drawing/2014/main" id="{022F067B-DEE1-37E0-6509-D13A5DEF5B18}"/>
              </a:ext>
            </a:extLst>
          </p:cNvPr>
          <p:cNvSpPr/>
          <p:nvPr/>
        </p:nvSpPr>
        <p:spPr>
          <a:xfrm>
            <a:off x="39406" y="1766708"/>
            <a:ext cx="1302649" cy="1377134"/>
          </a:xfrm>
          <a:prstGeom prst="rect">
            <a:avLst/>
          </a:prstGeom>
          <a:solidFill>
            <a:srgbClr val="4AA19E"/>
          </a:solidFill>
          <a:ln w="9525" cap="flat" cmpd="sng" algn="ctr">
            <a:noFill/>
            <a:prstDash val="solid"/>
          </a:ln>
          <a:effectLst/>
        </p:spPr>
        <p:txBody>
          <a:bodyPr lIns="4572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rPr>
              <a:t>Community Pharmacy </a:t>
            </a:r>
          </a:p>
        </p:txBody>
      </p:sp>
      <p:sp>
        <p:nvSpPr>
          <p:cNvPr id="296" name="Rectangle 6">
            <a:extLst>
              <a:ext uri="{FF2B5EF4-FFF2-40B4-BE49-F238E27FC236}">
                <a16:creationId xmlns:a16="http://schemas.microsoft.com/office/drawing/2014/main" id="{687DD621-C9ED-22F5-53A5-F34CE29DAD0D}"/>
              </a:ext>
            </a:extLst>
          </p:cNvPr>
          <p:cNvSpPr txBox="1">
            <a:spLocks/>
          </p:cNvSpPr>
          <p:nvPr/>
        </p:nvSpPr>
        <p:spPr>
          <a:xfrm>
            <a:off x="1185421" y="1507721"/>
            <a:ext cx="1787944" cy="183909"/>
          </a:xfrm>
          <a:prstGeom prst="rect">
            <a:avLst/>
          </a:prstGeom>
          <a:noFill/>
          <a:ln w="9525">
            <a:noFill/>
            <a:miter lim="800000"/>
            <a:headEnd/>
            <a:tailEnd/>
          </a:ln>
          <a:effectLst>
            <a:outerShdw dist="35921" dir="2700000" algn="ctr" rotWithShape="0">
              <a:srgbClr val="FFFFFF"/>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rPr>
              <a:t>Service delivery point </a:t>
            </a:r>
            <a:endParaRPr kumimoji="0" lang="en-GB"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endParaRPr>
          </a:p>
        </p:txBody>
      </p:sp>
      <p:sp>
        <p:nvSpPr>
          <p:cNvPr id="297" name="Rectangle 296">
            <a:extLst>
              <a:ext uri="{FF2B5EF4-FFF2-40B4-BE49-F238E27FC236}">
                <a16:creationId xmlns:a16="http://schemas.microsoft.com/office/drawing/2014/main" id="{266755CC-34C7-31F6-0ABB-E678C88F7E3F}"/>
              </a:ext>
            </a:extLst>
          </p:cNvPr>
          <p:cNvSpPr>
            <a:spLocks noChangeArrowheads="1"/>
          </p:cNvSpPr>
          <p:nvPr>
            <p:custDataLst>
              <p:tags r:id="rId2"/>
            </p:custDataLst>
          </p:nvPr>
        </p:nvSpPr>
        <p:spPr bwMode="gray">
          <a:xfrm>
            <a:off x="1185421" y="1770973"/>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Clanol – Urban  </a:t>
            </a:r>
          </a:p>
        </p:txBody>
      </p:sp>
      <p:sp>
        <p:nvSpPr>
          <p:cNvPr id="298" name="Rectangle 297">
            <a:extLst>
              <a:ext uri="{FF2B5EF4-FFF2-40B4-BE49-F238E27FC236}">
                <a16:creationId xmlns:a16="http://schemas.microsoft.com/office/drawing/2014/main" id="{169751F5-CB22-4B2A-532A-C8291F37314C}"/>
              </a:ext>
            </a:extLst>
          </p:cNvPr>
          <p:cNvSpPr>
            <a:spLocks noChangeArrowheads="1"/>
          </p:cNvSpPr>
          <p:nvPr>
            <p:custDataLst>
              <p:tags r:id="rId3"/>
            </p:custDataLst>
          </p:nvPr>
        </p:nvSpPr>
        <p:spPr bwMode="gray">
          <a:xfrm>
            <a:off x="1185421" y="2049273"/>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Octovia – Urban  </a:t>
            </a:r>
          </a:p>
        </p:txBody>
      </p:sp>
      <p:sp>
        <p:nvSpPr>
          <p:cNvPr id="299" name="Rectangle 298">
            <a:extLst>
              <a:ext uri="{FF2B5EF4-FFF2-40B4-BE49-F238E27FC236}">
                <a16:creationId xmlns:a16="http://schemas.microsoft.com/office/drawing/2014/main" id="{E574137B-647E-A826-D269-46919035449E}"/>
              </a:ext>
            </a:extLst>
          </p:cNvPr>
          <p:cNvSpPr>
            <a:spLocks noChangeArrowheads="1"/>
          </p:cNvSpPr>
          <p:nvPr>
            <p:custDataLst>
              <p:tags r:id="rId4"/>
            </p:custDataLst>
          </p:nvPr>
        </p:nvSpPr>
        <p:spPr bwMode="gray">
          <a:xfrm>
            <a:off x="1185421" y="2327574"/>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Nobel – Urban  </a:t>
            </a:r>
          </a:p>
        </p:txBody>
      </p:sp>
      <p:sp>
        <p:nvSpPr>
          <p:cNvPr id="300" name="Rectangle 299">
            <a:extLst>
              <a:ext uri="{FF2B5EF4-FFF2-40B4-BE49-F238E27FC236}">
                <a16:creationId xmlns:a16="http://schemas.microsoft.com/office/drawing/2014/main" id="{72AAF68B-EA2E-6422-A26A-4519D5274984}"/>
              </a:ext>
            </a:extLst>
          </p:cNvPr>
          <p:cNvSpPr>
            <a:spLocks noChangeArrowheads="1"/>
          </p:cNvSpPr>
          <p:nvPr>
            <p:custDataLst>
              <p:tags r:id="rId5"/>
            </p:custDataLst>
          </p:nvPr>
        </p:nvSpPr>
        <p:spPr bwMode="gray">
          <a:xfrm>
            <a:off x="1185421" y="2605873"/>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Venerable Bede – Urban  </a:t>
            </a:r>
          </a:p>
        </p:txBody>
      </p:sp>
      <p:sp>
        <p:nvSpPr>
          <p:cNvPr id="301" name="Rectangle 300">
            <a:extLst>
              <a:ext uri="{FF2B5EF4-FFF2-40B4-BE49-F238E27FC236}">
                <a16:creationId xmlns:a16="http://schemas.microsoft.com/office/drawing/2014/main" id="{5180D709-D09D-D399-7C9A-7F46CD5E174A}"/>
              </a:ext>
            </a:extLst>
          </p:cNvPr>
          <p:cNvSpPr>
            <a:spLocks noChangeArrowheads="1"/>
          </p:cNvSpPr>
          <p:nvPr>
            <p:custDataLst>
              <p:tags r:id="rId6"/>
            </p:custDataLst>
          </p:nvPr>
        </p:nvSpPr>
        <p:spPr bwMode="gray">
          <a:xfrm>
            <a:off x="1185421" y="2884173"/>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Olympia – Rural </a:t>
            </a:r>
          </a:p>
        </p:txBody>
      </p:sp>
      <p:sp>
        <p:nvSpPr>
          <p:cNvPr id="302" name="Rectangle 301">
            <a:extLst>
              <a:ext uri="{FF2B5EF4-FFF2-40B4-BE49-F238E27FC236}">
                <a16:creationId xmlns:a16="http://schemas.microsoft.com/office/drawing/2014/main" id="{E9F2E880-4670-89ED-18A6-350CC56D6AE9}"/>
              </a:ext>
            </a:extLst>
          </p:cNvPr>
          <p:cNvSpPr>
            <a:spLocks noChangeArrowheads="1"/>
          </p:cNvSpPr>
          <p:nvPr>
            <p:custDataLst>
              <p:tags r:id="rId7"/>
            </p:custDataLst>
          </p:nvPr>
        </p:nvSpPr>
        <p:spPr bwMode="gray">
          <a:xfrm>
            <a:off x="1185421" y="3162474"/>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a:rPr>
              <a:t>Johnny – Urban  </a:t>
            </a:r>
          </a:p>
        </p:txBody>
      </p:sp>
      <p:sp>
        <p:nvSpPr>
          <p:cNvPr id="303" name="Rectangle 302">
            <a:extLst>
              <a:ext uri="{FF2B5EF4-FFF2-40B4-BE49-F238E27FC236}">
                <a16:creationId xmlns:a16="http://schemas.microsoft.com/office/drawing/2014/main" id="{D7FB49E3-D244-1836-8EFA-59B91184A2AA}"/>
              </a:ext>
            </a:extLst>
          </p:cNvPr>
          <p:cNvSpPr>
            <a:spLocks noChangeArrowheads="1"/>
          </p:cNvSpPr>
          <p:nvPr>
            <p:custDataLst>
              <p:tags r:id="rId8"/>
            </p:custDataLst>
          </p:nvPr>
        </p:nvSpPr>
        <p:spPr bwMode="gray">
          <a:xfrm>
            <a:off x="1185421" y="3440775"/>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a:rPr>
              <a:t>Over to God – Urban  </a:t>
            </a:r>
          </a:p>
        </p:txBody>
      </p:sp>
      <p:sp>
        <p:nvSpPr>
          <p:cNvPr id="304" name="Rectangle 303">
            <a:extLst>
              <a:ext uri="{FF2B5EF4-FFF2-40B4-BE49-F238E27FC236}">
                <a16:creationId xmlns:a16="http://schemas.microsoft.com/office/drawing/2014/main" id="{32A856D0-16B0-BEF7-391A-EE8566D88CD1}"/>
              </a:ext>
            </a:extLst>
          </p:cNvPr>
          <p:cNvSpPr>
            <a:spLocks noChangeArrowheads="1"/>
          </p:cNvSpPr>
          <p:nvPr>
            <p:custDataLst>
              <p:tags r:id="rId9"/>
            </p:custDataLst>
          </p:nvPr>
        </p:nvSpPr>
        <p:spPr bwMode="gray">
          <a:xfrm>
            <a:off x="1185421" y="3719075"/>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Salus Infermorum – Urban  </a:t>
            </a:r>
          </a:p>
        </p:txBody>
      </p:sp>
      <p:sp>
        <p:nvSpPr>
          <p:cNvPr id="305" name="Rectangle 304">
            <a:extLst>
              <a:ext uri="{FF2B5EF4-FFF2-40B4-BE49-F238E27FC236}">
                <a16:creationId xmlns:a16="http://schemas.microsoft.com/office/drawing/2014/main" id="{DD4230BE-98BF-2BBA-B03A-2B40C8672BE8}"/>
              </a:ext>
            </a:extLst>
          </p:cNvPr>
          <p:cNvSpPr>
            <a:spLocks noChangeArrowheads="1"/>
          </p:cNvSpPr>
          <p:nvPr>
            <p:custDataLst>
              <p:tags r:id="rId10"/>
            </p:custDataLst>
          </p:nvPr>
        </p:nvSpPr>
        <p:spPr bwMode="gray">
          <a:xfrm>
            <a:off x="1185421" y="3997375"/>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Thije Medical – Rural  </a:t>
            </a:r>
          </a:p>
        </p:txBody>
      </p:sp>
      <p:sp>
        <p:nvSpPr>
          <p:cNvPr id="306" name="Rectangle 305">
            <a:extLst>
              <a:ext uri="{FF2B5EF4-FFF2-40B4-BE49-F238E27FC236}">
                <a16:creationId xmlns:a16="http://schemas.microsoft.com/office/drawing/2014/main" id="{5F748731-333C-42A9-9A6E-CAC7002650B0}"/>
              </a:ext>
            </a:extLst>
          </p:cNvPr>
          <p:cNvSpPr>
            <a:spLocks noChangeArrowheads="1"/>
          </p:cNvSpPr>
          <p:nvPr>
            <p:custDataLst>
              <p:tags r:id="rId11"/>
            </p:custDataLst>
          </p:nvPr>
        </p:nvSpPr>
        <p:spPr bwMode="gray">
          <a:xfrm>
            <a:off x="1185421" y="4275676"/>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Man of peace – Rural  </a:t>
            </a:r>
          </a:p>
        </p:txBody>
      </p:sp>
      <p:sp>
        <p:nvSpPr>
          <p:cNvPr id="311" name="Rectangle 310">
            <a:extLst>
              <a:ext uri="{FF2B5EF4-FFF2-40B4-BE49-F238E27FC236}">
                <a16:creationId xmlns:a16="http://schemas.microsoft.com/office/drawing/2014/main" id="{BFEBDC01-4E45-010D-557A-7AA73687A5AB}"/>
              </a:ext>
            </a:extLst>
          </p:cNvPr>
          <p:cNvSpPr>
            <a:spLocks noChangeArrowheads="1"/>
          </p:cNvSpPr>
          <p:nvPr>
            <p:custDataLst>
              <p:tags r:id="rId12"/>
            </p:custDataLst>
          </p:nvPr>
        </p:nvSpPr>
        <p:spPr bwMode="gray">
          <a:xfrm>
            <a:off x="1185421" y="5667178"/>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St. Theresa Hospital – Urban  </a:t>
            </a:r>
          </a:p>
        </p:txBody>
      </p:sp>
      <p:sp>
        <p:nvSpPr>
          <p:cNvPr id="312" name="TextBox 311">
            <a:extLst>
              <a:ext uri="{FF2B5EF4-FFF2-40B4-BE49-F238E27FC236}">
                <a16:creationId xmlns:a16="http://schemas.microsoft.com/office/drawing/2014/main" id="{1EB9CEC5-24D5-8ECC-95E9-05990A7E0E7E}"/>
              </a:ext>
            </a:extLst>
          </p:cNvPr>
          <p:cNvSpPr txBox="1"/>
          <p:nvPr/>
        </p:nvSpPr>
        <p:spPr>
          <a:xfrm>
            <a:off x="3815309" y="1443055"/>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Open drug market </a:t>
            </a:r>
          </a:p>
        </p:txBody>
      </p:sp>
      <p:sp>
        <p:nvSpPr>
          <p:cNvPr id="313" name="TextBox 312">
            <a:extLst>
              <a:ext uri="{FF2B5EF4-FFF2-40B4-BE49-F238E27FC236}">
                <a16:creationId xmlns:a16="http://schemas.microsoft.com/office/drawing/2014/main" id="{02466159-C61C-C0A8-E91F-5A1A53C25FD3}"/>
              </a:ext>
            </a:extLst>
          </p:cNvPr>
          <p:cNvSpPr txBox="1"/>
          <p:nvPr/>
        </p:nvSpPr>
        <p:spPr>
          <a:xfrm>
            <a:off x="3815309" y="17709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4" name="TextBox 313">
            <a:extLst>
              <a:ext uri="{FF2B5EF4-FFF2-40B4-BE49-F238E27FC236}">
                <a16:creationId xmlns:a16="http://schemas.microsoft.com/office/drawing/2014/main" id="{1D233DE0-7E20-74FA-FE7E-0CB819261E4D}"/>
              </a:ext>
            </a:extLst>
          </p:cNvPr>
          <p:cNvSpPr txBox="1"/>
          <p:nvPr/>
        </p:nvSpPr>
        <p:spPr>
          <a:xfrm>
            <a:off x="3815309" y="20492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5" name="TextBox 314">
            <a:extLst>
              <a:ext uri="{FF2B5EF4-FFF2-40B4-BE49-F238E27FC236}">
                <a16:creationId xmlns:a16="http://schemas.microsoft.com/office/drawing/2014/main" id="{352616ED-A2CF-17E7-CFD8-EEB0D83FCF44}"/>
              </a:ext>
            </a:extLst>
          </p:cNvPr>
          <p:cNvSpPr txBox="1"/>
          <p:nvPr/>
        </p:nvSpPr>
        <p:spPr>
          <a:xfrm>
            <a:off x="3815309" y="23275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6" name="TextBox 315">
            <a:extLst>
              <a:ext uri="{FF2B5EF4-FFF2-40B4-BE49-F238E27FC236}">
                <a16:creationId xmlns:a16="http://schemas.microsoft.com/office/drawing/2014/main" id="{040F7869-14E2-5E32-5862-7187063E698D}"/>
              </a:ext>
            </a:extLst>
          </p:cNvPr>
          <p:cNvSpPr txBox="1"/>
          <p:nvPr/>
        </p:nvSpPr>
        <p:spPr>
          <a:xfrm>
            <a:off x="3815309" y="26058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7" name="TextBox 316">
            <a:extLst>
              <a:ext uri="{FF2B5EF4-FFF2-40B4-BE49-F238E27FC236}">
                <a16:creationId xmlns:a16="http://schemas.microsoft.com/office/drawing/2014/main" id="{84E07E25-B216-0035-AB0D-6DECD3B3E794}"/>
              </a:ext>
            </a:extLst>
          </p:cNvPr>
          <p:cNvSpPr txBox="1"/>
          <p:nvPr/>
        </p:nvSpPr>
        <p:spPr>
          <a:xfrm>
            <a:off x="3815309" y="28841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8" name="TextBox 317">
            <a:extLst>
              <a:ext uri="{FF2B5EF4-FFF2-40B4-BE49-F238E27FC236}">
                <a16:creationId xmlns:a16="http://schemas.microsoft.com/office/drawing/2014/main" id="{3224092F-1191-952A-E2B3-7E74FEFB9515}"/>
              </a:ext>
            </a:extLst>
          </p:cNvPr>
          <p:cNvSpPr txBox="1"/>
          <p:nvPr/>
        </p:nvSpPr>
        <p:spPr>
          <a:xfrm>
            <a:off x="3815309" y="31624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9" name="TextBox 318">
            <a:extLst>
              <a:ext uri="{FF2B5EF4-FFF2-40B4-BE49-F238E27FC236}">
                <a16:creationId xmlns:a16="http://schemas.microsoft.com/office/drawing/2014/main" id="{A4C3F3BA-C802-C29B-A216-7B4EAAB1450B}"/>
              </a:ext>
            </a:extLst>
          </p:cNvPr>
          <p:cNvSpPr txBox="1"/>
          <p:nvPr/>
        </p:nvSpPr>
        <p:spPr>
          <a:xfrm>
            <a:off x="3815309" y="34407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0" name="TextBox 319">
            <a:extLst>
              <a:ext uri="{FF2B5EF4-FFF2-40B4-BE49-F238E27FC236}">
                <a16:creationId xmlns:a16="http://schemas.microsoft.com/office/drawing/2014/main" id="{871090DC-1C32-1ECF-7023-770BCDD1335C}"/>
              </a:ext>
            </a:extLst>
          </p:cNvPr>
          <p:cNvSpPr txBox="1"/>
          <p:nvPr/>
        </p:nvSpPr>
        <p:spPr>
          <a:xfrm>
            <a:off x="3815309" y="37190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1" name="TextBox 320">
            <a:extLst>
              <a:ext uri="{FF2B5EF4-FFF2-40B4-BE49-F238E27FC236}">
                <a16:creationId xmlns:a16="http://schemas.microsoft.com/office/drawing/2014/main" id="{6B59CCB9-3AE8-4CD8-D122-A3E305A43D1F}"/>
              </a:ext>
            </a:extLst>
          </p:cNvPr>
          <p:cNvSpPr txBox="1"/>
          <p:nvPr/>
        </p:nvSpPr>
        <p:spPr>
          <a:xfrm>
            <a:off x="3815309" y="39973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2" name="TextBox 321">
            <a:extLst>
              <a:ext uri="{FF2B5EF4-FFF2-40B4-BE49-F238E27FC236}">
                <a16:creationId xmlns:a16="http://schemas.microsoft.com/office/drawing/2014/main" id="{0585307A-F665-8627-1789-61C8783F5BD6}"/>
              </a:ext>
            </a:extLst>
          </p:cNvPr>
          <p:cNvSpPr txBox="1"/>
          <p:nvPr/>
        </p:nvSpPr>
        <p:spPr>
          <a:xfrm>
            <a:off x="3815309" y="42756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7" name="TextBox 326">
            <a:extLst>
              <a:ext uri="{FF2B5EF4-FFF2-40B4-BE49-F238E27FC236}">
                <a16:creationId xmlns:a16="http://schemas.microsoft.com/office/drawing/2014/main" id="{8CA130E8-F42F-A751-20C3-EB61114A4A08}"/>
              </a:ext>
            </a:extLst>
          </p:cNvPr>
          <p:cNvSpPr txBox="1"/>
          <p:nvPr/>
        </p:nvSpPr>
        <p:spPr>
          <a:xfrm>
            <a:off x="3815309" y="566717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28" name="TextBox 327">
            <a:extLst>
              <a:ext uri="{FF2B5EF4-FFF2-40B4-BE49-F238E27FC236}">
                <a16:creationId xmlns:a16="http://schemas.microsoft.com/office/drawing/2014/main" id="{46D35958-F5E9-012A-985F-E6FFE8F6BC33}"/>
              </a:ext>
            </a:extLst>
          </p:cNvPr>
          <p:cNvSpPr txBox="1"/>
          <p:nvPr/>
        </p:nvSpPr>
        <p:spPr>
          <a:xfrm>
            <a:off x="5213501" y="1443801"/>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Pharmaceutic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Reps </a:t>
            </a:r>
          </a:p>
        </p:txBody>
      </p:sp>
      <p:sp>
        <p:nvSpPr>
          <p:cNvPr id="329" name="TextBox 328">
            <a:extLst>
              <a:ext uri="{FF2B5EF4-FFF2-40B4-BE49-F238E27FC236}">
                <a16:creationId xmlns:a16="http://schemas.microsoft.com/office/drawing/2014/main" id="{7C728805-9D78-834C-FDFC-658578EC9A73}"/>
              </a:ext>
            </a:extLst>
          </p:cNvPr>
          <p:cNvSpPr txBox="1"/>
          <p:nvPr/>
        </p:nvSpPr>
        <p:spPr>
          <a:xfrm>
            <a:off x="5213501" y="17709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0" name="TextBox 329">
            <a:extLst>
              <a:ext uri="{FF2B5EF4-FFF2-40B4-BE49-F238E27FC236}">
                <a16:creationId xmlns:a16="http://schemas.microsoft.com/office/drawing/2014/main" id="{24CA66E1-EA0D-D0BB-EE80-8EFD98CD4570}"/>
              </a:ext>
            </a:extLst>
          </p:cNvPr>
          <p:cNvSpPr txBox="1"/>
          <p:nvPr/>
        </p:nvSpPr>
        <p:spPr>
          <a:xfrm>
            <a:off x="5213501" y="20492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1" name="TextBox 330">
            <a:extLst>
              <a:ext uri="{FF2B5EF4-FFF2-40B4-BE49-F238E27FC236}">
                <a16:creationId xmlns:a16="http://schemas.microsoft.com/office/drawing/2014/main" id="{991E18E3-E4DC-1863-8451-04DF72E1E852}"/>
              </a:ext>
            </a:extLst>
          </p:cNvPr>
          <p:cNvSpPr txBox="1"/>
          <p:nvPr/>
        </p:nvSpPr>
        <p:spPr>
          <a:xfrm>
            <a:off x="5213501" y="23275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2" name="TextBox 331">
            <a:extLst>
              <a:ext uri="{FF2B5EF4-FFF2-40B4-BE49-F238E27FC236}">
                <a16:creationId xmlns:a16="http://schemas.microsoft.com/office/drawing/2014/main" id="{16B5686C-5B84-B57B-4A6B-253B98318DF8}"/>
              </a:ext>
            </a:extLst>
          </p:cNvPr>
          <p:cNvSpPr txBox="1"/>
          <p:nvPr/>
        </p:nvSpPr>
        <p:spPr>
          <a:xfrm>
            <a:off x="5213501" y="26058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3" name="TextBox 332">
            <a:extLst>
              <a:ext uri="{FF2B5EF4-FFF2-40B4-BE49-F238E27FC236}">
                <a16:creationId xmlns:a16="http://schemas.microsoft.com/office/drawing/2014/main" id="{3FD6F3BF-FD5B-D231-E7F1-69236577BB87}"/>
              </a:ext>
            </a:extLst>
          </p:cNvPr>
          <p:cNvSpPr txBox="1"/>
          <p:nvPr/>
        </p:nvSpPr>
        <p:spPr>
          <a:xfrm>
            <a:off x="5213501" y="28841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4" name="TextBox 333">
            <a:extLst>
              <a:ext uri="{FF2B5EF4-FFF2-40B4-BE49-F238E27FC236}">
                <a16:creationId xmlns:a16="http://schemas.microsoft.com/office/drawing/2014/main" id="{DB06D6BB-3983-FC7C-4982-B25ECA0C75CE}"/>
              </a:ext>
            </a:extLst>
          </p:cNvPr>
          <p:cNvSpPr txBox="1"/>
          <p:nvPr/>
        </p:nvSpPr>
        <p:spPr>
          <a:xfrm>
            <a:off x="5213501" y="31624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5" name="TextBox 334">
            <a:extLst>
              <a:ext uri="{FF2B5EF4-FFF2-40B4-BE49-F238E27FC236}">
                <a16:creationId xmlns:a16="http://schemas.microsoft.com/office/drawing/2014/main" id="{507431D0-80EE-B602-2C81-E4E8C2B98767}"/>
              </a:ext>
            </a:extLst>
          </p:cNvPr>
          <p:cNvSpPr txBox="1"/>
          <p:nvPr/>
        </p:nvSpPr>
        <p:spPr>
          <a:xfrm>
            <a:off x="5213501" y="34407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6" name="TextBox 335">
            <a:extLst>
              <a:ext uri="{FF2B5EF4-FFF2-40B4-BE49-F238E27FC236}">
                <a16:creationId xmlns:a16="http://schemas.microsoft.com/office/drawing/2014/main" id="{6B50646C-D92B-948E-3F05-03DBE915F0EB}"/>
              </a:ext>
            </a:extLst>
          </p:cNvPr>
          <p:cNvSpPr txBox="1"/>
          <p:nvPr/>
        </p:nvSpPr>
        <p:spPr>
          <a:xfrm>
            <a:off x="5213501" y="37190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7" name="TextBox 336">
            <a:extLst>
              <a:ext uri="{FF2B5EF4-FFF2-40B4-BE49-F238E27FC236}">
                <a16:creationId xmlns:a16="http://schemas.microsoft.com/office/drawing/2014/main" id="{135C80B9-AB91-5CD3-0AF6-5F6959E74FE9}"/>
              </a:ext>
            </a:extLst>
          </p:cNvPr>
          <p:cNvSpPr txBox="1"/>
          <p:nvPr/>
        </p:nvSpPr>
        <p:spPr>
          <a:xfrm>
            <a:off x="5213501" y="39973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8" name="TextBox 337">
            <a:extLst>
              <a:ext uri="{FF2B5EF4-FFF2-40B4-BE49-F238E27FC236}">
                <a16:creationId xmlns:a16="http://schemas.microsoft.com/office/drawing/2014/main" id="{9F3AC5C7-E57C-03C4-6D46-99234EA91107}"/>
              </a:ext>
            </a:extLst>
          </p:cNvPr>
          <p:cNvSpPr txBox="1"/>
          <p:nvPr/>
        </p:nvSpPr>
        <p:spPr>
          <a:xfrm>
            <a:off x="5213501" y="42756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3" name="TextBox 342">
            <a:extLst>
              <a:ext uri="{FF2B5EF4-FFF2-40B4-BE49-F238E27FC236}">
                <a16:creationId xmlns:a16="http://schemas.microsoft.com/office/drawing/2014/main" id="{F68760DF-85FF-FC2C-91D2-A3F6CDF9E496}"/>
              </a:ext>
            </a:extLst>
          </p:cNvPr>
          <p:cNvSpPr txBox="1"/>
          <p:nvPr/>
        </p:nvSpPr>
        <p:spPr>
          <a:xfrm>
            <a:off x="5213501" y="566717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4" name="TextBox 343">
            <a:extLst>
              <a:ext uri="{FF2B5EF4-FFF2-40B4-BE49-F238E27FC236}">
                <a16:creationId xmlns:a16="http://schemas.microsoft.com/office/drawing/2014/main" id="{240629CB-264E-4128-19A4-50444F9D6619}"/>
              </a:ext>
            </a:extLst>
          </p:cNvPr>
          <p:cNvSpPr txBox="1"/>
          <p:nvPr/>
        </p:nvSpPr>
        <p:spPr>
          <a:xfrm>
            <a:off x="6611693" y="1443801"/>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Wholesalers </a:t>
            </a:r>
          </a:p>
        </p:txBody>
      </p:sp>
      <p:sp>
        <p:nvSpPr>
          <p:cNvPr id="345" name="TextBox 344">
            <a:extLst>
              <a:ext uri="{FF2B5EF4-FFF2-40B4-BE49-F238E27FC236}">
                <a16:creationId xmlns:a16="http://schemas.microsoft.com/office/drawing/2014/main" id="{CD9A8BFF-EBA9-EA61-B0A6-6A04151631EE}"/>
              </a:ext>
            </a:extLst>
          </p:cNvPr>
          <p:cNvSpPr txBox="1"/>
          <p:nvPr/>
        </p:nvSpPr>
        <p:spPr>
          <a:xfrm>
            <a:off x="6611693" y="17709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6" name="TextBox 345">
            <a:extLst>
              <a:ext uri="{FF2B5EF4-FFF2-40B4-BE49-F238E27FC236}">
                <a16:creationId xmlns:a16="http://schemas.microsoft.com/office/drawing/2014/main" id="{B31871BE-ED5F-1A92-ED6C-2D042934DBE2}"/>
              </a:ext>
            </a:extLst>
          </p:cNvPr>
          <p:cNvSpPr txBox="1"/>
          <p:nvPr/>
        </p:nvSpPr>
        <p:spPr>
          <a:xfrm>
            <a:off x="6611693" y="20492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7" name="TextBox 346">
            <a:extLst>
              <a:ext uri="{FF2B5EF4-FFF2-40B4-BE49-F238E27FC236}">
                <a16:creationId xmlns:a16="http://schemas.microsoft.com/office/drawing/2014/main" id="{47AAC70E-D327-6D59-22BE-535E3B984B08}"/>
              </a:ext>
            </a:extLst>
          </p:cNvPr>
          <p:cNvSpPr txBox="1"/>
          <p:nvPr/>
        </p:nvSpPr>
        <p:spPr>
          <a:xfrm>
            <a:off x="6611693" y="23275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8" name="TextBox 347">
            <a:extLst>
              <a:ext uri="{FF2B5EF4-FFF2-40B4-BE49-F238E27FC236}">
                <a16:creationId xmlns:a16="http://schemas.microsoft.com/office/drawing/2014/main" id="{07804741-8A54-8E32-5482-A920760E4660}"/>
              </a:ext>
            </a:extLst>
          </p:cNvPr>
          <p:cNvSpPr txBox="1"/>
          <p:nvPr/>
        </p:nvSpPr>
        <p:spPr>
          <a:xfrm>
            <a:off x="6611693" y="26058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9" name="TextBox 348">
            <a:extLst>
              <a:ext uri="{FF2B5EF4-FFF2-40B4-BE49-F238E27FC236}">
                <a16:creationId xmlns:a16="http://schemas.microsoft.com/office/drawing/2014/main" id="{72795DC9-4D2C-CAD3-40FD-B8D4D08C9376}"/>
              </a:ext>
            </a:extLst>
          </p:cNvPr>
          <p:cNvSpPr txBox="1"/>
          <p:nvPr/>
        </p:nvSpPr>
        <p:spPr>
          <a:xfrm>
            <a:off x="6611693" y="28841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0" name="TextBox 349">
            <a:extLst>
              <a:ext uri="{FF2B5EF4-FFF2-40B4-BE49-F238E27FC236}">
                <a16:creationId xmlns:a16="http://schemas.microsoft.com/office/drawing/2014/main" id="{FA9BE4B9-7B02-4CC2-C18B-794D79DA939C}"/>
              </a:ext>
            </a:extLst>
          </p:cNvPr>
          <p:cNvSpPr txBox="1"/>
          <p:nvPr/>
        </p:nvSpPr>
        <p:spPr>
          <a:xfrm>
            <a:off x="6611693" y="31624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1" name="TextBox 350">
            <a:extLst>
              <a:ext uri="{FF2B5EF4-FFF2-40B4-BE49-F238E27FC236}">
                <a16:creationId xmlns:a16="http://schemas.microsoft.com/office/drawing/2014/main" id="{D42DD2C5-A637-DA60-2398-66E3C9462568}"/>
              </a:ext>
            </a:extLst>
          </p:cNvPr>
          <p:cNvSpPr txBox="1"/>
          <p:nvPr/>
        </p:nvSpPr>
        <p:spPr>
          <a:xfrm>
            <a:off x="6611693" y="34407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2" name="TextBox 351">
            <a:extLst>
              <a:ext uri="{FF2B5EF4-FFF2-40B4-BE49-F238E27FC236}">
                <a16:creationId xmlns:a16="http://schemas.microsoft.com/office/drawing/2014/main" id="{E10FB04E-C16E-C390-8F0B-7869B7549112}"/>
              </a:ext>
            </a:extLst>
          </p:cNvPr>
          <p:cNvSpPr txBox="1"/>
          <p:nvPr/>
        </p:nvSpPr>
        <p:spPr>
          <a:xfrm>
            <a:off x="6611693" y="37190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3" name="TextBox 352">
            <a:extLst>
              <a:ext uri="{FF2B5EF4-FFF2-40B4-BE49-F238E27FC236}">
                <a16:creationId xmlns:a16="http://schemas.microsoft.com/office/drawing/2014/main" id="{12F2A418-5613-8BF9-439A-E620A5F45A40}"/>
              </a:ext>
            </a:extLst>
          </p:cNvPr>
          <p:cNvSpPr txBox="1"/>
          <p:nvPr/>
        </p:nvSpPr>
        <p:spPr>
          <a:xfrm>
            <a:off x="6611693" y="3997375"/>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4" name="TextBox 353">
            <a:extLst>
              <a:ext uri="{FF2B5EF4-FFF2-40B4-BE49-F238E27FC236}">
                <a16:creationId xmlns:a16="http://schemas.microsoft.com/office/drawing/2014/main" id="{CD21396A-BA79-85BE-23F2-3AE06D58D7ED}"/>
              </a:ext>
            </a:extLst>
          </p:cNvPr>
          <p:cNvSpPr txBox="1"/>
          <p:nvPr/>
        </p:nvSpPr>
        <p:spPr>
          <a:xfrm>
            <a:off x="6611693" y="42756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9" name="TextBox 358">
            <a:extLst>
              <a:ext uri="{FF2B5EF4-FFF2-40B4-BE49-F238E27FC236}">
                <a16:creationId xmlns:a16="http://schemas.microsoft.com/office/drawing/2014/main" id="{5E8CF406-1ABC-601D-59A9-10F02DEA0D65}"/>
              </a:ext>
            </a:extLst>
          </p:cNvPr>
          <p:cNvSpPr txBox="1"/>
          <p:nvPr/>
        </p:nvSpPr>
        <p:spPr>
          <a:xfrm>
            <a:off x="6611693" y="566717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0" name="TextBox 359">
            <a:extLst>
              <a:ext uri="{FF2B5EF4-FFF2-40B4-BE49-F238E27FC236}">
                <a16:creationId xmlns:a16="http://schemas.microsoft.com/office/drawing/2014/main" id="{2136A29B-3B90-C2BC-0D7B-B8332176FC0F}"/>
              </a:ext>
            </a:extLst>
          </p:cNvPr>
          <p:cNvSpPr txBox="1"/>
          <p:nvPr/>
        </p:nvSpPr>
        <p:spPr>
          <a:xfrm>
            <a:off x="9408078" y="1444163"/>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Government </a:t>
            </a:r>
          </a:p>
        </p:txBody>
      </p:sp>
      <p:sp>
        <p:nvSpPr>
          <p:cNvPr id="361" name="TextBox 360">
            <a:extLst>
              <a:ext uri="{FF2B5EF4-FFF2-40B4-BE49-F238E27FC236}">
                <a16:creationId xmlns:a16="http://schemas.microsoft.com/office/drawing/2014/main" id="{32A376E2-DC41-C1C1-CED2-4447887EDDBD}"/>
              </a:ext>
            </a:extLst>
          </p:cNvPr>
          <p:cNvSpPr txBox="1"/>
          <p:nvPr/>
        </p:nvSpPr>
        <p:spPr>
          <a:xfrm>
            <a:off x="9408078" y="17709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2" name="TextBox 361">
            <a:extLst>
              <a:ext uri="{FF2B5EF4-FFF2-40B4-BE49-F238E27FC236}">
                <a16:creationId xmlns:a16="http://schemas.microsoft.com/office/drawing/2014/main" id="{F5F6C591-F610-49C4-0B9C-7AE6D720A448}"/>
              </a:ext>
            </a:extLst>
          </p:cNvPr>
          <p:cNvSpPr txBox="1"/>
          <p:nvPr/>
        </p:nvSpPr>
        <p:spPr>
          <a:xfrm>
            <a:off x="9408078" y="20492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3" name="TextBox 362">
            <a:extLst>
              <a:ext uri="{FF2B5EF4-FFF2-40B4-BE49-F238E27FC236}">
                <a16:creationId xmlns:a16="http://schemas.microsoft.com/office/drawing/2014/main" id="{CFACED9A-D9F4-98D3-75EC-167025CED156}"/>
              </a:ext>
            </a:extLst>
          </p:cNvPr>
          <p:cNvSpPr txBox="1"/>
          <p:nvPr/>
        </p:nvSpPr>
        <p:spPr>
          <a:xfrm>
            <a:off x="9408078" y="23275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4" name="TextBox 363">
            <a:extLst>
              <a:ext uri="{FF2B5EF4-FFF2-40B4-BE49-F238E27FC236}">
                <a16:creationId xmlns:a16="http://schemas.microsoft.com/office/drawing/2014/main" id="{FF1898E8-25D7-FDF7-1286-346BA6CC6924}"/>
              </a:ext>
            </a:extLst>
          </p:cNvPr>
          <p:cNvSpPr txBox="1"/>
          <p:nvPr/>
        </p:nvSpPr>
        <p:spPr>
          <a:xfrm>
            <a:off x="9408078" y="26058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5" name="TextBox 364">
            <a:extLst>
              <a:ext uri="{FF2B5EF4-FFF2-40B4-BE49-F238E27FC236}">
                <a16:creationId xmlns:a16="http://schemas.microsoft.com/office/drawing/2014/main" id="{F0A8C770-280E-1593-A719-60FED4366742}"/>
              </a:ext>
            </a:extLst>
          </p:cNvPr>
          <p:cNvSpPr txBox="1"/>
          <p:nvPr/>
        </p:nvSpPr>
        <p:spPr>
          <a:xfrm>
            <a:off x="9408078" y="28841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6" name="TextBox 365">
            <a:extLst>
              <a:ext uri="{FF2B5EF4-FFF2-40B4-BE49-F238E27FC236}">
                <a16:creationId xmlns:a16="http://schemas.microsoft.com/office/drawing/2014/main" id="{ED364F50-95D6-1A1F-F9AF-CC279D79DC10}"/>
              </a:ext>
            </a:extLst>
          </p:cNvPr>
          <p:cNvSpPr txBox="1"/>
          <p:nvPr/>
        </p:nvSpPr>
        <p:spPr>
          <a:xfrm>
            <a:off x="9408078" y="31624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7" name="TextBox 366">
            <a:extLst>
              <a:ext uri="{FF2B5EF4-FFF2-40B4-BE49-F238E27FC236}">
                <a16:creationId xmlns:a16="http://schemas.microsoft.com/office/drawing/2014/main" id="{A3CE3459-E93E-A854-60DC-2A748E6F96C1}"/>
              </a:ext>
            </a:extLst>
          </p:cNvPr>
          <p:cNvSpPr txBox="1"/>
          <p:nvPr/>
        </p:nvSpPr>
        <p:spPr>
          <a:xfrm>
            <a:off x="9408078" y="34407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8" name="TextBox 367">
            <a:extLst>
              <a:ext uri="{FF2B5EF4-FFF2-40B4-BE49-F238E27FC236}">
                <a16:creationId xmlns:a16="http://schemas.microsoft.com/office/drawing/2014/main" id="{E883B366-52B3-0605-F79D-AC58B28DED56}"/>
              </a:ext>
            </a:extLst>
          </p:cNvPr>
          <p:cNvSpPr txBox="1"/>
          <p:nvPr/>
        </p:nvSpPr>
        <p:spPr>
          <a:xfrm>
            <a:off x="9408078" y="37190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69" name="TextBox 368">
            <a:extLst>
              <a:ext uri="{FF2B5EF4-FFF2-40B4-BE49-F238E27FC236}">
                <a16:creationId xmlns:a16="http://schemas.microsoft.com/office/drawing/2014/main" id="{D77C7D65-6E8D-1CCE-FEC3-5AAC5E811DB5}"/>
              </a:ext>
            </a:extLst>
          </p:cNvPr>
          <p:cNvSpPr txBox="1"/>
          <p:nvPr/>
        </p:nvSpPr>
        <p:spPr>
          <a:xfrm>
            <a:off x="9408078" y="39973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0" name="TextBox 369">
            <a:extLst>
              <a:ext uri="{FF2B5EF4-FFF2-40B4-BE49-F238E27FC236}">
                <a16:creationId xmlns:a16="http://schemas.microsoft.com/office/drawing/2014/main" id="{AE94CCEE-42B6-8870-B26F-7CBF0AADA5AF}"/>
              </a:ext>
            </a:extLst>
          </p:cNvPr>
          <p:cNvSpPr txBox="1"/>
          <p:nvPr/>
        </p:nvSpPr>
        <p:spPr>
          <a:xfrm>
            <a:off x="9408078" y="4275676"/>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5" name="TextBox 374">
            <a:extLst>
              <a:ext uri="{FF2B5EF4-FFF2-40B4-BE49-F238E27FC236}">
                <a16:creationId xmlns:a16="http://schemas.microsoft.com/office/drawing/2014/main" id="{300D7239-DE23-F96A-19E8-6A96222F15ED}"/>
              </a:ext>
            </a:extLst>
          </p:cNvPr>
          <p:cNvSpPr txBox="1"/>
          <p:nvPr/>
        </p:nvSpPr>
        <p:spPr>
          <a:xfrm>
            <a:off x="9408078" y="566717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6" name="TextBox 375">
            <a:extLst>
              <a:ext uri="{FF2B5EF4-FFF2-40B4-BE49-F238E27FC236}">
                <a16:creationId xmlns:a16="http://schemas.microsoft.com/office/drawing/2014/main" id="{0BF1CD6F-FDD1-661A-8043-82C6CE155F36}"/>
              </a:ext>
            </a:extLst>
          </p:cNvPr>
          <p:cNvSpPr txBox="1"/>
          <p:nvPr/>
        </p:nvSpPr>
        <p:spPr>
          <a:xfrm>
            <a:off x="8009886" y="1444163"/>
            <a:ext cx="1302649"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Social Marketing Organisations </a:t>
            </a:r>
          </a:p>
        </p:txBody>
      </p:sp>
      <p:sp>
        <p:nvSpPr>
          <p:cNvPr id="377" name="TextBox 376">
            <a:extLst>
              <a:ext uri="{FF2B5EF4-FFF2-40B4-BE49-F238E27FC236}">
                <a16:creationId xmlns:a16="http://schemas.microsoft.com/office/drawing/2014/main" id="{C1BF7324-0CE2-E878-13A1-FFE73329609F}"/>
              </a:ext>
            </a:extLst>
          </p:cNvPr>
          <p:cNvSpPr txBox="1"/>
          <p:nvPr/>
        </p:nvSpPr>
        <p:spPr>
          <a:xfrm>
            <a:off x="8009886" y="17709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8" name="TextBox 377">
            <a:extLst>
              <a:ext uri="{FF2B5EF4-FFF2-40B4-BE49-F238E27FC236}">
                <a16:creationId xmlns:a16="http://schemas.microsoft.com/office/drawing/2014/main" id="{13CCF892-3AE9-2D29-14E3-E90291C7C492}"/>
              </a:ext>
            </a:extLst>
          </p:cNvPr>
          <p:cNvSpPr txBox="1"/>
          <p:nvPr/>
        </p:nvSpPr>
        <p:spPr>
          <a:xfrm>
            <a:off x="8009886" y="2049273"/>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9" name="TextBox 378">
            <a:extLst>
              <a:ext uri="{FF2B5EF4-FFF2-40B4-BE49-F238E27FC236}">
                <a16:creationId xmlns:a16="http://schemas.microsoft.com/office/drawing/2014/main" id="{55B956D7-8F58-B20C-E9FF-22F66A7A7981}"/>
              </a:ext>
            </a:extLst>
          </p:cNvPr>
          <p:cNvSpPr txBox="1"/>
          <p:nvPr/>
        </p:nvSpPr>
        <p:spPr>
          <a:xfrm>
            <a:off x="8009886" y="232757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0" name="TextBox 379">
            <a:extLst>
              <a:ext uri="{FF2B5EF4-FFF2-40B4-BE49-F238E27FC236}">
                <a16:creationId xmlns:a16="http://schemas.microsoft.com/office/drawing/2014/main" id="{2D23FE59-814E-AB02-E639-78B18A0414F1}"/>
              </a:ext>
            </a:extLst>
          </p:cNvPr>
          <p:cNvSpPr txBox="1"/>
          <p:nvPr/>
        </p:nvSpPr>
        <p:spPr>
          <a:xfrm>
            <a:off x="8009886" y="26058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1" name="TextBox 380">
            <a:extLst>
              <a:ext uri="{FF2B5EF4-FFF2-40B4-BE49-F238E27FC236}">
                <a16:creationId xmlns:a16="http://schemas.microsoft.com/office/drawing/2014/main" id="{F9782217-B65F-3D98-1927-B6152776257F}"/>
              </a:ext>
            </a:extLst>
          </p:cNvPr>
          <p:cNvSpPr txBox="1"/>
          <p:nvPr/>
        </p:nvSpPr>
        <p:spPr>
          <a:xfrm>
            <a:off x="8009886" y="2884173"/>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2" name="TextBox 381">
            <a:extLst>
              <a:ext uri="{FF2B5EF4-FFF2-40B4-BE49-F238E27FC236}">
                <a16:creationId xmlns:a16="http://schemas.microsoft.com/office/drawing/2014/main" id="{3322888F-1516-2A5E-B32F-6E52FEA10D0B}"/>
              </a:ext>
            </a:extLst>
          </p:cNvPr>
          <p:cNvSpPr txBox="1"/>
          <p:nvPr/>
        </p:nvSpPr>
        <p:spPr>
          <a:xfrm>
            <a:off x="8009886" y="316247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3" name="TextBox 382">
            <a:extLst>
              <a:ext uri="{FF2B5EF4-FFF2-40B4-BE49-F238E27FC236}">
                <a16:creationId xmlns:a16="http://schemas.microsoft.com/office/drawing/2014/main" id="{799DE03B-F0F1-7F51-98EF-5238648B5502}"/>
              </a:ext>
            </a:extLst>
          </p:cNvPr>
          <p:cNvSpPr txBox="1"/>
          <p:nvPr/>
        </p:nvSpPr>
        <p:spPr>
          <a:xfrm>
            <a:off x="8009886" y="34407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4" name="TextBox 383">
            <a:extLst>
              <a:ext uri="{FF2B5EF4-FFF2-40B4-BE49-F238E27FC236}">
                <a16:creationId xmlns:a16="http://schemas.microsoft.com/office/drawing/2014/main" id="{E4CCE632-1499-65D1-4285-A189F220F80B}"/>
              </a:ext>
            </a:extLst>
          </p:cNvPr>
          <p:cNvSpPr txBox="1"/>
          <p:nvPr/>
        </p:nvSpPr>
        <p:spPr>
          <a:xfrm>
            <a:off x="8009886" y="37190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5" name="TextBox 384">
            <a:extLst>
              <a:ext uri="{FF2B5EF4-FFF2-40B4-BE49-F238E27FC236}">
                <a16:creationId xmlns:a16="http://schemas.microsoft.com/office/drawing/2014/main" id="{15E965CE-3CD6-49EE-DE12-FD813E232B9D}"/>
              </a:ext>
            </a:extLst>
          </p:cNvPr>
          <p:cNvSpPr txBox="1"/>
          <p:nvPr/>
        </p:nvSpPr>
        <p:spPr>
          <a:xfrm>
            <a:off x="8009886" y="3997375"/>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6" name="TextBox 385">
            <a:extLst>
              <a:ext uri="{FF2B5EF4-FFF2-40B4-BE49-F238E27FC236}">
                <a16:creationId xmlns:a16="http://schemas.microsoft.com/office/drawing/2014/main" id="{0846E0D1-F1E2-37EF-384E-9E98B1206B23}"/>
              </a:ext>
            </a:extLst>
          </p:cNvPr>
          <p:cNvSpPr txBox="1"/>
          <p:nvPr/>
        </p:nvSpPr>
        <p:spPr>
          <a:xfrm>
            <a:off x="8009886" y="4275676"/>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1" name="TextBox 390">
            <a:extLst>
              <a:ext uri="{FF2B5EF4-FFF2-40B4-BE49-F238E27FC236}">
                <a16:creationId xmlns:a16="http://schemas.microsoft.com/office/drawing/2014/main" id="{52608665-4A74-81BD-712F-86FF85312667}"/>
              </a:ext>
            </a:extLst>
          </p:cNvPr>
          <p:cNvSpPr txBox="1"/>
          <p:nvPr/>
        </p:nvSpPr>
        <p:spPr>
          <a:xfrm>
            <a:off x="8009886" y="566717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2" name="TextBox 391">
            <a:extLst>
              <a:ext uri="{FF2B5EF4-FFF2-40B4-BE49-F238E27FC236}">
                <a16:creationId xmlns:a16="http://schemas.microsoft.com/office/drawing/2014/main" id="{A8A21B5C-B147-363E-9E0B-7A65368A4B9D}"/>
              </a:ext>
            </a:extLst>
          </p:cNvPr>
          <p:cNvSpPr txBox="1"/>
          <p:nvPr/>
        </p:nvSpPr>
        <p:spPr>
          <a:xfrm>
            <a:off x="10806270" y="1450176"/>
            <a:ext cx="1303216" cy="275864"/>
          </a:xfrm>
          <a:prstGeom prst="rect">
            <a:avLst/>
          </a:prstGeom>
          <a:solidFill>
            <a:srgbClr val="FFFFFF">
              <a:lumMod val="85000"/>
            </a:srgbClr>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rPr>
              <a:t>Implementing Partner </a:t>
            </a:r>
          </a:p>
        </p:txBody>
      </p:sp>
      <p:sp>
        <p:nvSpPr>
          <p:cNvPr id="393" name="TextBox 392">
            <a:extLst>
              <a:ext uri="{FF2B5EF4-FFF2-40B4-BE49-F238E27FC236}">
                <a16:creationId xmlns:a16="http://schemas.microsoft.com/office/drawing/2014/main" id="{8A61E628-50FD-300B-DC26-4DF942F9EE0D}"/>
              </a:ext>
            </a:extLst>
          </p:cNvPr>
          <p:cNvSpPr txBox="1"/>
          <p:nvPr/>
        </p:nvSpPr>
        <p:spPr>
          <a:xfrm>
            <a:off x="10806270" y="1770973"/>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4" name="TextBox 393">
            <a:extLst>
              <a:ext uri="{FF2B5EF4-FFF2-40B4-BE49-F238E27FC236}">
                <a16:creationId xmlns:a16="http://schemas.microsoft.com/office/drawing/2014/main" id="{43A16040-1BA6-CE38-C28B-81673D9B8649}"/>
              </a:ext>
            </a:extLst>
          </p:cNvPr>
          <p:cNvSpPr txBox="1"/>
          <p:nvPr/>
        </p:nvSpPr>
        <p:spPr>
          <a:xfrm>
            <a:off x="10806270" y="2049273"/>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5" name="TextBox 394">
            <a:extLst>
              <a:ext uri="{FF2B5EF4-FFF2-40B4-BE49-F238E27FC236}">
                <a16:creationId xmlns:a16="http://schemas.microsoft.com/office/drawing/2014/main" id="{83D465B3-C382-5333-C40A-F63CD4359A1F}"/>
              </a:ext>
            </a:extLst>
          </p:cNvPr>
          <p:cNvSpPr txBox="1"/>
          <p:nvPr/>
        </p:nvSpPr>
        <p:spPr>
          <a:xfrm>
            <a:off x="10806270" y="2327574"/>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6" name="TextBox 395">
            <a:extLst>
              <a:ext uri="{FF2B5EF4-FFF2-40B4-BE49-F238E27FC236}">
                <a16:creationId xmlns:a16="http://schemas.microsoft.com/office/drawing/2014/main" id="{EE2C85B1-3D54-09F3-6D15-8A42101E0487}"/>
              </a:ext>
            </a:extLst>
          </p:cNvPr>
          <p:cNvSpPr txBox="1"/>
          <p:nvPr/>
        </p:nvSpPr>
        <p:spPr>
          <a:xfrm>
            <a:off x="10806270" y="2605873"/>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7" name="TextBox 396">
            <a:extLst>
              <a:ext uri="{FF2B5EF4-FFF2-40B4-BE49-F238E27FC236}">
                <a16:creationId xmlns:a16="http://schemas.microsoft.com/office/drawing/2014/main" id="{01C03CF5-8BBF-FD5F-AAEE-AAFAF173A5D2}"/>
              </a:ext>
            </a:extLst>
          </p:cNvPr>
          <p:cNvSpPr txBox="1"/>
          <p:nvPr/>
        </p:nvSpPr>
        <p:spPr>
          <a:xfrm>
            <a:off x="10806270" y="2884173"/>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8" name="TextBox 397">
            <a:extLst>
              <a:ext uri="{FF2B5EF4-FFF2-40B4-BE49-F238E27FC236}">
                <a16:creationId xmlns:a16="http://schemas.microsoft.com/office/drawing/2014/main" id="{47578296-D19D-2455-ABF0-08419086CDD3}"/>
              </a:ext>
            </a:extLst>
          </p:cNvPr>
          <p:cNvSpPr txBox="1"/>
          <p:nvPr/>
        </p:nvSpPr>
        <p:spPr>
          <a:xfrm>
            <a:off x="10806270" y="3162474"/>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9" name="TextBox 398">
            <a:extLst>
              <a:ext uri="{FF2B5EF4-FFF2-40B4-BE49-F238E27FC236}">
                <a16:creationId xmlns:a16="http://schemas.microsoft.com/office/drawing/2014/main" id="{56B19A88-FB9E-E548-2F7E-FD2F4FB82313}"/>
              </a:ext>
            </a:extLst>
          </p:cNvPr>
          <p:cNvSpPr txBox="1"/>
          <p:nvPr/>
        </p:nvSpPr>
        <p:spPr>
          <a:xfrm>
            <a:off x="10806270" y="3440775"/>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0" name="TextBox 399">
            <a:extLst>
              <a:ext uri="{FF2B5EF4-FFF2-40B4-BE49-F238E27FC236}">
                <a16:creationId xmlns:a16="http://schemas.microsoft.com/office/drawing/2014/main" id="{16DABB90-E724-B785-93B1-EC131078253B}"/>
              </a:ext>
            </a:extLst>
          </p:cNvPr>
          <p:cNvSpPr txBox="1"/>
          <p:nvPr/>
        </p:nvSpPr>
        <p:spPr>
          <a:xfrm>
            <a:off x="10806270" y="3719075"/>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1" name="TextBox 400">
            <a:extLst>
              <a:ext uri="{FF2B5EF4-FFF2-40B4-BE49-F238E27FC236}">
                <a16:creationId xmlns:a16="http://schemas.microsoft.com/office/drawing/2014/main" id="{42BA3108-8849-0A75-AA38-DF00F25E05BD}"/>
              </a:ext>
            </a:extLst>
          </p:cNvPr>
          <p:cNvSpPr txBox="1"/>
          <p:nvPr/>
        </p:nvSpPr>
        <p:spPr>
          <a:xfrm>
            <a:off x="10806270" y="3997375"/>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2" name="TextBox 401">
            <a:extLst>
              <a:ext uri="{FF2B5EF4-FFF2-40B4-BE49-F238E27FC236}">
                <a16:creationId xmlns:a16="http://schemas.microsoft.com/office/drawing/2014/main" id="{48072A2E-C762-B62B-453B-3AAAB7BEE57E}"/>
              </a:ext>
            </a:extLst>
          </p:cNvPr>
          <p:cNvSpPr txBox="1"/>
          <p:nvPr/>
        </p:nvSpPr>
        <p:spPr>
          <a:xfrm>
            <a:off x="10806270" y="4275676"/>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07" name="Rectangle 306">
            <a:extLst>
              <a:ext uri="{FF2B5EF4-FFF2-40B4-BE49-F238E27FC236}">
                <a16:creationId xmlns:a16="http://schemas.microsoft.com/office/drawing/2014/main" id="{A5664F14-4A0D-E089-D070-41A1BD79CFD0}"/>
              </a:ext>
            </a:extLst>
          </p:cNvPr>
          <p:cNvSpPr>
            <a:spLocks noChangeArrowheads="1"/>
          </p:cNvSpPr>
          <p:nvPr>
            <p:custDataLst>
              <p:tags r:id="rId13"/>
            </p:custDataLst>
          </p:nvPr>
        </p:nvSpPr>
        <p:spPr bwMode="gray">
          <a:xfrm>
            <a:off x="1185421" y="4553976"/>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Divine Mercy Clinic – Urban </a:t>
            </a:r>
          </a:p>
        </p:txBody>
      </p:sp>
      <p:sp>
        <p:nvSpPr>
          <p:cNvPr id="323" name="TextBox 322">
            <a:extLst>
              <a:ext uri="{FF2B5EF4-FFF2-40B4-BE49-F238E27FC236}">
                <a16:creationId xmlns:a16="http://schemas.microsoft.com/office/drawing/2014/main" id="{65FC14AC-1896-9193-A177-BE7DD5319810}"/>
              </a:ext>
            </a:extLst>
          </p:cNvPr>
          <p:cNvSpPr txBox="1"/>
          <p:nvPr/>
        </p:nvSpPr>
        <p:spPr>
          <a:xfrm>
            <a:off x="3815309" y="4553976"/>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39" name="TextBox 338">
            <a:extLst>
              <a:ext uri="{FF2B5EF4-FFF2-40B4-BE49-F238E27FC236}">
                <a16:creationId xmlns:a16="http://schemas.microsoft.com/office/drawing/2014/main" id="{F5EDF113-45E2-0E03-6F1B-270EF769CCE7}"/>
              </a:ext>
            </a:extLst>
          </p:cNvPr>
          <p:cNvSpPr txBox="1"/>
          <p:nvPr/>
        </p:nvSpPr>
        <p:spPr>
          <a:xfrm>
            <a:off x="5213501" y="45539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5" name="TextBox 354">
            <a:extLst>
              <a:ext uri="{FF2B5EF4-FFF2-40B4-BE49-F238E27FC236}">
                <a16:creationId xmlns:a16="http://schemas.microsoft.com/office/drawing/2014/main" id="{9AE2F5E9-88DF-E2ED-8E3E-438F0DFE8EA6}"/>
              </a:ext>
            </a:extLst>
          </p:cNvPr>
          <p:cNvSpPr txBox="1"/>
          <p:nvPr/>
        </p:nvSpPr>
        <p:spPr>
          <a:xfrm>
            <a:off x="6611693" y="4553976"/>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1" name="TextBox 370">
            <a:extLst>
              <a:ext uri="{FF2B5EF4-FFF2-40B4-BE49-F238E27FC236}">
                <a16:creationId xmlns:a16="http://schemas.microsoft.com/office/drawing/2014/main" id="{1A1D59BC-AE49-88C1-03D6-9A9F4F258A5F}"/>
              </a:ext>
            </a:extLst>
          </p:cNvPr>
          <p:cNvSpPr txBox="1"/>
          <p:nvPr/>
        </p:nvSpPr>
        <p:spPr>
          <a:xfrm>
            <a:off x="9408078" y="45539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7" name="TextBox 386">
            <a:extLst>
              <a:ext uri="{FF2B5EF4-FFF2-40B4-BE49-F238E27FC236}">
                <a16:creationId xmlns:a16="http://schemas.microsoft.com/office/drawing/2014/main" id="{619B0C4D-53F3-E5D8-0B1A-75BF5DA55B3A}"/>
              </a:ext>
            </a:extLst>
          </p:cNvPr>
          <p:cNvSpPr txBox="1"/>
          <p:nvPr/>
        </p:nvSpPr>
        <p:spPr>
          <a:xfrm>
            <a:off x="8009886" y="4553976"/>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3" name="TextBox 402">
            <a:extLst>
              <a:ext uri="{FF2B5EF4-FFF2-40B4-BE49-F238E27FC236}">
                <a16:creationId xmlns:a16="http://schemas.microsoft.com/office/drawing/2014/main" id="{E0EF84D4-20AA-365E-018A-AAFA4FA03696}"/>
              </a:ext>
            </a:extLst>
          </p:cNvPr>
          <p:cNvSpPr txBox="1"/>
          <p:nvPr/>
        </p:nvSpPr>
        <p:spPr>
          <a:xfrm>
            <a:off x="10806270" y="4553976"/>
            <a:ext cx="1303216"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09" name="Rectangle 308">
            <a:extLst>
              <a:ext uri="{FF2B5EF4-FFF2-40B4-BE49-F238E27FC236}">
                <a16:creationId xmlns:a16="http://schemas.microsoft.com/office/drawing/2014/main" id="{67D62477-94BD-E62F-78F4-3A058881EFCC}"/>
              </a:ext>
            </a:extLst>
          </p:cNvPr>
          <p:cNvSpPr>
            <a:spLocks noChangeArrowheads="1"/>
          </p:cNvSpPr>
          <p:nvPr>
            <p:custDataLst>
              <p:tags r:id="rId14"/>
            </p:custDataLst>
          </p:nvPr>
        </p:nvSpPr>
        <p:spPr bwMode="gray">
          <a:xfrm>
            <a:off x="1185421" y="4834950"/>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Little Seed Hospital – Rural </a:t>
            </a:r>
          </a:p>
        </p:txBody>
      </p:sp>
      <p:sp>
        <p:nvSpPr>
          <p:cNvPr id="325" name="TextBox 324">
            <a:extLst>
              <a:ext uri="{FF2B5EF4-FFF2-40B4-BE49-F238E27FC236}">
                <a16:creationId xmlns:a16="http://schemas.microsoft.com/office/drawing/2014/main" id="{91873C9C-84AD-0BAD-355E-0F9C2DA0AE94}"/>
              </a:ext>
            </a:extLst>
          </p:cNvPr>
          <p:cNvSpPr txBox="1"/>
          <p:nvPr/>
        </p:nvSpPr>
        <p:spPr>
          <a:xfrm>
            <a:off x="3815309" y="4834950"/>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1" name="TextBox 340">
            <a:extLst>
              <a:ext uri="{FF2B5EF4-FFF2-40B4-BE49-F238E27FC236}">
                <a16:creationId xmlns:a16="http://schemas.microsoft.com/office/drawing/2014/main" id="{1143C6D1-070B-6E13-9AA2-56539BA342E8}"/>
              </a:ext>
            </a:extLst>
          </p:cNvPr>
          <p:cNvSpPr txBox="1"/>
          <p:nvPr/>
        </p:nvSpPr>
        <p:spPr>
          <a:xfrm>
            <a:off x="5213501" y="4834950"/>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7" name="TextBox 356">
            <a:extLst>
              <a:ext uri="{FF2B5EF4-FFF2-40B4-BE49-F238E27FC236}">
                <a16:creationId xmlns:a16="http://schemas.microsoft.com/office/drawing/2014/main" id="{FAF3D13E-0A02-B961-00A0-10BA988A9063}"/>
              </a:ext>
            </a:extLst>
          </p:cNvPr>
          <p:cNvSpPr txBox="1"/>
          <p:nvPr/>
        </p:nvSpPr>
        <p:spPr>
          <a:xfrm>
            <a:off x="6611693" y="4834950"/>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3" name="TextBox 372">
            <a:extLst>
              <a:ext uri="{FF2B5EF4-FFF2-40B4-BE49-F238E27FC236}">
                <a16:creationId xmlns:a16="http://schemas.microsoft.com/office/drawing/2014/main" id="{94520479-98FC-DBF0-82A3-1D505F68F5E3}"/>
              </a:ext>
            </a:extLst>
          </p:cNvPr>
          <p:cNvSpPr txBox="1"/>
          <p:nvPr/>
        </p:nvSpPr>
        <p:spPr>
          <a:xfrm>
            <a:off x="9408078" y="4834950"/>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9" name="TextBox 388">
            <a:extLst>
              <a:ext uri="{FF2B5EF4-FFF2-40B4-BE49-F238E27FC236}">
                <a16:creationId xmlns:a16="http://schemas.microsoft.com/office/drawing/2014/main" id="{BD1AE867-1D7E-81FA-D0AD-F433B5327148}"/>
              </a:ext>
            </a:extLst>
          </p:cNvPr>
          <p:cNvSpPr txBox="1"/>
          <p:nvPr/>
        </p:nvSpPr>
        <p:spPr>
          <a:xfrm>
            <a:off x="8009886" y="4834950"/>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5" name="TextBox 404">
            <a:extLst>
              <a:ext uri="{FF2B5EF4-FFF2-40B4-BE49-F238E27FC236}">
                <a16:creationId xmlns:a16="http://schemas.microsoft.com/office/drawing/2014/main" id="{88B7F491-A15D-74E6-F6FE-938106F88382}"/>
              </a:ext>
            </a:extLst>
          </p:cNvPr>
          <p:cNvSpPr txBox="1"/>
          <p:nvPr/>
        </p:nvSpPr>
        <p:spPr>
          <a:xfrm>
            <a:off x="10806270" y="4834950"/>
            <a:ext cx="1303216"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10" name="Rectangle 309">
            <a:extLst>
              <a:ext uri="{FF2B5EF4-FFF2-40B4-BE49-F238E27FC236}">
                <a16:creationId xmlns:a16="http://schemas.microsoft.com/office/drawing/2014/main" id="{D6799030-7DCB-DA1A-55AA-5E284244A17F}"/>
              </a:ext>
            </a:extLst>
          </p:cNvPr>
          <p:cNvSpPr>
            <a:spLocks noChangeArrowheads="1"/>
          </p:cNvSpPr>
          <p:nvPr>
            <p:custDataLst>
              <p:tags r:id="rId15"/>
            </p:custDataLst>
          </p:nvPr>
        </p:nvSpPr>
        <p:spPr bwMode="gray">
          <a:xfrm>
            <a:off x="1185421" y="5115924"/>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Chima Hospital – Rural </a:t>
            </a:r>
          </a:p>
        </p:txBody>
      </p:sp>
      <p:sp>
        <p:nvSpPr>
          <p:cNvPr id="326" name="TextBox 325">
            <a:extLst>
              <a:ext uri="{FF2B5EF4-FFF2-40B4-BE49-F238E27FC236}">
                <a16:creationId xmlns:a16="http://schemas.microsoft.com/office/drawing/2014/main" id="{F1A985A2-2B82-BB2C-1FEB-2DBCD7836DB8}"/>
              </a:ext>
            </a:extLst>
          </p:cNvPr>
          <p:cNvSpPr txBox="1"/>
          <p:nvPr/>
        </p:nvSpPr>
        <p:spPr>
          <a:xfrm>
            <a:off x="3815309" y="5115924"/>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2" name="TextBox 341">
            <a:extLst>
              <a:ext uri="{FF2B5EF4-FFF2-40B4-BE49-F238E27FC236}">
                <a16:creationId xmlns:a16="http://schemas.microsoft.com/office/drawing/2014/main" id="{48469D63-5BB4-735D-127A-9CDE9B8AC588}"/>
              </a:ext>
            </a:extLst>
          </p:cNvPr>
          <p:cNvSpPr txBox="1"/>
          <p:nvPr/>
        </p:nvSpPr>
        <p:spPr>
          <a:xfrm>
            <a:off x="5213501" y="5115924"/>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8" name="TextBox 357">
            <a:extLst>
              <a:ext uri="{FF2B5EF4-FFF2-40B4-BE49-F238E27FC236}">
                <a16:creationId xmlns:a16="http://schemas.microsoft.com/office/drawing/2014/main" id="{E7C109C9-0A2D-7E47-67DA-32694CF7ED4D}"/>
              </a:ext>
            </a:extLst>
          </p:cNvPr>
          <p:cNvSpPr txBox="1"/>
          <p:nvPr/>
        </p:nvSpPr>
        <p:spPr>
          <a:xfrm>
            <a:off x="6611693" y="511592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74" name="TextBox 373">
            <a:extLst>
              <a:ext uri="{FF2B5EF4-FFF2-40B4-BE49-F238E27FC236}">
                <a16:creationId xmlns:a16="http://schemas.microsoft.com/office/drawing/2014/main" id="{F4658204-C455-980E-ABC1-A15C7B0FB708}"/>
              </a:ext>
            </a:extLst>
          </p:cNvPr>
          <p:cNvSpPr txBox="1"/>
          <p:nvPr/>
        </p:nvSpPr>
        <p:spPr>
          <a:xfrm>
            <a:off x="9408078" y="5115924"/>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90" name="TextBox 389">
            <a:extLst>
              <a:ext uri="{FF2B5EF4-FFF2-40B4-BE49-F238E27FC236}">
                <a16:creationId xmlns:a16="http://schemas.microsoft.com/office/drawing/2014/main" id="{65151010-A1F8-4FC5-F011-B42E58B36EC1}"/>
              </a:ext>
            </a:extLst>
          </p:cNvPr>
          <p:cNvSpPr txBox="1"/>
          <p:nvPr/>
        </p:nvSpPr>
        <p:spPr>
          <a:xfrm>
            <a:off x="8009886" y="5115924"/>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6" name="TextBox 405">
            <a:extLst>
              <a:ext uri="{FF2B5EF4-FFF2-40B4-BE49-F238E27FC236}">
                <a16:creationId xmlns:a16="http://schemas.microsoft.com/office/drawing/2014/main" id="{7DB5F8B0-507F-4AE6-6379-C13D74AC437E}"/>
              </a:ext>
            </a:extLst>
          </p:cNvPr>
          <p:cNvSpPr txBox="1"/>
          <p:nvPr/>
        </p:nvSpPr>
        <p:spPr>
          <a:xfrm>
            <a:off x="10806270" y="5115924"/>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7" name="TextBox 406">
            <a:extLst>
              <a:ext uri="{FF2B5EF4-FFF2-40B4-BE49-F238E27FC236}">
                <a16:creationId xmlns:a16="http://schemas.microsoft.com/office/drawing/2014/main" id="{5F72ED68-7FB3-882A-60B9-82FC3B1366DA}"/>
              </a:ext>
            </a:extLst>
          </p:cNvPr>
          <p:cNvSpPr txBox="1"/>
          <p:nvPr/>
        </p:nvSpPr>
        <p:spPr>
          <a:xfrm>
            <a:off x="10806270" y="5667178"/>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08" name="Rectangle 407">
            <a:extLst>
              <a:ext uri="{FF2B5EF4-FFF2-40B4-BE49-F238E27FC236}">
                <a16:creationId xmlns:a16="http://schemas.microsoft.com/office/drawing/2014/main" id="{B3C912C5-0B75-E16F-95F0-88FEDD2414DF}"/>
              </a:ext>
            </a:extLst>
          </p:cNvPr>
          <p:cNvSpPr>
            <a:spLocks noChangeArrowheads="1"/>
          </p:cNvSpPr>
          <p:nvPr>
            <p:custDataLst>
              <p:tags r:id="rId16"/>
            </p:custDataLst>
          </p:nvPr>
        </p:nvSpPr>
        <p:spPr bwMode="gray">
          <a:xfrm>
            <a:off x="1185421" y="5970398"/>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Bethel Mission  Hospital – Urban  </a:t>
            </a:r>
          </a:p>
        </p:txBody>
      </p:sp>
      <p:sp>
        <p:nvSpPr>
          <p:cNvPr id="409" name="TextBox 408">
            <a:extLst>
              <a:ext uri="{FF2B5EF4-FFF2-40B4-BE49-F238E27FC236}">
                <a16:creationId xmlns:a16="http://schemas.microsoft.com/office/drawing/2014/main" id="{4630BAD2-55D0-3C84-2214-3CD31C337065}"/>
              </a:ext>
            </a:extLst>
          </p:cNvPr>
          <p:cNvSpPr txBox="1"/>
          <p:nvPr/>
        </p:nvSpPr>
        <p:spPr>
          <a:xfrm>
            <a:off x="3815309" y="597039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0" name="TextBox 409">
            <a:extLst>
              <a:ext uri="{FF2B5EF4-FFF2-40B4-BE49-F238E27FC236}">
                <a16:creationId xmlns:a16="http://schemas.microsoft.com/office/drawing/2014/main" id="{61B16331-D4C0-5525-E727-847143E8B5CA}"/>
              </a:ext>
            </a:extLst>
          </p:cNvPr>
          <p:cNvSpPr txBox="1"/>
          <p:nvPr/>
        </p:nvSpPr>
        <p:spPr>
          <a:xfrm>
            <a:off x="5213501" y="597039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1" name="TextBox 410">
            <a:extLst>
              <a:ext uri="{FF2B5EF4-FFF2-40B4-BE49-F238E27FC236}">
                <a16:creationId xmlns:a16="http://schemas.microsoft.com/office/drawing/2014/main" id="{37A4D43C-E834-D489-ED42-445DC94AEEF2}"/>
              </a:ext>
            </a:extLst>
          </p:cNvPr>
          <p:cNvSpPr txBox="1"/>
          <p:nvPr/>
        </p:nvSpPr>
        <p:spPr>
          <a:xfrm>
            <a:off x="6611693" y="597039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2" name="TextBox 411">
            <a:extLst>
              <a:ext uri="{FF2B5EF4-FFF2-40B4-BE49-F238E27FC236}">
                <a16:creationId xmlns:a16="http://schemas.microsoft.com/office/drawing/2014/main" id="{41A1EBCC-1F18-B915-3BA6-76F93287C6FB}"/>
              </a:ext>
            </a:extLst>
          </p:cNvPr>
          <p:cNvSpPr txBox="1"/>
          <p:nvPr/>
        </p:nvSpPr>
        <p:spPr>
          <a:xfrm>
            <a:off x="9408078" y="597039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3" name="TextBox 412">
            <a:extLst>
              <a:ext uri="{FF2B5EF4-FFF2-40B4-BE49-F238E27FC236}">
                <a16:creationId xmlns:a16="http://schemas.microsoft.com/office/drawing/2014/main" id="{BD9FCE64-2A0C-9B73-4837-0AA1B9833B30}"/>
              </a:ext>
            </a:extLst>
          </p:cNvPr>
          <p:cNvSpPr txBox="1"/>
          <p:nvPr/>
        </p:nvSpPr>
        <p:spPr>
          <a:xfrm>
            <a:off x="8009886" y="597039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4" name="TextBox 413">
            <a:extLst>
              <a:ext uri="{FF2B5EF4-FFF2-40B4-BE49-F238E27FC236}">
                <a16:creationId xmlns:a16="http://schemas.microsoft.com/office/drawing/2014/main" id="{8263F06F-A0EB-5F22-84BA-54723A4CEAFF}"/>
              </a:ext>
            </a:extLst>
          </p:cNvPr>
          <p:cNvSpPr txBox="1"/>
          <p:nvPr/>
        </p:nvSpPr>
        <p:spPr>
          <a:xfrm>
            <a:off x="10806270" y="5970398"/>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cxnSp>
        <p:nvCxnSpPr>
          <p:cNvPr id="422" name="Straight Connector 421">
            <a:extLst>
              <a:ext uri="{FF2B5EF4-FFF2-40B4-BE49-F238E27FC236}">
                <a16:creationId xmlns:a16="http://schemas.microsoft.com/office/drawing/2014/main" id="{F69586E8-C4A6-3AB6-3BD8-BD95649C340A}"/>
              </a:ext>
            </a:extLst>
          </p:cNvPr>
          <p:cNvCxnSpPr>
            <a:cxnSpLocks/>
          </p:cNvCxnSpPr>
          <p:nvPr/>
        </p:nvCxnSpPr>
        <p:spPr>
          <a:xfrm>
            <a:off x="12000" y="6247527"/>
            <a:ext cx="12168000" cy="0"/>
          </a:xfrm>
          <a:prstGeom prst="line">
            <a:avLst/>
          </a:prstGeom>
          <a:noFill/>
          <a:ln w="9525" cap="flat" cmpd="sng" algn="ctr">
            <a:solidFill>
              <a:srgbClr val="808080"/>
            </a:solidFill>
            <a:prstDash val="solid"/>
          </a:ln>
          <a:effectLst/>
        </p:spPr>
      </p:cxnSp>
      <p:cxnSp>
        <p:nvCxnSpPr>
          <p:cNvPr id="423" name="Straight Connector 422">
            <a:extLst>
              <a:ext uri="{FF2B5EF4-FFF2-40B4-BE49-F238E27FC236}">
                <a16:creationId xmlns:a16="http://schemas.microsoft.com/office/drawing/2014/main" id="{3C3A1081-AA4D-3A49-30D6-947085487D70}"/>
              </a:ext>
            </a:extLst>
          </p:cNvPr>
          <p:cNvCxnSpPr>
            <a:cxnSpLocks/>
          </p:cNvCxnSpPr>
          <p:nvPr/>
        </p:nvCxnSpPr>
        <p:spPr>
          <a:xfrm>
            <a:off x="21900" y="6826373"/>
            <a:ext cx="12168000" cy="0"/>
          </a:xfrm>
          <a:prstGeom prst="line">
            <a:avLst/>
          </a:prstGeom>
          <a:noFill/>
          <a:ln w="9525" cap="flat" cmpd="sng" algn="ctr">
            <a:solidFill>
              <a:srgbClr val="808080"/>
            </a:solidFill>
            <a:prstDash val="solid"/>
          </a:ln>
          <a:effectLst/>
        </p:spPr>
      </p:cxnSp>
      <p:sp>
        <p:nvSpPr>
          <p:cNvPr id="427" name="McK 5. Source">
            <a:extLst>
              <a:ext uri="{FF2B5EF4-FFF2-40B4-BE49-F238E27FC236}">
                <a16:creationId xmlns:a16="http://schemas.microsoft.com/office/drawing/2014/main" id="{D0FA1CD1-76F2-2DA2-1142-2A84E89BFDED}"/>
              </a:ext>
            </a:extLst>
          </p:cNvPr>
          <p:cNvSpPr>
            <a:spLocks noChangeArrowheads="1"/>
          </p:cNvSpPr>
          <p:nvPr/>
        </p:nvSpPr>
        <p:spPr bwMode="auto">
          <a:xfrm>
            <a:off x="89765" y="6648360"/>
            <a:ext cx="19171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Sources : Key Informant Interview Synthesis </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sp>
        <p:nvSpPr>
          <p:cNvPr id="451" name="Rectangle 450">
            <a:extLst>
              <a:ext uri="{FF2B5EF4-FFF2-40B4-BE49-F238E27FC236}">
                <a16:creationId xmlns:a16="http://schemas.microsoft.com/office/drawing/2014/main" id="{E30DDA04-9CA7-370C-95E1-EB2516907D6F}"/>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a:ea typeface="+mn-ea"/>
                <a:cs typeface="+mn-cs"/>
              </a:rPr>
              <a:t>Sourcing </a:t>
            </a:r>
          </a:p>
        </p:txBody>
      </p:sp>
      <p:sp>
        <p:nvSpPr>
          <p:cNvPr id="3" name="Rectangle 2">
            <a:extLst>
              <a:ext uri="{FF2B5EF4-FFF2-40B4-BE49-F238E27FC236}">
                <a16:creationId xmlns:a16="http://schemas.microsoft.com/office/drawing/2014/main" id="{FE933419-85DC-FE38-1987-17E267A3B989}"/>
              </a:ext>
            </a:extLst>
          </p:cNvPr>
          <p:cNvSpPr>
            <a:spLocks noChangeArrowheads="1"/>
          </p:cNvSpPr>
          <p:nvPr>
            <p:custDataLst>
              <p:tags r:id="rId17"/>
            </p:custDataLst>
          </p:nvPr>
        </p:nvSpPr>
        <p:spPr bwMode="gray">
          <a:xfrm>
            <a:off x="1185421" y="5396898"/>
            <a:ext cx="2534345" cy="248278"/>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100" b="1" i="0" u="none" strike="noStrike" kern="0" cap="none" spc="0" normalizeH="0" baseline="0" noProof="0" dirty="0" err="1">
                <a:ln>
                  <a:noFill/>
                </a:ln>
                <a:solidFill>
                  <a:srgbClr val="1F1F1F"/>
                </a:solidFill>
                <a:effectLst/>
                <a:uLnTx/>
                <a:uFillTx/>
                <a:latin typeface="Gill Sans MT" panose="020B0502020104020203"/>
                <a:ea typeface="ＭＳ Ｐゴシック"/>
                <a:cs typeface="Arial" panose="020B0604020202020204" pitchFamily="34" charset="0"/>
              </a:rPr>
              <a:t>Amuzu</a:t>
            </a:r>
            <a:r>
              <a:rPr kumimoji="0" lang="en-US" sz="1100" b="1" i="0" u="none" strike="noStrike" kern="0" cap="none" spc="0" normalizeH="0" baseline="0" noProof="0" dirty="0">
                <a:ln>
                  <a:noFill/>
                </a:ln>
                <a:solidFill>
                  <a:srgbClr val="1F1F1F"/>
                </a:solidFill>
                <a:effectLst/>
                <a:uLnTx/>
                <a:uFillTx/>
                <a:latin typeface="Gill Sans MT" panose="020B0502020104020203"/>
                <a:ea typeface="ＭＳ Ｐゴシック"/>
                <a:cs typeface="Arial" panose="020B0604020202020204" pitchFamily="34" charset="0"/>
              </a:rPr>
              <a:t> PHC (Govt) – Rural </a:t>
            </a:r>
          </a:p>
        </p:txBody>
      </p:sp>
      <p:sp>
        <p:nvSpPr>
          <p:cNvPr id="4" name="TextBox 3">
            <a:extLst>
              <a:ext uri="{FF2B5EF4-FFF2-40B4-BE49-F238E27FC236}">
                <a16:creationId xmlns:a16="http://schemas.microsoft.com/office/drawing/2014/main" id="{C686B267-0899-1A23-B571-5B2A852DF728}"/>
              </a:ext>
            </a:extLst>
          </p:cNvPr>
          <p:cNvSpPr txBox="1"/>
          <p:nvPr/>
        </p:nvSpPr>
        <p:spPr>
          <a:xfrm>
            <a:off x="3815309" y="5396898"/>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 name="TextBox 4">
            <a:extLst>
              <a:ext uri="{FF2B5EF4-FFF2-40B4-BE49-F238E27FC236}">
                <a16:creationId xmlns:a16="http://schemas.microsoft.com/office/drawing/2014/main" id="{40128121-867C-8859-37A2-04E8312102F4}"/>
              </a:ext>
            </a:extLst>
          </p:cNvPr>
          <p:cNvSpPr txBox="1"/>
          <p:nvPr/>
        </p:nvSpPr>
        <p:spPr>
          <a:xfrm>
            <a:off x="5213501" y="5396898"/>
            <a:ext cx="1302649" cy="248278"/>
          </a:xfrm>
          <a:prstGeom prst="rect">
            <a:avLst/>
          </a:prstGeom>
          <a:no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 name="TextBox 5">
            <a:extLst>
              <a:ext uri="{FF2B5EF4-FFF2-40B4-BE49-F238E27FC236}">
                <a16:creationId xmlns:a16="http://schemas.microsoft.com/office/drawing/2014/main" id="{C4650EAE-B942-5C0F-4DD2-EAC22480E3F0}"/>
              </a:ext>
            </a:extLst>
          </p:cNvPr>
          <p:cNvSpPr txBox="1"/>
          <p:nvPr/>
        </p:nvSpPr>
        <p:spPr>
          <a:xfrm>
            <a:off x="6611693" y="539689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 name="TextBox 6">
            <a:extLst>
              <a:ext uri="{FF2B5EF4-FFF2-40B4-BE49-F238E27FC236}">
                <a16:creationId xmlns:a16="http://schemas.microsoft.com/office/drawing/2014/main" id="{ED7EF3D8-E29E-F581-C754-70E527A7F8D8}"/>
              </a:ext>
            </a:extLst>
          </p:cNvPr>
          <p:cNvSpPr txBox="1"/>
          <p:nvPr/>
        </p:nvSpPr>
        <p:spPr>
          <a:xfrm>
            <a:off x="9408078" y="5396898"/>
            <a:ext cx="1302649" cy="248278"/>
          </a:xfrm>
          <a:prstGeom prst="rect">
            <a:avLst/>
          </a:prstGeom>
          <a:solidFill>
            <a:srgbClr val="892064"/>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 name="TextBox 7">
            <a:extLst>
              <a:ext uri="{FF2B5EF4-FFF2-40B4-BE49-F238E27FC236}">
                <a16:creationId xmlns:a16="http://schemas.microsoft.com/office/drawing/2014/main" id="{EB8981E5-65EA-9799-942A-4584FD95A93A}"/>
              </a:ext>
            </a:extLst>
          </p:cNvPr>
          <p:cNvSpPr txBox="1"/>
          <p:nvPr/>
        </p:nvSpPr>
        <p:spPr>
          <a:xfrm>
            <a:off x="8009886" y="5396898"/>
            <a:ext cx="1302649"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 name="TextBox 8">
            <a:extLst>
              <a:ext uri="{FF2B5EF4-FFF2-40B4-BE49-F238E27FC236}">
                <a16:creationId xmlns:a16="http://schemas.microsoft.com/office/drawing/2014/main" id="{00A3B137-DB8E-863A-4430-60AEC1C338FA}"/>
              </a:ext>
            </a:extLst>
          </p:cNvPr>
          <p:cNvSpPr txBox="1"/>
          <p:nvPr/>
        </p:nvSpPr>
        <p:spPr>
          <a:xfrm>
            <a:off x="10806270" y="5396898"/>
            <a:ext cx="1303216" cy="248278"/>
          </a:xfrm>
          <a:prstGeom prst="rect">
            <a:avLst/>
          </a:prstGeom>
          <a:solidFill>
            <a:srgbClr val="FFFFFF"/>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541269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8" name="think-cell data - do not delete" hidden="1">
            <a:extLst>
              <a:ext uri="{FF2B5EF4-FFF2-40B4-BE49-F238E27FC236}">
                <a16:creationId xmlns:a16="http://schemas.microsoft.com/office/drawing/2014/main" id="{A5E834F9-08DA-9D99-B987-7D4AD2E685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88" name="think-cell data - do not delete" hidden="1">
                        <a:extLst>
                          <a:ext uri="{FF2B5EF4-FFF2-40B4-BE49-F238E27FC236}">
                            <a16:creationId xmlns:a16="http://schemas.microsoft.com/office/drawing/2014/main" id="{A5E834F9-08DA-9D99-B987-7D4AD2E685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92590A-E413-9A3D-5B0A-382E8FA4A4E4}"/>
              </a:ext>
            </a:extLst>
          </p:cNvPr>
          <p:cNvSpPr>
            <a:spLocks noGrp="1"/>
          </p:cNvSpPr>
          <p:nvPr>
            <p:ph type="title"/>
          </p:nvPr>
        </p:nvSpPr>
        <p:spPr>
          <a:xfrm>
            <a:off x="462501" y="195915"/>
            <a:ext cx="11270299" cy="769286"/>
          </a:xfrm>
        </p:spPr>
        <p:txBody>
          <a:bodyPr vert="horz">
            <a:noAutofit/>
          </a:bodyPr>
          <a:lstStyle/>
          <a:p>
            <a:pPr algn="l"/>
            <a:r>
              <a:rPr lang="en-US" sz="2300" dirty="0"/>
              <a:t>Despite the higher cost of services at urban PHC facilities….</a:t>
            </a:r>
            <a:endParaRPr lang="en-GB" sz="2300" dirty="0"/>
          </a:p>
        </p:txBody>
      </p:sp>
      <p:sp>
        <p:nvSpPr>
          <p:cNvPr id="120" name="Rectangle 119">
            <a:extLst>
              <a:ext uri="{FF2B5EF4-FFF2-40B4-BE49-F238E27FC236}">
                <a16:creationId xmlns:a16="http://schemas.microsoft.com/office/drawing/2014/main" id="{AD8F1895-DAF7-A400-CEBE-190D270C0F51}"/>
              </a:ext>
            </a:extLst>
          </p:cNvPr>
          <p:cNvSpPr/>
          <p:nvPr/>
        </p:nvSpPr>
        <p:spPr>
          <a:xfrm>
            <a:off x="48008" y="3596999"/>
            <a:ext cx="1287418" cy="632744"/>
          </a:xfrm>
          <a:prstGeom prst="rect">
            <a:avLst/>
          </a:prstGeom>
          <a:solidFill>
            <a:srgbClr val="E0EDFD">
              <a:lumMod val="90000"/>
            </a:srgbClr>
          </a:solid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rPr>
              <a:t>Private Rural </a:t>
            </a:r>
          </a:p>
        </p:txBody>
      </p:sp>
      <p:sp>
        <p:nvSpPr>
          <p:cNvPr id="121" name="Rectangle 120">
            <a:extLst>
              <a:ext uri="{FF2B5EF4-FFF2-40B4-BE49-F238E27FC236}">
                <a16:creationId xmlns:a16="http://schemas.microsoft.com/office/drawing/2014/main" id="{3C0671D9-3079-738D-F896-EB912C321938}"/>
              </a:ext>
            </a:extLst>
          </p:cNvPr>
          <p:cNvSpPr/>
          <p:nvPr/>
        </p:nvSpPr>
        <p:spPr>
          <a:xfrm>
            <a:off x="48008" y="5094299"/>
            <a:ext cx="1287418" cy="632744"/>
          </a:xfrm>
          <a:prstGeom prst="rect">
            <a:avLst/>
          </a:prstGeom>
          <a:solidFill>
            <a:srgbClr val="E0EDFD">
              <a:lumMod val="25000"/>
            </a:srgbClr>
          </a:solid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Private Urban </a:t>
            </a:r>
          </a:p>
        </p:txBody>
      </p:sp>
      <p:sp>
        <p:nvSpPr>
          <p:cNvPr id="122" name="Rectangle 121">
            <a:extLst>
              <a:ext uri="{FF2B5EF4-FFF2-40B4-BE49-F238E27FC236}">
                <a16:creationId xmlns:a16="http://schemas.microsoft.com/office/drawing/2014/main" id="{2CFC21E8-5C85-BFC6-DBEA-3F157AFE9581}"/>
              </a:ext>
            </a:extLst>
          </p:cNvPr>
          <p:cNvSpPr/>
          <p:nvPr/>
        </p:nvSpPr>
        <p:spPr>
          <a:xfrm>
            <a:off x="48008" y="4345150"/>
            <a:ext cx="1287418" cy="632744"/>
          </a:xfrm>
          <a:prstGeom prst="rect">
            <a:avLst/>
          </a:prstGeom>
          <a:solidFill>
            <a:srgbClr val="E0EDFD">
              <a:lumMod val="90000"/>
            </a:srgbClr>
          </a:solid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rPr>
              <a:t>Private Urban </a:t>
            </a:r>
          </a:p>
        </p:txBody>
      </p:sp>
      <p:sp>
        <p:nvSpPr>
          <p:cNvPr id="124" name="Rectangle 123">
            <a:extLst>
              <a:ext uri="{FF2B5EF4-FFF2-40B4-BE49-F238E27FC236}">
                <a16:creationId xmlns:a16="http://schemas.microsoft.com/office/drawing/2014/main" id="{92937A40-17A9-599E-DB71-0CD015BBC629}"/>
              </a:ext>
            </a:extLst>
          </p:cNvPr>
          <p:cNvSpPr/>
          <p:nvPr/>
        </p:nvSpPr>
        <p:spPr>
          <a:xfrm>
            <a:off x="48008" y="2848184"/>
            <a:ext cx="1287418" cy="632744"/>
          </a:xfrm>
          <a:prstGeom prst="rect">
            <a:avLst/>
          </a:prstGeom>
          <a:solidFill>
            <a:srgbClr val="E0EDFD">
              <a:lumMod val="90000"/>
            </a:srgbClr>
          </a:solid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rPr>
              <a:t>Govt Rural </a:t>
            </a:r>
          </a:p>
        </p:txBody>
      </p:sp>
      <p:sp>
        <p:nvSpPr>
          <p:cNvPr id="125" name="AutoShape 10">
            <a:extLst>
              <a:ext uri="{FF2B5EF4-FFF2-40B4-BE49-F238E27FC236}">
                <a16:creationId xmlns:a16="http://schemas.microsoft.com/office/drawing/2014/main" id="{04EDA7C8-FFB1-F92C-F97F-44ACED91189B}"/>
              </a:ext>
            </a:extLst>
          </p:cNvPr>
          <p:cNvSpPr>
            <a:spLocks noChangeArrowheads="1"/>
          </p:cNvSpPr>
          <p:nvPr/>
        </p:nvSpPr>
        <p:spPr bwMode="gray">
          <a:xfrm>
            <a:off x="48008" y="1451979"/>
            <a:ext cx="1287418" cy="1272026"/>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Health Facilities </a:t>
            </a:r>
          </a:p>
        </p:txBody>
      </p:sp>
      <p:sp>
        <p:nvSpPr>
          <p:cNvPr id="126" name="AutoShape 10">
            <a:extLst>
              <a:ext uri="{FF2B5EF4-FFF2-40B4-BE49-F238E27FC236}">
                <a16:creationId xmlns:a16="http://schemas.microsoft.com/office/drawing/2014/main" id="{54C3AC78-1CC0-063E-05C6-FD0EFDC0BB0A}"/>
              </a:ext>
            </a:extLst>
          </p:cNvPr>
          <p:cNvSpPr>
            <a:spLocks noChangeArrowheads="1"/>
          </p:cNvSpPr>
          <p:nvPr/>
        </p:nvSpPr>
        <p:spPr bwMode="gray">
          <a:xfrm>
            <a:off x="1410129"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General consultation </a:t>
            </a:r>
          </a:p>
        </p:txBody>
      </p:sp>
      <p:sp>
        <p:nvSpPr>
          <p:cNvPr id="127" name="AutoShape 10">
            <a:extLst>
              <a:ext uri="{FF2B5EF4-FFF2-40B4-BE49-F238E27FC236}">
                <a16:creationId xmlns:a16="http://schemas.microsoft.com/office/drawing/2014/main" id="{B805F350-BA8E-7731-D01A-35C203A4C385}"/>
              </a:ext>
            </a:extLst>
          </p:cNvPr>
          <p:cNvSpPr>
            <a:spLocks noChangeArrowheads="1"/>
          </p:cNvSpPr>
          <p:nvPr/>
        </p:nvSpPr>
        <p:spPr bwMode="gray">
          <a:xfrm>
            <a:off x="3973320"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ANC Visit </a:t>
            </a:r>
          </a:p>
        </p:txBody>
      </p:sp>
      <p:sp>
        <p:nvSpPr>
          <p:cNvPr id="128" name="AutoShape 10">
            <a:extLst>
              <a:ext uri="{FF2B5EF4-FFF2-40B4-BE49-F238E27FC236}">
                <a16:creationId xmlns:a16="http://schemas.microsoft.com/office/drawing/2014/main" id="{75B1BE20-FAF3-9580-839F-770ABE0C9357}"/>
              </a:ext>
            </a:extLst>
          </p:cNvPr>
          <p:cNvSpPr>
            <a:spLocks noChangeArrowheads="1"/>
          </p:cNvSpPr>
          <p:nvPr/>
        </p:nvSpPr>
        <p:spPr bwMode="gray">
          <a:xfrm>
            <a:off x="1410129"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 $1.09 - $2.17</a:t>
            </a:r>
          </a:p>
        </p:txBody>
      </p:sp>
      <p:sp>
        <p:nvSpPr>
          <p:cNvPr id="129" name="AutoShape 10">
            <a:extLst>
              <a:ext uri="{FF2B5EF4-FFF2-40B4-BE49-F238E27FC236}">
                <a16:creationId xmlns:a16="http://schemas.microsoft.com/office/drawing/2014/main" id="{C5E74E85-720A-10F5-66ED-BD45143AF7E8}"/>
              </a:ext>
            </a:extLst>
          </p:cNvPr>
          <p:cNvSpPr>
            <a:spLocks noChangeArrowheads="1"/>
          </p:cNvSpPr>
          <p:nvPr/>
        </p:nvSpPr>
        <p:spPr bwMode="gray">
          <a:xfrm>
            <a:off x="1410129"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1.09</a:t>
            </a:r>
          </a:p>
        </p:txBody>
      </p:sp>
      <p:sp>
        <p:nvSpPr>
          <p:cNvPr id="130" name="AutoShape 10">
            <a:extLst>
              <a:ext uri="{FF2B5EF4-FFF2-40B4-BE49-F238E27FC236}">
                <a16:creationId xmlns:a16="http://schemas.microsoft.com/office/drawing/2014/main" id="{792108BF-55C1-A57C-68A9-5F3372F461EA}"/>
              </a:ext>
            </a:extLst>
          </p:cNvPr>
          <p:cNvSpPr>
            <a:spLocks noChangeArrowheads="1"/>
          </p:cNvSpPr>
          <p:nvPr/>
        </p:nvSpPr>
        <p:spPr bwMode="gray">
          <a:xfrm>
            <a:off x="1410129"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a:t>
            </a:r>
          </a:p>
        </p:txBody>
      </p:sp>
      <p:sp>
        <p:nvSpPr>
          <p:cNvPr id="131" name="AutoShape 10">
            <a:extLst>
              <a:ext uri="{FF2B5EF4-FFF2-40B4-BE49-F238E27FC236}">
                <a16:creationId xmlns:a16="http://schemas.microsoft.com/office/drawing/2014/main" id="{F28F98F6-6213-D6AB-BC10-F26FCBAD0A8B}"/>
              </a:ext>
            </a:extLst>
          </p:cNvPr>
          <p:cNvSpPr>
            <a:spLocks noChangeArrowheads="1"/>
          </p:cNvSpPr>
          <p:nvPr/>
        </p:nvSpPr>
        <p:spPr bwMode="gray">
          <a:xfrm>
            <a:off x="1410129"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10.87</a:t>
            </a:r>
          </a:p>
        </p:txBody>
      </p:sp>
      <p:sp>
        <p:nvSpPr>
          <p:cNvPr id="133" name="AutoShape 10">
            <a:extLst>
              <a:ext uri="{FF2B5EF4-FFF2-40B4-BE49-F238E27FC236}">
                <a16:creationId xmlns:a16="http://schemas.microsoft.com/office/drawing/2014/main" id="{F5923C0D-CAC9-CF44-D6F1-76E91F54E893}"/>
              </a:ext>
            </a:extLst>
          </p:cNvPr>
          <p:cNvSpPr>
            <a:spLocks noChangeArrowheads="1"/>
          </p:cNvSpPr>
          <p:nvPr/>
        </p:nvSpPr>
        <p:spPr bwMode="gray">
          <a:xfrm>
            <a:off x="2659429"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Speciali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consultation </a:t>
            </a:r>
          </a:p>
        </p:txBody>
      </p:sp>
      <p:sp>
        <p:nvSpPr>
          <p:cNvPr id="134" name="AutoShape 10">
            <a:extLst>
              <a:ext uri="{FF2B5EF4-FFF2-40B4-BE49-F238E27FC236}">
                <a16:creationId xmlns:a16="http://schemas.microsoft.com/office/drawing/2014/main" id="{77A49611-AEE1-29FE-D579-84276FFA1F77}"/>
              </a:ext>
            </a:extLst>
          </p:cNvPr>
          <p:cNvSpPr>
            <a:spLocks noChangeArrowheads="1"/>
          </p:cNvSpPr>
          <p:nvPr/>
        </p:nvSpPr>
        <p:spPr bwMode="gray">
          <a:xfrm>
            <a:off x="2659429"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17 - $10.87</a:t>
            </a:r>
          </a:p>
        </p:txBody>
      </p:sp>
      <p:sp>
        <p:nvSpPr>
          <p:cNvPr id="135" name="AutoShape 10">
            <a:extLst>
              <a:ext uri="{FF2B5EF4-FFF2-40B4-BE49-F238E27FC236}">
                <a16:creationId xmlns:a16="http://schemas.microsoft.com/office/drawing/2014/main" id="{406A6571-D3AE-1ABC-1B31-C5FCDDED5573}"/>
              </a:ext>
            </a:extLst>
          </p:cNvPr>
          <p:cNvSpPr>
            <a:spLocks noChangeArrowheads="1"/>
          </p:cNvSpPr>
          <p:nvPr/>
        </p:nvSpPr>
        <p:spPr bwMode="gray">
          <a:xfrm>
            <a:off x="2659429"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10.87</a:t>
            </a:r>
          </a:p>
        </p:txBody>
      </p:sp>
      <p:sp>
        <p:nvSpPr>
          <p:cNvPr id="136" name="AutoShape 10">
            <a:extLst>
              <a:ext uri="{FF2B5EF4-FFF2-40B4-BE49-F238E27FC236}">
                <a16:creationId xmlns:a16="http://schemas.microsoft.com/office/drawing/2014/main" id="{018B8AED-78CA-9404-95E4-E1FE29835F38}"/>
              </a:ext>
            </a:extLst>
          </p:cNvPr>
          <p:cNvSpPr>
            <a:spLocks noChangeArrowheads="1"/>
          </p:cNvSpPr>
          <p:nvPr/>
        </p:nvSpPr>
        <p:spPr bwMode="gray">
          <a:xfrm>
            <a:off x="2659429"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Refer</a:t>
            </a:r>
          </a:p>
        </p:txBody>
      </p:sp>
      <p:sp>
        <p:nvSpPr>
          <p:cNvPr id="137" name="AutoShape 10">
            <a:extLst>
              <a:ext uri="{FF2B5EF4-FFF2-40B4-BE49-F238E27FC236}">
                <a16:creationId xmlns:a16="http://schemas.microsoft.com/office/drawing/2014/main" id="{43C348CE-5F55-4DAB-C5D6-FFB75819E45B}"/>
              </a:ext>
            </a:extLst>
          </p:cNvPr>
          <p:cNvSpPr>
            <a:spLocks noChangeArrowheads="1"/>
          </p:cNvSpPr>
          <p:nvPr/>
        </p:nvSpPr>
        <p:spPr bwMode="gray">
          <a:xfrm>
            <a:off x="2659429"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17 - $10.87</a:t>
            </a:r>
          </a:p>
        </p:txBody>
      </p:sp>
      <p:sp>
        <p:nvSpPr>
          <p:cNvPr id="139" name="AutoShape 10">
            <a:extLst>
              <a:ext uri="{FF2B5EF4-FFF2-40B4-BE49-F238E27FC236}">
                <a16:creationId xmlns:a16="http://schemas.microsoft.com/office/drawing/2014/main" id="{08975EAF-07FC-188B-3E93-B8311E697AE6}"/>
              </a:ext>
            </a:extLst>
          </p:cNvPr>
          <p:cNvSpPr>
            <a:spLocks noChangeArrowheads="1"/>
          </p:cNvSpPr>
          <p:nvPr/>
        </p:nvSpPr>
        <p:spPr bwMode="gray">
          <a:xfrm>
            <a:off x="3973320"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a:t>
            </a:r>
          </a:p>
        </p:txBody>
      </p:sp>
      <p:sp>
        <p:nvSpPr>
          <p:cNvPr id="140" name="AutoShape 10">
            <a:extLst>
              <a:ext uri="{FF2B5EF4-FFF2-40B4-BE49-F238E27FC236}">
                <a16:creationId xmlns:a16="http://schemas.microsoft.com/office/drawing/2014/main" id="{D17C4BB7-630A-C225-1907-636B720A824E}"/>
              </a:ext>
            </a:extLst>
          </p:cNvPr>
          <p:cNvSpPr>
            <a:spLocks noChangeArrowheads="1"/>
          </p:cNvSpPr>
          <p:nvPr/>
        </p:nvSpPr>
        <p:spPr bwMode="gray">
          <a:xfrm>
            <a:off x="3973320"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3.26</a:t>
            </a:r>
          </a:p>
        </p:txBody>
      </p:sp>
      <p:sp>
        <p:nvSpPr>
          <p:cNvPr id="141" name="AutoShape 10">
            <a:extLst>
              <a:ext uri="{FF2B5EF4-FFF2-40B4-BE49-F238E27FC236}">
                <a16:creationId xmlns:a16="http://schemas.microsoft.com/office/drawing/2014/main" id="{D429CDFA-6EEC-0E23-B45D-EC07EA8ACF89}"/>
              </a:ext>
            </a:extLst>
          </p:cNvPr>
          <p:cNvSpPr>
            <a:spLocks noChangeArrowheads="1"/>
          </p:cNvSpPr>
          <p:nvPr/>
        </p:nvSpPr>
        <p:spPr bwMode="gray">
          <a:xfrm>
            <a:off x="3973320"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a:t>
            </a:r>
          </a:p>
        </p:txBody>
      </p:sp>
      <p:sp>
        <p:nvSpPr>
          <p:cNvPr id="142" name="AutoShape 10">
            <a:extLst>
              <a:ext uri="{FF2B5EF4-FFF2-40B4-BE49-F238E27FC236}">
                <a16:creationId xmlns:a16="http://schemas.microsoft.com/office/drawing/2014/main" id="{4F16E261-7436-6467-E9B6-EBCEBF98510B}"/>
              </a:ext>
            </a:extLst>
          </p:cNvPr>
          <p:cNvSpPr>
            <a:spLocks noChangeArrowheads="1"/>
          </p:cNvSpPr>
          <p:nvPr/>
        </p:nvSpPr>
        <p:spPr bwMode="gray">
          <a:xfrm>
            <a:off x="3973320"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2.17</a:t>
            </a:r>
          </a:p>
        </p:txBody>
      </p:sp>
      <p:cxnSp>
        <p:nvCxnSpPr>
          <p:cNvPr id="145" name="Straight Connector 144">
            <a:extLst>
              <a:ext uri="{FF2B5EF4-FFF2-40B4-BE49-F238E27FC236}">
                <a16:creationId xmlns:a16="http://schemas.microsoft.com/office/drawing/2014/main" id="{F7FCF08D-5363-0FF8-219F-6FD3A28699F4}"/>
              </a:ext>
            </a:extLst>
          </p:cNvPr>
          <p:cNvCxnSpPr>
            <a:cxnSpLocks/>
          </p:cNvCxnSpPr>
          <p:nvPr/>
        </p:nvCxnSpPr>
        <p:spPr>
          <a:xfrm flipH="1">
            <a:off x="2594404" y="1927776"/>
            <a:ext cx="0" cy="3840480"/>
          </a:xfrm>
          <a:prstGeom prst="line">
            <a:avLst/>
          </a:prstGeom>
          <a:noFill/>
          <a:ln w="9525" cap="flat" cmpd="sng" algn="ctr">
            <a:solidFill>
              <a:srgbClr val="FFFFFF">
                <a:lumMod val="75000"/>
              </a:srgbClr>
            </a:solidFill>
            <a:prstDash val="solid"/>
          </a:ln>
          <a:effectLst/>
        </p:spPr>
      </p:cxnSp>
      <p:cxnSp>
        <p:nvCxnSpPr>
          <p:cNvPr id="146" name="Straight Connector 145">
            <a:extLst>
              <a:ext uri="{FF2B5EF4-FFF2-40B4-BE49-F238E27FC236}">
                <a16:creationId xmlns:a16="http://schemas.microsoft.com/office/drawing/2014/main" id="{97673B22-272B-DD44-A621-88E9B8B7855C}"/>
              </a:ext>
            </a:extLst>
          </p:cNvPr>
          <p:cNvCxnSpPr>
            <a:cxnSpLocks/>
          </p:cNvCxnSpPr>
          <p:nvPr/>
        </p:nvCxnSpPr>
        <p:spPr>
          <a:xfrm flipH="1">
            <a:off x="3880471" y="1927776"/>
            <a:ext cx="0" cy="3840480"/>
          </a:xfrm>
          <a:prstGeom prst="line">
            <a:avLst/>
          </a:prstGeom>
          <a:noFill/>
          <a:ln w="9525" cap="flat" cmpd="sng" algn="ctr">
            <a:solidFill>
              <a:srgbClr val="FFFFFF">
                <a:lumMod val="75000"/>
              </a:srgbClr>
            </a:solidFill>
            <a:prstDash val="solid"/>
          </a:ln>
          <a:effectLst/>
        </p:spPr>
      </p:cxnSp>
      <p:sp>
        <p:nvSpPr>
          <p:cNvPr id="147" name="AutoShape 10">
            <a:extLst>
              <a:ext uri="{FF2B5EF4-FFF2-40B4-BE49-F238E27FC236}">
                <a16:creationId xmlns:a16="http://schemas.microsoft.com/office/drawing/2014/main" id="{F5DB2542-5989-E069-4A72-EFF4612F1A49}"/>
              </a:ext>
            </a:extLst>
          </p:cNvPr>
          <p:cNvSpPr>
            <a:spLocks noChangeArrowheads="1"/>
          </p:cNvSpPr>
          <p:nvPr/>
        </p:nvSpPr>
        <p:spPr bwMode="gray">
          <a:xfrm>
            <a:off x="5266732"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Normal Delivery</a:t>
            </a:r>
          </a:p>
        </p:txBody>
      </p:sp>
      <p:sp>
        <p:nvSpPr>
          <p:cNvPr id="148" name="AutoShape 10">
            <a:extLst>
              <a:ext uri="{FF2B5EF4-FFF2-40B4-BE49-F238E27FC236}">
                <a16:creationId xmlns:a16="http://schemas.microsoft.com/office/drawing/2014/main" id="{A9A2EDDE-862B-D153-4D4F-0B7B6B49A075}"/>
              </a:ext>
            </a:extLst>
          </p:cNvPr>
          <p:cNvSpPr>
            <a:spLocks noChangeArrowheads="1"/>
          </p:cNvSpPr>
          <p:nvPr/>
        </p:nvSpPr>
        <p:spPr bwMode="gray">
          <a:xfrm>
            <a:off x="6541237"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C- Section </a:t>
            </a:r>
            <a:endParaRPr kumimoji="0" lang="en-US" sz="1400" b="1" i="0" u="none" strike="noStrike" kern="0" cap="none" spc="0" normalizeH="0" baseline="30000" noProof="0" dirty="0">
              <a:ln>
                <a:noFill/>
              </a:ln>
              <a:solidFill>
                <a:srgbClr val="FFFFFF"/>
              </a:solidFill>
              <a:effectLst/>
              <a:uLnTx/>
              <a:uFillTx/>
              <a:latin typeface="Gill Sans MT" panose="020B0502020104020203"/>
              <a:ea typeface="+mn-ea"/>
              <a:cs typeface="+mn-cs"/>
            </a:endParaRPr>
          </a:p>
        </p:txBody>
      </p:sp>
      <p:sp>
        <p:nvSpPr>
          <p:cNvPr id="149" name="AutoShape 10">
            <a:extLst>
              <a:ext uri="{FF2B5EF4-FFF2-40B4-BE49-F238E27FC236}">
                <a16:creationId xmlns:a16="http://schemas.microsoft.com/office/drawing/2014/main" id="{5F5DDA8D-2405-8372-D4D0-7D576F99BCF5}"/>
              </a:ext>
            </a:extLst>
          </p:cNvPr>
          <p:cNvSpPr>
            <a:spLocks noChangeArrowheads="1"/>
          </p:cNvSpPr>
          <p:nvPr/>
        </p:nvSpPr>
        <p:spPr bwMode="gray">
          <a:xfrm>
            <a:off x="5266732"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32.61 - $43.48</a:t>
            </a:r>
          </a:p>
        </p:txBody>
      </p:sp>
      <p:sp>
        <p:nvSpPr>
          <p:cNvPr id="150" name="AutoShape 10">
            <a:extLst>
              <a:ext uri="{FF2B5EF4-FFF2-40B4-BE49-F238E27FC236}">
                <a16:creationId xmlns:a16="http://schemas.microsoft.com/office/drawing/2014/main" id="{16D202B2-57E4-AED5-8D70-117F2FB45EA8}"/>
              </a:ext>
            </a:extLst>
          </p:cNvPr>
          <p:cNvSpPr>
            <a:spLocks noChangeArrowheads="1"/>
          </p:cNvSpPr>
          <p:nvPr/>
        </p:nvSpPr>
        <p:spPr bwMode="gray">
          <a:xfrm>
            <a:off x="5266732"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87 - $16.30</a:t>
            </a:r>
          </a:p>
        </p:txBody>
      </p:sp>
      <p:sp>
        <p:nvSpPr>
          <p:cNvPr id="151" name="AutoShape 10">
            <a:extLst>
              <a:ext uri="{FF2B5EF4-FFF2-40B4-BE49-F238E27FC236}">
                <a16:creationId xmlns:a16="http://schemas.microsoft.com/office/drawing/2014/main" id="{15F77D56-BA8F-7336-4D24-BD4EDD971D4D}"/>
              </a:ext>
            </a:extLst>
          </p:cNvPr>
          <p:cNvSpPr>
            <a:spLocks noChangeArrowheads="1"/>
          </p:cNvSpPr>
          <p:nvPr/>
        </p:nvSpPr>
        <p:spPr bwMode="gray">
          <a:xfrm>
            <a:off x="5266732"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87</a:t>
            </a:r>
          </a:p>
        </p:txBody>
      </p:sp>
      <p:sp>
        <p:nvSpPr>
          <p:cNvPr id="152" name="AutoShape 10">
            <a:extLst>
              <a:ext uri="{FF2B5EF4-FFF2-40B4-BE49-F238E27FC236}">
                <a16:creationId xmlns:a16="http://schemas.microsoft.com/office/drawing/2014/main" id="{494E6CA1-09C0-E492-0DAA-15463D5C1B0F}"/>
              </a:ext>
            </a:extLst>
          </p:cNvPr>
          <p:cNvSpPr>
            <a:spLocks noChangeArrowheads="1"/>
          </p:cNvSpPr>
          <p:nvPr/>
        </p:nvSpPr>
        <p:spPr bwMode="gray">
          <a:xfrm>
            <a:off x="5266732"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32.61 - $43.48</a:t>
            </a:r>
          </a:p>
        </p:txBody>
      </p:sp>
      <p:sp>
        <p:nvSpPr>
          <p:cNvPr id="154" name="AutoShape 10">
            <a:extLst>
              <a:ext uri="{FF2B5EF4-FFF2-40B4-BE49-F238E27FC236}">
                <a16:creationId xmlns:a16="http://schemas.microsoft.com/office/drawing/2014/main" id="{42E8ACF4-07BE-9F0C-6AAB-5F22DD9D3C90}"/>
              </a:ext>
            </a:extLst>
          </p:cNvPr>
          <p:cNvSpPr>
            <a:spLocks noChangeArrowheads="1"/>
          </p:cNvSpPr>
          <p:nvPr/>
        </p:nvSpPr>
        <p:spPr bwMode="gray">
          <a:xfrm>
            <a:off x="6541237"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60.87 - $434.78</a:t>
            </a:r>
          </a:p>
        </p:txBody>
      </p:sp>
      <p:sp>
        <p:nvSpPr>
          <p:cNvPr id="155" name="AutoShape 10">
            <a:extLst>
              <a:ext uri="{FF2B5EF4-FFF2-40B4-BE49-F238E27FC236}">
                <a16:creationId xmlns:a16="http://schemas.microsoft.com/office/drawing/2014/main" id="{7EC78A6E-DD67-00D6-3D6A-A0F42175FBB6}"/>
              </a:ext>
            </a:extLst>
          </p:cNvPr>
          <p:cNvSpPr>
            <a:spLocks noChangeArrowheads="1"/>
          </p:cNvSpPr>
          <p:nvPr/>
        </p:nvSpPr>
        <p:spPr bwMode="gray">
          <a:xfrm>
            <a:off x="6541237"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60.87</a:t>
            </a:r>
          </a:p>
        </p:txBody>
      </p:sp>
      <p:sp>
        <p:nvSpPr>
          <p:cNvPr id="156" name="AutoShape 10">
            <a:extLst>
              <a:ext uri="{FF2B5EF4-FFF2-40B4-BE49-F238E27FC236}">
                <a16:creationId xmlns:a16="http://schemas.microsoft.com/office/drawing/2014/main" id="{D5CCC0EC-743E-D84E-4058-CBECE188AE68}"/>
              </a:ext>
            </a:extLst>
          </p:cNvPr>
          <p:cNvSpPr>
            <a:spLocks noChangeArrowheads="1"/>
          </p:cNvSpPr>
          <p:nvPr/>
        </p:nvSpPr>
        <p:spPr bwMode="gray">
          <a:xfrm>
            <a:off x="6541237"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Refer</a:t>
            </a:r>
          </a:p>
        </p:txBody>
      </p:sp>
      <p:sp>
        <p:nvSpPr>
          <p:cNvPr id="157" name="AutoShape 10">
            <a:extLst>
              <a:ext uri="{FF2B5EF4-FFF2-40B4-BE49-F238E27FC236}">
                <a16:creationId xmlns:a16="http://schemas.microsoft.com/office/drawing/2014/main" id="{47990C8C-D783-2AFD-1E2C-29B344FED378}"/>
              </a:ext>
            </a:extLst>
          </p:cNvPr>
          <p:cNvSpPr>
            <a:spLocks noChangeArrowheads="1"/>
          </p:cNvSpPr>
          <p:nvPr/>
        </p:nvSpPr>
        <p:spPr bwMode="gray">
          <a:xfrm>
            <a:off x="6541237"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260.87 </a:t>
            </a:r>
          </a:p>
        </p:txBody>
      </p:sp>
      <p:cxnSp>
        <p:nvCxnSpPr>
          <p:cNvPr id="159" name="Straight Connector 158">
            <a:extLst>
              <a:ext uri="{FF2B5EF4-FFF2-40B4-BE49-F238E27FC236}">
                <a16:creationId xmlns:a16="http://schemas.microsoft.com/office/drawing/2014/main" id="{4A5FEBB0-ABE9-0EF6-DFE2-0E77FB332019}"/>
              </a:ext>
            </a:extLst>
          </p:cNvPr>
          <p:cNvCxnSpPr>
            <a:cxnSpLocks/>
          </p:cNvCxnSpPr>
          <p:nvPr/>
        </p:nvCxnSpPr>
        <p:spPr>
          <a:xfrm flipH="1">
            <a:off x="5180484" y="1927776"/>
            <a:ext cx="0" cy="3840480"/>
          </a:xfrm>
          <a:prstGeom prst="line">
            <a:avLst/>
          </a:prstGeom>
          <a:noFill/>
          <a:ln w="9525" cap="flat" cmpd="sng" algn="ctr">
            <a:solidFill>
              <a:srgbClr val="FFFFFF">
                <a:lumMod val="75000"/>
              </a:srgbClr>
            </a:solidFill>
            <a:prstDash val="solid"/>
          </a:ln>
          <a:effectLst/>
        </p:spPr>
      </p:cxnSp>
      <p:cxnSp>
        <p:nvCxnSpPr>
          <p:cNvPr id="160" name="Straight Connector 159">
            <a:extLst>
              <a:ext uri="{FF2B5EF4-FFF2-40B4-BE49-F238E27FC236}">
                <a16:creationId xmlns:a16="http://schemas.microsoft.com/office/drawing/2014/main" id="{C576AB45-5D8C-77D4-E0F2-274F51ADF597}"/>
              </a:ext>
            </a:extLst>
          </p:cNvPr>
          <p:cNvCxnSpPr>
            <a:cxnSpLocks/>
          </p:cNvCxnSpPr>
          <p:nvPr/>
        </p:nvCxnSpPr>
        <p:spPr>
          <a:xfrm flipH="1">
            <a:off x="6466405" y="1927776"/>
            <a:ext cx="0" cy="3840480"/>
          </a:xfrm>
          <a:prstGeom prst="line">
            <a:avLst/>
          </a:prstGeom>
          <a:noFill/>
          <a:ln w="9525" cap="flat" cmpd="sng" algn="ctr">
            <a:solidFill>
              <a:srgbClr val="FFFFFF">
                <a:lumMod val="75000"/>
              </a:srgbClr>
            </a:solidFill>
            <a:prstDash val="solid"/>
          </a:ln>
          <a:effectLst/>
        </p:spPr>
      </p:cxnSp>
      <p:sp>
        <p:nvSpPr>
          <p:cNvPr id="161" name="AutoShape 10">
            <a:extLst>
              <a:ext uri="{FF2B5EF4-FFF2-40B4-BE49-F238E27FC236}">
                <a16:creationId xmlns:a16="http://schemas.microsoft.com/office/drawing/2014/main" id="{C0E6A1D3-3B5A-2D79-B2E8-134655CDBE46}"/>
              </a:ext>
            </a:extLst>
          </p:cNvPr>
          <p:cNvSpPr>
            <a:spLocks noChangeArrowheads="1"/>
          </p:cNvSpPr>
          <p:nvPr/>
        </p:nvSpPr>
        <p:spPr bwMode="gray">
          <a:xfrm>
            <a:off x="7842525"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Immunization </a:t>
            </a:r>
            <a:endParaRPr kumimoji="0" lang="en-US" sz="1400" b="1" i="0" u="none" strike="noStrike" kern="0" cap="none" spc="0" normalizeH="0" baseline="30000" noProof="0" dirty="0">
              <a:ln>
                <a:noFill/>
              </a:ln>
              <a:solidFill>
                <a:srgbClr val="FFFFFF"/>
              </a:solidFill>
              <a:effectLst/>
              <a:uLnTx/>
              <a:uFillTx/>
              <a:latin typeface="Gill Sans MT" panose="020B0502020104020203"/>
              <a:ea typeface="+mn-ea"/>
              <a:cs typeface="+mn-cs"/>
            </a:endParaRPr>
          </a:p>
        </p:txBody>
      </p:sp>
      <p:sp>
        <p:nvSpPr>
          <p:cNvPr id="162" name="AutoShape 10">
            <a:extLst>
              <a:ext uri="{FF2B5EF4-FFF2-40B4-BE49-F238E27FC236}">
                <a16:creationId xmlns:a16="http://schemas.microsoft.com/office/drawing/2014/main" id="{AB2A058F-87D2-15AB-23C4-80486D910662}"/>
              </a:ext>
            </a:extLst>
          </p:cNvPr>
          <p:cNvSpPr>
            <a:spLocks noChangeArrowheads="1"/>
          </p:cNvSpPr>
          <p:nvPr/>
        </p:nvSpPr>
        <p:spPr bwMode="gray">
          <a:xfrm>
            <a:off x="7842525"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0.44</a:t>
            </a:r>
          </a:p>
        </p:txBody>
      </p:sp>
      <p:sp>
        <p:nvSpPr>
          <p:cNvPr id="163" name="AutoShape 10">
            <a:extLst>
              <a:ext uri="{FF2B5EF4-FFF2-40B4-BE49-F238E27FC236}">
                <a16:creationId xmlns:a16="http://schemas.microsoft.com/office/drawing/2014/main" id="{9BABE420-0D78-702D-8EFB-BE44B7992623}"/>
              </a:ext>
            </a:extLst>
          </p:cNvPr>
          <p:cNvSpPr>
            <a:spLocks noChangeArrowheads="1"/>
          </p:cNvSpPr>
          <p:nvPr/>
        </p:nvSpPr>
        <p:spPr bwMode="gray">
          <a:xfrm>
            <a:off x="7842525"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0.22</a:t>
            </a:r>
          </a:p>
        </p:txBody>
      </p:sp>
      <p:sp>
        <p:nvSpPr>
          <p:cNvPr id="164" name="AutoShape 10">
            <a:extLst>
              <a:ext uri="{FF2B5EF4-FFF2-40B4-BE49-F238E27FC236}">
                <a16:creationId xmlns:a16="http://schemas.microsoft.com/office/drawing/2014/main" id="{93A2B2AF-D2A6-8693-7C68-1F8C2B84C423}"/>
              </a:ext>
            </a:extLst>
          </p:cNvPr>
          <p:cNvSpPr>
            <a:spLocks noChangeArrowheads="1"/>
          </p:cNvSpPr>
          <p:nvPr/>
        </p:nvSpPr>
        <p:spPr bwMode="gray">
          <a:xfrm>
            <a:off x="7842525"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a:t>
            </a:r>
          </a:p>
        </p:txBody>
      </p:sp>
      <p:sp>
        <p:nvSpPr>
          <p:cNvPr id="165" name="AutoShape 10">
            <a:extLst>
              <a:ext uri="{FF2B5EF4-FFF2-40B4-BE49-F238E27FC236}">
                <a16:creationId xmlns:a16="http://schemas.microsoft.com/office/drawing/2014/main" id="{63AE3980-AAFA-AEB2-3CF5-C9EB1CD02408}"/>
              </a:ext>
            </a:extLst>
          </p:cNvPr>
          <p:cNvSpPr>
            <a:spLocks noChangeArrowheads="1"/>
          </p:cNvSpPr>
          <p:nvPr/>
        </p:nvSpPr>
        <p:spPr bwMode="gray">
          <a:xfrm>
            <a:off x="7842525"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 – $0.22</a:t>
            </a:r>
          </a:p>
        </p:txBody>
      </p:sp>
      <p:cxnSp>
        <p:nvCxnSpPr>
          <p:cNvPr id="167" name="Straight Connector 166">
            <a:extLst>
              <a:ext uri="{FF2B5EF4-FFF2-40B4-BE49-F238E27FC236}">
                <a16:creationId xmlns:a16="http://schemas.microsoft.com/office/drawing/2014/main" id="{D88AFE98-1F02-3E8C-583B-CE74ECE47541}"/>
              </a:ext>
            </a:extLst>
          </p:cNvPr>
          <p:cNvCxnSpPr>
            <a:cxnSpLocks/>
          </p:cNvCxnSpPr>
          <p:nvPr/>
        </p:nvCxnSpPr>
        <p:spPr>
          <a:xfrm flipH="1">
            <a:off x="7759483" y="1927776"/>
            <a:ext cx="0" cy="3840480"/>
          </a:xfrm>
          <a:prstGeom prst="line">
            <a:avLst/>
          </a:prstGeom>
          <a:noFill/>
          <a:ln w="9525" cap="flat" cmpd="sng" algn="ctr">
            <a:solidFill>
              <a:srgbClr val="FFFFFF">
                <a:lumMod val="75000"/>
              </a:srgbClr>
            </a:solidFill>
            <a:prstDash val="solid"/>
          </a:ln>
          <a:effectLst/>
        </p:spPr>
      </p:cxnSp>
      <p:sp>
        <p:nvSpPr>
          <p:cNvPr id="168" name="AutoShape 10">
            <a:extLst>
              <a:ext uri="{FF2B5EF4-FFF2-40B4-BE49-F238E27FC236}">
                <a16:creationId xmlns:a16="http://schemas.microsoft.com/office/drawing/2014/main" id="{F22AA860-61F3-A7C1-C295-3F238723C3A1}"/>
              </a:ext>
            </a:extLst>
          </p:cNvPr>
          <p:cNvSpPr>
            <a:spLocks noChangeArrowheads="1"/>
          </p:cNvSpPr>
          <p:nvPr/>
        </p:nvSpPr>
        <p:spPr bwMode="gray">
          <a:xfrm>
            <a:off x="9153267" y="1980812"/>
            <a:ext cx="1117970" cy="663784"/>
          </a:xfrm>
          <a:prstGeom prst="leftRightArrow">
            <a:avLst>
              <a:gd name="adj1" fmla="val 100000"/>
              <a:gd name="adj2" fmla="val 0"/>
            </a:avLst>
          </a:prstGeom>
          <a:solidFill>
            <a:srgbClr val="77ADAB"/>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mn-cs"/>
              </a:rPr>
              <a:t>Malaria Test </a:t>
            </a:r>
            <a:endParaRPr kumimoji="0" lang="en-US" sz="1400" b="1" i="0" u="none" strike="noStrike" kern="0" cap="none" spc="0" normalizeH="0" baseline="30000" noProof="0" dirty="0">
              <a:ln>
                <a:noFill/>
              </a:ln>
              <a:solidFill>
                <a:srgbClr val="FFFFFF"/>
              </a:solidFill>
              <a:effectLst/>
              <a:uLnTx/>
              <a:uFillTx/>
              <a:latin typeface="Gill Sans MT" panose="020B0502020104020203"/>
              <a:ea typeface="+mn-ea"/>
              <a:cs typeface="+mn-cs"/>
            </a:endParaRPr>
          </a:p>
        </p:txBody>
      </p:sp>
      <p:sp>
        <p:nvSpPr>
          <p:cNvPr id="169" name="AutoShape 10">
            <a:extLst>
              <a:ext uri="{FF2B5EF4-FFF2-40B4-BE49-F238E27FC236}">
                <a16:creationId xmlns:a16="http://schemas.microsoft.com/office/drawing/2014/main" id="{2994A8ED-FAD5-D876-55E6-04CC8B9F040D}"/>
              </a:ext>
            </a:extLst>
          </p:cNvPr>
          <p:cNvSpPr>
            <a:spLocks noChangeArrowheads="1"/>
          </p:cNvSpPr>
          <p:nvPr/>
        </p:nvSpPr>
        <p:spPr bwMode="gray">
          <a:xfrm>
            <a:off x="9153267" y="5095034"/>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2.17</a:t>
            </a:r>
          </a:p>
        </p:txBody>
      </p:sp>
      <p:sp>
        <p:nvSpPr>
          <p:cNvPr id="170" name="AutoShape 10">
            <a:extLst>
              <a:ext uri="{FF2B5EF4-FFF2-40B4-BE49-F238E27FC236}">
                <a16:creationId xmlns:a16="http://schemas.microsoft.com/office/drawing/2014/main" id="{1697BABC-A212-7FCD-6C9F-AC94DF3D203F}"/>
              </a:ext>
            </a:extLst>
          </p:cNvPr>
          <p:cNvSpPr>
            <a:spLocks noChangeArrowheads="1"/>
          </p:cNvSpPr>
          <p:nvPr/>
        </p:nvSpPr>
        <p:spPr bwMode="gray">
          <a:xfrm>
            <a:off x="9153267" y="3596910"/>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2.17</a:t>
            </a:r>
          </a:p>
        </p:txBody>
      </p:sp>
      <p:sp>
        <p:nvSpPr>
          <p:cNvPr id="171" name="AutoShape 10">
            <a:extLst>
              <a:ext uri="{FF2B5EF4-FFF2-40B4-BE49-F238E27FC236}">
                <a16:creationId xmlns:a16="http://schemas.microsoft.com/office/drawing/2014/main" id="{69EAA265-8614-CF58-1A77-6815A050CAB9}"/>
              </a:ext>
            </a:extLst>
          </p:cNvPr>
          <p:cNvSpPr>
            <a:spLocks noChangeArrowheads="1"/>
          </p:cNvSpPr>
          <p:nvPr/>
        </p:nvSpPr>
        <p:spPr bwMode="gray">
          <a:xfrm>
            <a:off x="9153267" y="2847848"/>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Free</a:t>
            </a:r>
          </a:p>
        </p:txBody>
      </p:sp>
      <p:sp>
        <p:nvSpPr>
          <p:cNvPr id="172" name="AutoShape 10">
            <a:extLst>
              <a:ext uri="{FF2B5EF4-FFF2-40B4-BE49-F238E27FC236}">
                <a16:creationId xmlns:a16="http://schemas.microsoft.com/office/drawing/2014/main" id="{0A0B2C59-C918-0BD8-D7F7-C01BE66CBFF8}"/>
              </a:ext>
            </a:extLst>
          </p:cNvPr>
          <p:cNvSpPr>
            <a:spLocks noChangeArrowheads="1"/>
          </p:cNvSpPr>
          <p:nvPr/>
        </p:nvSpPr>
        <p:spPr bwMode="gray">
          <a:xfrm>
            <a:off x="9153267" y="4345972"/>
            <a:ext cx="1117970" cy="663784"/>
          </a:xfrm>
          <a:prstGeom prst="leftRightArrow">
            <a:avLst>
              <a:gd name="adj1" fmla="val 100000"/>
              <a:gd name="adj2" fmla="val 0"/>
            </a:avLst>
          </a:prstGeom>
          <a:noFill/>
          <a:ln w="9525">
            <a:solidFill>
              <a:srgbClr val="FFFFFF">
                <a:lumMod val="85000"/>
              </a:srgbClr>
            </a:solidFill>
            <a:miter lim="800000"/>
            <a:headEnd/>
            <a:tailEnd/>
          </a:ln>
          <a:effectLst/>
        </p:spPr>
        <p:txBody>
          <a:bodyPr vert="horz" wrap="square" lIns="9144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1.09 - $2.17</a:t>
            </a:r>
          </a:p>
        </p:txBody>
      </p:sp>
      <p:cxnSp>
        <p:nvCxnSpPr>
          <p:cNvPr id="174" name="Straight Connector 173">
            <a:extLst>
              <a:ext uri="{FF2B5EF4-FFF2-40B4-BE49-F238E27FC236}">
                <a16:creationId xmlns:a16="http://schemas.microsoft.com/office/drawing/2014/main" id="{71BD1807-F2C6-8C16-84C5-CB238DFF647E}"/>
              </a:ext>
            </a:extLst>
          </p:cNvPr>
          <p:cNvCxnSpPr>
            <a:cxnSpLocks/>
          </p:cNvCxnSpPr>
          <p:nvPr/>
        </p:nvCxnSpPr>
        <p:spPr>
          <a:xfrm flipH="1">
            <a:off x="9054824" y="1927776"/>
            <a:ext cx="0" cy="3840480"/>
          </a:xfrm>
          <a:prstGeom prst="line">
            <a:avLst/>
          </a:prstGeom>
          <a:noFill/>
          <a:ln w="9525" cap="flat" cmpd="sng" algn="ctr">
            <a:solidFill>
              <a:srgbClr val="FFFFFF">
                <a:lumMod val="75000"/>
              </a:srgbClr>
            </a:solidFill>
            <a:prstDash val="solid"/>
          </a:ln>
          <a:effectLst/>
        </p:spPr>
      </p:cxnSp>
      <p:sp>
        <p:nvSpPr>
          <p:cNvPr id="175" name="AutoShape 10">
            <a:extLst>
              <a:ext uri="{FF2B5EF4-FFF2-40B4-BE49-F238E27FC236}">
                <a16:creationId xmlns:a16="http://schemas.microsoft.com/office/drawing/2014/main" id="{E83137FE-8A87-DACA-367A-DE4CFBB5F831}"/>
              </a:ext>
            </a:extLst>
          </p:cNvPr>
          <p:cNvSpPr>
            <a:spLocks noChangeArrowheads="1"/>
          </p:cNvSpPr>
          <p:nvPr/>
        </p:nvSpPr>
        <p:spPr bwMode="gray">
          <a:xfrm>
            <a:off x="1410127" y="1451979"/>
            <a:ext cx="8850600" cy="460028"/>
          </a:xfrm>
          <a:prstGeom prst="leftRightArrow">
            <a:avLst>
              <a:gd name="adj1" fmla="val 100000"/>
              <a:gd name="adj2" fmla="val 0"/>
            </a:avLst>
          </a:prstGeom>
          <a:solidFill>
            <a:srgbClr val="204024">
              <a:lumMod val="10000"/>
              <a:lumOff val="90000"/>
            </a:srgbClr>
          </a:solidFill>
          <a:ln>
            <a:noFill/>
          </a:ln>
          <a:effectLst>
            <a:outerShdw blurRad="50800" dist="38100" dir="2700000" algn="tl" rotWithShape="0">
              <a:prstClr val="black">
                <a:alpha val="40000"/>
              </a:prstClr>
            </a:outerShdw>
          </a:effectLst>
        </p:spPr>
        <p:txBody>
          <a:bodyPr wrap="square" lIns="45720" tIns="45720" rIns="45720" bIns="18288"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rPr>
              <a:t>Cost of Service </a:t>
            </a:r>
          </a:p>
        </p:txBody>
      </p:sp>
      <p:sp>
        <p:nvSpPr>
          <p:cNvPr id="176" name="Rectangle 175">
            <a:extLst>
              <a:ext uri="{FF2B5EF4-FFF2-40B4-BE49-F238E27FC236}">
                <a16:creationId xmlns:a16="http://schemas.microsoft.com/office/drawing/2014/main" id="{8DA9220A-67D2-4EE8-65D4-42FCA990775B}"/>
              </a:ext>
            </a:extLst>
          </p:cNvPr>
          <p:cNvSpPr/>
          <p:nvPr/>
        </p:nvSpPr>
        <p:spPr>
          <a:xfrm>
            <a:off x="10333868" y="1451979"/>
            <a:ext cx="1747490" cy="4306839"/>
          </a:xfrm>
          <a:prstGeom prst="rect">
            <a:avLst/>
          </a:prstGeom>
          <a:solidFill>
            <a:srgbClr val="FFFFFF">
              <a:lumMod val="95000"/>
            </a:srgbClr>
          </a:solidFill>
          <a:ln w="12700" cap="flat" cmpd="sng" algn="ctr">
            <a:noFill/>
            <a:prstDash val="solid"/>
          </a:ln>
          <a:effectLst>
            <a:outerShdw blurRad="50800" dist="38100" dir="2700000" algn="tl" rotWithShape="0">
              <a:prstClr val="black">
                <a:alpha val="40000"/>
              </a:prstClr>
            </a:outerShdw>
          </a:effectLst>
        </p:spPr>
        <p:txBody>
          <a:bodyPr wrap="square" lIns="91440" tIns="182880" rIns="91440" bIns="182880" anchor="ctr">
            <a:noAutofit/>
          </a:bodyPr>
          <a:lstStyle/>
          <a:p>
            <a:pPr marL="0" marR="0" lvl="1" indent="0" algn="l" defTabSz="896017" rtl="0" eaLnBrk="1" fontAlgn="auto" latinLnBrk="0" hangingPunct="1">
              <a:lnSpc>
                <a:spcPct val="100000"/>
              </a:lnSpc>
              <a:spcBef>
                <a:spcPts val="200"/>
              </a:spcBef>
              <a:spcAft>
                <a:spcPts val="200"/>
              </a:spcAft>
              <a:buClrTx/>
              <a:buSzPct val="100000"/>
              <a:buFontTx/>
              <a:buNone/>
              <a:tabLst/>
              <a:defRPr/>
            </a:pPr>
            <a:r>
              <a:rPr kumimoji="0" lang="en-GB" sz="1400" b="1" i="1"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Highlight</a:t>
            </a:r>
          </a:p>
          <a:p>
            <a:pPr marL="182880" marR="0" lvl="1" indent="-182880" algn="l" defTabSz="896017" rtl="0" eaLnBrk="1" fontAlgn="auto" latinLnBrk="0" hangingPunct="1">
              <a:lnSpc>
                <a:spcPct val="100000"/>
              </a:lnSpc>
              <a:spcBef>
                <a:spcPts val="200"/>
              </a:spcBef>
              <a:spcAft>
                <a:spcPts val="20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Cost for delivery in the urban areas are relatively higher than in the rural areas </a:t>
            </a:r>
          </a:p>
          <a:p>
            <a:pPr marL="182880" marR="0" lvl="1" indent="-182880" algn="l" defTabSz="896017" rtl="0" eaLnBrk="1" fontAlgn="auto" latinLnBrk="0" hangingPunct="1">
              <a:lnSpc>
                <a:spcPct val="100000"/>
              </a:lnSpc>
              <a:spcBef>
                <a:spcPts val="200"/>
              </a:spcBef>
              <a:spcAft>
                <a:spcPts val="200"/>
              </a:spcAft>
              <a:buClrTx/>
              <a:buSzPct val="100000"/>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Gill Sans MT" panose="020B0502020104020203"/>
                <a:ea typeface="ＭＳ Ｐゴシック"/>
                <a:cs typeface="Arial" panose="020B0604020202020204" pitchFamily="34" charset="0"/>
              </a:rPr>
              <a:t>Most of the services offered in the urban private facility are at a cost. Some mission hospitals occasionally pay for the expenses  of patients who are unable to pay</a:t>
            </a:r>
          </a:p>
        </p:txBody>
      </p:sp>
      <p:grpSp>
        <p:nvGrpSpPr>
          <p:cNvPr id="180" name="Group 179">
            <a:extLst>
              <a:ext uri="{FF2B5EF4-FFF2-40B4-BE49-F238E27FC236}">
                <a16:creationId xmlns:a16="http://schemas.microsoft.com/office/drawing/2014/main" id="{9B3ED86B-F990-3704-F06F-66AB46492F00}"/>
              </a:ext>
            </a:extLst>
          </p:cNvPr>
          <p:cNvGrpSpPr/>
          <p:nvPr/>
        </p:nvGrpSpPr>
        <p:grpSpPr>
          <a:xfrm>
            <a:off x="9789724" y="1178304"/>
            <a:ext cx="2268221" cy="207202"/>
            <a:chOff x="9789724" y="1152987"/>
            <a:chExt cx="2268221" cy="207202"/>
          </a:xfrm>
        </p:grpSpPr>
        <p:sp>
          <p:nvSpPr>
            <p:cNvPr id="177" name="TextBox 176">
              <a:extLst>
                <a:ext uri="{FF2B5EF4-FFF2-40B4-BE49-F238E27FC236}">
                  <a16:creationId xmlns:a16="http://schemas.microsoft.com/office/drawing/2014/main" id="{D1B342B9-12C5-2F38-FC25-26518DAE5AE4}"/>
                </a:ext>
              </a:extLst>
            </p:cNvPr>
            <p:cNvSpPr txBox="1"/>
            <p:nvPr/>
          </p:nvSpPr>
          <p:spPr>
            <a:xfrm>
              <a:off x="10157538" y="1152987"/>
              <a:ext cx="914397" cy="207202"/>
            </a:xfrm>
            <a:prstGeom prst="rect">
              <a:avLst/>
            </a:prstGeom>
            <a:solidFill>
              <a:srgbClr val="B3D3FA"/>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a:ln>
                    <a:noFill/>
                  </a:ln>
                  <a:solidFill>
                    <a:srgbClr val="000000"/>
                  </a:solidFill>
                  <a:effectLst/>
                  <a:uLnTx/>
                  <a:uFillTx/>
                  <a:latin typeface="Gill Sans MT" panose="020B0502020104020203"/>
                  <a:ea typeface="+mn-ea"/>
                  <a:cs typeface="+mn-cs"/>
                </a:rPr>
                <a:t>PHC </a:t>
              </a:r>
            </a:p>
          </p:txBody>
        </p:sp>
        <p:sp>
          <p:nvSpPr>
            <p:cNvPr id="178" name="TextBox 177">
              <a:extLst>
                <a:ext uri="{FF2B5EF4-FFF2-40B4-BE49-F238E27FC236}">
                  <a16:creationId xmlns:a16="http://schemas.microsoft.com/office/drawing/2014/main" id="{8F1DC5BC-8614-DD88-F0B5-051FBB92DEE3}"/>
                </a:ext>
              </a:extLst>
            </p:cNvPr>
            <p:cNvSpPr txBox="1"/>
            <p:nvPr/>
          </p:nvSpPr>
          <p:spPr>
            <a:xfrm>
              <a:off x="11143548" y="1152987"/>
              <a:ext cx="914397" cy="207202"/>
            </a:xfrm>
            <a:prstGeom prst="rect">
              <a:avLst/>
            </a:prstGeom>
            <a:solidFill>
              <a:srgbClr val="073670"/>
            </a:solidFill>
            <a:ln w="9525">
              <a:solidFill>
                <a:srgbClr val="FFFFFF">
                  <a:lumMod val="75000"/>
                </a:srgb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1" u="none" strike="noStrike" kern="0" cap="none" spc="0" normalizeH="0" baseline="0" noProof="0" dirty="0">
                  <a:ln>
                    <a:noFill/>
                  </a:ln>
                  <a:solidFill>
                    <a:srgbClr val="FFFFFF"/>
                  </a:solidFill>
                  <a:effectLst/>
                  <a:uLnTx/>
                  <a:uFillTx/>
                  <a:latin typeface="Gill Sans MT" panose="020B0502020104020203"/>
                  <a:ea typeface="+mn-ea"/>
                  <a:cs typeface="+mn-cs"/>
                </a:rPr>
                <a:t>SHF</a:t>
              </a:r>
            </a:p>
          </p:txBody>
        </p:sp>
        <p:sp>
          <p:nvSpPr>
            <p:cNvPr id="179" name="Rectangle 6">
              <a:extLst>
                <a:ext uri="{FF2B5EF4-FFF2-40B4-BE49-F238E27FC236}">
                  <a16:creationId xmlns:a16="http://schemas.microsoft.com/office/drawing/2014/main" id="{8827D1A9-C2BD-14A2-420F-52EEEFB2BED7}"/>
                </a:ext>
              </a:extLst>
            </p:cNvPr>
            <p:cNvSpPr txBox="1">
              <a:spLocks/>
            </p:cNvSpPr>
            <p:nvPr/>
          </p:nvSpPr>
          <p:spPr>
            <a:xfrm>
              <a:off x="9789724" y="1168873"/>
              <a:ext cx="324652" cy="1754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rPr>
                <a:t>Key</a:t>
              </a:r>
              <a:endParaRPr kumimoji="0" lang="en-GB" sz="1100" b="1" i="0" u="none" strike="noStrike" kern="0" cap="none" spc="0" normalizeH="0" baseline="0" noProof="0" dirty="0">
                <a:ln>
                  <a:noFill/>
                </a:ln>
                <a:solidFill>
                  <a:srgbClr val="000000"/>
                </a:solidFill>
                <a:effectLst/>
                <a:uLnTx/>
                <a:uFillTx/>
                <a:latin typeface="Gill Sans MT" panose="020B0502020104020203"/>
                <a:ea typeface="Arial Unicode MS" pitchFamily="34" charset="-128"/>
                <a:cs typeface="Arial" panose="020B0604020202020204" pitchFamily="34" charset="0"/>
              </a:endParaRPr>
            </a:p>
          </p:txBody>
        </p:sp>
      </p:grpSp>
      <p:cxnSp>
        <p:nvCxnSpPr>
          <p:cNvPr id="507" name="Straight Connector 506">
            <a:extLst>
              <a:ext uri="{FF2B5EF4-FFF2-40B4-BE49-F238E27FC236}">
                <a16:creationId xmlns:a16="http://schemas.microsoft.com/office/drawing/2014/main" id="{E134DE66-12C9-E111-4DB1-C2B3D124BB8C}"/>
              </a:ext>
            </a:extLst>
          </p:cNvPr>
          <p:cNvCxnSpPr>
            <a:cxnSpLocks/>
          </p:cNvCxnSpPr>
          <p:nvPr/>
        </p:nvCxnSpPr>
        <p:spPr>
          <a:xfrm>
            <a:off x="10023" y="5779739"/>
            <a:ext cx="12168000" cy="0"/>
          </a:xfrm>
          <a:prstGeom prst="line">
            <a:avLst/>
          </a:prstGeom>
          <a:noFill/>
          <a:ln w="9525" cap="flat" cmpd="sng" algn="ctr">
            <a:solidFill>
              <a:srgbClr val="808080"/>
            </a:solidFill>
            <a:prstDash val="solid"/>
          </a:ln>
          <a:effectLst/>
        </p:spPr>
      </p:cxnSp>
      <p:sp>
        <p:nvSpPr>
          <p:cNvPr id="508" name="McK 5. Source">
            <a:extLst>
              <a:ext uri="{FF2B5EF4-FFF2-40B4-BE49-F238E27FC236}">
                <a16:creationId xmlns:a16="http://schemas.microsoft.com/office/drawing/2014/main" id="{01C0A88E-D389-2FD3-98EB-412BF037B81A}"/>
              </a:ext>
            </a:extLst>
          </p:cNvPr>
          <p:cNvSpPr>
            <a:spLocks noChangeArrowheads="1"/>
          </p:cNvSpPr>
          <p:nvPr/>
        </p:nvSpPr>
        <p:spPr bwMode="auto">
          <a:xfrm>
            <a:off x="89765" y="6703242"/>
            <a:ext cx="2052186" cy="126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Sources : Key Informant Interview Synthesis </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sp>
        <p:nvSpPr>
          <p:cNvPr id="553" name="Rectangle 552">
            <a:extLst>
              <a:ext uri="{FF2B5EF4-FFF2-40B4-BE49-F238E27FC236}">
                <a16:creationId xmlns:a16="http://schemas.microsoft.com/office/drawing/2014/main" id="{5D6BEC40-5583-7260-6A08-F5DD77CE0C34}"/>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a:ea typeface="+mn-ea"/>
                <a:cs typeface="+mn-cs"/>
              </a:rPr>
              <a:t>Cost of service </a:t>
            </a:r>
          </a:p>
        </p:txBody>
      </p:sp>
      <p:sp>
        <p:nvSpPr>
          <p:cNvPr id="3" name="McK 5. Source">
            <a:extLst>
              <a:ext uri="{FF2B5EF4-FFF2-40B4-BE49-F238E27FC236}">
                <a16:creationId xmlns:a16="http://schemas.microsoft.com/office/drawing/2014/main" id="{E533955F-7FA2-E0FB-E764-6861B33D19A8}"/>
              </a:ext>
            </a:extLst>
          </p:cNvPr>
          <p:cNvSpPr>
            <a:spLocks noChangeArrowheads="1"/>
          </p:cNvSpPr>
          <p:nvPr/>
        </p:nvSpPr>
        <p:spPr bwMode="auto">
          <a:xfrm>
            <a:off x="89765" y="6579313"/>
            <a:ext cx="189341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Exchange rate: N460 per $1</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spTree>
    <p:extLst>
      <p:ext uri="{BB962C8B-B14F-4D97-AF65-F5344CB8AC3E}">
        <p14:creationId xmlns:p14="http://schemas.microsoft.com/office/powerpoint/2010/main" val="4971027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5" name="think-cell data - do not delete" hidden="1">
            <a:extLst>
              <a:ext uri="{FF2B5EF4-FFF2-40B4-BE49-F238E27FC236}">
                <a16:creationId xmlns:a16="http://schemas.microsoft.com/office/drawing/2014/main" id="{8DF6A76A-9C73-D407-32A5-C33AC711A7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305" name="think-cell data - do not delete" hidden="1">
                        <a:extLst>
                          <a:ext uri="{FF2B5EF4-FFF2-40B4-BE49-F238E27FC236}">
                            <a16:creationId xmlns:a16="http://schemas.microsoft.com/office/drawing/2014/main" id="{8DF6A76A-9C73-D407-32A5-C33AC711A7E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D045EB-B1BB-E238-D31F-B8927316C375}"/>
              </a:ext>
            </a:extLst>
          </p:cNvPr>
          <p:cNvSpPr>
            <a:spLocks noGrp="1"/>
          </p:cNvSpPr>
          <p:nvPr>
            <p:ph type="title"/>
          </p:nvPr>
        </p:nvSpPr>
        <p:spPr>
          <a:xfrm>
            <a:off x="437101" y="348315"/>
            <a:ext cx="11270299" cy="420779"/>
          </a:xfrm>
        </p:spPr>
        <p:txBody>
          <a:bodyPr vert="horz">
            <a:normAutofit fontScale="90000"/>
          </a:bodyPr>
          <a:lstStyle/>
          <a:p>
            <a:pPr algn="l"/>
            <a:r>
              <a:rPr lang="en-US" dirty="0"/>
              <a:t>….the private PHCs located in rural areas tend to be better equipped than their urban counterparts</a:t>
            </a:r>
            <a:endParaRPr lang="en-GB" dirty="0"/>
          </a:p>
        </p:txBody>
      </p:sp>
      <p:sp>
        <p:nvSpPr>
          <p:cNvPr id="315" name="Rectangle 314">
            <a:extLst>
              <a:ext uri="{FF2B5EF4-FFF2-40B4-BE49-F238E27FC236}">
                <a16:creationId xmlns:a16="http://schemas.microsoft.com/office/drawing/2014/main" id="{1AC14B7A-E68C-8C88-07E5-997E030368C8}"/>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a:ea typeface="+mn-ea"/>
                <a:cs typeface="+mn-cs"/>
              </a:rPr>
              <a:t>Product Synthesis </a:t>
            </a:r>
          </a:p>
        </p:txBody>
      </p:sp>
      <p:sp>
        <p:nvSpPr>
          <p:cNvPr id="340" name="McK 5. Source">
            <a:extLst>
              <a:ext uri="{FF2B5EF4-FFF2-40B4-BE49-F238E27FC236}">
                <a16:creationId xmlns:a16="http://schemas.microsoft.com/office/drawing/2014/main" id="{4D9DD5ED-F42A-D9A4-1159-7C813F45A323}"/>
              </a:ext>
            </a:extLst>
          </p:cNvPr>
          <p:cNvSpPr>
            <a:spLocks noChangeArrowheads="1"/>
          </p:cNvSpPr>
          <p:nvPr/>
        </p:nvSpPr>
        <p:spPr bwMode="auto">
          <a:xfrm>
            <a:off x="89765" y="6538142"/>
            <a:ext cx="2204206" cy="126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3235" rtl="0" eaLnBrk="1" fontAlgn="base" latinLnBrk="0" hangingPunct="1">
              <a:lnSpc>
                <a:spcPct val="100000"/>
              </a:lnSpc>
              <a:spcBef>
                <a:spcPct val="0"/>
              </a:spcBef>
              <a:spcAft>
                <a:spcPct val="0"/>
              </a:spcAft>
              <a:buClrTx/>
              <a:buSzTx/>
              <a:buFontTx/>
              <a:buNone/>
              <a:tabLst>
                <a:tab pos="625015" algn="l"/>
              </a:tabLst>
              <a:defRPr/>
            </a:pPr>
            <a:r>
              <a:rPr kumimoji="0" lang="en-US" sz="800" b="0" i="0" u="none" strike="noStrike" kern="1200" cap="none" spc="0" normalizeH="0" baseline="0" noProof="0" dirty="0">
                <a:ln>
                  <a:noFill/>
                </a:ln>
                <a:solidFill>
                  <a:srgbClr val="000000"/>
                </a:solidFill>
                <a:effectLst/>
                <a:uLnTx/>
                <a:uFillTx/>
                <a:latin typeface="Gill Sans MT"/>
                <a:ea typeface="+mn-ea"/>
                <a:cs typeface="Arial"/>
                <a:sym typeface="Arial"/>
              </a:rPr>
              <a:t>Sources : Key Informant Interview Synthesis </a:t>
            </a:r>
            <a:endParaRPr kumimoji="0" lang="en-US" sz="800" b="0" i="0" u="none" strike="noStrike" kern="1200" cap="none" spc="0" normalizeH="0" baseline="30000" noProof="0" dirty="0">
              <a:ln>
                <a:noFill/>
              </a:ln>
              <a:solidFill>
                <a:srgbClr val="000000"/>
              </a:solidFill>
              <a:effectLst/>
              <a:uLnTx/>
              <a:uFillTx/>
              <a:latin typeface="Arial"/>
              <a:ea typeface="+mn-ea"/>
              <a:cs typeface="Arial" charset="0"/>
              <a:sym typeface="Arial"/>
            </a:endParaRPr>
          </a:p>
        </p:txBody>
      </p:sp>
      <p:grpSp>
        <p:nvGrpSpPr>
          <p:cNvPr id="34" name="Group 33">
            <a:extLst>
              <a:ext uri="{FF2B5EF4-FFF2-40B4-BE49-F238E27FC236}">
                <a16:creationId xmlns:a16="http://schemas.microsoft.com/office/drawing/2014/main" id="{791229D0-C65F-F858-9938-F8C2AF7E3F3E}"/>
              </a:ext>
            </a:extLst>
          </p:cNvPr>
          <p:cNvGrpSpPr/>
          <p:nvPr/>
        </p:nvGrpSpPr>
        <p:grpSpPr>
          <a:xfrm>
            <a:off x="9514818" y="1183252"/>
            <a:ext cx="2392680" cy="247147"/>
            <a:chOff x="9514818" y="776852"/>
            <a:chExt cx="2392680" cy="247147"/>
          </a:xfrm>
        </p:grpSpPr>
        <p:sp>
          <p:nvSpPr>
            <p:cNvPr id="302" name="TextBox 301">
              <a:extLst>
                <a:ext uri="{FF2B5EF4-FFF2-40B4-BE49-F238E27FC236}">
                  <a16:creationId xmlns:a16="http://schemas.microsoft.com/office/drawing/2014/main" id="{5C176CBA-E2A0-76E2-968A-9ED77641FF06}"/>
                </a:ext>
              </a:extLst>
            </p:cNvPr>
            <p:cNvSpPr txBox="1"/>
            <p:nvPr/>
          </p:nvSpPr>
          <p:spPr>
            <a:xfrm>
              <a:off x="9875107" y="776852"/>
              <a:ext cx="956049" cy="247147"/>
            </a:xfrm>
            <a:prstGeom prst="rect">
              <a:avLst/>
            </a:prstGeom>
            <a:solidFill>
              <a:srgbClr val="4AA19E"/>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000000"/>
                  </a:solidFill>
                  <a:effectLst/>
                  <a:uLnTx/>
                  <a:uFillTx/>
                  <a:latin typeface="Gill Sans MT" panose="020B0502020104020203" pitchFamily="34" charset="0"/>
                  <a:ea typeface="+mn-ea"/>
                  <a:cs typeface="+mn-cs"/>
                </a:rPr>
                <a:t>Available </a:t>
              </a:r>
            </a:p>
          </p:txBody>
        </p:sp>
        <p:sp>
          <p:nvSpPr>
            <p:cNvPr id="304" name="Rectangle 6">
              <a:extLst>
                <a:ext uri="{FF2B5EF4-FFF2-40B4-BE49-F238E27FC236}">
                  <a16:creationId xmlns:a16="http://schemas.microsoft.com/office/drawing/2014/main" id="{C97569EC-CA69-5A30-A096-3C399DC1E3A5}"/>
                </a:ext>
              </a:extLst>
            </p:cNvPr>
            <p:cNvSpPr txBox="1">
              <a:spLocks/>
            </p:cNvSpPr>
            <p:nvPr/>
          </p:nvSpPr>
          <p:spPr>
            <a:xfrm>
              <a:off x="9514818" y="841119"/>
              <a:ext cx="282867" cy="1828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pitchFamily="34" charset="-128"/>
                  <a:cs typeface="Arial" panose="020B0604020202020204" pitchFamily="34" charset="0"/>
                </a:rPr>
                <a:t>Key</a:t>
              </a:r>
              <a:endParaRPr kumimoji="0" lang="en-GB" sz="900" b="1" i="0" u="none" strike="noStrike" kern="0" cap="none" spc="0" normalizeH="0" baseline="0" noProof="0" dirty="0">
                <a:ln>
                  <a:noFill/>
                </a:ln>
                <a:solidFill>
                  <a:srgbClr val="000000"/>
                </a:solidFill>
                <a:effectLst/>
                <a:uLnTx/>
                <a:uFillTx/>
                <a:latin typeface="Gill Sans MT" panose="020B0502020104020203" pitchFamily="34" charset="0"/>
                <a:ea typeface="Arial Unicode MS" pitchFamily="34" charset="-128"/>
                <a:cs typeface="Arial" panose="020B0604020202020204" pitchFamily="34" charset="0"/>
              </a:endParaRPr>
            </a:p>
          </p:txBody>
        </p:sp>
        <p:sp>
          <p:nvSpPr>
            <p:cNvPr id="28" name="TextBox 27">
              <a:extLst>
                <a:ext uri="{FF2B5EF4-FFF2-40B4-BE49-F238E27FC236}">
                  <a16:creationId xmlns:a16="http://schemas.microsoft.com/office/drawing/2014/main" id="{4F21D3B3-B23A-83FA-2AD5-4A37045200EB}"/>
                </a:ext>
              </a:extLst>
            </p:cNvPr>
            <p:cNvSpPr txBox="1"/>
            <p:nvPr/>
          </p:nvSpPr>
          <p:spPr>
            <a:xfrm>
              <a:off x="10951449" y="776852"/>
              <a:ext cx="956049" cy="247147"/>
            </a:xfrm>
            <a:prstGeom prst="rect">
              <a:avLst/>
            </a:prstGeom>
            <a:solidFill>
              <a:srgbClr val="D9EEED"/>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 Unavailable </a:t>
              </a:r>
            </a:p>
          </p:txBody>
        </p:sp>
      </p:grpSp>
      <p:grpSp>
        <p:nvGrpSpPr>
          <p:cNvPr id="51" name="Group 50">
            <a:extLst>
              <a:ext uri="{FF2B5EF4-FFF2-40B4-BE49-F238E27FC236}">
                <a16:creationId xmlns:a16="http://schemas.microsoft.com/office/drawing/2014/main" id="{B94D1C1F-F5AF-A25A-DD69-F5A02C60C1B2}"/>
              </a:ext>
            </a:extLst>
          </p:cNvPr>
          <p:cNvGrpSpPr/>
          <p:nvPr/>
        </p:nvGrpSpPr>
        <p:grpSpPr>
          <a:xfrm>
            <a:off x="125" y="1581070"/>
            <a:ext cx="12177898" cy="4868598"/>
            <a:chOff x="125" y="1144583"/>
            <a:chExt cx="12177898" cy="5305085"/>
          </a:xfrm>
        </p:grpSpPr>
        <p:cxnSp>
          <p:nvCxnSpPr>
            <p:cNvPr id="176" name="Straight Connector 175">
              <a:extLst>
                <a:ext uri="{FF2B5EF4-FFF2-40B4-BE49-F238E27FC236}">
                  <a16:creationId xmlns:a16="http://schemas.microsoft.com/office/drawing/2014/main" id="{2A276AA8-613B-471F-3887-F19EA9DE3885}"/>
                </a:ext>
              </a:extLst>
            </p:cNvPr>
            <p:cNvCxnSpPr>
              <a:cxnSpLocks/>
            </p:cNvCxnSpPr>
            <p:nvPr/>
          </p:nvCxnSpPr>
          <p:spPr>
            <a:xfrm>
              <a:off x="10023" y="6449668"/>
              <a:ext cx="12168000" cy="0"/>
            </a:xfrm>
            <a:prstGeom prst="line">
              <a:avLst/>
            </a:prstGeom>
            <a:noFill/>
            <a:ln w="9525" cap="flat" cmpd="sng" algn="ctr">
              <a:solidFill>
                <a:srgbClr val="808080"/>
              </a:solidFill>
              <a:prstDash val="solid"/>
            </a:ln>
            <a:effectLst/>
          </p:spPr>
        </p:cxnSp>
        <p:cxnSp>
          <p:nvCxnSpPr>
            <p:cNvPr id="173" name="Straight Connector 172">
              <a:extLst>
                <a:ext uri="{FF2B5EF4-FFF2-40B4-BE49-F238E27FC236}">
                  <a16:creationId xmlns:a16="http://schemas.microsoft.com/office/drawing/2014/main" id="{ECCC470D-5D4A-0666-617A-6FBA4EED7CED}"/>
                </a:ext>
              </a:extLst>
            </p:cNvPr>
            <p:cNvCxnSpPr>
              <a:cxnSpLocks/>
            </p:cNvCxnSpPr>
            <p:nvPr/>
          </p:nvCxnSpPr>
          <p:spPr>
            <a:xfrm>
              <a:off x="125" y="1788728"/>
              <a:ext cx="12168000" cy="0"/>
            </a:xfrm>
            <a:prstGeom prst="line">
              <a:avLst/>
            </a:prstGeom>
            <a:noFill/>
            <a:ln w="9525" cap="flat" cmpd="sng" algn="ctr">
              <a:solidFill>
                <a:srgbClr val="808080"/>
              </a:solidFill>
              <a:prstDash val="solid"/>
            </a:ln>
            <a:effectLst/>
          </p:spPr>
        </p:cxnSp>
        <p:cxnSp>
          <p:nvCxnSpPr>
            <p:cNvPr id="174" name="Straight Connector 173">
              <a:extLst>
                <a:ext uri="{FF2B5EF4-FFF2-40B4-BE49-F238E27FC236}">
                  <a16:creationId xmlns:a16="http://schemas.microsoft.com/office/drawing/2014/main" id="{3BB1FB31-63EC-4930-2FE5-32D930552379}"/>
                </a:ext>
              </a:extLst>
            </p:cNvPr>
            <p:cNvCxnSpPr>
              <a:cxnSpLocks/>
            </p:cNvCxnSpPr>
            <p:nvPr/>
          </p:nvCxnSpPr>
          <p:spPr>
            <a:xfrm>
              <a:off x="125" y="1388393"/>
              <a:ext cx="12168000" cy="0"/>
            </a:xfrm>
            <a:prstGeom prst="line">
              <a:avLst/>
            </a:prstGeom>
            <a:noFill/>
            <a:ln w="9525" cap="flat" cmpd="sng" algn="ctr">
              <a:solidFill>
                <a:srgbClr val="808080"/>
              </a:solidFill>
              <a:prstDash val="solid"/>
            </a:ln>
            <a:effectLst/>
          </p:spPr>
        </p:cxnSp>
        <p:sp>
          <p:nvSpPr>
            <p:cNvPr id="358" name="TextBox 357">
              <a:extLst>
                <a:ext uri="{FF2B5EF4-FFF2-40B4-BE49-F238E27FC236}">
                  <a16:creationId xmlns:a16="http://schemas.microsoft.com/office/drawing/2014/main" id="{993ABBD0-36C0-66AC-B868-4B49D3F85F3A}"/>
                </a:ext>
              </a:extLst>
            </p:cNvPr>
            <p:cNvSpPr txBox="1"/>
            <p:nvPr/>
          </p:nvSpPr>
          <p:spPr>
            <a:xfrm>
              <a:off x="10885243" y="1434220"/>
              <a:ext cx="1278896" cy="363925"/>
            </a:xfrm>
            <a:prstGeom prst="rect">
              <a:avLst/>
            </a:prstGeom>
            <a:solidFill>
              <a:schemeClr val="accent4">
                <a:lumMod val="50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Highlight</a:t>
              </a:r>
            </a:p>
          </p:txBody>
        </p:sp>
        <p:sp>
          <p:nvSpPr>
            <p:cNvPr id="359" name="TextBox 358">
              <a:extLst>
                <a:ext uri="{FF2B5EF4-FFF2-40B4-BE49-F238E27FC236}">
                  <a16:creationId xmlns:a16="http://schemas.microsoft.com/office/drawing/2014/main" id="{45D063D4-55E0-11E4-DF1B-5556CBC49249}"/>
                </a:ext>
              </a:extLst>
            </p:cNvPr>
            <p:cNvSpPr txBox="1"/>
            <p:nvPr/>
          </p:nvSpPr>
          <p:spPr>
            <a:xfrm>
              <a:off x="10885243" y="1894140"/>
              <a:ext cx="1278896" cy="4245759"/>
            </a:xfrm>
            <a:prstGeom prst="rect">
              <a:avLst/>
            </a:prstGeom>
            <a:solidFill>
              <a:schemeClr val="bg1">
                <a:lumMod val="8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 government PHC assessed in the rural area lacks  essential MNH equipment </a:t>
              </a:r>
            </a:p>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 PHC in the rural areas are more equipped than their urban counterparts</a:t>
              </a:r>
            </a:p>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All primary health care facility assessed did not have anaesthesia equipment </a:t>
              </a:r>
              <a:r>
                <a:rPr kumimoji="0" lang="en-US"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which is a crucial requirement for providing safe and effective SBA (Skilled Birth Attendant) services.</a:t>
              </a: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80" name="Rectangle 179">
              <a:extLst>
                <a:ext uri="{FF2B5EF4-FFF2-40B4-BE49-F238E27FC236}">
                  <a16:creationId xmlns:a16="http://schemas.microsoft.com/office/drawing/2014/main" id="{B2A0F857-A013-EE16-8197-026873F5DBCB}"/>
                </a:ext>
              </a:extLst>
            </p:cNvPr>
            <p:cNvSpPr/>
            <p:nvPr/>
          </p:nvSpPr>
          <p:spPr>
            <a:xfrm>
              <a:off x="27531" y="1830808"/>
              <a:ext cx="302881" cy="4509025"/>
            </a:xfrm>
            <a:prstGeom prst="rect">
              <a:avLst/>
            </a:prstGeom>
            <a:solidFill>
              <a:schemeClr val="accent3">
                <a:lumMod val="75000"/>
              </a:schemeClr>
            </a:solidFill>
            <a:ln w="9525" cap="flat" cmpd="sng" algn="ctr">
              <a:noFill/>
              <a:prstDash val="solid"/>
            </a:ln>
            <a:effectLst/>
          </p:spPr>
          <p:txBody>
            <a:bodyPr vert="vert270" lIns="4572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Gill Sans MT" panose="020B0502020104020203" pitchFamily="34" charset="0"/>
                  <a:ea typeface="+mn-ea"/>
                  <a:cs typeface="Arial" panose="020B0604020202020204" pitchFamily="34" charset="0"/>
                </a:rPr>
                <a:t>Equipment </a:t>
              </a:r>
            </a:p>
          </p:txBody>
        </p:sp>
        <p:cxnSp>
          <p:nvCxnSpPr>
            <p:cNvPr id="177" name="Straight Connector 176">
              <a:extLst>
                <a:ext uri="{FF2B5EF4-FFF2-40B4-BE49-F238E27FC236}">
                  <a16:creationId xmlns:a16="http://schemas.microsoft.com/office/drawing/2014/main" id="{41A88A45-8D63-EABE-6955-FC3EAB58A9E5}"/>
                </a:ext>
              </a:extLst>
            </p:cNvPr>
            <p:cNvCxnSpPr>
              <a:cxnSpLocks/>
            </p:cNvCxnSpPr>
            <p:nvPr/>
          </p:nvCxnSpPr>
          <p:spPr>
            <a:xfrm flipH="1">
              <a:off x="2335411" y="1144583"/>
              <a:ext cx="2853" cy="530352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8" name="Rectangle 6">
              <a:extLst>
                <a:ext uri="{FF2B5EF4-FFF2-40B4-BE49-F238E27FC236}">
                  <a16:creationId xmlns:a16="http://schemas.microsoft.com/office/drawing/2014/main" id="{A2F84C00-16BC-6743-ED19-51C40470D2FB}"/>
                </a:ext>
              </a:extLst>
            </p:cNvPr>
            <p:cNvSpPr txBox="1">
              <a:spLocks/>
            </p:cNvSpPr>
            <p:nvPr/>
          </p:nvSpPr>
          <p:spPr>
            <a:xfrm>
              <a:off x="9391856" y="1162329"/>
              <a:ext cx="1372839" cy="2260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HCF -  Public </a:t>
              </a:r>
              <a:endParaRPr kumimoji="0" lang="en-GB"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cxnSp>
          <p:nvCxnSpPr>
            <p:cNvPr id="301" name="Straight Connector 300">
              <a:extLst>
                <a:ext uri="{FF2B5EF4-FFF2-40B4-BE49-F238E27FC236}">
                  <a16:creationId xmlns:a16="http://schemas.microsoft.com/office/drawing/2014/main" id="{DEB4444F-8A45-3E6F-E093-F1D701A40227}"/>
                </a:ext>
              </a:extLst>
            </p:cNvPr>
            <p:cNvCxnSpPr>
              <a:cxnSpLocks/>
            </p:cNvCxnSpPr>
            <p:nvPr/>
          </p:nvCxnSpPr>
          <p:spPr>
            <a:xfrm flipH="1">
              <a:off x="10801350" y="1144587"/>
              <a:ext cx="1588" cy="53038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9" name="Rectangle 6">
              <a:extLst>
                <a:ext uri="{FF2B5EF4-FFF2-40B4-BE49-F238E27FC236}">
                  <a16:creationId xmlns:a16="http://schemas.microsoft.com/office/drawing/2014/main" id="{E9E2B98D-B648-8A40-FA55-177427A0BA86}"/>
                </a:ext>
              </a:extLst>
            </p:cNvPr>
            <p:cNvSpPr txBox="1">
              <a:spLocks/>
            </p:cNvSpPr>
            <p:nvPr/>
          </p:nvSpPr>
          <p:spPr>
            <a:xfrm>
              <a:off x="2422534" y="1162329"/>
              <a:ext cx="4393710" cy="2056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270" marR="0" lvl="1" indent="0" algn="l" defTabSz="895350" rtl="0" eaLnBrk="1" fontAlgn="auto" latinLnBrk="0" hangingPunct="1">
                <a:lnSpc>
                  <a:spcPct val="100000"/>
                </a:lnSpc>
                <a:spcBef>
                  <a:spcPts val="600"/>
                </a:spcBef>
                <a:spcAft>
                  <a:spcPts val="0"/>
                </a:spcAft>
                <a:buClr>
                  <a:srgbClr val="1F1F1F"/>
                </a:buClr>
                <a:buSzPct val="125000"/>
                <a:buFont typeface="Arial" charset="0"/>
                <a:buNone/>
                <a:tabLst/>
                <a:defRPr/>
              </a:pPr>
              <a:r>
                <a:rPr kumimoji="0" lang="en-US"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rPr>
                <a:t>Healthcare Facility - Private </a:t>
              </a:r>
              <a:endParaRPr kumimoji="0" lang="en-GB" sz="1050" b="1" i="0" u="none" strike="noStrike" kern="0" cap="none" spc="0" normalizeH="0" baseline="0" noProof="0" dirty="0">
                <a:ln>
                  <a:noFill/>
                </a:ln>
                <a:solidFill>
                  <a:srgbClr val="000000"/>
                </a:solidFill>
                <a:effectLst/>
                <a:uLnTx/>
                <a:uFillTx/>
                <a:latin typeface="Gill Sans MT" panose="020B0502020104020203" pitchFamily="34" charset="0"/>
                <a:ea typeface="Arial Unicode MS"/>
                <a:cs typeface="Arial"/>
              </a:endParaRPr>
            </a:p>
          </p:txBody>
        </p:sp>
        <p:cxnSp>
          <p:nvCxnSpPr>
            <p:cNvPr id="371" name="Straight Connector 370">
              <a:extLst>
                <a:ext uri="{FF2B5EF4-FFF2-40B4-BE49-F238E27FC236}">
                  <a16:creationId xmlns:a16="http://schemas.microsoft.com/office/drawing/2014/main" id="{A2B61587-A42D-6BEB-F2F5-870AF5C1BD64}"/>
                </a:ext>
              </a:extLst>
            </p:cNvPr>
            <p:cNvCxnSpPr>
              <a:cxnSpLocks/>
            </p:cNvCxnSpPr>
            <p:nvPr/>
          </p:nvCxnSpPr>
          <p:spPr>
            <a:xfrm flipH="1">
              <a:off x="9359858" y="1144583"/>
              <a:ext cx="330" cy="530352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81" name="Rectangle 180">
              <a:extLst>
                <a:ext uri="{FF2B5EF4-FFF2-40B4-BE49-F238E27FC236}">
                  <a16:creationId xmlns:a16="http://schemas.microsoft.com/office/drawing/2014/main" id="{75FA3DA7-0B99-4871-CAF4-CC8B8E09E802}"/>
                </a:ext>
              </a:extLst>
            </p:cNvPr>
            <p:cNvSpPr>
              <a:spLocks noChangeArrowheads="1"/>
            </p:cNvSpPr>
            <p:nvPr>
              <p:custDataLst>
                <p:tags r:id="rId2"/>
              </p:custDataLst>
            </p:nvPr>
          </p:nvSpPr>
          <p:spPr bwMode="gray">
            <a:xfrm>
              <a:off x="371853" y="1830808"/>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Blood pressure cuff</a:t>
              </a:r>
            </a:p>
          </p:txBody>
        </p:sp>
        <p:sp>
          <p:nvSpPr>
            <p:cNvPr id="182" name="Rectangle 181">
              <a:extLst>
                <a:ext uri="{FF2B5EF4-FFF2-40B4-BE49-F238E27FC236}">
                  <a16:creationId xmlns:a16="http://schemas.microsoft.com/office/drawing/2014/main" id="{5879917F-6FB4-8600-7883-6FA123A64978}"/>
                </a:ext>
              </a:extLst>
            </p:cNvPr>
            <p:cNvSpPr>
              <a:spLocks noChangeArrowheads="1"/>
            </p:cNvSpPr>
            <p:nvPr>
              <p:custDataLst>
                <p:tags r:id="rId3"/>
              </p:custDataLst>
            </p:nvPr>
          </p:nvSpPr>
          <p:spPr bwMode="gray">
            <a:xfrm>
              <a:off x="371853" y="2181494"/>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Ultrasound</a:t>
              </a:r>
            </a:p>
          </p:txBody>
        </p:sp>
        <p:sp>
          <p:nvSpPr>
            <p:cNvPr id="183" name="Rectangle 182">
              <a:extLst>
                <a:ext uri="{FF2B5EF4-FFF2-40B4-BE49-F238E27FC236}">
                  <a16:creationId xmlns:a16="http://schemas.microsoft.com/office/drawing/2014/main" id="{87D359CB-31CB-6EC2-B3C8-418F0CF11576}"/>
                </a:ext>
              </a:extLst>
            </p:cNvPr>
            <p:cNvSpPr>
              <a:spLocks noChangeArrowheads="1"/>
            </p:cNvSpPr>
            <p:nvPr>
              <p:custDataLst>
                <p:tags r:id="rId4"/>
              </p:custDataLst>
            </p:nvPr>
          </p:nvSpPr>
          <p:spPr bwMode="gray">
            <a:xfrm>
              <a:off x="371853" y="2532180"/>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Fetal doppler</a:t>
              </a:r>
            </a:p>
          </p:txBody>
        </p:sp>
        <p:sp>
          <p:nvSpPr>
            <p:cNvPr id="184" name="Rectangle 183">
              <a:extLst>
                <a:ext uri="{FF2B5EF4-FFF2-40B4-BE49-F238E27FC236}">
                  <a16:creationId xmlns:a16="http://schemas.microsoft.com/office/drawing/2014/main" id="{C5112452-ECDE-D2C8-0C92-FFA639EB5D3B}"/>
                </a:ext>
              </a:extLst>
            </p:cNvPr>
            <p:cNvSpPr>
              <a:spLocks noChangeArrowheads="1"/>
            </p:cNvSpPr>
            <p:nvPr>
              <p:custDataLst>
                <p:tags r:id="rId5"/>
              </p:custDataLst>
            </p:nvPr>
          </p:nvSpPr>
          <p:spPr bwMode="gray">
            <a:xfrm>
              <a:off x="371853" y="2883936"/>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Refrigerator blood bank</a:t>
              </a:r>
            </a:p>
          </p:txBody>
        </p:sp>
        <p:sp>
          <p:nvSpPr>
            <p:cNvPr id="185" name="Rectangle 184">
              <a:extLst>
                <a:ext uri="{FF2B5EF4-FFF2-40B4-BE49-F238E27FC236}">
                  <a16:creationId xmlns:a16="http://schemas.microsoft.com/office/drawing/2014/main" id="{DBCE14F8-F163-335A-0C82-731900C38F2B}"/>
                </a:ext>
              </a:extLst>
            </p:cNvPr>
            <p:cNvSpPr>
              <a:spLocks noChangeArrowheads="1"/>
            </p:cNvSpPr>
            <p:nvPr>
              <p:custDataLst>
                <p:tags r:id="rId6"/>
              </p:custDataLst>
            </p:nvPr>
          </p:nvSpPr>
          <p:spPr bwMode="gray">
            <a:xfrm>
              <a:off x="371853" y="3234622"/>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Bags for collecting blood</a:t>
              </a:r>
            </a:p>
          </p:txBody>
        </p:sp>
        <p:sp>
          <p:nvSpPr>
            <p:cNvPr id="186" name="Rectangle 185">
              <a:extLst>
                <a:ext uri="{FF2B5EF4-FFF2-40B4-BE49-F238E27FC236}">
                  <a16:creationId xmlns:a16="http://schemas.microsoft.com/office/drawing/2014/main" id="{34C8D63E-F4F0-FEAA-64E1-F2464639C623}"/>
                </a:ext>
              </a:extLst>
            </p:cNvPr>
            <p:cNvSpPr>
              <a:spLocks noChangeArrowheads="1"/>
            </p:cNvSpPr>
            <p:nvPr>
              <p:custDataLst>
                <p:tags r:id="rId7"/>
              </p:custDataLst>
            </p:nvPr>
          </p:nvSpPr>
          <p:spPr bwMode="gray">
            <a:xfrm>
              <a:off x="371853" y="3586378"/>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a:rPr>
                <a:t>Anesthesia equipment</a:t>
              </a:r>
            </a:p>
          </p:txBody>
        </p:sp>
        <p:sp>
          <p:nvSpPr>
            <p:cNvPr id="187" name="Rectangle 186">
              <a:extLst>
                <a:ext uri="{FF2B5EF4-FFF2-40B4-BE49-F238E27FC236}">
                  <a16:creationId xmlns:a16="http://schemas.microsoft.com/office/drawing/2014/main" id="{BFEDEFD8-E997-87B1-C4AC-9BCDCA3F07A0}"/>
                </a:ext>
              </a:extLst>
            </p:cNvPr>
            <p:cNvSpPr>
              <a:spLocks noChangeArrowheads="1"/>
            </p:cNvSpPr>
            <p:nvPr>
              <p:custDataLst>
                <p:tags r:id="rId8"/>
              </p:custDataLst>
            </p:nvPr>
          </p:nvSpPr>
          <p:spPr bwMode="gray">
            <a:xfrm>
              <a:off x="371853" y="3937064"/>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a:rPr>
                <a:t>Urine dipstick</a:t>
              </a:r>
            </a:p>
          </p:txBody>
        </p:sp>
        <p:sp>
          <p:nvSpPr>
            <p:cNvPr id="188" name="Rectangle 187">
              <a:extLst>
                <a:ext uri="{FF2B5EF4-FFF2-40B4-BE49-F238E27FC236}">
                  <a16:creationId xmlns:a16="http://schemas.microsoft.com/office/drawing/2014/main" id="{45300D0B-DCDF-0715-CCD0-5159B51F764C}"/>
                </a:ext>
              </a:extLst>
            </p:cNvPr>
            <p:cNvSpPr>
              <a:spLocks noChangeArrowheads="1"/>
            </p:cNvSpPr>
            <p:nvPr>
              <p:custDataLst>
                <p:tags r:id="rId9"/>
              </p:custDataLst>
            </p:nvPr>
          </p:nvSpPr>
          <p:spPr bwMode="gray">
            <a:xfrm>
              <a:off x="371853" y="4287750"/>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Bag and neonatal face mask </a:t>
              </a:r>
            </a:p>
          </p:txBody>
        </p:sp>
        <p:sp>
          <p:nvSpPr>
            <p:cNvPr id="189" name="Rectangle 188">
              <a:extLst>
                <a:ext uri="{FF2B5EF4-FFF2-40B4-BE49-F238E27FC236}">
                  <a16:creationId xmlns:a16="http://schemas.microsoft.com/office/drawing/2014/main" id="{468B6ED7-AE23-26A9-5399-54E0802B728C}"/>
                </a:ext>
              </a:extLst>
            </p:cNvPr>
            <p:cNvSpPr>
              <a:spLocks noChangeArrowheads="1"/>
            </p:cNvSpPr>
            <p:nvPr>
              <p:custDataLst>
                <p:tags r:id="rId10"/>
              </p:custDataLst>
            </p:nvPr>
          </p:nvSpPr>
          <p:spPr bwMode="gray">
            <a:xfrm>
              <a:off x="371853" y="4638436"/>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Baby weighing scale</a:t>
              </a:r>
            </a:p>
          </p:txBody>
        </p:sp>
        <p:sp>
          <p:nvSpPr>
            <p:cNvPr id="190" name="Rectangle 189">
              <a:extLst>
                <a:ext uri="{FF2B5EF4-FFF2-40B4-BE49-F238E27FC236}">
                  <a16:creationId xmlns:a16="http://schemas.microsoft.com/office/drawing/2014/main" id="{DFE72B25-D746-E7A0-0B6C-09E858E0E415}"/>
                </a:ext>
              </a:extLst>
            </p:cNvPr>
            <p:cNvSpPr>
              <a:spLocks noChangeArrowheads="1"/>
            </p:cNvSpPr>
            <p:nvPr>
              <p:custDataLst>
                <p:tags r:id="rId11"/>
              </p:custDataLst>
            </p:nvPr>
          </p:nvSpPr>
          <p:spPr bwMode="gray">
            <a:xfrm>
              <a:off x="371853" y="4989122"/>
              <a:ext cx="1922118" cy="31142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umbilical clamps/ties</a:t>
              </a:r>
            </a:p>
          </p:txBody>
        </p:sp>
        <p:sp>
          <p:nvSpPr>
            <p:cNvPr id="191" name="Rectangle 190">
              <a:extLst>
                <a:ext uri="{FF2B5EF4-FFF2-40B4-BE49-F238E27FC236}">
                  <a16:creationId xmlns:a16="http://schemas.microsoft.com/office/drawing/2014/main" id="{CCB02DFD-AE99-1376-6209-5EF591654187}"/>
                </a:ext>
              </a:extLst>
            </p:cNvPr>
            <p:cNvSpPr>
              <a:spLocks noChangeArrowheads="1"/>
            </p:cNvSpPr>
            <p:nvPr>
              <p:custDataLst>
                <p:tags r:id="rId12"/>
              </p:custDataLst>
            </p:nvPr>
          </p:nvSpPr>
          <p:spPr bwMode="gray">
            <a:xfrm>
              <a:off x="371853" y="5340878"/>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Pulse oximeter</a:t>
              </a:r>
            </a:p>
          </p:txBody>
        </p:sp>
        <p:sp>
          <p:nvSpPr>
            <p:cNvPr id="192" name="Rectangle 191">
              <a:extLst>
                <a:ext uri="{FF2B5EF4-FFF2-40B4-BE49-F238E27FC236}">
                  <a16:creationId xmlns:a16="http://schemas.microsoft.com/office/drawing/2014/main" id="{B860AEFE-444F-5925-EFFC-C94D5B249551}"/>
                </a:ext>
              </a:extLst>
            </p:cNvPr>
            <p:cNvSpPr>
              <a:spLocks noChangeArrowheads="1"/>
            </p:cNvSpPr>
            <p:nvPr>
              <p:custDataLst>
                <p:tags r:id="rId13"/>
              </p:custDataLst>
            </p:nvPr>
          </p:nvSpPr>
          <p:spPr bwMode="gray">
            <a:xfrm>
              <a:off x="371853" y="5691564"/>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Refrigerator for vaccines</a:t>
              </a:r>
            </a:p>
          </p:txBody>
        </p:sp>
        <p:sp>
          <p:nvSpPr>
            <p:cNvPr id="6" name="Rectangle 5">
              <a:extLst>
                <a:ext uri="{FF2B5EF4-FFF2-40B4-BE49-F238E27FC236}">
                  <a16:creationId xmlns:a16="http://schemas.microsoft.com/office/drawing/2014/main" id="{534056A9-46A8-3BF4-6B9F-33EEC64DE2BF}"/>
                </a:ext>
              </a:extLst>
            </p:cNvPr>
            <p:cNvSpPr>
              <a:spLocks noChangeArrowheads="1"/>
            </p:cNvSpPr>
            <p:nvPr>
              <p:custDataLst>
                <p:tags r:id="rId14"/>
              </p:custDataLst>
            </p:nvPr>
          </p:nvSpPr>
          <p:spPr bwMode="gray">
            <a:xfrm>
              <a:off x="371853" y="6043318"/>
              <a:ext cx="1922118" cy="310356"/>
            </a:xfrm>
            <a:prstGeom prst="rect">
              <a:avLst/>
            </a:prstGeom>
            <a:solidFill>
              <a:srgbClr val="FFFFFF">
                <a:lumMod val="95000"/>
              </a:srgbClr>
            </a:solidFill>
            <a:ln w="9525">
              <a:noFill/>
              <a:miter lim="800000"/>
              <a:headEnd/>
              <a:tailEnd/>
            </a:ln>
            <a:effectLst/>
          </p:spPr>
          <p:txBody>
            <a:bodyPr vert="horz" wrap="square" lIns="91440" tIns="77748" rIns="77748" bIns="77748" numCol="1" anchor="ctr" anchorCtr="0" compatLnSpc="1">
              <a:prstTxWarp prst="textNoShape">
                <a:avLst/>
              </a:prstTxWarp>
              <a:noAutofit/>
            </a:bodyPr>
            <a:lstStyle/>
            <a:p>
              <a:pPr marL="0" marR="0" lvl="0" indent="0" algn="l" defTabSz="895328" rtl="0" eaLnBrk="1" fontAlgn="base" latinLnBrk="0" hangingPunct="1">
                <a:lnSpc>
                  <a:spcPct val="100000"/>
                </a:lnSpc>
                <a:spcBef>
                  <a:spcPts val="0"/>
                </a:spcBef>
                <a:spcAft>
                  <a:spcPts val="0"/>
                </a:spcAft>
                <a:buClr>
                  <a:srgbClr val="339966"/>
                </a:buClr>
                <a:buSzTx/>
                <a:buFontTx/>
                <a:buNone/>
                <a:tabLst/>
                <a:defRPr/>
              </a:pPr>
              <a:r>
                <a:rPr kumimoji="0" lang="en-US" sz="1050" b="1" i="0" u="none" strike="noStrike" kern="0" cap="none" spc="0" normalizeH="0" baseline="0" noProof="0" dirty="0">
                  <a:ln>
                    <a:noFill/>
                  </a:ln>
                  <a:solidFill>
                    <a:srgbClr val="1F1F1F"/>
                  </a:solidFill>
                  <a:effectLst/>
                  <a:uLnTx/>
                  <a:uFillTx/>
                  <a:latin typeface="Gill Sans MT" panose="020B0502020104020203" pitchFamily="34" charset="0"/>
                  <a:ea typeface="ＭＳ Ｐゴシック"/>
                  <a:cs typeface="Arial" panose="020B0604020202020204" pitchFamily="34" charset="0"/>
                </a:rPr>
                <a:t>Autoclave</a:t>
              </a:r>
            </a:p>
          </p:txBody>
        </p:sp>
        <p:grpSp>
          <p:nvGrpSpPr>
            <p:cNvPr id="3" name="Group 2">
              <a:extLst>
                <a:ext uri="{FF2B5EF4-FFF2-40B4-BE49-F238E27FC236}">
                  <a16:creationId xmlns:a16="http://schemas.microsoft.com/office/drawing/2014/main" id="{31A90737-D3D4-00D0-8240-4188527A1C66}"/>
                </a:ext>
              </a:extLst>
            </p:cNvPr>
            <p:cNvGrpSpPr/>
            <p:nvPr/>
          </p:nvGrpSpPr>
          <p:grpSpPr>
            <a:xfrm>
              <a:off x="9391856" y="1397789"/>
              <a:ext cx="1327189" cy="4955885"/>
              <a:chOff x="8738718" y="1397789"/>
              <a:chExt cx="1980095" cy="4955885"/>
            </a:xfrm>
          </p:grpSpPr>
          <p:sp>
            <p:nvSpPr>
              <p:cNvPr id="232" name="TextBox 231">
                <a:extLst>
                  <a:ext uri="{FF2B5EF4-FFF2-40B4-BE49-F238E27FC236}">
                    <a16:creationId xmlns:a16="http://schemas.microsoft.com/office/drawing/2014/main" id="{54C71723-BABA-4B51-0575-0BA951C3B571}"/>
                  </a:ext>
                </a:extLst>
              </p:cNvPr>
              <p:cNvSpPr txBox="1"/>
              <p:nvPr/>
            </p:nvSpPr>
            <p:spPr>
              <a:xfrm>
                <a:off x="8738718" y="1397789"/>
                <a:ext cx="1977999"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Amuzu) </a:t>
                </a:r>
              </a:p>
            </p:txBody>
          </p:sp>
          <p:sp>
            <p:nvSpPr>
              <p:cNvPr id="233" name="TextBox 232">
                <a:extLst>
                  <a:ext uri="{FF2B5EF4-FFF2-40B4-BE49-F238E27FC236}">
                    <a16:creationId xmlns:a16="http://schemas.microsoft.com/office/drawing/2014/main" id="{4604EE91-277C-EA5B-E102-A0BEA14FF935}"/>
                  </a:ext>
                </a:extLst>
              </p:cNvPr>
              <p:cNvSpPr txBox="1"/>
              <p:nvPr/>
            </p:nvSpPr>
            <p:spPr>
              <a:xfrm>
                <a:off x="8738718" y="1830808"/>
                <a:ext cx="1977999"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4" name="TextBox 233">
                <a:extLst>
                  <a:ext uri="{FF2B5EF4-FFF2-40B4-BE49-F238E27FC236}">
                    <a16:creationId xmlns:a16="http://schemas.microsoft.com/office/drawing/2014/main" id="{7BE1B631-A2B3-9E14-F366-9EEA8A7751EC}"/>
                  </a:ext>
                </a:extLst>
              </p:cNvPr>
              <p:cNvSpPr txBox="1"/>
              <p:nvPr/>
            </p:nvSpPr>
            <p:spPr>
              <a:xfrm>
                <a:off x="8738718" y="2181494"/>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5" name="TextBox 234">
                <a:extLst>
                  <a:ext uri="{FF2B5EF4-FFF2-40B4-BE49-F238E27FC236}">
                    <a16:creationId xmlns:a16="http://schemas.microsoft.com/office/drawing/2014/main" id="{F5EA6E80-44D7-998D-2DD8-FDF73DA691AB}"/>
                  </a:ext>
                </a:extLst>
              </p:cNvPr>
              <p:cNvSpPr txBox="1"/>
              <p:nvPr/>
            </p:nvSpPr>
            <p:spPr>
              <a:xfrm>
                <a:off x="8738718" y="253218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6" name="TextBox 235">
                <a:extLst>
                  <a:ext uri="{FF2B5EF4-FFF2-40B4-BE49-F238E27FC236}">
                    <a16:creationId xmlns:a16="http://schemas.microsoft.com/office/drawing/2014/main" id="{E5C98F4F-DF7E-0346-FEFC-2BB421280DDC}"/>
                  </a:ext>
                </a:extLst>
              </p:cNvPr>
              <p:cNvSpPr txBox="1"/>
              <p:nvPr/>
            </p:nvSpPr>
            <p:spPr>
              <a:xfrm>
                <a:off x="8738718" y="2883936"/>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7" name="TextBox 236">
                <a:extLst>
                  <a:ext uri="{FF2B5EF4-FFF2-40B4-BE49-F238E27FC236}">
                    <a16:creationId xmlns:a16="http://schemas.microsoft.com/office/drawing/2014/main" id="{AFC03A53-5E80-B122-C2D6-BE3FACA2E235}"/>
                  </a:ext>
                </a:extLst>
              </p:cNvPr>
              <p:cNvSpPr txBox="1"/>
              <p:nvPr/>
            </p:nvSpPr>
            <p:spPr>
              <a:xfrm>
                <a:off x="8738718" y="3234622"/>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8" name="TextBox 237">
                <a:extLst>
                  <a:ext uri="{FF2B5EF4-FFF2-40B4-BE49-F238E27FC236}">
                    <a16:creationId xmlns:a16="http://schemas.microsoft.com/office/drawing/2014/main" id="{12AC1639-1AA8-E677-6A6D-BC374B3DD295}"/>
                  </a:ext>
                </a:extLst>
              </p:cNvPr>
              <p:cNvSpPr txBox="1"/>
              <p:nvPr/>
            </p:nvSpPr>
            <p:spPr>
              <a:xfrm>
                <a:off x="8738718" y="3586378"/>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9" name="TextBox 238">
                <a:extLst>
                  <a:ext uri="{FF2B5EF4-FFF2-40B4-BE49-F238E27FC236}">
                    <a16:creationId xmlns:a16="http://schemas.microsoft.com/office/drawing/2014/main" id="{441873B2-9424-D5DA-C933-406F3B463080}"/>
                  </a:ext>
                </a:extLst>
              </p:cNvPr>
              <p:cNvSpPr txBox="1"/>
              <p:nvPr/>
            </p:nvSpPr>
            <p:spPr>
              <a:xfrm>
                <a:off x="8738718" y="393706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0" name="TextBox 239">
                <a:extLst>
                  <a:ext uri="{FF2B5EF4-FFF2-40B4-BE49-F238E27FC236}">
                    <a16:creationId xmlns:a16="http://schemas.microsoft.com/office/drawing/2014/main" id="{ED0E84E6-A50E-B4A9-CF7A-2CF20A930CA8}"/>
                  </a:ext>
                </a:extLst>
              </p:cNvPr>
              <p:cNvSpPr txBox="1"/>
              <p:nvPr/>
            </p:nvSpPr>
            <p:spPr>
              <a:xfrm>
                <a:off x="8738718" y="428775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1" name="TextBox 240">
                <a:extLst>
                  <a:ext uri="{FF2B5EF4-FFF2-40B4-BE49-F238E27FC236}">
                    <a16:creationId xmlns:a16="http://schemas.microsoft.com/office/drawing/2014/main" id="{841A199A-AF15-6440-F4EB-FAA6C2698854}"/>
                  </a:ext>
                </a:extLst>
              </p:cNvPr>
              <p:cNvSpPr txBox="1"/>
              <p:nvPr/>
            </p:nvSpPr>
            <p:spPr>
              <a:xfrm>
                <a:off x="8738718" y="4638436"/>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2" name="TextBox 241">
                <a:extLst>
                  <a:ext uri="{FF2B5EF4-FFF2-40B4-BE49-F238E27FC236}">
                    <a16:creationId xmlns:a16="http://schemas.microsoft.com/office/drawing/2014/main" id="{BC8F0DC0-7A2F-CD2C-7B37-45CEF7C6F3C0}"/>
                  </a:ext>
                </a:extLst>
              </p:cNvPr>
              <p:cNvSpPr txBox="1"/>
              <p:nvPr/>
            </p:nvSpPr>
            <p:spPr>
              <a:xfrm>
                <a:off x="8738718"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3" name="TextBox 242">
                <a:extLst>
                  <a:ext uri="{FF2B5EF4-FFF2-40B4-BE49-F238E27FC236}">
                    <a16:creationId xmlns:a16="http://schemas.microsoft.com/office/drawing/2014/main" id="{6669A8CC-BF66-4A27-C999-CFCBD6A4C314}"/>
                  </a:ext>
                </a:extLst>
              </p:cNvPr>
              <p:cNvSpPr txBox="1"/>
              <p:nvPr/>
            </p:nvSpPr>
            <p:spPr>
              <a:xfrm>
                <a:off x="8738718" y="5340878"/>
                <a:ext cx="1977999"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4" name="TextBox 243">
                <a:extLst>
                  <a:ext uri="{FF2B5EF4-FFF2-40B4-BE49-F238E27FC236}">
                    <a16:creationId xmlns:a16="http://schemas.microsoft.com/office/drawing/2014/main" id="{633798EA-1B20-C087-FD9A-5601335D54CC}"/>
                  </a:ext>
                </a:extLst>
              </p:cNvPr>
              <p:cNvSpPr txBox="1"/>
              <p:nvPr/>
            </p:nvSpPr>
            <p:spPr>
              <a:xfrm>
                <a:off x="8738718" y="5691564"/>
                <a:ext cx="1977999"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4" name="TextBox 13">
                <a:extLst>
                  <a:ext uri="{FF2B5EF4-FFF2-40B4-BE49-F238E27FC236}">
                    <a16:creationId xmlns:a16="http://schemas.microsoft.com/office/drawing/2014/main" id="{46B6B153-B984-DCFE-E15E-B8BB43CF86A2}"/>
                  </a:ext>
                </a:extLst>
              </p:cNvPr>
              <p:cNvSpPr txBox="1"/>
              <p:nvPr/>
            </p:nvSpPr>
            <p:spPr>
              <a:xfrm>
                <a:off x="8738718" y="6043318"/>
                <a:ext cx="1977999"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7" name="Group 6">
              <a:extLst>
                <a:ext uri="{FF2B5EF4-FFF2-40B4-BE49-F238E27FC236}">
                  <a16:creationId xmlns:a16="http://schemas.microsoft.com/office/drawing/2014/main" id="{3D2B9243-3E85-1F82-DD28-0D13EC5A6668}"/>
                </a:ext>
              </a:extLst>
            </p:cNvPr>
            <p:cNvGrpSpPr/>
            <p:nvPr/>
          </p:nvGrpSpPr>
          <p:grpSpPr>
            <a:xfrm>
              <a:off x="2422534" y="1397789"/>
              <a:ext cx="1327189" cy="4955885"/>
              <a:chOff x="2422534" y="1397789"/>
              <a:chExt cx="1980095" cy="4955885"/>
            </a:xfrm>
          </p:grpSpPr>
          <p:sp>
            <p:nvSpPr>
              <p:cNvPr id="258" name="TextBox 257">
                <a:extLst>
                  <a:ext uri="{FF2B5EF4-FFF2-40B4-BE49-F238E27FC236}">
                    <a16:creationId xmlns:a16="http://schemas.microsoft.com/office/drawing/2014/main" id="{DD781A3D-3B1C-1033-DE78-084072250AF0}"/>
                  </a:ext>
                </a:extLst>
              </p:cNvPr>
              <p:cNvSpPr txBox="1"/>
              <p:nvPr/>
            </p:nvSpPr>
            <p:spPr>
              <a:xfrm>
                <a:off x="2422534" y="1397789"/>
                <a:ext cx="1978857"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Little seed)</a:t>
                </a:r>
              </a:p>
            </p:txBody>
          </p:sp>
          <p:sp>
            <p:nvSpPr>
              <p:cNvPr id="259" name="TextBox 258">
                <a:extLst>
                  <a:ext uri="{FF2B5EF4-FFF2-40B4-BE49-F238E27FC236}">
                    <a16:creationId xmlns:a16="http://schemas.microsoft.com/office/drawing/2014/main" id="{B8B53A2A-DC23-502D-1C6F-A8C0ECE23048}"/>
                  </a:ext>
                </a:extLst>
              </p:cNvPr>
              <p:cNvSpPr txBox="1"/>
              <p:nvPr/>
            </p:nvSpPr>
            <p:spPr>
              <a:xfrm>
                <a:off x="2422534" y="183080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0" name="TextBox 259">
                <a:extLst>
                  <a:ext uri="{FF2B5EF4-FFF2-40B4-BE49-F238E27FC236}">
                    <a16:creationId xmlns:a16="http://schemas.microsoft.com/office/drawing/2014/main" id="{8BC10942-0BC7-91AD-1FC0-1A5C815D1BFF}"/>
                  </a:ext>
                </a:extLst>
              </p:cNvPr>
              <p:cNvSpPr txBox="1"/>
              <p:nvPr/>
            </p:nvSpPr>
            <p:spPr>
              <a:xfrm>
                <a:off x="2422534" y="218149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1" name="TextBox 260">
                <a:extLst>
                  <a:ext uri="{FF2B5EF4-FFF2-40B4-BE49-F238E27FC236}">
                    <a16:creationId xmlns:a16="http://schemas.microsoft.com/office/drawing/2014/main" id="{EFB67994-DD29-1092-65E9-2092A8782967}"/>
                  </a:ext>
                </a:extLst>
              </p:cNvPr>
              <p:cNvSpPr txBox="1"/>
              <p:nvPr/>
            </p:nvSpPr>
            <p:spPr>
              <a:xfrm>
                <a:off x="2422534" y="253218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2" name="TextBox 261">
                <a:extLst>
                  <a:ext uri="{FF2B5EF4-FFF2-40B4-BE49-F238E27FC236}">
                    <a16:creationId xmlns:a16="http://schemas.microsoft.com/office/drawing/2014/main" id="{9B4EDD05-FF3E-8257-4513-F112D064D879}"/>
                  </a:ext>
                </a:extLst>
              </p:cNvPr>
              <p:cNvSpPr txBox="1"/>
              <p:nvPr/>
            </p:nvSpPr>
            <p:spPr>
              <a:xfrm>
                <a:off x="2422534" y="2883936"/>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3" name="TextBox 262">
                <a:extLst>
                  <a:ext uri="{FF2B5EF4-FFF2-40B4-BE49-F238E27FC236}">
                    <a16:creationId xmlns:a16="http://schemas.microsoft.com/office/drawing/2014/main" id="{1AF9470C-6E8F-26B1-D178-5AC0F05309D5}"/>
                  </a:ext>
                </a:extLst>
              </p:cNvPr>
              <p:cNvSpPr txBox="1"/>
              <p:nvPr/>
            </p:nvSpPr>
            <p:spPr>
              <a:xfrm>
                <a:off x="2422534" y="3234622"/>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4" name="TextBox 263">
                <a:extLst>
                  <a:ext uri="{FF2B5EF4-FFF2-40B4-BE49-F238E27FC236}">
                    <a16:creationId xmlns:a16="http://schemas.microsoft.com/office/drawing/2014/main" id="{17C50C0E-41F0-F62D-A471-CAB3667D38AB}"/>
                  </a:ext>
                </a:extLst>
              </p:cNvPr>
              <p:cNvSpPr txBox="1"/>
              <p:nvPr/>
            </p:nvSpPr>
            <p:spPr>
              <a:xfrm>
                <a:off x="2422534" y="3586378"/>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5" name="TextBox 264">
                <a:extLst>
                  <a:ext uri="{FF2B5EF4-FFF2-40B4-BE49-F238E27FC236}">
                    <a16:creationId xmlns:a16="http://schemas.microsoft.com/office/drawing/2014/main" id="{05CA3975-389A-F3FA-060A-974A352340D2}"/>
                  </a:ext>
                </a:extLst>
              </p:cNvPr>
              <p:cNvSpPr txBox="1"/>
              <p:nvPr/>
            </p:nvSpPr>
            <p:spPr>
              <a:xfrm>
                <a:off x="2422534" y="393706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6" name="TextBox 265">
                <a:extLst>
                  <a:ext uri="{FF2B5EF4-FFF2-40B4-BE49-F238E27FC236}">
                    <a16:creationId xmlns:a16="http://schemas.microsoft.com/office/drawing/2014/main" id="{2710EA8A-D995-F2B1-9796-DF446A27F810}"/>
                  </a:ext>
                </a:extLst>
              </p:cNvPr>
              <p:cNvSpPr txBox="1"/>
              <p:nvPr/>
            </p:nvSpPr>
            <p:spPr>
              <a:xfrm>
                <a:off x="2422534" y="428775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7" name="TextBox 266">
                <a:extLst>
                  <a:ext uri="{FF2B5EF4-FFF2-40B4-BE49-F238E27FC236}">
                    <a16:creationId xmlns:a16="http://schemas.microsoft.com/office/drawing/2014/main" id="{DBE3242A-723C-8AA4-5FC1-A8E4A31F8957}"/>
                  </a:ext>
                </a:extLst>
              </p:cNvPr>
              <p:cNvSpPr txBox="1"/>
              <p:nvPr/>
            </p:nvSpPr>
            <p:spPr>
              <a:xfrm>
                <a:off x="2422534" y="4638436"/>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8" name="TextBox 267">
                <a:extLst>
                  <a:ext uri="{FF2B5EF4-FFF2-40B4-BE49-F238E27FC236}">
                    <a16:creationId xmlns:a16="http://schemas.microsoft.com/office/drawing/2014/main" id="{E8550EC2-0AE1-4BA8-EB8B-90C3E30CE9F1}"/>
                  </a:ext>
                </a:extLst>
              </p:cNvPr>
              <p:cNvSpPr txBox="1"/>
              <p:nvPr/>
            </p:nvSpPr>
            <p:spPr>
              <a:xfrm>
                <a:off x="2422534"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9" name="TextBox 268">
                <a:extLst>
                  <a:ext uri="{FF2B5EF4-FFF2-40B4-BE49-F238E27FC236}">
                    <a16:creationId xmlns:a16="http://schemas.microsoft.com/office/drawing/2014/main" id="{69632BEE-CAA5-4383-E404-729FDC0D1839}"/>
                  </a:ext>
                </a:extLst>
              </p:cNvPr>
              <p:cNvSpPr txBox="1"/>
              <p:nvPr/>
            </p:nvSpPr>
            <p:spPr>
              <a:xfrm>
                <a:off x="2422534" y="534087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0" name="TextBox 269">
                <a:extLst>
                  <a:ext uri="{FF2B5EF4-FFF2-40B4-BE49-F238E27FC236}">
                    <a16:creationId xmlns:a16="http://schemas.microsoft.com/office/drawing/2014/main" id="{39CCB382-90E5-BF29-AB02-A2F54A8D2A16}"/>
                  </a:ext>
                </a:extLst>
              </p:cNvPr>
              <p:cNvSpPr txBox="1"/>
              <p:nvPr/>
            </p:nvSpPr>
            <p:spPr>
              <a:xfrm>
                <a:off x="2422534" y="569156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8" name="TextBox 17">
                <a:extLst>
                  <a:ext uri="{FF2B5EF4-FFF2-40B4-BE49-F238E27FC236}">
                    <a16:creationId xmlns:a16="http://schemas.microsoft.com/office/drawing/2014/main" id="{1197E923-78D4-301E-3774-D7755C0BBA46}"/>
                  </a:ext>
                </a:extLst>
              </p:cNvPr>
              <p:cNvSpPr txBox="1"/>
              <p:nvPr/>
            </p:nvSpPr>
            <p:spPr>
              <a:xfrm>
                <a:off x="2422534" y="604331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5" name="Group 4">
              <a:extLst>
                <a:ext uri="{FF2B5EF4-FFF2-40B4-BE49-F238E27FC236}">
                  <a16:creationId xmlns:a16="http://schemas.microsoft.com/office/drawing/2014/main" id="{8B002C1D-9F48-F04D-5F6B-56B28FC68CB4}"/>
                </a:ext>
              </a:extLst>
            </p:cNvPr>
            <p:cNvGrpSpPr/>
            <p:nvPr/>
          </p:nvGrpSpPr>
          <p:grpSpPr>
            <a:xfrm>
              <a:off x="5210262" y="1397789"/>
              <a:ext cx="1327189" cy="4955252"/>
              <a:chOff x="4527929" y="1397789"/>
              <a:chExt cx="1980095" cy="4955252"/>
            </a:xfrm>
          </p:grpSpPr>
          <p:sp>
            <p:nvSpPr>
              <p:cNvPr id="271" name="TextBox 270">
                <a:extLst>
                  <a:ext uri="{FF2B5EF4-FFF2-40B4-BE49-F238E27FC236}">
                    <a16:creationId xmlns:a16="http://schemas.microsoft.com/office/drawing/2014/main" id="{264345A9-29AA-E2A3-7793-55B2F0C5E860}"/>
                  </a:ext>
                </a:extLst>
              </p:cNvPr>
              <p:cNvSpPr txBox="1"/>
              <p:nvPr/>
            </p:nvSpPr>
            <p:spPr>
              <a:xfrm>
                <a:off x="4527929" y="1397789"/>
                <a:ext cx="1980095"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Urban  (Divine Mercy)</a:t>
                </a:r>
              </a:p>
            </p:txBody>
          </p:sp>
          <p:sp>
            <p:nvSpPr>
              <p:cNvPr id="272" name="TextBox 271">
                <a:extLst>
                  <a:ext uri="{FF2B5EF4-FFF2-40B4-BE49-F238E27FC236}">
                    <a16:creationId xmlns:a16="http://schemas.microsoft.com/office/drawing/2014/main" id="{DD50441E-395E-4DD8-A11B-DFB17DC78B07}"/>
                  </a:ext>
                </a:extLst>
              </p:cNvPr>
              <p:cNvSpPr txBox="1"/>
              <p:nvPr/>
            </p:nvSpPr>
            <p:spPr>
              <a:xfrm>
                <a:off x="4527929" y="1830808"/>
                <a:ext cx="1980095" cy="308421"/>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3" name="TextBox 272">
                <a:extLst>
                  <a:ext uri="{FF2B5EF4-FFF2-40B4-BE49-F238E27FC236}">
                    <a16:creationId xmlns:a16="http://schemas.microsoft.com/office/drawing/2014/main" id="{196E5E3C-5C18-6A7D-7182-AEFA1C04704D}"/>
                  </a:ext>
                </a:extLst>
              </p:cNvPr>
              <p:cNvSpPr txBox="1"/>
              <p:nvPr/>
            </p:nvSpPr>
            <p:spPr>
              <a:xfrm>
                <a:off x="4527929" y="2181494"/>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4" name="TextBox 273">
                <a:extLst>
                  <a:ext uri="{FF2B5EF4-FFF2-40B4-BE49-F238E27FC236}">
                    <a16:creationId xmlns:a16="http://schemas.microsoft.com/office/drawing/2014/main" id="{297B6B60-02BE-1F58-050D-77858DAA5A0F}"/>
                  </a:ext>
                </a:extLst>
              </p:cNvPr>
              <p:cNvSpPr txBox="1"/>
              <p:nvPr/>
            </p:nvSpPr>
            <p:spPr>
              <a:xfrm>
                <a:off x="4527929" y="2532180"/>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5" name="TextBox 274">
                <a:extLst>
                  <a:ext uri="{FF2B5EF4-FFF2-40B4-BE49-F238E27FC236}">
                    <a16:creationId xmlns:a16="http://schemas.microsoft.com/office/drawing/2014/main" id="{B1E5C3F5-C425-077C-1029-5F6D079BCF78}"/>
                  </a:ext>
                </a:extLst>
              </p:cNvPr>
              <p:cNvSpPr txBox="1"/>
              <p:nvPr/>
            </p:nvSpPr>
            <p:spPr>
              <a:xfrm>
                <a:off x="4527929" y="2883936"/>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6" name="TextBox 275">
                <a:extLst>
                  <a:ext uri="{FF2B5EF4-FFF2-40B4-BE49-F238E27FC236}">
                    <a16:creationId xmlns:a16="http://schemas.microsoft.com/office/drawing/2014/main" id="{D7C89C96-9FE7-B030-DA2D-6643299D47E5}"/>
                  </a:ext>
                </a:extLst>
              </p:cNvPr>
              <p:cNvSpPr txBox="1"/>
              <p:nvPr/>
            </p:nvSpPr>
            <p:spPr>
              <a:xfrm>
                <a:off x="4527929" y="3234622"/>
                <a:ext cx="1980095" cy="31142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7" name="TextBox 276">
                <a:extLst>
                  <a:ext uri="{FF2B5EF4-FFF2-40B4-BE49-F238E27FC236}">
                    <a16:creationId xmlns:a16="http://schemas.microsoft.com/office/drawing/2014/main" id="{4A81F13C-9CFC-11B9-7DAC-D5B922242E68}"/>
                  </a:ext>
                </a:extLst>
              </p:cNvPr>
              <p:cNvSpPr txBox="1"/>
              <p:nvPr/>
            </p:nvSpPr>
            <p:spPr>
              <a:xfrm>
                <a:off x="4527929" y="3586378"/>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8" name="TextBox 277">
                <a:extLst>
                  <a:ext uri="{FF2B5EF4-FFF2-40B4-BE49-F238E27FC236}">
                    <a16:creationId xmlns:a16="http://schemas.microsoft.com/office/drawing/2014/main" id="{B43A8FAA-E4CC-C0DE-D9C4-E3491E9BFB1C}"/>
                  </a:ext>
                </a:extLst>
              </p:cNvPr>
              <p:cNvSpPr txBox="1"/>
              <p:nvPr/>
            </p:nvSpPr>
            <p:spPr>
              <a:xfrm>
                <a:off x="4527929" y="3937064"/>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79" name="TextBox 278">
                <a:extLst>
                  <a:ext uri="{FF2B5EF4-FFF2-40B4-BE49-F238E27FC236}">
                    <a16:creationId xmlns:a16="http://schemas.microsoft.com/office/drawing/2014/main" id="{E06B7F70-4C85-A4EB-6EF1-3D019343E8A3}"/>
                  </a:ext>
                </a:extLst>
              </p:cNvPr>
              <p:cNvSpPr txBox="1"/>
              <p:nvPr/>
            </p:nvSpPr>
            <p:spPr>
              <a:xfrm>
                <a:off x="4527929" y="4287750"/>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0" name="TextBox 279">
                <a:extLst>
                  <a:ext uri="{FF2B5EF4-FFF2-40B4-BE49-F238E27FC236}">
                    <a16:creationId xmlns:a16="http://schemas.microsoft.com/office/drawing/2014/main" id="{71D12E45-6E6E-CE22-47E1-A0EFC7D3EA75}"/>
                  </a:ext>
                </a:extLst>
              </p:cNvPr>
              <p:cNvSpPr txBox="1"/>
              <p:nvPr/>
            </p:nvSpPr>
            <p:spPr>
              <a:xfrm>
                <a:off x="4527929" y="4638436"/>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1" name="TextBox 280">
                <a:extLst>
                  <a:ext uri="{FF2B5EF4-FFF2-40B4-BE49-F238E27FC236}">
                    <a16:creationId xmlns:a16="http://schemas.microsoft.com/office/drawing/2014/main" id="{44DECD75-C86C-8934-1FC1-A909CD6AECE0}"/>
                  </a:ext>
                </a:extLst>
              </p:cNvPr>
              <p:cNvSpPr txBox="1"/>
              <p:nvPr/>
            </p:nvSpPr>
            <p:spPr>
              <a:xfrm>
                <a:off x="4527929"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2" name="TextBox 281">
                <a:extLst>
                  <a:ext uri="{FF2B5EF4-FFF2-40B4-BE49-F238E27FC236}">
                    <a16:creationId xmlns:a16="http://schemas.microsoft.com/office/drawing/2014/main" id="{B9E63EFF-F85F-F9F5-249A-1EBCC380599B}"/>
                  </a:ext>
                </a:extLst>
              </p:cNvPr>
              <p:cNvSpPr txBox="1"/>
              <p:nvPr/>
            </p:nvSpPr>
            <p:spPr>
              <a:xfrm>
                <a:off x="4527929" y="5340878"/>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3" name="TextBox 282">
                <a:extLst>
                  <a:ext uri="{FF2B5EF4-FFF2-40B4-BE49-F238E27FC236}">
                    <a16:creationId xmlns:a16="http://schemas.microsoft.com/office/drawing/2014/main" id="{FB2D97AF-5BED-CCE2-1531-B3FD727B4B82}"/>
                  </a:ext>
                </a:extLst>
              </p:cNvPr>
              <p:cNvSpPr txBox="1"/>
              <p:nvPr/>
            </p:nvSpPr>
            <p:spPr>
              <a:xfrm>
                <a:off x="4527929" y="5691564"/>
                <a:ext cx="1980095" cy="31142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0" name="TextBox 19">
                <a:extLst>
                  <a:ext uri="{FF2B5EF4-FFF2-40B4-BE49-F238E27FC236}">
                    <a16:creationId xmlns:a16="http://schemas.microsoft.com/office/drawing/2014/main" id="{3CB1FE87-9E72-7370-1F86-9605D44879A3}"/>
                  </a:ext>
                </a:extLst>
              </p:cNvPr>
              <p:cNvSpPr txBox="1"/>
              <p:nvPr/>
            </p:nvSpPr>
            <p:spPr>
              <a:xfrm>
                <a:off x="4527929" y="6043318"/>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4" name="Group 3">
              <a:extLst>
                <a:ext uri="{FF2B5EF4-FFF2-40B4-BE49-F238E27FC236}">
                  <a16:creationId xmlns:a16="http://schemas.microsoft.com/office/drawing/2014/main" id="{185F4EB8-04C5-E17B-ED58-E9DB9CCF2279}"/>
                </a:ext>
              </a:extLst>
            </p:cNvPr>
            <p:cNvGrpSpPr/>
            <p:nvPr/>
          </p:nvGrpSpPr>
          <p:grpSpPr>
            <a:xfrm>
              <a:off x="7997990" y="1397789"/>
              <a:ext cx="1327189" cy="4955252"/>
              <a:chOff x="6633324" y="1397789"/>
              <a:chExt cx="1980095" cy="4955252"/>
            </a:xfrm>
          </p:grpSpPr>
          <p:sp>
            <p:nvSpPr>
              <p:cNvPr id="284" name="TextBox 283">
                <a:extLst>
                  <a:ext uri="{FF2B5EF4-FFF2-40B4-BE49-F238E27FC236}">
                    <a16:creationId xmlns:a16="http://schemas.microsoft.com/office/drawing/2014/main" id="{569E355C-6E48-3898-6142-AA40DCD0EA67}"/>
                  </a:ext>
                </a:extLst>
              </p:cNvPr>
              <p:cNvSpPr txBox="1"/>
              <p:nvPr/>
            </p:nvSpPr>
            <p:spPr>
              <a:xfrm>
                <a:off x="6633324" y="1397789"/>
                <a:ext cx="1980095"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SHF - Urban  (Bethel)</a:t>
                </a:r>
              </a:p>
            </p:txBody>
          </p:sp>
          <p:sp>
            <p:nvSpPr>
              <p:cNvPr id="285" name="TextBox 284">
                <a:extLst>
                  <a:ext uri="{FF2B5EF4-FFF2-40B4-BE49-F238E27FC236}">
                    <a16:creationId xmlns:a16="http://schemas.microsoft.com/office/drawing/2014/main" id="{AE5D44E0-E91B-6CE2-0537-25BDCACA122D}"/>
                  </a:ext>
                </a:extLst>
              </p:cNvPr>
              <p:cNvSpPr txBox="1"/>
              <p:nvPr/>
            </p:nvSpPr>
            <p:spPr>
              <a:xfrm>
                <a:off x="6633324" y="1830808"/>
                <a:ext cx="1980095" cy="308421"/>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6" name="TextBox 285">
                <a:extLst>
                  <a:ext uri="{FF2B5EF4-FFF2-40B4-BE49-F238E27FC236}">
                    <a16:creationId xmlns:a16="http://schemas.microsoft.com/office/drawing/2014/main" id="{2C566B20-23AE-6E78-C338-DA90552168B4}"/>
                  </a:ext>
                </a:extLst>
              </p:cNvPr>
              <p:cNvSpPr txBox="1"/>
              <p:nvPr/>
            </p:nvSpPr>
            <p:spPr>
              <a:xfrm>
                <a:off x="6633324" y="2181494"/>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7" name="TextBox 286">
                <a:extLst>
                  <a:ext uri="{FF2B5EF4-FFF2-40B4-BE49-F238E27FC236}">
                    <a16:creationId xmlns:a16="http://schemas.microsoft.com/office/drawing/2014/main" id="{08DEA484-B882-5AFA-46FD-A736A15FF370}"/>
                  </a:ext>
                </a:extLst>
              </p:cNvPr>
              <p:cNvSpPr txBox="1"/>
              <p:nvPr/>
            </p:nvSpPr>
            <p:spPr>
              <a:xfrm>
                <a:off x="6633324" y="2532180"/>
                <a:ext cx="1980095" cy="311426"/>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8" name="TextBox 287">
                <a:extLst>
                  <a:ext uri="{FF2B5EF4-FFF2-40B4-BE49-F238E27FC236}">
                    <a16:creationId xmlns:a16="http://schemas.microsoft.com/office/drawing/2014/main" id="{8082DA80-6AD9-E8CF-5B84-BB3B34E58C82}"/>
                  </a:ext>
                </a:extLst>
              </p:cNvPr>
              <p:cNvSpPr txBox="1"/>
              <p:nvPr/>
            </p:nvSpPr>
            <p:spPr>
              <a:xfrm>
                <a:off x="6633324" y="2883936"/>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89" name="TextBox 288">
                <a:extLst>
                  <a:ext uri="{FF2B5EF4-FFF2-40B4-BE49-F238E27FC236}">
                    <a16:creationId xmlns:a16="http://schemas.microsoft.com/office/drawing/2014/main" id="{CD124F7A-9348-D506-7F62-EE70213C73DA}"/>
                  </a:ext>
                </a:extLst>
              </p:cNvPr>
              <p:cNvSpPr txBox="1"/>
              <p:nvPr/>
            </p:nvSpPr>
            <p:spPr>
              <a:xfrm>
                <a:off x="6633324" y="3234622"/>
                <a:ext cx="1980095" cy="311426"/>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0" name="TextBox 289">
                <a:extLst>
                  <a:ext uri="{FF2B5EF4-FFF2-40B4-BE49-F238E27FC236}">
                    <a16:creationId xmlns:a16="http://schemas.microsoft.com/office/drawing/2014/main" id="{B3C7099A-1652-8776-D986-4503FB04DC16}"/>
                  </a:ext>
                </a:extLst>
              </p:cNvPr>
              <p:cNvSpPr txBox="1"/>
              <p:nvPr/>
            </p:nvSpPr>
            <p:spPr>
              <a:xfrm>
                <a:off x="6633324" y="3586378"/>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1" name="TextBox 290">
                <a:extLst>
                  <a:ext uri="{FF2B5EF4-FFF2-40B4-BE49-F238E27FC236}">
                    <a16:creationId xmlns:a16="http://schemas.microsoft.com/office/drawing/2014/main" id="{32747C39-7E95-DC13-94E8-B89054561960}"/>
                  </a:ext>
                </a:extLst>
              </p:cNvPr>
              <p:cNvSpPr txBox="1"/>
              <p:nvPr/>
            </p:nvSpPr>
            <p:spPr>
              <a:xfrm>
                <a:off x="6633324" y="3937064"/>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2" name="TextBox 291">
                <a:extLst>
                  <a:ext uri="{FF2B5EF4-FFF2-40B4-BE49-F238E27FC236}">
                    <a16:creationId xmlns:a16="http://schemas.microsoft.com/office/drawing/2014/main" id="{B4165BF5-BC2F-258A-00C7-E714070E279D}"/>
                  </a:ext>
                </a:extLst>
              </p:cNvPr>
              <p:cNvSpPr txBox="1"/>
              <p:nvPr/>
            </p:nvSpPr>
            <p:spPr>
              <a:xfrm>
                <a:off x="6633324" y="4287750"/>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3" name="TextBox 292">
                <a:extLst>
                  <a:ext uri="{FF2B5EF4-FFF2-40B4-BE49-F238E27FC236}">
                    <a16:creationId xmlns:a16="http://schemas.microsoft.com/office/drawing/2014/main" id="{CCB9FFE4-C3B5-EDAA-CF11-0512DAEFA1E1}"/>
                  </a:ext>
                </a:extLst>
              </p:cNvPr>
              <p:cNvSpPr txBox="1"/>
              <p:nvPr/>
            </p:nvSpPr>
            <p:spPr>
              <a:xfrm>
                <a:off x="6633324" y="4638436"/>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4" name="TextBox 293">
                <a:extLst>
                  <a:ext uri="{FF2B5EF4-FFF2-40B4-BE49-F238E27FC236}">
                    <a16:creationId xmlns:a16="http://schemas.microsoft.com/office/drawing/2014/main" id="{21B7DC6B-1633-67C6-E930-8C069B2FBB8B}"/>
                  </a:ext>
                </a:extLst>
              </p:cNvPr>
              <p:cNvSpPr txBox="1"/>
              <p:nvPr/>
            </p:nvSpPr>
            <p:spPr>
              <a:xfrm>
                <a:off x="6633324" y="4989122"/>
                <a:ext cx="1980095" cy="311426"/>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5" name="TextBox 294">
                <a:extLst>
                  <a:ext uri="{FF2B5EF4-FFF2-40B4-BE49-F238E27FC236}">
                    <a16:creationId xmlns:a16="http://schemas.microsoft.com/office/drawing/2014/main" id="{5507AA39-9B2F-FA24-BC17-B8FCA7848B77}"/>
                  </a:ext>
                </a:extLst>
              </p:cNvPr>
              <p:cNvSpPr txBox="1"/>
              <p:nvPr/>
            </p:nvSpPr>
            <p:spPr>
              <a:xfrm>
                <a:off x="6633324" y="5340878"/>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96" name="TextBox 295">
                <a:extLst>
                  <a:ext uri="{FF2B5EF4-FFF2-40B4-BE49-F238E27FC236}">
                    <a16:creationId xmlns:a16="http://schemas.microsoft.com/office/drawing/2014/main" id="{B61B0E8F-6CB2-4CE4-8CD5-45728BFD9801}"/>
                  </a:ext>
                </a:extLst>
              </p:cNvPr>
              <p:cNvSpPr txBox="1"/>
              <p:nvPr/>
            </p:nvSpPr>
            <p:spPr>
              <a:xfrm>
                <a:off x="6633324" y="5691564"/>
                <a:ext cx="1980095" cy="311426"/>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2" name="TextBox 21">
                <a:extLst>
                  <a:ext uri="{FF2B5EF4-FFF2-40B4-BE49-F238E27FC236}">
                    <a16:creationId xmlns:a16="http://schemas.microsoft.com/office/drawing/2014/main" id="{27B1E722-49E4-194A-562B-E0B8CEB95712}"/>
                  </a:ext>
                </a:extLst>
              </p:cNvPr>
              <p:cNvSpPr txBox="1"/>
              <p:nvPr/>
            </p:nvSpPr>
            <p:spPr>
              <a:xfrm>
                <a:off x="6633324" y="6043318"/>
                <a:ext cx="1980095" cy="309723"/>
              </a:xfrm>
              <a:prstGeom prst="rect">
                <a:avLst/>
              </a:prstGeom>
              <a:solidFill>
                <a:schemeClr val="bg2"/>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8" name="Group 7">
              <a:extLst>
                <a:ext uri="{FF2B5EF4-FFF2-40B4-BE49-F238E27FC236}">
                  <a16:creationId xmlns:a16="http://schemas.microsoft.com/office/drawing/2014/main" id="{3B7BB00E-4F69-EE99-9B37-E94A35B05313}"/>
                </a:ext>
              </a:extLst>
            </p:cNvPr>
            <p:cNvGrpSpPr/>
            <p:nvPr/>
          </p:nvGrpSpPr>
          <p:grpSpPr>
            <a:xfrm>
              <a:off x="6604126" y="1395811"/>
              <a:ext cx="1327189" cy="4955252"/>
              <a:chOff x="4527929" y="1397789"/>
              <a:chExt cx="1980095" cy="4955252"/>
            </a:xfrm>
          </p:grpSpPr>
          <p:sp>
            <p:nvSpPr>
              <p:cNvPr id="9" name="TextBox 8">
                <a:extLst>
                  <a:ext uri="{FF2B5EF4-FFF2-40B4-BE49-F238E27FC236}">
                    <a16:creationId xmlns:a16="http://schemas.microsoft.com/office/drawing/2014/main" id="{A0E98B3E-2712-1AD5-DE51-DC375F91B7D4}"/>
                  </a:ext>
                </a:extLst>
              </p:cNvPr>
              <p:cNvSpPr txBox="1"/>
              <p:nvPr/>
            </p:nvSpPr>
            <p:spPr>
              <a:xfrm>
                <a:off x="4527929" y="1397789"/>
                <a:ext cx="1980095"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SHF- Urban  (St Theresa)</a:t>
                </a:r>
              </a:p>
            </p:txBody>
          </p:sp>
          <p:sp>
            <p:nvSpPr>
              <p:cNvPr id="10" name="TextBox 9">
                <a:extLst>
                  <a:ext uri="{FF2B5EF4-FFF2-40B4-BE49-F238E27FC236}">
                    <a16:creationId xmlns:a16="http://schemas.microsoft.com/office/drawing/2014/main" id="{0EEDD88A-92A9-2372-4C60-6134179D5BE8}"/>
                  </a:ext>
                </a:extLst>
              </p:cNvPr>
              <p:cNvSpPr txBox="1"/>
              <p:nvPr/>
            </p:nvSpPr>
            <p:spPr>
              <a:xfrm>
                <a:off x="4527929" y="1830808"/>
                <a:ext cx="1980095" cy="308421"/>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1" name="TextBox 10">
                <a:extLst>
                  <a:ext uri="{FF2B5EF4-FFF2-40B4-BE49-F238E27FC236}">
                    <a16:creationId xmlns:a16="http://schemas.microsoft.com/office/drawing/2014/main" id="{F4EFCB7F-3216-A3A9-82C2-0CEFED7D212A}"/>
                  </a:ext>
                </a:extLst>
              </p:cNvPr>
              <p:cNvSpPr txBox="1"/>
              <p:nvPr/>
            </p:nvSpPr>
            <p:spPr>
              <a:xfrm>
                <a:off x="4527929" y="2181494"/>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2" name="TextBox 11">
                <a:extLst>
                  <a:ext uri="{FF2B5EF4-FFF2-40B4-BE49-F238E27FC236}">
                    <a16:creationId xmlns:a16="http://schemas.microsoft.com/office/drawing/2014/main" id="{8464327E-A69F-D0E7-D92E-F4496BA57009}"/>
                  </a:ext>
                </a:extLst>
              </p:cNvPr>
              <p:cNvSpPr txBox="1"/>
              <p:nvPr/>
            </p:nvSpPr>
            <p:spPr>
              <a:xfrm>
                <a:off x="4527929" y="2532180"/>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3" name="TextBox 12">
                <a:extLst>
                  <a:ext uri="{FF2B5EF4-FFF2-40B4-BE49-F238E27FC236}">
                    <a16:creationId xmlns:a16="http://schemas.microsoft.com/office/drawing/2014/main" id="{DAEB83C9-C475-706D-8CCB-AB040BABE0A3}"/>
                  </a:ext>
                </a:extLst>
              </p:cNvPr>
              <p:cNvSpPr txBox="1"/>
              <p:nvPr/>
            </p:nvSpPr>
            <p:spPr>
              <a:xfrm>
                <a:off x="4527929" y="2883936"/>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5" name="TextBox 14">
                <a:extLst>
                  <a:ext uri="{FF2B5EF4-FFF2-40B4-BE49-F238E27FC236}">
                    <a16:creationId xmlns:a16="http://schemas.microsoft.com/office/drawing/2014/main" id="{0E1F01FF-1FFA-D8CC-5E59-CF4DC1668575}"/>
                  </a:ext>
                </a:extLst>
              </p:cNvPr>
              <p:cNvSpPr txBox="1"/>
              <p:nvPr/>
            </p:nvSpPr>
            <p:spPr>
              <a:xfrm>
                <a:off x="4527929" y="3234622"/>
                <a:ext cx="1980095" cy="31142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6" name="TextBox 15">
                <a:extLst>
                  <a:ext uri="{FF2B5EF4-FFF2-40B4-BE49-F238E27FC236}">
                    <a16:creationId xmlns:a16="http://schemas.microsoft.com/office/drawing/2014/main" id="{10FE4D8C-D03B-5754-D310-78F972B06377}"/>
                  </a:ext>
                </a:extLst>
              </p:cNvPr>
              <p:cNvSpPr txBox="1"/>
              <p:nvPr/>
            </p:nvSpPr>
            <p:spPr>
              <a:xfrm>
                <a:off x="4527929" y="3586378"/>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7" name="TextBox 16">
                <a:extLst>
                  <a:ext uri="{FF2B5EF4-FFF2-40B4-BE49-F238E27FC236}">
                    <a16:creationId xmlns:a16="http://schemas.microsoft.com/office/drawing/2014/main" id="{5E93A18E-7D3C-E7CA-E0B8-4CC0DA13B670}"/>
                  </a:ext>
                </a:extLst>
              </p:cNvPr>
              <p:cNvSpPr txBox="1"/>
              <p:nvPr/>
            </p:nvSpPr>
            <p:spPr>
              <a:xfrm>
                <a:off x="4527929" y="3937064"/>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19" name="TextBox 18">
                <a:extLst>
                  <a:ext uri="{FF2B5EF4-FFF2-40B4-BE49-F238E27FC236}">
                    <a16:creationId xmlns:a16="http://schemas.microsoft.com/office/drawing/2014/main" id="{E2566D6D-EB0C-5789-5D72-F69177183BE7}"/>
                  </a:ext>
                </a:extLst>
              </p:cNvPr>
              <p:cNvSpPr txBox="1"/>
              <p:nvPr/>
            </p:nvSpPr>
            <p:spPr>
              <a:xfrm>
                <a:off x="4527929" y="4287750"/>
                <a:ext cx="1980095" cy="309723"/>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1" name="TextBox 20">
                <a:extLst>
                  <a:ext uri="{FF2B5EF4-FFF2-40B4-BE49-F238E27FC236}">
                    <a16:creationId xmlns:a16="http://schemas.microsoft.com/office/drawing/2014/main" id="{293B0DFA-8508-C1B0-F1D2-CE204A836562}"/>
                  </a:ext>
                </a:extLst>
              </p:cNvPr>
              <p:cNvSpPr txBox="1"/>
              <p:nvPr/>
            </p:nvSpPr>
            <p:spPr>
              <a:xfrm>
                <a:off x="4527929" y="4638436"/>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3" name="TextBox 22">
                <a:extLst>
                  <a:ext uri="{FF2B5EF4-FFF2-40B4-BE49-F238E27FC236}">
                    <a16:creationId xmlns:a16="http://schemas.microsoft.com/office/drawing/2014/main" id="{00EB3810-08EE-02F3-D56E-90A890C0DEAD}"/>
                  </a:ext>
                </a:extLst>
              </p:cNvPr>
              <p:cNvSpPr txBox="1"/>
              <p:nvPr/>
            </p:nvSpPr>
            <p:spPr>
              <a:xfrm>
                <a:off x="4527929"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4" name="TextBox 23">
                <a:extLst>
                  <a:ext uri="{FF2B5EF4-FFF2-40B4-BE49-F238E27FC236}">
                    <a16:creationId xmlns:a16="http://schemas.microsoft.com/office/drawing/2014/main" id="{6E8A0528-E9B1-409A-328C-9B5BED83FCF0}"/>
                  </a:ext>
                </a:extLst>
              </p:cNvPr>
              <p:cNvSpPr txBox="1"/>
              <p:nvPr/>
            </p:nvSpPr>
            <p:spPr>
              <a:xfrm>
                <a:off x="4527929" y="5340878"/>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5" name="TextBox 24">
                <a:extLst>
                  <a:ext uri="{FF2B5EF4-FFF2-40B4-BE49-F238E27FC236}">
                    <a16:creationId xmlns:a16="http://schemas.microsoft.com/office/drawing/2014/main" id="{1DD9B7C3-0F21-B26B-CD61-297115CAF2A1}"/>
                  </a:ext>
                </a:extLst>
              </p:cNvPr>
              <p:cNvSpPr txBox="1"/>
              <p:nvPr/>
            </p:nvSpPr>
            <p:spPr>
              <a:xfrm>
                <a:off x="4527929" y="5691564"/>
                <a:ext cx="1980095" cy="31142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26" name="TextBox 25">
                <a:extLst>
                  <a:ext uri="{FF2B5EF4-FFF2-40B4-BE49-F238E27FC236}">
                    <a16:creationId xmlns:a16="http://schemas.microsoft.com/office/drawing/2014/main" id="{24D18938-1D7C-8C13-1EAB-BC74D4E28C5E}"/>
                  </a:ext>
                </a:extLst>
              </p:cNvPr>
              <p:cNvSpPr txBox="1"/>
              <p:nvPr/>
            </p:nvSpPr>
            <p:spPr>
              <a:xfrm>
                <a:off x="4527929" y="6043318"/>
                <a:ext cx="1980095" cy="309723"/>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nvGrpSpPr>
            <p:cNvPr id="27" name="Group 26">
              <a:extLst>
                <a:ext uri="{FF2B5EF4-FFF2-40B4-BE49-F238E27FC236}">
                  <a16:creationId xmlns:a16="http://schemas.microsoft.com/office/drawing/2014/main" id="{244F877A-AA74-65C5-6CEB-9132C4E8F2F3}"/>
                </a:ext>
              </a:extLst>
            </p:cNvPr>
            <p:cNvGrpSpPr/>
            <p:nvPr/>
          </p:nvGrpSpPr>
          <p:grpSpPr>
            <a:xfrm>
              <a:off x="3816398" y="1395810"/>
              <a:ext cx="1327189" cy="4955885"/>
              <a:chOff x="2422534" y="1397789"/>
              <a:chExt cx="1980095" cy="4955885"/>
            </a:xfrm>
          </p:grpSpPr>
          <p:sp>
            <p:nvSpPr>
              <p:cNvPr id="29" name="TextBox 28">
                <a:extLst>
                  <a:ext uri="{FF2B5EF4-FFF2-40B4-BE49-F238E27FC236}">
                    <a16:creationId xmlns:a16="http://schemas.microsoft.com/office/drawing/2014/main" id="{A0D215BE-C9FA-8815-01F5-0777664E915F}"/>
                  </a:ext>
                </a:extLst>
              </p:cNvPr>
              <p:cNvSpPr txBox="1"/>
              <p:nvPr/>
            </p:nvSpPr>
            <p:spPr>
              <a:xfrm>
                <a:off x="2422534" y="1397789"/>
                <a:ext cx="1978857" cy="364180"/>
              </a:xfrm>
              <a:prstGeom prst="rect">
                <a:avLst/>
              </a:prstGeom>
              <a:solidFill>
                <a:schemeClr val="accent3">
                  <a:lumMod val="7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PHC- Rural (Chima)</a:t>
                </a:r>
              </a:p>
            </p:txBody>
          </p:sp>
          <p:sp>
            <p:nvSpPr>
              <p:cNvPr id="30" name="TextBox 29">
                <a:extLst>
                  <a:ext uri="{FF2B5EF4-FFF2-40B4-BE49-F238E27FC236}">
                    <a16:creationId xmlns:a16="http://schemas.microsoft.com/office/drawing/2014/main" id="{D5927D4D-F07D-75A3-59AB-F43F999F17AD}"/>
                  </a:ext>
                </a:extLst>
              </p:cNvPr>
              <p:cNvSpPr txBox="1"/>
              <p:nvPr/>
            </p:nvSpPr>
            <p:spPr>
              <a:xfrm>
                <a:off x="2422534" y="183080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31" name="TextBox 30">
                <a:extLst>
                  <a:ext uri="{FF2B5EF4-FFF2-40B4-BE49-F238E27FC236}">
                    <a16:creationId xmlns:a16="http://schemas.microsoft.com/office/drawing/2014/main" id="{43270E36-1BE5-798B-1993-7EB6DC2BB3B8}"/>
                  </a:ext>
                </a:extLst>
              </p:cNvPr>
              <p:cNvSpPr txBox="1"/>
              <p:nvPr/>
            </p:nvSpPr>
            <p:spPr>
              <a:xfrm>
                <a:off x="2422534" y="2181494"/>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32" name="TextBox 31">
                <a:extLst>
                  <a:ext uri="{FF2B5EF4-FFF2-40B4-BE49-F238E27FC236}">
                    <a16:creationId xmlns:a16="http://schemas.microsoft.com/office/drawing/2014/main" id="{BB5D5372-0974-7862-CFFB-845FF02C1CD4}"/>
                  </a:ext>
                </a:extLst>
              </p:cNvPr>
              <p:cNvSpPr txBox="1"/>
              <p:nvPr/>
            </p:nvSpPr>
            <p:spPr>
              <a:xfrm>
                <a:off x="2422534" y="253218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33" name="TextBox 32">
                <a:extLst>
                  <a:ext uri="{FF2B5EF4-FFF2-40B4-BE49-F238E27FC236}">
                    <a16:creationId xmlns:a16="http://schemas.microsoft.com/office/drawing/2014/main" id="{DB806F62-4576-6E79-F36E-A83B50A86B0A}"/>
                  </a:ext>
                </a:extLst>
              </p:cNvPr>
              <p:cNvSpPr txBox="1"/>
              <p:nvPr/>
            </p:nvSpPr>
            <p:spPr>
              <a:xfrm>
                <a:off x="2422534" y="2883936"/>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35" name="TextBox 34">
                <a:extLst>
                  <a:ext uri="{FF2B5EF4-FFF2-40B4-BE49-F238E27FC236}">
                    <a16:creationId xmlns:a16="http://schemas.microsoft.com/office/drawing/2014/main" id="{AF624A06-A3B4-E3F4-7D5E-F1749A384071}"/>
                  </a:ext>
                </a:extLst>
              </p:cNvPr>
              <p:cNvSpPr txBox="1"/>
              <p:nvPr/>
            </p:nvSpPr>
            <p:spPr>
              <a:xfrm>
                <a:off x="2422534" y="3234622"/>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2" name="TextBox 41">
                <a:extLst>
                  <a:ext uri="{FF2B5EF4-FFF2-40B4-BE49-F238E27FC236}">
                    <a16:creationId xmlns:a16="http://schemas.microsoft.com/office/drawing/2014/main" id="{9A109BF3-810C-5B41-0C6A-1A9D4EA2FC91}"/>
                  </a:ext>
                </a:extLst>
              </p:cNvPr>
              <p:cNvSpPr txBox="1"/>
              <p:nvPr/>
            </p:nvSpPr>
            <p:spPr>
              <a:xfrm>
                <a:off x="2422534" y="3586378"/>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4" name="TextBox 43">
                <a:extLst>
                  <a:ext uri="{FF2B5EF4-FFF2-40B4-BE49-F238E27FC236}">
                    <a16:creationId xmlns:a16="http://schemas.microsoft.com/office/drawing/2014/main" id="{1D9FE7FE-B2A4-ABA7-9CEC-EEF94D46875E}"/>
                  </a:ext>
                </a:extLst>
              </p:cNvPr>
              <p:cNvSpPr txBox="1"/>
              <p:nvPr/>
            </p:nvSpPr>
            <p:spPr>
              <a:xfrm>
                <a:off x="2422534" y="3937064"/>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5" name="TextBox 44">
                <a:extLst>
                  <a:ext uri="{FF2B5EF4-FFF2-40B4-BE49-F238E27FC236}">
                    <a16:creationId xmlns:a16="http://schemas.microsoft.com/office/drawing/2014/main" id="{EA35692C-8D7B-03F0-47C9-D477E1912333}"/>
                  </a:ext>
                </a:extLst>
              </p:cNvPr>
              <p:cNvSpPr txBox="1"/>
              <p:nvPr/>
            </p:nvSpPr>
            <p:spPr>
              <a:xfrm>
                <a:off x="2422534" y="4287750"/>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6" name="TextBox 45">
                <a:extLst>
                  <a:ext uri="{FF2B5EF4-FFF2-40B4-BE49-F238E27FC236}">
                    <a16:creationId xmlns:a16="http://schemas.microsoft.com/office/drawing/2014/main" id="{1BF04D42-08C9-3F7A-56DE-43112E65E5E2}"/>
                  </a:ext>
                </a:extLst>
              </p:cNvPr>
              <p:cNvSpPr txBox="1"/>
              <p:nvPr/>
            </p:nvSpPr>
            <p:spPr>
              <a:xfrm>
                <a:off x="2422534" y="4638436"/>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7" name="TextBox 46">
                <a:extLst>
                  <a:ext uri="{FF2B5EF4-FFF2-40B4-BE49-F238E27FC236}">
                    <a16:creationId xmlns:a16="http://schemas.microsoft.com/office/drawing/2014/main" id="{12D65825-0976-0258-C9F5-482E2BA04795}"/>
                  </a:ext>
                </a:extLst>
              </p:cNvPr>
              <p:cNvSpPr txBox="1"/>
              <p:nvPr/>
            </p:nvSpPr>
            <p:spPr>
              <a:xfrm>
                <a:off x="2422534" y="4989122"/>
                <a:ext cx="1980095" cy="31142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8" name="TextBox 47">
                <a:extLst>
                  <a:ext uri="{FF2B5EF4-FFF2-40B4-BE49-F238E27FC236}">
                    <a16:creationId xmlns:a16="http://schemas.microsoft.com/office/drawing/2014/main" id="{92361C6F-0982-B510-8AFC-42C3919095BE}"/>
                  </a:ext>
                </a:extLst>
              </p:cNvPr>
              <p:cNvSpPr txBox="1"/>
              <p:nvPr/>
            </p:nvSpPr>
            <p:spPr>
              <a:xfrm>
                <a:off x="2422534" y="5340878"/>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49" name="TextBox 48">
                <a:extLst>
                  <a:ext uri="{FF2B5EF4-FFF2-40B4-BE49-F238E27FC236}">
                    <a16:creationId xmlns:a16="http://schemas.microsoft.com/office/drawing/2014/main" id="{50D155EB-943F-0CDA-8449-3BE3F1E0C773}"/>
                  </a:ext>
                </a:extLst>
              </p:cNvPr>
              <p:cNvSpPr txBox="1"/>
              <p:nvPr/>
            </p:nvSpPr>
            <p:spPr>
              <a:xfrm>
                <a:off x="2422534" y="5691564"/>
                <a:ext cx="1980095" cy="310356"/>
              </a:xfrm>
              <a:prstGeom prst="rect">
                <a:avLst/>
              </a:prstGeom>
              <a:solidFill>
                <a:srgbClr val="E8F4F3"/>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
            <p:nvSpPr>
              <p:cNvPr id="50" name="TextBox 49">
                <a:extLst>
                  <a:ext uri="{FF2B5EF4-FFF2-40B4-BE49-F238E27FC236}">
                    <a16:creationId xmlns:a16="http://schemas.microsoft.com/office/drawing/2014/main" id="{1FC6B90D-B584-7F62-DDEF-0E2781FA049A}"/>
                  </a:ext>
                </a:extLst>
              </p:cNvPr>
              <p:cNvSpPr txBox="1"/>
              <p:nvPr/>
            </p:nvSpPr>
            <p:spPr>
              <a:xfrm>
                <a:off x="2422534" y="6043318"/>
                <a:ext cx="1980095" cy="310356"/>
              </a:xfrm>
              <a:prstGeom prst="rect">
                <a:avLst/>
              </a:prstGeom>
              <a:solidFill>
                <a:srgbClr val="4AA19E"/>
              </a:solidFill>
              <a:ln w="9525">
                <a:solidFill>
                  <a:schemeClr val="bg1">
                    <a:lumMod val="75000"/>
                  </a:schemeClr>
                </a:solidFill>
                <a:miter lim="800000"/>
                <a:headEnd/>
                <a:tailEnd/>
              </a:ln>
              <a:effectLst/>
            </p:spPr>
            <p:txBody>
              <a:bodyPr vert="horz" wrap="square" lIns="3600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grpSp>
    </p:spTree>
    <p:extLst>
      <p:ext uri="{BB962C8B-B14F-4D97-AF65-F5344CB8AC3E}">
        <p14:creationId xmlns:p14="http://schemas.microsoft.com/office/powerpoint/2010/main" val="731852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503"/>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1DFD52F-D039-7C47-9186-3FDA35D88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7" name="think-cell data - do not delete" hidden="1">
                        <a:extLst>
                          <a:ext uri="{FF2B5EF4-FFF2-40B4-BE49-F238E27FC236}">
                            <a16:creationId xmlns:a16="http://schemas.microsoft.com/office/drawing/2014/main" id="{D1DFD52F-D039-7C47-9186-3FDA35D88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04" name="Google Shape;1504;p27"/>
          <p:cNvSpPr txBox="1">
            <a:spLocks noGrp="1"/>
          </p:cNvSpPr>
          <p:nvPr>
            <p:ph type="title"/>
          </p:nvPr>
        </p:nvSpPr>
        <p:spPr>
          <a:xfrm>
            <a:off x="457200" y="331504"/>
            <a:ext cx="10868660" cy="64008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2400"/>
              <a:buFont typeface="Gill Sans"/>
              <a:buNone/>
            </a:pPr>
            <a:r>
              <a:rPr lang="en-US" sz="2400" b="1" i="0" u="none" strike="noStrike" cap="none" dirty="0">
                <a:latin typeface="Gill Sans MT" panose="020B0502020104020203" pitchFamily="34" charset="0"/>
                <a:sym typeface="Gill Sans"/>
              </a:rPr>
              <a:t>The shortage of healthcare workers is prevalent across all health facilities, but it is worse in public health facilities.</a:t>
            </a:r>
            <a:endParaRPr dirty="0">
              <a:latin typeface="Gill Sans MT" panose="020B0502020104020203" pitchFamily="34" charset="0"/>
            </a:endParaRPr>
          </a:p>
        </p:txBody>
      </p:sp>
      <p:sp>
        <p:nvSpPr>
          <p:cNvPr id="1505" name="Google Shape;1505;p27"/>
          <p:cNvSpPr/>
          <p:nvPr/>
        </p:nvSpPr>
        <p:spPr>
          <a:xfrm>
            <a:off x="61912" y="6723033"/>
            <a:ext cx="2565785" cy="163775"/>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Gill Sans"/>
              <a:buNone/>
              <a:tabLst/>
              <a:defRPr/>
            </a:pPr>
            <a:r>
              <a:rPr kumimoji="0" lang="en-US" sz="8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SOURCE:  Key Informant Synthesis </a:t>
            </a:r>
            <a:endParaRPr kumimoji="0" sz="1400" b="0" i="0" u="none" strike="noStrike" kern="0" cap="none" spc="0" normalizeH="0" baseline="0" noProof="0" dirty="0">
              <a:ln>
                <a:noFill/>
              </a:ln>
              <a:solidFill>
                <a:srgbClr val="000000"/>
              </a:solidFill>
              <a:effectLst/>
              <a:uLnTx/>
              <a:uFillTx/>
              <a:latin typeface="Gill Sans MT" panose="020B0502020104020203" pitchFamily="34" charset="0"/>
              <a:ea typeface="+mn-ea"/>
              <a:cs typeface="Arial"/>
              <a:sym typeface="Arial"/>
            </a:endParaRPr>
          </a:p>
        </p:txBody>
      </p:sp>
      <p:sp>
        <p:nvSpPr>
          <p:cNvPr id="1507" name="Google Shape;1507;p27"/>
          <p:cNvSpPr/>
          <p:nvPr/>
        </p:nvSpPr>
        <p:spPr>
          <a:xfrm>
            <a:off x="90190" y="6552461"/>
            <a:ext cx="1757862"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Gill Sans"/>
              <a:buNone/>
              <a:tabLst/>
              <a:defRPr/>
            </a:pPr>
            <a:r>
              <a:rPr kumimoji="0" lang="en-US" sz="8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1 CHW- Community Health Worker </a:t>
            </a:r>
            <a:endParaRPr kumimoji="0" sz="1400" b="0" i="0" u="none" strike="noStrike" kern="0" cap="none" spc="0" normalizeH="0" baseline="0" noProof="0" dirty="0">
              <a:ln>
                <a:noFill/>
              </a:ln>
              <a:solidFill>
                <a:srgbClr val="000000"/>
              </a:solidFill>
              <a:effectLst/>
              <a:uLnTx/>
              <a:uFillTx/>
              <a:latin typeface="Gill Sans MT" panose="020B0502020104020203" pitchFamily="34" charset="0"/>
              <a:ea typeface="+mn-ea"/>
              <a:cs typeface="Arial"/>
              <a:sym typeface="Arial"/>
            </a:endParaRPr>
          </a:p>
        </p:txBody>
      </p:sp>
      <p:sp>
        <p:nvSpPr>
          <p:cNvPr id="1637" name="Google Shape;1637;p27"/>
          <p:cNvSpPr txBox="1">
            <a:spLocks noGrp="1"/>
          </p:cNvSpPr>
          <p:nvPr>
            <p:ph type="sldNum" idx="12"/>
          </p:nvPr>
        </p:nvSpPr>
        <p:spPr>
          <a:xfrm>
            <a:off x="11623801" y="6560485"/>
            <a:ext cx="451899" cy="182880"/>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100" b="0" i="0" u="none" strike="noStrike" kern="0" cap="none" spc="0" normalizeH="0" baseline="0" noProof="0">
                <a:ln>
                  <a:noFill/>
                </a:ln>
                <a:solidFill>
                  <a:srgbClr val="112E38"/>
                </a:solidFill>
                <a:effectLst/>
                <a:uLnTx/>
                <a:uFillTx/>
                <a:latin typeface="Gill Sans MT" panose="020B0502020104020203" pitchFamily="34" charset="0"/>
                <a:sym typeface="Gill San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sz="1100" b="0" i="0" u="none" strike="noStrike" kern="0" cap="none" spc="0" normalizeH="0" baseline="0" noProof="0">
              <a:ln>
                <a:noFill/>
              </a:ln>
              <a:solidFill>
                <a:srgbClr val="112E38"/>
              </a:solidFill>
              <a:effectLst/>
              <a:uLnTx/>
              <a:uFillTx/>
              <a:latin typeface="Gill Sans MT" panose="020B0502020104020203" pitchFamily="34" charset="0"/>
              <a:sym typeface="Gill Sans"/>
            </a:endParaRPr>
          </a:p>
        </p:txBody>
      </p:sp>
      <p:cxnSp>
        <p:nvCxnSpPr>
          <p:cNvPr id="1512" name="Google Shape;1512;p27"/>
          <p:cNvCxnSpPr/>
          <p:nvPr/>
        </p:nvCxnSpPr>
        <p:spPr>
          <a:xfrm>
            <a:off x="19739" y="2132610"/>
            <a:ext cx="12161520" cy="0"/>
          </a:xfrm>
          <a:prstGeom prst="straightConnector1">
            <a:avLst/>
          </a:prstGeom>
          <a:noFill/>
          <a:ln w="9525" cap="flat" cmpd="sng">
            <a:solidFill>
              <a:srgbClr val="7F7F7F"/>
            </a:solidFill>
            <a:prstDash val="solid"/>
            <a:round/>
            <a:headEnd type="none" w="sm" len="sm"/>
            <a:tailEnd type="none" w="sm" len="sm"/>
          </a:ln>
        </p:spPr>
      </p:cxnSp>
      <p:sp>
        <p:nvSpPr>
          <p:cNvPr id="1513" name="Google Shape;1513;p27"/>
          <p:cNvSpPr txBox="1"/>
          <p:nvPr/>
        </p:nvSpPr>
        <p:spPr>
          <a:xfrm>
            <a:off x="53857" y="1816808"/>
            <a:ext cx="2834640" cy="253440"/>
          </a:xfrm>
          <a:prstGeom prst="rect">
            <a:avLst/>
          </a:prstGeom>
          <a:noFill/>
          <a:ln>
            <a:noFill/>
          </a:ln>
        </p:spPr>
        <p:txBody>
          <a:bodyPr spcFirstLastPara="1" wrap="square" lIns="45700"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Gill Sans"/>
              <a:buNone/>
              <a:tabLst/>
              <a:defRPr/>
            </a:pPr>
            <a:r>
              <a:rPr lang="en-US" sz="1100" b="1" kern="0" dirty="0">
                <a:solidFill>
                  <a:srgbClr val="000000"/>
                </a:solidFill>
                <a:latin typeface="Gill Sans MT" panose="020B0502020104020203" pitchFamily="34" charset="0"/>
                <a:ea typeface="Gill Sans"/>
                <a:cs typeface="Gill Sans"/>
                <a:sym typeface="Gill Sans"/>
              </a:rPr>
              <a:t>S</a:t>
            </a:r>
            <a:r>
              <a:rPr kumimoji="0" lang="en-US" sz="1100" b="1" i="0" u="none" strike="noStrike" kern="0" cap="none" spc="0" normalizeH="0" baseline="0" noProof="0" dirty="0" err="1">
                <a:ln>
                  <a:noFill/>
                </a:ln>
                <a:solidFill>
                  <a:srgbClr val="000000"/>
                </a:solidFill>
                <a:effectLst/>
                <a:uLnTx/>
                <a:uFillTx/>
                <a:latin typeface="Gill Sans MT" panose="020B0502020104020203" pitchFamily="34" charset="0"/>
                <a:ea typeface="Gill Sans"/>
                <a:cs typeface="Gill Sans"/>
                <a:sym typeface="Gill Sans"/>
              </a:rPr>
              <a:t>ervices</a:t>
            </a: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 Delivery Point </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1514" name="Google Shape;1514;p27"/>
          <p:cNvSpPr txBox="1"/>
          <p:nvPr/>
        </p:nvSpPr>
        <p:spPr>
          <a:xfrm>
            <a:off x="53857" y="2210265"/>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C- Rural (Little seed Hospital and Maternity)</a:t>
            </a:r>
          </a:p>
        </p:txBody>
      </p:sp>
      <p:sp>
        <p:nvSpPr>
          <p:cNvPr id="1515" name="Google Shape;1515;p27"/>
          <p:cNvSpPr txBox="1"/>
          <p:nvPr/>
        </p:nvSpPr>
        <p:spPr>
          <a:xfrm>
            <a:off x="53857" y="2856872"/>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C- Rural (</a:t>
            </a:r>
            <a:r>
              <a:rPr kumimoji="0" lang="en-US" sz="1100" b="0" i="0" u="none" strike="noStrike" kern="0" cap="none" spc="0" normalizeH="0" baseline="0" noProof="0" dirty="0" err="1">
                <a:ln>
                  <a:noFill/>
                </a:ln>
                <a:solidFill>
                  <a:srgbClr val="000000"/>
                </a:solidFill>
                <a:effectLst/>
                <a:uLnTx/>
                <a:uFillTx/>
                <a:latin typeface="Gill Sans MT" panose="020B0502020104020203" pitchFamily="34" charset="0"/>
                <a:ea typeface="Gill Sans"/>
                <a:cs typeface="Gill Sans"/>
                <a:sym typeface="Gill Sans"/>
              </a:rPr>
              <a:t>Chima</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 Hospital)</a:t>
            </a:r>
          </a:p>
        </p:txBody>
      </p:sp>
      <p:sp>
        <p:nvSpPr>
          <p:cNvPr id="1516" name="Google Shape;1516;p27"/>
          <p:cNvSpPr txBox="1"/>
          <p:nvPr/>
        </p:nvSpPr>
        <p:spPr>
          <a:xfrm>
            <a:off x="53857" y="3503181"/>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C- Urban  (Divine Mercy)</a:t>
            </a:r>
          </a:p>
        </p:txBody>
      </p:sp>
      <p:sp>
        <p:nvSpPr>
          <p:cNvPr id="1517" name="Google Shape;1517;p27"/>
          <p:cNvSpPr txBox="1"/>
          <p:nvPr/>
        </p:nvSpPr>
        <p:spPr>
          <a:xfrm>
            <a:off x="53857" y="5442103"/>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ub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C- Rural (</a:t>
            </a:r>
            <a:r>
              <a:rPr kumimoji="0" lang="en-US" sz="1100" b="0" i="0" u="none" strike="noStrike" kern="0" cap="none" spc="0" normalizeH="0" baseline="0" noProof="0" dirty="0" err="1">
                <a:ln>
                  <a:noFill/>
                </a:ln>
                <a:solidFill>
                  <a:srgbClr val="000000"/>
                </a:solidFill>
                <a:effectLst/>
                <a:uLnTx/>
                <a:uFillTx/>
                <a:latin typeface="Gill Sans MT" panose="020B0502020104020203" pitchFamily="34" charset="0"/>
                <a:ea typeface="Gill Sans"/>
                <a:cs typeface="Gill Sans"/>
                <a:sym typeface="Gill Sans"/>
              </a:rPr>
              <a:t>Amuzu</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 </a:t>
            </a:r>
          </a:p>
        </p:txBody>
      </p:sp>
      <p:sp>
        <p:nvSpPr>
          <p:cNvPr id="1522" name="Google Shape;1522;p27"/>
          <p:cNvSpPr txBox="1"/>
          <p:nvPr/>
        </p:nvSpPr>
        <p:spPr>
          <a:xfrm>
            <a:off x="53857" y="4795797"/>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SHF - Urban  (Bethel)</a:t>
            </a:r>
          </a:p>
        </p:txBody>
      </p:sp>
      <p:sp>
        <p:nvSpPr>
          <p:cNvPr id="1523" name="Google Shape;1523;p27"/>
          <p:cNvSpPr txBox="1"/>
          <p:nvPr/>
        </p:nvSpPr>
        <p:spPr>
          <a:xfrm>
            <a:off x="53857" y="4149488"/>
            <a:ext cx="2834640" cy="506877"/>
          </a:xfrm>
          <a:prstGeom prst="rect">
            <a:avLst/>
          </a:prstGeom>
          <a:solidFill>
            <a:srgbClr val="D8EDE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Gill Sans"/>
              <a:buNone/>
              <a:tabLst/>
              <a:defRPr/>
            </a:pPr>
            <a:r>
              <a:rPr kumimoji="0" lang="en-US" sz="1100" b="1" i="1"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vt - </a:t>
            </a:r>
            <a:r>
              <a:rPr kumimoji="0" lang="en-US" sz="11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SHF- Urban  (St Theresa)</a:t>
            </a:r>
          </a:p>
        </p:txBody>
      </p:sp>
      <p:cxnSp>
        <p:nvCxnSpPr>
          <p:cNvPr id="1525" name="Google Shape;1525;p27"/>
          <p:cNvCxnSpPr>
            <a:cxnSpLocks/>
          </p:cNvCxnSpPr>
          <p:nvPr/>
        </p:nvCxnSpPr>
        <p:spPr>
          <a:xfrm>
            <a:off x="76347" y="2787157"/>
            <a:ext cx="11978640" cy="0"/>
          </a:xfrm>
          <a:prstGeom prst="straightConnector1">
            <a:avLst/>
          </a:prstGeom>
          <a:noFill/>
          <a:ln w="9525" cap="flat" cmpd="sng">
            <a:solidFill>
              <a:srgbClr val="BFBFBF"/>
            </a:solidFill>
            <a:prstDash val="dot"/>
            <a:miter lim="800000"/>
            <a:headEnd type="none" w="sm" len="sm"/>
            <a:tailEnd type="none" w="sm" len="sm"/>
          </a:ln>
        </p:spPr>
      </p:cxnSp>
      <p:cxnSp>
        <p:nvCxnSpPr>
          <p:cNvPr id="1526" name="Google Shape;1526;p27"/>
          <p:cNvCxnSpPr>
            <a:cxnSpLocks/>
          </p:cNvCxnSpPr>
          <p:nvPr/>
        </p:nvCxnSpPr>
        <p:spPr>
          <a:xfrm rot="10800000" flipH="1">
            <a:off x="76347" y="3432362"/>
            <a:ext cx="11978640" cy="2201"/>
          </a:xfrm>
          <a:prstGeom prst="straightConnector1">
            <a:avLst/>
          </a:prstGeom>
          <a:noFill/>
          <a:ln w="9525" cap="flat" cmpd="sng">
            <a:solidFill>
              <a:srgbClr val="BFBFBF"/>
            </a:solidFill>
            <a:prstDash val="dot"/>
            <a:miter lim="800000"/>
            <a:headEnd type="none" w="sm" len="sm"/>
            <a:tailEnd type="none" w="sm" len="sm"/>
          </a:ln>
        </p:spPr>
      </p:cxnSp>
      <p:cxnSp>
        <p:nvCxnSpPr>
          <p:cNvPr id="1527" name="Google Shape;1527;p27"/>
          <p:cNvCxnSpPr>
            <a:cxnSpLocks/>
          </p:cNvCxnSpPr>
          <p:nvPr/>
        </p:nvCxnSpPr>
        <p:spPr>
          <a:xfrm rot="10800000" flipH="1">
            <a:off x="76347" y="4078672"/>
            <a:ext cx="11978640" cy="2201"/>
          </a:xfrm>
          <a:prstGeom prst="straightConnector1">
            <a:avLst/>
          </a:prstGeom>
          <a:noFill/>
          <a:ln w="9525" cap="flat" cmpd="sng">
            <a:solidFill>
              <a:srgbClr val="BFBFBF"/>
            </a:solidFill>
            <a:prstDash val="dot"/>
            <a:miter lim="800000"/>
            <a:headEnd type="none" w="sm" len="sm"/>
            <a:tailEnd type="none" w="sm" len="sm"/>
          </a:ln>
        </p:spPr>
      </p:cxnSp>
      <p:cxnSp>
        <p:nvCxnSpPr>
          <p:cNvPr id="1528" name="Google Shape;1528;p27"/>
          <p:cNvCxnSpPr>
            <a:cxnSpLocks/>
          </p:cNvCxnSpPr>
          <p:nvPr/>
        </p:nvCxnSpPr>
        <p:spPr>
          <a:xfrm rot="10800000" flipH="1">
            <a:off x="76347" y="4724983"/>
            <a:ext cx="11978640" cy="2201"/>
          </a:xfrm>
          <a:prstGeom prst="straightConnector1">
            <a:avLst/>
          </a:prstGeom>
          <a:noFill/>
          <a:ln w="9525" cap="flat" cmpd="sng">
            <a:solidFill>
              <a:srgbClr val="BFBFBF"/>
            </a:solidFill>
            <a:prstDash val="dot"/>
            <a:miter lim="800000"/>
            <a:headEnd type="none" w="sm" len="sm"/>
            <a:tailEnd type="none" w="sm" len="sm"/>
          </a:ln>
        </p:spPr>
      </p:cxnSp>
      <p:cxnSp>
        <p:nvCxnSpPr>
          <p:cNvPr id="1529" name="Google Shape;1529;p27"/>
          <p:cNvCxnSpPr>
            <a:cxnSpLocks/>
          </p:cNvCxnSpPr>
          <p:nvPr/>
        </p:nvCxnSpPr>
        <p:spPr>
          <a:xfrm rot="10800000" flipH="1">
            <a:off x="76347" y="5371289"/>
            <a:ext cx="11978640" cy="2201"/>
          </a:xfrm>
          <a:prstGeom prst="straightConnector1">
            <a:avLst/>
          </a:prstGeom>
          <a:noFill/>
          <a:ln w="9525" cap="flat" cmpd="sng">
            <a:solidFill>
              <a:srgbClr val="BFBFBF"/>
            </a:solidFill>
            <a:prstDash val="dot"/>
            <a:miter lim="800000"/>
            <a:headEnd type="none" w="sm" len="sm"/>
            <a:tailEnd type="none" w="sm" len="sm"/>
          </a:ln>
        </p:spPr>
      </p:cxnSp>
      <p:cxnSp>
        <p:nvCxnSpPr>
          <p:cNvPr id="1530" name="Google Shape;1530;p27"/>
          <p:cNvCxnSpPr>
            <a:cxnSpLocks/>
          </p:cNvCxnSpPr>
          <p:nvPr/>
        </p:nvCxnSpPr>
        <p:spPr>
          <a:xfrm rot="10800000" flipH="1">
            <a:off x="76347" y="6017599"/>
            <a:ext cx="11978640" cy="2201"/>
          </a:xfrm>
          <a:prstGeom prst="straightConnector1">
            <a:avLst/>
          </a:prstGeom>
          <a:noFill/>
          <a:ln w="9525" cap="flat" cmpd="sng">
            <a:solidFill>
              <a:srgbClr val="BFBFBF"/>
            </a:solidFill>
            <a:prstDash val="dot"/>
            <a:miter lim="800000"/>
            <a:headEnd type="none" w="sm" len="sm"/>
            <a:tailEnd type="none" w="sm" len="sm"/>
          </a:ln>
        </p:spPr>
      </p:cxnSp>
      <p:sp>
        <p:nvSpPr>
          <p:cNvPr id="1634" name="Google Shape;1634;p27"/>
          <p:cNvSpPr/>
          <p:nvPr/>
        </p:nvSpPr>
        <p:spPr>
          <a:xfrm>
            <a:off x="28012" y="1523805"/>
            <a:ext cx="12141663" cy="4493794"/>
          </a:xfrm>
          <a:prstGeom prst="rect">
            <a:avLst/>
          </a:prstGeom>
          <a:noFill/>
          <a:ln w="12700" cap="flat" cmpd="sng">
            <a:solidFill>
              <a:srgbClr val="36757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Gill Sans"/>
              <a:buNone/>
              <a:tabLst/>
              <a:defRPr/>
            </a:pPr>
            <a:endParaRPr kumimoji="0" sz="1100" b="0" i="0" u="none" strike="noStrike" kern="0" cap="none" spc="0" normalizeH="0" baseline="0" noProof="0">
              <a:ln>
                <a:noFill/>
              </a:ln>
              <a:solidFill>
                <a:srgbClr val="FFFFFF"/>
              </a:solidFill>
              <a:effectLst/>
              <a:uLnTx/>
              <a:uFillTx/>
              <a:latin typeface="Gill Sans MT" panose="020B0502020104020203" pitchFamily="34" charset="0"/>
              <a:ea typeface="Gill Sans"/>
              <a:cs typeface="Gill Sans"/>
              <a:sym typeface="Gill Sans"/>
            </a:endParaRPr>
          </a:p>
        </p:txBody>
      </p:sp>
      <p:cxnSp>
        <p:nvCxnSpPr>
          <p:cNvPr id="15" name="Google Shape;1547;p27">
            <a:extLst>
              <a:ext uri="{FF2B5EF4-FFF2-40B4-BE49-F238E27FC236}">
                <a16:creationId xmlns:a16="http://schemas.microsoft.com/office/drawing/2014/main" id="{823878FE-B83A-F871-6C91-901FF25B9B24}"/>
              </a:ext>
            </a:extLst>
          </p:cNvPr>
          <p:cNvCxnSpPr>
            <a:cxnSpLocks/>
          </p:cNvCxnSpPr>
          <p:nvPr/>
        </p:nvCxnSpPr>
        <p:spPr>
          <a:xfrm rot="10800000">
            <a:off x="2913063" y="1538288"/>
            <a:ext cx="1588" cy="4479925"/>
          </a:xfrm>
          <a:prstGeom prst="straightConnector1">
            <a:avLst/>
          </a:prstGeom>
          <a:noFill/>
          <a:ln w="9525" cap="flat" cmpd="sng">
            <a:solidFill>
              <a:srgbClr val="BFBFBF"/>
            </a:solidFill>
            <a:prstDash val="solid"/>
            <a:miter lim="800000"/>
            <a:headEnd type="none" w="sm" len="sm"/>
            <a:tailEnd type="none" w="sm" len="sm"/>
          </a:ln>
        </p:spPr>
      </p:cxnSp>
      <p:grpSp>
        <p:nvGrpSpPr>
          <p:cNvPr id="1589" name="Group 1588">
            <a:extLst>
              <a:ext uri="{FF2B5EF4-FFF2-40B4-BE49-F238E27FC236}">
                <a16:creationId xmlns:a16="http://schemas.microsoft.com/office/drawing/2014/main" id="{E225C661-506E-1201-17E2-CAEAD4754AD0}"/>
              </a:ext>
            </a:extLst>
          </p:cNvPr>
          <p:cNvGrpSpPr/>
          <p:nvPr/>
        </p:nvGrpSpPr>
        <p:grpSpPr>
          <a:xfrm>
            <a:off x="3014845" y="1581760"/>
            <a:ext cx="825168" cy="4296661"/>
            <a:chOff x="1973445" y="1746860"/>
            <a:chExt cx="758689" cy="4296661"/>
          </a:xfrm>
        </p:grpSpPr>
        <p:sp>
          <p:nvSpPr>
            <p:cNvPr id="1536" name="Google Shape;1536;p27"/>
            <p:cNvSpPr txBox="1"/>
            <p:nvPr/>
          </p:nvSpPr>
          <p:spPr>
            <a:xfrm>
              <a:off x="1973445" y="1746860"/>
              <a:ext cx="758689"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General Physician </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2" name="Oval 1">
              <a:extLst>
                <a:ext uri="{FF2B5EF4-FFF2-40B4-BE49-F238E27FC236}">
                  <a16:creationId xmlns:a16="http://schemas.microsoft.com/office/drawing/2014/main" id="{8660C8E3-BE0D-1D58-B37B-F99080B66ED8}"/>
                </a:ext>
              </a:extLst>
            </p:cNvPr>
            <p:cNvSpPr/>
            <p:nvPr/>
          </p:nvSpPr>
          <p:spPr>
            <a:xfrm>
              <a:off x="2124189" y="2445923"/>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54" name="Oval 53">
              <a:extLst>
                <a:ext uri="{FF2B5EF4-FFF2-40B4-BE49-F238E27FC236}">
                  <a16:creationId xmlns:a16="http://schemas.microsoft.com/office/drawing/2014/main" id="{4529147F-3817-D61A-B3E7-CD452FA3C950}"/>
                </a:ext>
              </a:extLst>
            </p:cNvPr>
            <p:cNvSpPr/>
            <p:nvPr/>
          </p:nvSpPr>
          <p:spPr>
            <a:xfrm>
              <a:off x="2124189" y="309229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498" name="Oval 1497">
              <a:extLst>
                <a:ext uri="{FF2B5EF4-FFF2-40B4-BE49-F238E27FC236}">
                  <a16:creationId xmlns:a16="http://schemas.microsoft.com/office/drawing/2014/main" id="{29D3A871-351F-5228-801D-AF73B9BE4A4F}"/>
                </a:ext>
              </a:extLst>
            </p:cNvPr>
            <p:cNvSpPr/>
            <p:nvPr/>
          </p:nvSpPr>
          <p:spPr>
            <a:xfrm>
              <a:off x="2124189"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546" name="Oval 1545">
              <a:extLst>
                <a:ext uri="{FF2B5EF4-FFF2-40B4-BE49-F238E27FC236}">
                  <a16:creationId xmlns:a16="http://schemas.microsoft.com/office/drawing/2014/main" id="{8AB5492E-0F91-5C9C-841E-ECCFF928CEB4}"/>
                </a:ext>
              </a:extLst>
            </p:cNvPr>
            <p:cNvSpPr/>
            <p:nvPr/>
          </p:nvSpPr>
          <p:spPr>
            <a:xfrm>
              <a:off x="2124189"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562" name="Oval 1561">
              <a:extLst>
                <a:ext uri="{FF2B5EF4-FFF2-40B4-BE49-F238E27FC236}">
                  <a16:creationId xmlns:a16="http://schemas.microsoft.com/office/drawing/2014/main" id="{B41385FF-0E8E-A47B-DD1C-B723F4F23980}"/>
                </a:ext>
              </a:extLst>
            </p:cNvPr>
            <p:cNvSpPr/>
            <p:nvPr/>
          </p:nvSpPr>
          <p:spPr>
            <a:xfrm>
              <a:off x="2124189"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8</a:t>
              </a:r>
            </a:p>
          </p:txBody>
        </p:sp>
        <p:sp>
          <p:nvSpPr>
            <p:cNvPr id="1576" name="Oval 1575">
              <a:extLst>
                <a:ext uri="{FF2B5EF4-FFF2-40B4-BE49-F238E27FC236}">
                  <a16:creationId xmlns:a16="http://schemas.microsoft.com/office/drawing/2014/main" id="{176E0239-AE6E-FDB9-260D-61D6FFADCD3E}"/>
                </a:ext>
              </a:extLst>
            </p:cNvPr>
            <p:cNvSpPr/>
            <p:nvPr/>
          </p:nvSpPr>
          <p:spPr>
            <a:xfrm>
              <a:off x="2124189"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1" name="Group 1590">
            <a:extLst>
              <a:ext uri="{FF2B5EF4-FFF2-40B4-BE49-F238E27FC236}">
                <a16:creationId xmlns:a16="http://schemas.microsoft.com/office/drawing/2014/main" id="{9C35F6E0-ECF5-CAE4-8F26-26FB0A4B1D52}"/>
              </a:ext>
            </a:extLst>
          </p:cNvPr>
          <p:cNvGrpSpPr/>
          <p:nvPr/>
        </p:nvGrpSpPr>
        <p:grpSpPr>
          <a:xfrm>
            <a:off x="4228077" y="1581760"/>
            <a:ext cx="825167" cy="4296661"/>
            <a:chOff x="3611327" y="1746860"/>
            <a:chExt cx="758688" cy="4296661"/>
          </a:xfrm>
        </p:grpSpPr>
        <p:sp>
          <p:nvSpPr>
            <p:cNvPr id="1537" name="Google Shape;1537;p27"/>
            <p:cNvSpPr txBox="1"/>
            <p:nvPr/>
          </p:nvSpPr>
          <p:spPr>
            <a:xfrm>
              <a:off x="3611327" y="1746860"/>
              <a:ext cx="758688"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Ob-gyn</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20" name="Oval 19">
              <a:extLst>
                <a:ext uri="{FF2B5EF4-FFF2-40B4-BE49-F238E27FC236}">
                  <a16:creationId xmlns:a16="http://schemas.microsoft.com/office/drawing/2014/main" id="{5369150B-D21E-A706-D892-E1EC737B1D38}"/>
                </a:ext>
              </a:extLst>
            </p:cNvPr>
            <p:cNvSpPr/>
            <p:nvPr/>
          </p:nvSpPr>
          <p:spPr>
            <a:xfrm>
              <a:off x="3762071"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60" name="Oval 59">
              <a:extLst>
                <a:ext uri="{FF2B5EF4-FFF2-40B4-BE49-F238E27FC236}">
                  <a16:creationId xmlns:a16="http://schemas.microsoft.com/office/drawing/2014/main" id="{FC6AD4D9-C759-0697-58FE-93028ED56C42}"/>
                </a:ext>
              </a:extLst>
            </p:cNvPr>
            <p:cNvSpPr/>
            <p:nvPr/>
          </p:nvSpPr>
          <p:spPr>
            <a:xfrm>
              <a:off x="3762071" y="309229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1506" name="Oval 1505">
              <a:extLst>
                <a:ext uri="{FF2B5EF4-FFF2-40B4-BE49-F238E27FC236}">
                  <a16:creationId xmlns:a16="http://schemas.microsoft.com/office/drawing/2014/main" id="{36DAC51F-93D3-7495-A22B-587D8DCE6599}"/>
                </a:ext>
              </a:extLst>
            </p:cNvPr>
            <p:cNvSpPr/>
            <p:nvPr/>
          </p:nvSpPr>
          <p:spPr>
            <a:xfrm>
              <a:off x="3762071"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1549" name="Oval 1548">
              <a:extLst>
                <a:ext uri="{FF2B5EF4-FFF2-40B4-BE49-F238E27FC236}">
                  <a16:creationId xmlns:a16="http://schemas.microsoft.com/office/drawing/2014/main" id="{E3F12DEE-C28B-92E6-51D7-2293161A8D64}"/>
                </a:ext>
              </a:extLst>
            </p:cNvPr>
            <p:cNvSpPr/>
            <p:nvPr/>
          </p:nvSpPr>
          <p:spPr>
            <a:xfrm>
              <a:off x="3762071"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64" name="Oval 1563">
              <a:extLst>
                <a:ext uri="{FF2B5EF4-FFF2-40B4-BE49-F238E27FC236}">
                  <a16:creationId xmlns:a16="http://schemas.microsoft.com/office/drawing/2014/main" id="{BB5AC8AF-F2AD-9065-4921-9F61411A4C98}"/>
                </a:ext>
              </a:extLst>
            </p:cNvPr>
            <p:cNvSpPr/>
            <p:nvPr/>
          </p:nvSpPr>
          <p:spPr>
            <a:xfrm>
              <a:off x="3762071"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1578" name="Oval 1577">
              <a:extLst>
                <a:ext uri="{FF2B5EF4-FFF2-40B4-BE49-F238E27FC236}">
                  <a16:creationId xmlns:a16="http://schemas.microsoft.com/office/drawing/2014/main" id="{E35FB42C-641F-C1DF-7B1C-A26E1073C141}"/>
                </a:ext>
              </a:extLst>
            </p:cNvPr>
            <p:cNvSpPr/>
            <p:nvPr/>
          </p:nvSpPr>
          <p:spPr>
            <a:xfrm>
              <a:off x="3762071"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2" name="Group 1591">
            <a:extLst>
              <a:ext uri="{FF2B5EF4-FFF2-40B4-BE49-F238E27FC236}">
                <a16:creationId xmlns:a16="http://schemas.microsoft.com/office/drawing/2014/main" id="{36F08058-60ED-EBC1-83C7-85DDFAFC0B53}"/>
              </a:ext>
            </a:extLst>
          </p:cNvPr>
          <p:cNvGrpSpPr/>
          <p:nvPr/>
        </p:nvGrpSpPr>
        <p:grpSpPr>
          <a:xfrm>
            <a:off x="5441309" y="1581760"/>
            <a:ext cx="891978" cy="4296661"/>
            <a:chOff x="4416205" y="1746860"/>
            <a:chExt cx="820116" cy="4296661"/>
          </a:xfrm>
        </p:grpSpPr>
        <p:sp>
          <p:nvSpPr>
            <p:cNvPr id="1538" name="Google Shape;1538;p27"/>
            <p:cNvSpPr txBox="1"/>
            <p:nvPr/>
          </p:nvSpPr>
          <p:spPr>
            <a:xfrm>
              <a:off x="4416205" y="1746860"/>
              <a:ext cx="820116"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Surgeon </a:t>
              </a:r>
              <a:endParaRPr kumimoji="0" sz="1100" b="1" i="0" u="none" strike="noStrike" kern="0" cap="none" spc="0" normalizeH="0" baseline="3000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22" name="Oval 21">
              <a:extLst>
                <a:ext uri="{FF2B5EF4-FFF2-40B4-BE49-F238E27FC236}">
                  <a16:creationId xmlns:a16="http://schemas.microsoft.com/office/drawing/2014/main" id="{BC874DFB-43C6-5A4D-A062-70269E0AABD4}"/>
                </a:ext>
              </a:extLst>
            </p:cNvPr>
            <p:cNvSpPr/>
            <p:nvPr/>
          </p:nvSpPr>
          <p:spPr>
            <a:xfrm>
              <a:off x="4597663"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63" name="Oval 62">
              <a:extLst>
                <a:ext uri="{FF2B5EF4-FFF2-40B4-BE49-F238E27FC236}">
                  <a16:creationId xmlns:a16="http://schemas.microsoft.com/office/drawing/2014/main" id="{4C5266DE-B26D-D53A-DABB-00EE39092DFF}"/>
                </a:ext>
              </a:extLst>
            </p:cNvPr>
            <p:cNvSpPr/>
            <p:nvPr/>
          </p:nvSpPr>
          <p:spPr>
            <a:xfrm>
              <a:off x="4597663" y="309229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11" name="Oval 1510">
              <a:extLst>
                <a:ext uri="{FF2B5EF4-FFF2-40B4-BE49-F238E27FC236}">
                  <a16:creationId xmlns:a16="http://schemas.microsoft.com/office/drawing/2014/main" id="{DA858A12-6E13-0A2F-5D0C-8D7937E3F001}"/>
                </a:ext>
              </a:extLst>
            </p:cNvPr>
            <p:cNvSpPr/>
            <p:nvPr/>
          </p:nvSpPr>
          <p:spPr>
            <a:xfrm>
              <a:off x="4597663" y="3738659"/>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50" name="Oval 1549">
              <a:extLst>
                <a:ext uri="{FF2B5EF4-FFF2-40B4-BE49-F238E27FC236}">
                  <a16:creationId xmlns:a16="http://schemas.microsoft.com/office/drawing/2014/main" id="{0174C476-C3B9-0D76-B25D-CD6F634CF418}"/>
                </a:ext>
              </a:extLst>
            </p:cNvPr>
            <p:cNvSpPr/>
            <p:nvPr/>
          </p:nvSpPr>
          <p:spPr>
            <a:xfrm>
              <a:off x="4597663" y="4385027"/>
              <a:ext cx="457200" cy="365760"/>
            </a:xfrm>
            <a:prstGeom prst="ellipse">
              <a:avLst/>
            </a:prstGeom>
            <a:solidFill>
              <a:srgbClr val="4AA1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65" name="Oval 1564">
              <a:extLst>
                <a:ext uri="{FF2B5EF4-FFF2-40B4-BE49-F238E27FC236}">
                  <a16:creationId xmlns:a16="http://schemas.microsoft.com/office/drawing/2014/main" id="{CEDC185A-EEAF-D7DA-7F73-1171669A152E}"/>
                </a:ext>
              </a:extLst>
            </p:cNvPr>
            <p:cNvSpPr/>
            <p:nvPr/>
          </p:nvSpPr>
          <p:spPr>
            <a:xfrm>
              <a:off x="4597663" y="5031395"/>
              <a:ext cx="457200" cy="365760"/>
            </a:xfrm>
            <a:prstGeom prst="ellipse">
              <a:avLst/>
            </a:prstGeom>
            <a:solidFill>
              <a:srgbClr val="4AA1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1</a:t>
              </a:r>
            </a:p>
          </p:txBody>
        </p:sp>
        <p:sp>
          <p:nvSpPr>
            <p:cNvPr id="1579" name="Oval 1578">
              <a:extLst>
                <a:ext uri="{FF2B5EF4-FFF2-40B4-BE49-F238E27FC236}">
                  <a16:creationId xmlns:a16="http://schemas.microsoft.com/office/drawing/2014/main" id="{D22286B9-8DA1-EBE2-C05D-A142287B4AAC}"/>
                </a:ext>
              </a:extLst>
            </p:cNvPr>
            <p:cNvSpPr/>
            <p:nvPr/>
          </p:nvSpPr>
          <p:spPr>
            <a:xfrm>
              <a:off x="4597663"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5" name="Group 1594">
            <a:extLst>
              <a:ext uri="{FF2B5EF4-FFF2-40B4-BE49-F238E27FC236}">
                <a16:creationId xmlns:a16="http://schemas.microsoft.com/office/drawing/2014/main" id="{8B4F5F79-93C9-BED7-02B8-B4A0A9DB5EED}"/>
              </a:ext>
            </a:extLst>
          </p:cNvPr>
          <p:cNvGrpSpPr/>
          <p:nvPr/>
        </p:nvGrpSpPr>
        <p:grpSpPr>
          <a:xfrm>
            <a:off x="6721351" y="1581760"/>
            <a:ext cx="997446" cy="4296661"/>
            <a:chOff x="6799214" y="1746860"/>
            <a:chExt cx="917087" cy="4296661"/>
          </a:xfrm>
        </p:grpSpPr>
        <p:sp>
          <p:nvSpPr>
            <p:cNvPr id="1540" name="Google Shape;1540;p27"/>
            <p:cNvSpPr txBox="1"/>
            <p:nvPr/>
          </p:nvSpPr>
          <p:spPr>
            <a:xfrm>
              <a:off x="6799214" y="1746860"/>
              <a:ext cx="917087"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ublic Health Nurse </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27" name="Oval 26">
              <a:extLst>
                <a:ext uri="{FF2B5EF4-FFF2-40B4-BE49-F238E27FC236}">
                  <a16:creationId xmlns:a16="http://schemas.microsoft.com/office/drawing/2014/main" id="{E1A0766E-350A-9031-7AF0-B5D92A6396F5}"/>
                </a:ext>
              </a:extLst>
            </p:cNvPr>
            <p:cNvSpPr/>
            <p:nvPr/>
          </p:nvSpPr>
          <p:spPr>
            <a:xfrm>
              <a:off x="7029157"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478" name="Oval 1477">
              <a:extLst>
                <a:ext uri="{FF2B5EF4-FFF2-40B4-BE49-F238E27FC236}">
                  <a16:creationId xmlns:a16="http://schemas.microsoft.com/office/drawing/2014/main" id="{F58BF27B-3EBB-B617-A0EE-A6F93E956FFD}"/>
                </a:ext>
              </a:extLst>
            </p:cNvPr>
            <p:cNvSpPr/>
            <p:nvPr/>
          </p:nvSpPr>
          <p:spPr>
            <a:xfrm>
              <a:off x="7029157" y="309229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20" name="Oval 1519">
              <a:extLst>
                <a:ext uri="{FF2B5EF4-FFF2-40B4-BE49-F238E27FC236}">
                  <a16:creationId xmlns:a16="http://schemas.microsoft.com/office/drawing/2014/main" id="{AEAE34C6-A188-F445-246B-8D324F7B7235}"/>
                </a:ext>
              </a:extLst>
            </p:cNvPr>
            <p:cNvSpPr/>
            <p:nvPr/>
          </p:nvSpPr>
          <p:spPr>
            <a:xfrm>
              <a:off x="7029157"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53" name="Oval 1552">
              <a:extLst>
                <a:ext uri="{FF2B5EF4-FFF2-40B4-BE49-F238E27FC236}">
                  <a16:creationId xmlns:a16="http://schemas.microsoft.com/office/drawing/2014/main" id="{0D83DBA7-B7EB-2D02-2ECC-C153F836F4E0}"/>
                </a:ext>
              </a:extLst>
            </p:cNvPr>
            <p:cNvSpPr/>
            <p:nvPr/>
          </p:nvSpPr>
          <p:spPr>
            <a:xfrm>
              <a:off x="7029157" y="4385027"/>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68" name="Oval 1567">
              <a:extLst>
                <a:ext uri="{FF2B5EF4-FFF2-40B4-BE49-F238E27FC236}">
                  <a16:creationId xmlns:a16="http://schemas.microsoft.com/office/drawing/2014/main" id="{33604AF4-4307-2464-0B9D-2594FC065936}"/>
                </a:ext>
              </a:extLst>
            </p:cNvPr>
            <p:cNvSpPr/>
            <p:nvPr/>
          </p:nvSpPr>
          <p:spPr>
            <a:xfrm>
              <a:off x="7029157" y="5031395"/>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82" name="Oval 1581">
              <a:extLst>
                <a:ext uri="{FF2B5EF4-FFF2-40B4-BE49-F238E27FC236}">
                  <a16:creationId xmlns:a16="http://schemas.microsoft.com/office/drawing/2014/main" id="{696657E2-A0AD-C602-9483-00F87056D104}"/>
                </a:ext>
              </a:extLst>
            </p:cNvPr>
            <p:cNvSpPr/>
            <p:nvPr/>
          </p:nvSpPr>
          <p:spPr>
            <a:xfrm>
              <a:off x="7029157"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6" name="Group 1595">
            <a:extLst>
              <a:ext uri="{FF2B5EF4-FFF2-40B4-BE49-F238E27FC236}">
                <a16:creationId xmlns:a16="http://schemas.microsoft.com/office/drawing/2014/main" id="{AAF2C0DE-972A-6218-B1DC-74BC53DD8DD3}"/>
              </a:ext>
            </a:extLst>
          </p:cNvPr>
          <p:cNvGrpSpPr/>
          <p:nvPr/>
        </p:nvGrpSpPr>
        <p:grpSpPr>
          <a:xfrm>
            <a:off x="8106860" y="1581760"/>
            <a:ext cx="821545" cy="4296661"/>
            <a:chOff x="7695678" y="1746860"/>
            <a:chExt cx="755358" cy="4296661"/>
          </a:xfrm>
        </p:grpSpPr>
        <p:sp>
          <p:nvSpPr>
            <p:cNvPr id="1542" name="Google Shape;1542;p27"/>
            <p:cNvSpPr txBox="1"/>
            <p:nvPr/>
          </p:nvSpPr>
          <p:spPr>
            <a:xfrm>
              <a:off x="7695678" y="1746860"/>
              <a:ext cx="755358"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Nurse/</a:t>
              </a:r>
            </a:p>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Midwife </a:t>
              </a:r>
              <a:endParaRPr kumimoji="0"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30" name="Oval 29">
              <a:extLst>
                <a:ext uri="{FF2B5EF4-FFF2-40B4-BE49-F238E27FC236}">
                  <a16:creationId xmlns:a16="http://schemas.microsoft.com/office/drawing/2014/main" id="{40209D73-4A18-3DAD-AAC7-B3BE36DB7E5A}"/>
                </a:ext>
              </a:extLst>
            </p:cNvPr>
            <p:cNvSpPr/>
            <p:nvPr/>
          </p:nvSpPr>
          <p:spPr>
            <a:xfrm>
              <a:off x="7844757" y="2445923"/>
              <a:ext cx="457200" cy="365760"/>
            </a:xfrm>
            <a:prstGeom prst="ellipse">
              <a:avLst/>
            </a:prstGeom>
            <a:solidFill>
              <a:srgbClr val="4AA19E"/>
            </a:solidFill>
            <a:ln>
              <a:solidFill>
                <a:srgbClr val="3675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479" name="Oval 1478">
              <a:extLst>
                <a:ext uri="{FF2B5EF4-FFF2-40B4-BE49-F238E27FC236}">
                  <a16:creationId xmlns:a16="http://schemas.microsoft.com/office/drawing/2014/main" id="{FD2EEC60-842C-B66F-4319-BFAA51A0DAF2}"/>
                </a:ext>
              </a:extLst>
            </p:cNvPr>
            <p:cNvSpPr/>
            <p:nvPr/>
          </p:nvSpPr>
          <p:spPr>
            <a:xfrm>
              <a:off x="7844757" y="309229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2</a:t>
              </a:r>
            </a:p>
          </p:txBody>
        </p:sp>
        <p:sp>
          <p:nvSpPr>
            <p:cNvPr id="1521" name="Oval 1520">
              <a:extLst>
                <a:ext uri="{FF2B5EF4-FFF2-40B4-BE49-F238E27FC236}">
                  <a16:creationId xmlns:a16="http://schemas.microsoft.com/office/drawing/2014/main" id="{A931AA70-1808-AA04-5D4F-FCE2E942EBFC}"/>
                </a:ext>
              </a:extLst>
            </p:cNvPr>
            <p:cNvSpPr/>
            <p:nvPr/>
          </p:nvSpPr>
          <p:spPr>
            <a:xfrm>
              <a:off x="7844757"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54" name="Oval 1553">
              <a:extLst>
                <a:ext uri="{FF2B5EF4-FFF2-40B4-BE49-F238E27FC236}">
                  <a16:creationId xmlns:a16="http://schemas.microsoft.com/office/drawing/2014/main" id="{1F47E8CE-12A1-F8A0-E63E-8F1834E6484D}"/>
                </a:ext>
              </a:extLst>
            </p:cNvPr>
            <p:cNvSpPr/>
            <p:nvPr/>
          </p:nvSpPr>
          <p:spPr>
            <a:xfrm>
              <a:off x="7844757"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69" name="Oval 1568">
              <a:extLst>
                <a:ext uri="{FF2B5EF4-FFF2-40B4-BE49-F238E27FC236}">
                  <a16:creationId xmlns:a16="http://schemas.microsoft.com/office/drawing/2014/main" id="{6FA94269-F7C3-7E5A-9C6D-62D969663371}"/>
                </a:ext>
              </a:extLst>
            </p:cNvPr>
            <p:cNvSpPr/>
            <p:nvPr/>
          </p:nvSpPr>
          <p:spPr>
            <a:xfrm>
              <a:off x="7844757"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5</a:t>
              </a:r>
            </a:p>
          </p:txBody>
        </p:sp>
        <p:sp>
          <p:nvSpPr>
            <p:cNvPr id="1583" name="Oval 1582">
              <a:extLst>
                <a:ext uri="{FF2B5EF4-FFF2-40B4-BE49-F238E27FC236}">
                  <a16:creationId xmlns:a16="http://schemas.microsoft.com/office/drawing/2014/main" id="{DB4FD82C-C4FB-BBEE-A4F4-F2DEFBD0A5AF}"/>
                </a:ext>
              </a:extLst>
            </p:cNvPr>
            <p:cNvSpPr/>
            <p:nvPr/>
          </p:nvSpPr>
          <p:spPr>
            <a:xfrm>
              <a:off x="7844757"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599" name="Group 1598">
            <a:extLst>
              <a:ext uri="{FF2B5EF4-FFF2-40B4-BE49-F238E27FC236}">
                <a16:creationId xmlns:a16="http://schemas.microsoft.com/office/drawing/2014/main" id="{5CD4ECDA-F4E5-A849-04A3-B7FCC0F9D148}"/>
              </a:ext>
            </a:extLst>
          </p:cNvPr>
          <p:cNvGrpSpPr/>
          <p:nvPr/>
        </p:nvGrpSpPr>
        <p:grpSpPr>
          <a:xfrm>
            <a:off x="9316470" y="1581760"/>
            <a:ext cx="815969" cy="4296661"/>
            <a:chOff x="10102060" y="1746860"/>
            <a:chExt cx="750231" cy="4296661"/>
          </a:xfrm>
        </p:grpSpPr>
        <p:sp>
          <p:nvSpPr>
            <p:cNvPr id="38" name="Google Shape;1544;p27">
              <a:extLst>
                <a:ext uri="{FF2B5EF4-FFF2-40B4-BE49-F238E27FC236}">
                  <a16:creationId xmlns:a16="http://schemas.microsoft.com/office/drawing/2014/main" id="{26C28222-EB18-22C0-FFF9-5265FF84A367}"/>
                </a:ext>
              </a:extLst>
            </p:cNvPr>
            <p:cNvSpPr txBox="1"/>
            <p:nvPr/>
          </p:nvSpPr>
          <p:spPr>
            <a:xfrm>
              <a:off x="10102060" y="1746860"/>
              <a:ext cx="750231"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Medical Attendant </a:t>
              </a:r>
              <a:endParaRPr kumimoji="0" sz="1100" b="1" i="0" u="none" strike="noStrike" kern="0" cap="none" spc="0" normalizeH="0" baseline="3000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39" name="Oval 38">
              <a:extLst>
                <a:ext uri="{FF2B5EF4-FFF2-40B4-BE49-F238E27FC236}">
                  <a16:creationId xmlns:a16="http://schemas.microsoft.com/office/drawing/2014/main" id="{BF2CFAD1-0B84-3921-148E-E4FA298A7F97}"/>
                </a:ext>
              </a:extLst>
            </p:cNvPr>
            <p:cNvSpPr/>
            <p:nvPr/>
          </p:nvSpPr>
          <p:spPr>
            <a:xfrm>
              <a:off x="10248575"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486" name="Oval 1485">
              <a:extLst>
                <a:ext uri="{FF2B5EF4-FFF2-40B4-BE49-F238E27FC236}">
                  <a16:creationId xmlns:a16="http://schemas.microsoft.com/office/drawing/2014/main" id="{65FA5B11-0BAD-DEF8-0E44-B25BECF0229A}"/>
                </a:ext>
              </a:extLst>
            </p:cNvPr>
            <p:cNvSpPr/>
            <p:nvPr/>
          </p:nvSpPr>
          <p:spPr>
            <a:xfrm>
              <a:off x="10248575" y="309229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32" name="Oval 1531">
              <a:extLst>
                <a:ext uri="{FF2B5EF4-FFF2-40B4-BE49-F238E27FC236}">
                  <a16:creationId xmlns:a16="http://schemas.microsoft.com/office/drawing/2014/main" id="{469DAF26-1CA1-D791-C5D6-BE324F6981B9}"/>
                </a:ext>
              </a:extLst>
            </p:cNvPr>
            <p:cNvSpPr/>
            <p:nvPr/>
          </p:nvSpPr>
          <p:spPr>
            <a:xfrm>
              <a:off x="10248575" y="3738659"/>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58" name="Oval 1557">
              <a:extLst>
                <a:ext uri="{FF2B5EF4-FFF2-40B4-BE49-F238E27FC236}">
                  <a16:creationId xmlns:a16="http://schemas.microsoft.com/office/drawing/2014/main" id="{A081AADA-E995-20DD-93DC-E986485BCAB2}"/>
                </a:ext>
              </a:extLst>
            </p:cNvPr>
            <p:cNvSpPr/>
            <p:nvPr/>
          </p:nvSpPr>
          <p:spPr>
            <a:xfrm>
              <a:off x="10248575"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0</a:t>
              </a:r>
            </a:p>
          </p:txBody>
        </p:sp>
        <p:sp>
          <p:nvSpPr>
            <p:cNvPr id="1572" name="Oval 1571">
              <a:extLst>
                <a:ext uri="{FF2B5EF4-FFF2-40B4-BE49-F238E27FC236}">
                  <a16:creationId xmlns:a16="http://schemas.microsoft.com/office/drawing/2014/main" id="{C457B8EF-251B-FF37-57E8-670FE3AD30C5}"/>
                </a:ext>
              </a:extLst>
            </p:cNvPr>
            <p:cNvSpPr/>
            <p:nvPr/>
          </p:nvSpPr>
          <p:spPr>
            <a:xfrm>
              <a:off x="10248575" y="5031395"/>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86" name="Oval 1585">
              <a:extLst>
                <a:ext uri="{FF2B5EF4-FFF2-40B4-BE49-F238E27FC236}">
                  <a16:creationId xmlns:a16="http://schemas.microsoft.com/office/drawing/2014/main" id="{DEB41898-EFD4-500C-6992-D97E4478AC75}"/>
                </a:ext>
              </a:extLst>
            </p:cNvPr>
            <p:cNvSpPr/>
            <p:nvPr/>
          </p:nvSpPr>
          <p:spPr>
            <a:xfrm>
              <a:off x="10248575"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600" name="Group 1599">
            <a:extLst>
              <a:ext uri="{FF2B5EF4-FFF2-40B4-BE49-F238E27FC236}">
                <a16:creationId xmlns:a16="http://schemas.microsoft.com/office/drawing/2014/main" id="{3941E8E2-F4D2-9FCA-ACE6-1C040A1055A0}"/>
              </a:ext>
            </a:extLst>
          </p:cNvPr>
          <p:cNvGrpSpPr/>
          <p:nvPr/>
        </p:nvGrpSpPr>
        <p:grpSpPr>
          <a:xfrm>
            <a:off x="10520503" y="1581760"/>
            <a:ext cx="595621" cy="4296661"/>
            <a:chOff x="10910242" y="1746860"/>
            <a:chExt cx="547635" cy="4296661"/>
          </a:xfrm>
        </p:grpSpPr>
        <p:sp>
          <p:nvSpPr>
            <p:cNvPr id="3" name="Google Shape;1544;p27">
              <a:extLst>
                <a:ext uri="{FF2B5EF4-FFF2-40B4-BE49-F238E27FC236}">
                  <a16:creationId xmlns:a16="http://schemas.microsoft.com/office/drawing/2014/main" id="{E360027B-7554-A60C-F19F-1A4AA7775C43}"/>
                </a:ext>
              </a:extLst>
            </p:cNvPr>
            <p:cNvSpPr txBox="1"/>
            <p:nvPr/>
          </p:nvSpPr>
          <p:spPr>
            <a:xfrm>
              <a:off x="10910242" y="1746860"/>
              <a:ext cx="547635"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Pharmacist </a:t>
              </a:r>
              <a:endParaRPr kumimoji="0" sz="1100" b="1" i="0" u="none" strike="noStrike" kern="0" cap="none" spc="0" normalizeH="0" baseline="3000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42" name="Oval 41">
              <a:extLst>
                <a:ext uri="{FF2B5EF4-FFF2-40B4-BE49-F238E27FC236}">
                  <a16:creationId xmlns:a16="http://schemas.microsoft.com/office/drawing/2014/main" id="{98337D85-0AF6-D878-FF52-7B879A378204}"/>
                </a:ext>
              </a:extLst>
            </p:cNvPr>
            <p:cNvSpPr/>
            <p:nvPr/>
          </p:nvSpPr>
          <p:spPr>
            <a:xfrm>
              <a:off x="10955459" y="2445923"/>
              <a:ext cx="457200" cy="36576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489" name="Oval 1488">
              <a:extLst>
                <a:ext uri="{FF2B5EF4-FFF2-40B4-BE49-F238E27FC236}">
                  <a16:creationId xmlns:a16="http://schemas.microsoft.com/office/drawing/2014/main" id="{A1BB65B1-F97E-F518-1293-D659DCF25BB9}"/>
                </a:ext>
              </a:extLst>
            </p:cNvPr>
            <p:cNvSpPr/>
            <p:nvPr/>
          </p:nvSpPr>
          <p:spPr>
            <a:xfrm>
              <a:off x="10955459" y="309229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33" name="Oval 1532">
              <a:extLst>
                <a:ext uri="{FF2B5EF4-FFF2-40B4-BE49-F238E27FC236}">
                  <a16:creationId xmlns:a16="http://schemas.microsoft.com/office/drawing/2014/main" id="{E85C1A05-0E15-0118-159C-BA01D8E5321E}"/>
                </a:ext>
              </a:extLst>
            </p:cNvPr>
            <p:cNvSpPr/>
            <p:nvPr/>
          </p:nvSpPr>
          <p:spPr>
            <a:xfrm>
              <a:off x="10955459" y="3738659"/>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59" name="Oval 1558">
              <a:extLst>
                <a:ext uri="{FF2B5EF4-FFF2-40B4-BE49-F238E27FC236}">
                  <a16:creationId xmlns:a16="http://schemas.microsoft.com/office/drawing/2014/main" id="{B6ADA39E-25B7-D0BC-D3F6-CDB3CC3C4DAE}"/>
                </a:ext>
              </a:extLst>
            </p:cNvPr>
            <p:cNvSpPr/>
            <p:nvPr/>
          </p:nvSpPr>
          <p:spPr>
            <a:xfrm>
              <a:off x="10955459"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1</a:t>
              </a:r>
            </a:p>
          </p:txBody>
        </p:sp>
        <p:sp>
          <p:nvSpPr>
            <p:cNvPr id="1573" name="Oval 1572">
              <a:extLst>
                <a:ext uri="{FF2B5EF4-FFF2-40B4-BE49-F238E27FC236}">
                  <a16:creationId xmlns:a16="http://schemas.microsoft.com/office/drawing/2014/main" id="{37D5F053-F6BF-C4EA-0F42-ED63B8086522}"/>
                </a:ext>
              </a:extLst>
            </p:cNvPr>
            <p:cNvSpPr/>
            <p:nvPr/>
          </p:nvSpPr>
          <p:spPr>
            <a:xfrm>
              <a:off x="10955459"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3</a:t>
              </a:r>
            </a:p>
          </p:txBody>
        </p:sp>
        <p:sp>
          <p:nvSpPr>
            <p:cNvPr id="1587" name="Oval 1586">
              <a:extLst>
                <a:ext uri="{FF2B5EF4-FFF2-40B4-BE49-F238E27FC236}">
                  <a16:creationId xmlns:a16="http://schemas.microsoft.com/office/drawing/2014/main" id="{FD95D05C-7CE5-5501-6B5E-47284E8FCF6D}"/>
                </a:ext>
              </a:extLst>
            </p:cNvPr>
            <p:cNvSpPr/>
            <p:nvPr/>
          </p:nvSpPr>
          <p:spPr>
            <a:xfrm>
              <a:off x="10955459" y="5677761"/>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grpSp>
        <p:nvGrpSpPr>
          <p:cNvPr id="1601" name="Group 1600">
            <a:extLst>
              <a:ext uri="{FF2B5EF4-FFF2-40B4-BE49-F238E27FC236}">
                <a16:creationId xmlns:a16="http://schemas.microsoft.com/office/drawing/2014/main" id="{A6FCC96F-F673-5389-8605-1BA110D499A7}"/>
              </a:ext>
            </a:extLst>
          </p:cNvPr>
          <p:cNvGrpSpPr/>
          <p:nvPr/>
        </p:nvGrpSpPr>
        <p:grpSpPr>
          <a:xfrm>
            <a:off x="11504188" y="1581760"/>
            <a:ext cx="599134" cy="4296661"/>
            <a:chOff x="11645749" y="1746860"/>
            <a:chExt cx="550865" cy="4296661"/>
          </a:xfrm>
        </p:grpSpPr>
        <p:sp>
          <p:nvSpPr>
            <p:cNvPr id="4" name="Google Shape;1544;p27">
              <a:extLst>
                <a:ext uri="{FF2B5EF4-FFF2-40B4-BE49-F238E27FC236}">
                  <a16:creationId xmlns:a16="http://schemas.microsoft.com/office/drawing/2014/main" id="{959D2E4D-D51C-1E0F-1B45-594FD6711588}"/>
                </a:ext>
              </a:extLst>
            </p:cNvPr>
            <p:cNvSpPr txBox="1"/>
            <p:nvPr/>
          </p:nvSpPr>
          <p:spPr>
            <a:xfrm>
              <a:off x="11645749" y="1746860"/>
              <a:ext cx="550865" cy="548640"/>
            </a:xfrm>
            <a:prstGeom prst="rect">
              <a:avLst/>
            </a:prstGeom>
            <a:no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Gill Sans"/>
                <a:buNone/>
                <a:tabLst/>
                <a:defRPr/>
              </a:pPr>
              <a:r>
                <a:rPr kumimoji="0" lang="en-US" sz="1100" b="1"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CHW</a:t>
              </a:r>
              <a:endParaRPr kumimoji="0" sz="1100" b="1" i="0" u="none" strike="noStrike" kern="0" cap="none" spc="0" normalizeH="0" baseline="30000" noProof="0" dirty="0">
                <a:ln>
                  <a:noFill/>
                </a:ln>
                <a:solidFill>
                  <a:srgbClr val="000000"/>
                </a:solidFill>
                <a:effectLst/>
                <a:uLnTx/>
                <a:uFillTx/>
                <a:latin typeface="Gill Sans MT" panose="020B0502020104020203" pitchFamily="34" charset="0"/>
                <a:ea typeface="Gill Sans"/>
                <a:cs typeface="Gill Sans"/>
                <a:sym typeface="Gill Sans"/>
              </a:endParaRPr>
            </a:p>
          </p:txBody>
        </p:sp>
        <p:sp>
          <p:nvSpPr>
            <p:cNvPr id="45" name="Oval 44">
              <a:extLst>
                <a:ext uri="{FF2B5EF4-FFF2-40B4-BE49-F238E27FC236}">
                  <a16:creationId xmlns:a16="http://schemas.microsoft.com/office/drawing/2014/main" id="{4F5668C7-C0C9-ACBE-CF7C-38EAD3EB0C5E}"/>
                </a:ext>
              </a:extLst>
            </p:cNvPr>
            <p:cNvSpPr/>
            <p:nvPr/>
          </p:nvSpPr>
          <p:spPr>
            <a:xfrm>
              <a:off x="11692581" y="2445923"/>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4</a:t>
              </a:r>
            </a:p>
          </p:txBody>
        </p:sp>
        <p:sp>
          <p:nvSpPr>
            <p:cNvPr id="1492" name="Oval 1491">
              <a:extLst>
                <a:ext uri="{FF2B5EF4-FFF2-40B4-BE49-F238E27FC236}">
                  <a16:creationId xmlns:a16="http://schemas.microsoft.com/office/drawing/2014/main" id="{11BB9E86-6DD0-F07B-DDE5-527259953A81}"/>
                </a:ext>
              </a:extLst>
            </p:cNvPr>
            <p:cNvSpPr/>
            <p:nvPr/>
          </p:nvSpPr>
          <p:spPr>
            <a:xfrm>
              <a:off x="11692581" y="309229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4</a:t>
              </a:r>
            </a:p>
          </p:txBody>
        </p:sp>
        <p:sp>
          <p:nvSpPr>
            <p:cNvPr id="1534" name="Oval 1533">
              <a:extLst>
                <a:ext uri="{FF2B5EF4-FFF2-40B4-BE49-F238E27FC236}">
                  <a16:creationId xmlns:a16="http://schemas.microsoft.com/office/drawing/2014/main" id="{39E78327-BC3D-7CC9-6C63-7E253BE59306}"/>
                </a:ext>
              </a:extLst>
            </p:cNvPr>
            <p:cNvSpPr/>
            <p:nvPr/>
          </p:nvSpPr>
          <p:spPr>
            <a:xfrm>
              <a:off x="11692581" y="3738659"/>
              <a:ext cx="457200" cy="365760"/>
            </a:xfrm>
            <a:prstGeom prst="ellipse">
              <a:avLst/>
            </a:prstGeom>
            <a:solidFill>
              <a:srgbClr val="E4F5F7"/>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sp>
          <p:nvSpPr>
            <p:cNvPr id="1560" name="Oval 1559">
              <a:extLst>
                <a:ext uri="{FF2B5EF4-FFF2-40B4-BE49-F238E27FC236}">
                  <a16:creationId xmlns:a16="http://schemas.microsoft.com/office/drawing/2014/main" id="{EA9A6575-1B32-E609-7A6B-365CA2BC28C1}"/>
                </a:ext>
              </a:extLst>
            </p:cNvPr>
            <p:cNvSpPr/>
            <p:nvPr/>
          </p:nvSpPr>
          <p:spPr>
            <a:xfrm>
              <a:off x="11692581" y="4385027"/>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5</a:t>
              </a:r>
            </a:p>
          </p:txBody>
        </p:sp>
        <p:sp>
          <p:nvSpPr>
            <p:cNvPr id="1574" name="Oval 1573">
              <a:extLst>
                <a:ext uri="{FF2B5EF4-FFF2-40B4-BE49-F238E27FC236}">
                  <a16:creationId xmlns:a16="http://schemas.microsoft.com/office/drawing/2014/main" id="{26EAF67E-0DED-E2C8-4EB2-4E7A239A04C1}"/>
                </a:ext>
              </a:extLst>
            </p:cNvPr>
            <p:cNvSpPr/>
            <p:nvPr/>
          </p:nvSpPr>
          <p:spPr>
            <a:xfrm>
              <a:off x="11692581" y="5031395"/>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8</a:t>
              </a:r>
            </a:p>
          </p:txBody>
        </p:sp>
        <p:sp>
          <p:nvSpPr>
            <p:cNvPr id="1588" name="Oval 1587">
              <a:extLst>
                <a:ext uri="{FF2B5EF4-FFF2-40B4-BE49-F238E27FC236}">
                  <a16:creationId xmlns:a16="http://schemas.microsoft.com/office/drawing/2014/main" id="{6D9313F6-4F3E-940C-68A0-4C242C6E9CC3}"/>
                </a:ext>
              </a:extLst>
            </p:cNvPr>
            <p:cNvSpPr/>
            <p:nvPr/>
          </p:nvSpPr>
          <p:spPr>
            <a:xfrm>
              <a:off x="11692581" y="5677761"/>
              <a:ext cx="457200" cy="3657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3</a:t>
              </a:r>
            </a:p>
          </p:txBody>
        </p:sp>
      </p:grpSp>
      <p:grpSp>
        <p:nvGrpSpPr>
          <p:cNvPr id="1605" name="Group 1604">
            <a:extLst>
              <a:ext uri="{FF2B5EF4-FFF2-40B4-BE49-F238E27FC236}">
                <a16:creationId xmlns:a16="http://schemas.microsoft.com/office/drawing/2014/main" id="{8B28592B-7E4D-FE6E-6EA0-21F661C90263}"/>
              </a:ext>
            </a:extLst>
          </p:cNvPr>
          <p:cNvGrpSpPr/>
          <p:nvPr/>
        </p:nvGrpSpPr>
        <p:grpSpPr>
          <a:xfrm>
            <a:off x="9086743" y="1211797"/>
            <a:ext cx="1511322" cy="261229"/>
            <a:chOff x="8572393" y="1219682"/>
            <a:chExt cx="1511322" cy="261229"/>
          </a:xfrm>
        </p:grpSpPr>
        <p:sp>
          <p:nvSpPr>
            <p:cNvPr id="1509" name="Google Shape;1509;p27"/>
            <p:cNvSpPr/>
            <p:nvPr/>
          </p:nvSpPr>
          <p:spPr>
            <a:xfrm>
              <a:off x="9073651" y="1281047"/>
              <a:ext cx="1010064"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204024"/>
                </a:buClr>
                <a:buSzPts val="1125"/>
                <a:buFont typeface="Gill Sans"/>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In-house personnel</a:t>
              </a:r>
              <a:endParaRPr kumimoji="0" sz="1400" b="0" i="0" u="none" strike="noStrike" kern="0" cap="none" spc="0" normalizeH="0" baseline="0" noProof="0" dirty="0">
                <a:ln>
                  <a:noFill/>
                </a:ln>
                <a:solidFill>
                  <a:srgbClr val="000000"/>
                </a:solidFill>
                <a:effectLst/>
                <a:uLnTx/>
                <a:uFillTx/>
                <a:latin typeface="Gill Sans MT" panose="020B0502020104020203" pitchFamily="34" charset="0"/>
                <a:ea typeface="+mn-ea"/>
                <a:cs typeface="Arial"/>
                <a:sym typeface="Arial"/>
              </a:endParaRPr>
            </a:p>
          </p:txBody>
        </p:sp>
        <p:sp>
          <p:nvSpPr>
            <p:cNvPr id="1603" name="Oval 1602">
              <a:extLst>
                <a:ext uri="{FF2B5EF4-FFF2-40B4-BE49-F238E27FC236}">
                  <a16:creationId xmlns:a16="http://schemas.microsoft.com/office/drawing/2014/main" id="{E594BCEC-D7F0-A97B-2EB9-0E711C819ADB}"/>
                </a:ext>
              </a:extLst>
            </p:cNvPr>
            <p:cNvSpPr/>
            <p:nvPr/>
          </p:nvSpPr>
          <p:spPr>
            <a:xfrm>
              <a:off x="8572393" y="1219682"/>
              <a:ext cx="476603" cy="261229"/>
            </a:xfrm>
            <a:prstGeom prst="ellipse">
              <a:avLst/>
            </a:prstGeom>
            <a:solidFill>
              <a:srgbClr val="4AA19E"/>
            </a:solidFill>
            <a:ln>
              <a:solidFill>
                <a:srgbClr val="3675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xx</a:t>
              </a:r>
            </a:p>
          </p:txBody>
        </p:sp>
      </p:grpSp>
      <p:grpSp>
        <p:nvGrpSpPr>
          <p:cNvPr id="1606" name="Group 1605">
            <a:extLst>
              <a:ext uri="{FF2B5EF4-FFF2-40B4-BE49-F238E27FC236}">
                <a16:creationId xmlns:a16="http://schemas.microsoft.com/office/drawing/2014/main" id="{83846746-7E46-21A5-BFBB-6A124098ECCE}"/>
              </a:ext>
            </a:extLst>
          </p:cNvPr>
          <p:cNvGrpSpPr/>
          <p:nvPr/>
        </p:nvGrpSpPr>
        <p:grpSpPr>
          <a:xfrm>
            <a:off x="10626640" y="1211797"/>
            <a:ext cx="1449061" cy="261229"/>
            <a:chOff x="10626640" y="1211797"/>
            <a:chExt cx="1449061" cy="261229"/>
          </a:xfrm>
        </p:grpSpPr>
        <p:sp>
          <p:nvSpPr>
            <p:cNvPr id="1686" name="Google Shape;1509;p27">
              <a:extLst>
                <a:ext uri="{FF2B5EF4-FFF2-40B4-BE49-F238E27FC236}">
                  <a16:creationId xmlns:a16="http://schemas.microsoft.com/office/drawing/2014/main" id="{508E7E25-8AE6-7F8B-9B3A-DE1C97729A02}"/>
                </a:ext>
              </a:extLst>
            </p:cNvPr>
            <p:cNvSpPr/>
            <p:nvPr/>
          </p:nvSpPr>
          <p:spPr>
            <a:xfrm>
              <a:off x="11145143" y="1273162"/>
              <a:ext cx="930558"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204024"/>
                </a:buClr>
                <a:buSzPts val="1125"/>
                <a:buFont typeface="Gill Sans"/>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pitchFamily="34" charset="0"/>
                  <a:ea typeface="Gill Sans"/>
                  <a:cs typeface="Gill Sans"/>
                  <a:sym typeface="Gill Sans"/>
                </a:rPr>
                <a:t>Visiting Personnel </a:t>
              </a:r>
              <a:endParaRPr kumimoji="0" sz="1400" b="0" i="0" u="none" strike="noStrike" kern="0" cap="none" spc="0" normalizeH="0" baseline="0" noProof="0" dirty="0">
                <a:ln>
                  <a:noFill/>
                </a:ln>
                <a:solidFill>
                  <a:srgbClr val="000000"/>
                </a:solidFill>
                <a:effectLst/>
                <a:uLnTx/>
                <a:uFillTx/>
                <a:latin typeface="Gill Sans MT" panose="020B0502020104020203" pitchFamily="34" charset="0"/>
                <a:ea typeface="+mn-ea"/>
                <a:cs typeface="Arial"/>
                <a:sym typeface="Arial"/>
              </a:endParaRPr>
            </a:p>
          </p:txBody>
        </p:sp>
        <p:sp>
          <p:nvSpPr>
            <p:cNvPr id="1604" name="Oval 1603">
              <a:extLst>
                <a:ext uri="{FF2B5EF4-FFF2-40B4-BE49-F238E27FC236}">
                  <a16:creationId xmlns:a16="http://schemas.microsoft.com/office/drawing/2014/main" id="{8F1D347D-70B1-EC98-82D1-4E5FFDA40895}"/>
                </a:ext>
              </a:extLst>
            </p:cNvPr>
            <p:cNvSpPr/>
            <p:nvPr/>
          </p:nvSpPr>
          <p:spPr>
            <a:xfrm>
              <a:off x="10626640" y="1211797"/>
              <a:ext cx="476603" cy="261229"/>
            </a:xfrm>
            <a:prstGeom prst="ellipse">
              <a:avLst/>
            </a:prstGeom>
            <a:solidFill>
              <a:srgbClr val="4AA19E"/>
            </a:solidFill>
            <a:ln>
              <a:solidFill>
                <a:srgbClr val="3675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892064">
                      <a:lumMod val="75000"/>
                    </a:srgbClr>
                  </a:solidFill>
                  <a:effectLst/>
                  <a:uLnTx/>
                  <a:uFillTx/>
                  <a:latin typeface="Gill Sans MT" panose="020B0502020104020203" pitchFamily="34" charset="0"/>
                  <a:ea typeface="+mn-ea"/>
                  <a:cs typeface="+mn-cs"/>
                </a:rPr>
                <a:t>xx</a:t>
              </a:r>
            </a:p>
          </p:txBody>
        </p:sp>
      </p:grpSp>
      <p:sp>
        <p:nvSpPr>
          <p:cNvPr id="1608" name="TextBox 1607">
            <a:extLst>
              <a:ext uri="{FF2B5EF4-FFF2-40B4-BE49-F238E27FC236}">
                <a16:creationId xmlns:a16="http://schemas.microsoft.com/office/drawing/2014/main" id="{EF25701C-627F-1676-C62B-1E466C992D44}"/>
              </a:ext>
            </a:extLst>
          </p:cNvPr>
          <p:cNvSpPr txBox="1"/>
          <p:nvPr/>
        </p:nvSpPr>
        <p:spPr>
          <a:xfrm>
            <a:off x="1909945" y="6061072"/>
            <a:ext cx="9507355" cy="727552"/>
          </a:xfrm>
          <a:prstGeom prst="rect">
            <a:avLst/>
          </a:prstGeom>
          <a:solidFill>
            <a:schemeClr val="bg1">
              <a:lumMod val="85000"/>
            </a:schemeClr>
          </a:solidFill>
          <a:ln w="9525">
            <a:solidFill>
              <a:schemeClr val="bg1">
                <a:lumMod val="75000"/>
              </a:schemeClr>
            </a:solidFill>
            <a:miter lim="800000"/>
            <a:headEnd/>
            <a:tailEnd/>
          </a:ln>
          <a:effectLst/>
        </p:spPr>
        <p:txBody>
          <a:bodyPr vert="horz" wrap="square" lIns="36000" tIns="0" rIns="0" bIns="0" numCol="1" rtlCol="0" anchor="ctr" anchorCtr="0" compatLnSpc="1">
            <a:prstTxWarp prst="textNoShape">
              <a:avLst/>
            </a:prstTxWarp>
            <a:noAutofit/>
          </a:bodyPr>
          <a:lstStyle/>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rPr>
              <a:t>There are significant gaps in the availability of skilled healthcare workers in the state but this is more evident in the rural areas</a:t>
            </a:r>
          </a:p>
          <a:p>
            <a:pPr marL="171450" marR="0" lvl="0" indent="-171450" algn="l" defTabSz="4572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L</a:t>
            </a:r>
            <a:r>
              <a:rPr kumimoji="0" lang="en-US" sz="1050" b="0" i="0" u="none" strike="noStrike" kern="1200" cap="none" spc="0" normalizeH="0" baseline="0" noProof="0" dirty="0" err="1">
                <a:ln>
                  <a:noFill/>
                </a:ln>
                <a:solidFill>
                  <a:prstClr val="black"/>
                </a:solidFill>
                <a:effectLst/>
                <a:uLnTx/>
                <a:uFillTx/>
                <a:latin typeface="Gill Sans MT" panose="020B0502020104020203" pitchFamily="34" charset="0"/>
                <a:ea typeface="+mn-ea"/>
                <a:cs typeface="+mn-cs"/>
              </a:rPr>
              <a:t>ess</a:t>
            </a:r>
            <a:r>
              <a:rPr kumimoji="0" lang="en-US" sz="105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 qualified personnel such as Community Health Workers (CHWs) are noticed to perform nursing duties in the rural PHC assessed, while the absence of pharmacists exacerbates the problem.</a:t>
            </a:r>
          </a:p>
        </p:txBody>
      </p:sp>
      <p:sp>
        <p:nvSpPr>
          <p:cNvPr id="1609" name="Rectangle 1608">
            <a:extLst>
              <a:ext uri="{FF2B5EF4-FFF2-40B4-BE49-F238E27FC236}">
                <a16:creationId xmlns:a16="http://schemas.microsoft.com/office/drawing/2014/main" id="{AA3B4C6A-2AEB-A2D4-87AE-F6B061DBB36D}"/>
              </a:ext>
            </a:extLst>
          </p:cNvPr>
          <p:cNvSpPr/>
          <p:nvPr/>
        </p:nvSpPr>
        <p:spPr>
          <a:xfrm>
            <a:off x="27531" y="0"/>
            <a:ext cx="2537673" cy="1785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Human for health resources Synthesis </a:t>
            </a:r>
          </a:p>
        </p:txBody>
      </p:sp>
    </p:spTree>
    <p:extLst>
      <p:ext uri="{BB962C8B-B14F-4D97-AF65-F5344CB8AC3E}">
        <p14:creationId xmlns:p14="http://schemas.microsoft.com/office/powerpoint/2010/main" val="8278676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5171823-2AE2-EDD3-C6BE-0BDE9B1A8666}"/>
              </a:ext>
            </a:extLst>
          </p:cNvPr>
          <p:cNvGraphicFramePr>
            <a:graphicFrameLocks noChangeAspect="1"/>
          </p:cNvGraphicFramePr>
          <p:nvPr>
            <p:custDataLst>
              <p:tags r:id="rId1"/>
            </p:custDataLst>
            <p:extLst>
              <p:ext uri="{D42A27DB-BD31-4B8C-83A1-F6EECF244321}">
                <p14:modId xmlns:p14="http://schemas.microsoft.com/office/powerpoint/2010/main" val="3134908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think-cell data - do not delete" hidden="1">
                        <a:extLst>
                          <a:ext uri="{FF2B5EF4-FFF2-40B4-BE49-F238E27FC236}">
                            <a16:creationId xmlns:a16="http://schemas.microsoft.com/office/drawing/2014/main" id="{A5171823-2AE2-EDD3-C6BE-0BDE9B1A86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eform: Shape 10">
            <a:extLst>
              <a:ext uri="{FF2B5EF4-FFF2-40B4-BE49-F238E27FC236}">
                <a16:creationId xmlns:a16="http://schemas.microsoft.com/office/drawing/2014/main" id="{CA73A873-CBAB-AC9B-6541-E691E3D12F28}"/>
              </a:ext>
            </a:extLst>
          </p:cNvPr>
          <p:cNvSpPr/>
          <p:nvPr/>
        </p:nvSpPr>
        <p:spPr>
          <a:xfrm>
            <a:off x="275180" y="1222738"/>
            <a:ext cx="4126100" cy="457200"/>
          </a:xfrm>
          <a:custGeom>
            <a:avLst/>
            <a:gdLst>
              <a:gd name="connsiteX0" fmla="*/ 0 w 3491782"/>
              <a:gd name="connsiteY0" fmla="*/ 82020 h 820200"/>
              <a:gd name="connsiteX1" fmla="*/ 82020 w 3491782"/>
              <a:gd name="connsiteY1" fmla="*/ 0 h 820200"/>
              <a:gd name="connsiteX2" fmla="*/ 3409762 w 3491782"/>
              <a:gd name="connsiteY2" fmla="*/ 0 h 820200"/>
              <a:gd name="connsiteX3" fmla="*/ 3491782 w 3491782"/>
              <a:gd name="connsiteY3" fmla="*/ 82020 h 820200"/>
              <a:gd name="connsiteX4" fmla="*/ 3491782 w 3491782"/>
              <a:gd name="connsiteY4" fmla="*/ 738180 h 820200"/>
              <a:gd name="connsiteX5" fmla="*/ 3409762 w 3491782"/>
              <a:gd name="connsiteY5" fmla="*/ 820200 h 820200"/>
              <a:gd name="connsiteX6" fmla="*/ 82020 w 3491782"/>
              <a:gd name="connsiteY6" fmla="*/ 820200 h 820200"/>
              <a:gd name="connsiteX7" fmla="*/ 0 w 3491782"/>
              <a:gd name="connsiteY7" fmla="*/ 738180 h 820200"/>
              <a:gd name="connsiteX8" fmla="*/ 0 w 3491782"/>
              <a:gd name="connsiteY8" fmla="*/ 82020 h 82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1782" h="820200">
                <a:moveTo>
                  <a:pt x="0" y="82020"/>
                </a:moveTo>
                <a:cubicBezTo>
                  <a:pt x="0" y="36722"/>
                  <a:pt x="36722" y="0"/>
                  <a:pt x="82020" y="0"/>
                </a:cubicBezTo>
                <a:lnTo>
                  <a:pt x="3409762" y="0"/>
                </a:lnTo>
                <a:cubicBezTo>
                  <a:pt x="3455060" y="0"/>
                  <a:pt x="3491782" y="36722"/>
                  <a:pt x="3491782" y="82020"/>
                </a:cubicBezTo>
                <a:lnTo>
                  <a:pt x="3491782" y="738180"/>
                </a:lnTo>
                <a:cubicBezTo>
                  <a:pt x="3491782" y="783478"/>
                  <a:pt x="3455060" y="820200"/>
                  <a:pt x="3409762" y="820200"/>
                </a:cubicBezTo>
                <a:lnTo>
                  <a:pt x="82020" y="820200"/>
                </a:lnTo>
                <a:cubicBezTo>
                  <a:pt x="36722" y="820200"/>
                  <a:pt x="0" y="783478"/>
                  <a:pt x="0" y="738180"/>
                </a:cubicBezTo>
                <a:lnTo>
                  <a:pt x="0" y="8202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743" tIns="54503" rIns="69743" bIns="54503"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Gill Sans MT" panose="020B0502020104020203"/>
                <a:ea typeface="+mn-ea"/>
                <a:cs typeface="+mn-cs"/>
              </a:rPr>
              <a:t>Who is the market failing?</a:t>
            </a:r>
          </a:p>
        </p:txBody>
      </p:sp>
      <p:sp>
        <p:nvSpPr>
          <p:cNvPr id="16" name="Freeform: Shape 15">
            <a:extLst>
              <a:ext uri="{FF2B5EF4-FFF2-40B4-BE49-F238E27FC236}">
                <a16:creationId xmlns:a16="http://schemas.microsoft.com/office/drawing/2014/main" id="{928F5001-698B-CFF5-2896-66F75AB2D306}"/>
              </a:ext>
            </a:extLst>
          </p:cNvPr>
          <p:cNvSpPr/>
          <p:nvPr/>
        </p:nvSpPr>
        <p:spPr>
          <a:xfrm>
            <a:off x="4764134" y="1222738"/>
            <a:ext cx="6531195" cy="428255"/>
          </a:xfrm>
          <a:custGeom>
            <a:avLst/>
            <a:gdLst>
              <a:gd name="connsiteX0" fmla="*/ 0 w 3607864"/>
              <a:gd name="connsiteY0" fmla="*/ 85859 h 858590"/>
              <a:gd name="connsiteX1" fmla="*/ 85859 w 3607864"/>
              <a:gd name="connsiteY1" fmla="*/ 0 h 858590"/>
              <a:gd name="connsiteX2" fmla="*/ 3522005 w 3607864"/>
              <a:gd name="connsiteY2" fmla="*/ 0 h 858590"/>
              <a:gd name="connsiteX3" fmla="*/ 3607864 w 3607864"/>
              <a:gd name="connsiteY3" fmla="*/ 85859 h 858590"/>
              <a:gd name="connsiteX4" fmla="*/ 3607864 w 3607864"/>
              <a:gd name="connsiteY4" fmla="*/ 772731 h 858590"/>
              <a:gd name="connsiteX5" fmla="*/ 3522005 w 3607864"/>
              <a:gd name="connsiteY5" fmla="*/ 858590 h 858590"/>
              <a:gd name="connsiteX6" fmla="*/ 85859 w 3607864"/>
              <a:gd name="connsiteY6" fmla="*/ 858590 h 858590"/>
              <a:gd name="connsiteX7" fmla="*/ 0 w 3607864"/>
              <a:gd name="connsiteY7" fmla="*/ 772731 h 858590"/>
              <a:gd name="connsiteX8" fmla="*/ 0 w 3607864"/>
              <a:gd name="connsiteY8" fmla="*/ 85859 h 85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7864" h="858590">
                <a:moveTo>
                  <a:pt x="0" y="85859"/>
                </a:moveTo>
                <a:cubicBezTo>
                  <a:pt x="0" y="38440"/>
                  <a:pt x="38440" y="0"/>
                  <a:pt x="85859" y="0"/>
                </a:cubicBezTo>
                <a:lnTo>
                  <a:pt x="3522005" y="0"/>
                </a:lnTo>
                <a:cubicBezTo>
                  <a:pt x="3569424" y="0"/>
                  <a:pt x="3607864" y="38440"/>
                  <a:pt x="3607864" y="85859"/>
                </a:cubicBezTo>
                <a:lnTo>
                  <a:pt x="3607864" y="772731"/>
                </a:lnTo>
                <a:cubicBezTo>
                  <a:pt x="3607864" y="820150"/>
                  <a:pt x="3569424" y="858590"/>
                  <a:pt x="3522005" y="858590"/>
                </a:cubicBezTo>
                <a:lnTo>
                  <a:pt x="85859" y="858590"/>
                </a:lnTo>
                <a:cubicBezTo>
                  <a:pt x="38440" y="858590"/>
                  <a:pt x="0" y="820150"/>
                  <a:pt x="0" y="772731"/>
                </a:cubicBezTo>
                <a:lnTo>
                  <a:pt x="0" y="858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0" tIns="55627" rIns="70867" bIns="55627"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Gill Sans MT" panose="020B0502020104020203"/>
                <a:ea typeface="+mn-ea"/>
                <a:cs typeface="+mn-cs"/>
              </a:rPr>
              <a:t>Why is the market failing?</a:t>
            </a:r>
          </a:p>
        </p:txBody>
      </p:sp>
      <p:sp>
        <p:nvSpPr>
          <p:cNvPr id="3" name="Title 2">
            <a:extLst>
              <a:ext uri="{FF2B5EF4-FFF2-40B4-BE49-F238E27FC236}">
                <a16:creationId xmlns:a16="http://schemas.microsoft.com/office/drawing/2014/main" id="{4FD6D0DA-E15A-7204-278D-D203B1F5501B}"/>
              </a:ext>
            </a:extLst>
          </p:cNvPr>
          <p:cNvSpPr>
            <a:spLocks noGrp="1"/>
          </p:cNvSpPr>
          <p:nvPr>
            <p:ph type="title"/>
          </p:nvPr>
        </p:nvSpPr>
        <p:spPr>
          <a:xfrm>
            <a:off x="460375" y="297515"/>
            <a:ext cx="11272425" cy="769286"/>
          </a:xfrm>
        </p:spPr>
        <p:txBody>
          <a:bodyPr vert="horz">
            <a:normAutofit/>
          </a:bodyPr>
          <a:lstStyle/>
          <a:p>
            <a:pPr algn="l"/>
            <a:r>
              <a:rPr lang="en-US" dirty="0"/>
              <a:t>Summary of supply</a:t>
            </a:r>
          </a:p>
        </p:txBody>
      </p:sp>
      <p:sp>
        <p:nvSpPr>
          <p:cNvPr id="4" name="Slide Number Placeholder 3">
            <a:extLst>
              <a:ext uri="{FF2B5EF4-FFF2-40B4-BE49-F238E27FC236}">
                <a16:creationId xmlns:a16="http://schemas.microsoft.com/office/drawing/2014/main" id="{75728284-6B5F-E2E2-EE2F-800AB6BD19E4}"/>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8</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grpSp>
        <p:nvGrpSpPr>
          <p:cNvPr id="33" name="Group 32">
            <a:extLst>
              <a:ext uri="{FF2B5EF4-FFF2-40B4-BE49-F238E27FC236}">
                <a16:creationId xmlns:a16="http://schemas.microsoft.com/office/drawing/2014/main" id="{EB0F46F3-AEA7-C610-848C-997A2D2877EB}"/>
              </a:ext>
            </a:extLst>
          </p:cNvPr>
          <p:cNvGrpSpPr/>
          <p:nvPr/>
        </p:nvGrpSpPr>
        <p:grpSpPr>
          <a:xfrm>
            <a:off x="5029155" y="1581676"/>
            <a:ext cx="640080" cy="3948647"/>
            <a:chOff x="5029155" y="1657022"/>
            <a:chExt cx="640080" cy="3948647"/>
          </a:xfrm>
        </p:grpSpPr>
        <p:cxnSp>
          <p:nvCxnSpPr>
            <p:cNvPr id="28" name="Straight Connector 27">
              <a:extLst>
                <a:ext uri="{FF2B5EF4-FFF2-40B4-BE49-F238E27FC236}">
                  <a16:creationId xmlns:a16="http://schemas.microsoft.com/office/drawing/2014/main" id="{3B80676B-4561-E5E9-DE4C-934F5C71DDCA}"/>
                </a:ext>
              </a:extLst>
            </p:cNvPr>
            <p:cNvCxnSpPr>
              <a:cxnSpLocks/>
            </p:cNvCxnSpPr>
            <p:nvPr/>
          </p:nvCxnSpPr>
          <p:spPr>
            <a:xfrm flipH="1">
              <a:off x="5029155" y="1657022"/>
              <a:ext cx="0" cy="394509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F7AB2B1-9564-1C6D-8A4E-C7414A53C6C9}"/>
                </a:ext>
              </a:extLst>
            </p:cNvPr>
            <p:cNvCxnSpPr>
              <a:cxnSpLocks/>
            </p:cNvCxnSpPr>
            <p:nvPr/>
          </p:nvCxnSpPr>
          <p:spPr>
            <a:xfrm>
              <a:off x="5029155" y="3214894"/>
              <a:ext cx="64008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E369DBB-7963-2FED-DD17-BDFCFB94CA77}"/>
                </a:ext>
              </a:extLst>
            </p:cNvPr>
            <p:cNvCxnSpPr>
              <a:cxnSpLocks/>
            </p:cNvCxnSpPr>
            <p:nvPr/>
          </p:nvCxnSpPr>
          <p:spPr>
            <a:xfrm>
              <a:off x="5029155" y="5605669"/>
              <a:ext cx="640080" cy="0"/>
            </a:xfrm>
            <a:prstGeom prst="line">
              <a:avLst/>
            </a:prstGeom>
            <a:ln w="12700"/>
          </p:spPr>
          <p:style>
            <a:lnRef idx="1">
              <a:schemeClr val="accent1"/>
            </a:lnRef>
            <a:fillRef idx="0">
              <a:schemeClr val="accent1"/>
            </a:fillRef>
            <a:effectRef idx="0">
              <a:schemeClr val="accent1"/>
            </a:effectRef>
            <a:fontRef idx="minor">
              <a:schemeClr val="tx1"/>
            </a:fontRef>
          </p:style>
        </p:cxnSp>
      </p:grpSp>
      <p:cxnSp>
        <p:nvCxnSpPr>
          <p:cNvPr id="35" name="Straight Connector 34">
            <a:extLst>
              <a:ext uri="{FF2B5EF4-FFF2-40B4-BE49-F238E27FC236}">
                <a16:creationId xmlns:a16="http://schemas.microsoft.com/office/drawing/2014/main" id="{FCAA357F-B717-0020-E1A6-5E8BA7C175A6}"/>
              </a:ext>
            </a:extLst>
          </p:cNvPr>
          <p:cNvCxnSpPr>
            <a:cxnSpLocks/>
          </p:cNvCxnSpPr>
          <p:nvPr/>
        </p:nvCxnSpPr>
        <p:spPr>
          <a:xfrm flipH="1">
            <a:off x="477307" y="1581676"/>
            <a:ext cx="0" cy="155787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728CDF3-0F11-DB78-B59C-23AF60A1FD6F}"/>
              </a:ext>
            </a:extLst>
          </p:cNvPr>
          <p:cNvCxnSpPr>
            <a:cxnSpLocks/>
          </p:cNvCxnSpPr>
          <p:nvPr/>
        </p:nvCxnSpPr>
        <p:spPr>
          <a:xfrm>
            <a:off x="499406" y="3139548"/>
            <a:ext cx="6400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Freeform: Shape 12">
            <a:extLst>
              <a:ext uri="{FF2B5EF4-FFF2-40B4-BE49-F238E27FC236}">
                <a16:creationId xmlns:a16="http://schemas.microsoft.com/office/drawing/2014/main" id="{81E115CF-4FFB-C725-E695-62FEBA88F32C}"/>
              </a:ext>
            </a:extLst>
          </p:cNvPr>
          <p:cNvSpPr/>
          <p:nvPr/>
        </p:nvSpPr>
        <p:spPr>
          <a:xfrm>
            <a:off x="1041408" y="2201710"/>
            <a:ext cx="3377304" cy="1463040"/>
          </a:xfrm>
          <a:custGeom>
            <a:avLst/>
            <a:gdLst>
              <a:gd name="connsiteX0" fmla="*/ 0 w 3377304"/>
              <a:gd name="connsiteY0" fmla="*/ 126437 h 1264368"/>
              <a:gd name="connsiteX1" fmla="*/ 126437 w 3377304"/>
              <a:gd name="connsiteY1" fmla="*/ 0 h 1264368"/>
              <a:gd name="connsiteX2" fmla="*/ 3250867 w 3377304"/>
              <a:gd name="connsiteY2" fmla="*/ 0 h 1264368"/>
              <a:gd name="connsiteX3" fmla="*/ 3377304 w 3377304"/>
              <a:gd name="connsiteY3" fmla="*/ 126437 h 1264368"/>
              <a:gd name="connsiteX4" fmla="*/ 3377304 w 3377304"/>
              <a:gd name="connsiteY4" fmla="*/ 1137931 h 1264368"/>
              <a:gd name="connsiteX5" fmla="*/ 3250867 w 3377304"/>
              <a:gd name="connsiteY5" fmla="*/ 1264368 h 1264368"/>
              <a:gd name="connsiteX6" fmla="*/ 126437 w 3377304"/>
              <a:gd name="connsiteY6" fmla="*/ 1264368 h 1264368"/>
              <a:gd name="connsiteX7" fmla="*/ 0 w 3377304"/>
              <a:gd name="connsiteY7" fmla="*/ 1137931 h 1264368"/>
              <a:gd name="connsiteX8" fmla="*/ 0 w 3377304"/>
              <a:gd name="connsiteY8" fmla="*/ 126437 h 126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7304" h="1264368">
                <a:moveTo>
                  <a:pt x="0" y="126437"/>
                </a:moveTo>
                <a:cubicBezTo>
                  <a:pt x="0" y="56608"/>
                  <a:pt x="56608" y="0"/>
                  <a:pt x="126437" y="0"/>
                </a:cubicBezTo>
                <a:lnTo>
                  <a:pt x="3250867" y="0"/>
                </a:lnTo>
                <a:cubicBezTo>
                  <a:pt x="3320696" y="0"/>
                  <a:pt x="3377304" y="56608"/>
                  <a:pt x="3377304" y="126437"/>
                </a:cubicBezTo>
                <a:lnTo>
                  <a:pt x="3377304" y="1137931"/>
                </a:lnTo>
                <a:cubicBezTo>
                  <a:pt x="3377304" y="1207760"/>
                  <a:pt x="3320696" y="1264368"/>
                  <a:pt x="3250867" y="1264368"/>
                </a:cubicBezTo>
                <a:lnTo>
                  <a:pt x="126437" y="1264368"/>
                </a:lnTo>
                <a:cubicBezTo>
                  <a:pt x="56608" y="1264368"/>
                  <a:pt x="0" y="1207760"/>
                  <a:pt x="0" y="1137931"/>
                </a:cubicBezTo>
                <a:lnTo>
                  <a:pt x="0" y="12643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7512" tIns="57352" rIns="67512" bIns="57352" numCol="1" spcCol="1270" anchor="ctr" anchorCtr="0">
            <a:noAutofit/>
          </a:bodyPr>
          <a:lstStyle/>
          <a:p>
            <a:pPr marL="28575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The mother lives in urban and rural areas (predominantly rural)</a:t>
            </a:r>
          </a:p>
          <a:p>
            <a:pPr marL="28575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Lives in a household with the lowest and lower income levels</a:t>
            </a:r>
          </a:p>
          <a:p>
            <a:pPr marL="28575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400" b="0" i="0" u="none" strike="noStrike" kern="1200" cap="none" spc="0" normalizeH="0" baseline="0" noProof="0" dirty="0">
                <a:ln>
                  <a:noFill/>
                </a:ln>
                <a:solidFill>
                  <a:srgbClr val="112E38"/>
                </a:solidFill>
                <a:effectLst/>
                <a:uLnTx/>
                <a:uFillTx/>
                <a:latin typeface="Gill Sans MT" panose="020B0502020104020203"/>
                <a:ea typeface="+mn-ea"/>
                <a:cs typeface="Arial" panose="020B0604020202020204" pitchFamily="34" charset="0"/>
              </a:rPr>
              <a:t>She has no or incomplete education</a:t>
            </a:r>
          </a:p>
        </p:txBody>
      </p:sp>
      <p:sp>
        <p:nvSpPr>
          <p:cNvPr id="18" name="Freeform: Shape 17">
            <a:extLst>
              <a:ext uri="{FF2B5EF4-FFF2-40B4-BE49-F238E27FC236}">
                <a16:creationId xmlns:a16="http://schemas.microsoft.com/office/drawing/2014/main" id="{9FFF5629-B781-9AD1-6021-34F552C0B840}"/>
              </a:ext>
            </a:extLst>
          </p:cNvPr>
          <p:cNvSpPr/>
          <p:nvPr/>
        </p:nvSpPr>
        <p:spPr>
          <a:xfrm>
            <a:off x="5626055" y="1748441"/>
            <a:ext cx="5669280" cy="2709259"/>
          </a:xfrm>
          <a:custGeom>
            <a:avLst/>
            <a:gdLst>
              <a:gd name="connsiteX0" fmla="*/ 0 w 4371700"/>
              <a:gd name="connsiteY0" fmla="*/ 227462 h 2274616"/>
              <a:gd name="connsiteX1" fmla="*/ 227462 w 4371700"/>
              <a:gd name="connsiteY1" fmla="*/ 0 h 2274616"/>
              <a:gd name="connsiteX2" fmla="*/ 4144238 w 4371700"/>
              <a:gd name="connsiteY2" fmla="*/ 0 h 2274616"/>
              <a:gd name="connsiteX3" fmla="*/ 4371700 w 4371700"/>
              <a:gd name="connsiteY3" fmla="*/ 227462 h 2274616"/>
              <a:gd name="connsiteX4" fmla="*/ 4371700 w 4371700"/>
              <a:gd name="connsiteY4" fmla="*/ 2047154 h 2274616"/>
              <a:gd name="connsiteX5" fmla="*/ 4144238 w 4371700"/>
              <a:gd name="connsiteY5" fmla="*/ 2274616 h 2274616"/>
              <a:gd name="connsiteX6" fmla="*/ 227462 w 4371700"/>
              <a:gd name="connsiteY6" fmla="*/ 2274616 h 2274616"/>
              <a:gd name="connsiteX7" fmla="*/ 0 w 4371700"/>
              <a:gd name="connsiteY7" fmla="*/ 2047154 h 2274616"/>
              <a:gd name="connsiteX8" fmla="*/ 0 w 4371700"/>
              <a:gd name="connsiteY8" fmla="*/ 227462 h 2274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71700" h="2274616">
                <a:moveTo>
                  <a:pt x="0" y="227462"/>
                </a:moveTo>
                <a:cubicBezTo>
                  <a:pt x="0" y="101838"/>
                  <a:pt x="101838" y="0"/>
                  <a:pt x="227462" y="0"/>
                </a:cubicBezTo>
                <a:lnTo>
                  <a:pt x="4144238" y="0"/>
                </a:lnTo>
                <a:cubicBezTo>
                  <a:pt x="4269862" y="0"/>
                  <a:pt x="4371700" y="101838"/>
                  <a:pt x="4371700" y="227462"/>
                </a:cubicBezTo>
                <a:lnTo>
                  <a:pt x="4371700" y="2047154"/>
                </a:lnTo>
                <a:cubicBezTo>
                  <a:pt x="4371700" y="2172778"/>
                  <a:pt x="4269862" y="2274616"/>
                  <a:pt x="4144238" y="2274616"/>
                </a:cubicBezTo>
                <a:lnTo>
                  <a:pt x="227462" y="2274616"/>
                </a:lnTo>
                <a:cubicBezTo>
                  <a:pt x="101838" y="2274616"/>
                  <a:pt x="0" y="2172778"/>
                  <a:pt x="0" y="2047154"/>
                </a:cubicBezTo>
                <a:lnTo>
                  <a:pt x="0" y="227462"/>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7101" tIns="0" rIns="97101" bIns="0" numCol="1" spcCol="1270" anchor="ctr" anchorCtr="0">
            <a:noAutofit/>
          </a:bodyPr>
          <a:lstStyle/>
          <a:p>
            <a:pPr marL="365760" marR="0" lvl="0" indent="-285750" algn="l" defTabSz="711200" rtl="0" eaLnBrk="1" fontAlgn="auto" latinLnBrk="0" hangingPunct="1">
              <a:lnSpc>
                <a:spcPct val="90000"/>
              </a:lnSpc>
              <a:spcBef>
                <a:spcPts val="0"/>
              </a:spcBef>
              <a:spcAft>
                <a:spcPct val="350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Low ability to pay and lack of financial risk protection is a major challenge and this creates a barrier to access for mothers in the lowest and lower-income households </a:t>
            </a:r>
          </a:p>
          <a:p>
            <a:pPr marL="365760" marR="0" lvl="0" indent="-285750" algn="l" defTabSz="711200" rtl="0" eaLnBrk="1" fontAlgn="auto" latinLnBrk="0" hangingPunct="1">
              <a:lnSpc>
                <a:spcPct val="90000"/>
              </a:lnSpc>
              <a:spcBef>
                <a:spcPts val="0"/>
              </a:spcBef>
              <a:spcAft>
                <a:spcPct val="350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Geographical barriers to access predominantly affect rural residents:</a:t>
            </a:r>
          </a:p>
          <a:p>
            <a:pPr marL="640080" marR="0" lvl="0" indent="-285750" algn="l" defTabSz="711200" rtl="0" eaLnBrk="1" fontAlgn="auto" latinLnBrk="0" hangingPunct="1">
              <a:lnSpc>
                <a:spcPct val="9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distance to health facilities</a:t>
            </a:r>
          </a:p>
          <a:p>
            <a:pPr marL="640080" marR="0" lvl="0" indent="-285750" algn="l" defTabSz="711200" rtl="0" eaLnBrk="1" fontAlgn="auto" latinLnBrk="0" hangingPunct="1">
              <a:lnSpc>
                <a:spcPct val="9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limited availability of skilled birth attendants at the rural HFs due to a mismatch in the distribution of HFs </a:t>
            </a:r>
          </a:p>
          <a:p>
            <a:pPr marL="640080" marR="0" lvl="0" indent="-285750" algn="l" defTabSz="711200" rtl="0" eaLnBrk="1" fontAlgn="auto" latinLnBrk="0" hangingPunct="1">
              <a:lnSpc>
                <a:spcPct val="9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disruptions in the public referral system due to the lack of functionality of the public secondary healthcare facilities </a:t>
            </a:r>
          </a:p>
          <a:p>
            <a:pPr marL="365760" marR="0" lvl="0" indent="-285750" algn="l" defTabSz="711200" rtl="0" eaLnBrk="1" fontAlgn="auto" latinLnBrk="0" hangingPunct="1">
              <a:lnSpc>
                <a:spcPct val="90000"/>
              </a:lnSpc>
              <a:spcBef>
                <a:spcPts val="0"/>
              </a:spcBef>
              <a:spcAft>
                <a:spcPct val="350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Socio-cultural norms favor the use of TBAs over skilled birth attendants and this is linked to illiteracy and poverty</a:t>
            </a:r>
          </a:p>
        </p:txBody>
      </p:sp>
      <p:sp>
        <p:nvSpPr>
          <p:cNvPr id="20" name="Freeform: Shape 19">
            <a:extLst>
              <a:ext uri="{FF2B5EF4-FFF2-40B4-BE49-F238E27FC236}">
                <a16:creationId xmlns:a16="http://schemas.microsoft.com/office/drawing/2014/main" id="{33A9A06F-6FB5-FC13-CD68-28544D93426A}"/>
              </a:ext>
            </a:extLst>
          </p:cNvPr>
          <p:cNvSpPr/>
          <p:nvPr/>
        </p:nvSpPr>
        <p:spPr>
          <a:xfrm>
            <a:off x="5626055" y="4787899"/>
            <a:ext cx="5669280" cy="1422401"/>
          </a:xfrm>
          <a:custGeom>
            <a:avLst/>
            <a:gdLst>
              <a:gd name="connsiteX0" fmla="*/ 0 w 5761958"/>
              <a:gd name="connsiteY0" fmla="*/ 112547 h 1125473"/>
              <a:gd name="connsiteX1" fmla="*/ 112547 w 5761958"/>
              <a:gd name="connsiteY1" fmla="*/ 0 h 1125473"/>
              <a:gd name="connsiteX2" fmla="*/ 5649411 w 5761958"/>
              <a:gd name="connsiteY2" fmla="*/ 0 h 1125473"/>
              <a:gd name="connsiteX3" fmla="*/ 5761958 w 5761958"/>
              <a:gd name="connsiteY3" fmla="*/ 112547 h 1125473"/>
              <a:gd name="connsiteX4" fmla="*/ 5761958 w 5761958"/>
              <a:gd name="connsiteY4" fmla="*/ 1012926 h 1125473"/>
              <a:gd name="connsiteX5" fmla="*/ 5649411 w 5761958"/>
              <a:gd name="connsiteY5" fmla="*/ 1125473 h 1125473"/>
              <a:gd name="connsiteX6" fmla="*/ 112547 w 5761958"/>
              <a:gd name="connsiteY6" fmla="*/ 1125473 h 1125473"/>
              <a:gd name="connsiteX7" fmla="*/ 0 w 5761958"/>
              <a:gd name="connsiteY7" fmla="*/ 1012926 h 1125473"/>
              <a:gd name="connsiteX8" fmla="*/ 0 w 5761958"/>
              <a:gd name="connsiteY8" fmla="*/ 112547 h 112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1958" h="1125473">
                <a:moveTo>
                  <a:pt x="0" y="112547"/>
                </a:moveTo>
                <a:cubicBezTo>
                  <a:pt x="0" y="50389"/>
                  <a:pt x="50389" y="0"/>
                  <a:pt x="112547" y="0"/>
                </a:cubicBezTo>
                <a:lnTo>
                  <a:pt x="5649411" y="0"/>
                </a:lnTo>
                <a:cubicBezTo>
                  <a:pt x="5711569" y="0"/>
                  <a:pt x="5761958" y="50389"/>
                  <a:pt x="5761958" y="112547"/>
                </a:cubicBezTo>
                <a:lnTo>
                  <a:pt x="5761958" y="1012926"/>
                </a:lnTo>
                <a:cubicBezTo>
                  <a:pt x="5761958" y="1075084"/>
                  <a:pt x="5711569" y="1125473"/>
                  <a:pt x="5649411" y="1125473"/>
                </a:cubicBezTo>
                <a:lnTo>
                  <a:pt x="112547" y="1125473"/>
                </a:lnTo>
                <a:cubicBezTo>
                  <a:pt x="50389" y="1125473"/>
                  <a:pt x="0" y="1075084"/>
                  <a:pt x="0" y="1012926"/>
                </a:cubicBezTo>
                <a:lnTo>
                  <a:pt x="0" y="11254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3444" tIns="53284" rIns="63444" bIns="53284" numCol="1" spcCol="1270" anchor="ctr" anchorCtr="0">
            <a:noAutofit/>
          </a:bodyPr>
          <a:lstStyle/>
          <a:p>
            <a:pPr marL="365760" marR="0" lvl="0" indent="-285750" algn="l" defTabSz="711200" rtl="0" eaLnBrk="1" fontAlgn="auto" latinLnBrk="0" hangingPunct="1">
              <a:lnSpc>
                <a:spcPct val="90000"/>
              </a:lnSpc>
              <a:spcBef>
                <a:spcPts val="0"/>
              </a:spcBef>
              <a:spcAft>
                <a:spcPct val="350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MNH commodities are less likely to be available at the PHC level in both the rural and urban areas</a:t>
            </a:r>
          </a:p>
          <a:p>
            <a:pPr marL="365760" marR="0" lvl="0" indent="-285750" algn="l" defTabSz="711200" rtl="0" eaLnBrk="1" fontAlgn="auto" latinLnBrk="0" hangingPunct="1">
              <a:lnSpc>
                <a:spcPct val="90000"/>
              </a:lnSpc>
              <a:spcBef>
                <a:spcPts val="0"/>
              </a:spcBef>
              <a:spcAft>
                <a:spcPct val="350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Challenges maintaining cold chain of MNH commodities in rural areas</a:t>
            </a:r>
          </a:p>
          <a:p>
            <a:pPr marL="365760" marR="0" lvl="0" indent="-285750" algn="l" defTabSz="711200" rtl="0" eaLnBrk="1" fontAlgn="auto" latinLnBrk="0" hangingPunct="1">
              <a:lnSpc>
                <a:spcPct val="90000"/>
              </a:lnSpc>
              <a:spcBef>
                <a:spcPts val="0"/>
              </a:spcBef>
              <a:spcAft>
                <a:spcPct val="350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Most private service delivery points source their commodities from the open drug market and this could have implications for the quality of the commodities since they are largely unregulated </a:t>
            </a:r>
          </a:p>
        </p:txBody>
      </p:sp>
    </p:spTree>
    <p:extLst>
      <p:ext uri="{BB962C8B-B14F-4D97-AF65-F5344CB8AC3E}">
        <p14:creationId xmlns:p14="http://schemas.microsoft.com/office/powerpoint/2010/main" val="16216950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153E0899-BA32-6455-02EB-37E72800D8D9}"/>
              </a:ext>
            </a:extLst>
          </p:cNvPr>
          <p:cNvGraphicFramePr>
            <a:graphicFrameLocks noChangeAspect="1"/>
          </p:cNvGraphicFramePr>
          <p:nvPr>
            <p:custDataLst>
              <p:tags r:id="rId1"/>
            </p:custDataLst>
            <p:extLst>
              <p:ext uri="{D42A27DB-BD31-4B8C-83A1-F6EECF244321}">
                <p14:modId xmlns:p14="http://schemas.microsoft.com/office/powerpoint/2010/main" val="1174420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3" name="think-cell data - do not delete" hidden="1">
                        <a:extLst>
                          <a:ext uri="{FF2B5EF4-FFF2-40B4-BE49-F238E27FC236}">
                            <a16:creationId xmlns:a16="http://schemas.microsoft.com/office/drawing/2014/main" id="{153E0899-BA32-6455-02EB-37E72800D8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FD6D0DA-E15A-7204-278D-D203B1F5501B}"/>
              </a:ext>
            </a:extLst>
          </p:cNvPr>
          <p:cNvSpPr>
            <a:spLocks noGrp="1"/>
          </p:cNvSpPr>
          <p:nvPr>
            <p:ph type="title"/>
          </p:nvPr>
        </p:nvSpPr>
        <p:spPr>
          <a:xfrm>
            <a:off x="460375" y="297515"/>
            <a:ext cx="11272425" cy="769286"/>
          </a:xfrm>
        </p:spPr>
        <p:txBody>
          <a:bodyPr vert="horz">
            <a:normAutofit/>
          </a:bodyPr>
          <a:lstStyle/>
          <a:p>
            <a:pPr algn="l"/>
            <a:r>
              <a:rPr lang="en-US" dirty="0"/>
              <a:t>Summary of supply</a:t>
            </a:r>
          </a:p>
        </p:txBody>
      </p:sp>
      <p:sp>
        <p:nvSpPr>
          <p:cNvPr id="4" name="Slide Number Placeholder 3">
            <a:extLst>
              <a:ext uri="{FF2B5EF4-FFF2-40B4-BE49-F238E27FC236}">
                <a16:creationId xmlns:a16="http://schemas.microsoft.com/office/drawing/2014/main" id="{75728284-6B5F-E2E2-EE2F-800AB6BD19E4}"/>
              </a:ext>
            </a:extLst>
          </p:cNvPr>
          <p:cNvSpPr>
            <a:spLocks noGrp="1"/>
          </p:cNvSpPr>
          <p:nvPr>
            <p:ph type="sldNum" sz="quarter" idx="4"/>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grpSp>
        <p:nvGrpSpPr>
          <p:cNvPr id="2" name="Group 1">
            <a:extLst>
              <a:ext uri="{FF2B5EF4-FFF2-40B4-BE49-F238E27FC236}">
                <a16:creationId xmlns:a16="http://schemas.microsoft.com/office/drawing/2014/main" id="{CCEF3A46-E6F6-C9E0-80D3-202F2290AD85}"/>
              </a:ext>
            </a:extLst>
          </p:cNvPr>
          <p:cNvGrpSpPr/>
          <p:nvPr/>
        </p:nvGrpSpPr>
        <p:grpSpPr>
          <a:xfrm>
            <a:off x="71270" y="1260838"/>
            <a:ext cx="8253334" cy="5457005"/>
            <a:chOff x="460375" y="1260838"/>
            <a:chExt cx="11025889" cy="5457005"/>
          </a:xfrm>
        </p:grpSpPr>
        <p:sp>
          <p:nvSpPr>
            <p:cNvPr id="6" name="Freeform: Shape 5">
              <a:extLst>
                <a:ext uri="{FF2B5EF4-FFF2-40B4-BE49-F238E27FC236}">
                  <a16:creationId xmlns:a16="http://schemas.microsoft.com/office/drawing/2014/main" id="{81ECD4DA-89FC-6F6D-BAA5-0624E5E6ED94}"/>
                </a:ext>
              </a:extLst>
            </p:cNvPr>
            <p:cNvSpPr/>
            <p:nvPr/>
          </p:nvSpPr>
          <p:spPr>
            <a:xfrm>
              <a:off x="460375" y="1260838"/>
              <a:ext cx="4115010" cy="966593"/>
            </a:xfrm>
            <a:custGeom>
              <a:avLst/>
              <a:gdLst>
                <a:gd name="connsiteX0" fmla="*/ 0 w 4115010"/>
                <a:gd name="connsiteY0" fmla="*/ 96659 h 966593"/>
                <a:gd name="connsiteX1" fmla="*/ 96659 w 4115010"/>
                <a:gd name="connsiteY1" fmla="*/ 0 h 966593"/>
                <a:gd name="connsiteX2" fmla="*/ 4018351 w 4115010"/>
                <a:gd name="connsiteY2" fmla="*/ 0 h 966593"/>
                <a:gd name="connsiteX3" fmla="*/ 4115010 w 4115010"/>
                <a:gd name="connsiteY3" fmla="*/ 96659 h 966593"/>
                <a:gd name="connsiteX4" fmla="*/ 4115010 w 4115010"/>
                <a:gd name="connsiteY4" fmla="*/ 869934 h 966593"/>
                <a:gd name="connsiteX5" fmla="*/ 4018351 w 4115010"/>
                <a:gd name="connsiteY5" fmla="*/ 966593 h 966593"/>
                <a:gd name="connsiteX6" fmla="*/ 96659 w 4115010"/>
                <a:gd name="connsiteY6" fmla="*/ 966593 h 966593"/>
                <a:gd name="connsiteX7" fmla="*/ 0 w 4115010"/>
                <a:gd name="connsiteY7" fmla="*/ 869934 h 966593"/>
                <a:gd name="connsiteX8" fmla="*/ 0 w 4115010"/>
                <a:gd name="connsiteY8" fmla="*/ 96659 h 96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5010" h="966593">
                  <a:moveTo>
                    <a:pt x="0" y="96659"/>
                  </a:moveTo>
                  <a:cubicBezTo>
                    <a:pt x="0" y="43276"/>
                    <a:pt x="43276" y="0"/>
                    <a:pt x="96659" y="0"/>
                  </a:cubicBezTo>
                  <a:lnTo>
                    <a:pt x="4018351" y="0"/>
                  </a:lnTo>
                  <a:cubicBezTo>
                    <a:pt x="4071734" y="0"/>
                    <a:pt x="4115010" y="43276"/>
                    <a:pt x="4115010" y="96659"/>
                  </a:cubicBezTo>
                  <a:lnTo>
                    <a:pt x="4115010" y="869934"/>
                  </a:lnTo>
                  <a:cubicBezTo>
                    <a:pt x="4115010" y="923317"/>
                    <a:pt x="4071734" y="966593"/>
                    <a:pt x="4018351" y="966593"/>
                  </a:cubicBezTo>
                  <a:lnTo>
                    <a:pt x="96659" y="966593"/>
                  </a:lnTo>
                  <a:cubicBezTo>
                    <a:pt x="43276" y="966593"/>
                    <a:pt x="0" y="923317"/>
                    <a:pt x="0" y="869934"/>
                  </a:cubicBezTo>
                  <a:lnTo>
                    <a:pt x="0" y="966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031" tIns="58791" rIns="74031" bIns="58791"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ill Sans MT" panose="020B0502020104020203"/>
                  <a:ea typeface="+mn-ea"/>
                  <a:cs typeface="+mn-cs"/>
                </a:rPr>
                <a:t>Who is currently providing service?</a:t>
              </a:r>
            </a:p>
          </p:txBody>
        </p:sp>
        <p:sp>
          <p:nvSpPr>
            <p:cNvPr id="7" name="Freeform: Shape 6">
              <a:extLst>
                <a:ext uri="{FF2B5EF4-FFF2-40B4-BE49-F238E27FC236}">
                  <a16:creationId xmlns:a16="http://schemas.microsoft.com/office/drawing/2014/main" id="{8D683E0E-CFFA-F03B-2FF9-33DC2445DD6B}"/>
                </a:ext>
              </a:extLst>
            </p:cNvPr>
            <p:cNvSpPr/>
            <p:nvPr/>
          </p:nvSpPr>
          <p:spPr>
            <a:xfrm>
              <a:off x="871876" y="2227431"/>
              <a:ext cx="304815" cy="947562"/>
            </a:xfrm>
            <a:custGeom>
              <a:avLst/>
              <a:gdLst/>
              <a:ahLst/>
              <a:cxnLst/>
              <a:rect l="0" t="0" r="0" b="0"/>
              <a:pathLst>
                <a:path>
                  <a:moveTo>
                    <a:pt x="0" y="0"/>
                  </a:moveTo>
                  <a:lnTo>
                    <a:pt x="0" y="947562"/>
                  </a:lnTo>
                  <a:lnTo>
                    <a:pt x="304815" y="94756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endParaRPr>
            </a:p>
          </p:txBody>
        </p:sp>
        <p:sp>
          <p:nvSpPr>
            <p:cNvPr id="8" name="Freeform: Shape 7">
              <a:extLst>
                <a:ext uri="{FF2B5EF4-FFF2-40B4-BE49-F238E27FC236}">
                  <a16:creationId xmlns:a16="http://schemas.microsoft.com/office/drawing/2014/main" id="{5B0BFBA7-FF85-E1B2-0FE5-40CEF1A11B2A}"/>
                </a:ext>
              </a:extLst>
            </p:cNvPr>
            <p:cNvSpPr/>
            <p:nvPr/>
          </p:nvSpPr>
          <p:spPr>
            <a:xfrm>
              <a:off x="1176691" y="2362242"/>
              <a:ext cx="3980099" cy="1737360"/>
            </a:xfrm>
            <a:custGeom>
              <a:avLst/>
              <a:gdLst>
                <a:gd name="connsiteX0" fmla="*/ 0 w 3980099"/>
                <a:gd name="connsiteY0" fmla="*/ 149004 h 1490038"/>
                <a:gd name="connsiteX1" fmla="*/ 149004 w 3980099"/>
                <a:gd name="connsiteY1" fmla="*/ 0 h 1490038"/>
                <a:gd name="connsiteX2" fmla="*/ 3831095 w 3980099"/>
                <a:gd name="connsiteY2" fmla="*/ 0 h 1490038"/>
                <a:gd name="connsiteX3" fmla="*/ 3980099 w 3980099"/>
                <a:gd name="connsiteY3" fmla="*/ 149004 h 1490038"/>
                <a:gd name="connsiteX4" fmla="*/ 3980099 w 3980099"/>
                <a:gd name="connsiteY4" fmla="*/ 1341034 h 1490038"/>
                <a:gd name="connsiteX5" fmla="*/ 3831095 w 3980099"/>
                <a:gd name="connsiteY5" fmla="*/ 1490038 h 1490038"/>
                <a:gd name="connsiteX6" fmla="*/ 149004 w 3980099"/>
                <a:gd name="connsiteY6" fmla="*/ 1490038 h 1490038"/>
                <a:gd name="connsiteX7" fmla="*/ 0 w 3980099"/>
                <a:gd name="connsiteY7" fmla="*/ 1341034 h 1490038"/>
                <a:gd name="connsiteX8" fmla="*/ 0 w 3980099"/>
                <a:gd name="connsiteY8" fmla="*/ 149004 h 149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0099" h="1490038">
                  <a:moveTo>
                    <a:pt x="0" y="149004"/>
                  </a:moveTo>
                  <a:cubicBezTo>
                    <a:pt x="0" y="66711"/>
                    <a:pt x="66711" y="0"/>
                    <a:pt x="149004" y="0"/>
                  </a:cubicBezTo>
                  <a:lnTo>
                    <a:pt x="3831095" y="0"/>
                  </a:lnTo>
                  <a:cubicBezTo>
                    <a:pt x="3913388" y="0"/>
                    <a:pt x="3980099" y="66711"/>
                    <a:pt x="3980099" y="149004"/>
                  </a:cubicBezTo>
                  <a:lnTo>
                    <a:pt x="3980099" y="1341034"/>
                  </a:lnTo>
                  <a:cubicBezTo>
                    <a:pt x="3980099" y="1423327"/>
                    <a:pt x="3913388" y="1490038"/>
                    <a:pt x="3831095" y="1490038"/>
                  </a:cubicBezTo>
                  <a:lnTo>
                    <a:pt x="149004" y="1490038"/>
                  </a:lnTo>
                  <a:cubicBezTo>
                    <a:pt x="66711" y="1490038"/>
                    <a:pt x="0" y="1423327"/>
                    <a:pt x="0" y="1341034"/>
                  </a:cubicBezTo>
                  <a:lnTo>
                    <a:pt x="0" y="14900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122" tIns="63962" rIns="74122" bIns="63962" numCol="1" spcCol="1270" anchor="ctr" anchorCtr="0">
              <a:noAutofit/>
            </a:bodyPr>
            <a:lstStyle/>
            <a:p>
              <a:pPr marL="36576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Public and Private Primary HFs provide MNH products and services in both rural and urban</a:t>
              </a:r>
            </a:p>
            <a:p>
              <a:pPr marL="36576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Tertiary HF provides MNH products and services</a:t>
              </a:r>
            </a:p>
            <a:p>
              <a:pPr marL="36576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The community pharmacies only dispense MNH products</a:t>
              </a:r>
            </a:p>
          </p:txBody>
        </p:sp>
        <p:sp>
          <p:nvSpPr>
            <p:cNvPr id="11" name="Freeform: Shape 10">
              <a:extLst>
                <a:ext uri="{FF2B5EF4-FFF2-40B4-BE49-F238E27FC236}">
                  <a16:creationId xmlns:a16="http://schemas.microsoft.com/office/drawing/2014/main" id="{9596E2C2-11A7-7FD4-C125-0AC661C816FC}"/>
                </a:ext>
              </a:extLst>
            </p:cNvPr>
            <p:cNvSpPr/>
            <p:nvPr/>
          </p:nvSpPr>
          <p:spPr>
            <a:xfrm>
              <a:off x="5468191" y="1298476"/>
              <a:ext cx="4251810" cy="1011835"/>
            </a:xfrm>
            <a:custGeom>
              <a:avLst/>
              <a:gdLst>
                <a:gd name="connsiteX0" fmla="*/ 0 w 4251810"/>
                <a:gd name="connsiteY0" fmla="*/ 101184 h 1011835"/>
                <a:gd name="connsiteX1" fmla="*/ 101184 w 4251810"/>
                <a:gd name="connsiteY1" fmla="*/ 0 h 1011835"/>
                <a:gd name="connsiteX2" fmla="*/ 4150627 w 4251810"/>
                <a:gd name="connsiteY2" fmla="*/ 0 h 1011835"/>
                <a:gd name="connsiteX3" fmla="*/ 4251811 w 4251810"/>
                <a:gd name="connsiteY3" fmla="*/ 101184 h 1011835"/>
                <a:gd name="connsiteX4" fmla="*/ 4251810 w 4251810"/>
                <a:gd name="connsiteY4" fmla="*/ 910652 h 1011835"/>
                <a:gd name="connsiteX5" fmla="*/ 4150626 w 4251810"/>
                <a:gd name="connsiteY5" fmla="*/ 1011836 h 1011835"/>
                <a:gd name="connsiteX6" fmla="*/ 101184 w 4251810"/>
                <a:gd name="connsiteY6" fmla="*/ 1011835 h 1011835"/>
                <a:gd name="connsiteX7" fmla="*/ 0 w 4251810"/>
                <a:gd name="connsiteY7" fmla="*/ 910651 h 1011835"/>
                <a:gd name="connsiteX8" fmla="*/ 0 w 4251810"/>
                <a:gd name="connsiteY8" fmla="*/ 101184 h 101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1810" h="1011835">
                  <a:moveTo>
                    <a:pt x="0" y="101184"/>
                  </a:moveTo>
                  <a:cubicBezTo>
                    <a:pt x="0" y="45302"/>
                    <a:pt x="45302" y="0"/>
                    <a:pt x="101184" y="0"/>
                  </a:cubicBezTo>
                  <a:lnTo>
                    <a:pt x="4150627" y="0"/>
                  </a:lnTo>
                  <a:cubicBezTo>
                    <a:pt x="4206509" y="0"/>
                    <a:pt x="4251811" y="45302"/>
                    <a:pt x="4251811" y="101184"/>
                  </a:cubicBezTo>
                  <a:cubicBezTo>
                    <a:pt x="4251811" y="371007"/>
                    <a:pt x="4251810" y="640829"/>
                    <a:pt x="4251810" y="910652"/>
                  </a:cubicBezTo>
                  <a:cubicBezTo>
                    <a:pt x="4251810" y="966534"/>
                    <a:pt x="4206508" y="1011836"/>
                    <a:pt x="4150626" y="1011836"/>
                  </a:cubicBezTo>
                  <a:lnTo>
                    <a:pt x="101184" y="1011835"/>
                  </a:lnTo>
                  <a:cubicBezTo>
                    <a:pt x="45302" y="1011835"/>
                    <a:pt x="0" y="966533"/>
                    <a:pt x="0" y="910651"/>
                  </a:cubicBezTo>
                  <a:lnTo>
                    <a:pt x="0" y="10118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56" tIns="60116" rIns="75356" bIns="60116"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ill Sans MT" panose="020B0502020104020203"/>
                  <a:ea typeface="+mn-ea"/>
                  <a:cs typeface="+mn-cs"/>
                </a:rPr>
                <a:t>At what cost are these services provided?</a:t>
              </a:r>
            </a:p>
          </p:txBody>
        </p:sp>
        <p:sp>
          <p:nvSpPr>
            <p:cNvPr id="12" name="Freeform: Shape 11">
              <a:extLst>
                <a:ext uri="{FF2B5EF4-FFF2-40B4-BE49-F238E27FC236}">
                  <a16:creationId xmlns:a16="http://schemas.microsoft.com/office/drawing/2014/main" id="{23440B53-AB9C-0749-2F32-DCF9F3FB5297}"/>
                </a:ext>
              </a:extLst>
            </p:cNvPr>
            <p:cNvSpPr/>
            <p:nvPr/>
          </p:nvSpPr>
          <p:spPr>
            <a:xfrm>
              <a:off x="5893373" y="2310311"/>
              <a:ext cx="440911" cy="1204680"/>
            </a:xfrm>
            <a:custGeom>
              <a:avLst/>
              <a:gdLst/>
              <a:ahLst/>
              <a:cxnLst/>
              <a:rect l="0" t="0" r="0" b="0"/>
              <a:pathLst>
                <a:path>
                  <a:moveTo>
                    <a:pt x="0" y="0"/>
                  </a:moveTo>
                  <a:lnTo>
                    <a:pt x="0" y="1204680"/>
                  </a:lnTo>
                  <a:lnTo>
                    <a:pt x="440911" y="120468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endParaRPr>
            </a:p>
          </p:txBody>
        </p:sp>
        <p:sp>
          <p:nvSpPr>
            <p:cNvPr id="13" name="Freeform: Shape 12">
              <a:extLst>
                <a:ext uri="{FF2B5EF4-FFF2-40B4-BE49-F238E27FC236}">
                  <a16:creationId xmlns:a16="http://schemas.microsoft.com/office/drawing/2014/main" id="{EE19F0F3-6381-D1C1-F639-AD337E46C1CD}"/>
                </a:ext>
              </a:extLst>
            </p:cNvPr>
            <p:cNvSpPr/>
            <p:nvPr/>
          </p:nvSpPr>
          <p:spPr>
            <a:xfrm>
              <a:off x="6334284" y="2429974"/>
              <a:ext cx="5151980" cy="1432909"/>
            </a:xfrm>
            <a:custGeom>
              <a:avLst/>
              <a:gdLst>
                <a:gd name="connsiteX0" fmla="*/ 0 w 5151980"/>
                <a:gd name="connsiteY0" fmla="*/ 181887 h 1818867"/>
                <a:gd name="connsiteX1" fmla="*/ 181887 w 5151980"/>
                <a:gd name="connsiteY1" fmla="*/ 0 h 1818867"/>
                <a:gd name="connsiteX2" fmla="*/ 4970093 w 5151980"/>
                <a:gd name="connsiteY2" fmla="*/ 0 h 1818867"/>
                <a:gd name="connsiteX3" fmla="*/ 5151980 w 5151980"/>
                <a:gd name="connsiteY3" fmla="*/ 181887 h 1818867"/>
                <a:gd name="connsiteX4" fmla="*/ 5151980 w 5151980"/>
                <a:gd name="connsiteY4" fmla="*/ 1636980 h 1818867"/>
                <a:gd name="connsiteX5" fmla="*/ 4970093 w 5151980"/>
                <a:gd name="connsiteY5" fmla="*/ 1818867 h 1818867"/>
                <a:gd name="connsiteX6" fmla="*/ 181887 w 5151980"/>
                <a:gd name="connsiteY6" fmla="*/ 1818867 h 1818867"/>
                <a:gd name="connsiteX7" fmla="*/ 0 w 5151980"/>
                <a:gd name="connsiteY7" fmla="*/ 1636980 h 1818867"/>
                <a:gd name="connsiteX8" fmla="*/ 0 w 5151980"/>
                <a:gd name="connsiteY8" fmla="*/ 181887 h 181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1980" h="1818867">
                  <a:moveTo>
                    <a:pt x="0" y="181887"/>
                  </a:moveTo>
                  <a:cubicBezTo>
                    <a:pt x="0" y="81434"/>
                    <a:pt x="81434" y="0"/>
                    <a:pt x="181887" y="0"/>
                  </a:cubicBezTo>
                  <a:lnTo>
                    <a:pt x="4970093" y="0"/>
                  </a:lnTo>
                  <a:cubicBezTo>
                    <a:pt x="5070546" y="0"/>
                    <a:pt x="5151980" y="81434"/>
                    <a:pt x="5151980" y="181887"/>
                  </a:cubicBezTo>
                  <a:lnTo>
                    <a:pt x="5151980" y="1636980"/>
                  </a:lnTo>
                  <a:cubicBezTo>
                    <a:pt x="5151980" y="1737433"/>
                    <a:pt x="5070546" y="1818867"/>
                    <a:pt x="4970093" y="1818867"/>
                  </a:cubicBezTo>
                  <a:lnTo>
                    <a:pt x="181887" y="1818867"/>
                  </a:lnTo>
                  <a:cubicBezTo>
                    <a:pt x="81434" y="1818867"/>
                    <a:pt x="0" y="1737433"/>
                    <a:pt x="0" y="1636980"/>
                  </a:cubicBezTo>
                  <a:lnTo>
                    <a:pt x="0" y="18188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753" tIns="73593" rIns="83753" bIns="73593" numCol="1" spcCol="1270" anchor="ctr" anchorCtr="0">
              <a:noAutofit/>
            </a:bodyPr>
            <a:lstStyle/>
            <a:p>
              <a:pPr marL="365760" marR="0" lvl="0" indent="-285750" algn="l" defTabSz="711200" rtl="0" eaLnBrk="1" fontAlgn="auto" latinLnBrk="0" hangingPunct="1">
                <a:lnSpc>
                  <a:spcPct val="90000"/>
                </a:lnSpc>
                <a:spcBef>
                  <a:spcPct val="0"/>
                </a:spcBef>
                <a:spcAft>
                  <a:spcPct val="350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The cost of services provided at private urban facilities is significantly higher than their rural counterparts </a:t>
              </a:r>
            </a:p>
            <a:p>
              <a:pPr marL="365760" marR="0" lvl="0" indent="-285750" algn="l" defTabSz="711200" rtl="0" eaLnBrk="1" fontAlgn="auto" latinLnBrk="0" hangingPunct="1">
                <a:lnSpc>
                  <a:spcPct val="90000"/>
                </a:lnSpc>
                <a:spcBef>
                  <a:spcPct val="0"/>
                </a:spcBef>
                <a:spcAft>
                  <a:spcPct val="350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The cost of the products at the CPs are within range of each other </a:t>
              </a:r>
            </a:p>
          </p:txBody>
        </p:sp>
        <p:sp>
          <p:nvSpPr>
            <p:cNvPr id="16" name="Freeform: Shape 15">
              <a:extLst>
                <a:ext uri="{FF2B5EF4-FFF2-40B4-BE49-F238E27FC236}">
                  <a16:creationId xmlns:a16="http://schemas.microsoft.com/office/drawing/2014/main" id="{84A1E4A8-783B-31F5-A43A-026E1EDD6AF4}"/>
                </a:ext>
              </a:extLst>
            </p:cNvPr>
            <p:cNvSpPr/>
            <p:nvPr/>
          </p:nvSpPr>
          <p:spPr>
            <a:xfrm>
              <a:off x="460375" y="4212112"/>
              <a:ext cx="4115010" cy="798241"/>
            </a:xfrm>
            <a:custGeom>
              <a:avLst/>
              <a:gdLst>
                <a:gd name="connsiteX0" fmla="*/ 0 w 4115010"/>
                <a:gd name="connsiteY0" fmla="*/ 96659 h 966593"/>
                <a:gd name="connsiteX1" fmla="*/ 96659 w 4115010"/>
                <a:gd name="connsiteY1" fmla="*/ 0 h 966593"/>
                <a:gd name="connsiteX2" fmla="*/ 4018351 w 4115010"/>
                <a:gd name="connsiteY2" fmla="*/ 0 h 966593"/>
                <a:gd name="connsiteX3" fmla="*/ 4115010 w 4115010"/>
                <a:gd name="connsiteY3" fmla="*/ 96659 h 966593"/>
                <a:gd name="connsiteX4" fmla="*/ 4115010 w 4115010"/>
                <a:gd name="connsiteY4" fmla="*/ 869934 h 966593"/>
                <a:gd name="connsiteX5" fmla="*/ 4018351 w 4115010"/>
                <a:gd name="connsiteY5" fmla="*/ 966593 h 966593"/>
                <a:gd name="connsiteX6" fmla="*/ 96659 w 4115010"/>
                <a:gd name="connsiteY6" fmla="*/ 966593 h 966593"/>
                <a:gd name="connsiteX7" fmla="*/ 0 w 4115010"/>
                <a:gd name="connsiteY7" fmla="*/ 869934 h 966593"/>
                <a:gd name="connsiteX8" fmla="*/ 0 w 4115010"/>
                <a:gd name="connsiteY8" fmla="*/ 96659 h 96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5010" h="966593">
                  <a:moveTo>
                    <a:pt x="0" y="96659"/>
                  </a:moveTo>
                  <a:cubicBezTo>
                    <a:pt x="0" y="43276"/>
                    <a:pt x="43276" y="0"/>
                    <a:pt x="96659" y="0"/>
                  </a:cubicBezTo>
                  <a:lnTo>
                    <a:pt x="4018351" y="0"/>
                  </a:lnTo>
                  <a:cubicBezTo>
                    <a:pt x="4071734" y="0"/>
                    <a:pt x="4115010" y="43276"/>
                    <a:pt x="4115010" y="96659"/>
                  </a:cubicBezTo>
                  <a:lnTo>
                    <a:pt x="4115010" y="869934"/>
                  </a:lnTo>
                  <a:cubicBezTo>
                    <a:pt x="4115010" y="923317"/>
                    <a:pt x="4071734" y="966593"/>
                    <a:pt x="4018351" y="966593"/>
                  </a:cubicBezTo>
                  <a:lnTo>
                    <a:pt x="96659" y="966593"/>
                  </a:lnTo>
                  <a:cubicBezTo>
                    <a:pt x="43276" y="966593"/>
                    <a:pt x="0" y="923317"/>
                    <a:pt x="0" y="869934"/>
                  </a:cubicBezTo>
                  <a:lnTo>
                    <a:pt x="0" y="96659"/>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031" tIns="58791" rIns="74031" bIns="58791"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ill Sans MT" panose="020B0502020104020203"/>
                  <a:ea typeface="+mn-ea"/>
                  <a:cs typeface="+mn-cs"/>
                </a:rPr>
                <a:t>Who is not currently providing service?</a:t>
              </a:r>
            </a:p>
          </p:txBody>
        </p:sp>
        <p:sp>
          <p:nvSpPr>
            <p:cNvPr id="17" name="Freeform: Shape 16">
              <a:extLst>
                <a:ext uri="{FF2B5EF4-FFF2-40B4-BE49-F238E27FC236}">
                  <a16:creationId xmlns:a16="http://schemas.microsoft.com/office/drawing/2014/main" id="{4FEE1198-4448-8D9B-39B8-876FDB2E41E9}"/>
                </a:ext>
              </a:extLst>
            </p:cNvPr>
            <p:cNvSpPr/>
            <p:nvPr/>
          </p:nvSpPr>
          <p:spPr>
            <a:xfrm>
              <a:off x="871876" y="5010352"/>
              <a:ext cx="304815" cy="574392"/>
            </a:xfrm>
            <a:custGeom>
              <a:avLst/>
              <a:gdLst/>
              <a:ahLst/>
              <a:cxnLst/>
              <a:rect l="0" t="0" r="0" b="0"/>
              <a:pathLst>
                <a:path>
                  <a:moveTo>
                    <a:pt x="0" y="0"/>
                  </a:moveTo>
                  <a:lnTo>
                    <a:pt x="0" y="947562"/>
                  </a:lnTo>
                  <a:lnTo>
                    <a:pt x="304815" y="94756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endParaRPr>
            </a:p>
          </p:txBody>
        </p:sp>
        <p:sp>
          <p:nvSpPr>
            <p:cNvPr id="18" name="Freeform: Shape 17">
              <a:extLst>
                <a:ext uri="{FF2B5EF4-FFF2-40B4-BE49-F238E27FC236}">
                  <a16:creationId xmlns:a16="http://schemas.microsoft.com/office/drawing/2014/main" id="{BFF82B22-20B0-36F0-7DAF-5E1151DDA419}"/>
                </a:ext>
              </a:extLst>
            </p:cNvPr>
            <p:cNvSpPr/>
            <p:nvPr/>
          </p:nvSpPr>
          <p:spPr>
            <a:xfrm>
              <a:off x="1176691" y="5163364"/>
              <a:ext cx="3980099" cy="1554479"/>
            </a:xfrm>
            <a:custGeom>
              <a:avLst/>
              <a:gdLst>
                <a:gd name="connsiteX0" fmla="*/ 0 w 3980099"/>
                <a:gd name="connsiteY0" fmla="*/ 149004 h 1490038"/>
                <a:gd name="connsiteX1" fmla="*/ 149004 w 3980099"/>
                <a:gd name="connsiteY1" fmla="*/ 0 h 1490038"/>
                <a:gd name="connsiteX2" fmla="*/ 3831095 w 3980099"/>
                <a:gd name="connsiteY2" fmla="*/ 0 h 1490038"/>
                <a:gd name="connsiteX3" fmla="*/ 3980099 w 3980099"/>
                <a:gd name="connsiteY3" fmla="*/ 149004 h 1490038"/>
                <a:gd name="connsiteX4" fmla="*/ 3980099 w 3980099"/>
                <a:gd name="connsiteY4" fmla="*/ 1341034 h 1490038"/>
                <a:gd name="connsiteX5" fmla="*/ 3831095 w 3980099"/>
                <a:gd name="connsiteY5" fmla="*/ 1490038 h 1490038"/>
                <a:gd name="connsiteX6" fmla="*/ 149004 w 3980099"/>
                <a:gd name="connsiteY6" fmla="*/ 1490038 h 1490038"/>
                <a:gd name="connsiteX7" fmla="*/ 0 w 3980099"/>
                <a:gd name="connsiteY7" fmla="*/ 1341034 h 1490038"/>
                <a:gd name="connsiteX8" fmla="*/ 0 w 3980099"/>
                <a:gd name="connsiteY8" fmla="*/ 149004 h 149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0099" h="1490038">
                  <a:moveTo>
                    <a:pt x="0" y="149004"/>
                  </a:moveTo>
                  <a:cubicBezTo>
                    <a:pt x="0" y="66711"/>
                    <a:pt x="66711" y="0"/>
                    <a:pt x="149004" y="0"/>
                  </a:cubicBezTo>
                  <a:lnTo>
                    <a:pt x="3831095" y="0"/>
                  </a:lnTo>
                  <a:cubicBezTo>
                    <a:pt x="3913388" y="0"/>
                    <a:pt x="3980099" y="66711"/>
                    <a:pt x="3980099" y="149004"/>
                  </a:cubicBezTo>
                  <a:lnTo>
                    <a:pt x="3980099" y="1341034"/>
                  </a:lnTo>
                  <a:cubicBezTo>
                    <a:pt x="3980099" y="1423327"/>
                    <a:pt x="3913388" y="1490038"/>
                    <a:pt x="3831095" y="1490038"/>
                  </a:cubicBezTo>
                  <a:lnTo>
                    <a:pt x="149004" y="1490038"/>
                  </a:lnTo>
                  <a:cubicBezTo>
                    <a:pt x="66711" y="1490038"/>
                    <a:pt x="0" y="1423327"/>
                    <a:pt x="0" y="1341034"/>
                  </a:cubicBezTo>
                  <a:lnTo>
                    <a:pt x="0" y="14900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4122" tIns="63962" rIns="74122" bIns="63962" numCol="1" spcCol="1270" anchor="ctr" anchorCtr="0">
              <a:noAutofit/>
            </a:bodyPr>
            <a:lstStyle/>
            <a:p>
              <a:pPr marL="36576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The patent and proprietary medicine vendors (PPMVs) </a:t>
              </a:r>
            </a:p>
            <a:p>
              <a:pPr marL="36576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Private secondary health facilities in rural areas</a:t>
              </a:r>
            </a:p>
            <a:p>
              <a:pPr marL="365760" marR="0" lvl="0" indent="-285750" algn="l" defTabSz="711200" rtl="0" eaLnBrk="1" fontAlgn="auto" latinLnBrk="0" hangingPunct="1">
                <a:lnSpc>
                  <a:spcPct val="90000"/>
                </a:lnSpc>
                <a:spcBef>
                  <a:spcPct val="0"/>
                </a:spcBef>
                <a:spcAft>
                  <a:spcPts val="600"/>
                </a:spcAft>
                <a:buClr>
                  <a:srgbClr val="112E38"/>
                </a:buClr>
                <a:buSzPct val="97000"/>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rPr>
                <a:t>Public secondary healthcare facilities across the state</a:t>
              </a:r>
            </a:p>
          </p:txBody>
        </p:sp>
        <p:sp>
          <p:nvSpPr>
            <p:cNvPr id="20" name="Freeform: Shape 19">
              <a:extLst>
                <a:ext uri="{FF2B5EF4-FFF2-40B4-BE49-F238E27FC236}">
                  <a16:creationId xmlns:a16="http://schemas.microsoft.com/office/drawing/2014/main" id="{C59A39E1-24C7-E495-BA78-828CD59DDFF9}"/>
                </a:ext>
              </a:extLst>
            </p:cNvPr>
            <p:cNvSpPr/>
            <p:nvPr/>
          </p:nvSpPr>
          <p:spPr>
            <a:xfrm>
              <a:off x="5893373" y="4666893"/>
              <a:ext cx="440911" cy="730252"/>
            </a:xfrm>
            <a:custGeom>
              <a:avLst/>
              <a:gdLst/>
              <a:ahLst/>
              <a:cxnLst/>
              <a:rect l="0" t="0" r="0" b="0"/>
              <a:pathLst>
                <a:path>
                  <a:moveTo>
                    <a:pt x="0" y="0"/>
                  </a:moveTo>
                  <a:lnTo>
                    <a:pt x="0" y="1204680"/>
                  </a:lnTo>
                  <a:lnTo>
                    <a:pt x="440911" y="1204680"/>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endParaRPr>
            </a:p>
          </p:txBody>
        </p:sp>
        <p:sp>
          <p:nvSpPr>
            <p:cNvPr id="19" name="Freeform: Shape 18">
              <a:extLst>
                <a:ext uri="{FF2B5EF4-FFF2-40B4-BE49-F238E27FC236}">
                  <a16:creationId xmlns:a16="http://schemas.microsoft.com/office/drawing/2014/main" id="{A387DBDD-A3D7-B0FA-884C-81A60BF455C7}"/>
                </a:ext>
              </a:extLst>
            </p:cNvPr>
            <p:cNvSpPr/>
            <p:nvPr/>
          </p:nvSpPr>
          <p:spPr>
            <a:xfrm>
              <a:off x="5468191" y="4212112"/>
              <a:ext cx="4251810" cy="798513"/>
            </a:xfrm>
            <a:custGeom>
              <a:avLst/>
              <a:gdLst>
                <a:gd name="connsiteX0" fmla="*/ 0 w 4251810"/>
                <a:gd name="connsiteY0" fmla="*/ 101184 h 1011835"/>
                <a:gd name="connsiteX1" fmla="*/ 101184 w 4251810"/>
                <a:gd name="connsiteY1" fmla="*/ 0 h 1011835"/>
                <a:gd name="connsiteX2" fmla="*/ 4150627 w 4251810"/>
                <a:gd name="connsiteY2" fmla="*/ 0 h 1011835"/>
                <a:gd name="connsiteX3" fmla="*/ 4251811 w 4251810"/>
                <a:gd name="connsiteY3" fmla="*/ 101184 h 1011835"/>
                <a:gd name="connsiteX4" fmla="*/ 4251810 w 4251810"/>
                <a:gd name="connsiteY4" fmla="*/ 910652 h 1011835"/>
                <a:gd name="connsiteX5" fmla="*/ 4150626 w 4251810"/>
                <a:gd name="connsiteY5" fmla="*/ 1011836 h 1011835"/>
                <a:gd name="connsiteX6" fmla="*/ 101184 w 4251810"/>
                <a:gd name="connsiteY6" fmla="*/ 1011835 h 1011835"/>
                <a:gd name="connsiteX7" fmla="*/ 0 w 4251810"/>
                <a:gd name="connsiteY7" fmla="*/ 910651 h 1011835"/>
                <a:gd name="connsiteX8" fmla="*/ 0 w 4251810"/>
                <a:gd name="connsiteY8" fmla="*/ 101184 h 101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51810" h="1011835">
                  <a:moveTo>
                    <a:pt x="0" y="101184"/>
                  </a:moveTo>
                  <a:cubicBezTo>
                    <a:pt x="0" y="45302"/>
                    <a:pt x="45302" y="0"/>
                    <a:pt x="101184" y="0"/>
                  </a:cubicBezTo>
                  <a:lnTo>
                    <a:pt x="4150627" y="0"/>
                  </a:lnTo>
                  <a:cubicBezTo>
                    <a:pt x="4206509" y="0"/>
                    <a:pt x="4251811" y="45302"/>
                    <a:pt x="4251811" y="101184"/>
                  </a:cubicBezTo>
                  <a:cubicBezTo>
                    <a:pt x="4251811" y="371007"/>
                    <a:pt x="4251810" y="640829"/>
                    <a:pt x="4251810" y="910652"/>
                  </a:cubicBezTo>
                  <a:cubicBezTo>
                    <a:pt x="4251810" y="966534"/>
                    <a:pt x="4206508" y="1011836"/>
                    <a:pt x="4150626" y="1011836"/>
                  </a:cubicBezTo>
                  <a:lnTo>
                    <a:pt x="101184" y="1011835"/>
                  </a:lnTo>
                  <a:cubicBezTo>
                    <a:pt x="45302" y="1011835"/>
                    <a:pt x="0" y="966533"/>
                    <a:pt x="0" y="910651"/>
                  </a:cubicBezTo>
                  <a:lnTo>
                    <a:pt x="0" y="10118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356" tIns="60116" rIns="75356" bIns="60116" numCol="1" spcCol="1270" anchor="ctr" anchorCtr="0">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Gill Sans MT" panose="020B0502020104020203"/>
                  <a:ea typeface="+mn-ea"/>
                  <a:cs typeface="+mn-cs"/>
                </a:rPr>
                <a:t>Why are they not providing these services?</a:t>
              </a:r>
            </a:p>
          </p:txBody>
        </p:sp>
        <p:sp>
          <p:nvSpPr>
            <p:cNvPr id="21" name="Freeform: Shape 20">
              <a:extLst>
                <a:ext uri="{FF2B5EF4-FFF2-40B4-BE49-F238E27FC236}">
                  <a16:creationId xmlns:a16="http://schemas.microsoft.com/office/drawing/2014/main" id="{219E32AF-E39E-23EE-1C31-9392D9BE0F0A}"/>
                </a:ext>
              </a:extLst>
            </p:cNvPr>
            <p:cNvSpPr/>
            <p:nvPr/>
          </p:nvSpPr>
          <p:spPr>
            <a:xfrm>
              <a:off x="6334284" y="5163365"/>
              <a:ext cx="5151980" cy="1554478"/>
            </a:xfrm>
            <a:custGeom>
              <a:avLst/>
              <a:gdLst>
                <a:gd name="connsiteX0" fmla="*/ 0 w 5151980"/>
                <a:gd name="connsiteY0" fmla="*/ 181887 h 1818867"/>
                <a:gd name="connsiteX1" fmla="*/ 181887 w 5151980"/>
                <a:gd name="connsiteY1" fmla="*/ 0 h 1818867"/>
                <a:gd name="connsiteX2" fmla="*/ 4970093 w 5151980"/>
                <a:gd name="connsiteY2" fmla="*/ 0 h 1818867"/>
                <a:gd name="connsiteX3" fmla="*/ 5151980 w 5151980"/>
                <a:gd name="connsiteY3" fmla="*/ 181887 h 1818867"/>
                <a:gd name="connsiteX4" fmla="*/ 5151980 w 5151980"/>
                <a:gd name="connsiteY4" fmla="*/ 1636980 h 1818867"/>
                <a:gd name="connsiteX5" fmla="*/ 4970093 w 5151980"/>
                <a:gd name="connsiteY5" fmla="*/ 1818867 h 1818867"/>
                <a:gd name="connsiteX6" fmla="*/ 181887 w 5151980"/>
                <a:gd name="connsiteY6" fmla="*/ 1818867 h 1818867"/>
                <a:gd name="connsiteX7" fmla="*/ 0 w 5151980"/>
                <a:gd name="connsiteY7" fmla="*/ 1636980 h 1818867"/>
                <a:gd name="connsiteX8" fmla="*/ 0 w 5151980"/>
                <a:gd name="connsiteY8" fmla="*/ 181887 h 181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1980" h="1818867">
                  <a:moveTo>
                    <a:pt x="0" y="181887"/>
                  </a:moveTo>
                  <a:cubicBezTo>
                    <a:pt x="0" y="81434"/>
                    <a:pt x="81434" y="0"/>
                    <a:pt x="181887" y="0"/>
                  </a:cubicBezTo>
                  <a:lnTo>
                    <a:pt x="4970093" y="0"/>
                  </a:lnTo>
                  <a:cubicBezTo>
                    <a:pt x="5070546" y="0"/>
                    <a:pt x="5151980" y="81434"/>
                    <a:pt x="5151980" y="181887"/>
                  </a:cubicBezTo>
                  <a:lnTo>
                    <a:pt x="5151980" y="1636980"/>
                  </a:lnTo>
                  <a:cubicBezTo>
                    <a:pt x="5151980" y="1737433"/>
                    <a:pt x="5070546" y="1818867"/>
                    <a:pt x="4970093" y="1818867"/>
                  </a:cubicBezTo>
                  <a:lnTo>
                    <a:pt x="181887" y="1818867"/>
                  </a:lnTo>
                  <a:cubicBezTo>
                    <a:pt x="81434" y="1818867"/>
                    <a:pt x="0" y="1737433"/>
                    <a:pt x="0" y="1636980"/>
                  </a:cubicBezTo>
                  <a:lnTo>
                    <a:pt x="0" y="18188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753" tIns="73593" rIns="83753" bIns="73593" numCol="1" spcCol="1270" anchor="ctr" anchorCtr="0">
              <a:noAutofit/>
            </a:bodyPr>
            <a:lstStyle/>
            <a:p>
              <a:pPr marL="365760" marR="0" lvl="0" indent="-285750" algn="l" defTabSz="711200" rtl="0" eaLnBrk="1" fontAlgn="auto" latinLnBrk="0" hangingPunct="1">
                <a:lnSpc>
                  <a:spcPct val="90000"/>
                </a:lnSpc>
                <a:spcBef>
                  <a:spcPct val="0"/>
                </a:spcBef>
                <a:spcAft>
                  <a:spcPct val="350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PPMVs are not licensed to stock or provide all MNH commodities</a:t>
              </a:r>
            </a:p>
            <a:p>
              <a:pPr marL="365760" marR="0" lvl="0" indent="-285750" algn="l" defTabSz="711200" rtl="0" eaLnBrk="1" fontAlgn="auto" latinLnBrk="0" hangingPunct="1">
                <a:lnSpc>
                  <a:spcPct val="90000"/>
                </a:lnSpc>
                <a:spcBef>
                  <a:spcPct val="0"/>
                </a:spcBef>
                <a:spcAft>
                  <a:spcPct val="350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Low demand and ability to pay in rural areas due to norms and poverty respectively</a:t>
              </a:r>
            </a:p>
            <a:p>
              <a:pPr marL="365760" marR="0" lvl="0" indent="-285750" algn="l" defTabSz="711200" rtl="0" eaLnBrk="1" fontAlgn="auto" latinLnBrk="0" hangingPunct="1">
                <a:lnSpc>
                  <a:spcPct val="90000"/>
                </a:lnSpc>
                <a:spcBef>
                  <a:spcPct val="0"/>
                </a:spcBef>
                <a:spcAft>
                  <a:spcPct val="350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Inadequate HRH to provide services in public secondary HFs </a:t>
              </a:r>
            </a:p>
          </p:txBody>
        </p:sp>
      </p:grpSp>
      <p:sp>
        <p:nvSpPr>
          <p:cNvPr id="5" name="TextBox 4">
            <a:extLst>
              <a:ext uri="{FF2B5EF4-FFF2-40B4-BE49-F238E27FC236}">
                <a16:creationId xmlns:a16="http://schemas.microsoft.com/office/drawing/2014/main" id="{7B6A4382-DC77-C4EC-3F3C-E2F5FBC70987}"/>
              </a:ext>
            </a:extLst>
          </p:cNvPr>
          <p:cNvSpPr txBox="1"/>
          <p:nvPr/>
        </p:nvSpPr>
        <p:spPr>
          <a:xfrm>
            <a:off x="59377" y="-23751"/>
            <a:ext cx="2735194" cy="261531"/>
          </a:xfrm>
          <a:prstGeom prst="rect">
            <a:avLst/>
          </a:prstGeom>
        </p:spPr>
        <p:txBody>
          <a:bodyPr vert="horz" wrap="square" lIns="45720" tIns="45681" rIns="91363" bIns="45681">
            <a:spAutoFit/>
          </a:bodyPr>
          <a:lstStyle>
            <a:defPPr>
              <a:defRPr lang="en-US"/>
            </a:defPPr>
            <a:lvl1pPr marR="0" lvl="0" indent="0" defTabSz="910679" fontAlgn="base">
              <a:lnSpc>
                <a:spcPct val="100000"/>
              </a:lnSpc>
              <a:spcBef>
                <a:spcPct val="0"/>
              </a:spcBef>
              <a:spcAft>
                <a:spcPct val="0"/>
              </a:spcAft>
              <a:buClrTx/>
              <a:buSzTx/>
              <a:buFontTx/>
              <a:buNone/>
              <a:tabLst>
                <a:tab pos="368723" algn="l"/>
              </a:tabLst>
              <a:defRPr kumimoji="0" sz="1100" b="1" i="0" u="none" strike="noStrike" cap="none" spc="0" normalizeH="0" baseline="0">
                <a:ln>
                  <a:noFill/>
                </a:ln>
                <a:solidFill>
                  <a:prstClr val="white"/>
                </a:solidFill>
                <a:effectLst/>
                <a:uLnTx/>
                <a:uFillTx/>
                <a:latin typeface="Gill Sans MT" panose="020B0502020104020203"/>
                <a:ea typeface="+mj-ea"/>
                <a:cs typeface="Arial" panose="020B0604020202020204" pitchFamily="34" charset="0"/>
              </a:defRPr>
            </a:lvl1pPr>
            <a:lvl2pPr defTabSz="911713" fontAlgn="base">
              <a:spcBef>
                <a:spcPct val="0"/>
              </a:spcBef>
              <a:spcAft>
                <a:spcPct val="0"/>
              </a:spcAft>
              <a:defRPr sz="2000" b="1">
                <a:solidFill>
                  <a:srgbClr val="336600"/>
                </a:solidFill>
                <a:latin typeface="Arial" charset="0"/>
              </a:defRPr>
            </a:lvl2pPr>
            <a:lvl3pPr defTabSz="911713" fontAlgn="base">
              <a:spcBef>
                <a:spcPct val="0"/>
              </a:spcBef>
              <a:spcAft>
                <a:spcPct val="0"/>
              </a:spcAft>
              <a:defRPr sz="2000" b="1">
                <a:solidFill>
                  <a:srgbClr val="336600"/>
                </a:solidFill>
                <a:latin typeface="Arial" charset="0"/>
              </a:defRPr>
            </a:lvl3pPr>
            <a:lvl4pPr defTabSz="911713" fontAlgn="base">
              <a:spcBef>
                <a:spcPct val="0"/>
              </a:spcBef>
              <a:spcAft>
                <a:spcPct val="0"/>
              </a:spcAft>
              <a:defRPr sz="2000" b="1">
                <a:solidFill>
                  <a:srgbClr val="336600"/>
                </a:solidFill>
                <a:latin typeface="Arial" charset="0"/>
              </a:defRPr>
            </a:lvl4pPr>
            <a:lvl5pPr defTabSz="911713" fontAlgn="base">
              <a:spcBef>
                <a:spcPct val="0"/>
              </a:spcBef>
              <a:spcAft>
                <a:spcPct val="0"/>
              </a:spcAft>
              <a:defRPr sz="2000" b="1">
                <a:solidFill>
                  <a:srgbClr val="336600"/>
                </a:solidFill>
                <a:latin typeface="Arial" charset="0"/>
              </a:defRPr>
            </a:lvl5pPr>
            <a:lvl6pPr marL="465822" defTabSz="912233" fontAlgn="base">
              <a:spcBef>
                <a:spcPct val="0"/>
              </a:spcBef>
              <a:spcAft>
                <a:spcPct val="0"/>
              </a:spcAft>
              <a:defRPr sz="2000" b="1">
                <a:solidFill>
                  <a:srgbClr val="336600"/>
                </a:solidFill>
                <a:latin typeface="Arial" charset="0"/>
              </a:defRPr>
            </a:lvl6pPr>
            <a:lvl7pPr marL="931640" defTabSz="912233" fontAlgn="base">
              <a:spcBef>
                <a:spcPct val="0"/>
              </a:spcBef>
              <a:spcAft>
                <a:spcPct val="0"/>
              </a:spcAft>
              <a:defRPr sz="2000" b="1">
                <a:solidFill>
                  <a:srgbClr val="336600"/>
                </a:solidFill>
                <a:latin typeface="Arial" charset="0"/>
              </a:defRPr>
            </a:lvl7pPr>
            <a:lvl8pPr marL="1397463" defTabSz="912233" fontAlgn="base">
              <a:spcBef>
                <a:spcPct val="0"/>
              </a:spcBef>
              <a:spcAft>
                <a:spcPct val="0"/>
              </a:spcAft>
              <a:defRPr sz="2000" b="1">
                <a:solidFill>
                  <a:srgbClr val="336600"/>
                </a:solidFill>
                <a:latin typeface="Arial" charset="0"/>
              </a:defRPr>
            </a:lvl8pPr>
            <a:lvl9pPr marL="1863285" defTabSz="912233" fontAlgn="base">
              <a:spcBef>
                <a:spcPct val="0"/>
              </a:spcBef>
              <a:spcAft>
                <a:spcPct val="0"/>
              </a:spcAft>
              <a:defRPr sz="2000" b="1">
                <a:solidFill>
                  <a:srgbClr val="336600"/>
                </a:solidFill>
                <a:latin typeface="Arial" charset="0"/>
              </a:defRPr>
            </a:lvl9pPr>
          </a:lstStyle>
          <a:p>
            <a:pPr marL="0" marR="0" lvl="0" indent="0" algn="l" defTabSz="910679" rtl="0" eaLnBrk="1" fontAlgn="base" latinLnBrk="0" hangingPunct="1">
              <a:lnSpc>
                <a:spcPct val="100000"/>
              </a:lnSpc>
              <a:spcBef>
                <a:spcPct val="0"/>
              </a:spcBef>
              <a:spcAft>
                <a:spcPct val="0"/>
              </a:spcAft>
              <a:buClrTx/>
              <a:buSzTx/>
              <a:buFontTx/>
              <a:buNone/>
              <a:tabLst>
                <a:tab pos="368723" algn="l"/>
              </a:tabLst>
              <a:defRPr/>
            </a:pPr>
            <a:r>
              <a:rPr kumimoji="0" lang="en-GB" sz="1100" b="1"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MNH- Ebonyi- </a:t>
            </a:r>
            <a:r>
              <a:rPr kumimoji="0" lang="en-GB" sz="1100" b="1" i="0" u="none" strike="noStrike" kern="1200" cap="none" spc="0" normalizeH="0" baseline="0" noProof="0">
                <a:ln>
                  <a:noFill/>
                </a:ln>
                <a:solidFill>
                  <a:prstClr val="white"/>
                </a:solidFill>
                <a:effectLst/>
                <a:uLnTx/>
                <a:uFillTx/>
                <a:latin typeface="Gill Sans MT" panose="020B0502020104020203"/>
                <a:ea typeface="+mj-ea"/>
                <a:cs typeface="Arial" panose="020B0604020202020204" pitchFamily="34" charset="0"/>
              </a:rPr>
              <a:t>Summary </a:t>
            </a:r>
            <a:r>
              <a:rPr kumimoji="0" lang="en-GB" sz="1100" b="1" i="0" u="none" strike="noStrike" kern="1200" cap="none" spc="0" normalizeH="0" baseline="0" noProof="0" dirty="0">
                <a:ln>
                  <a:noFill/>
                </a:ln>
                <a:solidFill>
                  <a:prstClr val="white"/>
                </a:solidFill>
                <a:effectLst/>
                <a:uLnTx/>
                <a:uFillTx/>
                <a:latin typeface="Gill Sans MT" panose="020B0502020104020203"/>
                <a:ea typeface="+mj-ea"/>
                <a:cs typeface="Arial" panose="020B0604020202020204" pitchFamily="34" charset="0"/>
              </a:rPr>
              <a:t>of Supply </a:t>
            </a:r>
          </a:p>
        </p:txBody>
      </p:sp>
      <p:grpSp>
        <p:nvGrpSpPr>
          <p:cNvPr id="9" name="Group 8">
            <a:extLst>
              <a:ext uri="{FF2B5EF4-FFF2-40B4-BE49-F238E27FC236}">
                <a16:creationId xmlns:a16="http://schemas.microsoft.com/office/drawing/2014/main" id="{6C1AFB63-F949-246E-7848-3F4B35CB10F0}"/>
              </a:ext>
            </a:extLst>
          </p:cNvPr>
          <p:cNvGrpSpPr/>
          <p:nvPr/>
        </p:nvGrpSpPr>
        <p:grpSpPr>
          <a:xfrm>
            <a:off x="8547770" y="1186058"/>
            <a:ext cx="3478258" cy="5531785"/>
            <a:chOff x="10110788" y="2314628"/>
            <a:chExt cx="2055813" cy="4171297"/>
          </a:xfrm>
        </p:grpSpPr>
        <p:sp>
          <p:nvSpPr>
            <p:cNvPr id="10" name="Rectangle 9">
              <a:extLst>
                <a:ext uri="{FF2B5EF4-FFF2-40B4-BE49-F238E27FC236}">
                  <a16:creationId xmlns:a16="http://schemas.microsoft.com/office/drawing/2014/main" id="{6A96BD16-9D03-C675-947D-B7FA5BC8655F}"/>
                </a:ext>
              </a:extLst>
            </p:cNvPr>
            <p:cNvSpPr/>
            <p:nvPr/>
          </p:nvSpPr>
          <p:spPr>
            <a:xfrm>
              <a:off x="10110788" y="2324099"/>
              <a:ext cx="2055813" cy="416182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tIns="548640" rtlCol="0" anchor="t"/>
            <a:lstStyle/>
            <a:p>
              <a:pPr marL="182880" marR="0" lvl="0" indent="-18288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Disruptions in the public referral system because public secondary healthcare facilities are not functional</a:t>
              </a:r>
            </a:p>
            <a:p>
              <a:pPr marL="182880" marR="0" lvl="0" indent="-18288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HF experience challenges in maintaining the cold chain of MNH commodities in rural areas</a:t>
              </a:r>
            </a:p>
            <a:p>
              <a:pPr marL="182880" marR="0" lvl="0" indent="-18288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Heat-stable </a:t>
              </a:r>
              <a:r>
                <a:rPr kumimoji="0" lang="en-US" sz="1500" b="0" i="0" u="none" strike="noStrike" kern="1200" cap="none" spc="0" normalizeH="0" baseline="0" noProof="0" dirty="0" err="1">
                  <a:ln>
                    <a:noFill/>
                  </a:ln>
                  <a:solidFill>
                    <a:prstClr val="black"/>
                  </a:solidFill>
                  <a:effectLst/>
                  <a:uLnTx/>
                  <a:uFillTx/>
                  <a:latin typeface="Gill Sans MT" panose="020B0502020104020203"/>
                  <a:ea typeface="+mn-ea"/>
                  <a:cs typeface="+mn-cs"/>
                </a:rPr>
                <a:t>carbetocin</a:t>
              </a: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 which does not require a cold chain storage system and is an alternative to oxytocin is unavailable across all SDP assessed </a:t>
              </a:r>
            </a:p>
            <a:p>
              <a:pPr marL="182880" marR="0" lvl="0" indent="-18288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Limited availability of qualified healthcare workers at HFs (especially due to a mismatch in the distribution of HFs</a:t>
              </a:r>
            </a:p>
            <a:p>
              <a:pPr marL="182880" marR="0" lvl="0" indent="-18288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hueOff val="0"/>
                      <a:satOff val="0"/>
                      <a:lumOff val="0"/>
                      <a:alphaOff val="0"/>
                    </a:prstClr>
                  </a:solidFill>
                  <a:effectLst/>
                  <a:uLnTx/>
                  <a:uFillTx/>
                  <a:latin typeface="Gill Sans MT" panose="020B0502020104020203"/>
                  <a:ea typeface="+mn-ea"/>
                  <a:cs typeface="+mn-cs"/>
                </a:rPr>
                <a:t>There is shortage of equipment which cuts across both urban and rural areas, particularly for PHCs</a:t>
              </a:r>
            </a:p>
            <a:p>
              <a:pPr marL="182880" marR="0" lvl="0" indent="-182880" algn="l" defTabSz="914400" rtl="0" eaLnBrk="1" fontAlgn="auto" latinLnBrk="0" hangingPunct="1">
                <a:lnSpc>
                  <a:spcPct val="100000"/>
                </a:lnSpc>
                <a:spcBef>
                  <a:spcPts val="0"/>
                </a:spcBef>
                <a:spcAft>
                  <a:spcPts val="2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prstClr val="black"/>
                  </a:solidFill>
                  <a:effectLst/>
                  <a:uLnTx/>
                  <a:uFillTx/>
                  <a:latin typeface="Gill Sans MT" panose="020B0502020104020203"/>
                  <a:ea typeface="+mn-ea"/>
                  <a:cs typeface="+mn-cs"/>
                </a:rPr>
                <a:t>Private HF and suppliers source commodities from the open drug market which has quality implications since they are largely unregulated </a:t>
              </a:r>
            </a:p>
          </p:txBody>
        </p:sp>
        <p:sp>
          <p:nvSpPr>
            <p:cNvPr id="14" name="Freeform: Shape 13">
              <a:extLst>
                <a:ext uri="{FF2B5EF4-FFF2-40B4-BE49-F238E27FC236}">
                  <a16:creationId xmlns:a16="http://schemas.microsoft.com/office/drawing/2014/main" id="{B33A9C24-6761-C4DC-2924-7D282A80DF92}"/>
                </a:ext>
              </a:extLst>
            </p:cNvPr>
            <p:cNvSpPr/>
            <p:nvPr/>
          </p:nvSpPr>
          <p:spPr>
            <a:xfrm>
              <a:off x="10110788" y="2314628"/>
              <a:ext cx="2055813" cy="269754"/>
            </a:xfrm>
            <a:custGeom>
              <a:avLst/>
              <a:gdLst>
                <a:gd name="connsiteX0" fmla="*/ 0 w 3491782"/>
                <a:gd name="connsiteY0" fmla="*/ 82020 h 820200"/>
                <a:gd name="connsiteX1" fmla="*/ 82020 w 3491782"/>
                <a:gd name="connsiteY1" fmla="*/ 0 h 820200"/>
                <a:gd name="connsiteX2" fmla="*/ 3409762 w 3491782"/>
                <a:gd name="connsiteY2" fmla="*/ 0 h 820200"/>
                <a:gd name="connsiteX3" fmla="*/ 3491782 w 3491782"/>
                <a:gd name="connsiteY3" fmla="*/ 82020 h 820200"/>
                <a:gd name="connsiteX4" fmla="*/ 3491782 w 3491782"/>
                <a:gd name="connsiteY4" fmla="*/ 738180 h 820200"/>
                <a:gd name="connsiteX5" fmla="*/ 3409762 w 3491782"/>
                <a:gd name="connsiteY5" fmla="*/ 820200 h 820200"/>
                <a:gd name="connsiteX6" fmla="*/ 82020 w 3491782"/>
                <a:gd name="connsiteY6" fmla="*/ 820200 h 820200"/>
                <a:gd name="connsiteX7" fmla="*/ 0 w 3491782"/>
                <a:gd name="connsiteY7" fmla="*/ 738180 h 820200"/>
                <a:gd name="connsiteX8" fmla="*/ 0 w 3491782"/>
                <a:gd name="connsiteY8" fmla="*/ 82020 h 82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1782" h="820200">
                  <a:moveTo>
                    <a:pt x="0" y="82020"/>
                  </a:moveTo>
                  <a:cubicBezTo>
                    <a:pt x="0" y="36722"/>
                    <a:pt x="36722" y="0"/>
                    <a:pt x="82020" y="0"/>
                  </a:cubicBezTo>
                  <a:lnTo>
                    <a:pt x="3409762" y="0"/>
                  </a:lnTo>
                  <a:cubicBezTo>
                    <a:pt x="3455060" y="0"/>
                    <a:pt x="3491782" y="36722"/>
                    <a:pt x="3491782" y="82020"/>
                  </a:cubicBezTo>
                  <a:lnTo>
                    <a:pt x="3491782" y="738180"/>
                  </a:lnTo>
                  <a:cubicBezTo>
                    <a:pt x="3491782" y="783478"/>
                    <a:pt x="3455060" y="820200"/>
                    <a:pt x="3409762" y="820200"/>
                  </a:cubicBezTo>
                  <a:lnTo>
                    <a:pt x="82020" y="820200"/>
                  </a:lnTo>
                  <a:cubicBezTo>
                    <a:pt x="36722" y="820200"/>
                    <a:pt x="0" y="783478"/>
                    <a:pt x="0" y="738180"/>
                  </a:cubicBezTo>
                  <a:lnTo>
                    <a:pt x="0" y="82020"/>
                  </a:lnTo>
                  <a:close/>
                </a:path>
              </a:pathLst>
            </a:custGeom>
            <a:solidFill>
              <a:schemeClr val="accent4">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9743" tIns="54503" rIns="69743" bIns="54503"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Gill Sans MT" panose="020B0502020104020203"/>
                  <a:ea typeface="+mn-ea"/>
                  <a:cs typeface="+mn-cs"/>
                </a:rPr>
                <a:t>Other challenges </a:t>
              </a:r>
            </a:p>
          </p:txBody>
        </p:sp>
      </p:grpSp>
      <p:sp>
        <p:nvSpPr>
          <p:cNvPr id="15" name="TextBox 14">
            <a:extLst>
              <a:ext uri="{FF2B5EF4-FFF2-40B4-BE49-F238E27FC236}">
                <a16:creationId xmlns:a16="http://schemas.microsoft.com/office/drawing/2014/main" id="{B108110F-640B-491D-AF97-351DA3BB938F}"/>
              </a:ext>
            </a:extLst>
          </p:cNvPr>
          <p:cNvSpPr txBox="1"/>
          <p:nvPr/>
        </p:nvSpPr>
        <p:spPr>
          <a:xfrm>
            <a:off x="92718" y="6711653"/>
            <a:ext cx="246888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KIIs, desk review, Team analysis, </a:t>
            </a:r>
          </a:p>
        </p:txBody>
      </p:sp>
    </p:spTree>
    <p:extLst>
      <p:ext uri="{BB962C8B-B14F-4D97-AF65-F5344CB8AC3E}">
        <p14:creationId xmlns:p14="http://schemas.microsoft.com/office/powerpoint/2010/main" val="487173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D59C9E-75A1-4CC0-96CF-8588C9E7FA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0BD59C9E-75A1-4CC0-96CF-8588C9E7FA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78E617-14C7-722B-4C80-9C3C0497E1A9}"/>
              </a:ext>
            </a:extLst>
          </p:cNvPr>
          <p:cNvSpPr>
            <a:spLocks noGrp="1"/>
          </p:cNvSpPr>
          <p:nvPr>
            <p:ph type="title"/>
          </p:nvPr>
        </p:nvSpPr>
        <p:spPr/>
        <p:txBody>
          <a:bodyPr vert="horz">
            <a:normAutofit/>
          </a:bodyPr>
          <a:lstStyle/>
          <a:p>
            <a:pPr algn="l"/>
            <a:r>
              <a:rPr lang="en-US" sz="3200" dirty="0"/>
              <a:t>Approach to Market Description</a:t>
            </a:r>
            <a:endParaRPr lang="fr-FR" sz="3200" dirty="0"/>
          </a:p>
        </p:txBody>
      </p:sp>
      <p:pic>
        <p:nvPicPr>
          <p:cNvPr id="19" name="Picture 18">
            <a:extLst>
              <a:ext uri="{FF2B5EF4-FFF2-40B4-BE49-F238E27FC236}">
                <a16:creationId xmlns:a16="http://schemas.microsoft.com/office/drawing/2014/main" id="{79ECB4B6-B135-C21C-794A-7588EFBB7D9C}"/>
              </a:ext>
            </a:extLst>
          </p:cNvPr>
          <p:cNvPicPr>
            <a:picLocks noChangeAspect="1"/>
          </p:cNvPicPr>
          <p:nvPr/>
        </p:nvPicPr>
        <p:blipFill>
          <a:blip r:embed="rId5"/>
          <a:stretch>
            <a:fillRect/>
          </a:stretch>
        </p:blipFill>
        <p:spPr>
          <a:xfrm>
            <a:off x="147720" y="2284070"/>
            <a:ext cx="6880860" cy="1614230"/>
          </a:xfrm>
          <a:prstGeom prst="rect">
            <a:avLst/>
          </a:prstGeom>
        </p:spPr>
      </p:pic>
      <p:sp>
        <p:nvSpPr>
          <p:cNvPr id="21" name="TextBox 20">
            <a:extLst>
              <a:ext uri="{FF2B5EF4-FFF2-40B4-BE49-F238E27FC236}">
                <a16:creationId xmlns:a16="http://schemas.microsoft.com/office/drawing/2014/main" id="{B0D4E4CB-D691-DF2C-84FF-C787C3A6D3E5}"/>
              </a:ext>
            </a:extLst>
          </p:cNvPr>
          <p:cNvSpPr txBox="1"/>
          <p:nvPr/>
        </p:nvSpPr>
        <p:spPr>
          <a:xfrm>
            <a:off x="228600" y="1350841"/>
            <a:ext cx="6400800" cy="70788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a:ea typeface="+mn-ea"/>
                <a:cs typeface="+mn-cs"/>
              </a:rPr>
              <a:t>Four step process to develop Maternal and Neonatal market </a:t>
            </a:r>
          </a:p>
        </p:txBody>
      </p:sp>
      <p:sp>
        <p:nvSpPr>
          <p:cNvPr id="22" name="TextBox 21">
            <a:extLst>
              <a:ext uri="{FF2B5EF4-FFF2-40B4-BE49-F238E27FC236}">
                <a16:creationId xmlns:a16="http://schemas.microsoft.com/office/drawing/2014/main" id="{0935D939-C715-59CE-13E3-C11D56E96F4E}"/>
              </a:ext>
            </a:extLst>
          </p:cNvPr>
          <p:cNvSpPr txBox="1"/>
          <p:nvPr/>
        </p:nvSpPr>
        <p:spPr>
          <a:xfrm>
            <a:off x="462500" y="4586030"/>
            <a:ext cx="6283197" cy="163121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Market description is the </a:t>
            </a:r>
            <a:r>
              <a:rPr kumimoji="0" lang="en-US" sz="2000" b="1" i="1"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first task </a:t>
            </a: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in DIAGNOSE (e.g. inception phase)</a:t>
            </a:r>
          </a:p>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Helps define the problem</a:t>
            </a:r>
          </a:p>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Select the ‘right’ market(s)</a:t>
            </a:r>
          </a:p>
          <a:p>
            <a:pPr marL="342900" marR="0" lvl="0" indent="-342900" algn="l" defTabSz="121917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Identify further data needs for DIAGNOSE</a:t>
            </a:r>
            <a:endParaRPr kumimoji="0" lang="fr-FR"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endParaRPr>
          </a:p>
        </p:txBody>
      </p:sp>
      <p:sp>
        <p:nvSpPr>
          <p:cNvPr id="23" name="Arrow: Right 22">
            <a:extLst>
              <a:ext uri="{FF2B5EF4-FFF2-40B4-BE49-F238E27FC236}">
                <a16:creationId xmlns:a16="http://schemas.microsoft.com/office/drawing/2014/main" id="{0CC67E72-3688-E8BE-5CF9-4DBD1E192B43}"/>
              </a:ext>
            </a:extLst>
          </p:cNvPr>
          <p:cNvSpPr/>
          <p:nvPr/>
        </p:nvSpPr>
        <p:spPr>
          <a:xfrm rot="5400000">
            <a:off x="631283" y="4057715"/>
            <a:ext cx="609600" cy="290770"/>
          </a:xfrm>
          <a:prstGeom prst="rightArrow">
            <a:avLst/>
          </a:prstGeom>
          <a:solidFill>
            <a:srgbClr val="044B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24" name="TextBox 23">
            <a:extLst>
              <a:ext uri="{FF2B5EF4-FFF2-40B4-BE49-F238E27FC236}">
                <a16:creationId xmlns:a16="http://schemas.microsoft.com/office/drawing/2014/main" id="{8E8D4CA2-2E42-D21F-9A3F-4D0F736117D0}"/>
              </a:ext>
            </a:extLst>
          </p:cNvPr>
          <p:cNvSpPr txBox="1"/>
          <p:nvPr/>
        </p:nvSpPr>
        <p:spPr>
          <a:xfrm>
            <a:off x="7576457" y="1350841"/>
            <a:ext cx="4288591" cy="70788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a:ea typeface="+mn-ea"/>
                <a:cs typeface="+mn-cs"/>
              </a:rPr>
              <a:t>Market system framework guides the market description </a:t>
            </a:r>
          </a:p>
        </p:txBody>
      </p:sp>
      <p:sp>
        <p:nvSpPr>
          <p:cNvPr id="25" name="TextBox 24">
            <a:extLst>
              <a:ext uri="{FF2B5EF4-FFF2-40B4-BE49-F238E27FC236}">
                <a16:creationId xmlns:a16="http://schemas.microsoft.com/office/drawing/2014/main" id="{F2D62381-26E8-4E94-5E8B-4B97E0470E9D}"/>
              </a:ext>
            </a:extLst>
          </p:cNvPr>
          <p:cNvSpPr txBox="1"/>
          <p:nvPr/>
        </p:nvSpPr>
        <p:spPr>
          <a:xfrm>
            <a:off x="8018925" y="6039572"/>
            <a:ext cx="3810000" cy="70788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Focuses on describing the </a:t>
            </a:r>
            <a:r>
              <a:rPr kumimoji="0" lang="en-US" sz="2000" b="1" i="0" u="sng"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market structure </a:t>
            </a:r>
            <a:r>
              <a:rPr kumimoji="0" lang="en-US"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rPr>
              <a:t>first</a:t>
            </a:r>
            <a:endParaRPr kumimoji="0" lang="fr-FR" sz="2000" b="0" i="0" u="none" strike="noStrike" kern="1200" cap="none" spc="0" normalizeH="0" baseline="0" noProof="0" dirty="0">
              <a:ln>
                <a:noFill/>
              </a:ln>
              <a:solidFill>
                <a:srgbClr val="044B7F">
                  <a:lumMod val="50000"/>
                </a:srgbClr>
              </a:solidFill>
              <a:effectLst/>
              <a:uLnTx/>
              <a:uFillTx/>
              <a:latin typeface="Gill Sans MT" panose="020B0502020104020203"/>
              <a:ea typeface="+mn-ea"/>
              <a:cs typeface="+mn-cs"/>
            </a:endParaRPr>
          </a:p>
        </p:txBody>
      </p:sp>
      <p:pic>
        <p:nvPicPr>
          <p:cNvPr id="5" name="Picture 4">
            <a:extLst>
              <a:ext uri="{FF2B5EF4-FFF2-40B4-BE49-F238E27FC236}">
                <a16:creationId xmlns:a16="http://schemas.microsoft.com/office/drawing/2014/main" id="{7238F152-A282-7A05-455A-01C6B61CB536}"/>
              </a:ext>
            </a:extLst>
          </p:cNvPr>
          <p:cNvPicPr>
            <a:picLocks noChangeAspect="1"/>
          </p:cNvPicPr>
          <p:nvPr/>
        </p:nvPicPr>
        <p:blipFill rotWithShape="1">
          <a:blip r:embed="rId6"/>
          <a:srcRect l="7360" t="4262" r="8016" b="2069"/>
          <a:stretch/>
        </p:blipFill>
        <p:spPr>
          <a:xfrm>
            <a:off x="7880874" y="2027581"/>
            <a:ext cx="4086102" cy="4086102"/>
          </a:xfrm>
          <a:prstGeom prst="rect">
            <a:avLst/>
          </a:prstGeom>
        </p:spPr>
      </p:pic>
      <p:sp>
        <p:nvSpPr>
          <p:cNvPr id="3" name="Rectangle 2">
            <a:extLst>
              <a:ext uri="{FF2B5EF4-FFF2-40B4-BE49-F238E27FC236}">
                <a16:creationId xmlns:a16="http://schemas.microsoft.com/office/drawing/2014/main" id="{F28BF8EC-5019-DDF8-5333-AB463C11469E}"/>
              </a:ext>
            </a:extLst>
          </p:cNvPr>
          <p:cNvSpPr/>
          <p:nvPr/>
        </p:nvSpPr>
        <p:spPr bwMode="auto">
          <a:xfrm>
            <a:off x="0" y="74763"/>
            <a:ext cx="4358473"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0"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Approach and framework</a:t>
            </a:r>
          </a:p>
        </p:txBody>
      </p:sp>
    </p:spTree>
    <p:extLst>
      <p:ext uri="{BB962C8B-B14F-4D97-AF65-F5344CB8AC3E}">
        <p14:creationId xmlns:p14="http://schemas.microsoft.com/office/powerpoint/2010/main" val="25018071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5D74C94-2EEC-4B01-8107-E9C021926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0" name="Object 9" hidden="1">
                        <a:extLst>
                          <a:ext uri="{FF2B5EF4-FFF2-40B4-BE49-F238E27FC236}">
                            <a16:creationId xmlns:a16="http://schemas.microsoft.com/office/drawing/2014/main" id="{15D74C94-2EEC-4B01-8107-E9C0219268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0F8A3CF1-87E1-4A47-A52A-97EA1BC1FCA2}"/>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10000"/>
                    </a14:imgEffect>
                  </a14:imgLayer>
                </a14:imgProps>
              </a:ext>
              <a:ext uri="{28A0092B-C50C-407E-A947-70E740481C1C}">
                <a14:useLocalDpi xmlns:a14="http://schemas.microsoft.com/office/drawing/2010/main" val="0"/>
              </a:ext>
            </a:extLst>
          </a:blip>
          <a:srcRect l="12146" r="27200"/>
          <a:stretch/>
        </p:blipFill>
        <p:spPr>
          <a:xfrm>
            <a:off x="62753" y="215272"/>
            <a:ext cx="5783889" cy="6475115"/>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a:xfrm>
            <a:off x="11280901" y="6393515"/>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sp>
        <p:nvSpPr>
          <p:cNvPr id="7" name="TextBox 6">
            <a:extLst>
              <a:ext uri="{FF2B5EF4-FFF2-40B4-BE49-F238E27FC236}">
                <a16:creationId xmlns:a16="http://schemas.microsoft.com/office/drawing/2014/main" id="{968F3CE4-A203-5482-BFC0-139AB70F0F8D}"/>
              </a:ext>
            </a:extLst>
          </p:cNvPr>
          <p:cNvSpPr txBox="1"/>
          <p:nvPr/>
        </p:nvSpPr>
        <p:spPr>
          <a:xfrm>
            <a:off x="5998725" y="1642301"/>
            <a:ext cx="6217920" cy="70788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Summary of findings</a:t>
            </a:r>
            <a:endPar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5DA86D16-D09D-19E0-E558-38E7BDF32EA2}"/>
              </a:ext>
            </a:extLst>
          </p:cNvPr>
          <p:cNvSpPr/>
          <p:nvPr/>
        </p:nvSpPr>
        <p:spPr>
          <a:xfrm>
            <a:off x="303181" y="589053"/>
            <a:ext cx="5181600" cy="5791201"/>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1" name="Text Placeholder 5">
            <a:extLst>
              <a:ext uri="{FF2B5EF4-FFF2-40B4-BE49-F238E27FC236}">
                <a16:creationId xmlns:a16="http://schemas.microsoft.com/office/drawing/2014/main" id="{2830B6C8-D59D-417F-9CA3-99050FB46EE8}"/>
              </a:ext>
            </a:extLst>
          </p:cNvPr>
          <p:cNvSpPr txBox="1">
            <a:spLocks/>
          </p:cNvSpPr>
          <p:nvPr/>
        </p:nvSpPr>
        <p:spPr>
          <a:xfrm>
            <a:off x="152400" y="6427284"/>
            <a:ext cx="3383280" cy="215444"/>
          </a:xfrm>
          <a:prstGeom prst="rect">
            <a:avLst/>
          </a:prstGeom>
        </p:spPr>
        <p:txBody>
          <a:bodyPr/>
          <a:lst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marR="0" lvl="0" indent="0" algn="l" defTabSz="914332" rtl="0" eaLnBrk="1" fontAlgn="auto" latinLnBrk="0" hangingPunct="1">
              <a:lnSpc>
                <a:spcPct val="100000"/>
              </a:lnSpc>
              <a:spcBef>
                <a:spcPts val="1000"/>
              </a:spcBef>
              <a:spcAft>
                <a:spcPts val="0"/>
              </a:spcAft>
              <a:buClrTx/>
              <a:buSzTx/>
              <a:buFont typeface=".AppleSystemUIFont" charset="-120"/>
              <a:buNone/>
              <a:tabLst/>
              <a:defRPr/>
            </a:pPr>
            <a:r>
              <a:rPr kumimoji="0" lang="en-US" sz="105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Photo credit: USAID GHSC-PSM project</a:t>
            </a:r>
          </a:p>
        </p:txBody>
      </p:sp>
    </p:spTree>
    <p:extLst>
      <p:ext uri="{BB962C8B-B14F-4D97-AF65-F5344CB8AC3E}">
        <p14:creationId xmlns:p14="http://schemas.microsoft.com/office/powerpoint/2010/main" val="34576547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FC407D5F-3E7A-4165-9416-D4CF78C317C4}"/>
              </a:ext>
            </a:extLst>
          </p:cNvPr>
          <p:cNvGraphicFramePr>
            <a:graphicFrameLocks noGrp="1"/>
          </p:cNvGraphicFramePr>
          <p:nvPr/>
        </p:nvGraphicFramePr>
        <p:xfrm>
          <a:off x="370755" y="438026"/>
          <a:ext cx="11548911" cy="5974080"/>
        </p:xfrm>
        <a:graphic>
          <a:graphicData uri="http://schemas.openxmlformats.org/drawingml/2006/table">
            <a:tbl>
              <a:tblPr firstRow="1" bandRow="1">
                <a:tableStyleId>{5C22544A-7EE6-4342-B048-85BDC9FD1C3A}</a:tableStyleId>
              </a:tblPr>
              <a:tblGrid>
                <a:gridCol w="684385">
                  <a:extLst>
                    <a:ext uri="{9D8B030D-6E8A-4147-A177-3AD203B41FA5}">
                      <a16:colId xmlns:a16="http://schemas.microsoft.com/office/drawing/2014/main" val="171669210"/>
                    </a:ext>
                  </a:extLst>
                </a:gridCol>
                <a:gridCol w="407170">
                  <a:extLst>
                    <a:ext uri="{9D8B030D-6E8A-4147-A177-3AD203B41FA5}">
                      <a16:colId xmlns:a16="http://schemas.microsoft.com/office/drawing/2014/main" val="3580911924"/>
                    </a:ext>
                  </a:extLst>
                </a:gridCol>
                <a:gridCol w="1001435">
                  <a:extLst>
                    <a:ext uri="{9D8B030D-6E8A-4147-A177-3AD203B41FA5}">
                      <a16:colId xmlns:a16="http://schemas.microsoft.com/office/drawing/2014/main" val="4264102312"/>
                    </a:ext>
                  </a:extLst>
                </a:gridCol>
                <a:gridCol w="431718">
                  <a:extLst>
                    <a:ext uri="{9D8B030D-6E8A-4147-A177-3AD203B41FA5}">
                      <a16:colId xmlns:a16="http://schemas.microsoft.com/office/drawing/2014/main" val="2475868262"/>
                    </a:ext>
                  </a:extLst>
                </a:gridCol>
                <a:gridCol w="414347">
                  <a:extLst>
                    <a:ext uri="{9D8B030D-6E8A-4147-A177-3AD203B41FA5}">
                      <a16:colId xmlns:a16="http://schemas.microsoft.com/office/drawing/2014/main" val="3357470775"/>
                    </a:ext>
                  </a:extLst>
                </a:gridCol>
                <a:gridCol w="438034">
                  <a:extLst>
                    <a:ext uri="{9D8B030D-6E8A-4147-A177-3AD203B41FA5}">
                      <a16:colId xmlns:a16="http://schemas.microsoft.com/office/drawing/2014/main" val="1025516285"/>
                    </a:ext>
                  </a:extLst>
                </a:gridCol>
                <a:gridCol w="8171822">
                  <a:extLst>
                    <a:ext uri="{9D8B030D-6E8A-4147-A177-3AD203B41FA5}">
                      <a16:colId xmlns:a16="http://schemas.microsoft.com/office/drawing/2014/main" val="191171639"/>
                    </a:ext>
                  </a:extLst>
                </a:gridCol>
              </a:tblGrid>
              <a:tr h="0">
                <a:tc gridSpan="7">
                  <a:txBody>
                    <a:bodyPr/>
                    <a:lstStyle/>
                    <a:p>
                      <a:r>
                        <a:rPr lang="en-US" sz="1800" b="0" noProof="0" dirty="0">
                          <a:latin typeface="Gill Sans MT" panose="020B0502020104020203" pitchFamily="34" charset="0"/>
                          <a:cs typeface="Poppins Light" panose="00000400000000000000" pitchFamily="50" charset="0"/>
                        </a:rPr>
                        <a:t>Worksheet : Market system performance for MNH in Ebonyi</a:t>
                      </a:r>
                    </a:p>
                  </a:txBody>
                  <a:tcPr>
                    <a:lnL w="12700" cmpd="sng">
                      <a:noFill/>
                    </a:lnL>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AA19E"/>
                    </a:solidFill>
                  </a:tcPr>
                </a:tc>
                <a:tc hMerge="1">
                  <a:txBody>
                    <a:bodyPr/>
                    <a:lstStyle/>
                    <a:p>
                      <a:endParaRPr lang="fr-FR"/>
                    </a:p>
                  </a:txBody>
                  <a:tcPr/>
                </a:tc>
                <a:tc hMerge="1">
                  <a:txBody>
                    <a:bodyPr/>
                    <a:lstStyle/>
                    <a:p>
                      <a:endParaRPr lang="fr-FR"/>
                    </a:p>
                  </a:txBody>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B0D7E1"/>
                    </a:solidFill>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2F8CA8"/>
                    </a:solidFill>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B0D7E1"/>
                    </a:solidFill>
                  </a:tcPr>
                </a:tc>
                <a:tc hMerge="1">
                  <a:txBody>
                    <a:bodyPr/>
                    <a:lstStyle/>
                    <a:p>
                      <a:endParaRPr lang="en-US" sz="1400" b="0" noProof="0" dirty="0">
                        <a:latin typeface="Arial" panose="020B0604020202020204" pitchFamily="34" charset="0"/>
                        <a:cs typeface="Arial" panose="020B0604020202020204" pitchFamily="34" charset="0"/>
                      </a:endParaRPr>
                    </a:p>
                  </a:txBody>
                  <a:tcPr>
                    <a:solidFill>
                      <a:srgbClr val="4BA3BA"/>
                    </a:solidFill>
                  </a:tcPr>
                </a:tc>
                <a:extLst>
                  <a:ext uri="{0D108BD9-81ED-4DB2-BD59-A6C34878D82A}">
                    <a16:rowId xmlns:a16="http://schemas.microsoft.com/office/drawing/2014/main" val="2651529084"/>
                  </a:ext>
                </a:extLst>
              </a:tr>
              <a:tr h="0">
                <a:tc gridSpan="3">
                  <a:txBody>
                    <a:bodyPr/>
                    <a:lstStyle/>
                    <a:p>
                      <a:r>
                        <a:rPr lang="en-US" sz="1400" b="0" noProof="0" dirty="0">
                          <a:solidFill>
                            <a:schemeClr val="bg1"/>
                          </a:solidFill>
                          <a:latin typeface="Gill Sans MT" panose="020B0502020104020203" pitchFamily="34" charset="0"/>
                          <a:cs typeface="Poppins Light" panose="00000400000000000000" pitchFamily="50" charset="0"/>
                        </a:rPr>
                        <a:t>Market characters</a:t>
                      </a:r>
                    </a:p>
                  </a:txBody>
                  <a:tcPr>
                    <a:lnL w="12700" cmpd="sng">
                      <a:noFill/>
                    </a:lnL>
                    <a:lnR w="12700" cmpd="sng">
                      <a:noFill/>
                    </a:lnR>
                    <a:lnT w="12700" cap="flat" cmpd="sng" algn="ctr">
                      <a:solidFill>
                        <a:schemeClr val="bg1"/>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4AA19E"/>
                    </a:solidFill>
                  </a:tcPr>
                </a:tc>
                <a:tc hMerge="1">
                  <a:txBody>
                    <a:bodyPr/>
                    <a:lstStyle/>
                    <a:p>
                      <a:endParaRPr lang="en-US" dirty="0">
                        <a:latin typeface="Poppins Medium"/>
                      </a:endParaRPr>
                    </a:p>
                  </a:txBody>
                  <a:tcPr/>
                </a:tc>
                <a:tc hMerge="1">
                  <a:txBody>
                    <a:bodyPr/>
                    <a:lstStyle/>
                    <a:p>
                      <a:endParaRPr lang="fr-FR"/>
                    </a:p>
                  </a:txBody>
                  <a:tcPr>
                    <a:lnL w="12700" cmpd="sng">
                      <a:noFill/>
                    </a:lnL>
                  </a:tcPr>
                </a:tc>
                <a:tc>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A</a:t>
                      </a:r>
                    </a:p>
                  </a:txBody>
                  <a:tcPr>
                    <a:lnL w="12700" cmpd="sng">
                      <a:noFill/>
                    </a:lnL>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I</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M</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r>
                        <a:rPr lang="en-US" sz="1400" b="0" noProof="0" dirty="0">
                          <a:solidFill>
                            <a:schemeClr val="bg1"/>
                          </a:solidFill>
                          <a:latin typeface="Gill Sans MT" panose="020B0502020104020203" pitchFamily="34" charset="0"/>
                          <a:cs typeface="Poppins Light" panose="00000400000000000000" pitchFamily="50" charset="0"/>
                        </a:rPr>
                        <a:t>Observations</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extLst>
                  <a:ext uri="{0D108BD9-81ED-4DB2-BD59-A6C34878D82A}">
                    <a16:rowId xmlns:a16="http://schemas.microsoft.com/office/drawing/2014/main" val="1908922731"/>
                  </a:ext>
                </a:extLst>
              </a:tr>
              <a:tr h="18796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bg1"/>
                          </a:solidFill>
                          <a:latin typeface="Gill Sans MT" panose="020B0502020104020203" pitchFamily="34" charset="0"/>
                          <a:cs typeface="Poppins" panose="00000500000000000000" pitchFamily="50" charset="0"/>
                        </a:rPr>
                        <a:t>Core Market</a:t>
                      </a:r>
                    </a:p>
                  </a:txBody>
                  <a:tcPr vert="vert270">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4AA19E"/>
                    </a:solidFill>
                  </a:tcPr>
                </a:tc>
                <a:tc gridSpan="2">
                  <a:txBody>
                    <a:bodyPr/>
                    <a:lstStyle/>
                    <a:p>
                      <a:r>
                        <a:rPr lang="en-US" sz="1400" b="0" dirty="0">
                          <a:solidFill>
                            <a:schemeClr val="tx1"/>
                          </a:solidFill>
                          <a:latin typeface="Gill Sans MT" panose="020B0502020104020203" pitchFamily="34" charset="0"/>
                          <a:cs typeface="Poppins Light" panose="00000400000000000000" pitchFamily="50" charset="0"/>
                        </a:rPr>
                        <a:t>Supply</a:t>
                      </a:r>
                      <a:endParaRPr lang="fr-FR" sz="1400" b="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fr-FR"/>
                    </a:p>
                  </a:txBody>
                  <a:tcPr>
                    <a:lnL w="12700" cap="flat" cmpd="sng" algn="ctr">
                      <a:solidFill>
                        <a:schemeClr val="bg1">
                          <a:lumMod val="50000"/>
                        </a:schemeClr>
                      </a:solidFill>
                      <a:prstDash val="solid"/>
                      <a:round/>
                      <a:headEnd type="none" w="med" len="med"/>
                      <a:tailEnd type="none" w="med" len="med"/>
                    </a:lnL>
                  </a:tcPr>
                </a:tc>
                <a:tc gridSpan="4">
                  <a:txBody>
                    <a:bodyPr/>
                    <a:lstStyle/>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There is no free maternal care initiative funded by the state at the secondary and tertiary health care levels. Free maternal care was cited in the SSHDP for 2010-2015 but is not currently being implemented as of 2023</a:t>
                      </a:r>
                    </a:p>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Women in rural areas with the lower to lowest income level are less likely to seek SBA and are also least likely to access care from an SBA even when they wish to due to poverty and insufficiency in available healthcare workers in those areas</a:t>
                      </a:r>
                    </a:p>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The lack of effectiveness of the public secondary healthcare system has led to a disruption in the referral system within the public healthcare system. </a:t>
                      </a:r>
                      <a:endParaRPr lang="fr-FR" sz="120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algn="ctr"/>
                      <a:endParaRPr lang="fr-FR" sz="1400" b="1"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Free maternity services but only 52% access them; majority who access are urban, wealthier women</a:t>
                      </a:r>
                    </a:p>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There are different access barriers: (i) Geographic: rural/remote areas lack access to qualified facility (ii) Economic: hidden costs and fee-for-service</a:t>
                      </a:r>
                    </a:p>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Supply does not match demand/need (e.g. public serving high, higher income groups while private also services poor, poorest)</a:t>
                      </a:r>
                    </a:p>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Supply fragmented: weak referral system and limited coordination between public/private </a:t>
                      </a:r>
                      <a:r>
                        <a:rPr lang="en-US" sz="1200" dirty="0" err="1">
                          <a:solidFill>
                            <a:schemeClr val="tx1"/>
                          </a:solidFill>
                          <a:latin typeface="Gill Sans MT" panose="020B0502020104020203" pitchFamily="34" charset="0"/>
                          <a:cs typeface="Poppins Light" panose="00000400000000000000" pitchFamily="50" charset="0"/>
                        </a:rPr>
                        <a:t>serivces</a:t>
                      </a:r>
                      <a:endParaRPr lang="fr-FR" sz="1200" dirty="0">
                        <a:solidFill>
                          <a:schemeClr val="tx1"/>
                        </a:solidFill>
                        <a:latin typeface="Gill Sans MT" panose="020B0502020104020203" pitchFamily="34" charset="0"/>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67088093"/>
                  </a:ext>
                </a:extLst>
              </a:tr>
              <a:tr h="18796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4AA19E"/>
                    </a:solidFill>
                  </a:tcPr>
                </a:tc>
                <a:tc gridSpan="2">
                  <a:txBody>
                    <a:bodyPr/>
                    <a:lstStyle/>
                    <a:p>
                      <a:r>
                        <a:rPr lang="en-US" sz="1400" b="0" dirty="0">
                          <a:solidFill>
                            <a:schemeClr val="tx1"/>
                          </a:solidFill>
                          <a:latin typeface="Gill Sans MT" panose="020B0502020104020203" pitchFamily="34" charset="0"/>
                          <a:cs typeface="Poppins Light" panose="00000400000000000000" pitchFamily="50" charset="0"/>
                        </a:rPr>
                        <a:t>Demand</a:t>
                      </a:r>
                      <a:endParaRPr lang="fr-FR" sz="1400" b="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fr-FR"/>
                    </a:p>
                  </a:txBody>
                  <a:tcPr>
                    <a:lnL w="12700" cap="flat" cmpd="sng" algn="ctr">
                      <a:solidFill>
                        <a:schemeClr val="bg1">
                          <a:lumMod val="50000"/>
                        </a:schemeClr>
                      </a:solidFill>
                      <a:prstDash val="solid"/>
                      <a:round/>
                      <a:headEnd type="none" w="med" len="med"/>
                      <a:tailEnd type="none" w="med" len="med"/>
                    </a:lnL>
                  </a:tcPr>
                </a:tc>
                <a:tc gridSpan="4">
                  <a:txBody>
                    <a:bodyPr/>
                    <a:lstStyle/>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Most poor, uneducated women in rural areas prefer to use TBA mostly due to cultural norms, barriers to access to health facilities, and perceived affordability of the TBAs.  This is in addition to the overburdened public PHCs, lack of functionality o the public secondary healthcare facilities, and the great distance to the tertiary HFs in some instances. </a:t>
                      </a:r>
                    </a:p>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Distance to the health facility where ANC took place upon onset of labor was also cited as a challenge</a:t>
                      </a:r>
                    </a:p>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The ability to pay has a significant influence on the care-seeking behaviors of residents, especially for women who are more likely to be dependents. This is largely due to poverty, and adequate use of available health insurance schemes.</a:t>
                      </a:r>
                      <a:endParaRPr lang="fr-FR" sz="120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algn="ctr"/>
                      <a:endParaRPr lang="fr-FR" sz="140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Failing urban, older poor &amp; poorest women</a:t>
                      </a:r>
                    </a:p>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Large poor population can afford neither public / private MNH services</a:t>
                      </a:r>
                    </a:p>
                    <a:p>
                      <a:pPr marL="91440" indent="-91440">
                        <a:buFont typeface="Wingdings" panose="05000000000000000000" pitchFamily="2" charset="2"/>
                        <a:buChar char="§"/>
                      </a:pPr>
                      <a:r>
                        <a:rPr lang="en-US" sz="1200" dirty="0">
                          <a:solidFill>
                            <a:schemeClr val="tx1"/>
                          </a:solidFill>
                          <a:latin typeface="Gill Sans MT" panose="020B0502020104020203" pitchFamily="34" charset="0"/>
                          <a:cs typeface="Poppins Light" panose="00000400000000000000" pitchFamily="50" charset="0"/>
                        </a:rPr>
                        <a:t>Cultural norms still support home delivery and family care for newborns</a:t>
                      </a:r>
                      <a:endParaRPr lang="fr-FR" sz="1200" dirty="0">
                        <a:solidFill>
                          <a:schemeClr val="tx1"/>
                        </a:solidFill>
                        <a:latin typeface="Gill Sans MT" panose="020B0502020104020203" pitchFamily="34" charset="0"/>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195175893"/>
                  </a:ext>
                </a:extLst>
              </a:tr>
              <a:tr h="0">
                <a:tc row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bg1"/>
                          </a:solidFill>
                          <a:latin typeface="Gill Sans MT" panose="020B0502020104020203" pitchFamily="34" charset="0"/>
                          <a:cs typeface="Poppins" panose="00000500000000000000" pitchFamily="50" charset="0"/>
                        </a:rPr>
                        <a:t>Supporting Functions</a:t>
                      </a:r>
                    </a:p>
                  </a:txBody>
                  <a:tcPr vert="vert270">
                    <a:lnR w="12700" cap="flat" cmpd="sng" algn="ctr">
                      <a:solidFill>
                        <a:schemeClr val="bg1">
                          <a:lumMod val="50000"/>
                        </a:schemeClr>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gridSpan="2">
                  <a:txBody>
                    <a:bodyPr/>
                    <a:lstStyle/>
                    <a:p>
                      <a:pPr>
                        <a:spcAft>
                          <a:spcPts val="600"/>
                        </a:spcAft>
                      </a:pPr>
                      <a:r>
                        <a:rPr lang="en-US" sz="1400" b="0" noProof="0" dirty="0">
                          <a:solidFill>
                            <a:schemeClr val="tx1"/>
                          </a:solidFill>
                          <a:latin typeface="Gill Sans MT" panose="020B0502020104020203" pitchFamily="34" charset="0"/>
                          <a:cs typeface="Poppins Light" panose="00000400000000000000" pitchFamily="50" charset="0"/>
                        </a:rPr>
                        <a:t>Stewardship</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hMerge="1">
                  <a:txBody>
                    <a:bodyPr/>
                    <a:lstStyle/>
                    <a:p>
                      <a:endParaRPr lang="fr-FR"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rgbClr val="4AA19E"/>
                          </a:solidFill>
                          <a:latin typeface="Gill Sans MT" panose="020B0502020104020203" pitchFamily="34" charset="0"/>
                          <a:cs typeface="Poppins Light" panose="00000400000000000000" pitchFamily="50" charset="0"/>
                        </a:rPr>
                        <a:t>X</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lang="fr-FR" sz="140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Gill Sans MT" panose="020B0502020104020203" pitchFamily="34" charset="0"/>
                          <a:cs typeface="Poppins Light" panose="00000400000000000000" pitchFamily="50" charset="0"/>
                        </a:rPr>
                        <a:t>There are no dialogue platforms with the private for-profit actors in the state but most public sector stakeholders leverage association meetings of these  for--profit actors to engage them where necessary.</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79440758"/>
                  </a:ext>
                </a:extLst>
              </a:tr>
              <a:tr h="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a:solidFill>
                            <a:schemeClr val="bg1"/>
                          </a:solidFill>
                          <a:latin typeface="Gill Sans MT" panose="020B0502020104020203" pitchFamily="34" charset="0"/>
                          <a:cs typeface="Poppins" panose="00000500000000000000" pitchFamily="50" charset="0"/>
                        </a:rPr>
                        <a:t>Supporting Functions</a:t>
                      </a:r>
                    </a:p>
                  </a:txBody>
                  <a:tcPr vert="vert270">
                    <a:lnR w="12700" cap="flat" cmpd="sng" algn="ctr">
                      <a:solidFill>
                        <a:schemeClr val="bg1">
                          <a:lumMod val="50000"/>
                        </a:schemeClr>
                      </a:solidFill>
                      <a:prstDash val="solid"/>
                      <a:round/>
                      <a:headEnd type="none" w="med" len="med"/>
                      <a:tailEnd type="none" w="med" len="med"/>
                    </a:lnR>
                    <a:lnT w="28575" cap="flat" cmpd="sng" algn="ctr">
                      <a:solidFill>
                        <a:schemeClr val="bg1">
                          <a:lumMod val="75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rowSpan="4">
                  <a:txBody>
                    <a:bodyPr/>
                    <a:lstStyle/>
                    <a:p>
                      <a:pPr algn="ctr"/>
                      <a:r>
                        <a:rPr lang="en-US" sz="1400" b="0" dirty="0">
                          <a:solidFill>
                            <a:schemeClr val="tx1"/>
                          </a:solidFill>
                          <a:latin typeface="Gill Sans MT" panose="020B0502020104020203" pitchFamily="34" charset="0"/>
                          <a:cs typeface="Poppins Light" panose="00000400000000000000" pitchFamily="50" charset="0"/>
                        </a:rPr>
                        <a:t>Financing</a:t>
                      </a:r>
                      <a:endParaRPr lang="fr-FR" sz="1400" b="0" dirty="0">
                        <a:solidFill>
                          <a:schemeClr val="tx1"/>
                        </a:solidFill>
                        <a:latin typeface="Gill Sans MT" panose="020B0502020104020203" pitchFamily="34" charset="0"/>
                        <a:cs typeface="Poppins Light" panose="00000400000000000000" pitchFamily="50" charset="0"/>
                      </a:endParaRPr>
                    </a:p>
                  </a:txBody>
                  <a:tcPr vert="vert2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400" b="0" dirty="0">
                          <a:solidFill>
                            <a:schemeClr val="tx1"/>
                          </a:solidFill>
                          <a:latin typeface="Gill Sans MT" panose="020B0502020104020203" pitchFamily="34" charset="0"/>
                          <a:cs typeface="Poppins Light" panose="00000400000000000000" pitchFamily="50" charset="0"/>
                        </a:rPr>
                        <a:t>Demand</a:t>
                      </a:r>
                      <a:endParaRPr lang="fr-FR"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lang="fr-FR" sz="140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Gill Sans MT" panose="020B0502020104020203" pitchFamily="34" charset="0"/>
                          <a:cs typeface="Poppins Light" panose="00000400000000000000" pitchFamily="50" charset="0"/>
                        </a:rPr>
                        <a:t>Out-of-pocket expenditure is a challenge across all levels of care in both the public and private health sectors due to inadequate use of health insurance packages</a:t>
                      </a:r>
                    </a:p>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Gill Sans MT" panose="020B0502020104020203" pitchFamily="34" charset="0"/>
                          <a:cs typeface="Poppins Light" panose="00000400000000000000" pitchFamily="50" charset="0"/>
                        </a:rPr>
                        <a:t>Some of the private HFs, and PPMVs exhibit some flexibility in receiving payments on a case-by-case basis. Some of which include treatment on credit, and installment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45571868"/>
                  </a:ext>
                </a:extLst>
              </a:tr>
              <a:tr h="0">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vMerge="1">
                  <a:txBody>
                    <a:bodyPr/>
                    <a:lstStyle/>
                    <a:p>
                      <a:endParaRPr lang="fr-FR"/>
                    </a:p>
                  </a:txBody>
                  <a:tcPr>
                    <a:lnT w="12700" cap="flat" cmpd="sng" algn="ctr">
                      <a:solidFill>
                        <a:schemeClr val="bg1">
                          <a:lumMod val="50000"/>
                        </a:schemeClr>
                      </a:solidFill>
                      <a:prstDash val="solid"/>
                      <a:round/>
                      <a:headEnd type="none" w="med" len="med"/>
                      <a:tailEnd type="none" w="med" len="med"/>
                    </a:lnT>
                  </a:tcPr>
                </a:tc>
                <a:tc>
                  <a:txBody>
                    <a:bodyPr/>
                    <a:lstStyle/>
                    <a:p>
                      <a:r>
                        <a:rPr lang="en-US" sz="1400" dirty="0">
                          <a:latin typeface="Gill Sans MT" panose="020B0502020104020203" pitchFamily="34" charset="0"/>
                        </a:rPr>
                        <a:t>Supply</a:t>
                      </a:r>
                      <a:endParaRPr lang="fr-FR" sz="1400" dirty="0">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4AA19E"/>
                          </a:solidFill>
                          <a:latin typeface="Gill Sans MT" panose="020B0502020104020203" pitchFamily="34" charset="0"/>
                          <a:cs typeface="Poppins Light" panose="00000400000000000000" pitchFamily="50" charset="0"/>
                        </a:rPr>
                        <a:t>X</a:t>
                      </a: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lang="fr-FR" sz="1400" b="1"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indent="-91440">
                        <a:buFont typeface="Wingdings" panose="05000000000000000000" pitchFamily="2" charset="2"/>
                        <a:buChar char="§"/>
                      </a:pPr>
                      <a:r>
                        <a:rPr lang="en-US" sz="1200" dirty="0">
                          <a:latin typeface="Gill Sans MT" panose="020B0502020104020203" pitchFamily="34" charset="0"/>
                          <a:cs typeface="Poppins Light" panose="00000400000000000000" pitchFamily="50" charset="0"/>
                        </a:rPr>
                        <a:t>Low coverage of the SHIS and this is largely due to the challenges around obtaining the commitment of the formal sector to join the SHIS. </a:t>
                      </a:r>
                    </a:p>
                    <a:p>
                      <a:pPr marL="91440" indent="-91440">
                        <a:buFont typeface="Wingdings" panose="05000000000000000000" pitchFamily="2" charset="2"/>
                        <a:buChar char="§"/>
                      </a:pPr>
                      <a:r>
                        <a:rPr lang="en-US" sz="1200" dirty="0">
                          <a:latin typeface="Gill Sans MT" panose="020B0502020104020203" pitchFamily="34" charset="0"/>
                          <a:cs typeface="Poppins Light" panose="00000400000000000000" pitchFamily="50" charset="0"/>
                        </a:rPr>
                        <a:t>Although strategies to ensure more private sector participation are underway, only 43 private health facilities are currently empaneled under the SHIS.</a:t>
                      </a:r>
                    </a:p>
                    <a:p>
                      <a:pPr marL="91440" indent="-91440">
                        <a:buFont typeface="Wingdings" panose="05000000000000000000" pitchFamily="2" charset="2"/>
                        <a:buChar char="§"/>
                      </a:pPr>
                      <a:r>
                        <a:rPr lang="en-US" sz="1200" dirty="0">
                          <a:latin typeface="Gill Sans MT" panose="020B0502020104020203" pitchFamily="34" charset="0"/>
                          <a:cs typeface="Poppins Light" panose="00000400000000000000" pitchFamily="50" charset="0"/>
                        </a:rPr>
                        <a:t>There is no evidence of CPs being empaneled on the SHI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11279864"/>
                  </a:ext>
                </a:extLst>
              </a:tr>
              <a:tr h="152400">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vMerge="1">
                  <a:txBody>
                    <a:bodyPr/>
                    <a:lstStyle/>
                    <a:p>
                      <a:endParaRPr lang="fr-FR" b="0" dirty="0">
                        <a:solidFill>
                          <a:schemeClr val="tx1"/>
                        </a:solidFill>
                        <a:latin typeface="Gill Sans MT" panose="020B0502020104020203" pitchFamily="34" charset="0"/>
                        <a:cs typeface="Poppins Light" panose="00000400000000000000" pitchFamily="50" charset="0"/>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400" b="0" dirty="0">
                          <a:solidFill>
                            <a:schemeClr val="tx1"/>
                          </a:solidFill>
                          <a:latin typeface="Gill Sans MT" panose="020B0502020104020203" pitchFamily="34" charset="0"/>
                          <a:cs typeface="Poppins Light" panose="00000400000000000000" pitchFamily="50" charset="0"/>
                        </a:rPr>
                        <a:t>Subsidies</a:t>
                      </a:r>
                      <a:endParaRPr lang="fr-FR"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400" b="1" dirty="0">
                          <a:solidFill>
                            <a:srgbClr val="4AA19E"/>
                          </a:solidFill>
                          <a:latin typeface="Gill Sans MT" panose="020B0502020104020203" pitchFamily="34" charset="0"/>
                          <a:cs typeface="Poppins Light" panose="00000400000000000000" pitchFamily="50" charset="0"/>
                        </a:rPr>
                        <a:t>X</a:t>
                      </a:r>
                      <a:endParaRPr lang="fr-FR" sz="1400" b="1"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indent="-91440">
                        <a:buFont typeface="Wingdings" panose="05000000000000000000" pitchFamily="2" charset="2"/>
                        <a:buChar char="§"/>
                      </a:pPr>
                      <a:r>
                        <a:rPr lang="en-US" sz="1200" dirty="0">
                          <a:latin typeface="Gill Sans MT" panose="020B0502020104020203" pitchFamily="34" charset="0"/>
                          <a:cs typeface="Poppins Light" panose="00000400000000000000" pitchFamily="50" charset="0"/>
                        </a:rPr>
                        <a:t>Implementing partners support is skewed towards public healthcare facilities compared to private healthcare faciliti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77629217"/>
                  </a:ext>
                </a:extLst>
              </a:tr>
              <a:tr h="152400">
                <a:tc vMerge="1">
                  <a:txBody>
                    <a:bodyPr/>
                    <a:lstStyle/>
                    <a:p>
                      <a:endParaRPr lang="fr-FR"/>
                    </a:p>
                  </a:txBody>
                  <a:tcPr/>
                </a:tc>
                <a:tc vMerge="1">
                  <a:txBody>
                    <a:bodyPr/>
                    <a:lstStyle/>
                    <a:p>
                      <a:endParaRPr lang="fr-FR" b="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r>
                        <a:rPr lang="en-US" sz="1400" b="0" dirty="0">
                          <a:solidFill>
                            <a:schemeClr val="tx1"/>
                          </a:solidFill>
                          <a:latin typeface="Gill Sans MT" panose="020B0502020104020203" pitchFamily="34" charset="0"/>
                          <a:cs typeface="Poppins Light" panose="00000400000000000000" pitchFamily="50" charset="0"/>
                        </a:rPr>
                        <a:t>Business</a:t>
                      </a:r>
                      <a:endParaRPr lang="fr-FR"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lang="fr-FR" sz="140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91440" indent="-91440">
                        <a:buFont typeface="Wingdings" panose="05000000000000000000" pitchFamily="2" charset="2"/>
                        <a:buChar char="§"/>
                      </a:pPr>
                      <a:r>
                        <a:rPr lang="en-US" sz="1200" dirty="0">
                          <a:latin typeface="Gill Sans MT" panose="020B0502020104020203" pitchFamily="34" charset="0"/>
                          <a:cs typeface="Poppins Light" panose="00000400000000000000" pitchFamily="50" charset="0"/>
                        </a:rPr>
                        <a:t>Most private providers lament the lack of access to financing to improve their current operations and/or scale up their businesses for more profitability.</a:t>
                      </a:r>
                      <a:endParaRPr lang="fr-FR" sz="1200" dirty="0">
                        <a:latin typeface="Gill Sans MT" panose="020B0502020104020203" pitchFamily="34" charset="0"/>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425990695"/>
                  </a:ext>
                </a:extLst>
              </a:tr>
            </a:tbl>
          </a:graphicData>
        </a:graphic>
      </p:graphicFrame>
      <p:sp>
        <p:nvSpPr>
          <p:cNvPr id="5" name="TextBox 4">
            <a:extLst>
              <a:ext uri="{FF2B5EF4-FFF2-40B4-BE49-F238E27FC236}">
                <a16:creationId xmlns:a16="http://schemas.microsoft.com/office/drawing/2014/main" id="{1CABAE01-A261-4112-82DC-FE0C2CA8AB36}"/>
              </a:ext>
            </a:extLst>
          </p:cNvPr>
          <p:cNvSpPr txBox="1"/>
          <p:nvPr/>
        </p:nvSpPr>
        <p:spPr>
          <a:xfrm>
            <a:off x="8224364" y="438026"/>
            <a:ext cx="3282754" cy="30777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Poppins Light" panose="00000400000000000000" pitchFamily="50" charset="0"/>
              </a:rPr>
              <a:t>A=Absent   I=Inadequate    M=Mismatch</a:t>
            </a:r>
            <a:endParaRPr kumimoji="0" lang="fr-FR"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Poppins Light" panose="00000400000000000000" pitchFamily="50" charset="0"/>
            </a:endParaRPr>
          </a:p>
        </p:txBody>
      </p:sp>
    </p:spTree>
    <p:extLst>
      <p:ext uri="{BB962C8B-B14F-4D97-AF65-F5344CB8AC3E}">
        <p14:creationId xmlns:p14="http://schemas.microsoft.com/office/powerpoint/2010/main" val="1770268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FC407D5F-3E7A-4165-9416-D4CF78C317C4}"/>
              </a:ext>
            </a:extLst>
          </p:cNvPr>
          <p:cNvGraphicFramePr>
            <a:graphicFrameLocks noGrp="1"/>
          </p:cNvGraphicFramePr>
          <p:nvPr/>
        </p:nvGraphicFramePr>
        <p:xfrm>
          <a:off x="335744" y="348379"/>
          <a:ext cx="11520512" cy="6294120"/>
        </p:xfrm>
        <a:graphic>
          <a:graphicData uri="http://schemas.openxmlformats.org/drawingml/2006/table">
            <a:tbl>
              <a:tblPr firstRow="1" bandRow="1">
                <a:tableStyleId>{5C22544A-7EE6-4342-B048-85BDC9FD1C3A}</a:tableStyleId>
              </a:tblPr>
              <a:tblGrid>
                <a:gridCol w="662327">
                  <a:extLst>
                    <a:ext uri="{9D8B030D-6E8A-4147-A177-3AD203B41FA5}">
                      <a16:colId xmlns:a16="http://schemas.microsoft.com/office/drawing/2014/main" val="171669210"/>
                    </a:ext>
                  </a:extLst>
                </a:gridCol>
                <a:gridCol w="400412">
                  <a:extLst>
                    <a:ext uri="{9D8B030D-6E8A-4147-A177-3AD203B41FA5}">
                      <a16:colId xmlns:a16="http://schemas.microsoft.com/office/drawing/2014/main" val="3580911924"/>
                    </a:ext>
                  </a:extLst>
                </a:gridCol>
                <a:gridCol w="974998">
                  <a:extLst>
                    <a:ext uri="{9D8B030D-6E8A-4147-A177-3AD203B41FA5}">
                      <a16:colId xmlns:a16="http://schemas.microsoft.com/office/drawing/2014/main" val="4264102312"/>
                    </a:ext>
                  </a:extLst>
                </a:gridCol>
                <a:gridCol w="420321">
                  <a:extLst>
                    <a:ext uri="{9D8B030D-6E8A-4147-A177-3AD203B41FA5}">
                      <a16:colId xmlns:a16="http://schemas.microsoft.com/office/drawing/2014/main" val="2475868262"/>
                    </a:ext>
                  </a:extLst>
                </a:gridCol>
                <a:gridCol w="403409">
                  <a:extLst>
                    <a:ext uri="{9D8B030D-6E8A-4147-A177-3AD203B41FA5}">
                      <a16:colId xmlns:a16="http://schemas.microsoft.com/office/drawing/2014/main" val="3357470775"/>
                    </a:ext>
                  </a:extLst>
                </a:gridCol>
                <a:gridCol w="426470">
                  <a:extLst>
                    <a:ext uri="{9D8B030D-6E8A-4147-A177-3AD203B41FA5}">
                      <a16:colId xmlns:a16="http://schemas.microsoft.com/office/drawing/2014/main" val="1025516285"/>
                    </a:ext>
                  </a:extLst>
                </a:gridCol>
                <a:gridCol w="8232575">
                  <a:extLst>
                    <a:ext uri="{9D8B030D-6E8A-4147-A177-3AD203B41FA5}">
                      <a16:colId xmlns:a16="http://schemas.microsoft.com/office/drawing/2014/main" val="191171639"/>
                    </a:ext>
                  </a:extLst>
                </a:gridCol>
              </a:tblGrid>
              <a:tr h="0">
                <a:tc gridSpan="7">
                  <a:txBody>
                    <a:bodyPr/>
                    <a:lstStyle/>
                    <a:p>
                      <a:r>
                        <a:rPr lang="en-US" sz="1800" b="0" noProof="0" dirty="0">
                          <a:latin typeface="Gill Sans MT" panose="020B0502020104020203" pitchFamily="34" charset="0"/>
                          <a:cs typeface="Poppins Light" panose="00000400000000000000" pitchFamily="50" charset="0"/>
                        </a:rPr>
                        <a:t>Worksheet : Market system performance for MNH in Ebonyi</a:t>
                      </a:r>
                    </a:p>
                  </a:txBody>
                  <a:tcPr>
                    <a:lnL w="12700" cmpd="sng">
                      <a:noFill/>
                    </a:lnL>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AA19E"/>
                    </a:solidFill>
                  </a:tcPr>
                </a:tc>
                <a:tc hMerge="1">
                  <a:txBody>
                    <a:bodyPr/>
                    <a:lstStyle/>
                    <a:p>
                      <a:endParaRPr lang="fr-FR"/>
                    </a:p>
                  </a:txBody>
                  <a:tcPr/>
                </a:tc>
                <a:tc hMerge="1">
                  <a:txBody>
                    <a:bodyPr/>
                    <a:lstStyle/>
                    <a:p>
                      <a:endParaRPr lang="fr-FR"/>
                    </a:p>
                  </a:txBody>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B0D7E1"/>
                    </a:solidFill>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2F8CA8"/>
                    </a:solidFill>
                  </a:tcPr>
                </a:tc>
                <a:tc hMerge="1">
                  <a:txBody>
                    <a:bodyPr/>
                    <a:lstStyle/>
                    <a:p>
                      <a:pPr algn="ctr"/>
                      <a:endParaRPr lang="en-US" sz="1400" b="0" noProof="0" dirty="0">
                        <a:latin typeface="Arial" panose="020B0604020202020204" pitchFamily="34" charset="0"/>
                        <a:cs typeface="Arial" panose="020B0604020202020204" pitchFamily="34" charset="0"/>
                      </a:endParaRPr>
                    </a:p>
                  </a:txBody>
                  <a:tcPr>
                    <a:solidFill>
                      <a:srgbClr val="B0D7E1"/>
                    </a:solidFill>
                  </a:tcPr>
                </a:tc>
                <a:tc hMerge="1">
                  <a:txBody>
                    <a:bodyPr/>
                    <a:lstStyle/>
                    <a:p>
                      <a:endParaRPr lang="en-US" sz="1400" b="0" noProof="0" dirty="0">
                        <a:latin typeface="Arial" panose="020B0604020202020204" pitchFamily="34" charset="0"/>
                        <a:cs typeface="Arial" panose="020B0604020202020204" pitchFamily="34" charset="0"/>
                      </a:endParaRPr>
                    </a:p>
                  </a:txBody>
                  <a:tcPr>
                    <a:solidFill>
                      <a:srgbClr val="4BA3BA"/>
                    </a:solidFill>
                  </a:tcPr>
                </a:tc>
                <a:extLst>
                  <a:ext uri="{0D108BD9-81ED-4DB2-BD59-A6C34878D82A}">
                    <a16:rowId xmlns:a16="http://schemas.microsoft.com/office/drawing/2014/main" val="2651529084"/>
                  </a:ext>
                </a:extLst>
              </a:tr>
              <a:tr h="0">
                <a:tc gridSpan="3">
                  <a:txBody>
                    <a:bodyPr/>
                    <a:lstStyle/>
                    <a:p>
                      <a:r>
                        <a:rPr lang="en-US" sz="1400" b="0" noProof="0" dirty="0">
                          <a:solidFill>
                            <a:schemeClr val="bg1"/>
                          </a:solidFill>
                          <a:latin typeface="Gill Sans MT" panose="020B0502020104020203" pitchFamily="34" charset="0"/>
                          <a:cs typeface="Poppins Light" panose="00000400000000000000" pitchFamily="50" charset="0"/>
                        </a:rPr>
                        <a:t>Market characters</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4AA19E"/>
                    </a:solidFill>
                  </a:tcPr>
                </a:tc>
                <a:tc hMerge="1">
                  <a:txBody>
                    <a:bodyPr/>
                    <a:lstStyle/>
                    <a:p>
                      <a:endParaRPr lang="en-US" dirty="0">
                        <a:latin typeface="Poppins Medium"/>
                      </a:endParaRPr>
                    </a:p>
                  </a:txBody>
                  <a:tcPr/>
                </a:tc>
                <a:tc hMerge="1">
                  <a:txBody>
                    <a:bodyPr/>
                    <a:lstStyle/>
                    <a:p>
                      <a:endParaRPr lang="fr-FR"/>
                    </a:p>
                  </a:txBody>
                  <a:tcPr>
                    <a:lnL w="12700" cmpd="sng">
                      <a:noFill/>
                    </a:lnL>
                  </a:tcPr>
                </a:tc>
                <a:tc>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A</a:t>
                      </a:r>
                    </a:p>
                  </a:txBody>
                  <a:tcPr>
                    <a:lnL w="12700" cmpd="sng">
                      <a:noFill/>
                    </a:lnL>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I</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a:txBody>
                    <a:bodyPr/>
                    <a:lstStyle/>
                    <a:p>
                      <a:pPr algn="ctr"/>
                      <a:r>
                        <a:rPr lang="en-US" sz="1400" b="0" noProof="0" dirty="0">
                          <a:solidFill>
                            <a:schemeClr val="bg1"/>
                          </a:solidFill>
                          <a:latin typeface="Gill Sans MT" panose="020B0502020104020203" pitchFamily="34" charset="0"/>
                          <a:cs typeface="Poppins Light" panose="00000400000000000000" pitchFamily="50" charset="0"/>
                        </a:rPr>
                        <a:t>M</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9C9C7"/>
                    </a:solidFill>
                  </a:tcPr>
                </a:tc>
                <a:tc>
                  <a:txBody>
                    <a:bodyPr/>
                    <a:lstStyle/>
                    <a:p>
                      <a:r>
                        <a:rPr lang="en-US" sz="1400" b="0" noProof="0" dirty="0">
                          <a:solidFill>
                            <a:schemeClr val="bg1"/>
                          </a:solidFill>
                          <a:latin typeface="Gill Sans MT" panose="020B0502020104020203" pitchFamily="34" charset="0"/>
                          <a:cs typeface="Poppins Light" panose="00000400000000000000" pitchFamily="50" charset="0"/>
                        </a:rPr>
                        <a:t>Observations</a:t>
                      </a:r>
                    </a:p>
                  </a:txBody>
                  <a:tcP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extLst>
                  <a:ext uri="{0D108BD9-81ED-4DB2-BD59-A6C34878D82A}">
                    <a16:rowId xmlns:a16="http://schemas.microsoft.com/office/drawing/2014/main" val="1908922731"/>
                  </a:ext>
                </a:extLst>
              </a:tr>
              <a:tr h="122251">
                <a:tc>
                  <a:txBody>
                    <a:bodyPr/>
                    <a:lstStyle/>
                    <a:p>
                      <a:pPr algn="ctr">
                        <a:spcBef>
                          <a:spcPts val="0"/>
                        </a:spcBef>
                        <a:spcAft>
                          <a:spcPts val="0"/>
                        </a:spcAft>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rowSpan="2">
                  <a:txBody>
                    <a:bodyPr/>
                    <a:lstStyle/>
                    <a:p>
                      <a:pPr algn="ctr">
                        <a:spcAft>
                          <a:spcPts val="0"/>
                        </a:spcAft>
                      </a:pPr>
                      <a:r>
                        <a:rPr lang="en-US" sz="1400" b="0" noProof="0" dirty="0">
                          <a:solidFill>
                            <a:schemeClr val="tx1"/>
                          </a:solidFill>
                          <a:latin typeface="Gill Sans MT" panose="020B0502020104020203" pitchFamily="34" charset="0"/>
                          <a:cs typeface="Poppins Light" panose="00000400000000000000" pitchFamily="50" charset="0"/>
                        </a:rPr>
                        <a:t>Info</a:t>
                      </a:r>
                    </a:p>
                  </a:txBody>
                  <a:tcPr vert="vert27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spcAft>
                          <a:spcPts val="600"/>
                        </a:spcAft>
                      </a:pPr>
                      <a:r>
                        <a:rPr lang="en-US" sz="1400" b="0" noProof="0" dirty="0">
                          <a:solidFill>
                            <a:schemeClr val="tx1"/>
                          </a:solidFill>
                          <a:latin typeface="Gill Sans MT" panose="020B0502020104020203" pitchFamily="34" charset="0"/>
                          <a:cs typeface="Poppins Light" panose="00000400000000000000" pitchFamily="50" charset="0"/>
                        </a:rPr>
                        <a:t>Demand</a:t>
                      </a:r>
                    </a:p>
                  </a:txBody>
                  <a:tcPr anchor="ctr">
                    <a:lnL w="12700" cap="flat" cmpd="sng" algn="ctr">
                      <a:solidFill>
                        <a:schemeClr val="bg1">
                          <a:lumMod val="65000"/>
                        </a:schemeClr>
                      </a:solidFill>
                      <a:prstDash val="solid"/>
                      <a:round/>
                      <a:headEnd type="none" w="med" len="med"/>
                      <a:tailEnd type="none" w="med" len="med"/>
                    </a:lnL>
                    <a:lnB w="12700" cap="flat" cmpd="sng" algn="ctr">
                      <a:solidFill>
                        <a:schemeClr val="bg1">
                          <a:lumMod val="65000"/>
                        </a:schemeClr>
                      </a:solidFill>
                      <a:prstDash val="solid"/>
                      <a:round/>
                      <a:headEnd type="none" w="med" len="med"/>
                      <a:tailEnd type="none" w="med" len="med"/>
                    </a:lnB>
                    <a:noFill/>
                  </a:tcPr>
                </a:tc>
                <a:tc>
                  <a:txBody>
                    <a:bodyPr/>
                    <a:lstStyle/>
                    <a:p>
                      <a:pPr algn="ctr"/>
                      <a:endParaRPr lang="en-US" sz="1400" b="1" noProof="0" dirty="0">
                        <a:solidFill>
                          <a:srgbClr val="4AA19E"/>
                        </a:solidFill>
                        <a:highlight>
                          <a:srgbClr val="FFFF00"/>
                        </a:highlight>
                        <a:latin typeface="Gill Sans MT" panose="020B0502020104020203" pitchFamily="34" charset="0"/>
                        <a:cs typeface="Poppins Light" panose="00000400000000000000" pitchFamily="50" charset="0"/>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4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400" b="1" noProof="0" dirty="0">
                        <a:solidFill>
                          <a:srgbClr val="4AA19E"/>
                        </a:solidFill>
                        <a:highlight>
                          <a:srgbClr val="FFFF00"/>
                        </a:highlight>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33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noProof="0" dirty="0">
                          <a:solidFill>
                            <a:schemeClr val="tx1"/>
                          </a:solidFill>
                          <a:latin typeface="Gill Sans MT" panose="020B0502020104020203" pitchFamily="34" charset="0"/>
                          <a:cs typeface="Poppins Light" panose="00000400000000000000" pitchFamily="50" charset="0"/>
                        </a:rPr>
                        <a:t>Inadequate initiatives to raise awareness and knowledge of benefits of MH services and to engage community to support MH</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46944489"/>
                  </a:ext>
                </a:extLst>
              </a:tr>
              <a:tr h="122251">
                <a:tc rowSpan="4">
                  <a:txBody>
                    <a:bodyPr/>
                    <a:lstStyle/>
                    <a:p>
                      <a:pPr algn="ctr">
                        <a:spcBef>
                          <a:spcPts val="0"/>
                        </a:spcBef>
                        <a:spcAft>
                          <a:spcPts val="0"/>
                        </a:spcAft>
                      </a:pPr>
                      <a:r>
                        <a:rPr lang="en-US" sz="1400" noProof="0" dirty="0">
                          <a:solidFill>
                            <a:schemeClr val="bg1"/>
                          </a:solidFill>
                          <a:latin typeface="Gill Sans MT" panose="020B0502020104020203" pitchFamily="34" charset="0"/>
                          <a:cs typeface="Poppins" panose="00000500000000000000" pitchFamily="50" charset="0"/>
                        </a:rPr>
                        <a:t>Supporting Functions</a:t>
                      </a:r>
                    </a:p>
                  </a:txBody>
                  <a:tcPr vert="vert270">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vMerge="1">
                  <a:txBody>
                    <a:bodyPr/>
                    <a:lstStyle/>
                    <a:p>
                      <a:pPr>
                        <a:spcAft>
                          <a:spcPts val="600"/>
                        </a:spcAft>
                      </a:pPr>
                      <a:endParaRPr lang="en-US" sz="1400" b="0"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spcAft>
                          <a:spcPts val="600"/>
                        </a:spcAft>
                      </a:pPr>
                      <a:r>
                        <a:rPr lang="en-US" sz="1400" b="0" noProof="0" dirty="0">
                          <a:solidFill>
                            <a:schemeClr val="tx1"/>
                          </a:solidFill>
                          <a:latin typeface="Gill Sans MT" panose="020B0502020104020203" pitchFamily="34" charset="0"/>
                          <a:cs typeface="Poppins Light" panose="00000400000000000000" pitchFamily="50" charset="0"/>
                        </a:rPr>
                        <a:t>Supply</a:t>
                      </a:r>
                    </a:p>
                  </a:txBody>
                  <a:tcPr anchor="ct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400" b="1" noProof="0" dirty="0">
                          <a:solidFill>
                            <a:srgbClr val="4AA19E"/>
                          </a:solidFill>
                          <a:latin typeface="Gill Sans MT" panose="020B0502020104020203" pitchFamily="34" charset="0"/>
                          <a:cs typeface="Poppins Light" panose="00000400000000000000" pitchFamily="50" charset="0"/>
                        </a:rPr>
                        <a:t>X</a:t>
                      </a:r>
                    </a:p>
                    <a:p>
                      <a:pPr algn="ct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400"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indent="-91440">
                        <a:buFont typeface="Wingdings" panose="05000000000000000000" pitchFamily="2" charset="2"/>
                        <a:buChar char="§"/>
                      </a:pPr>
                      <a:r>
                        <a:rPr lang="en-US" sz="1200" b="0" dirty="0">
                          <a:solidFill>
                            <a:schemeClr val="tx1"/>
                          </a:solidFill>
                          <a:latin typeface="Gill Sans MT" panose="020B0502020104020203" pitchFamily="34" charset="0"/>
                          <a:cs typeface="Poppins Light" panose="00000400000000000000" pitchFamily="50" charset="0"/>
                        </a:rPr>
                        <a:t>At the private HF level, most facilities are either unaware of a reporting platform or are aware and do not report. There is also no incentive for private providers to repor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14310793"/>
                  </a:ext>
                </a:extLst>
              </a:tr>
              <a:tr h="122251">
                <a:tc vMerge="1">
                  <a:txBody>
                    <a:bodyPr/>
                    <a:lstStyle/>
                    <a:p>
                      <a:pPr algn="ctr">
                        <a:spcBef>
                          <a:spcPts val="0"/>
                        </a:spcBef>
                        <a:spcAft>
                          <a:spcPts val="0"/>
                        </a:spcAft>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rowSpan="3" gridSpan="2">
                  <a:txBody>
                    <a:bodyPr/>
                    <a:lstStyle/>
                    <a:p>
                      <a:pPr>
                        <a:spcAft>
                          <a:spcPts val="600"/>
                        </a:spcAft>
                      </a:pPr>
                      <a:r>
                        <a:rPr lang="en-US" sz="1400" b="0" noProof="0" dirty="0">
                          <a:solidFill>
                            <a:schemeClr val="tx1"/>
                          </a:solidFill>
                          <a:latin typeface="Gill Sans MT" panose="020B0502020104020203" pitchFamily="34" charset="0"/>
                          <a:cs typeface="Poppins Light" panose="00000400000000000000" pitchFamily="50" charset="0"/>
                        </a:rPr>
                        <a:t>Skills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rowSpan="3" hMerge="1">
                  <a:txBody>
                    <a:bodyPr/>
                    <a:lstStyle/>
                    <a:p>
                      <a:endParaRPr lang="fr-FR"/>
                    </a:p>
                  </a:txBody>
                  <a:tcPr/>
                </a:tc>
                <a:tc>
                  <a:txBody>
                    <a:bodyPr/>
                    <a:lstStyle/>
                    <a:p>
                      <a:pPr algn="ct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400"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noProof="0" dirty="0">
                          <a:solidFill>
                            <a:schemeClr val="tx1"/>
                          </a:solidFill>
                          <a:latin typeface="Gill Sans MT" panose="020B0502020104020203" pitchFamily="34" charset="0"/>
                          <a:cs typeface="Poppins Light" panose="00000400000000000000" pitchFamily="50" charset="0"/>
                        </a:rPr>
                        <a:t>CLINICAL CAPACITY:  </a:t>
                      </a:r>
                      <a:r>
                        <a:rPr lang="en-US" sz="1200" noProof="0" dirty="0">
                          <a:solidFill>
                            <a:schemeClr val="tx1"/>
                          </a:solidFill>
                          <a:latin typeface="Gill Sans MT" panose="020B0502020104020203" pitchFamily="34" charset="0"/>
                          <a:cs typeface="Poppins Light" panose="00000400000000000000" pitchFamily="50" charset="0"/>
                        </a:rPr>
                        <a:t>In primary and secondary public and private health facilities, doctors, and nurses, are mostly inadequate with CHEWs taking up the roles of nurses in some instances while pharmacists are completely missing. pharmacy technicians and CHEWs dispense drugs</a:t>
                      </a:r>
                      <a:endParaRPr lang="en-US" sz="1200" b="0" noProof="0" dirty="0">
                        <a:solidFill>
                          <a:schemeClr val="tx1"/>
                        </a:solidFill>
                        <a:latin typeface="Gill Sans MT" panose="020B0502020104020203" pitchFamily="34" charset="0"/>
                        <a:cs typeface="Poppins Light" panose="00000400000000000000" pitchFamily="50"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443738"/>
                  </a:ext>
                </a:extLst>
              </a:tr>
              <a:tr h="122251">
                <a:tc vMerge="1">
                  <a:txBody>
                    <a:bodyPr/>
                    <a:lstStyle/>
                    <a:p>
                      <a:pPr algn="ctr">
                        <a:spcBef>
                          <a:spcPts val="0"/>
                        </a:spcBef>
                        <a:spcAft>
                          <a:spcPts val="0"/>
                        </a:spcAft>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gridSpan="2" vMerge="1">
                  <a:txBody>
                    <a:bodyPr/>
                    <a:lstStyle/>
                    <a:p>
                      <a:pPr>
                        <a:spcAft>
                          <a:spcPts val="600"/>
                        </a:spcAft>
                      </a:pPr>
                      <a:endParaRPr lang="en-US" sz="1400" b="0"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vMerge="1">
                  <a:txBody>
                    <a:bodyPr/>
                    <a:lstStyle/>
                    <a:p>
                      <a:endParaRPr lang="fr-FR"/>
                    </a:p>
                  </a:txBody>
                  <a:tcPr/>
                </a:tc>
                <a:tc>
                  <a:txBody>
                    <a:bodyPr/>
                    <a:lstStyle/>
                    <a:p>
                      <a:pPr algn="ct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400"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noProof="0" dirty="0">
                          <a:solidFill>
                            <a:schemeClr val="tx1"/>
                          </a:solidFill>
                          <a:latin typeface="Gill Sans MT" panose="020B0502020104020203" pitchFamily="34" charset="0"/>
                          <a:cs typeface="Poppins Light" panose="00000400000000000000" pitchFamily="50" charset="0"/>
                        </a:rPr>
                        <a:t>HEALTH FACILITIES/HRH: The infrastructure in the public sector exists in most cases, since the current administration places a lot of emphasis on infrastructure but the HRH  to maximize the investment in the infrastructure is not availabl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83694076"/>
                  </a:ext>
                </a:extLst>
              </a:tr>
              <a:tr h="122251">
                <a:tc vMerge="1">
                  <a:txBody>
                    <a:bodyPr/>
                    <a:lstStyle/>
                    <a:p>
                      <a:pPr algn="ctr">
                        <a:spcBef>
                          <a:spcPts val="0"/>
                        </a:spcBef>
                        <a:spcAft>
                          <a:spcPts val="0"/>
                        </a:spcAft>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4AA19E"/>
                    </a:solidFill>
                  </a:tcPr>
                </a:tc>
                <a:tc gridSpan="2" vMerge="1">
                  <a:txBody>
                    <a:bodyPr/>
                    <a:lstStyle/>
                    <a:p>
                      <a:pPr>
                        <a:spcAft>
                          <a:spcPts val="600"/>
                        </a:spcAft>
                      </a:pPr>
                      <a:endParaRPr lang="en-US" sz="1400" b="0" noProof="0" dirty="0">
                        <a:solidFill>
                          <a:schemeClr val="tx1"/>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vMerge="1">
                  <a:txBody>
                    <a:bodyPr/>
                    <a:lstStyle/>
                    <a:p>
                      <a:endParaRPr lang="fr-FR"/>
                    </a:p>
                  </a:txBody>
                  <a:tcPr/>
                </a:tc>
                <a:tc>
                  <a:txBody>
                    <a:bodyPr/>
                    <a:lstStyle/>
                    <a:p>
                      <a:pPr algn="ct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400"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solidFill>
                            <a:schemeClr val="tx1"/>
                          </a:solidFill>
                          <a:latin typeface="Gill Sans MT" panose="020B0502020104020203" pitchFamily="34" charset="0"/>
                          <a:cs typeface="Poppins Light" panose="00000400000000000000" pitchFamily="50" charset="0"/>
                        </a:rPr>
                        <a:t>There are significant gaps in the availability of skilled healthcare workers in the state but this is more nefarious in the rural areas where TBAs have filled the vacuum created by the absence of SBAs and this has had negative implications for MNH outcomes in the stat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1258650"/>
                  </a:ext>
                </a:extLst>
              </a:tr>
              <a:tr h="244502">
                <a:tc rowSpan="5">
                  <a:txBody>
                    <a:bodyPr/>
                    <a:lstStyle/>
                    <a:p>
                      <a:pPr algn="ctr">
                        <a:spcBef>
                          <a:spcPts val="0"/>
                        </a:spcBef>
                        <a:spcAft>
                          <a:spcPts val="0"/>
                        </a:spcAft>
                      </a:pPr>
                      <a:r>
                        <a:rPr lang="en-US" sz="1400" noProof="0" dirty="0">
                          <a:solidFill>
                            <a:schemeClr val="bg1"/>
                          </a:solidFill>
                          <a:latin typeface="Gill Sans MT" panose="020B0502020104020203" pitchFamily="34" charset="0"/>
                          <a:cs typeface="Poppins" panose="00000500000000000000" pitchFamily="50" charset="0"/>
                        </a:rPr>
                        <a:t>Rules &amp; Regs</a:t>
                      </a:r>
                    </a:p>
                  </a:txBody>
                  <a:tcPr vert="vert270">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gridSpan="2">
                  <a:txBody>
                    <a:bodyPr/>
                    <a:lstStyle/>
                    <a:p>
                      <a:pPr>
                        <a:spcAft>
                          <a:spcPts val="600"/>
                        </a:spcAft>
                      </a:pPr>
                      <a:r>
                        <a:rPr lang="en-US" sz="1400" b="0" noProof="0" dirty="0">
                          <a:solidFill>
                            <a:schemeClr val="tx1"/>
                          </a:solidFill>
                          <a:latin typeface="Gill Sans MT" panose="020B0502020104020203" pitchFamily="34" charset="0"/>
                          <a:cs typeface="Poppins Light" panose="00000400000000000000" pitchFamily="50" charset="0"/>
                        </a:rPr>
                        <a:t>Regulations (Social)</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fr-FR"/>
                    </a:p>
                  </a:txBody>
                  <a:tcPr>
                    <a:lnL w="12700" cap="flat" cmpd="sng" algn="ctr">
                      <a:solidFill>
                        <a:schemeClr val="bg1">
                          <a:lumMod val="50000"/>
                        </a:schemeClr>
                      </a:solidFill>
                      <a:prstDash val="solid"/>
                      <a:round/>
                      <a:headEnd type="none" w="med" len="med"/>
                      <a:tailEnd type="none" w="med" len="med"/>
                    </a:lnL>
                  </a:tcPr>
                </a:tc>
                <a:tc>
                  <a:txBody>
                    <a:bodyPr/>
                    <a:lstStyle/>
                    <a:p>
                      <a:pPr algn="ct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indent="-91440">
                        <a:buFont typeface="Wingdings" panose="05000000000000000000" pitchFamily="2" charset="2"/>
                        <a:buChar char="§"/>
                      </a:pPr>
                      <a:r>
                        <a:rPr lang="en-US" sz="1200" b="0" dirty="0">
                          <a:solidFill>
                            <a:schemeClr val="tx1"/>
                          </a:solidFill>
                          <a:latin typeface="Gill Sans MT" panose="020B0502020104020203" pitchFamily="34" charset="0"/>
                          <a:cs typeface="Poppins Light" panose="00000400000000000000" pitchFamily="50" charset="0"/>
                        </a:rPr>
                        <a:t>MNH GUIDELINES: Guidelines for regulating services provided in the private sector is line with what operates at the national levels both for CPs, PPMVs and HFs. However, level of adoption by providers varies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3054741"/>
                  </a:ext>
                </a:extLst>
              </a:tr>
              <a:tr h="122251">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gridSpan="2">
                  <a:txBody>
                    <a:bodyPr/>
                    <a:lstStyle/>
                    <a:p>
                      <a:pPr>
                        <a:spcAft>
                          <a:spcPts val="600"/>
                        </a:spcAft>
                      </a:pPr>
                      <a:r>
                        <a:rPr lang="en-US" sz="1400" b="0" noProof="0" dirty="0">
                          <a:solidFill>
                            <a:schemeClr val="tx1"/>
                          </a:solidFill>
                          <a:latin typeface="Gill Sans MT" panose="020B0502020104020203" pitchFamily="34" charset="0"/>
                          <a:cs typeface="Poppins Light" panose="00000400000000000000" pitchFamily="50" charset="0"/>
                        </a:rPr>
                        <a:t>Regulation (Economic)</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b="0" noProof="0" dirty="0">
                          <a:solidFill>
                            <a:schemeClr val="tx1"/>
                          </a:solidFill>
                          <a:latin typeface="Gill Sans MT" panose="020B0502020104020203" pitchFamily="34" charset="0"/>
                          <a:cs typeface="Poppins Light" panose="00000400000000000000" pitchFamily="50" charset="0"/>
                        </a:rPr>
                        <a:t>Tariffs, Taxes</a:t>
                      </a:r>
                    </a:p>
                  </a:txBody>
                  <a:tcPr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hMerge="1">
                  <a:txBody>
                    <a:bodyPr/>
                    <a:lstStyle/>
                    <a:p>
                      <a:endParaRPr lang="fr-FR"/>
                    </a:p>
                  </a:txBody>
                  <a:tcPr/>
                </a:tc>
                <a:tc>
                  <a:txBody>
                    <a:bodyPr/>
                    <a:lstStyle/>
                    <a:p>
                      <a:pPr algn="ct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22677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332" rtl="0" eaLnBrk="1" fontAlgn="auto" latinLnBrk="0" hangingPunct="1">
                        <a:lnSpc>
                          <a:spcPct val="100000"/>
                        </a:lnSpc>
                        <a:spcBef>
                          <a:spcPts val="0"/>
                        </a:spcBef>
                        <a:spcAft>
                          <a:spcPts val="0"/>
                        </a:spcAft>
                        <a:buClrTx/>
                        <a:buSzTx/>
                        <a:buFontTx/>
                        <a:buNone/>
                        <a:tabLst/>
                        <a:defRPr/>
                      </a:pPr>
                      <a:r>
                        <a:rPr lang="en-US" sz="14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indent="-91440">
                        <a:buFont typeface="Wingdings" panose="05000000000000000000" pitchFamily="2" charset="2"/>
                        <a:buChar char="§"/>
                      </a:pPr>
                      <a:r>
                        <a:rPr lang="en-US" sz="1200" b="0" dirty="0">
                          <a:solidFill>
                            <a:schemeClr val="tx1"/>
                          </a:solidFill>
                          <a:latin typeface="Gill Sans MT" panose="020B0502020104020203" pitchFamily="34" charset="0"/>
                          <a:cs typeface="Poppins Light" panose="00000400000000000000" pitchFamily="50" charset="0"/>
                        </a:rPr>
                        <a:t>FACILITY TAXTION: One of the major challenges highlighted by private providers is multiple taxations from different MDAs at the LGA and state levels and this impacts their profitability and makes them wary of integration</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94075230"/>
                  </a:ext>
                </a:extLst>
              </a:tr>
              <a:tr h="375920">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rowSpan="3">
                  <a:txBody>
                    <a:bodyPr/>
                    <a:lstStyle/>
                    <a:p>
                      <a:pPr algn="ctr">
                        <a:spcAft>
                          <a:spcPts val="600"/>
                        </a:spcAft>
                      </a:pPr>
                      <a:r>
                        <a:rPr lang="en-US" sz="1400" b="0" noProof="0" dirty="0">
                          <a:solidFill>
                            <a:schemeClr val="tx1"/>
                          </a:solidFill>
                          <a:latin typeface="Gill Sans MT" panose="020B0502020104020203" pitchFamily="34" charset="0"/>
                          <a:cs typeface="Poppins Light" panose="00000400000000000000" pitchFamily="50" charset="0"/>
                        </a:rPr>
                        <a:t>Norms</a:t>
                      </a:r>
                    </a:p>
                  </a:txBody>
                  <a:tcPr vert="vert270"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lang="en-US" sz="1400" b="0" noProof="0" dirty="0">
                          <a:solidFill>
                            <a:schemeClr val="tx1"/>
                          </a:solidFill>
                          <a:latin typeface="Gill Sans MT" panose="020B0502020104020203" pitchFamily="34" charset="0"/>
                          <a:cs typeface="Poppins Light" panose="00000400000000000000" pitchFamily="50" charset="0"/>
                        </a:rPr>
                        <a:t>Supply</a:t>
                      </a:r>
                      <a:endParaRPr lang="fr-FR"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noProof="0" dirty="0">
                        <a:solidFill>
                          <a:srgbClr val="22677C"/>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en-US" sz="1400" b="1" noProof="0" dirty="0">
                        <a:solidFill>
                          <a:srgbClr val="4AA19E"/>
                        </a:solidFill>
                        <a:latin typeface="Gill Sans MT" panose="020B0502020104020203" pitchFamily="34" charset="0"/>
                        <a:cs typeface="Poppins Light" panose="00000400000000000000" pitchFamily="50"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400" b="1" noProof="0" dirty="0">
                          <a:solidFill>
                            <a:srgbClr val="4AA19E"/>
                          </a:solidFill>
                          <a:latin typeface="Gill Sans MT" panose="020B0502020104020203" pitchFamily="34" charset="0"/>
                          <a:cs typeface="Poppins Light" panose="00000400000000000000" pitchFamily="50" charset="0"/>
                        </a:rPr>
                        <a:t>X</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solidFill>
                            <a:schemeClr val="tx1"/>
                          </a:solidFill>
                          <a:latin typeface="Gill Sans MT" panose="020B0502020104020203" pitchFamily="34" charset="0"/>
                          <a:cs typeface="Poppins Light" panose="00000400000000000000" pitchFamily="50" charset="0"/>
                        </a:rPr>
                        <a:t>There are socio-cultural factors that  encourage the use of TBAs as opposed to seeking care at health facilities </a:t>
                      </a:r>
                    </a:p>
                    <a:p>
                      <a:pPr marL="91440" marR="0" lvl="0" indent="-9144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solidFill>
                            <a:schemeClr val="tx1"/>
                          </a:solidFill>
                          <a:latin typeface="Gill Sans MT" panose="020B0502020104020203" pitchFamily="34" charset="0"/>
                          <a:cs typeface="Poppins Light" panose="00000400000000000000" pitchFamily="50" charset="0"/>
                        </a:rPr>
                        <a:t>The need for husband’s approval is also seen to be a major limitation for uptake of the service and this is linked to poverty and literacy rate </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05651762"/>
                  </a:ext>
                </a:extLst>
              </a:tr>
              <a:tr h="331816">
                <a:tc vMerge="1">
                  <a:txBody>
                    <a:bodyPr/>
                    <a:lstStyle/>
                    <a:p>
                      <a:endParaRPr lang="fr-FR"/>
                    </a:p>
                  </a:txBody>
                  <a:tcPr>
                    <a:lnT w="28575" cap="flat" cmpd="sng" algn="ctr">
                      <a:solidFill>
                        <a:schemeClr val="bg1">
                          <a:lumMod val="75000"/>
                        </a:schemeClr>
                      </a:solidFill>
                      <a:prstDash val="solid"/>
                      <a:round/>
                      <a:headEnd type="none" w="med" len="med"/>
                      <a:tailEnd type="none" w="med" len="med"/>
                    </a:lnT>
                  </a:tcPr>
                </a:tc>
                <a:tc vMerge="1">
                  <a:txBody>
                    <a:bodyPr/>
                    <a:lstStyle/>
                    <a:p>
                      <a:endParaRPr lang="fr-FR"/>
                    </a:p>
                  </a:txBody>
                  <a:tcPr>
                    <a:lnT w="12700" cap="flat" cmpd="sng" algn="ctr">
                      <a:solidFill>
                        <a:schemeClr val="bg1">
                          <a:lumMod val="50000"/>
                        </a:schemeClr>
                      </a:solidFill>
                      <a:prstDash val="solid"/>
                      <a:round/>
                      <a:headEnd type="none" w="med" len="med"/>
                      <a:tailEnd type="none" w="med" len="med"/>
                    </a:lnT>
                  </a:tcPr>
                </a:tc>
                <a:tc rowSpan="2">
                  <a:txBody>
                    <a:bodyPr/>
                    <a:lstStyle/>
                    <a:p>
                      <a:r>
                        <a:rPr lang="en-US" sz="1400" b="0" noProof="0" dirty="0">
                          <a:solidFill>
                            <a:schemeClr val="tx1"/>
                          </a:solidFill>
                          <a:latin typeface="Gill Sans MT" panose="020B0502020104020203" pitchFamily="34" charset="0"/>
                          <a:cs typeface="Poppins Light" panose="00000400000000000000" pitchFamily="50" charset="0"/>
                        </a:rPr>
                        <a:t>Demand</a:t>
                      </a:r>
                      <a:endParaRPr lang="fr-FR"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400" b="1" dirty="0">
                          <a:solidFill>
                            <a:srgbClr val="4AA19E"/>
                          </a:solidFill>
                          <a:latin typeface="Gill Sans MT" panose="020B0502020104020203" pitchFamily="34" charset="0"/>
                        </a:rPr>
                        <a:t>X</a:t>
                      </a:r>
                      <a:endParaRPr lang="fr-FR" sz="1400" b="1" dirty="0">
                        <a:solidFill>
                          <a:srgbClr val="4AA19E"/>
                        </a:solidFill>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lang="fr-FR" sz="1400" dirty="0">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lang="fr-FR" sz="1400" dirty="0">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indent="-91440">
                        <a:buFont typeface="Wingdings" panose="05000000000000000000" pitchFamily="2" charset="2"/>
                        <a:buChar char="§"/>
                      </a:pPr>
                      <a:r>
                        <a:rPr lang="en-US" sz="1200" dirty="0">
                          <a:latin typeface="Gill Sans MT" panose="020B0502020104020203" pitchFamily="34" charset="0"/>
                        </a:rPr>
                        <a:t>LACK OF AGENCY: Decision-making on when and where most poor, low-income women in rural areas seek care is largely made by their spouse </a:t>
                      </a:r>
                      <a:endParaRPr lang="fr-FR" sz="1200" dirty="0">
                        <a:latin typeface="Gill Sans MT" panose="020B0502020104020203"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05982880"/>
                  </a:ext>
                </a:extLst>
              </a:tr>
              <a:tr h="331816">
                <a:tc vMerge="1">
                  <a:txBody>
                    <a:bodyPr/>
                    <a:lstStyle/>
                    <a:p>
                      <a:pPr algn="ctr">
                        <a:spcBef>
                          <a:spcPts val="0"/>
                        </a:spcBef>
                        <a:spcAft>
                          <a:spcPts val="0"/>
                        </a:spcAft>
                      </a:pPr>
                      <a:endParaRPr lang="en-US" sz="1400" noProof="0" dirty="0">
                        <a:solidFill>
                          <a:schemeClr val="bg1"/>
                        </a:solidFill>
                        <a:latin typeface="Gill Sans MT" panose="020B0502020104020203" pitchFamily="34" charset="0"/>
                        <a:cs typeface="Poppins" panose="00000500000000000000" pitchFamily="50" charset="0"/>
                      </a:endParaRPr>
                    </a:p>
                  </a:txBody>
                  <a:tcPr vert="vert270">
                    <a:lnT w="28575" cap="flat" cmpd="sng" algn="ctr">
                      <a:noFill/>
                      <a:prstDash val="solid"/>
                      <a:round/>
                      <a:headEnd type="none" w="med" len="med"/>
                      <a:tailEnd type="none" w="med" len="med"/>
                    </a:lnT>
                    <a:lnB w="28575" cap="flat" cmpd="sng" algn="ctr">
                      <a:solidFill>
                        <a:schemeClr val="bg1">
                          <a:lumMod val="75000"/>
                        </a:schemeClr>
                      </a:solidFill>
                      <a:prstDash val="solid"/>
                      <a:round/>
                      <a:headEnd type="none" w="med" len="med"/>
                      <a:tailEnd type="none" w="med" len="med"/>
                    </a:lnB>
                    <a:solidFill>
                      <a:srgbClr val="4AA19E"/>
                    </a:solidFill>
                  </a:tcPr>
                </a:tc>
                <a:tc vMerge="1">
                  <a:txBody>
                    <a:bodyPr/>
                    <a:lstStyle/>
                    <a:p>
                      <a:pPr>
                        <a:spcAft>
                          <a:spcPts val="600"/>
                        </a:spcAft>
                      </a:pPr>
                      <a:endParaRPr lang="en-US" sz="1400" b="0" noProof="0" dirty="0">
                        <a:solidFill>
                          <a:schemeClr val="tx1"/>
                        </a:solidFill>
                        <a:latin typeface="Gill Sans MT" panose="020B0502020104020203" pitchFamily="34" charset="0"/>
                        <a:cs typeface="Poppins Light" panose="00000400000000000000" pitchFamily="50" charset="0"/>
                      </a:endParaRPr>
                    </a:p>
                  </a:txBody>
                  <a:tcPr vert="vert270" anchor="ctr">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vMerge="1">
                  <a:txBody>
                    <a:bodyPr/>
                    <a:lstStyle/>
                    <a:p>
                      <a:endParaRPr lang="fr-FR"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lang="fr-FR" sz="1400" b="1" dirty="0">
                        <a:solidFill>
                          <a:srgbClr val="4AA19E"/>
                        </a:solidFill>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lang="fr-FR" sz="1400" dirty="0">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400" b="1" dirty="0">
                          <a:solidFill>
                            <a:srgbClr val="4AA19E"/>
                          </a:solidFill>
                          <a:latin typeface="Gill Sans MT" panose="020B0502020104020203" pitchFamily="34" charset="0"/>
                        </a:rPr>
                        <a:t>X</a:t>
                      </a:r>
                      <a:endParaRPr lang="fr-FR" sz="1400" b="1" dirty="0">
                        <a:solidFill>
                          <a:srgbClr val="4AA19E"/>
                        </a:solidFill>
                        <a:latin typeface="Gill Sans MT" panose="020B0502020104020203"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91440" indent="-91440">
                        <a:buFont typeface="Wingdings" panose="05000000000000000000" pitchFamily="2" charset="2"/>
                        <a:buChar char="§"/>
                      </a:pPr>
                      <a:r>
                        <a:rPr lang="en-US" sz="1200" dirty="0">
                          <a:latin typeface="Gill Sans MT" panose="020B0502020104020203" pitchFamily="34" charset="0"/>
                        </a:rPr>
                        <a:t>CULTURAL NORMS: Strong cultural expectations- particularly among husbands – that home deliveries are appropriate since all the women in his family delivered at home. Women from very low socio economic continue to follow certain cultural and religious beliefs.</a:t>
                      </a:r>
                      <a:endParaRPr lang="fr-FR" sz="1200" dirty="0">
                        <a:latin typeface="Gill Sans MT" panose="020B0502020104020203"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701841"/>
                  </a:ext>
                </a:extLst>
              </a:tr>
            </a:tbl>
          </a:graphicData>
        </a:graphic>
      </p:graphicFrame>
      <p:sp>
        <p:nvSpPr>
          <p:cNvPr id="5" name="TextBox 4">
            <a:extLst>
              <a:ext uri="{FF2B5EF4-FFF2-40B4-BE49-F238E27FC236}">
                <a16:creationId xmlns:a16="http://schemas.microsoft.com/office/drawing/2014/main" id="{1CABAE01-A261-4112-82DC-FE0C2CA8AB36}"/>
              </a:ext>
            </a:extLst>
          </p:cNvPr>
          <p:cNvSpPr txBox="1"/>
          <p:nvPr/>
        </p:nvSpPr>
        <p:spPr>
          <a:xfrm>
            <a:off x="8218387" y="348379"/>
            <a:ext cx="3282754" cy="30777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Poppins Light" panose="00000400000000000000" pitchFamily="50" charset="0"/>
              </a:rPr>
              <a:t>A=Absent   I  =Inadequate    M=Mismatch</a:t>
            </a:r>
            <a:endParaRPr kumimoji="0" lang="fr-FR" sz="1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Poppins Light" panose="00000400000000000000" pitchFamily="50" charset="0"/>
            </a:endParaRPr>
          </a:p>
        </p:txBody>
      </p:sp>
    </p:spTree>
    <p:extLst>
      <p:ext uri="{BB962C8B-B14F-4D97-AF65-F5344CB8AC3E}">
        <p14:creationId xmlns:p14="http://schemas.microsoft.com/office/powerpoint/2010/main" val="41131460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284EB65-4FDC-145A-4B2E-BF31D78B88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E284EB65-4FDC-145A-4B2E-BF31D78B88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6D946C6-DFE0-7646-0DBD-64E1AC5691F3}"/>
              </a:ext>
            </a:extLst>
          </p:cNvPr>
          <p:cNvSpPr>
            <a:spLocks noGrp="1"/>
          </p:cNvSpPr>
          <p:nvPr>
            <p:ph type="title"/>
          </p:nvPr>
        </p:nvSpPr>
        <p:spPr>
          <a:xfrm>
            <a:off x="464025" y="242556"/>
            <a:ext cx="11334090" cy="769286"/>
          </a:xfrm>
        </p:spPr>
        <p:txBody>
          <a:bodyPr vert="horz">
            <a:normAutofit/>
          </a:bodyPr>
          <a:lstStyle/>
          <a:p>
            <a:pPr algn="l"/>
            <a:r>
              <a:rPr lang="en-US" dirty="0"/>
              <a:t>Market system performance for MNH in Ebonyi</a:t>
            </a:r>
            <a:endParaRPr lang="en-US" dirty="0">
              <a:highlight>
                <a:srgbClr val="FFFF00"/>
              </a:highlight>
            </a:endParaRPr>
          </a:p>
        </p:txBody>
      </p:sp>
      <p:grpSp>
        <p:nvGrpSpPr>
          <p:cNvPr id="16" name="Group 15">
            <a:extLst>
              <a:ext uri="{FF2B5EF4-FFF2-40B4-BE49-F238E27FC236}">
                <a16:creationId xmlns:a16="http://schemas.microsoft.com/office/drawing/2014/main" id="{F2750539-26FA-FAA9-52A9-9279565E5044}"/>
              </a:ext>
            </a:extLst>
          </p:cNvPr>
          <p:cNvGrpSpPr/>
          <p:nvPr/>
        </p:nvGrpSpPr>
        <p:grpSpPr>
          <a:xfrm>
            <a:off x="211239" y="1305791"/>
            <a:ext cx="11980760" cy="4940891"/>
            <a:chOff x="211239" y="1048148"/>
            <a:chExt cx="11980760" cy="4382133"/>
          </a:xfrm>
        </p:grpSpPr>
        <p:pic>
          <p:nvPicPr>
            <p:cNvPr id="6" name="Picture 5">
              <a:extLst>
                <a:ext uri="{FF2B5EF4-FFF2-40B4-BE49-F238E27FC236}">
                  <a16:creationId xmlns:a16="http://schemas.microsoft.com/office/drawing/2014/main" id="{BF129051-6C66-227F-B0B0-A5122973D520}"/>
                </a:ext>
              </a:extLst>
            </p:cNvPr>
            <p:cNvPicPr>
              <a:picLocks noChangeAspect="1"/>
            </p:cNvPicPr>
            <p:nvPr/>
          </p:nvPicPr>
          <p:blipFill rotWithShape="1">
            <a:blip r:embed="rId5"/>
            <a:srcRect l="7360" t="4262" r="8016" b="2069"/>
            <a:stretch/>
          </p:blipFill>
          <p:spPr>
            <a:xfrm>
              <a:off x="3671020" y="2101615"/>
              <a:ext cx="3931901" cy="3328666"/>
            </a:xfrm>
            <a:prstGeom prst="rect">
              <a:avLst/>
            </a:prstGeom>
          </p:spPr>
        </p:pic>
        <p:sp>
          <p:nvSpPr>
            <p:cNvPr id="7" name="TextBox 6">
              <a:extLst>
                <a:ext uri="{FF2B5EF4-FFF2-40B4-BE49-F238E27FC236}">
                  <a16:creationId xmlns:a16="http://schemas.microsoft.com/office/drawing/2014/main" id="{789B41A1-8A56-6357-C29E-12D0A9BEAAD2}"/>
                </a:ext>
              </a:extLst>
            </p:cNvPr>
            <p:cNvSpPr txBox="1"/>
            <p:nvPr/>
          </p:nvSpPr>
          <p:spPr>
            <a:xfrm>
              <a:off x="6819046" y="1048148"/>
              <a:ext cx="5372953" cy="729892"/>
            </a:xfrm>
            <a:prstGeom prst="rect">
              <a:avLst/>
            </a:prstGeom>
            <a:noFill/>
          </p:spPr>
          <p:txBody>
            <a:bodyPr wrap="square"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FINANCING (S):</a:t>
              </a:r>
              <a:r>
                <a:rPr kumimoji="0" lang="en-US" sz="1200" b="0"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 High OOP costs </a:t>
              </a: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across all levels of care in both the public and private health sectors. SHIS benefit package needs actuarial review inline with current market conditions. Low penetration of the SHIS due to low awareness of the informal sector and the exclusion of the formal sector</a:t>
              </a:r>
            </a:p>
          </p:txBody>
        </p:sp>
        <p:sp>
          <p:nvSpPr>
            <p:cNvPr id="8" name="TextBox 7">
              <a:extLst>
                <a:ext uri="{FF2B5EF4-FFF2-40B4-BE49-F238E27FC236}">
                  <a16:creationId xmlns:a16="http://schemas.microsoft.com/office/drawing/2014/main" id="{8A0C06C4-D225-E13C-21D4-B78420C08143}"/>
                </a:ext>
              </a:extLst>
            </p:cNvPr>
            <p:cNvSpPr txBox="1"/>
            <p:nvPr/>
          </p:nvSpPr>
          <p:spPr>
            <a:xfrm>
              <a:off x="211239" y="1911015"/>
              <a:ext cx="3931901" cy="73702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BUSINESS FINANCING: </a:t>
              </a: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Difficult to access finance to start/expand private maternity services; no mechanisms to purchase/lease equipment needed to offer quality MN services</a:t>
              </a:r>
              <a:endParaRPr kumimoji="0" lang="fr-FR" sz="1200" b="0" i="0" u="none" strike="noStrike" kern="1200" cap="none" spc="0" normalizeH="0" baseline="0" noProof="0" dirty="0">
                <a:ln>
                  <a:noFill/>
                </a:ln>
                <a:solidFill>
                  <a:srgbClr val="4AA19E"/>
                </a:solidFill>
                <a:effectLst/>
                <a:uLnTx/>
                <a:uFillTx/>
                <a:latin typeface="Gill Sans MT" panose="020B0502020104020203"/>
                <a:ea typeface="+mn-ea"/>
                <a:cs typeface="Arial"/>
                <a:sym typeface="Arial"/>
              </a:endParaRPr>
            </a:p>
          </p:txBody>
        </p:sp>
        <p:sp>
          <p:nvSpPr>
            <p:cNvPr id="10" name="TextBox 9">
              <a:extLst>
                <a:ext uri="{FF2B5EF4-FFF2-40B4-BE49-F238E27FC236}">
                  <a16:creationId xmlns:a16="http://schemas.microsoft.com/office/drawing/2014/main" id="{53900FAF-7CCD-7CB0-9FCC-586BE93C61ED}"/>
                </a:ext>
              </a:extLst>
            </p:cNvPr>
            <p:cNvSpPr txBox="1"/>
            <p:nvPr/>
          </p:nvSpPr>
          <p:spPr>
            <a:xfrm>
              <a:off x="211239" y="1048148"/>
              <a:ext cx="5131558" cy="57323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STEWARDSHIP: </a:t>
              </a: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There are no dialogue platforms with the private for-profit actors in the state but most public sector stakeholders leverage association meetings of these  for-profit actors to engage them where necessary</a:t>
              </a:r>
            </a:p>
          </p:txBody>
        </p:sp>
        <p:sp>
          <p:nvSpPr>
            <p:cNvPr id="12" name="TextBox 11">
              <a:extLst>
                <a:ext uri="{FF2B5EF4-FFF2-40B4-BE49-F238E27FC236}">
                  <a16:creationId xmlns:a16="http://schemas.microsoft.com/office/drawing/2014/main" id="{E00B5218-99E9-95E7-485D-69748D0E3279}"/>
                </a:ext>
              </a:extLst>
            </p:cNvPr>
            <p:cNvSpPr txBox="1"/>
            <p:nvPr/>
          </p:nvSpPr>
          <p:spPr>
            <a:xfrm>
              <a:off x="211239" y="4309638"/>
              <a:ext cx="3775165" cy="573238"/>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REGULATIONS: </a:t>
              </a:r>
              <a:r>
                <a:rPr kumimoji="0" lang="en-US" sz="1200" b="0"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Inadequate supervision of private sector providers due to gaps in funding for regulatory activities across the markets</a:t>
              </a:r>
            </a:p>
          </p:txBody>
        </p:sp>
        <p:sp>
          <p:nvSpPr>
            <p:cNvPr id="14" name="TextBox 13">
              <a:extLst>
                <a:ext uri="{FF2B5EF4-FFF2-40B4-BE49-F238E27FC236}">
                  <a16:creationId xmlns:a16="http://schemas.microsoft.com/office/drawing/2014/main" id="{19150852-089A-D7E8-1357-1B7FECC0DFDD}"/>
                </a:ext>
              </a:extLst>
            </p:cNvPr>
            <p:cNvSpPr txBox="1"/>
            <p:nvPr/>
          </p:nvSpPr>
          <p:spPr>
            <a:xfrm>
              <a:off x="7611964" y="3877623"/>
              <a:ext cx="4490993" cy="737021"/>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NORM: </a:t>
              </a:r>
              <a:r>
                <a:rPr kumimoji="0" lang="en-US" sz="1200" b="0" i="0" u="none" strike="noStrike" kern="1200" cap="none" spc="0" normalizeH="0" baseline="0" noProof="0" dirty="0">
                  <a:ln>
                    <a:noFill/>
                  </a:ln>
                  <a:solidFill>
                    <a:srgbClr val="892064"/>
                  </a:solidFill>
                  <a:effectLst/>
                  <a:uLnTx/>
                  <a:uFillTx/>
                  <a:latin typeface="Gill Sans MT" panose="020B0502020104020203" pitchFamily="34" charset="0"/>
                  <a:ea typeface="+mn-ea"/>
                  <a:cs typeface="Poppins Light" panose="00000400000000000000" pitchFamily="50" charset="0"/>
                  <a:sym typeface="Arial"/>
                </a:rPr>
                <a:t>Cultural norms still support home delivery and family care for newborns. </a:t>
              </a:r>
              <a:r>
                <a:rPr kumimoji="0" lang="en-US" sz="1200" b="0" i="0" u="none" strike="noStrike" kern="1200" cap="none" spc="0" normalizeH="0" baseline="0" noProof="0" dirty="0">
                  <a:ln>
                    <a:noFill/>
                  </a:ln>
                  <a:solidFill>
                    <a:srgbClr val="892064"/>
                  </a:solidFill>
                  <a:effectLst/>
                  <a:uLnTx/>
                  <a:uFillTx/>
                  <a:latin typeface="Gill Sans MT" panose="020B0502020104020203" pitchFamily="34" charset="0"/>
                  <a:ea typeface="+mn-ea"/>
                  <a:cs typeface="Arial"/>
                  <a:sym typeface="Arial"/>
                </a:rPr>
                <a:t>S</a:t>
              </a:r>
              <a:r>
                <a:rPr kumimoji="0" lang="en-US" sz="1200" b="0" i="0" u="none" strike="noStrike" kern="1200" cap="none" spc="0" normalizeH="0" baseline="0" noProof="0" dirty="0" err="1">
                  <a:ln>
                    <a:noFill/>
                  </a:ln>
                  <a:solidFill>
                    <a:srgbClr val="892064"/>
                  </a:solidFill>
                  <a:effectLst/>
                  <a:uLnTx/>
                  <a:uFillTx/>
                  <a:latin typeface="Gill Sans MT" panose="020B0502020104020203" pitchFamily="34" charset="0"/>
                  <a:ea typeface="+mn-ea"/>
                  <a:cs typeface="Arial"/>
                  <a:sym typeface="Arial"/>
                </a:rPr>
                <a:t>ocio</a:t>
              </a:r>
              <a:r>
                <a:rPr kumimoji="0" lang="en-US" sz="1200" b="0" i="0" u="none" strike="noStrike" kern="1200" cap="none" spc="0" normalizeH="0" baseline="0" noProof="0" dirty="0">
                  <a:ln>
                    <a:noFill/>
                  </a:ln>
                  <a:solidFill>
                    <a:srgbClr val="892064"/>
                  </a:solidFill>
                  <a:effectLst/>
                  <a:uLnTx/>
                  <a:uFillTx/>
                  <a:latin typeface="Gill Sans MT" panose="020B0502020104020203" pitchFamily="34" charset="0"/>
                  <a:ea typeface="+mn-ea"/>
                  <a:cs typeface="Arial"/>
                  <a:sym typeface="Arial"/>
                </a:rPr>
                <a:t>-cultural factors encourage the use of TBAs as opposed to seeking care at health facilities. Women lack agency to make decision on household finance to fund MN services</a:t>
              </a:r>
              <a:endParaRPr kumimoji="0" lang="fr-FR" sz="1200" b="0" i="0" u="none" strike="noStrike" kern="1200" cap="none" spc="0" normalizeH="0" baseline="0" noProof="0" dirty="0">
                <a:ln>
                  <a:noFill/>
                </a:ln>
                <a:solidFill>
                  <a:srgbClr val="892064"/>
                </a:solidFill>
                <a:effectLst/>
                <a:uLnTx/>
                <a:uFillTx/>
                <a:latin typeface="Gill Sans MT" panose="020B0502020104020203"/>
                <a:ea typeface="+mn-ea"/>
                <a:cs typeface="Arial"/>
                <a:sym typeface="Arial"/>
              </a:endParaRPr>
            </a:p>
          </p:txBody>
        </p:sp>
        <p:sp>
          <p:nvSpPr>
            <p:cNvPr id="15" name="TextBox 14">
              <a:extLst>
                <a:ext uri="{FF2B5EF4-FFF2-40B4-BE49-F238E27FC236}">
                  <a16:creationId xmlns:a16="http://schemas.microsoft.com/office/drawing/2014/main" id="{AB287EB9-B13D-3EC7-CCD5-33507D090036}"/>
                </a:ext>
              </a:extLst>
            </p:cNvPr>
            <p:cNvSpPr txBox="1"/>
            <p:nvPr/>
          </p:nvSpPr>
          <p:spPr>
            <a:xfrm>
              <a:off x="7384833" y="1911015"/>
              <a:ext cx="4718124" cy="737021"/>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AA19E"/>
                  </a:solidFill>
                  <a:effectLst/>
                  <a:uLnTx/>
                  <a:uFillTx/>
                  <a:latin typeface="Gill Sans MT" panose="020B0502020104020203"/>
                  <a:ea typeface="+mn-ea"/>
                  <a:cs typeface="Arial"/>
                  <a:sym typeface="Arial"/>
                </a:rPr>
                <a:t>SKILLS/CAPACITY: </a:t>
              </a:r>
              <a:r>
                <a:rPr kumimoji="0" lang="en-US" sz="12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Poppins Light" panose="00000400000000000000" pitchFamily="50" charset="0"/>
                  <a:sym typeface="Arial"/>
                </a:rPr>
                <a:t>There are significant gaps in the availability of skilled healthcare workers in both public and private sectors. Quality varies in private facilities – higher in urban and lower in rural areas depending on the access to financial and technical support</a:t>
              </a:r>
            </a:p>
          </p:txBody>
        </p:sp>
        <p:sp>
          <p:nvSpPr>
            <p:cNvPr id="18" name="TextBox 17">
              <a:extLst>
                <a:ext uri="{FF2B5EF4-FFF2-40B4-BE49-F238E27FC236}">
                  <a16:creationId xmlns:a16="http://schemas.microsoft.com/office/drawing/2014/main" id="{B1537097-AE2B-6831-BC79-0FF7989D867B}"/>
                </a:ext>
              </a:extLst>
            </p:cNvPr>
            <p:cNvSpPr txBox="1"/>
            <p:nvPr/>
          </p:nvSpPr>
          <p:spPr>
            <a:xfrm>
              <a:off x="7602921" y="4819153"/>
              <a:ext cx="3657600" cy="573238"/>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STANDARDS</a:t>
              </a:r>
              <a:r>
                <a:rPr kumimoji="0" lang="en-US" sz="1200" b="0" i="0" u="none" strike="noStrike" kern="1200" cap="none" spc="0" normalizeH="0" baseline="0" noProof="0" dirty="0">
                  <a:ln>
                    <a:noFill/>
                  </a:ln>
                  <a:solidFill>
                    <a:srgbClr val="892064"/>
                  </a:solidFill>
                  <a:effectLst/>
                  <a:uLnTx/>
                  <a:uFillTx/>
                  <a:latin typeface="Gill Sans MT" panose="020B0502020104020203"/>
                  <a:ea typeface="+mn-ea"/>
                  <a:cs typeface="Arial"/>
                  <a:sym typeface="Arial"/>
                </a:rPr>
                <a:t>:  Although the guidelines exist, there are l</a:t>
              </a:r>
              <a:r>
                <a:rPr kumimoji="0" lang="en-US" sz="1200" b="0" i="0" u="none" strike="noStrike" kern="1200" cap="none" spc="0" normalizeH="0" baseline="0" noProof="0" dirty="0" err="1">
                  <a:ln>
                    <a:noFill/>
                  </a:ln>
                  <a:solidFill>
                    <a:srgbClr val="892064"/>
                  </a:solidFill>
                  <a:effectLst/>
                  <a:uLnTx/>
                  <a:uFillTx/>
                  <a:latin typeface="Gill Sans MT" panose="020B0502020104020203" pitchFamily="34" charset="0"/>
                  <a:ea typeface="+mn-ea"/>
                  <a:cs typeface="Poppins Light" panose="00000400000000000000" pitchFamily="50" charset="0"/>
                  <a:sym typeface="Arial"/>
                </a:rPr>
                <a:t>imited</a:t>
              </a:r>
              <a:r>
                <a:rPr kumimoji="0" lang="en-US" sz="1200" b="0" i="0" u="none" strike="noStrike" kern="1200" cap="none" spc="0" normalizeH="0" baseline="0" noProof="0" dirty="0">
                  <a:ln>
                    <a:noFill/>
                  </a:ln>
                  <a:solidFill>
                    <a:srgbClr val="892064"/>
                  </a:solidFill>
                  <a:effectLst/>
                  <a:uLnTx/>
                  <a:uFillTx/>
                  <a:latin typeface="Gill Sans MT" panose="020B0502020104020203" pitchFamily="34" charset="0"/>
                  <a:ea typeface="+mn-ea"/>
                  <a:cs typeface="Poppins Light" panose="00000400000000000000" pitchFamily="50" charset="0"/>
                  <a:sym typeface="Arial"/>
                </a:rPr>
                <a:t> incentives for the private sector to comply with guidelines for quality of care</a:t>
              </a:r>
              <a:endParaRPr kumimoji="0" lang="fr-FR" sz="1200" b="0" i="0" u="none" strike="noStrike" kern="1200" cap="none" spc="0" normalizeH="0" baseline="0" noProof="0" dirty="0">
                <a:ln>
                  <a:noFill/>
                </a:ln>
                <a:solidFill>
                  <a:srgbClr val="892064"/>
                </a:solidFill>
                <a:effectLst/>
                <a:uLnTx/>
                <a:uFillTx/>
                <a:latin typeface="Gill Sans MT" panose="020B0502020104020203"/>
                <a:ea typeface="+mn-ea"/>
                <a:cs typeface="Arial"/>
                <a:sym typeface="Arial"/>
              </a:endParaRPr>
            </a:p>
          </p:txBody>
        </p:sp>
        <p:sp>
          <p:nvSpPr>
            <p:cNvPr id="11" name="TextBox 10">
              <a:extLst>
                <a:ext uri="{FF2B5EF4-FFF2-40B4-BE49-F238E27FC236}">
                  <a16:creationId xmlns:a16="http://schemas.microsoft.com/office/drawing/2014/main" id="{5E943CB9-8B2B-65C7-4F0C-FACEA13A1B8B}"/>
                </a:ext>
              </a:extLst>
            </p:cNvPr>
            <p:cNvSpPr txBox="1"/>
            <p:nvPr/>
          </p:nvSpPr>
          <p:spPr>
            <a:xfrm>
              <a:off x="7695827" y="2810098"/>
              <a:ext cx="4259625" cy="843294"/>
            </a:xfrm>
            <a:prstGeom prst="rect">
              <a:avLst/>
            </a:prstGeom>
            <a:noFill/>
          </p:spPr>
          <p:txBody>
            <a:bodyPr wrap="square">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44B7F"/>
                  </a:solidFill>
                  <a:effectLst/>
                  <a:uLnTx/>
                  <a:uFillTx/>
                  <a:latin typeface="Gill Sans MT" panose="020B0502020104020203" pitchFamily="34" charset="0"/>
                  <a:ea typeface="+mn-ea"/>
                  <a:cs typeface="Poppins Light" panose="00000400000000000000" pitchFamily="50" charset="0"/>
                  <a:sym typeface="Arial"/>
                </a:rPr>
                <a:t>DEMAND</a:t>
              </a:r>
              <a:r>
                <a:rPr kumimoji="0" lang="en-US" sz="1200" b="0" i="0" u="none" strike="noStrike" kern="1200" cap="none" spc="0" normalizeH="0" baseline="0" noProof="0" dirty="0">
                  <a:ln>
                    <a:noFill/>
                  </a:ln>
                  <a:solidFill>
                    <a:srgbClr val="044B7F"/>
                  </a:solidFill>
                  <a:effectLst/>
                  <a:uLnTx/>
                  <a:uFillTx/>
                  <a:latin typeface="Gill Sans MT" panose="020B0502020104020203" pitchFamily="34" charset="0"/>
                  <a:ea typeface="+mn-ea"/>
                  <a:cs typeface="Poppins Light" panose="00000400000000000000" pitchFamily="50" charset="0"/>
                  <a:sym typeface="Arial"/>
                </a:rPr>
                <a:t>: The market is mostly failing lower income, rural and peri urban women. Demand for MN services drops precipitously after ANC. Low ability to pay has a significant influence on the care-seeking behaviors</a:t>
              </a:r>
            </a:p>
          </p:txBody>
        </p:sp>
        <p:sp>
          <p:nvSpPr>
            <p:cNvPr id="13" name="TextBox 12">
              <a:extLst>
                <a:ext uri="{FF2B5EF4-FFF2-40B4-BE49-F238E27FC236}">
                  <a16:creationId xmlns:a16="http://schemas.microsoft.com/office/drawing/2014/main" id="{E79170E5-5DE7-0B67-F90E-69E1F9E8579B}"/>
                </a:ext>
              </a:extLst>
            </p:cNvPr>
            <p:cNvSpPr txBox="1"/>
            <p:nvPr/>
          </p:nvSpPr>
          <p:spPr>
            <a:xfrm>
              <a:off x="211239" y="2782762"/>
              <a:ext cx="3566608" cy="139215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44B7F"/>
                  </a:solidFill>
                  <a:effectLst/>
                  <a:uLnTx/>
                  <a:uFillTx/>
                  <a:latin typeface="Gill Sans MT" panose="020B0502020104020203"/>
                  <a:ea typeface="+mn-ea"/>
                  <a:cs typeface="Arial"/>
                  <a:sym typeface="Arial"/>
                </a:rPr>
                <a:t>SUPPLY (S): </a:t>
              </a:r>
              <a:r>
                <a:rPr kumimoji="0" lang="en-US" sz="1200" b="0" i="0" u="none" strike="noStrike" kern="1200" cap="none" spc="0" normalizeH="0" baseline="0" noProof="0" dirty="0">
                  <a:ln>
                    <a:noFill/>
                  </a:ln>
                  <a:solidFill>
                    <a:srgbClr val="044B7F"/>
                  </a:solidFill>
                  <a:effectLst/>
                  <a:uLnTx/>
                  <a:uFillTx/>
                  <a:latin typeface="Gill Sans MT" panose="020B0502020104020203"/>
                  <a:ea typeface="+mn-ea"/>
                  <a:cs typeface="Arial"/>
                  <a:sym typeface="Arial"/>
                </a:rPr>
                <a:t>Private providers are concentrated in urban areas and inadequate private secondary HF in rural areas. Good number of private hospitals/maternity wards. Designated private CEMONC sites. Weak referral system. TBAs fill the gaps created by insufficient SBAs. Most commodities for private facilities are sourced from the unregulated open drug market</a:t>
              </a:r>
              <a:endParaRPr kumimoji="0" lang="fr-FR" sz="1200" b="0" i="0" u="none" strike="noStrike" kern="1200" cap="none" spc="0" normalizeH="0" baseline="0" noProof="0" dirty="0">
                <a:ln>
                  <a:noFill/>
                </a:ln>
                <a:solidFill>
                  <a:srgbClr val="044B7F"/>
                </a:solidFill>
                <a:effectLst/>
                <a:uLnTx/>
                <a:uFillTx/>
                <a:latin typeface="Gill Sans MT" panose="020B0502020104020203" pitchFamily="34" charset="0"/>
                <a:ea typeface="+mn-ea"/>
                <a:cs typeface="Poppins Light" panose="00000400000000000000" pitchFamily="50" charset="0"/>
                <a:sym typeface="Arial"/>
              </a:endParaRPr>
            </a:p>
          </p:txBody>
        </p:sp>
      </p:grpSp>
      <p:sp>
        <p:nvSpPr>
          <p:cNvPr id="9" name="TextBox 8">
            <a:extLst>
              <a:ext uri="{FF2B5EF4-FFF2-40B4-BE49-F238E27FC236}">
                <a16:creationId xmlns:a16="http://schemas.microsoft.com/office/drawing/2014/main" id="{F4F9B342-4E0F-DD1D-F477-5FD77B0C1F8D}"/>
              </a:ext>
            </a:extLst>
          </p:cNvPr>
          <p:cNvSpPr txBox="1"/>
          <p:nvPr/>
        </p:nvSpPr>
        <p:spPr>
          <a:xfrm>
            <a:off x="9743895" y="6604866"/>
            <a:ext cx="246888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Source: KIIs, desk review, Team analysis</a:t>
            </a:r>
          </a:p>
        </p:txBody>
      </p:sp>
    </p:spTree>
    <p:extLst>
      <p:ext uri="{BB962C8B-B14F-4D97-AF65-F5344CB8AC3E}">
        <p14:creationId xmlns:p14="http://schemas.microsoft.com/office/powerpoint/2010/main" val="3375912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5D74C94-2EEC-4B01-8107-E9C0219268C5}"/>
              </a:ext>
            </a:extLst>
          </p:cNvPr>
          <p:cNvGraphicFramePr>
            <a:graphicFrameLocks noChangeAspect="1"/>
          </p:cNvGraphicFramePr>
          <p:nvPr>
            <p:custDataLst>
              <p:tags r:id="rId1"/>
            </p:custDataLst>
            <p:extLst>
              <p:ext uri="{D42A27DB-BD31-4B8C-83A1-F6EECF244321}">
                <p14:modId xmlns:p14="http://schemas.microsoft.com/office/powerpoint/2010/main" val="989651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0" name="Object 9" hidden="1">
                        <a:extLst>
                          <a:ext uri="{FF2B5EF4-FFF2-40B4-BE49-F238E27FC236}">
                            <a16:creationId xmlns:a16="http://schemas.microsoft.com/office/drawing/2014/main" id="{15D74C94-2EEC-4B01-8107-E9C0219268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0F8A3CF1-87E1-4A47-A52A-97EA1BC1FCA2}"/>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10000"/>
                    </a14:imgEffect>
                  </a14:imgLayer>
                </a14:imgProps>
              </a:ext>
              <a:ext uri="{28A0092B-C50C-407E-A947-70E740481C1C}">
                <a14:useLocalDpi xmlns:a14="http://schemas.microsoft.com/office/drawing/2010/main" val="0"/>
              </a:ext>
            </a:extLst>
          </a:blip>
          <a:srcRect l="12146" r="27200"/>
          <a:stretch/>
        </p:blipFill>
        <p:spPr>
          <a:xfrm>
            <a:off x="62753" y="215272"/>
            <a:ext cx="5783889" cy="6475115"/>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a:xfrm>
            <a:off x="11280901" y="6393515"/>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4</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sp>
        <p:nvSpPr>
          <p:cNvPr id="7" name="TextBox 6">
            <a:extLst>
              <a:ext uri="{FF2B5EF4-FFF2-40B4-BE49-F238E27FC236}">
                <a16:creationId xmlns:a16="http://schemas.microsoft.com/office/drawing/2014/main" id="{968F3CE4-A203-5482-BFC0-139AB70F0F8D}"/>
              </a:ext>
            </a:extLst>
          </p:cNvPr>
          <p:cNvSpPr txBox="1"/>
          <p:nvPr/>
        </p:nvSpPr>
        <p:spPr>
          <a:xfrm>
            <a:off x="5957629" y="1724493"/>
            <a:ext cx="6217920" cy="70788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Strategic Ideas</a:t>
            </a:r>
            <a:endPar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5DA86D16-D09D-19E0-E558-38E7BDF32EA2}"/>
              </a:ext>
            </a:extLst>
          </p:cNvPr>
          <p:cNvSpPr/>
          <p:nvPr/>
        </p:nvSpPr>
        <p:spPr>
          <a:xfrm>
            <a:off x="303181" y="589053"/>
            <a:ext cx="5181600" cy="5791201"/>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1" name="Text Placeholder 5">
            <a:extLst>
              <a:ext uri="{FF2B5EF4-FFF2-40B4-BE49-F238E27FC236}">
                <a16:creationId xmlns:a16="http://schemas.microsoft.com/office/drawing/2014/main" id="{2830B6C8-D59D-417F-9CA3-99050FB46EE8}"/>
              </a:ext>
            </a:extLst>
          </p:cNvPr>
          <p:cNvSpPr txBox="1">
            <a:spLocks/>
          </p:cNvSpPr>
          <p:nvPr/>
        </p:nvSpPr>
        <p:spPr>
          <a:xfrm>
            <a:off x="152400" y="6427284"/>
            <a:ext cx="3383280" cy="215444"/>
          </a:xfrm>
          <a:prstGeom prst="rect">
            <a:avLst/>
          </a:prstGeom>
        </p:spPr>
        <p:txBody>
          <a:bodyPr/>
          <a:lst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marR="0" lvl="0" indent="0" algn="l" defTabSz="914332" rtl="0" eaLnBrk="1" fontAlgn="auto" latinLnBrk="0" hangingPunct="1">
              <a:lnSpc>
                <a:spcPct val="100000"/>
              </a:lnSpc>
              <a:spcBef>
                <a:spcPts val="1000"/>
              </a:spcBef>
              <a:spcAft>
                <a:spcPts val="0"/>
              </a:spcAft>
              <a:buClrTx/>
              <a:buSzTx/>
              <a:buFont typeface=".AppleSystemUIFont" charset="-120"/>
              <a:buNone/>
              <a:tabLst/>
              <a:defRPr/>
            </a:pPr>
            <a:r>
              <a:rPr kumimoji="0" lang="en-US" sz="105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Photo credit: USAID GHSC-PSM project</a:t>
            </a:r>
          </a:p>
        </p:txBody>
      </p:sp>
    </p:spTree>
    <p:extLst>
      <p:ext uri="{BB962C8B-B14F-4D97-AF65-F5344CB8AC3E}">
        <p14:creationId xmlns:p14="http://schemas.microsoft.com/office/powerpoint/2010/main" val="22479013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34">
            <a:extLst>
              <a:ext uri="{FF2B5EF4-FFF2-40B4-BE49-F238E27FC236}">
                <a16:creationId xmlns:a16="http://schemas.microsoft.com/office/drawing/2014/main" id="{D7E563A7-73E8-50B6-BA10-2D4F3C8293E0}"/>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0" y="1117550"/>
            <a:ext cx="12192000" cy="5442936"/>
          </a:xfrm>
          <a:prstGeom prst="rect">
            <a:avLst/>
          </a:prstGeom>
          <a:noFill/>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Object 2" hidden="1">
            <a:extLst>
              <a:ext uri="{FF2B5EF4-FFF2-40B4-BE49-F238E27FC236}">
                <a16:creationId xmlns:a16="http://schemas.microsoft.com/office/drawing/2014/main" id="{B41DE862-255A-4767-A4CF-3D1A6053B0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a:extLst>
                          <a:ext uri="{FF2B5EF4-FFF2-40B4-BE49-F238E27FC236}">
                            <a16:creationId xmlns:a16="http://schemas.microsoft.com/office/drawing/2014/main" id="{B41DE862-255A-4767-A4CF-3D1A6053B0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0" name="Title 1">
            <a:extLst>
              <a:ext uri="{FF2B5EF4-FFF2-40B4-BE49-F238E27FC236}">
                <a16:creationId xmlns:a16="http://schemas.microsoft.com/office/drawing/2014/main" id="{9ADED81B-484E-EE5E-6D00-9DBD4DB48539}"/>
              </a:ext>
            </a:extLst>
          </p:cNvPr>
          <p:cNvSpPr>
            <a:spLocks noGrp="1"/>
          </p:cNvSpPr>
          <p:nvPr>
            <p:ph type="title"/>
          </p:nvPr>
        </p:nvSpPr>
        <p:spPr>
          <a:xfrm>
            <a:off x="398057" y="208233"/>
            <a:ext cx="11270299" cy="769286"/>
          </a:xfrm>
        </p:spPr>
        <p:txBody>
          <a:bodyPr vert="horz">
            <a:normAutofit/>
          </a:bodyPr>
          <a:lstStyle/>
          <a:p>
            <a:pPr algn="l"/>
            <a:r>
              <a:rPr lang="en-US" dirty="0"/>
              <a:t>Strategic Logic Model for Maternal and Neonatal Health in Ebonyi</a:t>
            </a:r>
            <a:endParaRPr lang="en-GB" dirty="0"/>
          </a:p>
        </p:txBody>
      </p:sp>
      <p:sp>
        <p:nvSpPr>
          <p:cNvPr id="6" name="Slide Number Placeholder 2">
            <a:extLst>
              <a:ext uri="{FF2B5EF4-FFF2-40B4-BE49-F238E27FC236}">
                <a16:creationId xmlns:a16="http://schemas.microsoft.com/office/drawing/2014/main" id="{0844A65B-B205-958E-A512-2F7C6AC72E94}"/>
              </a:ext>
            </a:extLst>
          </p:cNvPr>
          <p:cNvSpPr>
            <a:spLocks noGrp="1"/>
          </p:cNvSpPr>
          <p:nvPr>
            <p:ph type="sldNum" sz="quarter" idx="4"/>
          </p:nvPr>
        </p:nvSpPr>
        <p:spPr>
          <a:xfrm>
            <a:off x="11537890" y="6506371"/>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Arial"/>
                <a:sym typeface="Arial"/>
              </a:rPr>
              <a:pPr marL="0" marR="0" lvl="0" indent="0" algn="r" defTabSz="1219170" rtl="0" eaLnBrk="1" fontAlgn="auto" latinLnBrk="0" hangingPunct="1">
                <a:lnSpc>
                  <a:spcPct val="100000"/>
                </a:lnSpc>
                <a:spcBef>
                  <a:spcPts val="0"/>
                </a:spcBef>
                <a:spcAft>
                  <a:spcPts val="0"/>
                </a:spcAft>
                <a:buClrTx/>
                <a:buSzTx/>
                <a:buFontTx/>
                <a:buNone/>
                <a:tabLst/>
                <a:defRPr/>
              </a:pPr>
              <a:t>35</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Arial"/>
              <a:sym typeface="Arial"/>
            </a:endParaRPr>
          </a:p>
        </p:txBody>
      </p:sp>
      <p:grpSp>
        <p:nvGrpSpPr>
          <p:cNvPr id="31" name="Group 30">
            <a:extLst>
              <a:ext uri="{FF2B5EF4-FFF2-40B4-BE49-F238E27FC236}">
                <a16:creationId xmlns:a16="http://schemas.microsoft.com/office/drawing/2014/main" id="{F6597BB9-133C-D93F-6F96-EB15F61BF7F4}"/>
              </a:ext>
            </a:extLst>
          </p:cNvPr>
          <p:cNvGrpSpPr/>
          <p:nvPr/>
        </p:nvGrpSpPr>
        <p:grpSpPr>
          <a:xfrm>
            <a:off x="93826" y="2486343"/>
            <a:ext cx="12057077" cy="3948109"/>
            <a:chOff x="134923" y="1530629"/>
            <a:chExt cx="9755023" cy="4713492"/>
          </a:xfrm>
        </p:grpSpPr>
        <p:sp>
          <p:nvSpPr>
            <p:cNvPr id="40" name="TextBox 39">
              <a:extLst>
                <a:ext uri="{FF2B5EF4-FFF2-40B4-BE49-F238E27FC236}">
                  <a16:creationId xmlns:a16="http://schemas.microsoft.com/office/drawing/2014/main" id="{9941C26F-452F-402D-BA01-B0E7B6D77BAA}"/>
                </a:ext>
              </a:extLst>
            </p:cNvPr>
            <p:cNvSpPr txBox="1"/>
            <p:nvPr/>
          </p:nvSpPr>
          <p:spPr>
            <a:xfrm>
              <a:off x="134923" y="1530629"/>
              <a:ext cx="1500174" cy="424968"/>
            </a:xfrm>
            <a:prstGeom prst="homePlate">
              <a:avLst>
                <a:gd name="adj" fmla="val 27596"/>
              </a:avLst>
            </a:prstGeom>
            <a:solidFill>
              <a:srgbClr val="25514F"/>
            </a:solidFill>
            <a:ln>
              <a:solidFill>
                <a:srgbClr val="E0EDFD"/>
              </a:solidFill>
            </a:ln>
          </p:spPr>
          <p:txBody>
            <a:bodyPr wrap="square" lIns="45720"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rPr>
                <a:t>Health Impact </a:t>
              </a:r>
              <a:endParaRPr kumimoji="0" lang="en-GB"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endParaRPr>
            </a:p>
          </p:txBody>
        </p:sp>
        <p:sp>
          <p:nvSpPr>
            <p:cNvPr id="41" name="TextBox 40">
              <a:extLst>
                <a:ext uri="{FF2B5EF4-FFF2-40B4-BE49-F238E27FC236}">
                  <a16:creationId xmlns:a16="http://schemas.microsoft.com/office/drawing/2014/main" id="{9992AEAC-BC41-46D6-96D0-63036B39DD41}"/>
                </a:ext>
              </a:extLst>
            </p:cNvPr>
            <p:cNvSpPr txBox="1"/>
            <p:nvPr/>
          </p:nvSpPr>
          <p:spPr>
            <a:xfrm>
              <a:off x="1542784" y="1530629"/>
              <a:ext cx="2133561" cy="424968"/>
            </a:xfrm>
            <a:prstGeom prst="chevron">
              <a:avLst>
                <a:gd name="adj" fmla="val 31330"/>
              </a:avLst>
            </a:prstGeom>
            <a:solidFill>
              <a:srgbClr val="25514F"/>
            </a:solidFill>
            <a:ln>
              <a:solidFill>
                <a:srgbClr val="E0EDFD"/>
              </a:solidFill>
            </a:ln>
          </p:spPr>
          <p:txBody>
            <a:bodyPr wrap="square" lIns="73152"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rPr>
                <a:t>Health Outcome </a:t>
              </a:r>
              <a:endParaRPr kumimoji="0" lang="en-GB"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endParaRPr>
            </a:p>
          </p:txBody>
        </p:sp>
        <p:sp>
          <p:nvSpPr>
            <p:cNvPr id="48" name="TextBox 47">
              <a:extLst>
                <a:ext uri="{FF2B5EF4-FFF2-40B4-BE49-F238E27FC236}">
                  <a16:creationId xmlns:a16="http://schemas.microsoft.com/office/drawing/2014/main" id="{E0D3717B-036A-4AEA-8394-FD6115737B3C}"/>
                </a:ext>
              </a:extLst>
            </p:cNvPr>
            <p:cNvSpPr txBox="1"/>
            <p:nvPr/>
          </p:nvSpPr>
          <p:spPr>
            <a:xfrm>
              <a:off x="134923" y="1975554"/>
              <a:ext cx="1384969" cy="4254359"/>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 typeface="Arial"/>
                <a:buNone/>
                <a:tabLst/>
                <a:defRPr/>
              </a:pPr>
              <a:r>
                <a:rPr kumimoji="0" lang="en-US" sz="1400" b="1" i="0" u="none" strike="noStrike" kern="1200" cap="none" spc="0" normalizeH="0" baseline="0" noProof="0" dirty="0">
                  <a:ln>
                    <a:noFill/>
                  </a:ln>
                  <a:solidFill>
                    <a:srgbClr val="1F8CA8"/>
                  </a:solidFill>
                  <a:effectLst/>
                  <a:uLnTx/>
                  <a:uFillTx/>
                  <a:latin typeface="Gill Sans MT" panose="020B0502020104020203"/>
                  <a:ea typeface="+mn-ea"/>
                  <a:cs typeface="Arial" panose="020B0604020202020204" pitchFamily="34" charset="0"/>
                  <a:sym typeface="Arial"/>
                </a:rPr>
                <a:t>Reduced maternal mortality by 15% by 2024</a:t>
              </a:r>
            </a:p>
            <a:p>
              <a:pPr marL="0" marR="0" lvl="0" indent="0" algn="l" defTabSz="1219170" rtl="0" eaLnBrk="1" fontAlgn="auto" latinLnBrk="0" hangingPunct="1">
                <a:lnSpc>
                  <a:spcPct val="100000"/>
                </a:lnSpc>
                <a:spcBef>
                  <a:spcPts val="300"/>
                </a:spcBef>
                <a:spcAft>
                  <a:spcPts val="0"/>
                </a:spcAft>
                <a:buClrTx/>
                <a:buSzTx/>
                <a:buFontTx/>
                <a:buNone/>
                <a:tabLst/>
                <a:defRPr/>
              </a:pPr>
              <a:endParaRPr kumimoji="0" lang="en-US" sz="1400" b="1" i="0" u="none" strike="noStrike" kern="1200" cap="none" spc="0" normalizeH="0" baseline="0" noProof="0" dirty="0">
                <a:ln>
                  <a:noFill/>
                </a:ln>
                <a:solidFill>
                  <a:srgbClr val="1F8CA8"/>
                </a:solidFill>
                <a:effectLst/>
                <a:uLnTx/>
                <a:uFillTx/>
                <a:latin typeface="Gill Sans MT" panose="020B0502020104020203"/>
                <a:ea typeface="+mn-ea"/>
                <a:cs typeface="Arial" panose="020B0604020202020204" pitchFamily="34" charset="0"/>
                <a:sym typeface="Arial"/>
              </a:endParaRPr>
            </a:p>
          </p:txBody>
        </p:sp>
        <p:sp>
          <p:nvSpPr>
            <p:cNvPr id="49" name="TextBox 48">
              <a:extLst>
                <a:ext uri="{FF2B5EF4-FFF2-40B4-BE49-F238E27FC236}">
                  <a16:creationId xmlns:a16="http://schemas.microsoft.com/office/drawing/2014/main" id="{8464BAEF-8C1A-4B7D-93DD-74CCB59AA2D2}"/>
                </a:ext>
              </a:extLst>
            </p:cNvPr>
            <p:cNvSpPr txBox="1"/>
            <p:nvPr/>
          </p:nvSpPr>
          <p:spPr>
            <a:xfrm>
              <a:off x="1575841" y="1975554"/>
              <a:ext cx="1956692" cy="4254359"/>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regnant women of lower socio-economic status have access to affordable quality SBA and postpartum FP counselling and services with timely referrals at private health facilities</a:t>
              </a:r>
            </a:p>
          </p:txBody>
        </p:sp>
        <p:sp>
          <p:nvSpPr>
            <p:cNvPr id="42" name="TextBox 41">
              <a:extLst>
                <a:ext uri="{FF2B5EF4-FFF2-40B4-BE49-F238E27FC236}">
                  <a16:creationId xmlns:a16="http://schemas.microsoft.com/office/drawing/2014/main" id="{CE965253-C9B8-43EF-B8C9-F1F5B560A593}"/>
                </a:ext>
              </a:extLst>
            </p:cNvPr>
            <p:cNvSpPr txBox="1"/>
            <p:nvPr/>
          </p:nvSpPr>
          <p:spPr>
            <a:xfrm>
              <a:off x="3580586" y="1530629"/>
              <a:ext cx="6309360" cy="424968"/>
            </a:xfrm>
            <a:prstGeom prst="chevron">
              <a:avLst>
                <a:gd name="adj" fmla="val 38797"/>
              </a:avLst>
            </a:prstGeom>
            <a:solidFill>
              <a:srgbClr val="25514F"/>
            </a:solidFill>
            <a:ln>
              <a:solidFill>
                <a:srgbClr val="E0EDFD"/>
              </a:solidFill>
            </a:ln>
          </p:spPr>
          <p:txBody>
            <a:bodyPr wrap="square" lIns="73152" tIns="45720" rIns="4572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rPr>
                <a:t>Market System Change </a:t>
              </a:r>
              <a:endParaRPr kumimoji="0" lang="en-GB" sz="1400" b="1" i="0" u="none" strike="noStrike" kern="0" cap="none" spc="0" normalizeH="0" baseline="0" noProof="0" dirty="0">
                <a:ln>
                  <a:noFill/>
                </a:ln>
                <a:solidFill>
                  <a:srgbClr val="FFFFFF"/>
                </a:solidFill>
                <a:effectLst/>
                <a:uLnTx/>
                <a:uFillTx/>
                <a:latin typeface="Gill Sans MT" panose="020B0502020104020203"/>
                <a:ea typeface="+mn-ea"/>
                <a:cs typeface="Arial" panose="020B0604020202020204" pitchFamily="34" charset="0"/>
                <a:sym typeface="Arial"/>
              </a:endParaRPr>
            </a:p>
          </p:txBody>
        </p:sp>
        <p:sp>
          <p:nvSpPr>
            <p:cNvPr id="51" name="TextBox 50">
              <a:extLst>
                <a:ext uri="{FF2B5EF4-FFF2-40B4-BE49-F238E27FC236}">
                  <a16:creationId xmlns:a16="http://schemas.microsoft.com/office/drawing/2014/main" id="{356E7E56-7403-4C90-A41A-1A9B0CAA4F18}"/>
                </a:ext>
              </a:extLst>
            </p:cNvPr>
            <p:cNvSpPr txBox="1"/>
            <p:nvPr/>
          </p:nvSpPr>
          <p:spPr>
            <a:xfrm>
              <a:off x="3595705" y="1975554"/>
              <a:ext cx="6225292" cy="502920"/>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Demand financing: Remove economic barriers to access MNH services and products e.g. insurance</a:t>
              </a:r>
            </a:p>
          </p:txBody>
        </p:sp>
        <p:sp>
          <p:nvSpPr>
            <p:cNvPr id="52" name="TextBox 51">
              <a:extLst>
                <a:ext uri="{FF2B5EF4-FFF2-40B4-BE49-F238E27FC236}">
                  <a16:creationId xmlns:a16="http://schemas.microsoft.com/office/drawing/2014/main" id="{5911E694-BBE7-4FCF-AF8E-B356D4826296}"/>
                </a:ext>
              </a:extLst>
            </p:cNvPr>
            <p:cNvSpPr txBox="1"/>
            <p:nvPr/>
          </p:nvSpPr>
          <p:spPr>
            <a:xfrm>
              <a:off x="3595705" y="3051454"/>
              <a:ext cx="6225292" cy="502920"/>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A2F: Private providers access business financing to improve quality and/or start /expand businesses e.g. provision of credit</a:t>
              </a:r>
            </a:p>
          </p:txBody>
        </p:sp>
        <p:sp>
          <p:nvSpPr>
            <p:cNvPr id="53" name="TextBox 52">
              <a:extLst>
                <a:ext uri="{FF2B5EF4-FFF2-40B4-BE49-F238E27FC236}">
                  <a16:creationId xmlns:a16="http://schemas.microsoft.com/office/drawing/2014/main" id="{0A3B324C-F6CD-4F00-B53C-90BBF85DCC8B}"/>
                </a:ext>
              </a:extLst>
            </p:cNvPr>
            <p:cNvSpPr txBox="1"/>
            <p:nvPr/>
          </p:nvSpPr>
          <p:spPr>
            <a:xfrm>
              <a:off x="3595705" y="4665304"/>
              <a:ext cx="6225292" cy="502920"/>
            </a:xfrm>
            <a:prstGeom prst="rect">
              <a:avLst/>
            </a:prstGeom>
            <a:noFill/>
            <a:ln w="3175">
              <a:solidFill>
                <a:schemeClr val="tx2">
                  <a:lumMod val="90000"/>
                  <a:lumOff val="10000"/>
                </a:schemeClr>
              </a:solidFill>
            </a:ln>
            <a:effectLst/>
          </p:spPr>
          <p:txBody>
            <a:bodyPr wrap="square" lIns="91440" tIns="45720" rIns="91440" bIns="0" rtlCol="0" anchor="t">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Quality: Private facilities provide quality MNH services and products e.g. provider digital decision support</a:t>
              </a:r>
            </a:p>
          </p:txBody>
        </p:sp>
        <p:sp>
          <p:nvSpPr>
            <p:cNvPr id="54" name="TextBox 53">
              <a:extLst>
                <a:ext uri="{FF2B5EF4-FFF2-40B4-BE49-F238E27FC236}">
                  <a16:creationId xmlns:a16="http://schemas.microsoft.com/office/drawing/2014/main" id="{AFF3DE75-3236-4784-9392-9F815D40293C}"/>
                </a:ext>
              </a:extLst>
            </p:cNvPr>
            <p:cNvSpPr txBox="1"/>
            <p:nvPr/>
          </p:nvSpPr>
          <p:spPr>
            <a:xfrm>
              <a:off x="3595705" y="5203254"/>
              <a:ext cx="6225292" cy="502920"/>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Quality: Improve provider capacity to deliver quality BEMONC and CEMONC services e.g. digital learning </a:t>
              </a:r>
            </a:p>
          </p:txBody>
        </p:sp>
        <p:sp>
          <p:nvSpPr>
            <p:cNvPr id="2" name="TextBox 1">
              <a:extLst>
                <a:ext uri="{FF2B5EF4-FFF2-40B4-BE49-F238E27FC236}">
                  <a16:creationId xmlns:a16="http://schemas.microsoft.com/office/drawing/2014/main" id="{86F7AA39-6A97-9CB9-5D35-596694F138B5}"/>
                </a:ext>
              </a:extLst>
            </p:cNvPr>
            <p:cNvSpPr txBox="1"/>
            <p:nvPr/>
          </p:nvSpPr>
          <p:spPr>
            <a:xfrm>
              <a:off x="3595705" y="5741201"/>
              <a:ext cx="6225292" cy="502920"/>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Information: Private providers report quality data and MOH uses and reports on data for decision making e.g. DHIS2 integration </a:t>
              </a:r>
            </a:p>
          </p:txBody>
        </p:sp>
        <p:sp>
          <p:nvSpPr>
            <p:cNvPr id="24" name="TextBox 23">
              <a:extLst>
                <a:ext uri="{FF2B5EF4-FFF2-40B4-BE49-F238E27FC236}">
                  <a16:creationId xmlns:a16="http://schemas.microsoft.com/office/drawing/2014/main" id="{A5376572-C304-A9D6-34FD-B36518A22CA2}"/>
                </a:ext>
              </a:extLst>
            </p:cNvPr>
            <p:cNvSpPr txBox="1"/>
            <p:nvPr/>
          </p:nvSpPr>
          <p:spPr>
            <a:xfrm>
              <a:off x="3595705" y="2513504"/>
              <a:ext cx="6225292" cy="502920"/>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Supply: Ensure supply of quality and affordable MNH products to the private sector e.g. aggregation</a:t>
              </a:r>
            </a:p>
          </p:txBody>
        </p:sp>
        <p:sp>
          <p:nvSpPr>
            <p:cNvPr id="26" name="TextBox 25">
              <a:extLst>
                <a:ext uri="{FF2B5EF4-FFF2-40B4-BE49-F238E27FC236}">
                  <a16:creationId xmlns:a16="http://schemas.microsoft.com/office/drawing/2014/main" id="{BC385D66-766F-499D-8C2C-95061470524C}"/>
                </a:ext>
              </a:extLst>
            </p:cNvPr>
            <p:cNvSpPr txBox="1"/>
            <p:nvPr/>
          </p:nvSpPr>
          <p:spPr>
            <a:xfrm>
              <a:off x="3595705" y="3589404"/>
              <a:ext cx="6225292" cy="502920"/>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Supply: Improve referral and transport systems from within and between public and private facilities and across the various cadres of care </a:t>
              </a:r>
            </a:p>
          </p:txBody>
        </p:sp>
        <p:sp>
          <p:nvSpPr>
            <p:cNvPr id="27" name="TextBox 26">
              <a:extLst>
                <a:ext uri="{FF2B5EF4-FFF2-40B4-BE49-F238E27FC236}">
                  <a16:creationId xmlns:a16="http://schemas.microsoft.com/office/drawing/2014/main" id="{A61C7A9D-C86F-08AE-D5C9-DC4412330CCB}"/>
                </a:ext>
              </a:extLst>
            </p:cNvPr>
            <p:cNvSpPr txBox="1"/>
            <p:nvPr/>
          </p:nvSpPr>
          <p:spPr>
            <a:xfrm>
              <a:off x="3595705" y="4127354"/>
              <a:ext cx="6225292" cy="502920"/>
            </a:xfrm>
            <a:prstGeom prst="rect">
              <a:avLst/>
            </a:prstGeom>
            <a:noFill/>
            <a:ln w="3175">
              <a:solidFill>
                <a:schemeClr val="tx2">
                  <a:lumMod val="90000"/>
                  <a:lumOff val="10000"/>
                </a:schemeClr>
              </a:solidFill>
            </a:ln>
            <a:effectLst/>
          </p:spPr>
          <p:txBody>
            <a:bodyPr wrap="square" lIns="91440" tIns="45720" rIns="91440" bIns="0" rtlCol="0">
              <a:noAutofit/>
            </a:bodyPr>
            <a:lstStyle/>
            <a:p>
              <a:pPr marL="0" marR="0" lvl="0" indent="0" algn="l" defTabSz="1219170" rtl="0" eaLnBrk="1" fontAlgn="auto"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Stewardship: Public and private MNH market actors align and coordinate </a:t>
              </a:r>
              <a:r>
                <a:rPr kumimoji="0" lang="en-US" sz="1400" b="0" i="0" u="none" strike="noStrike" kern="1200" cap="none" spc="0" normalizeH="0" baseline="0" noProof="0" dirty="0" err="1">
                  <a:ln>
                    <a:noFill/>
                  </a:ln>
                  <a:solidFill>
                    <a:prstClr val="black"/>
                  </a:solidFill>
                  <a:effectLst/>
                  <a:uLnTx/>
                  <a:uFillTx/>
                  <a:latin typeface="Gill Sans MT" panose="020B0502020104020203"/>
                  <a:ea typeface="+mn-ea"/>
                  <a:cs typeface="Arial" panose="020B0604020202020204" pitchFamily="34" charset="0"/>
                  <a:sym typeface="Arial"/>
                </a:rPr>
                <a:t>e.g</a:t>
              </a: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panose="020B0604020202020204" pitchFamily="34" charset="0"/>
                  <a:sym typeface="Arial"/>
                </a:rPr>
                <a:t> policy advocacy</a:t>
              </a:r>
            </a:p>
          </p:txBody>
        </p:sp>
      </p:grpSp>
      <p:sp>
        <p:nvSpPr>
          <p:cNvPr id="7" name="TextBox 6">
            <a:extLst>
              <a:ext uri="{FF2B5EF4-FFF2-40B4-BE49-F238E27FC236}">
                <a16:creationId xmlns:a16="http://schemas.microsoft.com/office/drawing/2014/main" id="{7186D706-2CD5-E28F-E511-34B600AEAEBF}"/>
              </a:ext>
            </a:extLst>
          </p:cNvPr>
          <p:cNvSpPr txBox="1"/>
          <p:nvPr/>
        </p:nvSpPr>
        <p:spPr>
          <a:xfrm>
            <a:off x="128295" y="1402019"/>
            <a:ext cx="1721470" cy="1048535"/>
          </a:xfrm>
          <a:prstGeom prst="rect">
            <a:avLst/>
          </a:prstGeom>
          <a:solidFill>
            <a:schemeClr val="bg2">
              <a:lumMod val="50000"/>
            </a:schemeClr>
          </a:solidFill>
          <a:ln w="9525">
            <a:noFill/>
            <a:miter lim="800000"/>
            <a:headEnd/>
            <a:tailEnd/>
          </a:ln>
          <a:effectLst>
            <a:outerShdw blurRad="50800" dist="38100" dir="2700000" algn="tl" rotWithShape="0">
              <a:prstClr val="black">
                <a:alpha val="40000"/>
              </a:prstClr>
            </a:outerShdw>
          </a:effectLst>
        </p:spPr>
        <p:txBody>
          <a:bodyPr vert="horz" wrap="square" lIns="91440" tIns="0" rIns="182880" bIns="0" numCol="1" rtlCol="0"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Gill Sans MT" panose="020B0502020104020203" pitchFamily="34" charset="0"/>
                <a:ea typeface="+mn-ea"/>
                <a:cs typeface="Arial"/>
                <a:sym typeface="Arial"/>
              </a:rPr>
              <a:t>Use-case for MNH in Ebonyi</a:t>
            </a:r>
          </a:p>
        </p:txBody>
      </p:sp>
      <p:grpSp>
        <p:nvGrpSpPr>
          <p:cNvPr id="8" name="Group 7">
            <a:extLst>
              <a:ext uri="{FF2B5EF4-FFF2-40B4-BE49-F238E27FC236}">
                <a16:creationId xmlns:a16="http://schemas.microsoft.com/office/drawing/2014/main" id="{37D31185-DC01-3F0F-1DDC-5CE0038FA07D}"/>
              </a:ext>
            </a:extLst>
          </p:cNvPr>
          <p:cNvGrpSpPr/>
          <p:nvPr/>
        </p:nvGrpSpPr>
        <p:grpSpPr>
          <a:xfrm>
            <a:off x="1188476" y="1805086"/>
            <a:ext cx="675862" cy="641833"/>
            <a:chOff x="4153082" y="5509218"/>
            <a:chExt cx="675862" cy="641833"/>
          </a:xfrm>
        </p:grpSpPr>
        <p:pic>
          <p:nvPicPr>
            <p:cNvPr id="9" name="Picture 8">
              <a:extLst>
                <a:ext uri="{FF2B5EF4-FFF2-40B4-BE49-F238E27FC236}">
                  <a16:creationId xmlns:a16="http://schemas.microsoft.com/office/drawing/2014/main" id="{3410C224-3CEE-A0AE-B2C4-433AA97BAD21}"/>
                </a:ext>
              </a:extLst>
            </p:cNvPr>
            <p:cNvPicPr>
              <a:picLocks noChangeAspect="1"/>
            </p:cNvPicPr>
            <p:nvPr/>
          </p:nvPicPr>
          <p:blipFill rotWithShape="1">
            <a:blip r:embed="rId7"/>
            <a:srcRect l="4355" t="40024" r="80760" b="38729"/>
            <a:stretch/>
          </p:blipFill>
          <p:spPr>
            <a:xfrm>
              <a:off x="4278963" y="5656075"/>
              <a:ext cx="482718" cy="392067"/>
            </a:xfrm>
            <a:prstGeom prst="rect">
              <a:avLst/>
            </a:prstGeom>
          </p:spPr>
        </p:pic>
        <p:sp>
          <p:nvSpPr>
            <p:cNvPr id="11" name="Flowchart: Connector 10">
              <a:extLst>
                <a:ext uri="{FF2B5EF4-FFF2-40B4-BE49-F238E27FC236}">
                  <a16:creationId xmlns:a16="http://schemas.microsoft.com/office/drawing/2014/main" id="{06B09EEC-9550-A4C3-3A14-FDCD823B4C8B}"/>
                </a:ext>
              </a:extLst>
            </p:cNvPr>
            <p:cNvSpPr/>
            <p:nvPr/>
          </p:nvSpPr>
          <p:spPr>
            <a:xfrm>
              <a:off x="4153082" y="5509218"/>
              <a:ext cx="675862" cy="641833"/>
            </a:xfrm>
            <a:prstGeom prst="flowChartConnector">
              <a:avLst/>
            </a:prstGeom>
            <a:solidFill>
              <a:schemeClr val="bg2">
                <a:lumMod val="50000"/>
                <a:alpha val="4300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gradFill>
                  <a:gsLst>
                    <a:gs pos="0">
                      <a:prstClr val="white">
                        <a:lumMod val="95000"/>
                        <a:alpha val="23000"/>
                      </a:prstClr>
                    </a:gs>
                    <a:gs pos="74000">
                      <a:srgbClr val="4AA19E">
                        <a:lumMod val="45000"/>
                        <a:lumOff val="55000"/>
                      </a:srgbClr>
                    </a:gs>
                    <a:gs pos="83000">
                      <a:srgbClr val="4AA19E">
                        <a:lumMod val="45000"/>
                        <a:lumOff val="55000"/>
                      </a:srgbClr>
                    </a:gs>
                    <a:gs pos="100000">
                      <a:srgbClr val="4AA19E">
                        <a:lumMod val="30000"/>
                        <a:lumOff val="70000"/>
                      </a:srgbClr>
                    </a:gs>
                  </a:gsLst>
                  <a:lin ang="5400000" scaled="1"/>
                </a:gradFill>
                <a:effectLst/>
                <a:uLnTx/>
                <a:uFillTx/>
                <a:latin typeface="Gill Sans MT" panose="020B0502020104020203"/>
                <a:ea typeface="+mn-ea"/>
                <a:cs typeface="+mn-cs"/>
                <a:sym typeface="Arial"/>
              </a:endParaRPr>
            </a:p>
          </p:txBody>
        </p:sp>
      </p:grpSp>
      <p:sp>
        <p:nvSpPr>
          <p:cNvPr id="12" name="TextBox 11">
            <a:extLst>
              <a:ext uri="{FF2B5EF4-FFF2-40B4-BE49-F238E27FC236}">
                <a16:creationId xmlns:a16="http://schemas.microsoft.com/office/drawing/2014/main" id="{8FF35B74-5937-4F7E-59F9-E0887E21B880}"/>
              </a:ext>
            </a:extLst>
          </p:cNvPr>
          <p:cNvSpPr txBox="1"/>
          <p:nvPr/>
        </p:nvSpPr>
        <p:spPr>
          <a:xfrm>
            <a:off x="1920709" y="1342753"/>
            <a:ext cx="1865771" cy="923330"/>
          </a:xfrm>
          <a:prstGeom prst="rect">
            <a:avLst/>
          </a:prstGeom>
          <a:noFill/>
        </p:spPr>
        <p:txBody>
          <a:bodyPr wrap="square"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regnant women within the lowest and lower income level with little or no education</a:t>
            </a:r>
          </a:p>
        </p:txBody>
      </p:sp>
      <p:sp>
        <p:nvSpPr>
          <p:cNvPr id="13" name="TextBox 12">
            <a:extLst>
              <a:ext uri="{FF2B5EF4-FFF2-40B4-BE49-F238E27FC236}">
                <a16:creationId xmlns:a16="http://schemas.microsoft.com/office/drawing/2014/main" id="{EB6F13EB-6AE4-0359-1690-BFBB43941689}"/>
              </a:ext>
            </a:extLst>
          </p:cNvPr>
          <p:cNvSpPr txBox="1"/>
          <p:nvPr/>
        </p:nvSpPr>
        <p:spPr>
          <a:xfrm>
            <a:off x="4072233" y="1342753"/>
            <a:ext cx="2528659" cy="738664"/>
          </a:xfrm>
          <a:prstGeom prst="rect">
            <a:avLst/>
          </a:prstGeom>
          <a:noFill/>
        </p:spPr>
        <p:txBody>
          <a:bodyPr wrap="square" rtlCol="0">
            <a:spAutoFit/>
          </a:bodyPr>
          <a:lstStyle/>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Skill birth attendant delivery </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Referral  </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ost natal FP Counselling </a:t>
            </a:r>
          </a:p>
        </p:txBody>
      </p:sp>
      <p:sp>
        <p:nvSpPr>
          <p:cNvPr id="14" name="TextBox 13">
            <a:extLst>
              <a:ext uri="{FF2B5EF4-FFF2-40B4-BE49-F238E27FC236}">
                <a16:creationId xmlns:a16="http://schemas.microsoft.com/office/drawing/2014/main" id="{8B7900D2-6E0C-823F-E0CB-39125BBD8B46}"/>
              </a:ext>
            </a:extLst>
          </p:cNvPr>
          <p:cNvSpPr txBox="1"/>
          <p:nvPr/>
        </p:nvSpPr>
        <p:spPr>
          <a:xfrm>
            <a:off x="6601273" y="1342753"/>
            <a:ext cx="2818532" cy="954107"/>
          </a:xfrm>
          <a:prstGeom prst="rect">
            <a:avLst/>
          </a:prstGeom>
          <a:noFill/>
        </p:spPr>
        <p:txBody>
          <a:bodyPr wrap="square" rtlCol="0">
            <a:spAutoFit/>
          </a:bodyPr>
          <a:lstStyle/>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rivate maternity homes</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rivate and public secondary facilities particularly FBOs for referral  </a:t>
            </a:r>
          </a:p>
        </p:txBody>
      </p:sp>
      <p:sp>
        <p:nvSpPr>
          <p:cNvPr id="15" name="TextBox 14">
            <a:extLst>
              <a:ext uri="{FF2B5EF4-FFF2-40B4-BE49-F238E27FC236}">
                <a16:creationId xmlns:a16="http://schemas.microsoft.com/office/drawing/2014/main" id="{620EA717-1C7C-2374-6D2D-61245B1466BB}"/>
              </a:ext>
            </a:extLst>
          </p:cNvPr>
          <p:cNvSpPr txBox="1"/>
          <p:nvPr/>
        </p:nvSpPr>
        <p:spPr>
          <a:xfrm>
            <a:off x="9321893" y="1342753"/>
            <a:ext cx="2336630" cy="523220"/>
          </a:xfrm>
          <a:prstGeom prst="rect">
            <a:avLst/>
          </a:prstGeom>
          <a:noFill/>
        </p:spPr>
        <p:txBody>
          <a:bodyPr wrap="square" rtlCol="0">
            <a:spAutoFit/>
          </a:bodyPr>
          <a:lstStyle/>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eri-urban</a:t>
            </a:r>
          </a:p>
          <a:p>
            <a:pPr marL="182880" marR="0" lvl="0" indent="-18288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Rural</a:t>
            </a:r>
          </a:p>
        </p:txBody>
      </p:sp>
      <p:sp>
        <p:nvSpPr>
          <p:cNvPr id="29" name="TextBox 28">
            <a:extLst>
              <a:ext uri="{FF2B5EF4-FFF2-40B4-BE49-F238E27FC236}">
                <a16:creationId xmlns:a16="http://schemas.microsoft.com/office/drawing/2014/main" id="{54D5E930-D503-BB1A-F4F8-FD8B2201A02D}"/>
              </a:ext>
            </a:extLst>
          </p:cNvPr>
          <p:cNvSpPr txBox="1"/>
          <p:nvPr/>
        </p:nvSpPr>
        <p:spPr>
          <a:xfrm>
            <a:off x="143992" y="1138150"/>
            <a:ext cx="1721408" cy="2371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Market </a:t>
            </a:r>
          </a:p>
        </p:txBody>
      </p:sp>
      <p:cxnSp>
        <p:nvCxnSpPr>
          <p:cNvPr id="30" name="Straight Connector 29">
            <a:extLst>
              <a:ext uri="{FF2B5EF4-FFF2-40B4-BE49-F238E27FC236}">
                <a16:creationId xmlns:a16="http://schemas.microsoft.com/office/drawing/2014/main" id="{AA3315E6-F315-5E2A-7374-CEEE53080E04}"/>
              </a:ext>
            </a:extLst>
          </p:cNvPr>
          <p:cNvCxnSpPr>
            <a:cxnSpLocks/>
          </p:cNvCxnSpPr>
          <p:nvPr/>
        </p:nvCxnSpPr>
        <p:spPr>
          <a:xfrm flipV="1">
            <a:off x="143992" y="1386810"/>
            <a:ext cx="11695805" cy="2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3A3D50E-D412-DC3C-7A93-191188B350A7}"/>
              </a:ext>
            </a:extLst>
          </p:cNvPr>
          <p:cNvSpPr txBox="1"/>
          <p:nvPr/>
        </p:nvSpPr>
        <p:spPr>
          <a:xfrm>
            <a:off x="1936405" y="1174102"/>
            <a:ext cx="3168489" cy="2011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People </a:t>
            </a:r>
          </a:p>
        </p:txBody>
      </p:sp>
      <p:sp>
        <p:nvSpPr>
          <p:cNvPr id="33" name="TextBox 32">
            <a:extLst>
              <a:ext uri="{FF2B5EF4-FFF2-40B4-BE49-F238E27FC236}">
                <a16:creationId xmlns:a16="http://schemas.microsoft.com/office/drawing/2014/main" id="{159D4ADA-5CE5-F94D-EA7D-C36BA45D0460}"/>
              </a:ext>
            </a:extLst>
          </p:cNvPr>
          <p:cNvSpPr txBox="1"/>
          <p:nvPr/>
        </p:nvSpPr>
        <p:spPr>
          <a:xfrm>
            <a:off x="4195521" y="847741"/>
            <a:ext cx="2722282" cy="527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Product/Services </a:t>
            </a:r>
          </a:p>
        </p:txBody>
      </p:sp>
      <p:sp>
        <p:nvSpPr>
          <p:cNvPr id="34" name="TextBox 33">
            <a:extLst>
              <a:ext uri="{FF2B5EF4-FFF2-40B4-BE49-F238E27FC236}">
                <a16:creationId xmlns:a16="http://schemas.microsoft.com/office/drawing/2014/main" id="{6DD10480-854E-0E5E-D5FA-763782B8C1DA}"/>
              </a:ext>
            </a:extLst>
          </p:cNvPr>
          <p:cNvSpPr txBox="1"/>
          <p:nvPr/>
        </p:nvSpPr>
        <p:spPr>
          <a:xfrm>
            <a:off x="6873819" y="847741"/>
            <a:ext cx="2818432" cy="527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Provider </a:t>
            </a:r>
          </a:p>
        </p:txBody>
      </p:sp>
      <p:sp>
        <p:nvSpPr>
          <p:cNvPr id="35" name="TextBox 34">
            <a:extLst>
              <a:ext uri="{FF2B5EF4-FFF2-40B4-BE49-F238E27FC236}">
                <a16:creationId xmlns:a16="http://schemas.microsoft.com/office/drawing/2014/main" id="{A2F7CA2D-E218-D030-90AA-4478C7860412}"/>
              </a:ext>
            </a:extLst>
          </p:cNvPr>
          <p:cNvSpPr txBox="1"/>
          <p:nvPr/>
        </p:nvSpPr>
        <p:spPr>
          <a:xfrm>
            <a:off x="9594520" y="847741"/>
            <a:ext cx="2336549" cy="527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b"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Gill Sans MT" panose="020B0502020104020203" pitchFamily="34" charset="0"/>
                <a:ea typeface="+mn-ea"/>
                <a:cs typeface="Arial"/>
                <a:sym typeface="Arial"/>
              </a:rPr>
              <a:t>Place</a:t>
            </a:r>
          </a:p>
        </p:txBody>
      </p:sp>
    </p:spTree>
    <p:extLst>
      <p:ext uri="{BB962C8B-B14F-4D97-AF65-F5344CB8AC3E}">
        <p14:creationId xmlns:p14="http://schemas.microsoft.com/office/powerpoint/2010/main" val="8725265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9ADED81B-484E-EE5E-6D00-9DBD4DB48539}"/>
              </a:ext>
            </a:extLst>
          </p:cNvPr>
          <p:cNvSpPr>
            <a:spLocks noGrp="1"/>
          </p:cNvSpPr>
          <p:nvPr>
            <p:ph type="title"/>
          </p:nvPr>
        </p:nvSpPr>
        <p:spPr>
          <a:xfrm>
            <a:off x="398057" y="208233"/>
            <a:ext cx="11270299" cy="769286"/>
          </a:xfrm>
        </p:spPr>
        <p:txBody>
          <a:bodyPr vert="horz">
            <a:normAutofit fontScale="90000"/>
          </a:bodyPr>
          <a:lstStyle/>
          <a:p>
            <a:pPr algn="l"/>
            <a:r>
              <a:rPr lang="en-US" dirty="0"/>
              <a:t>Platform for an enabling business environment for the MNH market</a:t>
            </a:r>
            <a:endParaRPr lang="en-GB" dirty="0"/>
          </a:p>
        </p:txBody>
      </p:sp>
      <p:sp>
        <p:nvSpPr>
          <p:cNvPr id="6" name="Slide Number Placeholder 2">
            <a:extLst>
              <a:ext uri="{FF2B5EF4-FFF2-40B4-BE49-F238E27FC236}">
                <a16:creationId xmlns:a16="http://schemas.microsoft.com/office/drawing/2014/main" id="{0844A65B-B205-958E-A512-2F7C6AC72E94}"/>
              </a:ext>
            </a:extLst>
          </p:cNvPr>
          <p:cNvSpPr>
            <a:spLocks noGrp="1"/>
          </p:cNvSpPr>
          <p:nvPr>
            <p:ph type="sldNum" sz="quarter" idx="4"/>
          </p:nvPr>
        </p:nvSpPr>
        <p:spPr>
          <a:xfrm>
            <a:off x="11537890" y="6506371"/>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Arial"/>
                <a:sym typeface="Arial"/>
              </a:rPr>
              <a:pPr marL="0" marR="0" lvl="0" indent="0" algn="r" defTabSz="1219170" rtl="0" eaLnBrk="1" fontAlgn="auto" latinLnBrk="0" hangingPunct="1">
                <a:lnSpc>
                  <a:spcPct val="100000"/>
                </a:lnSpc>
                <a:spcBef>
                  <a:spcPts val="0"/>
                </a:spcBef>
                <a:spcAft>
                  <a:spcPts val="0"/>
                </a:spcAft>
                <a:buClrTx/>
                <a:buSzTx/>
                <a:buFontTx/>
                <a:buNone/>
                <a:tabLst/>
                <a:defRPr/>
              </a:pPr>
              <a:t>36</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Arial"/>
              <a:sym typeface="Arial"/>
            </a:endParaRPr>
          </a:p>
        </p:txBody>
      </p:sp>
      <p:grpSp>
        <p:nvGrpSpPr>
          <p:cNvPr id="68" name="Group 67">
            <a:extLst>
              <a:ext uri="{FF2B5EF4-FFF2-40B4-BE49-F238E27FC236}">
                <a16:creationId xmlns:a16="http://schemas.microsoft.com/office/drawing/2014/main" id="{5DFDC64A-B2CD-1B78-66E8-843B169237FE}"/>
              </a:ext>
            </a:extLst>
          </p:cNvPr>
          <p:cNvGrpSpPr/>
          <p:nvPr/>
        </p:nvGrpSpPr>
        <p:grpSpPr>
          <a:xfrm>
            <a:off x="2765319" y="994761"/>
            <a:ext cx="6136621" cy="4136531"/>
            <a:chOff x="1405994" y="1346084"/>
            <a:chExt cx="6136621" cy="4462806"/>
          </a:xfrm>
        </p:grpSpPr>
        <p:cxnSp>
          <p:nvCxnSpPr>
            <p:cNvPr id="7" name="Straight Connector 6">
              <a:extLst>
                <a:ext uri="{FF2B5EF4-FFF2-40B4-BE49-F238E27FC236}">
                  <a16:creationId xmlns:a16="http://schemas.microsoft.com/office/drawing/2014/main" id="{E70B755A-DABB-80B6-F1A7-23DA0ADB3AF6}"/>
                </a:ext>
              </a:extLst>
            </p:cNvPr>
            <p:cNvCxnSpPr>
              <a:cxnSpLocks/>
            </p:cNvCxnSpPr>
            <p:nvPr/>
          </p:nvCxnSpPr>
          <p:spPr>
            <a:xfrm flipV="1">
              <a:off x="1405994" y="3674143"/>
              <a:ext cx="2683398" cy="2134747"/>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A8CABAC-71A2-4ED6-A0DB-701D160ACDB2}"/>
                </a:ext>
              </a:extLst>
            </p:cNvPr>
            <p:cNvCxnSpPr>
              <a:cxnSpLocks/>
            </p:cNvCxnSpPr>
            <p:nvPr/>
          </p:nvCxnSpPr>
          <p:spPr>
            <a:xfrm>
              <a:off x="4414621" y="1346084"/>
              <a:ext cx="15822" cy="249187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7F204B6-FC37-C32C-5553-29932AD9E99D}"/>
                </a:ext>
              </a:extLst>
            </p:cNvPr>
            <p:cNvCxnSpPr>
              <a:cxnSpLocks/>
            </p:cNvCxnSpPr>
            <p:nvPr/>
          </p:nvCxnSpPr>
          <p:spPr>
            <a:xfrm flipH="1" flipV="1">
              <a:off x="6246590" y="4773433"/>
              <a:ext cx="1296025" cy="927812"/>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 name="Oval 4">
            <a:extLst>
              <a:ext uri="{FF2B5EF4-FFF2-40B4-BE49-F238E27FC236}">
                <a16:creationId xmlns:a16="http://schemas.microsoft.com/office/drawing/2014/main" id="{78A8F708-0D49-0F0A-0F9B-30D47F00D56D}"/>
              </a:ext>
            </a:extLst>
          </p:cNvPr>
          <p:cNvSpPr>
            <a:spLocks noChangeAspect="1"/>
          </p:cNvSpPr>
          <p:nvPr/>
        </p:nvSpPr>
        <p:spPr>
          <a:xfrm>
            <a:off x="2324335" y="1233217"/>
            <a:ext cx="6875722" cy="454930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cxnSp>
        <p:nvCxnSpPr>
          <p:cNvPr id="101" name="Straight Arrow Connector 100">
            <a:extLst>
              <a:ext uri="{FF2B5EF4-FFF2-40B4-BE49-F238E27FC236}">
                <a16:creationId xmlns:a16="http://schemas.microsoft.com/office/drawing/2014/main" id="{45FB9C5F-8DC2-FCDA-860D-23C98C29EE4B}"/>
              </a:ext>
            </a:extLst>
          </p:cNvPr>
          <p:cNvCxnSpPr>
            <a:cxnSpLocks/>
          </p:cNvCxnSpPr>
          <p:nvPr/>
        </p:nvCxnSpPr>
        <p:spPr>
          <a:xfrm flipV="1">
            <a:off x="5579236" y="3109634"/>
            <a:ext cx="0" cy="50551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102" name="Picture 101">
            <a:extLst>
              <a:ext uri="{FF2B5EF4-FFF2-40B4-BE49-F238E27FC236}">
                <a16:creationId xmlns:a16="http://schemas.microsoft.com/office/drawing/2014/main" id="{354F4A34-EA43-584A-FF25-F02278F238A0}"/>
              </a:ext>
            </a:extLst>
          </p:cNvPr>
          <p:cNvPicPr>
            <a:picLocks noChangeAspect="1"/>
          </p:cNvPicPr>
          <p:nvPr/>
        </p:nvPicPr>
        <p:blipFill>
          <a:blip r:embed="rId2"/>
          <a:stretch>
            <a:fillRect/>
          </a:stretch>
        </p:blipFill>
        <p:spPr>
          <a:xfrm>
            <a:off x="5360876" y="3635874"/>
            <a:ext cx="689948" cy="496646"/>
          </a:xfrm>
          <a:prstGeom prst="rect">
            <a:avLst/>
          </a:prstGeom>
        </p:spPr>
      </p:pic>
      <p:pic>
        <p:nvPicPr>
          <p:cNvPr id="103" name="Picture 4" descr="Hospital ">
            <a:extLst>
              <a:ext uri="{FF2B5EF4-FFF2-40B4-BE49-F238E27FC236}">
                <a16:creationId xmlns:a16="http://schemas.microsoft.com/office/drawing/2014/main" id="{87F0A68F-67AE-9492-5E6B-EA85D3EB0E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0798" y="2097606"/>
            <a:ext cx="844989" cy="608250"/>
          </a:xfrm>
          <a:prstGeom prst="rect">
            <a:avLst/>
          </a:prstGeom>
          <a:noFill/>
          <a:extLst>
            <a:ext uri="{909E8E84-426E-40DD-AFC4-6F175D3DCCD1}">
              <a14:hiddenFill xmlns:a14="http://schemas.microsoft.com/office/drawing/2010/main">
                <a:solidFill>
                  <a:srgbClr val="FFFFFF"/>
                </a:solidFill>
              </a14:hiddenFill>
            </a:ext>
          </a:extLst>
        </p:spPr>
      </p:pic>
      <p:sp>
        <p:nvSpPr>
          <p:cNvPr id="104" name="TextBox 103">
            <a:extLst>
              <a:ext uri="{FF2B5EF4-FFF2-40B4-BE49-F238E27FC236}">
                <a16:creationId xmlns:a16="http://schemas.microsoft.com/office/drawing/2014/main" id="{C3886355-DC45-BA53-66D4-88B5FF12ADD1}"/>
              </a:ext>
            </a:extLst>
          </p:cNvPr>
          <p:cNvSpPr txBox="1"/>
          <p:nvPr/>
        </p:nvSpPr>
        <p:spPr>
          <a:xfrm>
            <a:off x="5620724" y="3121026"/>
            <a:ext cx="1174427" cy="5134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44B7F">
                    <a:lumMod val="75000"/>
                  </a:srgbClr>
                </a:solidFill>
                <a:effectLst/>
                <a:uLnTx/>
                <a:uFillTx/>
                <a:latin typeface="Gill Sans MT" panose="020B0502020104020203"/>
                <a:ea typeface="+mn-ea"/>
                <a:cs typeface="Arial"/>
                <a:sym typeface="Arial"/>
              </a:rPr>
              <a:t>Referral/coaching netwo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44B7F">
                    <a:lumMod val="75000"/>
                  </a:srgbClr>
                </a:solidFill>
                <a:effectLst/>
                <a:uLnTx/>
                <a:uFillTx/>
                <a:latin typeface="Gill Sans MT" panose="020B0502020104020203"/>
                <a:ea typeface="+mn-ea"/>
                <a:cs typeface="Arial"/>
                <a:sym typeface="Arial"/>
              </a:rPr>
              <a:t>Transport systems</a:t>
            </a:r>
          </a:p>
        </p:txBody>
      </p:sp>
      <p:sp>
        <p:nvSpPr>
          <p:cNvPr id="105" name="TextBox 104">
            <a:extLst>
              <a:ext uri="{FF2B5EF4-FFF2-40B4-BE49-F238E27FC236}">
                <a16:creationId xmlns:a16="http://schemas.microsoft.com/office/drawing/2014/main" id="{401DF9DB-8763-9304-24EF-A88EA6FFD5E5}"/>
              </a:ext>
            </a:extLst>
          </p:cNvPr>
          <p:cNvSpPr txBox="1"/>
          <p:nvPr/>
        </p:nvSpPr>
        <p:spPr>
          <a:xfrm>
            <a:off x="4923087" y="4090476"/>
            <a:ext cx="165987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rivate maternity homes/health facilities</a:t>
            </a:r>
          </a:p>
        </p:txBody>
      </p:sp>
      <p:sp>
        <p:nvSpPr>
          <p:cNvPr id="106" name="TextBox 105">
            <a:extLst>
              <a:ext uri="{FF2B5EF4-FFF2-40B4-BE49-F238E27FC236}">
                <a16:creationId xmlns:a16="http://schemas.microsoft.com/office/drawing/2014/main" id="{EB433E5D-3C33-38A2-30E0-F2DFF8ADFD0D}"/>
              </a:ext>
            </a:extLst>
          </p:cNvPr>
          <p:cNvSpPr txBox="1"/>
          <p:nvPr/>
        </p:nvSpPr>
        <p:spPr>
          <a:xfrm>
            <a:off x="4678342" y="2758087"/>
            <a:ext cx="1961353" cy="3708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Secondary &amp; Tertiary Health Facilities </a:t>
            </a:r>
          </a:p>
        </p:txBody>
      </p:sp>
      <p:sp>
        <p:nvSpPr>
          <p:cNvPr id="107" name="TextBox 106">
            <a:extLst>
              <a:ext uri="{FF2B5EF4-FFF2-40B4-BE49-F238E27FC236}">
                <a16:creationId xmlns:a16="http://schemas.microsoft.com/office/drawing/2014/main" id="{4EDCD418-F81F-9214-BD1E-16AEB1C21DAA}"/>
              </a:ext>
            </a:extLst>
          </p:cNvPr>
          <p:cNvSpPr txBox="1"/>
          <p:nvPr/>
        </p:nvSpPr>
        <p:spPr>
          <a:xfrm>
            <a:off x="5328544" y="1597117"/>
            <a:ext cx="813816" cy="289441"/>
          </a:xfrm>
          <a:prstGeom prst="roundRect">
            <a:avLst/>
          </a:prstGeom>
          <a:solidFill>
            <a:schemeClr val="accent4">
              <a:lumMod val="75000"/>
            </a:schemeClr>
          </a:solid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Gill Sans MT" panose="020B0502020104020203"/>
                <a:ea typeface="+mn-ea"/>
                <a:cs typeface="Arial"/>
                <a:sym typeface="Arial"/>
              </a:rPr>
              <a:t>Supply</a:t>
            </a:r>
          </a:p>
        </p:txBody>
      </p:sp>
      <p:sp>
        <p:nvSpPr>
          <p:cNvPr id="108" name="TextBox 107">
            <a:extLst>
              <a:ext uri="{FF2B5EF4-FFF2-40B4-BE49-F238E27FC236}">
                <a16:creationId xmlns:a16="http://schemas.microsoft.com/office/drawing/2014/main" id="{70E939C2-4E3E-5126-DEAF-3D421B543A0E}"/>
              </a:ext>
            </a:extLst>
          </p:cNvPr>
          <p:cNvSpPr txBox="1"/>
          <p:nvPr/>
        </p:nvSpPr>
        <p:spPr>
          <a:xfrm>
            <a:off x="5389364" y="4679404"/>
            <a:ext cx="813816" cy="289441"/>
          </a:xfrm>
          <a:prstGeom prst="roundRect">
            <a:avLst/>
          </a:prstGeom>
          <a:solidFill>
            <a:schemeClr val="accent4">
              <a:lumMod val="75000"/>
            </a:schemeClr>
          </a:solid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Gill Sans MT" panose="020B0502020104020203"/>
                <a:ea typeface="+mn-ea"/>
                <a:cs typeface="Arial"/>
                <a:sym typeface="Arial"/>
              </a:rPr>
              <a:t>Demand </a:t>
            </a:r>
          </a:p>
        </p:txBody>
      </p:sp>
      <p:sp>
        <p:nvSpPr>
          <p:cNvPr id="128" name="Rectangle: Rounded Corners 127">
            <a:extLst>
              <a:ext uri="{FF2B5EF4-FFF2-40B4-BE49-F238E27FC236}">
                <a16:creationId xmlns:a16="http://schemas.microsoft.com/office/drawing/2014/main" id="{624ADFE6-BE3D-9143-6CA3-BCC4159A9331}"/>
              </a:ext>
            </a:extLst>
          </p:cNvPr>
          <p:cNvSpPr/>
          <p:nvPr/>
        </p:nvSpPr>
        <p:spPr>
          <a:xfrm flipH="1">
            <a:off x="6873038" y="1838546"/>
            <a:ext cx="713232" cy="749808"/>
          </a:xfrm>
          <a:prstGeom prst="roundRect">
            <a:avLst/>
          </a:prstGeom>
          <a:solidFill>
            <a:schemeClr val="accent2">
              <a:lumMod val="40000"/>
              <a:lumOff val="60000"/>
            </a:schemeClr>
          </a:solidFill>
          <a:ln>
            <a:solidFill>
              <a:schemeClr val="tx2">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sym typeface="Arial"/>
            </a:endParaRPr>
          </a:p>
        </p:txBody>
      </p:sp>
      <p:sp>
        <p:nvSpPr>
          <p:cNvPr id="130" name="Rectangle 129">
            <a:extLst>
              <a:ext uri="{FF2B5EF4-FFF2-40B4-BE49-F238E27FC236}">
                <a16:creationId xmlns:a16="http://schemas.microsoft.com/office/drawing/2014/main" id="{14B714EC-69B8-7F95-CC9F-26B0170C9B24}"/>
              </a:ext>
            </a:extLst>
          </p:cNvPr>
          <p:cNvSpPr/>
          <p:nvPr/>
        </p:nvSpPr>
        <p:spPr>
          <a:xfrm>
            <a:off x="6922295" y="2357669"/>
            <a:ext cx="1103562" cy="3301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4AA19E">
                  <a:lumMod val="75000"/>
                </a:srgbClr>
              </a:solidFill>
              <a:effectLst/>
              <a:uLnTx/>
              <a:uFillTx/>
              <a:latin typeface="Gill Sans MT" panose="020B0502020104020203"/>
              <a:ea typeface="+mn-ea"/>
              <a:cs typeface="+mn-cs"/>
              <a:sym typeface="Arial"/>
            </a:endParaRPr>
          </a:p>
        </p:txBody>
      </p:sp>
      <p:sp>
        <p:nvSpPr>
          <p:cNvPr id="125" name="Rectangle: Rounded Corners 124">
            <a:extLst>
              <a:ext uri="{FF2B5EF4-FFF2-40B4-BE49-F238E27FC236}">
                <a16:creationId xmlns:a16="http://schemas.microsoft.com/office/drawing/2014/main" id="{E4CEEF5D-A4FA-8766-7A91-356481E034EF}"/>
              </a:ext>
            </a:extLst>
          </p:cNvPr>
          <p:cNvSpPr/>
          <p:nvPr/>
        </p:nvSpPr>
        <p:spPr>
          <a:xfrm flipH="1">
            <a:off x="6903747" y="4076347"/>
            <a:ext cx="713232" cy="749808"/>
          </a:xfrm>
          <a:prstGeom prst="roundRect">
            <a:avLst/>
          </a:prstGeom>
          <a:solidFill>
            <a:schemeClr val="accent2">
              <a:lumMod val="40000"/>
              <a:lumOff val="60000"/>
            </a:schemeClr>
          </a:solidFill>
          <a:ln>
            <a:solidFill>
              <a:schemeClr val="tx2">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sym typeface="Arial"/>
            </a:endParaRPr>
          </a:p>
        </p:txBody>
      </p:sp>
      <p:sp>
        <p:nvSpPr>
          <p:cNvPr id="126" name="Rectangle 125">
            <a:extLst>
              <a:ext uri="{FF2B5EF4-FFF2-40B4-BE49-F238E27FC236}">
                <a16:creationId xmlns:a16="http://schemas.microsoft.com/office/drawing/2014/main" id="{89ACA3F3-0CF5-AF44-6CF3-BA0D77CE5AAF}"/>
              </a:ext>
            </a:extLst>
          </p:cNvPr>
          <p:cNvSpPr/>
          <p:nvPr/>
        </p:nvSpPr>
        <p:spPr>
          <a:xfrm>
            <a:off x="6574394" y="4995493"/>
            <a:ext cx="824126" cy="28081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4AA19E">
                  <a:lumMod val="75000"/>
                </a:srgbClr>
              </a:solidFill>
              <a:effectLst/>
              <a:uLnTx/>
              <a:uFillTx/>
              <a:latin typeface="Gill Sans MT" panose="020B0502020104020203"/>
              <a:ea typeface="+mn-ea"/>
              <a:cs typeface="+mn-cs"/>
              <a:sym typeface="Arial"/>
            </a:endParaRPr>
          </a:p>
        </p:txBody>
      </p:sp>
      <p:sp>
        <p:nvSpPr>
          <p:cNvPr id="119" name="Rectangle: Rounded Corners 118">
            <a:extLst>
              <a:ext uri="{FF2B5EF4-FFF2-40B4-BE49-F238E27FC236}">
                <a16:creationId xmlns:a16="http://schemas.microsoft.com/office/drawing/2014/main" id="{9DF40C40-0BCA-E22F-3EAB-D22C9C94E601}"/>
              </a:ext>
            </a:extLst>
          </p:cNvPr>
          <p:cNvSpPr/>
          <p:nvPr/>
        </p:nvSpPr>
        <p:spPr>
          <a:xfrm flipH="1">
            <a:off x="6050835" y="4929184"/>
            <a:ext cx="713232" cy="749808"/>
          </a:xfrm>
          <a:prstGeom prst="roundRect">
            <a:avLst/>
          </a:prstGeom>
          <a:solidFill>
            <a:schemeClr val="accent2">
              <a:lumMod val="40000"/>
              <a:lumOff val="60000"/>
            </a:schemeClr>
          </a:solidFill>
          <a:ln>
            <a:solidFill>
              <a:schemeClr val="tx2">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sym typeface="Arial"/>
            </a:endParaRPr>
          </a:p>
        </p:txBody>
      </p:sp>
      <p:sp>
        <p:nvSpPr>
          <p:cNvPr id="2" name="Rectangle: Rounded Corners 1">
            <a:extLst>
              <a:ext uri="{FF2B5EF4-FFF2-40B4-BE49-F238E27FC236}">
                <a16:creationId xmlns:a16="http://schemas.microsoft.com/office/drawing/2014/main" id="{0CBE1D30-BFE6-75BD-169B-CD9DB0339DB9}"/>
              </a:ext>
            </a:extLst>
          </p:cNvPr>
          <p:cNvSpPr/>
          <p:nvPr/>
        </p:nvSpPr>
        <p:spPr>
          <a:xfrm>
            <a:off x="3133444" y="2960854"/>
            <a:ext cx="713232" cy="74980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3" name="Picture 22" descr="Money bag ">
            <a:extLst>
              <a:ext uri="{FF2B5EF4-FFF2-40B4-BE49-F238E27FC236}">
                <a16:creationId xmlns:a16="http://schemas.microsoft.com/office/drawing/2014/main" id="{D2D6235C-25A3-2F76-D2CC-B3A22607D9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1561" y="3025239"/>
            <a:ext cx="657272" cy="55398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F4973C9-0663-4013-F4B0-FAD9F6864317}"/>
              </a:ext>
            </a:extLst>
          </p:cNvPr>
          <p:cNvSpPr txBox="1"/>
          <p:nvPr/>
        </p:nvSpPr>
        <p:spPr>
          <a:xfrm>
            <a:off x="1" y="2920154"/>
            <a:ext cx="321777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rPr>
              <a:t>Access to financing</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BOI, BOA, Development bank of Africa, Fidelity Bank</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PSN Foundation &amp; ACPN cooperativ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Innovative models: </a:t>
            </a:r>
            <a:r>
              <a:rPr kumimoji="0" lang="en-US" sz="1000" b="0" i="0" u="none" strike="noStrike" kern="1200" cap="none" spc="0" normalizeH="0" baseline="0" noProof="0" dirty="0" err="1">
                <a:ln>
                  <a:noFill/>
                </a:ln>
                <a:solidFill>
                  <a:prstClr val="black"/>
                </a:solidFill>
                <a:effectLst/>
                <a:uLnTx/>
                <a:uFillTx/>
                <a:latin typeface="Gill Sans MT" panose="020B0502020104020203" pitchFamily="34" charset="0"/>
                <a:ea typeface="+mn-ea"/>
                <a:cs typeface="Arial"/>
                <a:sym typeface="Arial"/>
              </a:rPr>
              <a:t>E.g</a:t>
            </a: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 </a:t>
            </a:r>
            <a:r>
              <a:rPr kumimoji="0" lang="en-US" sz="1000" b="0" i="0" u="none" strike="noStrike" kern="1200" cap="none" spc="0" normalizeH="0" baseline="0" noProof="0" dirty="0" err="1">
                <a:ln>
                  <a:noFill/>
                </a:ln>
                <a:solidFill>
                  <a:prstClr val="black"/>
                </a:solidFill>
                <a:effectLst/>
                <a:uLnTx/>
                <a:uFillTx/>
                <a:latin typeface="Gill Sans MT" panose="020B0502020104020203" pitchFamily="34" charset="0"/>
                <a:ea typeface="+mn-ea"/>
                <a:cs typeface="Arial"/>
                <a:sym typeface="Arial"/>
              </a:rPr>
              <a:t>Unjani</a:t>
            </a: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 mode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Access to credit-type payment models from manufacturers</a:t>
            </a:r>
          </a:p>
        </p:txBody>
      </p:sp>
      <p:sp>
        <p:nvSpPr>
          <p:cNvPr id="12" name="TextBox 11">
            <a:extLst>
              <a:ext uri="{FF2B5EF4-FFF2-40B4-BE49-F238E27FC236}">
                <a16:creationId xmlns:a16="http://schemas.microsoft.com/office/drawing/2014/main" id="{CA3A9646-9998-33CE-DA27-11B945703DD5}"/>
              </a:ext>
            </a:extLst>
          </p:cNvPr>
          <p:cNvSpPr txBox="1"/>
          <p:nvPr/>
        </p:nvSpPr>
        <p:spPr>
          <a:xfrm>
            <a:off x="7586270" y="1831361"/>
            <a:ext cx="252816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AA19E">
                    <a:lumMod val="75000"/>
                  </a:srgbClr>
                </a:solidFill>
                <a:effectLst/>
                <a:uLnTx/>
                <a:uFillTx/>
                <a:latin typeface="Gill Sans MT" panose="020B0502020104020203"/>
                <a:ea typeface="+mn-ea"/>
                <a:cs typeface="+mn-cs"/>
                <a:sym typeface="Arial"/>
              </a:rPr>
              <a:t>Quality of Care</a:t>
            </a:r>
            <a:endParaRPr kumimoji="0" lang="en-US" sz="10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rPr>
              <a:t>Digital decision support, self assessment tools</a:t>
            </a:r>
          </a:p>
        </p:txBody>
      </p:sp>
      <p:sp>
        <p:nvSpPr>
          <p:cNvPr id="13" name="TextBox 12">
            <a:extLst>
              <a:ext uri="{FF2B5EF4-FFF2-40B4-BE49-F238E27FC236}">
                <a16:creationId xmlns:a16="http://schemas.microsoft.com/office/drawing/2014/main" id="{6052FD70-8171-AB76-273B-85F7B80A512D}"/>
              </a:ext>
            </a:extLst>
          </p:cNvPr>
          <p:cNvSpPr txBox="1"/>
          <p:nvPr/>
        </p:nvSpPr>
        <p:spPr>
          <a:xfrm>
            <a:off x="7717971" y="4076347"/>
            <a:ext cx="255858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AA19E">
                    <a:lumMod val="75000"/>
                  </a:srgbClr>
                </a:solidFill>
                <a:effectLst/>
                <a:uLnTx/>
                <a:uFillTx/>
                <a:latin typeface="Gill Sans MT" panose="020B0502020104020203"/>
                <a:ea typeface="+mn-ea"/>
                <a:cs typeface="+mn-cs"/>
                <a:sym typeface="Arial"/>
              </a:rPr>
              <a:t>Data reporting</a:t>
            </a:r>
            <a:endParaRPr kumimoji="0" lang="en-US" sz="1000" b="0" i="0" u="none" strike="noStrike" kern="1200" cap="none" spc="0" normalizeH="0" baseline="0" noProof="0" dirty="0">
              <a:ln>
                <a:noFill/>
              </a:ln>
              <a:solidFill>
                <a:srgbClr val="112E38">
                  <a:lumMod val="90000"/>
                  <a:lumOff val="10000"/>
                </a:srgbClr>
              </a:solidFill>
              <a:effectLst/>
              <a:uLnTx/>
              <a:uFillTx/>
              <a:latin typeface="Gill Sans MT" panose="020B0502020104020203" pitchFamily="34" charset="0"/>
              <a:ea typeface="+mn-ea"/>
              <a:cs typeface="Arial"/>
              <a:sym typeface="Arial"/>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DHIS2 - Access to tools and capacity building by private health facilitie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MPDSR systems </a:t>
            </a:r>
          </a:p>
          <a:p>
            <a:pPr marL="27432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Financing for logistics</a:t>
            </a:r>
          </a:p>
          <a:p>
            <a:pPr marL="27432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Collaboration with AMURT</a:t>
            </a:r>
          </a:p>
          <a:p>
            <a:pPr marL="27432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Incentive to report </a:t>
            </a:r>
          </a:p>
        </p:txBody>
      </p:sp>
      <p:grpSp>
        <p:nvGrpSpPr>
          <p:cNvPr id="22" name="Group 21">
            <a:extLst>
              <a:ext uri="{FF2B5EF4-FFF2-40B4-BE49-F238E27FC236}">
                <a16:creationId xmlns:a16="http://schemas.microsoft.com/office/drawing/2014/main" id="{0E07BC44-A16A-F989-C694-8CC6C5134429}"/>
              </a:ext>
            </a:extLst>
          </p:cNvPr>
          <p:cNvGrpSpPr/>
          <p:nvPr/>
        </p:nvGrpSpPr>
        <p:grpSpPr>
          <a:xfrm>
            <a:off x="3571678" y="4239635"/>
            <a:ext cx="713232" cy="749808"/>
            <a:chOff x="3571678" y="4413812"/>
            <a:chExt cx="713232" cy="749808"/>
          </a:xfrm>
        </p:grpSpPr>
        <p:sp>
          <p:nvSpPr>
            <p:cNvPr id="14" name="Rectangle: Rounded Corners 13">
              <a:extLst>
                <a:ext uri="{FF2B5EF4-FFF2-40B4-BE49-F238E27FC236}">
                  <a16:creationId xmlns:a16="http://schemas.microsoft.com/office/drawing/2014/main" id="{0E5C088A-DE2F-CF26-97E9-BC5351EA5C4C}"/>
                </a:ext>
              </a:extLst>
            </p:cNvPr>
            <p:cNvSpPr/>
            <p:nvPr/>
          </p:nvSpPr>
          <p:spPr>
            <a:xfrm>
              <a:off x="3571678" y="4413812"/>
              <a:ext cx="713232" cy="749808"/>
            </a:xfrm>
            <a:prstGeom prst="roundRect">
              <a:avLst>
                <a:gd name="adj" fmla="val 1666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pic>
          <p:nvPicPr>
            <p:cNvPr id="15" name="Picture 24" descr="Products ">
              <a:extLst>
                <a:ext uri="{FF2B5EF4-FFF2-40B4-BE49-F238E27FC236}">
                  <a16:creationId xmlns:a16="http://schemas.microsoft.com/office/drawing/2014/main" id="{7889F3FB-F556-BD5D-9CCB-574CA25CF9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34783" y="4577184"/>
              <a:ext cx="532199" cy="43896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TextBox 15">
            <a:extLst>
              <a:ext uri="{FF2B5EF4-FFF2-40B4-BE49-F238E27FC236}">
                <a16:creationId xmlns:a16="http://schemas.microsoft.com/office/drawing/2014/main" id="{EBA8EB3F-5B79-7ECC-552C-8107C1818B98}"/>
              </a:ext>
            </a:extLst>
          </p:cNvPr>
          <p:cNvSpPr txBox="1"/>
          <p:nvPr/>
        </p:nvSpPr>
        <p:spPr>
          <a:xfrm>
            <a:off x="963782" y="4076347"/>
            <a:ext cx="260148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rPr>
              <a:t>Aggreg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Pooled procurement through: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DMA</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PSN &amp; ACP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Supply chain innovators </a:t>
            </a:r>
            <a:r>
              <a:rPr kumimoji="0" lang="en-US" sz="1000" b="0" i="0" u="none" strike="noStrike" kern="1200" cap="none" spc="0" normalizeH="0" baseline="0" noProof="0" dirty="0" err="1">
                <a:ln>
                  <a:noFill/>
                </a:ln>
                <a:solidFill>
                  <a:prstClr val="black"/>
                </a:solidFill>
                <a:effectLst/>
                <a:uLnTx/>
                <a:uFillTx/>
                <a:latin typeface="Gill Sans MT" panose="020B0502020104020203" pitchFamily="34" charset="0"/>
                <a:ea typeface="+mn-ea"/>
                <a:cs typeface="Arial"/>
                <a:sym typeface="Arial"/>
              </a:rPr>
              <a:t>Eg.</a:t>
            </a: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 </a:t>
            </a:r>
            <a:r>
              <a:rPr kumimoji="0" lang="en-US" sz="1000" b="0" i="0" u="none" strike="noStrike" kern="1200" cap="none" spc="0" normalizeH="0" baseline="0" noProof="0" dirty="0" err="1">
                <a:ln>
                  <a:noFill/>
                </a:ln>
                <a:solidFill>
                  <a:prstClr val="black"/>
                </a:solidFill>
                <a:effectLst/>
                <a:uLnTx/>
                <a:uFillTx/>
                <a:latin typeface="Gill Sans MT" panose="020B0502020104020203" pitchFamily="34" charset="0"/>
                <a:ea typeface="+mn-ea"/>
                <a:cs typeface="Arial"/>
                <a:sym typeface="Arial"/>
              </a:rPr>
              <a:t>Drugstoc</a:t>
            </a: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 Shelf life, </a:t>
            </a:r>
            <a:r>
              <a:rPr kumimoji="0" lang="en-US" sz="1000" b="0" i="0" u="none" strike="noStrike" kern="1200" cap="none" spc="0" normalizeH="0" baseline="0" noProof="0" dirty="0" err="1">
                <a:ln>
                  <a:noFill/>
                </a:ln>
                <a:solidFill>
                  <a:prstClr val="black"/>
                </a:solidFill>
                <a:effectLst/>
                <a:uLnTx/>
                <a:uFillTx/>
                <a:latin typeface="Gill Sans MT" panose="020B0502020104020203" pitchFamily="34" charset="0"/>
                <a:ea typeface="+mn-ea"/>
                <a:cs typeface="Arial"/>
                <a:sym typeface="Arial"/>
              </a:rPr>
              <a:t>Lifestores</a:t>
            </a: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 Remedial Health</a:t>
            </a:r>
          </a:p>
        </p:txBody>
      </p:sp>
      <p:sp>
        <p:nvSpPr>
          <p:cNvPr id="21" name="Rectangle: Rounded Corners 20">
            <a:extLst>
              <a:ext uri="{FF2B5EF4-FFF2-40B4-BE49-F238E27FC236}">
                <a16:creationId xmlns:a16="http://schemas.microsoft.com/office/drawing/2014/main" id="{B4BC245D-713F-406B-8AEA-5B11490CFE4E}"/>
              </a:ext>
            </a:extLst>
          </p:cNvPr>
          <p:cNvSpPr/>
          <p:nvPr/>
        </p:nvSpPr>
        <p:spPr>
          <a:xfrm flipH="1">
            <a:off x="7357900" y="3030465"/>
            <a:ext cx="713232" cy="749808"/>
          </a:xfrm>
          <a:prstGeom prst="roundRect">
            <a:avLst/>
          </a:prstGeom>
          <a:solidFill>
            <a:schemeClr val="accent2">
              <a:lumMod val="40000"/>
              <a:lumOff val="60000"/>
            </a:schemeClr>
          </a:solidFill>
          <a:ln>
            <a:solidFill>
              <a:schemeClr val="tx2">
                <a:lumMod val="10000"/>
                <a:lumOff val="9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Gill Sans MT" panose="020B0502020104020203"/>
              <a:ea typeface="+mn-ea"/>
              <a:cs typeface="+mn-cs"/>
              <a:sym typeface="Arial"/>
            </a:endParaRPr>
          </a:p>
        </p:txBody>
      </p:sp>
      <p:sp>
        <p:nvSpPr>
          <p:cNvPr id="25" name="TextBox 24">
            <a:extLst>
              <a:ext uri="{FF2B5EF4-FFF2-40B4-BE49-F238E27FC236}">
                <a16:creationId xmlns:a16="http://schemas.microsoft.com/office/drawing/2014/main" id="{53845385-973E-E7D5-A652-9FFEED24B295}"/>
              </a:ext>
            </a:extLst>
          </p:cNvPr>
          <p:cNvSpPr txBox="1"/>
          <p:nvPr/>
        </p:nvSpPr>
        <p:spPr>
          <a:xfrm>
            <a:off x="8116166" y="3030465"/>
            <a:ext cx="216038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AA19E">
                    <a:lumMod val="75000"/>
                  </a:srgbClr>
                </a:solidFill>
                <a:effectLst/>
                <a:uLnTx/>
                <a:uFillTx/>
                <a:latin typeface="Gill Sans MT" panose="020B0502020104020203"/>
                <a:ea typeface="+mn-ea"/>
                <a:cs typeface="+mn-cs"/>
                <a:sym typeface="Arial"/>
              </a:rPr>
              <a:t>Provider capacity</a:t>
            </a:r>
            <a:endParaRPr kumimoji="0" lang="en-US" sz="10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rPr>
              <a:t>Digital learning with incentives</a:t>
            </a:r>
          </a:p>
        </p:txBody>
      </p:sp>
      <p:sp>
        <p:nvSpPr>
          <p:cNvPr id="26" name="TextBox 25">
            <a:extLst>
              <a:ext uri="{FF2B5EF4-FFF2-40B4-BE49-F238E27FC236}">
                <a16:creationId xmlns:a16="http://schemas.microsoft.com/office/drawing/2014/main" id="{7071F124-08ED-C7FF-E45C-19684EE9750E}"/>
              </a:ext>
            </a:extLst>
          </p:cNvPr>
          <p:cNvSpPr txBox="1"/>
          <p:nvPr/>
        </p:nvSpPr>
        <p:spPr>
          <a:xfrm>
            <a:off x="3685574" y="5017741"/>
            <a:ext cx="2266665"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AA19E">
                    <a:lumMod val="75000"/>
                  </a:srgbClr>
                </a:solidFill>
                <a:effectLst/>
                <a:uLnTx/>
                <a:uFillTx/>
                <a:latin typeface="Gill Sans MT" panose="020B0502020104020203"/>
                <a:ea typeface="+mn-ea"/>
                <a:cs typeface="+mn-cs"/>
                <a:sym typeface="Arial"/>
              </a:rPr>
              <a:t>Polic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sym typeface="Arial"/>
              </a:rPr>
              <a:t>State public-private partnership policy</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Arial"/>
                <a:sym typeface="Arial"/>
              </a:rPr>
              <a:t>Policy adoption and implementation that affect private MNH markets</a:t>
            </a:r>
            <a:endPar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endParaRPr>
          </a:p>
        </p:txBody>
      </p:sp>
      <p:sp>
        <p:nvSpPr>
          <p:cNvPr id="17" name="Rectangle: Rounded Corners 16">
            <a:extLst>
              <a:ext uri="{FF2B5EF4-FFF2-40B4-BE49-F238E27FC236}">
                <a16:creationId xmlns:a16="http://schemas.microsoft.com/office/drawing/2014/main" id="{E4C59610-B531-B537-681D-E47A6CCD0C7C}"/>
              </a:ext>
            </a:extLst>
          </p:cNvPr>
          <p:cNvSpPr/>
          <p:nvPr/>
        </p:nvSpPr>
        <p:spPr>
          <a:xfrm>
            <a:off x="3966417" y="1838120"/>
            <a:ext cx="713232" cy="74980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pic>
        <p:nvPicPr>
          <p:cNvPr id="28" name="Picture 26" descr="Insurance ">
            <a:extLst>
              <a:ext uri="{FF2B5EF4-FFF2-40B4-BE49-F238E27FC236}">
                <a16:creationId xmlns:a16="http://schemas.microsoft.com/office/drawing/2014/main" id="{A2307FC5-502F-90EC-ACE8-9F6A3AC6314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67411" y="1941562"/>
            <a:ext cx="525544" cy="489619"/>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907419ED-833B-6AE2-A4E9-D25D6C6452AE}"/>
              </a:ext>
            </a:extLst>
          </p:cNvPr>
          <p:cNvSpPr txBox="1"/>
          <p:nvPr/>
        </p:nvSpPr>
        <p:spPr>
          <a:xfrm>
            <a:off x="1069359" y="1751032"/>
            <a:ext cx="306396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4AA19E"/>
                </a:solidFill>
                <a:effectLst/>
                <a:uLnTx/>
                <a:uFillTx/>
                <a:latin typeface="Gill Sans MT" panose="020B0502020104020203" pitchFamily="34" charset="0"/>
                <a:ea typeface="+mn-ea"/>
                <a:cs typeface="Arial"/>
                <a:sym typeface="Arial"/>
              </a:rPr>
              <a:t>Insuranc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Funds from the state governmen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Private associa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Private companies –CS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a:sym typeface="Arial"/>
              </a:rPr>
              <a:t>Ministries of Commerce/Finance /Business development </a:t>
            </a:r>
          </a:p>
        </p:txBody>
      </p:sp>
      <p:pic>
        <p:nvPicPr>
          <p:cNvPr id="34" name="Picture 4" descr="Policies document">
            <a:extLst>
              <a:ext uri="{FF2B5EF4-FFF2-40B4-BE49-F238E27FC236}">
                <a16:creationId xmlns:a16="http://schemas.microsoft.com/office/drawing/2014/main" id="{CA542F75-6992-70F8-2C79-02B1D84457C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l="13437" t="12116" r="14193" b="12541"/>
          <a:stretch/>
        </p:blipFill>
        <p:spPr bwMode="auto">
          <a:xfrm>
            <a:off x="6113173" y="4977138"/>
            <a:ext cx="611094" cy="63186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Data analysis ">
            <a:extLst>
              <a:ext uri="{FF2B5EF4-FFF2-40B4-BE49-F238E27FC236}">
                <a16:creationId xmlns:a16="http://schemas.microsoft.com/office/drawing/2014/main" id="{4228B577-72D1-E5D1-928D-5A8EBC0A1CF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50646" y="4210136"/>
            <a:ext cx="582697" cy="55573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8" descr="Reception ">
            <a:extLst>
              <a:ext uri="{FF2B5EF4-FFF2-40B4-BE49-F238E27FC236}">
                <a16:creationId xmlns:a16="http://schemas.microsoft.com/office/drawing/2014/main" id="{00DE89FB-5D80-CF4E-CF94-47E0743E4EB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49488" y="3159628"/>
            <a:ext cx="595203" cy="50625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Quality ">
            <a:extLst>
              <a:ext uri="{FF2B5EF4-FFF2-40B4-BE49-F238E27FC236}">
                <a16:creationId xmlns:a16="http://schemas.microsoft.com/office/drawing/2014/main" id="{A4E8332F-66A9-9A9F-1A9A-838D3939C34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63993" y="1951842"/>
            <a:ext cx="573469" cy="573469"/>
          </a:xfrm>
          <a:prstGeom prst="rect">
            <a:avLst/>
          </a:prstGeom>
          <a:noFill/>
          <a:extLst>
            <a:ext uri="{909E8E84-426E-40DD-AFC4-6F175D3DCCD1}">
              <a14:hiddenFill xmlns:a14="http://schemas.microsoft.com/office/drawing/2010/main">
                <a:solidFill>
                  <a:srgbClr val="FFFFFF"/>
                </a:solidFill>
              </a14:hiddenFill>
            </a:ext>
          </a:extLst>
        </p:spPr>
      </p:pic>
      <p:sp>
        <p:nvSpPr>
          <p:cNvPr id="11" name="Arc 10">
            <a:extLst>
              <a:ext uri="{FF2B5EF4-FFF2-40B4-BE49-F238E27FC236}">
                <a16:creationId xmlns:a16="http://schemas.microsoft.com/office/drawing/2014/main" id="{044B76FE-EC66-C0BA-870E-F31FBD265A85}"/>
              </a:ext>
            </a:extLst>
          </p:cNvPr>
          <p:cNvSpPr/>
          <p:nvPr/>
        </p:nvSpPr>
        <p:spPr>
          <a:xfrm>
            <a:off x="4479648" y="2018639"/>
            <a:ext cx="2544245" cy="2158622"/>
          </a:xfrm>
          <a:prstGeom prst="arc">
            <a:avLst>
              <a:gd name="adj1" fmla="val 10847183"/>
              <a:gd name="adj2" fmla="val 21584592"/>
            </a:avLst>
          </a:prstGeom>
          <a:noFill/>
          <a:ln w="76200" cap="flat" cmpd="sng" algn="ctr">
            <a:solidFill>
              <a:srgbClr val="044B7F"/>
            </a:solidFill>
            <a:prstDash val="solid"/>
            <a:miter lim="800000"/>
            <a:tailEnd type="triangl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Arial"/>
              <a:sym typeface="Arial"/>
            </a:endParaRPr>
          </a:p>
        </p:txBody>
      </p:sp>
      <p:sp>
        <p:nvSpPr>
          <p:cNvPr id="20" name="Arc 19">
            <a:extLst>
              <a:ext uri="{FF2B5EF4-FFF2-40B4-BE49-F238E27FC236}">
                <a16:creationId xmlns:a16="http://schemas.microsoft.com/office/drawing/2014/main" id="{BDD587F9-36D6-4964-9CF7-FF0F2EB3B011}"/>
              </a:ext>
            </a:extLst>
          </p:cNvPr>
          <p:cNvSpPr/>
          <p:nvPr/>
        </p:nvSpPr>
        <p:spPr>
          <a:xfrm flipH="1" flipV="1">
            <a:off x="4502740" y="2643997"/>
            <a:ext cx="2544246" cy="1975393"/>
          </a:xfrm>
          <a:prstGeom prst="arc">
            <a:avLst>
              <a:gd name="adj1" fmla="val 10847183"/>
              <a:gd name="adj2" fmla="val 21584592"/>
            </a:avLst>
          </a:prstGeom>
          <a:noFill/>
          <a:ln w="76200" cap="flat" cmpd="sng" algn="ctr">
            <a:solidFill>
              <a:srgbClr val="044B7F"/>
            </a:solidFill>
            <a:prstDash val="solid"/>
            <a:miter lim="800000"/>
            <a:tailEnd type="triangle" w="med" len="sm"/>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black"/>
              </a:solidFill>
              <a:effectLst/>
              <a:uLnTx/>
              <a:uFillTx/>
              <a:latin typeface="Gill Sans MT" panose="020B0502020104020203"/>
              <a:ea typeface="+mn-ea"/>
              <a:cs typeface="Arial"/>
              <a:sym typeface="Arial"/>
            </a:endParaRPr>
          </a:p>
        </p:txBody>
      </p:sp>
      <p:sp>
        <p:nvSpPr>
          <p:cNvPr id="23" name="TextBox 22">
            <a:extLst>
              <a:ext uri="{FF2B5EF4-FFF2-40B4-BE49-F238E27FC236}">
                <a16:creationId xmlns:a16="http://schemas.microsoft.com/office/drawing/2014/main" id="{886514D8-F2D2-44B7-B8B8-ED62B7799092}"/>
              </a:ext>
            </a:extLst>
          </p:cNvPr>
          <p:cNvSpPr txBox="1"/>
          <p:nvPr/>
        </p:nvSpPr>
        <p:spPr>
          <a:xfrm>
            <a:off x="9693205" y="2144184"/>
            <a:ext cx="2489353"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Capacity building to address health workers’ attitud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Reward system for improve quality of car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Integrated supportive supervis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Scale up support by Ips to more HF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Channels to improve the quality of healthcare workers in private of HFs (addressing auxiliary nurses)</a:t>
            </a:r>
          </a:p>
        </p:txBody>
      </p:sp>
      <p:sp>
        <p:nvSpPr>
          <p:cNvPr id="24" name="TextBox 23">
            <a:extLst>
              <a:ext uri="{FF2B5EF4-FFF2-40B4-BE49-F238E27FC236}">
                <a16:creationId xmlns:a16="http://schemas.microsoft.com/office/drawing/2014/main" id="{5289725C-0549-86EE-657B-89A57DA395A8}"/>
              </a:ext>
            </a:extLst>
          </p:cNvPr>
          <p:cNvSpPr txBox="1"/>
          <p:nvPr/>
        </p:nvSpPr>
        <p:spPr>
          <a:xfrm>
            <a:off x="2371431" y="5956542"/>
            <a:ext cx="7449139"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Gill Sans MT" panose="020B0502020104020203"/>
                <a:ea typeface="+mn-ea"/>
                <a:cs typeface="+mn-cs"/>
              </a:rPr>
              <a:t>Referr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Documentation – tools and capacity building (Identifying digital o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Follow up mechanism- Digital options (Online and off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Gill Sans MT" panose="020B0502020104020203"/>
                <a:ea typeface="+mn-ea"/>
                <a:cs typeface="+mn-cs"/>
              </a:rPr>
              <a:t>Transport syst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Gill Sans MT" panose="020B0502020104020203"/>
                <a:ea typeface="+mn-ea"/>
                <a:cs typeface="+mn-cs"/>
              </a:rPr>
              <a:t>Adapt the existing community-driven mechanism (NURTW) and include a reward mechanism for sustainability </a:t>
            </a:r>
          </a:p>
        </p:txBody>
      </p:sp>
    </p:spTree>
    <p:extLst>
      <p:ext uri="{BB962C8B-B14F-4D97-AF65-F5344CB8AC3E}">
        <p14:creationId xmlns:p14="http://schemas.microsoft.com/office/powerpoint/2010/main" val="37455378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36AC9D-4F9F-47D0-AEA9-B544B76088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B036AC9D-4F9F-47D0-AEA9-B544B7608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7DD9086-622A-0283-EF33-81E6A2E462A2}"/>
              </a:ext>
            </a:extLst>
          </p:cNvPr>
          <p:cNvPicPr>
            <a:picLocks noChangeAspect="1"/>
          </p:cNvPicPr>
          <p:nvPr/>
        </p:nvPicPr>
        <p:blipFill rotWithShape="1">
          <a:blip r:embed="rId5">
            <a:extLst>
              <a:ext uri="{28A0092B-C50C-407E-A947-70E740481C1C}">
                <a14:useLocalDpi xmlns:a14="http://schemas.microsoft.com/office/drawing/2010/main" val="0"/>
              </a:ext>
            </a:extLst>
          </a:blip>
          <a:srcRect l="14949" t="14261" r="3191" b="25945"/>
          <a:stretch/>
        </p:blipFill>
        <p:spPr>
          <a:xfrm>
            <a:off x="11102282" y="6184900"/>
            <a:ext cx="899218" cy="508000"/>
          </a:xfrm>
          <a:prstGeom prst="rect">
            <a:avLst/>
          </a:prstGeom>
        </p:spPr>
      </p:pic>
    </p:spTree>
    <p:extLst>
      <p:ext uri="{BB962C8B-B14F-4D97-AF65-F5344CB8AC3E}">
        <p14:creationId xmlns:p14="http://schemas.microsoft.com/office/powerpoint/2010/main" val="4251616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think-cell data - do not delete" hidden="1">
            <a:extLst>
              <a:ext uri="{FF2B5EF4-FFF2-40B4-BE49-F238E27FC236}">
                <a16:creationId xmlns:a16="http://schemas.microsoft.com/office/drawing/2014/main" id="{0BC39815-A77E-D568-BB2B-33023D1678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9" name="think-cell data - do not delete" hidden="1">
                        <a:extLst>
                          <a:ext uri="{FF2B5EF4-FFF2-40B4-BE49-F238E27FC236}">
                            <a16:creationId xmlns:a16="http://schemas.microsoft.com/office/drawing/2014/main" id="{0BC39815-A77E-D568-BB2B-33023D167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59CF32-BBF4-BC45-04BB-177499946065}"/>
              </a:ext>
            </a:extLst>
          </p:cNvPr>
          <p:cNvSpPr>
            <a:spLocks noGrp="1"/>
          </p:cNvSpPr>
          <p:nvPr>
            <p:ph type="title"/>
          </p:nvPr>
        </p:nvSpPr>
        <p:spPr/>
        <p:txBody>
          <a:bodyPr vert="horz">
            <a:normAutofit/>
          </a:bodyPr>
          <a:lstStyle/>
          <a:p>
            <a:pPr algn="l"/>
            <a:r>
              <a:rPr lang="en-US" dirty="0"/>
              <a:t>We followed a four-step approach to conduct this assessment</a:t>
            </a:r>
          </a:p>
        </p:txBody>
      </p:sp>
      <p:pic>
        <p:nvPicPr>
          <p:cNvPr id="4" name="Picture 18" descr="A picture containing game">
            <a:extLst>
              <a:ext uri="{FF2B5EF4-FFF2-40B4-BE49-F238E27FC236}">
                <a16:creationId xmlns:a16="http://schemas.microsoft.com/office/drawing/2014/main" id="{0449C198-36BD-5EB6-4512-2A4FFE92C4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4188" y="2279144"/>
            <a:ext cx="9513887" cy="417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9">
            <a:extLst>
              <a:ext uri="{FF2B5EF4-FFF2-40B4-BE49-F238E27FC236}">
                <a16:creationId xmlns:a16="http://schemas.microsoft.com/office/drawing/2014/main" id="{66044D78-E369-EF01-EFF7-3D9FB101C4B0}"/>
              </a:ext>
            </a:extLst>
          </p:cNvPr>
          <p:cNvSpPr txBox="1">
            <a:spLocks noChangeArrowheads="1"/>
          </p:cNvSpPr>
          <p:nvPr/>
        </p:nvSpPr>
        <p:spPr bwMode="auto">
          <a:xfrm>
            <a:off x="1755775" y="2376420"/>
            <a:ext cx="9512300" cy="4171950"/>
          </a:xfrm>
          <a:prstGeom prst="rect">
            <a:avLst/>
          </a:prstGeom>
          <a:solidFill>
            <a:schemeClr val="bg1">
              <a:alpha val="9490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3500" tIns="70759" rIns="63500" bIns="63500" anchorCtr="1"/>
          <a:lstStyle>
            <a:lvl1pPr defTabSz="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cxnSp>
        <p:nvCxnSpPr>
          <p:cNvPr id="6" name="Straight Connector 5">
            <a:extLst>
              <a:ext uri="{FF2B5EF4-FFF2-40B4-BE49-F238E27FC236}">
                <a16:creationId xmlns:a16="http://schemas.microsoft.com/office/drawing/2014/main" id="{108AE294-2F61-760F-E901-7D539B6B9827}"/>
              </a:ext>
            </a:extLst>
          </p:cNvPr>
          <p:cNvCxnSpPr/>
          <p:nvPr/>
        </p:nvCxnSpPr>
        <p:spPr>
          <a:xfrm>
            <a:off x="49213" y="3058945"/>
            <a:ext cx="12070080" cy="0"/>
          </a:xfrm>
          <a:prstGeom prst="line">
            <a:avLst/>
          </a:prstGeom>
          <a:ln>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B06317C-B598-A734-ADC7-6A64A9A891ED}"/>
              </a:ext>
            </a:extLst>
          </p:cNvPr>
          <p:cNvSpPr/>
          <p:nvPr/>
        </p:nvSpPr>
        <p:spPr bwMode="auto">
          <a:xfrm>
            <a:off x="70781" y="3112922"/>
            <a:ext cx="1280160" cy="3213092"/>
          </a:xfrm>
          <a:prstGeom prst="rect">
            <a:avLst/>
          </a:prstGeom>
          <a:gradFill>
            <a:gsLst>
              <a:gs pos="100000">
                <a:srgbClr val="FFFFFF">
                  <a:lumMod val="75000"/>
                </a:srgbClr>
              </a:gs>
              <a:gs pos="0">
                <a:srgbClr val="FFFFFF"/>
              </a:gs>
              <a:gs pos="62000">
                <a:srgbClr val="FFFFFF">
                  <a:lumMod val="95000"/>
                </a:srgbClr>
              </a:gs>
            </a:gsLst>
            <a:lin ang="13200000" scaled="0"/>
          </a:gradFill>
          <a:ln w="9525">
            <a:noFill/>
            <a:miter lim="800000"/>
            <a:headEnd/>
            <a:tailEnd/>
          </a:ln>
          <a:effectLst>
            <a:outerShdw blurRad="50800" dist="38100" dir="5400000" algn="t" rotWithShape="0">
              <a:prstClr val="black">
                <a:alpha val="40000"/>
              </a:prstClr>
            </a:outerShdw>
          </a:effectLst>
        </p:spPr>
        <p:txBody>
          <a:bodyPr tIns="91440" rIns="0" bIns="0"/>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600" b="1" i="0" u="none" strike="noStrike" kern="0" cap="none" spc="0" normalizeH="0" baseline="0" noProof="0" dirty="0">
                <a:ln>
                  <a:noFill/>
                </a:ln>
                <a:solidFill>
                  <a:srgbClr val="000000"/>
                </a:solidFill>
                <a:effectLst/>
                <a:uLnTx/>
                <a:uFillTx/>
                <a:latin typeface="Arial"/>
                <a:ea typeface="+mn-ea"/>
                <a:cs typeface="+mn-cs"/>
              </a:rPr>
              <a:t>Description</a:t>
            </a:r>
          </a:p>
        </p:txBody>
      </p:sp>
      <p:grpSp>
        <p:nvGrpSpPr>
          <p:cNvPr id="8" name="Group 7">
            <a:extLst>
              <a:ext uri="{FF2B5EF4-FFF2-40B4-BE49-F238E27FC236}">
                <a16:creationId xmlns:a16="http://schemas.microsoft.com/office/drawing/2014/main" id="{D98FBC3C-D1C0-E1FC-1354-8EECC83101CE}"/>
              </a:ext>
            </a:extLst>
          </p:cNvPr>
          <p:cNvGrpSpPr/>
          <p:nvPr/>
        </p:nvGrpSpPr>
        <p:grpSpPr>
          <a:xfrm>
            <a:off x="6601298" y="2142509"/>
            <a:ext cx="211086" cy="355600"/>
            <a:chOff x="6696545" y="1474788"/>
            <a:chExt cx="219321" cy="355600"/>
          </a:xfrm>
        </p:grpSpPr>
        <p:sp>
          <p:nvSpPr>
            <p:cNvPr id="9" name="AutoShape 8">
              <a:extLst>
                <a:ext uri="{FF2B5EF4-FFF2-40B4-BE49-F238E27FC236}">
                  <a16:creationId xmlns:a16="http://schemas.microsoft.com/office/drawing/2014/main" id="{F4841875-8B21-B839-012C-D969AA1ED11C}"/>
                </a:ext>
              </a:extLst>
            </p:cNvPr>
            <p:cNvSpPr>
              <a:spLocks noChangeArrowheads="1"/>
            </p:cNvSpPr>
            <p:nvPr/>
          </p:nvSpPr>
          <p:spPr bwMode="gray">
            <a:xfrm>
              <a:off x="6696545" y="1527175"/>
              <a:ext cx="90235" cy="242888"/>
            </a:xfrm>
            <a:prstGeom prst="chevron">
              <a:avLst>
                <a:gd name="adj" fmla="val 31199"/>
              </a:avLst>
            </a:prstGeom>
            <a:solidFill>
              <a:schemeClr val="bg1">
                <a:lumMod val="65000"/>
              </a:schemeClr>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Body)"/>
                <a:ea typeface="+mn-ea"/>
                <a:cs typeface="Arial" pitchFamily="34" charset="0"/>
              </a:endParaRPr>
            </a:p>
          </p:txBody>
        </p:sp>
        <p:sp>
          <p:nvSpPr>
            <p:cNvPr id="10" name="AutoShape 9">
              <a:extLst>
                <a:ext uri="{FF2B5EF4-FFF2-40B4-BE49-F238E27FC236}">
                  <a16:creationId xmlns:a16="http://schemas.microsoft.com/office/drawing/2014/main" id="{3A258800-8D7A-BDB5-E353-DE31DA2808D4}"/>
                </a:ext>
              </a:extLst>
            </p:cNvPr>
            <p:cNvSpPr>
              <a:spLocks noChangeArrowheads="1"/>
            </p:cNvSpPr>
            <p:nvPr/>
          </p:nvSpPr>
          <p:spPr bwMode="gray">
            <a:xfrm>
              <a:off x="6784273" y="1474788"/>
              <a:ext cx="131593" cy="355600"/>
            </a:xfrm>
            <a:prstGeom prst="chevron">
              <a:avLst>
                <a:gd name="adj" fmla="val 31403"/>
              </a:avLst>
            </a:prstGeom>
            <a:solidFill>
              <a:srgbClr val="044B7F"/>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Body)"/>
                <a:ea typeface="+mn-ea"/>
                <a:cs typeface="Arial" pitchFamily="34" charset="0"/>
              </a:endParaRPr>
            </a:p>
          </p:txBody>
        </p:sp>
      </p:grpSp>
      <p:sp>
        <p:nvSpPr>
          <p:cNvPr id="11" name="TextBox 33">
            <a:extLst>
              <a:ext uri="{FF2B5EF4-FFF2-40B4-BE49-F238E27FC236}">
                <a16:creationId xmlns:a16="http://schemas.microsoft.com/office/drawing/2014/main" id="{0880DE24-1027-B9B3-EADE-C53EC767CEB1}"/>
              </a:ext>
            </a:extLst>
          </p:cNvPr>
          <p:cNvSpPr txBox="1">
            <a:spLocks noChangeArrowheads="1"/>
          </p:cNvSpPr>
          <p:nvPr/>
        </p:nvSpPr>
        <p:spPr bwMode="auto">
          <a:xfrm>
            <a:off x="1375171" y="3112923"/>
            <a:ext cx="2402770" cy="3213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lstStyle>
            <a:lvl1pPr marL="342900" indent="-342900" defTabSz="893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174625" indent="-173038" defTabSz="89376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89376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desk review of relevant documents within the state to understand its  demography, health and economic indicators</a:t>
            </a:r>
          </a:p>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secondary data analysis on survey data to profile disadvantaged population groups</a:t>
            </a:r>
          </a:p>
        </p:txBody>
      </p:sp>
      <p:sp>
        <p:nvSpPr>
          <p:cNvPr id="12" name="TextBox 37">
            <a:extLst>
              <a:ext uri="{FF2B5EF4-FFF2-40B4-BE49-F238E27FC236}">
                <a16:creationId xmlns:a16="http://schemas.microsoft.com/office/drawing/2014/main" id="{ED4DB5F3-82A6-CD2D-7221-E9D47586850A}"/>
              </a:ext>
            </a:extLst>
          </p:cNvPr>
          <p:cNvSpPr txBox="1">
            <a:spLocks noChangeArrowheads="1"/>
          </p:cNvSpPr>
          <p:nvPr/>
        </p:nvSpPr>
        <p:spPr bwMode="auto">
          <a:xfrm>
            <a:off x="3993249" y="3112923"/>
            <a:ext cx="2520979" cy="3437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lstStyle>
            <a:lvl1pPr marL="342900" indent="-342900" defTabSz="893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174625" indent="-173038" defTabSz="89376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89376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33 key informant interviews across the public and private sector</a:t>
            </a:r>
          </a:p>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Gathered first-hand perspectives from experts on the challenges affecting the engagement of private sectors in the state to improving maternal</a:t>
            </a:r>
            <a:r>
              <a:rPr lang="en-US" altLang="en-US" sz="1600" dirty="0">
                <a:solidFill>
                  <a:srgbClr val="000000"/>
                </a:solidFill>
                <a:latin typeface="Gill Sans MT" panose="020B0502020104020203"/>
              </a:rPr>
              <a:t> and</a:t>
            </a: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 neonatal health</a:t>
            </a:r>
          </a:p>
        </p:txBody>
      </p:sp>
      <p:sp>
        <p:nvSpPr>
          <p:cNvPr id="13" name="TextBox 37">
            <a:extLst>
              <a:ext uri="{FF2B5EF4-FFF2-40B4-BE49-F238E27FC236}">
                <a16:creationId xmlns:a16="http://schemas.microsoft.com/office/drawing/2014/main" id="{55D5D3D5-FECF-CB96-34C0-12150AC4AA85}"/>
              </a:ext>
            </a:extLst>
          </p:cNvPr>
          <p:cNvSpPr txBox="1">
            <a:spLocks noChangeArrowheads="1"/>
          </p:cNvSpPr>
          <p:nvPr/>
        </p:nvSpPr>
        <p:spPr bwMode="auto">
          <a:xfrm>
            <a:off x="6729536" y="3112923"/>
            <a:ext cx="2516154" cy="2011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lstStyle>
            <a:lvl1pPr marL="342900" indent="-342900" defTabSz="893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174625" indent="-173038" defTabSz="89376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89376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one validation workshop to verify findings from the desk reviews and interviews as well as align on the root causes of the issues and proposed solutions</a:t>
            </a:r>
          </a:p>
        </p:txBody>
      </p:sp>
      <p:sp>
        <p:nvSpPr>
          <p:cNvPr id="14" name="Oval 13">
            <a:extLst>
              <a:ext uri="{FF2B5EF4-FFF2-40B4-BE49-F238E27FC236}">
                <a16:creationId xmlns:a16="http://schemas.microsoft.com/office/drawing/2014/main" id="{8C759F8E-09A1-FBD0-1078-57F9F98A9098}"/>
              </a:ext>
            </a:extLst>
          </p:cNvPr>
          <p:cNvSpPr/>
          <p:nvPr/>
        </p:nvSpPr>
        <p:spPr bwMode="auto">
          <a:xfrm>
            <a:off x="1552327" y="2137747"/>
            <a:ext cx="352026" cy="365125"/>
          </a:xfrm>
          <a:prstGeom prst="ellipse">
            <a:avLst/>
          </a:prstGeom>
          <a:noFill/>
          <a:ln w="28575">
            <a:solidFill>
              <a:srgbClr val="044B7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p>
        </p:txBody>
      </p:sp>
      <p:grpSp>
        <p:nvGrpSpPr>
          <p:cNvPr id="16" name="Group 72">
            <a:extLst>
              <a:ext uri="{FF2B5EF4-FFF2-40B4-BE49-F238E27FC236}">
                <a16:creationId xmlns:a16="http://schemas.microsoft.com/office/drawing/2014/main" id="{0C0C70D5-D837-B053-1309-E3EBED156C90}"/>
              </a:ext>
            </a:extLst>
          </p:cNvPr>
          <p:cNvGrpSpPr>
            <a:grpSpLocks/>
          </p:cNvGrpSpPr>
          <p:nvPr/>
        </p:nvGrpSpPr>
        <p:grpSpPr bwMode="auto">
          <a:xfrm>
            <a:off x="1873787" y="1544022"/>
            <a:ext cx="1950162" cy="1371600"/>
            <a:chOff x="2880583" y="586894"/>
            <a:chExt cx="1248249" cy="1371600"/>
          </a:xfrm>
        </p:grpSpPr>
        <p:sp>
          <p:nvSpPr>
            <p:cNvPr id="21" name="Shape">
              <a:extLst>
                <a:ext uri="{FF2B5EF4-FFF2-40B4-BE49-F238E27FC236}">
                  <a16:creationId xmlns:a16="http://schemas.microsoft.com/office/drawing/2014/main" id="{10060265-AC43-4801-5056-6BC77E3C4548}"/>
                </a:ext>
              </a:extLst>
            </p:cNvPr>
            <p:cNvSpPr/>
            <p:nvPr/>
          </p:nvSpPr>
          <p:spPr>
            <a:xfrm>
              <a:off x="2880583" y="586894"/>
              <a:ext cx="1248249" cy="1371600"/>
            </a:xfrm>
            <a:custGeom>
              <a:avLst/>
              <a:gdLst/>
              <a:ahLst/>
              <a:cxnLst>
                <a:cxn ang="0">
                  <a:pos x="wd2" y="hd2"/>
                </a:cxn>
                <a:cxn ang="5400000">
                  <a:pos x="wd2" y="hd2"/>
                </a:cxn>
                <a:cxn ang="10800000">
                  <a:pos x="wd2" y="hd2"/>
                </a:cxn>
                <a:cxn ang="16200000">
                  <a:pos x="wd2" y="hd2"/>
                </a:cxn>
              </a:cxnLst>
              <a:rect l="0" t="0" r="r" b="b"/>
              <a:pathLst>
                <a:path w="21600" h="21261" extrusionOk="0">
                  <a:moveTo>
                    <a:pt x="19778" y="3204"/>
                  </a:moveTo>
                  <a:lnTo>
                    <a:pt x="2822" y="48"/>
                  </a:lnTo>
                  <a:cubicBezTo>
                    <a:pt x="1377" y="-223"/>
                    <a:pt x="0" y="701"/>
                    <a:pt x="0" y="1942"/>
                  </a:cubicBezTo>
                  <a:lnTo>
                    <a:pt x="0" y="19246"/>
                  </a:lnTo>
                  <a:cubicBezTo>
                    <a:pt x="0" y="20464"/>
                    <a:pt x="1323" y="21377"/>
                    <a:pt x="2754" y="21152"/>
                  </a:cubicBezTo>
                  <a:lnTo>
                    <a:pt x="13581" y="19449"/>
                  </a:lnTo>
                  <a:cubicBezTo>
                    <a:pt x="14593" y="19291"/>
                    <a:pt x="15619" y="19709"/>
                    <a:pt x="16092" y="20486"/>
                  </a:cubicBezTo>
                  <a:lnTo>
                    <a:pt x="16470" y="21118"/>
                  </a:lnTo>
                  <a:cubicBezTo>
                    <a:pt x="16578" y="21309"/>
                    <a:pt x="16902" y="21309"/>
                    <a:pt x="17023" y="21118"/>
                  </a:cubicBezTo>
                  <a:lnTo>
                    <a:pt x="17914" y="19618"/>
                  </a:lnTo>
                  <a:cubicBezTo>
                    <a:pt x="18265" y="19021"/>
                    <a:pt x="18940" y="18604"/>
                    <a:pt x="19710" y="18480"/>
                  </a:cubicBezTo>
                  <a:cubicBezTo>
                    <a:pt x="20803" y="18311"/>
                    <a:pt x="21600" y="17510"/>
                    <a:pt x="21600" y="16574"/>
                  </a:cubicBezTo>
                  <a:lnTo>
                    <a:pt x="21600" y="5087"/>
                  </a:lnTo>
                  <a:cubicBezTo>
                    <a:pt x="21587" y="4196"/>
                    <a:pt x="20844" y="3407"/>
                    <a:pt x="19778" y="3204"/>
                  </a:cubicBezTo>
                  <a:close/>
                </a:path>
              </a:pathLst>
            </a:custGeom>
            <a:solidFill>
              <a:srgbClr val="044B7F"/>
            </a:solidFill>
            <a:ln w="12700">
              <a:solidFill>
                <a:srgbClr val="044B7F"/>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Freeform: Shape 21">
              <a:extLst>
                <a:ext uri="{FF2B5EF4-FFF2-40B4-BE49-F238E27FC236}">
                  <a16:creationId xmlns:a16="http://schemas.microsoft.com/office/drawing/2014/main" id="{729859D8-E8D8-F9D1-89B5-831ACB53F909}"/>
                </a:ext>
              </a:extLst>
            </p:cNvPr>
            <p:cNvSpPr/>
            <p:nvPr/>
          </p:nvSpPr>
          <p:spPr>
            <a:xfrm>
              <a:off x="3647294" y="1839431"/>
              <a:ext cx="188470" cy="114300"/>
            </a:xfrm>
            <a:custGeom>
              <a:avLst/>
              <a:gdLst>
                <a:gd name="connsiteX0" fmla="*/ 99618 w 306339"/>
                <a:gd name="connsiteY0" fmla="*/ 2163 h 198191"/>
                <a:gd name="connsiteX1" fmla="*/ 265023 w 306339"/>
                <a:gd name="connsiteY1" fmla="*/ 120551 h 198191"/>
                <a:gd name="connsiteX2" fmla="*/ 300583 w 306339"/>
                <a:gd name="connsiteY2" fmla="*/ 191749 h 198191"/>
                <a:gd name="connsiteX3" fmla="*/ 306339 w 306339"/>
                <a:gd name="connsiteY3" fmla="*/ 198191 h 198191"/>
                <a:gd name="connsiteX4" fmla="*/ 0 w 306339"/>
                <a:gd name="connsiteY4" fmla="*/ 9153 h 198191"/>
                <a:gd name="connsiteX5" fmla="*/ 28802 w 306339"/>
                <a:gd name="connsiteY5" fmla="*/ 3728 h 198191"/>
                <a:gd name="connsiteX6" fmla="*/ 99618 w 306339"/>
                <a:gd name="connsiteY6" fmla="*/ 2163 h 19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339" h="198191">
                  <a:moveTo>
                    <a:pt x="99618" y="2163"/>
                  </a:moveTo>
                  <a:cubicBezTo>
                    <a:pt x="169015" y="12001"/>
                    <a:pt x="231650" y="54901"/>
                    <a:pt x="265023" y="120551"/>
                  </a:cubicBezTo>
                  <a:lnTo>
                    <a:pt x="300583" y="191749"/>
                  </a:lnTo>
                  <a:lnTo>
                    <a:pt x="306339" y="198191"/>
                  </a:lnTo>
                  <a:lnTo>
                    <a:pt x="0" y="9153"/>
                  </a:lnTo>
                  <a:lnTo>
                    <a:pt x="28802" y="3728"/>
                  </a:lnTo>
                  <a:cubicBezTo>
                    <a:pt x="52603" y="-722"/>
                    <a:pt x="76486" y="-1116"/>
                    <a:pt x="99618" y="2163"/>
                  </a:cubicBezTo>
                  <a:close/>
                </a:path>
              </a:pathLst>
            </a:custGeom>
            <a:solidFill>
              <a:srgbClr val="044B7F"/>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8" name="Shape">
            <a:extLst>
              <a:ext uri="{FF2B5EF4-FFF2-40B4-BE49-F238E27FC236}">
                <a16:creationId xmlns:a16="http://schemas.microsoft.com/office/drawing/2014/main" id="{14BC2D38-6903-1E91-4D77-219E07B224C6}"/>
              </a:ext>
            </a:extLst>
          </p:cNvPr>
          <p:cNvSpPr/>
          <p:nvPr/>
        </p:nvSpPr>
        <p:spPr bwMode="auto">
          <a:xfrm>
            <a:off x="1947785" y="1601649"/>
            <a:ext cx="1792915" cy="1258888"/>
          </a:xfrm>
          <a:custGeom>
            <a:avLst/>
            <a:gdLst/>
            <a:ahLst/>
            <a:cxnLst>
              <a:cxn ang="0">
                <a:pos x="wd2" y="hd2"/>
              </a:cxn>
              <a:cxn ang="5400000">
                <a:pos x="wd2" y="hd2"/>
              </a:cxn>
              <a:cxn ang="10800000">
                <a:pos x="wd2" y="hd2"/>
              </a:cxn>
              <a:cxn ang="16200000">
                <a:pos x="wd2" y="hd2"/>
              </a:cxn>
            </a:cxnLst>
            <a:rect l="0" t="0" r="r" b="b"/>
            <a:pathLst>
              <a:path w="21600" h="21193" extrusionOk="0">
                <a:moveTo>
                  <a:pt x="19853" y="3227"/>
                </a:moveTo>
                <a:lnTo>
                  <a:pt x="2717" y="45"/>
                </a:lnTo>
                <a:cubicBezTo>
                  <a:pt x="1322" y="-212"/>
                  <a:pt x="0" y="669"/>
                  <a:pt x="0" y="1856"/>
                </a:cubicBezTo>
                <a:lnTo>
                  <a:pt x="0" y="19332"/>
                </a:lnTo>
                <a:cubicBezTo>
                  <a:pt x="0" y="20507"/>
                  <a:pt x="1277" y="21388"/>
                  <a:pt x="2658" y="21155"/>
                </a:cubicBezTo>
                <a:lnTo>
                  <a:pt x="19794" y="18353"/>
                </a:lnTo>
                <a:cubicBezTo>
                  <a:pt x="20836" y="18182"/>
                  <a:pt x="21600" y="17411"/>
                  <a:pt x="21600" y="16530"/>
                </a:cubicBezTo>
                <a:lnTo>
                  <a:pt x="21600" y="5038"/>
                </a:lnTo>
                <a:cubicBezTo>
                  <a:pt x="21600" y="4181"/>
                  <a:pt x="20880" y="3423"/>
                  <a:pt x="19853" y="3227"/>
                </a:cubicBezTo>
                <a:close/>
              </a:path>
            </a:pathLst>
          </a:custGeom>
          <a:solidFill>
            <a:schemeClr val="accent1">
              <a:lumMod val="20000"/>
              <a:lumOff val="80000"/>
            </a:schemeClr>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2082A92D-410C-AE69-42CA-EDAA789F9DAC}"/>
              </a:ext>
            </a:extLst>
          </p:cNvPr>
          <p:cNvSpPr txBox="1"/>
          <p:nvPr/>
        </p:nvSpPr>
        <p:spPr bwMode="auto">
          <a:xfrm>
            <a:off x="1949328" y="2279034"/>
            <a:ext cx="1735875" cy="423863"/>
          </a:xfrm>
          <a:prstGeom prst="rect">
            <a:avLst/>
          </a:prstGeom>
          <a:noFill/>
        </p:spPr>
        <p:txBody>
          <a:bodyPr lIns="0" r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k Review </a:t>
            </a:r>
          </a:p>
        </p:txBody>
      </p:sp>
      <p:sp>
        <p:nvSpPr>
          <p:cNvPr id="23" name="Freeform: Shape 22">
            <a:extLst>
              <a:ext uri="{FF2B5EF4-FFF2-40B4-BE49-F238E27FC236}">
                <a16:creationId xmlns:a16="http://schemas.microsoft.com/office/drawing/2014/main" id="{A865CB33-3D0B-AAFD-597D-31113769F23A}"/>
              </a:ext>
            </a:extLst>
          </p:cNvPr>
          <p:cNvSpPr/>
          <p:nvPr/>
        </p:nvSpPr>
        <p:spPr bwMode="auto">
          <a:xfrm>
            <a:off x="5752548" y="2793959"/>
            <a:ext cx="294642" cy="114300"/>
          </a:xfrm>
          <a:custGeom>
            <a:avLst/>
            <a:gdLst>
              <a:gd name="connsiteX0" fmla="*/ 99618 w 306339"/>
              <a:gd name="connsiteY0" fmla="*/ 2163 h 198191"/>
              <a:gd name="connsiteX1" fmla="*/ 265023 w 306339"/>
              <a:gd name="connsiteY1" fmla="*/ 120551 h 198191"/>
              <a:gd name="connsiteX2" fmla="*/ 300583 w 306339"/>
              <a:gd name="connsiteY2" fmla="*/ 191749 h 198191"/>
              <a:gd name="connsiteX3" fmla="*/ 306339 w 306339"/>
              <a:gd name="connsiteY3" fmla="*/ 198191 h 198191"/>
              <a:gd name="connsiteX4" fmla="*/ 0 w 306339"/>
              <a:gd name="connsiteY4" fmla="*/ 9153 h 198191"/>
              <a:gd name="connsiteX5" fmla="*/ 28802 w 306339"/>
              <a:gd name="connsiteY5" fmla="*/ 3728 h 198191"/>
              <a:gd name="connsiteX6" fmla="*/ 99618 w 306339"/>
              <a:gd name="connsiteY6" fmla="*/ 2163 h 19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339" h="198191">
                <a:moveTo>
                  <a:pt x="99618" y="2163"/>
                </a:moveTo>
                <a:cubicBezTo>
                  <a:pt x="169015" y="12001"/>
                  <a:pt x="231650" y="54901"/>
                  <a:pt x="265023" y="120551"/>
                </a:cubicBezTo>
                <a:lnTo>
                  <a:pt x="300583" y="191749"/>
                </a:lnTo>
                <a:lnTo>
                  <a:pt x="306339" y="198191"/>
                </a:lnTo>
                <a:lnTo>
                  <a:pt x="0" y="9153"/>
                </a:lnTo>
                <a:lnTo>
                  <a:pt x="28802" y="3728"/>
                </a:lnTo>
                <a:cubicBezTo>
                  <a:pt x="52603" y="-722"/>
                  <a:pt x="76486" y="-1116"/>
                  <a:pt x="99618" y="2163"/>
                </a:cubicBezTo>
                <a:close/>
              </a:path>
            </a:pathLst>
          </a:custGeom>
          <a:solidFill>
            <a:srgbClr val="044B7F"/>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Oval 23">
            <a:extLst>
              <a:ext uri="{FF2B5EF4-FFF2-40B4-BE49-F238E27FC236}">
                <a16:creationId xmlns:a16="http://schemas.microsoft.com/office/drawing/2014/main" id="{B2CC02DB-93DA-C19A-3643-2025C64586E6}"/>
              </a:ext>
            </a:extLst>
          </p:cNvPr>
          <p:cNvSpPr/>
          <p:nvPr/>
        </p:nvSpPr>
        <p:spPr bwMode="auto">
          <a:xfrm>
            <a:off x="4233731" y="2137747"/>
            <a:ext cx="352026" cy="365125"/>
          </a:xfrm>
          <a:prstGeom prst="ellipse">
            <a:avLst/>
          </a:prstGeom>
          <a:noFill/>
          <a:ln w="28575">
            <a:solidFill>
              <a:srgbClr val="044B7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a:t>
            </a:r>
          </a:p>
        </p:txBody>
      </p:sp>
      <p:sp>
        <p:nvSpPr>
          <p:cNvPr id="29" name="Shape">
            <a:extLst>
              <a:ext uri="{FF2B5EF4-FFF2-40B4-BE49-F238E27FC236}">
                <a16:creationId xmlns:a16="http://schemas.microsoft.com/office/drawing/2014/main" id="{74381090-836C-7849-A014-87A0FB3E7368}"/>
              </a:ext>
            </a:extLst>
          </p:cNvPr>
          <p:cNvSpPr/>
          <p:nvPr/>
        </p:nvSpPr>
        <p:spPr bwMode="auto">
          <a:xfrm>
            <a:off x="4553925" y="1544022"/>
            <a:ext cx="1951427" cy="1371600"/>
          </a:xfrm>
          <a:custGeom>
            <a:avLst/>
            <a:gdLst/>
            <a:ahLst/>
            <a:cxnLst>
              <a:cxn ang="0">
                <a:pos x="wd2" y="hd2"/>
              </a:cxn>
              <a:cxn ang="5400000">
                <a:pos x="wd2" y="hd2"/>
              </a:cxn>
              <a:cxn ang="10800000">
                <a:pos x="wd2" y="hd2"/>
              </a:cxn>
              <a:cxn ang="16200000">
                <a:pos x="wd2" y="hd2"/>
              </a:cxn>
            </a:cxnLst>
            <a:rect l="0" t="0" r="r" b="b"/>
            <a:pathLst>
              <a:path w="21600" h="21261" extrusionOk="0">
                <a:moveTo>
                  <a:pt x="19778" y="3204"/>
                </a:moveTo>
                <a:lnTo>
                  <a:pt x="2822" y="48"/>
                </a:lnTo>
                <a:cubicBezTo>
                  <a:pt x="1377" y="-223"/>
                  <a:pt x="0" y="701"/>
                  <a:pt x="0" y="1942"/>
                </a:cubicBezTo>
                <a:lnTo>
                  <a:pt x="0" y="19246"/>
                </a:lnTo>
                <a:cubicBezTo>
                  <a:pt x="0" y="20464"/>
                  <a:pt x="1323" y="21377"/>
                  <a:pt x="2754" y="21152"/>
                </a:cubicBezTo>
                <a:lnTo>
                  <a:pt x="13581" y="19449"/>
                </a:lnTo>
                <a:cubicBezTo>
                  <a:pt x="14593" y="19291"/>
                  <a:pt x="15619" y="19709"/>
                  <a:pt x="16092" y="20486"/>
                </a:cubicBezTo>
                <a:lnTo>
                  <a:pt x="16470" y="21118"/>
                </a:lnTo>
                <a:cubicBezTo>
                  <a:pt x="16578" y="21309"/>
                  <a:pt x="16902" y="21309"/>
                  <a:pt x="17023" y="21118"/>
                </a:cubicBezTo>
                <a:lnTo>
                  <a:pt x="17914" y="19618"/>
                </a:lnTo>
                <a:cubicBezTo>
                  <a:pt x="18265" y="19021"/>
                  <a:pt x="18940" y="18604"/>
                  <a:pt x="19710" y="18480"/>
                </a:cubicBezTo>
                <a:cubicBezTo>
                  <a:pt x="20803" y="18311"/>
                  <a:pt x="21600" y="17510"/>
                  <a:pt x="21600" y="16574"/>
                </a:cubicBezTo>
                <a:lnTo>
                  <a:pt x="21600" y="5087"/>
                </a:lnTo>
                <a:cubicBezTo>
                  <a:pt x="21587" y="4196"/>
                  <a:pt x="20844" y="3407"/>
                  <a:pt x="19778" y="3204"/>
                </a:cubicBezTo>
                <a:close/>
              </a:path>
            </a:pathLst>
          </a:custGeom>
          <a:solidFill>
            <a:srgbClr val="044B7F"/>
          </a:solidFill>
          <a:ln w="12700">
            <a:solidFill>
              <a:srgbClr val="018064"/>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Shape">
            <a:extLst>
              <a:ext uri="{FF2B5EF4-FFF2-40B4-BE49-F238E27FC236}">
                <a16:creationId xmlns:a16="http://schemas.microsoft.com/office/drawing/2014/main" id="{FA83FF1D-F309-0E6A-79D6-A8C5CC2E8957}"/>
              </a:ext>
            </a:extLst>
          </p:cNvPr>
          <p:cNvSpPr/>
          <p:nvPr/>
        </p:nvSpPr>
        <p:spPr bwMode="auto">
          <a:xfrm>
            <a:off x="4627970" y="1602759"/>
            <a:ext cx="1794078" cy="1258888"/>
          </a:xfrm>
          <a:custGeom>
            <a:avLst/>
            <a:gdLst/>
            <a:ahLst/>
            <a:cxnLst>
              <a:cxn ang="0">
                <a:pos x="wd2" y="hd2"/>
              </a:cxn>
              <a:cxn ang="5400000">
                <a:pos x="wd2" y="hd2"/>
              </a:cxn>
              <a:cxn ang="10800000">
                <a:pos x="wd2" y="hd2"/>
              </a:cxn>
              <a:cxn ang="16200000">
                <a:pos x="wd2" y="hd2"/>
              </a:cxn>
            </a:cxnLst>
            <a:rect l="0" t="0" r="r" b="b"/>
            <a:pathLst>
              <a:path w="21600" h="21193" extrusionOk="0">
                <a:moveTo>
                  <a:pt x="19853" y="3227"/>
                </a:moveTo>
                <a:lnTo>
                  <a:pt x="2717" y="45"/>
                </a:lnTo>
                <a:cubicBezTo>
                  <a:pt x="1322" y="-212"/>
                  <a:pt x="0" y="669"/>
                  <a:pt x="0" y="1856"/>
                </a:cubicBezTo>
                <a:lnTo>
                  <a:pt x="0" y="19332"/>
                </a:lnTo>
                <a:cubicBezTo>
                  <a:pt x="0" y="20507"/>
                  <a:pt x="1277" y="21388"/>
                  <a:pt x="2658" y="21155"/>
                </a:cubicBezTo>
                <a:lnTo>
                  <a:pt x="19794" y="18353"/>
                </a:lnTo>
                <a:cubicBezTo>
                  <a:pt x="20836" y="18182"/>
                  <a:pt x="21600" y="17411"/>
                  <a:pt x="21600" y="16530"/>
                </a:cubicBezTo>
                <a:lnTo>
                  <a:pt x="21600" y="5038"/>
                </a:lnTo>
                <a:cubicBezTo>
                  <a:pt x="21600" y="4181"/>
                  <a:pt x="20880" y="3423"/>
                  <a:pt x="19853" y="3227"/>
                </a:cubicBezTo>
                <a:close/>
              </a:path>
            </a:pathLst>
          </a:custGeom>
          <a:solidFill>
            <a:schemeClr val="accent1">
              <a:lumMod val="20000"/>
              <a:lumOff val="80000"/>
            </a:schemeClr>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C18763B4-D8BB-66C1-5A64-0816F98DF9ED}"/>
              </a:ext>
            </a:extLst>
          </p:cNvPr>
          <p:cNvSpPr txBox="1"/>
          <p:nvPr/>
        </p:nvSpPr>
        <p:spPr bwMode="auto">
          <a:xfrm>
            <a:off x="4653960" y="2180609"/>
            <a:ext cx="1737001" cy="423863"/>
          </a:xfrm>
          <a:prstGeom prst="rect">
            <a:avLst/>
          </a:prstGeom>
          <a:noFill/>
        </p:spPr>
        <p:txBody>
          <a:bodyPr lIns="0" r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ey Informant Interview </a:t>
            </a:r>
          </a:p>
        </p:txBody>
      </p:sp>
      <p:sp>
        <p:nvSpPr>
          <p:cNvPr id="31" name="Oval 30">
            <a:extLst>
              <a:ext uri="{FF2B5EF4-FFF2-40B4-BE49-F238E27FC236}">
                <a16:creationId xmlns:a16="http://schemas.microsoft.com/office/drawing/2014/main" id="{45AA32DC-37BB-7B25-16E5-A6CA7B7E8A24}"/>
              </a:ext>
            </a:extLst>
          </p:cNvPr>
          <p:cNvSpPr/>
          <p:nvPr/>
        </p:nvSpPr>
        <p:spPr bwMode="auto">
          <a:xfrm>
            <a:off x="6913929" y="2137747"/>
            <a:ext cx="352026" cy="365125"/>
          </a:xfrm>
          <a:prstGeom prst="ellipse">
            <a:avLst/>
          </a:prstGeom>
          <a:noFill/>
          <a:ln w="28575">
            <a:solidFill>
              <a:srgbClr val="044B7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p>
        </p:txBody>
      </p:sp>
      <p:sp>
        <p:nvSpPr>
          <p:cNvPr id="33" name="Shape">
            <a:extLst>
              <a:ext uri="{FF2B5EF4-FFF2-40B4-BE49-F238E27FC236}">
                <a16:creationId xmlns:a16="http://schemas.microsoft.com/office/drawing/2014/main" id="{6F661F80-0D5F-8BC3-4BE3-22D9225E4E72}"/>
              </a:ext>
            </a:extLst>
          </p:cNvPr>
          <p:cNvSpPr/>
          <p:nvPr/>
        </p:nvSpPr>
        <p:spPr bwMode="auto">
          <a:xfrm>
            <a:off x="7234398" y="1544022"/>
            <a:ext cx="1951152" cy="1371600"/>
          </a:xfrm>
          <a:custGeom>
            <a:avLst/>
            <a:gdLst/>
            <a:ahLst/>
            <a:cxnLst>
              <a:cxn ang="0">
                <a:pos x="wd2" y="hd2"/>
              </a:cxn>
              <a:cxn ang="5400000">
                <a:pos x="wd2" y="hd2"/>
              </a:cxn>
              <a:cxn ang="10800000">
                <a:pos x="wd2" y="hd2"/>
              </a:cxn>
              <a:cxn ang="16200000">
                <a:pos x="wd2" y="hd2"/>
              </a:cxn>
            </a:cxnLst>
            <a:rect l="0" t="0" r="r" b="b"/>
            <a:pathLst>
              <a:path w="21600" h="21261" extrusionOk="0">
                <a:moveTo>
                  <a:pt x="19778" y="3204"/>
                </a:moveTo>
                <a:lnTo>
                  <a:pt x="2822" y="48"/>
                </a:lnTo>
                <a:cubicBezTo>
                  <a:pt x="1377" y="-223"/>
                  <a:pt x="0" y="701"/>
                  <a:pt x="0" y="1942"/>
                </a:cubicBezTo>
                <a:lnTo>
                  <a:pt x="0" y="19246"/>
                </a:lnTo>
                <a:cubicBezTo>
                  <a:pt x="0" y="20464"/>
                  <a:pt x="1323" y="21377"/>
                  <a:pt x="2754" y="21152"/>
                </a:cubicBezTo>
                <a:lnTo>
                  <a:pt x="13581" y="19449"/>
                </a:lnTo>
                <a:cubicBezTo>
                  <a:pt x="14593" y="19291"/>
                  <a:pt x="15619" y="19709"/>
                  <a:pt x="16092" y="20486"/>
                </a:cubicBezTo>
                <a:lnTo>
                  <a:pt x="16470" y="21118"/>
                </a:lnTo>
                <a:cubicBezTo>
                  <a:pt x="16578" y="21309"/>
                  <a:pt x="16902" y="21309"/>
                  <a:pt x="17023" y="21118"/>
                </a:cubicBezTo>
                <a:lnTo>
                  <a:pt x="17914" y="19618"/>
                </a:lnTo>
                <a:cubicBezTo>
                  <a:pt x="18265" y="19021"/>
                  <a:pt x="18940" y="18604"/>
                  <a:pt x="19710" y="18480"/>
                </a:cubicBezTo>
                <a:cubicBezTo>
                  <a:pt x="20803" y="18311"/>
                  <a:pt x="21600" y="17510"/>
                  <a:pt x="21600" y="16574"/>
                </a:cubicBezTo>
                <a:lnTo>
                  <a:pt x="21600" y="5087"/>
                </a:lnTo>
                <a:cubicBezTo>
                  <a:pt x="21587" y="4196"/>
                  <a:pt x="20844" y="3407"/>
                  <a:pt x="19778" y="3204"/>
                </a:cubicBezTo>
                <a:close/>
              </a:path>
            </a:pathLst>
          </a:custGeom>
          <a:solidFill>
            <a:srgbClr val="044B7F"/>
          </a:solidFill>
          <a:ln w="12700">
            <a:solidFill>
              <a:srgbClr val="018064"/>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Freeform: Shape 33">
            <a:extLst>
              <a:ext uri="{FF2B5EF4-FFF2-40B4-BE49-F238E27FC236}">
                <a16:creationId xmlns:a16="http://schemas.microsoft.com/office/drawing/2014/main" id="{580C4671-0A2B-F2EF-FD24-765BBA46DA8F}"/>
              </a:ext>
            </a:extLst>
          </p:cNvPr>
          <p:cNvSpPr/>
          <p:nvPr/>
        </p:nvSpPr>
        <p:spPr bwMode="auto">
          <a:xfrm>
            <a:off x="8433801" y="2796559"/>
            <a:ext cx="293291" cy="114300"/>
          </a:xfrm>
          <a:custGeom>
            <a:avLst/>
            <a:gdLst>
              <a:gd name="connsiteX0" fmla="*/ 99618 w 306339"/>
              <a:gd name="connsiteY0" fmla="*/ 2163 h 198191"/>
              <a:gd name="connsiteX1" fmla="*/ 265023 w 306339"/>
              <a:gd name="connsiteY1" fmla="*/ 120551 h 198191"/>
              <a:gd name="connsiteX2" fmla="*/ 300583 w 306339"/>
              <a:gd name="connsiteY2" fmla="*/ 191749 h 198191"/>
              <a:gd name="connsiteX3" fmla="*/ 306339 w 306339"/>
              <a:gd name="connsiteY3" fmla="*/ 198191 h 198191"/>
              <a:gd name="connsiteX4" fmla="*/ 0 w 306339"/>
              <a:gd name="connsiteY4" fmla="*/ 9153 h 198191"/>
              <a:gd name="connsiteX5" fmla="*/ 28802 w 306339"/>
              <a:gd name="connsiteY5" fmla="*/ 3728 h 198191"/>
              <a:gd name="connsiteX6" fmla="*/ 99618 w 306339"/>
              <a:gd name="connsiteY6" fmla="*/ 2163 h 19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339" h="198191">
                <a:moveTo>
                  <a:pt x="99618" y="2163"/>
                </a:moveTo>
                <a:cubicBezTo>
                  <a:pt x="169015" y="12001"/>
                  <a:pt x="231650" y="54901"/>
                  <a:pt x="265023" y="120551"/>
                </a:cubicBezTo>
                <a:lnTo>
                  <a:pt x="300583" y="191749"/>
                </a:lnTo>
                <a:lnTo>
                  <a:pt x="306339" y="198191"/>
                </a:lnTo>
                <a:lnTo>
                  <a:pt x="0" y="9153"/>
                </a:lnTo>
                <a:lnTo>
                  <a:pt x="28802" y="3728"/>
                </a:lnTo>
                <a:cubicBezTo>
                  <a:pt x="52603" y="-722"/>
                  <a:pt x="76486" y="-1116"/>
                  <a:pt x="99618" y="2163"/>
                </a:cubicBezTo>
                <a:close/>
              </a:path>
            </a:pathLst>
          </a:custGeom>
          <a:solidFill>
            <a:srgbClr val="044B7F"/>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Shape">
            <a:extLst>
              <a:ext uri="{FF2B5EF4-FFF2-40B4-BE49-F238E27FC236}">
                <a16:creationId xmlns:a16="http://schemas.microsoft.com/office/drawing/2014/main" id="{D72DD017-4214-741A-490B-26780B4FD4D3}"/>
              </a:ext>
            </a:extLst>
          </p:cNvPr>
          <p:cNvSpPr/>
          <p:nvPr/>
        </p:nvSpPr>
        <p:spPr bwMode="auto">
          <a:xfrm>
            <a:off x="7308493" y="1602759"/>
            <a:ext cx="1793702" cy="1258888"/>
          </a:xfrm>
          <a:custGeom>
            <a:avLst/>
            <a:gdLst/>
            <a:ahLst/>
            <a:cxnLst>
              <a:cxn ang="0">
                <a:pos x="wd2" y="hd2"/>
              </a:cxn>
              <a:cxn ang="5400000">
                <a:pos x="wd2" y="hd2"/>
              </a:cxn>
              <a:cxn ang="10800000">
                <a:pos x="wd2" y="hd2"/>
              </a:cxn>
              <a:cxn ang="16200000">
                <a:pos x="wd2" y="hd2"/>
              </a:cxn>
            </a:cxnLst>
            <a:rect l="0" t="0" r="r" b="b"/>
            <a:pathLst>
              <a:path w="21600" h="21193" extrusionOk="0">
                <a:moveTo>
                  <a:pt x="19853" y="3227"/>
                </a:moveTo>
                <a:lnTo>
                  <a:pt x="2717" y="45"/>
                </a:lnTo>
                <a:cubicBezTo>
                  <a:pt x="1322" y="-212"/>
                  <a:pt x="0" y="669"/>
                  <a:pt x="0" y="1856"/>
                </a:cubicBezTo>
                <a:lnTo>
                  <a:pt x="0" y="19332"/>
                </a:lnTo>
                <a:cubicBezTo>
                  <a:pt x="0" y="20507"/>
                  <a:pt x="1277" y="21388"/>
                  <a:pt x="2658" y="21155"/>
                </a:cubicBezTo>
                <a:lnTo>
                  <a:pt x="19794" y="18353"/>
                </a:lnTo>
                <a:cubicBezTo>
                  <a:pt x="20836" y="18182"/>
                  <a:pt x="21600" y="17411"/>
                  <a:pt x="21600" y="16530"/>
                </a:cubicBezTo>
                <a:lnTo>
                  <a:pt x="21600" y="5038"/>
                </a:lnTo>
                <a:cubicBezTo>
                  <a:pt x="21600" y="4181"/>
                  <a:pt x="20880" y="3423"/>
                  <a:pt x="19853" y="3227"/>
                </a:cubicBezTo>
                <a:close/>
              </a:path>
            </a:pathLst>
          </a:custGeom>
          <a:solidFill>
            <a:srgbClr val="D9EEED"/>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4234C880-9C30-B4D2-2947-90148CD3DCCB}"/>
              </a:ext>
            </a:extLst>
          </p:cNvPr>
          <p:cNvSpPr txBox="1"/>
          <p:nvPr/>
        </p:nvSpPr>
        <p:spPr bwMode="auto">
          <a:xfrm>
            <a:off x="7327016" y="2225059"/>
            <a:ext cx="1724239" cy="423863"/>
          </a:xfrm>
          <a:prstGeom prst="rect">
            <a:avLst/>
          </a:prstGeom>
          <a:noFill/>
        </p:spPr>
        <p:txBody>
          <a:bodyPr lIns="0" r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alidation Workshop </a:t>
            </a:r>
          </a:p>
        </p:txBody>
      </p:sp>
      <p:grpSp>
        <p:nvGrpSpPr>
          <p:cNvPr id="55" name="Group 54">
            <a:extLst>
              <a:ext uri="{FF2B5EF4-FFF2-40B4-BE49-F238E27FC236}">
                <a16:creationId xmlns:a16="http://schemas.microsoft.com/office/drawing/2014/main" id="{F1BC04AB-D8E4-3CD8-C250-664489D1A9B1}"/>
              </a:ext>
            </a:extLst>
          </p:cNvPr>
          <p:cNvGrpSpPr/>
          <p:nvPr/>
        </p:nvGrpSpPr>
        <p:grpSpPr>
          <a:xfrm>
            <a:off x="3947509" y="2142509"/>
            <a:ext cx="211087" cy="355600"/>
            <a:chOff x="3947509" y="1841175"/>
            <a:chExt cx="211087" cy="355600"/>
          </a:xfrm>
        </p:grpSpPr>
        <p:sp>
          <p:nvSpPr>
            <p:cNvPr id="38" name="AutoShape 8">
              <a:extLst>
                <a:ext uri="{FF2B5EF4-FFF2-40B4-BE49-F238E27FC236}">
                  <a16:creationId xmlns:a16="http://schemas.microsoft.com/office/drawing/2014/main" id="{14D60445-1BCE-0E93-AF6D-2BDF25F7E89C}"/>
                </a:ext>
              </a:extLst>
            </p:cNvPr>
            <p:cNvSpPr>
              <a:spLocks noChangeArrowheads="1"/>
            </p:cNvSpPr>
            <p:nvPr/>
          </p:nvSpPr>
          <p:spPr bwMode="gray">
            <a:xfrm>
              <a:off x="3947509" y="1897532"/>
              <a:ext cx="86847" cy="242887"/>
            </a:xfrm>
            <a:prstGeom prst="chevron">
              <a:avLst>
                <a:gd name="adj" fmla="val 31199"/>
              </a:avLst>
            </a:prstGeom>
            <a:solidFill>
              <a:schemeClr val="bg1">
                <a:lumMod val="65000"/>
              </a:schemeClr>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Body)"/>
                <a:ea typeface="+mn-ea"/>
                <a:cs typeface="Arial" pitchFamily="34" charset="0"/>
              </a:endParaRPr>
            </a:p>
          </p:txBody>
        </p:sp>
        <p:sp>
          <p:nvSpPr>
            <p:cNvPr id="39" name="AutoShape 9">
              <a:extLst>
                <a:ext uri="{FF2B5EF4-FFF2-40B4-BE49-F238E27FC236}">
                  <a16:creationId xmlns:a16="http://schemas.microsoft.com/office/drawing/2014/main" id="{04A0CB57-C6DA-975D-6CFB-CAD23C5AE943}"/>
                </a:ext>
              </a:extLst>
            </p:cNvPr>
            <p:cNvSpPr>
              <a:spLocks noChangeArrowheads="1"/>
            </p:cNvSpPr>
            <p:nvPr/>
          </p:nvSpPr>
          <p:spPr bwMode="gray">
            <a:xfrm>
              <a:off x="4031944" y="1841175"/>
              <a:ext cx="126652" cy="355600"/>
            </a:xfrm>
            <a:prstGeom prst="chevron">
              <a:avLst>
                <a:gd name="adj" fmla="val 31403"/>
              </a:avLst>
            </a:prstGeom>
            <a:solidFill>
              <a:srgbClr val="044B7F"/>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Body)"/>
                <a:ea typeface="+mn-ea"/>
                <a:cs typeface="Arial" pitchFamily="34" charset="0"/>
              </a:endParaRPr>
            </a:p>
          </p:txBody>
        </p:sp>
      </p:grpSp>
      <p:sp>
        <p:nvSpPr>
          <p:cNvPr id="41" name="Shape">
            <a:extLst>
              <a:ext uri="{FF2B5EF4-FFF2-40B4-BE49-F238E27FC236}">
                <a16:creationId xmlns:a16="http://schemas.microsoft.com/office/drawing/2014/main" id="{06279331-F92D-9500-88CE-800FB42AB2AB}"/>
              </a:ext>
            </a:extLst>
          </p:cNvPr>
          <p:cNvSpPr/>
          <p:nvPr/>
        </p:nvSpPr>
        <p:spPr bwMode="auto">
          <a:xfrm>
            <a:off x="9895378" y="1544022"/>
            <a:ext cx="1951152" cy="1371600"/>
          </a:xfrm>
          <a:custGeom>
            <a:avLst/>
            <a:gdLst/>
            <a:ahLst/>
            <a:cxnLst>
              <a:cxn ang="0">
                <a:pos x="wd2" y="hd2"/>
              </a:cxn>
              <a:cxn ang="5400000">
                <a:pos x="wd2" y="hd2"/>
              </a:cxn>
              <a:cxn ang="10800000">
                <a:pos x="wd2" y="hd2"/>
              </a:cxn>
              <a:cxn ang="16200000">
                <a:pos x="wd2" y="hd2"/>
              </a:cxn>
            </a:cxnLst>
            <a:rect l="0" t="0" r="r" b="b"/>
            <a:pathLst>
              <a:path w="21600" h="21261" extrusionOk="0">
                <a:moveTo>
                  <a:pt x="19778" y="3204"/>
                </a:moveTo>
                <a:lnTo>
                  <a:pt x="2822" y="48"/>
                </a:lnTo>
                <a:cubicBezTo>
                  <a:pt x="1377" y="-223"/>
                  <a:pt x="0" y="701"/>
                  <a:pt x="0" y="1942"/>
                </a:cubicBezTo>
                <a:lnTo>
                  <a:pt x="0" y="19246"/>
                </a:lnTo>
                <a:cubicBezTo>
                  <a:pt x="0" y="20464"/>
                  <a:pt x="1323" y="21377"/>
                  <a:pt x="2754" y="21152"/>
                </a:cubicBezTo>
                <a:lnTo>
                  <a:pt x="13581" y="19449"/>
                </a:lnTo>
                <a:cubicBezTo>
                  <a:pt x="14593" y="19291"/>
                  <a:pt x="15619" y="19709"/>
                  <a:pt x="16092" y="20486"/>
                </a:cubicBezTo>
                <a:lnTo>
                  <a:pt x="16470" y="21118"/>
                </a:lnTo>
                <a:cubicBezTo>
                  <a:pt x="16578" y="21309"/>
                  <a:pt x="16902" y="21309"/>
                  <a:pt x="17023" y="21118"/>
                </a:cubicBezTo>
                <a:lnTo>
                  <a:pt x="17914" y="19618"/>
                </a:lnTo>
                <a:cubicBezTo>
                  <a:pt x="18265" y="19021"/>
                  <a:pt x="18940" y="18604"/>
                  <a:pt x="19710" y="18480"/>
                </a:cubicBezTo>
                <a:cubicBezTo>
                  <a:pt x="20803" y="18311"/>
                  <a:pt x="21600" y="17510"/>
                  <a:pt x="21600" y="16574"/>
                </a:cubicBezTo>
                <a:lnTo>
                  <a:pt x="21600" y="5087"/>
                </a:lnTo>
                <a:cubicBezTo>
                  <a:pt x="21587" y="4196"/>
                  <a:pt x="20844" y="3407"/>
                  <a:pt x="19778" y="3204"/>
                </a:cubicBezTo>
                <a:close/>
              </a:path>
            </a:pathLst>
          </a:custGeom>
          <a:solidFill>
            <a:srgbClr val="044B7F"/>
          </a:solidFill>
          <a:ln w="12700">
            <a:solidFill>
              <a:srgbClr val="018064"/>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Freeform: Shape 41">
            <a:extLst>
              <a:ext uri="{FF2B5EF4-FFF2-40B4-BE49-F238E27FC236}">
                <a16:creationId xmlns:a16="http://schemas.microsoft.com/office/drawing/2014/main" id="{82855438-C68F-BB79-EF7E-DF32553E02F0}"/>
              </a:ext>
            </a:extLst>
          </p:cNvPr>
          <p:cNvSpPr/>
          <p:nvPr/>
        </p:nvSpPr>
        <p:spPr bwMode="auto">
          <a:xfrm>
            <a:off x="11094781" y="2796559"/>
            <a:ext cx="293291" cy="114300"/>
          </a:xfrm>
          <a:custGeom>
            <a:avLst/>
            <a:gdLst>
              <a:gd name="connsiteX0" fmla="*/ 99618 w 306339"/>
              <a:gd name="connsiteY0" fmla="*/ 2163 h 198191"/>
              <a:gd name="connsiteX1" fmla="*/ 265023 w 306339"/>
              <a:gd name="connsiteY1" fmla="*/ 120551 h 198191"/>
              <a:gd name="connsiteX2" fmla="*/ 300583 w 306339"/>
              <a:gd name="connsiteY2" fmla="*/ 191749 h 198191"/>
              <a:gd name="connsiteX3" fmla="*/ 306339 w 306339"/>
              <a:gd name="connsiteY3" fmla="*/ 198191 h 198191"/>
              <a:gd name="connsiteX4" fmla="*/ 0 w 306339"/>
              <a:gd name="connsiteY4" fmla="*/ 9153 h 198191"/>
              <a:gd name="connsiteX5" fmla="*/ 28802 w 306339"/>
              <a:gd name="connsiteY5" fmla="*/ 3728 h 198191"/>
              <a:gd name="connsiteX6" fmla="*/ 99618 w 306339"/>
              <a:gd name="connsiteY6" fmla="*/ 2163 h 198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6339" h="198191">
                <a:moveTo>
                  <a:pt x="99618" y="2163"/>
                </a:moveTo>
                <a:cubicBezTo>
                  <a:pt x="169015" y="12001"/>
                  <a:pt x="231650" y="54901"/>
                  <a:pt x="265023" y="120551"/>
                </a:cubicBezTo>
                <a:lnTo>
                  <a:pt x="300583" y="191749"/>
                </a:lnTo>
                <a:lnTo>
                  <a:pt x="306339" y="198191"/>
                </a:lnTo>
                <a:lnTo>
                  <a:pt x="0" y="9153"/>
                </a:lnTo>
                <a:lnTo>
                  <a:pt x="28802" y="3728"/>
                </a:lnTo>
                <a:cubicBezTo>
                  <a:pt x="52603" y="-722"/>
                  <a:pt x="76486" y="-1116"/>
                  <a:pt x="99618" y="2163"/>
                </a:cubicBezTo>
                <a:close/>
              </a:path>
            </a:pathLst>
          </a:custGeom>
          <a:solidFill>
            <a:srgbClr val="044B7F"/>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Shape">
            <a:extLst>
              <a:ext uri="{FF2B5EF4-FFF2-40B4-BE49-F238E27FC236}">
                <a16:creationId xmlns:a16="http://schemas.microsoft.com/office/drawing/2014/main" id="{681ECA9B-BD45-A259-496D-905A44CEC6C6}"/>
              </a:ext>
            </a:extLst>
          </p:cNvPr>
          <p:cNvSpPr/>
          <p:nvPr/>
        </p:nvSpPr>
        <p:spPr bwMode="auto">
          <a:xfrm>
            <a:off x="9969473" y="1602759"/>
            <a:ext cx="1793702" cy="1258888"/>
          </a:xfrm>
          <a:custGeom>
            <a:avLst/>
            <a:gdLst/>
            <a:ahLst/>
            <a:cxnLst>
              <a:cxn ang="0">
                <a:pos x="wd2" y="hd2"/>
              </a:cxn>
              <a:cxn ang="5400000">
                <a:pos x="wd2" y="hd2"/>
              </a:cxn>
              <a:cxn ang="10800000">
                <a:pos x="wd2" y="hd2"/>
              </a:cxn>
              <a:cxn ang="16200000">
                <a:pos x="wd2" y="hd2"/>
              </a:cxn>
            </a:cxnLst>
            <a:rect l="0" t="0" r="r" b="b"/>
            <a:pathLst>
              <a:path w="21600" h="21193" extrusionOk="0">
                <a:moveTo>
                  <a:pt x="19853" y="3227"/>
                </a:moveTo>
                <a:lnTo>
                  <a:pt x="2717" y="45"/>
                </a:lnTo>
                <a:cubicBezTo>
                  <a:pt x="1322" y="-212"/>
                  <a:pt x="0" y="669"/>
                  <a:pt x="0" y="1856"/>
                </a:cubicBezTo>
                <a:lnTo>
                  <a:pt x="0" y="19332"/>
                </a:lnTo>
                <a:cubicBezTo>
                  <a:pt x="0" y="20507"/>
                  <a:pt x="1277" y="21388"/>
                  <a:pt x="2658" y="21155"/>
                </a:cubicBezTo>
                <a:lnTo>
                  <a:pt x="19794" y="18353"/>
                </a:lnTo>
                <a:cubicBezTo>
                  <a:pt x="20836" y="18182"/>
                  <a:pt x="21600" y="17411"/>
                  <a:pt x="21600" y="16530"/>
                </a:cubicBezTo>
                <a:lnTo>
                  <a:pt x="21600" y="5038"/>
                </a:lnTo>
                <a:cubicBezTo>
                  <a:pt x="21600" y="4181"/>
                  <a:pt x="20880" y="3423"/>
                  <a:pt x="19853" y="3227"/>
                </a:cubicBezTo>
                <a:close/>
              </a:path>
            </a:pathLst>
          </a:custGeom>
          <a:solidFill>
            <a:srgbClr val="D9EEED"/>
          </a:solidFill>
          <a:ln w="12700">
            <a:solidFill>
              <a:schemeClr val="bg1">
                <a:lumMod val="75000"/>
              </a:schemeClr>
            </a:solidFill>
            <a:miter lim="400000"/>
          </a:ln>
        </p:spPr>
        <p:txBody>
          <a:bodyPr lIns="28575" tIns="28575" rIns="28575" bIns="28575" anchor="ctr"/>
          <a:lstStyle/>
          <a:p>
            <a:pPr marL="0" marR="0" lvl="0" indent="0" algn="l" defTabSz="4572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5F8C3FD9-BD08-C092-E7B2-61850A44D1DA}"/>
              </a:ext>
            </a:extLst>
          </p:cNvPr>
          <p:cNvSpPr txBox="1"/>
          <p:nvPr/>
        </p:nvSpPr>
        <p:spPr bwMode="auto">
          <a:xfrm>
            <a:off x="9987996" y="2225059"/>
            <a:ext cx="1724239" cy="423863"/>
          </a:xfrm>
          <a:prstGeom prst="rect">
            <a:avLst/>
          </a:prstGeom>
          <a:noFill/>
        </p:spPr>
        <p:txBody>
          <a:bodyPr lIns="0" r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Co-creation Workshop </a:t>
            </a:r>
          </a:p>
        </p:txBody>
      </p:sp>
      <p:sp>
        <p:nvSpPr>
          <p:cNvPr id="46" name="Oval 45">
            <a:extLst>
              <a:ext uri="{FF2B5EF4-FFF2-40B4-BE49-F238E27FC236}">
                <a16:creationId xmlns:a16="http://schemas.microsoft.com/office/drawing/2014/main" id="{B802955A-8DA1-6D2E-DD9C-079C5DF4B347}"/>
              </a:ext>
            </a:extLst>
          </p:cNvPr>
          <p:cNvSpPr/>
          <p:nvPr/>
        </p:nvSpPr>
        <p:spPr bwMode="auto">
          <a:xfrm>
            <a:off x="9585030" y="2137747"/>
            <a:ext cx="352026" cy="365125"/>
          </a:xfrm>
          <a:prstGeom prst="ellipse">
            <a:avLst/>
          </a:prstGeom>
          <a:noFill/>
          <a:ln w="28575">
            <a:solidFill>
              <a:srgbClr val="044B7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a:t>
            </a:r>
          </a:p>
        </p:txBody>
      </p:sp>
      <p:cxnSp>
        <p:nvCxnSpPr>
          <p:cNvPr id="47" name="Straight Connector 46">
            <a:extLst>
              <a:ext uri="{FF2B5EF4-FFF2-40B4-BE49-F238E27FC236}">
                <a16:creationId xmlns:a16="http://schemas.microsoft.com/office/drawing/2014/main" id="{55D3AF1F-CB70-7868-22C5-F3836A26EDED}"/>
              </a:ext>
            </a:extLst>
          </p:cNvPr>
          <p:cNvCxnSpPr>
            <a:cxnSpLocks/>
          </p:cNvCxnSpPr>
          <p:nvPr/>
        </p:nvCxnSpPr>
        <p:spPr>
          <a:xfrm>
            <a:off x="10023" y="6624763"/>
            <a:ext cx="12168000" cy="0"/>
          </a:xfrm>
          <a:prstGeom prst="line">
            <a:avLst/>
          </a:prstGeom>
          <a:noFill/>
          <a:ln w="9525" cap="flat" cmpd="sng" algn="ctr">
            <a:solidFill>
              <a:srgbClr val="808080"/>
            </a:solidFill>
            <a:prstDash val="solid"/>
          </a:ln>
          <a:effectLst/>
        </p:spPr>
      </p:cxnSp>
      <p:sp>
        <p:nvSpPr>
          <p:cNvPr id="48" name="TextBox 37">
            <a:extLst>
              <a:ext uri="{FF2B5EF4-FFF2-40B4-BE49-F238E27FC236}">
                <a16:creationId xmlns:a16="http://schemas.microsoft.com/office/drawing/2014/main" id="{A75D8E22-5EB5-926D-1D4A-915A4D6B3F06}"/>
              </a:ext>
            </a:extLst>
          </p:cNvPr>
          <p:cNvSpPr txBox="1">
            <a:spLocks noChangeArrowheads="1"/>
          </p:cNvSpPr>
          <p:nvPr/>
        </p:nvSpPr>
        <p:spPr bwMode="auto">
          <a:xfrm>
            <a:off x="9567741" y="3112923"/>
            <a:ext cx="2516154" cy="2011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lstStyle>
            <a:lvl1pPr marL="342900" indent="-342900" defTabSz="89376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174625" indent="-173038" defTabSz="893763">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893763">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893763">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89376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4625" marR="0" lvl="1" indent="-173038" algn="l" defTabSz="893763" rtl="0" eaLnBrk="1" fontAlgn="auto" latinLnBrk="0" hangingPunct="1">
              <a:lnSpc>
                <a:spcPct val="100000"/>
              </a:lnSpc>
              <a:spcBef>
                <a:spcPts val="300"/>
              </a:spcBef>
              <a:spcAft>
                <a:spcPts val="300"/>
              </a:spcAft>
              <a:buClr>
                <a:srgbClr val="204024"/>
              </a:buClr>
              <a:buSzPct val="100000"/>
              <a:buFont typeface="Wingdings" panose="05000000000000000000" pitchFamily="2" charset="2"/>
              <a:buChar char="§"/>
              <a:tabLst/>
              <a:defRPr/>
            </a:pPr>
            <a:r>
              <a:rPr kumimoji="0" lang="en-US" altLang="en-US" sz="1600" b="0" i="0" u="none" strike="noStrike" kern="1200" cap="none" spc="0" normalizeH="0" baseline="0" noProof="0" dirty="0">
                <a:ln>
                  <a:noFill/>
                </a:ln>
                <a:solidFill>
                  <a:srgbClr val="000000"/>
                </a:solidFill>
                <a:effectLst/>
                <a:uLnTx/>
                <a:uFillTx/>
                <a:latin typeface="Gill Sans MT" panose="020B0502020104020203"/>
                <a:ea typeface="+mn-ea"/>
                <a:cs typeface="+mn-cs"/>
              </a:rPr>
              <a:t>Conducted a workshop with critical stakeholders including the USAID mission to develop interventions to address the root causes of the market failure</a:t>
            </a:r>
          </a:p>
        </p:txBody>
      </p:sp>
      <p:grpSp>
        <p:nvGrpSpPr>
          <p:cNvPr id="52" name="Group 51">
            <a:extLst>
              <a:ext uri="{FF2B5EF4-FFF2-40B4-BE49-F238E27FC236}">
                <a16:creationId xmlns:a16="http://schemas.microsoft.com/office/drawing/2014/main" id="{85425534-4554-CF5C-546C-A3D90E6DFBFD}"/>
              </a:ext>
            </a:extLst>
          </p:cNvPr>
          <p:cNvGrpSpPr/>
          <p:nvPr/>
        </p:nvGrpSpPr>
        <p:grpSpPr>
          <a:xfrm>
            <a:off x="9295014" y="2142509"/>
            <a:ext cx="211086" cy="355600"/>
            <a:chOff x="6696545" y="1474788"/>
            <a:chExt cx="219321" cy="355600"/>
          </a:xfrm>
        </p:grpSpPr>
        <p:sp>
          <p:nvSpPr>
            <p:cNvPr id="53" name="AutoShape 8">
              <a:extLst>
                <a:ext uri="{FF2B5EF4-FFF2-40B4-BE49-F238E27FC236}">
                  <a16:creationId xmlns:a16="http://schemas.microsoft.com/office/drawing/2014/main" id="{9F6B8A84-5C5F-0E90-655C-D99A339B1E19}"/>
                </a:ext>
              </a:extLst>
            </p:cNvPr>
            <p:cNvSpPr>
              <a:spLocks noChangeArrowheads="1"/>
            </p:cNvSpPr>
            <p:nvPr/>
          </p:nvSpPr>
          <p:spPr bwMode="gray">
            <a:xfrm>
              <a:off x="6696545" y="1527175"/>
              <a:ext cx="90235" cy="242888"/>
            </a:xfrm>
            <a:prstGeom prst="chevron">
              <a:avLst>
                <a:gd name="adj" fmla="val 31199"/>
              </a:avLst>
            </a:prstGeom>
            <a:solidFill>
              <a:schemeClr val="bg1">
                <a:lumMod val="65000"/>
              </a:schemeClr>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Body)"/>
                <a:ea typeface="+mn-ea"/>
                <a:cs typeface="Arial" pitchFamily="34" charset="0"/>
              </a:endParaRPr>
            </a:p>
          </p:txBody>
        </p:sp>
        <p:sp>
          <p:nvSpPr>
            <p:cNvPr id="54" name="AutoShape 9">
              <a:extLst>
                <a:ext uri="{FF2B5EF4-FFF2-40B4-BE49-F238E27FC236}">
                  <a16:creationId xmlns:a16="http://schemas.microsoft.com/office/drawing/2014/main" id="{D4DCA8F9-B8C6-0F94-2114-E489BB38CED6}"/>
                </a:ext>
              </a:extLst>
            </p:cNvPr>
            <p:cNvSpPr>
              <a:spLocks noChangeArrowheads="1"/>
            </p:cNvSpPr>
            <p:nvPr/>
          </p:nvSpPr>
          <p:spPr bwMode="gray">
            <a:xfrm>
              <a:off x="6784273" y="1474788"/>
              <a:ext cx="131593" cy="355600"/>
            </a:xfrm>
            <a:prstGeom prst="chevron">
              <a:avLst>
                <a:gd name="adj" fmla="val 31403"/>
              </a:avLst>
            </a:prstGeom>
            <a:solidFill>
              <a:srgbClr val="044B7F"/>
            </a:solidFill>
            <a:ln>
              <a:noFill/>
            </a:ln>
            <a:effectLst/>
          </p:spPr>
          <p:txBody>
            <a:bodyPr wrap="none" lIns="93297" tIns="46649" rIns="93297" bIns="46649"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Body)"/>
                <a:ea typeface="+mn-ea"/>
                <a:cs typeface="Arial" pitchFamily="34" charset="0"/>
              </a:endParaRPr>
            </a:p>
          </p:txBody>
        </p:sp>
      </p:grpSp>
      <p:pic>
        <p:nvPicPr>
          <p:cNvPr id="1026" name="Picture 2" descr="Scrutiny Document Plan Icon In Flat Style Review Statement Vector  Illustration On White Isolated Background Document With Magnifier Loupe  Business Concept Stock Illustration - Download Image Now - iStock">
            <a:extLst>
              <a:ext uri="{FF2B5EF4-FFF2-40B4-BE49-F238E27FC236}">
                <a16:creationId xmlns:a16="http://schemas.microsoft.com/office/drawing/2014/main" id="{EA6ABD7E-ADF6-2A8A-2794-0ED5127B7DFD}"/>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59044" y="1572300"/>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GRICULTURAL PROMOTION POLICY">
            <a:extLst>
              <a:ext uri="{FF2B5EF4-FFF2-40B4-BE49-F238E27FC236}">
                <a16:creationId xmlns:a16="http://schemas.microsoft.com/office/drawing/2014/main" id="{861B21D0-B9E6-D36E-A526-2A0EB4249B53}"/>
              </a:ext>
            </a:extLst>
          </p:cNvPr>
          <p:cNvPicPr>
            <a:picLocks noChangeAspect="1" noChangeArrowheads="1"/>
          </p:cNvPicPr>
          <p:nvPr/>
        </p:nvPicPr>
        <p:blipFill>
          <a:blip r:embed="rId7" cstate="print">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4660853" y="1755180"/>
            <a:ext cx="41751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plementation of Inquiry-Based Science in the Classroom and Its  Repercussion on the Motivation to Learn Chemistry | Journal of Chemical  Education">
            <a:extLst>
              <a:ext uri="{FF2B5EF4-FFF2-40B4-BE49-F238E27FC236}">
                <a16:creationId xmlns:a16="http://schemas.microsoft.com/office/drawing/2014/main" id="{1988B93A-4441-FB02-2317-0D9D9E75B5C0}"/>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7366607" y="1755180"/>
            <a:ext cx="382269" cy="27432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o-Creation Icons - Free SVG &amp; PNG Co-Creation Images - Noun Project">
            <a:extLst>
              <a:ext uri="{FF2B5EF4-FFF2-40B4-BE49-F238E27FC236}">
                <a16:creationId xmlns:a16="http://schemas.microsoft.com/office/drawing/2014/main" id="{509CE531-F94C-DDFA-34A7-7633B1A606F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002239" y="1572300"/>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75" name="Google Shape;1233;p4">
            <a:extLst>
              <a:ext uri="{FF2B5EF4-FFF2-40B4-BE49-F238E27FC236}">
                <a16:creationId xmlns:a16="http://schemas.microsoft.com/office/drawing/2014/main" id="{F84D8B4D-3C3F-299F-0A79-EE10EEFEA4EA}"/>
              </a:ext>
            </a:extLst>
          </p:cNvPr>
          <p:cNvSpPr/>
          <p:nvPr/>
        </p:nvSpPr>
        <p:spPr>
          <a:xfrm>
            <a:off x="50209" y="6685908"/>
            <a:ext cx="1439475" cy="138499"/>
          </a:xfrm>
          <a:prstGeom prst="rect">
            <a:avLst/>
          </a:prstGeom>
          <a:noFill/>
          <a:ln>
            <a:noFill/>
          </a:ln>
        </p:spPr>
        <p:txBody>
          <a:bodyPr spcFirstLastPara="1" wrap="square" lIns="0" tIns="0" rIns="0" bIns="0" anchor="ctr" anchorCtr="0">
            <a:spAutoFit/>
          </a:bodyPr>
          <a:lstStyle/>
          <a:p>
            <a:pPr marL="609391" marR="0" lvl="0" indent="-609391" algn="l"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Arial"/>
                <a:cs typeface="Arial"/>
                <a:sym typeface="Arial"/>
              </a:rPr>
              <a:t>SOURCE: Solina analysis</a:t>
            </a:r>
            <a:endParaRPr kumimoji="0" sz="1400" b="0" i="0" u="none" strike="noStrike" kern="0" cap="none" spc="0" normalizeH="0" baseline="0" noProof="0" dirty="0">
              <a:ln>
                <a:noFill/>
              </a:ln>
              <a:solidFill>
                <a:srgbClr val="000000"/>
              </a:solidFill>
              <a:effectLst/>
              <a:uLnTx/>
              <a:uFillTx/>
              <a:latin typeface="Gill Sans MT" panose="020B0502020104020203"/>
              <a:ea typeface="+mn-ea"/>
              <a:cs typeface="Arial"/>
              <a:sym typeface="Arial"/>
            </a:endParaRPr>
          </a:p>
        </p:txBody>
      </p:sp>
    </p:spTree>
    <p:extLst>
      <p:ext uri="{BB962C8B-B14F-4D97-AF65-F5344CB8AC3E}">
        <p14:creationId xmlns:p14="http://schemas.microsoft.com/office/powerpoint/2010/main" val="1669998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5D74C94-2EEC-4B01-8107-E9C021926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10" name="Object 9" hidden="1">
                        <a:extLst>
                          <a:ext uri="{FF2B5EF4-FFF2-40B4-BE49-F238E27FC236}">
                            <a16:creationId xmlns:a16="http://schemas.microsoft.com/office/drawing/2014/main" id="{15D74C94-2EEC-4B01-8107-E9C0219268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0F8A3CF1-87E1-4A47-A52A-97EA1BC1FCA2}"/>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Effect>
                      <a14:brightnessContrast bright="10000"/>
                    </a14:imgEffect>
                  </a14:imgLayer>
                </a14:imgProps>
              </a:ext>
              <a:ext uri="{28A0092B-C50C-407E-A947-70E740481C1C}">
                <a14:useLocalDpi xmlns:a14="http://schemas.microsoft.com/office/drawing/2010/main" val="0"/>
              </a:ext>
            </a:extLst>
          </a:blip>
          <a:srcRect l="12146" r="27200"/>
          <a:stretch/>
        </p:blipFill>
        <p:spPr>
          <a:xfrm>
            <a:off x="62753" y="215272"/>
            <a:ext cx="5783889" cy="6475115"/>
          </a:xfrm>
          <a:prstGeom prst="rect">
            <a:avLst/>
          </a:prstGeom>
        </p:spPr>
      </p:pic>
      <p:sp>
        <p:nvSpPr>
          <p:cNvPr id="3" name="Slide Number Placeholder 2">
            <a:extLst>
              <a:ext uri="{FF2B5EF4-FFF2-40B4-BE49-F238E27FC236}">
                <a16:creationId xmlns:a16="http://schemas.microsoft.com/office/drawing/2014/main" id="{1F20116A-6F2E-E48E-7BB6-CFA3DFBEAA17}"/>
              </a:ext>
            </a:extLst>
          </p:cNvPr>
          <p:cNvSpPr>
            <a:spLocks noGrp="1"/>
          </p:cNvSpPr>
          <p:nvPr>
            <p:ph type="sldNum" sz="quarter" idx="10"/>
          </p:nvPr>
        </p:nvSpPr>
        <p:spPr>
          <a:xfrm>
            <a:off x="11280901" y="6393515"/>
            <a:ext cx="451899" cy="182880"/>
          </a:xfrm>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4755468B-C2BA-8B42-ABD6-597061763577}" type="slidenum">
              <a:rPr kumimoji="0" lang="en-US" sz="1100" b="0" i="0" u="none" strike="noStrike" kern="1200" cap="none" spc="0" normalizeH="0" baseline="0" noProof="0" smtClean="0">
                <a:ln>
                  <a:noFill/>
                </a:ln>
                <a:solidFill>
                  <a:srgbClr val="112E38"/>
                </a:solidFill>
                <a:effectLst/>
                <a:uLnTx/>
                <a:uFillTx/>
                <a:latin typeface="Gill Sans MT" panose="020B0502020104020203"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dirty="0">
              <a:ln>
                <a:noFill/>
              </a:ln>
              <a:solidFill>
                <a:srgbClr val="112E38"/>
              </a:solidFill>
              <a:effectLst/>
              <a:uLnTx/>
              <a:uFillTx/>
              <a:latin typeface="Gill Sans MT" panose="020B0502020104020203" pitchFamily="34" charset="0"/>
              <a:ea typeface="+mn-ea"/>
              <a:cs typeface="+mn-cs"/>
            </a:endParaRPr>
          </a:p>
        </p:txBody>
      </p:sp>
      <p:sp>
        <p:nvSpPr>
          <p:cNvPr id="7" name="TextBox 6">
            <a:extLst>
              <a:ext uri="{FF2B5EF4-FFF2-40B4-BE49-F238E27FC236}">
                <a16:creationId xmlns:a16="http://schemas.microsoft.com/office/drawing/2014/main" id="{968F3CE4-A203-5482-BFC0-139AB70F0F8D}"/>
              </a:ext>
            </a:extLst>
          </p:cNvPr>
          <p:cNvSpPr txBox="1"/>
          <p:nvPr/>
        </p:nvSpPr>
        <p:spPr>
          <a:xfrm>
            <a:off x="5998725" y="1642301"/>
            <a:ext cx="6217920" cy="1323439"/>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rPr>
              <a:t>Maternal and Newborn Health Indices in Ebonyi</a:t>
            </a:r>
            <a:endParaRPr kumimoji="0" lang="fr-FR" sz="4000" b="1" i="0" u="none" strike="noStrike" kern="1200" cap="none" spc="0" normalizeH="0" baseline="0" noProof="0" dirty="0">
              <a:ln>
                <a:noFill/>
              </a:ln>
              <a:solidFill>
                <a:srgbClr val="044B7F">
                  <a:lumMod val="50000"/>
                </a:srgbClr>
              </a:solidFill>
              <a:effectLst/>
              <a:uLnTx/>
              <a:uFillTx/>
              <a:latin typeface="Gill Sans MT" panose="020B0502020104020203"/>
              <a:ea typeface="+mn-ea"/>
              <a:cs typeface="Arial" panose="020B0604020202020204" pitchFamily="34" charset="0"/>
            </a:endParaRPr>
          </a:p>
        </p:txBody>
      </p:sp>
      <p:sp>
        <p:nvSpPr>
          <p:cNvPr id="6" name="Rectangle 5">
            <a:extLst>
              <a:ext uri="{FF2B5EF4-FFF2-40B4-BE49-F238E27FC236}">
                <a16:creationId xmlns:a16="http://schemas.microsoft.com/office/drawing/2014/main" id="{5DA86D16-D09D-19E0-E558-38E7BDF32EA2}"/>
              </a:ext>
            </a:extLst>
          </p:cNvPr>
          <p:cNvSpPr/>
          <p:nvPr/>
        </p:nvSpPr>
        <p:spPr>
          <a:xfrm>
            <a:off x="303181" y="589053"/>
            <a:ext cx="5181600" cy="5791201"/>
          </a:xfrm>
          <a:prstGeom prst="rect">
            <a:avLst/>
          </a:prstGeom>
          <a:noFill/>
          <a:ln w="76200" cmpd="dbl">
            <a:solidFill>
              <a:srgbClr val="2551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1" name="Text Placeholder 5">
            <a:extLst>
              <a:ext uri="{FF2B5EF4-FFF2-40B4-BE49-F238E27FC236}">
                <a16:creationId xmlns:a16="http://schemas.microsoft.com/office/drawing/2014/main" id="{2830B6C8-D59D-417F-9CA3-99050FB46EE8}"/>
              </a:ext>
            </a:extLst>
          </p:cNvPr>
          <p:cNvSpPr txBox="1">
            <a:spLocks/>
          </p:cNvSpPr>
          <p:nvPr/>
        </p:nvSpPr>
        <p:spPr>
          <a:xfrm>
            <a:off x="152400" y="6427284"/>
            <a:ext cx="3383280" cy="215444"/>
          </a:xfrm>
          <a:prstGeom prst="rect">
            <a:avLst/>
          </a:prstGeom>
        </p:spPr>
        <p:txBody>
          <a:bodyPr/>
          <a:lstStyle>
            <a:lvl1pPr marL="228584" indent="-228584" algn="l" defTabSz="914332" rtl="0" eaLnBrk="1" latinLnBrk="0" hangingPunct="1">
              <a:lnSpc>
                <a:spcPct val="100000"/>
              </a:lnSpc>
              <a:spcBef>
                <a:spcPts val="1000"/>
              </a:spcBef>
              <a:buFont typeface=".AppleSystemUIFont" charset="-120"/>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1pPr>
            <a:lvl2pPr marL="457189" indent="-182875" algn="l" defTabSz="914332" rtl="0" eaLnBrk="1" latinLnBrk="0" hangingPunct="1">
              <a:lnSpc>
                <a:spcPct val="100000"/>
              </a:lnSpc>
              <a:spcBef>
                <a:spcPts val="400"/>
              </a:spcBef>
              <a:buFont typeface="Arial"/>
              <a:buChar char="•"/>
              <a:defRPr sz="2133"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2pPr>
            <a:lvl3pPr marL="621776" indent="-182875" algn="l" defTabSz="914332" rtl="0" eaLnBrk="1" latinLnBrk="0" hangingPunct="1">
              <a:lnSpc>
                <a:spcPct val="100000"/>
              </a:lnSpc>
              <a:spcBef>
                <a:spcPts val="400"/>
              </a:spcBef>
              <a:buFont typeface="Courier New" charset="0"/>
              <a:buChar char="o"/>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3pPr>
            <a:lvl4pPr marL="868578" indent="-182875" algn="l" defTabSz="914332" rtl="0" eaLnBrk="1" latinLnBrk="0" hangingPunct="1">
              <a:lnSpc>
                <a:spcPct val="100000"/>
              </a:lnSpc>
              <a:spcBef>
                <a:spcPts val="400"/>
              </a:spcBef>
              <a:buFont typeface=".AppleSystemUIFont" charset="-120"/>
              <a:buChar char="–"/>
              <a:defRPr sz="1867"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4pPr>
            <a:lvl5pPr marL="1051534" indent="-182875" algn="l" defTabSz="914332" rtl="0" eaLnBrk="1" latinLnBrk="0" hangingPunct="1">
              <a:lnSpc>
                <a:spcPct val="90000"/>
              </a:lnSpc>
              <a:spcBef>
                <a:spcPts val="400"/>
              </a:spcBef>
              <a:buFont typeface="Arial"/>
              <a:buChar char="•"/>
              <a:defRPr sz="1600" b="0" i="0" kern="1200">
                <a:solidFill>
                  <a:schemeClr val="tx2"/>
                </a:solidFill>
                <a:latin typeface="Gill Sans MT" panose="020B0502020104020203" pitchFamily="34" charset="0"/>
                <a:ea typeface="Gill Sans MT" panose="020B0502020104020203" pitchFamily="34" charset="0"/>
                <a:cs typeface="Arial" panose="020B0604020202020204" pitchFamily="34" charset="0"/>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marR="0" lvl="0" indent="0" algn="l" defTabSz="914332" rtl="0" eaLnBrk="1" fontAlgn="auto" latinLnBrk="0" hangingPunct="1">
              <a:lnSpc>
                <a:spcPct val="100000"/>
              </a:lnSpc>
              <a:spcBef>
                <a:spcPts val="1000"/>
              </a:spcBef>
              <a:spcAft>
                <a:spcPts val="0"/>
              </a:spcAft>
              <a:buClrTx/>
              <a:buSzTx/>
              <a:buFont typeface=".AppleSystemUIFont" charset="-120"/>
              <a:buNone/>
              <a:tabLst/>
              <a:defRPr/>
            </a:pPr>
            <a:r>
              <a:rPr kumimoji="0" lang="en-US" sz="1050" b="0" i="0" u="none" strike="noStrike" kern="1200" cap="none" spc="0" normalizeH="0" baseline="0" noProof="0" dirty="0">
                <a:ln>
                  <a:noFill/>
                </a:ln>
                <a:solidFill>
                  <a:prstClr val="white"/>
                </a:solidFill>
                <a:effectLst/>
                <a:uLnTx/>
                <a:uFillTx/>
                <a:latin typeface="Gill Sans MT" panose="020B0502020104020203" pitchFamily="34" charset="0"/>
                <a:cs typeface="Arial" panose="020B0604020202020204" pitchFamily="34" charset="0"/>
              </a:rPr>
              <a:t>Photo credit: USAID GHSC-PSM project</a:t>
            </a:r>
          </a:p>
        </p:txBody>
      </p:sp>
    </p:spTree>
    <p:extLst>
      <p:ext uri="{BB962C8B-B14F-4D97-AF65-F5344CB8AC3E}">
        <p14:creationId xmlns:p14="http://schemas.microsoft.com/office/powerpoint/2010/main" val="16006367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34">
            <a:extLst>
              <a:ext uri="{FF2B5EF4-FFF2-40B4-BE49-F238E27FC236}">
                <a16:creationId xmlns:a16="http://schemas.microsoft.com/office/drawing/2014/main" id="{03AAEE52-E7B4-877D-3ADB-90737C52947D}"/>
              </a:ext>
            </a:extLst>
          </p:cNvPr>
          <p:cNvPicPr>
            <a:picLocks noChangeAspect="1" noChangeArrowheads="1"/>
          </p:cNvPicPr>
          <p:nvPr/>
        </p:nvPicPr>
        <p:blipFill>
          <a:blip r:embed="rId7" cstate="print">
            <a:graysc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115390" y="1216160"/>
            <a:ext cx="6043677" cy="4467108"/>
          </a:xfrm>
          <a:prstGeom prst="rect">
            <a:avLst/>
          </a:prstGeom>
          <a:solidFill>
            <a:srgbClr val="6CBCBA"/>
          </a:solidFill>
          <a:ln w="19050">
            <a:solidFill>
              <a:schemeClr val="tx1">
                <a:lumMod val="50000"/>
                <a:lumOff val="50000"/>
              </a:schemeClr>
            </a:solidFill>
            <a:miter lim="800000"/>
            <a:headEnd/>
            <a:tailEnd/>
          </a:ln>
          <a:effectLst/>
        </p:spPr>
      </p:pic>
      <p:sp>
        <p:nvSpPr>
          <p:cNvPr id="237" name="TextBox 236">
            <a:extLst>
              <a:ext uri="{FF2B5EF4-FFF2-40B4-BE49-F238E27FC236}">
                <a16:creationId xmlns:a16="http://schemas.microsoft.com/office/drawing/2014/main" id="{02D7D77A-623B-4984-9953-A91122616BA2}"/>
              </a:ext>
            </a:extLst>
          </p:cNvPr>
          <p:cNvSpPr txBox="1"/>
          <p:nvPr/>
        </p:nvSpPr>
        <p:spPr>
          <a:xfrm>
            <a:off x="93661" y="6551272"/>
            <a:ext cx="11608343"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City population, 2 Statista,3 NATIONAL BUREAU OF STATISTIC (Poverty and Inequality In Nigeria – 2019) 4 </a:t>
            </a: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hlinkClick r:id="rId9"/>
              </a:rPr>
              <a:t>https://www.new.funai.edu.ng/about-ebonyi-state/</a:t>
            </a:r>
            <a:r>
              <a:rPr kumimoji="0" lang="en-US" sz="8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a:t>
            </a:r>
          </a:p>
        </p:txBody>
      </p:sp>
      <p:grpSp>
        <p:nvGrpSpPr>
          <p:cNvPr id="239" name="Group 238">
            <a:extLst>
              <a:ext uri="{FF2B5EF4-FFF2-40B4-BE49-F238E27FC236}">
                <a16:creationId xmlns:a16="http://schemas.microsoft.com/office/drawing/2014/main" id="{B3501515-9641-4262-BB31-61A49E72F303}"/>
              </a:ext>
            </a:extLst>
          </p:cNvPr>
          <p:cNvGrpSpPr/>
          <p:nvPr/>
        </p:nvGrpSpPr>
        <p:grpSpPr>
          <a:xfrm>
            <a:off x="951110" y="1472594"/>
            <a:ext cx="4692118" cy="4000545"/>
            <a:chOff x="172336" y="1246112"/>
            <a:chExt cx="3886757" cy="2564192"/>
          </a:xfrm>
        </p:grpSpPr>
        <p:grpSp>
          <p:nvGrpSpPr>
            <p:cNvPr id="298" name="Group 297">
              <a:extLst>
                <a:ext uri="{FF2B5EF4-FFF2-40B4-BE49-F238E27FC236}">
                  <a16:creationId xmlns:a16="http://schemas.microsoft.com/office/drawing/2014/main" id="{A234FC5B-6211-4C3F-B957-0AA597D22805}"/>
                </a:ext>
              </a:extLst>
            </p:cNvPr>
            <p:cNvGrpSpPr/>
            <p:nvPr/>
          </p:nvGrpSpPr>
          <p:grpSpPr>
            <a:xfrm>
              <a:off x="172336" y="1246112"/>
              <a:ext cx="3886757" cy="2564192"/>
              <a:chOff x="3164247" y="370016"/>
              <a:chExt cx="5706295" cy="6309360"/>
            </a:xfrm>
          </p:grpSpPr>
          <p:sp>
            <p:nvSpPr>
              <p:cNvPr id="301" name="Freeform: Shape 300">
                <a:extLst>
                  <a:ext uri="{FF2B5EF4-FFF2-40B4-BE49-F238E27FC236}">
                    <a16:creationId xmlns:a16="http://schemas.microsoft.com/office/drawing/2014/main" id="{DC13385A-B1FA-4290-BFD1-C296ED5CB5FF}"/>
                  </a:ext>
                </a:extLst>
              </p:cNvPr>
              <p:cNvSpPr/>
              <p:nvPr/>
            </p:nvSpPr>
            <p:spPr>
              <a:xfrm>
                <a:off x="3165868" y="377632"/>
                <a:ext cx="5700296" cy="6301744"/>
              </a:xfrm>
              <a:custGeom>
                <a:avLst/>
                <a:gdLst>
                  <a:gd name="connsiteX0" fmla="*/ 47707 w 5049078"/>
                  <a:gd name="connsiteY0" fmla="*/ 4810539 h 5581816"/>
                  <a:gd name="connsiteX1" fmla="*/ 174928 w 5049078"/>
                  <a:gd name="connsiteY1" fmla="*/ 4762831 h 5581816"/>
                  <a:gd name="connsiteX2" fmla="*/ 254441 w 5049078"/>
                  <a:gd name="connsiteY2" fmla="*/ 4818490 h 5581816"/>
                  <a:gd name="connsiteX3" fmla="*/ 556591 w 5049078"/>
                  <a:gd name="connsiteY3" fmla="*/ 4890052 h 5581816"/>
                  <a:gd name="connsiteX4" fmla="*/ 850789 w 5049078"/>
                  <a:gd name="connsiteY4" fmla="*/ 4890052 h 5581816"/>
                  <a:gd name="connsiteX5" fmla="*/ 1176793 w 5049078"/>
                  <a:gd name="connsiteY5" fmla="*/ 4929809 h 5581816"/>
                  <a:gd name="connsiteX6" fmla="*/ 1343770 w 5049078"/>
                  <a:gd name="connsiteY6" fmla="*/ 4969565 h 5581816"/>
                  <a:gd name="connsiteX7" fmla="*/ 1415332 w 5049078"/>
                  <a:gd name="connsiteY7" fmla="*/ 5009322 h 5581816"/>
                  <a:gd name="connsiteX8" fmla="*/ 1439186 w 5049078"/>
                  <a:gd name="connsiteY8" fmla="*/ 5168348 h 5581816"/>
                  <a:gd name="connsiteX9" fmla="*/ 1463040 w 5049078"/>
                  <a:gd name="connsiteY9" fmla="*/ 5255812 h 5581816"/>
                  <a:gd name="connsiteX10" fmla="*/ 1717481 w 5049078"/>
                  <a:gd name="connsiteY10" fmla="*/ 5478449 h 5581816"/>
                  <a:gd name="connsiteX11" fmla="*/ 1844702 w 5049078"/>
                  <a:gd name="connsiteY11" fmla="*/ 5542059 h 5581816"/>
                  <a:gd name="connsiteX12" fmla="*/ 1932167 w 5049078"/>
                  <a:gd name="connsiteY12" fmla="*/ 5581816 h 5581816"/>
                  <a:gd name="connsiteX13" fmla="*/ 1956021 w 5049078"/>
                  <a:gd name="connsiteY13" fmla="*/ 5462546 h 5581816"/>
                  <a:gd name="connsiteX14" fmla="*/ 2051436 w 5049078"/>
                  <a:gd name="connsiteY14" fmla="*/ 5398936 h 5581816"/>
                  <a:gd name="connsiteX15" fmla="*/ 2067339 w 5049078"/>
                  <a:gd name="connsiteY15" fmla="*/ 5271715 h 5581816"/>
                  <a:gd name="connsiteX16" fmla="*/ 2107095 w 5049078"/>
                  <a:gd name="connsiteY16" fmla="*/ 5208104 h 5581816"/>
                  <a:gd name="connsiteX17" fmla="*/ 2250219 w 5049078"/>
                  <a:gd name="connsiteY17" fmla="*/ 5128591 h 5581816"/>
                  <a:gd name="connsiteX18" fmla="*/ 2385391 w 5049078"/>
                  <a:gd name="connsiteY18" fmla="*/ 5144494 h 5581816"/>
                  <a:gd name="connsiteX19" fmla="*/ 2202511 w 5049078"/>
                  <a:gd name="connsiteY19" fmla="*/ 4937760 h 5581816"/>
                  <a:gd name="connsiteX20" fmla="*/ 2194560 w 5049078"/>
                  <a:gd name="connsiteY20" fmla="*/ 4850296 h 5581816"/>
                  <a:gd name="connsiteX21" fmla="*/ 2250219 w 5049078"/>
                  <a:gd name="connsiteY21" fmla="*/ 4778734 h 5581816"/>
                  <a:gd name="connsiteX22" fmla="*/ 2329732 w 5049078"/>
                  <a:gd name="connsiteY22" fmla="*/ 4778734 h 5581816"/>
                  <a:gd name="connsiteX23" fmla="*/ 2385391 w 5049078"/>
                  <a:gd name="connsiteY23" fmla="*/ 4667416 h 5581816"/>
                  <a:gd name="connsiteX24" fmla="*/ 2393342 w 5049078"/>
                  <a:gd name="connsiteY24" fmla="*/ 4611757 h 5581816"/>
                  <a:gd name="connsiteX25" fmla="*/ 2528514 w 5049078"/>
                  <a:gd name="connsiteY25" fmla="*/ 4516341 h 5581816"/>
                  <a:gd name="connsiteX26" fmla="*/ 2576222 w 5049078"/>
                  <a:gd name="connsiteY26" fmla="*/ 4468633 h 5581816"/>
                  <a:gd name="connsiteX27" fmla="*/ 2504661 w 5049078"/>
                  <a:gd name="connsiteY27" fmla="*/ 4420925 h 5581816"/>
                  <a:gd name="connsiteX28" fmla="*/ 2449001 w 5049078"/>
                  <a:gd name="connsiteY28" fmla="*/ 4349363 h 5581816"/>
                  <a:gd name="connsiteX29" fmla="*/ 2496709 w 5049078"/>
                  <a:gd name="connsiteY29" fmla="*/ 4269850 h 5581816"/>
                  <a:gd name="connsiteX30" fmla="*/ 2409245 w 5049078"/>
                  <a:gd name="connsiteY30" fmla="*/ 4150581 h 5581816"/>
                  <a:gd name="connsiteX31" fmla="*/ 2528514 w 5049078"/>
                  <a:gd name="connsiteY31" fmla="*/ 4063117 h 5581816"/>
                  <a:gd name="connsiteX32" fmla="*/ 2806810 w 5049078"/>
                  <a:gd name="connsiteY32" fmla="*/ 3959750 h 5581816"/>
                  <a:gd name="connsiteX33" fmla="*/ 2926080 w 5049078"/>
                  <a:gd name="connsiteY33" fmla="*/ 3959750 h 5581816"/>
                  <a:gd name="connsiteX34" fmla="*/ 3061252 w 5049078"/>
                  <a:gd name="connsiteY34" fmla="*/ 4094922 h 5581816"/>
                  <a:gd name="connsiteX35" fmla="*/ 3132814 w 5049078"/>
                  <a:gd name="connsiteY35" fmla="*/ 4222143 h 5581816"/>
                  <a:gd name="connsiteX36" fmla="*/ 3164619 w 5049078"/>
                  <a:gd name="connsiteY36" fmla="*/ 4309607 h 5581816"/>
                  <a:gd name="connsiteX37" fmla="*/ 3299791 w 5049078"/>
                  <a:gd name="connsiteY37" fmla="*/ 4214191 h 5581816"/>
                  <a:gd name="connsiteX38" fmla="*/ 3387255 w 5049078"/>
                  <a:gd name="connsiteY38" fmla="*/ 4158532 h 5581816"/>
                  <a:gd name="connsiteX39" fmla="*/ 3522427 w 5049078"/>
                  <a:gd name="connsiteY39" fmla="*/ 4126727 h 5581816"/>
                  <a:gd name="connsiteX40" fmla="*/ 3625794 w 5049078"/>
                  <a:gd name="connsiteY40" fmla="*/ 3983603 h 5581816"/>
                  <a:gd name="connsiteX41" fmla="*/ 3753015 w 5049078"/>
                  <a:gd name="connsiteY41" fmla="*/ 3927944 h 5581816"/>
                  <a:gd name="connsiteX42" fmla="*/ 3880236 w 5049078"/>
                  <a:gd name="connsiteY42" fmla="*/ 3912042 h 5581816"/>
                  <a:gd name="connsiteX43" fmla="*/ 3927944 w 5049078"/>
                  <a:gd name="connsiteY43" fmla="*/ 3904090 h 5581816"/>
                  <a:gd name="connsiteX44" fmla="*/ 3967701 w 5049078"/>
                  <a:gd name="connsiteY44" fmla="*/ 3991555 h 5581816"/>
                  <a:gd name="connsiteX45" fmla="*/ 4055165 w 5049078"/>
                  <a:gd name="connsiteY45" fmla="*/ 3983603 h 5581816"/>
                  <a:gd name="connsiteX46" fmla="*/ 4134678 w 5049078"/>
                  <a:gd name="connsiteY46" fmla="*/ 3919993 h 5581816"/>
                  <a:gd name="connsiteX47" fmla="*/ 4142629 w 5049078"/>
                  <a:gd name="connsiteY47" fmla="*/ 3776870 h 5581816"/>
                  <a:gd name="connsiteX48" fmla="*/ 4174434 w 5049078"/>
                  <a:gd name="connsiteY48" fmla="*/ 3665551 h 5581816"/>
                  <a:gd name="connsiteX49" fmla="*/ 4182386 w 5049078"/>
                  <a:gd name="connsiteY49" fmla="*/ 3522428 h 5581816"/>
                  <a:gd name="connsiteX50" fmla="*/ 4198288 w 5049078"/>
                  <a:gd name="connsiteY50" fmla="*/ 3442915 h 5581816"/>
                  <a:gd name="connsiteX51" fmla="*/ 4317558 w 5049078"/>
                  <a:gd name="connsiteY51" fmla="*/ 3371353 h 5581816"/>
                  <a:gd name="connsiteX52" fmla="*/ 4389120 w 5049078"/>
                  <a:gd name="connsiteY52" fmla="*/ 3267986 h 5581816"/>
                  <a:gd name="connsiteX53" fmla="*/ 4508389 w 5049078"/>
                  <a:gd name="connsiteY53" fmla="*/ 3140765 h 5581816"/>
                  <a:gd name="connsiteX54" fmla="*/ 4548146 w 5049078"/>
                  <a:gd name="connsiteY54" fmla="*/ 3093057 h 5581816"/>
                  <a:gd name="connsiteX55" fmla="*/ 4643561 w 5049078"/>
                  <a:gd name="connsiteY55" fmla="*/ 2981739 h 5581816"/>
                  <a:gd name="connsiteX56" fmla="*/ 4754880 w 5049078"/>
                  <a:gd name="connsiteY56" fmla="*/ 2910177 h 5581816"/>
                  <a:gd name="connsiteX57" fmla="*/ 4794636 w 5049078"/>
                  <a:gd name="connsiteY57" fmla="*/ 2759103 h 5581816"/>
                  <a:gd name="connsiteX58" fmla="*/ 4834393 w 5049078"/>
                  <a:gd name="connsiteY58" fmla="*/ 2687541 h 5581816"/>
                  <a:gd name="connsiteX59" fmla="*/ 4786685 w 5049078"/>
                  <a:gd name="connsiteY59" fmla="*/ 2568271 h 5581816"/>
                  <a:gd name="connsiteX60" fmla="*/ 4691269 w 5049078"/>
                  <a:gd name="connsiteY60" fmla="*/ 2488758 h 5581816"/>
                  <a:gd name="connsiteX61" fmla="*/ 4723074 w 5049078"/>
                  <a:gd name="connsiteY61" fmla="*/ 2321781 h 5581816"/>
                  <a:gd name="connsiteX62" fmla="*/ 4738977 w 5049078"/>
                  <a:gd name="connsiteY62" fmla="*/ 2178657 h 5581816"/>
                  <a:gd name="connsiteX63" fmla="*/ 4874149 w 5049078"/>
                  <a:gd name="connsiteY63" fmla="*/ 2083242 h 5581816"/>
                  <a:gd name="connsiteX64" fmla="*/ 5009321 w 5049078"/>
                  <a:gd name="connsiteY64" fmla="*/ 2051437 h 5581816"/>
                  <a:gd name="connsiteX65" fmla="*/ 5009321 w 5049078"/>
                  <a:gd name="connsiteY65" fmla="*/ 1948070 h 5581816"/>
                  <a:gd name="connsiteX66" fmla="*/ 5049078 w 5049078"/>
                  <a:gd name="connsiteY66" fmla="*/ 1932167 h 5581816"/>
                  <a:gd name="connsiteX67" fmla="*/ 5041127 w 5049078"/>
                  <a:gd name="connsiteY67" fmla="*/ 1852654 h 5581816"/>
                  <a:gd name="connsiteX68" fmla="*/ 4985467 w 5049078"/>
                  <a:gd name="connsiteY68" fmla="*/ 1836751 h 5581816"/>
                  <a:gd name="connsiteX69" fmla="*/ 4905954 w 5049078"/>
                  <a:gd name="connsiteY69" fmla="*/ 1820849 h 5581816"/>
                  <a:gd name="connsiteX70" fmla="*/ 4945711 w 5049078"/>
                  <a:gd name="connsiteY70" fmla="*/ 1773141 h 5581816"/>
                  <a:gd name="connsiteX71" fmla="*/ 4882101 w 5049078"/>
                  <a:gd name="connsiteY71" fmla="*/ 1677725 h 5581816"/>
                  <a:gd name="connsiteX72" fmla="*/ 4866198 w 5049078"/>
                  <a:gd name="connsiteY72" fmla="*/ 1590261 h 5581816"/>
                  <a:gd name="connsiteX73" fmla="*/ 4786685 w 5049078"/>
                  <a:gd name="connsiteY73" fmla="*/ 1574358 h 5581816"/>
                  <a:gd name="connsiteX74" fmla="*/ 4794636 w 5049078"/>
                  <a:gd name="connsiteY74" fmla="*/ 1518699 h 5581816"/>
                  <a:gd name="connsiteX75" fmla="*/ 4842344 w 5049078"/>
                  <a:gd name="connsiteY75" fmla="*/ 1463040 h 5581816"/>
                  <a:gd name="connsiteX76" fmla="*/ 4794636 w 5049078"/>
                  <a:gd name="connsiteY76" fmla="*/ 1399430 h 5581816"/>
                  <a:gd name="connsiteX77" fmla="*/ 4699221 w 5049078"/>
                  <a:gd name="connsiteY77" fmla="*/ 1391478 h 5581816"/>
                  <a:gd name="connsiteX78" fmla="*/ 4675367 w 5049078"/>
                  <a:gd name="connsiteY78" fmla="*/ 1367624 h 5581816"/>
                  <a:gd name="connsiteX79" fmla="*/ 4754880 w 5049078"/>
                  <a:gd name="connsiteY79" fmla="*/ 1327868 h 5581816"/>
                  <a:gd name="connsiteX80" fmla="*/ 4659464 w 5049078"/>
                  <a:gd name="connsiteY80" fmla="*/ 1248355 h 5581816"/>
                  <a:gd name="connsiteX81" fmla="*/ 4579951 w 5049078"/>
                  <a:gd name="connsiteY81" fmla="*/ 1272209 h 5581816"/>
                  <a:gd name="connsiteX82" fmla="*/ 4579951 w 5049078"/>
                  <a:gd name="connsiteY82" fmla="*/ 1168842 h 5581816"/>
                  <a:gd name="connsiteX83" fmla="*/ 4500438 w 5049078"/>
                  <a:gd name="connsiteY83" fmla="*/ 1168842 h 5581816"/>
                  <a:gd name="connsiteX84" fmla="*/ 4492487 w 5049078"/>
                  <a:gd name="connsiteY84" fmla="*/ 1121134 h 5581816"/>
                  <a:gd name="connsiteX85" fmla="*/ 4405022 w 5049078"/>
                  <a:gd name="connsiteY85" fmla="*/ 1121134 h 5581816"/>
                  <a:gd name="connsiteX86" fmla="*/ 4365266 w 5049078"/>
                  <a:gd name="connsiteY86" fmla="*/ 1041621 h 5581816"/>
                  <a:gd name="connsiteX87" fmla="*/ 4317558 w 5049078"/>
                  <a:gd name="connsiteY87" fmla="*/ 1041621 h 5581816"/>
                  <a:gd name="connsiteX88" fmla="*/ 4317558 w 5049078"/>
                  <a:gd name="connsiteY88" fmla="*/ 1009816 h 5581816"/>
                  <a:gd name="connsiteX89" fmla="*/ 4269850 w 5049078"/>
                  <a:gd name="connsiteY89" fmla="*/ 978010 h 5581816"/>
                  <a:gd name="connsiteX90" fmla="*/ 4261899 w 5049078"/>
                  <a:gd name="connsiteY90" fmla="*/ 946205 h 5581816"/>
                  <a:gd name="connsiteX91" fmla="*/ 4325509 w 5049078"/>
                  <a:gd name="connsiteY91" fmla="*/ 898497 h 5581816"/>
                  <a:gd name="connsiteX92" fmla="*/ 4301655 w 5049078"/>
                  <a:gd name="connsiteY92" fmla="*/ 834887 h 5581816"/>
                  <a:gd name="connsiteX93" fmla="*/ 4230094 w 5049078"/>
                  <a:gd name="connsiteY93" fmla="*/ 787179 h 5581816"/>
                  <a:gd name="connsiteX94" fmla="*/ 4222142 w 5049078"/>
                  <a:gd name="connsiteY94" fmla="*/ 691763 h 5581816"/>
                  <a:gd name="connsiteX95" fmla="*/ 4222142 w 5049078"/>
                  <a:gd name="connsiteY95" fmla="*/ 691763 h 5581816"/>
                  <a:gd name="connsiteX96" fmla="*/ 4110824 w 5049078"/>
                  <a:gd name="connsiteY96" fmla="*/ 548640 h 5581816"/>
                  <a:gd name="connsiteX97" fmla="*/ 4079019 w 5049078"/>
                  <a:gd name="connsiteY97" fmla="*/ 516835 h 5581816"/>
                  <a:gd name="connsiteX98" fmla="*/ 4086970 w 5049078"/>
                  <a:gd name="connsiteY98" fmla="*/ 453224 h 5581816"/>
                  <a:gd name="connsiteX99" fmla="*/ 4102873 w 5049078"/>
                  <a:gd name="connsiteY99" fmla="*/ 421419 h 5581816"/>
                  <a:gd name="connsiteX100" fmla="*/ 4031311 w 5049078"/>
                  <a:gd name="connsiteY100" fmla="*/ 381663 h 5581816"/>
                  <a:gd name="connsiteX101" fmla="*/ 4007457 w 5049078"/>
                  <a:gd name="connsiteY101" fmla="*/ 357809 h 5581816"/>
                  <a:gd name="connsiteX102" fmla="*/ 3943847 w 5049078"/>
                  <a:gd name="connsiteY102" fmla="*/ 349857 h 5581816"/>
                  <a:gd name="connsiteX103" fmla="*/ 3991554 w 5049078"/>
                  <a:gd name="connsiteY103" fmla="*/ 294198 h 5581816"/>
                  <a:gd name="connsiteX104" fmla="*/ 3943847 w 5049078"/>
                  <a:gd name="connsiteY104" fmla="*/ 190831 h 5581816"/>
                  <a:gd name="connsiteX105" fmla="*/ 3896139 w 5049078"/>
                  <a:gd name="connsiteY105" fmla="*/ 95416 h 5581816"/>
                  <a:gd name="connsiteX106" fmla="*/ 3832528 w 5049078"/>
                  <a:gd name="connsiteY106" fmla="*/ 0 h 5581816"/>
                  <a:gd name="connsiteX107" fmla="*/ 3760967 w 5049078"/>
                  <a:gd name="connsiteY107" fmla="*/ 87464 h 5581816"/>
                  <a:gd name="connsiteX108" fmla="*/ 3681454 w 5049078"/>
                  <a:gd name="connsiteY108" fmla="*/ 103367 h 5581816"/>
                  <a:gd name="connsiteX109" fmla="*/ 3546281 w 5049078"/>
                  <a:gd name="connsiteY109" fmla="*/ 111318 h 5581816"/>
                  <a:gd name="connsiteX110" fmla="*/ 3411109 w 5049078"/>
                  <a:gd name="connsiteY110" fmla="*/ 222637 h 5581816"/>
                  <a:gd name="connsiteX111" fmla="*/ 3347499 w 5049078"/>
                  <a:gd name="connsiteY111" fmla="*/ 294198 h 5581816"/>
                  <a:gd name="connsiteX112" fmla="*/ 3347499 w 5049078"/>
                  <a:gd name="connsiteY112" fmla="*/ 381663 h 5581816"/>
                  <a:gd name="connsiteX113" fmla="*/ 3236181 w 5049078"/>
                  <a:gd name="connsiteY113" fmla="*/ 445273 h 5581816"/>
                  <a:gd name="connsiteX114" fmla="*/ 3093057 w 5049078"/>
                  <a:gd name="connsiteY114" fmla="*/ 445273 h 5581816"/>
                  <a:gd name="connsiteX115" fmla="*/ 3061252 w 5049078"/>
                  <a:gd name="connsiteY115" fmla="*/ 445273 h 5581816"/>
                  <a:gd name="connsiteX116" fmla="*/ 3005593 w 5049078"/>
                  <a:gd name="connsiteY116" fmla="*/ 429370 h 5581816"/>
                  <a:gd name="connsiteX117" fmla="*/ 2910177 w 5049078"/>
                  <a:gd name="connsiteY117" fmla="*/ 453224 h 5581816"/>
                  <a:gd name="connsiteX118" fmla="*/ 2806810 w 5049078"/>
                  <a:gd name="connsiteY118" fmla="*/ 437322 h 5581816"/>
                  <a:gd name="connsiteX119" fmla="*/ 2711394 w 5049078"/>
                  <a:gd name="connsiteY119" fmla="*/ 421419 h 5581816"/>
                  <a:gd name="connsiteX120" fmla="*/ 2576222 w 5049078"/>
                  <a:gd name="connsiteY120" fmla="*/ 421419 h 5581816"/>
                  <a:gd name="connsiteX121" fmla="*/ 2496709 w 5049078"/>
                  <a:gd name="connsiteY121" fmla="*/ 469127 h 5581816"/>
                  <a:gd name="connsiteX122" fmla="*/ 2456953 w 5049078"/>
                  <a:gd name="connsiteY122" fmla="*/ 604299 h 5581816"/>
                  <a:gd name="connsiteX123" fmla="*/ 2480807 w 5049078"/>
                  <a:gd name="connsiteY123" fmla="*/ 731520 h 5581816"/>
                  <a:gd name="connsiteX124" fmla="*/ 2472855 w 5049078"/>
                  <a:gd name="connsiteY124" fmla="*/ 818984 h 5581816"/>
                  <a:gd name="connsiteX125" fmla="*/ 2496709 w 5049078"/>
                  <a:gd name="connsiteY125" fmla="*/ 874643 h 5581816"/>
                  <a:gd name="connsiteX126" fmla="*/ 2449001 w 5049078"/>
                  <a:gd name="connsiteY126" fmla="*/ 985962 h 5581816"/>
                  <a:gd name="connsiteX127" fmla="*/ 2377440 w 5049078"/>
                  <a:gd name="connsiteY127" fmla="*/ 1160890 h 5581816"/>
                  <a:gd name="connsiteX128" fmla="*/ 2345634 w 5049078"/>
                  <a:gd name="connsiteY128" fmla="*/ 1280160 h 5581816"/>
                  <a:gd name="connsiteX129" fmla="*/ 2274073 w 5049078"/>
                  <a:gd name="connsiteY129" fmla="*/ 1343770 h 5581816"/>
                  <a:gd name="connsiteX130" fmla="*/ 2138901 w 5049078"/>
                  <a:gd name="connsiteY130" fmla="*/ 1343770 h 5581816"/>
                  <a:gd name="connsiteX131" fmla="*/ 2003728 w 5049078"/>
                  <a:gd name="connsiteY131" fmla="*/ 1288111 h 5581816"/>
                  <a:gd name="connsiteX132" fmla="*/ 1812897 w 5049078"/>
                  <a:gd name="connsiteY132" fmla="*/ 1144988 h 5581816"/>
                  <a:gd name="connsiteX133" fmla="*/ 1677725 w 5049078"/>
                  <a:gd name="connsiteY133" fmla="*/ 962108 h 5581816"/>
                  <a:gd name="connsiteX134" fmla="*/ 1614114 w 5049078"/>
                  <a:gd name="connsiteY134" fmla="*/ 890546 h 5581816"/>
                  <a:gd name="connsiteX135" fmla="*/ 1614114 w 5049078"/>
                  <a:gd name="connsiteY135" fmla="*/ 803082 h 5581816"/>
                  <a:gd name="connsiteX136" fmla="*/ 1542553 w 5049078"/>
                  <a:gd name="connsiteY136" fmla="*/ 803082 h 5581816"/>
                  <a:gd name="connsiteX137" fmla="*/ 1423283 w 5049078"/>
                  <a:gd name="connsiteY137" fmla="*/ 850790 h 5581816"/>
                  <a:gd name="connsiteX138" fmla="*/ 930302 w 5049078"/>
                  <a:gd name="connsiteY138" fmla="*/ 818984 h 5581816"/>
                  <a:gd name="connsiteX139" fmla="*/ 954156 w 5049078"/>
                  <a:gd name="connsiteY139" fmla="*/ 795130 h 5581816"/>
                  <a:gd name="connsiteX140" fmla="*/ 890546 w 5049078"/>
                  <a:gd name="connsiteY140" fmla="*/ 842838 h 5581816"/>
                  <a:gd name="connsiteX141" fmla="*/ 890546 w 5049078"/>
                  <a:gd name="connsiteY141" fmla="*/ 898497 h 5581816"/>
                  <a:gd name="connsiteX142" fmla="*/ 946205 w 5049078"/>
                  <a:gd name="connsiteY142" fmla="*/ 993913 h 5581816"/>
                  <a:gd name="connsiteX143" fmla="*/ 1065474 w 5049078"/>
                  <a:gd name="connsiteY143" fmla="*/ 1176793 h 5581816"/>
                  <a:gd name="connsiteX144" fmla="*/ 1121134 w 5049078"/>
                  <a:gd name="connsiteY144" fmla="*/ 1455089 h 5581816"/>
                  <a:gd name="connsiteX145" fmla="*/ 1176793 w 5049078"/>
                  <a:gd name="connsiteY145" fmla="*/ 1940118 h 5581816"/>
                  <a:gd name="connsiteX146" fmla="*/ 1176793 w 5049078"/>
                  <a:gd name="connsiteY146" fmla="*/ 2099144 h 5581816"/>
                  <a:gd name="connsiteX147" fmla="*/ 1041621 w 5049078"/>
                  <a:gd name="connsiteY147" fmla="*/ 2329732 h 5581816"/>
                  <a:gd name="connsiteX148" fmla="*/ 954156 w 5049078"/>
                  <a:gd name="connsiteY148" fmla="*/ 2488758 h 5581816"/>
                  <a:gd name="connsiteX149" fmla="*/ 946205 w 5049078"/>
                  <a:gd name="connsiteY149" fmla="*/ 2576223 h 5581816"/>
                  <a:gd name="connsiteX150" fmla="*/ 978010 w 5049078"/>
                  <a:gd name="connsiteY150" fmla="*/ 2687541 h 5581816"/>
                  <a:gd name="connsiteX151" fmla="*/ 1089328 w 5049078"/>
                  <a:gd name="connsiteY151" fmla="*/ 2846567 h 5581816"/>
                  <a:gd name="connsiteX152" fmla="*/ 1121134 w 5049078"/>
                  <a:gd name="connsiteY152" fmla="*/ 3045350 h 5581816"/>
                  <a:gd name="connsiteX153" fmla="*/ 1089328 w 5049078"/>
                  <a:gd name="connsiteY153" fmla="*/ 3260035 h 5581816"/>
                  <a:gd name="connsiteX154" fmla="*/ 1041621 w 5049078"/>
                  <a:gd name="connsiteY154" fmla="*/ 3490623 h 5581816"/>
                  <a:gd name="connsiteX155" fmla="*/ 985961 w 5049078"/>
                  <a:gd name="connsiteY155" fmla="*/ 3570136 h 5581816"/>
                  <a:gd name="connsiteX156" fmla="*/ 874643 w 5049078"/>
                  <a:gd name="connsiteY156" fmla="*/ 3641697 h 5581816"/>
                  <a:gd name="connsiteX157" fmla="*/ 826935 w 5049078"/>
                  <a:gd name="connsiteY157" fmla="*/ 3641697 h 5581816"/>
                  <a:gd name="connsiteX158" fmla="*/ 691763 w 5049078"/>
                  <a:gd name="connsiteY158" fmla="*/ 3713259 h 5581816"/>
                  <a:gd name="connsiteX159" fmla="*/ 731520 w 5049078"/>
                  <a:gd name="connsiteY159" fmla="*/ 3896139 h 5581816"/>
                  <a:gd name="connsiteX160" fmla="*/ 906448 w 5049078"/>
                  <a:gd name="connsiteY160" fmla="*/ 4094922 h 5581816"/>
                  <a:gd name="connsiteX161" fmla="*/ 970059 w 5049078"/>
                  <a:gd name="connsiteY161" fmla="*/ 4158532 h 5581816"/>
                  <a:gd name="connsiteX162" fmla="*/ 993913 w 5049078"/>
                  <a:gd name="connsiteY162" fmla="*/ 4261899 h 5581816"/>
                  <a:gd name="connsiteX163" fmla="*/ 938254 w 5049078"/>
                  <a:gd name="connsiteY163" fmla="*/ 4341412 h 5581816"/>
                  <a:gd name="connsiteX164" fmla="*/ 811033 w 5049078"/>
                  <a:gd name="connsiteY164" fmla="*/ 4365266 h 5581816"/>
                  <a:gd name="connsiteX165" fmla="*/ 564542 w 5049078"/>
                  <a:gd name="connsiteY165" fmla="*/ 4317558 h 5581816"/>
                  <a:gd name="connsiteX166" fmla="*/ 397565 w 5049078"/>
                  <a:gd name="connsiteY166" fmla="*/ 4230094 h 5581816"/>
                  <a:gd name="connsiteX167" fmla="*/ 214685 w 5049078"/>
                  <a:gd name="connsiteY167" fmla="*/ 4142630 h 5581816"/>
                  <a:gd name="connsiteX168" fmla="*/ 71561 w 5049078"/>
                  <a:gd name="connsiteY168" fmla="*/ 4031311 h 5581816"/>
                  <a:gd name="connsiteX169" fmla="*/ 95415 w 5049078"/>
                  <a:gd name="connsiteY169" fmla="*/ 4190337 h 5581816"/>
                  <a:gd name="connsiteX170" fmla="*/ 71561 w 5049078"/>
                  <a:gd name="connsiteY170" fmla="*/ 4285753 h 5581816"/>
                  <a:gd name="connsiteX171" fmla="*/ 39756 w 5049078"/>
                  <a:gd name="connsiteY171" fmla="*/ 4397071 h 5581816"/>
                  <a:gd name="connsiteX172" fmla="*/ 23854 w 5049078"/>
                  <a:gd name="connsiteY172" fmla="*/ 4460682 h 5581816"/>
                  <a:gd name="connsiteX173" fmla="*/ 23854 w 5049078"/>
                  <a:gd name="connsiteY173" fmla="*/ 4579951 h 5581816"/>
                  <a:gd name="connsiteX174" fmla="*/ 0 w 5049078"/>
                  <a:gd name="connsiteY174" fmla="*/ 4659464 h 5581816"/>
                  <a:gd name="connsiteX175" fmla="*/ 47707 w 5049078"/>
                  <a:gd name="connsiteY175" fmla="*/ 4810539 h 558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5049078" h="5581816">
                    <a:moveTo>
                      <a:pt x="47707" y="4810539"/>
                    </a:moveTo>
                    <a:lnTo>
                      <a:pt x="174928" y="4762831"/>
                    </a:lnTo>
                    <a:lnTo>
                      <a:pt x="254441" y="4818490"/>
                    </a:lnTo>
                    <a:lnTo>
                      <a:pt x="556591" y="4890052"/>
                    </a:lnTo>
                    <a:lnTo>
                      <a:pt x="850789" y="4890052"/>
                    </a:lnTo>
                    <a:lnTo>
                      <a:pt x="1176793" y="4929809"/>
                    </a:lnTo>
                    <a:lnTo>
                      <a:pt x="1343770" y="4969565"/>
                    </a:lnTo>
                    <a:lnTo>
                      <a:pt x="1415332" y="5009322"/>
                    </a:lnTo>
                    <a:lnTo>
                      <a:pt x="1439186" y="5168348"/>
                    </a:lnTo>
                    <a:lnTo>
                      <a:pt x="1463040" y="5255812"/>
                    </a:lnTo>
                    <a:lnTo>
                      <a:pt x="1717481" y="5478449"/>
                    </a:lnTo>
                    <a:lnTo>
                      <a:pt x="1844702" y="5542059"/>
                    </a:lnTo>
                    <a:lnTo>
                      <a:pt x="1932167" y="5581816"/>
                    </a:lnTo>
                    <a:lnTo>
                      <a:pt x="1956021" y="5462546"/>
                    </a:lnTo>
                    <a:lnTo>
                      <a:pt x="2051436" y="5398936"/>
                    </a:lnTo>
                    <a:lnTo>
                      <a:pt x="2067339" y="5271715"/>
                    </a:lnTo>
                    <a:lnTo>
                      <a:pt x="2107095" y="5208104"/>
                    </a:lnTo>
                    <a:lnTo>
                      <a:pt x="2250219" y="5128591"/>
                    </a:lnTo>
                    <a:lnTo>
                      <a:pt x="2385391" y="5144494"/>
                    </a:lnTo>
                    <a:lnTo>
                      <a:pt x="2202511" y="4937760"/>
                    </a:lnTo>
                    <a:lnTo>
                      <a:pt x="2194560" y="4850296"/>
                    </a:lnTo>
                    <a:lnTo>
                      <a:pt x="2250219" y="4778734"/>
                    </a:lnTo>
                    <a:lnTo>
                      <a:pt x="2329732" y="4778734"/>
                    </a:lnTo>
                    <a:lnTo>
                      <a:pt x="2385391" y="4667416"/>
                    </a:lnTo>
                    <a:lnTo>
                      <a:pt x="2393342" y="4611757"/>
                    </a:lnTo>
                    <a:lnTo>
                      <a:pt x="2528514" y="4516341"/>
                    </a:lnTo>
                    <a:lnTo>
                      <a:pt x="2576222" y="4468633"/>
                    </a:lnTo>
                    <a:lnTo>
                      <a:pt x="2504661" y="4420925"/>
                    </a:lnTo>
                    <a:lnTo>
                      <a:pt x="2449001" y="4349363"/>
                    </a:lnTo>
                    <a:lnTo>
                      <a:pt x="2496709" y="4269850"/>
                    </a:lnTo>
                    <a:lnTo>
                      <a:pt x="2409245" y="4150581"/>
                    </a:lnTo>
                    <a:lnTo>
                      <a:pt x="2528514" y="4063117"/>
                    </a:lnTo>
                    <a:lnTo>
                      <a:pt x="2806810" y="3959750"/>
                    </a:lnTo>
                    <a:lnTo>
                      <a:pt x="2926080" y="3959750"/>
                    </a:lnTo>
                    <a:lnTo>
                      <a:pt x="3061252" y="4094922"/>
                    </a:lnTo>
                    <a:lnTo>
                      <a:pt x="3132814" y="4222143"/>
                    </a:lnTo>
                    <a:lnTo>
                      <a:pt x="3164619" y="4309607"/>
                    </a:lnTo>
                    <a:lnTo>
                      <a:pt x="3299791" y="4214191"/>
                    </a:lnTo>
                    <a:lnTo>
                      <a:pt x="3387255" y="4158532"/>
                    </a:lnTo>
                    <a:lnTo>
                      <a:pt x="3522427" y="4126727"/>
                    </a:lnTo>
                    <a:lnTo>
                      <a:pt x="3625794" y="3983603"/>
                    </a:lnTo>
                    <a:lnTo>
                      <a:pt x="3753015" y="3927944"/>
                    </a:lnTo>
                    <a:lnTo>
                      <a:pt x="3880236" y="3912042"/>
                    </a:lnTo>
                    <a:lnTo>
                      <a:pt x="3927944" y="3904090"/>
                    </a:lnTo>
                    <a:lnTo>
                      <a:pt x="3967701" y="3991555"/>
                    </a:lnTo>
                    <a:lnTo>
                      <a:pt x="4055165" y="3983603"/>
                    </a:lnTo>
                    <a:lnTo>
                      <a:pt x="4134678" y="3919993"/>
                    </a:lnTo>
                    <a:lnTo>
                      <a:pt x="4142629" y="3776870"/>
                    </a:lnTo>
                    <a:lnTo>
                      <a:pt x="4174434" y="3665551"/>
                    </a:lnTo>
                    <a:lnTo>
                      <a:pt x="4182386" y="3522428"/>
                    </a:lnTo>
                    <a:lnTo>
                      <a:pt x="4198288" y="3442915"/>
                    </a:lnTo>
                    <a:lnTo>
                      <a:pt x="4317558" y="3371353"/>
                    </a:lnTo>
                    <a:lnTo>
                      <a:pt x="4389120" y="3267986"/>
                    </a:lnTo>
                    <a:lnTo>
                      <a:pt x="4508389" y="3140765"/>
                    </a:lnTo>
                    <a:lnTo>
                      <a:pt x="4548146" y="3093057"/>
                    </a:lnTo>
                    <a:lnTo>
                      <a:pt x="4643561" y="2981739"/>
                    </a:lnTo>
                    <a:lnTo>
                      <a:pt x="4754880" y="2910177"/>
                    </a:lnTo>
                    <a:lnTo>
                      <a:pt x="4794636" y="2759103"/>
                    </a:lnTo>
                    <a:lnTo>
                      <a:pt x="4834393" y="2687541"/>
                    </a:lnTo>
                    <a:lnTo>
                      <a:pt x="4786685" y="2568271"/>
                    </a:lnTo>
                    <a:lnTo>
                      <a:pt x="4691269" y="2488758"/>
                    </a:lnTo>
                    <a:lnTo>
                      <a:pt x="4723074" y="2321781"/>
                    </a:lnTo>
                    <a:lnTo>
                      <a:pt x="4738977" y="2178657"/>
                    </a:lnTo>
                    <a:lnTo>
                      <a:pt x="4874149" y="2083242"/>
                    </a:lnTo>
                    <a:lnTo>
                      <a:pt x="5009321" y="2051437"/>
                    </a:lnTo>
                    <a:lnTo>
                      <a:pt x="5009321" y="1948070"/>
                    </a:lnTo>
                    <a:lnTo>
                      <a:pt x="5049078" y="1932167"/>
                    </a:lnTo>
                    <a:lnTo>
                      <a:pt x="5041127" y="1852654"/>
                    </a:lnTo>
                    <a:lnTo>
                      <a:pt x="4985467" y="1836751"/>
                    </a:lnTo>
                    <a:lnTo>
                      <a:pt x="4905954" y="1820849"/>
                    </a:lnTo>
                    <a:lnTo>
                      <a:pt x="4945711" y="1773141"/>
                    </a:lnTo>
                    <a:lnTo>
                      <a:pt x="4882101" y="1677725"/>
                    </a:lnTo>
                    <a:lnTo>
                      <a:pt x="4866198" y="1590261"/>
                    </a:lnTo>
                    <a:lnTo>
                      <a:pt x="4786685" y="1574358"/>
                    </a:lnTo>
                    <a:lnTo>
                      <a:pt x="4794636" y="1518699"/>
                    </a:lnTo>
                    <a:lnTo>
                      <a:pt x="4842344" y="1463040"/>
                    </a:lnTo>
                    <a:lnTo>
                      <a:pt x="4794636" y="1399430"/>
                    </a:lnTo>
                    <a:lnTo>
                      <a:pt x="4699221" y="1391478"/>
                    </a:lnTo>
                    <a:lnTo>
                      <a:pt x="4675367" y="1367624"/>
                    </a:lnTo>
                    <a:lnTo>
                      <a:pt x="4754880" y="1327868"/>
                    </a:lnTo>
                    <a:lnTo>
                      <a:pt x="4659464" y="1248355"/>
                    </a:lnTo>
                    <a:lnTo>
                      <a:pt x="4579951" y="1272209"/>
                    </a:lnTo>
                    <a:lnTo>
                      <a:pt x="4579951" y="1168842"/>
                    </a:lnTo>
                    <a:lnTo>
                      <a:pt x="4500438" y="1168842"/>
                    </a:lnTo>
                    <a:lnTo>
                      <a:pt x="4492487" y="1121134"/>
                    </a:lnTo>
                    <a:lnTo>
                      <a:pt x="4405022" y="1121134"/>
                    </a:lnTo>
                    <a:lnTo>
                      <a:pt x="4365266" y="1041621"/>
                    </a:lnTo>
                    <a:lnTo>
                      <a:pt x="4317558" y="1041621"/>
                    </a:lnTo>
                    <a:lnTo>
                      <a:pt x="4317558" y="1009816"/>
                    </a:lnTo>
                    <a:lnTo>
                      <a:pt x="4269850" y="978010"/>
                    </a:lnTo>
                    <a:lnTo>
                      <a:pt x="4261899" y="946205"/>
                    </a:lnTo>
                    <a:lnTo>
                      <a:pt x="4325509" y="898497"/>
                    </a:lnTo>
                    <a:lnTo>
                      <a:pt x="4301655" y="834887"/>
                    </a:lnTo>
                    <a:lnTo>
                      <a:pt x="4230094" y="787179"/>
                    </a:lnTo>
                    <a:lnTo>
                      <a:pt x="4222142" y="691763"/>
                    </a:lnTo>
                    <a:lnTo>
                      <a:pt x="4222142" y="691763"/>
                    </a:lnTo>
                    <a:lnTo>
                      <a:pt x="4110824" y="548640"/>
                    </a:lnTo>
                    <a:lnTo>
                      <a:pt x="4079019" y="516835"/>
                    </a:lnTo>
                    <a:lnTo>
                      <a:pt x="4086970" y="453224"/>
                    </a:lnTo>
                    <a:lnTo>
                      <a:pt x="4102873" y="421419"/>
                    </a:lnTo>
                    <a:lnTo>
                      <a:pt x="4031311" y="381663"/>
                    </a:lnTo>
                    <a:lnTo>
                      <a:pt x="4007457" y="357809"/>
                    </a:lnTo>
                    <a:lnTo>
                      <a:pt x="3943847" y="349857"/>
                    </a:lnTo>
                    <a:lnTo>
                      <a:pt x="3991554" y="294198"/>
                    </a:lnTo>
                    <a:lnTo>
                      <a:pt x="3943847" y="190831"/>
                    </a:lnTo>
                    <a:lnTo>
                      <a:pt x="3896139" y="95416"/>
                    </a:lnTo>
                    <a:lnTo>
                      <a:pt x="3832528" y="0"/>
                    </a:lnTo>
                    <a:lnTo>
                      <a:pt x="3760967" y="87464"/>
                    </a:lnTo>
                    <a:lnTo>
                      <a:pt x="3681454" y="103367"/>
                    </a:lnTo>
                    <a:lnTo>
                      <a:pt x="3546281" y="111318"/>
                    </a:lnTo>
                    <a:lnTo>
                      <a:pt x="3411109" y="222637"/>
                    </a:lnTo>
                    <a:lnTo>
                      <a:pt x="3347499" y="294198"/>
                    </a:lnTo>
                    <a:lnTo>
                      <a:pt x="3347499" y="381663"/>
                    </a:lnTo>
                    <a:lnTo>
                      <a:pt x="3236181" y="445273"/>
                    </a:lnTo>
                    <a:lnTo>
                      <a:pt x="3093057" y="445273"/>
                    </a:lnTo>
                    <a:lnTo>
                      <a:pt x="3061252" y="445273"/>
                    </a:lnTo>
                    <a:lnTo>
                      <a:pt x="3005593" y="429370"/>
                    </a:lnTo>
                    <a:lnTo>
                      <a:pt x="2910177" y="453224"/>
                    </a:lnTo>
                    <a:lnTo>
                      <a:pt x="2806810" y="437322"/>
                    </a:lnTo>
                    <a:lnTo>
                      <a:pt x="2711394" y="421419"/>
                    </a:lnTo>
                    <a:lnTo>
                      <a:pt x="2576222" y="421419"/>
                    </a:lnTo>
                    <a:lnTo>
                      <a:pt x="2496709" y="469127"/>
                    </a:lnTo>
                    <a:lnTo>
                      <a:pt x="2456953" y="604299"/>
                    </a:lnTo>
                    <a:lnTo>
                      <a:pt x="2480807" y="731520"/>
                    </a:lnTo>
                    <a:lnTo>
                      <a:pt x="2472855" y="818984"/>
                    </a:lnTo>
                    <a:lnTo>
                      <a:pt x="2496709" y="874643"/>
                    </a:lnTo>
                    <a:lnTo>
                      <a:pt x="2449001" y="985962"/>
                    </a:lnTo>
                    <a:lnTo>
                      <a:pt x="2377440" y="1160890"/>
                    </a:lnTo>
                    <a:lnTo>
                      <a:pt x="2345634" y="1280160"/>
                    </a:lnTo>
                    <a:lnTo>
                      <a:pt x="2274073" y="1343770"/>
                    </a:lnTo>
                    <a:lnTo>
                      <a:pt x="2138901" y="1343770"/>
                    </a:lnTo>
                    <a:lnTo>
                      <a:pt x="2003728" y="1288111"/>
                    </a:lnTo>
                    <a:lnTo>
                      <a:pt x="1812897" y="1144988"/>
                    </a:lnTo>
                    <a:lnTo>
                      <a:pt x="1677725" y="962108"/>
                    </a:lnTo>
                    <a:lnTo>
                      <a:pt x="1614114" y="890546"/>
                    </a:lnTo>
                    <a:lnTo>
                      <a:pt x="1614114" y="803082"/>
                    </a:lnTo>
                    <a:lnTo>
                      <a:pt x="1542553" y="803082"/>
                    </a:lnTo>
                    <a:lnTo>
                      <a:pt x="1423283" y="850790"/>
                    </a:lnTo>
                    <a:lnTo>
                      <a:pt x="930302" y="818984"/>
                    </a:lnTo>
                    <a:lnTo>
                      <a:pt x="954156" y="795130"/>
                    </a:lnTo>
                    <a:lnTo>
                      <a:pt x="890546" y="842838"/>
                    </a:lnTo>
                    <a:lnTo>
                      <a:pt x="890546" y="898497"/>
                    </a:lnTo>
                    <a:lnTo>
                      <a:pt x="946205" y="993913"/>
                    </a:lnTo>
                    <a:lnTo>
                      <a:pt x="1065474" y="1176793"/>
                    </a:lnTo>
                    <a:lnTo>
                      <a:pt x="1121134" y="1455089"/>
                    </a:lnTo>
                    <a:lnTo>
                      <a:pt x="1176793" y="1940118"/>
                    </a:lnTo>
                    <a:lnTo>
                      <a:pt x="1176793" y="2099144"/>
                    </a:lnTo>
                    <a:lnTo>
                      <a:pt x="1041621" y="2329732"/>
                    </a:lnTo>
                    <a:lnTo>
                      <a:pt x="954156" y="2488758"/>
                    </a:lnTo>
                    <a:lnTo>
                      <a:pt x="946205" y="2576223"/>
                    </a:lnTo>
                    <a:lnTo>
                      <a:pt x="978010" y="2687541"/>
                    </a:lnTo>
                    <a:lnTo>
                      <a:pt x="1089328" y="2846567"/>
                    </a:lnTo>
                    <a:lnTo>
                      <a:pt x="1121134" y="3045350"/>
                    </a:lnTo>
                    <a:lnTo>
                      <a:pt x="1089328" y="3260035"/>
                    </a:lnTo>
                    <a:lnTo>
                      <a:pt x="1041621" y="3490623"/>
                    </a:lnTo>
                    <a:lnTo>
                      <a:pt x="985961" y="3570136"/>
                    </a:lnTo>
                    <a:lnTo>
                      <a:pt x="874643" y="3641697"/>
                    </a:lnTo>
                    <a:lnTo>
                      <a:pt x="826935" y="3641697"/>
                    </a:lnTo>
                    <a:lnTo>
                      <a:pt x="691763" y="3713259"/>
                    </a:lnTo>
                    <a:lnTo>
                      <a:pt x="731520" y="3896139"/>
                    </a:lnTo>
                    <a:lnTo>
                      <a:pt x="906448" y="4094922"/>
                    </a:lnTo>
                    <a:lnTo>
                      <a:pt x="970059" y="4158532"/>
                    </a:lnTo>
                    <a:lnTo>
                      <a:pt x="993913" y="4261899"/>
                    </a:lnTo>
                    <a:lnTo>
                      <a:pt x="938254" y="4341412"/>
                    </a:lnTo>
                    <a:lnTo>
                      <a:pt x="811033" y="4365266"/>
                    </a:lnTo>
                    <a:lnTo>
                      <a:pt x="564542" y="4317558"/>
                    </a:lnTo>
                    <a:lnTo>
                      <a:pt x="397565" y="4230094"/>
                    </a:lnTo>
                    <a:lnTo>
                      <a:pt x="214685" y="4142630"/>
                    </a:lnTo>
                    <a:lnTo>
                      <a:pt x="71561" y="4031311"/>
                    </a:lnTo>
                    <a:lnTo>
                      <a:pt x="95415" y="4190337"/>
                    </a:lnTo>
                    <a:lnTo>
                      <a:pt x="71561" y="4285753"/>
                    </a:lnTo>
                    <a:lnTo>
                      <a:pt x="39756" y="4397071"/>
                    </a:lnTo>
                    <a:lnTo>
                      <a:pt x="23854" y="4460682"/>
                    </a:lnTo>
                    <a:lnTo>
                      <a:pt x="23854" y="4579951"/>
                    </a:lnTo>
                    <a:lnTo>
                      <a:pt x="0" y="4659464"/>
                    </a:lnTo>
                    <a:lnTo>
                      <a:pt x="47707" y="4810539"/>
                    </a:lnTo>
                    <a:close/>
                  </a:path>
                </a:pathLst>
              </a:custGeom>
              <a:no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02" name="Freeform: Shape 301">
                <a:extLst>
                  <a:ext uri="{FF2B5EF4-FFF2-40B4-BE49-F238E27FC236}">
                    <a16:creationId xmlns:a16="http://schemas.microsoft.com/office/drawing/2014/main" id="{373868F4-00E1-4D70-AAFD-A2803909B31C}"/>
                  </a:ext>
                </a:extLst>
              </p:cNvPr>
              <p:cNvSpPr/>
              <p:nvPr/>
            </p:nvSpPr>
            <p:spPr>
              <a:xfrm>
                <a:off x="4170024" y="1275426"/>
                <a:ext cx="1480811" cy="2365068"/>
              </a:xfrm>
              <a:custGeom>
                <a:avLst/>
                <a:gdLst>
                  <a:gd name="connsiteX0" fmla="*/ 172387 w 1311639"/>
                  <a:gd name="connsiteY0" fmla="*/ 2012430 h 2094876"/>
                  <a:gd name="connsiteX1" fmla="*/ 333531 w 1311639"/>
                  <a:gd name="connsiteY1" fmla="*/ 1963712 h 2094876"/>
                  <a:gd name="connsiteX2" fmla="*/ 562131 w 1311639"/>
                  <a:gd name="connsiteY2" fmla="*/ 1959964 h 2094876"/>
                  <a:gd name="connsiteX3" fmla="*/ 719528 w 1311639"/>
                  <a:gd name="connsiteY3" fmla="*/ 2031167 h 2094876"/>
                  <a:gd name="connsiteX4" fmla="*/ 790731 w 1311639"/>
                  <a:gd name="connsiteY4" fmla="*/ 2091128 h 2094876"/>
                  <a:gd name="connsiteX5" fmla="*/ 978108 w 1311639"/>
                  <a:gd name="connsiteY5" fmla="*/ 2094876 h 2094876"/>
                  <a:gd name="connsiteX6" fmla="*/ 1053059 w 1311639"/>
                  <a:gd name="connsiteY6" fmla="*/ 2094876 h 2094876"/>
                  <a:gd name="connsiteX7" fmla="*/ 1161737 w 1311639"/>
                  <a:gd name="connsiteY7" fmla="*/ 1971207 h 2094876"/>
                  <a:gd name="connsiteX8" fmla="*/ 1176728 w 1311639"/>
                  <a:gd name="connsiteY8" fmla="*/ 1825053 h 2094876"/>
                  <a:gd name="connsiteX9" fmla="*/ 1247931 w 1311639"/>
                  <a:gd name="connsiteY9" fmla="*/ 1641423 h 2094876"/>
                  <a:gd name="connsiteX10" fmla="*/ 1259174 w 1311639"/>
                  <a:gd name="connsiteY10" fmla="*/ 1435308 h 2094876"/>
                  <a:gd name="connsiteX11" fmla="*/ 1296649 w 1311639"/>
                  <a:gd name="connsiteY11" fmla="*/ 1322882 h 2094876"/>
                  <a:gd name="connsiteX12" fmla="*/ 1311639 w 1311639"/>
                  <a:gd name="connsiteY12" fmla="*/ 993099 h 2094876"/>
                  <a:gd name="connsiteX13" fmla="*/ 1304144 w 1311639"/>
                  <a:gd name="connsiteY13" fmla="*/ 831954 h 2094876"/>
                  <a:gd name="connsiteX14" fmla="*/ 1247931 w 1311639"/>
                  <a:gd name="connsiteY14" fmla="*/ 764499 h 2094876"/>
                  <a:gd name="connsiteX15" fmla="*/ 1255426 w 1311639"/>
                  <a:gd name="connsiteY15" fmla="*/ 550889 h 2094876"/>
                  <a:gd name="connsiteX16" fmla="*/ 1083039 w 1311639"/>
                  <a:gd name="connsiteY16" fmla="*/ 472190 h 2094876"/>
                  <a:gd name="connsiteX17" fmla="*/ 963118 w 1311639"/>
                  <a:gd name="connsiteY17" fmla="*/ 371007 h 2094876"/>
                  <a:gd name="connsiteX18" fmla="*/ 918147 w 1311639"/>
                  <a:gd name="connsiteY18" fmla="*/ 341026 h 2094876"/>
                  <a:gd name="connsiteX19" fmla="*/ 723275 w 1311639"/>
                  <a:gd name="connsiteY19" fmla="*/ 101184 h 2094876"/>
                  <a:gd name="connsiteX20" fmla="*/ 727023 w 1311639"/>
                  <a:gd name="connsiteY20" fmla="*/ 0 h 2094876"/>
                  <a:gd name="connsiteX21" fmla="*/ 633334 w 1311639"/>
                  <a:gd name="connsiteY21" fmla="*/ 7495 h 2094876"/>
                  <a:gd name="connsiteX22" fmla="*/ 539646 w 1311639"/>
                  <a:gd name="connsiteY22" fmla="*/ 56213 h 2094876"/>
                  <a:gd name="connsiteX23" fmla="*/ 352269 w 1311639"/>
                  <a:gd name="connsiteY23" fmla="*/ 41223 h 2094876"/>
                  <a:gd name="connsiteX24" fmla="*/ 33728 w 1311639"/>
                  <a:gd name="connsiteY24" fmla="*/ 26233 h 2094876"/>
                  <a:gd name="connsiteX25" fmla="*/ 0 w 1311639"/>
                  <a:gd name="connsiteY25" fmla="*/ 33728 h 2094876"/>
                  <a:gd name="connsiteX26" fmla="*/ 3747 w 1311639"/>
                  <a:gd name="connsiteY26" fmla="*/ 93689 h 2094876"/>
                  <a:gd name="connsiteX27" fmla="*/ 179882 w 1311639"/>
                  <a:gd name="connsiteY27" fmla="*/ 397240 h 2094876"/>
                  <a:gd name="connsiteX28" fmla="*/ 232347 w 1311639"/>
                  <a:gd name="connsiteY28" fmla="*/ 667062 h 2094876"/>
                  <a:gd name="connsiteX29" fmla="*/ 292308 w 1311639"/>
                  <a:gd name="connsiteY29" fmla="*/ 1150495 h 2094876"/>
                  <a:gd name="connsiteX30" fmla="*/ 288560 w 1311639"/>
                  <a:gd name="connsiteY30" fmla="*/ 1300397 h 2094876"/>
                  <a:gd name="connsiteX31" fmla="*/ 127416 w 1311639"/>
                  <a:gd name="connsiteY31" fmla="*/ 1585210 h 2094876"/>
                  <a:gd name="connsiteX32" fmla="*/ 63708 w 1311639"/>
                  <a:gd name="connsiteY32" fmla="*/ 1705131 h 2094876"/>
                  <a:gd name="connsiteX33" fmla="*/ 63708 w 1311639"/>
                  <a:gd name="connsiteY33" fmla="*/ 1787577 h 2094876"/>
                  <a:gd name="connsiteX34" fmla="*/ 71203 w 1311639"/>
                  <a:gd name="connsiteY34" fmla="*/ 1873771 h 2094876"/>
                  <a:gd name="connsiteX35" fmla="*/ 172387 w 1311639"/>
                  <a:gd name="connsiteY35" fmla="*/ 2012430 h 209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311639" h="2094876">
                    <a:moveTo>
                      <a:pt x="172387" y="2012430"/>
                    </a:moveTo>
                    <a:lnTo>
                      <a:pt x="333531" y="1963712"/>
                    </a:lnTo>
                    <a:lnTo>
                      <a:pt x="562131" y="1959964"/>
                    </a:lnTo>
                    <a:lnTo>
                      <a:pt x="719528" y="2031167"/>
                    </a:lnTo>
                    <a:lnTo>
                      <a:pt x="790731" y="2091128"/>
                    </a:lnTo>
                    <a:lnTo>
                      <a:pt x="978108" y="2094876"/>
                    </a:lnTo>
                    <a:lnTo>
                      <a:pt x="1053059" y="2094876"/>
                    </a:lnTo>
                    <a:lnTo>
                      <a:pt x="1161737" y="1971207"/>
                    </a:lnTo>
                    <a:lnTo>
                      <a:pt x="1176728" y="1825053"/>
                    </a:lnTo>
                    <a:lnTo>
                      <a:pt x="1247931" y="1641423"/>
                    </a:lnTo>
                    <a:lnTo>
                      <a:pt x="1259174" y="1435308"/>
                    </a:lnTo>
                    <a:lnTo>
                      <a:pt x="1296649" y="1322882"/>
                    </a:lnTo>
                    <a:lnTo>
                      <a:pt x="1311639" y="993099"/>
                    </a:lnTo>
                    <a:lnTo>
                      <a:pt x="1304144" y="831954"/>
                    </a:lnTo>
                    <a:lnTo>
                      <a:pt x="1247931" y="764499"/>
                    </a:lnTo>
                    <a:lnTo>
                      <a:pt x="1255426" y="550889"/>
                    </a:lnTo>
                    <a:lnTo>
                      <a:pt x="1083039" y="472190"/>
                    </a:lnTo>
                    <a:lnTo>
                      <a:pt x="963118" y="371007"/>
                    </a:lnTo>
                    <a:lnTo>
                      <a:pt x="918147" y="341026"/>
                    </a:lnTo>
                    <a:lnTo>
                      <a:pt x="723275" y="101184"/>
                    </a:lnTo>
                    <a:lnTo>
                      <a:pt x="727023" y="0"/>
                    </a:lnTo>
                    <a:lnTo>
                      <a:pt x="633334" y="7495"/>
                    </a:lnTo>
                    <a:lnTo>
                      <a:pt x="539646" y="56213"/>
                    </a:lnTo>
                    <a:lnTo>
                      <a:pt x="352269" y="41223"/>
                    </a:lnTo>
                    <a:lnTo>
                      <a:pt x="33728" y="26233"/>
                    </a:lnTo>
                    <a:lnTo>
                      <a:pt x="0" y="33728"/>
                    </a:lnTo>
                    <a:lnTo>
                      <a:pt x="3747" y="93689"/>
                    </a:lnTo>
                    <a:lnTo>
                      <a:pt x="179882" y="397240"/>
                    </a:lnTo>
                    <a:lnTo>
                      <a:pt x="232347" y="667062"/>
                    </a:lnTo>
                    <a:lnTo>
                      <a:pt x="292308" y="1150495"/>
                    </a:lnTo>
                    <a:cubicBezTo>
                      <a:pt x="291059" y="1200462"/>
                      <a:pt x="289809" y="1250430"/>
                      <a:pt x="288560" y="1300397"/>
                    </a:cubicBezTo>
                    <a:lnTo>
                      <a:pt x="127416" y="1585210"/>
                    </a:lnTo>
                    <a:lnTo>
                      <a:pt x="63708" y="1705131"/>
                    </a:lnTo>
                    <a:lnTo>
                      <a:pt x="63708" y="1787577"/>
                    </a:lnTo>
                    <a:lnTo>
                      <a:pt x="71203" y="1873771"/>
                    </a:lnTo>
                    <a:lnTo>
                      <a:pt x="172387" y="2012430"/>
                    </a:lnTo>
                    <a:close/>
                  </a:path>
                </a:pathLst>
              </a:custGeom>
              <a:solidFill>
                <a:srgbClr val="044B7F"/>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03" name="Freeform: Shape 302">
                <a:extLst>
                  <a:ext uri="{FF2B5EF4-FFF2-40B4-BE49-F238E27FC236}">
                    <a16:creationId xmlns:a16="http://schemas.microsoft.com/office/drawing/2014/main" id="{4EDF13D4-2A03-487F-B765-AECB3AC8C2CB}"/>
                  </a:ext>
                </a:extLst>
              </p:cNvPr>
              <p:cNvSpPr/>
              <p:nvPr/>
            </p:nvSpPr>
            <p:spPr>
              <a:xfrm>
                <a:off x="5570448" y="856569"/>
                <a:ext cx="1112724" cy="2128136"/>
              </a:xfrm>
              <a:custGeom>
                <a:avLst/>
                <a:gdLst>
                  <a:gd name="connsiteX0" fmla="*/ 18738 w 985603"/>
                  <a:gd name="connsiteY0" fmla="*/ 1810062 h 1885013"/>
                  <a:gd name="connsiteX1" fmla="*/ 142406 w 985603"/>
                  <a:gd name="connsiteY1" fmla="*/ 1727616 h 1885013"/>
                  <a:gd name="connsiteX2" fmla="*/ 258580 w 985603"/>
                  <a:gd name="connsiteY2" fmla="*/ 1693888 h 1885013"/>
                  <a:gd name="connsiteX3" fmla="*/ 385997 w 985603"/>
                  <a:gd name="connsiteY3" fmla="*/ 1731364 h 1885013"/>
                  <a:gd name="connsiteX4" fmla="*/ 502170 w 985603"/>
                  <a:gd name="connsiteY4" fmla="*/ 1828800 h 1885013"/>
                  <a:gd name="connsiteX5" fmla="*/ 562131 w 985603"/>
                  <a:gd name="connsiteY5" fmla="*/ 1885013 h 1885013"/>
                  <a:gd name="connsiteX6" fmla="*/ 580869 w 985603"/>
                  <a:gd name="connsiteY6" fmla="*/ 1750101 h 1885013"/>
                  <a:gd name="connsiteX7" fmla="*/ 629587 w 985603"/>
                  <a:gd name="connsiteY7" fmla="*/ 1690141 h 1885013"/>
                  <a:gd name="connsiteX8" fmla="*/ 667062 w 985603"/>
                  <a:gd name="connsiteY8" fmla="*/ 1641423 h 1885013"/>
                  <a:gd name="connsiteX9" fmla="*/ 670810 w 985603"/>
                  <a:gd name="connsiteY9" fmla="*/ 1543987 h 1885013"/>
                  <a:gd name="connsiteX10" fmla="*/ 719528 w 985603"/>
                  <a:gd name="connsiteY10" fmla="*/ 1412823 h 1885013"/>
                  <a:gd name="connsiteX11" fmla="*/ 816964 w 985603"/>
                  <a:gd name="connsiteY11" fmla="*/ 1157990 h 1885013"/>
                  <a:gd name="connsiteX12" fmla="*/ 929390 w 985603"/>
                  <a:gd name="connsiteY12" fmla="*/ 981855 h 1885013"/>
                  <a:gd name="connsiteX13" fmla="*/ 985603 w 985603"/>
                  <a:gd name="connsiteY13" fmla="*/ 843196 h 1885013"/>
                  <a:gd name="connsiteX14" fmla="*/ 948128 w 985603"/>
                  <a:gd name="connsiteY14" fmla="*/ 558383 h 1885013"/>
                  <a:gd name="connsiteX15" fmla="*/ 951875 w 985603"/>
                  <a:gd name="connsiteY15" fmla="*/ 412229 h 1885013"/>
                  <a:gd name="connsiteX16" fmla="*/ 914400 w 985603"/>
                  <a:gd name="connsiteY16" fmla="*/ 326036 h 1885013"/>
                  <a:gd name="connsiteX17" fmla="*/ 880672 w 985603"/>
                  <a:gd name="connsiteY17" fmla="*/ 198619 h 1885013"/>
                  <a:gd name="connsiteX18" fmla="*/ 858187 w 985603"/>
                  <a:gd name="connsiteY18" fmla="*/ 89941 h 1885013"/>
                  <a:gd name="connsiteX19" fmla="*/ 858187 w 985603"/>
                  <a:gd name="connsiteY19" fmla="*/ 11242 h 1885013"/>
                  <a:gd name="connsiteX20" fmla="*/ 775741 w 985603"/>
                  <a:gd name="connsiteY20" fmla="*/ 33728 h 1885013"/>
                  <a:gd name="connsiteX21" fmla="*/ 667062 w 985603"/>
                  <a:gd name="connsiteY21" fmla="*/ 11242 h 1885013"/>
                  <a:gd name="connsiteX22" fmla="*/ 535898 w 985603"/>
                  <a:gd name="connsiteY22" fmla="*/ 0 h 1885013"/>
                  <a:gd name="connsiteX23" fmla="*/ 457200 w 985603"/>
                  <a:gd name="connsiteY23" fmla="*/ 3747 h 1885013"/>
                  <a:gd name="connsiteX24" fmla="*/ 374754 w 985603"/>
                  <a:gd name="connsiteY24" fmla="*/ 48718 h 1885013"/>
                  <a:gd name="connsiteX25" fmla="*/ 326036 w 985603"/>
                  <a:gd name="connsiteY25" fmla="*/ 187377 h 1885013"/>
                  <a:gd name="connsiteX26" fmla="*/ 352269 w 985603"/>
                  <a:gd name="connsiteY26" fmla="*/ 307298 h 1885013"/>
                  <a:gd name="connsiteX27" fmla="*/ 341026 w 985603"/>
                  <a:gd name="connsiteY27" fmla="*/ 397239 h 1885013"/>
                  <a:gd name="connsiteX28" fmla="*/ 371006 w 985603"/>
                  <a:gd name="connsiteY28" fmla="*/ 453452 h 1885013"/>
                  <a:gd name="connsiteX29" fmla="*/ 277318 w 985603"/>
                  <a:gd name="connsiteY29" fmla="*/ 644577 h 1885013"/>
                  <a:gd name="connsiteX30" fmla="*/ 221105 w 985603"/>
                  <a:gd name="connsiteY30" fmla="*/ 865682 h 1885013"/>
                  <a:gd name="connsiteX31" fmla="*/ 131164 w 985603"/>
                  <a:gd name="connsiteY31" fmla="*/ 918147 h 1885013"/>
                  <a:gd name="connsiteX32" fmla="*/ 0 w 985603"/>
                  <a:gd name="connsiteY32" fmla="*/ 921895 h 1885013"/>
                  <a:gd name="connsiteX33" fmla="*/ 7495 w 985603"/>
                  <a:gd name="connsiteY33" fmla="*/ 1146747 h 1885013"/>
                  <a:gd name="connsiteX34" fmla="*/ 67456 w 985603"/>
                  <a:gd name="connsiteY34" fmla="*/ 1202960 h 1885013"/>
                  <a:gd name="connsiteX35" fmla="*/ 74951 w 985603"/>
                  <a:gd name="connsiteY35" fmla="*/ 1424065 h 1885013"/>
                  <a:gd name="connsiteX36" fmla="*/ 59960 w 985603"/>
                  <a:gd name="connsiteY36" fmla="*/ 1690141 h 1885013"/>
                  <a:gd name="connsiteX37" fmla="*/ 18738 w 985603"/>
                  <a:gd name="connsiteY37" fmla="*/ 1810062 h 188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85603" h="1885013">
                    <a:moveTo>
                      <a:pt x="18738" y="1810062"/>
                    </a:moveTo>
                    <a:lnTo>
                      <a:pt x="142406" y="1727616"/>
                    </a:lnTo>
                    <a:lnTo>
                      <a:pt x="258580" y="1693888"/>
                    </a:lnTo>
                    <a:lnTo>
                      <a:pt x="385997" y="1731364"/>
                    </a:lnTo>
                    <a:lnTo>
                      <a:pt x="502170" y="1828800"/>
                    </a:lnTo>
                    <a:lnTo>
                      <a:pt x="562131" y="1885013"/>
                    </a:lnTo>
                    <a:lnTo>
                      <a:pt x="580869" y="1750101"/>
                    </a:lnTo>
                    <a:lnTo>
                      <a:pt x="629587" y="1690141"/>
                    </a:lnTo>
                    <a:lnTo>
                      <a:pt x="667062" y="1641423"/>
                    </a:lnTo>
                    <a:lnTo>
                      <a:pt x="670810" y="1543987"/>
                    </a:lnTo>
                    <a:lnTo>
                      <a:pt x="719528" y="1412823"/>
                    </a:lnTo>
                    <a:lnTo>
                      <a:pt x="816964" y="1157990"/>
                    </a:lnTo>
                    <a:lnTo>
                      <a:pt x="929390" y="981855"/>
                    </a:lnTo>
                    <a:lnTo>
                      <a:pt x="985603" y="843196"/>
                    </a:lnTo>
                    <a:lnTo>
                      <a:pt x="948128" y="558383"/>
                    </a:lnTo>
                    <a:lnTo>
                      <a:pt x="951875" y="412229"/>
                    </a:lnTo>
                    <a:lnTo>
                      <a:pt x="914400" y="326036"/>
                    </a:lnTo>
                    <a:lnTo>
                      <a:pt x="880672" y="198619"/>
                    </a:lnTo>
                    <a:lnTo>
                      <a:pt x="858187" y="89941"/>
                    </a:lnTo>
                    <a:lnTo>
                      <a:pt x="858187" y="11242"/>
                    </a:lnTo>
                    <a:lnTo>
                      <a:pt x="775741" y="33728"/>
                    </a:lnTo>
                    <a:lnTo>
                      <a:pt x="667062" y="11242"/>
                    </a:lnTo>
                    <a:lnTo>
                      <a:pt x="535898" y="0"/>
                    </a:lnTo>
                    <a:lnTo>
                      <a:pt x="457200" y="3747"/>
                    </a:lnTo>
                    <a:lnTo>
                      <a:pt x="374754" y="48718"/>
                    </a:lnTo>
                    <a:lnTo>
                      <a:pt x="326036" y="187377"/>
                    </a:lnTo>
                    <a:lnTo>
                      <a:pt x="352269" y="307298"/>
                    </a:lnTo>
                    <a:lnTo>
                      <a:pt x="341026" y="397239"/>
                    </a:lnTo>
                    <a:lnTo>
                      <a:pt x="371006" y="453452"/>
                    </a:lnTo>
                    <a:lnTo>
                      <a:pt x="277318" y="644577"/>
                    </a:lnTo>
                    <a:lnTo>
                      <a:pt x="221105" y="865682"/>
                    </a:lnTo>
                    <a:lnTo>
                      <a:pt x="131164" y="918147"/>
                    </a:lnTo>
                    <a:lnTo>
                      <a:pt x="0" y="921895"/>
                    </a:lnTo>
                    <a:lnTo>
                      <a:pt x="7495" y="1146747"/>
                    </a:lnTo>
                    <a:lnTo>
                      <a:pt x="67456" y="1202960"/>
                    </a:lnTo>
                    <a:lnTo>
                      <a:pt x="74951" y="1424065"/>
                    </a:lnTo>
                    <a:lnTo>
                      <a:pt x="59960" y="1690141"/>
                    </a:lnTo>
                    <a:lnTo>
                      <a:pt x="18738" y="1810062"/>
                    </a:lnTo>
                    <a:close/>
                  </a:path>
                </a:pathLst>
              </a:custGeom>
              <a:solidFill>
                <a:srgbClr val="044B7F"/>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04" name="Freeform: Shape 303">
                <a:extLst>
                  <a:ext uri="{FF2B5EF4-FFF2-40B4-BE49-F238E27FC236}">
                    <a16:creationId xmlns:a16="http://schemas.microsoft.com/office/drawing/2014/main" id="{9B883CBF-227B-40AB-A9F0-028989CA19E2}"/>
                  </a:ext>
                </a:extLst>
              </p:cNvPr>
              <p:cNvSpPr/>
              <p:nvPr/>
            </p:nvSpPr>
            <p:spPr>
              <a:xfrm>
                <a:off x="6209313" y="695795"/>
                <a:ext cx="918103" cy="2403145"/>
              </a:xfrm>
              <a:custGeom>
                <a:avLst/>
                <a:gdLst>
                  <a:gd name="connsiteX0" fmla="*/ 0 w 813216"/>
                  <a:gd name="connsiteY0" fmla="*/ 2019925 h 2128603"/>
                  <a:gd name="connsiteX1" fmla="*/ 131163 w 813216"/>
                  <a:gd name="connsiteY1" fmla="*/ 2128603 h 2128603"/>
                  <a:gd name="connsiteX2" fmla="*/ 179881 w 813216"/>
                  <a:gd name="connsiteY2" fmla="*/ 2053653 h 2128603"/>
                  <a:gd name="connsiteX3" fmla="*/ 236095 w 813216"/>
                  <a:gd name="connsiteY3" fmla="*/ 2023672 h 2128603"/>
                  <a:gd name="connsiteX4" fmla="*/ 389744 w 813216"/>
                  <a:gd name="connsiteY4" fmla="*/ 2068643 h 2128603"/>
                  <a:gd name="connsiteX5" fmla="*/ 487180 w 813216"/>
                  <a:gd name="connsiteY5" fmla="*/ 2117361 h 2128603"/>
                  <a:gd name="connsiteX6" fmla="*/ 599606 w 813216"/>
                  <a:gd name="connsiteY6" fmla="*/ 2124856 h 2128603"/>
                  <a:gd name="connsiteX7" fmla="*/ 682052 w 813216"/>
                  <a:gd name="connsiteY7" fmla="*/ 2004935 h 2128603"/>
                  <a:gd name="connsiteX8" fmla="*/ 764498 w 813216"/>
                  <a:gd name="connsiteY8" fmla="*/ 1963712 h 2128603"/>
                  <a:gd name="connsiteX9" fmla="*/ 783236 w 813216"/>
                  <a:gd name="connsiteY9" fmla="*/ 1918741 h 2128603"/>
                  <a:gd name="connsiteX10" fmla="*/ 775741 w 813216"/>
                  <a:gd name="connsiteY10" fmla="*/ 1637675 h 2128603"/>
                  <a:gd name="connsiteX11" fmla="*/ 715780 w 813216"/>
                  <a:gd name="connsiteY11" fmla="*/ 1525249 h 2128603"/>
                  <a:gd name="connsiteX12" fmla="*/ 745760 w 813216"/>
                  <a:gd name="connsiteY12" fmla="*/ 1251679 h 2128603"/>
                  <a:gd name="connsiteX13" fmla="*/ 771993 w 813216"/>
                  <a:gd name="connsiteY13" fmla="*/ 1034321 h 2128603"/>
                  <a:gd name="connsiteX14" fmla="*/ 813216 w 813216"/>
                  <a:gd name="connsiteY14" fmla="*/ 906905 h 2128603"/>
                  <a:gd name="connsiteX15" fmla="*/ 813216 w 813216"/>
                  <a:gd name="connsiteY15" fmla="*/ 382249 h 2128603"/>
                  <a:gd name="connsiteX16" fmla="*/ 790731 w 813216"/>
                  <a:gd name="connsiteY16" fmla="*/ 164892 h 2128603"/>
                  <a:gd name="connsiteX17" fmla="*/ 659567 w 813216"/>
                  <a:gd name="connsiteY17" fmla="*/ 0 h 2128603"/>
                  <a:gd name="connsiteX18" fmla="*/ 648324 w 813216"/>
                  <a:gd name="connsiteY18" fmla="*/ 101184 h 2128603"/>
                  <a:gd name="connsiteX19" fmla="*/ 532150 w 813216"/>
                  <a:gd name="connsiteY19" fmla="*/ 168639 h 2128603"/>
                  <a:gd name="connsiteX20" fmla="*/ 419724 w 813216"/>
                  <a:gd name="connsiteY20" fmla="*/ 157397 h 2128603"/>
                  <a:gd name="connsiteX21" fmla="*/ 371006 w 813216"/>
                  <a:gd name="connsiteY21" fmla="*/ 164892 h 2128603"/>
                  <a:gd name="connsiteX22" fmla="*/ 303550 w 813216"/>
                  <a:gd name="connsiteY22" fmla="*/ 142407 h 2128603"/>
                  <a:gd name="connsiteX23" fmla="*/ 288560 w 813216"/>
                  <a:gd name="connsiteY23" fmla="*/ 153649 h 2128603"/>
                  <a:gd name="connsiteX24" fmla="*/ 292308 w 813216"/>
                  <a:gd name="connsiteY24" fmla="*/ 232348 h 2128603"/>
                  <a:gd name="connsiteX25" fmla="*/ 337278 w 813216"/>
                  <a:gd name="connsiteY25" fmla="*/ 457200 h 2128603"/>
                  <a:gd name="connsiteX26" fmla="*/ 385996 w 813216"/>
                  <a:gd name="connsiteY26" fmla="*/ 550889 h 2128603"/>
                  <a:gd name="connsiteX27" fmla="*/ 382249 w 813216"/>
                  <a:gd name="connsiteY27" fmla="*/ 715780 h 2128603"/>
                  <a:gd name="connsiteX28" fmla="*/ 419724 w 813216"/>
                  <a:gd name="connsiteY28" fmla="*/ 985603 h 2128603"/>
                  <a:gd name="connsiteX29" fmla="*/ 359763 w 813216"/>
                  <a:gd name="connsiteY29" fmla="*/ 1128010 h 2128603"/>
                  <a:gd name="connsiteX30" fmla="*/ 251085 w 813216"/>
                  <a:gd name="connsiteY30" fmla="*/ 1304144 h 2128603"/>
                  <a:gd name="connsiteX31" fmla="*/ 101183 w 813216"/>
                  <a:gd name="connsiteY31" fmla="*/ 1690141 h 2128603"/>
                  <a:gd name="connsiteX32" fmla="*/ 104931 w 813216"/>
                  <a:gd name="connsiteY32" fmla="*/ 1787577 h 2128603"/>
                  <a:gd name="connsiteX33" fmla="*/ 7495 w 813216"/>
                  <a:gd name="connsiteY33" fmla="*/ 1896256 h 2128603"/>
                  <a:gd name="connsiteX34" fmla="*/ 0 w 813216"/>
                  <a:gd name="connsiteY34" fmla="*/ 2019925 h 212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13216" h="2128603">
                    <a:moveTo>
                      <a:pt x="0" y="2019925"/>
                    </a:moveTo>
                    <a:lnTo>
                      <a:pt x="131163" y="2128603"/>
                    </a:lnTo>
                    <a:lnTo>
                      <a:pt x="179881" y="2053653"/>
                    </a:lnTo>
                    <a:lnTo>
                      <a:pt x="236095" y="2023672"/>
                    </a:lnTo>
                    <a:lnTo>
                      <a:pt x="389744" y="2068643"/>
                    </a:lnTo>
                    <a:lnTo>
                      <a:pt x="487180" y="2117361"/>
                    </a:lnTo>
                    <a:lnTo>
                      <a:pt x="599606" y="2124856"/>
                    </a:lnTo>
                    <a:lnTo>
                      <a:pt x="682052" y="2004935"/>
                    </a:lnTo>
                    <a:lnTo>
                      <a:pt x="764498" y="1963712"/>
                    </a:lnTo>
                    <a:lnTo>
                      <a:pt x="783236" y="1918741"/>
                    </a:lnTo>
                    <a:lnTo>
                      <a:pt x="775741" y="1637675"/>
                    </a:lnTo>
                    <a:lnTo>
                      <a:pt x="715780" y="1525249"/>
                    </a:lnTo>
                    <a:lnTo>
                      <a:pt x="745760" y="1251679"/>
                    </a:lnTo>
                    <a:lnTo>
                      <a:pt x="771993" y="1034321"/>
                    </a:lnTo>
                    <a:lnTo>
                      <a:pt x="813216" y="906905"/>
                    </a:lnTo>
                    <a:lnTo>
                      <a:pt x="813216" y="382249"/>
                    </a:lnTo>
                    <a:lnTo>
                      <a:pt x="790731" y="164892"/>
                    </a:lnTo>
                    <a:lnTo>
                      <a:pt x="659567" y="0"/>
                    </a:lnTo>
                    <a:lnTo>
                      <a:pt x="648324" y="101184"/>
                    </a:lnTo>
                    <a:lnTo>
                      <a:pt x="532150" y="168639"/>
                    </a:lnTo>
                    <a:lnTo>
                      <a:pt x="419724" y="157397"/>
                    </a:lnTo>
                    <a:lnTo>
                      <a:pt x="371006" y="164892"/>
                    </a:lnTo>
                    <a:lnTo>
                      <a:pt x="303550" y="142407"/>
                    </a:lnTo>
                    <a:lnTo>
                      <a:pt x="288560" y="153649"/>
                    </a:lnTo>
                    <a:lnTo>
                      <a:pt x="292308" y="232348"/>
                    </a:lnTo>
                    <a:lnTo>
                      <a:pt x="337278" y="457200"/>
                    </a:lnTo>
                    <a:lnTo>
                      <a:pt x="385996" y="550889"/>
                    </a:lnTo>
                    <a:lnTo>
                      <a:pt x="382249" y="715780"/>
                    </a:lnTo>
                    <a:lnTo>
                      <a:pt x="419724" y="985603"/>
                    </a:lnTo>
                    <a:lnTo>
                      <a:pt x="359763" y="1128010"/>
                    </a:lnTo>
                    <a:lnTo>
                      <a:pt x="251085" y="1304144"/>
                    </a:lnTo>
                    <a:lnTo>
                      <a:pt x="101183" y="1690141"/>
                    </a:lnTo>
                    <a:lnTo>
                      <a:pt x="104931" y="1787577"/>
                    </a:lnTo>
                    <a:lnTo>
                      <a:pt x="7495" y="1896256"/>
                    </a:lnTo>
                    <a:lnTo>
                      <a:pt x="0" y="2019925"/>
                    </a:lnTo>
                    <a:close/>
                  </a:path>
                </a:pathLst>
              </a:custGeom>
              <a:solidFill>
                <a:schemeClr val="accent3">
                  <a:lumMod val="20000"/>
                  <a:lumOff val="80000"/>
                </a:schemeClr>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05" name="Freeform: Shape 304">
                <a:extLst>
                  <a:ext uri="{FF2B5EF4-FFF2-40B4-BE49-F238E27FC236}">
                    <a16:creationId xmlns:a16="http://schemas.microsoft.com/office/drawing/2014/main" id="{5989AD4C-7E85-496F-8C1D-CF0C7D15B6EE}"/>
                  </a:ext>
                </a:extLst>
              </p:cNvPr>
              <p:cNvSpPr/>
              <p:nvPr/>
            </p:nvSpPr>
            <p:spPr>
              <a:xfrm>
                <a:off x="6949718" y="370016"/>
                <a:ext cx="1920824" cy="2758540"/>
              </a:xfrm>
              <a:custGeom>
                <a:avLst/>
                <a:gdLst>
                  <a:gd name="connsiteX0" fmla="*/ 0 w 1701384"/>
                  <a:gd name="connsiteY0" fmla="*/ 296056 h 2443397"/>
                  <a:gd name="connsiteX1" fmla="*/ 97436 w 1701384"/>
                  <a:gd name="connsiteY1" fmla="*/ 194873 h 2443397"/>
                  <a:gd name="connsiteX2" fmla="*/ 198620 w 1701384"/>
                  <a:gd name="connsiteY2" fmla="*/ 112427 h 2443397"/>
                  <a:gd name="connsiteX3" fmla="*/ 296056 w 1701384"/>
                  <a:gd name="connsiteY3" fmla="*/ 112427 h 2443397"/>
                  <a:gd name="connsiteX4" fmla="*/ 415977 w 1701384"/>
                  <a:gd name="connsiteY4" fmla="*/ 97436 h 2443397"/>
                  <a:gd name="connsiteX5" fmla="*/ 483433 w 1701384"/>
                  <a:gd name="connsiteY5" fmla="*/ 0 h 2443397"/>
                  <a:gd name="connsiteX6" fmla="*/ 547141 w 1701384"/>
                  <a:gd name="connsiteY6" fmla="*/ 112427 h 2443397"/>
                  <a:gd name="connsiteX7" fmla="*/ 622092 w 1701384"/>
                  <a:gd name="connsiteY7" fmla="*/ 258581 h 2443397"/>
                  <a:gd name="connsiteX8" fmla="*/ 644577 w 1701384"/>
                  <a:gd name="connsiteY8" fmla="*/ 303551 h 2443397"/>
                  <a:gd name="connsiteX9" fmla="*/ 595859 w 1701384"/>
                  <a:gd name="connsiteY9" fmla="*/ 348522 h 2443397"/>
                  <a:gd name="connsiteX10" fmla="*/ 652072 w 1701384"/>
                  <a:gd name="connsiteY10" fmla="*/ 359764 h 2443397"/>
                  <a:gd name="connsiteX11" fmla="*/ 693295 w 1701384"/>
                  <a:gd name="connsiteY11" fmla="*/ 397240 h 2443397"/>
                  <a:gd name="connsiteX12" fmla="*/ 757003 w 1701384"/>
                  <a:gd name="connsiteY12" fmla="*/ 442210 h 2443397"/>
                  <a:gd name="connsiteX13" fmla="*/ 738266 w 1701384"/>
                  <a:gd name="connsiteY13" fmla="*/ 460948 h 2443397"/>
                  <a:gd name="connsiteX14" fmla="*/ 723276 w 1701384"/>
                  <a:gd name="connsiteY14" fmla="*/ 524656 h 2443397"/>
                  <a:gd name="connsiteX15" fmla="*/ 820712 w 1701384"/>
                  <a:gd name="connsiteY15" fmla="*/ 622092 h 2443397"/>
                  <a:gd name="connsiteX16" fmla="*/ 865682 w 1701384"/>
                  <a:gd name="connsiteY16" fmla="*/ 693296 h 2443397"/>
                  <a:gd name="connsiteX17" fmla="*/ 873177 w 1701384"/>
                  <a:gd name="connsiteY17" fmla="*/ 708286 h 2443397"/>
                  <a:gd name="connsiteX18" fmla="*/ 880672 w 1701384"/>
                  <a:gd name="connsiteY18" fmla="*/ 786984 h 2443397"/>
                  <a:gd name="connsiteX19" fmla="*/ 951876 w 1701384"/>
                  <a:gd name="connsiteY19" fmla="*/ 858187 h 2443397"/>
                  <a:gd name="connsiteX20" fmla="*/ 978108 w 1701384"/>
                  <a:gd name="connsiteY20" fmla="*/ 914400 h 2443397"/>
                  <a:gd name="connsiteX21" fmla="*/ 914400 w 1701384"/>
                  <a:gd name="connsiteY21" fmla="*/ 951876 h 2443397"/>
                  <a:gd name="connsiteX22" fmla="*/ 925643 w 1701384"/>
                  <a:gd name="connsiteY22" fmla="*/ 993099 h 2443397"/>
                  <a:gd name="connsiteX23" fmla="*/ 963118 w 1701384"/>
                  <a:gd name="connsiteY23" fmla="*/ 1015584 h 2443397"/>
                  <a:gd name="connsiteX24" fmla="*/ 966866 w 1701384"/>
                  <a:gd name="connsiteY24" fmla="*/ 1056807 h 2443397"/>
                  <a:gd name="connsiteX25" fmla="*/ 1011836 w 1701384"/>
                  <a:gd name="connsiteY25" fmla="*/ 1045564 h 2443397"/>
                  <a:gd name="connsiteX26" fmla="*/ 1049312 w 1701384"/>
                  <a:gd name="connsiteY26" fmla="*/ 1124263 h 2443397"/>
                  <a:gd name="connsiteX27" fmla="*/ 1135505 w 1701384"/>
                  <a:gd name="connsiteY27" fmla="*/ 1128010 h 2443397"/>
                  <a:gd name="connsiteX28" fmla="*/ 1157990 w 1701384"/>
                  <a:gd name="connsiteY28" fmla="*/ 1176728 h 2443397"/>
                  <a:gd name="connsiteX29" fmla="*/ 1229194 w 1701384"/>
                  <a:gd name="connsiteY29" fmla="*/ 1176728 h 2443397"/>
                  <a:gd name="connsiteX30" fmla="*/ 1229194 w 1701384"/>
                  <a:gd name="connsiteY30" fmla="*/ 1277912 h 2443397"/>
                  <a:gd name="connsiteX31" fmla="*/ 1296649 w 1701384"/>
                  <a:gd name="connsiteY31" fmla="*/ 1247932 h 2443397"/>
                  <a:gd name="connsiteX32" fmla="*/ 1409076 w 1701384"/>
                  <a:gd name="connsiteY32" fmla="*/ 1330377 h 2443397"/>
                  <a:gd name="connsiteX33" fmla="*/ 1326630 w 1701384"/>
                  <a:gd name="connsiteY33" fmla="*/ 1382843 h 2443397"/>
                  <a:gd name="connsiteX34" fmla="*/ 1367853 w 1701384"/>
                  <a:gd name="connsiteY34" fmla="*/ 1401581 h 2443397"/>
                  <a:gd name="connsiteX35" fmla="*/ 1454046 w 1701384"/>
                  <a:gd name="connsiteY35" fmla="*/ 1409076 h 2443397"/>
                  <a:gd name="connsiteX36" fmla="*/ 1491522 w 1701384"/>
                  <a:gd name="connsiteY36" fmla="*/ 1472784 h 2443397"/>
                  <a:gd name="connsiteX37" fmla="*/ 1446551 w 1701384"/>
                  <a:gd name="connsiteY37" fmla="*/ 1517755 h 2443397"/>
                  <a:gd name="connsiteX38" fmla="*/ 1431561 w 1701384"/>
                  <a:gd name="connsiteY38" fmla="*/ 1573968 h 2443397"/>
                  <a:gd name="connsiteX39" fmla="*/ 1517754 w 1701384"/>
                  <a:gd name="connsiteY39" fmla="*/ 1596453 h 2443397"/>
                  <a:gd name="connsiteX40" fmla="*/ 1528997 w 1701384"/>
                  <a:gd name="connsiteY40" fmla="*/ 1663909 h 2443397"/>
                  <a:gd name="connsiteX41" fmla="*/ 1596453 w 1701384"/>
                  <a:gd name="connsiteY41" fmla="*/ 1776335 h 2443397"/>
                  <a:gd name="connsiteX42" fmla="*/ 1555230 w 1701384"/>
                  <a:gd name="connsiteY42" fmla="*/ 1828800 h 2443397"/>
                  <a:gd name="connsiteX43" fmla="*/ 1686394 w 1701384"/>
                  <a:gd name="connsiteY43" fmla="*/ 1851286 h 2443397"/>
                  <a:gd name="connsiteX44" fmla="*/ 1701384 w 1701384"/>
                  <a:gd name="connsiteY44" fmla="*/ 1933732 h 2443397"/>
                  <a:gd name="connsiteX45" fmla="*/ 1656413 w 1701384"/>
                  <a:gd name="connsiteY45" fmla="*/ 1959964 h 2443397"/>
                  <a:gd name="connsiteX46" fmla="*/ 1656413 w 1701384"/>
                  <a:gd name="connsiteY46" fmla="*/ 2049905 h 2443397"/>
                  <a:gd name="connsiteX47" fmla="*/ 1528997 w 1701384"/>
                  <a:gd name="connsiteY47" fmla="*/ 2072391 h 2443397"/>
                  <a:gd name="connsiteX48" fmla="*/ 1394085 w 1701384"/>
                  <a:gd name="connsiteY48" fmla="*/ 2181069 h 2443397"/>
                  <a:gd name="connsiteX49" fmla="*/ 1367853 w 1701384"/>
                  <a:gd name="connsiteY49" fmla="*/ 2319728 h 2443397"/>
                  <a:gd name="connsiteX50" fmla="*/ 1251679 w 1701384"/>
                  <a:gd name="connsiteY50" fmla="*/ 2338466 h 2443397"/>
                  <a:gd name="connsiteX51" fmla="*/ 1229194 w 1701384"/>
                  <a:gd name="connsiteY51" fmla="*/ 2357204 h 2443397"/>
                  <a:gd name="connsiteX52" fmla="*/ 1056807 w 1701384"/>
                  <a:gd name="connsiteY52" fmla="*/ 2345961 h 2443397"/>
                  <a:gd name="connsiteX53" fmla="*/ 940633 w 1701384"/>
                  <a:gd name="connsiteY53" fmla="*/ 2345961 h 2443397"/>
                  <a:gd name="connsiteX54" fmla="*/ 547141 w 1701384"/>
                  <a:gd name="connsiteY54" fmla="*/ 2405922 h 2443397"/>
                  <a:gd name="connsiteX55" fmla="*/ 299803 w 1701384"/>
                  <a:gd name="connsiteY55" fmla="*/ 2443397 h 2443397"/>
                  <a:gd name="connsiteX56" fmla="*/ 209862 w 1701384"/>
                  <a:gd name="connsiteY56" fmla="*/ 2428407 h 2443397"/>
                  <a:gd name="connsiteX57" fmla="*/ 161144 w 1701384"/>
                  <a:gd name="connsiteY57" fmla="*/ 2383436 h 2443397"/>
                  <a:gd name="connsiteX58" fmla="*/ 123669 w 1701384"/>
                  <a:gd name="connsiteY58" fmla="*/ 2300991 h 2443397"/>
                  <a:gd name="connsiteX59" fmla="*/ 112426 w 1701384"/>
                  <a:gd name="connsiteY59" fmla="*/ 2244777 h 2443397"/>
                  <a:gd name="connsiteX60" fmla="*/ 131164 w 1701384"/>
                  <a:gd name="connsiteY60" fmla="*/ 2192312 h 2443397"/>
                  <a:gd name="connsiteX61" fmla="*/ 123669 w 1701384"/>
                  <a:gd name="connsiteY61" fmla="*/ 1914994 h 2443397"/>
                  <a:gd name="connsiteX62" fmla="*/ 52466 w 1701384"/>
                  <a:gd name="connsiteY62" fmla="*/ 1798820 h 2443397"/>
                  <a:gd name="connsiteX63" fmla="*/ 112426 w 1701384"/>
                  <a:gd name="connsiteY63" fmla="*/ 1319135 h 2443397"/>
                  <a:gd name="connsiteX64" fmla="*/ 161144 w 1701384"/>
                  <a:gd name="connsiteY64" fmla="*/ 1176728 h 2443397"/>
                  <a:gd name="connsiteX65" fmla="*/ 153649 w 1701384"/>
                  <a:gd name="connsiteY65" fmla="*/ 655820 h 2443397"/>
                  <a:gd name="connsiteX66" fmla="*/ 164892 w 1701384"/>
                  <a:gd name="connsiteY66" fmla="*/ 614597 h 2443397"/>
                  <a:gd name="connsiteX67" fmla="*/ 131164 w 1701384"/>
                  <a:gd name="connsiteY67" fmla="*/ 430968 h 2443397"/>
                  <a:gd name="connsiteX68" fmla="*/ 0 w 1701384"/>
                  <a:gd name="connsiteY68" fmla="*/ 296056 h 2443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701384" h="2443397">
                    <a:moveTo>
                      <a:pt x="0" y="296056"/>
                    </a:moveTo>
                    <a:lnTo>
                      <a:pt x="97436" y="194873"/>
                    </a:lnTo>
                    <a:lnTo>
                      <a:pt x="198620" y="112427"/>
                    </a:lnTo>
                    <a:lnTo>
                      <a:pt x="296056" y="112427"/>
                    </a:lnTo>
                    <a:lnTo>
                      <a:pt x="415977" y="97436"/>
                    </a:lnTo>
                    <a:lnTo>
                      <a:pt x="483433" y="0"/>
                    </a:lnTo>
                    <a:lnTo>
                      <a:pt x="547141" y="112427"/>
                    </a:lnTo>
                    <a:lnTo>
                      <a:pt x="622092" y="258581"/>
                    </a:lnTo>
                    <a:lnTo>
                      <a:pt x="644577" y="303551"/>
                    </a:lnTo>
                    <a:lnTo>
                      <a:pt x="595859" y="348522"/>
                    </a:lnTo>
                    <a:lnTo>
                      <a:pt x="652072" y="359764"/>
                    </a:lnTo>
                    <a:lnTo>
                      <a:pt x="693295" y="397240"/>
                    </a:lnTo>
                    <a:lnTo>
                      <a:pt x="757003" y="442210"/>
                    </a:lnTo>
                    <a:lnTo>
                      <a:pt x="738266" y="460948"/>
                    </a:lnTo>
                    <a:lnTo>
                      <a:pt x="723276" y="524656"/>
                    </a:lnTo>
                    <a:lnTo>
                      <a:pt x="820712" y="622092"/>
                    </a:lnTo>
                    <a:lnTo>
                      <a:pt x="865682" y="693296"/>
                    </a:lnTo>
                    <a:lnTo>
                      <a:pt x="873177" y="708286"/>
                    </a:lnTo>
                    <a:lnTo>
                      <a:pt x="880672" y="786984"/>
                    </a:lnTo>
                    <a:lnTo>
                      <a:pt x="951876" y="858187"/>
                    </a:lnTo>
                    <a:lnTo>
                      <a:pt x="978108" y="914400"/>
                    </a:lnTo>
                    <a:lnTo>
                      <a:pt x="914400" y="951876"/>
                    </a:lnTo>
                    <a:lnTo>
                      <a:pt x="925643" y="993099"/>
                    </a:lnTo>
                    <a:lnTo>
                      <a:pt x="963118" y="1015584"/>
                    </a:lnTo>
                    <a:lnTo>
                      <a:pt x="966866" y="1056807"/>
                    </a:lnTo>
                    <a:lnTo>
                      <a:pt x="1011836" y="1045564"/>
                    </a:lnTo>
                    <a:lnTo>
                      <a:pt x="1049312" y="1124263"/>
                    </a:lnTo>
                    <a:lnTo>
                      <a:pt x="1135505" y="1128010"/>
                    </a:lnTo>
                    <a:lnTo>
                      <a:pt x="1157990" y="1176728"/>
                    </a:lnTo>
                    <a:lnTo>
                      <a:pt x="1229194" y="1176728"/>
                    </a:lnTo>
                    <a:lnTo>
                      <a:pt x="1229194" y="1277912"/>
                    </a:lnTo>
                    <a:lnTo>
                      <a:pt x="1296649" y="1247932"/>
                    </a:lnTo>
                    <a:lnTo>
                      <a:pt x="1409076" y="1330377"/>
                    </a:lnTo>
                    <a:lnTo>
                      <a:pt x="1326630" y="1382843"/>
                    </a:lnTo>
                    <a:lnTo>
                      <a:pt x="1367853" y="1401581"/>
                    </a:lnTo>
                    <a:lnTo>
                      <a:pt x="1454046" y="1409076"/>
                    </a:lnTo>
                    <a:lnTo>
                      <a:pt x="1491522" y="1472784"/>
                    </a:lnTo>
                    <a:lnTo>
                      <a:pt x="1446551" y="1517755"/>
                    </a:lnTo>
                    <a:lnTo>
                      <a:pt x="1431561" y="1573968"/>
                    </a:lnTo>
                    <a:lnTo>
                      <a:pt x="1517754" y="1596453"/>
                    </a:lnTo>
                    <a:lnTo>
                      <a:pt x="1528997" y="1663909"/>
                    </a:lnTo>
                    <a:lnTo>
                      <a:pt x="1596453" y="1776335"/>
                    </a:lnTo>
                    <a:lnTo>
                      <a:pt x="1555230" y="1828800"/>
                    </a:lnTo>
                    <a:lnTo>
                      <a:pt x="1686394" y="1851286"/>
                    </a:lnTo>
                    <a:lnTo>
                      <a:pt x="1701384" y="1933732"/>
                    </a:lnTo>
                    <a:lnTo>
                      <a:pt x="1656413" y="1959964"/>
                    </a:lnTo>
                    <a:lnTo>
                      <a:pt x="1656413" y="2049905"/>
                    </a:lnTo>
                    <a:lnTo>
                      <a:pt x="1528997" y="2072391"/>
                    </a:lnTo>
                    <a:lnTo>
                      <a:pt x="1394085" y="2181069"/>
                    </a:lnTo>
                    <a:lnTo>
                      <a:pt x="1367853" y="2319728"/>
                    </a:lnTo>
                    <a:lnTo>
                      <a:pt x="1251679" y="2338466"/>
                    </a:lnTo>
                    <a:lnTo>
                      <a:pt x="1229194" y="2357204"/>
                    </a:lnTo>
                    <a:lnTo>
                      <a:pt x="1056807" y="2345961"/>
                    </a:lnTo>
                    <a:lnTo>
                      <a:pt x="940633" y="2345961"/>
                    </a:lnTo>
                    <a:lnTo>
                      <a:pt x="547141" y="2405922"/>
                    </a:lnTo>
                    <a:lnTo>
                      <a:pt x="299803" y="2443397"/>
                    </a:lnTo>
                    <a:lnTo>
                      <a:pt x="209862" y="2428407"/>
                    </a:lnTo>
                    <a:lnTo>
                      <a:pt x="161144" y="2383436"/>
                    </a:lnTo>
                    <a:lnTo>
                      <a:pt x="123669" y="2300991"/>
                    </a:lnTo>
                    <a:lnTo>
                      <a:pt x="112426" y="2244777"/>
                    </a:lnTo>
                    <a:lnTo>
                      <a:pt x="131164" y="2192312"/>
                    </a:lnTo>
                    <a:lnTo>
                      <a:pt x="123669" y="1914994"/>
                    </a:lnTo>
                    <a:lnTo>
                      <a:pt x="52466" y="1798820"/>
                    </a:lnTo>
                    <a:lnTo>
                      <a:pt x="112426" y="1319135"/>
                    </a:lnTo>
                    <a:lnTo>
                      <a:pt x="161144" y="1176728"/>
                    </a:lnTo>
                    <a:lnTo>
                      <a:pt x="153649" y="655820"/>
                    </a:lnTo>
                    <a:lnTo>
                      <a:pt x="164892" y="614597"/>
                    </a:lnTo>
                    <a:lnTo>
                      <a:pt x="131164" y="430968"/>
                    </a:lnTo>
                    <a:lnTo>
                      <a:pt x="0" y="296056"/>
                    </a:lnTo>
                    <a:close/>
                  </a:path>
                </a:pathLst>
              </a:custGeom>
              <a:solidFill>
                <a:srgbClr val="002060"/>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06" name="Freeform: Shape 305">
                <a:extLst>
                  <a:ext uri="{FF2B5EF4-FFF2-40B4-BE49-F238E27FC236}">
                    <a16:creationId xmlns:a16="http://schemas.microsoft.com/office/drawing/2014/main" id="{F32211B3-6279-4B47-AE88-5AC36DB4145B}"/>
                  </a:ext>
                </a:extLst>
              </p:cNvPr>
              <p:cNvSpPr/>
              <p:nvPr/>
            </p:nvSpPr>
            <p:spPr>
              <a:xfrm>
                <a:off x="5329287" y="2760469"/>
                <a:ext cx="1095800" cy="1307344"/>
              </a:xfrm>
              <a:custGeom>
                <a:avLst/>
                <a:gdLst>
                  <a:gd name="connsiteX0" fmla="*/ 0 w 970613"/>
                  <a:gd name="connsiteY0" fmla="*/ 783236 h 1157990"/>
                  <a:gd name="connsiteX1" fmla="*/ 11243 w 970613"/>
                  <a:gd name="connsiteY1" fmla="*/ 888167 h 1157990"/>
                  <a:gd name="connsiteX2" fmla="*/ 3748 w 970613"/>
                  <a:gd name="connsiteY2" fmla="*/ 944380 h 1157990"/>
                  <a:gd name="connsiteX3" fmla="*/ 108679 w 970613"/>
                  <a:gd name="connsiteY3" fmla="*/ 951875 h 1157990"/>
                  <a:gd name="connsiteX4" fmla="*/ 172387 w 970613"/>
                  <a:gd name="connsiteY4" fmla="*/ 993098 h 1157990"/>
                  <a:gd name="connsiteX5" fmla="*/ 209862 w 970613"/>
                  <a:gd name="connsiteY5" fmla="*/ 1053059 h 1157990"/>
                  <a:gd name="connsiteX6" fmla="*/ 307298 w 970613"/>
                  <a:gd name="connsiteY6" fmla="*/ 1075544 h 1157990"/>
                  <a:gd name="connsiteX7" fmla="*/ 337279 w 970613"/>
                  <a:gd name="connsiteY7" fmla="*/ 1053059 h 1157990"/>
                  <a:gd name="connsiteX8" fmla="*/ 352269 w 970613"/>
                  <a:gd name="connsiteY8" fmla="*/ 1124262 h 1157990"/>
                  <a:gd name="connsiteX9" fmla="*/ 367259 w 970613"/>
                  <a:gd name="connsiteY9" fmla="*/ 1157990 h 1157990"/>
                  <a:gd name="connsiteX10" fmla="*/ 415977 w 970613"/>
                  <a:gd name="connsiteY10" fmla="*/ 1157990 h 1157990"/>
                  <a:gd name="connsiteX11" fmla="*/ 460948 w 970613"/>
                  <a:gd name="connsiteY11" fmla="*/ 1139253 h 1157990"/>
                  <a:gd name="connsiteX12" fmla="*/ 509666 w 970613"/>
                  <a:gd name="connsiteY12" fmla="*/ 1109272 h 1157990"/>
                  <a:gd name="connsiteX13" fmla="*/ 539646 w 970613"/>
                  <a:gd name="connsiteY13" fmla="*/ 1038069 h 1157990"/>
                  <a:gd name="connsiteX14" fmla="*/ 535898 w 970613"/>
                  <a:gd name="connsiteY14" fmla="*/ 966866 h 1157990"/>
                  <a:gd name="connsiteX15" fmla="*/ 543393 w 970613"/>
                  <a:gd name="connsiteY15" fmla="*/ 895662 h 1157990"/>
                  <a:gd name="connsiteX16" fmla="*/ 648325 w 970613"/>
                  <a:gd name="connsiteY16" fmla="*/ 843197 h 1157990"/>
                  <a:gd name="connsiteX17" fmla="*/ 764498 w 970613"/>
                  <a:gd name="connsiteY17" fmla="*/ 831954 h 1157990"/>
                  <a:gd name="connsiteX18" fmla="*/ 820711 w 970613"/>
                  <a:gd name="connsiteY18" fmla="*/ 831954 h 1157990"/>
                  <a:gd name="connsiteX19" fmla="*/ 873177 w 970613"/>
                  <a:gd name="connsiteY19" fmla="*/ 749508 h 1157990"/>
                  <a:gd name="connsiteX20" fmla="*/ 914400 w 970613"/>
                  <a:gd name="connsiteY20" fmla="*/ 652072 h 1157990"/>
                  <a:gd name="connsiteX21" fmla="*/ 951875 w 970613"/>
                  <a:gd name="connsiteY21" fmla="*/ 569626 h 1157990"/>
                  <a:gd name="connsiteX22" fmla="*/ 970613 w 970613"/>
                  <a:gd name="connsiteY22" fmla="*/ 460948 h 1157990"/>
                  <a:gd name="connsiteX23" fmla="*/ 944380 w 970613"/>
                  <a:gd name="connsiteY23" fmla="*/ 382249 h 1157990"/>
                  <a:gd name="connsiteX24" fmla="*/ 910652 w 970613"/>
                  <a:gd name="connsiteY24" fmla="*/ 311046 h 1157990"/>
                  <a:gd name="connsiteX25" fmla="*/ 903157 w 970613"/>
                  <a:gd name="connsiteY25" fmla="*/ 281066 h 1157990"/>
                  <a:gd name="connsiteX26" fmla="*/ 831954 w 970613"/>
                  <a:gd name="connsiteY26" fmla="*/ 239843 h 1157990"/>
                  <a:gd name="connsiteX27" fmla="*/ 790731 w 970613"/>
                  <a:gd name="connsiteY27" fmla="*/ 198620 h 1157990"/>
                  <a:gd name="connsiteX28" fmla="*/ 742013 w 970613"/>
                  <a:gd name="connsiteY28" fmla="*/ 168639 h 1157990"/>
                  <a:gd name="connsiteX29" fmla="*/ 700790 w 970613"/>
                  <a:gd name="connsiteY29" fmla="*/ 127416 h 1157990"/>
                  <a:gd name="connsiteX30" fmla="*/ 629587 w 970613"/>
                  <a:gd name="connsiteY30" fmla="*/ 59961 h 1157990"/>
                  <a:gd name="connsiteX31" fmla="*/ 592111 w 970613"/>
                  <a:gd name="connsiteY31" fmla="*/ 33728 h 1157990"/>
                  <a:gd name="connsiteX32" fmla="*/ 509666 w 970613"/>
                  <a:gd name="connsiteY32" fmla="*/ 11243 h 1157990"/>
                  <a:gd name="connsiteX33" fmla="*/ 468443 w 970613"/>
                  <a:gd name="connsiteY33" fmla="*/ 0 h 1157990"/>
                  <a:gd name="connsiteX34" fmla="*/ 415977 w 970613"/>
                  <a:gd name="connsiteY34" fmla="*/ 18738 h 1157990"/>
                  <a:gd name="connsiteX35" fmla="*/ 374754 w 970613"/>
                  <a:gd name="connsiteY35" fmla="*/ 22485 h 1157990"/>
                  <a:gd name="connsiteX36" fmla="*/ 329784 w 970613"/>
                  <a:gd name="connsiteY36" fmla="*/ 52466 h 1157990"/>
                  <a:gd name="connsiteX37" fmla="*/ 236095 w 970613"/>
                  <a:gd name="connsiteY37" fmla="*/ 108679 h 1157990"/>
                  <a:gd name="connsiteX38" fmla="*/ 224852 w 970613"/>
                  <a:gd name="connsiteY38" fmla="*/ 116174 h 1157990"/>
                  <a:gd name="connsiteX39" fmla="*/ 228600 w 970613"/>
                  <a:gd name="connsiteY39" fmla="*/ 217357 h 1157990"/>
                  <a:gd name="connsiteX40" fmla="*/ 221105 w 970613"/>
                  <a:gd name="connsiteY40" fmla="*/ 281066 h 1157990"/>
                  <a:gd name="connsiteX41" fmla="*/ 228600 w 970613"/>
                  <a:gd name="connsiteY41" fmla="*/ 318541 h 1157990"/>
                  <a:gd name="connsiteX42" fmla="*/ 146154 w 970613"/>
                  <a:gd name="connsiteY42" fmla="*/ 505918 h 1157990"/>
                  <a:gd name="connsiteX43" fmla="*/ 142407 w 970613"/>
                  <a:gd name="connsiteY43" fmla="*/ 633335 h 1157990"/>
                  <a:gd name="connsiteX44" fmla="*/ 0 w 970613"/>
                  <a:gd name="connsiteY44" fmla="*/ 783236 h 115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70613" h="1157990">
                    <a:moveTo>
                      <a:pt x="0" y="783236"/>
                    </a:moveTo>
                    <a:lnTo>
                      <a:pt x="11243" y="888167"/>
                    </a:lnTo>
                    <a:lnTo>
                      <a:pt x="3748" y="944380"/>
                    </a:lnTo>
                    <a:lnTo>
                      <a:pt x="108679" y="951875"/>
                    </a:lnTo>
                    <a:lnTo>
                      <a:pt x="172387" y="993098"/>
                    </a:lnTo>
                    <a:lnTo>
                      <a:pt x="209862" y="1053059"/>
                    </a:lnTo>
                    <a:lnTo>
                      <a:pt x="307298" y="1075544"/>
                    </a:lnTo>
                    <a:lnTo>
                      <a:pt x="337279" y="1053059"/>
                    </a:lnTo>
                    <a:lnTo>
                      <a:pt x="352269" y="1124262"/>
                    </a:lnTo>
                    <a:lnTo>
                      <a:pt x="367259" y="1157990"/>
                    </a:lnTo>
                    <a:lnTo>
                      <a:pt x="415977" y="1157990"/>
                    </a:lnTo>
                    <a:lnTo>
                      <a:pt x="460948" y="1139253"/>
                    </a:lnTo>
                    <a:lnTo>
                      <a:pt x="509666" y="1109272"/>
                    </a:lnTo>
                    <a:lnTo>
                      <a:pt x="539646" y="1038069"/>
                    </a:lnTo>
                    <a:lnTo>
                      <a:pt x="535898" y="966866"/>
                    </a:lnTo>
                    <a:lnTo>
                      <a:pt x="543393" y="895662"/>
                    </a:lnTo>
                    <a:lnTo>
                      <a:pt x="648325" y="843197"/>
                    </a:lnTo>
                    <a:lnTo>
                      <a:pt x="764498" y="831954"/>
                    </a:lnTo>
                    <a:lnTo>
                      <a:pt x="820711" y="831954"/>
                    </a:lnTo>
                    <a:lnTo>
                      <a:pt x="873177" y="749508"/>
                    </a:lnTo>
                    <a:lnTo>
                      <a:pt x="914400" y="652072"/>
                    </a:lnTo>
                    <a:lnTo>
                      <a:pt x="951875" y="569626"/>
                    </a:lnTo>
                    <a:lnTo>
                      <a:pt x="970613" y="460948"/>
                    </a:lnTo>
                    <a:lnTo>
                      <a:pt x="944380" y="382249"/>
                    </a:lnTo>
                    <a:lnTo>
                      <a:pt x="910652" y="311046"/>
                    </a:lnTo>
                    <a:lnTo>
                      <a:pt x="903157" y="281066"/>
                    </a:lnTo>
                    <a:lnTo>
                      <a:pt x="831954" y="239843"/>
                    </a:lnTo>
                    <a:lnTo>
                      <a:pt x="790731" y="198620"/>
                    </a:lnTo>
                    <a:lnTo>
                      <a:pt x="742013" y="168639"/>
                    </a:lnTo>
                    <a:lnTo>
                      <a:pt x="700790" y="127416"/>
                    </a:lnTo>
                    <a:lnTo>
                      <a:pt x="629587" y="59961"/>
                    </a:lnTo>
                    <a:lnTo>
                      <a:pt x="592111" y="33728"/>
                    </a:lnTo>
                    <a:lnTo>
                      <a:pt x="509666" y="11243"/>
                    </a:lnTo>
                    <a:lnTo>
                      <a:pt x="468443" y="0"/>
                    </a:lnTo>
                    <a:lnTo>
                      <a:pt x="415977" y="18738"/>
                    </a:lnTo>
                    <a:lnTo>
                      <a:pt x="374754" y="22485"/>
                    </a:lnTo>
                    <a:lnTo>
                      <a:pt x="329784" y="52466"/>
                    </a:lnTo>
                    <a:lnTo>
                      <a:pt x="236095" y="108679"/>
                    </a:lnTo>
                    <a:lnTo>
                      <a:pt x="224852" y="116174"/>
                    </a:lnTo>
                    <a:lnTo>
                      <a:pt x="228600" y="217357"/>
                    </a:lnTo>
                    <a:lnTo>
                      <a:pt x="221105" y="281066"/>
                    </a:lnTo>
                    <a:lnTo>
                      <a:pt x="228600" y="318541"/>
                    </a:lnTo>
                    <a:lnTo>
                      <a:pt x="146154" y="505918"/>
                    </a:lnTo>
                    <a:lnTo>
                      <a:pt x="142407" y="633335"/>
                    </a:lnTo>
                    <a:lnTo>
                      <a:pt x="0" y="783236"/>
                    </a:lnTo>
                    <a:close/>
                  </a:path>
                </a:pathLst>
              </a:custGeom>
              <a:solidFill>
                <a:srgbClr val="044B7F"/>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07" name="Freeform: Shape 306">
                <a:extLst>
                  <a:ext uri="{FF2B5EF4-FFF2-40B4-BE49-F238E27FC236}">
                    <a16:creationId xmlns:a16="http://schemas.microsoft.com/office/drawing/2014/main" id="{E18EF841-7F5C-4C76-BCB3-DC5C30F6CD47}"/>
                  </a:ext>
                </a:extLst>
              </p:cNvPr>
              <p:cNvSpPr/>
              <p:nvPr/>
            </p:nvSpPr>
            <p:spPr>
              <a:xfrm>
                <a:off x="6255851" y="2912781"/>
                <a:ext cx="2369298" cy="1036567"/>
              </a:xfrm>
              <a:custGeom>
                <a:avLst/>
                <a:gdLst>
                  <a:gd name="connsiteX0" fmla="*/ 0 w 2098623"/>
                  <a:gd name="connsiteY0" fmla="*/ 689547 h 918147"/>
                  <a:gd name="connsiteX1" fmla="*/ 11243 w 2098623"/>
                  <a:gd name="connsiteY1" fmla="*/ 794478 h 918147"/>
                  <a:gd name="connsiteX2" fmla="*/ 119922 w 2098623"/>
                  <a:gd name="connsiteY2" fmla="*/ 835701 h 918147"/>
                  <a:gd name="connsiteX3" fmla="*/ 202368 w 2098623"/>
                  <a:gd name="connsiteY3" fmla="*/ 831954 h 918147"/>
                  <a:gd name="connsiteX4" fmla="*/ 288561 w 2098623"/>
                  <a:gd name="connsiteY4" fmla="*/ 869429 h 918147"/>
                  <a:gd name="connsiteX5" fmla="*/ 393492 w 2098623"/>
                  <a:gd name="connsiteY5" fmla="*/ 918147 h 918147"/>
                  <a:gd name="connsiteX6" fmla="*/ 592112 w 2098623"/>
                  <a:gd name="connsiteY6" fmla="*/ 858186 h 918147"/>
                  <a:gd name="connsiteX7" fmla="*/ 655820 w 2098623"/>
                  <a:gd name="connsiteY7" fmla="*/ 831954 h 918147"/>
                  <a:gd name="connsiteX8" fmla="*/ 704538 w 2098623"/>
                  <a:gd name="connsiteY8" fmla="*/ 854439 h 918147"/>
                  <a:gd name="connsiteX9" fmla="*/ 858187 w 2098623"/>
                  <a:gd name="connsiteY9" fmla="*/ 850691 h 918147"/>
                  <a:gd name="connsiteX10" fmla="*/ 985604 w 2098623"/>
                  <a:gd name="connsiteY10" fmla="*/ 813216 h 918147"/>
                  <a:gd name="connsiteX11" fmla="*/ 1154243 w 2098623"/>
                  <a:gd name="connsiteY11" fmla="*/ 742013 h 918147"/>
                  <a:gd name="connsiteX12" fmla="*/ 1266669 w 2098623"/>
                  <a:gd name="connsiteY12" fmla="*/ 727023 h 918147"/>
                  <a:gd name="connsiteX13" fmla="*/ 1390338 w 2098623"/>
                  <a:gd name="connsiteY13" fmla="*/ 704537 h 918147"/>
                  <a:gd name="connsiteX14" fmla="*/ 1472784 w 2098623"/>
                  <a:gd name="connsiteY14" fmla="*/ 629586 h 918147"/>
                  <a:gd name="connsiteX15" fmla="*/ 1532745 w 2098623"/>
                  <a:gd name="connsiteY15" fmla="*/ 625839 h 918147"/>
                  <a:gd name="connsiteX16" fmla="*/ 1573968 w 2098623"/>
                  <a:gd name="connsiteY16" fmla="*/ 648324 h 918147"/>
                  <a:gd name="connsiteX17" fmla="*/ 1603948 w 2098623"/>
                  <a:gd name="connsiteY17" fmla="*/ 757003 h 918147"/>
                  <a:gd name="connsiteX18" fmla="*/ 1712627 w 2098623"/>
                  <a:gd name="connsiteY18" fmla="*/ 869429 h 918147"/>
                  <a:gd name="connsiteX19" fmla="*/ 1780082 w 2098623"/>
                  <a:gd name="connsiteY19" fmla="*/ 865682 h 918147"/>
                  <a:gd name="connsiteX20" fmla="*/ 1892509 w 2098623"/>
                  <a:gd name="connsiteY20" fmla="*/ 757003 h 918147"/>
                  <a:gd name="connsiteX21" fmla="*/ 1911246 w 2098623"/>
                  <a:gd name="connsiteY21" fmla="*/ 723275 h 918147"/>
                  <a:gd name="connsiteX22" fmla="*/ 2019925 w 2098623"/>
                  <a:gd name="connsiteY22" fmla="*/ 652072 h 918147"/>
                  <a:gd name="connsiteX23" fmla="*/ 2057400 w 2098623"/>
                  <a:gd name="connsiteY23" fmla="*/ 520908 h 918147"/>
                  <a:gd name="connsiteX24" fmla="*/ 2098623 w 2098623"/>
                  <a:gd name="connsiteY24" fmla="*/ 445957 h 918147"/>
                  <a:gd name="connsiteX25" fmla="*/ 2057400 w 2098623"/>
                  <a:gd name="connsiteY25" fmla="*/ 333531 h 918147"/>
                  <a:gd name="connsiteX26" fmla="*/ 1974955 w 2098623"/>
                  <a:gd name="connsiteY26" fmla="*/ 266075 h 918147"/>
                  <a:gd name="connsiteX27" fmla="*/ 1948722 w 2098623"/>
                  <a:gd name="connsiteY27" fmla="*/ 232347 h 918147"/>
                  <a:gd name="connsiteX28" fmla="*/ 1989945 w 2098623"/>
                  <a:gd name="connsiteY28" fmla="*/ 63708 h 918147"/>
                  <a:gd name="connsiteX29" fmla="*/ 1870023 w 2098623"/>
                  <a:gd name="connsiteY29" fmla="*/ 82445 h 918147"/>
                  <a:gd name="connsiteX30" fmla="*/ 1836296 w 2098623"/>
                  <a:gd name="connsiteY30" fmla="*/ 101183 h 918147"/>
                  <a:gd name="connsiteX31" fmla="*/ 1686394 w 2098623"/>
                  <a:gd name="connsiteY31" fmla="*/ 93688 h 918147"/>
                  <a:gd name="connsiteX32" fmla="*/ 1566473 w 2098623"/>
                  <a:gd name="connsiteY32" fmla="*/ 86193 h 918147"/>
                  <a:gd name="connsiteX33" fmla="*/ 914400 w 2098623"/>
                  <a:gd name="connsiteY33" fmla="*/ 183629 h 918147"/>
                  <a:gd name="connsiteX34" fmla="*/ 820712 w 2098623"/>
                  <a:gd name="connsiteY34" fmla="*/ 176134 h 918147"/>
                  <a:gd name="connsiteX35" fmla="*/ 764499 w 2098623"/>
                  <a:gd name="connsiteY35" fmla="*/ 134911 h 918147"/>
                  <a:gd name="connsiteX36" fmla="*/ 723276 w 2098623"/>
                  <a:gd name="connsiteY36" fmla="*/ 0 h 918147"/>
                  <a:gd name="connsiteX37" fmla="*/ 637082 w 2098623"/>
                  <a:gd name="connsiteY37" fmla="*/ 44970 h 918147"/>
                  <a:gd name="connsiteX38" fmla="*/ 558384 w 2098623"/>
                  <a:gd name="connsiteY38" fmla="*/ 153649 h 918147"/>
                  <a:gd name="connsiteX39" fmla="*/ 445958 w 2098623"/>
                  <a:gd name="connsiteY39" fmla="*/ 146154 h 918147"/>
                  <a:gd name="connsiteX40" fmla="*/ 382250 w 2098623"/>
                  <a:gd name="connsiteY40" fmla="*/ 116173 h 918147"/>
                  <a:gd name="connsiteX41" fmla="*/ 307299 w 2098623"/>
                  <a:gd name="connsiteY41" fmla="*/ 89941 h 918147"/>
                  <a:gd name="connsiteX42" fmla="*/ 206115 w 2098623"/>
                  <a:gd name="connsiteY42" fmla="*/ 52465 h 918147"/>
                  <a:gd name="connsiteX43" fmla="*/ 138659 w 2098623"/>
                  <a:gd name="connsiteY43" fmla="*/ 71203 h 918147"/>
                  <a:gd name="connsiteX44" fmla="*/ 89941 w 2098623"/>
                  <a:gd name="connsiteY44" fmla="*/ 157396 h 918147"/>
                  <a:gd name="connsiteX45" fmla="*/ 97437 w 2098623"/>
                  <a:gd name="connsiteY45" fmla="*/ 191124 h 918147"/>
                  <a:gd name="connsiteX46" fmla="*/ 146155 w 2098623"/>
                  <a:gd name="connsiteY46" fmla="*/ 314793 h 918147"/>
                  <a:gd name="connsiteX47" fmla="*/ 131164 w 2098623"/>
                  <a:gd name="connsiteY47" fmla="*/ 419724 h 918147"/>
                  <a:gd name="connsiteX48" fmla="*/ 127417 w 2098623"/>
                  <a:gd name="connsiteY48" fmla="*/ 442209 h 918147"/>
                  <a:gd name="connsiteX49" fmla="*/ 56214 w 2098623"/>
                  <a:gd name="connsiteY49" fmla="*/ 580868 h 918147"/>
                  <a:gd name="connsiteX50" fmla="*/ 0 w 2098623"/>
                  <a:gd name="connsiteY50" fmla="*/ 689547 h 91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098623" h="918147">
                    <a:moveTo>
                      <a:pt x="0" y="689547"/>
                    </a:moveTo>
                    <a:lnTo>
                      <a:pt x="11243" y="794478"/>
                    </a:lnTo>
                    <a:lnTo>
                      <a:pt x="119922" y="835701"/>
                    </a:lnTo>
                    <a:lnTo>
                      <a:pt x="202368" y="831954"/>
                    </a:lnTo>
                    <a:lnTo>
                      <a:pt x="288561" y="869429"/>
                    </a:lnTo>
                    <a:lnTo>
                      <a:pt x="393492" y="918147"/>
                    </a:lnTo>
                    <a:lnTo>
                      <a:pt x="592112" y="858186"/>
                    </a:lnTo>
                    <a:lnTo>
                      <a:pt x="655820" y="831954"/>
                    </a:lnTo>
                    <a:lnTo>
                      <a:pt x="704538" y="854439"/>
                    </a:lnTo>
                    <a:lnTo>
                      <a:pt x="858187" y="850691"/>
                    </a:lnTo>
                    <a:lnTo>
                      <a:pt x="985604" y="813216"/>
                    </a:lnTo>
                    <a:lnTo>
                      <a:pt x="1154243" y="742013"/>
                    </a:lnTo>
                    <a:lnTo>
                      <a:pt x="1266669" y="727023"/>
                    </a:lnTo>
                    <a:lnTo>
                      <a:pt x="1390338" y="704537"/>
                    </a:lnTo>
                    <a:lnTo>
                      <a:pt x="1472784" y="629586"/>
                    </a:lnTo>
                    <a:lnTo>
                      <a:pt x="1532745" y="625839"/>
                    </a:lnTo>
                    <a:lnTo>
                      <a:pt x="1573968" y="648324"/>
                    </a:lnTo>
                    <a:lnTo>
                      <a:pt x="1603948" y="757003"/>
                    </a:lnTo>
                    <a:lnTo>
                      <a:pt x="1712627" y="869429"/>
                    </a:lnTo>
                    <a:lnTo>
                      <a:pt x="1780082" y="865682"/>
                    </a:lnTo>
                    <a:lnTo>
                      <a:pt x="1892509" y="757003"/>
                    </a:lnTo>
                    <a:lnTo>
                      <a:pt x="1911246" y="723275"/>
                    </a:lnTo>
                    <a:lnTo>
                      <a:pt x="2019925" y="652072"/>
                    </a:lnTo>
                    <a:lnTo>
                      <a:pt x="2057400" y="520908"/>
                    </a:lnTo>
                    <a:lnTo>
                      <a:pt x="2098623" y="445957"/>
                    </a:lnTo>
                    <a:lnTo>
                      <a:pt x="2057400" y="333531"/>
                    </a:lnTo>
                    <a:lnTo>
                      <a:pt x="1974955" y="266075"/>
                    </a:lnTo>
                    <a:lnTo>
                      <a:pt x="1948722" y="232347"/>
                    </a:lnTo>
                    <a:lnTo>
                      <a:pt x="1989945" y="63708"/>
                    </a:lnTo>
                    <a:lnTo>
                      <a:pt x="1870023" y="82445"/>
                    </a:lnTo>
                    <a:lnTo>
                      <a:pt x="1836296" y="101183"/>
                    </a:lnTo>
                    <a:lnTo>
                      <a:pt x="1686394" y="93688"/>
                    </a:lnTo>
                    <a:lnTo>
                      <a:pt x="1566473" y="86193"/>
                    </a:lnTo>
                    <a:lnTo>
                      <a:pt x="914400" y="183629"/>
                    </a:lnTo>
                    <a:lnTo>
                      <a:pt x="820712" y="176134"/>
                    </a:lnTo>
                    <a:lnTo>
                      <a:pt x="764499" y="134911"/>
                    </a:lnTo>
                    <a:lnTo>
                      <a:pt x="723276" y="0"/>
                    </a:lnTo>
                    <a:lnTo>
                      <a:pt x="637082" y="44970"/>
                    </a:lnTo>
                    <a:lnTo>
                      <a:pt x="558384" y="153649"/>
                    </a:lnTo>
                    <a:lnTo>
                      <a:pt x="445958" y="146154"/>
                    </a:lnTo>
                    <a:lnTo>
                      <a:pt x="382250" y="116173"/>
                    </a:lnTo>
                    <a:lnTo>
                      <a:pt x="307299" y="89941"/>
                    </a:lnTo>
                    <a:lnTo>
                      <a:pt x="206115" y="52465"/>
                    </a:lnTo>
                    <a:lnTo>
                      <a:pt x="138659" y="71203"/>
                    </a:lnTo>
                    <a:lnTo>
                      <a:pt x="89941" y="157396"/>
                    </a:lnTo>
                    <a:lnTo>
                      <a:pt x="97437" y="191124"/>
                    </a:lnTo>
                    <a:lnTo>
                      <a:pt x="146155" y="314793"/>
                    </a:lnTo>
                    <a:lnTo>
                      <a:pt x="131164" y="419724"/>
                    </a:lnTo>
                    <a:lnTo>
                      <a:pt x="127417" y="442209"/>
                    </a:lnTo>
                    <a:lnTo>
                      <a:pt x="56214" y="580868"/>
                    </a:lnTo>
                    <a:lnTo>
                      <a:pt x="0" y="689547"/>
                    </a:lnTo>
                    <a:close/>
                  </a:path>
                </a:pathLst>
              </a:custGeom>
              <a:solidFill>
                <a:srgbClr val="044B7F"/>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08" name="Freeform: Shape 307">
                <a:extLst>
                  <a:ext uri="{FF2B5EF4-FFF2-40B4-BE49-F238E27FC236}">
                    <a16:creationId xmlns:a16="http://schemas.microsoft.com/office/drawing/2014/main" id="{4CCE06D3-F1D4-4415-B648-B108A7D5B0EC}"/>
                  </a:ext>
                </a:extLst>
              </p:cNvPr>
              <p:cNvSpPr/>
              <p:nvPr/>
            </p:nvSpPr>
            <p:spPr>
              <a:xfrm>
                <a:off x="4279337" y="3485510"/>
                <a:ext cx="2068904" cy="1595044"/>
              </a:xfrm>
              <a:custGeom>
                <a:avLst/>
                <a:gdLst>
                  <a:gd name="connsiteX0" fmla="*/ 78698 w 1832547"/>
                  <a:gd name="connsiteY0" fmla="*/ 48718 h 1412823"/>
                  <a:gd name="connsiteX1" fmla="*/ 239842 w 1832547"/>
                  <a:gd name="connsiteY1" fmla="*/ 3748 h 1412823"/>
                  <a:gd name="connsiteX2" fmla="*/ 483433 w 1832547"/>
                  <a:gd name="connsiteY2" fmla="*/ 0 h 1412823"/>
                  <a:gd name="connsiteX3" fmla="*/ 633334 w 1832547"/>
                  <a:gd name="connsiteY3" fmla="*/ 74951 h 1412823"/>
                  <a:gd name="connsiteX4" fmla="*/ 704538 w 1832547"/>
                  <a:gd name="connsiteY4" fmla="*/ 127417 h 1412823"/>
                  <a:gd name="connsiteX5" fmla="*/ 936885 w 1832547"/>
                  <a:gd name="connsiteY5" fmla="*/ 134912 h 1412823"/>
                  <a:gd name="connsiteX6" fmla="*/ 925642 w 1832547"/>
                  <a:gd name="connsiteY6" fmla="*/ 296056 h 1412823"/>
                  <a:gd name="connsiteX7" fmla="*/ 899410 w 1832547"/>
                  <a:gd name="connsiteY7" fmla="*/ 337279 h 1412823"/>
                  <a:gd name="connsiteX8" fmla="*/ 903157 w 1832547"/>
                  <a:gd name="connsiteY8" fmla="*/ 397239 h 1412823"/>
                  <a:gd name="connsiteX9" fmla="*/ 1045564 w 1832547"/>
                  <a:gd name="connsiteY9" fmla="*/ 562131 h 1412823"/>
                  <a:gd name="connsiteX10" fmla="*/ 1023079 w 1832547"/>
                  <a:gd name="connsiteY10" fmla="*/ 689548 h 1412823"/>
                  <a:gd name="connsiteX11" fmla="*/ 1045564 w 1832547"/>
                  <a:gd name="connsiteY11" fmla="*/ 933138 h 1412823"/>
                  <a:gd name="connsiteX12" fmla="*/ 1094282 w 1832547"/>
                  <a:gd name="connsiteY12" fmla="*/ 1019331 h 1412823"/>
                  <a:gd name="connsiteX13" fmla="*/ 1172980 w 1832547"/>
                  <a:gd name="connsiteY13" fmla="*/ 1011836 h 1412823"/>
                  <a:gd name="connsiteX14" fmla="*/ 1356610 w 1832547"/>
                  <a:gd name="connsiteY14" fmla="*/ 929390 h 1412823"/>
                  <a:gd name="connsiteX15" fmla="*/ 1484026 w 1832547"/>
                  <a:gd name="connsiteY15" fmla="*/ 918148 h 1412823"/>
                  <a:gd name="connsiteX16" fmla="*/ 1543987 w 1832547"/>
                  <a:gd name="connsiteY16" fmla="*/ 951876 h 1412823"/>
                  <a:gd name="connsiteX17" fmla="*/ 1622685 w 1832547"/>
                  <a:gd name="connsiteY17" fmla="*/ 1041817 h 1412823"/>
                  <a:gd name="connsiteX18" fmla="*/ 1813810 w 1832547"/>
                  <a:gd name="connsiteY18" fmla="*/ 1187971 h 1412823"/>
                  <a:gd name="connsiteX19" fmla="*/ 1832547 w 1832547"/>
                  <a:gd name="connsiteY19" fmla="*/ 1195466 h 1412823"/>
                  <a:gd name="connsiteX20" fmla="*/ 1555229 w 1832547"/>
                  <a:gd name="connsiteY20" fmla="*/ 1296649 h 1412823"/>
                  <a:gd name="connsiteX21" fmla="*/ 1424065 w 1832547"/>
                  <a:gd name="connsiteY21" fmla="*/ 1386590 h 1412823"/>
                  <a:gd name="connsiteX22" fmla="*/ 1394085 w 1832547"/>
                  <a:gd name="connsiteY22" fmla="*/ 1352862 h 1412823"/>
                  <a:gd name="connsiteX23" fmla="*/ 1319134 w 1832547"/>
                  <a:gd name="connsiteY23" fmla="*/ 1356610 h 1412823"/>
                  <a:gd name="connsiteX24" fmla="*/ 1176728 w 1832547"/>
                  <a:gd name="connsiteY24" fmla="*/ 1412823 h 1412823"/>
                  <a:gd name="connsiteX25" fmla="*/ 1124262 w 1832547"/>
                  <a:gd name="connsiteY25" fmla="*/ 1364105 h 1412823"/>
                  <a:gd name="connsiteX26" fmla="*/ 1094282 w 1832547"/>
                  <a:gd name="connsiteY26" fmla="*/ 1270417 h 1412823"/>
                  <a:gd name="connsiteX27" fmla="*/ 1045564 w 1832547"/>
                  <a:gd name="connsiteY27" fmla="*/ 1225446 h 1412823"/>
                  <a:gd name="connsiteX28" fmla="*/ 944380 w 1832547"/>
                  <a:gd name="connsiteY28" fmla="*/ 1113020 h 1412823"/>
                  <a:gd name="connsiteX29" fmla="*/ 846944 w 1832547"/>
                  <a:gd name="connsiteY29" fmla="*/ 1053059 h 1412823"/>
                  <a:gd name="connsiteX30" fmla="*/ 760751 w 1832547"/>
                  <a:gd name="connsiteY30" fmla="*/ 1026826 h 1412823"/>
                  <a:gd name="connsiteX31" fmla="*/ 700790 w 1832547"/>
                  <a:gd name="connsiteY31" fmla="*/ 993098 h 1412823"/>
                  <a:gd name="connsiteX32" fmla="*/ 625839 w 1832547"/>
                  <a:gd name="connsiteY32" fmla="*/ 955623 h 1412823"/>
                  <a:gd name="connsiteX33" fmla="*/ 502170 w 1832547"/>
                  <a:gd name="connsiteY33" fmla="*/ 925643 h 1412823"/>
                  <a:gd name="connsiteX34" fmla="*/ 397239 w 1832547"/>
                  <a:gd name="connsiteY34" fmla="*/ 899410 h 1412823"/>
                  <a:gd name="connsiteX35" fmla="*/ 314793 w 1832547"/>
                  <a:gd name="connsiteY35" fmla="*/ 884420 h 1412823"/>
                  <a:gd name="connsiteX36" fmla="*/ 198620 w 1832547"/>
                  <a:gd name="connsiteY36" fmla="*/ 858187 h 1412823"/>
                  <a:gd name="connsiteX37" fmla="*/ 108679 w 1832547"/>
                  <a:gd name="connsiteY37" fmla="*/ 831954 h 1412823"/>
                  <a:gd name="connsiteX38" fmla="*/ 0 w 1832547"/>
                  <a:gd name="connsiteY38" fmla="*/ 820712 h 1412823"/>
                  <a:gd name="connsiteX39" fmla="*/ 26233 w 1832547"/>
                  <a:gd name="connsiteY39" fmla="*/ 768246 h 1412823"/>
                  <a:gd name="connsiteX40" fmla="*/ 56213 w 1832547"/>
                  <a:gd name="connsiteY40" fmla="*/ 734518 h 1412823"/>
                  <a:gd name="connsiteX41" fmla="*/ 78698 w 1832547"/>
                  <a:gd name="connsiteY41" fmla="*/ 625839 h 1412823"/>
                  <a:gd name="connsiteX42" fmla="*/ 142406 w 1832547"/>
                  <a:gd name="connsiteY42" fmla="*/ 269823 h 1412823"/>
                  <a:gd name="connsiteX43" fmla="*/ 78698 w 1832547"/>
                  <a:gd name="connsiteY43" fmla="*/ 48718 h 141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832547" h="1412823">
                    <a:moveTo>
                      <a:pt x="78698" y="48718"/>
                    </a:moveTo>
                    <a:lnTo>
                      <a:pt x="239842" y="3748"/>
                    </a:lnTo>
                    <a:lnTo>
                      <a:pt x="483433" y="0"/>
                    </a:lnTo>
                    <a:lnTo>
                      <a:pt x="633334" y="74951"/>
                    </a:lnTo>
                    <a:lnTo>
                      <a:pt x="704538" y="127417"/>
                    </a:lnTo>
                    <a:lnTo>
                      <a:pt x="936885" y="134912"/>
                    </a:lnTo>
                    <a:lnTo>
                      <a:pt x="925642" y="296056"/>
                    </a:lnTo>
                    <a:lnTo>
                      <a:pt x="899410" y="337279"/>
                    </a:lnTo>
                    <a:lnTo>
                      <a:pt x="903157" y="397239"/>
                    </a:lnTo>
                    <a:lnTo>
                      <a:pt x="1045564" y="562131"/>
                    </a:lnTo>
                    <a:lnTo>
                      <a:pt x="1023079" y="689548"/>
                    </a:lnTo>
                    <a:lnTo>
                      <a:pt x="1045564" y="933138"/>
                    </a:lnTo>
                    <a:lnTo>
                      <a:pt x="1094282" y="1019331"/>
                    </a:lnTo>
                    <a:lnTo>
                      <a:pt x="1172980" y="1011836"/>
                    </a:lnTo>
                    <a:lnTo>
                      <a:pt x="1356610" y="929390"/>
                    </a:lnTo>
                    <a:lnTo>
                      <a:pt x="1484026" y="918148"/>
                    </a:lnTo>
                    <a:lnTo>
                      <a:pt x="1543987" y="951876"/>
                    </a:lnTo>
                    <a:lnTo>
                      <a:pt x="1622685" y="1041817"/>
                    </a:lnTo>
                    <a:lnTo>
                      <a:pt x="1813810" y="1187971"/>
                    </a:lnTo>
                    <a:lnTo>
                      <a:pt x="1832547" y="1195466"/>
                    </a:lnTo>
                    <a:lnTo>
                      <a:pt x="1555229" y="1296649"/>
                    </a:lnTo>
                    <a:lnTo>
                      <a:pt x="1424065" y="1386590"/>
                    </a:lnTo>
                    <a:lnTo>
                      <a:pt x="1394085" y="1352862"/>
                    </a:lnTo>
                    <a:lnTo>
                      <a:pt x="1319134" y="1356610"/>
                    </a:lnTo>
                    <a:lnTo>
                      <a:pt x="1176728" y="1412823"/>
                    </a:lnTo>
                    <a:lnTo>
                      <a:pt x="1124262" y="1364105"/>
                    </a:lnTo>
                    <a:lnTo>
                      <a:pt x="1094282" y="1270417"/>
                    </a:lnTo>
                    <a:lnTo>
                      <a:pt x="1045564" y="1225446"/>
                    </a:lnTo>
                    <a:lnTo>
                      <a:pt x="944380" y="1113020"/>
                    </a:lnTo>
                    <a:lnTo>
                      <a:pt x="846944" y="1053059"/>
                    </a:lnTo>
                    <a:lnTo>
                      <a:pt x="760751" y="1026826"/>
                    </a:lnTo>
                    <a:lnTo>
                      <a:pt x="700790" y="993098"/>
                    </a:lnTo>
                    <a:lnTo>
                      <a:pt x="625839" y="955623"/>
                    </a:lnTo>
                    <a:lnTo>
                      <a:pt x="502170" y="925643"/>
                    </a:lnTo>
                    <a:lnTo>
                      <a:pt x="397239" y="899410"/>
                    </a:lnTo>
                    <a:lnTo>
                      <a:pt x="314793" y="884420"/>
                    </a:lnTo>
                    <a:lnTo>
                      <a:pt x="198620" y="858187"/>
                    </a:lnTo>
                    <a:lnTo>
                      <a:pt x="108679" y="831954"/>
                    </a:lnTo>
                    <a:lnTo>
                      <a:pt x="0" y="820712"/>
                    </a:lnTo>
                    <a:lnTo>
                      <a:pt x="26233" y="768246"/>
                    </a:lnTo>
                    <a:lnTo>
                      <a:pt x="56213" y="734518"/>
                    </a:lnTo>
                    <a:lnTo>
                      <a:pt x="78698" y="625839"/>
                    </a:lnTo>
                    <a:lnTo>
                      <a:pt x="142406" y="269823"/>
                    </a:lnTo>
                    <a:lnTo>
                      <a:pt x="78698" y="48718"/>
                    </a:lnTo>
                    <a:close/>
                  </a:path>
                </a:pathLst>
              </a:custGeom>
              <a:solidFill>
                <a:srgbClr val="002060"/>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09" name="Freeform: Shape 308">
                <a:extLst>
                  <a:ext uri="{FF2B5EF4-FFF2-40B4-BE49-F238E27FC236}">
                    <a16:creationId xmlns:a16="http://schemas.microsoft.com/office/drawing/2014/main" id="{8C346974-9184-40AD-B4F1-A73A7CC058B6}"/>
                  </a:ext>
                </a:extLst>
              </p:cNvPr>
              <p:cNvSpPr/>
              <p:nvPr/>
            </p:nvSpPr>
            <p:spPr>
              <a:xfrm>
                <a:off x="5286979" y="3695496"/>
                <a:ext cx="1751588" cy="964642"/>
              </a:xfrm>
              <a:custGeom>
                <a:avLst/>
                <a:gdLst>
                  <a:gd name="connsiteX0" fmla="*/ 37475 w 1551482"/>
                  <a:gd name="connsiteY0" fmla="*/ 116173 h 854439"/>
                  <a:gd name="connsiteX1" fmla="*/ 0 w 1551482"/>
                  <a:gd name="connsiteY1" fmla="*/ 153649 h 854439"/>
                  <a:gd name="connsiteX2" fmla="*/ 3747 w 1551482"/>
                  <a:gd name="connsiteY2" fmla="*/ 198619 h 854439"/>
                  <a:gd name="connsiteX3" fmla="*/ 149901 w 1551482"/>
                  <a:gd name="connsiteY3" fmla="*/ 371006 h 854439"/>
                  <a:gd name="connsiteX4" fmla="*/ 142406 w 1551482"/>
                  <a:gd name="connsiteY4" fmla="*/ 445957 h 854439"/>
                  <a:gd name="connsiteX5" fmla="*/ 131164 w 1551482"/>
                  <a:gd name="connsiteY5" fmla="*/ 498423 h 854439"/>
                  <a:gd name="connsiteX6" fmla="*/ 146154 w 1551482"/>
                  <a:gd name="connsiteY6" fmla="*/ 734518 h 854439"/>
                  <a:gd name="connsiteX7" fmla="*/ 209862 w 1551482"/>
                  <a:gd name="connsiteY7" fmla="*/ 839449 h 854439"/>
                  <a:gd name="connsiteX8" fmla="*/ 284813 w 1551482"/>
                  <a:gd name="connsiteY8" fmla="*/ 824459 h 854439"/>
                  <a:gd name="connsiteX9" fmla="*/ 468442 w 1551482"/>
                  <a:gd name="connsiteY9" fmla="*/ 745760 h 854439"/>
                  <a:gd name="connsiteX10" fmla="*/ 599606 w 1551482"/>
                  <a:gd name="connsiteY10" fmla="*/ 730770 h 854439"/>
                  <a:gd name="connsiteX11" fmla="*/ 655819 w 1551482"/>
                  <a:gd name="connsiteY11" fmla="*/ 775741 h 854439"/>
                  <a:gd name="connsiteX12" fmla="*/ 734518 w 1551482"/>
                  <a:gd name="connsiteY12" fmla="*/ 854439 h 854439"/>
                  <a:gd name="connsiteX13" fmla="*/ 884419 w 1551482"/>
                  <a:gd name="connsiteY13" fmla="*/ 775741 h 854439"/>
                  <a:gd name="connsiteX14" fmla="*/ 1008088 w 1551482"/>
                  <a:gd name="connsiteY14" fmla="*/ 719528 h 854439"/>
                  <a:gd name="connsiteX15" fmla="*/ 1071796 w 1551482"/>
                  <a:gd name="connsiteY15" fmla="*/ 659567 h 854439"/>
                  <a:gd name="connsiteX16" fmla="*/ 1011836 w 1551482"/>
                  <a:gd name="connsiteY16" fmla="*/ 588364 h 854439"/>
                  <a:gd name="connsiteX17" fmla="*/ 963118 w 1551482"/>
                  <a:gd name="connsiteY17" fmla="*/ 539646 h 854439"/>
                  <a:gd name="connsiteX18" fmla="*/ 1015583 w 1551482"/>
                  <a:gd name="connsiteY18" fmla="*/ 502170 h 854439"/>
                  <a:gd name="connsiteX19" fmla="*/ 1075544 w 1551482"/>
                  <a:gd name="connsiteY19" fmla="*/ 502170 h 854439"/>
                  <a:gd name="connsiteX20" fmla="*/ 1210455 w 1551482"/>
                  <a:gd name="connsiteY20" fmla="*/ 532150 h 854439"/>
                  <a:gd name="connsiteX21" fmla="*/ 1266668 w 1551482"/>
                  <a:gd name="connsiteY21" fmla="*/ 528403 h 854439"/>
                  <a:gd name="connsiteX22" fmla="*/ 1371600 w 1551482"/>
                  <a:gd name="connsiteY22" fmla="*/ 498423 h 854439"/>
                  <a:gd name="connsiteX23" fmla="*/ 1454045 w 1551482"/>
                  <a:gd name="connsiteY23" fmla="*/ 415977 h 854439"/>
                  <a:gd name="connsiteX24" fmla="*/ 1506511 w 1551482"/>
                  <a:gd name="connsiteY24" fmla="*/ 288560 h 854439"/>
                  <a:gd name="connsiteX25" fmla="*/ 1536491 w 1551482"/>
                  <a:gd name="connsiteY25" fmla="*/ 209862 h 854439"/>
                  <a:gd name="connsiteX26" fmla="*/ 1551482 w 1551482"/>
                  <a:gd name="connsiteY26" fmla="*/ 153649 h 854439"/>
                  <a:gd name="connsiteX27" fmla="*/ 1517754 w 1551482"/>
                  <a:gd name="connsiteY27" fmla="*/ 134911 h 854439"/>
                  <a:gd name="connsiteX28" fmla="*/ 1251678 w 1551482"/>
                  <a:gd name="connsiteY28" fmla="*/ 221105 h 854439"/>
                  <a:gd name="connsiteX29" fmla="*/ 1064301 w 1551482"/>
                  <a:gd name="connsiteY29" fmla="*/ 131164 h 854439"/>
                  <a:gd name="connsiteX30" fmla="*/ 978108 w 1551482"/>
                  <a:gd name="connsiteY30" fmla="*/ 142406 h 854439"/>
                  <a:gd name="connsiteX31" fmla="*/ 873177 w 1551482"/>
                  <a:gd name="connsiteY31" fmla="*/ 101183 h 854439"/>
                  <a:gd name="connsiteX32" fmla="*/ 858186 w 1551482"/>
                  <a:gd name="connsiteY32" fmla="*/ 0 h 854439"/>
                  <a:gd name="connsiteX33" fmla="*/ 693295 w 1551482"/>
                  <a:gd name="connsiteY33" fmla="*/ 11242 h 854439"/>
                  <a:gd name="connsiteX34" fmla="*/ 577121 w 1551482"/>
                  <a:gd name="connsiteY34" fmla="*/ 63708 h 854439"/>
                  <a:gd name="connsiteX35" fmla="*/ 569626 w 1551482"/>
                  <a:gd name="connsiteY35" fmla="*/ 164891 h 854439"/>
                  <a:gd name="connsiteX36" fmla="*/ 580868 w 1551482"/>
                  <a:gd name="connsiteY36" fmla="*/ 206114 h 854439"/>
                  <a:gd name="connsiteX37" fmla="*/ 547141 w 1551482"/>
                  <a:gd name="connsiteY37" fmla="*/ 273570 h 854439"/>
                  <a:gd name="connsiteX38" fmla="*/ 472190 w 1551482"/>
                  <a:gd name="connsiteY38" fmla="*/ 322288 h 854439"/>
                  <a:gd name="connsiteX39" fmla="*/ 438462 w 1551482"/>
                  <a:gd name="connsiteY39" fmla="*/ 326036 h 854439"/>
                  <a:gd name="connsiteX40" fmla="*/ 397239 w 1551482"/>
                  <a:gd name="connsiteY40" fmla="*/ 322288 h 854439"/>
                  <a:gd name="connsiteX41" fmla="*/ 374754 w 1551482"/>
                  <a:gd name="connsiteY41" fmla="*/ 224852 h 854439"/>
                  <a:gd name="connsiteX42" fmla="*/ 333531 w 1551482"/>
                  <a:gd name="connsiteY42" fmla="*/ 236095 h 854439"/>
                  <a:gd name="connsiteX43" fmla="*/ 243590 w 1551482"/>
                  <a:gd name="connsiteY43" fmla="*/ 217357 h 854439"/>
                  <a:gd name="connsiteX44" fmla="*/ 213609 w 1551482"/>
                  <a:gd name="connsiteY44" fmla="*/ 168639 h 854439"/>
                  <a:gd name="connsiteX45" fmla="*/ 142406 w 1551482"/>
                  <a:gd name="connsiteY45" fmla="*/ 112426 h 854439"/>
                  <a:gd name="connsiteX46" fmla="*/ 37475 w 1551482"/>
                  <a:gd name="connsiteY46" fmla="*/ 116173 h 854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551482" h="854439">
                    <a:moveTo>
                      <a:pt x="37475" y="116173"/>
                    </a:moveTo>
                    <a:lnTo>
                      <a:pt x="0" y="153649"/>
                    </a:lnTo>
                    <a:lnTo>
                      <a:pt x="3747" y="198619"/>
                    </a:lnTo>
                    <a:lnTo>
                      <a:pt x="149901" y="371006"/>
                    </a:lnTo>
                    <a:lnTo>
                      <a:pt x="142406" y="445957"/>
                    </a:lnTo>
                    <a:lnTo>
                      <a:pt x="131164" y="498423"/>
                    </a:lnTo>
                    <a:lnTo>
                      <a:pt x="146154" y="734518"/>
                    </a:lnTo>
                    <a:lnTo>
                      <a:pt x="209862" y="839449"/>
                    </a:lnTo>
                    <a:lnTo>
                      <a:pt x="284813" y="824459"/>
                    </a:lnTo>
                    <a:lnTo>
                      <a:pt x="468442" y="745760"/>
                    </a:lnTo>
                    <a:lnTo>
                      <a:pt x="599606" y="730770"/>
                    </a:lnTo>
                    <a:lnTo>
                      <a:pt x="655819" y="775741"/>
                    </a:lnTo>
                    <a:lnTo>
                      <a:pt x="734518" y="854439"/>
                    </a:lnTo>
                    <a:lnTo>
                      <a:pt x="884419" y="775741"/>
                    </a:lnTo>
                    <a:lnTo>
                      <a:pt x="1008088" y="719528"/>
                    </a:lnTo>
                    <a:lnTo>
                      <a:pt x="1071796" y="659567"/>
                    </a:lnTo>
                    <a:lnTo>
                      <a:pt x="1011836" y="588364"/>
                    </a:lnTo>
                    <a:lnTo>
                      <a:pt x="963118" y="539646"/>
                    </a:lnTo>
                    <a:lnTo>
                      <a:pt x="1015583" y="502170"/>
                    </a:lnTo>
                    <a:lnTo>
                      <a:pt x="1075544" y="502170"/>
                    </a:lnTo>
                    <a:lnTo>
                      <a:pt x="1210455" y="532150"/>
                    </a:lnTo>
                    <a:lnTo>
                      <a:pt x="1266668" y="528403"/>
                    </a:lnTo>
                    <a:lnTo>
                      <a:pt x="1371600" y="498423"/>
                    </a:lnTo>
                    <a:lnTo>
                      <a:pt x="1454045" y="415977"/>
                    </a:lnTo>
                    <a:lnTo>
                      <a:pt x="1506511" y="288560"/>
                    </a:lnTo>
                    <a:lnTo>
                      <a:pt x="1536491" y="209862"/>
                    </a:lnTo>
                    <a:lnTo>
                      <a:pt x="1551482" y="153649"/>
                    </a:lnTo>
                    <a:lnTo>
                      <a:pt x="1517754" y="134911"/>
                    </a:lnTo>
                    <a:lnTo>
                      <a:pt x="1251678" y="221105"/>
                    </a:lnTo>
                    <a:lnTo>
                      <a:pt x="1064301" y="131164"/>
                    </a:lnTo>
                    <a:lnTo>
                      <a:pt x="978108" y="142406"/>
                    </a:lnTo>
                    <a:lnTo>
                      <a:pt x="873177" y="101183"/>
                    </a:lnTo>
                    <a:lnTo>
                      <a:pt x="858186" y="0"/>
                    </a:lnTo>
                    <a:lnTo>
                      <a:pt x="693295" y="11242"/>
                    </a:lnTo>
                    <a:lnTo>
                      <a:pt x="577121" y="63708"/>
                    </a:lnTo>
                    <a:lnTo>
                      <a:pt x="569626" y="164891"/>
                    </a:lnTo>
                    <a:lnTo>
                      <a:pt x="580868" y="206114"/>
                    </a:lnTo>
                    <a:lnTo>
                      <a:pt x="547141" y="273570"/>
                    </a:lnTo>
                    <a:lnTo>
                      <a:pt x="472190" y="322288"/>
                    </a:lnTo>
                    <a:lnTo>
                      <a:pt x="438462" y="326036"/>
                    </a:lnTo>
                    <a:lnTo>
                      <a:pt x="397239" y="322288"/>
                    </a:lnTo>
                    <a:lnTo>
                      <a:pt x="374754" y="224852"/>
                    </a:lnTo>
                    <a:lnTo>
                      <a:pt x="333531" y="236095"/>
                    </a:lnTo>
                    <a:lnTo>
                      <a:pt x="243590" y="217357"/>
                    </a:lnTo>
                    <a:lnTo>
                      <a:pt x="213609" y="168639"/>
                    </a:lnTo>
                    <a:lnTo>
                      <a:pt x="142406" y="112426"/>
                    </a:lnTo>
                    <a:lnTo>
                      <a:pt x="37475" y="116173"/>
                    </a:lnTo>
                    <a:close/>
                  </a:path>
                </a:pathLst>
              </a:custGeom>
              <a:solidFill>
                <a:schemeClr val="accent3">
                  <a:lumMod val="20000"/>
                  <a:lumOff val="80000"/>
                </a:schemeClr>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10" name="Freeform: Shape 309">
                <a:extLst>
                  <a:ext uri="{FF2B5EF4-FFF2-40B4-BE49-F238E27FC236}">
                    <a16:creationId xmlns:a16="http://schemas.microsoft.com/office/drawing/2014/main" id="{F3BE9082-449C-4576-B842-E6F98F62DCBF}"/>
                  </a:ext>
                </a:extLst>
              </p:cNvPr>
              <p:cNvSpPr/>
              <p:nvPr/>
            </p:nvSpPr>
            <p:spPr>
              <a:xfrm>
                <a:off x="6116233" y="3619338"/>
                <a:ext cx="2178907" cy="1620430"/>
              </a:xfrm>
              <a:custGeom>
                <a:avLst/>
                <a:gdLst>
                  <a:gd name="connsiteX0" fmla="*/ 816964 w 1929983"/>
                  <a:gd name="connsiteY0" fmla="*/ 221105 h 1435308"/>
                  <a:gd name="connsiteX1" fmla="*/ 989350 w 1929983"/>
                  <a:gd name="connsiteY1" fmla="*/ 224852 h 1435308"/>
                  <a:gd name="connsiteX2" fmla="*/ 1105524 w 1929983"/>
                  <a:gd name="connsiteY2" fmla="*/ 198620 h 1435308"/>
                  <a:gd name="connsiteX3" fmla="*/ 1285406 w 1929983"/>
                  <a:gd name="connsiteY3" fmla="*/ 112426 h 1435308"/>
                  <a:gd name="connsiteX4" fmla="*/ 1472783 w 1929983"/>
                  <a:gd name="connsiteY4" fmla="*/ 89941 h 1435308"/>
                  <a:gd name="connsiteX5" fmla="*/ 1521501 w 1929983"/>
                  <a:gd name="connsiteY5" fmla="*/ 71203 h 1435308"/>
                  <a:gd name="connsiteX6" fmla="*/ 1600200 w 1929983"/>
                  <a:gd name="connsiteY6" fmla="*/ 0 h 1435308"/>
                  <a:gd name="connsiteX7" fmla="*/ 1641423 w 1929983"/>
                  <a:gd name="connsiteY7" fmla="*/ 0 h 1435308"/>
                  <a:gd name="connsiteX8" fmla="*/ 1705131 w 1929983"/>
                  <a:gd name="connsiteY8" fmla="*/ 18738 h 1435308"/>
                  <a:gd name="connsiteX9" fmla="*/ 1712626 w 1929983"/>
                  <a:gd name="connsiteY9" fmla="*/ 89941 h 1435308"/>
                  <a:gd name="connsiteX10" fmla="*/ 1720121 w 1929983"/>
                  <a:gd name="connsiteY10" fmla="*/ 127416 h 1435308"/>
                  <a:gd name="connsiteX11" fmla="*/ 1828800 w 1929983"/>
                  <a:gd name="connsiteY11" fmla="*/ 232347 h 1435308"/>
                  <a:gd name="connsiteX12" fmla="*/ 1929983 w 1929983"/>
                  <a:gd name="connsiteY12" fmla="*/ 224852 h 1435308"/>
                  <a:gd name="connsiteX13" fmla="*/ 1738859 w 1929983"/>
                  <a:gd name="connsiteY13" fmla="*/ 434715 h 1435308"/>
                  <a:gd name="connsiteX14" fmla="*/ 1705131 w 1929983"/>
                  <a:gd name="connsiteY14" fmla="*/ 494675 h 1435308"/>
                  <a:gd name="connsiteX15" fmla="*/ 1585209 w 1929983"/>
                  <a:gd name="connsiteY15" fmla="*/ 565879 h 1435308"/>
                  <a:gd name="connsiteX16" fmla="*/ 1558977 w 1929983"/>
                  <a:gd name="connsiteY16" fmla="*/ 678305 h 1435308"/>
                  <a:gd name="connsiteX17" fmla="*/ 1566472 w 1929983"/>
                  <a:gd name="connsiteY17" fmla="*/ 786984 h 1435308"/>
                  <a:gd name="connsiteX18" fmla="*/ 1536491 w 1929983"/>
                  <a:gd name="connsiteY18" fmla="*/ 888167 h 1435308"/>
                  <a:gd name="connsiteX19" fmla="*/ 1528996 w 1929983"/>
                  <a:gd name="connsiteY19" fmla="*/ 989351 h 1435308"/>
                  <a:gd name="connsiteX20" fmla="*/ 1499016 w 1929983"/>
                  <a:gd name="connsiteY20" fmla="*/ 1064302 h 1435308"/>
                  <a:gd name="connsiteX21" fmla="*/ 1424065 w 1929983"/>
                  <a:gd name="connsiteY21" fmla="*/ 1105524 h 1435308"/>
                  <a:gd name="connsiteX22" fmla="*/ 1345367 w 1929983"/>
                  <a:gd name="connsiteY22" fmla="*/ 1124262 h 1435308"/>
                  <a:gd name="connsiteX23" fmla="*/ 1319134 w 1929983"/>
                  <a:gd name="connsiteY23" fmla="*/ 1023079 h 1435308"/>
                  <a:gd name="connsiteX24" fmla="*/ 1131757 w 1929983"/>
                  <a:gd name="connsiteY24" fmla="*/ 1056806 h 1435308"/>
                  <a:gd name="connsiteX25" fmla="*/ 1011836 w 1929983"/>
                  <a:gd name="connsiteY25" fmla="*/ 1113020 h 1435308"/>
                  <a:gd name="connsiteX26" fmla="*/ 914400 w 1929983"/>
                  <a:gd name="connsiteY26" fmla="*/ 1247931 h 1435308"/>
                  <a:gd name="connsiteX27" fmla="*/ 846944 w 1929983"/>
                  <a:gd name="connsiteY27" fmla="*/ 1270416 h 1435308"/>
                  <a:gd name="connsiteX28" fmla="*/ 768246 w 1929983"/>
                  <a:gd name="connsiteY28" fmla="*/ 1281659 h 1435308"/>
                  <a:gd name="connsiteX29" fmla="*/ 554636 w 1929983"/>
                  <a:gd name="connsiteY29" fmla="*/ 1435308 h 1435308"/>
                  <a:gd name="connsiteX30" fmla="*/ 490927 w 1929983"/>
                  <a:gd name="connsiteY30" fmla="*/ 1304144 h 1435308"/>
                  <a:gd name="connsiteX31" fmla="*/ 442209 w 1929983"/>
                  <a:gd name="connsiteY31" fmla="*/ 1202961 h 1435308"/>
                  <a:gd name="connsiteX32" fmla="*/ 311046 w 1929983"/>
                  <a:gd name="connsiteY32" fmla="*/ 1083039 h 1435308"/>
                  <a:gd name="connsiteX33" fmla="*/ 194872 w 1929983"/>
                  <a:gd name="connsiteY33" fmla="*/ 1079292 h 1435308"/>
                  <a:gd name="connsiteX34" fmla="*/ 0 w 1929983"/>
                  <a:gd name="connsiteY34" fmla="*/ 929390 h 1435308"/>
                  <a:gd name="connsiteX35" fmla="*/ 146154 w 1929983"/>
                  <a:gd name="connsiteY35" fmla="*/ 846944 h 1435308"/>
                  <a:gd name="connsiteX36" fmla="*/ 273570 w 1929983"/>
                  <a:gd name="connsiteY36" fmla="*/ 775741 h 1435308"/>
                  <a:gd name="connsiteX37" fmla="*/ 329783 w 1929983"/>
                  <a:gd name="connsiteY37" fmla="*/ 719528 h 1435308"/>
                  <a:gd name="connsiteX38" fmla="*/ 232347 w 1929983"/>
                  <a:gd name="connsiteY38" fmla="*/ 607102 h 1435308"/>
                  <a:gd name="connsiteX39" fmla="*/ 277318 w 1929983"/>
                  <a:gd name="connsiteY39" fmla="*/ 558384 h 1435308"/>
                  <a:gd name="connsiteX40" fmla="*/ 322288 w 1929983"/>
                  <a:gd name="connsiteY40" fmla="*/ 558384 h 1435308"/>
                  <a:gd name="connsiteX41" fmla="*/ 464695 w 1929983"/>
                  <a:gd name="connsiteY41" fmla="*/ 588364 h 1435308"/>
                  <a:gd name="connsiteX42" fmla="*/ 528403 w 1929983"/>
                  <a:gd name="connsiteY42" fmla="*/ 595859 h 1435308"/>
                  <a:gd name="connsiteX43" fmla="*/ 599606 w 1929983"/>
                  <a:gd name="connsiteY43" fmla="*/ 565879 h 1435308"/>
                  <a:gd name="connsiteX44" fmla="*/ 637082 w 1929983"/>
                  <a:gd name="connsiteY44" fmla="*/ 554636 h 1435308"/>
                  <a:gd name="connsiteX45" fmla="*/ 715780 w 1929983"/>
                  <a:gd name="connsiteY45" fmla="*/ 487180 h 1435308"/>
                  <a:gd name="connsiteX46" fmla="*/ 816964 w 1929983"/>
                  <a:gd name="connsiteY46" fmla="*/ 221105 h 143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29983" h="1435308">
                    <a:moveTo>
                      <a:pt x="816964" y="221105"/>
                    </a:moveTo>
                    <a:lnTo>
                      <a:pt x="989350" y="224852"/>
                    </a:lnTo>
                    <a:lnTo>
                      <a:pt x="1105524" y="198620"/>
                    </a:lnTo>
                    <a:lnTo>
                      <a:pt x="1285406" y="112426"/>
                    </a:lnTo>
                    <a:lnTo>
                      <a:pt x="1472783" y="89941"/>
                    </a:lnTo>
                    <a:lnTo>
                      <a:pt x="1521501" y="71203"/>
                    </a:lnTo>
                    <a:lnTo>
                      <a:pt x="1600200" y="0"/>
                    </a:lnTo>
                    <a:lnTo>
                      <a:pt x="1641423" y="0"/>
                    </a:lnTo>
                    <a:lnTo>
                      <a:pt x="1705131" y="18738"/>
                    </a:lnTo>
                    <a:lnTo>
                      <a:pt x="1712626" y="89941"/>
                    </a:lnTo>
                    <a:lnTo>
                      <a:pt x="1720121" y="127416"/>
                    </a:lnTo>
                    <a:lnTo>
                      <a:pt x="1828800" y="232347"/>
                    </a:lnTo>
                    <a:lnTo>
                      <a:pt x="1929983" y="224852"/>
                    </a:lnTo>
                    <a:lnTo>
                      <a:pt x="1738859" y="434715"/>
                    </a:lnTo>
                    <a:lnTo>
                      <a:pt x="1705131" y="494675"/>
                    </a:lnTo>
                    <a:lnTo>
                      <a:pt x="1585209" y="565879"/>
                    </a:lnTo>
                    <a:lnTo>
                      <a:pt x="1558977" y="678305"/>
                    </a:lnTo>
                    <a:lnTo>
                      <a:pt x="1566472" y="786984"/>
                    </a:lnTo>
                    <a:lnTo>
                      <a:pt x="1536491" y="888167"/>
                    </a:lnTo>
                    <a:lnTo>
                      <a:pt x="1528996" y="989351"/>
                    </a:lnTo>
                    <a:lnTo>
                      <a:pt x="1499016" y="1064302"/>
                    </a:lnTo>
                    <a:lnTo>
                      <a:pt x="1424065" y="1105524"/>
                    </a:lnTo>
                    <a:lnTo>
                      <a:pt x="1345367" y="1124262"/>
                    </a:lnTo>
                    <a:lnTo>
                      <a:pt x="1319134" y="1023079"/>
                    </a:lnTo>
                    <a:lnTo>
                      <a:pt x="1131757" y="1056806"/>
                    </a:lnTo>
                    <a:lnTo>
                      <a:pt x="1011836" y="1113020"/>
                    </a:lnTo>
                    <a:lnTo>
                      <a:pt x="914400" y="1247931"/>
                    </a:lnTo>
                    <a:lnTo>
                      <a:pt x="846944" y="1270416"/>
                    </a:lnTo>
                    <a:lnTo>
                      <a:pt x="768246" y="1281659"/>
                    </a:lnTo>
                    <a:lnTo>
                      <a:pt x="554636" y="1435308"/>
                    </a:lnTo>
                    <a:lnTo>
                      <a:pt x="490927" y="1304144"/>
                    </a:lnTo>
                    <a:lnTo>
                      <a:pt x="442209" y="1202961"/>
                    </a:lnTo>
                    <a:lnTo>
                      <a:pt x="311046" y="1083039"/>
                    </a:lnTo>
                    <a:lnTo>
                      <a:pt x="194872" y="1079292"/>
                    </a:lnTo>
                    <a:lnTo>
                      <a:pt x="0" y="929390"/>
                    </a:lnTo>
                    <a:lnTo>
                      <a:pt x="146154" y="846944"/>
                    </a:lnTo>
                    <a:lnTo>
                      <a:pt x="273570" y="775741"/>
                    </a:lnTo>
                    <a:lnTo>
                      <a:pt x="329783" y="719528"/>
                    </a:lnTo>
                    <a:lnTo>
                      <a:pt x="232347" y="607102"/>
                    </a:lnTo>
                    <a:lnTo>
                      <a:pt x="277318" y="558384"/>
                    </a:lnTo>
                    <a:lnTo>
                      <a:pt x="322288" y="558384"/>
                    </a:lnTo>
                    <a:lnTo>
                      <a:pt x="464695" y="588364"/>
                    </a:lnTo>
                    <a:lnTo>
                      <a:pt x="528403" y="595859"/>
                    </a:lnTo>
                    <a:lnTo>
                      <a:pt x="599606" y="565879"/>
                    </a:lnTo>
                    <a:lnTo>
                      <a:pt x="637082" y="554636"/>
                    </a:lnTo>
                    <a:lnTo>
                      <a:pt x="715780" y="487180"/>
                    </a:lnTo>
                    <a:lnTo>
                      <a:pt x="816964" y="221105"/>
                    </a:lnTo>
                    <a:close/>
                  </a:path>
                </a:pathLst>
              </a:custGeom>
              <a:solidFill>
                <a:srgbClr val="002060"/>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11" name="Freeform: Shape 310">
                <a:extLst>
                  <a:ext uri="{FF2B5EF4-FFF2-40B4-BE49-F238E27FC236}">
                    <a16:creationId xmlns:a16="http://schemas.microsoft.com/office/drawing/2014/main" id="{8509B8BA-A04B-4214-A1F8-013F676D7A54}"/>
                  </a:ext>
                </a:extLst>
              </p:cNvPr>
              <p:cNvSpPr/>
              <p:nvPr/>
            </p:nvSpPr>
            <p:spPr>
              <a:xfrm>
                <a:off x="3942084" y="4408047"/>
                <a:ext cx="1659625" cy="928386"/>
              </a:xfrm>
              <a:custGeom>
                <a:avLst/>
                <a:gdLst>
                  <a:gd name="connsiteX0" fmla="*/ 0 w 1470025"/>
                  <a:gd name="connsiteY0" fmla="*/ 142875 h 822325"/>
                  <a:gd name="connsiteX1" fmla="*/ 139700 w 1470025"/>
                  <a:gd name="connsiteY1" fmla="*/ 60325 h 822325"/>
                  <a:gd name="connsiteX2" fmla="*/ 177800 w 1470025"/>
                  <a:gd name="connsiteY2" fmla="*/ 66675 h 822325"/>
                  <a:gd name="connsiteX3" fmla="*/ 247650 w 1470025"/>
                  <a:gd name="connsiteY3" fmla="*/ 22225 h 822325"/>
                  <a:gd name="connsiteX4" fmla="*/ 298450 w 1470025"/>
                  <a:gd name="connsiteY4" fmla="*/ 0 h 822325"/>
                  <a:gd name="connsiteX5" fmla="*/ 365125 w 1470025"/>
                  <a:gd name="connsiteY5" fmla="*/ 3175 h 822325"/>
                  <a:gd name="connsiteX6" fmla="*/ 450850 w 1470025"/>
                  <a:gd name="connsiteY6" fmla="*/ 38100 h 822325"/>
                  <a:gd name="connsiteX7" fmla="*/ 568325 w 1470025"/>
                  <a:gd name="connsiteY7" fmla="*/ 53975 h 822325"/>
                  <a:gd name="connsiteX8" fmla="*/ 806450 w 1470025"/>
                  <a:gd name="connsiteY8" fmla="*/ 104775 h 822325"/>
                  <a:gd name="connsiteX9" fmla="*/ 917575 w 1470025"/>
                  <a:gd name="connsiteY9" fmla="*/ 133350 h 822325"/>
                  <a:gd name="connsiteX10" fmla="*/ 1025525 w 1470025"/>
                  <a:gd name="connsiteY10" fmla="*/ 184150 h 822325"/>
                  <a:gd name="connsiteX11" fmla="*/ 1066800 w 1470025"/>
                  <a:gd name="connsiteY11" fmla="*/ 212725 h 822325"/>
                  <a:gd name="connsiteX12" fmla="*/ 1123950 w 1470025"/>
                  <a:gd name="connsiteY12" fmla="*/ 219075 h 822325"/>
                  <a:gd name="connsiteX13" fmla="*/ 1196975 w 1470025"/>
                  <a:gd name="connsiteY13" fmla="*/ 266700 h 822325"/>
                  <a:gd name="connsiteX14" fmla="*/ 1292225 w 1470025"/>
                  <a:gd name="connsiteY14" fmla="*/ 346075 h 822325"/>
                  <a:gd name="connsiteX15" fmla="*/ 1384300 w 1470025"/>
                  <a:gd name="connsiteY15" fmla="*/ 447675 h 822325"/>
                  <a:gd name="connsiteX16" fmla="*/ 1403350 w 1470025"/>
                  <a:gd name="connsiteY16" fmla="*/ 479425 h 822325"/>
                  <a:gd name="connsiteX17" fmla="*/ 1422400 w 1470025"/>
                  <a:gd name="connsiteY17" fmla="*/ 546100 h 822325"/>
                  <a:gd name="connsiteX18" fmla="*/ 1470025 w 1470025"/>
                  <a:gd name="connsiteY18" fmla="*/ 596900 h 822325"/>
                  <a:gd name="connsiteX19" fmla="*/ 1298575 w 1470025"/>
                  <a:gd name="connsiteY19" fmla="*/ 622300 h 822325"/>
                  <a:gd name="connsiteX20" fmla="*/ 1177925 w 1470025"/>
                  <a:gd name="connsiteY20" fmla="*/ 638175 h 822325"/>
                  <a:gd name="connsiteX21" fmla="*/ 1104900 w 1470025"/>
                  <a:gd name="connsiteY21" fmla="*/ 682625 h 822325"/>
                  <a:gd name="connsiteX22" fmla="*/ 1003300 w 1470025"/>
                  <a:gd name="connsiteY22" fmla="*/ 660400 h 822325"/>
                  <a:gd name="connsiteX23" fmla="*/ 892175 w 1470025"/>
                  <a:gd name="connsiteY23" fmla="*/ 590550 h 822325"/>
                  <a:gd name="connsiteX24" fmla="*/ 850900 w 1470025"/>
                  <a:gd name="connsiteY24" fmla="*/ 596900 h 822325"/>
                  <a:gd name="connsiteX25" fmla="*/ 854075 w 1470025"/>
                  <a:gd name="connsiteY25" fmla="*/ 641350 h 822325"/>
                  <a:gd name="connsiteX26" fmla="*/ 825500 w 1470025"/>
                  <a:gd name="connsiteY26" fmla="*/ 682625 h 822325"/>
                  <a:gd name="connsiteX27" fmla="*/ 758825 w 1470025"/>
                  <a:gd name="connsiteY27" fmla="*/ 688975 h 822325"/>
                  <a:gd name="connsiteX28" fmla="*/ 711200 w 1470025"/>
                  <a:gd name="connsiteY28" fmla="*/ 657225 h 822325"/>
                  <a:gd name="connsiteX29" fmla="*/ 650875 w 1470025"/>
                  <a:gd name="connsiteY29" fmla="*/ 666750 h 822325"/>
                  <a:gd name="connsiteX30" fmla="*/ 558800 w 1470025"/>
                  <a:gd name="connsiteY30" fmla="*/ 762000 h 822325"/>
                  <a:gd name="connsiteX31" fmla="*/ 447675 w 1470025"/>
                  <a:gd name="connsiteY31" fmla="*/ 822325 h 822325"/>
                  <a:gd name="connsiteX32" fmla="*/ 371475 w 1470025"/>
                  <a:gd name="connsiteY32" fmla="*/ 803275 h 822325"/>
                  <a:gd name="connsiteX33" fmla="*/ 307975 w 1470025"/>
                  <a:gd name="connsiteY33" fmla="*/ 765175 h 822325"/>
                  <a:gd name="connsiteX34" fmla="*/ 282575 w 1470025"/>
                  <a:gd name="connsiteY34" fmla="*/ 771525 h 822325"/>
                  <a:gd name="connsiteX35" fmla="*/ 254000 w 1470025"/>
                  <a:gd name="connsiteY35" fmla="*/ 765175 h 822325"/>
                  <a:gd name="connsiteX36" fmla="*/ 307975 w 1470025"/>
                  <a:gd name="connsiteY36" fmla="*/ 688975 h 822325"/>
                  <a:gd name="connsiteX37" fmla="*/ 279400 w 1470025"/>
                  <a:gd name="connsiteY37" fmla="*/ 581025 h 822325"/>
                  <a:gd name="connsiteX38" fmla="*/ 41275 w 1470025"/>
                  <a:gd name="connsiteY38" fmla="*/ 323850 h 822325"/>
                  <a:gd name="connsiteX39" fmla="*/ 0 w 1470025"/>
                  <a:gd name="connsiteY39" fmla="*/ 142875 h 8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70025" h="822325">
                    <a:moveTo>
                      <a:pt x="0" y="142875"/>
                    </a:moveTo>
                    <a:lnTo>
                      <a:pt x="139700" y="60325"/>
                    </a:lnTo>
                    <a:lnTo>
                      <a:pt x="177800" y="66675"/>
                    </a:lnTo>
                    <a:lnTo>
                      <a:pt x="247650" y="22225"/>
                    </a:lnTo>
                    <a:lnTo>
                      <a:pt x="298450" y="0"/>
                    </a:lnTo>
                    <a:lnTo>
                      <a:pt x="365125" y="3175"/>
                    </a:lnTo>
                    <a:lnTo>
                      <a:pt x="450850" y="38100"/>
                    </a:lnTo>
                    <a:lnTo>
                      <a:pt x="568325" y="53975"/>
                    </a:lnTo>
                    <a:lnTo>
                      <a:pt x="806450" y="104775"/>
                    </a:lnTo>
                    <a:lnTo>
                      <a:pt x="917575" y="133350"/>
                    </a:lnTo>
                    <a:lnTo>
                      <a:pt x="1025525" y="184150"/>
                    </a:lnTo>
                    <a:lnTo>
                      <a:pt x="1066800" y="212725"/>
                    </a:lnTo>
                    <a:lnTo>
                      <a:pt x="1123950" y="219075"/>
                    </a:lnTo>
                    <a:lnTo>
                      <a:pt x="1196975" y="266700"/>
                    </a:lnTo>
                    <a:lnTo>
                      <a:pt x="1292225" y="346075"/>
                    </a:lnTo>
                    <a:lnTo>
                      <a:pt x="1384300" y="447675"/>
                    </a:lnTo>
                    <a:lnTo>
                      <a:pt x="1403350" y="479425"/>
                    </a:lnTo>
                    <a:lnTo>
                      <a:pt x="1422400" y="546100"/>
                    </a:lnTo>
                    <a:lnTo>
                      <a:pt x="1470025" y="596900"/>
                    </a:lnTo>
                    <a:lnTo>
                      <a:pt x="1298575" y="622300"/>
                    </a:lnTo>
                    <a:lnTo>
                      <a:pt x="1177925" y="638175"/>
                    </a:lnTo>
                    <a:lnTo>
                      <a:pt x="1104900" y="682625"/>
                    </a:lnTo>
                    <a:lnTo>
                      <a:pt x="1003300" y="660400"/>
                    </a:lnTo>
                    <a:lnTo>
                      <a:pt x="892175" y="590550"/>
                    </a:lnTo>
                    <a:lnTo>
                      <a:pt x="850900" y="596900"/>
                    </a:lnTo>
                    <a:lnTo>
                      <a:pt x="854075" y="641350"/>
                    </a:lnTo>
                    <a:lnTo>
                      <a:pt x="825500" y="682625"/>
                    </a:lnTo>
                    <a:lnTo>
                      <a:pt x="758825" y="688975"/>
                    </a:lnTo>
                    <a:lnTo>
                      <a:pt x="711200" y="657225"/>
                    </a:lnTo>
                    <a:lnTo>
                      <a:pt x="650875" y="666750"/>
                    </a:lnTo>
                    <a:lnTo>
                      <a:pt x="558800" y="762000"/>
                    </a:lnTo>
                    <a:lnTo>
                      <a:pt x="447675" y="822325"/>
                    </a:lnTo>
                    <a:lnTo>
                      <a:pt x="371475" y="803275"/>
                    </a:lnTo>
                    <a:lnTo>
                      <a:pt x="307975" y="765175"/>
                    </a:lnTo>
                    <a:lnTo>
                      <a:pt x="282575" y="771525"/>
                    </a:lnTo>
                    <a:lnTo>
                      <a:pt x="254000" y="765175"/>
                    </a:lnTo>
                    <a:lnTo>
                      <a:pt x="307975" y="688975"/>
                    </a:lnTo>
                    <a:lnTo>
                      <a:pt x="279400" y="581025"/>
                    </a:lnTo>
                    <a:lnTo>
                      <a:pt x="41275" y="323850"/>
                    </a:lnTo>
                    <a:lnTo>
                      <a:pt x="0" y="142875"/>
                    </a:lnTo>
                    <a:close/>
                  </a:path>
                </a:pathLst>
              </a:custGeom>
              <a:solidFill>
                <a:srgbClr val="044B7F"/>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12" name="Freeform: Shape 311">
                <a:extLst>
                  <a:ext uri="{FF2B5EF4-FFF2-40B4-BE49-F238E27FC236}">
                    <a16:creationId xmlns:a16="http://schemas.microsoft.com/office/drawing/2014/main" id="{4BE9DD63-47AD-4A52-AB46-46840DA33E22}"/>
                  </a:ext>
                </a:extLst>
              </p:cNvPr>
              <p:cNvSpPr/>
              <p:nvPr/>
            </p:nvSpPr>
            <p:spPr>
              <a:xfrm>
                <a:off x="3164247" y="4931385"/>
                <a:ext cx="1268914" cy="967816"/>
              </a:xfrm>
              <a:custGeom>
                <a:avLst/>
                <a:gdLst>
                  <a:gd name="connsiteX0" fmla="*/ 69850 w 1123950"/>
                  <a:gd name="connsiteY0" fmla="*/ 0 h 857250"/>
                  <a:gd name="connsiteX1" fmla="*/ 95250 w 1123950"/>
                  <a:gd name="connsiteY1" fmla="*/ 146050 h 857250"/>
                  <a:gd name="connsiteX2" fmla="*/ 60325 w 1123950"/>
                  <a:gd name="connsiteY2" fmla="*/ 288925 h 857250"/>
                  <a:gd name="connsiteX3" fmla="*/ 19050 w 1123950"/>
                  <a:gd name="connsiteY3" fmla="*/ 431800 h 857250"/>
                  <a:gd name="connsiteX4" fmla="*/ 25400 w 1123950"/>
                  <a:gd name="connsiteY4" fmla="*/ 536575 h 857250"/>
                  <a:gd name="connsiteX5" fmla="*/ 0 w 1123950"/>
                  <a:gd name="connsiteY5" fmla="*/ 625475 h 857250"/>
                  <a:gd name="connsiteX6" fmla="*/ 41275 w 1123950"/>
                  <a:gd name="connsiteY6" fmla="*/ 755650 h 857250"/>
                  <a:gd name="connsiteX7" fmla="*/ 47625 w 1123950"/>
                  <a:gd name="connsiteY7" fmla="*/ 774700 h 857250"/>
                  <a:gd name="connsiteX8" fmla="*/ 180975 w 1123950"/>
                  <a:gd name="connsiteY8" fmla="*/ 720725 h 857250"/>
                  <a:gd name="connsiteX9" fmla="*/ 241300 w 1123950"/>
                  <a:gd name="connsiteY9" fmla="*/ 784225 h 857250"/>
                  <a:gd name="connsiteX10" fmla="*/ 539750 w 1123950"/>
                  <a:gd name="connsiteY10" fmla="*/ 854075 h 857250"/>
                  <a:gd name="connsiteX11" fmla="*/ 838200 w 1123950"/>
                  <a:gd name="connsiteY11" fmla="*/ 857250 h 857250"/>
                  <a:gd name="connsiteX12" fmla="*/ 898525 w 1123950"/>
                  <a:gd name="connsiteY12" fmla="*/ 768350 h 857250"/>
                  <a:gd name="connsiteX13" fmla="*/ 933450 w 1123950"/>
                  <a:gd name="connsiteY13" fmla="*/ 622300 h 857250"/>
                  <a:gd name="connsiteX14" fmla="*/ 1047750 w 1123950"/>
                  <a:gd name="connsiteY14" fmla="*/ 463550 h 857250"/>
                  <a:gd name="connsiteX15" fmla="*/ 1108075 w 1123950"/>
                  <a:gd name="connsiteY15" fmla="*/ 381000 h 857250"/>
                  <a:gd name="connsiteX16" fmla="*/ 1123950 w 1123950"/>
                  <a:gd name="connsiteY16" fmla="*/ 349250 h 857250"/>
                  <a:gd name="connsiteX17" fmla="*/ 1031875 w 1123950"/>
                  <a:gd name="connsiteY17" fmla="*/ 330200 h 857250"/>
                  <a:gd name="connsiteX18" fmla="*/ 1003300 w 1123950"/>
                  <a:gd name="connsiteY18" fmla="*/ 295275 h 857250"/>
                  <a:gd name="connsiteX19" fmla="*/ 962025 w 1123950"/>
                  <a:gd name="connsiteY19" fmla="*/ 301625 h 857250"/>
                  <a:gd name="connsiteX20" fmla="*/ 946150 w 1123950"/>
                  <a:gd name="connsiteY20" fmla="*/ 298450 h 857250"/>
                  <a:gd name="connsiteX21" fmla="*/ 812800 w 1123950"/>
                  <a:gd name="connsiteY21" fmla="*/ 327025 h 857250"/>
                  <a:gd name="connsiteX22" fmla="*/ 571500 w 1123950"/>
                  <a:gd name="connsiteY22" fmla="*/ 285750 h 857250"/>
                  <a:gd name="connsiteX23" fmla="*/ 206375 w 1123950"/>
                  <a:gd name="connsiteY23" fmla="*/ 111125 h 857250"/>
                  <a:gd name="connsiteX24" fmla="*/ 69850 w 1123950"/>
                  <a:gd name="connsiteY24"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23950" h="857250">
                    <a:moveTo>
                      <a:pt x="69850" y="0"/>
                    </a:moveTo>
                    <a:lnTo>
                      <a:pt x="95250" y="146050"/>
                    </a:lnTo>
                    <a:lnTo>
                      <a:pt x="60325" y="288925"/>
                    </a:lnTo>
                    <a:lnTo>
                      <a:pt x="19050" y="431800"/>
                    </a:lnTo>
                    <a:lnTo>
                      <a:pt x="25400" y="536575"/>
                    </a:lnTo>
                    <a:lnTo>
                      <a:pt x="0" y="625475"/>
                    </a:lnTo>
                    <a:lnTo>
                      <a:pt x="41275" y="755650"/>
                    </a:lnTo>
                    <a:lnTo>
                      <a:pt x="47625" y="774700"/>
                    </a:lnTo>
                    <a:lnTo>
                      <a:pt x="180975" y="720725"/>
                    </a:lnTo>
                    <a:lnTo>
                      <a:pt x="241300" y="784225"/>
                    </a:lnTo>
                    <a:lnTo>
                      <a:pt x="539750" y="854075"/>
                    </a:lnTo>
                    <a:lnTo>
                      <a:pt x="838200" y="857250"/>
                    </a:lnTo>
                    <a:lnTo>
                      <a:pt x="898525" y="768350"/>
                    </a:lnTo>
                    <a:lnTo>
                      <a:pt x="933450" y="622300"/>
                    </a:lnTo>
                    <a:lnTo>
                      <a:pt x="1047750" y="463550"/>
                    </a:lnTo>
                    <a:lnTo>
                      <a:pt x="1108075" y="381000"/>
                    </a:lnTo>
                    <a:lnTo>
                      <a:pt x="1123950" y="349250"/>
                    </a:lnTo>
                    <a:lnTo>
                      <a:pt x="1031875" y="330200"/>
                    </a:lnTo>
                    <a:lnTo>
                      <a:pt x="1003300" y="295275"/>
                    </a:lnTo>
                    <a:lnTo>
                      <a:pt x="962025" y="301625"/>
                    </a:lnTo>
                    <a:lnTo>
                      <a:pt x="946150" y="298450"/>
                    </a:lnTo>
                    <a:lnTo>
                      <a:pt x="812800" y="327025"/>
                    </a:lnTo>
                    <a:lnTo>
                      <a:pt x="571500" y="285750"/>
                    </a:lnTo>
                    <a:lnTo>
                      <a:pt x="206375" y="111125"/>
                    </a:lnTo>
                    <a:lnTo>
                      <a:pt x="69850" y="0"/>
                    </a:lnTo>
                    <a:close/>
                  </a:path>
                </a:pathLst>
              </a:custGeom>
              <a:solidFill>
                <a:schemeClr val="accent3">
                  <a:lumMod val="20000"/>
                  <a:lumOff val="80000"/>
                </a:schemeClr>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sp>
            <p:nvSpPr>
              <p:cNvPr id="313" name="Freeform: Shape 312">
                <a:extLst>
                  <a:ext uri="{FF2B5EF4-FFF2-40B4-BE49-F238E27FC236}">
                    <a16:creationId xmlns:a16="http://schemas.microsoft.com/office/drawing/2014/main" id="{293461B0-8AAC-4953-8AB6-8ED456B18C35}"/>
                  </a:ext>
                </a:extLst>
              </p:cNvPr>
              <p:cNvSpPr/>
              <p:nvPr/>
            </p:nvSpPr>
            <p:spPr>
              <a:xfrm>
                <a:off x="5185907" y="5013828"/>
                <a:ext cx="885372" cy="1333435"/>
              </a:xfrm>
              <a:custGeom>
                <a:avLst/>
                <a:gdLst>
                  <a:gd name="connsiteX0" fmla="*/ 6350 w 784225"/>
                  <a:gd name="connsiteY0" fmla="*/ 142875 h 1181100"/>
                  <a:gd name="connsiteX1" fmla="*/ 73025 w 784225"/>
                  <a:gd name="connsiteY1" fmla="*/ 95250 h 1181100"/>
                  <a:gd name="connsiteX2" fmla="*/ 374650 w 784225"/>
                  <a:gd name="connsiteY2" fmla="*/ 60325 h 1181100"/>
                  <a:gd name="connsiteX3" fmla="*/ 501650 w 784225"/>
                  <a:gd name="connsiteY3" fmla="*/ 3175 h 1181100"/>
                  <a:gd name="connsiteX4" fmla="*/ 600075 w 784225"/>
                  <a:gd name="connsiteY4" fmla="*/ 0 h 1181100"/>
                  <a:gd name="connsiteX5" fmla="*/ 622300 w 784225"/>
                  <a:gd name="connsiteY5" fmla="*/ 41275 h 1181100"/>
                  <a:gd name="connsiteX6" fmla="*/ 708025 w 784225"/>
                  <a:gd name="connsiteY6" fmla="*/ 152400 h 1181100"/>
                  <a:gd name="connsiteX7" fmla="*/ 663575 w 784225"/>
                  <a:gd name="connsiteY7" fmla="*/ 241300 h 1181100"/>
                  <a:gd name="connsiteX8" fmla="*/ 723900 w 784225"/>
                  <a:gd name="connsiteY8" fmla="*/ 327025 h 1181100"/>
                  <a:gd name="connsiteX9" fmla="*/ 784225 w 784225"/>
                  <a:gd name="connsiteY9" fmla="*/ 355600 h 1181100"/>
                  <a:gd name="connsiteX10" fmla="*/ 730250 w 784225"/>
                  <a:gd name="connsiteY10" fmla="*/ 425450 h 1181100"/>
                  <a:gd name="connsiteX11" fmla="*/ 606425 w 784225"/>
                  <a:gd name="connsiteY11" fmla="*/ 508000 h 1181100"/>
                  <a:gd name="connsiteX12" fmla="*/ 600075 w 784225"/>
                  <a:gd name="connsiteY12" fmla="*/ 568325 h 1181100"/>
                  <a:gd name="connsiteX13" fmla="*/ 539750 w 784225"/>
                  <a:gd name="connsiteY13" fmla="*/ 666750 h 1181100"/>
                  <a:gd name="connsiteX14" fmla="*/ 463550 w 784225"/>
                  <a:gd name="connsiteY14" fmla="*/ 669925 h 1181100"/>
                  <a:gd name="connsiteX15" fmla="*/ 406400 w 784225"/>
                  <a:gd name="connsiteY15" fmla="*/ 736600 h 1181100"/>
                  <a:gd name="connsiteX16" fmla="*/ 419100 w 784225"/>
                  <a:gd name="connsiteY16" fmla="*/ 831850 h 1181100"/>
                  <a:gd name="connsiteX17" fmla="*/ 581025 w 784225"/>
                  <a:gd name="connsiteY17" fmla="*/ 1016000 h 1181100"/>
                  <a:gd name="connsiteX18" fmla="*/ 603250 w 784225"/>
                  <a:gd name="connsiteY18" fmla="*/ 1038225 h 1181100"/>
                  <a:gd name="connsiteX19" fmla="*/ 469900 w 784225"/>
                  <a:gd name="connsiteY19" fmla="*/ 1016000 h 1181100"/>
                  <a:gd name="connsiteX20" fmla="*/ 323850 w 784225"/>
                  <a:gd name="connsiteY20" fmla="*/ 1098550 h 1181100"/>
                  <a:gd name="connsiteX21" fmla="*/ 279400 w 784225"/>
                  <a:gd name="connsiteY21" fmla="*/ 1158875 h 1181100"/>
                  <a:gd name="connsiteX22" fmla="*/ 273050 w 784225"/>
                  <a:gd name="connsiteY22" fmla="*/ 1181100 h 1181100"/>
                  <a:gd name="connsiteX23" fmla="*/ 146050 w 784225"/>
                  <a:gd name="connsiteY23" fmla="*/ 1041400 h 1181100"/>
                  <a:gd name="connsiteX24" fmla="*/ 130175 w 784225"/>
                  <a:gd name="connsiteY24" fmla="*/ 984250 h 1181100"/>
                  <a:gd name="connsiteX25" fmla="*/ 114300 w 784225"/>
                  <a:gd name="connsiteY25" fmla="*/ 917575 h 1181100"/>
                  <a:gd name="connsiteX26" fmla="*/ 104775 w 784225"/>
                  <a:gd name="connsiteY26" fmla="*/ 857250 h 1181100"/>
                  <a:gd name="connsiteX27" fmla="*/ 104775 w 784225"/>
                  <a:gd name="connsiteY27" fmla="*/ 806450 h 1181100"/>
                  <a:gd name="connsiteX28" fmla="*/ 53975 w 784225"/>
                  <a:gd name="connsiteY28" fmla="*/ 688975 h 1181100"/>
                  <a:gd name="connsiteX29" fmla="*/ 31750 w 784225"/>
                  <a:gd name="connsiteY29" fmla="*/ 568325 h 1181100"/>
                  <a:gd name="connsiteX30" fmla="*/ 22225 w 784225"/>
                  <a:gd name="connsiteY30" fmla="*/ 469900 h 1181100"/>
                  <a:gd name="connsiteX31" fmla="*/ 0 w 784225"/>
                  <a:gd name="connsiteY31" fmla="*/ 342900 h 1181100"/>
                  <a:gd name="connsiteX32" fmla="*/ 0 w 784225"/>
                  <a:gd name="connsiteY32" fmla="*/ 263525 h 1181100"/>
                  <a:gd name="connsiteX33" fmla="*/ 6350 w 784225"/>
                  <a:gd name="connsiteY33" fmla="*/ 142875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84225" h="1181100">
                    <a:moveTo>
                      <a:pt x="6350" y="142875"/>
                    </a:moveTo>
                    <a:lnTo>
                      <a:pt x="73025" y="95250"/>
                    </a:lnTo>
                    <a:lnTo>
                      <a:pt x="374650" y="60325"/>
                    </a:lnTo>
                    <a:lnTo>
                      <a:pt x="501650" y="3175"/>
                    </a:lnTo>
                    <a:lnTo>
                      <a:pt x="600075" y="0"/>
                    </a:lnTo>
                    <a:lnTo>
                      <a:pt x="622300" y="41275"/>
                    </a:lnTo>
                    <a:lnTo>
                      <a:pt x="708025" y="152400"/>
                    </a:lnTo>
                    <a:lnTo>
                      <a:pt x="663575" y="241300"/>
                    </a:lnTo>
                    <a:lnTo>
                      <a:pt x="723900" y="327025"/>
                    </a:lnTo>
                    <a:lnTo>
                      <a:pt x="784225" y="355600"/>
                    </a:lnTo>
                    <a:lnTo>
                      <a:pt x="730250" y="425450"/>
                    </a:lnTo>
                    <a:lnTo>
                      <a:pt x="606425" y="508000"/>
                    </a:lnTo>
                    <a:lnTo>
                      <a:pt x="600075" y="568325"/>
                    </a:lnTo>
                    <a:lnTo>
                      <a:pt x="539750" y="666750"/>
                    </a:lnTo>
                    <a:lnTo>
                      <a:pt x="463550" y="669925"/>
                    </a:lnTo>
                    <a:lnTo>
                      <a:pt x="406400" y="736600"/>
                    </a:lnTo>
                    <a:lnTo>
                      <a:pt x="419100" y="831850"/>
                    </a:lnTo>
                    <a:lnTo>
                      <a:pt x="581025" y="1016000"/>
                    </a:lnTo>
                    <a:lnTo>
                      <a:pt x="603250" y="1038225"/>
                    </a:lnTo>
                    <a:lnTo>
                      <a:pt x="469900" y="1016000"/>
                    </a:lnTo>
                    <a:lnTo>
                      <a:pt x="323850" y="1098550"/>
                    </a:lnTo>
                    <a:lnTo>
                      <a:pt x="279400" y="1158875"/>
                    </a:lnTo>
                    <a:lnTo>
                      <a:pt x="273050" y="1181100"/>
                    </a:lnTo>
                    <a:lnTo>
                      <a:pt x="146050" y="1041400"/>
                    </a:lnTo>
                    <a:lnTo>
                      <a:pt x="130175" y="984250"/>
                    </a:lnTo>
                    <a:lnTo>
                      <a:pt x="114300" y="917575"/>
                    </a:lnTo>
                    <a:lnTo>
                      <a:pt x="104775" y="857250"/>
                    </a:lnTo>
                    <a:lnTo>
                      <a:pt x="104775" y="806450"/>
                    </a:lnTo>
                    <a:lnTo>
                      <a:pt x="53975" y="688975"/>
                    </a:lnTo>
                    <a:lnTo>
                      <a:pt x="31750" y="568325"/>
                    </a:lnTo>
                    <a:lnTo>
                      <a:pt x="22225" y="469900"/>
                    </a:lnTo>
                    <a:lnTo>
                      <a:pt x="0" y="342900"/>
                    </a:lnTo>
                    <a:lnTo>
                      <a:pt x="0" y="263525"/>
                    </a:lnTo>
                    <a:lnTo>
                      <a:pt x="6350" y="142875"/>
                    </a:lnTo>
                    <a:close/>
                  </a:path>
                </a:pathLst>
              </a:custGeom>
              <a:solidFill>
                <a:srgbClr val="044B7F"/>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sp>
            <p:nvSpPr>
              <p:cNvPr id="314" name="Freeform: Shape 313">
                <a:extLst>
                  <a:ext uri="{FF2B5EF4-FFF2-40B4-BE49-F238E27FC236}">
                    <a16:creationId xmlns:a16="http://schemas.microsoft.com/office/drawing/2014/main" id="{32B4220F-EB86-4BA7-BF9E-9585F28D1922}"/>
                  </a:ext>
                </a:extLst>
              </p:cNvPr>
              <p:cNvSpPr/>
              <p:nvPr/>
            </p:nvSpPr>
            <p:spPr>
              <a:xfrm>
                <a:off x="4103387" y="5064010"/>
                <a:ext cx="1394372" cy="1613025"/>
              </a:xfrm>
              <a:custGeom>
                <a:avLst/>
                <a:gdLst>
                  <a:gd name="connsiteX0" fmla="*/ 0 w 1235075"/>
                  <a:gd name="connsiteY0" fmla="*/ 733425 h 1428750"/>
                  <a:gd name="connsiteX1" fmla="*/ 69850 w 1235075"/>
                  <a:gd name="connsiteY1" fmla="*/ 641350 h 1428750"/>
                  <a:gd name="connsiteX2" fmla="*/ 101600 w 1235075"/>
                  <a:gd name="connsiteY2" fmla="*/ 498475 h 1428750"/>
                  <a:gd name="connsiteX3" fmla="*/ 301625 w 1235075"/>
                  <a:gd name="connsiteY3" fmla="*/ 231775 h 1428750"/>
                  <a:gd name="connsiteX4" fmla="*/ 415925 w 1235075"/>
                  <a:gd name="connsiteY4" fmla="*/ 171450 h 1428750"/>
                  <a:gd name="connsiteX5" fmla="*/ 479425 w 1235075"/>
                  <a:gd name="connsiteY5" fmla="*/ 104775 h 1428750"/>
                  <a:gd name="connsiteX6" fmla="*/ 508000 w 1235075"/>
                  <a:gd name="connsiteY6" fmla="*/ 79375 h 1428750"/>
                  <a:gd name="connsiteX7" fmla="*/ 571500 w 1235075"/>
                  <a:gd name="connsiteY7" fmla="*/ 66675 h 1428750"/>
                  <a:gd name="connsiteX8" fmla="*/ 600075 w 1235075"/>
                  <a:gd name="connsiteY8" fmla="*/ 101600 h 1428750"/>
                  <a:gd name="connsiteX9" fmla="*/ 676275 w 1235075"/>
                  <a:gd name="connsiteY9" fmla="*/ 104775 h 1428750"/>
                  <a:gd name="connsiteX10" fmla="*/ 704850 w 1235075"/>
                  <a:gd name="connsiteY10" fmla="*/ 60325 h 1428750"/>
                  <a:gd name="connsiteX11" fmla="*/ 701675 w 1235075"/>
                  <a:gd name="connsiteY11" fmla="*/ 9525 h 1428750"/>
                  <a:gd name="connsiteX12" fmla="*/ 742950 w 1235075"/>
                  <a:gd name="connsiteY12" fmla="*/ 0 h 1428750"/>
                  <a:gd name="connsiteX13" fmla="*/ 863600 w 1235075"/>
                  <a:gd name="connsiteY13" fmla="*/ 73025 h 1428750"/>
                  <a:gd name="connsiteX14" fmla="*/ 971550 w 1235075"/>
                  <a:gd name="connsiteY14" fmla="*/ 104775 h 1428750"/>
                  <a:gd name="connsiteX15" fmla="*/ 955675 w 1235075"/>
                  <a:gd name="connsiteY15" fmla="*/ 276225 h 1428750"/>
                  <a:gd name="connsiteX16" fmla="*/ 984250 w 1235075"/>
                  <a:gd name="connsiteY16" fmla="*/ 469900 h 1428750"/>
                  <a:gd name="connsiteX17" fmla="*/ 1003300 w 1235075"/>
                  <a:gd name="connsiteY17" fmla="*/ 615950 h 1428750"/>
                  <a:gd name="connsiteX18" fmla="*/ 1060450 w 1235075"/>
                  <a:gd name="connsiteY18" fmla="*/ 758825 h 1428750"/>
                  <a:gd name="connsiteX19" fmla="*/ 1066800 w 1235075"/>
                  <a:gd name="connsiteY19" fmla="*/ 838200 h 1428750"/>
                  <a:gd name="connsiteX20" fmla="*/ 1101725 w 1235075"/>
                  <a:gd name="connsiteY20" fmla="*/ 984250 h 1428750"/>
                  <a:gd name="connsiteX21" fmla="*/ 1235075 w 1235075"/>
                  <a:gd name="connsiteY21" fmla="*/ 1143000 h 1428750"/>
                  <a:gd name="connsiteX22" fmla="*/ 1222375 w 1235075"/>
                  <a:gd name="connsiteY22" fmla="*/ 1241425 h 1428750"/>
                  <a:gd name="connsiteX23" fmla="*/ 1117600 w 1235075"/>
                  <a:gd name="connsiteY23" fmla="*/ 1314450 h 1428750"/>
                  <a:gd name="connsiteX24" fmla="*/ 1101725 w 1235075"/>
                  <a:gd name="connsiteY24" fmla="*/ 1428750 h 1428750"/>
                  <a:gd name="connsiteX25" fmla="*/ 946150 w 1235075"/>
                  <a:gd name="connsiteY25" fmla="*/ 1358900 h 1428750"/>
                  <a:gd name="connsiteX26" fmla="*/ 889000 w 1235075"/>
                  <a:gd name="connsiteY26" fmla="*/ 1327150 h 1428750"/>
                  <a:gd name="connsiteX27" fmla="*/ 625475 w 1235075"/>
                  <a:gd name="connsiteY27" fmla="*/ 1108075 h 1428750"/>
                  <a:gd name="connsiteX28" fmla="*/ 603250 w 1235075"/>
                  <a:gd name="connsiteY28" fmla="*/ 1016000 h 1428750"/>
                  <a:gd name="connsiteX29" fmla="*/ 596900 w 1235075"/>
                  <a:gd name="connsiteY29" fmla="*/ 917575 h 1428750"/>
                  <a:gd name="connsiteX30" fmla="*/ 581025 w 1235075"/>
                  <a:gd name="connsiteY30" fmla="*/ 850900 h 1428750"/>
                  <a:gd name="connsiteX31" fmla="*/ 501650 w 1235075"/>
                  <a:gd name="connsiteY31" fmla="*/ 815975 h 1428750"/>
                  <a:gd name="connsiteX32" fmla="*/ 390525 w 1235075"/>
                  <a:gd name="connsiteY32" fmla="*/ 784225 h 1428750"/>
                  <a:gd name="connsiteX33" fmla="*/ 327025 w 1235075"/>
                  <a:gd name="connsiteY33" fmla="*/ 771525 h 1428750"/>
                  <a:gd name="connsiteX34" fmla="*/ 0 w 1235075"/>
                  <a:gd name="connsiteY34" fmla="*/ 733425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35075" h="1428750">
                    <a:moveTo>
                      <a:pt x="0" y="733425"/>
                    </a:moveTo>
                    <a:lnTo>
                      <a:pt x="69850" y="641350"/>
                    </a:lnTo>
                    <a:lnTo>
                      <a:pt x="101600" y="498475"/>
                    </a:lnTo>
                    <a:lnTo>
                      <a:pt x="301625" y="231775"/>
                    </a:lnTo>
                    <a:lnTo>
                      <a:pt x="415925" y="171450"/>
                    </a:lnTo>
                    <a:lnTo>
                      <a:pt x="479425" y="104775"/>
                    </a:lnTo>
                    <a:lnTo>
                      <a:pt x="508000" y="79375"/>
                    </a:lnTo>
                    <a:lnTo>
                      <a:pt x="571500" y="66675"/>
                    </a:lnTo>
                    <a:lnTo>
                      <a:pt x="600075" y="101600"/>
                    </a:lnTo>
                    <a:lnTo>
                      <a:pt x="676275" y="104775"/>
                    </a:lnTo>
                    <a:lnTo>
                      <a:pt x="704850" y="60325"/>
                    </a:lnTo>
                    <a:lnTo>
                      <a:pt x="701675" y="9525"/>
                    </a:lnTo>
                    <a:lnTo>
                      <a:pt x="742950" y="0"/>
                    </a:lnTo>
                    <a:lnTo>
                      <a:pt x="863600" y="73025"/>
                    </a:lnTo>
                    <a:lnTo>
                      <a:pt x="971550" y="104775"/>
                    </a:lnTo>
                    <a:lnTo>
                      <a:pt x="955675" y="276225"/>
                    </a:lnTo>
                    <a:lnTo>
                      <a:pt x="984250" y="469900"/>
                    </a:lnTo>
                    <a:lnTo>
                      <a:pt x="1003300" y="615950"/>
                    </a:lnTo>
                    <a:lnTo>
                      <a:pt x="1060450" y="758825"/>
                    </a:lnTo>
                    <a:lnTo>
                      <a:pt x="1066800" y="838200"/>
                    </a:lnTo>
                    <a:lnTo>
                      <a:pt x="1101725" y="984250"/>
                    </a:lnTo>
                    <a:lnTo>
                      <a:pt x="1235075" y="1143000"/>
                    </a:lnTo>
                    <a:lnTo>
                      <a:pt x="1222375" y="1241425"/>
                    </a:lnTo>
                    <a:lnTo>
                      <a:pt x="1117600" y="1314450"/>
                    </a:lnTo>
                    <a:lnTo>
                      <a:pt x="1101725" y="1428750"/>
                    </a:lnTo>
                    <a:lnTo>
                      <a:pt x="946150" y="1358900"/>
                    </a:lnTo>
                    <a:lnTo>
                      <a:pt x="889000" y="1327150"/>
                    </a:lnTo>
                    <a:lnTo>
                      <a:pt x="625475" y="1108075"/>
                    </a:lnTo>
                    <a:lnTo>
                      <a:pt x="603250" y="1016000"/>
                    </a:lnTo>
                    <a:lnTo>
                      <a:pt x="596900" y="917575"/>
                    </a:lnTo>
                    <a:lnTo>
                      <a:pt x="581025" y="850900"/>
                    </a:lnTo>
                    <a:lnTo>
                      <a:pt x="501650" y="815975"/>
                    </a:lnTo>
                    <a:lnTo>
                      <a:pt x="390525" y="784225"/>
                    </a:lnTo>
                    <a:lnTo>
                      <a:pt x="327025" y="771525"/>
                    </a:lnTo>
                    <a:lnTo>
                      <a:pt x="0" y="733425"/>
                    </a:lnTo>
                    <a:close/>
                  </a:path>
                </a:pathLst>
              </a:custGeom>
              <a:solidFill>
                <a:srgbClr val="044B7F"/>
              </a:solidFill>
              <a:ln w="25400" cap="flat" cmpd="sng" algn="ctr">
                <a:solidFill>
                  <a:srgbClr val="FFFFFF"/>
                </a:solidFill>
                <a:prstDash val="solid"/>
              </a:ln>
              <a:effectLst/>
            </p:spPr>
            <p:txBody>
              <a:bodyPr rtlCol="0" anchor="ctr"/>
              <a:lstStyle/>
              <a:p>
                <a:pPr marL="0" marR="0" lvl="0" indent="0" algn="ctr" defTabSz="91439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grpSp>
        <p:sp>
          <p:nvSpPr>
            <p:cNvPr id="299" name="TextBox 298">
              <a:extLst>
                <a:ext uri="{FF2B5EF4-FFF2-40B4-BE49-F238E27FC236}">
                  <a16:creationId xmlns:a16="http://schemas.microsoft.com/office/drawing/2014/main" id="{3256F0F9-D6E1-41B9-BCC4-BE9613AE3AE5}"/>
                </a:ext>
              </a:extLst>
            </p:cNvPr>
            <p:cNvSpPr txBox="1"/>
            <p:nvPr/>
          </p:nvSpPr>
          <p:spPr>
            <a:xfrm>
              <a:off x="2591497" y="2437160"/>
              <a:ext cx="1013054"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prstClr val="white"/>
                  </a:solidFill>
                  <a:effectLst/>
                  <a:uLnTx/>
                  <a:uFillTx/>
                  <a:latin typeface="Gill Sans MT" panose="020B0502020104020203"/>
                  <a:ea typeface="+mn-ea"/>
                  <a:cs typeface="+mn-cs"/>
                </a:rPr>
                <a:t>Abakaliki</a:t>
              </a:r>
            </a:p>
          </p:txBody>
        </p:sp>
        <p:pic>
          <p:nvPicPr>
            <p:cNvPr id="300" name="Graphic 299" descr="Marker">
              <a:extLst>
                <a:ext uri="{FF2B5EF4-FFF2-40B4-BE49-F238E27FC236}">
                  <a16:creationId xmlns:a16="http://schemas.microsoft.com/office/drawing/2014/main" id="{C66CEEE1-BBE8-4799-AE55-C1E43A0A27EA}"/>
                </a:ext>
              </a:extLst>
            </p:cNvPr>
            <p:cNvPicPr>
              <a:picLocks/>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67073" y="2408525"/>
              <a:ext cx="231210" cy="159673"/>
            </a:xfrm>
            <a:prstGeom prst="rect">
              <a:avLst/>
            </a:prstGeom>
          </p:spPr>
        </p:pic>
        <p:sp>
          <p:nvSpPr>
            <p:cNvPr id="4" name="TextBox 3">
              <a:extLst>
                <a:ext uri="{FF2B5EF4-FFF2-40B4-BE49-F238E27FC236}">
                  <a16:creationId xmlns:a16="http://schemas.microsoft.com/office/drawing/2014/main" id="{59368855-EB58-9315-11A7-18D1AA6257E1}"/>
                </a:ext>
              </a:extLst>
            </p:cNvPr>
            <p:cNvSpPr txBox="1"/>
            <p:nvPr/>
          </p:nvSpPr>
          <p:spPr>
            <a:xfrm>
              <a:off x="3156178" y="1866844"/>
              <a:ext cx="448374"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Izzi</a:t>
              </a:r>
            </a:p>
          </p:txBody>
        </p:sp>
        <p:sp>
          <p:nvSpPr>
            <p:cNvPr id="5" name="TextBox 4">
              <a:extLst>
                <a:ext uri="{FF2B5EF4-FFF2-40B4-BE49-F238E27FC236}">
                  <a16:creationId xmlns:a16="http://schemas.microsoft.com/office/drawing/2014/main" id="{862E8B76-E5D5-74D5-5A93-E37FDDD5953D}"/>
                </a:ext>
              </a:extLst>
            </p:cNvPr>
            <p:cNvSpPr txBox="1"/>
            <p:nvPr/>
          </p:nvSpPr>
          <p:spPr>
            <a:xfrm>
              <a:off x="2391810" y="2056540"/>
              <a:ext cx="458040"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Ebonyi</a:t>
              </a:r>
            </a:p>
          </p:txBody>
        </p:sp>
        <p:sp>
          <p:nvSpPr>
            <p:cNvPr id="6" name="TextBox 5">
              <a:extLst>
                <a:ext uri="{FF2B5EF4-FFF2-40B4-BE49-F238E27FC236}">
                  <a16:creationId xmlns:a16="http://schemas.microsoft.com/office/drawing/2014/main" id="{08F138F5-CD76-35B9-C4D2-FAF4B7757CE8}"/>
                </a:ext>
              </a:extLst>
            </p:cNvPr>
            <p:cNvSpPr txBox="1"/>
            <p:nvPr/>
          </p:nvSpPr>
          <p:spPr>
            <a:xfrm>
              <a:off x="1876695" y="1893137"/>
              <a:ext cx="1013053"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Ohaukwu</a:t>
              </a:r>
            </a:p>
          </p:txBody>
        </p:sp>
        <p:sp>
          <p:nvSpPr>
            <p:cNvPr id="8" name="TextBox 7">
              <a:extLst>
                <a:ext uri="{FF2B5EF4-FFF2-40B4-BE49-F238E27FC236}">
                  <a16:creationId xmlns:a16="http://schemas.microsoft.com/office/drawing/2014/main" id="{31011459-0549-39F2-14EC-9BA803B672A1}"/>
                </a:ext>
              </a:extLst>
            </p:cNvPr>
            <p:cNvSpPr txBox="1"/>
            <p:nvPr/>
          </p:nvSpPr>
          <p:spPr>
            <a:xfrm>
              <a:off x="1151823" y="2090775"/>
              <a:ext cx="563798"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Ishielu</a:t>
              </a:r>
            </a:p>
          </p:txBody>
        </p:sp>
        <p:sp>
          <p:nvSpPr>
            <p:cNvPr id="9" name="TextBox 8">
              <a:extLst>
                <a:ext uri="{FF2B5EF4-FFF2-40B4-BE49-F238E27FC236}">
                  <a16:creationId xmlns:a16="http://schemas.microsoft.com/office/drawing/2014/main" id="{2430B120-B75C-15AC-DAF3-C4D1CFC97CAA}"/>
                </a:ext>
              </a:extLst>
            </p:cNvPr>
            <p:cNvSpPr txBox="1"/>
            <p:nvPr/>
          </p:nvSpPr>
          <p:spPr>
            <a:xfrm>
              <a:off x="1874937" y="2357234"/>
              <a:ext cx="465341" cy="1972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Ezz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North</a:t>
              </a:r>
            </a:p>
          </p:txBody>
        </p:sp>
        <p:sp>
          <p:nvSpPr>
            <p:cNvPr id="10" name="TextBox 9">
              <a:extLst>
                <a:ext uri="{FF2B5EF4-FFF2-40B4-BE49-F238E27FC236}">
                  <a16:creationId xmlns:a16="http://schemas.microsoft.com/office/drawing/2014/main" id="{2CD62769-FFC9-AC8D-7A50-B35CAE63B45B}"/>
                </a:ext>
              </a:extLst>
            </p:cNvPr>
            <p:cNvSpPr txBox="1"/>
            <p:nvPr/>
          </p:nvSpPr>
          <p:spPr>
            <a:xfrm>
              <a:off x="2707503" y="2864817"/>
              <a:ext cx="435196"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Ikwo</a:t>
              </a:r>
            </a:p>
          </p:txBody>
        </p:sp>
        <p:sp>
          <p:nvSpPr>
            <p:cNvPr id="11" name="TextBox 10">
              <a:extLst>
                <a:ext uri="{FF2B5EF4-FFF2-40B4-BE49-F238E27FC236}">
                  <a16:creationId xmlns:a16="http://schemas.microsoft.com/office/drawing/2014/main" id="{ABA335D5-F432-4D25-554A-54482BD8A9E5}"/>
                </a:ext>
              </a:extLst>
            </p:cNvPr>
            <p:cNvSpPr txBox="1"/>
            <p:nvPr/>
          </p:nvSpPr>
          <p:spPr>
            <a:xfrm>
              <a:off x="1898698" y="2752185"/>
              <a:ext cx="515740" cy="1972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Ezz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 South</a:t>
              </a:r>
            </a:p>
          </p:txBody>
        </p:sp>
        <p:sp>
          <p:nvSpPr>
            <p:cNvPr id="12" name="TextBox 11">
              <a:extLst>
                <a:ext uri="{FF2B5EF4-FFF2-40B4-BE49-F238E27FC236}">
                  <a16:creationId xmlns:a16="http://schemas.microsoft.com/office/drawing/2014/main" id="{1EBD7213-21D0-2BE9-6296-C9F6D2D9547B}"/>
                </a:ext>
              </a:extLst>
            </p:cNvPr>
            <p:cNvSpPr txBox="1"/>
            <p:nvPr/>
          </p:nvSpPr>
          <p:spPr>
            <a:xfrm>
              <a:off x="1055751" y="2700052"/>
              <a:ext cx="643693"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Onicha</a:t>
              </a:r>
            </a:p>
          </p:txBody>
        </p:sp>
        <p:sp>
          <p:nvSpPr>
            <p:cNvPr id="13" name="TextBox 12">
              <a:extLst>
                <a:ext uri="{FF2B5EF4-FFF2-40B4-BE49-F238E27FC236}">
                  <a16:creationId xmlns:a16="http://schemas.microsoft.com/office/drawing/2014/main" id="{8AA6BF54-3CB0-7F6A-66B7-AFA0F053B439}"/>
                </a:ext>
              </a:extLst>
            </p:cNvPr>
            <p:cNvSpPr txBox="1"/>
            <p:nvPr/>
          </p:nvSpPr>
          <p:spPr>
            <a:xfrm>
              <a:off x="880573" y="2995146"/>
              <a:ext cx="1013053"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Ohaozara</a:t>
              </a:r>
            </a:p>
          </p:txBody>
        </p:sp>
        <p:sp>
          <p:nvSpPr>
            <p:cNvPr id="16" name="TextBox 15">
              <a:extLst>
                <a:ext uri="{FF2B5EF4-FFF2-40B4-BE49-F238E27FC236}">
                  <a16:creationId xmlns:a16="http://schemas.microsoft.com/office/drawing/2014/main" id="{7BA6D96C-025E-8AB3-E2D7-1B20E10F9005}"/>
                </a:ext>
              </a:extLst>
            </p:cNvPr>
            <p:cNvSpPr txBox="1"/>
            <p:nvPr/>
          </p:nvSpPr>
          <p:spPr>
            <a:xfrm>
              <a:off x="405314" y="3272071"/>
              <a:ext cx="443605" cy="986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rPr>
                <a:t>Ivo</a:t>
              </a:r>
            </a:p>
          </p:txBody>
        </p:sp>
        <p:sp>
          <p:nvSpPr>
            <p:cNvPr id="17" name="TextBox 16">
              <a:extLst>
                <a:ext uri="{FF2B5EF4-FFF2-40B4-BE49-F238E27FC236}">
                  <a16:creationId xmlns:a16="http://schemas.microsoft.com/office/drawing/2014/main" id="{313C5CE1-5B29-C44F-653F-58EC80DA49EB}"/>
                </a:ext>
              </a:extLst>
            </p:cNvPr>
            <p:cNvSpPr txBox="1"/>
            <p:nvPr/>
          </p:nvSpPr>
          <p:spPr>
            <a:xfrm>
              <a:off x="1097257" y="3303747"/>
              <a:ext cx="462491" cy="1972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Afikp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South</a:t>
              </a:r>
            </a:p>
          </p:txBody>
        </p:sp>
        <p:sp>
          <p:nvSpPr>
            <p:cNvPr id="18" name="TextBox 17">
              <a:extLst>
                <a:ext uri="{FF2B5EF4-FFF2-40B4-BE49-F238E27FC236}">
                  <a16:creationId xmlns:a16="http://schemas.microsoft.com/office/drawing/2014/main" id="{E7244723-B084-CFE4-99CF-3D774C00365E}"/>
                </a:ext>
              </a:extLst>
            </p:cNvPr>
            <p:cNvSpPr txBox="1"/>
            <p:nvPr/>
          </p:nvSpPr>
          <p:spPr>
            <a:xfrm>
              <a:off x="1620941" y="3258573"/>
              <a:ext cx="378726" cy="1972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Afikp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Gill Sans MT" panose="020B0502020104020203"/>
                  <a:ea typeface="+mn-ea"/>
                  <a:cs typeface="+mn-cs"/>
                </a:rPr>
                <a:t>North </a:t>
              </a:r>
            </a:p>
          </p:txBody>
        </p:sp>
      </p:grpSp>
      <p:grpSp>
        <p:nvGrpSpPr>
          <p:cNvPr id="240" name="Group 239">
            <a:extLst>
              <a:ext uri="{FF2B5EF4-FFF2-40B4-BE49-F238E27FC236}">
                <a16:creationId xmlns:a16="http://schemas.microsoft.com/office/drawing/2014/main" id="{2767C5EB-63A6-4987-961F-353042E7CA1A}"/>
              </a:ext>
            </a:extLst>
          </p:cNvPr>
          <p:cNvGrpSpPr/>
          <p:nvPr/>
        </p:nvGrpSpPr>
        <p:grpSpPr>
          <a:xfrm>
            <a:off x="115390" y="1207907"/>
            <a:ext cx="3097151" cy="628063"/>
            <a:chOff x="-2366639" y="2050061"/>
            <a:chExt cx="2364158" cy="609668"/>
          </a:xfrm>
        </p:grpSpPr>
        <p:sp>
          <p:nvSpPr>
            <p:cNvPr id="283" name="Rectangle 282">
              <a:extLst>
                <a:ext uri="{FF2B5EF4-FFF2-40B4-BE49-F238E27FC236}">
                  <a16:creationId xmlns:a16="http://schemas.microsoft.com/office/drawing/2014/main" id="{9D508F95-33E9-4ADC-86BC-4F4FB600BE48}"/>
                </a:ext>
              </a:extLst>
            </p:cNvPr>
            <p:cNvSpPr/>
            <p:nvPr/>
          </p:nvSpPr>
          <p:spPr>
            <a:xfrm>
              <a:off x="-2366639" y="2050061"/>
              <a:ext cx="2364157" cy="609668"/>
            </a:xfrm>
            <a:prstGeom prst="rect">
              <a:avLst/>
            </a:prstGeom>
            <a:noFill/>
            <a:ln w="12700" cap="flat" cmpd="sng" algn="ctr">
              <a:solidFill>
                <a:srgbClr val="F5FBBC">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grpSp>
          <p:nvGrpSpPr>
            <p:cNvPr id="284" name="Group 283">
              <a:extLst>
                <a:ext uri="{FF2B5EF4-FFF2-40B4-BE49-F238E27FC236}">
                  <a16:creationId xmlns:a16="http://schemas.microsoft.com/office/drawing/2014/main" id="{86F2EE6A-959A-45EC-BA8C-994023D37E69}"/>
                </a:ext>
              </a:extLst>
            </p:cNvPr>
            <p:cNvGrpSpPr/>
            <p:nvPr/>
          </p:nvGrpSpPr>
          <p:grpSpPr>
            <a:xfrm>
              <a:off x="-2320881" y="2264637"/>
              <a:ext cx="1267011" cy="138499"/>
              <a:chOff x="-1481271" y="5155680"/>
              <a:chExt cx="1267011" cy="138499"/>
            </a:xfrm>
          </p:grpSpPr>
          <p:sp>
            <p:nvSpPr>
              <p:cNvPr id="296" name="Rectangle 295">
                <a:extLst>
                  <a:ext uri="{FF2B5EF4-FFF2-40B4-BE49-F238E27FC236}">
                    <a16:creationId xmlns:a16="http://schemas.microsoft.com/office/drawing/2014/main" id="{B689F7FC-6054-42B8-880C-01B1E0BA201B}"/>
                  </a:ext>
                </a:extLst>
              </p:cNvPr>
              <p:cNvSpPr/>
              <p:nvPr/>
            </p:nvSpPr>
            <p:spPr>
              <a:xfrm>
                <a:off x="-1481271" y="5155888"/>
                <a:ext cx="144797" cy="137160"/>
              </a:xfrm>
              <a:prstGeom prst="rect">
                <a:avLst/>
              </a:prstGeom>
              <a:solidFill>
                <a:srgbClr val="044B7F"/>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Gill Sans MT" panose="020B0502020104020203"/>
                  <a:ea typeface="+mn-ea"/>
                  <a:cs typeface="Arial"/>
                  <a:sym typeface="Arial"/>
                </a:endParaRPr>
              </a:p>
            </p:txBody>
          </p:sp>
          <p:sp>
            <p:nvSpPr>
              <p:cNvPr id="297" name="Rectangle 296">
                <a:extLst>
                  <a:ext uri="{FF2B5EF4-FFF2-40B4-BE49-F238E27FC236}">
                    <a16:creationId xmlns:a16="http://schemas.microsoft.com/office/drawing/2014/main" id="{F100D95D-B99B-4C7F-A5E9-DBF11633F2C0}"/>
                  </a:ext>
                </a:extLst>
              </p:cNvPr>
              <p:cNvSpPr/>
              <p:nvPr/>
            </p:nvSpPr>
            <p:spPr bwMode="auto">
              <a:xfrm>
                <a:off x="-1220735" y="5155680"/>
                <a:ext cx="1006475" cy="138499"/>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gt; 300,000</a:t>
                </a:r>
              </a:p>
            </p:txBody>
          </p:sp>
        </p:grpSp>
        <p:grpSp>
          <p:nvGrpSpPr>
            <p:cNvPr id="285" name="Group 284">
              <a:extLst>
                <a:ext uri="{FF2B5EF4-FFF2-40B4-BE49-F238E27FC236}">
                  <a16:creationId xmlns:a16="http://schemas.microsoft.com/office/drawing/2014/main" id="{536DD106-35F9-44A2-8E7B-2FFB19405E8D}"/>
                </a:ext>
              </a:extLst>
            </p:cNvPr>
            <p:cNvGrpSpPr/>
            <p:nvPr/>
          </p:nvGrpSpPr>
          <p:grpSpPr>
            <a:xfrm>
              <a:off x="-1269447" y="2262998"/>
              <a:ext cx="1266966" cy="137160"/>
              <a:chOff x="-1481271" y="5342197"/>
              <a:chExt cx="1266966" cy="137160"/>
            </a:xfrm>
          </p:grpSpPr>
          <p:sp>
            <p:nvSpPr>
              <p:cNvPr id="294" name="Rectangle 293">
                <a:extLst>
                  <a:ext uri="{FF2B5EF4-FFF2-40B4-BE49-F238E27FC236}">
                    <a16:creationId xmlns:a16="http://schemas.microsoft.com/office/drawing/2014/main" id="{31808E92-3E44-44F7-A4DB-FFF366D9609F}"/>
                  </a:ext>
                </a:extLst>
              </p:cNvPr>
              <p:cNvSpPr/>
              <p:nvPr/>
            </p:nvSpPr>
            <p:spPr>
              <a:xfrm>
                <a:off x="-1481271" y="5342197"/>
                <a:ext cx="144797" cy="137160"/>
              </a:xfrm>
              <a:prstGeom prst="rect">
                <a:avLst/>
              </a:prstGeom>
              <a:solidFill>
                <a:srgbClr val="4AA19E"/>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Gill Sans MT" panose="020B0502020104020203"/>
                  <a:ea typeface="+mn-ea"/>
                  <a:cs typeface="Arial"/>
                  <a:sym typeface="Arial"/>
                </a:endParaRPr>
              </a:p>
            </p:txBody>
          </p:sp>
          <p:sp>
            <p:nvSpPr>
              <p:cNvPr id="295" name="Rectangle 294">
                <a:extLst>
                  <a:ext uri="{FF2B5EF4-FFF2-40B4-BE49-F238E27FC236}">
                    <a16:creationId xmlns:a16="http://schemas.microsoft.com/office/drawing/2014/main" id="{68A91E58-47C5-46FE-8DB9-CF6D1A5D40CB}"/>
                  </a:ext>
                </a:extLst>
              </p:cNvPr>
              <p:cNvSpPr/>
              <p:nvPr/>
            </p:nvSpPr>
            <p:spPr bwMode="auto">
              <a:xfrm>
                <a:off x="-1220145" y="5342197"/>
                <a:ext cx="1005840" cy="137160"/>
              </a:xfrm>
              <a:prstGeom prst="rect">
                <a:avLst/>
              </a:prstGeom>
              <a:noFill/>
              <a:ln w="9525">
                <a:noFill/>
                <a:miter lim="800000"/>
                <a:headEnd/>
                <a:tailEnd/>
              </a:ln>
              <a:effectLst/>
            </p:spPr>
            <p:txBody>
              <a:bodyPr wrap="square" lIns="0" tIns="0" rIns="0" bIns="0" rtlCol="0" anchor="t">
                <a:sp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200,000 – 300,000</a:t>
                </a:r>
              </a:p>
            </p:txBody>
          </p:sp>
        </p:grpSp>
        <p:grpSp>
          <p:nvGrpSpPr>
            <p:cNvPr id="286" name="Group 285">
              <a:extLst>
                <a:ext uri="{FF2B5EF4-FFF2-40B4-BE49-F238E27FC236}">
                  <a16:creationId xmlns:a16="http://schemas.microsoft.com/office/drawing/2014/main" id="{6A778A0E-6F60-4B6F-B8C8-3CA0733E84CF}"/>
                </a:ext>
              </a:extLst>
            </p:cNvPr>
            <p:cNvGrpSpPr/>
            <p:nvPr/>
          </p:nvGrpSpPr>
          <p:grpSpPr>
            <a:xfrm>
              <a:off x="-2325213" y="2466671"/>
              <a:ext cx="1267011" cy="137160"/>
              <a:chOff x="-1481271" y="5528505"/>
              <a:chExt cx="1267011" cy="137160"/>
            </a:xfrm>
          </p:grpSpPr>
          <p:sp>
            <p:nvSpPr>
              <p:cNvPr id="292" name="Rectangle 291">
                <a:extLst>
                  <a:ext uri="{FF2B5EF4-FFF2-40B4-BE49-F238E27FC236}">
                    <a16:creationId xmlns:a16="http://schemas.microsoft.com/office/drawing/2014/main" id="{3D9109C0-F67C-4EB7-B97D-4C94F5919BC9}"/>
                  </a:ext>
                </a:extLst>
              </p:cNvPr>
              <p:cNvSpPr/>
              <p:nvPr/>
            </p:nvSpPr>
            <p:spPr>
              <a:xfrm>
                <a:off x="-1481271" y="5528505"/>
                <a:ext cx="144797" cy="137160"/>
              </a:xfrm>
              <a:prstGeom prst="rect">
                <a:avLst/>
              </a:prstGeom>
              <a:solidFill>
                <a:srgbClr val="78CDD7"/>
              </a:solidFill>
              <a:ln>
                <a:solidFill>
                  <a:srgbClr val="000000"/>
                </a:solidFill>
              </a:ln>
            </p:spPr>
            <p:txBody>
              <a:bodyPr wrap="square" rIns="0" rtlCol="0" anchor="ctr">
                <a:noAutofit/>
              </a:bodyPr>
              <a:lstStyle/>
              <a:p>
                <a:pPr marL="0" marR="0" lvl="0" indent="0" algn="l" defTabSz="457195"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Gill Sans MT" panose="020B0502020104020203"/>
                  <a:ea typeface="+mn-ea"/>
                  <a:cs typeface="Arial"/>
                  <a:sym typeface="Arial"/>
                </a:endParaRPr>
              </a:p>
            </p:txBody>
          </p:sp>
          <p:sp>
            <p:nvSpPr>
              <p:cNvPr id="293" name="Rectangle 292">
                <a:extLst>
                  <a:ext uri="{FF2B5EF4-FFF2-40B4-BE49-F238E27FC236}">
                    <a16:creationId xmlns:a16="http://schemas.microsoft.com/office/drawing/2014/main" id="{6895DF40-B29E-4E94-BC49-AE6C237C856B}"/>
                  </a:ext>
                </a:extLst>
              </p:cNvPr>
              <p:cNvSpPr/>
              <p:nvPr/>
            </p:nvSpPr>
            <p:spPr bwMode="auto">
              <a:xfrm>
                <a:off x="-1220735" y="5528505"/>
                <a:ext cx="1006475" cy="137160"/>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lt; 200,000</a:t>
                </a:r>
              </a:p>
            </p:txBody>
          </p:sp>
        </p:grpSp>
        <p:sp>
          <p:nvSpPr>
            <p:cNvPr id="287" name="Rectangle 286">
              <a:extLst>
                <a:ext uri="{FF2B5EF4-FFF2-40B4-BE49-F238E27FC236}">
                  <a16:creationId xmlns:a16="http://schemas.microsoft.com/office/drawing/2014/main" id="{9E383CD4-6628-4B45-A3D1-CD478FDF6F9D}"/>
                </a:ext>
              </a:extLst>
            </p:cNvPr>
            <p:cNvSpPr/>
            <p:nvPr/>
          </p:nvSpPr>
          <p:spPr bwMode="auto">
            <a:xfrm>
              <a:off x="-2304658" y="2059821"/>
              <a:ext cx="1006475" cy="138499"/>
            </a:xfrm>
            <a:prstGeom prst="rect">
              <a:avLst/>
            </a:prstGeom>
            <a:noFill/>
            <a:ln w="9525">
              <a:noFill/>
              <a:miter lim="800000"/>
              <a:headEnd/>
              <a:tailEnd/>
            </a:ln>
            <a:effectLst/>
          </p:spPr>
          <p:txBody>
            <a:bodyPr wrap="square" lIns="0" tIns="0" rIns="0" bIns="0" rtlCol="0" anchor="t">
              <a:noAutofit/>
            </a:bodyPr>
            <a:lstStyle/>
            <a:p>
              <a:pPr marL="0" marR="0" lvl="0" indent="0" algn="l" defTabSz="787392" rtl="0" eaLnBrk="1" fontAlgn="auto" latinLnBrk="0" hangingPunct="1">
                <a:lnSpc>
                  <a:spcPct val="100000"/>
                </a:lnSpc>
                <a:spcBef>
                  <a:spcPts val="0"/>
                </a:spcBef>
                <a:spcAft>
                  <a:spcPts val="0"/>
                </a:spcAft>
                <a:buClr>
                  <a:srgbClr val="204024"/>
                </a:buClr>
                <a:buSzPct val="125000"/>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Arial" panose="020B0604020202020204" pitchFamily="34" charset="0"/>
                  <a:sym typeface="Arial"/>
                </a:rPr>
                <a:t>Population key</a:t>
              </a:r>
            </a:p>
          </p:txBody>
        </p:sp>
        <p:cxnSp>
          <p:nvCxnSpPr>
            <p:cNvPr id="288" name="Straight Connector 287">
              <a:extLst>
                <a:ext uri="{FF2B5EF4-FFF2-40B4-BE49-F238E27FC236}">
                  <a16:creationId xmlns:a16="http://schemas.microsoft.com/office/drawing/2014/main" id="{58B1D2F6-4EC9-409B-B66C-3A4562EEED55}"/>
                </a:ext>
              </a:extLst>
            </p:cNvPr>
            <p:cNvCxnSpPr>
              <a:cxnSpLocks/>
            </p:cNvCxnSpPr>
            <p:nvPr/>
          </p:nvCxnSpPr>
          <p:spPr>
            <a:xfrm flipH="1">
              <a:off x="-2323512" y="2208077"/>
              <a:ext cx="2286000" cy="0"/>
            </a:xfrm>
            <a:prstGeom prst="line">
              <a:avLst/>
            </a:prstGeom>
            <a:noFill/>
            <a:ln w="9525" cap="flat" cmpd="sng" algn="ctr">
              <a:solidFill>
                <a:srgbClr val="FFFFFF">
                  <a:lumMod val="65000"/>
                </a:srgbClr>
              </a:solidFill>
              <a:prstDash val="solid"/>
            </a:ln>
            <a:effectLst/>
          </p:spPr>
        </p:cxnSp>
        <p:grpSp>
          <p:nvGrpSpPr>
            <p:cNvPr id="289" name="Group 288">
              <a:extLst>
                <a:ext uri="{FF2B5EF4-FFF2-40B4-BE49-F238E27FC236}">
                  <a16:creationId xmlns:a16="http://schemas.microsoft.com/office/drawing/2014/main" id="{7E513CCD-9CEC-4E1A-BF70-F47B791EA502}"/>
                </a:ext>
              </a:extLst>
            </p:cNvPr>
            <p:cNvGrpSpPr/>
            <p:nvPr/>
          </p:nvGrpSpPr>
          <p:grpSpPr>
            <a:xfrm>
              <a:off x="-1269447" y="2453744"/>
              <a:ext cx="885716" cy="144237"/>
              <a:chOff x="4149102" y="2971957"/>
              <a:chExt cx="885716" cy="182880"/>
            </a:xfrm>
          </p:grpSpPr>
          <p:pic>
            <p:nvPicPr>
              <p:cNvPr id="290" name="Graphic 289" descr="Marker">
                <a:extLst>
                  <a:ext uri="{FF2B5EF4-FFF2-40B4-BE49-F238E27FC236}">
                    <a16:creationId xmlns:a16="http://schemas.microsoft.com/office/drawing/2014/main" id="{30E350D7-DAD9-482F-9001-6B94D0A9D09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149102" y="2971957"/>
                <a:ext cx="169933" cy="182880"/>
              </a:xfrm>
              <a:prstGeom prst="rect">
                <a:avLst/>
              </a:prstGeom>
            </p:spPr>
          </p:pic>
          <p:sp>
            <p:nvSpPr>
              <p:cNvPr id="291" name="TextBox 290">
                <a:extLst>
                  <a:ext uri="{FF2B5EF4-FFF2-40B4-BE49-F238E27FC236}">
                    <a16:creationId xmlns:a16="http://schemas.microsoft.com/office/drawing/2014/main" id="{AB111AD3-FE6F-4325-8479-1803603D432A}"/>
                  </a:ext>
                </a:extLst>
              </p:cNvPr>
              <p:cNvSpPr txBox="1"/>
              <p:nvPr/>
            </p:nvSpPr>
            <p:spPr>
              <a:xfrm>
                <a:off x="4355084" y="2978879"/>
                <a:ext cx="679734" cy="1704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000000"/>
                    </a:solidFill>
                    <a:effectLst/>
                    <a:uLnTx/>
                    <a:uFillTx/>
                    <a:latin typeface="Gill Sans MT" panose="020B0502020104020203"/>
                    <a:ea typeface="+mn-ea"/>
                    <a:cs typeface="+mn-cs"/>
                  </a:rPr>
                  <a:t>State capital </a:t>
                </a:r>
              </a:p>
            </p:txBody>
          </p:sp>
        </p:grpSp>
      </p:grpSp>
      <p:grpSp>
        <p:nvGrpSpPr>
          <p:cNvPr id="241" name="Group 240">
            <a:extLst>
              <a:ext uri="{FF2B5EF4-FFF2-40B4-BE49-F238E27FC236}">
                <a16:creationId xmlns:a16="http://schemas.microsoft.com/office/drawing/2014/main" id="{3EE9D6DE-5DFF-4A81-95B1-CFDAC6ADCA1C}"/>
              </a:ext>
            </a:extLst>
          </p:cNvPr>
          <p:cNvGrpSpPr/>
          <p:nvPr/>
        </p:nvGrpSpPr>
        <p:grpSpPr>
          <a:xfrm>
            <a:off x="6195390" y="1186365"/>
            <a:ext cx="5854820" cy="4326937"/>
            <a:chOff x="6195450" y="509554"/>
            <a:chExt cx="5854820" cy="5145084"/>
          </a:xfrm>
        </p:grpSpPr>
        <p:sp>
          <p:nvSpPr>
            <p:cNvPr id="243" name="Rectangle 5">
              <a:extLst>
                <a:ext uri="{FF2B5EF4-FFF2-40B4-BE49-F238E27FC236}">
                  <a16:creationId xmlns:a16="http://schemas.microsoft.com/office/drawing/2014/main" id="{AA34B454-7FBD-4CBC-BBF0-05BD6947D9AA}"/>
                </a:ext>
              </a:extLst>
            </p:cNvPr>
            <p:cNvSpPr>
              <a:spLocks noChangeArrowheads="1"/>
            </p:cNvSpPr>
            <p:nvPr>
              <p:custDataLst>
                <p:tags r:id="rId2"/>
              </p:custDataLst>
            </p:nvPr>
          </p:nvSpPr>
          <p:spPr bwMode="auto">
            <a:xfrm>
              <a:off x="6195450" y="509554"/>
              <a:ext cx="5854820" cy="443834"/>
            </a:xfrm>
            <a:prstGeom prst="rect">
              <a:avLst/>
            </a:prstGeom>
            <a:gradFill>
              <a:gsLst>
                <a:gs pos="0">
                  <a:srgbClr val="FFFFFF"/>
                </a:gs>
                <a:gs pos="100000">
                  <a:srgbClr val="FFFFFF">
                    <a:lumMod val="75000"/>
                  </a:srgbClr>
                </a:gs>
              </a:gsLst>
              <a:lin ang="5400000" scaled="0"/>
            </a:gra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6649" tIns="46649" rIns="46649" bIns="46649" numCol="1" anchor="ctr" anchorCtr="0" compatLnSpc="1">
              <a:prstTxWarp prst="textNoShape">
                <a:avLst/>
              </a:prstTxWarp>
              <a:noAutofit/>
            </a:bodyPr>
            <a:lstStyle/>
            <a:p>
              <a:pPr marL="0" marR="0" lvl="0" indent="0" algn="l" defTabSz="913526" rtl="0" eaLnBrk="1" fontAlgn="auto" latinLnBrk="0" hangingPunct="1">
                <a:lnSpc>
                  <a:spcPct val="100000"/>
                </a:lnSpc>
                <a:spcBef>
                  <a:spcPts val="0"/>
                </a:spcBef>
                <a:spcAft>
                  <a:spcPts val="0"/>
                </a:spcAft>
                <a:buClr>
                  <a:srgbClr val="002960"/>
                </a:buClr>
                <a:buSzTx/>
                <a:buFontTx/>
                <a:buNone/>
                <a:tabLst/>
                <a:defRPr/>
              </a:pPr>
              <a:r>
                <a:rPr kumimoji="0" lang="en-US" sz="1600" b="1" i="0" u="none" strike="noStrike" kern="0" cap="none" spc="0" normalizeH="0" baseline="0" noProof="0" dirty="0">
                  <a:ln>
                    <a:noFill/>
                  </a:ln>
                  <a:solidFill>
                    <a:prstClr val="black"/>
                  </a:solidFill>
                  <a:effectLst/>
                  <a:uLnTx/>
                  <a:uFillTx/>
                  <a:latin typeface="Gill Sans MT" panose="020B0502020104020203"/>
                  <a:ea typeface="+mn-ea"/>
                  <a:cs typeface="+mn-cs"/>
                </a:rPr>
                <a:t>Ebonyi State Profile </a:t>
              </a:r>
            </a:p>
          </p:txBody>
        </p:sp>
        <p:grpSp>
          <p:nvGrpSpPr>
            <p:cNvPr id="244" name="Group 243">
              <a:extLst>
                <a:ext uri="{FF2B5EF4-FFF2-40B4-BE49-F238E27FC236}">
                  <a16:creationId xmlns:a16="http://schemas.microsoft.com/office/drawing/2014/main" id="{B7D8F935-CBBF-46C2-B2F5-4F40AB7E2062}"/>
                </a:ext>
              </a:extLst>
            </p:cNvPr>
            <p:cNvGrpSpPr/>
            <p:nvPr/>
          </p:nvGrpSpPr>
          <p:grpSpPr>
            <a:xfrm>
              <a:off x="6195510" y="954088"/>
              <a:ext cx="5854700" cy="752475"/>
              <a:chOff x="6195510" y="954088"/>
              <a:chExt cx="5854700" cy="752475"/>
            </a:xfrm>
          </p:grpSpPr>
          <p:sp>
            <p:nvSpPr>
              <p:cNvPr id="278" name="Rectangle 277">
                <a:extLst>
                  <a:ext uri="{FF2B5EF4-FFF2-40B4-BE49-F238E27FC236}">
                    <a16:creationId xmlns:a16="http://schemas.microsoft.com/office/drawing/2014/main" id="{BAAC54BD-3069-4A08-90D3-A86E9FFBCE09}"/>
                  </a:ext>
                </a:extLst>
              </p:cNvPr>
              <p:cNvSpPr/>
              <p:nvPr/>
            </p:nvSpPr>
            <p:spPr>
              <a:xfrm>
                <a:off x="6195510" y="954088"/>
                <a:ext cx="5854700" cy="752475"/>
              </a:xfrm>
              <a:prstGeom prst="rect">
                <a:avLst/>
              </a:prstGeom>
              <a:solidFill>
                <a:srgbClr val="FFFFFF"/>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Total Population</a:t>
                </a:r>
                <a:r>
                  <a:rPr kumimoji="0" lang="en-US" sz="1600" b="0" i="0" u="none" strike="noStrike" kern="0" cap="none" spc="0" normalizeH="0" baseline="30000" noProof="0" dirty="0">
                    <a:ln>
                      <a:noFill/>
                    </a:ln>
                    <a:solidFill>
                      <a:srgbClr val="000000"/>
                    </a:solidFill>
                    <a:effectLst/>
                    <a:uLnTx/>
                    <a:uFillTx/>
                    <a:latin typeface="Gill Sans MT" panose="020B0502020104020203"/>
                    <a:ea typeface="+mn-ea"/>
                    <a:cs typeface="Arial" pitchFamily="34"/>
                  </a:rPr>
                  <a:t>1</a:t>
                </a:r>
                <a:endPar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endParaRPr>
              </a:p>
            </p:txBody>
          </p:sp>
          <p:sp>
            <p:nvSpPr>
              <p:cNvPr id="279" name="Rectangle: Rounded Corners 16">
                <a:extLst>
                  <a:ext uri="{FF2B5EF4-FFF2-40B4-BE49-F238E27FC236}">
                    <a16:creationId xmlns:a16="http://schemas.microsoft.com/office/drawing/2014/main" id="{21314FFE-2AE4-402F-B5E8-48057CD2DDF5}"/>
                  </a:ext>
                </a:extLst>
              </p:cNvPr>
              <p:cNvSpPr/>
              <p:nvPr/>
            </p:nvSpPr>
            <p:spPr>
              <a:xfrm>
                <a:off x="10053988" y="1029494"/>
                <a:ext cx="1912790" cy="601663"/>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accent3">
                  <a:lumMod val="75000"/>
                </a:schemeClr>
              </a:solidFill>
              <a:ln cap="flat">
                <a:solidFill>
                  <a:schemeClr val="accent3">
                    <a:lumMod val="7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dirty="0">
                    <a:ln>
                      <a:noFill/>
                    </a:ln>
                    <a:solidFill>
                      <a:srgbClr val="FFFFFF"/>
                    </a:solidFill>
                    <a:effectLst/>
                    <a:uLnTx/>
                    <a:uFillTx/>
                    <a:latin typeface="Gill Sans MT" panose="020B0502020104020203"/>
                    <a:ea typeface="+mn-ea"/>
                    <a:cs typeface="Arial" pitchFamily="34"/>
                  </a:rPr>
                  <a:t>3,490,383</a:t>
                </a:r>
              </a:p>
            </p:txBody>
          </p:sp>
          <p:grpSp>
            <p:nvGrpSpPr>
              <p:cNvPr id="280" name="Group 279">
                <a:extLst>
                  <a:ext uri="{FF2B5EF4-FFF2-40B4-BE49-F238E27FC236}">
                    <a16:creationId xmlns:a16="http://schemas.microsoft.com/office/drawing/2014/main" id="{03962A02-96FF-47E9-8F14-AD7899A2BA3C}"/>
                  </a:ext>
                </a:extLst>
              </p:cNvPr>
              <p:cNvGrpSpPr/>
              <p:nvPr/>
            </p:nvGrpSpPr>
            <p:grpSpPr>
              <a:xfrm>
                <a:off x="6251815" y="1056005"/>
                <a:ext cx="548640" cy="548640"/>
                <a:chOff x="6258635" y="1092351"/>
                <a:chExt cx="548640" cy="548640"/>
              </a:xfrm>
            </p:grpSpPr>
            <p:sp>
              <p:nvSpPr>
                <p:cNvPr id="281" name="Oval 280">
                  <a:extLst>
                    <a:ext uri="{FF2B5EF4-FFF2-40B4-BE49-F238E27FC236}">
                      <a16:creationId xmlns:a16="http://schemas.microsoft.com/office/drawing/2014/main" id="{3622406D-F9C5-412C-B965-488F51EF6588}"/>
                    </a:ext>
                  </a:extLst>
                </p:cNvPr>
                <p:cNvSpPr/>
                <p:nvPr/>
              </p:nvSpPr>
              <p:spPr>
                <a:xfrm>
                  <a:off x="6258635" y="1092351"/>
                  <a:ext cx="548640" cy="548640"/>
                </a:xfrm>
                <a:prstGeom prst="ellipse">
                  <a:avLst/>
                </a:prstGeom>
                <a:gradFill flip="none" rotWithShape="1">
                  <a:gsLst>
                    <a:gs pos="92537">
                      <a:schemeClr val="accent3">
                        <a:lumMod val="20000"/>
                        <a:lumOff val="80000"/>
                      </a:schemeClr>
                    </a:gs>
                    <a:gs pos="48000">
                      <a:srgbClr val="ACE6B6">
                        <a:lumMod val="5000"/>
                        <a:lumOff val="95000"/>
                      </a:srgbClr>
                    </a:gs>
                    <a:gs pos="74000">
                      <a:schemeClr val="accent3">
                        <a:lumMod val="20000"/>
                        <a:lumOff val="80000"/>
                      </a:schemeClr>
                    </a:gs>
                    <a:gs pos="83000">
                      <a:schemeClr val="accent3">
                        <a:lumMod val="20000"/>
                        <a:lumOff val="80000"/>
                      </a:schemeClr>
                    </a:gs>
                    <a:gs pos="100000">
                      <a:schemeClr val="accent3">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pic>
              <p:nvPicPr>
                <p:cNvPr id="282" name="Picture 2" descr="World pride day ">
                  <a:extLst>
                    <a:ext uri="{FF2B5EF4-FFF2-40B4-BE49-F238E27FC236}">
                      <a16:creationId xmlns:a16="http://schemas.microsoft.com/office/drawing/2014/main" id="{8FD476EC-76E6-44E7-9E6B-985F6B75FFB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350075" y="1194969"/>
                  <a:ext cx="365760" cy="34340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45" name="Group 244">
              <a:extLst>
                <a:ext uri="{FF2B5EF4-FFF2-40B4-BE49-F238E27FC236}">
                  <a16:creationId xmlns:a16="http://schemas.microsoft.com/office/drawing/2014/main" id="{54DFD734-1C7D-4193-835A-D3EE6D813052}"/>
                </a:ext>
              </a:extLst>
            </p:cNvPr>
            <p:cNvGrpSpPr/>
            <p:nvPr/>
          </p:nvGrpSpPr>
          <p:grpSpPr>
            <a:xfrm>
              <a:off x="6195510" y="1743829"/>
              <a:ext cx="5854700" cy="752475"/>
              <a:chOff x="6195510" y="1741119"/>
              <a:chExt cx="5854700" cy="752475"/>
            </a:xfrm>
          </p:grpSpPr>
          <p:sp>
            <p:nvSpPr>
              <p:cNvPr id="273" name="Rectangle 272">
                <a:extLst>
                  <a:ext uri="{FF2B5EF4-FFF2-40B4-BE49-F238E27FC236}">
                    <a16:creationId xmlns:a16="http://schemas.microsoft.com/office/drawing/2014/main" id="{23C35A5C-08F3-464C-9DE0-7EE0BE510B8D}"/>
                  </a:ext>
                </a:extLst>
              </p:cNvPr>
              <p:cNvSpPr/>
              <p:nvPr/>
            </p:nvSpPr>
            <p:spPr>
              <a:xfrm>
                <a:off x="6195510" y="1741119"/>
                <a:ext cx="5854700" cy="752475"/>
              </a:xfrm>
              <a:prstGeom prst="rect">
                <a:avLst/>
              </a:prstGeom>
              <a:solidFill>
                <a:srgbClr val="FFFFFF"/>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 young/old</a:t>
                </a:r>
                <a:r>
                  <a:rPr kumimoji="0" lang="en-US" sz="1600" b="0" i="0" u="none" strike="noStrike" kern="0" cap="none" spc="0" normalizeH="0" baseline="30000" noProof="0" dirty="0">
                    <a:ln>
                      <a:noFill/>
                    </a:ln>
                    <a:solidFill>
                      <a:srgbClr val="000000"/>
                    </a:solidFill>
                    <a:effectLst/>
                    <a:uLnTx/>
                    <a:uFillTx/>
                    <a:latin typeface="Gill Sans MT" panose="020B0502020104020203"/>
                    <a:ea typeface="+mn-ea"/>
                    <a:cs typeface="Arial" pitchFamily="34"/>
                  </a:rPr>
                  <a:t>2</a:t>
                </a: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 </a:t>
                </a:r>
              </a:p>
            </p:txBody>
          </p:sp>
          <p:sp>
            <p:nvSpPr>
              <p:cNvPr id="274" name="Rectangle: Rounded Corners 16">
                <a:extLst>
                  <a:ext uri="{FF2B5EF4-FFF2-40B4-BE49-F238E27FC236}">
                    <a16:creationId xmlns:a16="http://schemas.microsoft.com/office/drawing/2014/main" id="{F9F7E25A-8039-46E6-A843-AF9B45737FDE}"/>
                  </a:ext>
                </a:extLst>
              </p:cNvPr>
              <p:cNvSpPr/>
              <p:nvPr/>
            </p:nvSpPr>
            <p:spPr>
              <a:xfrm>
                <a:off x="10053988" y="1816525"/>
                <a:ext cx="1912790" cy="601663"/>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accent3">
                  <a:lumMod val="75000"/>
                </a:schemeClr>
              </a:solidFill>
              <a:ln cap="flat">
                <a:solidFill>
                  <a:schemeClr val="accent3">
                    <a:lumMod val="7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dirty="0">
                    <a:ln>
                      <a:noFill/>
                    </a:ln>
                    <a:solidFill>
                      <a:srgbClr val="FFFFFF"/>
                    </a:solidFill>
                    <a:effectLst/>
                    <a:uLnTx/>
                    <a:uFillTx/>
                    <a:latin typeface="Gill Sans MT" panose="020B0502020104020203"/>
                    <a:ea typeface="+mn-ea"/>
                    <a:cs typeface="Arial" pitchFamily="34"/>
                  </a:rPr>
                  <a:t>40% below 15yrs</a:t>
                </a:r>
              </a:p>
            </p:txBody>
          </p:sp>
          <p:grpSp>
            <p:nvGrpSpPr>
              <p:cNvPr id="275" name="Group 274">
                <a:extLst>
                  <a:ext uri="{FF2B5EF4-FFF2-40B4-BE49-F238E27FC236}">
                    <a16:creationId xmlns:a16="http://schemas.microsoft.com/office/drawing/2014/main" id="{4997E651-8071-4AE9-8E1C-65686E1305E0}"/>
                  </a:ext>
                </a:extLst>
              </p:cNvPr>
              <p:cNvGrpSpPr/>
              <p:nvPr/>
            </p:nvGrpSpPr>
            <p:grpSpPr>
              <a:xfrm>
                <a:off x="6251815" y="1843036"/>
                <a:ext cx="548640" cy="548640"/>
                <a:chOff x="6244995" y="1888756"/>
                <a:chExt cx="548640" cy="548640"/>
              </a:xfrm>
            </p:grpSpPr>
            <p:sp>
              <p:nvSpPr>
                <p:cNvPr id="276" name="Oval 275">
                  <a:extLst>
                    <a:ext uri="{FF2B5EF4-FFF2-40B4-BE49-F238E27FC236}">
                      <a16:creationId xmlns:a16="http://schemas.microsoft.com/office/drawing/2014/main" id="{2D0F0881-8675-4696-A240-A9331FD87160}"/>
                    </a:ext>
                  </a:extLst>
                </p:cNvPr>
                <p:cNvSpPr/>
                <p:nvPr/>
              </p:nvSpPr>
              <p:spPr>
                <a:xfrm>
                  <a:off x="6244995" y="1888756"/>
                  <a:ext cx="548640" cy="548640"/>
                </a:xfrm>
                <a:prstGeom prst="ellipse">
                  <a:avLst/>
                </a:prstGeom>
                <a:gradFill flip="none" rotWithShape="1">
                  <a:gsLst>
                    <a:gs pos="92537">
                      <a:schemeClr val="accent3">
                        <a:lumMod val="20000"/>
                        <a:lumOff val="80000"/>
                      </a:schemeClr>
                    </a:gs>
                    <a:gs pos="48000">
                      <a:srgbClr val="ACE6B6">
                        <a:lumMod val="5000"/>
                        <a:lumOff val="95000"/>
                      </a:srgbClr>
                    </a:gs>
                    <a:gs pos="74000">
                      <a:schemeClr val="accent3">
                        <a:lumMod val="20000"/>
                        <a:lumOff val="80000"/>
                      </a:schemeClr>
                    </a:gs>
                    <a:gs pos="83000">
                      <a:schemeClr val="accent3">
                        <a:lumMod val="20000"/>
                        <a:lumOff val="80000"/>
                      </a:schemeClr>
                    </a:gs>
                    <a:gs pos="100000">
                      <a:schemeClr val="accent3">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pic>
              <p:nvPicPr>
                <p:cNvPr id="277" name="Picture 6">
                  <a:extLst>
                    <a:ext uri="{FF2B5EF4-FFF2-40B4-BE49-F238E27FC236}">
                      <a16:creationId xmlns:a16="http://schemas.microsoft.com/office/drawing/2014/main" id="{17A324ED-82BC-49FA-894C-CB6E8EE129F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336435" y="1960617"/>
                  <a:ext cx="365760" cy="40491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46" name="Rectangle 245">
              <a:extLst>
                <a:ext uri="{FF2B5EF4-FFF2-40B4-BE49-F238E27FC236}">
                  <a16:creationId xmlns:a16="http://schemas.microsoft.com/office/drawing/2014/main" id="{863A28E6-72CE-410A-8911-65497E70C3BC}"/>
                </a:ext>
              </a:extLst>
            </p:cNvPr>
            <p:cNvSpPr/>
            <p:nvPr/>
          </p:nvSpPr>
          <p:spPr>
            <a:xfrm>
              <a:off x="6195510" y="3322687"/>
              <a:ext cx="5854700" cy="752475"/>
            </a:xfrm>
            <a:prstGeom prst="rect">
              <a:avLst/>
            </a:prstGeom>
            <a:solidFill>
              <a:srgbClr val="FFFFFF"/>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GDP (total)</a:t>
              </a:r>
              <a:r>
                <a:rPr kumimoji="0" lang="en-US" sz="1600" b="0" i="0" u="none" strike="noStrike" kern="0" cap="none" spc="0" normalizeH="0" baseline="30000" noProof="0" dirty="0">
                  <a:ln>
                    <a:noFill/>
                  </a:ln>
                  <a:solidFill>
                    <a:srgbClr val="000000"/>
                  </a:solidFill>
                  <a:effectLst/>
                  <a:uLnTx/>
                  <a:uFillTx/>
                  <a:latin typeface="Gill Sans MT" panose="020B0502020104020203"/>
                  <a:ea typeface="+mn-ea"/>
                  <a:cs typeface="Arial" pitchFamily="34"/>
                </a:rPr>
                <a:t>2</a:t>
              </a:r>
              <a:endPar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endParaRPr>
            </a:p>
          </p:txBody>
        </p:sp>
        <p:sp>
          <p:nvSpPr>
            <p:cNvPr id="247" name="Rectangle: Rounded Corners 16">
              <a:extLst>
                <a:ext uri="{FF2B5EF4-FFF2-40B4-BE49-F238E27FC236}">
                  <a16:creationId xmlns:a16="http://schemas.microsoft.com/office/drawing/2014/main" id="{E085F0BA-B1A8-4CB4-9EB9-9961980977DC}"/>
                </a:ext>
              </a:extLst>
            </p:cNvPr>
            <p:cNvSpPr/>
            <p:nvPr/>
          </p:nvSpPr>
          <p:spPr>
            <a:xfrm>
              <a:off x="10053988" y="3414241"/>
              <a:ext cx="1912790" cy="601664"/>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accent3">
                <a:lumMod val="75000"/>
              </a:schemeClr>
            </a:solidFill>
            <a:ln cap="flat">
              <a:solidFill>
                <a:schemeClr val="accent3">
                  <a:lumMod val="7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dirty="0">
                  <a:ln>
                    <a:noFill/>
                  </a:ln>
                  <a:solidFill>
                    <a:srgbClr val="FFFFFF"/>
                  </a:solidFill>
                  <a:effectLst/>
                  <a:uLnTx/>
                  <a:uFillTx/>
                  <a:latin typeface="Gill Sans MT" panose="020B0502020104020203"/>
                  <a:ea typeface="+mn-ea"/>
                  <a:cs typeface="Arial" pitchFamily="34"/>
                </a:rPr>
                <a:t>$2.9billion </a:t>
              </a:r>
            </a:p>
          </p:txBody>
        </p:sp>
        <p:grpSp>
          <p:nvGrpSpPr>
            <p:cNvPr id="248" name="Group 247">
              <a:extLst>
                <a:ext uri="{FF2B5EF4-FFF2-40B4-BE49-F238E27FC236}">
                  <a16:creationId xmlns:a16="http://schemas.microsoft.com/office/drawing/2014/main" id="{D2954FC1-3370-4817-9FE0-1BF5D433DEF4}"/>
                </a:ext>
              </a:extLst>
            </p:cNvPr>
            <p:cNvGrpSpPr/>
            <p:nvPr/>
          </p:nvGrpSpPr>
          <p:grpSpPr>
            <a:xfrm>
              <a:off x="6251815" y="3440751"/>
              <a:ext cx="548640" cy="548640"/>
              <a:chOff x="6244995" y="3486469"/>
              <a:chExt cx="548640" cy="548640"/>
            </a:xfrm>
          </p:grpSpPr>
          <p:sp>
            <p:nvSpPr>
              <p:cNvPr id="271" name="Oval 270">
                <a:extLst>
                  <a:ext uri="{FF2B5EF4-FFF2-40B4-BE49-F238E27FC236}">
                    <a16:creationId xmlns:a16="http://schemas.microsoft.com/office/drawing/2014/main" id="{21AC85EA-7AB6-4DC9-8F1D-5BD280D392CD}"/>
                  </a:ext>
                </a:extLst>
              </p:cNvPr>
              <p:cNvSpPr/>
              <p:nvPr/>
            </p:nvSpPr>
            <p:spPr>
              <a:xfrm>
                <a:off x="6244995" y="3486469"/>
                <a:ext cx="548640" cy="548640"/>
              </a:xfrm>
              <a:prstGeom prst="ellipse">
                <a:avLst/>
              </a:prstGeom>
              <a:gradFill flip="none" rotWithShape="1">
                <a:gsLst>
                  <a:gs pos="92537">
                    <a:schemeClr val="accent3">
                      <a:lumMod val="20000"/>
                      <a:lumOff val="80000"/>
                    </a:schemeClr>
                  </a:gs>
                  <a:gs pos="48000">
                    <a:srgbClr val="ACE6B6">
                      <a:lumMod val="5000"/>
                      <a:lumOff val="95000"/>
                    </a:srgbClr>
                  </a:gs>
                  <a:gs pos="74000">
                    <a:schemeClr val="accent3">
                      <a:lumMod val="20000"/>
                      <a:lumOff val="80000"/>
                    </a:schemeClr>
                  </a:gs>
                  <a:gs pos="83000">
                    <a:schemeClr val="accent3">
                      <a:lumMod val="20000"/>
                      <a:lumOff val="80000"/>
                    </a:schemeClr>
                  </a:gs>
                  <a:gs pos="100000">
                    <a:schemeClr val="accent3">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pic>
            <p:nvPicPr>
              <p:cNvPr id="272" name="Picture 10">
                <a:extLst>
                  <a:ext uri="{FF2B5EF4-FFF2-40B4-BE49-F238E27FC236}">
                    <a16:creationId xmlns:a16="http://schemas.microsoft.com/office/drawing/2014/main" id="{5E23D370-9084-49E6-A12C-5F34C2DA071F}"/>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336435" y="3558330"/>
                <a:ext cx="365760" cy="4049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9" name="Group 248">
              <a:extLst>
                <a:ext uri="{FF2B5EF4-FFF2-40B4-BE49-F238E27FC236}">
                  <a16:creationId xmlns:a16="http://schemas.microsoft.com/office/drawing/2014/main" id="{45B3132A-DE3F-4AF0-BB98-A1259553BBC9}"/>
                </a:ext>
              </a:extLst>
            </p:cNvPr>
            <p:cNvGrpSpPr/>
            <p:nvPr/>
          </p:nvGrpSpPr>
          <p:grpSpPr>
            <a:xfrm>
              <a:off x="6195510" y="4112427"/>
              <a:ext cx="5854700" cy="752475"/>
              <a:chOff x="6195510" y="4143391"/>
              <a:chExt cx="5854700" cy="752475"/>
            </a:xfrm>
          </p:grpSpPr>
          <p:sp>
            <p:nvSpPr>
              <p:cNvPr id="266" name="Rectangle 265">
                <a:extLst>
                  <a:ext uri="{FF2B5EF4-FFF2-40B4-BE49-F238E27FC236}">
                    <a16:creationId xmlns:a16="http://schemas.microsoft.com/office/drawing/2014/main" id="{B2FE42A9-D37D-486A-BDA1-56A9EF2AC412}"/>
                  </a:ext>
                </a:extLst>
              </p:cNvPr>
              <p:cNvSpPr/>
              <p:nvPr/>
            </p:nvSpPr>
            <p:spPr>
              <a:xfrm>
                <a:off x="6195510" y="4143391"/>
                <a:ext cx="5854700" cy="752475"/>
              </a:xfrm>
              <a:prstGeom prst="rect">
                <a:avLst/>
              </a:prstGeom>
              <a:solidFill>
                <a:srgbClr val="FFFFFF"/>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Poverty rate</a:t>
                </a:r>
                <a:r>
                  <a:rPr kumimoji="0" lang="en-US" sz="1600" b="0" i="0" u="none" strike="noStrike" kern="0" cap="none" spc="0" normalizeH="0" baseline="30000" noProof="0" dirty="0">
                    <a:ln>
                      <a:noFill/>
                    </a:ln>
                    <a:solidFill>
                      <a:srgbClr val="000000"/>
                    </a:solidFill>
                    <a:effectLst/>
                    <a:uLnTx/>
                    <a:uFillTx/>
                    <a:latin typeface="Gill Sans MT" panose="020B0502020104020203"/>
                    <a:ea typeface="+mn-ea"/>
                    <a:cs typeface="Arial" pitchFamily="34"/>
                  </a:rPr>
                  <a:t>3</a:t>
                </a: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 </a:t>
                </a:r>
              </a:p>
            </p:txBody>
          </p:sp>
          <p:sp>
            <p:nvSpPr>
              <p:cNvPr id="267" name="Rectangle: Rounded Corners 16">
                <a:extLst>
                  <a:ext uri="{FF2B5EF4-FFF2-40B4-BE49-F238E27FC236}">
                    <a16:creationId xmlns:a16="http://schemas.microsoft.com/office/drawing/2014/main" id="{62FF0EB7-D779-4958-9C8D-3747F9158701}"/>
                  </a:ext>
                </a:extLst>
              </p:cNvPr>
              <p:cNvSpPr/>
              <p:nvPr/>
            </p:nvSpPr>
            <p:spPr>
              <a:xfrm>
                <a:off x="10053989" y="4218797"/>
                <a:ext cx="1912790" cy="601663"/>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accent3">
                  <a:lumMod val="75000"/>
                </a:schemeClr>
              </a:solidFill>
              <a:ln cap="flat">
                <a:solidFill>
                  <a:schemeClr val="accent3">
                    <a:lumMod val="7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1" i="0" u="none" strike="noStrike" kern="0" cap="none" spc="0" normalizeH="0" baseline="0" noProof="0" dirty="0">
                    <a:ln>
                      <a:noFill/>
                    </a:ln>
                    <a:solidFill>
                      <a:srgbClr val="FFFFFF"/>
                    </a:solidFill>
                    <a:effectLst/>
                    <a:uLnTx/>
                    <a:uFillTx/>
                    <a:latin typeface="Gill Sans MT" panose="020B0502020104020203"/>
                    <a:ea typeface="+mn-ea"/>
                    <a:cs typeface="Arial" pitchFamily="34"/>
                  </a:rPr>
                  <a:t>79.76%</a:t>
                </a:r>
              </a:p>
            </p:txBody>
          </p:sp>
          <p:grpSp>
            <p:nvGrpSpPr>
              <p:cNvPr id="268" name="Group 267">
                <a:extLst>
                  <a:ext uri="{FF2B5EF4-FFF2-40B4-BE49-F238E27FC236}">
                    <a16:creationId xmlns:a16="http://schemas.microsoft.com/office/drawing/2014/main" id="{8DE8AD17-4900-43D7-AF98-CC5F37A34137}"/>
                  </a:ext>
                </a:extLst>
              </p:cNvPr>
              <p:cNvGrpSpPr/>
              <p:nvPr/>
            </p:nvGrpSpPr>
            <p:grpSpPr>
              <a:xfrm>
                <a:off x="6251815" y="4245308"/>
                <a:ext cx="548640" cy="548640"/>
                <a:chOff x="6244995" y="4291028"/>
                <a:chExt cx="548640" cy="548640"/>
              </a:xfrm>
            </p:grpSpPr>
            <p:sp>
              <p:nvSpPr>
                <p:cNvPr id="269" name="Oval 268">
                  <a:extLst>
                    <a:ext uri="{FF2B5EF4-FFF2-40B4-BE49-F238E27FC236}">
                      <a16:creationId xmlns:a16="http://schemas.microsoft.com/office/drawing/2014/main" id="{CA422493-5866-4CBC-B3AF-C4E2F38A36D8}"/>
                    </a:ext>
                  </a:extLst>
                </p:cNvPr>
                <p:cNvSpPr/>
                <p:nvPr/>
              </p:nvSpPr>
              <p:spPr>
                <a:xfrm>
                  <a:off x="6244995" y="4291028"/>
                  <a:ext cx="548640" cy="548640"/>
                </a:xfrm>
                <a:prstGeom prst="ellipse">
                  <a:avLst/>
                </a:prstGeom>
                <a:gradFill flip="none" rotWithShape="1">
                  <a:gsLst>
                    <a:gs pos="92537">
                      <a:schemeClr val="accent3">
                        <a:lumMod val="20000"/>
                        <a:lumOff val="80000"/>
                      </a:schemeClr>
                    </a:gs>
                    <a:gs pos="48000">
                      <a:srgbClr val="ACE6B6">
                        <a:lumMod val="5000"/>
                        <a:lumOff val="95000"/>
                      </a:srgbClr>
                    </a:gs>
                    <a:gs pos="74000">
                      <a:schemeClr val="accent3">
                        <a:lumMod val="20000"/>
                        <a:lumOff val="80000"/>
                      </a:schemeClr>
                    </a:gs>
                    <a:gs pos="83000">
                      <a:schemeClr val="accent3">
                        <a:lumMod val="20000"/>
                        <a:lumOff val="80000"/>
                      </a:schemeClr>
                    </a:gs>
                    <a:gs pos="100000">
                      <a:schemeClr val="accent3">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pic>
              <p:nvPicPr>
                <p:cNvPr id="270" name="Picture 14">
                  <a:extLst>
                    <a:ext uri="{FF2B5EF4-FFF2-40B4-BE49-F238E27FC236}">
                      <a16:creationId xmlns:a16="http://schemas.microsoft.com/office/drawing/2014/main" id="{3BCDB001-670D-4589-B1BA-1E6157778B63}"/>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336435" y="4362889"/>
                  <a:ext cx="365760" cy="40491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0" name="Group 249">
              <a:extLst>
                <a:ext uri="{FF2B5EF4-FFF2-40B4-BE49-F238E27FC236}">
                  <a16:creationId xmlns:a16="http://schemas.microsoft.com/office/drawing/2014/main" id="{A356FFE8-707B-4ADD-91AF-DC43ACCC7615}"/>
                </a:ext>
              </a:extLst>
            </p:cNvPr>
            <p:cNvGrpSpPr/>
            <p:nvPr/>
          </p:nvGrpSpPr>
          <p:grpSpPr>
            <a:xfrm>
              <a:off x="6195510" y="2533567"/>
              <a:ext cx="5854700" cy="751855"/>
              <a:chOff x="6195510" y="2524294"/>
              <a:chExt cx="5854700" cy="751855"/>
            </a:xfrm>
          </p:grpSpPr>
          <p:sp>
            <p:nvSpPr>
              <p:cNvPr id="259" name="Rectangle 258">
                <a:extLst>
                  <a:ext uri="{FF2B5EF4-FFF2-40B4-BE49-F238E27FC236}">
                    <a16:creationId xmlns:a16="http://schemas.microsoft.com/office/drawing/2014/main" id="{509AD4FD-BABE-4F1C-A618-382FCAFF1B0C}"/>
                  </a:ext>
                </a:extLst>
              </p:cNvPr>
              <p:cNvSpPr/>
              <p:nvPr/>
            </p:nvSpPr>
            <p:spPr>
              <a:xfrm>
                <a:off x="6195510" y="2524294"/>
                <a:ext cx="5854700" cy="751855"/>
              </a:xfrm>
              <a:prstGeom prst="rect">
                <a:avLst/>
              </a:prstGeom>
              <a:solidFill>
                <a:srgbClr val="FFFFFF"/>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 Literacy rate</a:t>
                </a:r>
                <a:r>
                  <a:rPr kumimoji="0" lang="en-US" sz="1600" b="0" i="0" u="none" strike="noStrike" kern="0" cap="none" spc="0" normalizeH="0" baseline="30000" noProof="0" dirty="0">
                    <a:ln>
                      <a:noFill/>
                    </a:ln>
                    <a:solidFill>
                      <a:srgbClr val="000000"/>
                    </a:solidFill>
                    <a:effectLst/>
                    <a:uLnTx/>
                    <a:uFillTx/>
                    <a:latin typeface="Gill Sans MT" panose="020B0502020104020203"/>
                    <a:ea typeface="+mn-ea"/>
                    <a:cs typeface="Arial" pitchFamily="34"/>
                  </a:rPr>
                  <a:t>2</a:t>
                </a: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  	</a:t>
                </a:r>
              </a:p>
            </p:txBody>
          </p:sp>
          <p:grpSp>
            <p:nvGrpSpPr>
              <p:cNvPr id="260" name="Group 259">
                <a:extLst>
                  <a:ext uri="{FF2B5EF4-FFF2-40B4-BE49-F238E27FC236}">
                    <a16:creationId xmlns:a16="http://schemas.microsoft.com/office/drawing/2014/main" id="{78BE0F7F-EE1F-4A97-B63F-66BCD9720ACA}"/>
                  </a:ext>
                </a:extLst>
              </p:cNvPr>
              <p:cNvGrpSpPr/>
              <p:nvPr/>
            </p:nvGrpSpPr>
            <p:grpSpPr>
              <a:xfrm>
                <a:off x="6251815" y="2625901"/>
                <a:ext cx="548640" cy="548640"/>
                <a:chOff x="6244995" y="2690839"/>
                <a:chExt cx="548640" cy="548640"/>
              </a:xfrm>
            </p:grpSpPr>
            <p:sp>
              <p:nvSpPr>
                <p:cNvPr id="264" name="Oval 263">
                  <a:extLst>
                    <a:ext uri="{FF2B5EF4-FFF2-40B4-BE49-F238E27FC236}">
                      <a16:creationId xmlns:a16="http://schemas.microsoft.com/office/drawing/2014/main" id="{D19C44AA-65EA-4C51-A896-3D375A43FF6E}"/>
                    </a:ext>
                  </a:extLst>
                </p:cNvPr>
                <p:cNvSpPr/>
                <p:nvPr/>
              </p:nvSpPr>
              <p:spPr>
                <a:xfrm>
                  <a:off x="6244995" y="2690839"/>
                  <a:ext cx="548640" cy="548640"/>
                </a:xfrm>
                <a:prstGeom prst="ellipse">
                  <a:avLst/>
                </a:prstGeom>
                <a:gradFill flip="none" rotWithShape="1">
                  <a:gsLst>
                    <a:gs pos="92537">
                      <a:schemeClr val="accent3">
                        <a:lumMod val="20000"/>
                        <a:lumOff val="80000"/>
                      </a:schemeClr>
                    </a:gs>
                    <a:gs pos="48000">
                      <a:srgbClr val="ACE6B6">
                        <a:lumMod val="5000"/>
                        <a:lumOff val="95000"/>
                      </a:srgbClr>
                    </a:gs>
                    <a:gs pos="74000">
                      <a:schemeClr val="accent3">
                        <a:lumMod val="20000"/>
                        <a:lumOff val="80000"/>
                      </a:schemeClr>
                    </a:gs>
                    <a:gs pos="83000">
                      <a:schemeClr val="accent3">
                        <a:lumMod val="20000"/>
                        <a:lumOff val="80000"/>
                      </a:schemeClr>
                    </a:gs>
                    <a:gs pos="100000">
                      <a:schemeClr val="accent3">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pic>
              <p:nvPicPr>
                <p:cNvPr id="265" name="Picture 8">
                  <a:extLst>
                    <a:ext uri="{FF2B5EF4-FFF2-40B4-BE49-F238E27FC236}">
                      <a16:creationId xmlns:a16="http://schemas.microsoft.com/office/drawing/2014/main" id="{C8DBEA8D-CEA4-419B-81B0-1A5DFF87C701}"/>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365345" y="2727309"/>
                  <a:ext cx="307940" cy="475701"/>
                </a:xfrm>
                <a:prstGeom prst="rect">
                  <a:avLst/>
                </a:prstGeom>
                <a:noFill/>
                <a:extLst>
                  <a:ext uri="{909E8E84-426E-40DD-AFC4-6F175D3DCCD1}">
                    <a14:hiddenFill xmlns:a14="http://schemas.microsoft.com/office/drawing/2010/main">
                      <a:solidFill>
                        <a:srgbClr val="FFFFFF"/>
                      </a:solidFill>
                    </a14:hiddenFill>
                  </a:ext>
                </a:extLst>
              </p:spPr>
            </p:pic>
          </p:grpSp>
          <p:sp>
            <p:nvSpPr>
              <p:cNvPr id="262" name="Rectangle: Rounded Corners 16">
                <a:extLst>
                  <a:ext uri="{FF2B5EF4-FFF2-40B4-BE49-F238E27FC236}">
                    <a16:creationId xmlns:a16="http://schemas.microsoft.com/office/drawing/2014/main" id="{802D7693-E580-465D-887C-006FC795F870}"/>
                  </a:ext>
                </a:extLst>
              </p:cNvPr>
              <p:cNvSpPr/>
              <p:nvPr/>
            </p:nvSpPr>
            <p:spPr>
              <a:xfrm>
                <a:off x="10053988" y="2599390"/>
                <a:ext cx="1912790" cy="601663"/>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accent3">
                  <a:lumMod val="75000"/>
                </a:schemeClr>
              </a:solidFill>
              <a:ln cap="flat">
                <a:solidFill>
                  <a:schemeClr val="accent3">
                    <a:lumMod val="7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1" u="none" strike="noStrike" kern="0" cap="none" spc="0" normalizeH="0" baseline="0" noProof="0" dirty="0">
                    <a:ln>
                      <a:noFill/>
                    </a:ln>
                    <a:solidFill>
                      <a:srgbClr val="FFFFFF"/>
                    </a:solidFill>
                    <a:effectLst/>
                    <a:uLnTx/>
                    <a:uFillTx/>
                    <a:latin typeface="Gill Sans MT" panose="020B0502020104020203"/>
                    <a:ea typeface="+mn-ea"/>
                    <a:cs typeface="Arial" pitchFamily="34"/>
                  </a:rPr>
                  <a:t>(Female) </a:t>
                </a:r>
                <a:r>
                  <a:rPr kumimoji="0" lang="en-US" sz="1600" b="1" i="0" u="none" strike="noStrike" kern="0" cap="none" spc="0" normalizeH="0" baseline="0" noProof="0" dirty="0">
                    <a:ln>
                      <a:noFill/>
                    </a:ln>
                    <a:solidFill>
                      <a:srgbClr val="FFFFFF"/>
                    </a:solidFill>
                    <a:effectLst/>
                    <a:uLnTx/>
                    <a:uFillTx/>
                    <a:latin typeface="Gill Sans MT" panose="020B0502020104020203"/>
                    <a:ea typeface="+mn-ea"/>
                    <a:cs typeface="Arial" pitchFamily="34"/>
                  </a:rPr>
                  <a:t>54.6%</a:t>
                </a:r>
              </a:p>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1" u="none" strike="noStrike" kern="0" cap="none" spc="0" normalizeH="0" baseline="0" noProof="0" dirty="0">
                    <a:ln>
                      <a:noFill/>
                    </a:ln>
                    <a:solidFill>
                      <a:srgbClr val="FFFFFF"/>
                    </a:solidFill>
                    <a:effectLst/>
                    <a:uLnTx/>
                    <a:uFillTx/>
                    <a:latin typeface="Gill Sans MT" panose="020B0502020104020203"/>
                    <a:ea typeface="+mn-ea"/>
                    <a:cs typeface="Arial" pitchFamily="34"/>
                  </a:rPr>
                  <a:t>(Male) </a:t>
                </a:r>
                <a:r>
                  <a:rPr kumimoji="0" lang="en-US" sz="1600" b="1" i="0" u="none" strike="noStrike" kern="0" cap="none" spc="0" normalizeH="0" baseline="0" noProof="0" dirty="0">
                    <a:ln>
                      <a:noFill/>
                    </a:ln>
                    <a:solidFill>
                      <a:srgbClr val="FFFFFF"/>
                    </a:solidFill>
                    <a:effectLst/>
                    <a:uLnTx/>
                    <a:uFillTx/>
                    <a:latin typeface="Gill Sans MT" panose="020B0502020104020203"/>
                    <a:ea typeface="+mn-ea"/>
                    <a:cs typeface="Arial" pitchFamily="34"/>
                  </a:rPr>
                  <a:t>82.4%</a:t>
                </a:r>
              </a:p>
            </p:txBody>
          </p:sp>
        </p:grpSp>
        <p:grpSp>
          <p:nvGrpSpPr>
            <p:cNvPr id="251" name="Group 250">
              <a:extLst>
                <a:ext uri="{FF2B5EF4-FFF2-40B4-BE49-F238E27FC236}">
                  <a16:creationId xmlns:a16="http://schemas.microsoft.com/office/drawing/2014/main" id="{2B8B3D68-5C4F-4C51-9CBB-DD9E9C61A381}"/>
                </a:ext>
              </a:extLst>
            </p:cNvPr>
            <p:cNvGrpSpPr/>
            <p:nvPr/>
          </p:nvGrpSpPr>
          <p:grpSpPr>
            <a:xfrm>
              <a:off x="6195510" y="4902163"/>
              <a:ext cx="5854700" cy="752475"/>
              <a:chOff x="6195510" y="4902163"/>
              <a:chExt cx="5854700" cy="752475"/>
            </a:xfrm>
          </p:grpSpPr>
          <p:sp>
            <p:nvSpPr>
              <p:cNvPr id="252" name="Rectangle 251">
                <a:extLst>
                  <a:ext uri="{FF2B5EF4-FFF2-40B4-BE49-F238E27FC236}">
                    <a16:creationId xmlns:a16="http://schemas.microsoft.com/office/drawing/2014/main" id="{5527F7A4-0781-40EB-B12B-4A64571E3AB9}"/>
                  </a:ext>
                </a:extLst>
              </p:cNvPr>
              <p:cNvSpPr/>
              <p:nvPr/>
            </p:nvSpPr>
            <p:spPr>
              <a:xfrm>
                <a:off x="6195510" y="4902163"/>
                <a:ext cx="5854700" cy="752475"/>
              </a:xfrm>
              <a:prstGeom prst="rect">
                <a:avLst/>
              </a:prstGeom>
              <a:solidFill>
                <a:srgbClr val="FFFFFF"/>
              </a:solidFill>
              <a:ln w="19050" cap="flat" cmpd="sng" algn="ctr">
                <a:solidFill>
                  <a:schemeClr val="tx1">
                    <a:lumMod val="50000"/>
                    <a:lumOff val="50000"/>
                  </a:schemeClr>
                </a:solidFill>
                <a:prstDash val="solid"/>
                <a:miter lim="800000"/>
              </a:ln>
              <a:effectLst>
                <a:outerShdw blurRad="50800" dist="38100" dir="2700000" algn="tl" rotWithShape="0">
                  <a:prstClr val="black">
                    <a:alpha val="40000"/>
                  </a:prstClr>
                </a:outerShdw>
              </a:effectLst>
            </p:spPr>
            <p:txBody>
              <a:bodyPr lIns="731520" rIns="1188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 Urban/rural</a:t>
                </a:r>
                <a:r>
                  <a:rPr kumimoji="0" lang="en-US" sz="1600" b="0" i="0" u="none" strike="noStrike" kern="0" cap="none" spc="0" normalizeH="0" baseline="30000" noProof="0" dirty="0">
                    <a:ln>
                      <a:noFill/>
                    </a:ln>
                    <a:solidFill>
                      <a:srgbClr val="000000"/>
                    </a:solidFill>
                    <a:effectLst/>
                    <a:uLnTx/>
                    <a:uFillTx/>
                    <a:latin typeface="Gill Sans MT" panose="020B0502020104020203"/>
                    <a:ea typeface="+mn-ea"/>
                    <a:cs typeface="Arial" pitchFamily="34"/>
                  </a:rPr>
                  <a:t>4</a:t>
                </a:r>
                <a:r>
                  <a:rPr kumimoji="0" lang="en-US" sz="1600" b="0" i="0" u="none" strike="noStrike" kern="0" cap="none" spc="0" normalizeH="0" baseline="0" noProof="0" dirty="0">
                    <a:ln>
                      <a:noFill/>
                    </a:ln>
                    <a:solidFill>
                      <a:srgbClr val="000000"/>
                    </a:solidFill>
                    <a:effectLst/>
                    <a:uLnTx/>
                    <a:uFillTx/>
                    <a:latin typeface="Gill Sans MT" panose="020B0502020104020203"/>
                    <a:ea typeface="+mn-ea"/>
                    <a:cs typeface="Arial" pitchFamily="34"/>
                  </a:rPr>
                  <a:t> </a:t>
                </a:r>
              </a:p>
            </p:txBody>
          </p:sp>
          <p:grpSp>
            <p:nvGrpSpPr>
              <p:cNvPr id="253" name="Group 252">
                <a:extLst>
                  <a:ext uri="{FF2B5EF4-FFF2-40B4-BE49-F238E27FC236}">
                    <a16:creationId xmlns:a16="http://schemas.microsoft.com/office/drawing/2014/main" id="{033F724E-BCED-49F1-B49B-3BD17342ED27}"/>
                  </a:ext>
                </a:extLst>
              </p:cNvPr>
              <p:cNvGrpSpPr/>
              <p:nvPr/>
            </p:nvGrpSpPr>
            <p:grpSpPr>
              <a:xfrm>
                <a:off x="6251815" y="5004080"/>
                <a:ext cx="548640" cy="548640"/>
                <a:chOff x="6244995" y="5053641"/>
                <a:chExt cx="548640" cy="548640"/>
              </a:xfrm>
            </p:grpSpPr>
            <p:sp>
              <p:nvSpPr>
                <p:cNvPr id="257" name="Oval 256">
                  <a:extLst>
                    <a:ext uri="{FF2B5EF4-FFF2-40B4-BE49-F238E27FC236}">
                      <a16:creationId xmlns:a16="http://schemas.microsoft.com/office/drawing/2014/main" id="{CCF3882A-2E06-42EF-8490-5EA732B5C4AF}"/>
                    </a:ext>
                  </a:extLst>
                </p:cNvPr>
                <p:cNvSpPr/>
                <p:nvPr/>
              </p:nvSpPr>
              <p:spPr>
                <a:xfrm>
                  <a:off x="6244995" y="5053641"/>
                  <a:ext cx="548640" cy="548640"/>
                </a:xfrm>
                <a:prstGeom prst="ellipse">
                  <a:avLst/>
                </a:prstGeom>
                <a:gradFill flip="none" rotWithShape="1">
                  <a:gsLst>
                    <a:gs pos="92537">
                      <a:schemeClr val="accent3">
                        <a:lumMod val="20000"/>
                        <a:lumOff val="80000"/>
                      </a:schemeClr>
                    </a:gs>
                    <a:gs pos="48000">
                      <a:srgbClr val="ACE6B6">
                        <a:lumMod val="5000"/>
                        <a:lumOff val="95000"/>
                      </a:srgbClr>
                    </a:gs>
                    <a:gs pos="74000">
                      <a:schemeClr val="accent3">
                        <a:lumMod val="20000"/>
                        <a:lumOff val="80000"/>
                      </a:schemeClr>
                    </a:gs>
                    <a:gs pos="83000">
                      <a:schemeClr val="accent3">
                        <a:lumMod val="20000"/>
                        <a:lumOff val="80000"/>
                      </a:schemeClr>
                    </a:gs>
                    <a:gs pos="100000">
                      <a:schemeClr val="accent3">
                        <a:lumMod val="20000"/>
                        <a:lumOff val="80000"/>
                      </a:schemeClr>
                    </a:gs>
                  </a:gsLst>
                  <a:lin ang="2700000" scaled="1"/>
                  <a:tileRect/>
                </a:gra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dirty="0">
                    <a:ln>
                      <a:noFill/>
                    </a:ln>
                    <a:solidFill>
                      <a:prstClr val="white"/>
                    </a:solidFill>
                    <a:effectLst/>
                    <a:uLnTx/>
                    <a:uFillTx/>
                    <a:latin typeface="Gill Sans MT" panose="020B0502020104020203"/>
                    <a:ea typeface="+mn-ea"/>
                    <a:cs typeface="+mn-cs"/>
                  </a:endParaRPr>
                </a:p>
              </p:txBody>
            </p:sp>
            <p:pic>
              <p:nvPicPr>
                <p:cNvPr id="258" name="Picture 12">
                  <a:extLst>
                    <a:ext uri="{FF2B5EF4-FFF2-40B4-BE49-F238E27FC236}">
                      <a16:creationId xmlns:a16="http://schemas.microsoft.com/office/drawing/2014/main" id="{EC07E568-26A4-4ADA-B107-6CF8FEC03083}"/>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336435" y="5125502"/>
                  <a:ext cx="365760" cy="404919"/>
                </a:xfrm>
                <a:prstGeom prst="rect">
                  <a:avLst/>
                </a:prstGeom>
                <a:noFill/>
                <a:extLst>
                  <a:ext uri="{909E8E84-426E-40DD-AFC4-6F175D3DCCD1}">
                    <a14:hiddenFill xmlns:a14="http://schemas.microsoft.com/office/drawing/2010/main">
                      <a:solidFill>
                        <a:srgbClr val="FFFFFF"/>
                      </a:solidFill>
                    </a14:hiddenFill>
                  </a:ext>
                </a:extLst>
              </p:spPr>
            </p:pic>
          </p:grpSp>
          <p:sp>
            <p:nvSpPr>
              <p:cNvPr id="255" name="Rectangle: Rounded Corners 16">
                <a:extLst>
                  <a:ext uri="{FF2B5EF4-FFF2-40B4-BE49-F238E27FC236}">
                    <a16:creationId xmlns:a16="http://schemas.microsoft.com/office/drawing/2014/main" id="{16E2B38B-37BA-4BC5-99AA-56ABF5A9A9B6}"/>
                  </a:ext>
                </a:extLst>
              </p:cNvPr>
              <p:cNvSpPr/>
              <p:nvPr/>
            </p:nvSpPr>
            <p:spPr>
              <a:xfrm>
                <a:off x="10053988" y="4977659"/>
                <a:ext cx="1912790" cy="601482"/>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solidFill>
                <a:schemeClr val="accent3">
                  <a:lumMod val="75000"/>
                </a:schemeClr>
              </a:solidFill>
              <a:ln cap="flat">
                <a:solidFill>
                  <a:schemeClr val="accent3">
                    <a:lumMod val="75000"/>
                  </a:schemeClr>
                </a:solidFill>
                <a:prstDash val="solid"/>
              </a:ln>
            </p:spPr>
            <p:txBody>
              <a:bodyPr vert="horz" wrap="square" lIns="91440" tIns="45720" rIns="91440" bIns="4572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1" u="none" strike="noStrike" kern="0" cap="none" spc="0" normalizeH="0" baseline="0" noProof="0" dirty="0">
                    <a:ln>
                      <a:noFill/>
                    </a:ln>
                    <a:solidFill>
                      <a:srgbClr val="FFFFFF"/>
                    </a:solidFill>
                    <a:effectLst/>
                    <a:uLnTx/>
                    <a:uFillTx/>
                    <a:latin typeface="Gill Sans MT" panose="020B0502020104020203"/>
                    <a:ea typeface="+mn-ea"/>
                    <a:cs typeface="Arial" pitchFamily="34"/>
                  </a:rPr>
                  <a:t>(Urban) </a:t>
                </a:r>
                <a:r>
                  <a:rPr kumimoji="0" lang="en-US" sz="1600" b="1" i="1" u="none" strike="noStrike" kern="0" cap="none" spc="0" normalizeH="0" baseline="0" noProof="0" dirty="0">
                    <a:ln>
                      <a:noFill/>
                    </a:ln>
                    <a:solidFill>
                      <a:srgbClr val="FFFFFF"/>
                    </a:solidFill>
                    <a:effectLst/>
                    <a:uLnTx/>
                    <a:uFillTx/>
                    <a:latin typeface="Gill Sans MT" panose="020B0502020104020203"/>
                    <a:ea typeface="+mn-ea"/>
                    <a:cs typeface="Arial" pitchFamily="34"/>
                  </a:rPr>
                  <a:t>25</a:t>
                </a:r>
                <a:r>
                  <a:rPr kumimoji="0" lang="en-US" sz="1600" b="1" i="0" u="none" strike="noStrike" kern="0" cap="none" spc="0" normalizeH="0" baseline="0" noProof="0" dirty="0">
                    <a:ln>
                      <a:noFill/>
                    </a:ln>
                    <a:solidFill>
                      <a:srgbClr val="FFFFFF"/>
                    </a:solidFill>
                    <a:effectLst/>
                    <a:uLnTx/>
                    <a:uFillTx/>
                    <a:latin typeface="Gill Sans MT" panose="020B0502020104020203"/>
                    <a:ea typeface="+mn-ea"/>
                    <a:cs typeface="Arial" pitchFamily="34"/>
                  </a:rPr>
                  <a:t>%</a:t>
                </a:r>
              </a:p>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1" u="none" strike="noStrike" kern="0" cap="none" spc="0" normalizeH="0" baseline="0" noProof="0" dirty="0">
                    <a:ln>
                      <a:noFill/>
                    </a:ln>
                    <a:solidFill>
                      <a:srgbClr val="FFFFFF"/>
                    </a:solidFill>
                    <a:effectLst/>
                    <a:uLnTx/>
                    <a:uFillTx/>
                    <a:latin typeface="Gill Sans MT" panose="020B0502020104020203"/>
                    <a:ea typeface="+mn-ea"/>
                    <a:cs typeface="Arial" pitchFamily="34"/>
                  </a:rPr>
                  <a:t>(Rural) </a:t>
                </a:r>
                <a:r>
                  <a:rPr kumimoji="0" lang="en-US" sz="1600" b="1" i="1" u="none" strike="noStrike" kern="0" cap="none" spc="0" normalizeH="0" baseline="0" noProof="0" dirty="0">
                    <a:ln>
                      <a:noFill/>
                    </a:ln>
                    <a:solidFill>
                      <a:srgbClr val="FFFFFF"/>
                    </a:solidFill>
                    <a:effectLst/>
                    <a:uLnTx/>
                    <a:uFillTx/>
                    <a:latin typeface="Gill Sans MT" panose="020B0502020104020203"/>
                    <a:ea typeface="+mn-ea"/>
                    <a:cs typeface="Arial" pitchFamily="34"/>
                  </a:rPr>
                  <a:t>75</a:t>
                </a:r>
                <a:r>
                  <a:rPr kumimoji="0" lang="en-US" sz="1600" b="1" i="0" u="none" strike="noStrike" kern="0" cap="none" spc="0" normalizeH="0" baseline="0" noProof="0" dirty="0">
                    <a:ln>
                      <a:noFill/>
                    </a:ln>
                    <a:solidFill>
                      <a:srgbClr val="FFFFFF"/>
                    </a:solidFill>
                    <a:effectLst/>
                    <a:uLnTx/>
                    <a:uFillTx/>
                    <a:latin typeface="Gill Sans MT" panose="020B0502020104020203"/>
                    <a:ea typeface="+mn-ea"/>
                    <a:cs typeface="Arial" pitchFamily="34"/>
                  </a:rPr>
                  <a:t>%</a:t>
                </a:r>
              </a:p>
            </p:txBody>
          </p:sp>
        </p:grpSp>
      </p:grpSp>
      <p:sp>
        <p:nvSpPr>
          <p:cNvPr id="242" name="TextBox 241">
            <a:extLst>
              <a:ext uri="{FF2B5EF4-FFF2-40B4-BE49-F238E27FC236}">
                <a16:creationId xmlns:a16="http://schemas.microsoft.com/office/drawing/2014/main" id="{9E7C7617-8250-4547-98B3-3DE3A8DF503A}"/>
              </a:ext>
            </a:extLst>
          </p:cNvPr>
          <p:cNvSpPr txBox="1"/>
          <p:nvPr/>
        </p:nvSpPr>
        <p:spPr>
          <a:xfrm>
            <a:off x="460851" y="5734402"/>
            <a:ext cx="11270299" cy="736293"/>
          </a:xfrm>
          <a:prstGeom prst="rect">
            <a:avLst/>
          </a:prstGeom>
          <a:solidFill>
            <a:schemeClr val="bg1">
              <a:lumMod val="95000"/>
            </a:schemeClr>
          </a:solidFill>
          <a:ln w="9525">
            <a:solidFill>
              <a:srgbClr val="FFFFFF">
                <a:lumMod val="75000"/>
              </a:srgbClr>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Ebonyi is a predominately rural state (75% compared to 25%) creating barriers to acces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A significant portion (~80%) of the population lives in poverty making private investment in expanding services challenging without adequate incentive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Low female literacy rates also result in knowledge barriers about health and influence care-seeking behaviors</a:t>
            </a:r>
          </a:p>
        </p:txBody>
      </p:sp>
      <p:sp>
        <p:nvSpPr>
          <p:cNvPr id="19" name="Rectangle 18">
            <a:extLst>
              <a:ext uri="{FF2B5EF4-FFF2-40B4-BE49-F238E27FC236}">
                <a16:creationId xmlns:a16="http://schemas.microsoft.com/office/drawing/2014/main" id="{B4D4EF4A-73DA-E43B-C98F-E2C3D29CE86C}"/>
              </a:ext>
            </a:extLst>
          </p:cNvPr>
          <p:cNvSpPr/>
          <p:nvPr/>
        </p:nvSpPr>
        <p:spPr bwMode="auto">
          <a:xfrm>
            <a:off x="-1" y="71390"/>
            <a:ext cx="4358473"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0"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Maternal and Newborn Health Indices – State background</a:t>
            </a:r>
          </a:p>
        </p:txBody>
      </p:sp>
      <p:sp>
        <p:nvSpPr>
          <p:cNvPr id="20" name="Title 1">
            <a:extLst>
              <a:ext uri="{FF2B5EF4-FFF2-40B4-BE49-F238E27FC236}">
                <a16:creationId xmlns:a16="http://schemas.microsoft.com/office/drawing/2014/main" id="{31A1424E-B0F8-CBED-9248-2AD9A3D5137D}"/>
              </a:ext>
            </a:extLst>
          </p:cNvPr>
          <p:cNvSpPr>
            <a:spLocks noGrp="1"/>
          </p:cNvSpPr>
          <p:nvPr>
            <p:ph type="title"/>
          </p:nvPr>
        </p:nvSpPr>
        <p:spPr>
          <a:xfrm>
            <a:off x="215006" y="245162"/>
            <a:ext cx="11270299" cy="1005840"/>
          </a:xfrm>
        </p:spPr>
        <p:txBody>
          <a:bodyPr vert="horz">
            <a:noAutofit/>
          </a:body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rPr>
              <a:t>Ebonyi is a mostly rural state, with a large youth population, and significant percentage of population below the poverty line</a:t>
            </a:r>
          </a:p>
        </p:txBody>
      </p:sp>
    </p:spTree>
    <p:extLst>
      <p:ext uri="{BB962C8B-B14F-4D97-AF65-F5344CB8AC3E}">
        <p14:creationId xmlns:p14="http://schemas.microsoft.com/office/powerpoint/2010/main" val="885634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498" imgH="499" progId="TCLayout.ActiveDocument.1">
                  <p:embed/>
                </p:oleObj>
              </mc:Choice>
              <mc:Fallback>
                <p:oleObj name="think-cell Slide" r:id="rId59"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120" name="Rectangle 119">
            <a:extLst>
              <a:ext uri="{FF2B5EF4-FFF2-40B4-BE49-F238E27FC236}">
                <a16:creationId xmlns:a16="http://schemas.microsoft.com/office/drawing/2014/main" id="{0E819DB7-CB1F-A19D-BD81-602D4218E4B5}"/>
              </a:ext>
            </a:extLst>
          </p:cNvPr>
          <p:cNvSpPr/>
          <p:nvPr/>
        </p:nvSpPr>
        <p:spPr bwMode="auto">
          <a:xfrm>
            <a:off x="6853287" y="1183760"/>
            <a:ext cx="5191076" cy="365760"/>
          </a:xfrm>
          <a:prstGeom prst="rect">
            <a:avLst/>
          </a:prstGeom>
          <a:gradFill>
            <a:gsLst>
              <a:gs pos="0">
                <a:srgbClr val="78AEAC"/>
              </a:gs>
              <a:gs pos="65000">
                <a:srgbClr val="4AA19E">
                  <a:tint val="44500"/>
                  <a:satMod val="160000"/>
                </a:srgbClr>
              </a:gs>
              <a:gs pos="100000">
                <a:srgbClr val="4AA19E">
                  <a:tint val="23500"/>
                  <a:satMod val="160000"/>
                </a:srgbClr>
              </a:gs>
            </a:gsLst>
            <a:lin ang="0" scaled="1"/>
          </a:gra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Newborn Health </a:t>
            </a:r>
          </a:p>
        </p:txBody>
      </p:sp>
      <p:pic>
        <p:nvPicPr>
          <p:cNvPr id="6" name="Picture 134">
            <a:extLst>
              <a:ext uri="{FF2B5EF4-FFF2-40B4-BE49-F238E27FC236}">
                <a16:creationId xmlns:a16="http://schemas.microsoft.com/office/drawing/2014/main" id="{70F94E93-4E42-4D5F-8004-FA1BE5D0255B}"/>
              </a:ext>
            </a:extLst>
          </p:cNvPr>
          <p:cNvPicPr>
            <a:picLocks noChangeAspect="1" noChangeArrowheads="1"/>
          </p:cNvPicPr>
          <p:nvPr/>
        </p:nvPicPr>
        <p:blipFill>
          <a:blip r:embed="rId61" cstate="print">
            <a:grayscl/>
            <a:extLst>
              <a:ext uri="{BEBA8EAE-BF5A-486C-A8C5-ECC9F3942E4B}">
                <a14:imgProps xmlns:a14="http://schemas.microsoft.com/office/drawing/2010/main">
                  <a14:imgLayer r:embed="rId62">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67733" y="1781060"/>
            <a:ext cx="12029017" cy="39877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CF15DE0D-17EB-4EB1-8C4E-310A25E04A87}"/>
              </a:ext>
            </a:extLst>
          </p:cNvPr>
          <p:cNvSpPr txBox="1"/>
          <p:nvPr/>
        </p:nvSpPr>
        <p:spPr>
          <a:xfrm>
            <a:off x="85933" y="6712380"/>
            <a:ext cx="11521440" cy="1381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a:rPr>
              <a:t>Source: Team analysis	1. MICS Reports, 2021     2 NDHS 2018</a:t>
            </a:r>
          </a:p>
        </p:txBody>
      </p:sp>
      <p:graphicFrame>
        <p:nvGraphicFramePr>
          <p:cNvPr id="163" name="Chart 162">
            <a:extLst>
              <a:ext uri="{FF2B5EF4-FFF2-40B4-BE49-F238E27FC236}">
                <a16:creationId xmlns:a16="http://schemas.microsoft.com/office/drawing/2014/main" id="{F66E7AFA-EFC6-4F27-81F4-15F7F4167087}"/>
              </a:ext>
            </a:extLst>
          </p:cNvPr>
          <p:cNvGraphicFramePr/>
          <p:nvPr>
            <p:custDataLst>
              <p:tags r:id="rId2"/>
            </p:custDataLst>
          </p:nvPr>
        </p:nvGraphicFramePr>
        <p:xfrm>
          <a:off x="131763" y="2805113"/>
          <a:ext cx="6492875" cy="1085850"/>
        </p:xfrm>
        <a:graphic>
          <a:graphicData uri="http://schemas.openxmlformats.org/drawingml/2006/chart">
            <c:chart xmlns:c="http://schemas.openxmlformats.org/drawingml/2006/chart" xmlns:r="http://schemas.openxmlformats.org/officeDocument/2006/relationships" r:id="rId63"/>
          </a:graphicData>
        </a:graphic>
      </p:graphicFrame>
      <p:sp>
        <p:nvSpPr>
          <p:cNvPr id="30" name="Rectangle 29">
            <a:extLst>
              <a:ext uri="{FF2B5EF4-FFF2-40B4-BE49-F238E27FC236}">
                <a16:creationId xmlns:a16="http://schemas.microsoft.com/office/drawing/2014/main" id="{0CA0F63D-5334-4249-891D-1F1B6FE06E81}"/>
              </a:ext>
            </a:extLst>
          </p:cNvPr>
          <p:cNvSpPr>
            <a:spLocks noGrp="1" noChangeArrowheads="1"/>
          </p:cNvSpPr>
          <p:nvPr>
            <p:custDataLst>
              <p:tags r:id="rId3"/>
            </p:custDataLst>
          </p:nvPr>
        </p:nvSpPr>
        <p:spPr bwMode="gray">
          <a:xfrm>
            <a:off x="817563" y="26590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C8E0E2A-9D37-45C7-93E1-D64F4437ADE2}" type="datetime'9''''''''''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29" name="Rectangle 28">
            <a:extLst>
              <a:ext uri="{FF2B5EF4-FFF2-40B4-BE49-F238E27FC236}">
                <a16:creationId xmlns:a16="http://schemas.microsoft.com/office/drawing/2014/main" id="{EB250A66-9E94-428F-91CA-30ECD88C5EEA}"/>
              </a:ext>
            </a:extLst>
          </p:cNvPr>
          <p:cNvSpPr>
            <a:spLocks noGrp="1" noChangeArrowheads="1"/>
          </p:cNvSpPr>
          <p:nvPr>
            <p:custDataLst>
              <p:tags r:id="rId4"/>
            </p:custDataLst>
          </p:nvPr>
        </p:nvSpPr>
        <p:spPr bwMode="gray">
          <a:xfrm>
            <a:off x="466725" y="28209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400" b="1" i="0" u="none" strike="noStrike" kern="0" cap="none" spc="0" normalizeH="0" baseline="0" noProof="0" dirty="0">
                <a:ln>
                  <a:noFill/>
                </a:ln>
                <a:solidFill>
                  <a:srgbClr val="000000"/>
                </a:solidFill>
                <a:effectLst/>
                <a:uLnTx/>
                <a:uFillTx/>
                <a:latin typeface="Gill Sans MT" panose="020B0502020104020203"/>
                <a:ea typeface="+mn-ea"/>
                <a:cs typeface="+mn-cs"/>
              </a:rPr>
              <a:t>78</a:t>
            </a:r>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4" name="Rectangle 123">
            <a:extLst>
              <a:ext uri="{FF2B5EF4-FFF2-40B4-BE49-F238E27FC236}">
                <a16:creationId xmlns:a16="http://schemas.microsoft.com/office/drawing/2014/main" id="{38A49457-AACC-39D5-4678-9E79240F06A0}"/>
              </a:ext>
            </a:extLst>
          </p:cNvPr>
          <p:cNvSpPr>
            <a:spLocks noGrp="1" noChangeArrowheads="1"/>
          </p:cNvSpPr>
          <p:nvPr>
            <p:custDataLst>
              <p:tags r:id="rId5"/>
            </p:custDataLst>
          </p:nvPr>
        </p:nvSpPr>
        <p:spPr bwMode="gray">
          <a:xfrm>
            <a:off x="3630613" y="30892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5F27D52-57B4-408A-BE9C-EE3F93520D29}" type="datetime'''''5''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222" name="Rectangle 221">
            <a:extLst>
              <a:ext uri="{FF2B5EF4-FFF2-40B4-BE49-F238E27FC236}">
                <a16:creationId xmlns:a16="http://schemas.microsoft.com/office/drawing/2014/main" id="{57B8F847-01BF-F998-1F89-8A93BB7DF8C9}"/>
              </a:ext>
            </a:extLst>
          </p:cNvPr>
          <p:cNvSpPr>
            <a:spLocks noGrp="1" noChangeArrowheads="1"/>
          </p:cNvSpPr>
          <p:nvPr>
            <p:custDataLst>
              <p:tags r:id="rId6"/>
            </p:custDataLst>
          </p:nvPr>
        </p:nvSpPr>
        <p:spPr bwMode="gray">
          <a:xfrm>
            <a:off x="2400300" y="27352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868B458-AD2F-40A2-9600-7D88BB9CB4C5}" type="datetime'''''''''''''''''''''''''''''''''''''''''''''''''8''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99" name="Rectangle 198">
            <a:extLst>
              <a:ext uri="{FF2B5EF4-FFF2-40B4-BE49-F238E27FC236}">
                <a16:creationId xmlns:a16="http://schemas.microsoft.com/office/drawing/2014/main" id="{48E508B6-B0C9-D7C4-437A-CAE97B30D0E3}"/>
              </a:ext>
            </a:extLst>
          </p:cNvPr>
          <p:cNvSpPr>
            <a:spLocks noGrp="1" noChangeArrowheads="1"/>
          </p:cNvSpPr>
          <p:nvPr>
            <p:custDataLst>
              <p:tags r:id="rId7"/>
            </p:custDataLst>
          </p:nvPr>
        </p:nvSpPr>
        <p:spPr bwMode="gray">
          <a:xfrm>
            <a:off x="2751138" y="28209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C3AE9EB-590E-4563-9D21-FAEF837C1830}" type="datetime'''''7''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28" name="Rectangle 27">
            <a:extLst>
              <a:ext uri="{FF2B5EF4-FFF2-40B4-BE49-F238E27FC236}">
                <a16:creationId xmlns:a16="http://schemas.microsoft.com/office/drawing/2014/main" id="{C9EE83E5-29AB-4109-A23E-D1A3B30ADEC1}"/>
              </a:ext>
            </a:extLst>
          </p:cNvPr>
          <p:cNvSpPr>
            <a:spLocks noGrp="1" noChangeArrowheads="1"/>
          </p:cNvSpPr>
          <p:nvPr>
            <p:custDataLst>
              <p:tags r:id="rId8"/>
            </p:custDataLst>
          </p:nvPr>
        </p:nvSpPr>
        <p:spPr bwMode="gray">
          <a:xfrm>
            <a:off x="1169988" y="26812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1AEC18F-D4AC-4157-83CE-7FAB996B19FC}" type="datetime'''''''''''''''''''''''''''''''''''''9''''''''''''''''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5" name="Rectangle 124">
            <a:extLst>
              <a:ext uri="{FF2B5EF4-FFF2-40B4-BE49-F238E27FC236}">
                <a16:creationId xmlns:a16="http://schemas.microsoft.com/office/drawing/2014/main" id="{28A224DE-21F2-ED8A-C851-C918F7CA9723}"/>
              </a:ext>
            </a:extLst>
          </p:cNvPr>
          <p:cNvSpPr>
            <a:spLocks noGrp="1" noChangeArrowheads="1"/>
          </p:cNvSpPr>
          <p:nvPr>
            <p:custDataLst>
              <p:tags r:id="rId9"/>
            </p:custDataLst>
          </p:nvPr>
        </p:nvSpPr>
        <p:spPr bwMode="gray">
          <a:xfrm>
            <a:off x="3981450" y="26924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B34C0E7-0F76-4328-BF96-750BB474C20A}" type="datetime'''9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34" name="Rectangle 133">
            <a:extLst>
              <a:ext uri="{FF2B5EF4-FFF2-40B4-BE49-F238E27FC236}">
                <a16:creationId xmlns:a16="http://schemas.microsoft.com/office/drawing/2014/main" id="{D04A1EFB-B5C2-4D05-9751-BC0D7EE37D78}"/>
              </a:ext>
            </a:extLst>
          </p:cNvPr>
          <p:cNvSpPr>
            <a:spLocks noGrp="1" noChangeArrowheads="1"/>
          </p:cNvSpPr>
          <p:nvPr>
            <p:custDataLst>
              <p:tags r:id="rId10"/>
            </p:custDataLst>
          </p:nvPr>
        </p:nvSpPr>
        <p:spPr bwMode="gray">
          <a:xfrm>
            <a:off x="2047875" y="29972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C83207D-31A1-466B-8A73-11B70229A5AE}" type="datetime'''''''''''''''''''''''''''''6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6" name="Rectangle 125">
            <a:extLst>
              <a:ext uri="{FF2B5EF4-FFF2-40B4-BE49-F238E27FC236}">
                <a16:creationId xmlns:a16="http://schemas.microsoft.com/office/drawing/2014/main" id="{3F3645B8-6913-83AF-E257-96AEDB51D15F}"/>
              </a:ext>
            </a:extLst>
          </p:cNvPr>
          <p:cNvSpPr>
            <a:spLocks noGrp="1" noChangeArrowheads="1"/>
          </p:cNvSpPr>
          <p:nvPr>
            <p:custDataLst>
              <p:tags r:id="rId11"/>
            </p:custDataLst>
          </p:nvPr>
        </p:nvSpPr>
        <p:spPr bwMode="gray">
          <a:xfrm>
            <a:off x="4333875" y="27066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EF1D46B-6C2D-4375-8C17-252ADC71ACCE}" type="datetime'''''''''''9''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35" name="Rectangle 134">
            <a:extLst>
              <a:ext uri="{FF2B5EF4-FFF2-40B4-BE49-F238E27FC236}">
                <a16:creationId xmlns:a16="http://schemas.microsoft.com/office/drawing/2014/main" id="{4BFFBF7E-E8E2-451A-BC4D-347D4828CEEB}"/>
              </a:ext>
            </a:extLst>
          </p:cNvPr>
          <p:cNvSpPr>
            <a:spLocks noGrp="1" noChangeArrowheads="1"/>
          </p:cNvSpPr>
          <p:nvPr>
            <p:custDataLst>
              <p:tags r:id="rId12"/>
            </p:custDataLst>
          </p:nvPr>
        </p:nvSpPr>
        <p:spPr bwMode="gray">
          <a:xfrm>
            <a:off x="5211763" y="29876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666BF34-6878-4B3D-B51F-F9176B18783A}" type="datetime'''''6''''''''''''''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 name="Rectangle 33">
            <a:extLst>
              <a:ext uri="{FF2B5EF4-FFF2-40B4-BE49-F238E27FC236}">
                <a16:creationId xmlns:a16="http://schemas.microsoft.com/office/drawing/2014/main" id="{ECC5BABA-40C3-454F-B613-3192C8F5A5C5}"/>
              </a:ext>
            </a:extLst>
          </p:cNvPr>
          <p:cNvSpPr>
            <a:spLocks noGrp="1" noChangeArrowheads="1"/>
          </p:cNvSpPr>
          <p:nvPr>
            <p:custDataLst>
              <p:tags r:id="rId13"/>
            </p:custDataLst>
          </p:nvPr>
        </p:nvSpPr>
        <p:spPr bwMode="gray">
          <a:xfrm>
            <a:off x="5564188" y="27463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A4838EA-17AD-4CB3-A2D4-EC4DCD04C72D}" type="datetime'''''''8''''''''''''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 name="Rectangle 34">
            <a:extLst>
              <a:ext uri="{FF2B5EF4-FFF2-40B4-BE49-F238E27FC236}">
                <a16:creationId xmlns:a16="http://schemas.microsoft.com/office/drawing/2014/main" id="{6F5DE516-017F-4994-90EF-2E5F2B887D1C}"/>
              </a:ext>
            </a:extLst>
          </p:cNvPr>
          <p:cNvSpPr>
            <a:spLocks noGrp="1" noChangeArrowheads="1"/>
          </p:cNvSpPr>
          <p:nvPr>
            <p:custDataLst>
              <p:tags r:id="rId14"/>
            </p:custDataLst>
          </p:nvPr>
        </p:nvSpPr>
        <p:spPr bwMode="gray">
          <a:xfrm>
            <a:off x="5915025" y="26495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420F956-713C-40B9-839D-35AA784BA51B}" type="datetime'''''''''''''''''''''''''9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2" name="TextBox 41">
            <a:extLst>
              <a:ext uri="{FF2B5EF4-FFF2-40B4-BE49-F238E27FC236}">
                <a16:creationId xmlns:a16="http://schemas.microsoft.com/office/drawing/2014/main" id="{5FD875F4-3F00-437C-A42A-659B7423D4C2}"/>
              </a:ext>
            </a:extLst>
          </p:cNvPr>
          <p:cNvSpPr txBox="1"/>
          <p:nvPr/>
        </p:nvSpPr>
        <p:spPr>
          <a:xfrm>
            <a:off x="1538393" y="5758744"/>
            <a:ext cx="9115215" cy="863923"/>
          </a:xfrm>
          <a:prstGeom prst="rect">
            <a:avLst/>
          </a:prstGeom>
          <a:solidFill>
            <a:schemeClr val="bg1">
              <a:lumMod val="95000"/>
            </a:schemeClr>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MICs 2021 survey shows Ebonyi exceeding national level cover rates in all MH indicators and reaching Southeast level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Yet the NDHS does not show comparable levels except for at least 1 ANC 1 visi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MIC survey data presents a challenge in understanding what is happening in MNH indicators for Ebonyi.</a:t>
            </a:r>
          </a:p>
        </p:txBody>
      </p:sp>
      <p:sp>
        <p:nvSpPr>
          <p:cNvPr id="49" name="Rectangle 48">
            <a:extLst>
              <a:ext uri="{FF2B5EF4-FFF2-40B4-BE49-F238E27FC236}">
                <a16:creationId xmlns:a16="http://schemas.microsoft.com/office/drawing/2014/main" id="{B40341F1-D99F-47E5-A564-624DEA6BA413}"/>
              </a:ext>
            </a:extLst>
          </p:cNvPr>
          <p:cNvSpPr/>
          <p:nvPr/>
        </p:nvSpPr>
        <p:spPr bwMode="auto">
          <a:xfrm>
            <a:off x="85933" y="1183760"/>
            <a:ext cx="6669692" cy="365760"/>
          </a:xfrm>
          <a:prstGeom prst="rect">
            <a:avLst/>
          </a:prstGeom>
          <a:gradFill>
            <a:gsLst>
              <a:gs pos="0">
                <a:srgbClr val="78AEAC"/>
              </a:gs>
              <a:gs pos="65000">
                <a:srgbClr val="4AA19E">
                  <a:tint val="44500"/>
                  <a:satMod val="160000"/>
                </a:srgbClr>
              </a:gs>
              <a:gs pos="100000">
                <a:srgbClr val="4AA19E">
                  <a:tint val="23500"/>
                  <a:satMod val="160000"/>
                </a:srgbClr>
              </a:gs>
            </a:gsLst>
            <a:lin ang="0" scaled="1"/>
          </a:gra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Maternal Health</a:t>
            </a:r>
          </a:p>
        </p:txBody>
      </p:sp>
      <p:sp>
        <p:nvSpPr>
          <p:cNvPr id="43" name="Rectangle 42">
            <a:extLst>
              <a:ext uri="{FF2B5EF4-FFF2-40B4-BE49-F238E27FC236}">
                <a16:creationId xmlns:a16="http://schemas.microsoft.com/office/drawing/2014/main" id="{BB3F6E04-878F-4F97-BD57-42932A1461E1}"/>
              </a:ext>
            </a:extLst>
          </p:cNvPr>
          <p:cNvSpPr/>
          <p:nvPr>
            <p:custDataLst>
              <p:tags r:id="rId15"/>
            </p:custDataLst>
          </p:nvPr>
        </p:nvSpPr>
        <p:spPr bwMode="auto">
          <a:xfrm>
            <a:off x="11298238" y="1662113"/>
            <a:ext cx="179388" cy="133350"/>
          </a:xfrm>
          <a:prstGeom prst="rect">
            <a:avLst/>
          </a:prstGeom>
          <a:solidFill>
            <a:schemeClr val="accent3"/>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ED588B3A-8865-4AB4-83DB-95F7D34B3B60}"/>
              </a:ext>
            </a:extLst>
          </p:cNvPr>
          <p:cNvSpPr/>
          <p:nvPr>
            <p:custDataLst>
              <p:tags r:id="rId16"/>
            </p:custDataLst>
          </p:nvPr>
        </p:nvSpPr>
        <p:spPr bwMode="auto">
          <a:xfrm>
            <a:off x="9021763" y="1662113"/>
            <a:ext cx="179388" cy="133350"/>
          </a:xfrm>
          <a:prstGeom prst="rect">
            <a:avLst/>
          </a:prstGeom>
          <a:solidFill>
            <a:schemeClr val="accent4"/>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5990D8EF-4E48-4108-8586-3EDC0AF0D740}"/>
              </a:ext>
            </a:extLst>
          </p:cNvPr>
          <p:cNvSpPr/>
          <p:nvPr>
            <p:custDataLst>
              <p:tags r:id="rId17"/>
            </p:custDataLst>
          </p:nvPr>
        </p:nvSpPr>
        <p:spPr bwMode="auto">
          <a:xfrm>
            <a:off x="9793288" y="1662113"/>
            <a:ext cx="179388" cy="133350"/>
          </a:xfrm>
          <a:prstGeom prst="rect">
            <a:avLst/>
          </a:prstGeom>
          <a:solidFill>
            <a:schemeClr val="tx2"/>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 name="Rectangle 45">
            <a:extLst>
              <a:ext uri="{FF2B5EF4-FFF2-40B4-BE49-F238E27FC236}">
                <a16:creationId xmlns:a16="http://schemas.microsoft.com/office/drawing/2014/main" id="{43A4FCD1-63C4-4201-A609-04C7CEDF415A}"/>
              </a:ext>
            </a:extLst>
          </p:cNvPr>
          <p:cNvSpPr>
            <a:spLocks noGrp="1" noChangeArrowheads="1"/>
          </p:cNvSpPr>
          <p:nvPr>
            <p:custDataLst>
              <p:tags r:id="rId18"/>
            </p:custDataLst>
          </p:nvPr>
        </p:nvSpPr>
        <p:spPr bwMode="auto">
          <a:xfrm>
            <a:off x="9251950" y="1657350"/>
            <a:ext cx="439738"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E05790B4-AA33-4A48-A4E7-8C52ED19609B}" type="datetime'''N''''''a''''t''i''''on''''''''a''''''''l'">
              <a:rPr kumimoji="0" lang="en-GB" altLang="en-US" sz="10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ational</a:t>
            </a:fld>
            <a:endPar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7" name="Rectangle 46">
            <a:extLst>
              <a:ext uri="{FF2B5EF4-FFF2-40B4-BE49-F238E27FC236}">
                <a16:creationId xmlns:a16="http://schemas.microsoft.com/office/drawing/2014/main" id="{1D1D7CF7-F67A-4124-88E6-C50F8CC08845}"/>
              </a:ext>
            </a:extLst>
          </p:cNvPr>
          <p:cNvSpPr>
            <a:spLocks noGrp="1" noChangeArrowheads="1"/>
          </p:cNvSpPr>
          <p:nvPr>
            <p:custDataLst>
              <p:tags r:id="rId19"/>
            </p:custDataLst>
          </p:nvPr>
        </p:nvSpPr>
        <p:spPr bwMode="auto">
          <a:xfrm>
            <a:off x="10023475" y="1657350"/>
            <a:ext cx="1173163"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F355B973-DF9F-47F6-B7D0-80CD8E1319F2}" type="datetime'Sou''t''h e''as''''te''''r''''n'' ''''av''''era''''''ge '''">
              <a:rPr kumimoji="0" lang="en-GB" altLang="en-US" sz="10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South eastern average </a:t>
            </a:fld>
            <a:endPar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 name="Rectangle 47">
            <a:extLst>
              <a:ext uri="{FF2B5EF4-FFF2-40B4-BE49-F238E27FC236}">
                <a16:creationId xmlns:a16="http://schemas.microsoft.com/office/drawing/2014/main" id="{C1115AF6-04B2-4BE4-87D2-543757DA5830}"/>
              </a:ext>
            </a:extLst>
          </p:cNvPr>
          <p:cNvSpPr>
            <a:spLocks noGrp="1" noChangeArrowheads="1"/>
          </p:cNvSpPr>
          <p:nvPr>
            <p:custDataLst>
              <p:tags r:id="rId20"/>
            </p:custDataLst>
          </p:nvPr>
        </p:nvSpPr>
        <p:spPr bwMode="auto">
          <a:xfrm>
            <a:off x="11528425" y="1657350"/>
            <a:ext cx="379413"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E8C4AF78-D417-405D-A529-0636E80594AB}" type="datetime'''''''''''''''''''E''''b''''on''''y''''''i'' '">
              <a:rPr kumimoji="0" lang="en-GB" altLang="en-US" sz="10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Ebonyi </a:t>
            </a:fld>
            <a:endParaRPr kumimoji="0" lang="en-US"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pSp>
        <p:nvGrpSpPr>
          <p:cNvPr id="17" name="Group 16">
            <a:extLst>
              <a:ext uri="{FF2B5EF4-FFF2-40B4-BE49-F238E27FC236}">
                <a16:creationId xmlns:a16="http://schemas.microsoft.com/office/drawing/2014/main" id="{15316308-AAE1-1206-47FB-0DA84767D7B4}"/>
              </a:ext>
            </a:extLst>
          </p:cNvPr>
          <p:cNvGrpSpPr/>
          <p:nvPr/>
        </p:nvGrpSpPr>
        <p:grpSpPr>
          <a:xfrm>
            <a:off x="10652029" y="1272978"/>
            <a:ext cx="1294672" cy="187325"/>
            <a:chOff x="8933590" y="1261108"/>
            <a:chExt cx="1294672" cy="186112"/>
          </a:xfrm>
        </p:grpSpPr>
        <p:sp>
          <p:nvSpPr>
            <p:cNvPr id="50" name="TextBox 49">
              <a:extLst>
                <a:ext uri="{FF2B5EF4-FFF2-40B4-BE49-F238E27FC236}">
                  <a16:creationId xmlns:a16="http://schemas.microsoft.com/office/drawing/2014/main" id="{971DCCD7-789D-44A7-A450-A717D2732EFF}"/>
                </a:ext>
              </a:extLst>
            </p:cNvPr>
            <p:cNvSpPr txBox="1"/>
            <p:nvPr/>
          </p:nvSpPr>
          <p:spPr>
            <a:xfrm>
              <a:off x="8933590" y="1264657"/>
              <a:ext cx="365760" cy="1825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51" name="TextBox 50">
              <a:extLst>
                <a:ext uri="{FF2B5EF4-FFF2-40B4-BE49-F238E27FC236}">
                  <a16:creationId xmlns:a16="http://schemas.microsoft.com/office/drawing/2014/main" id="{253C9DCC-CF2A-4B9A-8DCD-85482D67141E}"/>
                </a:ext>
              </a:extLst>
            </p:cNvPr>
            <p:cNvSpPr txBox="1"/>
            <p:nvPr/>
          </p:nvSpPr>
          <p:spPr>
            <a:xfrm>
              <a:off x="9130982" y="1261108"/>
              <a:ext cx="1097280" cy="184150"/>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Data Not Available</a:t>
              </a:r>
            </a:p>
          </p:txBody>
        </p:sp>
      </p:grpSp>
      <p:graphicFrame>
        <p:nvGraphicFramePr>
          <p:cNvPr id="82" name="Chart 81">
            <a:extLst>
              <a:ext uri="{FF2B5EF4-FFF2-40B4-BE49-F238E27FC236}">
                <a16:creationId xmlns:a16="http://schemas.microsoft.com/office/drawing/2014/main" id="{1A5E57F9-CD48-4247-BF9F-DCB7C5C42100}"/>
              </a:ext>
            </a:extLst>
          </p:cNvPr>
          <p:cNvGraphicFramePr/>
          <p:nvPr>
            <p:custDataLst>
              <p:tags r:id="rId21"/>
            </p:custDataLst>
          </p:nvPr>
        </p:nvGraphicFramePr>
        <p:xfrm>
          <a:off x="117475" y="4697413"/>
          <a:ext cx="6507163" cy="1066800"/>
        </p:xfrm>
        <a:graphic>
          <a:graphicData uri="http://schemas.openxmlformats.org/drawingml/2006/chart">
            <c:chart xmlns:c="http://schemas.openxmlformats.org/drawingml/2006/chart" xmlns:r="http://schemas.openxmlformats.org/officeDocument/2006/relationships" r:id="rId64"/>
          </a:graphicData>
        </a:graphic>
      </p:graphicFrame>
      <p:sp>
        <p:nvSpPr>
          <p:cNvPr id="149" name="Rectangle 148">
            <a:extLst>
              <a:ext uri="{FF2B5EF4-FFF2-40B4-BE49-F238E27FC236}">
                <a16:creationId xmlns:a16="http://schemas.microsoft.com/office/drawing/2014/main" id="{B8419500-2F7C-69B2-13F1-CA7BD5D9DD63}"/>
              </a:ext>
            </a:extLst>
          </p:cNvPr>
          <p:cNvSpPr>
            <a:spLocks noGrp="1" noChangeArrowheads="1"/>
          </p:cNvSpPr>
          <p:nvPr>
            <p:custDataLst>
              <p:tags r:id="rId22"/>
            </p:custDataLst>
          </p:nvPr>
        </p:nvSpPr>
        <p:spPr bwMode="gray">
          <a:xfrm>
            <a:off x="3559175" y="50371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51FA2FF-4EC5-4ADD-9194-16AD7C88520D}" type="datetime'4''''''''''''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2" name="Rectangle 71">
            <a:extLst>
              <a:ext uri="{FF2B5EF4-FFF2-40B4-BE49-F238E27FC236}">
                <a16:creationId xmlns:a16="http://schemas.microsoft.com/office/drawing/2014/main" id="{F490910D-A6A6-859D-C41E-CAC45FD12357}"/>
              </a:ext>
            </a:extLst>
          </p:cNvPr>
          <p:cNvSpPr>
            <a:spLocks noGrp="1" noChangeArrowheads="1"/>
          </p:cNvSpPr>
          <p:nvPr>
            <p:custDataLst>
              <p:tags r:id="rId23"/>
            </p:custDataLst>
          </p:nvPr>
        </p:nvSpPr>
        <p:spPr bwMode="gray">
          <a:xfrm>
            <a:off x="387350" y="47355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1D3FB01-DCAD-40A5-85FE-6E1DC9E5C0D6}" type="datetime'''''''''''''''7''''''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7" name="Rectangle 116">
            <a:extLst>
              <a:ext uri="{FF2B5EF4-FFF2-40B4-BE49-F238E27FC236}">
                <a16:creationId xmlns:a16="http://schemas.microsoft.com/office/drawing/2014/main" id="{423ACC86-FCC6-589F-DFB4-4B16DCA06040}"/>
              </a:ext>
            </a:extLst>
          </p:cNvPr>
          <p:cNvSpPr>
            <a:spLocks noGrp="1" noChangeArrowheads="1"/>
          </p:cNvSpPr>
          <p:nvPr>
            <p:custDataLst>
              <p:tags r:id="rId24"/>
            </p:custDataLst>
          </p:nvPr>
        </p:nvSpPr>
        <p:spPr bwMode="gray">
          <a:xfrm>
            <a:off x="5143500" y="50307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E45D155-F558-4A4E-B359-AF896EA08453}" type="datetime'''''''''''''''''''''''''''''''''''''''4''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3" name="Rectangle 72">
            <a:extLst>
              <a:ext uri="{FF2B5EF4-FFF2-40B4-BE49-F238E27FC236}">
                <a16:creationId xmlns:a16="http://schemas.microsoft.com/office/drawing/2014/main" id="{2E30E795-3B6B-7B18-EB5B-9E604A6B3699}"/>
              </a:ext>
            </a:extLst>
          </p:cNvPr>
          <p:cNvSpPr>
            <a:spLocks noGrp="1" noChangeArrowheads="1"/>
          </p:cNvSpPr>
          <p:nvPr>
            <p:custDataLst>
              <p:tags r:id="rId25"/>
            </p:custDataLst>
          </p:nvPr>
        </p:nvSpPr>
        <p:spPr bwMode="gray">
          <a:xfrm>
            <a:off x="804863" y="45418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E531950-0AA1-44DC-8129-828896B6C26B}" type="datetime'''''''''9''''''''''''''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51" name="Rectangle 150">
            <a:extLst>
              <a:ext uri="{FF2B5EF4-FFF2-40B4-BE49-F238E27FC236}">
                <a16:creationId xmlns:a16="http://schemas.microsoft.com/office/drawing/2014/main" id="{03F29BEF-F8AB-30D3-CC4D-CC227010D12D}"/>
              </a:ext>
            </a:extLst>
          </p:cNvPr>
          <p:cNvSpPr>
            <a:spLocks noGrp="1" noChangeArrowheads="1"/>
          </p:cNvSpPr>
          <p:nvPr>
            <p:custDataLst>
              <p:tags r:id="rId26"/>
            </p:custDataLst>
          </p:nvPr>
        </p:nvSpPr>
        <p:spPr bwMode="gray">
          <a:xfrm>
            <a:off x="4392613" y="49545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D85DEBA-6AA5-4D87-B2D0-05D1840C9138}" type="datetime'''''5''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4" name="Rectangle 73">
            <a:extLst>
              <a:ext uri="{FF2B5EF4-FFF2-40B4-BE49-F238E27FC236}">
                <a16:creationId xmlns:a16="http://schemas.microsoft.com/office/drawing/2014/main" id="{1BFDADE4-965F-5BF5-21A6-C76CA09AD6CE}"/>
              </a:ext>
            </a:extLst>
          </p:cNvPr>
          <p:cNvSpPr>
            <a:spLocks noGrp="1" noChangeArrowheads="1"/>
          </p:cNvSpPr>
          <p:nvPr>
            <p:custDataLst>
              <p:tags r:id="rId27"/>
            </p:custDataLst>
          </p:nvPr>
        </p:nvSpPr>
        <p:spPr bwMode="gray">
          <a:xfrm>
            <a:off x="1222375" y="45624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8AE9E64-94A7-49A7-B9A5-1AD1DB5DC409}" type="datetime'''''''9''''''''''''''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50" name="Rectangle 149">
            <a:extLst>
              <a:ext uri="{FF2B5EF4-FFF2-40B4-BE49-F238E27FC236}">
                <a16:creationId xmlns:a16="http://schemas.microsoft.com/office/drawing/2014/main" id="{2DFD0588-713A-1849-466A-7DF866899223}"/>
              </a:ext>
            </a:extLst>
          </p:cNvPr>
          <p:cNvSpPr>
            <a:spLocks noGrp="1" noChangeArrowheads="1"/>
          </p:cNvSpPr>
          <p:nvPr>
            <p:custDataLst>
              <p:tags r:id="rId28"/>
            </p:custDataLst>
          </p:nvPr>
        </p:nvSpPr>
        <p:spPr bwMode="gray">
          <a:xfrm>
            <a:off x="3976688" y="46450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E3E930A-49F9-4B5D-BABF-4B1B8C8FEE2F}" type="datetime'''''''''''''''''8''''''''''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7" name="Rectangle 76">
            <a:extLst>
              <a:ext uri="{FF2B5EF4-FFF2-40B4-BE49-F238E27FC236}">
                <a16:creationId xmlns:a16="http://schemas.microsoft.com/office/drawing/2014/main" id="{E9B204C0-5225-9564-A891-DB3CC9DFBDBC}"/>
              </a:ext>
            </a:extLst>
          </p:cNvPr>
          <p:cNvSpPr>
            <a:spLocks noGrp="1" noChangeArrowheads="1"/>
          </p:cNvSpPr>
          <p:nvPr>
            <p:custDataLst>
              <p:tags r:id="rId29"/>
            </p:custDataLst>
          </p:nvPr>
        </p:nvSpPr>
        <p:spPr bwMode="gray">
          <a:xfrm>
            <a:off x="5561013" y="47529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AB5BDCA-5BF5-41E7-A45B-A9480D2CF7CC}" type="datetime'''''''''''''''''''7''''''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8" name="Rectangle 77">
            <a:extLst>
              <a:ext uri="{FF2B5EF4-FFF2-40B4-BE49-F238E27FC236}">
                <a16:creationId xmlns:a16="http://schemas.microsoft.com/office/drawing/2014/main" id="{367CDCC0-42B0-7249-94D1-CA607C5751B5}"/>
              </a:ext>
            </a:extLst>
          </p:cNvPr>
          <p:cNvSpPr>
            <a:spLocks noGrp="1" noChangeArrowheads="1"/>
          </p:cNvSpPr>
          <p:nvPr>
            <p:custDataLst>
              <p:tags r:id="rId30"/>
            </p:custDataLst>
          </p:nvPr>
        </p:nvSpPr>
        <p:spPr bwMode="gray">
          <a:xfrm>
            <a:off x="5978525" y="4953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8799788-7A46-4B3F-829D-C63095B2955A}" type="datetime'''''''''5''''''''''''''''''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0" name="Rectangle 79">
            <a:extLst>
              <a:ext uri="{FF2B5EF4-FFF2-40B4-BE49-F238E27FC236}">
                <a16:creationId xmlns:a16="http://schemas.microsoft.com/office/drawing/2014/main" id="{2EF0F0DE-764C-43A8-8DC6-137F08BCFAD3}"/>
              </a:ext>
            </a:extLst>
          </p:cNvPr>
          <p:cNvSpPr>
            <a:spLocks noGrp="1" noChangeArrowheads="1"/>
          </p:cNvSpPr>
          <p:nvPr>
            <p:custDataLst>
              <p:tags r:id="rId31"/>
            </p:custDataLst>
          </p:nvPr>
        </p:nvSpPr>
        <p:spPr bwMode="gray">
          <a:xfrm>
            <a:off x="1973263" y="49117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4D45ED6-9B35-495F-90D7-05A13CCC4C7D}" type="datetime'''''''''''''5''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8" name="Rectangle 117">
            <a:extLst>
              <a:ext uri="{FF2B5EF4-FFF2-40B4-BE49-F238E27FC236}">
                <a16:creationId xmlns:a16="http://schemas.microsoft.com/office/drawing/2014/main" id="{215EE855-9CAB-4B7C-8BC4-1CA64CF0C769}"/>
              </a:ext>
            </a:extLst>
          </p:cNvPr>
          <p:cNvSpPr/>
          <p:nvPr/>
        </p:nvSpPr>
        <p:spPr bwMode="auto">
          <a:xfrm>
            <a:off x="-2" y="71390"/>
            <a:ext cx="5740402"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Maternal and Newborn Health Indices – Trend in maternal and Newborn health</a:t>
            </a:r>
          </a:p>
        </p:txBody>
      </p:sp>
      <p:sp>
        <p:nvSpPr>
          <p:cNvPr id="119" name="Title 1">
            <a:extLst>
              <a:ext uri="{FF2B5EF4-FFF2-40B4-BE49-F238E27FC236}">
                <a16:creationId xmlns:a16="http://schemas.microsoft.com/office/drawing/2014/main" id="{30D405C1-BCC5-4188-4926-B64910210AC0}"/>
              </a:ext>
            </a:extLst>
          </p:cNvPr>
          <p:cNvSpPr>
            <a:spLocks noGrp="1"/>
          </p:cNvSpPr>
          <p:nvPr>
            <p:ph type="title"/>
          </p:nvPr>
        </p:nvSpPr>
        <p:spPr>
          <a:xfrm>
            <a:off x="215006" y="245162"/>
            <a:ext cx="11692832" cy="1005840"/>
          </a:xfrm>
        </p:spPr>
        <p:txBody>
          <a:bodyPr vert="horz">
            <a:noAutofit/>
          </a:body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rPr>
              <a:t>Ebonyi’s MNH indicators exceed national levels and are approaching Southeast levels; there are concerns with MICS </a:t>
            </a:r>
            <a:r>
              <a:rPr lang="en-US" sz="2400" dirty="0">
                <a:solidFill>
                  <a:prstClr val="white"/>
                </a:solidFill>
                <a:latin typeface="+mj-lt"/>
              </a:rPr>
              <a:t>data</a:t>
            </a:r>
            <a:endPar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endParaRPr>
          </a:p>
        </p:txBody>
      </p:sp>
      <p:sp>
        <p:nvSpPr>
          <p:cNvPr id="187" name="Rectangle 186">
            <a:extLst>
              <a:ext uri="{FF2B5EF4-FFF2-40B4-BE49-F238E27FC236}">
                <a16:creationId xmlns:a16="http://schemas.microsoft.com/office/drawing/2014/main" id="{60C18600-6FE1-1EE0-9B8C-2FA5D3BBBEFC}"/>
              </a:ext>
            </a:extLst>
          </p:cNvPr>
          <p:cNvSpPr>
            <a:spLocks noGrp="1" noChangeArrowheads="1"/>
          </p:cNvSpPr>
          <p:nvPr/>
        </p:nvSpPr>
        <p:spPr bwMode="auto">
          <a:xfrm>
            <a:off x="329766" y="1944282"/>
            <a:ext cx="1463040" cy="20478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8312D4D-033F-4A80-8F48-2243907520D9}" type="datetime'''''AN''C'': ''''A''t'''''' ''least 1'' ''''''vi''''si''t'''">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ANC: At least 1 visit</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88" name="Rectangle 187">
            <a:extLst>
              <a:ext uri="{FF2B5EF4-FFF2-40B4-BE49-F238E27FC236}">
                <a16:creationId xmlns:a16="http://schemas.microsoft.com/office/drawing/2014/main" id="{5C19C592-75CE-0ED7-AD70-5362B0EE1422}"/>
              </a:ext>
            </a:extLst>
          </p:cNvPr>
          <p:cNvSpPr>
            <a:spLocks noGrp="1" noChangeArrowheads="1"/>
          </p:cNvSpPr>
          <p:nvPr/>
        </p:nvSpPr>
        <p:spPr bwMode="auto">
          <a:xfrm>
            <a:off x="5021954" y="1944282"/>
            <a:ext cx="1448592" cy="20478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PNC- Mother </a:t>
            </a:r>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90" name="Rectangle 189">
            <a:extLst>
              <a:ext uri="{FF2B5EF4-FFF2-40B4-BE49-F238E27FC236}">
                <a16:creationId xmlns:a16="http://schemas.microsoft.com/office/drawing/2014/main" id="{035BF4E3-7AA6-10AD-7F2C-77D0BB12EBEE}"/>
              </a:ext>
            </a:extLst>
          </p:cNvPr>
          <p:cNvSpPr>
            <a:spLocks noGrp="1" noChangeArrowheads="1"/>
          </p:cNvSpPr>
          <p:nvPr/>
        </p:nvSpPr>
        <p:spPr bwMode="auto">
          <a:xfrm>
            <a:off x="2210187" y="1939139"/>
            <a:ext cx="811583" cy="2150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ANC 4 </a:t>
            </a:r>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91" name="Rectangle 190">
            <a:extLst>
              <a:ext uri="{FF2B5EF4-FFF2-40B4-BE49-F238E27FC236}">
                <a16:creationId xmlns:a16="http://schemas.microsoft.com/office/drawing/2014/main" id="{B3EC44F3-F8B3-46F6-45AB-4B4071E8EBA3}"/>
              </a:ext>
            </a:extLst>
          </p:cNvPr>
          <p:cNvSpPr>
            <a:spLocks noGrp="1" noChangeArrowheads="1"/>
          </p:cNvSpPr>
          <p:nvPr/>
        </p:nvSpPr>
        <p:spPr bwMode="auto">
          <a:xfrm>
            <a:off x="3720461" y="1944282"/>
            <a:ext cx="901683" cy="20478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SBA</a:t>
            </a:r>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graphicFrame>
        <p:nvGraphicFramePr>
          <p:cNvPr id="167" name="Chart 166">
            <a:extLst>
              <a:ext uri="{FF2B5EF4-FFF2-40B4-BE49-F238E27FC236}">
                <a16:creationId xmlns:a16="http://schemas.microsoft.com/office/drawing/2014/main" id="{EF16BCAD-109D-4A2C-AEAF-3B72FD0B9CB1}"/>
              </a:ext>
            </a:extLst>
          </p:cNvPr>
          <p:cNvGraphicFramePr/>
          <p:nvPr>
            <p:custDataLst>
              <p:tags r:id="rId32"/>
            </p:custDataLst>
          </p:nvPr>
        </p:nvGraphicFramePr>
        <p:xfrm>
          <a:off x="6989763" y="2813050"/>
          <a:ext cx="4867275" cy="1085850"/>
        </p:xfrm>
        <a:graphic>
          <a:graphicData uri="http://schemas.openxmlformats.org/drawingml/2006/chart">
            <c:chart xmlns:c="http://schemas.openxmlformats.org/drawingml/2006/chart" xmlns:r="http://schemas.openxmlformats.org/officeDocument/2006/relationships" r:id="rId65"/>
          </a:graphicData>
        </a:graphic>
      </p:graphicFrame>
      <p:sp>
        <p:nvSpPr>
          <p:cNvPr id="39" name="Rectangle 38">
            <a:extLst>
              <a:ext uri="{FF2B5EF4-FFF2-40B4-BE49-F238E27FC236}">
                <a16:creationId xmlns:a16="http://schemas.microsoft.com/office/drawing/2014/main" id="{23F4C998-B1A4-BEA6-0A26-15393C2AABC6}"/>
              </a:ext>
            </a:extLst>
          </p:cNvPr>
          <p:cNvSpPr>
            <a:spLocks noGrp="1" noChangeArrowheads="1"/>
          </p:cNvSpPr>
          <p:nvPr>
            <p:custDataLst>
              <p:tags r:id="rId33"/>
            </p:custDataLst>
          </p:nvPr>
        </p:nvSpPr>
        <p:spPr bwMode="gray">
          <a:xfrm>
            <a:off x="7318375" y="29718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73F3CD7-A11C-435E-8C59-95A5B754A442}" type="datetime'''''''''''''''''''''''''''''''''''''''''''''''6''''''''''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9" name="Rectangle 58">
            <a:extLst>
              <a:ext uri="{FF2B5EF4-FFF2-40B4-BE49-F238E27FC236}">
                <a16:creationId xmlns:a16="http://schemas.microsoft.com/office/drawing/2014/main" id="{3D52788E-789C-8FC4-C379-6013178EB41A}"/>
              </a:ext>
            </a:extLst>
          </p:cNvPr>
          <p:cNvSpPr>
            <a:spLocks noGrp="1" noChangeArrowheads="1"/>
          </p:cNvSpPr>
          <p:nvPr>
            <p:custDataLst>
              <p:tags r:id="rId34"/>
            </p:custDataLst>
          </p:nvPr>
        </p:nvSpPr>
        <p:spPr bwMode="gray">
          <a:xfrm>
            <a:off x="10802938" y="27209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7EBF37D-055F-43E6-93CC-1CDB1AF7C12B}" type="datetime'''''''''''''''''''8''''''''''''''''''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 name="Rectangle 40">
            <a:extLst>
              <a:ext uri="{FF2B5EF4-FFF2-40B4-BE49-F238E27FC236}">
                <a16:creationId xmlns:a16="http://schemas.microsoft.com/office/drawing/2014/main" id="{65CBB2CC-8095-EEF6-CC80-2B6CA18C3DD8}"/>
              </a:ext>
            </a:extLst>
          </p:cNvPr>
          <p:cNvSpPr>
            <a:spLocks noGrp="1" noChangeArrowheads="1"/>
          </p:cNvSpPr>
          <p:nvPr>
            <p:custDataLst>
              <p:tags r:id="rId35"/>
            </p:custDataLst>
          </p:nvPr>
        </p:nvSpPr>
        <p:spPr bwMode="gray">
          <a:xfrm>
            <a:off x="7667625" y="27289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AEEEEBF-FD70-4B5B-8D7A-D2DBE069D7BD}" type="datetime'''''''''''''8''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40" name="Rectangle 139">
            <a:extLst>
              <a:ext uri="{FF2B5EF4-FFF2-40B4-BE49-F238E27FC236}">
                <a16:creationId xmlns:a16="http://schemas.microsoft.com/office/drawing/2014/main" id="{E9BEF6E5-4107-40E2-AA18-2D272BE4D784}"/>
              </a:ext>
            </a:extLst>
          </p:cNvPr>
          <p:cNvSpPr>
            <a:spLocks noGrp="1" noChangeArrowheads="1"/>
          </p:cNvSpPr>
          <p:nvPr>
            <p:custDataLst>
              <p:tags r:id="rId36"/>
            </p:custDataLst>
          </p:nvPr>
        </p:nvSpPr>
        <p:spPr bwMode="gray">
          <a:xfrm>
            <a:off x="8015288" y="26733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E914D1C-E17A-45E1-91FB-E7672527C1D7}" type="datetime'''''''''''''''''''''9''''''''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8" name="Rectangle 57">
            <a:extLst>
              <a:ext uri="{FF2B5EF4-FFF2-40B4-BE49-F238E27FC236}">
                <a16:creationId xmlns:a16="http://schemas.microsoft.com/office/drawing/2014/main" id="{6DCBF912-92DD-2360-29CA-A09B00657504}"/>
              </a:ext>
            </a:extLst>
          </p:cNvPr>
          <p:cNvSpPr>
            <a:spLocks noGrp="1" noChangeArrowheads="1"/>
          </p:cNvSpPr>
          <p:nvPr>
            <p:custDataLst>
              <p:tags r:id="rId37"/>
            </p:custDataLst>
          </p:nvPr>
        </p:nvSpPr>
        <p:spPr bwMode="gray">
          <a:xfrm>
            <a:off x="10453688" y="28559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2B0E72B-0B42-4F40-A3D3-9E10301FF14C}" type="datetime'''''7''''''''''''''''''''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7" name="Rectangle 56">
            <a:extLst>
              <a:ext uri="{FF2B5EF4-FFF2-40B4-BE49-F238E27FC236}">
                <a16:creationId xmlns:a16="http://schemas.microsoft.com/office/drawing/2014/main" id="{5212BA6F-C48F-7991-8AF4-660C5B2445AB}"/>
              </a:ext>
            </a:extLst>
          </p:cNvPr>
          <p:cNvSpPr>
            <a:spLocks noGrp="1" noChangeArrowheads="1"/>
          </p:cNvSpPr>
          <p:nvPr>
            <p:custDataLst>
              <p:tags r:id="rId38"/>
            </p:custDataLst>
          </p:nvPr>
        </p:nvSpPr>
        <p:spPr bwMode="gray">
          <a:xfrm>
            <a:off x="9283700" y="3511550"/>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607A2A4-B49C-4460-8DB3-A7031D308EEA}" type="datetime'''''''''''''''''''''''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2" name="Rectangle 51">
            <a:extLst>
              <a:ext uri="{FF2B5EF4-FFF2-40B4-BE49-F238E27FC236}">
                <a16:creationId xmlns:a16="http://schemas.microsoft.com/office/drawing/2014/main" id="{B4EE7D64-8FB8-639B-A39A-325B0FA82DDE}"/>
              </a:ext>
            </a:extLst>
          </p:cNvPr>
          <p:cNvSpPr>
            <a:spLocks noGrp="1" noChangeArrowheads="1"/>
          </p:cNvSpPr>
          <p:nvPr>
            <p:custDataLst>
              <p:tags r:id="rId39"/>
            </p:custDataLst>
          </p:nvPr>
        </p:nvSpPr>
        <p:spPr bwMode="gray">
          <a:xfrm>
            <a:off x="8936038" y="3519488"/>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4911549-09BD-4E4D-B954-81D94C3468BC}" type="datetime'''''''''''''''''''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41" name="Rectangle 140">
            <a:extLst>
              <a:ext uri="{FF2B5EF4-FFF2-40B4-BE49-F238E27FC236}">
                <a16:creationId xmlns:a16="http://schemas.microsoft.com/office/drawing/2014/main" id="{FBFEC034-5658-474C-BBD8-61C6FDDDAE5F}"/>
              </a:ext>
            </a:extLst>
          </p:cNvPr>
          <p:cNvSpPr>
            <a:spLocks noGrp="1" noChangeArrowheads="1"/>
          </p:cNvSpPr>
          <p:nvPr>
            <p:custDataLst>
              <p:tags r:id="rId40"/>
            </p:custDataLst>
          </p:nvPr>
        </p:nvSpPr>
        <p:spPr bwMode="gray">
          <a:xfrm>
            <a:off x="9583738" y="33083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5530970-F38B-4751-B9BF-3C8DD3924CCE}" type="datetime'''''''''''''''''''''''''''''''''''2''''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43" name="Rectangle 142">
            <a:extLst>
              <a:ext uri="{FF2B5EF4-FFF2-40B4-BE49-F238E27FC236}">
                <a16:creationId xmlns:a16="http://schemas.microsoft.com/office/drawing/2014/main" id="{6988273B-6F3E-4F3F-B8D7-F39005549AD4}"/>
              </a:ext>
            </a:extLst>
          </p:cNvPr>
          <p:cNvSpPr>
            <a:spLocks noGrp="1" noChangeArrowheads="1"/>
          </p:cNvSpPr>
          <p:nvPr>
            <p:custDataLst>
              <p:tags r:id="rId41"/>
            </p:custDataLst>
          </p:nvPr>
        </p:nvSpPr>
        <p:spPr bwMode="gray">
          <a:xfrm>
            <a:off x="11150600" y="26574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3C74863-D5E7-43A7-8216-32AF4A141CAE}" type="datetime'''''''''''9''''''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aphicFrame>
        <p:nvGraphicFramePr>
          <p:cNvPr id="169" name="Chart 168">
            <a:extLst>
              <a:ext uri="{FF2B5EF4-FFF2-40B4-BE49-F238E27FC236}">
                <a16:creationId xmlns:a16="http://schemas.microsoft.com/office/drawing/2014/main" id="{8F24E7D5-3FF4-40B5-9F46-D7F15F9B275D}"/>
              </a:ext>
            </a:extLst>
          </p:cNvPr>
          <p:cNvGraphicFramePr/>
          <p:nvPr>
            <p:custDataLst>
              <p:tags r:id="rId42"/>
            </p:custDataLst>
          </p:nvPr>
        </p:nvGraphicFramePr>
        <p:xfrm>
          <a:off x="6989763" y="4697413"/>
          <a:ext cx="4867275" cy="1066800"/>
        </p:xfrm>
        <a:graphic>
          <a:graphicData uri="http://schemas.openxmlformats.org/drawingml/2006/chart">
            <c:chart xmlns:c="http://schemas.openxmlformats.org/drawingml/2006/chart" xmlns:r="http://schemas.openxmlformats.org/officeDocument/2006/relationships" r:id="rId66"/>
          </a:graphicData>
        </a:graphic>
      </p:graphicFrame>
      <p:sp>
        <p:nvSpPr>
          <p:cNvPr id="95" name="Rectangle 94">
            <a:extLst>
              <a:ext uri="{FF2B5EF4-FFF2-40B4-BE49-F238E27FC236}">
                <a16:creationId xmlns:a16="http://schemas.microsoft.com/office/drawing/2014/main" id="{B4E5DCBD-6C04-063D-3047-2A7EE15BB34D}"/>
              </a:ext>
            </a:extLst>
          </p:cNvPr>
          <p:cNvSpPr>
            <a:spLocks noGrp="1" noChangeArrowheads="1"/>
          </p:cNvSpPr>
          <p:nvPr>
            <p:custDataLst>
              <p:tags r:id="rId43"/>
            </p:custDataLst>
          </p:nvPr>
        </p:nvSpPr>
        <p:spPr bwMode="gray">
          <a:xfrm>
            <a:off x="9283700" y="5367338"/>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F4A829A-2D08-4966-909D-029BDFE7E6D3}" type="datetime'''''''''''''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4" name="Rectangle 83">
            <a:extLst>
              <a:ext uri="{FF2B5EF4-FFF2-40B4-BE49-F238E27FC236}">
                <a16:creationId xmlns:a16="http://schemas.microsoft.com/office/drawing/2014/main" id="{8FD798CD-19B0-C501-4B70-EBE3432A336A}"/>
              </a:ext>
            </a:extLst>
          </p:cNvPr>
          <p:cNvSpPr>
            <a:spLocks noGrp="1" noChangeArrowheads="1"/>
          </p:cNvSpPr>
          <p:nvPr>
            <p:custDataLst>
              <p:tags r:id="rId44"/>
            </p:custDataLst>
          </p:nvPr>
        </p:nvSpPr>
        <p:spPr bwMode="gray">
          <a:xfrm>
            <a:off x="7323138" y="495776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2D70F80-959E-48D7-8C86-7F74A753F0EE}" type="datetime'''''4''''''''''''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1" name="Rectangle 90">
            <a:extLst>
              <a:ext uri="{FF2B5EF4-FFF2-40B4-BE49-F238E27FC236}">
                <a16:creationId xmlns:a16="http://schemas.microsoft.com/office/drawing/2014/main" id="{323742B7-10B5-7CEF-7F1B-39A5BBCBF30A}"/>
              </a:ext>
            </a:extLst>
          </p:cNvPr>
          <p:cNvSpPr>
            <a:spLocks noGrp="1" noChangeArrowheads="1"/>
          </p:cNvSpPr>
          <p:nvPr>
            <p:custDataLst>
              <p:tags r:id="rId45"/>
            </p:custDataLst>
          </p:nvPr>
        </p:nvSpPr>
        <p:spPr bwMode="gray">
          <a:xfrm>
            <a:off x="7667625" y="46101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2EA9A53-FC74-4539-B2C2-0156AD60F2D7}" type="datetime'''''''''''7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31" name="Rectangle 130">
            <a:extLst>
              <a:ext uri="{FF2B5EF4-FFF2-40B4-BE49-F238E27FC236}">
                <a16:creationId xmlns:a16="http://schemas.microsoft.com/office/drawing/2014/main" id="{31572824-C57E-4F63-AF9F-60A836CB76CC}"/>
              </a:ext>
            </a:extLst>
          </p:cNvPr>
          <p:cNvSpPr>
            <a:spLocks noGrp="1" noChangeArrowheads="1"/>
          </p:cNvSpPr>
          <p:nvPr>
            <p:custDataLst>
              <p:tags r:id="rId46"/>
            </p:custDataLst>
          </p:nvPr>
        </p:nvSpPr>
        <p:spPr bwMode="gray">
          <a:xfrm>
            <a:off x="11147425" y="48895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73E1160-AD48-4559-931B-2D3F91D96A3D}" type="datetime'''''''4''''''''''''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30" name="Rectangle 129">
            <a:extLst>
              <a:ext uri="{FF2B5EF4-FFF2-40B4-BE49-F238E27FC236}">
                <a16:creationId xmlns:a16="http://schemas.microsoft.com/office/drawing/2014/main" id="{39ACF319-3460-4E3E-83B0-507B7934A5AB}"/>
              </a:ext>
            </a:extLst>
          </p:cNvPr>
          <p:cNvSpPr>
            <a:spLocks noGrp="1" noChangeArrowheads="1"/>
          </p:cNvSpPr>
          <p:nvPr>
            <p:custDataLst>
              <p:tags r:id="rId47"/>
            </p:custDataLst>
          </p:nvPr>
        </p:nvSpPr>
        <p:spPr bwMode="gray">
          <a:xfrm>
            <a:off x="10458450" y="45418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58135B1-1417-4EB0-AD8C-E8FE3FE5A631}" type="datetime'''''7''''''''''''''''''''''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8" name="Rectangle 127">
            <a:extLst>
              <a:ext uri="{FF2B5EF4-FFF2-40B4-BE49-F238E27FC236}">
                <a16:creationId xmlns:a16="http://schemas.microsoft.com/office/drawing/2014/main" id="{1B351E4C-EE38-40E6-96D7-6324AEB446BC}"/>
              </a:ext>
            </a:extLst>
          </p:cNvPr>
          <p:cNvSpPr>
            <a:spLocks noGrp="1" noChangeArrowheads="1"/>
          </p:cNvSpPr>
          <p:nvPr>
            <p:custDataLst>
              <p:tags r:id="rId48"/>
            </p:custDataLst>
          </p:nvPr>
        </p:nvSpPr>
        <p:spPr bwMode="gray">
          <a:xfrm>
            <a:off x="8012113" y="48593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A23F49A-C3CA-4C79-BB0C-391C7EF6932B}" type="datetime'''''''''''''''''''''''''''''''''''''''5''''''''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2" name="Rectangle 91">
            <a:extLst>
              <a:ext uri="{FF2B5EF4-FFF2-40B4-BE49-F238E27FC236}">
                <a16:creationId xmlns:a16="http://schemas.microsoft.com/office/drawing/2014/main" id="{9063D58A-9688-2745-EAA0-A8703DADAD0D}"/>
              </a:ext>
            </a:extLst>
          </p:cNvPr>
          <p:cNvSpPr>
            <a:spLocks noGrp="1" noChangeArrowheads="1"/>
          </p:cNvSpPr>
          <p:nvPr>
            <p:custDataLst>
              <p:tags r:id="rId49"/>
            </p:custDataLst>
          </p:nvPr>
        </p:nvSpPr>
        <p:spPr bwMode="gray">
          <a:xfrm>
            <a:off x="8921750" y="53038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3C9B031-A12C-4722-B534-226E8AE20CA5}" type="datetime'''''''''''''''''''''''''''''''''''''''''''''''''''''1''''''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6" name="Rectangle 95">
            <a:extLst>
              <a:ext uri="{FF2B5EF4-FFF2-40B4-BE49-F238E27FC236}">
                <a16:creationId xmlns:a16="http://schemas.microsoft.com/office/drawing/2014/main" id="{96C75908-70D9-387F-5C1B-F7BAEE5B532B}"/>
              </a:ext>
            </a:extLst>
          </p:cNvPr>
          <p:cNvSpPr>
            <a:spLocks noGrp="1" noChangeArrowheads="1"/>
          </p:cNvSpPr>
          <p:nvPr>
            <p:custDataLst>
              <p:tags r:id="rId50"/>
            </p:custDataLst>
          </p:nvPr>
        </p:nvSpPr>
        <p:spPr bwMode="gray">
          <a:xfrm>
            <a:off x="10828338" y="45418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D092126-CC6A-468F-9647-41206A61B748}" type="datetime'''''''''7''''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9" name="Rectangle 128">
            <a:extLst>
              <a:ext uri="{FF2B5EF4-FFF2-40B4-BE49-F238E27FC236}">
                <a16:creationId xmlns:a16="http://schemas.microsoft.com/office/drawing/2014/main" id="{E63CF50A-3C70-4F1F-A1AA-04824A6FCA49}"/>
              </a:ext>
            </a:extLst>
          </p:cNvPr>
          <p:cNvSpPr>
            <a:spLocks noGrp="1" noChangeArrowheads="1"/>
          </p:cNvSpPr>
          <p:nvPr>
            <p:custDataLst>
              <p:tags r:id="rId51"/>
            </p:custDataLst>
          </p:nvPr>
        </p:nvSpPr>
        <p:spPr bwMode="gray">
          <a:xfrm>
            <a:off x="9598025" y="5338763"/>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F37B149-1844-433F-8058-FB5A4CCE30E2}" type="datetime'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4" name="Rectangle 113">
            <a:extLst>
              <a:ext uri="{FF2B5EF4-FFF2-40B4-BE49-F238E27FC236}">
                <a16:creationId xmlns:a16="http://schemas.microsoft.com/office/drawing/2014/main" id="{561D0DBF-512F-5507-5E9F-BAEA7116D0C2}"/>
              </a:ext>
            </a:extLst>
          </p:cNvPr>
          <p:cNvSpPr>
            <a:spLocks noGrp="1" noChangeArrowheads="1"/>
          </p:cNvSpPr>
          <p:nvPr/>
        </p:nvSpPr>
        <p:spPr bwMode="auto">
          <a:xfrm>
            <a:off x="8908470" y="1924486"/>
            <a:ext cx="938586" cy="24438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F095AA1-910F-4F6A-8F76-CBC1B85BF4D2}" type="datetime'''''''T''''h''''e''r''''''ma''''l'' ''''c''''''a''''''r''e'' '">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hermal care </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5" name="Rectangle 114">
            <a:extLst>
              <a:ext uri="{FF2B5EF4-FFF2-40B4-BE49-F238E27FC236}">
                <a16:creationId xmlns:a16="http://schemas.microsoft.com/office/drawing/2014/main" id="{32D604DD-D13B-4426-A082-6E17CED34FCC}"/>
              </a:ext>
            </a:extLst>
          </p:cNvPr>
          <p:cNvSpPr>
            <a:spLocks noGrp="1" noChangeArrowheads="1"/>
          </p:cNvSpPr>
          <p:nvPr/>
        </p:nvSpPr>
        <p:spPr bwMode="auto">
          <a:xfrm>
            <a:off x="7288551" y="1940314"/>
            <a:ext cx="11112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rPr>
              <a:t>PNC- Newborn</a:t>
            </a:r>
          </a:p>
        </p:txBody>
      </p:sp>
      <p:sp>
        <p:nvSpPr>
          <p:cNvPr id="116" name="Rectangle 115">
            <a:extLst>
              <a:ext uri="{FF2B5EF4-FFF2-40B4-BE49-F238E27FC236}">
                <a16:creationId xmlns:a16="http://schemas.microsoft.com/office/drawing/2014/main" id="{D744C051-B768-471C-B3B6-E2E78E94337A}"/>
              </a:ext>
            </a:extLst>
          </p:cNvPr>
          <p:cNvSpPr>
            <a:spLocks noGrp="1" noChangeArrowheads="1"/>
          </p:cNvSpPr>
          <p:nvPr/>
        </p:nvSpPr>
        <p:spPr bwMode="auto">
          <a:xfrm>
            <a:off x="10349947" y="1914050"/>
            <a:ext cx="1303384" cy="26525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D846FA8-80F4-48E4-A057-502BE263A6FD}" type="datetime'''''''''''''C''o''r''''''d'' ''c''''''a''''''''''re'''' '''">
              <a:rPr kumimoji="0" lang="en-US" altLang="en-US" sz="12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Cord care </a:t>
            </a:fld>
            <a:endParaRPr kumimoji="0" lang="en-US" sz="12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37" name="Rectangle 136">
            <a:extLst>
              <a:ext uri="{FF2B5EF4-FFF2-40B4-BE49-F238E27FC236}">
                <a16:creationId xmlns:a16="http://schemas.microsoft.com/office/drawing/2014/main" id="{6BB86A5A-B5DD-2C0B-FB41-95DC554924F2}"/>
              </a:ext>
            </a:extLst>
          </p:cNvPr>
          <p:cNvSpPr/>
          <p:nvPr/>
        </p:nvSpPr>
        <p:spPr>
          <a:xfrm>
            <a:off x="85933" y="1587500"/>
            <a:ext cx="901683" cy="2443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MICS</a:t>
            </a:r>
            <a:r>
              <a:rPr kumimoji="0" lang="en-GB" sz="1400" b="1" i="1" u="none" strike="noStrike" kern="1200" cap="none" spc="0" normalizeH="0" baseline="30000" noProof="0" dirty="0">
                <a:ln>
                  <a:noFill/>
                </a:ln>
                <a:solidFill>
                  <a:prstClr val="black">
                    <a:lumMod val="50000"/>
                    <a:lumOff val="50000"/>
                  </a:prstClr>
                </a:solidFill>
                <a:effectLst/>
                <a:uLnTx/>
                <a:uFillTx/>
                <a:latin typeface="Gill Sans MT" panose="020B0502020104020203"/>
                <a:ea typeface="+mn-ea"/>
                <a:cs typeface="+mn-cs"/>
              </a:rPr>
              <a:t>1</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sp>
        <p:nvSpPr>
          <p:cNvPr id="142" name="Rectangle 141">
            <a:extLst>
              <a:ext uri="{FF2B5EF4-FFF2-40B4-BE49-F238E27FC236}">
                <a16:creationId xmlns:a16="http://schemas.microsoft.com/office/drawing/2014/main" id="{2E53D65C-B69A-D83E-EA3E-6286C80E3FC5}"/>
              </a:ext>
            </a:extLst>
          </p:cNvPr>
          <p:cNvSpPr/>
          <p:nvPr/>
        </p:nvSpPr>
        <p:spPr>
          <a:xfrm>
            <a:off x="85933" y="3856038"/>
            <a:ext cx="901683" cy="2444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NDHS</a:t>
            </a:r>
            <a:r>
              <a:rPr kumimoji="0" lang="en-GB" sz="1400" b="1" i="1" u="none" strike="noStrike" kern="1200" cap="none" spc="0" normalizeH="0" baseline="30000" noProof="0" dirty="0">
                <a:ln>
                  <a:noFill/>
                </a:ln>
                <a:solidFill>
                  <a:prstClr val="black">
                    <a:lumMod val="50000"/>
                    <a:lumOff val="50000"/>
                  </a:prstClr>
                </a:solidFill>
                <a:effectLst/>
                <a:uLnTx/>
                <a:uFillTx/>
                <a:latin typeface="Gill Sans MT" panose="020B0502020104020203"/>
                <a:ea typeface="+mn-ea"/>
                <a:cs typeface="+mn-cs"/>
              </a:rPr>
              <a:t>2</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sp>
        <p:nvSpPr>
          <p:cNvPr id="165" name="Rectangle 164">
            <a:extLst>
              <a:ext uri="{FF2B5EF4-FFF2-40B4-BE49-F238E27FC236}">
                <a16:creationId xmlns:a16="http://schemas.microsoft.com/office/drawing/2014/main" id="{0C81AA37-5A94-B082-D539-AE4F44A5C21D}"/>
              </a:ext>
            </a:extLst>
          </p:cNvPr>
          <p:cNvSpPr/>
          <p:nvPr>
            <p:custDataLst>
              <p:tags r:id="rId52"/>
            </p:custDataLst>
          </p:nvPr>
        </p:nvSpPr>
        <p:spPr bwMode="auto">
          <a:xfrm>
            <a:off x="9793288" y="4040188"/>
            <a:ext cx="179388" cy="133350"/>
          </a:xfrm>
          <a:prstGeom prst="rect">
            <a:avLst/>
          </a:prstGeom>
          <a:solidFill>
            <a:schemeClr val="accent2"/>
          </a:solidFill>
          <a:ln w="635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64" name="Rectangle 163">
            <a:extLst>
              <a:ext uri="{FF2B5EF4-FFF2-40B4-BE49-F238E27FC236}">
                <a16:creationId xmlns:a16="http://schemas.microsoft.com/office/drawing/2014/main" id="{CB38896B-1D81-1B84-6D21-CA8C47A11AA0}"/>
              </a:ext>
            </a:extLst>
          </p:cNvPr>
          <p:cNvSpPr/>
          <p:nvPr>
            <p:custDataLst>
              <p:tags r:id="rId53"/>
            </p:custDataLst>
          </p:nvPr>
        </p:nvSpPr>
        <p:spPr bwMode="auto">
          <a:xfrm>
            <a:off x="9021763" y="4040188"/>
            <a:ext cx="179388" cy="133350"/>
          </a:xfrm>
          <a:prstGeom prst="rect">
            <a:avLst/>
          </a:prstGeom>
          <a:solidFill>
            <a:schemeClr val="bg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66" name="Rectangle 165">
            <a:extLst>
              <a:ext uri="{FF2B5EF4-FFF2-40B4-BE49-F238E27FC236}">
                <a16:creationId xmlns:a16="http://schemas.microsoft.com/office/drawing/2014/main" id="{84D07754-27FA-E1BF-8062-49DAAB567573}"/>
              </a:ext>
            </a:extLst>
          </p:cNvPr>
          <p:cNvSpPr/>
          <p:nvPr>
            <p:custDataLst>
              <p:tags r:id="rId54"/>
            </p:custDataLst>
          </p:nvPr>
        </p:nvSpPr>
        <p:spPr bwMode="auto">
          <a:xfrm>
            <a:off x="11298238" y="4040188"/>
            <a:ext cx="179388" cy="133350"/>
          </a:xfrm>
          <a:prstGeom prst="rect">
            <a:avLst/>
          </a:prstGeom>
          <a:solidFill>
            <a:schemeClr val="accent3"/>
          </a:solidFill>
          <a:ln w="635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59" name="Rectangle 158">
            <a:extLst>
              <a:ext uri="{FF2B5EF4-FFF2-40B4-BE49-F238E27FC236}">
                <a16:creationId xmlns:a16="http://schemas.microsoft.com/office/drawing/2014/main" id="{76AB3016-FCC7-A930-27AE-BD8FD14A2650}"/>
              </a:ext>
            </a:extLst>
          </p:cNvPr>
          <p:cNvSpPr/>
          <p:nvPr>
            <p:custDataLst>
              <p:tags r:id="rId55"/>
            </p:custDataLst>
          </p:nvPr>
        </p:nvSpPr>
        <p:spPr bwMode="auto">
          <a:xfrm>
            <a:off x="9251950" y="4035425"/>
            <a:ext cx="439738"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1219170" rtl="0" eaLnBrk="1" fontAlgn="auto" latinLnBrk="0" hangingPunct="1">
              <a:lnSpc>
                <a:spcPct val="100000"/>
              </a:lnSpc>
              <a:spcBef>
                <a:spcPct val="0"/>
              </a:spcBef>
              <a:spcAft>
                <a:spcPct val="0"/>
              </a:spcAft>
              <a:buClrTx/>
              <a:buSzTx/>
              <a:buFontTx/>
              <a:buNone/>
              <a:tabLst/>
              <a:defRPr/>
            </a:pPr>
            <a:fld id="{D074A454-0E3D-415E-98CA-B37CA84A23F7}" type="datetime'''N''''''''''''''''''''''a''''t''i''on''''''''''''a''''''l'''">
              <a:rPr kumimoji="0" lang="en-GB" altLang="en-US" sz="10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National</a:t>
            </a:fld>
            <a:endParaRPr kumimoji="0" lang="en-GB"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62" name="Rectangle 161">
            <a:extLst>
              <a:ext uri="{FF2B5EF4-FFF2-40B4-BE49-F238E27FC236}">
                <a16:creationId xmlns:a16="http://schemas.microsoft.com/office/drawing/2014/main" id="{16A33F29-28C4-FACF-47BC-F8B701E26061}"/>
              </a:ext>
            </a:extLst>
          </p:cNvPr>
          <p:cNvSpPr/>
          <p:nvPr>
            <p:custDataLst>
              <p:tags r:id="rId56"/>
            </p:custDataLst>
          </p:nvPr>
        </p:nvSpPr>
        <p:spPr bwMode="auto">
          <a:xfrm>
            <a:off x="10023475" y="4035425"/>
            <a:ext cx="117316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1219170" rtl="0" eaLnBrk="1" fontAlgn="auto" latinLnBrk="0" hangingPunct="1">
              <a:lnSpc>
                <a:spcPct val="100000"/>
              </a:lnSpc>
              <a:spcBef>
                <a:spcPct val="0"/>
              </a:spcBef>
              <a:spcAft>
                <a:spcPct val="0"/>
              </a:spcAft>
              <a:buClrTx/>
              <a:buSzTx/>
              <a:buFontTx/>
              <a:buNone/>
              <a:tabLst/>
              <a:defRPr/>
            </a:pPr>
            <a:fld id="{C9DC5C85-75CF-413B-BFF3-7771398DF346}" type="datetime'So''u''''''t''''h'' ''ea''s''''ter''n ''a''v''e''r''ag''''e '">
              <a:rPr kumimoji="0" lang="en-GB" altLang="en-US" sz="10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South eastern average </a:t>
            </a:fld>
            <a:endParaRPr kumimoji="0" lang="en-GB"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61" name="Rectangle 160">
            <a:extLst>
              <a:ext uri="{FF2B5EF4-FFF2-40B4-BE49-F238E27FC236}">
                <a16:creationId xmlns:a16="http://schemas.microsoft.com/office/drawing/2014/main" id="{D7E649A9-54C2-49CD-7F7B-A36FE8AD5B7E}"/>
              </a:ext>
            </a:extLst>
          </p:cNvPr>
          <p:cNvSpPr/>
          <p:nvPr>
            <p:custDataLst>
              <p:tags r:id="rId57"/>
            </p:custDataLst>
          </p:nvPr>
        </p:nvSpPr>
        <p:spPr bwMode="auto">
          <a:xfrm>
            <a:off x="11528425" y="4035425"/>
            <a:ext cx="379413" cy="152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1219170" rtl="0" eaLnBrk="1" fontAlgn="auto" latinLnBrk="0" hangingPunct="1">
              <a:lnSpc>
                <a:spcPct val="100000"/>
              </a:lnSpc>
              <a:spcBef>
                <a:spcPct val="0"/>
              </a:spcBef>
              <a:spcAft>
                <a:spcPct val="0"/>
              </a:spcAft>
              <a:buClrTx/>
              <a:buSzTx/>
              <a:buFontTx/>
              <a:buNone/>
              <a:tabLst/>
              <a:defRPr/>
            </a:pPr>
            <a:fld id="{A5C2E6F7-B629-4384-9FD4-6957912C83E9}" type="datetime'''E''''''''b''''''''''''''on''''''y''''''''''''''i '''''''''''">
              <a:rPr kumimoji="0" lang="en-GB" altLang="en-US" sz="10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Ebonyi </a:t>
            </a:fld>
            <a:endParaRPr kumimoji="0" lang="en-GB" sz="10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83" name="TextBox 182">
            <a:extLst>
              <a:ext uri="{FF2B5EF4-FFF2-40B4-BE49-F238E27FC236}">
                <a16:creationId xmlns:a16="http://schemas.microsoft.com/office/drawing/2014/main" id="{3574CADF-0A8A-A0AC-C2D0-1F3CF2D1DFAB}"/>
              </a:ext>
            </a:extLst>
          </p:cNvPr>
          <p:cNvSpPr txBox="1"/>
          <p:nvPr/>
        </p:nvSpPr>
        <p:spPr>
          <a:xfrm>
            <a:off x="2381109" y="5378450"/>
            <a:ext cx="320829" cy="2841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184" name="TextBox 183">
            <a:extLst>
              <a:ext uri="{FF2B5EF4-FFF2-40B4-BE49-F238E27FC236}">
                <a16:creationId xmlns:a16="http://schemas.microsoft.com/office/drawing/2014/main" id="{BB45AD77-64B6-FFCF-0662-54DCF3DC5920}"/>
              </a:ext>
            </a:extLst>
          </p:cNvPr>
          <p:cNvSpPr txBox="1"/>
          <p:nvPr/>
        </p:nvSpPr>
        <p:spPr>
          <a:xfrm>
            <a:off x="2691606" y="5378450"/>
            <a:ext cx="320829" cy="2841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cxnSp>
        <p:nvCxnSpPr>
          <p:cNvPr id="217" name="Straight Connector 216">
            <a:extLst>
              <a:ext uri="{FF2B5EF4-FFF2-40B4-BE49-F238E27FC236}">
                <a16:creationId xmlns:a16="http://schemas.microsoft.com/office/drawing/2014/main" id="{8A4B9F9A-964F-67A6-D44B-5A26E55F31A3}"/>
              </a:ext>
            </a:extLst>
          </p:cNvPr>
          <p:cNvCxnSpPr>
            <a:cxnSpLocks/>
          </p:cNvCxnSpPr>
          <p:nvPr/>
        </p:nvCxnSpPr>
        <p:spPr>
          <a:xfrm flipV="1">
            <a:off x="6783367" y="1875759"/>
            <a:ext cx="0" cy="3778822"/>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90113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3631C4C-0BA2-4FCA-9975-E75803C8E5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7" imgW="498" imgH="499" progId="TCLayout.ActiveDocument.1">
                  <p:embed/>
                </p:oleObj>
              </mc:Choice>
              <mc:Fallback>
                <p:oleObj name="think-cell Slide" r:id="rId97" imgW="498" imgH="499" progId="TCLayout.ActiveDocument.1">
                  <p:embed/>
                  <p:pic>
                    <p:nvPicPr>
                      <p:cNvPr id="7" name="Object 6" hidden="1">
                        <a:extLst>
                          <a:ext uri="{FF2B5EF4-FFF2-40B4-BE49-F238E27FC236}">
                            <a16:creationId xmlns:a16="http://schemas.microsoft.com/office/drawing/2014/main" id="{B3631C4C-0BA2-4FCA-9975-E75803C8E5A4}"/>
                          </a:ext>
                        </a:extLst>
                      </p:cNvPr>
                      <p:cNvPicPr/>
                      <p:nvPr/>
                    </p:nvPicPr>
                    <p:blipFill>
                      <a:blip r:embed="rId98"/>
                      <a:stretch>
                        <a:fillRect/>
                      </a:stretch>
                    </p:blipFill>
                    <p:spPr>
                      <a:xfrm>
                        <a:off x="1588" y="1588"/>
                        <a:ext cx="1588" cy="1588"/>
                      </a:xfrm>
                      <a:prstGeom prst="rect">
                        <a:avLst/>
                      </a:prstGeom>
                    </p:spPr>
                  </p:pic>
                </p:oleObj>
              </mc:Fallback>
            </mc:AlternateContent>
          </a:graphicData>
        </a:graphic>
      </p:graphicFrame>
      <p:sp>
        <p:nvSpPr>
          <p:cNvPr id="120" name="Rectangle 119">
            <a:extLst>
              <a:ext uri="{FF2B5EF4-FFF2-40B4-BE49-F238E27FC236}">
                <a16:creationId xmlns:a16="http://schemas.microsoft.com/office/drawing/2014/main" id="{0E819DB7-CB1F-A19D-BD81-602D4218E4B5}"/>
              </a:ext>
            </a:extLst>
          </p:cNvPr>
          <p:cNvSpPr/>
          <p:nvPr/>
        </p:nvSpPr>
        <p:spPr bwMode="auto">
          <a:xfrm>
            <a:off x="7472363" y="1174333"/>
            <a:ext cx="4572000" cy="365760"/>
          </a:xfrm>
          <a:prstGeom prst="rect">
            <a:avLst/>
          </a:prstGeom>
          <a:gradFill>
            <a:gsLst>
              <a:gs pos="0">
                <a:srgbClr val="78AEAC"/>
              </a:gs>
              <a:gs pos="65000">
                <a:srgbClr val="4AA19E">
                  <a:tint val="44500"/>
                  <a:satMod val="160000"/>
                </a:srgbClr>
              </a:gs>
              <a:gs pos="100000">
                <a:srgbClr val="4AA19E">
                  <a:tint val="23500"/>
                  <a:satMod val="160000"/>
                </a:srgbClr>
              </a:gs>
            </a:gsLst>
            <a:lin ang="0" scaled="1"/>
          </a:gra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Newborn Health </a:t>
            </a:r>
          </a:p>
        </p:txBody>
      </p:sp>
      <p:pic>
        <p:nvPicPr>
          <p:cNvPr id="6" name="Picture 134">
            <a:extLst>
              <a:ext uri="{FF2B5EF4-FFF2-40B4-BE49-F238E27FC236}">
                <a16:creationId xmlns:a16="http://schemas.microsoft.com/office/drawing/2014/main" id="{70F94E93-4E42-4D5F-8004-FA1BE5D0255B}"/>
              </a:ext>
            </a:extLst>
          </p:cNvPr>
          <p:cNvPicPr>
            <a:picLocks noChangeAspect="1" noChangeArrowheads="1"/>
          </p:cNvPicPr>
          <p:nvPr/>
        </p:nvPicPr>
        <p:blipFill>
          <a:blip r:embed="rId99" cstate="print">
            <a:grayscl/>
            <a:extLst>
              <a:ext uri="{BEBA8EAE-BF5A-486C-A8C5-ECC9F3942E4B}">
                <a14:imgProps xmlns:a14="http://schemas.microsoft.com/office/drawing/2010/main">
                  <a14:imgLayer r:embed="rId100">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64070" y="1804989"/>
            <a:ext cx="12029017" cy="39877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a:extLst>
              <a:ext uri="{FF2B5EF4-FFF2-40B4-BE49-F238E27FC236}">
                <a16:creationId xmlns:a16="http://schemas.microsoft.com/office/drawing/2014/main" id="{CF15DE0D-17EB-4EB1-8C4E-310A25E04A87}"/>
              </a:ext>
            </a:extLst>
          </p:cNvPr>
          <p:cNvSpPr txBox="1"/>
          <p:nvPr/>
        </p:nvSpPr>
        <p:spPr>
          <a:xfrm>
            <a:off x="85933" y="6712380"/>
            <a:ext cx="11521440" cy="1381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1. MICS Reports, 2011, 2016, 2021     2 NDHS 2008,2013,2018</a:t>
            </a:r>
          </a:p>
        </p:txBody>
      </p:sp>
      <p:graphicFrame>
        <p:nvGraphicFramePr>
          <p:cNvPr id="148" name="Chart 147">
            <a:extLst>
              <a:ext uri="{FF2B5EF4-FFF2-40B4-BE49-F238E27FC236}">
                <a16:creationId xmlns:a16="http://schemas.microsoft.com/office/drawing/2014/main" id="{C9FB9213-139F-4691-81C6-AD2E118FF1A9}"/>
              </a:ext>
            </a:extLst>
          </p:cNvPr>
          <p:cNvGraphicFramePr/>
          <p:nvPr>
            <p:custDataLst>
              <p:tags r:id="rId2"/>
            </p:custDataLst>
          </p:nvPr>
        </p:nvGraphicFramePr>
        <p:xfrm>
          <a:off x="131763" y="2805113"/>
          <a:ext cx="6989762" cy="1085850"/>
        </p:xfrm>
        <a:graphic>
          <a:graphicData uri="http://schemas.openxmlformats.org/drawingml/2006/chart">
            <c:chart xmlns:c="http://schemas.openxmlformats.org/drawingml/2006/chart" xmlns:r="http://schemas.openxmlformats.org/officeDocument/2006/relationships" r:id="rId101"/>
          </a:graphicData>
        </a:graphic>
      </p:graphicFrame>
      <p:cxnSp>
        <p:nvCxnSpPr>
          <p:cNvPr id="10" name="Straight Connector 9">
            <a:extLst>
              <a:ext uri="{FF2B5EF4-FFF2-40B4-BE49-F238E27FC236}">
                <a16:creationId xmlns:a16="http://schemas.microsoft.com/office/drawing/2014/main" id="{42205022-12CB-4CAE-BACC-F5D9E77E42C7}"/>
              </a:ext>
            </a:extLst>
          </p:cNvPr>
          <p:cNvCxnSpPr/>
          <p:nvPr>
            <p:custDataLst>
              <p:tags r:id="rId3"/>
            </p:custDataLst>
          </p:nvPr>
        </p:nvCxnSpPr>
        <p:spPr bwMode="auto">
          <a:xfrm flipV="1">
            <a:off x="617538" y="2454275"/>
            <a:ext cx="0" cy="37623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3383C9F5-E7C7-4CC9-842D-6528CD651853}"/>
              </a:ext>
            </a:extLst>
          </p:cNvPr>
          <p:cNvCxnSpPr/>
          <p:nvPr>
            <p:custDataLst>
              <p:tags r:id="rId4"/>
            </p:custDataLst>
          </p:nvPr>
        </p:nvCxnSpPr>
        <p:spPr bwMode="auto">
          <a:xfrm>
            <a:off x="617538" y="2454275"/>
            <a:ext cx="8985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3F2A30B4-1BAE-43AF-895B-9F62C936609A}"/>
              </a:ext>
            </a:extLst>
          </p:cNvPr>
          <p:cNvCxnSpPr/>
          <p:nvPr>
            <p:custDataLst>
              <p:tags r:id="rId5"/>
            </p:custDataLst>
          </p:nvPr>
        </p:nvCxnSpPr>
        <p:spPr bwMode="auto">
          <a:xfrm>
            <a:off x="1516063" y="2454275"/>
            <a:ext cx="0" cy="1889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3A204E35-26C6-41C4-B2EA-B2045473C31E}"/>
              </a:ext>
            </a:extLst>
          </p:cNvPr>
          <p:cNvCxnSpPr/>
          <p:nvPr>
            <p:custDataLst>
              <p:tags r:id="rId6"/>
            </p:custDataLst>
          </p:nvPr>
        </p:nvCxnSpPr>
        <p:spPr bwMode="auto">
          <a:xfrm flipV="1">
            <a:off x="2773363" y="2479676"/>
            <a:ext cx="0" cy="5048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96A2FB68-805B-4EFB-BD5E-C1B53C220D6B}"/>
              </a:ext>
            </a:extLst>
          </p:cNvPr>
          <p:cNvCxnSpPr/>
          <p:nvPr>
            <p:custDataLst>
              <p:tags r:id="rId7"/>
            </p:custDataLst>
          </p:nvPr>
        </p:nvCxnSpPr>
        <p:spPr bwMode="auto">
          <a:xfrm>
            <a:off x="2773363" y="2479675"/>
            <a:ext cx="449262"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62CE8C15-4D12-4422-B271-376BEFF96168}"/>
              </a:ext>
            </a:extLst>
          </p:cNvPr>
          <p:cNvCxnSpPr/>
          <p:nvPr>
            <p:custDataLst>
              <p:tags r:id="rId8"/>
            </p:custDataLst>
          </p:nvPr>
        </p:nvCxnSpPr>
        <p:spPr bwMode="auto">
          <a:xfrm>
            <a:off x="3222625" y="2479675"/>
            <a:ext cx="0" cy="303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0286DD3D-C0F3-42D2-91E0-7B1D9605FD54}"/>
              </a:ext>
            </a:extLst>
          </p:cNvPr>
          <p:cNvCxnSpPr/>
          <p:nvPr>
            <p:custDataLst>
              <p:tags r:id="rId9"/>
            </p:custDataLst>
          </p:nvPr>
        </p:nvCxnSpPr>
        <p:spPr bwMode="auto">
          <a:xfrm flipV="1">
            <a:off x="4030663" y="2479676"/>
            <a:ext cx="0" cy="49847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3E62AF55-B527-4D03-8014-4FBB46677068}"/>
              </a:ext>
            </a:extLst>
          </p:cNvPr>
          <p:cNvCxnSpPr/>
          <p:nvPr>
            <p:custDataLst>
              <p:tags r:id="rId10"/>
            </p:custDataLst>
          </p:nvPr>
        </p:nvCxnSpPr>
        <p:spPr bwMode="auto">
          <a:xfrm>
            <a:off x="4030662" y="2479675"/>
            <a:ext cx="8969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8945D88F-37F4-4E74-BECC-318BD1C2BC50}"/>
              </a:ext>
            </a:extLst>
          </p:cNvPr>
          <p:cNvCxnSpPr/>
          <p:nvPr>
            <p:custDataLst>
              <p:tags r:id="rId11"/>
            </p:custDataLst>
          </p:nvPr>
        </p:nvCxnSpPr>
        <p:spPr bwMode="auto">
          <a:xfrm>
            <a:off x="4927600" y="2479675"/>
            <a:ext cx="0" cy="1889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DC24EDD-C10B-412C-903F-234F911767AA}"/>
              </a:ext>
            </a:extLst>
          </p:cNvPr>
          <p:cNvCxnSpPr/>
          <p:nvPr>
            <p:custDataLst>
              <p:tags r:id="rId12"/>
            </p:custDataLst>
          </p:nvPr>
        </p:nvCxnSpPr>
        <p:spPr bwMode="auto">
          <a:xfrm flipV="1">
            <a:off x="6184900" y="2308225"/>
            <a:ext cx="0" cy="7604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AE004ED0-F9E9-4463-97D4-74E1402322CC}"/>
              </a:ext>
            </a:extLst>
          </p:cNvPr>
          <p:cNvCxnSpPr/>
          <p:nvPr>
            <p:custDataLst>
              <p:tags r:id="rId13"/>
            </p:custDataLst>
          </p:nvPr>
        </p:nvCxnSpPr>
        <p:spPr bwMode="auto">
          <a:xfrm>
            <a:off x="6184900" y="2308225"/>
            <a:ext cx="44926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F672790-6AC6-4834-BDCE-95B8F761B0D4}"/>
              </a:ext>
            </a:extLst>
          </p:cNvPr>
          <p:cNvCxnSpPr/>
          <p:nvPr>
            <p:custDataLst>
              <p:tags r:id="rId14"/>
            </p:custDataLst>
          </p:nvPr>
        </p:nvCxnSpPr>
        <p:spPr bwMode="auto">
          <a:xfrm>
            <a:off x="6634163" y="2308225"/>
            <a:ext cx="0" cy="3032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9" name="Rectangle 28">
            <a:extLst>
              <a:ext uri="{FF2B5EF4-FFF2-40B4-BE49-F238E27FC236}">
                <a16:creationId xmlns:a16="http://schemas.microsoft.com/office/drawing/2014/main" id="{EB250A66-9E94-428F-91CA-30ECD88C5EEA}"/>
              </a:ext>
            </a:extLst>
          </p:cNvPr>
          <p:cNvSpPr>
            <a:spLocks noGrp="1" noChangeArrowheads="1"/>
          </p:cNvSpPr>
          <p:nvPr>
            <p:custDataLst>
              <p:tags r:id="rId15"/>
            </p:custDataLst>
          </p:nvPr>
        </p:nvSpPr>
        <p:spPr bwMode="gray">
          <a:xfrm>
            <a:off x="430213" y="28686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474A064-A714-4B5E-AA2B-C0092A548BB2}" type="datetime'7''''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99" name="Rectangle 198">
            <a:extLst>
              <a:ext uri="{FF2B5EF4-FFF2-40B4-BE49-F238E27FC236}">
                <a16:creationId xmlns:a16="http://schemas.microsoft.com/office/drawing/2014/main" id="{48E508B6-B0C9-D7C4-437A-CAE97B30D0E3}"/>
              </a:ext>
            </a:extLst>
          </p:cNvPr>
          <p:cNvSpPr>
            <a:spLocks noGrp="1" noChangeArrowheads="1"/>
          </p:cNvSpPr>
          <p:nvPr>
            <p:custDataLst>
              <p:tags r:id="rId16"/>
            </p:custDataLst>
          </p:nvPr>
        </p:nvSpPr>
        <p:spPr bwMode="gray">
          <a:xfrm>
            <a:off x="3035300" y="28209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C3AE9EB-590E-4563-9D21-FAEF837C1830}" type="datetime'''''7''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222" name="Rectangle 221">
            <a:extLst>
              <a:ext uri="{FF2B5EF4-FFF2-40B4-BE49-F238E27FC236}">
                <a16:creationId xmlns:a16="http://schemas.microsoft.com/office/drawing/2014/main" id="{57B8F847-01BF-F998-1F89-8A93BB7DF8C9}"/>
              </a:ext>
            </a:extLst>
          </p:cNvPr>
          <p:cNvSpPr>
            <a:spLocks noGrp="1" noChangeArrowheads="1"/>
          </p:cNvSpPr>
          <p:nvPr>
            <p:custDataLst>
              <p:tags r:id="rId17"/>
            </p:custDataLst>
          </p:nvPr>
        </p:nvSpPr>
        <p:spPr bwMode="gray">
          <a:xfrm>
            <a:off x="2586038" y="30226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F354685-E421-4EF1-8F8C-10E97C02548A}" type="datetime'''''''''''''''5''''''''''''''''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0" name="Rectangle 29">
            <a:extLst>
              <a:ext uri="{FF2B5EF4-FFF2-40B4-BE49-F238E27FC236}">
                <a16:creationId xmlns:a16="http://schemas.microsoft.com/office/drawing/2014/main" id="{0CA0F63D-5334-4249-891D-1F1B6FE06E81}"/>
              </a:ext>
            </a:extLst>
          </p:cNvPr>
          <p:cNvSpPr>
            <a:spLocks noGrp="1" noChangeArrowheads="1"/>
          </p:cNvSpPr>
          <p:nvPr>
            <p:custDataLst>
              <p:tags r:id="rId18"/>
            </p:custDataLst>
          </p:nvPr>
        </p:nvSpPr>
        <p:spPr bwMode="gray">
          <a:xfrm>
            <a:off x="879475" y="28733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175B56D-1A7D-437D-9447-E786EC0E22A7}" type="datetime'''''7''''''''''''''''''''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28" name="Rectangle 27">
            <a:extLst>
              <a:ext uri="{FF2B5EF4-FFF2-40B4-BE49-F238E27FC236}">
                <a16:creationId xmlns:a16="http://schemas.microsoft.com/office/drawing/2014/main" id="{C9EE83E5-29AB-4109-A23E-D1A3B30ADEC1}"/>
              </a:ext>
            </a:extLst>
          </p:cNvPr>
          <p:cNvSpPr>
            <a:spLocks noGrp="1" noChangeArrowheads="1"/>
          </p:cNvSpPr>
          <p:nvPr>
            <p:custDataLst>
              <p:tags r:id="rId19"/>
            </p:custDataLst>
          </p:nvPr>
        </p:nvSpPr>
        <p:spPr bwMode="gray">
          <a:xfrm>
            <a:off x="1328738" y="26812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1AEC18F-D4AC-4157-83CE-7FAB996B19FC}" type="datetime'''''''''''''''''''''''''''''''''''''9''''''''''''''''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4" name="Rectangle 123">
            <a:extLst>
              <a:ext uri="{FF2B5EF4-FFF2-40B4-BE49-F238E27FC236}">
                <a16:creationId xmlns:a16="http://schemas.microsoft.com/office/drawing/2014/main" id="{38A49457-AACC-39D5-4678-9E79240F06A0}"/>
              </a:ext>
            </a:extLst>
          </p:cNvPr>
          <p:cNvSpPr>
            <a:spLocks noGrp="1" noChangeArrowheads="1"/>
          </p:cNvSpPr>
          <p:nvPr>
            <p:custDataLst>
              <p:tags r:id="rId20"/>
            </p:custDataLst>
          </p:nvPr>
        </p:nvSpPr>
        <p:spPr bwMode="gray">
          <a:xfrm>
            <a:off x="3843338" y="30162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FEB7AB8-148B-4920-9D84-796B755AF365}" type="datetime'''''''''''''''5''''''''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5" name="Rectangle 124">
            <a:extLst>
              <a:ext uri="{FF2B5EF4-FFF2-40B4-BE49-F238E27FC236}">
                <a16:creationId xmlns:a16="http://schemas.microsoft.com/office/drawing/2014/main" id="{28A224DE-21F2-ED8A-C851-C918F7CA9723}"/>
              </a:ext>
            </a:extLst>
          </p:cNvPr>
          <p:cNvSpPr>
            <a:spLocks noGrp="1" noChangeArrowheads="1"/>
          </p:cNvSpPr>
          <p:nvPr>
            <p:custDataLst>
              <p:tags r:id="rId21"/>
            </p:custDataLst>
          </p:nvPr>
        </p:nvSpPr>
        <p:spPr bwMode="gray">
          <a:xfrm>
            <a:off x="4292600" y="28813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BA3F740-B203-4FAA-829F-846EB66F7432}" type="datetime'7''''''''''''''''''''''''''''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26" name="Rectangle 125">
            <a:extLst>
              <a:ext uri="{FF2B5EF4-FFF2-40B4-BE49-F238E27FC236}">
                <a16:creationId xmlns:a16="http://schemas.microsoft.com/office/drawing/2014/main" id="{3F3645B8-6913-83AF-E257-96AEDB51D15F}"/>
              </a:ext>
            </a:extLst>
          </p:cNvPr>
          <p:cNvSpPr>
            <a:spLocks noGrp="1" noChangeArrowheads="1"/>
          </p:cNvSpPr>
          <p:nvPr>
            <p:custDataLst>
              <p:tags r:id="rId22"/>
            </p:custDataLst>
          </p:nvPr>
        </p:nvSpPr>
        <p:spPr bwMode="gray">
          <a:xfrm>
            <a:off x="4740275" y="27066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EF1D46B-6C2D-4375-8C17-252ADC71ACCE}" type="datetime'''''''''''9''1''''''''''''''%'''''''''">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1%</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4" name="Rectangle 33">
            <a:extLst>
              <a:ext uri="{FF2B5EF4-FFF2-40B4-BE49-F238E27FC236}">
                <a16:creationId xmlns:a16="http://schemas.microsoft.com/office/drawing/2014/main" id="{ECC5BABA-40C3-454F-B613-3192C8F5A5C5}"/>
              </a:ext>
            </a:extLst>
          </p:cNvPr>
          <p:cNvSpPr>
            <a:spLocks noGrp="1" noChangeArrowheads="1"/>
          </p:cNvSpPr>
          <p:nvPr>
            <p:custDataLst>
              <p:tags r:id="rId23"/>
            </p:custDataLst>
          </p:nvPr>
        </p:nvSpPr>
        <p:spPr bwMode="gray">
          <a:xfrm>
            <a:off x="5997575" y="31067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6C35B4A-D3C5-4019-88F5-3FD8CCF26B04}" type="datetime'4''''''''''''''''''''''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5" name="Rectangle 34">
            <a:extLst>
              <a:ext uri="{FF2B5EF4-FFF2-40B4-BE49-F238E27FC236}">
                <a16:creationId xmlns:a16="http://schemas.microsoft.com/office/drawing/2014/main" id="{6F5DE516-017F-4994-90EF-2E5F2B887D1C}"/>
              </a:ext>
            </a:extLst>
          </p:cNvPr>
          <p:cNvSpPr>
            <a:spLocks noGrp="1" noChangeArrowheads="1"/>
          </p:cNvSpPr>
          <p:nvPr>
            <p:custDataLst>
              <p:tags r:id="rId24"/>
            </p:custDataLst>
          </p:nvPr>
        </p:nvSpPr>
        <p:spPr bwMode="gray">
          <a:xfrm>
            <a:off x="6446838" y="26495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420F956-713C-40B9-839D-35AA784BA51B}" type="datetime'''''''''''''''''''''''''9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8" name="Oval 37">
            <a:extLst>
              <a:ext uri="{FF2B5EF4-FFF2-40B4-BE49-F238E27FC236}">
                <a16:creationId xmlns:a16="http://schemas.microsoft.com/office/drawing/2014/main" id="{F3BB5019-E94C-491F-88CA-9FC54F03832B}"/>
              </a:ext>
            </a:extLst>
          </p:cNvPr>
          <p:cNvSpPr>
            <a:spLocks noGrp="1" noChangeArrowheads="1"/>
          </p:cNvSpPr>
          <p:nvPr>
            <p:custDataLst>
              <p:tags r:id="rId25"/>
            </p:custDataLst>
          </p:nvPr>
        </p:nvSpPr>
        <p:spPr bwMode="auto">
          <a:xfrm>
            <a:off x="763589" y="2303464"/>
            <a:ext cx="606425" cy="301625"/>
          </a:xfrm>
          <a:prstGeom prst="ellipse">
            <a:avLst/>
          </a:prstGeom>
          <a:solidFill>
            <a:schemeClr val="bg1"/>
          </a:solidFill>
          <a:ln w="9525" algn="ctr">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D3DDA53-4C54-4683-9B61-B504215F12DC}" type="datetime'''''''''''''''''''''''''''''''''''+''2''''''''''''''''''''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3" name="Oval 2">
            <a:extLst>
              <a:ext uri="{FF2B5EF4-FFF2-40B4-BE49-F238E27FC236}">
                <a16:creationId xmlns:a16="http://schemas.microsoft.com/office/drawing/2014/main" id="{E948DB5D-FA43-47E4-840E-C5472DF12384}"/>
              </a:ext>
            </a:extLst>
          </p:cNvPr>
          <p:cNvSpPr/>
          <p:nvPr>
            <p:custDataLst>
              <p:tags r:id="rId26"/>
            </p:custDataLst>
          </p:nvPr>
        </p:nvSpPr>
        <p:spPr bwMode="auto">
          <a:xfrm>
            <a:off x="2693989" y="2328864"/>
            <a:ext cx="60642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3263A762-2F2A-4065-8604-5BD197C87F6D}" type="datetime'''+''''''2''''''1''''''''''''''''''''%'''">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21%</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15" name="Oval 14">
            <a:extLst>
              <a:ext uri="{FF2B5EF4-FFF2-40B4-BE49-F238E27FC236}">
                <a16:creationId xmlns:a16="http://schemas.microsoft.com/office/drawing/2014/main" id="{76E68B3C-DB52-4711-932D-431D71110938}"/>
              </a:ext>
            </a:extLst>
          </p:cNvPr>
          <p:cNvSpPr/>
          <p:nvPr>
            <p:custDataLst>
              <p:tags r:id="rId27"/>
            </p:custDataLst>
          </p:nvPr>
        </p:nvSpPr>
        <p:spPr bwMode="auto">
          <a:xfrm>
            <a:off x="4175126" y="2328864"/>
            <a:ext cx="606425"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A33F6ABE-64AE-4732-9455-930337BBF055}" type="datetime'''''''''+''3''''3''''''''''''''''''''''''''%'''''''''''''''">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33%</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40" name="Oval 39">
            <a:extLst>
              <a:ext uri="{FF2B5EF4-FFF2-40B4-BE49-F238E27FC236}">
                <a16:creationId xmlns:a16="http://schemas.microsoft.com/office/drawing/2014/main" id="{084306F3-7D29-4027-8063-A43779BB7FA2}"/>
              </a:ext>
            </a:extLst>
          </p:cNvPr>
          <p:cNvSpPr>
            <a:spLocks noGrp="1" noChangeArrowheads="1"/>
          </p:cNvSpPr>
          <p:nvPr>
            <p:custDataLst>
              <p:tags r:id="rId28"/>
            </p:custDataLst>
          </p:nvPr>
        </p:nvSpPr>
        <p:spPr bwMode="auto">
          <a:xfrm>
            <a:off x="6105526" y="2157414"/>
            <a:ext cx="606425" cy="301625"/>
          </a:xfrm>
          <a:prstGeom prst="ellipse">
            <a:avLst/>
          </a:prstGeom>
          <a:solidFill>
            <a:schemeClr val="bg1"/>
          </a:solidFill>
          <a:ln w="9525" algn="ctr">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D4CA9C0-0C36-4E61-BF5B-0E76FF2529BF}" type="datetime'''''''''''''''''''''+''4''''''''''''''''''''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2" name="TextBox 41">
            <a:extLst>
              <a:ext uri="{FF2B5EF4-FFF2-40B4-BE49-F238E27FC236}">
                <a16:creationId xmlns:a16="http://schemas.microsoft.com/office/drawing/2014/main" id="{5FD875F4-3F00-437C-A42A-659B7423D4C2}"/>
              </a:ext>
            </a:extLst>
          </p:cNvPr>
          <p:cNvSpPr txBox="1"/>
          <p:nvPr/>
        </p:nvSpPr>
        <p:spPr>
          <a:xfrm>
            <a:off x="1224067" y="5758745"/>
            <a:ext cx="9743866" cy="794456"/>
          </a:xfrm>
          <a:prstGeom prst="rect">
            <a:avLst/>
          </a:prstGeom>
          <a:solidFill>
            <a:schemeClr val="bg1">
              <a:lumMod val="95000"/>
            </a:schemeClr>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Although the MICS report indicates greater improvement in Ebonyi MNH indices,  there is greater confidence in the NDHS data</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NDHS indicates modest improvements in MN and important increase in PNC-NB.</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Gill Sans MT" panose="020B0502020104020203"/>
                <a:ea typeface="+mn-ea"/>
                <a:cs typeface="+mn-cs"/>
              </a:rPr>
              <a:t>A possible factors contributing to these improvements include free maternal care policy introduced by the state government</a:t>
            </a:r>
            <a:endParaRPr kumimoji="0" lang="en-US" sz="1400" b="0" i="0" u="none" strike="noStrike" kern="1200" cap="none" spc="0" normalizeH="0" baseline="0" noProof="0" dirty="0">
              <a:ln>
                <a:noFill/>
              </a:ln>
              <a:solidFill>
                <a:srgbClr val="FF0000"/>
              </a:solidFill>
              <a:effectLst/>
              <a:uLnTx/>
              <a:uFillTx/>
              <a:latin typeface="Gill Sans MT" panose="020B0502020104020203"/>
              <a:ea typeface="+mn-ea"/>
              <a:cs typeface="+mn-cs"/>
            </a:endParaRPr>
          </a:p>
        </p:txBody>
      </p:sp>
      <p:sp>
        <p:nvSpPr>
          <p:cNvPr id="49" name="Rectangle 48">
            <a:extLst>
              <a:ext uri="{FF2B5EF4-FFF2-40B4-BE49-F238E27FC236}">
                <a16:creationId xmlns:a16="http://schemas.microsoft.com/office/drawing/2014/main" id="{B40341F1-D99F-47E5-A564-624DEA6BA413}"/>
              </a:ext>
            </a:extLst>
          </p:cNvPr>
          <p:cNvSpPr/>
          <p:nvPr/>
        </p:nvSpPr>
        <p:spPr bwMode="auto">
          <a:xfrm>
            <a:off x="85933" y="1174333"/>
            <a:ext cx="7196216" cy="365760"/>
          </a:xfrm>
          <a:prstGeom prst="rect">
            <a:avLst/>
          </a:prstGeom>
          <a:gradFill>
            <a:gsLst>
              <a:gs pos="0">
                <a:srgbClr val="78AEAC"/>
              </a:gs>
              <a:gs pos="65000">
                <a:srgbClr val="4AA19E">
                  <a:tint val="44500"/>
                  <a:satMod val="160000"/>
                </a:srgbClr>
              </a:gs>
              <a:gs pos="100000">
                <a:srgbClr val="4AA19E">
                  <a:tint val="23500"/>
                  <a:satMod val="160000"/>
                </a:srgbClr>
              </a:gs>
            </a:gsLst>
            <a:lin ang="0" scaled="1"/>
          </a:gra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Maternal Health</a:t>
            </a:r>
          </a:p>
        </p:txBody>
      </p:sp>
      <p:sp>
        <p:nvSpPr>
          <p:cNvPr id="44" name="Rectangle 43">
            <a:extLst>
              <a:ext uri="{FF2B5EF4-FFF2-40B4-BE49-F238E27FC236}">
                <a16:creationId xmlns:a16="http://schemas.microsoft.com/office/drawing/2014/main" id="{5990D8EF-4E48-4108-8586-3EDC0AF0D740}"/>
              </a:ext>
            </a:extLst>
          </p:cNvPr>
          <p:cNvSpPr/>
          <p:nvPr>
            <p:custDataLst>
              <p:tags r:id="rId29"/>
            </p:custDataLst>
          </p:nvPr>
        </p:nvSpPr>
        <p:spPr bwMode="auto">
          <a:xfrm>
            <a:off x="10860088" y="1585913"/>
            <a:ext cx="196850" cy="147638"/>
          </a:xfrm>
          <a:prstGeom prst="rect">
            <a:avLst/>
          </a:prstGeom>
          <a:solidFill>
            <a:srgbClr val="67184B"/>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ED588B3A-8865-4AB4-83DB-95F7D34B3B60}"/>
              </a:ext>
            </a:extLst>
          </p:cNvPr>
          <p:cNvSpPr/>
          <p:nvPr>
            <p:custDataLst>
              <p:tags r:id="rId30"/>
            </p:custDataLst>
          </p:nvPr>
        </p:nvSpPr>
        <p:spPr bwMode="auto">
          <a:xfrm>
            <a:off x="10231438" y="1585913"/>
            <a:ext cx="196850" cy="147638"/>
          </a:xfrm>
          <a:prstGeom prst="rect">
            <a:avLst/>
          </a:prstGeom>
          <a:solidFill>
            <a:schemeClr val="accent1"/>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 name="Rectangle 42">
            <a:extLst>
              <a:ext uri="{FF2B5EF4-FFF2-40B4-BE49-F238E27FC236}">
                <a16:creationId xmlns:a16="http://schemas.microsoft.com/office/drawing/2014/main" id="{BB3F6E04-878F-4F97-BD57-42932A1461E1}"/>
              </a:ext>
            </a:extLst>
          </p:cNvPr>
          <p:cNvSpPr/>
          <p:nvPr>
            <p:custDataLst>
              <p:tags r:id="rId31"/>
            </p:custDataLst>
          </p:nvPr>
        </p:nvSpPr>
        <p:spPr bwMode="auto">
          <a:xfrm>
            <a:off x="11488738" y="1585913"/>
            <a:ext cx="196850" cy="147638"/>
          </a:xfrm>
          <a:prstGeom prst="rect">
            <a:avLst/>
          </a:prstGeom>
          <a:solidFill>
            <a:schemeClr val="tx2"/>
          </a:solidFill>
          <a:ln w="6350" cmpd="sng" algn="ctr">
            <a:solidFill>
              <a:schemeClr val="bg1"/>
            </a:solidFill>
          </a:ln>
          <a:effectLst/>
        </p:spPr>
        <p:txBody>
          <a:bodyPr wrap="non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 name="Rectangle 45">
            <a:extLst>
              <a:ext uri="{FF2B5EF4-FFF2-40B4-BE49-F238E27FC236}">
                <a16:creationId xmlns:a16="http://schemas.microsoft.com/office/drawing/2014/main" id="{43A4FCD1-63C4-4201-A609-04C7CEDF415A}"/>
              </a:ext>
            </a:extLst>
          </p:cNvPr>
          <p:cNvSpPr>
            <a:spLocks noGrp="1" noChangeArrowheads="1"/>
          </p:cNvSpPr>
          <p:nvPr>
            <p:custDataLst>
              <p:tags r:id="rId32"/>
            </p:custDataLst>
          </p:nvPr>
        </p:nvSpPr>
        <p:spPr bwMode="auto">
          <a:xfrm>
            <a:off x="10479088" y="1581150"/>
            <a:ext cx="2794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45413D7F-F74A-4E5C-9C42-4CFD832E5B78}" type="datetime'''''''''''''''''''''''''2''''''''''''0''''''''''''1''''''1'''">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2011</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8" name="Rectangle 47">
            <a:extLst>
              <a:ext uri="{FF2B5EF4-FFF2-40B4-BE49-F238E27FC236}">
                <a16:creationId xmlns:a16="http://schemas.microsoft.com/office/drawing/2014/main" id="{C1115AF6-04B2-4BE4-87D2-543757DA5830}"/>
              </a:ext>
            </a:extLst>
          </p:cNvPr>
          <p:cNvSpPr>
            <a:spLocks noGrp="1" noChangeArrowheads="1"/>
          </p:cNvSpPr>
          <p:nvPr>
            <p:custDataLst>
              <p:tags r:id="rId33"/>
            </p:custDataLst>
          </p:nvPr>
        </p:nvSpPr>
        <p:spPr bwMode="auto">
          <a:xfrm>
            <a:off x="11736388" y="1581150"/>
            <a:ext cx="2794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78440906-4C8A-4D2A-A6EB-7F121A05AB73}" type="datetime'''''''''2''''''''''''''''''0''''''''''''''''2''1'''''''''''''">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2021</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7" name="Rectangle 46">
            <a:extLst>
              <a:ext uri="{FF2B5EF4-FFF2-40B4-BE49-F238E27FC236}">
                <a16:creationId xmlns:a16="http://schemas.microsoft.com/office/drawing/2014/main" id="{1D1D7CF7-F67A-4124-88E6-C50F8CC08845}"/>
              </a:ext>
            </a:extLst>
          </p:cNvPr>
          <p:cNvSpPr>
            <a:spLocks noGrp="1" noChangeArrowheads="1"/>
          </p:cNvSpPr>
          <p:nvPr>
            <p:custDataLst>
              <p:tags r:id="rId34"/>
            </p:custDataLst>
          </p:nvPr>
        </p:nvSpPr>
        <p:spPr bwMode="auto">
          <a:xfrm>
            <a:off x="11107738" y="1581150"/>
            <a:ext cx="2794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534F6E8D-AEB9-4355-810D-961858FE7A58}" type="datetime'''''''''2''''''''''''0''''''''1''''''6'''''''''">
              <a:rPr kumimoji="0" lang="en-GB" altLang="en-US" sz="11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2016</a:t>
            </a:fld>
            <a:endParaRPr kumimoji="0" lang="en-US" sz="11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pSp>
        <p:nvGrpSpPr>
          <p:cNvPr id="17" name="Group 16">
            <a:extLst>
              <a:ext uri="{FF2B5EF4-FFF2-40B4-BE49-F238E27FC236}">
                <a16:creationId xmlns:a16="http://schemas.microsoft.com/office/drawing/2014/main" id="{15316308-AAE1-1206-47FB-0DA84767D7B4}"/>
              </a:ext>
            </a:extLst>
          </p:cNvPr>
          <p:cNvGrpSpPr/>
          <p:nvPr/>
        </p:nvGrpSpPr>
        <p:grpSpPr>
          <a:xfrm>
            <a:off x="10652029" y="1270682"/>
            <a:ext cx="1294672" cy="187325"/>
            <a:chOff x="8933590" y="1261108"/>
            <a:chExt cx="1294672" cy="186112"/>
          </a:xfrm>
        </p:grpSpPr>
        <p:sp>
          <p:nvSpPr>
            <p:cNvPr id="50" name="TextBox 49">
              <a:extLst>
                <a:ext uri="{FF2B5EF4-FFF2-40B4-BE49-F238E27FC236}">
                  <a16:creationId xmlns:a16="http://schemas.microsoft.com/office/drawing/2014/main" id="{971DCCD7-789D-44A7-A450-A717D2732EFF}"/>
                </a:ext>
              </a:extLst>
            </p:cNvPr>
            <p:cNvSpPr txBox="1"/>
            <p:nvPr/>
          </p:nvSpPr>
          <p:spPr>
            <a:xfrm>
              <a:off x="8933590" y="1264657"/>
              <a:ext cx="365760" cy="1825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51" name="TextBox 50">
              <a:extLst>
                <a:ext uri="{FF2B5EF4-FFF2-40B4-BE49-F238E27FC236}">
                  <a16:creationId xmlns:a16="http://schemas.microsoft.com/office/drawing/2014/main" id="{253C9DCC-CF2A-4B9A-8DCD-85482D67141E}"/>
                </a:ext>
              </a:extLst>
            </p:cNvPr>
            <p:cNvSpPr txBox="1"/>
            <p:nvPr/>
          </p:nvSpPr>
          <p:spPr>
            <a:xfrm>
              <a:off x="9130982" y="1261108"/>
              <a:ext cx="1097280" cy="184150"/>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Data Not Available</a:t>
              </a:r>
            </a:p>
          </p:txBody>
        </p:sp>
      </p:grpSp>
      <p:graphicFrame>
        <p:nvGraphicFramePr>
          <p:cNvPr id="156" name="Chart 155">
            <a:extLst>
              <a:ext uri="{FF2B5EF4-FFF2-40B4-BE49-F238E27FC236}">
                <a16:creationId xmlns:a16="http://schemas.microsoft.com/office/drawing/2014/main" id="{CCC9DB54-334F-4CBE-9C6D-823D8DF3A0A1}"/>
              </a:ext>
            </a:extLst>
          </p:cNvPr>
          <p:cNvGraphicFramePr/>
          <p:nvPr>
            <p:custDataLst>
              <p:tags r:id="rId35"/>
            </p:custDataLst>
          </p:nvPr>
        </p:nvGraphicFramePr>
        <p:xfrm>
          <a:off x="117475" y="4697413"/>
          <a:ext cx="7013575" cy="1066800"/>
        </p:xfrm>
        <a:graphic>
          <a:graphicData uri="http://schemas.openxmlformats.org/drawingml/2006/chart">
            <c:chart xmlns:c="http://schemas.openxmlformats.org/drawingml/2006/chart" xmlns:r="http://schemas.openxmlformats.org/officeDocument/2006/relationships" r:id="rId102"/>
          </a:graphicData>
        </a:graphic>
      </p:graphicFrame>
      <p:cxnSp>
        <p:nvCxnSpPr>
          <p:cNvPr id="56" name="Straight Connector 55">
            <a:extLst>
              <a:ext uri="{FF2B5EF4-FFF2-40B4-BE49-F238E27FC236}">
                <a16:creationId xmlns:a16="http://schemas.microsoft.com/office/drawing/2014/main" id="{A97457FA-7B6E-4EB6-127C-337A6214E073}"/>
              </a:ext>
            </a:extLst>
          </p:cNvPr>
          <p:cNvCxnSpPr/>
          <p:nvPr>
            <p:custDataLst>
              <p:tags r:id="rId36"/>
            </p:custDataLst>
          </p:nvPr>
        </p:nvCxnSpPr>
        <p:spPr bwMode="auto">
          <a:xfrm>
            <a:off x="1506538" y="4314825"/>
            <a:ext cx="0" cy="1889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D720515C-B528-3D7C-04F8-91199C21C389}"/>
              </a:ext>
            </a:extLst>
          </p:cNvPr>
          <p:cNvCxnSpPr/>
          <p:nvPr>
            <p:custDataLst>
              <p:tags r:id="rId37"/>
            </p:custDataLst>
          </p:nvPr>
        </p:nvCxnSpPr>
        <p:spPr bwMode="auto">
          <a:xfrm>
            <a:off x="604838" y="4314825"/>
            <a:ext cx="9017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30978D3D-B569-F821-53F0-2926BA5F415A}"/>
              </a:ext>
            </a:extLst>
          </p:cNvPr>
          <p:cNvCxnSpPr/>
          <p:nvPr>
            <p:custDataLst>
              <p:tags r:id="rId38"/>
            </p:custDataLst>
          </p:nvPr>
        </p:nvCxnSpPr>
        <p:spPr bwMode="auto">
          <a:xfrm flipV="1">
            <a:off x="604838" y="4314825"/>
            <a:ext cx="0" cy="3238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7422553D-15FE-4BA7-A130-1B6EBFD0362D}"/>
              </a:ext>
            </a:extLst>
          </p:cNvPr>
          <p:cNvCxnSpPr/>
          <p:nvPr>
            <p:custDataLst>
              <p:tags r:id="rId39"/>
            </p:custDataLst>
          </p:nvPr>
        </p:nvCxnSpPr>
        <p:spPr bwMode="auto">
          <a:xfrm>
            <a:off x="4029075" y="4621213"/>
            <a:ext cx="901700"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919F2D6B-4885-42BF-A48B-D0DC9D4255DD}"/>
              </a:ext>
            </a:extLst>
          </p:cNvPr>
          <p:cNvCxnSpPr/>
          <p:nvPr>
            <p:custDataLst>
              <p:tags r:id="rId40"/>
            </p:custDataLst>
          </p:nvPr>
        </p:nvCxnSpPr>
        <p:spPr bwMode="auto">
          <a:xfrm flipV="1">
            <a:off x="4029075" y="4621213"/>
            <a:ext cx="0" cy="3397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4C36151A-2A14-42AB-9C88-72CDE908EF8D}"/>
              </a:ext>
            </a:extLst>
          </p:cNvPr>
          <p:cNvCxnSpPr/>
          <p:nvPr>
            <p:custDataLst>
              <p:tags r:id="rId41"/>
            </p:custDataLst>
          </p:nvPr>
        </p:nvCxnSpPr>
        <p:spPr bwMode="auto">
          <a:xfrm>
            <a:off x="4930775" y="4621214"/>
            <a:ext cx="0" cy="28416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1D6A30B4-4C51-7BE9-FA81-11B0A197DF3F}"/>
              </a:ext>
            </a:extLst>
          </p:cNvPr>
          <p:cNvCxnSpPr/>
          <p:nvPr>
            <p:custDataLst>
              <p:tags r:id="rId42"/>
            </p:custDataLst>
          </p:nvPr>
        </p:nvCxnSpPr>
        <p:spPr bwMode="auto">
          <a:xfrm flipV="1">
            <a:off x="5741988" y="4676775"/>
            <a:ext cx="0" cy="37306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5046EB84-F671-12B0-10E4-FD1C00F84B0B}"/>
              </a:ext>
            </a:extLst>
          </p:cNvPr>
          <p:cNvCxnSpPr/>
          <p:nvPr>
            <p:custDataLst>
              <p:tags r:id="rId43"/>
            </p:custDataLst>
          </p:nvPr>
        </p:nvCxnSpPr>
        <p:spPr bwMode="auto">
          <a:xfrm>
            <a:off x="5741988" y="4676775"/>
            <a:ext cx="9017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C3B5054D-1039-6743-167D-60297B095AAC}"/>
              </a:ext>
            </a:extLst>
          </p:cNvPr>
          <p:cNvCxnSpPr/>
          <p:nvPr>
            <p:custDataLst>
              <p:tags r:id="rId44"/>
            </p:custDataLst>
          </p:nvPr>
        </p:nvCxnSpPr>
        <p:spPr bwMode="auto">
          <a:xfrm>
            <a:off x="6643688" y="4676775"/>
            <a:ext cx="0" cy="22542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2" name="Rectangle 71">
            <a:extLst>
              <a:ext uri="{FF2B5EF4-FFF2-40B4-BE49-F238E27FC236}">
                <a16:creationId xmlns:a16="http://schemas.microsoft.com/office/drawing/2014/main" id="{F490910D-A6A6-859D-C41E-CAC45FD12357}"/>
              </a:ext>
            </a:extLst>
          </p:cNvPr>
          <p:cNvSpPr>
            <a:spLocks noGrp="1" noChangeArrowheads="1"/>
          </p:cNvSpPr>
          <p:nvPr>
            <p:custDataLst>
              <p:tags r:id="rId45"/>
            </p:custDataLst>
          </p:nvPr>
        </p:nvSpPr>
        <p:spPr bwMode="gray">
          <a:xfrm>
            <a:off x="417513" y="46767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71CEF69-F119-484E-90BF-61491F8768DF}" type="datetime'''''''''''''8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8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50" name="Rectangle 149">
            <a:extLst>
              <a:ext uri="{FF2B5EF4-FFF2-40B4-BE49-F238E27FC236}">
                <a16:creationId xmlns:a16="http://schemas.microsoft.com/office/drawing/2014/main" id="{2DFD0588-713A-1849-466A-7DF866899223}"/>
              </a:ext>
            </a:extLst>
          </p:cNvPr>
          <p:cNvSpPr>
            <a:spLocks noGrp="1" noChangeArrowheads="1"/>
          </p:cNvSpPr>
          <p:nvPr>
            <p:custDataLst>
              <p:tags r:id="rId46"/>
            </p:custDataLst>
          </p:nvPr>
        </p:nvSpPr>
        <p:spPr bwMode="gray">
          <a:xfrm>
            <a:off x="4292600" y="48482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DB98F49-6EE7-4FBA-9C92-EC4937091CA1}" type="datetime'''''''''''''''6''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3" name="Rectangle 72">
            <a:extLst>
              <a:ext uri="{FF2B5EF4-FFF2-40B4-BE49-F238E27FC236}">
                <a16:creationId xmlns:a16="http://schemas.microsoft.com/office/drawing/2014/main" id="{2E30E795-3B6B-7B18-EB5B-9E604A6B3699}"/>
              </a:ext>
            </a:extLst>
          </p:cNvPr>
          <p:cNvSpPr>
            <a:spLocks noGrp="1" noChangeArrowheads="1"/>
          </p:cNvSpPr>
          <p:nvPr>
            <p:custDataLst>
              <p:tags r:id="rId47"/>
            </p:custDataLst>
          </p:nvPr>
        </p:nvSpPr>
        <p:spPr bwMode="gray">
          <a:xfrm>
            <a:off x="868363" y="455295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BE5F0DF-D2EE-424F-B193-5CA1D52E307D}" type="datetime'''''''''9''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4" name="Rectangle 73">
            <a:extLst>
              <a:ext uri="{FF2B5EF4-FFF2-40B4-BE49-F238E27FC236}">
                <a16:creationId xmlns:a16="http://schemas.microsoft.com/office/drawing/2014/main" id="{1BFDADE4-965F-5BF5-21A6-C76CA09AD6CE}"/>
              </a:ext>
            </a:extLst>
          </p:cNvPr>
          <p:cNvSpPr>
            <a:spLocks noGrp="1" noChangeArrowheads="1"/>
          </p:cNvSpPr>
          <p:nvPr>
            <p:custDataLst>
              <p:tags r:id="rId48"/>
            </p:custDataLst>
          </p:nvPr>
        </p:nvSpPr>
        <p:spPr bwMode="gray">
          <a:xfrm>
            <a:off x="1319213" y="45418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8AE9E64-94A7-49A7-B9A5-1AD1DB5DC409}" type="datetime'''''''9''''''''''''''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49" name="Rectangle 148">
            <a:extLst>
              <a:ext uri="{FF2B5EF4-FFF2-40B4-BE49-F238E27FC236}">
                <a16:creationId xmlns:a16="http://schemas.microsoft.com/office/drawing/2014/main" id="{B8419500-2F7C-69B2-13F1-CA7BD5D9DD63}"/>
              </a:ext>
            </a:extLst>
          </p:cNvPr>
          <p:cNvSpPr>
            <a:spLocks noGrp="1" noChangeArrowheads="1"/>
          </p:cNvSpPr>
          <p:nvPr>
            <p:custDataLst>
              <p:tags r:id="rId49"/>
            </p:custDataLst>
          </p:nvPr>
        </p:nvSpPr>
        <p:spPr bwMode="gray">
          <a:xfrm>
            <a:off x="3841750" y="49990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C05780A-AB00-41C4-A1F4-6885F313930C}" type="datetime'''''''''''''''''''''''4''''''''''''''''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51" name="Rectangle 150">
            <a:extLst>
              <a:ext uri="{FF2B5EF4-FFF2-40B4-BE49-F238E27FC236}">
                <a16:creationId xmlns:a16="http://schemas.microsoft.com/office/drawing/2014/main" id="{03F29BEF-F8AB-30D3-CC4D-CC227010D12D}"/>
              </a:ext>
            </a:extLst>
          </p:cNvPr>
          <p:cNvSpPr>
            <a:spLocks noGrp="1" noChangeArrowheads="1"/>
          </p:cNvSpPr>
          <p:nvPr>
            <p:custDataLst>
              <p:tags r:id="rId50"/>
            </p:custDataLst>
          </p:nvPr>
        </p:nvSpPr>
        <p:spPr bwMode="gray">
          <a:xfrm>
            <a:off x="4743450" y="494347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D85DEBA-6AA5-4D87-B2D0-05D1840C9138}" type="datetime'''''5''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7" name="Rectangle 116">
            <a:extLst>
              <a:ext uri="{FF2B5EF4-FFF2-40B4-BE49-F238E27FC236}">
                <a16:creationId xmlns:a16="http://schemas.microsoft.com/office/drawing/2014/main" id="{423ACC86-FCC6-589F-DFB4-4B16DCA06040}"/>
              </a:ext>
            </a:extLst>
          </p:cNvPr>
          <p:cNvSpPr>
            <a:spLocks noGrp="1" noChangeArrowheads="1"/>
          </p:cNvSpPr>
          <p:nvPr>
            <p:custDataLst>
              <p:tags r:id="rId51"/>
            </p:custDataLst>
          </p:nvPr>
        </p:nvSpPr>
        <p:spPr bwMode="gray">
          <a:xfrm>
            <a:off x="5554663" y="50879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BB47287-A6FA-4BF9-95D8-A37D40A4A793}" type="datetime'3''''''''''''''''''7''''''''''''%'''">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7%</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7" name="Rectangle 76">
            <a:extLst>
              <a:ext uri="{FF2B5EF4-FFF2-40B4-BE49-F238E27FC236}">
                <a16:creationId xmlns:a16="http://schemas.microsoft.com/office/drawing/2014/main" id="{E9B204C0-5225-9564-A891-DB3CC9DFBDBC}"/>
              </a:ext>
            </a:extLst>
          </p:cNvPr>
          <p:cNvSpPr>
            <a:spLocks noGrp="1" noChangeArrowheads="1"/>
          </p:cNvSpPr>
          <p:nvPr>
            <p:custDataLst>
              <p:tags r:id="rId52"/>
            </p:custDataLst>
          </p:nvPr>
        </p:nvSpPr>
        <p:spPr bwMode="gray">
          <a:xfrm>
            <a:off x="6005513" y="49037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CDEB8D2-EBBE-41CF-9DBD-9AF19A3F9ACB}" type="datetime'5''''''''''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78" name="Rectangle 77">
            <a:extLst>
              <a:ext uri="{FF2B5EF4-FFF2-40B4-BE49-F238E27FC236}">
                <a16:creationId xmlns:a16="http://schemas.microsoft.com/office/drawing/2014/main" id="{367CDCC0-42B0-7249-94D1-CA607C5751B5}"/>
              </a:ext>
            </a:extLst>
          </p:cNvPr>
          <p:cNvSpPr>
            <a:spLocks noGrp="1" noChangeArrowheads="1"/>
          </p:cNvSpPr>
          <p:nvPr>
            <p:custDataLst>
              <p:tags r:id="rId53"/>
            </p:custDataLst>
          </p:nvPr>
        </p:nvSpPr>
        <p:spPr bwMode="gray">
          <a:xfrm>
            <a:off x="6456363" y="49403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8799788-7A46-4B3F-829D-C63095B2955A}" type="datetime'''''''''5''''''''''''''''''2''''%'''''">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2%</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1" name="Oval 80">
            <a:extLst>
              <a:ext uri="{FF2B5EF4-FFF2-40B4-BE49-F238E27FC236}">
                <a16:creationId xmlns:a16="http://schemas.microsoft.com/office/drawing/2014/main" id="{E1038C98-A36A-133C-07E4-F35A34210ABF}"/>
              </a:ext>
            </a:extLst>
          </p:cNvPr>
          <p:cNvSpPr>
            <a:spLocks noGrp="1" noChangeArrowheads="1"/>
          </p:cNvSpPr>
          <p:nvPr>
            <p:custDataLst>
              <p:tags r:id="rId54"/>
            </p:custDataLst>
          </p:nvPr>
        </p:nvSpPr>
        <p:spPr bwMode="auto">
          <a:xfrm>
            <a:off x="752475" y="4164013"/>
            <a:ext cx="606425" cy="301625"/>
          </a:xfrm>
          <a:prstGeom prst="ellipse">
            <a:avLst/>
          </a:prstGeom>
          <a:solidFill>
            <a:schemeClr val="bg1"/>
          </a:solidFill>
          <a:ln w="9525" algn="ctr">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C8C46EA-E9F7-4998-8B9F-A64E92DB9DF1}" type="datetime'''''''''''''+1''''''''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9" name="Oval 68">
            <a:extLst>
              <a:ext uri="{FF2B5EF4-FFF2-40B4-BE49-F238E27FC236}">
                <a16:creationId xmlns:a16="http://schemas.microsoft.com/office/drawing/2014/main" id="{5C6F0C87-F4B0-4E56-A6F3-137025D827FE}"/>
              </a:ext>
            </a:extLst>
          </p:cNvPr>
          <p:cNvSpPr/>
          <p:nvPr>
            <p:custDataLst>
              <p:tags r:id="rId55"/>
            </p:custDataLst>
          </p:nvPr>
        </p:nvSpPr>
        <p:spPr bwMode="auto">
          <a:xfrm>
            <a:off x="4246563" y="4470400"/>
            <a:ext cx="468313" cy="301625"/>
          </a:xfrm>
          <a:prstGeom prst="ellipse">
            <a:avLst/>
          </a:prstGeom>
          <a:solidFill>
            <a:schemeClr val="bg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fld id="{7614A76D-CC37-4113-8EC2-0BDA6BC3F91E}" type="datetime'''''''''''+''''''''''''''''''''''6%'''">
              <a:rPr kumimoji="0" lang="en-GB" altLang="en-US" sz="1400" b="1"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ctr" defTabSz="1219170" rtl="0" eaLnBrk="1" fontAlgn="auto" latinLnBrk="0" hangingPunct="1">
                <a:lnSpc>
                  <a:spcPct val="100000"/>
                </a:lnSpc>
                <a:spcBef>
                  <a:spcPct val="0"/>
                </a:spcBef>
                <a:spcAft>
                  <a:spcPct val="0"/>
                </a:spcAft>
                <a:buClrTx/>
                <a:buSzTx/>
                <a:buFontTx/>
                <a:buNone/>
                <a:tabLst/>
                <a:defRPr/>
              </a:pPr>
              <a:t>+6%</a:t>
            </a:fld>
            <a:endParaRPr kumimoji="0" lang="en-GB" sz="1400" b="1"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83" name="Oval 82">
            <a:extLst>
              <a:ext uri="{FF2B5EF4-FFF2-40B4-BE49-F238E27FC236}">
                <a16:creationId xmlns:a16="http://schemas.microsoft.com/office/drawing/2014/main" id="{01976F31-B0ED-281F-9D0B-12D46A3A6788}"/>
              </a:ext>
            </a:extLst>
          </p:cNvPr>
          <p:cNvSpPr>
            <a:spLocks noGrp="1" noChangeArrowheads="1"/>
          </p:cNvSpPr>
          <p:nvPr>
            <p:custDataLst>
              <p:tags r:id="rId56"/>
            </p:custDataLst>
          </p:nvPr>
        </p:nvSpPr>
        <p:spPr bwMode="auto">
          <a:xfrm>
            <a:off x="5889625" y="4525963"/>
            <a:ext cx="606425" cy="301625"/>
          </a:xfrm>
          <a:prstGeom prst="ellipse">
            <a:avLst/>
          </a:prstGeom>
          <a:solidFill>
            <a:schemeClr val="bg1"/>
          </a:solidFill>
          <a:ln w="9525" algn="ctr">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A9A5EA3-38B3-4AB5-A21A-78F9FCD22D73}" type="datetime'+''''''''''''''1''''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8" name="Rectangle 117">
            <a:extLst>
              <a:ext uri="{FF2B5EF4-FFF2-40B4-BE49-F238E27FC236}">
                <a16:creationId xmlns:a16="http://schemas.microsoft.com/office/drawing/2014/main" id="{215EE855-9CAB-4B7C-8BC4-1CA64CF0C769}"/>
              </a:ext>
            </a:extLst>
          </p:cNvPr>
          <p:cNvSpPr/>
          <p:nvPr/>
        </p:nvSpPr>
        <p:spPr bwMode="auto">
          <a:xfrm>
            <a:off x="-2" y="71390"/>
            <a:ext cx="5334002"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Maternal and Newborn Health Indices – Trend in maternal and Newborn health </a:t>
            </a:r>
          </a:p>
        </p:txBody>
      </p:sp>
      <p:sp>
        <p:nvSpPr>
          <p:cNvPr id="119" name="Title 1">
            <a:extLst>
              <a:ext uri="{FF2B5EF4-FFF2-40B4-BE49-F238E27FC236}">
                <a16:creationId xmlns:a16="http://schemas.microsoft.com/office/drawing/2014/main" id="{30D405C1-BCC5-4188-4926-B64910210AC0}"/>
              </a:ext>
            </a:extLst>
          </p:cNvPr>
          <p:cNvSpPr>
            <a:spLocks noGrp="1"/>
          </p:cNvSpPr>
          <p:nvPr>
            <p:ph type="title"/>
          </p:nvPr>
        </p:nvSpPr>
        <p:spPr>
          <a:xfrm>
            <a:off x="215006" y="245162"/>
            <a:ext cx="11270299" cy="1005840"/>
          </a:xfrm>
        </p:spPr>
        <p:txBody>
          <a:bodyPr vert="horz">
            <a:noAutofit/>
          </a:bodyPr>
          <a:lstStyle/>
          <a:p>
            <a:pPr marL="0" marR="0" lvl="0" indent="0" algn="l" defTabSz="91433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j-lt"/>
                <a:ea typeface="Cambria" panose="02040503050406030204" pitchFamily="18" charset="0"/>
                <a:cs typeface="Arial" charset="0"/>
              </a:rPr>
              <a:t>MICS and NDHS show Ebonyi has experienced improvement in the use of MN services in the last decade; there are concerns with MICS data</a:t>
            </a:r>
          </a:p>
        </p:txBody>
      </p:sp>
      <p:sp>
        <p:nvSpPr>
          <p:cNvPr id="187" name="Rectangle 186">
            <a:extLst>
              <a:ext uri="{FF2B5EF4-FFF2-40B4-BE49-F238E27FC236}">
                <a16:creationId xmlns:a16="http://schemas.microsoft.com/office/drawing/2014/main" id="{60C18600-6FE1-1EE0-9B8C-2FA5D3BBBEFC}"/>
              </a:ext>
            </a:extLst>
          </p:cNvPr>
          <p:cNvSpPr>
            <a:spLocks noGrp="1" noChangeArrowheads="1"/>
          </p:cNvSpPr>
          <p:nvPr/>
        </p:nvSpPr>
        <p:spPr bwMode="auto">
          <a:xfrm>
            <a:off x="480596" y="1875759"/>
            <a:ext cx="1298575" cy="20478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8312D4D-033F-4A80-8F48-2243907520D9}" type="datetime'''''AN''C'': ''''A''t'''''' ''least 1'' ''''''vi''''si''t'''">
              <a:rPr kumimoji="0" lang="en-US" altLang="en-US" sz="1400" b="0" i="0" u="none" strike="noStrike" kern="0" cap="none" spc="0" normalizeH="0" baseline="0" noProof="0" smtClean="0">
                <a:ln>
                  <a:noFill/>
                </a:ln>
                <a:solidFill>
                  <a:srgbClr val="000000"/>
                </a:solidFill>
                <a:effectLst/>
                <a:uLnTx/>
                <a:uFillTx/>
                <a:latin typeface="Gill Sans MT" panose="020B0502020104020203"/>
                <a:ea typeface="+mn-ea"/>
                <a:cs typeface="+mn-cs"/>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ANC: At least 1 visit</a:t>
            </a:fld>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88" name="Rectangle 187">
            <a:extLst>
              <a:ext uri="{FF2B5EF4-FFF2-40B4-BE49-F238E27FC236}">
                <a16:creationId xmlns:a16="http://schemas.microsoft.com/office/drawing/2014/main" id="{5C19C592-75CE-0ED7-AD70-5362B0EE1422}"/>
              </a:ext>
            </a:extLst>
          </p:cNvPr>
          <p:cNvSpPr>
            <a:spLocks noGrp="1" noChangeArrowheads="1"/>
          </p:cNvSpPr>
          <p:nvPr/>
        </p:nvSpPr>
        <p:spPr bwMode="auto">
          <a:xfrm>
            <a:off x="5483867" y="1875759"/>
            <a:ext cx="1655763" cy="20478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PNC-Mother </a:t>
            </a:r>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90" name="Rectangle 189">
            <a:extLst>
              <a:ext uri="{FF2B5EF4-FFF2-40B4-BE49-F238E27FC236}">
                <a16:creationId xmlns:a16="http://schemas.microsoft.com/office/drawing/2014/main" id="{035BF4E3-7AA6-10AD-7F2C-77D0BB12EBEE}"/>
              </a:ext>
            </a:extLst>
          </p:cNvPr>
          <p:cNvSpPr>
            <a:spLocks noGrp="1" noChangeArrowheads="1"/>
          </p:cNvSpPr>
          <p:nvPr/>
        </p:nvSpPr>
        <p:spPr bwMode="auto">
          <a:xfrm>
            <a:off x="2511849" y="1875759"/>
            <a:ext cx="927652" cy="2150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ANC 4 </a:t>
            </a:r>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sp>
        <p:nvSpPr>
          <p:cNvPr id="191" name="Rectangle 190">
            <a:extLst>
              <a:ext uri="{FF2B5EF4-FFF2-40B4-BE49-F238E27FC236}">
                <a16:creationId xmlns:a16="http://schemas.microsoft.com/office/drawing/2014/main" id="{B3EC44F3-F8B3-46F6-45AB-4B4071E8EBA3}"/>
              </a:ext>
            </a:extLst>
          </p:cNvPr>
          <p:cNvSpPr>
            <a:spLocks noGrp="1" noChangeArrowheads="1"/>
          </p:cNvSpPr>
          <p:nvPr/>
        </p:nvSpPr>
        <p:spPr bwMode="auto">
          <a:xfrm>
            <a:off x="4059832" y="1875759"/>
            <a:ext cx="1030637" cy="204788"/>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rPr>
              <a:t>SBA</a:t>
            </a:r>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sym typeface="Arial" panose="020B0604020202020204" pitchFamily="34" charset="0"/>
            </a:endParaRPr>
          </a:p>
        </p:txBody>
      </p:sp>
      <p:graphicFrame>
        <p:nvGraphicFramePr>
          <p:cNvPr id="155" name="Chart 154">
            <a:extLst>
              <a:ext uri="{FF2B5EF4-FFF2-40B4-BE49-F238E27FC236}">
                <a16:creationId xmlns:a16="http://schemas.microsoft.com/office/drawing/2014/main" id="{2AF202FD-7E9A-48FD-9C3E-A4FBDF4EF062}"/>
              </a:ext>
            </a:extLst>
          </p:cNvPr>
          <p:cNvGraphicFramePr/>
          <p:nvPr>
            <p:custDataLst>
              <p:tags r:id="rId57"/>
            </p:custDataLst>
          </p:nvPr>
        </p:nvGraphicFramePr>
        <p:xfrm>
          <a:off x="7396163" y="2805113"/>
          <a:ext cx="4397375" cy="1085850"/>
        </p:xfrm>
        <a:graphic>
          <a:graphicData uri="http://schemas.openxmlformats.org/drawingml/2006/chart">
            <c:chart xmlns:c="http://schemas.openxmlformats.org/drawingml/2006/chart" xmlns:r="http://schemas.openxmlformats.org/officeDocument/2006/relationships" r:id="rId103"/>
          </a:graphicData>
        </a:graphic>
      </p:graphicFrame>
      <p:cxnSp>
        <p:nvCxnSpPr>
          <p:cNvPr id="22" name="Straight Connector 21">
            <a:extLst>
              <a:ext uri="{FF2B5EF4-FFF2-40B4-BE49-F238E27FC236}">
                <a16:creationId xmlns:a16="http://schemas.microsoft.com/office/drawing/2014/main" id="{1A3401E5-EA94-06E6-E6CD-3BE4FA5B3645}"/>
              </a:ext>
            </a:extLst>
          </p:cNvPr>
          <p:cNvCxnSpPr/>
          <p:nvPr>
            <p:custDataLst>
              <p:tags r:id="rId58"/>
            </p:custDataLst>
          </p:nvPr>
        </p:nvCxnSpPr>
        <p:spPr bwMode="auto">
          <a:xfrm flipV="1">
            <a:off x="8007350" y="2324100"/>
            <a:ext cx="0" cy="68580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3075AF0A-E198-4F27-777A-B7C841C62CE0}"/>
              </a:ext>
            </a:extLst>
          </p:cNvPr>
          <p:cNvCxnSpPr/>
          <p:nvPr>
            <p:custDataLst>
              <p:tags r:id="rId59"/>
            </p:custDataLst>
          </p:nvPr>
        </p:nvCxnSpPr>
        <p:spPr bwMode="auto">
          <a:xfrm>
            <a:off x="8007351" y="2324100"/>
            <a:ext cx="354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6FA60145-0752-C6D5-CA14-6CA63625ED49}"/>
              </a:ext>
            </a:extLst>
          </p:cNvPr>
          <p:cNvCxnSpPr/>
          <p:nvPr>
            <p:custDataLst>
              <p:tags r:id="rId60"/>
            </p:custDataLst>
          </p:nvPr>
        </p:nvCxnSpPr>
        <p:spPr bwMode="auto">
          <a:xfrm>
            <a:off x="8361363" y="2324100"/>
            <a:ext cx="0" cy="3032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B64663FE-0B56-D007-61D7-77AB46BDA423}"/>
              </a:ext>
            </a:extLst>
          </p:cNvPr>
          <p:cNvCxnSpPr/>
          <p:nvPr>
            <p:custDataLst>
              <p:tags r:id="rId61"/>
            </p:custDataLst>
          </p:nvPr>
        </p:nvCxnSpPr>
        <p:spPr bwMode="auto">
          <a:xfrm>
            <a:off x="9418639" y="2959100"/>
            <a:ext cx="3524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942B99F-5E20-FF2F-98FE-BC31C5470EA7}"/>
              </a:ext>
            </a:extLst>
          </p:cNvPr>
          <p:cNvCxnSpPr/>
          <p:nvPr>
            <p:custDataLst>
              <p:tags r:id="rId62"/>
            </p:custDataLst>
          </p:nvPr>
        </p:nvCxnSpPr>
        <p:spPr bwMode="auto">
          <a:xfrm flipV="1">
            <a:off x="9418638" y="2959100"/>
            <a:ext cx="0" cy="2778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F2CDE5A7-3B9E-8CC5-16E7-61890CE9325D}"/>
              </a:ext>
            </a:extLst>
          </p:cNvPr>
          <p:cNvCxnSpPr/>
          <p:nvPr>
            <p:custDataLst>
              <p:tags r:id="rId63"/>
            </p:custDataLst>
          </p:nvPr>
        </p:nvCxnSpPr>
        <p:spPr bwMode="auto">
          <a:xfrm>
            <a:off x="9771063" y="2959100"/>
            <a:ext cx="0" cy="3032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5B59BAAE-71E1-C7EC-D6CE-7FEFF91A3A91}"/>
              </a:ext>
            </a:extLst>
          </p:cNvPr>
          <p:cNvCxnSpPr/>
          <p:nvPr>
            <p:custDataLst>
              <p:tags r:id="rId64"/>
            </p:custDataLst>
          </p:nvPr>
        </p:nvCxnSpPr>
        <p:spPr bwMode="auto">
          <a:xfrm flipV="1">
            <a:off x="10828338" y="2308225"/>
            <a:ext cx="0" cy="77946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C4035FD5-88A2-443C-5006-819BC62ABAC0}"/>
              </a:ext>
            </a:extLst>
          </p:cNvPr>
          <p:cNvCxnSpPr/>
          <p:nvPr>
            <p:custDataLst>
              <p:tags r:id="rId65"/>
            </p:custDataLst>
          </p:nvPr>
        </p:nvCxnSpPr>
        <p:spPr bwMode="auto">
          <a:xfrm>
            <a:off x="10828339" y="2308225"/>
            <a:ext cx="354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319F3E7B-19D2-CDED-7C64-5BA93A123950}"/>
              </a:ext>
            </a:extLst>
          </p:cNvPr>
          <p:cNvCxnSpPr/>
          <p:nvPr>
            <p:custDataLst>
              <p:tags r:id="rId66"/>
            </p:custDataLst>
          </p:nvPr>
        </p:nvCxnSpPr>
        <p:spPr bwMode="auto">
          <a:xfrm>
            <a:off x="11182350" y="2308225"/>
            <a:ext cx="0" cy="3032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9" name="Rectangle 38">
            <a:extLst>
              <a:ext uri="{FF2B5EF4-FFF2-40B4-BE49-F238E27FC236}">
                <a16:creationId xmlns:a16="http://schemas.microsoft.com/office/drawing/2014/main" id="{23F4C998-B1A4-BEA6-0A26-15393C2AABC6}"/>
              </a:ext>
            </a:extLst>
          </p:cNvPr>
          <p:cNvSpPr>
            <a:spLocks noGrp="1" noChangeArrowheads="1"/>
          </p:cNvSpPr>
          <p:nvPr>
            <p:custDataLst>
              <p:tags r:id="rId67"/>
            </p:custDataLst>
          </p:nvPr>
        </p:nvSpPr>
        <p:spPr bwMode="gray">
          <a:xfrm>
            <a:off x="7820025" y="3048000"/>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0A99014-A59C-45E7-8507-EC7586848794}" type="datetime'''''''''''''''''''''5''''''''''''''''''4''''''''''''''''''''%'">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4%</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41" name="Rectangle 40">
            <a:extLst>
              <a:ext uri="{FF2B5EF4-FFF2-40B4-BE49-F238E27FC236}">
                <a16:creationId xmlns:a16="http://schemas.microsoft.com/office/drawing/2014/main" id="{65CBB2CC-8095-EEF6-CC80-2B6CA18C3DD8}"/>
              </a:ext>
            </a:extLst>
          </p:cNvPr>
          <p:cNvSpPr>
            <a:spLocks noGrp="1" noChangeArrowheads="1"/>
          </p:cNvSpPr>
          <p:nvPr>
            <p:custDataLst>
              <p:tags r:id="rId68"/>
            </p:custDataLst>
          </p:nvPr>
        </p:nvSpPr>
        <p:spPr bwMode="gray">
          <a:xfrm>
            <a:off x="8174038" y="26654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17BC65A-F6B3-46DE-B9EE-6BB7BABB9FBD}" type="datetime'''''''''''''''''''''''''''9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2" name="Rectangle 51">
            <a:extLst>
              <a:ext uri="{FF2B5EF4-FFF2-40B4-BE49-F238E27FC236}">
                <a16:creationId xmlns:a16="http://schemas.microsoft.com/office/drawing/2014/main" id="{B4EE7D64-8FB8-639B-A39A-325B0FA82DDE}"/>
              </a:ext>
            </a:extLst>
          </p:cNvPr>
          <p:cNvSpPr>
            <a:spLocks noGrp="1" noChangeArrowheads="1"/>
          </p:cNvSpPr>
          <p:nvPr>
            <p:custDataLst>
              <p:tags r:id="rId69"/>
            </p:custDataLst>
          </p:nvPr>
        </p:nvSpPr>
        <p:spPr bwMode="gray">
          <a:xfrm>
            <a:off x="9231313" y="32750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522110C-D99B-4937-8FC0-159009C4B90E}" type="datetime'''''''''''''''''''''''''3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7" name="Rectangle 56">
            <a:extLst>
              <a:ext uri="{FF2B5EF4-FFF2-40B4-BE49-F238E27FC236}">
                <a16:creationId xmlns:a16="http://schemas.microsoft.com/office/drawing/2014/main" id="{5212BA6F-C48F-7991-8AF4-660C5B2445AB}"/>
              </a:ext>
            </a:extLst>
          </p:cNvPr>
          <p:cNvSpPr>
            <a:spLocks noGrp="1" noChangeArrowheads="1"/>
          </p:cNvSpPr>
          <p:nvPr>
            <p:custDataLst>
              <p:tags r:id="rId70"/>
            </p:custDataLst>
          </p:nvPr>
        </p:nvSpPr>
        <p:spPr bwMode="gray">
          <a:xfrm>
            <a:off x="9583738" y="33004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83CBAEE-6AE2-4065-92B8-168B5DC637BD}" type="datetime'''''''''''''''''2''''''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8" name="Rectangle 57">
            <a:extLst>
              <a:ext uri="{FF2B5EF4-FFF2-40B4-BE49-F238E27FC236}">
                <a16:creationId xmlns:a16="http://schemas.microsoft.com/office/drawing/2014/main" id="{6DCBF912-92DD-2360-29CA-A09B00657504}"/>
              </a:ext>
            </a:extLst>
          </p:cNvPr>
          <p:cNvSpPr>
            <a:spLocks noGrp="1" noChangeArrowheads="1"/>
          </p:cNvSpPr>
          <p:nvPr>
            <p:custDataLst>
              <p:tags r:id="rId71"/>
            </p:custDataLst>
          </p:nvPr>
        </p:nvSpPr>
        <p:spPr bwMode="gray">
          <a:xfrm>
            <a:off x="10641013" y="312578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42CC911-DC6C-4D32-A43D-88618E49D8A6}" type="datetime'''''''''''''''4''''''''''''''''''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59" name="Rectangle 58">
            <a:extLst>
              <a:ext uri="{FF2B5EF4-FFF2-40B4-BE49-F238E27FC236}">
                <a16:creationId xmlns:a16="http://schemas.microsoft.com/office/drawing/2014/main" id="{3D52788E-789C-8FC4-C379-6013178EB41A}"/>
              </a:ext>
            </a:extLst>
          </p:cNvPr>
          <p:cNvSpPr>
            <a:spLocks noGrp="1" noChangeArrowheads="1"/>
          </p:cNvSpPr>
          <p:nvPr>
            <p:custDataLst>
              <p:tags r:id="rId72"/>
            </p:custDataLst>
          </p:nvPr>
        </p:nvSpPr>
        <p:spPr bwMode="gray">
          <a:xfrm>
            <a:off x="10995025" y="26495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65DF6F0-A8C4-44FE-959B-481057681EF5}" type="datetime'''''''''9''''''''''''''''''''''''''''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2" name="Oval 61">
            <a:extLst>
              <a:ext uri="{FF2B5EF4-FFF2-40B4-BE49-F238E27FC236}">
                <a16:creationId xmlns:a16="http://schemas.microsoft.com/office/drawing/2014/main" id="{F3F1ACC3-2089-37F3-E62D-55EC5FC9AA70}"/>
              </a:ext>
            </a:extLst>
          </p:cNvPr>
          <p:cNvSpPr>
            <a:spLocks noGrp="1" noChangeArrowheads="1"/>
          </p:cNvSpPr>
          <p:nvPr>
            <p:custDataLst>
              <p:tags r:id="rId73"/>
            </p:custDataLst>
          </p:nvPr>
        </p:nvSpPr>
        <p:spPr bwMode="auto">
          <a:xfrm>
            <a:off x="7880350" y="2173288"/>
            <a:ext cx="606425" cy="301625"/>
          </a:xfrm>
          <a:prstGeom prst="ellipse">
            <a:avLst/>
          </a:prstGeom>
          <a:solidFill>
            <a:schemeClr val="bg1"/>
          </a:solidFill>
          <a:ln w="9525" algn="ctr">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67BD422-76ED-4B9E-93C0-9A22752A31B9}" type="datetime'+3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4" name="Oval 63">
            <a:extLst>
              <a:ext uri="{FF2B5EF4-FFF2-40B4-BE49-F238E27FC236}">
                <a16:creationId xmlns:a16="http://schemas.microsoft.com/office/drawing/2014/main" id="{4FB1F5F9-D6BF-4754-E129-BF2AFB725D64}"/>
              </a:ext>
            </a:extLst>
          </p:cNvPr>
          <p:cNvSpPr>
            <a:spLocks noGrp="1" noChangeArrowheads="1"/>
          </p:cNvSpPr>
          <p:nvPr>
            <p:custDataLst>
              <p:tags r:id="rId74"/>
            </p:custDataLst>
          </p:nvPr>
        </p:nvSpPr>
        <p:spPr bwMode="auto">
          <a:xfrm>
            <a:off x="9393238" y="2808288"/>
            <a:ext cx="404813" cy="301625"/>
          </a:xfrm>
          <a:prstGeom prst="ellipse">
            <a:avLst/>
          </a:prstGeom>
          <a:solidFill>
            <a:schemeClr val="bg1"/>
          </a:solidFill>
          <a:ln w="9525" algn="ctr">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45F2821-83D6-4D3A-AEF2-443AAD583339}" type="datetime'''''''''''''-''''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65" name="Oval 64">
            <a:extLst>
              <a:ext uri="{FF2B5EF4-FFF2-40B4-BE49-F238E27FC236}">
                <a16:creationId xmlns:a16="http://schemas.microsoft.com/office/drawing/2014/main" id="{5C793FD0-45A4-0EBF-DEEB-624CBCEF2F01}"/>
              </a:ext>
            </a:extLst>
          </p:cNvPr>
          <p:cNvSpPr>
            <a:spLocks noGrp="1" noChangeArrowheads="1"/>
          </p:cNvSpPr>
          <p:nvPr>
            <p:custDataLst>
              <p:tags r:id="rId75"/>
            </p:custDataLst>
          </p:nvPr>
        </p:nvSpPr>
        <p:spPr bwMode="auto">
          <a:xfrm>
            <a:off x="10701338" y="2157413"/>
            <a:ext cx="606425" cy="301625"/>
          </a:xfrm>
          <a:prstGeom prst="ellipse">
            <a:avLst/>
          </a:prstGeom>
          <a:solidFill>
            <a:schemeClr val="bg1"/>
          </a:solidFill>
          <a:ln w="9525" algn="ctr">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862D30E-CD7F-40DE-A94F-85B5A22DA3E3}" type="datetime'+''''''''''''''''''''''''''''''4''''''''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graphicFrame>
        <p:nvGraphicFramePr>
          <p:cNvPr id="158" name="Chart 157">
            <a:extLst>
              <a:ext uri="{FF2B5EF4-FFF2-40B4-BE49-F238E27FC236}">
                <a16:creationId xmlns:a16="http://schemas.microsoft.com/office/drawing/2014/main" id="{2A17D3D9-ACDC-4F7A-B647-C27F00DB23B0}"/>
              </a:ext>
            </a:extLst>
          </p:cNvPr>
          <p:cNvGraphicFramePr/>
          <p:nvPr>
            <p:custDataLst>
              <p:tags r:id="rId76"/>
            </p:custDataLst>
          </p:nvPr>
        </p:nvGraphicFramePr>
        <p:xfrm>
          <a:off x="7396163" y="4697413"/>
          <a:ext cx="4397375" cy="1066800"/>
        </p:xfrm>
        <a:graphic>
          <a:graphicData uri="http://schemas.openxmlformats.org/drawingml/2006/chart">
            <c:chart xmlns:c="http://schemas.openxmlformats.org/drawingml/2006/chart" xmlns:r="http://schemas.openxmlformats.org/officeDocument/2006/relationships" r:id="rId104"/>
          </a:graphicData>
        </a:graphic>
      </p:graphicFrame>
      <p:cxnSp>
        <p:nvCxnSpPr>
          <p:cNvPr id="71" name="Straight Connector 70">
            <a:extLst>
              <a:ext uri="{FF2B5EF4-FFF2-40B4-BE49-F238E27FC236}">
                <a16:creationId xmlns:a16="http://schemas.microsoft.com/office/drawing/2014/main" id="{ECB63219-A181-809E-DBFD-AD5FFFF0514F}"/>
              </a:ext>
            </a:extLst>
          </p:cNvPr>
          <p:cNvCxnSpPr/>
          <p:nvPr>
            <p:custDataLst>
              <p:tags r:id="rId77"/>
            </p:custDataLst>
          </p:nvPr>
        </p:nvCxnSpPr>
        <p:spPr bwMode="auto">
          <a:xfrm flipV="1">
            <a:off x="8007350" y="4200525"/>
            <a:ext cx="0" cy="92868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63226D0B-B1B8-9E78-F694-0460D0F3FA2B}"/>
              </a:ext>
            </a:extLst>
          </p:cNvPr>
          <p:cNvCxnSpPr/>
          <p:nvPr>
            <p:custDataLst>
              <p:tags r:id="rId78"/>
            </p:custDataLst>
          </p:nvPr>
        </p:nvCxnSpPr>
        <p:spPr bwMode="auto">
          <a:xfrm>
            <a:off x="8007351" y="4200525"/>
            <a:ext cx="354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080E0921-D5CD-A039-7C3F-D3B806876747}"/>
              </a:ext>
            </a:extLst>
          </p:cNvPr>
          <p:cNvCxnSpPr/>
          <p:nvPr>
            <p:custDataLst>
              <p:tags r:id="rId79"/>
            </p:custDataLst>
          </p:nvPr>
        </p:nvCxnSpPr>
        <p:spPr bwMode="auto">
          <a:xfrm>
            <a:off x="8361363" y="4200525"/>
            <a:ext cx="0" cy="3032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3DD26053-AFF4-9DEA-9D5C-166C2C8151FA}"/>
              </a:ext>
            </a:extLst>
          </p:cNvPr>
          <p:cNvCxnSpPr/>
          <p:nvPr>
            <p:custDataLst>
              <p:tags r:id="rId80"/>
            </p:custDataLst>
          </p:nvPr>
        </p:nvCxnSpPr>
        <p:spPr bwMode="auto">
          <a:xfrm>
            <a:off x="9771063" y="4940300"/>
            <a:ext cx="0" cy="30321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03E140B1-1718-63D8-1A11-1DB8E0FC685A}"/>
              </a:ext>
            </a:extLst>
          </p:cNvPr>
          <p:cNvCxnSpPr/>
          <p:nvPr>
            <p:custDataLst>
              <p:tags r:id="rId81"/>
            </p:custDataLst>
          </p:nvPr>
        </p:nvCxnSpPr>
        <p:spPr bwMode="auto">
          <a:xfrm flipV="1">
            <a:off x="9418638" y="4940300"/>
            <a:ext cx="0" cy="40640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EF851A02-CDF4-1245-78B4-A202C4F0361F}"/>
              </a:ext>
            </a:extLst>
          </p:cNvPr>
          <p:cNvCxnSpPr/>
          <p:nvPr>
            <p:custDataLst>
              <p:tags r:id="rId82"/>
            </p:custDataLst>
          </p:nvPr>
        </p:nvCxnSpPr>
        <p:spPr bwMode="auto">
          <a:xfrm>
            <a:off x="9418639" y="4940300"/>
            <a:ext cx="3524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6" name="Rectangle 95">
            <a:extLst>
              <a:ext uri="{FF2B5EF4-FFF2-40B4-BE49-F238E27FC236}">
                <a16:creationId xmlns:a16="http://schemas.microsoft.com/office/drawing/2014/main" id="{96C75908-70D9-387F-5C1B-F7BAEE5B532B}"/>
              </a:ext>
            </a:extLst>
          </p:cNvPr>
          <p:cNvSpPr>
            <a:spLocks noGrp="1" noChangeArrowheads="1"/>
          </p:cNvSpPr>
          <p:nvPr>
            <p:custDataLst>
              <p:tags r:id="rId83"/>
            </p:custDataLst>
          </p:nvPr>
        </p:nvSpPr>
        <p:spPr bwMode="gray">
          <a:xfrm>
            <a:off x="10995025" y="4581525"/>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26112AF-3E82-47D9-B6FA-C1CD9AB22E0F}" type="datetime'''4''8''''''%'''''''''''''''''''''''''''''''''''">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8%</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84" name="Rectangle 83">
            <a:extLst>
              <a:ext uri="{FF2B5EF4-FFF2-40B4-BE49-F238E27FC236}">
                <a16:creationId xmlns:a16="http://schemas.microsoft.com/office/drawing/2014/main" id="{8FD798CD-19B0-C501-4B70-EBE3432A336A}"/>
              </a:ext>
            </a:extLst>
          </p:cNvPr>
          <p:cNvSpPr>
            <a:spLocks noGrp="1" noChangeArrowheads="1"/>
          </p:cNvSpPr>
          <p:nvPr>
            <p:custDataLst>
              <p:tags r:id="rId84"/>
            </p:custDataLst>
          </p:nvPr>
        </p:nvSpPr>
        <p:spPr bwMode="gray">
          <a:xfrm>
            <a:off x="7820025" y="5167313"/>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C4AFB4A-FF4F-47D1-96EA-4B54DE6E7A87}" type="datetime'''''''''''''''''1''''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1" name="Rectangle 90">
            <a:extLst>
              <a:ext uri="{FF2B5EF4-FFF2-40B4-BE49-F238E27FC236}">
                <a16:creationId xmlns:a16="http://schemas.microsoft.com/office/drawing/2014/main" id="{323742B7-10B5-7CEF-7F1B-39A5BBCBF30A}"/>
              </a:ext>
            </a:extLst>
          </p:cNvPr>
          <p:cNvSpPr>
            <a:spLocks noGrp="1" noChangeArrowheads="1"/>
          </p:cNvSpPr>
          <p:nvPr>
            <p:custDataLst>
              <p:tags r:id="rId85"/>
            </p:custDataLst>
          </p:nvPr>
        </p:nvSpPr>
        <p:spPr bwMode="gray">
          <a:xfrm>
            <a:off x="8174038" y="4541838"/>
            <a:ext cx="3762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C5E252D-0B54-409D-A284-BBD9859F8453}" type="datetime'''5''''''''''''''''''''0''''''''''''''''''''''%'">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0%</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2" name="Rectangle 91">
            <a:extLst>
              <a:ext uri="{FF2B5EF4-FFF2-40B4-BE49-F238E27FC236}">
                <a16:creationId xmlns:a16="http://schemas.microsoft.com/office/drawing/2014/main" id="{9063D58A-9688-2745-EAA0-A8703DADAD0D}"/>
              </a:ext>
            </a:extLst>
          </p:cNvPr>
          <p:cNvSpPr>
            <a:spLocks noGrp="1" noChangeArrowheads="1"/>
          </p:cNvSpPr>
          <p:nvPr>
            <p:custDataLst>
              <p:tags r:id="rId86"/>
            </p:custDataLst>
          </p:nvPr>
        </p:nvSpPr>
        <p:spPr bwMode="gray">
          <a:xfrm>
            <a:off x="9280525" y="5384800"/>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23BA966-C25C-4F7F-BDB1-D4AC4758D095}" type="datetime'''''''''3''''''''''''''%'''''''''''''''''''''''''''''''''''">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5" name="Rectangle 94">
            <a:extLst>
              <a:ext uri="{FF2B5EF4-FFF2-40B4-BE49-F238E27FC236}">
                <a16:creationId xmlns:a16="http://schemas.microsoft.com/office/drawing/2014/main" id="{B4E5DCBD-6C04-063D-3047-2A7EE15BB34D}"/>
              </a:ext>
            </a:extLst>
          </p:cNvPr>
          <p:cNvSpPr>
            <a:spLocks noGrp="1" noChangeArrowheads="1"/>
          </p:cNvSpPr>
          <p:nvPr>
            <p:custDataLst>
              <p:tags r:id="rId87"/>
            </p:custDataLst>
          </p:nvPr>
        </p:nvSpPr>
        <p:spPr bwMode="gray">
          <a:xfrm>
            <a:off x="9632950" y="5281613"/>
            <a:ext cx="2778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3F45AC9-B244-4CB7-BD18-BA8620B75533}" type="datetime'9''''''''''''''''''''''''''''''''''''''''%'''''''''''''''''">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7" name="Oval 96">
            <a:extLst>
              <a:ext uri="{FF2B5EF4-FFF2-40B4-BE49-F238E27FC236}">
                <a16:creationId xmlns:a16="http://schemas.microsoft.com/office/drawing/2014/main" id="{93BB4E6C-3CCB-7DF0-7786-335E9A01C473}"/>
              </a:ext>
            </a:extLst>
          </p:cNvPr>
          <p:cNvSpPr>
            <a:spLocks noGrp="1" noChangeArrowheads="1"/>
          </p:cNvSpPr>
          <p:nvPr>
            <p:custDataLst>
              <p:tags r:id="rId88"/>
            </p:custDataLst>
          </p:nvPr>
        </p:nvSpPr>
        <p:spPr bwMode="auto">
          <a:xfrm>
            <a:off x="7880350" y="4049713"/>
            <a:ext cx="606425" cy="301625"/>
          </a:xfrm>
          <a:prstGeom prst="ellipse">
            <a:avLst/>
          </a:prstGeom>
          <a:solidFill>
            <a:schemeClr val="bg1"/>
          </a:solidFill>
          <a:ln w="9525" algn="ctr">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2E5E53A-691F-4707-A343-D4EF3084B86F}" type="datetime'''''''''''''''''''''+''''''''3''''5''''''''''%'''''''''''''''">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5%</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98" name="Oval 97">
            <a:extLst>
              <a:ext uri="{FF2B5EF4-FFF2-40B4-BE49-F238E27FC236}">
                <a16:creationId xmlns:a16="http://schemas.microsoft.com/office/drawing/2014/main" id="{0019A2AD-6DEC-39F9-029C-B2CAAFA43D7A}"/>
              </a:ext>
            </a:extLst>
          </p:cNvPr>
          <p:cNvSpPr>
            <a:spLocks noGrp="1" noChangeArrowheads="1"/>
          </p:cNvSpPr>
          <p:nvPr>
            <p:custDataLst>
              <p:tags r:id="rId89"/>
            </p:custDataLst>
          </p:nvPr>
        </p:nvSpPr>
        <p:spPr bwMode="auto">
          <a:xfrm>
            <a:off x="9361488" y="4789488"/>
            <a:ext cx="468313" cy="301625"/>
          </a:xfrm>
          <a:prstGeom prst="ellipse">
            <a:avLst/>
          </a:prstGeom>
          <a:solidFill>
            <a:schemeClr val="bg1"/>
          </a:solidFill>
          <a:ln w="9525" algn="ctr">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17AFBA0-22A2-4706-8E86-7F06FD13D9C0}" type="datetime'''''''''''+''''6''''''''''''''''''''''''''''''%'''''''">
              <a:rPr kumimoji="0" lang="en-US" altLang="en-US" sz="1400" b="1"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1"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4" name="Rectangle 113">
            <a:extLst>
              <a:ext uri="{FF2B5EF4-FFF2-40B4-BE49-F238E27FC236}">
                <a16:creationId xmlns:a16="http://schemas.microsoft.com/office/drawing/2014/main" id="{561D0DBF-512F-5507-5E9F-BAEA7116D0C2}"/>
              </a:ext>
            </a:extLst>
          </p:cNvPr>
          <p:cNvSpPr>
            <a:spLocks noGrp="1" noChangeArrowheads="1"/>
          </p:cNvSpPr>
          <p:nvPr/>
        </p:nvSpPr>
        <p:spPr bwMode="auto">
          <a:xfrm>
            <a:off x="9153259" y="1875759"/>
            <a:ext cx="938586" cy="24438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F095AA1-910F-4F6A-8F76-CBC1B85BF4D2}" type="datetime'''''''T''''h''''e''r''''''ma''''l'' ''''c''''''a''''''r''e'' '">
              <a:rPr kumimoji="0" lang="en-US" altLang="en-US" sz="14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hermal care </a:t>
            </a:fld>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15" name="Rectangle 114">
            <a:extLst>
              <a:ext uri="{FF2B5EF4-FFF2-40B4-BE49-F238E27FC236}">
                <a16:creationId xmlns:a16="http://schemas.microsoft.com/office/drawing/2014/main" id="{32D604DD-D13B-4426-A082-6E17CED34FCC}"/>
              </a:ext>
            </a:extLst>
          </p:cNvPr>
          <p:cNvSpPr>
            <a:spLocks noGrp="1" noChangeArrowheads="1"/>
          </p:cNvSpPr>
          <p:nvPr/>
        </p:nvSpPr>
        <p:spPr bwMode="auto">
          <a:xfrm>
            <a:off x="7534171" y="1875759"/>
            <a:ext cx="11112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rPr>
              <a:t>PNC- Newborn</a:t>
            </a:r>
          </a:p>
        </p:txBody>
      </p:sp>
      <p:sp>
        <p:nvSpPr>
          <p:cNvPr id="116" name="Rectangle 115">
            <a:extLst>
              <a:ext uri="{FF2B5EF4-FFF2-40B4-BE49-F238E27FC236}">
                <a16:creationId xmlns:a16="http://schemas.microsoft.com/office/drawing/2014/main" id="{D744C051-B768-471C-B3B6-E2E78E94337A}"/>
              </a:ext>
            </a:extLst>
          </p:cNvPr>
          <p:cNvSpPr>
            <a:spLocks noGrp="1" noChangeArrowheads="1"/>
          </p:cNvSpPr>
          <p:nvPr/>
        </p:nvSpPr>
        <p:spPr bwMode="auto">
          <a:xfrm>
            <a:off x="10363493" y="1875759"/>
            <a:ext cx="1303384" cy="265253"/>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D846FA8-80F4-48E4-A057-502BE263A6FD}" type="datetime'''''''''''''C''o''r''''''d'' ''c''''''a''''''''''re'''' '''">
              <a:rPr kumimoji="0" lang="en-US" altLang="en-US" sz="1400" b="0" i="0" u="none" strike="noStrike" kern="0" cap="none" spc="0" normalizeH="0" baseline="0" noProof="0" smtClean="0">
                <a:ln>
                  <a:noFill/>
                </a:ln>
                <a:solidFill>
                  <a:srgbClr val="000000"/>
                </a:solidFill>
                <a:effectLst/>
                <a:uLnTx/>
                <a:uFillTx/>
                <a:latin typeface="Gill Sans MT" panose="020B0502020104020203"/>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Cord care </a:t>
            </a:fld>
            <a:endParaRPr kumimoji="0" lang="en-US" sz="1400" b="0" i="0" u="none" strike="noStrike" kern="0" cap="none" spc="0" normalizeH="0" baseline="0" noProof="0" dirty="0">
              <a:ln>
                <a:noFill/>
              </a:ln>
              <a:solidFill>
                <a:srgbClr val="000000"/>
              </a:solidFill>
              <a:effectLst/>
              <a:uLnTx/>
              <a:uFillTx/>
              <a:latin typeface="Gill Sans MT" panose="020B0502020104020203"/>
              <a:ea typeface="+mn-ea"/>
              <a:cs typeface="+mn-cs"/>
            </a:endParaRPr>
          </a:p>
        </p:txBody>
      </p:sp>
      <p:sp>
        <p:nvSpPr>
          <p:cNvPr id="137" name="Rectangle 136">
            <a:extLst>
              <a:ext uri="{FF2B5EF4-FFF2-40B4-BE49-F238E27FC236}">
                <a16:creationId xmlns:a16="http://schemas.microsoft.com/office/drawing/2014/main" id="{6BB86A5A-B5DD-2C0B-FB41-95DC554924F2}"/>
              </a:ext>
            </a:extLst>
          </p:cNvPr>
          <p:cNvSpPr/>
          <p:nvPr/>
        </p:nvSpPr>
        <p:spPr>
          <a:xfrm>
            <a:off x="85933" y="1587500"/>
            <a:ext cx="1030637" cy="2443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MICS</a:t>
            </a:r>
            <a:r>
              <a:rPr kumimoji="0" lang="en-GB" sz="1400" b="1" i="1" u="none" strike="noStrike" kern="1200" cap="none" spc="0" normalizeH="0" baseline="30000" noProof="0" dirty="0">
                <a:ln>
                  <a:noFill/>
                </a:ln>
                <a:solidFill>
                  <a:prstClr val="black">
                    <a:lumMod val="50000"/>
                    <a:lumOff val="50000"/>
                  </a:prstClr>
                </a:solidFill>
                <a:effectLst/>
                <a:uLnTx/>
                <a:uFillTx/>
                <a:latin typeface="Gill Sans MT" panose="020B0502020104020203"/>
                <a:ea typeface="+mn-ea"/>
                <a:cs typeface="+mn-cs"/>
              </a:rPr>
              <a:t>1</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sp>
        <p:nvSpPr>
          <p:cNvPr id="142" name="Rectangle 141">
            <a:extLst>
              <a:ext uri="{FF2B5EF4-FFF2-40B4-BE49-F238E27FC236}">
                <a16:creationId xmlns:a16="http://schemas.microsoft.com/office/drawing/2014/main" id="{2E53D65C-B69A-D83E-EA3E-6286C80E3FC5}"/>
              </a:ext>
            </a:extLst>
          </p:cNvPr>
          <p:cNvSpPr/>
          <p:nvPr/>
        </p:nvSpPr>
        <p:spPr>
          <a:xfrm>
            <a:off x="85933" y="3856038"/>
            <a:ext cx="1030637" cy="2444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NDHS</a:t>
            </a:r>
            <a:r>
              <a:rPr kumimoji="0" lang="en-GB" sz="1400" b="1" i="1" u="none" strike="noStrike" kern="1200" cap="none" spc="0" normalizeH="0" baseline="30000" noProof="0" dirty="0">
                <a:ln>
                  <a:noFill/>
                </a:ln>
                <a:solidFill>
                  <a:prstClr val="black">
                    <a:lumMod val="50000"/>
                    <a:lumOff val="50000"/>
                  </a:prstClr>
                </a:solidFill>
                <a:effectLst/>
                <a:uLnTx/>
                <a:uFillTx/>
                <a:latin typeface="Gill Sans MT" panose="020B0502020104020203"/>
                <a:ea typeface="+mn-ea"/>
                <a:cs typeface="+mn-cs"/>
              </a:rPr>
              <a:t>2</a:t>
            </a:r>
            <a:r>
              <a:rPr kumimoji="0" lang="en-GB" sz="1400" b="1" i="1" u="none" strike="noStrike" kern="1200" cap="none" spc="0" normalizeH="0" baseline="0" noProof="0" dirty="0">
                <a:ln>
                  <a:noFill/>
                </a:ln>
                <a:solidFill>
                  <a:prstClr val="black">
                    <a:lumMod val="50000"/>
                    <a:lumOff val="50000"/>
                  </a:prstClr>
                </a:solidFill>
                <a:effectLst/>
                <a:uLnTx/>
                <a:uFillTx/>
                <a:latin typeface="Gill Sans MT" panose="020B0502020104020203"/>
                <a:ea typeface="+mn-ea"/>
                <a:cs typeface="+mn-cs"/>
              </a:rPr>
              <a:t> </a:t>
            </a:r>
          </a:p>
        </p:txBody>
      </p:sp>
      <p:sp>
        <p:nvSpPr>
          <p:cNvPr id="152" name="TextBox 151">
            <a:extLst>
              <a:ext uri="{FF2B5EF4-FFF2-40B4-BE49-F238E27FC236}">
                <a16:creationId xmlns:a16="http://schemas.microsoft.com/office/drawing/2014/main" id="{9B1452D1-946A-CC30-1251-3A5E79170C90}"/>
              </a:ext>
            </a:extLst>
          </p:cNvPr>
          <p:cNvSpPr txBox="1"/>
          <p:nvPr/>
        </p:nvSpPr>
        <p:spPr>
          <a:xfrm>
            <a:off x="2178746" y="3500438"/>
            <a:ext cx="366713" cy="2841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153" name="TextBox 152">
            <a:extLst>
              <a:ext uri="{FF2B5EF4-FFF2-40B4-BE49-F238E27FC236}">
                <a16:creationId xmlns:a16="http://schemas.microsoft.com/office/drawing/2014/main" id="{D479C96B-6230-A50D-8AC9-E11FF6602590}"/>
              </a:ext>
            </a:extLst>
          </p:cNvPr>
          <p:cNvSpPr txBox="1"/>
          <p:nvPr/>
        </p:nvSpPr>
        <p:spPr>
          <a:xfrm>
            <a:off x="5592146" y="3532188"/>
            <a:ext cx="366713" cy="2841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164" name="Rectangle 163">
            <a:extLst>
              <a:ext uri="{FF2B5EF4-FFF2-40B4-BE49-F238E27FC236}">
                <a16:creationId xmlns:a16="http://schemas.microsoft.com/office/drawing/2014/main" id="{CB38896B-1D81-1B84-6D21-CA8C47A11AA0}"/>
              </a:ext>
            </a:extLst>
          </p:cNvPr>
          <p:cNvSpPr/>
          <p:nvPr>
            <p:custDataLst>
              <p:tags r:id="rId90"/>
            </p:custDataLst>
          </p:nvPr>
        </p:nvSpPr>
        <p:spPr bwMode="auto">
          <a:xfrm>
            <a:off x="10231438" y="4025900"/>
            <a:ext cx="196850" cy="147638"/>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65" name="Rectangle 164">
            <a:extLst>
              <a:ext uri="{FF2B5EF4-FFF2-40B4-BE49-F238E27FC236}">
                <a16:creationId xmlns:a16="http://schemas.microsoft.com/office/drawing/2014/main" id="{0C81AA37-5A94-B082-D539-AE4F44A5C21D}"/>
              </a:ext>
            </a:extLst>
          </p:cNvPr>
          <p:cNvSpPr/>
          <p:nvPr>
            <p:custDataLst>
              <p:tags r:id="rId91"/>
            </p:custDataLst>
          </p:nvPr>
        </p:nvSpPr>
        <p:spPr bwMode="auto">
          <a:xfrm>
            <a:off x="10860088" y="4025900"/>
            <a:ext cx="196850" cy="147638"/>
          </a:xfrm>
          <a:prstGeom prst="rect">
            <a:avLst/>
          </a:prstGeom>
          <a:solidFill>
            <a:srgbClr val="377976"/>
          </a:solidFill>
          <a:ln w="635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66" name="Rectangle 165">
            <a:extLst>
              <a:ext uri="{FF2B5EF4-FFF2-40B4-BE49-F238E27FC236}">
                <a16:creationId xmlns:a16="http://schemas.microsoft.com/office/drawing/2014/main" id="{84D07754-27FA-E1BF-8062-49DAAB567573}"/>
              </a:ext>
            </a:extLst>
          </p:cNvPr>
          <p:cNvSpPr/>
          <p:nvPr>
            <p:custDataLst>
              <p:tags r:id="rId92"/>
            </p:custDataLst>
          </p:nvPr>
        </p:nvSpPr>
        <p:spPr bwMode="auto">
          <a:xfrm>
            <a:off x="11488738" y="4025900"/>
            <a:ext cx="196850" cy="147638"/>
          </a:xfrm>
          <a:prstGeom prst="rect">
            <a:avLst/>
          </a:prstGeom>
          <a:solidFill>
            <a:schemeClr val="accent2"/>
          </a:solidFill>
          <a:ln w="6350"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Gill Sans MT" panose="020B0502020104020203"/>
              <a:ea typeface="+mn-ea"/>
              <a:cs typeface="+mn-cs"/>
            </a:endParaRPr>
          </a:p>
        </p:txBody>
      </p:sp>
      <p:sp>
        <p:nvSpPr>
          <p:cNvPr id="159" name="Rectangle 158">
            <a:extLst>
              <a:ext uri="{FF2B5EF4-FFF2-40B4-BE49-F238E27FC236}">
                <a16:creationId xmlns:a16="http://schemas.microsoft.com/office/drawing/2014/main" id="{76AB3016-FCC7-A930-27AE-BD8FD14A2650}"/>
              </a:ext>
            </a:extLst>
          </p:cNvPr>
          <p:cNvSpPr/>
          <p:nvPr>
            <p:custDataLst>
              <p:tags r:id="rId93"/>
            </p:custDataLst>
          </p:nvPr>
        </p:nvSpPr>
        <p:spPr bwMode="auto">
          <a:xfrm>
            <a:off x="10479088" y="4021138"/>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1219170" rtl="0" eaLnBrk="1" fontAlgn="auto" latinLnBrk="0" hangingPunct="1">
              <a:lnSpc>
                <a:spcPct val="100000"/>
              </a:lnSpc>
              <a:spcBef>
                <a:spcPct val="0"/>
              </a:spcBef>
              <a:spcAft>
                <a:spcPct val="0"/>
              </a:spcAft>
              <a:buClrTx/>
              <a:buSzTx/>
              <a:buFontTx/>
              <a:buNone/>
              <a:tabLst/>
              <a:defRPr/>
            </a:pPr>
            <a:fld id="{726218C3-B6CD-4CA0-A9C8-6ED19C2E5EDD}" type="datetime'''''''''''''''''''20''''''''0''8'''''''''''''''''''">
              <a:rPr kumimoji="0" lang="en-GB" altLang="en-US" sz="11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2008</a:t>
            </a:fld>
            <a:endParaRPr kumimoji="0" lang="en-GB" sz="1100" b="0"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161" name="Rectangle 160">
            <a:extLst>
              <a:ext uri="{FF2B5EF4-FFF2-40B4-BE49-F238E27FC236}">
                <a16:creationId xmlns:a16="http://schemas.microsoft.com/office/drawing/2014/main" id="{D7E649A9-54C2-49CD-7F7B-A36FE8AD5B7E}"/>
              </a:ext>
            </a:extLst>
          </p:cNvPr>
          <p:cNvSpPr/>
          <p:nvPr>
            <p:custDataLst>
              <p:tags r:id="rId94"/>
            </p:custDataLst>
          </p:nvPr>
        </p:nvSpPr>
        <p:spPr bwMode="auto">
          <a:xfrm>
            <a:off x="11736388" y="4021138"/>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1219170" rtl="0" eaLnBrk="1" fontAlgn="auto" latinLnBrk="0" hangingPunct="1">
              <a:lnSpc>
                <a:spcPct val="100000"/>
              </a:lnSpc>
              <a:spcBef>
                <a:spcPct val="0"/>
              </a:spcBef>
              <a:spcAft>
                <a:spcPct val="0"/>
              </a:spcAft>
              <a:buClrTx/>
              <a:buSzTx/>
              <a:buFontTx/>
              <a:buNone/>
              <a:tabLst/>
              <a:defRPr/>
            </a:pPr>
            <a:fld id="{FEDD34BE-8D9B-4A58-AFAE-C4E21392AEFF}" type="datetime'''''''''''''2''''''''''''0''''1''8'''''''''">
              <a:rPr kumimoji="0" lang="en-GB" altLang="en-US" sz="11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2018</a:t>
            </a:fld>
            <a:endParaRPr kumimoji="0" lang="en-GB" sz="1100" b="0"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162" name="Rectangle 161">
            <a:extLst>
              <a:ext uri="{FF2B5EF4-FFF2-40B4-BE49-F238E27FC236}">
                <a16:creationId xmlns:a16="http://schemas.microsoft.com/office/drawing/2014/main" id="{16A33F29-28C4-FACF-47BC-F8B701E26061}"/>
              </a:ext>
            </a:extLst>
          </p:cNvPr>
          <p:cNvSpPr/>
          <p:nvPr>
            <p:custDataLst>
              <p:tags r:id="rId95"/>
            </p:custDataLst>
          </p:nvPr>
        </p:nvSpPr>
        <p:spPr bwMode="auto">
          <a:xfrm>
            <a:off x="11107738" y="4021138"/>
            <a:ext cx="279400" cy="16827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marR="0" lvl="0" indent="0" algn="l" defTabSz="1219170" rtl="0" eaLnBrk="1" fontAlgn="auto" latinLnBrk="0" hangingPunct="1">
              <a:lnSpc>
                <a:spcPct val="100000"/>
              </a:lnSpc>
              <a:spcBef>
                <a:spcPct val="0"/>
              </a:spcBef>
              <a:spcAft>
                <a:spcPct val="0"/>
              </a:spcAft>
              <a:buClrTx/>
              <a:buSzTx/>
              <a:buFontTx/>
              <a:buNone/>
              <a:tabLst/>
              <a:defRPr/>
            </a:pPr>
            <a:fld id="{8A6B856C-A8F3-409C-BD46-E18BBC54E49B}" type="datetime'2''0''''''''''''''''''''''''''''''''''1''''''''''''''''3'''">
              <a:rPr kumimoji="0" lang="en-GB" altLang="en-US" sz="1100" b="0" i="0" u="none" strike="noStrike" kern="0" cap="none" spc="0" normalizeH="0" baseline="0" noProof="0" smtClean="0">
                <a:ln>
                  <a:noFill/>
                </a:ln>
                <a:solidFill>
                  <a:prstClr val="black"/>
                </a:solidFill>
                <a:effectLst/>
                <a:uLnTx/>
                <a:uFillTx/>
                <a:latin typeface="Gill Sans MT" panose="020B0502020104020203"/>
                <a:ea typeface="+mn-ea"/>
                <a:cs typeface="+mn-cs"/>
              </a:rPr>
              <a:pPr marL="0" marR="0" lvl="0" indent="0" algn="l" defTabSz="1219170" rtl="0" eaLnBrk="1" fontAlgn="auto" latinLnBrk="0" hangingPunct="1">
                <a:lnSpc>
                  <a:spcPct val="100000"/>
                </a:lnSpc>
                <a:spcBef>
                  <a:spcPct val="0"/>
                </a:spcBef>
                <a:spcAft>
                  <a:spcPct val="0"/>
                </a:spcAft>
                <a:buClrTx/>
                <a:buSzTx/>
                <a:buFontTx/>
                <a:buNone/>
                <a:tabLst/>
                <a:defRPr/>
              </a:pPr>
              <a:t>2013</a:t>
            </a:fld>
            <a:endParaRPr kumimoji="0" lang="en-GB" sz="1100" b="0" i="0" u="none" strike="noStrike" kern="0" cap="none" spc="0" normalizeH="0" baseline="0" noProof="0" dirty="0">
              <a:ln>
                <a:noFill/>
              </a:ln>
              <a:solidFill>
                <a:prstClr val="black"/>
              </a:solidFill>
              <a:effectLst/>
              <a:uLnTx/>
              <a:uFillTx/>
              <a:latin typeface="Gill Sans MT" panose="020B0502020104020203"/>
              <a:ea typeface="+mn-ea"/>
              <a:cs typeface="+mn-cs"/>
            </a:endParaRPr>
          </a:p>
        </p:txBody>
      </p:sp>
      <p:sp>
        <p:nvSpPr>
          <p:cNvPr id="180" name="TextBox 179">
            <a:extLst>
              <a:ext uri="{FF2B5EF4-FFF2-40B4-BE49-F238E27FC236}">
                <a16:creationId xmlns:a16="http://schemas.microsoft.com/office/drawing/2014/main" id="{CF6562E2-8F17-9DFC-54BC-8DECDD428031}"/>
              </a:ext>
            </a:extLst>
          </p:cNvPr>
          <p:cNvSpPr txBox="1"/>
          <p:nvPr/>
        </p:nvSpPr>
        <p:spPr>
          <a:xfrm>
            <a:off x="2080038" y="5378450"/>
            <a:ext cx="366713" cy="2841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183" name="TextBox 182">
            <a:extLst>
              <a:ext uri="{FF2B5EF4-FFF2-40B4-BE49-F238E27FC236}">
                <a16:creationId xmlns:a16="http://schemas.microsoft.com/office/drawing/2014/main" id="{3574CADF-0A8A-A0AC-C2D0-1F3CF2D1DFAB}"/>
              </a:ext>
            </a:extLst>
          </p:cNvPr>
          <p:cNvSpPr txBox="1"/>
          <p:nvPr/>
        </p:nvSpPr>
        <p:spPr>
          <a:xfrm>
            <a:off x="2531941" y="5378450"/>
            <a:ext cx="366713" cy="2841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
        <p:nvSpPr>
          <p:cNvPr id="184" name="TextBox 183">
            <a:extLst>
              <a:ext uri="{FF2B5EF4-FFF2-40B4-BE49-F238E27FC236}">
                <a16:creationId xmlns:a16="http://schemas.microsoft.com/office/drawing/2014/main" id="{BB45AD77-64B6-FFCF-0662-54DCF3DC5920}"/>
              </a:ext>
            </a:extLst>
          </p:cNvPr>
          <p:cNvSpPr txBox="1"/>
          <p:nvPr/>
        </p:nvSpPr>
        <p:spPr>
          <a:xfrm>
            <a:off x="2983843" y="5378450"/>
            <a:ext cx="366713" cy="2841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cxnSp>
        <p:nvCxnSpPr>
          <p:cNvPr id="217" name="Straight Connector 216">
            <a:extLst>
              <a:ext uri="{FF2B5EF4-FFF2-40B4-BE49-F238E27FC236}">
                <a16:creationId xmlns:a16="http://schemas.microsoft.com/office/drawing/2014/main" id="{8A4B9F9A-964F-67A6-D44B-5A26E55F31A3}"/>
              </a:ext>
            </a:extLst>
          </p:cNvPr>
          <p:cNvCxnSpPr>
            <a:cxnSpLocks/>
          </p:cNvCxnSpPr>
          <p:nvPr/>
        </p:nvCxnSpPr>
        <p:spPr>
          <a:xfrm flipV="1">
            <a:off x="7377256" y="1875759"/>
            <a:ext cx="0" cy="3778822"/>
          </a:xfrm>
          <a:prstGeom prst="line">
            <a:avLst/>
          </a:prstGeom>
          <a:ln>
            <a:solidFill>
              <a:schemeClr val="bg1">
                <a:lumMod val="50000"/>
              </a:schemeClr>
            </a:solidFill>
            <a:prstDash val="dash"/>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19" name="TextBox 218">
            <a:extLst>
              <a:ext uri="{FF2B5EF4-FFF2-40B4-BE49-F238E27FC236}">
                <a16:creationId xmlns:a16="http://schemas.microsoft.com/office/drawing/2014/main" id="{5EA00E9A-A53F-8393-AAB4-6AB539BD6623}"/>
              </a:ext>
            </a:extLst>
          </p:cNvPr>
          <p:cNvSpPr txBox="1"/>
          <p:nvPr/>
        </p:nvSpPr>
        <p:spPr>
          <a:xfrm>
            <a:off x="10636045" y="5392201"/>
            <a:ext cx="366713" cy="284163"/>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p>
            <a:pPr marL="9144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lumMod val="50000"/>
                    <a:lumOff val="50000"/>
                  </a:srgbClr>
                </a:solidFill>
                <a:effectLst/>
                <a:uLnTx/>
                <a:uFillTx/>
                <a:latin typeface="Gill Sans MT" panose="020B0502020104020203"/>
                <a:ea typeface="+mn-ea"/>
                <a:cs typeface="+mn-cs"/>
              </a:rPr>
              <a:t>NA</a:t>
            </a:r>
          </a:p>
        </p:txBody>
      </p:sp>
    </p:spTree>
    <p:extLst>
      <p:ext uri="{BB962C8B-B14F-4D97-AF65-F5344CB8AC3E}">
        <p14:creationId xmlns:p14="http://schemas.microsoft.com/office/powerpoint/2010/main" val="9282122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think-cell data - do not delete" hidden="1">
            <a:extLst>
              <a:ext uri="{FF2B5EF4-FFF2-40B4-BE49-F238E27FC236}">
                <a16:creationId xmlns:a16="http://schemas.microsoft.com/office/drawing/2014/main" id="{8702BAD6-D81C-CE44-809E-205056808BBB}"/>
              </a:ext>
            </a:extLst>
          </p:cNvPr>
          <p:cNvGraphicFramePr>
            <a:graphicFrameLocks noChangeAspect="1"/>
          </p:cNvGraphicFramePr>
          <p:nvPr>
            <p:custDataLst>
              <p:tags r:id="rId1"/>
            </p:custDataLst>
            <p:extLst>
              <p:ext uri="{D42A27DB-BD31-4B8C-83A1-F6EECF244321}">
                <p14:modId xmlns:p14="http://schemas.microsoft.com/office/powerpoint/2010/main" val="295251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5" name="think-cell data - do not delete" hidden="1">
                        <a:extLst>
                          <a:ext uri="{FF2B5EF4-FFF2-40B4-BE49-F238E27FC236}">
                            <a16:creationId xmlns:a16="http://schemas.microsoft.com/office/drawing/2014/main" id="{8702BAD6-D81C-CE44-809E-205056808B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461076-A9A8-4227-8998-4F0D4E439FDF}"/>
              </a:ext>
            </a:extLst>
          </p:cNvPr>
          <p:cNvSpPr>
            <a:spLocks noGrp="1"/>
          </p:cNvSpPr>
          <p:nvPr>
            <p:ph type="title"/>
          </p:nvPr>
        </p:nvSpPr>
        <p:spPr>
          <a:xfrm>
            <a:off x="402737" y="311353"/>
            <a:ext cx="11270299" cy="769286"/>
          </a:xfrm>
        </p:spPr>
        <p:txBody>
          <a:bodyPr vert="horz">
            <a:normAutofit/>
          </a:bodyPr>
          <a:lstStyle/>
          <a:p>
            <a:pPr algn="l"/>
            <a:r>
              <a:rPr lang="en-US" sz="2400" dirty="0"/>
              <a:t>Although the MICS shows high use of maternal care, the most recent NDHS shows a different picture of high dropout after one ANC visit</a:t>
            </a:r>
            <a:endParaRPr lang="fr-FR" sz="2400" dirty="0"/>
          </a:p>
        </p:txBody>
      </p:sp>
      <p:sp>
        <p:nvSpPr>
          <p:cNvPr id="6" name="TextBox 5">
            <a:extLst>
              <a:ext uri="{FF2B5EF4-FFF2-40B4-BE49-F238E27FC236}">
                <a16:creationId xmlns:a16="http://schemas.microsoft.com/office/drawing/2014/main" id="{B4F819D6-6730-5CA9-4CF4-1E55415CBF7B}"/>
              </a:ext>
            </a:extLst>
          </p:cNvPr>
          <p:cNvSpPr txBox="1"/>
          <p:nvPr/>
        </p:nvSpPr>
        <p:spPr>
          <a:xfrm>
            <a:off x="8650840" y="1976004"/>
            <a:ext cx="3434090" cy="3512769"/>
          </a:xfrm>
          <a:prstGeom prst="rect">
            <a:avLst/>
          </a:prstGeom>
          <a:solidFill>
            <a:schemeClr val="bg1">
              <a:lumMod val="95000"/>
            </a:schemeClr>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mn-cs"/>
              </a:rPr>
              <a:t>According to MICs 2021, nine out of ten women who need ANC services seek them</a:t>
            </a:r>
          </a:p>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mn-cs"/>
              </a:rPr>
              <a:t>NDHS 2018 data shows high use (94%) of women who received ANC 1, with 70.3% who received ANC from a SBA.</a:t>
            </a:r>
          </a:p>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mn-cs"/>
              </a:rPr>
              <a:t>Yet there is a significant drop (42%) in the use of SBA and PNC for both mothers and children</a:t>
            </a:r>
          </a:p>
          <a:p>
            <a:pPr marL="182880" marR="0" lvl="0" indent="-18288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Gill Sans MT" panose="020B0502020104020203"/>
                <a:ea typeface="+mn-ea"/>
                <a:cs typeface="+mn-cs"/>
              </a:rPr>
              <a:t>The number of women who received up to ANC 4 in the state is unknown and as such the National data of 57% was used  </a:t>
            </a:r>
          </a:p>
        </p:txBody>
      </p:sp>
      <p:sp>
        <p:nvSpPr>
          <p:cNvPr id="7" name="Rectangle 6">
            <a:extLst>
              <a:ext uri="{FF2B5EF4-FFF2-40B4-BE49-F238E27FC236}">
                <a16:creationId xmlns:a16="http://schemas.microsoft.com/office/drawing/2014/main" id="{49FD929E-0B66-91C0-15DB-C48F676E6789}"/>
              </a:ext>
            </a:extLst>
          </p:cNvPr>
          <p:cNvSpPr/>
          <p:nvPr/>
        </p:nvSpPr>
        <p:spPr bwMode="auto">
          <a:xfrm>
            <a:off x="9593" y="39977"/>
            <a:ext cx="3940237" cy="169277"/>
          </a:xfrm>
          <a:prstGeom prst="rect">
            <a:avLst/>
          </a:prstGeom>
          <a:noFill/>
          <a:ln w="9525">
            <a:noFill/>
            <a:miter lim="800000"/>
            <a:headEnd/>
            <a:tailEnd/>
          </a:ln>
          <a:effectLst/>
        </p:spPr>
        <p:txBody>
          <a:bodyPr wrap="square" lIns="54000" tIns="0" rIns="27000" bIns="0" rtlCol="0" anchor="t">
            <a:spAutoFit/>
          </a:bodyPr>
          <a:lstStyle/>
          <a:p>
            <a:pPr marL="0" marR="0" lvl="1" indent="0" algn="l" defTabSz="671513" rtl="0" eaLnBrk="1" fontAlgn="auto" latinLnBrk="0" hangingPunct="1">
              <a:lnSpc>
                <a:spcPct val="100000"/>
              </a:lnSpc>
              <a:spcBef>
                <a:spcPts val="300"/>
              </a:spcBef>
              <a:spcAft>
                <a:spcPts val="300"/>
              </a:spcAft>
              <a:buClr>
                <a:srgbClr val="204024"/>
              </a:buClr>
              <a:buSzPct val="100000"/>
              <a:buFontTx/>
              <a:buNone/>
              <a:tabLst/>
              <a:defRPr/>
            </a:pPr>
            <a:r>
              <a:rPr kumimoji="0" lang="en-US" sz="1100" b="1" i="0" u="none" strike="noStrike" kern="1200" cap="none" spc="0" normalizeH="0" baseline="0" noProof="0" dirty="0">
                <a:ln>
                  <a:noFill/>
                </a:ln>
                <a:solidFill>
                  <a:prstClr val="white"/>
                </a:solidFill>
                <a:effectLst/>
                <a:uLnTx/>
                <a:uFillTx/>
                <a:latin typeface="Gill Sans MT" panose="020B0502020104020203"/>
                <a:ea typeface="+mn-ea"/>
                <a:cs typeface="Arial" panose="020B0604020202020204" pitchFamily="34" charset="0"/>
                <a:sym typeface="Arial"/>
              </a:rPr>
              <a:t>Maternal and Newborn Health Indices - Patient Use</a:t>
            </a:r>
          </a:p>
        </p:txBody>
      </p:sp>
      <p:sp>
        <p:nvSpPr>
          <p:cNvPr id="8" name="Rectangle 7">
            <a:extLst>
              <a:ext uri="{FF2B5EF4-FFF2-40B4-BE49-F238E27FC236}">
                <a16:creationId xmlns:a16="http://schemas.microsoft.com/office/drawing/2014/main" id="{BD930A94-9004-C7A8-E866-C6705084D5EB}"/>
              </a:ext>
            </a:extLst>
          </p:cNvPr>
          <p:cNvSpPr/>
          <p:nvPr/>
        </p:nvSpPr>
        <p:spPr bwMode="auto">
          <a:xfrm>
            <a:off x="0" y="1488876"/>
            <a:ext cx="8503920" cy="365125"/>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Use of MNH continuum of care by MICS and NDHS</a:t>
            </a:r>
          </a:p>
        </p:txBody>
      </p:sp>
      <p:sp>
        <p:nvSpPr>
          <p:cNvPr id="4" name="TextBox 3">
            <a:extLst>
              <a:ext uri="{FF2B5EF4-FFF2-40B4-BE49-F238E27FC236}">
                <a16:creationId xmlns:a16="http://schemas.microsoft.com/office/drawing/2014/main" id="{097BFA20-5902-85FB-9BC7-1123B730FC84}"/>
              </a:ext>
            </a:extLst>
          </p:cNvPr>
          <p:cNvSpPr txBox="1"/>
          <p:nvPr/>
        </p:nvSpPr>
        <p:spPr>
          <a:xfrm>
            <a:off x="49995" y="6696871"/>
            <a:ext cx="2633828"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Source: Team analysis, NDHS Report, MICS Report  </a:t>
            </a:r>
          </a:p>
        </p:txBody>
      </p:sp>
      <p:sp>
        <p:nvSpPr>
          <p:cNvPr id="74" name="TextBox 73">
            <a:extLst>
              <a:ext uri="{FF2B5EF4-FFF2-40B4-BE49-F238E27FC236}">
                <a16:creationId xmlns:a16="http://schemas.microsoft.com/office/drawing/2014/main" id="{22D33E43-B512-C869-CDF8-70093C5B3078}"/>
              </a:ext>
            </a:extLst>
          </p:cNvPr>
          <p:cNvSpPr txBox="1"/>
          <p:nvPr/>
        </p:nvSpPr>
        <p:spPr>
          <a:xfrm>
            <a:off x="3004970" y="6696871"/>
            <a:ext cx="2633828"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 National Level Data (ANC 4)</a:t>
            </a:r>
          </a:p>
        </p:txBody>
      </p:sp>
      <p:pic>
        <p:nvPicPr>
          <p:cNvPr id="5" name="Picture 4">
            <a:extLst>
              <a:ext uri="{FF2B5EF4-FFF2-40B4-BE49-F238E27FC236}">
                <a16:creationId xmlns:a16="http://schemas.microsoft.com/office/drawing/2014/main" id="{D6895D79-E191-F9F2-2198-28E042CBDCD4}"/>
              </a:ext>
            </a:extLst>
          </p:cNvPr>
          <p:cNvPicPr>
            <a:picLocks noChangeAspect="1"/>
          </p:cNvPicPr>
          <p:nvPr/>
        </p:nvPicPr>
        <p:blipFill>
          <a:blip r:embed="rId5"/>
          <a:stretch>
            <a:fillRect/>
          </a:stretch>
        </p:blipFill>
        <p:spPr>
          <a:xfrm>
            <a:off x="0" y="1854000"/>
            <a:ext cx="8503920" cy="4321542"/>
          </a:xfrm>
          <a:prstGeom prst="rect">
            <a:avLst/>
          </a:prstGeom>
        </p:spPr>
      </p:pic>
      <p:sp>
        <p:nvSpPr>
          <p:cNvPr id="10" name="TextBox 9">
            <a:extLst>
              <a:ext uri="{FF2B5EF4-FFF2-40B4-BE49-F238E27FC236}">
                <a16:creationId xmlns:a16="http://schemas.microsoft.com/office/drawing/2014/main" id="{E58FCB33-53A3-77E0-42F4-928D89E07FBF}"/>
              </a:ext>
            </a:extLst>
          </p:cNvPr>
          <p:cNvSpPr txBox="1"/>
          <p:nvPr/>
        </p:nvSpPr>
        <p:spPr>
          <a:xfrm>
            <a:off x="4643031" y="6696870"/>
            <a:ext cx="1229449"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aseline="30000" dirty="0">
                <a:solidFill>
                  <a:srgbClr val="000000"/>
                </a:solidFill>
                <a:latin typeface="Gill Sans MT" panose="020B0502020104020203"/>
                <a:cs typeface="Arial" panose="020B0604020202020204" pitchFamily="34" charset="0"/>
              </a:rPr>
              <a:t>1</a:t>
            </a:r>
            <a:r>
              <a:rPr lang="en-US" sz="900" dirty="0">
                <a:solidFill>
                  <a:srgbClr val="000000"/>
                </a:solidFill>
                <a:latin typeface="Gill Sans MT" panose="020B0502020104020203"/>
                <a:cs typeface="Arial" panose="020B0604020202020204" pitchFamily="34" charset="0"/>
              </a:rPr>
              <a:t>- </a:t>
            </a:r>
            <a:r>
              <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rPr>
              <a:t>ANC 1 , </a:t>
            </a:r>
            <a:r>
              <a:rPr kumimoji="0" lang="en-US" sz="900" b="0" i="0" u="none" strike="noStrike" kern="1200" cap="none" spc="0" normalizeH="0" baseline="30000" noProof="0" dirty="0">
                <a:ln>
                  <a:noFill/>
                </a:ln>
                <a:solidFill>
                  <a:srgbClr val="000000"/>
                </a:solidFill>
                <a:effectLst/>
                <a:uLnTx/>
                <a:uFillTx/>
                <a:latin typeface="Gill Sans MT" panose="020B0502020104020203"/>
                <a:ea typeface="+mn-ea"/>
                <a:cs typeface="Arial" panose="020B0604020202020204" pitchFamily="34" charset="0"/>
              </a:rPr>
              <a:t>4 </a:t>
            </a:r>
            <a:r>
              <a:rPr kumimoji="0" lang="en-US" sz="900" b="0" i="0" u="none" strike="noStrike" kern="1200" cap="none" spc="0" normalizeH="0" noProof="0" dirty="0">
                <a:ln>
                  <a:noFill/>
                </a:ln>
                <a:solidFill>
                  <a:srgbClr val="000000"/>
                </a:solidFill>
                <a:effectLst/>
                <a:uLnTx/>
                <a:uFillTx/>
                <a:latin typeface="Gill Sans MT" panose="020B0502020104020203"/>
                <a:ea typeface="+mn-ea"/>
                <a:cs typeface="Arial" panose="020B0604020202020204" pitchFamily="34" charset="0"/>
              </a:rPr>
              <a:t> - ANC 4 </a:t>
            </a:r>
            <a:endParaRPr kumimoji="0" lang="en-US" sz="900" b="0" i="0" u="none" strike="noStrike" kern="1200" cap="none" spc="0" normalizeH="0" baseline="0" noProof="0" dirty="0">
              <a:ln>
                <a:noFill/>
              </a:ln>
              <a:solidFill>
                <a:srgbClr val="000000"/>
              </a:solidFill>
              <a:effectLst/>
              <a:uLnTx/>
              <a:uFillTx/>
              <a:latin typeface="Gill Sans MT" panose="020B0502020104020203"/>
              <a:ea typeface="+mn-ea"/>
              <a:cs typeface="Arial" panose="020B0604020202020204" pitchFamily="34" charset="0"/>
            </a:endParaRPr>
          </a:p>
        </p:txBody>
      </p:sp>
    </p:spTree>
    <p:extLst>
      <p:ext uri="{BB962C8B-B14F-4D97-AF65-F5344CB8AC3E}">
        <p14:creationId xmlns:p14="http://schemas.microsoft.com/office/powerpoint/2010/main" val="1336270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2.01729690000000028149E+00&quot;&gt;&lt;m_msothmcolidx val=&quot;0&quot;/&gt;&lt;m_rgb r=&quot;EB&quot; g=&quot;A7&quot; b=&quot;D3&quot;/&gt;&lt;/elem&gt;&lt;elem m_fUsage=&quot;1.84525159609000022343E+00&quot;&gt;&lt;m_msothmcolidx val=&quot;0&quot;/&gt;&lt;m_rgb r=&quot;88&quot; g=&quot;D1&quot; b=&quot;DD&quot;/&gt;&lt;/elem&gt;&lt;elem m_fUsage=&quot;9.00000000000000022204E-01&quot;&gt;&lt;m_msothmcolidx val=&quot;0&quot;/&gt;&lt;m_rgb r=&quot;CC&quot; g=&quot;E7&quot; b=&quot;F0&quot;/&gt;&lt;/elem&gt;&lt;elem m_fUsage=&quot;7.79145650100000142224E-01&quot;&gt;&lt;m_msothmcolidx val=&quot;0&quot;/&gt;&lt;m_rgb r=&quot;D9&quot; g=&quot;EE&quot; b=&quot;ED&quot;/&gt;&lt;/elem&gt;&lt;elem m_fUsage=&quot;6.56100000000000127542E-01&quot;&gt;&lt;m_msothmcolidx val=&quot;0&quot;/&gt;&lt;m_rgb r=&quot;91&quot; g=&quot;27&quot; b=&quot;A6&quot;/&gt;&lt;/elem&gt;&lt;elem m_fUsage=&quot;5.90490000000000181402E-01&quot;&gt;&lt;m_msothmcolidx val=&quot;0&quot;/&gt;&lt;m_rgb r=&quot;C2&quot; g=&quot;F1&quot; b=&quot;ED&quot;/&gt;&lt;/elem&gt;&lt;elem m_fUsage=&quot;3.87420489000000145552E-01&quot;&gt;&lt;m_msothmcolidx val=&quot;0&quot;/&gt;&lt;m_rgb r=&quot;38&quot; g=&quot;78&quot; b=&quot;76&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UaXO5kyowwshQI3lAMc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uHiG_TVcoTpXqsQz0g5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_SYN05aBon.56jWTK_ft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TpgKI9mWty5mA3zd1eN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zrVy0rmG0WSz90nzfz9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5Wrx1E6GVzhLCbz9A1c11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gokenAFjoKZKC_dCDlQ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4Bx4j_p0NW7vyZ07A0FU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VVuSkLT9xfhbpUVI2qha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nFF90WJ4LDwBMA9B_Fp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YvPak735nzRVxpEhg30M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AqkGBabDIAz_zvftULl3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4YbqHm.ayxBlV6Y61s8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hmrLh5yk9qPkNKbfz7y8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E4nsMoaA7N7WOEGVuI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1.PVAH.T9MvBMWOab._e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7hQegxmT0rGS1pahk3B.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kLvDolrS0v1QKOm3xsYr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3mq1I3Oq_8akG5WesQ1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qoTJB_ASC1BSakuaxtm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P6evwlTlosEHEE3v2pK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G3yI_IMTg_REbwPpgT4bL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DYluFGoCUpqf_fZheI9t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2asYUhmSNykyrRKdp_R5q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opP.VFoHqUph2vGxXlAb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O_2ygc55xqzXKUrt4SIf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ttO2PSrvXvpWWrcX5puAJ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w6SK2MAQlQI7eLZ.6ik2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YF_dTcEALFBIPGQWLgPQ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qtXbGztiE8FZiqk74qC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ChQ7tUYSuQOjycv5aiDL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I6E_k62FBYDENGAYXODL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54iXYHllOyCJQijuAdE7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LqK0_SzO_xtS5QyJwJBy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t6wih_5f1CQw2VjIyvNq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ublc7wpFD4MBHJ.qnKl48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xVdMRVUv9RjzlHD_sLsW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5omGid8neUxZ5tRetVyE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WbgaIdRH5paGN.GSj2Wh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s648RVs7FJl.WeGxd8le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lJ74klZfvWr9mhacjxb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TX7W8fjp0xQz54WY9tdW8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6RFuIGBA4tXSdZPDophN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QhRRDOpjli_Z5e3qDeUE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GQanv4bhMuYZihJyCLTE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4yjnuglF0skuIRfJw0J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2jcClf2AP3gQy_RO2fonQ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zUglpfNiUcpn3gxU1Iw_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BQmVdH3Jk1nqfz6AYC18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c2MkwLb_gtMI1ws2PDm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QnmEyFOWZEsYB8UuvR2m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anfZUsU6itsvulxMJ_di0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gKatVmcmD051A3YHf520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twBytq5wX5.EPT4WAjD0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mPXRv9qrsoBso9r_Z62W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bp9rjm9cyBIarm91pxbv4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qKWSxneFMTZcCZVpPw1O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ruCTR6G0hFqoAcd0PsD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pCOuJSe1DF3_lq4aQyp9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LU9UTz8yqx_cTGdOzaB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x2f20O25EeLGdb9zAyZn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AW3zwtSl5fbTV5u.aRBL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Zjnt8RgxL5EzZeeGy14w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F1VDaD5TdEL8sv.gxsc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yDimrXLDHmXruxIV64_j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S93euQqYAmTMysOkbDNt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LR0R1F2is.4L5b.VN7NP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xkb2Zxh6dwMj65n6aDyk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vY4_0V4eUBytXqkyIV6I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3ttVs70tDsvtfozU2jtG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Gu.KRbC.20uhE22YMlK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WBHongJ3x7WaN6ppVbme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4hw_3uFyCPRHc3Fx4t7az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pYoucjMZD0rpw5uEe6Rx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BxCltZELg0gZ22noSjoR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j9Jm1WtaMrT2iqsuJzs5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6Bq31ps80LLBMD6cQ8C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AUarHOIt7rByESEORiQe1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nZumCaMg.jgBihflK8R3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Me_GBjMrpGw93GaHkG7f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Vn0TUYjnfCiFc69k9wC6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E5sUgb62MbgdQDY3PrV9H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p0rhErtBheL9bFVyHIwd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jb3jLxgfm.3ThBW5Zgyl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Xo9cKnTgV20.BsBo8Xwnf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x1lBvncAM.pFdRsmM02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C2LXRlnYOdp3TJXOp9t.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u156.HsW4_LR8.t1EHT6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T3jRVZMAgA7c39LZJQzi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UEFP9RzHp_qOMgjSdt6S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SqFamgk2l0T73yGuw1Jz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jh7HXHGai5BFMGiUfkmY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VGv9_6ZJTEKdt7dbpYHC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tlbM3YAGfTWhBA0CDwoL9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CFS3PSlma1rvXsxcYepTy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m3CaYK63Eo.DkRK0AdX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dO_OyCadra0rlYQkkUtk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LwC.h968CZpc0bcd9SqSm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wHTl0zwbnHQ1v.Zl2OkHG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80Q0QgM0a6o.w44UtX.W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e4j_NFsQuymp4kju7hYBc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6RoW7csn0RfbA7EmVSWfh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Tfmqe9SVGRHFZ4bKlDCX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_Nt5cPh.VrOVm9J.PBn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jXVnYpTcgHU4KH32FoXQ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C2EE4V1wdi5O2G0EKiY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p.dSFa1ZY2.HeL.wwwLO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tI1IyECpa8aGkyzhvHJw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yUOYlawtYTnRS4vr4KC5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Pkh06WZ0Tk7e8409BRt1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erGuoQ7r8gkgZOPFLkH6r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G.O7iXiZSUqvHEMsu9A4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eiKqPxozLkaPbtzb2oE9p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JzjPAN0hJomi_Ovq3sV6D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aqOnU3aR8fNff58WL6Ug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ZUk2azVLqvkPRlDrNfM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GZR4FsLVbP4Ob6MCRA1Q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kyLtI8sY5cUQW1lHuQB2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j3hx29rzOlGb_r4dC_Rx6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17qSRVcbNMLmWCa79Zf7B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yvaESrzmqD4KZpLGjoXv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9QiuLMurs6rrjhbkZTry3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jkrdpkY7fhxiusmP3sMQ0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vihmALCm52oyRA34KUIQ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ezJSpxu.bukotWJ0jv77G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Dp5qFgnje.Zzzp6i6ubU9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nEmuI2YwNhj29yKKW19a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ZIWXmdXG63FdKAGX1bGY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4w3PVSVODLI9nBU2ve0bZ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NDX03TG3G4cpyIxztVel_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xojYwSK78E_o_nWjhAP_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9cZSfIWGWe8dUVk4Y3I7A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czeQHjY5K3GD0g157DN2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9vCv8qC7270BpRaYuihYx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5VDW0lTdfWeq8dHk5EU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9ijpwjCsGZeSTqpZTpcJx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dNNOAlpxmmXmbUJ2ASqg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WZLUMI.8S7AlRGH.ir0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_SosIecrp_bAJoN7eMjin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7_roHgVGaJvxiMNopO2BA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sM7eoM14PfHyGMF1G0gMC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kKgtmUq2A5bf97ZdDOLvu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UpsxpeG5URKFiHR077GV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1CZMPmroQUI.Dc_ueYcQ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ueMDtvZfoZHcMOJJMVyOA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zrvDtkaTppKry3DyQGUl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2sH.YOsNJ.HhZaQrFri0F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5LmUMgX1qMF_i2M7msRh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DA6IRcXQbtZPhOAIGN0D4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gmMeRNX3qyKb_2UDRUUmw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OatqSITy.Kugx40ocN2WM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aKCLkMq6SWdrFKlykxuY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9F4b7qajGrTZgOZorL9YD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crBNI.2ntKNODTD69uBZ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Rx3LWPF520B.4RPQcR13g"/>
</p:tagLst>
</file>

<file path=ppt/tags/tag26.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Y4YteHKaDjRn1N9.PwDqz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9arL6fhKqUXfPh2zkvJvm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qqRXxtRXszLbpbq8lCEo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lWUCNjigIpJcho6frZ0r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ydnyCIKIIaAy_tpLcksd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G8_MYmmTzwv0wGNXUIRBI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jMKLqEHOSFl14C2KdvhUO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_0Oc3OVbwIf.YtmcR0Wfy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LR_XKFI9GFVRN73VrCqu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R.bLnYtgstAJ5r0IaNIRZ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sulDV2dvG5dXvXVnjfqyn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8OUNxMuc2hzg612nCgQ.H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51SkApyQprg.7oujzGe_Q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Dn34YaC28MjYr20R7Uv7R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CaxqTBIPG4TFz.3NdPLmd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mmv_x2g2DyekyUHGAIZHh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FUmIllwBUtHYd4YzJETDm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D_IDg3vMAr8T03.eZ16m9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n_fDjleLYZFY8Hqj7LUl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bL0DdjHmx.KcC9_IYsAU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6d1rbFBjZ5mihZtGhbChT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Ym6B8yVk.kn.fiIeT1gC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U9HMKZPbZe_rVNcBR_uwb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DwMH8c_fFCWBywXHUxkwj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iI7rysJ_FAXm0x_4HIiIt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LIEEiQJi72IC3_nXwTTG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vMcsi0J8bJund8GOBQXRv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9K5f36LblsF1tJ2Zdnw_S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aUp_W.e0Hfarf1.hSSzE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227i.fNpUzoWnt_k0mR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uHiG_TVcoTpXqsQz0g58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tS0t7wiEDPNNiKYJPZ70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SIKcTZb_9XvkTuJDj4_h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7X.fpesnkC5NLZ3Xkj0oe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Af6JAPYaux5sVPtnsuKn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yPjzQLqIUfpYlARDlNuaF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vIROj30HNJGAVFPYsBq_m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7suj3Hwh_sgsrGbRlAzZ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ky_6qySNkAScvU3y7B85X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JwzNWsAs3_9AvVZZmQA4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OWpe6U2xmIiDiv_xE3yx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7RkEbZZ_4krgxXL5txkxA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BRzKGWUb0aEcZxiXB0En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pFcM1gvJ_fBz1gfJRwF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L.yMkN2p8Um9Cl4uP9JFz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G2XDmybcH.Ki8qwXgKQCB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E_6jULoTuFs9Pb9mYaaEw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TpgKI9mWty5mA3zd1eNJ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eTnUsbqeTs.1.0YInRbkk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1D8P7ZeBOAMNZOggyVoGW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Dhfy_U1cpWGJLi3UiFSSS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XOrIzsmGJAXzFRhvGH60a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AHZAlhY3pWt9GEMqD2eML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Z1gK2OEUJSUwkYk6B282b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QrZivogZ76hihygpwbBt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ZC_8K.IO2oVuKZuay2e72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ndynYMhdvzp6d0BoSbBv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rjmAHTr3WDE417kejvNI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UaXO5kyowwshQI3lAMcc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jGgqUK6sNin8FWMIKi872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KI.9.PsT_6ohgftVEZy2L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xIkaIScRhViqQuqEpWmdQ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eJ.FHjNbXspma7ALywnhp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UlDN_jtbUyyAITHWCK0jn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5DNX1o3vM9D9usgv2nGcY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S4NUH2IWHmnAGysGRUACG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JxESmY5a3f2MigDsTQ3Us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0Lh.xbuzSOMyOEIZYFJi7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R_q258YJKQbd18U6WPrE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9MnMbygKKM3TMRKoWhU9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mAmr0_zLpFgWTO6TSYVu.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xPSKGwTLc.IYveQUYdWxZ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2c4GnL9ZJdBvy69k_GHeX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Tm7yvRx1vInDX5ha1URy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MlrqB9kljhskN_Hxk9AK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oVVO_Jn9A.6DGHTgXATO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m_gljwGTHrCtLlZknjwPl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W0ivdnZ8qBAJTYJBL9e87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XxAxFjWZR9IFmDPEE36Qm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_SYN05aBon.56jWTK_ft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MBj_rXlvkGyayxcydswk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TmqUD5EK5RHmBQP5nSzX2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UslQ3GsXUmkl_MoFDR0lr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d4b6UBQGJmUaL.3gC5ynp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a72G7mKF.c3T1KEcunmll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rGVciAB.Sbr5Af_SdUK_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3aKl7gTf0NEf5A8VuhYSl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ACaqXVQHf1uwnr5gYmhr4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0OwAjGeyJgq542pqH04Iz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m1GPuW0INNbL0IUP2c7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zrVy0rmG0WSz90nzfz9F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bSSO4lVMKFGdBjX4guCvF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5Hp8qbz2eqXjTcpxEhfc8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rePIsJU8i6WtvyCZdIB97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asGvyCq.Co6eGhTBjUZvT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9lMime9.DYuMazXSoi5I2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iUQNZhuakbNoNPw2zsyb0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mqUD5EK5RHmBQP5nSzX2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UslQ3GsXUmkl_MoFDR0lr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4b6UBQGJmUaL.3gC5ynp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a72G7mKF.c3T1KEcunmll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R4W9U2Xc93XyTG2wAenB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YrGVciAB.Sbr5Af_SdUK_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3aKl7gTf0NEf5A8VuhYSl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mqUD5EK5RHmBQP5nSzX2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UslQ3GsXUmkl_MoFDR0lr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d4b6UBQGJmUaL.3gC5ynp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72G7mKF.c3T1KEcunmll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YrGVciAB.Sbr5Af_SdUK_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3aKl7gTf0NEf5A8VuhYSl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2.79Ube6EAAfY6Up3Z2dW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LljcMmntV8mhRD.y7woXr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Wrx1E6GVzhLCbz9A1c11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qUnaBGa6.2iw2uhMEsGw3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I_NwvJZXAik_129jZmod5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jNlrbcPU7fobVYw12uds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4jTHMWWQ8uUildfnOREm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8nk8OtlXvhDZktG.vi1cH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7RhUbnGLucR56PvyatvqM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7GPR72IcWhSzOY2N9X2lB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iQ9tGm9Z4ueNL1ePSwuli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Vz4RjckbXE6rnhfDkucM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6KwpMbd_YfMGVHFIxNeE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4T1.VjBG0qitkMdsgepvi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b9.4KaejMtEcZAyE2QmFN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gt7wrkRiwBPW_orDTJI0O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wE3VPeHuJbZBFR7fCL8j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mv31BC68rELtfE6nMRXoQ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DhlHAQuGfipyvpQXMl_S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gwJX5mmB8WbnCGdgttss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YVYKaIAVyqZ944qQCcDQP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nfYgpq4_2fRPrHZnnBTuL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sx3U5bqWs67b6IsKBnNk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gokenAFjoKZKC_dCDlQA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nLVtPeb6hQNYrNlktazRW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OABS9J7MkgyMiRFpluZo6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oHwwcLnpvhdJC.Z8UCGpZ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CQMWH8hXpBUSAnFQA5LIL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LXllwaNrvWuOQf4.GW_0W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qxRBk5a6ZlZqvvYTmnYb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OWD49fMegpvt.rdXHUuNx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9r6NkRebwsGmQxuiiNSxe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B4On7bYhAH13DNmk9ijVf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4Bx4j_p0NW7vyZ07A0FU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NAME" val="RectangleText"/>
</p:tagLst>
</file>

<file path=ppt/tags/tag402.xml><?xml version="1.0" encoding="utf-8"?>
<p:tagLst xmlns:a="http://schemas.openxmlformats.org/drawingml/2006/main" xmlns:r="http://schemas.openxmlformats.org/officeDocument/2006/relationships" xmlns:p="http://schemas.openxmlformats.org/presentationml/2006/main">
  <p:tag name="NAME" val="RectangleText"/>
</p:tagLst>
</file>

<file path=ppt/tags/tag403.xml><?xml version="1.0" encoding="utf-8"?>
<p:tagLst xmlns:a="http://schemas.openxmlformats.org/drawingml/2006/main" xmlns:r="http://schemas.openxmlformats.org/officeDocument/2006/relationships" xmlns:p="http://schemas.openxmlformats.org/presentationml/2006/main">
  <p:tag name="NAME" val="RectangleText"/>
</p:tagLst>
</file>

<file path=ppt/tags/tag404.xml><?xml version="1.0" encoding="utf-8"?>
<p:tagLst xmlns:a="http://schemas.openxmlformats.org/drawingml/2006/main" xmlns:r="http://schemas.openxmlformats.org/officeDocument/2006/relationships" xmlns:p="http://schemas.openxmlformats.org/presentationml/2006/main">
  <p:tag name="NAME" val="RectangleText"/>
</p:tagLst>
</file>

<file path=ppt/tags/tag405.xml><?xml version="1.0" encoding="utf-8"?>
<p:tagLst xmlns:a="http://schemas.openxmlformats.org/drawingml/2006/main" xmlns:r="http://schemas.openxmlformats.org/officeDocument/2006/relationships" xmlns:p="http://schemas.openxmlformats.org/presentationml/2006/main">
  <p:tag name="NAME" val="RectangleText"/>
</p:tagLst>
</file>

<file path=ppt/tags/tag406.xml><?xml version="1.0" encoding="utf-8"?>
<p:tagLst xmlns:a="http://schemas.openxmlformats.org/drawingml/2006/main" xmlns:r="http://schemas.openxmlformats.org/officeDocument/2006/relationships" xmlns:p="http://schemas.openxmlformats.org/presentationml/2006/main">
  <p:tag name="NAME" val="RectangleText"/>
</p:tagLst>
</file>

<file path=ppt/tags/tag407.xml><?xml version="1.0" encoding="utf-8"?>
<p:tagLst xmlns:a="http://schemas.openxmlformats.org/drawingml/2006/main" xmlns:r="http://schemas.openxmlformats.org/officeDocument/2006/relationships" xmlns:p="http://schemas.openxmlformats.org/presentationml/2006/main">
  <p:tag name="NAME" val="RectangleText"/>
</p:tagLst>
</file>

<file path=ppt/tags/tag408.xml><?xml version="1.0" encoding="utf-8"?>
<p:tagLst xmlns:a="http://schemas.openxmlformats.org/drawingml/2006/main" xmlns:r="http://schemas.openxmlformats.org/officeDocument/2006/relationships" xmlns:p="http://schemas.openxmlformats.org/presentationml/2006/main">
  <p:tag name="NAME" val="RectangleText"/>
</p:tagLst>
</file>

<file path=ppt/tags/tag409.xml><?xml version="1.0" encoding="utf-8"?>
<p:tagLst xmlns:a="http://schemas.openxmlformats.org/drawingml/2006/main" xmlns:r="http://schemas.openxmlformats.org/officeDocument/2006/relationships" xmlns:p="http://schemas.openxmlformats.org/presentationml/2006/main">
  <p:tag name="NAME" val="RectangleTex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E4nsMoaA7N7WOEGVuIeTQ"/>
</p:tagLst>
</file>

<file path=ppt/tags/tag410.xml><?xml version="1.0" encoding="utf-8"?>
<p:tagLst xmlns:a="http://schemas.openxmlformats.org/drawingml/2006/main" xmlns:r="http://schemas.openxmlformats.org/officeDocument/2006/relationships" xmlns:p="http://schemas.openxmlformats.org/presentationml/2006/main">
  <p:tag name="NAME" val="RectangleText"/>
</p:tagLst>
</file>

<file path=ppt/tags/tag411.xml><?xml version="1.0" encoding="utf-8"?>
<p:tagLst xmlns:a="http://schemas.openxmlformats.org/drawingml/2006/main" xmlns:r="http://schemas.openxmlformats.org/officeDocument/2006/relationships" xmlns:p="http://schemas.openxmlformats.org/presentationml/2006/main">
  <p:tag name="NAME" val="RectangleText"/>
</p:tagLst>
</file>

<file path=ppt/tags/tag412.xml><?xml version="1.0" encoding="utf-8"?>
<p:tagLst xmlns:a="http://schemas.openxmlformats.org/drawingml/2006/main" xmlns:r="http://schemas.openxmlformats.org/officeDocument/2006/relationships" xmlns:p="http://schemas.openxmlformats.org/presentationml/2006/main">
  <p:tag name="NAME" val="RectangleText"/>
</p:tagLst>
</file>

<file path=ppt/tags/tag413.xml><?xml version="1.0" encoding="utf-8"?>
<p:tagLst xmlns:a="http://schemas.openxmlformats.org/drawingml/2006/main" xmlns:r="http://schemas.openxmlformats.org/officeDocument/2006/relationships" xmlns:p="http://schemas.openxmlformats.org/presentationml/2006/main">
  <p:tag name="NAME" val="RectangleText"/>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NAME" val="RectangleText"/>
</p:tagLst>
</file>

<file path=ppt/tags/tag416.xml><?xml version="1.0" encoding="utf-8"?>
<p:tagLst xmlns:a="http://schemas.openxmlformats.org/drawingml/2006/main" xmlns:r="http://schemas.openxmlformats.org/officeDocument/2006/relationships" xmlns:p="http://schemas.openxmlformats.org/presentationml/2006/main">
  <p:tag name="NAME" val="RectangleText"/>
</p:tagLst>
</file>

<file path=ppt/tags/tag417.xml><?xml version="1.0" encoding="utf-8"?>
<p:tagLst xmlns:a="http://schemas.openxmlformats.org/drawingml/2006/main" xmlns:r="http://schemas.openxmlformats.org/officeDocument/2006/relationships" xmlns:p="http://schemas.openxmlformats.org/presentationml/2006/main">
  <p:tag name="NAME" val="RectangleText"/>
</p:tagLst>
</file>

<file path=ppt/tags/tag418.xml><?xml version="1.0" encoding="utf-8"?>
<p:tagLst xmlns:a="http://schemas.openxmlformats.org/drawingml/2006/main" xmlns:r="http://schemas.openxmlformats.org/officeDocument/2006/relationships" xmlns:p="http://schemas.openxmlformats.org/presentationml/2006/main">
  <p:tag name="NAME" val="RectangleText"/>
</p:tagLst>
</file>

<file path=ppt/tags/tag419.xml><?xml version="1.0" encoding="utf-8"?>
<p:tagLst xmlns:a="http://schemas.openxmlformats.org/drawingml/2006/main" xmlns:r="http://schemas.openxmlformats.org/officeDocument/2006/relationships" xmlns:p="http://schemas.openxmlformats.org/presentationml/2006/main">
  <p:tag name="NAME" val="RectangleText"/>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hmrLh5yk9qPkNKbfz7y8g"/>
</p:tagLst>
</file>

<file path=ppt/tags/tag420.xml><?xml version="1.0" encoding="utf-8"?>
<p:tagLst xmlns:a="http://schemas.openxmlformats.org/drawingml/2006/main" xmlns:r="http://schemas.openxmlformats.org/officeDocument/2006/relationships" xmlns:p="http://schemas.openxmlformats.org/presentationml/2006/main">
  <p:tag name="NAME" val="RectangleText"/>
</p:tagLst>
</file>

<file path=ppt/tags/tag421.xml><?xml version="1.0" encoding="utf-8"?>
<p:tagLst xmlns:a="http://schemas.openxmlformats.org/drawingml/2006/main" xmlns:r="http://schemas.openxmlformats.org/officeDocument/2006/relationships" xmlns:p="http://schemas.openxmlformats.org/presentationml/2006/main">
  <p:tag name="NAME" val="RectangleText"/>
</p:tagLst>
</file>

<file path=ppt/tags/tag422.xml><?xml version="1.0" encoding="utf-8"?>
<p:tagLst xmlns:a="http://schemas.openxmlformats.org/drawingml/2006/main" xmlns:r="http://schemas.openxmlformats.org/officeDocument/2006/relationships" xmlns:p="http://schemas.openxmlformats.org/presentationml/2006/main">
  <p:tag name="NAME" val="RectangleText"/>
</p:tagLst>
</file>

<file path=ppt/tags/tag423.xml><?xml version="1.0" encoding="utf-8"?>
<p:tagLst xmlns:a="http://schemas.openxmlformats.org/drawingml/2006/main" xmlns:r="http://schemas.openxmlformats.org/officeDocument/2006/relationships" xmlns:p="http://schemas.openxmlformats.org/presentationml/2006/main">
  <p:tag name="NAME" val="RectangleText"/>
</p:tagLst>
</file>

<file path=ppt/tags/tag424.xml><?xml version="1.0" encoding="utf-8"?>
<p:tagLst xmlns:a="http://schemas.openxmlformats.org/drawingml/2006/main" xmlns:r="http://schemas.openxmlformats.org/officeDocument/2006/relationships" xmlns:p="http://schemas.openxmlformats.org/presentationml/2006/main">
  <p:tag name="NAME" val="RectangleText"/>
</p:tagLst>
</file>

<file path=ppt/tags/tag425.xml><?xml version="1.0" encoding="utf-8"?>
<p:tagLst xmlns:a="http://schemas.openxmlformats.org/drawingml/2006/main" xmlns:r="http://schemas.openxmlformats.org/officeDocument/2006/relationships" xmlns:p="http://schemas.openxmlformats.org/presentationml/2006/main">
  <p:tag name="NAME" val="RectangleText"/>
</p:tagLst>
</file>

<file path=ppt/tags/tag426.xml><?xml version="1.0" encoding="utf-8"?>
<p:tagLst xmlns:a="http://schemas.openxmlformats.org/drawingml/2006/main" xmlns:r="http://schemas.openxmlformats.org/officeDocument/2006/relationships" xmlns:p="http://schemas.openxmlformats.org/presentationml/2006/main">
  <p:tag name="NAME" val="RectangleText"/>
</p:tagLst>
</file>

<file path=ppt/tags/tag427.xml><?xml version="1.0" encoding="utf-8"?>
<p:tagLst xmlns:a="http://schemas.openxmlformats.org/drawingml/2006/main" xmlns:r="http://schemas.openxmlformats.org/officeDocument/2006/relationships" xmlns:p="http://schemas.openxmlformats.org/presentationml/2006/main">
  <p:tag name="NAME" val="RectangleText"/>
</p:tagLst>
</file>

<file path=ppt/tags/tag428.xml><?xml version="1.0" encoding="utf-8"?>
<p:tagLst xmlns:a="http://schemas.openxmlformats.org/drawingml/2006/main" xmlns:r="http://schemas.openxmlformats.org/officeDocument/2006/relationships" xmlns:p="http://schemas.openxmlformats.org/presentationml/2006/main">
  <p:tag name="NAME" val="RectangleText"/>
</p:tagLst>
</file>

<file path=ppt/tags/tag429.xml><?xml version="1.0" encoding="utf-8"?>
<p:tagLst xmlns:a="http://schemas.openxmlformats.org/drawingml/2006/main" xmlns:r="http://schemas.openxmlformats.org/officeDocument/2006/relationships" xmlns:p="http://schemas.openxmlformats.org/presentationml/2006/main">
  <p:tag name="NAME" val="RectangleText"/>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4YbqHm.ayxBlV6Y61s8Vg"/>
</p:tagLst>
</file>

<file path=ppt/tags/tag430.xml><?xml version="1.0" encoding="utf-8"?>
<p:tagLst xmlns:a="http://schemas.openxmlformats.org/drawingml/2006/main" xmlns:r="http://schemas.openxmlformats.org/officeDocument/2006/relationships" xmlns:p="http://schemas.openxmlformats.org/presentationml/2006/main">
  <p:tag name="NAME" val="RectangleText"/>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NAME" val="RectangleText"/>
</p:tagLst>
</file>

<file path=ppt/tags/tag434.xml><?xml version="1.0" encoding="utf-8"?>
<p:tagLst xmlns:a="http://schemas.openxmlformats.org/drawingml/2006/main" xmlns:r="http://schemas.openxmlformats.org/officeDocument/2006/relationships" xmlns:p="http://schemas.openxmlformats.org/presentationml/2006/main">
  <p:tag name="NAME" val="RectangleText"/>
</p:tagLst>
</file>

<file path=ppt/tags/tag435.xml><?xml version="1.0" encoding="utf-8"?>
<p:tagLst xmlns:a="http://schemas.openxmlformats.org/drawingml/2006/main" xmlns:r="http://schemas.openxmlformats.org/officeDocument/2006/relationships" xmlns:p="http://schemas.openxmlformats.org/presentationml/2006/main">
  <p:tag name="NAME" val="RectangleText"/>
</p:tagLst>
</file>

<file path=ppt/tags/tag436.xml><?xml version="1.0" encoding="utf-8"?>
<p:tagLst xmlns:a="http://schemas.openxmlformats.org/drawingml/2006/main" xmlns:r="http://schemas.openxmlformats.org/officeDocument/2006/relationships" xmlns:p="http://schemas.openxmlformats.org/presentationml/2006/main">
  <p:tag name="NAME" val="RectangleText"/>
</p:tagLst>
</file>

<file path=ppt/tags/tag437.xml><?xml version="1.0" encoding="utf-8"?>
<p:tagLst xmlns:a="http://schemas.openxmlformats.org/drawingml/2006/main" xmlns:r="http://schemas.openxmlformats.org/officeDocument/2006/relationships" xmlns:p="http://schemas.openxmlformats.org/presentationml/2006/main">
  <p:tag name="NAME" val="RectangleText"/>
</p:tagLst>
</file>

<file path=ppt/tags/tag438.xml><?xml version="1.0" encoding="utf-8"?>
<p:tagLst xmlns:a="http://schemas.openxmlformats.org/drawingml/2006/main" xmlns:r="http://schemas.openxmlformats.org/officeDocument/2006/relationships" xmlns:p="http://schemas.openxmlformats.org/presentationml/2006/main">
  <p:tag name="NAME" val="RectangleText"/>
</p:tagLst>
</file>

<file path=ppt/tags/tag439.xml><?xml version="1.0" encoding="utf-8"?>
<p:tagLst xmlns:a="http://schemas.openxmlformats.org/drawingml/2006/main" xmlns:r="http://schemas.openxmlformats.org/officeDocument/2006/relationships" xmlns:p="http://schemas.openxmlformats.org/presentationml/2006/main">
  <p:tag name="NAME" val="RectangleTex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1.PVAH.T9MvBMWOab._eQ"/>
</p:tagLst>
</file>

<file path=ppt/tags/tag440.xml><?xml version="1.0" encoding="utf-8"?>
<p:tagLst xmlns:a="http://schemas.openxmlformats.org/drawingml/2006/main" xmlns:r="http://schemas.openxmlformats.org/officeDocument/2006/relationships" xmlns:p="http://schemas.openxmlformats.org/presentationml/2006/main">
  <p:tag name="NAME" val="RectangleText"/>
</p:tagLst>
</file>

<file path=ppt/tags/tag441.xml><?xml version="1.0" encoding="utf-8"?>
<p:tagLst xmlns:a="http://schemas.openxmlformats.org/drawingml/2006/main" xmlns:r="http://schemas.openxmlformats.org/officeDocument/2006/relationships" xmlns:p="http://schemas.openxmlformats.org/presentationml/2006/main">
  <p:tag name="NAME" val="RectangleText"/>
</p:tagLst>
</file>

<file path=ppt/tags/tag442.xml><?xml version="1.0" encoding="utf-8"?>
<p:tagLst xmlns:a="http://schemas.openxmlformats.org/drawingml/2006/main" xmlns:r="http://schemas.openxmlformats.org/officeDocument/2006/relationships" xmlns:p="http://schemas.openxmlformats.org/presentationml/2006/main">
  <p:tag name="NAME" val="RectangleText"/>
</p:tagLst>
</file>

<file path=ppt/tags/tag443.xml><?xml version="1.0" encoding="utf-8"?>
<p:tagLst xmlns:a="http://schemas.openxmlformats.org/drawingml/2006/main" xmlns:r="http://schemas.openxmlformats.org/officeDocument/2006/relationships" xmlns:p="http://schemas.openxmlformats.org/presentationml/2006/main">
  <p:tag name="NAME" val="RectangleText"/>
</p:tagLst>
</file>

<file path=ppt/tags/tag444.xml><?xml version="1.0" encoding="utf-8"?>
<p:tagLst xmlns:a="http://schemas.openxmlformats.org/drawingml/2006/main" xmlns:r="http://schemas.openxmlformats.org/officeDocument/2006/relationships" xmlns:p="http://schemas.openxmlformats.org/presentationml/2006/main">
  <p:tag name="NAME" val="RectangleText"/>
</p:tagLst>
</file>

<file path=ppt/tags/tag445.xml><?xml version="1.0" encoding="utf-8"?>
<p:tagLst xmlns:a="http://schemas.openxmlformats.org/drawingml/2006/main" xmlns:r="http://schemas.openxmlformats.org/officeDocument/2006/relationships" xmlns:p="http://schemas.openxmlformats.org/presentationml/2006/main">
  <p:tag name="NAME" val="RectangleText"/>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kLvDolrS0v1QKOm3xsYr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7hQegxmT0rGS1pahk3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3mq1I3Oq_8akG5WesQ1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4iXYHllOyCJQijuAdE7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YF_dTcEALFBIPGQWLgP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t6wih_5f1CQw2VjIyvNq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ChQ7tUYSuQOjycv5aiD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LqK0_SzO_xtS5QyJwJBy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I6E_k62FBYDENGAYXOD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qtXbGztiE8FZiqk74qCD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blc7wpFD4MBHJ.qnKl48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xVdMRVUv9RjzlHD_sLs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6Rbaqm1n4ZrNFmB4fMgJV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lJ74klZfvWr9mhacjxb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QnmEyFOWZEsYB8UuvR2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p9rjm9cyBIarm91pxbv4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nfZUsU6itsvulxMJ_di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gqXsrd9NmM1vQqPzyRO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PXRv9qrsoBso9r_Z62W7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twBytq5wX5.EPT4WAjD0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gKatVmcmD051A3YHf520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HfsB0jIAqP0TiFQXox5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2mkILmfbysF0dO.BVI6B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U9UTz8yqx_cTGdOzaBv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Gu.KRbC.20uhE22YMlK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xkb2Zxh6dwMj65n6aDy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vY4_0V4eUBytXqkyIV6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Lmhauy_89iTRVyeQsx5h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Dy_AVW8fCD28sAynS1Dc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KJUZgPSGAszTxCdWr5C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3ttVs70tDsvtfozU2jtGL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LR0R1F2is.4L5b.VN7NP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3LtPvf7281Xt7pGtsR525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BxCltZELg0gZ22noSjoR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pYoucjMZD0rpw5uEe6R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j9Jm1WtaMrT2iqsuJzs5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6Bq31ps80LLBMD6cQ8CA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nZumCaMg.jgBihflK8R3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UarHOIt7rByESEORiQe1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bL0DdjHmx.KcC9_IYsA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_IyYf50n2HeMCQFa6UZ8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3NGgBZl.eG573qJ77Fj_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fwDvLM6vQ48TIR7YFXc8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XmSaPxmbfasYL9jgGPn7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TScFTy5UxNRyIFchJYaK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DyB8.vjBhuro85aYyvJ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SRigBnxFs14lKR2i9Dg0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8aJKJYwbwIte2zVh_uAJ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7Y.28t9uLREkeQ0A8uCG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T1r_uRagJWFYNDspwn7X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EAPel_C84OofZvwIRg9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RfdeQWCnnPU7MLJKUfXk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OWpe6U2xmIiDiv_xE3y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9MnMbygKKM3TMRKoWhU9g"/>
</p:tagLst>
</file>

<file path=ppt/theme/theme1.xml><?xml version="1.0" encoding="utf-8"?>
<a:theme xmlns:a="http://schemas.openxmlformats.org/drawingml/2006/main" name="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0.xml><?xml version="1.0" encoding="utf-8"?>
<a:theme xmlns:a="http://schemas.openxmlformats.org/drawingml/2006/main" name="9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1.xml><?xml version="1.0" encoding="utf-8"?>
<a:theme xmlns:a="http://schemas.openxmlformats.org/drawingml/2006/main" name="10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2.xml><?xml version="1.0" encoding="utf-8"?>
<a:theme xmlns:a="http://schemas.openxmlformats.org/drawingml/2006/main" name="11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3.xml><?xml version="1.0" encoding="utf-8"?>
<a:theme xmlns:a="http://schemas.openxmlformats.org/drawingml/2006/main" name="8_FHM Engage Theme 16:9">
  <a:themeElements>
    <a:clrScheme name="FHM Engage - USAID">
      <a:dk1>
        <a:srgbClr val="000000"/>
      </a:dk1>
      <a:lt1>
        <a:srgbClr val="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2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5.xml><?xml version="1.0" encoding="utf-8"?>
<a:theme xmlns:a="http://schemas.openxmlformats.org/drawingml/2006/main" name="13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6.xml><?xml version="1.0" encoding="utf-8"?>
<a:theme xmlns:a="http://schemas.openxmlformats.org/drawingml/2006/main" name="14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7.xml><?xml version="1.0" encoding="utf-8"?>
<a:theme xmlns:a="http://schemas.openxmlformats.org/drawingml/2006/main" name="15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3.xml><?xml version="1.0" encoding="utf-8"?>
<a:theme xmlns:a="http://schemas.openxmlformats.org/drawingml/2006/main" name="7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4.xml><?xml version="1.0" encoding="utf-8"?>
<a:theme xmlns:a="http://schemas.openxmlformats.org/drawingml/2006/main" name="1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5.xml><?xml version="1.0" encoding="utf-8"?>
<a:theme xmlns:a="http://schemas.openxmlformats.org/drawingml/2006/main" name="3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6.xml><?xml version="1.0" encoding="utf-8"?>
<a:theme xmlns:a="http://schemas.openxmlformats.org/drawingml/2006/main" name="4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7.xml><?xml version="1.0" encoding="utf-8"?>
<a:theme xmlns:a="http://schemas.openxmlformats.org/drawingml/2006/main" name="6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8.xml><?xml version="1.0" encoding="utf-8"?>
<a:theme xmlns:a="http://schemas.openxmlformats.org/drawingml/2006/main" name="5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ppt/theme/theme9.xml><?xml version="1.0" encoding="utf-8"?>
<a:theme xmlns:a="http://schemas.openxmlformats.org/drawingml/2006/main" name="17_FHM Engage Theme 16:9">
  <a:themeElements>
    <a:clrScheme name="FHM Engage - USAID">
      <a:dk1>
        <a:sysClr val="windowText" lastClr="000000"/>
      </a:dk1>
      <a:lt1>
        <a:sysClr val="window" lastClr="FFFFFF"/>
      </a:lt1>
      <a:dk2>
        <a:srgbClr val="112E38"/>
      </a:dk2>
      <a:lt2>
        <a:srgbClr val="4AA19E"/>
      </a:lt2>
      <a:accent1>
        <a:srgbClr val="4AA19E"/>
      </a:accent1>
      <a:accent2>
        <a:srgbClr val="78CDD7"/>
      </a:accent2>
      <a:accent3>
        <a:srgbClr val="044B7F"/>
      </a:accent3>
      <a:accent4>
        <a:srgbClr val="892064"/>
      </a:accent4>
      <a:accent5>
        <a:srgbClr val="C33C54"/>
      </a:accent5>
      <a:accent6>
        <a:srgbClr val="F49E4C"/>
      </a:accent6>
      <a:hlink>
        <a:srgbClr val="0563C1"/>
      </a:hlink>
      <a:folHlink>
        <a:srgbClr val="89206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HM Engage - PowerPoint Template" id="{CCE68F96-C4A7-4CEE-9512-37B44E1AE80D}" vid="{1DC97C86-888E-40AF-9F26-45DABE74904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7C13EF40E8E644BC6B74466A67FFEF" ma:contentTypeVersion="5" ma:contentTypeDescription="Create a new document." ma:contentTypeScope="" ma:versionID="e3bf050d3fc3a5b83f57ef95fb2b88d0">
  <xsd:schema xmlns:xsd="http://www.w3.org/2001/XMLSchema" xmlns:xs="http://www.w3.org/2001/XMLSchema" xmlns:p="http://schemas.microsoft.com/office/2006/metadata/properties" xmlns:ns2="61b5ffe9-9352-44b8-94c1-94ebb3785ecf" xmlns:ns3="c1726e89-cee4-4c8d-8f03-3c633cb3e60c" targetNamespace="http://schemas.microsoft.com/office/2006/metadata/properties" ma:root="true" ma:fieldsID="df99e578bd1d66ee517ae1266b41d213" ns2:_="" ns3:_="">
    <xsd:import namespace="61b5ffe9-9352-44b8-94c1-94ebb3785ecf"/>
    <xsd:import namespace="c1726e89-cee4-4c8d-8f03-3c633cb3e60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b5ffe9-9352-44b8-94c1-94ebb3785e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726e89-cee4-4c8d-8f03-3c633cb3e60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F6EA870-F5D8-4AF0-9965-CD09385E55F7}"/>
</file>

<file path=customXml/itemProps2.xml><?xml version="1.0" encoding="utf-8"?>
<ds:datastoreItem xmlns:ds="http://schemas.openxmlformats.org/officeDocument/2006/customXml" ds:itemID="{9FADA4D2-4F8A-4657-B848-97A00C920BF6}"/>
</file>

<file path=customXml/itemProps3.xml><?xml version="1.0" encoding="utf-8"?>
<ds:datastoreItem xmlns:ds="http://schemas.openxmlformats.org/officeDocument/2006/customXml" ds:itemID="{8FC59710-471D-4B30-BF24-B960B206E00E}"/>
</file>

<file path=docProps/app.xml><?xml version="1.0" encoding="utf-8"?>
<Properties xmlns="http://schemas.openxmlformats.org/officeDocument/2006/extended-properties" xmlns:vt="http://schemas.openxmlformats.org/officeDocument/2006/docPropsVTypes">
  <TotalTime>14565</TotalTime>
  <Words>6926</Words>
  <Application>Microsoft Office PowerPoint</Application>
  <PresentationFormat>Widescreen</PresentationFormat>
  <Paragraphs>1216</Paragraphs>
  <Slides>37</Slides>
  <Notes>11</Notes>
  <HiddenSlides>0</HiddenSlides>
  <MMClips>0</MMClips>
  <ScaleCrop>false</ScaleCrop>
  <HeadingPairs>
    <vt:vector size="8" baseType="variant">
      <vt:variant>
        <vt:lpstr>Fonts Used</vt:lpstr>
      </vt:variant>
      <vt:variant>
        <vt:i4>11</vt:i4>
      </vt:variant>
      <vt:variant>
        <vt:lpstr>Theme</vt:lpstr>
      </vt:variant>
      <vt:variant>
        <vt:i4>17</vt:i4>
      </vt:variant>
      <vt:variant>
        <vt:lpstr>Embedded OLE Servers</vt:lpstr>
      </vt:variant>
      <vt:variant>
        <vt:i4>1</vt:i4>
      </vt:variant>
      <vt:variant>
        <vt:lpstr>Slide Titles</vt:lpstr>
      </vt:variant>
      <vt:variant>
        <vt:i4>37</vt:i4>
      </vt:variant>
    </vt:vector>
  </HeadingPairs>
  <TitlesOfParts>
    <vt:vector size="66" baseType="lpstr">
      <vt:lpstr>.AppleSystemUIFont</vt:lpstr>
      <vt:lpstr>Arial</vt:lpstr>
      <vt:lpstr>Arial (Body)</vt:lpstr>
      <vt:lpstr>Calibri</vt:lpstr>
      <vt:lpstr>Century Gothic</vt:lpstr>
      <vt:lpstr>Courier New</vt:lpstr>
      <vt:lpstr>Gill Sans</vt:lpstr>
      <vt:lpstr>Gill Sans MT</vt:lpstr>
      <vt:lpstr>GT Walsheim</vt:lpstr>
      <vt:lpstr>Symbol</vt:lpstr>
      <vt:lpstr>Wingdings</vt:lpstr>
      <vt:lpstr>FHM Engage Theme 16:9</vt:lpstr>
      <vt:lpstr>2_FHM Engage Theme 16:9</vt:lpstr>
      <vt:lpstr>7_FHM Engage Theme 16:9</vt:lpstr>
      <vt:lpstr>1_FHM Engage Theme 16:9</vt:lpstr>
      <vt:lpstr>3_FHM Engage Theme 16:9</vt:lpstr>
      <vt:lpstr>4_FHM Engage Theme 16:9</vt:lpstr>
      <vt:lpstr>6_FHM Engage Theme 16:9</vt:lpstr>
      <vt:lpstr>5_FHM Engage Theme 16:9</vt:lpstr>
      <vt:lpstr>17_FHM Engage Theme 16:9</vt:lpstr>
      <vt:lpstr>9_FHM Engage Theme 16:9</vt:lpstr>
      <vt:lpstr>10_FHM Engage Theme 16:9</vt:lpstr>
      <vt:lpstr>11_FHM Engage Theme 16:9</vt:lpstr>
      <vt:lpstr>8_FHM Engage Theme 16:9</vt:lpstr>
      <vt:lpstr>12_FHM Engage Theme 16:9</vt:lpstr>
      <vt:lpstr>13_FHM Engage Theme 16:9</vt:lpstr>
      <vt:lpstr>14_FHM Engage Theme 16:9</vt:lpstr>
      <vt:lpstr>15_FHM Engage Theme 16:9</vt:lpstr>
      <vt:lpstr>think-cell Slide</vt:lpstr>
      <vt:lpstr>Market Description for Maternal and Neonatal Health </vt:lpstr>
      <vt:lpstr>Outline</vt:lpstr>
      <vt:lpstr>Approach to Market Description</vt:lpstr>
      <vt:lpstr>We followed a four-step approach to conduct this assessment</vt:lpstr>
      <vt:lpstr>PowerPoint Presentation</vt:lpstr>
      <vt:lpstr>Ebonyi is a mostly rural state, with a large youth population, and significant percentage of population below the poverty line</vt:lpstr>
      <vt:lpstr>Ebonyi’s MNH indicators exceed national levels and are approaching Southeast levels; there are concerns with MICS data</vt:lpstr>
      <vt:lpstr>MICS and NDHS show Ebonyi has experienced improvement in the use of MN services in the last decade; there are concerns with MICS data</vt:lpstr>
      <vt:lpstr>Although the MICS shows high use of maternal care, the most recent NDHS shows a different picture of high dropout after one ANC visit</vt:lpstr>
      <vt:lpstr>PowerPoint Presentation</vt:lpstr>
      <vt:lpstr>PowerPoint Presentation</vt:lpstr>
      <vt:lpstr>PowerPoint Presentation</vt:lpstr>
      <vt:lpstr>PowerPoint Presentation</vt:lpstr>
      <vt:lpstr>Despite almost universal use of MN services, barriers still exist</vt:lpstr>
      <vt:lpstr>The market is failing women (42%) who need SBA and (64%) who need PNC; these missing women have similar socio-economic profiles </vt:lpstr>
      <vt:lpstr>PowerPoint Presentation</vt:lpstr>
      <vt:lpstr>There is a wide range of public and private market actors to consider when shaping MNH markets</vt:lpstr>
      <vt:lpstr>There are a limited number of public/private facilities in rural areas; private facilities are concentrated in a small number of LGAs – mostly in the state capital</vt:lpstr>
      <vt:lpstr>PowerPoint Presentation</vt:lpstr>
      <vt:lpstr>PowerPoint Presentation</vt:lpstr>
      <vt:lpstr>More women deliver with an SBA (59%) than at home (39%); the majority are with a public provider (mostly nurses-midwives); there are also equity issues</vt:lpstr>
      <vt:lpstr>Referral pathway for MNH services</vt:lpstr>
      <vt:lpstr>All MNH products aside Heat Stable Carbetocin were found at the Urban CPs, however, only rural PPMVs stocked some MNH products</vt:lpstr>
      <vt:lpstr>Majority of the MNH commodity are sourced from the open drug market and pharmaceutical Reps </vt:lpstr>
      <vt:lpstr>Despite the higher cost of services at urban PHC facilities….</vt:lpstr>
      <vt:lpstr>….the private PHCs located in rural areas tend to be better equipped than their urban counterparts</vt:lpstr>
      <vt:lpstr>The shortage of healthcare workers is prevalent across all health facilities, but it is worse in public health facilities.</vt:lpstr>
      <vt:lpstr>Summary of supply</vt:lpstr>
      <vt:lpstr>Summary of supply</vt:lpstr>
      <vt:lpstr>PowerPoint Presentation</vt:lpstr>
      <vt:lpstr>PowerPoint Presentation</vt:lpstr>
      <vt:lpstr>PowerPoint Presentation</vt:lpstr>
      <vt:lpstr>Market system performance for MNH in Ebonyi</vt:lpstr>
      <vt:lpstr>PowerPoint Presentation</vt:lpstr>
      <vt:lpstr>Strategic Logic Model for Maternal and Neonatal Health in Ebonyi</vt:lpstr>
      <vt:lpstr>Platform for an enabling business environment for the MNH marke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tline</dc:title>
  <dc:creator>Amina Baba Ari</dc:creator>
  <cp:lastModifiedBy>Anonymous</cp:lastModifiedBy>
  <cp:revision>41</cp:revision>
  <dcterms:created xsi:type="dcterms:W3CDTF">2023-03-14T15:34:32Z</dcterms:created>
  <dcterms:modified xsi:type="dcterms:W3CDTF">2023-07-06T09:4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7C13EF40E8E644BC6B74466A67FFEF</vt:lpwstr>
  </property>
</Properties>
</file>